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ags/tag2.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rts/chart1.xml" ContentType="application/vnd.openxmlformats-officedocument.drawingml.chart+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63" r:id="rId2"/>
    <p:sldMasterId id="2147483775" r:id="rId3"/>
  </p:sldMasterIdLst>
  <p:notesMasterIdLst>
    <p:notesMasterId r:id="rId55"/>
  </p:notesMasterIdLst>
  <p:sldIdLst>
    <p:sldId id="310" r:id="rId4"/>
    <p:sldId id="259" r:id="rId5"/>
    <p:sldId id="311" r:id="rId6"/>
    <p:sldId id="312" r:id="rId7"/>
    <p:sldId id="313" r:id="rId8"/>
    <p:sldId id="314" r:id="rId9"/>
    <p:sldId id="315" r:id="rId10"/>
    <p:sldId id="318" r:id="rId11"/>
    <p:sldId id="319" r:id="rId12"/>
    <p:sldId id="320" r:id="rId13"/>
    <p:sldId id="321" r:id="rId14"/>
    <p:sldId id="281" r:id="rId15"/>
    <p:sldId id="317" r:id="rId16"/>
    <p:sldId id="292" r:id="rId17"/>
    <p:sldId id="294" r:id="rId18"/>
    <p:sldId id="297" r:id="rId19"/>
    <p:sldId id="298" r:id="rId20"/>
    <p:sldId id="299" r:id="rId21"/>
    <p:sldId id="300" r:id="rId22"/>
    <p:sldId id="301" r:id="rId23"/>
    <p:sldId id="303" r:id="rId24"/>
    <p:sldId id="293" r:id="rId25"/>
    <p:sldId id="295" r:id="rId26"/>
    <p:sldId id="296" r:id="rId27"/>
    <p:sldId id="302" r:id="rId28"/>
    <p:sldId id="304" r:id="rId29"/>
    <p:sldId id="305" r:id="rId30"/>
    <p:sldId id="306" r:id="rId31"/>
    <p:sldId id="307" r:id="rId32"/>
    <p:sldId id="308" r:id="rId33"/>
    <p:sldId id="309" r:id="rId34"/>
    <p:sldId id="291" r:id="rId35"/>
    <p:sldId id="268" r:id="rId36"/>
    <p:sldId id="270" r:id="rId37"/>
    <p:sldId id="272" r:id="rId38"/>
    <p:sldId id="271" r:id="rId39"/>
    <p:sldId id="273" r:id="rId40"/>
    <p:sldId id="275" r:id="rId41"/>
    <p:sldId id="276" r:id="rId42"/>
    <p:sldId id="277" r:id="rId43"/>
    <p:sldId id="278" r:id="rId44"/>
    <p:sldId id="279" r:id="rId45"/>
    <p:sldId id="280" r:id="rId46"/>
    <p:sldId id="282" r:id="rId47"/>
    <p:sldId id="284" r:id="rId48"/>
    <p:sldId id="285" r:id="rId49"/>
    <p:sldId id="286" r:id="rId50"/>
    <p:sldId id="287" r:id="rId51"/>
    <p:sldId id="288" r:id="rId52"/>
    <p:sldId id="289" r:id="rId53"/>
    <p:sldId id="290" r:id="rId54"/>
  </p:sldIdLst>
  <p:sldSz cx="12192000" cy="6858000"/>
  <p:notesSz cx="6858000" cy="9144000"/>
  <p:custDataLst>
    <p:tags r:id="rId56"/>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7BDC8"/>
    <a:srgbClr val="F7F7F7"/>
    <a:srgbClr val="22B1BF"/>
    <a:srgbClr val="0588DB"/>
    <a:srgbClr val="32ACFA"/>
    <a:srgbClr val="E0301E"/>
    <a:srgbClr val="E172A3"/>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376" autoAdjust="0"/>
    <p:restoredTop sz="94660"/>
  </p:normalViewPr>
  <p:slideViewPr>
    <p:cSldViewPr snapToGrid="0">
      <p:cViewPr varScale="1">
        <p:scale>
          <a:sx n="84" d="100"/>
          <a:sy n="84" d="100"/>
        </p:scale>
        <p:origin x="821" y="7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notesMaster" Target="notesMasters/notesMaster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viewProps" Target="viewProps.xml"/><Relationship Id="rId5" Type="http://schemas.openxmlformats.org/officeDocument/2006/relationships/slide" Target="slides/slide2.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tags" Target="tags/tag1.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theme" Target="theme/theme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presProps" Target="presProps.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Excel.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952015355086399E-2"/>
          <c:y val="5.31697341513293E-2"/>
          <c:w val="0.86372360844529805"/>
          <c:h val="0.89366053169734205"/>
        </c:manualLayout>
      </c:layout>
      <c:barChart>
        <c:barDir val="bar"/>
        <c:grouping val="clustered"/>
        <c:varyColors val="0"/>
        <c:ser>
          <c:idx val="0"/>
          <c:order val="0"/>
          <c:spPr>
            <a:solidFill>
              <a:srgbClr val="C0C0C0"/>
            </a:solidFill>
            <a:ln w="9525" algn="ctr">
              <a:solidFill>
                <a:schemeClr val="tx1"/>
              </a:solidFill>
              <a:prstDash val="solid"/>
            </a:ln>
          </c:spPr>
          <c:invertIfNegative val="0"/>
          <c:dLbls>
            <c:dLbl>
              <c:idx val="0"/>
              <c:layout>
                <c:manualLayout>
                  <c:x val="0.45633397312859902"/>
                  <c:y val="3.0674846625766898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689D-4E90-A554-02895F0F79E5}"/>
                </c:ext>
              </c:extLst>
            </c:dLbl>
            <c:dLbl>
              <c:idx val="1"/>
              <c:layout>
                <c:manualLayout>
                  <c:x val="0.41650671785028798"/>
                  <c:y val="3.0674846625766898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689D-4E90-A554-02895F0F79E5}"/>
                </c:ext>
              </c:extLst>
            </c:dLbl>
            <c:dLbl>
              <c:idx val="2"/>
              <c:layout>
                <c:manualLayout>
                  <c:x val="0.48800383877159298"/>
                  <c:y val="3.0674846625766898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689D-4E90-A554-02895F0F79E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79</c:v>
                </c:pt>
                <c:pt idx="1">
                  <c:v>161</c:v>
                </c:pt>
                <c:pt idx="2">
                  <c:v>193</c:v>
                </c:pt>
              </c:numCache>
            </c:numRef>
          </c:val>
          <c:extLst>
            <c:ext xmlns:c16="http://schemas.microsoft.com/office/drawing/2014/chart" uri="{C3380CC4-5D6E-409C-BE32-E72D297353CC}">
              <c16:uniqueId val="{00000003-689D-4E90-A554-02895F0F79E5}"/>
            </c:ext>
          </c:extLst>
        </c:ser>
        <c:ser>
          <c:idx val="1"/>
          <c:order val="1"/>
          <c:spPr>
            <a:solidFill>
              <a:srgbClr val="63B1F8"/>
            </a:solidFill>
            <a:ln w="9525" algn="ctr">
              <a:solidFill>
                <a:schemeClr val="tx1"/>
              </a:solidFill>
              <a:prstDash val="solid"/>
            </a:ln>
          </c:spPr>
          <c:invertIfNegative val="0"/>
          <c:dLbls>
            <c:dLbl>
              <c:idx val="0"/>
              <c:layout>
                <c:manualLayout>
                  <c:x val="0.40547024952015398"/>
                  <c:y val="3.0674846625766898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689D-4E90-A554-02895F0F79E5}"/>
                </c:ext>
              </c:extLst>
            </c:dLbl>
            <c:dLbl>
              <c:idx val="1"/>
              <c:layout>
                <c:manualLayout>
                  <c:x val="0.35604606525911697"/>
                  <c:y val="3.0674846625766898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689D-4E90-A554-02895F0F79E5}"/>
                </c:ext>
              </c:extLst>
            </c:dLbl>
            <c:dLbl>
              <c:idx val="2"/>
              <c:layout>
                <c:manualLayout>
                  <c:x val="0.43618042226487502"/>
                  <c:y val="3.0674846625766898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689D-4E90-A554-02895F0F79E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156</c:v>
                </c:pt>
                <c:pt idx="1">
                  <c:v>134</c:v>
                </c:pt>
                <c:pt idx="2">
                  <c:v>170</c:v>
                </c:pt>
              </c:numCache>
            </c:numRef>
          </c:val>
          <c:extLst>
            <c:ext xmlns:c16="http://schemas.microsoft.com/office/drawing/2014/chart" uri="{C3380CC4-5D6E-409C-BE32-E72D297353CC}">
              <c16:uniqueId val="{00000007-689D-4E90-A554-02895F0F79E5}"/>
            </c:ext>
          </c:extLst>
        </c:ser>
        <c:dLbls>
          <c:showLegendKey val="0"/>
          <c:showVal val="0"/>
          <c:showCatName val="0"/>
          <c:showSerName val="0"/>
          <c:showPercent val="0"/>
          <c:showBubbleSize val="0"/>
        </c:dLbls>
        <c:gapWidth val="80"/>
        <c:axId val="-1818201168"/>
        <c:axId val="-1818199392"/>
      </c:barChart>
      <c:catAx>
        <c:axId val="-181820116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818199392"/>
        <c:crosses val="min"/>
        <c:auto val="0"/>
        <c:lblAlgn val="ctr"/>
        <c:lblOffset val="100"/>
        <c:noMultiLvlLbl val="0"/>
      </c:catAx>
      <c:valAx>
        <c:axId val="-1818199392"/>
        <c:scaling>
          <c:orientation val="minMax"/>
          <c:max val="193"/>
          <c:min val="0"/>
        </c:scaling>
        <c:delete val="1"/>
        <c:axPos val="t"/>
        <c:numFmt formatCode="General" sourceLinked="1"/>
        <c:majorTickMark val="out"/>
        <c:minorTickMark val="none"/>
        <c:tickLblPos val="nextTo"/>
        <c:crossAx val="-1818201168"/>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B0134E7-91FA-4C71-B4AF-625A5EB2E48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ru-RU"/>
        </a:p>
      </dgm:t>
    </dgm:pt>
    <dgm:pt modelId="{C2058EC0-2A87-418F-9D1C-0B66CAE7D3AA}">
      <dgm:prSet phldrT="[Текст]" custT="1"/>
      <dgm:spPr/>
      <dgm:t>
        <a:bodyPr/>
        <a:lstStyle/>
        <a:p>
          <a:pPr algn="ctr"/>
          <a:r>
            <a:rPr lang="ru-RU" sz="2400" dirty="0" smtClean="0"/>
            <a:t>Статистические методы</a:t>
          </a:r>
          <a:endParaRPr lang="ru-RU" sz="2400" dirty="0"/>
        </a:p>
      </dgm:t>
    </dgm:pt>
    <dgm:pt modelId="{9FDF2048-5CA2-4065-A52A-C40184CFCC47}" type="parTrans" cxnId="{98BE2070-7D69-4B15-BFCB-4199618E2093}">
      <dgm:prSet/>
      <dgm:spPr/>
      <dgm:t>
        <a:bodyPr/>
        <a:lstStyle/>
        <a:p>
          <a:endParaRPr lang="ru-RU"/>
        </a:p>
      </dgm:t>
    </dgm:pt>
    <dgm:pt modelId="{70E4D0DB-1CBA-4673-8DD0-EE43E0B74A1F}" type="sibTrans" cxnId="{98BE2070-7D69-4B15-BFCB-4199618E2093}">
      <dgm:prSet/>
      <dgm:spPr/>
      <dgm:t>
        <a:bodyPr/>
        <a:lstStyle/>
        <a:p>
          <a:endParaRPr lang="ru-RU"/>
        </a:p>
      </dgm:t>
    </dgm:pt>
    <dgm:pt modelId="{E4ED916A-52B3-4A2E-AA96-F5EC5739F49D}">
      <dgm:prSet phldrT="[Текст]" custT="1"/>
      <dgm:spPr/>
      <dgm:t>
        <a:bodyPr/>
        <a:lstStyle/>
        <a:p>
          <a:pPr algn="just"/>
          <a:endParaRPr lang="ru-RU" sz="1800" dirty="0"/>
        </a:p>
      </dgm:t>
    </dgm:pt>
    <dgm:pt modelId="{AD985D21-B800-4685-8286-D8198C74B736}" type="parTrans" cxnId="{661AB7F5-4CB5-4DD3-A0E4-A3D02E0502A3}">
      <dgm:prSet/>
      <dgm:spPr/>
      <dgm:t>
        <a:bodyPr/>
        <a:lstStyle/>
        <a:p>
          <a:endParaRPr lang="ru-RU"/>
        </a:p>
      </dgm:t>
    </dgm:pt>
    <dgm:pt modelId="{F073B8E1-0245-495B-BF67-F786CB70432C}" type="sibTrans" cxnId="{661AB7F5-4CB5-4DD3-A0E4-A3D02E0502A3}">
      <dgm:prSet/>
      <dgm:spPr/>
      <dgm:t>
        <a:bodyPr/>
        <a:lstStyle/>
        <a:p>
          <a:endParaRPr lang="ru-RU"/>
        </a:p>
      </dgm:t>
    </dgm:pt>
    <dgm:pt modelId="{3AC09247-E84E-42EE-8F4B-B10A31F1B5BD}">
      <dgm:prSet custT="1"/>
      <dgm:spPr/>
      <dgm:t>
        <a:bodyPr/>
        <a:lstStyle/>
        <a:p>
          <a:pPr algn="ctr"/>
          <a:r>
            <a:rPr lang="ru-RU" sz="2400" dirty="0" smtClean="0"/>
            <a:t>Кибернетические методы</a:t>
          </a:r>
          <a:endParaRPr lang="ru-RU" sz="2400" dirty="0"/>
        </a:p>
      </dgm:t>
    </dgm:pt>
    <dgm:pt modelId="{008016D6-EEB6-4192-8AFF-F2F4E82F19BB}" type="parTrans" cxnId="{6863D947-D584-4B56-BB0E-621C844D6363}">
      <dgm:prSet/>
      <dgm:spPr/>
      <dgm:t>
        <a:bodyPr/>
        <a:lstStyle/>
        <a:p>
          <a:endParaRPr lang="ru-RU"/>
        </a:p>
      </dgm:t>
    </dgm:pt>
    <dgm:pt modelId="{91644E0F-9F45-4F28-93E7-8204C1C28FB6}" type="sibTrans" cxnId="{6863D947-D584-4B56-BB0E-621C844D6363}">
      <dgm:prSet/>
      <dgm:spPr/>
      <dgm:t>
        <a:bodyPr/>
        <a:lstStyle/>
        <a:p>
          <a:endParaRPr lang="ru-RU"/>
        </a:p>
      </dgm:t>
    </dgm:pt>
    <dgm:pt modelId="{84EBB558-E342-494B-B636-719473223EBC}" type="pres">
      <dgm:prSet presAssocID="{AB0134E7-91FA-4C71-B4AF-625A5EB2E489}" presName="linear" presStyleCnt="0">
        <dgm:presLayoutVars>
          <dgm:animLvl val="lvl"/>
          <dgm:resizeHandles val="exact"/>
        </dgm:presLayoutVars>
      </dgm:prSet>
      <dgm:spPr/>
      <dgm:t>
        <a:bodyPr/>
        <a:lstStyle/>
        <a:p>
          <a:endParaRPr lang="ru-RU"/>
        </a:p>
      </dgm:t>
    </dgm:pt>
    <dgm:pt modelId="{EC4D6536-DDBE-4C9A-8974-F223EFEA280D}" type="pres">
      <dgm:prSet presAssocID="{C2058EC0-2A87-418F-9D1C-0B66CAE7D3AA}" presName="parentText" presStyleLbl="node1" presStyleIdx="0" presStyleCnt="2">
        <dgm:presLayoutVars>
          <dgm:chMax val="0"/>
          <dgm:bulletEnabled val="1"/>
        </dgm:presLayoutVars>
      </dgm:prSet>
      <dgm:spPr/>
      <dgm:t>
        <a:bodyPr/>
        <a:lstStyle/>
        <a:p>
          <a:endParaRPr lang="ru-RU"/>
        </a:p>
      </dgm:t>
    </dgm:pt>
    <dgm:pt modelId="{BA5F266F-AF42-4A62-A1E9-9CA2B777643A}" type="pres">
      <dgm:prSet presAssocID="{C2058EC0-2A87-418F-9D1C-0B66CAE7D3AA}" presName="childText" presStyleLbl="revTx" presStyleIdx="0" presStyleCnt="1">
        <dgm:presLayoutVars>
          <dgm:bulletEnabled val="1"/>
        </dgm:presLayoutVars>
      </dgm:prSet>
      <dgm:spPr/>
      <dgm:t>
        <a:bodyPr/>
        <a:lstStyle/>
        <a:p>
          <a:endParaRPr lang="ru-RU"/>
        </a:p>
      </dgm:t>
    </dgm:pt>
    <dgm:pt modelId="{158F624F-6DF3-403D-9D0D-A94C0BCE3DA7}" type="pres">
      <dgm:prSet presAssocID="{3AC09247-E84E-42EE-8F4B-B10A31F1B5BD}" presName="parentText" presStyleLbl="node1" presStyleIdx="1" presStyleCnt="2">
        <dgm:presLayoutVars>
          <dgm:chMax val="0"/>
          <dgm:bulletEnabled val="1"/>
        </dgm:presLayoutVars>
      </dgm:prSet>
      <dgm:spPr/>
      <dgm:t>
        <a:bodyPr/>
        <a:lstStyle/>
        <a:p>
          <a:endParaRPr lang="ru-RU"/>
        </a:p>
      </dgm:t>
    </dgm:pt>
  </dgm:ptLst>
  <dgm:cxnLst>
    <dgm:cxn modelId="{B7F60F38-7550-425A-8801-035489834703}" type="presOf" srcId="{C2058EC0-2A87-418F-9D1C-0B66CAE7D3AA}" destId="{EC4D6536-DDBE-4C9A-8974-F223EFEA280D}" srcOrd="0" destOrd="0" presId="urn:microsoft.com/office/officeart/2005/8/layout/vList2"/>
    <dgm:cxn modelId="{3C57DE5A-5B53-48C3-A022-44809BFA98A7}" type="presOf" srcId="{E4ED916A-52B3-4A2E-AA96-F5EC5739F49D}" destId="{BA5F266F-AF42-4A62-A1E9-9CA2B777643A}" srcOrd="0" destOrd="0" presId="urn:microsoft.com/office/officeart/2005/8/layout/vList2"/>
    <dgm:cxn modelId="{98BE2070-7D69-4B15-BFCB-4199618E2093}" srcId="{AB0134E7-91FA-4C71-B4AF-625A5EB2E489}" destId="{C2058EC0-2A87-418F-9D1C-0B66CAE7D3AA}" srcOrd="0" destOrd="0" parTransId="{9FDF2048-5CA2-4065-A52A-C40184CFCC47}" sibTransId="{70E4D0DB-1CBA-4673-8DD0-EE43E0B74A1F}"/>
    <dgm:cxn modelId="{6863D947-D584-4B56-BB0E-621C844D6363}" srcId="{AB0134E7-91FA-4C71-B4AF-625A5EB2E489}" destId="{3AC09247-E84E-42EE-8F4B-B10A31F1B5BD}" srcOrd="1" destOrd="0" parTransId="{008016D6-EEB6-4192-8AFF-F2F4E82F19BB}" sibTransId="{91644E0F-9F45-4F28-93E7-8204C1C28FB6}"/>
    <dgm:cxn modelId="{9ABBCD76-F2E4-4F16-BCBF-B853D47D1164}" type="presOf" srcId="{AB0134E7-91FA-4C71-B4AF-625A5EB2E489}" destId="{84EBB558-E342-494B-B636-719473223EBC}" srcOrd="0" destOrd="0" presId="urn:microsoft.com/office/officeart/2005/8/layout/vList2"/>
    <dgm:cxn modelId="{661AB7F5-4CB5-4DD3-A0E4-A3D02E0502A3}" srcId="{C2058EC0-2A87-418F-9D1C-0B66CAE7D3AA}" destId="{E4ED916A-52B3-4A2E-AA96-F5EC5739F49D}" srcOrd="0" destOrd="0" parTransId="{AD985D21-B800-4685-8286-D8198C74B736}" sibTransId="{F073B8E1-0245-495B-BF67-F786CB70432C}"/>
    <dgm:cxn modelId="{E1F123C9-05D4-4D2B-A6D7-B1E10D066463}" type="presOf" srcId="{3AC09247-E84E-42EE-8F4B-B10A31F1B5BD}" destId="{158F624F-6DF3-403D-9D0D-A94C0BCE3DA7}" srcOrd="0" destOrd="0" presId="urn:microsoft.com/office/officeart/2005/8/layout/vList2"/>
    <dgm:cxn modelId="{B15FAAD1-D369-4DD0-93E2-5BFA1FF5AE11}" type="presParOf" srcId="{84EBB558-E342-494B-B636-719473223EBC}" destId="{EC4D6536-DDBE-4C9A-8974-F223EFEA280D}" srcOrd="0" destOrd="0" presId="urn:microsoft.com/office/officeart/2005/8/layout/vList2"/>
    <dgm:cxn modelId="{904116D7-1527-4766-866A-FC2494C00AE4}" type="presParOf" srcId="{84EBB558-E342-494B-B636-719473223EBC}" destId="{BA5F266F-AF42-4A62-A1E9-9CA2B777643A}" srcOrd="1" destOrd="0" presId="urn:microsoft.com/office/officeart/2005/8/layout/vList2"/>
    <dgm:cxn modelId="{7F62D7EE-923E-4BD4-AF0B-CCAE0BC7CFEB}" type="presParOf" srcId="{84EBB558-E342-494B-B636-719473223EBC}" destId="{158F624F-6DF3-403D-9D0D-A94C0BCE3DA7}"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396CE2D-95F8-4A60-A76A-C402D09E787E}" type="doc">
      <dgm:prSet loTypeId="urn:microsoft.com/office/officeart/2005/8/layout/cycle2" loCatId="cycle" qsTypeId="urn:microsoft.com/office/officeart/2005/8/quickstyle/simple1" qsCatId="simple" csTypeId="urn:microsoft.com/office/officeart/2005/8/colors/accent1_3" csCatId="accent1" phldr="1"/>
      <dgm:spPr/>
      <dgm:t>
        <a:bodyPr/>
        <a:lstStyle/>
        <a:p>
          <a:endParaRPr lang="ru-RU"/>
        </a:p>
      </dgm:t>
    </dgm:pt>
    <dgm:pt modelId="{8D35079E-1206-4BD6-AB4D-3A045A88A847}">
      <dgm:prSet phldrT="[Текст]"/>
      <dgm:spPr/>
      <dgm:t>
        <a:bodyPr/>
        <a:lstStyle/>
        <a:p>
          <a:r>
            <a:rPr lang="en-US" b="1" i="1" dirty="0" smtClean="0"/>
            <a:t>Python</a:t>
          </a:r>
          <a:endParaRPr lang="ru-RU" dirty="0"/>
        </a:p>
      </dgm:t>
    </dgm:pt>
    <dgm:pt modelId="{DD8241A5-CDA9-48B1-A83C-D545268A2ADE}" type="parTrans" cxnId="{9DB5FACE-1C1E-48DB-8434-696C8BD45531}">
      <dgm:prSet/>
      <dgm:spPr/>
      <dgm:t>
        <a:bodyPr/>
        <a:lstStyle/>
        <a:p>
          <a:endParaRPr lang="ru-RU"/>
        </a:p>
      </dgm:t>
    </dgm:pt>
    <dgm:pt modelId="{3C7ABFAC-3FD0-478C-8CA7-66C59C18F29B}" type="sibTrans" cxnId="{9DB5FACE-1C1E-48DB-8434-696C8BD45531}">
      <dgm:prSet/>
      <dgm:spPr/>
      <dgm:t>
        <a:bodyPr/>
        <a:lstStyle/>
        <a:p>
          <a:endParaRPr lang="ru-RU"/>
        </a:p>
      </dgm:t>
    </dgm:pt>
    <dgm:pt modelId="{812E607B-7B1D-4720-BF45-7EE18FBAA4BD}">
      <dgm:prSet phldrT="[Текст]"/>
      <dgm:spPr/>
      <dgm:t>
        <a:bodyPr/>
        <a:lstStyle/>
        <a:p>
          <a:r>
            <a:rPr lang="en-US" b="1" i="1" dirty="0" smtClean="0"/>
            <a:t>R</a:t>
          </a:r>
          <a:endParaRPr lang="ru-RU" dirty="0"/>
        </a:p>
      </dgm:t>
    </dgm:pt>
    <dgm:pt modelId="{84E657A9-DE55-4366-A45B-778AA511A102}" type="parTrans" cxnId="{C843BA25-0361-4C6A-B7F6-97CB59CF94E9}">
      <dgm:prSet/>
      <dgm:spPr/>
      <dgm:t>
        <a:bodyPr/>
        <a:lstStyle/>
        <a:p>
          <a:endParaRPr lang="ru-RU"/>
        </a:p>
      </dgm:t>
    </dgm:pt>
    <dgm:pt modelId="{9551E124-A2EC-40EF-A6E5-67FD18A406FE}" type="sibTrans" cxnId="{C843BA25-0361-4C6A-B7F6-97CB59CF94E9}">
      <dgm:prSet/>
      <dgm:spPr/>
      <dgm:t>
        <a:bodyPr/>
        <a:lstStyle/>
        <a:p>
          <a:endParaRPr lang="ru-RU"/>
        </a:p>
      </dgm:t>
    </dgm:pt>
    <dgm:pt modelId="{7EA380DD-6077-4182-809C-4D5FCACE328D}">
      <dgm:prSet phldrT="[Текст]"/>
      <dgm:spPr/>
      <dgm:t>
        <a:bodyPr/>
        <a:lstStyle/>
        <a:p>
          <a:r>
            <a:rPr lang="en-US" b="1" i="1" dirty="0" smtClean="0"/>
            <a:t>Weka</a:t>
          </a:r>
          <a:endParaRPr lang="ru-RU" dirty="0"/>
        </a:p>
      </dgm:t>
    </dgm:pt>
    <dgm:pt modelId="{1143647C-DCD8-4964-B2CD-8307AB732145}" type="parTrans" cxnId="{4249ACB6-D218-4CC4-92A6-99842CA5EAEA}">
      <dgm:prSet/>
      <dgm:spPr/>
      <dgm:t>
        <a:bodyPr/>
        <a:lstStyle/>
        <a:p>
          <a:endParaRPr lang="ru-RU"/>
        </a:p>
      </dgm:t>
    </dgm:pt>
    <dgm:pt modelId="{328F02FE-96E9-4BEC-B921-ECC51291D42E}" type="sibTrans" cxnId="{4249ACB6-D218-4CC4-92A6-99842CA5EAEA}">
      <dgm:prSet/>
      <dgm:spPr/>
      <dgm:t>
        <a:bodyPr/>
        <a:lstStyle/>
        <a:p>
          <a:endParaRPr lang="ru-RU"/>
        </a:p>
      </dgm:t>
    </dgm:pt>
    <dgm:pt modelId="{0E59F421-57BA-41D3-9AE9-543D668AE658}">
      <dgm:prSet phldrT="[Текст]"/>
      <dgm:spPr/>
      <dgm:t>
        <a:bodyPr/>
        <a:lstStyle/>
        <a:p>
          <a:r>
            <a:rPr lang="en-US" b="1" i="1" dirty="0" err="1" smtClean="0"/>
            <a:t>Rapidminer</a:t>
          </a:r>
          <a:endParaRPr lang="ru-RU" dirty="0"/>
        </a:p>
      </dgm:t>
    </dgm:pt>
    <dgm:pt modelId="{283EA20B-E231-4135-805F-52AB3FCFA149}" type="parTrans" cxnId="{A3066203-8F8D-41D9-9D46-7A7ED7FA9170}">
      <dgm:prSet/>
      <dgm:spPr/>
      <dgm:t>
        <a:bodyPr/>
        <a:lstStyle/>
        <a:p>
          <a:endParaRPr lang="ru-RU"/>
        </a:p>
      </dgm:t>
    </dgm:pt>
    <dgm:pt modelId="{C0D06063-69BD-4223-9AAA-A1D86B848D39}" type="sibTrans" cxnId="{A3066203-8F8D-41D9-9D46-7A7ED7FA9170}">
      <dgm:prSet/>
      <dgm:spPr/>
      <dgm:t>
        <a:bodyPr/>
        <a:lstStyle/>
        <a:p>
          <a:endParaRPr lang="ru-RU"/>
        </a:p>
      </dgm:t>
    </dgm:pt>
    <dgm:pt modelId="{715C2EA4-F38F-4A02-9DC8-14578303F397}">
      <dgm:prSet phldrT="[Текст]"/>
      <dgm:spPr/>
      <dgm:t>
        <a:bodyPr/>
        <a:lstStyle/>
        <a:p>
          <a:r>
            <a:rPr lang="en-US" b="1" i="0" dirty="0" err="1" smtClean="0"/>
            <a:t>Knime</a:t>
          </a:r>
          <a:endParaRPr lang="ru-RU" dirty="0"/>
        </a:p>
      </dgm:t>
    </dgm:pt>
    <dgm:pt modelId="{3BB25B1E-253F-402B-AA67-88B161ED03BF}" type="parTrans" cxnId="{6DA99E5B-C22F-457C-BEFD-1415AE5BCDC0}">
      <dgm:prSet/>
      <dgm:spPr/>
      <dgm:t>
        <a:bodyPr/>
        <a:lstStyle/>
        <a:p>
          <a:endParaRPr lang="ru-RU"/>
        </a:p>
      </dgm:t>
    </dgm:pt>
    <dgm:pt modelId="{9140CB44-C166-446C-BD6C-337DC872A324}" type="sibTrans" cxnId="{6DA99E5B-C22F-457C-BEFD-1415AE5BCDC0}">
      <dgm:prSet/>
      <dgm:spPr/>
      <dgm:t>
        <a:bodyPr/>
        <a:lstStyle/>
        <a:p>
          <a:endParaRPr lang="ru-RU"/>
        </a:p>
      </dgm:t>
    </dgm:pt>
    <dgm:pt modelId="{03C583B1-4085-4306-869F-7A08D4CCE5BE}" type="pres">
      <dgm:prSet presAssocID="{7396CE2D-95F8-4A60-A76A-C402D09E787E}" presName="cycle" presStyleCnt="0">
        <dgm:presLayoutVars>
          <dgm:dir/>
          <dgm:resizeHandles val="exact"/>
        </dgm:presLayoutVars>
      </dgm:prSet>
      <dgm:spPr/>
      <dgm:t>
        <a:bodyPr/>
        <a:lstStyle/>
        <a:p>
          <a:endParaRPr lang="ru-RU"/>
        </a:p>
      </dgm:t>
    </dgm:pt>
    <dgm:pt modelId="{DA6F831F-B002-49C8-8AA9-C94413CBF2D4}" type="pres">
      <dgm:prSet presAssocID="{8D35079E-1206-4BD6-AB4D-3A045A88A847}" presName="node" presStyleLbl="node1" presStyleIdx="0" presStyleCnt="5">
        <dgm:presLayoutVars>
          <dgm:bulletEnabled val="1"/>
        </dgm:presLayoutVars>
      </dgm:prSet>
      <dgm:spPr/>
      <dgm:t>
        <a:bodyPr/>
        <a:lstStyle/>
        <a:p>
          <a:endParaRPr lang="ru-RU"/>
        </a:p>
      </dgm:t>
    </dgm:pt>
    <dgm:pt modelId="{9C906BEC-3017-4ADA-B660-2ADE7D2A8DB5}" type="pres">
      <dgm:prSet presAssocID="{3C7ABFAC-3FD0-478C-8CA7-66C59C18F29B}" presName="sibTrans" presStyleLbl="sibTrans2D1" presStyleIdx="0" presStyleCnt="5"/>
      <dgm:spPr/>
      <dgm:t>
        <a:bodyPr/>
        <a:lstStyle/>
        <a:p>
          <a:endParaRPr lang="ru-RU"/>
        </a:p>
      </dgm:t>
    </dgm:pt>
    <dgm:pt modelId="{0507330B-D628-457D-90FA-327ACE56F70D}" type="pres">
      <dgm:prSet presAssocID="{3C7ABFAC-3FD0-478C-8CA7-66C59C18F29B}" presName="connectorText" presStyleLbl="sibTrans2D1" presStyleIdx="0" presStyleCnt="5"/>
      <dgm:spPr/>
      <dgm:t>
        <a:bodyPr/>
        <a:lstStyle/>
        <a:p>
          <a:endParaRPr lang="ru-RU"/>
        </a:p>
      </dgm:t>
    </dgm:pt>
    <dgm:pt modelId="{BC99A2B0-7C61-42A6-81EB-4EDD5F4AD4A4}" type="pres">
      <dgm:prSet presAssocID="{812E607B-7B1D-4720-BF45-7EE18FBAA4BD}" presName="node" presStyleLbl="node1" presStyleIdx="1" presStyleCnt="5">
        <dgm:presLayoutVars>
          <dgm:bulletEnabled val="1"/>
        </dgm:presLayoutVars>
      </dgm:prSet>
      <dgm:spPr/>
      <dgm:t>
        <a:bodyPr/>
        <a:lstStyle/>
        <a:p>
          <a:endParaRPr lang="ru-RU"/>
        </a:p>
      </dgm:t>
    </dgm:pt>
    <dgm:pt modelId="{51583F17-3EA0-4ED8-9CFE-3875082BEE37}" type="pres">
      <dgm:prSet presAssocID="{9551E124-A2EC-40EF-A6E5-67FD18A406FE}" presName="sibTrans" presStyleLbl="sibTrans2D1" presStyleIdx="1" presStyleCnt="5"/>
      <dgm:spPr/>
      <dgm:t>
        <a:bodyPr/>
        <a:lstStyle/>
        <a:p>
          <a:endParaRPr lang="ru-RU"/>
        </a:p>
      </dgm:t>
    </dgm:pt>
    <dgm:pt modelId="{179B857D-2354-421C-BDFB-21A08C50F2A0}" type="pres">
      <dgm:prSet presAssocID="{9551E124-A2EC-40EF-A6E5-67FD18A406FE}" presName="connectorText" presStyleLbl="sibTrans2D1" presStyleIdx="1" presStyleCnt="5"/>
      <dgm:spPr/>
      <dgm:t>
        <a:bodyPr/>
        <a:lstStyle/>
        <a:p>
          <a:endParaRPr lang="ru-RU"/>
        </a:p>
      </dgm:t>
    </dgm:pt>
    <dgm:pt modelId="{04075BFB-08DE-4B63-B3F1-2E5D34604EF3}" type="pres">
      <dgm:prSet presAssocID="{7EA380DD-6077-4182-809C-4D5FCACE328D}" presName="node" presStyleLbl="node1" presStyleIdx="2" presStyleCnt="5">
        <dgm:presLayoutVars>
          <dgm:bulletEnabled val="1"/>
        </dgm:presLayoutVars>
      </dgm:prSet>
      <dgm:spPr/>
      <dgm:t>
        <a:bodyPr/>
        <a:lstStyle/>
        <a:p>
          <a:endParaRPr lang="ru-RU"/>
        </a:p>
      </dgm:t>
    </dgm:pt>
    <dgm:pt modelId="{527F8804-D67F-40D2-9806-52C325CEE022}" type="pres">
      <dgm:prSet presAssocID="{328F02FE-96E9-4BEC-B921-ECC51291D42E}" presName="sibTrans" presStyleLbl="sibTrans2D1" presStyleIdx="2" presStyleCnt="5"/>
      <dgm:spPr/>
      <dgm:t>
        <a:bodyPr/>
        <a:lstStyle/>
        <a:p>
          <a:endParaRPr lang="ru-RU"/>
        </a:p>
      </dgm:t>
    </dgm:pt>
    <dgm:pt modelId="{2D6B5C3C-E0DA-4360-9AA6-0A9EC54F53A7}" type="pres">
      <dgm:prSet presAssocID="{328F02FE-96E9-4BEC-B921-ECC51291D42E}" presName="connectorText" presStyleLbl="sibTrans2D1" presStyleIdx="2" presStyleCnt="5"/>
      <dgm:spPr/>
      <dgm:t>
        <a:bodyPr/>
        <a:lstStyle/>
        <a:p>
          <a:endParaRPr lang="ru-RU"/>
        </a:p>
      </dgm:t>
    </dgm:pt>
    <dgm:pt modelId="{622C6481-79F4-47C2-9191-F6B487766AB6}" type="pres">
      <dgm:prSet presAssocID="{0E59F421-57BA-41D3-9AE9-543D668AE658}" presName="node" presStyleLbl="node1" presStyleIdx="3" presStyleCnt="5">
        <dgm:presLayoutVars>
          <dgm:bulletEnabled val="1"/>
        </dgm:presLayoutVars>
      </dgm:prSet>
      <dgm:spPr/>
      <dgm:t>
        <a:bodyPr/>
        <a:lstStyle/>
        <a:p>
          <a:endParaRPr lang="ru-RU"/>
        </a:p>
      </dgm:t>
    </dgm:pt>
    <dgm:pt modelId="{34C9744C-E81E-4A36-81C4-F9BD8AE10D04}" type="pres">
      <dgm:prSet presAssocID="{C0D06063-69BD-4223-9AAA-A1D86B848D39}" presName="sibTrans" presStyleLbl="sibTrans2D1" presStyleIdx="3" presStyleCnt="5"/>
      <dgm:spPr/>
      <dgm:t>
        <a:bodyPr/>
        <a:lstStyle/>
        <a:p>
          <a:endParaRPr lang="ru-RU"/>
        </a:p>
      </dgm:t>
    </dgm:pt>
    <dgm:pt modelId="{A43CF402-E452-495B-9EB8-A7AA58345628}" type="pres">
      <dgm:prSet presAssocID="{C0D06063-69BD-4223-9AAA-A1D86B848D39}" presName="connectorText" presStyleLbl="sibTrans2D1" presStyleIdx="3" presStyleCnt="5"/>
      <dgm:spPr/>
      <dgm:t>
        <a:bodyPr/>
        <a:lstStyle/>
        <a:p>
          <a:endParaRPr lang="ru-RU"/>
        </a:p>
      </dgm:t>
    </dgm:pt>
    <dgm:pt modelId="{D3BC90CE-F1AA-4E7C-9917-998DD6FE4198}" type="pres">
      <dgm:prSet presAssocID="{715C2EA4-F38F-4A02-9DC8-14578303F397}" presName="node" presStyleLbl="node1" presStyleIdx="4" presStyleCnt="5">
        <dgm:presLayoutVars>
          <dgm:bulletEnabled val="1"/>
        </dgm:presLayoutVars>
      </dgm:prSet>
      <dgm:spPr/>
      <dgm:t>
        <a:bodyPr/>
        <a:lstStyle/>
        <a:p>
          <a:endParaRPr lang="ru-RU"/>
        </a:p>
      </dgm:t>
    </dgm:pt>
    <dgm:pt modelId="{B7674819-803B-4CA3-BF37-C16ADEB31323}" type="pres">
      <dgm:prSet presAssocID="{9140CB44-C166-446C-BD6C-337DC872A324}" presName="sibTrans" presStyleLbl="sibTrans2D1" presStyleIdx="4" presStyleCnt="5"/>
      <dgm:spPr/>
      <dgm:t>
        <a:bodyPr/>
        <a:lstStyle/>
        <a:p>
          <a:endParaRPr lang="ru-RU"/>
        </a:p>
      </dgm:t>
    </dgm:pt>
    <dgm:pt modelId="{786AE35D-1414-4819-B99F-24EC90BE126A}" type="pres">
      <dgm:prSet presAssocID="{9140CB44-C166-446C-BD6C-337DC872A324}" presName="connectorText" presStyleLbl="sibTrans2D1" presStyleIdx="4" presStyleCnt="5"/>
      <dgm:spPr/>
      <dgm:t>
        <a:bodyPr/>
        <a:lstStyle/>
        <a:p>
          <a:endParaRPr lang="ru-RU"/>
        </a:p>
      </dgm:t>
    </dgm:pt>
  </dgm:ptLst>
  <dgm:cxnLst>
    <dgm:cxn modelId="{FB75E89B-8171-4C5B-8B56-989E0BA92F64}" type="presOf" srcId="{9551E124-A2EC-40EF-A6E5-67FD18A406FE}" destId="{179B857D-2354-421C-BDFB-21A08C50F2A0}" srcOrd="1" destOrd="0" presId="urn:microsoft.com/office/officeart/2005/8/layout/cycle2"/>
    <dgm:cxn modelId="{E84D9279-A793-48CA-807A-AE4936A96460}" type="presOf" srcId="{328F02FE-96E9-4BEC-B921-ECC51291D42E}" destId="{527F8804-D67F-40D2-9806-52C325CEE022}" srcOrd="0" destOrd="0" presId="urn:microsoft.com/office/officeart/2005/8/layout/cycle2"/>
    <dgm:cxn modelId="{6DA99E5B-C22F-457C-BEFD-1415AE5BCDC0}" srcId="{7396CE2D-95F8-4A60-A76A-C402D09E787E}" destId="{715C2EA4-F38F-4A02-9DC8-14578303F397}" srcOrd="4" destOrd="0" parTransId="{3BB25B1E-253F-402B-AA67-88B161ED03BF}" sibTransId="{9140CB44-C166-446C-BD6C-337DC872A324}"/>
    <dgm:cxn modelId="{C843BA25-0361-4C6A-B7F6-97CB59CF94E9}" srcId="{7396CE2D-95F8-4A60-A76A-C402D09E787E}" destId="{812E607B-7B1D-4720-BF45-7EE18FBAA4BD}" srcOrd="1" destOrd="0" parTransId="{84E657A9-DE55-4366-A45B-778AA511A102}" sibTransId="{9551E124-A2EC-40EF-A6E5-67FD18A406FE}"/>
    <dgm:cxn modelId="{50966C0B-D9E3-4165-BF3A-1077CF5375DC}" type="presOf" srcId="{0E59F421-57BA-41D3-9AE9-543D668AE658}" destId="{622C6481-79F4-47C2-9191-F6B487766AB6}" srcOrd="0" destOrd="0" presId="urn:microsoft.com/office/officeart/2005/8/layout/cycle2"/>
    <dgm:cxn modelId="{A062BF4F-029E-4A37-A70E-A5F3E05373CE}" type="presOf" srcId="{9140CB44-C166-446C-BD6C-337DC872A324}" destId="{B7674819-803B-4CA3-BF37-C16ADEB31323}" srcOrd="0" destOrd="0" presId="urn:microsoft.com/office/officeart/2005/8/layout/cycle2"/>
    <dgm:cxn modelId="{34002FB4-3B5A-46A5-A48E-9540259323A9}" type="presOf" srcId="{7EA380DD-6077-4182-809C-4D5FCACE328D}" destId="{04075BFB-08DE-4B63-B3F1-2E5D34604EF3}" srcOrd="0" destOrd="0" presId="urn:microsoft.com/office/officeart/2005/8/layout/cycle2"/>
    <dgm:cxn modelId="{FC06302E-6DA6-4A65-9DF9-0FC7E2F36A70}" type="presOf" srcId="{C0D06063-69BD-4223-9AAA-A1D86B848D39}" destId="{A43CF402-E452-495B-9EB8-A7AA58345628}" srcOrd="1" destOrd="0" presId="urn:microsoft.com/office/officeart/2005/8/layout/cycle2"/>
    <dgm:cxn modelId="{D11395C4-D500-4A14-BDE4-7EA029C42FA3}" type="presOf" srcId="{715C2EA4-F38F-4A02-9DC8-14578303F397}" destId="{D3BC90CE-F1AA-4E7C-9917-998DD6FE4198}" srcOrd="0" destOrd="0" presId="urn:microsoft.com/office/officeart/2005/8/layout/cycle2"/>
    <dgm:cxn modelId="{511DAE56-5D09-4CC6-974C-B53F7F0C745D}" type="presOf" srcId="{9551E124-A2EC-40EF-A6E5-67FD18A406FE}" destId="{51583F17-3EA0-4ED8-9CFE-3875082BEE37}" srcOrd="0" destOrd="0" presId="urn:microsoft.com/office/officeart/2005/8/layout/cycle2"/>
    <dgm:cxn modelId="{DC77A8B7-6C7B-4A97-BFAF-5494AEB74592}" type="presOf" srcId="{9140CB44-C166-446C-BD6C-337DC872A324}" destId="{786AE35D-1414-4819-B99F-24EC90BE126A}" srcOrd="1" destOrd="0" presId="urn:microsoft.com/office/officeart/2005/8/layout/cycle2"/>
    <dgm:cxn modelId="{B146B5EB-FE81-45E1-9735-67958C263E10}" type="presOf" srcId="{3C7ABFAC-3FD0-478C-8CA7-66C59C18F29B}" destId="{9C906BEC-3017-4ADA-B660-2ADE7D2A8DB5}" srcOrd="0" destOrd="0" presId="urn:microsoft.com/office/officeart/2005/8/layout/cycle2"/>
    <dgm:cxn modelId="{3534696F-6BA4-4D55-9DD9-C7D80EAF922A}" type="presOf" srcId="{812E607B-7B1D-4720-BF45-7EE18FBAA4BD}" destId="{BC99A2B0-7C61-42A6-81EB-4EDD5F4AD4A4}" srcOrd="0" destOrd="0" presId="urn:microsoft.com/office/officeart/2005/8/layout/cycle2"/>
    <dgm:cxn modelId="{C97AD342-3B7D-442D-BA17-E18D095F7795}" type="presOf" srcId="{7396CE2D-95F8-4A60-A76A-C402D09E787E}" destId="{03C583B1-4085-4306-869F-7A08D4CCE5BE}" srcOrd="0" destOrd="0" presId="urn:microsoft.com/office/officeart/2005/8/layout/cycle2"/>
    <dgm:cxn modelId="{E90D5C05-2F1C-4E7E-8C2E-DA0D69C47121}" type="presOf" srcId="{3C7ABFAC-3FD0-478C-8CA7-66C59C18F29B}" destId="{0507330B-D628-457D-90FA-327ACE56F70D}" srcOrd="1" destOrd="0" presId="urn:microsoft.com/office/officeart/2005/8/layout/cycle2"/>
    <dgm:cxn modelId="{4249ACB6-D218-4CC4-92A6-99842CA5EAEA}" srcId="{7396CE2D-95F8-4A60-A76A-C402D09E787E}" destId="{7EA380DD-6077-4182-809C-4D5FCACE328D}" srcOrd="2" destOrd="0" parTransId="{1143647C-DCD8-4964-B2CD-8307AB732145}" sibTransId="{328F02FE-96E9-4BEC-B921-ECC51291D42E}"/>
    <dgm:cxn modelId="{A3066203-8F8D-41D9-9D46-7A7ED7FA9170}" srcId="{7396CE2D-95F8-4A60-A76A-C402D09E787E}" destId="{0E59F421-57BA-41D3-9AE9-543D668AE658}" srcOrd="3" destOrd="0" parTransId="{283EA20B-E231-4135-805F-52AB3FCFA149}" sibTransId="{C0D06063-69BD-4223-9AAA-A1D86B848D39}"/>
    <dgm:cxn modelId="{9DB5FACE-1C1E-48DB-8434-696C8BD45531}" srcId="{7396CE2D-95F8-4A60-A76A-C402D09E787E}" destId="{8D35079E-1206-4BD6-AB4D-3A045A88A847}" srcOrd="0" destOrd="0" parTransId="{DD8241A5-CDA9-48B1-A83C-D545268A2ADE}" sibTransId="{3C7ABFAC-3FD0-478C-8CA7-66C59C18F29B}"/>
    <dgm:cxn modelId="{E88FA4BA-4625-4058-B5B6-5FD5F1C550FB}" type="presOf" srcId="{328F02FE-96E9-4BEC-B921-ECC51291D42E}" destId="{2D6B5C3C-E0DA-4360-9AA6-0A9EC54F53A7}" srcOrd="1" destOrd="0" presId="urn:microsoft.com/office/officeart/2005/8/layout/cycle2"/>
    <dgm:cxn modelId="{6BD8365E-0C79-4068-B29A-E0F281617BCC}" type="presOf" srcId="{C0D06063-69BD-4223-9AAA-A1D86B848D39}" destId="{34C9744C-E81E-4A36-81C4-F9BD8AE10D04}" srcOrd="0" destOrd="0" presId="urn:microsoft.com/office/officeart/2005/8/layout/cycle2"/>
    <dgm:cxn modelId="{332AAA3B-8153-43AC-89F6-B695FEE72935}" type="presOf" srcId="{8D35079E-1206-4BD6-AB4D-3A045A88A847}" destId="{DA6F831F-B002-49C8-8AA9-C94413CBF2D4}" srcOrd="0" destOrd="0" presId="urn:microsoft.com/office/officeart/2005/8/layout/cycle2"/>
    <dgm:cxn modelId="{610DA0F2-A67E-4542-9009-F898A49AAD07}" type="presParOf" srcId="{03C583B1-4085-4306-869F-7A08D4CCE5BE}" destId="{DA6F831F-B002-49C8-8AA9-C94413CBF2D4}" srcOrd="0" destOrd="0" presId="urn:microsoft.com/office/officeart/2005/8/layout/cycle2"/>
    <dgm:cxn modelId="{37083EE4-9E55-4CEA-B3B5-4CC7C80C3E22}" type="presParOf" srcId="{03C583B1-4085-4306-869F-7A08D4CCE5BE}" destId="{9C906BEC-3017-4ADA-B660-2ADE7D2A8DB5}" srcOrd="1" destOrd="0" presId="urn:microsoft.com/office/officeart/2005/8/layout/cycle2"/>
    <dgm:cxn modelId="{B2A428F3-2ED7-45BC-A64C-30E73BDF6497}" type="presParOf" srcId="{9C906BEC-3017-4ADA-B660-2ADE7D2A8DB5}" destId="{0507330B-D628-457D-90FA-327ACE56F70D}" srcOrd="0" destOrd="0" presId="urn:microsoft.com/office/officeart/2005/8/layout/cycle2"/>
    <dgm:cxn modelId="{924F8012-DB26-4414-8F3F-F2C4B7AA51AD}" type="presParOf" srcId="{03C583B1-4085-4306-869F-7A08D4CCE5BE}" destId="{BC99A2B0-7C61-42A6-81EB-4EDD5F4AD4A4}" srcOrd="2" destOrd="0" presId="urn:microsoft.com/office/officeart/2005/8/layout/cycle2"/>
    <dgm:cxn modelId="{AED3351A-A7E3-418F-8493-695B886DFA9B}" type="presParOf" srcId="{03C583B1-4085-4306-869F-7A08D4CCE5BE}" destId="{51583F17-3EA0-4ED8-9CFE-3875082BEE37}" srcOrd="3" destOrd="0" presId="urn:microsoft.com/office/officeart/2005/8/layout/cycle2"/>
    <dgm:cxn modelId="{E561C7C7-C06B-441A-B803-5C6DF1C826DF}" type="presParOf" srcId="{51583F17-3EA0-4ED8-9CFE-3875082BEE37}" destId="{179B857D-2354-421C-BDFB-21A08C50F2A0}" srcOrd="0" destOrd="0" presId="urn:microsoft.com/office/officeart/2005/8/layout/cycle2"/>
    <dgm:cxn modelId="{7970C5AD-0DB5-404C-9953-38F1D3572967}" type="presParOf" srcId="{03C583B1-4085-4306-869F-7A08D4CCE5BE}" destId="{04075BFB-08DE-4B63-B3F1-2E5D34604EF3}" srcOrd="4" destOrd="0" presId="urn:microsoft.com/office/officeart/2005/8/layout/cycle2"/>
    <dgm:cxn modelId="{DFB59E86-DA41-44EF-B828-144CEB51CD14}" type="presParOf" srcId="{03C583B1-4085-4306-869F-7A08D4CCE5BE}" destId="{527F8804-D67F-40D2-9806-52C325CEE022}" srcOrd="5" destOrd="0" presId="urn:microsoft.com/office/officeart/2005/8/layout/cycle2"/>
    <dgm:cxn modelId="{DD9D6664-F0C1-4FB2-9254-08457DD2D06D}" type="presParOf" srcId="{527F8804-D67F-40D2-9806-52C325CEE022}" destId="{2D6B5C3C-E0DA-4360-9AA6-0A9EC54F53A7}" srcOrd="0" destOrd="0" presId="urn:microsoft.com/office/officeart/2005/8/layout/cycle2"/>
    <dgm:cxn modelId="{BD7B4F15-7C3D-4E69-BDEC-AC170195C934}" type="presParOf" srcId="{03C583B1-4085-4306-869F-7A08D4CCE5BE}" destId="{622C6481-79F4-47C2-9191-F6B487766AB6}" srcOrd="6" destOrd="0" presId="urn:microsoft.com/office/officeart/2005/8/layout/cycle2"/>
    <dgm:cxn modelId="{246A5BC3-C01F-455D-B8C5-2515F8CA4871}" type="presParOf" srcId="{03C583B1-4085-4306-869F-7A08D4CCE5BE}" destId="{34C9744C-E81E-4A36-81C4-F9BD8AE10D04}" srcOrd="7" destOrd="0" presId="urn:microsoft.com/office/officeart/2005/8/layout/cycle2"/>
    <dgm:cxn modelId="{D9761E4E-F031-4678-98D2-720664958294}" type="presParOf" srcId="{34C9744C-E81E-4A36-81C4-F9BD8AE10D04}" destId="{A43CF402-E452-495B-9EB8-A7AA58345628}" srcOrd="0" destOrd="0" presId="urn:microsoft.com/office/officeart/2005/8/layout/cycle2"/>
    <dgm:cxn modelId="{8D289ADA-C726-4930-9B7F-A88AAD8A9A3C}" type="presParOf" srcId="{03C583B1-4085-4306-869F-7A08D4CCE5BE}" destId="{D3BC90CE-F1AA-4E7C-9917-998DD6FE4198}" srcOrd="8" destOrd="0" presId="urn:microsoft.com/office/officeart/2005/8/layout/cycle2"/>
    <dgm:cxn modelId="{1177815F-7EAE-48E2-B502-8B654468801E}" type="presParOf" srcId="{03C583B1-4085-4306-869F-7A08D4CCE5BE}" destId="{B7674819-803B-4CA3-BF37-C16ADEB31323}" srcOrd="9" destOrd="0" presId="urn:microsoft.com/office/officeart/2005/8/layout/cycle2"/>
    <dgm:cxn modelId="{369E48E3-120F-4500-AFE0-430533047B43}" type="presParOf" srcId="{B7674819-803B-4CA3-BF37-C16ADEB31323}" destId="{786AE35D-1414-4819-B99F-24EC90BE126A}"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4D6536-DDBE-4C9A-8974-F223EFEA280D}">
      <dsp:nvSpPr>
        <dsp:cNvPr id="0" name=""/>
        <dsp:cNvSpPr/>
      </dsp:nvSpPr>
      <dsp:spPr>
        <a:xfrm>
          <a:off x="0" y="1397"/>
          <a:ext cx="4271993"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ru-RU" sz="2400" kern="1200" dirty="0" smtClean="0"/>
            <a:t>Статистические методы</a:t>
          </a:r>
          <a:endParaRPr lang="ru-RU" sz="2400" kern="1200" dirty="0"/>
        </a:p>
      </dsp:txBody>
      <dsp:txXfrm>
        <a:off x="59399" y="60796"/>
        <a:ext cx="4153195" cy="1098002"/>
      </dsp:txXfrm>
    </dsp:sp>
    <dsp:sp modelId="{BA5F266F-AF42-4A62-A1E9-9CA2B777643A}">
      <dsp:nvSpPr>
        <dsp:cNvPr id="0" name=""/>
        <dsp:cNvSpPr/>
      </dsp:nvSpPr>
      <dsp:spPr>
        <a:xfrm>
          <a:off x="0" y="1218197"/>
          <a:ext cx="4271993"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5636" tIns="22860" rIns="128016" bIns="22860" numCol="1" spcCol="1270" anchor="t" anchorCtr="0">
          <a:noAutofit/>
        </a:bodyPr>
        <a:lstStyle/>
        <a:p>
          <a:pPr marL="171450" lvl="1" indent="-171450" algn="just" defTabSz="800100">
            <a:lnSpc>
              <a:spcPct val="90000"/>
            </a:lnSpc>
            <a:spcBef>
              <a:spcPct val="0"/>
            </a:spcBef>
            <a:spcAft>
              <a:spcPct val="20000"/>
            </a:spcAft>
            <a:buChar char="••"/>
          </a:pPr>
          <a:endParaRPr lang="ru-RU" sz="1800" kern="1200" dirty="0"/>
        </a:p>
      </dsp:txBody>
      <dsp:txXfrm>
        <a:off x="0" y="1218197"/>
        <a:ext cx="4271993" cy="1076400"/>
      </dsp:txXfrm>
    </dsp:sp>
    <dsp:sp modelId="{158F624F-6DF3-403D-9D0D-A94C0BCE3DA7}">
      <dsp:nvSpPr>
        <dsp:cNvPr id="0" name=""/>
        <dsp:cNvSpPr/>
      </dsp:nvSpPr>
      <dsp:spPr>
        <a:xfrm>
          <a:off x="0" y="2294597"/>
          <a:ext cx="4271993"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ru-RU" sz="2400" kern="1200" dirty="0" smtClean="0"/>
            <a:t>Кибернетические методы</a:t>
          </a:r>
          <a:endParaRPr lang="ru-RU" sz="2400" kern="1200" dirty="0"/>
        </a:p>
      </dsp:txBody>
      <dsp:txXfrm>
        <a:off x="59399" y="2353996"/>
        <a:ext cx="4153195" cy="10980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6F831F-B002-49C8-8AA9-C94413CBF2D4}">
      <dsp:nvSpPr>
        <dsp:cNvPr id="0" name=""/>
        <dsp:cNvSpPr/>
      </dsp:nvSpPr>
      <dsp:spPr>
        <a:xfrm>
          <a:off x="3540652" y="1891"/>
          <a:ext cx="1865340" cy="1865340"/>
        </a:xfrm>
        <a:prstGeom prst="ellipse">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b="1" i="1" kern="1200" dirty="0" smtClean="0"/>
            <a:t>Python</a:t>
          </a:r>
          <a:endParaRPr lang="ru-RU" sz="2000" kern="1200" dirty="0"/>
        </a:p>
      </dsp:txBody>
      <dsp:txXfrm>
        <a:off x="3813825" y="275064"/>
        <a:ext cx="1318994" cy="1318994"/>
      </dsp:txXfrm>
    </dsp:sp>
    <dsp:sp modelId="{9C906BEC-3017-4ADA-B660-2ADE7D2A8DB5}">
      <dsp:nvSpPr>
        <dsp:cNvPr id="0" name=""/>
        <dsp:cNvSpPr/>
      </dsp:nvSpPr>
      <dsp:spPr>
        <a:xfrm rot="2160000">
          <a:off x="5346819" y="1434222"/>
          <a:ext cx="494956" cy="629552"/>
        </a:xfrm>
        <a:prstGeom prst="rightArrow">
          <a:avLst>
            <a:gd name="adj1" fmla="val 60000"/>
            <a:gd name="adj2" fmla="val 50000"/>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ru-RU" sz="1600" kern="1200"/>
        </a:p>
      </dsp:txBody>
      <dsp:txXfrm>
        <a:off x="5360998" y="1516493"/>
        <a:ext cx="346469" cy="377732"/>
      </dsp:txXfrm>
    </dsp:sp>
    <dsp:sp modelId="{BC99A2B0-7C61-42A6-81EB-4EDD5F4AD4A4}">
      <dsp:nvSpPr>
        <dsp:cNvPr id="0" name=""/>
        <dsp:cNvSpPr/>
      </dsp:nvSpPr>
      <dsp:spPr>
        <a:xfrm>
          <a:off x="5805269" y="1647232"/>
          <a:ext cx="1865340" cy="1865340"/>
        </a:xfrm>
        <a:prstGeom prst="ellipse">
          <a:avLst/>
        </a:prstGeom>
        <a:solidFill>
          <a:schemeClr val="accent1">
            <a:shade val="80000"/>
            <a:hueOff val="41344"/>
            <a:satOff val="-7103"/>
            <a:lumOff val="792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b="1" i="1" kern="1200" dirty="0" smtClean="0"/>
            <a:t>R</a:t>
          </a:r>
          <a:endParaRPr lang="ru-RU" sz="2000" kern="1200" dirty="0"/>
        </a:p>
      </dsp:txBody>
      <dsp:txXfrm>
        <a:off x="6078442" y="1920405"/>
        <a:ext cx="1318994" cy="1318994"/>
      </dsp:txXfrm>
    </dsp:sp>
    <dsp:sp modelId="{51583F17-3EA0-4ED8-9CFE-3875082BEE37}">
      <dsp:nvSpPr>
        <dsp:cNvPr id="0" name=""/>
        <dsp:cNvSpPr/>
      </dsp:nvSpPr>
      <dsp:spPr>
        <a:xfrm rot="6480000">
          <a:off x="6062286" y="3582912"/>
          <a:ext cx="494956" cy="629552"/>
        </a:xfrm>
        <a:prstGeom prst="rightArrow">
          <a:avLst>
            <a:gd name="adj1" fmla="val 60000"/>
            <a:gd name="adj2" fmla="val 50000"/>
          </a:avLst>
        </a:prstGeom>
        <a:solidFill>
          <a:schemeClr val="accent1">
            <a:shade val="90000"/>
            <a:hueOff val="41337"/>
            <a:satOff val="-6987"/>
            <a:lumOff val="736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ru-RU" sz="1600" kern="1200"/>
        </a:p>
      </dsp:txBody>
      <dsp:txXfrm rot="10800000">
        <a:off x="6159472" y="3638212"/>
        <a:ext cx="346469" cy="377732"/>
      </dsp:txXfrm>
    </dsp:sp>
    <dsp:sp modelId="{04075BFB-08DE-4B63-B3F1-2E5D34604EF3}">
      <dsp:nvSpPr>
        <dsp:cNvPr id="0" name=""/>
        <dsp:cNvSpPr/>
      </dsp:nvSpPr>
      <dsp:spPr>
        <a:xfrm>
          <a:off x="4940262" y="4309449"/>
          <a:ext cx="1865340" cy="1865340"/>
        </a:xfrm>
        <a:prstGeom prst="ellipse">
          <a:avLst/>
        </a:prstGeom>
        <a:solidFill>
          <a:schemeClr val="accent1">
            <a:shade val="80000"/>
            <a:hueOff val="82687"/>
            <a:satOff val="-14206"/>
            <a:lumOff val="1585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b="1" i="1" kern="1200" dirty="0" smtClean="0"/>
            <a:t>Weka</a:t>
          </a:r>
          <a:endParaRPr lang="ru-RU" sz="2000" kern="1200" dirty="0"/>
        </a:p>
      </dsp:txBody>
      <dsp:txXfrm>
        <a:off x="5213435" y="4582622"/>
        <a:ext cx="1318994" cy="1318994"/>
      </dsp:txXfrm>
    </dsp:sp>
    <dsp:sp modelId="{527F8804-D67F-40D2-9806-52C325CEE022}">
      <dsp:nvSpPr>
        <dsp:cNvPr id="0" name=""/>
        <dsp:cNvSpPr/>
      </dsp:nvSpPr>
      <dsp:spPr>
        <a:xfrm rot="10800000">
          <a:off x="4239852" y="4927343"/>
          <a:ext cx="494956" cy="629552"/>
        </a:xfrm>
        <a:prstGeom prst="rightArrow">
          <a:avLst>
            <a:gd name="adj1" fmla="val 60000"/>
            <a:gd name="adj2" fmla="val 50000"/>
          </a:avLst>
        </a:prstGeom>
        <a:solidFill>
          <a:schemeClr val="accent1">
            <a:shade val="90000"/>
            <a:hueOff val="82673"/>
            <a:satOff val="-13974"/>
            <a:lumOff val="14721"/>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ru-RU" sz="1600" kern="1200"/>
        </a:p>
      </dsp:txBody>
      <dsp:txXfrm rot="10800000">
        <a:off x="4388339" y="5053253"/>
        <a:ext cx="346469" cy="377732"/>
      </dsp:txXfrm>
    </dsp:sp>
    <dsp:sp modelId="{622C6481-79F4-47C2-9191-F6B487766AB6}">
      <dsp:nvSpPr>
        <dsp:cNvPr id="0" name=""/>
        <dsp:cNvSpPr/>
      </dsp:nvSpPr>
      <dsp:spPr>
        <a:xfrm>
          <a:off x="2141041" y="4309449"/>
          <a:ext cx="1865340" cy="1865340"/>
        </a:xfrm>
        <a:prstGeom prst="ellipse">
          <a:avLst/>
        </a:prstGeom>
        <a:solidFill>
          <a:schemeClr val="accent1">
            <a:shade val="80000"/>
            <a:hueOff val="124031"/>
            <a:satOff val="-21310"/>
            <a:lumOff val="237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b="1" i="1" kern="1200" dirty="0" err="1" smtClean="0"/>
            <a:t>Rapidminer</a:t>
          </a:r>
          <a:endParaRPr lang="ru-RU" sz="2000" kern="1200" dirty="0"/>
        </a:p>
      </dsp:txBody>
      <dsp:txXfrm>
        <a:off x="2414214" y="4582622"/>
        <a:ext cx="1318994" cy="1318994"/>
      </dsp:txXfrm>
    </dsp:sp>
    <dsp:sp modelId="{34C9744C-E81E-4A36-81C4-F9BD8AE10D04}">
      <dsp:nvSpPr>
        <dsp:cNvPr id="0" name=""/>
        <dsp:cNvSpPr/>
      </dsp:nvSpPr>
      <dsp:spPr>
        <a:xfrm rot="15120000">
          <a:off x="2398059" y="3609557"/>
          <a:ext cx="494956" cy="629552"/>
        </a:xfrm>
        <a:prstGeom prst="rightArrow">
          <a:avLst>
            <a:gd name="adj1" fmla="val 60000"/>
            <a:gd name="adj2" fmla="val 50000"/>
          </a:avLst>
        </a:prstGeom>
        <a:solidFill>
          <a:schemeClr val="accent1">
            <a:shade val="90000"/>
            <a:hueOff val="124010"/>
            <a:satOff val="-20961"/>
            <a:lumOff val="22081"/>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ru-RU" sz="1600" kern="1200"/>
        </a:p>
      </dsp:txBody>
      <dsp:txXfrm rot="10800000">
        <a:off x="2495245" y="3806077"/>
        <a:ext cx="346469" cy="377732"/>
      </dsp:txXfrm>
    </dsp:sp>
    <dsp:sp modelId="{D3BC90CE-F1AA-4E7C-9917-998DD6FE4198}">
      <dsp:nvSpPr>
        <dsp:cNvPr id="0" name=""/>
        <dsp:cNvSpPr/>
      </dsp:nvSpPr>
      <dsp:spPr>
        <a:xfrm>
          <a:off x="1276035" y="1647232"/>
          <a:ext cx="1865340" cy="1865340"/>
        </a:xfrm>
        <a:prstGeom prst="ellipse">
          <a:avLst/>
        </a:prstGeom>
        <a:solidFill>
          <a:schemeClr val="accent1">
            <a:shade val="80000"/>
            <a:hueOff val="165374"/>
            <a:satOff val="-28413"/>
            <a:lumOff val="3171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b="1" i="0" kern="1200" dirty="0" err="1" smtClean="0"/>
            <a:t>Knime</a:t>
          </a:r>
          <a:endParaRPr lang="ru-RU" sz="2000" kern="1200" dirty="0"/>
        </a:p>
      </dsp:txBody>
      <dsp:txXfrm>
        <a:off x="1549208" y="1920405"/>
        <a:ext cx="1318994" cy="1318994"/>
      </dsp:txXfrm>
    </dsp:sp>
    <dsp:sp modelId="{B7674819-803B-4CA3-BF37-C16ADEB31323}">
      <dsp:nvSpPr>
        <dsp:cNvPr id="0" name=""/>
        <dsp:cNvSpPr/>
      </dsp:nvSpPr>
      <dsp:spPr>
        <a:xfrm rot="19440000">
          <a:off x="3082202" y="1450690"/>
          <a:ext cx="494956" cy="629552"/>
        </a:xfrm>
        <a:prstGeom prst="rightArrow">
          <a:avLst>
            <a:gd name="adj1" fmla="val 60000"/>
            <a:gd name="adj2" fmla="val 50000"/>
          </a:avLst>
        </a:prstGeom>
        <a:solidFill>
          <a:schemeClr val="accent1">
            <a:shade val="90000"/>
            <a:hueOff val="165346"/>
            <a:satOff val="-27948"/>
            <a:lumOff val="29441"/>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ru-RU" sz="1600" kern="1200"/>
        </a:p>
      </dsp:txBody>
      <dsp:txXfrm>
        <a:off x="3096381" y="1620239"/>
        <a:ext cx="346469" cy="37773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62DDB9-9136-45BA-9A95-41696829B02E}" type="datetimeFigureOut">
              <a:rPr lang="ru-RU" smtClean="0"/>
              <a:t>26.05.2020</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A77221F-CFCE-42E8-BA2B-D94AAEFC7CE4}" type="slidenum">
              <a:rPr lang="ru-RU" smtClean="0"/>
              <a:t>‹#›</a:t>
            </a:fld>
            <a:endParaRPr lang="ru-RU"/>
          </a:p>
        </p:txBody>
      </p:sp>
    </p:spTree>
    <p:extLst>
      <p:ext uri="{BB962C8B-B14F-4D97-AF65-F5344CB8AC3E}">
        <p14:creationId xmlns:p14="http://schemas.microsoft.com/office/powerpoint/2010/main" val="18185436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7EA7239-971D-44EF-BC02-D0AF9EFEC840}" type="slidenum">
              <a:rPr lang="en-US" smtClean="0"/>
              <a:t>8</a:t>
            </a:fld>
            <a:endParaRPr lang="en-US"/>
          </a:p>
        </p:txBody>
      </p:sp>
    </p:spTree>
    <p:extLst>
      <p:ext uri="{BB962C8B-B14F-4D97-AF65-F5344CB8AC3E}">
        <p14:creationId xmlns:p14="http://schemas.microsoft.com/office/powerpoint/2010/main" val="120957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7EA7239-971D-44EF-BC02-D0AF9EFEC840}" type="slidenum">
              <a:rPr lang="en-US" smtClean="0"/>
              <a:t>9</a:t>
            </a:fld>
            <a:endParaRPr lang="en-US"/>
          </a:p>
        </p:txBody>
      </p:sp>
    </p:spTree>
    <p:extLst>
      <p:ext uri="{BB962C8B-B14F-4D97-AF65-F5344CB8AC3E}">
        <p14:creationId xmlns:p14="http://schemas.microsoft.com/office/powerpoint/2010/main" val="32268740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a:prstGeom prst="rect">
            <a:avLst/>
          </a:prstGeom>
        </p:spPr>
        <p:txBody>
          <a:bodyPr/>
          <a:lstStyle/>
          <a:p>
            <a:endParaRPr lang="en-US"/>
          </a:p>
        </p:txBody>
      </p:sp>
    </p:spTree>
    <p:extLst>
      <p:ext uri="{BB962C8B-B14F-4D97-AF65-F5344CB8AC3E}">
        <p14:creationId xmlns:p14="http://schemas.microsoft.com/office/powerpoint/2010/main" val="2291193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9_Custom Layout">
    <p:spTree>
      <p:nvGrpSpPr>
        <p:cNvPr id="1" name=""/>
        <p:cNvGrpSpPr/>
        <p:nvPr/>
      </p:nvGrpSpPr>
      <p:grpSpPr>
        <a:xfrm>
          <a:off x="0" y="0"/>
          <a:ext cx="0" cy="0"/>
          <a:chOff x="0" y="0"/>
          <a:chExt cx="0" cy="0"/>
        </a:xfrm>
      </p:grpSpPr>
      <p:sp>
        <p:nvSpPr>
          <p:cNvPr id="8" name="Freeform 7"/>
          <p:cNvSpPr>
            <a:spLocks noGrp="1"/>
          </p:cNvSpPr>
          <p:nvPr>
            <p:ph type="pic" sz="quarter" idx="10"/>
          </p:nvPr>
        </p:nvSpPr>
        <p:spPr>
          <a:xfrm>
            <a:off x="867905" y="1119753"/>
            <a:ext cx="1813302" cy="1813302"/>
          </a:xfrm>
          <a:custGeom>
            <a:avLst/>
            <a:gdLst>
              <a:gd name="connsiteX0" fmla="*/ 906651 w 1813302"/>
              <a:gd name="connsiteY0" fmla="*/ 0 h 1813302"/>
              <a:gd name="connsiteX1" fmla="*/ 1813302 w 1813302"/>
              <a:gd name="connsiteY1" fmla="*/ 906651 h 1813302"/>
              <a:gd name="connsiteX2" fmla="*/ 906651 w 1813302"/>
              <a:gd name="connsiteY2" fmla="*/ 1813302 h 1813302"/>
              <a:gd name="connsiteX3" fmla="*/ 0 w 1813302"/>
              <a:gd name="connsiteY3" fmla="*/ 906651 h 1813302"/>
              <a:gd name="connsiteX4" fmla="*/ 906651 w 1813302"/>
              <a:gd name="connsiteY4" fmla="*/ 0 h 1813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3302" h="1813302">
                <a:moveTo>
                  <a:pt x="906651" y="0"/>
                </a:moveTo>
                <a:cubicBezTo>
                  <a:pt x="1407381" y="0"/>
                  <a:pt x="1813302" y="405921"/>
                  <a:pt x="1813302" y="906651"/>
                </a:cubicBezTo>
                <a:cubicBezTo>
                  <a:pt x="1813302" y="1407381"/>
                  <a:pt x="1407381" y="1813302"/>
                  <a:pt x="906651" y="1813302"/>
                </a:cubicBezTo>
                <a:cubicBezTo>
                  <a:pt x="405921" y="1813302"/>
                  <a:pt x="0" y="1407381"/>
                  <a:pt x="0" y="906651"/>
                </a:cubicBezTo>
                <a:cubicBezTo>
                  <a:pt x="0" y="405921"/>
                  <a:pt x="405921" y="0"/>
                  <a:pt x="906651" y="0"/>
                </a:cubicBezTo>
                <a:close/>
              </a:path>
            </a:pathLst>
          </a:custGeom>
        </p:spPr>
        <p:txBody>
          <a:bodyPr wrap="square">
            <a:noAutofit/>
          </a:bodyPr>
          <a:lstStyle/>
          <a:p>
            <a:endParaRPr lang="en-US"/>
          </a:p>
        </p:txBody>
      </p:sp>
      <p:sp>
        <p:nvSpPr>
          <p:cNvPr id="9" name="Freeform 8"/>
          <p:cNvSpPr>
            <a:spLocks noGrp="1"/>
          </p:cNvSpPr>
          <p:nvPr>
            <p:ph type="pic" sz="quarter" idx="11"/>
          </p:nvPr>
        </p:nvSpPr>
        <p:spPr>
          <a:xfrm>
            <a:off x="3440624" y="3150031"/>
            <a:ext cx="1301857" cy="1301857"/>
          </a:xfrm>
          <a:custGeom>
            <a:avLst/>
            <a:gdLst>
              <a:gd name="connsiteX0" fmla="*/ 906651 w 1813302"/>
              <a:gd name="connsiteY0" fmla="*/ 0 h 1813302"/>
              <a:gd name="connsiteX1" fmla="*/ 1813302 w 1813302"/>
              <a:gd name="connsiteY1" fmla="*/ 906651 h 1813302"/>
              <a:gd name="connsiteX2" fmla="*/ 906651 w 1813302"/>
              <a:gd name="connsiteY2" fmla="*/ 1813302 h 1813302"/>
              <a:gd name="connsiteX3" fmla="*/ 0 w 1813302"/>
              <a:gd name="connsiteY3" fmla="*/ 906651 h 1813302"/>
              <a:gd name="connsiteX4" fmla="*/ 906651 w 1813302"/>
              <a:gd name="connsiteY4" fmla="*/ 0 h 1813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3302" h="1813302">
                <a:moveTo>
                  <a:pt x="906651" y="0"/>
                </a:moveTo>
                <a:cubicBezTo>
                  <a:pt x="1407381" y="0"/>
                  <a:pt x="1813302" y="405921"/>
                  <a:pt x="1813302" y="906651"/>
                </a:cubicBezTo>
                <a:cubicBezTo>
                  <a:pt x="1813302" y="1407381"/>
                  <a:pt x="1407381" y="1813302"/>
                  <a:pt x="906651" y="1813302"/>
                </a:cubicBezTo>
                <a:cubicBezTo>
                  <a:pt x="405921" y="1813302"/>
                  <a:pt x="0" y="1407381"/>
                  <a:pt x="0" y="906651"/>
                </a:cubicBezTo>
                <a:cubicBezTo>
                  <a:pt x="0" y="405921"/>
                  <a:pt x="405921" y="0"/>
                  <a:pt x="906651" y="0"/>
                </a:cubicBezTo>
                <a:close/>
              </a:path>
            </a:pathLst>
          </a:custGeom>
        </p:spPr>
        <p:txBody>
          <a:bodyPr wrap="square">
            <a:noAutofit/>
          </a:bodyPr>
          <a:lstStyle/>
          <a:p>
            <a:endParaRPr lang="en-US"/>
          </a:p>
        </p:txBody>
      </p:sp>
      <p:sp>
        <p:nvSpPr>
          <p:cNvPr id="10" name="Freeform 9"/>
          <p:cNvSpPr>
            <a:spLocks noGrp="1"/>
          </p:cNvSpPr>
          <p:nvPr>
            <p:ph type="pic" sz="quarter" idx="12"/>
          </p:nvPr>
        </p:nvSpPr>
        <p:spPr>
          <a:xfrm>
            <a:off x="5445071" y="3150031"/>
            <a:ext cx="1301857" cy="1301857"/>
          </a:xfrm>
          <a:custGeom>
            <a:avLst/>
            <a:gdLst>
              <a:gd name="connsiteX0" fmla="*/ 906651 w 1813302"/>
              <a:gd name="connsiteY0" fmla="*/ 0 h 1813302"/>
              <a:gd name="connsiteX1" fmla="*/ 1813302 w 1813302"/>
              <a:gd name="connsiteY1" fmla="*/ 906651 h 1813302"/>
              <a:gd name="connsiteX2" fmla="*/ 906651 w 1813302"/>
              <a:gd name="connsiteY2" fmla="*/ 1813302 h 1813302"/>
              <a:gd name="connsiteX3" fmla="*/ 0 w 1813302"/>
              <a:gd name="connsiteY3" fmla="*/ 906651 h 1813302"/>
              <a:gd name="connsiteX4" fmla="*/ 906651 w 1813302"/>
              <a:gd name="connsiteY4" fmla="*/ 0 h 1813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3302" h="1813302">
                <a:moveTo>
                  <a:pt x="906651" y="0"/>
                </a:moveTo>
                <a:cubicBezTo>
                  <a:pt x="1407381" y="0"/>
                  <a:pt x="1813302" y="405921"/>
                  <a:pt x="1813302" y="906651"/>
                </a:cubicBezTo>
                <a:cubicBezTo>
                  <a:pt x="1813302" y="1407381"/>
                  <a:pt x="1407381" y="1813302"/>
                  <a:pt x="906651" y="1813302"/>
                </a:cubicBezTo>
                <a:cubicBezTo>
                  <a:pt x="405921" y="1813302"/>
                  <a:pt x="0" y="1407381"/>
                  <a:pt x="0" y="906651"/>
                </a:cubicBezTo>
                <a:cubicBezTo>
                  <a:pt x="0" y="405921"/>
                  <a:pt x="405921" y="0"/>
                  <a:pt x="906651" y="0"/>
                </a:cubicBezTo>
                <a:close/>
              </a:path>
            </a:pathLst>
          </a:custGeom>
        </p:spPr>
        <p:txBody>
          <a:bodyPr wrap="square">
            <a:noAutofit/>
          </a:bodyPr>
          <a:lstStyle/>
          <a:p>
            <a:endParaRPr lang="en-US"/>
          </a:p>
        </p:txBody>
      </p:sp>
      <p:sp>
        <p:nvSpPr>
          <p:cNvPr id="11" name="Freeform 10"/>
          <p:cNvSpPr>
            <a:spLocks noGrp="1"/>
          </p:cNvSpPr>
          <p:nvPr>
            <p:ph type="pic" sz="quarter" idx="13"/>
          </p:nvPr>
        </p:nvSpPr>
        <p:spPr>
          <a:xfrm>
            <a:off x="7449518" y="3150031"/>
            <a:ext cx="1301857" cy="1301857"/>
          </a:xfrm>
          <a:custGeom>
            <a:avLst/>
            <a:gdLst>
              <a:gd name="connsiteX0" fmla="*/ 906651 w 1813302"/>
              <a:gd name="connsiteY0" fmla="*/ 0 h 1813302"/>
              <a:gd name="connsiteX1" fmla="*/ 1813302 w 1813302"/>
              <a:gd name="connsiteY1" fmla="*/ 906651 h 1813302"/>
              <a:gd name="connsiteX2" fmla="*/ 906651 w 1813302"/>
              <a:gd name="connsiteY2" fmla="*/ 1813302 h 1813302"/>
              <a:gd name="connsiteX3" fmla="*/ 0 w 1813302"/>
              <a:gd name="connsiteY3" fmla="*/ 906651 h 1813302"/>
              <a:gd name="connsiteX4" fmla="*/ 906651 w 1813302"/>
              <a:gd name="connsiteY4" fmla="*/ 0 h 1813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3302" h="1813302">
                <a:moveTo>
                  <a:pt x="906651" y="0"/>
                </a:moveTo>
                <a:cubicBezTo>
                  <a:pt x="1407381" y="0"/>
                  <a:pt x="1813302" y="405921"/>
                  <a:pt x="1813302" y="906651"/>
                </a:cubicBezTo>
                <a:cubicBezTo>
                  <a:pt x="1813302" y="1407381"/>
                  <a:pt x="1407381" y="1813302"/>
                  <a:pt x="906651" y="1813302"/>
                </a:cubicBezTo>
                <a:cubicBezTo>
                  <a:pt x="405921" y="1813302"/>
                  <a:pt x="0" y="1407381"/>
                  <a:pt x="0" y="906651"/>
                </a:cubicBezTo>
                <a:cubicBezTo>
                  <a:pt x="0" y="405921"/>
                  <a:pt x="405921" y="0"/>
                  <a:pt x="906651" y="0"/>
                </a:cubicBezTo>
                <a:close/>
              </a:path>
            </a:pathLst>
          </a:custGeom>
        </p:spPr>
        <p:txBody>
          <a:bodyPr wrap="square">
            <a:noAutofit/>
          </a:bodyPr>
          <a:lstStyle/>
          <a:p>
            <a:endParaRPr lang="en-US"/>
          </a:p>
        </p:txBody>
      </p:sp>
      <p:sp>
        <p:nvSpPr>
          <p:cNvPr id="12" name="Freeform 11"/>
          <p:cNvSpPr>
            <a:spLocks noGrp="1"/>
          </p:cNvSpPr>
          <p:nvPr>
            <p:ph type="pic" sz="quarter" idx="14"/>
          </p:nvPr>
        </p:nvSpPr>
        <p:spPr>
          <a:xfrm>
            <a:off x="9448798" y="3150031"/>
            <a:ext cx="1301857" cy="1301857"/>
          </a:xfrm>
          <a:custGeom>
            <a:avLst/>
            <a:gdLst>
              <a:gd name="connsiteX0" fmla="*/ 906651 w 1813302"/>
              <a:gd name="connsiteY0" fmla="*/ 0 h 1813302"/>
              <a:gd name="connsiteX1" fmla="*/ 1813302 w 1813302"/>
              <a:gd name="connsiteY1" fmla="*/ 906651 h 1813302"/>
              <a:gd name="connsiteX2" fmla="*/ 906651 w 1813302"/>
              <a:gd name="connsiteY2" fmla="*/ 1813302 h 1813302"/>
              <a:gd name="connsiteX3" fmla="*/ 0 w 1813302"/>
              <a:gd name="connsiteY3" fmla="*/ 906651 h 1813302"/>
              <a:gd name="connsiteX4" fmla="*/ 906651 w 1813302"/>
              <a:gd name="connsiteY4" fmla="*/ 0 h 1813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3302" h="1813302">
                <a:moveTo>
                  <a:pt x="906651" y="0"/>
                </a:moveTo>
                <a:cubicBezTo>
                  <a:pt x="1407381" y="0"/>
                  <a:pt x="1813302" y="405921"/>
                  <a:pt x="1813302" y="906651"/>
                </a:cubicBezTo>
                <a:cubicBezTo>
                  <a:pt x="1813302" y="1407381"/>
                  <a:pt x="1407381" y="1813302"/>
                  <a:pt x="906651" y="1813302"/>
                </a:cubicBezTo>
                <a:cubicBezTo>
                  <a:pt x="405921" y="1813302"/>
                  <a:pt x="0" y="1407381"/>
                  <a:pt x="0" y="906651"/>
                </a:cubicBezTo>
                <a:cubicBezTo>
                  <a:pt x="0" y="405921"/>
                  <a:pt x="405921" y="0"/>
                  <a:pt x="906651"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19203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8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7468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Vertical Title and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endParaRPr lang="en-US"/>
          </a:p>
        </p:txBody>
      </p:sp>
      <p:sp>
        <p:nvSpPr>
          <p:cNvPr id="3" name="Picture Placeholder 2"/>
          <p:cNvSpPr>
            <a:spLocks noGrp="1"/>
          </p:cNvSpPr>
          <p:nvPr>
            <p:ph type="pic" sz="quarter" idx="13"/>
          </p:nvPr>
        </p:nvSpPr>
        <p:spPr>
          <a:xfrm>
            <a:off x="609600" y="692943"/>
            <a:ext cx="6392334" cy="5472113"/>
          </a:xfrm>
          <a:prstGeom prst="rect">
            <a:avLst/>
          </a:prstGeom>
        </p:spPr>
        <p:txBody>
          <a:bodyPr/>
          <a:lstStyle/>
          <a:p>
            <a:endParaRPr lang="en-US"/>
          </a:p>
        </p:txBody>
      </p:sp>
    </p:spTree>
    <p:extLst>
      <p:ext uri="{BB962C8B-B14F-4D97-AF65-F5344CB8AC3E}">
        <p14:creationId xmlns:p14="http://schemas.microsoft.com/office/powerpoint/2010/main" val="4166316499"/>
      </p:ext>
    </p:extLst>
  </p:cSld>
  <p:clrMapOvr>
    <a:masterClrMapping/>
  </p:clrMapOvr>
  <mc:AlternateContent xmlns:mc="http://schemas.openxmlformats.org/markup-compatibility/2006" xmlns:p14="http://schemas.microsoft.com/office/powerpoint/2010/main">
    <mc:Choice Requires="p14">
      <p:transition spd="slow" p14:dur="900">
        <p14:flythrough hasBounce="1"/>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Master Slid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3609573"/>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5DB1D66-61DB-4025-AF8C-37FD48F0AD65}"/>
              </a:ext>
            </a:extLst>
          </p:cNvPr>
          <p:cNvSpPr>
            <a:spLocks noGrp="1"/>
          </p:cNvSpPr>
          <p:nvPr>
            <p:ph type="dt" sz="half" idx="10"/>
          </p:nvPr>
        </p:nvSpPr>
        <p:spPr/>
        <p:txBody>
          <a:bodyPr/>
          <a:lstStyle/>
          <a:p>
            <a:fld id="{835DC671-AE47-4674-A005-E71857B17AF9}" type="datetimeFigureOut">
              <a:rPr lang="en-US" smtClean="0"/>
              <a:t>5/26/2020</a:t>
            </a:fld>
            <a:endParaRPr lang="en-US"/>
          </a:p>
        </p:txBody>
      </p:sp>
      <p:sp>
        <p:nvSpPr>
          <p:cNvPr id="3" name="Footer Placeholder 2">
            <a:extLst>
              <a:ext uri="{FF2B5EF4-FFF2-40B4-BE49-F238E27FC236}">
                <a16:creationId xmlns:a16="http://schemas.microsoft.com/office/drawing/2014/main" id="{801A7BA0-D5AD-430F-8993-09C30A89D44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22E7AF7-CDBA-4266-BAA3-2AA128DD4311}"/>
              </a:ext>
            </a:extLst>
          </p:cNvPr>
          <p:cNvSpPr>
            <a:spLocks noGrp="1"/>
          </p:cNvSpPr>
          <p:nvPr>
            <p:ph type="sldNum" sz="quarter" idx="12"/>
          </p:nvPr>
        </p:nvSpPr>
        <p:spPr/>
        <p:txBody>
          <a:bodyPr/>
          <a:lstStyle/>
          <a:p>
            <a:fld id="{290CFA36-8BA7-4F17-8412-F85AC937E5CF}" type="slidenum">
              <a:rPr lang="en-US" smtClean="0"/>
              <a:t>‹#›</a:t>
            </a:fld>
            <a:endParaRPr lang="en-US"/>
          </a:p>
        </p:txBody>
      </p:sp>
    </p:spTree>
    <p:extLst>
      <p:ext uri="{BB962C8B-B14F-4D97-AF65-F5344CB8AC3E}">
        <p14:creationId xmlns:p14="http://schemas.microsoft.com/office/powerpoint/2010/main" val="177751648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65_Custom Layout">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1009650" y="2185987"/>
            <a:ext cx="2277408" cy="2486025"/>
          </a:xfrm>
          <a:prstGeom prst="ellipse">
            <a:avLst/>
          </a:prstGeom>
        </p:spPr>
        <p:txBody>
          <a:bodyPr/>
          <a:lstStyle/>
          <a:p>
            <a:endParaRPr lang="en-US"/>
          </a:p>
        </p:txBody>
      </p:sp>
      <p:sp>
        <p:nvSpPr>
          <p:cNvPr id="12" name="Picture Placeholder 6"/>
          <p:cNvSpPr>
            <a:spLocks noGrp="1"/>
          </p:cNvSpPr>
          <p:nvPr>
            <p:ph type="pic" sz="quarter" idx="11"/>
          </p:nvPr>
        </p:nvSpPr>
        <p:spPr>
          <a:xfrm>
            <a:off x="3638550" y="2185987"/>
            <a:ext cx="2277408" cy="2486025"/>
          </a:xfrm>
          <a:prstGeom prst="ellipse">
            <a:avLst/>
          </a:prstGeom>
        </p:spPr>
        <p:txBody>
          <a:bodyPr/>
          <a:lstStyle/>
          <a:p>
            <a:endParaRPr lang="en-US"/>
          </a:p>
        </p:txBody>
      </p:sp>
      <p:sp>
        <p:nvSpPr>
          <p:cNvPr id="13" name="Picture Placeholder 6"/>
          <p:cNvSpPr>
            <a:spLocks noGrp="1"/>
          </p:cNvSpPr>
          <p:nvPr>
            <p:ph type="pic" sz="quarter" idx="12"/>
          </p:nvPr>
        </p:nvSpPr>
        <p:spPr>
          <a:xfrm>
            <a:off x="6267450" y="2185987"/>
            <a:ext cx="2277408" cy="2486025"/>
          </a:xfrm>
          <a:prstGeom prst="ellipse">
            <a:avLst/>
          </a:prstGeom>
        </p:spPr>
        <p:txBody>
          <a:bodyPr/>
          <a:lstStyle/>
          <a:p>
            <a:endParaRPr lang="en-US"/>
          </a:p>
        </p:txBody>
      </p:sp>
      <p:sp>
        <p:nvSpPr>
          <p:cNvPr id="14" name="Picture Placeholder 6"/>
          <p:cNvSpPr>
            <a:spLocks noGrp="1"/>
          </p:cNvSpPr>
          <p:nvPr>
            <p:ph type="pic" sz="quarter" idx="13"/>
          </p:nvPr>
        </p:nvSpPr>
        <p:spPr>
          <a:xfrm>
            <a:off x="8896350" y="2185987"/>
            <a:ext cx="2277408" cy="2486025"/>
          </a:xfrm>
          <a:prstGeom prst="ellipse">
            <a:avLst/>
          </a:prstGeom>
        </p:spPr>
        <p:txBody>
          <a:bodyPr/>
          <a:lstStyle/>
          <a:p>
            <a:endParaRPr lang="en-US"/>
          </a:p>
        </p:txBody>
      </p:sp>
    </p:spTree>
    <p:extLst>
      <p:ext uri="{BB962C8B-B14F-4D97-AF65-F5344CB8AC3E}">
        <p14:creationId xmlns:p14="http://schemas.microsoft.com/office/powerpoint/2010/main" val="38767673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5_Free Blank With Footer">
    <p:spTree>
      <p:nvGrpSpPr>
        <p:cNvPr id="1" name=""/>
        <p:cNvGrpSpPr/>
        <p:nvPr/>
      </p:nvGrpSpPr>
      <p:grpSpPr>
        <a:xfrm>
          <a:off x="0" y="0"/>
          <a:ext cx="0" cy="0"/>
          <a:chOff x="0" y="0"/>
          <a:chExt cx="0" cy="0"/>
        </a:xfrm>
      </p:grpSpPr>
      <p:sp>
        <p:nvSpPr>
          <p:cNvPr id="10" name="Flowchart: Off-page Connector 9"/>
          <p:cNvSpPr/>
          <p:nvPr userDrawn="1"/>
        </p:nvSpPr>
        <p:spPr>
          <a:xfrm rot="5400000">
            <a:off x="11731145" y="126200"/>
            <a:ext cx="384047" cy="537665"/>
          </a:xfrm>
          <a:prstGeom prst="flowChartOffpageConnector">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1" name="Slide Number Placeholder 4"/>
          <p:cNvSpPr>
            <a:spLocks noGrp="1"/>
          </p:cNvSpPr>
          <p:nvPr>
            <p:ph type="sldNum" sz="quarter" idx="12"/>
          </p:nvPr>
        </p:nvSpPr>
        <p:spPr>
          <a:xfrm>
            <a:off x="11703082" y="203009"/>
            <a:ext cx="508001" cy="366183"/>
          </a:xfrm>
          <a:prstGeom prst="rect">
            <a:avLst/>
          </a:prstGeom>
        </p:spPr>
        <p:txBody>
          <a:bodyPr anchor="ctr"/>
          <a:lstStyle>
            <a:lvl1pPr algn="ctr">
              <a:defRPr sz="1200" b="1">
                <a:solidFill>
                  <a:schemeClr val="bg1"/>
                </a:solidFill>
              </a:defRPr>
            </a:lvl1pPr>
          </a:lstStyle>
          <a:p>
            <a:fld id="{C136B7D2-B98C-44FD-8D04-7EC62A564975}" type="slidenum">
              <a:rPr lang="en-US" smtClean="0"/>
              <a:pPr/>
              <a:t>‹#›</a:t>
            </a:fld>
            <a:endParaRPr lang="en-US" dirty="0"/>
          </a:p>
        </p:txBody>
      </p:sp>
    </p:spTree>
    <p:extLst>
      <p:ext uri="{BB962C8B-B14F-4D97-AF65-F5344CB8AC3E}">
        <p14:creationId xmlns:p14="http://schemas.microsoft.com/office/powerpoint/2010/main" val="1523649945"/>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7_Free Blank With Footer">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791720" y="541356"/>
            <a:ext cx="7518400" cy="471365"/>
          </a:xfrm>
          <a:prstGeom prst="rect">
            <a:avLst/>
          </a:prstGeom>
        </p:spPr>
        <p:txBody>
          <a:bodyPr wrap="none" lIns="0" tIns="0" rIns="0" bIns="0" anchor="ctr">
            <a:noAutofit/>
          </a:bodyPr>
          <a:lstStyle>
            <a:lvl1pPr algn="r">
              <a:defRPr sz="2667" b="1" baseline="0">
                <a:solidFill>
                  <a:schemeClr val="tx1">
                    <a:lumMod val="90000"/>
                    <a:lumOff val="10000"/>
                  </a:schemeClr>
                </a:solidFill>
              </a:defRPr>
            </a:lvl1pPr>
          </a:lstStyle>
          <a:p>
            <a:r>
              <a:rPr lang="en-US" dirty="0" smtClean="0"/>
              <a:t>Click To Edit Master Title Style</a:t>
            </a:r>
            <a:endParaRPr lang="en-US" dirty="0"/>
          </a:p>
        </p:txBody>
      </p:sp>
      <p:sp>
        <p:nvSpPr>
          <p:cNvPr id="6" name="Text Placeholder 3"/>
          <p:cNvSpPr>
            <a:spLocks noGrp="1"/>
          </p:cNvSpPr>
          <p:nvPr>
            <p:ph type="body" sz="half" idx="2" hasCustomPrompt="1"/>
          </p:nvPr>
        </p:nvSpPr>
        <p:spPr>
          <a:xfrm>
            <a:off x="5823720" y="1010678"/>
            <a:ext cx="5486400" cy="267661"/>
          </a:xfrm>
          <a:prstGeom prst="rect">
            <a:avLst/>
          </a:prstGeom>
        </p:spPr>
        <p:txBody>
          <a:bodyPr wrap="square" lIns="0" tIns="0" rIns="0" bIns="0" anchor="ctr">
            <a:noAutofit/>
          </a:bodyPr>
          <a:lstStyle>
            <a:lvl1pPr marL="0" indent="0" algn="r">
              <a:buNone/>
              <a:defRPr sz="1400" b="1" i="0" baseline="0">
                <a:solidFill>
                  <a:schemeClr val="bg1">
                    <a:lumMod val="75000"/>
                  </a:schemeClr>
                </a:solidFill>
                <a:latin typeface="+mn-lt"/>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smtClean="0"/>
              <a:t>Subtext Goes Here</a:t>
            </a:r>
          </a:p>
        </p:txBody>
      </p:sp>
      <p:sp>
        <p:nvSpPr>
          <p:cNvPr id="10" name="Flowchart: Off-page Connector 9"/>
          <p:cNvSpPr/>
          <p:nvPr userDrawn="1"/>
        </p:nvSpPr>
        <p:spPr>
          <a:xfrm rot="5400000">
            <a:off x="11731145" y="126200"/>
            <a:ext cx="384047" cy="537665"/>
          </a:xfrm>
          <a:prstGeom prst="flowChartOffpageConnector">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1" name="Slide Number Placeholder 4"/>
          <p:cNvSpPr>
            <a:spLocks noGrp="1"/>
          </p:cNvSpPr>
          <p:nvPr>
            <p:ph type="sldNum" sz="quarter" idx="12"/>
          </p:nvPr>
        </p:nvSpPr>
        <p:spPr>
          <a:xfrm>
            <a:off x="11703082" y="203009"/>
            <a:ext cx="508001" cy="366183"/>
          </a:xfrm>
          <a:prstGeom prst="rect">
            <a:avLst/>
          </a:prstGeom>
        </p:spPr>
        <p:txBody>
          <a:bodyPr anchor="ctr"/>
          <a:lstStyle>
            <a:lvl1pPr algn="ctr">
              <a:defRPr sz="1200" b="1">
                <a:solidFill>
                  <a:schemeClr val="bg1"/>
                </a:solidFill>
              </a:defRPr>
            </a:lvl1pPr>
          </a:lstStyle>
          <a:p>
            <a:fld id="{C136B7D2-B98C-44FD-8D04-7EC62A564975}" type="slidenum">
              <a:rPr lang="en-US" smtClean="0"/>
              <a:pPr/>
              <a:t>‹#›</a:t>
            </a:fld>
            <a:endParaRPr lang="en-US" dirty="0"/>
          </a:p>
        </p:txBody>
      </p:sp>
    </p:spTree>
    <p:extLst>
      <p:ext uri="{BB962C8B-B14F-4D97-AF65-F5344CB8AC3E}">
        <p14:creationId xmlns:p14="http://schemas.microsoft.com/office/powerpoint/2010/main" val="8387822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6">
                                            <p:txEl>
                                              <p:pRg st="0" end="0"/>
                                            </p:txEl>
                                          </p:spTgt>
                                        </p:tgtEl>
                                        <p:attrNameLst>
                                          <p:attrName>style.visibility</p:attrName>
                                        </p:attrNameLst>
                                      </p:cBhvr>
                                      <p:to>
                                        <p:strVal val="visible"/>
                                      </p:to>
                                    </p:set>
                                    <p:animEffect transition="in" filter="fade">
                                      <p:cBhvr>
                                        <p:cTn id="13"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9_Free Blank With Footer">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872965" y="356628"/>
            <a:ext cx="7518400" cy="471365"/>
          </a:xfrm>
          <a:prstGeom prst="rect">
            <a:avLst/>
          </a:prstGeom>
        </p:spPr>
        <p:txBody>
          <a:bodyPr wrap="none" lIns="0" tIns="0" rIns="0" bIns="0" anchor="ctr">
            <a:noAutofit/>
          </a:bodyPr>
          <a:lstStyle>
            <a:lvl1pPr algn="l">
              <a:defRPr sz="3200" b="1" baseline="0">
                <a:solidFill>
                  <a:schemeClr val="tx1">
                    <a:lumMod val="85000"/>
                    <a:lumOff val="15000"/>
                  </a:schemeClr>
                </a:solidFill>
              </a:defRPr>
            </a:lvl1pPr>
          </a:lstStyle>
          <a:p>
            <a:r>
              <a:rPr lang="en-US" dirty="0" smtClean="0"/>
              <a:t>Click To Edit Master Title Style</a:t>
            </a:r>
            <a:endParaRPr lang="en-US" dirty="0"/>
          </a:p>
        </p:txBody>
      </p:sp>
      <p:sp>
        <p:nvSpPr>
          <p:cNvPr id="7" name="Text Placeholder 3"/>
          <p:cNvSpPr>
            <a:spLocks noGrp="1"/>
          </p:cNvSpPr>
          <p:nvPr>
            <p:ph type="body" sz="half" idx="2" hasCustomPrompt="1"/>
          </p:nvPr>
        </p:nvSpPr>
        <p:spPr>
          <a:xfrm>
            <a:off x="872965" y="825950"/>
            <a:ext cx="5486400" cy="267661"/>
          </a:xfrm>
          <a:prstGeom prst="rect">
            <a:avLst/>
          </a:prstGeom>
        </p:spPr>
        <p:txBody>
          <a:bodyPr wrap="none" lIns="0" tIns="0" rIns="0" bIns="0" anchor="ctr">
            <a:noAutofit/>
          </a:bodyPr>
          <a:lstStyle>
            <a:lvl1pPr marL="0" indent="0" algn="l">
              <a:buNone/>
              <a:defRPr sz="18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smtClean="0"/>
              <a:t>SUBTEXT GOES HERE</a:t>
            </a:r>
          </a:p>
        </p:txBody>
      </p:sp>
      <p:sp>
        <p:nvSpPr>
          <p:cNvPr id="8" name="Flowchart: Off-page Connector 7"/>
          <p:cNvSpPr/>
          <p:nvPr userDrawn="1"/>
        </p:nvSpPr>
        <p:spPr>
          <a:xfrm rot="5400000">
            <a:off x="11731145" y="126200"/>
            <a:ext cx="384047" cy="537665"/>
          </a:xfrm>
          <a:prstGeom prst="flowChartOffpageConnector">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9" name="Slide Number Placeholder 4"/>
          <p:cNvSpPr>
            <a:spLocks noGrp="1"/>
          </p:cNvSpPr>
          <p:nvPr>
            <p:ph type="sldNum" sz="quarter" idx="12"/>
          </p:nvPr>
        </p:nvSpPr>
        <p:spPr>
          <a:xfrm>
            <a:off x="11703082" y="203009"/>
            <a:ext cx="508001" cy="366183"/>
          </a:xfrm>
          <a:prstGeom prst="rect">
            <a:avLst/>
          </a:prstGeom>
        </p:spPr>
        <p:txBody>
          <a:bodyPr anchor="ctr"/>
          <a:lstStyle>
            <a:lvl1pPr algn="ctr">
              <a:defRPr sz="1200" b="1">
                <a:solidFill>
                  <a:schemeClr val="bg1"/>
                </a:solidFill>
              </a:defRPr>
            </a:lvl1pPr>
          </a:lstStyle>
          <a:p>
            <a:fld id="{C136B7D2-B98C-44FD-8D04-7EC62A564975}" type="slidenum">
              <a:rPr lang="en-US" smtClean="0"/>
              <a:pPr/>
              <a:t>‹#›</a:t>
            </a:fld>
            <a:endParaRPr lang="en-US" dirty="0"/>
          </a:p>
        </p:txBody>
      </p:sp>
    </p:spTree>
    <p:extLst>
      <p:ext uri="{BB962C8B-B14F-4D97-AF65-F5344CB8AC3E}">
        <p14:creationId xmlns:p14="http://schemas.microsoft.com/office/powerpoint/2010/main" val="13141690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re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8139629"/>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_Footer">
    <p:spTree>
      <p:nvGrpSpPr>
        <p:cNvPr id="1" name=""/>
        <p:cNvGrpSpPr/>
        <p:nvPr/>
      </p:nvGrpSpPr>
      <p:grpSpPr>
        <a:xfrm>
          <a:off x="0" y="0"/>
          <a:ext cx="0" cy="0"/>
          <a:chOff x="0" y="0"/>
          <a:chExt cx="0" cy="0"/>
        </a:xfrm>
      </p:grpSpPr>
      <p:grpSp>
        <p:nvGrpSpPr>
          <p:cNvPr id="8" name="Group 7"/>
          <p:cNvGrpSpPr/>
          <p:nvPr userDrawn="1"/>
        </p:nvGrpSpPr>
        <p:grpSpPr>
          <a:xfrm>
            <a:off x="0" y="6731802"/>
            <a:ext cx="12192000" cy="126199"/>
            <a:chOff x="0" y="2573904"/>
            <a:chExt cx="8767278" cy="44695"/>
          </a:xfrm>
        </p:grpSpPr>
        <p:grpSp>
          <p:nvGrpSpPr>
            <p:cNvPr id="9" name="Group 43"/>
            <p:cNvGrpSpPr/>
            <p:nvPr/>
          </p:nvGrpSpPr>
          <p:grpSpPr>
            <a:xfrm>
              <a:off x="0" y="2573904"/>
              <a:ext cx="3752335" cy="44695"/>
              <a:chOff x="0" y="2573904"/>
              <a:chExt cx="3752335" cy="44695"/>
            </a:xfrm>
          </p:grpSpPr>
          <p:sp>
            <p:nvSpPr>
              <p:cNvPr id="15" name="Rectangle 14"/>
              <p:cNvSpPr/>
              <p:nvPr/>
            </p:nvSpPr>
            <p:spPr>
              <a:xfrm>
                <a:off x="0" y="2573904"/>
                <a:ext cx="1262608" cy="446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6" name="Rectangle 15"/>
              <p:cNvSpPr/>
              <p:nvPr/>
            </p:nvSpPr>
            <p:spPr>
              <a:xfrm>
                <a:off x="1262608" y="2573904"/>
                <a:ext cx="1262608" cy="446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7" name="Rectangle 16"/>
              <p:cNvSpPr/>
              <p:nvPr/>
            </p:nvSpPr>
            <p:spPr>
              <a:xfrm>
                <a:off x="2489727" y="2573904"/>
                <a:ext cx="1262608" cy="446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grpSp>
          <p:nvGrpSpPr>
            <p:cNvPr id="10" name="Group 44"/>
            <p:cNvGrpSpPr/>
            <p:nvPr/>
          </p:nvGrpSpPr>
          <p:grpSpPr>
            <a:xfrm>
              <a:off x="3752335" y="2573904"/>
              <a:ext cx="5014943" cy="44695"/>
              <a:chOff x="0" y="2573904"/>
              <a:chExt cx="5014943" cy="44695"/>
            </a:xfrm>
          </p:grpSpPr>
          <p:sp>
            <p:nvSpPr>
              <p:cNvPr id="11" name="Rectangle 10"/>
              <p:cNvSpPr/>
              <p:nvPr/>
            </p:nvSpPr>
            <p:spPr>
              <a:xfrm>
                <a:off x="0" y="2573904"/>
                <a:ext cx="1262608" cy="4469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2" name="Rectangle 11"/>
              <p:cNvSpPr/>
              <p:nvPr/>
            </p:nvSpPr>
            <p:spPr>
              <a:xfrm>
                <a:off x="1262608" y="2573904"/>
                <a:ext cx="1262608" cy="4469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3" name="Rectangle 12"/>
              <p:cNvSpPr/>
              <p:nvPr/>
            </p:nvSpPr>
            <p:spPr>
              <a:xfrm>
                <a:off x="2489727" y="2573904"/>
                <a:ext cx="1262608" cy="446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4" name="Rectangle 13"/>
              <p:cNvSpPr/>
              <p:nvPr/>
            </p:nvSpPr>
            <p:spPr>
              <a:xfrm>
                <a:off x="3752335" y="2573904"/>
                <a:ext cx="1262608" cy="446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grpSp>
      <p:sp>
        <p:nvSpPr>
          <p:cNvPr id="18" name="Title 1"/>
          <p:cNvSpPr>
            <a:spLocks noGrp="1"/>
          </p:cNvSpPr>
          <p:nvPr>
            <p:ph type="title" hasCustomPrompt="1"/>
          </p:nvPr>
        </p:nvSpPr>
        <p:spPr>
          <a:xfrm>
            <a:off x="872965" y="356628"/>
            <a:ext cx="7518400" cy="471365"/>
          </a:xfrm>
          <a:prstGeom prst="rect">
            <a:avLst/>
          </a:prstGeom>
        </p:spPr>
        <p:txBody>
          <a:bodyPr wrap="none" lIns="0" tIns="0" rIns="0" bIns="0" anchor="ctr">
            <a:noAutofit/>
          </a:bodyPr>
          <a:lstStyle>
            <a:lvl1pPr algn="l">
              <a:defRPr sz="3200" b="1" baseline="0">
                <a:solidFill>
                  <a:schemeClr val="tx1">
                    <a:lumMod val="85000"/>
                    <a:lumOff val="15000"/>
                  </a:schemeClr>
                </a:solidFill>
              </a:defRPr>
            </a:lvl1pPr>
          </a:lstStyle>
          <a:p>
            <a:r>
              <a:rPr lang="en-US" dirty="0" smtClean="0"/>
              <a:t>Click To Edit Master Title Style</a:t>
            </a:r>
            <a:endParaRPr lang="en-US" dirty="0"/>
          </a:p>
        </p:txBody>
      </p:sp>
      <p:sp>
        <p:nvSpPr>
          <p:cNvPr id="19" name="Text Placeholder 3"/>
          <p:cNvSpPr>
            <a:spLocks noGrp="1"/>
          </p:cNvSpPr>
          <p:nvPr>
            <p:ph type="body" sz="half" idx="2" hasCustomPrompt="1"/>
          </p:nvPr>
        </p:nvSpPr>
        <p:spPr>
          <a:xfrm>
            <a:off x="872965" y="825950"/>
            <a:ext cx="5486400" cy="267661"/>
          </a:xfrm>
          <a:prstGeom prst="rect">
            <a:avLst/>
          </a:prstGeom>
        </p:spPr>
        <p:txBody>
          <a:bodyPr wrap="none" lIns="0" tIns="0" rIns="0" bIns="0" anchor="ctr">
            <a:noAutofit/>
          </a:bodyPr>
          <a:lstStyle>
            <a:lvl1pPr marL="0" indent="0" algn="l">
              <a:buNone/>
              <a:defRPr sz="18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smtClean="0"/>
              <a:t>SUBTEXT GOES HERE</a:t>
            </a:r>
          </a:p>
        </p:txBody>
      </p:sp>
    </p:spTree>
    <p:extLst>
      <p:ext uri="{BB962C8B-B14F-4D97-AF65-F5344CB8AC3E}">
        <p14:creationId xmlns:p14="http://schemas.microsoft.com/office/powerpoint/2010/main" val="16718802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9">
                                            <p:txEl>
                                              <p:pRg st="0" end="0"/>
                                            </p:txEl>
                                          </p:spTgt>
                                        </p:tgtEl>
                                        <p:attrNameLst>
                                          <p:attrName>style.visibility</p:attrName>
                                        </p:attrNameLst>
                                      </p:cBhvr>
                                      <p:to>
                                        <p:strVal val="visible"/>
                                      </p:to>
                                    </p:set>
                                    <p:animEffect transition="in" filter="fade">
                                      <p:cBhvr>
                                        <p:cTn id="1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build="p">
        <p:tmplLst>
          <p:tmpl lvl="1">
            <p:tnLst>
              <p:par>
                <p:cTn presetID="10" presetClass="entr" presetSubtype="0" fill="hold" nodeType="after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0_Custom Layout">
    <p:spTree>
      <p:nvGrpSpPr>
        <p:cNvPr id="1" name=""/>
        <p:cNvGrpSpPr/>
        <p:nvPr/>
      </p:nvGrpSpPr>
      <p:grpSpPr>
        <a:xfrm>
          <a:off x="0" y="0"/>
          <a:ext cx="0" cy="0"/>
          <a:chOff x="0" y="0"/>
          <a:chExt cx="0" cy="0"/>
        </a:xfrm>
      </p:grpSpPr>
      <p:sp>
        <p:nvSpPr>
          <p:cNvPr id="3" name="Picture Placeholder 11"/>
          <p:cNvSpPr>
            <a:spLocks noGrp="1"/>
          </p:cNvSpPr>
          <p:nvPr>
            <p:ph type="pic" sz="quarter" idx="10"/>
          </p:nvPr>
        </p:nvSpPr>
        <p:spPr>
          <a:xfrm>
            <a:off x="362630" y="798737"/>
            <a:ext cx="2742973" cy="6059263"/>
          </a:xfrm>
          <a:prstGeom prst="rect">
            <a:avLst/>
          </a:prstGeom>
        </p:spPr>
        <p:txBody>
          <a:bodyPr/>
          <a:lstStyle/>
          <a:p>
            <a:endParaRPr lang="en-US"/>
          </a:p>
        </p:txBody>
      </p:sp>
      <p:sp>
        <p:nvSpPr>
          <p:cNvPr id="4" name="Picture Placeholder 13"/>
          <p:cNvSpPr>
            <a:spLocks noGrp="1"/>
          </p:cNvSpPr>
          <p:nvPr>
            <p:ph type="pic" sz="quarter" idx="11"/>
          </p:nvPr>
        </p:nvSpPr>
        <p:spPr>
          <a:xfrm>
            <a:off x="3134409" y="3840296"/>
            <a:ext cx="3019197" cy="3017704"/>
          </a:xfrm>
          <a:prstGeom prst="rect">
            <a:avLst/>
          </a:prstGeom>
        </p:spPr>
        <p:txBody>
          <a:bodyPr/>
          <a:lstStyle/>
          <a:p>
            <a:endParaRPr lang="en-US"/>
          </a:p>
        </p:txBody>
      </p:sp>
      <p:sp>
        <p:nvSpPr>
          <p:cNvPr id="5" name="Picture Placeholder 13"/>
          <p:cNvSpPr>
            <a:spLocks noGrp="1"/>
          </p:cNvSpPr>
          <p:nvPr>
            <p:ph type="pic" sz="quarter" idx="12"/>
          </p:nvPr>
        </p:nvSpPr>
        <p:spPr>
          <a:xfrm>
            <a:off x="3134409" y="798737"/>
            <a:ext cx="3019197" cy="3017704"/>
          </a:xfrm>
          <a:prstGeom prst="rect">
            <a:avLst/>
          </a:prstGeom>
        </p:spPr>
        <p:txBody>
          <a:bodyPr/>
          <a:lstStyle/>
          <a:p>
            <a:endParaRPr lang="en-US"/>
          </a:p>
        </p:txBody>
      </p:sp>
      <p:sp>
        <p:nvSpPr>
          <p:cNvPr id="6" name="Picture Placeholder 13"/>
          <p:cNvSpPr>
            <a:spLocks noGrp="1"/>
          </p:cNvSpPr>
          <p:nvPr>
            <p:ph type="pic" sz="quarter" idx="13"/>
          </p:nvPr>
        </p:nvSpPr>
        <p:spPr>
          <a:xfrm>
            <a:off x="6153606" y="3840296"/>
            <a:ext cx="3019197" cy="3017704"/>
          </a:xfrm>
          <a:prstGeom prst="rect">
            <a:avLst/>
          </a:prstGeom>
        </p:spPr>
        <p:txBody>
          <a:bodyPr/>
          <a:lstStyle/>
          <a:p>
            <a:endParaRPr lang="en-US"/>
          </a:p>
        </p:txBody>
      </p:sp>
      <p:sp>
        <p:nvSpPr>
          <p:cNvPr id="7" name="Picture Placeholder 13"/>
          <p:cNvSpPr>
            <a:spLocks noGrp="1"/>
          </p:cNvSpPr>
          <p:nvPr>
            <p:ph type="pic" sz="quarter" idx="14"/>
          </p:nvPr>
        </p:nvSpPr>
        <p:spPr>
          <a:xfrm>
            <a:off x="6153606" y="798737"/>
            <a:ext cx="3019197" cy="3017704"/>
          </a:xfrm>
          <a:prstGeom prst="rect">
            <a:avLst/>
          </a:prstGeom>
        </p:spPr>
        <p:txBody>
          <a:bodyPr/>
          <a:lstStyle/>
          <a:p>
            <a:endParaRPr lang="en-US"/>
          </a:p>
        </p:txBody>
      </p:sp>
      <p:sp>
        <p:nvSpPr>
          <p:cNvPr id="8" name="Picture Placeholder 13"/>
          <p:cNvSpPr>
            <a:spLocks noGrp="1"/>
          </p:cNvSpPr>
          <p:nvPr>
            <p:ph type="pic" sz="quarter" idx="15"/>
          </p:nvPr>
        </p:nvSpPr>
        <p:spPr>
          <a:xfrm>
            <a:off x="9172803" y="3840296"/>
            <a:ext cx="3019197" cy="3017704"/>
          </a:xfrm>
          <a:prstGeom prst="rect">
            <a:avLst/>
          </a:prstGeom>
        </p:spPr>
        <p:txBody>
          <a:bodyPr/>
          <a:lstStyle/>
          <a:p>
            <a:endParaRPr lang="en-US"/>
          </a:p>
        </p:txBody>
      </p:sp>
      <p:sp>
        <p:nvSpPr>
          <p:cNvPr id="9" name="Picture Placeholder 13"/>
          <p:cNvSpPr>
            <a:spLocks noGrp="1"/>
          </p:cNvSpPr>
          <p:nvPr>
            <p:ph type="pic" sz="quarter" idx="16"/>
          </p:nvPr>
        </p:nvSpPr>
        <p:spPr>
          <a:xfrm>
            <a:off x="9172803" y="798737"/>
            <a:ext cx="3019197" cy="3017704"/>
          </a:xfrm>
          <a:prstGeom prst="rect">
            <a:avLst/>
          </a:prstGeom>
        </p:spPr>
        <p:txBody>
          <a:bodyPr/>
          <a:lstStyle/>
          <a:p>
            <a:endParaRPr lang="en-US"/>
          </a:p>
        </p:txBody>
      </p:sp>
    </p:spTree>
    <p:extLst>
      <p:ext uri="{BB962C8B-B14F-4D97-AF65-F5344CB8AC3E}">
        <p14:creationId xmlns:p14="http://schemas.microsoft.com/office/powerpoint/2010/main" val="180865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ooter+Number">
    <p:spTree>
      <p:nvGrpSpPr>
        <p:cNvPr id="1" name=""/>
        <p:cNvGrpSpPr/>
        <p:nvPr/>
      </p:nvGrpSpPr>
      <p:grpSpPr>
        <a:xfrm>
          <a:off x="0" y="0"/>
          <a:ext cx="0" cy="0"/>
          <a:chOff x="0" y="0"/>
          <a:chExt cx="0" cy="0"/>
        </a:xfrm>
      </p:grpSpPr>
      <p:grpSp>
        <p:nvGrpSpPr>
          <p:cNvPr id="8" name="Group 7"/>
          <p:cNvGrpSpPr/>
          <p:nvPr userDrawn="1"/>
        </p:nvGrpSpPr>
        <p:grpSpPr>
          <a:xfrm>
            <a:off x="0" y="6731802"/>
            <a:ext cx="12192000" cy="126199"/>
            <a:chOff x="0" y="2573904"/>
            <a:chExt cx="8767278" cy="44695"/>
          </a:xfrm>
        </p:grpSpPr>
        <p:grpSp>
          <p:nvGrpSpPr>
            <p:cNvPr id="9" name="Group 43"/>
            <p:cNvGrpSpPr/>
            <p:nvPr/>
          </p:nvGrpSpPr>
          <p:grpSpPr>
            <a:xfrm>
              <a:off x="0" y="2573904"/>
              <a:ext cx="3752335" cy="44695"/>
              <a:chOff x="0" y="2573904"/>
              <a:chExt cx="3752335" cy="44695"/>
            </a:xfrm>
          </p:grpSpPr>
          <p:sp>
            <p:nvSpPr>
              <p:cNvPr id="15" name="Rectangle 14"/>
              <p:cNvSpPr/>
              <p:nvPr/>
            </p:nvSpPr>
            <p:spPr>
              <a:xfrm>
                <a:off x="0" y="2573904"/>
                <a:ext cx="1262608" cy="446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6" name="Rectangle 15"/>
              <p:cNvSpPr/>
              <p:nvPr/>
            </p:nvSpPr>
            <p:spPr>
              <a:xfrm>
                <a:off x="1262608" y="2573904"/>
                <a:ext cx="1262608" cy="446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7" name="Rectangle 16"/>
              <p:cNvSpPr/>
              <p:nvPr/>
            </p:nvSpPr>
            <p:spPr>
              <a:xfrm>
                <a:off x="2489727" y="2573904"/>
                <a:ext cx="1262608" cy="446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grpSp>
          <p:nvGrpSpPr>
            <p:cNvPr id="10" name="Group 44"/>
            <p:cNvGrpSpPr/>
            <p:nvPr/>
          </p:nvGrpSpPr>
          <p:grpSpPr>
            <a:xfrm>
              <a:off x="3752335" y="2573904"/>
              <a:ext cx="5014943" cy="44695"/>
              <a:chOff x="0" y="2573904"/>
              <a:chExt cx="5014943" cy="44695"/>
            </a:xfrm>
          </p:grpSpPr>
          <p:sp>
            <p:nvSpPr>
              <p:cNvPr id="11" name="Rectangle 10"/>
              <p:cNvSpPr/>
              <p:nvPr/>
            </p:nvSpPr>
            <p:spPr>
              <a:xfrm>
                <a:off x="0" y="2573904"/>
                <a:ext cx="1262608" cy="4469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2" name="Rectangle 11"/>
              <p:cNvSpPr/>
              <p:nvPr/>
            </p:nvSpPr>
            <p:spPr>
              <a:xfrm>
                <a:off x="1262608" y="2573904"/>
                <a:ext cx="1262608" cy="4469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3" name="Rectangle 12"/>
              <p:cNvSpPr/>
              <p:nvPr/>
            </p:nvSpPr>
            <p:spPr>
              <a:xfrm>
                <a:off x="2489727" y="2573904"/>
                <a:ext cx="1262608" cy="446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4" name="Rectangle 13"/>
              <p:cNvSpPr/>
              <p:nvPr/>
            </p:nvSpPr>
            <p:spPr>
              <a:xfrm>
                <a:off x="3752335" y="2573904"/>
                <a:ext cx="1262608" cy="446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grpSp>
      <p:sp>
        <p:nvSpPr>
          <p:cNvPr id="18" name="Flowchart: Off-page Connector 17"/>
          <p:cNvSpPr/>
          <p:nvPr userDrawn="1"/>
        </p:nvSpPr>
        <p:spPr>
          <a:xfrm rot="5400000">
            <a:off x="11731145" y="126200"/>
            <a:ext cx="384047" cy="537665"/>
          </a:xfrm>
          <a:prstGeom prst="flowChartOffpageConnector">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9" name="Slide Number Placeholder 4"/>
          <p:cNvSpPr>
            <a:spLocks noGrp="1"/>
          </p:cNvSpPr>
          <p:nvPr>
            <p:ph type="sldNum" sz="quarter" idx="12"/>
          </p:nvPr>
        </p:nvSpPr>
        <p:spPr>
          <a:xfrm>
            <a:off x="11703082" y="203009"/>
            <a:ext cx="508001" cy="366183"/>
          </a:xfrm>
          <a:prstGeom prst="rect">
            <a:avLst/>
          </a:prstGeom>
        </p:spPr>
        <p:txBody>
          <a:bodyPr anchor="ctr"/>
          <a:lstStyle>
            <a:lvl1pPr algn="ctr">
              <a:defRPr sz="1200" b="1">
                <a:solidFill>
                  <a:schemeClr val="bg1"/>
                </a:solidFill>
              </a:defRPr>
            </a:lvl1pPr>
          </a:lstStyle>
          <a:p>
            <a:fld id="{C136B7D2-B98C-44FD-8D04-7EC62A564975}" type="slidenum">
              <a:rPr lang="en-US" smtClean="0"/>
              <a:pPr/>
              <a:t>‹#›</a:t>
            </a:fld>
            <a:endParaRPr lang="en-US" dirty="0"/>
          </a:p>
        </p:txBody>
      </p:sp>
    </p:spTree>
    <p:extLst>
      <p:ext uri="{BB962C8B-B14F-4D97-AF65-F5344CB8AC3E}">
        <p14:creationId xmlns:p14="http://schemas.microsoft.com/office/powerpoint/2010/main" val="2057641498"/>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872965" y="356628"/>
            <a:ext cx="7518400" cy="471365"/>
          </a:xfrm>
          <a:prstGeom prst="rect">
            <a:avLst/>
          </a:prstGeom>
        </p:spPr>
        <p:txBody>
          <a:bodyPr wrap="none" lIns="0" tIns="0" rIns="0" bIns="0" anchor="ctr">
            <a:noAutofit/>
          </a:bodyPr>
          <a:lstStyle>
            <a:lvl1pPr algn="l">
              <a:defRPr sz="3200" b="1" baseline="0">
                <a:solidFill>
                  <a:schemeClr val="tx1">
                    <a:lumMod val="85000"/>
                    <a:lumOff val="15000"/>
                  </a:schemeClr>
                </a:solidFill>
              </a:defRPr>
            </a:lvl1pPr>
          </a:lstStyle>
          <a:p>
            <a:r>
              <a:rPr lang="en-US" dirty="0" smtClean="0"/>
              <a:t>Click To Edit Master Title Style</a:t>
            </a:r>
            <a:endParaRPr lang="en-US" dirty="0"/>
          </a:p>
        </p:txBody>
      </p:sp>
      <p:sp>
        <p:nvSpPr>
          <p:cNvPr id="7" name="Text Placeholder 3"/>
          <p:cNvSpPr>
            <a:spLocks noGrp="1"/>
          </p:cNvSpPr>
          <p:nvPr>
            <p:ph type="body" sz="half" idx="2" hasCustomPrompt="1"/>
          </p:nvPr>
        </p:nvSpPr>
        <p:spPr>
          <a:xfrm>
            <a:off x="872965" y="825950"/>
            <a:ext cx="5486400" cy="267661"/>
          </a:xfrm>
          <a:prstGeom prst="rect">
            <a:avLst/>
          </a:prstGeom>
        </p:spPr>
        <p:txBody>
          <a:bodyPr wrap="none" lIns="0" tIns="0" rIns="0" bIns="0" anchor="ctr">
            <a:noAutofit/>
          </a:bodyPr>
          <a:lstStyle>
            <a:lvl1pPr marL="0" indent="0" algn="l">
              <a:buNone/>
              <a:defRPr sz="18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smtClean="0"/>
              <a:t>SUBTEXT GOES HERE</a:t>
            </a:r>
          </a:p>
        </p:txBody>
      </p:sp>
    </p:spTree>
    <p:extLst>
      <p:ext uri="{BB962C8B-B14F-4D97-AF65-F5344CB8AC3E}">
        <p14:creationId xmlns:p14="http://schemas.microsoft.com/office/powerpoint/2010/main" val="1680116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ooter">
    <p:spTree>
      <p:nvGrpSpPr>
        <p:cNvPr id="1" name=""/>
        <p:cNvGrpSpPr/>
        <p:nvPr/>
      </p:nvGrpSpPr>
      <p:grpSpPr>
        <a:xfrm>
          <a:off x="0" y="0"/>
          <a:ext cx="0" cy="0"/>
          <a:chOff x="0" y="0"/>
          <a:chExt cx="0" cy="0"/>
        </a:xfrm>
      </p:grpSpPr>
      <p:grpSp>
        <p:nvGrpSpPr>
          <p:cNvPr id="3" name="Group 7"/>
          <p:cNvGrpSpPr/>
          <p:nvPr userDrawn="1"/>
        </p:nvGrpSpPr>
        <p:grpSpPr>
          <a:xfrm>
            <a:off x="0" y="6731802"/>
            <a:ext cx="12192000" cy="126199"/>
            <a:chOff x="0" y="2573904"/>
            <a:chExt cx="8767278" cy="44695"/>
          </a:xfrm>
        </p:grpSpPr>
        <p:grpSp>
          <p:nvGrpSpPr>
            <p:cNvPr id="4" name="Group 43"/>
            <p:cNvGrpSpPr/>
            <p:nvPr/>
          </p:nvGrpSpPr>
          <p:grpSpPr>
            <a:xfrm>
              <a:off x="0" y="2573904"/>
              <a:ext cx="3752335" cy="44695"/>
              <a:chOff x="0" y="2573904"/>
              <a:chExt cx="3752335" cy="44695"/>
            </a:xfrm>
          </p:grpSpPr>
          <p:sp>
            <p:nvSpPr>
              <p:cNvPr id="18" name="Rectangle 17"/>
              <p:cNvSpPr/>
              <p:nvPr/>
            </p:nvSpPr>
            <p:spPr>
              <a:xfrm>
                <a:off x="0" y="2573904"/>
                <a:ext cx="1262608" cy="446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9" name="Rectangle 18"/>
              <p:cNvSpPr/>
              <p:nvPr/>
            </p:nvSpPr>
            <p:spPr>
              <a:xfrm>
                <a:off x="1262608" y="2573904"/>
                <a:ext cx="1262608" cy="446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0" name="Rectangle 19"/>
              <p:cNvSpPr/>
              <p:nvPr/>
            </p:nvSpPr>
            <p:spPr>
              <a:xfrm>
                <a:off x="2489727" y="2573904"/>
                <a:ext cx="1262608" cy="446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grpSp>
          <p:nvGrpSpPr>
            <p:cNvPr id="5" name="Group 44"/>
            <p:cNvGrpSpPr/>
            <p:nvPr/>
          </p:nvGrpSpPr>
          <p:grpSpPr>
            <a:xfrm>
              <a:off x="3752335" y="2573904"/>
              <a:ext cx="5014943" cy="44695"/>
              <a:chOff x="0" y="2573904"/>
              <a:chExt cx="5014943" cy="44695"/>
            </a:xfrm>
          </p:grpSpPr>
          <p:sp>
            <p:nvSpPr>
              <p:cNvPr id="12" name="Rectangle 11"/>
              <p:cNvSpPr/>
              <p:nvPr/>
            </p:nvSpPr>
            <p:spPr>
              <a:xfrm>
                <a:off x="0" y="2573904"/>
                <a:ext cx="1262608" cy="4469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3" name="Rectangle 12"/>
              <p:cNvSpPr/>
              <p:nvPr/>
            </p:nvSpPr>
            <p:spPr>
              <a:xfrm>
                <a:off x="1262608" y="2573904"/>
                <a:ext cx="1262608" cy="4469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4" name="Rectangle 13"/>
              <p:cNvSpPr/>
              <p:nvPr/>
            </p:nvSpPr>
            <p:spPr>
              <a:xfrm>
                <a:off x="2489727" y="2573904"/>
                <a:ext cx="1262608" cy="446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6" name="Rectangle 15"/>
              <p:cNvSpPr/>
              <p:nvPr/>
            </p:nvSpPr>
            <p:spPr>
              <a:xfrm>
                <a:off x="3752335" y="2573904"/>
                <a:ext cx="1262608" cy="446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grpSp>
    </p:spTree>
    <p:extLst>
      <p:ext uri="{BB962C8B-B14F-4D97-AF65-F5344CB8AC3E}">
        <p14:creationId xmlns:p14="http://schemas.microsoft.com/office/powerpoint/2010/main" val="1842461952"/>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Free 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5153937"/>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a:prstGeom prst="rect">
            <a:avLst/>
          </a:prstGeom>
        </p:spPr>
        <p:txBody>
          <a:bodyPr/>
          <a:lstStyle/>
          <a:p>
            <a:endParaRPr lang="en-US"/>
          </a:p>
        </p:txBody>
      </p:sp>
    </p:spTree>
    <p:extLst>
      <p:ext uri="{BB962C8B-B14F-4D97-AF65-F5344CB8AC3E}">
        <p14:creationId xmlns:p14="http://schemas.microsoft.com/office/powerpoint/2010/main" val="320871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6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7496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62_Custom Layout">
    <p:spTree>
      <p:nvGrpSpPr>
        <p:cNvPr id="1" name=""/>
        <p:cNvGrpSpPr/>
        <p:nvPr/>
      </p:nvGrpSpPr>
      <p:grpSpPr>
        <a:xfrm>
          <a:off x="0" y="0"/>
          <a:ext cx="0" cy="0"/>
          <a:chOff x="0" y="0"/>
          <a:chExt cx="0" cy="0"/>
        </a:xfrm>
      </p:grpSpPr>
      <p:sp>
        <p:nvSpPr>
          <p:cNvPr id="22" name="Freeform 21"/>
          <p:cNvSpPr>
            <a:spLocks noGrp="1"/>
          </p:cNvSpPr>
          <p:nvPr>
            <p:ph type="pic" sz="quarter" idx="10"/>
          </p:nvPr>
        </p:nvSpPr>
        <p:spPr>
          <a:xfrm>
            <a:off x="4757980" y="2"/>
            <a:ext cx="7434020" cy="6819247"/>
          </a:xfrm>
          <a:custGeom>
            <a:avLst/>
            <a:gdLst>
              <a:gd name="connsiteX0" fmla="*/ 924732 w 7434020"/>
              <a:gd name="connsiteY0" fmla="*/ 6292305 h 6819247"/>
              <a:gd name="connsiteX1" fmla="*/ 7418522 w 7434020"/>
              <a:gd name="connsiteY1" fmla="*/ 6292305 h 6819247"/>
              <a:gd name="connsiteX2" fmla="*/ 7418522 w 7434020"/>
              <a:gd name="connsiteY2" fmla="*/ 6819247 h 6819247"/>
              <a:gd name="connsiteX3" fmla="*/ 924732 w 7434020"/>
              <a:gd name="connsiteY3" fmla="*/ 6819247 h 6819247"/>
              <a:gd name="connsiteX4" fmla="*/ 924732 w 7434020"/>
              <a:gd name="connsiteY4" fmla="*/ 5594882 h 6819247"/>
              <a:gd name="connsiteX5" fmla="*/ 7418522 w 7434020"/>
              <a:gd name="connsiteY5" fmla="*/ 5594882 h 6819247"/>
              <a:gd name="connsiteX6" fmla="*/ 7418522 w 7434020"/>
              <a:gd name="connsiteY6" fmla="*/ 6121824 h 6819247"/>
              <a:gd name="connsiteX7" fmla="*/ 924732 w 7434020"/>
              <a:gd name="connsiteY7" fmla="*/ 6121824 h 6819247"/>
              <a:gd name="connsiteX8" fmla="*/ 335796 w 7434020"/>
              <a:gd name="connsiteY8" fmla="*/ 4897459 h 6819247"/>
              <a:gd name="connsiteX9" fmla="*/ 1761640 w 7434020"/>
              <a:gd name="connsiteY9" fmla="*/ 4897459 h 6819247"/>
              <a:gd name="connsiteX10" fmla="*/ 6829586 w 7434020"/>
              <a:gd name="connsiteY10" fmla="*/ 4897459 h 6819247"/>
              <a:gd name="connsiteX11" fmla="*/ 7434020 w 7434020"/>
              <a:gd name="connsiteY11" fmla="*/ 4897459 h 6819247"/>
              <a:gd name="connsiteX12" fmla="*/ 7434020 w 7434020"/>
              <a:gd name="connsiteY12" fmla="*/ 5424401 h 6819247"/>
              <a:gd name="connsiteX13" fmla="*/ 6829586 w 7434020"/>
              <a:gd name="connsiteY13" fmla="*/ 5424401 h 6819247"/>
              <a:gd name="connsiteX14" fmla="*/ 1761640 w 7434020"/>
              <a:gd name="connsiteY14" fmla="*/ 5424401 h 6819247"/>
              <a:gd name="connsiteX15" fmla="*/ 335796 w 7434020"/>
              <a:gd name="connsiteY15" fmla="*/ 5424401 h 6819247"/>
              <a:gd name="connsiteX16" fmla="*/ 537274 w 7434020"/>
              <a:gd name="connsiteY16" fmla="*/ 4200036 h 6819247"/>
              <a:gd name="connsiteX17" fmla="*/ 7031064 w 7434020"/>
              <a:gd name="connsiteY17" fmla="*/ 4200036 h 6819247"/>
              <a:gd name="connsiteX18" fmla="*/ 7031064 w 7434020"/>
              <a:gd name="connsiteY18" fmla="*/ 4726978 h 6819247"/>
              <a:gd name="connsiteX19" fmla="*/ 537274 w 7434020"/>
              <a:gd name="connsiteY19" fmla="*/ 4726978 h 6819247"/>
              <a:gd name="connsiteX20" fmla="*/ 1338020 w 7434020"/>
              <a:gd name="connsiteY20" fmla="*/ 3502613 h 6819247"/>
              <a:gd name="connsiteX21" fmla="*/ 7434020 w 7434020"/>
              <a:gd name="connsiteY21" fmla="*/ 3502613 h 6819247"/>
              <a:gd name="connsiteX22" fmla="*/ 7434020 w 7434020"/>
              <a:gd name="connsiteY22" fmla="*/ 4029555 h 6819247"/>
              <a:gd name="connsiteX23" fmla="*/ 1338020 w 7434020"/>
              <a:gd name="connsiteY23" fmla="*/ 4029555 h 6819247"/>
              <a:gd name="connsiteX24" fmla="*/ 227308 w 7434020"/>
              <a:gd name="connsiteY24" fmla="*/ 2805190 h 6819247"/>
              <a:gd name="connsiteX25" fmla="*/ 940230 w 7434020"/>
              <a:gd name="connsiteY25" fmla="*/ 2805190 h 6819247"/>
              <a:gd name="connsiteX26" fmla="*/ 6721098 w 7434020"/>
              <a:gd name="connsiteY26" fmla="*/ 2805190 h 6819247"/>
              <a:gd name="connsiteX27" fmla="*/ 7434020 w 7434020"/>
              <a:gd name="connsiteY27" fmla="*/ 2805190 h 6819247"/>
              <a:gd name="connsiteX28" fmla="*/ 7434020 w 7434020"/>
              <a:gd name="connsiteY28" fmla="*/ 3332133 h 6819247"/>
              <a:gd name="connsiteX29" fmla="*/ 6721098 w 7434020"/>
              <a:gd name="connsiteY29" fmla="*/ 3332133 h 6819247"/>
              <a:gd name="connsiteX30" fmla="*/ 940230 w 7434020"/>
              <a:gd name="connsiteY30" fmla="*/ 3332133 h 6819247"/>
              <a:gd name="connsiteX31" fmla="*/ 227308 w 7434020"/>
              <a:gd name="connsiteY31" fmla="*/ 3332133 h 6819247"/>
              <a:gd name="connsiteX32" fmla="*/ 537274 w 7434020"/>
              <a:gd name="connsiteY32" fmla="*/ 2107767 h 6819247"/>
              <a:gd name="connsiteX33" fmla="*/ 7031064 w 7434020"/>
              <a:gd name="connsiteY33" fmla="*/ 2107767 h 6819247"/>
              <a:gd name="connsiteX34" fmla="*/ 7031064 w 7434020"/>
              <a:gd name="connsiteY34" fmla="*/ 2634709 h 6819247"/>
              <a:gd name="connsiteX35" fmla="*/ 537274 w 7434020"/>
              <a:gd name="connsiteY35" fmla="*/ 2634709 h 6819247"/>
              <a:gd name="connsiteX36" fmla="*/ 1157206 w 7434020"/>
              <a:gd name="connsiteY36" fmla="*/ 1410345 h 6819247"/>
              <a:gd name="connsiteX37" fmla="*/ 7434020 w 7434020"/>
              <a:gd name="connsiteY37" fmla="*/ 1410345 h 6819247"/>
              <a:gd name="connsiteX38" fmla="*/ 7434020 w 7434020"/>
              <a:gd name="connsiteY38" fmla="*/ 1937287 h 6819247"/>
              <a:gd name="connsiteX39" fmla="*/ 1157206 w 7434020"/>
              <a:gd name="connsiteY39" fmla="*/ 1937287 h 6819247"/>
              <a:gd name="connsiteX40" fmla="*/ 0 w 7434020"/>
              <a:gd name="connsiteY40" fmla="*/ 712922 h 6819247"/>
              <a:gd name="connsiteX41" fmla="*/ 940230 w 7434020"/>
              <a:gd name="connsiteY41" fmla="*/ 712922 h 6819247"/>
              <a:gd name="connsiteX42" fmla="*/ 7434020 w 7434020"/>
              <a:gd name="connsiteY42" fmla="*/ 712922 h 6819247"/>
              <a:gd name="connsiteX43" fmla="*/ 7434020 w 7434020"/>
              <a:gd name="connsiteY43" fmla="*/ 1239864 h 6819247"/>
              <a:gd name="connsiteX44" fmla="*/ 6493790 w 7434020"/>
              <a:gd name="connsiteY44" fmla="*/ 1239864 h 6819247"/>
              <a:gd name="connsiteX45" fmla="*/ 0 w 7434020"/>
              <a:gd name="connsiteY45" fmla="*/ 1239864 h 6819247"/>
              <a:gd name="connsiteX46" fmla="*/ 821410 w 7434020"/>
              <a:gd name="connsiteY46" fmla="*/ 0 h 6819247"/>
              <a:gd name="connsiteX47" fmla="*/ 7315200 w 7434020"/>
              <a:gd name="connsiteY47" fmla="*/ 0 h 6819247"/>
              <a:gd name="connsiteX48" fmla="*/ 7315200 w 7434020"/>
              <a:gd name="connsiteY48" fmla="*/ 526942 h 6819247"/>
              <a:gd name="connsiteX49" fmla="*/ 821410 w 7434020"/>
              <a:gd name="connsiteY49" fmla="*/ 526942 h 681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434020" h="6819247">
                <a:moveTo>
                  <a:pt x="924732" y="6292305"/>
                </a:moveTo>
                <a:lnTo>
                  <a:pt x="7418522" y="6292305"/>
                </a:lnTo>
                <a:lnTo>
                  <a:pt x="7418522" y="6819247"/>
                </a:lnTo>
                <a:lnTo>
                  <a:pt x="924732" y="6819247"/>
                </a:lnTo>
                <a:close/>
                <a:moveTo>
                  <a:pt x="924732" y="5594882"/>
                </a:moveTo>
                <a:lnTo>
                  <a:pt x="7418522" y="5594882"/>
                </a:lnTo>
                <a:lnTo>
                  <a:pt x="7418522" y="6121824"/>
                </a:lnTo>
                <a:lnTo>
                  <a:pt x="924732" y="6121824"/>
                </a:lnTo>
                <a:close/>
                <a:moveTo>
                  <a:pt x="335796" y="4897459"/>
                </a:moveTo>
                <a:lnTo>
                  <a:pt x="1761640" y="4897459"/>
                </a:lnTo>
                <a:lnTo>
                  <a:pt x="6829586" y="4897459"/>
                </a:lnTo>
                <a:lnTo>
                  <a:pt x="7434020" y="4897459"/>
                </a:lnTo>
                <a:lnTo>
                  <a:pt x="7434020" y="5424401"/>
                </a:lnTo>
                <a:lnTo>
                  <a:pt x="6829586" y="5424401"/>
                </a:lnTo>
                <a:lnTo>
                  <a:pt x="1761640" y="5424401"/>
                </a:lnTo>
                <a:lnTo>
                  <a:pt x="335796" y="5424401"/>
                </a:lnTo>
                <a:close/>
                <a:moveTo>
                  <a:pt x="537274" y="4200036"/>
                </a:moveTo>
                <a:lnTo>
                  <a:pt x="7031064" y="4200036"/>
                </a:lnTo>
                <a:lnTo>
                  <a:pt x="7031064" y="4726978"/>
                </a:lnTo>
                <a:lnTo>
                  <a:pt x="537274" y="4726978"/>
                </a:lnTo>
                <a:close/>
                <a:moveTo>
                  <a:pt x="1338020" y="3502613"/>
                </a:moveTo>
                <a:lnTo>
                  <a:pt x="7434020" y="3502613"/>
                </a:lnTo>
                <a:lnTo>
                  <a:pt x="7434020" y="4029555"/>
                </a:lnTo>
                <a:lnTo>
                  <a:pt x="1338020" y="4029555"/>
                </a:lnTo>
                <a:close/>
                <a:moveTo>
                  <a:pt x="227308" y="2805190"/>
                </a:moveTo>
                <a:lnTo>
                  <a:pt x="940230" y="2805190"/>
                </a:lnTo>
                <a:lnTo>
                  <a:pt x="6721098" y="2805190"/>
                </a:lnTo>
                <a:lnTo>
                  <a:pt x="7434020" y="2805190"/>
                </a:lnTo>
                <a:lnTo>
                  <a:pt x="7434020" y="3332133"/>
                </a:lnTo>
                <a:lnTo>
                  <a:pt x="6721098" y="3332133"/>
                </a:lnTo>
                <a:lnTo>
                  <a:pt x="940230" y="3332133"/>
                </a:lnTo>
                <a:lnTo>
                  <a:pt x="227308" y="3332133"/>
                </a:lnTo>
                <a:close/>
                <a:moveTo>
                  <a:pt x="537274" y="2107767"/>
                </a:moveTo>
                <a:lnTo>
                  <a:pt x="7031064" y="2107767"/>
                </a:lnTo>
                <a:lnTo>
                  <a:pt x="7031064" y="2634709"/>
                </a:lnTo>
                <a:lnTo>
                  <a:pt x="537274" y="2634709"/>
                </a:lnTo>
                <a:close/>
                <a:moveTo>
                  <a:pt x="1157206" y="1410345"/>
                </a:moveTo>
                <a:lnTo>
                  <a:pt x="7434020" y="1410345"/>
                </a:lnTo>
                <a:lnTo>
                  <a:pt x="7434020" y="1937287"/>
                </a:lnTo>
                <a:lnTo>
                  <a:pt x="1157206" y="1937287"/>
                </a:lnTo>
                <a:close/>
                <a:moveTo>
                  <a:pt x="0" y="712922"/>
                </a:moveTo>
                <a:lnTo>
                  <a:pt x="940230" y="712922"/>
                </a:lnTo>
                <a:lnTo>
                  <a:pt x="7434020" y="712922"/>
                </a:lnTo>
                <a:lnTo>
                  <a:pt x="7434020" y="1239864"/>
                </a:lnTo>
                <a:lnTo>
                  <a:pt x="6493790" y="1239864"/>
                </a:lnTo>
                <a:lnTo>
                  <a:pt x="0" y="1239864"/>
                </a:lnTo>
                <a:close/>
                <a:moveTo>
                  <a:pt x="821410" y="0"/>
                </a:moveTo>
                <a:lnTo>
                  <a:pt x="7315200" y="0"/>
                </a:lnTo>
                <a:lnTo>
                  <a:pt x="7315200" y="526942"/>
                </a:lnTo>
                <a:lnTo>
                  <a:pt x="821410" y="526942"/>
                </a:lnTo>
                <a:close/>
              </a:path>
            </a:pathLst>
          </a:custGeom>
        </p:spPr>
        <p:txBody>
          <a:bodyPr wrap="square">
            <a:noAutofit/>
          </a:bodyPr>
          <a:lstStyle/>
          <a:p>
            <a:endParaRPr lang="en-US"/>
          </a:p>
        </p:txBody>
      </p:sp>
    </p:spTree>
    <p:extLst>
      <p:ext uri="{BB962C8B-B14F-4D97-AF65-F5344CB8AC3E}">
        <p14:creationId xmlns:p14="http://schemas.microsoft.com/office/powerpoint/2010/main" val="2649484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63_Custom Layout">
    <p:spTree>
      <p:nvGrpSpPr>
        <p:cNvPr id="1" name=""/>
        <p:cNvGrpSpPr/>
        <p:nvPr/>
      </p:nvGrpSpPr>
      <p:grpSpPr>
        <a:xfrm>
          <a:off x="0" y="0"/>
          <a:ext cx="0" cy="0"/>
          <a:chOff x="0" y="0"/>
          <a:chExt cx="0" cy="0"/>
        </a:xfrm>
      </p:grpSpPr>
      <p:sp>
        <p:nvSpPr>
          <p:cNvPr id="5" name="Freeform 4"/>
          <p:cNvSpPr>
            <a:spLocks noGrp="1"/>
          </p:cNvSpPr>
          <p:nvPr>
            <p:ph type="pic" sz="quarter" idx="11"/>
          </p:nvPr>
        </p:nvSpPr>
        <p:spPr>
          <a:xfrm>
            <a:off x="0" y="397844"/>
            <a:ext cx="6786042" cy="6062312"/>
          </a:xfrm>
          <a:custGeom>
            <a:avLst/>
            <a:gdLst>
              <a:gd name="connsiteX0" fmla="*/ 6333006 w 6786042"/>
              <a:gd name="connsiteY0" fmla="*/ 0 h 6062312"/>
              <a:gd name="connsiteX1" fmla="*/ 6450226 w 6786042"/>
              <a:gd name="connsiteY1" fmla="*/ 141500 h 6062312"/>
              <a:gd name="connsiteX2" fmla="*/ 6516755 w 6786042"/>
              <a:gd name="connsiteY2" fmla="*/ 428323 h 6062312"/>
              <a:gd name="connsiteX3" fmla="*/ 6557940 w 6786042"/>
              <a:gd name="connsiteY3" fmla="*/ 543051 h 6062312"/>
              <a:gd name="connsiteX4" fmla="*/ 6564277 w 6786042"/>
              <a:gd name="connsiteY4" fmla="*/ 753389 h 6062312"/>
              <a:gd name="connsiteX5" fmla="*/ 6491410 w 6786042"/>
              <a:gd name="connsiteY5" fmla="*/ 971374 h 6062312"/>
              <a:gd name="connsiteX6" fmla="*/ 6488242 w 6786042"/>
              <a:gd name="connsiteY6" fmla="*/ 1105226 h 6062312"/>
              <a:gd name="connsiteX7" fmla="*/ 6618134 w 6786042"/>
              <a:gd name="connsiteY7" fmla="*/ 1089928 h 6062312"/>
              <a:gd name="connsiteX8" fmla="*/ 6557940 w 6786042"/>
              <a:gd name="connsiteY8" fmla="*/ 1304089 h 6062312"/>
              <a:gd name="connsiteX9" fmla="*/ 6462898 w 6786042"/>
              <a:gd name="connsiteY9" fmla="*/ 1407346 h 6062312"/>
              <a:gd name="connsiteX10" fmla="*/ 6548435 w 6786042"/>
              <a:gd name="connsiteY10" fmla="*/ 1476183 h 6062312"/>
              <a:gd name="connsiteX11" fmla="*/ 6773369 w 6786042"/>
              <a:gd name="connsiteY11" fmla="*/ 1418819 h 6062312"/>
              <a:gd name="connsiteX12" fmla="*/ 6786042 w 6786042"/>
              <a:gd name="connsiteY12" fmla="*/ 1430291 h 6062312"/>
              <a:gd name="connsiteX13" fmla="*/ 6630807 w 6786042"/>
              <a:gd name="connsiteY13" fmla="*/ 1606209 h 6062312"/>
              <a:gd name="connsiteX14" fmla="*/ 6722681 w 6786042"/>
              <a:gd name="connsiteY14" fmla="*/ 1594737 h 6062312"/>
              <a:gd name="connsiteX15" fmla="*/ 6567444 w 6786042"/>
              <a:gd name="connsiteY15" fmla="*/ 1740060 h 6062312"/>
              <a:gd name="connsiteX16" fmla="*/ 6209451 w 6786042"/>
              <a:gd name="connsiteY16" fmla="*/ 2061302 h 6062312"/>
              <a:gd name="connsiteX17" fmla="*/ 6139752 w 6786042"/>
              <a:gd name="connsiteY17" fmla="*/ 2168382 h 6062312"/>
              <a:gd name="connsiteX18" fmla="*/ 5870465 w 6786042"/>
              <a:gd name="connsiteY18" fmla="*/ 2638773 h 6062312"/>
              <a:gd name="connsiteX19" fmla="*/ 6092232 w 6786042"/>
              <a:gd name="connsiteY19" fmla="*/ 2585231 h 6062312"/>
              <a:gd name="connsiteX20" fmla="*/ 6250636 w 6786042"/>
              <a:gd name="connsiteY20" fmla="*/ 2631123 h 6062312"/>
              <a:gd name="connsiteX21" fmla="*/ 6523091 w 6786042"/>
              <a:gd name="connsiteY21" fmla="*/ 2573759 h 6062312"/>
              <a:gd name="connsiteX22" fmla="*/ 6291821 w 6786042"/>
              <a:gd name="connsiteY22" fmla="*/ 2749678 h 6062312"/>
              <a:gd name="connsiteX23" fmla="*/ 6298157 w 6786042"/>
              <a:gd name="connsiteY23" fmla="*/ 2776448 h 6062312"/>
              <a:gd name="connsiteX24" fmla="*/ 6399536 w 6786042"/>
              <a:gd name="connsiteY24" fmla="*/ 2791745 h 6062312"/>
              <a:gd name="connsiteX25" fmla="*/ 6415376 w 6786042"/>
              <a:gd name="connsiteY25" fmla="*/ 2826163 h 6062312"/>
              <a:gd name="connsiteX26" fmla="*/ 6377360 w 6786042"/>
              <a:gd name="connsiteY26" fmla="*/ 2875880 h 6062312"/>
              <a:gd name="connsiteX27" fmla="*/ 6142921 w 6786042"/>
              <a:gd name="connsiteY27" fmla="*/ 3128284 h 6062312"/>
              <a:gd name="connsiteX28" fmla="*/ 6016197 w 6786042"/>
              <a:gd name="connsiteY28" fmla="*/ 3231540 h 6062312"/>
              <a:gd name="connsiteX29" fmla="*/ 5984517 w 6786042"/>
              <a:gd name="connsiteY29" fmla="*/ 3300378 h 6062312"/>
              <a:gd name="connsiteX30" fmla="*/ 5952836 w 6786042"/>
              <a:gd name="connsiteY30" fmla="*/ 3338621 h 6062312"/>
              <a:gd name="connsiteX31" fmla="*/ 5765919 w 6786042"/>
              <a:gd name="connsiteY31" fmla="*/ 3464823 h 6062312"/>
              <a:gd name="connsiteX32" fmla="*/ 5745547 w 6786042"/>
              <a:gd name="connsiteY32" fmla="*/ 3480697 h 6062312"/>
              <a:gd name="connsiteX33" fmla="*/ 5823335 w 6786042"/>
              <a:gd name="connsiteY33" fmla="*/ 3471535 h 6062312"/>
              <a:gd name="connsiteX34" fmla="*/ 5777975 w 6786042"/>
              <a:gd name="connsiteY34" fmla="*/ 3632919 h 6062312"/>
              <a:gd name="connsiteX35" fmla="*/ 5706356 w 6786042"/>
              <a:gd name="connsiteY35" fmla="*/ 3710729 h 6062312"/>
              <a:gd name="connsiteX36" fmla="*/ 5770813 w 6786042"/>
              <a:gd name="connsiteY36" fmla="*/ 3762602 h 6062312"/>
              <a:gd name="connsiteX37" fmla="*/ 5940314 w 6786042"/>
              <a:gd name="connsiteY37" fmla="*/ 3719374 h 6062312"/>
              <a:gd name="connsiteX38" fmla="*/ 5949864 w 6786042"/>
              <a:gd name="connsiteY38" fmla="*/ 3728019 h 6062312"/>
              <a:gd name="connsiteX39" fmla="*/ 5832885 w 6786042"/>
              <a:gd name="connsiteY39" fmla="*/ 3860584 h 6062312"/>
              <a:gd name="connsiteX40" fmla="*/ 5902118 w 6786042"/>
              <a:gd name="connsiteY40" fmla="*/ 3851939 h 6062312"/>
              <a:gd name="connsiteX41" fmla="*/ 5785138 w 6786042"/>
              <a:gd name="connsiteY41" fmla="*/ 3961449 h 6062312"/>
              <a:gd name="connsiteX42" fmla="*/ 5515368 w 6786042"/>
              <a:gd name="connsiteY42" fmla="*/ 4203524 h 6062312"/>
              <a:gd name="connsiteX43" fmla="*/ 5462847 w 6786042"/>
              <a:gd name="connsiteY43" fmla="*/ 4284215 h 6062312"/>
              <a:gd name="connsiteX44" fmla="*/ 5259922 w 6786042"/>
              <a:gd name="connsiteY44" fmla="*/ 4638682 h 6062312"/>
              <a:gd name="connsiteX45" fmla="*/ 5427037 w 6786042"/>
              <a:gd name="connsiteY45" fmla="*/ 4598336 h 6062312"/>
              <a:gd name="connsiteX46" fmla="*/ 5546404 w 6786042"/>
              <a:gd name="connsiteY46" fmla="*/ 4632918 h 6062312"/>
              <a:gd name="connsiteX47" fmla="*/ 5751715 w 6786042"/>
              <a:gd name="connsiteY47" fmla="*/ 4589691 h 6062312"/>
              <a:gd name="connsiteX48" fmla="*/ 5577439 w 6786042"/>
              <a:gd name="connsiteY48" fmla="*/ 4722256 h 6062312"/>
              <a:gd name="connsiteX49" fmla="*/ 5582213 w 6786042"/>
              <a:gd name="connsiteY49" fmla="*/ 4742428 h 6062312"/>
              <a:gd name="connsiteX50" fmla="*/ 5658609 w 6786042"/>
              <a:gd name="connsiteY50" fmla="*/ 4753956 h 6062312"/>
              <a:gd name="connsiteX51" fmla="*/ 5670545 w 6786042"/>
              <a:gd name="connsiteY51" fmla="*/ 4779892 h 6062312"/>
              <a:gd name="connsiteX52" fmla="*/ 5641898 w 6786042"/>
              <a:gd name="connsiteY52" fmla="*/ 4817356 h 6062312"/>
              <a:gd name="connsiteX53" fmla="*/ 5465234 w 6786042"/>
              <a:gd name="connsiteY53" fmla="*/ 5007558 h 6062312"/>
              <a:gd name="connsiteX54" fmla="*/ 5369740 w 6786042"/>
              <a:gd name="connsiteY54" fmla="*/ 5085367 h 6062312"/>
              <a:gd name="connsiteX55" fmla="*/ 5345867 w 6786042"/>
              <a:gd name="connsiteY55" fmla="*/ 5137241 h 6062312"/>
              <a:gd name="connsiteX56" fmla="*/ 5321993 w 6786042"/>
              <a:gd name="connsiteY56" fmla="*/ 5166059 h 6062312"/>
              <a:gd name="connsiteX57" fmla="*/ 5181140 w 6786042"/>
              <a:gd name="connsiteY57" fmla="*/ 5261160 h 6062312"/>
              <a:gd name="connsiteX58" fmla="*/ 5104746 w 6786042"/>
              <a:gd name="connsiteY58" fmla="*/ 5364906 h 6062312"/>
              <a:gd name="connsiteX59" fmla="*/ 5121457 w 6786042"/>
              <a:gd name="connsiteY59" fmla="*/ 5321678 h 6062312"/>
              <a:gd name="connsiteX60" fmla="*/ 4973442 w 6786042"/>
              <a:gd name="connsiteY60" fmla="*/ 5428307 h 6062312"/>
              <a:gd name="connsiteX61" fmla="*/ 4961505 w 6786042"/>
              <a:gd name="connsiteY61" fmla="*/ 5416780 h 6062312"/>
              <a:gd name="connsiteX62" fmla="*/ 4887497 w 6786042"/>
              <a:gd name="connsiteY62" fmla="*/ 5457125 h 6062312"/>
              <a:gd name="connsiteX63" fmla="*/ 4653538 w 6786042"/>
              <a:gd name="connsiteY63" fmla="*/ 5494589 h 6062312"/>
              <a:gd name="connsiteX64" fmla="*/ 4371832 w 6786042"/>
              <a:gd name="connsiteY64" fmla="*/ 5540699 h 6062312"/>
              <a:gd name="connsiteX65" fmla="*/ 4324085 w 6786042"/>
              <a:gd name="connsiteY65" fmla="*/ 5566635 h 6062312"/>
              <a:gd name="connsiteX66" fmla="*/ 4230979 w 6786042"/>
              <a:gd name="connsiteY66" fmla="*/ 5572399 h 6062312"/>
              <a:gd name="connsiteX67" fmla="*/ 4209492 w 6786042"/>
              <a:gd name="connsiteY67" fmla="*/ 5586808 h 6062312"/>
              <a:gd name="connsiteX68" fmla="*/ 3937335 w 6786042"/>
              <a:gd name="connsiteY68" fmla="*/ 5641564 h 6062312"/>
              <a:gd name="connsiteX69" fmla="*/ 3851391 w 6786042"/>
              <a:gd name="connsiteY69" fmla="*/ 5670381 h 6062312"/>
              <a:gd name="connsiteX70" fmla="*/ 3464642 w 6786042"/>
              <a:gd name="connsiteY70" fmla="*/ 5768364 h 6062312"/>
              <a:gd name="connsiteX71" fmla="*/ 3424057 w 6786042"/>
              <a:gd name="connsiteY71" fmla="*/ 5802946 h 6062312"/>
              <a:gd name="connsiteX72" fmla="*/ 3400183 w 6786042"/>
              <a:gd name="connsiteY72" fmla="*/ 5800065 h 6062312"/>
              <a:gd name="connsiteX73" fmla="*/ 3390634 w 6786042"/>
              <a:gd name="connsiteY73" fmla="*/ 5771246 h 6062312"/>
              <a:gd name="connsiteX74" fmla="*/ 3063568 w 6786042"/>
              <a:gd name="connsiteY74" fmla="*/ 5912457 h 6062312"/>
              <a:gd name="connsiteX75" fmla="*/ 2848707 w 6786042"/>
              <a:gd name="connsiteY75" fmla="*/ 6016203 h 6062312"/>
              <a:gd name="connsiteX76" fmla="*/ 2779475 w 6786042"/>
              <a:gd name="connsiteY76" fmla="*/ 5996030 h 6062312"/>
              <a:gd name="connsiteX77" fmla="*/ 2738889 w 6786042"/>
              <a:gd name="connsiteY77" fmla="*/ 6059431 h 6062312"/>
              <a:gd name="connsiteX78" fmla="*/ 2624297 w 6786042"/>
              <a:gd name="connsiteY78" fmla="*/ 6062312 h 6062312"/>
              <a:gd name="connsiteX79" fmla="*/ 2593262 w 6786042"/>
              <a:gd name="connsiteY79" fmla="*/ 6039258 h 6062312"/>
              <a:gd name="connsiteX80" fmla="*/ 2617136 w 6786042"/>
              <a:gd name="connsiteY80" fmla="*/ 5972975 h 6062312"/>
              <a:gd name="connsiteX81" fmla="*/ 2452409 w 6786042"/>
              <a:gd name="connsiteY81" fmla="*/ 5923984 h 6062312"/>
              <a:gd name="connsiteX82" fmla="*/ 2407049 w 6786042"/>
              <a:gd name="connsiteY82" fmla="*/ 5921102 h 6062312"/>
              <a:gd name="connsiteX83" fmla="*/ 2287682 w 6786042"/>
              <a:gd name="connsiteY83" fmla="*/ 5967212 h 6062312"/>
              <a:gd name="connsiteX84" fmla="*/ 2072821 w 6786042"/>
              <a:gd name="connsiteY84" fmla="*/ 6039258 h 6062312"/>
              <a:gd name="connsiteX85" fmla="*/ 2051335 w 6786042"/>
              <a:gd name="connsiteY85" fmla="*/ 6027730 h 6062312"/>
              <a:gd name="connsiteX86" fmla="*/ 2027462 w 6786042"/>
              <a:gd name="connsiteY86" fmla="*/ 6010439 h 6062312"/>
              <a:gd name="connsiteX87" fmla="*/ 2065659 w 6786042"/>
              <a:gd name="connsiteY87" fmla="*/ 5929747 h 6062312"/>
              <a:gd name="connsiteX88" fmla="*/ 1963004 w 6786042"/>
              <a:gd name="connsiteY88" fmla="*/ 5932629 h 6062312"/>
              <a:gd name="connsiteX89" fmla="*/ 1900933 w 6786042"/>
              <a:gd name="connsiteY89" fmla="*/ 5900929 h 6062312"/>
              <a:gd name="connsiteX90" fmla="*/ 1948680 w 6786042"/>
              <a:gd name="connsiteY90" fmla="*/ 5857702 h 6062312"/>
              <a:gd name="connsiteX91" fmla="*/ 2077596 w 6786042"/>
              <a:gd name="connsiteY91" fmla="*/ 5762600 h 6062312"/>
              <a:gd name="connsiteX92" fmla="*/ 1786341 w 6786042"/>
              <a:gd name="connsiteY92" fmla="*/ 5823119 h 6062312"/>
              <a:gd name="connsiteX93" fmla="*/ 1731432 w 6786042"/>
              <a:gd name="connsiteY93" fmla="*/ 5854820 h 6062312"/>
              <a:gd name="connsiteX94" fmla="*/ 1614452 w 6786042"/>
              <a:gd name="connsiteY94" fmla="*/ 5794301 h 6062312"/>
              <a:gd name="connsiteX95" fmla="*/ 1612064 w 6786042"/>
              <a:gd name="connsiteY95" fmla="*/ 5863465 h 6062312"/>
              <a:gd name="connsiteX96" fmla="*/ 1559543 w 6786042"/>
              <a:gd name="connsiteY96" fmla="*/ 5857702 h 6062312"/>
              <a:gd name="connsiteX97" fmla="*/ 1552381 w 6786042"/>
              <a:gd name="connsiteY97" fmla="*/ 5791419 h 6062312"/>
              <a:gd name="connsiteX98" fmla="*/ 1616839 w 6786042"/>
              <a:gd name="connsiteY98" fmla="*/ 5756837 h 6062312"/>
              <a:gd name="connsiteX99" fmla="*/ 1430626 w 6786042"/>
              <a:gd name="connsiteY99" fmla="*/ 5710728 h 6062312"/>
              <a:gd name="connsiteX100" fmla="*/ 1428239 w 6786042"/>
              <a:gd name="connsiteY100" fmla="*/ 5687673 h 6062312"/>
              <a:gd name="connsiteX101" fmla="*/ 1521345 w 6786042"/>
              <a:gd name="connsiteY101" fmla="*/ 5624272 h 6062312"/>
              <a:gd name="connsiteX102" fmla="*/ 1151308 w 6786042"/>
              <a:gd name="connsiteY102" fmla="*/ 5673263 h 6062312"/>
              <a:gd name="connsiteX103" fmla="*/ 1003292 w 6786042"/>
              <a:gd name="connsiteY103" fmla="*/ 5673263 h 6062312"/>
              <a:gd name="connsiteX104" fmla="*/ 1027165 w 6786042"/>
              <a:gd name="connsiteY104" fmla="*/ 5592572 h 6062312"/>
              <a:gd name="connsiteX105" fmla="*/ 862439 w 6786042"/>
              <a:gd name="connsiteY105" fmla="*/ 5552226 h 6062312"/>
              <a:gd name="connsiteX106" fmla="*/ 1120272 w 6786042"/>
              <a:gd name="connsiteY106" fmla="*/ 5373552 h 6062312"/>
              <a:gd name="connsiteX107" fmla="*/ 1375718 w 6786042"/>
              <a:gd name="connsiteY107" fmla="*/ 5166059 h 6062312"/>
              <a:gd name="connsiteX108" fmla="*/ 1664586 w 6786042"/>
              <a:gd name="connsiteY108" fmla="*/ 4987384 h 6062312"/>
              <a:gd name="connsiteX109" fmla="*/ 1502246 w 6786042"/>
              <a:gd name="connsiteY109" fmla="*/ 4955685 h 6062312"/>
              <a:gd name="connsiteX110" fmla="*/ 1359006 w 6786042"/>
              <a:gd name="connsiteY110" fmla="*/ 5019085 h 6062312"/>
              <a:gd name="connsiteX111" fmla="*/ 1175181 w 6786042"/>
              <a:gd name="connsiteY111" fmla="*/ 5073840 h 6062312"/>
              <a:gd name="connsiteX112" fmla="*/ 1086849 w 6786042"/>
              <a:gd name="connsiteY112" fmla="*/ 5076722 h 6062312"/>
              <a:gd name="connsiteX113" fmla="*/ 1060588 w 6786042"/>
              <a:gd name="connsiteY113" fmla="*/ 5114186 h 6062312"/>
              <a:gd name="connsiteX114" fmla="*/ 965095 w 6786042"/>
              <a:gd name="connsiteY114" fmla="*/ 5177586 h 6062312"/>
              <a:gd name="connsiteX115" fmla="*/ 931672 w 6786042"/>
              <a:gd name="connsiteY115" fmla="*/ 5154531 h 6062312"/>
              <a:gd name="connsiteX116" fmla="*/ 945996 w 6786042"/>
              <a:gd name="connsiteY116" fmla="*/ 5099776 h 6062312"/>
              <a:gd name="connsiteX117" fmla="*/ 1022391 w 6786042"/>
              <a:gd name="connsiteY117" fmla="*/ 5050785 h 6062312"/>
              <a:gd name="connsiteX118" fmla="*/ 1015229 w 6786042"/>
              <a:gd name="connsiteY118" fmla="*/ 5027731 h 6062312"/>
              <a:gd name="connsiteX119" fmla="*/ 852890 w 6786042"/>
              <a:gd name="connsiteY119" fmla="*/ 5053667 h 6062312"/>
              <a:gd name="connsiteX120" fmla="*/ 848115 w 6786042"/>
              <a:gd name="connsiteY120" fmla="*/ 5039258 h 6062312"/>
              <a:gd name="connsiteX121" fmla="*/ 898249 w 6786042"/>
              <a:gd name="connsiteY121" fmla="*/ 4990267 h 6062312"/>
              <a:gd name="connsiteX122" fmla="*/ 836178 w 6786042"/>
              <a:gd name="connsiteY122" fmla="*/ 4996030 h 6062312"/>
              <a:gd name="connsiteX123" fmla="*/ 1058201 w 6786042"/>
              <a:gd name="connsiteY123" fmla="*/ 4826002 h 6062312"/>
              <a:gd name="connsiteX124" fmla="*/ 1270675 w 6786042"/>
              <a:gd name="connsiteY124" fmla="*/ 4673264 h 6062312"/>
              <a:gd name="connsiteX125" fmla="*/ 1378105 w 6786042"/>
              <a:gd name="connsiteY125" fmla="*/ 4609864 h 6062312"/>
              <a:gd name="connsiteX126" fmla="*/ 1421077 w 6786042"/>
              <a:gd name="connsiteY126" fmla="*/ 4563754 h 6062312"/>
              <a:gd name="connsiteX127" fmla="*/ 1606295 w 6786042"/>
              <a:gd name="connsiteY127" fmla="*/ 4477554 h 6062312"/>
              <a:gd name="connsiteX128" fmla="*/ 1580875 w 6786042"/>
              <a:gd name="connsiteY128" fmla="*/ 4459143 h 6062312"/>
              <a:gd name="connsiteX129" fmla="*/ 1631565 w 6786042"/>
              <a:gd name="connsiteY129" fmla="*/ 4352062 h 6062312"/>
              <a:gd name="connsiteX130" fmla="*/ 1495337 w 6786042"/>
              <a:gd name="connsiteY130" fmla="*/ 4355887 h 6062312"/>
              <a:gd name="connsiteX131" fmla="*/ 1412967 w 6786042"/>
              <a:gd name="connsiteY131" fmla="*/ 4313819 h 6062312"/>
              <a:gd name="connsiteX132" fmla="*/ 1476329 w 6786042"/>
              <a:gd name="connsiteY132" fmla="*/ 4256455 h 6062312"/>
              <a:gd name="connsiteX133" fmla="*/ 1563055 w 6786042"/>
              <a:gd name="connsiteY133" fmla="*/ 4199090 h 6062312"/>
              <a:gd name="connsiteX134" fmla="*/ 1566528 w 6786042"/>
              <a:gd name="connsiteY134" fmla="*/ 4196256 h 6062312"/>
              <a:gd name="connsiteX135" fmla="*/ 1554768 w 6786042"/>
              <a:gd name="connsiteY135" fmla="*/ 4180469 h 6062312"/>
              <a:gd name="connsiteX136" fmla="*/ 1563273 w 6786042"/>
              <a:gd name="connsiteY136" fmla="*/ 4159351 h 6062312"/>
              <a:gd name="connsiteX137" fmla="*/ 1576199 w 6786042"/>
              <a:gd name="connsiteY137" fmla="*/ 4145048 h 6062312"/>
              <a:gd name="connsiteX138" fmla="*/ 1260899 w 6786042"/>
              <a:gd name="connsiteY138" fmla="*/ 4210562 h 6062312"/>
              <a:gd name="connsiteX139" fmla="*/ 1188033 w 6786042"/>
              <a:gd name="connsiteY139" fmla="*/ 4252630 h 6062312"/>
              <a:gd name="connsiteX140" fmla="*/ 1032797 w 6786042"/>
              <a:gd name="connsiteY140" fmla="*/ 4172320 h 6062312"/>
              <a:gd name="connsiteX141" fmla="*/ 1029628 w 6786042"/>
              <a:gd name="connsiteY141" fmla="*/ 4264103 h 6062312"/>
              <a:gd name="connsiteX142" fmla="*/ 959931 w 6786042"/>
              <a:gd name="connsiteY142" fmla="*/ 4256455 h 6062312"/>
              <a:gd name="connsiteX143" fmla="*/ 950426 w 6786042"/>
              <a:gd name="connsiteY143" fmla="*/ 4168495 h 6062312"/>
              <a:gd name="connsiteX144" fmla="*/ 1035964 w 6786042"/>
              <a:gd name="connsiteY144" fmla="*/ 4122604 h 6062312"/>
              <a:gd name="connsiteX145" fmla="*/ 788853 w 6786042"/>
              <a:gd name="connsiteY145" fmla="*/ 4061415 h 6062312"/>
              <a:gd name="connsiteX146" fmla="*/ 785686 w 6786042"/>
              <a:gd name="connsiteY146" fmla="*/ 4030820 h 6062312"/>
              <a:gd name="connsiteX147" fmla="*/ 909241 w 6786042"/>
              <a:gd name="connsiteY147" fmla="*/ 3946685 h 6062312"/>
              <a:gd name="connsiteX148" fmla="*/ 418188 w 6786042"/>
              <a:gd name="connsiteY148" fmla="*/ 4011699 h 6062312"/>
              <a:gd name="connsiteX149" fmla="*/ 221767 w 6786042"/>
              <a:gd name="connsiteY149" fmla="*/ 4011699 h 6062312"/>
              <a:gd name="connsiteX150" fmla="*/ 253447 w 6786042"/>
              <a:gd name="connsiteY150" fmla="*/ 3904619 h 6062312"/>
              <a:gd name="connsiteX151" fmla="*/ 34849 w 6786042"/>
              <a:gd name="connsiteY151" fmla="*/ 3851077 h 6062312"/>
              <a:gd name="connsiteX152" fmla="*/ 377002 w 6786042"/>
              <a:gd name="connsiteY152" fmla="*/ 3613971 h 6062312"/>
              <a:gd name="connsiteX153" fmla="*/ 715988 w 6786042"/>
              <a:gd name="connsiteY153" fmla="*/ 3338621 h 6062312"/>
              <a:gd name="connsiteX154" fmla="*/ 1099327 w 6786042"/>
              <a:gd name="connsiteY154" fmla="*/ 3101513 h 6062312"/>
              <a:gd name="connsiteX155" fmla="*/ 883896 w 6786042"/>
              <a:gd name="connsiteY155" fmla="*/ 3059446 h 6062312"/>
              <a:gd name="connsiteX156" fmla="*/ 693812 w 6786042"/>
              <a:gd name="connsiteY156" fmla="*/ 3143581 h 6062312"/>
              <a:gd name="connsiteX157" fmla="*/ 449868 w 6786042"/>
              <a:gd name="connsiteY157" fmla="*/ 3216243 h 6062312"/>
              <a:gd name="connsiteX158" fmla="*/ 332649 w 6786042"/>
              <a:gd name="connsiteY158" fmla="*/ 3220067 h 6062312"/>
              <a:gd name="connsiteX159" fmla="*/ 297800 w 6786042"/>
              <a:gd name="connsiteY159" fmla="*/ 3269783 h 6062312"/>
              <a:gd name="connsiteX160" fmla="*/ 171077 w 6786042"/>
              <a:gd name="connsiteY160" fmla="*/ 3353918 h 6062312"/>
              <a:gd name="connsiteX161" fmla="*/ 126724 w 6786042"/>
              <a:gd name="connsiteY161" fmla="*/ 3323323 h 6062312"/>
              <a:gd name="connsiteX162" fmla="*/ 145732 w 6786042"/>
              <a:gd name="connsiteY162" fmla="*/ 3250661 h 6062312"/>
              <a:gd name="connsiteX163" fmla="*/ 247111 w 6786042"/>
              <a:gd name="connsiteY163" fmla="*/ 3185648 h 6062312"/>
              <a:gd name="connsiteX164" fmla="*/ 237606 w 6786042"/>
              <a:gd name="connsiteY164" fmla="*/ 3155054 h 6062312"/>
              <a:gd name="connsiteX165" fmla="*/ 22177 w 6786042"/>
              <a:gd name="connsiteY165" fmla="*/ 3189473 h 6062312"/>
              <a:gd name="connsiteX166" fmla="*/ 15841 w 6786042"/>
              <a:gd name="connsiteY166" fmla="*/ 3170351 h 6062312"/>
              <a:gd name="connsiteX167" fmla="*/ 82371 w 6786042"/>
              <a:gd name="connsiteY167" fmla="*/ 3105338 h 6062312"/>
              <a:gd name="connsiteX168" fmla="*/ 0 w 6786042"/>
              <a:gd name="connsiteY168" fmla="*/ 3112986 h 6062312"/>
              <a:gd name="connsiteX169" fmla="*/ 294633 w 6786042"/>
              <a:gd name="connsiteY169" fmla="*/ 2887353 h 6062312"/>
              <a:gd name="connsiteX170" fmla="*/ 576592 w 6786042"/>
              <a:gd name="connsiteY170" fmla="*/ 2684664 h 6062312"/>
              <a:gd name="connsiteX171" fmla="*/ 719156 w 6786042"/>
              <a:gd name="connsiteY171" fmla="*/ 2600529 h 6062312"/>
              <a:gd name="connsiteX172" fmla="*/ 776181 w 6786042"/>
              <a:gd name="connsiteY172" fmla="*/ 2539340 h 6062312"/>
              <a:gd name="connsiteX173" fmla="*/ 1039133 w 6786042"/>
              <a:gd name="connsiteY173" fmla="*/ 2416963 h 6062312"/>
              <a:gd name="connsiteX174" fmla="*/ 1077150 w 6786042"/>
              <a:gd name="connsiteY174" fmla="*/ 2317530 h 6062312"/>
              <a:gd name="connsiteX175" fmla="*/ 1026461 w 6786042"/>
              <a:gd name="connsiteY175" fmla="*/ 2153085 h 6062312"/>
              <a:gd name="connsiteX176" fmla="*/ 953595 w 6786042"/>
              <a:gd name="connsiteY176" fmla="*/ 2030708 h 6062312"/>
              <a:gd name="connsiteX177" fmla="*/ 991612 w 6786042"/>
              <a:gd name="connsiteY177" fmla="*/ 1889209 h 6062312"/>
              <a:gd name="connsiteX178" fmla="*/ 1048637 w 6786042"/>
              <a:gd name="connsiteY178" fmla="*/ 1808898 h 6062312"/>
              <a:gd name="connsiteX179" fmla="*/ 1454152 w 6786042"/>
              <a:gd name="connsiteY179" fmla="*/ 1629155 h 6062312"/>
              <a:gd name="connsiteX180" fmla="*/ 2071929 w 6786042"/>
              <a:gd name="connsiteY180" fmla="*/ 1323211 h 6062312"/>
              <a:gd name="connsiteX181" fmla="*/ 2933649 w 6786042"/>
              <a:gd name="connsiteY181" fmla="*/ 871943 h 6062312"/>
              <a:gd name="connsiteX182" fmla="*/ 3234617 w 6786042"/>
              <a:gd name="connsiteY182" fmla="*/ 761038 h 6062312"/>
              <a:gd name="connsiteX183" fmla="*/ 3427870 w 6786042"/>
              <a:gd name="connsiteY183" fmla="*/ 684551 h 6062312"/>
              <a:gd name="connsiteX184" fmla="*/ 3101557 w 6786042"/>
              <a:gd name="connsiteY184" fmla="*/ 967550 h 6062312"/>
              <a:gd name="connsiteX185" fmla="*/ 3120566 w 6786042"/>
              <a:gd name="connsiteY185" fmla="*/ 1005793 h 6062312"/>
              <a:gd name="connsiteX186" fmla="*/ 3633796 w 6786042"/>
              <a:gd name="connsiteY186" fmla="*/ 676903 h 6062312"/>
              <a:gd name="connsiteX187" fmla="*/ 3963277 w 6786042"/>
              <a:gd name="connsiteY187" fmla="*/ 527754 h 6062312"/>
              <a:gd name="connsiteX188" fmla="*/ 4280086 w 6786042"/>
              <a:gd name="connsiteY188" fmla="*/ 447444 h 6062312"/>
              <a:gd name="connsiteX189" fmla="*/ 3972781 w 6786042"/>
              <a:gd name="connsiteY189" fmla="*/ 783983 h 6062312"/>
              <a:gd name="connsiteX190" fmla="*/ 4267413 w 6786042"/>
              <a:gd name="connsiteY190" fmla="*/ 592768 h 6062312"/>
              <a:gd name="connsiteX191" fmla="*/ 4562046 w 6786042"/>
              <a:gd name="connsiteY191" fmla="*/ 370958 h 6062312"/>
              <a:gd name="connsiteX192" fmla="*/ 4723618 w 6786042"/>
              <a:gd name="connsiteY192" fmla="*/ 367133 h 6062312"/>
              <a:gd name="connsiteX193" fmla="*/ 4758467 w 6786042"/>
              <a:gd name="connsiteY193" fmla="*/ 363309 h 6062312"/>
              <a:gd name="connsiteX194" fmla="*/ 4844005 w 6786042"/>
              <a:gd name="connsiteY194" fmla="*/ 378606 h 6062312"/>
              <a:gd name="connsiteX195" fmla="*/ 4913703 w 6786042"/>
              <a:gd name="connsiteY195" fmla="*/ 359485 h 6062312"/>
              <a:gd name="connsiteX196" fmla="*/ 5084780 w 6786042"/>
              <a:gd name="connsiteY196" fmla="*/ 263878 h 6062312"/>
              <a:gd name="connsiteX197" fmla="*/ 5094284 w 6786042"/>
              <a:gd name="connsiteY197" fmla="*/ 290648 h 6062312"/>
              <a:gd name="connsiteX198" fmla="*/ 4783811 w 6786042"/>
              <a:gd name="connsiteY198" fmla="*/ 523930 h 6062312"/>
              <a:gd name="connsiteX199" fmla="*/ 4793316 w 6786042"/>
              <a:gd name="connsiteY199" fmla="*/ 627186 h 6062312"/>
              <a:gd name="connsiteX200" fmla="*/ 5341395 w 6786042"/>
              <a:gd name="connsiteY200" fmla="*/ 240931 h 6062312"/>
              <a:gd name="connsiteX201" fmla="*/ 5512472 w 6786042"/>
              <a:gd name="connsiteY201" fmla="*/ 156797 h 6062312"/>
              <a:gd name="connsiteX202" fmla="*/ 5534648 w 6786042"/>
              <a:gd name="connsiteY202" fmla="*/ 156797 h 6062312"/>
              <a:gd name="connsiteX203" fmla="*/ 5674044 w 6786042"/>
              <a:gd name="connsiteY203" fmla="*/ 175918 h 6062312"/>
              <a:gd name="connsiteX204" fmla="*/ 5686717 w 6786042"/>
              <a:gd name="connsiteY204" fmla="*/ 248580 h 6062312"/>
              <a:gd name="connsiteX205" fmla="*/ 5936995 w 6786042"/>
              <a:gd name="connsiteY205" fmla="*/ 107081 h 6062312"/>
              <a:gd name="connsiteX206" fmla="*/ 5610682 w 6786042"/>
              <a:gd name="connsiteY206" fmla="*/ 443620 h 6062312"/>
              <a:gd name="connsiteX207" fmla="*/ 5632859 w 6786042"/>
              <a:gd name="connsiteY207" fmla="*/ 474214 h 6062312"/>
              <a:gd name="connsiteX208" fmla="*/ 6333006 w 6786042"/>
              <a:gd name="connsiteY208" fmla="*/ 0 h 606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Lst>
            <a:rect l="l" t="t" r="r" b="b"/>
            <a:pathLst>
              <a:path w="6786042" h="6062312">
                <a:moveTo>
                  <a:pt x="6333006" y="0"/>
                </a:moveTo>
                <a:cubicBezTo>
                  <a:pt x="6380527" y="57365"/>
                  <a:pt x="6415376" y="99432"/>
                  <a:pt x="6450226" y="141500"/>
                </a:cubicBezTo>
                <a:cubicBezTo>
                  <a:pt x="6393199" y="294471"/>
                  <a:pt x="6415376" y="313593"/>
                  <a:pt x="6516755" y="428323"/>
                </a:cubicBezTo>
                <a:cubicBezTo>
                  <a:pt x="6548435" y="462741"/>
                  <a:pt x="6561108" y="489511"/>
                  <a:pt x="6557940" y="543051"/>
                </a:cubicBezTo>
                <a:cubicBezTo>
                  <a:pt x="6551604" y="611889"/>
                  <a:pt x="6567444" y="684551"/>
                  <a:pt x="6564277" y="753389"/>
                </a:cubicBezTo>
                <a:cubicBezTo>
                  <a:pt x="6561108" y="833699"/>
                  <a:pt x="6561108" y="914009"/>
                  <a:pt x="6491410" y="971374"/>
                </a:cubicBezTo>
                <a:cubicBezTo>
                  <a:pt x="6475570" y="986671"/>
                  <a:pt x="6488242" y="1055509"/>
                  <a:pt x="6488242" y="1105226"/>
                </a:cubicBezTo>
                <a:cubicBezTo>
                  <a:pt x="6529428" y="1101401"/>
                  <a:pt x="6573780" y="1097576"/>
                  <a:pt x="6618134" y="1089928"/>
                </a:cubicBezTo>
                <a:cubicBezTo>
                  <a:pt x="6589621" y="1177887"/>
                  <a:pt x="6466065" y="1200833"/>
                  <a:pt x="6557940" y="1304089"/>
                </a:cubicBezTo>
                <a:cubicBezTo>
                  <a:pt x="6526259" y="1338508"/>
                  <a:pt x="6494578" y="1372927"/>
                  <a:pt x="6462898" y="1407346"/>
                </a:cubicBezTo>
                <a:cubicBezTo>
                  <a:pt x="6497747" y="1434116"/>
                  <a:pt x="6532595" y="1464710"/>
                  <a:pt x="6548435" y="1476183"/>
                </a:cubicBezTo>
                <a:cubicBezTo>
                  <a:pt x="6633974" y="1453237"/>
                  <a:pt x="6703672" y="1434116"/>
                  <a:pt x="6773369" y="1418819"/>
                </a:cubicBezTo>
                <a:cubicBezTo>
                  <a:pt x="6776539" y="1422642"/>
                  <a:pt x="6782874" y="1426467"/>
                  <a:pt x="6786042" y="1430291"/>
                </a:cubicBezTo>
                <a:cubicBezTo>
                  <a:pt x="6735353" y="1487656"/>
                  <a:pt x="6684663" y="1548845"/>
                  <a:pt x="6630807" y="1606209"/>
                </a:cubicBezTo>
                <a:cubicBezTo>
                  <a:pt x="6649815" y="1606209"/>
                  <a:pt x="6675160" y="1602385"/>
                  <a:pt x="6722681" y="1594737"/>
                </a:cubicBezTo>
                <a:cubicBezTo>
                  <a:pt x="6662487" y="1652101"/>
                  <a:pt x="6614965" y="1694169"/>
                  <a:pt x="6567444" y="1740060"/>
                </a:cubicBezTo>
                <a:cubicBezTo>
                  <a:pt x="6447057" y="1847140"/>
                  <a:pt x="6326670" y="1950397"/>
                  <a:pt x="6209451" y="2061302"/>
                </a:cubicBezTo>
                <a:cubicBezTo>
                  <a:pt x="6180938" y="2088072"/>
                  <a:pt x="6142921" y="2126315"/>
                  <a:pt x="6139752" y="2168382"/>
                </a:cubicBezTo>
                <a:cubicBezTo>
                  <a:pt x="6108072" y="2371071"/>
                  <a:pt x="5997189" y="2501097"/>
                  <a:pt x="5870465" y="2638773"/>
                </a:cubicBezTo>
                <a:cubicBezTo>
                  <a:pt x="5943331" y="2619651"/>
                  <a:pt x="6016197" y="2604353"/>
                  <a:pt x="6092232" y="2585231"/>
                </a:cubicBezTo>
                <a:cubicBezTo>
                  <a:pt x="6136585" y="2631123"/>
                  <a:pt x="6174601" y="2673191"/>
                  <a:pt x="6250636" y="2631123"/>
                </a:cubicBezTo>
                <a:cubicBezTo>
                  <a:pt x="6329838" y="2592881"/>
                  <a:pt x="6421712" y="2592881"/>
                  <a:pt x="6523091" y="2573759"/>
                </a:cubicBezTo>
                <a:cubicBezTo>
                  <a:pt x="6437553" y="2638773"/>
                  <a:pt x="6364687" y="2696137"/>
                  <a:pt x="6291821" y="2749678"/>
                </a:cubicBezTo>
                <a:cubicBezTo>
                  <a:pt x="6294989" y="2757326"/>
                  <a:pt x="6298157" y="2764975"/>
                  <a:pt x="6298157" y="2776448"/>
                </a:cubicBezTo>
                <a:cubicBezTo>
                  <a:pt x="6339342" y="2753501"/>
                  <a:pt x="6352015" y="2849110"/>
                  <a:pt x="6399536" y="2791745"/>
                </a:cubicBezTo>
                <a:cubicBezTo>
                  <a:pt x="6405872" y="2803218"/>
                  <a:pt x="6418544" y="2822339"/>
                  <a:pt x="6415376" y="2826163"/>
                </a:cubicBezTo>
                <a:cubicBezTo>
                  <a:pt x="6405872" y="2845285"/>
                  <a:pt x="6390032" y="2872055"/>
                  <a:pt x="6377360" y="2875880"/>
                </a:cubicBezTo>
                <a:cubicBezTo>
                  <a:pt x="6241131" y="2883528"/>
                  <a:pt x="6203115" y="3017379"/>
                  <a:pt x="6142921" y="3128284"/>
                </a:cubicBezTo>
                <a:cubicBezTo>
                  <a:pt x="6117576" y="3174176"/>
                  <a:pt x="6060550" y="3197121"/>
                  <a:pt x="6016197" y="3231540"/>
                </a:cubicBezTo>
                <a:cubicBezTo>
                  <a:pt x="6000357" y="3246838"/>
                  <a:pt x="5940163" y="3235364"/>
                  <a:pt x="5984517" y="3300378"/>
                </a:cubicBezTo>
                <a:cubicBezTo>
                  <a:pt x="5984517" y="3300378"/>
                  <a:pt x="5965508" y="3327148"/>
                  <a:pt x="5952836" y="3338621"/>
                </a:cubicBezTo>
                <a:cubicBezTo>
                  <a:pt x="5889474" y="3384512"/>
                  <a:pt x="5832449" y="3441877"/>
                  <a:pt x="5765919" y="3464823"/>
                </a:cubicBezTo>
                <a:lnTo>
                  <a:pt x="5745547" y="3480697"/>
                </a:lnTo>
                <a:lnTo>
                  <a:pt x="5823335" y="3471535"/>
                </a:lnTo>
                <a:cubicBezTo>
                  <a:pt x="5801849" y="3537818"/>
                  <a:pt x="5708743" y="3555109"/>
                  <a:pt x="5777975" y="3632919"/>
                </a:cubicBezTo>
                <a:cubicBezTo>
                  <a:pt x="5754102" y="3658855"/>
                  <a:pt x="5730229" y="3684792"/>
                  <a:pt x="5706356" y="3710729"/>
                </a:cubicBezTo>
                <a:cubicBezTo>
                  <a:pt x="5732616" y="3730901"/>
                  <a:pt x="5758877" y="3753956"/>
                  <a:pt x="5770813" y="3762602"/>
                </a:cubicBezTo>
                <a:cubicBezTo>
                  <a:pt x="5835272" y="3745311"/>
                  <a:pt x="5887793" y="3730901"/>
                  <a:pt x="5940314" y="3719374"/>
                </a:cubicBezTo>
                <a:cubicBezTo>
                  <a:pt x="5942703" y="3722256"/>
                  <a:pt x="5947477" y="3725138"/>
                  <a:pt x="5949864" y="3728019"/>
                </a:cubicBezTo>
                <a:cubicBezTo>
                  <a:pt x="5911667" y="3771247"/>
                  <a:pt x="5873469" y="3817357"/>
                  <a:pt x="5832885" y="3860584"/>
                </a:cubicBezTo>
                <a:cubicBezTo>
                  <a:pt x="5847209" y="3860584"/>
                  <a:pt x="5866308" y="3857703"/>
                  <a:pt x="5902118" y="3851939"/>
                </a:cubicBezTo>
                <a:cubicBezTo>
                  <a:pt x="5856758" y="3895166"/>
                  <a:pt x="5820947" y="3926867"/>
                  <a:pt x="5785138" y="3961449"/>
                </a:cubicBezTo>
                <a:cubicBezTo>
                  <a:pt x="5694419" y="4042140"/>
                  <a:pt x="5603700" y="4119950"/>
                  <a:pt x="5515368" y="4203524"/>
                </a:cubicBezTo>
                <a:cubicBezTo>
                  <a:pt x="5493882" y="4223696"/>
                  <a:pt x="5465234" y="4252515"/>
                  <a:pt x="5462847" y="4284215"/>
                </a:cubicBezTo>
                <a:cubicBezTo>
                  <a:pt x="5438973" y="4436953"/>
                  <a:pt x="5355416" y="4534935"/>
                  <a:pt x="5259922" y="4638682"/>
                </a:cubicBezTo>
                <a:cubicBezTo>
                  <a:pt x="5314831" y="4624273"/>
                  <a:pt x="5369740" y="4612745"/>
                  <a:pt x="5427037" y="4598336"/>
                </a:cubicBezTo>
                <a:cubicBezTo>
                  <a:pt x="5460460" y="4632918"/>
                  <a:pt x="5489107" y="4664619"/>
                  <a:pt x="5546404" y="4632918"/>
                </a:cubicBezTo>
                <a:cubicBezTo>
                  <a:pt x="5606087" y="4604100"/>
                  <a:pt x="5675320" y="4604100"/>
                  <a:pt x="5751715" y="4589691"/>
                </a:cubicBezTo>
                <a:cubicBezTo>
                  <a:pt x="5687257" y="4638682"/>
                  <a:pt x="5632348" y="4681909"/>
                  <a:pt x="5577439" y="4722256"/>
                </a:cubicBezTo>
                <a:cubicBezTo>
                  <a:pt x="5579826" y="4728019"/>
                  <a:pt x="5582213" y="4733783"/>
                  <a:pt x="5582213" y="4742428"/>
                </a:cubicBezTo>
                <a:cubicBezTo>
                  <a:pt x="5613249" y="4725137"/>
                  <a:pt x="5622799" y="4797183"/>
                  <a:pt x="5658609" y="4753956"/>
                </a:cubicBezTo>
                <a:cubicBezTo>
                  <a:pt x="5663384" y="4762601"/>
                  <a:pt x="5672933" y="4777011"/>
                  <a:pt x="5670545" y="4779892"/>
                </a:cubicBezTo>
                <a:cubicBezTo>
                  <a:pt x="5663384" y="4794301"/>
                  <a:pt x="5651447" y="4814474"/>
                  <a:pt x="5641898" y="4817356"/>
                </a:cubicBezTo>
                <a:cubicBezTo>
                  <a:pt x="5539241" y="4823120"/>
                  <a:pt x="5510594" y="4923985"/>
                  <a:pt x="5465234" y="5007558"/>
                </a:cubicBezTo>
                <a:cubicBezTo>
                  <a:pt x="5446135" y="5042140"/>
                  <a:pt x="5403163" y="5059431"/>
                  <a:pt x="5369740" y="5085367"/>
                </a:cubicBezTo>
                <a:cubicBezTo>
                  <a:pt x="5357804" y="5096895"/>
                  <a:pt x="5312444" y="5088249"/>
                  <a:pt x="5345867" y="5137241"/>
                </a:cubicBezTo>
                <a:cubicBezTo>
                  <a:pt x="5345867" y="5137241"/>
                  <a:pt x="5331543" y="5157413"/>
                  <a:pt x="5321993" y="5166059"/>
                </a:cubicBezTo>
                <a:cubicBezTo>
                  <a:pt x="5274247" y="5200641"/>
                  <a:pt x="5231275" y="5243869"/>
                  <a:pt x="5181140" y="5261160"/>
                </a:cubicBezTo>
                <a:cubicBezTo>
                  <a:pt x="5133394" y="5281333"/>
                  <a:pt x="5140555" y="5338970"/>
                  <a:pt x="5104746" y="5364906"/>
                </a:cubicBezTo>
                <a:cubicBezTo>
                  <a:pt x="5109520" y="5356261"/>
                  <a:pt x="5114295" y="5344733"/>
                  <a:pt x="5121457" y="5321678"/>
                </a:cubicBezTo>
                <a:cubicBezTo>
                  <a:pt x="5068935" y="5359142"/>
                  <a:pt x="5023576" y="5393725"/>
                  <a:pt x="4973442" y="5428307"/>
                </a:cubicBezTo>
                <a:cubicBezTo>
                  <a:pt x="4968667" y="5422543"/>
                  <a:pt x="4959117" y="5413897"/>
                  <a:pt x="4961505" y="5416780"/>
                </a:cubicBezTo>
                <a:cubicBezTo>
                  <a:pt x="4928082" y="5434070"/>
                  <a:pt x="4906596" y="5457125"/>
                  <a:pt x="4887497" y="5457125"/>
                </a:cubicBezTo>
                <a:cubicBezTo>
                  <a:pt x="4806327" y="5448479"/>
                  <a:pt x="4732320" y="5465771"/>
                  <a:pt x="4653538" y="5494589"/>
                </a:cubicBezTo>
                <a:cubicBezTo>
                  <a:pt x="4562819" y="5529172"/>
                  <a:pt x="4464938" y="5532053"/>
                  <a:pt x="4371832" y="5540699"/>
                </a:cubicBezTo>
                <a:cubicBezTo>
                  <a:pt x="4326472" y="5546462"/>
                  <a:pt x="4324085" y="5540699"/>
                  <a:pt x="4324085" y="5566635"/>
                </a:cubicBezTo>
                <a:cubicBezTo>
                  <a:pt x="4293049" y="5566635"/>
                  <a:pt x="4262014" y="5569517"/>
                  <a:pt x="4230979" y="5572399"/>
                </a:cubicBezTo>
                <a:cubicBezTo>
                  <a:pt x="4223816" y="5572399"/>
                  <a:pt x="4216654" y="5589690"/>
                  <a:pt x="4209492" y="5586808"/>
                </a:cubicBezTo>
                <a:cubicBezTo>
                  <a:pt x="4111611" y="5555108"/>
                  <a:pt x="4030441" y="5638681"/>
                  <a:pt x="3937335" y="5641564"/>
                </a:cubicBezTo>
                <a:cubicBezTo>
                  <a:pt x="3908687" y="5641564"/>
                  <a:pt x="3880039" y="5661736"/>
                  <a:pt x="3851391" y="5670381"/>
                </a:cubicBezTo>
                <a:cubicBezTo>
                  <a:pt x="3722475" y="5702082"/>
                  <a:pt x="3593558" y="5733782"/>
                  <a:pt x="3464642" y="5768364"/>
                </a:cubicBezTo>
                <a:cubicBezTo>
                  <a:pt x="3450317" y="5774128"/>
                  <a:pt x="3438380" y="5794301"/>
                  <a:pt x="3424057" y="5802946"/>
                </a:cubicBezTo>
                <a:cubicBezTo>
                  <a:pt x="3416894" y="5805828"/>
                  <a:pt x="3407345" y="5802946"/>
                  <a:pt x="3400183" y="5800065"/>
                </a:cubicBezTo>
                <a:cubicBezTo>
                  <a:pt x="3397796" y="5791419"/>
                  <a:pt x="3393021" y="5782773"/>
                  <a:pt x="3390634" y="5771246"/>
                </a:cubicBezTo>
                <a:cubicBezTo>
                  <a:pt x="3280816" y="5820238"/>
                  <a:pt x="3170999" y="5863465"/>
                  <a:pt x="3063568" y="5912457"/>
                </a:cubicBezTo>
                <a:cubicBezTo>
                  <a:pt x="2991948" y="5944157"/>
                  <a:pt x="2922715" y="5984502"/>
                  <a:pt x="2848707" y="6016203"/>
                </a:cubicBezTo>
                <a:cubicBezTo>
                  <a:pt x="2829609" y="6021966"/>
                  <a:pt x="2803348" y="6004676"/>
                  <a:pt x="2779475" y="5996030"/>
                </a:cubicBezTo>
                <a:cubicBezTo>
                  <a:pt x="2765151" y="6019084"/>
                  <a:pt x="2753214" y="6039258"/>
                  <a:pt x="2738889" y="6059431"/>
                </a:cubicBezTo>
                <a:cubicBezTo>
                  <a:pt x="2700692" y="5998912"/>
                  <a:pt x="2662495" y="6027730"/>
                  <a:pt x="2624297" y="6062312"/>
                </a:cubicBezTo>
                <a:cubicBezTo>
                  <a:pt x="2614748" y="6053666"/>
                  <a:pt x="2602811" y="6047903"/>
                  <a:pt x="2593262" y="6039258"/>
                </a:cubicBezTo>
                <a:cubicBezTo>
                  <a:pt x="2598036" y="6024849"/>
                  <a:pt x="2602811" y="6013321"/>
                  <a:pt x="2617136" y="5972975"/>
                </a:cubicBezTo>
                <a:cubicBezTo>
                  <a:pt x="2531191" y="6045021"/>
                  <a:pt x="2500156" y="5955684"/>
                  <a:pt x="2452409" y="5923984"/>
                </a:cubicBezTo>
                <a:cubicBezTo>
                  <a:pt x="2435697" y="5912457"/>
                  <a:pt x="2423761" y="5892284"/>
                  <a:pt x="2407049" y="5921102"/>
                </a:cubicBezTo>
                <a:cubicBezTo>
                  <a:pt x="2378401" y="5972975"/>
                  <a:pt x="2325880" y="5964329"/>
                  <a:pt x="2287682" y="5967212"/>
                </a:cubicBezTo>
                <a:cubicBezTo>
                  <a:pt x="2211287" y="5975857"/>
                  <a:pt x="2144442" y="6010439"/>
                  <a:pt x="2072821" y="6039258"/>
                </a:cubicBezTo>
                <a:cubicBezTo>
                  <a:pt x="2068047" y="6042139"/>
                  <a:pt x="2058497" y="6030612"/>
                  <a:pt x="2051335" y="6027730"/>
                </a:cubicBezTo>
                <a:cubicBezTo>
                  <a:pt x="2044173" y="6021966"/>
                  <a:pt x="2034624" y="6016203"/>
                  <a:pt x="2027462" y="6010439"/>
                </a:cubicBezTo>
                <a:cubicBezTo>
                  <a:pt x="2037011" y="5990267"/>
                  <a:pt x="2046561" y="5970093"/>
                  <a:pt x="2065659" y="5929747"/>
                </a:cubicBezTo>
                <a:cubicBezTo>
                  <a:pt x="2022687" y="5929747"/>
                  <a:pt x="1986877" y="5918220"/>
                  <a:pt x="1963004" y="5932629"/>
                </a:cubicBezTo>
                <a:cubicBezTo>
                  <a:pt x="1924806" y="5955684"/>
                  <a:pt x="1924806" y="5900929"/>
                  <a:pt x="1900933" y="5900929"/>
                </a:cubicBezTo>
                <a:cubicBezTo>
                  <a:pt x="1917644" y="5886520"/>
                  <a:pt x="1931968" y="5869229"/>
                  <a:pt x="1948680" y="5857702"/>
                </a:cubicBezTo>
                <a:cubicBezTo>
                  <a:pt x="1991652" y="5828883"/>
                  <a:pt x="2037011" y="5802946"/>
                  <a:pt x="2077596" y="5762600"/>
                </a:cubicBezTo>
                <a:cubicBezTo>
                  <a:pt x="1979715" y="5782773"/>
                  <a:pt x="1884222" y="5802946"/>
                  <a:pt x="1786341" y="5823119"/>
                </a:cubicBezTo>
                <a:cubicBezTo>
                  <a:pt x="1767242" y="5828883"/>
                  <a:pt x="1745756" y="5857702"/>
                  <a:pt x="1731432" y="5854820"/>
                </a:cubicBezTo>
                <a:cubicBezTo>
                  <a:pt x="1690847" y="5840410"/>
                  <a:pt x="1655036" y="5814474"/>
                  <a:pt x="1614452" y="5794301"/>
                </a:cubicBezTo>
                <a:cubicBezTo>
                  <a:pt x="1612064" y="5811592"/>
                  <a:pt x="1612064" y="5837528"/>
                  <a:pt x="1612064" y="5863465"/>
                </a:cubicBezTo>
                <a:cubicBezTo>
                  <a:pt x="1592966" y="5860583"/>
                  <a:pt x="1578641" y="5857702"/>
                  <a:pt x="1559543" y="5857702"/>
                </a:cubicBezTo>
                <a:cubicBezTo>
                  <a:pt x="1557155" y="5837528"/>
                  <a:pt x="1554768" y="5817355"/>
                  <a:pt x="1552381" y="5791419"/>
                </a:cubicBezTo>
                <a:cubicBezTo>
                  <a:pt x="1573867" y="5779892"/>
                  <a:pt x="1595353" y="5768364"/>
                  <a:pt x="1616839" y="5756837"/>
                </a:cubicBezTo>
                <a:cubicBezTo>
                  <a:pt x="1552381" y="5739545"/>
                  <a:pt x="1492697" y="5725137"/>
                  <a:pt x="1430626" y="5710728"/>
                </a:cubicBezTo>
                <a:cubicBezTo>
                  <a:pt x="1430626" y="5702082"/>
                  <a:pt x="1430626" y="5696318"/>
                  <a:pt x="1428239" y="5687673"/>
                </a:cubicBezTo>
                <a:cubicBezTo>
                  <a:pt x="1459274" y="5664618"/>
                  <a:pt x="1492697" y="5644445"/>
                  <a:pt x="1521345" y="5624272"/>
                </a:cubicBezTo>
                <a:cubicBezTo>
                  <a:pt x="1480760" y="5572399"/>
                  <a:pt x="1170406" y="5618509"/>
                  <a:pt x="1151308" y="5673263"/>
                </a:cubicBezTo>
                <a:cubicBezTo>
                  <a:pt x="1101173" y="5673263"/>
                  <a:pt x="1053427" y="5673263"/>
                  <a:pt x="1003292" y="5673263"/>
                </a:cubicBezTo>
                <a:cubicBezTo>
                  <a:pt x="1012842" y="5638681"/>
                  <a:pt x="1020004" y="5615626"/>
                  <a:pt x="1027165" y="5592572"/>
                </a:cubicBezTo>
                <a:cubicBezTo>
                  <a:pt x="957933" y="5650208"/>
                  <a:pt x="912573" y="5575281"/>
                  <a:pt x="862439" y="5552226"/>
                </a:cubicBezTo>
                <a:cubicBezTo>
                  <a:pt x="945996" y="5494589"/>
                  <a:pt x="1034328" y="5436952"/>
                  <a:pt x="1120272" y="5373552"/>
                </a:cubicBezTo>
                <a:cubicBezTo>
                  <a:pt x="1206217" y="5307270"/>
                  <a:pt x="1289773" y="5235223"/>
                  <a:pt x="1375718" y="5166059"/>
                </a:cubicBezTo>
                <a:cubicBezTo>
                  <a:pt x="1461662" y="5091131"/>
                  <a:pt x="1576254" y="5079604"/>
                  <a:pt x="1664586" y="4987384"/>
                </a:cubicBezTo>
                <a:cubicBezTo>
                  <a:pt x="1602515" y="4952802"/>
                  <a:pt x="1538057" y="5079604"/>
                  <a:pt x="1502246" y="4955685"/>
                </a:cubicBezTo>
                <a:cubicBezTo>
                  <a:pt x="1452113" y="4975857"/>
                  <a:pt x="1404365" y="4990267"/>
                  <a:pt x="1359006" y="5019085"/>
                </a:cubicBezTo>
                <a:cubicBezTo>
                  <a:pt x="1301710" y="5053667"/>
                  <a:pt x="1244414" y="5082486"/>
                  <a:pt x="1175181" y="5073840"/>
                </a:cubicBezTo>
                <a:cubicBezTo>
                  <a:pt x="1148920" y="5070958"/>
                  <a:pt x="1117885" y="5131477"/>
                  <a:pt x="1086849" y="5076722"/>
                </a:cubicBezTo>
                <a:cubicBezTo>
                  <a:pt x="1077300" y="5091131"/>
                  <a:pt x="1070138" y="5105541"/>
                  <a:pt x="1060588" y="5114186"/>
                </a:cubicBezTo>
                <a:cubicBezTo>
                  <a:pt x="1031940" y="5143004"/>
                  <a:pt x="979419" y="5117068"/>
                  <a:pt x="965095" y="5177586"/>
                </a:cubicBezTo>
                <a:cubicBezTo>
                  <a:pt x="953158" y="5168941"/>
                  <a:pt x="934059" y="5163177"/>
                  <a:pt x="931672" y="5154531"/>
                </a:cubicBezTo>
                <a:cubicBezTo>
                  <a:pt x="931672" y="5134359"/>
                  <a:pt x="936447" y="5108422"/>
                  <a:pt x="945996" y="5099776"/>
                </a:cubicBezTo>
                <a:cubicBezTo>
                  <a:pt x="967482" y="5076722"/>
                  <a:pt x="996130" y="5065194"/>
                  <a:pt x="1022391" y="5050785"/>
                </a:cubicBezTo>
                <a:cubicBezTo>
                  <a:pt x="1020004" y="5042140"/>
                  <a:pt x="1017616" y="5036376"/>
                  <a:pt x="1015229" y="5027731"/>
                </a:cubicBezTo>
                <a:cubicBezTo>
                  <a:pt x="960320" y="5036376"/>
                  <a:pt x="905411" y="5045022"/>
                  <a:pt x="852890" y="5053667"/>
                </a:cubicBezTo>
                <a:cubicBezTo>
                  <a:pt x="850503" y="5047904"/>
                  <a:pt x="848115" y="5042140"/>
                  <a:pt x="848115" y="5039258"/>
                </a:cubicBezTo>
                <a:cubicBezTo>
                  <a:pt x="860052" y="5027731"/>
                  <a:pt x="874376" y="5013322"/>
                  <a:pt x="898249" y="4990267"/>
                </a:cubicBezTo>
                <a:cubicBezTo>
                  <a:pt x="871989" y="4993149"/>
                  <a:pt x="857664" y="4993149"/>
                  <a:pt x="836178" y="4996030"/>
                </a:cubicBezTo>
                <a:cubicBezTo>
                  <a:pt x="903024" y="4918220"/>
                  <a:pt x="1005679" y="4926866"/>
                  <a:pt x="1058201" y="4826002"/>
                </a:cubicBezTo>
                <a:cubicBezTo>
                  <a:pt x="1101173" y="4742428"/>
                  <a:pt x="1220540" y="4777011"/>
                  <a:pt x="1270675" y="4673264"/>
                </a:cubicBezTo>
                <a:cubicBezTo>
                  <a:pt x="1304098" y="4693437"/>
                  <a:pt x="1361393" y="4664619"/>
                  <a:pt x="1378105" y="4609864"/>
                </a:cubicBezTo>
                <a:cubicBezTo>
                  <a:pt x="1382879" y="4592572"/>
                  <a:pt x="1404365" y="4572399"/>
                  <a:pt x="1421077" y="4563754"/>
                </a:cubicBezTo>
                <a:lnTo>
                  <a:pt x="1606295" y="4477554"/>
                </a:lnTo>
                <a:lnTo>
                  <a:pt x="1580875" y="4459143"/>
                </a:lnTo>
                <a:cubicBezTo>
                  <a:pt x="1593548" y="4432373"/>
                  <a:pt x="1606220" y="4405602"/>
                  <a:pt x="1631565" y="4352062"/>
                </a:cubicBezTo>
                <a:cubicBezTo>
                  <a:pt x="1574539" y="4352062"/>
                  <a:pt x="1527018" y="4336765"/>
                  <a:pt x="1495337" y="4355887"/>
                </a:cubicBezTo>
                <a:cubicBezTo>
                  <a:pt x="1444648" y="4386482"/>
                  <a:pt x="1444648" y="4313819"/>
                  <a:pt x="1412967" y="4313819"/>
                </a:cubicBezTo>
                <a:cubicBezTo>
                  <a:pt x="1435143" y="4294697"/>
                  <a:pt x="1454152" y="4271752"/>
                  <a:pt x="1476329" y="4256455"/>
                </a:cubicBezTo>
                <a:cubicBezTo>
                  <a:pt x="1504842" y="4237334"/>
                  <a:pt x="1534147" y="4219168"/>
                  <a:pt x="1563055" y="4199090"/>
                </a:cubicBezTo>
                <a:lnTo>
                  <a:pt x="1566528" y="4196256"/>
                </a:lnTo>
                <a:lnTo>
                  <a:pt x="1554768" y="4180469"/>
                </a:lnTo>
                <a:cubicBezTo>
                  <a:pt x="1554171" y="4172544"/>
                  <a:pt x="1557902" y="4165880"/>
                  <a:pt x="1563273" y="4159351"/>
                </a:cubicBezTo>
                <a:lnTo>
                  <a:pt x="1576199" y="4145048"/>
                </a:lnTo>
                <a:lnTo>
                  <a:pt x="1260899" y="4210562"/>
                </a:lnTo>
                <a:cubicBezTo>
                  <a:pt x="1235554" y="4218212"/>
                  <a:pt x="1207042" y="4256455"/>
                  <a:pt x="1188033" y="4252630"/>
                </a:cubicBezTo>
                <a:cubicBezTo>
                  <a:pt x="1134176" y="4233509"/>
                  <a:pt x="1086654" y="4199090"/>
                  <a:pt x="1032797" y="4172320"/>
                </a:cubicBezTo>
                <a:cubicBezTo>
                  <a:pt x="1029628" y="4195265"/>
                  <a:pt x="1029628" y="4229684"/>
                  <a:pt x="1029628" y="4264103"/>
                </a:cubicBezTo>
                <a:cubicBezTo>
                  <a:pt x="1004284" y="4260279"/>
                  <a:pt x="985275" y="4256455"/>
                  <a:pt x="959931" y="4256455"/>
                </a:cubicBezTo>
                <a:cubicBezTo>
                  <a:pt x="956762" y="4229684"/>
                  <a:pt x="953595" y="4202914"/>
                  <a:pt x="950426" y="4168495"/>
                </a:cubicBezTo>
                <a:cubicBezTo>
                  <a:pt x="978939" y="4153198"/>
                  <a:pt x="1007452" y="4137901"/>
                  <a:pt x="1035964" y="4122604"/>
                </a:cubicBezTo>
                <a:cubicBezTo>
                  <a:pt x="950426" y="4099657"/>
                  <a:pt x="871224" y="4080537"/>
                  <a:pt x="788853" y="4061415"/>
                </a:cubicBezTo>
                <a:cubicBezTo>
                  <a:pt x="788853" y="4049942"/>
                  <a:pt x="788853" y="4042294"/>
                  <a:pt x="785686" y="4030820"/>
                </a:cubicBezTo>
                <a:cubicBezTo>
                  <a:pt x="826871" y="4000226"/>
                  <a:pt x="871224" y="3973456"/>
                  <a:pt x="909241" y="3946685"/>
                </a:cubicBezTo>
                <a:cubicBezTo>
                  <a:pt x="855383" y="3877848"/>
                  <a:pt x="443532" y="3939037"/>
                  <a:pt x="418188" y="4011699"/>
                </a:cubicBezTo>
                <a:cubicBezTo>
                  <a:pt x="351658" y="4011699"/>
                  <a:pt x="288297" y="4011699"/>
                  <a:pt x="221767" y="4011699"/>
                </a:cubicBezTo>
                <a:cubicBezTo>
                  <a:pt x="234439" y="3965807"/>
                  <a:pt x="243943" y="3935212"/>
                  <a:pt x="253447" y="3904619"/>
                </a:cubicBezTo>
                <a:cubicBezTo>
                  <a:pt x="161573" y="3981104"/>
                  <a:pt x="101379" y="3881672"/>
                  <a:pt x="34849" y="3851077"/>
                </a:cubicBezTo>
                <a:cubicBezTo>
                  <a:pt x="145732" y="3774592"/>
                  <a:pt x="262951" y="3698106"/>
                  <a:pt x="377002" y="3613971"/>
                </a:cubicBezTo>
                <a:cubicBezTo>
                  <a:pt x="491054" y="3526012"/>
                  <a:pt x="601937" y="3430404"/>
                  <a:pt x="715988" y="3338621"/>
                </a:cubicBezTo>
                <a:cubicBezTo>
                  <a:pt x="830039" y="3239189"/>
                  <a:pt x="982107" y="3223891"/>
                  <a:pt x="1099327" y="3101513"/>
                </a:cubicBezTo>
                <a:cubicBezTo>
                  <a:pt x="1016956" y="3055621"/>
                  <a:pt x="931418" y="3223891"/>
                  <a:pt x="883896" y="3059446"/>
                </a:cubicBezTo>
                <a:cubicBezTo>
                  <a:pt x="817367" y="3086216"/>
                  <a:pt x="754005" y="3105338"/>
                  <a:pt x="693812" y="3143581"/>
                </a:cubicBezTo>
                <a:cubicBezTo>
                  <a:pt x="617777" y="3189473"/>
                  <a:pt x="541743" y="3227716"/>
                  <a:pt x="449868" y="3216243"/>
                </a:cubicBezTo>
                <a:cubicBezTo>
                  <a:pt x="415020" y="3212418"/>
                  <a:pt x="373835" y="3292729"/>
                  <a:pt x="332649" y="3220067"/>
                </a:cubicBezTo>
                <a:cubicBezTo>
                  <a:pt x="319977" y="3239189"/>
                  <a:pt x="310473" y="3258311"/>
                  <a:pt x="297800" y="3269783"/>
                </a:cubicBezTo>
                <a:cubicBezTo>
                  <a:pt x="259783" y="3308026"/>
                  <a:pt x="190085" y="3273608"/>
                  <a:pt x="171077" y="3353918"/>
                </a:cubicBezTo>
                <a:cubicBezTo>
                  <a:pt x="155237" y="3342445"/>
                  <a:pt x="129892" y="3334796"/>
                  <a:pt x="126724" y="3323323"/>
                </a:cubicBezTo>
                <a:cubicBezTo>
                  <a:pt x="126724" y="3296553"/>
                  <a:pt x="133060" y="3262134"/>
                  <a:pt x="145732" y="3250661"/>
                </a:cubicBezTo>
                <a:cubicBezTo>
                  <a:pt x="174245" y="3220067"/>
                  <a:pt x="212262" y="3204770"/>
                  <a:pt x="247111" y="3185648"/>
                </a:cubicBezTo>
                <a:cubicBezTo>
                  <a:pt x="243943" y="3174176"/>
                  <a:pt x="240775" y="3166526"/>
                  <a:pt x="237606" y="3155054"/>
                </a:cubicBezTo>
                <a:cubicBezTo>
                  <a:pt x="164741" y="3166526"/>
                  <a:pt x="91874" y="3178000"/>
                  <a:pt x="22177" y="3189473"/>
                </a:cubicBezTo>
                <a:cubicBezTo>
                  <a:pt x="19009" y="3181824"/>
                  <a:pt x="15841" y="3174176"/>
                  <a:pt x="15841" y="3170351"/>
                </a:cubicBezTo>
                <a:cubicBezTo>
                  <a:pt x="31681" y="3155054"/>
                  <a:pt x="50689" y="3135933"/>
                  <a:pt x="82371" y="3105338"/>
                </a:cubicBezTo>
                <a:cubicBezTo>
                  <a:pt x="47522" y="3109163"/>
                  <a:pt x="28513" y="3109163"/>
                  <a:pt x="0" y="3112986"/>
                </a:cubicBezTo>
                <a:cubicBezTo>
                  <a:pt x="88707" y="3009730"/>
                  <a:pt x="224934" y="3021203"/>
                  <a:pt x="294633" y="2887353"/>
                </a:cubicBezTo>
                <a:cubicBezTo>
                  <a:pt x="351658" y="2776448"/>
                  <a:pt x="510062" y="2822339"/>
                  <a:pt x="576592" y="2684664"/>
                </a:cubicBezTo>
                <a:cubicBezTo>
                  <a:pt x="620946" y="2711435"/>
                  <a:pt x="696979" y="2673191"/>
                  <a:pt x="719156" y="2600529"/>
                </a:cubicBezTo>
                <a:cubicBezTo>
                  <a:pt x="725492" y="2577583"/>
                  <a:pt x="754005" y="2550813"/>
                  <a:pt x="776181" y="2539340"/>
                </a:cubicBezTo>
                <a:cubicBezTo>
                  <a:pt x="861719" y="2497273"/>
                  <a:pt x="953595" y="2459030"/>
                  <a:pt x="1039133" y="2416963"/>
                </a:cubicBezTo>
                <a:cubicBezTo>
                  <a:pt x="1083486" y="2397841"/>
                  <a:pt x="1096158" y="2367246"/>
                  <a:pt x="1077150" y="2317530"/>
                </a:cubicBezTo>
                <a:cubicBezTo>
                  <a:pt x="1058141" y="2263990"/>
                  <a:pt x="1048637" y="2206625"/>
                  <a:pt x="1026461" y="2153085"/>
                </a:cubicBezTo>
                <a:cubicBezTo>
                  <a:pt x="1010620" y="2107193"/>
                  <a:pt x="985275" y="2065126"/>
                  <a:pt x="953595" y="2030708"/>
                </a:cubicBezTo>
                <a:cubicBezTo>
                  <a:pt x="950426" y="1988640"/>
                  <a:pt x="1039133" y="1973343"/>
                  <a:pt x="991612" y="1889209"/>
                </a:cubicBezTo>
                <a:cubicBezTo>
                  <a:pt x="985275" y="1881560"/>
                  <a:pt x="1023292" y="1824195"/>
                  <a:pt x="1048637" y="1808898"/>
                </a:cubicBezTo>
                <a:cubicBezTo>
                  <a:pt x="1181696" y="1747709"/>
                  <a:pt x="1321092" y="1694169"/>
                  <a:pt x="1454152" y="1629155"/>
                </a:cubicBezTo>
                <a:cubicBezTo>
                  <a:pt x="1663246" y="1529724"/>
                  <a:pt x="1869172" y="1426467"/>
                  <a:pt x="2071929" y="1323211"/>
                </a:cubicBezTo>
                <a:cubicBezTo>
                  <a:pt x="2360225" y="1174062"/>
                  <a:pt x="2648521" y="1024914"/>
                  <a:pt x="2933649" y="871943"/>
                </a:cubicBezTo>
                <a:cubicBezTo>
                  <a:pt x="3031860" y="818402"/>
                  <a:pt x="3117398" y="757213"/>
                  <a:pt x="3234617" y="761038"/>
                </a:cubicBezTo>
                <a:cubicBezTo>
                  <a:pt x="3294810" y="764861"/>
                  <a:pt x="3358172" y="699848"/>
                  <a:pt x="3427870" y="684551"/>
                </a:cubicBezTo>
                <a:cubicBezTo>
                  <a:pt x="3320156" y="780159"/>
                  <a:pt x="3209272" y="871943"/>
                  <a:pt x="3101557" y="967550"/>
                </a:cubicBezTo>
                <a:cubicBezTo>
                  <a:pt x="3107893" y="979023"/>
                  <a:pt x="3114230" y="994321"/>
                  <a:pt x="3120566" y="1005793"/>
                </a:cubicBezTo>
                <a:cubicBezTo>
                  <a:pt x="3291643" y="898713"/>
                  <a:pt x="3472224" y="803105"/>
                  <a:pt x="3633796" y="676903"/>
                </a:cubicBezTo>
                <a:cubicBezTo>
                  <a:pt x="3738343" y="592768"/>
                  <a:pt x="3861898" y="508633"/>
                  <a:pt x="3963277" y="527754"/>
                </a:cubicBezTo>
                <a:cubicBezTo>
                  <a:pt x="4096337" y="558349"/>
                  <a:pt x="4169203" y="428323"/>
                  <a:pt x="4280086" y="447444"/>
                </a:cubicBezTo>
                <a:cubicBezTo>
                  <a:pt x="4178706" y="554525"/>
                  <a:pt x="4017135" y="585119"/>
                  <a:pt x="3972781" y="783983"/>
                </a:cubicBezTo>
                <a:cubicBezTo>
                  <a:pt x="4070992" y="718970"/>
                  <a:pt x="4172370" y="661606"/>
                  <a:pt x="4267413" y="592768"/>
                </a:cubicBezTo>
                <a:cubicBezTo>
                  <a:pt x="4368792" y="520106"/>
                  <a:pt x="4457499" y="432146"/>
                  <a:pt x="4562046" y="370958"/>
                </a:cubicBezTo>
                <a:cubicBezTo>
                  <a:pt x="4606399" y="344188"/>
                  <a:pt x="4669761" y="286823"/>
                  <a:pt x="4723618" y="367133"/>
                </a:cubicBezTo>
                <a:cubicBezTo>
                  <a:pt x="4726786" y="374783"/>
                  <a:pt x="4748963" y="359485"/>
                  <a:pt x="4758467" y="363309"/>
                </a:cubicBezTo>
                <a:cubicBezTo>
                  <a:pt x="4790148" y="363309"/>
                  <a:pt x="4828165" y="290648"/>
                  <a:pt x="4844005" y="378606"/>
                </a:cubicBezTo>
                <a:cubicBezTo>
                  <a:pt x="4869350" y="370958"/>
                  <a:pt x="4891526" y="370958"/>
                  <a:pt x="4913703" y="359485"/>
                </a:cubicBezTo>
                <a:cubicBezTo>
                  <a:pt x="4970728" y="328891"/>
                  <a:pt x="5027755" y="298296"/>
                  <a:pt x="5084780" y="263878"/>
                </a:cubicBezTo>
                <a:cubicBezTo>
                  <a:pt x="5087948" y="271526"/>
                  <a:pt x="5091116" y="282999"/>
                  <a:pt x="5094284" y="290648"/>
                </a:cubicBezTo>
                <a:cubicBezTo>
                  <a:pt x="4989737" y="367133"/>
                  <a:pt x="4885190" y="443620"/>
                  <a:pt x="4783811" y="523930"/>
                </a:cubicBezTo>
                <a:cubicBezTo>
                  <a:pt x="4774307" y="531579"/>
                  <a:pt x="4786980" y="581295"/>
                  <a:pt x="4793316" y="627186"/>
                </a:cubicBezTo>
                <a:cubicBezTo>
                  <a:pt x="4983401" y="493336"/>
                  <a:pt x="5160814" y="363309"/>
                  <a:pt x="5341395" y="240931"/>
                </a:cubicBezTo>
                <a:cubicBezTo>
                  <a:pt x="5395252" y="202688"/>
                  <a:pt x="5455446" y="183567"/>
                  <a:pt x="5512472" y="156797"/>
                </a:cubicBezTo>
                <a:cubicBezTo>
                  <a:pt x="5518808" y="152973"/>
                  <a:pt x="5534648" y="152973"/>
                  <a:pt x="5534648" y="156797"/>
                </a:cubicBezTo>
                <a:cubicBezTo>
                  <a:pt x="5572665" y="260053"/>
                  <a:pt x="5626523" y="202688"/>
                  <a:pt x="5674044" y="175918"/>
                </a:cubicBezTo>
                <a:cubicBezTo>
                  <a:pt x="5680381" y="198864"/>
                  <a:pt x="5683548" y="221810"/>
                  <a:pt x="5686717" y="248580"/>
                </a:cubicBezTo>
                <a:cubicBezTo>
                  <a:pt x="5769086" y="202688"/>
                  <a:pt x="5845121" y="160621"/>
                  <a:pt x="5936995" y="107081"/>
                </a:cubicBezTo>
                <a:cubicBezTo>
                  <a:pt x="5845121" y="260053"/>
                  <a:pt x="5661371" y="263878"/>
                  <a:pt x="5610682" y="443620"/>
                </a:cubicBezTo>
                <a:cubicBezTo>
                  <a:pt x="5617018" y="455093"/>
                  <a:pt x="5623354" y="466566"/>
                  <a:pt x="5632859" y="474214"/>
                </a:cubicBezTo>
                <a:cubicBezTo>
                  <a:pt x="5867297" y="317418"/>
                  <a:pt x="6098568" y="156797"/>
                  <a:pt x="6333006" y="0"/>
                </a:cubicBezTo>
                <a:close/>
              </a:path>
            </a:pathLst>
          </a:custGeom>
        </p:spPr>
      </p:sp>
    </p:spTree>
    <p:extLst>
      <p:ext uri="{BB962C8B-B14F-4D97-AF65-F5344CB8AC3E}">
        <p14:creationId xmlns:p14="http://schemas.microsoft.com/office/powerpoint/2010/main" val="1886610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64_Custom Layout">
    <p:spTree>
      <p:nvGrpSpPr>
        <p:cNvPr id="1" name=""/>
        <p:cNvGrpSpPr/>
        <p:nvPr/>
      </p:nvGrpSpPr>
      <p:grpSpPr>
        <a:xfrm>
          <a:off x="0" y="0"/>
          <a:ext cx="0" cy="0"/>
          <a:chOff x="0" y="0"/>
          <a:chExt cx="0" cy="0"/>
        </a:xfrm>
      </p:grpSpPr>
      <p:sp>
        <p:nvSpPr>
          <p:cNvPr id="3" name="Freeform 2"/>
          <p:cNvSpPr>
            <a:spLocks noGrp="1"/>
          </p:cNvSpPr>
          <p:nvPr>
            <p:ph type="pic" sz="quarter" idx="10"/>
          </p:nvPr>
        </p:nvSpPr>
        <p:spPr>
          <a:xfrm>
            <a:off x="1968285" y="1197243"/>
            <a:ext cx="1813302" cy="1813302"/>
          </a:xfrm>
          <a:custGeom>
            <a:avLst/>
            <a:gdLst>
              <a:gd name="connsiteX0" fmla="*/ 906651 w 1813302"/>
              <a:gd name="connsiteY0" fmla="*/ 0 h 1813302"/>
              <a:gd name="connsiteX1" fmla="*/ 1813302 w 1813302"/>
              <a:gd name="connsiteY1" fmla="*/ 906651 h 1813302"/>
              <a:gd name="connsiteX2" fmla="*/ 906651 w 1813302"/>
              <a:gd name="connsiteY2" fmla="*/ 1813302 h 1813302"/>
              <a:gd name="connsiteX3" fmla="*/ 0 w 1813302"/>
              <a:gd name="connsiteY3" fmla="*/ 906651 h 1813302"/>
              <a:gd name="connsiteX4" fmla="*/ 906651 w 1813302"/>
              <a:gd name="connsiteY4" fmla="*/ 0 h 1813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3302" h="1813302">
                <a:moveTo>
                  <a:pt x="906651" y="0"/>
                </a:moveTo>
                <a:cubicBezTo>
                  <a:pt x="1407381" y="0"/>
                  <a:pt x="1813302" y="405921"/>
                  <a:pt x="1813302" y="906651"/>
                </a:cubicBezTo>
                <a:cubicBezTo>
                  <a:pt x="1813302" y="1407381"/>
                  <a:pt x="1407381" y="1813302"/>
                  <a:pt x="906651" y="1813302"/>
                </a:cubicBezTo>
                <a:cubicBezTo>
                  <a:pt x="405921" y="1813302"/>
                  <a:pt x="0" y="1407381"/>
                  <a:pt x="0" y="906651"/>
                </a:cubicBezTo>
                <a:cubicBezTo>
                  <a:pt x="0" y="405921"/>
                  <a:pt x="405921" y="0"/>
                  <a:pt x="906651" y="0"/>
                </a:cubicBezTo>
                <a:close/>
              </a:path>
            </a:pathLst>
          </a:custGeom>
        </p:spPr>
        <p:txBody>
          <a:bodyPr wrap="square">
            <a:noAutofit/>
          </a:bodyPr>
          <a:lstStyle/>
          <a:p>
            <a:endParaRPr lang="en-US"/>
          </a:p>
        </p:txBody>
      </p:sp>
      <p:sp>
        <p:nvSpPr>
          <p:cNvPr id="4" name="Freeform 3"/>
          <p:cNvSpPr>
            <a:spLocks noGrp="1"/>
          </p:cNvSpPr>
          <p:nvPr>
            <p:ph type="pic" sz="quarter" idx="11"/>
          </p:nvPr>
        </p:nvSpPr>
        <p:spPr>
          <a:xfrm>
            <a:off x="8400081" y="1197243"/>
            <a:ext cx="1813302" cy="1813302"/>
          </a:xfrm>
          <a:custGeom>
            <a:avLst/>
            <a:gdLst>
              <a:gd name="connsiteX0" fmla="*/ 906651 w 1813302"/>
              <a:gd name="connsiteY0" fmla="*/ 0 h 1813302"/>
              <a:gd name="connsiteX1" fmla="*/ 1813302 w 1813302"/>
              <a:gd name="connsiteY1" fmla="*/ 906651 h 1813302"/>
              <a:gd name="connsiteX2" fmla="*/ 906651 w 1813302"/>
              <a:gd name="connsiteY2" fmla="*/ 1813302 h 1813302"/>
              <a:gd name="connsiteX3" fmla="*/ 0 w 1813302"/>
              <a:gd name="connsiteY3" fmla="*/ 906651 h 1813302"/>
              <a:gd name="connsiteX4" fmla="*/ 906651 w 1813302"/>
              <a:gd name="connsiteY4" fmla="*/ 0 h 1813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3302" h="1813302">
                <a:moveTo>
                  <a:pt x="906651" y="0"/>
                </a:moveTo>
                <a:cubicBezTo>
                  <a:pt x="1407381" y="0"/>
                  <a:pt x="1813302" y="405921"/>
                  <a:pt x="1813302" y="906651"/>
                </a:cubicBezTo>
                <a:cubicBezTo>
                  <a:pt x="1813302" y="1407381"/>
                  <a:pt x="1407381" y="1813302"/>
                  <a:pt x="906651" y="1813302"/>
                </a:cubicBezTo>
                <a:cubicBezTo>
                  <a:pt x="405921" y="1813302"/>
                  <a:pt x="0" y="1407381"/>
                  <a:pt x="0" y="906651"/>
                </a:cubicBezTo>
                <a:cubicBezTo>
                  <a:pt x="0" y="405921"/>
                  <a:pt x="405921" y="0"/>
                  <a:pt x="906651"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83330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975673" y="1022350"/>
            <a:ext cx="2200306" cy="3301677"/>
          </a:xfrm>
          <a:prstGeom prst="rect">
            <a:avLst/>
          </a:prstGeom>
        </p:spPr>
        <p:txBody>
          <a:bodyPr/>
          <a:lstStyle/>
          <a:p>
            <a:endParaRPr lang="en-US"/>
          </a:p>
        </p:txBody>
      </p:sp>
      <p:sp>
        <p:nvSpPr>
          <p:cNvPr id="5" name="Picture Placeholder 3"/>
          <p:cNvSpPr>
            <a:spLocks noGrp="1"/>
          </p:cNvSpPr>
          <p:nvPr>
            <p:ph type="pic" sz="quarter" idx="11"/>
          </p:nvPr>
        </p:nvSpPr>
        <p:spPr>
          <a:xfrm>
            <a:off x="6137328" y="1022350"/>
            <a:ext cx="2200306" cy="3301677"/>
          </a:xfrm>
          <a:prstGeom prst="rect">
            <a:avLst/>
          </a:prstGeom>
        </p:spPr>
        <p:txBody>
          <a:bodyPr/>
          <a:lstStyle/>
          <a:p>
            <a:endParaRPr lang="en-US"/>
          </a:p>
        </p:txBody>
      </p:sp>
      <p:sp>
        <p:nvSpPr>
          <p:cNvPr id="6" name="Picture Placeholder 3"/>
          <p:cNvSpPr>
            <a:spLocks noGrp="1"/>
          </p:cNvSpPr>
          <p:nvPr>
            <p:ph type="pic" sz="quarter" idx="12"/>
          </p:nvPr>
        </p:nvSpPr>
        <p:spPr>
          <a:xfrm>
            <a:off x="9298983" y="1022350"/>
            <a:ext cx="2200306" cy="3301677"/>
          </a:xfrm>
          <a:prstGeom prst="rect">
            <a:avLst/>
          </a:prstGeom>
        </p:spPr>
        <p:txBody>
          <a:bodyPr/>
          <a:lstStyle/>
          <a:p>
            <a:endParaRPr lang="en-US"/>
          </a:p>
        </p:txBody>
      </p:sp>
    </p:spTree>
    <p:extLst>
      <p:ext uri="{BB962C8B-B14F-4D97-AF65-F5344CB8AC3E}">
        <p14:creationId xmlns:p14="http://schemas.microsoft.com/office/powerpoint/2010/main" val="1689370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6143625" cy="6858000"/>
          </a:xfrm>
          <a:prstGeom prst="rect">
            <a:avLst/>
          </a:prstGeom>
        </p:spPr>
        <p:txBody>
          <a:bodyPr/>
          <a:lstStyle/>
          <a:p>
            <a:endParaRPr lang="en-US"/>
          </a:p>
        </p:txBody>
      </p:sp>
    </p:spTree>
    <p:extLst>
      <p:ext uri="{BB962C8B-B14F-4D97-AF65-F5344CB8AC3E}">
        <p14:creationId xmlns:p14="http://schemas.microsoft.com/office/powerpoint/2010/main" val="3074884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6_Custom Layout">
    <p:spTree>
      <p:nvGrpSpPr>
        <p:cNvPr id="1" name=""/>
        <p:cNvGrpSpPr/>
        <p:nvPr/>
      </p:nvGrpSpPr>
      <p:grpSpPr>
        <a:xfrm>
          <a:off x="0" y="0"/>
          <a:ext cx="0" cy="0"/>
          <a:chOff x="0" y="0"/>
          <a:chExt cx="0" cy="0"/>
        </a:xfrm>
      </p:grpSpPr>
      <p:sp>
        <p:nvSpPr>
          <p:cNvPr id="16" name="Freeform 15"/>
          <p:cNvSpPr>
            <a:spLocks noGrp="1"/>
          </p:cNvSpPr>
          <p:nvPr>
            <p:ph type="pic" sz="quarter" idx="12"/>
          </p:nvPr>
        </p:nvSpPr>
        <p:spPr>
          <a:xfrm>
            <a:off x="6236890" y="2778112"/>
            <a:ext cx="2644262" cy="2644262"/>
          </a:xfrm>
          <a:custGeom>
            <a:avLst/>
            <a:gdLst>
              <a:gd name="connsiteX0" fmla="*/ 1322131 w 2644262"/>
              <a:gd name="connsiteY0" fmla="*/ 0 h 2644262"/>
              <a:gd name="connsiteX1" fmla="*/ 2644262 w 2644262"/>
              <a:gd name="connsiteY1" fmla="*/ 1322131 h 2644262"/>
              <a:gd name="connsiteX2" fmla="*/ 1322131 w 2644262"/>
              <a:gd name="connsiteY2" fmla="*/ 2644262 h 2644262"/>
              <a:gd name="connsiteX3" fmla="*/ 0 w 2644262"/>
              <a:gd name="connsiteY3" fmla="*/ 1322131 h 2644262"/>
            </a:gdLst>
            <a:ahLst/>
            <a:cxnLst>
              <a:cxn ang="0">
                <a:pos x="connsiteX0" y="connsiteY0"/>
              </a:cxn>
              <a:cxn ang="0">
                <a:pos x="connsiteX1" y="connsiteY1"/>
              </a:cxn>
              <a:cxn ang="0">
                <a:pos x="connsiteX2" y="connsiteY2"/>
              </a:cxn>
              <a:cxn ang="0">
                <a:pos x="connsiteX3" y="connsiteY3"/>
              </a:cxn>
            </a:cxnLst>
            <a:rect l="l" t="t" r="r" b="b"/>
            <a:pathLst>
              <a:path w="2644262" h="2644262">
                <a:moveTo>
                  <a:pt x="1322131" y="0"/>
                </a:moveTo>
                <a:lnTo>
                  <a:pt x="2644262" y="1322131"/>
                </a:lnTo>
                <a:lnTo>
                  <a:pt x="1322131" y="2644262"/>
                </a:lnTo>
                <a:lnTo>
                  <a:pt x="0" y="1322131"/>
                </a:lnTo>
                <a:close/>
              </a:path>
            </a:pathLst>
          </a:custGeom>
        </p:spPr>
        <p:txBody>
          <a:bodyPr wrap="square">
            <a:noAutofit/>
          </a:bodyPr>
          <a:lstStyle/>
          <a:p>
            <a:endParaRPr lang="en-US"/>
          </a:p>
        </p:txBody>
      </p:sp>
      <p:sp>
        <p:nvSpPr>
          <p:cNvPr id="13" name="Freeform 12"/>
          <p:cNvSpPr>
            <a:spLocks noGrp="1"/>
          </p:cNvSpPr>
          <p:nvPr>
            <p:ph type="pic" sz="quarter" idx="11"/>
          </p:nvPr>
        </p:nvSpPr>
        <p:spPr>
          <a:xfrm>
            <a:off x="3310846" y="2745236"/>
            <a:ext cx="2644262" cy="2644262"/>
          </a:xfrm>
          <a:custGeom>
            <a:avLst/>
            <a:gdLst>
              <a:gd name="connsiteX0" fmla="*/ 1322131 w 2644262"/>
              <a:gd name="connsiteY0" fmla="*/ 0 h 2644262"/>
              <a:gd name="connsiteX1" fmla="*/ 2644262 w 2644262"/>
              <a:gd name="connsiteY1" fmla="*/ 1322131 h 2644262"/>
              <a:gd name="connsiteX2" fmla="*/ 1322131 w 2644262"/>
              <a:gd name="connsiteY2" fmla="*/ 2644262 h 2644262"/>
              <a:gd name="connsiteX3" fmla="*/ 0 w 2644262"/>
              <a:gd name="connsiteY3" fmla="*/ 1322131 h 2644262"/>
            </a:gdLst>
            <a:ahLst/>
            <a:cxnLst>
              <a:cxn ang="0">
                <a:pos x="connsiteX0" y="connsiteY0"/>
              </a:cxn>
              <a:cxn ang="0">
                <a:pos x="connsiteX1" y="connsiteY1"/>
              </a:cxn>
              <a:cxn ang="0">
                <a:pos x="connsiteX2" y="connsiteY2"/>
              </a:cxn>
              <a:cxn ang="0">
                <a:pos x="connsiteX3" y="connsiteY3"/>
              </a:cxn>
            </a:cxnLst>
            <a:rect l="l" t="t" r="r" b="b"/>
            <a:pathLst>
              <a:path w="2644262" h="2644262">
                <a:moveTo>
                  <a:pt x="1322131" y="0"/>
                </a:moveTo>
                <a:lnTo>
                  <a:pt x="2644262" y="1322131"/>
                </a:lnTo>
                <a:lnTo>
                  <a:pt x="1322131" y="2644262"/>
                </a:lnTo>
                <a:lnTo>
                  <a:pt x="0" y="1322131"/>
                </a:lnTo>
                <a:close/>
              </a:path>
            </a:pathLst>
          </a:custGeom>
        </p:spPr>
        <p:txBody>
          <a:bodyPr wrap="square">
            <a:noAutofit/>
          </a:bodyPr>
          <a:lstStyle/>
          <a:p>
            <a:endParaRPr lang="en-US"/>
          </a:p>
        </p:txBody>
      </p:sp>
      <p:sp>
        <p:nvSpPr>
          <p:cNvPr id="10" name="Freeform 9"/>
          <p:cNvSpPr>
            <a:spLocks noGrp="1"/>
          </p:cNvSpPr>
          <p:nvPr>
            <p:ph type="pic" sz="quarter" idx="10"/>
          </p:nvPr>
        </p:nvSpPr>
        <p:spPr>
          <a:xfrm>
            <a:off x="4757431" y="1298653"/>
            <a:ext cx="2644262" cy="2644262"/>
          </a:xfrm>
          <a:custGeom>
            <a:avLst/>
            <a:gdLst>
              <a:gd name="connsiteX0" fmla="*/ 1322131 w 2644262"/>
              <a:gd name="connsiteY0" fmla="*/ 0 h 2644262"/>
              <a:gd name="connsiteX1" fmla="*/ 2644262 w 2644262"/>
              <a:gd name="connsiteY1" fmla="*/ 1322131 h 2644262"/>
              <a:gd name="connsiteX2" fmla="*/ 1322131 w 2644262"/>
              <a:gd name="connsiteY2" fmla="*/ 2644262 h 2644262"/>
              <a:gd name="connsiteX3" fmla="*/ 0 w 2644262"/>
              <a:gd name="connsiteY3" fmla="*/ 1322131 h 2644262"/>
            </a:gdLst>
            <a:ahLst/>
            <a:cxnLst>
              <a:cxn ang="0">
                <a:pos x="connsiteX0" y="connsiteY0"/>
              </a:cxn>
              <a:cxn ang="0">
                <a:pos x="connsiteX1" y="connsiteY1"/>
              </a:cxn>
              <a:cxn ang="0">
                <a:pos x="connsiteX2" y="connsiteY2"/>
              </a:cxn>
              <a:cxn ang="0">
                <a:pos x="connsiteX3" y="connsiteY3"/>
              </a:cxn>
            </a:cxnLst>
            <a:rect l="l" t="t" r="r" b="b"/>
            <a:pathLst>
              <a:path w="2644262" h="2644262">
                <a:moveTo>
                  <a:pt x="1322131" y="0"/>
                </a:moveTo>
                <a:lnTo>
                  <a:pt x="2644262" y="1322131"/>
                </a:lnTo>
                <a:lnTo>
                  <a:pt x="1322131" y="2644262"/>
                </a:lnTo>
                <a:lnTo>
                  <a:pt x="0" y="1322131"/>
                </a:lnTo>
                <a:close/>
              </a:path>
            </a:pathLst>
          </a:custGeom>
        </p:spPr>
        <p:txBody>
          <a:bodyPr wrap="square">
            <a:noAutofit/>
          </a:bodyPr>
          <a:lstStyle/>
          <a:p>
            <a:endParaRPr lang="en-US"/>
          </a:p>
        </p:txBody>
      </p:sp>
    </p:spTree>
    <p:extLst>
      <p:ext uri="{BB962C8B-B14F-4D97-AF65-F5344CB8AC3E}">
        <p14:creationId xmlns:p14="http://schemas.microsoft.com/office/powerpoint/2010/main" val="287419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57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0416" y="1674060"/>
            <a:ext cx="1936750" cy="1936750"/>
          </a:xfrm>
          <a:prstGeom prst="rect">
            <a:avLst/>
          </a:prstGeom>
        </p:spPr>
        <p:txBody>
          <a:bodyPr/>
          <a:lstStyle/>
          <a:p>
            <a:endParaRPr lang="en-US"/>
          </a:p>
        </p:txBody>
      </p:sp>
      <p:sp>
        <p:nvSpPr>
          <p:cNvPr id="5" name="Picture Placeholder 3"/>
          <p:cNvSpPr>
            <a:spLocks noGrp="1"/>
          </p:cNvSpPr>
          <p:nvPr>
            <p:ph type="pic" sz="quarter" idx="11"/>
          </p:nvPr>
        </p:nvSpPr>
        <p:spPr>
          <a:xfrm>
            <a:off x="620416" y="4215782"/>
            <a:ext cx="1936750" cy="1936750"/>
          </a:xfrm>
          <a:prstGeom prst="rect">
            <a:avLst/>
          </a:prstGeom>
        </p:spPr>
        <p:txBody>
          <a:bodyPr/>
          <a:lstStyle/>
          <a:p>
            <a:endParaRPr lang="en-US"/>
          </a:p>
        </p:txBody>
      </p:sp>
      <p:sp>
        <p:nvSpPr>
          <p:cNvPr id="6" name="Picture Placeholder 3"/>
          <p:cNvSpPr>
            <a:spLocks noGrp="1"/>
          </p:cNvSpPr>
          <p:nvPr>
            <p:ph type="pic" sz="quarter" idx="12"/>
          </p:nvPr>
        </p:nvSpPr>
        <p:spPr>
          <a:xfrm>
            <a:off x="9640429" y="1674060"/>
            <a:ext cx="1936750" cy="1936750"/>
          </a:xfrm>
          <a:prstGeom prst="rect">
            <a:avLst/>
          </a:prstGeom>
        </p:spPr>
        <p:txBody>
          <a:bodyPr/>
          <a:lstStyle/>
          <a:p>
            <a:endParaRPr lang="en-US"/>
          </a:p>
        </p:txBody>
      </p:sp>
      <p:sp>
        <p:nvSpPr>
          <p:cNvPr id="7" name="Picture Placeholder 3"/>
          <p:cNvSpPr>
            <a:spLocks noGrp="1"/>
          </p:cNvSpPr>
          <p:nvPr>
            <p:ph type="pic" sz="quarter" idx="13"/>
          </p:nvPr>
        </p:nvSpPr>
        <p:spPr>
          <a:xfrm>
            <a:off x="9640429" y="4215782"/>
            <a:ext cx="1936750" cy="1936750"/>
          </a:xfrm>
          <a:prstGeom prst="rect">
            <a:avLst/>
          </a:prstGeom>
        </p:spPr>
        <p:txBody>
          <a:bodyPr/>
          <a:lstStyle/>
          <a:p>
            <a:endParaRPr lang="en-US"/>
          </a:p>
        </p:txBody>
      </p:sp>
    </p:spTree>
    <p:extLst>
      <p:ext uri="{BB962C8B-B14F-4D97-AF65-F5344CB8AC3E}">
        <p14:creationId xmlns:p14="http://schemas.microsoft.com/office/powerpoint/2010/main" val="3410631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58_Custom Layout">
    <p:spTree>
      <p:nvGrpSpPr>
        <p:cNvPr id="1" name=""/>
        <p:cNvGrpSpPr/>
        <p:nvPr/>
      </p:nvGrpSpPr>
      <p:grpSpPr>
        <a:xfrm>
          <a:off x="0" y="0"/>
          <a:ext cx="0" cy="0"/>
          <a:chOff x="0" y="0"/>
          <a:chExt cx="0" cy="0"/>
        </a:xfrm>
      </p:grpSpPr>
      <p:sp>
        <p:nvSpPr>
          <p:cNvPr id="6" name="Freeform 5"/>
          <p:cNvSpPr>
            <a:spLocks noGrp="1"/>
          </p:cNvSpPr>
          <p:nvPr>
            <p:ph type="pic" sz="quarter" idx="10"/>
          </p:nvPr>
        </p:nvSpPr>
        <p:spPr>
          <a:xfrm>
            <a:off x="0" y="1"/>
            <a:ext cx="12192000" cy="5018652"/>
          </a:xfrm>
          <a:custGeom>
            <a:avLst/>
            <a:gdLst>
              <a:gd name="connsiteX0" fmla="*/ 0 w 12192000"/>
              <a:gd name="connsiteY0" fmla="*/ 0 h 5018652"/>
              <a:gd name="connsiteX1" fmla="*/ 12192000 w 12192000"/>
              <a:gd name="connsiteY1" fmla="*/ 0 h 5018652"/>
              <a:gd name="connsiteX2" fmla="*/ 12192000 w 12192000"/>
              <a:gd name="connsiteY2" fmla="*/ 4076640 h 5018652"/>
              <a:gd name="connsiteX3" fmla="*/ 0 w 12192000"/>
              <a:gd name="connsiteY3" fmla="*/ 4747372 h 5018652"/>
            </a:gdLst>
            <a:ahLst/>
            <a:cxnLst>
              <a:cxn ang="0">
                <a:pos x="connsiteX0" y="connsiteY0"/>
              </a:cxn>
              <a:cxn ang="0">
                <a:pos x="connsiteX1" y="connsiteY1"/>
              </a:cxn>
              <a:cxn ang="0">
                <a:pos x="connsiteX2" y="connsiteY2"/>
              </a:cxn>
              <a:cxn ang="0">
                <a:pos x="connsiteX3" y="connsiteY3"/>
              </a:cxn>
            </a:cxnLst>
            <a:rect l="l" t="t" r="r" b="b"/>
            <a:pathLst>
              <a:path w="12192000" h="5018652">
                <a:moveTo>
                  <a:pt x="0" y="0"/>
                </a:moveTo>
                <a:lnTo>
                  <a:pt x="12192000" y="0"/>
                </a:lnTo>
                <a:lnTo>
                  <a:pt x="12192000" y="4076640"/>
                </a:lnTo>
                <a:cubicBezTo>
                  <a:pt x="6096000" y="4076640"/>
                  <a:pt x="6096000" y="5629914"/>
                  <a:pt x="0" y="4747372"/>
                </a:cubicBezTo>
                <a:close/>
              </a:path>
            </a:pathLst>
          </a:custGeom>
        </p:spPr>
        <p:txBody>
          <a:bodyPr wrap="square">
            <a:noAutofit/>
          </a:bodyPr>
          <a:lstStyle/>
          <a:p>
            <a:endParaRPr lang="en-US"/>
          </a:p>
        </p:txBody>
      </p:sp>
      <p:sp>
        <p:nvSpPr>
          <p:cNvPr id="7" name="Freeform 6"/>
          <p:cNvSpPr>
            <a:spLocks noGrp="1"/>
          </p:cNvSpPr>
          <p:nvPr>
            <p:ph type="pic" sz="quarter" idx="11"/>
          </p:nvPr>
        </p:nvSpPr>
        <p:spPr>
          <a:xfrm>
            <a:off x="1997990" y="4112002"/>
            <a:ext cx="1813302" cy="1813302"/>
          </a:xfrm>
          <a:custGeom>
            <a:avLst/>
            <a:gdLst>
              <a:gd name="connsiteX0" fmla="*/ 906651 w 1813302"/>
              <a:gd name="connsiteY0" fmla="*/ 0 h 1813302"/>
              <a:gd name="connsiteX1" fmla="*/ 1813302 w 1813302"/>
              <a:gd name="connsiteY1" fmla="*/ 906651 h 1813302"/>
              <a:gd name="connsiteX2" fmla="*/ 906651 w 1813302"/>
              <a:gd name="connsiteY2" fmla="*/ 1813302 h 1813302"/>
              <a:gd name="connsiteX3" fmla="*/ 0 w 1813302"/>
              <a:gd name="connsiteY3" fmla="*/ 906651 h 1813302"/>
              <a:gd name="connsiteX4" fmla="*/ 906651 w 1813302"/>
              <a:gd name="connsiteY4" fmla="*/ 0 h 1813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3302" h="1813302">
                <a:moveTo>
                  <a:pt x="906651" y="0"/>
                </a:moveTo>
                <a:cubicBezTo>
                  <a:pt x="1407381" y="0"/>
                  <a:pt x="1813302" y="405921"/>
                  <a:pt x="1813302" y="906651"/>
                </a:cubicBezTo>
                <a:cubicBezTo>
                  <a:pt x="1813302" y="1407381"/>
                  <a:pt x="1407381" y="1813302"/>
                  <a:pt x="906651" y="1813302"/>
                </a:cubicBezTo>
                <a:cubicBezTo>
                  <a:pt x="405921" y="1813302"/>
                  <a:pt x="0" y="1407381"/>
                  <a:pt x="0" y="906651"/>
                </a:cubicBezTo>
                <a:cubicBezTo>
                  <a:pt x="0" y="405921"/>
                  <a:pt x="405921" y="0"/>
                  <a:pt x="906651" y="0"/>
                </a:cubicBezTo>
                <a:close/>
              </a:path>
            </a:pathLst>
          </a:custGeom>
        </p:spPr>
        <p:txBody>
          <a:bodyPr wrap="square">
            <a:noAutofit/>
          </a:bodyPr>
          <a:lstStyle/>
          <a:p>
            <a:endParaRPr lang="en-US"/>
          </a:p>
        </p:txBody>
      </p:sp>
      <p:sp>
        <p:nvSpPr>
          <p:cNvPr id="8" name="Freeform 7"/>
          <p:cNvSpPr>
            <a:spLocks noGrp="1"/>
          </p:cNvSpPr>
          <p:nvPr>
            <p:ph type="pic" sz="quarter" idx="12"/>
          </p:nvPr>
        </p:nvSpPr>
        <p:spPr>
          <a:xfrm>
            <a:off x="5189349" y="3817534"/>
            <a:ext cx="1813302" cy="1813302"/>
          </a:xfrm>
          <a:custGeom>
            <a:avLst/>
            <a:gdLst>
              <a:gd name="connsiteX0" fmla="*/ 906651 w 1813302"/>
              <a:gd name="connsiteY0" fmla="*/ 0 h 1813302"/>
              <a:gd name="connsiteX1" fmla="*/ 1813302 w 1813302"/>
              <a:gd name="connsiteY1" fmla="*/ 906651 h 1813302"/>
              <a:gd name="connsiteX2" fmla="*/ 906651 w 1813302"/>
              <a:gd name="connsiteY2" fmla="*/ 1813302 h 1813302"/>
              <a:gd name="connsiteX3" fmla="*/ 0 w 1813302"/>
              <a:gd name="connsiteY3" fmla="*/ 906651 h 1813302"/>
              <a:gd name="connsiteX4" fmla="*/ 906651 w 1813302"/>
              <a:gd name="connsiteY4" fmla="*/ 0 h 1813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3302" h="1813302">
                <a:moveTo>
                  <a:pt x="906651" y="0"/>
                </a:moveTo>
                <a:cubicBezTo>
                  <a:pt x="1407381" y="0"/>
                  <a:pt x="1813302" y="405921"/>
                  <a:pt x="1813302" y="906651"/>
                </a:cubicBezTo>
                <a:cubicBezTo>
                  <a:pt x="1813302" y="1407381"/>
                  <a:pt x="1407381" y="1813302"/>
                  <a:pt x="906651" y="1813302"/>
                </a:cubicBezTo>
                <a:cubicBezTo>
                  <a:pt x="405921" y="1813302"/>
                  <a:pt x="0" y="1407381"/>
                  <a:pt x="0" y="906651"/>
                </a:cubicBezTo>
                <a:cubicBezTo>
                  <a:pt x="0" y="405921"/>
                  <a:pt x="405921" y="0"/>
                  <a:pt x="906651" y="0"/>
                </a:cubicBezTo>
                <a:close/>
              </a:path>
            </a:pathLst>
          </a:custGeom>
        </p:spPr>
        <p:txBody>
          <a:bodyPr wrap="square">
            <a:noAutofit/>
          </a:bodyPr>
          <a:lstStyle/>
          <a:p>
            <a:endParaRPr lang="en-US"/>
          </a:p>
        </p:txBody>
      </p:sp>
      <p:sp>
        <p:nvSpPr>
          <p:cNvPr id="9" name="Freeform 8"/>
          <p:cNvSpPr>
            <a:spLocks noGrp="1"/>
          </p:cNvSpPr>
          <p:nvPr>
            <p:ph type="pic" sz="quarter" idx="13"/>
          </p:nvPr>
        </p:nvSpPr>
        <p:spPr>
          <a:xfrm>
            <a:off x="8380708" y="3429000"/>
            <a:ext cx="1813302" cy="1813302"/>
          </a:xfrm>
          <a:custGeom>
            <a:avLst/>
            <a:gdLst>
              <a:gd name="connsiteX0" fmla="*/ 906651 w 1813302"/>
              <a:gd name="connsiteY0" fmla="*/ 0 h 1813302"/>
              <a:gd name="connsiteX1" fmla="*/ 1813302 w 1813302"/>
              <a:gd name="connsiteY1" fmla="*/ 906651 h 1813302"/>
              <a:gd name="connsiteX2" fmla="*/ 906651 w 1813302"/>
              <a:gd name="connsiteY2" fmla="*/ 1813302 h 1813302"/>
              <a:gd name="connsiteX3" fmla="*/ 0 w 1813302"/>
              <a:gd name="connsiteY3" fmla="*/ 906651 h 1813302"/>
              <a:gd name="connsiteX4" fmla="*/ 906651 w 1813302"/>
              <a:gd name="connsiteY4" fmla="*/ 0 h 1813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3302" h="1813302">
                <a:moveTo>
                  <a:pt x="906651" y="0"/>
                </a:moveTo>
                <a:cubicBezTo>
                  <a:pt x="1407381" y="0"/>
                  <a:pt x="1813302" y="405921"/>
                  <a:pt x="1813302" y="906651"/>
                </a:cubicBezTo>
                <a:cubicBezTo>
                  <a:pt x="1813302" y="1407381"/>
                  <a:pt x="1407381" y="1813302"/>
                  <a:pt x="906651" y="1813302"/>
                </a:cubicBezTo>
                <a:cubicBezTo>
                  <a:pt x="405921" y="1813302"/>
                  <a:pt x="0" y="1407381"/>
                  <a:pt x="0" y="906651"/>
                </a:cubicBezTo>
                <a:cubicBezTo>
                  <a:pt x="0" y="405921"/>
                  <a:pt x="405921" y="0"/>
                  <a:pt x="906651"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143905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9_Custom Layout">
    <p:spTree>
      <p:nvGrpSpPr>
        <p:cNvPr id="1" name=""/>
        <p:cNvGrpSpPr/>
        <p:nvPr/>
      </p:nvGrpSpPr>
      <p:grpSpPr>
        <a:xfrm>
          <a:off x="0" y="0"/>
          <a:ext cx="0" cy="0"/>
          <a:chOff x="0" y="0"/>
          <a:chExt cx="0" cy="0"/>
        </a:xfrm>
      </p:grpSpPr>
      <p:sp>
        <p:nvSpPr>
          <p:cNvPr id="8" name="Freeform 7"/>
          <p:cNvSpPr>
            <a:spLocks noGrp="1"/>
          </p:cNvSpPr>
          <p:nvPr>
            <p:ph type="pic" sz="quarter" idx="10"/>
          </p:nvPr>
        </p:nvSpPr>
        <p:spPr>
          <a:xfrm>
            <a:off x="867905" y="1119753"/>
            <a:ext cx="1813302" cy="1813302"/>
          </a:xfrm>
          <a:custGeom>
            <a:avLst/>
            <a:gdLst>
              <a:gd name="connsiteX0" fmla="*/ 906651 w 1813302"/>
              <a:gd name="connsiteY0" fmla="*/ 0 h 1813302"/>
              <a:gd name="connsiteX1" fmla="*/ 1813302 w 1813302"/>
              <a:gd name="connsiteY1" fmla="*/ 906651 h 1813302"/>
              <a:gd name="connsiteX2" fmla="*/ 906651 w 1813302"/>
              <a:gd name="connsiteY2" fmla="*/ 1813302 h 1813302"/>
              <a:gd name="connsiteX3" fmla="*/ 0 w 1813302"/>
              <a:gd name="connsiteY3" fmla="*/ 906651 h 1813302"/>
              <a:gd name="connsiteX4" fmla="*/ 906651 w 1813302"/>
              <a:gd name="connsiteY4" fmla="*/ 0 h 1813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3302" h="1813302">
                <a:moveTo>
                  <a:pt x="906651" y="0"/>
                </a:moveTo>
                <a:cubicBezTo>
                  <a:pt x="1407381" y="0"/>
                  <a:pt x="1813302" y="405921"/>
                  <a:pt x="1813302" y="906651"/>
                </a:cubicBezTo>
                <a:cubicBezTo>
                  <a:pt x="1813302" y="1407381"/>
                  <a:pt x="1407381" y="1813302"/>
                  <a:pt x="906651" y="1813302"/>
                </a:cubicBezTo>
                <a:cubicBezTo>
                  <a:pt x="405921" y="1813302"/>
                  <a:pt x="0" y="1407381"/>
                  <a:pt x="0" y="906651"/>
                </a:cubicBezTo>
                <a:cubicBezTo>
                  <a:pt x="0" y="405921"/>
                  <a:pt x="405921" y="0"/>
                  <a:pt x="906651" y="0"/>
                </a:cubicBezTo>
                <a:close/>
              </a:path>
            </a:pathLst>
          </a:custGeom>
        </p:spPr>
        <p:txBody>
          <a:bodyPr wrap="square">
            <a:noAutofit/>
          </a:bodyPr>
          <a:lstStyle/>
          <a:p>
            <a:endParaRPr lang="en-US"/>
          </a:p>
        </p:txBody>
      </p:sp>
      <p:sp>
        <p:nvSpPr>
          <p:cNvPr id="9" name="Freeform 8"/>
          <p:cNvSpPr>
            <a:spLocks noGrp="1"/>
          </p:cNvSpPr>
          <p:nvPr>
            <p:ph type="pic" sz="quarter" idx="11"/>
          </p:nvPr>
        </p:nvSpPr>
        <p:spPr>
          <a:xfrm>
            <a:off x="3440624" y="3150031"/>
            <a:ext cx="1301857" cy="1301857"/>
          </a:xfrm>
          <a:custGeom>
            <a:avLst/>
            <a:gdLst>
              <a:gd name="connsiteX0" fmla="*/ 906651 w 1813302"/>
              <a:gd name="connsiteY0" fmla="*/ 0 h 1813302"/>
              <a:gd name="connsiteX1" fmla="*/ 1813302 w 1813302"/>
              <a:gd name="connsiteY1" fmla="*/ 906651 h 1813302"/>
              <a:gd name="connsiteX2" fmla="*/ 906651 w 1813302"/>
              <a:gd name="connsiteY2" fmla="*/ 1813302 h 1813302"/>
              <a:gd name="connsiteX3" fmla="*/ 0 w 1813302"/>
              <a:gd name="connsiteY3" fmla="*/ 906651 h 1813302"/>
              <a:gd name="connsiteX4" fmla="*/ 906651 w 1813302"/>
              <a:gd name="connsiteY4" fmla="*/ 0 h 1813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3302" h="1813302">
                <a:moveTo>
                  <a:pt x="906651" y="0"/>
                </a:moveTo>
                <a:cubicBezTo>
                  <a:pt x="1407381" y="0"/>
                  <a:pt x="1813302" y="405921"/>
                  <a:pt x="1813302" y="906651"/>
                </a:cubicBezTo>
                <a:cubicBezTo>
                  <a:pt x="1813302" y="1407381"/>
                  <a:pt x="1407381" y="1813302"/>
                  <a:pt x="906651" y="1813302"/>
                </a:cubicBezTo>
                <a:cubicBezTo>
                  <a:pt x="405921" y="1813302"/>
                  <a:pt x="0" y="1407381"/>
                  <a:pt x="0" y="906651"/>
                </a:cubicBezTo>
                <a:cubicBezTo>
                  <a:pt x="0" y="405921"/>
                  <a:pt x="405921" y="0"/>
                  <a:pt x="906651" y="0"/>
                </a:cubicBezTo>
                <a:close/>
              </a:path>
            </a:pathLst>
          </a:custGeom>
        </p:spPr>
        <p:txBody>
          <a:bodyPr wrap="square">
            <a:noAutofit/>
          </a:bodyPr>
          <a:lstStyle/>
          <a:p>
            <a:endParaRPr lang="en-US"/>
          </a:p>
        </p:txBody>
      </p:sp>
      <p:sp>
        <p:nvSpPr>
          <p:cNvPr id="10" name="Freeform 9"/>
          <p:cNvSpPr>
            <a:spLocks noGrp="1"/>
          </p:cNvSpPr>
          <p:nvPr>
            <p:ph type="pic" sz="quarter" idx="12"/>
          </p:nvPr>
        </p:nvSpPr>
        <p:spPr>
          <a:xfrm>
            <a:off x="5445071" y="3150031"/>
            <a:ext cx="1301857" cy="1301857"/>
          </a:xfrm>
          <a:custGeom>
            <a:avLst/>
            <a:gdLst>
              <a:gd name="connsiteX0" fmla="*/ 906651 w 1813302"/>
              <a:gd name="connsiteY0" fmla="*/ 0 h 1813302"/>
              <a:gd name="connsiteX1" fmla="*/ 1813302 w 1813302"/>
              <a:gd name="connsiteY1" fmla="*/ 906651 h 1813302"/>
              <a:gd name="connsiteX2" fmla="*/ 906651 w 1813302"/>
              <a:gd name="connsiteY2" fmla="*/ 1813302 h 1813302"/>
              <a:gd name="connsiteX3" fmla="*/ 0 w 1813302"/>
              <a:gd name="connsiteY3" fmla="*/ 906651 h 1813302"/>
              <a:gd name="connsiteX4" fmla="*/ 906651 w 1813302"/>
              <a:gd name="connsiteY4" fmla="*/ 0 h 1813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3302" h="1813302">
                <a:moveTo>
                  <a:pt x="906651" y="0"/>
                </a:moveTo>
                <a:cubicBezTo>
                  <a:pt x="1407381" y="0"/>
                  <a:pt x="1813302" y="405921"/>
                  <a:pt x="1813302" y="906651"/>
                </a:cubicBezTo>
                <a:cubicBezTo>
                  <a:pt x="1813302" y="1407381"/>
                  <a:pt x="1407381" y="1813302"/>
                  <a:pt x="906651" y="1813302"/>
                </a:cubicBezTo>
                <a:cubicBezTo>
                  <a:pt x="405921" y="1813302"/>
                  <a:pt x="0" y="1407381"/>
                  <a:pt x="0" y="906651"/>
                </a:cubicBezTo>
                <a:cubicBezTo>
                  <a:pt x="0" y="405921"/>
                  <a:pt x="405921" y="0"/>
                  <a:pt x="906651" y="0"/>
                </a:cubicBezTo>
                <a:close/>
              </a:path>
            </a:pathLst>
          </a:custGeom>
        </p:spPr>
        <p:txBody>
          <a:bodyPr wrap="square">
            <a:noAutofit/>
          </a:bodyPr>
          <a:lstStyle/>
          <a:p>
            <a:endParaRPr lang="en-US"/>
          </a:p>
        </p:txBody>
      </p:sp>
      <p:sp>
        <p:nvSpPr>
          <p:cNvPr id="11" name="Freeform 10"/>
          <p:cNvSpPr>
            <a:spLocks noGrp="1"/>
          </p:cNvSpPr>
          <p:nvPr>
            <p:ph type="pic" sz="quarter" idx="13"/>
          </p:nvPr>
        </p:nvSpPr>
        <p:spPr>
          <a:xfrm>
            <a:off x="7449518" y="3150031"/>
            <a:ext cx="1301857" cy="1301857"/>
          </a:xfrm>
          <a:custGeom>
            <a:avLst/>
            <a:gdLst>
              <a:gd name="connsiteX0" fmla="*/ 906651 w 1813302"/>
              <a:gd name="connsiteY0" fmla="*/ 0 h 1813302"/>
              <a:gd name="connsiteX1" fmla="*/ 1813302 w 1813302"/>
              <a:gd name="connsiteY1" fmla="*/ 906651 h 1813302"/>
              <a:gd name="connsiteX2" fmla="*/ 906651 w 1813302"/>
              <a:gd name="connsiteY2" fmla="*/ 1813302 h 1813302"/>
              <a:gd name="connsiteX3" fmla="*/ 0 w 1813302"/>
              <a:gd name="connsiteY3" fmla="*/ 906651 h 1813302"/>
              <a:gd name="connsiteX4" fmla="*/ 906651 w 1813302"/>
              <a:gd name="connsiteY4" fmla="*/ 0 h 1813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3302" h="1813302">
                <a:moveTo>
                  <a:pt x="906651" y="0"/>
                </a:moveTo>
                <a:cubicBezTo>
                  <a:pt x="1407381" y="0"/>
                  <a:pt x="1813302" y="405921"/>
                  <a:pt x="1813302" y="906651"/>
                </a:cubicBezTo>
                <a:cubicBezTo>
                  <a:pt x="1813302" y="1407381"/>
                  <a:pt x="1407381" y="1813302"/>
                  <a:pt x="906651" y="1813302"/>
                </a:cubicBezTo>
                <a:cubicBezTo>
                  <a:pt x="405921" y="1813302"/>
                  <a:pt x="0" y="1407381"/>
                  <a:pt x="0" y="906651"/>
                </a:cubicBezTo>
                <a:cubicBezTo>
                  <a:pt x="0" y="405921"/>
                  <a:pt x="405921" y="0"/>
                  <a:pt x="906651" y="0"/>
                </a:cubicBezTo>
                <a:close/>
              </a:path>
            </a:pathLst>
          </a:custGeom>
        </p:spPr>
        <p:txBody>
          <a:bodyPr wrap="square">
            <a:noAutofit/>
          </a:bodyPr>
          <a:lstStyle/>
          <a:p>
            <a:endParaRPr lang="en-US"/>
          </a:p>
        </p:txBody>
      </p:sp>
      <p:sp>
        <p:nvSpPr>
          <p:cNvPr id="12" name="Freeform 11"/>
          <p:cNvSpPr>
            <a:spLocks noGrp="1"/>
          </p:cNvSpPr>
          <p:nvPr>
            <p:ph type="pic" sz="quarter" idx="14"/>
          </p:nvPr>
        </p:nvSpPr>
        <p:spPr>
          <a:xfrm>
            <a:off x="9448798" y="3150031"/>
            <a:ext cx="1301857" cy="1301857"/>
          </a:xfrm>
          <a:custGeom>
            <a:avLst/>
            <a:gdLst>
              <a:gd name="connsiteX0" fmla="*/ 906651 w 1813302"/>
              <a:gd name="connsiteY0" fmla="*/ 0 h 1813302"/>
              <a:gd name="connsiteX1" fmla="*/ 1813302 w 1813302"/>
              <a:gd name="connsiteY1" fmla="*/ 906651 h 1813302"/>
              <a:gd name="connsiteX2" fmla="*/ 906651 w 1813302"/>
              <a:gd name="connsiteY2" fmla="*/ 1813302 h 1813302"/>
              <a:gd name="connsiteX3" fmla="*/ 0 w 1813302"/>
              <a:gd name="connsiteY3" fmla="*/ 906651 h 1813302"/>
              <a:gd name="connsiteX4" fmla="*/ 906651 w 1813302"/>
              <a:gd name="connsiteY4" fmla="*/ 0 h 1813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3302" h="1813302">
                <a:moveTo>
                  <a:pt x="906651" y="0"/>
                </a:moveTo>
                <a:cubicBezTo>
                  <a:pt x="1407381" y="0"/>
                  <a:pt x="1813302" y="405921"/>
                  <a:pt x="1813302" y="906651"/>
                </a:cubicBezTo>
                <a:cubicBezTo>
                  <a:pt x="1813302" y="1407381"/>
                  <a:pt x="1407381" y="1813302"/>
                  <a:pt x="906651" y="1813302"/>
                </a:cubicBezTo>
                <a:cubicBezTo>
                  <a:pt x="405921" y="1813302"/>
                  <a:pt x="0" y="1407381"/>
                  <a:pt x="0" y="906651"/>
                </a:cubicBezTo>
                <a:cubicBezTo>
                  <a:pt x="0" y="405921"/>
                  <a:pt x="405921" y="0"/>
                  <a:pt x="906651"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08549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60_Custom Layout">
    <p:spTree>
      <p:nvGrpSpPr>
        <p:cNvPr id="1" name=""/>
        <p:cNvGrpSpPr/>
        <p:nvPr/>
      </p:nvGrpSpPr>
      <p:grpSpPr>
        <a:xfrm>
          <a:off x="0" y="0"/>
          <a:ext cx="0" cy="0"/>
          <a:chOff x="0" y="0"/>
          <a:chExt cx="0" cy="0"/>
        </a:xfrm>
      </p:grpSpPr>
      <p:sp>
        <p:nvSpPr>
          <p:cNvPr id="3" name="Picture Placeholder 11"/>
          <p:cNvSpPr>
            <a:spLocks noGrp="1"/>
          </p:cNvSpPr>
          <p:nvPr>
            <p:ph type="pic" sz="quarter" idx="10"/>
          </p:nvPr>
        </p:nvSpPr>
        <p:spPr>
          <a:xfrm>
            <a:off x="362630" y="798737"/>
            <a:ext cx="2742973" cy="6059263"/>
          </a:xfrm>
          <a:prstGeom prst="rect">
            <a:avLst/>
          </a:prstGeom>
        </p:spPr>
        <p:txBody>
          <a:bodyPr/>
          <a:lstStyle/>
          <a:p>
            <a:endParaRPr lang="en-US"/>
          </a:p>
        </p:txBody>
      </p:sp>
      <p:sp>
        <p:nvSpPr>
          <p:cNvPr id="4" name="Picture Placeholder 13"/>
          <p:cNvSpPr>
            <a:spLocks noGrp="1"/>
          </p:cNvSpPr>
          <p:nvPr>
            <p:ph type="pic" sz="quarter" idx="11"/>
          </p:nvPr>
        </p:nvSpPr>
        <p:spPr>
          <a:xfrm>
            <a:off x="3134409" y="3840296"/>
            <a:ext cx="3019197" cy="3017704"/>
          </a:xfrm>
          <a:prstGeom prst="rect">
            <a:avLst/>
          </a:prstGeom>
        </p:spPr>
        <p:txBody>
          <a:bodyPr/>
          <a:lstStyle/>
          <a:p>
            <a:endParaRPr lang="en-US"/>
          </a:p>
        </p:txBody>
      </p:sp>
      <p:sp>
        <p:nvSpPr>
          <p:cNvPr id="5" name="Picture Placeholder 13"/>
          <p:cNvSpPr>
            <a:spLocks noGrp="1"/>
          </p:cNvSpPr>
          <p:nvPr>
            <p:ph type="pic" sz="quarter" idx="12"/>
          </p:nvPr>
        </p:nvSpPr>
        <p:spPr>
          <a:xfrm>
            <a:off x="3134409" y="798737"/>
            <a:ext cx="3019197" cy="3017704"/>
          </a:xfrm>
          <a:prstGeom prst="rect">
            <a:avLst/>
          </a:prstGeom>
        </p:spPr>
        <p:txBody>
          <a:bodyPr/>
          <a:lstStyle/>
          <a:p>
            <a:endParaRPr lang="en-US"/>
          </a:p>
        </p:txBody>
      </p:sp>
      <p:sp>
        <p:nvSpPr>
          <p:cNvPr id="6" name="Picture Placeholder 13"/>
          <p:cNvSpPr>
            <a:spLocks noGrp="1"/>
          </p:cNvSpPr>
          <p:nvPr>
            <p:ph type="pic" sz="quarter" idx="13"/>
          </p:nvPr>
        </p:nvSpPr>
        <p:spPr>
          <a:xfrm>
            <a:off x="6153606" y="3840296"/>
            <a:ext cx="3019197" cy="3017704"/>
          </a:xfrm>
          <a:prstGeom prst="rect">
            <a:avLst/>
          </a:prstGeom>
        </p:spPr>
        <p:txBody>
          <a:bodyPr/>
          <a:lstStyle/>
          <a:p>
            <a:endParaRPr lang="en-US"/>
          </a:p>
        </p:txBody>
      </p:sp>
      <p:sp>
        <p:nvSpPr>
          <p:cNvPr id="7" name="Picture Placeholder 13"/>
          <p:cNvSpPr>
            <a:spLocks noGrp="1"/>
          </p:cNvSpPr>
          <p:nvPr>
            <p:ph type="pic" sz="quarter" idx="14"/>
          </p:nvPr>
        </p:nvSpPr>
        <p:spPr>
          <a:xfrm>
            <a:off x="6153606" y="798737"/>
            <a:ext cx="3019197" cy="3017704"/>
          </a:xfrm>
          <a:prstGeom prst="rect">
            <a:avLst/>
          </a:prstGeom>
        </p:spPr>
        <p:txBody>
          <a:bodyPr/>
          <a:lstStyle/>
          <a:p>
            <a:endParaRPr lang="en-US"/>
          </a:p>
        </p:txBody>
      </p:sp>
      <p:sp>
        <p:nvSpPr>
          <p:cNvPr id="8" name="Picture Placeholder 13"/>
          <p:cNvSpPr>
            <a:spLocks noGrp="1"/>
          </p:cNvSpPr>
          <p:nvPr>
            <p:ph type="pic" sz="quarter" idx="15"/>
          </p:nvPr>
        </p:nvSpPr>
        <p:spPr>
          <a:xfrm>
            <a:off x="9172803" y="3840296"/>
            <a:ext cx="3019197" cy="3017704"/>
          </a:xfrm>
          <a:prstGeom prst="rect">
            <a:avLst/>
          </a:prstGeom>
        </p:spPr>
        <p:txBody>
          <a:bodyPr/>
          <a:lstStyle/>
          <a:p>
            <a:endParaRPr lang="en-US"/>
          </a:p>
        </p:txBody>
      </p:sp>
      <p:sp>
        <p:nvSpPr>
          <p:cNvPr id="9" name="Picture Placeholder 13"/>
          <p:cNvSpPr>
            <a:spLocks noGrp="1"/>
          </p:cNvSpPr>
          <p:nvPr>
            <p:ph type="pic" sz="quarter" idx="16"/>
          </p:nvPr>
        </p:nvSpPr>
        <p:spPr>
          <a:xfrm>
            <a:off x="9172803" y="798737"/>
            <a:ext cx="3019197" cy="3017704"/>
          </a:xfrm>
          <a:prstGeom prst="rect">
            <a:avLst/>
          </a:prstGeom>
        </p:spPr>
        <p:txBody>
          <a:bodyPr/>
          <a:lstStyle/>
          <a:p>
            <a:endParaRPr lang="en-US"/>
          </a:p>
        </p:txBody>
      </p:sp>
    </p:spTree>
    <p:extLst>
      <p:ext uri="{BB962C8B-B14F-4D97-AF65-F5344CB8AC3E}">
        <p14:creationId xmlns:p14="http://schemas.microsoft.com/office/powerpoint/2010/main" val="4138516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6143625" cy="6858000"/>
          </a:xfrm>
          <a:prstGeom prst="rect">
            <a:avLst/>
          </a:prstGeom>
        </p:spPr>
        <p:txBody>
          <a:bodyPr/>
          <a:lstStyle/>
          <a:p>
            <a:endParaRPr lang="en-US"/>
          </a:p>
        </p:txBody>
      </p:sp>
    </p:spTree>
    <p:extLst>
      <p:ext uri="{BB962C8B-B14F-4D97-AF65-F5344CB8AC3E}">
        <p14:creationId xmlns:p14="http://schemas.microsoft.com/office/powerpoint/2010/main" val="990036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100763" y="0"/>
            <a:ext cx="6091237" cy="6858000"/>
          </a:xfrm>
          <a:prstGeom prst="rect">
            <a:avLst/>
          </a:prstGeom>
        </p:spPr>
        <p:txBody>
          <a:bodyPr/>
          <a:lstStyle/>
          <a:p>
            <a:endParaRPr lang="en-US"/>
          </a:p>
        </p:txBody>
      </p:sp>
    </p:spTree>
    <p:extLst>
      <p:ext uri="{BB962C8B-B14F-4D97-AF65-F5344CB8AC3E}">
        <p14:creationId xmlns:p14="http://schemas.microsoft.com/office/powerpoint/2010/main" val="1904412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1544300" cy="6858000"/>
          </a:xfrm>
          <a:prstGeom prst="rect">
            <a:avLst/>
          </a:prstGeom>
        </p:spPr>
        <p:txBody>
          <a:bodyPr/>
          <a:lstStyle/>
          <a:p>
            <a:endParaRPr lang="en-US"/>
          </a:p>
        </p:txBody>
      </p:sp>
    </p:spTree>
    <p:extLst>
      <p:ext uri="{BB962C8B-B14F-4D97-AF65-F5344CB8AC3E}">
        <p14:creationId xmlns:p14="http://schemas.microsoft.com/office/powerpoint/2010/main" val="946421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Freeform 5"/>
          <p:cNvSpPr>
            <a:spLocks noGrp="1"/>
          </p:cNvSpPr>
          <p:nvPr>
            <p:ph type="pic" sz="quarter" idx="10"/>
          </p:nvPr>
        </p:nvSpPr>
        <p:spPr>
          <a:xfrm>
            <a:off x="0" y="0"/>
            <a:ext cx="6419850" cy="6858000"/>
          </a:xfrm>
          <a:custGeom>
            <a:avLst/>
            <a:gdLst>
              <a:gd name="connsiteX0" fmla="*/ 0 w 6419850"/>
              <a:gd name="connsiteY0" fmla="*/ 0 h 6858000"/>
              <a:gd name="connsiteX1" fmla="*/ 3295650 w 6419850"/>
              <a:gd name="connsiteY1" fmla="*/ 0 h 6858000"/>
              <a:gd name="connsiteX2" fmla="*/ 6419850 w 6419850"/>
              <a:gd name="connsiteY2" fmla="*/ 3124200 h 6858000"/>
              <a:gd name="connsiteX3" fmla="*/ 2686050 w 6419850"/>
              <a:gd name="connsiteY3" fmla="*/ 6858000 h 6858000"/>
              <a:gd name="connsiteX4" fmla="*/ 0 w 64198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9850" h="6858000">
                <a:moveTo>
                  <a:pt x="0" y="0"/>
                </a:moveTo>
                <a:lnTo>
                  <a:pt x="3295650" y="0"/>
                </a:lnTo>
                <a:lnTo>
                  <a:pt x="6419850" y="3124200"/>
                </a:lnTo>
                <a:lnTo>
                  <a:pt x="2686050" y="6858000"/>
                </a:lnTo>
                <a:lnTo>
                  <a:pt x="0" y="6858000"/>
                </a:lnTo>
                <a:close/>
              </a:path>
            </a:pathLst>
          </a:custGeom>
        </p:spPr>
        <p:txBody>
          <a:bodyPr wrap="square">
            <a:noAutofit/>
          </a:bodyPr>
          <a:lstStyle/>
          <a:p>
            <a:endParaRPr lang="en-US"/>
          </a:p>
        </p:txBody>
      </p:sp>
    </p:spTree>
    <p:extLst>
      <p:ext uri="{BB962C8B-B14F-4D97-AF65-F5344CB8AC3E}">
        <p14:creationId xmlns:p14="http://schemas.microsoft.com/office/powerpoint/2010/main" val="192068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485900" y="1581150"/>
            <a:ext cx="9201150" cy="2743200"/>
          </a:xfrm>
          <a:prstGeom prst="rect">
            <a:avLst/>
          </a:prstGeom>
        </p:spPr>
        <p:txBody>
          <a:bodyPr/>
          <a:lstStyle/>
          <a:p>
            <a:endParaRPr lang="en-US"/>
          </a:p>
        </p:txBody>
      </p:sp>
    </p:spTree>
    <p:extLst>
      <p:ext uri="{BB962C8B-B14F-4D97-AF65-F5344CB8AC3E}">
        <p14:creationId xmlns:p14="http://schemas.microsoft.com/office/powerpoint/2010/main" val="4185901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100763" y="0"/>
            <a:ext cx="6091237" cy="6858000"/>
          </a:xfrm>
          <a:prstGeom prst="rect">
            <a:avLst/>
          </a:prstGeom>
        </p:spPr>
        <p:txBody>
          <a:bodyPr/>
          <a:lstStyle/>
          <a:p>
            <a:endParaRPr lang="en-US"/>
          </a:p>
        </p:txBody>
      </p:sp>
    </p:spTree>
    <p:extLst>
      <p:ext uri="{BB962C8B-B14F-4D97-AF65-F5344CB8AC3E}">
        <p14:creationId xmlns:p14="http://schemas.microsoft.com/office/powerpoint/2010/main" val="234503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504950" y="1600200"/>
            <a:ext cx="6438900" cy="1828800"/>
          </a:xfrm>
          <a:prstGeom prst="rect">
            <a:avLst/>
          </a:prstGeom>
        </p:spPr>
        <p:txBody>
          <a:bodyPr/>
          <a:lstStyle/>
          <a:p>
            <a:endParaRPr lang="en-US"/>
          </a:p>
        </p:txBody>
      </p:sp>
    </p:spTree>
    <p:extLst>
      <p:ext uri="{BB962C8B-B14F-4D97-AF65-F5344CB8AC3E}">
        <p14:creationId xmlns:p14="http://schemas.microsoft.com/office/powerpoint/2010/main" val="3686043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4972050"/>
          </a:xfrm>
          <a:prstGeom prst="rect">
            <a:avLst/>
          </a:prstGeom>
        </p:spPr>
        <p:txBody>
          <a:bodyPr/>
          <a:lstStyle/>
          <a:p>
            <a:endParaRPr lang="en-US"/>
          </a:p>
        </p:txBody>
      </p:sp>
    </p:spTree>
    <p:extLst>
      <p:ext uri="{BB962C8B-B14F-4D97-AF65-F5344CB8AC3E}">
        <p14:creationId xmlns:p14="http://schemas.microsoft.com/office/powerpoint/2010/main" val="533606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029075" y="1619250"/>
            <a:ext cx="4133850" cy="2743200"/>
          </a:xfrm>
          <a:prstGeom prst="rect">
            <a:avLst/>
          </a:prstGeom>
        </p:spPr>
        <p:txBody>
          <a:bodyPr/>
          <a:lstStyle/>
          <a:p>
            <a:endParaRPr lang="en-US"/>
          </a:p>
        </p:txBody>
      </p:sp>
    </p:spTree>
    <p:extLst>
      <p:ext uri="{BB962C8B-B14F-4D97-AF65-F5344CB8AC3E}">
        <p14:creationId xmlns:p14="http://schemas.microsoft.com/office/powerpoint/2010/main" val="1247335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136542" y="1642820"/>
            <a:ext cx="3657600" cy="3634030"/>
          </a:xfrm>
          <a:prstGeom prst="rect">
            <a:avLst/>
          </a:prstGeom>
        </p:spPr>
        <p:txBody>
          <a:bodyPr/>
          <a:lstStyle/>
          <a:p>
            <a:endParaRPr lang="en-US"/>
          </a:p>
        </p:txBody>
      </p:sp>
    </p:spTree>
    <p:extLst>
      <p:ext uri="{BB962C8B-B14F-4D97-AF65-F5344CB8AC3E}">
        <p14:creationId xmlns:p14="http://schemas.microsoft.com/office/powerpoint/2010/main" val="4224335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7924800" y="685800"/>
            <a:ext cx="3676650" cy="2743200"/>
          </a:xfrm>
          <a:prstGeom prst="rect">
            <a:avLst/>
          </a:prstGeom>
        </p:spPr>
        <p:txBody>
          <a:bodyPr/>
          <a:lstStyle/>
          <a:p>
            <a:endParaRPr lang="en-US"/>
          </a:p>
        </p:txBody>
      </p:sp>
    </p:spTree>
    <p:extLst>
      <p:ext uri="{BB962C8B-B14F-4D97-AF65-F5344CB8AC3E}">
        <p14:creationId xmlns:p14="http://schemas.microsoft.com/office/powerpoint/2010/main" val="3758475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3429000"/>
          </a:xfrm>
          <a:prstGeom prst="rect">
            <a:avLst/>
          </a:prstGeom>
        </p:spPr>
        <p:txBody>
          <a:bodyPr/>
          <a:lstStyle/>
          <a:p>
            <a:endParaRPr lang="en-US"/>
          </a:p>
        </p:txBody>
      </p:sp>
    </p:spTree>
    <p:extLst>
      <p:ext uri="{BB962C8B-B14F-4D97-AF65-F5344CB8AC3E}">
        <p14:creationId xmlns:p14="http://schemas.microsoft.com/office/powerpoint/2010/main" val="2045757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914400" y="2076450"/>
            <a:ext cx="3067050" cy="2286000"/>
          </a:xfrm>
          <a:prstGeom prst="rect">
            <a:avLst/>
          </a:prstGeom>
        </p:spPr>
        <p:txBody>
          <a:bodyPr/>
          <a:lstStyle/>
          <a:p>
            <a:endParaRPr lang="en-US"/>
          </a:p>
        </p:txBody>
      </p:sp>
      <p:sp>
        <p:nvSpPr>
          <p:cNvPr id="6" name="Picture Placeholder 3"/>
          <p:cNvSpPr>
            <a:spLocks noGrp="1"/>
          </p:cNvSpPr>
          <p:nvPr>
            <p:ph type="pic" sz="quarter" idx="11"/>
          </p:nvPr>
        </p:nvSpPr>
        <p:spPr>
          <a:xfrm>
            <a:off x="4562475" y="2076450"/>
            <a:ext cx="3067050" cy="2286000"/>
          </a:xfrm>
          <a:prstGeom prst="rect">
            <a:avLst/>
          </a:prstGeom>
        </p:spPr>
        <p:txBody>
          <a:bodyPr/>
          <a:lstStyle/>
          <a:p>
            <a:endParaRPr lang="en-US"/>
          </a:p>
        </p:txBody>
      </p:sp>
      <p:sp>
        <p:nvSpPr>
          <p:cNvPr id="7" name="Picture Placeholder 3"/>
          <p:cNvSpPr>
            <a:spLocks noGrp="1"/>
          </p:cNvSpPr>
          <p:nvPr>
            <p:ph type="pic" sz="quarter" idx="12"/>
          </p:nvPr>
        </p:nvSpPr>
        <p:spPr>
          <a:xfrm>
            <a:off x="8210550" y="2076450"/>
            <a:ext cx="3067050" cy="2286000"/>
          </a:xfrm>
          <a:prstGeom prst="rect">
            <a:avLst/>
          </a:prstGeom>
        </p:spPr>
        <p:txBody>
          <a:bodyPr/>
          <a:lstStyle/>
          <a:p>
            <a:endParaRPr lang="en-US"/>
          </a:p>
        </p:txBody>
      </p:sp>
    </p:spTree>
    <p:extLst>
      <p:ext uri="{BB962C8B-B14F-4D97-AF65-F5344CB8AC3E}">
        <p14:creationId xmlns:p14="http://schemas.microsoft.com/office/powerpoint/2010/main" val="2931485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6" name="Freeform 5"/>
          <p:cNvSpPr>
            <a:spLocks noGrp="1"/>
          </p:cNvSpPr>
          <p:nvPr>
            <p:ph type="pic" sz="quarter" idx="10"/>
          </p:nvPr>
        </p:nvSpPr>
        <p:spPr>
          <a:xfrm>
            <a:off x="384004" y="0"/>
            <a:ext cx="7229118" cy="5362412"/>
          </a:xfrm>
          <a:custGeom>
            <a:avLst/>
            <a:gdLst>
              <a:gd name="connsiteX0" fmla="*/ 1747853 w 7229118"/>
              <a:gd name="connsiteY0" fmla="*/ 0 h 5362412"/>
              <a:gd name="connsiteX1" fmla="*/ 5481265 w 7229118"/>
              <a:gd name="connsiteY1" fmla="*/ 0 h 5362412"/>
              <a:gd name="connsiteX2" fmla="*/ 7229118 w 7229118"/>
              <a:gd name="connsiteY2" fmla="*/ 1747853 h 5362412"/>
              <a:gd name="connsiteX3" fmla="*/ 3614559 w 7229118"/>
              <a:gd name="connsiteY3" fmla="*/ 5362412 h 5362412"/>
              <a:gd name="connsiteX4" fmla="*/ 0 w 7229118"/>
              <a:gd name="connsiteY4" fmla="*/ 1747853 h 5362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9118" h="5362412">
                <a:moveTo>
                  <a:pt x="1747853" y="0"/>
                </a:moveTo>
                <a:lnTo>
                  <a:pt x="5481265" y="0"/>
                </a:lnTo>
                <a:lnTo>
                  <a:pt x="7229118" y="1747853"/>
                </a:lnTo>
                <a:lnTo>
                  <a:pt x="3614559" y="5362412"/>
                </a:lnTo>
                <a:lnTo>
                  <a:pt x="0" y="1747853"/>
                </a:lnTo>
                <a:close/>
              </a:path>
            </a:pathLst>
          </a:custGeom>
        </p:spPr>
        <p:txBody>
          <a:bodyPr wrap="square">
            <a:noAutofit/>
          </a:bodyPr>
          <a:lstStyle/>
          <a:p>
            <a:endParaRPr lang="en-US"/>
          </a:p>
        </p:txBody>
      </p:sp>
    </p:spTree>
    <p:extLst>
      <p:ext uri="{BB962C8B-B14F-4D97-AF65-F5344CB8AC3E}">
        <p14:creationId xmlns:p14="http://schemas.microsoft.com/office/powerpoint/2010/main" val="3371115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sp>
        <p:nvSpPr>
          <p:cNvPr id="6" name="Freeform 5"/>
          <p:cNvSpPr>
            <a:spLocks noGrp="1"/>
          </p:cNvSpPr>
          <p:nvPr>
            <p:ph type="pic" sz="quarter" idx="10"/>
          </p:nvPr>
        </p:nvSpPr>
        <p:spPr>
          <a:xfrm>
            <a:off x="1084882" y="1243739"/>
            <a:ext cx="4370522" cy="4370522"/>
          </a:xfrm>
          <a:custGeom>
            <a:avLst/>
            <a:gdLst>
              <a:gd name="connsiteX0" fmla="*/ 2185261 w 4370522"/>
              <a:gd name="connsiteY0" fmla="*/ 0 h 4370522"/>
              <a:gd name="connsiteX1" fmla="*/ 4370522 w 4370522"/>
              <a:gd name="connsiteY1" fmla="*/ 2185261 h 4370522"/>
              <a:gd name="connsiteX2" fmla="*/ 2185261 w 4370522"/>
              <a:gd name="connsiteY2" fmla="*/ 4370522 h 4370522"/>
              <a:gd name="connsiteX3" fmla="*/ 0 w 4370522"/>
              <a:gd name="connsiteY3" fmla="*/ 2185261 h 4370522"/>
              <a:gd name="connsiteX4" fmla="*/ 2185261 w 4370522"/>
              <a:gd name="connsiteY4" fmla="*/ 0 h 4370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0522" h="4370522">
                <a:moveTo>
                  <a:pt x="2185261" y="0"/>
                </a:moveTo>
                <a:cubicBezTo>
                  <a:pt x="3392147" y="0"/>
                  <a:pt x="4370522" y="978375"/>
                  <a:pt x="4370522" y="2185261"/>
                </a:cubicBezTo>
                <a:cubicBezTo>
                  <a:pt x="4370522" y="3392147"/>
                  <a:pt x="3392147" y="4370522"/>
                  <a:pt x="2185261" y="4370522"/>
                </a:cubicBezTo>
                <a:cubicBezTo>
                  <a:pt x="978375" y="4370522"/>
                  <a:pt x="0" y="3392147"/>
                  <a:pt x="0" y="2185261"/>
                </a:cubicBezTo>
                <a:cubicBezTo>
                  <a:pt x="0" y="978375"/>
                  <a:pt x="978375" y="0"/>
                  <a:pt x="2185261"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9299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799308" y="1127918"/>
            <a:ext cx="2593384" cy="4602163"/>
          </a:xfrm>
          <a:prstGeom prst="rect">
            <a:avLst/>
          </a:prstGeom>
        </p:spPr>
        <p:txBody>
          <a:bodyPr/>
          <a:lstStyle/>
          <a:p>
            <a:endParaRPr lang="en-US"/>
          </a:p>
        </p:txBody>
      </p:sp>
    </p:spTree>
    <p:extLst>
      <p:ext uri="{BB962C8B-B14F-4D97-AF65-F5344CB8AC3E}">
        <p14:creationId xmlns:p14="http://schemas.microsoft.com/office/powerpoint/2010/main" val="1570180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1544300" cy="6858000"/>
          </a:xfrm>
          <a:prstGeom prst="rect">
            <a:avLst/>
          </a:prstGeom>
        </p:spPr>
        <p:txBody>
          <a:bodyPr/>
          <a:lstStyle/>
          <a:p>
            <a:endParaRPr lang="en-US"/>
          </a:p>
        </p:txBody>
      </p:sp>
    </p:spTree>
    <p:extLst>
      <p:ext uri="{BB962C8B-B14F-4D97-AF65-F5344CB8AC3E}">
        <p14:creationId xmlns:p14="http://schemas.microsoft.com/office/powerpoint/2010/main" val="2760861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9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a:prstGeom prst="rect">
            <a:avLst/>
          </a:prstGeom>
        </p:spPr>
        <p:txBody>
          <a:bodyPr/>
          <a:lstStyle/>
          <a:p>
            <a:endParaRPr lang="en-US"/>
          </a:p>
        </p:txBody>
      </p:sp>
      <p:sp>
        <p:nvSpPr>
          <p:cNvPr id="6" name="Picture Placeholder 5"/>
          <p:cNvSpPr>
            <a:spLocks noGrp="1"/>
          </p:cNvSpPr>
          <p:nvPr>
            <p:ph type="pic" sz="quarter" idx="11"/>
          </p:nvPr>
        </p:nvSpPr>
        <p:spPr>
          <a:xfrm>
            <a:off x="1503363" y="682625"/>
            <a:ext cx="2746375" cy="2746375"/>
          </a:xfrm>
          <a:prstGeom prst="rect">
            <a:avLst/>
          </a:prstGeom>
        </p:spPr>
        <p:txBody>
          <a:bodyPr/>
          <a:lstStyle/>
          <a:p>
            <a:endParaRPr lang="en-US"/>
          </a:p>
        </p:txBody>
      </p:sp>
    </p:spTree>
    <p:extLst>
      <p:ext uri="{BB962C8B-B14F-4D97-AF65-F5344CB8AC3E}">
        <p14:creationId xmlns:p14="http://schemas.microsoft.com/office/powerpoint/2010/main" val="1206429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50957" y="1801812"/>
            <a:ext cx="3657600" cy="3254375"/>
          </a:xfrm>
          <a:prstGeom prst="rect">
            <a:avLst/>
          </a:prstGeom>
        </p:spPr>
        <p:txBody>
          <a:bodyPr/>
          <a:lstStyle/>
          <a:p>
            <a:endParaRPr lang="en-US"/>
          </a:p>
        </p:txBody>
      </p:sp>
    </p:spTree>
    <p:extLst>
      <p:ext uri="{BB962C8B-B14F-4D97-AF65-F5344CB8AC3E}">
        <p14:creationId xmlns:p14="http://schemas.microsoft.com/office/powerpoint/2010/main" val="2220290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1_Custom Layout">
    <p:spTree>
      <p:nvGrpSpPr>
        <p:cNvPr id="1" name=""/>
        <p:cNvGrpSpPr/>
        <p:nvPr/>
      </p:nvGrpSpPr>
      <p:grpSpPr>
        <a:xfrm>
          <a:off x="0" y="0"/>
          <a:ext cx="0" cy="0"/>
          <a:chOff x="0" y="0"/>
          <a:chExt cx="0" cy="0"/>
        </a:xfrm>
      </p:grpSpPr>
      <p:sp>
        <p:nvSpPr>
          <p:cNvPr id="5" name="Freeform 4"/>
          <p:cNvSpPr>
            <a:spLocks noGrp="1"/>
          </p:cNvSpPr>
          <p:nvPr>
            <p:ph type="pic" sz="quarter" idx="11"/>
          </p:nvPr>
        </p:nvSpPr>
        <p:spPr>
          <a:xfrm>
            <a:off x="880118" y="2578091"/>
            <a:ext cx="10431764" cy="4122539"/>
          </a:xfrm>
          <a:custGeom>
            <a:avLst/>
            <a:gdLst>
              <a:gd name="connsiteX0" fmla="*/ 1684870 w 9107476"/>
              <a:gd name="connsiteY0" fmla="*/ 528837 h 3599192"/>
              <a:gd name="connsiteX1" fmla="*/ 1624613 w 9107476"/>
              <a:gd name="connsiteY1" fmla="*/ 540441 h 3599192"/>
              <a:gd name="connsiteX2" fmla="*/ 1633320 w 9107476"/>
              <a:gd name="connsiteY2" fmla="*/ 607833 h 3599192"/>
              <a:gd name="connsiteX3" fmla="*/ 1696368 w 9107476"/>
              <a:gd name="connsiteY3" fmla="*/ 597646 h 3599192"/>
              <a:gd name="connsiteX4" fmla="*/ 1695595 w 9107476"/>
              <a:gd name="connsiteY4" fmla="*/ 596365 h 3599192"/>
              <a:gd name="connsiteX5" fmla="*/ 1684870 w 9107476"/>
              <a:gd name="connsiteY5" fmla="*/ 528837 h 3599192"/>
              <a:gd name="connsiteX6" fmla="*/ 7627715 w 9107476"/>
              <a:gd name="connsiteY6" fmla="*/ 100399 h 3599192"/>
              <a:gd name="connsiteX7" fmla="*/ 7682494 w 9107476"/>
              <a:gd name="connsiteY7" fmla="*/ 115461 h 3599192"/>
              <a:gd name="connsiteX8" fmla="*/ 7545267 w 9107476"/>
              <a:gd name="connsiteY8" fmla="*/ 146350 h 3599192"/>
              <a:gd name="connsiteX9" fmla="*/ 7547921 w 9107476"/>
              <a:gd name="connsiteY9" fmla="*/ 159362 h 3599192"/>
              <a:gd name="connsiteX10" fmla="*/ 7668655 w 9107476"/>
              <a:gd name="connsiteY10" fmla="*/ 167110 h 3599192"/>
              <a:gd name="connsiteX11" fmla="*/ 7669771 w 9107476"/>
              <a:gd name="connsiteY11" fmla="*/ 185861 h 3599192"/>
              <a:gd name="connsiteX12" fmla="*/ 7275700 w 9107476"/>
              <a:gd name="connsiteY12" fmla="*/ 258640 h 3599192"/>
              <a:gd name="connsiteX13" fmla="*/ 7296235 w 9107476"/>
              <a:gd name="connsiteY13" fmla="*/ 319499 h 3599192"/>
              <a:gd name="connsiteX14" fmla="*/ 7148245 w 9107476"/>
              <a:gd name="connsiteY14" fmla="*/ 390558 h 3599192"/>
              <a:gd name="connsiteX15" fmla="*/ 7105486 w 9107476"/>
              <a:gd name="connsiteY15" fmla="*/ 366799 h 3599192"/>
              <a:gd name="connsiteX16" fmla="*/ 6960572 w 9107476"/>
              <a:gd name="connsiteY16" fmla="*/ 426380 h 3599192"/>
              <a:gd name="connsiteX17" fmla="*/ 6828800 w 9107476"/>
              <a:gd name="connsiteY17" fmla="*/ 391072 h 3599192"/>
              <a:gd name="connsiteX18" fmla="*/ 6634133 w 9107476"/>
              <a:gd name="connsiteY18" fmla="*/ 498831 h 3599192"/>
              <a:gd name="connsiteX19" fmla="*/ 6648245 w 9107476"/>
              <a:gd name="connsiteY19" fmla="*/ 514913 h 3599192"/>
              <a:gd name="connsiteX20" fmla="*/ 7012407 w 9107476"/>
              <a:gd name="connsiteY20" fmla="*/ 507928 h 3599192"/>
              <a:gd name="connsiteX21" fmla="*/ 7365953 w 9107476"/>
              <a:gd name="connsiteY21" fmla="*/ 448893 h 3599192"/>
              <a:gd name="connsiteX22" fmla="*/ 7608959 w 9107476"/>
              <a:gd name="connsiteY22" fmla="*/ 458650 h 3599192"/>
              <a:gd name="connsiteX23" fmla="*/ 7890952 w 9107476"/>
              <a:gd name="connsiteY23" fmla="*/ 460401 h 3599192"/>
              <a:gd name="connsiteX24" fmla="*/ 7664143 w 9107476"/>
              <a:gd name="connsiteY24" fmla="*/ 596450 h 3599192"/>
              <a:gd name="connsiteX25" fmla="*/ 7593707 w 9107476"/>
              <a:gd name="connsiteY25" fmla="*/ 675988 h 3599192"/>
              <a:gd name="connsiteX26" fmla="*/ 7454669 w 9107476"/>
              <a:gd name="connsiteY26" fmla="*/ 644884 h 3599192"/>
              <a:gd name="connsiteX27" fmla="*/ 7366351 w 9107476"/>
              <a:gd name="connsiteY27" fmla="*/ 676575 h 3599192"/>
              <a:gd name="connsiteX28" fmla="*/ 7031951 w 9107476"/>
              <a:gd name="connsiteY28" fmla="*/ 709987 h 3599192"/>
              <a:gd name="connsiteX29" fmla="*/ 6648644 w 9107476"/>
              <a:gd name="connsiteY29" fmla="*/ 742595 h 3599192"/>
              <a:gd name="connsiteX30" fmla="*/ 6655066 w 9107476"/>
              <a:gd name="connsiteY30" fmla="*/ 787371 h 3599192"/>
              <a:gd name="connsiteX31" fmla="*/ 7048717 w 9107476"/>
              <a:gd name="connsiteY31" fmla="*/ 739082 h 3599192"/>
              <a:gd name="connsiteX32" fmla="*/ 7182447 w 9107476"/>
              <a:gd name="connsiteY32" fmla="*/ 744162 h 3599192"/>
              <a:gd name="connsiteX33" fmla="*/ 7593707 w 9107476"/>
              <a:gd name="connsiteY33" fmla="*/ 675988 h 3599192"/>
              <a:gd name="connsiteX34" fmla="*/ 8015581 w 9107476"/>
              <a:gd name="connsiteY34" fmla="*/ 659864 h 3599192"/>
              <a:gd name="connsiteX35" fmla="*/ 8015159 w 9107476"/>
              <a:gd name="connsiteY35" fmla="*/ 684354 h 3599192"/>
              <a:gd name="connsiteX36" fmla="*/ 7859208 w 9107476"/>
              <a:gd name="connsiteY36" fmla="*/ 716375 h 3599192"/>
              <a:gd name="connsiteX37" fmla="*/ 7943608 w 9107476"/>
              <a:gd name="connsiteY37" fmla="*/ 745140 h 3599192"/>
              <a:gd name="connsiteX38" fmla="*/ 7948915 w 9107476"/>
              <a:gd name="connsiteY38" fmla="*/ 771166 h 3599192"/>
              <a:gd name="connsiteX39" fmla="*/ 7434382 w 9107476"/>
              <a:gd name="connsiteY39" fmla="*/ 903928 h 3599192"/>
              <a:gd name="connsiteX40" fmla="*/ 7437036 w 9107476"/>
              <a:gd name="connsiteY40" fmla="*/ 916941 h 3599192"/>
              <a:gd name="connsiteX41" fmla="*/ 7651818 w 9107476"/>
              <a:gd name="connsiteY41" fmla="*/ 894532 h 3599192"/>
              <a:gd name="connsiteX42" fmla="*/ 7568658 w 9107476"/>
              <a:gd name="connsiteY42" fmla="*/ 1044470 h 3599192"/>
              <a:gd name="connsiteX43" fmla="*/ 7397204 w 9107476"/>
              <a:gd name="connsiteY43" fmla="*/ 973926 h 3599192"/>
              <a:gd name="connsiteX44" fmla="*/ 6580267 w 9107476"/>
              <a:gd name="connsiteY44" fmla="*/ 1204029 h 3599192"/>
              <a:gd name="connsiteX45" fmla="*/ 6554275 w 9107476"/>
              <a:gd name="connsiteY45" fmla="*/ 1209366 h 3599192"/>
              <a:gd name="connsiteX46" fmla="*/ 6155590 w 9107476"/>
              <a:gd name="connsiteY46" fmla="*/ 1299361 h 3599192"/>
              <a:gd name="connsiteX47" fmla="*/ 6117718 w 9107476"/>
              <a:gd name="connsiteY47" fmla="*/ 1326118 h 3599192"/>
              <a:gd name="connsiteX48" fmla="*/ 5957847 w 9107476"/>
              <a:gd name="connsiteY48" fmla="*/ 1418596 h 3599192"/>
              <a:gd name="connsiteX49" fmla="*/ 6136568 w 9107476"/>
              <a:gd name="connsiteY49" fmla="*/ 1484936 h 3599192"/>
              <a:gd name="connsiteX50" fmla="*/ 6060130 w 9107476"/>
              <a:gd name="connsiteY50" fmla="*/ 1495208 h 3599192"/>
              <a:gd name="connsiteX51" fmla="*/ 6056633 w 9107476"/>
              <a:gd name="connsiteY51" fmla="*/ 1531175 h 3599192"/>
              <a:gd name="connsiteX52" fmla="*/ 6376772 w 9107476"/>
              <a:gd name="connsiteY52" fmla="*/ 1573902 h 3599192"/>
              <a:gd name="connsiteX53" fmla="*/ 6823522 w 9107476"/>
              <a:gd name="connsiteY53" fmla="*/ 1533689 h 3599192"/>
              <a:gd name="connsiteX54" fmla="*/ 6891156 w 9107476"/>
              <a:gd name="connsiteY54" fmla="*/ 1533360 h 3599192"/>
              <a:gd name="connsiteX55" fmla="*/ 7069752 w 9107476"/>
              <a:gd name="connsiteY55" fmla="*/ 1439748 h 3599192"/>
              <a:gd name="connsiteX56" fmla="*/ 7026993 w 9107476"/>
              <a:gd name="connsiteY56" fmla="*/ 1415990 h 3599192"/>
              <a:gd name="connsiteX57" fmla="*/ 7106508 w 9107476"/>
              <a:gd name="connsiteY57" fmla="*/ 1394241 h 3599192"/>
              <a:gd name="connsiteX58" fmla="*/ 8290782 w 9107476"/>
              <a:gd name="connsiteY58" fmla="*/ 1557798 h 3599192"/>
              <a:gd name="connsiteX59" fmla="*/ 8673247 w 9107476"/>
              <a:gd name="connsiteY59" fmla="*/ 1574169 h 3599192"/>
              <a:gd name="connsiteX60" fmla="*/ 8789220 w 9107476"/>
              <a:gd name="connsiteY60" fmla="*/ 1691354 h 3599192"/>
              <a:gd name="connsiteX61" fmla="*/ 8655763 w 9107476"/>
              <a:gd name="connsiteY61" fmla="*/ 1754006 h 3599192"/>
              <a:gd name="connsiteX62" fmla="*/ 8641775 w 9107476"/>
              <a:gd name="connsiteY62" fmla="*/ 1897875 h 3599192"/>
              <a:gd name="connsiteX63" fmla="*/ 8678804 w 9107476"/>
              <a:gd name="connsiteY63" fmla="*/ 1920098 h 3599192"/>
              <a:gd name="connsiteX64" fmla="*/ 8557227 w 9107476"/>
              <a:gd name="connsiteY64" fmla="*/ 1961331 h 3599192"/>
              <a:gd name="connsiteX65" fmla="*/ 9077613 w 9107476"/>
              <a:gd name="connsiteY65" fmla="*/ 1990054 h 3599192"/>
              <a:gd name="connsiteX66" fmla="*/ 8957153 w 9107476"/>
              <a:gd name="connsiteY66" fmla="*/ 2050038 h 3599192"/>
              <a:gd name="connsiteX67" fmla="*/ 9014023 w 9107476"/>
              <a:gd name="connsiteY67" fmla="*/ 2089879 h 3599192"/>
              <a:gd name="connsiteX68" fmla="*/ 8944430 w 9107476"/>
              <a:gd name="connsiteY68" fmla="*/ 2120437 h 3599192"/>
              <a:gd name="connsiteX69" fmla="*/ 8734535 w 9107476"/>
              <a:gd name="connsiteY69" fmla="*/ 2193360 h 3599192"/>
              <a:gd name="connsiteX70" fmla="*/ 8712734 w 9107476"/>
              <a:gd name="connsiteY70" fmla="*/ 2205972 h 3599192"/>
              <a:gd name="connsiteX71" fmla="*/ 8478805 w 9107476"/>
              <a:gd name="connsiteY71" fmla="*/ 2254003 h 3599192"/>
              <a:gd name="connsiteX72" fmla="*/ 8320621 w 9107476"/>
              <a:gd name="connsiteY72" fmla="*/ 2248522 h 3599192"/>
              <a:gd name="connsiteX73" fmla="*/ 8288752 w 9107476"/>
              <a:gd name="connsiteY73" fmla="*/ 2344545 h 3599192"/>
              <a:gd name="connsiteX74" fmla="*/ 8222656 w 9107476"/>
              <a:gd name="connsiteY74" fmla="*/ 2339135 h 3599192"/>
              <a:gd name="connsiteX75" fmla="*/ 8320746 w 9107476"/>
              <a:gd name="connsiteY75" fmla="*/ 2408474 h 3599192"/>
              <a:gd name="connsiteX76" fmla="*/ 8138802 w 9107476"/>
              <a:gd name="connsiteY76" fmla="*/ 2445831 h 3599192"/>
              <a:gd name="connsiteX77" fmla="*/ 8168143 w 9107476"/>
              <a:gd name="connsiteY77" fmla="*/ 2496748 h 3599192"/>
              <a:gd name="connsiteX78" fmla="*/ 9099515 w 9107476"/>
              <a:gd name="connsiteY78" fmla="*/ 2389568 h 3599192"/>
              <a:gd name="connsiteX79" fmla="*/ 9107476 w 9107476"/>
              <a:gd name="connsiteY79" fmla="*/ 2428606 h 3599192"/>
              <a:gd name="connsiteX80" fmla="*/ 8974441 w 9107476"/>
              <a:gd name="connsiteY80" fmla="*/ 2466767 h 3599192"/>
              <a:gd name="connsiteX81" fmla="*/ 9038578 w 9107476"/>
              <a:gd name="connsiteY81" fmla="*/ 2502405 h 3599192"/>
              <a:gd name="connsiteX82" fmla="*/ 8857329 w 9107476"/>
              <a:gd name="connsiteY82" fmla="*/ 2583004 h 3599192"/>
              <a:gd name="connsiteX83" fmla="*/ 8899665 w 9107476"/>
              <a:gd name="connsiteY83" fmla="*/ 2631252 h 3599192"/>
              <a:gd name="connsiteX84" fmla="*/ 8658048 w 9107476"/>
              <a:gd name="connsiteY84" fmla="*/ 2707977 h 3599192"/>
              <a:gd name="connsiteX85" fmla="*/ 8155521 w 9107476"/>
              <a:gd name="connsiteY85" fmla="*/ 2979272 h 3599192"/>
              <a:gd name="connsiteX86" fmla="*/ 7609813 w 9107476"/>
              <a:gd name="connsiteY86" fmla="*/ 3251297 h 3599192"/>
              <a:gd name="connsiteX87" fmla="*/ 7149075 w 9107476"/>
              <a:gd name="connsiteY87" fmla="*/ 3435379 h 3599192"/>
              <a:gd name="connsiteX88" fmla="*/ 6812716 w 9107476"/>
              <a:gd name="connsiteY88" fmla="*/ 3499019 h 3599192"/>
              <a:gd name="connsiteX89" fmla="*/ 5871844 w 9107476"/>
              <a:gd name="connsiteY89" fmla="*/ 3572900 h 3599192"/>
              <a:gd name="connsiteX90" fmla="*/ 5414057 w 9107476"/>
              <a:gd name="connsiteY90" fmla="*/ 3585552 h 3599192"/>
              <a:gd name="connsiteX91" fmla="*/ 5284245 w 9107476"/>
              <a:gd name="connsiteY91" fmla="*/ 3520015 h 3599192"/>
              <a:gd name="connsiteX92" fmla="*/ 5180971 w 9107476"/>
              <a:gd name="connsiteY92" fmla="*/ 3584604 h 3599192"/>
              <a:gd name="connsiteX93" fmla="*/ 4845878 w 9107476"/>
              <a:gd name="connsiteY93" fmla="*/ 3574775 h 3599192"/>
              <a:gd name="connsiteX94" fmla="*/ 4360560 w 9107476"/>
              <a:gd name="connsiteY94" fmla="*/ 3598502 h 3599192"/>
              <a:gd name="connsiteX95" fmla="*/ 3757311 w 9107476"/>
              <a:gd name="connsiteY95" fmla="*/ 3535274 h 3599192"/>
              <a:gd name="connsiteX96" fmla="*/ 3648731 w 9107476"/>
              <a:gd name="connsiteY96" fmla="*/ 3573837 h 3599192"/>
              <a:gd name="connsiteX97" fmla="*/ 3586130 w 9107476"/>
              <a:gd name="connsiteY97" fmla="*/ 3532461 h 3599192"/>
              <a:gd name="connsiteX98" fmla="*/ 3045903 w 9107476"/>
              <a:gd name="connsiteY98" fmla="*/ 3486119 h 3599192"/>
              <a:gd name="connsiteX99" fmla="*/ 1762000 w 9107476"/>
              <a:gd name="connsiteY99" fmla="*/ 3258961 h 3599192"/>
              <a:gd name="connsiteX100" fmla="*/ 1634420 w 9107476"/>
              <a:gd name="connsiteY100" fmla="*/ 3230927 h 3599192"/>
              <a:gd name="connsiteX101" fmla="*/ 1684023 w 9107476"/>
              <a:gd name="connsiteY101" fmla="*/ 3274972 h 3599192"/>
              <a:gd name="connsiteX102" fmla="*/ 1381493 w 9107476"/>
              <a:gd name="connsiteY102" fmla="*/ 3212361 h 3599192"/>
              <a:gd name="connsiteX103" fmla="*/ 1378418 w 9107476"/>
              <a:gd name="connsiteY103" fmla="*/ 3223839 h 3599192"/>
              <a:gd name="connsiteX104" fmla="*/ 1524301 w 9107476"/>
              <a:gd name="connsiteY104" fmla="*/ 3275229 h 3599192"/>
              <a:gd name="connsiteX105" fmla="*/ 1519688 w 9107476"/>
              <a:gd name="connsiteY105" fmla="*/ 3292445 h 3599192"/>
              <a:gd name="connsiteX106" fmla="*/ 1227500 w 9107476"/>
              <a:gd name="connsiteY106" fmla="*/ 3214154 h 3599192"/>
              <a:gd name="connsiteX107" fmla="*/ 758701 w 9107476"/>
              <a:gd name="connsiteY107" fmla="*/ 2947073 h 3599192"/>
              <a:gd name="connsiteX108" fmla="*/ 277450 w 9107476"/>
              <a:gd name="connsiteY108" fmla="*/ 2818122 h 3599192"/>
              <a:gd name="connsiteX109" fmla="*/ 159791 w 9107476"/>
              <a:gd name="connsiteY109" fmla="*/ 2798898 h 3599192"/>
              <a:gd name="connsiteX110" fmla="*/ 279409 w 9107476"/>
              <a:gd name="connsiteY110" fmla="*/ 2787894 h 3599192"/>
              <a:gd name="connsiteX111" fmla="*/ 122068 w 9107476"/>
              <a:gd name="connsiteY111" fmla="*/ 2733433 h 3599192"/>
              <a:gd name="connsiteX112" fmla="*/ 529136 w 9107476"/>
              <a:gd name="connsiteY112" fmla="*/ 2657986 h 3599192"/>
              <a:gd name="connsiteX113" fmla="*/ 460807 w 9107476"/>
              <a:gd name="connsiteY113" fmla="*/ 2615074 h 3599192"/>
              <a:gd name="connsiteX114" fmla="*/ 401705 w 9107476"/>
              <a:gd name="connsiteY114" fmla="*/ 2537731 h 3599192"/>
              <a:gd name="connsiteX115" fmla="*/ 291462 w 9107476"/>
              <a:gd name="connsiteY115" fmla="*/ 2422081 h 3599192"/>
              <a:gd name="connsiteX116" fmla="*/ 197836 w 9107476"/>
              <a:gd name="connsiteY116" fmla="*/ 2427748 h 3599192"/>
              <a:gd name="connsiteX117" fmla="*/ 94289 w 9107476"/>
              <a:gd name="connsiteY117" fmla="*/ 2424605 h 3599192"/>
              <a:gd name="connsiteX118" fmla="*/ 154259 w 9107476"/>
              <a:gd name="connsiteY118" fmla="*/ 2200796 h 3599192"/>
              <a:gd name="connsiteX119" fmla="*/ 310086 w 9107476"/>
              <a:gd name="connsiteY119" fmla="*/ 2008824 h 3599192"/>
              <a:gd name="connsiteX120" fmla="*/ 243295 w 9107476"/>
              <a:gd name="connsiteY120" fmla="*/ 1960173 h 3599192"/>
              <a:gd name="connsiteX121" fmla="*/ 296817 w 9107476"/>
              <a:gd name="connsiteY121" fmla="*/ 1943761 h 3599192"/>
              <a:gd name="connsiteX122" fmla="*/ 249172 w 9107476"/>
              <a:gd name="connsiteY122" fmla="*/ 1869487 h 3599192"/>
              <a:gd name="connsiteX123" fmla="*/ 383746 w 9107476"/>
              <a:gd name="connsiteY123" fmla="*/ 1825588 h 3599192"/>
              <a:gd name="connsiteX124" fmla="*/ 400512 w 9107476"/>
              <a:gd name="connsiteY124" fmla="*/ 1854682 h 3599192"/>
              <a:gd name="connsiteX125" fmla="*/ 534227 w 9107476"/>
              <a:gd name="connsiteY125" fmla="*/ 1839768 h 3599192"/>
              <a:gd name="connsiteX126" fmla="*/ 589790 w 9107476"/>
              <a:gd name="connsiteY126" fmla="*/ 1831891 h 3599192"/>
              <a:gd name="connsiteX127" fmla="*/ 531755 w 9107476"/>
              <a:gd name="connsiteY127" fmla="*/ 1767118 h 3599192"/>
              <a:gd name="connsiteX128" fmla="*/ 442176 w 9107476"/>
              <a:gd name="connsiteY128" fmla="*/ 1548449 h 3599192"/>
              <a:gd name="connsiteX129" fmla="*/ 22345 w 9107476"/>
              <a:gd name="connsiteY129" fmla="*/ 1272751 h 3599192"/>
              <a:gd name="connsiteX130" fmla="*/ 252204 w 9107476"/>
              <a:gd name="connsiteY130" fmla="*/ 1236983 h 3599192"/>
              <a:gd name="connsiteX131" fmla="*/ 246710 w 9107476"/>
              <a:gd name="connsiteY131" fmla="*/ 1218433 h 3599192"/>
              <a:gd name="connsiteX132" fmla="*/ 0 w 9107476"/>
              <a:gd name="connsiteY132" fmla="*/ 1181583 h 3599192"/>
              <a:gd name="connsiteX133" fmla="*/ 511706 w 9107476"/>
              <a:gd name="connsiteY133" fmla="*/ 850820 h 3599192"/>
              <a:gd name="connsiteX134" fmla="*/ 1039883 w 9107476"/>
              <a:gd name="connsiteY134" fmla="*/ 724229 h 3599192"/>
              <a:gd name="connsiteX135" fmla="*/ 1502643 w 9107476"/>
              <a:gd name="connsiteY135" fmla="*/ 631615 h 3599192"/>
              <a:gd name="connsiteX136" fmla="*/ 1502193 w 9107476"/>
              <a:gd name="connsiteY136" fmla="*/ 630654 h 3599192"/>
              <a:gd name="connsiteX137" fmla="*/ 1532525 w 9107476"/>
              <a:gd name="connsiteY137" fmla="*/ 540370 h 3599192"/>
              <a:gd name="connsiteX138" fmla="*/ 1514097 w 9107476"/>
              <a:gd name="connsiteY138" fmla="*/ 357061 h 3599192"/>
              <a:gd name="connsiteX139" fmla="*/ 1788278 w 9107476"/>
              <a:gd name="connsiteY139" fmla="*/ 227555 h 3599192"/>
              <a:gd name="connsiteX140" fmla="*/ 2653555 w 9107476"/>
              <a:gd name="connsiteY140" fmla="*/ 114965 h 3599192"/>
              <a:gd name="connsiteX141" fmla="*/ 3509183 w 9107476"/>
              <a:gd name="connsiteY141" fmla="*/ 61299 h 3599192"/>
              <a:gd name="connsiteX142" fmla="*/ 5741945 w 9107476"/>
              <a:gd name="connsiteY142" fmla="*/ 1439 h 3599192"/>
              <a:gd name="connsiteX143" fmla="*/ 6295590 w 9107476"/>
              <a:gd name="connsiteY143" fmla="*/ 20624 h 3599192"/>
              <a:gd name="connsiteX144" fmla="*/ 6791101 w 9107476"/>
              <a:gd name="connsiteY144" fmla="*/ 73436 h 3599192"/>
              <a:gd name="connsiteX145" fmla="*/ 7462827 w 9107476"/>
              <a:gd name="connsiteY145" fmla="*/ 87356 h 3599192"/>
              <a:gd name="connsiteX146" fmla="*/ 7627715 w 9107476"/>
              <a:gd name="connsiteY146" fmla="*/ 100399 h 359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9107476" h="3599192">
                <a:moveTo>
                  <a:pt x="1684870" y="528837"/>
                </a:moveTo>
                <a:cubicBezTo>
                  <a:pt x="1668502" y="518084"/>
                  <a:pt x="1639898" y="540693"/>
                  <a:pt x="1624613" y="540441"/>
                </a:cubicBezTo>
                <a:lnTo>
                  <a:pt x="1633320" y="607833"/>
                </a:lnTo>
                <a:lnTo>
                  <a:pt x="1696368" y="597646"/>
                </a:lnTo>
                <a:lnTo>
                  <a:pt x="1695595" y="596365"/>
                </a:lnTo>
                <a:cubicBezTo>
                  <a:pt x="1700106" y="553750"/>
                  <a:pt x="1694691" y="535289"/>
                  <a:pt x="1684870" y="528837"/>
                </a:cubicBezTo>
                <a:close/>
                <a:moveTo>
                  <a:pt x="7627715" y="100399"/>
                </a:moveTo>
                <a:cubicBezTo>
                  <a:pt x="7645997" y="104145"/>
                  <a:pt x="7664258" y="109038"/>
                  <a:pt x="7682494" y="115461"/>
                </a:cubicBezTo>
                <a:cubicBezTo>
                  <a:pt x="7637777" y="121932"/>
                  <a:pt x="7591522" y="134141"/>
                  <a:pt x="7545267" y="146350"/>
                </a:cubicBezTo>
                <a:cubicBezTo>
                  <a:pt x="7543729" y="152088"/>
                  <a:pt x="7543729" y="152088"/>
                  <a:pt x="7547921" y="159362"/>
                </a:cubicBezTo>
                <a:cubicBezTo>
                  <a:pt x="7583834" y="162834"/>
                  <a:pt x="7627013" y="162103"/>
                  <a:pt x="7668655" y="167110"/>
                </a:cubicBezTo>
                <a:cubicBezTo>
                  <a:pt x="7667117" y="172849"/>
                  <a:pt x="7665580" y="178588"/>
                  <a:pt x="7669771" y="185861"/>
                </a:cubicBezTo>
                <a:cubicBezTo>
                  <a:pt x="7541349" y="206807"/>
                  <a:pt x="7405659" y="231956"/>
                  <a:pt x="7275700" y="258640"/>
                </a:cubicBezTo>
                <a:cubicBezTo>
                  <a:pt x="7285198" y="291939"/>
                  <a:pt x="7293582" y="306486"/>
                  <a:pt x="7296235" y="319499"/>
                </a:cubicBezTo>
                <a:cubicBezTo>
                  <a:pt x="7248442" y="337447"/>
                  <a:pt x="7212108" y="358465"/>
                  <a:pt x="7148245" y="390558"/>
                </a:cubicBezTo>
                <a:cubicBezTo>
                  <a:pt x="7142515" y="389023"/>
                  <a:pt x="7109678" y="374074"/>
                  <a:pt x="7105486" y="366799"/>
                </a:cubicBezTo>
                <a:cubicBezTo>
                  <a:pt x="7043160" y="393154"/>
                  <a:pt x="7005289" y="419911"/>
                  <a:pt x="6960572" y="426380"/>
                </a:cubicBezTo>
                <a:cubicBezTo>
                  <a:pt x="6917392" y="427113"/>
                  <a:pt x="6874634" y="403354"/>
                  <a:pt x="6828800" y="391072"/>
                </a:cubicBezTo>
                <a:cubicBezTo>
                  <a:pt x="6770665" y="424701"/>
                  <a:pt x="6705264" y="462533"/>
                  <a:pt x="6634133" y="498831"/>
                </a:cubicBezTo>
                <a:cubicBezTo>
                  <a:pt x="6638324" y="506104"/>
                  <a:pt x="6644054" y="507640"/>
                  <a:pt x="6648245" y="514913"/>
                </a:cubicBezTo>
                <a:cubicBezTo>
                  <a:pt x="6772054" y="511183"/>
                  <a:pt x="6892789" y="518932"/>
                  <a:pt x="7012407" y="507928"/>
                </a:cubicBezTo>
                <a:cubicBezTo>
                  <a:pt x="7132025" y="496924"/>
                  <a:pt x="7246335" y="459897"/>
                  <a:pt x="7365953" y="448893"/>
                </a:cubicBezTo>
                <a:cubicBezTo>
                  <a:pt x="7448120" y="440156"/>
                  <a:pt x="7529866" y="455909"/>
                  <a:pt x="7608959" y="458650"/>
                </a:cubicBezTo>
                <a:cubicBezTo>
                  <a:pt x="7706776" y="460257"/>
                  <a:pt x="7798864" y="460329"/>
                  <a:pt x="7890952" y="460401"/>
                </a:cubicBezTo>
                <a:cubicBezTo>
                  <a:pt x="7870120" y="583984"/>
                  <a:pt x="7791722" y="624484"/>
                  <a:pt x="7664143" y="596450"/>
                </a:cubicBezTo>
                <a:cubicBezTo>
                  <a:pt x="7646955" y="591845"/>
                  <a:pt x="7612853" y="650364"/>
                  <a:pt x="7593707" y="675988"/>
                </a:cubicBezTo>
                <a:cubicBezTo>
                  <a:pt x="7554445" y="616262"/>
                  <a:pt x="7502462" y="626936"/>
                  <a:pt x="7454669" y="644884"/>
                </a:cubicBezTo>
                <a:cubicBezTo>
                  <a:pt x="7427139" y="655959"/>
                  <a:pt x="7398072" y="672774"/>
                  <a:pt x="7366351" y="676575"/>
                </a:cubicBezTo>
                <a:cubicBezTo>
                  <a:pt x="7252462" y="689114"/>
                  <a:pt x="7140111" y="695914"/>
                  <a:pt x="7031951" y="709987"/>
                </a:cubicBezTo>
                <a:cubicBezTo>
                  <a:pt x="6898643" y="680418"/>
                  <a:pt x="6772874" y="714376"/>
                  <a:pt x="6648644" y="742595"/>
                </a:cubicBezTo>
                <a:cubicBezTo>
                  <a:pt x="6651297" y="755608"/>
                  <a:pt x="6652413" y="774359"/>
                  <a:pt x="6655066" y="787371"/>
                </a:cubicBezTo>
                <a:cubicBezTo>
                  <a:pt x="6781952" y="772165"/>
                  <a:pt x="6916104" y="752754"/>
                  <a:pt x="7048717" y="739082"/>
                </a:cubicBezTo>
                <a:cubicBezTo>
                  <a:pt x="7091897" y="738351"/>
                  <a:pt x="7137730" y="750632"/>
                  <a:pt x="7182447" y="744162"/>
                </a:cubicBezTo>
                <a:cubicBezTo>
                  <a:pt x="7322328" y="726286"/>
                  <a:pt x="7458017" y="701137"/>
                  <a:pt x="7593707" y="675988"/>
                </a:cubicBezTo>
                <a:cubicBezTo>
                  <a:pt x="7730512" y="669590"/>
                  <a:pt x="7873047" y="664727"/>
                  <a:pt x="8015581" y="659864"/>
                </a:cubicBezTo>
                <a:cubicBezTo>
                  <a:pt x="8014043" y="665603"/>
                  <a:pt x="8016697" y="678616"/>
                  <a:pt x="8015159" y="684354"/>
                </a:cubicBezTo>
                <a:cubicBezTo>
                  <a:pt x="7968904" y="696562"/>
                  <a:pt x="7929917" y="704569"/>
                  <a:pt x="7859208" y="716375"/>
                </a:cubicBezTo>
                <a:cubicBezTo>
                  <a:pt x="7897774" y="732859"/>
                  <a:pt x="7920691" y="739000"/>
                  <a:pt x="7943608" y="745140"/>
                </a:cubicBezTo>
                <a:cubicBezTo>
                  <a:pt x="7940532" y="756618"/>
                  <a:pt x="7944723" y="763892"/>
                  <a:pt x="7948915" y="771166"/>
                </a:cubicBezTo>
                <a:cubicBezTo>
                  <a:pt x="7776891" y="817333"/>
                  <a:pt x="7606405" y="857761"/>
                  <a:pt x="7434382" y="903928"/>
                </a:cubicBezTo>
                <a:cubicBezTo>
                  <a:pt x="7432844" y="909667"/>
                  <a:pt x="7437036" y="916941"/>
                  <a:pt x="7437036" y="916941"/>
                </a:cubicBezTo>
                <a:cubicBezTo>
                  <a:pt x="7506208" y="910872"/>
                  <a:pt x="7569650" y="903269"/>
                  <a:pt x="7651818" y="894532"/>
                </a:cubicBezTo>
                <a:cubicBezTo>
                  <a:pt x="7617716" y="953052"/>
                  <a:pt x="7593956" y="995891"/>
                  <a:pt x="7568658" y="1044470"/>
                </a:cubicBezTo>
                <a:cubicBezTo>
                  <a:pt x="7555117" y="911676"/>
                  <a:pt x="7476719" y="952176"/>
                  <a:pt x="7397204" y="973926"/>
                </a:cubicBezTo>
                <a:cubicBezTo>
                  <a:pt x="7123867" y="1054452"/>
                  <a:pt x="6852067" y="1129241"/>
                  <a:pt x="6580267" y="1204029"/>
                </a:cubicBezTo>
                <a:cubicBezTo>
                  <a:pt x="6573000" y="1208233"/>
                  <a:pt x="6561541" y="1205162"/>
                  <a:pt x="6554275" y="1209366"/>
                </a:cubicBezTo>
                <a:cubicBezTo>
                  <a:pt x="6441775" y="1308387"/>
                  <a:pt x="6293933" y="1287224"/>
                  <a:pt x="6155590" y="1299361"/>
                </a:cubicBezTo>
                <a:cubicBezTo>
                  <a:pt x="6142594" y="1302029"/>
                  <a:pt x="6132252" y="1317711"/>
                  <a:pt x="6117718" y="1326118"/>
                </a:cubicBezTo>
                <a:cubicBezTo>
                  <a:pt x="6066850" y="1355543"/>
                  <a:pt x="6008715" y="1389171"/>
                  <a:pt x="5957847" y="1418596"/>
                </a:cubicBezTo>
                <a:cubicBezTo>
                  <a:pt x="6003680" y="1430877"/>
                  <a:pt x="6059435" y="1451967"/>
                  <a:pt x="6136568" y="1484936"/>
                </a:cubicBezTo>
                <a:cubicBezTo>
                  <a:pt x="6097580" y="1492941"/>
                  <a:pt x="6078854" y="1494075"/>
                  <a:pt x="6060130" y="1495208"/>
                </a:cubicBezTo>
                <a:cubicBezTo>
                  <a:pt x="6062783" y="1508221"/>
                  <a:pt x="6059708" y="1519698"/>
                  <a:pt x="6056633" y="1531175"/>
                </a:cubicBezTo>
                <a:cubicBezTo>
                  <a:pt x="6162833" y="1547330"/>
                  <a:pt x="6271687" y="1576497"/>
                  <a:pt x="6376772" y="1573902"/>
                </a:cubicBezTo>
                <a:cubicBezTo>
                  <a:pt x="6530764" y="1572109"/>
                  <a:pt x="6677913" y="1550029"/>
                  <a:pt x="6823522" y="1533689"/>
                </a:cubicBezTo>
                <a:cubicBezTo>
                  <a:pt x="6849514" y="1528353"/>
                  <a:pt x="6873968" y="1528754"/>
                  <a:pt x="6891156" y="1533360"/>
                </a:cubicBezTo>
                <a:cubicBezTo>
                  <a:pt x="6997356" y="1549515"/>
                  <a:pt x="7048224" y="1520090"/>
                  <a:pt x="7069752" y="1439748"/>
                </a:cubicBezTo>
                <a:cubicBezTo>
                  <a:pt x="7071290" y="1434010"/>
                  <a:pt x="7054102" y="1429404"/>
                  <a:pt x="7026993" y="1415990"/>
                </a:cubicBezTo>
                <a:cubicBezTo>
                  <a:pt x="7060253" y="1406450"/>
                  <a:pt x="7083591" y="1388100"/>
                  <a:pt x="7106508" y="1394241"/>
                </a:cubicBezTo>
                <a:cubicBezTo>
                  <a:pt x="7504201" y="1445446"/>
                  <a:pt x="7898818" y="1508128"/>
                  <a:pt x="8290782" y="1557798"/>
                </a:cubicBezTo>
                <a:cubicBezTo>
                  <a:pt x="8415708" y="1572821"/>
                  <a:pt x="8545246" y="1570626"/>
                  <a:pt x="8673247" y="1574169"/>
                </a:cubicBezTo>
                <a:cubicBezTo>
                  <a:pt x="8784061" y="1573109"/>
                  <a:pt x="8806556" y="1603739"/>
                  <a:pt x="8789220" y="1691354"/>
                </a:cubicBezTo>
                <a:cubicBezTo>
                  <a:pt x="8734160" y="1713506"/>
                  <a:pt x="8676448" y="1722644"/>
                  <a:pt x="8655763" y="1754006"/>
                </a:cubicBezTo>
                <a:cubicBezTo>
                  <a:pt x="8633540" y="1791107"/>
                  <a:pt x="8648348" y="1850431"/>
                  <a:pt x="8641775" y="1897875"/>
                </a:cubicBezTo>
                <a:cubicBezTo>
                  <a:pt x="8651695" y="1906684"/>
                  <a:pt x="8663154" y="1909754"/>
                  <a:pt x="8678804" y="1920098"/>
                </a:cubicBezTo>
                <a:cubicBezTo>
                  <a:pt x="8638279" y="1933843"/>
                  <a:pt x="8599291" y="1941848"/>
                  <a:pt x="8557227" y="1961331"/>
                </a:cubicBezTo>
                <a:cubicBezTo>
                  <a:pt x="8710650" y="2076248"/>
                  <a:pt x="8888130" y="1963886"/>
                  <a:pt x="9077613" y="1990054"/>
                </a:cubicBezTo>
                <a:cubicBezTo>
                  <a:pt x="9021016" y="2017944"/>
                  <a:pt x="8986220" y="2033224"/>
                  <a:pt x="8957153" y="2050038"/>
                </a:cubicBezTo>
                <a:cubicBezTo>
                  <a:pt x="8967073" y="2058846"/>
                  <a:pt x="8988453" y="2070726"/>
                  <a:pt x="9014023" y="2089879"/>
                </a:cubicBezTo>
                <a:cubicBezTo>
                  <a:pt x="8984956" y="2106693"/>
                  <a:pt x="8961617" y="2125043"/>
                  <a:pt x="8944430" y="2120437"/>
                </a:cubicBezTo>
                <a:cubicBezTo>
                  <a:pt x="8856954" y="2103149"/>
                  <a:pt x="8784707" y="2120695"/>
                  <a:pt x="8734535" y="2193360"/>
                </a:cubicBezTo>
                <a:cubicBezTo>
                  <a:pt x="8727267" y="2197564"/>
                  <a:pt x="8712734" y="2205972"/>
                  <a:pt x="8712734" y="2205972"/>
                </a:cubicBezTo>
                <a:cubicBezTo>
                  <a:pt x="8613527" y="2117882"/>
                  <a:pt x="8550358" y="2193216"/>
                  <a:pt x="8478805" y="2254003"/>
                </a:cubicBezTo>
                <a:cubicBezTo>
                  <a:pt x="8448200" y="2276556"/>
                  <a:pt x="8380989" y="2252395"/>
                  <a:pt x="8320621" y="2248522"/>
                </a:cubicBezTo>
                <a:cubicBezTo>
                  <a:pt x="8317546" y="2259999"/>
                  <a:pt x="8308320" y="2294432"/>
                  <a:pt x="8288752" y="2344545"/>
                </a:cubicBezTo>
                <a:cubicBezTo>
                  <a:pt x="8283022" y="2343009"/>
                  <a:pt x="8258569" y="2342608"/>
                  <a:pt x="8222656" y="2339135"/>
                </a:cubicBezTo>
                <a:cubicBezTo>
                  <a:pt x="8258147" y="2367097"/>
                  <a:pt x="8283717" y="2386251"/>
                  <a:pt x="8320746" y="2408474"/>
                </a:cubicBezTo>
                <a:cubicBezTo>
                  <a:pt x="8255767" y="2421816"/>
                  <a:pt x="8203782" y="2432490"/>
                  <a:pt x="8138802" y="2445831"/>
                </a:cubicBezTo>
                <a:cubicBezTo>
                  <a:pt x="8151376" y="2467653"/>
                  <a:pt x="8163951" y="2489474"/>
                  <a:pt x="8168143" y="2496748"/>
                </a:cubicBezTo>
                <a:cubicBezTo>
                  <a:pt x="8485354" y="2458731"/>
                  <a:pt x="8789570" y="2423382"/>
                  <a:pt x="9099515" y="2389568"/>
                </a:cubicBezTo>
                <a:cubicBezTo>
                  <a:pt x="9102168" y="2402581"/>
                  <a:pt x="9104823" y="2415593"/>
                  <a:pt x="9107476" y="2428606"/>
                </a:cubicBezTo>
                <a:cubicBezTo>
                  <a:pt x="9066950" y="2442350"/>
                  <a:pt x="9027963" y="2450355"/>
                  <a:pt x="8974441" y="2466767"/>
                </a:cubicBezTo>
                <a:cubicBezTo>
                  <a:pt x="8995820" y="2478647"/>
                  <a:pt x="9007278" y="2481717"/>
                  <a:pt x="9038578" y="2502405"/>
                </a:cubicBezTo>
                <a:cubicBezTo>
                  <a:pt x="8976251" y="2528760"/>
                  <a:pt x="8919654" y="2556650"/>
                  <a:pt x="8857329" y="2583004"/>
                </a:cubicBezTo>
                <a:cubicBezTo>
                  <a:pt x="8865711" y="2597552"/>
                  <a:pt x="8881361" y="2607896"/>
                  <a:pt x="8899665" y="2631252"/>
                </a:cubicBezTo>
                <a:cubicBezTo>
                  <a:pt x="8812885" y="2657205"/>
                  <a:pt x="8724988" y="2664407"/>
                  <a:pt x="8658048" y="2707977"/>
                </a:cubicBezTo>
                <a:cubicBezTo>
                  <a:pt x="8499294" y="2819207"/>
                  <a:pt x="8322657" y="2882590"/>
                  <a:pt x="8155521" y="2979272"/>
                </a:cubicBezTo>
                <a:cubicBezTo>
                  <a:pt x="7981116" y="3080157"/>
                  <a:pt x="7780025" y="3143138"/>
                  <a:pt x="7609813" y="3251297"/>
                </a:cubicBezTo>
                <a:cubicBezTo>
                  <a:pt x="7468667" y="3342643"/>
                  <a:pt x="7300140" y="3352842"/>
                  <a:pt x="7149075" y="3435379"/>
                </a:cubicBezTo>
                <a:cubicBezTo>
                  <a:pt x="7056143" y="3484286"/>
                  <a:pt x="6930796" y="3493754"/>
                  <a:pt x="6812716" y="3499019"/>
                </a:cubicBezTo>
                <a:cubicBezTo>
                  <a:pt x="6497042" y="3531298"/>
                  <a:pt x="6184442" y="3552099"/>
                  <a:pt x="5871844" y="3572900"/>
                </a:cubicBezTo>
                <a:cubicBezTo>
                  <a:pt x="5716313" y="3580431"/>
                  <a:pt x="5564975" y="3595237"/>
                  <a:pt x="5414057" y="3585552"/>
                </a:cubicBezTo>
                <a:cubicBezTo>
                  <a:pt x="5359418" y="3583213"/>
                  <a:pt x="5312891" y="3527691"/>
                  <a:pt x="5284245" y="3520015"/>
                </a:cubicBezTo>
                <a:cubicBezTo>
                  <a:pt x="5247911" y="3541034"/>
                  <a:pt x="5218422" y="3582338"/>
                  <a:pt x="5180971" y="3584604"/>
                </a:cubicBezTo>
                <a:cubicBezTo>
                  <a:pt x="5070158" y="3585666"/>
                  <a:pt x="4958228" y="3567975"/>
                  <a:pt x="4845878" y="3574775"/>
                </a:cubicBezTo>
                <a:cubicBezTo>
                  <a:pt x="4686156" y="3575033"/>
                  <a:pt x="4518744" y="3603983"/>
                  <a:pt x="4360560" y="3598502"/>
                </a:cubicBezTo>
                <a:cubicBezTo>
                  <a:pt x="4159196" y="3593753"/>
                  <a:pt x="3953219" y="3606219"/>
                  <a:pt x="3757311" y="3535274"/>
                </a:cubicBezTo>
                <a:cubicBezTo>
                  <a:pt x="3728666" y="3527598"/>
                  <a:pt x="3683527" y="3558558"/>
                  <a:pt x="3648731" y="3573837"/>
                </a:cubicBezTo>
                <a:cubicBezTo>
                  <a:pt x="3638809" y="3565028"/>
                  <a:pt x="3616315" y="3534398"/>
                  <a:pt x="3586130" y="3532461"/>
                </a:cubicBezTo>
                <a:cubicBezTo>
                  <a:pt x="3408105" y="3509362"/>
                  <a:pt x="3224350" y="3484728"/>
                  <a:pt x="3045903" y="3486119"/>
                </a:cubicBezTo>
                <a:cubicBezTo>
                  <a:pt x="2604188" y="3484625"/>
                  <a:pt x="2181767" y="3365287"/>
                  <a:pt x="1762000" y="3258961"/>
                </a:cubicBezTo>
                <a:cubicBezTo>
                  <a:pt x="1727624" y="3249750"/>
                  <a:pt x="1685982" y="3244743"/>
                  <a:pt x="1634420" y="3230927"/>
                </a:cubicBezTo>
                <a:cubicBezTo>
                  <a:pt x="1658453" y="3255819"/>
                  <a:pt x="1674103" y="3266163"/>
                  <a:pt x="1684023" y="3274972"/>
                </a:cubicBezTo>
                <a:cubicBezTo>
                  <a:pt x="1579361" y="3253078"/>
                  <a:pt x="1480427" y="3232720"/>
                  <a:pt x="1381493" y="3212361"/>
                </a:cubicBezTo>
                <a:cubicBezTo>
                  <a:pt x="1381493" y="3212361"/>
                  <a:pt x="1379956" y="3218099"/>
                  <a:pt x="1378418" y="3223839"/>
                </a:cubicBezTo>
                <a:cubicBezTo>
                  <a:pt x="1428443" y="3243394"/>
                  <a:pt x="1478468" y="3262948"/>
                  <a:pt x="1524301" y="3275229"/>
                </a:cubicBezTo>
                <a:cubicBezTo>
                  <a:pt x="1522763" y="3280968"/>
                  <a:pt x="1521225" y="3286706"/>
                  <a:pt x="1519688" y="3292445"/>
                </a:cubicBezTo>
                <a:cubicBezTo>
                  <a:pt x="1422292" y="3266348"/>
                  <a:pt x="1324896" y="3240251"/>
                  <a:pt x="1227500" y="3214154"/>
                </a:cubicBezTo>
                <a:cubicBezTo>
                  <a:pt x="1042630" y="3170768"/>
                  <a:pt x="891438" y="3093353"/>
                  <a:pt x="758701" y="2947073"/>
                </a:cubicBezTo>
                <a:cubicBezTo>
                  <a:pt x="634344" y="2815340"/>
                  <a:pt x="454781" y="2797980"/>
                  <a:pt x="277450" y="2818122"/>
                </a:cubicBezTo>
                <a:cubicBezTo>
                  <a:pt x="238462" y="2826128"/>
                  <a:pt x="202550" y="2822656"/>
                  <a:pt x="159791" y="2798898"/>
                </a:cubicBezTo>
                <a:cubicBezTo>
                  <a:pt x="189975" y="2800834"/>
                  <a:pt x="215967" y="2795497"/>
                  <a:pt x="279409" y="2787894"/>
                </a:cubicBezTo>
                <a:cubicBezTo>
                  <a:pt x="217927" y="2765269"/>
                  <a:pt x="183551" y="2756059"/>
                  <a:pt x="122068" y="2733433"/>
                </a:cubicBezTo>
                <a:cubicBezTo>
                  <a:pt x="260833" y="2696807"/>
                  <a:pt x="365223" y="2650969"/>
                  <a:pt x="529136" y="2657986"/>
                </a:cubicBezTo>
                <a:cubicBezTo>
                  <a:pt x="507757" y="2646107"/>
                  <a:pt x="480649" y="2632692"/>
                  <a:pt x="460807" y="2615074"/>
                </a:cubicBezTo>
                <a:cubicBezTo>
                  <a:pt x="436775" y="2590182"/>
                  <a:pt x="412742" y="2565290"/>
                  <a:pt x="401705" y="2537731"/>
                </a:cubicBezTo>
                <a:cubicBezTo>
                  <a:pt x="386477" y="2502896"/>
                  <a:pt x="321645" y="2424018"/>
                  <a:pt x="291462" y="2422081"/>
                </a:cubicBezTo>
                <a:cubicBezTo>
                  <a:pt x="261278" y="2420144"/>
                  <a:pt x="229557" y="2423946"/>
                  <a:pt x="197836" y="2427748"/>
                </a:cubicBezTo>
                <a:cubicBezTo>
                  <a:pt x="167652" y="2425811"/>
                  <a:pt x="137469" y="2423874"/>
                  <a:pt x="94289" y="2424605"/>
                </a:cubicBezTo>
                <a:cubicBezTo>
                  <a:pt x="115817" y="2344264"/>
                  <a:pt x="120156" y="2259317"/>
                  <a:pt x="154259" y="2200796"/>
                </a:cubicBezTo>
                <a:cubicBezTo>
                  <a:pt x="191436" y="2130799"/>
                  <a:pt x="255721" y="2074215"/>
                  <a:pt x="310086" y="2008824"/>
                </a:cubicBezTo>
                <a:cubicBezTo>
                  <a:pt x="304356" y="2007288"/>
                  <a:pt x="280324" y="1982396"/>
                  <a:pt x="243295" y="1960173"/>
                </a:cubicBezTo>
                <a:cubicBezTo>
                  <a:pt x="263558" y="1953302"/>
                  <a:pt x="276555" y="1950633"/>
                  <a:pt x="296817" y="1943761"/>
                </a:cubicBezTo>
                <a:cubicBezTo>
                  <a:pt x="284243" y="1921940"/>
                  <a:pt x="270131" y="1905857"/>
                  <a:pt x="249172" y="1869487"/>
                </a:cubicBezTo>
                <a:cubicBezTo>
                  <a:pt x="296965" y="1851540"/>
                  <a:pt x="337491" y="1837796"/>
                  <a:pt x="383746" y="1825588"/>
                </a:cubicBezTo>
                <a:cubicBezTo>
                  <a:pt x="385284" y="1819849"/>
                  <a:pt x="400512" y="1854682"/>
                  <a:pt x="400512" y="1854682"/>
                </a:cubicBezTo>
                <a:cubicBezTo>
                  <a:pt x="448094" y="1848980"/>
                  <a:pt x="493859" y="1844328"/>
                  <a:pt x="534227" y="1839768"/>
                </a:cubicBezTo>
                <a:lnTo>
                  <a:pt x="589790" y="1831891"/>
                </a:lnTo>
                <a:lnTo>
                  <a:pt x="531755" y="1767118"/>
                </a:lnTo>
                <a:cubicBezTo>
                  <a:pt x="465635" y="1690523"/>
                  <a:pt x="467317" y="1612391"/>
                  <a:pt x="442176" y="1548449"/>
                </a:cubicBezTo>
                <a:cubicBezTo>
                  <a:pt x="268018" y="1494674"/>
                  <a:pt x="115933" y="1442097"/>
                  <a:pt x="22345" y="1272751"/>
                </a:cubicBezTo>
                <a:cubicBezTo>
                  <a:pt x="105143" y="1258991"/>
                  <a:pt x="176113" y="1247196"/>
                  <a:pt x="252204" y="1236983"/>
                </a:cubicBezTo>
                <a:cubicBezTo>
                  <a:pt x="248666" y="1230273"/>
                  <a:pt x="250249" y="1225144"/>
                  <a:pt x="246710" y="1218433"/>
                </a:cubicBezTo>
                <a:cubicBezTo>
                  <a:pt x="165125" y="1210096"/>
                  <a:pt x="80002" y="1195048"/>
                  <a:pt x="0" y="1181583"/>
                </a:cubicBezTo>
                <a:cubicBezTo>
                  <a:pt x="92967" y="935008"/>
                  <a:pt x="310997" y="901206"/>
                  <a:pt x="511706" y="850820"/>
                </a:cubicBezTo>
                <a:cubicBezTo>
                  <a:pt x="687082" y="805252"/>
                  <a:pt x="863167" y="763063"/>
                  <a:pt x="1039883" y="724229"/>
                </a:cubicBezTo>
                <a:lnTo>
                  <a:pt x="1502643" y="631615"/>
                </a:lnTo>
                <a:lnTo>
                  <a:pt x="1502193" y="630654"/>
                </a:lnTo>
                <a:cubicBezTo>
                  <a:pt x="1496885" y="604628"/>
                  <a:pt x="1530565" y="570598"/>
                  <a:pt x="1532525" y="540370"/>
                </a:cubicBezTo>
                <a:cubicBezTo>
                  <a:pt x="1530714" y="478378"/>
                  <a:pt x="1490759" y="375411"/>
                  <a:pt x="1514097" y="357061"/>
                </a:cubicBezTo>
                <a:cubicBezTo>
                  <a:pt x="1592916" y="292071"/>
                  <a:pt x="1693114" y="238960"/>
                  <a:pt x="1788278" y="227555"/>
                </a:cubicBezTo>
                <a:cubicBezTo>
                  <a:pt x="2072652" y="174588"/>
                  <a:pt x="2363872" y="141908"/>
                  <a:pt x="2653555" y="114965"/>
                </a:cubicBezTo>
                <a:cubicBezTo>
                  <a:pt x="2935970" y="92227"/>
                  <a:pt x="3225653" y="65285"/>
                  <a:pt x="3509183" y="61299"/>
                </a:cubicBezTo>
                <a:cubicBezTo>
                  <a:pt x="4253577" y="33182"/>
                  <a:pt x="5000625" y="18078"/>
                  <a:pt x="5741945" y="1439"/>
                </a:cubicBezTo>
                <a:cubicBezTo>
                  <a:pt x="5927659" y="-4155"/>
                  <a:pt x="6108760" y="7467"/>
                  <a:pt x="6295590" y="20624"/>
                </a:cubicBezTo>
                <a:cubicBezTo>
                  <a:pt x="6457966" y="33378"/>
                  <a:pt x="6621458" y="64885"/>
                  <a:pt x="6791101" y="73436"/>
                </a:cubicBezTo>
                <a:cubicBezTo>
                  <a:pt x="7013844" y="90065"/>
                  <a:pt x="7237008" y="82204"/>
                  <a:pt x="7462827" y="87356"/>
                </a:cubicBezTo>
                <a:cubicBezTo>
                  <a:pt x="7517849" y="88259"/>
                  <a:pt x="7572871" y="89164"/>
                  <a:pt x="7627715" y="100399"/>
                </a:cubicBezTo>
                <a:close/>
              </a:path>
            </a:pathLst>
          </a:custGeom>
        </p:spPr>
      </p:sp>
    </p:spTree>
    <p:extLst>
      <p:ext uri="{BB962C8B-B14F-4D97-AF65-F5344CB8AC3E}">
        <p14:creationId xmlns:p14="http://schemas.microsoft.com/office/powerpoint/2010/main" val="1145652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2_Custom Layout">
    <p:spTree>
      <p:nvGrpSpPr>
        <p:cNvPr id="1" name=""/>
        <p:cNvGrpSpPr/>
        <p:nvPr/>
      </p:nvGrpSpPr>
      <p:grpSpPr>
        <a:xfrm>
          <a:off x="0" y="0"/>
          <a:ext cx="0" cy="0"/>
          <a:chOff x="0" y="0"/>
          <a:chExt cx="0" cy="0"/>
        </a:xfrm>
      </p:grpSpPr>
      <p:sp>
        <p:nvSpPr>
          <p:cNvPr id="5" name="Freeform 4"/>
          <p:cNvSpPr>
            <a:spLocks noGrp="1"/>
          </p:cNvSpPr>
          <p:nvPr>
            <p:ph type="pic" sz="quarter" idx="11"/>
          </p:nvPr>
        </p:nvSpPr>
        <p:spPr>
          <a:xfrm>
            <a:off x="-1150052" y="-533400"/>
            <a:ext cx="8872353" cy="7569200"/>
          </a:xfrm>
          <a:custGeom>
            <a:avLst/>
            <a:gdLst>
              <a:gd name="connsiteX0" fmla="*/ 7871349 w 8872353"/>
              <a:gd name="connsiteY0" fmla="*/ 3847293 h 7569200"/>
              <a:gd name="connsiteX1" fmla="*/ 7871349 w 8872353"/>
              <a:gd name="connsiteY1" fmla="*/ 3849566 h 7569200"/>
              <a:gd name="connsiteX2" fmla="*/ 7870478 w 8872353"/>
              <a:gd name="connsiteY2" fmla="*/ 3847968 h 7569200"/>
              <a:gd name="connsiteX3" fmla="*/ 5063358 w 8872353"/>
              <a:gd name="connsiteY3" fmla="*/ 3280595 h 7569200"/>
              <a:gd name="connsiteX4" fmla="*/ 5023651 w 8872353"/>
              <a:gd name="connsiteY4" fmla="*/ 3295561 h 7569200"/>
              <a:gd name="connsiteX5" fmla="*/ 4972569 w 8872353"/>
              <a:gd name="connsiteY5" fmla="*/ 3317750 h 7569200"/>
              <a:gd name="connsiteX6" fmla="*/ 4972345 w 8872353"/>
              <a:gd name="connsiteY6" fmla="*/ 3319922 h 7569200"/>
              <a:gd name="connsiteX7" fmla="*/ 5044688 w 8872353"/>
              <a:gd name="connsiteY7" fmla="*/ 3386412 h 7569200"/>
              <a:gd name="connsiteX8" fmla="*/ 5075321 w 8872353"/>
              <a:gd name="connsiteY8" fmla="*/ 3417013 h 7569200"/>
              <a:gd name="connsiteX9" fmla="*/ 5079988 w 8872353"/>
              <a:gd name="connsiteY9" fmla="*/ 3415500 h 7569200"/>
              <a:gd name="connsiteX10" fmla="*/ 5073342 w 8872353"/>
              <a:gd name="connsiteY10" fmla="*/ 3377224 h 7569200"/>
              <a:gd name="connsiteX11" fmla="*/ 5067668 w 8872353"/>
              <a:gd name="connsiteY11" fmla="*/ 3338865 h 7569200"/>
              <a:gd name="connsiteX12" fmla="*/ 8309499 w 8872353"/>
              <a:gd name="connsiteY12" fmla="*/ 951693 h 7569200"/>
              <a:gd name="connsiteX13" fmla="*/ 8309499 w 8872353"/>
              <a:gd name="connsiteY13" fmla="*/ 953966 h 7569200"/>
              <a:gd name="connsiteX14" fmla="*/ 8308628 w 8872353"/>
              <a:gd name="connsiteY14" fmla="*/ 952368 h 7569200"/>
              <a:gd name="connsiteX15" fmla="*/ 5004998 w 8872353"/>
              <a:gd name="connsiteY15" fmla="*/ 0 h 7569200"/>
              <a:gd name="connsiteX16" fmla="*/ 5077624 w 8872353"/>
              <a:gd name="connsiteY16" fmla="*/ 54556 h 7569200"/>
              <a:gd name="connsiteX17" fmla="*/ 4962633 w 8872353"/>
              <a:gd name="connsiteY17" fmla="*/ 200038 h 7569200"/>
              <a:gd name="connsiteX18" fmla="*/ 5428652 w 8872353"/>
              <a:gd name="connsiteY18" fmla="*/ 248531 h 7569200"/>
              <a:gd name="connsiteX19" fmla="*/ 5410495 w 8872353"/>
              <a:gd name="connsiteY19" fmla="*/ 424322 h 7569200"/>
              <a:gd name="connsiteX20" fmla="*/ 5519435 w 8872353"/>
              <a:gd name="connsiteY20" fmla="*/ 527371 h 7569200"/>
              <a:gd name="connsiteX21" fmla="*/ 5501278 w 8872353"/>
              <a:gd name="connsiteY21" fmla="*/ 381890 h 7569200"/>
              <a:gd name="connsiteX22" fmla="*/ 5519435 w 8872353"/>
              <a:gd name="connsiteY22" fmla="*/ 375828 h 7569200"/>
              <a:gd name="connsiteX23" fmla="*/ 5604166 w 8872353"/>
              <a:gd name="connsiteY23" fmla="*/ 606174 h 7569200"/>
              <a:gd name="connsiteX24" fmla="*/ 5676792 w 8872353"/>
              <a:gd name="connsiteY24" fmla="*/ 503124 h 7569200"/>
              <a:gd name="connsiteX25" fmla="*/ 5761523 w 8872353"/>
              <a:gd name="connsiteY25" fmla="*/ 691038 h 7569200"/>
              <a:gd name="connsiteX26" fmla="*/ 5906776 w 8872353"/>
              <a:gd name="connsiteY26" fmla="*/ 824396 h 7569200"/>
              <a:gd name="connsiteX27" fmla="*/ 5815993 w 8872353"/>
              <a:gd name="connsiteY27" fmla="*/ 806211 h 7569200"/>
              <a:gd name="connsiteX28" fmla="*/ 5840202 w 8872353"/>
              <a:gd name="connsiteY28" fmla="*/ 842582 h 7569200"/>
              <a:gd name="connsiteX29" fmla="*/ 5949141 w 8872353"/>
              <a:gd name="connsiteY29" fmla="*/ 848643 h 7569200"/>
              <a:gd name="connsiteX30" fmla="*/ 6905389 w 8872353"/>
              <a:gd name="connsiteY30" fmla="*/ 545557 h 7569200"/>
              <a:gd name="connsiteX31" fmla="*/ 7201946 w 8872353"/>
              <a:gd name="connsiteY31" fmla="*/ 491001 h 7569200"/>
              <a:gd name="connsiteX32" fmla="*/ 7462191 w 8872353"/>
              <a:gd name="connsiteY32" fmla="*/ 394013 h 7569200"/>
              <a:gd name="connsiteX33" fmla="*/ 7625600 w 8872353"/>
              <a:gd name="connsiteY33" fmla="*/ 394013 h 7569200"/>
              <a:gd name="connsiteX34" fmla="*/ 8261081 w 8872353"/>
              <a:gd name="connsiteY34" fmla="*/ 139420 h 7569200"/>
              <a:gd name="connsiteX35" fmla="*/ 8497117 w 8872353"/>
              <a:gd name="connsiteY35" fmla="*/ 96988 h 7569200"/>
              <a:gd name="connsiteX36" fmla="*/ 8097672 w 8872353"/>
              <a:gd name="connsiteY36" fmla="*/ 339457 h 7569200"/>
              <a:gd name="connsiteX37" fmla="*/ 7916106 w 8872353"/>
              <a:gd name="connsiteY37" fmla="*/ 509186 h 7569200"/>
              <a:gd name="connsiteX38" fmla="*/ 7879793 w 8872353"/>
              <a:gd name="connsiteY38" fmla="*/ 533433 h 7569200"/>
              <a:gd name="connsiteX39" fmla="*/ 7431930 w 8872353"/>
              <a:gd name="connsiteY39" fmla="*/ 788026 h 7569200"/>
              <a:gd name="connsiteX40" fmla="*/ 8115828 w 8872353"/>
              <a:gd name="connsiteY40" fmla="*/ 581927 h 7569200"/>
              <a:gd name="connsiteX41" fmla="*/ 7976628 w 8872353"/>
              <a:gd name="connsiteY41" fmla="*/ 684977 h 7569200"/>
              <a:gd name="connsiteX42" fmla="*/ 7982680 w 8872353"/>
              <a:gd name="connsiteY42" fmla="*/ 703162 h 7569200"/>
              <a:gd name="connsiteX43" fmla="*/ 8121881 w 8872353"/>
              <a:gd name="connsiteY43" fmla="*/ 684977 h 7569200"/>
              <a:gd name="connsiteX44" fmla="*/ 8127933 w 8872353"/>
              <a:gd name="connsiteY44" fmla="*/ 703162 h 7569200"/>
              <a:gd name="connsiteX45" fmla="*/ 7813218 w 8872353"/>
              <a:gd name="connsiteY45" fmla="*/ 885014 h 7569200"/>
              <a:gd name="connsiteX46" fmla="*/ 7946367 w 8872353"/>
              <a:gd name="connsiteY46" fmla="*/ 915323 h 7569200"/>
              <a:gd name="connsiteX47" fmla="*/ 8133985 w 8872353"/>
              <a:gd name="connsiteY47" fmla="*/ 775903 h 7569200"/>
              <a:gd name="connsiteX48" fmla="*/ 8303447 w 8872353"/>
              <a:gd name="connsiteY48" fmla="*/ 733470 h 7569200"/>
              <a:gd name="connsiteX49" fmla="*/ 8636317 w 8872353"/>
              <a:gd name="connsiteY49" fmla="*/ 557680 h 7569200"/>
              <a:gd name="connsiteX50" fmla="*/ 8587899 w 8872353"/>
              <a:gd name="connsiteY50" fmla="*/ 666791 h 7569200"/>
              <a:gd name="connsiteX51" fmla="*/ 8866301 w 8872353"/>
              <a:gd name="connsiteY51" fmla="*/ 539495 h 7569200"/>
              <a:gd name="connsiteX52" fmla="*/ 8872353 w 8872353"/>
              <a:gd name="connsiteY52" fmla="*/ 551618 h 7569200"/>
              <a:gd name="connsiteX53" fmla="*/ 8309499 w 8872353"/>
              <a:gd name="connsiteY53" fmla="*/ 951693 h 7569200"/>
              <a:gd name="connsiteX54" fmla="*/ 8307797 w 8872353"/>
              <a:gd name="connsiteY54" fmla="*/ 950841 h 7569200"/>
              <a:gd name="connsiteX55" fmla="*/ 8308628 w 8872353"/>
              <a:gd name="connsiteY55" fmla="*/ 952368 h 7569200"/>
              <a:gd name="connsiteX56" fmla="*/ 8068924 w 8872353"/>
              <a:gd name="connsiteY56" fmla="*/ 1138091 h 7569200"/>
              <a:gd name="connsiteX57" fmla="*/ 7837427 w 8872353"/>
              <a:gd name="connsiteY57" fmla="*/ 1333583 h 7569200"/>
              <a:gd name="connsiteX58" fmla="*/ 7341147 w 8872353"/>
              <a:gd name="connsiteY58" fmla="*/ 1763966 h 7569200"/>
              <a:gd name="connsiteX59" fmla="*/ 6778292 w 8872353"/>
              <a:gd name="connsiteY59" fmla="*/ 2261029 h 7569200"/>
              <a:gd name="connsiteX60" fmla="*/ 6766188 w 8872353"/>
              <a:gd name="connsiteY60" fmla="*/ 2303461 h 7569200"/>
              <a:gd name="connsiteX61" fmla="*/ 6808553 w 8872353"/>
              <a:gd name="connsiteY61" fmla="*/ 2297399 h 7569200"/>
              <a:gd name="connsiteX62" fmla="*/ 7111163 w 8872353"/>
              <a:gd name="connsiteY62" fmla="*/ 2242843 h 7569200"/>
              <a:gd name="connsiteX63" fmla="*/ 7195894 w 8872353"/>
              <a:gd name="connsiteY63" fmla="*/ 2182226 h 7569200"/>
              <a:gd name="connsiteX64" fmla="*/ 7232207 w 8872353"/>
              <a:gd name="connsiteY64" fmla="*/ 2273152 h 7569200"/>
              <a:gd name="connsiteX65" fmla="*/ 6984067 w 8872353"/>
              <a:gd name="connsiteY65" fmla="*/ 2382263 h 7569200"/>
              <a:gd name="connsiteX66" fmla="*/ 6735927 w 8872353"/>
              <a:gd name="connsiteY66" fmla="*/ 2539868 h 7569200"/>
              <a:gd name="connsiteX67" fmla="*/ 6717770 w 8872353"/>
              <a:gd name="connsiteY67" fmla="*/ 2594424 h 7569200"/>
              <a:gd name="connsiteX68" fmla="*/ 6602779 w 8872353"/>
              <a:gd name="connsiteY68" fmla="*/ 2697474 h 7569200"/>
              <a:gd name="connsiteX69" fmla="*/ 6318325 w 8872353"/>
              <a:gd name="connsiteY69" fmla="*/ 2739906 h 7569200"/>
              <a:gd name="connsiteX70" fmla="*/ 6033872 w 8872353"/>
              <a:gd name="connsiteY70" fmla="*/ 2933881 h 7569200"/>
              <a:gd name="connsiteX71" fmla="*/ 6106498 w 8872353"/>
              <a:gd name="connsiteY71" fmla="*/ 2849017 h 7569200"/>
              <a:gd name="connsiteX72" fmla="*/ 5912828 w 8872353"/>
              <a:gd name="connsiteY72" fmla="*/ 2903573 h 7569200"/>
              <a:gd name="connsiteX73" fmla="*/ 5967298 w 8872353"/>
              <a:gd name="connsiteY73" fmla="*/ 2976313 h 7569200"/>
              <a:gd name="connsiteX74" fmla="*/ 5209260 w 8872353"/>
              <a:gd name="connsiteY74" fmla="*/ 3225603 h 7569200"/>
              <a:gd name="connsiteX75" fmla="*/ 5082040 w 8872353"/>
              <a:gd name="connsiteY75" fmla="*/ 3273554 h 7569200"/>
              <a:gd name="connsiteX76" fmla="*/ 5121381 w 8872353"/>
              <a:gd name="connsiteY76" fmla="*/ 3384328 h 7569200"/>
              <a:gd name="connsiteX77" fmla="*/ 5127389 w 8872353"/>
              <a:gd name="connsiteY77" fmla="*/ 3400136 h 7569200"/>
              <a:gd name="connsiteX78" fmla="*/ 5158573 w 8872353"/>
              <a:gd name="connsiteY78" fmla="*/ 3390028 h 7569200"/>
              <a:gd name="connsiteX79" fmla="*/ 5822045 w 8872353"/>
              <a:gd name="connsiteY79" fmla="*/ 3170289 h 7569200"/>
              <a:gd name="connsiteX80" fmla="*/ 5719158 w 8872353"/>
              <a:gd name="connsiteY80" fmla="*/ 3139980 h 7569200"/>
              <a:gd name="connsiteX81" fmla="*/ 5876515 w 8872353"/>
              <a:gd name="connsiteY81" fmla="*/ 3109672 h 7569200"/>
              <a:gd name="connsiteX82" fmla="*/ 6027820 w 8872353"/>
              <a:gd name="connsiteY82" fmla="*/ 3067240 h 7569200"/>
              <a:gd name="connsiteX83" fmla="*/ 6518048 w 8872353"/>
              <a:gd name="connsiteY83" fmla="*/ 2861140 h 7569200"/>
              <a:gd name="connsiteX84" fmla="*/ 6251751 w 8872353"/>
              <a:gd name="connsiteY84" fmla="*/ 3158166 h 7569200"/>
              <a:gd name="connsiteX85" fmla="*/ 5755471 w 8872353"/>
              <a:gd name="connsiteY85" fmla="*/ 3364265 h 7569200"/>
              <a:gd name="connsiteX86" fmla="*/ 5471018 w 8872353"/>
              <a:gd name="connsiteY86" fmla="*/ 3457464 h 7569200"/>
              <a:gd name="connsiteX87" fmla="*/ 5243878 w 8872353"/>
              <a:gd name="connsiteY87" fmla="*/ 3528255 h 7569200"/>
              <a:gd name="connsiteX88" fmla="*/ 5274388 w 8872353"/>
              <a:gd name="connsiteY88" fmla="*/ 3558982 h 7569200"/>
              <a:gd name="connsiteX89" fmla="*/ 5320819 w 8872353"/>
              <a:gd name="connsiteY89" fmla="*/ 3585196 h 7569200"/>
              <a:gd name="connsiteX90" fmla="*/ 5546670 w 8872353"/>
              <a:gd name="connsiteY90" fmla="*/ 3500654 h 7569200"/>
              <a:gd name="connsiteX91" fmla="*/ 5846254 w 8872353"/>
              <a:gd name="connsiteY91" fmla="*/ 3388512 h 7569200"/>
              <a:gd name="connsiteX92" fmla="*/ 5955193 w 8872353"/>
              <a:gd name="connsiteY92" fmla="*/ 3376388 h 7569200"/>
              <a:gd name="connsiteX93" fmla="*/ 6179125 w 8872353"/>
              <a:gd name="connsiteY93" fmla="*/ 3249092 h 7569200"/>
              <a:gd name="connsiteX94" fmla="*/ 6209386 w 8872353"/>
              <a:gd name="connsiteY94" fmla="*/ 3358203 h 7569200"/>
              <a:gd name="connsiteX95" fmla="*/ 6493839 w 8872353"/>
              <a:gd name="connsiteY95" fmla="*/ 3164227 h 7569200"/>
              <a:gd name="connsiteX96" fmla="*/ 6723823 w 8872353"/>
              <a:gd name="connsiteY96" fmla="*/ 3085425 h 7569200"/>
              <a:gd name="connsiteX97" fmla="*/ 6766188 w 8872353"/>
              <a:gd name="connsiteY97" fmla="*/ 3061178 h 7569200"/>
              <a:gd name="connsiteX98" fmla="*/ 6705666 w 8872353"/>
              <a:gd name="connsiteY98" fmla="*/ 3018746 h 7569200"/>
              <a:gd name="connsiteX99" fmla="*/ 7032485 w 8872353"/>
              <a:gd name="connsiteY99" fmla="*/ 2818708 h 7569200"/>
              <a:gd name="connsiteX100" fmla="*/ 7068798 w 8872353"/>
              <a:gd name="connsiteY100" fmla="*/ 2897511 h 7569200"/>
              <a:gd name="connsiteX101" fmla="*/ 7141424 w 8872353"/>
              <a:gd name="connsiteY101" fmla="*/ 2745967 h 7569200"/>
              <a:gd name="connsiteX102" fmla="*/ 7189842 w 8872353"/>
              <a:gd name="connsiteY102" fmla="*/ 2758091 h 7569200"/>
              <a:gd name="connsiteX103" fmla="*/ 7165633 w 8872353"/>
              <a:gd name="connsiteY103" fmla="*/ 2970252 h 7569200"/>
              <a:gd name="connsiteX104" fmla="*/ 7086955 w 8872353"/>
              <a:gd name="connsiteY104" fmla="*/ 2921758 h 7569200"/>
              <a:gd name="connsiteX105" fmla="*/ 7093007 w 8872353"/>
              <a:gd name="connsiteY105" fmla="*/ 3012684 h 7569200"/>
              <a:gd name="connsiteX106" fmla="*/ 6838814 w 8872353"/>
              <a:gd name="connsiteY106" fmla="*/ 3121795 h 7569200"/>
              <a:gd name="connsiteX107" fmla="*/ 6893284 w 8872353"/>
              <a:gd name="connsiteY107" fmla="*/ 3139980 h 7569200"/>
              <a:gd name="connsiteX108" fmla="*/ 6711718 w 8872353"/>
              <a:gd name="connsiteY108" fmla="*/ 3303647 h 7569200"/>
              <a:gd name="connsiteX109" fmla="*/ 6651196 w 8872353"/>
              <a:gd name="connsiteY109" fmla="*/ 3285462 h 7569200"/>
              <a:gd name="connsiteX110" fmla="*/ 6521831 w 8872353"/>
              <a:gd name="connsiteY110" fmla="*/ 3386996 h 7569200"/>
              <a:gd name="connsiteX111" fmla="*/ 6435291 w 8872353"/>
              <a:gd name="connsiteY111" fmla="*/ 3451084 h 7569200"/>
              <a:gd name="connsiteX112" fmla="*/ 6467239 w 8872353"/>
              <a:gd name="connsiteY112" fmla="*/ 3441157 h 7569200"/>
              <a:gd name="connsiteX113" fmla="*/ 6763796 w 8872353"/>
              <a:gd name="connsiteY113" fmla="*/ 3386601 h 7569200"/>
              <a:gd name="connsiteX114" fmla="*/ 7024041 w 8872353"/>
              <a:gd name="connsiteY114" fmla="*/ 3289613 h 7569200"/>
              <a:gd name="connsiteX115" fmla="*/ 7187450 w 8872353"/>
              <a:gd name="connsiteY115" fmla="*/ 3289613 h 7569200"/>
              <a:gd name="connsiteX116" fmla="*/ 7822931 w 8872353"/>
              <a:gd name="connsiteY116" fmla="*/ 3035020 h 7569200"/>
              <a:gd name="connsiteX117" fmla="*/ 8058967 w 8872353"/>
              <a:gd name="connsiteY117" fmla="*/ 2992588 h 7569200"/>
              <a:gd name="connsiteX118" fmla="*/ 7659522 w 8872353"/>
              <a:gd name="connsiteY118" fmla="*/ 3235057 h 7569200"/>
              <a:gd name="connsiteX119" fmla="*/ 7477956 w 8872353"/>
              <a:gd name="connsiteY119" fmla="*/ 3404786 h 7569200"/>
              <a:gd name="connsiteX120" fmla="*/ 7441643 w 8872353"/>
              <a:gd name="connsiteY120" fmla="*/ 3429033 h 7569200"/>
              <a:gd name="connsiteX121" fmla="*/ 6993780 w 8872353"/>
              <a:gd name="connsiteY121" fmla="*/ 3683626 h 7569200"/>
              <a:gd name="connsiteX122" fmla="*/ 7677678 w 8872353"/>
              <a:gd name="connsiteY122" fmla="*/ 3477527 h 7569200"/>
              <a:gd name="connsiteX123" fmla="*/ 7538478 w 8872353"/>
              <a:gd name="connsiteY123" fmla="*/ 3580577 h 7569200"/>
              <a:gd name="connsiteX124" fmla="*/ 7544530 w 8872353"/>
              <a:gd name="connsiteY124" fmla="*/ 3598762 h 7569200"/>
              <a:gd name="connsiteX125" fmla="*/ 7683731 w 8872353"/>
              <a:gd name="connsiteY125" fmla="*/ 3580577 h 7569200"/>
              <a:gd name="connsiteX126" fmla="*/ 7689783 w 8872353"/>
              <a:gd name="connsiteY126" fmla="*/ 3598762 h 7569200"/>
              <a:gd name="connsiteX127" fmla="*/ 7375068 w 8872353"/>
              <a:gd name="connsiteY127" fmla="*/ 3780614 h 7569200"/>
              <a:gd name="connsiteX128" fmla="*/ 7508217 w 8872353"/>
              <a:gd name="connsiteY128" fmla="*/ 3810923 h 7569200"/>
              <a:gd name="connsiteX129" fmla="*/ 7695835 w 8872353"/>
              <a:gd name="connsiteY129" fmla="*/ 3671503 h 7569200"/>
              <a:gd name="connsiteX130" fmla="*/ 7865297 w 8872353"/>
              <a:gd name="connsiteY130" fmla="*/ 3629070 h 7569200"/>
              <a:gd name="connsiteX131" fmla="*/ 8198167 w 8872353"/>
              <a:gd name="connsiteY131" fmla="*/ 3453280 h 7569200"/>
              <a:gd name="connsiteX132" fmla="*/ 8149749 w 8872353"/>
              <a:gd name="connsiteY132" fmla="*/ 3562391 h 7569200"/>
              <a:gd name="connsiteX133" fmla="*/ 8428151 w 8872353"/>
              <a:gd name="connsiteY133" fmla="*/ 3435095 h 7569200"/>
              <a:gd name="connsiteX134" fmla="*/ 8434203 w 8872353"/>
              <a:gd name="connsiteY134" fmla="*/ 3447218 h 7569200"/>
              <a:gd name="connsiteX135" fmla="*/ 7871349 w 8872353"/>
              <a:gd name="connsiteY135" fmla="*/ 3847293 h 7569200"/>
              <a:gd name="connsiteX136" fmla="*/ 7869647 w 8872353"/>
              <a:gd name="connsiteY136" fmla="*/ 3846441 h 7569200"/>
              <a:gd name="connsiteX137" fmla="*/ 7870478 w 8872353"/>
              <a:gd name="connsiteY137" fmla="*/ 3847968 h 7569200"/>
              <a:gd name="connsiteX138" fmla="*/ 7630774 w 8872353"/>
              <a:gd name="connsiteY138" fmla="*/ 4033691 h 7569200"/>
              <a:gd name="connsiteX139" fmla="*/ 7399277 w 8872353"/>
              <a:gd name="connsiteY139" fmla="*/ 4229183 h 7569200"/>
              <a:gd name="connsiteX140" fmla="*/ 6902997 w 8872353"/>
              <a:gd name="connsiteY140" fmla="*/ 4659566 h 7569200"/>
              <a:gd name="connsiteX141" fmla="*/ 6340142 w 8872353"/>
              <a:gd name="connsiteY141" fmla="*/ 5156629 h 7569200"/>
              <a:gd name="connsiteX142" fmla="*/ 6328038 w 8872353"/>
              <a:gd name="connsiteY142" fmla="*/ 5199061 h 7569200"/>
              <a:gd name="connsiteX143" fmla="*/ 6370403 w 8872353"/>
              <a:gd name="connsiteY143" fmla="*/ 5192999 h 7569200"/>
              <a:gd name="connsiteX144" fmla="*/ 6673013 w 8872353"/>
              <a:gd name="connsiteY144" fmla="*/ 5138443 h 7569200"/>
              <a:gd name="connsiteX145" fmla="*/ 6757744 w 8872353"/>
              <a:gd name="connsiteY145" fmla="*/ 5077826 h 7569200"/>
              <a:gd name="connsiteX146" fmla="*/ 6794057 w 8872353"/>
              <a:gd name="connsiteY146" fmla="*/ 5168752 h 7569200"/>
              <a:gd name="connsiteX147" fmla="*/ 6545917 w 8872353"/>
              <a:gd name="connsiteY147" fmla="*/ 5277863 h 7569200"/>
              <a:gd name="connsiteX148" fmla="*/ 6297777 w 8872353"/>
              <a:gd name="connsiteY148" fmla="*/ 5435468 h 7569200"/>
              <a:gd name="connsiteX149" fmla="*/ 6279620 w 8872353"/>
              <a:gd name="connsiteY149" fmla="*/ 5490024 h 7569200"/>
              <a:gd name="connsiteX150" fmla="*/ 6164629 w 8872353"/>
              <a:gd name="connsiteY150" fmla="*/ 5593074 h 7569200"/>
              <a:gd name="connsiteX151" fmla="*/ 5880175 w 8872353"/>
              <a:gd name="connsiteY151" fmla="*/ 5635506 h 7569200"/>
              <a:gd name="connsiteX152" fmla="*/ 5595722 w 8872353"/>
              <a:gd name="connsiteY152" fmla="*/ 5829481 h 7569200"/>
              <a:gd name="connsiteX153" fmla="*/ 5668348 w 8872353"/>
              <a:gd name="connsiteY153" fmla="*/ 5744617 h 7569200"/>
              <a:gd name="connsiteX154" fmla="*/ 5474678 w 8872353"/>
              <a:gd name="connsiteY154" fmla="*/ 5799173 h 7569200"/>
              <a:gd name="connsiteX155" fmla="*/ 5529148 w 8872353"/>
              <a:gd name="connsiteY155" fmla="*/ 5871913 h 7569200"/>
              <a:gd name="connsiteX156" fmla="*/ 4058463 w 8872353"/>
              <a:gd name="connsiteY156" fmla="*/ 6465964 h 7569200"/>
              <a:gd name="connsiteX157" fmla="*/ 4070568 w 8872353"/>
              <a:gd name="connsiteY157" fmla="*/ 6496272 h 7569200"/>
              <a:gd name="connsiteX158" fmla="*/ 5383895 w 8872353"/>
              <a:gd name="connsiteY158" fmla="*/ 6065889 h 7569200"/>
              <a:gd name="connsiteX159" fmla="*/ 5281008 w 8872353"/>
              <a:gd name="connsiteY159" fmla="*/ 6035580 h 7569200"/>
              <a:gd name="connsiteX160" fmla="*/ 5438365 w 8872353"/>
              <a:gd name="connsiteY160" fmla="*/ 6005272 h 7569200"/>
              <a:gd name="connsiteX161" fmla="*/ 5589670 w 8872353"/>
              <a:gd name="connsiteY161" fmla="*/ 5962840 h 7569200"/>
              <a:gd name="connsiteX162" fmla="*/ 6079898 w 8872353"/>
              <a:gd name="connsiteY162" fmla="*/ 5756740 h 7569200"/>
              <a:gd name="connsiteX163" fmla="*/ 5813601 w 8872353"/>
              <a:gd name="connsiteY163" fmla="*/ 6053766 h 7569200"/>
              <a:gd name="connsiteX164" fmla="*/ 5317321 w 8872353"/>
              <a:gd name="connsiteY164" fmla="*/ 6259865 h 7569200"/>
              <a:gd name="connsiteX165" fmla="*/ 4748414 w 8872353"/>
              <a:gd name="connsiteY165" fmla="*/ 6441717 h 7569200"/>
              <a:gd name="connsiteX166" fmla="*/ 4585005 w 8872353"/>
              <a:gd name="connsiteY166" fmla="*/ 6544766 h 7569200"/>
              <a:gd name="connsiteX167" fmla="*/ 4687892 w 8872353"/>
              <a:gd name="connsiteY167" fmla="*/ 6569013 h 7569200"/>
              <a:gd name="connsiteX168" fmla="*/ 4687892 w 8872353"/>
              <a:gd name="connsiteY168" fmla="*/ 6666001 h 7569200"/>
              <a:gd name="connsiteX169" fmla="*/ 4742362 w 8872353"/>
              <a:gd name="connsiteY169" fmla="*/ 6599322 h 7569200"/>
              <a:gd name="connsiteX170" fmla="*/ 4808936 w 8872353"/>
              <a:gd name="connsiteY170" fmla="*/ 6508396 h 7569200"/>
              <a:gd name="connsiteX171" fmla="*/ 5408104 w 8872353"/>
              <a:gd name="connsiteY171" fmla="*/ 6284112 h 7569200"/>
              <a:gd name="connsiteX172" fmla="*/ 5517043 w 8872353"/>
              <a:gd name="connsiteY172" fmla="*/ 6271988 h 7569200"/>
              <a:gd name="connsiteX173" fmla="*/ 5740975 w 8872353"/>
              <a:gd name="connsiteY173" fmla="*/ 6144692 h 7569200"/>
              <a:gd name="connsiteX174" fmla="*/ 5771236 w 8872353"/>
              <a:gd name="connsiteY174" fmla="*/ 6253803 h 7569200"/>
              <a:gd name="connsiteX175" fmla="*/ 6055689 w 8872353"/>
              <a:gd name="connsiteY175" fmla="*/ 6059827 h 7569200"/>
              <a:gd name="connsiteX176" fmla="*/ 6285673 w 8872353"/>
              <a:gd name="connsiteY176" fmla="*/ 5981025 h 7569200"/>
              <a:gd name="connsiteX177" fmla="*/ 6328038 w 8872353"/>
              <a:gd name="connsiteY177" fmla="*/ 5956778 h 7569200"/>
              <a:gd name="connsiteX178" fmla="*/ 6267516 w 8872353"/>
              <a:gd name="connsiteY178" fmla="*/ 5914346 h 7569200"/>
              <a:gd name="connsiteX179" fmla="*/ 6594335 w 8872353"/>
              <a:gd name="connsiteY179" fmla="*/ 5714308 h 7569200"/>
              <a:gd name="connsiteX180" fmla="*/ 6630648 w 8872353"/>
              <a:gd name="connsiteY180" fmla="*/ 5793111 h 7569200"/>
              <a:gd name="connsiteX181" fmla="*/ 6703274 w 8872353"/>
              <a:gd name="connsiteY181" fmla="*/ 5641567 h 7569200"/>
              <a:gd name="connsiteX182" fmla="*/ 6751692 w 8872353"/>
              <a:gd name="connsiteY182" fmla="*/ 5653691 h 7569200"/>
              <a:gd name="connsiteX183" fmla="*/ 6727483 w 8872353"/>
              <a:gd name="connsiteY183" fmla="*/ 5865852 h 7569200"/>
              <a:gd name="connsiteX184" fmla="*/ 6648805 w 8872353"/>
              <a:gd name="connsiteY184" fmla="*/ 5817358 h 7569200"/>
              <a:gd name="connsiteX185" fmla="*/ 6654857 w 8872353"/>
              <a:gd name="connsiteY185" fmla="*/ 5908284 h 7569200"/>
              <a:gd name="connsiteX186" fmla="*/ 6400664 w 8872353"/>
              <a:gd name="connsiteY186" fmla="*/ 6017395 h 7569200"/>
              <a:gd name="connsiteX187" fmla="*/ 6455134 w 8872353"/>
              <a:gd name="connsiteY187" fmla="*/ 6035580 h 7569200"/>
              <a:gd name="connsiteX188" fmla="*/ 6273568 w 8872353"/>
              <a:gd name="connsiteY188" fmla="*/ 6199247 h 7569200"/>
              <a:gd name="connsiteX189" fmla="*/ 6213046 w 8872353"/>
              <a:gd name="connsiteY189" fmla="*/ 6181062 h 7569200"/>
              <a:gd name="connsiteX190" fmla="*/ 5958854 w 8872353"/>
              <a:gd name="connsiteY190" fmla="*/ 6375038 h 7569200"/>
              <a:gd name="connsiteX191" fmla="*/ 5862019 w 8872353"/>
              <a:gd name="connsiteY191" fmla="*/ 6417470 h 7569200"/>
              <a:gd name="connsiteX192" fmla="*/ 5801497 w 8872353"/>
              <a:gd name="connsiteY192" fmla="*/ 6490211 h 7569200"/>
              <a:gd name="connsiteX193" fmla="*/ 5523096 w 8872353"/>
              <a:gd name="connsiteY193" fmla="*/ 6587199 h 7569200"/>
              <a:gd name="connsiteX194" fmla="*/ 5498887 w 8872353"/>
              <a:gd name="connsiteY194" fmla="*/ 6593260 h 7569200"/>
              <a:gd name="connsiteX195" fmla="*/ 5353634 w 8872353"/>
              <a:gd name="connsiteY195" fmla="*/ 6714495 h 7569200"/>
              <a:gd name="connsiteX196" fmla="*/ 5383895 w 8872353"/>
              <a:gd name="connsiteY196" fmla="*/ 6769051 h 7569200"/>
              <a:gd name="connsiteX197" fmla="*/ 5202329 w 8872353"/>
              <a:gd name="connsiteY197" fmla="*/ 6805421 h 7569200"/>
              <a:gd name="connsiteX198" fmla="*/ 5159964 w 8872353"/>
              <a:gd name="connsiteY198" fmla="*/ 6884224 h 7569200"/>
              <a:gd name="connsiteX199" fmla="*/ 4645527 w 8872353"/>
              <a:gd name="connsiteY199" fmla="*/ 7072138 h 7569200"/>
              <a:gd name="connsiteX200" fmla="*/ 4415543 w 8872353"/>
              <a:gd name="connsiteY200" fmla="*/ 7169126 h 7569200"/>
              <a:gd name="connsiteX201" fmla="*/ 3876898 w 8872353"/>
              <a:gd name="connsiteY201" fmla="*/ 7332792 h 7569200"/>
              <a:gd name="connsiteX202" fmla="*/ 3162738 w 8872353"/>
              <a:gd name="connsiteY202" fmla="*/ 7496459 h 7569200"/>
              <a:gd name="connsiteX203" fmla="*/ 3053798 w 8872353"/>
              <a:gd name="connsiteY203" fmla="*/ 7502521 h 7569200"/>
              <a:gd name="connsiteX204" fmla="*/ 2823815 w 8872353"/>
              <a:gd name="connsiteY204" fmla="*/ 7490398 h 7569200"/>
              <a:gd name="connsiteX205" fmla="*/ 2605936 w 8872353"/>
              <a:gd name="connsiteY205" fmla="*/ 7496459 h 7569200"/>
              <a:gd name="connsiteX206" fmla="*/ 2339639 w 8872353"/>
              <a:gd name="connsiteY206" fmla="*/ 7551015 h 7569200"/>
              <a:gd name="connsiteX207" fmla="*/ 2273065 w 8872353"/>
              <a:gd name="connsiteY207" fmla="*/ 7508583 h 7569200"/>
              <a:gd name="connsiteX208" fmla="*/ 2152021 w 8872353"/>
              <a:gd name="connsiteY208" fmla="*/ 7569200 h 7569200"/>
              <a:gd name="connsiteX209" fmla="*/ 2176229 w 8872353"/>
              <a:gd name="connsiteY209" fmla="*/ 7435842 h 7569200"/>
              <a:gd name="connsiteX210" fmla="*/ 2127812 w 8872353"/>
              <a:gd name="connsiteY210" fmla="*/ 7393410 h 7569200"/>
              <a:gd name="connsiteX211" fmla="*/ 2158073 w 8872353"/>
              <a:gd name="connsiteY211" fmla="*/ 7369163 h 7569200"/>
              <a:gd name="connsiteX212" fmla="*/ 2363848 w 8872353"/>
              <a:gd name="connsiteY212" fmla="*/ 7278237 h 7569200"/>
              <a:gd name="connsiteX213" fmla="*/ 2406213 w 8872353"/>
              <a:gd name="connsiteY213" fmla="*/ 7266113 h 7569200"/>
              <a:gd name="connsiteX214" fmla="*/ 2884337 w 8872353"/>
              <a:gd name="connsiteY214" fmla="*/ 7217619 h 7569200"/>
              <a:gd name="connsiteX215" fmla="*/ 2878285 w 8872353"/>
              <a:gd name="connsiteY215" fmla="*/ 7187311 h 7569200"/>
              <a:gd name="connsiteX216" fmla="*/ 2593831 w 8872353"/>
              <a:gd name="connsiteY216" fmla="*/ 7247928 h 7569200"/>
              <a:gd name="connsiteX217" fmla="*/ 2775397 w 8872353"/>
              <a:gd name="connsiteY217" fmla="*/ 7096385 h 7569200"/>
              <a:gd name="connsiteX218" fmla="*/ 2545414 w 8872353"/>
              <a:gd name="connsiteY218" fmla="*/ 7181249 h 7569200"/>
              <a:gd name="connsiteX219" fmla="*/ 2254908 w 8872353"/>
              <a:gd name="connsiteY219" fmla="*/ 7199434 h 7569200"/>
              <a:gd name="connsiteX220" fmla="*/ 1994664 w 8872353"/>
              <a:gd name="connsiteY220" fmla="*/ 7272175 h 7569200"/>
              <a:gd name="connsiteX221" fmla="*/ 1976507 w 8872353"/>
              <a:gd name="connsiteY221" fmla="*/ 7193372 h 7569200"/>
              <a:gd name="connsiteX222" fmla="*/ 1649688 w 8872353"/>
              <a:gd name="connsiteY222" fmla="*/ 7247928 h 7569200"/>
              <a:gd name="connsiteX223" fmla="*/ 1643636 w 8872353"/>
              <a:gd name="connsiteY223" fmla="*/ 7223681 h 7569200"/>
              <a:gd name="connsiteX224" fmla="*/ 1692054 w 8872353"/>
              <a:gd name="connsiteY224" fmla="*/ 7205496 h 7569200"/>
              <a:gd name="connsiteX225" fmla="*/ 1643636 w 8872353"/>
              <a:gd name="connsiteY225" fmla="*/ 7169126 h 7569200"/>
              <a:gd name="connsiteX226" fmla="*/ 1649688 w 8872353"/>
              <a:gd name="connsiteY226" fmla="*/ 7138817 h 7569200"/>
              <a:gd name="connsiteX227" fmla="*/ 1843359 w 8872353"/>
              <a:gd name="connsiteY227" fmla="*/ 7126693 h 7569200"/>
              <a:gd name="connsiteX228" fmla="*/ 1831254 w 8872353"/>
              <a:gd name="connsiteY228" fmla="*/ 7163064 h 7569200"/>
              <a:gd name="connsiteX229" fmla="*/ 1879672 w 8872353"/>
              <a:gd name="connsiteY229" fmla="*/ 7163064 h 7569200"/>
              <a:gd name="connsiteX230" fmla="*/ 2133864 w 8872353"/>
              <a:gd name="connsiteY230" fmla="*/ 7041829 h 7569200"/>
              <a:gd name="connsiteX231" fmla="*/ 2158073 w 8872353"/>
              <a:gd name="connsiteY231" fmla="*/ 6987273 h 7569200"/>
              <a:gd name="connsiteX232" fmla="*/ 2254908 w 8872353"/>
              <a:gd name="connsiteY232" fmla="*/ 7047891 h 7569200"/>
              <a:gd name="connsiteX233" fmla="*/ 2351743 w 8872353"/>
              <a:gd name="connsiteY233" fmla="*/ 6969088 h 7569200"/>
              <a:gd name="connsiteX234" fmla="*/ 2333587 w 8872353"/>
              <a:gd name="connsiteY234" fmla="*/ 6878162 h 7569200"/>
              <a:gd name="connsiteX235" fmla="*/ 2200438 w 8872353"/>
              <a:gd name="connsiteY235" fmla="*/ 6853915 h 7569200"/>
              <a:gd name="connsiteX236" fmla="*/ 1849411 w 8872353"/>
              <a:gd name="connsiteY236" fmla="*/ 6926656 h 7569200"/>
              <a:gd name="connsiteX237" fmla="*/ 1770732 w 8872353"/>
              <a:gd name="connsiteY237" fmla="*/ 6914532 h 7569200"/>
              <a:gd name="connsiteX238" fmla="*/ 1474174 w 8872353"/>
              <a:gd name="connsiteY238" fmla="*/ 6920594 h 7569200"/>
              <a:gd name="connsiteX239" fmla="*/ 1165512 w 8872353"/>
              <a:gd name="connsiteY239" fmla="*/ 7066076 h 7569200"/>
              <a:gd name="connsiteX240" fmla="*/ 1153408 w 8872353"/>
              <a:gd name="connsiteY240" fmla="*/ 7041829 h 7569200"/>
              <a:gd name="connsiteX241" fmla="*/ 1492331 w 8872353"/>
              <a:gd name="connsiteY241" fmla="*/ 6817545 h 7569200"/>
              <a:gd name="connsiteX242" fmla="*/ 1510488 w 8872353"/>
              <a:gd name="connsiteY242" fmla="*/ 6847853 h 7569200"/>
              <a:gd name="connsiteX243" fmla="*/ 1522592 w 8872353"/>
              <a:gd name="connsiteY243" fmla="*/ 6775112 h 7569200"/>
              <a:gd name="connsiteX244" fmla="*/ 1135251 w 8872353"/>
              <a:gd name="connsiteY244" fmla="*/ 6756927 h 7569200"/>
              <a:gd name="connsiteX245" fmla="*/ 977894 w 8872353"/>
              <a:gd name="connsiteY245" fmla="*/ 6684186 h 7569200"/>
              <a:gd name="connsiteX246" fmla="*/ 747911 w 8872353"/>
              <a:gd name="connsiteY246" fmla="*/ 6550828 h 7569200"/>
              <a:gd name="connsiteX247" fmla="*/ 620814 w 8872353"/>
              <a:gd name="connsiteY247" fmla="*/ 6508396 h 7569200"/>
              <a:gd name="connsiteX248" fmla="*/ 457405 w 8872353"/>
              <a:gd name="connsiteY248" fmla="*/ 6338667 h 7569200"/>
              <a:gd name="connsiteX249" fmla="*/ 366622 w 8872353"/>
              <a:gd name="connsiteY249" fmla="*/ 6217433 h 7569200"/>
              <a:gd name="connsiteX250" fmla="*/ 27699 w 8872353"/>
              <a:gd name="connsiteY250" fmla="*/ 6259865 h 7569200"/>
              <a:gd name="connsiteX251" fmla="*/ 64012 w 8872353"/>
              <a:gd name="connsiteY251" fmla="*/ 6144692 h 7569200"/>
              <a:gd name="connsiteX252" fmla="*/ 669232 w 8872353"/>
              <a:gd name="connsiteY252" fmla="*/ 5774926 h 7569200"/>
              <a:gd name="connsiteX253" fmla="*/ 1528644 w 8872353"/>
              <a:gd name="connsiteY253" fmla="*/ 5089950 h 7569200"/>
              <a:gd name="connsiteX254" fmla="*/ 2032266 w 8872353"/>
              <a:gd name="connsiteY254" fmla="*/ 4424520 h 7569200"/>
              <a:gd name="connsiteX255" fmla="*/ 2087482 w 8872353"/>
              <a:gd name="connsiteY255" fmla="*/ 4346613 h 7569200"/>
              <a:gd name="connsiteX256" fmla="*/ 2087082 w 8872353"/>
              <a:gd name="connsiteY256" fmla="*/ 4340205 h 7569200"/>
              <a:gd name="connsiteX257" fmla="*/ 2081786 w 8872353"/>
              <a:gd name="connsiteY257" fmla="*/ 4328081 h 7569200"/>
              <a:gd name="connsiteX258" fmla="*/ 2105995 w 8872353"/>
              <a:gd name="connsiteY258" fmla="*/ 4318989 h 7569200"/>
              <a:gd name="connsiteX259" fmla="*/ 2107447 w 8872353"/>
              <a:gd name="connsiteY259" fmla="*/ 4318444 h 7569200"/>
              <a:gd name="connsiteX260" fmla="*/ 2119307 w 8872353"/>
              <a:gd name="connsiteY260" fmla="*/ 4301710 h 7569200"/>
              <a:gd name="connsiteX261" fmla="*/ 2105995 w 8872353"/>
              <a:gd name="connsiteY261" fmla="*/ 4291711 h 7569200"/>
              <a:gd name="connsiteX262" fmla="*/ 2081786 w 8872353"/>
              <a:gd name="connsiteY262" fmla="*/ 4273526 h 7569200"/>
              <a:gd name="connsiteX263" fmla="*/ 2087838 w 8872353"/>
              <a:gd name="connsiteY263" fmla="*/ 4243217 h 7569200"/>
              <a:gd name="connsiteX264" fmla="*/ 2168881 w 8872353"/>
              <a:gd name="connsiteY264" fmla="*/ 4240119 h 7569200"/>
              <a:gd name="connsiteX265" fmla="*/ 2235700 w 8872353"/>
              <a:gd name="connsiteY265" fmla="*/ 4160337 h 7569200"/>
              <a:gd name="connsiteX266" fmla="*/ 2351743 w 8872353"/>
              <a:gd name="connsiteY266" fmla="*/ 4053392 h 7569200"/>
              <a:gd name="connsiteX267" fmla="*/ 2429170 w 8872353"/>
              <a:gd name="connsiteY267" fmla="*/ 4002086 h 7569200"/>
              <a:gd name="connsiteX268" fmla="*/ 2287561 w 8872353"/>
              <a:gd name="connsiteY268" fmla="*/ 4031056 h 7569200"/>
              <a:gd name="connsiteX269" fmla="*/ 2208882 w 8872353"/>
              <a:gd name="connsiteY269" fmla="*/ 4018932 h 7569200"/>
              <a:gd name="connsiteX270" fmla="*/ 1912324 w 8872353"/>
              <a:gd name="connsiteY270" fmla="*/ 4024994 h 7569200"/>
              <a:gd name="connsiteX271" fmla="*/ 1603662 w 8872353"/>
              <a:gd name="connsiteY271" fmla="*/ 4170476 h 7569200"/>
              <a:gd name="connsiteX272" fmla="*/ 1591558 w 8872353"/>
              <a:gd name="connsiteY272" fmla="*/ 4146229 h 7569200"/>
              <a:gd name="connsiteX273" fmla="*/ 1930481 w 8872353"/>
              <a:gd name="connsiteY273" fmla="*/ 3921945 h 7569200"/>
              <a:gd name="connsiteX274" fmla="*/ 1948638 w 8872353"/>
              <a:gd name="connsiteY274" fmla="*/ 3952253 h 7569200"/>
              <a:gd name="connsiteX275" fmla="*/ 1960742 w 8872353"/>
              <a:gd name="connsiteY275" fmla="*/ 3879512 h 7569200"/>
              <a:gd name="connsiteX276" fmla="*/ 1573401 w 8872353"/>
              <a:gd name="connsiteY276" fmla="*/ 3861327 h 7569200"/>
              <a:gd name="connsiteX277" fmla="*/ 1416044 w 8872353"/>
              <a:gd name="connsiteY277" fmla="*/ 3788586 h 7569200"/>
              <a:gd name="connsiteX278" fmla="*/ 1186061 w 8872353"/>
              <a:gd name="connsiteY278" fmla="*/ 3655228 h 7569200"/>
              <a:gd name="connsiteX279" fmla="*/ 1058964 w 8872353"/>
              <a:gd name="connsiteY279" fmla="*/ 3612796 h 7569200"/>
              <a:gd name="connsiteX280" fmla="*/ 895555 w 8872353"/>
              <a:gd name="connsiteY280" fmla="*/ 3443067 h 7569200"/>
              <a:gd name="connsiteX281" fmla="*/ 804772 w 8872353"/>
              <a:gd name="connsiteY281" fmla="*/ 3321833 h 7569200"/>
              <a:gd name="connsiteX282" fmla="*/ 465849 w 8872353"/>
              <a:gd name="connsiteY282" fmla="*/ 3364265 h 7569200"/>
              <a:gd name="connsiteX283" fmla="*/ 502162 w 8872353"/>
              <a:gd name="connsiteY283" fmla="*/ 3249092 h 7569200"/>
              <a:gd name="connsiteX284" fmla="*/ 1107382 w 8872353"/>
              <a:gd name="connsiteY284" fmla="*/ 2879326 h 7569200"/>
              <a:gd name="connsiteX285" fmla="*/ 1966794 w 8872353"/>
              <a:gd name="connsiteY285" fmla="*/ 2194350 h 7569200"/>
              <a:gd name="connsiteX286" fmla="*/ 2789893 w 8872353"/>
              <a:gd name="connsiteY286" fmla="*/ 1157792 h 7569200"/>
              <a:gd name="connsiteX287" fmla="*/ 4060855 w 8872353"/>
              <a:gd name="connsiteY287" fmla="*/ 563742 h 7569200"/>
              <a:gd name="connsiteX288" fmla="*/ 4660023 w 8872353"/>
              <a:gd name="connsiteY288" fmla="*/ 78803 h 7569200"/>
              <a:gd name="connsiteX289" fmla="*/ 4787119 w 8872353"/>
              <a:gd name="connsiteY289" fmla="*/ 66679 h 7569200"/>
              <a:gd name="connsiteX290" fmla="*/ 5004998 w 8872353"/>
              <a:gd name="connsiteY290" fmla="*/ 0 h 756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Lst>
            <a:rect l="l" t="t" r="r" b="b"/>
            <a:pathLst>
              <a:path w="8872353" h="7569200">
                <a:moveTo>
                  <a:pt x="7871349" y="3847293"/>
                </a:moveTo>
                <a:cubicBezTo>
                  <a:pt x="7874375" y="3853355"/>
                  <a:pt x="7872862" y="3851839"/>
                  <a:pt x="7871349" y="3849566"/>
                </a:cubicBezTo>
                <a:lnTo>
                  <a:pt x="7870478" y="3847968"/>
                </a:lnTo>
                <a:close/>
                <a:moveTo>
                  <a:pt x="5063358" y="3280595"/>
                </a:moveTo>
                <a:lnTo>
                  <a:pt x="5023651" y="3295561"/>
                </a:lnTo>
                <a:lnTo>
                  <a:pt x="4972569" y="3317750"/>
                </a:lnTo>
                <a:lnTo>
                  <a:pt x="4972345" y="3319922"/>
                </a:lnTo>
                <a:cubicBezTo>
                  <a:pt x="4990502" y="3333561"/>
                  <a:pt x="5012063" y="3354019"/>
                  <a:pt x="5044688" y="3386412"/>
                </a:cubicBezTo>
                <a:lnTo>
                  <a:pt x="5075321" y="3417013"/>
                </a:lnTo>
                <a:lnTo>
                  <a:pt x="5079988" y="3415500"/>
                </a:lnTo>
                <a:lnTo>
                  <a:pt x="5073342" y="3377224"/>
                </a:lnTo>
                <a:cubicBezTo>
                  <a:pt x="5071072" y="3363301"/>
                  <a:pt x="5069181" y="3350609"/>
                  <a:pt x="5067668" y="3338865"/>
                </a:cubicBezTo>
                <a:close/>
                <a:moveTo>
                  <a:pt x="8309499" y="951693"/>
                </a:moveTo>
                <a:cubicBezTo>
                  <a:pt x="8312525" y="957755"/>
                  <a:pt x="8311012" y="956239"/>
                  <a:pt x="8309499" y="953966"/>
                </a:cubicBezTo>
                <a:lnTo>
                  <a:pt x="8308628" y="952368"/>
                </a:lnTo>
                <a:close/>
                <a:moveTo>
                  <a:pt x="5004998" y="0"/>
                </a:moveTo>
                <a:cubicBezTo>
                  <a:pt x="5017102" y="6062"/>
                  <a:pt x="5041311" y="30309"/>
                  <a:pt x="5077624" y="54556"/>
                </a:cubicBezTo>
                <a:cubicBezTo>
                  <a:pt x="5004998" y="90926"/>
                  <a:pt x="4926320" y="121235"/>
                  <a:pt x="4962633" y="200038"/>
                </a:cubicBezTo>
                <a:cubicBezTo>
                  <a:pt x="5126042" y="212161"/>
                  <a:pt x="5271295" y="230346"/>
                  <a:pt x="5428652" y="248531"/>
                </a:cubicBezTo>
                <a:cubicBezTo>
                  <a:pt x="5422600" y="309149"/>
                  <a:pt x="5416548" y="363704"/>
                  <a:pt x="5410495" y="424322"/>
                </a:cubicBezTo>
                <a:cubicBezTo>
                  <a:pt x="5434704" y="442507"/>
                  <a:pt x="5464965" y="472816"/>
                  <a:pt x="5519435" y="527371"/>
                </a:cubicBezTo>
                <a:cubicBezTo>
                  <a:pt x="5507331" y="460692"/>
                  <a:pt x="5501278" y="418260"/>
                  <a:pt x="5501278" y="381890"/>
                </a:cubicBezTo>
                <a:cubicBezTo>
                  <a:pt x="5507331" y="375828"/>
                  <a:pt x="5513383" y="375828"/>
                  <a:pt x="5519435" y="375828"/>
                </a:cubicBezTo>
                <a:cubicBezTo>
                  <a:pt x="5543644" y="448569"/>
                  <a:pt x="5573905" y="527371"/>
                  <a:pt x="5604166" y="606174"/>
                </a:cubicBezTo>
                <a:cubicBezTo>
                  <a:pt x="5616270" y="581927"/>
                  <a:pt x="5640479" y="557680"/>
                  <a:pt x="5676792" y="503124"/>
                </a:cubicBezTo>
                <a:cubicBezTo>
                  <a:pt x="5640479" y="624359"/>
                  <a:pt x="5688897" y="654668"/>
                  <a:pt x="5761523" y="691038"/>
                </a:cubicBezTo>
                <a:cubicBezTo>
                  <a:pt x="5809941" y="715285"/>
                  <a:pt x="5846254" y="763779"/>
                  <a:pt x="5906776" y="824396"/>
                </a:cubicBezTo>
                <a:cubicBezTo>
                  <a:pt x="5858358" y="812273"/>
                  <a:pt x="5846254" y="812273"/>
                  <a:pt x="5815993" y="806211"/>
                </a:cubicBezTo>
                <a:cubicBezTo>
                  <a:pt x="5828097" y="824396"/>
                  <a:pt x="5834149" y="842582"/>
                  <a:pt x="5840202" y="842582"/>
                </a:cubicBezTo>
                <a:cubicBezTo>
                  <a:pt x="5876515" y="848643"/>
                  <a:pt x="5918880" y="854705"/>
                  <a:pt x="5949141" y="848643"/>
                </a:cubicBezTo>
                <a:cubicBezTo>
                  <a:pt x="6263855" y="745594"/>
                  <a:pt x="6584622" y="642544"/>
                  <a:pt x="6905389" y="545557"/>
                </a:cubicBezTo>
                <a:cubicBezTo>
                  <a:pt x="7002224" y="515248"/>
                  <a:pt x="7105111" y="515248"/>
                  <a:pt x="7201946" y="491001"/>
                </a:cubicBezTo>
                <a:cubicBezTo>
                  <a:pt x="7292729" y="460692"/>
                  <a:pt x="7377460" y="418260"/>
                  <a:pt x="7462191" y="394013"/>
                </a:cubicBezTo>
                <a:cubicBezTo>
                  <a:pt x="7516661" y="394013"/>
                  <a:pt x="7577183" y="412198"/>
                  <a:pt x="7625600" y="394013"/>
                </a:cubicBezTo>
                <a:cubicBezTo>
                  <a:pt x="7837427" y="315211"/>
                  <a:pt x="8049254" y="224284"/>
                  <a:pt x="8261081" y="139420"/>
                </a:cubicBezTo>
                <a:cubicBezTo>
                  <a:pt x="8333707" y="109111"/>
                  <a:pt x="8412386" y="96988"/>
                  <a:pt x="8497117" y="96988"/>
                </a:cubicBezTo>
                <a:cubicBezTo>
                  <a:pt x="8363969" y="175791"/>
                  <a:pt x="8224767" y="254593"/>
                  <a:pt x="8097672" y="339457"/>
                </a:cubicBezTo>
                <a:cubicBezTo>
                  <a:pt x="8031098" y="387951"/>
                  <a:pt x="7910054" y="381890"/>
                  <a:pt x="7916106" y="509186"/>
                </a:cubicBezTo>
                <a:cubicBezTo>
                  <a:pt x="7916106" y="521310"/>
                  <a:pt x="7891897" y="533433"/>
                  <a:pt x="7879793" y="533433"/>
                </a:cubicBezTo>
                <a:cubicBezTo>
                  <a:pt x="7710331" y="581927"/>
                  <a:pt x="7577183" y="691038"/>
                  <a:pt x="7431930" y="788026"/>
                </a:cubicBezTo>
                <a:cubicBezTo>
                  <a:pt x="7674018" y="769841"/>
                  <a:pt x="7861636" y="563742"/>
                  <a:pt x="8115828" y="581927"/>
                </a:cubicBezTo>
                <a:cubicBezTo>
                  <a:pt x="8067411" y="618297"/>
                  <a:pt x="8018993" y="648606"/>
                  <a:pt x="7976628" y="684977"/>
                </a:cubicBezTo>
                <a:cubicBezTo>
                  <a:pt x="7976628" y="691038"/>
                  <a:pt x="7976628" y="697100"/>
                  <a:pt x="7982680" y="703162"/>
                </a:cubicBezTo>
                <a:cubicBezTo>
                  <a:pt x="8031098" y="697100"/>
                  <a:pt x="8073463" y="691038"/>
                  <a:pt x="8121881" y="684977"/>
                </a:cubicBezTo>
                <a:cubicBezTo>
                  <a:pt x="8121881" y="691038"/>
                  <a:pt x="8127933" y="697100"/>
                  <a:pt x="8127933" y="703162"/>
                </a:cubicBezTo>
                <a:cubicBezTo>
                  <a:pt x="8031098" y="763779"/>
                  <a:pt x="7928210" y="824396"/>
                  <a:pt x="7813218" y="885014"/>
                </a:cubicBezTo>
                <a:cubicBezTo>
                  <a:pt x="7867688" y="897137"/>
                  <a:pt x="7904001" y="909261"/>
                  <a:pt x="7946367" y="915323"/>
                </a:cubicBezTo>
                <a:cubicBezTo>
                  <a:pt x="7940315" y="860767"/>
                  <a:pt x="8067411" y="745594"/>
                  <a:pt x="8133985" y="775903"/>
                </a:cubicBezTo>
                <a:cubicBezTo>
                  <a:pt x="8212663" y="800150"/>
                  <a:pt x="8248977" y="757717"/>
                  <a:pt x="8303447" y="733470"/>
                </a:cubicBezTo>
                <a:cubicBezTo>
                  <a:pt x="8406333" y="678915"/>
                  <a:pt x="8509221" y="624359"/>
                  <a:pt x="8636317" y="557680"/>
                </a:cubicBezTo>
                <a:cubicBezTo>
                  <a:pt x="8612109" y="606174"/>
                  <a:pt x="8600004" y="630421"/>
                  <a:pt x="8587899" y="666791"/>
                </a:cubicBezTo>
                <a:cubicBezTo>
                  <a:pt x="8684735" y="624359"/>
                  <a:pt x="8775518" y="581927"/>
                  <a:pt x="8866301" y="539495"/>
                </a:cubicBezTo>
                <a:cubicBezTo>
                  <a:pt x="8866301" y="545557"/>
                  <a:pt x="8872353" y="551618"/>
                  <a:pt x="8872353" y="551618"/>
                </a:cubicBezTo>
                <a:cubicBezTo>
                  <a:pt x="8684735" y="684977"/>
                  <a:pt x="8503169" y="818335"/>
                  <a:pt x="8309499" y="951693"/>
                </a:cubicBezTo>
                <a:cubicBezTo>
                  <a:pt x="8307986" y="950178"/>
                  <a:pt x="8307608" y="950178"/>
                  <a:pt x="8307797" y="950841"/>
                </a:cubicBezTo>
                <a:lnTo>
                  <a:pt x="8308628" y="952368"/>
                </a:lnTo>
                <a:lnTo>
                  <a:pt x="8068924" y="1138091"/>
                </a:lnTo>
                <a:cubicBezTo>
                  <a:pt x="7988732" y="1200224"/>
                  <a:pt x="7910054" y="1263873"/>
                  <a:pt x="7837427" y="1333583"/>
                </a:cubicBezTo>
                <a:cubicBezTo>
                  <a:pt x="7680070" y="1491188"/>
                  <a:pt x="7516661" y="1630608"/>
                  <a:pt x="7341147" y="1763966"/>
                </a:cubicBezTo>
                <a:cubicBezTo>
                  <a:pt x="7141424" y="1915509"/>
                  <a:pt x="6965911" y="2097362"/>
                  <a:pt x="6778292" y="2261029"/>
                </a:cubicBezTo>
                <a:cubicBezTo>
                  <a:pt x="6766188" y="2273152"/>
                  <a:pt x="6772240" y="2291337"/>
                  <a:pt x="6766188" y="2303461"/>
                </a:cubicBezTo>
                <a:cubicBezTo>
                  <a:pt x="6784345" y="2303461"/>
                  <a:pt x="6796449" y="2297399"/>
                  <a:pt x="6808553" y="2297399"/>
                </a:cubicBezTo>
                <a:cubicBezTo>
                  <a:pt x="6911441" y="2285275"/>
                  <a:pt x="6996172" y="2194350"/>
                  <a:pt x="7111163" y="2242843"/>
                </a:cubicBezTo>
                <a:cubicBezTo>
                  <a:pt x="7129320" y="2248905"/>
                  <a:pt x="7165633" y="2206473"/>
                  <a:pt x="7195894" y="2182226"/>
                </a:cubicBezTo>
                <a:cubicBezTo>
                  <a:pt x="7207999" y="2212534"/>
                  <a:pt x="7220103" y="2236781"/>
                  <a:pt x="7232207" y="2273152"/>
                </a:cubicBezTo>
                <a:cubicBezTo>
                  <a:pt x="7147477" y="2309522"/>
                  <a:pt x="7014328" y="2321646"/>
                  <a:pt x="6984067" y="2382263"/>
                </a:cubicBezTo>
                <a:cubicBezTo>
                  <a:pt x="6929597" y="2503498"/>
                  <a:pt x="6796449" y="2461066"/>
                  <a:pt x="6735927" y="2539868"/>
                </a:cubicBezTo>
                <a:cubicBezTo>
                  <a:pt x="6723823" y="2551992"/>
                  <a:pt x="6723823" y="2576239"/>
                  <a:pt x="6717770" y="2594424"/>
                </a:cubicBezTo>
                <a:cubicBezTo>
                  <a:pt x="6711718" y="2661103"/>
                  <a:pt x="6669353" y="2691412"/>
                  <a:pt x="6602779" y="2697474"/>
                </a:cubicBezTo>
                <a:cubicBezTo>
                  <a:pt x="6505943" y="2703535"/>
                  <a:pt x="6415160" y="2721720"/>
                  <a:pt x="6318325" y="2739906"/>
                </a:cubicBezTo>
                <a:cubicBezTo>
                  <a:pt x="6354638" y="2818708"/>
                  <a:pt x="6245699" y="2891449"/>
                  <a:pt x="6033872" y="2933881"/>
                </a:cubicBezTo>
                <a:cubicBezTo>
                  <a:pt x="6058081" y="2909634"/>
                  <a:pt x="6070185" y="2891449"/>
                  <a:pt x="6106498" y="2849017"/>
                </a:cubicBezTo>
                <a:cubicBezTo>
                  <a:pt x="6027820" y="2873264"/>
                  <a:pt x="5979402" y="2885387"/>
                  <a:pt x="5912828" y="2903573"/>
                </a:cubicBezTo>
                <a:cubicBezTo>
                  <a:pt x="5924932" y="2927820"/>
                  <a:pt x="5943089" y="2946005"/>
                  <a:pt x="5967298" y="2976313"/>
                </a:cubicBezTo>
                <a:cubicBezTo>
                  <a:pt x="5716132" y="3064209"/>
                  <a:pt x="5458913" y="3136950"/>
                  <a:pt x="5209260" y="3225603"/>
                </a:cubicBezTo>
                <a:lnTo>
                  <a:pt x="5082040" y="3273554"/>
                </a:lnTo>
                <a:lnTo>
                  <a:pt x="5121381" y="3384328"/>
                </a:lnTo>
                <a:lnTo>
                  <a:pt x="5127389" y="3400136"/>
                </a:lnTo>
                <a:lnTo>
                  <a:pt x="5158573" y="3390028"/>
                </a:lnTo>
                <a:cubicBezTo>
                  <a:pt x="5377209" y="3318802"/>
                  <a:pt x="5598114" y="3246061"/>
                  <a:pt x="5822045" y="3170289"/>
                </a:cubicBezTo>
                <a:cubicBezTo>
                  <a:pt x="5785732" y="3158166"/>
                  <a:pt x="5767575" y="3152104"/>
                  <a:pt x="5719158" y="3139980"/>
                </a:cubicBezTo>
                <a:cubicBezTo>
                  <a:pt x="5785732" y="3127857"/>
                  <a:pt x="5834149" y="3115733"/>
                  <a:pt x="5876515" y="3109672"/>
                </a:cubicBezTo>
                <a:cubicBezTo>
                  <a:pt x="5924932" y="3091487"/>
                  <a:pt x="5979402" y="3067240"/>
                  <a:pt x="6027820" y="3067240"/>
                </a:cubicBezTo>
                <a:cubicBezTo>
                  <a:pt x="6221490" y="3067240"/>
                  <a:pt x="6342534" y="2897511"/>
                  <a:pt x="6518048" y="2861140"/>
                </a:cubicBezTo>
                <a:cubicBezTo>
                  <a:pt x="6518048" y="3006622"/>
                  <a:pt x="6445421" y="3073301"/>
                  <a:pt x="6251751" y="3158166"/>
                </a:cubicBezTo>
                <a:cubicBezTo>
                  <a:pt x="6082290" y="3224845"/>
                  <a:pt x="5924932" y="3303647"/>
                  <a:pt x="5755471" y="3364265"/>
                </a:cubicBezTo>
                <a:cubicBezTo>
                  <a:pt x="5661662" y="3397605"/>
                  <a:pt x="5566340" y="3427913"/>
                  <a:pt x="5471018" y="3457464"/>
                </a:cubicBezTo>
                <a:lnTo>
                  <a:pt x="5243878" y="3528255"/>
                </a:lnTo>
                <a:lnTo>
                  <a:pt x="5274388" y="3558982"/>
                </a:lnTo>
                <a:lnTo>
                  <a:pt x="5320819" y="3585196"/>
                </a:lnTo>
                <a:lnTo>
                  <a:pt x="5546670" y="3500654"/>
                </a:lnTo>
                <a:cubicBezTo>
                  <a:pt x="5646531" y="3462768"/>
                  <a:pt x="5746393" y="3424883"/>
                  <a:pt x="5846254" y="3388512"/>
                </a:cubicBezTo>
                <a:cubicBezTo>
                  <a:pt x="5882567" y="3376388"/>
                  <a:pt x="5918880" y="3370326"/>
                  <a:pt x="5955193" y="3376388"/>
                </a:cubicBezTo>
                <a:cubicBezTo>
                  <a:pt x="6052029" y="3394573"/>
                  <a:pt x="6130707" y="3382450"/>
                  <a:pt x="6179125" y="3249092"/>
                </a:cubicBezTo>
                <a:cubicBezTo>
                  <a:pt x="6197281" y="3309709"/>
                  <a:pt x="6203333" y="3340018"/>
                  <a:pt x="6209386" y="3358203"/>
                </a:cubicBezTo>
                <a:cubicBezTo>
                  <a:pt x="6306221" y="3291524"/>
                  <a:pt x="6390952" y="3218783"/>
                  <a:pt x="6493839" y="3164227"/>
                </a:cubicBezTo>
                <a:cubicBezTo>
                  <a:pt x="6560413" y="3121795"/>
                  <a:pt x="6645144" y="3109672"/>
                  <a:pt x="6723823" y="3085425"/>
                </a:cubicBezTo>
                <a:cubicBezTo>
                  <a:pt x="6735927" y="3085425"/>
                  <a:pt x="6754084" y="3067240"/>
                  <a:pt x="6766188" y="3061178"/>
                </a:cubicBezTo>
                <a:cubicBezTo>
                  <a:pt x="6748031" y="3049054"/>
                  <a:pt x="6735927" y="3036931"/>
                  <a:pt x="6705666" y="3018746"/>
                </a:cubicBezTo>
                <a:cubicBezTo>
                  <a:pt x="6820658" y="2946005"/>
                  <a:pt x="6923545" y="2885387"/>
                  <a:pt x="7032485" y="2818708"/>
                </a:cubicBezTo>
                <a:cubicBezTo>
                  <a:pt x="7044589" y="2842955"/>
                  <a:pt x="7050641" y="2867202"/>
                  <a:pt x="7068798" y="2897511"/>
                </a:cubicBezTo>
                <a:cubicBezTo>
                  <a:pt x="7099059" y="2842955"/>
                  <a:pt x="7123268" y="2794461"/>
                  <a:pt x="7141424" y="2745967"/>
                </a:cubicBezTo>
                <a:cubicBezTo>
                  <a:pt x="7159581" y="2752029"/>
                  <a:pt x="7171685" y="2752029"/>
                  <a:pt x="7189842" y="2758091"/>
                </a:cubicBezTo>
                <a:cubicBezTo>
                  <a:pt x="7183790" y="2824770"/>
                  <a:pt x="7171685" y="2891449"/>
                  <a:pt x="7165633" y="2970252"/>
                </a:cubicBezTo>
                <a:cubicBezTo>
                  <a:pt x="7135372" y="2952067"/>
                  <a:pt x="7117216" y="2939943"/>
                  <a:pt x="7086955" y="2921758"/>
                </a:cubicBezTo>
                <a:cubicBezTo>
                  <a:pt x="7093007" y="2958128"/>
                  <a:pt x="7093007" y="2988437"/>
                  <a:pt x="7093007" y="3012684"/>
                </a:cubicBezTo>
                <a:cubicBezTo>
                  <a:pt x="7008276" y="3049054"/>
                  <a:pt x="6917493" y="3091487"/>
                  <a:pt x="6838814" y="3121795"/>
                </a:cubicBezTo>
                <a:cubicBezTo>
                  <a:pt x="6844867" y="3127857"/>
                  <a:pt x="6869075" y="3133919"/>
                  <a:pt x="6893284" y="3139980"/>
                </a:cubicBezTo>
                <a:cubicBezTo>
                  <a:pt x="6875128" y="3243030"/>
                  <a:pt x="6687509" y="3152104"/>
                  <a:pt x="6711718" y="3303647"/>
                </a:cubicBezTo>
                <a:cubicBezTo>
                  <a:pt x="6681457" y="3297586"/>
                  <a:pt x="6651196" y="3285462"/>
                  <a:pt x="6651196" y="3285462"/>
                </a:cubicBezTo>
                <a:cubicBezTo>
                  <a:pt x="6605805" y="3321833"/>
                  <a:pt x="6563439" y="3355172"/>
                  <a:pt x="6521831" y="3386996"/>
                </a:cubicBezTo>
                <a:lnTo>
                  <a:pt x="6435291" y="3451084"/>
                </a:lnTo>
                <a:lnTo>
                  <a:pt x="6467239" y="3441157"/>
                </a:lnTo>
                <a:cubicBezTo>
                  <a:pt x="6564074" y="3410848"/>
                  <a:pt x="6666961" y="3410848"/>
                  <a:pt x="6763796" y="3386601"/>
                </a:cubicBezTo>
                <a:cubicBezTo>
                  <a:pt x="6854579" y="3356292"/>
                  <a:pt x="6939310" y="3313860"/>
                  <a:pt x="7024041" y="3289613"/>
                </a:cubicBezTo>
                <a:cubicBezTo>
                  <a:pt x="7078511" y="3289613"/>
                  <a:pt x="7139033" y="3307798"/>
                  <a:pt x="7187450" y="3289613"/>
                </a:cubicBezTo>
                <a:cubicBezTo>
                  <a:pt x="7399277" y="3210811"/>
                  <a:pt x="7611104" y="3119884"/>
                  <a:pt x="7822931" y="3035020"/>
                </a:cubicBezTo>
                <a:cubicBezTo>
                  <a:pt x="7895557" y="3004711"/>
                  <a:pt x="7974236" y="2992588"/>
                  <a:pt x="8058967" y="2992588"/>
                </a:cubicBezTo>
                <a:cubicBezTo>
                  <a:pt x="7925819" y="3071391"/>
                  <a:pt x="7786617" y="3150193"/>
                  <a:pt x="7659522" y="3235057"/>
                </a:cubicBezTo>
                <a:cubicBezTo>
                  <a:pt x="7592948" y="3283551"/>
                  <a:pt x="7471904" y="3277490"/>
                  <a:pt x="7477956" y="3404786"/>
                </a:cubicBezTo>
                <a:cubicBezTo>
                  <a:pt x="7477956" y="3416910"/>
                  <a:pt x="7453747" y="3429033"/>
                  <a:pt x="7441643" y="3429033"/>
                </a:cubicBezTo>
                <a:cubicBezTo>
                  <a:pt x="7272181" y="3477527"/>
                  <a:pt x="7139033" y="3586638"/>
                  <a:pt x="6993780" y="3683626"/>
                </a:cubicBezTo>
                <a:cubicBezTo>
                  <a:pt x="7235868" y="3665441"/>
                  <a:pt x="7423486" y="3459342"/>
                  <a:pt x="7677678" y="3477527"/>
                </a:cubicBezTo>
                <a:cubicBezTo>
                  <a:pt x="7629261" y="3513897"/>
                  <a:pt x="7580843" y="3544206"/>
                  <a:pt x="7538478" y="3580577"/>
                </a:cubicBezTo>
                <a:cubicBezTo>
                  <a:pt x="7538478" y="3586638"/>
                  <a:pt x="7538478" y="3592700"/>
                  <a:pt x="7544530" y="3598762"/>
                </a:cubicBezTo>
                <a:cubicBezTo>
                  <a:pt x="7592948" y="3592700"/>
                  <a:pt x="7635313" y="3586638"/>
                  <a:pt x="7683731" y="3580577"/>
                </a:cubicBezTo>
                <a:cubicBezTo>
                  <a:pt x="7683731" y="3586638"/>
                  <a:pt x="7689783" y="3592700"/>
                  <a:pt x="7689783" y="3598762"/>
                </a:cubicBezTo>
                <a:cubicBezTo>
                  <a:pt x="7592948" y="3659379"/>
                  <a:pt x="7490060" y="3719996"/>
                  <a:pt x="7375068" y="3780614"/>
                </a:cubicBezTo>
                <a:cubicBezTo>
                  <a:pt x="7429538" y="3792737"/>
                  <a:pt x="7465851" y="3804861"/>
                  <a:pt x="7508217" y="3810923"/>
                </a:cubicBezTo>
                <a:cubicBezTo>
                  <a:pt x="7502165" y="3756367"/>
                  <a:pt x="7629261" y="3641194"/>
                  <a:pt x="7695835" y="3671503"/>
                </a:cubicBezTo>
                <a:cubicBezTo>
                  <a:pt x="7774513" y="3695750"/>
                  <a:pt x="7810827" y="3653317"/>
                  <a:pt x="7865297" y="3629070"/>
                </a:cubicBezTo>
                <a:cubicBezTo>
                  <a:pt x="7968183" y="3574515"/>
                  <a:pt x="8071071" y="3519959"/>
                  <a:pt x="8198167" y="3453280"/>
                </a:cubicBezTo>
                <a:cubicBezTo>
                  <a:pt x="8173959" y="3501774"/>
                  <a:pt x="8161854" y="3526021"/>
                  <a:pt x="8149749" y="3562391"/>
                </a:cubicBezTo>
                <a:cubicBezTo>
                  <a:pt x="8246585" y="3519959"/>
                  <a:pt x="8337368" y="3477527"/>
                  <a:pt x="8428151" y="3435095"/>
                </a:cubicBezTo>
                <a:cubicBezTo>
                  <a:pt x="8428151" y="3441157"/>
                  <a:pt x="8434203" y="3447218"/>
                  <a:pt x="8434203" y="3447218"/>
                </a:cubicBezTo>
                <a:cubicBezTo>
                  <a:pt x="8246585" y="3580577"/>
                  <a:pt x="8065019" y="3713935"/>
                  <a:pt x="7871349" y="3847293"/>
                </a:cubicBezTo>
                <a:cubicBezTo>
                  <a:pt x="7869836" y="3845778"/>
                  <a:pt x="7869458" y="3845778"/>
                  <a:pt x="7869647" y="3846441"/>
                </a:cubicBezTo>
                <a:lnTo>
                  <a:pt x="7870478" y="3847968"/>
                </a:lnTo>
                <a:lnTo>
                  <a:pt x="7630774" y="4033691"/>
                </a:lnTo>
                <a:cubicBezTo>
                  <a:pt x="7550582" y="4095824"/>
                  <a:pt x="7471904" y="4159473"/>
                  <a:pt x="7399277" y="4229183"/>
                </a:cubicBezTo>
                <a:cubicBezTo>
                  <a:pt x="7241920" y="4386788"/>
                  <a:pt x="7078511" y="4526208"/>
                  <a:pt x="6902997" y="4659566"/>
                </a:cubicBezTo>
                <a:cubicBezTo>
                  <a:pt x="6703274" y="4811109"/>
                  <a:pt x="6527761" y="4992962"/>
                  <a:pt x="6340142" y="5156629"/>
                </a:cubicBezTo>
                <a:cubicBezTo>
                  <a:pt x="6328038" y="5168752"/>
                  <a:pt x="6334090" y="5186937"/>
                  <a:pt x="6328038" y="5199061"/>
                </a:cubicBezTo>
                <a:cubicBezTo>
                  <a:pt x="6346195" y="5199061"/>
                  <a:pt x="6358299" y="5192999"/>
                  <a:pt x="6370403" y="5192999"/>
                </a:cubicBezTo>
                <a:cubicBezTo>
                  <a:pt x="6473291" y="5180875"/>
                  <a:pt x="6558022" y="5089950"/>
                  <a:pt x="6673013" y="5138443"/>
                </a:cubicBezTo>
                <a:cubicBezTo>
                  <a:pt x="6691170" y="5144505"/>
                  <a:pt x="6727483" y="5102073"/>
                  <a:pt x="6757744" y="5077826"/>
                </a:cubicBezTo>
                <a:cubicBezTo>
                  <a:pt x="6769849" y="5108134"/>
                  <a:pt x="6781953" y="5132381"/>
                  <a:pt x="6794057" y="5168752"/>
                </a:cubicBezTo>
                <a:cubicBezTo>
                  <a:pt x="6709327" y="5205122"/>
                  <a:pt x="6576178" y="5217246"/>
                  <a:pt x="6545917" y="5277863"/>
                </a:cubicBezTo>
                <a:cubicBezTo>
                  <a:pt x="6491447" y="5399098"/>
                  <a:pt x="6358299" y="5356666"/>
                  <a:pt x="6297777" y="5435468"/>
                </a:cubicBezTo>
                <a:cubicBezTo>
                  <a:pt x="6285673" y="5447592"/>
                  <a:pt x="6285673" y="5471839"/>
                  <a:pt x="6279620" y="5490024"/>
                </a:cubicBezTo>
                <a:cubicBezTo>
                  <a:pt x="6273568" y="5556703"/>
                  <a:pt x="6231203" y="5587012"/>
                  <a:pt x="6164629" y="5593074"/>
                </a:cubicBezTo>
                <a:cubicBezTo>
                  <a:pt x="6067793" y="5599135"/>
                  <a:pt x="5977010" y="5617320"/>
                  <a:pt x="5880175" y="5635506"/>
                </a:cubicBezTo>
                <a:cubicBezTo>
                  <a:pt x="5916488" y="5714308"/>
                  <a:pt x="5807549" y="5787049"/>
                  <a:pt x="5595722" y="5829481"/>
                </a:cubicBezTo>
                <a:cubicBezTo>
                  <a:pt x="5619931" y="5805234"/>
                  <a:pt x="5632035" y="5787049"/>
                  <a:pt x="5668348" y="5744617"/>
                </a:cubicBezTo>
                <a:cubicBezTo>
                  <a:pt x="5589670" y="5768864"/>
                  <a:pt x="5541252" y="5780987"/>
                  <a:pt x="5474678" y="5799173"/>
                </a:cubicBezTo>
                <a:cubicBezTo>
                  <a:pt x="5486782" y="5823420"/>
                  <a:pt x="5504939" y="5841605"/>
                  <a:pt x="5529148" y="5871913"/>
                </a:cubicBezTo>
                <a:cubicBezTo>
                  <a:pt x="5026815" y="6047704"/>
                  <a:pt x="4500274" y="6162877"/>
                  <a:pt x="4058463" y="6465964"/>
                </a:cubicBezTo>
                <a:cubicBezTo>
                  <a:pt x="4058463" y="6478087"/>
                  <a:pt x="4064516" y="6490211"/>
                  <a:pt x="4070568" y="6496272"/>
                </a:cubicBezTo>
                <a:cubicBezTo>
                  <a:pt x="4500274" y="6356853"/>
                  <a:pt x="4936032" y="6217433"/>
                  <a:pt x="5383895" y="6065889"/>
                </a:cubicBezTo>
                <a:cubicBezTo>
                  <a:pt x="5347582" y="6053766"/>
                  <a:pt x="5329425" y="6047704"/>
                  <a:pt x="5281008" y="6035580"/>
                </a:cubicBezTo>
                <a:cubicBezTo>
                  <a:pt x="5347582" y="6023457"/>
                  <a:pt x="5395999" y="6011333"/>
                  <a:pt x="5438365" y="6005272"/>
                </a:cubicBezTo>
                <a:cubicBezTo>
                  <a:pt x="5486782" y="5987087"/>
                  <a:pt x="5541252" y="5962840"/>
                  <a:pt x="5589670" y="5962840"/>
                </a:cubicBezTo>
                <a:cubicBezTo>
                  <a:pt x="5783340" y="5962840"/>
                  <a:pt x="5904384" y="5793111"/>
                  <a:pt x="6079898" y="5756740"/>
                </a:cubicBezTo>
                <a:cubicBezTo>
                  <a:pt x="6079898" y="5902222"/>
                  <a:pt x="6007271" y="5968901"/>
                  <a:pt x="5813601" y="6053766"/>
                </a:cubicBezTo>
                <a:cubicBezTo>
                  <a:pt x="5644140" y="6120445"/>
                  <a:pt x="5486782" y="6199247"/>
                  <a:pt x="5317321" y="6259865"/>
                </a:cubicBezTo>
                <a:cubicBezTo>
                  <a:pt x="5129703" y="6326544"/>
                  <a:pt x="4936032" y="6381099"/>
                  <a:pt x="4748414" y="6441717"/>
                </a:cubicBezTo>
                <a:cubicBezTo>
                  <a:pt x="4687892" y="6459902"/>
                  <a:pt x="4633422" y="6490211"/>
                  <a:pt x="4585005" y="6544766"/>
                </a:cubicBezTo>
                <a:cubicBezTo>
                  <a:pt x="4615266" y="6550828"/>
                  <a:pt x="4651579" y="6562952"/>
                  <a:pt x="4687892" y="6569013"/>
                </a:cubicBezTo>
                <a:cubicBezTo>
                  <a:pt x="4687892" y="6593260"/>
                  <a:pt x="4687892" y="6617507"/>
                  <a:pt x="4687892" y="6666001"/>
                </a:cubicBezTo>
                <a:cubicBezTo>
                  <a:pt x="4712101" y="6635692"/>
                  <a:pt x="4742362" y="6611446"/>
                  <a:pt x="4742362" y="6599322"/>
                </a:cubicBezTo>
                <a:cubicBezTo>
                  <a:pt x="4730257" y="6538705"/>
                  <a:pt x="4760518" y="6526581"/>
                  <a:pt x="4808936" y="6508396"/>
                </a:cubicBezTo>
                <a:cubicBezTo>
                  <a:pt x="5008659" y="6435655"/>
                  <a:pt x="5208381" y="6356853"/>
                  <a:pt x="5408104" y="6284112"/>
                </a:cubicBezTo>
                <a:cubicBezTo>
                  <a:pt x="5444417" y="6271988"/>
                  <a:pt x="5480730" y="6265926"/>
                  <a:pt x="5517043" y="6271988"/>
                </a:cubicBezTo>
                <a:cubicBezTo>
                  <a:pt x="5613879" y="6290173"/>
                  <a:pt x="5692557" y="6278050"/>
                  <a:pt x="5740975" y="6144692"/>
                </a:cubicBezTo>
                <a:cubicBezTo>
                  <a:pt x="5759131" y="6205309"/>
                  <a:pt x="5765183" y="6235618"/>
                  <a:pt x="5771236" y="6253803"/>
                </a:cubicBezTo>
                <a:cubicBezTo>
                  <a:pt x="5868071" y="6187124"/>
                  <a:pt x="5952802" y="6114383"/>
                  <a:pt x="6055689" y="6059827"/>
                </a:cubicBezTo>
                <a:cubicBezTo>
                  <a:pt x="6122263" y="6017395"/>
                  <a:pt x="6206994" y="6005272"/>
                  <a:pt x="6285673" y="5981025"/>
                </a:cubicBezTo>
                <a:cubicBezTo>
                  <a:pt x="6297777" y="5981025"/>
                  <a:pt x="6315934" y="5962840"/>
                  <a:pt x="6328038" y="5956778"/>
                </a:cubicBezTo>
                <a:cubicBezTo>
                  <a:pt x="6309881" y="5944654"/>
                  <a:pt x="6297777" y="5932531"/>
                  <a:pt x="6267516" y="5914346"/>
                </a:cubicBezTo>
                <a:cubicBezTo>
                  <a:pt x="6382508" y="5841605"/>
                  <a:pt x="6485395" y="5780987"/>
                  <a:pt x="6594335" y="5714308"/>
                </a:cubicBezTo>
                <a:cubicBezTo>
                  <a:pt x="6606439" y="5738555"/>
                  <a:pt x="6612491" y="5762802"/>
                  <a:pt x="6630648" y="5793111"/>
                </a:cubicBezTo>
                <a:cubicBezTo>
                  <a:pt x="6660909" y="5738555"/>
                  <a:pt x="6685118" y="5690061"/>
                  <a:pt x="6703274" y="5641567"/>
                </a:cubicBezTo>
                <a:cubicBezTo>
                  <a:pt x="6721431" y="5647629"/>
                  <a:pt x="6733535" y="5647629"/>
                  <a:pt x="6751692" y="5653691"/>
                </a:cubicBezTo>
                <a:cubicBezTo>
                  <a:pt x="6745640" y="5720370"/>
                  <a:pt x="6733535" y="5787049"/>
                  <a:pt x="6727483" y="5865852"/>
                </a:cubicBezTo>
                <a:cubicBezTo>
                  <a:pt x="6697222" y="5847667"/>
                  <a:pt x="6679066" y="5835543"/>
                  <a:pt x="6648805" y="5817358"/>
                </a:cubicBezTo>
                <a:cubicBezTo>
                  <a:pt x="6654857" y="5853728"/>
                  <a:pt x="6654857" y="5884037"/>
                  <a:pt x="6654857" y="5908284"/>
                </a:cubicBezTo>
                <a:cubicBezTo>
                  <a:pt x="6570126" y="5944654"/>
                  <a:pt x="6479343" y="5987087"/>
                  <a:pt x="6400664" y="6017395"/>
                </a:cubicBezTo>
                <a:cubicBezTo>
                  <a:pt x="6406717" y="6023457"/>
                  <a:pt x="6430925" y="6029519"/>
                  <a:pt x="6455134" y="6035580"/>
                </a:cubicBezTo>
                <a:cubicBezTo>
                  <a:pt x="6436978" y="6138630"/>
                  <a:pt x="6249359" y="6047704"/>
                  <a:pt x="6273568" y="6199247"/>
                </a:cubicBezTo>
                <a:cubicBezTo>
                  <a:pt x="6243307" y="6193186"/>
                  <a:pt x="6213046" y="6181062"/>
                  <a:pt x="6213046" y="6181062"/>
                </a:cubicBezTo>
                <a:cubicBezTo>
                  <a:pt x="6122263" y="6253803"/>
                  <a:pt x="6043585" y="6314420"/>
                  <a:pt x="5958854" y="6375038"/>
                </a:cubicBezTo>
                <a:cubicBezTo>
                  <a:pt x="5928593" y="6393223"/>
                  <a:pt x="5892280" y="6393223"/>
                  <a:pt x="5862019" y="6417470"/>
                </a:cubicBezTo>
                <a:cubicBezTo>
                  <a:pt x="5837810" y="6435655"/>
                  <a:pt x="5825705" y="6472026"/>
                  <a:pt x="5801497" y="6490211"/>
                </a:cubicBezTo>
                <a:cubicBezTo>
                  <a:pt x="5710714" y="6532643"/>
                  <a:pt x="5638087" y="6617507"/>
                  <a:pt x="5523096" y="6587199"/>
                </a:cubicBezTo>
                <a:cubicBezTo>
                  <a:pt x="5517043" y="6587199"/>
                  <a:pt x="5498887" y="6593260"/>
                  <a:pt x="5498887" y="6593260"/>
                </a:cubicBezTo>
                <a:cubicBezTo>
                  <a:pt x="5498887" y="6696310"/>
                  <a:pt x="5383895" y="6653878"/>
                  <a:pt x="5353634" y="6714495"/>
                </a:cubicBezTo>
                <a:cubicBezTo>
                  <a:pt x="5353634" y="6726619"/>
                  <a:pt x="5365738" y="6744804"/>
                  <a:pt x="5383895" y="6769051"/>
                </a:cubicBezTo>
                <a:cubicBezTo>
                  <a:pt x="5317321" y="6781174"/>
                  <a:pt x="5262851" y="6793298"/>
                  <a:pt x="5202329" y="6805421"/>
                </a:cubicBezTo>
                <a:cubicBezTo>
                  <a:pt x="5196277" y="6823606"/>
                  <a:pt x="5184172" y="6872100"/>
                  <a:pt x="5159964" y="6884224"/>
                </a:cubicBezTo>
                <a:cubicBezTo>
                  <a:pt x="4990502" y="6950903"/>
                  <a:pt x="4814988" y="7011520"/>
                  <a:pt x="4645527" y="7072138"/>
                </a:cubicBezTo>
                <a:cubicBezTo>
                  <a:pt x="4566848" y="7102446"/>
                  <a:pt x="4494222" y="7144879"/>
                  <a:pt x="4415543" y="7169126"/>
                </a:cubicBezTo>
                <a:cubicBezTo>
                  <a:pt x="4233977" y="7229743"/>
                  <a:pt x="4058463" y="7284299"/>
                  <a:pt x="3876898" y="7332792"/>
                </a:cubicBezTo>
                <a:cubicBezTo>
                  <a:pt x="3640862" y="7393410"/>
                  <a:pt x="3404826" y="7447965"/>
                  <a:pt x="3162738" y="7496459"/>
                </a:cubicBezTo>
                <a:cubicBezTo>
                  <a:pt x="3126425" y="7508583"/>
                  <a:pt x="3090112" y="7502521"/>
                  <a:pt x="3053798" y="7502521"/>
                </a:cubicBezTo>
                <a:cubicBezTo>
                  <a:pt x="2975120" y="7496459"/>
                  <a:pt x="2896441" y="7496459"/>
                  <a:pt x="2823815" y="7490398"/>
                </a:cubicBezTo>
                <a:cubicBezTo>
                  <a:pt x="2751189" y="7490398"/>
                  <a:pt x="2690667" y="7532830"/>
                  <a:pt x="2605936" y="7496459"/>
                </a:cubicBezTo>
                <a:cubicBezTo>
                  <a:pt x="2533309" y="7466151"/>
                  <a:pt x="2430422" y="7526768"/>
                  <a:pt x="2339639" y="7551015"/>
                </a:cubicBezTo>
                <a:cubicBezTo>
                  <a:pt x="2363848" y="7447965"/>
                  <a:pt x="2309378" y="7484336"/>
                  <a:pt x="2273065" y="7508583"/>
                </a:cubicBezTo>
                <a:cubicBezTo>
                  <a:pt x="2236752" y="7526768"/>
                  <a:pt x="2200438" y="7544953"/>
                  <a:pt x="2152021" y="7569200"/>
                </a:cubicBezTo>
                <a:cubicBezTo>
                  <a:pt x="2164125" y="7514645"/>
                  <a:pt x="2170177" y="7478274"/>
                  <a:pt x="2176229" y="7435842"/>
                </a:cubicBezTo>
                <a:cubicBezTo>
                  <a:pt x="2170177" y="7429780"/>
                  <a:pt x="2152021" y="7411595"/>
                  <a:pt x="2127812" y="7393410"/>
                </a:cubicBezTo>
                <a:cubicBezTo>
                  <a:pt x="2139916" y="7381286"/>
                  <a:pt x="2145969" y="7369163"/>
                  <a:pt x="2158073" y="7369163"/>
                </a:cubicBezTo>
                <a:cubicBezTo>
                  <a:pt x="2242804" y="7375225"/>
                  <a:pt x="2321482" y="7369163"/>
                  <a:pt x="2363848" y="7278237"/>
                </a:cubicBezTo>
                <a:cubicBezTo>
                  <a:pt x="2369900" y="7266113"/>
                  <a:pt x="2394109" y="7260052"/>
                  <a:pt x="2406213" y="7266113"/>
                </a:cubicBezTo>
                <a:cubicBezTo>
                  <a:pt x="2575675" y="7338854"/>
                  <a:pt x="2720927" y="7223681"/>
                  <a:pt x="2884337" y="7217619"/>
                </a:cubicBezTo>
                <a:cubicBezTo>
                  <a:pt x="2884337" y="7205496"/>
                  <a:pt x="2884337" y="7199434"/>
                  <a:pt x="2878285" y="7187311"/>
                </a:cubicBezTo>
                <a:cubicBezTo>
                  <a:pt x="2787502" y="7205496"/>
                  <a:pt x="2690667" y="7223681"/>
                  <a:pt x="2593831" y="7247928"/>
                </a:cubicBezTo>
                <a:cubicBezTo>
                  <a:pt x="2787502" y="7126693"/>
                  <a:pt x="2787502" y="7126693"/>
                  <a:pt x="2775397" y="7096385"/>
                </a:cubicBezTo>
                <a:cubicBezTo>
                  <a:pt x="2696719" y="7126693"/>
                  <a:pt x="2599884" y="7205496"/>
                  <a:pt x="2545414" y="7181249"/>
                </a:cubicBezTo>
                <a:cubicBezTo>
                  <a:pt x="2436474" y="7132755"/>
                  <a:pt x="2345691" y="7193372"/>
                  <a:pt x="2254908" y="7199434"/>
                </a:cubicBezTo>
                <a:cubicBezTo>
                  <a:pt x="2170177" y="7199434"/>
                  <a:pt x="2085447" y="7247928"/>
                  <a:pt x="1994664" y="7272175"/>
                </a:cubicBezTo>
                <a:cubicBezTo>
                  <a:pt x="1988611" y="7241866"/>
                  <a:pt x="1982559" y="7217619"/>
                  <a:pt x="1976507" y="7193372"/>
                </a:cubicBezTo>
                <a:cubicBezTo>
                  <a:pt x="1867567" y="7211558"/>
                  <a:pt x="1758628" y="7229743"/>
                  <a:pt x="1649688" y="7247928"/>
                </a:cubicBezTo>
                <a:cubicBezTo>
                  <a:pt x="1649688" y="7241866"/>
                  <a:pt x="1649688" y="7229743"/>
                  <a:pt x="1643636" y="7223681"/>
                </a:cubicBezTo>
                <a:cubicBezTo>
                  <a:pt x="1661793" y="7217619"/>
                  <a:pt x="1673897" y="7211558"/>
                  <a:pt x="1692054" y="7205496"/>
                </a:cubicBezTo>
                <a:cubicBezTo>
                  <a:pt x="1673897" y="7193372"/>
                  <a:pt x="1661793" y="7181249"/>
                  <a:pt x="1643636" y="7169126"/>
                </a:cubicBezTo>
                <a:cubicBezTo>
                  <a:pt x="1643636" y="7163064"/>
                  <a:pt x="1649688" y="7150940"/>
                  <a:pt x="1649688" y="7138817"/>
                </a:cubicBezTo>
                <a:cubicBezTo>
                  <a:pt x="1716262" y="7138817"/>
                  <a:pt x="1782836" y="7132755"/>
                  <a:pt x="1843359" y="7126693"/>
                </a:cubicBezTo>
                <a:cubicBezTo>
                  <a:pt x="1843359" y="7138817"/>
                  <a:pt x="1837306" y="7150940"/>
                  <a:pt x="1831254" y="7163064"/>
                </a:cubicBezTo>
                <a:cubicBezTo>
                  <a:pt x="1843359" y="7163064"/>
                  <a:pt x="1873620" y="7169126"/>
                  <a:pt x="1879672" y="7163064"/>
                </a:cubicBezTo>
                <a:cubicBezTo>
                  <a:pt x="1934141" y="7047891"/>
                  <a:pt x="2043081" y="7066076"/>
                  <a:pt x="2133864" y="7041829"/>
                </a:cubicBezTo>
                <a:cubicBezTo>
                  <a:pt x="2145969" y="7041829"/>
                  <a:pt x="2145969" y="7011520"/>
                  <a:pt x="2158073" y="6987273"/>
                </a:cubicBezTo>
                <a:cubicBezTo>
                  <a:pt x="2188334" y="7005458"/>
                  <a:pt x="2218595" y="7023644"/>
                  <a:pt x="2254908" y="7047891"/>
                </a:cubicBezTo>
                <a:cubicBezTo>
                  <a:pt x="2285169" y="7023644"/>
                  <a:pt x="2327534" y="6999397"/>
                  <a:pt x="2351743" y="6969088"/>
                </a:cubicBezTo>
                <a:cubicBezTo>
                  <a:pt x="2375952" y="6938779"/>
                  <a:pt x="2424370" y="6890285"/>
                  <a:pt x="2333587" y="6878162"/>
                </a:cubicBezTo>
                <a:cubicBezTo>
                  <a:pt x="2291221" y="6872100"/>
                  <a:pt x="2248856" y="6859977"/>
                  <a:pt x="2200438" y="6853915"/>
                </a:cubicBezTo>
                <a:cubicBezTo>
                  <a:pt x="2085447" y="6878162"/>
                  <a:pt x="1970455" y="6902409"/>
                  <a:pt x="1849411" y="6926656"/>
                </a:cubicBezTo>
                <a:cubicBezTo>
                  <a:pt x="1825202" y="6926656"/>
                  <a:pt x="1788889" y="6932718"/>
                  <a:pt x="1770732" y="6914532"/>
                </a:cubicBezTo>
                <a:cubicBezTo>
                  <a:pt x="1667845" y="6829668"/>
                  <a:pt x="1571010" y="6878162"/>
                  <a:pt x="1474174" y="6920594"/>
                </a:cubicBezTo>
                <a:cubicBezTo>
                  <a:pt x="1371287" y="6969088"/>
                  <a:pt x="1268400" y="7017582"/>
                  <a:pt x="1165512" y="7066076"/>
                </a:cubicBezTo>
                <a:cubicBezTo>
                  <a:pt x="1159460" y="7060014"/>
                  <a:pt x="1159460" y="7053952"/>
                  <a:pt x="1153408" y="7041829"/>
                </a:cubicBezTo>
                <a:cubicBezTo>
                  <a:pt x="1268400" y="6969088"/>
                  <a:pt x="1377339" y="6896347"/>
                  <a:pt x="1492331" y="6817545"/>
                </a:cubicBezTo>
                <a:cubicBezTo>
                  <a:pt x="1498383" y="6829668"/>
                  <a:pt x="1504435" y="6835730"/>
                  <a:pt x="1510488" y="6847853"/>
                </a:cubicBezTo>
                <a:cubicBezTo>
                  <a:pt x="1516540" y="6823606"/>
                  <a:pt x="1516540" y="6793298"/>
                  <a:pt x="1522592" y="6775112"/>
                </a:cubicBezTo>
                <a:cubicBezTo>
                  <a:pt x="1389444" y="6793298"/>
                  <a:pt x="1262347" y="6835730"/>
                  <a:pt x="1135251" y="6756927"/>
                </a:cubicBezTo>
                <a:cubicBezTo>
                  <a:pt x="1086834" y="6726619"/>
                  <a:pt x="1032364" y="6708433"/>
                  <a:pt x="977894" y="6684186"/>
                </a:cubicBezTo>
                <a:cubicBezTo>
                  <a:pt x="899216" y="6641754"/>
                  <a:pt x="826589" y="6593260"/>
                  <a:pt x="747911" y="6550828"/>
                </a:cubicBezTo>
                <a:cubicBezTo>
                  <a:pt x="711597" y="6538705"/>
                  <a:pt x="675284" y="6526581"/>
                  <a:pt x="620814" y="6508396"/>
                </a:cubicBezTo>
                <a:cubicBezTo>
                  <a:pt x="645023" y="6411408"/>
                  <a:pt x="596605" y="6338667"/>
                  <a:pt x="457405" y="6338667"/>
                </a:cubicBezTo>
                <a:cubicBezTo>
                  <a:pt x="505823" y="6229556"/>
                  <a:pt x="475562" y="6199247"/>
                  <a:pt x="366622" y="6217433"/>
                </a:cubicBezTo>
                <a:cubicBezTo>
                  <a:pt x="263735" y="6235618"/>
                  <a:pt x="154795" y="6241680"/>
                  <a:pt x="27699" y="6259865"/>
                </a:cubicBezTo>
                <a:cubicBezTo>
                  <a:pt x="-8614" y="6223494"/>
                  <a:pt x="-20719" y="6187124"/>
                  <a:pt x="64012" y="6144692"/>
                </a:cubicBezTo>
                <a:cubicBezTo>
                  <a:pt x="269787" y="6023457"/>
                  <a:pt x="481614" y="5914346"/>
                  <a:pt x="669232" y="5774926"/>
                </a:cubicBezTo>
                <a:cubicBezTo>
                  <a:pt x="965790" y="5556703"/>
                  <a:pt x="1244191" y="5314234"/>
                  <a:pt x="1528644" y="5089950"/>
                </a:cubicBezTo>
                <a:cubicBezTo>
                  <a:pt x="1729124" y="4927041"/>
                  <a:pt x="1872864" y="4662313"/>
                  <a:pt x="2032266" y="4424520"/>
                </a:cubicBezTo>
                <a:lnTo>
                  <a:pt x="2087482" y="4346613"/>
                </a:lnTo>
                <a:lnTo>
                  <a:pt x="2087082" y="4340205"/>
                </a:lnTo>
                <a:cubicBezTo>
                  <a:pt x="2086325" y="4335658"/>
                  <a:pt x="2084812" y="4331112"/>
                  <a:pt x="2081786" y="4328081"/>
                </a:cubicBezTo>
                <a:cubicBezTo>
                  <a:pt x="2090865" y="4325050"/>
                  <a:pt x="2098430" y="4322019"/>
                  <a:pt x="2105995" y="4318989"/>
                </a:cubicBezTo>
                <a:lnTo>
                  <a:pt x="2107447" y="4318444"/>
                </a:lnTo>
                <a:lnTo>
                  <a:pt x="2119307" y="4301710"/>
                </a:lnTo>
                <a:lnTo>
                  <a:pt x="2105995" y="4291711"/>
                </a:lnTo>
                <a:cubicBezTo>
                  <a:pt x="2098430" y="4285649"/>
                  <a:pt x="2090865" y="4279588"/>
                  <a:pt x="2081786" y="4273526"/>
                </a:cubicBezTo>
                <a:cubicBezTo>
                  <a:pt x="2081786" y="4267464"/>
                  <a:pt x="2087838" y="4255340"/>
                  <a:pt x="2087838" y="4243217"/>
                </a:cubicBezTo>
                <a:lnTo>
                  <a:pt x="2168881" y="4240119"/>
                </a:lnTo>
                <a:lnTo>
                  <a:pt x="2235700" y="4160337"/>
                </a:lnTo>
                <a:cubicBezTo>
                  <a:pt x="2272403" y="4121208"/>
                  <a:pt x="2310891" y="4085216"/>
                  <a:pt x="2351743" y="4053392"/>
                </a:cubicBezTo>
                <a:lnTo>
                  <a:pt x="2429170" y="4002086"/>
                </a:lnTo>
                <a:lnTo>
                  <a:pt x="2287561" y="4031056"/>
                </a:lnTo>
                <a:cubicBezTo>
                  <a:pt x="2263352" y="4031056"/>
                  <a:pt x="2227039" y="4037118"/>
                  <a:pt x="2208882" y="4018932"/>
                </a:cubicBezTo>
                <a:cubicBezTo>
                  <a:pt x="2105995" y="3934068"/>
                  <a:pt x="2009160" y="3982562"/>
                  <a:pt x="1912324" y="4024994"/>
                </a:cubicBezTo>
                <a:cubicBezTo>
                  <a:pt x="1809437" y="4073488"/>
                  <a:pt x="1706550" y="4121982"/>
                  <a:pt x="1603662" y="4170476"/>
                </a:cubicBezTo>
                <a:cubicBezTo>
                  <a:pt x="1597610" y="4164414"/>
                  <a:pt x="1597610" y="4158352"/>
                  <a:pt x="1591558" y="4146229"/>
                </a:cubicBezTo>
                <a:cubicBezTo>
                  <a:pt x="1706550" y="4073488"/>
                  <a:pt x="1815489" y="4000747"/>
                  <a:pt x="1930481" y="3921945"/>
                </a:cubicBezTo>
                <a:cubicBezTo>
                  <a:pt x="1936533" y="3934068"/>
                  <a:pt x="1942585" y="3940130"/>
                  <a:pt x="1948638" y="3952253"/>
                </a:cubicBezTo>
                <a:cubicBezTo>
                  <a:pt x="1954690" y="3928006"/>
                  <a:pt x="1954690" y="3897698"/>
                  <a:pt x="1960742" y="3879512"/>
                </a:cubicBezTo>
                <a:cubicBezTo>
                  <a:pt x="1827594" y="3897698"/>
                  <a:pt x="1700497" y="3940130"/>
                  <a:pt x="1573401" y="3861327"/>
                </a:cubicBezTo>
                <a:cubicBezTo>
                  <a:pt x="1524984" y="3831019"/>
                  <a:pt x="1470514" y="3812833"/>
                  <a:pt x="1416044" y="3788586"/>
                </a:cubicBezTo>
                <a:cubicBezTo>
                  <a:pt x="1337366" y="3746154"/>
                  <a:pt x="1264739" y="3697660"/>
                  <a:pt x="1186061" y="3655228"/>
                </a:cubicBezTo>
                <a:cubicBezTo>
                  <a:pt x="1149747" y="3643105"/>
                  <a:pt x="1113434" y="3630981"/>
                  <a:pt x="1058964" y="3612796"/>
                </a:cubicBezTo>
                <a:cubicBezTo>
                  <a:pt x="1083173" y="3515808"/>
                  <a:pt x="1034755" y="3443067"/>
                  <a:pt x="895555" y="3443067"/>
                </a:cubicBezTo>
                <a:cubicBezTo>
                  <a:pt x="943973" y="3333956"/>
                  <a:pt x="913712" y="3303647"/>
                  <a:pt x="804772" y="3321833"/>
                </a:cubicBezTo>
                <a:cubicBezTo>
                  <a:pt x="701885" y="3340018"/>
                  <a:pt x="592945" y="3346080"/>
                  <a:pt x="465849" y="3364265"/>
                </a:cubicBezTo>
                <a:cubicBezTo>
                  <a:pt x="429536" y="3327894"/>
                  <a:pt x="417431" y="3291524"/>
                  <a:pt x="502162" y="3249092"/>
                </a:cubicBezTo>
                <a:cubicBezTo>
                  <a:pt x="707937" y="3127857"/>
                  <a:pt x="919764" y="3018746"/>
                  <a:pt x="1107382" y="2879326"/>
                </a:cubicBezTo>
                <a:cubicBezTo>
                  <a:pt x="1403940" y="2661103"/>
                  <a:pt x="1682341" y="2418634"/>
                  <a:pt x="1966794" y="2194350"/>
                </a:cubicBezTo>
                <a:cubicBezTo>
                  <a:pt x="2287561" y="1933695"/>
                  <a:pt x="2463075" y="1412385"/>
                  <a:pt x="2789893" y="1157792"/>
                </a:cubicBezTo>
                <a:cubicBezTo>
                  <a:pt x="3165130" y="866829"/>
                  <a:pt x="3685619" y="848643"/>
                  <a:pt x="4060855" y="563742"/>
                </a:cubicBezTo>
                <a:cubicBezTo>
                  <a:pt x="4260577" y="406137"/>
                  <a:pt x="4460300" y="242470"/>
                  <a:pt x="4660023" y="78803"/>
                </a:cubicBezTo>
                <a:cubicBezTo>
                  <a:pt x="4702388" y="48494"/>
                  <a:pt x="4720545" y="6062"/>
                  <a:pt x="4787119" y="66679"/>
                </a:cubicBezTo>
                <a:cubicBezTo>
                  <a:pt x="4817380" y="90926"/>
                  <a:pt x="4920267" y="30309"/>
                  <a:pt x="5004998" y="0"/>
                </a:cubicBezTo>
                <a:close/>
              </a:path>
            </a:pathLst>
          </a:custGeom>
        </p:spPr>
      </p:sp>
    </p:spTree>
    <p:extLst>
      <p:ext uri="{BB962C8B-B14F-4D97-AF65-F5344CB8AC3E}">
        <p14:creationId xmlns:p14="http://schemas.microsoft.com/office/powerpoint/2010/main" val="3413261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33_Custom Layout">
    <p:spTree>
      <p:nvGrpSpPr>
        <p:cNvPr id="1" name=""/>
        <p:cNvGrpSpPr/>
        <p:nvPr/>
      </p:nvGrpSpPr>
      <p:grpSpPr>
        <a:xfrm>
          <a:off x="0" y="0"/>
          <a:ext cx="0" cy="0"/>
          <a:chOff x="0" y="0"/>
          <a:chExt cx="0" cy="0"/>
        </a:xfrm>
      </p:grpSpPr>
      <p:sp>
        <p:nvSpPr>
          <p:cNvPr id="5" name="Freeform 4"/>
          <p:cNvSpPr>
            <a:spLocks noGrp="1"/>
          </p:cNvSpPr>
          <p:nvPr>
            <p:ph type="pic" sz="quarter" idx="10"/>
          </p:nvPr>
        </p:nvSpPr>
        <p:spPr>
          <a:xfrm>
            <a:off x="101592" y="285751"/>
            <a:ext cx="12090408" cy="5238749"/>
          </a:xfrm>
          <a:custGeom>
            <a:avLst/>
            <a:gdLst>
              <a:gd name="connsiteX0" fmla="*/ 4906702 w 9485517"/>
              <a:gd name="connsiteY0" fmla="*/ 332 h 4110055"/>
              <a:gd name="connsiteX1" fmla="*/ 5555718 w 9485517"/>
              <a:gd name="connsiteY1" fmla="*/ 33094 h 4110055"/>
              <a:gd name="connsiteX2" fmla="*/ 7577737 w 9485517"/>
              <a:gd name="connsiteY2" fmla="*/ 468485 h 4110055"/>
              <a:gd name="connsiteX3" fmla="*/ 8685848 w 9485517"/>
              <a:gd name="connsiteY3" fmla="*/ 949707 h 4110055"/>
              <a:gd name="connsiteX4" fmla="*/ 9485517 w 9485517"/>
              <a:gd name="connsiteY4" fmla="*/ 1385098 h 4110055"/>
              <a:gd name="connsiteX5" fmla="*/ 9142802 w 9485517"/>
              <a:gd name="connsiteY5" fmla="*/ 1385098 h 4110055"/>
              <a:gd name="connsiteX6" fmla="*/ 9154226 w 9485517"/>
              <a:gd name="connsiteY6" fmla="*/ 1545506 h 4110055"/>
              <a:gd name="connsiteX7" fmla="*/ 9005716 w 9485517"/>
              <a:gd name="connsiteY7" fmla="*/ 1545506 h 4110055"/>
              <a:gd name="connsiteX8" fmla="*/ 8491644 w 9485517"/>
              <a:gd name="connsiteY8" fmla="*/ 1408013 h 4110055"/>
              <a:gd name="connsiteX9" fmla="*/ 8091809 w 9485517"/>
              <a:gd name="connsiteY9" fmla="*/ 1453844 h 4110055"/>
              <a:gd name="connsiteX10" fmla="*/ 7920451 w 9485517"/>
              <a:gd name="connsiteY10" fmla="*/ 1430929 h 4110055"/>
              <a:gd name="connsiteX11" fmla="*/ 7463498 w 9485517"/>
              <a:gd name="connsiteY11" fmla="*/ 1304894 h 4110055"/>
              <a:gd name="connsiteX12" fmla="*/ 7707683 w 9485517"/>
              <a:gd name="connsiteY12" fmla="*/ 1594201 h 4110055"/>
              <a:gd name="connsiteX13" fmla="*/ 7755161 w 9485517"/>
              <a:gd name="connsiteY13" fmla="*/ 1650204 h 4110055"/>
              <a:gd name="connsiteX14" fmla="*/ 8016510 w 9485517"/>
              <a:gd name="connsiteY14" fmla="*/ 1785524 h 4110055"/>
              <a:gd name="connsiteX15" fmla="*/ 8294760 w 9485517"/>
              <a:gd name="connsiteY15" fmla="*/ 1944290 h 4110055"/>
              <a:gd name="connsiteX16" fmla="*/ 8058789 w 9485517"/>
              <a:gd name="connsiteY16" fmla="*/ 1944290 h 4110055"/>
              <a:gd name="connsiteX17" fmla="*/ 8066654 w 9485517"/>
              <a:gd name="connsiteY17" fmla="*/ 2054736 h 4110055"/>
              <a:gd name="connsiteX18" fmla="*/ 7964400 w 9485517"/>
              <a:gd name="connsiteY18" fmla="*/ 2054736 h 4110055"/>
              <a:gd name="connsiteX19" fmla="*/ 7610443 w 9485517"/>
              <a:gd name="connsiteY19" fmla="*/ 1960068 h 4110055"/>
              <a:gd name="connsiteX20" fmla="*/ 7335141 w 9485517"/>
              <a:gd name="connsiteY20" fmla="*/ 1991624 h 4110055"/>
              <a:gd name="connsiteX21" fmla="*/ 7217156 w 9485517"/>
              <a:gd name="connsiteY21" fmla="*/ 1975846 h 4110055"/>
              <a:gd name="connsiteX22" fmla="*/ 6902527 w 9485517"/>
              <a:gd name="connsiteY22" fmla="*/ 1889067 h 4110055"/>
              <a:gd name="connsiteX23" fmla="*/ 7209290 w 9485517"/>
              <a:gd name="connsiteY23" fmla="*/ 2251962 h 4110055"/>
              <a:gd name="connsiteX24" fmla="*/ 5455234 w 9485517"/>
              <a:gd name="connsiteY24" fmla="*/ 2046847 h 4110055"/>
              <a:gd name="connsiteX25" fmla="*/ 5478831 w 9485517"/>
              <a:gd name="connsiteY25" fmla="*/ 2102070 h 4110055"/>
              <a:gd name="connsiteX26" fmla="*/ 5408040 w 9485517"/>
              <a:gd name="connsiteY26" fmla="*/ 2149404 h 4110055"/>
              <a:gd name="connsiteX27" fmla="*/ 4597870 w 9485517"/>
              <a:gd name="connsiteY27" fmla="*/ 2267740 h 4110055"/>
              <a:gd name="connsiteX28" fmla="*/ 4505817 w 9485517"/>
              <a:gd name="connsiteY28" fmla="*/ 2289573 h 4110055"/>
              <a:gd name="connsiteX29" fmla="*/ 4442672 w 9485517"/>
              <a:gd name="connsiteY29" fmla="*/ 2313168 h 4110055"/>
              <a:gd name="connsiteX30" fmla="*/ 4744626 w 9485517"/>
              <a:gd name="connsiteY30" fmla="*/ 2313168 h 4110055"/>
              <a:gd name="connsiteX31" fmla="*/ 4744626 w 9485517"/>
              <a:gd name="connsiteY31" fmla="*/ 2393372 h 4110055"/>
              <a:gd name="connsiteX32" fmla="*/ 4269750 w 9485517"/>
              <a:gd name="connsiteY32" fmla="*/ 2393372 h 4110055"/>
              <a:gd name="connsiteX33" fmla="*/ 4245880 w 9485517"/>
              <a:gd name="connsiteY33" fmla="*/ 2404811 h 4110055"/>
              <a:gd name="connsiteX34" fmla="*/ 4159725 w 9485517"/>
              <a:gd name="connsiteY34" fmla="*/ 2445320 h 4110055"/>
              <a:gd name="connsiteX35" fmla="*/ 4132551 w 9485517"/>
              <a:gd name="connsiteY35" fmla="*/ 2455872 h 4110055"/>
              <a:gd name="connsiteX36" fmla="*/ 4523289 w 9485517"/>
              <a:gd name="connsiteY36" fmla="*/ 2513678 h 4110055"/>
              <a:gd name="connsiteX37" fmla="*/ 4865826 w 9485517"/>
              <a:gd name="connsiteY37" fmla="*/ 2561299 h 4110055"/>
              <a:gd name="connsiteX38" fmla="*/ 5024345 w 9485517"/>
              <a:gd name="connsiteY38" fmla="*/ 2583300 h 4110055"/>
              <a:gd name="connsiteX39" fmla="*/ 5030485 w 9485517"/>
              <a:gd name="connsiteY39" fmla="*/ 2583300 h 4110055"/>
              <a:gd name="connsiteX40" fmla="*/ 5030485 w 9485517"/>
              <a:gd name="connsiteY40" fmla="*/ 2584152 h 4110055"/>
              <a:gd name="connsiteX41" fmla="*/ 5224427 w 9485517"/>
              <a:gd name="connsiteY41" fmla="*/ 2611069 h 4110055"/>
              <a:gd name="connsiteX42" fmla="*/ 4763190 w 9485517"/>
              <a:gd name="connsiteY42" fmla="*/ 2695032 h 4110055"/>
              <a:gd name="connsiteX43" fmla="*/ 4734901 w 9485517"/>
              <a:gd name="connsiteY43" fmla="*/ 2700175 h 4110055"/>
              <a:gd name="connsiteX44" fmla="*/ 4878087 w 9485517"/>
              <a:gd name="connsiteY44" fmla="*/ 2721358 h 4110055"/>
              <a:gd name="connsiteX45" fmla="*/ 5360845 w 9485517"/>
              <a:gd name="connsiteY45" fmla="*/ 2788415 h 4110055"/>
              <a:gd name="connsiteX46" fmla="*/ 4149524 w 9485517"/>
              <a:gd name="connsiteY46" fmla="*/ 3009307 h 4110055"/>
              <a:gd name="connsiteX47" fmla="*/ 4149524 w 9485517"/>
              <a:gd name="connsiteY47" fmla="*/ 3056641 h 4110055"/>
              <a:gd name="connsiteX48" fmla="*/ 4416959 w 9485517"/>
              <a:gd name="connsiteY48" fmla="*/ 3119753 h 4110055"/>
              <a:gd name="connsiteX49" fmla="*/ 4416959 w 9485517"/>
              <a:gd name="connsiteY49" fmla="*/ 3151309 h 4110055"/>
              <a:gd name="connsiteX50" fmla="*/ 4055135 w 9485517"/>
              <a:gd name="connsiteY50" fmla="*/ 3174976 h 4110055"/>
              <a:gd name="connsiteX51" fmla="*/ 4055135 w 9485517"/>
              <a:gd name="connsiteY51" fmla="*/ 3190754 h 4110055"/>
              <a:gd name="connsiteX52" fmla="*/ 4393362 w 9485517"/>
              <a:gd name="connsiteY52" fmla="*/ 3222310 h 4110055"/>
              <a:gd name="connsiteX53" fmla="*/ 4330436 w 9485517"/>
              <a:gd name="connsiteY53" fmla="*/ 3277533 h 4110055"/>
              <a:gd name="connsiteX54" fmla="*/ 4456288 w 9485517"/>
              <a:gd name="connsiteY54" fmla="*/ 3316978 h 4110055"/>
              <a:gd name="connsiteX55" fmla="*/ 4306839 w 9485517"/>
              <a:gd name="connsiteY55" fmla="*/ 3356423 h 4110055"/>
              <a:gd name="connsiteX56" fmla="*/ 3205638 w 9485517"/>
              <a:gd name="connsiteY56" fmla="*/ 3553648 h 4110055"/>
              <a:gd name="connsiteX57" fmla="*/ 2206691 w 9485517"/>
              <a:gd name="connsiteY57" fmla="*/ 3813986 h 4110055"/>
              <a:gd name="connsiteX58" fmla="*/ 1923525 w 9485517"/>
              <a:gd name="connsiteY58" fmla="*/ 3798208 h 4110055"/>
              <a:gd name="connsiteX59" fmla="*/ 1904721 w 9485517"/>
              <a:gd name="connsiteY59" fmla="*/ 3785758 h 4110055"/>
              <a:gd name="connsiteX60" fmla="*/ 1891121 w 9485517"/>
              <a:gd name="connsiteY60" fmla="*/ 3770403 h 4110055"/>
              <a:gd name="connsiteX61" fmla="*/ 1727841 w 9485517"/>
              <a:gd name="connsiteY61" fmla="*/ 3808931 h 4110055"/>
              <a:gd name="connsiteX62" fmla="*/ 643470 w 9485517"/>
              <a:gd name="connsiteY62" fmla="*/ 4100564 h 4110055"/>
              <a:gd name="connsiteX63" fmla="*/ 232211 w 9485517"/>
              <a:gd name="connsiteY63" fmla="*/ 4077649 h 4110055"/>
              <a:gd name="connsiteX64" fmla="*/ 129396 w 9485517"/>
              <a:gd name="connsiteY64" fmla="*/ 3951614 h 4110055"/>
              <a:gd name="connsiteX65" fmla="*/ 129396 w 9485517"/>
              <a:gd name="connsiteY65" fmla="*/ 3837038 h 4110055"/>
              <a:gd name="connsiteX66" fmla="*/ 152244 w 9485517"/>
              <a:gd name="connsiteY66" fmla="*/ 2828764 h 4110055"/>
              <a:gd name="connsiteX67" fmla="*/ 620622 w 9485517"/>
              <a:gd name="connsiteY67" fmla="*/ 1854862 h 4110055"/>
              <a:gd name="connsiteX68" fmla="*/ 2985355 w 9485517"/>
              <a:gd name="connsiteY68" fmla="*/ 204959 h 4110055"/>
              <a:gd name="connsiteX69" fmla="*/ 4906702 w 9485517"/>
              <a:gd name="connsiteY69" fmla="*/ 332 h 4110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9485517" h="4110055">
                <a:moveTo>
                  <a:pt x="4906702" y="332"/>
                </a:moveTo>
                <a:cubicBezTo>
                  <a:pt x="5122326" y="2302"/>
                  <a:pt x="5338666" y="13044"/>
                  <a:pt x="5555718" y="33094"/>
                </a:cubicBezTo>
                <a:cubicBezTo>
                  <a:pt x="6252572" y="101840"/>
                  <a:pt x="6926578" y="239332"/>
                  <a:pt x="7577737" y="468485"/>
                </a:cubicBezTo>
                <a:cubicBezTo>
                  <a:pt x="7954723" y="594520"/>
                  <a:pt x="8320286" y="777843"/>
                  <a:pt x="8685848" y="949707"/>
                </a:cubicBezTo>
                <a:cubicBezTo>
                  <a:pt x="8948596" y="1075742"/>
                  <a:pt x="9211345" y="1224691"/>
                  <a:pt x="9485517" y="1385098"/>
                </a:cubicBezTo>
                <a:cubicBezTo>
                  <a:pt x="9371278" y="1385098"/>
                  <a:pt x="9257041" y="1385098"/>
                  <a:pt x="9142802" y="1385098"/>
                </a:cubicBezTo>
                <a:cubicBezTo>
                  <a:pt x="9142802" y="1430929"/>
                  <a:pt x="9142802" y="1488217"/>
                  <a:pt x="9154226" y="1545506"/>
                </a:cubicBezTo>
                <a:cubicBezTo>
                  <a:pt x="9108530" y="1545506"/>
                  <a:pt x="9051411" y="1556963"/>
                  <a:pt x="9005716" y="1545506"/>
                </a:cubicBezTo>
                <a:cubicBezTo>
                  <a:pt x="8834359" y="1499675"/>
                  <a:pt x="8663001" y="1430929"/>
                  <a:pt x="8491644" y="1408013"/>
                </a:cubicBezTo>
                <a:cubicBezTo>
                  <a:pt x="8354557" y="1385098"/>
                  <a:pt x="8206047" y="1281979"/>
                  <a:pt x="8091809" y="1453844"/>
                </a:cubicBezTo>
                <a:cubicBezTo>
                  <a:pt x="8068961" y="1476759"/>
                  <a:pt x="7977571" y="1442387"/>
                  <a:pt x="7920451" y="1430929"/>
                </a:cubicBezTo>
                <a:cubicBezTo>
                  <a:pt x="7783365" y="1396556"/>
                  <a:pt x="7646280" y="1350725"/>
                  <a:pt x="7463498" y="1304894"/>
                </a:cubicBezTo>
                <a:cubicBezTo>
                  <a:pt x="7554889" y="1413743"/>
                  <a:pt x="7634856" y="1508268"/>
                  <a:pt x="7707683" y="1594201"/>
                </a:cubicBezTo>
                <a:lnTo>
                  <a:pt x="7755161" y="1650204"/>
                </a:lnTo>
                <a:lnTo>
                  <a:pt x="8016510" y="1785524"/>
                </a:lnTo>
                <a:cubicBezTo>
                  <a:pt x="8107949" y="1835816"/>
                  <a:pt x="8200371" y="1889067"/>
                  <a:pt x="8294760" y="1944290"/>
                </a:cubicBezTo>
                <a:cubicBezTo>
                  <a:pt x="8216103" y="1944290"/>
                  <a:pt x="8137446" y="1944290"/>
                  <a:pt x="8058789" y="1944290"/>
                </a:cubicBezTo>
                <a:cubicBezTo>
                  <a:pt x="8058789" y="1975846"/>
                  <a:pt x="8058789" y="2015291"/>
                  <a:pt x="8066654" y="2054736"/>
                </a:cubicBezTo>
                <a:cubicBezTo>
                  <a:pt x="8035191" y="2054736"/>
                  <a:pt x="7995863" y="2062625"/>
                  <a:pt x="7964400" y="2054736"/>
                </a:cubicBezTo>
                <a:cubicBezTo>
                  <a:pt x="7846414" y="2023180"/>
                  <a:pt x="7728428" y="1975846"/>
                  <a:pt x="7610443" y="1960068"/>
                </a:cubicBezTo>
                <a:cubicBezTo>
                  <a:pt x="7516053" y="1944290"/>
                  <a:pt x="7413799" y="1873289"/>
                  <a:pt x="7335141" y="1991624"/>
                </a:cubicBezTo>
                <a:cubicBezTo>
                  <a:pt x="7319411" y="2007402"/>
                  <a:pt x="7256485" y="1983735"/>
                  <a:pt x="7217156" y="1975846"/>
                </a:cubicBezTo>
                <a:cubicBezTo>
                  <a:pt x="7122767" y="1952179"/>
                  <a:pt x="7028379" y="1920623"/>
                  <a:pt x="6902527" y="1889067"/>
                </a:cubicBezTo>
                <a:cubicBezTo>
                  <a:pt x="7028379" y="2038958"/>
                  <a:pt x="7122767" y="2149404"/>
                  <a:pt x="7209290" y="2251962"/>
                </a:cubicBezTo>
                <a:cubicBezTo>
                  <a:pt x="6642959" y="2180960"/>
                  <a:pt x="6045163" y="2117848"/>
                  <a:pt x="5455234" y="2046847"/>
                </a:cubicBezTo>
                <a:cubicBezTo>
                  <a:pt x="5463100" y="2070514"/>
                  <a:pt x="5470966" y="2086292"/>
                  <a:pt x="5478831" y="2102070"/>
                </a:cubicBezTo>
                <a:cubicBezTo>
                  <a:pt x="5455234" y="2117848"/>
                  <a:pt x="5431637" y="2141516"/>
                  <a:pt x="5408040" y="2149404"/>
                </a:cubicBezTo>
                <a:cubicBezTo>
                  <a:pt x="5140606" y="2188850"/>
                  <a:pt x="4865305" y="2236184"/>
                  <a:pt x="4597870" y="2267740"/>
                </a:cubicBezTo>
                <a:cubicBezTo>
                  <a:pt x="4566408" y="2272670"/>
                  <a:pt x="4535805" y="2280189"/>
                  <a:pt x="4505817" y="2289573"/>
                </a:cubicBezTo>
                <a:lnTo>
                  <a:pt x="4442672" y="2313168"/>
                </a:lnTo>
                <a:lnTo>
                  <a:pt x="4744626" y="2313168"/>
                </a:lnTo>
                <a:cubicBezTo>
                  <a:pt x="4744626" y="2336085"/>
                  <a:pt x="4744626" y="2370457"/>
                  <a:pt x="4744626" y="2393372"/>
                </a:cubicBezTo>
                <a:lnTo>
                  <a:pt x="4269750" y="2393372"/>
                </a:lnTo>
                <a:lnTo>
                  <a:pt x="4245880" y="2404811"/>
                </a:lnTo>
                <a:cubicBezTo>
                  <a:pt x="4217366" y="2418864"/>
                  <a:pt x="4188730" y="2432608"/>
                  <a:pt x="4159725" y="2445320"/>
                </a:cubicBezTo>
                <a:lnTo>
                  <a:pt x="4132551" y="2455872"/>
                </a:lnTo>
                <a:lnTo>
                  <a:pt x="4523289" y="2513678"/>
                </a:lnTo>
                <a:cubicBezTo>
                  <a:pt x="4635386" y="2529432"/>
                  <a:pt x="4749267" y="2545187"/>
                  <a:pt x="4865826" y="2561299"/>
                </a:cubicBezTo>
                <a:lnTo>
                  <a:pt x="5024345" y="2583300"/>
                </a:lnTo>
                <a:lnTo>
                  <a:pt x="5030485" y="2583300"/>
                </a:lnTo>
                <a:lnTo>
                  <a:pt x="5030485" y="2584152"/>
                </a:lnTo>
                <a:lnTo>
                  <a:pt x="5224427" y="2611069"/>
                </a:lnTo>
                <a:cubicBezTo>
                  <a:pt x="5067349" y="2639713"/>
                  <a:pt x="4913842" y="2667641"/>
                  <a:pt x="4763190" y="2695032"/>
                </a:cubicBezTo>
                <a:lnTo>
                  <a:pt x="4734901" y="2700175"/>
                </a:lnTo>
                <a:lnTo>
                  <a:pt x="4878087" y="2721358"/>
                </a:lnTo>
                <a:cubicBezTo>
                  <a:pt x="5032452" y="2743053"/>
                  <a:pt x="5191732" y="2764747"/>
                  <a:pt x="5360845" y="2788415"/>
                </a:cubicBezTo>
                <a:cubicBezTo>
                  <a:pt x="4928231" y="2867305"/>
                  <a:pt x="4534945" y="2938306"/>
                  <a:pt x="4149524" y="3009307"/>
                </a:cubicBezTo>
                <a:cubicBezTo>
                  <a:pt x="4149524" y="3025085"/>
                  <a:pt x="4149524" y="3040863"/>
                  <a:pt x="4149524" y="3056641"/>
                </a:cubicBezTo>
                <a:cubicBezTo>
                  <a:pt x="4236047" y="3080308"/>
                  <a:pt x="4330436" y="3103975"/>
                  <a:pt x="4416959" y="3119753"/>
                </a:cubicBezTo>
                <a:cubicBezTo>
                  <a:pt x="4416959" y="3135531"/>
                  <a:pt x="4416959" y="3143420"/>
                  <a:pt x="4416959" y="3151309"/>
                </a:cubicBezTo>
                <a:cubicBezTo>
                  <a:pt x="4298973" y="3159198"/>
                  <a:pt x="4173122" y="3167087"/>
                  <a:pt x="4055135" y="3174976"/>
                </a:cubicBezTo>
                <a:cubicBezTo>
                  <a:pt x="4055135" y="3182865"/>
                  <a:pt x="4055135" y="3190754"/>
                  <a:pt x="4055135" y="3190754"/>
                </a:cubicBezTo>
                <a:cubicBezTo>
                  <a:pt x="4157390" y="3206532"/>
                  <a:pt x="4267510" y="3214421"/>
                  <a:pt x="4393362" y="3222310"/>
                </a:cubicBezTo>
                <a:cubicBezTo>
                  <a:pt x="4361899" y="3245977"/>
                  <a:pt x="4346168" y="3261755"/>
                  <a:pt x="4330436" y="3277533"/>
                </a:cubicBezTo>
                <a:cubicBezTo>
                  <a:pt x="4354033" y="3285422"/>
                  <a:pt x="4385496" y="3293311"/>
                  <a:pt x="4456288" y="3316978"/>
                </a:cubicBezTo>
                <a:cubicBezTo>
                  <a:pt x="4377630" y="3332756"/>
                  <a:pt x="4346168" y="3348534"/>
                  <a:pt x="4306839" y="3356423"/>
                </a:cubicBezTo>
                <a:cubicBezTo>
                  <a:pt x="3937149" y="3419535"/>
                  <a:pt x="3567461" y="3474759"/>
                  <a:pt x="3205638" y="3553648"/>
                </a:cubicBezTo>
                <a:cubicBezTo>
                  <a:pt x="2867411" y="3624650"/>
                  <a:pt x="2537051" y="3735096"/>
                  <a:pt x="2206691" y="3813986"/>
                </a:cubicBezTo>
                <a:cubicBezTo>
                  <a:pt x="2120168" y="3829764"/>
                  <a:pt x="2017913" y="3813986"/>
                  <a:pt x="1923525" y="3798208"/>
                </a:cubicBezTo>
                <a:cubicBezTo>
                  <a:pt x="1917625" y="3796236"/>
                  <a:pt x="1911235" y="3791798"/>
                  <a:pt x="1904721" y="3785758"/>
                </a:cubicBezTo>
                <a:lnTo>
                  <a:pt x="1891121" y="3770403"/>
                </a:lnTo>
                <a:lnTo>
                  <a:pt x="1727841" y="3808931"/>
                </a:lnTo>
                <a:cubicBezTo>
                  <a:pt x="1363171" y="3902920"/>
                  <a:pt x="1003320" y="4014632"/>
                  <a:pt x="643470" y="4100564"/>
                </a:cubicBezTo>
                <a:cubicBezTo>
                  <a:pt x="517807" y="4123479"/>
                  <a:pt x="369297" y="4100564"/>
                  <a:pt x="232211" y="4077649"/>
                </a:cubicBezTo>
                <a:cubicBezTo>
                  <a:pt x="197940" y="4066191"/>
                  <a:pt x="152244" y="3997445"/>
                  <a:pt x="129396" y="3951614"/>
                </a:cubicBezTo>
                <a:cubicBezTo>
                  <a:pt x="117973" y="3917242"/>
                  <a:pt x="140821" y="3859953"/>
                  <a:pt x="129396" y="3837038"/>
                </a:cubicBezTo>
                <a:cubicBezTo>
                  <a:pt x="-133352" y="3493308"/>
                  <a:pt x="72277" y="3149578"/>
                  <a:pt x="152244" y="2828764"/>
                </a:cubicBezTo>
                <a:cubicBezTo>
                  <a:pt x="255058" y="2485034"/>
                  <a:pt x="414992" y="2141304"/>
                  <a:pt x="620622" y="1854862"/>
                </a:cubicBezTo>
                <a:cubicBezTo>
                  <a:pt x="1214661" y="1029910"/>
                  <a:pt x="1980058" y="434113"/>
                  <a:pt x="2985355" y="204959"/>
                </a:cubicBezTo>
                <a:cubicBezTo>
                  <a:pt x="3619378" y="67467"/>
                  <a:pt x="4259827" y="-5576"/>
                  <a:pt x="4906702" y="332"/>
                </a:cubicBezTo>
                <a:close/>
              </a:path>
            </a:pathLst>
          </a:custGeom>
        </p:spPr>
      </p:sp>
    </p:spTree>
    <p:extLst>
      <p:ext uri="{BB962C8B-B14F-4D97-AF65-F5344CB8AC3E}">
        <p14:creationId xmlns:p14="http://schemas.microsoft.com/office/powerpoint/2010/main" val="1221041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4_Custom Layout">
    <p:spTree>
      <p:nvGrpSpPr>
        <p:cNvPr id="1" name=""/>
        <p:cNvGrpSpPr/>
        <p:nvPr/>
      </p:nvGrpSpPr>
      <p:grpSpPr>
        <a:xfrm>
          <a:off x="0" y="0"/>
          <a:ext cx="0" cy="0"/>
          <a:chOff x="0" y="0"/>
          <a:chExt cx="0" cy="0"/>
        </a:xfrm>
      </p:grpSpPr>
      <p:sp>
        <p:nvSpPr>
          <p:cNvPr id="5" name="Freeform 4"/>
          <p:cNvSpPr>
            <a:spLocks noGrp="1"/>
          </p:cNvSpPr>
          <p:nvPr>
            <p:ph type="pic" sz="quarter" idx="10"/>
          </p:nvPr>
        </p:nvSpPr>
        <p:spPr>
          <a:xfrm>
            <a:off x="5695949" y="0"/>
            <a:ext cx="5829300" cy="7051380"/>
          </a:xfrm>
          <a:custGeom>
            <a:avLst/>
            <a:gdLst>
              <a:gd name="connsiteX0" fmla="*/ 4742410 w 5829300"/>
              <a:gd name="connsiteY0" fmla="*/ 0 h 7051380"/>
              <a:gd name="connsiteX1" fmla="*/ 4760626 w 5829300"/>
              <a:gd name="connsiteY1" fmla="*/ 15182 h 7051380"/>
              <a:gd name="connsiteX2" fmla="*/ 4684726 w 5829300"/>
              <a:gd name="connsiteY2" fmla="*/ 139673 h 7051380"/>
              <a:gd name="connsiteX3" fmla="*/ 4702942 w 5829300"/>
              <a:gd name="connsiteY3" fmla="*/ 154855 h 7051380"/>
              <a:gd name="connsiteX4" fmla="*/ 4787950 w 5829300"/>
              <a:gd name="connsiteY4" fmla="*/ 24291 h 7051380"/>
              <a:gd name="connsiteX5" fmla="*/ 4818310 w 5829300"/>
              <a:gd name="connsiteY5" fmla="*/ 45546 h 7051380"/>
              <a:gd name="connsiteX6" fmla="*/ 4775806 w 5829300"/>
              <a:gd name="connsiteY6" fmla="*/ 194328 h 7051380"/>
              <a:gd name="connsiteX7" fmla="*/ 4794022 w 5829300"/>
              <a:gd name="connsiteY7" fmla="*/ 203437 h 7051380"/>
              <a:gd name="connsiteX8" fmla="*/ 4994398 w 5829300"/>
              <a:gd name="connsiteY8" fmla="*/ 6073 h 7051380"/>
              <a:gd name="connsiteX9" fmla="*/ 4942786 w 5829300"/>
              <a:gd name="connsiteY9" fmla="*/ 252019 h 7051380"/>
              <a:gd name="connsiteX10" fmla="*/ 5143163 w 5829300"/>
              <a:gd name="connsiteY10" fmla="*/ 194328 h 7051380"/>
              <a:gd name="connsiteX11" fmla="*/ 5176559 w 5829300"/>
              <a:gd name="connsiteY11" fmla="*/ 170037 h 7051380"/>
              <a:gd name="connsiteX12" fmla="*/ 5176559 w 5829300"/>
              <a:gd name="connsiteY12" fmla="*/ 212546 h 7051380"/>
              <a:gd name="connsiteX13" fmla="*/ 5134054 w 5829300"/>
              <a:gd name="connsiteY13" fmla="*/ 297564 h 7051380"/>
              <a:gd name="connsiteX14" fmla="*/ 5340504 w 5829300"/>
              <a:gd name="connsiteY14" fmla="*/ 127528 h 7051380"/>
              <a:gd name="connsiteX15" fmla="*/ 5334431 w 5829300"/>
              <a:gd name="connsiteY15" fmla="*/ 209510 h 7051380"/>
              <a:gd name="connsiteX16" fmla="*/ 5510520 w 5829300"/>
              <a:gd name="connsiteY16" fmla="*/ 91091 h 7051380"/>
              <a:gd name="connsiteX17" fmla="*/ 5522664 w 5829300"/>
              <a:gd name="connsiteY17" fmla="*/ 100201 h 7051380"/>
              <a:gd name="connsiteX18" fmla="*/ 5431583 w 5829300"/>
              <a:gd name="connsiteY18" fmla="*/ 236837 h 7051380"/>
              <a:gd name="connsiteX19" fmla="*/ 5455872 w 5829300"/>
              <a:gd name="connsiteY19" fmla="*/ 258092 h 7051380"/>
              <a:gd name="connsiteX20" fmla="*/ 5543915 w 5829300"/>
              <a:gd name="connsiteY20" fmla="*/ 118418 h 7051380"/>
              <a:gd name="connsiteX21" fmla="*/ 5580348 w 5829300"/>
              <a:gd name="connsiteY21" fmla="*/ 151819 h 7051380"/>
              <a:gd name="connsiteX22" fmla="*/ 5352647 w 5829300"/>
              <a:gd name="connsiteY22" fmla="*/ 428128 h 7051380"/>
              <a:gd name="connsiteX23" fmla="*/ 5370864 w 5829300"/>
              <a:gd name="connsiteY23" fmla="*/ 443310 h 7051380"/>
              <a:gd name="connsiteX24" fmla="*/ 5747328 w 5829300"/>
              <a:gd name="connsiteY24" fmla="*/ 75909 h 7051380"/>
              <a:gd name="connsiteX25" fmla="*/ 5583384 w 5829300"/>
              <a:gd name="connsiteY25" fmla="*/ 422056 h 7051380"/>
              <a:gd name="connsiteX26" fmla="*/ 5647140 w 5829300"/>
              <a:gd name="connsiteY26" fmla="*/ 473674 h 7051380"/>
              <a:gd name="connsiteX27" fmla="*/ 5680536 w 5829300"/>
              <a:gd name="connsiteY27" fmla="*/ 643711 h 7051380"/>
              <a:gd name="connsiteX28" fmla="*/ 5583384 w 5829300"/>
              <a:gd name="connsiteY28" fmla="*/ 838038 h 7051380"/>
              <a:gd name="connsiteX29" fmla="*/ 5692680 w 5829300"/>
              <a:gd name="connsiteY29" fmla="*/ 771238 h 7051380"/>
              <a:gd name="connsiteX30" fmla="*/ 5710896 w 5829300"/>
              <a:gd name="connsiteY30" fmla="*/ 783384 h 7051380"/>
              <a:gd name="connsiteX31" fmla="*/ 5549988 w 5829300"/>
              <a:gd name="connsiteY31" fmla="*/ 1102202 h 7051380"/>
              <a:gd name="connsiteX32" fmla="*/ 5565168 w 5829300"/>
              <a:gd name="connsiteY32" fmla="*/ 1159894 h 7051380"/>
              <a:gd name="connsiteX33" fmla="*/ 5619816 w 5829300"/>
              <a:gd name="connsiteY33" fmla="*/ 1342076 h 7051380"/>
              <a:gd name="connsiteX34" fmla="*/ 5404259 w 5829300"/>
              <a:gd name="connsiteY34" fmla="*/ 1824859 h 7051380"/>
              <a:gd name="connsiteX35" fmla="*/ 5410332 w 5829300"/>
              <a:gd name="connsiteY35" fmla="*/ 1867368 h 7051380"/>
              <a:gd name="connsiteX36" fmla="*/ 5446763 w 5829300"/>
              <a:gd name="connsiteY36" fmla="*/ 1985787 h 7051380"/>
              <a:gd name="connsiteX37" fmla="*/ 5577312 w 5829300"/>
              <a:gd name="connsiteY37" fmla="*/ 1864332 h 7051380"/>
              <a:gd name="connsiteX38" fmla="*/ 5589456 w 5829300"/>
              <a:gd name="connsiteY38" fmla="*/ 1870404 h 7051380"/>
              <a:gd name="connsiteX39" fmla="*/ 5549988 w 5829300"/>
              <a:gd name="connsiteY39" fmla="*/ 2000968 h 7051380"/>
              <a:gd name="connsiteX40" fmla="*/ 5741256 w 5829300"/>
              <a:gd name="connsiteY40" fmla="*/ 1915950 h 7051380"/>
              <a:gd name="connsiteX41" fmla="*/ 5668392 w 5829300"/>
              <a:gd name="connsiteY41" fmla="*/ 2079914 h 7051380"/>
              <a:gd name="connsiteX42" fmla="*/ 5692680 w 5829300"/>
              <a:gd name="connsiteY42" fmla="*/ 2237806 h 7051380"/>
              <a:gd name="connsiteX43" fmla="*/ 5811085 w 5829300"/>
              <a:gd name="connsiteY43" fmla="*/ 2128496 h 7051380"/>
              <a:gd name="connsiteX44" fmla="*/ 5829300 w 5829300"/>
              <a:gd name="connsiteY44" fmla="*/ 2137605 h 7051380"/>
              <a:gd name="connsiteX45" fmla="*/ 5747328 w 5829300"/>
              <a:gd name="connsiteY45" fmla="*/ 2295496 h 7051380"/>
              <a:gd name="connsiteX46" fmla="*/ 5786796 w 5829300"/>
              <a:gd name="connsiteY46" fmla="*/ 2404805 h 7051380"/>
              <a:gd name="connsiteX47" fmla="*/ 5437276 w 5829300"/>
              <a:gd name="connsiteY47" fmla="*/ 3134673 h 7051380"/>
              <a:gd name="connsiteX48" fmla="*/ 5272826 w 5829300"/>
              <a:gd name="connsiteY48" fmla="*/ 3443994 h 7051380"/>
              <a:gd name="connsiteX49" fmla="*/ 5307909 w 5829300"/>
              <a:gd name="connsiteY49" fmla="*/ 3476943 h 7051380"/>
              <a:gd name="connsiteX50" fmla="*/ 5294971 w 5829300"/>
              <a:gd name="connsiteY50" fmla="*/ 3616394 h 7051380"/>
              <a:gd name="connsiteX51" fmla="*/ 5427857 w 5829300"/>
              <a:gd name="connsiteY51" fmla="*/ 3493716 h 7051380"/>
              <a:gd name="connsiteX52" fmla="*/ 5448300 w 5829300"/>
              <a:gd name="connsiteY52" fmla="*/ 3503939 h 7051380"/>
              <a:gd name="connsiteX53" fmla="*/ 5356303 w 5829300"/>
              <a:gd name="connsiteY53" fmla="*/ 3681141 h 7051380"/>
              <a:gd name="connsiteX54" fmla="*/ 5400598 w 5829300"/>
              <a:gd name="connsiteY54" fmla="*/ 3803818 h 7051380"/>
              <a:gd name="connsiteX55" fmla="*/ 4572620 w 5829300"/>
              <a:gd name="connsiteY55" fmla="*/ 5419081 h 7051380"/>
              <a:gd name="connsiteX56" fmla="*/ 4313664 w 5829300"/>
              <a:gd name="connsiteY56" fmla="*/ 5926832 h 7051380"/>
              <a:gd name="connsiteX57" fmla="*/ 4300035 w 5829300"/>
              <a:gd name="connsiteY57" fmla="*/ 5828007 h 7051380"/>
              <a:gd name="connsiteX58" fmla="*/ 4364773 w 5829300"/>
              <a:gd name="connsiteY58" fmla="*/ 5582651 h 7051380"/>
              <a:gd name="connsiteX59" fmla="*/ 4323886 w 5829300"/>
              <a:gd name="connsiteY59" fmla="*/ 5637175 h 7051380"/>
              <a:gd name="connsiteX60" fmla="*/ 4310257 w 5829300"/>
              <a:gd name="connsiteY60" fmla="*/ 5630359 h 7051380"/>
              <a:gd name="connsiteX61" fmla="*/ 4429512 w 5829300"/>
              <a:gd name="connsiteY61" fmla="*/ 5310033 h 7051380"/>
              <a:gd name="connsiteX62" fmla="*/ 4409069 w 5829300"/>
              <a:gd name="connsiteY62" fmla="*/ 5299809 h 7051380"/>
              <a:gd name="connsiteX63" fmla="*/ 4214852 w 5829300"/>
              <a:gd name="connsiteY63" fmla="*/ 5698514 h 7051380"/>
              <a:gd name="connsiteX64" fmla="*/ 4170557 w 5829300"/>
              <a:gd name="connsiteY64" fmla="*/ 5592874 h 7051380"/>
              <a:gd name="connsiteX65" fmla="*/ 3792344 w 5829300"/>
              <a:gd name="connsiteY65" fmla="*/ 6325535 h 7051380"/>
              <a:gd name="connsiteX66" fmla="*/ 3782122 w 5829300"/>
              <a:gd name="connsiteY66" fmla="*/ 6151741 h 7051380"/>
              <a:gd name="connsiteX67" fmla="*/ 3775307 w 5829300"/>
              <a:gd name="connsiteY67" fmla="*/ 6083587 h 7051380"/>
              <a:gd name="connsiteX68" fmla="*/ 3744641 w 5829300"/>
              <a:gd name="connsiteY68" fmla="*/ 6083587 h 7051380"/>
              <a:gd name="connsiteX69" fmla="*/ 3604942 w 5829300"/>
              <a:gd name="connsiteY69" fmla="*/ 6380059 h 7051380"/>
              <a:gd name="connsiteX70" fmla="*/ 3577683 w 5829300"/>
              <a:gd name="connsiteY70" fmla="*/ 6376651 h 7051380"/>
              <a:gd name="connsiteX71" fmla="*/ 3628793 w 5829300"/>
              <a:gd name="connsiteY71" fmla="*/ 6114256 h 7051380"/>
              <a:gd name="connsiteX72" fmla="*/ 3581091 w 5829300"/>
              <a:gd name="connsiteY72" fmla="*/ 6138110 h 7051380"/>
              <a:gd name="connsiteX73" fmla="*/ 3639015 w 5829300"/>
              <a:gd name="connsiteY73" fmla="*/ 5885939 h 7051380"/>
              <a:gd name="connsiteX74" fmla="*/ 3611757 w 5829300"/>
              <a:gd name="connsiteY74" fmla="*/ 5882531 h 7051380"/>
              <a:gd name="connsiteX75" fmla="*/ 3397095 w 5829300"/>
              <a:gd name="connsiteY75" fmla="*/ 6325535 h 7051380"/>
              <a:gd name="connsiteX76" fmla="*/ 3380058 w 5829300"/>
              <a:gd name="connsiteY76" fmla="*/ 6328942 h 7051380"/>
              <a:gd name="connsiteX77" fmla="*/ 3380058 w 5829300"/>
              <a:gd name="connsiteY77" fmla="*/ 6185819 h 7051380"/>
              <a:gd name="connsiteX78" fmla="*/ 3366429 w 5829300"/>
              <a:gd name="connsiteY78" fmla="*/ 6179003 h 7051380"/>
              <a:gd name="connsiteX79" fmla="*/ 2947330 w 5829300"/>
              <a:gd name="connsiteY79" fmla="*/ 7051380 h 7051380"/>
              <a:gd name="connsiteX80" fmla="*/ 2930293 w 5829300"/>
              <a:gd name="connsiteY80" fmla="*/ 7044565 h 7051380"/>
              <a:gd name="connsiteX81" fmla="*/ 3022291 w 5829300"/>
              <a:gd name="connsiteY81" fmla="*/ 6717423 h 7051380"/>
              <a:gd name="connsiteX82" fmla="*/ 3008661 w 5829300"/>
              <a:gd name="connsiteY82" fmla="*/ 6714016 h 7051380"/>
              <a:gd name="connsiteX83" fmla="*/ 2896220 w 5829300"/>
              <a:gd name="connsiteY83" fmla="*/ 6945741 h 7051380"/>
              <a:gd name="connsiteX84" fmla="*/ 2875776 w 5829300"/>
              <a:gd name="connsiteY84" fmla="*/ 6935518 h 7051380"/>
              <a:gd name="connsiteX85" fmla="*/ 3179027 w 5829300"/>
              <a:gd name="connsiteY85" fmla="*/ 6086995 h 7051380"/>
              <a:gd name="connsiteX86" fmla="*/ 3161990 w 5829300"/>
              <a:gd name="connsiteY86" fmla="*/ 6080179 h 7051380"/>
              <a:gd name="connsiteX87" fmla="*/ 2943922 w 5829300"/>
              <a:gd name="connsiteY87" fmla="*/ 6536814 h 7051380"/>
              <a:gd name="connsiteX88" fmla="*/ 2920072 w 5829300"/>
              <a:gd name="connsiteY88" fmla="*/ 6536814 h 7051380"/>
              <a:gd name="connsiteX89" fmla="*/ 2920072 w 5829300"/>
              <a:gd name="connsiteY89" fmla="*/ 6448213 h 7051380"/>
              <a:gd name="connsiteX90" fmla="*/ 3090437 w 5829300"/>
              <a:gd name="connsiteY90" fmla="*/ 5977947 h 7051380"/>
              <a:gd name="connsiteX91" fmla="*/ 3066586 w 5829300"/>
              <a:gd name="connsiteY91" fmla="*/ 5967724 h 7051380"/>
              <a:gd name="connsiteX92" fmla="*/ 2995032 w 5829300"/>
              <a:gd name="connsiteY92" fmla="*/ 6144926 h 7051380"/>
              <a:gd name="connsiteX93" fmla="*/ 3059771 w 5829300"/>
              <a:gd name="connsiteY93" fmla="*/ 5838231 h 7051380"/>
              <a:gd name="connsiteX94" fmla="*/ 2879183 w 5829300"/>
              <a:gd name="connsiteY94" fmla="*/ 5984763 h 7051380"/>
              <a:gd name="connsiteX95" fmla="*/ 2776964 w 5829300"/>
              <a:gd name="connsiteY95" fmla="*/ 6213080 h 7051380"/>
              <a:gd name="connsiteX96" fmla="*/ 2742890 w 5829300"/>
              <a:gd name="connsiteY96" fmla="*/ 6305089 h 7051380"/>
              <a:gd name="connsiteX97" fmla="*/ 2712224 w 5829300"/>
              <a:gd name="connsiteY97" fmla="*/ 6250565 h 7051380"/>
              <a:gd name="connsiteX98" fmla="*/ 2603190 w 5829300"/>
              <a:gd name="connsiteY98" fmla="*/ 6468659 h 7051380"/>
              <a:gd name="connsiteX99" fmla="*/ 2586154 w 5829300"/>
              <a:gd name="connsiteY99" fmla="*/ 6465252 h 7051380"/>
              <a:gd name="connsiteX100" fmla="*/ 2644079 w 5829300"/>
              <a:gd name="connsiteY100" fmla="*/ 6243750 h 7051380"/>
              <a:gd name="connsiteX101" fmla="*/ 2633857 w 5829300"/>
              <a:gd name="connsiteY101" fmla="*/ 6243750 h 7051380"/>
              <a:gd name="connsiteX102" fmla="*/ 2541859 w 5829300"/>
              <a:gd name="connsiteY102" fmla="*/ 6386874 h 7051380"/>
              <a:gd name="connsiteX103" fmla="*/ 2518008 w 5829300"/>
              <a:gd name="connsiteY103" fmla="*/ 6380059 h 7051380"/>
              <a:gd name="connsiteX104" fmla="*/ 2630449 w 5829300"/>
              <a:gd name="connsiteY104" fmla="*/ 6012025 h 7051380"/>
              <a:gd name="connsiteX105" fmla="*/ 2616819 w 5829300"/>
              <a:gd name="connsiteY105" fmla="*/ 6005209 h 7051380"/>
              <a:gd name="connsiteX106" fmla="*/ 2514600 w 5829300"/>
              <a:gd name="connsiteY106" fmla="*/ 6236934 h 7051380"/>
              <a:gd name="connsiteX107" fmla="*/ 2490750 w 5829300"/>
              <a:gd name="connsiteY107" fmla="*/ 6230119 h 7051380"/>
              <a:gd name="connsiteX108" fmla="*/ 2528230 w 5829300"/>
              <a:gd name="connsiteY108" fmla="*/ 6097217 h 7051380"/>
              <a:gd name="connsiteX109" fmla="*/ 2514600 w 5829300"/>
              <a:gd name="connsiteY109" fmla="*/ 6093810 h 7051380"/>
              <a:gd name="connsiteX110" fmla="*/ 2368086 w 5829300"/>
              <a:gd name="connsiteY110" fmla="*/ 6400505 h 7051380"/>
              <a:gd name="connsiteX111" fmla="*/ 2351049 w 5829300"/>
              <a:gd name="connsiteY111" fmla="*/ 6366428 h 7051380"/>
              <a:gd name="connsiteX112" fmla="*/ 2177276 w 5829300"/>
              <a:gd name="connsiteY112" fmla="*/ 6710608 h 7051380"/>
              <a:gd name="connsiteX113" fmla="*/ 2167054 w 5829300"/>
              <a:gd name="connsiteY113" fmla="*/ 6714016 h 7051380"/>
              <a:gd name="connsiteX114" fmla="*/ 2224978 w 5829300"/>
              <a:gd name="connsiteY114" fmla="*/ 6455028 h 7051380"/>
              <a:gd name="connsiteX115" fmla="*/ 2214757 w 5829300"/>
              <a:gd name="connsiteY115" fmla="*/ 6448213 h 7051380"/>
              <a:gd name="connsiteX116" fmla="*/ 2129573 w 5829300"/>
              <a:gd name="connsiteY116" fmla="*/ 6570891 h 7051380"/>
              <a:gd name="connsiteX117" fmla="*/ 2105723 w 5829300"/>
              <a:gd name="connsiteY117" fmla="*/ 6567484 h 7051380"/>
              <a:gd name="connsiteX118" fmla="*/ 2143202 w 5829300"/>
              <a:gd name="connsiteY118" fmla="*/ 6315311 h 7051380"/>
              <a:gd name="connsiteX119" fmla="*/ 2081871 w 5829300"/>
              <a:gd name="connsiteY119" fmla="*/ 6397097 h 7051380"/>
              <a:gd name="connsiteX120" fmla="*/ 2068242 w 5829300"/>
              <a:gd name="connsiteY120" fmla="*/ 6380059 h 7051380"/>
              <a:gd name="connsiteX121" fmla="*/ 2146610 w 5829300"/>
              <a:gd name="connsiteY121" fmla="*/ 5950685 h 7051380"/>
              <a:gd name="connsiteX122" fmla="*/ 2081871 w 5829300"/>
              <a:gd name="connsiteY122" fmla="*/ 5994985 h 7051380"/>
              <a:gd name="connsiteX123" fmla="*/ 1891061 w 5829300"/>
              <a:gd name="connsiteY123" fmla="*/ 6434583 h 7051380"/>
              <a:gd name="connsiteX124" fmla="*/ 1867210 w 5829300"/>
              <a:gd name="connsiteY124" fmla="*/ 6427767 h 7051380"/>
              <a:gd name="connsiteX125" fmla="*/ 1931949 w 5829300"/>
              <a:gd name="connsiteY125" fmla="*/ 6185819 h 7051380"/>
              <a:gd name="connsiteX126" fmla="*/ 1853581 w 5829300"/>
              <a:gd name="connsiteY126" fmla="*/ 6202857 h 7051380"/>
              <a:gd name="connsiteX127" fmla="*/ 1782027 w 5829300"/>
              <a:gd name="connsiteY127" fmla="*/ 6366428 h 7051380"/>
              <a:gd name="connsiteX128" fmla="*/ 1891061 w 5829300"/>
              <a:gd name="connsiteY128" fmla="*/ 5657621 h 7051380"/>
              <a:gd name="connsiteX129" fmla="*/ 1867210 w 5829300"/>
              <a:gd name="connsiteY129" fmla="*/ 5647397 h 7051380"/>
              <a:gd name="connsiteX130" fmla="*/ 1533293 w 5829300"/>
              <a:gd name="connsiteY130" fmla="*/ 6363020 h 7051380"/>
              <a:gd name="connsiteX131" fmla="*/ 1495813 w 5829300"/>
              <a:gd name="connsiteY131" fmla="*/ 6322127 h 7051380"/>
              <a:gd name="connsiteX132" fmla="*/ 1475368 w 5829300"/>
              <a:gd name="connsiteY132" fmla="*/ 6366428 h 7051380"/>
              <a:gd name="connsiteX133" fmla="*/ 1458332 w 5829300"/>
              <a:gd name="connsiteY133" fmla="*/ 6335758 h 7051380"/>
              <a:gd name="connsiteX134" fmla="*/ 1359520 w 5829300"/>
              <a:gd name="connsiteY134" fmla="*/ 6529998 h 7051380"/>
              <a:gd name="connsiteX135" fmla="*/ 1342484 w 5829300"/>
              <a:gd name="connsiteY135" fmla="*/ 6523183 h 7051380"/>
              <a:gd name="connsiteX136" fmla="*/ 1356113 w 5829300"/>
              <a:gd name="connsiteY136" fmla="*/ 6410728 h 7051380"/>
              <a:gd name="connsiteX137" fmla="*/ 1339076 w 5829300"/>
              <a:gd name="connsiteY137" fmla="*/ 6397097 h 7051380"/>
              <a:gd name="connsiteX138" fmla="*/ 1243671 w 5829300"/>
              <a:gd name="connsiteY138" fmla="*/ 6506145 h 7051380"/>
              <a:gd name="connsiteX139" fmla="*/ 1352705 w 5829300"/>
              <a:gd name="connsiteY139" fmla="*/ 6080179 h 7051380"/>
              <a:gd name="connsiteX140" fmla="*/ 1342484 w 5829300"/>
              <a:gd name="connsiteY140" fmla="*/ 6073364 h 7051380"/>
              <a:gd name="connsiteX141" fmla="*/ 834793 w 5829300"/>
              <a:gd name="connsiteY141" fmla="*/ 7044565 h 7051380"/>
              <a:gd name="connsiteX142" fmla="*/ 824571 w 5829300"/>
              <a:gd name="connsiteY142" fmla="*/ 7041158 h 7051380"/>
              <a:gd name="connsiteX143" fmla="*/ 916568 w 5829300"/>
              <a:gd name="connsiteY143" fmla="*/ 6720831 h 7051380"/>
              <a:gd name="connsiteX144" fmla="*/ 902939 w 5829300"/>
              <a:gd name="connsiteY144" fmla="*/ 6714016 h 7051380"/>
              <a:gd name="connsiteX145" fmla="*/ 790497 w 5829300"/>
              <a:gd name="connsiteY145" fmla="*/ 6942334 h 7051380"/>
              <a:gd name="connsiteX146" fmla="*/ 773461 w 5829300"/>
              <a:gd name="connsiteY146" fmla="*/ 6938925 h 7051380"/>
              <a:gd name="connsiteX147" fmla="*/ 1032417 w 5829300"/>
              <a:gd name="connsiteY147" fmla="*/ 6189226 h 7051380"/>
              <a:gd name="connsiteX148" fmla="*/ 1005159 w 5829300"/>
              <a:gd name="connsiteY148" fmla="*/ 6175595 h 7051380"/>
              <a:gd name="connsiteX149" fmla="*/ 841607 w 5829300"/>
              <a:gd name="connsiteY149" fmla="*/ 6533407 h 7051380"/>
              <a:gd name="connsiteX150" fmla="*/ 814349 w 5829300"/>
              <a:gd name="connsiteY150" fmla="*/ 6455028 h 7051380"/>
              <a:gd name="connsiteX151" fmla="*/ 1018788 w 5829300"/>
              <a:gd name="connsiteY151" fmla="*/ 5947277 h 7051380"/>
              <a:gd name="connsiteX152" fmla="*/ 1008566 w 5829300"/>
              <a:gd name="connsiteY152" fmla="*/ 5899570 h 7051380"/>
              <a:gd name="connsiteX153" fmla="*/ 845015 w 5829300"/>
              <a:gd name="connsiteY153" fmla="*/ 6213080 h 7051380"/>
              <a:gd name="connsiteX154" fmla="*/ 831386 w 5829300"/>
              <a:gd name="connsiteY154" fmla="*/ 6206265 h 7051380"/>
              <a:gd name="connsiteX155" fmla="*/ 875681 w 5829300"/>
              <a:gd name="connsiteY155" fmla="*/ 6012025 h 7051380"/>
              <a:gd name="connsiteX156" fmla="*/ 848422 w 5829300"/>
              <a:gd name="connsiteY156" fmla="*/ 6001801 h 7051380"/>
              <a:gd name="connsiteX157" fmla="*/ 790497 w 5829300"/>
              <a:gd name="connsiteY157" fmla="*/ 6110848 h 7051380"/>
              <a:gd name="connsiteX158" fmla="*/ 773461 w 5829300"/>
              <a:gd name="connsiteY158" fmla="*/ 6104033 h 7051380"/>
              <a:gd name="connsiteX159" fmla="*/ 1076712 w 5829300"/>
              <a:gd name="connsiteY159" fmla="*/ 5252101 h 7051380"/>
              <a:gd name="connsiteX160" fmla="*/ 1052861 w 5829300"/>
              <a:gd name="connsiteY160" fmla="*/ 5241878 h 7051380"/>
              <a:gd name="connsiteX161" fmla="*/ 848422 w 5829300"/>
              <a:gd name="connsiteY161" fmla="*/ 5678068 h 7051380"/>
              <a:gd name="connsiteX162" fmla="*/ 851830 w 5829300"/>
              <a:gd name="connsiteY162" fmla="*/ 5531535 h 7051380"/>
              <a:gd name="connsiteX163" fmla="*/ 919976 w 5829300"/>
              <a:gd name="connsiteY163" fmla="*/ 5364557 h 7051380"/>
              <a:gd name="connsiteX164" fmla="*/ 906346 w 5829300"/>
              <a:gd name="connsiteY164" fmla="*/ 5354333 h 7051380"/>
              <a:gd name="connsiteX165" fmla="*/ 599688 w 5829300"/>
              <a:gd name="connsiteY165" fmla="*/ 5596282 h 7051380"/>
              <a:gd name="connsiteX166" fmla="*/ 350954 w 5829300"/>
              <a:gd name="connsiteY166" fmla="*/ 5879123 h 7051380"/>
              <a:gd name="connsiteX167" fmla="*/ 231698 w 5829300"/>
              <a:gd name="connsiteY167" fmla="*/ 5926832 h 7051380"/>
              <a:gd name="connsiteX168" fmla="*/ 51110 w 5829300"/>
              <a:gd name="connsiteY168" fmla="*/ 5967724 h 7051380"/>
              <a:gd name="connsiteX169" fmla="*/ 156736 w 5829300"/>
              <a:gd name="connsiteY169" fmla="*/ 5650806 h 7051380"/>
              <a:gd name="connsiteX170" fmla="*/ 13629 w 5829300"/>
              <a:gd name="connsiteY170" fmla="*/ 5763260 h 7051380"/>
              <a:gd name="connsiteX171" fmla="*/ 279401 w 5829300"/>
              <a:gd name="connsiteY171" fmla="*/ 5218024 h 7051380"/>
              <a:gd name="connsiteX172" fmla="*/ 255549 w 5829300"/>
              <a:gd name="connsiteY172" fmla="*/ 5207801 h 7051380"/>
              <a:gd name="connsiteX173" fmla="*/ 357769 w 5829300"/>
              <a:gd name="connsiteY173" fmla="*/ 5054454 h 7051380"/>
              <a:gd name="connsiteX174" fmla="*/ 71554 w 5829300"/>
              <a:gd name="connsiteY174" fmla="*/ 5126015 h 7051380"/>
              <a:gd name="connsiteX175" fmla="*/ 201032 w 5829300"/>
              <a:gd name="connsiteY175" fmla="*/ 4836359 h 7051380"/>
              <a:gd name="connsiteX176" fmla="*/ 170366 w 5829300"/>
              <a:gd name="connsiteY176" fmla="*/ 4819320 h 7051380"/>
              <a:gd name="connsiteX177" fmla="*/ 95405 w 5829300"/>
              <a:gd name="connsiteY177" fmla="*/ 4867029 h 7051380"/>
              <a:gd name="connsiteX178" fmla="*/ 0 w 5829300"/>
              <a:gd name="connsiteY178" fmla="*/ 4928368 h 7051380"/>
              <a:gd name="connsiteX179" fmla="*/ 572429 w 5829300"/>
              <a:gd name="connsiteY179" fmla="*/ 3831080 h 7051380"/>
              <a:gd name="connsiteX180" fmla="*/ 538356 w 5829300"/>
              <a:gd name="connsiteY180" fmla="*/ 3810634 h 7051380"/>
              <a:gd name="connsiteX181" fmla="*/ 453174 w 5829300"/>
              <a:gd name="connsiteY181" fmla="*/ 3929904 h 7051380"/>
              <a:gd name="connsiteX182" fmla="*/ 442951 w 5829300"/>
              <a:gd name="connsiteY182" fmla="*/ 3926497 h 7051380"/>
              <a:gd name="connsiteX183" fmla="*/ 609910 w 5829300"/>
              <a:gd name="connsiteY183" fmla="*/ 3568685 h 7051380"/>
              <a:gd name="connsiteX184" fmla="*/ 882496 w 5829300"/>
              <a:gd name="connsiteY184" fmla="*/ 3016634 h 7051380"/>
              <a:gd name="connsiteX185" fmla="*/ 1444703 w 5829300"/>
              <a:gd name="connsiteY185" fmla="*/ 2110179 h 7051380"/>
              <a:gd name="connsiteX186" fmla="*/ 1570773 w 5829300"/>
              <a:gd name="connsiteY186" fmla="*/ 2038617 h 7051380"/>
              <a:gd name="connsiteX187" fmla="*/ 1601812 w 5829300"/>
              <a:gd name="connsiteY187" fmla="*/ 2026687 h 7051380"/>
              <a:gd name="connsiteX188" fmla="*/ 1639611 w 5829300"/>
              <a:gd name="connsiteY188" fmla="*/ 1950489 h 7051380"/>
              <a:gd name="connsiteX189" fmla="*/ 1761051 w 5829300"/>
              <a:gd name="connsiteY189" fmla="*/ 1703404 h 7051380"/>
              <a:gd name="connsiteX190" fmla="*/ 2261992 w 5829300"/>
              <a:gd name="connsiteY190" fmla="*/ 895729 h 7051380"/>
              <a:gd name="connsiteX191" fmla="*/ 2374324 w 5829300"/>
              <a:gd name="connsiteY191" fmla="*/ 831966 h 7051380"/>
              <a:gd name="connsiteX192" fmla="*/ 2577737 w 5829300"/>
              <a:gd name="connsiteY192" fmla="*/ 756057 h 7051380"/>
              <a:gd name="connsiteX193" fmla="*/ 2680962 w 5829300"/>
              <a:gd name="connsiteY193" fmla="*/ 844111 h 7051380"/>
              <a:gd name="connsiteX194" fmla="*/ 3591763 w 5829300"/>
              <a:gd name="connsiteY194" fmla="*/ 157891 h 7051380"/>
              <a:gd name="connsiteX195" fmla="*/ 3373171 w 5829300"/>
              <a:gd name="connsiteY195" fmla="*/ 415983 h 7051380"/>
              <a:gd name="connsiteX196" fmla="*/ 3391386 w 5829300"/>
              <a:gd name="connsiteY196" fmla="*/ 434201 h 7051380"/>
              <a:gd name="connsiteX197" fmla="*/ 3807320 w 5829300"/>
              <a:gd name="connsiteY197" fmla="*/ 12146 h 7051380"/>
              <a:gd name="connsiteX198" fmla="*/ 3822500 w 5829300"/>
              <a:gd name="connsiteY198" fmla="*/ 27327 h 7051380"/>
              <a:gd name="connsiteX199" fmla="*/ 3807320 w 5829300"/>
              <a:gd name="connsiteY199" fmla="*/ 81983 h 7051380"/>
              <a:gd name="connsiteX200" fmla="*/ 3752672 w 5829300"/>
              <a:gd name="connsiteY200" fmla="*/ 160928 h 7051380"/>
              <a:gd name="connsiteX201" fmla="*/ 3655520 w 5829300"/>
              <a:gd name="connsiteY201" fmla="*/ 282383 h 7051380"/>
              <a:gd name="connsiteX202" fmla="*/ 3722311 w 5829300"/>
              <a:gd name="connsiteY202" fmla="*/ 267201 h 7051380"/>
              <a:gd name="connsiteX203" fmla="*/ 3655520 w 5829300"/>
              <a:gd name="connsiteY203" fmla="*/ 394729 h 7051380"/>
              <a:gd name="connsiteX204" fmla="*/ 3664627 w 5829300"/>
              <a:gd name="connsiteY204" fmla="*/ 406874 h 7051380"/>
              <a:gd name="connsiteX205" fmla="*/ 3989480 w 5829300"/>
              <a:gd name="connsiteY205" fmla="*/ 94127 h 7051380"/>
              <a:gd name="connsiteX206" fmla="*/ 3883220 w 5829300"/>
              <a:gd name="connsiteY206" fmla="*/ 364364 h 7051380"/>
              <a:gd name="connsiteX207" fmla="*/ 3901436 w 5829300"/>
              <a:gd name="connsiteY207" fmla="*/ 376510 h 7051380"/>
              <a:gd name="connsiteX208" fmla="*/ 3974300 w 5829300"/>
              <a:gd name="connsiteY208" fmla="*/ 297564 h 7051380"/>
              <a:gd name="connsiteX209" fmla="*/ 3989480 w 5829300"/>
              <a:gd name="connsiteY209" fmla="*/ 312746 h 7051380"/>
              <a:gd name="connsiteX210" fmla="*/ 3852860 w 5829300"/>
              <a:gd name="connsiteY210" fmla="*/ 479746 h 7051380"/>
              <a:gd name="connsiteX211" fmla="*/ 3928760 w 5829300"/>
              <a:gd name="connsiteY211" fmla="*/ 449383 h 7051380"/>
              <a:gd name="connsiteX212" fmla="*/ 4147352 w 5829300"/>
              <a:gd name="connsiteY212" fmla="*/ 236837 h 7051380"/>
              <a:gd name="connsiteX213" fmla="*/ 4211108 w 5829300"/>
              <a:gd name="connsiteY213" fmla="*/ 239874 h 7051380"/>
              <a:gd name="connsiteX214" fmla="*/ 4256648 w 5829300"/>
              <a:gd name="connsiteY214" fmla="*/ 236837 h 7051380"/>
              <a:gd name="connsiteX215" fmla="*/ 4444881 w 5829300"/>
              <a:gd name="connsiteY215" fmla="*/ 151819 h 7051380"/>
              <a:gd name="connsiteX216" fmla="*/ 4535962 w 5829300"/>
              <a:gd name="connsiteY216" fmla="*/ 88055 h 7051380"/>
              <a:gd name="connsiteX217" fmla="*/ 4526853 w 5829300"/>
              <a:gd name="connsiteY217" fmla="*/ 157891 h 7051380"/>
              <a:gd name="connsiteX218" fmla="*/ 4538997 w 5829300"/>
              <a:gd name="connsiteY218" fmla="*/ 173074 h 7051380"/>
              <a:gd name="connsiteX219" fmla="*/ 4742410 w 5829300"/>
              <a:gd name="connsiteY219" fmla="*/ 0 h 7051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5829300" h="7051380">
                <a:moveTo>
                  <a:pt x="4742410" y="0"/>
                </a:moveTo>
                <a:cubicBezTo>
                  <a:pt x="4748482" y="6073"/>
                  <a:pt x="4754554" y="12146"/>
                  <a:pt x="4760626" y="15182"/>
                </a:cubicBezTo>
                <a:cubicBezTo>
                  <a:pt x="4733302" y="57692"/>
                  <a:pt x="4709013" y="97164"/>
                  <a:pt x="4684726" y="139673"/>
                </a:cubicBezTo>
                <a:cubicBezTo>
                  <a:pt x="4690798" y="142709"/>
                  <a:pt x="4696870" y="148783"/>
                  <a:pt x="4702942" y="154855"/>
                </a:cubicBezTo>
                <a:cubicBezTo>
                  <a:pt x="4730266" y="109310"/>
                  <a:pt x="4760626" y="66800"/>
                  <a:pt x="4787950" y="24291"/>
                </a:cubicBezTo>
                <a:cubicBezTo>
                  <a:pt x="4797058" y="30363"/>
                  <a:pt x="4809202" y="39473"/>
                  <a:pt x="4818310" y="45546"/>
                </a:cubicBezTo>
                <a:cubicBezTo>
                  <a:pt x="4806166" y="97164"/>
                  <a:pt x="4790986" y="145746"/>
                  <a:pt x="4775806" y="194328"/>
                </a:cubicBezTo>
                <a:cubicBezTo>
                  <a:pt x="4781878" y="197364"/>
                  <a:pt x="4787950" y="200401"/>
                  <a:pt x="4794022" y="203437"/>
                </a:cubicBezTo>
                <a:cubicBezTo>
                  <a:pt x="4857778" y="139673"/>
                  <a:pt x="4924570" y="75909"/>
                  <a:pt x="4994398" y="6073"/>
                </a:cubicBezTo>
                <a:cubicBezTo>
                  <a:pt x="5067263" y="103237"/>
                  <a:pt x="5015651" y="182182"/>
                  <a:pt x="4942786" y="252019"/>
                </a:cubicBezTo>
                <a:cubicBezTo>
                  <a:pt x="5039939" y="334001"/>
                  <a:pt x="5079406" y="218619"/>
                  <a:pt x="5143163" y="194328"/>
                </a:cubicBezTo>
                <a:cubicBezTo>
                  <a:pt x="5155307" y="191292"/>
                  <a:pt x="5164415" y="179146"/>
                  <a:pt x="5176559" y="170037"/>
                </a:cubicBezTo>
                <a:cubicBezTo>
                  <a:pt x="5176559" y="185218"/>
                  <a:pt x="5182631" y="203437"/>
                  <a:pt x="5176559" y="212546"/>
                </a:cubicBezTo>
                <a:cubicBezTo>
                  <a:pt x="5164415" y="239874"/>
                  <a:pt x="5143163" y="264165"/>
                  <a:pt x="5134054" y="297564"/>
                </a:cubicBezTo>
                <a:cubicBezTo>
                  <a:pt x="5200847" y="242910"/>
                  <a:pt x="5267639" y="188255"/>
                  <a:pt x="5340504" y="127528"/>
                </a:cubicBezTo>
                <a:cubicBezTo>
                  <a:pt x="5337467" y="154855"/>
                  <a:pt x="5337467" y="170037"/>
                  <a:pt x="5334431" y="209510"/>
                </a:cubicBezTo>
                <a:cubicBezTo>
                  <a:pt x="5401223" y="163964"/>
                  <a:pt x="5455872" y="127528"/>
                  <a:pt x="5510520" y="91091"/>
                </a:cubicBezTo>
                <a:cubicBezTo>
                  <a:pt x="5513556" y="94127"/>
                  <a:pt x="5519628" y="97164"/>
                  <a:pt x="5522664" y="100201"/>
                </a:cubicBezTo>
                <a:cubicBezTo>
                  <a:pt x="5492304" y="145746"/>
                  <a:pt x="5461943" y="191292"/>
                  <a:pt x="5431583" y="236837"/>
                </a:cubicBezTo>
                <a:cubicBezTo>
                  <a:pt x="5440692" y="245946"/>
                  <a:pt x="5446763" y="252019"/>
                  <a:pt x="5455872" y="258092"/>
                </a:cubicBezTo>
                <a:cubicBezTo>
                  <a:pt x="5486231" y="212546"/>
                  <a:pt x="5513556" y="163964"/>
                  <a:pt x="5543915" y="118418"/>
                </a:cubicBezTo>
                <a:cubicBezTo>
                  <a:pt x="5556060" y="130564"/>
                  <a:pt x="5568204" y="142709"/>
                  <a:pt x="5580348" y="151819"/>
                </a:cubicBezTo>
                <a:cubicBezTo>
                  <a:pt x="5504448" y="242910"/>
                  <a:pt x="5428548" y="334001"/>
                  <a:pt x="5352647" y="428128"/>
                </a:cubicBezTo>
                <a:cubicBezTo>
                  <a:pt x="5358719" y="431164"/>
                  <a:pt x="5364791" y="437238"/>
                  <a:pt x="5370864" y="443310"/>
                </a:cubicBezTo>
                <a:cubicBezTo>
                  <a:pt x="5492304" y="324892"/>
                  <a:pt x="5616780" y="203437"/>
                  <a:pt x="5747328" y="75909"/>
                </a:cubicBezTo>
                <a:cubicBezTo>
                  <a:pt x="5707860" y="206473"/>
                  <a:pt x="5707860" y="340074"/>
                  <a:pt x="5583384" y="422056"/>
                </a:cubicBezTo>
                <a:cubicBezTo>
                  <a:pt x="5607672" y="440274"/>
                  <a:pt x="5625888" y="458492"/>
                  <a:pt x="5647140" y="473674"/>
                </a:cubicBezTo>
                <a:cubicBezTo>
                  <a:pt x="5713932" y="516183"/>
                  <a:pt x="5723040" y="570838"/>
                  <a:pt x="5680536" y="643711"/>
                </a:cubicBezTo>
                <a:cubicBezTo>
                  <a:pt x="5647140" y="698365"/>
                  <a:pt x="5622852" y="759093"/>
                  <a:pt x="5583384" y="838038"/>
                </a:cubicBezTo>
                <a:cubicBezTo>
                  <a:pt x="5634996" y="804639"/>
                  <a:pt x="5665356" y="789456"/>
                  <a:pt x="5692680" y="771238"/>
                </a:cubicBezTo>
                <a:cubicBezTo>
                  <a:pt x="5698752" y="774275"/>
                  <a:pt x="5704824" y="777311"/>
                  <a:pt x="5710896" y="783384"/>
                </a:cubicBezTo>
                <a:cubicBezTo>
                  <a:pt x="5656248" y="889657"/>
                  <a:pt x="5601600" y="995929"/>
                  <a:pt x="5549988" y="1102202"/>
                </a:cubicBezTo>
                <a:cubicBezTo>
                  <a:pt x="5543915" y="1117385"/>
                  <a:pt x="5553024" y="1153821"/>
                  <a:pt x="5565168" y="1159894"/>
                </a:cubicBezTo>
                <a:cubicBezTo>
                  <a:pt x="5628924" y="1196330"/>
                  <a:pt x="5659284" y="1284385"/>
                  <a:pt x="5619816" y="1342076"/>
                </a:cubicBezTo>
                <a:cubicBezTo>
                  <a:pt x="5519628" y="1490858"/>
                  <a:pt x="5461943" y="1657859"/>
                  <a:pt x="5404259" y="1824859"/>
                </a:cubicBezTo>
                <a:cubicBezTo>
                  <a:pt x="5398188" y="1837004"/>
                  <a:pt x="5404259" y="1855223"/>
                  <a:pt x="5410332" y="1867368"/>
                </a:cubicBezTo>
                <a:cubicBezTo>
                  <a:pt x="5419439" y="1906841"/>
                  <a:pt x="5431583" y="1943277"/>
                  <a:pt x="5446763" y="1985787"/>
                </a:cubicBezTo>
                <a:cubicBezTo>
                  <a:pt x="5486231" y="1946314"/>
                  <a:pt x="5531772" y="1906841"/>
                  <a:pt x="5577312" y="1864332"/>
                </a:cubicBezTo>
                <a:cubicBezTo>
                  <a:pt x="5580348" y="1864332"/>
                  <a:pt x="5586420" y="1867368"/>
                  <a:pt x="5589456" y="1870404"/>
                </a:cubicBezTo>
                <a:cubicBezTo>
                  <a:pt x="5577312" y="1912913"/>
                  <a:pt x="5565168" y="1955423"/>
                  <a:pt x="5549988" y="2000968"/>
                </a:cubicBezTo>
                <a:cubicBezTo>
                  <a:pt x="5634996" y="2049550"/>
                  <a:pt x="5665356" y="1949350"/>
                  <a:pt x="5741256" y="1915950"/>
                </a:cubicBezTo>
                <a:cubicBezTo>
                  <a:pt x="5713932" y="1979714"/>
                  <a:pt x="5692680" y="2028296"/>
                  <a:pt x="5668392" y="2079914"/>
                </a:cubicBezTo>
                <a:cubicBezTo>
                  <a:pt x="5729112" y="2122423"/>
                  <a:pt x="5738220" y="2174041"/>
                  <a:pt x="5692680" y="2237806"/>
                </a:cubicBezTo>
                <a:cubicBezTo>
                  <a:pt x="5732148" y="2201369"/>
                  <a:pt x="5771616" y="2164933"/>
                  <a:pt x="5811085" y="2128496"/>
                </a:cubicBezTo>
                <a:cubicBezTo>
                  <a:pt x="5817156" y="2131532"/>
                  <a:pt x="5823229" y="2134568"/>
                  <a:pt x="5829300" y="2137605"/>
                </a:cubicBezTo>
                <a:cubicBezTo>
                  <a:pt x="5801976" y="2189224"/>
                  <a:pt x="5774652" y="2240842"/>
                  <a:pt x="5747328" y="2295496"/>
                </a:cubicBezTo>
                <a:cubicBezTo>
                  <a:pt x="5795905" y="2319787"/>
                  <a:pt x="5814120" y="2341041"/>
                  <a:pt x="5786796" y="2404805"/>
                </a:cubicBezTo>
                <a:cubicBezTo>
                  <a:pt x="5677500" y="2652270"/>
                  <a:pt x="5560614" y="2895179"/>
                  <a:pt x="5437276" y="3134673"/>
                </a:cubicBezTo>
                <a:lnTo>
                  <a:pt x="5272826" y="3443994"/>
                </a:lnTo>
                <a:lnTo>
                  <a:pt x="5307909" y="3476943"/>
                </a:lnTo>
                <a:cubicBezTo>
                  <a:pt x="5337137" y="3516717"/>
                  <a:pt x="5333304" y="3562722"/>
                  <a:pt x="5294971" y="3616394"/>
                </a:cubicBezTo>
                <a:cubicBezTo>
                  <a:pt x="5339266" y="3575501"/>
                  <a:pt x="5383561" y="3534608"/>
                  <a:pt x="5427857" y="3493716"/>
                </a:cubicBezTo>
                <a:cubicBezTo>
                  <a:pt x="5434671" y="3497123"/>
                  <a:pt x="5441486" y="3500531"/>
                  <a:pt x="5448300" y="3503939"/>
                </a:cubicBezTo>
                <a:cubicBezTo>
                  <a:pt x="5417634" y="3561870"/>
                  <a:pt x="5386969" y="3619802"/>
                  <a:pt x="5356303" y="3681141"/>
                </a:cubicBezTo>
                <a:cubicBezTo>
                  <a:pt x="5410820" y="3708402"/>
                  <a:pt x="5431264" y="3732256"/>
                  <a:pt x="5400598" y="3803818"/>
                </a:cubicBezTo>
                <a:cubicBezTo>
                  <a:pt x="5155271" y="4359278"/>
                  <a:pt x="4875871" y="4894290"/>
                  <a:pt x="4572620" y="5419081"/>
                </a:cubicBezTo>
                <a:cubicBezTo>
                  <a:pt x="4484030" y="5572428"/>
                  <a:pt x="4409069" y="5739407"/>
                  <a:pt x="4313664" y="5926832"/>
                </a:cubicBezTo>
                <a:cubicBezTo>
                  <a:pt x="4306849" y="5879123"/>
                  <a:pt x="4293220" y="5851862"/>
                  <a:pt x="4300035" y="5828007"/>
                </a:cubicBezTo>
                <a:cubicBezTo>
                  <a:pt x="4323886" y="5746222"/>
                  <a:pt x="4351144" y="5667844"/>
                  <a:pt x="4364773" y="5582651"/>
                </a:cubicBezTo>
                <a:cubicBezTo>
                  <a:pt x="4351144" y="5599690"/>
                  <a:pt x="4337515" y="5616728"/>
                  <a:pt x="4323886" y="5637175"/>
                </a:cubicBezTo>
                <a:cubicBezTo>
                  <a:pt x="4320478" y="5633767"/>
                  <a:pt x="4313664" y="5633767"/>
                  <a:pt x="4310257" y="5630359"/>
                </a:cubicBezTo>
                <a:cubicBezTo>
                  <a:pt x="4351144" y="5524720"/>
                  <a:pt x="4388625" y="5415672"/>
                  <a:pt x="4429512" y="5310033"/>
                </a:cubicBezTo>
                <a:cubicBezTo>
                  <a:pt x="4422698" y="5306625"/>
                  <a:pt x="4415883" y="5303218"/>
                  <a:pt x="4409069" y="5299809"/>
                </a:cubicBezTo>
                <a:cubicBezTo>
                  <a:pt x="4347737" y="5432711"/>
                  <a:pt x="4282998" y="5562205"/>
                  <a:pt x="4214852" y="5698514"/>
                </a:cubicBezTo>
                <a:cubicBezTo>
                  <a:pt x="4201223" y="5667844"/>
                  <a:pt x="4191000" y="5643990"/>
                  <a:pt x="4170557" y="5592874"/>
                </a:cubicBezTo>
                <a:cubicBezTo>
                  <a:pt x="4041079" y="5841638"/>
                  <a:pt x="3921822" y="6073364"/>
                  <a:pt x="3792344" y="6325535"/>
                </a:cubicBezTo>
                <a:cubicBezTo>
                  <a:pt x="3788937" y="6257381"/>
                  <a:pt x="3785530" y="6206265"/>
                  <a:pt x="3782122" y="6151741"/>
                </a:cubicBezTo>
                <a:cubicBezTo>
                  <a:pt x="3778715" y="6131295"/>
                  <a:pt x="3775307" y="6107441"/>
                  <a:pt x="3775307" y="6083587"/>
                </a:cubicBezTo>
                <a:cubicBezTo>
                  <a:pt x="3765086" y="6083587"/>
                  <a:pt x="3754864" y="6083587"/>
                  <a:pt x="3744641" y="6083587"/>
                </a:cubicBezTo>
                <a:cubicBezTo>
                  <a:pt x="3696939" y="6182410"/>
                  <a:pt x="3652644" y="6281235"/>
                  <a:pt x="3604942" y="6380059"/>
                </a:cubicBezTo>
                <a:cubicBezTo>
                  <a:pt x="3594720" y="6380059"/>
                  <a:pt x="3587905" y="6376651"/>
                  <a:pt x="3577683" y="6376651"/>
                </a:cubicBezTo>
                <a:cubicBezTo>
                  <a:pt x="3594720" y="6288050"/>
                  <a:pt x="3611757" y="6199450"/>
                  <a:pt x="3628793" y="6114256"/>
                </a:cubicBezTo>
                <a:cubicBezTo>
                  <a:pt x="3618571" y="6117664"/>
                  <a:pt x="3601534" y="6127887"/>
                  <a:pt x="3581091" y="6138110"/>
                </a:cubicBezTo>
                <a:cubicBezTo>
                  <a:pt x="3594720" y="6049509"/>
                  <a:pt x="3662867" y="5974539"/>
                  <a:pt x="3639015" y="5885939"/>
                </a:cubicBezTo>
                <a:cubicBezTo>
                  <a:pt x="3632200" y="5885939"/>
                  <a:pt x="3621978" y="5882531"/>
                  <a:pt x="3611757" y="5882531"/>
                </a:cubicBezTo>
                <a:cubicBezTo>
                  <a:pt x="3540202" y="6029063"/>
                  <a:pt x="3468649" y="6179003"/>
                  <a:pt x="3397095" y="6325535"/>
                </a:cubicBezTo>
                <a:cubicBezTo>
                  <a:pt x="3390281" y="6325535"/>
                  <a:pt x="3386873" y="6325535"/>
                  <a:pt x="3380058" y="6328942"/>
                </a:cubicBezTo>
                <a:cubicBezTo>
                  <a:pt x="3380058" y="6281235"/>
                  <a:pt x="3380058" y="6233527"/>
                  <a:pt x="3380058" y="6185819"/>
                </a:cubicBezTo>
                <a:cubicBezTo>
                  <a:pt x="3373244" y="6182410"/>
                  <a:pt x="3369837" y="6182410"/>
                  <a:pt x="3366429" y="6179003"/>
                </a:cubicBezTo>
                <a:cubicBezTo>
                  <a:pt x="3226730" y="6468659"/>
                  <a:pt x="3087030" y="6758316"/>
                  <a:pt x="2947330" y="7051380"/>
                </a:cubicBezTo>
                <a:cubicBezTo>
                  <a:pt x="2943922" y="7047973"/>
                  <a:pt x="2937107" y="7044565"/>
                  <a:pt x="2930293" y="7044565"/>
                </a:cubicBezTo>
                <a:cubicBezTo>
                  <a:pt x="2960959" y="6935518"/>
                  <a:pt x="2991625" y="6826471"/>
                  <a:pt x="3022291" y="6717423"/>
                </a:cubicBezTo>
                <a:cubicBezTo>
                  <a:pt x="3018883" y="6717423"/>
                  <a:pt x="3015476" y="6714016"/>
                  <a:pt x="3008661" y="6714016"/>
                </a:cubicBezTo>
                <a:cubicBezTo>
                  <a:pt x="2971181" y="6792393"/>
                  <a:pt x="2933701" y="6867364"/>
                  <a:pt x="2896220" y="6945741"/>
                </a:cubicBezTo>
                <a:cubicBezTo>
                  <a:pt x="2889405" y="6942334"/>
                  <a:pt x="2882591" y="6938925"/>
                  <a:pt x="2875776" y="6935518"/>
                </a:cubicBezTo>
                <a:cubicBezTo>
                  <a:pt x="2977996" y="6652677"/>
                  <a:pt x="3076807" y="6369835"/>
                  <a:pt x="3179027" y="6086995"/>
                </a:cubicBezTo>
                <a:cubicBezTo>
                  <a:pt x="3172212" y="6086995"/>
                  <a:pt x="3165398" y="6083587"/>
                  <a:pt x="3161990" y="6080179"/>
                </a:cubicBezTo>
                <a:cubicBezTo>
                  <a:pt x="3090437" y="6233527"/>
                  <a:pt x="3015476" y="6383466"/>
                  <a:pt x="2943922" y="6536814"/>
                </a:cubicBezTo>
                <a:cubicBezTo>
                  <a:pt x="2937107" y="6536814"/>
                  <a:pt x="2926886" y="6536814"/>
                  <a:pt x="2920072" y="6536814"/>
                </a:cubicBezTo>
                <a:cubicBezTo>
                  <a:pt x="2920072" y="6506145"/>
                  <a:pt x="2913257" y="6475475"/>
                  <a:pt x="2920072" y="6448213"/>
                </a:cubicBezTo>
                <a:cubicBezTo>
                  <a:pt x="2974588" y="6291458"/>
                  <a:pt x="3032512" y="6134702"/>
                  <a:pt x="3090437" y="5977947"/>
                </a:cubicBezTo>
                <a:cubicBezTo>
                  <a:pt x="3083622" y="5974539"/>
                  <a:pt x="3073401" y="5971132"/>
                  <a:pt x="3066586" y="5967724"/>
                </a:cubicBezTo>
                <a:cubicBezTo>
                  <a:pt x="3046141" y="6022247"/>
                  <a:pt x="3022291" y="6073364"/>
                  <a:pt x="2995032" y="6144926"/>
                </a:cubicBezTo>
                <a:cubicBezTo>
                  <a:pt x="2960959" y="6018840"/>
                  <a:pt x="3042735" y="5933647"/>
                  <a:pt x="3059771" y="5838231"/>
                </a:cubicBezTo>
                <a:cubicBezTo>
                  <a:pt x="2923478" y="5793930"/>
                  <a:pt x="2920072" y="5916608"/>
                  <a:pt x="2879183" y="5984763"/>
                </a:cubicBezTo>
                <a:cubicBezTo>
                  <a:pt x="2834888" y="6052917"/>
                  <a:pt x="2811037" y="6134702"/>
                  <a:pt x="2776964" y="6213080"/>
                </a:cubicBezTo>
                <a:cubicBezTo>
                  <a:pt x="2763334" y="6243750"/>
                  <a:pt x="2753113" y="6274419"/>
                  <a:pt x="2742890" y="6305089"/>
                </a:cubicBezTo>
                <a:cubicBezTo>
                  <a:pt x="2736076" y="6291458"/>
                  <a:pt x="2729261" y="6281235"/>
                  <a:pt x="2712224" y="6250565"/>
                </a:cubicBezTo>
                <a:cubicBezTo>
                  <a:pt x="2674744" y="6332351"/>
                  <a:pt x="2637264" y="6400505"/>
                  <a:pt x="2603190" y="6468659"/>
                </a:cubicBezTo>
                <a:cubicBezTo>
                  <a:pt x="2596376" y="6468659"/>
                  <a:pt x="2589561" y="6465252"/>
                  <a:pt x="2586154" y="6465252"/>
                </a:cubicBezTo>
                <a:cubicBezTo>
                  <a:pt x="2603190" y="6390282"/>
                  <a:pt x="2623634" y="6318720"/>
                  <a:pt x="2644079" y="6243750"/>
                </a:cubicBezTo>
                <a:cubicBezTo>
                  <a:pt x="2640671" y="6243750"/>
                  <a:pt x="2637264" y="6243750"/>
                  <a:pt x="2633857" y="6243750"/>
                </a:cubicBezTo>
                <a:cubicBezTo>
                  <a:pt x="2603190" y="6291458"/>
                  <a:pt x="2572524" y="6339166"/>
                  <a:pt x="2541859" y="6386874"/>
                </a:cubicBezTo>
                <a:cubicBezTo>
                  <a:pt x="2535045" y="6386874"/>
                  <a:pt x="2528230" y="6383466"/>
                  <a:pt x="2518008" y="6380059"/>
                </a:cubicBezTo>
                <a:cubicBezTo>
                  <a:pt x="2555488" y="6257381"/>
                  <a:pt x="2592969" y="6134702"/>
                  <a:pt x="2630449" y="6012025"/>
                </a:cubicBezTo>
                <a:cubicBezTo>
                  <a:pt x="2627042" y="6008616"/>
                  <a:pt x="2620227" y="6008616"/>
                  <a:pt x="2616819" y="6005209"/>
                </a:cubicBezTo>
                <a:cubicBezTo>
                  <a:pt x="2582747" y="6083587"/>
                  <a:pt x="2548674" y="6161964"/>
                  <a:pt x="2514600" y="6236934"/>
                </a:cubicBezTo>
                <a:cubicBezTo>
                  <a:pt x="2507785" y="6236934"/>
                  <a:pt x="2500971" y="6233527"/>
                  <a:pt x="2490750" y="6230119"/>
                </a:cubicBezTo>
                <a:cubicBezTo>
                  <a:pt x="2504379" y="6185819"/>
                  <a:pt x="2514600" y="6141518"/>
                  <a:pt x="2528230" y="6097217"/>
                </a:cubicBezTo>
                <a:cubicBezTo>
                  <a:pt x="2524822" y="6097217"/>
                  <a:pt x="2518008" y="6093810"/>
                  <a:pt x="2514600" y="6093810"/>
                </a:cubicBezTo>
                <a:cubicBezTo>
                  <a:pt x="2466898" y="6196041"/>
                  <a:pt x="2415788" y="6298273"/>
                  <a:pt x="2368086" y="6400505"/>
                </a:cubicBezTo>
                <a:cubicBezTo>
                  <a:pt x="2364679" y="6390282"/>
                  <a:pt x="2357864" y="6380059"/>
                  <a:pt x="2351049" y="6366428"/>
                </a:cubicBezTo>
                <a:cubicBezTo>
                  <a:pt x="2293125" y="6485698"/>
                  <a:pt x="2235201" y="6598153"/>
                  <a:pt x="2177276" y="6710608"/>
                </a:cubicBezTo>
                <a:cubicBezTo>
                  <a:pt x="2173868" y="6710608"/>
                  <a:pt x="2170461" y="6714016"/>
                  <a:pt x="2167054" y="6714016"/>
                </a:cubicBezTo>
                <a:cubicBezTo>
                  <a:pt x="2187497" y="6628822"/>
                  <a:pt x="2204534" y="6540222"/>
                  <a:pt x="2224978" y="6455028"/>
                </a:cubicBezTo>
                <a:cubicBezTo>
                  <a:pt x="2221572" y="6451621"/>
                  <a:pt x="2218163" y="6451621"/>
                  <a:pt x="2214757" y="6448213"/>
                </a:cubicBezTo>
                <a:cubicBezTo>
                  <a:pt x="2187497" y="6489105"/>
                  <a:pt x="2160239" y="6529998"/>
                  <a:pt x="2129573" y="6570891"/>
                </a:cubicBezTo>
                <a:cubicBezTo>
                  <a:pt x="2122759" y="6570891"/>
                  <a:pt x="2112537" y="6567484"/>
                  <a:pt x="2105723" y="6567484"/>
                </a:cubicBezTo>
                <a:cubicBezTo>
                  <a:pt x="2119352" y="6482290"/>
                  <a:pt x="2129573" y="6397097"/>
                  <a:pt x="2143202" y="6315311"/>
                </a:cubicBezTo>
                <a:cubicBezTo>
                  <a:pt x="2126166" y="6339166"/>
                  <a:pt x="2105723" y="6366428"/>
                  <a:pt x="2081871" y="6397097"/>
                </a:cubicBezTo>
                <a:cubicBezTo>
                  <a:pt x="2078464" y="6390282"/>
                  <a:pt x="2071649" y="6386874"/>
                  <a:pt x="2068242" y="6380059"/>
                </a:cubicBezTo>
                <a:cubicBezTo>
                  <a:pt x="2095500" y="6240342"/>
                  <a:pt x="2119352" y="6100625"/>
                  <a:pt x="2146610" y="5950685"/>
                </a:cubicBezTo>
                <a:cubicBezTo>
                  <a:pt x="2122759" y="5967724"/>
                  <a:pt x="2092094" y="5974539"/>
                  <a:pt x="2081871" y="5994985"/>
                </a:cubicBezTo>
                <a:cubicBezTo>
                  <a:pt x="2017132" y="6141518"/>
                  <a:pt x="1955800" y="6288050"/>
                  <a:pt x="1891061" y="6434583"/>
                </a:cubicBezTo>
                <a:cubicBezTo>
                  <a:pt x="1884247" y="6431174"/>
                  <a:pt x="1877432" y="6431174"/>
                  <a:pt x="1867210" y="6427767"/>
                </a:cubicBezTo>
                <a:cubicBezTo>
                  <a:pt x="1891061" y="6345982"/>
                  <a:pt x="1911505" y="6267604"/>
                  <a:pt x="1931949" y="6185819"/>
                </a:cubicBezTo>
                <a:cubicBezTo>
                  <a:pt x="1904690" y="6192634"/>
                  <a:pt x="1877432" y="6199450"/>
                  <a:pt x="1853581" y="6202857"/>
                </a:cubicBezTo>
                <a:cubicBezTo>
                  <a:pt x="1829730" y="6257381"/>
                  <a:pt x="1805878" y="6311904"/>
                  <a:pt x="1782027" y="6366428"/>
                </a:cubicBezTo>
                <a:cubicBezTo>
                  <a:pt x="1700251" y="6104033"/>
                  <a:pt x="1826322" y="5885939"/>
                  <a:pt x="1891061" y="5657621"/>
                </a:cubicBezTo>
                <a:cubicBezTo>
                  <a:pt x="1884247" y="5654213"/>
                  <a:pt x="1874025" y="5650806"/>
                  <a:pt x="1867210" y="5647397"/>
                </a:cubicBezTo>
                <a:cubicBezTo>
                  <a:pt x="1754769" y="5885939"/>
                  <a:pt x="1645735" y="6124479"/>
                  <a:pt x="1533293" y="6363020"/>
                </a:cubicBezTo>
                <a:cubicBezTo>
                  <a:pt x="1519664" y="6349389"/>
                  <a:pt x="1509442" y="6339166"/>
                  <a:pt x="1495813" y="6322127"/>
                </a:cubicBezTo>
                <a:cubicBezTo>
                  <a:pt x="1488998" y="6339166"/>
                  <a:pt x="1482183" y="6352797"/>
                  <a:pt x="1475368" y="6366428"/>
                </a:cubicBezTo>
                <a:cubicBezTo>
                  <a:pt x="1468554" y="6352797"/>
                  <a:pt x="1461739" y="6342573"/>
                  <a:pt x="1458332" y="6335758"/>
                </a:cubicBezTo>
                <a:cubicBezTo>
                  <a:pt x="1424259" y="6400505"/>
                  <a:pt x="1393594" y="6465252"/>
                  <a:pt x="1359520" y="6529998"/>
                </a:cubicBezTo>
                <a:cubicBezTo>
                  <a:pt x="1352705" y="6526591"/>
                  <a:pt x="1349298" y="6523183"/>
                  <a:pt x="1342484" y="6523183"/>
                </a:cubicBezTo>
                <a:cubicBezTo>
                  <a:pt x="1345890" y="6485698"/>
                  <a:pt x="1352705" y="6448213"/>
                  <a:pt x="1356113" y="6410728"/>
                </a:cubicBezTo>
                <a:cubicBezTo>
                  <a:pt x="1349298" y="6403913"/>
                  <a:pt x="1345890" y="6400505"/>
                  <a:pt x="1339076" y="6397097"/>
                </a:cubicBezTo>
                <a:cubicBezTo>
                  <a:pt x="1315224" y="6424359"/>
                  <a:pt x="1291374" y="6455028"/>
                  <a:pt x="1243671" y="6506145"/>
                </a:cubicBezTo>
                <a:cubicBezTo>
                  <a:pt x="1284559" y="6349389"/>
                  <a:pt x="1318632" y="6213080"/>
                  <a:pt x="1352705" y="6080179"/>
                </a:cubicBezTo>
                <a:cubicBezTo>
                  <a:pt x="1349298" y="6076771"/>
                  <a:pt x="1345890" y="6076771"/>
                  <a:pt x="1342484" y="6073364"/>
                </a:cubicBezTo>
                <a:cubicBezTo>
                  <a:pt x="1172117" y="6397097"/>
                  <a:pt x="1001751" y="6720831"/>
                  <a:pt x="834793" y="7044565"/>
                </a:cubicBezTo>
                <a:cubicBezTo>
                  <a:pt x="831386" y="7044565"/>
                  <a:pt x="827978" y="7044565"/>
                  <a:pt x="824571" y="7041158"/>
                </a:cubicBezTo>
                <a:cubicBezTo>
                  <a:pt x="855237" y="6935518"/>
                  <a:pt x="885902" y="6826471"/>
                  <a:pt x="916568" y="6720831"/>
                </a:cubicBezTo>
                <a:cubicBezTo>
                  <a:pt x="913162" y="6717423"/>
                  <a:pt x="909754" y="6714016"/>
                  <a:pt x="902939" y="6714016"/>
                </a:cubicBezTo>
                <a:cubicBezTo>
                  <a:pt x="865459" y="6788986"/>
                  <a:pt x="827978" y="6867364"/>
                  <a:pt x="790497" y="6942334"/>
                </a:cubicBezTo>
                <a:cubicBezTo>
                  <a:pt x="783683" y="6942334"/>
                  <a:pt x="780276" y="6938925"/>
                  <a:pt x="773461" y="6938925"/>
                </a:cubicBezTo>
                <a:cubicBezTo>
                  <a:pt x="862052" y="6686754"/>
                  <a:pt x="947235" y="6437990"/>
                  <a:pt x="1032417" y="6189226"/>
                </a:cubicBezTo>
                <a:cubicBezTo>
                  <a:pt x="1025603" y="6182410"/>
                  <a:pt x="1015381" y="6179003"/>
                  <a:pt x="1005159" y="6175595"/>
                </a:cubicBezTo>
                <a:cubicBezTo>
                  <a:pt x="950641" y="6294865"/>
                  <a:pt x="896125" y="6414136"/>
                  <a:pt x="841607" y="6533407"/>
                </a:cubicBezTo>
                <a:cubicBezTo>
                  <a:pt x="787091" y="6526591"/>
                  <a:pt x="793905" y="6499329"/>
                  <a:pt x="814349" y="6455028"/>
                </a:cubicBezTo>
                <a:cubicBezTo>
                  <a:pt x="885902" y="6288050"/>
                  <a:pt x="950641" y="6117664"/>
                  <a:pt x="1018788" y="5947277"/>
                </a:cubicBezTo>
                <a:cubicBezTo>
                  <a:pt x="1025603" y="5933647"/>
                  <a:pt x="1022196" y="5920016"/>
                  <a:pt x="1008566" y="5899570"/>
                </a:cubicBezTo>
                <a:cubicBezTo>
                  <a:pt x="954049" y="6005209"/>
                  <a:pt x="899532" y="6107441"/>
                  <a:pt x="845015" y="6213080"/>
                </a:cubicBezTo>
                <a:cubicBezTo>
                  <a:pt x="841607" y="6209672"/>
                  <a:pt x="834793" y="6209672"/>
                  <a:pt x="831386" y="6206265"/>
                </a:cubicBezTo>
                <a:cubicBezTo>
                  <a:pt x="845015" y="6141518"/>
                  <a:pt x="862052" y="6076771"/>
                  <a:pt x="875681" y="6012025"/>
                </a:cubicBezTo>
                <a:cubicBezTo>
                  <a:pt x="865459" y="6008616"/>
                  <a:pt x="858644" y="6005209"/>
                  <a:pt x="848422" y="6001801"/>
                </a:cubicBezTo>
                <a:cubicBezTo>
                  <a:pt x="827978" y="6039286"/>
                  <a:pt x="810942" y="6073364"/>
                  <a:pt x="790497" y="6110848"/>
                </a:cubicBezTo>
                <a:cubicBezTo>
                  <a:pt x="787091" y="6107441"/>
                  <a:pt x="780276" y="6107441"/>
                  <a:pt x="773461" y="6104033"/>
                </a:cubicBezTo>
                <a:cubicBezTo>
                  <a:pt x="872273" y="5821191"/>
                  <a:pt x="974493" y="5534943"/>
                  <a:pt x="1076712" y="5252101"/>
                </a:cubicBezTo>
                <a:cubicBezTo>
                  <a:pt x="1069898" y="5248694"/>
                  <a:pt x="1063083" y="5245286"/>
                  <a:pt x="1052861" y="5241878"/>
                </a:cubicBezTo>
                <a:cubicBezTo>
                  <a:pt x="984715" y="5388411"/>
                  <a:pt x="916568" y="5531535"/>
                  <a:pt x="848422" y="5678068"/>
                </a:cubicBezTo>
                <a:cubicBezTo>
                  <a:pt x="814349" y="5643990"/>
                  <a:pt x="814349" y="5643990"/>
                  <a:pt x="851830" y="5531535"/>
                </a:cubicBezTo>
                <a:cubicBezTo>
                  <a:pt x="872273" y="5473603"/>
                  <a:pt x="896125" y="5419081"/>
                  <a:pt x="919976" y="5364557"/>
                </a:cubicBezTo>
                <a:cubicBezTo>
                  <a:pt x="916568" y="5361149"/>
                  <a:pt x="909754" y="5354333"/>
                  <a:pt x="906346" y="5354333"/>
                </a:cubicBezTo>
                <a:cubicBezTo>
                  <a:pt x="793905" y="5419081"/>
                  <a:pt x="667834" y="5449750"/>
                  <a:pt x="599688" y="5596282"/>
                </a:cubicBezTo>
                <a:cubicBezTo>
                  <a:pt x="551985" y="5705329"/>
                  <a:pt x="473617" y="5821191"/>
                  <a:pt x="350954" y="5879123"/>
                </a:cubicBezTo>
                <a:cubicBezTo>
                  <a:pt x="313473" y="5899570"/>
                  <a:pt x="272586" y="5916608"/>
                  <a:pt x="231698" y="5926832"/>
                </a:cubicBezTo>
                <a:cubicBezTo>
                  <a:pt x="173773" y="5943870"/>
                  <a:pt x="115849" y="5954093"/>
                  <a:pt x="51110" y="5967724"/>
                </a:cubicBezTo>
                <a:cubicBezTo>
                  <a:pt x="102220" y="5872308"/>
                  <a:pt x="214661" y="5790522"/>
                  <a:pt x="156736" y="5650806"/>
                </a:cubicBezTo>
                <a:cubicBezTo>
                  <a:pt x="115849" y="5681475"/>
                  <a:pt x="71554" y="5718960"/>
                  <a:pt x="13629" y="5763260"/>
                </a:cubicBezTo>
                <a:cubicBezTo>
                  <a:pt x="64739" y="5555389"/>
                  <a:pt x="235105" y="5415672"/>
                  <a:pt x="279401" y="5218024"/>
                </a:cubicBezTo>
                <a:cubicBezTo>
                  <a:pt x="272586" y="5214617"/>
                  <a:pt x="262364" y="5211209"/>
                  <a:pt x="255549" y="5207801"/>
                </a:cubicBezTo>
                <a:cubicBezTo>
                  <a:pt x="286215" y="5160093"/>
                  <a:pt x="316880" y="5112385"/>
                  <a:pt x="357769" y="5054454"/>
                </a:cubicBezTo>
                <a:cubicBezTo>
                  <a:pt x="245327" y="5081715"/>
                  <a:pt x="153330" y="5105569"/>
                  <a:pt x="71554" y="5126015"/>
                </a:cubicBezTo>
                <a:cubicBezTo>
                  <a:pt x="109034" y="5040823"/>
                  <a:pt x="153330" y="4938591"/>
                  <a:pt x="201032" y="4836359"/>
                </a:cubicBezTo>
                <a:cubicBezTo>
                  <a:pt x="190810" y="4829544"/>
                  <a:pt x="180588" y="4822728"/>
                  <a:pt x="170366" y="4819320"/>
                </a:cubicBezTo>
                <a:cubicBezTo>
                  <a:pt x="146515" y="4832951"/>
                  <a:pt x="122663" y="4849990"/>
                  <a:pt x="95405" y="4867029"/>
                </a:cubicBezTo>
                <a:cubicBezTo>
                  <a:pt x="71554" y="4880659"/>
                  <a:pt x="44295" y="4897698"/>
                  <a:pt x="0" y="4928368"/>
                </a:cubicBezTo>
                <a:cubicBezTo>
                  <a:pt x="197625" y="4550110"/>
                  <a:pt x="385027" y="4192299"/>
                  <a:pt x="572429" y="3831080"/>
                </a:cubicBezTo>
                <a:cubicBezTo>
                  <a:pt x="562208" y="3824265"/>
                  <a:pt x="548579" y="3817449"/>
                  <a:pt x="538356" y="3810634"/>
                </a:cubicBezTo>
                <a:cubicBezTo>
                  <a:pt x="511098" y="3851527"/>
                  <a:pt x="480432" y="3892420"/>
                  <a:pt x="453174" y="3929904"/>
                </a:cubicBezTo>
                <a:cubicBezTo>
                  <a:pt x="449766" y="3929904"/>
                  <a:pt x="446359" y="3926497"/>
                  <a:pt x="442951" y="3926497"/>
                </a:cubicBezTo>
                <a:cubicBezTo>
                  <a:pt x="497469" y="3807227"/>
                  <a:pt x="551985" y="3687956"/>
                  <a:pt x="609910" y="3568685"/>
                </a:cubicBezTo>
                <a:cubicBezTo>
                  <a:pt x="698500" y="3384669"/>
                  <a:pt x="793905" y="3204059"/>
                  <a:pt x="882496" y="3016634"/>
                </a:cubicBezTo>
                <a:cubicBezTo>
                  <a:pt x="1035825" y="2692900"/>
                  <a:pt x="1240264" y="2403244"/>
                  <a:pt x="1444703" y="2110179"/>
                </a:cubicBezTo>
                <a:cubicBezTo>
                  <a:pt x="1468554" y="2072694"/>
                  <a:pt x="1526478" y="2055656"/>
                  <a:pt x="1570773" y="2038617"/>
                </a:cubicBezTo>
                <a:lnTo>
                  <a:pt x="1601812" y="2026687"/>
                </a:lnTo>
                <a:lnTo>
                  <a:pt x="1639611" y="1950489"/>
                </a:lnTo>
                <a:cubicBezTo>
                  <a:pt x="1680597" y="1868886"/>
                  <a:pt x="1721583" y="1786904"/>
                  <a:pt x="1761051" y="1703404"/>
                </a:cubicBezTo>
                <a:cubicBezTo>
                  <a:pt x="1897671" y="1414949"/>
                  <a:pt x="2079832" y="1156858"/>
                  <a:pt x="2261992" y="895729"/>
                </a:cubicBezTo>
                <a:cubicBezTo>
                  <a:pt x="2283245" y="862329"/>
                  <a:pt x="2334856" y="847148"/>
                  <a:pt x="2374324" y="831966"/>
                </a:cubicBezTo>
                <a:cubicBezTo>
                  <a:pt x="2441117" y="801602"/>
                  <a:pt x="2510945" y="783384"/>
                  <a:pt x="2577737" y="756057"/>
                </a:cubicBezTo>
                <a:cubicBezTo>
                  <a:pt x="2671853" y="713547"/>
                  <a:pt x="2680962" y="768202"/>
                  <a:pt x="2680962" y="844111"/>
                </a:cubicBezTo>
                <a:cubicBezTo>
                  <a:pt x="2984562" y="616384"/>
                  <a:pt x="3282090" y="391692"/>
                  <a:pt x="3591763" y="157891"/>
                </a:cubicBezTo>
                <a:cubicBezTo>
                  <a:pt x="3512827" y="248982"/>
                  <a:pt x="3442999" y="334001"/>
                  <a:pt x="3373171" y="415983"/>
                </a:cubicBezTo>
                <a:cubicBezTo>
                  <a:pt x="3379242" y="422056"/>
                  <a:pt x="3385315" y="428128"/>
                  <a:pt x="3391386" y="434201"/>
                </a:cubicBezTo>
                <a:cubicBezTo>
                  <a:pt x="3528007" y="294528"/>
                  <a:pt x="3667663" y="154855"/>
                  <a:pt x="3807320" y="12146"/>
                </a:cubicBezTo>
                <a:cubicBezTo>
                  <a:pt x="3810356" y="18219"/>
                  <a:pt x="3816427" y="24291"/>
                  <a:pt x="3822500" y="27327"/>
                </a:cubicBezTo>
                <a:cubicBezTo>
                  <a:pt x="3816427" y="45546"/>
                  <a:pt x="3813392" y="63764"/>
                  <a:pt x="3807320" y="81983"/>
                </a:cubicBezTo>
                <a:cubicBezTo>
                  <a:pt x="3752672" y="85019"/>
                  <a:pt x="3767852" y="127528"/>
                  <a:pt x="3752672" y="160928"/>
                </a:cubicBezTo>
                <a:cubicBezTo>
                  <a:pt x="3734455" y="203437"/>
                  <a:pt x="3694987" y="236837"/>
                  <a:pt x="3655520" y="282383"/>
                </a:cubicBezTo>
                <a:cubicBezTo>
                  <a:pt x="3688915" y="276310"/>
                  <a:pt x="3707131" y="270237"/>
                  <a:pt x="3722311" y="267201"/>
                </a:cubicBezTo>
                <a:cubicBezTo>
                  <a:pt x="3701059" y="309710"/>
                  <a:pt x="3679807" y="352219"/>
                  <a:pt x="3655520" y="394729"/>
                </a:cubicBezTo>
                <a:cubicBezTo>
                  <a:pt x="3658555" y="397765"/>
                  <a:pt x="3661591" y="403837"/>
                  <a:pt x="3664627" y="406874"/>
                </a:cubicBezTo>
                <a:cubicBezTo>
                  <a:pt x="3770888" y="303638"/>
                  <a:pt x="3880184" y="197364"/>
                  <a:pt x="3989480" y="94127"/>
                </a:cubicBezTo>
                <a:cubicBezTo>
                  <a:pt x="3953048" y="188255"/>
                  <a:pt x="3916616" y="276310"/>
                  <a:pt x="3883220" y="364364"/>
                </a:cubicBezTo>
                <a:cubicBezTo>
                  <a:pt x="3889292" y="370438"/>
                  <a:pt x="3895364" y="373474"/>
                  <a:pt x="3901436" y="376510"/>
                </a:cubicBezTo>
                <a:cubicBezTo>
                  <a:pt x="3925724" y="352219"/>
                  <a:pt x="3950012" y="324892"/>
                  <a:pt x="3974300" y="297564"/>
                </a:cubicBezTo>
                <a:cubicBezTo>
                  <a:pt x="3977336" y="303638"/>
                  <a:pt x="3983408" y="306674"/>
                  <a:pt x="3989480" y="312746"/>
                </a:cubicBezTo>
                <a:cubicBezTo>
                  <a:pt x="3946976" y="364364"/>
                  <a:pt x="3904472" y="412946"/>
                  <a:pt x="3852860" y="479746"/>
                </a:cubicBezTo>
                <a:cubicBezTo>
                  <a:pt x="3886255" y="467601"/>
                  <a:pt x="3910544" y="464565"/>
                  <a:pt x="3928760" y="449383"/>
                </a:cubicBezTo>
                <a:cubicBezTo>
                  <a:pt x="4001624" y="382583"/>
                  <a:pt x="4071452" y="306674"/>
                  <a:pt x="4147352" y="236837"/>
                </a:cubicBezTo>
                <a:cubicBezTo>
                  <a:pt x="4159496" y="224692"/>
                  <a:pt x="4189857" y="163964"/>
                  <a:pt x="4211108" y="239874"/>
                </a:cubicBezTo>
                <a:cubicBezTo>
                  <a:pt x="4211108" y="242910"/>
                  <a:pt x="4253612" y="242910"/>
                  <a:pt x="4256648" y="236837"/>
                </a:cubicBezTo>
                <a:cubicBezTo>
                  <a:pt x="4302189" y="163964"/>
                  <a:pt x="4353801" y="130564"/>
                  <a:pt x="4444881" y="151819"/>
                </a:cubicBezTo>
                <a:cubicBezTo>
                  <a:pt x="4466134" y="157891"/>
                  <a:pt x="4502565" y="112346"/>
                  <a:pt x="4535962" y="88055"/>
                </a:cubicBezTo>
                <a:cubicBezTo>
                  <a:pt x="4532926" y="115382"/>
                  <a:pt x="4529889" y="136637"/>
                  <a:pt x="4526853" y="157891"/>
                </a:cubicBezTo>
                <a:cubicBezTo>
                  <a:pt x="4529889" y="163964"/>
                  <a:pt x="4535962" y="167001"/>
                  <a:pt x="4538997" y="173074"/>
                </a:cubicBezTo>
                <a:cubicBezTo>
                  <a:pt x="4605790" y="115382"/>
                  <a:pt x="4675618" y="57692"/>
                  <a:pt x="4742410" y="0"/>
                </a:cubicBezTo>
                <a:close/>
              </a:path>
            </a:pathLst>
          </a:custGeom>
        </p:spPr>
      </p:sp>
    </p:spTree>
    <p:extLst>
      <p:ext uri="{BB962C8B-B14F-4D97-AF65-F5344CB8AC3E}">
        <p14:creationId xmlns:p14="http://schemas.microsoft.com/office/powerpoint/2010/main" val="372847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5_Custom Layout">
    <p:spTree>
      <p:nvGrpSpPr>
        <p:cNvPr id="1" name=""/>
        <p:cNvGrpSpPr/>
        <p:nvPr/>
      </p:nvGrpSpPr>
      <p:grpSpPr>
        <a:xfrm>
          <a:off x="0" y="0"/>
          <a:ext cx="0" cy="0"/>
          <a:chOff x="0" y="0"/>
          <a:chExt cx="0" cy="0"/>
        </a:xfrm>
      </p:grpSpPr>
      <p:sp>
        <p:nvSpPr>
          <p:cNvPr id="10" name="Freeform 9"/>
          <p:cNvSpPr>
            <a:spLocks noGrp="1"/>
          </p:cNvSpPr>
          <p:nvPr>
            <p:ph type="pic" sz="quarter" idx="11"/>
          </p:nvPr>
        </p:nvSpPr>
        <p:spPr>
          <a:xfrm>
            <a:off x="590550" y="261937"/>
            <a:ext cx="5867400" cy="6334125"/>
          </a:xfrm>
          <a:custGeom>
            <a:avLst/>
            <a:gdLst>
              <a:gd name="connsiteX0" fmla="*/ 2216240 w 5867400"/>
              <a:gd name="connsiteY0" fmla="*/ 5488401 h 6334125"/>
              <a:gd name="connsiteX1" fmla="*/ 2217838 w 5867400"/>
              <a:gd name="connsiteY1" fmla="*/ 5488902 h 6334125"/>
              <a:gd name="connsiteX2" fmla="*/ 2216709 w 5867400"/>
              <a:gd name="connsiteY2" fmla="*/ 5493099 h 6334125"/>
              <a:gd name="connsiteX3" fmla="*/ 2216240 w 5867400"/>
              <a:gd name="connsiteY3" fmla="*/ 5488401 h 6334125"/>
              <a:gd name="connsiteX4" fmla="*/ 608997 w 5867400"/>
              <a:gd name="connsiteY4" fmla="*/ 4291701 h 6334125"/>
              <a:gd name="connsiteX5" fmla="*/ 609527 w 5867400"/>
              <a:gd name="connsiteY5" fmla="*/ 4292163 h 6334125"/>
              <a:gd name="connsiteX6" fmla="*/ 608527 w 5867400"/>
              <a:gd name="connsiteY6" fmla="*/ 4293110 h 6334125"/>
              <a:gd name="connsiteX7" fmla="*/ 608997 w 5867400"/>
              <a:gd name="connsiteY7" fmla="*/ 4291701 h 6334125"/>
              <a:gd name="connsiteX8" fmla="*/ 672385 w 5867400"/>
              <a:gd name="connsiteY8" fmla="*/ 3969855 h 6334125"/>
              <a:gd name="connsiteX9" fmla="*/ 676141 w 5867400"/>
              <a:gd name="connsiteY9" fmla="*/ 3969855 h 6334125"/>
              <a:gd name="connsiteX10" fmla="*/ 675322 w 5867400"/>
              <a:gd name="connsiteY10" fmla="*/ 3972210 h 6334125"/>
              <a:gd name="connsiteX11" fmla="*/ 608997 w 5867400"/>
              <a:gd name="connsiteY11" fmla="*/ 3129651 h 6334125"/>
              <a:gd name="connsiteX12" fmla="*/ 609527 w 5867400"/>
              <a:gd name="connsiteY12" fmla="*/ 3130113 h 6334125"/>
              <a:gd name="connsiteX13" fmla="*/ 608527 w 5867400"/>
              <a:gd name="connsiteY13" fmla="*/ 3131060 h 6334125"/>
              <a:gd name="connsiteX14" fmla="*/ 608997 w 5867400"/>
              <a:gd name="connsiteY14" fmla="*/ 3129651 h 6334125"/>
              <a:gd name="connsiteX15" fmla="*/ 672385 w 5867400"/>
              <a:gd name="connsiteY15" fmla="*/ 2807805 h 6334125"/>
              <a:gd name="connsiteX16" fmla="*/ 676141 w 5867400"/>
              <a:gd name="connsiteY16" fmla="*/ 2807805 h 6334125"/>
              <a:gd name="connsiteX17" fmla="*/ 675322 w 5867400"/>
              <a:gd name="connsiteY17" fmla="*/ 2810160 h 6334125"/>
              <a:gd name="connsiteX18" fmla="*/ 1442434 w 5867400"/>
              <a:gd name="connsiteY18" fmla="*/ 0 h 6334125"/>
              <a:gd name="connsiteX19" fmla="*/ 1720403 w 5867400"/>
              <a:gd name="connsiteY19" fmla="*/ 0 h 6334125"/>
              <a:gd name="connsiteX20" fmla="*/ 1720403 w 5867400"/>
              <a:gd name="connsiteY20" fmla="*/ 56382 h 6334125"/>
              <a:gd name="connsiteX21" fmla="*/ 1874413 w 5867400"/>
              <a:gd name="connsiteY21" fmla="*/ 165386 h 6334125"/>
              <a:gd name="connsiteX22" fmla="*/ 1859388 w 5867400"/>
              <a:gd name="connsiteY22" fmla="*/ 199215 h 6334125"/>
              <a:gd name="connsiteX23" fmla="*/ 1889438 w 5867400"/>
              <a:gd name="connsiteY23" fmla="*/ 187939 h 6334125"/>
              <a:gd name="connsiteX24" fmla="*/ 1945783 w 5867400"/>
              <a:gd name="connsiteY24" fmla="*/ 225527 h 6334125"/>
              <a:gd name="connsiteX25" fmla="*/ 2069742 w 5867400"/>
              <a:gd name="connsiteY25" fmla="*/ 259356 h 6334125"/>
              <a:gd name="connsiteX26" fmla="*/ 2178676 w 5867400"/>
              <a:gd name="connsiteY26" fmla="*/ 353325 h 6334125"/>
              <a:gd name="connsiteX27" fmla="*/ 2253803 w 5867400"/>
              <a:gd name="connsiteY27" fmla="*/ 372119 h 6334125"/>
              <a:gd name="connsiteX28" fmla="*/ 2317661 w 5867400"/>
              <a:gd name="connsiteY28" fmla="*/ 387154 h 6334125"/>
              <a:gd name="connsiteX29" fmla="*/ 2313904 w 5867400"/>
              <a:gd name="connsiteY29" fmla="*/ 413465 h 6334125"/>
              <a:gd name="connsiteX30" fmla="*/ 2238778 w 5867400"/>
              <a:gd name="connsiteY30" fmla="*/ 413465 h 6334125"/>
              <a:gd name="connsiteX31" fmla="*/ 2332686 w 5867400"/>
              <a:gd name="connsiteY31" fmla="*/ 514952 h 6334125"/>
              <a:gd name="connsiteX32" fmla="*/ 2434107 w 5867400"/>
              <a:gd name="connsiteY32" fmla="*/ 518711 h 6334125"/>
              <a:gd name="connsiteX33" fmla="*/ 2396544 w 5867400"/>
              <a:gd name="connsiteY33" fmla="*/ 590128 h 6334125"/>
              <a:gd name="connsiteX34" fmla="*/ 2479183 w 5867400"/>
              <a:gd name="connsiteY34" fmla="*/ 657786 h 6334125"/>
              <a:gd name="connsiteX35" fmla="*/ 2486696 w 5867400"/>
              <a:gd name="connsiteY35" fmla="*/ 601404 h 6334125"/>
              <a:gd name="connsiteX36" fmla="*/ 2584361 w 5867400"/>
              <a:gd name="connsiteY36" fmla="*/ 684097 h 6334125"/>
              <a:gd name="connsiteX37" fmla="*/ 2723345 w 5867400"/>
              <a:gd name="connsiteY37" fmla="*/ 849483 h 6334125"/>
              <a:gd name="connsiteX38" fmla="*/ 2805985 w 5867400"/>
              <a:gd name="connsiteY38" fmla="*/ 898347 h 6334125"/>
              <a:gd name="connsiteX39" fmla="*/ 2839792 w 5867400"/>
              <a:gd name="connsiteY39" fmla="*/ 849483 h 6334125"/>
              <a:gd name="connsiteX40" fmla="*/ 2881112 w 5867400"/>
              <a:gd name="connsiteY40" fmla="*/ 966005 h 6334125"/>
              <a:gd name="connsiteX41" fmla="*/ 2997558 w 5867400"/>
              <a:gd name="connsiteY41" fmla="*/ 1059975 h 6334125"/>
              <a:gd name="connsiteX42" fmla="*/ 3076441 w 5867400"/>
              <a:gd name="connsiteY42" fmla="*/ 1075010 h 6334125"/>
              <a:gd name="connsiteX43" fmla="*/ 3181618 w 5867400"/>
              <a:gd name="connsiteY43" fmla="*/ 1029905 h 6334125"/>
              <a:gd name="connsiteX44" fmla="*/ 3159080 w 5867400"/>
              <a:gd name="connsiteY44" fmla="*/ 950970 h 6334125"/>
              <a:gd name="connsiteX45" fmla="*/ 3192887 w 5867400"/>
              <a:gd name="connsiteY45" fmla="*/ 969764 h 6334125"/>
              <a:gd name="connsiteX46" fmla="*/ 3219182 w 5867400"/>
              <a:gd name="connsiteY46" fmla="*/ 879554 h 6334125"/>
              <a:gd name="connsiteX47" fmla="*/ 3244537 w 5867400"/>
              <a:gd name="connsiteY47" fmla="*/ 857001 h 6334125"/>
              <a:gd name="connsiteX48" fmla="*/ 3286796 w 5867400"/>
              <a:gd name="connsiteY48" fmla="*/ 834448 h 6334125"/>
              <a:gd name="connsiteX49" fmla="*/ 3290552 w 5867400"/>
              <a:gd name="connsiteY49" fmla="*/ 836328 h 6334125"/>
              <a:gd name="connsiteX50" fmla="*/ 3316847 w 5867400"/>
              <a:gd name="connsiteY50" fmla="*/ 849483 h 6334125"/>
              <a:gd name="connsiteX51" fmla="*/ 3301821 w 5867400"/>
              <a:gd name="connsiteY51" fmla="*/ 778067 h 6334125"/>
              <a:gd name="connsiteX52" fmla="*/ 3391973 w 5867400"/>
              <a:gd name="connsiteY52" fmla="*/ 785584 h 6334125"/>
              <a:gd name="connsiteX53" fmla="*/ 3527202 w 5867400"/>
              <a:gd name="connsiteY53" fmla="*/ 860760 h 6334125"/>
              <a:gd name="connsiteX54" fmla="*/ 3553496 w 5867400"/>
              <a:gd name="connsiteY54" fmla="*/ 898347 h 6334125"/>
              <a:gd name="connsiteX55" fmla="*/ 3497151 w 5867400"/>
              <a:gd name="connsiteY55" fmla="*/ 962247 h 6334125"/>
              <a:gd name="connsiteX56" fmla="*/ 3602328 w 5867400"/>
              <a:gd name="connsiteY56" fmla="*/ 1044940 h 6334125"/>
              <a:gd name="connsiteX57" fmla="*/ 3699993 w 5867400"/>
              <a:gd name="connsiteY57" fmla="*/ 1165221 h 6334125"/>
              <a:gd name="connsiteX58" fmla="*/ 3778876 w 5867400"/>
              <a:gd name="connsiteY58" fmla="*/ 1326848 h 6334125"/>
              <a:gd name="connsiteX59" fmla="*/ 3730044 w 5867400"/>
              <a:gd name="connsiteY59" fmla="*/ 1262949 h 6334125"/>
              <a:gd name="connsiteX60" fmla="*/ 3711262 w 5867400"/>
              <a:gd name="connsiteY60" fmla="*/ 1277984 h 6334125"/>
              <a:gd name="connsiteX61" fmla="*/ 3797658 w 5867400"/>
              <a:gd name="connsiteY61" fmla="*/ 1364436 h 6334125"/>
              <a:gd name="connsiteX62" fmla="*/ 3921617 w 5867400"/>
              <a:gd name="connsiteY62" fmla="*/ 1420817 h 6334125"/>
              <a:gd name="connsiteX63" fmla="*/ 3955424 w 5867400"/>
              <a:gd name="connsiteY63" fmla="*/ 1495993 h 6334125"/>
              <a:gd name="connsiteX64" fmla="*/ 3996744 w 5867400"/>
              <a:gd name="connsiteY64" fmla="*/ 1635068 h 6334125"/>
              <a:gd name="connsiteX65" fmla="*/ 4075627 w 5867400"/>
              <a:gd name="connsiteY65" fmla="*/ 1574927 h 6334125"/>
              <a:gd name="connsiteX66" fmla="*/ 4105678 w 5867400"/>
              <a:gd name="connsiteY66" fmla="*/ 1574927 h 6334125"/>
              <a:gd name="connsiteX67" fmla="*/ 4109434 w 5867400"/>
              <a:gd name="connsiteY67" fmla="*/ 1593721 h 6334125"/>
              <a:gd name="connsiteX68" fmla="*/ 4109434 w 5867400"/>
              <a:gd name="connsiteY68" fmla="*/ 1612515 h 6334125"/>
              <a:gd name="connsiteX69" fmla="*/ 4124459 w 5867400"/>
              <a:gd name="connsiteY69" fmla="*/ 1612515 h 6334125"/>
              <a:gd name="connsiteX70" fmla="*/ 4165779 w 5867400"/>
              <a:gd name="connsiteY70" fmla="*/ 1665138 h 6334125"/>
              <a:gd name="connsiteX71" fmla="*/ 4222124 w 5867400"/>
              <a:gd name="connsiteY71" fmla="*/ 1762866 h 6334125"/>
              <a:gd name="connsiteX72" fmla="*/ 4237150 w 5867400"/>
              <a:gd name="connsiteY72" fmla="*/ 1777901 h 6334125"/>
              <a:gd name="connsiteX73" fmla="*/ 4240906 w 5867400"/>
              <a:gd name="connsiteY73" fmla="*/ 1796695 h 6334125"/>
              <a:gd name="connsiteX74" fmla="*/ 4297251 w 5867400"/>
              <a:gd name="connsiteY74" fmla="*/ 1834283 h 6334125"/>
              <a:gd name="connsiteX75" fmla="*/ 4331058 w 5867400"/>
              <a:gd name="connsiteY75" fmla="*/ 1871870 h 6334125"/>
              <a:gd name="connsiteX76" fmla="*/ 4368621 w 5867400"/>
              <a:gd name="connsiteY76" fmla="*/ 1905699 h 6334125"/>
              <a:gd name="connsiteX77" fmla="*/ 4402428 w 5867400"/>
              <a:gd name="connsiteY77" fmla="*/ 1962081 h 6334125"/>
              <a:gd name="connsiteX78" fmla="*/ 4515119 w 5867400"/>
              <a:gd name="connsiteY78" fmla="*/ 2108673 h 6334125"/>
              <a:gd name="connsiteX79" fmla="*/ 4548926 w 5867400"/>
              <a:gd name="connsiteY79" fmla="*/ 2097397 h 6334125"/>
              <a:gd name="connsiteX80" fmla="*/ 4537657 w 5867400"/>
              <a:gd name="connsiteY80" fmla="*/ 2056050 h 6334125"/>
              <a:gd name="connsiteX81" fmla="*/ 4533900 w 5867400"/>
              <a:gd name="connsiteY81" fmla="*/ 1984634 h 6334125"/>
              <a:gd name="connsiteX82" fmla="*/ 4605271 w 5867400"/>
              <a:gd name="connsiteY82" fmla="*/ 2082362 h 6334125"/>
              <a:gd name="connsiteX83" fmla="*/ 4642834 w 5867400"/>
              <a:gd name="connsiteY83" fmla="*/ 2052292 h 6334125"/>
              <a:gd name="connsiteX84" fmla="*/ 4714204 w 5867400"/>
              <a:gd name="connsiteY84" fmla="*/ 2150020 h 6334125"/>
              <a:gd name="connsiteX85" fmla="*/ 4744255 w 5867400"/>
              <a:gd name="connsiteY85" fmla="*/ 2195125 h 6334125"/>
              <a:gd name="connsiteX86" fmla="*/ 4909534 w 5867400"/>
              <a:gd name="connsiteY86" fmla="*/ 2439445 h 6334125"/>
              <a:gd name="connsiteX87" fmla="*/ 4935828 w 5867400"/>
              <a:gd name="connsiteY87" fmla="*/ 2446963 h 6334125"/>
              <a:gd name="connsiteX88" fmla="*/ 5014712 w 5867400"/>
              <a:gd name="connsiteY88" fmla="*/ 2507104 h 6334125"/>
              <a:gd name="connsiteX89" fmla="*/ 5059788 w 5867400"/>
              <a:gd name="connsiteY89" fmla="*/ 2548450 h 6334125"/>
              <a:gd name="connsiteX90" fmla="*/ 5104864 w 5867400"/>
              <a:gd name="connsiteY90" fmla="*/ 2510862 h 6334125"/>
              <a:gd name="connsiteX91" fmla="*/ 5127402 w 5867400"/>
              <a:gd name="connsiteY91" fmla="*/ 2461998 h 6334125"/>
              <a:gd name="connsiteX92" fmla="*/ 5149940 w 5867400"/>
              <a:gd name="connsiteY92" fmla="*/ 2461998 h 6334125"/>
              <a:gd name="connsiteX93" fmla="*/ 5273899 w 5867400"/>
              <a:gd name="connsiteY93" fmla="*/ 2488309 h 6334125"/>
              <a:gd name="connsiteX94" fmla="*/ 5326488 w 5867400"/>
              <a:gd name="connsiteY94" fmla="*/ 2507104 h 6334125"/>
              <a:gd name="connsiteX95" fmla="*/ 5364051 w 5867400"/>
              <a:gd name="connsiteY95" fmla="*/ 2612349 h 6334125"/>
              <a:gd name="connsiteX96" fmla="*/ 5356538 w 5867400"/>
              <a:gd name="connsiteY96" fmla="*/ 2804047 h 6334125"/>
              <a:gd name="connsiteX97" fmla="*/ 5303950 w 5867400"/>
              <a:gd name="connsiteY97" fmla="*/ 2954398 h 6334125"/>
              <a:gd name="connsiteX98" fmla="*/ 5367807 w 5867400"/>
              <a:gd name="connsiteY98" fmla="*/ 2973191 h 6334125"/>
              <a:gd name="connsiteX99" fmla="*/ 5142427 w 5867400"/>
              <a:gd name="connsiteY99" fmla="*/ 3063402 h 6334125"/>
              <a:gd name="connsiteX100" fmla="*/ 5108620 w 5867400"/>
              <a:gd name="connsiteY100" fmla="*/ 3221271 h 6334125"/>
              <a:gd name="connsiteX101" fmla="*/ 5093595 w 5867400"/>
              <a:gd name="connsiteY101" fmla="*/ 3277652 h 6334125"/>
              <a:gd name="connsiteX102" fmla="*/ 5131158 w 5867400"/>
              <a:gd name="connsiteY102" fmla="*/ 3296446 h 6334125"/>
              <a:gd name="connsiteX103" fmla="*/ 5146183 w 5867400"/>
              <a:gd name="connsiteY103" fmla="*/ 3315240 h 6334125"/>
              <a:gd name="connsiteX104" fmla="*/ 5164965 w 5867400"/>
              <a:gd name="connsiteY104" fmla="*/ 3352828 h 6334125"/>
              <a:gd name="connsiteX105" fmla="*/ 5172478 w 5867400"/>
              <a:gd name="connsiteY105" fmla="*/ 3352828 h 6334125"/>
              <a:gd name="connsiteX106" fmla="*/ 5183747 w 5867400"/>
              <a:gd name="connsiteY106" fmla="*/ 3352828 h 6334125"/>
              <a:gd name="connsiteX107" fmla="*/ 5202528 w 5867400"/>
              <a:gd name="connsiteY107" fmla="*/ 3352828 h 6334125"/>
              <a:gd name="connsiteX108" fmla="*/ 5334000 w 5867400"/>
              <a:gd name="connsiteY108" fmla="*/ 3315240 h 6334125"/>
              <a:gd name="connsiteX109" fmla="*/ 5514304 w 5867400"/>
              <a:gd name="connsiteY109" fmla="*/ 3375380 h 6334125"/>
              <a:gd name="connsiteX110" fmla="*/ 5548112 w 5867400"/>
              <a:gd name="connsiteY110" fmla="*/ 3458074 h 6334125"/>
              <a:gd name="connsiteX111" fmla="*/ 5548112 w 5867400"/>
              <a:gd name="connsiteY111" fmla="*/ 3544525 h 6334125"/>
              <a:gd name="connsiteX112" fmla="*/ 5604457 w 5867400"/>
              <a:gd name="connsiteY112" fmla="*/ 3800122 h 6334125"/>
              <a:gd name="connsiteX113" fmla="*/ 5623238 w 5867400"/>
              <a:gd name="connsiteY113" fmla="*/ 4033166 h 6334125"/>
              <a:gd name="connsiteX114" fmla="*/ 5672071 w 5867400"/>
              <a:gd name="connsiteY114" fmla="*/ 4307557 h 6334125"/>
              <a:gd name="connsiteX115" fmla="*/ 5596944 w 5867400"/>
              <a:gd name="connsiteY115" fmla="*/ 4292522 h 6334125"/>
              <a:gd name="connsiteX116" fmla="*/ 5673010 w 5867400"/>
              <a:gd name="connsiteY116" fmla="*/ 4353602 h 6334125"/>
              <a:gd name="connsiteX117" fmla="*/ 5742387 w 5867400"/>
              <a:gd name="connsiteY117" fmla="*/ 4408214 h 6334125"/>
              <a:gd name="connsiteX118" fmla="*/ 5739215 w 5867400"/>
              <a:gd name="connsiteY118" fmla="*/ 4417031 h 6334125"/>
              <a:gd name="connsiteX119" fmla="*/ 5743441 w 5867400"/>
              <a:gd name="connsiteY119" fmla="*/ 4409044 h 6334125"/>
              <a:gd name="connsiteX120" fmla="*/ 5742387 w 5867400"/>
              <a:gd name="connsiteY120" fmla="*/ 4408214 h 6334125"/>
              <a:gd name="connsiteX121" fmla="*/ 5743441 w 5867400"/>
              <a:gd name="connsiteY121" fmla="*/ 4405285 h 6334125"/>
              <a:gd name="connsiteX122" fmla="*/ 5765979 w 5867400"/>
              <a:gd name="connsiteY122" fmla="*/ 4600741 h 6334125"/>
              <a:gd name="connsiteX123" fmla="*/ 5867400 w 5867400"/>
              <a:gd name="connsiteY123" fmla="*/ 4668399 h 6334125"/>
              <a:gd name="connsiteX124" fmla="*/ 5852375 w 5867400"/>
              <a:gd name="connsiteY124" fmla="*/ 4871373 h 6334125"/>
              <a:gd name="connsiteX125" fmla="*/ 5811055 w 5867400"/>
              <a:gd name="connsiteY125" fmla="*/ 4856338 h 6334125"/>
              <a:gd name="connsiteX126" fmla="*/ 5818568 w 5867400"/>
              <a:gd name="connsiteY126" fmla="*/ 4961584 h 6334125"/>
              <a:gd name="connsiteX127" fmla="*/ 5672071 w 5867400"/>
              <a:gd name="connsiteY127" fmla="*/ 5021724 h 6334125"/>
              <a:gd name="connsiteX128" fmla="*/ 5637325 w 5867400"/>
              <a:gd name="connsiteY128" fmla="*/ 5074347 h 6334125"/>
              <a:gd name="connsiteX129" fmla="*/ 5613845 w 5867400"/>
              <a:gd name="connsiteY129" fmla="*/ 5107695 h 6334125"/>
              <a:gd name="connsiteX130" fmla="*/ 5612381 w 5867400"/>
              <a:gd name="connsiteY130" fmla="*/ 5139246 h 6334125"/>
              <a:gd name="connsiteX131" fmla="*/ 5623238 w 5867400"/>
              <a:gd name="connsiteY131" fmla="*/ 5195216 h 6334125"/>
              <a:gd name="connsiteX132" fmla="*/ 5672071 w 5867400"/>
              <a:gd name="connsiteY132" fmla="*/ 5469607 h 6334125"/>
              <a:gd name="connsiteX133" fmla="*/ 5596944 w 5867400"/>
              <a:gd name="connsiteY133" fmla="*/ 5454572 h 6334125"/>
              <a:gd name="connsiteX134" fmla="*/ 5673010 w 5867400"/>
              <a:gd name="connsiteY134" fmla="*/ 5515652 h 6334125"/>
              <a:gd name="connsiteX135" fmla="*/ 5742387 w 5867400"/>
              <a:gd name="connsiteY135" fmla="*/ 5570264 h 6334125"/>
              <a:gd name="connsiteX136" fmla="*/ 5739215 w 5867400"/>
              <a:gd name="connsiteY136" fmla="*/ 5579081 h 6334125"/>
              <a:gd name="connsiteX137" fmla="*/ 5743441 w 5867400"/>
              <a:gd name="connsiteY137" fmla="*/ 5571094 h 6334125"/>
              <a:gd name="connsiteX138" fmla="*/ 5742387 w 5867400"/>
              <a:gd name="connsiteY138" fmla="*/ 5570264 h 6334125"/>
              <a:gd name="connsiteX139" fmla="*/ 5743441 w 5867400"/>
              <a:gd name="connsiteY139" fmla="*/ 5567335 h 6334125"/>
              <a:gd name="connsiteX140" fmla="*/ 5765979 w 5867400"/>
              <a:gd name="connsiteY140" fmla="*/ 5762791 h 6334125"/>
              <a:gd name="connsiteX141" fmla="*/ 5867400 w 5867400"/>
              <a:gd name="connsiteY141" fmla="*/ 5830449 h 6334125"/>
              <a:gd name="connsiteX142" fmla="*/ 5852375 w 5867400"/>
              <a:gd name="connsiteY142" fmla="*/ 6033423 h 6334125"/>
              <a:gd name="connsiteX143" fmla="*/ 5811055 w 5867400"/>
              <a:gd name="connsiteY143" fmla="*/ 6018388 h 6334125"/>
              <a:gd name="connsiteX144" fmla="*/ 5818568 w 5867400"/>
              <a:gd name="connsiteY144" fmla="*/ 6123634 h 6334125"/>
              <a:gd name="connsiteX145" fmla="*/ 5672071 w 5867400"/>
              <a:gd name="connsiteY145" fmla="*/ 6183774 h 6334125"/>
              <a:gd name="connsiteX146" fmla="*/ 5608213 w 5867400"/>
              <a:gd name="connsiteY146" fmla="*/ 6277744 h 6334125"/>
              <a:gd name="connsiteX147" fmla="*/ 5555624 w 5867400"/>
              <a:gd name="connsiteY147" fmla="*/ 6273985 h 6334125"/>
              <a:gd name="connsiteX148" fmla="*/ 5555624 w 5867400"/>
              <a:gd name="connsiteY148" fmla="*/ 6296537 h 6334125"/>
              <a:gd name="connsiteX149" fmla="*/ 5551868 w 5867400"/>
              <a:gd name="connsiteY149" fmla="*/ 6311573 h 6334125"/>
              <a:gd name="connsiteX150" fmla="*/ 5382833 w 5867400"/>
              <a:gd name="connsiteY150" fmla="*/ 6296537 h 6334125"/>
              <a:gd name="connsiteX151" fmla="*/ 5052275 w 5867400"/>
              <a:gd name="connsiteY151" fmla="*/ 6334125 h 6334125"/>
              <a:gd name="connsiteX152" fmla="*/ 5093595 w 5867400"/>
              <a:gd name="connsiteY152" fmla="*/ 6258950 h 6334125"/>
              <a:gd name="connsiteX153" fmla="*/ 5048519 w 5867400"/>
              <a:gd name="connsiteY153" fmla="*/ 6217603 h 6334125"/>
              <a:gd name="connsiteX154" fmla="*/ 4759281 w 5867400"/>
              <a:gd name="connsiteY154" fmla="*/ 6191292 h 6334125"/>
              <a:gd name="connsiteX155" fmla="*/ 4789331 w 5867400"/>
              <a:gd name="connsiteY155" fmla="*/ 6255191 h 6334125"/>
              <a:gd name="connsiteX156" fmla="*/ 4744255 w 5867400"/>
              <a:gd name="connsiteY156" fmla="*/ 6251432 h 6334125"/>
              <a:gd name="connsiteX157" fmla="*/ 4530144 w 5867400"/>
              <a:gd name="connsiteY157" fmla="*/ 6191292 h 6334125"/>
              <a:gd name="connsiteX158" fmla="*/ 4263444 w 5867400"/>
              <a:gd name="connsiteY158" fmla="*/ 6104840 h 6334125"/>
              <a:gd name="connsiteX159" fmla="*/ 4203343 w 5867400"/>
              <a:gd name="connsiteY159" fmla="*/ 6127393 h 6334125"/>
              <a:gd name="connsiteX160" fmla="*/ 4146997 w 5867400"/>
              <a:gd name="connsiteY160" fmla="*/ 6123634 h 6334125"/>
              <a:gd name="connsiteX161" fmla="*/ 3977962 w 5867400"/>
              <a:gd name="connsiteY161" fmla="*/ 6123634 h 6334125"/>
              <a:gd name="connsiteX162" fmla="*/ 3767607 w 5867400"/>
              <a:gd name="connsiteY162" fmla="*/ 6055976 h 6334125"/>
              <a:gd name="connsiteX163" fmla="*/ 3823952 w 5867400"/>
              <a:gd name="connsiteY163" fmla="*/ 6168739 h 6334125"/>
              <a:gd name="connsiteX164" fmla="*/ 3797658 w 5867400"/>
              <a:gd name="connsiteY164" fmla="*/ 6183774 h 6334125"/>
              <a:gd name="connsiteX165" fmla="*/ 3609841 w 5867400"/>
              <a:gd name="connsiteY165" fmla="*/ 6082287 h 6334125"/>
              <a:gd name="connsiteX166" fmla="*/ 3534714 w 5867400"/>
              <a:gd name="connsiteY166" fmla="*/ 6210086 h 6334125"/>
              <a:gd name="connsiteX167" fmla="*/ 3463344 w 5867400"/>
              <a:gd name="connsiteY167" fmla="*/ 6131151 h 6334125"/>
              <a:gd name="connsiteX168" fmla="*/ 3260502 w 5867400"/>
              <a:gd name="connsiteY168" fmla="*/ 6018388 h 6334125"/>
              <a:gd name="connsiteX169" fmla="*/ 3245476 w 5867400"/>
              <a:gd name="connsiteY169" fmla="*/ 6059735 h 6334125"/>
              <a:gd name="connsiteX170" fmla="*/ 3185375 w 5867400"/>
              <a:gd name="connsiteY170" fmla="*/ 5958248 h 6334125"/>
              <a:gd name="connsiteX171" fmla="*/ 3144055 w 5867400"/>
              <a:gd name="connsiteY171" fmla="*/ 6059735 h 6334125"/>
              <a:gd name="connsiteX172" fmla="*/ 3102736 w 5867400"/>
              <a:gd name="connsiteY172" fmla="*/ 5977042 h 6334125"/>
              <a:gd name="connsiteX173" fmla="*/ 3016340 w 5867400"/>
              <a:gd name="connsiteY173" fmla="*/ 6014629 h 6334125"/>
              <a:gd name="connsiteX174" fmla="*/ 2794716 w 5867400"/>
              <a:gd name="connsiteY174" fmla="*/ 5845484 h 6334125"/>
              <a:gd name="connsiteX175" fmla="*/ 2685782 w 5867400"/>
              <a:gd name="connsiteY175" fmla="*/ 5826691 h 6334125"/>
              <a:gd name="connsiteX176" fmla="*/ 2651975 w 5867400"/>
              <a:gd name="connsiteY176" fmla="*/ 5822932 h 6334125"/>
              <a:gd name="connsiteX177" fmla="*/ 2351468 w 5867400"/>
              <a:gd name="connsiteY177" fmla="*/ 5698892 h 6334125"/>
              <a:gd name="connsiteX178" fmla="*/ 2306392 w 5867400"/>
              <a:gd name="connsiteY178" fmla="*/ 5646269 h 6334125"/>
              <a:gd name="connsiteX179" fmla="*/ 2321417 w 5867400"/>
              <a:gd name="connsiteY179" fmla="*/ 5627475 h 6334125"/>
              <a:gd name="connsiteX180" fmla="*/ 2456645 w 5867400"/>
              <a:gd name="connsiteY180" fmla="*/ 5683857 h 6334125"/>
              <a:gd name="connsiteX181" fmla="*/ 2310148 w 5867400"/>
              <a:gd name="connsiteY181" fmla="*/ 5525989 h 6334125"/>
              <a:gd name="connsiteX182" fmla="*/ 2271646 w 5867400"/>
              <a:gd name="connsiteY182" fmla="*/ 5505785 h 6334125"/>
              <a:gd name="connsiteX183" fmla="*/ 2217838 w 5867400"/>
              <a:gd name="connsiteY183" fmla="*/ 5488902 h 6334125"/>
              <a:gd name="connsiteX184" fmla="*/ 2219996 w 5867400"/>
              <a:gd name="connsiteY184" fmla="*/ 5480883 h 6334125"/>
              <a:gd name="connsiteX185" fmla="*/ 2058474 w 5867400"/>
              <a:gd name="connsiteY185" fmla="*/ 5432019 h 6334125"/>
              <a:gd name="connsiteX186" fmla="*/ 1885682 w 5867400"/>
              <a:gd name="connsiteY186" fmla="*/ 5353085 h 6334125"/>
              <a:gd name="connsiteX187" fmla="*/ 1881926 w 5867400"/>
              <a:gd name="connsiteY187" fmla="*/ 5338050 h 6334125"/>
              <a:gd name="connsiteX188" fmla="*/ 1776748 w 5867400"/>
              <a:gd name="connsiteY188" fmla="*/ 5214010 h 6334125"/>
              <a:gd name="connsiteX189" fmla="*/ 1727916 w 5867400"/>
              <a:gd name="connsiteY189" fmla="*/ 5168905 h 6334125"/>
              <a:gd name="connsiteX190" fmla="*/ 1727916 w 5867400"/>
              <a:gd name="connsiteY190" fmla="*/ 5229045 h 6334125"/>
              <a:gd name="connsiteX191" fmla="*/ 1709134 w 5867400"/>
              <a:gd name="connsiteY191" fmla="*/ 5251598 h 6334125"/>
              <a:gd name="connsiteX192" fmla="*/ 1694109 w 5867400"/>
              <a:gd name="connsiteY192" fmla="*/ 5206492 h 6334125"/>
              <a:gd name="connsiteX193" fmla="*/ 1412383 w 5867400"/>
              <a:gd name="connsiteY193" fmla="*/ 5003519 h 6334125"/>
              <a:gd name="connsiteX194" fmla="*/ 1254617 w 5867400"/>
              <a:gd name="connsiteY194" fmla="*/ 4808062 h 6334125"/>
              <a:gd name="connsiteX195" fmla="*/ 1190759 w 5867400"/>
              <a:gd name="connsiteY195" fmla="*/ 4751681 h 6334125"/>
              <a:gd name="connsiteX196" fmla="*/ 1187003 w 5867400"/>
              <a:gd name="connsiteY196" fmla="*/ 4725369 h 6334125"/>
              <a:gd name="connsiteX197" fmla="*/ 1164465 w 5867400"/>
              <a:gd name="connsiteY197" fmla="*/ 4684023 h 6334125"/>
              <a:gd name="connsiteX198" fmla="*/ 1123145 w 5867400"/>
              <a:gd name="connsiteY198" fmla="*/ 4646435 h 6334125"/>
              <a:gd name="connsiteX199" fmla="*/ 1149440 w 5867400"/>
              <a:gd name="connsiteY199" fmla="*/ 4623882 h 6334125"/>
              <a:gd name="connsiteX200" fmla="*/ 1360750 w 5867400"/>
              <a:gd name="connsiteY200" fmla="*/ 4805511 h 6334125"/>
              <a:gd name="connsiteX201" fmla="*/ 1427409 w 5867400"/>
              <a:gd name="connsiteY201" fmla="*/ 4886997 h 6334125"/>
              <a:gd name="connsiteX202" fmla="*/ 1442434 w 5867400"/>
              <a:gd name="connsiteY202" fmla="*/ 4875720 h 6334125"/>
              <a:gd name="connsiteX203" fmla="*/ 1360750 w 5867400"/>
              <a:gd name="connsiteY203" fmla="*/ 4805511 h 6334125"/>
              <a:gd name="connsiteX204" fmla="*/ 1336318 w 5867400"/>
              <a:gd name="connsiteY204" fmla="*/ 4775643 h 6334125"/>
              <a:gd name="connsiteX205" fmla="*/ 1250861 w 5867400"/>
              <a:gd name="connsiteY205" fmla="*/ 4661470 h 6334125"/>
              <a:gd name="connsiteX206" fmla="*/ 1108120 w 5867400"/>
              <a:gd name="connsiteY206" fmla="*/ 4496084 h 6334125"/>
              <a:gd name="connsiteX207" fmla="*/ 1032993 w 5867400"/>
              <a:gd name="connsiteY207" fmla="*/ 4383321 h 6334125"/>
              <a:gd name="connsiteX208" fmla="*/ 991673 w 5867400"/>
              <a:gd name="connsiteY208" fmla="*/ 4353250 h 6334125"/>
              <a:gd name="connsiteX209" fmla="*/ 863958 w 5867400"/>
              <a:gd name="connsiteY209" fmla="*/ 4326939 h 6334125"/>
              <a:gd name="connsiteX210" fmla="*/ 1126902 w 5867400"/>
              <a:gd name="connsiteY210" fmla="*/ 4582536 h 6334125"/>
              <a:gd name="connsiteX211" fmla="*/ 1108120 w 5867400"/>
              <a:gd name="connsiteY211" fmla="*/ 4642676 h 6334125"/>
              <a:gd name="connsiteX212" fmla="*/ 841420 w 5867400"/>
              <a:gd name="connsiteY212" fmla="*/ 4402115 h 6334125"/>
              <a:gd name="connsiteX213" fmla="*/ 503349 w 5867400"/>
              <a:gd name="connsiteY213" fmla="*/ 4375803 h 6334125"/>
              <a:gd name="connsiteX214" fmla="*/ 623552 w 5867400"/>
              <a:gd name="connsiteY214" fmla="*/ 4304386 h 6334125"/>
              <a:gd name="connsiteX215" fmla="*/ 609527 w 5867400"/>
              <a:gd name="connsiteY215" fmla="*/ 4292163 h 6334125"/>
              <a:gd name="connsiteX216" fmla="*/ 652194 w 5867400"/>
              <a:gd name="connsiteY216" fmla="*/ 4251764 h 6334125"/>
              <a:gd name="connsiteX217" fmla="*/ 687410 w 5867400"/>
              <a:gd name="connsiteY217" fmla="*/ 4210417 h 6334125"/>
              <a:gd name="connsiteX218" fmla="*/ 702435 w 5867400"/>
              <a:gd name="connsiteY218" fmla="*/ 4120207 h 6334125"/>
              <a:gd name="connsiteX219" fmla="*/ 770049 w 5867400"/>
              <a:gd name="connsiteY219" fmla="*/ 4093895 h 6334125"/>
              <a:gd name="connsiteX220" fmla="*/ 666618 w 5867400"/>
              <a:gd name="connsiteY220" fmla="*/ 3997231 h 6334125"/>
              <a:gd name="connsiteX221" fmla="*/ 675322 w 5867400"/>
              <a:gd name="connsiteY221" fmla="*/ 3972210 h 6334125"/>
              <a:gd name="connsiteX222" fmla="*/ 716639 w 5867400"/>
              <a:gd name="connsiteY222" fmla="*/ 4005329 h 6334125"/>
              <a:gd name="connsiteX223" fmla="*/ 867714 w 5867400"/>
              <a:gd name="connsiteY223" fmla="*/ 4075101 h 6334125"/>
              <a:gd name="connsiteX224" fmla="*/ 897765 w 5867400"/>
              <a:gd name="connsiteY224" fmla="*/ 4105171 h 6334125"/>
              <a:gd name="connsiteX225" fmla="*/ 1029237 w 5867400"/>
              <a:gd name="connsiteY225" fmla="*/ 4259281 h 6334125"/>
              <a:gd name="connsiteX226" fmla="*/ 972892 w 5867400"/>
              <a:gd name="connsiteY226" fmla="*/ 4184106 h 6334125"/>
              <a:gd name="connsiteX227" fmla="*/ 1055531 w 5867400"/>
              <a:gd name="connsiteY227" fmla="*/ 4199141 h 6334125"/>
              <a:gd name="connsiteX228" fmla="*/ 972892 w 5867400"/>
              <a:gd name="connsiteY228" fmla="*/ 4060066 h 6334125"/>
              <a:gd name="connsiteX229" fmla="*/ 1051775 w 5867400"/>
              <a:gd name="connsiteY229" fmla="*/ 4071342 h 6334125"/>
              <a:gd name="connsiteX230" fmla="*/ 1051775 w 5867400"/>
              <a:gd name="connsiteY230" fmla="*/ 3954820 h 6334125"/>
              <a:gd name="connsiteX231" fmla="*/ 1093095 w 5867400"/>
              <a:gd name="connsiteY231" fmla="*/ 4022478 h 6334125"/>
              <a:gd name="connsiteX232" fmla="*/ 1111876 w 5867400"/>
              <a:gd name="connsiteY232" fmla="*/ 3969855 h 6334125"/>
              <a:gd name="connsiteX233" fmla="*/ 939085 w 5867400"/>
              <a:gd name="connsiteY233" fmla="*/ 3793193 h 6334125"/>
              <a:gd name="connsiteX234" fmla="*/ 954110 w 5867400"/>
              <a:gd name="connsiteY234" fmla="*/ 3770640 h 6334125"/>
              <a:gd name="connsiteX235" fmla="*/ 1168221 w 5867400"/>
              <a:gd name="connsiteY235" fmla="*/ 3868369 h 6334125"/>
              <a:gd name="connsiteX236" fmla="*/ 1175734 w 5867400"/>
              <a:gd name="connsiteY236" fmla="*/ 3793193 h 6334125"/>
              <a:gd name="connsiteX237" fmla="*/ 1126902 w 5867400"/>
              <a:gd name="connsiteY237" fmla="*/ 3785676 h 6334125"/>
              <a:gd name="connsiteX238" fmla="*/ 1044262 w 5867400"/>
              <a:gd name="connsiteY238" fmla="*/ 3537596 h 6334125"/>
              <a:gd name="connsiteX239" fmla="*/ 1017968 w 5867400"/>
              <a:gd name="connsiteY239" fmla="*/ 3545114 h 6334125"/>
              <a:gd name="connsiteX240" fmla="*/ 1029237 w 5867400"/>
              <a:gd name="connsiteY240" fmla="*/ 3620289 h 6334125"/>
              <a:gd name="connsiteX241" fmla="*/ 905278 w 5867400"/>
              <a:gd name="connsiteY241" fmla="*/ 3477456 h 6334125"/>
              <a:gd name="connsiteX242" fmla="*/ 890252 w 5867400"/>
              <a:gd name="connsiteY242" fmla="*/ 3421074 h 6334125"/>
              <a:gd name="connsiteX243" fmla="*/ 999186 w 5867400"/>
              <a:gd name="connsiteY243" fmla="*/ 3383486 h 6334125"/>
              <a:gd name="connsiteX244" fmla="*/ 999186 w 5867400"/>
              <a:gd name="connsiteY244" fmla="*/ 3382369 h 6334125"/>
              <a:gd name="connsiteX245" fmla="*/ 955995 w 5867400"/>
              <a:gd name="connsiteY245" fmla="*/ 3343410 h 6334125"/>
              <a:gd name="connsiteX246" fmla="*/ 926407 w 5867400"/>
              <a:gd name="connsiteY246" fmla="*/ 3323346 h 6334125"/>
              <a:gd name="connsiteX247" fmla="*/ 845176 w 5867400"/>
              <a:gd name="connsiteY247" fmla="*/ 3342140 h 6334125"/>
              <a:gd name="connsiteX248" fmla="*/ 811369 w 5867400"/>
              <a:gd name="connsiteY248" fmla="*/ 3323346 h 6334125"/>
              <a:gd name="connsiteX249" fmla="*/ 743755 w 5867400"/>
              <a:gd name="connsiteY249" fmla="*/ 3263206 h 6334125"/>
              <a:gd name="connsiteX250" fmla="*/ 757239 w 5867400"/>
              <a:gd name="connsiteY250" fmla="*/ 3255534 h 6334125"/>
              <a:gd name="connsiteX251" fmla="*/ 679428 w 5867400"/>
              <a:gd name="connsiteY251" fmla="*/ 3243823 h 6334125"/>
              <a:gd name="connsiteX252" fmla="*/ 503349 w 5867400"/>
              <a:gd name="connsiteY252" fmla="*/ 3213753 h 6334125"/>
              <a:gd name="connsiteX253" fmla="*/ 623552 w 5867400"/>
              <a:gd name="connsiteY253" fmla="*/ 3142336 h 6334125"/>
              <a:gd name="connsiteX254" fmla="*/ 609527 w 5867400"/>
              <a:gd name="connsiteY254" fmla="*/ 3130113 h 6334125"/>
              <a:gd name="connsiteX255" fmla="*/ 652194 w 5867400"/>
              <a:gd name="connsiteY255" fmla="*/ 3089714 h 6334125"/>
              <a:gd name="connsiteX256" fmla="*/ 687410 w 5867400"/>
              <a:gd name="connsiteY256" fmla="*/ 3048367 h 6334125"/>
              <a:gd name="connsiteX257" fmla="*/ 702435 w 5867400"/>
              <a:gd name="connsiteY257" fmla="*/ 2958157 h 6334125"/>
              <a:gd name="connsiteX258" fmla="*/ 770049 w 5867400"/>
              <a:gd name="connsiteY258" fmla="*/ 2931845 h 6334125"/>
              <a:gd name="connsiteX259" fmla="*/ 666618 w 5867400"/>
              <a:gd name="connsiteY259" fmla="*/ 2835181 h 6334125"/>
              <a:gd name="connsiteX260" fmla="*/ 675322 w 5867400"/>
              <a:gd name="connsiteY260" fmla="*/ 2810160 h 6334125"/>
              <a:gd name="connsiteX261" fmla="*/ 716639 w 5867400"/>
              <a:gd name="connsiteY261" fmla="*/ 2843279 h 6334125"/>
              <a:gd name="connsiteX262" fmla="*/ 748020 w 5867400"/>
              <a:gd name="connsiteY262" fmla="*/ 2871426 h 6334125"/>
              <a:gd name="connsiteX263" fmla="*/ 759548 w 5867400"/>
              <a:gd name="connsiteY263" fmla="*/ 2879757 h 6334125"/>
              <a:gd name="connsiteX264" fmla="*/ 717461 w 5867400"/>
              <a:gd name="connsiteY264" fmla="*/ 2812153 h 6334125"/>
              <a:gd name="connsiteX265" fmla="*/ 702435 w 5867400"/>
              <a:gd name="connsiteY265" fmla="*/ 2718183 h 6334125"/>
              <a:gd name="connsiteX266" fmla="*/ 679897 w 5867400"/>
              <a:gd name="connsiteY266" fmla="*/ 2646767 h 6334125"/>
              <a:gd name="connsiteX267" fmla="*/ 649847 w 5867400"/>
              <a:gd name="connsiteY267" fmla="*/ 2654284 h 6334125"/>
              <a:gd name="connsiteX268" fmla="*/ 657359 w 5867400"/>
              <a:gd name="connsiteY268" fmla="*/ 2624214 h 6334125"/>
              <a:gd name="connsiteX269" fmla="*/ 454517 w 5867400"/>
              <a:gd name="connsiteY269" fmla="*/ 2447551 h 6334125"/>
              <a:gd name="connsiteX270" fmla="*/ 262944 w 5867400"/>
              <a:gd name="connsiteY270" fmla="*/ 2413722 h 6334125"/>
              <a:gd name="connsiteX271" fmla="*/ 424466 w 5867400"/>
              <a:gd name="connsiteY271" fmla="*/ 2206990 h 6334125"/>
              <a:gd name="connsiteX272" fmla="*/ 364365 w 5867400"/>
              <a:gd name="connsiteY272" fmla="*/ 2176920 h 6334125"/>
              <a:gd name="connsiteX273" fmla="*/ 300507 w 5867400"/>
              <a:gd name="connsiteY273" fmla="*/ 2191955 h 6334125"/>
              <a:gd name="connsiteX274" fmla="*/ 187817 w 5867400"/>
              <a:gd name="connsiteY274" fmla="*/ 2150608 h 6334125"/>
              <a:gd name="connsiteX275" fmla="*/ 0 w 5867400"/>
              <a:gd name="connsiteY275" fmla="*/ 2097985 h 6334125"/>
              <a:gd name="connsiteX276" fmla="*/ 123959 w 5867400"/>
              <a:gd name="connsiteY276" fmla="*/ 2052880 h 6334125"/>
              <a:gd name="connsiteX277" fmla="*/ 63858 w 5867400"/>
              <a:gd name="connsiteY277" fmla="*/ 1977704 h 6334125"/>
              <a:gd name="connsiteX278" fmla="*/ 176548 w 5867400"/>
              <a:gd name="connsiteY278" fmla="*/ 1988981 h 6334125"/>
              <a:gd name="connsiteX279" fmla="*/ 150254 w 5867400"/>
              <a:gd name="connsiteY279" fmla="*/ 1921323 h 6334125"/>
              <a:gd name="connsiteX280" fmla="*/ 135228 w 5867400"/>
              <a:gd name="connsiteY280" fmla="*/ 1868700 h 6334125"/>
              <a:gd name="connsiteX281" fmla="*/ 187817 w 5867400"/>
              <a:gd name="connsiteY281" fmla="*/ 1834871 h 6334125"/>
              <a:gd name="connsiteX282" fmla="*/ 338071 w 5867400"/>
              <a:gd name="connsiteY282" fmla="*/ 1763454 h 6334125"/>
              <a:gd name="connsiteX283" fmla="*/ 409441 w 5867400"/>
              <a:gd name="connsiteY283" fmla="*/ 1752178 h 6334125"/>
              <a:gd name="connsiteX284" fmla="*/ 142741 w 5867400"/>
              <a:gd name="connsiteY284" fmla="*/ 1677002 h 6334125"/>
              <a:gd name="connsiteX285" fmla="*/ 142741 w 5867400"/>
              <a:gd name="connsiteY285" fmla="*/ 1661967 h 6334125"/>
              <a:gd name="connsiteX286" fmla="*/ 232893 w 5867400"/>
              <a:gd name="connsiteY286" fmla="*/ 1654450 h 6334125"/>
              <a:gd name="connsiteX287" fmla="*/ 210355 w 5867400"/>
              <a:gd name="connsiteY287" fmla="*/ 1590551 h 6334125"/>
              <a:gd name="connsiteX288" fmla="*/ 300507 w 5867400"/>
              <a:gd name="connsiteY288" fmla="*/ 1477787 h 6334125"/>
              <a:gd name="connsiteX289" fmla="*/ 334314 w 5867400"/>
              <a:gd name="connsiteY289" fmla="*/ 1436441 h 6334125"/>
              <a:gd name="connsiteX290" fmla="*/ 424466 w 5867400"/>
              <a:gd name="connsiteY290" fmla="*/ 1387577 h 6334125"/>
              <a:gd name="connsiteX291" fmla="*/ 510862 w 5867400"/>
              <a:gd name="connsiteY291" fmla="*/ 1432682 h 6334125"/>
              <a:gd name="connsiteX292" fmla="*/ 642334 w 5867400"/>
              <a:gd name="connsiteY292" fmla="*/ 1571757 h 6334125"/>
              <a:gd name="connsiteX293" fmla="*/ 687410 w 5867400"/>
              <a:gd name="connsiteY293" fmla="*/ 1601827 h 6334125"/>
              <a:gd name="connsiteX294" fmla="*/ 664872 w 5867400"/>
              <a:gd name="connsiteY294" fmla="*/ 1654450 h 6334125"/>
              <a:gd name="connsiteX295" fmla="*/ 732486 w 5867400"/>
              <a:gd name="connsiteY295" fmla="*/ 1710831 h 6334125"/>
              <a:gd name="connsiteX296" fmla="*/ 713704 w 5867400"/>
              <a:gd name="connsiteY296" fmla="*/ 1729625 h 6334125"/>
              <a:gd name="connsiteX297" fmla="*/ 574720 w 5867400"/>
              <a:gd name="connsiteY297" fmla="*/ 1631897 h 6334125"/>
              <a:gd name="connsiteX298" fmla="*/ 709948 w 5867400"/>
              <a:gd name="connsiteY298" fmla="*/ 1868700 h 6334125"/>
              <a:gd name="connsiteX299" fmla="*/ 758781 w 5867400"/>
              <a:gd name="connsiteY299" fmla="*/ 1733384 h 6334125"/>
              <a:gd name="connsiteX300" fmla="*/ 771001 w 5867400"/>
              <a:gd name="connsiteY300" fmla="*/ 1736102 h 6334125"/>
              <a:gd name="connsiteX301" fmla="*/ 770989 w 5867400"/>
              <a:gd name="connsiteY301" fmla="*/ 1736085 h 6334125"/>
              <a:gd name="connsiteX302" fmla="*/ 717461 w 5867400"/>
              <a:gd name="connsiteY302" fmla="*/ 1650103 h 6334125"/>
              <a:gd name="connsiteX303" fmla="*/ 702435 w 5867400"/>
              <a:gd name="connsiteY303" fmla="*/ 1556133 h 6334125"/>
              <a:gd name="connsiteX304" fmla="*/ 679897 w 5867400"/>
              <a:gd name="connsiteY304" fmla="*/ 1484717 h 6334125"/>
              <a:gd name="connsiteX305" fmla="*/ 649847 w 5867400"/>
              <a:gd name="connsiteY305" fmla="*/ 1492234 h 6334125"/>
              <a:gd name="connsiteX306" fmla="*/ 657359 w 5867400"/>
              <a:gd name="connsiteY306" fmla="*/ 1462164 h 6334125"/>
              <a:gd name="connsiteX307" fmla="*/ 454517 w 5867400"/>
              <a:gd name="connsiteY307" fmla="*/ 1285501 h 6334125"/>
              <a:gd name="connsiteX308" fmla="*/ 262944 w 5867400"/>
              <a:gd name="connsiteY308" fmla="*/ 1251672 h 6334125"/>
              <a:gd name="connsiteX309" fmla="*/ 424466 w 5867400"/>
              <a:gd name="connsiteY309" fmla="*/ 1044940 h 6334125"/>
              <a:gd name="connsiteX310" fmla="*/ 364365 w 5867400"/>
              <a:gd name="connsiteY310" fmla="*/ 1014870 h 6334125"/>
              <a:gd name="connsiteX311" fmla="*/ 300507 w 5867400"/>
              <a:gd name="connsiteY311" fmla="*/ 1029905 h 6334125"/>
              <a:gd name="connsiteX312" fmla="*/ 187817 w 5867400"/>
              <a:gd name="connsiteY312" fmla="*/ 988558 h 6334125"/>
              <a:gd name="connsiteX313" fmla="*/ 0 w 5867400"/>
              <a:gd name="connsiteY313" fmla="*/ 935935 h 6334125"/>
              <a:gd name="connsiteX314" fmla="*/ 123959 w 5867400"/>
              <a:gd name="connsiteY314" fmla="*/ 890830 h 6334125"/>
              <a:gd name="connsiteX315" fmla="*/ 63858 w 5867400"/>
              <a:gd name="connsiteY315" fmla="*/ 815654 h 6334125"/>
              <a:gd name="connsiteX316" fmla="*/ 176548 w 5867400"/>
              <a:gd name="connsiteY316" fmla="*/ 826931 h 6334125"/>
              <a:gd name="connsiteX317" fmla="*/ 150254 w 5867400"/>
              <a:gd name="connsiteY317" fmla="*/ 759273 h 6334125"/>
              <a:gd name="connsiteX318" fmla="*/ 135228 w 5867400"/>
              <a:gd name="connsiteY318" fmla="*/ 706650 h 6334125"/>
              <a:gd name="connsiteX319" fmla="*/ 187817 w 5867400"/>
              <a:gd name="connsiteY319" fmla="*/ 672821 h 6334125"/>
              <a:gd name="connsiteX320" fmla="*/ 338071 w 5867400"/>
              <a:gd name="connsiteY320" fmla="*/ 601404 h 6334125"/>
              <a:gd name="connsiteX321" fmla="*/ 409441 w 5867400"/>
              <a:gd name="connsiteY321" fmla="*/ 590128 h 6334125"/>
              <a:gd name="connsiteX322" fmla="*/ 142741 w 5867400"/>
              <a:gd name="connsiteY322" fmla="*/ 514952 h 6334125"/>
              <a:gd name="connsiteX323" fmla="*/ 142741 w 5867400"/>
              <a:gd name="connsiteY323" fmla="*/ 499917 h 6334125"/>
              <a:gd name="connsiteX324" fmla="*/ 232893 w 5867400"/>
              <a:gd name="connsiteY324" fmla="*/ 492400 h 6334125"/>
              <a:gd name="connsiteX325" fmla="*/ 210355 w 5867400"/>
              <a:gd name="connsiteY325" fmla="*/ 428501 h 6334125"/>
              <a:gd name="connsiteX326" fmla="*/ 300507 w 5867400"/>
              <a:gd name="connsiteY326" fmla="*/ 315737 h 6334125"/>
              <a:gd name="connsiteX327" fmla="*/ 334314 w 5867400"/>
              <a:gd name="connsiteY327" fmla="*/ 274391 h 6334125"/>
              <a:gd name="connsiteX328" fmla="*/ 424466 w 5867400"/>
              <a:gd name="connsiteY328" fmla="*/ 225527 h 6334125"/>
              <a:gd name="connsiteX329" fmla="*/ 510862 w 5867400"/>
              <a:gd name="connsiteY329" fmla="*/ 270632 h 6334125"/>
              <a:gd name="connsiteX330" fmla="*/ 642334 w 5867400"/>
              <a:gd name="connsiteY330" fmla="*/ 409707 h 6334125"/>
              <a:gd name="connsiteX331" fmla="*/ 687410 w 5867400"/>
              <a:gd name="connsiteY331" fmla="*/ 439777 h 6334125"/>
              <a:gd name="connsiteX332" fmla="*/ 664872 w 5867400"/>
              <a:gd name="connsiteY332" fmla="*/ 492400 h 6334125"/>
              <a:gd name="connsiteX333" fmla="*/ 732486 w 5867400"/>
              <a:gd name="connsiteY333" fmla="*/ 548781 h 6334125"/>
              <a:gd name="connsiteX334" fmla="*/ 713704 w 5867400"/>
              <a:gd name="connsiteY334" fmla="*/ 567575 h 6334125"/>
              <a:gd name="connsiteX335" fmla="*/ 574720 w 5867400"/>
              <a:gd name="connsiteY335" fmla="*/ 469847 h 6334125"/>
              <a:gd name="connsiteX336" fmla="*/ 709948 w 5867400"/>
              <a:gd name="connsiteY336" fmla="*/ 706650 h 6334125"/>
              <a:gd name="connsiteX337" fmla="*/ 758781 w 5867400"/>
              <a:gd name="connsiteY337" fmla="*/ 571334 h 6334125"/>
              <a:gd name="connsiteX338" fmla="*/ 837664 w 5867400"/>
              <a:gd name="connsiteY338" fmla="*/ 590128 h 6334125"/>
              <a:gd name="connsiteX339" fmla="*/ 905278 w 5867400"/>
              <a:gd name="connsiteY339" fmla="*/ 563816 h 6334125"/>
              <a:gd name="connsiteX340" fmla="*/ 920303 w 5867400"/>
              <a:gd name="connsiteY340" fmla="*/ 582610 h 6334125"/>
              <a:gd name="connsiteX341" fmla="*/ 935328 w 5867400"/>
              <a:gd name="connsiteY341" fmla="*/ 507435 h 6334125"/>
              <a:gd name="connsiteX342" fmla="*/ 871471 w 5867400"/>
              <a:gd name="connsiteY342" fmla="*/ 507435 h 6334125"/>
              <a:gd name="connsiteX343" fmla="*/ 860202 w 5867400"/>
              <a:gd name="connsiteY343" fmla="*/ 488641 h 6334125"/>
              <a:gd name="connsiteX344" fmla="*/ 901521 w 5867400"/>
              <a:gd name="connsiteY344" fmla="*/ 477365 h 6334125"/>
              <a:gd name="connsiteX345" fmla="*/ 815126 w 5867400"/>
              <a:gd name="connsiteY345" fmla="*/ 409707 h 6334125"/>
              <a:gd name="connsiteX346" fmla="*/ 826395 w 5867400"/>
              <a:gd name="connsiteY346" fmla="*/ 383395 h 6334125"/>
              <a:gd name="connsiteX347" fmla="*/ 1006699 w 5867400"/>
              <a:gd name="connsiteY347" fmla="*/ 462330 h 6334125"/>
              <a:gd name="connsiteX348" fmla="*/ 999186 w 5867400"/>
              <a:gd name="connsiteY348" fmla="*/ 402189 h 6334125"/>
              <a:gd name="connsiteX349" fmla="*/ 1089338 w 5867400"/>
              <a:gd name="connsiteY349" fmla="*/ 251838 h 6334125"/>
              <a:gd name="connsiteX350" fmla="*/ 1258373 w 5867400"/>
              <a:gd name="connsiteY350" fmla="*/ 334531 h 6334125"/>
              <a:gd name="connsiteX351" fmla="*/ 1341013 w 5867400"/>
              <a:gd name="connsiteY351" fmla="*/ 432259 h 6334125"/>
              <a:gd name="connsiteX352" fmla="*/ 1386089 w 5867400"/>
              <a:gd name="connsiteY352" fmla="*/ 420983 h 6334125"/>
              <a:gd name="connsiteX353" fmla="*/ 1386089 w 5867400"/>
              <a:gd name="connsiteY353" fmla="*/ 372119 h 6334125"/>
              <a:gd name="connsiteX354" fmla="*/ 1374820 w 5867400"/>
              <a:gd name="connsiteY354" fmla="*/ 334531 h 6334125"/>
              <a:gd name="connsiteX355" fmla="*/ 1322231 w 5867400"/>
              <a:gd name="connsiteY355" fmla="*/ 330772 h 6334125"/>
              <a:gd name="connsiteX356" fmla="*/ 1322231 w 5867400"/>
              <a:gd name="connsiteY356" fmla="*/ 311979 h 6334125"/>
              <a:gd name="connsiteX357" fmla="*/ 1389845 w 5867400"/>
              <a:gd name="connsiteY357" fmla="*/ 308220 h 6334125"/>
              <a:gd name="connsiteX358" fmla="*/ 1333500 w 5867400"/>
              <a:gd name="connsiteY358" fmla="*/ 255597 h 6334125"/>
              <a:gd name="connsiteX359" fmla="*/ 1367307 w 5867400"/>
              <a:gd name="connsiteY359" fmla="*/ 199215 h 6334125"/>
              <a:gd name="connsiteX360" fmla="*/ 1442434 w 5867400"/>
              <a:gd name="connsiteY360" fmla="*/ 0 h 633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5867400" h="6334125">
                <a:moveTo>
                  <a:pt x="2216240" y="5488401"/>
                </a:moveTo>
                <a:lnTo>
                  <a:pt x="2217838" y="5488902"/>
                </a:lnTo>
                <a:lnTo>
                  <a:pt x="2216709" y="5493099"/>
                </a:lnTo>
                <a:cubicBezTo>
                  <a:pt x="2216240" y="5494979"/>
                  <a:pt x="2216240" y="5494039"/>
                  <a:pt x="2216240" y="5488401"/>
                </a:cubicBezTo>
                <a:close/>
                <a:moveTo>
                  <a:pt x="608997" y="4291701"/>
                </a:moveTo>
                <a:lnTo>
                  <a:pt x="609527" y="4292163"/>
                </a:lnTo>
                <a:lnTo>
                  <a:pt x="608527" y="4293110"/>
                </a:lnTo>
                <a:cubicBezTo>
                  <a:pt x="604771" y="4289351"/>
                  <a:pt x="605710" y="4289351"/>
                  <a:pt x="608997" y="4291701"/>
                </a:cubicBezTo>
                <a:close/>
                <a:moveTo>
                  <a:pt x="672385" y="3969855"/>
                </a:moveTo>
                <a:cubicBezTo>
                  <a:pt x="672385" y="3969855"/>
                  <a:pt x="672385" y="3969855"/>
                  <a:pt x="676141" y="3969855"/>
                </a:cubicBezTo>
                <a:lnTo>
                  <a:pt x="675322" y="3972210"/>
                </a:lnTo>
                <a:close/>
                <a:moveTo>
                  <a:pt x="608997" y="3129651"/>
                </a:moveTo>
                <a:lnTo>
                  <a:pt x="609527" y="3130113"/>
                </a:lnTo>
                <a:lnTo>
                  <a:pt x="608527" y="3131060"/>
                </a:lnTo>
                <a:cubicBezTo>
                  <a:pt x="604771" y="3127301"/>
                  <a:pt x="605710" y="3127301"/>
                  <a:pt x="608997" y="3129651"/>
                </a:cubicBezTo>
                <a:close/>
                <a:moveTo>
                  <a:pt x="672385" y="2807805"/>
                </a:moveTo>
                <a:cubicBezTo>
                  <a:pt x="672385" y="2807805"/>
                  <a:pt x="672385" y="2807805"/>
                  <a:pt x="676141" y="2807805"/>
                </a:cubicBezTo>
                <a:lnTo>
                  <a:pt x="675322" y="2810160"/>
                </a:lnTo>
                <a:close/>
                <a:moveTo>
                  <a:pt x="1442434" y="0"/>
                </a:moveTo>
                <a:cubicBezTo>
                  <a:pt x="1536343" y="0"/>
                  <a:pt x="1630251" y="0"/>
                  <a:pt x="1720403" y="0"/>
                </a:cubicBezTo>
                <a:cubicBezTo>
                  <a:pt x="1720403" y="18794"/>
                  <a:pt x="1720403" y="37588"/>
                  <a:pt x="1720403" y="56382"/>
                </a:cubicBezTo>
                <a:cubicBezTo>
                  <a:pt x="1772992" y="93970"/>
                  <a:pt x="1821824" y="131557"/>
                  <a:pt x="1874413" y="165386"/>
                </a:cubicBezTo>
                <a:cubicBezTo>
                  <a:pt x="1870657" y="176663"/>
                  <a:pt x="1863144" y="187939"/>
                  <a:pt x="1859388" y="199215"/>
                </a:cubicBezTo>
                <a:cubicBezTo>
                  <a:pt x="1870657" y="195456"/>
                  <a:pt x="1878169" y="191698"/>
                  <a:pt x="1889438" y="187939"/>
                </a:cubicBezTo>
                <a:cubicBezTo>
                  <a:pt x="1908220" y="199215"/>
                  <a:pt x="1923245" y="218009"/>
                  <a:pt x="1945783" y="225527"/>
                </a:cubicBezTo>
                <a:cubicBezTo>
                  <a:pt x="1987103" y="240562"/>
                  <a:pt x="2032179" y="266873"/>
                  <a:pt x="2069742" y="259356"/>
                </a:cubicBezTo>
                <a:cubicBezTo>
                  <a:pt x="2193702" y="236803"/>
                  <a:pt x="2201214" y="240562"/>
                  <a:pt x="2178676" y="353325"/>
                </a:cubicBezTo>
                <a:cubicBezTo>
                  <a:pt x="2201214" y="375878"/>
                  <a:pt x="2261316" y="296943"/>
                  <a:pt x="2253803" y="372119"/>
                </a:cubicBezTo>
                <a:cubicBezTo>
                  <a:pt x="2276341" y="379636"/>
                  <a:pt x="2295123" y="383395"/>
                  <a:pt x="2317661" y="387154"/>
                </a:cubicBezTo>
                <a:cubicBezTo>
                  <a:pt x="2313904" y="394672"/>
                  <a:pt x="2313904" y="405948"/>
                  <a:pt x="2313904" y="413465"/>
                </a:cubicBezTo>
                <a:cubicBezTo>
                  <a:pt x="2291366" y="413465"/>
                  <a:pt x="2265072" y="413465"/>
                  <a:pt x="2238778" y="413465"/>
                </a:cubicBezTo>
                <a:cubicBezTo>
                  <a:pt x="2276341" y="454812"/>
                  <a:pt x="2310148" y="488641"/>
                  <a:pt x="2332686" y="514952"/>
                </a:cubicBezTo>
                <a:cubicBezTo>
                  <a:pt x="2370249" y="514952"/>
                  <a:pt x="2400300" y="518711"/>
                  <a:pt x="2434107" y="518711"/>
                </a:cubicBezTo>
                <a:cubicBezTo>
                  <a:pt x="2422838" y="541264"/>
                  <a:pt x="2411569" y="563816"/>
                  <a:pt x="2396544" y="590128"/>
                </a:cubicBezTo>
                <a:cubicBezTo>
                  <a:pt x="2419082" y="608922"/>
                  <a:pt x="2449133" y="631474"/>
                  <a:pt x="2479183" y="657786"/>
                </a:cubicBezTo>
                <a:cubicBezTo>
                  <a:pt x="2482940" y="638992"/>
                  <a:pt x="2486696" y="620198"/>
                  <a:pt x="2486696" y="601404"/>
                </a:cubicBezTo>
                <a:cubicBezTo>
                  <a:pt x="2524259" y="631474"/>
                  <a:pt x="2588117" y="661545"/>
                  <a:pt x="2584361" y="684097"/>
                </a:cubicBezTo>
                <a:cubicBezTo>
                  <a:pt x="2576848" y="793102"/>
                  <a:pt x="2670757" y="800619"/>
                  <a:pt x="2723345" y="849483"/>
                </a:cubicBezTo>
                <a:cubicBezTo>
                  <a:pt x="2745883" y="872036"/>
                  <a:pt x="2775934" y="883312"/>
                  <a:pt x="2805985" y="898347"/>
                </a:cubicBezTo>
                <a:cubicBezTo>
                  <a:pt x="2817254" y="883312"/>
                  <a:pt x="2828523" y="864519"/>
                  <a:pt x="2839792" y="849483"/>
                </a:cubicBezTo>
                <a:cubicBezTo>
                  <a:pt x="2851061" y="887071"/>
                  <a:pt x="2854817" y="939694"/>
                  <a:pt x="2881112" y="966005"/>
                </a:cubicBezTo>
                <a:cubicBezTo>
                  <a:pt x="2914918" y="996076"/>
                  <a:pt x="2986289" y="984799"/>
                  <a:pt x="2997558" y="1059975"/>
                </a:cubicBezTo>
                <a:cubicBezTo>
                  <a:pt x="3001314" y="1067492"/>
                  <a:pt x="3050147" y="1082528"/>
                  <a:pt x="3076441" y="1075010"/>
                </a:cubicBezTo>
                <a:cubicBezTo>
                  <a:pt x="3110248" y="1071251"/>
                  <a:pt x="3144055" y="1048699"/>
                  <a:pt x="3181618" y="1029905"/>
                </a:cubicBezTo>
                <a:cubicBezTo>
                  <a:pt x="3177862" y="1011111"/>
                  <a:pt x="3170349" y="988558"/>
                  <a:pt x="3159080" y="950970"/>
                </a:cubicBezTo>
                <a:cubicBezTo>
                  <a:pt x="3181618" y="962247"/>
                  <a:pt x="3189131" y="969764"/>
                  <a:pt x="3192887" y="969764"/>
                </a:cubicBezTo>
                <a:cubicBezTo>
                  <a:pt x="3200400" y="939694"/>
                  <a:pt x="3204156" y="905865"/>
                  <a:pt x="3219182" y="879554"/>
                </a:cubicBezTo>
                <a:cubicBezTo>
                  <a:pt x="3222938" y="870157"/>
                  <a:pt x="3232329" y="863579"/>
                  <a:pt x="3244537" y="857001"/>
                </a:cubicBezTo>
                <a:lnTo>
                  <a:pt x="3286796" y="834448"/>
                </a:lnTo>
                <a:lnTo>
                  <a:pt x="3290552" y="836328"/>
                </a:lnTo>
                <a:cubicBezTo>
                  <a:pt x="3296187" y="839147"/>
                  <a:pt x="3305578" y="843845"/>
                  <a:pt x="3316847" y="849483"/>
                </a:cubicBezTo>
                <a:cubicBezTo>
                  <a:pt x="3309334" y="815654"/>
                  <a:pt x="3305578" y="793102"/>
                  <a:pt x="3301821" y="778067"/>
                </a:cubicBezTo>
                <a:cubicBezTo>
                  <a:pt x="3339385" y="781825"/>
                  <a:pt x="3376948" y="785584"/>
                  <a:pt x="3391973" y="785584"/>
                </a:cubicBezTo>
                <a:cubicBezTo>
                  <a:pt x="3448318" y="819413"/>
                  <a:pt x="3489638" y="838207"/>
                  <a:pt x="3527202" y="860760"/>
                </a:cubicBezTo>
                <a:cubicBezTo>
                  <a:pt x="3538471" y="868277"/>
                  <a:pt x="3553496" y="894589"/>
                  <a:pt x="3553496" y="898347"/>
                </a:cubicBezTo>
                <a:cubicBezTo>
                  <a:pt x="3538471" y="920900"/>
                  <a:pt x="3515933" y="939694"/>
                  <a:pt x="3497151" y="962247"/>
                </a:cubicBezTo>
                <a:cubicBezTo>
                  <a:pt x="3530958" y="992317"/>
                  <a:pt x="3572278" y="1022387"/>
                  <a:pt x="3602328" y="1044940"/>
                </a:cubicBezTo>
                <a:cubicBezTo>
                  <a:pt x="3684968" y="1063734"/>
                  <a:pt x="3497151" y="1221602"/>
                  <a:pt x="3699993" y="1165221"/>
                </a:cubicBezTo>
                <a:cubicBezTo>
                  <a:pt x="3662430" y="1251672"/>
                  <a:pt x="3838978" y="1225361"/>
                  <a:pt x="3778876" y="1326848"/>
                </a:cubicBezTo>
                <a:cubicBezTo>
                  <a:pt x="3760094" y="1300536"/>
                  <a:pt x="3745069" y="1281743"/>
                  <a:pt x="3730044" y="1262949"/>
                </a:cubicBezTo>
                <a:cubicBezTo>
                  <a:pt x="3726287" y="1266708"/>
                  <a:pt x="3718775" y="1274225"/>
                  <a:pt x="3711262" y="1277984"/>
                </a:cubicBezTo>
                <a:cubicBezTo>
                  <a:pt x="3733800" y="1311813"/>
                  <a:pt x="3718775" y="1368194"/>
                  <a:pt x="3797658" y="1364436"/>
                </a:cubicBezTo>
                <a:cubicBezTo>
                  <a:pt x="3835221" y="1364436"/>
                  <a:pt x="3872785" y="1417059"/>
                  <a:pt x="3921617" y="1420817"/>
                </a:cubicBezTo>
                <a:cubicBezTo>
                  <a:pt x="3936642" y="1420817"/>
                  <a:pt x="3944155" y="1469681"/>
                  <a:pt x="3955424" y="1495993"/>
                </a:cubicBezTo>
                <a:cubicBezTo>
                  <a:pt x="3966693" y="1541098"/>
                  <a:pt x="3981718" y="1582445"/>
                  <a:pt x="3996744" y="1635068"/>
                </a:cubicBezTo>
                <a:cubicBezTo>
                  <a:pt x="4030551" y="1608756"/>
                  <a:pt x="4053089" y="1589962"/>
                  <a:pt x="4075627" y="1574927"/>
                </a:cubicBezTo>
                <a:cubicBezTo>
                  <a:pt x="4086896" y="1574927"/>
                  <a:pt x="4098165" y="1574927"/>
                  <a:pt x="4105678" y="1574927"/>
                </a:cubicBezTo>
                <a:cubicBezTo>
                  <a:pt x="4109434" y="1578686"/>
                  <a:pt x="4109434" y="1586204"/>
                  <a:pt x="4109434" y="1593721"/>
                </a:cubicBezTo>
                <a:cubicBezTo>
                  <a:pt x="4109434" y="1597480"/>
                  <a:pt x="4109434" y="1604997"/>
                  <a:pt x="4109434" y="1612515"/>
                </a:cubicBezTo>
                <a:cubicBezTo>
                  <a:pt x="4113190" y="1612515"/>
                  <a:pt x="4120703" y="1612515"/>
                  <a:pt x="4124459" y="1612515"/>
                </a:cubicBezTo>
                <a:cubicBezTo>
                  <a:pt x="4139485" y="1631309"/>
                  <a:pt x="4154510" y="1650103"/>
                  <a:pt x="4165779" y="1665138"/>
                </a:cubicBezTo>
                <a:cubicBezTo>
                  <a:pt x="4113190" y="1740313"/>
                  <a:pt x="4203343" y="1729037"/>
                  <a:pt x="4222124" y="1762866"/>
                </a:cubicBezTo>
                <a:lnTo>
                  <a:pt x="4237150" y="1777901"/>
                </a:lnTo>
                <a:lnTo>
                  <a:pt x="4240906" y="1796695"/>
                </a:lnTo>
                <a:cubicBezTo>
                  <a:pt x="4259688" y="1807971"/>
                  <a:pt x="4278469" y="1823006"/>
                  <a:pt x="4297251" y="1834283"/>
                </a:cubicBezTo>
                <a:cubicBezTo>
                  <a:pt x="4308520" y="1845559"/>
                  <a:pt x="4319789" y="1856835"/>
                  <a:pt x="4331058" y="1871870"/>
                </a:cubicBezTo>
                <a:cubicBezTo>
                  <a:pt x="4346083" y="1883147"/>
                  <a:pt x="4357352" y="1894423"/>
                  <a:pt x="4368621" y="1905699"/>
                </a:cubicBezTo>
                <a:cubicBezTo>
                  <a:pt x="4379890" y="1924493"/>
                  <a:pt x="4391159" y="1943287"/>
                  <a:pt x="4402428" y="1962081"/>
                </a:cubicBezTo>
                <a:cubicBezTo>
                  <a:pt x="4439992" y="2010945"/>
                  <a:pt x="4477555" y="2063568"/>
                  <a:pt x="4515119" y="2108673"/>
                </a:cubicBezTo>
                <a:cubicBezTo>
                  <a:pt x="4518875" y="2112432"/>
                  <a:pt x="4548926" y="2104914"/>
                  <a:pt x="4548926" y="2097397"/>
                </a:cubicBezTo>
                <a:cubicBezTo>
                  <a:pt x="4552682" y="2086121"/>
                  <a:pt x="4545169" y="2067327"/>
                  <a:pt x="4537657" y="2056050"/>
                </a:cubicBezTo>
                <a:cubicBezTo>
                  <a:pt x="4526388" y="2037257"/>
                  <a:pt x="4518875" y="1999669"/>
                  <a:pt x="4533900" y="1984634"/>
                </a:cubicBezTo>
                <a:cubicBezTo>
                  <a:pt x="4556438" y="2014704"/>
                  <a:pt x="4578976" y="2048533"/>
                  <a:pt x="4605271" y="2082362"/>
                </a:cubicBezTo>
                <a:cubicBezTo>
                  <a:pt x="4612783" y="2074844"/>
                  <a:pt x="4627809" y="2063568"/>
                  <a:pt x="4642834" y="2052292"/>
                </a:cubicBezTo>
                <a:cubicBezTo>
                  <a:pt x="4635321" y="2108673"/>
                  <a:pt x="4778062" y="2056050"/>
                  <a:pt x="4714204" y="2150020"/>
                </a:cubicBezTo>
                <a:cubicBezTo>
                  <a:pt x="4710448" y="2157537"/>
                  <a:pt x="4732986" y="2180090"/>
                  <a:pt x="4744255" y="2195125"/>
                </a:cubicBezTo>
                <a:cubicBezTo>
                  <a:pt x="4811869" y="2266542"/>
                  <a:pt x="4917047" y="2315406"/>
                  <a:pt x="4909534" y="2439445"/>
                </a:cubicBezTo>
                <a:cubicBezTo>
                  <a:pt x="4909534" y="2443204"/>
                  <a:pt x="4928316" y="2443204"/>
                  <a:pt x="4935828" y="2446963"/>
                </a:cubicBezTo>
                <a:cubicBezTo>
                  <a:pt x="4962123" y="2465757"/>
                  <a:pt x="4992173" y="2484551"/>
                  <a:pt x="5014712" y="2507104"/>
                </a:cubicBezTo>
                <a:cubicBezTo>
                  <a:pt x="5033493" y="2522138"/>
                  <a:pt x="5044762" y="2548450"/>
                  <a:pt x="5059788" y="2548450"/>
                </a:cubicBezTo>
                <a:cubicBezTo>
                  <a:pt x="5074813" y="2548450"/>
                  <a:pt x="5093595" y="2525897"/>
                  <a:pt x="5104864" y="2510862"/>
                </a:cubicBezTo>
                <a:cubicBezTo>
                  <a:pt x="5116133" y="2495827"/>
                  <a:pt x="5119889" y="2480792"/>
                  <a:pt x="5127402" y="2461998"/>
                </a:cubicBezTo>
                <a:cubicBezTo>
                  <a:pt x="5134914" y="2461998"/>
                  <a:pt x="5142427" y="2461998"/>
                  <a:pt x="5149940" y="2461998"/>
                </a:cubicBezTo>
                <a:cubicBezTo>
                  <a:pt x="5183747" y="2499586"/>
                  <a:pt x="5217554" y="2555967"/>
                  <a:pt x="5273899" y="2488309"/>
                </a:cubicBezTo>
                <a:cubicBezTo>
                  <a:pt x="5277655" y="2480792"/>
                  <a:pt x="5318975" y="2495827"/>
                  <a:pt x="5326488" y="2507104"/>
                </a:cubicBezTo>
                <a:cubicBezTo>
                  <a:pt x="5345269" y="2540933"/>
                  <a:pt x="5375320" y="2601073"/>
                  <a:pt x="5364051" y="2612349"/>
                </a:cubicBezTo>
                <a:cubicBezTo>
                  <a:pt x="5296437" y="2676248"/>
                  <a:pt x="5341513" y="2755183"/>
                  <a:pt x="5356538" y="2804047"/>
                </a:cubicBezTo>
                <a:cubicBezTo>
                  <a:pt x="5379076" y="2875463"/>
                  <a:pt x="5390345" y="2916810"/>
                  <a:pt x="5303950" y="2954398"/>
                </a:cubicBezTo>
                <a:cubicBezTo>
                  <a:pt x="5330244" y="2961915"/>
                  <a:pt x="5341513" y="2965674"/>
                  <a:pt x="5367807" y="2973191"/>
                </a:cubicBezTo>
                <a:cubicBezTo>
                  <a:pt x="5288924" y="3003262"/>
                  <a:pt x="5217554" y="3033332"/>
                  <a:pt x="5142427" y="3063402"/>
                </a:cubicBezTo>
                <a:cubicBezTo>
                  <a:pt x="5179990" y="3131060"/>
                  <a:pt x="5161209" y="3183683"/>
                  <a:pt x="5108620" y="3221271"/>
                </a:cubicBezTo>
                <a:cubicBezTo>
                  <a:pt x="5101107" y="3240065"/>
                  <a:pt x="5097351" y="3258858"/>
                  <a:pt x="5093595" y="3277652"/>
                </a:cubicBezTo>
                <a:cubicBezTo>
                  <a:pt x="5104864" y="3285170"/>
                  <a:pt x="5116133" y="3288929"/>
                  <a:pt x="5131158" y="3296446"/>
                </a:cubicBezTo>
                <a:cubicBezTo>
                  <a:pt x="5134914" y="3303964"/>
                  <a:pt x="5142427" y="3307723"/>
                  <a:pt x="5146183" y="3315240"/>
                </a:cubicBezTo>
                <a:cubicBezTo>
                  <a:pt x="5153696" y="3326516"/>
                  <a:pt x="5161209" y="3341551"/>
                  <a:pt x="5164965" y="3352828"/>
                </a:cubicBezTo>
                <a:cubicBezTo>
                  <a:pt x="5172478" y="3352828"/>
                  <a:pt x="5172478" y="3352828"/>
                  <a:pt x="5172478" y="3352828"/>
                </a:cubicBezTo>
                <a:cubicBezTo>
                  <a:pt x="5183747" y="3352828"/>
                  <a:pt x="5183747" y="3352828"/>
                  <a:pt x="5183747" y="3352828"/>
                </a:cubicBezTo>
                <a:cubicBezTo>
                  <a:pt x="5187503" y="3352828"/>
                  <a:pt x="5195016" y="3352828"/>
                  <a:pt x="5202528" y="3352828"/>
                </a:cubicBezTo>
                <a:cubicBezTo>
                  <a:pt x="5255117" y="3367863"/>
                  <a:pt x="5303950" y="3382898"/>
                  <a:pt x="5334000" y="3315240"/>
                </a:cubicBezTo>
                <a:cubicBezTo>
                  <a:pt x="5405371" y="3300205"/>
                  <a:pt x="5457959" y="3345310"/>
                  <a:pt x="5514304" y="3375380"/>
                </a:cubicBezTo>
                <a:cubicBezTo>
                  <a:pt x="5533086" y="3386657"/>
                  <a:pt x="5540599" y="3428003"/>
                  <a:pt x="5548112" y="3458074"/>
                </a:cubicBezTo>
                <a:cubicBezTo>
                  <a:pt x="5551868" y="3484385"/>
                  <a:pt x="5555624" y="3518214"/>
                  <a:pt x="5548112" y="3544525"/>
                </a:cubicBezTo>
                <a:cubicBezTo>
                  <a:pt x="5518061" y="3642254"/>
                  <a:pt x="5555624" y="3717429"/>
                  <a:pt x="5604457" y="3800122"/>
                </a:cubicBezTo>
                <a:cubicBezTo>
                  <a:pt x="5638264" y="3864021"/>
                  <a:pt x="5593188" y="3965508"/>
                  <a:pt x="5623238" y="4033166"/>
                </a:cubicBezTo>
                <a:cubicBezTo>
                  <a:pt x="5657045" y="4119618"/>
                  <a:pt x="5548112" y="4232381"/>
                  <a:pt x="5672071" y="4307557"/>
                </a:cubicBezTo>
                <a:cubicBezTo>
                  <a:pt x="5653289" y="4303798"/>
                  <a:pt x="5634507" y="4300039"/>
                  <a:pt x="5596944" y="4292522"/>
                </a:cubicBezTo>
                <a:cubicBezTo>
                  <a:pt x="5625116" y="4315074"/>
                  <a:pt x="5649533" y="4334808"/>
                  <a:pt x="5673010" y="4353602"/>
                </a:cubicBezTo>
                <a:lnTo>
                  <a:pt x="5742387" y="4408214"/>
                </a:lnTo>
                <a:lnTo>
                  <a:pt x="5739215" y="4417031"/>
                </a:lnTo>
                <a:cubicBezTo>
                  <a:pt x="5738746" y="4418441"/>
                  <a:pt x="5739685" y="4416561"/>
                  <a:pt x="5743441" y="4409044"/>
                </a:cubicBezTo>
                <a:lnTo>
                  <a:pt x="5742387" y="4408214"/>
                </a:lnTo>
                <a:lnTo>
                  <a:pt x="5743441" y="4405285"/>
                </a:lnTo>
                <a:cubicBezTo>
                  <a:pt x="5811055" y="4574430"/>
                  <a:pt x="5811055" y="4574430"/>
                  <a:pt x="5765979" y="4600741"/>
                </a:cubicBezTo>
                <a:cubicBezTo>
                  <a:pt x="5803543" y="4623294"/>
                  <a:pt x="5833593" y="4645847"/>
                  <a:pt x="5867400" y="4668399"/>
                </a:cubicBezTo>
                <a:cubicBezTo>
                  <a:pt x="5863644" y="4732299"/>
                  <a:pt x="5859888" y="4799956"/>
                  <a:pt x="5852375" y="4871373"/>
                </a:cubicBezTo>
                <a:cubicBezTo>
                  <a:pt x="5841106" y="4867614"/>
                  <a:pt x="5826081" y="4860097"/>
                  <a:pt x="5811055" y="4856338"/>
                </a:cubicBezTo>
                <a:cubicBezTo>
                  <a:pt x="5811055" y="4890167"/>
                  <a:pt x="5814812" y="4927755"/>
                  <a:pt x="5818568" y="4961584"/>
                </a:cubicBezTo>
                <a:cubicBezTo>
                  <a:pt x="5765979" y="4984136"/>
                  <a:pt x="5709634" y="5006689"/>
                  <a:pt x="5672071" y="5021724"/>
                </a:cubicBezTo>
                <a:cubicBezTo>
                  <a:pt x="5658924" y="5042398"/>
                  <a:pt x="5647655" y="5059312"/>
                  <a:pt x="5637325" y="5074347"/>
                </a:cubicBezTo>
                <a:lnTo>
                  <a:pt x="5613845" y="5107695"/>
                </a:lnTo>
                <a:lnTo>
                  <a:pt x="5612381" y="5139246"/>
                </a:lnTo>
                <a:cubicBezTo>
                  <a:pt x="5612909" y="5159273"/>
                  <a:pt x="5615726" y="5178302"/>
                  <a:pt x="5623238" y="5195216"/>
                </a:cubicBezTo>
                <a:cubicBezTo>
                  <a:pt x="5657045" y="5281668"/>
                  <a:pt x="5548112" y="5394431"/>
                  <a:pt x="5672071" y="5469607"/>
                </a:cubicBezTo>
                <a:cubicBezTo>
                  <a:pt x="5653289" y="5465848"/>
                  <a:pt x="5634507" y="5462089"/>
                  <a:pt x="5596944" y="5454572"/>
                </a:cubicBezTo>
                <a:cubicBezTo>
                  <a:pt x="5625116" y="5477124"/>
                  <a:pt x="5649533" y="5496858"/>
                  <a:pt x="5673010" y="5515652"/>
                </a:cubicBezTo>
                <a:lnTo>
                  <a:pt x="5742387" y="5570264"/>
                </a:lnTo>
                <a:lnTo>
                  <a:pt x="5739215" y="5579081"/>
                </a:lnTo>
                <a:cubicBezTo>
                  <a:pt x="5738746" y="5580491"/>
                  <a:pt x="5739685" y="5578611"/>
                  <a:pt x="5743441" y="5571094"/>
                </a:cubicBezTo>
                <a:lnTo>
                  <a:pt x="5742387" y="5570264"/>
                </a:lnTo>
                <a:lnTo>
                  <a:pt x="5743441" y="5567335"/>
                </a:lnTo>
                <a:cubicBezTo>
                  <a:pt x="5811055" y="5736480"/>
                  <a:pt x="5811055" y="5736480"/>
                  <a:pt x="5765979" y="5762791"/>
                </a:cubicBezTo>
                <a:cubicBezTo>
                  <a:pt x="5803543" y="5785344"/>
                  <a:pt x="5833593" y="5807897"/>
                  <a:pt x="5867400" y="5830449"/>
                </a:cubicBezTo>
                <a:cubicBezTo>
                  <a:pt x="5863644" y="5894349"/>
                  <a:pt x="5859888" y="5962006"/>
                  <a:pt x="5852375" y="6033423"/>
                </a:cubicBezTo>
                <a:cubicBezTo>
                  <a:pt x="5841106" y="6029664"/>
                  <a:pt x="5826081" y="6022147"/>
                  <a:pt x="5811055" y="6018388"/>
                </a:cubicBezTo>
                <a:cubicBezTo>
                  <a:pt x="5811055" y="6052217"/>
                  <a:pt x="5814812" y="6089805"/>
                  <a:pt x="5818568" y="6123634"/>
                </a:cubicBezTo>
                <a:cubicBezTo>
                  <a:pt x="5765979" y="6146186"/>
                  <a:pt x="5709634" y="6168739"/>
                  <a:pt x="5672071" y="6183774"/>
                </a:cubicBezTo>
                <a:cubicBezTo>
                  <a:pt x="5645776" y="6225121"/>
                  <a:pt x="5626995" y="6251432"/>
                  <a:pt x="5608213" y="6277744"/>
                </a:cubicBezTo>
                <a:cubicBezTo>
                  <a:pt x="5589431" y="6277744"/>
                  <a:pt x="5574406" y="6273985"/>
                  <a:pt x="5555624" y="6273985"/>
                </a:cubicBezTo>
                <a:cubicBezTo>
                  <a:pt x="5555624" y="6281502"/>
                  <a:pt x="5555624" y="6289020"/>
                  <a:pt x="5555624" y="6296537"/>
                </a:cubicBezTo>
                <a:cubicBezTo>
                  <a:pt x="5555624" y="6300296"/>
                  <a:pt x="5551868" y="6307814"/>
                  <a:pt x="5551868" y="6311573"/>
                </a:cubicBezTo>
                <a:cubicBezTo>
                  <a:pt x="5495523" y="6307814"/>
                  <a:pt x="5435421" y="6311573"/>
                  <a:pt x="5382833" y="6296537"/>
                </a:cubicBezTo>
                <a:cubicBezTo>
                  <a:pt x="5266386" y="6262709"/>
                  <a:pt x="5161209" y="6262709"/>
                  <a:pt x="5052275" y="6334125"/>
                </a:cubicBezTo>
                <a:cubicBezTo>
                  <a:pt x="5067300" y="6311573"/>
                  <a:pt x="5078569" y="6285261"/>
                  <a:pt x="5093595" y="6258950"/>
                </a:cubicBezTo>
                <a:cubicBezTo>
                  <a:pt x="5086082" y="6247673"/>
                  <a:pt x="5067300" y="6232638"/>
                  <a:pt x="5048519" y="6217603"/>
                </a:cubicBezTo>
                <a:cubicBezTo>
                  <a:pt x="4947097" y="6270226"/>
                  <a:pt x="4853189" y="6262709"/>
                  <a:pt x="4759281" y="6191292"/>
                </a:cubicBezTo>
                <a:cubicBezTo>
                  <a:pt x="4766793" y="6210086"/>
                  <a:pt x="4778062" y="6228880"/>
                  <a:pt x="4789331" y="6255191"/>
                </a:cubicBezTo>
                <a:cubicBezTo>
                  <a:pt x="4770550" y="6255191"/>
                  <a:pt x="4755524" y="6255191"/>
                  <a:pt x="4744255" y="6251432"/>
                </a:cubicBezTo>
                <a:cubicBezTo>
                  <a:pt x="4672885" y="6228880"/>
                  <a:pt x="4601514" y="6210086"/>
                  <a:pt x="4530144" y="6191292"/>
                </a:cubicBezTo>
                <a:cubicBezTo>
                  <a:pt x="4439992" y="6164980"/>
                  <a:pt x="4353596" y="6131151"/>
                  <a:pt x="4263444" y="6104840"/>
                </a:cubicBezTo>
                <a:cubicBezTo>
                  <a:pt x="4248419" y="6101081"/>
                  <a:pt x="4222124" y="6119875"/>
                  <a:pt x="4203343" y="6127393"/>
                </a:cubicBezTo>
                <a:cubicBezTo>
                  <a:pt x="4184561" y="6127393"/>
                  <a:pt x="4165779" y="6127393"/>
                  <a:pt x="4146997" y="6123634"/>
                </a:cubicBezTo>
                <a:cubicBezTo>
                  <a:pt x="4094409" y="6123634"/>
                  <a:pt x="4038064" y="6123634"/>
                  <a:pt x="3977962" y="6123634"/>
                </a:cubicBezTo>
                <a:cubicBezTo>
                  <a:pt x="3914104" y="6104840"/>
                  <a:pt x="3838978" y="6078529"/>
                  <a:pt x="3767607" y="6055976"/>
                </a:cubicBezTo>
                <a:cubicBezTo>
                  <a:pt x="3786389" y="6093564"/>
                  <a:pt x="3805171" y="6131151"/>
                  <a:pt x="3823952" y="6168739"/>
                </a:cubicBezTo>
                <a:cubicBezTo>
                  <a:pt x="3816440" y="6172498"/>
                  <a:pt x="3805171" y="6180015"/>
                  <a:pt x="3797658" y="6183774"/>
                </a:cubicBezTo>
                <a:cubicBezTo>
                  <a:pt x="3733800" y="6149945"/>
                  <a:pt x="3666186" y="6112357"/>
                  <a:pt x="3609841" y="6082287"/>
                </a:cubicBezTo>
                <a:cubicBezTo>
                  <a:pt x="3583547" y="6127393"/>
                  <a:pt x="3561009" y="6168739"/>
                  <a:pt x="3534714" y="6210086"/>
                </a:cubicBezTo>
                <a:cubicBezTo>
                  <a:pt x="3508420" y="6176257"/>
                  <a:pt x="3478369" y="6146186"/>
                  <a:pt x="3463344" y="6131151"/>
                </a:cubicBezTo>
                <a:cubicBezTo>
                  <a:pt x="3388217" y="6089805"/>
                  <a:pt x="3324359" y="6055976"/>
                  <a:pt x="3260502" y="6018388"/>
                </a:cubicBezTo>
                <a:cubicBezTo>
                  <a:pt x="3260502" y="6018388"/>
                  <a:pt x="3252989" y="6033423"/>
                  <a:pt x="3245476" y="6059735"/>
                </a:cubicBezTo>
                <a:cubicBezTo>
                  <a:pt x="3226694" y="6029664"/>
                  <a:pt x="3211669" y="6003353"/>
                  <a:pt x="3185375" y="5958248"/>
                </a:cubicBezTo>
                <a:cubicBezTo>
                  <a:pt x="3170349" y="5999594"/>
                  <a:pt x="3159080" y="6022147"/>
                  <a:pt x="3144055" y="6059735"/>
                </a:cubicBezTo>
                <a:cubicBezTo>
                  <a:pt x="3129030" y="6029664"/>
                  <a:pt x="3117761" y="6007112"/>
                  <a:pt x="3102736" y="5977042"/>
                </a:cubicBezTo>
                <a:cubicBezTo>
                  <a:pt x="3072685" y="5988318"/>
                  <a:pt x="3042634" y="6003353"/>
                  <a:pt x="3016340" y="6014629"/>
                </a:cubicBezTo>
                <a:cubicBezTo>
                  <a:pt x="2941213" y="5954489"/>
                  <a:pt x="2873599" y="5894349"/>
                  <a:pt x="2794716" y="5845484"/>
                </a:cubicBezTo>
                <a:cubicBezTo>
                  <a:pt x="2768421" y="5826691"/>
                  <a:pt x="2730858" y="5774068"/>
                  <a:pt x="2685782" y="5826691"/>
                </a:cubicBezTo>
                <a:cubicBezTo>
                  <a:pt x="2682025" y="5834208"/>
                  <a:pt x="2663244" y="5826691"/>
                  <a:pt x="2651975" y="5822932"/>
                </a:cubicBezTo>
                <a:cubicBezTo>
                  <a:pt x="2546798" y="5792862"/>
                  <a:pt x="2445376" y="5751515"/>
                  <a:pt x="2351468" y="5698892"/>
                </a:cubicBezTo>
                <a:cubicBezTo>
                  <a:pt x="2332686" y="5691375"/>
                  <a:pt x="2321417" y="5665063"/>
                  <a:pt x="2306392" y="5646269"/>
                </a:cubicBezTo>
                <a:cubicBezTo>
                  <a:pt x="2310148" y="5642511"/>
                  <a:pt x="2317661" y="5634993"/>
                  <a:pt x="2321417" y="5627475"/>
                </a:cubicBezTo>
                <a:cubicBezTo>
                  <a:pt x="2366493" y="5646269"/>
                  <a:pt x="2411569" y="5665063"/>
                  <a:pt x="2456645" y="5683857"/>
                </a:cubicBezTo>
                <a:cubicBezTo>
                  <a:pt x="2404057" y="5623717"/>
                  <a:pt x="2362737" y="5571094"/>
                  <a:pt x="2310148" y="5525989"/>
                </a:cubicBezTo>
                <a:cubicBezTo>
                  <a:pt x="2300757" y="5516592"/>
                  <a:pt x="2287610" y="5510954"/>
                  <a:pt x="2271646" y="5505785"/>
                </a:cubicBezTo>
                <a:lnTo>
                  <a:pt x="2217838" y="5488902"/>
                </a:lnTo>
                <a:lnTo>
                  <a:pt x="2219996" y="5480883"/>
                </a:lnTo>
                <a:cubicBezTo>
                  <a:pt x="2163651" y="5473366"/>
                  <a:pt x="2129844" y="5398190"/>
                  <a:pt x="2058474" y="5432019"/>
                </a:cubicBezTo>
                <a:cubicBezTo>
                  <a:pt x="1990859" y="5462089"/>
                  <a:pt x="1911976" y="5424502"/>
                  <a:pt x="1885682" y="5353085"/>
                </a:cubicBezTo>
                <a:cubicBezTo>
                  <a:pt x="1885682" y="5345567"/>
                  <a:pt x="1881926" y="5338050"/>
                  <a:pt x="1881926" y="5338050"/>
                </a:cubicBezTo>
                <a:cubicBezTo>
                  <a:pt x="1814312" y="5319256"/>
                  <a:pt x="1795530" y="5270392"/>
                  <a:pt x="1776748" y="5214010"/>
                </a:cubicBezTo>
                <a:cubicBezTo>
                  <a:pt x="1772992" y="5198975"/>
                  <a:pt x="1754210" y="5191457"/>
                  <a:pt x="1727916" y="5168905"/>
                </a:cubicBezTo>
                <a:cubicBezTo>
                  <a:pt x="1727916" y="5198975"/>
                  <a:pt x="1727916" y="5214010"/>
                  <a:pt x="1727916" y="5229045"/>
                </a:cubicBezTo>
                <a:cubicBezTo>
                  <a:pt x="1720403" y="5236563"/>
                  <a:pt x="1716647" y="5244080"/>
                  <a:pt x="1709134" y="5251598"/>
                </a:cubicBezTo>
                <a:cubicBezTo>
                  <a:pt x="1705378" y="5236563"/>
                  <a:pt x="1701621" y="5206492"/>
                  <a:pt x="1694109" y="5206492"/>
                </a:cubicBezTo>
                <a:cubicBezTo>
                  <a:pt x="1562637" y="5187699"/>
                  <a:pt x="1472485" y="5089970"/>
                  <a:pt x="1412383" y="5003519"/>
                </a:cubicBezTo>
                <a:cubicBezTo>
                  <a:pt x="1363551" y="4935861"/>
                  <a:pt x="1258373" y="4913308"/>
                  <a:pt x="1254617" y="4808062"/>
                </a:cubicBezTo>
                <a:cubicBezTo>
                  <a:pt x="1254617" y="4789268"/>
                  <a:pt x="1213297" y="4774233"/>
                  <a:pt x="1190759" y="4751681"/>
                </a:cubicBezTo>
                <a:cubicBezTo>
                  <a:pt x="1183247" y="4747922"/>
                  <a:pt x="1190759" y="4732887"/>
                  <a:pt x="1187003" y="4725369"/>
                </a:cubicBezTo>
                <a:cubicBezTo>
                  <a:pt x="1179490" y="4710334"/>
                  <a:pt x="1175734" y="4695299"/>
                  <a:pt x="1164465" y="4684023"/>
                </a:cubicBezTo>
                <a:cubicBezTo>
                  <a:pt x="1153196" y="4668988"/>
                  <a:pt x="1138171" y="4657711"/>
                  <a:pt x="1123145" y="4646435"/>
                </a:cubicBezTo>
                <a:cubicBezTo>
                  <a:pt x="1130658" y="4638917"/>
                  <a:pt x="1138171" y="4631400"/>
                  <a:pt x="1149440" y="4623882"/>
                </a:cubicBezTo>
                <a:lnTo>
                  <a:pt x="1360750" y="4805511"/>
                </a:lnTo>
                <a:lnTo>
                  <a:pt x="1427409" y="4886997"/>
                </a:lnTo>
                <a:cubicBezTo>
                  <a:pt x="1431165" y="4883238"/>
                  <a:pt x="1438678" y="4879479"/>
                  <a:pt x="1442434" y="4875720"/>
                </a:cubicBezTo>
                <a:lnTo>
                  <a:pt x="1360750" y="4805511"/>
                </a:lnTo>
                <a:lnTo>
                  <a:pt x="1336318" y="4775643"/>
                </a:lnTo>
                <a:cubicBezTo>
                  <a:pt x="1306267" y="4738525"/>
                  <a:pt x="1277155" y="4700937"/>
                  <a:pt x="1250861" y="4661470"/>
                </a:cubicBezTo>
                <a:cubicBezTo>
                  <a:pt x="1209541" y="4597571"/>
                  <a:pt x="1104364" y="4567501"/>
                  <a:pt x="1108120" y="4496084"/>
                </a:cubicBezTo>
                <a:cubicBezTo>
                  <a:pt x="1074313" y="4447220"/>
                  <a:pt x="1055531" y="4413391"/>
                  <a:pt x="1032993" y="4383321"/>
                </a:cubicBezTo>
                <a:cubicBezTo>
                  <a:pt x="1021724" y="4368286"/>
                  <a:pt x="1006699" y="4357009"/>
                  <a:pt x="991673" y="4353250"/>
                </a:cubicBezTo>
                <a:cubicBezTo>
                  <a:pt x="950354" y="4341974"/>
                  <a:pt x="905278" y="4334457"/>
                  <a:pt x="863958" y="4326939"/>
                </a:cubicBezTo>
                <a:cubicBezTo>
                  <a:pt x="856445" y="4372044"/>
                  <a:pt x="1021724" y="4541189"/>
                  <a:pt x="1126902" y="4582536"/>
                </a:cubicBezTo>
                <a:cubicBezTo>
                  <a:pt x="1119389" y="4605088"/>
                  <a:pt x="1111876" y="4627641"/>
                  <a:pt x="1108120" y="4642676"/>
                </a:cubicBezTo>
                <a:cubicBezTo>
                  <a:pt x="1021724" y="4563742"/>
                  <a:pt x="931572" y="4481049"/>
                  <a:pt x="841420" y="4402115"/>
                </a:cubicBezTo>
                <a:cubicBezTo>
                  <a:pt x="732486" y="4450979"/>
                  <a:pt x="631065" y="4372044"/>
                  <a:pt x="503349" y="4375803"/>
                </a:cubicBezTo>
                <a:cubicBezTo>
                  <a:pt x="552182" y="4345733"/>
                  <a:pt x="585989" y="4323180"/>
                  <a:pt x="623552" y="4304386"/>
                </a:cubicBezTo>
                <a:lnTo>
                  <a:pt x="609527" y="4292163"/>
                </a:lnTo>
                <a:lnTo>
                  <a:pt x="652194" y="4251764"/>
                </a:lnTo>
                <a:cubicBezTo>
                  <a:pt x="665811" y="4238608"/>
                  <a:pt x="678019" y="4225452"/>
                  <a:pt x="687410" y="4210417"/>
                </a:cubicBezTo>
                <a:cubicBezTo>
                  <a:pt x="698679" y="4187864"/>
                  <a:pt x="694923" y="4157794"/>
                  <a:pt x="702435" y="4120207"/>
                </a:cubicBezTo>
                <a:cubicBezTo>
                  <a:pt x="709948" y="4116448"/>
                  <a:pt x="736242" y="4108930"/>
                  <a:pt x="770049" y="4093895"/>
                </a:cubicBezTo>
                <a:cubicBezTo>
                  <a:pt x="733895" y="4057717"/>
                  <a:pt x="657477" y="4053194"/>
                  <a:pt x="666618" y="3997231"/>
                </a:cubicBezTo>
                <a:lnTo>
                  <a:pt x="675322" y="3972210"/>
                </a:lnTo>
                <a:lnTo>
                  <a:pt x="716639" y="4005329"/>
                </a:lnTo>
                <a:cubicBezTo>
                  <a:pt x="758546" y="4043386"/>
                  <a:pt x="797283" y="4083558"/>
                  <a:pt x="867714" y="4075101"/>
                </a:cubicBezTo>
                <a:cubicBezTo>
                  <a:pt x="875227" y="4071342"/>
                  <a:pt x="897765" y="4093895"/>
                  <a:pt x="897765" y="4105171"/>
                </a:cubicBezTo>
                <a:cubicBezTo>
                  <a:pt x="901521" y="4180347"/>
                  <a:pt x="946597" y="4221693"/>
                  <a:pt x="1029237" y="4259281"/>
                </a:cubicBezTo>
                <a:cubicBezTo>
                  <a:pt x="1002942" y="4225452"/>
                  <a:pt x="991673" y="4210417"/>
                  <a:pt x="972892" y="4184106"/>
                </a:cubicBezTo>
                <a:cubicBezTo>
                  <a:pt x="1006699" y="4187864"/>
                  <a:pt x="1025480" y="4191623"/>
                  <a:pt x="1055531" y="4199141"/>
                </a:cubicBezTo>
                <a:cubicBezTo>
                  <a:pt x="1025480" y="4150277"/>
                  <a:pt x="999186" y="4108930"/>
                  <a:pt x="972892" y="4060066"/>
                </a:cubicBezTo>
                <a:cubicBezTo>
                  <a:pt x="1010455" y="4067584"/>
                  <a:pt x="1032993" y="4067584"/>
                  <a:pt x="1051775" y="4071342"/>
                </a:cubicBezTo>
                <a:cubicBezTo>
                  <a:pt x="1051775" y="4037513"/>
                  <a:pt x="1051775" y="4007443"/>
                  <a:pt x="1051775" y="3954820"/>
                </a:cubicBezTo>
                <a:cubicBezTo>
                  <a:pt x="1070557" y="3988649"/>
                  <a:pt x="1081826" y="4003685"/>
                  <a:pt x="1093095" y="4022478"/>
                </a:cubicBezTo>
                <a:cubicBezTo>
                  <a:pt x="1100607" y="3992408"/>
                  <a:pt x="1108120" y="3973614"/>
                  <a:pt x="1111876" y="3969855"/>
                </a:cubicBezTo>
                <a:cubicBezTo>
                  <a:pt x="1051775" y="3909715"/>
                  <a:pt x="995430" y="3853333"/>
                  <a:pt x="939085" y="3793193"/>
                </a:cubicBezTo>
                <a:cubicBezTo>
                  <a:pt x="942841" y="3785676"/>
                  <a:pt x="950354" y="3778158"/>
                  <a:pt x="954110" y="3770640"/>
                </a:cubicBezTo>
                <a:cubicBezTo>
                  <a:pt x="1025480" y="3800710"/>
                  <a:pt x="1096851" y="3834540"/>
                  <a:pt x="1168221" y="3868369"/>
                </a:cubicBezTo>
                <a:cubicBezTo>
                  <a:pt x="1168221" y="3845816"/>
                  <a:pt x="1171978" y="3823263"/>
                  <a:pt x="1175734" y="3793193"/>
                </a:cubicBezTo>
                <a:cubicBezTo>
                  <a:pt x="1164465" y="3793193"/>
                  <a:pt x="1134414" y="3785676"/>
                  <a:pt x="1126902" y="3785676"/>
                </a:cubicBezTo>
                <a:cubicBezTo>
                  <a:pt x="1096851" y="3699224"/>
                  <a:pt x="1070557" y="3620289"/>
                  <a:pt x="1044262" y="3537596"/>
                </a:cubicBezTo>
                <a:cubicBezTo>
                  <a:pt x="1032993" y="3541355"/>
                  <a:pt x="1025480" y="3541355"/>
                  <a:pt x="1017968" y="3545114"/>
                </a:cubicBezTo>
                <a:cubicBezTo>
                  <a:pt x="1021724" y="3571425"/>
                  <a:pt x="1025480" y="3597737"/>
                  <a:pt x="1029237" y="3620289"/>
                </a:cubicBezTo>
                <a:cubicBezTo>
                  <a:pt x="909034" y="3567666"/>
                  <a:pt x="909034" y="3567666"/>
                  <a:pt x="905278" y="3477456"/>
                </a:cubicBezTo>
                <a:cubicBezTo>
                  <a:pt x="897765" y="3451145"/>
                  <a:pt x="890252" y="3424833"/>
                  <a:pt x="890252" y="3421074"/>
                </a:cubicBezTo>
                <a:cubicBezTo>
                  <a:pt x="935328" y="3406039"/>
                  <a:pt x="969135" y="3394763"/>
                  <a:pt x="999186" y="3383486"/>
                </a:cubicBezTo>
                <a:lnTo>
                  <a:pt x="999186" y="3382369"/>
                </a:lnTo>
                <a:lnTo>
                  <a:pt x="955995" y="3343410"/>
                </a:lnTo>
                <a:lnTo>
                  <a:pt x="926407" y="3323346"/>
                </a:lnTo>
                <a:cubicBezTo>
                  <a:pt x="902460" y="3309251"/>
                  <a:pt x="877105" y="3304552"/>
                  <a:pt x="845176" y="3342140"/>
                </a:cubicBezTo>
                <a:cubicBezTo>
                  <a:pt x="841420" y="3342140"/>
                  <a:pt x="822638" y="3330864"/>
                  <a:pt x="811369" y="3323346"/>
                </a:cubicBezTo>
                <a:cubicBezTo>
                  <a:pt x="788831" y="3304552"/>
                  <a:pt x="766293" y="3282000"/>
                  <a:pt x="743755" y="3263206"/>
                </a:cubicBezTo>
                <a:lnTo>
                  <a:pt x="757239" y="3255534"/>
                </a:lnTo>
                <a:lnTo>
                  <a:pt x="679428" y="3243823"/>
                </a:lnTo>
                <a:cubicBezTo>
                  <a:pt x="624491" y="3230668"/>
                  <a:pt x="567207" y="3211874"/>
                  <a:pt x="503349" y="3213753"/>
                </a:cubicBezTo>
                <a:cubicBezTo>
                  <a:pt x="552182" y="3183683"/>
                  <a:pt x="585989" y="3161130"/>
                  <a:pt x="623552" y="3142336"/>
                </a:cubicBezTo>
                <a:lnTo>
                  <a:pt x="609527" y="3130113"/>
                </a:lnTo>
                <a:lnTo>
                  <a:pt x="652194" y="3089714"/>
                </a:lnTo>
                <a:cubicBezTo>
                  <a:pt x="665811" y="3076558"/>
                  <a:pt x="678019" y="3063402"/>
                  <a:pt x="687410" y="3048367"/>
                </a:cubicBezTo>
                <a:cubicBezTo>
                  <a:pt x="698679" y="3025814"/>
                  <a:pt x="694923" y="2995744"/>
                  <a:pt x="702435" y="2958157"/>
                </a:cubicBezTo>
                <a:cubicBezTo>
                  <a:pt x="709948" y="2954398"/>
                  <a:pt x="736242" y="2946880"/>
                  <a:pt x="770049" y="2931845"/>
                </a:cubicBezTo>
                <a:cubicBezTo>
                  <a:pt x="733895" y="2895667"/>
                  <a:pt x="657477" y="2891144"/>
                  <a:pt x="666618" y="2835181"/>
                </a:cubicBezTo>
                <a:lnTo>
                  <a:pt x="675322" y="2810160"/>
                </a:lnTo>
                <a:lnTo>
                  <a:pt x="716639" y="2843279"/>
                </a:lnTo>
                <a:cubicBezTo>
                  <a:pt x="727116" y="2852793"/>
                  <a:pt x="737395" y="2862440"/>
                  <a:pt x="748020" y="2871426"/>
                </a:cubicBezTo>
                <a:lnTo>
                  <a:pt x="759548" y="2879757"/>
                </a:lnTo>
                <a:lnTo>
                  <a:pt x="717461" y="2812153"/>
                </a:lnTo>
                <a:cubicBezTo>
                  <a:pt x="702435" y="2785841"/>
                  <a:pt x="709948" y="2748254"/>
                  <a:pt x="702435" y="2718183"/>
                </a:cubicBezTo>
                <a:cubicBezTo>
                  <a:pt x="698679" y="2691872"/>
                  <a:pt x="687410" y="2669319"/>
                  <a:pt x="679897" y="2646767"/>
                </a:cubicBezTo>
                <a:cubicBezTo>
                  <a:pt x="668628" y="2650525"/>
                  <a:pt x="661116" y="2650525"/>
                  <a:pt x="649847" y="2654284"/>
                </a:cubicBezTo>
                <a:cubicBezTo>
                  <a:pt x="653603" y="2635490"/>
                  <a:pt x="661116" y="2616696"/>
                  <a:pt x="657359" y="2624214"/>
                </a:cubicBezTo>
                <a:cubicBezTo>
                  <a:pt x="574720" y="2549038"/>
                  <a:pt x="503349" y="2488898"/>
                  <a:pt x="454517" y="2447551"/>
                </a:cubicBezTo>
                <a:cubicBezTo>
                  <a:pt x="375634" y="2432516"/>
                  <a:pt x="323045" y="2424999"/>
                  <a:pt x="262944" y="2413722"/>
                </a:cubicBezTo>
                <a:cubicBezTo>
                  <a:pt x="323045" y="2338547"/>
                  <a:pt x="375634" y="2270889"/>
                  <a:pt x="424466" y="2206990"/>
                </a:cubicBezTo>
                <a:cubicBezTo>
                  <a:pt x="405685" y="2195713"/>
                  <a:pt x="375634" y="2184437"/>
                  <a:pt x="364365" y="2176920"/>
                </a:cubicBezTo>
                <a:cubicBezTo>
                  <a:pt x="338071" y="2184437"/>
                  <a:pt x="315533" y="2195713"/>
                  <a:pt x="300507" y="2191955"/>
                </a:cubicBezTo>
                <a:cubicBezTo>
                  <a:pt x="266700" y="2176920"/>
                  <a:pt x="255431" y="2128055"/>
                  <a:pt x="187817" y="2150608"/>
                </a:cubicBezTo>
                <a:cubicBezTo>
                  <a:pt x="138985" y="2165643"/>
                  <a:pt x="63858" y="2116779"/>
                  <a:pt x="0" y="2097985"/>
                </a:cubicBezTo>
                <a:cubicBezTo>
                  <a:pt x="37564" y="2082950"/>
                  <a:pt x="78883" y="2067915"/>
                  <a:pt x="123959" y="2052880"/>
                </a:cubicBezTo>
                <a:cubicBezTo>
                  <a:pt x="101421" y="2026569"/>
                  <a:pt x="86396" y="2007775"/>
                  <a:pt x="63858" y="1977704"/>
                </a:cubicBezTo>
                <a:cubicBezTo>
                  <a:pt x="101421" y="1981463"/>
                  <a:pt x="127716" y="1985222"/>
                  <a:pt x="176548" y="1988981"/>
                </a:cubicBezTo>
                <a:cubicBezTo>
                  <a:pt x="169035" y="1970187"/>
                  <a:pt x="161523" y="1943875"/>
                  <a:pt x="150254" y="1921323"/>
                </a:cubicBezTo>
                <a:cubicBezTo>
                  <a:pt x="146497" y="1902529"/>
                  <a:pt x="127716" y="1879976"/>
                  <a:pt x="135228" y="1868700"/>
                </a:cubicBezTo>
                <a:cubicBezTo>
                  <a:pt x="146497" y="1853665"/>
                  <a:pt x="176548" y="1831112"/>
                  <a:pt x="187817" y="1834871"/>
                </a:cubicBezTo>
                <a:cubicBezTo>
                  <a:pt x="270457" y="1868700"/>
                  <a:pt x="311776" y="1838630"/>
                  <a:pt x="338071" y="1763454"/>
                </a:cubicBezTo>
                <a:cubicBezTo>
                  <a:pt x="341827" y="1755937"/>
                  <a:pt x="368121" y="1759696"/>
                  <a:pt x="409441" y="1752178"/>
                </a:cubicBezTo>
                <a:cubicBezTo>
                  <a:pt x="304264" y="1725866"/>
                  <a:pt x="225380" y="1699555"/>
                  <a:pt x="142741" y="1677002"/>
                </a:cubicBezTo>
                <a:cubicBezTo>
                  <a:pt x="142741" y="1673244"/>
                  <a:pt x="142741" y="1665726"/>
                  <a:pt x="142741" y="1661967"/>
                </a:cubicBezTo>
                <a:cubicBezTo>
                  <a:pt x="172792" y="1658209"/>
                  <a:pt x="202842" y="1654450"/>
                  <a:pt x="232893" y="1654450"/>
                </a:cubicBezTo>
                <a:cubicBezTo>
                  <a:pt x="225380" y="1635656"/>
                  <a:pt x="221624" y="1616862"/>
                  <a:pt x="210355" y="1590551"/>
                </a:cubicBezTo>
                <a:cubicBezTo>
                  <a:pt x="308020" y="1605586"/>
                  <a:pt x="296751" y="1522893"/>
                  <a:pt x="300507" y="1477787"/>
                </a:cubicBezTo>
                <a:cubicBezTo>
                  <a:pt x="304264" y="1443958"/>
                  <a:pt x="308020" y="1443958"/>
                  <a:pt x="334314" y="1436441"/>
                </a:cubicBezTo>
                <a:cubicBezTo>
                  <a:pt x="364365" y="1421406"/>
                  <a:pt x="394416" y="1391335"/>
                  <a:pt x="424466" y="1387577"/>
                </a:cubicBezTo>
                <a:cubicBezTo>
                  <a:pt x="454517" y="1387577"/>
                  <a:pt x="507106" y="1417647"/>
                  <a:pt x="510862" y="1432682"/>
                </a:cubicBezTo>
                <a:cubicBezTo>
                  <a:pt x="510862" y="1526651"/>
                  <a:pt x="567207" y="1556722"/>
                  <a:pt x="642334" y="1571757"/>
                </a:cubicBezTo>
                <a:cubicBezTo>
                  <a:pt x="657359" y="1575515"/>
                  <a:pt x="683654" y="1590551"/>
                  <a:pt x="687410" y="1601827"/>
                </a:cubicBezTo>
                <a:cubicBezTo>
                  <a:pt x="687410" y="1616862"/>
                  <a:pt x="672385" y="1639415"/>
                  <a:pt x="664872" y="1654450"/>
                </a:cubicBezTo>
                <a:cubicBezTo>
                  <a:pt x="683654" y="1669485"/>
                  <a:pt x="706192" y="1688279"/>
                  <a:pt x="732486" y="1710831"/>
                </a:cubicBezTo>
                <a:cubicBezTo>
                  <a:pt x="724974" y="1714590"/>
                  <a:pt x="721217" y="1722108"/>
                  <a:pt x="713704" y="1729625"/>
                </a:cubicBezTo>
                <a:cubicBezTo>
                  <a:pt x="672385" y="1699555"/>
                  <a:pt x="631065" y="1669485"/>
                  <a:pt x="574720" y="1631897"/>
                </a:cubicBezTo>
                <a:cubicBezTo>
                  <a:pt x="608527" y="1729625"/>
                  <a:pt x="597258" y="1831112"/>
                  <a:pt x="709948" y="1868700"/>
                </a:cubicBezTo>
                <a:cubicBezTo>
                  <a:pt x="728730" y="1823595"/>
                  <a:pt x="743755" y="1778489"/>
                  <a:pt x="758781" y="1733384"/>
                </a:cubicBezTo>
                <a:lnTo>
                  <a:pt x="771001" y="1736102"/>
                </a:lnTo>
                <a:lnTo>
                  <a:pt x="770989" y="1736085"/>
                </a:lnTo>
                <a:cubicBezTo>
                  <a:pt x="751268" y="1708364"/>
                  <a:pt x="732487" y="1680173"/>
                  <a:pt x="717461" y="1650103"/>
                </a:cubicBezTo>
                <a:cubicBezTo>
                  <a:pt x="702435" y="1623791"/>
                  <a:pt x="709948" y="1586204"/>
                  <a:pt x="702435" y="1556133"/>
                </a:cubicBezTo>
                <a:cubicBezTo>
                  <a:pt x="698679" y="1529822"/>
                  <a:pt x="687410" y="1507269"/>
                  <a:pt x="679897" y="1484717"/>
                </a:cubicBezTo>
                <a:cubicBezTo>
                  <a:pt x="668628" y="1488475"/>
                  <a:pt x="661116" y="1488475"/>
                  <a:pt x="649847" y="1492234"/>
                </a:cubicBezTo>
                <a:cubicBezTo>
                  <a:pt x="653603" y="1473440"/>
                  <a:pt x="661116" y="1454646"/>
                  <a:pt x="657359" y="1462164"/>
                </a:cubicBezTo>
                <a:cubicBezTo>
                  <a:pt x="574720" y="1386988"/>
                  <a:pt x="503349" y="1326848"/>
                  <a:pt x="454517" y="1285501"/>
                </a:cubicBezTo>
                <a:cubicBezTo>
                  <a:pt x="375634" y="1270466"/>
                  <a:pt x="323045" y="1262949"/>
                  <a:pt x="262944" y="1251672"/>
                </a:cubicBezTo>
                <a:cubicBezTo>
                  <a:pt x="323045" y="1176497"/>
                  <a:pt x="375634" y="1108839"/>
                  <a:pt x="424466" y="1044940"/>
                </a:cubicBezTo>
                <a:cubicBezTo>
                  <a:pt x="405685" y="1033663"/>
                  <a:pt x="375634" y="1022387"/>
                  <a:pt x="364365" y="1014870"/>
                </a:cubicBezTo>
                <a:cubicBezTo>
                  <a:pt x="338071" y="1022387"/>
                  <a:pt x="315533" y="1033663"/>
                  <a:pt x="300507" y="1029905"/>
                </a:cubicBezTo>
                <a:cubicBezTo>
                  <a:pt x="266700" y="1014870"/>
                  <a:pt x="255431" y="966005"/>
                  <a:pt x="187817" y="988558"/>
                </a:cubicBezTo>
                <a:cubicBezTo>
                  <a:pt x="138985" y="1003593"/>
                  <a:pt x="63858" y="954729"/>
                  <a:pt x="0" y="935935"/>
                </a:cubicBezTo>
                <a:cubicBezTo>
                  <a:pt x="37564" y="920900"/>
                  <a:pt x="78883" y="905865"/>
                  <a:pt x="123959" y="890830"/>
                </a:cubicBezTo>
                <a:cubicBezTo>
                  <a:pt x="101421" y="864519"/>
                  <a:pt x="86396" y="845725"/>
                  <a:pt x="63858" y="815654"/>
                </a:cubicBezTo>
                <a:cubicBezTo>
                  <a:pt x="101421" y="819413"/>
                  <a:pt x="127716" y="823172"/>
                  <a:pt x="176548" y="826931"/>
                </a:cubicBezTo>
                <a:cubicBezTo>
                  <a:pt x="169035" y="808137"/>
                  <a:pt x="161523" y="781825"/>
                  <a:pt x="150254" y="759273"/>
                </a:cubicBezTo>
                <a:cubicBezTo>
                  <a:pt x="146497" y="740479"/>
                  <a:pt x="127716" y="717926"/>
                  <a:pt x="135228" y="706650"/>
                </a:cubicBezTo>
                <a:cubicBezTo>
                  <a:pt x="146497" y="691615"/>
                  <a:pt x="176548" y="669062"/>
                  <a:pt x="187817" y="672821"/>
                </a:cubicBezTo>
                <a:cubicBezTo>
                  <a:pt x="270457" y="706650"/>
                  <a:pt x="311776" y="676580"/>
                  <a:pt x="338071" y="601404"/>
                </a:cubicBezTo>
                <a:cubicBezTo>
                  <a:pt x="341827" y="593887"/>
                  <a:pt x="368121" y="597646"/>
                  <a:pt x="409441" y="590128"/>
                </a:cubicBezTo>
                <a:cubicBezTo>
                  <a:pt x="304264" y="563816"/>
                  <a:pt x="225380" y="537505"/>
                  <a:pt x="142741" y="514952"/>
                </a:cubicBezTo>
                <a:cubicBezTo>
                  <a:pt x="142741" y="511194"/>
                  <a:pt x="142741" y="503676"/>
                  <a:pt x="142741" y="499917"/>
                </a:cubicBezTo>
                <a:cubicBezTo>
                  <a:pt x="172792" y="496159"/>
                  <a:pt x="202842" y="492400"/>
                  <a:pt x="232893" y="492400"/>
                </a:cubicBezTo>
                <a:cubicBezTo>
                  <a:pt x="225380" y="473606"/>
                  <a:pt x="221624" y="454812"/>
                  <a:pt x="210355" y="428501"/>
                </a:cubicBezTo>
                <a:cubicBezTo>
                  <a:pt x="308020" y="443536"/>
                  <a:pt x="296751" y="360843"/>
                  <a:pt x="300507" y="315737"/>
                </a:cubicBezTo>
                <a:cubicBezTo>
                  <a:pt x="304264" y="281908"/>
                  <a:pt x="308020" y="281908"/>
                  <a:pt x="334314" y="274391"/>
                </a:cubicBezTo>
                <a:cubicBezTo>
                  <a:pt x="364365" y="259356"/>
                  <a:pt x="394416" y="229285"/>
                  <a:pt x="424466" y="225527"/>
                </a:cubicBezTo>
                <a:cubicBezTo>
                  <a:pt x="454517" y="225527"/>
                  <a:pt x="507106" y="255597"/>
                  <a:pt x="510862" y="270632"/>
                </a:cubicBezTo>
                <a:cubicBezTo>
                  <a:pt x="510862" y="364601"/>
                  <a:pt x="567207" y="394672"/>
                  <a:pt x="642334" y="409707"/>
                </a:cubicBezTo>
                <a:cubicBezTo>
                  <a:pt x="657359" y="413465"/>
                  <a:pt x="683654" y="428501"/>
                  <a:pt x="687410" y="439777"/>
                </a:cubicBezTo>
                <a:cubicBezTo>
                  <a:pt x="687410" y="454812"/>
                  <a:pt x="672385" y="477365"/>
                  <a:pt x="664872" y="492400"/>
                </a:cubicBezTo>
                <a:cubicBezTo>
                  <a:pt x="683654" y="507435"/>
                  <a:pt x="706192" y="526229"/>
                  <a:pt x="732486" y="548781"/>
                </a:cubicBezTo>
                <a:cubicBezTo>
                  <a:pt x="724974" y="552540"/>
                  <a:pt x="721217" y="560058"/>
                  <a:pt x="713704" y="567575"/>
                </a:cubicBezTo>
                <a:cubicBezTo>
                  <a:pt x="672385" y="537505"/>
                  <a:pt x="631065" y="507435"/>
                  <a:pt x="574720" y="469847"/>
                </a:cubicBezTo>
                <a:cubicBezTo>
                  <a:pt x="608527" y="567575"/>
                  <a:pt x="597258" y="669062"/>
                  <a:pt x="709948" y="706650"/>
                </a:cubicBezTo>
                <a:cubicBezTo>
                  <a:pt x="728730" y="661545"/>
                  <a:pt x="743755" y="616439"/>
                  <a:pt x="758781" y="571334"/>
                </a:cubicBezTo>
                <a:cubicBezTo>
                  <a:pt x="773806" y="575093"/>
                  <a:pt x="796344" y="578852"/>
                  <a:pt x="837664" y="590128"/>
                </a:cubicBezTo>
                <a:cubicBezTo>
                  <a:pt x="848933" y="586369"/>
                  <a:pt x="875227" y="575093"/>
                  <a:pt x="905278" y="563816"/>
                </a:cubicBezTo>
                <a:cubicBezTo>
                  <a:pt x="909034" y="571334"/>
                  <a:pt x="912790" y="578852"/>
                  <a:pt x="920303" y="582610"/>
                </a:cubicBezTo>
                <a:cubicBezTo>
                  <a:pt x="924059" y="560058"/>
                  <a:pt x="931572" y="533746"/>
                  <a:pt x="935328" y="507435"/>
                </a:cubicBezTo>
                <a:cubicBezTo>
                  <a:pt x="916547" y="507435"/>
                  <a:pt x="894009" y="507435"/>
                  <a:pt x="871471" y="507435"/>
                </a:cubicBezTo>
                <a:cubicBezTo>
                  <a:pt x="867714" y="499917"/>
                  <a:pt x="863958" y="496159"/>
                  <a:pt x="860202" y="488641"/>
                </a:cubicBezTo>
                <a:cubicBezTo>
                  <a:pt x="875227" y="484882"/>
                  <a:pt x="890252" y="481123"/>
                  <a:pt x="901521" y="477365"/>
                </a:cubicBezTo>
                <a:cubicBezTo>
                  <a:pt x="867714" y="451053"/>
                  <a:pt x="841420" y="428501"/>
                  <a:pt x="815126" y="409707"/>
                </a:cubicBezTo>
                <a:cubicBezTo>
                  <a:pt x="818882" y="398430"/>
                  <a:pt x="822638" y="390913"/>
                  <a:pt x="826395" y="383395"/>
                </a:cubicBezTo>
                <a:cubicBezTo>
                  <a:pt x="886496" y="409707"/>
                  <a:pt x="942841" y="436018"/>
                  <a:pt x="1006699" y="462330"/>
                </a:cubicBezTo>
                <a:cubicBezTo>
                  <a:pt x="1006699" y="443536"/>
                  <a:pt x="1002942" y="424742"/>
                  <a:pt x="999186" y="402189"/>
                </a:cubicBezTo>
                <a:cubicBezTo>
                  <a:pt x="1104364" y="409707"/>
                  <a:pt x="1108120" y="345807"/>
                  <a:pt x="1089338" y="251838"/>
                </a:cubicBezTo>
                <a:cubicBezTo>
                  <a:pt x="1145683" y="304461"/>
                  <a:pt x="1175734" y="390913"/>
                  <a:pt x="1258373" y="334531"/>
                </a:cubicBezTo>
                <a:cubicBezTo>
                  <a:pt x="1284668" y="368360"/>
                  <a:pt x="1310962" y="402189"/>
                  <a:pt x="1341013" y="432259"/>
                </a:cubicBezTo>
                <a:cubicBezTo>
                  <a:pt x="1344769" y="439777"/>
                  <a:pt x="1378576" y="432259"/>
                  <a:pt x="1386089" y="420983"/>
                </a:cubicBezTo>
                <a:cubicBezTo>
                  <a:pt x="1393602" y="413465"/>
                  <a:pt x="1389845" y="390913"/>
                  <a:pt x="1386089" y="372119"/>
                </a:cubicBezTo>
                <a:cubicBezTo>
                  <a:pt x="1386089" y="364601"/>
                  <a:pt x="1382333" y="353325"/>
                  <a:pt x="1374820" y="334531"/>
                </a:cubicBezTo>
                <a:cubicBezTo>
                  <a:pt x="1371064" y="334531"/>
                  <a:pt x="1348526" y="330772"/>
                  <a:pt x="1322231" y="330772"/>
                </a:cubicBezTo>
                <a:cubicBezTo>
                  <a:pt x="1322231" y="323255"/>
                  <a:pt x="1322231" y="319496"/>
                  <a:pt x="1322231" y="311979"/>
                </a:cubicBezTo>
                <a:cubicBezTo>
                  <a:pt x="1341013" y="311979"/>
                  <a:pt x="1359795" y="308220"/>
                  <a:pt x="1389845" y="308220"/>
                </a:cubicBezTo>
                <a:cubicBezTo>
                  <a:pt x="1367307" y="289426"/>
                  <a:pt x="1352282" y="274391"/>
                  <a:pt x="1333500" y="255597"/>
                </a:cubicBezTo>
                <a:cubicBezTo>
                  <a:pt x="1344769" y="236803"/>
                  <a:pt x="1352282" y="210492"/>
                  <a:pt x="1367307" y="199215"/>
                </a:cubicBezTo>
                <a:cubicBezTo>
                  <a:pt x="1427409" y="142834"/>
                  <a:pt x="1453703" y="78934"/>
                  <a:pt x="1442434" y="0"/>
                </a:cubicBezTo>
                <a:close/>
              </a:path>
            </a:pathLst>
          </a:custGeom>
        </p:spPr>
      </p:sp>
    </p:spTree>
    <p:extLst>
      <p:ext uri="{BB962C8B-B14F-4D97-AF65-F5344CB8AC3E}">
        <p14:creationId xmlns:p14="http://schemas.microsoft.com/office/powerpoint/2010/main" val="1746544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6_Custom Layout">
    <p:spTree>
      <p:nvGrpSpPr>
        <p:cNvPr id="1" name=""/>
        <p:cNvGrpSpPr/>
        <p:nvPr/>
      </p:nvGrpSpPr>
      <p:grpSpPr>
        <a:xfrm>
          <a:off x="0" y="0"/>
          <a:ext cx="0" cy="0"/>
          <a:chOff x="0" y="0"/>
          <a:chExt cx="0" cy="0"/>
        </a:xfrm>
      </p:grpSpPr>
      <p:sp>
        <p:nvSpPr>
          <p:cNvPr id="5" name="Freeform 4"/>
          <p:cNvSpPr>
            <a:spLocks noGrp="1"/>
          </p:cNvSpPr>
          <p:nvPr>
            <p:ph type="pic" sz="quarter" idx="18" hasCustomPrompt="1"/>
          </p:nvPr>
        </p:nvSpPr>
        <p:spPr>
          <a:xfrm>
            <a:off x="0" y="0"/>
            <a:ext cx="12356823" cy="4722863"/>
          </a:xfrm>
          <a:custGeom>
            <a:avLst/>
            <a:gdLst>
              <a:gd name="connsiteX0" fmla="*/ 10742574 w 12356823"/>
              <a:gd name="connsiteY0" fmla="*/ 1497163 h 4722863"/>
              <a:gd name="connsiteX1" fmla="*/ 10749584 w 12356823"/>
              <a:gd name="connsiteY1" fmla="*/ 1497163 h 4722863"/>
              <a:gd name="connsiteX2" fmla="*/ 10774118 w 12356823"/>
              <a:gd name="connsiteY2" fmla="*/ 1503116 h 4722863"/>
              <a:gd name="connsiteX3" fmla="*/ 10784633 w 12356823"/>
              <a:gd name="connsiteY3" fmla="*/ 1509071 h 4722863"/>
              <a:gd name="connsiteX4" fmla="*/ 10788138 w 12356823"/>
              <a:gd name="connsiteY4" fmla="*/ 1509071 h 4722863"/>
              <a:gd name="connsiteX5" fmla="*/ 10788138 w 12356823"/>
              <a:gd name="connsiteY5" fmla="*/ 1512048 h 4722863"/>
              <a:gd name="connsiteX6" fmla="*/ 10784633 w 12356823"/>
              <a:gd name="connsiteY6" fmla="*/ 1515024 h 4722863"/>
              <a:gd name="connsiteX7" fmla="*/ 10774118 w 12356823"/>
              <a:gd name="connsiteY7" fmla="*/ 1515024 h 4722863"/>
              <a:gd name="connsiteX8" fmla="*/ 10746079 w 12356823"/>
              <a:gd name="connsiteY8" fmla="*/ 1512048 h 4722863"/>
              <a:gd name="connsiteX9" fmla="*/ 10742574 w 12356823"/>
              <a:gd name="connsiteY9" fmla="*/ 1506094 h 4722863"/>
              <a:gd name="connsiteX10" fmla="*/ 10742574 w 12356823"/>
              <a:gd name="connsiteY10" fmla="*/ 1500141 h 4722863"/>
              <a:gd name="connsiteX11" fmla="*/ 10742574 w 12356823"/>
              <a:gd name="connsiteY11" fmla="*/ 1497163 h 4722863"/>
              <a:gd name="connsiteX12" fmla="*/ 10951795 w 12356823"/>
              <a:gd name="connsiteY12" fmla="*/ 1460091 h 4722863"/>
              <a:gd name="connsiteX13" fmla="*/ 10980311 w 12356823"/>
              <a:gd name="connsiteY13" fmla="*/ 1463180 h 4722863"/>
              <a:gd name="connsiteX14" fmla="*/ 11005263 w 12356823"/>
              <a:gd name="connsiteY14" fmla="*/ 1472453 h 4722863"/>
              <a:gd name="connsiteX15" fmla="*/ 11012391 w 12356823"/>
              <a:gd name="connsiteY15" fmla="*/ 1478634 h 4722863"/>
              <a:gd name="connsiteX16" fmla="*/ 11015956 w 12356823"/>
              <a:gd name="connsiteY16" fmla="*/ 1481724 h 4722863"/>
              <a:gd name="connsiteX17" fmla="*/ 11012391 w 12356823"/>
              <a:gd name="connsiteY17" fmla="*/ 1484816 h 4722863"/>
              <a:gd name="connsiteX18" fmla="*/ 11005263 w 12356823"/>
              <a:gd name="connsiteY18" fmla="*/ 1484816 h 4722863"/>
              <a:gd name="connsiteX19" fmla="*/ 10983876 w 12356823"/>
              <a:gd name="connsiteY19" fmla="*/ 1487906 h 4722863"/>
              <a:gd name="connsiteX20" fmla="*/ 10866247 w 12356823"/>
              <a:gd name="connsiteY20" fmla="*/ 1512631 h 4722863"/>
              <a:gd name="connsiteX21" fmla="*/ 10869811 w 12356823"/>
              <a:gd name="connsiteY21" fmla="*/ 1506450 h 4722863"/>
              <a:gd name="connsiteX22" fmla="*/ 10866247 w 12356823"/>
              <a:gd name="connsiteY22" fmla="*/ 1497178 h 4722863"/>
              <a:gd name="connsiteX23" fmla="*/ 10866247 w 12356823"/>
              <a:gd name="connsiteY23" fmla="*/ 1490997 h 4722863"/>
              <a:gd name="connsiteX24" fmla="*/ 10866247 w 12356823"/>
              <a:gd name="connsiteY24" fmla="*/ 1487906 h 4722863"/>
              <a:gd name="connsiteX25" fmla="*/ 10876940 w 12356823"/>
              <a:gd name="connsiteY25" fmla="*/ 1478634 h 4722863"/>
              <a:gd name="connsiteX26" fmla="*/ 10891199 w 12356823"/>
              <a:gd name="connsiteY26" fmla="*/ 1475543 h 4722863"/>
              <a:gd name="connsiteX27" fmla="*/ 10951795 w 12356823"/>
              <a:gd name="connsiteY27" fmla="*/ 1460091 h 4722863"/>
              <a:gd name="connsiteX28" fmla="*/ 225646 w 12356823"/>
              <a:gd name="connsiteY28" fmla="*/ 1240356 h 4722863"/>
              <a:gd name="connsiteX29" fmla="*/ 229263 w 12356823"/>
              <a:gd name="connsiteY29" fmla="*/ 1240356 h 4722863"/>
              <a:gd name="connsiteX30" fmla="*/ 236494 w 12356823"/>
              <a:gd name="connsiteY30" fmla="*/ 1249498 h 4722863"/>
              <a:gd name="connsiteX31" fmla="*/ 265424 w 12356823"/>
              <a:gd name="connsiteY31" fmla="*/ 1286065 h 4722863"/>
              <a:gd name="connsiteX32" fmla="*/ 269040 w 12356823"/>
              <a:gd name="connsiteY32" fmla="*/ 1301302 h 4722863"/>
              <a:gd name="connsiteX33" fmla="*/ 269040 w 12356823"/>
              <a:gd name="connsiteY33" fmla="*/ 1307397 h 4722863"/>
              <a:gd name="connsiteX34" fmla="*/ 269040 w 12356823"/>
              <a:gd name="connsiteY34" fmla="*/ 1310444 h 4722863"/>
              <a:gd name="connsiteX35" fmla="*/ 261807 w 12356823"/>
              <a:gd name="connsiteY35" fmla="*/ 1307397 h 4722863"/>
              <a:gd name="connsiteX36" fmla="*/ 236494 w 12356823"/>
              <a:gd name="connsiteY36" fmla="*/ 1267782 h 4722863"/>
              <a:gd name="connsiteX37" fmla="*/ 229263 w 12356823"/>
              <a:gd name="connsiteY37" fmla="*/ 1246450 h 4722863"/>
              <a:gd name="connsiteX38" fmla="*/ 225646 w 12356823"/>
              <a:gd name="connsiteY38" fmla="*/ 1243404 h 4722863"/>
              <a:gd name="connsiteX39" fmla="*/ 225646 w 12356823"/>
              <a:gd name="connsiteY39" fmla="*/ 1240356 h 4722863"/>
              <a:gd name="connsiteX40" fmla="*/ 10848 w 12356823"/>
              <a:gd name="connsiteY40" fmla="*/ 978949 h 4722863"/>
              <a:gd name="connsiteX41" fmla="*/ 14374 w 12356823"/>
              <a:gd name="connsiteY41" fmla="*/ 978949 h 4722863"/>
              <a:gd name="connsiteX42" fmla="*/ 17899 w 12356823"/>
              <a:gd name="connsiteY42" fmla="*/ 978949 h 4722863"/>
              <a:gd name="connsiteX43" fmla="*/ 21425 w 12356823"/>
              <a:gd name="connsiteY43" fmla="*/ 988265 h 4722863"/>
              <a:gd name="connsiteX44" fmla="*/ 42579 w 12356823"/>
              <a:gd name="connsiteY44" fmla="*/ 1016213 h 4722863"/>
              <a:gd name="connsiteX45" fmla="*/ 151878 w 12356823"/>
              <a:gd name="connsiteY45" fmla="*/ 1137321 h 4722863"/>
              <a:gd name="connsiteX46" fmla="*/ 148352 w 12356823"/>
              <a:gd name="connsiteY46" fmla="*/ 1140427 h 4722863"/>
              <a:gd name="connsiteX47" fmla="*/ 151878 w 12356823"/>
              <a:gd name="connsiteY47" fmla="*/ 1159059 h 4722863"/>
              <a:gd name="connsiteX48" fmla="*/ 151878 w 12356823"/>
              <a:gd name="connsiteY48" fmla="*/ 1165270 h 4722863"/>
              <a:gd name="connsiteX49" fmla="*/ 148352 w 12356823"/>
              <a:gd name="connsiteY49" fmla="*/ 1168375 h 4722863"/>
              <a:gd name="connsiteX50" fmla="*/ 141301 w 12356823"/>
              <a:gd name="connsiteY50" fmla="*/ 1165270 h 4722863"/>
              <a:gd name="connsiteX51" fmla="*/ 127198 w 12356823"/>
              <a:gd name="connsiteY51" fmla="*/ 1152848 h 4722863"/>
              <a:gd name="connsiteX52" fmla="*/ 70786 w 12356823"/>
              <a:gd name="connsiteY52" fmla="*/ 1087636 h 4722863"/>
              <a:gd name="connsiteX53" fmla="*/ 46106 w 12356823"/>
              <a:gd name="connsiteY53" fmla="*/ 1050371 h 4722863"/>
              <a:gd name="connsiteX54" fmla="*/ 21425 w 12356823"/>
              <a:gd name="connsiteY54" fmla="*/ 1000687 h 4722863"/>
              <a:gd name="connsiteX55" fmla="*/ 14374 w 12356823"/>
              <a:gd name="connsiteY55" fmla="*/ 982054 h 4722863"/>
              <a:gd name="connsiteX56" fmla="*/ 10848 w 12356823"/>
              <a:gd name="connsiteY56" fmla="*/ 978949 h 4722863"/>
              <a:gd name="connsiteX57" fmla="*/ 8697751 w 12356823"/>
              <a:gd name="connsiteY57" fmla="*/ 863228 h 4722863"/>
              <a:gd name="connsiteX58" fmla="*/ 8630343 w 12356823"/>
              <a:gd name="connsiteY58" fmla="*/ 865011 h 4722863"/>
              <a:gd name="connsiteX59" fmla="*/ 8594872 w 12356823"/>
              <a:gd name="connsiteY59" fmla="*/ 868108 h 4722863"/>
              <a:gd name="connsiteX60" fmla="*/ 8584229 w 12356823"/>
              <a:gd name="connsiteY60" fmla="*/ 868108 h 4722863"/>
              <a:gd name="connsiteX61" fmla="*/ 8580683 w 12356823"/>
              <a:gd name="connsiteY61" fmla="*/ 871205 h 4722863"/>
              <a:gd name="connsiteX62" fmla="*/ 8580240 w 12356823"/>
              <a:gd name="connsiteY62" fmla="*/ 890952 h 4722863"/>
              <a:gd name="connsiteX63" fmla="*/ 8579818 w 12356823"/>
              <a:gd name="connsiteY63" fmla="*/ 893321 h 4722863"/>
              <a:gd name="connsiteX64" fmla="*/ 9084385 w 12356823"/>
              <a:gd name="connsiteY64" fmla="*/ 626508 h 4722863"/>
              <a:gd name="connsiteX65" fmla="*/ 9080838 w 12356823"/>
              <a:gd name="connsiteY65" fmla="*/ 629606 h 4722863"/>
              <a:gd name="connsiteX66" fmla="*/ 9077292 w 12356823"/>
              <a:gd name="connsiteY66" fmla="*/ 629606 h 4722863"/>
              <a:gd name="connsiteX67" fmla="*/ 9063102 w 12356823"/>
              <a:gd name="connsiteY67" fmla="*/ 660580 h 4722863"/>
              <a:gd name="connsiteX68" fmla="*/ 9063102 w 12356823"/>
              <a:gd name="connsiteY68" fmla="*/ 663677 h 4722863"/>
              <a:gd name="connsiteX69" fmla="*/ 9073744 w 12356823"/>
              <a:gd name="connsiteY69" fmla="*/ 663677 h 4722863"/>
              <a:gd name="connsiteX70" fmla="*/ 9112764 w 12356823"/>
              <a:gd name="connsiteY70" fmla="*/ 666775 h 4722863"/>
              <a:gd name="connsiteX71" fmla="*/ 9220878 w 12356823"/>
              <a:gd name="connsiteY71" fmla="*/ 687437 h 4722863"/>
              <a:gd name="connsiteX72" fmla="*/ 9283231 w 12356823"/>
              <a:gd name="connsiteY72" fmla="*/ 662690 h 4722863"/>
              <a:gd name="connsiteX73" fmla="*/ 9162424 w 12356823"/>
              <a:gd name="connsiteY73" fmla="*/ 635800 h 4722863"/>
              <a:gd name="connsiteX74" fmla="*/ 9102121 w 12356823"/>
              <a:gd name="connsiteY74" fmla="*/ 626508 h 4722863"/>
              <a:gd name="connsiteX75" fmla="*/ 9084385 w 12356823"/>
              <a:gd name="connsiteY75" fmla="*/ 626508 h 4722863"/>
              <a:gd name="connsiteX76" fmla="*/ 12143987 w 12356823"/>
              <a:gd name="connsiteY76" fmla="*/ 571686 h 4722863"/>
              <a:gd name="connsiteX77" fmla="*/ 12154629 w 12356823"/>
              <a:gd name="connsiteY77" fmla="*/ 571686 h 4722863"/>
              <a:gd name="connsiteX78" fmla="*/ 12172365 w 12356823"/>
              <a:gd name="connsiteY78" fmla="*/ 574758 h 4722863"/>
              <a:gd name="connsiteX79" fmla="*/ 12197195 w 12356823"/>
              <a:gd name="connsiteY79" fmla="*/ 587049 h 4722863"/>
              <a:gd name="connsiteX80" fmla="*/ 12292972 w 12356823"/>
              <a:gd name="connsiteY80" fmla="*/ 636216 h 4722863"/>
              <a:gd name="connsiteX81" fmla="*/ 12324897 w 12356823"/>
              <a:gd name="connsiteY81" fmla="*/ 663873 h 4722863"/>
              <a:gd name="connsiteX82" fmla="*/ 12349728 w 12356823"/>
              <a:gd name="connsiteY82" fmla="*/ 694602 h 4722863"/>
              <a:gd name="connsiteX83" fmla="*/ 12356823 w 12356823"/>
              <a:gd name="connsiteY83" fmla="*/ 706894 h 4722863"/>
              <a:gd name="connsiteX84" fmla="*/ 12353276 w 12356823"/>
              <a:gd name="connsiteY84" fmla="*/ 709967 h 4722863"/>
              <a:gd name="connsiteX85" fmla="*/ 12353276 w 12356823"/>
              <a:gd name="connsiteY85" fmla="*/ 706894 h 4722863"/>
              <a:gd name="connsiteX86" fmla="*/ 12349728 w 12356823"/>
              <a:gd name="connsiteY86" fmla="*/ 709967 h 4722863"/>
              <a:gd name="connsiteX87" fmla="*/ 12346182 w 12356823"/>
              <a:gd name="connsiteY87" fmla="*/ 706894 h 4722863"/>
              <a:gd name="connsiteX88" fmla="*/ 12335540 w 12356823"/>
              <a:gd name="connsiteY88" fmla="*/ 700748 h 4722863"/>
              <a:gd name="connsiteX89" fmla="*/ 12310708 w 12356823"/>
              <a:gd name="connsiteY89" fmla="*/ 679237 h 4722863"/>
              <a:gd name="connsiteX90" fmla="*/ 12133344 w 12356823"/>
              <a:gd name="connsiteY90" fmla="*/ 587049 h 4722863"/>
              <a:gd name="connsiteX91" fmla="*/ 12140439 w 12356823"/>
              <a:gd name="connsiteY91" fmla="*/ 587049 h 4722863"/>
              <a:gd name="connsiteX92" fmla="*/ 12140439 w 12356823"/>
              <a:gd name="connsiteY92" fmla="*/ 574758 h 4722863"/>
              <a:gd name="connsiteX93" fmla="*/ 12143987 w 12356823"/>
              <a:gd name="connsiteY93" fmla="*/ 571686 h 4722863"/>
              <a:gd name="connsiteX94" fmla="*/ 11958742 w 12356823"/>
              <a:gd name="connsiteY94" fmla="*/ 461819 h 4722863"/>
              <a:gd name="connsiteX95" fmla="*/ 11965821 w 12356823"/>
              <a:gd name="connsiteY95" fmla="*/ 464897 h 4722863"/>
              <a:gd name="connsiteX96" fmla="*/ 12001222 w 12356823"/>
              <a:gd name="connsiteY96" fmla="*/ 492600 h 4722863"/>
              <a:gd name="connsiteX97" fmla="*/ 12008302 w 12356823"/>
              <a:gd name="connsiteY97" fmla="*/ 504913 h 4722863"/>
              <a:gd name="connsiteX98" fmla="*/ 12008302 w 12356823"/>
              <a:gd name="connsiteY98" fmla="*/ 511069 h 4722863"/>
              <a:gd name="connsiteX99" fmla="*/ 12004762 w 12356823"/>
              <a:gd name="connsiteY99" fmla="*/ 511069 h 4722863"/>
              <a:gd name="connsiteX100" fmla="*/ 12001222 w 12356823"/>
              <a:gd name="connsiteY100" fmla="*/ 511069 h 4722863"/>
              <a:gd name="connsiteX101" fmla="*/ 11990602 w 12356823"/>
              <a:gd name="connsiteY101" fmla="*/ 501835 h 4722863"/>
              <a:gd name="connsiteX102" fmla="*/ 11948121 w 12356823"/>
              <a:gd name="connsiteY102" fmla="*/ 477209 h 4722863"/>
              <a:gd name="connsiteX103" fmla="*/ 11948121 w 12356823"/>
              <a:gd name="connsiteY103" fmla="*/ 467974 h 4722863"/>
              <a:gd name="connsiteX104" fmla="*/ 11951662 w 12356823"/>
              <a:gd name="connsiteY104" fmla="*/ 464897 h 4722863"/>
              <a:gd name="connsiteX105" fmla="*/ 11955202 w 12356823"/>
              <a:gd name="connsiteY105" fmla="*/ 464897 h 4722863"/>
              <a:gd name="connsiteX106" fmla="*/ 11958742 w 12356823"/>
              <a:gd name="connsiteY106" fmla="*/ 461819 h 4722863"/>
              <a:gd name="connsiteX107" fmla="*/ 9291742 w 12356823"/>
              <a:gd name="connsiteY107" fmla="*/ 461819 h 4722863"/>
              <a:gd name="connsiteX108" fmla="*/ 9298821 w 12356823"/>
              <a:gd name="connsiteY108" fmla="*/ 464897 h 4722863"/>
              <a:gd name="connsiteX109" fmla="*/ 9334222 w 12356823"/>
              <a:gd name="connsiteY109" fmla="*/ 492600 h 4722863"/>
              <a:gd name="connsiteX110" fmla="*/ 9341302 w 12356823"/>
              <a:gd name="connsiteY110" fmla="*/ 504913 h 4722863"/>
              <a:gd name="connsiteX111" fmla="*/ 9341302 w 12356823"/>
              <a:gd name="connsiteY111" fmla="*/ 511069 h 4722863"/>
              <a:gd name="connsiteX112" fmla="*/ 9337762 w 12356823"/>
              <a:gd name="connsiteY112" fmla="*/ 511069 h 4722863"/>
              <a:gd name="connsiteX113" fmla="*/ 9334222 w 12356823"/>
              <a:gd name="connsiteY113" fmla="*/ 511069 h 4722863"/>
              <a:gd name="connsiteX114" fmla="*/ 9323602 w 12356823"/>
              <a:gd name="connsiteY114" fmla="*/ 501835 h 4722863"/>
              <a:gd name="connsiteX115" fmla="*/ 9281121 w 12356823"/>
              <a:gd name="connsiteY115" fmla="*/ 477209 h 4722863"/>
              <a:gd name="connsiteX116" fmla="*/ 9281121 w 12356823"/>
              <a:gd name="connsiteY116" fmla="*/ 467974 h 4722863"/>
              <a:gd name="connsiteX117" fmla="*/ 9284662 w 12356823"/>
              <a:gd name="connsiteY117" fmla="*/ 464897 h 4722863"/>
              <a:gd name="connsiteX118" fmla="*/ 9288202 w 12356823"/>
              <a:gd name="connsiteY118" fmla="*/ 464897 h 4722863"/>
              <a:gd name="connsiteX119" fmla="*/ 9291742 w 12356823"/>
              <a:gd name="connsiteY119" fmla="*/ 461819 h 4722863"/>
              <a:gd name="connsiteX120" fmla="*/ 7864147 w 12356823"/>
              <a:gd name="connsiteY120" fmla="*/ 824 h 4722863"/>
              <a:gd name="connsiteX121" fmla="*/ 7867695 w 12356823"/>
              <a:gd name="connsiteY121" fmla="*/ 25603 h 4722863"/>
              <a:gd name="connsiteX122" fmla="*/ 7867695 w 12356823"/>
              <a:gd name="connsiteY122" fmla="*/ 31799 h 4722863"/>
              <a:gd name="connsiteX123" fmla="*/ 7860601 w 12356823"/>
              <a:gd name="connsiteY123" fmla="*/ 37994 h 4722863"/>
              <a:gd name="connsiteX124" fmla="*/ 7835770 w 12356823"/>
              <a:gd name="connsiteY124" fmla="*/ 56578 h 4722863"/>
              <a:gd name="connsiteX125" fmla="*/ 7754184 w 12356823"/>
              <a:gd name="connsiteY125" fmla="*/ 127819 h 4722863"/>
              <a:gd name="connsiteX126" fmla="*/ 7516521 w 12356823"/>
              <a:gd name="connsiteY126" fmla="*/ 335348 h 4722863"/>
              <a:gd name="connsiteX127" fmla="*/ 7275311 w 12356823"/>
              <a:gd name="connsiteY127" fmla="*/ 549072 h 4722863"/>
              <a:gd name="connsiteX128" fmla="*/ 7282405 w 12356823"/>
              <a:gd name="connsiteY128" fmla="*/ 545975 h 4722863"/>
              <a:gd name="connsiteX129" fmla="*/ 7303690 w 12356823"/>
              <a:gd name="connsiteY129" fmla="*/ 533584 h 4722863"/>
              <a:gd name="connsiteX130" fmla="*/ 7761279 w 12356823"/>
              <a:gd name="connsiteY130" fmla="*/ 171183 h 4722863"/>
              <a:gd name="connsiteX131" fmla="*/ 7920902 w 12356823"/>
              <a:gd name="connsiteY131" fmla="*/ 50383 h 4722863"/>
              <a:gd name="connsiteX132" fmla="*/ 7949281 w 12356823"/>
              <a:gd name="connsiteY132" fmla="*/ 31799 h 4722863"/>
              <a:gd name="connsiteX133" fmla="*/ 7970564 w 12356823"/>
              <a:gd name="connsiteY133" fmla="*/ 22506 h 4722863"/>
              <a:gd name="connsiteX134" fmla="*/ 7991847 w 12356823"/>
              <a:gd name="connsiteY134" fmla="*/ 25603 h 4722863"/>
              <a:gd name="connsiteX135" fmla="*/ 8009583 w 12356823"/>
              <a:gd name="connsiteY135" fmla="*/ 41090 h 4722863"/>
              <a:gd name="connsiteX136" fmla="*/ 8006036 w 12356823"/>
              <a:gd name="connsiteY136" fmla="*/ 53481 h 4722863"/>
              <a:gd name="connsiteX137" fmla="*/ 7998941 w 12356823"/>
              <a:gd name="connsiteY137" fmla="*/ 62772 h 4722863"/>
              <a:gd name="connsiteX138" fmla="*/ 7963469 w 12356823"/>
              <a:gd name="connsiteY138" fmla="*/ 99942 h 4722863"/>
              <a:gd name="connsiteX139" fmla="*/ 7857053 w 12356823"/>
              <a:gd name="connsiteY139" fmla="*/ 183573 h 4722863"/>
              <a:gd name="connsiteX140" fmla="*/ 7818033 w 12356823"/>
              <a:gd name="connsiteY140" fmla="*/ 214548 h 4722863"/>
              <a:gd name="connsiteX141" fmla="*/ 7818033 w 12356823"/>
              <a:gd name="connsiteY141" fmla="*/ 217645 h 4722863"/>
              <a:gd name="connsiteX142" fmla="*/ 7825129 w 12356823"/>
              <a:gd name="connsiteY142" fmla="*/ 223841 h 4722863"/>
              <a:gd name="connsiteX143" fmla="*/ 7828675 w 12356823"/>
              <a:gd name="connsiteY143" fmla="*/ 220743 h 4722863"/>
              <a:gd name="connsiteX144" fmla="*/ 7857053 w 12356823"/>
              <a:gd name="connsiteY144" fmla="*/ 205256 h 4722863"/>
              <a:gd name="connsiteX145" fmla="*/ 7867695 w 12356823"/>
              <a:gd name="connsiteY145" fmla="*/ 202159 h 4722863"/>
              <a:gd name="connsiteX146" fmla="*/ 7871242 w 12356823"/>
              <a:gd name="connsiteY146" fmla="*/ 205256 h 4722863"/>
              <a:gd name="connsiteX147" fmla="*/ 7867695 w 12356823"/>
              <a:gd name="connsiteY147" fmla="*/ 214548 h 4722863"/>
              <a:gd name="connsiteX148" fmla="*/ 7860601 w 12356823"/>
              <a:gd name="connsiteY148" fmla="*/ 230035 h 4722863"/>
              <a:gd name="connsiteX149" fmla="*/ 7786109 w 12356823"/>
              <a:gd name="connsiteY149" fmla="*/ 307471 h 4722863"/>
              <a:gd name="connsiteX150" fmla="*/ 7768373 w 12356823"/>
              <a:gd name="connsiteY150" fmla="*/ 322959 h 4722863"/>
              <a:gd name="connsiteX151" fmla="*/ 7700976 w 12356823"/>
              <a:gd name="connsiteY151" fmla="*/ 400395 h 4722863"/>
              <a:gd name="connsiteX152" fmla="*/ 7576825 w 12356823"/>
              <a:gd name="connsiteY152" fmla="*/ 539780 h 4722863"/>
              <a:gd name="connsiteX153" fmla="*/ 7803845 w 12356823"/>
              <a:gd name="connsiteY153" fmla="*/ 338446 h 4722863"/>
              <a:gd name="connsiteX154" fmla="*/ 7864147 w 12356823"/>
              <a:gd name="connsiteY154" fmla="*/ 279594 h 4722863"/>
              <a:gd name="connsiteX155" fmla="*/ 7874789 w 12356823"/>
              <a:gd name="connsiteY155" fmla="*/ 270301 h 4722863"/>
              <a:gd name="connsiteX156" fmla="*/ 7885431 w 12356823"/>
              <a:gd name="connsiteY156" fmla="*/ 270301 h 4722863"/>
              <a:gd name="connsiteX157" fmla="*/ 7896073 w 12356823"/>
              <a:gd name="connsiteY157" fmla="*/ 279594 h 4722863"/>
              <a:gd name="connsiteX158" fmla="*/ 7910261 w 12356823"/>
              <a:gd name="connsiteY158" fmla="*/ 298179 h 4722863"/>
              <a:gd name="connsiteX159" fmla="*/ 7910261 w 12356823"/>
              <a:gd name="connsiteY159" fmla="*/ 307471 h 4722863"/>
              <a:gd name="connsiteX160" fmla="*/ 7906714 w 12356823"/>
              <a:gd name="connsiteY160" fmla="*/ 316764 h 4722863"/>
              <a:gd name="connsiteX161" fmla="*/ 7896073 w 12356823"/>
              <a:gd name="connsiteY161" fmla="*/ 335348 h 4722863"/>
              <a:gd name="connsiteX162" fmla="*/ 7860601 w 12356823"/>
              <a:gd name="connsiteY162" fmla="*/ 378712 h 4722863"/>
              <a:gd name="connsiteX163" fmla="*/ 7832223 w 12356823"/>
              <a:gd name="connsiteY163" fmla="*/ 406590 h 4722863"/>
              <a:gd name="connsiteX164" fmla="*/ 7828675 w 12356823"/>
              <a:gd name="connsiteY164" fmla="*/ 406590 h 4722863"/>
              <a:gd name="connsiteX165" fmla="*/ 7828675 w 12356823"/>
              <a:gd name="connsiteY165" fmla="*/ 409686 h 4722863"/>
              <a:gd name="connsiteX166" fmla="*/ 7832223 w 12356823"/>
              <a:gd name="connsiteY166" fmla="*/ 409686 h 4722863"/>
              <a:gd name="connsiteX167" fmla="*/ 7853506 w 12356823"/>
              <a:gd name="connsiteY167" fmla="*/ 403492 h 4722863"/>
              <a:gd name="connsiteX168" fmla="*/ 7864147 w 12356823"/>
              <a:gd name="connsiteY168" fmla="*/ 397297 h 4722863"/>
              <a:gd name="connsiteX169" fmla="*/ 7867695 w 12356823"/>
              <a:gd name="connsiteY169" fmla="*/ 397297 h 4722863"/>
              <a:gd name="connsiteX170" fmla="*/ 7871242 w 12356823"/>
              <a:gd name="connsiteY170" fmla="*/ 400395 h 4722863"/>
              <a:gd name="connsiteX171" fmla="*/ 8069885 w 12356823"/>
              <a:gd name="connsiteY171" fmla="*/ 264107 h 4722863"/>
              <a:gd name="connsiteX172" fmla="*/ 8133735 w 12356823"/>
              <a:gd name="connsiteY172" fmla="*/ 220743 h 4722863"/>
              <a:gd name="connsiteX173" fmla="*/ 8137282 w 12356823"/>
              <a:gd name="connsiteY173" fmla="*/ 214548 h 4722863"/>
              <a:gd name="connsiteX174" fmla="*/ 8158566 w 12356823"/>
              <a:gd name="connsiteY174" fmla="*/ 202159 h 4722863"/>
              <a:gd name="connsiteX175" fmla="*/ 8172754 w 12356823"/>
              <a:gd name="connsiteY175" fmla="*/ 192866 h 4722863"/>
              <a:gd name="connsiteX176" fmla="*/ 8194037 w 12356823"/>
              <a:gd name="connsiteY176" fmla="*/ 186670 h 4722863"/>
              <a:gd name="connsiteX177" fmla="*/ 8222415 w 12356823"/>
              <a:gd name="connsiteY177" fmla="*/ 183573 h 4722863"/>
              <a:gd name="connsiteX178" fmla="*/ 8307548 w 12356823"/>
              <a:gd name="connsiteY178" fmla="*/ 177379 h 4722863"/>
              <a:gd name="connsiteX179" fmla="*/ 8399775 w 12356823"/>
              <a:gd name="connsiteY179" fmla="*/ 168086 h 4722863"/>
              <a:gd name="connsiteX180" fmla="*/ 8481361 w 12356823"/>
              <a:gd name="connsiteY180" fmla="*/ 134014 h 4722863"/>
              <a:gd name="connsiteX181" fmla="*/ 8566493 w 12356823"/>
              <a:gd name="connsiteY181" fmla="*/ 106137 h 4722863"/>
              <a:gd name="connsiteX182" fmla="*/ 8662268 w 12356823"/>
              <a:gd name="connsiteY182" fmla="*/ 93748 h 4722863"/>
              <a:gd name="connsiteX183" fmla="*/ 8789968 w 12356823"/>
              <a:gd name="connsiteY183" fmla="*/ 99942 h 4722863"/>
              <a:gd name="connsiteX184" fmla="*/ 8892836 w 12356823"/>
              <a:gd name="connsiteY184" fmla="*/ 118527 h 4722863"/>
              <a:gd name="connsiteX185" fmla="*/ 8999253 w 12356823"/>
              <a:gd name="connsiteY185" fmla="*/ 171183 h 4722863"/>
              <a:gd name="connsiteX186" fmla="*/ 9034725 w 12356823"/>
              <a:gd name="connsiteY186" fmla="*/ 199061 h 4722863"/>
              <a:gd name="connsiteX187" fmla="*/ 9048913 w 12356823"/>
              <a:gd name="connsiteY187" fmla="*/ 226937 h 4722863"/>
              <a:gd name="connsiteX188" fmla="*/ 9034725 w 12356823"/>
              <a:gd name="connsiteY188" fmla="*/ 248619 h 4722863"/>
              <a:gd name="connsiteX189" fmla="*/ 8985063 w 12356823"/>
              <a:gd name="connsiteY189" fmla="*/ 261010 h 4722863"/>
              <a:gd name="connsiteX190" fmla="*/ 8949592 w 12356823"/>
              <a:gd name="connsiteY190" fmla="*/ 257912 h 4722863"/>
              <a:gd name="connsiteX191" fmla="*/ 8899931 w 12356823"/>
              <a:gd name="connsiteY191" fmla="*/ 251717 h 4722863"/>
              <a:gd name="connsiteX192" fmla="*/ 8807704 w 12356823"/>
              <a:gd name="connsiteY192" fmla="*/ 242425 h 4722863"/>
              <a:gd name="connsiteX193" fmla="*/ 8804157 w 12356823"/>
              <a:gd name="connsiteY193" fmla="*/ 242425 h 4722863"/>
              <a:gd name="connsiteX194" fmla="*/ 8800609 w 12356823"/>
              <a:gd name="connsiteY194" fmla="*/ 245523 h 4722863"/>
              <a:gd name="connsiteX195" fmla="*/ 8800609 w 12356823"/>
              <a:gd name="connsiteY195" fmla="*/ 254815 h 4722863"/>
              <a:gd name="connsiteX196" fmla="*/ 8807704 w 12356823"/>
              <a:gd name="connsiteY196" fmla="*/ 282692 h 4722863"/>
              <a:gd name="connsiteX197" fmla="*/ 8807704 w 12356823"/>
              <a:gd name="connsiteY197" fmla="*/ 295082 h 4722863"/>
              <a:gd name="connsiteX198" fmla="*/ 8804157 w 12356823"/>
              <a:gd name="connsiteY198" fmla="*/ 301277 h 4722863"/>
              <a:gd name="connsiteX199" fmla="*/ 8800609 w 12356823"/>
              <a:gd name="connsiteY199" fmla="*/ 304374 h 4722863"/>
              <a:gd name="connsiteX200" fmla="*/ 8786421 w 12356823"/>
              <a:gd name="connsiteY200" fmla="*/ 307471 h 4722863"/>
              <a:gd name="connsiteX201" fmla="*/ 8772232 w 12356823"/>
              <a:gd name="connsiteY201" fmla="*/ 304374 h 4722863"/>
              <a:gd name="connsiteX202" fmla="*/ 8726118 w 12356823"/>
              <a:gd name="connsiteY202" fmla="*/ 295082 h 4722863"/>
              <a:gd name="connsiteX203" fmla="*/ 8555852 w 12356823"/>
              <a:gd name="connsiteY203" fmla="*/ 291984 h 4722863"/>
              <a:gd name="connsiteX204" fmla="*/ 8314643 w 12356823"/>
              <a:gd name="connsiteY204" fmla="*/ 344641 h 4722863"/>
              <a:gd name="connsiteX205" fmla="*/ 8080527 w 12356823"/>
              <a:gd name="connsiteY205" fmla="*/ 440661 h 4722863"/>
              <a:gd name="connsiteX206" fmla="*/ 8059244 w 12356823"/>
              <a:gd name="connsiteY206" fmla="*/ 453051 h 4722863"/>
              <a:gd name="connsiteX207" fmla="*/ 8076981 w 12356823"/>
              <a:gd name="connsiteY207" fmla="*/ 453051 h 4722863"/>
              <a:gd name="connsiteX208" fmla="*/ 8098263 w 12356823"/>
              <a:gd name="connsiteY208" fmla="*/ 456148 h 4722863"/>
              <a:gd name="connsiteX209" fmla="*/ 8165659 w 12356823"/>
              <a:gd name="connsiteY209" fmla="*/ 428272 h 4722863"/>
              <a:gd name="connsiteX210" fmla="*/ 8172754 w 12356823"/>
              <a:gd name="connsiteY210" fmla="*/ 422077 h 4722863"/>
              <a:gd name="connsiteX211" fmla="*/ 8218867 w 12356823"/>
              <a:gd name="connsiteY211" fmla="*/ 391102 h 4722863"/>
              <a:gd name="connsiteX212" fmla="*/ 8272076 w 12356823"/>
              <a:gd name="connsiteY212" fmla="*/ 375615 h 4722863"/>
              <a:gd name="connsiteX213" fmla="*/ 8346567 w 12356823"/>
              <a:gd name="connsiteY213" fmla="*/ 369420 h 4722863"/>
              <a:gd name="connsiteX214" fmla="*/ 8392680 w 12356823"/>
              <a:gd name="connsiteY214" fmla="*/ 375615 h 4722863"/>
              <a:gd name="connsiteX215" fmla="*/ 8417511 w 12356823"/>
              <a:gd name="connsiteY215" fmla="*/ 360128 h 4722863"/>
              <a:gd name="connsiteX216" fmla="*/ 8438794 w 12356823"/>
              <a:gd name="connsiteY216" fmla="*/ 347737 h 4722863"/>
              <a:gd name="connsiteX217" fmla="*/ 8463625 w 12356823"/>
              <a:gd name="connsiteY217" fmla="*/ 341543 h 4722863"/>
              <a:gd name="connsiteX218" fmla="*/ 8531022 w 12356823"/>
              <a:gd name="connsiteY218" fmla="*/ 332250 h 4722863"/>
              <a:gd name="connsiteX219" fmla="*/ 8701287 w 12356823"/>
              <a:gd name="connsiteY219" fmla="*/ 338446 h 4722863"/>
              <a:gd name="connsiteX220" fmla="*/ 8889290 w 12356823"/>
              <a:gd name="connsiteY220" fmla="*/ 347737 h 4722863"/>
              <a:gd name="connsiteX221" fmla="*/ 8974422 w 12356823"/>
              <a:gd name="connsiteY221" fmla="*/ 347737 h 4722863"/>
              <a:gd name="connsiteX222" fmla="*/ 9056008 w 12356823"/>
              <a:gd name="connsiteY222" fmla="*/ 335348 h 4722863"/>
              <a:gd name="connsiteX223" fmla="*/ 9073744 w 12356823"/>
              <a:gd name="connsiteY223" fmla="*/ 332250 h 4722863"/>
              <a:gd name="connsiteX224" fmla="*/ 9098575 w 12356823"/>
              <a:gd name="connsiteY224" fmla="*/ 332250 h 4722863"/>
              <a:gd name="connsiteX225" fmla="*/ 9151783 w 12356823"/>
              <a:gd name="connsiteY225" fmla="*/ 344641 h 4722863"/>
              <a:gd name="connsiteX226" fmla="*/ 9251105 w 12356823"/>
              <a:gd name="connsiteY226" fmla="*/ 391102 h 4722863"/>
              <a:gd name="connsiteX227" fmla="*/ 9283029 w 12356823"/>
              <a:gd name="connsiteY227" fmla="*/ 415882 h 4722863"/>
              <a:gd name="connsiteX228" fmla="*/ 9290123 w 12356823"/>
              <a:gd name="connsiteY228" fmla="*/ 428272 h 4722863"/>
              <a:gd name="connsiteX229" fmla="*/ 9293670 w 12356823"/>
              <a:gd name="connsiteY229" fmla="*/ 434466 h 4722863"/>
              <a:gd name="connsiteX230" fmla="*/ 9290123 w 12356823"/>
              <a:gd name="connsiteY230" fmla="*/ 437564 h 4722863"/>
              <a:gd name="connsiteX231" fmla="*/ 9286577 w 12356823"/>
              <a:gd name="connsiteY231" fmla="*/ 437564 h 4722863"/>
              <a:gd name="connsiteX232" fmla="*/ 9283029 w 12356823"/>
              <a:gd name="connsiteY232" fmla="*/ 440661 h 4722863"/>
              <a:gd name="connsiteX233" fmla="*/ 9272387 w 12356823"/>
              <a:gd name="connsiteY233" fmla="*/ 437564 h 4722863"/>
              <a:gd name="connsiteX234" fmla="*/ 9219179 w 12356823"/>
              <a:gd name="connsiteY234" fmla="*/ 428272 h 4722863"/>
              <a:gd name="connsiteX235" fmla="*/ 9123405 w 12356823"/>
              <a:gd name="connsiteY235" fmla="*/ 409686 h 4722863"/>
              <a:gd name="connsiteX236" fmla="*/ 9109216 w 12356823"/>
              <a:gd name="connsiteY236" fmla="*/ 409686 h 4722863"/>
              <a:gd name="connsiteX237" fmla="*/ 9102121 w 12356823"/>
              <a:gd name="connsiteY237" fmla="*/ 409686 h 4722863"/>
              <a:gd name="connsiteX238" fmla="*/ 9091480 w 12356823"/>
              <a:gd name="connsiteY238" fmla="*/ 418979 h 4722863"/>
              <a:gd name="connsiteX239" fmla="*/ 9080838 w 12356823"/>
              <a:gd name="connsiteY239" fmla="*/ 490220 h 4722863"/>
              <a:gd name="connsiteX240" fmla="*/ 9073744 w 12356823"/>
              <a:gd name="connsiteY240" fmla="*/ 505708 h 4722863"/>
              <a:gd name="connsiteX241" fmla="*/ 9073744 w 12356823"/>
              <a:gd name="connsiteY241" fmla="*/ 508806 h 4722863"/>
              <a:gd name="connsiteX242" fmla="*/ 9073744 w 12356823"/>
              <a:gd name="connsiteY242" fmla="*/ 511902 h 4722863"/>
              <a:gd name="connsiteX243" fmla="*/ 9077292 w 12356823"/>
              <a:gd name="connsiteY243" fmla="*/ 511902 h 4722863"/>
              <a:gd name="connsiteX244" fmla="*/ 9080838 w 12356823"/>
              <a:gd name="connsiteY244" fmla="*/ 511902 h 4722863"/>
              <a:gd name="connsiteX245" fmla="*/ 9087933 w 12356823"/>
              <a:gd name="connsiteY245" fmla="*/ 511902 h 4722863"/>
              <a:gd name="connsiteX246" fmla="*/ 9105669 w 12356823"/>
              <a:gd name="connsiteY246" fmla="*/ 505708 h 4722863"/>
              <a:gd name="connsiteX247" fmla="*/ 9165971 w 12356823"/>
              <a:gd name="connsiteY247" fmla="*/ 493318 h 4722863"/>
              <a:gd name="connsiteX248" fmla="*/ 9254651 w 12356823"/>
              <a:gd name="connsiteY248" fmla="*/ 502610 h 4722863"/>
              <a:gd name="connsiteX249" fmla="*/ 9357520 w 12356823"/>
              <a:gd name="connsiteY249" fmla="*/ 552169 h 4722863"/>
              <a:gd name="connsiteX250" fmla="*/ 9414037 w 12356823"/>
              <a:gd name="connsiteY250" fmla="*/ 610774 h 4722863"/>
              <a:gd name="connsiteX251" fmla="*/ 9469207 w 12356823"/>
              <a:gd name="connsiteY251" fmla="*/ 588878 h 4722863"/>
              <a:gd name="connsiteX252" fmla="*/ 9466344 w 12356823"/>
              <a:gd name="connsiteY252" fmla="*/ 587049 h 4722863"/>
              <a:gd name="connsiteX253" fmla="*/ 9473439 w 12356823"/>
              <a:gd name="connsiteY253" fmla="*/ 587049 h 4722863"/>
              <a:gd name="connsiteX254" fmla="*/ 9473439 w 12356823"/>
              <a:gd name="connsiteY254" fmla="*/ 574758 h 4722863"/>
              <a:gd name="connsiteX255" fmla="*/ 9476987 w 12356823"/>
              <a:gd name="connsiteY255" fmla="*/ 571686 h 4722863"/>
              <a:gd name="connsiteX256" fmla="*/ 9487629 w 12356823"/>
              <a:gd name="connsiteY256" fmla="*/ 571686 h 4722863"/>
              <a:gd name="connsiteX257" fmla="*/ 9501534 w 12356823"/>
              <a:gd name="connsiteY257" fmla="*/ 574095 h 4722863"/>
              <a:gd name="connsiteX258" fmla="*/ 9828801 w 12356823"/>
              <a:gd name="connsiteY258" fmla="*/ 412784 h 4722863"/>
              <a:gd name="connsiteX259" fmla="*/ 9899745 w 12356823"/>
              <a:gd name="connsiteY259" fmla="*/ 363226 h 4722863"/>
              <a:gd name="connsiteX260" fmla="*/ 9956501 w 12356823"/>
              <a:gd name="connsiteY260" fmla="*/ 332250 h 4722863"/>
              <a:gd name="connsiteX261" fmla="*/ 9988425 w 12356823"/>
              <a:gd name="connsiteY261" fmla="*/ 322959 h 4722863"/>
              <a:gd name="connsiteX262" fmla="*/ 9991973 w 12356823"/>
              <a:gd name="connsiteY262" fmla="*/ 350835 h 4722863"/>
              <a:gd name="connsiteX263" fmla="*/ 9988425 w 12356823"/>
              <a:gd name="connsiteY263" fmla="*/ 353933 h 4722863"/>
              <a:gd name="connsiteX264" fmla="*/ 9984878 w 12356823"/>
              <a:gd name="connsiteY264" fmla="*/ 363226 h 4722863"/>
              <a:gd name="connsiteX265" fmla="*/ 9963595 w 12356823"/>
              <a:gd name="connsiteY265" fmla="*/ 381810 h 4722863"/>
              <a:gd name="connsiteX266" fmla="*/ 9885556 w 12356823"/>
              <a:gd name="connsiteY266" fmla="*/ 449953 h 4722863"/>
              <a:gd name="connsiteX267" fmla="*/ 9821707 w 12356823"/>
              <a:gd name="connsiteY267" fmla="*/ 508806 h 4722863"/>
              <a:gd name="connsiteX268" fmla="*/ 10070011 w 12356823"/>
              <a:gd name="connsiteY268" fmla="*/ 316764 h 4722863"/>
              <a:gd name="connsiteX269" fmla="*/ 10353787 w 12356823"/>
              <a:gd name="connsiteY269" fmla="*/ 93748 h 4722863"/>
              <a:gd name="connsiteX270" fmla="*/ 10431825 w 12356823"/>
              <a:gd name="connsiteY270" fmla="*/ 41090 h 4722863"/>
              <a:gd name="connsiteX271" fmla="*/ 10492129 w 12356823"/>
              <a:gd name="connsiteY271" fmla="*/ 10116 h 4722863"/>
              <a:gd name="connsiteX272" fmla="*/ 10531147 w 12356823"/>
              <a:gd name="connsiteY272" fmla="*/ 824 h 4722863"/>
              <a:gd name="connsiteX273" fmla="*/ 10534695 w 12356823"/>
              <a:gd name="connsiteY273" fmla="*/ 25603 h 4722863"/>
              <a:gd name="connsiteX274" fmla="*/ 10534695 w 12356823"/>
              <a:gd name="connsiteY274" fmla="*/ 31799 h 4722863"/>
              <a:gd name="connsiteX275" fmla="*/ 10527601 w 12356823"/>
              <a:gd name="connsiteY275" fmla="*/ 37994 h 4722863"/>
              <a:gd name="connsiteX276" fmla="*/ 10502770 w 12356823"/>
              <a:gd name="connsiteY276" fmla="*/ 56578 h 4722863"/>
              <a:gd name="connsiteX277" fmla="*/ 10421184 w 12356823"/>
              <a:gd name="connsiteY277" fmla="*/ 127819 h 4722863"/>
              <a:gd name="connsiteX278" fmla="*/ 10183521 w 12356823"/>
              <a:gd name="connsiteY278" fmla="*/ 335348 h 4722863"/>
              <a:gd name="connsiteX279" fmla="*/ 9942311 w 12356823"/>
              <a:gd name="connsiteY279" fmla="*/ 549072 h 4722863"/>
              <a:gd name="connsiteX280" fmla="*/ 9949405 w 12356823"/>
              <a:gd name="connsiteY280" fmla="*/ 545975 h 4722863"/>
              <a:gd name="connsiteX281" fmla="*/ 9970690 w 12356823"/>
              <a:gd name="connsiteY281" fmla="*/ 533584 h 4722863"/>
              <a:gd name="connsiteX282" fmla="*/ 10428279 w 12356823"/>
              <a:gd name="connsiteY282" fmla="*/ 171183 h 4722863"/>
              <a:gd name="connsiteX283" fmla="*/ 10587902 w 12356823"/>
              <a:gd name="connsiteY283" fmla="*/ 50383 h 4722863"/>
              <a:gd name="connsiteX284" fmla="*/ 10616281 w 12356823"/>
              <a:gd name="connsiteY284" fmla="*/ 31799 h 4722863"/>
              <a:gd name="connsiteX285" fmla="*/ 10637564 w 12356823"/>
              <a:gd name="connsiteY285" fmla="*/ 22506 h 4722863"/>
              <a:gd name="connsiteX286" fmla="*/ 10658847 w 12356823"/>
              <a:gd name="connsiteY286" fmla="*/ 25603 h 4722863"/>
              <a:gd name="connsiteX287" fmla="*/ 10676583 w 12356823"/>
              <a:gd name="connsiteY287" fmla="*/ 41090 h 4722863"/>
              <a:gd name="connsiteX288" fmla="*/ 10673036 w 12356823"/>
              <a:gd name="connsiteY288" fmla="*/ 53481 h 4722863"/>
              <a:gd name="connsiteX289" fmla="*/ 10665941 w 12356823"/>
              <a:gd name="connsiteY289" fmla="*/ 62772 h 4722863"/>
              <a:gd name="connsiteX290" fmla="*/ 10630469 w 12356823"/>
              <a:gd name="connsiteY290" fmla="*/ 99942 h 4722863"/>
              <a:gd name="connsiteX291" fmla="*/ 10524053 w 12356823"/>
              <a:gd name="connsiteY291" fmla="*/ 183573 h 4722863"/>
              <a:gd name="connsiteX292" fmla="*/ 10485033 w 12356823"/>
              <a:gd name="connsiteY292" fmla="*/ 214548 h 4722863"/>
              <a:gd name="connsiteX293" fmla="*/ 10485033 w 12356823"/>
              <a:gd name="connsiteY293" fmla="*/ 217645 h 4722863"/>
              <a:gd name="connsiteX294" fmla="*/ 10492129 w 12356823"/>
              <a:gd name="connsiteY294" fmla="*/ 223841 h 4722863"/>
              <a:gd name="connsiteX295" fmla="*/ 10495675 w 12356823"/>
              <a:gd name="connsiteY295" fmla="*/ 220743 h 4722863"/>
              <a:gd name="connsiteX296" fmla="*/ 10524053 w 12356823"/>
              <a:gd name="connsiteY296" fmla="*/ 205256 h 4722863"/>
              <a:gd name="connsiteX297" fmla="*/ 10534695 w 12356823"/>
              <a:gd name="connsiteY297" fmla="*/ 202159 h 4722863"/>
              <a:gd name="connsiteX298" fmla="*/ 10538242 w 12356823"/>
              <a:gd name="connsiteY298" fmla="*/ 205256 h 4722863"/>
              <a:gd name="connsiteX299" fmla="*/ 10534695 w 12356823"/>
              <a:gd name="connsiteY299" fmla="*/ 214548 h 4722863"/>
              <a:gd name="connsiteX300" fmla="*/ 10527601 w 12356823"/>
              <a:gd name="connsiteY300" fmla="*/ 230035 h 4722863"/>
              <a:gd name="connsiteX301" fmla="*/ 10453109 w 12356823"/>
              <a:gd name="connsiteY301" fmla="*/ 307471 h 4722863"/>
              <a:gd name="connsiteX302" fmla="*/ 10435373 w 12356823"/>
              <a:gd name="connsiteY302" fmla="*/ 322959 h 4722863"/>
              <a:gd name="connsiteX303" fmla="*/ 10367976 w 12356823"/>
              <a:gd name="connsiteY303" fmla="*/ 400395 h 4722863"/>
              <a:gd name="connsiteX304" fmla="*/ 10243825 w 12356823"/>
              <a:gd name="connsiteY304" fmla="*/ 539780 h 4722863"/>
              <a:gd name="connsiteX305" fmla="*/ 10470845 w 12356823"/>
              <a:gd name="connsiteY305" fmla="*/ 338446 h 4722863"/>
              <a:gd name="connsiteX306" fmla="*/ 10531147 w 12356823"/>
              <a:gd name="connsiteY306" fmla="*/ 279594 h 4722863"/>
              <a:gd name="connsiteX307" fmla="*/ 10541789 w 12356823"/>
              <a:gd name="connsiteY307" fmla="*/ 270301 h 4722863"/>
              <a:gd name="connsiteX308" fmla="*/ 10552431 w 12356823"/>
              <a:gd name="connsiteY308" fmla="*/ 270301 h 4722863"/>
              <a:gd name="connsiteX309" fmla="*/ 10563073 w 12356823"/>
              <a:gd name="connsiteY309" fmla="*/ 279594 h 4722863"/>
              <a:gd name="connsiteX310" fmla="*/ 10577261 w 12356823"/>
              <a:gd name="connsiteY310" fmla="*/ 298179 h 4722863"/>
              <a:gd name="connsiteX311" fmla="*/ 10577261 w 12356823"/>
              <a:gd name="connsiteY311" fmla="*/ 307471 h 4722863"/>
              <a:gd name="connsiteX312" fmla="*/ 10573714 w 12356823"/>
              <a:gd name="connsiteY312" fmla="*/ 316764 h 4722863"/>
              <a:gd name="connsiteX313" fmla="*/ 10563073 w 12356823"/>
              <a:gd name="connsiteY313" fmla="*/ 335348 h 4722863"/>
              <a:gd name="connsiteX314" fmla="*/ 10527601 w 12356823"/>
              <a:gd name="connsiteY314" fmla="*/ 378712 h 4722863"/>
              <a:gd name="connsiteX315" fmla="*/ 10499223 w 12356823"/>
              <a:gd name="connsiteY315" fmla="*/ 406590 h 4722863"/>
              <a:gd name="connsiteX316" fmla="*/ 10495675 w 12356823"/>
              <a:gd name="connsiteY316" fmla="*/ 406590 h 4722863"/>
              <a:gd name="connsiteX317" fmla="*/ 10495675 w 12356823"/>
              <a:gd name="connsiteY317" fmla="*/ 409686 h 4722863"/>
              <a:gd name="connsiteX318" fmla="*/ 10499223 w 12356823"/>
              <a:gd name="connsiteY318" fmla="*/ 409686 h 4722863"/>
              <a:gd name="connsiteX319" fmla="*/ 10520506 w 12356823"/>
              <a:gd name="connsiteY319" fmla="*/ 403492 h 4722863"/>
              <a:gd name="connsiteX320" fmla="*/ 10531147 w 12356823"/>
              <a:gd name="connsiteY320" fmla="*/ 397297 h 4722863"/>
              <a:gd name="connsiteX321" fmla="*/ 10534695 w 12356823"/>
              <a:gd name="connsiteY321" fmla="*/ 397297 h 4722863"/>
              <a:gd name="connsiteX322" fmla="*/ 10538242 w 12356823"/>
              <a:gd name="connsiteY322" fmla="*/ 400395 h 4722863"/>
              <a:gd name="connsiteX323" fmla="*/ 10736885 w 12356823"/>
              <a:gd name="connsiteY323" fmla="*/ 264107 h 4722863"/>
              <a:gd name="connsiteX324" fmla="*/ 10800735 w 12356823"/>
              <a:gd name="connsiteY324" fmla="*/ 220743 h 4722863"/>
              <a:gd name="connsiteX325" fmla="*/ 10804282 w 12356823"/>
              <a:gd name="connsiteY325" fmla="*/ 214548 h 4722863"/>
              <a:gd name="connsiteX326" fmla="*/ 10825566 w 12356823"/>
              <a:gd name="connsiteY326" fmla="*/ 202159 h 4722863"/>
              <a:gd name="connsiteX327" fmla="*/ 10839754 w 12356823"/>
              <a:gd name="connsiteY327" fmla="*/ 192866 h 4722863"/>
              <a:gd name="connsiteX328" fmla="*/ 10861037 w 12356823"/>
              <a:gd name="connsiteY328" fmla="*/ 186670 h 4722863"/>
              <a:gd name="connsiteX329" fmla="*/ 10889415 w 12356823"/>
              <a:gd name="connsiteY329" fmla="*/ 183573 h 4722863"/>
              <a:gd name="connsiteX330" fmla="*/ 10974548 w 12356823"/>
              <a:gd name="connsiteY330" fmla="*/ 177379 h 4722863"/>
              <a:gd name="connsiteX331" fmla="*/ 11066775 w 12356823"/>
              <a:gd name="connsiteY331" fmla="*/ 168086 h 4722863"/>
              <a:gd name="connsiteX332" fmla="*/ 11148361 w 12356823"/>
              <a:gd name="connsiteY332" fmla="*/ 134014 h 4722863"/>
              <a:gd name="connsiteX333" fmla="*/ 11233493 w 12356823"/>
              <a:gd name="connsiteY333" fmla="*/ 106137 h 4722863"/>
              <a:gd name="connsiteX334" fmla="*/ 11329268 w 12356823"/>
              <a:gd name="connsiteY334" fmla="*/ 93748 h 4722863"/>
              <a:gd name="connsiteX335" fmla="*/ 11456968 w 12356823"/>
              <a:gd name="connsiteY335" fmla="*/ 99942 h 4722863"/>
              <a:gd name="connsiteX336" fmla="*/ 11559836 w 12356823"/>
              <a:gd name="connsiteY336" fmla="*/ 118527 h 4722863"/>
              <a:gd name="connsiteX337" fmla="*/ 11666253 w 12356823"/>
              <a:gd name="connsiteY337" fmla="*/ 171183 h 4722863"/>
              <a:gd name="connsiteX338" fmla="*/ 11701725 w 12356823"/>
              <a:gd name="connsiteY338" fmla="*/ 199061 h 4722863"/>
              <a:gd name="connsiteX339" fmla="*/ 11715913 w 12356823"/>
              <a:gd name="connsiteY339" fmla="*/ 226937 h 4722863"/>
              <a:gd name="connsiteX340" fmla="*/ 11701725 w 12356823"/>
              <a:gd name="connsiteY340" fmla="*/ 248619 h 4722863"/>
              <a:gd name="connsiteX341" fmla="*/ 11652063 w 12356823"/>
              <a:gd name="connsiteY341" fmla="*/ 261010 h 4722863"/>
              <a:gd name="connsiteX342" fmla="*/ 11616592 w 12356823"/>
              <a:gd name="connsiteY342" fmla="*/ 257912 h 4722863"/>
              <a:gd name="connsiteX343" fmla="*/ 11566931 w 12356823"/>
              <a:gd name="connsiteY343" fmla="*/ 251717 h 4722863"/>
              <a:gd name="connsiteX344" fmla="*/ 11474704 w 12356823"/>
              <a:gd name="connsiteY344" fmla="*/ 242425 h 4722863"/>
              <a:gd name="connsiteX345" fmla="*/ 11471157 w 12356823"/>
              <a:gd name="connsiteY345" fmla="*/ 242425 h 4722863"/>
              <a:gd name="connsiteX346" fmla="*/ 11467609 w 12356823"/>
              <a:gd name="connsiteY346" fmla="*/ 245523 h 4722863"/>
              <a:gd name="connsiteX347" fmla="*/ 11467609 w 12356823"/>
              <a:gd name="connsiteY347" fmla="*/ 254815 h 4722863"/>
              <a:gd name="connsiteX348" fmla="*/ 11474704 w 12356823"/>
              <a:gd name="connsiteY348" fmla="*/ 282692 h 4722863"/>
              <a:gd name="connsiteX349" fmla="*/ 11474704 w 12356823"/>
              <a:gd name="connsiteY349" fmla="*/ 295082 h 4722863"/>
              <a:gd name="connsiteX350" fmla="*/ 11471157 w 12356823"/>
              <a:gd name="connsiteY350" fmla="*/ 301277 h 4722863"/>
              <a:gd name="connsiteX351" fmla="*/ 11467609 w 12356823"/>
              <a:gd name="connsiteY351" fmla="*/ 304374 h 4722863"/>
              <a:gd name="connsiteX352" fmla="*/ 11453421 w 12356823"/>
              <a:gd name="connsiteY352" fmla="*/ 307471 h 4722863"/>
              <a:gd name="connsiteX353" fmla="*/ 11439232 w 12356823"/>
              <a:gd name="connsiteY353" fmla="*/ 304374 h 4722863"/>
              <a:gd name="connsiteX354" fmla="*/ 11393118 w 12356823"/>
              <a:gd name="connsiteY354" fmla="*/ 295082 h 4722863"/>
              <a:gd name="connsiteX355" fmla="*/ 11222852 w 12356823"/>
              <a:gd name="connsiteY355" fmla="*/ 291984 h 4722863"/>
              <a:gd name="connsiteX356" fmla="*/ 10981643 w 12356823"/>
              <a:gd name="connsiteY356" fmla="*/ 344641 h 4722863"/>
              <a:gd name="connsiteX357" fmla="*/ 10747527 w 12356823"/>
              <a:gd name="connsiteY357" fmla="*/ 440661 h 4722863"/>
              <a:gd name="connsiteX358" fmla="*/ 10726244 w 12356823"/>
              <a:gd name="connsiteY358" fmla="*/ 453051 h 4722863"/>
              <a:gd name="connsiteX359" fmla="*/ 10743981 w 12356823"/>
              <a:gd name="connsiteY359" fmla="*/ 453051 h 4722863"/>
              <a:gd name="connsiteX360" fmla="*/ 10765263 w 12356823"/>
              <a:gd name="connsiteY360" fmla="*/ 456148 h 4722863"/>
              <a:gd name="connsiteX361" fmla="*/ 10832659 w 12356823"/>
              <a:gd name="connsiteY361" fmla="*/ 428272 h 4722863"/>
              <a:gd name="connsiteX362" fmla="*/ 10839754 w 12356823"/>
              <a:gd name="connsiteY362" fmla="*/ 422077 h 4722863"/>
              <a:gd name="connsiteX363" fmla="*/ 10885867 w 12356823"/>
              <a:gd name="connsiteY363" fmla="*/ 391102 h 4722863"/>
              <a:gd name="connsiteX364" fmla="*/ 10939076 w 12356823"/>
              <a:gd name="connsiteY364" fmla="*/ 375615 h 4722863"/>
              <a:gd name="connsiteX365" fmla="*/ 11013567 w 12356823"/>
              <a:gd name="connsiteY365" fmla="*/ 369420 h 4722863"/>
              <a:gd name="connsiteX366" fmla="*/ 11059680 w 12356823"/>
              <a:gd name="connsiteY366" fmla="*/ 375615 h 4722863"/>
              <a:gd name="connsiteX367" fmla="*/ 11084511 w 12356823"/>
              <a:gd name="connsiteY367" fmla="*/ 360128 h 4722863"/>
              <a:gd name="connsiteX368" fmla="*/ 11105794 w 12356823"/>
              <a:gd name="connsiteY368" fmla="*/ 347737 h 4722863"/>
              <a:gd name="connsiteX369" fmla="*/ 11130625 w 12356823"/>
              <a:gd name="connsiteY369" fmla="*/ 341543 h 4722863"/>
              <a:gd name="connsiteX370" fmla="*/ 11198022 w 12356823"/>
              <a:gd name="connsiteY370" fmla="*/ 332250 h 4722863"/>
              <a:gd name="connsiteX371" fmla="*/ 11368287 w 12356823"/>
              <a:gd name="connsiteY371" fmla="*/ 338446 h 4722863"/>
              <a:gd name="connsiteX372" fmla="*/ 11556290 w 12356823"/>
              <a:gd name="connsiteY372" fmla="*/ 347737 h 4722863"/>
              <a:gd name="connsiteX373" fmla="*/ 11641422 w 12356823"/>
              <a:gd name="connsiteY373" fmla="*/ 347737 h 4722863"/>
              <a:gd name="connsiteX374" fmla="*/ 11723008 w 12356823"/>
              <a:gd name="connsiteY374" fmla="*/ 335348 h 4722863"/>
              <a:gd name="connsiteX375" fmla="*/ 11740744 w 12356823"/>
              <a:gd name="connsiteY375" fmla="*/ 332250 h 4722863"/>
              <a:gd name="connsiteX376" fmla="*/ 11765575 w 12356823"/>
              <a:gd name="connsiteY376" fmla="*/ 332250 h 4722863"/>
              <a:gd name="connsiteX377" fmla="*/ 11818783 w 12356823"/>
              <a:gd name="connsiteY377" fmla="*/ 344641 h 4722863"/>
              <a:gd name="connsiteX378" fmla="*/ 11918105 w 12356823"/>
              <a:gd name="connsiteY378" fmla="*/ 391102 h 4722863"/>
              <a:gd name="connsiteX379" fmla="*/ 11950029 w 12356823"/>
              <a:gd name="connsiteY379" fmla="*/ 415882 h 4722863"/>
              <a:gd name="connsiteX380" fmla="*/ 11957123 w 12356823"/>
              <a:gd name="connsiteY380" fmla="*/ 428272 h 4722863"/>
              <a:gd name="connsiteX381" fmla="*/ 11960670 w 12356823"/>
              <a:gd name="connsiteY381" fmla="*/ 434466 h 4722863"/>
              <a:gd name="connsiteX382" fmla="*/ 11957123 w 12356823"/>
              <a:gd name="connsiteY382" fmla="*/ 437564 h 4722863"/>
              <a:gd name="connsiteX383" fmla="*/ 11953577 w 12356823"/>
              <a:gd name="connsiteY383" fmla="*/ 437564 h 4722863"/>
              <a:gd name="connsiteX384" fmla="*/ 11950029 w 12356823"/>
              <a:gd name="connsiteY384" fmla="*/ 440661 h 4722863"/>
              <a:gd name="connsiteX385" fmla="*/ 11939387 w 12356823"/>
              <a:gd name="connsiteY385" fmla="*/ 437564 h 4722863"/>
              <a:gd name="connsiteX386" fmla="*/ 11886179 w 12356823"/>
              <a:gd name="connsiteY386" fmla="*/ 428272 h 4722863"/>
              <a:gd name="connsiteX387" fmla="*/ 11790405 w 12356823"/>
              <a:gd name="connsiteY387" fmla="*/ 409686 h 4722863"/>
              <a:gd name="connsiteX388" fmla="*/ 11776216 w 12356823"/>
              <a:gd name="connsiteY388" fmla="*/ 409686 h 4722863"/>
              <a:gd name="connsiteX389" fmla="*/ 11769121 w 12356823"/>
              <a:gd name="connsiteY389" fmla="*/ 409686 h 4722863"/>
              <a:gd name="connsiteX390" fmla="*/ 11758480 w 12356823"/>
              <a:gd name="connsiteY390" fmla="*/ 418979 h 4722863"/>
              <a:gd name="connsiteX391" fmla="*/ 11747838 w 12356823"/>
              <a:gd name="connsiteY391" fmla="*/ 490220 h 4722863"/>
              <a:gd name="connsiteX392" fmla="*/ 11740744 w 12356823"/>
              <a:gd name="connsiteY392" fmla="*/ 505708 h 4722863"/>
              <a:gd name="connsiteX393" fmla="*/ 11740744 w 12356823"/>
              <a:gd name="connsiteY393" fmla="*/ 508806 h 4722863"/>
              <a:gd name="connsiteX394" fmla="*/ 11740744 w 12356823"/>
              <a:gd name="connsiteY394" fmla="*/ 511902 h 4722863"/>
              <a:gd name="connsiteX395" fmla="*/ 11744292 w 12356823"/>
              <a:gd name="connsiteY395" fmla="*/ 511902 h 4722863"/>
              <a:gd name="connsiteX396" fmla="*/ 11747838 w 12356823"/>
              <a:gd name="connsiteY396" fmla="*/ 511902 h 4722863"/>
              <a:gd name="connsiteX397" fmla="*/ 11754933 w 12356823"/>
              <a:gd name="connsiteY397" fmla="*/ 511902 h 4722863"/>
              <a:gd name="connsiteX398" fmla="*/ 11772669 w 12356823"/>
              <a:gd name="connsiteY398" fmla="*/ 505708 h 4722863"/>
              <a:gd name="connsiteX399" fmla="*/ 11832971 w 12356823"/>
              <a:gd name="connsiteY399" fmla="*/ 493318 h 4722863"/>
              <a:gd name="connsiteX400" fmla="*/ 11921651 w 12356823"/>
              <a:gd name="connsiteY400" fmla="*/ 502610 h 4722863"/>
              <a:gd name="connsiteX401" fmla="*/ 12024520 w 12356823"/>
              <a:gd name="connsiteY401" fmla="*/ 552169 h 4722863"/>
              <a:gd name="connsiteX402" fmla="*/ 12081276 w 12356823"/>
              <a:gd name="connsiteY402" fmla="*/ 611022 h 4722863"/>
              <a:gd name="connsiteX403" fmla="*/ 12141578 w 12356823"/>
              <a:gd name="connsiteY403" fmla="*/ 663677 h 4722863"/>
              <a:gd name="connsiteX404" fmla="*/ 12184145 w 12356823"/>
              <a:gd name="connsiteY404" fmla="*/ 682262 h 4722863"/>
              <a:gd name="connsiteX405" fmla="*/ 12247994 w 12356823"/>
              <a:gd name="connsiteY405" fmla="*/ 697749 h 4722863"/>
              <a:gd name="connsiteX406" fmla="*/ 12255089 w 12356823"/>
              <a:gd name="connsiteY406" fmla="*/ 697749 h 4722863"/>
              <a:gd name="connsiteX407" fmla="*/ 12262184 w 12356823"/>
              <a:gd name="connsiteY407" fmla="*/ 703944 h 4722863"/>
              <a:gd name="connsiteX408" fmla="*/ 12272825 w 12356823"/>
              <a:gd name="connsiteY408" fmla="*/ 713236 h 4722863"/>
              <a:gd name="connsiteX409" fmla="*/ 12297654 w 12356823"/>
              <a:gd name="connsiteY409" fmla="*/ 738016 h 4722863"/>
              <a:gd name="connsiteX410" fmla="*/ 12304749 w 12356823"/>
              <a:gd name="connsiteY410" fmla="*/ 762796 h 4722863"/>
              <a:gd name="connsiteX411" fmla="*/ 12304749 w 12356823"/>
              <a:gd name="connsiteY411" fmla="*/ 768991 h 4722863"/>
              <a:gd name="connsiteX412" fmla="*/ 12297654 w 12356823"/>
              <a:gd name="connsiteY412" fmla="*/ 772087 h 4722863"/>
              <a:gd name="connsiteX413" fmla="*/ 12294108 w 12356823"/>
              <a:gd name="connsiteY413" fmla="*/ 772087 h 4722863"/>
              <a:gd name="connsiteX414" fmla="*/ 12279920 w 12356823"/>
              <a:gd name="connsiteY414" fmla="*/ 768991 h 4722863"/>
              <a:gd name="connsiteX415" fmla="*/ 12262184 w 12356823"/>
              <a:gd name="connsiteY415" fmla="*/ 762796 h 4722863"/>
              <a:gd name="connsiteX416" fmla="*/ 12194786 w 12356823"/>
              <a:gd name="connsiteY416" fmla="*/ 738016 h 4722863"/>
              <a:gd name="connsiteX417" fmla="*/ 12010332 w 12356823"/>
              <a:gd name="connsiteY417" fmla="*/ 676067 h 4722863"/>
              <a:gd name="connsiteX418" fmla="*/ 11829424 w 12356823"/>
              <a:gd name="connsiteY418" fmla="*/ 635800 h 4722863"/>
              <a:gd name="connsiteX419" fmla="*/ 11769121 w 12356823"/>
              <a:gd name="connsiteY419" fmla="*/ 626508 h 4722863"/>
              <a:gd name="connsiteX420" fmla="*/ 11751385 w 12356823"/>
              <a:gd name="connsiteY420" fmla="*/ 626508 h 4722863"/>
              <a:gd name="connsiteX421" fmla="*/ 11747838 w 12356823"/>
              <a:gd name="connsiteY421" fmla="*/ 629606 h 4722863"/>
              <a:gd name="connsiteX422" fmla="*/ 11744292 w 12356823"/>
              <a:gd name="connsiteY422" fmla="*/ 629606 h 4722863"/>
              <a:gd name="connsiteX423" fmla="*/ 11730102 w 12356823"/>
              <a:gd name="connsiteY423" fmla="*/ 660580 h 4722863"/>
              <a:gd name="connsiteX424" fmla="*/ 11730102 w 12356823"/>
              <a:gd name="connsiteY424" fmla="*/ 663677 h 4722863"/>
              <a:gd name="connsiteX425" fmla="*/ 11740744 w 12356823"/>
              <a:gd name="connsiteY425" fmla="*/ 663677 h 4722863"/>
              <a:gd name="connsiteX426" fmla="*/ 11779764 w 12356823"/>
              <a:gd name="connsiteY426" fmla="*/ 666775 h 4722863"/>
              <a:gd name="connsiteX427" fmla="*/ 12006784 w 12356823"/>
              <a:gd name="connsiteY427" fmla="*/ 734918 h 4722863"/>
              <a:gd name="connsiteX428" fmla="*/ 12091917 w 12356823"/>
              <a:gd name="connsiteY428" fmla="*/ 793769 h 4722863"/>
              <a:gd name="connsiteX429" fmla="*/ 12113200 w 12356823"/>
              <a:gd name="connsiteY429" fmla="*/ 824743 h 4722863"/>
              <a:gd name="connsiteX430" fmla="*/ 12106105 w 12356823"/>
              <a:gd name="connsiteY430" fmla="*/ 852621 h 4722863"/>
              <a:gd name="connsiteX431" fmla="*/ 12095464 w 12356823"/>
              <a:gd name="connsiteY431" fmla="*/ 858816 h 4722863"/>
              <a:gd name="connsiteX432" fmla="*/ 12074181 w 12356823"/>
              <a:gd name="connsiteY432" fmla="*/ 865011 h 4722863"/>
              <a:gd name="connsiteX433" fmla="*/ 12013878 w 12356823"/>
              <a:gd name="connsiteY433" fmla="*/ 865011 h 4722863"/>
              <a:gd name="connsiteX434" fmla="*/ 11836519 w 12356823"/>
              <a:gd name="connsiteY434" fmla="*/ 834036 h 4722863"/>
              <a:gd name="connsiteX435" fmla="*/ 11641422 w 12356823"/>
              <a:gd name="connsiteY435" fmla="*/ 812355 h 4722863"/>
              <a:gd name="connsiteX436" fmla="*/ 11574026 w 12356823"/>
              <a:gd name="connsiteY436" fmla="*/ 812355 h 4722863"/>
              <a:gd name="connsiteX437" fmla="*/ 11591762 w 12356823"/>
              <a:gd name="connsiteY437" fmla="*/ 827841 h 4722863"/>
              <a:gd name="connsiteX438" fmla="*/ 11602403 w 12356823"/>
              <a:gd name="connsiteY438" fmla="*/ 849523 h 4722863"/>
              <a:gd name="connsiteX439" fmla="*/ 11605950 w 12356823"/>
              <a:gd name="connsiteY439" fmla="*/ 858816 h 4722863"/>
              <a:gd name="connsiteX440" fmla="*/ 11602403 w 12356823"/>
              <a:gd name="connsiteY440" fmla="*/ 861914 h 4722863"/>
              <a:gd name="connsiteX441" fmla="*/ 11598856 w 12356823"/>
              <a:gd name="connsiteY441" fmla="*/ 861914 h 4722863"/>
              <a:gd name="connsiteX442" fmla="*/ 11591762 w 12356823"/>
              <a:gd name="connsiteY442" fmla="*/ 865011 h 4722863"/>
              <a:gd name="connsiteX443" fmla="*/ 11577572 w 12356823"/>
              <a:gd name="connsiteY443" fmla="*/ 865011 h 4722863"/>
              <a:gd name="connsiteX444" fmla="*/ 11531459 w 12356823"/>
              <a:gd name="connsiteY444" fmla="*/ 865011 h 4722863"/>
              <a:gd name="connsiteX445" fmla="*/ 11414401 w 12356823"/>
              <a:gd name="connsiteY445" fmla="*/ 861914 h 4722863"/>
              <a:gd name="connsiteX446" fmla="*/ 11297343 w 12356823"/>
              <a:gd name="connsiteY446" fmla="*/ 865011 h 4722863"/>
              <a:gd name="connsiteX447" fmla="*/ 11261872 w 12356823"/>
              <a:gd name="connsiteY447" fmla="*/ 868108 h 4722863"/>
              <a:gd name="connsiteX448" fmla="*/ 11251229 w 12356823"/>
              <a:gd name="connsiteY448" fmla="*/ 868108 h 4722863"/>
              <a:gd name="connsiteX449" fmla="*/ 11247683 w 12356823"/>
              <a:gd name="connsiteY449" fmla="*/ 871205 h 4722863"/>
              <a:gd name="connsiteX450" fmla="*/ 11244136 w 12356823"/>
              <a:gd name="connsiteY450" fmla="*/ 908376 h 4722863"/>
              <a:gd name="connsiteX451" fmla="*/ 11251229 w 12356823"/>
              <a:gd name="connsiteY451" fmla="*/ 908376 h 4722863"/>
              <a:gd name="connsiteX452" fmla="*/ 11272513 w 12356823"/>
              <a:gd name="connsiteY452" fmla="*/ 902180 h 4722863"/>
              <a:gd name="connsiteX453" fmla="*/ 11425042 w 12356823"/>
              <a:gd name="connsiteY453" fmla="*/ 920765 h 4722863"/>
              <a:gd name="connsiteX454" fmla="*/ 11488893 w 12356823"/>
              <a:gd name="connsiteY454" fmla="*/ 957934 h 4722863"/>
              <a:gd name="connsiteX455" fmla="*/ 11503081 w 12356823"/>
              <a:gd name="connsiteY455" fmla="*/ 982713 h 4722863"/>
              <a:gd name="connsiteX456" fmla="*/ 11506628 w 12356823"/>
              <a:gd name="connsiteY456" fmla="*/ 1010590 h 4722863"/>
              <a:gd name="connsiteX457" fmla="*/ 11503081 w 12356823"/>
              <a:gd name="connsiteY457" fmla="*/ 1022981 h 4722863"/>
              <a:gd name="connsiteX458" fmla="*/ 11492440 w 12356823"/>
              <a:gd name="connsiteY458" fmla="*/ 1035370 h 4722863"/>
              <a:gd name="connsiteX459" fmla="*/ 11453421 w 12356823"/>
              <a:gd name="connsiteY459" fmla="*/ 1050857 h 4722863"/>
              <a:gd name="connsiteX460" fmla="*/ 11336363 w 12356823"/>
              <a:gd name="connsiteY460" fmla="*/ 1063246 h 4722863"/>
              <a:gd name="connsiteX461" fmla="*/ 11208664 w 12356823"/>
              <a:gd name="connsiteY461" fmla="*/ 1072539 h 4722863"/>
              <a:gd name="connsiteX462" fmla="*/ 11119983 w 12356823"/>
              <a:gd name="connsiteY462" fmla="*/ 1094221 h 4722863"/>
              <a:gd name="connsiteX463" fmla="*/ 10775905 w 12356823"/>
              <a:gd name="connsiteY463" fmla="*/ 1221217 h 4722863"/>
              <a:gd name="connsiteX464" fmla="*/ 10715601 w 12356823"/>
              <a:gd name="connsiteY464" fmla="*/ 1252191 h 4722863"/>
              <a:gd name="connsiteX465" fmla="*/ 10541789 w 12356823"/>
              <a:gd name="connsiteY465" fmla="*/ 1385382 h 4722863"/>
              <a:gd name="connsiteX466" fmla="*/ 10545337 w 12356823"/>
              <a:gd name="connsiteY466" fmla="*/ 1391577 h 4722863"/>
              <a:gd name="connsiteX467" fmla="*/ 10548883 w 12356823"/>
              <a:gd name="connsiteY467" fmla="*/ 1413259 h 4722863"/>
              <a:gd name="connsiteX468" fmla="*/ 10534695 w 12356823"/>
              <a:gd name="connsiteY468" fmla="*/ 1444233 h 4722863"/>
              <a:gd name="connsiteX469" fmla="*/ 10516959 w 12356823"/>
              <a:gd name="connsiteY469" fmla="*/ 1456623 h 4722863"/>
              <a:gd name="connsiteX470" fmla="*/ 10495675 w 12356823"/>
              <a:gd name="connsiteY470" fmla="*/ 1465915 h 4722863"/>
              <a:gd name="connsiteX471" fmla="*/ 10449561 w 12356823"/>
              <a:gd name="connsiteY471" fmla="*/ 1478306 h 4722863"/>
              <a:gd name="connsiteX472" fmla="*/ 10446015 w 12356823"/>
              <a:gd name="connsiteY472" fmla="*/ 1481403 h 4722863"/>
              <a:gd name="connsiteX473" fmla="*/ 10446015 w 12356823"/>
              <a:gd name="connsiteY473" fmla="*/ 1484500 h 4722863"/>
              <a:gd name="connsiteX474" fmla="*/ 10449561 w 12356823"/>
              <a:gd name="connsiteY474" fmla="*/ 1493791 h 4722863"/>
              <a:gd name="connsiteX475" fmla="*/ 10467297 w 12356823"/>
              <a:gd name="connsiteY475" fmla="*/ 1512377 h 4722863"/>
              <a:gd name="connsiteX476" fmla="*/ 10470845 w 12356823"/>
              <a:gd name="connsiteY476" fmla="*/ 1524766 h 4722863"/>
              <a:gd name="connsiteX477" fmla="*/ 10467297 w 12356823"/>
              <a:gd name="connsiteY477" fmla="*/ 1530962 h 4722863"/>
              <a:gd name="connsiteX478" fmla="*/ 10467297 w 12356823"/>
              <a:gd name="connsiteY478" fmla="*/ 1534059 h 4722863"/>
              <a:gd name="connsiteX479" fmla="*/ 10460203 w 12356823"/>
              <a:gd name="connsiteY479" fmla="*/ 1537156 h 4722863"/>
              <a:gd name="connsiteX480" fmla="*/ 10453109 w 12356823"/>
              <a:gd name="connsiteY480" fmla="*/ 1540253 h 4722863"/>
              <a:gd name="connsiteX481" fmla="*/ 10431825 w 12356823"/>
              <a:gd name="connsiteY481" fmla="*/ 1543351 h 4722863"/>
              <a:gd name="connsiteX482" fmla="*/ 10343147 w 12356823"/>
              <a:gd name="connsiteY482" fmla="*/ 1574326 h 4722863"/>
              <a:gd name="connsiteX483" fmla="*/ 10233182 w 12356823"/>
              <a:gd name="connsiteY483" fmla="*/ 1645567 h 4722863"/>
              <a:gd name="connsiteX484" fmla="*/ 10126767 w 12356823"/>
              <a:gd name="connsiteY484" fmla="*/ 1732295 h 4722863"/>
              <a:gd name="connsiteX485" fmla="*/ 10087747 w 12356823"/>
              <a:gd name="connsiteY485" fmla="*/ 1775660 h 4722863"/>
              <a:gd name="connsiteX486" fmla="*/ 10066463 w 12356823"/>
              <a:gd name="connsiteY486" fmla="*/ 1812829 h 4722863"/>
              <a:gd name="connsiteX487" fmla="*/ 10062917 w 12356823"/>
              <a:gd name="connsiteY487" fmla="*/ 1815927 h 4722863"/>
              <a:gd name="connsiteX488" fmla="*/ 10059369 w 12356823"/>
              <a:gd name="connsiteY488" fmla="*/ 1819024 h 4722863"/>
              <a:gd name="connsiteX489" fmla="*/ 10045181 w 12356823"/>
              <a:gd name="connsiteY489" fmla="*/ 1834511 h 4722863"/>
              <a:gd name="connsiteX490" fmla="*/ 10016803 w 12356823"/>
              <a:gd name="connsiteY490" fmla="*/ 1856193 h 4722863"/>
              <a:gd name="connsiteX491" fmla="*/ 10006161 w 12356823"/>
              <a:gd name="connsiteY491" fmla="*/ 1865486 h 4722863"/>
              <a:gd name="connsiteX492" fmla="*/ 10002614 w 12356823"/>
              <a:gd name="connsiteY492" fmla="*/ 1871680 h 4722863"/>
              <a:gd name="connsiteX493" fmla="*/ 10002614 w 12356823"/>
              <a:gd name="connsiteY493" fmla="*/ 1874778 h 4722863"/>
              <a:gd name="connsiteX494" fmla="*/ 10006161 w 12356823"/>
              <a:gd name="connsiteY494" fmla="*/ 1874778 h 4722863"/>
              <a:gd name="connsiteX495" fmla="*/ 10030991 w 12356823"/>
              <a:gd name="connsiteY495" fmla="*/ 1871680 h 4722863"/>
              <a:gd name="connsiteX496" fmla="*/ 10176427 w 12356823"/>
              <a:gd name="connsiteY496" fmla="*/ 1784952 h 4722863"/>
              <a:gd name="connsiteX497" fmla="*/ 10247371 w 12356823"/>
              <a:gd name="connsiteY497" fmla="*/ 1719906 h 4722863"/>
              <a:gd name="connsiteX498" fmla="*/ 10293485 w 12356823"/>
              <a:gd name="connsiteY498" fmla="*/ 1648664 h 4722863"/>
              <a:gd name="connsiteX499" fmla="*/ 10300579 w 12356823"/>
              <a:gd name="connsiteY499" fmla="*/ 1639371 h 4722863"/>
              <a:gd name="connsiteX500" fmla="*/ 10311221 w 12356823"/>
              <a:gd name="connsiteY500" fmla="*/ 1626982 h 4722863"/>
              <a:gd name="connsiteX501" fmla="*/ 10343147 w 12356823"/>
              <a:gd name="connsiteY501" fmla="*/ 1614593 h 4722863"/>
              <a:gd name="connsiteX502" fmla="*/ 10431825 w 12356823"/>
              <a:gd name="connsiteY502" fmla="*/ 1586715 h 4722863"/>
              <a:gd name="connsiteX503" fmla="*/ 10524053 w 12356823"/>
              <a:gd name="connsiteY503" fmla="*/ 1549546 h 4722863"/>
              <a:gd name="connsiteX504" fmla="*/ 10563073 w 12356823"/>
              <a:gd name="connsiteY504" fmla="*/ 1521669 h 4722863"/>
              <a:gd name="connsiteX505" fmla="*/ 10591450 w 12356823"/>
              <a:gd name="connsiteY505" fmla="*/ 1481403 h 4722863"/>
              <a:gd name="connsiteX506" fmla="*/ 10598545 w 12356823"/>
              <a:gd name="connsiteY506" fmla="*/ 1472110 h 4722863"/>
              <a:gd name="connsiteX507" fmla="*/ 10609187 w 12356823"/>
              <a:gd name="connsiteY507" fmla="*/ 1465915 h 4722863"/>
              <a:gd name="connsiteX508" fmla="*/ 10637564 w 12356823"/>
              <a:gd name="connsiteY508" fmla="*/ 1456623 h 4722863"/>
              <a:gd name="connsiteX509" fmla="*/ 10697867 w 12356823"/>
              <a:gd name="connsiteY509" fmla="*/ 1456623 h 4722863"/>
              <a:gd name="connsiteX510" fmla="*/ 10719149 w 12356823"/>
              <a:gd name="connsiteY510" fmla="*/ 1462817 h 4722863"/>
              <a:gd name="connsiteX511" fmla="*/ 10729791 w 12356823"/>
              <a:gd name="connsiteY511" fmla="*/ 1465915 h 4722863"/>
              <a:gd name="connsiteX512" fmla="*/ 10733337 w 12356823"/>
              <a:gd name="connsiteY512" fmla="*/ 1472110 h 4722863"/>
              <a:gd name="connsiteX513" fmla="*/ 10733337 w 12356823"/>
              <a:gd name="connsiteY513" fmla="*/ 1475208 h 4722863"/>
              <a:gd name="connsiteX514" fmla="*/ 10733337 w 12356823"/>
              <a:gd name="connsiteY514" fmla="*/ 1478306 h 4722863"/>
              <a:gd name="connsiteX515" fmla="*/ 10729791 w 12356823"/>
              <a:gd name="connsiteY515" fmla="*/ 1481403 h 4722863"/>
              <a:gd name="connsiteX516" fmla="*/ 10726244 w 12356823"/>
              <a:gd name="connsiteY516" fmla="*/ 1484500 h 4722863"/>
              <a:gd name="connsiteX517" fmla="*/ 10697867 w 12356823"/>
              <a:gd name="connsiteY517" fmla="*/ 1496889 h 4722863"/>
              <a:gd name="connsiteX518" fmla="*/ 10651752 w 12356823"/>
              <a:gd name="connsiteY518" fmla="*/ 1521669 h 4722863"/>
              <a:gd name="connsiteX519" fmla="*/ 10644659 w 12356823"/>
              <a:gd name="connsiteY519" fmla="*/ 1524766 h 4722863"/>
              <a:gd name="connsiteX520" fmla="*/ 10644659 w 12356823"/>
              <a:gd name="connsiteY520" fmla="*/ 1530962 h 4722863"/>
              <a:gd name="connsiteX521" fmla="*/ 10644659 w 12356823"/>
              <a:gd name="connsiteY521" fmla="*/ 1540253 h 4722863"/>
              <a:gd name="connsiteX522" fmla="*/ 10665941 w 12356823"/>
              <a:gd name="connsiteY522" fmla="*/ 1605300 h 4722863"/>
              <a:gd name="connsiteX523" fmla="*/ 10665941 w 12356823"/>
              <a:gd name="connsiteY523" fmla="*/ 1620787 h 4722863"/>
              <a:gd name="connsiteX524" fmla="*/ 10669488 w 12356823"/>
              <a:gd name="connsiteY524" fmla="*/ 1626982 h 4722863"/>
              <a:gd name="connsiteX525" fmla="*/ 10673036 w 12356823"/>
              <a:gd name="connsiteY525" fmla="*/ 1626982 h 4722863"/>
              <a:gd name="connsiteX526" fmla="*/ 10673036 w 12356823"/>
              <a:gd name="connsiteY526" fmla="*/ 1620787 h 4722863"/>
              <a:gd name="connsiteX527" fmla="*/ 10683677 w 12356823"/>
              <a:gd name="connsiteY527" fmla="*/ 1611495 h 4722863"/>
              <a:gd name="connsiteX528" fmla="*/ 10704960 w 12356823"/>
              <a:gd name="connsiteY528" fmla="*/ 1577424 h 4722863"/>
              <a:gd name="connsiteX529" fmla="*/ 10747527 w 12356823"/>
              <a:gd name="connsiteY529" fmla="*/ 1546449 h 4722863"/>
              <a:gd name="connsiteX530" fmla="*/ 10811377 w 12356823"/>
              <a:gd name="connsiteY530" fmla="*/ 1540253 h 4722863"/>
              <a:gd name="connsiteX531" fmla="*/ 10864585 w 12356823"/>
              <a:gd name="connsiteY531" fmla="*/ 1561936 h 4722863"/>
              <a:gd name="connsiteX532" fmla="*/ 10914245 w 12356823"/>
              <a:gd name="connsiteY532" fmla="*/ 1571228 h 4722863"/>
              <a:gd name="connsiteX533" fmla="*/ 10939076 w 12356823"/>
              <a:gd name="connsiteY533" fmla="*/ 1561936 h 4722863"/>
              <a:gd name="connsiteX534" fmla="*/ 10971001 w 12356823"/>
              <a:gd name="connsiteY534" fmla="*/ 1537156 h 4722863"/>
              <a:gd name="connsiteX535" fmla="*/ 10974548 w 12356823"/>
              <a:gd name="connsiteY535" fmla="*/ 1534059 h 4722863"/>
              <a:gd name="connsiteX536" fmla="*/ 10978095 w 12356823"/>
              <a:gd name="connsiteY536" fmla="*/ 1530962 h 4722863"/>
              <a:gd name="connsiteX537" fmla="*/ 10992284 w 12356823"/>
              <a:gd name="connsiteY537" fmla="*/ 1530962 h 4722863"/>
              <a:gd name="connsiteX538" fmla="*/ 11013567 w 12356823"/>
              <a:gd name="connsiteY538" fmla="*/ 1537156 h 4722863"/>
              <a:gd name="connsiteX539" fmla="*/ 11031303 w 12356823"/>
              <a:gd name="connsiteY539" fmla="*/ 1552644 h 4722863"/>
              <a:gd name="connsiteX540" fmla="*/ 11034851 w 12356823"/>
              <a:gd name="connsiteY540" fmla="*/ 1558838 h 4722863"/>
              <a:gd name="connsiteX541" fmla="*/ 11031303 w 12356823"/>
              <a:gd name="connsiteY541" fmla="*/ 1561936 h 4722863"/>
              <a:gd name="connsiteX542" fmla="*/ 11031303 w 12356823"/>
              <a:gd name="connsiteY542" fmla="*/ 1565033 h 4722863"/>
              <a:gd name="connsiteX543" fmla="*/ 11024209 w 12356823"/>
              <a:gd name="connsiteY543" fmla="*/ 1571228 h 4722863"/>
              <a:gd name="connsiteX544" fmla="*/ 11010020 w 12356823"/>
              <a:gd name="connsiteY544" fmla="*/ 1577424 h 4722863"/>
              <a:gd name="connsiteX545" fmla="*/ 10971001 w 12356823"/>
              <a:gd name="connsiteY545" fmla="*/ 1599106 h 4722863"/>
              <a:gd name="connsiteX546" fmla="*/ 10924887 w 12356823"/>
              <a:gd name="connsiteY546" fmla="*/ 1620787 h 4722863"/>
              <a:gd name="connsiteX547" fmla="*/ 10985189 w 12356823"/>
              <a:gd name="connsiteY547" fmla="*/ 1611495 h 4722863"/>
              <a:gd name="connsiteX548" fmla="*/ 11006472 w 12356823"/>
              <a:gd name="connsiteY548" fmla="*/ 1614593 h 4722863"/>
              <a:gd name="connsiteX549" fmla="*/ 11006472 w 12356823"/>
              <a:gd name="connsiteY549" fmla="*/ 1617690 h 4722863"/>
              <a:gd name="connsiteX550" fmla="*/ 11002925 w 12356823"/>
              <a:gd name="connsiteY550" fmla="*/ 1620787 h 4722863"/>
              <a:gd name="connsiteX551" fmla="*/ 10995831 w 12356823"/>
              <a:gd name="connsiteY551" fmla="*/ 1623884 h 4722863"/>
              <a:gd name="connsiteX552" fmla="*/ 10988737 w 12356823"/>
              <a:gd name="connsiteY552" fmla="*/ 1626982 h 4722863"/>
              <a:gd name="connsiteX553" fmla="*/ 10978095 w 12356823"/>
              <a:gd name="connsiteY553" fmla="*/ 1633177 h 4722863"/>
              <a:gd name="connsiteX554" fmla="*/ 10946171 w 12356823"/>
              <a:gd name="connsiteY554" fmla="*/ 1642469 h 4722863"/>
              <a:gd name="connsiteX555" fmla="*/ 10850395 w 12356823"/>
              <a:gd name="connsiteY555" fmla="*/ 1673444 h 4722863"/>
              <a:gd name="connsiteX556" fmla="*/ 10719149 w 12356823"/>
              <a:gd name="connsiteY556" fmla="*/ 1723003 h 4722863"/>
              <a:gd name="connsiteX557" fmla="*/ 10715601 w 12356823"/>
              <a:gd name="connsiteY557" fmla="*/ 1726100 h 4722863"/>
              <a:gd name="connsiteX558" fmla="*/ 10719149 w 12356823"/>
              <a:gd name="connsiteY558" fmla="*/ 1763271 h 4722863"/>
              <a:gd name="connsiteX559" fmla="*/ 10726244 w 12356823"/>
              <a:gd name="connsiteY559" fmla="*/ 1760173 h 4722863"/>
              <a:gd name="connsiteX560" fmla="*/ 10743981 w 12356823"/>
              <a:gd name="connsiteY560" fmla="*/ 1744685 h 4722863"/>
              <a:gd name="connsiteX561" fmla="*/ 10889415 w 12356823"/>
              <a:gd name="connsiteY561" fmla="*/ 1698224 h 4722863"/>
              <a:gd name="connsiteX562" fmla="*/ 10953265 w 12356823"/>
              <a:gd name="connsiteY562" fmla="*/ 1704418 h 4722863"/>
              <a:gd name="connsiteX563" fmla="*/ 10978095 w 12356823"/>
              <a:gd name="connsiteY563" fmla="*/ 1716809 h 4722863"/>
              <a:gd name="connsiteX564" fmla="*/ 10988737 w 12356823"/>
              <a:gd name="connsiteY564" fmla="*/ 1741588 h 4722863"/>
              <a:gd name="connsiteX565" fmla="*/ 10988737 w 12356823"/>
              <a:gd name="connsiteY565" fmla="*/ 1757074 h 4722863"/>
              <a:gd name="connsiteX566" fmla="*/ 10978095 w 12356823"/>
              <a:gd name="connsiteY566" fmla="*/ 1772562 h 4722863"/>
              <a:gd name="connsiteX567" fmla="*/ 10946171 w 12356823"/>
              <a:gd name="connsiteY567" fmla="*/ 1803536 h 4722863"/>
              <a:gd name="connsiteX568" fmla="*/ 10836207 w 12356823"/>
              <a:gd name="connsiteY568" fmla="*/ 1862389 h 4722863"/>
              <a:gd name="connsiteX569" fmla="*/ 10715601 w 12356823"/>
              <a:gd name="connsiteY569" fmla="*/ 1924336 h 4722863"/>
              <a:gd name="connsiteX570" fmla="*/ 10634015 w 12356823"/>
              <a:gd name="connsiteY570" fmla="*/ 1973896 h 4722863"/>
              <a:gd name="connsiteX571" fmla="*/ 10321862 w 12356823"/>
              <a:gd name="connsiteY571" fmla="*/ 2187618 h 4722863"/>
              <a:gd name="connsiteX572" fmla="*/ 10247371 w 12356823"/>
              <a:gd name="connsiteY572" fmla="*/ 2246469 h 4722863"/>
              <a:gd name="connsiteX573" fmla="*/ 10187068 w 12356823"/>
              <a:gd name="connsiteY573" fmla="*/ 2286736 h 4722863"/>
              <a:gd name="connsiteX574" fmla="*/ 9977783 w 12356823"/>
              <a:gd name="connsiteY574" fmla="*/ 2407536 h 4722863"/>
              <a:gd name="connsiteX575" fmla="*/ 9374759 w 12356823"/>
              <a:gd name="connsiteY575" fmla="*/ 2707988 h 4722863"/>
              <a:gd name="connsiteX576" fmla="*/ 8874603 w 12356823"/>
              <a:gd name="connsiteY576" fmla="*/ 2943393 h 4722863"/>
              <a:gd name="connsiteX577" fmla="*/ 8661772 w 12356823"/>
              <a:gd name="connsiteY577" fmla="*/ 3491641 h 4722863"/>
              <a:gd name="connsiteX578" fmla="*/ 8743358 w 12356823"/>
              <a:gd name="connsiteY578" fmla="*/ 3795191 h 4722863"/>
              <a:gd name="connsiteX579" fmla="*/ 8693696 w 12356823"/>
              <a:gd name="connsiteY579" fmla="*/ 4132812 h 4722863"/>
              <a:gd name="connsiteX580" fmla="*/ 8605015 w 12356823"/>
              <a:gd name="connsiteY580" fmla="*/ 3816873 h 4722863"/>
              <a:gd name="connsiteX581" fmla="*/ 8597922 w 12356823"/>
              <a:gd name="connsiteY581" fmla="*/ 3497836 h 4722863"/>
              <a:gd name="connsiteX582" fmla="*/ 8594374 w 12356823"/>
              <a:gd name="connsiteY582" fmla="*/ 3333672 h 4722863"/>
              <a:gd name="connsiteX583" fmla="*/ 8420561 w 12356823"/>
              <a:gd name="connsiteY583" fmla="*/ 3126143 h 4722863"/>
              <a:gd name="connsiteX584" fmla="*/ 8260936 w 12356823"/>
              <a:gd name="connsiteY584" fmla="*/ 3200482 h 4722863"/>
              <a:gd name="connsiteX585" fmla="*/ 8268031 w 12356823"/>
              <a:gd name="connsiteY585" fmla="*/ 3305794 h 4722863"/>
              <a:gd name="connsiteX586" fmla="*/ 8225464 w 12356823"/>
              <a:gd name="connsiteY586" fmla="*/ 3358452 h 4722863"/>
              <a:gd name="connsiteX587" fmla="*/ 8236107 w 12356823"/>
              <a:gd name="connsiteY587" fmla="*/ 3271723 h 4722863"/>
              <a:gd name="connsiteX588" fmla="*/ 8133237 w 12356823"/>
              <a:gd name="connsiteY588" fmla="*/ 3194287 h 4722863"/>
              <a:gd name="connsiteX589" fmla="*/ 7867197 w 12356823"/>
              <a:gd name="connsiteY589" fmla="*/ 3414205 h 4722863"/>
              <a:gd name="connsiteX590" fmla="*/ 7923952 w 12356823"/>
              <a:gd name="connsiteY590" fmla="*/ 3689877 h 4722863"/>
              <a:gd name="connsiteX591" fmla="*/ 7860103 w 12356823"/>
              <a:gd name="connsiteY591" fmla="*/ 3711560 h 4722863"/>
              <a:gd name="connsiteX592" fmla="*/ 7856556 w 12356823"/>
              <a:gd name="connsiteY592" fmla="*/ 3423498 h 4722863"/>
              <a:gd name="connsiteX593" fmla="*/ 7668554 w 12356823"/>
              <a:gd name="connsiteY593" fmla="*/ 3302698 h 4722863"/>
              <a:gd name="connsiteX594" fmla="*/ 7530213 w 12356823"/>
              <a:gd name="connsiteY594" fmla="*/ 3600052 h 4722863"/>
              <a:gd name="connsiteX595" fmla="*/ 7590516 w 12356823"/>
              <a:gd name="connsiteY595" fmla="*/ 4420874 h 4722863"/>
              <a:gd name="connsiteX596" fmla="*/ 7491194 w 12356823"/>
              <a:gd name="connsiteY596" fmla="*/ 4718230 h 4722863"/>
              <a:gd name="connsiteX597" fmla="*/ 7448631 w 12356823"/>
              <a:gd name="connsiteY597" fmla="*/ 4380608 h 4722863"/>
              <a:gd name="connsiteX598" fmla="*/ 7416703 w 12356823"/>
              <a:gd name="connsiteY598" fmla="*/ 3336769 h 4722863"/>
              <a:gd name="connsiteX599" fmla="*/ 7221608 w 12356823"/>
              <a:gd name="connsiteY599" fmla="*/ 3457570 h 4722863"/>
              <a:gd name="connsiteX600" fmla="*/ 7242890 w 12356823"/>
              <a:gd name="connsiteY600" fmla="*/ 3807581 h 4722863"/>
              <a:gd name="connsiteX601" fmla="*/ 7207419 w 12356823"/>
              <a:gd name="connsiteY601" fmla="*/ 3863335 h 4722863"/>
              <a:gd name="connsiteX602" fmla="*/ 7171949 w 12356823"/>
              <a:gd name="connsiteY602" fmla="*/ 3689877 h 4722863"/>
              <a:gd name="connsiteX603" fmla="*/ 7207419 w 12356823"/>
              <a:gd name="connsiteY603" fmla="*/ 3479252 h 4722863"/>
              <a:gd name="connsiteX604" fmla="*/ 7072628 w 12356823"/>
              <a:gd name="connsiteY604" fmla="*/ 3311990 h 4722863"/>
              <a:gd name="connsiteX605" fmla="*/ 6842060 w 12356823"/>
              <a:gd name="connsiteY605" fmla="*/ 3318185 h 4722863"/>
              <a:gd name="connsiteX606" fmla="*/ 6735642 w 12356823"/>
              <a:gd name="connsiteY606" fmla="*/ 3392523 h 4722863"/>
              <a:gd name="connsiteX607" fmla="*/ 6590207 w 12356823"/>
              <a:gd name="connsiteY607" fmla="*/ 3420401 h 4722863"/>
              <a:gd name="connsiteX608" fmla="*/ 6547642 w 12356823"/>
              <a:gd name="connsiteY608" fmla="*/ 3253138 h 4722863"/>
              <a:gd name="connsiteX609" fmla="*/ 6175185 w 12356823"/>
              <a:gd name="connsiteY609" fmla="*/ 3315087 h 4722863"/>
              <a:gd name="connsiteX610" fmla="*/ 6235487 w 12356823"/>
              <a:gd name="connsiteY610" fmla="*/ 4018207 h 4722863"/>
              <a:gd name="connsiteX611" fmla="*/ 6200016 w 12356823"/>
              <a:gd name="connsiteY611" fmla="*/ 4374414 h 4722863"/>
              <a:gd name="connsiteX612" fmla="*/ 6153902 w 12356823"/>
              <a:gd name="connsiteY612" fmla="*/ 4021304 h 4722863"/>
              <a:gd name="connsiteX613" fmla="*/ 6125525 w 12356823"/>
              <a:gd name="connsiteY613" fmla="*/ 3377036 h 4722863"/>
              <a:gd name="connsiteX614" fmla="*/ 5957656 w 12356823"/>
              <a:gd name="connsiteY614" fmla="*/ 3210276 h 4722863"/>
              <a:gd name="connsiteX615" fmla="*/ 5940846 w 12356823"/>
              <a:gd name="connsiteY615" fmla="*/ 3207361 h 4722863"/>
              <a:gd name="connsiteX616" fmla="*/ 5943892 w 12356823"/>
              <a:gd name="connsiteY616" fmla="*/ 3224189 h 4722863"/>
              <a:gd name="connsiteX617" fmla="*/ 5994772 w 12356823"/>
              <a:gd name="connsiteY617" fmla="*/ 3491641 h 4722863"/>
              <a:gd name="connsiteX618" fmla="*/ 6076358 w 12356823"/>
              <a:gd name="connsiteY618" fmla="*/ 3795191 h 4722863"/>
              <a:gd name="connsiteX619" fmla="*/ 6026696 w 12356823"/>
              <a:gd name="connsiteY619" fmla="*/ 4132812 h 4722863"/>
              <a:gd name="connsiteX620" fmla="*/ 5938015 w 12356823"/>
              <a:gd name="connsiteY620" fmla="*/ 3816873 h 4722863"/>
              <a:gd name="connsiteX621" fmla="*/ 5930922 w 12356823"/>
              <a:gd name="connsiteY621" fmla="*/ 3497836 h 4722863"/>
              <a:gd name="connsiteX622" fmla="*/ 5927375 w 12356823"/>
              <a:gd name="connsiteY622" fmla="*/ 3333672 h 4722863"/>
              <a:gd name="connsiteX623" fmla="*/ 5926307 w 12356823"/>
              <a:gd name="connsiteY623" fmla="*/ 3252467 h 4722863"/>
              <a:gd name="connsiteX624" fmla="*/ 5926192 w 12356823"/>
              <a:gd name="connsiteY624" fmla="*/ 3204820 h 4722863"/>
              <a:gd name="connsiteX625" fmla="*/ 5907039 w 12356823"/>
              <a:gd name="connsiteY625" fmla="*/ 3201498 h 4722863"/>
              <a:gd name="connsiteX626" fmla="*/ 5813370 w 12356823"/>
              <a:gd name="connsiteY626" fmla="*/ 3203579 h 4722863"/>
              <a:gd name="connsiteX627" fmla="*/ 5710675 w 12356823"/>
              <a:gd name="connsiteY627" fmla="*/ 3141945 h 4722863"/>
              <a:gd name="connsiteX628" fmla="*/ 5708138 w 12356823"/>
              <a:gd name="connsiteY628" fmla="*/ 3139837 h 4722863"/>
              <a:gd name="connsiteX629" fmla="*/ 5697693 w 12356823"/>
              <a:gd name="connsiteY629" fmla="*/ 3142986 h 4722863"/>
              <a:gd name="connsiteX630" fmla="*/ 5593936 w 12356823"/>
              <a:gd name="connsiteY630" fmla="*/ 3200482 h 4722863"/>
              <a:gd name="connsiteX631" fmla="*/ 5601031 w 12356823"/>
              <a:gd name="connsiteY631" fmla="*/ 3305794 h 4722863"/>
              <a:gd name="connsiteX632" fmla="*/ 5558464 w 12356823"/>
              <a:gd name="connsiteY632" fmla="*/ 3358452 h 4722863"/>
              <a:gd name="connsiteX633" fmla="*/ 5569108 w 12356823"/>
              <a:gd name="connsiteY633" fmla="*/ 3271723 h 4722863"/>
              <a:gd name="connsiteX634" fmla="*/ 5466237 w 12356823"/>
              <a:gd name="connsiteY634" fmla="*/ 3194287 h 4722863"/>
              <a:gd name="connsiteX635" fmla="*/ 5200198 w 12356823"/>
              <a:gd name="connsiteY635" fmla="*/ 3414205 h 4722863"/>
              <a:gd name="connsiteX636" fmla="*/ 5256952 w 12356823"/>
              <a:gd name="connsiteY636" fmla="*/ 3689877 h 4722863"/>
              <a:gd name="connsiteX637" fmla="*/ 5193104 w 12356823"/>
              <a:gd name="connsiteY637" fmla="*/ 3711560 h 4722863"/>
              <a:gd name="connsiteX638" fmla="*/ 5189556 w 12356823"/>
              <a:gd name="connsiteY638" fmla="*/ 3423498 h 4722863"/>
              <a:gd name="connsiteX639" fmla="*/ 5001554 w 12356823"/>
              <a:gd name="connsiteY639" fmla="*/ 3302698 h 4722863"/>
              <a:gd name="connsiteX640" fmla="*/ 4863213 w 12356823"/>
              <a:gd name="connsiteY640" fmla="*/ 3600052 h 4722863"/>
              <a:gd name="connsiteX641" fmla="*/ 4923516 w 12356823"/>
              <a:gd name="connsiteY641" fmla="*/ 4420874 h 4722863"/>
              <a:gd name="connsiteX642" fmla="*/ 4824194 w 12356823"/>
              <a:gd name="connsiteY642" fmla="*/ 4718230 h 4722863"/>
              <a:gd name="connsiteX643" fmla="*/ 4781631 w 12356823"/>
              <a:gd name="connsiteY643" fmla="*/ 4380608 h 4722863"/>
              <a:gd name="connsiteX644" fmla="*/ 4749704 w 12356823"/>
              <a:gd name="connsiteY644" fmla="*/ 3336769 h 4722863"/>
              <a:gd name="connsiteX645" fmla="*/ 4554608 w 12356823"/>
              <a:gd name="connsiteY645" fmla="*/ 3457570 h 4722863"/>
              <a:gd name="connsiteX646" fmla="*/ 4575890 w 12356823"/>
              <a:gd name="connsiteY646" fmla="*/ 3807581 h 4722863"/>
              <a:gd name="connsiteX647" fmla="*/ 4540419 w 12356823"/>
              <a:gd name="connsiteY647" fmla="*/ 3863335 h 4722863"/>
              <a:gd name="connsiteX648" fmla="*/ 4504949 w 12356823"/>
              <a:gd name="connsiteY648" fmla="*/ 3689877 h 4722863"/>
              <a:gd name="connsiteX649" fmla="*/ 4540419 w 12356823"/>
              <a:gd name="connsiteY649" fmla="*/ 3479252 h 4722863"/>
              <a:gd name="connsiteX650" fmla="*/ 4405628 w 12356823"/>
              <a:gd name="connsiteY650" fmla="*/ 3311990 h 4722863"/>
              <a:gd name="connsiteX651" fmla="*/ 4175060 w 12356823"/>
              <a:gd name="connsiteY651" fmla="*/ 3318185 h 4722863"/>
              <a:gd name="connsiteX652" fmla="*/ 4068642 w 12356823"/>
              <a:gd name="connsiteY652" fmla="*/ 3392523 h 4722863"/>
              <a:gd name="connsiteX653" fmla="*/ 3923207 w 12356823"/>
              <a:gd name="connsiteY653" fmla="*/ 3420401 h 4722863"/>
              <a:gd name="connsiteX654" fmla="*/ 3880642 w 12356823"/>
              <a:gd name="connsiteY654" fmla="*/ 3253138 h 4722863"/>
              <a:gd name="connsiteX655" fmla="*/ 3508185 w 12356823"/>
              <a:gd name="connsiteY655" fmla="*/ 3315087 h 4722863"/>
              <a:gd name="connsiteX656" fmla="*/ 3568487 w 12356823"/>
              <a:gd name="connsiteY656" fmla="*/ 4018207 h 4722863"/>
              <a:gd name="connsiteX657" fmla="*/ 3533016 w 12356823"/>
              <a:gd name="connsiteY657" fmla="*/ 4374414 h 4722863"/>
              <a:gd name="connsiteX658" fmla="*/ 3486901 w 12356823"/>
              <a:gd name="connsiteY658" fmla="*/ 4021304 h 4722863"/>
              <a:gd name="connsiteX659" fmla="*/ 3458525 w 12356823"/>
              <a:gd name="connsiteY659" fmla="*/ 3377036 h 4722863"/>
              <a:gd name="connsiteX660" fmla="*/ 3146370 w 12356823"/>
              <a:gd name="connsiteY660" fmla="*/ 3203579 h 4722863"/>
              <a:gd name="connsiteX661" fmla="*/ 2688781 w 12356823"/>
              <a:gd name="connsiteY661" fmla="*/ 3098266 h 4722863"/>
              <a:gd name="connsiteX662" fmla="*/ 2649762 w 12356823"/>
              <a:gd name="connsiteY662" fmla="*/ 3119949 h 4722863"/>
              <a:gd name="connsiteX663" fmla="*/ 2646214 w 12356823"/>
              <a:gd name="connsiteY663" fmla="*/ 3123045 h 4722863"/>
              <a:gd name="connsiteX664" fmla="*/ 2639120 w 12356823"/>
              <a:gd name="connsiteY664" fmla="*/ 3129240 h 4722863"/>
              <a:gd name="connsiteX665" fmla="*/ 2628478 w 12356823"/>
              <a:gd name="connsiteY665" fmla="*/ 3132338 h 4722863"/>
              <a:gd name="connsiteX666" fmla="*/ 2610741 w 12356823"/>
              <a:gd name="connsiteY666" fmla="*/ 3129240 h 4722863"/>
              <a:gd name="connsiteX667" fmla="*/ 2593008 w 12356823"/>
              <a:gd name="connsiteY667" fmla="*/ 3123045 h 4722863"/>
              <a:gd name="connsiteX668" fmla="*/ 2536251 w 12356823"/>
              <a:gd name="connsiteY668" fmla="*/ 3088974 h 4722863"/>
              <a:gd name="connsiteX669" fmla="*/ 2468854 w 12356823"/>
              <a:gd name="connsiteY669" fmla="*/ 3070389 h 4722863"/>
              <a:gd name="connsiteX670" fmla="*/ 2419195 w 12356823"/>
              <a:gd name="connsiteY670" fmla="*/ 3079682 h 4722863"/>
              <a:gd name="connsiteX671" fmla="*/ 2369533 w 12356823"/>
              <a:gd name="connsiteY671" fmla="*/ 3092071 h 4722863"/>
              <a:gd name="connsiteX672" fmla="*/ 2309230 w 12356823"/>
              <a:gd name="connsiteY672" fmla="*/ 3085876 h 4722863"/>
              <a:gd name="connsiteX673" fmla="*/ 2224098 w 12356823"/>
              <a:gd name="connsiteY673" fmla="*/ 3058000 h 4722863"/>
              <a:gd name="connsiteX674" fmla="*/ 2153153 w 12356823"/>
              <a:gd name="connsiteY674" fmla="*/ 3020829 h 4722863"/>
              <a:gd name="connsiteX675" fmla="*/ 2075114 w 12356823"/>
              <a:gd name="connsiteY675" fmla="*/ 2955784 h 4722863"/>
              <a:gd name="connsiteX676" fmla="*/ 2046737 w 12356823"/>
              <a:gd name="connsiteY676" fmla="*/ 2918615 h 4722863"/>
              <a:gd name="connsiteX677" fmla="*/ 2025454 w 12356823"/>
              <a:gd name="connsiteY677" fmla="*/ 2884542 h 4722863"/>
              <a:gd name="connsiteX678" fmla="*/ 2029001 w 12356823"/>
              <a:gd name="connsiteY678" fmla="*/ 2856666 h 4722863"/>
              <a:gd name="connsiteX679" fmla="*/ 2053832 w 12356823"/>
              <a:gd name="connsiteY679" fmla="*/ 2838080 h 4722863"/>
              <a:gd name="connsiteX680" fmla="*/ 2078662 w 12356823"/>
              <a:gd name="connsiteY680" fmla="*/ 2841178 h 4722863"/>
              <a:gd name="connsiteX681" fmla="*/ 2110587 w 12356823"/>
              <a:gd name="connsiteY681" fmla="*/ 2853568 h 4722863"/>
              <a:gd name="connsiteX682" fmla="*/ 2174436 w 12356823"/>
              <a:gd name="connsiteY682" fmla="*/ 2878347 h 4722863"/>
              <a:gd name="connsiteX683" fmla="*/ 2177984 w 12356823"/>
              <a:gd name="connsiteY683" fmla="*/ 2878347 h 4722863"/>
              <a:gd name="connsiteX684" fmla="*/ 2177984 w 12356823"/>
              <a:gd name="connsiteY684" fmla="*/ 2875250 h 4722863"/>
              <a:gd name="connsiteX685" fmla="*/ 2177984 w 12356823"/>
              <a:gd name="connsiteY685" fmla="*/ 2862860 h 4722863"/>
              <a:gd name="connsiteX686" fmla="*/ 2160248 w 12356823"/>
              <a:gd name="connsiteY686" fmla="*/ 2828788 h 4722863"/>
              <a:gd name="connsiteX687" fmla="*/ 2160248 w 12356823"/>
              <a:gd name="connsiteY687" fmla="*/ 2813302 h 4722863"/>
              <a:gd name="connsiteX688" fmla="*/ 2160248 w 12356823"/>
              <a:gd name="connsiteY688" fmla="*/ 2807106 h 4722863"/>
              <a:gd name="connsiteX689" fmla="*/ 2163795 w 12356823"/>
              <a:gd name="connsiteY689" fmla="*/ 2804009 h 4722863"/>
              <a:gd name="connsiteX690" fmla="*/ 2167343 w 12356823"/>
              <a:gd name="connsiteY690" fmla="*/ 2804009 h 4722863"/>
              <a:gd name="connsiteX691" fmla="*/ 2181531 w 12356823"/>
              <a:gd name="connsiteY691" fmla="*/ 2807106 h 4722863"/>
              <a:gd name="connsiteX692" fmla="*/ 2213456 w 12356823"/>
              <a:gd name="connsiteY692" fmla="*/ 2825691 h 4722863"/>
              <a:gd name="connsiteX693" fmla="*/ 2334061 w 12356823"/>
              <a:gd name="connsiteY693" fmla="*/ 2872153 h 4722863"/>
              <a:gd name="connsiteX694" fmla="*/ 2497231 w 12356823"/>
              <a:gd name="connsiteY694" fmla="*/ 2896933 h 4722863"/>
              <a:gd name="connsiteX695" fmla="*/ 2653309 w 12356823"/>
              <a:gd name="connsiteY695" fmla="*/ 2896933 h 4722863"/>
              <a:gd name="connsiteX696" fmla="*/ 2713612 w 12356823"/>
              <a:gd name="connsiteY696" fmla="*/ 2887640 h 4722863"/>
              <a:gd name="connsiteX697" fmla="*/ 2749083 w 12356823"/>
              <a:gd name="connsiteY697" fmla="*/ 2865958 h 4722863"/>
              <a:gd name="connsiteX698" fmla="*/ 2756178 w 12356823"/>
              <a:gd name="connsiteY698" fmla="*/ 2865958 h 4722863"/>
              <a:gd name="connsiteX699" fmla="*/ 2763272 w 12356823"/>
              <a:gd name="connsiteY699" fmla="*/ 2865958 h 4722863"/>
              <a:gd name="connsiteX700" fmla="*/ 2781010 w 12356823"/>
              <a:gd name="connsiteY700" fmla="*/ 2862860 h 4722863"/>
              <a:gd name="connsiteX701" fmla="*/ 2827123 w 12356823"/>
              <a:gd name="connsiteY701" fmla="*/ 2862860 h 4722863"/>
              <a:gd name="connsiteX702" fmla="*/ 2841310 w 12356823"/>
              <a:gd name="connsiteY702" fmla="*/ 2862860 h 4722863"/>
              <a:gd name="connsiteX703" fmla="*/ 2848406 w 12356823"/>
              <a:gd name="connsiteY703" fmla="*/ 2859762 h 4722863"/>
              <a:gd name="connsiteX704" fmla="*/ 2848406 w 12356823"/>
              <a:gd name="connsiteY704" fmla="*/ 2856666 h 4722863"/>
              <a:gd name="connsiteX705" fmla="*/ 2635573 w 12356823"/>
              <a:gd name="connsiteY705" fmla="*/ 2831886 h 4722863"/>
              <a:gd name="connsiteX706" fmla="*/ 2486591 w 12356823"/>
              <a:gd name="connsiteY706" fmla="*/ 2810204 h 4722863"/>
              <a:gd name="connsiteX707" fmla="*/ 2419195 w 12356823"/>
              <a:gd name="connsiteY707" fmla="*/ 2841178 h 4722863"/>
              <a:gd name="connsiteX708" fmla="*/ 2408552 w 12356823"/>
              <a:gd name="connsiteY708" fmla="*/ 2844275 h 4722863"/>
              <a:gd name="connsiteX709" fmla="*/ 2390816 w 12356823"/>
              <a:gd name="connsiteY709" fmla="*/ 2844275 h 4722863"/>
              <a:gd name="connsiteX710" fmla="*/ 2341156 w 12356823"/>
              <a:gd name="connsiteY710" fmla="*/ 2834984 h 4722863"/>
              <a:gd name="connsiteX711" fmla="*/ 2220550 w 12356823"/>
              <a:gd name="connsiteY711" fmla="*/ 2782326 h 4722863"/>
              <a:gd name="connsiteX712" fmla="*/ 2124776 w 12356823"/>
              <a:gd name="connsiteY712" fmla="*/ 2742060 h 4722863"/>
              <a:gd name="connsiteX713" fmla="*/ 2046737 w 12356823"/>
              <a:gd name="connsiteY713" fmla="*/ 2726573 h 4722863"/>
              <a:gd name="connsiteX714" fmla="*/ 2032549 w 12356823"/>
              <a:gd name="connsiteY714" fmla="*/ 2726573 h 4722863"/>
              <a:gd name="connsiteX715" fmla="*/ 1986435 w 12356823"/>
              <a:gd name="connsiteY715" fmla="*/ 2742060 h 4722863"/>
              <a:gd name="connsiteX716" fmla="*/ 1975793 w 12356823"/>
              <a:gd name="connsiteY716" fmla="*/ 2745157 h 4722863"/>
              <a:gd name="connsiteX717" fmla="*/ 1958056 w 12356823"/>
              <a:gd name="connsiteY717" fmla="*/ 2745157 h 4722863"/>
              <a:gd name="connsiteX718" fmla="*/ 1926132 w 12356823"/>
              <a:gd name="connsiteY718" fmla="*/ 2729670 h 4722863"/>
              <a:gd name="connsiteX719" fmla="*/ 1855188 w 12356823"/>
              <a:gd name="connsiteY719" fmla="*/ 2683208 h 4722863"/>
              <a:gd name="connsiteX720" fmla="*/ 961291 w 12356823"/>
              <a:gd name="connsiteY720" fmla="*/ 2419926 h 4722863"/>
              <a:gd name="connsiteX721" fmla="*/ 634950 w 12356823"/>
              <a:gd name="connsiteY721" fmla="*/ 2320807 h 4722863"/>
              <a:gd name="connsiteX722" fmla="*/ 546269 w 12356823"/>
              <a:gd name="connsiteY722" fmla="*/ 2283638 h 4722863"/>
              <a:gd name="connsiteX723" fmla="*/ 478873 w 12356823"/>
              <a:gd name="connsiteY723" fmla="*/ 2246469 h 4722863"/>
              <a:gd name="connsiteX724" fmla="*/ 432760 w 12356823"/>
              <a:gd name="connsiteY724" fmla="*/ 2206202 h 4722863"/>
              <a:gd name="connsiteX725" fmla="*/ 429212 w 12356823"/>
              <a:gd name="connsiteY725" fmla="*/ 2165936 h 4722863"/>
              <a:gd name="connsiteX726" fmla="*/ 432760 w 12356823"/>
              <a:gd name="connsiteY726" fmla="*/ 2165936 h 4722863"/>
              <a:gd name="connsiteX727" fmla="*/ 439853 w 12356823"/>
              <a:gd name="connsiteY727" fmla="*/ 2165936 h 4722863"/>
              <a:gd name="connsiteX728" fmla="*/ 468231 w 12356823"/>
              <a:gd name="connsiteY728" fmla="*/ 2169032 h 4722863"/>
              <a:gd name="connsiteX729" fmla="*/ 560458 w 12356823"/>
              <a:gd name="connsiteY729" fmla="*/ 2187618 h 4722863"/>
              <a:gd name="connsiteX730" fmla="*/ 833592 w 12356823"/>
              <a:gd name="connsiteY730" fmla="*/ 2252663 h 4722863"/>
              <a:gd name="connsiteX731" fmla="*/ 1216692 w 12356823"/>
              <a:gd name="connsiteY731" fmla="*/ 2330100 h 4722863"/>
              <a:gd name="connsiteX732" fmla="*/ 553364 w 12356823"/>
              <a:gd name="connsiteY732" fmla="*/ 2125669 h 4722863"/>
              <a:gd name="connsiteX733" fmla="*/ 372457 w 12356823"/>
              <a:gd name="connsiteY733" fmla="*/ 2066818 h 4722863"/>
              <a:gd name="connsiteX734" fmla="*/ 340531 w 12356823"/>
              <a:gd name="connsiteY734" fmla="*/ 2054430 h 4722863"/>
              <a:gd name="connsiteX735" fmla="*/ 315702 w 12356823"/>
              <a:gd name="connsiteY735" fmla="*/ 2032747 h 4722863"/>
              <a:gd name="connsiteX736" fmla="*/ 297966 w 12356823"/>
              <a:gd name="connsiteY736" fmla="*/ 2004870 h 4722863"/>
              <a:gd name="connsiteX737" fmla="*/ 276681 w 12356823"/>
              <a:gd name="connsiteY737" fmla="*/ 1964603 h 4722863"/>
              <a:gd name="connsiteX738" fmla="*/ 280230 w 12356823"/>
              <a:gd name="connsiteY738" fmla="*/ 1952214 h 4722863"/>
              <a:gd name="connsiteX739" fmla="*/ 287324 w 12356823"/>
              <a:gd name="connsiteY739" fmla="*/ 1949116 h 4722863"/>
              <a:gd name="connsiteX740" fmla="*/ 329890 w 12356823"/>
              <a:gd name="connsiteY740" fmla="*/ 1949116 h 4722863"/>
              <a:gd name="connsiteX741" fmla="*/ 450494 w 12356823"/>
              <a:gd name="connsiteY741" fmla="*/ 1986285 h 4722863"/>
              <a:gd name="connsiteX742" fmla="*/ 539175 w 12356823"/>
              <a:gd name="connsiteY742" fmla="*/ 2014163 h 4722863"/>
              <a:gd name="connsiteX743" fmla="*/ 542722 w 12356823"/>
              <a:gd name="connsiteY743" fmla="*/ 2014163 h 4722863"/>
              <a:gd name="connsiteX744" fmla="*/ 542722 w 12356823"/>
              <a:gd name="connsiteY744" fmla="*/ 2011065 h 4722863"/>
              <a:gd name="connsiteX745" fmla="*/ 539175 w 12356823"/>
              <a:gd name="connsiteY745" fmla="*/ 2011065 h 4722863"/>
              <a:gd name="connsiteX746" fmla="*/ 535628 w 12356823"/>
              <a:gd name="connsiteY746" fmla="*/ 2007968 h 4722863"/>
              <a:gd name="connsiteX747" fmla="*/ 485967 w 12356823"/>
              <a:gd name="connsiteY747" fmla="*/ 1980091 h 4722863"/>
              <a:gd name="connsiteX748" fmla="*/ 454043 w 12356823"/>
              <a:gd name="connsiteY748" fmla="*/ 1961507 h 4722863"/>
              <a:gd name="connsiteX749" fmla="*/ 443401 w 12356823"/>
              <a:gd name="connsiteY749" fmla="*/ 1952214 h 4722863"/>
              <a:gd name="connsiteX750" fmla="*/ 439853 w 12356823"/>
              <a:gd name="connsiteY750" fmla="*/ 1946019 h 4722863"/>
              <a:gd name="connsiteX751" fmla="*/ 439853 w 12356823"/>
              <a:gd name="connsiteY751" fmla="*/ 1936727 h 4722863"/>
              <a:gd name="connsiteX752" fmla="*/ 454043 w 12356823"/>
              <a:gd name="connsiteY752" fmla="*/ 1933629 h 4722863"/>
              <a:gd name="connsiteX753" fmla="*/ 546269 w 12356823"/>
              <a:gd name="connsiteY753" fmla="*/ 1936727 h 4722863"/>
              <a:gd name="connsiteX754" fmla="*/ 815856 w 12356823"/>
              <a:gd name="connsiteY754" fmla="*/ 1983189 h 4722863"/>
              <a:gd name="connsiteX755" fmla="*/ 808763 w 12356823"/>
              <a:gd name="connsiteY755" fmla="*/ 1976994 h 4722863"/>
              <a:gd name="connsiteX756" fmla="*/ 762649 w 12356823"/>
              <a:gd name="connsiteY756" fmla="*/ 1949116 h 4722863"/>
              <a:gd name="connsiteX757" fmla="*/ 730724 w 12356823"/>
              <a:gd name="connsiteY757" fmla="*/ 1952214 h 4722863"/>
              <a:gd name="connsiteX758" fmla="*/ 698800 w 12356823"/>
              <a:gd name="connsiteY758" fmla="*/ 1958409 h 4722863"/>
              <a:gd name="connsiteX759" fmla="*/ 656233 w 12356823"/>
              <a:gd name="connsiteY759" fmla="*/ 1942922 h 4722863"/>
              <a:gd name="connsiteX760" fmla="*/ 595930 w 12356823"/>
              <a:gd name="connsiteY760" fmla="*/ 1902655 h 4722863"/>
              <a:gd name="connsiteX761" fmla="*/ 546269 w 12356823"/>
              <a:gd name="connsiteY761" fmla="*/ 1856193 h 4722863"/>
              <a:gd name="connsiteX762" fmla="*/ 485967 w 12356823"/>
              <a:gd name="connsiteY762" fmla="*/ 1772562 h 4722863"/>
              <a:gd name="connsiteX763" fmla="*/ 464684 w 12356823"/>
              <a:gd name="connsiteY763" fmla="*/ 1723003 h 4722863"/>
              <a:gd name="connsiteX764" fmla="*/ 446948 w 12356823"/>
              <a:gd name="connsiteY764" fmla="*/ 1682736 h 4722863"/>
              <a:gd name="connsiteX765" fmla="*/ 446948 w 12356823"/>
              <a:gd name="connsiteY765" fmla="*/ 1651762 h 4722863"/>
              <a:gd name="connsiteX766" fmla="*/ 464684 w 12356823"/>
              <a:gd name="connsiteY766" fmla="*/ 1636275 h 4722863"/>
              <a:gd name="connsiteX767" fmla="*/ 478873 w 12356823"/>
              <a:gd name="connsiteY767" fmla="*/ 1642469 h 4722863"/>
              <a:gd name="connsiteX768" fmla="*/ 503703 w 12356823"/>
              <a:gd name="connsiteY768" fmla="*/ 1657957 h 4722863"/>
              <a:gd name="connsiteX769" fmla="*/ 546269 w 12356823"/>
              <a:gd name="connsiteY769" fmla="*/ 1695126 h 4722863"/>
              <a:gd name="connsiteX770" fmla="*/ 549816 w 12356823"/>
              <a:gd name="connsiteY770" fmla="*/ 1695126 h 4722863"/>
              <a:gd name="connsiteX771" fmla="*/ 549816 w 12356823"/>
              <a:gd name="connsiteY771" fmla="*/ 1679639 h 4722863"/>
              <a:gd name="connsiteX772" fmla="*/ 535628 w 12356823"/>
              <a:gd name="connsiteY772" fmla="*/ 1636275 h 4722863"/>
              <a:gd name="connsiteX773" fmla="*/ 532080 w 12356823"/>
              <a:gd name="connsiteY773" fmla="*/ 1620787 h 4722863"/>
              <a:gd name="connsiteX774" fmla="*/ 532080 w 12356823"/>
              <a:gd name="connsiteY774" fmla="*/ 1614593 h 4722863"/>
              <a:gd name="connsiteX775" fmla="*/ 535628 w 12356823"/>
              <a:gd name="connsiteY775" fmla="*/ 1611495 h 4722863"/>
              <a:gd name="connsiteX776" fmla="*/ 539175 w 12356823"/>
              <a:gd name="connsiteY776" fmla="*/ 1611495 h 4722863"/>
              <a:gd name="connsiteX777" fmla="*/ 546269 w 12356823"/>
              <a:gd name="connsiteY777" fmla="*/ 1614593 h 4722863"/>
              <a:gd name="connsiteX778" fmla="*/ 571100 w 12356823"/>
              <a:gd name="connsiteY778" fmla="*/ 1642469 h 4722863"/>
              <a:gd name="connsiteX779" fmla="*/ 656233 w 12356823"/>
              <a:gd name="connsiteY779" fmla="*/ 1704418 h 4722863"/>
              <a:gd name="connsiteX780" fmla="*/ 766196 w 12356823"/>
              <a:gd name="connsiteY780" fmla="*/ 1750880 h 4722863"/>
              <a:gd name="connsiteX781" fmla="*/ 872613 w 12356823"/>
              <a:gd name="connsiteY781" fmla="*/ 1766367 h 4722863"/>
              <a:gd name="connsiteX782" fmla="*/ 911631 w 12356823"/>
              <a:gd name="connsiteY782" fmla="*/ 1760173 h 4722863"/>
              <a:gd name="connsiteX783" fmla="*/ 932914 w 12356823"/>
              <a:gd name="connsiteY783" fmla="*/ 1741588 h 4722863"/>
              <a:gd name="connsiteX784" fmla="*/ 936462 w 12356823"/>
              <a:gd name="connsiteY784" fmla="*/ 1738491 h 4722863"/>
              <a:gd name="connsiteX785" fmla="*/ 940009 w 12356823"/>
              <a:gd name="connsiteY785" fmla="*/ 1738491 h 4722863"/>
              <a:gd name="connsiteX786" fmla="*/ 954198 w 12356823"/>
              <a:gd name="connsiteY786" fmla="*/ 1738491 h 4722863"/>
              <a:gd name="connsiteX787" fmla="*/ 982576 w 12356823"/>
              <a:gd name="connsiteY787" fmla="*/ 1744685 h 4722863"/>
              <a:gd name="connsiteX788" fmla="*/ 996764 w 12356823"/>
              <a:gd name="connsiteY788" fmla="*/ 1744685 h 4722863"/>
              <a:gd name="connsiteX789" fmla="*/ 996764 w 12356823"/>
              <a:gd name="connsiteY789" fmla="*/ 1741588 h 4722863"/>
              <a:gd name="connsiteX790" fmla="*/ 996764 w 12356823"/>
              <a:gd name="connsiteY790" fmla="*/ 1738491 h 4722863"/>
              <a:gd name="connsiteX791" fmla="*/ 996764 w 12356823"/>
              <a:gd name="connsiteY791" fmla="*/ 1735393 h 4722863"/>
              <a:gd name="connsiteX792" fmla="*/ 989670 w 12356823"/>
              <a:gd name="connsiteY792" fmla="*/ 1729198 h 4722863"/>
              <a:gd name="connsiteX793" fmla="*/ 968386 w 12356823"/>
              <a:gd name="connsiteY793" fmla="*/ 1710613 h 4722863"/>
              <a:gd name="connsiteX794" fmla="*/ 826499 w 12356823"/>
              <a:gd name="connsiteY794" fmla="*/ 1648664 h 4722863"/>
              <a:gd name="connsiteX795" fmla="*/ 755554 w 12356823"/>
              <a:gd name="connsiteY795" fmla="*/ 1648664 h 4722863"/>
              <a:gd name="connsiteX796" fmla="*/ 709441 w 12356823"/>
              <a:gd name="connsiteY796" fmla="*/ 1676542 h 4722863"/>
              <a:gd name="connsiteX797" fmla="*/ 702346 w 12356823"/>
              <a:gd name="connsiteY797" fmla="*/ 1682736 h 4722863"/>
              <a:gd name="connsiteX798" fmla="*/ 688158 w 12356823"/>
              <a:gd name="connsiteY798" fmla="*/ 1682736 h 4722863"/>
              <a:gd name="connsiteX799" fmla="*/ 659779 w 12356823"/>
              <a:gd name="connsiteY799" fmla="*/ 1664151 h 4722863"/>
              <a:gd name="connsiteX800" fmla="*/ 574647 w 12356823"/>
              <a:gd name="connsiteY800" fmla="*/ 1589813 h 4722863"/>
              <a:gd name="connsiteX801" fmla="*/ 482420 w 12356823"/>
              <a:gd name="connsiteY801" fmla="*/ 1521669 h 4722863"/>
              <a:gd name="connsiteX802" fmla="*/ 439853 w 12356823"/>
              <a:gd name="connsiteY802" fmla="*/ 1509279 h 4722863"/>
              <a:gd name="connsiteX803" fmla="*/ 411476 w 12356823"/>
              <a:gd name="connsiteY803" fmla="*/ 1518571 h 4722863"/>
              <a:gd name="connsiteX804" fmla="*/ 404381 w 12356823"/>
              <a:gd name="connsiteY804" fmla="*/ 1521669 h 4722863"/>
              <a:gd name="connsiteX805" fmla="*/ 393740 w 12356823"/>
              <a:gd name="connsiteY805" fmla="*/ 1518571 h 4722863"/>
              <a:gd name="connsiteX806" fmla="*/ 368909 w 12356823"/>
              <a:gd name="connsiteY806" fmla="*/ 1496889 h 4722863"/>
              <a:gd name="connsiteX807" fmla="*/ 308607 w 12356823"/>
              <a:gd name="connsiteY807" fmla="*/ 1422551 h 4722863"/>
              <a:gd name="connsiteX808" fmla="*/ 290871 w 12356823"/>
              <a:gd name="connsiteY808" fmla="*/ 1385382 h 4722863"/>
              <a:gd name="connsiteX809" fmla="*/ 283776 w 12356823"/>
              <a:gd name="connsiteY809" fmla="*/ 1369895 h 4722863"/>
              <a:gd name="connsiteX810" fmla="*/ 276681 w 12356823"/>
              <a:gd name="connsiteY810" fmla="*/ 1357504 h 4722863"/>
              <a:gd name="connsiteX811" fmla="*/ 276681 w 12356823"/>
              <a:gd name="connsiteY811" fmla="*/ 1354408 h 4722863"/>
              <a:gd name="connsiteX812" fmla="*/ 280230 w 12356823"/>
              <a:gd name="connsiteY812" fmla="*/ 1351310 h 4722863"/>
              <a:gd name="connsiteX813" fmla="*/ 280230 w 12356823"/>
              <a:gd name="connsiteY813" fmla="*/ 1348212 h 4722863"/>
              <a:gd name="connsiteX814" fmla="*/ 283776 w 12356823"/>
              <a:gd name="connsiteY814" fmla="*/ 1348212 h 4722863"/>
              <a:gd name="connsiteX815" fmla="*/ 308607 w 12356823"/>
              <a:gd name="connsiteY815" fmla="*/ 1366797 h 4722863"/>
              <a:gd name="connsiteX816" fmla="*/ 358267 w 12356823"/>
              <a:gd name="connsiteY816" fmla="*/ 1400869 h 4722863"/>
              <a:gd name="connsiteX817" fmla="*/ 361815 w 12356823"/>
              <a:gd name="connsiteY817" fmla="*/ 1400869 h 4722863"/>
              <a:gd name="connsiteX818" fmla="*/ 365362 w 12356823"/>
              <a:gd name="connsiteY818" fmla="*/ 1397771 h 4722863"/>
              <a:gd name="connsiteX819" fmla="*/ 368909 w 12356823"/>
              <a:gd name="connsiteY819" fmla="*/ 1385382 h 4722863"/>
              <a:gd name="connsiteX820" fmla="*/ 351174 w 12356823"/>
              <a:gd name="connsiteY820" fmla="*/ 1283166 h 4722863"/>
              <a:gd name="connsiteX821" fmla="*/ 351174 w 12356823"/>
              <a:gd name="connsiteY821" fmla="*/ 1258386 h 4722863"/>
              <a:gd name="connsiteX822" fmla="*/ 347626 w 12356823"/>
              <a:gd name="connsiteY822" fmla="*/ 1252191 h 4722863"/>
              <a:gd name="connsiteX823" fmla="*/ 347626 w 12356823"/>
              <a:gd name="connsiteY823" fmla="*/ 1249093 h 4722863"/>
              <a:gd name="connsiteX824" fmla="*/ 344079 w 12356823"/>
              <a:gd name="connsiteY824" fmla="*/ 1249093 h 4722863"/>
              <a:gd name="connsiteX825" fmla="*/ 340531 w 12356823"/>
              <a:gd name="connsiteY825" fmla="*/ 1249093 h 4722863"/>
              <a:gd name="connsiteX826" fmla="*/ 336985 w 12356823"/>
              <a:gd name="connsiteY826" fmla="*/ 1255288 h 4722863"/>
              <a:gd name="connsiteX827" fmla="*/ 312154 w 12356823"/>
              <a:gd name="connsiteY827" fmla="*/ 1264581 h 4722863"/>
              <a:gd name="connsiteX828" fmla="*/ 269588 w 12356823"/>
              <a:gd name="connsiteY828" fmla="*/ 1249093 h 4722863"/>
              <a:gd name="connsiteX829" fmla="*/ 209285 w 12356823"/>
              <a:gd name="connsiteY829" fmla="*/ 1174755 h 4722863"/>
              <a:gd name="connsiteX830" fmla="*/ 163172 w 12356823"/>
              <a:gd name="connsiteY830" fmla="*/ 1084930 h 4722863"/>
              <a:gd name="connsiteX831" fmla="*/ 117058 w 12356823"/>
              <a:gd name="connsiteY831" fmla="*/ 1007493 h 4722863"/>
              <a:gd name="connsiteX832" fmla="*/ 92227 w 12356823"/>
              <a:gd name="connsiteY832" fmla="*/ 982713 h 4722863"/>
              <a:gd name="connsiteX833" fmla="*/ 60303 w 12356823"/>
              <a:gd name="connsiteY833" fmla="*/ 973421 h 4722863"/>
              <a:gd name="connsiteX834" fmla="*/ 56755 w 12356823"/>
              <a:gd name="connsiteY834" fmla="*/ 970323 h 4722863"/>
              <a:gd name="connsiteX835" fmla="*/ 53209 w 12356823"/>
              <a:gd name="connsiteY835" fmla="*/ 967226 h 4722863"/>
              <a:gd name="connsiteX836" fmla="*/ 39019 w 12356823"/>
              <a:gd name="connsiteY836" fmla="*/ 954836 h 4722863"/>
              <a:gd name="connsiteX837" fmla="*/ 21283 w 12356823"/>
              <a:gd name="connsiteY837" fmla="*/ 914570 h 4722863"/>
              <a:gd name="connsiteX838" fmla="*/ 3547 w 12356823"/>
              <a:gd name="connsiteY838" fmla="*/ 874304 h 4722863"/>
              <a:gd name="connsiteX839" fmla="*/ 0 w 12356823"/>
              <a:gd name="connsiteY839" fmla="*/ 861914 h 4722863"/>
              <a:gd name="connsiteX840" fmla="*/ 3547 w 12356823"/>
              <a:gd name="connsiteY840" fmla="*/ 855718 h 4722863"/>
              <a:gd name="connsiteX841" fmla="*/ 10642 w 12356823"/>
              <a:gd name="connsiteY841" fmla="*/ 858816 h 4722863"/>
              <a:gd name="connsiteX842" fmla="*/ 24831 w 12356823"/>
              <a:gd name="connsiteY842" fmla="*/ 865011 h 4722863"/>
              <a:gd name="connsiteX843" fmla="*/ 63850 w 12356823"/>
              <a:gd name="connsiteY843" fmla="*/ 892887 h 4722863"/>
              <a:gd name="connsiteX844" fmla="*/ 166718 w 12356823"/>
              <a:gd name="connsiteY844" fmla="*/ 973421 h 4722863"/>
              <a:gd name="connsiteX845" fmla="*/ 266040 w 12356823"/>
              <a:gd name="connsiteY845" fmla="*/ 1044662 h 4722863"/>
              <a:gd name="connsiteX846" fmla="*/ 297966 w 12356823"/>
              <a:gd name="connsiteY846" fmla="*/ 1066344 h 4722863"/>
              <a:gd name="connsiteX847" fmla="*/ 305060 w 12356823"/>
              <a:gd name="connsiteY847" fmla="*/ 1069442 h 4722863"/>
              <a:gd name="connsiteX848" fmla="*/ 308607 w 12356823"/>
              <a:gd name="connsiteY848" fmla="*/ 1069442 h 4722863"/>
              <a:gd name="connsiteX849" fmla="*/ 308607 w 12356823"/>
              <a:gd name="connsiteY849" fmla="*/ 1066344 h 4722863"/>
              <a:gd name="connsiteX850" fmla="*/ 305060 w 12356823"/>
              <a:gd name="connsiteY850" fmla="*/ 1016785 h 4722863"/>
              <a:gd name="connsiteX851" fmla="*/ 301512 w 12356823"/>
              <a:gd name="connsiteY851" fmla="*/ 1013688 h 4722863"/>
              <a:gd name="connsiteX852" fmla="*/ 280230 w 12356823"/>
              <a:gd name="connsiteY852" fmla="*/ 1007493 h 4722863"/>
              <a:gd name="connsiteX853" fmla="*/ 145436 w 12356823"/>
              <a:gd name="connsiteY853" fmla="*/ 880498 h 4722863"/>
              <a:gd name="connsiteX854" fmla="*/ 81586 w 12356823"/>
              <a:gd name="connsiteY854" fmla="*/ 781380 h 4722863"/>
              <a:gd name="connsiteX855" fmla="*/ 60303 w 12356823"/>
              <a:gd name="connsiteY855" fmla="*/ 731822 h 4722863"/>
              <a:gd name="connsiteX856" fmla="*/ 49660 w 12356823"/>
              <a:gd name="connsiteY856" fmla="*/ 685360 h 4722863"/>
              <a:gd name="connsiteX857" fmla="*/ 53209 w 12356823"/>
              <a:gd name="connsiteY857" fmla="*/ 669873 h 4722863"/>
              <a:gd name="connsiteX858" fmla="*/ 60303 w 12356823"/>
              <a:gd name="connsiteY858" fmla="*/ 660580 h 4722863"/>
              <a:gd name="connsiteX859" fmla="*/ 92227 w 12356823"/>
              <a:gd name="connsiteY859" fmla="*/ 666775 h 4722863"/>
              <a:gd name="connsiteX860" fmla="*/ 191549 w 12356823"/>
              <a:gd name="connsiteY860" fmla="*/ 731822 h 4722863"/>
              <a:gd name="connsiteX861" fmla="*/ 305060 w 12356823"/>
              <a:gd name="connsiteY861" fmla="*/ 812355 h 4722863"/>
              <a:gd name="connsiteX862" fmla="*/ 379552 w 12356823"/>
              <a:gd name="connsiteY862" fmla="*/ 852621 h 4722863"/>
              <a:gd name="connsiteX863" fmla="*/ 670422 w 12356823"/>
              <a:gd name="connsiteY863" fmla="*/ 967226 h 4722863"/>
              <a:gd name="connsiteX864" fmla="*/ 766196 w 12356823"/>
              <a:gd name="connsiteY864" fmla="*/ 1001298 h 4722863"/>
              <a:gd name="connsiteX865" fmla="*/ 865518 w 12356823"/>
              <a:gd name="connsiteY865" fmla="*/ 1060150 h 4722863"/>
              <a:gd name="connsiteX866" fmla="*/ 954198 w 12356823"/>
              <a:gd name="connsiteY866" fmla="*/ 1088026 h 4722863"/>
              <a:gd name="connsiteX867" fmla="*/ 1007407 w 12356823"/>
              <a:gd name="connsiteY867" fmla="*/ 1106612 h 4722863"/>
              <a:gd name="connsiteX868" fmla="*/ 1025143 w 12356823"/>
              <a:gd name="connsiteY868" fmla="*/ 1115904 h 4722863"/>
              <a:gd name="connsiteX869" fmla="*/ 1032237 w 12356823"/>
              <a:gd name="connsiteY869" fmla="*/ 1119001 h 4722863"/>
              <a:gd name="connsiteX870" fmla="*/ 1032237 w 12356823"/>
              <a:gd name="connsiteY870" fmla="*/ 1122099 h 4722863"/>
              <a:gd name="connsiteX871" fmla="*/ 1032237 w 12356823"/>
              <a:gd name="connsiteY871" fmla="*/ 1131392 h 4722863"/>
              <a:gd name="connsiteX872" fmla="*/ 1032237 w 12356823"/>
              <a:gd name="connsiteY872" fmla="*/ 1134488 h 4722863"/>
              <a:gd name="connsiteX873" fmla="*/ 1021596 w 12356823"/>
              <a:gd name="connsiteY873" fmla="*/ 1140683 h 4722863"/>
              <a:gd name="connsiteX874" fmla="*/ 982576 w 12356823"/>
              <a:gd name="connsiteY874" fmla="*/ 1134488 h 4722863"/>
              <a:gd name="connsiteX875" fmla="*/ 858423 w 12356823"/>
              <a:gd name="connsiteY875" fmla="*/ 1081832 h 4722863"/>
              <a:gd name="connsiteX876" fmla="*/ 720082 w 12356823"/>
              <a:gd name="connsiteY876" fmla="*/ 1032272 h 4722863"/>
              <a:gd name="connsiteX877" fmla="*/ 673969 w 12356823"/>
              <a:gd name="connsiteY877" fmla="*/ 1022981 h 4722863"/>
              <a:gd name="connsiteX878" fmla="*/ 659779 w 12356823"/>
              <a:gd name="connsiteY878" fmla="*/ 1026078 h 4722863"/>
              <a:gd name="connsiteX879" fmla="*/ 649138 w 12356823"/>
              <a:gd name="connsiteY879" fmla="*/ 1035370 h 4722863"/>
              <a:gd name="connsiteX880" fmla="*/ 652686 w 12356823"/>
              <a:gd name="connsiteY880" fmla="*/ 1038468 h 4722863"/>
              <a:gd name="connsiteX881" fmla="*/ 649138 w 12356823"/>
              <a:gd name="connsiteY881" fmla="*/ 1038468 h 4722863"/>
              <a:gd name="connsiteX882" fmla="*/ 652686 w 12356823"/>
              <a:gd name="connsiteY882" fmla="*/ 1041565 h 4722863"/>
              <a:gd name="connsiteX883" fmla="*/ 663328 w 12356823"/>
              <a:gd name="connsiteY883" fmla="*/ 1050857 h 4722863"/>
              <a:gd name="connsiteX884" fmla="*/ 709441 w 12356823"/>
              <a:gd name="connsiteY884" fmla="*/ 1078734 h 4722863"/>
              <a:gd name="connsiteX885" fmla="*/ 847782 w 12356823"/>
              <a:gd name="connsiteY885" fmla="*/ 1146877 h 4722863"/>
              <a:gd name="connsiteX886" fmla="*/ 996764 w 12356823"/>
              <a:gd name="connsiteY886" fmla="*/ 1215022 h 4722863"/>
              <a:gd name="connsiteX887" fmla="*/ 1046427 w 12356823"/>
              <a:gd name="connsiteY887" fmla="*/ 1239801 h 4722863"/>
              <a:gd name="connsiteX888" fmla="*/ 1074804 w 12356823"/>
              <a:gd name="connsiteY888" fmla="*/ 1255288 h 4722863"/>
              <a:gd name="connsiteX889" fmla="*/ 1081899 w 12356823"/>
              <a:gd name="connsiteY889" fmla="*/ 1264581 h 4722863"/>
              <a:gd name="connsiteX890" fmla="*/ 1088992 w 12356823"/>
              <a:gd name="connsiteY890" fmla="*/ 1264581 h 4722863"/>
              <a:gd name="connsiteX891" fmla="*/ 1103182 w 12356823"/>
              <a:gd name="connsiteY891" fmla="*/ 1249093 h 4722863"/>
              <a:gd name="connsiteX892" fmla="*/ 1103182 w 12356823"/>
              <a:gd name="connsiteY892" fmla="*/ 1245997 h 4722863"/>
              <a:gd name="connsiteX893" fmla="*/ 1113823 w 12356823"/>
              <a:gd name="connsiteY893" fmla="*/ 1242899 h 4722863"/>
              <a:gd name="connsiteX894" fmla="*/ 1135106 w 12356823"/>
              <a:gd name="connsiteY894" fmla="*/ 1242899 h 4722863"/>
              <a:gd name="connsiteX895" fmla="*/ 1209597 w 12356823"/>
              <a:gd name="connsiteY895" fmla="*/ 1258386 h 4722863"/>
              <a:gd name="connsiteX896" fmla="*/ 1344391 w 12356823"/>
              <a:gd name="connsiteY896" fmla="*/ 1301751 h 4722863"/>
              <a:gd name="connsiteX897" fmla="*/ 1202503 w 12356823"/>
              <a:gd name="connsiteY897" fmla="*/ 1215022 h 4722863"/>
              <a:gd name="connsiteX898" fmla="*/ 1145749 w 12356823"/>
              <a:gd name="connsiteY898" fmla="*/ 1171658 h 4722863"/>
              <a:gd name="connsiteX899" fmla="*/ 1096087 w 12356823"/>
              <a:gd name="connsiteY899" fmla="*/ 1119001 h 4722863"/>
              <a:gd name="connsiteX900" fmla="*/ 1085446 w 12356823"/>
              <a:gd name="connsiteY900" fmla="*/ 1103514 h 4722863"/>
              <a:gd name="connsiteX901" fmla="*/ 1085446 w 12356823"/>
              <a:gd name="connsiteY901" fmla="*/ 1100417 h 4722863"/>
              <a:gd name="connsiteX902" fmla="*/ 1088992 w 12356823"/>
              <a:gd name="connsiteY902" fmla="*/ 1100417 h 4722863"/>
              <a:gd name="connsiteX903" fmla="*/ 1088992 w 12356823"/>
              <a:gd name="connsiteY903" fmla="*/ 1097319 h 4722863"/>
              <a:gd name="connsiteX904" fmla="*/ 1092540 w 12356823"/>
              <a:gd name="connsiteY904" fmla="*/ 1100417 h 4722863"/>
              <a:gd name="connsiteX905" fmla="*/ 1099635 w 12356823"/>
              <a:gd name="connsiteY905" fmla="*/ 1103514 h 4722863"/>
              <a:gd name="connsiteX906" fmla="*/ 1113823 w 12356823"/>
              <a:gd name="connsiteY906" fmla="*/ 1112806 h 4722863"/>
              <a:gd name="connsiteX907" fmla="*/ 1159937 w 12356823"/>
              <a:gd name="connsiteY907" fmla="*/ 1146877 h 4722863"/>
              <a:gd name="connsiteX908" fmla="*/ 1429525 w 12356823"/>
              <a:gd name="connsiteY908" fmla="*/ 1307946 h 4722863"/>
              <a:gd name="connsiteX909" fmla="*/ 1422430 w 12356823"/>
              <a:gd name="connsiteY909" fmla="*/ 1307946 h 4722863"/>
              <a:gd name="connsiteX910" fmla="*/ 1422430 w 12356823"/>
              <a:gd name="connsiteY910" fmla="*/ 1326530 h 4722863"/>
              <a:gd name="connsiteX911" fmla="*/ 1418882 w 12356823"/>
              <a:gd name="connsiteY911" fmla="*/ 1326530 h 4722863"/>
              <a:gd name="connsiteX912" fmla="*/ 1433071 w 12356823"/>
              <a:gd name="connsiteY912" fmla="*/ 1332724 h 4722863"/>
              <a:gd name="connsiteX913" fmla="*/ 1514657 w 12356823"/>
              <a:gd name="connsiteY913" fmla="*/ 1363699 h 4722863"/>
              <a:gd name="connsiteX914" fmla="*/ 1479185 w 12356823"/>
              <a:gd name="connsiteY914" fmla="*/ 1323433 h 4722863"/>
              <a:gd name="connsiteX915" fmla="*/ 1464997 w 12356823"/>
              <a:gd name="connsiteY915" fmla="*/ 1307946 h 4722863"/>
              <a:gd name="connsiteX916" fmla="*/ 1461449 w 12356823"/>
              <a:gd name="connsiteY916" fmla="*/ 1295555 h 4722863"/>
              <a:gd name="connsiteX917" fmla="*/ 1464997 w 12356823"/>
              <a:gd name="connsiteY917" fmla="*/ 1292459 h 4722863"/>
              <a:gd name="connsiteX918" fmla="*/ 1468543 w 12356823"/>
              <a:gd name="connsiteY918" fmla="*/ 1292459 h 4722863"/>
              <a:gd name="connsiteX919" fmla="*/ 1475637 w 12356823"/>
              <a:gd name="connsiteY919" fmla="*/ 1292459 h 4722863"/>
              <a:gd name="connsiteX920" fmla="*/ 1486280 w 12356823"/>
              <a:gd name="connsiteY920" fmla="*/ 1295555 h 4722863"/>
              <a:gd name="connsiteX921" fmla="*/ 1518205 w 12356823"/>
              <a:gd name="connsiteY921" fmla="*/ 1311043 h 4722863"/>
              <a:gd name="connsiteX922" fmla="*/ 1489826 w 12356823"/>
              <a:gd name="connsiteY922" fmla="*/ 1280068 h 4722863"/>
              <a:gd name="connsiteX923" fmla="*/ 1464997 w 12356823"/>
              <a:gd name="connsiteY923" fmla="*/ 1258386 h 4722863"/>
              <a:gd name="connsiteX924" fmla="*/ 1461449 w 12356823"/>
              <a:gd name="connsiteY924" fmla="*/ 1255288 h 4722863"/>
              <a:gd name="connsiteX925" fmla="*/ 1457902 w 12356823"/>
              <a:gd name="connsiteY925" fmla="*/ 1255288 h 4722863"/>
              <a:gd name="connsiteX926" fmla="*/ 1447259 w 12356823"/>
              <a:gd name="connsiteY926" fmla="*/ 1249093 h 4722863"/>
              <a:gd name="connsiteX927" fmla="*/ 1401146 w 12356823"/>
              <a:gd name="connsiteY927" fmla="*/ 1202632 h 4722863"/>
              <a:gd name="connsiteX928" fmla="*/ 1397599 w 12356823"/>
              <a:gd name="connsiteY928" fmla="*/ 1199535 h 4722863"/>
              <a:gd name="connsiteX929" fmla="*/ 1390504 w 12356823"/>
              <a:gd name="connsiteY929" fmla="*/ 1193339 h 4722863"/>
              <a:gd name="connsiteX930" fmla="*/ 1323108 w 12356823"/>
              <a:gd name="connsiteY930" fmla="*/ 1159268 h 4722863"/>
              <a:gd name="connsiteX931" fmla="*/ 1234428 w 12356823"/>
              <a:gd name="connsiteY931" fmla="*/ 1128293 h 4722863"/>
              <a:gd name="connsiteX932" fmla="*/ 1223786 w 12356823"/>
              <a:gd name="connsiteY932" fmla="*/ 1125195 h 4722863"/>
              <a:gd name="connsiteX933" fmla="*/ 1213145 w 12356823"/>
              <a:gd name="connsiteY933" fmla="*/ 1119001 h 4722863"/>
              <a:gd name="connsiteX934" fmla="*/ 1188314 w 12356823"/>
              <a:gd name="connsiteY934" fmla="*/ 1103514 h 4722863"/>
              <a:gd name="connsiteX935" fmla="*/ 1149295 w 12356823"/>
              <a:gd name="connsiteY935" fmla="*/ 1060150 h 4722863"/>
              <a:gd name="connsiteX936" fmla="*/ 1124464 w 12356823"/>
              <a:gd name="connsiteY936" fmla="*/ 1022981 h 4722863"/>
              <a:gd name="connsiteX937" fmla="*/ 1120918 w 12356823"/>
              <a:gd name="connsiteY937" fmla="*/ 1010590 h 4722863"/>
              <a:gd name="connsiteX938" fmla="*/ 1124464 w 12356823"/>
              <a:gd name="connsiteY938" fmla="*/ 1007493 h 4722863"/>
              <a:gd name="connsiteX939" fmla="*/ 1010955 w 12356823"/>
              <a:gd name="connsiteY939" fmla="*/ 920765 h 4722863"/>
              <a:gd name="connsiteX940" fmla="*/ 957745 w 12356823"/>
              <a:gd name="connsiteY940" fmla="*/ 871205 h 4722863"/>
              <a:gd name="connsiteX941" fmla="*/ 918726 w 12356823"/>
              <a:gd name="connsiteY941" fmla="*/ 815452 h 4722863"/>
              <a:gd name="connsiteX942" fmla="*/ 908085 w 12356823"/>
              <a:gd name="connsiteY942" fmla="*/ 796867 h 4722863"/>
              <a:gd name="connsiteX943" fmla="*/ 908085 w 12356823"/>
              <a:gd name="connsiteY943" fmla="*/ 793769 h 4722863"/>
              <a:gd name="connsiteX944" fmla="*/ 911631 w 12356823"/>
              <a:gd name="connsiteY944" fmla="*/ 793769 h 4722863"/>
              <a:gd name="connsiteX945" fmla="*/ 915178 w 12356823"/>
              <a:gd name="connsiteY945" fmla="*/ 796867 h 4722863"/>
              <a:gd name="connsiteX946" fmla="*/ 918726 w 12356823"/>
              <a:gd name="connsiteY946" fmla="*/ 799965 h 4722863"/>
              <a:gd name="connsiteX947" fmla="*/ 932914 w 12356823"/>
              <a:gd name="connsiteY947" fmla="*/ 812355 h 4722863"/>
              <a:gd name="connsiteX948" fmla="*/ 971934 w 12356823"/>
              <a:gd name="connsiteY948" fmla="*/ 849523 h 4722863"/>
              <a:gd name="connsiteX949" fmla="*/ 1220240 w 12356823"/>
              <a:gd name="connsiteY949" fmla="*/ 1035370 h 4722863"/>
              <a:gd name="connsiteX950" fmla="*/ 1213145 w 12356823"/>
              <a:gd name="connsiteY950" fmla="*/ 1035370 h 4722863"/>
              <a:gd name="connsiteX951" fmla="*/ 1213145 w 12356823"/>
              <a:gd name="connsiteY951" fmla="*/ 1041565 h 4722863"/>
              <a:gd name="connsiteX952" fmla="*/ 1287636 w 12356823"/>
              <a:gd name="connsiteY952" fmla="*/ 1075637 h 4722863"/>
              <a:gd name="connsiteX953" fmla="*/ 1355032 w 12356823"/>
              <a:gd name="connsiteY953" fmla="*/ 1106612 h 4722863"/>
              <a:gd name="connsiteX954" fmla="*/ 1276994 w 12356823"/>
              <a:gd name="connsiteY954" fmla="*/ 1013688 h 4722863"/>
              <a:gd name="connsiteX955" fmla="*/ 1188314 w 12356823"/>
              <a:gd name="connsiteY955" fmla="*/ 920765 h 4722863"/>
              <a:gd name="connsiteX956" fmla="*/ 1128012 w 12356823"/>
              <a:gd name="connsiteY956" fmla="*/ 877401 h 4722863"/>
              <a:gd name="connsiteX957" fmla="*/ 1046427 w 12356823"/>
              <a:gd name="connsiteY957" fmla="*/ 840231 h 4722863"/>
              <a:gd name="connsiteX958" fmla="*/ 1039332 w 12356823"/>
              <a:gd name="connsiteY958" fmla="*/ 834036 h 4722863"/>
              <a:gd name="connsiteX959" fmla="*/ 1025143 w 12356823"/>
              <a:gd name="connsiteY959" fmla="*/ 827841 h 4722863"/>
              <a:gd name="connsiteX960" fmla="*/ 1007407 w 12356823"/>
              <a:gd name="connsiteY960" fmla="*/ 812355 h 4722863"/>
              <a:gd name="connsiteX961" fmla="*/ 968386 w 12356823"/>
              <a:gd name="connsiteY961" fmla="*/ 765893 h 4722863"/>
              <a:gd name="connsiteX962" fmla="*/ 950650 w 12356823"/>
              <a:gd name="connsiteY962" fmla="*/ 725626 h 4722863"/>
              <a:gd name="connsiteX963" fmla="*/ 950650 w 12356823"/>
              <a:gd name="connsiteY963" fmla="*/ 716334 h 4722863"/>
              <a:gd name="connsiteX964" fmla="*/ 954198 w 12356823"/>
              <a:gd name="connsiteY964" fmla="*/ 713236 h 4722863"/>
              <a:gd name="connsiteX965" fmla="*/ 957745 w 12356823"/>
              <a:gd name="connsiteY965" fmla="*/ 713236 h 4722863"/>
              <a:gd name="connsiteX966" fmla="*/ 975481 w 12356823"/>
              <a:gd name="connsiteY966" fmla="*/ 722529 h 4722863"/>
              <a:gd name="connsiteX967" fmla="*/ 1007407 w 12356823"/>
              <a:gd name="connsiteY967" fmla="*/ 738016 h 4722863"/>
              <a:gd name="connsiteX968" fmla="*/ 1099635 w 12356823"/>
              <a:gd name="connsiteY968" fmla="*/ 793769 h 4722863"/>
              <a:gd name="connsiteX969" fmla="*/ 1351486 w 12356823"/>
              <a:gd name="connsiteY969" fmla="*/ 945544 h 4722863"/>
              <a:gd name="connsiteX970" fmla="*/ 1362127 w 12356823"/>
              <a:gd name="connsiteY970" fmla="*/ 951739 h 4722863"/>
              <a:gd name="connsiteX971" fmla="*/ 1362127 w 12356823"/>
              <a:gd name="connsiteY971" fmla="*/ 926960 h 4722863"/>
              <a:gd name="connsiteX972" fmla="*/ 1379863 w 12356823"/>
              <a:gd name="connsiteY972" fmla="*/ 914570 h 4722863"/>
              <a:gd name="connsiteX973" fmla="*/ 1404694 w 12356823"/>
              <a:gd name="connsiteY973" fmla="*/ 917667 h 4722863"/>
              <a:gd name="connsiteX974" fmla="*/ 1340844 w 12356823"/>
              <a:gd name="connsiteY974" fmla="*/ 865011 h 4722863"/>
              <a:gd name="connsiteX975" fmla="*/ 1213145 w 12356823"/>
              <a:gd name="connsiteY975" fmla="*/ 747309 h 4722863"/>
              <a:gd name="connsiteX976" fmla="*/ 1181221 w 12356823"/>
              <a:gd name="connsiteY976" fmla="*/ 694651 h 4722863"/>
              <a:gd name="connsiteX977" fmla="*/ 1177673 w 12356823"/>
              <a:gd name="connsiteY977" fmla="*/ 657482 h 4722863"/>
              <a:gd name="connsiteX978" fmla="*/ 1191861 w 12356823"/>
              <a:gd name="connsiteY978" fmla="*/ 648190 h 4722863"/>
              <a:gd name="connsiteX979" fmla="*/ 1216692 w 12356823"/>
              <a:gd name="connsiteY979" fmla="*/ 651288 h 4722863"/>
              <a:gd name="connsiteX980" fmla="*/ 1301825 w 12356823"/>
              <a:gd name="connsiteY980" fmla="*/ 682262 h 4722863"/>
              <a:gd name="connsiteX981" fmla="*/ 2680813 w 12356823"/>
              <a:gd name="connsiteY981" fmla="*/ 1139574 h 4722863"/>
              <a:gd name="connsiteX982" fmla="*/ 2791519 w 12356823"/>
              <a:gd name="connsiteY982" fmla="*/ 1149751 h 4722863"/>
              <a:gd name="connsiteX983" fmla="*/ 2737786 w 12356823"/>
              <a:gd name="connsiteY983" fmla="*/ 1087636 h 4722863"/>
              <a:gd name="connsiteX984" fmla="*/ 2713106 w 12356823"/>
              <a:gd name="connsiteY984" fmla="*/ 1050371 h 4722863"/>
              <a:gd name="connsiteX985" fmla="*/ 2688425 w 12356823"/>
              <a:gd name="connsiteY985" fmla="*/ 1000687 h 4722863"/>
              <a:gd name="connsiteX986" fmla="*/ 2681374 w 12356823"/>
              <a:gd name="connsiteY986" fmla="*/ 982054 h 4722863"/>
              <a:gd name="connsiteX987" fmla="*/ 2677848 w 12356823"/>
              <a:gd name="connsiteY987" fmla="*/ 978949 h 4722863"/>
              <a:gd name="connsiteX988" fmla="*/ 2681374 w 12356823"/>
              <a:gd name="connsiteY988" fmla="*/ 978949 h 4722863"/>
              <a:gd name="connsiteX989" fmla="*/ 2684899 w 12356823"/>
              <a:gd name="connsiteY989" fmla="*/ 978949 h 4722863"/>
              <a:gd name="connsiteX990" fmla="*/ 2688425 w 12356823"/>
              <a:gd name="connsiteY990" fmla="*/ 988265 h 4722863"/>
              <a:gd name="connsiteX991" fmla="*/ 2709579 w 12356823"/>
              <a:gd name="connsiteY991" fmla="*/ 1016213 h 4722863"/>
              <a:gd name="connsiteX992" fmla="*/ 2818878 w 12356823"/>
              <a:gd name="connsiteY992" fmla="*/ 1137321 h 4722863"/>
              <a:gd name="connsiteX993" fmla="*/ 2815352 w 12356823"/>
              <a:gd name="connsiteY993" fmla="*/ 1140427 h 4722863"/>
              <a:gd name="connsiteX994" fmla="*/ 2817570 w 12356823"/>
              <a:gd name="connsiteY994" fmla="*/ 1152146 h 4722863"/>
              <a:gd name="connsiteX995" fmla="*/ 2867012 w 12356823"/>
              <a:gd name="connsiteY995" fmla="*/ 1156691 h 4722863"/>
              <a:gd name="connsiteX996" fmla="*/ 2830172 w 12356823"/>
              <a:gd name="connsiteY996" fmla="*/ 1084930 h 4722863"/>
              <a:gd name="connsiteX997" fmla="*/ 2784058 w 12356823"/>
              <a:gd name="connsiteY997" fmla="*/ 1007493 h 4722863"/>
              <a:gd name="connsiteX998" fmla="*/ 2759227 w 12356823"/>
              <a:gd name="connsiteY998" fmla="*/ 982713 h 4722863"/>
              <a:gd name="connsiteX999" fmla="*/ 2727303 w 12356823"/>
              <a:gd name="connsiteY999" fmla="*/ 973421 h 4722863"/>
              <a:gd name="connsiteX1000" fmla="*/ 2723755 w 12356823"/>
              <a:gd name="connsiteY1000" fmla="*/ 970323 h 4722863"/>
              <a:gd name="connsiteX1001" fmla="*/ 2720209 w 12356823"/>
              <a:gd name="connsiteY1001" fmla="*/ 967226 h 4722863"/>
              <a:gd name="connsiteX1002" fmla="*/ 2706019 w 12356823"/>
              <a:gd name="connsiteY1002" fmla="*/ 954836 h 4722863"/>
              <a:gd name="connsiteX1003" fmla="*/ 2688283 w 12356823"/>
              <a:gd name="connsiteY1003" fmla="*/ 914570 h 4722863"/>
              <a:gd name="connsiteX1004" fmla="*/ 2670547 w 12356823"/>
              <a:gd name="connsiteY1004" fmla="*/ 874304 h 4722863"/>
              <a:gd name="connsiteX1005" fmla="*/ 2667000 w 12356823"/>
              <a:gd name="connsiteY1005" fmla="*/ 861914 h 4722863"/>
              <a:gd name="connsiteX1006" fmla="*/ 2670547 w 12356823"/>
              <a:gd name="connsiteY1006" fmla="*/ 855718 h 4722863"/>
              <a:gd name="connsiteX1007" fmla="*/ 2677642 w 12356823"/>
              <a:gd name="connsiteY1007" fmla="*/ 858816 h 4722863"/>
              <a:gd name="connsiteX1008" fmla="*/ 2691831 w 12356823"/>
              <a:gd name="connsiteY1008" fmla="*/ 865011 h 4722863"/>
              <a:gd name="connsiteX1009" fmla="*/ 2730850 w 12356823"/>
              <a:gd name="connsiteY1009" fmla="*/ 892887 h 4722863"/>
              <a:gd name="connsiteX1010" fmla="*/ 2833718 w 12356823"/>
              <a:gd name="connsiteY1010" fmla="*/ 973421 h 4722863"/>
              <a:gd name="connsiteX1011" fmla="*/ 2933040 w 12356823"/>
              <a:gd name="connsiteY1011" fmla="*/ 1044662 h 4722863"/>
              <a:gd name="connsiteX1012" fmla="*/ 2964966 w 12356823"/>
              <a:gd name="connsiteY1012" fmla="*/ 1066344 h 4722863"/>
              <a:gd name="connsiteX1013" fmla="*/ 2972060 w 12356823"/>
              <a:gd name="connsiteY1013" fmla="*/ 1069442 h 4722863"/>
              <a:gd name="connsiteX1014" fmla="*/ 2975607 w 12356823"/>
              <a:gd name="connsiteY1014" fmla="*/ 1069442 h 4722863"/>
              <a:gd name="connsiteX1015" fmla="*/ 2975607 w 12356823"/>
              <a:gd name="connsiteY1015" fmla="*/ 1066344 h 4722863"/>
              <a:gd name="connsiteX1016" fmla="*/ 2972060 w 12356823"/>
              <a:gd name="connsiteY1016" fmla="*/ 1016785 h 4722863"/>
              <a:gd name="connsiteX1017" fmla="*/ 2968512 w 12356823"/>
              <a:gd name="connsiteY1017" fmla="*/ 1013688 h 4722863"/>
              <a:gd name="connsiteX1018" fmla="*/ 2947230 w 12356823"/>
              <a:gd name="connsiteY1018" fmla="*/ 1007493 h 4722863"/>
              <a:gd name="connsiteX1019" fmla="*/ 2812436 w 12356823"/>
              <a:gd name="connsiteY1019" fmla="*/ 880498 h 4722863"/>
              <a:gd name="connsiteX1020" fmla="*/ 2748586 w 12356823"/>
              <a:gd name="connsiteY1020" fmla="*/ 781380 h 4722863"/>
              <a:gd name="connsiteX1021" fmla="*/ 2727303 w 12356823"/>
              <a:gd name="connsiteY1021" fmla="*/ 731822 h 4722863"/>
              <a:gd name="connsiteX1022" fmla="*/ 2716660 w 12356823"/>
              <a:gd name="connsiteY1022" fmla="*/ 685360 h 4722863"/>
              <a:gd name="connsiteX1023" fmla="*/ 2720209 w 12356823"/>
              <a:gd name="connsiteY1023" fmla="*/ 669873 h 4722863"/>
              <a:gd name="connsiteX1024" fmla="*/ 2727303 w 12356823"/>
              <a:gd name="connsiteY1024" fmla="*/ 660580 h 4722863"/>
              <a:gd name="connsiteX1025" fmla="*/ 2759227 w 12356823"/>
              <a:gd name="connsiteY1025" fmla="*/ 666775 h 4722863"/>
              <a:gd name="connsiteX1026" fmla="*/ 2858549 w 12356823"/>
              <a:gd name="connsiteY1026" fmla="*/ 731822 h 4722863"/>
              <a:gd name="connsiteX1027" fmla="*/ 2972060 w 12356823"/>
              <a:gd name="connsiteY1027" fmla="*/ 812355 h 4722863"/>
              <a:gd name="connsiteX1028" fmla="*/ 3046552 w 12356823"/>
              <a:gd name="connsiteY1028" fmla="*/ 852621 h 4722863"/>
              <a:gd name="connsiteX1029" fmla="*/ 3337422 w 12356823"/>
              <a:gd name="connsiteY1029" fmla="*/ 967226 h 4722863"/>
              <a:gd name="connsiteX1030" fmla="*/ 3433196 w 12356823"/>
              <a:gd name="connsiteY1030" fmla="*/ 1001298 h 4722863"/>
              <a:gd name="connsiteX1031" fmla="*/ 3532518 w 12356823"/>
              <a:gd name="connsiteY1031" fmla="*/ 1060150 h 4722863"/>
              <a:gd name="connsiteX1032" fmla="*/ 3621198 w 12356823"/>
              <a:gd name="connsiteY1032" fmla="*/ 1088026 h 4722863"/>
              <a:gd name="connsiteX1033" fmla="*/ 3674407 w 12356823"/>
              <a:gd name="connsiteY1033" fmla="*/ 1106612 h 4722863"/>
              <a:gd name="connsiteX1034" fmla="*/ 3692143 w 12356823"/>
              <a:gd name="connsiteY1034" fmla="*/ 1115904 h 4722863"/>
              <a:gd name="connsiteX1035" fmla="*/ 3699237 w 12356823"/>
              <a:gd name="connsiteY1035" fmla="*/ 1119001 h 4722863"/>
              <a:gd name="connsiteX1036" fmla="*/ 3699237 w 12356823"/>
              <a:gd name="connsiteY1036" fmla="*/ 1122099 h 4722863"/>
              <a:gd name="connsiteX1037" fmla="*/ 3699237 w 12356823"/>
              <a:gd name="connsiteY1037" fmla="*/ 1131392 h 4722863"/>
              <a:gd name="connsiteX1038" fmla="*/ 3699237 w 12356823"/>
              <a:gd name="connsiteY1038" fmla="*/ 1134488 h 4722863"/>
              <a:gd name="connsiteX1039" fmla="*/ 3688596 w 12356823"/>
              <a:gd name="connsiteY1039" fmla="*/ 1140683 h 4722863"/>
              <a:gd name="connsiteX1040" fmla="*/ 3649576 w 12356823"/>
              <a:gd name="connsiteY1040" fmla="*/ 1134488 h 4722863"/>
              <a:gd name="connsiteX1041" fmla="*/ 3525423 w 12356823"/>
              <a:gd name="connsiteY1041" fmla="*/ 1081832 h 4722863"/>
              <a:gd name="connsiteX1042" fmla="*/ 3387082 w 12356823"/>
              <a:gd name="connsiteY1042" fmla="*/ 1032272 h 4722863"/>
              <a:gd name="connsiteX1043" fmla="*/ 3340969 w 12356823"/>
              <a:gd name="connsiteY1043" fmla="*/ 1022981 h 4722863"/>
              <a:gd name="connsiteX1044" fmla="*/ 3326779 w 12356823"/>
              <a:gd name="connsiteY1044" fmla="*/ 1026078 h 4722863"/>
              <a:gd name="connsiteX1045" fmla="*/ 3316138 w 12356823"/>
              <a:gd name="connsiteY1045" fmla="*/ 1035370 h 4722863"/>
              <a:gd name="connsiteX1046" fmla="*/ 3319686 w 12356823"/>
              <a:gd name="connsiteY1046" fmla="*/ 1038468 h 4722863"/>
              <a:gd name="connsiteX1047" fmla="*/ 3316138 w 12356823"/>
              <a:gd name="connsiteY1047" fmla="*/ 1038468 h 4722863"/>
              <a:gd name="connsiteX1048" fmla="*/ 3319686 w 12356823"/>
              <a:gd name="connsiteY1048" fmla="*/ 1041565 h 4722863"/>
              <a:gd name="connsiteX1049" fmla="*/ 3330328 w 12356823"/>
              <a:gd name="connsiteY1049" fmla="*/ 1050857 h 4722863"/>
              <a:gd name="connsiteX1050" fmla="*/ 3376441 w 12356823"/>
              <a:gd name="connsiteY1050" fmla="*/ 1078734 h 4722863"/>
              <a:gd name="connsiteX1051" fmla="*/ 3514782 w 12356823"/>
              <a:gd name="connsiteY1051" fmla="*/ 1146877 h 4722863"/>
              <a:gd name="connsiteX1052" fmla="*/ 3606959 w 12356823"/>
              <a:gd name="connsiteY1052" fmla="*/ 1189039 h 4722863"/>
              <a:gd name="connsiteX1053" fmla="*/ 3829954 w 12356823"/>
              <a:gd name="connsiteY1053" fmla="*/ 1186917 h 4722863"/>
              <a:gd name="connsiteX1054" fmla="*/ 3812749 w 12356823"/>
              <a:gd name="connsiteY1054" fmla="*/ 1171658 h 4722863"/>
              <a:gd name="connsiteX1055" fmla="*/ 3763087 w 12356823"/>
              <a:gd name="connsiteY1055" fmla="*/ 1119001 h 4722863"/>
              <a:gd name="connsiteX1056" fmla="*/ 3752446 w 12356823"/>
              <a:gd name="connsiteY1056" fmla="*/ 1103514 h 4722863"/>
              <a:gd name="connsiteX1057" fmla="*/ 3752446 w 12356823"/>
              <a:gd name="connsiteY1057" fmla="*/ 1100417 h 4722863"/>
              <a:gd name="connsiteX1058" fmla="*/ 3755992 w 12356823"/>
              <a:gd name="connsiteY1058" fmla="*/ 1100417 h 4722863"/>
              <a:gd name="connsiteX1059" fmla="*/ 3755992 w 12356823"/>
              <a:gd name="connsiteY1059" fmla="*/ 1097319 h 4722863"/>
              <a:gd name="connsiteX1060" fmla="*/ 3759540 w 12356823"/>
              <a:gd name="connsiteY1060" fmla="*/ 1100417 h 4722863"/>
              <a:gd name="connsiteX1061" fmla="*/ 3766635 w 12356823"/>
              <a:gd name="connsiteY1061" fmla="*/ 1103514 h 4722863"/>
              <a:gd name="connsiteX1062" fmla="*/ 3780823 w 12356823"/>
              <a:gd name="connsiteY1062" fmla="*/ 1112806 h 4722863"/>
              <a:gd name="connsiteX1063" fmla="*/ 3826937 w 12356823"/>
              <a:gd name="connsiteY1063" fmla="*/ 1146877 h 4722863"/>
              <a:gd name="connsiteX1064" fmla="*/ 3887833 w 12356823"/>
              <a:gd name="connsiteY1064" fmla="*/ 1186341 h 4722863"/>
              <a:gd name="connsiteX1065" fmla="*/ 4028229 w 12356823"/>
              <a:gd name="connsiteY1065" fmla="*/ 1178539 h 4722863"/>
              <a:gd name="connsiteX1066" fmla="*/ 3990108 w 12356823"/>
              <a:gd name="connsiteY1066" fmla="*/ 1159268 h 4722863"/>
              <a:gd name="connsiteX1067" fmla="*/ 3901428 w 12356823"/>
              <a:gd name="connsiteY1067" fmla="*/ 1128293 h 4722863"/>
              <a:gd name="connsiteX1068" fmla="*/ 3890786 w 12356823"/>
              <a:gd name="connsiteY1068" fmla="*/ 1125195 h 4722863"/>
              <a:gd name="connsiteX1069" fmla="*/ 3880145 w 12356823"/>
              <a:gd name="connsiteY1069" fmla="*/ 1119001 h 4722863"/>
              <a:gd name="connsiteX1070" fmla="*/ 3855314 w 12356823"/>
              <a:gd name="connsiteY1070" fmla="*/ 1103514 h 4722863"/>
              <a:gd name="connsiteX1071" fmla="*/ 3816295 w 12356823"/>
              <a:gd name="connsiteY1071" fmla="*/ 1060150 h 4722863"/>
              <a:gd name="connsiteX1072" fmla="*/ 3791464 w 12356823"/>
              <a:gd name="connsiteY1072" fmla="*/ 1022981 h 4722863"/>
              <a:gd name="connsiteX1073" fmla="*/ 3787918 w 12356823"/>
              <a:gd name="connsiteY1073" fmla="*/ 1010590 h 4722863"/>
              <a:gd name="connsiteX1074" fmla="*/ 3791464 w 12356823"/>
              <a:gd name="connsiteY1074" fmla="*/ 1007493 h 4722863"/>
              <a:gd name="connsiteX1075" fmla="*/ 3677955 w 12356823"/>
              <a:gd name="connsiteY1075" fmla="*/ 920765 h 4722863"/>
              <a:gd name="connsiteX1076" fmla="*/ 3624745 w 12356823"/>
              <a:gd name="connsiteY1076" fmla="*/ 871205 h 4722863"/>
              <a:gd name="connsiteX1077" fmla="*/ 3585726 w 12356823"/>
              <a:gd name="connsiteY1077" fmla="*/ 815452 h 4722863"/>
              <a:gd name="connsiteX1078" fmla="*/ 3575085 w 12356823"/>
              <a:gd name="connsiteY1078" fmla="*/ 796867 h 4722863"/>
              <a:gd name="connsiteX1079" fmla="*/ 3575085 w 12356823"/>
              <a:gd name="connsiteY1079" fmla="*/ 793769 h 4722863"/>
              <a:gd name="connsiteX1080" fmla="*/ 3578631 w 12356823"/>
              <a:gd name="connsiteY1080" fmla="*/ 793769 h 4722863"/>
              <a:gd name="connsiteX1081" fmla="*/ 3582178 w 12356823"/>
              <a:gd name="connsiteY1081" fmla="*/ 796867 h 4722863"/>
              <a:gd name="connsiteX1082" fmla="*/ 3585726 w 12356823"/>
              <a:gd name="connsiteY1082" fmla="*/ 799965 h 4722863"/>
              <a:gd name="connsiteX1083" fmla="*/ 3599914 w 12356823"/>
              <a:gd name="connsiteY1083" fmla="*/ 812355 h 4722863"/>
              <a:gd name="connsiteX1084" fmla="*/ 3638934 w 12356823"/>
              <a:gd name="connsiteY1084" fmla="*/ 849523 h 4722863"/>
              <a:gd name="connsiteX1085" fmla="*/ 3887240 w 12356823"/>
              <a:gd name="connsiteY1085" fmla="*/ 1035370 h 4722863"/>
              <a:gd name="connsiteX1086" fmla="*/ 3880145 w 12356823"/>
              <a:gd name="connsiteY1086" fmla="*/ 1035370 h 4722863"/>
              <a:gd name="connsiteX1087" fmla="*/ 3880145 w 12356823"/>
              <a:gd name="connsiteY1087" fmla="*/ 1041565 h 4722863"/>
              <a:gd name="connsiteX1088" fmla="*/ 3954636 w 12356823"/>
              <a:gd name="connsiteY1088" fmla="*/ 1075637 h 4722863"/>
              <a:gd name="connsiteX1089" fmla="*/ 4022032 w 12356823"/>
              <a:gd name="connsiteY1089" fmla="*/ 1106612 h 4722863"/>
              <a:gd name="connsiteX1090" fmla="*/ 3943994 w 12356823"/>
              <a:gd name="connsiteY1090" fmla="*/ 1013688 h 4722863"/>
              <a:gd name="connsiteX1091" fmla="*/ 3855314 w 12356823"/>
              <a:gd name="connsiteY1091" fmla="*/ 920765 h 4722863"/>
              <a:gd name="connsiteX1092" fmla="*/ 3795012 w 12356823"/>
              <a:gd name="connsiteY1092" fmla="*/ 877401 h 4722863"/>
              <a:gd name="connsiteX1093" fmla="*/ 3713427 w 12356823"/>
              <a:gd name="connsiteY1093" fmla="*/ 840231 h 4722863"/>
              <a:gd name="connsiteX1094" fmla="*/ 3706332 w 12356823"/>
              <a:gd name="connsiteY1094" fmla="*/ 834036 h 4722863"/>
              <a:gd name="connsiteX1095" fmla="*/ 3692143 w 12356823"/>
              <a:gd name="connsiteY1095" fmla="*/ 827841 h 4722863"/>
              <a:gd name="connsiteX1096" fmla="*/ 3674407 w 12356823"/>
              <a:gd name="connsiteY1096" fmla="*/ 812355 h 4722863"/>
              <a:gd name="connsiteX1097" fmla="*/ 3635386 w 12356823"/>
              <a:gd name="connsiteY1097" fmla="*/ 765893 h 4722863"/>
              <a:gd name="connsiteX1098" fmla="*/ 3617650 w 12356823"/>
              <a:gd name="connsiteY1098" fmla="*/ 725626 h 4722863"/>
              <a:gd name="connsiteX1099" fmla="*/ 3617650 w 12356823"/>
              <a:gd name="connsiteY1099" fmla="*/ 716334 h 4722863"/>
              <a:gd name="connsiteX1100" fmla="*/ 3621198 w 12356823"/>
              <a:gd name="connsiteY1100" fmla="*/ 713236 h 4722863"/>
              <a:gd name="connsiteX1101" fmla="*/ 3624745 w 12356823"/>
              <a:gd name="connsiteY1101" fmla="*/ 713236 h 4722863"/>
              <a:gd name="connsiteX1102" fmla="*/ 3642481 w 12356823"/>
              <a:gd name="connsiteY1102" fmla="*/ 722529 h 4722863"/>
              <a:gd name="connsiteX1103" fmla="*/ 3674407 w 12356823"/>
              <a:gd name="connsiteY1103" fmla="*/ 738016 h 4722863"/>
              <a:gd name="connsiteX1104" fmla="*/ 3766635 w 12356823"/>
              <a:gd name="connsiteY1104" fmla="*/ 793769 h 4722863"/>
              <a:gd name="connsiteX1105" fmla="*/ 4018486 w 12356823"/>
              <a:gd name="connsiteY1105" fmla="*/ 945544 h 4722863"/>
              <a:gd name="connsiteX1106" fmla="*/ 4029127 w 12356823"/>
              <a:gd name="connsiteY1106" fmla="*/ 951739 h 4722863"/>
              <a:gd name="connsiteX1107" fmla="*/ 4029127 w 12356823"/>
              <a:gd name="connsiteY1107" fmla="*/ 926960 h 4722863"/>
              <a:gd name="connsiteX1108" fmla="*/ 4046863 w 12356823"/>
              <a:gd name="connsiteY1108" fmla="*/ 914570 h 4722863"/>
              <a:gd name="connsiteX1109" fmla="*/ 4071694 w 12356823"/>
              <a:gd name="connsiteY1109" fmla="*/ 917667 h 4722863"/>
              <a:gd name="connsiteX1110" fmla="*/ 4007844 w 12356823"/>
              <a:gd name="connsiteY1110" fmla="*/ 865011 h 4722863"/>
              <a:gd name="connsiteX1111" fmla="*/ 3880145 w 12356823"/>
              <a:gd name="connsiteY1111" fmla="*/ 747309 h 4722863"/>
              <a:gd name="connsiteX1112" fmla="*/ 3848221 w 12356823"/>
              <a:gd name="connsiteY1112" fmla="*/ 694651 h 4722863"/>
              <a:gd name="connsiteX1113" fmla="*/ 3844673 w 12356823"/>
              <a:gd name="connsiteY1113" fmla="*/ 657482 h 4722863"/>
              <a:gd name="connsiteX1114" fmla="*/ 3858861 w 12356823"/>
              <a:gd name="connsiteY1114" fmla="*/ 648190 h 4722863"/>
              <a:gd name="connsiteX1115" fmla="*/ 3883692 w 12356823"/>
              <a:gd name="connsiteY1115" fmla="*/ 651288 h 4722863"/>
              <a:gd name="connsiteX1116" fmla="*/ 3968825 w 12356823"/>
              <a:gd name="connsiteY1116" fmla="*/ 682262 h 4722863"/>
              <a:gd name="connsiteX1117" fmla="*/ 4673050 w 12356823"/>
              <a:gd name="connsiteY1117" fmla="*/ 1012185 h 4722863"/>
              <a:gd name="connsiteX1118" fmla="*/ 4986857 w 12356823"/>
              <a:gd name="connsiteY1118" fmla="*/ 1083759 h 4722863"/>
              <a:gd name="connsiteX1119" fmla="*/ 5190667 w 12356823"/>
              <a:gd name="connsiteY1119" fmla="*/ 1053493 h 4722863"/>
              <a:gd name="connsiteX1120" fmla="*/ 7161801 w 12356823"/>
              <a:gd name="connsiteY1120" fmla="*/ 412784 h 4722863"/>
              <a:gd name="connsiteX1121" fmla="*/ 7232745 w 12356823"/>
              <a:gd name="connsiteY1121" fmla="*/ 363226 h 4722863"/>
              <a:gd name="connsiteX1122" fmla="*/ 7289501 w 12356823"/>
              <a:gd name="connsiteY1122" fmla="*/ 332250 h 4722863"/>
              <a:gd name="connsiteX1123" fmla="*/ 7321425 w 12356823"/>
              <a:gd name="connsiteY1123" fmla="*/ 322959 h 4722863"/>
              <a:gd name="connsiteX1124" fmla="*/ 7324973 w 12356823"/>
              <a:gd name="connsiteY1124" fmla="*/ 350835 h 4722863"/>
              <a:gd name="connsiteX1125" fmla="*/ 7321425 w 12356823"/>
              <a:gd name="connsiteY1125" fmla="*/ 353933 h 4722863"/>
              <a:gd name="connsiteX1126" fmla="*/ 7317878 w 12356823"/>
              <a:gd name="connsiteY1126" fmla="*/ 363226 h 4722863"/>
              <a:gd name="connsiteX1127" fmla="*/ 7296595 w 12356823"/>
              <a:gd name="connsiteY1127" fmla="*/ 381810 h 4722863"/>
              <a:gd name="connsiteX1128" fmla="*/ 7218556 w 12356823"/>
              <a:gd name="connsiteY1128" fmla="*/ 449953 h 4722863"/>
              <a:gd name="connsiteX1129" fmla="*/ 7154707 w 12356823"/>
              <a:gd name="connsiteY1129" fmla="*/ 508806 h 4722863"/>
              <a:gd name="connsiteX1130" fmla="*/ 7403011 w 12356823"/>
              <a:gd name="connsiteY1130" fmla="*/ 316764 h 4722863"/>
              <a:gd name="connsiteX1131" fmla="*/ 7686787 w 12356823"/>
              <a:gd name="connsiteY1131" fmla="*/ 93748 h 4722863"/>
              <a:gd name="connsiteX1132" fmla="*/ 7764825 w 12356823"/>
              <a:gd name="connsiteY1132" fmla="*/ 41090 h 4722863"/>
              <a:gd name="connsiteX1133" fmla="*/ 7825129 w 12356823"/>
              <a:gd name="connsiteY1133" fmla="*/ 10116 h 4722863"/>
              <a:gd name="connsiteX1134" fmla="*/ 7864147 w 12356823"/>
              <a:gd name="connsiteY1134" fmla="*/ 824 h 472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Lst>
            <a:rect l="l" t="t" r="r" b="b"/>
            <a:pathLst>
              <a:path w="12356823" h="4722863">
                <a:moveTo>
                  <a:pt x="10742574" y="1497163"/>
                </a:moveTo>
                <a:cubicBezTo>
                  <a:pt x="10746079" y="1497163"/>
                  <a:pt x="10746079" y="1497163"/>
                  <a:pt x="10749584" y="1497163"/>
                </a:cubicBezTo>
                <a:cubicBezTo>
                  <a:pt x="10756594" y="1494186"/>
                  <a:pt x="10767108" y="1500141"/>
                  <a:pt x="10774118" y="1503116"/>
                </a:cubicBezTo>
                <a:cubicBezTo>
                  <a:pt x="10777624" y="1503116"/>
                  <a:pt x="10781128" y="1506094"/>
                  <a:pt x="10784633" y="1509071"/>
                </a:cubicBezTo>
                <a:cubicBezTo>
                  <a:pt x="10784633" y="1509071"/>
                  <a:pt x="10788138" y="1509071"/>
                  <a:pt x="10788138" y="1509071"/>
                </a:cubicBezTo>
                <a:cubicBezTo>
                  <a:pt x="10788138" y="1509071"/>
                  <a:pt x="10788138" y="1509071"/>
                  <a:pt x="10788138" y="1512048"/>
                </a:cubicBezTo>
                <a:cubicBezTo>
                  <a:pt x="10784633" y="1515024"/>
                  <a:pt x="10784633" y="1515024"/>
                  <a:pt x="10784633" y="1515024"/>
                </a:cubicBezTo>
                <a:cubicBezTo>
                  <a:pt x="10781128" y="1515024"/>
                  <a:pt x="10777624" y="1515024"/>
                  <a:pt x="10774118" y="1515024"/>
                </a:cubicBezTo>
                <a:cubicBezTo>
                  <a:pt x="10767108" y="1515024"/>
                  <a:pt x="10756594" y="1515024"/>
                  <a:pt x="10746079" y="1512048"/>
                </a:cubicBezTo>
                <a:cubicBezTo>
                  <a:pt x="10746079" y="1512048"/>
                  <a:pt x="10746079" y="1509071"/>
                  <a:pt x="10742574" y="1506094"/>
                </a:cubicBezTo>
                <a:cubicBezTo>
                  <a:pt x="10742574" y="1506094"/>
                  <a:pt x="10742574" y="1503116"/>
                  <a:pt x="10742574" y="1500141"/>
                </a:cubicBezTo>
                <a:cubicBezTo>
                  <a:pt x="10742574" y="1500141"/>
                  <a:pt x="10742574" y="1500141"/>
                  <a:pt x="10742574" y="1497163"/>
                </a:cubicBezTo>
                <a:close/>
                <a:moveTo>
                  <a:pt x="10951795" y="1460091"/>
                </a:moveTo>
                <a:cubicBezTo>
                  <a:pt x="10962489" y="1460091"/>
                  <a:pt x="10973183" y="1460091"/>
                  <a:pt x="10980311" y="1463180"/>
                </a:cubicBezTo>
                <a:cubicBezTo>
                  <a:pt x="10987441" y="1466272"/>
                  <a:pt x="10998133" y="1469362"/>
                  <a:pt x="11005263" y="1472453"/>
                </a:cubicBezTo>
                <a:cubicBezTo>
                  <a:pt x="11008827" y="1475543"/>
                  <a:pt x="11012391" y="1475543"/>
                  <a:pt x="11012391" y="1478634"/>
                </a:cubicBezTo>
                <a:cubicBezTo>
                  <a:pt x="11015956" y="1478634"/>
                  <a:pt x="11015956" y="1478634"/>
                  <a:pt x="11015956" y="1481724"/>
                </a:cubicBezTo>
                <a:cubicBezTo>
                  <a:pt x="11015956" y="1481724"/>
                  <a:pt x="11015956" y="1481724"/>
                  <a:pt x="11012391" y="1484816"/>
                </a:cubicBezTo>
                <a:cubicBezTo>
                  <a:pt x="11008827" y="1484816"/>
                  <a:pt x="11005263" y="1484816"/>
                  <a:pt x="11005263" y="1484816"/>
                </a:cubicBezTo>
                <a:cubicBezTo>
                  <a:pt x="10998133" y="1487906"/>
                  <a:pt x="10991005" y="1484816"/>
                  <a:pt x="10983876" y="1487906"/>
                </a:cubicBezTo>
                <a:cubicBezTo>
                  <a:pt x="10944666" y="1484816"/>
                  <a:pt x="10909021" y="1518812"/>
                  <a:pt x="10866247" y="1512631"/>
                </a:cubicBezTo>
                <a:cubicBezTo>
                  <a:pt x="10866247" y="1509541"/>
                  <a:pt x="10869811" y="1509541"/>
                  <a:pt x="10869811" y="1506450"/>
                </a:cubicBezTo>
                <a:cubicBezTo>
                  <a:pt x="10869811" y="1503360"/>
                  <a:pt x="10866247" y="1497178"/>
                  <a:pt x="10866247" y="1497178"/>
                </a:cubicBezTo>
                <a:cubicBezTo>
                  <a:pt x="10866247" y="1494087"/>
                  <a:pt x="10866247" y="1494087"/>
                  <a:pt x="10866247" y="1490997"/>
                </a:cubicBezTo>
                <a:cubicBezTo>
                  <a:pt x="10866247" y="1490997"/>
                  <a:pt x="10866247" y="1487906"/>
                  <a:pt x="10866247" y="1487906"/>
                </a:cubicBezTo>
                <a:cubicBezTo>
                  <a:pt x="10873375" y="1484816"/>
                  <a:pt x="10873375" y="1481724"/>
                  <a:pt x="10876940" y="1478634"/>
                </a:cubicBezTo>
                <a:cubicBezTo>
                  <a:pt x="10880505" y="1478634"/>
                  <a:pt x="10887635" y="1475543"/>
                  <a:pt x="10891199" y="1475543"/>
                </a:cubicBezTo>
                <a:cubicBezTo>
                  <a:pt x="10912586" y="1469362"/>
                  <a:pt x="10930408" y="1466272"/>
                  <a:pt x="10951795" y="1460091"/>
                </a:cubicBezTo>
                <a:close/>
                <a:moveTo>
                  <a:pt x="225646" y="1240356"/>
                </a:moveTo>
                <a:cubicBezTo>
                  <a:pt x="225646" y="1240356"/>
                  <a:pt x="225646" y="1240356"/>
                  <a:pt x="229263" y="1240356"/>
                </a:cubicBezTo>
                <a:cubicBezTo>
                  <a:pt x="232878" y="1243404"/>
                  <a:pt x="236494" y="1246450"/>
                  <a:pt x="236494" y="1249498"/>
                </a:cubicBezTo>
                <a:cubicBezTo>
                  <a:pt x="247343" y="1261688"/>
                  <a:pt x="258191" y="1273877"/>
                  <a:pt x="265424" y="1286065"/>
                </a:cubicBezTo>
                <a:cubicBezTo>
                  <a:pt x="265424" y="1292160"/>
                  <a:pt x="269040" y="1298255"/>
                  <a:pt x="269040" y="1301302"/>
                </a:cubicBezTo>
                <a:cubicBezTo>
                  <a:pt x="269040" y="1304349"/>
                  <a:pt x="269040" y="1304349"/>
                  <a:pt x="269040" y="1307397"/>
                </a:cubicBezTo>
                <a:cubicBezTo>
                  <a:pt x="269040" y="1307397"/>
                  <a:pt x="269040" y="1310444"/>
                  <a:pt x="269040" y="1310444"/>
                </a:cubicBezTo>
                <a:cubicBezTo>
                  <a:pt x="265424" y="1307397"/>
                  <a:pt x="261807" y="1307397"/>
                  <a:pt x="261807" y="1307397"/>
                </a:cubicBezTo>
                <a:cubicBezTo>
                  <a:pt x="254576" y="1295208"/>
                  <a:pt x="243727" y="1279972"/>
                  <a:pt x="236494" y="1267782"/>
                </a:cubicBezTo>
                <a:cubicBezTo>
                  <a:pt x="232878" y="1261688"/>
                  <a:pt x="229263" y="1255593"/>
                  <a:pt x="229263" y="1246450"/>
                </a:cubicBezTo>
                <a:cubicBezTo>
                  <a:pt x="225646" y="1246450"/>
                  <a:pt x="225646" y="1243404"/>
                  <a:pt x="225646" y="1243404"/>
                </a:cubicBezTo>
                <a:cubicBezTo>
                  <a:pt x="225646" y="1240356"/>
                  <a:pt x="225646" y="1240356"/>
                  <a:pt x="225646" y="1240356"/>
                </a:cubicBezTo>
                <a:close/>
                <a:moveTo>
                  <a:pt x="10848" y="978949"/>
                </a:moveTo>
                <a:cubicBezTo>
                  <a:pt x="10848" y="978949"/>
                  <a:pt x="10848" y="978949"/>
                  <a:pt x="14374" y="978949"/>
                </a:cubicBezTo>
                <a:cubicBezTo>
                  <a:pt x="14374" y="978949"/>
                  <a:pt x="14374" y="978949"/>
                  <a:pt x="17899" y="978949"/>
                </a:cubicBezTo>
                <a:cubicBezTo>
                  <a:pt x="17899" y="982054"/>
                  <a:pt x="21425" y="985160"/>
                  <a:pt x="21425" y="988265"/>
                </a:cubicBezTo>
                <a:cubicBezTo>
                  <a:pt x="32002" y="997582"/>
                  <a:pt x="35529" y="1006897"/>
                  <a:pt x="42579" y="1016213"/>
                </a:cubicBezTo>
                <a:cubicBezTo>
                  <a:pt x="77837" y="1069004"/>
                  <a:pt x="116621" y="1081425"/>
                  <a:pt x="151878" y="1137321"/>
                </a:cubicBezTo>
                <a:cubicBezTo>
                  <a:pt x="151878" y="1137321"/>
                  <a:pt x="148352" y="1140427"/>
                  <a:pt x="148352" y="1140427"/>
                </a:cubicBezTo>
                <a:cubicBezTo>
                  <a:pt x="151878" y="1149742"/>
                  <a:pt x="151878" y="1155953"/>
                  <a:pt x="151878" y="1159059"/>
                </a:cubicBezTo>
                <a:cubicBezTo>
                  <a:pt x="151878" y="1162164"/>
                  <a:pt x="151878" y="1162164"/>
                  <a:pt x="151878" y="1165270"/>
                </a:cubicBezTo>
                <a:cubicBezTo>
                  <a:pt x="151878" y="1165270"/>
                  <a:pt x="151878" y="1168375"/>
                  <a:pt x="148352" y="1168375"/>
                </a:cubicBezTo>
                <a:cubicBezTo>
                  <a:pt x="148352" y="1168375"/>
                  <a:pt x="144826" y="1165270"/>
                  <a:pt x="141301" y="1165270"/>
                </a:cubicBezTo>
                <a:cubicBezTo>
                  <a:pt x="137775" y="1162164"/>
                  <a:pt x="134249" y="1155953"/>
                  <a:pt x="127198" y="1152848"/>
                </a:cubicBezTo>
                <a:cubicBezTo>
                  <a:pt x="109570" y="1131110"/>
                  <a:pt x="88414" y="1109373"/>
                  <a:pt x="70786" y="1087636"/>
                </a:cubicBezTo>
                <a:cubicBezTo>
                  <a:pt x="60209" y="1078320"/>
                  <a:pt x="53157" y="1065899"/>
                  <a:pt x="46106" y="1050371"/>
                </a:cubicBezTo>
                <a:cubicBezTo>
                  <a:pt x="35529" y="1034845"/>
                  <a:pt x="28476" y="1019319"/>
                  <a:pt x="21425" y="1000687"/>
                </a:cubicBezTo>
                <a:cubicBezTo>
                  <a:pt x="17899" y="997582"/>
                  <a:pt x="14374" y="988265"/>
                  <a:pt x="14374" y="982054"/>
                </a:cubicBezTo>
                <a:cubicBezTo>
                  <a:pt x="14374" y="982054"/>
                  <a:pt x="14374" y="982054"/>
                  <a:pt x="10848" y="978949"/>
                </a:cubicBezTo>
                <a:close/>
                <a:moveTo>
                  <a:pt x="8697751" y="863228"/>
                </a:moveTo>
                <a:lnTo>
                  <a:pt x="8630343" y="865011"/>
                </a:lnTo>
                <a:cubicBezTo>
                  <a:pt x="8619702" y="865011"/>
                  <a:pt x="8605513" y="865011"/>
                  <a:pt x="8594872" y="868108"/>
                </a:cubicBezTo>
                <a:cubicBezTo>
                  <a:pt x="8591324" y="868108"/>
                  <a:pt x="8587777" y="868108"/>
                  <a:pt x="8584229" y="868108"/>
                </a:cubicBezTo>
                <a:cubicBezTo>
                  <a:pt x="8584229" y="868108"/>
                  <a:pt x="8580683" y="871205"/>
                  <a:pt x="8580683" y="871205"/>
                </a:cubicBezTo>
                <a:cubicBezTo>
                  <a:pt x="8580683" y="878949"/>
                  <a:pt x="8580683" y="885144"/>
                  <a:pt x="8580240" y="890952"/>
                </a:cubicBezTo>
                <a:lnTo>
                  <a:pt x="8579818" y="893321"/>
                </a:lnTo>
                <a:close/>
                <a:moveTo>
                  <a:pt x="9084385" y="626508"/>
                </a:moveTo>
                <a:cubicBezTo>
                  <a:pt x="9080838" y="626508"/>
                  <a:pt x="9080838" y="626508"/>
                  <a:pt x="9080838" y="629606"/>
                </a:cubicBezTo>
                <a:cubicBezTo>
                  <a:pt x="9077292" y="629606"/>
                  <a:pt x="9077292" y="629606"/>
                  <a:pt x="9077292" y="629606"/>
                </a:cubicBezTo>
                <a:cubicBezTo>
                  <a:pt x="9073744" y="645093"/>
                  <a:pt x="9070197" y="648190"/>
                  <a:pt x="9063102" y="660580"/>
                </a:cubicBezTo>
                <a:cubicBezTo>
                  <a:pt x="9063102" y="663677"/>
                  <a:pt x="9063102" y="663677"/>
                  <a:pt x="9063102" y="663677"/>
                </a:cubicBezTo>
                <a:cubicBezTo>
                  <a:pt x="9066649" y="663677"/>
                  <a:pt x="9070197" y="663677"/>
                  <a:pt x="9073744" y="663677"/>
                </a:cubicBezTo>
                <a:cubicBezTo>
                  <a:pt x="9087933" y="663677"/>
                  <a:pt x="9098575" y="663677"/>
                  <a:pt x="9112764" y="666775"/>
                </a:cubicBezTo>
                <a:lnTo>
                  <a:pt x="9220878" y="687437"/>
                </a:lnTo>
                <a:lnTo>
                  <a:pt x="9283231" y="662690"/>
                </a:lnTo>
                <a:lnTo>
                  <a:pt x="9162424" y="635800"/>
                </a:lnTo>
                <a:cubicBezTo>
                  <a:pt x="9141141" y="632703"/>
                  <a:pt x="9119857" y="629606"/>
                  <a:pt x="9102121" y="626508"/>
                </a:cubicBezTo>
                <a:cubicBezTo>
                  <a:pt x="9095028" y="629606"/>
                  <a:pt x="9091480" y="626508"/>
                  <a:pt x="9084385" y="626508"/>
                </a:cubicBezTo>
                <a:close/>
                <a:moveTo>
                  <a:pt x="12143987" y="571686"/>
                </a:moveTo>
                <a:cubicBezTo>
                  <a:pt x="12147534" y="571686"/>
                  <a:pt x="12151081" y="571686"/>
                  <a:pt x="12154629" y="571686"/>
                </a:cubicBezTo>
                <a:cubicBezTo>
                  <a:pt x="12161723" y="571686"/>
                  <a:pt x="12168818" y="574758"/>
                  <a:pt x="12172365" y="574758"/>
                </a:cubicBezTo>
                <a:cubicBezTo>
                  <a:pt x="12179459" y="577831"/>
                  <a:pt x="12186554" y="580904"/>
                  <a:pt x="12197195" y="587049"/>
                </a:cubicBezTo>
                <a:cubicBezTo>
                  <a:pt x="12229121" y="599342"/>
                  <a:pt x="12261046" y="617779"/>
                  <a:pt x="12292972" y="636216"/>
                </a:cubicBezTo>
                <a:cubicBezTo>
                  <a:pt x="12303615" y="642362"/>
                  <a:pt x="12317803" y="651580"/>
                  <a:pt x="12324897" y="663873"/>
                </a:cubicBezTo>
                <a:cubicBezTo>
                  <a:pt x="12335540" y="673091"/>
                  <a:pt x="12346182" y="685383"/>
                  <a:pt x="12349728" y="694602"/>
                </a:cubicBezTo>
                <a:cubicBezTo>
                  <a:pt x="12353276" y="697675"/>
                  <a:pt x="12353276" y="703820"/>
                  <a:pt x="12356823" y="706894"/>
                </a:cubicBezTo>
                <a:cubicBezTo>
                  <a:pt x="12353276" y="709967"/>
                  <a:pt x="12353276" y="709967"/>
                  <a:pt x="12353276" y="709967"/>
                </a:cubicBezTo>
                <a:cubicBezTo>
                  <a:pt x="12353276" y="709967"/>
                  <a:pt x="12353276" y="709967"/>
                  <a:pt x="12353276" y="706894"/>
                </a:cubicBezTo>
                <a:cubicBezTo>
                  <a:pt x="12353276" y="706894"/>
                  <a:pt x="12353276" y="706894"/>
                  <a:pt x="12349728" y="709967"/>
                </a:cubicBezTo>
                <a:cubicBezTo>
                  <a:pt x="12346182" y="706894"/>
                  <a:pt x="12346182" y="706894"/>
                  <a:pt x="12346182" y="706894"/>
                </a:cubicBezTo>
                <a:cubicBezTo>
                  <a:pt x="12342634" y="703820"/>
                  <a:pt x="12339087" y="703820"/>
                  <a:pt x="12335540" y="700748"/>
                </a:cubicBezTo>
                <a:cubicBezTo>
                  <a:pt x="12328446" y="694602"/>
                  <a:pt x="12317803" y="688456"/>
                  <a:pt x="12310708" y="679237"/>
                </a:cubicBezTo>
                <a:cubicBezTo>
                  <a:pt x="12253952" y="639289"/>
                  <a:pt x="12186554" y="630070"/>
                  <a:pt x="12133344" y="587049"/>
                </a:cubicBezTo>
                <a:cubicBezTo>
                  <a:pt x="12133344" y="587049"/>
                  <a:pt x="12136893" y="587049"/>
                  <a:pt x="12140439" y="587049"/>
                </a:cubicBezTo>
                <a:cubicBezTo>
                  <a:pt x="12136893" y="580904"/>
                  <a:pt x="12136893" y="577831"/>
                  <a:pt x="12140439" y="574758"/>
                </a:cubicBezTo>
                <a:cubicBezTo>
                  <a:pt x="12143987" y="571686"/>
                  <a:pt x="12143987" y="571686"/>
                  <a:pt x="12143987" y="571686"/>
                </a:cubicBezTo>
                <a:close/>
                <a:moveTo>
                  <a:pt x="11958742" y="461819"/>
                </a:moveTo>
                <a:cubicBezTo>
                  <a:pt x="11958742" y="464897"/>
                  <a:pt x="11962282" y="464897"/>
                  <a:pt x="11965821" y="464897"/>
                </a:cubicBezTo>
                <a:cubicBezTo>
                  <a:pt x="11976442" y="471053"/>
                  <a:pt x="11990602" y="483366"/>
                  <a:pt x="12001222" y="492600"/>
                </a:cubicBezTo>
                <a:cubicBezTo>
                  <a:pt x="12004762" y="495678"/>
                  <a:pt x="12008302" y="501835"/>
                  <a:pt x="12008302" y="504913"/>
                </a:cubicBezTo>
                <a:cubicBezTo>
                  <a:pt x="12008302" y="507991"/>
                  <a:pt x="12011842" y="507991"/>
                  <a:pt x="12008302" y="511069"/>
                </a:cubicBezTo>
                <a:cubicBezTo>
                  <a:pt x="12008302" y="511069"/>
                  <a:pt x="12008302" y="511069"/>
                  <a:pt x="12004762" y="511069"/>
                </a:cubicBezTo>
                <a:cubicBezTo>
                  <a:pt x="12004762" y="511069"/>
                  <a:pt x="12001222" y="511069"/>
                  <a:pt x="12001222" y="511069"/>
                </a:cubicBezTo>
                <a:cubicBezTo>
                  <a:pt x="11997683" y="507991"/>
                  <a:pt x="11994141" y="504913"/>
                  <a:pt x="11990602" y="501835"/>
                </a:cubicBezTo>
                <a:cubicBezTo>
                  <a:pt x="11972902" y="495678"/>
                  <a:pt x="11962282" y="486443"/>
                  <a:pt x="11948121" y="477209"/>
                </a:cubicBezTo>
                <a:cubicBezTo>
                  <a:pt x="11944581" y="474132"/>
                  <a:pt x="11944581" y="471053"/>
                  <a:pt x="11948121" y="467974"/>
                </a:cubicBezTo>
                <a:cubicBezTo>
                  <a:pt x="11948121" y="467974"/>
                  <a:pt x="11948121" y="464897"/>
                  <a:pt x="11951662" y="464897"/>
                </a:cubicBezTo>
                <a:cubicBezTo>
                  <a:pt x="11951662" y="464897"/>
                  <a:pt x="11951662" y="464897"/>
                  <a:pt x="11955202" y="464897"/>
                </a:cubicBezTo>
                <a:cubicBezTo>
                  <a:pt x="11955202" y="464897"/>
                  <a:pt x="11955202" y="464897"/>
                  <a:pt x="11958742" y="461819"/>
                </a:cubicBezTo>
                <a:close/>
                <a:moveTo>
                  <a:pt x="9291742" y="461819"/>
                </a:moveTo>
                <a:cubicBezTo>
                  <a:pt x="9291742" y="464897"/>
                  <a:pt x="9295282" y="464897"/>
                  <a:pt x="9298821" y="464897"/>
                </a:cubicBezTo>
                <a:cubicBezTo>
                  <a:pt x="9309442" y="471053"/>
                  <a:pt x="9323602" y="483366"/>
                  <a:pt x="9334222" y="492600"/>
                </a:cubicBezTo>
                <a:cubicBezTo>
                  <a:pt x="9337762" y="495678"/>
                  <a:pt x="9341302" y="501835"/>
                  <a:pt x="9341302" y="504913"/>
                </a:cubicBezTo>
                <a:cubicBezTo>
                  <a:pt x="9341302" y="507991"/>
                  <a:pt x="9344842" y="507991"/>
                  <a:pt x="9341302" y="511069"/>
                </a:cubicBezTo>
                <a:cubicBezTo>
                  <a:pt x="9341302" y="511069"/>
                  <a:pt x="9341302" y="511069"/>
                  <a:pt x="9337762" y="511069"/>
                </a:cubicBezTo>
                <a:cubicBezTo>
                  <a:pt x="9337762" y="511069"/>
                  <a:pt x="9334222" y="511069"/>
                  <a:pt x="9334222" y="511069"/>
                </a:cubicBezTo>
                <a:cubicBezTo>
                  <a:pt x="9330683" y="507991"/>
                  <a:pt x="9327141" y="504913"/>
                  <a:pt x="9323602" y="501835"/>
                </a:cubicBezTo>
                <a:cubicBezTo>
                  <a:pt x="9305902" y="495678"/>
                  <a:pt x="9295282" y="486443"/>
                  <a:pt x="9281121" y="477209"/>
                </a:cubicBezTo>
                <a:cubicBezTo>
                  <a:pt x="9277581" y="474132"/>
                  <a:pt x="9277581" y="471053"/>
                  <a:pt x="9281121" y="467974"/>
                </a:cubicBezTo>
                <a:cubicBezTo>
                  <a:pt x="9281121" y="467974"/>
                  <a:pt x="9281121" y="464897"/>
                  <a:pt x="9284662" y="464897"/>
                </a:cubicBezTo>
                <a:cubicBezTo>
                  <a:pt x="9284662" y="464897"/>
                  <a:pt x="9284662" y="464897"/>
                  <a:pt x="9288202" y="464897"/>
                </a:cubicBezTo>
                <a:cubicBezTo>
                  <a:pt x="9288202" y="464897"/>
                  <a:pt x="9288202" y="464897"/>
                  <a:pt x="9291742" y="461819"/>
                </a:cubicBezTo>
                <a:close/>
                <a:moveTo>
                  <a:pt x="7864147" y="824"/>
                </a:moveTo>
                <a:cubicBezTo>
                  <a:pt x="7874789" y="3921"/>
                  <a:pt x="7871242" y="16312"/>
                  <a:pt x="7867695" y="25603"/>
                </a:cubicBezTo>
                <a:cubicBezTo>
                  <a:pt x="7867695" y="28701"/>
                  <a:pt x="7867695" y="28701"/>
                  <a:pt x="7867695" y="31799"/>
                </a:cubicBezTo>
                <a:cubicBezTo>
                  <a:pt x="7864147" y="31799"/>
                  <a:pt x="7860601" y="34896"/>
                  <a:pt x="7860601" y="37994"/>
                </a:cubicBezTo>
                <a:cubicBezTo>
                  <a:pt x="7853506" y="44188"/>
                  <a:pt x="7842865" y="50383"/>
                  <a:pt x="7835770" y="56578"/>
                </a:cubicBezTo>
                <a:cubicBezTo>
                  <a:pt x="7807393" y="81357"/>
                  <a:pt x="7782561" y="103039"/>
                  <a:pt x="7754184" y="127819"/>
                </a:cubicBezTo>
                <a:cubicBezTo>
                  <a:pt x="7676147" y="199061"/>
                  <a:pt x="7594561" y="267204"/>
                  <a:pt x="7516521" y="335348"/>
                </a:cubicBezTo>
                <a:cubicBezTo>
                  <a:pt x="7434936" y="406590"/>
                  <a:pt x="7356897" y="477831"/>
                  <a:pt x="7275311" y="549072"/>
                </a:cubicBezTo>
                <a:cubicBezTo>
                  <a:pt x="7275311" y="549072"/>
                  <a:pt x="7278859" y="545975"/>
                  <a:pt x="7282405" y="545975"/>
                </a:cubicBezTo>
                <a:cubicBezTo>
                  <a:pt x="7289501" y="542877"/>
                  <a:pt x="7296595" y="536682"/>
                  <a:pt x="7303690" y="533584"/>
                </a:cubicBezTo>
                <a:cubicBezTo>
                  <a:pt x="7456219" y="409686"/>
                  <a:pt x="7605202" y="282692"/>
                  <a:pt x="7761279" y="171183"/>
                </a:cubicBezTo>
                <a:cubicBezTo>
                  <a:pt x="7818033" y="134014"/>
                  <a:pt x="7867695" y="90650"/>
                  <a:pt x="7920902" y="50383"/>
                </a:cubicBezTo>
                <a:cubicBezTo>
                  <a:pt x="7931545" y="41090"/>
                  <a:pt x="7938638" y="37994"/>
                  <a:pt x="7949281" y="31799"/>
                </a:cubicBezTo>
                <a:cubicBezTo>
                  <a:pt x="7956375" y="25603"/>
                  <a:pt x="7963469" y="25603"/>
                  <a:pt x="7970564" y="22506"/>
                </a:cubicBezTo>
                <a:cubicBezTo>
                  <a:pt x="7977659" y="22506"/>
                  <a:pt x="7984752" y="22506"/>
                  <a:pt x="7991847" y="25603"/>
                </a:cubicBezTo>
                <a:cubicBezTo>
                  <a:pt x="7995395" y="31799"/>
                  <a:pt x="8002488" y="34896"/>
                  <a:pt x="8009583" y="41090"/>
                </a:cubicBezTo>
                <a:cubicBezTo>
                  <a:pt x="8009583" y="44188"/>
                  <a:pt x="8009583" y="47286"/>
                  <a:pt x="8006036" y="53481"/>
                </a:cubicBezTo>
                <a:cubicBezTo>
                  <a:pt x="8006036" y="56578"/>
                  <a:pt x="8002488" y="59676"/>
                  <a:pt x="7998941" y="62772"/>
                </a:cubicBezTo>
                <a:cubicBezTo>
                  <a:pt x="7988300" y="78261"/>
                  <a:pt x="7977659" y="90650"/>
                  <a:pt x="7963469" y="99942"/>
                </a:cubicBezTo>
                <a:cubicBezTo>
                  <a:pt x="7931545" y="130917"/>
                  <a:pt x="7896073" y="158794"/>
                  <a:pt x="7857053" y="183573"/>
                </a:cubicBezTo>
                <a:cubicBezTo>
                  <a:pt x="7846411" y="195963"/>
                  <a:pt x="7832223" y="205256"/>
                  <a:pt x="7818033" y="214548"/>
                </a:cubicBezTo>
                <a:cubicBezTo>
                  <a:pt x="7818033" y="214548"/>
                  <a:pt x="7818033" y="217645"/>
                  <a:pt x="7818033" y="217645"/>
                </a:cubicBezTo>
                <a:cubicBezTo>
                  <a:pt x="7821581" y="220743"/>
                  <a:pt x="7825129" y="220743"/>
                  <a:pt x="7825129" y="223841"/>
                </a:cubicBezTo>
                <a:cubicBezTo>
                  <a:pt x="7825129" y="223841"/>
                  <a:pt x="7825129" y="220743"/>
                  <a:pt x="7828675" y="220743"/>
                </a:cubicBezTo>
                <a:cubicBezTo>
                  <a:pt x="7839317" y="214548"/>
                  <a:pt x="7849959" y="208353"/>
                  <a:pt x="7857053" y="205256"/>
                </a:cubicBezTo>
                <a:cubicBezTo>
                  <a:pt x="7860601" y="205256"/>
                  <a:pt x="7864147" y="202159"/>
                  <a:pt x="7867695" y="202159"/>
                </a:cubicBezTo>
                <a:cubicBezTo>
                  <a:pt x="7867695" y="205256"/>
                  <a:pt x="7871242" y="202159"/>
                  <a:pt x="7871242" y="205256"/>
                </a:cubicBezTo>
                <a:cubicBezTo>
                  <a:pt x="7874789" y="205256"/>
                  <a:pt x="7871242" y="211450"/>
                  <a:pt x="7867695" y="214548"/>
                </a:cubicBezTo>
                <a:cubicBezTo>
                  <a:pt x="7867695" y="217645"/>
                  <a:pt x="7860601" y="223841"/>
                  <a:pt x="7860601" y="230035"/>
                </a:cubicBezTo>
                <a:cubicBezTo>
                  <a:pt x="7835770" y="257912"/>
                  <a:pt x="7807393" y="282692"/>
                  <a:pt x="7786109" y="307471"/>
                </a:cubicBezTo>
                <a:cubicBezTo>
                  <a:pt x="7775467" y="310568"/>
                  <a:pt x="7771920" y="316764"/>
                  <a:pt x="7768373" y="322959"/>
                </a:cubicBezTo>
                <a:cubicBezTo>
                  <a:pt x="7747089" y="347737"/>
                  <a:pt x="7725807" y="372517"/>
                  <a:pt x="7700976" y="400395"/>
                </a:cubicBezTo>
                <a:cubicBezTo>
                  <a:pt x="7661957" y="443759"/>
                  <a:pt x="7619390" y="493318"/>
                  <a:pt x="7576825" y="539780"/>
                </a:cubicBezTo>
                <a:cubicBezTo>
                  <a:pt x="7654862" y="471636"/>
                  <a:pt x="7718712" y="397297"/>
                  <a:pt x="7803845" y="338446"/>
                </a:cubicBezTo>
                <a:cubicBezTo>
                  <a:pt x="7828675" y="319861"/>
                  <a:pt x="7842865" y="301277"/>
                  <a:pt x="7864147" y="279594"/>
                </a:cubicBezTo>
                <a:cubicBezTo>
                  <a:pt x="7867695" y="276497"/>
                  <a:pt x="7871242" y="273399"/>
                  <a:pt x="7874789" y="270301"/>
                </a:cubicBezTo>
                <a:cubicBezTo>
                  <a:pt x="7878337" y="270301"/>
                  <a:pt x="7881883" y="270301"/>
                  <a:pt x="7885431" y="270301"/>
                </a:cubicBezTo>
                <a:cubicBezTo>
                  <a:pt x="7888978" y="273399"/>
                  <a:pt x="7892525" y="273399"/>
                  <a:pt x="7896073" y="279594"/>
                </a:cubicBezTo>
                <a:cubicBezTo>
                  <a:pt x="7899619" y="285790"/>
                  <a:pt x="7903166" y="288886"/>
                  <a:pt x="7910261" y="298179"/>
                </a:cubicBezTo>
                <a:cubicBezTo>
                  <a:pt x="7910261" y="301277"/>
                  <a:pt x="7910261" y="304374"/>
                  <a:pt x="7910261" y="307471"/>
                </a:cubicBezTo>
                <a:cubicBezTo>
                  <a:pt x="7910261" y="310568"/>
                  <a:pt x="7910261" y="313666"/>
                  <a:pt x="7906714" y="316764"/>
                </a:cubicBezTo>
                <a:cubicBezTo>
                  <a:pt x="7906714" y="322959"/>
                  <a:pt x="7903166" y="332250"/>
                  <a:pt x="7896073" y="335348"/>
                </a:cubicBezTo>
                <a:cubicBezTo>
                  <a:pt x="7888978" y="350835"/>
                  <a:pt x="7874789" y="366322"/>
                  <a:pt x="7860601" y="378712"/>
                </a:cubicBezTo>
                <a:cubicBezTo>
                  <a:pt x="7849959" y="388005"/>
                  <a:pt x="7839317" y="397297"/>
                  <a:pt x="7832223" y="406590"/>
                </a:cubicBezTo>
                <a:cubicBezTo>
                  <a:pt x="7832223" y="406590"/>
                  <a:pt x="7828675" y="406590"/>
                  <a:pt x="7828675" y="406590"/>
                </a:cubicBezTo>
                <a:cubicBezTo>
                  <a:pt x="7828675" y="406590"/>
                  <a:pt x="7832223" y="409686"/>
                  <a:pt x="7828675" y="409686"/>
                </a:cubicBezTo>
                <a:cubicBezTo>
                  <a:pt x="7828675" y="409686"/>
                  <a:pt x="7828675" y="409686"/>
                  <a:pt x="7832223" y="409686"/>
                </a:cubicBezTo>
                <a:cubicBezTo>
                  <a:pt x="7839317" y="406590"/>
                  <a:pt x="7842865" y="403492"/>
                  <a:pt x="7853506" y="403492"/>
                </a:cubicBezTo>
                <a:cubicBezTo>
                  <a:pt x="7857053" y="400395"/>
                  <a:pt x="7860601" y="397297"/>
                  <a:pt x="7864147" y="397297"/>
                </a:cubicBezTo>
                <a:cubicBezTo>
                  <a:pt x="7864147" y="397297"/>
                  <a:pt x="7867695" y="397297"/>
                  <a:pt x="7867695" y="397297"/>
                </a:cubicBezTo>
                <a:cubicBezTo>
                  <a:pt x="7871242" y="400395"/>
                  <a:pt x="7871242" y="400395"/>
                  <a:pt x="7871242" y="400395"/>
                </a:cubicBezTo>
                <a:cubicBezTo>
                  <a:pt x="7938638" y="357030"/>
                  <a:pt x="8006036" y="313666"/>
                  <a:pt x="8069885" y="264107"/>
                </a:cubicBezTo>
                <a:cubicBezTo>
                  <a:pt x="8091169" y="251717"/>
                  <a:pt x="8112451" y="236230"/>
                  <a:pt x="8133735" y="220743"/>
                </a:cubicBezTo>
                <a:cubicBezTo>
                  <a:pt x="8137282" y="217645"/>
                  <a:pt x="8137282" y="217645"/>
                  <a:pt x="8137282" y="214548"/>
                </a:cubicBezTo>
                <a:cubicBezTo>
                  <a:pt x="8144377" y="211450"/>
                  <a:pt x="8151471" y="205256"/>
                  <a:pt x="8158566" y="202159"/>
                </a:cubicBezTo>
                <a:cubicBezTo>
                  <a:pt x="8162113" y="199061"/>
                  <a:pt x="8169207" y="192866"/>
                  <a:pt x="8172754" y="192866"/>
                </a:cubicBezTo>
                <a:cubicBezTo>
                  <a:pt x="8179849" y="189768"/>
                  <a:pt x="8186943" y="186670"/>
                  <a:pt x="8194037" y="186670"/>
                </a:cubicBezTo>
                <a:cubicBezTo>
                  <a:pt x="8204679" y="183573"/>
                  <a:pt x="8211773" y="180476"/>
                  <a:pt x="8222415" y="183573"/>
                </a:cubicBezTo>
                <a:cubicBezTo>
                  <a:pt x="8247245" y="177379"/>
                  <a:pt x="8275623" y="177379"/>
                  <a:pt x="8307548" y="177379"/>
                </a:cubicBezTo>
                <a:cubicBezTo>
                  <a:pt x="8335925" y="180476"/>
                  <a:pt x="8367851" y="174281"/>
                  <a:pt x="8399775" y="168086"/>
                </a:cubicBezTo>
                <a:cubicBezTo>
                  <a:pt x="8428153" y="158794"/>
                  <a:pt x="8456530" y="146404"/>
                  <a:pt x="8481361" y="134014"/>
                </a:cubicBezTo>
                <a:cubicBezTo>
                  <a:pt x="8509738" y="124721"/>
                  <a:pt x="8538116" y="112332"/>
                  <a:pt x="8566493" y="106137"/>
                </a:cubicBezTo>
                <a:cubicBezTo>
                  <a:pt x="8598419" y="96845"/>
                  <a:pt x="8630343" y="93748"/>
                  <a:pt x="8662268" y="93748"/>
                </a:cubicBezTo>
                <a:cubicBezTo>
                  <a:pt x="8704835" y="96845"/>
                  <a:pt x="8747401" y="99942"/>
                  <a:pt x="8789968" y="99942"/>
                </a:cubicBezTo>
                <a:cubicBezTo>
                  <a:pt x="8825440" y="96845"/>
                  <a:pt x="8860912" y="106137"/>
                  <a:pt x="8892836" y="118527"/>
                </a:cubicBezTo>
                <a:cubicBezTo>
                  <a:pt x="8931856" y="134014"/>
                  <a:pt x="8967329" y="149501"/>
                  <a:pt x="8999253" y="171183"/>
                </a:cubicBezTo>
                <a:cubicBezTo>
                  <a:pt x="9013442" y="180476"/>
                  <a:pt x="9027630" y="189768"/>
                  <a:pt x="9034725" y="199061"/>
                </a:cubicBezTo>
                <a:cubicBezTo>
                  <a:pt x="9041820" y="205256"/>
                  <a:pt x="9048913" y="214548"/>
                  <a:pt x="9048913" y="226937"/>
                </a:cubicBezTo>
                <a:cubicBezTo>
                  <a:pt x="9048913" y="236230"/>
                  <a:pt x="9041820" y="242425"/>
                  <a:pt x="9034725" y="248619"/>
                </a:cubicBezTo>
                <a:cubicBezTo>
                  <a:pt x="9020535" y="254815"/>
                  <a:pt x="9002799" y="257912"/>
                  <a:pt x="8985063" y="261010"/>
                </a:cubicBezTo>
                <a:cubicBezTo>
                  <a:pt x="8974422" y="264107"/>
                  <a:pt x="8960234" y="261010"/>
                  <a:pt x="8949592" y="257912"/>
                </a:cubicBezTo>
                <a:cubicBezTo>
                  <a:pt x="8931856" y="257912"/>
                  <a:pt x="8917667" y="254815"/>
                  <a:pt x="8899931" y="251717"/>
                </a:cubicBezTo>
                <a:cubicBezTo>
                  <a:pt x="8868007" y="248619"/>
                  <a:pt x="8839628" y="245523"/>
                  <a:pt x="8807704" y="242425"/>
                </a:cubicBezTo>
                <a:cubicBezTo>
                  <a:pt x="8807704" y="242425"/>
                  <a:pt x="8807704" y="242425"/>
                  <a:pt x="8804157" y="242425"/>
                </a:cubicBezTo>
                <a:cubicBezTo>
                  <a:pt x="8804157" y="242425"/>
                  <a:pt x="8800609" y="245523"/>
                  <a:pt x="8800609" y="245523"/>
                </a:cubicBezTo>
                <a:cubicBezTo>
                  <a:pt x="8800609" y="248619"/>
                  <a:pt x="8800609" y="251717"/>
                  <a:pt x="8800609" y="254815"/>
                </a:cubicBezTo>
                <a:cubicBezTo>
                  <a:pt x="8804157" y="264107"/>
                  <a:pt x="8807704" y="273399"/>
                  <a:pt x="8807704" y="282692"/>
                </a:cubicBezTo>
                <a:cubicBezTo>
                  <a:pt x="8811250" y="288886"/>
                  <a:pt x="8811250" y="291984"/>
                  <a:pt x="8807704" y="295082"/>
                </a:cubicBezTo>
                <a:cubicBezTo>
                  <a:pt x="8807704" y="298179"/>
                  <a:pt x="8807704" y="298179"/>
                  <a:pt x="8804157" y="301277"/>
                </a:cubicBezTo>
                <a:cubicBezTo>
                  <a:pt x="8804157" y="301277"/>
                  <a:pt x="8800609" y="304374"/>
                  <a:pt x="8800609" y="304374"/>
                </a:cubicBezTo>
                <a:cubicBezTo>
                  <a:pt x="8797062" y="304374"/>
                  <a:pt x="8793514" y="304374"/>
                  <a:pt x="8786421" y="307471"/>
                </a:cubicBezTo>
                <a:cubicBezTo>
                  <a:pt x="8782873" y="307471"/>
                  <a:pt x="8775778" y="304374"/>
                  <a:pt x="8772232" y="304374"/>
                </a:cubicBezTo>
                <a:cubicBezTo>
                  <a:pt x="8758042" y="301277"/>
                  <a:pt x="8743854" y="298179"/>
                  <a:pt x="8726118" y="295082"/>
                </a:cubicBezTo>
                <a:cubicBezTo>
                  <a:pt x="8672910" y="282692"/>
                  <a:pt x="8612608" y="285790"/>
                  <a:pt x="8555852" y="291984"/>
                </a:cubicBezTo>
                <a:cubicBezTo>
                  <a:pt x="8474266" y="304374"/>
                  <a:pt x="8392680" y="319861"/>
                  <a:pt x="8314643" y="344641"/>
                </a:cubicBezTo>
                <a:cubicBezTo>
                  <a:pt x="8236603" y="372517"/>
                  <a:pt x="8158566" y="403492"/>
                  <a:pt x="8080527" y="440661"/>
                </a:cubicBezTo>
                <a:cubicBezTo>
                  <a:pt x="8073432" y="443759"/>
                  <a:pt x="8066337" y="449953"/>
                  <a:pt x="8059244" y="453051"/>
                </a:cubicBezTo>
                <a:cubicBezTo>
                  <a:pt x="8066337" y="453051"/>
                  <a:pt x="8069885" y="453051"/>
                  <a:pt x="8076981" y="453051"/>
                </a:cubicBezTo>
                <a:cubicBezTo>
                  <a:pt x="8084073" y="456148"/>
                  <a:pt x="8091169" y="456148"/>
                  <a:pt x="8098263" y="456148"/>
                </a:cubicBezTo>
                <a:cubicBezTo>
                  <a:pt x="8119546" y="443759"/>
                  <a:pt x="8144377" y="434466"/>
                  <a:pt x="8165659" y="428272"/>
                </a:cubicBezTo>
                <a:cubicBezTo>
                  <a:pt x="8169207" y="425174"/>
                  <a:pt x="8172754" y="425174"/>
                  <a:pt x="8172754" y="422077"/>
                </a:cubicBezTo>
                <a:cubicBezTo>
                  <a:pt x="8190490" y="409686"/>
                  <a:pt x="8204679" y="400395"/>
                  <a:pt x="8218867" y="391102"/>
                </a:cubicBezTo>
                <a:cubicBezTo>
                  <a:pt x="8236603" y="381810"/>
                  <a:pt x="8257887" y="375615"/>
                  <a:pt x="8272076" y="375615"/>
                </a:cubicBezTo>
                <a:cubicBezTo>
                  <a:pt x="8296907" y="375615"/>
                  <a:pt x="8321737" y="375615"/>
                  <a:pt x="8346567" y="369420"/>
                </a:cubicBezTo>
                <a:cubicBezTo>
                  <a:pt x="8360757" y="366322"/>
                  <a:pt x="8378493" y="369420"/>
                  <a:pt x="8392680" y="375615"/>
                </a:cubicBezTo>
                <a:cubicBezTo>
                  <a:pt x="8399775" y="369420"/>
                  <a:pt x="8410417" y="366322"/>
                  <a:pt x="8417511" y="360128"/>
                </a:cubicBezTo>
                <a:cubicBezTo>
                  <a:pt x="8424606" y="353933"/>
                  <a:pt x="8428153" y="350835"/>
                  <a:pt x="8438794" y="347737"/>
                </a:cubicBezTo>
                <a:cubicBezTo>
                  <a:pt x="8445889" y="344641"/>
                  <a:pt x="8452983" y="341543"/>
                  <a:pt x="8463625" y="341543"/>
                </a:cubicBezTo>
                <a:cubicBezTo>
                  <a:pt x="8484908" y="335348"/>
                  <a:pt x="8509738" y="335348"/>
                  <a:pt x="8531022" y="332250"/>
                </a:cubicBezTo>
                <a:cubicBezTo>
                  <a:pt x="8584229" y="329153"/>
                  <a:pt x="8640986" y="332250"/>
                  <a:pt x="8701287" y="338446"/>
                </a:cubicBezTo>
                <a:cubicBezTo>
                  <a:pt x="8761590" y="344641"/>
                  <a:pt x="8825440" y="347737"/>
                  <a:pt x="8889290" y="347737"/>
                </a:cubicBezTo>
                <a:cubicBezTo>
                  <a:pt x="8917667" y="347737"/>
                  <a:pt x="8949592" y="350835"/>
                  <a:pt x="8974422" y="347737"/>
                </a:cubicBezTo>
                <a:cubicBezTo>
                  <a:pt x="9002799" y="344641"/>
                  <a:pt x="9027630" y="341543"/>
                  <a:pt x="9056008" y="335348"/>
                </a:cubicBezTo>
                <a:cubicBezTo>
                  <a:pt x="9059556" y="332250"/>
                  <a:pt x="9070197" y="332250"/>
                  <a:pt x="9073744" y="332250"/>
                </a:cubicBezTo>
                <a:cubicBezTo>
                  <a:pt x="9084385" y="332250"/>
                  <a:pt x="9091480" y="332250"/>
                  <a:pt x="9098575" y="332250"/>
                </a:cubicBezTo>
                <a:cubicBezTo>
                  <a:pt x="9116311" y="335348"/>
                  <a:pt x="9134047" y="338446"/>
                  <a:pt x="9151783" y="344641"/>
                </a:cubicBezTo>
                <a:cubicBezTo>
                  <a:pt x="9183707" y="357030"/>
                  <a:pt x="9219179" y="372517"/>
                  <a:pt x="9251105" y="391102"/>
                </a:cubicBezTo>
                <a:cubicBezTo>
                  <a:pt x="9261746" y="400395"/>
                  <a:pt x="9272387" y="406590"/>
                  <a:pt x="9283029" y="415882"/>
                </a:cubicBezTo>
                <a:cubicBezTo>
                  <a:pt x="9286577" y="418979"/>
                  <a:pt x="9290123" y="425174"/>
                  <a:pt x="9290123" y="428272"/>
                </a:cubicBezTo>
                <a:cubicBezTo>
                  <a:pt x="9293670" y="431369"/>
                  <a:pt x="9293670" y="431369"/>
                  <a:pt x="9293670" y="434466"/>
                </a:cubicBezTo>
                <a:cubicBezTo>
                  <a:pt x="9293670" y="434466"/>
                  <a:pt x="9290123" y="434466"/>
                  <a:pt x="9290123" y="437564"/>
                </a:cubicBezTo>
                <a:cubicBezTo>
                  <a:pt x="9290123" y="437564"/>
                  <a:pt x="9290123" y="437564"/>
                  <a:pt x="9286577" y="437564"/>
                </a:cubicBezTo>
                <a:cubicBezTo>
                  <a:pt x="9286577" y="440661"/>
                  <a:pt x="9283029" y="440661"/>
                  <a:pt x="9283029" y="440661"/>
                </a:cubicBezTo>
                <a:cubicBezTo>
                  <a:pt x="9279482" y="440661"/>
                  <a:pt x="9275934" y="437564"/>
                  <a:pt x="9272387" y="437564"/>
                </a:cubicBezTo>
                <a:cubicBezTo>
                  <a:pt x="9254651" y="434466"/>
                  <a:pt x="9236915" y="431369"/>
                  <a:pt x="9219179" y="428272"/>
                </a:cubicBezTo>
                <a:cubicBezTo>
                  <a:pt x="9187255" y="418979"/>
                  <a:pt x="9155329" y="409686"/>
                  <a:pt x="9123405" y="409686"/>
                </a:cubicBezTo>
                <a:cubicBezTo>
                  <a:pt x="9119857" y="409686"/>
                  <a:pt x="9112764" y="409686"/>
                  <a:pt x="9109216" y="409686"/>
                </a:cubicBezTo>
                <a:cubicBezTo>
                  <a:pt x="9109216" y="409686"/>
                  <a:pt x="9105669" y="409686"/>
                  <a:pt x="9102121" y="409686"/>
                </a:cubicBezTo>
                <a:cubicBezTo>
                  <a:pt x="9098575" y="412784"/>
                  <a:pt x="9095028" y="415882"/>
                  <a:pt x="9091480" y="418979"/>
                </a:cubicBezTo>
                <a:cubicBezTo>
                  <a:pt x="9084385" y="440661"/>
                  <a:pt x="9095028" y="465441"/>
                  <a:pt x="9080838" y="490220"/>
                </a:cubicBezTo>
                <a:cubicBezTo>
                  <a:pt x="9077292" y="493318"/>
                  <a:pt x="9073744" y="499513"/>
                  <a:pt x="9073744" y="505708"/>
                </a:cubicBezTo>
                <a:cubicBezTo>
                  <a:pt x="9073744" y="505708"/>
                  <a:pt x="9073744" y="508806"/>
                  <a:pt x="9073744" y="508806"/>
                </a:cubicBezTo>
                <a:cubicBezTo>
                  <a:pt x="9073744" y="508806"/>
                  <a:pt x="9073744" y="508806"/>
                  <a:pt x="9073744" y="511902"/>
                </a:cubicBezTo>
                <a:cubicBezTo>
                  <a:pt x="9077292" y="511902"/>
                  <a:pt x="9077292" y="511902"/>
                  <a:pt x="9077292" y="511902"/>
                </a:cubicBezTo>
                <a:cubicBezTo>
                  <a:pt x="9077292" y="511902"/>
                  <a:pt x="9080838" y="511902"/>
                  <a:pt x="9080838" y="511902"/>
                </a:cubicBezTo>
                <a:cubicBezTo>
                  <a:pt x="9080838" y="511902"/>
                  <a:pt x="9084385" y="511902"/>
                  <a:pt x="9087933" y="511902"/>
                </a:cubicBezTo>
                <a:cubicBezTo>
                  <a:pt x="9091480" y="508806"/>
                  <a:pt x="9098575" y="505708"/>
                  <a:pt x="9105669" y="505708"/>
                </a:cubicBezTo>
                <a:cubicBezTo>
                  <a:pt x="9126952" y="499513"/>
                  <a:pt x="9144688" y="496415"/>
                  <a:pt x="9165971" y="493318"/>
                </a:cubicBezTo>
                <a:cubicBezTo>
                  <a:pt x="9194348" y="493318"/>
                  <a:pt x="9222727" y="493318"/>
                  <a:pt x="9254651" y="502610"/>
                </a:cubicBezTo>
                <a:cubicBezTo>
                  <a:pt x="9290123" y="511902"/>
                  <a:pt x="9325596" y="527390"/>
                  <a:pt x="9357520" y="552169"/>
                </a:cubicBezTo>
                <a:lnTo>
                  <a:pt x="9414037" y="610774"/>
                </a:lnTo>
                <a:lnTo>
                  <a:pt x="9469207" y="588878"/>
                </a:lnTo>
                <a:lnTo>
                  <a:pt x="9466344" y="587049"/>
                </a:lnTo>
                <a:cubicBezTo>
                  <a:pt x="9466344" y="587049"/>
                  <a:pt x="9469893" y="587049"/>
                  <a:pt x="9473439" y="587049"/>
                </a:cubicBezTo>
                <a:cubicBezTo>
                  <a:pt x="9469893" y="580904"/>
                  <a:pt x="9469893" y="577831"/>
                  <a:pt x="9473439" y="574758"/>
                </a:cubicBezTo>
                <a:cubicBezTo>
                  <a:pt x="9476987" y="571686"/>
                  <a:pt x="9476987" y="571686"/>
                  <a:pt x="9476987" y="571686"/>
                </a:cubicBezTo>
                <a:cubicBezTo>
                  <a:pt x="9480534" y="571686"/>
                  <a:pt x="9484081" y="571686"/>
                  <a:pt x="9487629" y="571686"/>
                </a:cubicBezTo>
                <a:lnTo>
                  <a:pt x="9501534" y="574095"/>
                </a:lnTo>
                <a:lnTo>
                  <a:pt x="9828801" y="412784"/>
                </a:lnTo>
                <a:cubicBezTo>
                  <a:pt x="9853632" y="394200"/>
                  <a:pt x="9874915" y="378712"/>
                  <a:pt x="9899745" y="363226"/>
                </a:cubicBezTo>
                <a:cubicBezTo>
                  <a:pt x="9917481" y="350835"/>
                  <a:pt x="9935217" y="338446"/>
                  <a:pt x="9956501" y="332250"/>
                </a:cubicBezTo>
                <a:cubicBezTo>
                  <a:pt x="9967142" y="326055"/>
                  <a:pt x="9981331" y="319861"/>
                  <a:pt x="9988425" y="322959"/>
                </a:cubicBezTo>
                <a:cubicBezTo>
                  <a:pt x="9995519" y="329153"/>
                  <a:pt x="9995519" y="338446"/>
                  <a:pt x="9991973" y="350835"/>
                </a:cubicBezTo>
                <a:cubicBezTo>
                  <a:pt x="9991973" y="350835"/>
                  <a:pt x="9991973" y="350835"/>
                  <a:pt x="9988425" y="353933"/>
                </a:cubicBezTo>
                <a:cubicBezTo>
                  <a:pt x="9988425" y="357030"/>
                  <a:pt x="9984878" y="360128"/>
                  <a:pt x="9984878" y="363226"/>
                </a:cubicBezTo>
                <a:cubicBezTo>
                  <a:pt x="9974237" y="369420"/>
                  <a:pt x="9967142" y="375615"/>
                  <a:pt x="9963595" y="381810"/>
                </a:cubicBezTo>
                <a:cubicBezTo>
                  <a:pt x="9935217" y="406590"/>
                  <a:pt x="9910387" y="428272"/>
                  <a:pt x="9885556" y="449953"/>
                </a:cubicBezTo>
                <a:cubicBezTo>
                  <a:pt x="9864273" y="468539"/>
                  <a:pt x="9842989" y="490220"/>
                  <a:pt x="9821707" y="508806"/>
                </a:cubicBezTo>
                <a:cubicBezTo>
                  <a:pt x="9903292" y="443759"/>
                  <a:pt x="9984878" y="381810"/>
                  <a:pt x="10070011" y="316764"/>
                </a:cubicBezTo>
                <a:cubicBezTo>
                  <a:pt x="10165785" y="245523"/>
                  <a:pt x="10258013" y="164988"/>
                  <a:pt x="10353787" y="93748"/>
                </a:cubicBezTo>
                <a:cubicBezTo>
                  <a:pt x="10382165" y="75163"/>
                  <a:pt x="10406996" y="56578"/>
                  <a:pt x="10431825" y="41090"/>
                </a:cubicBezTo>
                <a:cubicBezTo>
                  <a:pt x="10453109" y="28701"/>
                  <a:pt x="10474393" y="16312"/>
                  <a:pt x="10492129" y="10116"/>
                </a:cubicBezTo>
                <a:cubicBezTo>
                  <a:pt x="10506317" y="3921"/>
                  <a:pt x="10520506" y="-2273"/>
                  <a:pt x="10531147" y="824"/>
                </a:cubicBezTo>
                <a:cubicBezTo>
                  <a:pt x="10541789" y="3921"/>
                  <a:pt x="10538242" y="16312"/>
                  <a:pt x="10534695" y="25603"/>
                </a:cubicBezTo>
                <a:cubicBezTo>
                  <a:pt x="10534695" y="28701"/>
                  <a:pt x="10534695" y="28701"/>
                  <a:pt x="10534695" y="31799"/>
                </a:cubicBezTo>
                <a:cubicBezTo>
                  <a:pt x="10531147" y="31799"/>
                  <a:pt x="10527601" y="34896"/>
                  <a:pt x="10527601" y="37994"/>
                </a:cubicBezTo>
                <a:cubicBezTo>
                  <a:pt x="10520506" y="44188"/>
                  <a:pt x="10509865" y="50383"/>
                  <a:pt x="10502770" y="56578"/>
                </a:cubicBezTo>
                <a:cubicBezTo>
                  <a:pt x="10474393" y="81357"/>
                  <a:pt x="10449561" y="103039"/>
                  <a:pt x="10421184" y="127819"/>
                </a:cubicBezTo>
                <a:cubicBezTo>
                  <a:pt x="10343147" y="199061"/>
                  <a:pt x="10261561" y="267204"/>
                  <a:pt x="10183521" y="335348"/>
                </a:cubicBezTo>
                <a:cubicBezTo>
                  <a:pt x="10101936" y="406590"/>
                  <a:pt x="10023897" y="477831"/>
                  <a:pt x="9942311" y="549072"/>
                </a:cubicBezTo>
                <a:cubicBezTo>
                  <a:pt x="9942311" y="549072"/>
                  <a:pt x="9945859" y="545975"/>
                  <a:pt x="9949405" y="545975"/>
                </a:cubicBezTo>
                <a:cubicBezTo>
                  <a:pt x="9956501" y="542877"/>
                  <a:pt x="9963595" y="536682"/>
                  <a:pt x="9970690" y="533584"/>
                </a:cubicBezTo>
                <a:cubicBezTo>
                  <a:pt x="10123219" y="409686"/>
                  <a:pt x="10272202" y="282692"/>
                  <a:pt x="10428279" y="171183"/>
                </a:cubicBezTo>
                <a:cubicBezTo>
                  <a:pt x="10485033" y="134014"/>
                  <a:pt x="10534695" y="90650"/>
                  <a:pt x="10587902" y="50383"/>
                </a:cubicBezTo>
                <a:cubicBezTo>
                  <a:pt x="10598545" y="41090"/>
                  <a:pt x="10605638" y="37994"/>
                  <a:pt x="10616281" y="31799"/>
                </a:cubicBezTo>
                <a:cubicBezTo>
                  <a:pt x="10623375" y="25603"/>
                  <a:pt x="10630469" y="25603"/>
                  <a:pt x="10637564" y="22506"/>
                </a:cubicBezTo>
                <a:cubicBezTo>
                  <a:pt x="10644659" y="22506"/>
                  <a:pt x="10651752" y="22506"/>
                  <a:pt x="10658847" y="25603"/>
                </a:cubicBezTo>
                <a:cubicBezTo>
                  <a:pt x="10662395" y="31799"/>
                  <a:pt x="10669488" y="34896"/>
                  <a:pt x="10676583" y="41090"/>
                </a:cubicBezTo>
                <a:cubicBezTo>
                  <a:pt x="10676583" y="44188"/>
                  <a:pt x="10676583" y="47286"/>
                  <a:pt x="10673036" y="53481"/>
                </a:cubicBezTo>
                <a:cubicBezTo>
                  <a:pt x="10673036" y="56578"/>
                  <a:pt x="10669488" y="59676"/>
                  <a:pt x="10665941" y="62772"/>
                </a:cubicBezTo>
                <a:cubicBezTo>
                  <a:pt x="10655300" y="78261"/>
                  <a:pt x="10644659" y="90650"/>
                  <a:pt x="10630469" y="99942"/>
                </a:cubicBezTo>
                <a:cubicBezTo>
                  <a:pt x="10598545" y="130917"/>
                  <a:pt x="10563073" y="158794"/>
                  <a:pt x="10524053" y="183573"/>
                </a:cubicBezTo>
                <a:cubicBezTo>
                  <a:pt x="10513411" y="195963"/>
                  <a:pt x="10499223" y="205256"/>
                  <a:pt x="10485033" y="214548"/>
                </a:cubicBezTo>
                <a:cubicBezTo>
                  <a:pt x="10485033" y="214548"/>
                  <a:pt x="10485033" y="217645"/>
                  <a:pt x="10485033" y="217645"/>
                </a:cubicBezTo>
                <a:cubicBezTo>
                  <a:pt x="10488581" y="220743"/>
                  <a:pt x="10492129" y="220743"/>
                  <a:pt x="10492129" y="223841"/>
                </a:cubicBezTo>
                <a:cubicBezTo>
                  <a:pt x="10492129" y="223841"/>
                  <a:pt x="10492129" y="220743"/>
                  <a:pt x="10495675" y="220743"/>
                </a:cubicBezTo>
                <a:cubicBezTo>
                  <a:pt x="10506317" y="214548"/>
                  <a:pt x="10516959" y="208353"/>
                  <a:pt x="10524053" y="205256"/>
                </a:cubicBezTo>
                <a:cubicBezTo>
                  <a:pt x="10527601" y="205256"/>
                  <a:pt x="10531147" y="202159"/>
                  <a:pt x="10534695" y="202159"/>
                </a:cubicBezTo>
                <a:cubicBezTo>
                  <a:pt x="10534695" y="205256"/>
                  <a:pt x="10538242" y="202159"/>
                  <a:pt x="10538242" y="205256"/>
                </a:cubicBezTo>
                <a:cubicBezTo>
                  <a:pt x="10541789" y="205256"/>
                  <a:pt x="10538242" y="211450"/>
                  <a:pt x="10534695" y="214548"/>
                </a:cubicBezTo>
                <a:cubicBezTo>
                  <a:pt x="10534695" y="217645"/>
                  <a:pt x="10527601" y="223841"/>
                  <a:pt x="10527601" y="230035"/>
                </a:cubicBezTo>
                <a:cubicBezTo>
                  <a:pt x="10502770" y="257912"/>
                  <a:pt x="10474393" y="282692"/>
                  <a:pt x="10453109" y="307471"/>
                </a:cubicBezTo>
                <a:cubicBezTo>
                  <a:pt x="10442467" y="310568"/>
                  <a:pt x="10438920" y="316764"/>
                  <a:pt x="10435373" y="322959"/>
                </a:cubicBezTo>
                <a:cubicBezTo>
                  <a:pt x="10414089" y="347737"/>
                  <a:pt x="10392807" y="372517"/>
                  <a:pt x="10367976" y="400395"/>
                </a:cubicBezTo>
                <a:cubicBezTo>
                  <a:pt x="10328957" y="443759"/>
                  <a:pt x="10286390" y="493318"/>
                  <a:pt x="10243825" y="539780"/>
                </a:cubicBezTo>
                <a:cubicBezTo>
                  <a:pt x="10321862" y="471636"/>
                  <a:pt x="10385712" y="397297"/>
                  <a:pt x="10470845" y="338446"/>
                </a:cubicBezTo>
                <a:cubicBezTo>
                  <a:pt x="10495675" y="319861"/>
                  <a:pt x="10509865" y="301277"/>
                  <a:pt x="10531147" y="279594"/>
                </a:cubicBezTo>
                <a:cubicBezTo>
                  <a:pt x="10534695" y="276497"/>
                  <a:pt x="10538242" y="273399"/>
                  <a:pt x="10541789" y="270301"/>
                </a:cubicBezTo>
                <a:cubicBezTo>
                  <a:pt x="10545337" y="270301"/>
                  <a:pt x="10548883" y="270301"/>
                  <a:pt x="10552431" y="270301"/>
                </a:cubicBezTo>
                <a:cubicBezTo>
                  <a:pt x="10555978" y="273399"/>
                  <a:pt x="10559525" y="273399"/>
                  <a:pt x="10563073" y="279594"/>
                </a:cubicBezTo>
                <a:cubicBezTo>
                  <a:pt x="10566619" y="285790"/>
                  <a:pt x="10570166" y="288886"/>
                  <a:pt x="10577261" y="298179"/>
                </a:cubicBezTo>
                <a:cubicBezTo>
                  <a:pt x="10577261" y="301277"/>
                  <a:pt x="10577261" y="304374"/>
                  <a:pt x="10577261" y="307471"/>
                </a:cubicBezTo>
                <a:cubicBezTo>
                  <a:pt x="10577261" y="310568"/>
                  <a:pt x="10577261" y="313666"/>
                  <a:pt x="10573714" y="316764"/>
                </a:cubicBezTo>
                <a:cubicBezTo>
                  <a:pt x="10573714" y="322959"/>
                  <a:pt x="10570166" y="332250"/>
                  <a:pt x="10563073" y="335348"/>
                </a:cubicBezTo>
                <a:cubicBezTo>
                  <a:pt x="10555978" y="350835"/>
                  <a:pt x="10541789" y="366322"/>
                  <a:pt x="10527601" y="378712"/>
                </a:cubicBezTo>
                <a:cubicBezTo>
                  <a:pt x="10516959" y="388005"/>
                  <a:pt x="10506317" y="397297"/>
                  <a:pt x="10499223" y="406590"/>
                </a:cubicBezTo>
                <a:cubicBezTo>
                  <a:pt x="10499223" y="406590"/>
                  <a:pt x="10495675" y="406590"/>
                  <a:pt x="10495675" y="406590"/>
                </a:cubicBezTo>
                <a:cubicBezTo>
                  <a:pt x="10495675" y="406590"/>
                  <a:pt x="10499223" y="409686"/>
                  <a:pt x="10495675" y="409686"/>
                </a:cubicBezTo>
                <a:cubicBezTo>
                  <a:pt x="10495675" y="409686"/>
                  <a:pt x="10495675" y="409686"/>
                  <a:pt x="10499223" y="409686"/>
                </a:cubicBezTo>
                <a:cubicBezTo>
                  <a:pt x="10506317" y="406590"/>
                  <a:pt x="10509865" y="403492"/>
                  <a:pt x="10520506" y="403492"/>
                </a:cubicBezTo>
                <a:cubicBezTo>
                  <a:pt x="10524053" y="400395"/>
                  <a:pt x="10527601" y="397297"/>
                  <a:pt x="10531147" y="397297"/>
                </a:cubicBezTo>
                <a:cubicBezTo>
                  <a:pt x="10531147" y="397297"/>
                  <a:pt x="10534695" y="397297"/>
                  <a:pt x="10534695" y="397297"/>
                </a:cubicBezTo>
                <a:cubicBezTo>
                  <a:pt x="10538242" y="400395"/>
                  <a:pt x="10538242" y="400395"/>
                  <a:pt x="10538242" y="400395"/>
                </a:cubicBezTo>
                <a:cubicBezTo>
                  <a:pt x="10605638" y="357030"/>
                  <a:pt x="10673036" y="313666"/>
                  <a:pt x="10736885" y="264107"/>
                </a:cubicBezTo>
                <a:cubicBezTo>
                  <a:pt x="10758169" y="251717"/>
                  <a:pt x="10779451" y="236230"/>
                  <a:pt x="10800735" y="220743"/>
                </a:cubicBezTo>
                <a:cubicBezTo>
                  <a:pt x="10804282" y="217645"/>
                  <a:pt x="10804282" y="217645"/>
                  <a:pt x="10804282" y="214548"/>
                </a:cubicBezTo>
                <a:cubicBezTo>
                  <a:pt x="10811377" y="211450"/>
                  <a:pt x="10818471" y="205256"/>
                  <a:pt x="10825566" y="202159"/>
                </a:cubicBezTo>
                <a:cubicBezTo>
                  <a:pt x="10829113" y="199061"/>
                  <a:pt x="10836207" y="192866"/>
                  <a:pt x="10839754" y="192866"/>
                </a:cubicBezTo>
                <a:cubicBezTo>
                  <a:pt x="10846849" y="189768"/>
                  <a:pt x="10853943" y="186670"/>
                  <a:pt x="10861037" y="186670"/>
                </a:cubicBezTo>
                <a:cubicBezTo>
                  <a:pt x="10871679" y="183573"/>
                  <a:pt x="10878773" y="180476"/>
                  <a:pt x="10889415" y="183573"/>
                </a:cubicBezTo>
                <a:cubicBezTo>
                  <a:pt x="10914245" y="177379"/>
                  <a:pt x="10942623" y="177379"/>
                  <a:pt x="10974548" y="177379"/>
                </a:cubicBezTo>
                <a:cubicBezTo>
                  <a:pt x="11002925" y="180476"/>
                  <a:pt x="11034851" y="174281"/>
                  <a:pt x="11066775" y="168086"/>
                </a:cubicBezTo>
                <a:cubicBezTo>
                  <a:pt x="11095153" y="158794"/>
                  <a:pt x="11123530" y="146404"/>
                  <a:pt x="11148361" y="134014"/>
                </a:cubicBezTo>
                <a:cubicBezTo>
                  <a:pt x="11176738" y="124721"/>
                  <a:pt x="11205116" y="112332"/>
                  <a:pt x="11233493" y="106137"/>
                </a:cubicBezTo>
                <a:cubicBezTo>
                  <a:pt x="11265419" y="96845"/>
                  <a:pt x="11297343" y="93748"/>
                  <a:pt x="11329268" y="93748"/>
                </a:cubicBezTo>
                <a:cubicBezTo>
                  <a:pt x="11371835" y="96845"/>
                  <a:pt x="11414401" y="99942"/>
                  <a:pt x="11456968" y="99942"/>
                </a:cubicBezTo>
                <a:cubicBezTo>
                  <a:pt x="11492440" y="96845"/>
                  <a:pt x="11527912" y="106137"/>
                  <a:pt x="11559836" y="118527"/>
                </a:cubicBezTo>
                <a:cubicBezTo>
                  <a:pt x="11598856" y="134014"/>
                  <a:pt x="11634329" y="149501"/>
                  <a:pt x="11666253" y="171183"/>
                </a:cubicBezTo>
                <a:cubicBezTo>
                  <a:pt x="11680442" y="180476"/>
                  <a:pt x="11694630" y="189768"/>
                  <a:pt x="11701725" y="199061"/>
                </a:cubicBezTo>
                <a:cubicBezTo>
                  <a:pt x="11708820" y="205256"/>
                  <a:pt x="11715913" y="214548"/>
                  <a:pt x="11715913" y="226937"/>
                </a:cubicBezTo>
                <a:cubicBezTo>
                  <a:pt x="11715913" y="236230"/>
                  <a:pt x="11708820" y="242425"/>
                  <a:pt x="11701725" y="248619"/>
                </a:cubicBezTo>
                <a:cubicBezTo>
                  <a:pt x="11687535" y="254815"/>
                  <a:pt x="11669799" y="257912"/>
                  <a:pt x="11652063" y="261010"/>
                </a:cubicBezTo>
                <a:cubicBezTo>
                  <a:pt x="11641422" y="264107"/>
                  <a:pt x="11627234" y="261010"/>
                  <a:pt x="11616592" y="257912"/>
                </a:cubicBezTo>
                <a:cubicBezTo>
                  <a:pt x="11598856" y="257912"/>
                  <a:pt x="11584667" y="254815"/>
                  <a:pt x="11566931" y="251717"/>
                </a:cubicBezTo>
                <a:cubicBezTo>
                  <a:pt x="11535007" y="248619"/>
                  <a:pt x="11506628" y="245523"/>
                  <a:pt x="11474704" y="242425"/>
                </a:cubicBezTo>
                <a:cubicBezTo>
                  <a:pt x="11474704" y="242425"/>
                  <a:pt x="11474704" y="242425"/>
                  <a:pt x="11471157" y="242425"/>
                </a:cubicBezTo>
                <a:cubicBezTo>
                  <a:pt x="11471157" y="242425"/>
                  <a:pt x="11467609" y="245523"/>
                  <a:pt x="11467609" y="245523"/>
                </a:cubicBezTo>
                <a:cubicBezTo>
                  <a:pt x="11467609" y="248619"/>
                  <a:pt x="11467609" y="251717"/>
                  <a:pt x="11467609" y="254815"/>
                </a:cubicBezTo>
                <a:cubicBezTo>
                  <a:pt x="11471157" y="264107"/>
                  <a:pt x="11474704" y="273399"/>
                  <a:pt x="11474704" y="282692"/>
                </a:cubicBezTo>
                <a:cubicBezTo>
                  <a:pt x="11478250" y="288886"/>
                  <a:pt x="11478250" y="291984"/>
                  <a:pt x="11474704" y="295082"/>
                </a:cubicBezTo>
                <a:cubicBezTo>
                  <a:pt x="11474704" y="298179"/>
                  <a:pt x="11474704" y="298179"/>
                  <a:pt x="11471157" y="301277"/>
                </a:cubicBezTo>
                <a:cubicBezTo>
                  <a:pt x="11471157" y="301277"/>
                  <a:pt x="11467609" y="304374"/>
                  <a:pt x="11467609" y="304374"/>
                </a:cubicBezTo>
                <a:cubicBezTo>
                  <a:pt x="11464062" y="304374"/>
                  <a:pt x="11460514" y="304374"/>
                  <a:pt x="11453421" y="307471"/>
                </a:cubicBezTo>
                <a:cubicBezTo>
                  <a:pt x="11449873" y="307471"/>
                  <a:pt x="11442778" y="304374"/>
                  <a:pt x="11439232" y="304374"/>
                </a:cubicBezTo>
                <a:cubicBezTo>
                  <a:pt x="11425042" y="301277"/>
                  <a:pt x="11410854" y="298179"/>
                  <a:pt x="11393118" y="295082"/>
                </a:cubicBezTo>
                <a:cubicBezTo>
                  <a:pt x="11339910" y="282692"/>
                  <a:pt x="11279608" y="285790"/>
                  <a:pt x="11222852" y="291984"/>
                </a:cubicBezTo>
                <a:cubicBezTo>
                  <a:pt x="11141266" y="304374"/>
                  <a:pt x="11059680" y="319861"/>
                  <a:pt x="10981643" y="344641"/>
                </a:cubicBezTo>
                <a:cubicBezTo>
                  <a:pt x="10903603" y="372517"/>
                  <a:pt x="10825566" y="403492"/>
                  <a:pt x="10747527" y="440661"/>
                </a:cubicBezTo>
                <a:cubicBezTo>
                  <a:pt x="10740432" y="443759"/>
                  <a:pt x="10733337" y="449953"/>
                  <a:pt x="10726244" y="453051"/>
                </a:cubicBezTo>
                <a:cubicBezTo>
                  <a:pt x="10733337" y="453051"/>
                  <a:pt x="10736885" y="453051"/>
                  <a:pt x="10743981" y="453051"/>
                </a:cubicBezTo>
                <a:cubicBezTo>
                  <a:pt x="10751073" y="456148"/>
                  <a:pt x="10758169" y="456148"/>
                  <a:pt x="10765263" y="456148"/>
                </a:cubicBezTo>
                <a:cubicBezTo>
                  <a:pt x="10786546" y="443759"/>
                  <a:pt x="10811377" y="434466"/>
                  <a:pt x="10832659" y="428272"/>
                </a:cubicBezTo>
                <a:cubicBezTo>
                  <a:pt x="10836207" y="425174"/>
                  <a:pt x="10839754" y="425174"/>
                  <a:pt x="10839754" y="422077"/>
                </a:cubicBezTo>
                <a:cubicBezTo>
                  <a:pt x="10857490" y="409686"/>
                  <a:pt x="10871679" y="400395"/>
                  <a:pt x="10885867" y="391102"/>
                </a:cubicBezTo>
                <a:cubicBezTo>
                  <a:pt x="10903603" y="381810"/>
                  <a:pt x="10924887" y="375615"/>
                  <a:pt x="10939076" y="375615"/>
                </a:cubicBezTo>
                <a:cubicBezTo>
                  <a:pt x="10963907" y="375615"/>
                  <a:pt x="10988737" y="375615"/>
                  <a:pt x="11013567" y="369420"/>
                </a:cubicBezTo>
                <a:cubicBezTo>
                  <a:pt x="11027757" y="366322"/>
                  <a:pt x="11045493" y="369420"/>
                  <a:pt x="11059680" y="375615"/>
                </a:cubicBezTo>
                <a:cubicBezTo>
                  <a:pt x="11066775" y="369420"/>
                  <a:pt x="11077417" y="366322"/>
                  <a:pt x="11084511" y="360128"/>
                </a:cubicBezTo>
                <a:cubicBezTo>
                  <a:pt x="11091606" y="353933"/>
                  <a:pt x="11095153" y="350835"/>
                  <a:pt x="11105794" y="347737"/>
                </a:cubicBezTo>
                <a:cubicBezTo>
                  <a:pt x="11112889" y="344641"/>
                  <a:pt x="11119983" y="341543"/>
                  <a:pt x="11130625" y="341543"/>
                </a:cubicBezTo>
                <a:cubicBezTo>
                  <a:pt x="11151908" y="335348"/>
                  <a:pt x="11176738" y="335348"/>
                  <a:pt x="11198022" y="332250"/>
                </a:cubicBezTo>
                <a:cubicBezTo>
                  <a:pt x="11251229" y="329153"/>
                  <a:pt x="11307986" y="332250"/>
                  <a:pt x="11368287" y="338446"/>
                </a:cubicBezTo>
                <a:cubicBezTo>
                  <a:pt x="11428590" y="344641"/>
                  <a:pt x="11492440" y="347737"/>
                  <a:pt x="11556290" y="347737"/>
                </a:cubicBezTo>
                <a:cubicBezTo>
                  <a:pt x="11584667" y="347737"/>
                  <a:pt x="11616592" y="350835"/>
                  <a:pt x="11641422" y="347737"/>
                </a:cubicBezTo>
                <a:cubicBezTo>
                  <a:pt x="11669799" y="344641"/>
                  <a:pt x="11694630" y="341543"/>
                  <a:pt x="11723008" y="335348"/>
                </a:cubicBezTo>
                <a:cubicBezTo>
                  <a:pt x="11726556" y="332250"/>
                  <a:pt x="11737197" y="332250"/>
                  <a:pt x="11740744" y="332250"/>
                </a:cubicBezTo>
                <a:cubicBezTo>
                  <a:pt x="11751385" y="332250"/>
                  <a:pt x="11758480" y="332250"/>
                  <a:pt x="11765575" y="332250"/>
                </a:cubicBezTo>
                <a:cubicBezTo>
                  <a:pt x="11783311" y="335348"/>
                  <a:pt x="11801047" y="338446"/>
                  <a:pt x="11818783" y="344641"/>
                </a:cubicBezTo>
                <a:cubicBezTo>
                  <a:pt x="11850707" y="357030"/>
                  <a:pt x="11886179" y="372517"/>
                  <a:pt x="11918105" y="391102"/>
                </a:cubicBezTo>
                <a:cubicBezTo>
                  <a:pt x="11928746" y="400395"/>
                  <a:pt x="11939387" y="406590"/>
                  <a:pt x="11950029" y="415882"/>
                </a:cubicBezTo>
                <a:cubicBezTo>
                  <a:pt x="11953577" y="418979"/>
                  <a:pt x="11957123" y="425174"/>
                  <a:pt x="11957123" y="428272"/>
                </a:cubicBezTo>
                <a:cubicBezTo>
                  <a:pt x="11960670" y="431369"/>
                  <a:pt x="11960670" y="431369"/>
                  <a:pt x="11960670" y="434466"/>
                </a:cubicBezTo>
                <a:cubicBezTo>
                  <a:pt x="11960670" y="434466"/>
                  <a:pt x="11957123" y="434466"/>
                  <a:pt x="11957123" y="437564"/>
                </a:cubicBezTo>
                <a:cubicBezTo>
                  <a:pt x="11957123" y="437564"/>
                  <a:pt x="11957123" y="437564"/>
                  <a:pt x="11953577" y="437564"/>
                </a:cubicBezTo>
                <a:cubicBezTo>
                  <a:pt x="11953577" y="440661"/>
                  <a:pt x="11950029" y="440661"/>
                  <a:pt x="11950029" y="440661"/>
                </a:cubicBezTo>
                <a:cubicBezTo>
                  <a:pt x="11946482" y="440661"/>
                  <a:pt x="11942934" y="437564"/>
                  <a:pt x="11939387" y="437564"/>
                </a:cubicBezTo>
                <a:cubicBezTo>
                  <a:pt x="11921651" y="434466"/>
                  <a:pt x="11903915" y="431369"/>
                  <a:pt x="11886179" y="428272"/>
                </a:cubicBezTo>
                <a:cubicBezTo>
                  <a:pt x="11854255" y="418979"/>
                  <a:pt x="11822329" y="409686"/>
                  <a:pt x="11790405" y="409686"/>
                </a:cubicBezTo>
                <a:cubicBezTo>
                  <a:pt x="11786857" y="409686"/>
                  <a:pt x="11779764" y="409686"/>
                  <a:pt x="11776216" y="409686"/>
                </a:cubicBezTo>
                <a:cubicBezTo>
                  <a:pt x="11776216" y="409686"/>
                  <a:pt x="11772669" y="409686"/>
                  <a:pt x="11769121" y="409686"/>
                </a:cubicBezTo>
                <a:cubicBezTo>
                  <a:pt x="11765575" y="412784"/>
                  <a:pt x="11762028" y="415882"/>
                  <a:pt x="11758480" y="418979"/>
                </a:cubicBezTo>
                <a:cubicBezTo>
                  <a:pt x="11751385" y="440661"/>
                  <a:pt x="11762028" y="465441"/>
                  <a:pt x="11747838" y="490220"/>
                </a:cubicBezTo>
                <a:cubicBezTo>
                  <a:pt x="11744292" y="493318"/>
                  <a:pt x="11740744" y="499513"/>
                  <a:pt x="11740744" y="505708"/>
                </a:cubicBezTo>
                <a:cubicBezTo>
                  <a:pt x="11740744" y="505708"/>
                  <a:pt x="11740744" y="508806"/>
                  <a:pt x="11740744" y="508806"/>
                </a:cubicBezTo>
                <a:cubicBezTo>
                  <a:pt x="11740744" y="508806"/>
                  <a:pt x="11740744" y="508806"/>
                  <a:pt x="11740744" y="511902"/>
                </a:cubicBezTo>
                <a:cubicBezTo>
                  <a:pt x="11744292" y="511902"/>
                  <a:pt x="11744292" y="511902"/>
                  <a:pt x="11744292" y="511902"/>
                </a:cubicBezTo>
                <a:cubicBezTo>
                  <a:pt x="11744292" y="511902"/>
                  <a:pt x="11747838" y="511902"/>
                  <a:pt x="11747838" y="511902"/>
                </a:cubicBezTo>
                <a:cubicBezTo>
                  <a:pt x="11747838" y="511902"/>
                  <a:pt x="11751385" y="511902"/>
                  <a:pt x="11754933" y="511902"/>
                </a:cubicBezTo>
                <a:cubicBezTo>
                  <a:pt x="11758480" y="508806"/>
                  <a:pt x="11765575" y="505708"/>
                  <a:pt x="11772669" y="505708"/>
                </a:cubicBezTo>
                <a:cubicBezTo>
                  <a:pt x="11793952" y="499513"/>
                  <a:pt x="11811688" y="496415"/>
                  <a:pt x="11832971" y="493318"/>
                </a:cubicBezTo>
                <a:cubicBezTo>
                  <a:pt x="11861348" y="493318"/>
                  <a:pt x="11889727" y="493318"/>
                  <a:pt x="11921651" y="502610"/>
                </a:cubicBezTo>
                <a:cubicBezTo>
                  <a:pt x="11957123" y="511902"/>
                  <a:pt x="11992596" y="527390"/>
                  <a:pt x="12024520" y="552169"/>
                </a:cubicBezTo>
                <a:cubicBezTo>
                  <a:pt x="12045804" y="570754"/>
                  <a:pt x="12063540" y="592436"/>
                  <a:pt x="12081276" y="611022"/>
                </a:cubicBezTo>
                <a:cubicBezTo>
                  <a:pt x="12099012" y="632703"/>
                  <a:pt x="12116748" y="648190"/>
                  <a:pt x="12141578" y="663677"/>
                </a:cubicBezTo>
                <a:cubicBezTo>
                  <a:pt x="12152219" y="672969"/>
                  <a:pt x="12169955" y="679164"/>
                  <a:pt x="12184145" y="682262"/>
                </a:cubicBezTo>
                <a:cubicBezTo>
                  <a:pt x="12205427" y="688457"/>
                  <a:pt x="12223163" y="694651"/>
                  <a:pt x="12247994" y="697749"/>
                </a:cubicBezTo>
                <a:cubicBezTo>
                  <a:pt x="12247994" y="697749"/>
                  <a:pt x="12251541" y="697749"/>
                  <a:pt x="12255089" y="697749"/>
                </a:cubicBezTo>
                <a:cubicBezTo>
                  <a:pt x="12255089" y="700847"/>
                  <a:pt x="12258636" y="700847"/>
                  <a:pt x="12262184" y="703944"/>
                </a:cubicBezTo>
                <a:cubicBezTo>
                  <a:pt x="12265730" y="703944"/>
                  <a:pt x="12272825" y="707042"/>
                  <a:pt x="12272825" y="713236"/>
                </a:cubicBezTo>
                <a:cubicBezTo>
                  <a:pt x="12283466" y="719431"/>
                  <a:pt x="12290561" y="728724"/>
                  <a:pt x="12297654" y="738016"/>
                </a:cubicBezTo>
                <a:cubicBezTo>
                  <a:pt x="12301202" y="744211"/>
                  <a:pt x="12304749" y="753503"/>
                  <a:pt x="12304749" y="762796"/>
                </a:cubicBezTo>
                <a:cubicBezTo>
                  <a:pt x="12304749" y="765893"/>
                  <a:pt x="12304749" y="765893"/>
                  <a:pt x="12304749" y="768991"/>
                </a:cubicBezTo>
                <a:cubicBezTo>
                  <a:pt x="12301202" y="768991"/>
                  <a:pt x="12301202" y="772087"/>
                  <a:pt x="12297654" y="772087"/>
                </a:cubicBezTo>
                <a:cubicBezTo>
                  <a:pt x="12297654" y="772087"/>
                  <a:pt x="12297654" y="772087"/>
                  <a:pt x="12294108" y="772087"/>
                </a:cubicBezTo>
                <a:cubicBezTo>
                  <a:pt x="12290561" y="772087"/>
                  <a:pt x="12287013" y="768991"/>
                  <a:pt x="12279920" y="768991"/>
                </a:cubicBezTo>
                <a:cubicBezTo>
                  <a:pt x="12272825" y="765893"/>
                  <a:pt x="12265730" y="762796"/>
                  <a:pt x="12262184" y="762796"/>
                </a:cubicBezTo>
                <a:cubicBezTo>
                  <a:pt x="12237353" y="753503"/>
                  <a:pt x="12216069" y="747309"/>
                  <a:pt x="12194786" y="738016"/>
                </a:cubicBezTo>
                <a:cubicBezTo>
                  <a:pt x="12130936" y="716334"/>
                  <a:pt x="12070635" y="694651"/>
                  <a:pt x="12010332" y="676067"/>
                </a:cubicBezTo>
                <a:cubicBezTo>
                  <a:pt x="11950029" y="660580"/>
                  <a:pt x="11889727" y="648190"/>
                  <a:pt x="11829424" y="635800"/>
                </a:cubicBezTo>
                <a:cubicBezTo>
                  <a:pt x="11808141" y="632703"/>
                  <a:pt x="11786857" y="629606"/>
                  <a:pt x="11769121" y="626508"/>
                </a:cubicBezTo>
                <a:cubicBezTo>
                  <a:pt x="11762028" y="629606"/>
                  <a:pt x="11758480" y="626508"/>
                  <a:pt x="11751385" y="626508"/>
                </a:cubicBezTo>
                <a:cubicBezTo>
                  <a:pt x="11747838" y="626508"/>
                  <a:pt x="11747838" y="626508"/>
                  <a:pt x="11747838" y="629606"/>
                </a:cubicBezTo>
                <a:cubicBezTo>
                  <a:pt x="11744292" y="629606"/>
                  <a:pt x="11744292" y="629606"/>
                  <a:pt x="11744292" y="629606"/>
                </a:cubicBezTo>
                <a:cubicBezTo>
                  <a:pt x="11740744" y="645093"/>
                  <a:pt x="11737197" y="648190"/>
                  <a:pt x="11730102" y="660580"/>
                </a:cubicBezTo>
                <a:cubicBezTo>
                  <a:pt x="11730102" y="663677"/>
                  <a:pt x="11730102" y="663677"/>
                  <a:pt x="11730102" y="663677"/>
                </a:cubicBezTo>
                <a:cubicBezTo>
                  <a:pt x="11733649" y="663677"/>
                  <a:pt x="11737197" y="663677"/>
                  <a:pt x="11740744" y="663677"/>
                </a:cubicBezTo>
                <a:cubicBezTo>
                  <a:pt x="11754933" y="663677"/>
                  <a:pt x="11765575" y="663677"/>
                  <a:pt x="11779764" y="666775"/>
                </a:cubicBezTo>
                <a:cubicBezTo>
                  <a:pt x="11857802" y="672969"/>
                  <a:pt x="11939387" y="697749"/>
                  <a:pt x="12006784" y="734918"/>
                </a:cubicBezTo>
                <a:cubicBezTo>
                  <a:pt x="12038709" y="747309"/>
                  <a:pt x="12070635" y="768991"/>
                  <a:pt x="12091917" y="793769"/>
                </a:cubicBezTo>
                <a:cubicBezTo>
                  <a:pt x="12102559" y="803062"/>
                  <a:pt x="12106105" y="812355"/>
                  <a:pt x="12113200" y="824743"/>
                </a:cubicBezTo>
                <a:cubicBezTo>
                  <a:pt x="12113200" y="834036"/>
                  <a:pt x="12109654" y="843329"/>
                  <a:pt x="12106105" y="852621"/>
                </a:cubicBezTo>
                <a:cubicBezTo>
                  <a:pt x="12102559" y="855718"/>
                  <a:pt x="12099012" y="858816"/>
                  <a:pt x="12095464" y="858816"/>
                </a:cubicBezTo>
                <a:cubicBezTo>
                  <a:pt x="12088369" y="861914"/>
                  <a:pt x="12081276" y="865011"/>
                  <a:pt x="12074181" y="865011"/>
                </a:cubicBezTo>
                <a:cubicBezTo>
                  <a:pt x="12056445" y="865011"/>
                  <a:pt x="12035163" y="865011"/>
                  <a:pt x="12013878" y="865011"/>
                </a:cubicBezTo>
                <a:cubicBezTo>
                  <a:pt x="11957123" y="858816"/>
                  <a:pt x="11896820" y="846426"/>
                  <a:pt x="11836519" y="834036"/>
                </a:cubicBezTo>
                <a:cubicBezTo>
                  <a:pt x="11772669" y="824743"/>
                  <a:pt x="11708820" y="815452"/>
                  <a:pt x="11641422" y="812355"/>
                </a:cubicBezTo>
                <a:cubicBezTo>
                  <a:pt x="11620139" y="812355"/>
                  <a:pt x="11595308" y="812355"/>
                  <a:pt x="11574026" y="812355"/>
                </a:cubicBezTo>
                <a:cubicBezTo>
                  <a:pt x="11581120" y="815452"/>
                  <a:pt x="11588214" y="821647"/>
                  <a:pt x="11591762" y="827841"/>
                </a:cubicBezTo>
                <a:cubicBezTo>
                  <a:pt x="11595308" y="834036"/>
                  <a:pt x="11602403" y="840231"/>
                  <a:pt x="11602403" y="849523"/>
                </a:cubicBezTo>
                <a:cubicBezTo>
                  <a:pt x="11602403" y="852621"/>
                  <a:pt x="11605950" y="855718"/>
                  <a:pt x="11605950" y="858816"/>
                </a:cubicBezTo>
                <a:cubicBezTo>
                  <a:pt x="11602403" y="858816"/>
                  <a:pt x="11602403" y="858816"/>
                  <a:pt x="11602403" y="861914"/>
                </a:cubicBezTo>
                <a:cubicBezTo>
                  <a:pt x="11602403" y="861914"/>
                  <a:pt x="11602403" y="861914"/>
                  <a:pt x="11598856" y="861914"/>
                </a:cubicBezTo>
                <a:cubicBezTo>
                  <a:pt x="11598856" y="865011"/>
                  <a:pt x="11595308" y="865011"/>
                  <a:pt x="11591762" y="865011"/>
                </a:cubicBezTo>
                <a:cubicBezTo>
                  <a:pt x="11588214" y="865011"/>
                  <a:pt x="11581120" y="865011"/>
                  <a:pt x="11577572" y="865011"/>
                </a:cubicBezTo>
                <a:cubicBezTo>
                  <a:pt x="11563384" y="865011"/>
                  <a:pt x="11549195" y="865011"/>
                  <a:pt x="11531459" y="865011"/>
                </a:cubicBezTo>
                <a:cubicBezTo>
                  <a:pt x="11492440" y="861914"/>
                  <a:pt x="11453421" y="861914"/>
                  <a:pt x="11414401" y="861914"/>
                </a:cubicBezTo>
                <a:cubicBezTo>
                  <a:pt x="11375382" y="861914"/>
                  <a:pt x="11336363" y="861914"/>
                  <a:pt x="11297343" y="865011"/>
                </a:cubicBezTo>
                <a:cubicBezTo>
                  <a:pt x="11286702" y="865011"/>
                  <a:pt x="11272513" y="865011"/>
                  <a:pt x="11261872" y="868108"/>
                </a:cubicBezTo>
                <a:cubicBezTo>
                  <a:pt x="11258324" y="868108"/>
                  <a:pt x="11254777" y="868108"/>
                  <a:pt x="11251229" y="868108"/>
                </a:cubicBezTo>
                <a:cubicBezTo>
                  <a:pt x="11251229" y="868108"/>
                  <a:pt x="11247683" y="871205"/>
                  <a:pt x="11247683" y="871205"/>
                </a:cubicBezTo>
                <a:cubicBezTo>
                  <a:pt x="11247683" y="886692"/>
                  <a:pt x="11247683" y="895985"/>
                  <a:pt x="11244136" y="908376"/>
                </a:cubicBezTo>
                <a:cubicBezTo>
                  <a:pt x="11247683" y="908376"/>
                  <a:pt x="11247683" y="908376"/>
                  <a:pt x="11251229" y="908376"/>
                </a:cubicBezTo>
                <a:cubicBezTo>
                  <a:pt x="11258324" y="908376"/>
                  <a:pt x="11265419" y="902180"/>
                  <a:pt x="11272513" y="902180"/>
                </a:cubicBezTo>
                <a:cubicBezTo>
                  <a:pt x="11325722" y="895985"/>
                  <a:pt x="11378929" y="902180"/>
                  <a:pt x="11425042" y="920765"/>
                </a:cubicBezTo>
                <a:cubicBezTo>
                  <a:pt x="11446326" y="930058"/>
                  <a:pt x="11471157" y="939350"/>
                  <a:pt x="11488893" y="957934"/>
                </a:cubicBezTo>
                <a:cubicBezTo>
                  <a:pt x="11495987" y="964128"/>
                  <a:pt x="11503081" y="973421"/>
                  <a:pt x="11503081" y="982713"/>
                </a:cubicBezTo>
                <a:cubicBezTo>
                  <a:pt x="11510176" y="992006"/>
                  <a:pt x="11510176" y="1001298"/>
                  <a:pt x="11506628" y="1010590"/>
                </a:cubicBezTo>
                <a:cubicBezTo>
                  <a:pt x="11510176" y="1016785"/>
                  <a:pt x="11506628" y="1019883"/>
                  <a:pt x="11503081" y="1022981"/>
                </a:cubicBezTo>
                <a:cubicBezTo>
                  <a:pt x="11499535" y="1029175"/>
                  <a:pt x="11495987" y="1032272"/>
                  <a:pt x="11492440" y="1035370"/>
                </a:cubicBezTo>
                <a:cubicBezTo>
                  <a:pt x="11481799" y="1041565"/>
                  <a:pt x="11467609" y="1047761"/>
                  <a:pt x="11453421" y="1050857"/>
                </a:cubicBezTo>
                <a:cubicBezTo>
                  <a:pt x="11414401" y="1060150"/>
                  <a:pt x="11375382" y="1063246"/>
                  <a:pt x="11336363" y="1063246"/>
                </a:cubicBezTo>
                <a:cubicBezTo>
                  <a:pt x="11293796" y="1069442"/>
                  <a:pt x="11251229" y="1069442"/>
                  <a:pt x="11208664" y="1072539"/>
                </a:cubicBezTo>
                <a:cubicBezTo>
                  <a:pt x="11180286" y="1075637"/>
                  <a:pt x="11148361" y="1078734"/>
                  <a:pt x="11119983" y="1094221"/>
                </a:cubicBezTo>
                <a:cubicBezTo>
                  <a:pt x="11006472" y="1153073"/>
                  <a:pt x="10885867" y="1149975"/>
                  <a:pt x="10775905" y="1221217"/>
                </a:cubicBezTo>
                <a:cubicBezTo>
                  <a:pt x="10754621" y="1233606"/>
                  <a:pt x="10736885" y="1242899"/>
                  <a:pt x="10715601" y="1252191"/>
                </a:cubicBezTo>
                <a:cubicBezTo>
                  <a:pt x="10658847" y="1295555"/>
                  <a:pt x="10602091" y="1342017"/>
                  <a:pt x="10541789" y="1385382"/>
                </a:cubicBezTo>
                <a:cubicBezTo>
                  <a:pt x="10545337" y="1385382"/>
                  <a:pt x="10545337" y="1388479"/>
                  <a:pt x="10545337" y="1391577"/>
                </a:cubicBezTo>
                <a:cubicBezTo>
                  <a:pt x="10548883" y="1397771"/>
                  <a:pt x="10548883" y="1407064"/>
                  <a:pt x="10548883" y="1413259"/>
                </a:cubicBezTo>
                <a:cubicBezTo>
                  <a:pt x="10545337" y="1425648"/>
                  <a:pt x="10541789" y="1434941"/>
                  <a:pt x="10534695" y="1444233"/>
                </a:cubicBezTo>
                <a:cubicBezTo>
                  <a:pt x="10531147" y="1447330"/>
                  <a:pt x="10524053" y="1450428"/>
                  <a:pt x="10516959" y="1456623"/>
                </a:cubicBezTo>
                <a:cubicBezTo>
                  <a:pt x="10509865" y="1459720"/>
                  <a:pt x="10502770" y="1462817"/>
                  <a:pt x="10495675" y="1465915"/>
                </a:cubicBezTo>
                <a:cubicBezTo>
                  <a:pt x="10481487" y="1469013"/>
                  <a:pt x="10467297" y="1475208"/>
                  <a:pt x="10449561" y="1478306"/>
                </a:cubicBezTo>
                <a:cubicBezTo>
                  <a:pt x="10449561" y="1481403"/>
                  <a:pt x="10449561" y="1481403"/>
                  <a:pt x="10446015" y="1481403"/>
                </a:cubicBezTo>
                <a:cubicBezTo>
                  <a:pt x="10446015" y="1484500"/>
                  <a:pt x="10446015" y="1484500"/>
                  <a:pt x="10446015" y="1484500"/>
                </a:cubicBezTo>
                <a:cubicBezTo>
                  <a:pt x="10446015" y="1487597"/>
                  <a:pt x="10449561" y="1490695"/>
                  <a:pt x="10449561" y="1493791"/>
                </a:cubicBezTo>
                <a:cubicBezTo>
                  <a:pt x="10453109" y="1499987"/>
                  <a:pt x="10460203" y="1506182"/>
                  <a:pt x="10467297" y="1512377"/>
                </a:cubicBezTo>
                <a:cubicBezTo>
                  <a:pt x="10467297" y="1515475"/>
                  <a:pt x="10470845" y="1521669"/>
                  <a:pt x="10470845" y="1524766"/>
                </a:cubicBezTo>
                <a:cubicBezTo>
                  <a:pt x="10470845" y="1527864"/>
                  <a:pt x="10467297" y="1527864"/>
                  <a:pt x="10467297" y="1530962"/>
                </a:cubicBezTo>
                <a:cubicBezTo>
                  <a:pt x="10467297" y="1530962"/>
                  <a:pt x="10467297" y="1534059"/>
                  <a:pt x="10467297" y="1534059"/>
                </a:cubicBezTo>
                <a:cubicBezTo>
                  <a:pt x="10467297" y="1537156"/>
                  <a:pt x="10463751" y="1537156"/>
                  <a:pt x="10460203" y="1537156"/>
                </a:cubicBezTo>
                <a:cubicBezTo>
                  <a:pt x="10460203" y="1540253"/>
                  <a:pt x="10456656" y="1540253"/>
                  <a:pt x="10453109" y="1540253"/>
                </a:cubicBezTo>
                <a:cubicBezTo>
                  <a:pt x="10446015" y="1543351"/>
                  <a:pt x="10438920" y="1543351"/>
                  <a:pt x="10431825" y="1543351"/>
                </a:cubicBezTo>
                <a:cubicBezTo>
                  <a:pt x="10403448" y="1546449"/>
                  <a:pt x="10371524" y="1561936"/>
                  <a:pt x="10343147" y="1574326"/>
                </a:cubicBezTo>
                <a:cubicBezTo>
                  <a:pt x="10307674" y="1596008"/>
                  <a:pt x="10268654" y="1620787"/>
                  <a:pt x="10233182" y="1645567"/>
                </a:cubicBezTo>
                <a:cubicBezTo>
                  <a:pt x="10197711" y="1673444"/>
                  <a:pt x="10162239" y="1701320"/>
                  <a:pt x="10126767" y="1732295"/>
                </a:cubicBezTo>
                <a:cubicBezTo>
                  <a:pt x="10116125" y="1747782"/>
                  <a:pt x="10101936" y="1760173"/>
                  <a:pt x="10087747" y="1775660"/>
                </a:cubicBezTo>
                <a:cubicBezTo>
                  <a:pt x="10080653" y="1784952"/>
                  <a:pt x="10073559" y="1797342"/>
                  <a:pt x="10066463" y="1812829"/>
                </a:cubicBezTo>
                <a:cubicBezTo>
                  <a:pt x="10066463" y="1812829"/>
                  <a:pt x="10062917" y="1815927"/>
                  <a:pt x="10062917" y="1815927"/>
                </a:cubicBezTo>
                <a:cubicBezTo>
                  <a:pt x="10062917" y="1815927"/>
                  <a:pt x="10059369" y="1819024"/>
                  <a:pt x="10059369" y="1819024"/>
                </a:cubicBezTo>
                <a:cubicBezTo>
                  <a:pt x="10055823" y="1825218"/>
                  <a:pt x="10048727" y="1828316"/>
                  <a:pt x="10045181" y="1834511"/>
                </a:cubicBezTo>
                <a:cubicBezTo>
                  <a:pt x="10034539" y="1840706"/>
                  <a:pt x="10027445" y="1846900"/>
                  <a:pt x="10016803" y="1856193"/>
                </a:cubicBezTo>
                <a:cubicBezTo>
                  <a:pt x="10013255" y="1859291"/>
                  <a:pt x="10006161" y="1862389"/>
                  <a:pt x="10006161" y="1865486"/>
                </a:cubicBezTo>
                <a:cubicBezTo>
                  <a:pt x="10006161" y="1868583"/>
                  <a:pt x="10002614" y="1868583"/>
                  <a:pt x="10002614" y="1871680"/>
                </a:cubicBezTo>
                <a:cubicBezTo>
                  <a:pt x="10002614" y="1874778"/>
                  <a:pt x="10002614" y="1874778"/>
                  <a:pt x="10002614" y="1874778"/>
                </a:cubicBezTo>
                <a:cubicBezTo>
                  <a:pt x="10006161" y="1874778"/>
                  <a:pt x="10006161" y="1874778"/>
                  <a:pt x="10006161" y="1874778"/>
                </a:cubicBezTo>
                <a:cubicBezTo>
                  <a:pt x="10013255" y="1874778"/>
                  <a:pt x="10020350" y="1874778"/>
                  <a:pt x="10030991" y="1871680"/>
                </a:cubicBezTo>
                <a:cubicBezTo>
                  <a:pt x="10080653" y="1856193"/>
                  <a:pt x="10126767" y="1825218"/>
                  <a:pt x="10176427" y="1784952"/>
                </a:cubicBezTo>
                <a:cubicBezTo>
                  <a:pt x="10201257" y="1766367"/>
                  <a:pt x="10226089" y="1744685"/>
                  <a:pt x="10247371" y="1719906"/>
                </a:cubicBezTo>
                <a:cubicBezTo>
                  <a:pt x="10265107" y="1695126"/>
                  <a:pt x="10279295" y="1673444"/>
                  <a:pt x="10293485" y="1648664"/>
                </a:cubicBezTo>
                <a:cubicBezTo>
                  <a:pt x="10293485" y="1645567"/>
                  <a:pt x="10297031" y="1639371"/>
                  <a:pt x="10300579" y="1639371"/>
                </a:cubicBezTo>
                <a:cubicBezTo>
                  <a:pt x="10304126" y="1633177"/>
                  <a:pt x="10307674" y="1630080"/>
                  <a:pt x="10311221" y="1626982"/>
                </a:cubicBezTo>
                <a:cubicBezTo>
                  <a:pt x="10321862" y="1620787"/>
                  <a:pt x="10332503" y="1617690"/>
                  <a:pt x="10343147" y="1614593"/>
                </a:cubicBezTo>
                <a:cubicBezTo>
                  <a:pt x="10371524" y="1602202"/>
                  <a:pt x="10403448" y="1596008"/>
                  <a:pt x="10431825" y="1586715"/>
                </a:cubicBezTo>
                <a:cubicBezTo>
                  <a:pt x="10460203" y="1577424"/>
                  <a:pt x="10495675" y="1568131"/>
                  <a:pt x="10524053" y="1549546"/>
                </a:cubicBezTo>
                <a:cubicBezTo>
                  <a:pt x="10541789" y="1543351"/>
                  <a:pt x="10552431" y="1530962"/>
                  <a:pt x="10563073" y="1521669"/>
                </a:cubicBezTo>
                <a:cubicBezTo>
                  <a:pt x="10577261" y="1509279"/>
                  <a:pt x="10584355" y="1496889"/>
                  <a:pt x="10591450" y="1481403"/>
                </a:cubicBezTo>
                <a:cubicBezTo>
                  <a:pt x="10594997" y="1478306"/>
                  <a:pt x="10598545" y="1475208"/>
                  <a:pt x="10598545" y="1472110"/>
                </a:cubicBezTo>
                <a:cubicBezTo>
                  <a:pt x="10602091" y="1469013"/>
                  <a:pt x="10609187" y="1465915"/>
                  <a:pt x="10609187" y="1465915"/>
                </a:cubicBezTo>
                <a:cubicBezTo>
                  <a:pt x="10619827" y="1459720"/>
                  <a:pt x="10626923" y="1456623"/>
                  <a:pt x="10637564" y="1456623"/>
                </a:cubicBezTo>
                <a:cubicBezTo>
                  <a:pt x="10655300" y="1453526"/>
                  <a:pt x="10676583" y="1453526"/>
                  <a:pt x="10697867" y="1456623"/>
                </a:cubicBezTo>
                <a:cubicBezTo>
                  <a:pt x="10704960" y="1456623"/>
                  <a:pt x="10712055" y="1459720"/>
                  <a:pt x="10719149" y="1462817"/>
                </a:cubicBezTo>
                <a:cubicBezTo>
                  <a:pt x="10722696" y="1462817"/>
                  <a:pt x="10726244" y="1465915"/>
                  <a:pt x="10729791" y="1465915"/>
                </a:cubicBezTo>
                <a:cubicBezTo>
                  <a:pt x="10729791" y="1469013"/>
                  <a:pt x="10733337" y="1469013"/>
                  <a:pt x="10733337" y="1472110"/>
                </a:cubicBezTo>
                <a:cubicBezTo>
                  <a:pt x="10733337" y="1475208"/>
                  <a:pt x="10733337" y="1475208"/>
                  <a:pt x="10733337" y="1475208"/>
                </a:cubicBezTo>
                <a:cubicBezTo>
                  <a:pt x="10733337" y="1475208"/>
                  <a:pt x="10733337" y="1475208"/>
                  <a:pt x="10733337" y="1478306"/>
                </a:cubicBezTo>
                <a:cubicBezTo>
                  <a:pt x="10729791" y="1478306"/>
                  <a:pt x="10729791" y="1481403"/>
                  <a:pt x="10729791" y="1481403"/>
                </a:cubicBezTo>
                <a:cubicBezTo>
                  <a:pt x="10729791" y="1481403"/>
                  <a:pt x="10729791" y="1484500"/>
                  <a:pt x="10726244" y="1484500"/>
                </a:cubicBezTo>
                <a:cubicBezTo>
                  <a:pt x="10719149" y="1493791"/>
                  <a:pt x="10708508" y="1493791"/>
                  <a:pt x="10697867" y="1496889"/>
                </a:cubicBezTo>
                <a:cubicBezTo>
                  <a:pt x="10683677" y="1503084"/>
                  <a:pt x="10665941" y="1509279"/>
                  <a:pt x="10651752" y="1521669"/>
                </a:cubicBezTo>
                <a:cubicBezTo>
                  <a:pt x="10648205" y="1521669"/>
                  <a:pt x="10648205" y="1521669"/>
                  <a:pt x="10644659" y="1524766"/>
                </a:cubicBezTo>
                <a:cubicBezTo>
                  <a:pt x="10644659" y="1524766"/>
                  <a:pt x="10644659" y="1527864"/>
                  <a:pt x="10644659" y="1530962"/>
                </a:cubicBezTo>
                <a:cubicBezTo>
                  <a:pt x="10641111" y="1534059"/>
                  <a:pt x="10644659" y="1537156"/>
                  <a:pt x="10644659" y="1540253"/>
                </a:cubicBezTo>
                <a:cubicBezTo>
                  <a:pt x="10648205" y="1565033"/>
                  <a:pt x="10662395" y="1580520"/>
                  <a:pt x="10665941" y="1605300"/>
                </a:cubicBezTo>
                <a:cubicBezTo>
                  <a:pt x="10665941" y="1611495"/>
                  <a:pt x="10665941" y="1617690"/>
                  <a:pt x="10665941" y="1620787"/>
                </a:cubicBezTo>
                <a:cubicBezTo>
                  <a:pt x="10669488" y="1623884"/>
                  <a:pt x="10669488" y="1623884"/>
                  <a:pt x="10669488" y="1626982"/>
                </a:cubicBezTo>
                <a:cubicBezTo>
                  <a:pt x="10673036" y="1626982"/>
                  <a:pt x="10673036" y="1626982"/>
                  <a:pt x="10673036" y="1626982"/>
                </a:cubicBezTo>
                <a:cubicBezTo>
                  <a:pt x="10673036" y="1623884"/>
                  <a:pt x="10676583" y="1623884"/>
                  <a:pt x="10673036" y="1620787"/>
                </a:cubicBezTo>
                <a:cubicBezTo>
                  <a:pt x="10680131" y="1617690"/>
                  <a:pt x="10680131" y="1614593"/>
                  <a:pt x="10683677" y="1611495"/>
                </a:cubicBezTo>
                <a:cubicBezTo>
                  <a:pt x="10690772" y="1599106"/>
                  <a:pt x="10697867" y="1586715"/>
                  <a:pt x="10704960" y="1577424"/>
                </a:cubicBezTo>
                <a:cubicBezTo>
                  <a:pt x="10715601" y="1561936"/>
                  <a:pt x="10729791" y="1552644"/>
                  <a:pt x="10747527" y="1546449"/>
                </a:cubicBezTo>
                <a:cubicBezTo>
                  <a:pt x="10772357" y="1537156"/>
                  <a:pt x="10793641" y="1537156"/>
                  <a:pt x="10811377" y="1540253"/>
                </a:cubicBezTo>
                <a:cubicBezTo>
                  <a:pt x="10832659" y="1543351"/>
                  <a:pt x="10850395" y="1552644"/>
                  <a:pt x="10864585" y="1561936"/>
                </a:cubicBezTo>
                <a:cubicBezTo>
                  <a:pt x="10878773" y="1568131"/>
                  <a:pt x="10896509" y="1574326"/>
                  <a:pt x="10914245" y="1571228"/>
                </a:cubicBezTo>
                <a:cubicBezTo>
                  <a:pt x="10921340" y="1571228"/>
                  <a:pt x="10931981" y="1568131"/>
                  <a:pt x="10939076" y="1561936"/>
                </a:cubicBezTo>
                <a:cubicBezTo>
                  <a:pt x="10949717" y="1555740"/>
                  <a:pt x="10963907" y="1546449"/>
                  <a:pt x="10971001" y="1537156"/>
                </a:cubicBezTo>
                <a:cubicBezTo>
                  <a:pt x="10971001" y="1537156"/>
                  <a:pt x="10974548" y="1537156"/>
                  <a:pt x="10974548" y="1534059"/>
                </a:cubicBezTo>
                <a:cubicBezTo>
                  <a:pt x="10978095" y="1534059"/>
                  <a:pt x="10978095" y="1530962"/>
                  <a:pt x="10978095" y="1530962"/>
                </a:cubicBezTo>
                <a:cubicBezTo>
                  <a:pt x="10981643" y="1530962"/>
                  <a:pt x="10985189" y="1530962"/>
                  <a:pt x="10992284" y="1530962"/>
                </a:cubicBezTo>
                <a:cubicBezTo>
                  <a:pt x="10999379" y="1530962"/>
                  <a:pt x="11006472" y="1534059"/>
                  <a:pt x="11013567" y="1537156"/>
                </a:cubicBezTo>
                <a:cubicBezTo>
                  <a:pt x="11020661" y="1540253"/>
                  <a:pt x="11024209" y="1546449"/>
                  <a:pt x="11031303" y="1552644"/>
                </a:cubicBezTo>
                <a:cubicBezTo>
                  <a:pt x="11031303" y="1552644"/>
                  <a:pt x="11031303" y="1555740"/>
                  <a:pt x="11034851" y="1558838"/>
                </a:cubicBezTo>
                <a:cubicBezTo>
                  <a:pt x="11031303" y="1561936"/>
                  <a:pt x="11031303" y="1561936"/>
                  <a:pt x="11031303" y="1561936"/>
                </a:cubicBezTo>
                <a:cubicBezTo>
                  <a:pt x="11031303" y="1565033"/>
                  <a:pt x="11031303" y="1565033"/>
                  <a:pt x="11031303" y="1565033"/>
                </a:cubicBezTo>
                <a:cubicBezTo>
                  <a:pt x="11027757" y="1568131"/>
                  <a:pt x="11027757" y="1571228"/>
                  <a:pt x="11024209" y="1571228"/>
                </a:cubicBezTo>
                <a:cubicBezTo>
                  <a:pt x="11020661" y="1574326"/>
                  <a:pt x="11013567" y="1577424"/>
                  <a:pt x="11010020" y="1577424"/>
                </a:cubicBezTo>
                <a:cubicBezTo>
                  <a:pt x="10999379" y="1586715"/>
                  <a:pt x="10985189" y="1592911"/>
                  <a:pt x="10971001" y="1599106"/>
                </a:cubicBezTo>
                <a:cubicBezTo>
                  <a:pt x="10956812" y="1608398"/>
                  <a:pt x="10942623" y="1614593"/>
                  <a:pt x="10924887" y="1620787"/>
                </a:cubicBezTo>
                <a:cubicBezTo>
                  <a:pt x="10946171" y="1617690"/>
                  <a:pt x="10967453" y="1614593"/>
                  <a:pt x="10985189" y="1611495"/>
                </a:cubicBezTo>
                <a:cubicBezTo>
                  <a:pt x="10992284" y="1611495"/>
                  <a:pt x="11002925" y="1611495"/>
                  <a:pt x="11006472" y="1614593"/>
                </a:cubicBezTo>
                <a:cubicBezTo>
                  <a:pt x="11010020" y="1614593"/>
                  <a:pt x="11006472" y="1617690"/>
                  <a:pt x="11006472" y="1617690"/>
                </a:cubicBezTo>
                <a:cubicBezTo>
                  <a:pt x="11006472" y="1620787"/>
                  <a:pt x="11002925" y="1620787"/>
                  <a:pt x="11002925" y="1620787"/>
                </a:cubicBezTo>
                <a:cubicBezTo>
                  <a:pt x="10999379" y="1620787"/>
                  <a:pt x="10999379" y="1623884"/>
                  <a:pt x="10995831" y="1623884"/>
                </a:cubicBezTo>
                <a:cubicBezTo>
                  <a:pt x="10995831" y="1626982"/>
                  <a:pt x="10992284" y="1626982"/>
                  <a:pt x="10988737" y="1626982"/>
                </a:cubicBezTo>
                <a:cubicBezTo>
                  <a:pt x="10985189" y="1630080"/>
                  <a:pt x="10981643" y="1630080"/>
                  <a:pt x="10978095" y="1633177"/>
                </a:cubicBezTo>
                <a:cubicBezTo>
                  <a:pt x="10967453" y="1636275"/>
                  <a:pt x="10956812" y="1639371"/>
                  <a:pt x="10946171" y="1642469"/>
                </a:cubicBezTo>
                <a:cubicBezTo>
                  <a:pt x="10914245" y="1654860"/>
                  <a:pt x="10882321" y="1661054"/>
                  <a:pt x="10850395" y="1673444"/>
                </a:cubicBezTo>
                <a:cubicBezTo>
                  <a:pt x="10804282" y="1688931"/>
                  <a:pt x="10761717" y="1704418"/>
                  <a:pt x="10719149" y="1723003"/>
                </a:cubicBezTo>
                <a:cubicBezTo>
                  <a:pt x="10719149" y="1723003"/>
                  <a:pt x="10719149" y="1726100"/>
                  <a:pt x="10715601" y="1726100"/>
                </a:cubicBezTo>
                <a:cubicBezTo>
                  <a:pt x="10719149" y="1741588"/>
                  <a:pt x="10719149" y="1747782"/>
                  <a:pt x="10719149" y="1763271"/>
                </a:cubicBezTo>
                <a:cubicBezTo>
                  <a:pt x="10722696" y="1763271"/>
                  <a:pt x="10722696" y="1763271"/>
                  <a:pt x="10726244" y="1760173"/>
                </a:cubicBezTo>
                <a:cubicBezTo>
                  <a:pt x="10733337" y="1753978"/>
                  <a:pt x="10736885" y="1747782"/>
                  <a:pt x="10743981" y="1744685"/>
                </a:cubicBezTo>
                <a:cubicBezTo>
                  <a:pt x="10793641" y="1716809"/>
                  <a:pt x="10843302" y="1704418"/>
                  <a:pt x="10889415" y="1698224"/>
                </a:cubicBezTo>
                <a:cubicBezTo>
                  <a:pt x="10914245" y="1695126"/>
                  <a:pt x="10935529" y="1698224"/>
                  <a:pt x="10953265" y="1704418"/>
                </a:cubicBezTo>
                <a:cubicBezTo>
                  <a:pt x="10963907" y="1707516"/>
                  <a:pt x="10971001" y="1710613"/>
                  <a:pt x="10978095" y="1716809"/>
                </a:cubicBezTo>
                <a:cubicBezTo>
                  <a:pt x="10985189" y="1726100"/>
                  <a:pt x="10988737" y="1732295"/>
                  <a:pt x="10988737" y="1741588"/>
                </a:cubicBezTo>
                <a:cubicBezTo>
                  <a:pt x="10988737" y="1747782"/>
                  <a:pt x="10988737" y="1753978"/>
                  <a:pt x="10988737" y="1757074"/>
                </a:cubicBezTo>
                <a:cubicBezTo>
                  <a:pt x="10985189" y="1763271"/>
                  <a:pt x="10981643" y="1769465"/>
                  <a:pt x="10978095" y="1772562"/>
                </a:cubicBezTo>
                <a:cubicBezTo>
                  <a:pt x="10967453" y="1784952"/>
                  <a:pt x="10956812" y="1794244"/>
                  <a:pt x="10946171" y="1803536"/>
                </a:cubicBezTo>
                <a:cubicBezTo>
                  <a:pt x="10910699" y="1828316"/>
                  <a:pt x="10871679" y="1846900"/>
                  <a:pt x="10836207" y="1862389"/>
                </a:cubicBezTo>
                <a:cubicBezTo>
                  <a:pt x="10797187" y="1884070"/>
                  <a:pt x="10754621" y="1902655"/>
                  <a:pt x="10715601" y="1924336"/>
                </a:cubicBezTo>
                <a:cubicBezTo>
                  <a:pt x="10690772" y="1939823"/>
                  <a:pt x="10658847" y="1952214"/>
                  <a:pt x="10634015" y="1973896"/>
                </a:cubicBezTo>
                <a:cubicBezTo>
                  <a:pt x="10531147" y="2066818"/>
                  <a:pt x="10421184" y="2097791"/>
                  <a:pt x="10321862" y="2187618"/>
                </a:cubicBezTo>
                <a:cubicBezTo>
                  <a:pt x="10293485" y="2215494"/>
                  <a:pt x="10272202" y="2230981"/>
                  <a:pt x="10247371" y="2246469"/>
                </a:cubicBezTo>
                <a:cubicBezTo>
                  <a:pt x="10222541" y="2258859"/>
                  <a:pt x="10204805" y="2274345"/>
                  <a:pt x="10187068" y="2286736"/>
                </a:cubicBezTo>
                <a:cubicBezTo>
                  <a:pt x="10116125" y="2330100"/>
                  <a:pt x="10048727" y="2367270"/>
                  <a:pt x="9977783" y="2407536"/>
                </a:cubicBezTo>
                <a:cubicBezTo>
                  <a:pt x="9779140" y="2515946"/>
                  <a:pt x="9576950" y="2615065"/>
                  <a:pt x="9374759" y="2707988"/>
                </a:cubicBezTo>
                <a:cubicBezTo>
                  <a:pt x="9310910" y="2735866"/>
                  <a:pt x="9140643" y="2940296"/>
                  <a:pt x="8874603" y="2943393"/>
                </a:cubicBezTo>
                <a:cubicBezTo>
                  <a:pt x="8512788" y="2949589"/>
                  <a:pt x="8555355" y="2906224"/>
                  <a:pt x="8661772" y="3491641"/>
                </a:cubicBezTo>
                <a:cubicBezTo>
                  <a:pt x="8679508" y="3600052"/>
                  <a:pt x="8711432" y="3696073"/>
                  <a:pt x="8743358" y="3795191"/>
                </a:cubicBezTo>
                <a:cubicBezTo>
                  <a:pt x="8775282" y="3891211"/>
                  <a:pt x="8778828" y="4129715"/>
                  <a:pt x="8693696" y="4132812"/>
                </a:cubicBezTo>
                <a:cubicBezTo>
                  <a:pt x="8647582" y="4135909"/>
                  <a:pt x="8619205" y="4101838"/>
                  <a:pt x="8605015" y="3816873"/>
                </a:cubicBezTo>
                <a:cubicBezTo>
                  <a:pt x="8601469" y="3708462"/>
                  <a:pt x="8597922" y="3600052"/>
                  <a:pt x="8597922" y="3497836"/>
                </a:cubicBezTo>
                <a:cubicBezTo>
                  <a:pt x="8597922" y="3438985"/>
                  <a:pt x="8594374" y="3386328"/>
                  <a:pt x="8594374" y="3333672"/>
                </a:cubicBezTo>
                <a:cubicBezTo>
                  <a:pt x="8587279" y="3092071"/>
                  <a:pt x="8626300" y="3054902"/>
                  <a:pt x="8420561" y="3126143"/>
                </a:cubicBezTo>
                <a:cubicBezTo>
                  <a:pt x="8342522" y="3154020"/>
                  <a:pt x="8275126" y="3154020"/>
                  <a:pt x="8260936" y="3200482"/>
                </a:cubicBezTo>
                <a:cubicBezTo>
                  <a:pt x="8257390" y="3222164"/>
                  <a:pt x="8260936" y="3271723"/>
                  <a:pt x="8268031" y="3305794"/>
                </a:cubicBezTo>
                <a:cubicBezTo>
                  <a:pt x="8310598" y="3457570"/>
                  <a:pt x="8239654" y="3531908"/>
                  <a:pt x="8225464" y="3358452"/>
                </a:cubicBezTo>
                <a:cubicBezTo>
                  <a:pt x="8225464" y="3339867"/>
                  <a:pt x="8225464" y="3305794"/>
                  <a:pt x="8236107" y="3271723"/>
                </a:cubicBezTo>
                <a:cubicBezTo>
                  <a:pt x="8260936" y="3150923"/>
                  <a:pt x="8271579" y="3191189"/>
                  <a:pt x="8133237" y="3194287"/>
                </a:cubicBezTo>
                <a:cubicBezTo>
                  <a:pt x="7980709" y="3200482"/>
                  <a:pt x="7835273" y="3237651"/>
                  <a:pt x="7867197" y="3414205"/>
                </a:cubicBezTo>
                <a:cubicBezTo>
                  <a:pt x="7881387" y="3504032"/>
                  <a:pt x="7923952" y="3584565"/>
                  <a:pt x="7923952" y="3689877"/>
                </a:cubicBezTo>
                <a:cubicBezTo>
                  <a:pt x="7923952" y="3807581"/>
                  <a:pt x="7892028" y="3894309"/>
                  <a:pt x="7860103" y="3711560"/>
                </a:cubicBezTo>
                <a:cubicBezTo>
                  <a:pt x="7853009" y="3671293"/>
                  <a:pt x="7860103" y="3541201"/>
                  <a:pt x="7856556" y="3423498"/>
                </a:cubicBezTo>
                <a:cubicBezTo>
                  <a:pt x="7845915" y="3222164"/>
                  <a:pt x="7824630" y="3277918"/>
                  <a:pt x="7668554" y="3302698"/>
                </a:cubicBezTo>
                <a:cubicBezTo>
                  <a:pt x="7466366" y="3336769"/>
                  <a:pt x="7512477" y="3355354"/>
                  <a:pt x="7530213" y="3600052"/>
                </a:cubicBezTo>
                <a:cubicBezTo>
                  <a:pt x="7551496" y="3878822"/>
                  <a:pt x="7601157" y="4160689"/>
                  <a:pt x="7590516" y="4420874"/>
                </a:cubicBezTo>
                <a:cubicBezTo>
                  <a:pt x="7586968" y="4585039"/>
                  <a:pt x="7597609" y="4671768"/>
                  <a:pt x="7491194" y="4718230"/>
                </a:cubicBezTo>
                <a:cubicBezTo>
                  <a:pt x="7413156" y="4752301"/>
                  <a:pt x="7384779" y="4594332"/>
                  <a:pt x="7448631" y="4380608"/>
                </a:cubicBezTo>
                <a:cubicBezTo>
                  <a:pt x="7491194" y="4225736"/>
                  <a:pt x="7608252" y="3339867"/>
                  <a:pt x="7416703" y="3336769"/>
                </a:cubicBezTo>
                <a:cubicBezTo>
                  <a:pt x="7249985" y="3333672"/>
                  <a:pt x="7203870" y="3194287"/>
                  <a:pt x="7221608" y="3457570"/>
                </a:cubicBezTo>
                <a:cubicBezTo>
                  <a:pt x="7228701" y="3541201"/>
                  <a:pt x="7257082" y="3723950"/>
                  <a:pt x="7242890" y="3807581"/>
                </a:cubicBezTo>
                <a:cubicBezTo>
                  <a:pt x="7235797" y="3841653"/>
                  <a:pt x="7221608" y="3860237"/>
                  <a:pt x="7207419" y="3863335"/>
                </a:cubicBezTo>
                <a:cubicBezTo>
                  <a:pt x="7168402" y="3866433"/>
                  <a:pt x="7161306" y="3782801"/>
                  <a:pt x="7171949" y="3689877"/>
                </a:cubicBezTo>
                <a:cubicBezTo>
                  <a:pt x="7182589" y="3615539"/>
                  <a:pt x="7214513" y="3535006"/>
                  <a:pt x="7207419" y="3479252"/>
                </a:cubicBezTo>
                <a:cubicBezTo>
                  <a:pt x="7186135" y="3256236"/>
                  <a:pt x="7150666" y="3268625"/>
                  <a:pt x="7072628" y="3311990"/>
                </a:cubicBezTo>
                <a:cubicBezTo>
                  <a:pt x="7008777" y="3346061"/>
                  <a:pt x="6927191" y="3315087"/>
                  <a:pt x="6842060" y="3318185"/>
                </a:cubicBezTo>
                <a:cubicBezTo>
                  <a:pt x="6746284" y="3321282"/>
                  <a:pt x="6693076" y="3274820"/>
                  <a:pt x="6735642" y="3392523"/>
                </a:cubicBezTo>
                <a:cubicBezTo>
                  <a:pt x="6856247" y="3674390"/>
                  <a:pt x="6536999" y="3640319"/>
                  <a:pt x="6590207" y="3420401"/>
                </a:cubicBezTo>
                <a:cubicBezTo>
                  <a:pt x="6618585" y="3271723"/>
                  <a:pt x="6774664" y="3281016"/>
                  <a:pt x="6547642" y="3253138"/>
                </a:cubicBezTo>
                <a:cubicBezTo>
                  <a:pt x="6398660" y="3234554"/>
                  <a:pt x="6235487" y="3209774"/>
                  <a:pt x="6175185" y="3315087"/>
                </a:cubicBezTo>
                <a:cubicBezTo>
                  <a:pt x="6107789" y="3435888"/>
                  <a:pt x="6224845" y="3863335"/>
                  <a:pt x="6235487" y="4018207"/>
                </a:cubicBezTo>
                <a:cubicBezTo>
                  <a:pt x="6249675" y="4222638"/>
                  <a:pt x="6317072" y="4386803"/>
                  <a:pt x="6200016" y="4374414"/>
                </a:cubicBezTo>
                <a:cubicBezTo>
                  <a:pt x="6107789" y="4365121"/>
                  <a:pt x="6121977" y="4216443"/>
                  <a:pt x="6153902" y="4021304"/>
                </a:cubicBezTo>
                <a:cubicBezTo>
                  <a:pt x="6182280" y="3838555"/>
                  <a:pt x="6139713" y="3562883"/>
                  <a:pt x="6125525" y="3377036"/>
                </a:cubicBezTo>
                <a:cubicBezTo>
                  <a:pt x="6118874" y="3282177"/>
                  <a:pt x="6041556" y="3230875"/>
                  <a:pt x="5957656" y="3210276"/>
                </a:cubicBezTo>
                <a:lnTo>
                  <a:pt x="5940846" y="3207361"/>
                </a:lnTo>
                <a:lnTo>
                  <a:pt x="5943892" y="3224189"/>
                </a:lnTo>
                <a:cubicBezTo>
                  <a:pt x="5957111" y="3294215"/>
                  <a:pt x="5974819" y="3381875"/>
                  <a:pt x="5994772" y="3491641"/>
                </a:cubicBezTo>
                <a:cubicBezTo>
                  <a:pt x="6012508" y="3600052"/>
                  <a:pt x="6044433" y="3696073"/>
                  <a:pt x="6076358" y="3795191"/>
                </a:cubicBezTo>
                <a:cubicBezTo>
                  <a:pt x="6108283" y="3891211"/>
                  <a:pt x="6111829" y="4129715"/>
                  <a:pt x="6026696" y="4132812"/>
                </a:cubicBezTo>
                <a:cubicBezTo>
                  <a:pt x="5980582" y="4135909"/>
                  <a:pt x="5952206" y="4101838"/>
                  <a:pt x="5938015" y="3816873"/>
                </a:cubicBezTo>
                <a:cubicBezTo>
                  <a:pt x="5934469" y="3708462"/>
                  <a:pt x="5930922" y="3600052"/>
                  <a:pt x="5930922" y="3497836"/>
                </a:cubicBezTo>
                <a:cubicBezTo>
                  <a:pt x="5930922" y="3438985"/>
                  <a:pt x="5927375" y="3386328"/>
                  <a:pt x="5927375" y="3333672"/>
                </a:cubicBezTo>
                <a:cubicBezTo>
                  <a:pt x="5926488" y="3303472"/>
                  <a:pt x="5926321" y="3276466"/>
                  <a:pt x="5926307" y="3252467"/>
                </a:cubicBezTo>
                <a:lnTo>
                  <a:pt x="5926192" y="3204820"/>
                </a:lnTo>
                <a:lnTo>
                  <a:pt x="5907039" y="3201498"/>
                </a:lnTo>
                <a:cubicBezTo>
                  <a:pt x="5873451" y="3197965"/>
                  <a:pt x="5840861" y="3198933"/>
                  <a:pt x="5813370" y="3203579"/>
                </a:cubicBezTo>
                <a:cubicBezTo>
                  <a:pt x="5777455" y="3209387"/>
                  <a:pt x="5749022" y="3177300"/>
                  <a:pt x="5710675" y="3141945"/>
                </a:cubicBezTo>
                <a:lnTo>
                  <a:pt x="5708138" y="3139837"/>
                </a:lnTo>
                <a:lnTo>
                  <a:pt x="5697693" y="3142986"/>
                </a:lnTo>
                <a:cubicBezTo>
                  <a:pt x="5645150" y="3156924"/>
                  <a:pt x="5604579" y="3165636"/>
                  <a:pt x="5593936" y="3200482"/>
                </a:cubicBezTo>
                <a:cubicBezTo>
                  <a:pt x="5590390" y="3222164"/>
                  <a:pt x="5593936" y="3271723"/>
                  <a:pt x="5601031" y="3305794"/>
                </a:cubicBezTo>
                <a:cubicBezTo>
                  <a:pt x="5643598" y="3457570"/>
                  <a:pt x="5572654" y="3531908"/>
                  <a:pt x="5558464" y="3358452"/>
                </a:cubicBezTo>
                <a:cubicBezTo>
                  <a:pt x="5558464" y="3339867"/>
                  <a:pt x="5558464" y="3305794"/>
                  <a:pt x="5569108" y="3271723"/>
                </a:cubicBezTo>
                <a:cubicBezTo>
                  <a:pt x="5593936" y="3150923"/>
                  <a:pt x="5604579" y="3191189"/>
                  <a:pt x="5466237" y="3194287"/>
                </a:cubicBezTo>
                <a:cubicBezTo>
                  <a:pt x="5313710" y="3200482"/>
                  <a:pt x="5168273" y="3237651"/>
                  <a:pt x="5200198" y="3414205"/>
                </a:cubicBezTo>
                <a:cubicBezTo>
                  <a:pt x="5214387" y="3504032"/>
                  <a:pt x="5256952" y="3584565"/>
                  <a:pt x="5256952" y="3689877"/>
                </a:cubicBezTo>
                <a:cubicBezTo>
                  <a:pt x="5256952" y="3807581"/>
                  <a:pt x="5225029" y="3894309"/>
                  <a:pt x="5193104" y="3711560"/>
                </a:cubicBezTo>
                <a:cubicBezTo>
                  <a:pt x="5186009" y="3671293"/>
                  <a:pt x="5193104" y="3541201"/>
                  <a:pt x="5189556" y="3423498"/>
                </a:cubicBezTo>
                <a:cubicBezTo>
                  <a:pt x="5178915" y="3222164"/>
                  <a:pt x="5157630" y="3277918"/>
                  <a:pt x="5001554" y="3302698"/>
                </a:cubicBezTo>
                <a:cubicBezTo>
                  <a:pt x="4799366" y="3336769"/>
                  <a:pt x="4845477" y="3355354"/>
                  <a:pt x="4863213" y="3600052"/>
                </a:cubicBezTo>
                <a:cubicBezTo>
                  <a:pt x="4884496" y="3878822"/>
                  <a:pt x="4934157" y="4160689"/>
                  <a:pt x="4923516" y="4420874"/>
                </a:cubicBezTo>
                <a:cubicBezTo>
                  <a:pt x="4919968" y="4585039"/>
                  <a:pt x="4930609" y="4671768"/>
                  <a:pt x="4824194" y="4718230"/>
                </a:cubicBezTo>
                <a:cubicBezTo>
                  <a:pt x="4746156" y="4752301"/>
                  <a:pt x="4717779" y="4594332"/>
                  <a:pt x="4781631" y="4380608"/>
                </a:cubicBezTo>
                <a:cubicBezTo>
                  <a:pt x="4824194" y="4225736"/>
                  <a:pt x="4941252" y="3339867"/>
                  <a:pt x="4749704" y="3336769"/>
                </a:cubicBezTo>
                <a:cubicBezTo>
                  <a:pt x="4582985" y="3333672"/>
                  <a:pt x="4536870" y="3194287"/>
                  <a:pt x="4554608" y="3457570"/>
                </a:cubicBezTo>
                <a:cubicBezTo>
                  <a:pt x="4561702" y="3541201"/>
                  <a:pt x="4590082" y="3723950"/>
                  <a:pt x="4575890" y="3807581"/>
                </a:cubicBezTo>
                <a:cubicBezTo>
                  <a:pt x="4568797" y="3841653"/>
                  <a:pt x="4554608" y="3860237"/>
                  <a:pt x="4540419" y="3863335"/>
                </a:cubicBezTo>
                <a:cubicBezTo>
                  <a:pt x="4501402" y="3866433"/>
                  <a:pt x="4494306" y="3782801"/>
                  <a:pt x="4504949" y="3689877"/>
                </a:cubicBezTo>
                <a:cubicBezTo>
                  <a:pt x="4515589" y="3615539"/>
                  <a:pt x="4547513" y="3535006"/>
                  <a:pt x="4540419" y="3479252"/>
                </a:cubicBezTo>
                <a:cubicBezTo>
                  <a:pt x="4519135" y="3256236"/>
                  <a:pt x="4483666" y="3268625"/>
                  <a:pt x="4405628" y="3311990"/>
                </a:cubicBezTo>
                <a:cubicBezTo>
                  <a:pt x="4341777" y="3346061"/>
                  <a:pt x="4260191" y="3315087"/>
                  <a:pt x="4175060" y="3318185"/>
                </a:cubicBezTo>
                <a:cubicBezTo>
                  <a:pt x="4079284" y="3321282"/>
                  <a:pt x="4026076" y="3274820"/>
                  <a:pt x="4068642" y="3392523"/>
                </a:cubicBezTo>
                <a:cubicBezTo>
                  <a:pt x="4189247" y="3674390"/>
                  <a:pt x="3869999" y="3640319"/>
                  <a:pt x="3923207" y="3420401"/>
                </a:cubicBezTo>
                <a:cubicBezTo>
                  <a:pt x="3951585" y="3271723"/>
                  <a:pt x="4107664" y="3281016"/>
                  <a:pt x="3880642" y="3253138"/>
                </a:cubicBezTo>
                <a:cubicBezTo>
                  <a:pt x="3731660" y="3234554"/>
                  <a:pt x="3568487" y="3209774"/>
                  <a:pt x="3508185" y="3315087"/>
                </a:cubicBezTo>
                <a:cubicBezTo>
                  <a:pt x="3440789" y="3435888"/>
                  <a:pt x="3557845" y="3863335"/>
                  <a:pt x="3568487" y="4018207"/>
                </a:cubicBezTo>
                <a:cubicBezTo>
                  <a:pt x="3582675" y="4222638"/>
                  <a:pt x="3650072" y="4386803"/>
                  <a:pt x="3533016" y="4374414"/>
                </a:cubicBezTo>
                <a:cubicBezTo>
                  <a:pt x="3440789" y="4365121"/>
                  <a:pt x="3454977" y="4216443"/>
                  <a:pt x="3486901" y="4021304"/>
                </a:cubicBezTo>
                <a:cubicBezTo>
                  <a:pt x="3515280" y="3838555"/>
                  <a:pt x="3472713" y="3562883"/>
                  <a:pt x="3458525" y="3377036"/>
                </a:cubicBezTo>
                <a:cubicBezTo>
                  <a:pt x="3447883" y="3225261"/>
                  <a:pt x="3256333" y="3184994"/>
                  <a:pt x="3146370" y="3203579"/>
                </a:cubicBezTo>
                <a:cubicBezTo>
                  <a:pt x="3050596" y="3219067"/>
                  <a:pt x="3008029" y="2965076"/>
                  <a:pt x="2688781" y="3098266"/>
                </a:cubicBezTo>
                <a:cubicBezTo>
                  <a:pt x="2674593" y="3104461"/>
                  <a:pt x="2663952" y="3113753"/>
                  <a:pt x="2649762" y="3119949"/>
                </a:cubicBezTo>
                <a:cubicBezTo>
                  <a:pt x="2649762" y="3119949"/>
                  <a:pt x="2649762" y="3119949"/>
                  <a:pt x="2646214" y="3123045"/>
                </a:cubicBezTo>
                <a:cubicBezTo>
                  <a:pt x="2642668" y="3123045"/>
                  <a:pt x="2639120" y="3129240"/>
                  <a:pt x="2639120" y="3129240"/>
                </a:cubicBezTo>
                <a:cubicBezTo>
                  <a:pt x="2635573" y="3132338"/>
                  <a:pt x="2632026" y="3132338"/>
                  <a:pt x="2628478" y="3132338"/>
                </a:cubicBezTo>
                <a:cubicBezTo>
                  <a:pt x="2621383" y="3132338"/>
                  <a:pt x="2617837" y="3132338"/>
                  <a:pt x="2610741" y="3129240"/>
                </a:cubicBezTo>
                <a:cubicBezTo>
                  <a:pt x="2607196" y="3126143"/>
                  <a:pt x="2600101" y="3126143"/>
                  <a:pt x="2593008" y="3123045"/>
                </a:cubicBezTo>
                <a:cubicBezTo>
                  <a:pt x="2575270" y="3113753"/>
                  <a:pt x="2553989" y="3101363"/>
                  <a:pt x="2536251" y="3088974"/>
                </a:cubicBezTo>
                <a:cubicBezTo>
                  <a:pt x="2511421" y="3079682"/>
                  <a:pt x="2490137" y="3070389"/>
                  <a:pt x="2468854" y="3070389"/>
                </a:cubicBezTo>
                <a:cubicBezTo>
                  <a:pt x="2451119" y="3070389"/>
                  <a:pt x="2436929" y="3073487"/>
                  <a:pt x="2419195" y="3079682"/>
                </a:cubicBezTo>
                <a:cubicBezTo>
                  <a:pt x="2405005" y="3082778"/>
                  <a:pt x="2387269" y="3088974"/>
                  <a:pt x="2369533" y="3092071"/>
                </a:cubicBezTo>
                <a:cubicBezTo>
                  <a:pt x="2351797" y="3095169"/>
                  <a:pt x="2330514" y="3092071"/>
                  <a:pt x="2309230" y="3085876"/>
                </a:cubicBezTo>
                <a:cubicBezTo>
                  <a:pt x="2280853" y="3073487"/>
                  <a:pt x="2252475" y="3061096"/>
                  <a:pt x="2224098" y="3058000"/>
                </a:cubicBezTo>
                <a:cubicBezTo>
                  <a:pt x="2202815" y="3051804"/>
                  <a:pt x="2177984" y="3036318"/>
                  <a:pt x="2153153" y="3020829"/>
                </a:cubicBezTo>
                <a:cubicBezTo>
                  <a:pt x="2128323" y="3002245"/>
                  <a:pt x="2099945" y="2980563"/>
                  <a:pt x="2075114" y="2955784"/>
                </a:cubicBezTo>
                <a:cubicBezTo>
                  <a:pt x="2064473" y="2943393"/>
                  <a:pt x="2053832" y="2931004"/>
                  <a:pt x="2046737" y="2918615"/>
                </a:cubicBezTo>
                <a:cubicBezTo>
                  <a:pt x="2036095" y="2906224"/>
                  <a:pt x="2032549" y="2896933"/>
                  <a:pt x="2025454" y="2884542"/>
                </a:cubicBezTo>
                <a:cubicBezTo>
                  <a:pt x="2025454" y="2872153"/>
                  <a:pt x="2025454" y="2862860"/>
                  <a:pt x="2029001" y="2856666"/>
                </a:cubicBezTo>
                <a:cubicBezTo>
                  <a:pt x="2032549" y="2847373"/>
                  <a:pt x="2046737" y="2841178"/>
                  <a:pt x="2053832" y="2838080"/>
                </a:cubicBezTo>
                <a:cubicBezTo>
                  <a:pt x="2060926" y="2838080"/>
                  <a:pt x="2071568" y="2838080"/>
                  <a:pt x="2078662" y="2841178"/>
                </a:cubicBezTo>
                <a:cubicBezTo>
                  <a:pt x="2089304" y="2844275"/>
                  <a:pt x="2099945" y="2850471"/>
                  <a:pt x="2110587" y="2853568"/>
                </a:cubicBezTo>
                <a:cubicBezTo>
                  <a:pt x="2131871" y="2859762"/>
                  <a:pt x="2153153" y="2869055"/>
                  <a:pt x="2174436" y="2878347"/>
                </a:cubicBezTo>
                <a:cubicBezTo>
                  <a:pt x="2177984" y="2878347"/>
                  <a:pt x="2177984" y="2878347"/>
                  <a:pt x="2177984" y="2878347"/>
                </a:cubicBezTo>
                <a:cubicBezTo>
                  <a:pt x="2177984" y="2878347"/>
                  <a:pt x="2177984" y="2875250"/>
                  <a:pt x="2177984" y="2875250"/>
                </a:cubicBezTo>
                <a:cubicBezTo>
                  <a:pt x="2181531" y="2872153"/>
                  <a:pt x="2177984" y="2869055"/>
                  <a:pt x="2177984" y="2862860"/>
                </a:cubicBezTo>
                <a:cubicBezTo>
                  <a:pt x="2170890" y="2853568"/>
                  <a:pt x="2167343" y="2841178"/>
                  <a:pt x="2160248" y="2828788"/>
                </a:cubicBezTo>
                <a:cubicBezTo>
                  <a:pt x="2160248" y="2822593"/>
                  <a:pt x="2156700" y="2816399"/>
                  <a:pt x="2160248" y="2813302"/>
                </a:cubicBezTo>
                <a:cubicBezTo>
                  <a:pt x="2160248" y="2810204"/>
                  <a:pt x="2160248" y="2810204"/>
                  <a:pt x="2160248" y="2807106"/>
                </a:cubicBezTo>
                <a:cubicBezTo>
                  <a:pt x="2160248" y="2807106"/>
                  <a:pt x="2163795" y="2807106"/>
                  <a:pt x="2163795" y="2804009"/>
                </a:cubicBezTo>
                <a:cubicBezTo>
                  <a:pt x="2167343" y="2804009"/>
                  <a:pt x="2167343" y="2804009"/>
                  <a:pt x="2167343" y="2804009"/>
                </a:cubicBezTo>
                <a:cubicBezTo>
                  <a:pt x="2174436" y="2804009"/>
                  <a:pt x="2177984" y="2807106"/>
                  <a:pt x="2181531" y="2807106"/>
                </a:cubicBezTo>
                <a:cubicBezTo>
                  <a:pt x="2192174" y="2813302"/>
                  <a:pt x="2202815" y="2819496"/>
                  <a:pt x="2213456" y="2825691"/>
                </a:cubicBezTo>
                <a:cubicBezTo>
                  <a:pt x="2252475" y="2850471"/>
                  <a:pt x="2295042" y="2862860"/>
                  <a:pt x="2334061" y="2872153"/>
                </a:cubicBezTo>
                <a:cubicBezTo>
                  <a:pt x="2390816" y="2884542"/>
                  <a:pt x="2444024" y="2890737"/>
                  <a:pt x="2497231" y="2896933"/>
                </a:cubicBezTo>
                <a:cubicBezTo>
                  <a:pt x="2550439" y="2903127"/>
                  <a:pt x="2603649" y="2903127"/>
                  <a:pt x="2653309" y="2896933"/>
                </a:cubicBezTo>
                <a:cubicBezTo>
                  <a:pt x="2674593" y="2893835"/>
                  <a:pt x="2695875" y="2890737"/>
                  <a:pt x="2713612" y="2887640"/>
                </a:cubicBezTo>
                <a:cubicBezTo>
                  <a:pt x="2727800" y="2881445"/>
                  <a:pt x="2741990" y="2875250"/>
                  <a:pt x="2749083" y="2865958"/>
                </a:cubicBezTo>
                <a:cubicBezTo>
                  <a:pt x="2752631" y="2865958"/>
                  <a:pt x="2752631" y="2865958"/>
                  <a:pt x="2756178" y="2865958"/>
                </a:cubicBezTo>
                <a:cubicBezTo>
                  <a:pt x="2759725" y="2865958"/>
                  <a:pt x="2759725" y="2865958"/>
                  <a:pt x="2763272" y="2865958"/>
                </a:cubicBezTo>
                <a:cubicBezTo>
                  <a:pt x="2766819" y="2862860"/>
                  <a:pt x="2773914" y="2862860"/>
                  <a:pt x="2781010" y="2862860"/>
                </a:cubicBezTo>
                <a:cubicBezTo>
                  <a:pt x="2795196" y="2862860"/>
                  <a:pt x="2809387" y="2862860"/>
                  <a:pt x="2827123" y="2862860"/>
                </a:cubicBezTo>
                <a:cubicBezTo>
                  <a:pt x="2830670" y="2862860"/>
                  <a:pt x="2837765" y="2862860"/>
                  <a:pt x="2841310" y="2862860"/>
                </a:cubicBezTo>
                <a:cubicBezTo>
                  <a:pt x="2844858" y="2862860"/>
                  <a:pt x="2848406" y="2862860"/>
                  <a:pt x="2848406" y="2859762"/>
                </a:cubicBezTo>
                <a:cubicBezTo>
                  <a:pt x="2848406" y="2859762"/>
                  <a:pt x="2848406" y="2859762"/>
                  <a:pt x="2848406" y="2856666"/>
                </a:cubicBezTo>
                <a:cubicBezTo>
                  <a:pt x="2777460" y="2850471"/>
                  <a:pt x="2706517" y="2841178"/>
                  <a:pt x="2635573" y="2831886"/>
                </a:cubicBezTo>
                <a:cubicBezTo>
                  <a:pt x="2585913" y="2825691"/>
                  <a:pt x="2536251" y="2819496"/>
                  <a:pt x="2486591" y="2810204"/>
                </a:cubicBezTo>
                <a:cubicBezTo>
                  <a:pt x="2461760" y="2816399"/>
                  <a:pt x="2436929" y="2825691"/>
                  <a:pt x="2419195" y="2841178"/>
                </a:cubicBezTo>
                <a:cubicBezTo>
                  <a:pt x="2415647" y="2844275"/>
                  <a:pt x="2412100" y="2844275"/>
                  <a:pt x="2408552" y="2844275"/>
                </a:cubicBezTo>
                <a:cubicBezTo>
                  <a:pt x="2401459" y="2844275"/>
                  <a:pt x="2394364" y="2847373"/>
                  <a:pt x="2390816" y="2844275"/>
                </a:cubicBezTo>
                <a:cubicBezTo>
                  <a:pt x="2373080" y="2844275"/>
                  <a:pt x="2358892" y="2838080"/>
                  <a:pt x="2341156" y="2834984"/>
                </a:cubicBezTo>
                <a:cubicBezTo>
                  <a:pt x="2302137" y="2819496"/>
                  <a:pt x="2263117" y="2797813"/>
                  <a:pt x="2220550" y="2782326"/>
                </a:cubicBezTo>
                <a:cubicBezTo>
                  <a:pt x="2192174" y="2766839"/>
                  <a:pt x="2156700" y="2754450"/>
                  <a:pt x="2124776" y="2742060"/>
                </a:cubicBezTo>
                <a:cubicBezTo>
                  <a:pt x="2099945" y="2738962"/>
                  <a:pt x="2075114" y="2732768"/>
                  <a:pt x="2046737" y="2726573"/>
                </a:cubicBezTo>
                <a:cubicBezTo>
                  <a:pt x="2043190" y="2726573"/>
                  <a:pt x="2036095" y="2726573"/>
                  <a:pt x="2032549" y="2726573"/>
                </a:cubicBezTo>
                <a:cubicBezTo>
                  <a:pt x="2014813" y="2726573"/>
                  <a:pt x="2000623" y="2732768"/>
                  <a:pt x="1986435" y="2742060"/>
                </a:cubicBezTo>
                <a:cubicBezTo>
                  <a:pt x="1982889" y="2745157"/>
                  <a:pt x="1979341" y="2745157"/>
                  <a:pt x="1975793" y="2745157"/>
                </a:cubicBezTo>
                <a:cubicBezTo>
                  <a:pt x="1972246" y="2745157"/>
                  <a:pt x="1965151" y="2745157"/>
                  <a:pt x="1958056" y="2745157"/>
                </a:cubicBezTo>
                <a:cubicBezTo>
                  <a:pt x="1947416" y="2742060"/>
                  <a:pt x="1936774" y="2735866"/>
                  <a:pt x="1926132" y="2729670"/>
                </a:cubicBezTo>
                <a:cubicBezTo>
                  <a:pt x="1901301" y="2717280"/>
                  <a:pt x="1880019" y="2701793"/>
                  <a:pt x="1855188" y="2683208"/>
                </a:cubicBezTo>
                <a:cubicBezTo>
                  <a:pt x="1557222" y="2605772"/>
                  <a:pt x="1259258" y="2519044"/>
                  <a:pt x="961291" y="2419926"/>
                </a:cubicBezTo>
                <a:cubicBezTo>
                  <a:pt x="851328" y="2385854"/>
                  <a:pt x="744913" y="2357977"/>
                  <a:pt x="634950" y="2320807"/>
                </a:cubicBezTo>
                <a:cubicBezTo>
                  <a:pt x="606573" y="2311515"/>
                  <a:pt x="578194" y="2299125"/>
                  <a:pt x="546269" y="2283638"/>
                </a:cubicBezTo>
                <a:cubicBezTo>
                  <a:pt x="524987" y="2271248"/>
                  <a:pt x="503703" y="2261956"/>
                  <a:pt x="478873" y="2246469"/>
                </a:cubicBezTo>
                <a:cubicBezTo>
                  <a:pt x="464684" y="2237176"/>
                  <a:pt x="446948" y="2221689"/>
                  <a:pt x="432760" y="2206202"/>
                </a:cubicBezTo>
                <a:cubicBezTo>
                  <a:pt x="425665" y="2187618"/>
                  <a:pt x="425665" y="2178325"/>
                  <a:pt x="429212" y="2165936"/>
                </a:cubicBezTo>
                <a:cubicBezTo>
                  <a:pt x="429212" y="2165936"/>
                  <a:pt x="432760" y="2165936"/>
                  <a:pt x="432760" y="2165936"/>
                </a:cubicBezTo>
                <a:cubicBezTo>
                  <a:pt x="436306" y="2165936"/>
                  <a:pt x="439853" y="2165936"/>
                  <a:pt x="439853" y="2165936"/>
                </a:cubicBezTo>
                <a:cubicBezTo>
                  <a:pt x="450494" y="2165936"/>
                  <a:pt x="461137" y="2165936"/>
                  <a:pt x="468231" y="2169032"/>
                </a:cubicBezTo>
                <a:cubicBezTo>
                  <a:pt x="496608" y="2175227"/>
                  <a:pt x="528534" y="2181423"/>
                  <a:pt x="560458" y="2187618"/>
                </a:cubicBezTo>
                <a:cubicBezTo>
                  <a:pt x="649138" y="2209300"/>
                  <a:pt x="741365" y="2227885"/>
                  <a:pt x="833592" y="2252663"/>
                </a:cubicBezTo>
                <a:cubicBezTo>
                  <a:pt x="961291" y="2277443"/>
                  <a:pt x="1092540" y="2305321"/>
                  <a:pt x="1216692" y="2330100"/>
                </a:cubicBezTo>
                <a:cubicBezTo>
                  <a:pt x="996764" y="2265054"/>
                  <a:pt x="780385" y="2218592"/>
                  <a:pt x="553364" y="2125669"/>
                </a:cubicBezTo>
                <a:cubicBezTo>
                  <a:pt x="489515" y="2097791"/>
                  <a:pt x="432760" y="2085402"/>
                  <a:pt x="372457" y="2066818"/>
                </a:cubicBezTo>
                <a:cubicBezTo>
                  <a:pt x="361815" y="2063721"/>
                  <a:pt x="351174" y="2060624"/>
                  <a:pt x="340531" y="2054430"/>
                </a:cubicBezTo>
                <a:cubicBezTo>
                  <a:pt x="333438" y="2048235"/>
                  <a:pt x="322795" y="2042040"/>
                  <a:pt x="315702" y="2032747"/>
                </a:cubicBezTo>
                <a:cubicBezTo>
                  <a:pt x="305060" y="2026553"/>
                  <a:pt x="301512" y="2017260"/>
                  <a:pt x="297966" y="2004870"/>
                </a:cubicBezTo>
                <a:cubicBezTo>
                  <a:pt x="287324" y="1992481"/>
                  <a:pt x="283776" y="1976994"/>
                  <a:pt x="276681" y="1964603"/>
                </a:cubicBezTo>
                <a:cubicBezTo>
                  <a:pt x="276681" y="1958409"/>
                  <a:pt x="280230" y="1955311"/>
                  <a:pt x="280230" y="1952214"/>
                </a:cubicBezTo>
                <a:cubicBezTo>
                  <a:pt x="283776" y="1949116"/>
                  <a:pt x="287324" y="1949116"/>
                  <a:pt x="287324" y="1949116"/>
                </a:cubicBezTo>
                <a:cubicBezTo>
                  <a:pt x="301512" y="1942922"/>
                  <a:pt x="315702" y="1946019"/>
                  <a:pt x="329890" y="1949116"/>
                </a:cubicBezTo>
                <a:cubicBezTo>
                  <a:pt x="368909" y="1958409"/>
                  <a:pt x="407929" y="1970798"/>
                  <a:pt x="450494" y="1986285"/>
                </a:cubicBezTo>
                <a:cubicBezTo>
                  <a:pt x="478873" y="1995578"/>
                  <a:pt x="507251" y="2007968"/>
                  <a:pt x="539175" y="2014163"/>
                </a:cubicBezTo>
                <a:cubicBezTo>
                  <a:pt x="542722" y="2014163"/>
                  <a:pt x="542722" y="2014163"/>
                  <a:pt x="542722" y="2014163"/>
                </a:cubicBezTo>
                <a:cubicBezTo>
                  <a:pt x="542722" y="2014163"/>
                  <a:pt x="542722" y="2014163"/>
                  <a:pt x="542722" y="2011065"/>
                </a:cubicBezTo>
                <a:cubicBezTo>
                  <a:pt x="539175" y="2011065"/>
                  <a:pt x="539175" y="2011065"/>
                  <a:pt x="539175" y="2011065"/>
                </a:cubicBezTo>
                <a:cubicBezTo>
                  <a:pt x="539175" y="2011065"/>
                  <a:pt x="535628" y="2007968"/>
                  <a:pt x="535628" y="2007968"/>
                </a:cubicBezTo>
                <a:cubicBezTo>
                  <a:pt x="517892" y="1998676"/>
                  <a:pt x="503703" y="1989383"/>
                  <a:pt x="485967" y="1980091"/>
                </a:cubicBezTo>
                <a:cubicBezTo>
                  <a:pt x="475325" y="1973896"/>
                  <a:pt x="464684" y="1967701"/>
                  <a:pt x="454043" y="1961507"/>
                </a:cubicBezTo>
                <a:cubicBezTo>
                  <a:pt x="450494" y="1958409"/>
                  <a:pt x="446948" y="1955311"/>
                  <a:pt x="443401" y="1952214"/>
                </a:cubicBezTo>
                <a:cubicBezTo>
                  <a:pt x="443401" y="1952214"/>
                  <a:pt x="439853" y="1949116"/>
                  <a:pt x="439853" y="1946019"/>
                </a:cubicBezTo>
                <a:cubicBezTo>
                  <a:pt x="436306" y="1942922"/>
                  <a:pt x="439853" y="1939823"/>
                  <a:pt x="439853" y="1936727"/>
                </a:cubicBezTo>
                <a:cubicBezTo>
                  <a:pt x="446948" y="1936727"/>
                  <a:pt x="450494" y="1933629"/>
                  <a:pt x="454043" y="1933629"/>
                </a:cubicBezTo>
                <a:cubicBezTo>
                  <a:pt x="482420" y="1930532"/>
                  <a:pt x="514344" y="1930532"/>
                  <a:pt x="546269" y="1936727"/>
                </a:cubicBezTo>
                <a:cubicBezTo>
                  <a:pt x="634950" y="1949116"/>
                  <a:pt x="723629" y="1964603"/>
                  <a:pt x="815856" y="1983189"/>
                </a:cubicBezTo>
                <a:cubicBezTo>
                  <a:pt x="812310" y="1980091"/>
                  <a:pt x="808763" y="1980091"/>
                  <a:pt x="808763" y="1976994"/>
                </a:cubicBezTo>
                <a:cubicBezTo>
                  <a:pt x="791027" y="1961507"/>
                  <a:pt x="776837" y="1952214"/>
                  <a:pt x="762649" y="1949116"/>
                </a:cubicBezTo>
                <a:cubicBezTo>
                  <a:pt x="752007" y="1946019"/>
                  <a:pt x="741365" y="1946019"/>
                  <a:pt x="730724" y="1952214"/>
                </a:cubicBezTo>
                <a:cubicBezTo>
                  <a:pt x="720082" y="1952214"/>
                  <a:pt x="709441" y="1958409"/>
                  <a:pt x="698800" y="1958409"/>
                </a:cubicBezTo>
                <a:cubicBezTo>
                  <a:pt x="684610" y="1958409"/>
                  <a:pt x="670422" y="1955311"/>
                  <a:pt x="656233" y="1942922"/>
                </a:cubicBezTo>
                <a:cubicBezTo>
                  <a:pt x="634950" y="1930532"/>
                  <a:pt x="617214" y="1915045"/>
                  <a:pt x="595930" y="1902655"/>
                </a:cubicBezTo>
                <a:cubicBezTo>
                  <a:pt x="581742" y="1896460"/>
                  <a:pt x="560458" y="1874778"/>
                  <a:pt x="546269" y="1856193"/>
                </a:cubicBezTo>
                <a:cubicBezTo>
                  <a:pt x="524987" y="1831414"/>
                  <a:pt x="503703" y="1800440"/>
                  <a:pt x="485967" y="1772562"/>
                </a:cubicBezTo>
                <a:cubicBezTo>
                  <a:pt x="478873" y="1757074"/>
                  <a:pt x="468231" y="1741588"/>
                  <a:pt x="464684" y="1723003"/>
                </a:cubicBezTo>
                <a:cubicBezTo>
                  <a:pt x="457589" y="1710613"/>
                  <a:pt x="450494" y="1698224"/>
                  <a:pt x="446948" y="1682736"/>
                </a:cubicBezTo>
                <a:cubicBezTo>
                  <a:pt x="446948" y="1673444"/>
                  <a:pt x="443401" y="1661054"/>
                  <a:pt x="446948" y="1651762"/>
                </a:cubicBezTo>
                <a:cubicBezTo>
                  <a:pt x="450494" y="1642469"/>
                  <a:pt x="457589" y="1639371"/>
                  <a:pt x="464684" y="1636275"/>
                </a:cubicBezTo>
                <a:cubicBezTo>
                  <a:pt x="468231" y="1636275"/>
                  <a:pt x="471778" y="1639371"/>
                  <a:pt x="478873" y="1642469"/>
                </a:cubicBezTo>
                <a:cubicBezTo>
                  <a:pt x="485967" y="1648664"/>
                  <a:pt x="496608" y="1654860"/>
                  <a:pt x="503703" y="1657957"/>
                </a:cubicBezTo>
                <a:cubicBezTo>
                  <a:pt x="517892" y="1670347"/>
                  <a:pt x="532080" y="1685833"/>
                  <a:pt x="546269" y="1695126"/>
                </a:cubicBezTo>
                <a:cubicBezTo>
                  <a:pt x="549816" y="1698224"/>
                  <a:pt x="549816" y="1698224"/>
                  <a:pt x="549816" y="1695126"/>
                </a:cubicBezTo>
                <a:cubicBezTo>
                  <a:pt x="549816" y="1688931"/>
                  <a:pt x="549816" y="1682736"/>
                  <a:pt x="549816" y="1679639"/>
                </a:cubicBezTo>
                <a:cubicBezTo>
                  <a:pt x="542722" y="1667249"/>
                  <a:pt x="539175" y="1651762"/>
                  <a:pt x="535628" y="1636275"/>
                </a:cubicBezTo>
                <a:cubicBezTo>
                  <a:pt x="535628" y="1633177"/>
                  <a:pt x="532080" y="1623884"/>
                  <a:pt x="532080" y="1620787"/>
                </a:cubicBezTo>
                <a:cubicBezTo>
                  <a:pt x="532080" y="1617690"/>
                  <a:pt x="532080" y="1614593"/>
                  <a:pt x="532080" y="1614593"/>
                </a:cubicBezTo>
                <a:cubicBezTo>
                  <a:pt x="532080" y="1611495"/>
                  <a:pt x="532080" y="1611495"/>
                  <a:pt x="535628" y="1611495"/>
                </a:cubicBezTo>
                <a:cubicBezTo>
                  <a:pt x="535628" y="1611495"/>
                  <a:pt x="539175" y="1611495"/>
                  <a:pt x="539175" y="1611495"/>
                </a:cubicBezTo>
                <a:cubicBezTo>
                  <a:pt x="542722" y="1614593"/>
                  <a:pt x="546269" y="1614593"/>
                  <a:pt x="546269" y="1614593"/>
                </a:cubicBezTo>
                <a:cubicBezTo>
                  <a:pt x="556911" y="1623884"/>
                  <a:pt x="564006" y="1633177"/>
                  <a:pt x="571100" y="1642469"/>
                </a:cubicBezTo>
                <a:cubicBezTo>
                  <a:pt x="595930" y="1673444"/>
                  <a:pt x="627855" y="1688931"/>
                  <a:pt x="656233" y="1704418"/>
                </a:cubicBezTo>
                <a:cubicBezTo>
                  <a:pt x="691705" y="1726100"/>
                  <a:pt x="730724" y="1741588"/>
                  <a:pt x="766196" y="1750880"/>
                </a:cubicBezTo>
                <a:cubicBezTo>
                  <a:pt x="801668" y="1760173"/>
                  <a:pt x="840687" y="1766367"/>
                  <a:pt x="872613" y="1766367"/>
                </a:cubicBezTo>
                <a:cubicBezTo>
                  <a:pt x="886801" y="1766367"/>
                  <a:pt x="897442" y="1766367"/>
                  <a:pt x="911631" y="1760173"/>
                </a:cubicBezTo>
                <a:cubicBezTo>
                  <a:pt x="918726" y="1757074"/>
                  <a:pt x="925819" y="1750880"/>
                  <a:pt x="932914" y="1741588"/>
                </a:cubicBezTo>
                <a:cubicBezTo>
                  <a:pt x="932914" y="1741588"/>
                  <a:pt x="936462" y="1741588"/>
                  <a:pt x="936462" y="1738491"/>
                </a:cubicBezTo>
                <a:cubicBezTo>
                  <a:pt x="936462" y="1738491"/>
                  <a:pt x="936462" y="1738491"/>
                  <a:pt x="940009" y="1738491"/>
                </a:cubicBezTo>
                <a:cubicBezTo>
                  <a:pt x="943556" y="1738491"/>
                  <a:pt x="947104" y="1738491"/>
                  <a:pt x="954198" y="1738491"/>
                </a:cubicBezTo>
                <a:cubicBezTo>
                  <a:pt x="964840" y="1741588"/>
                  <a:pt x="971934" y="1741588"/>
                  <a:pt x="982576" y="1744685"/>
                </a:cubicBezTo>
                <a:cubicBezTo>
                  <a:pt x="986122" y="1744685"/>
                  <a:pt x="989670" y="1744685"/>
                  <a:pt x="996764" y="1744685"/>
                </a:cubicBezTo>
                <a:cubicBezTo>
                  <a:pt x="996764" y="1741588"/>
                  <a:pt x="996764" y="1744685"/>
                  <a:pt x="996764" y="1741588"/>
                </a:cubicBezTo>
                <a:cubicBezTo>
                  <a:pt x="996764" y="1738491"/>
                  <a:pt x="996764" y="1738491"/>
                  <a:pt x="996764" y="1738491"/>
                </a:cubicBezTo>
                <a:cubicBezTo>
                  <a:pt x="996764" y="1738491"/>
                  <a:pt x="996764" y="1735393"/>
                  <a:pt x="996764" y="1735393"/>
                </a:cubicBezTo>
                <a:cubicBezTo>
                  <a:pt x="993217" y="1735393"/>
                  <a:pt x="993217" y="1732295"/>
                  <a:pt x="989670" y="1729198"/>
                </a:cubicBezTo>
                <a:cubicBezTo>
                  <a:pt x="986122" y="1723003"/>
                  <a:pt x="975481" y="1716809"/>
                  <a:pt x="968386" y="1710613"/>
                </a:cubicBezTo>
                <a:cubicBezTo>
                  <a:pt x="922273" y="1670347"/>
                  <a:pt x="872613" y="1657957"/>
                  <a:pt x="826499" y="1648664"/>
                </a:cubicBezTo>
                <a:cubicBezTo>
                  <a:pt x="801668" y="1645567"/>
                  <a:pt x="780385" y="1645567"/>
                  <a:pt x="755554" y="1648664"/>
                </a:cubicBezTo>
                <a:cubicBezTo>
                  <a:pt x="737819" y="1654860"/>
                  <a:pt x="723629" y="1661054"/>
                  <a:pt x="709441" y="1676542"/>
                </a:cubicBezTo>
                <a:cubicBezTo>
                  <a:pt x="705893" y="1679639"/>
                  <a:pt x="705893" y="1682736"/>
                  <a:pt x="702346" y="1682736"/>
                </a:cubicBezTo>
                <a:cubicBezTo>
                  <a:pt x="698800" y="1682736"/>
                  <a:pt x="691705" y="1682736"/>
                  <a:pt x="688158" y="1682736"/>
                </a:cubicBezTo>
                <a:cubicBezTo>
                  <a:pt x="677516" y="1676542"/>
                  <a:pt x="670422" y="1670347"/>
                  <a:pt x="659779" y="1664151"/>
                </a:cubicBezTo>
                <a:cubicBezTo>
                  <a:pt x="627855" y="1639371"/>
                  <a:pt x="603024" y="1614593"/>
                  <a:pt x="574647" y="1589813"/>
                </a:cubicBezTo>
                <a:cubicBezTo>
                  <a:pt x="542722" y="1565033"/>
                  <a:pt x="510797" y="1540253"/>
                  <a:pt x="482420" y="1521669"/>
                </a:cubicBezTo>
                <a:cubicBezTo>
                  <a:pt x="468231" y="1515475"/>
                  <a:pt x="454043" y="1509279"/>
                  <a:pt x="439853" y="1509279"/>
                </a:cubicBezTo>
                <a:cubicBezTo>
                  <a:pt x="429212" y="1506182"/>
                  <a:pt x="418570" y="1512377"/>
                  <a:pt x="411476" y="1518571"/>
                </a:cubicBezTo>
                <a:cubicBezTo>
                  <a:pt x="407929" y="1521669"/>
                  <a:pt x="404381" y="1521669"/>
                  <a:pt x="404381" y="1521669"/>
                </a:cubicBezTo>
                <a:cubicBezTo>
                  <a:pt x="400834" y="1521669"/>
                  <a:pt x="397288" y="1521669"/>
                  <a:pt x="393740" y="1518571"/>
                </a:cubicBezTo>
                <a:cubicBezTo>
                  <a:pt x="383098" y="1512377"/>
                  <a:pt x="376003" y="1506182"/>
                  <a:pt x="368909" y="1496889"/>
                </a:cubicBezTo>
                <a:cubicBezTo>
                  <a:pt x="347626" y="1478306"/>
                  <a:pt x="329890" y="1450428"/>
                  <a:pt x="308607" y="1422551"/>
                </a:cubicBezTo>
                <a:cubicBezTo>
                  <a:pt x="301512" y="1410161"/>
                  <a:pt x="294418" y="1397771"/>
                  <a:pt x="290871" y="1385382"/>
                </a:cubicBezTo>
                <a:cubicBezTo>
                  <a:pt x="287324" y="1379186"/>
                  <a:pt x="283776" y="1372991"/>
                  <a:pt x="283776" y="1369895"/>
                </a:cubicBezTo>
                <a:cubicBezTo>
                  <a:pt x="280230" y="1366797"/>
                  <a:pt x="280230" y="1363699"/>
                  <a:pt x="276681" y="1357504"/>
                </a:cubicBezTo>
                <a:cubicBezTo>
                  <a:pt x="276681" y="1357504"/>
                  <a:pt x="276681" y="1354408"/>
                  <a:pt x="276681" y="1354408"/>
                </a:cubicBezTo>
                <a:cubicBezTo>
                  <a:pt x="276681" y="1351310"/>
                  <a:pt x="276681" y="1351310"/>
                  <a:pt x="280230" y="1351310"/>
                </a:cubicBezTo>
                <a:cubicBezTo>
                  <a:pt x="280230" y="1351310"/>
                  <a:pt x="280230" y="1348212"/>
                  <a:pt x="280230" y="1348212"/>
                </a:cubicBezTo>
                <a:cubicBezTo>
                  <a:pt x="280230" y="1348212"/>
                  <a:pt x="283776" y="1348212"/>
                  <a:pt x="283776" y="1348212"/>
                </a:cubicBezTo>
                <a:cubicBezTo>
                  <a:pt x="290871" y="1351310"/>
                  <a:pt x="301512" y="1360602"/>
                  <a:pt x="308607" y="1366797"/>
                </a:cubicBezTo>
                <a:cubicBezTo>
                  <a:pt x="326343" y="1382284"/>
                  <a:pt x="344079" y="1394673"/>
                  <a:pt x="358267" y="1400869"/>
                </a:cubicBezTo>
                <a:cubicBezTo>
                  <a:pt x="358267" y="1400869"/>
                  <a:pt x="361815" y="1400869"/>
                  <a:pt x="361815" y="1400869"/>
                </a:cubicBezTo>
                <a:cubicBezTo>
                  <a:pt x="361815" y="1400869"/>
                  <a:pt x="365362" y="1400869"/>
                  <a:pt x="365362" y="1397771"/>
                </a:cubicBezTo>
                <a:cubicBezTo>
                  <a:pt x="365362" y="1394673"/>
                  <a:pt x="368909" y="1391577"/>
                  <a:pt x="368909" y="1385382"/>
                </a:cubicBezTo>
                <a:cubicBezTo>
                  <a:pt x="361815" y="1351310"/>
                  <a:pt x="351174" y="1317237"/>
                  <a:pt x="351174" y="1283166"/>
                </a:cubicBezTo>
                <a:cubicBezTo>
                  <a:pt x="351174" y="1273873"/>
                  <a:pt x="351174" y="1264581"/>
                  <a:pt x="351174" y="1258386"/>
                </a:cubicBezTo>
                <a:cubicBezTo>
                  <a:pt x="351174" y="1258386"/>
                  <a:pt x="347626" y="1255288"/>
                  <a:pt x="347626" y="1252191"/>
                </a:cubicBezTo>
                <a:cubicBezTo>
                  <a:pt x="347626" y="1249093"/>
                  <a:pt x="347626" y="1249093"/>
                  <a:pt x="347626" y="1249093"/>
                </a:cubicBezTo>
                <a:cubicBezTo>
                  <a:pt x="347626" y="1249093"/>
                  <a:pt x="347626" y="1249093"/>
                  <a:pt x="344079" y="1249093"/>
                </a:cubicBezTo>
                <a:cubicBezTo>
                  <a:pt x="344079" y="1249093"/>
                  <a:pt x="344079" y="1249093"/>
                  <a:pt x="340531" y="1249093"/>
                </a:cubicBezTo>
                <a:cubicBezTo>
                  <a:pt x="340531" y="1249093"/>
                  <a:pt x="336985" y="1252191"/>
                  <a:pt x="336985" y="1255288"/>
                </a:cubicBezTo>
                <a:cubicBezTo>
                  <a:pt x="329890" y="1261484"/>
                  <a:pt x="319248" y="1264581"/>
                  <a:pt x="312154" y="1264581"/>
                </a:cubicBezTo>
                <a:cubicBezTo>
                  <a:pt x="297966" y="1267679"/>
                  <a:pt x="287324" y="1264581"/>
                  <a:pt x="269588" y="1249093"/>
                </a:cubicBezTo>
                <a:cubicBezTo>
                  <a:pt x="248304" y="1233606"/>
                  <a:pt x="227021" y="1205730"/>
                  <a:pt x="209285" y="1174755"/>
                </a:cubicBezTo>
                <a:cubicBezTo>
                  <a:pt x="191549" y="1146877"/>
                  <a:pt x="177361" y="1115904"/>
                  <a:pt x="163172" y="1084930"/>
                </a:cubicBezTo>
                <a:cubicBezTo>
                  <a:pt x="148982" y="1060150"/>
                  <a:pt x="134794" y="1032272"/>
                  <a:pt x="117058" y="1007493"/>
                </a:cubicBezTo>
                <a:cubicBezTo>
                  <a:pt x="109964" y="998201"/>
                  <a:pt x="99322" y="992006"/>
                  <a:pt x="92227" y="982713"/>
                </a:cubicBezTo>
                <a:cubicBezTo>
                  <a:pt x="78039" y="976519"/>
                  <a:pt x="70945" y="973421"/>
                  <a:pt x="60303" y="973421"/>
                </a:cubicBezTo>
                <a:cubicBezTo>
                  <a:pt x="56755" y="970323"/>
                  <a:pt x="56755" y="970323"/>
                  <a:pt x="56755" y="970323"/>
                </a:cubicBezTo>
                <a:cubicBezTo>
                  <a:pt x="53209" y="970323"/>
                  <a:pt x="53209" y="970323"/>
                  <a:pt x="53209" y="967226"/>
                </a:cubicBezTo>
                <a:cubicBezTo>
                  <a:pt x="49660" y="964128"/>
                  <a:pt x="46114" y="957934"/>
                  <a:pt x="39019" y="954836"/>
                </a:cubicBezTo>
                <a:cubicBezTo>
                  <a:pt x="35472" y="942447"/>
                  <a:pt x="28378" y="926960"/>
                  <a:pt x="21283" y="914570"/>
                </a:cubicBezTo>
                <a:cubicBezTo>
                  <a:pt x="14190" y="902180"/>
                  <a:pt x="7095" y="886692"/>
                  <a:pt x="3547" y="874304"/>
                </a:cubicBezTo>
                <a:cubicBezTo>
                  <a:pt x="3547" y="871205"/>
                  <a:pt x="0" y="865011"/>
                  <a:pt x="0" y="861914"/>
                </a:cubicBezTo>
                <a:cubicBezTo>
                  <a:pt x="0" y="858816"/>
                  <a:pt x="0" y="858816"/>
                  <a:pt x="3547" y="855718"/>
                </a:cubicBezTo>
                <a:cubicBezTo>
                  <a:pt x="7095" y="855718"/>
                  <a:pt x="10642" y="855718"/>
                  <a:pt x="10642" y="858816"/>
                </a:cubicBezTo>
                <a:cubicBezTo>
                  <a:pt x="14190" y="858816"/>
                  <a:pt x="21283" y="861914"/>
                  <a:pt x="24831" y="865011"/>
                </a:cubicBezTo>
                <a:cubicBezTo>
                  <a:pt x="39019" y="874304"/>
                  <a:pt x="49660" y="883596"/>
                  <a:pt x="63850" y="892887"/>
                </a:cubicBezTo>
                <a:cubicBezTo>
                  <a:pt x="95775" y="917667"/>
                  <a:pt x="131246" y="945544"/>
                  <a:pt x="166718" y="973421"/>
                </a:cubicBezTo>
                <a:cubicBezTo>
                  <a:pt x="202190" y="995103"/>
                  <a:pt x="234116" y="1019883"/>
                  <a:pt x="266040" y="1044662"/>
                </a:cubicBezTo>
                <a:cubicBezTo>
                  <a:pt x="276681" y="1053955"/>
                  <a:pt x="287324" y="1060150"/>
                  <a:pt x="297966" y="1066344"/>
                </a:cubicBezTo>
                <a:cubicBezTo>
                  <a:pt x="301512" y="1066344"/>
                  <a:pt x="305060" y="1069442"/>
                  <a:pt x="305060" y="1069442"/>
                </a:cubicBezTo>
                <a:cubicBezTo>
                  <a:pt x="308607" y="1069442"/>
                  <a:pt x="308607" y="1069442"/>
                  <a:pt x="308607" y="1069442"/>
                </a:cubicBezTo>
                <a:cubicBezTo>
                  <a:pt x="308607" y="1066344"/>
                  <a:pt x="308607" y="1066344"/>
                  <a:pt x="308607" y="1066344"/>
                </a:cubicBezTo>
                <a:cubicBezTo>
                  <a:pt x="308607" y="1047761"/>
                  <a:pt x="308607" y="1035370"/>
                  <a:pt x="305060" y="1016785"/>
                </a:cubicBezTo>
                <a:cubicBezTo>
                  <a:pt x="305060" y="1013688"/>
                  <a:pt x="301512" y="1016785"/>
                  <a:pt x="301512" y="1013688"/>
                </a:cubicBezTo>
                <a:cubicBezTo>
                  <a:pt x="294418" y="1013688"/>
                  <a:pt x="287324" y="1010590"/>
                  <a:pt x="280230" y="1007493"/>
                </a:cubicBezTo>
                <a:cubicBezTo>
                  <a:pt x="234116" y="982713"/>
                  <a:pt x="184455" y="930058"/>
                  <a:pt x="145436" y="880498"/>
                </a:cubicBezTo>
                <a:cubicBezTo>
                  <a:pt x="120605" y="849523"/>
                  <a:pt x="99322" y="815452"/>
                  <a:pt x="81586" y="781380"/>
                </a:cubicBezTo>
                <a:cubicBezTo>
                  <a:pt x="70945" y="765893"/>
                  <a:pt x="63850" y="747309"/>
                  <a:pt x="60303" y="731822"/>
                </a:cubicBezTo>
                <a:cubicBezTo>
                  <a:pt x="53209" y="713236"/>
                  <a:pt x="49660" y="700847"/>
                  <a:pt x="49660" y="685360"/>
                </a:cubicBezTo>
                <a:cubicBezTo>
                  <a:pt x="46114" y="679164"/>
                  <a:pt x="49660" y="672969"/>
                  <a:pt x="53209" y="669873"/>
                </a:cubicBezTo>
                <a:cubicBezTo>
                  <a:pt x="53209" y="666775"/>
                  <a:pt x="56755" y="663677"/>
                  <a:pt x="60303" y="660580"/>
                </a:cubicBezTo>
                <a:cubicBezTo>
                  <a:pt x="67397" y="657482"/>
                  <a:pt x="78039" y="663677"/>
                  <a:pt x="92227" y="666775"/>
                </a:cubicBezTo>
                <a:cubicBezTo>
                  <a:pt x="124153" y="679164"/>
                  <a:pt x="156077" y="707042"/>
                  <a:pt x="191549" y="731822"/>
                </a:cubicBezTo>
                <a:cubicBezTo>
                  <a:pt x="230568" y="756600"/>
                  <a:pt x="269588" y="784478"/>
                  <a:pt x="305060" y="812355"/>
                </a:cubicBezTo>
                <a:cubicBezTo>
                  <a:pt x="329890" y="827841"/>
                  <a:pt x="358267" y="849523"/>
                  <a:pt x="379552" y="852621"/>
                </a:cubicBezTo>
                <a:cubicBezTo>
                  <a:pt x="475325" y="865011"/>
                  <a:pt x="578194" y="964128"/>
                  <a:pt x="670422" y="967226"/>
                </a:cubicBezTo>
                <a:cubicBezTo>
                  <a:pt x="705893" y="967226"/>
                  <a:pt x="730724" y="979616"/>
                  <a:pt x="766196" y="1001298"/>
                </a:cubicBezTo>
                <a:cubicBezTo>
                  <a:pt x="798122" y="1022981"/>
                  <a:pt x="833592" y="1044662"/>
                  <a:pt x="865518" y="1060150"/>
                </a:cubicBezTo>
                <a:cubicBezTo>
                  <a:pt x="893895" y="1072539"/>
                  <a:pt x="925819" y="1078734"/>
                  <a:pt x="954198" y="1088026"/>
                </a:cubicBezTo>
                <a:cubicBezTo>
                  <a:pt x="971934" y="1094221"/>
                  <a:pt x="989670" y="1097319"/>
                  <a:pt x="1007407" y="1106612"/>
                </a:cubicBezTo>
                <a:cubicBezTo>
                  <a:pt x="1014501" y="1109708"/>
                  <a:pt x="1018049" y="1109708"/>
                  <a:pt x="1025143" y="1115904"/>
                </a:cubicBezTo>
                <a:cubicBezTo>
                  <a:pt x="1025143" y="1115904"/>
                  <a:pt x="1028691" y="1119001"/>
                  <a:pt x="1032237" y="1119001"/>
                </a:cubicBezTo>
                <a:cubicBezTo>
                  <a:pt x="1032237" y="1119001"/>
                  <a:pt x="1032237" y="1119001"/>
                  <a:pt x="1032237" y="1122099"/>
                </a:cubicBezTo>
                <a:cubicBezTo>
                  <a:pt x="1032237" y="1125195"/>
                  <a:pt x="1035785" y="1128293"/>
                  <a:pt x="1032237" y="1131392"/>
                </a:cubicBezTo>
                <a:cubicBezTo>
                  <a:pt x="1032237" y="1131392"/>
                  <a:pt x="1032237" y="1134488"/>
                  <a:pt x="1032237" y="1134488"/>
                </a:cubicBezTo>
                <a:cubicBezTo>
                  <a:pt x="1028691" y="1137586"/>
                  <a:pt x="1025143" y="1140683"/>
                  <a:pt x="1021596" y="1140683"/>
                </a:cubicBezTo>
                <a:cubicBezTo>
                  <a:pt x="1010955" y="1140683"/>
                  <a:pt x="996764" y="1137586"/>
                  <a:pt x="982576" y="1134488"/>
                </a:cubicBezTo>
                <a:cubicBezTo>
                  <a:pt x="943556" y="1119001"/>
                  <a:pt x="900990" y="1100417"/>
                  <a:pt x="858423" y="1081832"/>
                </a:cubicBezTo>
                <a:cubicBezTo>
                  <a:pt x="812310" y="1063246"/>
                  <a:pt x="766196" y="1044662"/>
                  <a:pt x="720082" y="1032272"/>
                </a:cubicBezTo>
                <a:cubicBezTo>
                  <a:pt x="705893" y="1026078"/>
                  <a:pt x="691705" y="1022981"/>
                  <a:pt x="673969" y="1022981"/>
                </a:cubicBezTo>
                <a:cubicBezTo>
                  <a:pt x="670422" y="1022981"/>
                  <a:pt x="663328" y="1022981"/>
                  <a:pt x="659779" y="1026078"/>
                </a:cubicBezTo>
                <a:cubicBezTo>
                  <a:pt x="656233" y="1029175"/>
                  <a:pt x="652686" y="1032272"/>
                  <a:pt x="649138" y="1035370"/>
                </a:cubicBezTo>
                <a:cubicBezTo>
                  <a:pt x="652686" y="1038468"/>
                  <a:pt x="652686" y="1038468"/>
                  <a:pt x="652686" y="1038468"/>
                </a:cubicBezTo>
                <a:cubicBezTo>
                  <a:pt x="652686" y="1038468"/>
                  <a:pt x="649138" y="1038468"/>
                  <a:pt x="649138" y="1038468"/>
                </a:cubicBezTo>
                <a:cubicBezTo>
                  <a:pt x="649138" y="1038468"/>
                  <a:pt x="652686" y="1038468"/>
                  <a:pt x="652686" y="1041565"/>
                </a:cubicBezTo>
                <a:cubicBezTo>
                  <a:pt x="656233" y="1047761"/>
                  <a:pt x="659779" y="1050857"/>
                  <a:pt x="663328" y="1050857"/>
                </a:cubicBezTo>
                <a:cubicBezTo>
                  <a:pt x="681064" y="1063246"/>
                  <a:pt x="695252" y="1072539"/>
                  <a:pt x="709441" y="1078734"/>
                </a:cubicBezTo>
                <a:cubicBezTo>
                  <a:pt x="755554" y="1103514"/>
                  <a:pt x="801668" y="1125195"/>
                  <a:pt x="847782" y="1146877"/>
                </a:cubicBezTo>
                <a:cubicBezTo>
                  <a:pt x="897442" y="1168561"/>
                  <a:pt x="943556" y="1190242"/>
                  <a:pt x="996764" y="1215022"/>
                </a:cubicBezTo>
                <a:cubicBezTo>
                  <a:pt x="1010955" y="1224315"/>
                  <a:pt x="1028691" y="1230510"/>
                  <a:pt x="1046427" y="1239801"/>
                </a:cubicBezTo>
                <a:cubicBezTo>
                  <a:pt x="1053520" y="1242899"/>
                  <a:pt x="1064161" y="1249093"/>
                  <a:pt x="1074804" y="1255288"/>
                </a:cubicBezTo>
                <a:cubicBezTo>
                  <a:pt x="1074804" y="1261484"/>
                  <a:pt x="1078351" y="1261484"/>
                  <a:pt x="1081899" y="1264581"/>
                </a:cubicBezTo>
                <a:cubicBezTo>
                  <a:pt x="1088992" y="1264581"/>
                  <a:pt x="1088992" y="1264581"/>
                  <a:pt x="1088992" y="1264581"/>
                </a:cubicBezTo>
                <a:cubicBezTo>
                  <a:pt x="1096087" y="1261484"/>
                  <a:pt x="1099635" y="1255288"/>
                  <a:pt x="1103182" y="1249093"/>
                </a:cubicBezTo>
                <a:cubicBezTo>
                  <a:pt x="1103182" y="1249093"/>
                  <a:pt x="1103182" y="1245997"/>
                  <a:pt x="1103182" y="1245997"/>
                </a:cubicBezTo>
                <a:cubicBezTo>
                  <a:pt x="1106728" y="1242899"/>
                  <a:pt x="1110276" y="1242899"/>
                  <a:pt x="1113823" y="1242899"/>
                </a:cubicBezTo>
                <a:cubicBezTo>
                  <a:pt x="1117370" y="1242899"/>
                  <a:pt x="1128012" y="1242899"/>
                  <a:pt x="1135106" y="1242899"/>
                </a:cubicBezTo>
                <a:cubicBezTo>
                  <a:pt x="1159937" y="1245997"/>
                  <a:pt x="1184767" y="1252191"/>
                  <a:pt x="1209597" y="1258386"/>
                </a:cubicBezTo>
                <a:cubicBezTo>
                  <a:pt x="1252164" y="1273873"/>
                  <a:pt x="1301825" y="1286263"/>
                  <a:pt x="1344391" y="1301751"/>
                </a:cubicBezTo>
                <a:cubicBezTo>
                  <a:pt x="1294731" y="1276971"/>
                  <a:pt x="1248617" y="1245997"/>
                  <a:pt x="1202503" y="1215022"/>
                </a:cubicBezTo>
                <a:cubicBezTo>
                  <a:pt x="1184767" y="1205730"/>
                  <a:pt x="1163483" y="1190242"/>
                  <a:pt x="1145749" y="1171658"/>
                </a:cubicBezTo>
                <a:cubicBezTo>
                  <a:pt x="1128012" y="1156170"/>
                  <a:pt x="1110276" y="1140683"/>
                  <a:pt x="1096087" y="1119001"/>
                </a:cubicBezTo>
                <a:cubicBezTo>
                  <a:pt x="1092540" y="1115904"/>
                  <a:pt x="1088992" y="1109708"/>
                  <a:pt x="1085446" y="1103514"/>
                </a:cubicBezTo>
                <a:cubicBezTo>
                  <a:pt x="1085446" y="1100417"/>
                  <a:pt x="1085446" y="1100417"/>
                  <a:pt x="1085446" y="1100417"/>
                </a:cubicBezTo>
                <a:cubicBezTo>
                  <a:pt x="1088992" y="1100417"/>
                  <a:pt x="1088992" y="1100417"/>
                  <a:pt x="1088992" y="1100417"/>
                </a:cubicBezTo>
                <a:cubicBezTo>
                  <a:pt x="1088992" y="1097319"/>
                  <a:pt x="1088992" y="1097319"/>
                  <a:pt x="1088992" y="1097319"/>
                </a:cubicBezTo>
                <a:cubicBezTo>
                  <a:pt x="1092540" y="1100417"/>
                  <a:pt x="1092540" y="1100417"/>
                  <a:pt x="1092540" y="1100417"/>
                </a:cubicBezTo>
                <a:cubicBezTo>
                  <a:pt x="1096087" y="1103514"/>
                  <a:pt x="1096087" y="1103514"/>
                  <a:pt x="1099635" y="1103514"/>
                </a:cubicBezTo>
                <a:cubicBezTo>
                  <a:pt x="1103182" y="1106612"/>
                  <a:pt x="1110276" y="1109708"/>
                  <a:pt x="1113823" y="1112806"/>
                </a:cubicBezTo>
                <a:cubicBezTo>
                  <a:pt x="1128012" y="1122099"/>
                  <a:pt x="1142201" y="1134488"/>
                  <a:pt x="1159937" y="1146877"/>
                </a:cubicBezTo>
                <a:cubicBezTo>
                  <a:pt x="1248617" y="1215022"/>
                  <a:pt x="1340844" y="1233606"/>
                  <a:pt x="1429525" y="1307946"/>
                </a:cubicBezTo>
                <a:cubicBezTo>
                  <a:pt x="1429525" y="1307946"/>
                  <a:pt x="1422430" y="1307946"/>
                  <a:pt x="1422430" y="1307946"/>
                </a:cubicBezTo>
                <a:cubicBezTo>
                  <a:pt x="1425977" y="1317237"/>
                  <a:pt x="1422430" y="1323433"/>
                  <a:pt x="1422430" y="1326530"/>
                </a:cubicBezTo>
                <a:cubicBezTo>
                  <a:pt x="1418882" y="1326530"/>
                  <a:pt x="1422430" y="1326530"/>
                  <a:pt x="1418882" y="1326530"/>
                </a:cubicBezTo>
                <a:cubicBezTo>
                  <a:pt x="1422430" y="1329628"/>
                  <a:pt x="1429525" y="1329628"/>
                  <a:pt x="1433071" y="1332724"/>
                </a:cubicBezTo>
                <a:cubicBezTo>
                  <a:pt x="1461449" y="1342017"/>
                  <a:pt x="1489826" y="1351310"/>
                  <a:pt x="1514657" y="1363699"/>
                </a:cubicBezTo>
                <a:cubicBezTo>
                  <a:pt x="1504016" y="1351310"/>
                  <a:pt x="1489826" y="1335822"/>
                  <a:pt x="1479185" y="1323433"/>
                </a:cubicBezTo>
                <a:cubicBezTo>
                  <a:pt x="1475637" y="1317237"/>
                  <a:pt x="1468543" y="1314140"/>
                  <a:pt x="1464997" y="1307946"/>
                </a:cubicBezTo>
                <a:cubicBezTo>
                  <a:pt x="1464997" y="1301751"/>
                  <a:pt x="1461449" y="1298653"/>
                  <a:pt x="1461449" y="1295555"/>
                </a:cubicBezTo>
                <a:cubicBezTo>
                  <a:pt x="1461449" y="1295555"/>
                  <a:pt x="1461449" y="1292459"/>
                  <a:pt x="1464997" y="1292459"/>
                </a:cubicBezTo>
                <a:cubicBezTo>
                  <a:pt x="1464997" y="1292459"/>
                  <a:pt x="1464997" y="1292459"/>
                  <a:pt x="1468543" y="1292459"/>
                </a:cubicBezTo>
                <a:cubicBezTo>
                  <a:pt x="1472090" y="1292459"/>
                  <a:pt x="1472090" y="1292459"/>
                  <a:pt x="1475637" y="1292459"/>
                </a:cubicBezTo>
                <a:cubicBezTo>
                  <a:pt x="1479185" y="1295555"/>
                  <a:pt x="1482731" y="1295555"/>
                  <a:pt x="1486280" y="1295555"/>
                </a:cubicBezTo>
                <a:cubicBezTo>
                  <a:pt x="1496921" y="1301751"/>
                  <a:pt x="1507562" y="1304848"/>
                  <a:pt x="1518205" y="1311043"/>
                </a:cubicBezTo>
                <a:cubicBezTo>
                  <a:pt x="1507562" y="1301751"/>
                  <a:pt x="1496921" y="1289361"/>
                  <a:pt x="1489826" y="1280068"/>
                </a:cubicBezTo>
                <a:cubicBezTo>
                  <a:pt x="1479185" y="1273873"/>
                  <a:pt x="1472090" y="1264581"/>
                  <a:pt x="1464997" y="1258386"/>
                </a:cubicBezTo>
                <a:cubicBezTo>
                  <a:pt x="1464997" y="1258386"/>
                  <a:pt x="1464997" y="1258386"/>
                  <a:pt x="1461449" y="1255288"/>
                </a:cubicBezTo>
                <a:cubicBezTo>
                  <a:pt x="1461449" y="1255288"/>
                  <a:pt x="1461449" y="1255288"/>
                  <a:pt x="1457902" y="1255288"/>
                </a:cubicBezTo>
                <a:cubicBezTo>
                  <a:pt x="1454354" y="1255288"/>
                  <a:pt x="1450807" y="1252191"/>
                  <a:pt x="1447259" y="1249093"/>
                </a:cubicBezTo>
                <a:cubicBezTo>
                  <a:pt x="1433071" y="1236704"/>
                  <a:pt x="1415335" y="1221217"/>
                  <a:pt x="1401146" y="1202632"/>
                </a:cubicBezTo>
                <a:cubicBezTo>
                  <a:pt x="1401146" y="1202632"/>
                  <a:pt x="1397599" y="1199535"/>
                  <a:pt x="1397599" y="1199535"/>
                </a:cubicBezTo>
                <a:cubicBezTo>
                  <a:pt x="1397599" y="1196437"/>
                  <a:pt x="1394051" y="1196437"/>
                  <a:pt x="1390504" y="1193339"/>
                </a:cubicBezTo>
                <a:cubicBezTo>
                  <a:pt x="1369221" y="1180950"/>
                  <a:pt x="1347939" y="1168561"/>
                  <a:pt x="1323108" y="1159268"/>
                </a:cubicBezTo>
                <a:cubicBezTo>
                  <a:pt x="1294731" y="1146877"/>
                  <a:pt x="1266353" y="1137586"/>
                  <a:pt x="1234428" y="1128293"/>
                </a:cubicBezTo>
                <a:cubicBezTo>
                  <a:pt x="1230881" y="1128293"/>
                  <a:pt x="1227333" y="1128293"/>
                  <a:pt x="1223786" y="1125195"/>
                </a:cubicBezTo>
                <a:cubicBezTo>
                  <a:pt x="1220240" y="1125195"/>
                  <a:pt x="1216692" y="1122099"/>
                  <a:pt x="1213145" y="1119001"/>
                </a:cubicBezTo>
                <a:cubicBezTo>
                  <a:pt x="1206050" y="1115904"/>
                  <a:pt x="1198955" y="1109708"/>
                  <a:pt x="1188314" y="1103514"/>
                </a:cubicBezTo>
                <a:cubicBezTo>
                  <a:pt x="1174126" y="1091124"/>
                  <a:pt x="1159937" y="1075637"/>
                  <a:pt x="1149295" y="1060150"/>
                </a:cubicBezTo>
                <a:cubicBezTo>
                  <a:pt x="1138654" y="1050857"/>
                  <a:pt x="1128012" y="1035370"/>
                  <a:pt x="1124464" y="1022981"/>
                </a:cubicBezTo>
                <a:cubicBezTo>
                  <a:pt x="1120918" y="1016785"/>
                  <a:pt x="1120918" y="1013688"/>
                  <a:pt x="1120918" y="1010590"/>
                </a:cubicBezTo>
                <a:cubicBezTo>
                  <a:pt x="1120918" y="1007493"/>
                  <a:pt x="1124464" y="1007493"/>
                  <a:pt x="1124464" y="1007493"/>
                </a:cubicBezTo>
                <a:cubicBezTo>
                  <a:pt x="1085446" y="979616"/>
                  <a:pt x="1049973" y="948641"/>
                  <a:pt x="1010955" y="920765"/>
                </a:cubicBezTo>
                <a:cubicBezTo>
                  <a:pt x="993217" y="905278"/>
                  <a:pt x="975481" y="889790"/>
                  <a:pt x="957745" y="871205"/>
                </a:cubicBezTo>
                <a:cubicBezTo>
                  <a:pt x="943556" y="855718"/>
                  <a:pt x="929367" y="837134"/>
                  <a:pt x="918726" y="815452"/>
                </a:cubicBezTo>
                <a:cubicBezTo>
                  <a:pt x="915178" y="812355"/>
                  <a:pt x="908085" y="803062"/>
                  <a:pt x="908085" y="796867"/>
                </a:cubicBezTo>
                <a:cubicBezTo>
                  <a:pt x="908085" y="796867"/>
                  <a:pt x="908085" y="796867"/>
                  <a:pt x="908085" y="793769"/>
                </a:cubicBezTo>
                <a:cubicBezTo>
                  <a:pt x="911631" y="793769"/>
                  <a:pt x="911631" y="793769"/>
                  <a:pt x="911631" y="793769"/>
                </a:cubicBezTo>
                <a:cubicBezTo>
                  <a:pt x="915178" y="793769"/>
                  <a:pt x="915178" y="796867"/>
                  <a:pt x="915178" y="796867"/>
                </a:cubicBezTo>
                <a:cubicBezTo>
                  <a:pt x="918726" y="796867"/>
                  <a:pt x="918726" y="799965"/>
                  <a:pt x="918726" y="799965"/>
                </a:cubicBezTo>
                <a:cubicBezTo>
                  <a:pt x="925819" y="803062"/>
                  <a:pt x="929367" y="806160"/>
                  <a:pt x="932914" y="812355"/>
                </a:cubicBezTo>
                <a:cubicBezTo>
                  <a:pt x="943556" y="824743"/>
                  <a:pt x="961291" y="837134"/>
                  <a:pt x="971934" y="849523"/>
                </a:cubicBezTo>
                <a:cubicBezTo>
                  <a:pt x="1053520" y="926960"/>
                  <a:pt x="1142201" y="954836"/>
                  <a:pt x="1220240" y="1035370"/>
                </a:cubicBezTo>
                <a:cubicBezTo>
                  <a:pt x="1216692" y="1035370"/>
                  <a:pt x="1216692" y="1035370"/>
                  <a:pt x="1213145" y="1035370"/>
                </a:cubicBezTo>
                <a:cubicBezTo>
                  <a:pt x="1213145" y="1038468"/>
                  <a:pt x="1213145" y="1038468"/>
                  <a:pt x="1213145" y="1041565"/>
                </a:cubicBezTo>
                <a:cubicBezTo>
                  <a:pt x="1237976" y="1053955"/>
                  <a:pt x="1262805" y="1066344"/>
                  <a:pt x="1287636" y="1075637"/>
                </a:cubicBezTo>
                <a:cubicBezTo>
                  <a:pt x="1308919" y="1088026"/>
                  <a:pt x="1330201" y="1097319"/>
                  <a:pt x="1355032" y="1106612"/>
                </a:cubicBezTo>
                <a:cubicBezTo>
                  <a:pt x="1326655" y="1078734"/>
                  <a:pt x="1301825" y="1044662"/>
                  <a:pt x="1276994" y="1013688"/>
                </a:cubicBezTo>
                <a:cubicBezTo>
                  <a:pt x="1248617" y="976519"/>
                  <a:pt x="1220240" y="948641"/>
                  <a:pt x="1188314" y="920765"/>
                </a:cubicBezTo>
                <a:cubicBezTo>
                  <a:pt x="1170578" y="902180"/>
                  <a:pt x="1149295" y="889790"/>
                  <a:pt x="1128012" y="877401"/>
                </a:cubicBezTo>
                <a:cubicBezTo>
                  <a:pt x="1099635" y="861914"/>
                  <a:pt x="1074804" y="849523"/>
                  <a:pt x="1046427" y="840231"/>
                </a:cubicBezTo>
                <a:cubicBezTo>
                  <a:pt x="1042879" y="840231"/>
                  <a:pt x="1039332" y="837134"/>
                  <a:pt x="1039332" y="834036"/>
                </a:cubicBezTo>
                <a:cubicBezTo>
                  <a:pt x="1032237" y="834036"/>
                  <a:pt x="1032237" y="830939"/>
                  <a:pt x="1025143" y="827841"/>
                </a:cubicBezTo>
                <a:cubicBezTo>
                  <a:pt x="1018049" y="824743"/>
                  <a:pt x="1010955" y="815452"/>
                  <a:pt x="1007407" y="812355"/>
                </a:cubicBezTo>
                <a:cubicBezTo>
                  <a:pt x="993217" y="796867"/>
                  <a:pt x="979028" y="781380"/>
                  <a:pt x="968386" y="765893"/>
                </a:cubicBezTo>
                <a:cubicBezTo>
                  <a:pt x="961291" y="753503"/>
                  <a:pt x="950650" y="738016"/>
                  <a:pt x="950650" y="725626"/>
                </a:cubicBezTo>
                <a:cubicBezTo>
                  <a:pt x="947104" y="722529"/>
                  <a:pt x="947104" y="716334"/>
                  <a:pt x="950650" y="716334"/>
                </a:cubicBezTo>
                <a:cubicBezTo>
                  <a:pt x="950650" y="713236"/>
                  <a:pt x="950650" y="713236"/>
                  <a:pt x="954198" y="713236"/>
                </a:cubicBezTo>
                <a:cubicBezTo>
                  <a:pt x="957745" y="713236"/>
                  <a:pt x="957745" y="713236"/>
                  <a:pt x="957745" y="713236"/>
                </a:cubicBezTo>
                <a:cubicBezTo>
                  <a:pt x="964840" y="716334"/>
                  <a:pt x="971934" y="719431"/>
                  <a:pt x="975481" y="722529"/>
                </a:cubicBezTo>
                <a:cubicBezTo>
                  <a:pt x="986122" y="728724"/>
                  <a:pt x="996764" y="731822"/>
                  <a:pt x="1007407" y="738016"/>
                </a:cubicBezTo>
                <a:cubicBezTo>
                  <a:pt x="1039332" y="756600"/>
                  <a:pt x="1067709" y="775185"/>
                  <a:pt x="1099635" y="793769"/>
                </a:cubicBezTo>
                <a:cubicBezTo>
                  <a:pt x="1184767" y="846426"/>
                  <a:pt x="1266353" y="899083"/>
                  <a:pt x="1351486" y="945544"/>
                </a:cubicBezTo>
                <a:cubicBezTo>
                  <a:pt x="1355032" y="948641"/>
                  <a:pt x="1362127" y="951739"/>
                  <a:pt x="1362127" y="951739"/>
                </a:cubicBezTo>
                <a:cubicBezTo>
                  <a:pt x="1358580" y="942447"/>
                  <a:pt x="1358580" y="933154"/>
                  <a:pt x="1362127" y="926960"/>
                </a:cubicBezTo>
                <a:cubicBezTo>
                  <a:pt x="1365674" y="920765"/>
                  <a:pt x="1372768" y="917667"/>
                  <a:pt x="1379863" y="914570"/>
                </a:cubicBezTo>
                <a:cubicBezTo>
                  <a:pt x="1386956" y="914570"/>
                  <a:pt x="1394051" y="914570"/>
                  <a:pt x="1404694" y="917667"/>
                </a:cubicBezTo>
                <a:cubicBezTo>
                  <a:pt x="1383410" y="899083"/>
                  <a:pt x="1358580" y="883596"/>
                  <a:pt x="1340844" y="865011"/>
                </a:cubicBezTo>
                <a:cubicBezTo>
                  <a:pt x="1298277" y="834036"/>
                  <a:pt x="1252164" y="793769"/>
                  <a:pt x="1213145" y="747309"/>
                </a:cubicBezTo>
                <a:cubicBezTo>
                  <a:pt x="1198955" y="731822"/>
                  <a:pt x="1188314" y="713236"/>
                  <a:pt x="1181221" y="694651"/>
                </a:cubicBezTo>
                <a:cubicBezTo>
                  <a:pt x="1170578" y="679164"/>
                  <a:pt x="1170578" y="666775"/>
                  <a:pt x="1177673" y="657482"/>
                </a:cubicBezTo>
                <a:cubicBezTo>
                  <a:pt x="1181221" y="651288"/>
                  <a:pt x="1184767" y="648190"/>
                  <a:pt x="1191861" y="648190"/>
                </a:cubicBezTo>
                <a:cubicBezTo>
                  <a:pt x="1198955" y="648190"/>
                  <a:pt x="1206050" y="648190"/>
                  <a:pt x="1216692" y="651288"/>
                </a:cubicBezTo>
                <a:cubicBezTo>
                  <a:pt x="1241522" y="657482"/>
                  <a:pt x="1269900" y="669873"/>
                  <a:pt x="1301825" y="682262"/>
                </a:cubicBezTo>
                <a:cubicBezTo>
                  <a:pt x="1566757" y="910699"/>
                  <a:pt x="2065859" y="1065026"/>
                  <a:pt x="2680813" y="1139574"/>
                </a:cubicBezTo>
                <a:lnTo>
                  <a:pt x="2791519" y="1149751"/>
                </a:lnTo>
                <a:lnTo>
                  <a:pt x="2737786" y="1087636"/>
                </a:lnTo>
                <a:cubicBezTo>
                  <a:pt x="2727209" y="1078320"/>
                  <a:pt x="2720157" y="1065899"/>
                  <a:pt x="2713106" y="1050371"/>
                </a:cubicBezTo>
                <a:cubicBezTo>
                  <a:pt x="2702529" y="1034845"/>
                  <a:pt x="2695476" y="1019319"/>
                  <a:pt x="2688425" y="1000687"/>
                </a:cubicBezTo>
                <a:cubicBezTo>
                  <a:pt x="2684899" y="997582"/>
                  <a:pt x="2681374" y="988265"/>
                  <a:pt x="2681374" y="982054"/>
                </a:cubicBezTo>
                <a:cubicBezTo>
                  <a:pt x="2681374" y="982054"/>
                  <a:pt x="2681374" y="982054"/>
                  <a:pt x="2677848" y="978949"/>
                </a:cubicBezTo>
                <a:cubicBezTo>
                  <a:pt x="2677848" y="978949"/>
                  <a:pt x="2677848" y="978949"/>
                  <a:pt x="2681374" y="978949"/>
                </a:cubicBezTo>
                <a:cubicBezTo>
                  <a:pt x="2681374" y="978949"/>
                  <a:pt x="2681374" y="978949"/>
                  <a:pt x="2684899" y="978949"/>
                </a:cubicBezTo>
                <a:cubicBezTo>
                  <a:pt x="2684899" y="982054"/>
                  <a:pt x="2688425" y="985160"/>
                  <a:pt x="2688425" y="988265"/>
                </a:cubicBezTo>
                <a:cubicBezTo>
                  <a:pt x="2699002" y="997582"/>
                  <a:pt x="2702529" y="1006897"/>
                  <a:pt x="2709579" y="1016213"/>
                </a:cubicBezTo>
                <a:cubicBezTo>
                  <a:pt x="2744837" y="1069004"/>
                  <a:pt x="2783621" y="1081425"/>
                  <a:pt x="2818878" y="1137321"/>
                </a:cubicBezTo>
                <a:cubicBezTo>
                  <a:pt x="2818878" y="1137321"/>
                  <a:pt x="2815352" y="1140427"/>
                  <a:pt x="2815352" y="1140427"/>
                </a:cubicBezTo>
                <a:lnTo>
                  <a:pt x="2817570" y="1152146"/>
                </a:lnTo>
                <a:lnTo>
                  <a:pt x="2867012" y="1156691"/>
                </a:lnTo>
                <a:lnTo>
                  <a:pt x="2830172" y="1084930"/>
                </a:lnTo>
                <a:cubicBezTo>
                  <a:pt x="2815982" y="1060150"/>
                  <a:pt x="2801794" y="1032272"/>
                  <a:pt x="2784058" y="1007493"/>
                </a:cubicBezTo>
                <a:cubicBezTo>
                  <a:pt x="2776964" y="998201"/>
                  <a:pt x="2766322" y="992006"/>
                  <a:pt x="2759227" y="982713"/>
                </a:cubicBezTo>
                <a:cubicBezTo>
                  <a:pt x="2745039" y="976519"/>
                  <a:pt x="2737945" y="973421"/>
                  <a:pt x="2727303" y="973421"/>
                </a:cubicBezTo>
                <a:cubicBezTo>
                  <a:pt x="2723755" y="970323"/>
                  <a:pt x="2723755" y="970323"/>
                  <a:pt x="2723755" y="970323"/>
                </a:cubicBezTo>
                <a:cubicBezTo>
                  <a:pt x="2720209" y="970323"/>
                  <a:pt x="2720209" y="970323"/>
                  <a:pt x="2720209" y="967226"/>
                </a:cubicBezTo>
                <a:cubicBezTo>
                  <a:pt x="2716660" y="964128"/>
                  <a:pt x="2713114" y="957934"/>
                  <a:pt x="2706019" y="954836"/>
                </a:cubicBezTo>
                <a:cubicBezTo>
                  <a:pt x="2702472" y="942447"/>
                  <a:pt x="2695378" y="926960"/>
                  <a:pt x="2688283" y="914570"/>
                </a:cubicBezTo>
                <a:cubicBezTo>
                  <a:pt x="2681190" y="902180"/>
                  <a:pt x="2674095" y="886692"/>
                  <a:pt x="2670547" y="874304"/>
                </a:cubicBezTo>
                <a:cubicBezTo>
                  <a:pt x="2670547" y="871205"/>
                  <a:pt x="2667000" y="865011"/>
                  <a:pt x="2667000" y="861914"/>
                </a:cubicBezTo>
                <a:cubicBezTo>
                  <a:pt x="2667000" y="858816"/>
                  <a:pt x="2667000" y="858816"/>
                  <a:pt x="2670547" y="855718"/>
                </a:cubicBezTo>
                <a:cubicBezTo>
                  <a:pt x="2674095" y="855718"/>
                  <a:pt x="2677642" y="855718"/>
                  <a:pt x="2677642" y="858816"/>
                </a:cubicBezTo>
                <a:cubicBezTo>
                  <a:pt x="2681190" y="858816"/>
                  <a:pt x="2688283" y="861914"/>
                  <a:pt x="2691831" y="865011"/>
                </a:cubicBezTo>
                <a:cubicBezTo>
                  <a:pt x="2706019" y="874304"/>
                  <a:pt x="2716660" y="883596"/>
                  <a:pt x="2730850" y="892887"/>
                </a:cubicBezTo>
                <a:cubicBezTo>
                  <a:pt x="2762775" y="917667"/>
                  <a:pt x="2798246" y="945544"/>
                  <a:pt x="2833718" y="973421"/>
                </a:cubicBezTo>
                <a:cubicBezTo>
                  <a:pt x="2869190" y="995103"/>
                  <a:pt x="2901116" y="1019883"/>
                  <a:pt x="2933040" y="1044662"/>
                </a:cubicBezTo>
                <a:cubicBezTo>
                  <a:pt x="2943681" y="1053955"/>
                  <a:pt x="2954324" y="1060150"/>
                  <a:pt x="2964966" y="1066344"/>
                </a:cubicBezTo>
                <a:cubicBezTo>
                  <a:pt x="2968512" y="1066344"/>
                  <a:pt x="2972060" y="1069442"/>
                  <a:pt x="2972060" y="1069442"/>
                </a:cubicBezTo>
                <a:cubicBezTo>
                  <a:pt x="2975607" y="1069442"/>
                  <a:pt x="2975607" y="1069442"/>
                  <a:pt x="2975607" y="1069442"/>
                </a:cubicBezTo>
                <a:cubicBezTo>
                  <a:pt x="2975607" y="1066344"/>
                  <a:pt x="2975607" y="1066344"/>
                  <a:pt x="2975607" y="1066344"/>
                </a:cubicBezTo>
                <a:cubicBezTo>
                  <a:pt x="2975607" y="1047761"/>
                  <a:pt x="2975607" y="1035370"/>
                  <a:pt x="2972060" y="1016785"/>
                </a:cubicBezTo>
                <a:cubicBezTo>
                  <a:pt x="2972060" y="1013688"/>
                  <a:pt x="2968512" y="1016785"/>
                  <a:pt x="2968512" y="1013688"/>
                </a:cubicBezTo>
                <a:cubicBezTo>
                  <a:pt x="2961418" y="1013688"/>
                  <a:pt x="2954324" y="1010590"/>
                  <a:pt x="2947230" y="1007493"/>
                </a:cubicBezTo>
                <a:cubicBezTo>
                  <a:pt x="2901116" y="982713"/>
                  <a:pt x="2851455" y="930058"/>
                  <a:pt x="2812436" y="880498"/>
                </a:cubicBezTo>
                <a:cubicBezTo>
                  <a:pt x="2787605" y="849523"/>
                  <a:pt x="2766322" y="815452"/>
                  <a:pt x="2748586" y="781380"/>
                </a:cubicBezTo>
                <a:cubicBezTo>
                  <a:pt x="2737945" y="765893"/>
                  <a:pt x="2730850" y="747309"/>
                  <a:pt x="2727303" y="731822"/>
                </a:cubicBezTo>
                <a:cubicBezTo>
                  <a:pt x="2720209" y="713236"/>
                  <a:pt x="2716660" y="700847"/>
                  <a:pt x="2716660" y="685360"/>
                </a:cubicBezTo>
                <a:cubicBezTo>
                  <a:pt x="2713114" y="679164"/>
                  <a:pt x="2716660" y="672969"/>
                  <a:pt x="2720209" y="669873"/>
                </a:cubicBezTo>
                <a:cubicBezTo>
                  <a:pt x="2720209" y="666775"/>
                  <a:pt x="2723755" y="663677"/>
                  <a:pt x="2727303" y="660580"/>
                </a:cubicBezTo>
                <a:cubicBezTo>
                  <a:pt x="2734397" y="657482"/>
                  <a:pt x="2745039" y="663677"/>
                  <a:pt x="2759227" y="666775"/>
                </a:cubicBezTo>
                <a:cubicBezTo>
                  <a:pt x="2791153" y="679164"/>
                  <a:pt x="2823077" y="707042"/>
                  <a:pt x="2858549" y="731822"/>
                </a:cubicBezTo>
                <a:cubicBezTo>
                  <a:pt x="2897568" y="756600"/>
                  <a:pt x="2936588" y="784478"/>
                  <a:pt x="2972060" y="812355"/>
                </a:cubicBezTo>
                <a:cubicBezTo>
                  <a:pt x="2996890" y="827841"/>
                  <a:pt x="3025267" y="849523"/>
                  <a:pt x="3046552" y="852621"/>
                </a:cubicBezTo>
                <a:cubicBezTo>
                  <a:pt x="3142325" y="865011"/>
                  <a:pt x="3245194" y="964128"/>
                  <a:pt x="3337422" y="967226"/>
                </a:cubicBezTo>
                <a:cubicBezTo>
                  <a:pt x="3372893" y="967226"/>
                  <a:pt x="3397724" y="979616"/>
                  <a:pt x="3433196" y="1001298"/>
                </a:cubicBezTo>
                <a:cubicBezTo>
                  <a:pt x="3465122" y="1022981"/>
                  <a:pt x="3500592" y="1044662"/>
                  <a:pt x="3532518" y="1060150"/>
                </a:cubicBezTo>
                <a:cubicBezTo>
                  <a:pt x="3560895" y="1072539"/>
                  <a:pt x="3592819" y="1078734"/>
                  <a:pt x="3621198" y="1088026"/>
                </a:cubicBezTo>
                <a:cubicBezTo>
                  <a:pt x="3638934" y="1094221"/>
                  <a:pt x="3656670" y="1097319"/>
                  <a:pt x="3674407" y="1106612"/>
                </a:cubicBezTo>
                <a:cubicBezTo>
                  <a:pt x="3681501" y="1109708"/>
                  <a:pt x="3685049" y="1109708"/>
                  <a:pt x="3692143" y="1115904"/>
                </a:cubicBezTo>
                <a:cubicBezTo>
                  <a:pt x="3692143" y="1115904"/>
                  <a:pt x="3695691" y="1119001"/>
                  <a:pt x="3699237" y="1119001"/>
                </a:cubicBezTo>
                <a:cubicBezTo>
                  <a:pt x="3699237" y="1119001"/>
                  <a:pt x="3699237" y="1119001"/>
                  <a:pt x="3699237" y="1122099"/>
                </a:cubicBezTo>
                <a:cubicBezTo>
                  <a:pt x="3699237" y="1125195"/>
                  <a:pt x="3702785" y="1128293"/>
                  <a:pt x="3699237" y="1131392"/>
                </a:cubicBezTo>
                <a:cubicBezTo>
                  <a:pt x="3699237" y="1131392"/>
                  <a:pt x="3699237" y="1134488"/>
                  <a:pt x="3699237" y="1134488"/>
                </a:cubicBezTo>
                <a:cubicBezTo>
                  <a:pt x="3695691" y="1137586"/>
                  <a:pt x="3692143" y="1140683"/>
                  <a:pt x="3688596" y="1140683"/>
                </a:cubicBezTo>
                <a:cubicBezTo>
                  <a:pt x="3677955" y="1140683"/>
                  <a:pt x="3663764" y="1137586"/>
                  <a:pt x="3649576" y="1134488"/>
                </a:cubicBezTo>
                <a:cubicBezTo>
                  <a:pt x="3610556" y="1119001"/>
                  <a:pt x="3567990" y="1100417"/>
                  <a:pt x="3525423" y="1081832"/>
                </a:cubicBezTo>
                <a:cubicBezTo>
                  <a:pt x="3479310" y="1063246"/>
                  <a:pt x="3433196" y="1044662"/>
                  <a:pt x="3387082" y="1032272"/>
                </a:cubicBezTo>
                <a:cubicBezTo>
                  <a:pt x="3372893" y="1026078"/>
                  <a:pt x="3358705" y="1022981"/>
                  <a:pt x="3340969" y="1022981"/>
                </a:cubicBezTo>
                <a:cubicBezTo>
                  <a:pt x="3337422" y="1022981"/>
                  <a:pt x="3330328" y="1022981"/>
                  <a:pt x="3326779" y="1026078"/>
                </a:cubicBezTo>
                <a:cubicBezTo>
                  <a:pt x="3323233" y="1029175"/>
                  <a:pt x="3319686" y="1032272"/>
                  <a:pt x="3316138" y="1035370"/>
                </a:cubicBezTo>
                <a:cubicBezTo>
                  <a:pt x="3319686" y="1038468"/>
                  <a:pt x="3319686" y="1038468"/>
                  <a:pt x="3319686" y="1038468"/>
                </a:cubicBezTo>
                <a:cubicBezTo>
                  <a:pt x="3319686" y="1038468"/>
                  <a:pt x="3316138" y="1038468"/>
                  <a:pt x="3316138" y="1038468"/>
                </a:cubicBezTo>
                <a:cubicBezTo>
                  <a:pt x="3316138" y="1038468"/>
                  <a:pt x="3319686" y="1038468"/>
                  <a:pt x="3319686" y="1041565"/>
                </a:cubicBezTo>
                <a:cubicBezTo>
                  <a:pt x="3323233" y="1047761"/>
                  <a:pt x="3326779" y="1050857"/>
                  <a:pt x="3330328" y="1050857"/>
                </a:cubicBezTo>
                <a:cubicBezTo>
                  <a:pt x="3348064" y="1063246"/>
                  <a:pt x="3362252" y="1072539"/>
                  <a:pt x="3376441" y="1078734"/>
                </a:cubicBezTo>
                <a:cubicBezTo>
                  <a:pt x="3422554" y="1103514"/>
                  <a:pt x="3468668" y="1125195"/>
                  <a:pt x="3514782" y="1146877"/>
                </a:cubicBezTo>
                <a:lnTo>
                  <a:pt x="3606959" y="1189039"/>
                </a:lnTo>
                <a:lnTo>
                  <a:pt x="3829954" y="1186917"/>
                </a:lnTo>
                <a:lnTo>
                  <a:pt x="3812749" y="1171658"/>
                </a:lnTo>
                <a:cubicBezTo>
                  <a:pt x="3795012" y="1156170"/>
                  <a:pt x="3777276" y="1140683"/>
                  <a:pt x="3763087" y="1119001"/>
                </a:cubicBezTo>
                <a:cubicBezTo>
                  <a:pt x="3759540" y="1115904"/>
                  <a:pt x="3755992" y="1109708"/>
                  <a:pt x="3752446" y="1103514"/>
                </a:cubicBezTo>
                <a:cubicBezTo>
                  <a:pt x="3752446" y="1100417"/>
                  <a:pt x="3752446" y="1100417"/>
                  <a:pt x="3752446" y="1100417"/>
                </a:cubicBezTo>
                <a:cubicBezTo>
                  <a:pt x="3755992" y="1100417"/>
                  <a:pt x="3755992" y="1100417"/>
                  <a:pt x="3755992" y="1100417"/>
                </a:cubicBezTo>
                <a:cubicBezTo>
                  <a:pt x="3755992" y="1097319"/>
                  <a:pt x="3755992" y="1097319"/>
                  <a:pt x="3755992" y="1097319"/>
                </a:cubicBezTo>
                <a:cubicBezTo>
                  <a:pt x="3759540" y="1100417"/>
                  <a:pt x="3759540" y="1100417"/>
                  <a:pt x="3759540" y="1100417"/>
                </a:cubicBezTo>
                <a:cubicBezTo>
                  <a:pt x="3763087" y="1103514"/>
                  <a:pt x="3763087" y="1103514"/>
                  <a:pt x="3766635" y="1103514"/>
                </a:cubicBezTo>
                <a:cubicBezTo>
                  <a:pt x="3770182" y="1106612"/>
                  <a:pt x="3777276" y="1109708"/>
                  <a:pt x="3780823" y="1112806"/>
                </a:cubicBezTo>
                <a:cubicBezTo>
                  <a:pt x="3795012" y="1122099"/>
                  <a:pt x="3809201" y="1134488"/>
                  <a:pt x="3826937" y="1146877"/>
                </a:cubicBezTo>
                <a:lnTo>
                  <a:pt x="3887833" y="1186341"/>
                </a:lnTo>
                <a:lnTo>
                  <a:pt x="4028229" y="1178539"/>
                </a:lnTo>
                <a:lnTo>
                  <a:pt x="3990108" y="1159268"/>
                </a:lnTo>
                <a:cubicBezTo>
                  <a:pt x="3961731" y="1146877"/>
                  <a:pt x="3933353" y="1137586"/>
                  <a:pt x="3901428" y="1128293"/>
                </a:cubicBezTo>
                <a:cubicBezTo>
                  <a:pt x="3897881" y="1128293"/>
                  <a:pt x="3894333" y="1128293"/>
                  <a:pt x="3890786" y="1125195"/>
                </a:cubicBezTo>
                <a:cubicBezTo>
                  <a:pt x="3887240" y="1125195"/>
                  <a:pt x="3883692" y="1122099"/>
                  <a:pt x="3880145" y="1119001"/>
                </a:cubicBezTo>
                <a:cubicBezTo>
                  <a:pt x="3873050" y="1115904"/>
                  <a:pt x="3865955" y="1109708"/>
                  <a:pt x="3855314" y="1103514"/>
                </a:cubicBezTo>
                <a:cubicBezTo>
                  <a:pt x="3841126" y="1091124"/>
                  <a:pt x="3826937" y="1075637"/>
                  <a:pt x="3816295" y="1060150"/>
                </a:cubicBezTo>
                <a:cubicBezTo>
                  <a:pt x="3805654" y="1050857"/>
                  <a:pt x="3795012" y="1035370"/>
                  <a:pt x="3791464" y="1022981"/>
                </a:cubicBezTo>
                <a:cubicBezTo>
                  <a:pt x="3787918" y="1016785"/>
                  <a:pt x="3787918" y="1013688"/>
                  <a:pt x="3787918" y="1010590"/>
                </a:cubicBezTo>
                <a:cubicBezTo>
                  <a:pt x="3787918" y="1007493"/>
                  <a:pt x="3791464" y="1007493"/>
                  <a:pt x="3791464" y="1007493"/>
                </a:cubicBezTo>
                <a:cubicBezTo>
                  <a:pt x="3752446" y="979616"/>
                  <a:pt x="3716973" y="948641"/>
                  <a:pt x="3677955" y="920765"/>
                </a:cubicBezTo>
                <a:cubicBezTo>
                  <a:pt x="3660217" y="905278"/>
                  <a:pt x="3642481" y="889790"/>
                  <a:pt x="3624745" y="871205"/>
                </a:cubicBezTo>
                <a:cubicBezTo>
                  <a:pt x="3610556" y="855718"/>
                  <a:pt x="3596367" y="837134"/>
                  <a:pt x="3585726" y="815452"/>
                </a:cubicBezTo>
                <a:cubicBezTo>
                  <a:pt x="3582178" y="812355"/>
                  <a:pt x="3575085" y="803062"/>
                  <a:pt x="3575085" y="796867"/>
                </a:cubicBezTo>
                <a:cubicBezTo>
                  <a:pt x="3575085" y="796867"/>
                  <a:pt x="3575085" y="796867"/>
                  <a:pt x="3575085" y="793769"/>
                </a:cubicBezTo>
                <a:cubicBezTo>
                  <a:pt x="3578631" y="793769"/>
                  <a:pt x="3578631" y="793769"/>
                  <a:pt x="3578631" y="793769"/>
                </a:cubicBezTo>
                <a:cubicBezTo>
                  <a:pt x="3582178" y="793769"/>
                  <a:pt x="3582178" y="796867"/>
                  <a:pt x="3582178" y="796867"/>
                </a:cubicBezTo>
                <a:cubicBezTo>
                  <a:pt x="3585726" y="796867"/>
                  <a:pt x="3585726" y="799965"/>
                  <a:pt x="3585726" y="799965"/>
                </a:cubicBezTo>
                <a:cubicBezTo>
                  <a:pt x="3592819" y="803062"/>
                  <a:pt x="3596367" y="806160"/>
                  <a:pt x="3599914" y="812355"/>
                </a:cubicBezTo>
                <a:cubicBezTo>
                  <a:pt x="3610556" y="824743"/>
                  <a:pt x="3628291" y="837134"/>
                  <a:pt x="3638934" y="849523"/>
                </a:cubicBezTo>
                <a:cubicBezTo>
                  <a:pt x="3720520" y="926960"/>
                  <a:pt x="3809201" y="954836"/>
                  <a:pt x="3887240" y="1035370"/>
                </a:cubicBezTo>
                <a:cubicBezTo>
                  <a:pt x="3883692" y="1035370"/>
                  <a:pt x="3883692" y="1035370"/>
                  <a:pt x="3880145" y="1035370"/>
                </a:cubicBezTo>
                <a:cubicBezTo>
                  <a:pt x="3880145" y="1038468"/>
                  <a:pt x="3880145" y="1038468"/>
                  <a:pt x="3880145" y="1041565"/>
                </a:cubicBezTo>
                <a:cubicBezTo>
                  <a:pt x="3904976" y="1053955"/>
                  <a:pt x="3929805" y="1066344"/>
                  <a:pt x="3954636" y="1075637"/>
                </a:cubicBezTo>
                <a:cubicBezTo>
                  <a:pt x="3975919" y="1088026"/>
                  <a:pt x="3997201" y="1097319"/>
                  <a:pt x="4022032" y="1106612"/>
                </a:cubicBezTo>
                <a:cubicBezTo>
                  <a:pt x="3993655" y="1078734"/>
                  <a:pt x="3968825" y="1044662"/>
                  <a:pt x="3943994" y="1013688"/>
                </a:cubicBezTo>
                <a:cubicBezTo>
                  <a:pt x="3915617" y="976519"/>
                  <a:pt x="3887240" y="948641"/>
                  <a:pt x="3855314" y="920765"/>
                </a:cubicBezTo>
                <a:cubicBezTo>
                  <a:pt x="3837578" y="902180"/>
                  <a:pt x="3816295" y="889790"/>
                  <a:pt x="3795012" y="877401"/>
                </a:cubicBezTo>
                <a:cubicBezTo>
                  <a:pt x="3766635" y="861914"/>
                  <a:pt x="3741804" y="849523"/>
                  <a:pt x="3713427" y="840231"/>
                </a:cubicBezTo>
                <a:cubicBezTo>
                  <a:pt x="3709879" y="840231"/>
                  <a:pt x="3706332" y="837134"/>
                  <a:pt x="3706332" y="834036"/>
                </a:cubicBezTo>
                <a:cubicBezTo>
                  <a:pt x="3699237" y="834036"/>
                  <a:pt x="3699237" y="830939"/>
                  <a:pt x="3692143" y="827841"/>
                </a:cubicBezTo>
                <a:cubicBezTo>
                  <a:pt x="3685049" y="824743"/>
                  <a:pt x="3677955" y="815452"/>
                  <a:pt x="3674407" y="812355"/>
                </a:cubicBezTo>
                <a:cubicBezTo>
                  <a:pt x="3660217" y="796867"/>
                  <a:pt x="3646028" y="781380"/>
                  <a:pt x="3635386" y="765893"/>
                </a:cubicBezTo>
                <a:cubicBezTo>
                  <a:pt x="3628291" y="753503"/>
                  <a:pt x="3617650" y="738016"/>
                  <a:pt x="3617650" y="725626"/>
                </a:cubicBezTo>
                <a:cubicBezTo>
                  <a:pt x="3614104" y="722529"/>
                  <a:pt x="3614104" y="716334"/>
                  <a:pt x="3617650" y="716334"/>
                </a:cubicBezTo>
                <a:cubicBezTo>
                  <a:pt x="3617650" y="713236"/>
                  <a:pt x="3617650" y="713236"/>
                  <a:pt x="3621198" y="713236"/>
                </a:cubicBezTo>
                <a:cubicBezTo>
                  <a:pt x="3624745" y="713236"/>
                  <a:pt x="3624745" y="713236"/>
                  <a:pt x="3624745" y="713236"/>
                </a:cubicBezTo>
                <a:cubicBezTo>
                  <a:pt x="3631840" y="716334"/>
                  <a:pt x="3638934" y="719431"/>
                  <a:pt x="3642481" y="722529"/>
                </a:cubicBezTo>
                <a:cubicBezTo>
                  <a:pt x="3653122" y="728724"/>
                  <a:pt x="3663764" y="731822"/>
                  <a:pt x="3674407" y="738016"/>
                </a:cubicBezTo>
                <a:cubicBezTo>
                  <a:pt x="3706332" y="756600"/>
                  <a:pt x="3734709" y="775185"/>
                  <a:pt x="3766635" y="793769"/>
                </a:cubicBezTo>
                <a:cubicBezTo>
                  <a:pt x="3851767" y="846426"/>
                  <a:pt x="3933353" y="899083"/>
                  <a:pt x="4018486" y="945544"/>
                </a:cubicBezTo>
                <a:cubicBezTo>
                  <a:pt x="4022032" y="948641"/>
                  <a:pt x="4029127" y="951739"/>
                  <a:pt x="4029127" y="951739"/>
                </a:cubicBezTo>
                <a:cubicBezTo>
                  <a:pt x="4025580" y="942447"/>
                  <a:pt x="4025580" y="933154"/>
                  <a:pt x="4029127" y="926960"/>
                </a:cubicBezTo>
                <a:cubicBezTo>
                  <a:pt x="4032674" y="920765"/>
                  <a:pt x="4039768" y="917667"/>
                  <a:pt x="4046863" y="914570"/>
                </a:cubicBezTo>
                <a:cubicBezTo>
                  <a:pt x="4053956" y="914570"/>
                  <a:pt x="4061051" y="914570"/>
                  <a:pt x="4071694" y="917667"/>
                </a:cubicBezTo>
                <a:cubicBezTo>
                  <a:pt x="4050410" y="899083"/>
                  <a:pt x="4025580" y="883596"/>
                  <a:pt x="4007844" y="865011"/>
                </a:cubicBezTo>
                <a:cubicBezTo>
                  <a:pt x="3965277" y="834036"/>
                  <a:pt x="3919164" y="793769"/>
                  <a:pt x="3880145" y="747309"/>
                </a:cubicBezTo>
                <a:cubicBezTo>
                  <a:pt x="3865955" y="731822"/>
                  <a:pt x="3855314" y="713236"/>
                  <a:pt x="3848221" y="694651"/>
                </a:cubicBezTo>
                <a:cubicBezTo>
                  <a:pt x="3837578" y="679164"/>
                  <a:pt x="3837578" y="666775"/>
                  <a:pt x="3844673" y="657482"/>
                </a:cubicBezTo>
                <a:cubicBezTo>
                  <a:pt x="3848221" y="651288"/>
                  <a:pt x="3851767" y="648190"/>
                  <a:pt x="3858861" y="648190"/>
                </a:cubicBezTo>
                <a:cubicBezTo>
                  <a:pt x="3865955" y="648190"/>
                  <a:pt x="3873050" y="648190"/>
                  <a:pt x="3883692" y="651288"/>
                </a:cubicBezTo>
                <a:cubicBezTo>
                  <a:pt x="3908522" y="657482"/>
                  <a:pt x="3936900" y="669873"/>
                  <a:pt x="3968825" y="682262"/>
                </a:cubicBezTo>
                <a:cubicBezTo>
                  <a:pt x="4127784" y="819324"/>
                  <a:pt x="4371045" y="929707"/>
                  <a:pt x="4673050" y="1012185"/>
                </a:cubicBezTo>
                <a:lnTo>
                  <a:pt x="4986857" y="1083759"/>
                </a:lnTo>
                <a:lnTo>
                  <a:pt x="5190667" y="1053493"/>
                </a:lnTo>
                <a:cubicBezTo>
                  <a:pt x="5913283" y="928400"/>
                  <a:pt x="6609768" y="716721"/>
                  <a:pt x="7161801" y="412784"/>
                </a:cubicBezTo>
                <a:cubicBezTo>
                  <a:pt x="7186632" y="394200"/>
                  <a:pt x="7207915" y="378712"/>
                  <a:pt x="7232745" y="363226"/>
                </a:cubicBezTo>
                <a:cubicBezTo>
                  <a:pt x="7250481" y="350835"/>
                  <a:pt x="7268217" y="338446"/>
                  <a:pt x="7289501" y="332250"/>
                </a:cubicBezTo>
                <a:cubicBezTo>
                  <a:pt x="7300142" y="326055"/>
                  <a:pt x="7314331" y="319861"/>
                  <a:pt x="7321425" y="322959"/>
                </a:cubicBezTo>
                <a:cubicBezTo>
                  <a:pt x="7328519" y="329153"/>
                  <a:pt x="7328519" y="338446"/>
                  <a:pt x="7324973" y="350835"/>
                </a:cubicBezTo>
                <a:cubicBezTo>
                  <a:pt x="7324973" y="350835"/>
                  <a:pt x="7324973" y="350835"/>
                  <a:pt x="7321425" y="353933"/>
                </a:cubicBezTo>
                <a:cubicBezTo>
                  <a:pt x="7321425" y="357030"/>
                  <a:pt x="7317878" y="360128"/>
                  <a:pt x="7317878" y="363226"/>
                </a:cubicBezTo>
                <a:cubicBezTo>
                  <a:pt x="7307237" y="369420"/>
                  <a:pt x="7300142" y="375615"/>
                  <a:pt x="7296595" y="381810"/>
                </a:cubicBezTo>
                <a:cubicBezTo>
                  <a:pt x="7268217" y="406590"/>
                  <a:pt x="7243387" y="428272"/>
                  <a:pt x="7218556" y="449953"/>
                </a:cubicBezTo>
                <a:cubicBezTo>
                  <a:pt x="7197273" y="468539"/>
                  <a:pt x="7175989" y="490220"/>
                  <a:pt x="7154707" y="508806"/>
                </a:cubicBezTo>
                <a:cubicBezTo>
                  <a:pt x="7236292" y="443759"/>
                  <a:pt x="7317878" y="381810"/>
                  <a:pt x="7403011" y="316764"/>
                </a:cubicBezTo>
                <a:cubicBezTo>
                  <a:pt x="7498785" y="245523"/>
                  <a:pt x="7591013" y="164988"/>
                  <a:pt x="7686787" y="93748"/>
                </a:cubicBezTo>
                <a:cubicBezTo>
                  <a:pt x="7715165" y="75163"/>
                  <a:pt x="7739996" y="56578"/>
                  <a:pt x="7764825" y="41090"/>
                </a:cubicBezTo>
                <a:cubicBezTo>
                  <a:pt x="7786109" y="28701"/>
                  <a:pt x="7807393" y="16312"/>
                  <a:pt x="7825129" y="10116"/>
                </a:cubicBezTo>
                <a:cubicBezTo>
                  <a:pt x="7839317" y="3921"/>
                  <a:pt x="7853506" y="-2273"/>
                  <a:pt x="7864147" y="824"/>
                </a:cubicBezTo>
                <a:close/>
              </a:path>
            </a:pathLst>
          </a:custGeom>
          <a:solidFill>
            <a:schemeClr val="bg1">
              <a:lumMod val="95000"/>
            </a:schemeClr>
          </a:solidFill>
        </p:spPr>
        <p:txBody>
          <a:bodyPr wrap="square" anchor="ctr">
            <a:noAutofit/>
          </a:bodyPr>
          <a:lstStyle>
            <a:lvl1pPr marL="0" indent="0" algn="ctr">
              <a:buFontTx/>
              <a:buNone/>
              <a:defRPr sz="1200">
                <a:solidFill>
                  <a:schemeClr val="tx1"/>
                </a:solidFill>
              </a:defRPr>
            </a:lvl1pPr>
          </a:lstStyle>
          <a:p>
            <a:r>
              <a:rPr lang="en-US"/>
              <a:t>Image</a:t>
            </a:r>
          </a:p>
        </p:txBody>
      </p:sp>
    </p:spTree>
    <p:extLst>
      <p:ext uri="{BB962C8B-B14F-4D97-AF65-F5344CB8AC3E}">
        <p14:creationId xmlns:p14="http://schemas.microsoft.com/office/powerpoint/2010/main" val="215181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7_Custom Layout">
    <p:spTree>
      <p:nvGrpSpPr>
        <p:cNvPr id="1" name=""/>
        <p:cNvGrpSpPr/>
        <p:nvPr/>
      </p:nvGrpSpPr>
      <p:grpSpPr>
        <a:xfrm>
          <a:off x="0" y="0"/>
          <a:ext cx="0" cy="0"/>
          <a:chOff x="0" y="0"/>
          <a:chExt cx="0" cy="0"/>
        </a:xfrm>
      </p:grpSpPr>
      <p:sp>
        <p:nvSpPr>
          <p:cNvPr id="5" name="Freeform 4"/>
          <p:cNvSpPr>
            <a:spLocks noGrp="1"/>
          </p:cNvSpPr>
          <p:nvPr>
            <p:ph type="pic" sz="quarter" idx="18" hasCustomPrompt="1"/>
          </p:nvPr>
        </p:nvSpPr>
        <p:spPr>
          <a:xfrm>
            <a:off x="-1352755" y="-800690"/>
            <a:ext cx="8286956" cy="8459380"/>
          </a:xfrm>
          <a:custGeom>
            <a:avLst/>
            <a:gdLst>
              <a:gd name="connsiteX0" fmla="*/ 6681779 w 6863196"/>
              <a:gd name="connsiteY0" fmla="*/ 3641421 h 7005996"/>
              <a:gd name="connsiteX1" fmla="*/ 6712111 w 6863196"/>
              <a:gd name="connsiteY1" fmla="*/ 3641421 h 7005996"/>
              <a:gd name="connsiteX2" fmla="*/ 6681779 w 6863196"/>
              <a:gd name="connsiteY2" fmla="*/ 3641421 h 7005996"/>
              <a:gd name="connsiteX3" fmla="*/ 3092813 w 6863196"/>
              <a:gd name="connsiteY3" fmla="*/ 4434166 h 7005996"/>
              <a:gd name="connsiteX4" fmla="*/ 3021054 w 6863196"/>
              <a:gd name="connsiteY4" fmla="*/ 4535860 h 7005996"/>
              <a:gd name="connsiteX5" fmla="*/ 2935469 w 6863196"/>
              <a:gd name="connsiteY5" fmla="*/ 4727881 h 7005996"/>
              <a:gd name="connsiteX6" fmla="*/ 2935147 w 6863196"/>
              <a:gd name="connsiteY6" fmla="*/ 4813349 h 7005996"/>
              <a:gd name="connsiteX7" fmla="*/ 2916513 w 6863196"/>
              <a:gd name="connsiteY7" fmla="*/ 4866849 h 7005996"/>
              <a:gd name="connsiteX8" fmla="*/ 2915458 w 6863196"/>
              <a:gd name="connsiteY8" fmla="*/ 4872223 h 7005996"/>
              <a:gd name="connsiteX9" fmla="*/ 2952135 w 6863196"/>
              <a:gd name="connsiteY9" fmla="*/ 4849218 h 7005996"/>
              <a:gd name="connsiteX10" fmla="*/ 3073461 w 6863196"/>
              <a:gd name="connsiteY10" fmla="*/ 4758906 h 7005996"/>
              <a:gd name="connsiteX11" fmla="*/ 3193643 w 6863196"/>
              <a:gd name="connsiteY11" fmla="*/ 4637971 h 7005996"/>
              <a:gd name="connsiteX12" fmla="*/ 3209095 w 6863196"/>
              <a:gd name="connsiteY12" fmla="*/ 4562710 h 7005996"/>
              <a:gd name="connsiteX13" fmla="*/ 3284638 w 6863196"/>
              <a:gd name="connsiteY13" fmla="*/ 4517035 h 7005996"/>
              <a:gd name="connsiteX14" fmla="*/ 3299517 w 6863196"/>
              <a:gd name="connsiteY14" fmla="*/ 4502502 h 7005996"/>
              <a:gd name="connsiteX15" fmla="*/ 3314969 w 6863196"/>
              <a:gd name="connsiteY15" fmla="*/ 4471879 h 7005996"/>
              <a:gd name="connsiteX16" fmla="*/ 3327989 w 6863196"/>
              <a:gd name="connsiteY16" fmla="*/ 4466234 h 7005996"/>
              <a:gd name="connsiteX17" fmla="*/ 3328915 w 6863196"/>
              <a:gd name="connsiteY17" fmla="*/ 4465833 h 7005996"/>
              <a:gd name="connsiteX18" fmla="*/ 3329849 w 6863196"/>
              <a:gd name="connsiteY18" fmla="*/ 4471879 h 7005996"/>
              <a:gd name="connsiteX19" fmla="*/ 3329616 w 6863196"/>
              <a:gd name="connsiteY19" fmla="*/ 4465529 h 7005996"/>
              <a:gd name="connsiteX20" fmla="*/ 3328915 w 6863196"/>
              <a:gd name="connsiteY20" fmla="*/ 4465833 h 7005996"/>
              <a:gd name="connsiteX21" fmla="*/ 3321605 w 6863196"/>
              <a:gd name="connsiteY21" fmla="*/ 4418516 h 7005996"/>
              <a:gd name="connsiteX22" fmla="*/ 3312480 w 6863196"/>
              <a:gd name="connsiteY22" fmla="*/ 4417402 h 7005996"/>
              <a:gd name="connsiteX23" fmla="*/ 3277135 w 6863196"/>
              <a:gd name="connsiteY23" fmla="*/ 4407501 h 7005996"/>
              <a:gd name="connsiteX24" fmla="*/ 3202592 w 6863196"/>
              <a:gd name="connsiteY24" fmla="*/ 4396896 h 7005996"/>
              <a:gd name="connsiteX25" fmla="*/ 3127361 w 6863196"/>
              <a:gd name="connsiteY25" fmla="*/ 4408266 h 7005996"/>
              <a:gd name="connsiteX26" fmla="*/ 3092813 w 6863196"/>
              <a:gd name="connsiteY26" fmla="*/ 4434166 h 7005996"/>
              <a:gd name="connsiteX27" fmla="*/ 2637760 w 6863196"/>
              <a:gd name="connsiteY27" fmla="*/ 4320187 h 7005996"/>
              <a:gd name="connsiteX28" fmla="*/ 2644258 w 6863196"/>
              <a:gd name="connsiteY28" fmla="*/ 4318171 h 7005996"/>
              <a:gd name="connsiteX29" fmla="*/ 2648675 w 6863196"/>
              <a:gd name="connsiteY29" fmla="*/ 4311172 h 7005996"/>
              <a:gd name="connsiteX30" fmla="*/ 2648861 w 6863196"/>
              <a:gd name="connsiteY30" fmla="*/ 4309086 h 7005996"/>
              <a:gd name="connsiteX31" fmla="*/ 2732337 w 6863196"/>
              <a:gd name="connsiteY31" fmla="*/ 4205057 h 7005996"/>
              <a:gd name="connsiteX32" fmla="*/ 2670717 w 6863196"/>
              <a:gd name="connsiteY32" fmla="*/ 4275348 h 7005996"/>
              <a:gd name="connsiteX33" fmla="*/ 2664312 w 6863196"/>
              <a:gd name="connsiteY33" fmla="*/ 4287394 h 7005996"/>
              <a:gd name="connsiteX34" fmla="*/ 2788316 w 6863196"/>
              <a:gd name="connsiteY34" fmla="*/ 4261994 h 7005996"/>
              <a:gd name="connsiteX35" fmla="*/ 2821957 w 6863196"/>
              <a:gd name="connsiteY35" fmla="*/ 4256423 h 7005996"/>
              <a:gd name="connsiteX36" fmla="*/ 2789779 w 6863196"/>
              <a:gd name="connsiteY36" fmla="*/ 4232856 h 7005996"/>
              <a:gd name="connsiteX37" fmla="*/ 2732337 w 6863196"/>
              <a:gd name="connsiteY37" fmla="*/ 4205057 h 7005996"/>
              <a:gd name="connsiteX38" fmla="*/ 4622249 w 6863196"/>
              <a:gd name="connsiteY38" fmla="*/ 1311729 h 7005996"/>
              <a:gd name="connsiteX39" fmla="*/ 4643696 w 6863196"/>
              <a:gd name="connsiteY39" fmla="*/ 1290282 h 7005996"/>
              <a:gd name="connsiteX40" fmla="*/ 4622249 w 6863196"/>
              <a:gd name="connsiteY40" fmla="*/ 1311729 h 7005996"/>
              <a:gd name="connsiteX41" fmla="*/ 1788581 w 6863196"/>
              <a:gd name="connsiteY41" fmla="*/ 1564579 h 7005996"/>
              <a:gd name="connsiteX42" fmla="*/ 1996813 w 6863196"/>
              <a:gd name="connsiteY42" fmla="*/ 1632316 h 7005996"/>
              <a:gd name="connsiteX43" fmla="*/ 2135061 w 6863196"/>
              <a:gd name="connsiteY43" fmla="*/ 1899251 h 7005996"/>
              <a:gd name="connsiteX44" fmla="*/ 2294958 w 6863196"/>
              <a:gd name="connsiteY44" fmla="*/ 2038104 h 7005996"/>
              <a:gd name="connsiteX45" fmla="*/ 2413007 w 6863196"/>
              <a:gd name="connsiteY45" fmla="*/ 2048510 h 7005996"/>
              <a:gd name="connsiteX46" fmla="*/ 2572808 w 6863196"/>
              <a:gd name="connsiteY46" fmla="*/ 1802827 h 7005996"/>
              <a:gd name="connsiteX47" fmla="*/ 2476722 w 6863196"/>
              <a:gd name="connsiteY47" fmla="*/ 1429136 h 7005996"/>
              <a:gd name="connsiteX48" fmla="*/ 2732964 w 6863196"/>
              <a:gd name="connsiteY48" fmla="*/ 1194914 h 7005996"/>
              <a:gd name="connsiteX49" fmla="*/ 2711465 w 6863196"/>
              <a:gd name="connsiteY49" fmla="*/ 980790 h 7005996"/>
              <a:gd name="connsiteX50" fmla="*/ 2690699 w 6863196"/>
              <a:gd name="connsiteY50" fmla="*/ 767400 h 7005996"/>
              <a:gd name="connsiteX51" fmla="*/ 2818022 w 6863196"/>
              <a:gd name="connsiteY51" fmla="*/ 1045261 h 7005996"/>
              <a:gd name="connsiteX52" fmla="*/ 2861207 w 6863196"/>
              <a:gd name="connsiteY52" fmla="*/ 1130531 h 7005996"/>
              <a:gd name="connsiteX53" fmla="*/ 2861167 w 6863196"/>
              <a:gd name="connsiteY53" fmla="*/ 1194431 h 7005996"/>
              <a:gd name="connsiteX54" fmla="*/ 3074442 w 6863196"/>
              <a:gd name="connsiteY54" fmla="*/ 1343767 h 7005996"/>
              <a:gd name="connsiteX55" fmla="*/ 3117137 w 6863196"/>
              <a:gd name="connsiteY55" fmla="*/ 1407505 h 7005996"/>
              <a:gd name="connsiteX56" fmla="*/ 3202408 w 6863196"/>
              <a:gd name="connsiteY56" fmla="*/ 1450690 h 7005996"/>
              <a:gd name="connsiteX57" fmla="*/ 3426808 w 6863196"/>
              <a:gd name="connsiteY57" fmla="*/ 1482466 h 7005996"/>
              <a:gd name="connsiteX58" fmla="*/ 3501269 w 6863196"/>
              <a:gd name="connsiteY58" fmla="*/ 1408006 h 7005996"/>
              <a:gd name="connsiteX59" fmla="*/ 3533559 w 6863196"/>
              <a:gd name="connsiteY59" fmla="*/ 1290567 h 7005996"/>
              <a:gd name="connsiteX60" fmla="*/ 3522587 w 6863196"/>
              <a:gd name="connsiteY60" fmla="*/ 1215658 h 7005996"/>
              <a:gd name="connsiteX61" fmla="*/ 3491268 w 6863196"/>
              <a:gd name="connsiteY61" fmla="*/ 1226424 h 7005996"/>
              <a:gd name="connsiteX62" fmla="*/ 3458882 w 6863196"/>
              <a:gd name="connsiteY62" fmla="*/ 959327 h 7005996"/>
              <a:gd name="connsiteX63" fmla="*/ 3448438 w 6863196"/>
              <a:gd name="connsiteY63" fmla="*/ 842050 h 7005996"/>
              <a:gd name="connsiteX64" fmla="*/ 3427029 w 6863196"/>
              <a:gd name="connsiteY64" fmla="*/ 799598 h 7005996"/>
              <a:gd name="connsiteX65" fmla="*/ 3437872 w 6863196"/>
              <a:gd name="connsiteY65" fmla="*/ 703607 h 7005996"/>
              <a:gd name="connsiteX66" fmla="*/ 3437949 w 6863196"/>
              <a:gd name="connsiteY66" fmla="*/ 638936 h 7005996"/>
              <a:gd name="connsiteX67" fmla="*/ 3448349 w 6863196"/>
              <a:gd name="connsiteY67" fmla="*/ 607250 h 7005996"/>
              <a:gd name="connsiteX68" fmla="*/ 3437988 w 6863196"/>
              <a:gd name="connsiteY68" fmla="*/ 575037 h 7005996"/>
              <a:gd name="connsiteX69" fmla="*/ 3448510 w 6863196"/>
              <a:gd name="connsiteY69" fmla="*/ 564515 h 7005996"/>
              <a:gd name="connsiteX70" fmla="*/ 3437905 w 6863196"/>
              <a:gd name="connsiteY70" fmla="*/ 489973 h 7005996"/>
              <a:gd name="connsiteX71" fmla="*/ 3447938 w 6863196"/>
              <a:gd name="connsiteY71" fmla="*/ 457919 h 7005996"/>
              <a:gd name="connsiteX72" fmla="*/ 3437771 w 6863196"/>
              <a:gd name="connsiteY72" fmla="*/ 169336 h 7005996"/>
              <a:gd name="connsiteX73" fmla="*/ 3416484 w 6863196"/>
              <a:gd name="connsiteY73" fmla="*/ 148050 h 7005996"/>
              <a:gd name="connsiteX74" fmla="*/ 3416400 w 6863196"/>
              <a:gd name="connsiteY74" fmla="*/ 62986 h 7005996"/>
              <a:gd name="connsiteX75" fmla="*/ 3469817 w 6863196"/>
              <a:gd name="connsiteY75" fmla="*/ 9569 h 7005996"/>
              <a:gd name="connsiteX76" fmla="*/ 3533718 w 6863196"/>
              <a:gd name="connsiteY76" fmla="*/ 9530 h 7005996"/>
              <a:gd name="connsiteX77" fmla="*/ 3587262 w 6863196"/>
              <a:gd name="connsiteY77" fmla="*/ 127013 h 7005996"/>
              <a:gd name="connsiteX78" fmla="*/ 3598028 w 6863196"/>
              <a:gd name="connsiteY78" fmla="*/ 158821 h 7005996"/>
              <a:gd name="connsiteX79" fmla="*/ 3576418 w 6863196"/>
              <a:gd name="connsiteY79" fmla="*/ 223004 h 7005996"/>
              <a:gd name="connsiteX80" fmla="*/ 3534218 w 6863196"/>
              <a:gd name="connsiteY80" fmla="*/ 393660 h 7005996"/>
              <a:gd name="connsiteX81" fmla="*/ 3544295 w 6863196"/>
              <a:gd name="connsiteY81" fmla="*/ 447443 h 7005996"/>
              <a:gd name="connsiteX82" fmla="*/ 3522847 w 6863196"/>
              <a:gd name="connsiteY82" fmla="*/ 468891 h 7005996"/>
              <a:gd name="connsiteX83" fmla="*/ 3554778 w 6863196"/>
              <a:gd name="connsiteY83" fmla="*/ 500821 h 7005996"/>
              <a:gd name="connsiteX84" fmla="*/ 3554911 w 6863196"/>
              <a:gd name="connsiteY84" fmla="*/ 884584 h 7005996"/>
              <a:gd name="connsiteX85" fmla="*/ 3586558 w 6863196"/>
              <a:gd name="connsiteY85" fmla="*/ 938084 h 7005996"/>
              <a:gd name="connsiteX86" fmla="*/ 3618817 w 6863196"/>
              <a:gd name="connsiteY86" fmla="*/ 1034281 h 7005996"/>
              <a:gd name="connsiteX87" fmla="*/ 3629665 w 6863196"/>
              <a:gd name="connsiteY87" fmla="*/ 1151154 h 7005996"/>
              <a:gd name="connsiteX88" fmla="*/ 3618785 w 6863196"/>
              <a:gd name="connsiteY88" fmla="*/ 1247916 h 7005996"/>
              <a:gd name="connsiteX89" fmla="*/ 3629389 w 6863196"/>
              <a:gd name="connsiteY89" fmla="*/ 1322459 h 7005996"/>
              <a:gd name="connsiteX90" fmla="*/ 3640038 w 6863196"/>
              <a:gd name="connsiteY90" fmla="*/ 1482838 h 7005996"/>
              <a:gd name="connsiteX91" fmla="*/ 3650804 w 6863196"/>
              <a:gd name="connsiteY91" fmla="*/ 1514647 h 7005996"/>
              <a:gd name="connsiteX92" fmla="*/ 3714871 w 6863196"/>
              <a:gd name="connsiteY92" fmla="*/ 1621608 h 7005996"/>
              <a:gd name="connsiteX93" fmla="*/ 3715114 w 6863196"/>
              <a:gd name="connsiteY93" fmla="*/ 1663938 h 7005996"/>
              <a:gd name="connsiteX94" fmla="*/ 3896452 w 6863196"/>
              <a:gd name="connsiteY94" fmla="*/ 1631609 h 7005996"/>
              <a:gd name="connsiteX95" fmla="*/ 4013647 w 6863196"/>
              <a:gd name="connsiteY95" fmla="*/ 1556988 h 7005996"/>
              <a:gd name="connsiteX96" fmla="*/ 4067552 w 6863196"/>
              <a:gd name="connsiteY96" fmla="*/ 1525103 h 7005996"/>
              <a:gd name="connsiteX97" fmla="*/ 4088350 w 6863196"/>
              <a:gd name="connsiteY97" fmla="*/ 1524857 h 7005996"/>
              <a:gd name="connsiteX98" fmla="*/ 4109798 w 6863196"/>
              <a:gd name="connsiteY98" fmla="*/ 1503410 h 7005996"/>
              <a:gd name="connsiteX99" fmla="*/ 4163054 w 6863196"/>
              <a:gd name="connsiteY99" fmla="*/ 1492727 h 7005996"/>
              <a:gd name="connsiteX100" fmla="*/ 4323432 w 6863196"/>
              <a:gd name="connsiteY100" fmla="*/ 1503377 h 7005996"/>
              <a:gd name="connsiteX101" fmla="*/ 4621921 w 6863196"/>
              <a:gd name="connsiteY101" fmla="*/ 1247463 h 7005996"/>
              <a:gd name="connsiteX102" fmla="*/ 4675987 w 6863196"/>
              <a:gd name="connsiteY102" fmla="*/ 1172843 h 7005996"/>
              <a:gd name="connsiteX103" fmla="*/ 4718723 w 6863196"/>
              <a:gd name="connsiteY103" fmla="*/ 1172682 h 7005996"/>
              <a:gd name="connsiteX104" fmla="*/ 4728998 w 6863196"/>
              <a:gd name="connsiteY104" fmla="*/ 1182958 h 7005996"/>
              <a:gd name="connsiteX105" fmla="*/ 4739519 w 6863196"/>
              <a:gd name="connsiteY105" fmla="*/ 1172437 h 7005996"/>
              <a:gd name="connsiteX106" fmla="*/ 4686102 w 6863196"/>
              <a:gd name="connsiteY106" fmla="*/ 1225854 h 7005996"/>
              <a:gd name="connsiteX107" fmla="*/ 4654340 w 6863196"/>
              <a:gd name="connsiteY107" fmla="*/ 1300925 h 7005996"/>
              <a:gd name="connsiteX108" fmla="*/ 4643696 w 6863196"/>
              <a:gd name="connsiteY108" fmla="*/ 1290282 h 7005996"/>
              <a:gd name="connsiteX109" fmla="*/ 4622249 w 6863196"/>
              <a:gd name="connsiteY109" fmla="*/ 1311729 h 7005996"/>
              <a:gd name="connsiteX110" fmla="*/ 4632893 w 6863196"/>
              <a:gd name="connsiteY110" fmla="*/ 1322372 h 7005996"/>
              <a:gd name="connsiteX111" fmla="*/ 4622371 w 6863196"/>
              <a:gd name="connsiteY111" fmla="*/ 1332894 h 7005996"/>
              <a:gd name="connsiteX112" fmla="*/ 4537152 w 6863196"/>
              <a:gd name="connsiteY112" fmla="*/ 1525281 h 7005996"/>
              <a:gd name="connsiteX113" fmla="*/ 4472724 w 6863196"/>
              <a:gd name="connsiteY113" fmla="*/ 1567687 h 7005996"/>
              <a:gd name="connsiteX114" fmla="*/ 4494255 w 6863196"/>
              <a:gd name="connsiteY114" fmla="*/ 1631304 h 7005996"/>
              <a:gd name="connsiteX115" fmla="*/ 4472807 w 6863196"/>
              <a:gd name="connsiteY115" fmla="*/ 1652752 h 7005996"/>
              <a:gd name="connsiteX116" fmla="*/ 4451566 w 6863196"/>
              <a:gd name="connsiteY116" fmla="*/ 1717301 h 7005996"/>
              <a:gd name="connsiteX117" fmla="*/ 4451404 w 6863196"/>
              <a:gd name="connsiteY117" fmla="*/ 1760035 h 7005996"/>
              <a:gd name="connsiteX118" fmla="*/ 4430041 w 6863196"/>
              <a:gd name="connsiteY118" fmla="*/ 1866548 h 7005996"/>
              <a:gd name="connsiteX119" fmla="*/ 4434568 w 6863196"/>
              <a:gd name="connsiteY119" fmla="*/ 1871279 h 7005996"/>
              <a:gd name="connsiteX120" fmla="*/ 4443835 w 6863196"/>
              <a:gd name="connsiteY120" fmla="*/ 1848369 h 7005996"/>
              <a:gd name="connsiteX121" fmla="*/ 4462420 w 6863196"/>
              <a:gd name="connsiteY121" fmla="*/ 1830502 h 7005996"/>
              <a:gd name="connsiteX122" fmla="*/ 4499281 w 6863196"/>
              <a:gd name="connsiteY122" fmla="*/ 1816507 h 7005996"/>
              <a:gd name="connsiteX123" fmla="*/ 4583603 w 6863196"/>
              <a:gd name="connsiteY123" fmla="*/ 1874381 h 7005996"/>
              <a:gd name="connsiteX124" fmla="*/ 4597630 w 6863196"/>
              <a:gd name="connsiteY124" fmla="*/ 1931536 h 7005996"/>
              <a:gd name="connsiteX125" fmla="*/ 4623591 w 6863196"/>
              <a:gd name="connsiteY125" fmla="*/ 1932499 h 7005996"/>
              <a:gd name="connsiteX126" fmla="*/ 4718501 w 6863196"/>
              <a:gd name="connsiteY126" fmla="*/ 1855550 h 7005996"/>
              <a:gd name="connsiteX127" fmla="*/ 4707253 w 6863196"/>
              <a:gd name="connsiteY127" fmla="*/ 1951945 h 7005996"/>
              <a:gd name="connsiteX128" fmla="*/ 4973983 w 6863196"/>
              <a:gd name="connsiteY128" fmla="*/ 1983964 h 7005996"/>
              <a:gd name="connsiteX129" fmla="*/ 5049382 w 6863196"/>
              <a:gd name="connsiteY129" fmla="*/ 2016468 h 7005996"/>
              <a:gd name="connsiteX130" fmla="*/ 5209516 w 6863196"/>
              <a:gd name="connsiteY130" fmla="*/ 2047915 h 7005996"/>
              <a:gd name="connsiteX131" fmla="*/ 5288202 w 6863196"/>
              <a:gd name="connsiteY131" fmla="*/ 2151085 h 7005996"/>
              <a:gd name="connsiteX132" fmla="*/ 5295874 w 6863196"/>
              <a:gd name="connsiteY132" fmla="*/ 2165551 h 7005996"/>
              <a:gd name="connsiteX133" fmla="*/ 5313289 w 6863196"/>
              <a:gd name="connsiteY133" fmla="*/ 2166281 h 7005996"/>
              <a:gd name="connsiteX134" fmla="*/ 5428453 w 6863196"/>
              <a:gd name="connsiteY134" fmla="*/ 2222894 h 7005996"/>
              <a:gd name="connsiteX135" fmla="*/ 5564660 w 6863196"/>
              <a:gd name="connsiteY135" fmla="*/ 2056283 h 7005996"/>
              <a:gd name="connsiteX136" fmla="*/ 5700866 w 6863196"/>
              <a:gd name="connsiteY136" fmla="*/ 1890710 h 7005996"/>
              <a:gd name="connsiteX137" fmla="*/ 5594419 w 6863196"/>
              <a:gd name="connsiteY137" fmla="*/ 2177219 h 7005996"/>
              <a:gd name="connsiteX138" fmla="*/ 5564660 w 6863196"/>
              <a:gd name="connsiteY138" fmla="*/ 2268050 h 7005996"/>
              <a:gd name="connsiteX139" fmla="*/ 5519448 w 6863196"/>
              <a:gd name="connsiteY139" fmla="*/ 2313206 h 7005996"/>
              <a:gd name="connsiteX140" fmla="*/ 5564660 w 6863196"/>
              <a:gd name="connsiteY140" fmla="*/ 2569610 h 7005996"/>
              <a:gd name="connsiteX141" fmla="*/ 5549780 w 6863196"/>
              <a:gd name="connsiteY141" fmla="*/ 2644870 h 7005996"/>
              <a:gd name="connsiteX142" fmla="*/ 5579539 w 6863196"/>
              <a:gd name="connsiteY142" fmla="*/ 2735702 h 7005996"/>
              <a:gd name="connsiteX143" fmla="*/ 5715745 w 6863196"/>
              <a:gd name="connsiteY143" fmla="*/ 2916846 h 7005996"/>
              <a:gd name="connsiteX144" fmla="*/ 5821048 w 6863196"/>
              <a:gd name="connsiteY144" fmla="*/ 2916846 h 7005996"/>
              <a:gd name="connsiteX145" fmla="*/ 5926922 w 6863196"/>
              <a:gd name="connsiteY145" fmla="*/ 2856637 h 7005996"/>
              <a:gd name="connsiteX146" fmla="*/ 5972133 w 6863196"/>
              <a:gd name="connsiteY146" fmla="*/ 2795910 h 7005996"/>
              <a:gd name="connsiteX147" fmla="*/ 5942374 w 6863196"/>
              <a:gd name="connsiteY147" fmla="*/ 2781377 h 7005996"/>
              <a:gd name="connsiteX148" fmla="*/ 6108340 w 6863196"/>
              <a:gd name="connsiteY148" fmla="*/ 2569610 h 7005996"/>
              <a:gd name="connsiteX149" fmla="*/ 6183882 w 6863196"/>
              <a:gd name="connsiteY149" fmla="*/ 2479298 h 7005996"/>
              <a:gd name="connsiteX150" fmla="*/ 6198762 w 6863196"/>
              <a:gd name="connsiteY150" fmla="*/ 2434142 h 7005996"/>
              <a:gd name="connsiteX151" fmla="*/ 6274305 w 6863196"/>
              <a:gd name="connsiteY151" fmla="*/ 2373933 h 7005996"/>
              <a:gd name="connsiteX152" fmla="*/ 6320089 w 6863196"/>
              <a:gd name="connsiteY152" fmla="*/ 2328258 h 7005996"/>
              <a:gd name="connsiteX153" fmla="*/ 6349848 w 6863196"/>
              <a:gd name="connsiteY153" fmla="*/ 2313206 h 7005996"/>
              <a:gd name="connsiteX154" fmla="*/ 6365300 w 6863196"/>
              <a:gd name="connsiteY154" fmla="*/ 2283102 h 7005996"/>
              <a:gd name="connsiteX155" fmla="*/ 6380180 w 6863196"/>
              <a:gd name="connsiteY155" fmla="*/ 2283102 h 7005996"/>
              <a:gd name="connsiteX156" fmla="*/ 6425391 w 6863196"/>
              <a:gd name="connsiteY156" fmla="*/ 2222894 h 7005996"/>
              <a:gd name="connsiteX157" fmla="*/ 6455150 w 6863196"/>
              <a:gd name="connsiteY157" fmla="*/ 2207323 h 7005996"/>
              <a:gd name="connsiteX158" fmla="*/ 6652020 w 6863196"/>
              <a:gd name="connsiteY158" fmla="*/ 1996075 h 7005996"/>
              <a:gd name="connsiteX159" fmla="*/ 6652020 w 6863196"/>
              <a:gd name="connsiteY159" fmla="*/ 1965971 h 7005996"/>
              <a:gd name="connsiteX160" fmla="*/ 6712110 w 6863196"/>
              <a:gd name="connsiteY160" fmla="*/ 1905762 h 7005996"/>
              <a:gd name="connsiteX161" fmla="*/ 6787653 w 6863196"/>
              <a:gd name="connsiteY161" fmla="*/ 1905762 h 7005996"/>
              <a:gd name="connsiteX162" fmla="*/ 6832865 w 6863196"/>
              <a:gd name="connsiteY162" fmla="*/ 1950919 h 7005996"/>
              <a:gd name="connsiteX163" fmla="*/ 6787653 w 6863196"/>
              <a:gd name="connsiteY163" fmla="*/ 2071854 h 7005996"/>
              <a:gd name="connsiteX164" fmla="*/ 6772774 w 6863196"/>
              <a:gd name="connsiteY164" fmla="*/ 2101958 h 7005996"/>
              <a:gd name="connsiteX165" fmla="*/ 6712111 w 6863196"/>
              <a:gd name="connsiteY165" fmla="*/ 2132062 h 7005996"/>
              <a:gd name="connsiteX166" fmla="*/ 6561597 w 6863196"/>
              <a:gd name="connsiteY166" fmla="*/ 2222894 h 7005996"/>
              <a:gd name="connsiteX167" fmla="*/ 6530693 w 6863196"/>
              <a:gd name="connsiteY167" fmla="*/ 2268050 h 7005996"/>
              <a:gd name="connsiteX168" fmla="*/ 6500361 w 6863196"/>
              <a:gd name="connsiteY168" fmla="*/ 2268050 h 7005996"/>
              <a:gd name="connsiteX169" fmla="*/ 6500361 w 6863196"/>
              <a:gd name="connsiteY169" fmla="*/ 2313206 h 7005996"/>
              <a:gd name="connsiteX170" fmla="*/ 6229094 w 6863196"/>
              <a:gd name="connsiteY170" fmla="*/ 2584662 h 7005996"/>
              <a:gd name="connsiteX171" fmla="*/ 6213642 w 6863196"/>
              <a:gd name="connsiteY171" fmla="*/ 2644870 h 7005996"/>
              <a:gd name="connsiteX172" fmla="*/ 6168431 w 6863196"/>
              <a:gd name="connsiteY172" fmla="*/ 2735702 h 7005996"/>
              <a:gd name="connsiteX173" fmla="*/ 6093460 w 6863196"/>
              <a:gd name="connsiteY173" fmla="*/ 2826014 h 7005996"/>
              <a:gd name="connsiteX174" fmla="*/ 6017345 w 6863196"/>
              <a:gd name="connsiteY174" fmla="*/ 2886742 h 7005996"/>
              <a:gd name="connsiteX175" fmla="*/ 5972133 w 6863196"/>
              <a:gd name="connsiteY175" fmla="*/ 2946950 h 7005996"/>
              <a:gd name="connsiteX176" fmla="*/ 5866259 w 6863196"/>
              <a:gd name="connsiteY176" fmla="*/ 3067885 h 7005996"/>
              <a:gd name="connsiteX177" fmla="*/ 5851379 w 6863196"/>
              <a:gd name="connsiteY177" fmla="*/ 3097990 h 7005996"/>
              <a:gd name="connsiteX178" fmla="*/ 5821048 w 6863196"/>
              <a:gd name="connsiteY178" fmla="*/ 3218925 h 7005996"/>
              <a:gd name="connsiteX179" fmla="*/ 5791288 w 6863196"/>
              <a:gd name="connsiteY179" fmla="*/ 3249029 h 7005996"/>
              <a:gd name="connsiteX180" fmla="*/ 5942374 w 6863196"/>
              <a:gd name="connsiteY180" fmla="*/ 3354394 h 7005996"/>
              <a:gd name="connsiteX181" fmla="*/ 6078008 w 6863196"/>
              <a:gd name="connsiteY181" fmla="*/ 3384498 h 7005996"/>
              <a:gd name="connsiteX182" fmla="*/ 6138671 w 6863196"/>
              <a:gd name="connsiteY182" fmla="*/ 3400069 h 7005996"/>
              <a:gd name="connsiteX183" fmla="*/ 6153551 w 6863196"/>
              <a:gd name="connsiteY183" fmla="*/ 3414602 h 7005996"/>
              <a:gd name="connsiteX184" fmla="*/ 6183882 w 6863196"/>
              <a:gd name="connsiteY184" fmla="*/ 3414602 h 7005996"/>
              <a:gd name="connsiteX185" fmla="*/ 6229094 w 6863196"/>
              <a:gd name="connsiteY185" fmla="*/ 3444706 h 7005996"/>
              <a:gd name="connsiteX186" fmla="*/ 6334968 w 6863196"/>
              <a:gd name="connsiteY186" fmla="*/ 3565641 h 7005996"/>
              <a:gd name="connsiteX187" fmla="*/ 6726990 w 6863196"/>
              <a:gd name="connsiteY187" fmla="*/ 3595746 h 7005996"/>
              <a:gd name="connsiteX188" fmla="*/ 6817985 w 6863196"/>
              <a:gd name="connsiteY188" fmla="*/ 3581212 h 7005996"/>
              <a:gd name="connsiteX189" fmla="*/ 6848317 w 6863196"/>
              <a:gd name="connsiteY189" fmla="*/ 3611317 h 7005996"/>
              <a:gd name="connsiteX190" fmla="*/ 6848317 w 6863196"/>
              <a:gd name="connsiteY190" fmla="*/ 3625849 h 7005996"/>
              <a:gd name="connsiteX191" fmla="*/ 6863196 w 6863196"/>
              <a:gd name="connsiteY191" fmla="*/ 3625849 h 7005996"/>
              <a:gd name="connsiteX192" fmla="*/ 6787653 w 6863196"/>
              <a:gd name="connsiteY192" fmla="*/ 3625849 h 7005996"/>
              <a:gd name="connsiteX193" fmla="*/ 6712110 w 6863196"/>
              <a:gd name="connsiteY193" fmla="*/ 3656473 h 7005996"/>
              <a:gd name="connsiteX194" fmla="*/ 6712111 w 6863196"/>
              <a:gd name="connsiteY194" fmla="*/ 3641421 h 7005996"/>
              <a:gd name="connsiteX195" fmla="*/ 6681779 w 6863196"/>
              <a:gd name="connsiteY195" fmla="*/ 3641421 h 7005996"/>
              <a:gd name="connsiteX196" fmla="*/ 6681779 w 6863196"/>
              <a:gd name="connsiteY196" fmla="*/ 3656473 h 7005996"/>
              <a:gd name="connsiteX197" fmla="*/ 6666899 w 6863196"/>
              <a:gd name="connsiteY197" fmla="*/ 3656473 h 7005996"/>
              <a:gd name="connsiteX198" fmla="*/ 6470602 w 6863196"/>
              <a:gd name="connsiteY198" fmla="*/ 3732252 h 7005996"/>
              <a:gd name="connsiteX199" fmla="*/ 6395059 w 6863196"/>
              <a:gd name="connsiteY199" fmla="*/ 3716681 h 7005996"/>
              <a:gd name="connsiteX200" fmla="*/ 6365300 w 6863196"/>
              <a:gd name="connsiteY200" fmla="*/ 3776889 h 7005996"/>
              <a:gd name="connsiteX201" fmla="*/ 6334968 w 6863196"/>
              <a:gd name="connsiteY201" fmla="*/ 3776889 h 7005996"/>
              <a:gd name="connsiteX202" fmla="*/ 6274305 w 6863196"/>
              <a:gd name="connsiteY202" fmla="*/ 3807512 h 7005996"/>
              <a:gd name="connsiteX203" fmla="*/ 6243973 w 6863196"/>
              <a:gd name="connsiteY203" fmla="*/ 3837616 h 7005996"/>
              <a:gd name="connsiteX204" fmla="*/ 6153551 w 6863196"/>
              <a:gd name="connsiteY204" fmla="*/ 3897825 h 7005996"/>
              <a:gd name="connsiteX205" fmla="*/ 6229094 w 6863196"/>
              <a:gd name="connsiteY205" fmla="*/ 4003708 h 7005996"/>
              <a:gd name="connsiteX206" fmla="*/ 6243973 w 6863196"/>
              <a:gd name="connsiteY206" fmla="*/ 3988656 h 7005996"/>
              <a:gd name="connsiteX207" fmla="*/ 6213642 w 6863196"/>
              <a:gd name="connsiteY207" fmla="*/ 4048864 h 7005996"/>
              <a:gd name="connsiteX208" fmla="*/ 6365300 w 6863196"/>
              <a:gd name="connsiteY208" fmla="*/ 4094021 h 7005996"/>
              <a:gd name="connsiteX209" fmla="*/ 6289185 w 6863196"/>
              <a:gd name="connsiteY209" fmla="*/ 4154229 h 7005996"/>
              <a:gd name="connsiteX210" fmla="*/ 6455150 w 6863196"/>
              <a:gd name="connsiteY210" fmla="*/ 4365476 h 7005996"/>
              <a:gd name="connsiteX211" fmla="*/ 6485482 w 6863196"/>
              <a:gd name="connsiteY211" fmla="*/ 4441775 h 7005996"/>
              <a:gd name="connsiteX212" fmla="*/ 6576477 w 6863196"/>
              <a:gd name="connsiteY212" fmla="*/ 4577243 h 7005996"/>
              <a:gd name="connsiteX213" fmla="*/ 6530693 w 6863196"/>
              <a:gd name="connsiteY213" fmla="*/ 4833647 h 7005996"/>
              <a:gd name="connsiteX214" fmla="*/ 6561598 w 6863196"/>
              <a:gd name="connsiteY214" fmla="*/ 4954583 h 7005996"/>
              <a:gd name="connsiteX215" fmla="*/ 6500361 w 6863196"/>
              <a:gd name="connsiteY215" fmla="*/ 5075518 h 7005996"/>
              <a:gd name="connsiteX216" fmla="*/ 6440270 w 6863196"/>
              <a:gd name="connsiteY216" fmla="*/ 5090570 h 7005996"/>
              <a:gd name="connsiteX217" fmla="*/ 6274305 w 6863196"/>
              <a:gd name="connsiteY217" fmla="*/ 5105622 h 7005996"/>
              <a:gd name="connsiteX218" fmla="*/ 6138671 w 6863196"/>
              <a:gd name="connsiteY218" fmla="*/ 5135727 h 7005996"/>
              <a:gd name="connsiteX219" fmla="*/ 6062556 w 6863196"/>
              <a:gd name="connsiteY219" fmla="*/ 5135727 h 7005996"/>
              <a:gd name="connsiteX220" fmla="*/ 5957254 w 6863196"/>
              <a:gd name="connsiteY220" fmla="*/ 5151298 h 7005996"/>
              <a:gd name="connsiteX221" fmla="*/ 5881712 w 6863196"/>
              <a:gd name="connsiteY221" fmla="*/ 5151298 h 7005996"/>
              <a:gd name="connsiteX222" fmla="*/ 5821048 w 6863196"/>
              <a:gd name="connsiteY222" fmla="*/ 5286766 h 7005996"/>
              <a:gd name="connsiteX223" fmla="*/ 5821048 w 6863196"/>
              <a:gd name="connsiteY223" fmla="*/ 5151298 h 7005996"/>
              <a:gd name="connsiteX224" fmla="*/ 5791288 w 6863196"/>
              <a:gd name="connsiteY224" fmla="*/ 5135727 h 7005996"/>
              <a:gd name="connsiteX225" fmla="*/ 5655654 w 6863196"/>
              <a:gd name="connsiteY225" fmla="*/ 5196454 h 7005996"/>
              <a:gd name="connsiteX226" fmla="*/ 5624750 w 6863196"/>
              <a:gd name="connsiteY226" fmla="*/ 5211506 h 7005996"/>
              <a:gd name="connsiteX227" fmla="*/ 5594419 w 6863196"/>
              <a:gd name="connsiteY227" fmla="*/ 5181402 h 7005996"/>
              <a:gd name="connsiteX228" fmla="*/ 5519448 w 6863196"/>
              <a:gd name="connsiteY228" fmla="*/ 5272233 h 7005996"/>
              <a:gd name="connsiteX229" fmla="*/ 5489117 w 6863196"/>
              <a:gd name="connsiteY229" fmla="*/ 5316870 h 7005996"/>
              <a:gd name="connsiteX230" fmla="*/ 5459357 w 6863196"/>
              <a:gd name="connsiteY230" fmla="*/ 5362546 h 7005996"/>
              <a:gd name="connsiteX231" fmla="*/ 5398122 w 6863196"/>
              <a:gd name="connsiteY231" fmla="*/ 5573274 h 7005996"/>
              <a:gd name="connsiteX232" fmla="*/ 5352911 w 6863196"/>
              <a:gd name="connsiteY232" fmla="*/ 5694210 h 7005996"/>
              <a:gd name="connsiteX233" fmla="*/ 5307699 w 6863196"/>
              <a:gd name="connsiteY233" fmla="*/ 5467910 h 7005996"/>
              <a:gd name="connsiteX234" fmla="*/ 5186945 w 6863196"/>
              <a:gd name="connsiteY234" fmla="*/ 5513585 h 7005996"/>
              <a:gd name="connsiteX235" fmla="*/ 5232729 w 6863196"/>
              <a:gd name="connsiteY235" fmla="*/ 5769989 h 7005996"/>
              <a:gd name="connsiteX236" fmla="*/ 5263060 w 6863196"/>
              <a:gd name="connsiteY236" fmla="*/ 5875354 h 7005996"/>
              <a:gd name="connsiteX237" fmla="*/ 5307699 w 6863196"/>
              <a:gd name="connsiteY237" fmla="*/ 5981237 h 7005996"/>
              <a:gd name="connsiteX238" fmla="*/ 5263060 w 6863196"/>
              <a:gd name="connsiteY238" fmla="*/ 6056497 h 7005996"/>
              <a:gd name="connsiteX239" fmla="*/ 5217849 w 6863196"/>
              <a:gd name="connsiteY239" fmla="*/ 6041445 h 7005996"/>
              <a:gd name="connsiteX240" fmla="*/ 5111402 w 6863196"/>
              <a:gd name="connsiteY240" fmla="*/ 5679158 h 7005996"/>
              <a:gd name="connsiteX241" fmla="*/ 4915105 w 6863196"/>
              <a:gd name="connsiteY241" fmla="*/ 5664106 h 7005996"/>
              <a:gd name="connsiteX242" fmla="*/ 5020980 w 6863196"/>
              <a:gd name="connsiteY242" fmla="*/ 6116706 h 7005996"/>
              <a:gd name="connsiteX243" fmla="*/ 5066191 w 6863196"/>
              <a:gd name="connsiteY243" fmla="*/ 6267745 h 7005996"/>
              <a:gd name="connsiteX244" fmla="*/ 5036432 w 6863196"/>
              <a:gd name="connsiteY244" fmla="*/ 6358577 h 7005996"/>
              <a:gd name="connsiteX245" fmla="*/ 5096523 w 6863196"/>
              <a:gd name="connsiteY245" fmla="*/ 6569825 h 7005996"/>
              <a:gd name="connsiteX246" fmla="*/ 5096523 w 6863196"/>
              <a:gd name="connsiteY246" fmla="*/ 6735397 h 7005996"/>
              <a:gd name="connsiteX247" fmla="*/ 5141734 w 6863196"/>
              <a:gd name="connsiteY247" fmla="*/ 6796125 h 7005996"/>
              <a:gd name="connsiteX248" fmla="*/ 5111403 w 6863196"/>
              <a:gd name="connsiteY248" fmla="*/ 6992320 h 7005996"/>
              <a:gd name="connsiteX249" fmla="*/ 5036432 w 6863196"/>
              <a:gd name="connsiteY249" fmla="*/ 6735397 h 7005996"/>
              <a:gd name="connsiteX250" fmla="*/ 5006100 w 6863196"/>
              <a:gd name="connsiteY250" fmla="*/ 6569825 h 7005996"/>
              <a:gd name="connsiteX251" fmla="*/ 4975768 w 6863196"/>
              <a:gd name="connsiteY251" fmla="*/ 6479512 h 7005996"/>
              <a:gd name="connsiteX252" fmla="*/ 4975768 w 6863196"/>
              <a:gd name="connsiteY252" fmla="*/ 6358577 h 7005996"/>
              <a:gd name="connsiteX253" fmla="*/ 4930557 w 6863196"/>
              <a:gd name="connsiteY253" fmla="*/ 6177433 h 7005996"/>
              <a:gd name="connsiteX254" fmla="*/ 4900225 w 6863196"/>
              <a:gd name="connsiteY254" fmla="*/ 6177433 h 7005996"/>
              <a:gd name="connsiteX255" fmla="*/ 4930557 w 6863196"/>
              <a:gd name="connsiteY255" fmla="*/ 6162381 h 7005996"/>
              <a:gd name="connsiteX256" fmla="*/ 4824683 w 6863196"/>
              <a:gd name="connsiteY256" fmla="*/ 5921029 h 7005996"/>
              <a:gd name="connsiteX257" fmla="*/ 4779471 w 6863196"/>
              <a:gd name="connsiteY257" fmla="*/ 5921029 h 7005996"/>
              <a:gd name="connsiteX258" fmla="*/ 4764019 w 6863196"/>
              <a:gd name="connsiteY258" fmla="*/ 5800093 h 7005996"/>
              <a:gd name="connsiteX259" fmla="*/ 4689049 w 6863196"/>
              <a:gd name="connsiteY259" fmla="*/ 5724314 h 7005996"/>
              <a:gd name="connsiteX260" fmla="*/ 4643837 w 6863196"/>
              <a:gd name="connsiteY260" fmla="*/ 5603379 h 7005996"/>
              <a:gd name="connsiteX261" fmla="*/ 4628385 w 6863196"/>
              <a:gd name="connsiteY261" fmla="*/ 5543689 h 7005996"/>
              <a:gd name="connsiteX262" fmla="*/ 4492179 w 6863196"/>
              <a:gd name="connsiteY262" fmla="*/ 5618950 h 7005996"/>
              <a:gd name="connsiteX263" fmla="*/ 4432088 w 6863196"/>
              <a:gd name="connsiteY263" fmla="*/ 5724314 h 7005996"/>
              <a:gd name="connsiteX264" fmla="*/ 4266123 w 6863196"/>
              <a:gd name="connsiteY264" fmla="*/ 6102174 h 7005996"/>
              <a:gd name="connsiteX265" fmla="*/ 4205460 w 6863196"/>
              <a:gd name="connsiteY265" fmla="*/ 5890925 h 7005996"/>
              <a:gd name="connsiteX266" fmla="*/ 4266123 w 6863196"/>
              <a:gd name="connsiteY266" fmla="*/ 5679158 h 7005996"/>
              <a:gd name="connsiteX267" fmla="*/ 4235791 w 6863196"/>
              <a:gd name="connsiteY267" fmla="*/ 5603379 h 7005996"/>
              <a:gd name="connsiteX268" fmla="*/ 4205460 w 6863196"/>
              <a:gd name="connsiteY268" fmla="*/ 5543689 h 7005996"/>
              <a:gd name="connsiteX269" fmla="*/ 4160249 w 6863196"/>
              <a:gd name="connsiteY269" fmla="*/ 5332441 h 7005996"/>
              <a:gd name="connsiteX270" fmla="*/ 4084706 w 6863196"/>
              <a:gd name="connsiteY270" fmla="*/ 5256662 h 7005996"/>
              <a:gd name="connsiteX271" fmla="*/ 3994283 w 6863196"/>
              <a:gd name="connsiteY271" fmla="*/ 5241610 h 7005996"/>
              <a:gd name="connsiteX272" fmla="*/ 3903860 w 6863196"/>
              <a:gd name="connsiteY272" fmla="*/ 5226558 h 7005996"/>
              <a:gd name="connsiteX273" fmla="*/ 3843197 w 6863196"/>
              <a:gd name="connsiteY273" fmla="*/ 5211506 h 7005996"/>
              <a:gd name="connsiteX274" fmla="*/ 3752775 w 6863196"/>
              <a:gd name="connsiteY274" fmla="*/ 5181402 h 7005996"/>
              <a:gd name="connsiteX275" fmla="*/ 3707563 w 6863196"/>
              <a:gd name="connsiteY275" fmla="*/ 5151298 h 7005996"/>
              <a:gd name="connsiteX276" fmla="*/ 3661780 w 6863196"/>
              <a:gd name="connsiteY276" fmla="*/ 5105622 h 7005996"/>
              <a:gd name="connsiteX277" fmla="*/ 3616569 w 6863196"/>
              <a:gd name="connsiteY277" fmla="*/ 5030362 h 7005996"/>
              <a:gd name="connsiteX278" fmla="*/ 3541598 w 6863196"/>
              <a:gd name="connsiteY278" fmla="*/ 4879323 h 7005996"/>
              <a:gd name="connsiteX279" fmla="*/ 3496387 w 6863196"/>
              <a:gd name="connsiteY279" fmla="*/ 4819114 h 7005996"/>
              <a:gd name="connsiteX280" fmla="*/ 3435151 w 6863196"/>
              <a:gd name="connsiteY280" fmla="*/ 4773958 h 7005996"/>
              <a:gd name="connsiteX281" fmla="*/ 3269758 w 6863196"/>
              <a:gd name="connsiteY281" fmla="*/ 4789010 h 7005996"/>
              <a:gd name="connsiteX282" fmla="*/ 3073461 w 6863196"/>
              <a:gd name="connsiteY282" fmla="*/ 4864271 h 7005996"/>
              <a:gd name="connsiteX283" fmla="*/ 3012798 w 6863196"/>
              <a:gd name="connsiteY283" fmla="*/ 4924479 h 7005996"/>
              <a:gd name="connsiteX284" fmla="*/ 2922375 w 6863196"/>
              <a:gd name="connsiteY284" fmla="*/ 4984687 h 7005996"/>
              <a:gd name="connsiteX285" fmla="*/ 2906923 w 6863196"/>
              <a:gd name="connsiteY285" fmla="*/ 4970154 h 7005996"/>
              <a:gd name="connsiteX286" fmla="*/ 2879766 w 6863196"/>
              <a:gd name="connsiteY286" fmla="*/ 4976991 h 7005996"/>
              <a:gd name="connsiteX287" fmla="*/ 2852748 w 6863196"/>
              <a:gd name="connsiteY287" fmla="*/ 4980476 h 7005996"/>
              <a:gd name="connsiteX288" fmla="*/ 2841540 w 6863196"/>
              <a:gd name="connsiteY288" fmla="*/ 5001382 h 7005996"/>
              <a:gd name="connsiteX289" fmla="*/ 2839123 w 6863196"/>
              <a:gd name="connsiteY289" fmla="*/ 5037828 h 7005996"/>
              <a:gd name="connsiteX290" fmla="*/ 2774984 w 6863196"/>
              <a:gd name="connsiteY290" fmla="*/ 5208400 h 7005996"/>
              <a:gd name="connsiteX291" fmla="*/ 2785796 w 6863196"/>
              <a:gd name="connsiteY291" fmla="*/ 5326044 h 7005996"/>
              <a:gd name="connsiteX292" fmla="*/ 2646909 w 6863196"/>
              <a:gd name="connsiteY292" fmla="*/ 5442911 h 7005996"/>
              <a:gd name="connsiteX293" fmla="*/ 2647025 w 6863196"/>
              <a:gd name="connsiteY293" fmla="*/ 5251213 h 7005996"/>
              <a:gd name="connsiteX294" fmla="*/ 2721723 w 6863196"/>
              <a:gd name="connsiteY294" fmla="*/ 5069347 h 7005996"/>
              <a:gd name="connsiteX295" fmla="*/ 2748295 w 6863196"/>
              <a:gd name="connsiteY295" fmla="*/ 5035458 h 7005996"/>
              <a:gd name="connsiteX296" fmla="*/ 2758940 w 6863196"/>
              <a:gd name="connsiteY296" fmla="*/ 5013800 h 7005996"/>
              <a:gd name="connsiteX297" fmla="*/ 2736898 w 6863196"/>
              <a:gd name="connsiteY297" fmla="*/ 5018603 h 7005996"/>
              <a:gd name="connsiteX298" fmla="*/ 2620203 w 6863196"/>
              <a:gd name="connsiteY298" fmla="*/ 5090570 h 7005996"/>
              <a:gd name="connsiteX299" fmla="*/ 2544661 w 6863196"/>
              <a:gd name="connsiteY299" fmla="*/ 5181402 h 7005996"/>
              <a:gd name="connsiteX300" fmla="*/ 2363816 w 6863196"/>
              <a:gd name="connsiteY300" fmla="*/ 5165831 h 7005996"/>
              <a:gd name="connsiteX301" fmla="*/ 2499449 w 6863196"/>
              <a:gd name="connsiteY301" fmla="*/ 5030362 h 7005996"/>
              <a:gd name="connsiteX302" fmla="*/ 2680867 w 6863196"/>
              <a:gd name="connsiteY302" fmla="*/ 4954583 h 7005996"/>
              <a:gd name="connsiteX303" fmla="*/ 2763635 w 6863196"/>
              <a:gd name="connsiteY303" fmla="*/ 4935768 h 7005996"/>
              <a:gd name="connsiteX304" fmla="*/ 2792478 w 6863196"/>
              <a:gd name="connsiteY304" fmla="*/ 4921418 h 7005996"/>
              <a:gd name="connsiteX305" fmla="*/ 2796505 w 6863196"/>
              <a:gd name="connsiteY305" fmla="*/ 4909419 h 7005996"/>
              <a:gd name="connsiteX306" fmla="*/ 2807026 w 6863196"/>
              <a:gd name="connsiteY306" fmla="*/ 4898897 h 7005996"/>
              <a:gd name="connsiteX307" fmla="*/ 2839034 w 6863196"/>
              <a:gd name="connsiteY307" fmla="*/ 4803027 h 7005996"/>
              <a:gd name="connsiteX308" fmla="*/ 2860964 w 6863196"/>
              <a:gd name="connsiteY308" fmla="*/ 4653376 h 7005996"/>
              <a:gd name="connsiteX309" fmla="*/ 2860432 w 6863196"/>
              <a:gd name="connsiteY309" fmla="*/ 4482881 h 7005996"/>
              <a:gd name="connsiteX310" fmla="*/ 2818141 w 6863196"/>
              <a:gd name="connsiteY310" fmla="*/ 4418737 h 7005996"/>
              <a:gd name="connsiteX311" fmla="*/ 2822429 w 6863196"/>
              <a:gd name="connsiteY311" fmla="*/ 4394964 h 7005996"/>
              <a:gd name="connsiteX312" fmla="*/ 2816501 w 6863196"/>
              <a:gd name="connsiteY312" fmla="*/ 4395581 h 7005996"/>
              <a:gd name="connsiteX313" fmla="*/ 2725506 w 6863196"/>
              <a:gd name="connsiteY313" fmla="*/ 4381048 h 7005996"/>
              <a:gd name="connsiteX314" fmla="*/ 2710626 w 6863196"/>
              <a:gd name="connsiteY314" fmla="*/ 4395581 h 7005996"/>
              <a:gd name="connsiteX315" fmla="*/ 2665415 w 6863196"/>
              <a:gd name="connsiteY315" fmla="*/ 4395581 h 7005996"/>
              <a:gd name="connsiteX316" fmla="*/ 2595666 w 6863196"/>
              <a:gd name="connsiteY316" fmla="*/ 4409271 h 7005996"/>
              <a:gd name="connsiteX317" fmla="*/ 2563332 w 6863196"/>
              <a:gd name="connsiteY317" fmla="*/ 4414509 h 7005996"/>
              <a:gd name="connsiteX318" fmla="*/ 2518913 w 6863196"/>
              <a:gd name="connsiteY318" fmla="*/ 4461055 h 7005996"/>
              <a:gd name="connsiteX319" fmla="*/ 2422357 w 6863196"/>
              <a:gd name="connsiteY319" fmla="*/ 4578165 h 7005996"/>
              <a:gd name="connsiteX320" fmla="*/ 2347737 w 6863196"/>
              <a:gd name="connsiteY320" fmla="*/ 4632232 h 7005996"/>
              <a:gd name="connsiteX321" fmla="*/ 2347492 w 6863196"/>
              <a:gd name="connsiteY321" fmla="*/ 4653030 h 7005996"/>
              <a:gd name="connsiteX322" fmla="*/ 2315523 w 6863196"/>
              <a:gd name="connsiteY322" fmla="*/ 4684999 h 7005996"/>
              <a:gd name="connsiteX323" fmla="*/ 2220066 w 6863196"/>
              <a:gd name="connsiteY323" fmla="*/ 4803210 h 7005996"/>
              <a:gd name="connsiteX324" fmla="*/ 2166649 w 6863196"/>
              <a:gd name="connsiteY324" fmla="*/ 4856627 h 7005996"/>
              <a:gd name="connsiteX325" fmla="*/ 2060059 w 6863196"/>
              <a:gd name="connsiteY325" fmla="*/ 5005791 h 7005996"/>
              <a:gd name="connsiteX326" fmla="*/ 2070420 w 6863196"/>
              <a:gd name="connsiteY326" fmla="*/ 5038004 h 7005996"/>
              <a:gd name="connsiteX327" fmla="*/ 2028050 w 6863196"/>
              <a:gd name="connsiteY327" fmla="*/ 5101660 h 7005996"/>
              <a:gd name="connsiteX328" fmla="*/ 1932228 w 6863196"/>
              <a:gd name="connsiteY328" fmla="*/ 5219503 h 7005996"/>
              <a:gd name="connsiteX329" fmla="*/ 1921545 w 6863196"/>
              <a:gd name="connsiteY329" fmla="*/ 5272759 h 7005996"/>
              <a:gd name="connsiteX330" fmla="*/ 1814262 w 6863196"/>
              <a:gd name="connsiteY330" fmla="*/ 5294161 h 7005996"/>
              <a:gd name="connsiteX331" fmla="*/ 1856868 w 6863196"/>
              <a:gd name="connsiteY331" fmla="*/ 5123101 h 7005996"/>
              <a:gd name="connsiteX332" fmla="*/ 1952852 w 6863196"/>
              <a:gd name="connsiteY332" fmla="*/ 4962521 h 7005996"/>
              <a:gd name="connsiteX333" fmla="*/ 2166360 w 6863196"/>
              <a:gd name="connsiteY333" fmla="*/ 4728460 h 7005996"/>
              <a:gd name="connsiteX334" fmla="*/ 2241629 w 6863196"/>
              <a:gd name="connsiteY334" fmla="*/ 4653191 h 7005996"/>
              <a:gd name="connsiteX335" fmla="*/ 2230497 w 6863196"/>
              <a:gd name="connsiteY335" fmla="*/ 4621016 h 7005996"/>
              <a:gd name="connsiteX336" fmla="*/ 2350701 w 6863196"/>
              <a:gd name="connsiteY336" fmla="*/ 4443937 h 7005996"/>
              <a:gd name="connsiteX337" fmla="*/ 2367226 w 6863196"/>
              <a:gd name="connsiteY337" fmla="*/ 4425131 h 7005996"/>
              <a:gd name="connsiteX338" fmla="*/ 2354158 w 6863196"/>
              <a:gd name="connsiteY338" fmla="*/ 4426723 h 7005996"/>
              <a:gd name="connsiteX339" fmla="*/ 2257941 w 6863196"/>
              <a:gd name="connsiteY339" fmla="*/ 4441775 h 7005996"/>
              <a:gd name="connsiteX340" fmla="*/ 2242489 w 6863196"/>
              <a:gd name="connsiteY340" fmla="*/ 4471879 h 7005996"/>
              <a:gd name="connsiteX341" fmla="*/ 2167518 w 6863196"/>
              <a:gd name="connsiteY341" fmla="*/ 4486931 h 7005996"/>
              <a:gd name="connsiteX342" fmla="*/ 2016433 w 6863196"/>
              <a:gd name="connsiteY342" fmla="*/ 4502502 h 7005996"/>
              <a:gd name="connsiteX343" fmla="*/ 1971221 w 6863196"/>
              <a:gd name="connsiteY343" fmla="*/ 4532606 h 7005996"/>
              <a:gd name="connsiteX344" fmla="*/ 1880227 w 6863196"/>
              <a:gd name="connsiteY344" fmla="*/ 4471879 h 7005996"/>
              <a:gd name="connsiteX345" fmla="*/ 2031312 w 6863196"/>
              <a:gd name="connsiteY345" fmla="*/ 4381048 h 7005996"/>
              <a:gd name="connsiteX346" fmla="*/ 2212730 w 6863196"/>
              <a:gd name="connsiteY346" fmla="*/ 4335372 h 7005996"/>
              <a:gd name="connsiteX347" fmla="*/ 2458513 w 6863196"/>
              <a:gd name="connsiteY347" fmla="*/ 4297564 h 7005996"/>
              <a:gd name="connsiteX348" fmla="*/ 2459714 w 6863196"/>
              <a:gd name="connsiteY348" fmla="*/ 4297698 h 7005996"/>
              <a:gd name="connsiteX349" fmla="*/ 2492762 w 6863196"/>
              <a:gd name="connsiteY349" fmla="*/ 4261551 h 7005996"/>
              <a:gd name="connsiteX350" fmla="*/ 2528979 w 6863196"/>
              <a:gd name="connsiteY350" fmla="*/ 4215366 h 7005996"/>
              <a:gd name="connsiteX351" fmla="*/ 2572196 w 6863196"/>
              <a:gd name="connsiteY351" fmla="*/ 4087002 h 7005996"/>
              <a:gd name="connsiteX352" fmla="*/ 2572074 w 6863196"/>
              <a:gd name="connsiteY352" fmla="*/ 4065837 h 7005996"/>
              <a:gd name="connsiteX353" fmla="*/ 2540266 w 6863196"/>
              <a:gd name="connsiteY353" fmla="*/ 4055072 h 7005996"/>
              <a:gd name="connsiteX354" fmla="*/ 2540021 w 6863196"/>
              <a:gd name="connsiteY354" fmla="*/ 4012742 h 7005996"/>
              <a:gd name="connsiteX355" fmla="*/ 2465640 w 6863196"/>
              <a:gd name="connsiteY355" fmla="*/ 3959403 h 7005996"/>
              <a:gd name="connsiteX356" fmla="*/ 2433465 w 6863196"/>
              <a:gd name="connsiteY356" fmla="*/ 3948271 h 7005996"/>
              <a:gd name="connsiteX357" fmla="*/ 2401740 w 6863196"/>
              <a:gd name="connsiteY357" fmla="*/ 3959442 h 7005996"/>
              <a:gd name="connsiteX358" fmla="*/ 2401901 w 6863196"/>
              <a:gd name="connsiteY358" fmla="*/ 3916707 h 7005996"/>
              <a:gd name="connsiteX359" fmla="*/ 2358800 w 6863196"/>
              <a:gd name="connsiteY359" fmla="*/ 3916502 h 7005996"/>
              <a:gd name="connsiteX360" fmla="*/ 2380369 w 6863196"/>
              <a:gd name="connsiteY360" fmla="*/ 3916219 h 7005996"/>
              <a:gd name="connsiteX361" fmla="*/ 2337674 w 6863196"/>
              <a:gd name="connsiteY361" fmla="*/ 3852480 h 7005996"/>
              <a:gd name="connsiteX362" fmla="*/ 2327030 w 6863196"/>
              <a:gd name="connsiteY362" fmla="*/ 3841836 h 7005996"/>
              <a:gd name="connsiteX363" fmla="*/ 2326908 w 6863196"/>
              <a:gd name="connsiteY363" fmla="*/ 3820671 h 7005996"/>
              <a:gd name="connsiteX364" fmla="*/ 2177212 w 6863196"/>
              <a:gd name="connsiteY364" fmla="*/ 3756766 h 7005996"/>
              <a:gd name="connsiteX365" fmla="*/ 2155841 w 6863196"/>
              <a:gd name="connsiteY365" fmla="*/ 3713543 h 7005996"/>
              <a:gd name="connsiteX366" fmla="*/ 2038441 w 6863196"/>
              <a:gd name="connsiteY366" fmla="*/ 3681934 h 7005996"/>
              <a:gd name="connsiteX367" fmla="*/ 1985186 w 6863196"/>
              <a:gd name="connsiteY367" fmla="*/ 3692616 h 7005996"/>
              <a:gd name="connsiteX368" fmla="*/ 1984697 w 6863196"/>
              <a:gd name="connsiteY368" fmla="*/ 3671084 h 7005996"/>
              <a:gd name="connsiteX369" fmla="*/ 1963654 w 6863196"/>
              <a:gd name="connsiteY369" fmla="*/ 3692128 h 7005996"/>
              <a:gd name="connsiteX370" fmla="*/ 1910643 w 6863196"/>
              <a:gd name="connsiteY370" fmla="*/ 3682012 h 7005996"/>
              <a:gd name="connsiteX371" fmla="*/ 1857387 w 6863196"/>
              <a:gd name="connsiteY371" fmla="*/ 3692695 h 7005996"/>
              <a:gd name="connsiteX372" fmla="*/ 1814003 w 6863196"/>
              <a:gd name="connsiteY372" fmla="*/ 3714058 h 7005996"/>
              <a:gd name="connsiteX373" fmla="*/ 1792959 w 6863196"/>
              <a:gd name="connsiteY373" fmla="*/ 3735101 h 7005996"/>
              <a:gd name="connsiteX374" fmla="*/ 1547439 w 6863196"/>
              <a:gd name="connsiteY374" fmla="*/ 3789040 h 7005996"/>
              <a:gd name="connsiteX375" fmla="*/ 1525992 w 6863196"/>
              <a:gd name="connsiteY375" fmla="*/ 3810487 h 7005996"/>
              <a:gd name="connsiteX376" fmla="*/ 1483540 w 6863196"/>
              <a:gd name="connsiteY376" fmla="*/ 3789078 h 7005996"/>
              <a:gd name="connsiteX377" fmla="*/ 1473018 w 6863196"/>
              <a:gd name="connsiteY377" fmla="*/ 3799600 h 7005996"/>
              <a:gd name="connsiteX378" fmla="*/ 1440561 w 6863196"/>
              <a:gd name="connsiteY378" fmla="*/ 3810037 h 7005996"/>
              <a:gd name="connsiteX379" fmla="*/ 1366300 w 6863196"/>
              <a:gd name="connsiteY379" fmla="*/ 3777862 h 7005996"/>
              <a:gd name="connsiteX380" fmla="*/ 1237936 w 6863196"/>
              <a:gd name="connsiteY380" fmla="*/ 3821080 h 7005996"/>
              <a:gd name="connsiteX381" fmla="*/ 1141945 w 6863196"/>
              <a:gd name="connsiteY381" fmla="*/ 3831923 h 7005996"/>
              <a:gd name="connsiteX382" fmla="*/ 1078084 w 6863196"/>
              <a:gd name="connsiteY382" fmla="*/ 3831191 h 7005996"/>
              <a:gd name="connsiteX383" fmla="*/ 1056636 w 6863196"/>
              <a:gd name="connsiteY383" fmla="*/ 3852638 h 7005996"/>
              <a:gd name="connsiteX384" fmla="*/ 1045993 w 6863196"/>
              <a:gd name="connsiteY384" fmla="*/ 3841995 h 7005996"/>
              <a:gd name="connsiteX385" fmla="*/ 992331 w 6863196"/>
              <a:gd name="connsiteY385" fmla="*/ 3853081 h 7005996"/>
              <a:gd name="connsiteX386" fmla="*/ 874809 w 6863196"/>
              <a:gd name="connsiteY386" fmla="*/ 3863436 h 7005996"/>
              <a:gd name="connsiteX387" fmla="*/ 842840 w 6863196"/>
              <a:gd name="connsiteY387" fmla="*/ 3895405 h 7005996"/>
              <a:gd name="connsiteX388" fmla="*/ 714919 w 6863196"/>
              <a:gd name="connsiteY388" fmla="*/ 3874319 h 7005996"/>
              <a:gd name="connsiteX389" fmla="*/ 565427 w 6863196"/>
              <a:gd name="connsiteY389" fmla="*/ 3916642 h 7005996"/>
              <a:gd name="connsiteX390" fmla="*/ 426420 w 6863196"/>
              <a:gd name="connsiteY390" fmla="*/ 3949215 h 7005996"/>
              <a:gd name="connsiteX391" fmla="*/ 148846 w 6863196"/>
              <a:gd name="connsiteY391" fmla="*/ 4013186 h 7005996"/>
              <a:gd name="connsiteX392" fmla="*/ 10648 w 6863196"/>
              <a:gd name="connsiteY392" fmla="*/ 4044951 h 7005996"/>
              <a:gd name="connsiteX393" fmla="*/ 5 w 6863196"/>
              <a:gd name="connsiteY393" fmla="*/ 4034307 h 7005996"/>
              <a:gd name="connsiteX394" fmla="*/ 21086 w 6863196"/>
              <a:gd name="connsiteY394" fmla="*/ 3949365 h 7005996"/>
              <a:gd name="connsiteX395" fmla="*/ 63821 w 6863196"/>
              <a:gd name="connsiteY395" fmla="*/ 3949204 h 7005996"/>
              <a:gd name="connsiteX396" fmla="*/ 159689 w 6863196"/>
              <a:gd name="connsiteY396" fmla="*/ 3917196 h 7005996"/>
              <a:gd name="connsiteX397" fmla="*/ 170699 w 6863196"/>
              <a:gd name="connsiteY397" fmla="*/ 3928207 h 7005996"/>
              <a:gd name="connsiteX398" fmla="*/ 203074 w 6863196"/>
              <a:gd name="connsiteY398" fmla="*/ 3895832 h 7005996"/>
              <a:gd name="connsiteX399" fmla="*/ 543897 w 6863196"/>
              <a:gd name="connsiteY399" fmla="*/ 3853025 h 7005996"/>
              <a:gd name="connsiteX400" fmla="*/ 661580 w 6863196"/>
              <a:gd name="connsiteY400" fmla="*/ 3799936 h 7005996"/>
              <a:gd name="connsiteX401" fmla="*/ 725517 w 6863196"/>
              <a:gd name="connsiteY401" fmla="*/ 3799126 h 7005996"/>
              <a:gd name="connsiteX402" fmla="*/ 800305 w 6863196"/>
              <a:gd name="connsiteY402" fmla="*/ 3788933 h 7005996"/>
              <a:gd name="connsiteX403" fmla="*/ 842918 w 6863196"/>
              <a:gd name="connsiteY403" fmla="*/ 3767606 h 7005996"/>
              <a:gd name="connsiteX404" fmla="*/ 1131257 w 6863196"/>
              <a:gd name="connsiteY404" fmla="*/ 3735444 h 7005996"/>
              <a:gd name="connsiteX405" fmla="*/ 1205960 w 6863196"/>
              <a:gd name="connsiteY405" fmla="*/ 3703314 h 7005996"/>
              <a:gd name="connsiteX406" fmla="*/ 1344930 w 6863196"/>
              <a:gd name="connsiteY406" fmla="*/ 3671512 h 7005996"/>
              <a:gd name="connsiteX407" fmla="*/ 1408830 w 6863196"/>
              <a:gd name="connsiteY407" fmla="*/ 3671472 h 7005996"/>
              <a:gd name="connsiteX408" fmla="*/ 1536790 w 6863196"/>
              <a:gd name="connsiteY408" fmla="*/ 3628661 h 7005996"/>
              <a:gd name="connsiteX409" fmla="*/ 1771422 w 6863196"/>
              <a:gd name="connsiteY409" fmla="*/ 3521749 h 7005996"/>
              <a:gd name="connsiteX410" fmla="*/ 1921319 w 6863196"/>
              <a:gd name="connsiteY410" fmla="*/ 3479020 h 7005996"/>
              <a:gd name="connsiteX411" fmla="*/ 1974614 w 6863196"/>
              <a:gd name="connsiteY411" fmla="*/ 3404439 h 7005996"/>
              <a:gd name="connsiteX412" fmla="*/ 1996062 w 6863196"/>
              <a:gd name="connsiteY412" fmla="*/ 3382990 h 7005996"/>
              <a:gd name="connsiteX413" fmla="*/ 2081486 w 6863196"/>
              <a:gd name="connsiteY413" fmla="*/ 3233705 h 7005996"/>
              <a:gd name="connsiteX414" fmla="*/ 2166867 w 6863196"/>
              <a:gd name="connsiteY414" fmla="*/ 2998584 h 7005996"/>
              <a:gd name="connsiteX415" fmla="*/ 2198996 w 6863196"/>
              <a:gd name="connsiteY415" fmla="*/ 2923880 h 7005996"/>
              <a:gd name="connsiteX416" fmla="*/ 2187621 w 6863196"/>
              <a:gd name="connsiteY416" fmla="*/ 2849374 h 7005996"/>
              <a:gd name="connsiteX417" fmla="*/ 2198546 w 6863196"/>
              <a:gd name="connsiteY417" fmla="*/ 2838449 h 7005996"/>
              <a:gd name="connsiteX418" fmla="*/ 2188185 w 6863196"/>
              <a:gd name="connsiteY418" fmla="*/ 2806236 h 7005996"/>
              <a:gd name="connsiteX419" fmla="*/ 2209718 w 6863196"/>
              <a:gd name="connsiteY419" fmla="*/ 2806725 h 7005996"/>
              <a:gd name="connsiteX420" fmla="*/ 2210479 w 6863196"/>
              <a:gd name="connsiteY420" fmla="*/ 2802243 h 7005996"/>
              <a:gd name="connsiteX421" fmla="*/ 2209842 w 6863196"/>
              <a:gd name="connsiteY421" fmla="*/ 2802479 h 7005996"/>
              <a:gd name="connsiteX422" fmla="*/ 2182398 w 6863196"/>
              <a:gd name="connsiteY422" fmla="*/ 2795910 h 7005996"/>
              <a:gd name="connsiteX423" fmla="*/ 2106855 w 6863196"/>
              <a:gd name="connsiteY423" fmla="*/ 2690546 h 7005996"/>
              <a:gd name="connsiteX424" fmla="*/ 1971221 w 6863196"/>
              <a:gd name="connsiteY424" fmla="*/ 2614766 h 7005996"/>
              <a:gd name="connsiteX425" fmla="*/ 1849895 w 6863196"/>
              <a:gd name="connsiteY425" fmla="*/ 2539506 h 7005996"/>
              <a:gd name="connsiteX426" fmla="*/ 1608387 w 6863196"/>
              <a:gd name="connsiteY426" fmla="*/ 2388466 h 7005996"/>
              <a:gd name="connsiteX427" fmla="*/ 1488205 w 6863196"/>
              <a:gd name="connsiteY427" fmla="*/ 2313206 h 7005996"/>
              <a:gd name="connsiteX428" fmla="*/ 1488205 w 6863196"/>
              <a:gd name="connsiteY428" fmla="*/ 2298154 h 7005996"/>
              <a:gd name="connsiteX429" fmla="*/ 1563175 w 6863196"/>
              <a:gd name="connsiteY429" fmla="*/ 2252998 h 7005996"/>
              <a:gd name="connsiteX430" fmla="*/ 1593507 w 6863196"/>
              <a:gd name="connsiteY430" fmla="*/ 2283102 h 7005996"/>
              <a:gd name="connsiteX431" fmla="*/ 1683929 w 6863196"/>
              <a:gd name="connsiteY431" fmla="*/ 2328258 h 7005996"/>
              <a:gd name="connsiteX432" fmla="*/ 1683929 w 6863196"/>
              <a:gd name="connsiteY432" fmla="*/ 2343829 h 7005996"/>
              <a:gd name="connsiteX433" fmla="*/ 1729713 w 6863196"/>
              <a:gd name="connsiteY433" fmla="*/ 2343829 h 7005996"/>
              <a:gd name="connsiteX434" fmla="*/ 2000981 w 6863196"/>
              <a:gd name="connsiteY434" fmla="*/ 2554558 h 7005996"/>
              <a:gd name="connsiteX435" fmla="*/ 2121735 w 6863196"/>
              <a:gd name="connsiteY435" fmla="*/ 2600233 h 7005996"/>
              <a:gd name="connsiteX436" fmla="*/ 2167518 w 6863196"/>
              <a:gd name="connsiteY436" fmla="*/ 2644870 h 7005996"/>
              <a:gd name="connsiteX437" fmla="*/ 2227609 w 6863196"/>
              <a:gd name="connsiteY437" fmla="*/ 2690546 h 7005996"/>
              <a:gd name="connsiteX438" fmla="*/ 2233519 w 6863196"/>
              <a:gd name="connsiteY438" fmla="*/ 2696212 h 7005996"/>
              <a:gd name="connsiteX439" fmla="*/ 2238904 w 6863196"/>
              <a:gd name="connsiteY439" fmla="*/ 2646422 h 7005996"/>
              <a:gd name="connsiteX440" fmla="*/ 2230793 w 6863196"/>
              <a:gd name="connsiteY440" fmla="*/ 2572046 h 7005996"/>
              <a:gd name="connsiteX441" fmla="*/ 2220348 w 6863196"/>
              <a:gd name="connsiteY441" fmla="*/ 2517897 h 7005996"/>
              <a:gd name="connsiteX442" fmla="*/ 2199061 w 6863196"/>
              <a:gd name="connsiteY442" fmla="*/ 2496610 h 7005996"/>
              <a:gd name="connsiteX443" fmla="*/ 2156038 w 6863196"/>
              <a:gd name="connsiteY443" fmla="*/ 2368605 h 7005996"/>
              <a:gd name="connsiteX444" fmla="*/ 2166920 w 6863196"/>
              <a:gd name="connsiteY444" fmla="*/ 2208715 h 7005996"/>
              <a:gd name="connsiteX445" fmla="*/ 2049919 w 6863196"/>
              <a:gd name="connsiteY445" fmla="*/ 2026966 h 7005996"/>
              <a:gd name="connsiteX446" fmla="*/ 1943035 w 6863196"/>
              <a:gd name="connsiteY446" fmla="*/ 1835101 h 7005996"/>
              <a:gd name="connsiteX447" fmla="*/ 1772412 w 6863196"/>
              <a:gd name="connsiteY447" fmla="*/ 1600540 h 7005996"/>
              <a:gd name="connsiteX448" fmla="*/ 1788581 w 6863196"/>
              <a:gd name="connsiteY448" fmla="*/ 1564579 h 7005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Lst>
            <a:rect l="l" t="t" r="r" b="b"/>
            <a:pathLst>
              <a:path w="6863196" h="7005996">
                <a:moveTo>
                  <a:pt x="6681779" y="3641421"/>
                </a:moveTo>
                <a:lnTo>
                  <a:pt x="6712111" y="3641421"/>
                </a:lnTo>
                <a:cubicBezTo>
                  <a:pt x="6712110" y="3656473"/>
                  <a:pt x="6681779" y="3656473"/>
                  <a:pt x="6681779" y="3641421"/>
                </a:cubicBezTo>
                <a:close/>
                <a:moveTo>
                  <a:pt x="3092813" y="4434166"/>
                </a:moveTo>
                <a:cubicBezTo>
                  <a:pt x="3062907" y="4462078"/>
                  <a:pt x="3044939" y="4496010"/>
                  <a:pt x="3021054" y="4535860"/>
                </a:cubicBezTo>
                <a:cubicBezTo>
                  <a:pt x="2977509" y="4599958"/>
                  <a:pt x="2946028" y="4653459"/>
                  <a:pt x="2935469" y="4727881"/>
                </a:cubicBezTo>
                <a:cubicBezTo>
                  <a:pt x="2924664" y="4759972"/>
                  <a:pt x="2935430" y="4791780"/>
                  <a:pt x="2935147" y="4813349"/>
                </a:cubicBezTo>
                <a:cubicBezTo>
                  <a:pt x="2929928" y="4829579"/>
                  <a:pt x="2921895" y="4848255"/>
                  <a:pt x="2916513" y="4866849"/>
                </a:cubicBezTo>
                <a:lnTo>
                  <a:pt x="2915458" y="4872223"/>
                </a:lnTo>
                <a:lnTo>
                  <a:pt x="2952135" y="4849218"/>
                </a:lnTo>
                <a:cubicBezTo>
                  <a:pt x="2982466" y="4819114"/>
                  <a:pt x="3028250" y="4789010"/>
                  <a:pt x="3073461" y="4758906"/>
                </a:cubicBezTo>
                <a:cubicBezTo>
                  <a:pt x="3118672" y="4728283"/>
                  <a:pt x="3148432" y="4698179"/>
                  <a:pt x="3193643" y="4637971"/>
                </a:cubicBezTo>
                <a:cubicBezTo>
                  <a:pt x="3209095" y="4607866"/>
                  <a:pt x="3209095" y="4592814"/>
                  <a:pt x="3209095" y="4562710"/>
                </a:cubicBezTo>
                <a:cubicBezTo>
                  <a:pt x="3239426" y="4532606"/>
                  <a:pt x="3284638" y="4517035"/>
                  <a:pt x="3284638" y="4517035"/>
                </a:cubicBezTo>
                <a:cubicBezTo>
                  <a:pt x="3284638" y="4517035"/>
                  <a:pt x="3299517" y="4517035"/>
                  <a:pt x="3299517" y="4502502"/>
                </a:cubicBezTo>
                <a:cubicBezTo>
                  <a:pt x="3299517" y="4502502"/>
                  <a:pt x="3299517" y="4486931"/>
                  <a:pt x="3314969" y="4471879"/>
                </a:cubicBezTo>
                <a:cubicBezTo>
                  <a:pt x="3322409" y="4471879"/>
                  <a:pt x="3326129" y="4468116"/>
                  <a:pt x="3327989" y="4466234"/>
                </a:cubicBezTo>
                <a:lnTo>
                  <a:pt x="3328915" y="4465833"/>
                </a:lnTo>
                <a:lnTo>
                  <a:pt x="3329849" y="4471879"/>
                </a:lnTo>
                <a:cubicBezTo>
                  <a:pt x="3329849" y="4468116"/>
                  <a:pt x="3329849" y="4466234"/>
                  <a:pt x="3329616" y="4465529"/>
                </a:cubicBezTo>
                <a:lnTo>
                  <a:pt x="3328915" y="4465833"/>
                </a:lnTo>
                <a:lnTo>
                  <a:pt x="3321605" y="4418516"/>
                </a:lnTo>
                <a:lnTo>
                  <a:pt x="3312480" y="4417402"/>
                </a:lnTo>
                <a:cubicBezTo>
                  <a:pt x="3299694" y="4415542"/>
                  <a:pt x="3287748" y="4412853"/>
                  <a:pt x="3277135" y="4407501"/>
                </a:cubicBezTo>
                <a:cubicBezTo>
                  <a:pt x="3245043" y="4418306"/>
                  <a:pt x="3223389" y="4396651"/>
                  <a:pt x="3202592" y="4396896"/>
                </a:cubicBezTo>
                <a:cubicBezTo>
                  <a:pt x="3191665" y="4407822"/>
                  <a:pt x="3148931" y="4407984"/>
                  <a:pt x="3127361" y="4408266"/>
                </a:cubicBezTo>
                <a:cubicBezTo>
                  <a:pt x="3114078" y="4416228"/>
                  <a:pt x="3102782" y="4424863"/>
                  <a:pt x="3092813" y="4434166"/>
                </a:cubicBezTo>
                <a:close/>
                <a:moveTo>
                  <a:pt x="2637760" y="4320187"/>
                </a:moveTo>
                <a:lnTo>
                  <a:pt x="2644258" y="4318171"/>
                </a:lnTo>
                <a:cubicBezTo>
                  <a:pt x="2646350" y="4316476"/>
                  <a:pt x="2647745" y="4314059"/>
                  <a:pt x="2648675" y="4311172"/>
                </a:cubicBezTo>
                <a:lnTo>
                  <a:pt x="2648861" y="4309086"/>
                </a:lnTo>
                <a:close/>
                <a:moveTo>
                  <a:pt x="2732337" y="4205057"/>
                </a:moveTo>
                <a:cubicBezTo>
                  <a:pt x="2716554" y="4220839"/>
                  <a:pt x="2688480" y="4248914"/>
                  <a:pt x="2670717" y="4275348"/>
                </a:cubicBezTo>
                <a:lnTo>
                  <a:pt x="2664312" y="4287394"/>
                </a:lnTo>
                <a:lnTo>
                  <a:pt x="2788316" y="4261994"/>
                </a:lnTo>
                <a:lnTo>
                  <a:pt x="2821957" y="4256423"/>
                </a:lnTo>
                <a:lnTo>
                  <a:pt x="2789779" y="4232856"/>
                </a:lnTo>
                <a:cubicBezTo>
                  <a:pt x="2772340" y="4223410"/>
                  <a:pt x="2753582" y="4215376"/>
                  <a:pt x="2732337" y="4205057"/>
                </a:cubicBezTo>
                <a:close/>
                <a:moveTo>
                  <a:pt x="4622249" y="1311729"/>
                </a:moveTo>
                <a:lnTo>
                  <a:pt x="4643696" y="1290282"/>
                </a:lnTo>
                <a:cubicBezTo>
                  <a:pt x="4654340" y="1300925"/>
                  <a:pt x="4632893" y="1322372"/>
                  <a:pt x="4622249" y="1311729"/>
                </a:cubicBezTo>
                <a:close/>
                <a:moveTo>
                  <a:pt x="1788581" y="1564579"/>
                </a:moveTo>
                <a:cubicBezTo>
                  <a:pt x="1835372" y="1499112"/>
                  <a:pt x="1940507" y="1557597"/>
                  <a:pt x="1996813" y="1632316"/>
                </a:cubicBezTo>
                <a:cubicBezTo>
                  <a:pt x="2049747" y="1707102"/>
                  <a:pt x="2071079" y="1814225"/>
                  <a:pt x="2135061" y="1899251"/>
                </a:cubicBezTo>
                <a:cubicBezTo>
                  <a:pt x="2166708" y="1952750"/>
                  <a:pt x="2241580" y="2027622"/>
                  <a:pt x="2294958" y="2038104"/>
                </a:cubicBezTo>
                <a:cubicBezTo>
                  <a:pt x="2337410" y="2059512"/>
                  <a:pt x="2359262" y="2037660"/>
                  <a:pt x="2413007" y="2048510"/>
                </a:cubicBezTo>
                <a:cubicBezTo>
                  <a:pt x="2519029" y="2005613"/>
                  <a:pt x="2551321" y="1888174"/>
                  <a:pt x="2572808" y="1802827"/>
                </a:cubicBezTo>
                <a:cubicBezTo>
                  <a:pt x="2540795" y="1685833"/>
                  <a:pt x="2508697" y="1546901"/>
                  <a:pt x="2476722" y="1429136"/>
                </a:cubicBezTo>
                <a:cubicBezTo>
                  <a:pt x="2519618" y="1323113"/>
                  <a:pt x="2615320" y="1184103"/>
                  <a:pt x="2732964" y="1194914"/>
                </a:cubicBezTo>
                <a:cubicBezTo>
                  <a:pt x="2786297" y="1119561"/>
                  <a:pt x="2722436" y="1055700"/>
                  <a:pt x="2711465" y="980790"/>
                </a:cubicBezTo>
                <a:cubicBezTo>
                  <a:pt x="2626440" y="916808"/>
                  <a:pt x="2594059" y="799446"/>
                  <a:pt x="2690699" y="767400"/>
                </a:cubicBezTo>
                <a:cubicBezTo>
                  <a:pt x="2818459" y="831222"/>
                  <a:pt x="2722231" y="949470"/>
                  <a:pt x="2818022" y="1045261"/>
                </a:cubicBezTo>
                <a:cubicBezTo>
                  <a:pt x="2828787" y="1077070"/>
                  <a:pt x="2818755" y="1109123"/>
                  <a:pt x="2861207" y="1130531"/>
                </a:cubicBezTo>
                <a:cubicBezTo>
                  <a:pt x="2839759" y="1151979"/>
                  <a:pt x="2861046" y="1173266"/>
                  <a:pt x="2861167" y="1194431"/>
                </a:cubicBezTo>
                <a:cubicBezTo>
                  <a:pt x="2914384" y="1247648"/>
                  <a:pt x="3010582" y="1279906"/>
                  <a:pt x="3074442" y="1343767"/>
                </a:cubicBezTo>
                <a:cubicBezTo>
                  <a:pt x="3096096" y="1365420"/>
                  <a:pt x="3095850" y="1386219"/>
                  <a:pt x="3117137" y="1407505"/>
                </a:cubicBezTo>
                <a:cubicBezTo>
                  <a:pt x="3138425" y="1428793"/>
                  <a:pt x="3181243" y="1450568"/>
                  <a:pt x="3202408" y="1450690"/>
                </a:cubicBezTo>
                <a:cubicBezTo>
                  <a:pt x="3277440" y="1482826"/>
                  <a:pt x="3352143" y="1450696"/>
                  <a:pt x="3426808" y="1482466"/>
                </a:cubicBezTo>
                <a:cubicBezTo>
                  <a:pt x="3448256" y="1461018"/>
                  <a:pt x="3479942" y="1450619"/>
                  <a:pt x="3501269" y="1408006"/>
                </a:cubicBezTo>
                <a:cubicBezTo>
                  <a:pt x="3512073" y="1375915"/>
                  <a:pt x="3533803" y="1332898"/>
                  <a:pt x="3533559" y="1290567"/>
                </a:cubicBezTo>
                <a:cubicBezTo>
                  <a:pt x="3533842" y="1268998"/>
                  <a:pt x="3512555" y="1247711"/>
                  <a:pt x="3522587" y="1215658"/>
                </a:cubicBezTo>
                <a:cubicBezTo>
                  <a:pt x="3512311" y="1205382"/>
                  <a:pt x="3501544" y="1236701"/>
                  <a:pt x="3491268" y="1226424"/>
                </a:cubicBezTo>
                <a:cubicBezTo>
                  <a:pt x="3448084" y="1141154"/>
                  <a:pt x="3458926" y="1045163"/>
                  <a:pt x="3458882" y="959327"/>
                </a:cubicBezTo>
                <a:cubicBezTo>
                  <a:pt x="3459042" y="916593"/>
                  <a:pt x="3458799" y="874263"/>
                  <a:pt x="3448438" y="842050"/>
                </a:cubicBezTo>
                <a:cubicBezTo>
                  <a:pt x="3437794" y="831407"/>
                  <a:pt x="3427151" y="820764"/>
                  <a:pt x="3427029" y="799598"/>
                </a:cubicBezTo>
                <a:cubicBezTo>
                  <a:pt x="3426908" y="778433"/>
                  <a:pt x="3437712" y="746343"/>
                  <a:pt x="3437872" y="703607"/>
                </a:cubicBezTo>
                <a:cubicBezTo>
                  <a:pt x="3437384" y="682075"/>
                  <a:pt x="3437628" y="661278"/>
                  <a:pt x="3437949" y="638936"/>
                </a:cubicBezTo>
                <a:cubicBezTo>
                  <a:pt x="3437949" y="638936"/>
                  <a:pt x="3437827" y="617772"/>
                  <a:pt x="3448349" y="607250"/>
                </a:cubicBezTo>
                <a:cubicBezTo>
                  <a:pt x="3437705" y="596606"/>
                  <a:pt x="3427062" y="585963"/>
                  <a:pt x="3437988" y="575037"/>
                </a:cubicBezTo>
                <a:lnTo>
                  <a:pt x="3448510" y="564515"/>
                </a:lnTo>
                <a:cubicBezTo>
                  <a:pt x="3459314" y="532424"/>
                  <a:pt x="3437660" y="510771"/>
                  <a:pt x="3437905" y="489973"/>
                </a:cubicBezTo>
                <a:cubicBezTo>
                  <a:pt x="3437905" y="489973"/>
                  <a:pt x="3437416" y="468441"/>
                  <a:pt x="3447938" y="457919"/>
                </a:cubicBezTo>
                <a:cubicBezTo>
                  <a:pt x="3437616" y="361807"/>
                  <a:pt x="3437938" y="276337"/>
                  <a:pt x="3437771" y="169336"/>
                </a:cubicBezTo>
                <a:cubicBezTo>
                  <a:pt x="3416202" y="169619"/>
                  <a:pt x="3427128" y="158693"/>
                  <a:pt x="3416484" y="148050"/>
                </a:cubicBezTo>
                <a:cubicBezTo>
                  <a:pt x="3426884" y="116364"/>
                  <a:pt x="3427167" y="94794"/>
                  <a:pt x="3416400" y="62986"/>
                </a:cubicBezTo>
                <a:lnTo>
                  <a:pt x="3469817" y="9569"/>
                </a:lnTo>
                <a:cubicBezTo>
                  <a:pt x="3491265" y="-11879"/>
                  <a:pt x="3512553" y="9408"/>
                  <a:pt x="3533718" y="9530"/>
                </a:cubicBezTo>
                <a:cubicBezTo>
                  <a:pt x="3544604" y="62503"/>
                  <a:pt x="3576901" y="94800"/>
                  <a:pt x="3587262" y="127013"/>
                </a:cubicBezTo>
                <a:cubicBezTo>
                  <a:pt x="3597905" y="137657"/>
                  <a:pt x="3566219" y="148056"/>
                  <a:pt x="3598028" y="158821"/>
                </a:cubicBezTo>
                <a:cubicBezTo>
                  <a:pt x="3576175" y="180673"/>
                  <a:pt x="3576297" y="201839"/>
                  <a:pt x="3576418" y="223004"/>
                </a:cubicBezTo>
                <a:cubicBezTo>
                  <a:pt x="3555583" y="287148"/>
                  <a:pt x="3533890" y="329394"/>
                  <a:pt x="3534218" y="393660"/>
                </a:cubicBezTo>
                <a:cubicBezTo>
                  <a:pt x="3533568" y="414863"/>
                  <a:pt x="3533652" y="436800"/>
                  <a:pt x="3544295" y="447443"/>
                </a:cubicBezTo>
                <a:cubicBezTo>
                  <a:pt x="3544417" y="468608"/>
                  <a:pt x="3533774" y="457965"/>
                  <a:pt x="3522847" y="468891"/>
                </a:cubicBezTo>
                <a:cubicBezTo>
                  <a:pt x="3544417" y="468608"/>
                  <a:pt x="3544134" y="490178"/>
                  <a:pt x="3554778" y="500821"/>
                </a:cubicBezTo>
                <a:cubicBezTo>
                  <a:pt x="3533535" y="628498"/>
                  <a:pt x="3555394" y="756381"/>
                  <a:pt x="3554911" y="884584"/>
                </a:cubicBezTo>
                <a:cubicBezTo>
                  <a:pt x="3576198" y="905871"/>
                  <a:pt x="3576282" y="927807"/>
                  <a:pt x="3586558" y="938084"/>
                </a:cubicBezTo>
                <a:cubicBezTo>
                  <a:pt x="3597324" y="969893"/>
                  <a:pt x="3586887" y="1002351"/>
                  <a:pt x="3618817" y="1034281"/>
                </a:cubicBezTo>
                <a:cubicBezTo>
                  <a:pt x="3587253" y="1065845"/>
                  <a:pt x="3619550" y="1098142"/>
                  <a:pt x="3629665" y="1151154"/>
                </a:cubicBezTo>
                <a:cubicBezTo>
                  <a:pt x="3629749" y="1173090"/>
                  <a:pt x="3618945" y="1205181"/>
                  <a:pt x="3618785" y="1247916"/>
                </a:cubicBezTo>
                <a:cubicBezTo>
                  <a:pt x="3618907" y="1269081"/>
                  <a:pt x="3640193" y="1290368"/>
                  <a:pt x="3629389" y="1322459"/>
                </a:cubicBezTo>
                <a:cubicBezTo>
                  <a:pt x="3629633" y="1364789"/>
                  <a:pt x="3629472" y="1407523"/>
                  <a:pt x="3640038" y="1482838"/>
                </a:cubicBezTo>
                <a:cubicBezTo>
                  <a:pt x="3650682" y="1493481"/>
                  <a:pt x="3640160" y="1504003"/>
                  <a:pt x="3650804" y="1514647"/>
                </a:cubicBezTo>
                <a:cubicBezTo>
                  <a:pt x="3661654" y="1568391"/>
                  <a:pt x="3672419" y="1600200"/>
                  <a:pt x="3714871" y="1621608"/>
                </a:cubicBezTo>
                <a:cubicBezTo>
                  <a:pt x="3725514" y="1632251"/>
                  <a:pt x="3704471" y="1653295"/>
                  <a:pt x="3715114" y="1663938"/>
                </a:cubicBezTo>
                <a:cubicBezTo>
                  <a:pt x="3778974" y="1727798"/>
                  <a:pt x="3821465" y="1685308"/>
                  <a:pt x="3896452" y="1631609"/>
                </a:cubicBezTo>
                <a:cubicBezTo>
                  <a:pt x="3939432" y="1610650"/>
                  <a:pt x="3992199" y="1578436"/>
                  <a:pt x="4013647" y="1556988"/>
                </a:cubicBezTo>
                <a:cubicBezTo>
                  <a:pt x="4046105" y="1546550"/>
                  <a:pt x="4057031" y="1535624"/>
                  <a:pt x="4067552" y="1525103"/>
                </a:cubicBezTo>
                <a:cubicBezTo>
                  <a:pt x="4074498" y="1524763"/>
                  <a:pt x="4081404" y="1525196"/>
                  <a:pt x="4088350" y="1524857"/>
                </a:cubicBezTo>
                <a:lnTo>
                  <a:pt x="4109798" y="1503410"/>
                </a:lnTo>
                <a:cubicBezTo>
                  <a:pt x="4131330" y="1503899"/>
                  <a:pt x="4152128" y="1503653"/>
                  <a:pt x="4163054" y="1492727"/>
                </a:cubicBezTo>
                <a:cubicBezTo>
                  <a:pt x="4216677" y="1482412"/>
                  <a:pt x="4259694" y="1460681"/>
                  <a:pt x="4323432" y="1503377"/>
                </a:cubicBezTo>
                <a:cubicBezTo>
                  <a:pt x="4450987" y="1460969"/>
                  <a:pt x="4526663" y="1322167"/>
                  <a:pt x="4621921" y="1247463"/>
                </a:cubicBezTo>
                <a:cubicBezTo>
                  <a:pt x="4643774" y="1225610"/>
                  <a:pt x="4654539" y="1194291"/>
                  <a:pt x="4675987" y="1172843"/>
                </a:cubicBezTo>
                <a:cubicBezTo>
                  <a:pt x="4697435" y="1151395"/>
                  <a:pt x="4696786" y="1172598"/>
                  <a:pt x="4718723" y="1172682"/>
                </a:cubicBezTo>
                <a:lnTo>
                  <a:pt x="4728998" y="1182958"/>
                </a:lnTo>
                <a:lnTo>
                  <a:pt x="4739519" y="1172437"/>
                </a:lnTo>
                <a:cubicBezTo>
                  <a:pt x="4740009" y="1193969"/>
                  <a:pt x="4708040" y="1225939"/>
                  <a:pt x="4686102" y="1225854"/>
                </a:cubicBezTo>
                <a:cubicBezTo>
                  <a:pt x="4665060" y="1246896"/>
                  <a:pt x="4675383" y="1279882"/>
                  <a:pt x="4654340" y="1300925"/>
                </a:cubicBezTo>
                <a:lnTo>
                  <a:pt x="4643696" y="1290282"/>
                </a:lnTo>
                <a:cubicBezTo>
                  <a:pt x="4633175" y="1300803"/>
                  <a:pt x="4611238" y="1300718"/>
                  <a:pt x="4622249" y="1311729"/>
                </a:cubicBezTo>
                <a:lnTo>
                  <a:pt x="4632893" y="1322372"/>
                </a:lnTo>
                <a:lnTo>
                  <a:pt x="4622371" y="1332894"/>
                </a:lnTo>
                <a:cubicBezTo>
                  <a:pt x="4601167" y="1396672"/>
                  <a:pt x="4515254" y="1461298"/>
                  <a:pt x="4537152" y="1525281"/>
                </a:cubicBezTo>
                <a:cubicBezTo>
                  <a:pt x="4504572" y="1514553"/>
                  <a:pt x="4494661" y="1567772"/>
                  <a:pt x="4472724" y="1567687"/>
                </a:cubicBezTo>
                <a:cubicBezTo>
                  <a:pt x="4462692" y="1599741"/>
                  <a:pt x="4494500" y="1610506"/>
                  <a:pt x="4494255" y="1631304"/>
                </a:cubicBezTo>
                <a:lnTo>
                  <a:pt x="4472807" y="1652752"/>
                </a:lnTo>
                <a:cubicBezTo>
                  <a:pt x="4473296" y="1674283"/>
                  <a:pt x="4451444" y="1696136"/>
                  <a:pt x="4451566" y="1717301"/>
                </a:cubicBezTo>
                <a:cubicBezTo>
                  <a:pt x="4440639" y="1728227"/>
                  <a:pt x="4451283" y="1738870"/>
                  <a:pt x="4451404" y="1760035"/>
                </a:cubicBezTo>
                <a:cubicBezTo>
                  <a:pt x="4440601" y="1792127"/>
                  <a:pt x="4419276" y="1834739"/>
                  <a:pt x="4430041" y="1866548"/>
                </a:cubicBezTo>
                <a:lnTo>
                  <a:pt x="4434568" y="1871279"/>
                </a:lnTo>
                <a:lnTo>
                  <a:pt x="4443835" y="1848369"/>
                </a:lnTo>
                <a:cubicBezTo>
                  <a:pt x="4448801" y="1840388"/>
                  <a:pt x="4454909" y="1834265"/>
                  <a:pt x="4462420" y="1830502"/>
                </a:cubicBezTo>
                <a:cubicBezTo>
                  <a:pt x="4475655" y="1822911"/>
                  <a:pt x="4487941" y="1818394"/>
                  <a:pt x="4499281" y="1816507"/>
                </a:cubicBezTo>
                <a:cubicBezTo>
                  <a:pt x="4538970" y="1809904"/>
                  <a:pt x="4567061" y="1835527"/>
                  <a:pt x="4583603" y="1874381"/>
                </a:cubicBezTo>
                <a:lnTo>
                  <a:pt x="4597630" y="1931536"/>
                </a:lnTo>
                <a:lnTo>
                  <a:pt x="4623591" y="1932499"/>
                </a:lnTo>
                <a:cubicBezTo>
                  <a:pt x="4664242" y="1921783"/>
                  <a:pt x="4694524" y="1879527"/>
                  <a:pt x="4718501" y="1855550"/>
                </a:cubicBezTo>
                <a:cubicBezTo>
                  <a:pt x="4782118" y="1877081"/>
                  <a:pt x="4718462" y="1919449"/>
                  <a:pt x="4707253" y="1951945"/>
                </a:cubicBezTo>
                <a:cubicBezTo>
                  <a:pt x="4782002" y="2005651"/>
                  <a:pt x="4889201" y="1962312"/>
                  <a:pt x="4973983" y="1983964"/>
                </a:cubicBezTo>
                <a:cubicBezTo>
                  <a:pt x="4995920" y="1984049"/>
                  <a:pt x="5017574" y="2005703"/>
                  <a:pt x="5049382" y="2016468"/>
                </a:cubicBezTo>
                <a:cubicBezTo>
                  <a:pt x="5091833" y="2037877"/>
                  <a:pt x="5166942" y="2005341"/>
                  <a:pt x="5209516" y="2047915"/>
                </a:cubicBezTo>
                <a:cubicBezTo>
                  <a:pt x="5246890" y="2074768"/>
                  <a:pt x="5268249" y="2112315"/>
                  <a:pt x="5288202" y="2151085"/>
                </a:cubicBezTo>
                <a:lnTo>
                  <a:pt x="5295874" y="2165551"/>
                </a:lnTo>
                <a:lnTo>
                  <a:pt x="5313289" y="2166281"/>
                </a:lnTo>
                <a:cubicBezTo>
                  <a:pt x="5359081" y="2171850"/>
                  <a:pt x="5400125" y="2188832"/>
                  <a:pt x="5428453" y="2222894"/>
                </a:cubicBezTo>
                <a:cubicBezTo>
                  <a:pt x="5519448" y="2207323"/>
                  <a:pt x="5519448" y="2117010"/>
                  <a:pt x="5564660" y="2056283"/>
                </a:cubicBezTo>
                <a:cubicBezTo>
                  <a:pt x="5549780" y="1950919"/>
                  <a:pt x="5609871" y="1845035"/>
                  <a:pt x="5700866" y="1890710"/>
                </a:cubicBezTo>
                <a:cubicBezTo>
                  <a:pt x="5746077" y="2026179"/>
                  <a:pt x="5594419" y="2041750"/>
                  <a:pt x="5594419" y="2177219"/>
                </a:cubicBezTo>
                <a:cubicBezTo>
                  <a:pt x="5579539" y="2207323"/>
                  <a:pt x="5549780" y="2222894"/>
                  <a:pt x="5564660" y="2268050"/>
                </a:cubicBezTo>
                <a:cubicBezTo>
                  <a:pt x="5534328" y="2268050"/>
                  <a:pt x="5534328" y="2298154"/>
                  <a:pt x="5519448" y="2313206"/>
                </a:cubicBezTo>
                <a:cubicBezTo>
                  <a:pt x="5519448" y="2388466"/>
                  <a:pt x="5564660" y="2479298"/>
                  <a:pt x="5564660" y="2569610"/>
                </a:cubicBezTo>
                <a:cubicBezTo>
                  <a:pt x="5564660" y="2600233"/>
                  <a:pt x="5549780" y="2614766"/>
                  <a:pt x="5549780" y="2644870"/>
                </a:cubicBezTo>
                <a:cubicBezTo>
                  <a:pt x="5549780" y="2674975"/>
                  <a:pt x="5564660" y="2720650"/>
                  <a:pt x="5579539" y="2735702"/>
                </a:cubicBezTo>
                <a:cubicBezTo>
                  <a:pt x="5609871" y="2811481"/>
                  <a:pt x="5685414" y="2841585"/>
                  <a:pt x="5715745" y="2916846"/>
                </a:cubicBezTo>
                <a:cubicBezTo>
                  <a:pt x="5746077" y="2916846"/>
                  <a:pt x="5775836" y="2931898"/>
                  <a:pt x="5821048" y="2916846"/>
                </a:cubicBezTo>
                <a:cubicBezTo>
                  <a:pt x="5851379" y="2901794"/>
                  <a:pt x="5897163" y="2886742"/>
                  <a:pt x="5926922" y="2856637"/>
                </a:cubicBezTo>
                <a:cubicBezTo>
                  <a:pt x="5942374" y="2841585"/>
                  <a:pt x="5942374" y="2811481"/>
                  <a:pt x="5972133" y="2795910"/>
                </a:cubicBezTo>
                <a:cubicBezTo>
                  <a:pt x="5972133" y="2781377"/>
                  <a:pt x="5942374" y="2795910"/>
                  <a:pt x="5942374" y="2781377"/>
                </a:cubicBezTo>
                <a:cubicBezTo>
                  <a:pt x="5972133" y="2690546"/>
                  <a:pt x="6047676" y="2630337"/>
                  <a:pt x="6108340" y="2569610"/>
                </a:cubicBezTo>
                <a:cubicBezTo>
                  <a:pt x="6138671" y="2539506"/>
                  <a:pt x="6168431" y="2509402"/>
                  <a:pt x="6183882" y="2479298"/>
                </a:cubicBezTo>
                <a:cubicBezTo>
                  <a:pt x="6183882" y="2464246"/>
                  <a:pt x="6183882" y="2449194"/>
                  <a:pt x="6198762" y="2434142"/>
                </a:cubicBezTo>
                <a:cubicBezTo>
                  <a:pt x="6213642" y="2419090"/>
                  <a:pt x="6243973" y="2404038"/>
                  <a:pt x="6274305" y="2373933"/>
                </a:cubicBezTo>
                <a:cubicBezTo>
                  <a:pt x="6289185" y="2358362"/>
                  <a:pt x="6304064" y="2343829"/>
                  <a:pt x="6320089" y="2328258"/>
                </a:cubicBezTo>
                <a:cubicBezTo>
                  <a:pt x="6320089" y="2328258"/>
                  <a:pt x="6334968" y="2313206"/>
                  <a:pt x="6349848" y="2313206"/>
                </a:cubicBezTo>
                <a:cubicBezTo>
                  <a:pt x="6349848" y="2298154"/>
                  <a:pt x="6349848" y="2283102"/>
                  <a:pt x="6365300" y="2283102"/>
                </a:cubicBezTo>
                <a:lnTo>
                  <a:pt x="6380180" y="2283102"/>
                </a:lnTo>
                <a:cubicBezTo>
                  <a:pt x="6410511" y="2268050"/>
                  <a:pt x="6410511" y="2237427"/>
                  <a:pt x="6425391" y="2222894"/>
                </a:cubicBezTo>
                <a:cubicBezTo>
                  <a:pt x="6425391" y="2222894"/>
                  <a:pt x="6440270" y="2207323"/>
                  <a:pt x="6455150" y="2207323"/>
                </a:cubicBezTo>
                <a:cubicBezTo>
                  <a:pt x="6515813" y="2132062"/>
                  <a:pt x="6576477" y="2071854"/>
                  <a:pt x="6652020" y="1996075"/>
                </a:cubicBezTo>
                <a:cubicBezTo>
                  <a:pt x="6636568" y="1981023"/>
                  <a:pt x="6652020" y="1981023"/>
                  <a:pt x="6652020" y="1965971"/>
                </a:cubicBezTo>
                <a:cubicBezTo>
                  <a:pt x="6681779" y="1950919"/>
                  <a:pt x="6697231" y="1935867"/>
                  <a:pt x="6712110" y="1905762"/>
                </a:cubicBezTo>
                <a:lnTo>
                  <a:pt x="6787653" y="1905762"/>
                </a:lnTo>
                <a:cubicBezTo>
                  <a:pt x="6817985" y="1905762"/>
                  <a:pt x="6817985" y="1935867"/>
                  <a:pt x="6832865" y="1950919"/>
                </a:cubicBezTo>
                <a:cubicBezTo>
                  <a:pt x="6803105" y="1996075"/>
                  <a:pt x="6803105" y="2041750"/>
                  <a:pt x="6787653" y="2071854"/>
                </a:cubicBezTo>
                <a:cubicBezTo>
                  <a:pt x="6787653" y="2086906"/>
                  <a:pt x="6757894" y="2071854"/>
                  <a:pt x="6772774" y="2101958"/>
                </a:cubicBezTo>
                <a:cubicBezTo>
                  <a:pt x="6741870" y="2101958"/>
                  <a:pt x="6726990" y="2117010"/>
                  <a:pt x="6712111" y="2132062"/>
                </a:cubicBezTo>
                <a:cubicBezTo>
                  <a:pt x="6652020" y="2162686"/>
                  <a:pt x="6606808" y="2177219"/>
                  <a:pt x="6561597" y="2222894"/>
                </a:cubicBezTo>
                <a:cubicBezTo>
                  <a:pt x="6546145" y="2237427"/>
                  <a:pt x="6530693" y="2252998"/>
                  <a:pt x="6530693" y="2268050"/>
                </a:cubicBezTo>
                <a:cubicBezTo>
                  <a:pt x="6515813" y="2283102"/>
                  <a:pt x="6515813" y="2268050"/>
                  <a:pt x="6500361" y="2268050"/>
                </a:cubicBezTo>
                <a:cubicBezTo>
                  <a:pt x="6515813" y="2283102"/>
                  <a:pt x="6500361" y="2298154"/>
                  <a:pt x="6500361" y="2313206"/>
                </a:cubicBezTo>
                <a:cubicBezTo>
                  <a:pt x="6395059" y="2388466"/>
                  <a:pt x="6320089" y="2494350"/>
                  <a:pt x="6229094" y="2584662"/>
                </a:cubicBezTo>
                <a:cubicBezTo>
                  <a:pt x="6229094" y="2614766"/>
                  <a:pt x="6213642" y="2630337"/>
                  <a:pt x="6213642" y="2644870"/>
                </a:cubicBezTo>
                <a:cubicBezTo>
                  <a:pt x="6198762" y="2674975"/>
                  <a:pt x="6168431" y="2690546"/>
                  <a:pt x="6168431" y="2735702"/>
                </a:cubicBezTo>
                <a:cubicBezTo>
                  <a:pt x="6123792" y="2735702"/>
                  <a:pt x="6123792" y="2781377"/>
                  <a:pt x="6093460" y="2826014"/>
                </a:cubicBezTo>
                <a:cubicBezTo>
                  <a:pt x="6078008" y="2841585"/>
                  <a:pt x="6047676" y="2856637"/>
                  <a:pt x="6017345" y="2886742"/>
                </a:cubicBezTo>
                <a:cubicBezTo>
                  <a:pt x="6002466" y="2901794"/>
                  <a:pt x="6002465" y="2931898"/>
                  <a:pt x="5972133" y="2946950"/>
                </a:cubicBezTo>
                <a:cubicBezTo>
                  <a:pt x="5942374" y="2977054"/>
                  <a:pt x="5912043" y="3007158"/>
                  <a:pt x="5866259" y="3067885"/>
                </a:cubicBezTo>
                <a:cubicBezTo>
                  <a:pt x="5866259" y="3082937"/>
                  <a:pt x="5851379" y="3082937"/>
                  <a:pt x="5851379" y="3097990"/>
                </a:cubicBezTo>
                <a:cubicBezTo>
                  <a:pt x="5821048" y="3143665"/>
                  <a:pt x="5806168" y="3173769"/>
                  <a:pt x="5821048" y="3218925"/>
                </a:cubicBezTo>
                <a:cubicBezTo>
                  <a:pt x="5821048" y="3233977"/>
                  <a:pt x="5791288" y="3233977"/>
                  <a:pt x="5791288" y="3249029"/>
                </a:cubicBezTo>
                <a:cubicBezTo>
                  <a:pt x="5791288" y="3339341"/>
                  <a:pt x="5851379" y="3339341"/>
                  <a:pt x="5942374" y="3354394"/>
                </a:cubicBezTo>
                <a:cubicBezTo>
                  <a:pt x="5987585" y="3369965"/>
                  <a:pt x="6047676" y="3384498"/>
                  <a:pt x="6078008" y="3384498"/>
                </a:cubicBezTo>
                <a:cubicBezTo>
                  <a:pt x="6108340" y="3400069"/>
                  <a:pt x="6123792" y="3400069"/>
                  <a:pt x="6138671" y="3400069"/>
                </a:cubicBezTo>
                <a:cubicBezTo>
                  <a:pt x="6143822" y="3404740"/>
                  <a:pt x="6148400" y="3409930"/>
                  <a:pt x="6153551" y="3414602"/>
                </a:cubicBezTo>
                <a:lnTo>
                  <a:pt x="6183882" y="3414602"/>
                </a:lnTo>
                <a:cubicBezTo>
                  <a:pt x="6198762" y="3430173"/>
                  <a:pt x="6213642" y="3444706"/>
                  <a:pt x="6229094" y="3444706"/>
                </a:cubicBezTo>
                <a:cubicBezTo>
                  <a:pt x="6274305" y="3475329"/>
                  <a:pt x="6320089" y="3490381"/>
                  <a:pt x="6334968" y="3565641"/>
                </a:cubicBezTo>
                <a:cubicBezTo>
                  <a:pt x="6455150" y="3625849"/>
                  <a:pt x="6606808" y="3581212"/>
                  <a:pt x="6726990" y="3595746"/>
                </a:cubicBezTo>
                <a:cubicBezTo>
                  <a:pt x="6757894" y="3595746"/>
                  <a:pt x="6787653" y="3581212"/>
                  <a:pt x="6817985" y="3581212"/>
                </a:cubicBezTo>
                <a:cubicBezTo>
                  <a:pt x="6848317" y="3581212"/>
                  <a:pt x="6832865" y="3595746"/>
                  <a:pt x="6848317" y="3611317"/>
                </a:cubicBezTo>
                <a:lnTo>
                  <a:pt x="6848317" y="3625849"/>
                </a:lnTo>
                <a:lnTo>
                  <a:pt x="6863196" y="3625849"/>
                </a:lnTo>
                <a:cubicBezTo>
                  <a:pt x="6848317" y="3641421"/>
                  <a:pt x="6803105" y="3641421"/>
                  <a:pt x="6787653" y="3625849"/>
                </a:cubicBezTo>
                <a:cubicBezTo>
                  <a:pt x="6757894" y="3625849"/>
                  <a:pt x="6741870" y="3656473"/>
                  <a:pt x="6712110" y="3656473"/>
                </a:cubicBezTo>
                <a:lnTo>
                  <a:pt x="6712111" y="3641421"/>
                </a:lnTo>
                <a:cubicBezTo>
                  <a:pt x="6697232" y="3641421"/>
                  <a:pt x="6681779" y="3625849"/>
                  <a:pt x="6681779" y="3641421"/>
                </a:cubicBezTo>
                <a:lnTo>
                  <a:pt x="6681779" y="3656473"/>
                </a:lnTo>
                <a:lnTo>
                  <a:pt x="6666899" y="3656473"/>
                </a:lnTo>
                <a:cubicBezTo>
                  <a:pt x="6606808" y="3686577"/>
                  <a:pt x="6500361" y="3671525"/>
                  <a:pt x="6470602" y="3732252"/>
                </a:cubicBezTo>
                <a:cubicBezTo>
                  <a:pt x="6455150" y="3701629"/>
                  <a:pt x="6410511" y="3732252"/>
                  <a:pt x="6395059" y="3716681"/>
                </a:cubicBezTo>
                <a:cubicBezTo>
                  <a:pt x="6365300" y="3732252"/>
                  <a:pt x="6380180" y="3762356"/>
                  <a:pt x="6365300" y="3776889"/>
                </a:cubicBezTo>
                <a:lnTo>
                  <a:pt x="6334968" y="3776889"/>
                </a:lnTo>
                <a:cubicBezTo>
                  <a:pt x="6320089" y="3792460"/>
                  <a:pt x="6289185" y="3792460"/>
                  <a:pt x="6274305" y="3807512"/>
                </a:cubicBezTo>
                <a:cubicBezTo>
                  <a:pt x="6258853" y="3807512"/>
                  <a:pt x="6258853" y="3822564"/>
                  <a:pt x="6243973" y="3837616"/>
                </a:cubicBezTo>
                <a:cubicBezTo>
                  <a:pt x="6213642" y="3852669"/>
                  <a:pt x="6168431" y="3867721"/>
                  <a:pt x="6153551" y="3897825"/>
                </a:cubicBezTo>
                <a:cubicBezTo>
                  <a:pt x="6138671" y="3958033"/>
                  <a:pt x="6183882" y="3973604"/>
                  <a:pt x="6229094" y="4003708"/>
                </a:cubicBezTo>
                <a:cubicBezTo>
                  <a:pt x="6243973" y="4003708"/>
                  <a:pt x="6229094" y="3988656"/>
                  <a:pt x="6243973" y="3988656"/>
                </a:cubicBezTo>
                <a:cubicBezTo>
                  <a:pt x="6258853" y="4033812"/>
                  <a:pt x="6229094" y="4033812"/>
                  <a:pt x="6213642" y="4048864"/>
                </a:cubicBezTo>
                <a:cubicBezTo>
                  <a:pt x="6243973" y="4109073"/>
                  <a:pt x="6320089" y="4094021"/>
                  <a:pt x="6365300" y="4094021"/>
                </a:cubicBezTo>
                <a:cubicBezTo>
                  <a:pt x="6395059" y="4154229"/>
                  <a:pt x="6320089" y="4139177"/>
                  <a:pt x="6289185" y="4154229"/>
                </a:cubicBezTo>
                <a:cubicBezTo>
                  <a:pt x="6304064" y="4245060"/>
                  <a:pt x="6410511" y="4290216"/>
                  <a:pt x="6455150" y="4365476"/>
                </a:cubicBezTo>
                <a:cubicBezTo>
                  <a:pt x="6470602" y="4381048"/>
                  <a:pt x="6470602" y="4411671"/>
                  <a:pt x="6485482" y="4441775"/>
                </a:cubicBezTo>
                <a:cubicBezTo>
                  <a:pt x="6500361" y="4486931"/>
                  <a:pt x="6576477" y="4517035"/>
                  <a:pt x="6576477" y="4577243"/>
                </a:cubicBezTo>
                <a:cubicBezTo>
                  <a:pt x="6591356" y="4668075"/>
                  <a:pt x="6530693" y="4743854"/>
                  <a:pt x="6530693" y="4833647"/>
                </a:cubicBezTo>
                <a:cubicBezTo>
                  <a:pt x="6546145" y="4864271"/>
                  <a:pt x="6576477" y="4894375"/>
                  <a:pt x="6561598" y="4954583"/>
                </a:cubicBezTo>
                <a:cubicBezTo>
                  <a:pt x="6546145" y="5000258"/>
                  <a:pt x="6515813" y="5030362"/>
                  <a:pt x="6500361" y="5075518"/>
                </a:cubicBezTo>
                <a:cubicBezTo>
                  <a:pt x="6470602" y="5060466"/>
                  <a:pt x="6455150" y="5090570"/>
                  <a:pt x="6440270" y="5090570"/>
                </a:cubicBezTo>
                <a:cubicBezTo>
                  <a:pt x="6380180" y="5105622"/>
                  <a:pt x="6320089" y="5105622"/>
                  <a:pt x="6274305" y="5105622"/>
                </a:cubicBezTo>
                <a:cubicBezTo>
                  <a:pt x="6229094" y="5121194"/>
                  <a:pt x="6198762" y="5135727"/>
                  <a:pt x="6138671" y="5135727"/>
                </a:cubicBezTo>
                <a:lnTo>
                  <a:pt x="6062556" y="5135727"/>
                </a:lnTo>
                <a:cubicBezTo>
                  <a:pt x="6032797" y="5135727"/>
                  <a:pt x="6002465" y="5165831"/>
                  <a:pt x="5957254" y="5151298"/>
                </a:cubicBezTo>
                <a:cubicBezTo>
                  <a:pt x="5942374" y="5165831"/>
                  <a:pt x="5912043" y="5165831"/>
                  <a:pt x="5881712" y="5151298"/>
                </a:cubicBezTo>
                <a:cubicBezTo>
                  <a:pt x="5851379" y="5181402"/>
                  <a:pt x="5881711" y="5302337"/>
                  <a:pt x="5821048" y="5286766"/>
                </a:cubicBezTo>
                <a:cubicBezTo>
                  <a:pt x="5791288" y="5286766"/>
                  <a:pt x="5836500" y="5196454"/>
                  <a:pt x="5821048" y="5151298"/>
                </a:cubicBezTo>
                <a:cubicBezTo>
                  <a:pt x="5821048" y="5135727"/>
                  <a:pt x="5791288" y="5151298"/>
                  <a:pt x="5791288" y="5135727"/>
                </a:cubicBezTo>
                <a:cubicBezTo>
                  <a:pt x="5746077" y="5151298"/>
                  <a:pt x="5700866" y="5211506"/>
                  <a:pt x="5655654" y="5196454"/>
                </a:cubicBezTo>
                <a:cubicBezTo>
                  <a:pt x="5655654" y="5211506"/>
                  <a:pt x="5639630" y="5211506"/>
                  <a:pt x="5624750" y="5211506"/>
                </a:cubicBezTo>
                <a:cubicBezTo>
                  <a:pt x="5609871" y="5211506"/>
                  <a:pt x="5609871" y="5181402"/>
                  <a:pt x="5594419" y="5181402"/>
                </a:cubicBezTo>
                <a:cubicBezTo>
                  <a:pt x="5549780" y="5181402"/>
                  <a:pt x="5534328" y="5241610"/>
                  <a:pt x="5519448" y="5272233"/>
                </a:cubicBezTo>
                <a:cubicBezTo>
                  <a:pt x="5519448" y="5286766"/>
                  <a:pt x="5489117" y="5302337"/>
                  <a:pt x="5489117" y="5316870"/>
                </a:cubicBezTo>
                <a:cubicBezTo>
                  <a:pt x="5474237" y="5332441"/>
                  <a:pt x="5474237" y="5346974"/>
                  <a:pt x="5459357" y="5362546"/>
                </a:cubicBezTo>
                <a:cubicBezTo>
                  <a:pt x="5443905" y="5407702"/>
                  <a:pt x="5398122" y="5483481"/>
                  <a:pt x="5398122" y="5573274"/>
                </a:cubicBezTo>
                <a:cubicBezTo>
                  <a:pt x="5398122" y="5618950"/>
                  <a:pt x="5398122" y="5664106"/>
                  <a:pt x="5352911" y="5694210"/>
                </a:cubicBezTo>
                <a:cubicBezTo>
                  <a:pt x="5263060" y="5679158"/>
                  <a:pt x="5323151" y="5528637"/>
                  <a:pt x="5307699" y="5467910"/>
                </a:cubicBezTo>
                <a:cubicBezTo>
                  <a:pt x="5277940" y="5437806"/>
                  <a:pt x="5201825" y="5453377"/>
                  <a:pt x="5186945" y="5513585"/>
                </a:cubicBezTo>
                <a:cubicBezTo>
                  <a:pt x="5172065" y="5573274"/>
                  <a:pt x="5232729" y="5679158"/>
                  <a:pt x="5232729" y="5769989"/>
                </a:cubicBezTo>
                <a:cubicBezTo>
                  <a:pt x="5247608" y="5815145"/>
                  <a:pt x="5263060" y="5845250"/>
                  <a:pt x="5263060" y="5875354"/>
                </a:cubicBezTo>
                <a:cubicBezTo>
                  <a:pt x="5277940" y="5921029"/>
                  <a:pt x="5263060" y="5966185"/>
                  <a:pt x="5307699" y="5981237"/>
                </a:cubicBezTo>
                <a:cubicBezTo>
                  <a:pt x="5292820" y="6011341"/>
                  <a:pt x="5292820" y="6041445"/>
                  <a:pt x="5263060" y="6056497"/>
                </a:cubicBezTo>
                <a:cubicBezTo>
                  <a:pt x="5247608" y="6041445"/>
                  <a:pt x="5232729" y="6041445"/>
                  <a:pt x="5217849" y="6041445"/>
                </a:cubicBezTo>
                <a:cubicBezTo>
                  <a:pt x="5186945" y="5921029"/>
                  <a:pt x="5201825" y="5739885"/>
                  <a:pt x="5111402" y="5679158"/>
                </a:cubicBezTo>
                <a:cubicBezTo>
                  <a:pt x="5036432" y="5724314"/>
                  <a:pt x="4975768" y="5618950"/>
                  <a:pt x="4915105" y="5664106"/>
                </a:cubicBezTo>
                <a:cubicBezTo>
                  <a:pt x="4930557" y="5845250"/>
                  <a:pt x="4990648" y="5981237"/>
                  <a:pt x="5020980" y="6116706"/>
                </a:cubicBezTo>
                <a:cubicBezTo>
                  <a:pt x="5066191" y="6147329"/>
                  <a:pt x="5081643" y="6207537"/>
                  <a:pt x="5066191" y="6267745"/>
                </a:cubicBezTo>
                <a:cubicBezTo>
                  <a:pt x="5066191" y="6297849"/>
                  <a:pt x="5051311" y="6328473"/>
                  <a:pt x="5036432" y="6358577"/>
                </a:cubicBezTo>
                <a:cubicBezTo>
                  <a:pt x="5036432" y="6433837"/>
                  <a:pt x="5066191" y="6479512"/>
                  <a:pt x="5096523" y="6569825"/>
                </a:cubicBezTo>
                <a:cubicBezTo>
                  <a:pt x="5111402" y="6614981"/>
                  <a:pt x="5081643" y="6675189"/>
                  <a:pt x="5096523" y="6735397"/>
                </a:cubicBezTo>
                <a:cubicBezTo>
                  <a:pt x="5111402" y="6750968"/>
                  <a:pt x="5126854" y="6766020"/>
                  <a:pt x="5141734" y="6796125"/>
                </a:cubicBezTo>
                <a:cubicBezTo>
                  <a:pt x="5172065" y="6871904"/>
                  <a:pt x="5111402" y="6917060"/>
                  <a:pt x="5111403" y="6992320"/>
                </a:cubicBezTo>
                <a:cubicBezTo>
                  <a:pt x="4990648" y="7067581"/>
                  <a:pt x="5006100" y="6811177"/>
                  <a:pt x="5036432" y="6735397"/>
                </a:cubicBezTo>
                <a:cubicBezTo>
                  <a:pt x="5006100" y="6690760"/>
                  <a:pt x="5020980" y="6630033"/>
                  <a:pt x="5006100" y="6569825"/>
                </a:cubicBezTo>
                <a:cubicBezTo>
                  <a:pt x="5006100" y="6539720"/>
                  <a:pt x="4975768" y="6509616"/>
                  <a:pt x="4975768" y="6479512"/>
                </a:cubicBezTo>
                <a:cubicBezTo>
                  <a:pt x="4960316" y="6433837"/>
                  <a:pt x="4975768" y="6403733"/>
                  <a:pt x="4975768" y="6358577"/>
                </a:cubicBezTo>
                <a:cubicBezTo>
                  <a:pt x="4960316" y="6297849"/>
                  <a:pt x="4930557" y="6253212"/>
                  <a:pt x="4930557" y="6177433"/>
                </a:cubicBezTo>
                <a:lnTo>
                  <a:pt x="4900225" y="6177433"/>
                </a:lnTo>
                <a:cubicBezTo>
                  <a:pt x="4900225" y="6162381"/>
                  <a:pt x="4915105" y="6162381"/>
                  <a:pt x="4930557" y="6162381"/>
                </a:cubicBezTo>
                <a:cubicBezTo>
                  <a:pt x="4945437" y="6086602"/>
                  <a:pt x="4869894" y="5996289"/>
                  <a:pt x="4824683" y="5921029"/>
                </a:cubicBezTo>
                <a:cubicBezTo>
                  <a:pt x="4809803" y="5935562"/>
                  <a:pt x="4794923" y="5921029"/>
                  <a:pt x="4779471" y="5921029"/>
                </a:cubicBezTo>
                <a:cubicBezTo>
                  <a:pt x="4764019" y="5890925"/>
                  <a:pt x="4749140" y="5845250"/>
                  <a:pt x="4764019" y="5800093"/>
                </a:cubicBezTo>
                <a:cubicBezTo>
                  <a:pt x="4733688" y="5784522"/>
                  <a:pt x="4718808" y="5739885"/>
                  <a:pt x="4689049" y="5724314"/>
                </a:cubicBezTo>
                <a:cubicBezTo>
                  <a:pt x="4673597" y="5679158"/>
                  <a:pt x="4658717" y="5649054"/>
                  <a:pt x="4643837" y="5603379"/>
                </a:cubicBezTo>
                <a:cubicBezTo>
                  <a:pt x="4643837" y="5573274"/>
                  <a:pt x="4643837" y="5543689"/>
                  <a:pt x="4628385" y="5543689"/>
                </a:cubicBezTo>
                <a:cubicBezTo>
                  <a:pt x="4553415" y="5543689"/>
                  <a:pt x="4553415" y="5603379"/>
                  <a:pt x="4492179" y="5618950"/>
                </a:cubicBezTo>
                <a:cubicBezTo>
                  <a:pt x="4477300" y="5649054"/>
                  <a:pt x="4446968" y="5694210"/>
                  <a:pt x="4432088" y="5724314"/>
                </a:cubicBezTo>
                <a:cubicBezTo>
                  <a:pt x="4446968" y="5875354"/>
                  <a:pt x="4477300" y="6116706"/>
                  <a:pt x="4266123" y="6102174"/>
                </a:cubicBezTo>
                <a:cubicBezTo>
                  <a:pt x="4205460" y="6056497"/>
                  <a:pt x="4190580" y="5981237"/>
                  <a:pt x="4205460" y="5890925"/>
                </a:cubicBezTo>
                <a:cubicBezTo>
                  <a:pt x="4250671" y="5845250"/>
                  <a:pt x="4250671" y="5754418"/>
                  <a:pt x="4266123" y="5679158"/>
                </a:cubicBezTo>
                <a:cubicBezTo>
                  <a:pt x="4250671" y="5649054"/>
                  <a:pt x="4250671" y="5634002"/>
                  <a:pt x="4235791" y="5603379"/>
                </a:cubicBezTo>
                <a:cubicBezTo>
                  <a:pt x="4220912" y="5588845"/>
                  <a:pt x="4205460" y="5558741"/>
                  <a:pt x="4205460" y="5543689"/>
                </a:cubicBezTo>
                <a:cubicBezTo>
                  <a:pt x="4175700" y="5467910"/>
                  <a:pt x="4190580" y="5377598"/>
                  <a:pt x="4160249" y="5332441"/>
                </a:cubicBezTo>
                <a:cubicBezTo>
                  <a:pt x="4130489" y="5302337"/>
                  <a:pt x="4099585" y="5286766"/>
                  <a:pt x="4084706" y="5256662"/>
                </a:cubicBezTo>
                <a:cubicBezTo>
                  <a:pt x="4054374" y="5256662"/>
                  <a:pt x="4024615" y="5241610"/>
                  <a:pt x="3994283" y="5241610"/>
                </a:cubicBezTo>
                <a:cubicBezTo>
                  <a:pt x="3963951" y="5226558"/>
                  <a:pt x="3934192" y="5241610"/>
                  <a:pt x="3903860" y="5226558"/>
                </a:cubicBezTo>
                <a:cubicBezTo>
                  <a:pt x="3888408" y="5226558"/>
                  <a:pt x="3872957" y="5211506"/>
                  <a:pt x="3843197" y="5211506"/>
                </a:cubicBezTo>
                <a:cubicBezTo>
                  <a:pt x="3812866" y="5196454"/>
                  <a:pt x="3767654" y="5196454"/>
                  <a:pt x="3752775" y="5181402"/>
                </a:cubicBezTo>
                <a:cubicBezTo>
                  <a:pt x="3737895" y="5181402"/>
                  <a:pt x="3722443" y="5151298"/>
                  <a:pt x="3707563" y="5151298"/>
                </a:cubicBezTo>
                <a:cubicBezTo>
                  <a:pt x="3692684" y="5135727"/>
                  <a:pt x="3677232" y="5121194"/>
                  <a:pt x="3661780" y="5105622"/>
                </a:cubicBezTo>
                <a:cubicBezTo>
                  <a:pt x="3661780" y="5075518"/>
                  <a:pt x="3631448" y="5045414"/>
                  <a:pt x="3616569" y="5030362"/>
                </a:cubicBezTo>
                <a:cubicBezTo>
                  <a:pt x="3616569" y="4954583"/>
                  <a:pt x="3556478" y="4924479"/>
                  <a:pt x="3541598" y="4879323"/>
                </a:cubicBezTo>
                <a:cubicBezTo>
                  <a:pt x="3511266" y="4864271"/>
                  <a:pt x="3511266" y="4833647"/>
                  <a:pt x="3496387" y="4819114"/>
                </a:cubicBezTo>
                <a:cubicBezTo>
                  <a:pt x="3480935" y="4819114"/>
                  <a:pt x="3450603" y="4789010"/>
                  <a:pt x="3435151" y="4773958"/>
                </a:cubicBezTo>
                <a:cubicBezTo>
                  <a:pt x="3375060" y="4758906"/>
                  <a:pt x="3329849" y="4773958"/>
                  <a:pt x="3269758" y="4789010"/>
                </a:cubicBezTo>
                <a:cubicBezTo>
                  <a:pt x="3193643" y="4803543"/>
                  <a:pt x="3133552" y="4819114"/>
                  <a:pt x="3073461" y="4864271"/>
                </a:cubicBezTo>
                <a:cubicBezTo>
                  <a:pt x="3043129" y="4879323"/>
                  <a:pt x="3028250" y="4909427"/>
                  <a:pt x="3012798" y="4924479"/>
                </a:cubicBezTo>
                <a:cubicBezTo>
                  <a:pt x="2982466" y="4940050"/>
                  <a:pt x="2937255" y="4954583"/>
                  <a:pt x="2922375" y="4984687"/>
                </a:cubicBezTo>
                <a:cubicBezTo>
                  <a:pt x="2906923" y="4984687"/>
                  <a:pt x="2906923" y="4970154"/>
                  <a:pt x="2906923" y="4970154"/>
                </a:cubicBezTo>
                <a:cubicBezTo>
                  <a:pt x="2899483" y="4973787"/>
                  <a:pt x="2890112" y="4975604"/>
                  <a:pt x="2879766" y="4976991"/>
                </a:cubicBezTo>
                <a:lnTo>
                  <a:pt x="2852748" y="4980476"/>
                </a:lnTo>
                <a:lnTo>
                  <a:pt x="2841540" y="5001382"/>
                </a:lnTo>
                <a:cubicBezTo>
                  <a:pt x="2837860" y="5012436"/>
                  <a:pt x="2836503" y="5024483"/>
                  <a:pt x="2839123" y="5037828"/>
                </a:cubicBezTo>
                <a:cubicBezTo>
                  <a:pt x="2775063" y="5080601"/>
                  <a:pt x="2807237" y="5154861"/>
                  <a:pt x="2774984" y="5208400"/>
                </a:cubicBezTo>
                <a:cubicBezTo>
                  <a:pt x="2775596" y="5251097"/>
                  <a:pt x="2785956" y="5283310"/>
                  <a:pt x="2785796" y="5326044"/>
                </a:cubicBezTo>
                <a:cubicBezTo>
                  <a:pt x="2753544" y="5379584"/>
                  <a:pt x="2700370" y="5475330"/>
                  <a:pt x="2646909" y="5442911"/>
                </a:cubicBezTo>
                <a:cubicBezTo>
                  <a:pt x="2582765" y="5400619"/>
                  <a:pt x="2657508" y="5304590"/>
                  <a:pt x="2647025" y="5251213"/>
                </a:cubicBezTo>
                <a:cubicBezTo>
                  <a:pt x="2711368" y="5186869"/>
                  <a:pt x="2732572" y="5123092"/>
                  <a:pt x="2721723" y="5069347"/>
                </a:cubicBezTo>
                <a:cubicBezTo>
                  <a:pt x="2732346" y="5058724"/>
                  <a:pt x="2740980" y="5047429"/>
                  <a:pt x="2748295" y="5035458"/>
                </a:cubicBezTo>
                <a:lnTo>
                  <a:pt x="2758940" y="5013800"/>
                </a:lnTo>
                <a:lnTo>
                  <a:pt x="2736898" y="5018603"/>
                </a:lnTo>
                <a:cubicBezTo>
                  <a:pt x="2693815" y="5034125"/>
                  <a:pt x="2665701" y="5079281"/>
                  <a:pt x="2620203" y="5090570"/>
                </a:cubicBezTo>
                <a:cubicBezTo>
                  <a:pt x="2590444" y="5121194"/>
                  <a:pt x="2574992" y="5151298"/>
                  <a:pt x="2544661" y="5181402"/>
                </a:cubicBezTo>
                <a:cubicBezTo>
                  <a:pt x="2483997" y="5196454"/>
                  <a:pt x="2378695" y="5226558"/>
                  <a:pt x="2363816" y="5165831"/>
                </a:cubicBezTo>
                <a:cubicBezTo>
                  <a:pt x="2348364" y="5090570"/>
                  <a:pt x="2469118" y="5075518"/>
                  <a:pt x="2499449" y="5030362"/>
                </a:cubicBezTo>
                <a:cubicBezTo>
                  <a:pt x="2590444" y="5030362"/>
                  <a:pt x="2650535" y="5000258"/>
                  <a:pt x="2680867" y="4954583"/>
                </a:cubicBezTo>
                <a:cubicBezTo>
                  <a:pt x="2710913" y="4954583"/>
                  <a:pt x="2737238" y="4947057"/>
                  <a:pt x="2763635" y="4935768"/>
                </a:cubicBezTo>
                <a:lnTo>
                  <a:pt x="2792478" y="4921418"/>
                </a:lnTo>
                <a:lnTo>
                  <a:pt x="2796505" y="4909419"/>
                </a:lnTo>
                <a:cubicBezTo>
                  <a:pt x="2796505" y="4909419"/>
                  <a:pt x="2817670" y="4909540"/>
                  <a:pt x="2807026" y="4898897"/>
                </a:cubicBezTo>
                <a:cubicBezTo>
                  <a:pt x="2828474" y="4877449"/>
                  <a:pt x="2828635" y="4834715"/>
                  <a:pt x="2839034" y="4803027"/>
                </a:cubicBezTo>
                <a:cubicBezTo>
                  <a:pt x="2839195" y="4760293"/>
                  <a:pt x="2850282" y="4706632"/>
                  <a:pt x="2860964" y="4653376"/>
                </a:cubicBezTo>
                <a:cubicBezTo>
                  <a:pt x="2871280" y="4599754"/>
                  <a:pt x="2871036" y="4557423"/>
                  <a:pt x="2860432" y="4482881"/>
                </a:cubicBezTo>
                <a:cubicBezTo>
                  <a:pt x="2850071" y="4450668"/>
                  <a:pt x="2839427" y="4440024"/>
                  <a:pt x="2818141" y="4418737"/>
                </a:cubicBezTo>
                <a:lnTo>
                  <a:pt x="2822429" y="4394964"/>
                </a:lnTo>
                <a:lnTo>
                  <a:pt x="2816501" y="4395581"/>
                </a:lnTo>
                <a:cubicBezTo>
                  <a:pt x="2786169" y="4395581"/>
                  <a:pt x="2755837" y="4381048"/>
                  <a:pt x="2725506" y="4381048"/>
                </a:cubicBezTo>
                <a:cubicBezTo>
                  <a:pt x="2720355" y="4385719"/>
                  <a:pt x="2715777" y="4390909"/>
                  <a:pt x="2710626" y="4395581"/>
                </a:cubicBezTo>
                <a:lnTo>
                  <a:pt x="2665415" y="4395581"/>
                </a:lnTo>
                <a:cubicBezTo>
                  <a:pt x="2642809" y="4395581"/>
                  <a:pt x="2620203" y="4403367"/>
                  <a:pt x="2595666" y="4409271"/>
                </a:cubicBezTo>
                <a:lnTo>
                  <a:pt x="2563332" y="4414509"/>
                </a:lnTo>
                <a:lnTo>
                  <a:pt x="2518913" y="4461055"/>
                </a:lnTo>
                <a:cubicBezTo>
                  <a:pt x="2476018" y="4503951"/>
                  <a:pt x="2454326" y="4546196"/>
                  <a:pt x="2422357" y="4578165"/>
                </a:cubicBezTo>
                <a:cubicBezTo>
                  <a:pt x="2400909" y="4599613"/>
                  <a:pt x="2369184" y="4610785"/>
                  <a:pt x="2347737" y="4632232"/>
                </a:cubicBezTo>
                <a:cubicBezTo>
                  <a:pt x="2347398" y="4639177"/>
                  <a:pt x="2347830" y="4646084"/>
                  <a:pt x="2347492" y="4653030"/>
                </a:cubicBezTo>
                <a:lnTo>
                  <a:pt x="2315523" y="4684999"/>
                </a:lnTo>
                <a:cubicBezTo>
                  <a:pt x="2283553" y="4716969"/>
                  <a:pt x="2273605" y="4770958"/>
                  <a:pt x="2220066" y="4803210"/>
                </a:cubicBezTo>
                <a:cubicBezTo>
                  <a:pt x="2209544" y="4813732"/>
                  <a:pt x="2187241" y="4813281"/>
                  <a:pt x="2166649" y="4856627"/>
                </a:cubicBezTo>
                <a:cubicBezTo>
                  <a:pt x="2156250" y="4888313"/>
                  <a:pt x="2081385" y="4963178"/>
                  <a:pt x="2060059" y="5005791"/>
                </a:cubicBezTo>
                <a:cubicBezTo>
                  <a:pt x="2059776" y="5027360"/>
                  <a:pt x="2059776" y="5027360"/>
                  <a:pt x="2070420" y="5038004"/>
                </a:cubicBezTo>
                <a:cubicBezTo>
                  <a:pt x="2049377" y="5059046"/>
                  <a:pt x="2017286" y="5069851"/>
                  <a:pt x="2028050" y="5101660"/>
                </a:cubicBezTo>
                <a:cubicBezTo>
                  <a:pt x="1974390" y="5112746"/>
                  <a:pt x="1953186" y="5176524"/>
                  <a:pt x="1932228" y="5219503"/>
                </a:cubicBezTo>
                <a:cubicBezTo>
                  <a:pt x="1931578" y="5240706"/>
                  <a:pt x="1921545" y="5272759"/>
                  <a:pt x="1921545" y="5272759"/>
                </a:cubicBezTo>
                <a:cubicBezTo>
                  <a:pt x="1899852" y="5315005"/>
                  <a:pt x="1846192" y="5326092"/>
                  <a:pt x="1814262" y="5294161"/>
                </a:cubicBezTo>
                <a:cubicBezTo>
                  <a:pt x="1771688" y="5251588"/>
                  <a:pt x="1824654" y="5175868"/>
                  <a:pt x="1856868" y="5123101"/>
                </a:cubicBezTo>
                <a:cubicBezTo>
                  <a:pt x="1899358" y="5080610"/>
                  <a:pt x="1931892" y="5005501"/>
                  <a:pt x="1952852" y="4962521"/>
                </a:cubicBezTo>
                <a:cubicBezTo>
                  <a:pt x="2070131" y="4909838"/>
                  <a:pt x="2048837" y="4738815"/>
                  <a:pt x="2166360" y="4728460"/>
                </a:cubicBezTo>
                <a:lnTo>
                  <a:pt x="2241629" y="4653191"/>
                </a:lnTo>
                <a:cubicBezTo>
                  <a:pt x="2252150" y="4642670"/>
                  <a:pt x="2241140" y="4631660"/>
                  <a:pt x="2230497" y="4621016"/>
                </a:cubicBezTo>
                <a:cubicBezTo>
                  <a:pt x="2270468" y="4565080"/>
                  <a:pt x="2304680" y="4502929"/>
                  <a:pt x="2350701" y="4443937"/>
                </a:cubicBezTo>
                <a:lnTo>
                  <a:pt x="2367226" y="4425131"/>
                </a:lnTo>
                <a:lnTo>
                  <a:pt x="2354158" y="4426723"/>
                </a:lnTo>
                <a:cubicBezTo>
                  <a:pt x="2318318" y="4430486"/>
                  <a:pt x="2280547" y="4434249"/>
                  <a:pt x="2257941" y="4441775"/>
                </a:cubicBezTo>
                <a:cubicBezTo>
                  <a:pt x="2242489" y="4456827"/>
                  <a:pt x="2242489" y="4456827"/>
                  <a:pt x="2242489" y="4471879"/>
                </a:cubicBezTo>
                <a:cubicBezTo>
                  <a:pt x="2212730" y="4471879"/>
                  <a:pt x="2182398" y="4456827"/>
                  <a:pt x="2167518" y="4486931"/>
                </a:cubicBezTo>
                <a:cubicBezTo>
                  <a:pt x="2121735" y="4456827"/>
                  <a:pt x="2061644" y="4486931"/>
                  <a:pt x="2016433" y="4502502"/>
                </a:cubicBezTo>
                <a:cubicBezTo>
                  <a:pt x="2000981" y="4517035"/>
                  <a:pt x="1971221" y="4532606"/>
                  <a:pt x="1971221" y="4532606"/>
                </a:cubicBezTo>
                <a:cubicBezTo>
                  <a:pt x="1926010" y="4547139"/>
                  <a:pt x="1880227" y="4517035"/>
                  <a:pt x="1880227" y="4471879"/>
                </a:cubicBezTo>
                <a:cubicBezTo>
                  <a:pt x="1880227" y="4411671"/>
                  <a:pt x="1971221" y="4395581"/>
                  <a:pt x="2031312" y="4381048"/>
                </a:cubicBezTo>
                <a:cubicBezTo>
                  <a:pt x="2091403" y="4381048"/>
                  <a:pt x="2167518" y="4350943"/>
                  <a:pt x="2212730" y="4335372"/>
                </a:cubicBezTo>
                <a:cubicBezTo>
                  <a:pt x="2302867" y="4369629"/>
                  <a:pt x="2384955" y="4301700"/>
                  <a:pt x="2458513" y="4297564"/>
                </a:cubicBezTo>
                <a:lnTo>
                  <a:pt x="2459714" y="4297698"/>
                </a:lnTo>
                <a:lnTo>
                  <a:pt x="2492762" y="4261551"/>
                </a:lnTo>
                <a:cubicBezTo>
                  <a:pt x="2505894" y="4246710"/>
                  <a:pt x="2518478" y="4231372"/>
                  <a:pt x="2528979" y="4215366"/>
                </a:cubicBezTo>
                <a:cubicBezTo>
                  <a:pt x="2550672" y="4173121"/>
                  <a:pt x="2582961" y="4118811"/>
                  <a:pt x="2572196" y="4087002"/>
                </a:cubicBezTo>
                <a:lnTo>
                  <a:pt x="2572074" y="4065837"/>
                </a:lnTo>
                <a:cubicBezTo>
                  <a:pt x="2561430" y="4055193"/>
                  <a:pt x="2561309" y="4034029"/>
                  <a:pt x="2540266" y="4055072"/>
                </a:cubicBezTo>
                <a:cubicBezTo>
                  <a:pt x="2561309" y="4034029"/>
                  <a:pt x="2508335" y="4023141"/>
                  <a:pt x="2540021" y="4012742"/>
                </a:cubicBezTo>
                <a:cubicBezTo>
                  <a:pt x="2508091" y="3980812"/>
                  <a:pt x="2476405" y="3991211"/>
                  <a:pt x="2465640" y="3959403"/>
                </a:cubicBezTo>
                <a:cubicBezTo>
                  <a:pt x="2454997" y="3948759"/>
                  <a:pt x="2444596" y="3980446"/>
                  <a:pt x="2433465" y="3948271"/>
                </a:cubicBezTo>
                <a:cubicBezTo>
                  <a:pt x="2412017" y="3969719"/>
                  <a:pt x="2422943" y="3958793"/>
                  <a:pt x="2401740" y="3959442"/>
                </a:cubicBezTo>
                <a:cubicBezTo>
                  <a:pt x="2401656" y="3937506"/>
                  <a:pt x="2391380" y="3927229"/>
                  <a:pt x="2401901" y="3916707"/>
                </a:cubicBezTo>
                <a:cubicBezTo>
                  <a:pt x="2380369" y="3916219"/>
                  <a:pt x="2369443" y="3927145"/>
                  <a:pt x="2358800" y="3916502"/>
                </a:cubicBezTo>
                <a:cubicBezTo>
                  <a:pt x="2369726" y="3905576"/>
                  <a:pt x="2380369" y="3916219"/>
                  <a:pt x="2380369" y="3916219"/>
                </a:cubicBezTo>
                <a:cubicBezTo>
                  <a:pt x="2390769" y="3884532"/>
                  <a:pt x="2348317" y="3863123"/>
                  <a:pt x="2337674" y="3852480"/>
                </a:cubicBezTo>
                <a:cubicBezTo>
                  <a:pt x="2327030" y="3841836"/>
                  <a:pt x="2337552" y="3831315"/>
                  <a:pt x="2327030" y="3841836"/>
                </a:cubicBezTo>
                <a:cubicBezTo>
                  <a:pt x="2294855" y="3830705"/>
                  <a:pt x="2327030" y="3841836"/>
                  <a:pt x="2326908" y="3820671"/>
                </a:cubicBezTo>
                <a:cubicBezTo>
                  <a:pt x="2273325" y="3767087"/>
                  <a:pt x="2241394" y="3735157"/>
                  <a:pt x="2177212" y="3756766"/>
                </a:cubicBezTo>
                <a:cubicBezTo>
                  <a:pt x="2177127" y="3734829"/>
                  <a:pt x="2145404" y="3746001"/>
                  <a:pt x="2155841" y="3713543"/>
                </a:cubicBezTo>
                <a:cubicBezTo>
                  <a:pt x="2113106" y="3713703"/>
                  <a:pt x="2070250" y="3692699"/>
                  <a:pt x="2038441" y="3681934"/>
                </a:cubicBezTo>
                <a:cubicBezTo>
                  <a:pt x="2027798" y="3671291"/>
                  <a:pt x="1995708" y="3682094"/>
                  <a:pt x="1985186" y="3692616"/>
                </a:cubicBezTo>
                <a:cubicBezTo>
                  <a:pt x="1985157" y="3685303"/>
                  <a:pt x="1984725" y="3678396"/>
                  <a:pt x="1984697" y="3671084"/>
                </a:cubicBezTo>
                <a:cubicBezTo>
                  <a:pt x="1963899" y="3671330"/>
                  <a:pt x="1974175" y="3681606"/>
                  <a:pt x="1963654" y="3692128"/>
                </a:cubicBezTo>
                <a:cubicBezTo>
                  <a:pt x="1942451" y="3692777"/>
                  <a:pt x="1931441" y="3681767"/>
                  <a:pt x="1910643" y="3682012"/>
                </a:cubicBezTo>
                <a:cubicBezTo>
                  <a:pt x="1910643" y="3682012"/>
                  <a:pt x="1878185" y="3692449"/>
                  <a:pt x="1857387" y="3692695"/>
                </a:cubicBezTo>
                <a:cubicBezTo>
                  <a:pt x="1846866" y="3703216"/>
                  <a:pt x="1824929" y="3703132"/>
                  <a:pt x="1814003" y="3714058"/>
                </a:cubicBezTo>
                <a:lnTo>
                  <a:pt x="1792959" y="3735101"/>
                </a:lnTo>
                <a:cubicBezTo>
                  <a:pt x="1707734" y="3777752"/>
                  <a:pt x="1611743" y="3788596"/>
                  <a:pt x="1547439" y="3789040"/>
                </a:cubicBezTo>
                <a:lnTo>
                  <a:pt x="1525992" y="3810487"/>
                </a:lnTo>
                <a:cubicBezTo>
                  <a:pt x="1515348" y="3799843"/>
                  <a:pt x="1493817" y="3799355"/>
                  <a:pt x="1483540" y="3789078"/>
                </a:cubicBezTo>
                <a:cubicBezTo>
                  <a:pt x="1472774" y="3820398"/>
                  <a:pt x="1483540" y="3789078"/>
                  <a:pt x="1473018" y="3799600"/>
                </a:cubicBezTo>
                <a:cubicBezTo>
                  <a:pt x="1451487" y="3799111"/>
                  <a:pt x="1440561" y="3810037"/>
                  <a:pt x="1440561" y="3810037"/>
                </a:cubicBezTo>
                <a:cubicBezTo>
                  <a:pt x="1419763" y="3810282"/>
                  <a:pt x="1376945" y="3788506"/>
                  <a:pt x="1366300" y="3777862"/>
                </a:cubicBezTo>
                <a:cubicBezTo>
                  <a:pt x="1323687" y="3799189"/>
                  <a:pt x="1280831" y="3778185"/>
                  <a:pt x="1237936" y="3821080"/>
                </a:cubicBezTo>
                <a:cubicBezTo>
                  <a:pt x="1205639" y="3788783"/>
                  <a:pt x="1141945" y="3831923"/>
                  <a:pt x="1141945" y="3831923"/>
                </a:cubicBezTo>
                <a:cubicBezTo>
                  <a:pt x="1131424" y="3842445"/>
                  <a:pt x="1109770" y="3820791"/>
                  <a:pt x="1078084" y="3831191"/>
                </a:cubicBezTo>
                <a:lnTo>
                  <a:pt x="1056636" y="3852638"/>
                </a:lnTo>
                <a:lnTo>
                  <a:pt x="1045993" y="3841995"/>
                </a:lnTo>
                <a:cubicBezTo>
                  <a:pt x="1024423" y="3842278"/>
                  <a:pt x="1002976" y="3863726"/>
                  <a:pt x="992331" y="3853081"/>
                </a:cubicBezTo>
                <a:cubicBezTo>
                  <a:pt x="949719" y="3874407"/>
                  <a:pt x="906617" y="3874201"/>
                  <a:pt x="874809" y="3863436"/>
                </a:cubicBezTo>
                <a:cubicBezTo>
                  <a:pt x="864372" y="3895894"/>
                  <a:pt x="853362" y="3884884"/>
                  <a:pt x="842840" y="3895405"/>
                </a:cubicBezTo>
                <a:cubicBezTo>
                  <a:pt x="800388" y="3873997"/>
                  <a:pt x="735923" y="3917175"/>
                  <a:pt x="714919" y="3874319"/>
                </a:cubicBezTo>
                <a:cubicBezTo>
                  <a:pt x="693594" y="3916931"/>
                  <a:pt x="618683" y="3905959"/>
                  <a:pt x="565427" y="3916642"/>
                </a:cubicBezTo>
                <a:cubicBezTo>
                  <a:pt x="523182" y="3938335"/>
                  <a:pt x="469154" y="3949054"/>
                  <a:pt x="426420" y="3949215"/>
                </a:cubicBezTo>
                <a:cubicBezTo>
                  <a:pt x="341194" y="3991867"/>
                  <a:pt x="245487" y="3981141"/>
                  <a:pt x="148846" y="4013186"/>
                </a:cubicBezTo>
                <a:cubicBezTo>
                  <a:pt x="106761" y="3992145"/>
                  <a:pt x="53260" y="4023625"/>
                  <a:pt x="10648" y="4044951"/>
                </a:cubicBezTo>
                <a:cubicBezTo>
                  <a:pt x="10648" y="4044951"/>
                  <a:pt x="-278" y="4055877"/>
                  <a:pt x="5" y="4034307"/>
                </a:cubicBezTo>
                <a:cubicBezTo>
                  <a:pt x="1934" y="4018431"/>
                  <a:pt x="10376" y="3963745"/>
                  <a:pt x="21086" y="3949365"/>
                </a:cubicBezTo>
                <a:cubicBezTo>
                  <a:pt x="35344" y="3949054"/>
                  <a:pt x="49564" y="3949515"/>
                  <a:pt x="63821" y="3949204"/>
                </a:cubicBezTo>
                <a:cubicBezTo>
                  <a:pt x="84986" y="3949326"/>
                  <a:pt x="117077" y="3938522"/>
                  <a:pt x="159689" y="3917196"/>
                </a:cubicBezTo>
                <a:lnTo>
                  <a:pt x="170699" y="3928207"/>
                </a:lnTo>
                <a:lnTo>
                  <a:pt x="203074" y="3895832"/>
                </a:lnTo>
                <a:cubicBezTo>
                  <a:pt x="309425" y="3917203"/>
                  <a:pt x="426337" y="3864151"/>
                  <a:pt x="543897" y="3853025"/>
                </a:cubicBezTo>
                <a:cubicBezTo>
                  <a:pt x="576149" y="3799486"/>
                  <a:pt x="640132" y="3821384"/>
                  <a:pt x="661580" y="3799936"/>
                </a:cubicBezTo>
                <a:cubicBezTo>
                  <a:pt x="682867" y="3821223"/>
                  <a:pt x="714590" y="3810052"/>
                  <a:pt x="725517" y="3799126"/>
                </a:cubicBezTo>
                <a:cubicBezTo>
                  <a:pt x="757326" y="3809891"/>
                  <a:pt x="768497" y="3778167"/>
                  <a:pt x="800305" y="3788933"/>
                </a:cubicBezTo>
                <a:cubicBezTo>
                  <a:pt x="821470" y="3789054"/>
                  <a:pt x="821470" y="3789054"/>
                  <a:pt x="842918" y="3767606"/>
                </a:cubicBezTo>
                <a:cubicBezTo>
                  <a:pt x="938993" y="3778699"/>
                  <a:pt x="1024622" y="3735644"/>
                  <a:pt x="1131257" y="3735444"/>
                </a:cubicBezTo>
                <a:cubicBezTo>
                  <a:pt x="1141656" y="3703757"/>
                  <a:pt x="1173587" y="3735687"/>
                  <a:pt x="1205960" y="3703314"/>
                </a:cubicBezTo>
                <a:cubicBezTo>
                  <a:pt x="1259706" y="3714163"/>
                  <a:pt x="1301951" y="3692471"/>
                  <a:pt x="1344930" y="3671512"/>
                </a:cubicBezTo>
                <a:cubicBezTo>
                  <a:pt x="1376739" y="3682277"/>
                  <a:pt x="1387260" y="3671755"/>
                  <a:pt x="1408830" y="3671472"/>
                </a:cubicBezTo>
                <a:cubicBezTo>
                  <a:pt x="1451442" y="3650147"/>
                  <a:pt x="1494460" y="3628416"/>
                  <a:pt x="1536790" y="3628661"/>
                </a:cubicBezTo>
                <a:cubicBezTo>
                  <a:pt x="1622015" y="3586008"/>
                  <a:pt x="1686282" y="3586337"/>
                  <a:pt x="1771422" y="3521749"/>
                </a:cubicBezTo>
                <a:cubicBezTo>
                  <a:pt x="1814524" y="3521955"/>
                  <a:pt x="1888945" y="3511394"/>
                  <a:pt x="1921319" y="3479020"/>
                </a:cubicBezTo>
                <a:cubicBezTo>
                  <a:pt x="1942767" y="3457572"/>
                  <a:pt x="1953166" y="3425886"/>
                  <a:pt x="1974614" y="3404439"/>
                </a:cubicBezTo>
                <a:cubicBezTo>
                  <a:pt x="1963970" y="3393795"/>
                  <a:pt x="1985135" y="3393917"/>
                  <a:pt x="1996062" y="3382990"/>
                </a:cubicBezTo>
                <a:cubicBezTo>
                  <a:pt x="2038552" y="3340500"/>
                  <a:pt x="2070804" y="3286961"/>
                  <a:pt x="2081486" y="3233705"/>
                </a:cubicBezTo>
                <a:cubicBezTo>
                  <a:pt x="2145547" y="3190932"/>
                  <a:pt x="2145747" y="3084298"/>
                  <a:pt x="2166867" y="2998584"/>
                </a:cubicBezTo>
                <a:cubicBezTo>
                  <a:pt x="2177670" y="2966493"/>
                  <a:pt x="2198713" y="2945449"/>
                  <a:pt x="2198996" y="2923880"/>
                </a:cubicBezTo>
                <a:cubicBezTo>
                  <a:pt x="2209396" y="2892193"/>
                  <a:pt x="2209274" y="2871028"/>
                  <a:pt x="2187621" y="2849374"/>
                </a:cubicBezTo>
                <a:cubicBezTo>
                  <a:pt x="2220200" y="2860103"/>
                  <a:pt x="2166334" y="2828088"/>
                  <a:pt x="2198546" y="2838449"/>
                </a:cubicBezTo>
                <a:cubicBezTo>
                  <a:pt x="2199196" y="2817246"/>
                  <a:pt x="2188270" y="2828173"/>
                  <a:pt x="2188185" y="2806236"/>
                </a:cubicBezTo>
                <a:cubicBezTo>
                  <a:pt x="2188185" y="2806236"/>
                  <a:pt x="2198707" y="2795714"/>
                  <a:pt x="2209718" y="2806725"/>
                </a:cubicBezTo>
                <a:lnTo>
                  <a:pt x="2210479" y="2802243"/>
                </a:lnTo>
                <a:lnTo>
                  <a:pt x="2209842" y="2802479"/>
                </a:lnTo>
                <a:cubicBezTo>
                  <a:pt x="2196348" y="2804669"/>
                  <a:pt x="2193558" y="2795910"/>
                  <a:pt x="2182398" y="2795910"/>
                </a:cubicBezTo>
                <a:cubicBezTo>
                  <a:pt x="2167518" y="2750754"/>
                  <a:pt x="2091403" y="2735702"/>
                  <a:pt x="2106855" y="2690546"/>
                </a:cubicBezTo>
                <a:cubicBezTo>
                  <a:pt x="2061644" y="2705598"/>
                  <a:pt x="2016433" y="2644870"/>
                  <a:pt x="1971221" y="2614766"/>
                </a:cubicBezTo>
                <a:cubicBezTo>
                  <a:pt x="1926010" y="2600233"/>
                  <a:pt x="1880227" y="2569610"/>
                  <a:pt x="1849895" y="2539506"/>
                </a:cubicBezTo>
                <a:cubicBezTo>
                  <a:pt x="1759472" y="2509402"/>
                  <a:pt x="1699381" y="2434142"/>
                  <a:pt x="1608387" y="2388466"/>
                </a:cubicBezTo>
                <a:cubicBezTo>
                  <a:pt x="1593507" y="2343829"/>
                  <a:pt x="1533416" y="2328258"/>
                  <a:pt x="1488205" y="2313206"/>
                </a:cubicBezTo>
                <a:cubicBezTo>
                  <a:pt x="1488205" y="2313206"/>
                  <a:pt x="1472753" y="2313206"/>
                  <a:pt x="1488205" y="2298154"/>
                </a:cubicBezTo>
                <a:cubicBezTo>
                  <a:pt x="1500795" y="2288292"/>
                  <a:pt x="1545434" y="2255593"/>
                  <a:pt x="1563175" y="2252998"/>
                </a:cubicBezTo>
                <a:cubicBezTo>
                  <a:pt x="1573477" y="2262860"/>
                  <a:pt x="1583206" y="2273240"/>
                  <a:pt x="1593507" y="2283102"/>
                </a:cubicBezTo>
                <a:cubicBezTo>
                  <a:pt x="1608387" y="2298154"/>
                  <a:pt x="1638718" y="2313206"/>
                  <a:pt x="1683929" y="2328258"/>
                </a:cubicBezTo>
                <a:lnTo>
                  <a:pt x="1683929" y="2343829"/>
                </a:lnTo>
                <a:lnTo>
                  <a:pt x="1729713" y="2343829"/>
                </a:lnTo>
                <a:cubicBezTo>
                  <a:pt x="1789804" y="2434142"/>
                  <a:pt x="1909986" y="2479298"/>
                  <a:pt x="2000981" y="2554558"/>
                </a:cubicBezTo>
                <a:cubicBezTo>
                  <a:pt x="2061644" y="2539506"/>
                  <a:pt x="2091403" y="2600233"/>
                  <a:pt x="2121735" y="2600233"/>
                </a:cubicBezTo>
                <a:cubicBezTo>
                  <a:pt x="2121735" y="2630337"/>
                  <a:pt x="2152066" y="2644870"/>
                  <a:pt x="2167518" y="2644870"/>
                </a:cubicBezTo>
                <a:cubicBezTo>
                  <a:pt x="2182398" y="2674975"/>
                  <a:pt x="2212730" y="2660442"/>
                  <a:pt x="2227609" y="2690546"/>
                </a:cubicBezTo>
                <a:lnTo>
                  <a:pt x="2233519" y="2696212"/>
                </a:lnTo>
                <a:lnTo>
                  <a:pt x="2238904" y="2646422"/>
                </a:lnTo>
                <a:cubicBezTo>
                  <a:pt x="2238919" y="2622460"/>
                  <a:pt x="2236237" y="2598533"/>
                  <a:pt x="2230793" y="2572046"/>
                </a:cubicBezTo>
                <a:cubicBezTo>
                  <a:pt x="2231113" y="2549705"/>
                  <a:pt x="2220837" y="2539429"/>
                  <a:pt x="2220348" y="2517897"/>
                </a:cubicBezTo>
                <a:lnTo>
                  <a:pt x="2199061" y="2496610"/>
                </a:lnTo>
                <a:cubicBezTo>
                  <a:pt x="2198818" y="2454280"/>
                  <a:pt x="2198979" y="2411546"/>
                  <a:pt x="2156038" y="2368605"/>
                </a:cubicBezTo>
                <a:cubicBezTo>
                  <a:pt x="2156443" y="2305073"/>
                  <a:pt x="2145594" y="2251328"/>
                  <a:pt x="2166920" y="2208715"/>
                </a:cubicBezTo>
                <a:cubicBezTo>
                  <a:pt x="2167364" y="2144411"/>
                  <a:pt x="2092578" y="2091477"/>
                  <a:pt x="2049919" y="2026966"/>
                </a:cubicBezTo>
                <a:cubicBezTo>
                  <a:pt x="2028510" y="1984515"/>
                  <a:pt x="1975333" y="1867398"/>
                  <a:pt x="1943035" y="1835101"/>
                </a:cubicBezTo>
                <a:cubicBezTo>
                  <a:pt x="1900339" y="1771363"/>
                  <a:pt x="1751208" y="1664317"/>
                  <a:pt x="1772412" y="1600540"/>
                </a:cubicBezTo>
                <a:cubicBezTo>
                  <a:pt x="1776403" y="1585813"/>
                  <a:pt x="1781897" y="1573932"/>
                  <a:pt x="1788581" y="1564579"/>
                </a:cubicBezTo>
                <a:close/>
              </a:path>
            </a:pathLst>
          </a:custGeom>
          <a:solidFill>
            <a:schemeClr val="bg1">
              <a:lumMod val="95000"/>
            </a:schemeClr>
          </a:solidFill>
        </p:spPr>
        <p:txBody>
          <a:bodyPr wrap="square" anchor="ctr">
            <a:noAutofit/>
          </a:bodyPr>
          <a:lstStyle>
            <a:lvl1pPr marL="0" indent="0" algn="ctr">
              <a:buFontTx/>
              <a:buNone/>
              <a:defRPr sz="1200">
                <a:solidFill>
                  <a:schemeClr val="tx1"/>
                </a:solidFill>
              </a:defRPr>
            </a:lvl1pPr>
          </a:lstStyle>
          <a:p>
            <a:r>
              <a:rPr lang="en-US"/>
              <a:t>Image</a:t>
            </a:r>
          </a:p>
        </p:txBody>
      </p:sp>
    </p:spTree>
    <p:extLst>
      <p:ext uri="{BB962C8B-B14F-4D97-AF65-F5344CB8AC3E}">
        <p14:creationId xmlns:p14="http://schemas.microsoft.com/office/powerpoint/2010/main" val="2180712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38_Custom Layout">
    <p:spTree>
      <p:nvGrpSpPr>
        <p:cNvPr id="1" name=""/>
        <p:cNvGrpSpPr/>
        <p:nvPr/>
      </p:nvGrpSpPr>
      <p:grpSpPr>
        <a:xfrm>
          <a:off x="0" y="0"/>
          <a:ext cx="0" cy="0"/>
          <a:chOff x="0" y="0"/>
          <a:chExt cx="0" cy="0"/>
        </a:xfrm>
      </p:grpSpPr>
      <p:sp>
        <p:nvSpPr>
          <p:cNvPr id="5" name="Freeform 4"/>
          <p:cNvSpPr>
            <a:spLocks noGrp="1"/>
          </p:cNvSpPr>
          <p:nvPr>
            <p:ph type="pic" sz="quarter" idx="18" hasCustomPrompt="1"/>
          </p:nvPr>
        </p:nvSpPr>
        <p:spPr>
          <a:xfrm>
            <a:off x="483344" y="245247"/>
            <a:ext cx="7613003" cy="6367505"/>
          </a:xfrm>
          <a:custGeom>
            <a:avLst/>
            <a:gdLst>
              <a:gd name="connsiteX0" fmla="*/ 6223992 w 7613003"/>
              <a:gd name="connsiteY0" fmla="*/ 4938955 h 6367505"/>
              <a:gd name="connsiteX1" fmla="*/ 6221792 w 7613003"/>
              <a:gd name="connsiteY1" fmla="*/ 4941156 h 6367505"/>
              <a:gd name="connsiteX2" fmla="*/ 6218266 w 7613003"/>
              <a:gd name="connsiteY2" fmla="*/ 4944683 h 6367505"/>
              <a:gd name="connsiteX3" fmla="*/ 6218269 w 7613003"/>
              <a:gd name="connsiteY3" fmla="*/ 4944678 h 6367505"/>
              <a:gd name="connsiteX4" fmla="*/ 6223992 w 7613003"/>
              <a:gd name="connsiteY4" fmla="*/ 4938955 h 6367505"/>
              <a:gd name="connsiteX5" fmla="*/ 5683813 w 7613003"/>
              <a:gd name="connsiteY5" fmla="*/ 4846067 h 6367505"/>
              <a:gd name="connsiteX6" fmla="*/ 5682917 w 7613003"/>
              <a:gd name="connsiteY6" fmla="*/ 4846962 h 6367505"/>
              <a:gd name="connsiteX7" fmla="*/ 5682917 w 7613003"/>
              <a:gd name="connsiteY7" fmla="*/ 4846962 h 6367505"/>
              <a:gd name="connsiteX8" fmla="*/ 5698414 w 7613003"/>
              <a:gd name="connsiteY8" fmla="*/ 4831466 h 6367505"/>
              <a:gd name="connsiteX9" fmla="*/ 5697005 w 7613003"/>
              <a:gd name="connsiteY9" fmla="*/ 4831978 h 6367505"/>
              <a:gd name="connsiteX10" fmla="*/ 5697005 w 7613003"/>
              <a:gd name="connsiteY10" fmla="*/ 4832875 h 6367505"/>
              <a:gd name="connsiteX11" fmla="*/ 353079 w 7613003"/>
              <a:gd name="connsiteY11" fmla="*/ 4516669 h 6367505"/>
              <a:gd name="connsiteX12" fmla="*/ 358466 w 7613003"/>
              <a:gd name="connsiteY12" fmla="*/ 4522056 h 6367505"/>
              <a:gd name="connsiteX13" fmla="*/ 363538 w 7613003"/>
              <a:gd name="connsiteY13" fmla="*/ 4537272 h 6367505"/>
              <a:gd name="connsiteX14" fmla="*/ 361989 w 7613003"/>
              <a:gd name="connsiteY14" fmla="*/ 4535043 h 6367505"/>
              <a:gd name="connsiteX15" fmla="*/ 302113 w 7613003"/>
              <a:gd name="connsiteY15" fmla="*/ 4409357 h 6367505"/>
              <a:gd name="connsiteX16" fmla="*/ 330290 w 7613003"/>
              <a:gd name="connsiteY16" fmla="*/ 4465706 h 6367505"/>
              <a:gd name="connsiteX17" fmla="*/ 351422 w 7613003"/>
              <a:gd name="connsiteY17" fmla="*/ 4513251 h 6367505"/>
              <a:gd name="connsiteX18" fmla="*/ 353079 w 7613003"/>
              <a:gd name="connsiteY18" fmla="*/ 4516669 h 6367505"/>
              <a:gd name="connsiteX19" fmla="*/ 344378 w 7613003"/>
              <a:gd name="connsiteY19" fmla="*/ 4507969 h 6367505"/>
              <a:gd name="connsiteX20" fmla="*/ 330290 w 7613003"/>
              <a:gd name="connsiteY20" fmla="*/ 4493882 h 6367505"/>
              <a:gd name="connsiteX21" fmla="*/ 316201 w 7613003"/>
              <a:gd name="connsiteY21" fmla="*/ 4465706 h 6367505"/>
              <a:gd name="connsiteX22" fmla="*/ 302113 w 7613003"/>
              <a:gd name="connsiteY22" fmla="*/ 4409357 h 6367505"/>
              <a:gd name="connsiteX23" fmla="*/ 288025 w 7613003"/>
              <a:gd name="connsiteY23" fmla="*/ 4395269 h 6367505"/>
              <a:gd name="connsiteX24" fmla="*/ 288025 w 7613003"/>
              <a:gd name="connsiteY24" fmla="*/ 4423444 h 6367505"/>
              <a:gd name="connsiteX25" fmla="*/ 288025 w 7613003"/>
              <a:gd name="connsiteY25" fmla="*/ 4395269 h 6367505"/>
              <a:gd name="connsiteX26" fmla="*/ 259848 w 7613003"/>
              <a:gd name="connsiteY26" fmla="*/ 4296657 h 6367505"/>
              <a:gd name="connsiteX27" fmla="*/ 273937 w 7613003"/>
              <a:gd name="connsiteY27" fmla="*/ 4324833 h 6367505"/>
              <a:gd name="connsiteX28" fmla="*/ 288025 w 7613003"/>
              <a:gd name="connsiteY28" fmla="*/ 4353007 h 6367505"/>
              <a:gd name="connsiteX29" fmla="*/ 302113 w 7613003"/>
              <a:gd name="connsiteY29" fmla="*/ 4409357 h 6367505"/>
              <a:gd name="connsiteX30" fmla="*/ 273937 w 7613003"/>
              <a:gd name="connsiteY30" fmla="*/ 4367095 h 6367505"/>
              <a:gd name="connsiteX31" fmla="*/ 259848 w 7613003"/>
              <a:gd name="connsiteY31" fmla="*/ 4324833 h 6367505"/>
              <a:gd name="connsiteX32" fmla="*/ 259848 w 7613003"/>
              <a:gd name="connsiteY32" fmla="*/ 4296657 h 6367505"/>
              <a:gd name="connsiteX33" fmla="*/ 133055 w 7613003"/>
              <a:gd name="connsiteY33" fmla="*/ 4183958 h 6367505"/>
              <a:gd name="connsiteX34" fmla="*/ 147142 w 7613003"/>
              <a:gd name="connsiteY34" fmla="*/ 4240308 h 6367505"/>
              <a:gd name="connsiteX35" fmla="*/ 133055 w 7613003"/>
              <a:gd name="connsiteY35" fmla="*/ 4183958 h 6367505"/>
              <a:gd name="connsiteX36" fmla="*/ 92039 w 7613003"/>
              <a:gd name="connsiteY36" fmla="*/ 4073399 h 6367505"/>
              <a:gd name="connsiteX37" fmla="*/ 103118 w 7613003"/>
              <a:gd name="connsiteY37" fmla="*/ 4092390 h 6367505"/>
              <a:gd name="connsiteX38" fmla="*/ 104878 w 7613003"/>
              <a:gd name="connsiteY38" fmla="*/ 4113521 h 6367505"/>
              <a:gd name="connsiteX39" fmla="*/ 92551 w 7613003"/>
              <a:gd name="connsiteY39" fmla="*/ 4080064 h 6367505"/>
              <a:gd name="connsiteX40" fmla="*/ 90789 w 7613003"/>
              <a:gd name="connsiteY40" fmla="*/ 4057172 h 6367505"/>
              <a:gd name="connsiteX41" fmla="*/ 92039 w 7613003"/>
              <a:gd name="connsiteY41" fmla="*/ 4073399 h 6367505"/>
              <a:gd name="connsiteX42" fmla="*/ 90789 w 7613003"/>
              <a:gd name="connsiteY42" fmla="*/ 4071259 h 6367505"/>
              <a:gd name="connsiteX43" fmla="*/ 90789 w 7613003"/>
              <a:gd name="connsiteY43" fmla="*/ 4057172 h 6367505"/>
              <a:gd name="connsiteX44" fmla="*/ 50726 w 7613003"/>
              <a:gd name="connsiteY44" fmla="*/ 3671089 h 6367505"/>
              <a:gd name="connsiteX45" fmla="*/ 62614 w 7613003"/>
              <a:gd name="connsiteY45" fmla="*/ 3690899 h 6367505"/>
              <a:gd name="connsiteX46" fmla="*/ 62614 w 7613003"/>
              <a:gd name="connsiteY46" fmla="*/ 3719074 h 6367505"/>
              <a:gd name="connsiteX47" fmla="*/ 48525 w 7613003"/>
              <a:gd name="connsiteY47" fmla="*/ 3676812 h 6367505"/>
              <a:gd name="connsiteX48" fmla="*/ 50726 w 7613003"/>
              <a:gd name="connsiteY48" fmla="*/ 3671089 h 6367505"/>
              <a:gd name="connsiteX49" fmla="*/ 7359416 w 7613003"/>
              <a:gd name="connsiteY49" fmla="*/ 2859742 h 6367505"/>
              <a:gd name="connsiteX50" fmla="*/ 7359416 w 7613003"/>
              <a:gd name="connsiteY50" fmla="*/ 2887917 h 6367505"/>
              <a:gd name="connsiteX51" fmla="*/ 5740166 w 7613003"/>
              <a:gd name="connsiteY51" fmla="*/ 2859742 h 6367505"/>
              <a:gd name="connsiteX52" fmla="*/ 5740166 w 7613003"/>
              <a:gd name="connsiteY52" fmla="*/ 2887917 h 6367505"/>
              <a:gd name="connsiteX53" fmla="*/ 7358520 w 7613003"/>
              <a:gd name="connsiteY53" fmla="*/ 2844503 h 6367505"/>
              <a:gd name="connsiteX54" fmla="*/ 7359416 w 7613003"/>
              <a:gd name="connsiteY54" fmla="*/ 2845655 h 6367505"/>
              <a:gd name="connsiteX55" fmla="*/ 7359416 w 7613003"/>
              <a:gd name="connsiteY55" fmla="*/ 2859742 h 6367505"/>
              <a:gd name="connsiteX56" fmla="*/ 5739270 w 7613003"/>
              <a:gd name="connsiteY56" fmla="*/ 2844503 h 6367505"/>
              <a:gd name="connsiteX57" fmla="*/ 5740166 w 7613003"/>
              <a:gd name="connsiteY57" fmla="*/ 2845655 h 6367505"/>
              <a:gd name="connsiteX58" fmla="*/ 5740166 w 7613003"/>
              <a:gd name="connsiteY58" fmla="*/ 2859742 h 6367505"/>
              <a:gd name="connsiteX59" fmla="*/ 7345327 w 7613003"/>
              <a:gd name="connsiteY59" fmla="*/ 2789306 h 6367505"/>
              <a:gd name="connsiteX60" fmla="*/ 7357655 w 7613003"/>
              <a:gd name="connsiteY60" fmla="*/ 2829808 h 6367505"/>
              <a:gd name="connsiteX61" fmla="*/ 7358520 w 7613003"/>
              <a:gd name="connsiteY61" fmla="*/ 2844503 h 6367505"/>
              <a:gd name="connsiteX62" fmla="*/ 7347089 w 7613003"/>
              <a:gd name="connsiteY62" fmla="*/ 2829808 h 6367505"/>
              <a:gd name="connsiteX63" fmla="*/ 7345327 w 7613003"/>
              <a:gd name="connsiteY63" fmla="*/ 2803393 h 6367505"/>
              <a:gd name="connsiteX64" fmla="*/ 7345327 w 7613003"/>
              <a:gd name="connsiteY64" fmla="*/ 2789306 h 6367505"/>
              <a:gd name="connsiteX65" fmla="*/ 5726077 w 7613003"/>
              <a:gd name="connsiteY65" fmla="*/ 2789306 h 6367505"/>
              <a:gd name="connsiteX66" fmla="*/ 5738405 w 7613003"/>
              <a:gd name="connsiteY66" fmla="*/ 2829808 h 6367505"/>
              <a:gd name="connsiteX67" fmla="*/ 5739270 w 7613003"/>
              <a:gd name="connsiteY67" fmla="*/ 2844503 h 6367505"/>
              <a:gd name="connsiteX68" fmla="*/ 5727839 w 7613003"/>
              <a:gd name="connsiteY68" fmla="*/ 2829808 h 6367505"/>
              <a:gd name="connsiteX69" fmla="*/ 5726077 w 7613003"/>
              <a:gd name="connsiteY69" fmla="*/ 2803393 h 6367505"/>
              <a:gd name="connsiteX70" fmla="*/ 5726077 w 7613003"/>
              <a:gd name="connsiteY70" fmla="*/ 2789306 h 6367505"/>
              <a:gd name="connsiteX71" fmla="*/ 7401680 w 7613003"/>
              <a:gd name="connsiteY71" fmla="*/ 2690693 h 6367505"/>
              <a:gd name="connsiteX72" fmla="*/ 7415769 w 7613003"/>
              <a:gd name="connsiteY72" fmla="*/ 2747044 h 6367505"/>
              <a:gd name="connsiteX73" fmla="*/ 7415769 w 7613003"/>
              <a:gd name="connsiteY73" fmla="*/ 2761131 h 6367505"/>
              <a:gd name="connsiteX74" fmla="*/ 7401680 w 7613003"/>
              <a:gd name="connsiteY74" fmla="*/ 2690693 h 6367505"/>
              <a:gd name="connsiteX75" fmla="*/ 5782430 w 7613003"/>
              <a:gd name="connsiteY75" fmla="*/ 2690693 h 6367505"/>
              <a:gd name="connsiteX76" fmla="*/ 5796519 w 7613003"/>
              <a:gd name="connsiteY76" fmla="*/ 2747044 h 6367505"/>
              <a:gd name="connsiteX77" fmla="*/ 5796519 w 7613003"/>
              <a:gd name="connsiteY77" fmla="*/ 2761131 h 6367505"/>
              <a:gd name="connsiteX78" fmla="*/ 5782430 w 7613003"/>
              <a:gd name="connsiteY78" fmla="*/ 2690693 h 6367505"/>
              <a:gd name="connsiteX79" fmla="*/ 7345327 w 7613003"/>
              <a:gd name="connsiteY79" fmla="*/ 2676606 h 6367505"/>
              <a:gd name="connsiteX80" fmla="*/ 7373504 w 7613003"/>
              <a:gd name="connsiteY80" fmla="*/ 2789306 h 6367505"/>
              <a:gd name="connsiteX81" fmla="*/ 7387591 w 7613003"/>
              <a:gd name="connsiteY81" fmla="*/ 2887917 h 6367505"/>
              <a:gd name="connsiteX82" fmla="*/ 7401680 w 7613003"/>
              <a:gd name="connsiteY82" fmla="*/ 2930180 h 6367505"/>
              <a:gd name="connsiteX83" fmla="*/ 7401680 w 7613003"/>
              <a:gd name="connsiteY83" fmla="*/ 2958355 h 6367505"/>
              <a:gd name="connsiteX84" fmla="*/ 7359416 w 7613003"/>
              <a:gd name="connsiteY84" fmla="*/ 2775218 h 6367505"/>
              <a:gd name="connsiteX85" fmla="*/ 7345327 w 7613003"/>
              <a:gd name="connsiteY85" fmla="*/ 2732957 h 6367505"/>
              <a:gd name="connsiteX86" fmla="*/ 7345327 w 7613003"/>
              <a:gd name="connsiteY86" fmla="*/ 2724151 h 6367505"/>
              <a:gd name="connsiteX87" fmla="*/ 7345327 w 7613003"/>
              <a:gd name="connsiteY87" fmla="*/ 2710725 h 6367505"/>
              <a:gd name="connsiteX88" fmla="*/ 7345327 w 7613003"/>
              <a:gd name="connsiteY88" fmla="*/ 2710064 h 6367505"/>
              <a:gd name="connsiteX89" fmla="*/ 7345327 w 7613003"/>
              <a:gd name="connsiteY89" fmla="*/ 2704782 h 6367505"/>
              <a:gd name="connsiteX90" fmla="*/ 7345327 w 7613003"/>
              <a:gd name="connsiteY90" fmla="*/ 2692455 h 6367505"/>
              <a:gd name="connsiteX91" fmla="*/ 7345327 w 7613003"/>
              <a:gd name="connsiteY91" fmla="*/ 2690693 h 6367505"/>
              <a:gd name="connsiteX92" fmla="*/ 7345327 w 7613003"/>
              <a:gd name="connsiteY92" fmla="*/ 2685411 h 6367505"/>
              <a:gd name="connsiteX93" fmla="*/ 7345327 w 7613003"/>
              <a:gd name="connsiteY93" fmla="*/ 2676606 h 6367505"/>
              <a:gd name="connsiteX94" fmla="*/ 5726077 w 7613003"/>
              <a:gd name="connsiteY94" fmla="*/ 2676606 h 6367505"/>
              <a:gd name="connsiteX95" fmla="*/ 5754254 w 7613003"/>
              <a:gd name="connsiteY95" fmla="*/ 2789306 h 6367505"/>
              <a:gd name="connsiteX96" fmla="*/ 5768341 w 7613003"/>
              <a:gd name="connsiteY96" fmla="*/ 2887917 h 6367505"/>
              <a:gd name="connsiteX97" fmla="*/ 5782430 w 7613003"/>
              <a:gd name="connsiteY97" fmla="*/ 2930180 h 6367505"/>
              <a:gd name="connsiteX98" fmla="*/ 5782430 w 7613003"/>
              <a:gd name="connsiteY98" fmla="*/ 2958355 h 6367505"/>
              <a:gd name="connsiteX99" fmla="*/ 5740166 w 7613003"/>
              <a:gd name="connsiteY99" fmla="*/ 2775218 h 6367505"/>
              <a:gd name="connsiteX100" fmla="*/ 5726077 w 7613003"/>
              <a:gd name="connsiteY100" fmla="*/ 2732957 h 6367505"/>
              <a:gd name="connsiteX101" fmla="*/ 5726077 w 7613003"/>
              <a:gd name="connsiteY101" fmla="*/ 2724151 h 6367505"/>
              <a:gd name="connsiteX102" fmla="*/ 5726077 w 7613003"/>
              <a:gd name="connsiteY102" fmla="*/ 2710725 h 6367505"/>
              <a:gd name="connsiteX103" fmla="*/ 5726077 w 7613003"/>
              <a:gd name="connsiteY103" fmla="*/ 2710064 h 6367505"/>
              <a:gd name="connsiteX104" fmla="*/ 5726077 w 7613003"/>
              <a:gd name="connsiteY104" fmla="*/ 2704782 h 6367505"/>
              <a:gd name="connsiteX105" fmla="*/ 5726077 w 7613003"/>
              <a:gd name="connsiteY105" fmla="*/ 2692455 h 6367505"/>
              <a:gd name="connsiteX106" fmla="*/ 5726077 w 7613003"/>
              <a:gd name="connsiteY106" fmla="*/ 2690693 h 6367505"/>
              <a:gd name="connsiteX107" fmla="*/ 5726077 w 7613003"/>
              <a:gd name="connsiteY107" fmla="*/ 2685411 h 6367505"/>
              <a:gd name="connsiteX108" fmla="*/ 5726077 w 7613003"/>
              <a:gd name="connsiteY108" fmla="*/ 2676606 h 6367505"/>
              <a:gd name="connsiteX109" fmla="*/ 7176268 w 7613003"/>
              <a:gd name="connsiteY109" fmla="*/ 2437121 h 6367505"/>
              <a:gd name="connsiteX110" fmla="*/ 7176268 w 7613003"/>
              <a:gd name="connsiteY110" fmla="*/ 2451208 h 6367505"/>
              <a:gd name="connsiteX111" fmla="*/ 7176268 w 7613003"/>
              <a:gd name="connsiteY111" fmla="*/ 2437121 h 6367505"/>
              <a:gd name="connsiteX112" fmla="*/ 5557018 w 7613003"/>
              <a:gd name="connsiteY112" fmla="*/ 2437121 h 6367505"/>
              <a:gd name="connsiteX113" fmla="*/ 5557018 w 7613003"/>
              <a:gd name="connsiteY113" fmla="*/ 2451208 h 6367505"/>
              <a:gd name="connsiteX114" fmla="*/ 5557018 w 7613003"/>
              <a:gd name="connsiteY114" fmla="*/ 2437121 h 6367505"/>
              <a:gd name="connsiteX115" fmla="*/ 7280169 w 7613003"/>
              <a:gd name="connsiteY115" fmla="*/ 2415990 h 6367505"/>
              <a:gd name="connsiteX116" fmla="*/ 7288974 w 7613003"/>
              <a:gd name="connsiteY116" fmla="*/ 2451208 h 6367505"/>
              <a:gd name="connsiteX117" fmla="*/ 7280169 w 7613003"/>
              <a:gd name="connsiteY117" fmla="*/ 2415990 h 6367505"/>
              <a:gd name="connsiteX118" fmla="*/ 5660919 w 7613003"/>
              <a:gd name="connsiteY118" fmla="*/ 2415990 h 6367505"/>
              <a:gd name="connsiteX119" fmla="*/ 5669724 w 7613003"/>
              <a:gd name="connsiteY119" fmla="*/ 2451208 h 6367505"/>
              <a:gd name="connsiteX120" fmla="*/ 5660919 w 7613003"/>
              <a:gd name="connsiteY120" fmla="*/ 2415990 h 6367505"/>
              <a:gd name="connsiteX121" fmla="*/ 3515093 w 7613003"/>
              <a:gd name="connsiteY121" fmla="*/ 2408946 h 6367505"/>
              <a:gd name="connsiteX122" fmla="*/ 3520376 w 7613003"/>
              <a:gd name="connsiteY122" fmla="*/ 2408946 h 6367505"/>
              <a:gd name="connsiteX123" fmla="*/ 3527420 w 7613003"/>
              <a:gd name="connsiteY123" fmla="*/ 2408946 h 6367505"/>
              <a:gd name="connsiteX124" fmla="*/ 3513333 w 7613003"/>
              <a:gd name="connsiteY124" fmla="*/ 2437121 h 6367505"/>
              <a:gd name="connsiteX125" fmla="*/ 3485156 w 7613003"/>
              <a:gd name="connsiteY125" fmla="*/ 2479383 h 6367505"/>
              <a:gd name="connsiteX126" fmla="*/ 3485156 w 7613003"/>
              <a:gd name="connsiteY126" fmla="*/ 2465295 h 6367505"/>
              <a:gd name="connsiteX127" fmla="*/ 3488287 w 7613003"/>
              <a:gd name="connsiteY127" fmla="*/ 2460599 h 6367505"/>
              <a:gd name="connsiteX128" fmla="*/ 3490439 w 7613003"/>
              <a:gd name="connsiteY128" fmla="*/ 2458252 h 6367505"/>
              <a:gd name="connsiteX129" fmla="*/ 3491417 w 7613003"/>
              <a:gd name="connsiteY129" fmla="*/ 2455904 h 6367505"/>
              <a:gd name="connsiteX130" fmla="*/ 3499244 w 7613003"/>
              <a:gd name="connsiteY130" fmla="*/ 2444164 h 6367505"/>
              <a:gd name="connsiteX131" fmla="*/ 3513333 w 7613003"/>
              <a:gd name="connsiteY131" fmla="*/ 2423033 h 6367505"/>
              <a:gd name="connsiteX132" fmla="*/ 3515093 w 7613003"/>
              <a:gd name="connsiteY132" fmla="*/ 2408946 h 6367505"/>
              <a:gd name="connsiteX133" fmla="*/ 7166821 w 7613003"/>
              <a:gd name="connsiteY133" fmla="*/ 2402814 h 6367505"/>
              <a:gd name="connsiteX134" fmla="*/ 7174508 w 7613003"/>
              <a:gd name="connsiteY134" fmla="*/ 2415990 h 6367505"/>
              <a:gd name="connsiteX135" fmla="*/ 7176268 w 7613003"/>
              <a:gd name="connsiteY135" fmla="*/ 2437121 h 6367505"/>
              <a:gd name="connsiteX136" fmla="*/ 7169225 w 7613003"/>
              <a:gd name="connsiteY136" fmla="*/ 2414228 h 6367505"/>
              <a:gd name="connsiteX137" fmla="*/ 5547571 w 7613003"/>
              <a:gd name="connsiteY137" fmla="*/ 2402814 h 6367505"/>
              <a:gd name="connsiteX138" fmla="*/ 5555258 w 7613003"/>
              <a:gd name="connsiteY138" fmla="*/ 2415990 h 6367505"/>
              <a:gd name="connsiteX139" fmla="*/ 5557018 w 7613003"/>
              <a:gd name="connsiteY139" fmla="*/ 2437121 h 6367505"/>
              <a:gd name="connsiteX140" fmla="*/ 5549975 w 7613003"/>
              <a:gd name="connsiteY140" fmla="*/ 2414228 h 6367505"/>
              <a:gd name="connsiteX141" fmla="*/ 7260798 w 7613003"/>
              <a:gd name="connsiteY141" fmla="*/ 2380771 h 6367505"/>
              <a:gd name="connsiteX142" fmla="*/ 7280169 w 7613003"/>
              <a:gd name="connsiteY142" fmla="*/ 2415990 h 6367505"/>
              <a:gd name="connsiteX143" fmla="*/ 7260798 w 7613003"/>
              <a:gd name="connsiteY143" fmla="*/ 2380771 h 6367505"/>
              <a:gd name="connsiteX144" fmla="*/ 7155418 w 7613003"/>
              <a:gd name="connsiteY144" fmla="*/ 2380771 h 6367505"/>
              <a:gd name="connsiteX145" fmla="*/ 7162181 w 7613003"/>
              <a:gd name="connsiteY145" fmla="*/ 2380771 h 6367505"/>
              <a:gd name="connsiteX146" fmla="*/ 7166821 w 7613003"/>
              <a:gd name="connsiteY146" fmla="*/ 2402814 h 6367505"/>
              <a:gd name="connsiteX147" fmla="*/ 7162181 w 7613003"/>
              <a:gd name="connsiteY147" fmla="*/ 2394859 h 6367505"/>
              <a:gd name="connsiteX148" fmla="*/ 5641548 w 7613003"/>
              <a:gd name="connsiteY148" fmla="*/ 2380771 h 6367505"/>
              <a:gd name="connsiteX149" fmla="*/ 5660919 w 7613003"/>
              <a:gd name="connsiteY149" fmla="*/ 2415990 h 6367505"/>
              <a:gd name="connsiteX150" fmla="*/ 5641548 w 7613003"/>
              <a:gd name="connsiteY150" fmla="*/ 2380771 h 6367505"/>
              <a:gd name="connsiteX151" fmla="*/ 5536168 w 7613003"/>
              <a:gd name="connsiteY151" fmla="*/ 2380771 h 6367505"/>
              <a:gd name="connsiteX152" fmla="*/ 5542931 w 7613003"/>
              <a:gd name="connsiteY152" fmla="*/ 2380771 h 6367505"/>
              <a:gd name="connsiteX153" fmla="*/ 5547571 w 7613003"/>
              <a:gd name="connsiteY153" fmla="*/ 2402814 h 6367505"/>
              <a:gd name="connsiteX154" fmla="*/ 5542931 w 7613003"/>
              <a:gd name="connsiteY154" fmla="*/ 2394859 h 6367505"/>
              <a:gd name="connsiteX155" fmla="*/ 7246710 w 7613003"/>
              <a:gd name="connsiteY155" fmla="*/ 2352596 h 6367505"/>
              <a:gd name="connsiteX156" fmla="*/ 7260798 w 7613003"/>
              <a:gd name="connsiteY156" fmla="*/ 2366684 h 6367505"/>
              <a:gd name="connsiteX157" fmla="*/ 7260798 w 7613003"/>
              <a:gd name="connsiteY157" fmla="*/ 2380771 h 6367505"/>
              <a:gd name="connsiteX158" fmla="*/ 7260798 w 7613003"/>
              <a:gd name="connsiteY158" fmla="*/ 2394859 h 6367505"/>
              <a:gd name="connsiteX159" fmla="*/ 7246710 w 7613003"/>
              <a:gd name="connsiteY159" fmla="*/ 2352596 h 6367505"/>
              <a:gd name="connsiteX160" fmla="*/ 5627460 w 7613003"/>
              <a:gd name="connsiteY160" fmla="*/ 2352596 h 6367505"/>
              <a:gd name="connsiteX161" fmla="*/ 5641548 w 7613003"/>
              <a:gd name="connsiteY161" fmla="*/ 2366684 h 6367505"/>
              <a:gd name="connsiteX162" fmla="*/ 5641548 w 7613003"/>
              <a:gd name="connsiteY162" fmla="*/ 2380771 h 6367505"/>
              <a:gd name="connsiteX163" fmla="*/ 5641548 w 7613003"/>
              <a:gd name="connsiteY163" fmla="*/ 2394859 h 6367505"/>
              <a:gd name="connsiteX164" fmla="*/ 5627460 w 7613003"/>
              <a:gd name="connsiteY164" fmla="*/ 2352596 h 6367505"/>
              <a:gd name="connsiteX165" fmla="*/ 3555597 w 7613003"/>
              <a:gd name="connsiteY165" fmla="*/ 2352596 h 6367505"/>
              <a:gd name="connsiteX166" fmla="*/ 3569684 w 7613003"/>
              <a:gd name="connsiteY166" fmla="*/ 2352596 h 6367505"/>
              <a:gd name="connsiteX167" fmla="*/ 3527420 w 7613003"/>
              <a:gd name="connsiteY167" fmla="*/ 2408946 h 6367505"/>
              <a:gd name="connsiteX168" fmla="*/ 3527420 w 7613003"/>
              <a:gd name="connsiteY168" fmla="*/ 2394859 h 6367505"/>
              <a:gd name="connsiteX169" fmla="*/ 3541509 w 7613003"/>
              <a:gd name="connsiteY169" fmla="*/ 2373728 h 6367505"/>
              <a:gd name="connsiteX170" fmla="*/ 3555597 w 7613003"/>
              <a:gd name="connsiteY170" fmla="*/ 2366684 h 6367505"/>
              <a:gd name="connsiteX171" fmla="*/ 3555597 w 7613003"/>
              <a:gd name="connsiteY171" fmla="*/ 2352596 h 6367505"/>
              <a:gd name="connsiteX172" fmla="*/ 3581308 w 7613003"/>
              <a:gd name="connsiteY172" fmla="*/ 2325830 h 6367505"/>
              <a:gd name="connsiteX173" fmla="*/ 3569684 w 7613003"/>
              <a:gd name="connsiteY173" fmla="*/ 2338508 h 6367505"/>
              <a:gd name="connsiteX174" fmla="*/ 3571446 w 7613003"/>
              <a:gd name="connsiteY174" fmla="*/ 2331465 h 6367505"/>
              <a:gd name="connsiteX175" fmla="*/ 3582600 w 7613003"/>
              <a:gd name="connsiteY175" fmla="*/ 2324421 h 6367505"/>
              <a:gd name="connsiteX176" fmla="*/ 3583773 w 7613003"/>
              <a:gd name="connsiteY176" fmla="*/ 2324421 h 6367505"/>
              <a:gd name="connsiteX177" fmla="*/ 3581308 w 7613003"/>
              <a:gd name="connsiteY177" fmla="*/ 2325830 h 6367505"/>
              <a:gd name="connsiteX178" fmla="*/ 7091739 w 7613003"/>
              <a:gd name="connsiteY178" fmla="*/ 2253985 h 6367505"/>
              <a:gd name="connsiteX179" fmla="*/ 7105828 w 7613003"/>
              <a:gd name="connsiteY179" fmla="*/ 2268072 h 6367505"/>
              <a:gd name="connsiteX180" fmla="*/ 7119917 w 7613003"/>
              <a:gd name="connsiteY180" fmla="*/ 2296246 h 6367505"/>
              <a:gd name="connsiteX181" fmla="*/ 7141049 w 7613003"/>
              <a:gd name="connsiteY181" fmla="*/ 2350836 h 6367505"/>
              <a:gd name="connsiteX182" fmla="*/ 7155418 w 7613003"/>
              <a:gd name="connsiteY182" fmla="*/ 2380771 h 6367505"/>
              <a:gd name="connsiteX183" fmla="*/ 7155136 w 7613003"/>
              <a:gd name="connsiteY183" fmla="*/ 2380771 h 6367505"/>
              <a:gd name="connsiteX184" fmla="*/ 7148092 w 7613003"/>
              <a:gd name="connsiteY184" fmla="*/ 2380771 h 6367505"/>
              <a:gd name="connsiteX185" fmla="*/ 7134004 w 7613003"/>
              <a:gd name="connsiteY185" fmla="*/ 2366684 h 6367505"/>
              <a:gd name="connsiteX186" fmla="*/ 7134004 w 7613003"/>
              <a:gd name="connsiteY186" fmla="*/ 2352596 h 6367505"/>
              <a:gd name="connsiteX187" fmla="*/ 7134004 w 7613003"/>
              <a:gd name="connsiteY187" fmla="*/ 2338508 h 6367505"/>
              <a:gd name="connsiteX188" fmla="*/ 7091739 w 7613003"/>
              <a:gd name="connsiteY188" fmla="*/ 2268072 h 6367505"/>
              <a:gd name="connsiteX189" fmla="*/ 7091739 w 7613003"/>
              <a:gd name="connsiteY189" fmla="*/ 2253985 h 6367505"/>
              <a:gd name="connsiteX190" fmla="*/ 5472489 w 7613003"/>
              <a:gd name="connsiteY190" fmla="*/ 2253985 h 6367505"/>
              <a:gd name="connsiteX191" fmla="*/ 5486578 w 7613003"/>
              <a:gd name="connsiteY191" fmla="*/ 2268072 h 6367505"/>
              <a:gd name="connsiteX192" fmla="*/ 5500667 w 7613003"/>
              <a:gd name="connsiteY192" fmla="*/ 2296246 h 6367505"/>
              <a:gd name="connsiteX193" fmla="*/ 5521799 w 7613003"/>
              <a:gd name="connsiteY193" fmla="*/ 2350836 h 6367505"/>
              <a:gd name="connsiteX194" fmla="*/ 5536168 w 7613003"/>
              <a:gd name="connsiteY194" fmla="*/ 2380771 h 6367505"/>
              <a:gd name="connsiteX195" fmla="*/ 5535886 w 7613003"/>
              <a:gd name="connsiteY195" fmla="*/ 2380771 h 6367505"/>
              <a:gd name="connsiteX196" fmla="*/ 5528842 w 7613003"/>
              <a:gd name="connsiteY196" fmla="*/ 2380771 h 6367505"/>
              <a:gd name="connsiteX197" fmla="*/ 5514754 w 7613003"/>
              <a:gd name="connsiteY197" fmla="*/ 2366684 h 6367505"/>
              <a:gd name="connsiteX198" fmla="*/ 5514754 w 7613003"/>
              <a:gd name="connsiteY198" fmla="*/ 2352596 h 6367505"/>
              <a:gd name="connsiteX199" fmla="*/ 5514754 w 7613003"/>
              <a:gd name="connsiteY199" fmla="*/ 2338508 h 6367505"/>
              <a:gd name="connsiteX200" fmla="*/ 5472489 w 7613003"/>
              <a:gd name="connsiteY200" fmla="*/ 2268072 h 6367505"/>
              <a:gd name="connsiteX201" fmla="*/ 5472489 w 7613003"/>
              <a:gd name="connsiteY201" fmla="*/ 2253985 h 6367505"/>
              <a:gd name="connsiteX202" fmla="*/ 101747 w 7613003"/>
              <a:gd name="connsiteY202" fmla="*/ 2036412 h 6367505"/>
              <a:gd name="connsiteX203" fmla="*/ 99595 w 7613003"/>
              <a:gd name="connsiteY203" fmla="*/ 2039152 h 6367505"/>
              <a:gd name="connsiteX204" fmla="*/ 90789 w 7613003"/>
              <a:gd name="connsiteY204" fmla="*/ 2042674 h 6367505"/>
              <a:gd name="connsiteX205" fmla="*/ 103469 w 7613003"/>
              <a:gd name="connsiteY205" fmla="*/ 2034221 h 6367505"/>
              <a:gd name="connsiteX206" fmla="*/ 103118 w 7613003"/>
              <a:gd name="connsiteY206" fmla="*/ 2035630 h 6367505"/>
              <a:gd name="connsiteX207" fmla="*/ 101747 w 7613003"/>
              <a:gd name="connsiteY207" fmla="*/ 2036412 h 6367505"/>
              <a:gd name="connsiteX208" fmla="*/ 104878 w 7613003"/>
              <a:gd name="connsiteY208" fmla="*/ 2014499 h 6367505"/>
              <a:gd name="connsiteX209" fmla="*/ 118967 w 7613003"/>
              <a:gd name="connsiteY209" fmla="*/ 2014499 h 6367505"/>
              <a:gd name="connsiteX210" fmla="*/ 103469 w 7613003"/>
              <a:gd name="connsiteY210" fmla="*/ 2034221 h 6367505"/>
              <a:gd name="connsiteX211" fmla="*/ 104878 w 7613003"/>
              <a:gd name="connsiteY211" fmla="*/ 2028587 h 6367505"/>
              <a:gd name="connsiteX212" fmla="*/ 104878 w 7613003"/>
              <a:gd name="connsiteY212" fmla="*/ 2014499 h 6367505"/>
              <a:gd name="connsiteX213" fmla="*/ 330290 w 7613003"/>
              <a:gd name="connsiteY213" fmla="*/ 1944061 h 6367505"/>
              <a:gd name="connsiteX214" fmla="*/ 330290 w 7613003"/>
              <a:gd name="connsiteY214" fmla="*/ 1972236 h 6367505"/>
              <a:gd name="connsiteX215" fmla="*/ 330290 w 7613003"/>
              <a:gd name="connsiteY215" fmla="*/ 1944061 h 6367505"/>
              <a:gd name="connsiteX216" fmla="*/ 6556388 w 7613003"/>
              <a:gd name="connsiteY216" fmla="*/ 1648227 h 6367505"/>
              <a:gd name="connsiteX217" fmla="*/ 6570476 w 7613003"/>
              <a:gd name="connsiteY217" fmla="*/ 1657031 h 6367505"/>
              <a:gd name="connsiteX218" fmla="*/ 6584563 w 7613003"/>
              <a:gd name="connsiteY218" fmla="*/ 1676401 h 6367505"/>
              <a:gd name="connsiteX219" fmla="*/ 6561670 w 7613003"/>
              <a:gd name="connsiteY219" fmla="*/ 1653509 h 6367505"/>
              <a:gd name="connsiteX220" fmla="*/ 4937138 w 7613003"/>
              <a:gd name="connsiteY220" fmla="*/ 1648227 h 6367505"/>
              <a:gd name="connsiteX221" fmla="*/ 4951226 w 7613003"/>
              <a:gd name="connsiteY221" fmla="*/ 1657031 h 6367505"/>
              <a:gd name="connsiteX222" fmla="*/ 4965313 w 7613003"/>
              <a:gd name="connsiteY222" fmla="*/ 1676401 h 6367505"/>
              <a:gd name="connsiteX223" fmla="*/ 4942420 w 7613003"/>
              <a:gd name="connsiteY223" fmla="*/ 1653509 h 6367505"/>
              <a:gd name="connsiteX224" fmla="*/ 6542300 w 7613003"/>
              <a:gd name="connsiteY224" fmla="*/ 1634140 h 6367505"/>
              <a:gd name="connsiteX225" fmla="*/ 6554627 w 7613003"/>
              <a:gd name="connsiteY225" fmla="*/ 1641183 h 6367505"/>
              <a:gd name="connsiteX226" fmla="*/ 6556387 w 7613003"/>
              <a:gd name="connsiteY226" fmla="*/ 1648227 h 6367505"/>
              <a:gd name="connsiteX227" fmla="*/ 4923050 w 7613003"/>
              <a:gd name="connsiteY227" fmla="*/ 1634140 h 6367505"/>
              <a:gd name="connsiteX228" fmla="*/ 4935377 w 7613003"/>
              <a:gd name="connsiteY228" fmla="*/ 1641183 h 6367505"/>
              <a:gd name="connsiteX229" fmla="*/ 4937137 w 7613003"/>
              <a:gd name="connsiteY229" fmla="*/ 1648227 h 6367505"/>
              <a:gd name="connsiteX230" fmla="*/ 6415505 w 7613003"/>
              <a:gd name="connsiteY230" fmla="*/ 1577789 h 6367505"/>
              <a:gd name="connsiteX231" fmla="*/ 6457770 w 7613003"/>
              <a:gd name="connsiteY231" fmla="*/ 1605964 h 6367505"/>
              <a:gd name="connsiteX232" fmla="*/ 6528211 w 7613003"/>
              <a:gd name="connsiteY232" fmla="*/ 1676401 h 6367505"/>
              <a:gd name="connsiteX233" fmla="*/ 6542298 w 7613003"/>
              <a:gd name="connsiteY233" fmla="*/ 1690489 h 6367505"/>
              <a:gd name="connsiteX234" fmla="*/ 6485946 w 7613003"/>
              <a:gd name="connsiteY234" fmla="*/ 1634138 h 6367505"/>
              <a:gd name="connsiteX235" fmla="*/ 6457770 w 7613003"/>
              <a:gd name="connsiteY235" fmla="*/ 1620051 h 6367505"/>
              <a:gd name="connsiteX236" fmla="*/ 6429593 w 7613003"/>
              <a:gd name="connsiteY236" fmla="*/ 1605964 h 6367505"/>
              <a:gd name="connsiteX237" fmla="*/ 6415505 w 7613003"/>
              <a:gd name="connsiteY237" fmla="*/ 1577789 h 6367505"/>
              <a:gd name="connsiteX238" fmla="*/ 4796255 w 7613003"/>
              <a:gd name="connsiteY238" fmla="*/ 1577789 h 6367505"/>
              <a:gd name="connsiteX239" fmla="*/ 4838520 w 7613003"/>
              <a:gd name="connsiteY239" fmla="*/ 1605964 h 6367505"/>
              <a:gd name="connsiteX240" fmla="*/ 4908961 w 7613003"/>
              <a:gd name="connsiteY240" fmla="*/ 1676401 h 6367505"/>
              <a:gd name="connsiteX241" fmla="*/ 4923048 w 7613003"/>
              <a:gd name="connsiteY241" fmla="*/ 1690489 h 6367505"/>
              <a:gd name="connsiteX242" fmla="*/ 4866696 w 7613003"/>
              <a:gd name="connsiteY242" fmla="*/ 1634138 h 6367505"/>
              <a:gd name="connsiteX243" fmla="*/ 4838520 w 7613003"/>
              <a:gd name="connsiteY243" fmla="*/ 1620051 h 6367505"/>
              <a:gd name="connsiteX244" fmla="*/ 4810343 w 7613003"/>
              <a:gd name="connsiteY244" fmla="*/ 1605964 h 6367505"/>
              <a:gd name="connsiteX245" fmla="*/ 4796255 w 7613003"/>
              <a:gd name="connsiteY245" fmla="*/ 1577789 h 6367505"/>
              <a:gd name="connsiteX246" fmla="*/ 6471858 w 7613003"/>
              <a:gd name="connsiteY246" fmla="*/ 1563702 h 6367505"/>
              <a:gd name="connsiteX247" fmla="*/ 6485946 w 7613003"/>
              <a:gd name="connsiteY247" fmla="*/ 1577789 h 6367505"/>
              <a:gd name="connsiteX248" fmla="*/ 6514123 w 7613003"/>
              <a:gd name="connsiteY248" fmla="*/ 1591876 h 6367505"/>
              <a:gd name="connsiteX249" fmla="*/ 6533493 w 7613003"/>
              <a:gd name="connsiteY249" fmla="*/ 1613007 h 6367505"/>
              <a:gd name="connsiteX250" fmla="*/ 6542298 w 7613003"/>
              <a:gd name="connsiteY250" fmla="*/ 1634138 h 6367505"/>
              <a:gd name="connsiteX251" fmla="*/ 6528211 w 7613003"/>
              <a:gd name="connsiteY251" fmla="*/ 1620051 h 6367505"/>
              <a:gd name="connsiteX252" fmla="*/ 6514123 w 7613003"/>
              <a:gd name="connsiteY252" fmla="*/ 1620051 h 6367505"/>
              <a:gd name="connsiteX253" fmla="*/ 6514123 w 7613003"/>
              <a:gd name="connsiteY253" fmla="*/ 1605964 h 6367505"/>
              <a:gd name="connsiteX254" fmla="*/ 6485946 w 7613003"/>
              <a:gd name="connsiteY254" fmla="*/ 1591876 h 6367505"/>
              <a:gd name="connsiteX255" fmla="*/ 6471858 w 7613003"/>
              <a:gd name="connsiteY255" fmla="*/ 1563702 h 6367505"/>
              <a:gd name="connsiteX256" fmla="*/ 4852608 w 7613003"/>
              <a:gd name="connsiteY256" fmla="*/ 1563702 h 6367505"/>
              <a:gd name="connsiteX257" fmla="*/ 4866696 w 7613003"/>
              <a:gd name="connsiteY257" fmla="*/ 1577789 h 6367505"/>
              <a:gd name="connsiteX258" fmla="*/ 4894873 w 7613003"/>
              <a:gd name="connsiteY258" fmla="*/ 1591876 h 6367505"/>
              <a:gd name="connsiteX259" fmla="*/ 4914243 w 7613003"/>
              <a:gd name="connsiteY259" fmla="*/ 1613007 h 6367505"/>
              <a:gd name="connsiteX260" fmla="*/ 4923048 w 7613003"/>
              <a:gd name="connsiteY260" fmla="*/ 1634138 h 6367505"/>
              <a:gd name="connsiteX261" fmla="*/ 4908961 w 7613003"/>
              <a:gd name="connsiteY261" fmla="*/ 1620051 h 6367505"/>
              <a:gd name="connsiteX262" fmla="*/ 4894873 w 7613003"/>
              <a:gd name="connsiteY262" fmla="*/ 1620051 h 6367505"/>
              <a:gd name="connsiteX263" fmla="*/ 4894873 w 7613003"/>
              <a:gd name="connsiteY263" fmla="*/ 1605964 h 6367505"/>
              <a:gd name="connsiteX264" fmla="*/ 4866696 w 7613003"/>
              <a:gd name="connsiteY264" fmla="*/ 1591876 h 6367505"/>
              <a:gd name="connsiteX265" fmla="*/ 4852608 w 7613003"/>
              <a:gd name="connsiteY265" fmla="*/ 1563702 h 6367505"/>
              <a:gd name="connsiteX266" fmla="*/ 6908593 w 7613003"/>
              <a:gd name="connsiteY266" fmla="*/ 1549616 h 6367505"/>
              <a:gd name="connsiteX267" fmla="*/ 6927964 w 7613003"/>
              <a:gd name="connsiteY267" fmla="*/ 1568985 h 6367505"/>
              <a:gd name="connsiteX268" fmla="*/ 6950858 w 7613003"/>
              <a:gd name="connsiteY268" fmla="*/ 1591876 h 6367505"/>
              <a:gd name="connsiteX269" fmla="*/ 6964945 w 7613003"/>
              <a:gd name="connsiteY269" fmla="*/ 1605964 h 6367505"/>
              <a:gd name="connsiteX270" fmla="*/ 6931486 w 7613003"/>
              <a:gd name="connsiteY270" fmla="*/ 1583072 h 6367505"/>
              <a:gd name="connsiteX271" fmla="*/ 5289343 w 7613003"/>
              <a:gd name="connsiteY271" fmla="*/ 1549616 h 6367505"/>
              <a:gd name="connsiteX272" fmla="*/ 5308714 w 7613003"/>
              <a:gd name="connsiteY272" fmla="*/ 1568985 h 6367505"/>
              <a:gd name="connsiteX273" fmla="*/ 5331608 w 7613003"/>
              <a:gd name="connsiteY273" fmla="*/ 1591876 h 6367505"/>
              <a:gd name="connsiteX274" fmla="*/ 5345695 w 7613003"/>
              <a:gd name="connsiteY274" fmla="*/ 1605964 h 6367505"/>
              <a:gd name="connsiteX275" fmla="*/ 5312236 w 7613003"/>
              <a:gd name="connsiteY275" fmla="*/ 1583072 h 6367505"/>
              <a:gd name="connsiteX276" fmla="*/ 6415505 w 7613003"/>
              <a:gd name="connsiteY276" fmla="*/ 1549614 h 6367505"/>
              <a:gd name="connsiteX277" fmla="*/ 6429593 w 7613003"/>
              <a:gd name="connsiteY277" fmla="*/ 1563702 h 6367505"/>
              <a:gd name="connsiteX278" fmla="*/ 6415505 w 7613003"/>
              <a:gd name="connsiteY278" fmla="*/ 1549614 h 6367505"/>
              <a:gd name="connsiteX279" fmla="*/ 4796255 w 7613003"/>
              <a:gd name="connsiteY279" fmla="*/ 1549614 h 6367505"/>
              <a:gd name="connsiteX280" fmla="*/ 4810343 w 7613003"/>
              <a:gd name="connsiteY280" fmla="*/ 1563702 h 6367505"/>
              <a:gd name="connsiteX281" fmla="*/ 4796255 w 7613003"/>
              <a:gd name="connsiteY281" fmla="*/ 1549614 h 6367505"/>
              <a:gd name="connsiteX282" fmla="*/ 6401417 w 7613003"/>
              <a:gd name="connsiteY282" fmla="*/ 1521440 h 6367505"/>
              <a:gd name="connsiteX283" fmla="*/ 6414624 w 7613003"/>
              <a:gd name="connsiteY283" fmla="*/ 1532005 h 6367505"/>
              <a:gd name="connsiteX284" fmla="*/ 6415505 w 7613003"/>
              <a:gd name="connsiteY284" fmla="*/ 1535527 h 6367505"/>
              <a:gd name="connsiteX285" fmla="*/ 6401417 w 7613003"/>
              <a:gd name="connsiteY285" fmla="*/ 1521440 h 6367505"/>
              <a:gd name="connsiteX286" fmla="*/ 4782167 w 7613003"/>
              <a:gd name="connsiteY286" fmla="*/ 1521440 h 6367505"/>
              <a:gd name="connsiteX287" fmla="*/ 4795374 w 7613003"/>
              <a:gd name="connsiteY287" fmla="*/ 1532005 h 6367505"/>
              <a:gd name="connsiteX288" fmla="*/ 4796255 w 7613003"/>
              <a:gd name="connsiteY288" fmla="*/ 1535527 h 6367505"/>
              <a:gd name="connsiteX289" fmla="*/ 4782167 w 7613003"/>
              <a:gd name="connsiteY289" fmla="*/ 1521440 h 6367505"/>
              <a:gd name="connsiteX290" fmla="*/ 6232358 w 7613003"/>
              <a:gd name="connsiteY290" fmla="*/ 1408740 h 6367505"/>
              <a:gd name="connsiteX291" fmla="*/ 6246446 w 7613003"/>
              <a:gd name="connsiteY291" fmla="*/ 1422828 h 6367505"/>
              <a:gd name="connsiteX292" fmla="*/ 6260535 w 7613003"/>
              <a:gd name="connsiteY292" fmla="*/ 1436915 h 6367505"/>
              <a:gd name="connsiteX293" fmla="*/ 6288711 w 7613003"/>
              <a:gd name="connsiteY293" fmla="*/ 1451002 h 6367505"/>
              <a:gd name="connsiteX294" fmla="*/ 6302799 w 7613003"/>
              <a:gd name="connsiteY294" fmla="*/ 1465089 h 6367505"/>
              <a:gd name="connsiteX295" fmla="*/ 6260535 w 7613003"/>
              <a:gd name="connsiteY295" fmla="*/ 1451002 h 6367505"/>
              <a:gd name="connsiteX296" fmla="*/ 6232358 w 7613003"/>
              <a:gd name="connsiteY296" fmla="*/ 1422828 h 6367505"/>
              <a:gd name="connsiteX297" fmla="*/ 6232358 w 7613003"/>
              <a:gd name="connsiteY297" fmla="*/ 1408740 h 6367505"/>
              <a:gd name="connsiteX298" fmla="*/ 6190093 w 7613003"/>
              <a:gd name="connsiteY298" fmla="*/ 1394653 h 6367505"/>
              <a:gd name="connsiteX299" fmla="*/ 6204182 w 7613003"/>
              <a:gd name="connsiteY299" fmla="*/ 1408740 h 6367505"/>
              <a:gd name="connsiteX300" fmla="*/ 6232358 w 7613003"/>
              <a:gd name="connsiteY300" fmla="*/ 1422828 h 6367505"/>
              <a:gd name="connsiteX301" fmla="*/ 6190093 w 7613003"/>
              <a:gd name="connsiteY301" fmla="*/ 1408740 h 6367505"/>
              <a:gd name="connsiteX302" fmla="*/ 6190093 w 7613003"/>
              <a:gd name="connsiteY302" fmla="*/ 1394653 h 6367505"/>
              <a:gd name="connsiteX303" fmla="*/ 6162613 w 7613003"/>
              <a:gd name="connsiteY303" fmla="*/ 1385447 h 6367505"/>
              <a:gd name="connsiteX304" fmla="*/ 6176005 w 7613003"/>
              <a:gd name="connsiteY304" fmla="*/ 1394653 h 6367505"/>
              <a:gd name="connsiteX305" fmla="*/ 6163678 w 7613003"/>
              <a:gd name="connsiteY305" fmla="*/ 1392893 h 6367505"/>
              <a:gd name="connsiteX306" fmla="*/ 6155514 w 7613003"/>
              <a:gd name="connsiteY306" fmla="*/ 1380566 h 6367505"/>
              <a:gd name="connsiteX307" fmla="*/ 6161916 w 7613003"/>
              <a:gd name="connsiteY307" fmla="*/ 1380566 h 6367505"/>
              <a:gd name="connsiteX308" fmla="*/ 6162613 w 7613003"/>
              <a:gd name="connsiteY308" fmla="*/ 1385447 h 6367505"/>
              <a:gd name="connsiteX309" fmla="*/ 5640652 w 7613003"/>
              <a:gd name="connsiteY309" fmla="*/ 1338304 h 6367505"/>
              <a:gd name="connsiteX310" fmla="*/ 5654741 w 7613003"/>
              <a:gd name="connsiteY310" fmla="*/ 1352391 h 6367505"/>
              <a:gd name="connsiteX311" fmla="*/ 5640652 w 7613003"/>
              <a:gd name="connsiteY311" fmla="*/ 1352391 h 6367505"/>
              <a:gd name="connsiteX312" fmla="*/ 5640652 w 7613003"/>
              <a:gd name="connsiteY312" fmla="*/ 1338304 h 6367505"/>
              <a:gd name="connsiteX313" fmla="*/ 5422004 w 7613003"/>
              <a:gd name="connsiteY313" fmla="*/ 1336050 h 6367505"/>
              <a:gd name="connsiteX314" fmla="*/ 5429329 w 7613003"/>
              <a:gd name="connsiteY314" fmla="*/ 1338304 h 6367505"/>
              <a:gd name="connsiteX315" fmla="*/ 5422286 w 7613003"/>
              <a:gd name="connsiteY315" fmla="*/ 1336542 h 6367505"/>
              <a:gd name="connsiteX316" fmla="*/ 5017218 w 7613003"/>
              <a:gd name="connsiteY316" fmla="*/ 1324216 h 6367505"/>
              <a:gd name="connsiteX317" fmla="*/ 5021666 w 7613003"/>
              <a:gd name="connsiteY317" fmla="*/ 1329499 h 6367505"/>
              <a:gd name="connsiteX318" fmla="*/ 5049843 w 7613003"/>
              <a:gd name="connsiteY318" fmla="*/ 1352391 h 6367505"/>
              <a:gd name="connsiteX319" fmla="*/ 5072736 w 7613003"/>
              <a:gd name="connsiteY319" fmla="*/ 1373522 h 6367505"/>
              <a:gd name="connsiteX320" fmla="*/ 5083889 w 7613003"/>
              <a:gd name="connsiteY320" fmla="*/ 1380566 h 6367505"/>
              <a:gd name="connsiteX321" fmla="*/ 5103065 w 7613003"/>
              <a:gd name="connsiteY321" fmla="*/ 1380566 h 6367505"/>
              <a:gd name="connsiteX322" fmla="*/ 5063931 w 7613003"/>
              <a:gd name="connsiteY322" fmla="*/ 1345347 h 6367505"/>
              <a:gd name="connsiteX323" fmla="*/ 5040451 w 7613003"/>
              <a:gd name="connsiteY323" fmla="*/ 1324216 h 6367505"/>
              <a:gd name="connsiteX324" fmla="*/ 5034860 w 7613003"/>
              <a:gd name="connsiteY324" fmla="*/ 1324216 h 6367505"/>
              <a:gd name="connsiteX325" fmla="*/ 5093358 w 7613003"/>
              <a:gd name="connsiteY325" fmla="*/ 1313046 h 6367505"/>
              <a:gd name="connsiteX326" fmla="*/ 5086586 w 7613003"/>
              <a:gd name="connsiteY326" fmla="*/ 1315541 h 6367505"/>
              <a:gd name="connsiteX327" fmla="*/ 5092107 w 7613003"/>
              <a:gd name="connsiteY327" fmla="*/ 1324216 h 6367505"/>
              <a:gd name="connsiteX328" fmla="*/ 5097390 w 7613003"/>
              <a:gd name="connsiteY328" fmla="*/ 1322455 h 6367505"/>
              <a:gd name="connsiteX329" fmla="*/ 5612477 w 7613003"/>
              <a:gd name="connsiteY329" fmla="*/ 1310129 h 6367505"/>
              <a:gd name="connsiteX330" fmla="*/ 5626565 w 7613003"/>
              <a:gd name="connsiteY330" fmla="*/ 1310129 h 6367505"/>
              <a:gd name="connsiteX331" fmla="*/ 5640652 w 7613003"/>
              <a:gd name="connsiteY331" fmla="*/ 1324216 h 6367505"/>
              <a:gd name="connsiteX332" fmla="*/ 5626565 w 7613003"/>
              <a:gd name="connsiteY332" fmla="*/ 1324216 h 6367505"/>
              <a:gd name="connsiteX333" fmla="*/ 5612477 w 7613003"/>
              <a:gd name="connsiteY333" fmla="*/ 1310129 h 6367505"/>
              <a:gd name="connsiteX334" fmla="*/ 6126036 w 7613003"/>
              <a:gd name="connsiteY334" fmla="*/ 740689 h 6367505"/>
              <a:gd name="connsiteX335" fmla="*/ 6127728 w 7613003"/>
              <a:gd name="connsiteY335" fmla="*/ 741995 h 6367505"/>
              <a:gd name="connsiteX336" fmla="*/ 6124935 w 7613003"/>
              <a:gd name="connsiteY336" fmla="*/ 741350 h 6367505"/>
              <a:gd name="connsiteX337" fmla="*/ 6126036 w 7613003"/>
              <a:gd name="connsiteY337" fmla="*/ 740689 h 6367505"/>
              <a:gd name="connsiteX338" fmla="*/ 5851976 w 7613003"/>
              <a:gd name="connsiteY338" fmla="*/ 633934 h 6367505"/>
              <a:gd name="connsiteX339" fmla="*/ 5866064 w 7613003"/>
              <a:gd name="connsiteY339" fmla="*/ 648021 h 6367505"/>
              <a:gd name="connsiteX340" fmla="*/ 5851976 w 7613003"/>
              <a:gd name="connsiteY340" fmla="*/ 648021 h 6367505"/>
              <a:gd name="connsiteX341" fmla="*/ 5851976 w 7613003"/>
              <a:gd name="connsiteY341" fmla="*/ 633934 h 6367505"/>
              <a:gd name="connsiteX342" fmla="*/ 3782948 w 7613003"/>
              <a:gd name="connsiteY342" fmla="*/ 616507 h 6367505"/>
              <a:gd name="connsiteX343" fmla="*/ 3766920 w 7613003"/>
              <a:gd name="connsiteY343" fmla="*/ 619846 h 6367505"/>
              <a:gd name="connsiteX344" fmla="*/ 3752832 w 7613003"/>
              <a:gd name="connsiteY344" fmla="*/ 633934 h 6367505"/>
              <a:gd name="connsiteX345" fmla="*/ 3799137 w 7613003"/>
              <a:gd name="connsiteY345" fmla="*/ 618500 h 6367505"/>
              <a:gd name="connsiteX346" fmla="*/ 3851449 w 7613003"/>
              <a:gd name="connsiteY346" fmla="*/ 591672 h 6367505"/>
              <a:gd name="connsiteX347" fmla="*/ 3809185 w 7613003"/>
              <a:gd name="connsiteY347" fmla="*/ 605759 h 6367505"/>
              <a:gd name="connsiteX348" fmla="*/ 3794263 w 7613003"/>
              <a:gd name="connsiteY348" fmla="*/ 612598 h 6367505"/>
              <a:gd name="connsiteX349" fmla="*/ 3801275 w 7613003"/>
              <a:gd name="connsiteY349" fmla="*/ 612803 h 6367505"/>
              <a:gd name="connsiteX350" fmla="*/ 3814919 w 7613003"/>
              <a:gd name="connsiteY350" fmla="*/ 613239 h 6367505"/>
              <a:gd name="connsiteX351" fmla="*/ 3862692 w 7613003"/>
              <a:gd name="connsiteY351" fmla="*/ 597316 h 6367505"/>
              <a:gd name="connsiteX352" fmla="*/ 3852344 w 7613003"/>
              <a:gd name="connsiteY352" fmla="*/ 591672 h 6367505"/>
              <a:gd name="connsiteX353" fmla="*/ 5725182 w 7613003"/>
              <a:gd name="connsiteY353" fmla="*/ 563496 h 6367505"/>
              <a:gd name="connsiteX354" fmla="*/ 5739270 w 7613003"/>
              <a:gd name="connsiteY354" fmla="*/ 563496 h 6367505"/>
              <a:gd name="connsiteX355" fmla="*/ 5781535 w 7613003"/>
              <a:gd name="connsiteY355" fmla="*/ 577583 h 6367505"/>
              <a:gd name="connsiteX356" fmla="*/ 5781535 w 7613003"/>
              <a:gd name="connsiteY356" fmla="*/ 591672 h 6367505"/>
              <a:gd name="connsiteX357" fmla="*/ 5725182 w 7613003"/>
              <a:gd name="connsiteY357" fmla="*/ 563496 h 6367505"/>
              <a:gd name="connsiteX358" fmla="*/ 3284877 w 7613003"/>
              <a:gd name="connsiteY358" fmla="*/ 436851 h 6367505"/>
              <a:gd name="connsiteX359" fmla="*/ 3282652 w 7613003"/>
              <a:gd name="connsiteY359" fmla="*/ 436930 h 6367505"/>
              <a:gd name="connsiteX360" fmla="*/ 3265042 w 7613003"/>
              <a:gd name="connsiteY360" fmla="*/ 442653 h 6367505"/>
              <a:gd name="connsiteX361" fmla="*/ 3270505 w 7613003"/>
              <a:gd name="connsiteY361" fmla="*/ 447246 h 6367505"/>
              <a:gd name="connsiteX362" fmla="*/ 3281317 w 7613003"/>
              <a:gd name="connsiteY362" fmla="*/ 439572 h 6367505"/>
              <a:gd name="connsiteX363" fmla="*/ 4922154 w 7613003"/>
              <a:gd name="connsiteY363" fmla="*/ 436710 h 6367505"/>
              <a:gd name="connsiteX364" fmla="*/ 4936242 w 7613003"/>
              <a:gd name="connsiteY364" fmla="*/ 436710 h 6367505"/>
              <a:gd name="connsiteX365" fmla="*/ 4950331 w 7613003"/>
              <a:gd name="connsiteY365" fmla="*/ 436710 h 6367505"/>
              <a:gd name="connsiteX366" fmla="*/ 4922154 w 7613003"/>
              <a:gd name="connsiteY366" fmla="*/ 436710 h 6367505"/>
              <a:gd name="connsiteX367" fmla="*/ 5989458 w 7613003"/>
              <a:gd name="connsiteY367" fmla="*/ 398334 h 6367505"/>
              <a:gd name="connsiteX368" fmla="*/ 5998141 w 7613003"/>
              <a:gd name="connsiteY368" fmla="*/ 401492 h 6367505"/>
              <a:gd name="connsiteX369" fmla="*/ 6006946 w 7613003"/>
              <a:gd name="connsiteY369" fmla="*/ 408534 h 6367505"/>
              <a:gd name="connsiteX370" fmla="*/ 4370208 w 7613003"/>
              <a:gd name="connsiteY370" fmla="*/ 398334 h 6367505"/>
              <a:gd name="connsiteX371" fmla="*/ 4378891 w 7613003"/>
              <a:gd name="connsiteY371" fmla="*/ 401492 h 6367505"/>
              <a:gd name="connsiteX372" fmla="*/ 4387696 w 7613003"/>
              <a:gd name="connsiteY372" fmla="*/ 408534 h 6367505"/>
              <a:gd name="connsiteX373" fmla="*/ 5982959 w 7613003"/>
              <a:gd name="connsiteY373" fmla="*/ 395971 h 6367505"/>
              <a:gd name="connsiteX374" fmla="*/ 5985815 w 7613003"/>
              <a:gd name="connsiteY374" fmla="*/ 396209 h 6367505"/>
              <a:gd name="connsiteX375" fmla="*/ 5989458 w 7613003"/>
              <a:gd name="connsiteY375" fmla="*/ 398334 h 6367505"/>
              <a:gd name="connsiteX376" fmla="*/ 4363709 w 7613003"/>
              <a:gd name="connsiteY376" fmla="*/ 395971 h 6367505"/>
              <a:gd name="connsiteX377" fmla="*/ 4366565 w 7613003"/>
              <a:gd name="connsiteY377" fmla="*/ 396209 h 6367505"/>
              <a:gd name="connsiteX378" fmla="*/ 4370208 w 7613003"/>
              <a:gd name="connsiteY378" fmla="*/ 398334 h 6367505"/>
              <a:gd name="connsiteX379" fmla="*/ 5880153 w 7613003"/>
              <a:gd name="connsiteY379" fmla="*/ 366272 h 6367505"/>
              <a:gd name="connsiteX380" fmla="*/ 5978770 w 7613003"/>
              <a:gd name="connsiteY380" fmla="*/ 394447 h 6367505"/>
              <a:gd name="connsiteX381" fmla="*/ 5982959 w 7613003"/>
              <a:gd name="connsiteY381" fmla="*/ 395971 h 6367505"/>
              <a:gd name="connsiteX382" fmla="*/ 5964682 w 7613003"/>
              <a:gd name="connsiteY382" fmla="*/ 394447 h 6367505"/>
              <a:gd name="connsiteX383" fmla="*/ 5837888 w 7613003"/>
              <a:gd name="connsiteY383" fmla="*/ 352185 h 6367505"/>
              <a:gd name="connsiteX384" fmla="*/ 5880153 w 7613003"/>
              <a:gd name="connsiteY384" fmla="*/ 366272 h 6367505"/>
              <a:gd name="connsiteX385" fmla="*/ 5867826 w 7613003"/>
              <a:gd name="connsiteY385" fmla="*/ 366272 h 6367505"/>
              <a:gd name="connsiteX386" fmla="*/ 5866064 w 7613003"/>
              <a:gd name="connsiteY386" fmla="*/ 366272 h 6367505"/>
              <a:gd name="connsiteX387" fmla="*/ 5837888 w 7613003"/>
              <a:gd name="connsiteY387" fmla="*/ 352185 h 6367505"/>
              <a:gd name="connsiteX388" fmla="*/ 4090949 w 7613003"/>
              <a:gd name="connsiteY388" fmla="*/ 338098 h 6367505"/>
              <a:gd name="connsiteX389" fmla="*/ 4062772 w 7613003"/>
              <a:gd name="connsiteY389" fmla="*/ 352185 h 6367505"/>
              <a:gd name="connsiteX390" fmla="*/ 4105037 w 7613003"/>
              <a:gd name="connsiteY390" fmla="*/ 352185 h 6367505"/>
              <a:gd name="connsiteX391" fmla="*/ 4006419 w 7613003"/>
              <a:gd name="connsiteY391" fmla="*/ 380360 h 6367505"/>
              <a:gd name="connsiteX392" fmla="*/ 3992331 w 7613003"/>
              <a:gd name="connsiteY392" fmla="*/ 394447 h 6367505"/>
              <a:gd name="connsiteX393" fmla="*/ 3978244 w 7613003"/>
              <a:gd name="connsiteY393" fmla="*/ 394447 h 6367505"/>
              <a:gd name="connsiteX394" fmla="*/ 3964155 w 7613003"/>
              <a:gd name="connsiteY394" fmla="*/ 394447 h 6367505"/>
              <a:gd name="connsiteX395" fmla="*/ 3950066 w 7613003"/>
              <a:gd name="connsiteY395" fmla="*/ 408534 h 6367505"/>
              <a:gd name="connsiteX396" fmla="*/ 3907802 w 7613003"/>
              <a:gd name="connsiteY396" fmla="*/ 422623 h 6367505"/>
              <a:gd name="connsiteX397" fmla="*/ 3964155 w 7613003"/>
              <a:gd name="connsiteY397" fmla="*/ 408534 h 6367505"/>
              <a:gd name="connsiteX398" fmla="*/ 4034596 w 7613003"/>
              <a:gd name="connsiteY398" fmla="*/ 394447 h 6367505"/>
              <a:gd name="connsiteX399" fmla="*/ 4090949 w 7613003"/>
              <a:gd name="connsiteY399" fmla="*/ 380360 h 6367505"/>
              <a:gd name="connsiteX400" fmla="*/ 4105037 w 7613003"/>
              <a:gd name="connsiteY400" fmla="*/ 380360 h 6367505"/>
              <a:gd name="connsiteX401" fmla="*/ 4161390 w 7613003"/>
              <a:gd name="connsiteY401" fmla="*/ 352185 h 6367505"/>
              <a:gd name="connsiteX402" fmla="*/ 4184284 w 7613003"/>
              <a:gd name="connsiteY402" fmla="*/ 350424 h 6367505"/>
              <a:gd name="connsiteX403" fmla="*/ 4185741 w 7613003"/>
              <a:gd name="connsiteY403" fmla="*/ 349887 h 6367505"/>
              <a:gd name="connsiteX404" fmla="*/ 4173732 w 7613003"/>
              <a:gd name="connsiteY404" fmla="*/ 344041 h 6367505"/>
              <a:gd name="connsiteX405" fmla="*/ 4134108 w 7613003"/>
              <a:gd name="connsiteY405" fmla="*/ 338098 h 6367505"/>
              <a:gd name="connsiteX406" fmla="*/ 4125303 w 7613003"/>
              <a:gd name="connsiteY406" fmla="*/ 338098 h 6367505"/>
              <a:gd name="connsiteX407" fmla="*/ 4119125 w 7613003"/>
              <a:gd name="connsiteY407" fmla="*/ 338098 h 6367505"/>
              <a:gd name="connsiteX408" fmla="*/ 4110320 w 7613003"/>
              <a:gd name="connsiteY408" fmla="*/ 338098 h 6367505"/>
              <a:gd name="connsiteX409" fmla="*/ 4105932 w 7613003"/>
              <a:gd name="connsiteY409" fmla="*/ 338098 h 6367505"/>
              <a:gd name="connsiteX410" fmla="*/ 5640652 w 7613003"/>
              <a:gd name="connsiteY410" fmla="*/ 309923 h 6367505"/>
              <a:gd name="connsiteX411" fmla="*/ 5795623 w 7613003"/>
              <a:gd name="connsiteY411" fmla="*/ 338098 h 6367505"/>
              <a:gd name="connsiteX412" fmla="*/ 5837888 w 7613003"/>
              <a:gd name="connsiteY412" fmla="*/ 338098 h 6367505"/>
              <a:gd name="connsiteX413" fmla="*/ 5837888 w 7613003"/>
              <a:gd name="connsiteY413" fmla="*/ 352185 h 6367505"/>
              <a:gd name="connsiteX414" fmla="*/ 5809711 w 7613003"/>
              <a:gd name="connsiteY414" fmla="*/ 352185 h 6367505"/>
              <a:gd name="connsiteX415" fmla="*/ 5753358 w 7613003"/>
              <a:gd name="connsiteY415" fmla="*/ 338098 h 6367505"/>
              <a:gd name="connsiteX416" fmla="*/ 5725182 w 7613003"/>
              <a:gd name="connsiteY416" fmla="*/ 338098 h 6367505"/>
              <a:gd name="connsiteX417" fmla="*/ 5640652 w 7613003"/>
              <a:gd name="connsiteY417" fmla="*/ 309923 h 6367505"/>
              <a:gd name="connsiteX418" fmla="*/ 3509384 w 7613003"/>
              <a:gd name="connsiteY418" fmla="*/ 303980 h 6367505"/>
              <a:gd name="connsiteX419" fmla="*/ 3457874 w 7613003"/>
              <a:gd name="connsiteY419" fmla="*/ 309923 h 6367505"/>
              <a:gd name="connsiteX420" fmla="*/ 3373345 w 7613003"/>
              <a:gd name="connsiteY420" fmla="*/ 309923 h 6367505"/>
              <a:gd name="connsiteX421" fmla="*/ 3316993 w 7613003"/>
              <a:gd name="connsiteY421" fmla="*/ 309923 h 6367505"/>
              <a:gd name="connsiteX422" fmla="*/ 3288816 w 7613003"/>
              <a:gd name="connsiteY422" fmla="*/ 324010 h 6367505"/>
              <a:gd name="connsiteX423" fmla="*/ 3260639 w 7613003"/>
              <a:gd name="connsiteY423" fmla="*/ 324010 h 6367505"/>
              <a:gd name="connsiteX424" fmla="*/ 3246551 w 7613003"/>
              <a:gd name="connsiteY424" fmla="*/ 324010 h 6367505"/>
              <a:gd name="connsiteX425" fmla="*/ 3190198 w 7613003"/>
              <a:gd name="connsiteY425" fmla="*/ 324010 h 6367505"/>
              <a:gd name="connsiteX426" fmla="*/ 3176110 w 7613003"/>
              <a:gd name="connsiteY426" fmla="*/ 324010 h 6367505"/>
              <a:gd name="connsiteX427" fmla="*/ 3162022 w 7613003"/>
              <a:gd name="connsiteY427" fmla="*/ 324010 h 6367505"/>
              <a:gd name="connsiteX428" fmla="*/ 3105669 w 7613003"/>
              <a:gd name="connsiteY428" fmla="*/ 338098 h 6367505"/>
              <a:gd name="connsiteX429" fmla="*/ 3091581 w 7613003"/>
              <a:gd name="connsiteY429" fmla="*/ 338098 h 6367505"/>
              <a:gd name="connsiteX430" fmla="*/ 3035228 w 7613003"/>
              <a:gd name="connsiteY430" fmla="*/ 338098 h 6367505"/>
              <a:gd name="connsiteX431" fmla="*/ 2964786 w 7613003"/>
              <a:gd name="connsiteY431" fmla="*/ 352185 h 6367505"/>
              <a:gd name="connsiteX432" fmla="*/ 2950699 w 7613003"/>
              <a:gd name="connsiteY432" fmla="*/ 352185 h 6367505"/>
              <a:gd name="connsiteX433" fmla="*/ 2908433 w 7613003"/>
              <a:gd name="connsiteY433" fmla="*/ 366272 h 6367505"/>
              <a:gd name="connsiteX434" fmla="*/ 2894345 w 7613003"/>
              <a:gd name="connsiteY434" fmla="*/ 366272 h 6367505"/>
              <a:gd name="connsiteX435" fmla="*/ 2880257 w 7613003"/>
              <a:gd name="connsiteY435" fmla="*/ 366272 h 6367505"/>
              <a:gd name="connsiteX436" fmla="*/ 2866169 w 7613003"/>
              <a:gd name="connsiteY436" fmla="*/ 366272 h 6367505"/>
              <a:gd name="connsiteX437" fmla="*/ 2809816 w 7613003"/>
              <a:gd name="connsiteY437" fmla="*/ 380360 h 6367505"/>
              <a:gd name="connsiteX438" fmla="*/ 2781640 w 7613003"/>
              <a:gd name="connsiteY438" fmla="*/ 380360 h 6367505"/>
              <a:gd name="connsiteX439" fmla="*/ 2781640 w 7613003"/>
              <a:gd name="connsiteY439" fmla="*/ 394447 h 6367505"/>
              <a:gd name="connsiteX440" fmla="*/ 2767551 w 7613003"/>
              <a:gd name="connsiteY440" fmla="*/ 394447 h 6367505"/>
              <a:gd name="connsiteX441" fmla="*/ 2753463 w 7613003"/>
              <a:gd name="connsiteY441" fmla="*/ 394447 h 6367505"/>
              <a:gd name="connsiteX442" fmla="*/ 2739374 w 7613003"/>
              <a:gd name="connsiteY442" fmla="*/ 394447 h 6367505"/>
              <a:gd name="connsiteX443" fmla="*/ 2654846 w 7613003"/>
              <a:gd name="connsiteY443" fmla="*/ 422623 h 6367505"/>
              <a:gd name="connsiteX444" fmla="*/ 2640758 w 7613003"/>
              <a:gd name="connsiteY444" fmla="*/ 422623 h 6367505"/>
              <a:gd name="connsiteX445" fmla="*/ 2612581 w 7613003"/>
              <a:gd name="connsiteY445" fmla="*/ 436710 h 6367505"/>
              <a:gd name="connsiteX446" fmla="*/ 2598493 w 7613003"/>
              <a:gd name="connsiteY446" fmla="*/ 436710 h 6367505"/>
              <a:gd name="connsiteX447" fmla="*/ 2584406 w 7613003"/>
              <a:gd name="connsiteY447" fmla="*/ 450798 h 6367505"/>
              <a:gd name="connsiteX448" fmla="*/ 2570317 w 7613003"/>
              <a:gd name="connsiteY448" fmla="*/ 450798 h 6367505"/>
              <a:gd name="connsiteX449" fmla="*/ 2443523 w 7613003"/>
              <a:gd name="connsiteY449" fmla="*/ 493059 h 6367505"/>
              <a:gd name="connsiteX450" fmla="*/ 2415347 w 7613003"/>
              <a:gd name="connsiteY450" fmla="*/ 493059 h 6367505"/>
              <a:gd name="connsiteX451" fmla="*/ 2401258 w 7613003"/>
              <a:gd name="connsiteY451" fmla="*/ 507147 h 6367505"/>
              <a:gd name="connsiteX452" fmla="*/ 2358994 w 7613003"/>
              <a:gd name="connsiteY452" fmla="*/ 521234 h 6367505"/>
              <a:gd name="connsiteX453" fmla="*/ 2330816 w 7613003"/>
              <a:gd name="connsiteY453" fmla="*/ 535321 h 6367505"/>
              <a:gd name="connsiteX454" fmla="*/ 2316729 w 7613003"/>
              <a:gd name="connsiteY454" fmla="*/ 535321 h 6367505"/>
              <a:gd name="connsiteX455" fmla="*/ 2288552 w 7613003"/>
              <a:gd name="connsiteY455" fmla="*/ 563496 h 6367505"/>
              <a:gd name="connsiteX456" fmla="*/ 2274464 w 7613003"/>
              <a:gd name="connsiteY456" fmla="*/ 577583 h 6367505"/>
              <a:gd name="connsiteX457" fmla="*/ 2232199 w 7613003"/>
              <a:gd name="connsiteY457" fmla="*/ 591672 h 6367505"/>
              <a:gd name="connsiteX458" fmla="*/ 2147670 w 7613003"/>
              <a:gd name="connsiteY458" fmla="*/ 619846 h 6367505"/>
              <a:gd name="connsiteX459" fmla="*/ 2133582 w 7613003"/>
              <a:gd name="connsiteY459" fmla="*/ 633934 h 6367505"/>
              <a:gd name="connsiteX460" fmla="*/ 2260376 w 7613003"/>
              <a:gd name="connsiteY460" fmla="*/ 591672 h 6367505"/>
              <a:gd name="connsiteX461" fmla="*/ 2302641 w 7613003"/>
              <a:gd name="connsiteY461" fmla="*/ 577583 h 6367505"/>
              <a:gd name="connsiteX462" fmla="*/ 2316729 w 7613003"/>
              <a:gd name="connsiteY462" fmla="*/ 563496 h 6367505"/>
              <a:gd name="connsiteX463" fmla="*/ 2344905 w 7613003"/>
              <a:gd name="connsiteY463" fmla="*/ 563496 h 6367505"/>
              <a:gd name="connsiteX464" fmla="*/ 2344905 w 7613003"/>
              <a:gd name="connsiteY464" fmla="*/ 549409 h 6367505"/>
              <a:gd name="connsiteX465" fmla="*/ 2387169 w 7613003"/>
              <a:gd name="connsiteY465" fmla="*/ 549409 h 6367505"/>
              <a:gd name="connsiteX466" fmla="*/ 2401258 w 7613003"/>
              <a:gd name="connsiteY466" fmla="*/ 535321 h 6367505"/>
              <a:gd name="connsiteX467" fmla="*/ 2415347 w 7613003"/>
              <a:gd name="connsiteY467" fmla="*/ 535321 h 6367505"/>
              <a:gd name="connsiteX468" fmla="*/ 2429434 w 7613003"/>
              <a:gd name="connsiteY468" fmla="*/ 521234 h 6367505"/>
              <a:gd name="connsiteX469" fmla="*/ 2499875 w 7613003"/>
              <a:gd name="connsiteY469" fmla="*/ 507147 h 6367505"/>
              <a:gd name="connsiteX470" fmla="*/ 2598493 w 7613003"/>
              <a:gd name="connsiteY470" fmla="*/ 478972 h 6367505"/>
              <a:gd name="connsiteX471" fmla="*/ 2640758 w 7613003"/>
              <a:gd name="connsiteY471" fmla="*/ 464885 h 6367505"/>
              <a:gd name="connsiteX472" fmla="*/ 2626670 w 7613003"/>
              <a:gd name="connsiteY472" fmla="*/ 478972 h 6367505"/>
              <a:gd name="connsiteX473" fmla="*/ 2640758 w 7613003"/>
              <a:gd name="connsiteY473" fmla="*/ 493059 h 6367505"/>
              <a:gd name="connsiteX474" fmla="*/ 2612581 w 7613003"/>
              <a:gd name="connsiteY474" fmla="*/ 493059 h 6367505"/>
              <a:gd name="connsiteX475" fmla="*/ 2612581 w 7613003"/>
              <a:gd name="connsiteY475" fmla="*/ 507147 h 6367505"/>
              <a:gd name="connsiteX476" fmla="*/ 2640758 w 7613003"/>
              <a:gd name="connsiteY476" fmla="*/ 493059 h 6367505"/>
              <a:gd name="connsiteX477" fmla="*/ 2668934 w 7613003"/>
              <a:gd name="connsiteY477" fmla="*/ 493059 h 6367505"/>
              <a:gd name="connsiteX478" fmla="*/ 2753463 w 7613003"/>
              <a:gd name="connsiteY478" fmla="*/ 464885 h 6367505"/>
              <a:gd name="connsiteX479" fmla="*/ 2964786 w 7613003"/>
              <a:gd name="connsiteY479" fmla="*/ 436710 h 6367505"/>
              <a:gd name="connsiteX480" fmla="*/ 3021139 w 7613003"/>
              <a:gd name="connsiteY480" fmla="*/ 422623 h 6367505"/>
              <a:gd name="connsiteX481" fmla="*/ 3049316 w 7613003"/>
              <a:gd name="connsiteY481" fmla="*/ 422623 h 6367505"/>
              <a:gd name="connsiteX482" fmla="*/ 3061643 w 7613003"/>
              <a:gd name="connsiteY482" fmla="*/ 422623 h 6367505"/>
              <a:gd name="connsiteX483" fmla="*/ 3091581 w 7613003"/>
              <a:gd name="connsiteY483" fmla="*/ 422623 h 6367505"/>
              <a:gd name="connsiteX484" fmla="*/ 3105669 w 7613003"/>
              <a:gd name="connsiteY484" fmla="*/ 422623 h 6367505"/>
              <a:gd name="connsiteX485" fmla="*/ 3049316 w 7613003"/>
              <a:gd name="connsiteY485" fmla="*/ 422623 h 6367505"/>
              <a:gd name="connsiteX486" fmla="*/ 3119756 w 7613003"/>
              <a:gd name="connsiteY486" fmla="*/ 408534 h 6367505"/>
              <a:gd name="connsiteX487" fmla="*/ 3133845 w 7613003"/>
              <a:gd name="connsiteY487" fmla="*/ 408534 h 6367505"/>
              <a:gd name="connsiteX488" fmla="*/ 3133845 w 7613003"/>
              <a:gd name="connsiteY488" fmla="*/ 422623 h 6367505"/>
              <a:gd name="connsiteX489" fmla="*/ 3162022 w 7613003"/>
              <a:gd name="connsiteY489" fmla="*/ 436710 h 6367505"/>
              <a:gd name="connsiteX490" fmla="*/ 3190198 w 7613003"/>
              <a:gd name="connsiteY490" fmla="*/ 436710 h 6367505"/>
              <a:gd name="connsiteX491" fmla="*/ 3232462 w 7613003"/>
              <a:gd name="connsiteY491" fmla="*/ 436710 h 6367505"/>
              <a:gd name="connsiteX492" fmla="*/ 3265923 w 7613003"/>
              <a:gd name="connsiteY492" fmla="*/ 426145 h 6367505"/>
              <a:gd name="connsiteX493" fmla="*/ 3286474 w 7613003"/>
              <a:gd name="connsiteY493" fmla="*/ 435630 h 6367505"/>
              <a:gd name="connsiteX494" fmla="*/ 3319619 w 7613003"/>
              <a:gd name="connsiteY494" fmla="*/ 410296 h 6367505"/>
              <a:gd name="connsiteX495" fmla="*/ 3372450 w 7613003"/>
              <a:gd name="connsiteY495" fmla="*/ 366272 h 6367505"/>
              <a:gd name="connsiteX496" fmla="*/ 3414714 w 7613003"/>
              <a:gd name="connsiteY496" fmla="*/ 338098 h 6367505"/>
              <a:gd name="connsiteX497" fmla="*/ 3442891 w 7613003"/>
              <a:gd name="connsiteY497" fmla="*/ 338098 h 6367505"/>
              <a:gd name="connsiteX498" fmla="*/ 3485156 w 7613003"/>
              <a:gd name="connsiteY498" fmla="*/ 324010 h 6367505"/>
              <a:gd name="connsiteX499" fmla="*/ 3513002 w 7613003"/>
              <a:gd name="connsiteY499" fmla="*/ 305116 h 6367505"/>
              <a:gd name="connsiteX500" fmla="*/ 3668303 w 7613003"/>
              <a:gd name="connsiteY500" fmla="*/ 267661 h 6367505"/>
              <a:gd name="connsiteX501" fmla="*/ 3611950 w 7613003"/>
              <a:gd name="connsiteY501" fmla="*/ 295836 h 6367505"/>
              <a:gd name="connsiteX502" fmla="*/ 3583773 w 7613003"/>
              <a:gd name="connsiteY502" fmla="*/ 324010 h 6367505"/>
              <a:gd name="connsiteX503" fmla="*/ 3541509 w 7613003"/>
              <a:gd name="connsiteY503" fmla="*/ 338098 h 6367505"/>
              <a:gd name="connsiteX504" fmla="*/ 3471067 w 7613003"/>
              <a:gd name="connsiteY504" fmla="*/ 366272 h 6367505"/>
              <a:gd name="connsiteX505" fmla="*/ 3414714 w 7613003"/>
              <a:gd name="connsiteY505" fmla="*/ 394447 h 6367505"/>
              <a:gd name="connsiteX506" fmla="*/ 3386538 w 7613003"/>
              <a:gd name="connsiteY506" fmla="*/ 408534 h 6367505"/>
              <a:gd name="connsiteX507" fmla="*/ 3344274 w 7613003"/>
              <a:gd name="connsiteY507" fmla="*/ 436710 h 6367505"/>
              <a:gd name="connsiteX508" fmla="*/ 3330185 w 7613003"/>
              <a:gd name="connsiteY508" fmla="*/ 450798 h 6367505"/>
              <a:gd name="connsiteX509" fmla="*/ 3326170 w 7613003"/>
              <a:gd name="connsiteY509" fmla="*/ 452257 h 6367505"/>
              <a:gd name="connsiteX510" fmla="*/ 3361765 w 7613003"/>
              <a:gd name="connsiteY510" fmla="*/ 457920 h 6367505"/>
              <a:gd name="connsiteX511" fmla="*/ 3414714 w 7613003"/>
              <a:gd name="connsiteY511" fmla="*/ 422623 h 6367505"/>
              <a:gd name="connsiteX512" fmla="*/ 3456980 w 7613003"/>
              <a:gd name="connsiteY512" fmla="*/ 394447 h 6367505"/>
              <a:gd name="connsiteX513" fmla="*/ 3541509 w 7613003"/>
              <a:gd name="connsiteY513" fmla="*/ 352185 h 6367505"/>
              <a:gd name="connsiteX514" fmla="*/ 3555597 w 7613003"/>
              <a:gd name="connsiteY514" fmla="*/ 352185 h 6367505"/>
              <a:gd name="connsiteX515" fmla="*/ 3569684 w 7613003"/>
              <a:gd name="connsiteY515" fmla="*/ 338098 h 6367505"/>
              <a:gd name="connsiteX516" fmla="*/ 3597862 w 7613003"/>
              <a:gd name="connsiteY516" fmla="*/ 324010 h 6367505"/>
              <a:gd name="connsiteX517" fmla="*/ 3611950 w 7613003"/>
              <a:gd name="connsiteY517" fmla="*/ 309923 h 6367505"/>
              <a:gd name="connsiteX518" fmla="*/ 3611950 w 7613003"/>
              <a:gd name="connsiteY518" fmla="*/ 324010 h 6367505"/>
              <a:gd name="connsiteX519" fmla="*/ 3597862 w 7613003"/>
              <a:gd name="connsiteY519" fmla="*/ 338098 h 6367505"/>
              <a:gd name="connsiteX520" fmla="*/ 3569684 w 7613003"/>
              <a:gd name="connsiteY520" fmla="*/ 366272 h 6367505"/>
              <a:gd name="connsiteX521" fmla="*/ 3527421 w 7613003"/>
              <a:gd name="connsiteY521" fmla="*/ 380360 h 6367505"/>
              <a:gd name="connsiteX522" fmla="*/ 3527420 w 7613003"/>
              <a:gd name="connsiteY522" fmla="*/ 380360 h 6367505"/>
              <a:gd name="connsiteX523" fmla="*/ 3527419 w 7613003"/>
              <a:gd name="connsiteY523" fmla="*/ 380360 h 6367505"/>
              <a:gd name="connsiteX524" fmla="*/ 3485156 w 7613003"/>
              <a:gd name="connsiteY524" fmla="*/ 394447 h 6367505"/>
              <a:gd name="connsiteX525" fmla="*/ 3428803 w 7613003"/>
              <a:gd name="connsiteY525" fmla="*/ 422623 h 6367505"/>
              <a:gd name="connsiteX526" fmla="*/ 3428803 w 7613003"/>
              <a:gd name="connsiteY526" fmla="*/ 436710 h 6367505"/>
              <a:gd name="connsiteX527" fmla="*/ 3485156 w 7613003"/>
              <a:gd name="connsiteY527" fmla="*/ 408534 h 6367505"/>
              <a:gd name="connsiteX528" fmla="*/ 3506288 w 7613003"/>
              <a:gd name="connsiteY528" fmla="*/ 394447 h 6367505"/>
              <a:gd name="connsiteX529" fmla="*/ 3527419 w 7613003"/>
              <a:gd name="connsiteY529" fmla="*/ 380360 h 6367505"/>
              <a:gd name="connsiteX530" fmla="*/ 3527421 w 7613003"/>
              <a:gd name="connsiteY530" fmla="*/ 380360 h 6367505"/>
              <a:gd name="connsiteX531" fmla="*/ 3534464 w 7613003"/>
              <a:gd name="connsiteY531" fmla="*/ 380360 h 6367505"/>
              <a:gd name="connsiteX532" fmla="*/ 3541509 w 7613003"/>
              <a:gd name="connsiteY532" fmla="*/ 380360 h 6367505"/>
              <a:gd name="connsiteX533" fmla="*/ 3583773 w 7613003"/>
              <a:gd name="connsiteY533" fmla="*/ 366272 h 6367505"/>
              <a:gd name="connsiteX534" fmla="*/ 3485156 w 7613003"/>
              <a:gd name="connsiteY534" fmla="*/ 422623 h 6367505"/>
              <a:gd name="connsiteX535" fmla="*/ 3435627 w 7613003"/>
              <a:gd name="connsiteY535" fmla="*/ 448376 h 6367505"/>
              <a:gd name="connsiteX536" fmla="*/ 3416316 w 7613003"/>
              <a:gd name="connsiteY536" fmla="*/ 463620 h 6367505"/>
              <a:gd name="connsiteX537" fmla="*/ 3471963 w 7613003"/>
              <a:gd name="connsiteY537" fmla="*/ 464885 h 6367505"/>
              <a:gd name="connsiteX538" fmla="*/ 3500139 w 7613003"/>
              <a:gd name="connsiteY538" fmla="*/ 464885 h 6367505"/>
              <a:gd name="connsiteX539" fmla="*/ 3514227 w 7613003"/>
              <a:gd name="connsiteY539" fmla="*/ 464885 h 6367505"/>
              <a:gd name="connsiteX540" fmla="*/ 3554731 w 7613003"/>
              <a:gd name="connsiteY540" fmla="*/ 464885 h 6367505"/>
              <a:gd name="connsiteX541" fmla="*/ 3555597 w 7613003"/>
              <a:gd name="connsiteY541" fmla="*/ 464885 h 6367505"/>
              <a:gd name="connsiteX542" fmla="*/ 3583773 w 7613003"/>
              <a:gd name="connsiteY542" fmla="*/ 450798 h 6367505"/>
              <a:gd name="connsiteX543" fmla="*/ 3626037 w 7613003"/>
              <a:gd name="connsiteY543" fmla="*/ 436710 h 6367505"/>
              <a:gd name="connsiteX544" fmla="*/ 3682390 w 7613003"/>
              <a:gd name="connsiteY544" fmla="*/ 408534 h 6367505"/>
              <a:gd name="connsiteX545" fmla="*/ 3724655 w 7613003"/>
              <a:gd name="connsiteY545" fmla="*/ 380360 h 6367505"/>
              <a:gd name="connsiteX546" fmla="*/ 3766920 w 7613003"/>
              <a:gd name="connsiteY546" fmla="*/ 366272 h 6367505"/>
              <a:gd name="connsiteX547" fmla="*/ 3823273 w 7613003"/>
              <a:gd name="connsiteY547" fmla="*/ 338098 h 6367505"/>
              <a:gd name="connsiteX548" fmla="*/ 3823273 w 7613003"/>
              <a:gd name="connsiteY548" fmla="*/ 352185 h 6367505"/>
              <a:gd name="connsiteX549" fmla="*/ 3809185 w 7613003"/>
              <a:gd name="connsiteY549" fmla="*/ 352185 h 6367505"/>
              <a:gd name="connsiteX550" fmla="*/ 3809185 w 7613003"/>
              <a:gd name="connsiteY550" fmla="*/ 366272 h 6367505"/>
              <a:gd name="connsiteX551" fmla="*/ 3781008 w 7613003"/>
              <a:gd name="connsiteY551" fmla="*/ 380360 h 6367505"/>
              <a:gd name="connsiteX552" fmla="*/ 3795096 w 7613003"/>
              <a:gd name="connsiteY552" fmla="*/ 380360 h 6367505"/>
              <a:gd name="connsiteX553" fmla="*/ 3907802 w 7613003"/>
              <a:gd name="connsiteY553" fmla="*/ 338098 h 6367505"/>
              <a:gd name="connsiteX554" fmla="*/ 3978244 w 7613003"/>
              <a:gd name="connsiteY554" fmla="*/ 324010 h 6367505"/>
              <a:gd name="connsiteX555" fmla="*/ 3999855 w 7613003"/>
              <a:gd name="connsiteY555" fmla="*/ 309154 h 6367505"/>
              <a:gd name="connsiteX556" fmla="*/ 3972094 w 7613003"/>
              <a:gd name="connsiteY556" fmla="*/ 308162 h 6367505"/>
              <a:gd name="connsiteX557" fmla="*/ 3922785 w 7613003"/>
              <a:gd name="connsiteY557" fmla="*/ 295836 h 6367505"/>
              <a:gd name="connsiteX558" fmla="*/ 3908697 w 7613003"/>
              <a:gd name="connsiteY558" fmla="*/ 295836 h 6367505"/>
              <a:gd name="connsiteX559" fmla="*/ 3880521 w 7613003"/>
              <a:gd name="connsiteY559" fmla="*/ 295836 h 6367505"/>
              <a:gd name="connsiteX560" fmla="*/ 3824168 w 7613003"/>
              <a:gd name="connsiteY560" fmla="*/ 281749 h 6367505"/>
              <a:gd name="connsiteX561" fmla="*/ 3795992 w 7613003"/>
              <a:gd name="connsiteY561" fmla="*/ 281749 h 6367505"/>
              <a:gd name="connsiteX562" fmla="*/ 3697375 w 7613003"/>
              <a:gd name="connsiteY562" fmla="*/ 281749 h 6367505"/>
              <a:gd name="connsiteX563" fmla="*/ 3669198 w 7613003"/>
              <a:gd name="connsiteY563" fmla="*/ 267661 h 6367505"/>
              <a:gd name="connsiteX564" fmla="*/ 3331081 w 7613003"/>
              <a:gd name="connsiteY564" fmla="*/ 267661 h 6367505"/>
              <a:gd name="connsiteX565" fmla="*/ 3274728 w 7613003"/>
              <a:gd name="connsiteY565" fmla="*/ 281749 h 6367505"/>
              <a:gd name="connsiteX566" fmla="*/ 3218375 w 7613003"/>
              <a:gd name="connsiteY566" fmla="*/ 281749 h 6367505"/>
              <a:gd name="connsiteX567" fmla="*/ 3204287 w 7613003"/>
              <a:gd name="connsiteY567" fmla="*/ 281749 h 6367505"/>
              <a:gd name="connsiteX568" fmla="*/ 3190198 w 7613003"/>
              <a:gd name="connsiteY568" fmla="*/ 281749 h 6367505"/>
              <a:gd name="connsiteX569" fmla="*/ 3190198 w 7613003"/>
              <a:gd name="connsiteY569" fmla="*/ 295836 h 6367505"/>
              <a:gd name="connsiteX570" fmla="*/ 3162022 w 7613003"/>
              <a:gd name="connsiteY570" fmla="*/ 295836 h 6367505"/>
              <a:gd name="connsiteX571" fmla="*/ 3091581 w 7613003"/>
              <a:gd name="connsiteY571" fmla="*/ 295836 h 6367505"/>
              <a:gd name="connsiteX572" fmla="*/ 3007052 w 7613003"/>
              <a:gd name="connsiteY572" fmla="*/ 295836 h 6367505"/>
              <a:gd name="connsiteX573" fmla="*/ 3007052 w 7613003"/>
              <a:gd name="connsiteY573" fmla="*/ 309923 h 6367505"/>
              <a:gd name="connsiteX574" fmla="*/ 3021139 w 7613003"/>
              <a:gd name="connsiteY574" fmla="*/ 309923 h 6367505"/>
              <a:gd name="connsiteX575" fmla="*/ 3077492 w 7613003"/>
              <a:gd name="connsiteY575" fmla="*/ 309923 h 6367505"/>
              <a:gd name="connsiteX576" fmla="*/ 3133845 w 7613003"/>
              <a:gd name="connsiteY576" fmla="*/ 309923 h 6367505"/>
              <a:gd name="connsiteX577" fmla="*/ 3147934 w 7613003"/>
              <a:gd name="connsiteY577" fmla="*/ 309923 h 6367505"/>
              <a:gd name="connsiteX578" fmla="*/ 3232462 w 7613003"/>
              <a:gd name="connsiteY578" fmla="*/ 295836 h 6367505"/>
              <a:gd name="connsiteX579" fmla="*/ 3274728 w 7613003"/>
              <a:gd name="connsiteY579" fmla="*/ 295836 h 6367505"/>
              <a:gd name="connsiteX580" fmla="*/ 3302904 w 7613003"/>
              <a:gd name="connsiteY580" fmla="*/ 295836 h 6367505"/>
              <a:gd name="connsiteX581" fmla="*/ 3345168 w 7613003"/>
              <a:gd name="connsiteY581" fmla="*/ 295836 h 6367505"/>
              <a:gd name="connsiteX582" fmla="*/ 3415610 w 7613003"/>
              <a:gd name="connsiteY582" fmla="*/ 295836 h 6367505"/>
              <a:gd name="connsiteX583" fmla="*/ 3490894 w 7613003"/>
              <a:gd name="connsiteY583" fmla="*/ 289893 h 6367505"/>
              <a:gd name="connsiteX584" fmla="*/ 3526990 w 7613003"/>
              <a:gd name="connsiteY584" fmla="*/ 295625 h 6367505"/>
              <a:gd name="connsiteX585" fmla="*/ 3534465 w 7613003"/>
              <a:gd name="connsiteY585" fmla="*/ 290553 h 6367505"/>
              <a:gd name="connsiteX586" fmla="*/ 3583773 w 7613003"/>
              <a:gd name="connsiteY586" fmla="*/ 267661 h 6367505"/>
              <a:gd name="connsiteX587" fmla="*/ 3579385 w 7613003"/>
              <a:gd name="connsiteY587" fmla="*/ 267661 h 6367505"/>
              <a:gd name="connsiteX588" fmla="*/ 3570580 w 7613003"/>
              <a:gd name="connsiteY588" fmla="*/ 267661 h 6367505"/>
              <a:gd name="connsiteX589" fmla="*/ 3500139 w 7613003"/>
              <a:gd name="connsiteY589" fmla="*/ 267661 h 6367505"/>
              <a:gd name="connsiteX590" fmla="*/ 3471963 w 7613003"/>
              <a:gd name="connsiteY590" fmla="*/ 267661 h 6367505"/>
              <a:gd name="connsiteX591" fmla="*/ 3457874 w 7613003"/>
              <a:gd name="connsiteY591" fmla="*/ 267661 h 6367505"/>
              <a:gd name="connsiteX592" fmla="*/ 3387433 w 7613003"/>
              <a:gd name="connsiteY592" fmla="*/ 281749 h 6367505"/>
              <a:gd name="connsiteX593" fmla="*/ 3345168 w 7613003"/>
              <a:gd name="connsiteY593" fmla="*/ 267661 h 6367505"/>
              <a:gd name="connsiteX594" fmla="*/ 3331081 w 7613003"/>
              <a:gd name="connsiteY594" fmla="*/ 267661 h 6367505"/>
              <a:gd name="connsiteX595" fmla="*/ 3686218 w 7613003"/>
              <a:gd name="connsiteY595" fmla="*/ 258704 h 6367505"/>
              <a:gd name="connsiteX596" fmla="*/ 3675744 w 7613003"/>
              <a:gd name="connsiteY596" fmla="*/ 263941 h 6367505"/>
              <a:gd name="connsiteX597" fmla="*/ 3683286 w 7613003"/>
              <a:gd name="connsiteY597" fmla="*/ 267661 h 6367505"/>
              <a:gd name="connsiteX598" fmla="*/ 3697375 w 7613003"/>
              <a:gd name="connsiteY598" fmla="*/ 267661 h 6367505"/>
              <a:gd name="connsiteX599" fmla="*/ 3690330 w 7613003"/>
              <a:gd name="connsiteY599" fmla="*/ 265900 h 6367505"/>
              <a:gd name="connsiteX600" fmla="*/ 2781640 w 7613003"/>
              <a:gd name="connsiteY600" fmla="*/ 0 h 6367505"/>
              <a:gd name="connsiteX601" fmla="*/ 2781640 w 7613003"/>
              <a:gd name="connsiteY601" fmla="*/ 14087 h 6367505"/>
              <a:gd name="connsiteX602" fmla="*/ 2767551 w 7613003"/>
              <a:gd name="connsiteY602" fmla="*/ 14087 h 6367505"/>
              <a:gd name="connsiteX603" fmla="*/ 2739374 w 7613003"/>
              <a:gd name="connsiteY603" fmla="*/ 28175 h 6367505"/>
              <a:gd name="connsiteX604" fmla="*/ 2725287 w 7613003"/>
              <a:gd name="connsiteY604" fmla="*/ 28175 h 6367505"/>
              <a:gd name="connsiteX605" fmla="*/ 2612581 w 7613003"/>
              <a:gd name="connsiteY605" fmla="*/ 70438 h 6367505"/>
              <a:gd name="connsiteX606" fmla="*/ 2542140 w 7613003"/>
              <a:gd name="connsiteY606" fmla="*/ 84525 h 6367505"/>
              <a:gd name="connsiteX607" fmla="*/ 2513964 w 7613003"/>
              <a:gd name="connsiteY607" fmla="*/ 98612 h 6367505"/>
              <a:gd name="connsiteX608" fmla="*/ 2387169 w 7613003"/>
              <a:gd name="connsiteY608" fmla="*/ 126787 h 6367505"/>
              <a:gd name="connsiteX609" fmla="*/ 2358994 w 7613003"/>
              <a:gd name="connsiteY609" fmla="*/ 140874 h 6367505"/>
              <a:gd name="connsiteX610" fmla="*/ 2344905 w 7613003"/>
              <a:gd name="connsiteY610" fmla="*/ 140874 h 6367505"/>
              <a:gd name="connsiteX611" fmla="*/ 2302641 w 7613003"/>
              <a:gd name="connsiteY611" fmla="*/ 169049 h 6367505"/>
              <a:gd name="connsiteX612" fmla="*/ 2274464 w 7613003"/>
              <a:gd name="connsiteY612" fmla="*/ 183136 h 6367505"/>
              <a:gd name="connsiteX613" fmla="*/ 2260376 w 7613003"/>
              <a:gd name="connsiteY613" fmla="*/ 183136 h 6367505"/>
              <a:gd name="connsiteX614" fmla="*/ 2175846 w 7613003"/>
              <a:gd name="connsiteY614" fmla="*/ 225398 h 6367505"/>
              <a:gd name="connsiteX615" fmla="*/ 2091317 w 7613003"/>
              <a:gd name="connsiteY615" fmla="*/ 253574 h 6367505"/>
              <a:gd name="connsiteX616" fmla="*/ 2077229 w 7613003"/>
              <a:gd name="connsiteY616" fmla="*/ 253574 h 6367505"/>
              <a:gd name="connsiteX617" fmla="*/ 1992700 w 7613003"/>
              <a:gd name="connsiteY617" fmla="*/ 295836 h 6367505"/>
              <a:gd name="connsiteX618" fmla="*/ 1964523 w 7613003"/>
              <a:gd name="connsiteY618" fmla="*/ 324010 h 6367505"/>
              <a:gd name="connsiteX619" fmla="*/ 1922259 w 7613003"/>
              <a:gd name="connsiteY619" fmla="*/ 338098 h 6367505"/>
              <a:gd name="connsiteX620" fmla="*/ 1851817 w 7613003"/>
              <a:gd name="connsiteY620" fmla="*/ 366272 h 6367505"/>
              <a:gd name="connsiteX621" fmla="*/ 1795464 w 7613003"/>
              <a:gd name="connsiteY621" fmla="*/ 394447 h 6367505"/>
              <a:gd name="connsiteX622" fmla="*/ 1767288 w 7613003"/>
              <a:gd name="connsiteY622" fmla="*/ 408534 h 6367505"/>
              <a:gd name="connsiteX623" fmla="*/ 1725024 w 7613003"/>
              <a:gd name="connsiteY623" fmla="*/ 436710 h 6367505"/>
              <a:gd name="connsiteX624" fmla="*/ 1710935 w 7613003"/>
              <a:gd name="connsiteY624" fmla="*/ 450798 h 6367505"/>
              <a:gd name="connsiteX625" fmla="*/ 1682758 w 7613003"/>
              <a:gd name="connsiteY625" fmla="*/ 464885 h 6367505"/>
              <a:gd name="connsiteX626" fmla="*/ 1668671 w 7613003"/>
              <a:gd name="connsiteY626" fmla="*/ 478972 h 6367505"/>
              <a:gd name="connsiteX627" fmla="*/ 1654582 w 7613003"/>
              <a:gd name="connsiteY627" fmla="*/ 478972 h 6367505"/>
              <a:gd name="connsiteX628" fmla="*/ 1598229 w 7613003"/>
              <a:gd name="connsiteY628" fmla="*/ 535321 h 6367505"/>
              <a:gd name="connsiteX629" fmla="*/ 1485523 w 7613003"/>
              <a:gd name="connsiteY629" fmla="*/ 605759 h 6367505"/>
              <a:gd name="connsiteX630" fmla="*/ 1527788 w 7613003"/>
              <a:gd name="connsiteY630" fmla="*/ 591672 h 6367505"/>
              <a:gd name="connsiteX631" fmla="*/ 1598229 w 7613003"/>
              <a:gd name="connsiteY631" fmla="*/ 535321 h 6367505"/>
              <a:gd name="connsiteX632" fmla="*/ 1668671 w 7613003"/>
              <a:gd name="connsiteY632" fmla="*/ 507147 h 6367505"/>
              <a:gd name="connsiteX633" fmla="*/ 1795464 w 7613003"/>
              <a:gd name="connsiteY633" fmla="*/ 422623 h 6367505"/>
              <a:gd name="connsiteX634" fmla="*/ 1837730 w 7613003"/>
              <a:gd name="connsiteY634" fmla="*/ 394447 h 6367505"/>
              <a:gd name="connsiteX635" fmla="*/ 1922259 w 7613003"/>
              <a:gd name="connsiteY635" fmla="*/ 352185 h 6367505"/>
              <a:gd name="connsiteX636" fmla="*/ 1936347 w 7613003"/>
              <a:gd name="connsiteY636" fmla="*/ 352185 h 6367505"/>
              <a:gd name="connsiteX637" fmla="*/ 1950434 w 7613003"/>
              <a:gd name="connsiteY637" fmla="*/ 338098 h 6367505"/>
              <a:gd name="connsiteX638" fmla="*/ 1978611 w 7613003"/>
              <a:gd name="connsiteY638" fmla="*/ 324010 h 6367505"/>
              <a:gd name="connsiteX639" fmla="*/ 1992700 w 7613003"/>
              <a:gd name="connsiteY639" fmla="*/ 309923 h 6367505"/>
              <a:gd name="connsiteX640" fmla="*/ 1992700 w 7613003"/>
              <a:gd name="connsiteY640" fmla="*/ 324010 h 6367505"/>
              <a:gd name="connsiteX641" fmla="*/ 1978611 w 7613003"/>
              <a:gd name="connsiteY641" fmla="*/ 338098 h 6367505"/>
              <a:gd name="connsiteX642" fmla="*/ 1950434 w 7613003"/>
              <a:gd name="connsiteY642" fmla="*/ 366272 h 6367505"/>
              <a:gd name="connsiteX643" fmla="*/ 1908171 w 7613003"/>
              <a:gd name="connsiteY643" fmla="*/ 380360 h 6367505"/>
              <a:gd name="connsiteX644" fmla="*/ 1908170 w 7613003"/>
              <a:gd name="connsiteY644" fmla="*/ 380360 h 6367505"/>
              <a:gd name="connsiteX645" fmla="*/ 1908169 w 7613003"/>
              <a:gd name="connsiteY645" fmla="*/ 380360 h 6367505"/>
              <a:gd name="connsiteX646" fmla="*/ 1865906 w 7613003"/>
              <a:gd name="connsiteY646" fmla="*/ 394447 h 6367505"/>
              <a:gd name="connsiteX647" fmla="*/ 1809553 w 7613003"/>
              <a:gd name="connsiteY647" fmla="*/ 422623 h 6367505"/>
              <a:gd name="connsiteX648" fmla="*/ 1809553 w 7613003"/>
              <a:gd name="connsiteY648" fmla="*/ 436710 h 6367505"/>
              <a:gd name="connsiteX649" fmla="*/ 1865906 w 7613003"/>
              <a:gd name="connsiteY649" fmla="*/ 408534 h 6367505"/>
              <a:gd name="connsiteX650" fmla="*/ 1887038 w 7613003"/>
              <a:gd name="connsiteY650" fmla="*/ 394447 h 6367505"/>
              <a:gd name="connsiteX651" fmla="*/ 1908169 w 7613003"/>
              <a:gd name="connsiteY651" fmla="*/ 380360 h 6367505"/>
              <a:gd name="connsiteX652" fmla="*/ 1908171 w 7613003"/>
              <a:gd name="connsiteY652" fmla="*/ 380360 h 6367505"/>
              <a:gd name="connsiteX653" fmla="*/ 1915214 w 7613003"/>
              <a:gd name="connsiteY653" fmla="*/ 380360 h 6367505"/>
              <a:gd name="connsiteX654" fmla="*/ 1922259 w 7613003"/>
              <a:gd name="connsiteY654" fmla="*/ 380360 h 6367505"/>
              <a:gd name="connsiteX655" fmla="*/ 1964523 w 7613003"/>
              <a:gd name="connsiteY655" fmla="*/ 366272 h 6367505"/>
              <a:gd name="connsiteX656" fmla="*/ 1865906 w 7613003"/>
              <a:gd name="connsiteY656" fmla="*/ 422623 h 6367505"/>
              <a:gd name="connsiteX657" fmla="*/ 1795464 w 7613003"/>
              <a:gd name="connsiteY657" fmla="*/ 464885 h 6367505"/>
              <a:gd name="connsiteX658" fmla="*/ 1696847 w 7613003"/>
              <a:gd name="connsiteY658" fmla="*/ 535321 h 6367505"/>
              <a:gd name="connsiteX659" fmla="*/ 1626406 w 7613003"/>
              <a:gd name="connsiteY659" fmla="*/ 577583 h 6367505"/>
              <a:gd name="connsiteX660" fmla="*/ 1612318 w 7613003"/>
              <a:gd name="connsiteY660" fmla="*/ 591672 h 6367505"/>
              <a:gd name="connsiteX661" fmla="*/ 1598229 w 7613003"/>
              <a:gd name="connsiteY661" fmla="*/ 591672 h 6367505"/>
              <a:gd name="connsiteX662" fmla="*/ 1555965 w 7613003"/>
              <a:gd name="connsiteY662" fmla="*/ 633934 h 6367505"/>
              <a:gd name="connsiteX663" fmla="*/ 1527788 w 7613003"/>
              <a:gd name="connsiteY663" fmla="*/ 648021 h 6367505"/>
              <a:gd name="connsiteX664" fmla="*/ 1499612 w 7613003"/>
              <a:gd name="connsiteY664" fmla="*/ 676196 h 6367505"/>
              <a:gd name="connsiteX665" fmla="*/ 1457348 w 7613003"/>
              <a:gd name="connsiteY665" fmla="*/ 704370 h 6367505"/>
              <a:gd name="connsiteX666" fmla="*/ 1457348 w 7613003"/>
              <a:gd name="connsiteY666" fmla="*/ 732545 h 6367505"/>
              <a:gd name="connsiteX667" fmla="*/ 1437976 w 7613003"/>
              <a:gd name="connsiteY667" fmla="*/ 741350 h 6367505"/>
              <a:gd name="connsiteX668" fmla="*/ 1432447 w 7613003"/>
              <a:gd name="connsiteY668" fmla="*/ 753512 h 6367505"/>
              <a:gd name="connsiteX669" fmla="*/ 1423888 w 7613003"/>
              <a:gd name="connsiteY669" fmla="*/ 758959 h 6367505"/>
              <a:gd name="connsiteX670" fmla="*/ 1415083 w 7613003"/>
              <a:gd name="connsiteY670" fmla="*/ 760719 h 6367505"/>
              <a:gd name="connsiteX671" fmla="*/ 1429170 w 7613003"/>
              <a:gd name="connsiteY671" fmla="*/ 760719 h 6367505"/>
              <a:gd name="connsiteX672" fmla="*/ 1432447 w 7613003"/>
              <a:gd name="connsiteY672" fmla="*/ 753512 h 6367505"/>
              <a:gd name="connsiteX673" fmla="*/ 1443259 w 7613003"/>
              <a:gd name="connsiteY673" fmla="*/ 746632 h 6367505"/>
              <a:gd name="connsiteX674" fmla="*/ 1471435 w 7613003"/>
              <a:gd name="connsiteY674" fmla="*/ 732545 h 6367505"/>
              <a:gd name="connsiteX675" fmla="*/ 1485523 w 7613003"/>
              <a:gd name="connsiteY675" fmla="*/ 718457 h 6367505"/>
              <a:gd name="connsiteX676" fmla="*/ 1541876 w 7613003"/>
              <a:gd name="connsiteY676" fmla="*/ 676196 h 6367505"/>
              <a:gd name="connsiteX677" fmla="*/ 1570053 w 7613003"/>
              <a:gd name="connsiteY677" fmla="*/ 648021 h 6367505"/>
              <a:gd name="connsiteX678" fmla="*/ 1598229 w 7613003"/>
              <a:gd name="connsiteY678" fmla="*/ 633934 h 6367505"/>
              <a:gd name="connsiteX679" fmla="*/ 1570053 w 7613003"/>
              <a:gd name="connsiteY679" fmla="*/ 662108 h 6367505"/>
              <a:gd name="connsiteX680" fmla="*/ 1541876 w 7613003"/>
              <a:gd name="connsiteY680" fmla="*/ 690283 h 6367505"/>
              <a:gd name="connsiteX681" fmla="*/ 1555965 w 7613003"/>
              <a:gd name="connsiteY681" fmla="*/ 676196 h 6367505"/>
              <a:gd name="connsiteX682" fmla="*/ 1570053 w 7613003"/>
              <a:gd name="connsiteY682" fmla="*/ 676196 h 6367505"/>
              <a:gd name="connsiteX683" fmla="*/ 1598229 w 7613003"/>
              <a:gd name="connsiteY683" fmla="*/ 648021 h 6367505"/>
              <a:gd name="connsiteX684" fmla="*/ 1654582 w 7613003"/>
              <a:gd name="connsiteY684" fmla="*/ 619846 h 6367505"/>
              <a:gd name="connsiteX685" fmla="*/ 1668671 w 7613003"/>
              <a:gd name="connsiteY685" fmla="*/ 605759 h 6367505"/>
              <a:gd name="connsiteX686" fmla="*/ 1696847 w 7613003"/>
              <a:gd name="connsiteY686" fmla="*/ 577583 h 6367505"/>
              <a:gd name="connsiteX687" fmla="*/ 1753200 w 7613003"/>
              <a:gd name="connsiteY687" fmla="*/ 549409 h 6367505"/>
              <a:gd name="connsiteX688" fmla="*/ 1781377 w 7613003"/>
              <a:gd name="connsiteY688" fmla="*/ 535321 h 6367505"/>
              <a:gd name="connsiteX689" fmla="*/ 1837730 w 7613003"/>
              <a:gd name="connsiteY689" fmla="*/ 521234 h 6367505"/>
              <a:gd name="connsiteX690" fmla="*/ 1879994 w 7613003"/>
              <a:gd name="connsiteY690" fmla="*/ 507147 h 6367505"/>
              <a:gd name="connsiteX691" fmla="*/ 1908170 w 7613003"/>
              <a:gd name="connsiteY691" fmla="*/ 493059 h 6367505"/>
              <a:gd name="connsiteX692" fmla="*/ 1936347 w 7613003"/>
              <a:gd name="connsiteY692" fmla="*/ 464885 h 6367505"/>
              <a:gd name="connsiteX693" fmla="*/ 1964523 w 7613003"/>
              <a:gd name="connsiteY693" fmla="*/ 450798 h 6367505"/>
              <a:gd name="connsiteX694" fmla="*/ 2006787 w 7613003"/>
              <a:gd name="connsiteY694" fmla="*/ 436710 h 6367505"/>
              <a:gd name="connsiteX695" fmla="*/ 2063140 w 7613003"/>
              <a:gd name="connsiteY695" fmla="*/ 408534 h 6367505"/>
              <a:gd name="connsiteX696" fmla="*/ 2105405 w 7613003"/>
              <a:gd name="connsiteY696" fmla="*/ 380360 h 6367505"/>
              <a:gd name="connsiteX697" fmla="*/ 2147670 w 7613003"/>
              <a:gd name="connsiteY697" fmla="*/ 366272 h 6367505"/>
              <a:gd name="connsiteX698" fmla="*/ 2204023 w 7613003"/>
              <a:gd name="connsiteY698" fmla="*/ 338098 h 6367505"/>
              <a:gd name="connsiteX699" fmla="*/ 2204023 w 7613003"/>
              <a:gd name="connsiteY699" fmla="*/ 352185 h 6367505"/>
              <a:gd name="connsiteX700" fmla="*/ 2189935 w 7613003"/>
              <a:gd name="connsiteY700" fmla="*/ 352185 h 6367505"/>
              <a:gd name="connsiteX701" fmla="*/ 2189935 w 7613003"/>
              <a:gd name="connsiteY701" fmla="*/ 366272 h 6367505"/>
              <a:gd name="connsiteX702" fmla="*/ 2161758 w 7613003"/>
              <a:gd name="connsiteY702" fmla="*/ 380360 h 6367505"/>
              <a:gd name="connsiteX703" fmla="*/ 2175846 w 7613003"/>
              <a:gd name="connsiteY703" fmla="*/ 380360 h 6367505"/>
              <a:gd name="connsiteX704" fmla="*/ 2288552 w 7613003"/>
              <a:gd name="connsiteY704" fmla="*/ 338098 h 6367505"/>
              <a:gd name="connsiteX705" fmla="*/ 2358994 w 7613003"/>
              <a:gd name="connsiteY705" fmla="*/ 324010 h 6367505"/>
              <a:gd name="connsiteX706" fmla="*/ 2415347 w 7613003"/>
              <a:gd name="connsiteY706" fmla="*/ 295836 h 6367505"/>
              <a:gd name="connsiteX707" fmla="*/ 2528052 w 7613003"/>
              <a:gd name="connsiteY707" fmla="*/ 253574 h 6367505"/>
              <a:gd name="connsiteX708" fmla="*/ 2584406 w 7613003"/>
              <a:gd name="connsiteY708" fmla="*/ 239487 h 6367505"/>
              <a:gd name="connsiteX709" fmla="*/ 2612581 w 7613003"/>
              <a:gd name="connsiteY709" fmla="*/ 239487 h 6367505"/>
              <a:gd name="connsiteX710" fmla="*/ 2640758 w 7613003"/>
              <a:gd name="connsiteY710" fmla="*/ 253574 h 6367505"/>
              <a:gd name="connsiteX711" fmla="*/ 2654846 w 7613003"/>
              <a:gd name="connsiteY711" fmla="*/ 253574 h 6367505"/>
              <a:gd name="connsiteX712" fmla="*/ 2654846 w 7613003"/>
              <a:gd name="connsiteY712" fmla="*/ 281749 h 6367505"/>
              <a:gd name="connsiteX713" fmla="*/ 2598493 w 7613003"/>
              <a:gd name="connsiteY713" fmla="*/ 295836 h 6367505"/>
              <a:gd name="connsiteX714" fmla="*/ 2528052 w 7613003"/>
              <a:gd name="connsiteY714" fmla="*/ 324010 h 6367505"/>
              <a:gd name="connsiteX715" fmla="*/ 2499875 w 7613003"/>
              <a:gd name="connsiteY715" fmla="*/ 338098 h 6367505"/>
              <a:gd name="connsiteX716" fmla="*/ 2471699 w 7613003"/>
              <a:gd name="connsiteY716" fmla="*/ 338098 h 6367505"/>
              <a:gd name="connsiteX717" fmla="*/ 2443523 w 7613003"/>
              <a:gd name="connsiteY717" fmla="*/ 352185 h 6367505"/>
              <a:gd name="connsiteX718" fmla="*/ 2485787 w 7613003"/>
              <a:gd name="connsiteY718" fmla="*/ 352185 h 6367505"/>
              <a:gd name="connsiteX719" fmla="*/ 2387169 w 7613003"/>
              <a:gd name="connsiteY719" fmla="*/ 380360 h 6367505"/>
              <a:gd name="connsiteX720" fmla="*/ 2373081 w 7613003"/>
              <a:gd name="connsiteY720" fmla="*/ 394447 h 6367505"/>
              <a:gd name="connsiteX721" fmla="*/ 2358994 w 7613003"/>
              <a:gd name="connsiteY721" fmla="*/ 394447 h 6367505"/>
              <a:gd name="connsiteX722" fmla="*/ 2344905 w 7613003"/>
              <a:gd name="connsiteY722" fmla="*/ 394447 h 6367505"/>
              <a:gd name="connsiteX723" fmla="*/ 2330816 w 7613003"/>
              <a:gd name="connsiteY723" fmla="*/ 408534 h 6367505"/>
              <a:gd name="connsiteX724" fmla="*/ 2288552 w 7613003"/>
              <a:gd name="connsiteY724" fmla="*/ 422623 h 6367505"/>
              <a:gd name="connsiteX725" fmla="*/ 2344905 w 7613003"/>
              <a:gd name="connsiteY725" fmla="*/ 408534 h 6367505"/>
              <a:gd name="connsiteX726" fmla="*/ 2415347 w 7613003"/>
              <a:gd name="connsiteY726" fmla="*/ 394447 h 6367505"/>
              <a:gd name="connsiteX727" fmla="*/ 2471699 w 7613003"/>
              <a:gd name="connsiteY727" fmla="*/ 380360 h 6367505"/>
              <a:gd name="connsiteX728" fmla="*/ 2485787 w 7613003"/>
              <a:gd name="connsiteY728" fmla="*/ 380360 h 6367505"/>
              <a:gd name="connsiteX729" fmla="*/ 2542140 w 7613003"/>
              <a:gd name="connsiteY729" fmla="*/ 352185 h 6367505"/>
              <a:gd name="connsiteX730" fmla="*/ 2598493 w 7613003"/>
              <a:gd name="connsiteY730" fmla="*/ 338098 h 6367505"/>
              <a:gd name="connsiteX731" fmla="*/ 2654846 w 7613003"/>
              <a:gd name="connsiteY731" fmla="*/ 324010 h 6367505"/>
              <a:gd name="connsiteX732" fmla="*/ 2668934 w 7613003"/>
              <a:gd name="connsiteY732" fmla="*/ 324010 h 6367505"/>
              <a:gd name="connsiteX733" fmla="*/ 2711199 w 7613003"/>
              <a:gd name="connsiteY733" fmla="*/ 309923 h 6367505"/>
              <a:gd name="connsiteX734" fmla="*/ 2725287 w 7613003"/>
              <a:gd name="connsiteY734" fmla="*/ 309923 h 6367505"/>
              <a:gd name="connsiteX735" fmla="*/ 2739374 w 7613003"/>
              <a:gd name="connsiteY735" fmla="*/ 309923 h 6367505"/>
              <a:gd name="connsiteX736" fmla="*/ 2753463 w 7613003"/>
              <a:gd name="connsiteY736" fmla="*/ 295836 h 6367505"/>
              <a:gd name="connsiteX737" fmla="*/ 2866169 w 7613003"/>
              <a:gd name="connsiteY737" fmla="*/ 281749 h 6367505"/>
              <a:gd name="connsiteX738" fmla="*/ 2922522 w 7613003"/>
              <a:gd name="connsiteY738" fmla="*/ 281749 h 6367505"/>
              <a:gd name="connsiteX739" fmla="*/ 2922522 w 7613003"/>
              <a:gd name="connsiteY739" fmla="*/ 267661 h 6367505"/>
              <a:gd name="connsiteX740" fmla="*/ 2936611 w 7613003"/>
              <a:gd name="connsiteY740" fmla="*/ 267661 h 6367505"/>
              <a:gd name="connsiteX741" fmla="*/ 2964786 w 7613003"/>
              <a:gd name="connsiteY741" fmla="*/ 267661 h 6367505"/>
              <a:gd name="connsiteX742" fmla="*/ 3007052 w 7613003"/>
              <a:gd name="connsiteY742" fmla="*/ 267661 h 6367505"/>
              <a:gd name="connsiteX743" fmla="*/ 3035228 w 7613003"/>
              <a:gd name="connsiteY743" fmla="*/ 253574 h 6367505"/>
              <a:gd name="connsiteX744" fmla="*/ 3147934 w 7613003"/>
              <a:gd name="connsiteY744" fmla="*/ 253574 h 6367505"/>
              <a:gd name="connsiteX745" fmla="*/ 3147934 w 7613003"/>
              <a:gd name="connsiteY745" fmla="*/ 239487 h 6367505"/>
              <a:gd name="connsiteX746" fmla="*/ 3190198 w 7613003"/>
              <a:gd name="connsiteY746" fmla="*/ 239487 h 6367505"/>
              <a:gd name="connsiteX747" fmla="*/ 3204287 w 7613003"/>
              <a:gd name="connsiteY747" fmla="*/ 239487 h 6367505"/>
              <a:gd name="connsiteX748" fmla="*/ 3176110 w 7613003"/>
              <a:gd name="connsiteY748" fmla="*/ 253574 h 6367505"/>
              <a:gd name="connsiteX749" fmla="*/ 3188437 w 7613003"/>
              <a:gd name="connsiteY749" fmla="*/ 253574 h 6367505"/>
              <a:gd name="connsiteX750" fmla="*/ 3204287 w 7613003"/>
              <a:gd name="connsiteY750" fmla="*/ 253574 h 6367505"/>
              <a:gd name="connsiteX751" fmla="*/ 3218375 w 7613003"/>
              <a:gd name="connsiteY751" fmla="*/ 253574 h 6367505"/>
              <a:gd name="connsiteX752" fmla="*/ 3232462 w 7613003"/>
              <a:gd name="connsiteY752" fmla="*/ 253574 h 6367505"/>
              <a:gd name="connsiteX753" fmla="*/ 3241268 w 7613003"/>
              <a:gd name="connsiteY753" fmla="*/ 253574 h 6367505"/>
              <a:gd name="connsiteX754" fmla="*/ 3260639 w 7613003"/>
              <a:gd name="connsiteY754" fmla="*/ 253574 h 6367505"/>
              <a:gd name="connsiteX755" fmla="*/ 3331081 w 7613003"/>
              <a:gd name="connsiteY755" fmla="*/ 239487 h 6367505"/>
              <a:gd name="connsiteX756" fmla="*/ 3338125 w 7613003"/>
              <a:gd name="connsiteY756" fmla="*/ 239487 h 6367505"/>
              <a:gd name="connsiteX757" fmla="*/ 3339445 w 7613003"/>
              <a:gd name="connsiteY757" fmla="*/ 239487 h 6367505"/>
              <a:gd name="connsiteX758" fmla="*/ 3341646 w 7613003"/>
              <a:gd name="connsiteY758" fmla="*/ 239487 h 6367505"/>
              <a:gd name="connsiteX759" fmla="*/ 3345168 w 7613003"/>
              <a:gd name="connsiteY759" fmla="*/ 239487 h 6367505"/>
              <a:gd name="connsiteX760" fmla="*/ 3359257 w 7613003"/>
              <a:gd name="connsiteY760" fmla="*/ 239487 h 6367505"/>
              <a:gd name="connsiteX761" fmla="*/ 3373345 w 7613003"/>
              <a:gd name="connsiteY761" fmla="*/ 239487 h 6367505"/>
              <a:gd name="connsiteX762" fmla="*/ 3373345 w 7613003"/>
              <a:gd name="connsiteY762" fmla="*/ 253574 h 6367505"/>
              <a:gd name="connsiteX763" fmla="*/ 3401521 w 7613003"/>
              <a:gd name="connsiteY763" fmla="*/ 253574 h 6367505"/>
              <a:gd name="connsiteX764" fmla="*/ 3406805 w 7613003"/>
              <a:gd name="connsiteY764" fmla="*/ 253574 h 6367505"/>
              <a:gd name="connsiteX765" fmla="*/ 3420893 w 7613003"/>
              <a:gd name="connsiteY765" fmla="*/ 253574 h 6367505"/>
              <a:gd name="connsiteX766" fmla="*/ 3429699 w 7613003"/>
              <a:gd name="connsiteY766" fmla="*/ 253574 h 6367505"/>
              <a:gd name="connsiteX767" fmla="*/ 3431239 w 7613003"/>
              <a:gd name="connsiteY767" fmla="*/ 253574 h 6367505"/>
              <a:gd name="connsiteX768" fmla="*/ 3457874 w 7613003"/>
              <a:gd name="connsiteY768" fmla="*/ 253574 h 6367505"/>
              <a:gd name="connsiteX769" fmla="*/ 3486050 w 7613003"/>
              <a:gd name="connsiteY769" fmla="*/ 253574 h 6367505"/>
              <a:gd name="connsiteX770" fmla="*/ 3514227 w 7613003"/>
              <a:gd name="connsiteY770" fmla="*/ 253574 h 6367505"/>
              <a:gd name="connsiteX771" fmla="*/ 3542404 w 7613003"/>
              <a:gd name="connsiteY771" fmla="*/ 253574 h 6367505"/>
              <a:gd name="connsiteX772" fmla="*/ 3556492 w 7613003"/>
              <a:gd name="connsiteY772" fmla="*/ 239487 h 6367505"/>
              <a:gd name="connsiteX773" fmla="*/ 3584669 w 7613003"/>
              <a:gd name="connsiteY773" fmla="*/ 253574 h 6367505"/>
              <a:gd name="connsiteX774" fmla="*/ 3598756 w 7613003"/>
              <a:gd name="connsiteY774" fmla="*/ 253574 h 6367505"/>
              <a:gd name="connsiteX775" fmla="*/ 3600517 w 7613003"/>
              <a:gd name="connsiteY775" fmla="*/ 253574 h 6367505"/>
              <a:gd name="connsiteX776" fmla="*/ 3611950 w 7613003"/>
              <a:gd name="connsiteY776" fmla="*/ 253574 h 6367505"/>
              <a:gd name="connsiteX777" fmla="*/ 3654214 w 7613003"/>
              <a:gd name="connsiteY777" fmla="*/ 225398 h 6367505"/>
              <a:gd name="connsiteX778" fmla="*/ 3710567 w 7613003"/>
              <a:gd name="connsiteY778" fmla="*/ 197224 h 6367505"/>
              <a:gd name="connsiteX779" fmla="*/ 3851449 w 7613003"/>
              <a:gd name="connsiteY779" fmla="*/ 140874 h 6367505"/>
              <a:gd name="connsiteX780" fmla="*/ 3935979 w 7613003"/>
              <a:gd name="connsiteY780" fmla="*/ 112700 h 6367505"/>
              <a:gd name="connsiteX781" fmla="*/ 4034596 w 7613003"/>
              <a:gd name="connsiteY781" fmla="*/ 84525 h 6367505"/>
              <a:gd name="connsiteX782" fmla="*/ 4048684 w 7613003"/>
              <a:gd name="connsiteY782" fmla="*/ 70438 h 6367505"/>
              <a:gd name="connsiteX783" fmla="*/ 4076861 w 7613003"/>
              <a:gd name="connsiteY783" fmla="*/ 70438 h 6367505"/>
              <a:gd name="connsiteX784" fmla="*/ 4288184 w 7613003"/>
              <a:gd name="connsiteY784" fmla="*/ 14087 h 6367505"/>
              <a:gd name="connsiteX785" fmla="*/ 4330449 w 7613003"/>
              <a:gd name="connsiteY785" fmla="*/ 14087 h 6367505"/>
              <a:gd name="connsiteX786" fmla="*/ 4400890 w 7613003"/>
              <a:gd name="connsiteY786" fmla="*/ 0 h 6367505"/>
              <a:gd name="connsiteX787" fmla="*/ 4400890 w 7613003"/>
              <a:gd name="connsiteY787" fmla="*/ 14087 h 6367505"/>
              <a:gd name="connsiteX788" fmla="*/ 4386801 w 7613003"/>
              <a:gd name="connsiteY788" fmla="*/ 14087 h 6367505"/>
              <a:gd name="connsiteX789" fmla="*/ 4358624 w 7613003"/>
              <a:gd name="connsiteY789" fmla="*/ 28175 h 6367505"/>
              <a:gd name="connsiteX790" fmla="*/ 4344537 w 7613003"/>
              <a:gd name="connsiteY790" fmla="*/ 28175 h 6367505"/>
              <a:gd name="connsiteX791" fmla="*/ 4231831 w 7613003"/>
              <a:gd name="connsiteY791" fmla="*/ 70438 h 6367505"/>
              <a:gd name="connsiteX792" fmla="*/ 4161390 w 7613003"/>
              <a:gd name="connsiteY792" fmla="*/ 84525 h 6367505"/>
              <a:gd name="connsiteX793" fmla="*/ 4133214 w 7613003"/>
              <a:gd name="connsiteY793" fmla="*/ 98612 h 6367505"/>
              <a:gd name="connsiteX794" fmla="*/ 4006419 w 7613003"/>
              <a:gd name="connsiteY794" fmla="*/ 126787 h 6367505"/>
              <a:gd name="connsiteX795" fmla="*/ 3978244 w 7613003"/>
              <a:gd name="connsiteY795" fmla="*/ 140874 h 6367505"/>
              <a:gd name="connsiteX796" fmla="*/ 3964155 w 7613003"/>
              <a:gd name="connsiteY796" fmla="*/ 140874 h 6367505"/>
              <a:gd name="connsiteX797" fmla="*/ 3921891 w 7613003"/>
              <a:gd name="connsiteY797" fmla="*/ 169049 h 6367505"/>
              <a:gd name="connsiteX798" fmla="*/ 3893713 w 7613003"/>
              <a:gd name="connsiteY798" fmla="*/ 183136 h 6367505"/>
              <a:gd name="connsiteX799" fmla="*/ 3879626 w 7613003"/>
              <a:gd name="connsiteY799" fmla="*/ 183136 h 6367505"/>
              <a:gd name="connsiteX800" fmla="*/ 3795096 w 7613003"/>
              <a:gd name="connsiteY800" fmla="*/ 225398 h 6367505"/>
              <a:gd name="connsiteX801" fmla="*/ 3710567 w 7613003"/>
              <a:gd name="connsiteY801" fmla="*/ 253574 h 6367505"/>
              <a:gd name="connsiteX802" fmla="*/ 3696479 w 7613003"/>
              <a:gd name="connsiteY802" fmla="*/ 253574 h 6367505"/>
              <a:gd name="connsiteX803" fmla="*/ 3691453 w 7613003"/>
              <a:gd name="connsiteY803" fmla="*/ 256087 h 6367505"/>
              <a:gd name="connsiteX804" fmla="*/ 3706180 w 7613003"/>
              <a:gd name="connsiteY804" fmla="*/ 260618 h 6367505"/>
              <a:gd name="connsiteX805" fmla="*/ 3739639 w 7613003"/>
              <a:gd name="connsiteY805" fmla="*/ 267661 h 6367505"/>
              <a:gd name="connsiteX806" fmla="*/ 3743161 w 7613003"/>
              <a:gd name="connsiteY806" fmla="*/ 267661 h 6367505"/>
              <a:gd name="connsiteX807" fmla="*/ 3767815 w 7613003"/>
              <a:gd name="connsiteY807" fmla="*/ 267661 h 6367505"/>
              <a:gd name="connsiteX808" fmla="*/ 3908697 w 7613003"/>
              <a:gd name="connsiteY808" fmla="*/ 281749 h 6367505"/>
              <a:gd name="connsiteX809" fmla="*/ 3965050 w 7613003"/>
              <a:gd name="connsiteY809" fmla="*/ 295836 h 6367505"/>
              <a:gd name="connsiteX810" fmla="*/ 4004780 w 7613003"/>
              <a:gd name="connsiteY810" fmla="*/ 305768 h 6367505"/>
              <a:gd name="connsiteX811" fmla="*/ 4006420 w 7613003"/>
              <a:gd name="connsiteY811" fmla="*/ 304641 h 6367505"/>
              <a:gd name="connsiteX812" fmla="*/ 4034596 w 7613003"/>
              <a:gd name="connsiteY812" fmla="*/ 295836 h 6367505"/>
              <a:gd name="connsiteX813" fmla="*/ 4147302 w 7613003"/>
              <a:gd name="connsiteY813" fmla="*/ 253574 h 6367505"/>
              <a:gd name="connsiteX814" fmla="*/ 4203655 w 7613003"/>
              <a:gd name="connsiteY814" fmla="*/ 239487 h 6367505"/>
              <a:gd name="connsiteX815" fmla="*/ 4231831 w 7613003"/>
              <a:gd name="connsiteY815" fmla="*/ 239487 h 6367505"/>
              <a:gd name="connsiteX816" fmla="*/ 4260008 w 7613003"/>
              <a:gd name="connsiteY816" fmla="*/ 253574 h 6367505"/>
              <a:gd name="connsiteX817" fmla="*/ 4274096 w 7613003"/>
              <a:gd name="connsiteY817" fmla="*/ 253574 h 6367505"/>
              <a:gd name="connsiteX818" fmla="*/ 4274096 w 7613003"/>
              <a:gd name="connsiteY818" fmla="*/ 281749 h 6367505"/>
              <a:gd name="connsiteX819" fmla="*/ 4217743 w 7613003"/>
              <a:gd name="connsiteY819" fmla="*/ 295836 h 6367505"/>
              <a:gd name="connsiteX820" fmla="*/ 4147302 w 7613003"/>
              <a:gd name="connsiteY820" fmla="*/ 324010 h 6367505"/>
              <a:gd name="connsiteX821" fmla="*/ 4138497 w 7613003"/>
              <a:gd name="connsiteY821" fmla="*/ 325771 h 6367505"/>
              <a:gd name="connsiteX822" fmla="*/ 4134519 w 7613003"/>
              <a:gd name="connsiteY822" fmla="*/ 328303 h 6367505"/>
              <a:gd name="connsiteX823" fmla="*/ 4176373 w 7613003"/>
              <a:gd name="connsiteY823" fmla="*/ 338098 h 6367505"/>
              <a:gd name="connsiteX824" fmla="*/ 4202128 w 7613003"/>
              <a:gd name="connsiteY824" fmla="*/ 338098 h 6367505"/>
              <a:gd name="connsiteX825" fmla="*/ 4217743 w 7613003"/>
              <a:gd name="connsiteY825" fmla="*/ 338098 h 6367505"/>
              <a:gd name="connsiteX826" fmla="*/ 4274096 w 7613003"/>
              <a:gd name="connsiteY826" fmla="*/ 324010 h 6367505"/>
              <a:gd name="connsiteX827" fmla="*/ 4288184 w 7613003"/>
              <a:gd name="connsiteY827" fmla="*/ 324010 h 6367505"/>
              <a:gd name="connsiteX828" fmla="*/ 4330449 w 7613003"/>
              <a:gd name="connsiteY828" fmla="*/ 309923 h 6367505"/>
              <a:gd name="connsiteX829" fmla="*/ 4344537 w 7613003"/>
              <a:gd name="connsiteY829" fmla="*/ 309923 h 6367505"/>
              <a:gd name="connsiteX830" fmla="*/ 4358624 w 7613003"/>
              <a:gd name="connsiteY830" fmla="*/ 309923 h 6367505"/>
              <a:gd name="connsiteX831" fmla="*/ 4372713 w 7613003"/>
              <a:gd name="connsiteY831" fmla="*/ 295836 h 6367505"/>
              <a:gd name="connsiteX832" fmla="*/ 4485419 w 7613003"/>
              <a:gd name="connsiteY832" fmla="*/ 281749 h 6367505"/>
              <a:gd name="connsiteX833" fmla="*/ 4541772 w 7613003"/>
              <a:gd name="connsiteY833" fmla="*/ 281749 h 6367505"/>
              <a:gd name="connsiteX834" fmla="*/ 4541772 w 7613003"/>
              <a:gd name="connsiteY834" fmla="*/ 267661 h 6367505"/>
              <a:gd name="connsiteX835" fmla="*/ 4555860 w 7613003"/>
              <a:gd name="connsiteY835" fmla="*/ 267661 h 6367505"/>
              <a:gd name="connsiteX836" fmla="*/ 4584036 w 7613003"/>
              <a:gd name="connsiteY836" fmla="*/ 267661 h 6367505"/>
              <a:gd name="connsiteX837" fmla="*/ 4626302 w 7613003"/>
              <a:gd name="connsiteY837" fmla="*/ 267661 h 6367505"/>
              <a:gd name="connsiteX838" fmla="*/ 4654478 w 7613003"/>
              <a:gd name="connsiteY838" fmla="*/ 253574 h 6367505"/>
              <a:gd name="connsiteX839" fmla="*/ 4767184 w 7613003"/>
              <a:gd name="connsiteY839" fmla="*/ 253574 h 6367505"/>
              <a:gd name="connsiteX840" fmla="*/ 4767184 w 7613003"/>
              <a:gd name="connsiteY840" fmla="*/ 239487 h 6367505"/>
              <a:gd name="connsiteX841" fmla="*/ 4809448 w 7613003"/>
              <a:gd name="connsiteY841" fmla="*/ 239487 h 6367505"/>
              <a:gd name="connsiteX842" fmla="*/ 4823537 w 7613003"/>
              <a:gd name="connsiteY842" fmla="*/ 239487 h 6367505"/>
              <a:gd name="connsiteX843" fmla="*/ 4795359 w 7613003"/>
              <a:gd name="connsiteY843" fmla="*/ 253574 h 6367505"/>
              <a:gd name="connsiteX844" fmla="*/ 4807686 w 7613003"/>
              <a:gd name="connsiteY844" fmla="*/ 253574 h 6367505"/>
              <a:gd name="connsiteX845" fmla="*/ 4823537 w 7613003"/>
              <a:gd name="connsiteY845" fmla="*/ 253574 h 6367505"/>
              <a:gd name="connsiteX846" fmla="*/ 4837625 w 7613003"/>
              <a:gd name="connsiteY846" fmla="*/ 253574 h 6367505"/>
              <a:gd name="connsiteX847" fmla="*/ 4851712 w 7613003"/>
              <a:gd name="connsiteY847" fmla="*/ 253574 h 6367505"/>
              <a:gd name="connsiteX848" fmla="*/ 4860518 w 7613003"/>
              <a:gd name="connsiteY848" fmla="*/ 253574 h 6367505"/>
              <a:gd name="connsiteX849" fmla="*/ 4879889 w 7613003"/>
              <a:gd name="connsiteY849" fmla="*/ 253574 h 6367505"/>
              <a:gd name="connsiteX850" fmla="*/ 4950331 w 7613003"/>
              <a:gd name="connsiteY850" fmla="*/ 239487 h 6367505"/>
              <a:gd name="connsiteX851" fmla="*/ 4957375 w 7613003"/>
              <a:gd name="connsiteY851" fmla="*/ 239487 h 6367505"/>
              <a:gd name="connsiteX852" fmla="*/ 4958695 w 7613003"/>
              <a:gd name="connsiteY852" fmla="*/ 239487 h 6367505"/>
              <a:gd name="connsiteX853" fmla="*/ 4960896 w 7613003"/>
              <a:gd name="connsiteY853" fmla="*/ 239487 h 6367505"/>
              <a:gd name="connsiteX854" fmla="*/ 4964418 w 7613003"/>
              <a:gd name="connsiteY854" fmla="*/ 239487 h 6367505"/>
              <a:gd name="connsiteX855" fmla="*/ 4978507 w 7613003"/>
              <a:gd name="connsiteY855" fmla="*/ 239487 h 6367505"/>
              <a:gd name="connsiteX856" fmla="*/ 4992595 w 7613003"/>
              <a:gd name="connsiteY856" fmla="*/ 239487 h 6367505"/>
              <a:gd name="connsiteX857" fmla="*/ 4992595 w 7613003"/>
              <a:gd name="connsiteY857" fmla="*/ 253574 h 6367505"/>
              <a:gd name="connsiteX858" fmla="*/ 5020771 w 7613003"/>
              <a:gd name="connsiteY858" fmla="*/ 253574 h 6367505"/>
              <a:gd name="connsiteX859" fmla="*/ 5026055 w 7613003"/>
              <a:gd name="connsiteY859" fmla="*/ 253574 h 6367505"/>
              <a:gd name="connsiteX860" fmla="*/ 5040143 w 7613003"/>
              <a:gd name="connsiteY860" fmla="*/ 253574 h 6367505"/>
              <a:gd name="connsiteX861" fmla="*/ 5048948 w 7613003"/>
              <a:gd name="connsiteY861" fmla="*/ 253574 h 6367505"/>
              <a:gd name="connsiteX862" fmla="*/ 5050489 w 7613003"/>
              <a:gd name="connsiteY862" fmla="*/ 253574 h 6367505"/>
              <a:gd name="connsiteX863" fmla="*/ 5077124 w 7613003"/>
              <a:gd name="connsiteY863" fmla="*/ 253574 h 6367505"/>
              <a:gd name="connsiteX864" fmla="*/ 5105300 w 7613003"/>
              <a:gd name="connsiteY864" fmla="*/ 253574 h 6367505"/>
              <a:gd name="connsiteX865" fmla="*/ 5133477 w 7613003"/>
              <a:gd name="connsiteY865" fmla="*/ 253574 h 6367505"/>
              <a:gd name="connsiteX866" fmla="*/ 5161654 w 7613003"/>
              <a:gd name="connsiteY866" fmla="*/ 253574 h 6367505"/>
              <a:gd name="connsiteX867" fmla="*/ 5175742 w 7613003"/>
              <a:gd name="connsiteY867" fmla="*/ 239487 h 6367505"/>
              <a:gd name="connsiteX868" fmla="*/ 5203919 w 7613003"/>
              <a:gd name="connsiteY868" fmla="*/ 253574 h 6367505"/>
              <a:gd name="connsiteX869" fmla="*/ 5218006 w 7613003"/>
              <a:gd name="connsiteY869" fmla="*/ 253574 h 6367505"/>
              <a:gd name="connsiteX870" fmla="*/ 5232094 w 7613003"/>
              <a:gd name="connsiteY870" fmla="*/ 253574 h 6367505"/>
              <a:gd name="connsiteX871" fmla="*/ 5246183 w 7613003"/>
              <a:gd name="connsiteY871" fmla="*/ 253574 h 6367505"/>
              <a:gd name="connsiteX872" fmla="*/ 5260270 w 7613003"/>
              <a:gd name="connsiteY872" fmla="*/ 253574 h 6367505"/>
              <a:gd name="connsiteX873" fmla="*/ 5302536 w 7613003"/>
              <a:gd name="connsiteY873" fmla="*/ 267661 h 6367505"/>
              <a:gd name="connsiteX874" fmla="*/ 5316625 w 7613003"/>
              <a:gd name="connsiteY874" fmla="*/ 267661 h 6367505"/>
              <a:gd name="connsiteX875" fmla="*/ 5302536 w 7613003"/>
              <a:gd name="connsiteY875" fmla="*/ 253574 h 6367505"/>
              <a:gd name="connsiteX876" fmla="*/ 5358889 w 7613003"/>
              <a:gd name="connsiteY876" fmla="*/ 267661 h 6367505"/>
              <a:gd name="connsiteX877" fmla="*/ 5362410 w 7613003"/>
              <a:gd name="connsiteY877" fmla="*/ 267661 h 6367505"/>
              <a:gd name="connsiteX878" fmla="*/ 5387065 w 7613003"/>
              <a:gd name="connsiteY878" fmla="*/ 267661 h 6367505"/>
              <a:gd name="connsiteX879" fmla="*/ 5527947 w 7613003"/>
              <a:gd name="connsiteY879" fmla="*/ 281749 h 6367505"/>
              <a:gd name="connsiteX880" fmla="*/ 5640652 w 7613003"/>
              <a:gd name="connsiteY880" fmla="*/ 309923 h 6367505"/>
              <a:gd name="connsiteX881" fmla="*/ 5542035 w 7613003"/>
              <a:gd name="connsiteY881" fmla="*/ 295836 h 6367505"/>
              <a:gd name="connsiteX882" fmla="*/ 5527947 w 7613003"/>
              <a:gd name="connsiteY882" fmla="*/ 295836 h 6367505"/>
              <a:gd name="connsiteX883" fmla="*/ 5499771 w 7613003"/>
              <a:gd name="connsiteY883" fmla="*/ 295836 h 6367505"/>
              <a:gd name="connsiteX884" fmla="*/ 5443418 w 7613003"/>
              <a:gd name="connsiteY884" fmla="*/ 281749 h 6367505"/>
              <a:gd name="connsiteX885" fmla="*/ 5415242 w 7613003"/>
              <a:gd name="connsiteY885" fmla="*/ 281749 h 6367505"/>
              <a:gd name="connsiteX886" fmla="*/ 5316625 w 7613003"/>
              <a:gd name="connsiteY886" fmla="*/ 281749 h 6367505"/>
              <a:gd name="connsiteX887" fmla="*/ 5288447 w 7613003"/>
              <a:gd name="connsiteY887" fmla="*/ 267661 h 6367505"/>
              <a:gd name="connsiteX888" fmla="*/ 5232094 w 7613003"/>
              <a:gd name="connsiteY888" fmla="*/ 267661 h 6367505"/>
              <a:gd name="connsiteX889" fmla="*/ 5230333 w 7613003"/>
              <a:gd name="connsiteY889" fmla="*/ 267661 h 6367505"/>
              <a:gd name="connsiteX890" fmla="*/ 5228573 w 7613003"/>
              <a:gd name="connsiteY890" fmla="*/ 267661 h 6367505"/>
              <a:gd name="connsiteX891" fmla="*/ 5218006 w 7613003"/>
              <a:gd name="connsiteY891" fmla="*/ 267661 h 6367505"/>
              <a:gd name="connsiteX892" fmla="*/ 5189830 w 7613003"/>
              <a:gd name="connsiteY892" fmla="*/ 267661 h 6367505"/>
              <a:gd name="connsiteX893" fmla="*/ 5119389 w 7613003"/>
              <a:gd name="connsiteY893" fmla="*/ 267661 h 6367505"/>
              <a:gd name="connsiteX894" fmla="*/ 5091213 w 7613003"/>
              <a:gd name="connsiteY894" fmla="*/ 267661 h 6367505"/>
              <a:gd name="connsiteX895" fmla="*/ 5077124 w 7613003"/>
              <a:gd name="connsiteY895" fmla="*/ 267661 h 6367505"/>
              <a:gd name="connsiteX896" fmla="*/ 5006683 w 7613003"/>
              <a:gd name="connsiteY896" fmla="*/ 281749 h 6367505"/>
              <a:gd name="connsiteX897" fmla="*/ 4964418 w 7613003"/>
              <a:gd name="connsiteY897" fmla="*/ 267661 h 6367505"/>
              <a:gd name="connsiteX898" fmla="*/ 4950331 w 7613003"/>
              <a:gd name="connsiteY898" fmla="*/ 267661 h 6367505"/>
              <a:gd name="connsiteX899" fmla="*/ 4893978 w 7613003"/>
              <a:gd name="connsiteY899" fmla="*/ 281749 h 6367505"/>
              <a:gd name="connsiteX900" fmla="*/ 4837625 w 7613003"/>
              <a:gd name="connsiteY900" fmla="*/ 281749 h 6367505"/>
              <a:gd name="connsiteX901" fmla="*/ 4823537 w 7613003"/>
              <a:gd name="connsiteY901" fmla="*/ 281749 h 6367505"/>
              <a:gd name="connsiteX902" fmla="*/ 4809448 w 7613003"/>
              <a:gd name="connsiteY902" fmla="*/ 281749 h 6367505"/>
              <a:gd name="connsiteX903" fmla="*/ 4809448 w 7613003"/>
              <a:gd name="connsiteY903" fmla="*/ 295836 h 6367505"/>
              <a:gd name="connsiteX904" fmla="*/ 4781272 w 7613003"/>
              <a:gd name="connsiteY904" fmla="*/ 295836 h 6367505"/>
              <a:gd name="connsiteX905" fmla="*/ 4710831 w 7613003"/>
              <a:gd name="connsiteY905" fmla="*/ 295836 h 6367505"/>
              <a:gd name="connsiteX906" fmla="*/ 4626302 w 7613003"/>
              <a:gd name="connsiteY906" fmla="*/ 295836 h 6367505"/>
              <a:gd name="connsiteX907" fmla="*/ 4626302 w 7613003"/>
              <a:gd name="connsiteY907" fmla="*/ 309923 h 6367505"/>
              <a:gd name="connsiteX908" fmla="*/ 4640389 w 7613003"/>
              <a:gd name="connsiteY908" fmla="*/ 309923 h 6367505"/>
              <a:gd name="connsiteX909" fmla="*/ 4696742 w 7613003"/>
              <a:gd name="connsiteY909" fmla="*/ 309923 h 6367505"/>
              <a:gd name="connsiteX910" fmla="*/ 4753095 w 7613003"/>
              <a:gd name="connsiteY910" fmla="*/ 309923 h 6367505"/>
              <a:gd name="connsiteX911" fmla="*/ 4767184 w 7613003"/>
              <a:gd name="connsiteY911" fmla="*/ 309923 h 6367505"/>
              <a:gd name="connsiteX912" fmla="*/ 4851712 w 7613003"/>
              <a:gd name="connsiteY912" fmla="*/ 295836 h 6367505"/>
              <a:gd name="connsiteX913" fmla="*/ 4893978 w 7613003"/>
              <a:gd name="connsiteY913" fmla="*/ 295836 h 6367505"/>
              <a:gd name="connsiteX914" fmla="*/ 4922154 w 7613003"/>
              <a:gd name="connsiteY914" fmla="*/ 295836 h 6367505"/>
              <a:gd name="connsiteX915" fmla="*/ 4964418 w 7613003"/>
              <a:gd name="connsiteY915" fmla="*/ 295836 h 6367505"/>
              <a:gd name="connsiteX916" fmla="*/ 5034860 w 7613003"/>
              <a:gd name="connsiteY916" fmla="*/ 295836 h 6367505"/>
              <a:gd name="connsiteX917" fmla="*/ 5147566 w 7613003"/>
              <a:gd name="connsiteY917" fmla="*/ 295836 h 6367505"/>
              <a:gd name="connsiteX918" fmla="*/ 5189830 w 7613003"/>
              <a:gd name="connsiteY918" fmla="*/ 309923 h 6367505"/>
              <a:gd name="connsiteX919" fmla="*/ 5175742 w 7613003"/>
              <a:gd name="connsiteY919" fmla="*/ 309923 h 6367505"/>
              <a:gd name="connsiteX920" fmla="*/ 5147566 w 7613003"/>
              <a:gd name="connsiteY920" fmla="*/ 309923 h 6367505"/>
              <a:gd name="connsiteX921" fmla="*/ 5077124 w 7613003"/>
              <a:gd name="connsiteY921" fmla="*/ 309923 h 6367505"/>
              <a:gd name="connsiteX922" fmla="*/ 4992595 w 7613003"/>
              <a:gd name="connsiteY922" fmla="*/ 309923 h 6367505"/>
              <a:gd name="connsiteX923" fmla="*/ 4936242 w 7613003"/>
              <a:gd name="connsiteY923" fmla="*/ 309923 h 6367505"/>
              <a:gd name="connsiteX924" fmla="*/ 4908065 w 7613003"/>
              <a:gd name="connsiteY924" fmla="*/ 324010 h 6367505"/>
              <a:gd name="connsiteX925" fmla="*/ 4879889 w 7613003"/>
              <a:gd name="connsiteY925" fmla="*/ 324010 h 6367505"/>
              <a:gd name="connsiteX926" fmla="*/ 4865801 w 7613003"/>
              <a:gd name="connsiteY926" fmla="*/ 324010 h 6367505"/>
              <a:gd name="connsiteX927" fmla="*/ 4809448 w 7613003"/>
              <a:gd name="connsiteY927" fmla="*/ 324010 h 6367505"/>
              <a:gd name="connsiteX928" fmla="*/ 4795359 w 7613003"/>
              <a:gd name="connsiteY928" fmla="*/ 324010 h 6367505"/>
              <a:gd name="connsiteX929" fmla="*/ 4781272 w 7613003"/>
              <a:gd name="connsiteY929" fmla="*/ 324010 h 6367505"/>
              <a:gd name="connsiteX930" fmla="*/ 4724919 w 7613003"/>
              <a:gd name="connsiteY930" fmla="*/ 338098 h 6367505"/>
              <a:gd name="connsiteX931" fmla="*/ 4710831 w 7613003"/>
              <a:gd name="connsiteY931" fmla="*/ 338098 h 6367505"/>
              <a:gd name="connsiteX932" fmla="*/ 4654478 w 7613003"/>
              <a:gd name="connsiteY932" fmla="*/ 338098 h 6367505"/>
              <a:gd name="connsiteX933" fmla="*/ 4584036 w 7613003"/>
              <a:gd name="connsiteY933" fmla="*/ 352185 h 6367505"/>
              <a:gd name="connsiteX934" fmla="*/ 4569949 w 7613003"/>
              <a:gd name="connsiteY934" fmla="*/ 352185 h 6367505"/>
              <a:gd name="connsiteX935" fmla="*/ 4527683 w 7613003"/>
              <a:gd name="connsiteY935" fmla="*/ 366272 h 6367505"/>
              <a:gd name="connsiteX936" fmla="*/ 4513595 w 7613003"/>
              <a:gd name="connsiteY936" fmla="*/ 366272 h 6367505"/>
              <a:gd name="connsiteX937" fmla="*/ 4499507 w 7613003"/>
              <a:gd name="connsiteY937" fmla="*/ 366272 h 6367505"/>
              <a:gd name="connsiteX938" fmla="*/ 4485419 w 7613003"/>
              <a:gd name="connsiteY938" fmla="*/ 366272 h 6367505"/>
              <a:gd name="connsiteX939" fmla="*/ 4429066 w 7613003"/>
              <a:gd name="connsiteY939" fmla="*/ 380360 h 6367505"/>
              <a:gd name="connsiteX940" fmla="*/ 4400890 w 7613003"/>
              <a:gd name="connsiteY940" fmla="*/ 380360 h 6367505"/>
              <a:gd name="connsiteX941" fmla="*/ 4400890 w 7613003"/>
              <a:gd name="connsiteY941" fmla="*/ 394447 h 6367505"/>
              <a:gd name="connsiteX942" fmla="*/ 4386801 w 7613003"/>
              <a:gd name="connsiteY942" fmla="*/ 394447 h 6367505"/>
              <a:gd name="connsiteX943" fmla="*/ 4372713 w 7613003"/>
              <a:gd name="connsiteY943" fmla="*/ 394447 h 6367505"/>
              <a:gd name="connsiteX944" fmla="*/ 4370952 w 7613003"/>
              <a:gd name="connsiteY944" fmla="*/ 394447 h 6367505"/>
              <a:gd name="connsiteX945" fmla="*/ 4359520 w 7613003"/>
              <a:gd name="connsiteY945" fmla="*/ 394447 h 6367505"/>
              <a:gd name="connsiteX946" fmla="*/ 4363709 w 7613003"/>
              <a:gd name="connsiteY946" fmla="*/ 395971 h 6367505"/>
              <a:gd name="connsiteX947" fmla="*/ 4357040 w 7613003"/>
              <a:gd name="connsiteY947" fmla="*/ 395415 h 6367505"/>
              <a:gd name="connsiteX948" fmla="*/ 4326927 w 7613003"/>
              <a:gd name="connsiteY948" fmla="*/ 413818 h 6367505"/>
              <a:gd name="connsiteX949" fmla="*/ 4274096 w 7613003"/>
              <a:gd name="connsiteY949" fmla="*/ 422623 h 6367505"/>
              <a:gd name="connsiteX950" fmla="*/ 4260008 w 7613003"/>
              <a:gd name="connsiteY950" fmla="*/ 422623 h 6367505"/>
              <a:gd name="connsiteX951" fmla="*/ 4231831 w 7613003"/>
              <a:gd name="connsiteY951" fmla="*/ 436710 h 6367505"/>
              <a:gd name="connsiteX952" fmla="*/ 4217743 w 7613003"/>
              <a:gd name="connsiteY952" fmla="*/ 436710 h 6367505"/>
              <a:gd name="connsiteX953" fmla="*/ 4203655 w 7613003"/>
              <a:gd name="connsiteY953" fmla="*/ 450798 h 6367505"/>
              <a:gd name="connsiteX954" fmla="*/ 4189567 w 7613003"/>
              <a:gd name="connsiteY954" fmla="*/ 450798 h 6367505"/>
              <a:gd name="connsiteX955" fmla="*/ 4062772 w 7613003"/>
              <a:gd name="connsiteY955" fmla="*/ 493059 h 6367505"/>
              <a:gd name="connsiteX956" fmla="*/ 4034596 w 7613003"/>
              <a:gd name="connsiteY956" fmla="*/ 493059 h 6367505"/>
              <a:gd name="connsiteX957" fmla="*/ 4020508 w 7613003"/>
              <a:gd name="connsiteY957" fmla="*/ 507147 h 6367505"/>
              <a:gd name="connsiteX958" fmla="*/ 3978244 w 7613003"/>
              <a:gd name="connsiteY958" fmla="*/ 521234 h 6367505"/>
              <a:gd name="connsiteX959" fmla="*/ 3967380 w 7613003"/>
              <a:gd name="connsiteY959" fmla="*/ 528146 h 6367505"/>
              <a:gd name="connsiteX960" fmla="*/ 3984422 w 7613003"/>
              <a:gd name="connsiteY960" fmla="*/ 535321 h 6367505"/>
              <a:gd name="connsiteX961" fmla="*/ 4006652 w 7613003"/>
              <a:gd name="connsiteY961" fmla="*/ 549001 h 6367505"/>
              <a:gd name="connsiteX962" fmla="*/ 4013464 w 7613003"/>
              <a:gd name="connsiteY962" fmla="*/ 537082 h 6367505"/>
              <a:gd name="connsiteX963" fmla="*/ 4020508 w 7613003"/>
              <a:gd name="connsiteY963" fmla="*/ 535321 h 6367505"/>
              <a:gd name="connsiteX964" fmla="*/ 4034596 w 7613003"/>
              <a:gd name="connsiteY964" fmla="*/ 535321 h 6367505"/>
              <a:gd name="connsiteX965" fmla="*/ 4048684 w 7613003"/>
              <a:gd name="connsiteY965" fmla="*/ 521234 h 6367505"/>
              <a:gd name="connsiteX966" fmla="*/ 4119125 w 7613003"/>
              <a:gd name="connsiteY966" fmla="*/ 507147 h 6367505"/>
              <a:gd name="connsiteX967" fmla="*/ 4217743 w 7613003"/>
              <a:gd name="connsiteY967" fmla="*/ 478972 h 6367505"/>
              <a:gd name="connsiteX968" fmla="*/ 4260008 w 7613003"/>
              <a:gd name="connsiteY968" fmla="*/ 464885 h 6367505"/>
              <a:gd name="connsiteX969" fmla="*/ 4245920 w 7613003"/>
              <a:gd name="connsiteY969" fmla="*/ 478972 h 6367505"/>
              <a:gd name="connsiteX970" fmla="*/ 4260008 w 7613003"/>
              <a:gd name="connsiteY970" fmla="*/ 493059 h 6367505"/>
              <a:gd name="connsiteX971" fmla="*/ 4231831 w 7613003"/>
              <a:gd name="connsiteY971" fmla="*/ 493059 h 6367505"/>
              <a:gd name="connsiteX972" fmla="*/ 4231831 w 7613003"/>
              <a:gd name="connsiteY972" fmla="*/ 507147 h 6367505"/>
              <a:gd name="connsiteX973" fmla="*/ 4260008 w 7613003"/>
              <a:gd name="connsiteY973" fmla="*/ 493059 h 6367505"/>
              <a:gd name="connsiteX974" fmla="*/ 4288184 w 7613003"/>
              <a:gd name="connsiteY974" fmla="*/ 493059 h 6367505"/>
              <a:gd name="connsiteX975" fmla="*/ 4372713 w 7613003"/>
              <a:gd name="connsiteY975" fmla="*/ 464885 h 6367505"/>
              <a:gd name="connsiteX976" fmla="*/ 4584036 w 7613003"/>
              <a:gd name="connsiteY976" fmla="*/ 436710 h 6367505"/>
              <a:gd name="connsiteX977" fmla="*/ 4640389 w 7613003"/>
              <a:gd name="connsiteY977" fmla="*/ 422623 h 6367505"/>
              <a:gd name="connsiteX978" fmla="*/ 4668566 w 7613003"/>
              <a:gd name="connsiteY978" fmla="*/ 422623 h 6367505"/>
              <a:gd name="connsiteX979" fmla="*/ 4680893 w 7613003"/>
              <a:gd name="connsiteY979" fmla="*/ 422623 h 6367505"/>
              <a:gd name="connsiteX980" fmla="*/ 4710831 w 7613003"/>
              <a:gd name="connsiteY980" fmla="*/ 422623 h 6367505"/>
              <a:gd name="connsiteX981" fmla="*/ 4724919 w 7613003"/>
              <a:gd name="connsiteY981" fmla="*/ 422623 h 6367505"/>
              <a:gd name="connsiteX982" fmla="*/ 4668566 w 7613003"/>
              <a:gd name="connsiteY982" fmla="*/ 422623 h 6367505"/>
              <a:gd name="connsiteX983" fmla="*/ 4739006 w 7613003"/>
              <a:gd name="connsiteY983" fmla="*/ 408534 h 6367505"/>
              <a:gd name="connsiteX984" fmla="*/ 4753095 w 7613003"/>
              <a:gd name="connsiteY984" fmla="*/ 408534 h 6367505"/>
              <a:gd name="connsiteX985" fmla="*/ 4753095 w 7613003"/>
              <a:gd name="connsiteY985" fmla="*/ 422623 h 6367505"/>
              <a:gd name="connsiteX986" fmla="*/ 4781272 w 7613003"/>
              <a:gd name="connsiteY986" fmla="*/ 436710 h 6367505"/>
              <a:gd name="connsiteX987" fmla="*/ 4809448 w 7613003"/>
              <a:gd name="connsiteY987" fmla="*/ 436710 h 6367505"/>
              <a:gd name="connsiteX988" fmla="*/ 4851712 w 7613003"/>
              <a:gd name="connsiteY988" fmla="*/ 436710 h 6367505"/>
              <a:gd name="connsiteX989" fmla="*/ 4908065 w 7613003"/>
              <a:gd name="connsiteY989" fmla="*/ 436710 h 6367505"/>
              <a:gd name="connsiteX990" fmla="*/ 4893978 w 7613003"/>
              <a:gd name="connsiteY990" fmla="*/ 450798 h 6367505"/>
              <a:gd name="connsiteX991" fmla="*/ 4908065 w 7613003"/>
              <a:gd name="connsiteY991" fmla="*/ 450798 h 6367505"/>
              <a:gd name="connsiteX992" fmla="*/ 4936242 w 7613003"/>
              <a:gd name="connsiteY992" fmla="*/ 450798 h 6367505"/>
              <a:gd name="connsiteX993" fmla="*/ 5091213 w 7613003"/>
              <a:gd name="connsiteY993" fmla="*/ 464885 h 6367505"/>
              <a:gd name="connsiteX994" fmla="*/ 5119389 w 7613003"/>
              <a:gd name="connsiteY994" fmla="*/ 464885 h 6367505"/>
              <a:gd name="connsiteX995" fmla="*/ 5133477 w 7613003"/>
              <a:gd name="connsiteY995" fmla="*/ 464885 h 6367505"/>
              <a:gd name="connsiteX996" fmla="*/ 5203919 w 7613003"/>
              <a:gd name="connsiteY996" fmla="*/ 464885 h 6367505"/>
              <a:gd name="connsiteX997" fmla="*/ 5274359 w 7613003"/>
              <a:gd name="connsiteY997" fmla="*/ 478972 h 6367505"/>
              <a:gd name="connsiteX998" fmla="*/ 5316625 w 7613003"/>
              <a:gd name="connsiteY998" fmla="*/ 493059 h 6367505"/>
              <a:gd name="connsiteX999" fmla="*/ 5344800 w 7613003"/>
              <a:gd name="connsiteY999" fmla="*/ 493059 h 6367505"/>
              <a:gd name="connsiteX1000" fmla="*/ 5358889 w 7613003"/>
              <a:gd name="connsiteY1000" fmla="*/ 493059 h 6367505"/>
              <a:gd name="connsiteX1001" fmla="*/ 5362411 w 7613003"/>
              <a:gd name="connsiteY1001" fmla="*/ 493059 h 6367505"/>
              <a:gd name="connsiteX1002" fmla="*/ 5365933 w 7613003"/>
              <a:gd name="connsiteY1002" fmla="*/ 493059 h 6367505"/>
              <a:gd name="connsiteX1003" fmla="*/ 5367694 w 7613003"/>
              <a:gd name="connsiteY1003" fmla="*/ 493059 h 6367505"/>
              <a:gd name="connsiteX1004" fmla="*/ 5372976 w 7613003"/>
              <a:gd name="connsiteY1004" fmla="*/ 493059 h 6367505"/>
              <a:gd name="connsiteX1005" fmla="*/ 5457506 w 7613003"/>
              <a:gd name="connsiteY1005" fmla="*/ 507147 h 6367505"/>
              <a:gd name="connsiteX1006" fmla="*/ 5513859 w 7613003"/>
              <a:gd name="connsiteY1006" fmla="*/ 507147 h 6367505"/>
              <a:gd name="connsiteX1007" fmla="*/ 5542035 w 7613003"/>
              <a:gd name="connsiteY1007" fmla="*/ 521234 h 6367505"/>
              <a:gd name="connsiteX1008" fmla="*/ 5570212 w 7613003"/>
              <a:gd name="connsiteY1008" fmla="*/ 521234 h 6367505"/>
              <a:gd name="connsiteX1009" fmla="*/ 5626565 w 7613003"/>
              <a:gd name="connsiteY1009" fmla="*/ 549409 h 6367505"/>
              <a:gd name="connsiteX1010" fmla="*/ 5654741 w 7613003"/>
              <a:gd name="connsiteY1010" fmla="*/ 549409 h 6367505"/>
              <a:gd name="connsiteX1011" fmla="*/ 5682917 w 7613003"/>
              <a:gd name="connsiteY1011" fmla="*/ 549409 h 6367505"/>
              <a:gd name="connsiteX1012" fmla="*/ 5725182 w 7613003"/>
              <a:gd name="connsiteY1012" fmla="*/ 563496 h 6367505"/>
              <a:gd name="connsiteX1013" fmla="*/ 5697005 w 7613003"/>
              <a:gd name="connsiteY1013" fmla="*/ 563496 h 6367505"/>
              <a:gd name="connsiteX1014" fmla="*/ 5781535 w 7613003"/>
              <a:gd name="connsiteY1014" fmla="*/ 591672 h 6367505"/>
              <a:gd name="connsiteX1015" fmla="*/ 5795623 w 7613003"/>
              <a:gd name="connsiteY1015" fmla="*/ 605759 h 6367505"/>
              <a:gd name="connsiteX1016" fmla="*/ 5781535 w 7613003"/>
              <a:gd name="connsiteY1016" fmla="*/ 605759 h 6367505"/>
              <a:gd name="connsiteX1017" fmla="*/ 5781535 w 7613003"/>
              <a:gd name="connsiteY1017" fmla="*/ 619846 h 6367505"/>
              <a:gd name="connsiteX1018" fmla="*/ 5760403 w 7613003"/>
              <a:gd name="connsiteY1018" fmla="*/ 612803 h 6367505"/>
              <a:gd name="connsiteX1019" fmla="*/ 5729877 w 7613003"/>
              <a:gd name="connsiteY1019" fmla="*/ 594489 h 6367505"/>
              <a:gd name="connsiteX1020" fmla="*/ 5721661 w 7613003"/>
              <a:gd name="connsiteY1020" fmla="*/ 584628 h 6367505"/>
              <a:gd name="connsiteX1021" fmla="*/ 5682917 w 7613003"/>
              <a:gd name="connsiteY1021" fmla="*/ 563496 h 6367505"/>
              <a:gd name="connsiteX1022" fmla="*/ 5682917 w 7613003"/>
              <a:gd name="connsiteY1022" fmla="*/ 577583 h 6367505"/>
              <a:gd name="connsiteX1023" fmla="*/ 5668829 w 7613003"/>
              <a:gd name="connsiteY1023" fmla="*/ 577583 h 6367505"/>
              <a:gd name="connsiteX1024" fmla="*/ 5654741 w 7613003"/>
              <a:gd name="connsiteY1024" fmla="*/ 577583 h 6367505"/>
              <a:gd name="connsiteX1025" fmla="*/ 5635018 w 7613003"/>
              <a:gd name="connsiteY1025" fmla="*/ 567722 h 6367505"/>
              <a:gd name="connsiteX1026" fmla="*/ 5633609 w 7613003"/>
              <a:gd name="connsiteY1026" fmla="*/ 565257 h 6367505"/>
              <a:gd name="connsiteX1027" fmla="*/ 5626565 w 7613003"/>
              <a:gd name="connsiteY1027" fmla="*/ 563496 h 6367505"/>
              <a:gd name="connsiteX1028" fmla="*/ 5635018 w 7613003"/>
              <a:gd name="connsiteY1028" fmla="*/ 567722 h 6367505"/>
              <a:gd name="connsiteX1029" fmla="*/ 5640652 w 7613003"/>
              <a:gd name="connsiteY1029" fmla="*/ 577583 h 6367505"/>
              <a:gd name="connsiteX1030" fmla="*/ 5647697 w 7613003"/>
              <a:gd name="connsiteY1030" fmla="*/ 577583 h 6367505"/>
              <a:gd name="connsiteX1031" fmla="*/ 5654741 w 7613003"/>
              <a:gd name="connsiteY1031" fmla="*/ 577583 h 6367505"/>
              <a:gd name="connsiteX1032" fmla="*/ 5682917 w 7613003"/>
              <a:gd name="connsiteY1032" fmla="*/ 591672 h 6367505"/>
              <a:gd name="connsiteX1033" fmla="*/ 5725182 w 7613003"/>
              <a:gd name="connsiteY1033" fmla="*/ 591672 h 6367505"/>
              <a:gd name="connsiteX1034" fmla="*/ 5729877 w 7613003"/>
              <a:gd name="connsiteY1034" fmla="*/ 594489 h 6367505"/>
              <a:gd name="connsiteX1035" fmla="*/ 5739270 w 7613003"/>
              <a:gd name="connsiteY1035" fmla="*/ 605759 h 6367505"/>
              <a:gd name="connsiteX1036" fmla="*/ 5760403 w 7613003"/>
              <a:gd name="connsiteY1036" fmla="*/ 612803 h 6367505"/>
              <a:gd name="connsiteX1037" fmla="*/ 5795623 w 7613003"/>
              <a:gd name="connsiteY1037" fmla="*/ 633934 h 6367505"/>
              <a:gd name="connsiteX1038" fmla="*/ 5823800 w 7613003"/>
              <a:gd name="connsiteY1038" fmla="*/ 633934 h 6367505"/>
              <a:gd name="connsiteX1039" fmla="*/ 5823800 w 7613003"/>
              <a:gd name="connsiteY1039" fmla="*/ 648021 h 6367505"/>
              <a:gd name="connsiteX1040" fmla="*/ 5851976 w 7613003"/>
              <a:gd name="connsiteY1040" fmla="*/ 648021 h 6367505"/>
              <a:gd name="connsiteX1041" fmla="*/ 5866064 w 7613003"/>
              <a:gd name="connsiteY1041" fmla="*/ 657882 h 6367505"/>
              <a:gd name="connsiteX1042" fmla="*/ 5866064 w 7613003"/>
              <a:gd name="connsiteY1042" fmla="*/ 662108 h 6367505"/>
              <a:gd name="connsiteX1043" fmla="*/ 5869587 w 7613003"/>
              <a:gd name="connsiteY1043" fmla="*/ 660347 h 6367505"/>
              <a:gd name="connsiteX1044" fmla="*/ 5866064 w 7613003"/>
              <a:gd name="connsiteY1044" fmla="*/ 657882 h 6367505"/>
              <a:gd name="connsiteX1045" fmla="*/ 5866064 w 7613003"/>
              <a:gd name="connsiteY1045" fmla="*/ 655065 h 6367505"/>
              <a:gd name="connsiteX1046" fmla="*/ 5866064 w 7613003"/>
              <a:gd name="connsiteY1046" fmla="*/ 648021 h 6367505"/>
              <a:gd name="connsiteX1047" fmla="*/ 5908329 w 7613003"/>
              <a:gd name="connsiteY1047" fmla="*/ 662108 h 6367505"/>
              <a:gd name="connsiteX1048" fmla="*/ 5992859 w 7613003"/>
              <a:gd name="connsiteY1048" fmla="*/ 704370 h 6367505"/>
              <a:gd name="connsiteX1049" fmla="*/ 6035123 w 7613003"/>
              <a:gd name="connsiteY1049" fmla="*/ 732545 h 6367505"/>
              <a:gd name="connsiteX1050" fmla="*/ 6049212 w 7613003"/>
              <a:gd name="connsiteY1050" fmla="*/ 732545 h 6367505"/>
              <a:gd name="connsiteX1051" fmla="*/ 6035123 w 7613003"/>
              <a:gd name="connsiteY1051" fmla="*/ 718457 h 6367505"/>
              <a:gd name="connsiteX1052" fmla="*/ 6006946 w 7613003"/>
              <a:gd name="connsiteY1052" fmla="*/ 690283 h 6367505"/>
              <a:gd name="connsiteX1053" fmla="*/ 6063299 w 7613003"/>
              <a:gd name="connsiteY1053" fmla="*/ 718457 h 6367505"/>
              <a:gd name="connsiteX1054" fmla="*/ 6105565 w 7613003"/>
              <a:gd name="connsiteY1054" fmla="*/ 746632 h 6367505"/>
              <a:gd name="connsiteX1055" fmla="*/ 6077388 w 7613003"/>
              <a:gd name="connsiteY1055" fmla="*/ 732545 h 6367505"/>
              <a:gd name="connsiteX1056" fmla="*/ 6119652 w 7613003"/>
              <a:gd name="connsiteY1056" fmla="*/ 746632 h 6367505"/>
              <a:gd name="connsiteX1057" fmla="*/ 6133741 w 7613003"/>
              <a:gd name="connsiteY1057" fmla="*/ 760719 h 6367505"/>
              <a:gd name="connsiteX1058" fmla="*/ 6133741 w 7613003"/>
              <a:gd name="connsiteY1058" fmla="*/ 746632 h 6367505"/>
              <a:gd name="connsiteX1059" fmla="*/ 6127728 w 7613003"/>
              <a:gd name="connsiteY1059" fmla="*/ 741995 h 6367505"/>
              <a:gd name="connsiteX1060" fmla="*/ 6147829 w 7613003"/>
              <a:gd name="connsiteY1060" fmla="*/ 746632 h 6367505"/>
              <a:gd name="connsiteX1061" fmla="*/ 6176005 w 7613003"/>
              <a:gd name="connsiteY1061" fmla="*/ 760719 h 6367505"/>
              <a:gd name="connsiteX1062" fmla="*/ 6246446 w 7613003"/>
              <a:gd name="connsiteY1062" fmla="*/ 802983 h 6367505"/>
              <a:gd name="connsiteX1063" fmla="*/ 6260535 w 7613003"/>
              <a:gd name="connsiteY1063" fmla="*/ 802983 h 6367505"/>
              <a:gd name="connsiteX1064" fmla="*/ 6274622 w 7613003"/>
              <a:gd name="connsiteY1064" fmla="*/ 802983 h 6367505"/>
              <a:gd name="connsiteX1065" fmla="*/ 6302799 w 7613003"/>
              <a:gd name="connsiteY1065" fmla="*/ 817070 h 6367505"/>
              <a:gd name="connsiteX1066" fmla="*/ 6330975 w 7613003"/>
              <a:gd name="connsiteY1066" fmla="*/ 845244 h 6367505"/>
              <a:gd name="connsiteX1067" fmla="*/ 6345064 w 7613003"/>
              <a:gd name="connsiteY1067" fmla="*/ 845244 h 6367505"/>
              <a:gd name="connsiteX1068" fmla="*/ 6387328 w 7613003"/>
              <a:gd name="connsiteY1068" fmla="*/ 887506 h 6367505"/>
              <a:gd name="connsiteX1069" fmla="*/ 6457770 w 7613003"/>
              <a:gd name="connsiteY1069" fmla="*/ 929768 h 6367505"/>
              <a:gd name="connsiteX1070" fmla="*/ 6471858 w 7613003"/>
              <a:gd name="connsiteY1070" fmla="*/ 943856 h 6367505"/>
              <a:gd name="connsiteX1071" fmla="*/ 6528211 w 7613003"/>
              <a:gd name="connsiteY1071" fmla="*/ 972031 h 6367505"/>
              <a:gd name="connsiteX1072" fmla="*/ 6556387 w 7613003"/>
              <a:gd name="connsiteY1072" fmla="*/ 986119 h 6367505"/>
              <a:gd name="connsiteX1073" fmla="*/ 6598651 w 7613003"/>
              <a:gd name="connsiteY1073" fmla="*/ 1028381 h 6367505"/>
              <a:gd name="connsiteX1074" fmla="*/ 6655004 w 7613003"/>
              <a:gd name="connsiteY1074" fmla="*/ 1070642 h 6367505"/>
              <a:gd name="connsiteX1075" fmla="*/ 6570476 w 7613003"/>
              <a:gd name="connsiteY1075" fmla="*/ 1014293 h 6367505"/>
              <a:gd name="connsiteX1076" fmla="*/ 6443681 w 7613003"/>
              <a:gd name="connsiteY1076" fmla="*/ 943856 h 6367505"/>
              <a:gd name="connsiteX1077" fmla="*/ 6401417 w 7613003"/>
              <a:gd name="connsiteY1077" fmla="*/ 915681 h 6367505"/>
              <a:gd name="connsiteX1078" fmla="*/ 6359152 w 7613003"/>
              <a:gd name="connsiteY1078" fmla="*/ 887506 h 6367505"/>
              <a:gd name="connsiteX1079" fmla="*/ 6316888 w 7613003"/>
              <a:gd name="connsiteY1079" fmla="*/ 873419 h 6367505"/>
              <a:gd name="connsiteX1080" fmla="*/ 6288711 w 7613003"/>
              <a:gd name="connsiteY1080" fmla="*/ 859332 h 6367505"/>
              <a:gd name="connsiteX1081" fmla="*/ 6246446 w 7613003"/>
              <a:gd name="connsiteY1081" fmla="*/ 831157 h 6367505"/>
              <a:gd name="connsiteX1082" fmla="*/ 6218269 w 7613003"/>
              <a:gd name="connsiteY1082" fmla="*/ 831157 h 6367505"/>
              <a:gd name="connsiteX1083" fmla="*/ 6204182 w 7613003"/>
              <a:gd name="connsiteY1083" fmla="*/ 817070 h 6367505"/>
              <a:gd name="connsiteX1084" fmla="*/ 6176005 w 7613003"/>
              <a:gd name="connsiteY1084" fmla="*/ 802983 h 6367505"/>
              <a:gd name="connsiteX1085" fmla="*/ 6091476 w 7613003"/>
              <a:gd name="connsiteY1085" fmla="*/ 774808 h 6367505"/>
              <a:gd name="connsiteX1086" fmla="*/ 6035123 w 7613003"/>
              <a:gd name="connsiteY1086" fmla="*/ 746632 h 6367505"/>
              <a:gd name="connsiteX1087" fmla="*/ 6006946 w 7613003"/>
              <a:gd name="connsiteY1087" fmla="*/ 732545 h 6367505"/>
              <a:gd name="connsiteX1088" fmla="*/ 5978770 w 7613003"/>
              <a:gd name="connsiteY1088" fmla="*/ 718457 h 6367505"/>
              <a:gd name="connsiteX1089" fmla="*/ 5950593 w 7613003"/>
              <a:gd name="connsiteY1089" fmla="*/ 718457 h 6367505"/>
              <a:gd name="connsiteX1090" fmla="*/ 5922417 w 7613003"/>
              <a:gd name="connsiteY1090" fmla="*/ 718457 h 6367505"/>
              <a:gd name="connsiteX1091" fmla="*/ 5837888 w 7613003"/>
              <a:gd name="connsiteY1091" fmla="*/ 690283 h 6367505"/>
              <a:gd name="connsiteX1092" fmla="*/ 5837888 w 7613003"/>
              <a:gd name="connsiteY1092" fmla="*/ 676196 h 6367505"/>
              <a:gd name="connsiteX1093" fmla="*/ 5823800 w 7613003"/>
              <a:gd name="connsiteY1093" fmla="*/ 676196 h 6367505"/>
              <a:gd name="connsiteX1094" fmla="*/ 5809711 w 7613003"/>
              <a:gd name="connsiteY1094" fmla="*/ 676196 h 6367505"/>
              <a:gd name="connsiteX1095" fmla="*/ 5795623 w 7613003"/>
              <a:gd name="connsiteY1095" fmla="*/ 676196 h 6367505"/>
              <a:gd name="connsiteX1096" fmla="*/ 5795623 w 7613003"/>
              <a:gd name="connsiteY1096" fmla="*/ 662108 h 6367505"/>
              <a:gd name="connsiteX1097" fmla="*/ 5753358 w 7613003"/>
              <a:gd name="connsiteY1097" fmla="*/ 648021 h 6367505"/>
              <a:gd name="connsiteX1098" fmla="*/ 5654741 w 7613003"/>
              <a:gd name="connsiteY1098" fmla="*/ 633934 h 6367505"/>
              <a:gd name="connsiteX1099" fmla="*/ 5626565 w 7613003"/>
              <a:gd name="connsiteY1099" fmla="*/ 619846 h 6367505"/>
              <a:gd name="connsiteX1100" fmla="*/ 5499771 w 7613003"/>
              <a:gd name="connsiteY1100" fmla="*/ 591672 h 6367505"/>
              <a:gd name="connsiteX1101" fmla="*/ 5471594 w 7613003"/>
              <a:gd name="connsiteY1101" fmla="*/ 591672 h 6367505"/>
              <a:gd name="connsiteX1102" fmla="*/ 5457506 w 7613003"/>
              <a:gd name="connsiteY1102" fmla="*/ 591672 h 6367505"/>
              <a:gd name="connsiteX1103" fmla="*/ 5372976 w 7613003"/>
              <a:gd name="connsiteY1103" fmla="*/ 577583 h 6367505"/>
              <a:gd name="connsiteX1104" fmla="*/ 5330712 w 7613003"/>
              <a:gd name="connsiteY1104" fmla="*/ 577583 h 6367505"/>
              <a:gd name="connsiteX1105" fmla="*/ 5302536 w 7613003"/>
              <a:gd name="connsiteY1105" fmla="*/ 577583 h 6367505"/>
              <a:gd name="connsiteX1106" fmla="*/ 5091213 w 7613003"/>
              <a:gd name="connsiteY1106" fmla="*/ 577583 h 6367505"/>
              <a:gd name="connsiteX1107" fmla="*/ 5034860 w 7613003"/>
              <a:gd name="connsiteY1107" fmla="*/ 563496 h 6367505"/>
              <a:gd name="connsiteX1108" fmla="*/ 5091213 w 7613003"/>
              <a:gd name="connsiteY1108" fmla="*/ 577583 h 6367505"/>
              <a:gd name="connsiteX1109" fmla="*/ 5133477 w 7613003"/>
              <a:gd name="connsiteY1109" fmla="*/ 577583 h 6367505"/>
              <a:gd name="connsiteX1110" fmla="*/ 5232094 w 7613003"/>
              <a:gd name="connsiteY1110" fmla="*/ 591672 h 6367505"/>
              <a:gd name="connsiteX1111" fmla="*/ 5246183 w 7613003"/>
              <a:gd name="connsiteY1111" fmla="*/ 591672 h 6367505"/>
              <a:gd name="connsiteX1112" fmla="*/ 5288447 w 7613003"/>
              <a:gd name="connsiteY1112" fmla="*/ 591672 h 6367505"/>
              <a:gd name="connsiteX1113" fmla="*/ 5302536 w 7613003"/>
              <a:gd name="connsiteY1113" fmla="*/ 591672 h 6367505"/>
              <a:gd name="connsiteX1114" fmla="*/ 5358889 w 7613003"/>
              <a:gd name="connsiteY1114" fmla="*/ 605759 h 6367505"/>
              <a:gd name="connsiteX1115" fmla="*/ 5471594 w 7613003"/>
              <a:gd name="connsiteY1115" fmla="*/ 619846 h 6367505"/>
              <a:gd name="connsiteX1116" fmla="*/ 5499771 w 7613003"/>
              <a:gd name="connsiteY1116" fmla="*/ 619846 h 6367505"/>
              <a:gd name="connsiteX1117" fmla="*/ 5485682 w 7613003"/>
              <a:gd name="connsiteY1117" fmla="*/ 633934 h 6367505"/>
              <a:gd name="connsiteX1118" fmla="*/ 5457506 w 7613003"/>
              <a:gd name="connsiteY1118" fmla="*/ 619846 h 6367505"/>
              <a:gd name="connsiteX1119" fmla="*/ 5429329 w 7613003"/>
              <a:gd name="connsiteY1119" fmla="*/ 619846 h 6367505"/>
              <a:gd name="connsiteX1120" fmla="*/ 5189830 w 7613003"/>
              <a:gd name="connsiteY1120" fmla="*/ 591672 h 6367505"/>
              <a:gd name="connsiteX1121" fmla="*/ 5175742 w 7613003"/>
              <a:gd name="connsiteY1121" fmla="*/ 591672 h 6367505"/>
              <a:gd name="connsiteX1122" fmla="*/ 5161654 w 7613003"/>
              <a:gd name="connsiteY1122" fmla="*/ 591672 h 6367505"/>
              <a:gd name="connsiteX1123" fmla="*/ 5133477 w 7613003"/>
              <a:gd name="connsiteY1123" fmla="*/ 605759 h 6367505"/>
              <a:gd name="connsiteX1124" fmla="*/ 5119389 w 7613003"/>
              <a:gd name="connsiteY1124" fmla="*/ 605759 h 6367505"/>
              <a:gd name="connsiteX1125" fmla="*/ 5091213 w 7613003"/>
              <a:gd name="connsiteY1125" fmla="*/ 605759 h 6367505"/>
              <a:gd name="connsiteX1126" fmla="*/ 5119389 w 7613003"/>
              <a:gd name="connsiteY1126" fmla="*/ 605759 h 6367505"/>
              <a:gd name="connsiteX1127" fmla="*/ 5175742 w 7613003"/>
              <a:gd name="connsiteY1127" fmla="*/ 619846 h 6367505"/>
              <a:gd name="connsiteX1128" fmla="*/ 5203919 w 7613003"/>
              <a:gd name="connsiteY1128" fmla="*/ 619846 h 6367505"/>
              <a:gd name="connsiteX1129" fmla="*/ 5218006 w 7613003"/>
              <a:gd name="connsiteY1129" fmla="*/ 619846 h 6367505"/>
              <a:gd name="connsiteX1130" fmla="*/ 5221528 w 7613003"/>
              <a:gd name="connsiteY1130" fmla="*/ 619846 h 6367505"/>
              <a:gd name="connsiteX1131" fmla="*/ 5232094 w 7613003"/>
              <a:gd name="connsiteY1131" fmla="*/ 619846 h 6367505"/>
              <a:gd name="connsiteX1132" fmla="*/ 5316625 w 7613003"/>
              <a:gd name="connsiteY1132" fmla="*/ 633934 h 6367505"/>
              <a:gd name="connsiteX1133" fmla="*/ 5274359 w 7613003"/>
              <a:gd name="connsiteY1133" fmla="*/ 633934 h 6367505"/>
              <a:gd name="connsiteX1134" fmla="*/ 5302536 w 7613003"/>
              <a:gd name="connsiteY1134" fmla="*/ 648021 h 6367505"/>
              <a:gd name="connsiteX1135" fmla="*/ 5316625 w 7613003"/>
              <a:gd name="connsiteY1135" fmla="*/ 648021 h 6367505"/>
              <a:gd name="connsiteX1136" fmla="*/ 5330712 w 7613003"/>
              <a:gd name="connsiteY1136" fmla="*/ 648021 h 6367505"/>
              <a:gd name="connsiteX1137" fmla="*/ 5372976 w 7613003"/>
              <a:gd name="connsiteY1137" fmla="*/ 648021 h 6367505"/>
              <a:gd name="connsiteX1138" fmla="*/ 5556124 w 7613003"/>
              <a:gd name="connsiteY1138" fmla="*/ 676196 h 6367505"/>
              <a:gd name="connsiteX1139" fmla="*/ 5584299 w 7613003"/>
              <a:gd name="connsiteY1139" fmla="*/ 690283 h 6367505"/>
              <a:gd name="connsiteX1140" fmla="*/ 5612477 w 7613003"/>
              <a:gd name="connsiteY1140" fmla="*/ 690283 h 6367505"/>
              <a:gd name="connsiteX1141" fmla="*/ 5626565 w 7613003"/>
              <a:gd name="connsiteY1141" fmla="*/ 690283 h 6367505"/>
              <a:gd name="connsiteX1142" fmla="*/ 5654741 w 7613003"/>
              <a:gd name="connsiteY1142" fmla="*/ 704370 h 6367505"/>
              <a:gd name="connsiteX1143" fmla="*/ 5668829 w 7613003"/>
              <a:gd name="connsiteY1143" fmla="*/ 704370 h 6367505"/>
              <a:gd name="connsiteX1144" fmla="*/ 5682917 w 7613003"/>
              <a:gd name="connsiteY1144" fmla="*/ 704370 h 6367505"/>
              <a:gd name="connsiteX1145" fmla="*/ 5739270 w 7613003"/>
              <a:gd name="connsiteY1145" fmla="*/ 718457 h 6367505"/>
              <a:gd name="connsiteX1146" fmla="*/ 5767447 w 7613003"/>
              <a:gd name="connsiteY1146" fmla="*/ 746632 h 6367505"/>
              <a:gd name="connsiteX1147" fmla="*/ 5809711 w 7613003"/>
              <a:gd name="connsiteY1147" fmla="*/ 760719 h 6367505"/>
              <a:gd name="connsiteX1148" fmla="*/ 5781535 w 7613003"/>
              <a:gd name="connsiteY1148" fmla="*/ 760719 h 6367505"/>
              <a:gd name="connsiteX1149" fmla="*/ 5767447 w 7613003"/>
              <a:gd name="connsiteY1149" fmla="*/ 760719 h 6367505"/>
              <a:gd name="connsiteX1150" fmla="*/ 5781535 w 7613003"/>
              <a:gd name="connsiteY1150" fmla="*/ 774808 h 6367505"/>
              <a:gd name="connsiteX1151" fmla="*/ 5809711 w 7613003"/>
              <a:gd name="connsiteY1151" fmla="*/ 774808 h 6367505"/>
              <a:gd name="connsiteX1152" fmla="*/ 5866064 w 7613003"/>
              <a:gd name="connsiteY1152" fmla="*/ 802983 h 6367505"/>
              <a:gd name="connsiteX1153" fmla="*/ 5880153 w 7613003"/>
              <a:gd name="connsiteY1153" fmla="*/ 802983 h 6367505"/>
              <a:gd name="connsiteX1154" fmla="*/ 5894240 w 7613003"/>
              <a:gd name="connsiteY1154" fmla="*/ 802983 h 6367505"/>
              <a:gd name="connsiteX1155" fmla="*/ 5978770 w 7613003"/>
              <a:gd name="connsiteY1155" fmla="*/ 845244 h 6367505"/>
              <a:gd name="connsiteX1156" fmla="*/ 6063299 w 7613003"/>
              <a:gd name="connsiteY1156" fmla="*/ 887506 h 6367505"/>
              <a:gd name="connsiteX1157" fmla="*/ 6077388 w 7613003"/>
              <a:gd name="connsiteY1157" fmla="*/ 901594 h 6367505"/>
              <a:gd name="connsiteX1158" fmla="*/ 6077388 w 7613003"/>
              <a:gd name="connsiteY1158" fmla="*/ 887506 h 6367505"/>
              <a:gd name="connsiteX1159" fmla="*/ 6063299 w 7613003"/>
              <a:gd name="connsiteY1159" fmla="*/ 873419 h 6367505"/>
              <a:gd name="connsiteX1160" fmla="*/ 6119652 w 7613003"/>
              <a:gd name="connsiteY1160" fmla="*/ 901594 h 6367505"/>
              <a:gd name="connsiteX1161" fmla="*/ 6190093 w 7613003"/>
              <a:gd name="connsiteY1161" fmla="*/ 943856 h 6367505"/>
              <a:gd name="connsiteX1162" fmla="*/ 6260535 w 7613003"/>
              <a:gd name="connsiteY1162" fmla="*/ 986119 h 6367505"/>
              <a:gd name="connsiteX1163" fmla="*/ 6274622 w 7613003"/>
              <a:gd name="connsiteY1163" fmla="*/ 986119 h 6367505"/>
              <a:gd name="connsiteX1164" fmla="*/ 6260535 w 7613003"/>
              <a:gd name="connsiteY1164" fmla="*/ 986119 h 6367505"/>
              <a:gd name="connsiteX1165" fmla="*/ 6190093 w 7613003"/>
              <a:gd name="connsiteY1165" fmla="*/ 943856 h 6367505"/>
              <a:gd name="connsiteX1166" fmla="*/ 6232358 w 7613003"/>
              <a:gd name="connsiteY1166" fmla="*/ 957944 h 6367505"/>
              <a:gd name="connsiteX1167" fmla="*/ 6302799 w 7613003"/>
              <a:gd name="connsiteY1167" fmla="*/ 1000206 h 6367505"/>
              <a:gd name="connsiteX1168" fmla="*/ 6316888 w 7613003"/>
              <a:gd name="connsiteY1168" fmla="*/ 1014293 h 6367505"/>
              <a:gd name="connsiteX1169" fmla="*/ 6359152 w 7613003"/>
              <a:gd name="connsiteY1169" fmla="*/ 1042468 h 6367505"/>
              <a:gd name="connsiteX1170" fmla="*/ 6457770 w 7613003"/>
              <a:gd name="connsiteY1170" fmla="*/ 1112904 h 6367505"/>
              <a:gd name="connsiteX1171" fmla="*/ 6542298 w 7613003"/>
              <a:gd name="connsiteY1171" fmla="*/ 1169255 h 6367505"/>
              <a:gd name="connsiteX1172" fmla="*/ 6556387 w 7613003"/>
              <a:gd name="connsiteY1172" fmla="*/ 1183342 h 6367505"/>
              <a:gd name="connsiteX1173" fmla="*/ 6655004 w 7613003"/>
              <a:gd name="connsiteY1173" fmla="*/ 1267866 h 6367505"/>
              <a:gd name="connsiteX1174" fmla="*/ 6683181 w 7613003"/>
              <a:gd name="connsiteY1174" fmla="*/ 1281953 h 6367505"/>
              <a:gd name="connsiteX1175" fmla="*/ 6697269 w 7613003"/>
              <a:gd name="connsiteY1175" fmla="*/ 1296041 h 6367505"/>
              <a:gd name="connsiteX1176" fmla="*/ 6711357 w 7613003"/>
              <a:gd name="connsiteY1176" fmla="*/ 1324216 h 6367505"/>
              <a:gd name="connsiteX1177" fmla="*/ 6711357 w 7613003"/>
              <a:gd name="connsiteY1177" fmla="*/ 1310129 h 6367505"/>
              <a:gd name="connsiteX1178" fmla="*/ 6739534 w 7613003"/>
              <a:gd name="connsiteY1178" fmla="*/ 1324216 h 6367505"/>
              <a:gd name="connsiteX1179" fmla="*/ 6781799 w 7613003"/>
              <a:gd name="connsiteY1179" fmla="*/ 1394653 h 6367505"/>
              <a:gd name="connsiteX1180" fmla="*/ 6852240 w 7613003"/>
              <a:gd name="connsiteY1180" fmla="*/ 1451002 h 6367505"/>
              <a:gd name="connsiteX1181" fmla="*/ 6880416 w 7613003"/>
              <a:gd name="connsiteY1181" fmla="*/ 1493265 h 6367505"/>
              <a:gd name="connsiteX1182" fmla="*/ 6894505 w 7613003"/>
              <a:gd name="connsiteY1182" fmla="*/ 1507353 h 6367505"/>
              <a:gd name="connsiteX1183" fmla="*/ 6922681 w 7613003"/>
              <a:gd name="connsiteY1183" fmla="*/ 1535527 h 6367505"/>
              <a:gd name="connsiteX1184" fmla="*/ 6866328 w 7613003"/>
              <a:gd name="connsiteY1184" fmla="*/ 1493265 h 6367505"/>
              <a:gd name="connsiteX1185" fmla="*/ 6894505 w 7613003"/>
              <a:gd name="connsiteY1185" fmla="*/ 1535527 h 6367505"/>
              <a:gd name="connsiteX1186" fmla="*/ 6908593 w 7613003"/>
              <a:gd name="connsiteY1186" fmla="*/ 1549614 h 6367505"/>
              <a:gd name="connsiteX1187" fmla="*/ 6901548 w 7613003"/>
              <a:gd name="connsiteY1187" fmla="*/ 1549614 h 6367505"/>
              <a:gd name="connsiteX1188" fmla="*/ 6894505 w 7613003"/>
              <a:gd name="connsiteY1188" fmla="*/ 1549614 h 6367505"/>
              <a:gd name="connsiteX1189" fmla="*/ 6880416 w 7613003"/>
              <a:gd name="connsiteY1189" fmla="*/ 1535527 h 6367505"/>
              <a:gd name="connsiteX1190" fmla="*/ 6809975 w 7613003"/>
              <a:gd name="connsiteY1190" fmla="*/ 1451002 h 6367505"/>
              <a:gd name="connsiteX1191" fmla="*/ 6795887 w 7613003"/>
              <a:gd name="connsiteY1191" fmla="*/ 1451002 h 6367505"/>
              <a:gd name="connsiteX1192" fmla="*/ 6767710 w 7613003"/>
              <a:gd name="connsiteY1192" fmla="*/ 1422828 h 6367505"/>
              <a:gd name="connsiteX1193" fmla="*/ 6753622 w 7613003"/>
              <a:gd name="connsiteY1193" fmla="*/ 1408740 h 6367505"/>
              <a:gd name="connsiteX1194" fmla="*/ 6612740 w 7613003"/>
              <a:gd name="connsiteY1194" fmla="*/ 1281953 h 6367505"/>
              <a:gd name="connsiteX1195" fmla="*/ 6612740 w 7613003"/>
              <a:gd name="connsiteY1195" fmla="*/ 1296041 h 6367505"/>
              <a:gd name="connsiteX1196" fmla="*/ 6669093 w 7613003"/>
              <a:gd name="connsiteY1196" fmla="*/ 1352391 h 6367505"/>
              <a:gd name="connsiteX1197" fmla="*/ 6725446 w 7613003"/>
              <a:gd name="connsiteY1197" fmla="*/ 1394653 h 6367505"/>
              <a:gd name="connsiteX1198" fmla="*/ 6739534 w 7613003"/>
              <a:gd name="connsiteY1198" fmla="*/ 1408740 h 6367505"/>
              <a:gd name="connsiteX1199" fmla="*/ 6824063 w 7613003"/>
              <a:gd name="connsiteY1199" fmla="*/ 1507353 h 6367505"/>
              <a:gd name="connsiteX1200" fmla="*/ 6838152 w 7613003"/>
              <a:gd name="connsiteY1200" fmla="*/ 1521440 h 6367505"/>
              <a:gd name="connsiteX1201" fmla="*/ 6866328 w 7613003"/>
              <a:gd name="connsiteY1201" fmla="*/ 1535527 h 6367505"/>
              <a:gd name="connsiteX1202" fmla="*/ 6880416 w 7613003"/>
              <a:gd name="connsiteY1202" fmla="*/ 1563702 h 6367505"/>
              <a:gd name="connsiteX1203" fmla="*/ 6936769 w 7613003"/>
              <a:gd name="connsiteY1203" fmla="*/ 1605964 h 6367505"/>
              <a:gd name="connsiteX1204" fmla="*/ 6979034 w 7613003"/>
              <a:gd name="connsiteY1204" fmla="*/ 1676401 h 6367505"/>
              <a:gd name="connsiteX1205" fmla="*/ 7007211 w 7613003"/>
              <a:gd name="connsiteY1205" fmla="*/ 1704576 h 6367505"/>
              <a:gd name="connsiteX1206" fmla="*/ 7021298 w 7613003"/>
              <a:gd name="connsiteY1206" fmla="*/ 1718663 h 6367505"/>
              <a:gd name="connsiteX1207" fmla="*/ 7035386 w 7613003"/>
              <a:gd name="connsiteY1207" fmla="*/ 1732751 h 6367505"/>
              <a:gd name="connsiteX1208" fmla="*/ 7035386 w 7613003"/>
              <a:gd name="connsiteY1208" fmla="*/ 1746838 h 6367505"/>
              <a:gd name="connsiteX1209" fmla="*/ 7049475 w 7613003"/>
              <a:gd name="connsiteY1209" fmla="*/ 1760925 h 6367505"/>
              <a:gd name="connsiteX1210" fmla="*/ 7091739 w 7613003"/>
              <a:gd name="connsiteY1210" fmla="*/ 1817276 h 6367505"/>
              <a:gd name="connsiteX1211" fmla="*/ 7105828 w 7613003"/>
              <a:gd name="connsiteY1211" fmla="*/ 1845450 h 6367505"/>
              <a:gd name="connsiteX1212" fmla="*/ 7134004 w 7613003"/>
              <a:gd name="connsiteY1212" fmla="*/ 1887712 h 6367505"/>
              <a:gd name="connsiteX1213" fmla="*/ 7134004 w 7613003"/>
              <a:gd name="connsiteY1213" fmla="*/ 1901800 h 6367505"/>
              <a:gd name="connsiteX1214" fmla="*/ 7190357 w 7613003"/>
              <a:gd name="connsiteY1214" fmla="*/ 1986323 h 6367505"/>
              <a:gd name="connsiteX1215" fmla="*/ 7218534 w 7613003"/>
              <a:gd name="connsiteY1215" fmla="*/ 2042674 h 6367505"/>
              <a:gd name="connsiteX1216" fmla="*/ 7232621 w 7613003"/>
              <a:gd name="connsiteY1216" fmla="*/ 2056761 h 6367505"/>
              <a:gd name="connsiteX1217" fmla="*/ 7232621 w 7613003"/>
              <a:gd name="connsiteY1217" fmla="*/ 2070849 h 6367505"/>
              <a:gd name="connsiteX1218" fmla="*/ 7232621 w 7613003"/>
              <a:gd name="connsiteY1218" fmla="*/ 2084936 h 6367505"/>
              <a:gd name="connsiteX1219" fmla="*/ 7246710 w 7613003"/>
              <a:gd name="connsiteY1219" fmla="*/ 2099023 h 6367505"/>
              <a:gd name="connsiteX1220" fmla="*/ 7246710 w 7613003"/>
              <a:gd name="connsiteY1220" fmla="*/ 2113110 h 6367505"/>
              <a:gd name="connsiteX1221" fmla="*/ 7288974 w 7613003"/>
              <a:gd name="connsiteY1221" fmla="*/ 2169459 h 6367505"/>
              <a:gd name="connsiteX1222" fmla="*/ 7303063 w 7613003"/>
              <a:gd name="connsiteY1222" fmla="*/ 2225810 h 6367505"/>
              <a:gd name="connsiteX1223" fmla="*/ 7317151 w 7613003"/>
              <a:gd name="connsiteY1223" fmla="*/ 2225810 h 6367505"/>
              <a:gd name="connsiteX1224" fmla="*/ 7331240 w 7613003"/>
              <a:gd name="connsiteY1224" fmla="*/ 2268072 h 6367505"/>
              <a:gd name="connsiteX1225" fmla="*/ 7317151 w 7613003"/>
              <a:gd name="connsiteY1225" fmla="*/ 2282159 h 6367505"/>
              <a:gd name="connsiteX1226" fmla="*/ 7331240 w 7613003"/>
              <a:gd name="connsiteY1226" fmla="*/ 2296246 h 6367505"/>
              <a:gd name="connsiteX1227" fmla="*/ 7331240 w 7613003"/>
              <a:gd name="connsiteY1227" fmla="*/ 2310334 h 6367505"/>
              <a:gd name="connsiteX1228" fmla="*/ 7359416 w 7613003"/>
              <a:gd name="connsiteY1228" fmla="*/ 2408946 h 6367505"/>
              <a:gd name="connsiteX1229" fmla="*/ 7373504 w 7613003"/>
              <a:gd name="connsiteY1229" fmla="*/ 2408946 h 6367505"/>
              <a:gd name="connsiteX1230" fmla="*/ 7373504 w 7613003"/>
              <a:gd name="connsiteY1230" fmla="*/ 2437121 h 6367505"/>
              <a:gd name="connsiteX1231" fmla="*/ 7373504 w 7613003"/>
              <a:gd name="connsiteY1231" fmla="*/ 2465295 h 6367505"/>
              <a:gd name="connsiteX1232" fmla="*/ 7387591 w 7613003"/>
              <a:gd name="connsiteY1232" fmla="*/ 2521646 h 6367505"/>
              <a:gd name="connsiteX1233" fmla="*/ 7373504 w 7613003"/>
              <a:gd name="connsiteY1233" fmla="*/ 2479383 h 6367505"/>
              <a:gd name="connsiteX1234" fmla="*/ 7359416 w 7613003"/>
              <a:gd name="connsiteY1234" fmla="*/ 2451208 h 6367505"/>
              <a:gd name="connsiteX1235" fmla="*/ 7345327 w 7613003"/>
              <a:gd name="connsiteY1235" fmla="*/ 2423033 h 6367505"/>
              <a:gd name="connsiteX1236" fmla="*/ 7331240 w 7613003"/>
              <a:gd name="connsiteY1236" fmla="*/ 2380771 h 6367505"/>
              <a:gd name="connsiteX1237" fmla="*/ 7303063 w 7613003"/>
              <a:gd name="connsiteY1237" fmla="*/ 2310334 h 6367505"/>
              <a:gd name="connsiteX1238" fmla="*/ 7317151 w 7613003"/>
              <a:gd name="connsiteY1238" fmla="*/ 2352596 h 6367505"/>
              <a:gd name="connsiteX1239" fmla="*/ 7317151 w 7613003"/>
              <a:gd name="connsiteY1239" fmla="*/ 2366684 h 6367505"/>
              <a:gd name="connsiteX1240" fmla="*/ 7303063 w 7613003"/>
              <a:gd name="connsiteY1240" fmla="*/ 2352596 h 6367505"/>
              <a:gd name="connsiteX1241" fmla="*/ 7303063 w 7613003"/>
              <a:gd name="connsiteY1241" fmla="*/ 2338508 h 6367505"/>
              <a:gd name="connsiteX1242" fmla="*/ 7260798 w 7613003"/>
              <a:gd name="connsiteY1242" fmla="*/ 2225810 h 6367505"/>
              <a:gd name="connsiteX1243" fmla="*/ 7218534 w 7613003"/>
              <a:gd name="connsiteY1243" fmla="*/ 2155372 h 6367505"/>
              <a:gd name="connsiteX1244" fmla="*/ 7232621 w 7613003"/>
              <a:gd name="connsiteY1244" fmla="*/ 2211723 h 6367505"/>
              <a:gd name="connsiteX1245" fmla="*/ 7274887 w 7613003"/>
              <a:gd name="connsiteY1245" fmla="*/ 2296246 h 6367505"/>
              <a:gd name="connsiteX1246" fmla="*/ 7303063 w 7613003"/>
              <a:gd name="connsiteY1246" fmla="*/ 2352596 h 6367505"/>
              <a:gd name="connsiteX1247" fmla="*/ 7303063 w 7613003"/>
              <a:gd name="connsiteY1247" fmla="*/ 2380771 h 6367505"/>
              <a:gd name="connsiteX1248" fmla="*/ 7317151 w 7613003"/>
              <a:gd name="connsiteY1248" fmla="*/ 2394859 h 6367505"/>
              <a:gd name="connsiteX1249" fmla="*/ 7331240 w 7613003"/>
              <a:gd name="connsiteY1249" fmla="*/ 2451208 h 6367505"/>
              <a:gd name="connsiteX1250" fmla="*/ 7331240 w 7613003"/>
              <a:gd name="connsiteY1250" fmla="*/ 2465295 h 6367505"/>
              <a:gd name="connsiteX1251" fmla="*/ 7345327 w 7613003"/>
              <a:gd name="connsiteY1251" fmla="*/ 2479383 h 6367505"/>
              <a:gd name="connsiteX1252" fmla="*/ 7373504 w 7613003"/>
              <a:gd name="connsiteY1252" fmla="*/ 2549821 h 6367505"/>
              <a:gd name="connsiteX1253" fmla="*/ 7373504 w 7613003"/>
              <a:gd name="connsiteY1253" fmla="*/ 2563908 h 6367505"/>
              <a:gd name="connsiteX1254" fmla="*/ 7387591 w 7613003"/>
              <a:gd name="connsiteY1254" fmla="*/ 2563908 h 6367505"/>
              <a:gd name="connsiteX1255" fmla="*/ 7387591 w 7613003"/>
              <a:gd name="connsiteY1255" fmla="*/ 2577995 h 6367505"/>
              <a:gd name="connsiteX1256" fmla="*/ 7387591 w 7613003"/>
              <a:gd name="connsiteY1256" fmla="*/ 2592082 h 6367505"/>
              <a:gd name="connsiteX1257" fmla="*/ 7401680 w 7613003"/>
              <a:gd name="connsiteY1257" fmla="*/ 2620257 h 6367505"/>
              <a:gd name="connsiteX1258" fmla="*/ 7401680 w 7613003"/>
              <a:gd name="connsiteY1258" fmla="*/ 2634344 h 6367505"/>
              <a:gd name="connsiteX1259" fmla="*/ 7415769 w 7613003"/>
              <a:gd name="connsiteY1259" fmla="*/ 2676606 h 6367505"/>
              <a:gd name="connsiteX1260" fmla="*/ 7401680 w 7613003"/>
              <a:gd name="connsiteY1260" fmla="*/ 2662519 h 6367505"/>
              <a:gd name="connsiteX1261" fmla="*/ 7401680 w 7613003"/>
              <a:gd name="connsiteY1261" fmla="*/ 2690693 h 6367505"/>
              <a:gd name="connsiteX1262" fmla="*/ 7387591 w 7613003"/>
              <a:gd name="connsiteY1262" fmla="*/ 2662519 h 6367505"/>
              <a:gd name="connsiteX1263" fmla="*/ 7373504 w 7613003"/>
              <a:gd name="connsiteY1263" fmla="*/ 2620257 h 6367505"/>
              <a:gd name="connsiteX1264" fmla="*/ 7359416 w 7613003"/>
              <a:gd name="connsiteY1264" fmla="*/ 2577995 h 6367505"/>
              <a:gd name="connsiteX1265" fmla="*/ 7345327 w 7613003"/>
              <a:gd name="connsiteY1265" fmla="*/ 2535733 h 6367505"/>
              <a:gd name="connsiteX1266" fmla="*/ 7317151 w 7613003"/>
              <a:gd name="connsiteY1266" fmla="*/ 2451208 h 6367505"/>
              <a:gd name="connsiteX1267" fmla="*/ 7317151 w 7613003"/>
              <a:gd name="connsiteY1267" fmla="*/ 2423033 h 6367505"/>
              <a:gd name="connsiteX1268" fmla="*/ 7303063 w 7613003"/>
              <a:gd name="connsiteY1268" fmla="*/ 2423033 h 6367505"/>
              <a:gd name="connsiteX1269" fmla="*/ 7303063 w 7613003"/>
              <a:gd name="connsiteY1269" fmla="*/ 2394859 h 6367505"/>
              <a:gd name="connsiteX1270" fmla="*/ 7260798 w 7613003"/>
              <a:gd name="connsiteY1270" fmla="*/ 2324421 h 6367505"/>
              <a:gd name="connsiteX1271" fmla="*/ 7232621 w 7613003"/>
              <a:gd name="connsiteY1271" fmla="*/ 2239897 h 6367505"/>
              <a:gd name="connsiteX1272" fmla="*/ 7232621 w 7613003"/>
              <a:gd name="connsiteY1272" fmla="*/ 2253985 h 6367505"/>
              <a:gd name="connsiteX1273" fmla="*/ 7176268 w 7613003"/>
              <a:gd name="connsiteY1273" fmla="*/ 2169459 h 6367505"/>
              <a:gd name="connsiteX1274" fmla="*/ 7190357 w 7613003"/>
              <a:gd name="connsiteY1274" fmla="*/ 2197635 h 6367505"/>
              <a:gd name="connsiteX1275" fmla="*/ 7218534 w 7613003"/>
              <a:gd name="connsiteY1275" fmla="*/ 2253985 h 6367505"/>
              <a:gd name="connsiteX1276" fmla="*/ 7218534 w 7613003"/>
              <a:gd name="connsiteY1276" fmla="*/ 2268072 h 6367505"/>
              <a:gd name="connsiteX1277" fmla="*/ 7246710 w 7613003"/>
              <a:gd name="connsiteY1277" fmla="*/ 2324421 h 6367505"/>
              <a:gd name="connsiteX1278" fmla="*/ 7246710 w 7613003"/>
              <a:gd name="connsiteY1278" fmla="*/ 2352596 h 6367505"/>
              <a:gd name="connsiteX1279" fmla="*/ 7232621 w 7613003"/>
              <a:gd name="connsiteY1279" fmla="*/ 2324421 h 6367505"/>
              <a:gd name="connsiteX1280" fmla="*/ 7232621 w 7613003"/>
              <a:gd name="connsiteY1280" fmla="*/ 2338508 h 6367505"/>
              <a:gd name="connsiteX1281" fmla="*/ 7204445 w 7613003"/>
              <a:gd name="connsiteY1281" fmla="*/ 2282159 h 6367505"/>
              <a:gd name="connsiteX1282" fmla="*/ 7190357 w 7613003"/>
              <a:gd name="connsiteY1282" fmla="*/ 2239897 h 6367505"/>
              <a:gd name="connsiteX1283" fmla="*/ 7176268 w 7613003"/>
              <a:gd name="connsiteY1283" fmla="*/ 2197635 h 6367505"/>
              <a:gd name="connsiteX1284" fmla="*/ 7162181 w 7613003"/>
              <a:gd name="connsiteY1284" fmla="*/ 2183548 h 6367505"/>
              <a:gd name="connsiteX1285" fmla="*/ 7176268 w 7613003"/>
              <a:gd name="connsiteY1285" fmla="*/ 2225810 h 6367505"/>
              <a:gd name="connsiteX1286" fmla="*/ 7190357 w 7613003"/>
              <a:gd name="connsiteY1286" fmla="*/ 2296246 h 6367505"/>
              <a:gd name="connsiteX1287" fmla="*/ 7204445 w 7613003"/>
              <a:gd name="connsiteY1287" fmla="*/ 2310334 h 6367505"/>
              <a:gd name="connsiteX1288" fmla="*/ 7204445 w 7613003"/>
              <a:gd name="connsiteY1288" fmla="*/ 2324421 h 6367505"/>
              <a:gd name="connsiteX1289" fmla="*/ 7246710 w 7613003"/>
              <a:gd name="connsiteY1289" fmla="*/ 2408946 h 6367505"/>
              <a:gd name="connsiteX1290" fmla="*/ 7274887 w 7613003"/>
              <a:gd name="connsiteY1290" fmla="*/ 2479383 h 6367505"/>
              <a:gd name="connsiteX1291" fmla="*/ 7288974 w 7613003"/>
              <a:gd name="connsiteY1291" fmla="*/ 2493470 h 6367505"/>
              <a:gd name="connsiteX1292" fmla="*/ 7288974 w 7613003"/>
              <a:gd name="connsiteY1292" fmla="*/ 2521646 h 6367505"/>
              <a:gd name="connsiteX1293" fmla="*/ 7317151 w 7613003"/>
              <a:gd name="connsiteY1293" fmla="*/ 2606170 h 6367505"/>
              <a:gd name="connsiteX1294" fmla="*/ 7331240 w 7613003"/>
              <a:gd name="connsiteY1294" fmla="*/ 2648431 h 6367505"/>
              <a:gd name="connsiteX1295" fmla="*/ 7345327 w 7613003"/>
              <a:gd name="connsiteY1295" fmla="*/ 2690693 h 6367505"/>
              <a:gd name="connsiteX1296" fmla="*/ 7331240 w 7613003"/>
              <a:gd name="connsiteY1296" fmla="*/ 2662519 h 6367505"/>
              <a:gd name="connsiteX1297" fmla="*/ 7303063 w 7613003"/>
              <a:gd name="connsiteY1297" fmla="*/ 2620257 h 6367505"/>
              <a:gd name="connsiteX1298" fmla="*/ 7303063 w 7613003"/>
              <a:gd name="connsiteY1298" fmla="*/ 2606170 h 6367505"/>
              <a:gd name="connsiteX1299" fmla="*/ 7303063 w 7613003"/>
              <a:gd name="connsiteY1299" fmla="*/ 2592082 h 6367505"/>
              <a:gd name="connsiteX1300" fmla="*/ 7288974 w 7613003"/>
              <a:gd name="connsiteY1300" fmla="*/ 2577995 h 6367505"/>
              <a:gd name="connsiteX1301" fmla="*/ 7288974 w 7613003"/>
              <a:gd name="connsiteY1301" fmla="*/ 2563908 h 6367505"/>
              <a:gd name="connsiteX1302" fmla="*/ 7288974 w 7613003"/>
              <a:gd name="connsiteY1302" fmla="*/ 2549821 h 6367505"/>
              <a:gd name="connsiteX1303" fmla="*/ 7274887 w 7613003"/>
              <a:gd name="connsiteY1303" fmla="*/ 2549821 h 6367505"/>
              <a:gd name="connsiteX1304" fmla="*/ 7288974 w 7613003"/>
              <a:gd name="connsiteY1304" fmla="*/ 2606170 h 6367505"/>
              <a:gd name="connsiteX1305" fmla="*/ 7303063 w 7613003"/>
              <a:gd name="connsiteY1305" fmla="*/ 2634344 h 6367505"/>
              <a:gd name="connsiteX1306" fmla="*/ 7331240 w 7613003"/>
              <a:gd name="connsiteY1306" fmla="*/ 2704782 h 6367505"/>
              <a:gd name="connsiteX1307" fmla="*/ 7345327 w 7613003"/>
              <a:gd name="connsiteY1307" fmla="*/ 2761131 h 6367505"/>
              <a:gd name="connsiteX1308" fmla="*/ 7345327 w 7613003"/>
              <a:gd name="connsiteY1308" fmla="*/ 2775218 h 6367505"/>
              <a:gd name="connsiteX1309" fmla="*/ 7345327 w 7613003"/>
              <a:gd name="connsiteY1309" fmla="*/ 2789306 h 6367505"/>
              <a:gd name="connsiteX1310" fmla="*/ 7303063 w 7613003"/>
              <a:gd name="connsiteY1310" fmla="*/ 2690693 h 6367505"/>
              <a:gd name="connsiteX1311" fmla="*/ 7288974 w 7613003"/>
              <a:gd name="connsiteY1311" fmla="*/ 2648431 h 6367505"/>
              <a:gd name="connsiteX1312" fmla="*/ 7274887 w 7613003"/>
              <a:gd name="connsiteY1312" fmla="*/ 2592082 h 6367505"/>
              <a:gd name="connsiteX1313" fmla="*/ 7232621 w 7613003"/>
              <a:gd name="connsiteY1313" fmla="*/ 2479383 h 6367505"/>
              <a:gd name="connsiteX1314" fmla="*/ 7204445 w 7613003"/>
              <a:gd name="connsiteY1314" fmla="*/ 2408946 h 6367505"/>
              <a:gd name="connsiteX1315" fmla="*/ 7190357 w 7613003"/>
              <a:gd name="connsiteY1315" fmla="*/ 2394859 h 6367505"/>
              <a:gd name="connsiteX1316" fmla="*/ 7162181 w 7613003"/>
              <a:gd name="connsiteY1316" fmla="*/ 2352596 h 6367505"/>
              <a:gd name="connsiteX1317" fmla="*/ 7162181 w 7613003"/>
              <a:gd name="connsiteY1317" fmla="*/ 2324421 h 6367505"/>
              <a:gd name="connsiteX1318" fmla="*/ 7148092 w 7613003"/>
              <a:gd name="connsiteY1318" fmla="*/ 2324421 h 6367505"/>
              <a:gd name="connsiteX1319" fmla="*/ 7148092 w 7613003"/>
              <a:gd name="connsiteY1319" fmla="*/ 2310334 h 6367505"/>
              <a:gd name="connsiteX1320" fmla="*/ 7119917 w 7613003"/>
              <a:gd name="connsiteY1320" fmla="*/ 2253985 h 6367505"/>
              <a:gd name="connsiteX1321" fmla="*/ 7077651 w 7613003"/>
              <a:gd name="connsiteY1321" fmla="*/ 2183548 h 6367505"/>
              <a:gd name="connsiteX1322" fmla="*/ 7063564 w 7613003"/>
              <a:gd name="connsiteY1322" fmla="*/ 2169459 h 6367505"/>
              <a:gd name="connsiteX1323" fmla="*/ 7049475 w 7613003"/>
              <a:gd name="connsiteY1323" fmla="*/ 2127198 h 6367505"/>
              <a:gd name="connsiteX1324" fmla="*/ 7021298 w 7613003"/>
              <a:gd name="connsiteY1324" fmla="*/ 2099023 h 6367505"/>
              <a:gd name="connsiteX1325" fmla="*/ 6979034 w 7613003"/>
              <a:gd name="connsiteY1325" fmla="*/ 2042674 h 6367505"/>
              <a:gd name="connsiteX1326" fmla="*/ 6979034 w 7613003"/>
              <a:gd name="connsiteY1326" fmla="*/ 2028587 h 6367505"/>
              <a:gd name="connsiteX1327" fmla="*/ 6936769 w 7613003"/>
              <a:gd name="connsiteY1327" fmla="*/ 1986323 h 6367505"/>
              <a:gd name="connsiteX1328" fmla="*/ 6936769 w 7613003"/>
              <a:gd name="connsiteY1328" fmla="*/ 2000412 h 6367505"/>
              <a:gd name="connsiteX1329" fmla="*/ 6950858 w 7613003"/>
              <a:gd name="connsiteY1329" fmla="*/ 2014499 h 6367505"/>
              <a:gd name="connsiteX1330" fmla="*/ 6964945 w 7613003"/>
              <a:gd name="connsiteY1330" fmla="*/ 2042674 h 6367505"/>
              <a:gd name="connsiteX1331" fmla="*/ 6979034 w 7613003"/>
              <a:gd name="connsiteY1331" fmla="*/ 2056761 h 6367505"/>
              <a:gd name="connsiteX1332" fmla="*/ 7021298 w 7613003"/>
              <a:gd name="connsiteY1332" fmla="*/ 2127198 h 6367505"/>
              <a:gd name="connsiteX1333" fmla="*/ 7035386 w 7613003"/>
              <a:gd name="connsiteY1333" fmla="*/ 2155372 h 6367505"/>
              <a:gd name="connsiteX1334" fmla="*/ 7091739 w 7613003"/>
              <a:gd name="connsiteY1334" fmla="*/ 2253985 h 6367505"/>
              <a:gd name="connsiteX1335" fmla="*/ 7077651 w 7613003"/>
              <a:gd name="connsiteY1335" fmla="*/ 2239897 h 6367505"/>
              <a:gd name="connsiteX1336" fmla="*/ 7021298 w 7613003"/>
              <a:gd name="connsiteY1336" fmla="*/ 2155372 h 6367505"/>
              <a:gd name="connsiteX1337" fmla="*/ 7007211 w 7613003"/>
              <a:gd name="connsiteY1337" fmla="*/ 2141285 h 6367505"/>
              <a:gd name="connsiteX1338" fmla="*/ 7007211 w 7613003"/>
              <a:gd name="connsiteY1338" fmla="*/ 2127198 h 6367505"/>
              <a:gd name="connsiteX1339" fmla="*/ 6993122 w 7613003"/>
              <a:gd name="connsiteY1339" fmla="*/ 2099023 h 6367505"/>
              <a:gd name="connsiteX1340" fmla="*/ 6979034 w 7613003"/>
              <a:gd name="connsiteY1340" fmla="*/ 2084936 h 6367505"/>
              <a:gd name="connsiteX1341" fmla="*/ 6979034 w 7613003"/>
              <a:gd name="connsiteY1341" fmla="*/ 2070849 h 6367505"/>
              <a:gd name="connsiteX1342" fmla="*/ 6964945 w 7613003"/>
              <a:gd name="connsiteY1342" fmla="*/ 2056761 h 6367505"/>
              <a:gd name="connsiteX1343" fmla="*/ 6950858 w 7613003"/>
              <a:gd name="connsiteY1343" fmla="*/ 2042674 h 6367505"/>
              <a:gd name="connsiteX1344" fmla="*/ 6936769 w 7613003"/>
              <a:gd name="connsiteY1344" fmla="*/ 2028587 h 6367505"/>
              <a:gd name="connsiteX1345" fmla="*/ 6936769 w 7613003"/>
              <a:gd name="connsiteY1345" fmla="*/ 2014499 h 6367505"/>
              <a:gd name="connsiteX1346" fmla="*/ 6908593 w 7613003"/>
              <a:gd name="connsiteY1346" fmla="*/ 2000412 h 6367505"/>
              <a:gd name="connsiteX1347" fmla="*/ 6908593 w 7613003"/>
              <a:gd name="connsiteY1347" fmla="*/ 1986323 h 6367505"/>
              <a:gd name="connsiteX1348" fmla="*/ 6866328 w 7613003"/>
              <a:gd name="connsiteY1348" fmla="*/ 1944061 h 6367505"/>
              <a:gd name="connsiteX1349" fmla="*/ 6866328 w 7613003"/>
              <a:gd name="connsiteY1349" fmla="*/ 1929974 h 6367505"/>
              <a:gd name="connsiteX1350" fmla="*/ 6852240 w 7613003"/>
              <a:gd name="connsiteY1350" fmla="*/ 1915887 h 6367505"/>
              <a:gd name="connsiteX1351" fmla="*/ 6809975 w 7613003"/>
              <a:gd name="connsiteY1351" fmla="*/ 1873625 h 6367505"/>
              <a:gd name="connsiteX1352" fmla="*/ 6781799 w 7613003"/>
              <a:gd name="connsiteY1352" fmla="*/ 1831363 h 6367505"/>
              <a:gd name="connsiteX1353" fmla="*/ 6767710 w 7613003"/>
              <a:gd name="connsiteY1353" fmla="*/ 1831363 h 6367505"/>
              <a:gd name="connsiteX1354" fmla="*/ 6753622 w 7613003"/>
              <a:gd name="connsiteY1354" fmla="*/ 1803188 h 6367505"/>
              <a:gd name="connsiteX1355" fmla="*/ 6711357 w 7613003"/>
              <a:gd name="connsiteY1355" fmla="*/ 1760925 h 6367505"/>
              <a:gd name="connsiteX1356" fmla="*/ 6697269 w 7613003"/>
              <a:gd name="connsiteY1356" fmla="*/ 1760925 h 6367505"/>
              <a:gd name="connsiteX1357" fmla="*/ 6697269 w 7613003"/>
              <a:gd name="connsiteY1357" fmla="*/ 1746838 h 6367505"/>
              <a:gd name="connsiteX1358" fmla="*/ 6683181 w 7613003"/>
              <a:gd name="connsiteY1358" fmla="*/ 1732751 h 6367505"/>
              <a:gd name="connsiteX1359" fmla="*/ 6655004 w 7613003"/>
              <a:gd name="connsiteY1359" fmla="*/ 1704576 h 6367505"/>
              <a:gd name="connsiteX1360" fmla="*/ 6640916 w 7613003"/>
              <a:gd name="connsiteY1360" fmla="*/ 1690489 h 6367505"/>
              <a:gd name="connsiteX1361" fmla="*/ 6612740 w 7613003"/>
              <a:gd name="connsiteY1361" fmla="*/ 1676401 h 6367505"/>
              <a:gd name="connsiteX1362" fmla="*/ 6598651 w 7613003"/>
              <a:gd name="connsiteY1362" fmla="*/ 1662314 h 6367505"/>
              <a:gd name="connsiteX1363" fmla="*/ 6598651 w 7613003"/>
              <a:gd name="connsiteY1363" fmla="*/ 1648227 h 6367505"/>
              <a:gd name="connsiteX1364" fmla="*/ 6584563 w 7613003"/>
              <a:gd name="connsiteY1364" fmla="*/ 1648227 h 6367505"/>
              <a:gd name="connsiteX1365" fmla="*/ 6570476 w 7613003"/>
              <a:gd name="connsiteY1365" fmla="*/ 1634138 h 6367505"/>
              <a:gd name="connsiteX1366" fmla="*/ 6556387 w 7613003"/>
              <a:gd name="connsiteY1366" fmla="*/ 1620051 h 6367505"/>
              <a:gd name="connsiteX1367" fmla="*/ 6542298 w 7613003"/>
              <a:gd name="connsiteY1367" fmla="*/ 1605964 h 6367505"/>
              <a:gd name="connsiteX1368" fmla="*/ 6485946 w 7613003"/>
              <a:gd name="connsiteY1368" fmla="*/ 1563702 h 6367505"/>
              <a:gd name="connsiteX1369" fmla="*/ 6457770 w 7613003"/>
              <a:gd name="connsiteY1369" fmla="*/ 1535527 h 6367505"/>
              <a:gd name="connsiteX1370" fmla="*/ 6443681 w 7613003"/>
              <a:gd name="connsiteY1370" fmla="*/ 1535527 h 6367505"/>
              <a:gd name="connsiteX1371" fmla="*/ 6471858 w 7613003"/>
              <a:gd name="connsiteY1371" fmla="*/ 1563702 h 6367505"/>
              <a:gd name="connsiteX1372" fmla="*/ 6471858 w 7613003"/>
              <a:gd name="connsiteY1372" fmla="*/ 1577789 h 6367505"/>
              <a:gd name="connsiteX1373" fmla="*/ 6485946 w 7613003"/>
              <a:gd name="connsiteY1373" fmla="*/ 1591876 h 6367505"/>
              <a:gd name="connsiteX1374" fmla="*/ 6500034 w 7613003"/>
              <a:gd name="connsiteY1374" fmla="*/ 1605964 h 6367505"/>
              <a:gd name="connsiteX1375" fmla="*/ 6514123 w 7613003"/>
              <a:gd name="connsiteY1375" fmla="*/ 1620051 h 6367505"/>
              <a:gd name="connsiteX1376" fmla="*/ 6485946 w 7613003"/>
              <a:gd name="connsiteY1376" fmla="*/ 1605964 h 6367505"/>
              <a:gd name="connsiteX1377" fmla="*/ 6471858 w 7613003"/>
              <a:gd name="connsiteY1377" fmla="*/ 1591876 h 6367505"/>
              <a:gd name="connsiteX1378" fmla="*/ 6457770 w 7613003"/>
              <a:gd name="connsiteY1378" fmla="*/ 1591876 h 6367505"/>
              <a:gd name="connsiteX1379" fmla="*/ 6443681 w 7613003"/>
              <a:gd name="connsiteY1379" fmla="*/ 1563702 h 6367505"/>
              <a:gd name="connsiteX1380" fmla="*/ 6427832 w 7613003"/>
              <a:gd name="connsiteY1380" fmla="*/ 1542571 h 6367505"/>
              <a:gd name="connsiteX1381" fmla="*/ 6414624 w 7613003"/>
              <a:gd name="connsiteY1381" fmla="*/ 1532005 h 6367505"/>
              <a:gd name="connsiteX1382" fmla="*/ 6413744 w 7613003"/>
              <a:gd name="connsiteY1382" fmla="*/ 1528484 h 6367505"/>
              <a:gd name="connsiteX1383" fmla="*/ 6401417 w 7613003"/>
              <a:gd name="connsiteY1383" fmla="*/ 1521440 h 6367505"/>
              <a:gd name="connsiteX1384" fmla="*/ 6387328 w 7613003"/>
              <a:gd name="connsiteY1384" fmla="*/ 1507353 h 6367505"/>
              <a:gd name="connsiteX1385" fmla="*/ 6373240 w 7613003"/>
              <a:gd name="connsiteY1385" fmla="*/ 1507353 h 6367505"/>
              <a:gd name="connsiteX1386" fmla="*/ 6415505 w 7613003"/>
              <a:gd name="connsiteY1386" fmla="*/ 1549614 h 6367505"/>
              <a:gd name="connsiteX1387" fmla="*/ 6330975 w 7613003"/>
              <a:gd name="connsiteY1387" fmla="*/ 1479178 h 6367505"/>
              <a:gd name="connsiteX1388" fmla="*/ 6330975 w 7613003"/>
              <a:gd name="connsiteY1388" fmla="*/ 1465089 h 6367505"/>
              <a:gd name="connsiteX1389" fmla="*/ 6330975 w 7613003"/>
              <a:gd name="connsiteY1389" fmla="*/ 1465089 h 6367505"/>
              <a:gd name="connsiteX1390" fmla="*/ 6316888 w 7613003"/>
              <a:gd name="connsiteY1390" fmla="*/ 1465089 h 6367505"/>
              <a:gd name="connsiteX1391" fmla="*/ 6302799 w 7613003"/>
              <a:gd name="connsiteY1391" fmla="*/ 1451002 h 6367505"/>
              <a:gd name="connsiteX1392" fmla="*/ 6246446 w 7613003"/>
              <a:gd name="connsiteY1392" fmla="*/ 1408740 h 6367505"/>
              <a:gd name="connsiteX1393" fmla="*/ 6239403 w 7613003"/>
              <a:gd name="connsiteY1393" fmla="*/ 1408740 h 6367505"/>
              <a:gd name="connsiteX1394" fmla="*/ 6237641 w 7613003"/>
              <a:gd name="connsiteY1394" fmla="*/ 1408740 h 6367505"/>
              <a:gd name="connsiteX1395" fmla="*/ 6232358 w 7613003"/>
              <a:gd name="connsiteY1395" fmla="*/ 1408740 h 6367505"/>
              <a:gd name="connsiteX1396" fmla="*/ 6204182 w 7613003"/>
              <a:gd name="connsiteY1396" fmla="*/ 1394653 h 6367505"/>
              <a:gd name="connsiteX1397" fmla="*/ 6190093 w 7613003"/>
              <a:gd name="connsiteY1397" fmla="*/ 1380566 h 6367505"/>
              <a:gd name="connsiteX1398" fmla="*/ 6119652 w 7613003"/>
              <a:gd name="connsiteY1398" fmla="*/ 1352391 h 6367505"/>
              <a:gd name="connsiteX1399" fmla="*/ 6105565 w 7613003"/>
              <a:gd name="connsiteY1399" fmla="*/ 1338304 h 6367505"/>
              <a:gd name="connsiteX1400" fmla="*/ 6091476 w 7613003"/>
              <a:gd name="connsiteY1400" fmla="*/ 1324216 h 6367505"/>
              <a:gd name="connsiteX1401" fmla="*/ 6077388 w 7613003"/>
              <a:gd name="connsiteY1401" fmla="*/ 1324216 h 6367505"/>
              <a:gd name="connsiteX1402" fmla="*/ 6077388 w 7613003"/>
              <a:gd name="connsiteY1402" fmla="*/ 1324216 h 6367505"/>
              <a:gd name="connsiteX1403" fmla="*/ 6119652 w 7613003"/>
              <a:gd name="connsiteY1403" fmla="*/ 1366478 h 6367505"/>
              <a:gd name="connsiteX1404" fmla="*/ 6147829 w 7613003"/>
              <a:gd name="connsiteY1404" fmla="*/ 1375282 h 6367505"/>
              <a:gd name="connsiteX1405" fmla="*/ 6155514 w 7613003"/>
              <a:gd name="connsiteY1405" fmla="*/ 1380566 h 6367505"/>
              <a:gd name="connsiteX1406" fmla="*/ 6154873 w 7613003"/>
              <a:gd name="connsiteY1406" fmla="*/ 1380566 h 6367505"/>
              <a:gd name="connsiteX1407" fmla="*/ 6147829 w 7613003"/>
              <a:gd name="connsiteY1407" fmla="*/ 1380566 h 6367505"/>
              <a:gd name="connsiteX1408" fmla="*/ 6161916 w 7613003"/>
              <a:gd name="connsiteY1408" fmla="*/ 1394653 h 6367505"/>
              <a:gd name="connsiteX1409" fmla="*/ 6190093 w 7613003"/>
              <a:gd name="connsiteY1409" fmla="*/ 1422828 h 6367505"/>
              <a:gd name="connsiteX1410" fmla="*/ 6204182 w 7613003"/>
              <a:gd name="connsiteY1410" fmla="*/ 1422828 h 6367505"/>
              <a:gd name="connsiteX1411" fmla="*/ 6260535 w 7613003"/>
              <a:gd name="connsiteY1411" fmla="*/ 1465089 h 6367505"/>
              <a:gd name="connsiteX1412" fmla="*/ 6302799 w 7613003"/>
              <a:gd name="connsiteY1412" fmla="*/ 1493265 h 6367505"/>
              <a:gd name="connsiteX1413" fmla="*/ 6373240 w 7613003"/>
              <a:gd name="connsiteY1413" fmla="*/ 1535527 h 6367505"/>
              <a:gd name="connsiteX1414" fmla="*/ 6387328 w 7613003"/>
              <a:gd name="connsiteY1414" fmla="*/ 1549614 h 6367505"/>
              <a:gd name="connsiteX1415" fmla="*/ 6401417 w 7613003"/>
              <a:gd name="connsiteY1415" fmla="*/ 1563702 h 6367505"/>
              <a:gd name="connsiteX1416" fmla="*/ 6415505 w 7613003"/>
              <a:gd name="connsiteY1416" fmla="*/ 1577789 h 6367505"/>
              <a:gd name="connsiteX1417" fmla="*/ 6401417 w 7613003"/>
              <a:gd name="connsiteY1417" fmla="*/ 1577789 h 6367505"/>
              <a:gd name="connsiteX1418" fmla="*/ 6429593 w 7613003"/>
              <a:gd name="connsiteY1418" fmla="*/ 1605964 h 6367505"/>
              <a:gd name="connsiteX1419" fmla="*/ 6443681 w 7613003"/>
              <a:gd name="connsiteY1419" fmla="*/ 1620051 h 6367505"/>
              <a:gd name="connsiteX1420" fmla="*/ 6457770 w 7613003"/>
              <a:gd name="connsiteY1420" fmla="*/ 1620051 h 6367505"/>
              <a:gd name="connsiteX1421" fmla="*/ 6485946 w 7613003"/>
              <a:gd name="connsiteY1421" fmla="*/ 1648227 h 6367505"/>
              <a:gd name="connsiteX1422" fmla="*/ 6528211 w 7613003"/>
              <a:gd name="connsiteY1422" fmla="*/ 1690489 h 6367505"/>
              <a:gd name="connsiteX1423" fmla="*/ 6528211 w 7613003"/>
              <a:gd name="connsiteY1423" fmla="*/ 1704576 h 6367505"/>
              <a:gd name="connsiteX1424" fmla="*/ 6471858 w 7613003"/>
              <a:gd name="connsiteY1424" fmla="*/ 1648227 h 6367505"/>
              <a:gd name="connsiteX1425" fmla="*/ 6500034 w 7613003"/>
              <a:gd name="connsiteY1425" fmla="*/ 1690489 h 6367505"/>
              <a:gd name="connsiteX1426" fmla="*/ 6514123 w 7613003"/>
              <a:gd name="connsiteY1426" fmla="*/ 1704576 h 6367505"/>
              <a:gd name="connsiteX1427" fmla="*/ 6500034 w 7613003"/>
              <a:gd name="connsiteY1427" fmla="*/ 1704576 h 6367505"/>
              <a:gd name="connsiteX1428" fmla="*/ 6542298 w 7613003"/>
              <a:gd name="connsiteY1428" fmla="*/ 1732751 h 6367505"/>
              <a:gd name="connsiteX1429" fmla="*/ 6598651 w 7613003"/>
              <a:gd name="connsiteY1429" fmla="*/ 1803188 h 6367505"/>
              <a:gd name="connsiteX1430" fmla="*/ 6612740 w 7613003"/>
              <a:gd name="connsiteY1430" fmla="*/ 1803188 h 6367505"/>
              <a:gd name="connsiteX1431" fmla="*/ 6612740 w 7613003"/>
              <a:gd name="connsiteY1431" fmla="*/ 1817276 h 6367505"/>
              <a:gd name="connsiteX1432" fmla="*/ 6626829 w 7613003"/>
              <a:gd name="connsiteY1432" fmla="*/ 1817276 h 6367505"/>
              <a:gd name="connsiteX1433" fmla="*/ 6640916 w 7613003"/>
              <a:gd name="connsiteY1433" fmla="*/ 1859538 h 6367505"/>
              <a:gd name="connsiteX1434" fmla="*/ 6640916 w 7613003"/>
              <a:gd name="connsiteY1434" fmla="*/ 1873625 h 6367505"/>
              <a:gd name="connsiteX1435" fmla="*/ 6655004 w 7613003"/>
              <a:gd name="connsiteY1435" fmla="*/ 1915887 h 6367505"/>
              <a:gd name="connsiteX1436" fmla="*/ 6683181 w 7613003"/>
              <a:gd name="connsiteY1436" fmla="*/ 1958149 h 6367505"/>
              <a:gd name="connsiteX1437" fmla="*/ 6697269 w 7613003"/>
              <a:gd name="connsiteY1437" fmla="*/ 1972236 h 6367505"/>
              <a:gd name="connsiteX1438" fmla="*/ 6697269 w 7613003"/>
              <a:gd name="connsiteY1438" fmla="*/ 1986323 h 6367505"/>
              <a:gd name="connsiteX1439" fmla="*/ 6655004 w 7613003"/>
              <a:gd name="connsiteY1439" fmla="*/ 1944061 h 6367505"/>
              <a:gd name="connsiteX1440" fmla="*/ 6626829 w 7613003"/>
              <a:gd name="connsiteY1440" fmla="*/ 1929974 h 6367505"/>
              <a:gd name="connsiteX1441" fmla="*/ 6598651 w 7613003"/>
              <a:gd name="connsiteY1441" fmla="*/ 1887712 h 6367505"/>
              <a:gd name="connsiteX1442" fmla="*/ 6584563 w 7613003"/>
              <a:gd name="connsiteY1442" fmla="*/ 1873625 h 6367505"/>
              <a:gd name="connsiteX1443" fmla="*/ 6570476 w 7613003"/>
              <a:gd name="connsiteY1443" fmla="*/ 1859538 h 6367505"/>
              <a:gd name="connsiteX1444" fmla="*/ 6528211 w 7613003"/>
              <a:gd name="connsiteY1444" fmla="*/ 1831363 h 6367505"/>
              <a:gd name="connsiteX1445" fmla="*/ 6500034 w 7613003"/>
              <a:gd name="connsiteY1445" fmla="*/ 1803188 h 6367505"/>
              <a:gd name="connsiteX1446" fmla="*/ 6471858 w 7613003"/>
              <a:gd name="connsiteY1446" fmla="*/ 1775013 h 6367505"/>
              <a:gd name="connsiteX1447" fmla="*/ 6401417 w 7613003"/>
              <a:gd name="connsiteY1447" fmla="*/ 1704576 h 6367505"/>
              <a:gd name="connsiteX1448" fmla="*/ 6316888 w 7613003"/>
              <a:gd name="connsiteY1448" fmla="*/ 1634138 h 6367505"/>
              <a:gd name="connsiteX1449" fmla="*/ 6288711 w 7613003"/>
              <a:gd name="connsiteY1449" fmla="*/ 1620051 h 6367505"/>
              <a:gd name="connsiteX1450" fmla="*/ 6274622 w 7613003"/>
              <a:gd name="connsiteY1450" fmla="*/ 1605964 h 6367505"/>
              <a:gd name="connsiteX1451" fmla="*/ 6232358 w 7613003"/>
              <a:gd name="connsiteY1451" fmla="*/ 1577789 h 6367505"/>
              <a:gd name="connsiteX1452" fmla="*/ 6161916 w 7613003"/>
              <a:gd name="connsiteY1452" fmla="*/ 1535527 h 6367505"/>
              <a:gd name="connsiteX1453" fmla="*/ 6119652 w 7613003"/>
              <a:gd name="connsiteY1453" fmla="*/ 1507353 h 6367505"/>
              <a:gd name="connsiteX1454" fmla="*/ 6091476 w 7613003"/>
              <a:gd name="connsiteY1454" fmla="*/ 1493265 h 6367505"/>
              <a:gd name="connsiteX1455" fmla="*/ 6035123 w 7613003"/>
              <a:gd name="connsiteY1455" fmla="*/ 1465089 h 6367505"/>
              <a:gd name="connsiteX1456" fmla="*/ 6021035 w 7613003"/>
              <a:gd name="connsiteY1456" fmla="*/ 1451002 h 6367505"/>
              <a:gd name="connsiteX1457" fmla="*/ 5992859 w 7613003"/>
              <a:gd name="connsiteY1457" fmla="*/ 1436915 h 6367505"/>
              <a:gd name="connsiteX1458" fmla="*/ 6006946 w 7613003"/>
              <a:gd name="connsiteY1458" fmla="*/ 1451002 h 6367505"/>
              <a:gd name="connsiteX1459" fmla="*/ 5964682 w 7613003"/>
              <a:gd name="connsiteY1459" fmla="*/ 1436915 h 6367505"/>
              <a:gd name="connsiteX1460" fmla="*/ 5950593 w 7613003"/>
              <a:gd name="connsiteY1460" fmla="*/ 1422828 h 6367505"/>
              <a:gd name="connsiteX1461" fmla="*/ 5936506 w 7613003"/>
              <a:gd name="connsiteY1461" fmla="*/ 1408740 h 6367505"/>
              <a:gd name="connsiteX1462" fmla="*/ 5922417 w 7613003"/>
              <a:gd name="connsiteY1462" fmla="*/ 1408740 h 6367505"/>
              <a:gd name="connsiteX1463" fmla="*/ 5908329 w 7613003"/>
              <a:gd name="connsiteY1463" fmla="*/ 1394653 h 6367505"/>
              <a:gd name="connsiteX1464" fmla="*/ 5894240 w 7613003"/>
              <a:gd name="connsiteY1464" fmla="*/ 1394653 h 6367505"/>
              <a:gd name="connsiteX1465" fmla="*/ 5866064 w 7613003"/>
              <a:gd name="connsiteY1465" fmla="*/ 1380566 h 6367505"/>
              <a:gd name="connsiteX1466" fmla="*/ 5851976 w 7613003"/>
              <a:gd name="connsiteY1466" fmla="*/ 1366478 h 6367505"/>
              <a:gd name="connsiteX1467" fmla="*/ 5781535 w 7613003"/>
              <a:gd name="connsiteY1467" fmla="*/ 1352391 h 6367505"/>
              <a:gd name="connsiteX1468" fmla="*/ 5781535 w 7613003"/>
              <a:gd name="connsiteY1468" fmla="*/ 1338304 h 6367505"/>
              <a:gd name="connsiteX1469" fmla="*/ 5776252 w 7613003"/>
              <a:gd name="connsiteY1469" fmla="*/ 1338304 h 6367505"/>
              <a:gd name="connsiteX1470" fmla="*/ 5775592 w 7613003"/>
              <a:gd name="connsiteY1470" fmla="*/ 1338304 h 6367505"/>
              <a:gd name="connsiteX1471" fmla="*/ 5774492 w 7613003"/>
              <a:gd name="connsiteY1471" fmla="*/ 1338304 h 6367505"/>
              <a:gd name="connsiteX1472" fmla="*/ 5767447 w 7613003"/>
              <a:gd name="connsiteY1472" fmla="*/ 1338304 h 6367505"/>
              <a:gd name="connsiteX1473" fmla="*/ 5725182 w 7613003"/>
              <a:gd name="connsiteY1473" fmla="*/ 1324216 h 6367505"/>
              <a:gd name="connsiteX1474" fmla="*/ 5697005 w 7613003"/>
              <a:gd name="connsiteY1474" fmla="*/ 1324216 h 6367505"/>
              <a:gd name="connsiteX1475" fmla="*/ 5668829 w 7613003"/>
              <a:gd name="connsiteY1475" fmla="*/ 1310129 h 6367505"/>
              <a:gd name="connsiteX1476" fmla="*/ 5640652 w 7613003"/>
              <a:gd name="connsiteY1476" fmla="*/ 1296041 h 6367505"/>
              <a:gd name="connsiteX1477" fmla="*/ 5612477 w 7613003"/>
              <a:gd name="connsiteY1477" fmla="*/ 1296041 h 6367505"/>
              <a:gd name="connsiteX1478" fmla="*/ 5556124 w 7613003"/>
              <a:gd name="connsiteY1478" fmla="*/ 1267866 h 6367505"/>
              <a:gd name="connsiteX1479" fmla="*/ 5542035 w 7613003"/>
              <a:gd name="connsiteY1479" fmla="*/ 1267866 h 6367505"/>
              <a:gd name="connsiteX1480" fmla="*/ 5527947 w 7613003"/>
              <a:gd name="connsiteY1480" fmla="*/ 1253779 h 6367505"/>
              <a:gd name="connsiteX1481" fmla="*/ 5513859 w 7613003"/>
              <a:gd name="connsiteY1481" fmla="*/ 1267866 h 6367505"/>
              <a:gd name="connsiteX1482" fmla="*/ 5513859 w 7613003"/>
              <a:gd name="connsiteY1482" fmla="*/ 1281953 h 6367505"/>
              <a:gd name="connsiteX1483" fmla="*/ 5527947 w 7613003"/>
              <a:gd name="connsiteY1483" fmla="*/ 1281953 h 6367505"/>
              <a:gd name="connsiteX1484" fmla="*/ 5542035 w 7613003"/>
              <a:gd name="connsiteY1484" fmla="*/ 1281953 h 6367505"/>
              <a:gd name="connsiteX1485" fmla="*/ 5584299 w 7613003"/>
              <a:gd name="connsiteY1485" fmla="*/ 1310129 h 6367505"/>
              <a:gd name="connsiteX1486" fmla="*/ 5570212 w 7613003"/>
              <a:gd name="connsiteY1486" fmla="*/ 1296041 h 6367505"/>
              <a:gd name="connsiteX1487" fmla="*/ 5612477 w 7613003"/>
              <a:gd name="connsiteY1487" fmla="*/ 1310129 h 6367505"/>
              <a:gd name="connsiteX1488" fmla="*/ 5612477 w 7613003"/>
              <a:gd name="connsiteY1488" fmla="*/ 1324216 h 6367505"/>
              <a:gd name="connsiteX1489" fmla="*/ 5640652 w 7613003"/>
              <a:gd name="connsiteY1489" fmla="*/ 1338304 h 6367505"/>
              <a:gd name="connsiteX1490" fmla="*/ 5612477 w 7613003"/>
              <a:gd name="connsiteY1490" fmla="*/ 1338304 h 6367505"/>
              <a:gd name="connsiteX1491" fmla="*/ 5570212 w 7613003"/>
              <a:gd name="connsiteY1491" fmla="*/ 1324216 h 6367505"/>
              <a:gd name="connsiteX1492" fmla="*/ 5542035 w 7613003"/>
              <a:gd name="connsiteY1492" fmla="*/ 1310129 h 6367505"/>
              <a:gd name="connsiteX1493" fmla="*/ 5513859 w 7613003"/>
              <a:gd name="connsiteY1493" fmla="*/ 1310129 h 6367505"/>
              <a:gd name="connsiteX1494" fmla="*/ 5499771 w 7613003"/>
              <a:gd name="connsiteY1494" fmla="*/ 1310129 h 6367505"/>
              <a:gd name="connsiteX1495" fmla="*/ 5443418 w 7613003"/>
              <a:gd name="connsiteY1495" fmla="*/ 1296041 h 6367505"/>
              <a:gd name="connsiteX1496" fmla="*/ 5429329 w 7613003"/>
              <a:gd name="connsiteY1496" fmla="*/ 1310129 h 6367505"/>
              <a:gd name="connsiteX1497" fmla="*/ 5401153 w 7613003"/>
              <a:gd name="connsiteY1497" fmla="*/ 1310129 h 6367505"/>
              <a:gd name="connsiteX1498" fmla="*/ 5387065 w 7613003"/>
              <a:gd name="connsiteY1498" fmla="*/ 1310129 h 6367505"/>
              <a:gd name="connsiteX1499" fmla="*/ 5415242 w 7613003"/>
              <a:gd name="connsiteY1499" fmla="*/ 1324216 h 6367505"/>
              <a:gd name="connsiteX1500" fmla="*/ 5422004 w 7613003"/>
              <a:gd name="connsiteY1500" fmla="*/ 1336050 h 6367505"/>
              <a:gd name="connsiteX1501" fmla="*/ 5406437 w 7613003"/>
              <a:gd name="connsiteY1501" fmla="*/ 1331260 h 6367505"/>
              <a:gd name="connsiteX1502" fmla="*/ 5372976 w 7613003"/>
              <a:gd name="connsiteY1502" fmla="*/ 1324216 h 6367505"/>
              <a:gd name="connsiteX1503" fmla="*/ 5358889 w 7613003"/>
              <a:gd name="connsiteY1503" fmla="*/ 1310129 h 6367505"/>
              <a:gd name="connsiteX1504" fmla="*/ 5302536 w 7613003"/>
              <a:gd name="connsiteY1504" fmla="*/ 1310129 h 6367505"/>
              <a:gd name="connsiteX1505" fmla="*/ 5260270 w 7613003"/>
              <a:gd name="connsiteY1505" fmla="*/ 1310129 h 6367505"/>
              <a:gd name="connsiteX1506" fmla="*/ 5246183 w 7613003"/>
              <a:gd name="connsiteY1506" fmla="*/ 1310129 h 6367505"/>
              <a:gd name="connsiteX1507" fmla="*/ 5232094 w 7613003"/>
              <a:gd name="connsiteY1507" fmla="*/ 1310129 h 6367505"/>
              <a:gd name="connsiteX1508" fmla="*/ 5218006 w 7613003"/>
              <a:gd name="connsiteY1508" fmla="*/ 1310129 h 6367505"/>
              <a:gd name="connsiteX1509" fmla="*/ 5203919 w 7613003"/>
              <a:gd name="connsiteY1509" fmla="*/ 1310129 h 6367505"/>
              <a:gd name="connsiteX1510" fmla="*/ 5175742 w 7613003"/>
              <a:gd name="connsiteY1510" fmla="*/ 1310129 h 6367505"/>
              <a:gd name="connsiteX1511" fmla="*/ 5147566 w 7613003"/>
              <a:gd name="connsiteY1511" fmla="*/ 1310129 h 6367505"/>
              <a:gd name="connsiteX1512" fmla="*/ 5119389 w 7613003"/>
              <a:gd name="connsiteY1512" fmla="*/ 1310129 h 6367505"/>
              <a:gd name="connsiteX1513" fmla="*/ 5102500 w 7613003"/>
              <a:gd name="connsiteY1513" fmla="*/ 1311428 h 6367505"/>
              <a:gd name="connsiteX1514" fmla="*/ 5106196 w 7613003"/>
              <a:gd name="connsiteY1514" fmla="*/ 1311890 h 6367505"/>
              <a:gd name="connsiteX1515" fmla="*/ 5120284 w 7613003"/>
              <a:gd name="connsiteY1515" fmla="*/ 1324216 h 6367505"/>
              <a:gd name="connsiteX1516" fmla="*/ 5146039 w 7613003"/>
              <a:gd name="connsiteY1516" fmla="*/ 1369780 h 6367505"/>
              <a:gd name="connsiteX1517" fmla="*/ 5153198 w 7613003"/>
              <a:gd name="connsiteY1517" fmla="*/ 1380566 h 6367505"/>
              <a:gd name="connsiteX1518" fmla="*/ 5175742 w 7613003"/>
              <a:gd name="connsiteY1518" fmla="*/ 1380566 h 6367505"/>
              <a:gd name="connsiteX1519" fmla="*/ 5218006 w 7613003"/>
              <a:gd name="connsiteY1519" fmla="*/ 1394653 h 6367505"/>
              <a:gd name="connsiteX1520" fmla="*/ 5260270 w 7613003"/>
              <a:gd name="connsiteY1520" fmla="*/ 1408740 h 6367505"/>
              <a:gd name="connsiteX1521" fmla="*/ 5232094 w 7613003"/>
              <a:gd name="connsiteY1521" fmla="*/ 1422828 h 6367505"/>
              <a:gd name="connsiteX1522" fmla="*/ 5203919 w 7613003"/>
              <a:gd name="connsiteY1522" fmla="*/ 1422828 h 6367505"/>
              <a:gd name="connsiteX1523" fmla="*/ 5193573 w 7613003"/>
              <a:gd name="connsiteY1523" fmla="*/ 1416884 h 6367505"/>
              <a:gd name="connsiteX1524" fmla="*/ 5190611 w 7613003"/>
              <a:gd name="connsiteY1524" fmla="*/ 1417101 h 6367505"/>
              <a:gd name="connsiteX1525" fmla="*/ 5192266 w 7613003"/>
              <a:gd name="connsiteY1525" fmla="*/ 1418425 h 6367505"/>
              <a:gd name="connsiteX1526" fmla="*/ 5232990 w 7613003"/>
              <a:gd name="connsiteY1526" fmla="*/ 1451002 h 6367505"/>
              <a:gd name="connsiteX1527" fmla="*/ 5261166 w 7613003"/>
              <a:gd name="connsiteY1527" fmla="*/ 1493265 h 6367505"/>
              <a:gd name="connsiteX1528" fmla="*/ 5275255 w 7613003"/>
              <a:gd name="connsiteY1528" fmla="*/ 1507353 h 6367505"/>
              <a:gd name="connsiteX1529" fmla="*/ 5303431 w 7613003"/>
              <a:gd name="connsiteY1529" fmla="*/ 1535527 h 6367505"/>
              <a:gd name="connsiteX1530" fmla="*/ 5247078 w 7613003"/>
              <a:gd name="connsiteY1530" fmla="*/ 1493265 h 6367505"/>
              <a:gd name="connsiteX1531" fmla="*/ 5275255 w 7613003"/>
              <a:gd name="connsiteY1531" fmla="*/ 1535527 h 6367505"/>
              <a:gd name="connsiteX1532" fmla="*/ 5289343 w 7613003"/>
              <a:gd name="connsiteY1532" fmla="*/ 1549614 h 6367505"/>
              <a:gd name="connsiteX1533" fmla="*/ 5282298 w 7613003"/>
              <a:gd name="connsiteY1533" fmla="*/ 1549614 h 6367505"/>
              <a:gd name="connsiteX1534" fmla="*/ 5275255 w 7613003"/>
              <a:gd name="connsiteY1534" fmla="*/ 1549614 h 6367505"/>
              <a:gd name="connsiteX1535" fmla="*/ 5261166 w 7613003"/>
              <a:gd name="connsiteY1535" fmla="*/ 1535527 h 6367505"/>
              <a:gd name="connsiteX1536" fmla="*/ 5190725 w 7613003"/>
              <a:gd name="connsiteY1536" fmla="*/ 1451002 h 6367505"/>
              <a:gd name="connsiteX1537" fmla="*/ 5176637 w 7613003"/>
              <a:gd name="connsiteY1537" fmla="*/ 1451002 h 6367505"/>
              <a:gd name="connsiteX1538" fmla="*/ 5148460 w 7613003"/>
              <a:gd name="connsiteY1538" fmla="*/ 1422828 h 6367505"/>
              <a:gd name="connsiteX1539" fmla="*/ 5146699 w 7613003"/>
              <a:gd name="connsiteY1539" fmla="*/ 1421067 h 6367505"/>
              <a:gd name="connsiteX1540" fmla="*/ 5145312 w 7613003"/>
              <a:gd name="connsiteY1540" fmla="*/ 1419680 h 6367505"/>
              <a:gd name="connsiteX1541" fmla="*/ 5128139 w 7613003"/>
              <a:gd name="connsiteY1541" fmla="*/ 1417903 h 6367505"/>
              <a:gd name="connsiteX1542" fmla="*/ 5162549 w 7613003"/>
              <a:gd name="connsiteY1542" fmla="*/ 1458047 h 6367505"/>
              <a:gd name="connsiteX1543" fmla="*/ 5204813 w 7613003"/>
              <a:gd name="connsiteY1543" fmla="*/ 1507353 h 6367505"/>
              <a:gd name="connsiteX1544" fmla="*/ 5218902 w 7613003"/>
              <a:gd name="connsiteY1544" fmla="*/ 1521440 h 6367505"/>
              <a:gd name="connsiteX1545" fmla="*/ 5247078 w 7613003"/>
              <a:gd name="connsiteY1545" fmla="*/ 1535527 h 6367505"/>
              <a:gd name="connsiteX1546" fmla="*/ 5261166 w 7613003"/>
              <a:gd name="connsiteY1546" fmla="*/ 1563702 h 6367505"/>
              <a:gd name="connsiteX1547" fmla="*/ 5317519 w 7613003"/>
              <a:gd name="connsiteY1547" fmla="*/ 1605964 h 6367505"/>
              <a:gd name="connsiteX1548" fmla="*/ 5359784 w 7613003"/>
              <a:gd name="connsiteY1548" fmla="*/ 1676401 h 6367505"/>
              <a:gd name="connsiteX1549" fmla="*/ 5387961 w 7613003"/>
              <a:gd name="connsiteY1549" fmla="*/ 1704576 h 6367505"/>
              <a:gd name="connsiteX1550" fmla="*/ 5402048 w 7613003"/>
              <a:gd name="connsiteY1550" fmla="*/ 1718663 h 6367505"/>
              <a:gd name="connsiteX1551" fmla="*/ 5416136 w 7613003"/>
              <a:gd name="connsiteY1551" fmla="*/ 1732751 h 6367505"/>
              <a:gd name="connsiteX1552" fmla="*/ 5416136 w 7613003"/>
              <a:gd name="connsiteY1552" fmla="*/ 1746838 h 6367505"/>
              <a:gd name="connsiteX1553" fmla="*/ 5430225 w 7613003"/>
              <a:gd name="connsiteY1553" fmla="*/ 1760925 h 6367505"/>
              <a:gd name="connsiteX1554" fmla="*/ 5472489 w 7613003"/>
              <a:gd name="connsiteY1554" fmla="*/ 1817276 h 6367505"/>
              <a:gd name="connsiteX1555" fmla="*/ 5486578 w 7613003"/>
              <a:gd name="connsiteY1555" fmla="*/ 1845450 h 6367505"/>
              <a:gd name="connsiteX1556" fmla="*/ 5514754 w 7613003"/>
              <a:gd name="connsiteY1556" fmla="*/ 1887712 h 6367505"/>
              <a:gd name="connsiteX1557" fmla="*/ 5514754 w 7613003"/>
              <a:gd name="connsiteY1557" fmla="*/ 1901800 h 6367505"/>
              <a:gd name="connsiteX1558" fmla="*/ 5571107 w 7613003"/>
              <a:gd name="connsiteY1558" fmla="*/ 1986323 h 6367505"/>
              <a:gd name="connsiteX1559" fmla="*/ 5599284 w 7613003"/>
              <a:gd name="connsiteY1559" fmla="*/ 2042674 h 6367505"/>
              <a:gd name="connsiteX1560" fmla="*/ 5613371 w 7613003"/>
              <a:gd name="connsiteY1560" fmla="*/ 2056761 h 6367505"/>
              <a:gd name="connsiteX1561" fmla="*/ 5613371 w 7613003"/>
              <a:gd name="connsiteY1561" fmla="*/ 2070849 h 6367505"/>
              <a:gd name="connsiteX1562" fmla="*/ 5613371 w 7613003"/>
              <a:gd name="connsiteY1562" fmla="*/ 2084936 h 6367505"/>
              <a:gd name="connsiteX1563" fmla="*/ 5627460 w 7613003"/>
              <a:gd name="connsiteY1563" fmla="*/ 2099023 h 6367505"/>
              <a:gd name="connsiteX1564" fmla="*/ 5627460 w 7613003"/>
              <a:gd name="connsiteY1564" fmla="*/ 2113110 h 6367505"/>
              <a:gd name="connsiteX1565" fmla="*/ 5669724 w 7613003"/>
              <a:gd name="connsiteY1565" fmla="*/ 2169459 h 6367505"/>
              <a:gd name="connsiteX1566" fmla="*/ 5683813 w 7613003"/>
              <a:gd name="connsiteY1566" fmla="*/ 2225810 h 6367505"/>
              <a:gd name="connsiteX1567" fmla="*/ 5697901 w 7613003"/>
              <a:gd name="connsiteY1567" fmla="*/ 2225810 h 6367505"/>
              <a:gd name="connsiteX1568" fmla="*/ 5711990 w 7613003"/>
              <a:gd name="connsiteY1568" fmla="*/ 2268072 h 6367505"/>
              <a:gd name="connsiteX1569" fmla="*/ 5697901 w 7613003"/>
              <a:gd name="connsiteY1569" fmla="*/ 2282159 h 6367505"/>
              <a:gd name="connsiteX1570" fmla="*/ 5711990 w 7613003"/>
              <a:gd name="connsiteY1570" fmla="*/ 2296246 h 6367505"/>
              <a:gd name="connsiteX1571" fmla="*/ 5711990 w 7613003"/>
              <a:gd name="connsiteY1571" fmla="*/ 2310334 h 6367505"/>
              <a:gd name="connsiteX1572" fmla="*/ 5740166 w 7613003"/>
              <a:gd name="connsiteY1572" fmla="*/ 2408946 h 6367505"/>
              <a:gd name="connsiteX1573" fmla="*/ 5754254 w 7613003"/>
              <a:gd name="connsiteY1573" fmla="*/ 2408946 h 6367505"/>
              <a:gd name="connsiteX1574" fmla="*/ 5754254 w 7613003"/>
              <a:gd name="connsiteY1574" fmla="*/ 2437121 h 6367505"/>
              <a:gd name="connsiteX1575" fmla="*/ 5754254 w 7613003"/>
              <a:gd name="connsiteY1575" fmla="*/ 2465295 h 6367505"/>
              <a:gd name="connsiteX1576" fmla="*/ 5768341 w 7613003"/>
              <a:gd name="connsiteY1576" fmla="*/ 2521646 h 6367505"/>
              <a:gd name="connsiteX1577" fmla="*/ 5754254 w 7613003"/>
              <a:gd name="connsiteY1577" fmla="*/ 2479383 h 6367505"/>
              <a:gd name="connsiteX1578" fmla="*/ 5740166 w 7613003"/>
              <a:gd name="connsiteY1578" fmla="*/ 2451208 h 6367505"/>
              <a:gd name="connsiteX1579" fmla="*/ 5726077 w 7613003"/>
              <a:gd name="connsiteY1579" fmla="*/ 2423033 h 6367505"/>
              <a:gd name="connsiteX1580" fmla="*/ 5711990 w 7613003"/>
              <a:gd name="connsiteY1580" fmla="*/ 2380771 h 6367505"/>
              <a:gd name="connsiteX1581" fmla="*/ 5683813 w 7613003"/>
              <a:gd name="connsiteY1581" fmla="*/ 2310334 h 6367505"/>
              <a:gd name="connsiteX1582" fmla="*/ 5697901 w 7613003"/>
              <a:gd name="connsiteY1582" fmla="*/ 2352596 h 6367505"/>
              <a:gd name="connsiteX1583" fmla="*/ 5697901 w 7613003"/>
              <a:gd name="connsiteY1583" fmla="*/ 2366684 h 6367505"/>
              <a:gd name="connsiteX1584" fmla="*/ 5683813 w 7613003"/>
              <a:gd name="connsiteY1584" fmla="*/ 2352596 h 6367505"/>
              <a:gd name="connsiteX1585" fmla="*/ 5683813 w 7613003"/>
              <a:gd name="connsiteY1585" fmla="*/ 2338508 h 6367505"/>
              <a:gd name="connsiteX1586" fmla="*/ 5641548 w 7613003"/>
              <a:gd name="connsiteY1586" fmla="*/ 2225810 h 6367505"/>
              <a:gd name="connsiteX1587" fmla="*/ 5599284 w 7613003"/>
              <a:gd name="connsiteY1587" fmla="*/ 2155372 h 6367505"/>
              <a:gd name="connsiteX1588" fmla="*/ 5613371 w 7613003"/>
              <a:gd name="connsiteY1588" fmla="*/ 2211723 h 6367505"/>
              <a:gd name="connsiteX1589" fmla="*/ 5655637 w 7613003"/>
              <a:gd name="connsiteY1589" fmla="*/ 2296246 h 6367505"/>
              <a:gd name="connsiteX1590" fmla="*/ 5683813 w 7613003"/>
              <a:gd name="connsiteY1590" fmla="*/ 2352596 h 6367505"/>
              <a:gd name="connsiteX1591" fmla="*/ 5683813 w 7613003"/>
              <a:gd name="connsiteY1591" fmla="*/ 2380771 h 6367505"/>
              <a:gd name="connsiteX1592" fmla="*/ 5697901 w 7613003"/>
              <a:gd name="connsiteY1592" fmla="*/ 2394859 h 6367505"/>
              <a:gd name="connsiteX1593" fmla="*/ 5711990 w 7613003"/>
              <a:gd name="connsiteY1593" fmla="*/ 2451208 h 6367505"/>
              <a:gd name="connsiteX1594" fmla="*/ 5711990 w 7613003"/>
              <a:gd name="connsiteY1594" fmla="*/ 2465295 h 6367505"/>
              <a:gd name="connsiteX1595" fmla="*/ 5726077 w 7613003"/>
              <a:gd name="connsiteY1595" fmla="*/ 2479383 h 6367505"/>
              <a:gd name="connsiteX1596" fmla="*/ 5754254 w 7613003"/>
              <a:gd name="connsiteY1596" fmla="*/ 2549821 h 6367505"/>
              <a:gd name="connsiteX1597" fmla="*/ 5754254 w 7613003"/>
              <a:gd name="connsiteY1597" fmla="*/ 2563908 h 6367505"/>
              <a:gd name="connsiteX1598" fmla="*/ 5768341 w 7613003"/>
              <a:gd name="connsiteY1598" fmla="*/ 2563908 h 6367505"/>
              <a:gd name="connsiteX1599" fmla="*/ 5768341 w 7613003"/>
              <a:gd name="connsiteY1599" fmla="*/ 2577995 h 6367505"/>
              <a:gd name="connsiteX1600" fmla="*/ 5768341 w 7613003"/>
              <a:gd name="connsiteY1600" fmla="*/ 2592082 h 6367505"/>
              <a:gd name="connsiteX1601" fmla="*/ 5782430 w 7613003"/>
              <a:gd name="connsiteY1601" fmla="*/ 2620257 h 6367505"/>
              <a:gd name="connsiteX1602" fmla="*/ 5782430 w 7613003"/>
              <a:gd name="connsiteY1602" fmla="*/ 2634344 h 6367505"/>
              <a:gd name="connsiteX1603" fmla="*/ 5796519 w 7613003"/>
              <a:gd name="connsiteY1603" fmla="*/ 2676606 h 6367505"/>
              <a:gd name="connsiteX1604" fmla="*/ 5782430 w 7613003"/>
              <a:gd name="connsiteY1604" fmla="*/ 2662519 h 6367505"/>
              <a:gd name="connsiteX1605" fmla="*/ 5782430 w 7613003"/>
              <a:gd name="connsiteY1605" fmla="*/ 2690693 h 6367505"/>
              <a:gd name="connsiteX1606" fmla="*/ 5768341 w 7613003"/>
              <a:gd name="connsiteY1606" fmla="*/ 2662519 h 6367505"/>
              <a:gd name="connsiteX1607" fmla="*/ 5754254 w 7613003"/>
              <a:gd name="connsiteY1607" fmla="*/ 2620257 h 6367505"/>
              <a:gd name="connsiteX1608" fmla="*/ 5740166 w 7613003"/>
              <a:gd name="connsiteY1608" fmla="*/ 2577995 h 6367505"/>
              <a:gd name="connsiteX1609" fmla="*/ 5726077 w 7613003"/>
              <a:gd name="connsiteY1609" fmla="*/ 2535733 h 6367505"/>
              <a:gd name="connsiteX1610" fmla="*/ 5697901 w 7613003"/>
              <a:gd name="connsiteY1610" fmla="*/ 2451208 h 6367505"/>
              <a:gd name="connsiteX1611" fmla="*/ 5697901 w 7613003"/>
              <a:gd name="connsiteY1611" fmla="*/ 2423033 h 6367505"/>
              <a:gd name="connsiteX1612" fmla="*/ 5683813 w 7613003"/>
              <a:gd name="connsiteY1612" fmla="*/ 2423033 h 6367505"/>
              <a:gd name="connsiteX1613" fmla="*/ 5683813 w 7613003"/>
              <a:gd name="connsiteY1613" fmla="*/ 2394859 h 6367505"/>
              <a:gd name="connsiteX1614" fmla="*/ 5641548 w 7613003"/>
              <a:gd name="connsiteY1614" fmla="*/ 2324421 h 6367505"/>
              <a:gd name="connsiteX1615" fmla="*/ 5613371 w 7613003"/>
              <a:gd name="connsiteY1615" fmla="*/ 2239897 h 6367505"/>
              <a:gd name="connsiteX1616" fmla="*/ 5613371 w 7613003"/>
              <a:gd name="connsiteY1616" fmla="*/ 2253985 h 6367505"/>
              <a:gd name="connsiteX1617" fmla="*/ 5557018 w 7613003"/>
              <a:gd name="connsiteY1617" fmla="*/ 2169459 h 6367505"/>
              <a:gd name="connsiteX1618" fmla="*/ 5571107 w 7613003"/>
              <a:gd name="connsiteY1618" fmla="*/ 2197635 h 6367505"/>
              <a:gd name="connsiteX1619" fmla="*/ 5599284 w 7613003"/>
              <a:gd name="connsiteY1619" fmla="*/ 2253985 h 6367505"/>
              <a:gd name="connsiteX1620" fmla="*/ 5599284 w 7613003"/>
              <a:gd name="connsiteY1620" fmla="*/ 2268072 h 6367505"/>
              <a:gd name="connsiteX1621" fmla="*/ 5627460 w 7613003"/>
              <a:gd name="connsiteY1621" fmla="*/ 2324421 h 6367505"/>
              <a:gd name="connsiteX1622" fmla="*/ 5627460 w 7613003"/>
              <a:gd name="connsiteY1622" fmla="*/ 2352596 h 6367505"/>
              <a:gd name="connsiteX1623" fmla="*/ 5613371 w 7613003"/>
              <a:gd name="connsiteY1623" fmla="*/ 2324421 h 6367505"/>
              <a:gd name="connsiteX1624" fmla="*/ 5613371 w 7613003"/>
              <a:gd name="connsiteY1624" fmla="*/ 2338508 h 6367505"/>
              <a:gd name="connsiteX1625" fmla="*/ 5585195 w 7613003"/>
              <a:gd name="connsiteY1625" fmla="*/ 2282159 h 6367505"/>
              <a:gd name="connsiteX1626" fmla="*/ 5571107 w 7613003"/>
              <a:gd name="connsiteY1626" fmla="*/ 2239897 h 6367505"/>
              <a:gd name="connsiteX1627" fmla="*/ 5557018 w 7613003"/>
              <a:gd name="connsiteY1627" fmla="*/ 2197635 h 6367505"/>
              <a:gd name="connsiteX1628" fmla="*/ 5542931 w 7613003"/>
              <a:gd name="connsiteY1628" fmla="*/ 2183548 h 6367505"/>
              <a:gd name="connsiteX1629" fmla="*/ 5557018 w 7613003"/>
              <a:gd name="connsiteY1629" fmla="*/ 2225810 h 6367505"/>
              <a:gd name="connsiteX1630" fmla="*/ 5571107 w 7613003"/>
              <a:gd name="connsiteY1630" fmla="*/ 2296246 h 6367505"/>
              <a:gd name="connsiteX1631" fmla="*/ 5585195 w 7613003"/>
              <a:gd name="connsiteY1631" fmla="*/ 2310334 h 6367505"/>
              <a:gd name="connsiteX1632" fmla="*/ 5585195 w 7613003"/>
              <a:gd name="connsiteY1632" fmla="*/ 2324421 h 6367505"/>
              <a:gd name="connsiteX1633" fmla="*/ 5627460 w 7613003"/>
              <a:gd name="connsiteY1633" fmla="*/ 2408946 h 6367505"/>
              <a:gd name="connsiteX1634" fmla="*/ 5655637 w 7613003"/>
              <a:gd name="connsiteY1634" fmla="*/ 2479383 h 6367505"/>
              <a:gd name="connsiteX1635" fmla="*/ 5669724 w 7613003"/>
              <a:gd name="connsiteY1635" fmla="*/ 2493470 h 6367505"/>
              <a:gd name="connsiteX1636" fmla="*/ 5669724 w 7613003"/>
              <a:gd name="connsiteY1636" fmla="*/ 2521646 h 6367505"/>
              <a:gd name="connsiteX1637" fmla="*/ 5697901 w 7613003"/>
              <a:gd name="connsiteY1637" fmla="*/ 2606170 h 6367505"/>
              <a:gd name="connsiteX1638" fmla="*/ 5711990 w 7613003"/>
              <a:gd name="connsiteY1638" fmla="*/ 2648431 h 6367505"/>
              <a:gd name="connsiteX1639" fmla="*/ 5726077 w 7613003"/>
              <a:gd name="connsiteY1639" fmla="*/ 2690693 h 6367505"/>
              <a:gd name="connsiteX1640" fmla="*/ 5711990 w 7613003"/>
              <a:gd name="connsiteY1640" fmla="*/ 2662519 h 6367505"/>
              <a:gd name="connsiteX1641" fmla="*/ 5683813 w 7613003"/>
              <a:gd name="connsiteY1641" fmla="*/ 2620257 h 6367505"/>
              <a:gd name="connsiteX1642" fmla="*/ 5683813 w 7613003"/>
              <a:gd name="connsiteY1642" fmla="*/ 2606170 h 6367505"/>
              <a:gd name="connsiteX1643" fmla="*/ 5683813 w 7613003"/>
              <a:gd name="connsiteY1643" fmla="*/ 2592082 h 6367505"/>
              <a:gd name="connsiteX1644" fmla="*/ 5669724 w 7613003"/>
              <a:gd name="connsiteY1644" fmla="*/ 2577995 h 6367505"/>
              <a:gd name="connsiteX1645" fmla="*/ 5669724 w 7613003"/>
              <a:gd name="connsiteY1645" fmla="*/ 2563908 h 6367505"/>
              <a:gd name="connsiteX1646" fmla="*/ 5669724 w 7613003"/>
              <a:gd name="connsiteY1646" fmla="*/ 2549821 h 6367505"/>
              <a:gd name="connsiteX1647" fmla="*/ 5655637 w 7613003"/>
              <a:gd name="connsiteY1647" fmla="*/ 2549821 h 6367505"/>
              <a:gd name="connsiteX1648" fmla="*/ 5669724 w 7613003"/>
              <a:gd name="connsiteY1648" fmla="*/ 2606170 h 6367505"/>
              <a:gd name="connsiteX1649" fmla="*/ 5683813 w 7613003"/>
              <a:gd name="connsiteY1649" fmla="*/ 2634344 h 6367505"/>
              <a:gd name="connsiteX1650" fmla="*/ 5711990 w 7613003"/>
              <a:gd name="connsiteY1650" fmla="*/ 2704782 h 6367505"/>
              <a:gd name="connsiteX1651" fmla="*/ 5726077 w 7613003"/>
              <a:gd name="connsiteY1651" fmla="*/ 2761131 h 6367505"/>
              <a:gd name="connsiteX1652" fmla="*/ 5726077 w 7613003"/>
              <a:gd name="connsiteY1652" fmla="*/ 2775218 h 6367505"/>
              <a:gd name="connsiteX1653" fmla="*/ 5726077 w 7613003"/>
              <a:gd name="connsiteY1653" fmla="*/ 2789306 h 6367505"/>
              <a:gd name="connsiteX1654" fmla="*/ 5683813 w 7613003"/>
              <a:gd name="connsiteY1654" fmla="*/ 2690693 h 6367505"/>
              <a:gd name="connsiteX1655" fmla="*/ 5669724 w 7613003"/>
              <a:gd name="connsiteY1655" fmla="*/ 2648431 h 6367505"/>
              <a:gd name="connsiteX1656" fmla="*/ 5655637 w 7613003"/>
              <a:gd name="connsiteY1656" fmla="*/ 2592082 h 6367505"/>
              <a:gd name="connsiteX1657" fmla="*/ 5613371 w 7613003"/>
              <a:gd name="connsiteY1657" fmla="*/ 2479383 h 6367505"/>
              <a:gd name="connsiteX1658" fmla="*/ 5585195 w 7613003"/>
              <a:gd name="connsiteY1658" fmla="*/ 2408946 h 6367505"/>
              <a:gd name="connsiteX1659" fmla="*/ 5571107 w 7613003"/>
              <a:gd name="connsiteY1659" fmla="*/ 2394859 h 6367505"/>
              <a:gd name="connsiteX1660" fmla="*/ 5542931 w 7613003"/>
              <a:gd name="connsiteY1660" fmla="*/ 2352596 h 6367505"/>
              <a:gd name="connsiteX1661" fmla="*/ 5542931 w 7613003"/>
              <a:gd name="connsiteY1661" fmla="*/ 2324421 h 6367505"/>
              <a:gd name="connsiteX1662" fmla="*/ 5528842 w 7613003"/>
              <a:gd name="connsiteY1662" fmla="*/ 2324421 h 6367505"/>
              <a:gd name="connsiteX1663" fmla="*/ 5528842 w 7613003"/>
              <a:gd name="connsiteY1663" fmla="*/ 2310334 h 6367505"/>
              <a:gd name="connsiteX1664" fmla="*/ 5500667 w 7613003"/>
              <a:gd name="connsiteY1664" fmla="*/ 2253985 h 6367505"/>
              <a:gd name="connsiteX1665" fmla="*/ 5458401 w 7613003"/>
              <a:gd name="connsiteY1665" fmla="*/ 2183548 h 6367505"/>
              <a:gd name="connsiteX1666" fmla="*/ 5444314 w 7613003"/>
              <a:gd name="connsiteY1666" fmla="*/ 2169459 h 6367505"/>
              <a:gd name="connsiteX1667" fmla="*/ 5430225 w 7613003"/>
              <a:gd name="connsiteY1667" fmla="*/ 2127198 h 6367505"/>
              <a:gd name="connsiteX1668" fmla="*/ 5402048 w 7613003"/>
              <a:gd name="connsiteY1668" fmla="*/ 2099023 h 6367505"/>
              <a:gd name="connsiteX1669" fmla="*/ 5359784 w 7613003"/>
              <a:gd name="connsiteY1669" fmla="*/ 2042674 h 6367505"/>
              <a:gd name="connsiteX1670" fmla="*/ 5359784 w 7613003"/>
              <a:gd name="connsiteY1670" fmla="*/ 2028587 h 6367505"/>
              <a:gd name="connsiteX1671" fmla="*/ 5317519 w 7613003"/>
              <a:gd name="connsiteY1671" fmla="*/ 1986323 h 6367505"/>
              <a:gd name="connsiteX1672" fmla="*/ 5317519 w 7613003"/>
              <a:gd name="connsiteY1672" fmla="*/ 2000412 h 6367505"/>
              <a:gd name="connsiteX1673" fmla="*/ 5331608 w 7613003"/>
              <a:gd name="connsiteY1673" fmla="*/ 2014499 h 6367505"/>
              <a:gd name="connsiteX1674" fmla="*/ 5345695 w 7613003"/>
              <a:gd name="connsiteY1674" fmla="*/ 2042674 h 6367505"/>
              <a:gd name="connsiteX1675" fmla="*/ 5359784 w 7613003"/>
              <a:gd name="connsiteY1675" fmla="*/ 2056761 h 6367505"/>
              <a:gd name="connsiteX1676" fmla="*/ 5402048 w 7613003"/>
              <a:gd name="connsiteY1676" fmla="*/ 2127198 h 6367505"/>
              <a:gd name="connsiteX1677" fmla="*/ 5416136 w 7613003"/>
              <a:gd name="connsiteY1677" fmla="*/ 2155372 h 6367505"/>
              <a:gd name="connsiteX1678" fmla="*/ 5472489 w 7613003"/>
              <a:gd name="connsiteY1678" fmla="*/ 2253985 h 6367505"/>
              <a:gd name="connsiteX1679" fmla="*/ 5458401 w 7613003"/>
              <a:gd name="connsiteY1679" fmla="*/ 2239897 h 6367505"/>
              <a:gd name="connsiteX1680" fmla="*/ 5402048 w 7613003"/>
              <a:gd name="connsiteY1680" fmla="*/ 2155372 h 6367505"/>
              <a:gd name="connsiteX1681" fmla="*/ 5387961 w 7613003"/>
              <a:gd name="connsiteY1681" fmla="*/ 2141285 h 6367505"/>
              <a:gd name="connsiteX1682" fmla="*/ 5387961 w 7613003"/>
              <a:gd name="connsiteY1682" fmla="*/ 2127198 h 6367505"/>
              <a:gd name="connsiteX1683" fmla="*/ 5373872 w 7613003"/>
              <a:gd name="connsiteY1683" fmla="*/ 2099023 h 6367505"/>
              <a:gd name="connsiteX1684" fmla="*/ 5359784 w 7613003"/>
              <a:gd name="connsiteY1684" fmla="*/ 2084936 h 6367505"/>
              <a:gd name="connsiteX1685" fmla="*/ 5359784 w 7613003"/>
              <a:gd name="connsiteY1685" fmla="*/ 2070849 h 6367505"/>
              <a:gd name="connsiteX1686" fmla="*/ 5345695 w 7613003"/>
              <a:gd name="connsiteY1686" fmla="*/ 2056761 h 6367505"/>
              <a:gd name="connsiteX1687" fmla="*/ 5331608 w 7613003"/>
              <a:gd name="connsiteY1687" fmla="*/ 2042674 h 6367505"/>
              <a:gd name="connsiteX1688" fmla="*/ 5317519 w 7613003"/>
              <a:gd name="connsiteY1688" fmla="*/ 2028587 h 6367505"/>
              <a:gd name="connsiteX1689" fmla="*/ 5317519 w 7613003"/>
              <a:gd name="connsiteY1689" fmla="*/ 2014499 h 6367505"/>
              <a:gd name="connsiteX1690" fmla="*/ 5289343 w 7613003"/>
              <a:gd name="connsiteY1690" fmla="*/ 2000412 h 6367505"/>
              <a:gd name="connsiteX1691" fmla="*/ 5289343 w 7613003"/>
              <a:gd name="connsiteY1691" fmla="*/ 1986323 h 6367505"/>
              <a:gd name="connsiteX1692" fmla="*/ 5247078 w 7613003"/>
              <a:gd name="connsiteY1692" fmla="*/ 1944061 h 6367505"/>
              <a:gd name="connsiteX1693" fmla="*/ 5247078 w 7613003"/>
              <a:gd name="connsiteY1693" fmla="*/ 1929974 h 6367505"/>
              <a:gd name="connsiteX1694" fmla="*/ 5232990 w 7613003"/>
              <a:gd name="connsiteY1694" fmla="*/ 1915887 h 6367505"/>
              <a:gd name="connsiteX1695" fmla="*/ 5190725 w 7613003"/>
              <a:gd name="connsiteY1695" fmla="*/ 1873625 h 6367505"/>
              <a:gd name="connsiteX1696" fmla="*/ 5162549 w 7613003"/>
              <a:gd name="connsiteY1696" fmla="*/ 1831363 h 6367505"/>
              <a:gd name="connsiteX1697" fmla="*/ 5148460 w 7613003"/>
              <a:gd name="connsiteY1697" fmla="*/ 1831363 h 6367505"/>
              <a:gd name="connsiteX1698" fmla="*/ 5134372 w 7613003"/>
              <a:gd name="connsiteY1698" fmla="*/ 1803188 h 6367505"/>
              <a:gd name="connsiteX1699" fmla="*/ 5092107 w 7613003"/>
              <a:gd name="connsiteY1699" fmla="*/ 1760925 h 6367505"/>
              <a:gd name="connsiteX1700" fmla="*/ 5078019 w 7613003"/>
              <a:gd name="connsiteY1700" fmla="*/ 1760925 h 6367505"/>
              <a:gd name="connsiteX1701" fmla="*/ 5078019 w 7613003"/>
              <a:gd name="connsiteY1701" fmla="*/ 1746838 h 6367505"/>
              <a:gd name="connsiteX1702" fmla="*/ 5063931 w 7613003"/>
              <a:gd name="connsiteY1702" fmla="*/ 1732751 h 6367505"/>
              <a:gd name="connsiteX1703" fmla="*/ 5035754 w 7613003"/>
              <a:gd name="connsiteY1703" fmla="*/ 1704576 h 6367505"/>
              <a:gd name="connsiteX1704" fmla="*/ 5021666 w 7613003"/>
              <a:gd name="connsiteY1704" fmla="*/ 1690489 h 6367505"/>
              <a:gd name="connsiteX1705" fmla="*/ 4993490 w 7613003"/>
              <a:gd name="connsiteY1705" fmla="*/ 1676401 h 6367505"/>
              <a:gd name="connsiteX1706" fmla="*/ 4979401 w 7613003"/>
              <a:gd name="connsiteY1706" fmla="*/ 1662314 h 6367505"/>
              <a:gd name="connsiteX1707" fmla="*/ 4979401 w 7613003"/>
              <a:gd name="connsiteY1707" fmla="*/ 1648227 h 6367505"/>
              <a:gd name="connsiteX1708" fmla="*/ 4965313 w 7613003"/>
              <a:gd name="connsiteY1708" fmla="*/ 1648227 h 6367505"/>
              <a:gd name="connsiteX1709" fmla="*/ 4951226 w 7613003"/>
              <a:gd name="connsiteY1709" fmla="*/ 1634138 h 6367505"/>
              <a:gd name="connsiteX1710" fmla="*/ 4937137 w 7613003"/>
              <a:gd name="connsiteY1710" fmla="*/ 1620051 h 6367505"/>
              <a:gd name="connsiteX1711" fmla="*/ 4923048 w 7613003"/>
              <a:gd name="connsiteY1711" fmla="*/ 1605964 h 6367505"/>
              <a:gd name="connsiteX1712" fmla="*/ 4866696 w 7613003"/>
              <a:gd name="connsiteY1712" fmla="*/ 1563702 h 6367505"/>
              <a:gd name="connsiteX1713" fmla="*/ 4838520 w 7613003"/>
              <a:gd name="connsiteY1713" fmla="*/ 1535527 h 6367505"/>
              <a:gd name="connsiteX1714" fmla="*/ 4824431 w 7613003"/>
              <a:gd name="connsiteY1714" fmla="*/ 1535527 h 6367505"/>
              <a:gd name="connsiteX1715" fmla="*/ 4852608 w 7613003"/>
              <a:gd name="connsiteY1715" fmla="*/ 1563702 h 6367505"/>
              <a:gd name="connsiteX1716" fmla="*/ 4852608 w 7613003"/>
              <a:gd name="connsiteY1716" fmla="*/ 1577789 h 6367505"/>
              <a:gd name="connsiteX1717" fmla="*/ 4866696 w 7613003"/>
              <a:gd name="connsiteY1717" fmla="*/ 1591876 h 6367505"/>
              <a:gd name="connsiteX1718" fmla="*/ 4880784 w 7613003"/>
              <a:gd name="connsiteY1718" fmla="*/ 1605964 h 6367505"/>
              <a:gd name="connsiteX1719" fmla="*/ 4894873 w 7613003"/>
              <a:gd name="connsiteY1719" fmla="*/ 1620051 h 6367505"/>
              <a:gd name="connsiteX1720" fmla="*/ 4866696 w 7613003"/>
              <a:gd name="connsiteY1720" fmla="*/ 1605964 h 6367505"/>
              <a:gd name="connsiteX1721" fmla="*/ 4852608 w 7613003"/>
              <a:gd name="connsiteY1721" fmla="*/ 1591876 h 6367505"/>
              <a:gd name="connsiteX1722" fmla="*/ 4838520 w 7613003"/>
              <a:gd name="connsiteY1722" fmla="*/ 1591876 h 6367505"/>
              <a:gd name="connsiteX1723" fmla="*/ 4824431 w 7613003"/>
              <a:gd name="connsiteY1723" fmla="*/ 1563702 h 6367505"/>
              <a:gd name="connsiteX1724" fmla="*/ 4808582 w 7613003"/>
              <a:gd name="connsiteY1724" fmla="*/ 1542571 h 6367505"/>
              <a:gd name="connsiteX1725" fmla="*/ 4795374 w 7613003"/>
              <a:gd name="connsiteY1725" fmla="*/ 1532005 h 6367505"/>
              <a:gd name="connsiteX1726" fmla="*/ 4794494 w 7613003"/>
              <a:gd name="connsiteY1726" fmla="*/ 1528484 h 6367505"/>
              <a:gd name="connsiteX1727" fmla="*/ 4782167 w 7613003"/>
              <a:gd name="connsiteY1727" fmla="*/ 1521440 h 6367505"/>
              <a:gd name="connsiteX1728" fmla="*/ 4768078 w 7613003"/>
              <a:gd name="connsiteY1728" fmla="*/ 1507353 h 6367505"/>
              <a:gd name="connsiteX1729" fmla="*/ 4753990 w 7613003"/>
              <a:gd name="connsiteY1729" fmla="*/ 1507353 h 6367505"/>
              <a:gd name="connsiteX1730" fmla="*/ 4796255 w 7613003"/>
              <a:gd name="connsiteY1730" fmla="*/ 1549614 h 6367505"/>
              <a:gd name="connsiteX1731" fmla="*/ 4711725 w 7613003"/>
              <a:gd name="connsiteY1731" fmla="*/ 1479178 h 6367505"/>
              <a:gd name="connsiteX1732" fmla="*/ 4711725 w 7613003"/>
              <a:gd name="connsiteY1732" fmla="*/ 1465089 h 6367505"/>
              <a:gd name="connsiteX1733" fmla="*/ 4711725 w 7613003"/>
              <a:gd name="connsiteY1733" fmla="*/ 1465089 h 6367505"/>
              <a:gd name="connsiteX1734" fmla="*/ 4710831 w 7613003"/>
              <a:gd name="connsiteY1734" fmla="*/ 1465089 h 6367505"/>
              <a:gd name="connsiteX1735" fmla="*/ 4675611 w 7613003"/>
              <a:gd name="connsiteY1735" fmla="*/ 1466851 h 6367505"/>
              <a:gd name="connsiteX1736" fmla="*/ 4654834 w 7613003"/>
              <a:gd name="connsiteY1736" fmla="*/ 1474122 h 6367505"/>
              <a:gd name="connsiteX1737" fmla="*/ 4662417 w 7613003"/>
              <a:gd name="connsiteY1737" fmla="*/ 1479178 h 6367505"/>
              <a:gd name="connsiteX1738" fmla="*/ 4683549 w 7613003"/>
              <a:gd name="connsiteY1738" fmla="*/ 1493265 h 6367505"/>
              <a:gd name="connsiteX1739" fmla="*/ 4753990 w 7613003"/>
              <a:gd name="connsiteY1739" fmla="*/ 1535527 h 6367505"/>
              <a:gd name="connsiteX1740" fmla="*/ 4768078 w 7613003"/>
              <a:gd name="connsiteY1740" fmla="*/ 1549614 h 6367505"/>
              <a:gd name="connsiteX1741" fmla="*/ 4782167 w 7613003"/>
              <a:gd name="connsiteY1741" fmla="*/ 1563702 h 6367505"/>
              <a:gd name="connsiteX1742" fmla="*/ 4796255 w 7613003"/>
              <a:gd name="connsiteY1742" fmla="*/ 1577789 h 6367505"/>
              <a:gd name="connsiteX1743" fmla="*/ 4782167 w 7613003"/>
              <a:gd name="connsiteY1743" fmla="*/ 1577789 h 6367505"/>
              <a:gd name="connsiteX1744" fmla="*/ 4810343 w 7613003"/>
              <a:gd name="connsiteY1744" fmla="*/ 1605964 h 6367505"/>
              <a:gd name="connsiteX1745" fmla="*/ 4824431 w 7613003"/>
              <a:gd name="connsiteY1745" fmla="*/ 1620051 h 6367505"/>
              <a:gd name="connsiteX1746" fmla="*/ 4838520 w 7613003"/>
              <a:gd name="connsiteY1746" fmla="*/ 1620051 h 6367505"/>
              <a:gd name="connsiteX1747" fmla="*/ 4866696 w 7613003"/>
              <a:gd name="connsiteY1747" fmla="*/ 1648227 h 6367505"/>
              <a:gd name="connsiteX1748" fmla="*/ 4908961 w 7613003"/>
              <a:gd name="connsiteY1748" fmla="*/ 1690489 h 6367505"/>
              <a:gd name="connsiteX1749" fmla="*/ 4908961 w 7613003"/>
              <a:gd name="connsiteY1749" fmla="*/ 1704576 h 6367505"/>
              <a:gd name="connsiteX1750" fmla="*/ 4852608 w 7613003"/>
              <a:gd name="connsiteY1750" fmla="*/ 1648227 h 6367505"/>
              <a:gd name="connsiteX1751" fmla="*/ 4880784 w 7613003"/>
              <a:gd name="connsiteY1751" fmla="*/ 1690489 h 6367505"/>
              <a:gd name="connsiteX1752" fmla="*/ 4894873 w 7613003"/>
              <a:gd name="connsiteY1752" fmla="*/ 1704576 h 6367505"/>
              <a:gd name="connsiteX1753" fmla="*/ 4880784 w 7613003"/>
              <a:gd name="connsiteY1753" fmla="*/ 1704576 h 6367505"/>
              <a:gd name="connsiteX1754" fmla="*/ 4923048 w 7613003"/>
              <a:gd name="connsiteY1754" fmla="*/ 1732751 h 6367505"/>
              <a:gd name="connsiteX1755" fmla="*/ 4979401 w 7613003"/>
              <a:gd name="connsiteY1755" fmla="*/ 1803188 h 6367505"/>
              <a:gd name="connsiteX1756" fmla="*/ 4993490 w 7613003"/>
              <a:gd name="connsiteY1756" fmla="*/ 1803188 h 6367505"/>
              <a:gd name="connsiteX1757" fmla="*/ 4993490 w 7613003"/>
              <a:gd name="connsiteY1757" fmla="*/ 1817276 h 6367505"/>
              <a:gd name="connsiteX1758" fmla="*/ 5007579 w 7613003"/>
              <a:gd name="connsiteY1758" fmla="*/ 1817276 h 6367505"/>
              <a:gd name="connsiteX1759" fmla="*/ 5021666 w 7613003"/>
              <a:gd name="connsiteY1759" fmla="*/ 1859538 h 6367505"/>
              <a:gd name="connsiteX1760" fmla="*/ 5021666 w 7613003"/>
              <a:gd name="connsiteY1760" fmla="*/ 1873625 h 6367505"/>
              <a:gd name="connsiteX1761" fmla="*/ 5035754 w 7613003"/>
              <a:gd name="connsiteY1761" fmla="*/ 1915887 h 6367505"/>
              <a:gd name="connsiteX1762" fmla="*/ 5063931 w 7613003"/>
              <a:gd name="connsiteY1762" fmla="*/ 1958149 h 6367505"/>
              <a:gd name="connsiteX1763" fmla="*/ 5078019 w 7613003"/>
              <a:gd name="connsiteY1763" fmla="*/ 1972236 h 6367505"/>
              <a:gd name="connsiteX1764" fmla="*/ 5078019 w 7613003"/>
              <a:gd name="connsiteY1764" fmla="*/ 1986323 h 6367505"/>
              <a:gd name="connsiteX1765" fmla="*/ 5035754 w 7613003"/>
              <a:gd name="connsiteY1765" fmla="*/ 1944061 h 6367505"/>
              <a:gd name="connsiteX1766" fmla="*/ 5007579 w 7613003"/>
              <a:gd name="connsiteY1766" fmla="*/ 1929974 h 6367505"/>
              <a:gd name="connsiteX1767" fmla="*/ 4979401 w 7613003"/>
              <a:gd name="connsiteY1767" fmla="*/ 1887712 h 6367505"/>
              <a:gd name="connsiteX1768" fmla="*/ 4965313 w 7613003"/>
              <a:gd name="connsiteY1768" fmla="*/ 1873625 h 6367505"/>
              <a:gd name="connsiteX1769" fmla="*/ 4951226 w 7613003"/>
              <a:gd name="connsiteY1769" fmla="*/ 1859538 h 6367505"/>
              <a:gd name="connsiteX1770" fmla="*/ 4908961 w 7613003"/>
              <a:gd name="connsiteY1770" fmla="*/ 1831363 h 6367505"/>
              <a:gd name="connsiteX1771" fmla="*/ 4880784 w 7613003"/>
              <a:gd name="connsiteY1771" fmla="*/ 1803188 h 6367505"/>
              <a:gd name="connsiteX1772" fmla="*/ 4852608 w 7613003"/>
              <a:gd name="connsiteY1772" fmla="*/ 1775013 h 6367505"/>
              <a:gd name="connsiteX1773" fmla="*/ 4782167 w 7613003"/>
              <a:gd name="connsiteY1773" fmla="*/ 1704576 h 6367505"/>
              <a:gd name="connsiteX1774" fmla="*/ 4697638 w 7613003"/>
              <a:gd name="connsiteY1774" fmla="*/ 1634138 h 6367505"/>
              <a:gd name="connsiteX1775" fmla="*/ 4669461 w 7613003"/>
              <a:gd name="connsiteY1775" fmla="*/ 1620051 h 6367505"/>
              <a:gd name="connsiteX1776" fmla="*/ 4655372 w 7613003"/>
              <a:gd name="connsiteY1776" fmla="*/ 1605964 h 6367505"/>
              <a:gd name="connsiteX1777" fmla="*/ 4613108 w 7613003"/>
              <a:gd name="connsiteY1777" fmla="*/ 1577789 h 6367505"/>
              <a:gd name="connsiteX1778" fmla="*/ 4542666 w 7613003"/>
              <a:gd name="connsiteY1778" fmla="*/ 1535527 h 6367505"/>
              <a:gd name="connsiteX1779" fmla="*/ 4521535 w 7613003"/>
              <a:gd name="connsiteY1779" fmla="*/ 1521440 h 6367505"/>
              <a:gd name="connsiteX1780" fmla="*/ 4513274 w 7613003"/>
              <a:gd name="connsiteY1780" fmla="*/ 1515933 h 6367505"/>
              <a:gd name="connsiteX1781" fmla="*/ 4499507 w 7613003"/>
              <a:gd name="connsiteY1781" fmla="*/ 1521440 h 6367505"/>
              <a:gd name="connsiteX1782" fmla="*/ 4485419 w 7613003"/>
              <a:gd name="connsiteY1782" fmla="*/ 1521440 h 6367505"/>
              <a:gd name="connsiteX1783" fmla="*/ 4471330 w 7613003"/>
              <a:gd name="connsiteY1783" fmla="*/ 1535527 h 6367505"/>
              <a:gd name="connsiteX1784" fmla="*/ 4414979 w 7613003"/>
              <a:gd name="connsiteY1784" fmla="*/ 1549614 h 6367505"/>
              <a:gd name="connsiteX1785" fmla="*/ 4400890 w 7613003"/>
              <a:gd name="connsiteY1785" fmla="*/ 1563702 h 6367505"/>
              <a:gd name="connsiteX1786" fmla="*/ 4316360 w 7613003"/>
              <a:gd name="connsiteY1786" fmla="*/ 1605964 h 6367505"/>
              <a:gd name="connsiteX1787" fmla="*/ 4288184 w 7613003"/>
              <a:gd name="connsiteY1787" fmla="*/ 1620051 h 6367505"/>
              <a:gd name="connsiteX1788" fmla="*/ 4260008 w 7613003"/>
              <a:gd name="connsiteY1788" fmla="*/ 1634138 h 6367505"/>
              <a:gd name="connsiteX1789" fmla="*/ 4245920 w 7613003"/>
              <a:gd name="connsiteY1789" fmla="*/ 1648227 h 6367505"/>
              <a:gd name="connsiteX1790" fmla="*/ 4217743 w 7613003"/>
              <a:gd name="connsiteY1790" fmla="*/ 1676401 h 6367505"/>
              <a:gd name="connsiteX1791" fmla="*/ 4203655 w 7613003"/>
              <a:gd name="connsiteY1791" fmla="*/ 1676401 h 6367505"/>
              <a:gd name="connsiteX1792" fmla="*/ 4175478 w 7613003"/>
              <a:gd name="connsiteY1792" fmla="*/ 1704576 h 6367505"/>
              <a:gd name="connsiteX1793" fmla="*/ 4161390 w 7613003"/>
              <a:gd name="connsiteY1793" fmla="*/ 1704576 h 6367505"/>
              <a:gd name="connsiteX1794" fmla="*/ 4147302 w 7613003"/>
              <a:gd name="connsiteY1794" fmla="*/ 1718663 h 6367505"/>
              <a:gd name="connsiteX1795" fmla="*/ 4133214 w 7613003"/>
              <a:gd name="connsiteY1795" fmla="*/ 1732751 h 6367505"/>
              <a:gd name="connsiteX1796" fmla="*/ 4119125 w 7613003"/>
              <a:gd name="connsiteY1796" fmla="*/ 1746838 h 6367505"/>
              <a:gd name="connsiteX1797" fmla="*/ 4105037 w 7613003"/>
              <a:gd name="connsiteY1797" fmla="*/ 1760925 h 6367505"/>
              <a:gd name="connsiteX1798" fmla="*/ 4090949 w 7613003"/>
              <a:gd name="connsiteY1798" fmla="*/ 1760925 h 6367505"/>
              <a:gd name="connsiteX1799" fmla="*/ 4062772 w 7613003"/>
              <a:gd name="connsiteY1799" fmla="*/ 1789100 h 6367505"/>
              <a:gd name="connsiteX1800" fmla="*/ 4048684 w 7613003"/>
              <a:gd name="connsiteY1800" fmla="*/ 1789100 h 6367505"/>
              <a:gd name="connsiteX1801" fmla="*/ 4034596 w 7613003"/>
              <a:gd name="connsiteY1801" fmla="*/ 1817276 h 6367505"/>
              <a:gd name="connsiteX1802" fmla="*/ 4020508 w 7613003"/>
              <a:gd name="connsiteY1802" fmla="*/ 1817276 h 6367505"/>
              <a:gd name="connsiteX1803" fmla="*/ 4006419 w 7613003"/>
              <a:gd name="connsiteY1803" fmla="*/ 1831363 h 6367505"/>
              <a:gd name="connsiteX1804" fmla="*/ 3992331 w 7613003"/>
              <a:gd name="connsiteY1804" fmla="*/ 1845450 h 6367505"/>
              <a:gd name="connsiteX1805" fmla="*/ 3978244 w 7613003"/>
              <a:gd name="connsiteY1805" fmla="*/ 1859538 h 6367505"/>
              <a:gd name="connsiteX1806" fmla="*/ 3950066 w 7613003"/>
              <a:gd name="connsiteY1806" fmla="*/ 1887712 h 6367505"/>
              <a:gd name="connsiteX1807" fmla="*/ 3935979 w 7613003"/>
              <a:gd name="connsiteY1807" fmla="*/ 1915887 h 6367505"/>
              <a:gd name="connsiteX1808" fmla="*/ 3907802 w 7613003"/>
              <a:gd name="connsiteY1808" fmla="*/ 1929974 h 6367505"/>
              <a:gd name="connsiteX1809" fmla="*/ 3851449 w 7613003"/>
              <a:gd name="connsiteY1809" fmla="*/ 1986323 h 6367505"/>
              <a:gd name="connsiteX1810" fmla="*/ 3823273 w 7613003"/>
              <a:gd name="connsiteY1810" fmla="*/ 2014499 h 6367505"/>
              <a:gd name="connsiteX1811" fmla="*/ 3809185 w 7613003"/>
              <a:gd name="connsiteY1811" fmla="*/ 2028587 h 6367505"/>
              <a:gd name="connsiteX1812" fmla="*/ 3766920 w 7613003"/>
              <a:gd name="connsiteY1812" fmla="*/ 2070849 h 6367505"/>
              <a:gd name="connsiteX1813" fmla="*/ 3752832 w 7613003"/>
              <a:gd name="connsiteY1813" fmla="*/ 2084936 h 6367505"/>
              <a:gd name="connsiteX1814" fmla="*/ 3724655 w 7613003"/>
              <a:gd name="connsiteY1814" fmla="*/ 2127198 h 6367505"/>
              <a:gd name="connsiteX1815" fmla="*/ 3715851 w 7613003"/>
              <a:gd name="connsiteY1815" fmla="*/ 2141285 h 6367505"/>
              <a:gd name="connsiteX1816" fmla="*/ 3713698 w 7613003"/>
              <a:gd name="connsiteY1816" fmla="*/ 2142850 h 6367505"/>
              <a:gd name="connsiteX1817" fmla="*/ 3712328 w 7613003"/>
              <a:gd name="connsiteY1817" fmla="*/ 2143046 h 6367505"/>
              <a:gd name="connsiteX1818" fmla="*/ 3712200 w 7613003"/>
              <a:gd name="connsiteY1818" fmla="*/ 2143940 h 6367505"/>
              <a:gd name="connsiteX1819" fmla="*/ 3696479 w 7613003"/>
              <a:gd name="connsiteY1819" fmla="*/ 2155372 h 6367505"/>
              <a:gd name="connsiteX1820" fmla="*/ 3710567 w 7613003"/>
              <a:gd name="connsiteY1820" fmla="*/ 2155372 h 6367505"/>
              <a:gd name="connsiteX1821" fmla="*/ 3712200 w 7613003"/>
              <a:gd name="connsiteY1821" fmla="*/ 2143940 h 6367505"/>
              <a:gd name="connsiteX1822" fmla="*/ 3713698 w 7613003"/>
              <a:gd name="connsiteY1822" fmla="*/ 2142850 h 6367505"/>
              <a:gd name="connsiteX1823" fmla="*/ 3724655 w 7613003"/>
              <a:gd name="connsiteY1823" fmla="*/ 2141285 h 6367505"/>
              <a:gd name="connsiteX1824" fmla="*/ 3668303 w 7613003"/>
              <a:gd name="connsiteY1824" fmla="*/ 2211723 h 6367505"/>
              <a:gd name="connsiteX1825" fmla="*/ 3654214 w 7613003"/>
              <a:gd name="connsiteY1825" fmla="*/ 2225810 h 6367505"/>
              <a:gd name="connsiteX1826" fmla="*/ 3597862 w 7613003"/>
              <a:gd name="connsiteY1826" fmla="*/ 2296246 h 6367505"/>
              <a:gd name="connsiteX1827" fmla="*/ 3589056 w 7613003"/>
              <a:gd name="connsiteY1827" fmla="*/ 2317377 h 6367505"/>
              <a:gd name="connsiteX1828" fmla="*/ 3582600 w 7613003"/>
              <a:gd name="connsiteY1828" fmla="*/ 2324421 h 6367505"/>
              <a:gd name="connsiteX1829" fmla="*/ 3582013 w 7613003"/>
              <a:gd name="connsiteY1829" fmla="*/ 2324421 h 6367505"/>
              <a:gd name="connsiteX1830" fmla="*/ 3569684 w 7613003"/>
              <a:gd name="connsiteY1830" fmla="*/ 2324421 h 6367505"/>
              <a:gd name="connsiteX1831" fmla="*/ 3569684 w 7613003"/>
              <a:gd name="connsiteY1831" fmla="*/ 2338508 h 6367505"/>
              <a:gd name="connsiteX1832" fmla="*/ 3555597 w 7613003"/>
              <a:gd name="connsiteY1832" fmla="*/ 2352596 h 6367505"/>
              <a:gd name="connsiteX1833" fmla="*/ 3541509 w 7613003"/>
              <a:gd name="connsiteY1833" fmla="*/ 2373728 h 6367505"/>
              <a:gd name="connsiteX1834" fmla="*/ 3527420 w 7613003"/>
              <a:gd name="connsiteY1834" fmla="*/ 2380771 h 6367505"/>
              <a:gd name="connsiteX1835" fmla="*/ 3527420 w 7613003"/>
              <a:gd name="connsiteY1835" fmla="*/ 2394859 h 6367505"/>
              <a:gd name="connsiteX1836" fmla="*/ 3515093 w 7613003"/>
              <a:gd name="connsiteY1836" fmla="*/ 2408946 h 6367505"/>
              <a:gd name="connsiteX1837" fmla="*/ 3513333 w 7613003"/>
              <a:gd name="connsiteY1837" fmla="*/ 2408946 h 6367505"/>
              <a:gd name="connsiteX1838" fmla="*/ 3513333 w 7613003"/>
              <a:gd name="connsiteY1838" fmla="*/ 2423033 h 6367505"/>
              <a:gd name="connsiteX1839" fmla="*/ 3499244 w 7613003"/>
              <a:gd name="connsiteY1839" fmla="*/ 2437121 h 6367505"/>
              <a:gd name="connsiteX1840" fmla="*/ 3491417 w 7613003"/>
              <a:gd name="connsiteY1840" fmla="*/ 2455904 h 6367505"/>
              <a:gd name="connsiteX1841" fmla="*/ 3488287 w 7613003"/>
              <a:gd name="connsiteY1841" fmla="*/ 2460599 h 6367505"/>
              <a:gd name="connsiteX1842" fmla="*/ 3471067 w 7613003"/>
              <a:gd name="connsiteY1842" fmla="*/ 2479383 h 6367505"/>
              <a:gd name="connsiteX1843" fmla="*/ 3456980 w 7613003"/>
              <a:gd name="connsiteY1843" fmla="*/ 2507557 h 6367505"/>
              <a:gd name="connsiteX1844" fmla="*/ 3471067 w 7613003"/>
              <a:gd name="connsiteY1844" fmla="*/ 2493470 h 6367505"/>
              <a:gd name="connsiteX1845" fmla="*/ 3485156 w 7613003"/>
              <a:gd name="connsiteY1845" fmla="*/ 2479383 h 6367505"/>
              <a:gd name="connsiteX1846" fmla="*/ 3485156 w 7613003"/>
              <a:gd name="connsiteY1846" fmla="*/ 2493470 h 6367505"/>
              <a:gd name="connsiteX1847" fmla="*/ 3471067 w 7613003"/>
              <a:gd name="connsiteY1847" fmla="*/ 2521646 h 6367505"/>
              <a:gd name="connsiteX1848" fmla="*/ 3442891 w 7613003"/>
              <a:gd name="connsiteY1848" fmla="*/ 2563908 h 6367505"/>
              <a:gd name="connsiteX1849" fmla="*/ 3428803 w 7613003"/>
              <a:gd name="connsiteY1849" fmla="*/ 2577995 h 6367505"/>
              <a:gd name="connsiteX1850" fmla="*/ 3428803 w 7613003"/>
              <a:gd name="connsiteY1850" fmla="*/ 2606170 h 6367505"/>
              <a:gd name="connsiteX1851" fmla="*/ 3414714 w 7613003"/>
              <a:gd name="connsiteY1851" fmla="*/ 2634344 h 6367505"/>
              <a:gd name="connsiteX1852" fmla="*/ 3372450 w 7613003"/>
              <a:gd name="connsiteY1852" fmla="*/ 2718869 h 6367505"/>
              <a:gd name="connsiteX1853" fmla="*/ 3372450 w 7613003"/>
              <a:gd name="connsiteY1853" fmla="*/ 2732957 h 6367505"/>
              <a:gd name="connsiteX1854" fmla="*/ 3372450 w 7613003"/>
              <a:gd name="connsiteY1854" fmla="*/ 2747044 h 6367505"/>
              <a:gd name="connsiteX1855" fmla="*/ 3372450 w 7613003"/>
              <a:gd name="connsiteY1855" fmla="*/ 2789306 h 6367505"/>
              <a:gd name="connsiteX1856" fmla="*/ 3358361 w 7613003"/>
              <a:gd name="connsiteY1856" fmla="*/ 2831568 h 6367505"/>
              <a:gd name="connsiteX1857" fmla="*/ 3344274 w 7613003"/>
              <a:gd name="connsiteY1857" fmla="*/ 2916093 h 6367505"/>
              <a:gd name="connsiteX1858" fmla="*/ 3330185 w 7613003"/>
              <a:gd name="connsiteY1858" fmla="*/ 2944268 h 6367505"/>
              <a:gd name="connsiteX1859" fmla="*/ 3330185 w 7613003"/>
              <a:gd name="connsiteY1859" fmla="*/ 2986529 h 6367505"/>
              <a:gd name="connsiteX1860" fmla="*/ 3316097 w 7613003"/>
              <a:gd name="connsiteY1860" fmla="*/ 3056966 h 6367505"/>
              <a:gd name="connsiteX1861" fmla="*/ 3316097 w 7613003"/>
              <a:gd name="connsiteY1861" fmla="*/ 3071053 h 6367505"/>
              <a:gd name="connsiteX1862" fmla="*/ 3316097 w 7613003"/>
              <a:gd name="connsiteY1862" fmla="*/ 3099229 h 6367505"/>
              <a:gd name="connsiteX1863" fmla="*/ 3302008 w 7613003"/>
              <a:gd name="connsiteY1863" fmla="*/ 3183753 h 6367505"/>
              <a:gd name="connsiteX1864" fmla="*/ 3302008 w 7613003"/>
              <a:gd name="connsiteY1864" fmla="*/ 3282365 h 6367505"/>
              <a:gd name="connsiteX1865" fmla="*/ 3316097 w 7613003"/>
              <a:gd name="connsiteY1865" fmla="*/ 3352801 h 6367505"/>
              <a:gd name="connsiteX1866" fmla="*/ 3316097 w 7613003"/>
              <a:gd name="connsiteY1866" fmla="*/ 3380976 h 6367505"/>
              <a:gd name="connsiteX1867" fmla="*/ 3330185 w 7613003"/>
              <a:gd name="connsiteY1867" fmla="*/ 3423238 h 6367505"/>
              <a:gd name="connsiteX1868" fmla="*/ 3330185 w 7613003"/>
              <a:gd name="connsiteY1868" fmla="*/ 3437327 h 6367505"/>
              <a:gd name="connsiteX1869" fmla="*/ 3344274 w 7613003"/>
              <a:gd name="connsiteY1869" fmla="*/ 3521850 h 6367505"/>
              <a:gd name="connsiteX1870" fmla="*/ 3372450 w 7613003"/>
              <a:gd name="connsiteY1870" fmla="*/ 3592287 h 6367505"/>
              <a:gd name="connsiteX1871" fmla="*/ 3386538 w 7613003"/>
              <a:gd name="connsiteY1871" fmla="*/ 3634550 h 6367505"/>
              <a:gd name="connsiteX1872" fmla="*/ 3386538 w 7613003"/>
              <a:gd name="connsiteY1872" fmla="*/ 3648637 h 6367505"/>
              <a:gd name="connsiteX1873" fmla="*/ 3414714 w 7613003"/>
              <a:gd name="connsiteY1873" fmla="*/ 3690899 h 6367505"/>
              <a:gd name="connsiteX1874" fmla="*/ 3414714 w 7613003"/>
              <a:gd name="connsiteY1874" fmla="*/ 3704987 h 6367505"/>
              <a:gd name="connsiteX1875" fmla="*/ 3414714 w 7613003"/>
              <a:gd name="connsiteY1875" fmla="*/ 3719074 h 6367505"/>
              <a:gd name="connsiteX1876" fmla="*/ 3428803 w 7613003"/>
              <a:gd name="connsiteY1876" fmla="*/ 3733161 h 6367505"/>
              <a:gd name="connsiteX1877" fmla="*/ 3442891 w 7613003"/>
              <a:gd name="connsiteY1877" fmla="*/ 3789512 h 6367505"/>
              <a:gd name="connsiteX1878" fmla="*/ 3471067 w 7613003"/>
              <a:gd name="connsiteY1878" fmla="*/ 3831773 h 6367505"/>
              <a:gd name="connsiteX1879" fmla="*/ 3527420 w 7613003"/>
              <a:gd name="connsiteY1879" fmla="*/ 3958560 h 6367505"/>
              <a:gd name="connsiteX1880" fmla="*/ 3555597 w 7613003"/>
              <a:gd name="connsiteY1880" fmla="*/ 4028997 h 6367505"/>
              <a:gd name="connsiteX1881" fmla="*/ 3583773 w 7613003"/>
              <a:gd name="connsiteY1881" fmla="*/ 4071259 h 6367505"/>
              <a:gd name="connsiteX1882" fmla="*/ 3611950 w 7613003"/>
              <a:gd name="connsiteY1882" fmla="*/ 4113521 h 6367505"/>
              <a:gd name="connsiteX1883" fmla="*/ 3724655 w 7613003"/>
              <a:gd name="connsiteY1883" fmla="*/ 4254395 h 6367505"/>
              <a:gd name="connsiteX1884" fmla="*/ 3752832 w 7613003"/>
              <a:gd name="connsiteY1884" fmla="*/ 4282570 h 6367505"/>
              <a:gd name="connsiteX1885" fmla="*/ 3766920 w 7613003"/>
              <a:gd name="connsiteY1885" fmla="*/ 4282570 h 6367505"/>
              <a:gd name="connsiteX1886" fmla="*/ 3851449 w 7613003"/>
              <a:gd name="connsiteY1886" fmla="*/ 4381182 h 6367505"/>
              <a:gd name="connsiteX1887" fmla="*/ 3921891 w 7613003"/>
              <a:gd name="connsiteY1887" fmla="*/ 4437531 h 6367505"/>
              <a:gd name="connsiteX1888" fmla="*/ 3964155 w 7613003"/>
              <a:gd name="connsiteY1888" fmla="*/ 4465706 h 6367505"/>
              <a:gd name="connsiteX1889" fmla="*/ 4006419 w 7613003"/>
              <a:gd name="connsiteY1889" fmla="*/ 4507969 h 6367505"/>
              <a:gd name="connsiteX1890" fmla="*/ 4020508 w 7613003"/>
              <a:gd name="connsiteY1890" fmla="*/ 4507969 h 6367505"/>
              <a:gd name="connsiteX1891" fmla="*/ 4048684 w 7613003"/>
              <a:gd name="connsiteY1891" fmla="*/ 4536144 h 6367505"/>
              <a:gd name="connsiteX1892" fmla="*/ 4062772 w 7613003"/>
              <a:gd name="connsiteY1892" fmla="*/ 4536144 h 6367505"/>
              <a:gd name="connsiteX1893" fmla="*/ 4048684 w 7613003"/>
              <a:gd name="connsiteY1893" fmla="*/ 4550231 h 6367505"/>
              <a:gd name="connsiteX1894" fmla="*/ 4034596 w 7613003"/>
              <a:gd name="connsiteY1894" fmla="*/ 4550231 h 6367505"/>
              <a:gd name="connsiteX1895" fmla="*/ 4062772 w 7613003"/>
              <a:gd name="connsiteY1895" fmla="*/ 4578406 h 6367505"/>
              <a:gd name="connsiteX1896" fmla="*/ 4119125 w 7613003"/>
              <a:gd name="connsiteY1896" fmla="*/ 4606580 h 6367505"/>
              <a:gd name="connsiteX1897" fmla="*/ 4183518 w 7613003"/>
              <a:gd name="connsiteY1897" fmla="*/ 4638774 h 6367505"/>
              <a:gd name="connsiteX1898" fmla="*/ 4190461 w 7613003"/>
              <a:gd name="connsiteY1898" fmla="*/ 4634755 h 6367505"/>
              <a:gd name="connsiteX1899" fmla="*/ 4232726 w 7613003"/>
              <a:gd name="connsiteY1899" fmla="*/ 4634755 h 6367505"/>
              <a:gd name="connsiteX1900" fmla="*/ 4232726 w 7613003"/>
              <a:gd name="connsiteY1900" fmla="*/ 4648842 h 6367505"/>
              <a:gd name="connsiteX1901" fmla="*/ 4226826 w 7613003"/>
              <a:gd name="connsiteY1901" fmla="*/ 4658430 h 6367505"/>
              <a:gd name="connsiteX1902" fmla="*/ 4254724 w 7613003"/>
              <a:gd name="connsiteY1902" fmla="*/ 4669974 h 6367505"/>
              <a:gd name="connsiteX1903" fmla="*/ 4316360 w 7613003"/>
              <a:gd name="connsiteY1903" fmla="*/ 4691105 h 6367505"/>
              <a:gd name="connsiteX1904" fmla="*/ 4337493 w 7613003"/>
              <a:gd name="connsiteY1904" fmla="*/ 4692866 h 6367505"/>
              <a:gd name="connsiteX1905" fmla="*/ 4353845 w 7613003"/>
              <a:gd name="connsiteY1905" fmla="*/ 4702405 h 6367505"/>
              <a:gd name="connsiteX1906" fmla="*/ 4355117 w 7613003"/>
              <a:gd name="connsiteY1906" fmla="*/ 4701450 h 6367505"/>
              <a:gd name="connsiteX1907" fmla="*/ 4387696 w 7613003"/>
              <a:gd name="connsiteY1907" fmla="*/ 4677018 h 6367505"/>
              <a:gd name="connsiteX1908" fmla="*/ 4444049 w 7613003"/>
              <a:gd name="connsiteY1908" fmla="*/ 4648842 h 6367505"/>
              <a:gd name="connsiteX1909" fmla="*/ 4472226 w 7613003"/>
              <a:gd name="connsiteY1909" fmla="*/ 4634755 h 6367505"/>
              <a:gd name="connsiteX1910" fmla="*/ 4500402 w 7613003"/>
              <a:gd name="connsiteY1910" fmla="*/ 4620667 h 6367505"/>
              <a:gd name="connsiteX1911" fmla="*/ 4542666 w 7613003"/>
              <a:gd name="connsiteY1911" fmla="*/ 4592493 h 6367505"/>
              <a:gd name="connsiteX1912" fmla="*/ 4556755 w 7613003"/>
              <a:gd name="connsiteY1912" fmla="*/ 4578406 h 6367505"/>
              <a:gd name="connsiteX1913" fmla="*/ 4613108 w 7613003"/>
              <a:gd name="connsiteY1913" fmla="*/ 4522056 h 6367505"/>
              <a:gd name="connsiteX1914" fmla="*/ 4641285 w 7613003"/>
              <a:gd name="connsiteY1914" fmla="*/ 4493882 h 6367505"/>
              <a:gd name="connsiteX1915" fmla="*/ 4697638 w 7613003"/>
              <a:gd name="connsiteY1915" fmla="*/ 4451619 h 6367505"/>
              <a:gd name="connsiteX1916" fmla="*/ 4711725 w 7613003"/>
              <a:gd name="connsiteY1916" fmla="*/ 4437531 h 6367505"/>
              <a:gd name="connsiteX1917" fmla="*/ 4768078 w 7613003"/>
              <a:gd name="connsiteY1917" fmla="*/ 4353007 h 6367505"/>
              <a:gd name="connsiteX1918" fmla="*/ 4782167 w 7613003"/>
              <a:gd name="connsiteY1918" fmla="*/ 4338920 h 6367505"/>
              <a:gd name="connsiteX1919" fmla="*/ 4824431 w 7613003"/>
              <a:gd name="connsiteY1919" fmla="*/ 4296657 h 6367505"/>
              <a:gd name="connsiteX1920" fmla="*/ 4838520 w 7613003"/>
              <a:gd name="connsiteY1920" fmla="*/ 4282570 h 6367505"/>
              <a:gd name="connsiteX1921" fmla="*/ 4838520 w 7613003"/>
              <a:gd name="connsiteY1921" fmla="*/ 4268482 h 6367505"/>
              <a:gd name="connsiteX1922" fmla="*/ 4894873 w 7613003"/>
              <a:gd name="connsiteY1922" fmla="*/ 4226221 h 6367505"/>
              <a:gd name="connsiteX1923" fmla="*/ 4894873 w 7613003"/>
              <a:gd name="connsiteY1923" fmla="*/ 4212133 h 6367505"/>
              <a:gd name="connsiteX1924" fmla="*/ 4923048 w 7613003"/>
              <a:gd name="connsiteY1924" fmla="*/ 4183958 h 6367505"/>
              <a:gd name="connsiteX1925" fmla="*/ 4937137 w 7613003"/>
              <a:gd name="connsiteY1925" fmla="*/ 4169871 h 6367505"/>
              <a:gd name="connsiteX1926" fmla="*/ 4979401 w 7613003"/>
              <a:gd name="connsiteY1926" fmla="*/ 4113521 h 6367505"/>
              <a:gd name="connsiteX1927" fmla="*/ 4993490 w 7613003"/>
              <a:gd name="connsiteY1927" fmla="*/ 4099433 h 6367505"/>
              <a:gd name="connsiteX1928" fmla="*/ 5021666 w 7613003"/>
              <a:gd name="connsiteY1928" fmla="*/ 4028997 h 6367505"/>
              <a:gd name="connsiteX1929" fmla="*/ 5063931 w 7613003"/>
              <a:gd name="connsiteY1929" fmla="*/ 3958560 h 6367505"/>
              <a:gd name="connsiteX1930" fmla="*/ 5078019 w 7613003"/>
              <a:gd name="connsiteY1930" fmla="*/ 3986735 h 6367505"/>
              <a:gd name="connsiteX1931" fmla="*/ 5063931 w 7613003"/>
              <a:gd name="connsiteY1931" fmla="*/ 4043084 h 6367505"/>
              <a:gd name="connsiteX1932" fmla="*/ 5063931 w 7613003"/>
              <a:gd name="connsiteY1932" fmla="*/ 4085346 h 6367505"/>
              <a:gd name="connsiteX1933" fmla="*/ 5063931 w 7613003"/>
              <a:gd name="connsiteY1933" fmla="*/ 4113521 h 6367505"/>
              <a:gd name="connsiteX1934" fmla="*/ 5021666 w 7613003"/>
              <a:gd name="connsiteY1934" fmla="*/ 4198046 h 6367505"/>
              <a:gd name="connsiteX1935" fmla="*/ 5021666 w 7613003"/>
              <a:gd name="connsiteY1935" fmla="*/ 4212133 h 6367505"/>
              <a:gd name="connsiteX1936" fmla="*/ 4993490 w 7613003"/>
              <a:gd name="connsiteY1936" fmla="*/ 4268482 h 6367505"/>
              <a:gd name="connsiteX1937" fmla="*/ 4965313 w 7613003"/>
              <a:gd name="connsiteY1937" fmla="*/ 4353007 h 6367505"/>
              <a:gd name="connsiteX1938" fmla="*/ 4908961 w 7613003"/>
              <a:gd name="connsiteY1938" fmla="*/ 4423444 h 6367505"/>
              <a:gd name="connsiteX1939" fmla="*/ 4852608 w 7613003"/>
              <a:gd name="connsiteY1939" fmla="*/ 4522056 h 6367505"/>
              <a:gd name="connsiteX1940" fmla="*/ 4824431 w 7613003"/>
              <a:gd name="connsiteY1940" fmla="*/ 4564318 h 6367505"/>
              <a:gd name="connsiteX1941" fmla="*/ 4782167 w 7613003"/>
              <a:gd name="connsiteY1941" fmla="*/ 4634755 h 6367505"/>
              <a:gd name="connsiteX1942" fmla="*/ 4753990 w 7613003"/>
              <a:gd name="connsiteY1942" fmla="*/ 4705192 h 6367505"/>
              <a:gd name="connsiteX1943" fmla="*/ 4711725 w 7613003"/>
              <a:gd name="connsiteY1943" fmla="*/ 4775629 h 6367505"/>
              <a:gd name="connsiteX1944" fmla="*/ 4690593 w 7613003"/>
              <a:gd name="connsiteY1944" fmla="*/ 4809086 h 6367505"/>
              <a:gd name="connsiteX1945" fmla="*/ 4674017 w 7613003"/>
              <a:gd name="connsiteY1945" fmla="*/ 4827043 h 6367505"/>
              <a:gd name="connsiteX1946" fmla="*/ 4682655 w 7613003"/>
              <a:gd name="connsiteY1946" fmla="*/ 4831978 h 6367505"/>
              <a:gd name="connsiteX1947" fmla="*/ 4696742 w 7613003"/>
              <a:gd name="connsiteY1947" fmla="*/ 4831978 h 6367505"/>
              <a:gd name="connsiteX1948" fmla="*/ 4730202 w 7613003"/>
              <a:gd name="connsiteY1948" fmla="*/ 4844306 h 6367505"/>
              <a:gd name="connsiteX1949" fmla="*/ 4741867 w 7613003"/>
              <a:gd name="connsiteY1949" fmla="*/ 4845203 h 6367505"/>
              <a:gd name="connsiteX1950" fmla="*/ 4753990 w 7613003"/>
              <a:gd name="connsiteY1950" fmla="*/ 4831978 h 6367505"/>
              <a:gd name="connsiteX1951" fmla="*/ 4796255 w 7613003"/>
              <a:gd name="connsiteY1951" fmla="*/ 4789716 h 6367505"/>
              <a:gd name="connsiteX1952" fmla="*/ 4838520 w 7613003"/>
              <a:gd name="connsiteY1952" fmla="*/ 4747454 h 6367505"/>
              <a:gd name="connsiteX1953" fmla="*/ 4894873 w 7613003"/>
              <a:gd name="connsiteY1953" fmla="*/ 4691105 h 6367505"/>
              <a:gd name="connsiteX1954" fmla="*/ 4908961 w 7613003"/>
              <a:gd name="connsiteY1954" fmla="*/ 4691105 h 6367505"/>
              <a:gd name="connsiteX1955" fmla="*/ 4965313 w 7613003"/>
              <a:gd name="connsiteY1955" fmla="*/ 4634755 h 6367505"/>
              <a:gd name="connsiteX1956" fmla="*/ 5035754 w 7613003"/>
              <a:gd name="connsiteY1956" fmla="*/ 4550231 h 6367505"/>
              <a:gd name="connsiteX1957" fmla="*/ 5063931 w 7613003"/>
              <a:gd name="connsiteY1957" fmla="*/ 4522056 h 6367505"/>
              <a:gd name="connsiteX1958" fmla="*/ 5063931 w 7613003"/>
              <a:gd name="connsiteY1958" fmla="*/ 4536144 h 6367505"/>
              <a:gd name="connsiteX1959" fmla="*/ 5049843 w 7613003"/>
              <a:gd name="connsiteY1959" fmla="*/ 4592493 h 6367505"/>
              <a:gd name="connsiteX1960" fmla="*/ 5049843 w 7613003"/>
              <a:gd name="connsiteY1960" fmla="*/ 4606580 h 6367505"/>
              <a:gd name="connsiteX1961" fmla="*/ 5021666 w 7613003"/>
              <a:gd name="connsiteY1961" fmla="*/ 4677018 h 6367505"/>
              <a:gd name="connsiteX1962" fmla="*/ 4894873 w 7613003"/>
              <a:gd name="connsiteY1962" fmla="*/ 4860154 h 6367505"/>
              <a:gd name="connsiteX1963" fmla="*/ 4902783 w 7613003"/>
              <a:gd name="connsiteY1963" fmla="*/ 4860154 h 6367505"/>
              <a:gd name="connsiteX1964" fmla="*/ 4922154 w 7613003"/>
              <a:gd name="connsiteY1964" fmla="*/ 4860154 h 6367505"/>
              <a:gd name="connsiteX1965" fmla="*/ 4936242 w 7613003"/>
              <a:gd name="connsiteY1965" fmla="*/ 4860154 h 6367505"/>
              <a:gd name="connsiteX1966" fmla="*/ 4950331 w 7613003"/>
              <a:gd name="connsiteY1966" fmla="*/ 4860154 h 6367505"/>
              <a:gd name="connsiteX1967" fmla="*/ 4964418 w 7613003"/>
              <a:gd name="connsiteY1967" fmla="*/ 4846067 h 6367505"/>
              <a:gd name="connsiteX1968" fmla="*/ 5034860 w 7613003"/>
              <a:gd name="connsiteY1968" fmla="*/ 4846067 h 6367505"/>
              <a:gd name="connsiteX1969" fmla="*/ 5119389 w 7613003"/>
              <a:gd name="connsiteY1969" fmla="*/ 4846067 h 6367505"/>
              <a:gd name="connsiteX1970" fmla="*/ 5128194 w 7613003"/>
              <a:gd name="connsiteY1970" fmla="*/ 4846067 h 6367505"/>
              <a:gd name="connsiteX1971" fmla="*/ 5136626 w 7613003"/>
              <a:gd name="connsiteY1971" fmla="*/ 4846067 h 6367505"/>
              <a:gd name="connsiteX1972" fmla="*/ 5153743 w 7613003"/>
              <a:gd name="connsiteY1972" fmla="*/ 4830218 h 6367505"/>
              <a:gd name="connsiteX1973" fmla="*/ 5190725 w 7613003"/>
              <a:gd name="connsiteY1973" fmla="*/ 4775629 h 6367505"/>
              <a:gd name="connsiteX1974" fmla="*/ 5204813 w 7613003"/>
              <a:gd name="connsiteY1974" fmla="*/ 4761542 h 6367505"/>
              <a:gd name="connsiteX1975" fmla="*/ 5190725 w 7613003"/>
              <a:gd name="connsiteY1975" fmla="*/ 4761542 h 6367505"/>
              <a:gd name="connsiteX1976" fmla="*/ 5218902 w 7613003"/>
              <a:gd name="connsiteY1976" fmla="*/ 4747454 h 6367505"/>
              <a:gd name="connsiteX1977" fmla="*/ 5289343 w 7613003"/>
              <a:gd name="connsiteY1977" fmla="*/ 4634755 h 6367505"/>
              <a:gd name="connsiteX1978" fmla="*/ 5303431 w 7613003"/>
              <a:gd name="connsiteY1978" fmla="*/ 4620667 h 6367505"/>
              <a:gd name="connsiteX1979" fmla="*/ 5317519 w 7613003"/>
              <a:gd name="connsiteY1979" fmla="*/ 4606580 h 6367505"/>
              <a:gd name="connsiteX1980" fmla="*/ 5331608 w 7613003"/>
              <a:gd name="connsiteY1980" fmla="*/ 4592493 h 6367505"/>
              <a:gd name="connsiteX1981" fmla="*/ 5345695 w 7613003"/>
              <a:gd name="connsiteY1981" fmla="*/ 4564318 h 6367505"/>
              <a:gd name="connsiteX1982" fmla="*/ 5373872 w 7613003"/>
              <a:gd name="connsiteY1982" fmla="*/ 4536144 h 6367505"/>
              <a:gd name="connsiteX1983" fmla="*/ 5373872 w 7613003"/>
              <a:gd name="connsiteY1983" fmla="*/ 4522056 h 6367505"/>
              <a:gd name="connsiteX1984" fmla="*/ 5387961 w 7613003"/>
              <a:gd name="connsiteY1984" fmla="*/ 4507969 h 6367505"/>
              <a:gd name="connsiteX1985" fmla="*/ 5416136 w 7613003"/>
              <a:gd name="connsiteY1985" fmla="*/ 4479793 h 6367505"/>
              <a:gd name="connsiteX1986" fmla="*/ 5444314 w 7613003"/>
              <a:gd name="connsiteY1986" fmla="*/ 4437531 h 6367505"/>
              <a:gd name="connsiteX1987" fmla="*/ 5472489 w 7613003"/>
              <a:gd name="connsiteY1987" fmla="*/ 4381182 h 6367505"/>
              <a:gd name="connsiteX1988" fmla="*/ 5472489 w 7613003"/>
              <a:gd name="connsiteY1988" fmla="*/ 4367095 h 6367505"/>
              <a:gd name="connsiteX1989" fmla="*/ 5528842 w 7613003"/>
              <a:gd name="connsiteY1989" fmla="*/ 4268482 h 6367505"/>
              <a:gd name="connsiteX1990" fmla="*/ 5528842 w 7613003"/>
              <a:gd name="connsiteY1990" fmla="*/ 4254395 h 6367505"/>
              <a:gd name="connsiteX1991" fmla="*/ 5542931 w 7613003"/>
              <a:gd name="connsiteY1991" fmla="*/ 4226221 h 6367505"/>
              <a:gd name="connsiteX1992" fmla="*/ 5585195 w 7613003"/>
              <a:gd name="connsiteY1992" fmla="*/ 4141697 h 6367505"/>
              <a:gd name="connsiteX1993" fmla="*/ 5599284 w 7613003"/>
              <a:gd name="connsiteY1993" fmla="*/ 4099433 h 6367505"/>
              <a:gd name="connsiteX1994" fmla="*/ 5641548 w 7613003"/>
              <a:gd name="connsiteY1994" fmla="*/ 3958560 h 6367505"/>
              <a:gd name="connsiteX1995" fmla="*/ 5655637 w 7613003"/>
              <a:gd name="connsiteY1995" fmla="*/ 3916297 h 6367505"/>
              <a:gd name="connsiteX1996" fmla="*/ 5669724 w 7613003"/>
              <a:gd name="connsiteY1996" fmla="*/ 3888123 h 6367505"/>
              <a:gd name="connsiteX1997" fmla="*/ 5697901 w 7613003"/>
              <a:gd name="connsiteY1997" fmla="*/ 3775423 h 6367505"/>
              <a:gd name="connsiteX1998" fmla="*/ 5726077 w 7613003"/>
              <a:gd name="connsiteY1998" fmla="*/ 3690899 h 6367505"/>
              <a:gd name="connsiteX1999" fmla="*/ 5740166 w 7613003"/>
              <a:gd name="connsiteY1999" fmla="*/ 3592287 h 6367505"/>
              <a:gd name="connsiteX2000" fmla="*/ 5754254 w 7613003"/>
              <a:gd name="connsiteY2000" fmla="*/ 3564112 h 6367505"/>
              <a:gd name="connsiteX2001" fmla="*/ 5768341 w 7613003"/>
              <a:gd name="connsiteY2001" fmla="*/ 3521850 h 6367505"/>
              <a:gd name="connsiteX2002" fmla="*/ 5768341 w 7613003"/>
              <a:gd name="connsiteY2002" fmla="*/ 3479588 h 6367505"/>
              <a:gd name="connsiteX2003" fmla="*/ 5782430 w 7613003"/>
              <a:gd name="connsiteY2003" fmla="*/ 3366889 h 6367505"/>
              <a:gd name="connsiteX2004" fmla="*/ 5782430 w 7613003"/>
              <a:gd name="connsiteY2004" fmla="*/ 3310540 h 6367505"/>
              <a:gd name="connsiteX2005" fmla="*/ 5796519 w 7613003"/>
              <a:gd name="connsiteY2005" fmla="*/ 3240102 h 6367505"/>
              <a:gd name="connsiteX2006" fmla="*/ 5810607 w 7613003"/>
              <a:gd name="connsiteY2006" fmla="*/ 3211927 h 6367505"/>
              <a:gd name="connsiteX2007" fmla="*/ 5824694 w 7613003"/>
              <a:gd name="connsiteY2007" fmla="*/ 3226015 h 6367505"/>
              <a:gd name="connsiteX2008" fmla="*/ 5824694 w 7613003"/>
              <a:gd name="connsiteY2008" fmla="*/ 3282365 h 6367505"/>
              <a:gd name="connsiteX2009" fmla="*/ 5824694 w 7613003"/>
              <a:gd name="connsiteY2009" fmla="*/ 3324627 h 6367505"/>
              <a:gd name="connsiteX2010" fmla="*/ 5824694 w 7613003"/>
              <a:gd name="connsiteY2010" fmla="*/ 3352801 h 6367505"/>
              <a:gd name="connsiteX2011" fmla="*/ 5838783 w 7613003"/>
              <a:gd name="connsiteY2011" fmla="*/ 3352801 h 6367505"/>
              <a:gd name="connsiteX2012" fmla="*/ 5852872 w 7613003"/>
              <a:gd name="connsiteY2012" fmla="*/ 3338714 h 6367505"/>
              <a:gd name="connsiteX2013" fmla="*/ 5881047 w 7613003"/>
              <a:gd name="connsiteY2013" fmla="*/ 3282365 h 6367505"/>
              <a:gd name="connsiteX2014" fmla="*/ 5895136 w 7613003"/>
              <a:gd name="connsiteY2014" fmla="*/ 3254190 h 6367505"/>
              <a:gd name="connsiteX2015" fmla="*/ 5895136 w 7613003"/>
              <a:gd name="connsiteY2015" fmla="*/ 3268278 h 6367505"/>
              <a:gd name="connsiteX2016" fmla="*/ 5895136 w 7613003"/>
              <a:gd name="connsiteY2016" fmla="*/ 3282365 h 6367505"/>
              <a:gd name="connsiteX2017" fmla="*/ 5923313 w 7613003"/>
              <a:gd name="connsiteY2017" fmla="*/ 3296452 h 6367505"/>
              <a:gd name="connsiteX2018" fmla="*/ 5951489 w 7613003"/>
              <a:gd name="connsiteY2018" fmla="*/ 3395063 h 6367505"/>
              <a:gd name="connsiteX2019" fmla="*/ 5965577 w 7613003"/>
              <a:gd name="connsiteY2019" fmla="*/ 3395063 h 6367505"/>
              <a:gd name="connsiteX2020" fmla="*/ 5979666 w 7613003"/>
              <a:gd name="connsiteY2020" fmla="*/ 3409151 h 6367505"/>
              <a:gd name="connsiteX2021" fmla="*/ 5979666 w 7613003"/>
              <a:gd name="connsiteY2021" fmla="*/ 3465501 h 6367505"/>
              <a:gd name="connsiteX2022" fmla="*/ 5993753 w 7613003"/>
              <a:gd name="connsiteY2022" fmla="*/ 3493676 h 6367505"/>
              <a:gd name="connsiteX2023" fmla="*/ 5993753 w 7613003"/>
              <a:gd name="connsiteY2023" fmla="*/ 3578200 h 6367505"/>
              <a:gd name="connsiteX2024" fmla="*/ 5993753 w 7613003"/>
              <a:gd name="connsiteY2024" fmla="*/ 3690899 h 6367505"/>
              <a:gd name="connsiteX2025" fmla="*/ 5993753 w 7613003"/>
              <a:gd name="connsiteY2025" fmla="*/ 3775423 h 6367505"/>
              <a:gd name="connsiteX2026" fmla="*/ 5993753 w 7613003"/>
              <a:gd name="connsiteY2026" fmla="*/ 3817686 h 6367505"/>
              <a:gd name="connsiteX2027" fmla="*/ 5979666 w 7613003"/>
              <a:gd name="connsiteY2027" fmla="*/ 3859948 h 6367505"/>
              <a:gd name="connsiteX2028" fmla="*/ 5979666 w 7613003"/>
              <a:gd name="connsiteY2028" fmla="*/ 3902210 h 6367505"/>
              <a:gd name="connsiteX2029" fmla="*/ 5979666 w 7613003"/>
              <a:gd name="connsiteY2029" fmla="*/ 3916297 h 6367505"/>
              <a:gd name="connsiteX2030" fmla="*/ 5979666 w 7613003"/>
              <a:gd name="connsiteY2030" fmla="*/ 3944472 h 6367505"/>
              <a:gd name="connsiteX2031" fmla="*/ 5965577 w 7613003"/>
              <a:gd name="connsiteY2031" fmla="*/ 4000822 h 6367505"/>
              <a:gd name="connsiteX2032" fmla="*/ 5923313 w 7613003"/>
              <a:gd name="connsiteY2032" fmla="*/ 4155784 h 6367505"/>
              <a:gd name="connsiteX2033" fmla="*/ 5895136 w 7613003"/>
              <a:gd name="connsiteY2033" fmla="*/ 4254395 h 6367505"/>
              <a:gd name="connsiteX2034" fmla="*/ 5895136 w 7613003"/>
              <a:gd name="connsiteY2034" fmla="*/ 4310744 h 6367505"/>
              <a:gd name="connsiteX2035" fmla="*/ 5881047 w 7613003"/>
              <a:gd name="connsiteY2035" fmla="*/ 4324833 h 6367505"/>
              <a:gd name="connsiteX2036" fmla="*/ 5895136 w 7613003"/>
              <a:gd name="connsiteY2036" fmla="*/ 4338920 h 6367505"/>
              <a:gd name="connsiteX2037" fmla="*/ 5866960 w 7613003"/>
              <a:gd name="connsiteY2037" fmla="*/ 4423444 h 6367505"/>
              <a:gd name="connsiteX2038" fmla="*/ 5824694 w 7613003"/>
              <a:gd name="connsiteY2038" fmla="*/ 4507969 h 6367505"/>
              <a:gd name="connsiteX2039" fmla="*/ 5810607 w 7613003"/>
              <a:gd name="connsiteY2039" fmla="*/ 4564318 h 6367505"/>
              <a:gd name="connsiteX2040" fmla="*/ 5787714 w 7613003"/>
              <a:gd name="connsiteY2040" fmla="*/ 4615385 h 6367505"/>
              <a:gd name="connsiteX2041" fmla="*/ 5764157 w 7613003"/>
              <a:gd name="connsiteY2041" fmla="*/ 4658776 h 6367505"/>
              <a:gd name="connsiteX2042" fmla="*/ 5776252 w 7613003"/>
              <a:gd name="connsiteY2042" fmla="*/ 4654125 h 6367505"/>
              <a:gd name="connsiteX2043" fmla="*/ 5809711 w 7613003"/>
              <a:gd name="connsiteY2043" fmla="*/ 4634755 h 6367505"/>
              <a:gd name="connsiteX2044" fmla="*/ 5851976 w 7613003"/>
              <a:gd name="connsiteY2044" fmla="*/ 4634755 h 6367505"/>
              <a:gd name="connsiteX2045" fmla="*/ 5851976 w 7613003"/>
              <a:gd name="connsiteY2045" fmla="*/ 4648842 h 6367505"/>
              <a:gd name="connsiteX2046" fmla="*/ 5823800 w 7613003"/>
              <a:gd name="connsiteY2046" fmla="*/ 4705192 h 6367505"/>
              <a:gd name="connsiteX2047" fmla="*/ 5809711 w 7613003"/>
              <a:gd name="connsiteY2047" fmla="*/ 4719280 h 6367505"/>
              <a:gd name="connsiteX2048" fmla="*/ 5809711 w 7613003"/>
              <a:gd name="connsiteY2048" fmla="*/ 4733367 h 6367505"/>
              <a:gd name="connsiteX2049" fmla="*/ 5795623 w 7613003"/>
              <a:gd name="connsiteY2049" fmla="*/ 4761542 h 6367505"/>
              <a:gd name="connsiteX2050" fmla="*/ 5739270 w 7613003"/>
              <a:gd name="connsiteY2050" fmla="*/ 4789716 h 6367505"/>
              <a:gd name="connsiteX2051" fmla="*/ 5738497 w 7613003"/>
              <a:gd name="connsiteY2051" fmla="*/ 4795901 h 6367505"/>
              <a:gd name="connsiteX2052" fmla="*/ 5745449 w 7613003"/>
              <a:gd name="connsiteY2052" fmla="*/ 4791477 h 6367505"/>
              <a:gd name="connsiteX2053" fmla="*/ 5754254 w 7613003"/>
              <a:gd name="connsiteY2053" fmla="*/ 4789716 h 6367505"/>
              <a:gd name="connsiteX2054" fmla="*/ 5726077 w 7613003"/>
              <a:gd name="connsiteY2054" fmla="*/ 4831978 h 6367505"/>
              <a:gd name="connsiteX2055" fmla="*/ 5712487 w 7613003"/>
              <a:gd name="connsiteY2055" fmla="*/ 4850666 h 6367505"/>
              <a:gd name="connsiteX2056" fmla="*/ 5751597 w 7613003"/>
              <a:gd name="connsiteY2056" fmla="*/ 4826696 h 6367505"/>
              <a:gd name="connsiteX2057" fmla="*/ 5795623 w 7613003"/>
              <a:gd name="connsiteY2057" fmla="*/ 4803804 h 6367505"/>
              <a:gd name="connsiteX2058" fmla="*/ 5908329 w 7613003"/>
              <a:gd name="connsiteY2058" fmla="*/ 4747454 h 6367505"/>
              <a:gd name="connsiteX2059" fmla="*/ 5950593 w 7613003"/>
              <a:gd name="connsiteY2059" fmla="*/ 4719280 h 6367505"/>
              <a:gd name="connsiteX2060" fmla="*/ 6006946 w 7613003"/>
              <a:gd name="connsiteY2060" fmla="*/ 4677018 h 6367505"/>
              <a:gd name="connsiteX2061" fmla="*/ 6063299 w 7613003"/>
              <a:gd name="connsiteY2061" fmla="*/ 4648842 h 6367505"/>
              <a:gd name="connsiteX2062" fmla="*/ 6091476 w 7613003"/>
              <a:gd name="connsiteY2062" fmla="*/ 4634755 h 6367505"/>
              <a:gd name="connsiteX2063" fmla="*/ 6119652 w 7613003"/>
              <a:gd name="connsiteY2063" fmla="*/ 4620667 h 6367505"/>
              <a:gd name="connsiteX2064" fmla="*/ 6161916 w 7613003"/>
              <a:gd name="connsiteY2064" fmla="*/ 4592493 h 6367505"/>
              <a:gd name="connsiteX2065" fmla="*/ 6176005 w 7613003"/>
              <a:gd name="connsiteY2065" fmla="*/ 4578406 h 6367505"/>
              <a:gd name="connsiteX2066" fmla="*/ 6232358 w 7613003"/>
              <a:gd name="connsiteY2066" fmla="*/ 4522056 h 6367505"/>
              <a:gd name="connsiteX2067" fmla="*/ 6260535 w 7613003"/>
              <a:gd name="connsiteY2067" fmla="*/ 4493882 h 6367505"/>
              <a:gd name="connsiteX2068" fmla="*/ 6316888 w 7613003"/>
              <a:gd name="connsiteY2068" fmla="*/ 4451619 h 6367505"/>
              <a:gd name="connsiteX2069" fmla="*/ 6330975 w 7613003"/>
              <a:gd name="connsiteY2069" fmla="*/ 4437531 h 6367505"/>
              <a:gd name="connsiteX2070" fmla="*/ 6387328 w 7613003"/>
              <a:gd name="connsiteY2070" fmla="*/ 4353007 h 6367505"/>
              <a:gd name="connsiteX2071" fmla="*/ 6401417 w 7613003"/>
              <a:gd name="connsiteY2071" fmla="*/ 4338920 h 6367505"/>
              <a:gd name="connsiteX2072" fmla="*/ 6443681 w 7613003"/>
              <a:gd name="connsiteY2072" fmla="*/ 4296657 h 6367505"/>
              <a:gd name="connsiteX2073" fmla="*/ 6457770 w 7613003"/>
              <a:gd name="connsiteY2073" fmla="*/ 4282570 h 6367505"/>
              <a:gd name="connsiteX2074" fmla="*/ 6457770 w 7613003"/>
              <a:gd name="connsiteY2074" fmla="*/ 4268482 h 6367505"/>
              <a:gd name="connsiteX2075" fmla="*/ 6514123 w 7613003"/>
              <a:gd name="connsiteY2075" fmla="*/ 4226221 h 6367505"/>
              <a:gd name="connsiteX2076" fmla="*/ 6514123 w 7613003"/>
              <a:gd name="connsiteY2076" fmla="*/ 4212133 h 6367505"/>
              <a:gd name="connsiteX2077" fmla="*/ 6542298 w 7613003"/>
              <a:gd name="connsiteY2077" fmla="*/ 4183958 h 6367505"/>
              <a:gd name="connsiteX2078" fmla="*/ 6556387 w 7613003"/>
              <a:gd name="connsiteY2078" fmla="*/ 4169871 h 6367505"/>
              <a:gd name="connsiteX2079" fmla="*/ 6598651 w 7613003"/>
              <a:gd name="connsiteY2079" fmla="*/ 4113521 h 6367505"/>
              <a:gd name="connsiteX2080" fmla="*/ 6612740 w 7613003"/>
              <a:gd name="connsiteY2080" fmla="*/ 4099433 h 6367505"/>
              <a:gd name="connsiteX2081" fmla="*/ 6640916 w 7613003"/>
              <a:gd name="connsiteY2081" fmla="*/ 4028997 h 6367505"/>
              <a:gd name="connsiteX2082" fmla="*/ 6683181 w 7613003"/>
              <a:gd name="connsiteY2082" fmla="*/ 3958560 h 6367505"/>
              <a:gd name="connsiteX2083" fmla="*/ 6697269 w 7613003"/>
              <a:gd name="connsiteY2083" fmla="*/ 3986735 h 6367505"/>
              <a:gd name="connsiteX2084" fmla="*/ 6683181 w 7613003"/>
              <a:gd name="connsiteY2084" fmla="*/ 4043084 h 6367505"/>
              <a:gd name="connsiteX2085" fmla="*/ 6683181 w 7613003"/>
              <a:gd name="connsiteY2085" fmla="*/ 4085346 h 6367505"/>
              <a:gd name="connsiteX2086" fmla="*/ 6683181 w 7613003"/>
              <a:gd name="connsiteY2086" fmla="*/ 4113521 h 6367505"/>
              <a:gd name="connsiteX2087" fmla="*/ 6640916 w 7613003"/>
              <a:gd name="connsiteY2087" fmla="*/ 4198046 h 6367505"/>
              <a:gd name="connsiteX2088" fmla="*/ 6640916 w 7613003"/>
              <a:gd name="connsiteY2088" fmla="*/ 4212133 h 6367505"/>
              <a:gd name="connsiteX2089" fmla="*/ 6612740 w 7613003"/>
              <a:gd name="connsiteY2089" fmla="*/ 4268482 h 6367505"/>
              <a:gd name="connsiteX2090" fmla="*/ 6584563 w 7613003"/>
              <a:gd name="connsiteY2090" fmla="*/ 4353007 h 6367505"/>
              <a:gd name="connsiteX2091" fmla="*/ 6528211 w 7613003"/>
              <a:gd name="connsiteY2091" fmla="*/ 4423444 h 6367505"/>
              <a:gd name="connsiteX2092" fmla="*/ 6471858 w 7613003"/>
              <a:gd name="connsiteY2092" fmla="*/ 4522056 h 6367505"/>
              <a:gd name="connsiteX2093" fmla="*/ 6443681 w 7613003"/>
              <a:gd name="connsiteY2093" fmla="*/ 4564318 h 6367505"/>
              <a:gd name="connsiteX2094" fmla="*/ 6401417 w 7613003"/>
              <a:gd name="connsiteY2094" fmla="*/ 4634755 h 6367505"/>
              <a:gd name="connsiteX2095" fmla="*/ 6373240 w 7613003"/>
              <a:gd name="connsiteY2095" fmla="*/ 4705192 h 6367505"/>
              <a:gd name="connsiteX2096" fmla="*/ 6330975 w 7613003"/>
              <a:gd name="connsiteY2096" fmla="*/ 4775629 h 6367505"/>
              <a:gd name="connsiteX2097" fmla="*/ 6288711 w 7613003"/>
              <a:gd name="connsiteY2097" fmla="*/ 4831978 h 6367505"/>
              <a:gd name="connsiteX2098" fmla="*/ 6274622 w 7613003"/>
              <a:gd name="connsiteY2098" fmla="*/ 4846067 h 6367505"/>
              <a:gd name="connsiteX2099" fmla="*/ 6246446 w 7613003"/>
              <a:gd name="connsiteY2099" fmla="*/ 4888329 h 6367505"/>
              <a:gd name="connsiteX2100" fmla="*/ 6232358 w 7613003"/>
              <a:gd name="connsiteY2100" fmla="*/ 4888329 h 6367505"/>
              <a:gd name="connsiteX2101" fmla="*/ 6232358 w 7613003"/>
              <a:gd name="connsiteY2101" fmla="*/ 4902416 h 6367505"/>
              <a:gd name="connsiteX2102" fmla="*/ 6218269 w 7613003"/>
              <a:gd name="connsiteY2102" fmla="*/ 4902416 h 6367505"/>
              <a:gd name="connsiteX2103" fmla="*/ 6161916 w 7613003"/>
              <a:gd name="connsiteY2103" fmla="*/ 4958765 h 6367505"/>
              <a:gd name="connsiteX2104" fmla="*/ 6147829 w 7613003"/>
              <a:gd name="connsiteY2104" fmla="*/ 4972852 h 6367505"/>
              <a:gd name="connsiteX2105" fmla="*/ 6119652 w 7613003"/>
              <a:gd name="connsiteY2105" fmla="*/ 4986940 h 6367505"/>
              <a:gd name="connsiteX2106" fmla="*/ 6077388 w 7613003"/>
              <a:gd name="connsiteY2106" fmla="*/ 5029203 h 6367505"/>
              <a:gd name="connsiteX2107" fmla="*/ 6035123 w 7613003"/>
              <a:gd name="connsiteY2107" fmla="*/ 5071465 h 6367505"/>
              <a:gd name="connsiteX2108" fmla="*/ 6049212 w 7613003"/>
              <a:gd name="connsiteY2108" fmla="*/ 5057378 h 6367505"/>
              <a:gd name="connsiteX2109" fmla="*/ 6063299 w 7613003"/>
              <a:gd name="connsiteY2109" fmla="*/ 5057378 h 6367505"/>
              <a:gd name="connsiteX2110" fmla="*/ 6119652 w 7613003"/>
              <a:gd name="connsiteY2110" fmla="*/ 5029203 h 6367505"/>
              <a:gd name="connsiteX2111" fmla="*/ 6133741 w 7613003"/>
              <a:gd name="connsiteY2111" fmla="*/ 5015114 h 6367505"/>
              <a:gd name="connsiteX2112" fmla="*/ 6161916 w 7613003"/>
              <a:gd name="connsiteY2112" fmla="*/ 4986940 h 6367505"/>
              <a:gd name="connsiteX2113" fmla="*/ 6204182 w 7613003"/>
              <a:gd name="connsiteY2113" fmla="*/ 4958765 h 6367505"/>
              <a:gd name="connsiteX2114" fmla="*/ 6218266 w 7613003"/>
              <a:gd name="connsiteY2114" fmla="*/ 4944683 h 6367505"/>
              <a:gd name="connsiteX2115" fmla="*/ 6191855 w 7613003"/>
              <a:gd name="connsiteY2115" fmla="*/ 4972852 h 6367505"/>
              <a:gd name="connsiteX2116" fmla="*/ 6176005 w 7613003"/>
              <a:gd name="connsiteY2116" fmla="*/ 5001027 h 6367505"/>
              <a:gd name="connsiteX2117" fmla="*/ 6190093 w 7613003"/>
              <a:gd name="connsiteY2117" fmla="*/ 4986940 h 6367505"/>
              <a:gd name="connsiteX2118" fmla="*/ 6204182 w 7613003"/>
              <a:gd name="connsiteY2118" fmla="*/ 4986940 h 6367505"/>
              <a:gd name="connsiteX2119" fmla="*/ 6218269 w 7613003"/>
              <a:gd name="connsiteY2119" fmla="*/ 4958765 h 6367505"/>
              <a:gd name="connsiteX2120" fmla="*/ 6302799 w 7613003"/>
              <a:gd name="connsiteY2120" fmla="*/ 4902416 h 6367505"/>
              <a:gd name="connsiteX2121" fmla="*/ 6345064 w 7613003"/>
              <a:gd name="connsiteY2121" fmla="*/ 4874241 h 6367505"/>
              <a:gd name="connsiteX2122" fmla="*/ 6373240 w 7613003"/>
              <a:gd name="connsiteY2122" fmla="*/ 4831978 h 6367505"/>
              <a:gd name="connsiteX2123" fmla="*/ 6415505 w 7613003"/>
              <a:gd name="connsiteY2123" fmla="*/ 4789716 h 6367505"/>
              <a:gd name="connsiteX2124" fmla="*/ 6457770 w 7613003"/>
              <a:gd name="connsiteY2124" fmla="*/ 4747454 h 6367505"/>
              <a:gd name="connsiteX2125" fmla="*/ 6514123 w 7613003"/>
              <a:gd name="connsiteY2125" fmla="*/ 4691105 h 6367505"/>
              <a:gd name="connsiteX2126" fmla="*/ 6528211 w 7613003"/>
              <a:gd name="connsiteY2126" fmla="*/ 4691105 h 6367505"/>
              <a:gd name="connsiteX2127" fmla="*/ 6584563 w 7613003"/>
              <a:gd name="connsiteY2127" fmla="*/ 4634755 h 6367505"/>
              <a:gd name="connsiteX2128" fmla="*/ 6655004 w 7613003"/>
              <a:gd name="connsiteY2128" fmla="*/ 4550231 h 6367505"/>
              <a:gd name="connsiteX2129" fmla="*/ 6683181 w 7613003"/>
              <a:gd name="connsiteY2129" fmla="*/ 4522056 h 6367505"/>
              <a:gd name="connsiteX2130" fmla="*/ 6683181 w 7613003"/>
              <a:gd name="connsiteY2130" fmla="*/ 4536144 h 6367505"/>
              <a:gd name="connsiteX2131" fmla="*/ 6669093 w 7613003"/>
              <a:gd name="connsiteY2131" fmla="*/ 4592493 h 6367505"/>
              <a:gd name="connsiteX2132" fmla="*/ 6669093 w 7613003"/>
              <a:gd name="connsiteY2132" fmla="*/ 4606580 h 6367505"/>
              <a:gd name="connsiteX2133" fmla="*/ 6640916 w 7613003"/>
              <a:gd name="connsiteY2133" fmla="*/ 4677018 h 6367505"/>
              <a:gd name="connsiteX2134" fmla="*/ 6514123 w 7613003"/>
              <a:gd name="connsiteY2134" fmla="*/ 4860154 h 6367505"/>
              <a:gd name="connsiteX2135" fmla="*/ 6401417 w 7613003"/>
              <a:gd name="connsiteY2135" fmla="*/ 4986940 h 6367505"/>
              <a:gd name="connsiteX2136" fmla="*/ 6359152 w 7613003"/>
              <a:gd name="connsiteY2136" fmla="*/ 5015114 h 6367505"/>
              <a:gd name="connsiteX2137" fmla="*/ 6330975 w 7613003"/>
              <a:gd name="connsiteY2137" fmla="*/ 5057378 h 6367505"/>
              <a:gd name="connsiteX2138" fmla="*/ 6274622 w 7613003"/>
              <a:gd name="connsiteY2138" fmla="*/ 5113727 h 6367505"/>
              <a:gd name="connsiteX2139" fmla="*/ 6147829 w 7613003"/>
              <a:gd name="connsiteY2139" fmla="*/ 5212339 h 6367505"/>
              <a:gd name="connsiteX2140" fmla="*/ 6063299 w 7613003"/>
              <a:gd name="connsiteY2140" fmla="*/ 5282776 h 6367505"/>
              <a:gd name="connsiteX2141" fmla="*/ 6063299 w 7613003"/>
              <a:gd name="connsiteY2141" fmla="*/ 5296863 h 6367505"/>
              <a:gd name="connsiteX2142" fmla="*/ 6190093 w 7613003"/>
              <a:gd name="connsiteY2142" fmla="*/ 5226426 h 6367505"/>
              <a:gd name="connsiteX2143" fmla="*/ 6218269 w 7613003"/>
              <a:gd name="connsiteY2143" fmla="*/ 5198252 h 6367505"/>
              <a:gd name="connsiteX2144" fmla="*/ 6220031 w 7613003"/>
              <a:gd name="connsiteY2144" fmla="*/ 5198252 h 6367505"/>
              <a:gd name="connsiteX2145" fmla="*/ 6228836 w 7613003"/>
              <a:gd name="connsiteY2145" fmla="*/ 5198252 h 6367505"/>
              <a:gd name="connsiteX2146" fmla="*/ 6232358 w 7613003"/>
              <a:gd name="connsiteY2146" fmla="*/ 5198252 h 6367505"/>
              <a:gd name="connsiteX2147" fmla="*/ 6330975 w 7613003"/>
              <a:gd name="connsiteY2147" fmla="*/ 5127814 h 6367505"/>
              <a:gd name="connsiteX2148" fmla="*/ 6429593 w 7613003"/>
              <a:gd name="connsiteY2148" fmla="*/ 5071465 h 6367505"/>
              <a:gd name="connsiteX2149" fmla="*/ 6443681 w 7613003"/>
              <a:gd name="connsiteY2149" fmla="*/ 5057378 h 6367505"/>
              <a:gd name="connsiteX2150" fmla="*/ 6500034 w 7613003"/>
              <a:gd name="connsiteY2150" fmla="*/ 5015114 h 6367505"/>
              <a:gd name="connsiteX2151" fmla="*/ 6556387 w 7613003"/>
              <a:gd name="connsiteY2151" fmla="*/ 5001027 h 6367505"/>
              <a:gd name="connsiteX2152" fmla="*/ 6542298 w 7613003"/>
              <a:gd name="connsiteY2152" fmla="*/ 5043290 h 6367505"/>
              <a:gd name="connsiteX2153" fmla="*/ 6500034 w 7613003"/>
              <a:gd name="connsiteY2153" fmla="*/ 5099639 h 6367505"/>
              <a:gd name="connsiteX2154" fmla="*/ 6514123 w 7613003"/>
              <a:gd name="connsiteY2154" fmla="*/ 5099639 h 6367505"/>
              <a:gd name="connsiteX2155" fmla="*/ 6514123 w 7613003"/>
              <a:gd name="connsiteY2155" fmla="*/ 5085552 h 6367505"/>
              <a:gd name="connsiteX2156" fmla="*/ 6528211 w 7613003"/>
              <a:gd name="connsiteY2156" fmla="*/ 5085552 h 6367505"/>
              <a:gd name="connsiteX2157" fmla="*/ 6542298 w 7613003"/>
              <a:gd name="connsiteY2157" fmla="*/ 5071465 h 6367505"/>
              <a:gd name="connsiteX2158" fmla="*/ 6584563 w 7613003"/>
              <a:gd name="connsiteY2158" fmla="*/ 5015114 h 6367505"/>
              <a:gd name="connsiteX2159" fmla="*/ 6598651 w 7613003"/>
              <a:gd name="connsiteY2159" fmla="*/ 5001027 h 6367505"/>
              <a:gd name="connsiteX2160" fmla="*/ 6598651 w 7613003"/>
              <a:gd name="connsiteY2160" fmla="*/ 4986940 h 6367505"/>
              <a:gd name="connsiteX2161" fmla="*/ 6612740 w 7613003"/>
              <a:gd name="connsiteY2161" fmla="*/ 4986940 h 6367505"/>
              <a:gd name="connsiteX2162" fmla="*/ 6612740 w 7613003"/>
              <a:gd name="connsiteY2162" fmla="*/ 4972852 h 6367505"/>
              <a:gd name="connsiteX2163" fmla="*/ 6626829 w 7613003"/>
              <a:gd name="connsiteY2163" fmla="*/ 4972852 h 6367505"/>
              <a:gd name="connsiteX2164" fmla="*/ 6626829 w 7613003"/>
              <a:gd name="connsiteY2164" fmla="*/ 4958765 h 6367505"/>
              <a:gd name="connsiteX2165" fmla="*/ 6626829 w 7613003"/>
              <a:gd name="connsiteY2165" fmla="*/ 4944678 h 6367505"/>
              <a:gd name="connsiteX2166" fmla="*/ 6630350 w 7613003"/>
              <a:gd name="connsiteY2166" fmla="*/ 4944678 h 6367505"/>
              <a:gd name="connsiteX2167" fmla="*/ 6633872 w 7613003"/>
              <a:gd name="connsiteY2167" fmla="*/ 4944678 h 6367505"/>
              <a:gd name="connsiteX2168" fmla="*/ 6640916 w 7613003"/>
              <a:gd name="connsiteY2168" fmla="*/ 4944678 h 6367505"/>
              <a:gd name="connsiteX2169" fmla="*/ 6640916 w 7613003"/>
              <a:gd name="connsiteY2169" fmla="*/ 4930591 h 6367505"/>
              <a:gd name="connsiteX2170" fmla="*/ 6655004 w 7613003"/>
              <a:gd name="connsiteY2170" fmla="*/ 4902416 h 6367505"/>
              <a:gd name="connsiteX2171" fmla="*/ 6669093 w 7613003"/>
              <a:gd name="connsiteY2171" fmla="*/ 4902416 h 6367505"/>
              <a:gd name="connsiteX2172" fmla="*/ 6683181 w 7613003"/>
              <a:gd name="connsiteY2172" fmla="*/ 4902416 h 6367505"/>
              <a:gd name="connsiteX2173" fmla="*/ 6711357 w 7613003"/>
              <a:gd name="connsiteY2173" fmla="*/ 4902416 h 6367505"/>
              <a:gd name="connsiteX2174" fmla="*/ 6725446 w 7613003"/>
              <a:gd name="connsiteY2174" fmla="*/ 4874241 h 6367505"/>
              <a:gd name="connsiteX2175" fmla="*/ 6809975 w 7613003"/>
              <a:gd name="connsiteY2175" fmla="*/ 4775629 h 6367505"/>
              <a:gd name="connsiteX2176" fmla="*/ 6824063 w 7613003"/>
              <a:gd name="connsiteY2176" fmla="*/ 4761542 h 6367505"/>
              <a:gd name="connsiteX2177" fmla="*/ 6809975 w 7613003"/>
              <a:gd name="connsiteY2177" fmla="*/ 4761542 h 6367505"/>
              <a:gd name="connsiteX2178" fmla="*/ 6838152 w 7613003"/>
              <a:gd name="connsiteY2178" fmla="*/ 4747454 h 6367505"/>
              <a:gd name="connsiteX2179" fmla="*/ 6908593 w 7613003"/>
              <a:gd name="connsiteY2179" fmla="*/ 4634755 h 6367505"/>
              <a:gd name="connsiteX2180" fmla="*/ 6922681 w 7613003"/>
              <a:gd name="connsiteY2180" fmla="*/ 4620667 h 6367505"/>
              <a:gd name="connsiteX2181" fmla="*/ 6936769 w 7613003"/>
              <a:gd name="connsiteY2181" fmla="*/ 4606580 h 6367505"/>
              <a:gd name="connsiteX2182" fmla="*/ 6950858 w 7613003"/>
              <a:gd name="connsiteY2182" fmla="*/ 4592493 h 6367505"/>
              <a:gd name="connsiteX2183" fmla="*/ 6964945 w 7613003"/>
              <a:gd name="connsiteY2183" fmla="*/ 4564318 h 6367505"/>
              <a:gd name="connsiteX2184" fmla="*/ 6993122 w 7613003"/>
              <a:gd name="connsiteY2184" fmla="*/ 4536144 h 6367505"/>
              <a:gd name="connsiteX2185" fmla="*/ 6993122 w 7613003"/>
              <a:gd name="connsiteY2185" fmla="*/ 4522056 h 6367505"/>
              <a:gd name="connsiteX2186" fmla="*/ 7007211 w 7613003"/>
              <a:gd name="connsiteY2186" fmla="*/ 4507969 h 6367505"/>
              <a:gd name="connsiteX2187" fmla="*/ 7035386 w 7613003"/>
              <a:gd name="connsiteY2187" fmla="*/ 4479793 h 6367505"/>
              <a:gd name="connsiteX2188" fmla="*/ 7063564 w 7613003"/>
              <a:gd name="connsiteY2188" fmla="*/ 4437531 h 6367505"/>
              <a:gd name="connsiteX2189" fmla="*/ 7091739 w 7613003"/>
              <a:gd name="connsiteY2189" fmla="*/ 4381182 h 6367505"/>
              <a:gd name="connsiteX2190" fmla="*/ 7091739 w 7613003"/>
              <a:gd name="connsiteY2190" fmla="*/ 4367095 h 6367505"/>
              <a:gd name="connsiteX2191" fmla="*/ 7148092 w 7613003"/>
              <a:gd name="connsiteY2191" fmla="*/ 4268482 h 6367505"/>
              <a:gd name="connsiteX2192" fmla="*/ 7148092 w 7613003"/>
              <a:gd name="connsiteY2192" fmla="*/ 4254395 h 6367505"/>
              <a:gd name="connsiteX2193" fmla="*/ 7162181 w 7613003"/>
              <a:gd name="connsiteY2193" fmla="*/ 4226221 h 6367505"/>
              <a:gd name="connsiteX2194" fmla="*/ 7204445 w 7613003"/>
              <a:gd name="connsiteY2194" fmla="*/ 4141697 h 6367505"/>
              <a:gd name="connsiteX2195" fmla="*/ 7218534 w 7613003"/>
              <a:gd name="connsiteY2195" fmla="*/ 4099433 h 6367505"/>
              <a:gd name="connsiteX2196" fmla="*/ 7260798 w 7613003"/>
              <a:gd name="connsiteY2196" fmla="*/ 3958560 h 6367505"/>
              <a:gd name="connsiteX2197" fmla="*/ 7274887 w 7613003"/>
              <a:gd name="connsiteY2197" fmla="*/ 3916297 h 6367505"/>
              <a:gd name="connsiteX2198" fmla="*/ 7288974 w 7613003"/>
              <a:gd name="connsiteY2198" fmla="*/ 3888123 h 6367505"/>
              <a:gd name="connsiteX2199" fmla="*/ 7317151 w 7613003"/>
              <a:gd name="connsiteY2199" fmla="*/ 3775423 h 6367505"/>
              <a:gd name="connsiteX2200" fmla="*/ 7345327 w 7613003"/>
              <a:gd name="connsiteY2200" fmla="*/ 3690899 h 6367505"/>
              <a:gd name="connsiteX2201" fmla="*/ 7359416 w 7613003"/>
              <a:gd name="connsiteY2201" fmla="*/ 3592287 h 6367505"/>
              <a:gd name="connsiteX2202" fmla="*/ 7373504 w 7613003"/>
              <a:gd name="connsiteY2202" fmla="*/ 3564112 h 6367505"/>
              <a:gd name="connsiteX2203" fmla="*/ 7387591 w 7613003"/>
              <a:gd name="connsiteY2203" fmla="*/ 3521850 h 6367505"/>
              <a:gd name="connsiteX2204" fmla="*/ 7387591 w 7613003"/>
              <a:gd name="connsiteY2204" fmla="*/ 3479588 h 6367505"/>
              <a:gd name="connsiteX2205" fmla="*/ 7401680 w 7613003"/>
              <a:gd name="connsiteY2205" fmla="*/ 3366889 h 6367505"/>
              <a:gd name="connsiteX2206" fmla="*/ 7401680 w 7613003"/>
              <a:gd name="connsiteY2206" fmla="*/ 3310540 h 6367505"/>
              <a:gd name="connsiteX2207" fmla="*/ 7415769 w 7613003"/>
              <a:gd name="connsiteY2207" fmla="*/ 3240102 h 6367505"/>
              <a:gd name="connsiteX2208" fmla="*/ 7429857 w 7613003"/>
              <a:gd name="connsiteY2208" fmla="*/ 3211927 h 6367505"/>
              <a:gd name="connsiteX2209" fmla="*/ 7443944 w 7613003"/>
              <a:gd name="connsiteY2209" fmla="*/ 3226015 h 6367505"/>
              <a:gd name="connsiteX2210" fmla="*/ 7443944 w 7613003"/>
              <a:gd name="connsiteY2210" fmla="*/ 3282365 h 6367505"/>
              <a:gd name="connsiteX2211" fmla="*/ 7443944 w 7613003"/>
              <a:gd name="connsiteY2211" fmla="*/ 3324627 h 6367505"/>
              <a:gd name="connsiteX2212" fmla="*/ 7443944 w 7613003"/>
              <a:gd name="connsiteY2212" fmla="*/ 3352801 h 6367505"/>
              <a:gd name="connsiteX2213" fmla="*/ 7458033 w 7613003"/>
              <a:gd name="connsiteY2213" fmla="*/ 3352801 h 6367505"/>
              <a:gd name="connsiteX2214" fmla="*/ 7472122 w 7613003"/>
              <a:gd name="connsiteY2214" fmla="*/ 3338714 h 6367505"/>
              <a:gd name="connsiteX2215" fmla="*/ 7500297 w 7613003"/>
              <a:gd name="connsiteY2215" fmla="*/ 3282365 h 6367505"/>
              <a:gd name="connsiteX2216" fmla="*/ 7514386 w 7613003"/>
              <a:gd name="connsiteY2216" fmla="*/ 3254190 h 6367505"/>
              <a:gd name="connsiteX2217" fmla="*/ 7514386 w 7613003"/>
              <a:gd name="connsiteY2217" fmla="*/ 3268278 h 6367505"/>
              <a:gd name="connsiteX2218" fmla="*/ 7514386 w 7613003"/>
              <a:gd name="connsiteY2218" fmla="*/ 3282365 h 6367505"/>
              <a:gd name="connsiteX2219" fmla="*/ 7542563 w 7613003"/>
              <a:gd name="connsiteY2219" fmla="*/ 3296452 h 6367505"/>
              <a:gd name="connsiteX2220" fmla="*/ 7570739 w 7613003"/>
              <a:gd name="connsiteY2220" fmla="*/ 3395063 h 6367505"/>
              <a:gd name="connsiteX2221" fmla="*/ 7584827 w 7613003"/>
              <a:gd name="connsiteY2221" fmla="*/ 3395063 h 6367505"/>
              <a:gd name="connsiteX2222" fmla="*/ 7598916 w 7613003"/>
              <a:gd name="connsiteY2222" fmla="*/ 3409151 h 6367505"/>
              <a:gd name="connsiteX2223" fmla="*/ 7598916 w 7613003"/>
              <a:gd name="connsiteY2223" fmla="*/ 3465501 h 6367505"/>
              <a:gd name="connsiteX2224" fmla="*/ 7613003 w 7613003"/>
              <a:gd name="connsiteY2224" fmla="*/ 3493676 h 6367505"/>
              <a:gd name="connsiteX2225" fmla="*/ 7613003 w 7613003"/>
              <a:gd name="connsiteY2225" fmla="*/ 3578200 h 6367505"/>
              <a:gd name="connsiteX2226" fmla="*/ 7613003 w 7613003"/>
              <a:gd name="connsiteY2226" fmla="*/ 3690899 h 6367505"/>
              <a:gd name="connsiteX2227" fmla="*/ 7613003 w 7613003"/>
              <a:gd name="connsiteY2227" fmla="*/ 3775423 h 6367505"/>
              <a:gd name="connsiteX2228" fmla="*/ 7613003 w 7613003"/>
              <a:gd name="connsiteY2228" fmla="*/ 3817686 h 6367505"/>
              <a:gd name="connsiteX2229" fmla="*/ 7598916 w 7613003"/>
              <a:gd name="connsiteY2229" fmla="*/ 3859948 h 6367505"/>
              <a:gd name="connsiteX2230" fmla="*/ 7598916 w 7613003"/>
              <a:gd name="connsiteY2230" fmla="*/ 3902210 h 6367505"/>
              <a:gd name="connsiteX2231" fmla="*/ 7598916 w 7613003"/>
              <a:gd name="connsiteY2231" fmla="*/ 3916297 h 6367505"/>
              <a:gd name="connsiteX2232" fmla="*/ 7598916 w 7613003"/>
              <a:gd name="connsiteY2232" fmla="*/ 3944472 h 6367505"/>
              <a:gd name="connsiteX2233" fmla="*/ 7584827 w 7613003"/>
              <a:gd name="connsiteY2233" fmla="*/ 4000822 h 6367505"/>
              <a:gd name="connsiteX2234" fmla="*/ 7542563 w 7613003"/>
              <a:gd name="connsiteY2234" fmla="*/ 4155784 h 6367505"/>
              <a:gd name="connsiteX2235" fmla="*/ 7514386 w 7613003"/>
              <a:gd name="connsiteY2235" fmla="*/ 4254395 h 6367505"/>
              <a:gd name="connsiteX2236" fmla="*/ 7514386 w 7613003"/>
              <a:gd name="connsiteY2236" fmla="*/ 4310744 h 6367505"/>
              <a:gd name="connsiteX2237" fmla="*/ 7500297 w 7613003"/>
              <a:gd name="connsiteY2237" fmla="*/ 4324833 h 6367505"/>
              <a:gd name="connsiteX2238" fmla="*/ 7514386 w 7613003"/>
              <a:gd name="connsiteY2238" fmla="*/ 4338920 h 6367505"/>
              <a:gd name="connsiteX2239" fmla="*/ 7486210 w 7613003"/>
              <a:gd name="connsiteY2239" fmla="*/ 4423444 h 6367505"/>
              <a:gd name="connsiteX2240" fmla="*/ 7443944 w 7613003"/>
              <a:gd name="connsiteY2240" fmla="*/ 4507969 h 6367505"/>
              <a:gd name="connsiteX2241" fmla="*/ 7429857 w 7613003"/>
              <a:gd name="connsiteY2241" fmla="*/ 4564318 h 6367505"/>
              <a:gd name="connsiteX2242" fmla="*/ 7373504 w 7613003"/>
              <a:gd name="connsiteY2242" fmla="*/ 4677018 h 6367505"/>
              <a:gd name="connsiteX2243" fmla="*/ 7359416 w 7613003"/>
              <a:gd name="connsiteY2243" fmla="*/ 4733367 h 6367505"/>
              <a:gd name="connsiteX2244" fmla="*/ 7345327 w 7613003"/>
              <a:gd name="connsiteY2244" fmla="*/ 4761542 h 6367505"/>
              <a:gd name="connsiteX2245" fmla="*/ 7303063 w 7613003"/>
              <a:gd name="connsiteY2245" fmla="*/ 4846067 h 6367505"/>
              <a:gd name="connsiteX2246" fmla="*/ 7303063 w 7613003"/>
              <a:gd name="connsiteY2246" fmla="*/ 4846067 h 6367505"/>
              <a:gd name="connsiteX2247" fmla="*/ 7345327 w 7613003"/>
              <a:gd name="connsiteY2247" fmla="*/ 4803804 h 6367505"/>
              <a:gd name="connsiteX2248" fmla="*/ 7373504 w 7613003"/>
              <a:gd name="connsiteY2248" fmla="*/ 4789716 h 6367505"/>
              <a:gd name="connsiteX2249" fmla="*/ 7345327 w 7613003"/>
              <a:gd name="connsiteY2249" fmla="*/ 4831978 h 6367505"/>
              <a:gd name="connsiteX2250" fmla="*/ 7317151 w 7613003"/>
              <a:gd name="connsiteY2250" fmla="*/ 4860154 h 6367505"/>
              <a:gd name="connsiteX2251" fmla="*/ 7288974 w 7613003"/>
              <a:gd name="connsiteY2251" fmla="*/ 4902416 h 6367505"/>
              <a:gd name="connsiteX2252" fmla="*/ 7246710 w 7613003"/>
              <a:gd name="connsiteY2252" fmla="*/ 4972852 h 6367505"/>
              <a:gd name="connsiteX2253" fmla="*/ 7218534 w 7613003"/>
              <a:gd name="connsiteY2253" fmla="*/ 5015114 h 6367505"/>
              <a:gd name="connsiteX2254" fmla="*/ 7190357 w 7613003"/>
              <a:gd name="connsiteY2254" fmla="*/ 5071465 h 6367505"/>
              <a:gd name="connsiteX2255" fmla="*/ 7162181 w 7613003"/>
              <a:gd name="connsiteY2255" fmla="*/ 5099639 h 6367505"/>
              <a:gd name="connsiteX2256" fmla="*/ 7134004 w 7613003"/>
              <a:gd name="connsiteY2256" fmla="*/ 5127814 h 6367505"/>
              <a:gd name="connsiteX2257" fmla="*/ 7119917 w 7613003"/>
              <a:gd name="connsiteY2257" fmla="*/ 5170076 h 6367505"/>
              <a:gd name="connsiteX2258" fmla="*/ 7105828 w 7613003"/>
              <a:gd name="connsiteY2258" fmla="*/ 5184163 h 6367505"/>
              <a:gd name="connsiteX2259" fmla="*/ 7119917 w 7613003"/>
              <a:gd name="connsiteY2259" fmla="*/ 5198252 h 6367505"/>
              <a:gd name="connsiteX2260" fmla="*/ 7134004 w 7613003"/>
              <a:gd name="connsiteY2260" fmla="*/ 5184163 h 6367505"/>
              <a:gd name="connsiteX2261" fmla="*/ 7162181 w 7613003"/>
              <a:gd name="connsiteY2261" fmla="*/ 5170076 h 6367505"/>
              <a:gd name="connsiteX2262" fmla="*/ 7134004 w 7613003"/>
              <a:gd name="connsiteY2262" fmla="*/ 5198252 h 6367505"/>
              <a:gd name="connsiteX2263" fmla="*/ 7148092 w 7613003"/>
              <a:gd name="connsiteY2263" fmla="*/ 5212339 h 6367505"/>
              <a:gd name="connsiteX2264" fmla="*/ 7190357 w 7613003"/>
              <a:gd name="connsiteY2264" fmla="*/ 5184163 h 6367505"/>
              <a:gd name="connsiteX2265" fmla="*/ 7303063 w 7613003"/>
              <a:gd name="connsiteY2265" fmla="*/ 5099639 h 6367505"/>
              <a:gd name="connsiteX2266" fmla="*/ 7317151 w 7613003"/>
              <a:gd name="connsiteY2266" fmla="*/ 5085552 h 6367505"/>
              <a:gd name="connsiteX2267" fmla="*/ 7303063 w 7613003"/>
              <a:gd name="connsiteY2267" fmla="*/ 5113727 h 6367505"/>
              <a:gd name="connsiteX2268" fmla="*/ 7218534 w 7613003"/>
              <a:gd name="connsiteY2268" fmla="*/ 5198252 h 6367505"/>
              <a:gd name="connsiteX2269" fmla="*/ 7218534 w 7613003"/>
              <a:gd name="connsiteY2269" fmla="*/ 5212339 h 6367505"/>
              <a:gd name="connsiteX2270" fmla="*/ 7204445 w 7613003"/>
              <a:gd name="connsiteY2270" fmla="*/ 5226426 h 6367505"/>
              <a:gd name="connsiteX2271" fmla="*/ 7190357 w 7613003"/>
              <a:gd name="connsiteY2271" fmla="*/ 5240514 h 6367505"/>
              <a:gd name="connsiteX2272" fmla="*/ 7176268 w 7613003"/>
              <a:gd name="connsiteY2272" fmla="*/ 5254601 h 6367505"/>
              <a:gd name="connsiteX2273" fmla="*/ 7134004 w 7613003"/>
              <a:gd name="connsiteY2273" fmla="*/ 5296863 h 6367505"/>
              <a:gd name="connsiteX2274" fmla="*/ 7077651 w 7613003"/>
              <a:gd name="connsiteY2274" fmla="*/ 5367301 h 6367505"/>
              <a:gd name="connsiteX2275" fmla="*/ 6936769 w 7613003"/>
              <a:gd name="connsiteY2275" fmla="*/ 5494086 h 6367505"/>
              <a:gd name="connsiteX2276" fmla="*/ 6908593 w 7613003"/>
              <a:gd name="connsiteY2276" fmla="*/ 5508174 h 6367505"/>
              <a:gd name="connsiteX2277" fmla="*/ 6894505 w 7613003"/>
              <a:gd name="connsiteY2277" fmla="*/ 5536349 h 6367505"/>
              <a:gd name="connsiteX2278" fmla="*/ 6908593 w 7613003"/>
              <a:gd name="connsiteY2278" fmla="*/ 5536349 h 6367505"/>
              <a:gd name="connsiteX2279" fmla="*/ 6922681 w 7613003"/>
              <a:gd name="connsiteY2279" fmla="*/ 5536349 h 6367505"/>
              <a:gd name="connsiteX2280" fmla="*/ 6950858 w 7613003"/>
              <a:gd name="connsiteY2280" fmla="*/ 5522261 h 6367505"/>
              <a:gd name="connsiteX2281" fmla="*/ 6964945 w 7613003"/>
              <a:gd name="connsiteY2281" fmla="*/ 5522261 h 6367505"/>
              <a:gd name="connsiteX2282" fmla="*/ 6936769 w 7613003"/>
              <a:gd name="connsiteY2282" fmla="*/ 5550437 h 6367505"/>
              <a:gd name="connsiteX2283" fmla="*/ 6894505 w 7613003"/>
              <a:gd name="connsiteY2283" fmla="*/ 5592699 h 6367505"/>
              <a:gd name="connsiteX2284" fmla="*/ 6852240 w 7613003"/>
              <a:gd name="connsiteY2284" fmla="*/ 5620873 h 6367505"/>
              <a:gd name="connsiteX2285" fmla="*/ 6753622 w 7613003"/>
              <a:gd name="connsiteY2285" fmla="*/ 5691310 h 6367505"/>
              <a:gd name="connsiteX2286" fmla="*/ 6725446 w 7613003"/>
              <a:gd name="connsiteY2286" fmla="*/ 5719486 h 6367505"/>
              <a:gd name="connsiteX2287" fmla="*/ 6626829 w 7613003"/>
              <a:gd name="connsiteY2287" fmla="*/ 5775835 h 6367505"/>
              <a:gd name="connsiteX2288" fmla="*/ 6626829 w 7613003"/>
              <a:gd name="connsiteY2288" fmla="*/ 5789922 h 6367505"/>
              <a:gd name="connsiteX2289" fmla="*/ 6612740 w 7613003"/>
              <a:gd name="connsiteY2289" fmla="*/ 5789922 h 6367505"/>
              <a:gd name="connsiteX2290" fmla="*/ 6598651 w 7613003"/>
              <a:gd name="connsiteY2290" fmla="*/ 5804009 h 6367505"/>
              <a:gd name="connsiteX2291" fmla="*/ 6584563 w 7613003"/>
              <a:gd name="connsiteY2291" fmla="*/ 5818097 h 6367505"/>
              <a:gd name="connsiteX2292" fmla="*/ 6570476 w 7613003"/>
              <a:gd name="connsiteY2292" fmla="*/ 5818097 h 6367505"/>
              <a:gd name="connsiteX2293" fmla="*/ 6570476 w 7613003"/>
              <a:gd name="connsiteY2293" fmla="*/ 5832184 h 6367505"/>
              <a:gd name="connsiteX2294" fmla="*/ 6528211 w 7613003"/>
              <a:gd name="connsiteY2294" fmla="*/ 5846271 h 6367505"/>
              <a:gd name="connsiteX2295" fmla="*/ 6500034 w 7613003"/>
              <a:gd name="connsiteY2295" fmla="*/ 5860359 h 6367505"/>
              <a:gd name="connsiteX2296" fmla="*/ 6485946 w 7613003"/>
              <a:gd name="connsiteY2296" fmla="*/ 5874446 h 6367505"/>
              <a:gd name="connsiteX2297" fmla="*/ 6429593 w 7613003"/>
              <a:gd name="connsiteY2297" fmla="*/ 5902622 h 6367505"/>
              <a:gd name="connsiteX2298" fmla="*/ 6415505 w 7613003"/>
              <a:gd name="connsiteY2298" fmla="*/ 5916709 h 6367505"/>
              <a:gd name="connsiteX2299" fmla="*/ 6387328 w 7613003"/>
              <a:gd name="connsiteY2299" fmla="*/ 5930796 h 6367505"/>
              <a:gd name="connsiteX2300" fmla="*/ 6373240 w 7613003"/>
              <a:gd name="connsiteY2300" fmla="*/ 5930796 h 6367505"/>
              <a:gd name="connsiteX2301" fmla="*/ 6359152 w 7613003"/>
              <a:gd name="connsiteY2301" fmla="*/ 5944884 h 6367505"/>
              <a:gd name="connsiteX2302" fmla="*/ 6345064 w 7613003"/>
              <a:gd name="connsiteY2302" fmla="*/ 5944884 h 6367505"/>
              <a:gd name="connsiteX2303" fmla="*/ 6330975 w 7613003"/>
              <a:gd name="connsiteY2303" fmla="*/ 5958971 h 6367505"/>
              <a:gd name="connsiteX2304" fmla="*/ 6316888 w 7613003"/>
              <a:gd name="connsiteY2304" fmla="*/ 5973058 h 6367505"/>
              <a:gd name="connsiteX2305" fmla="*/ 6288711 w 7613003"/>
              <a:gd name="connsiteY2305" fmla="*/ 5973058 h 6367505"/>
              <a:gd name="connsiteX2306" fmla="*/ 6260535 w 7613003"/>
              <a:gd name="connsiteY2306" fmla="*/ 5987146 h 6367505"/>
              <a:gd name="connsiteX2307" fmla="*/ 6232358 w 7613003"/>
              <a:gd name="connsiteY2307" fmla="*/ 6001233 h 6367505"/>
              <a:gd name="connsiteX2308" fmla="*/ 6218269 w 7613003"/>
              <a:gd name="connsiteY2308" fmla="*/ 6015320 h 6367505"/>
              <a:gd name="connsiteX2309" fmla="*/ 6204182 w 7613003"/>
              <a:gd name="connsiteY2309" fmla="*/ 6015320 h 6367505"/>
              <a:gd name="connsiteX2310" fmla="*/ 6176005 w 7613003"/>
              <a:gd name="connsiteY2310" fmla="*/ 6029408 h 6367505"/>
              <a:gd name="connsiteX2311" fmla="*/ 6147829 w 7613003"/>
              <a:gd name="connsiteY2311" fmla="*/ 6043495 h 6367505"/>
              <a:gd name="connsiteX2312" fmla="*/ 6105565 w 7613003"/>
              <a:gd name="connsiteY2312" fmla="*/ 6071671 h 6367505"/>
              <a:gd name="connsiteX2313" fmla="*/ 6077388 w 7613003"/>
              <a:gd name="connsiteY2313" fmla="*/ 6085758 h 6367505"/>
              <a:gd name="connsiteX2314" fmla="*/ 6035123 w 7613003"/>
              <a:gd name="connsiteY2314" fmla="*/ 6113933 h 6367505"/>
              <a:gd name="connsiteX2315" fmla="*/ 6006946 w 7613003"/>
              <a:gd name="connsiteY2315" fmla="*/ 6128020 h 6367505"/>
              <a:gd name="connsiteX2316" fmla="*/ 5992859 w 7613003"/>
              <a:gd name="connsiteY2316" fmla="*/ 6128020 h 6367505"/>
              <a:gd name="connsiteX2317" fmla="*/ 5964682 w 7613003"/>
              <a:gd name="connsiteY2317" fmla="*/ 6142107 h 6367505"/>
              <a:gd name="connsiteX2318" fmla="*/ 5950593 w 7613003"/>
              <a:gd name="connsiteY2318" fmla="*/ 6156194 h 6367505"/>
              <a:gd name="connsiteX2319" fmla="*/ 5922417 w 7613003"/>
              <a:gd name="connsiteY2319" fmla="*/ 6156194 h 6367505"/>
              <a:gd name="connsiteX2320" fmla="*/ 5880153 w 7613003"/>
              <a:gd name="connsiteY2320" fmla="*/ 6184369 h 6367505"/>
              <a:gd name="connsiteX2321" fmla="*/ 5612477 w 7613003"/>
              <a:gd name="connsiteY2321" fmla="*/ 6254807 h 6367505"/>
              <a:gd name="connsiteX2322" fmla="*/ 5471594 w 7613003"/>
              <a:gd name="connsiteY2322" fmla="*/ 6282981 h 6367505"/>
              <a:gd name="connsiteX2323" fmla="*/ 5344800 w 7613003"/>
              <a:gd name="connsiteY2323" fmla="*/ 6311156 h 6367505"/>
              <a:gd name="connsiteX2324" fmla="*/ 5556124 w 7613003"/>
              <a:gd name="connsiteY2324" fmla="*/ 6297069 h 6367505"/>
              <a:gd name="connsiteX2325" fmla="*/ 5564929 w 7613003"/>
              <a:gd name="connsiteY2325" fmla="*/ 6297069 h 6367505"/>
              <a:gd name="connsiteX2326" fmla="*/ 5570212 w 7613003"/>
              <a:gd name="connsiteY2326" fmla="*/ 6297069 h 6367505"/>
              <a:gd name="connsiteX2327" fmla="*/ 5584299 w 7613003"/>
              <a:gd name="connsiteY2327" fmla="*/ 6297069 h 6367505"/>
              <a:gd name="connsiteX2328" fmla="*/ 5570212 w 7613003"/>
              <a:gd name="connsiteY2328" fmla="*/ 6311156 h 6367505"/>
              <a:gd name="connsiteX2329" fmla="*/ 5485682 w 7613003"/>
              <a:gd name="connsiteY2329" fmla="*/ 6325243 h 6367505"/>
              <a:gd name="connsiteX2330" fmla="*/ 5372976 w 7613003"/>
              <a:gd name="connsiteY2330" fmla="*/ 6339331 h 6367505"/>
              <a:gd name="connsiteX2331" fmla="*/ 5330712 w 7613003"/>
              <a:gd name="connsiteY2331" fmla="*/ 6353418 h 6367505"/>
              <a:gd name="connsiteX2332" fmla="*/ 5260270 w 7613003"/>
              <a:gd name="connsiteY2332" fmla="*/ 6353418 h 6367505"/>
              <a:gd name="connsiteX2333" fmla="*/ 5203919 w 7613003"/>
              <a:gd name="connsiteY2333" fmla="*/ 6367505 h 6367505"/>
              <a:gd name="connsiteX2334" fmla="*/ 5175742 w 7613003"/>
              <a:gd name="connsiteY2334" fmla="*/ 6367505 h 6367505"/>
              <a:gd name="connsiteX2335" fmla="*/ 5175742 w 7613003"/>
              <a:gd name="connsiteY2335" fmla="*/ 6353418 h 6367505"/>
              <a:gd name="connsiteX2336" fmla="*/ 5161654 w 7613003"/>
              <a:gd name="connsiteY2336" fmla="*/ 6353418 h 6367505"/>
              <a:gd name="connsiteX2337" fmla="*/ 5119389 w 7613003"/>
              <a:gd name="connsiteY2337" fmla="*/ 6353418 h 6367505"/>
              <a:gd name="connsiteX2338" fmla="*/ 5091213 w 7613003"/>
              <a:gd name="connsiteY2338" fmla="*/ 6353418 h 6367505"/>
              <a:gd name="connsiteX2339" fmla="*/ 5020771 w 7613003"/>
              <a:gd name="connsiteY2339" fmla="*/ 6367505 h 6367505"/>
              <a:gd name="connsiteX2340" fmla="*/ 4992595 w 7613003"/>
              <a:gd name="connsiteY2340" fmla="*/ 6367505 h 6367505"/>
              <a:gd name="connsiteX2341" fmla="*/ 4964418 w 7613003"/>
              <a:gd name="connsiteY2341" fmla="*/ 6367505 h 6367505"/>
              <a:gd name="connsiteX2342" fmla="*/ 4908065 w 7613003"/>
              <a:gd name="connsiteY2342" fmla="*/ 6367505 h 6367505"/>
              <a:gd name="connsiteX2343" fmla="*/ 4879889 w 7613003"/>
              <a:gd name="connsiteY2343" fmla="*/ 6353418 h 6367505"/>
              <a:gd name="connsiteX2344" fmla="*/ 4851712 w 7613003"/>
              <a:gd name="connsiteY2344" fmla="*/ 6353418 h 6367505"/>
              <a:gd name="connsiteX2345" fmla="*/ 4739006 w 7613003"/>
              <a:gd name="connsiteY2345" fmla="*/ 6367505 h 6367505"/>
              <a:gd name="connsiteX2346" fmla="*/ 4612213 w 7613003"/>
              <a:gd name="connsiteY2346" fmla="*/ 6353418 h 6367505"/>
              <a:gd name="connsiteX2347" fmla="*/ 4569949 w 7613003"/>
              <a:gd name="connsiteY2347" fmla="*/ 6353418 h 6367505"/>
              <a:gd name="connsiteX2348" fmla="*/ 4555860 w 7613003"/>
              <a:gd name="connsiteY2348" fmla="*/ 6353418 h 6367505"/>
              <a:gd name="connsiteX2349" fmla="*/ 4499507 w 7613003"/>
              <a:gd name="connsiteY2349" fmla="*/ 6339331 h 6367505"/>
              <a:gd name="connsiteX2350" fmla="*/ 4274096 w 7613003"/>
              <a:gd name="connsiteY2350" fmla="*/ 6311156 h 6367505"/>
              <a:gd name="connsiteX2351" fmla="*/ 4245920 w 7613003"/>
              <a:gd name="connsiteY2351" fmla="*/ 6297069 h 6367505"/>
              <a:gd name="connsiteX2352" fmla="*/ 4189567 w 7613003"/>
              <a:gd name="connsiteY2352" fmla="*/ 6282981 h 6367505"/>
              <a:gd name="connsiteX2353" fmla="*/ 4189567 w 7613003"/>
              <a:gd name="connsiteY2353" fmla="*/ 6297069 h 6367505"/>
              <a:gd name="connsiteX2354" fmla="*/ 4175478 w 7613003"/>
              <a:gd name="connsiteY2354" fmla="*/ 6297069 h 6367505"/>
              <a:gd name="connsiteX2355" fmla="*/ 4090949 w 7613003"/>
              <a:gd name="connsiteY2355" fmla="*/ 6268894 h 6367505"/>
              <a:gd name="connsiteX2356" fmla="*/ 4034596 w 7613003"/>
              <a:gd name="connsiteY2356" fmla="*/ 6268894 h 6367505"/>
              <a:gd name="connsiteX2357" fmla="*/ 3997912 w 7613003"/>
              <a:gd name="connsiteY2357" fmla="*/ 6253716 h 6367505"/>
              <a:gd name="connsiteX2358" fmla="*/ 3993227 w 7613003"/>
              <a:gd name="connsiteY2358" fmla="*/ 6254807 h 6367505"/>
              <a:gd name="connsiteX2359" fmla="*/ 3852344 w 7613003"/>
              <a:gd name="connsiteY2359" fmla="*/ 6282981 h 6367505"/>
              <a:gd name="connsiteX2360" fmla="*/ 3725550 w 7613003"/>
              <a:gd name="connsiteY2360" fmla="*/ 6311156 h 6367505"/>
              <a:gd name="connsiteX2361" fmla="*/ 3936874 w 7613003"/>
              <a:gd name="connsiteY2361" fmla="*/ 6297069 h 6367505"/>
              <a:gd name="connsiteX2362" fmla="*/ 3945679 w 7613003"/>
              <a:gd name="connsiteY2362" fmla="*/ 6297069 h 6367505"/>
              <a:gd name="connsiteX2363" fmla="*/ 3950962 w 7613003"/>
              <a:gd name="connsiteY2363" fmla="*/ 6297069 h 6367505"/>
              <a:gd name="connsiteX2364" fmla="*/ 3965049 w 7613003"/>
              <a:gd name="connsiteY2364" fmla="*/ 6297069 h 6367505"/>
              <a:gd name="connsiteX2365" fmla="*/ 3950962 w 7613003"/>
              <a:gd name="connsiteY2365" fmla="*/ 6311156 h 6367505"/>
              <a:gd name="connsiteX2366" fmla="*/ 3866432 w 7613003"/>
              <a:gd name="connsiteY2366" fmla="*/ 6325243 h 6367505"/>
              <a:gd name="connsiteX2367" fmla="*/ 3753726 w 7613003"/>
              <a:gd name="connsiteY2367" fmla="*/ 6339331 h 6367505"/>
              <a:gd name="connsiteX2368" fmla="*/ 3711462 w 7613003"/>
              <a:gd name="connsiteY2368" fmla="*/ 6353418 h 6367505"/>
              <a:gd name="connsiteX2369" fmla="*/ 3641020 w 7613003"/>
              <a:gd name="connsiteY2369" fmla="*/ 6353418 h 6367505"/>
              <a:gd name="connsiteX2370" fmla="*/ 3584669 w 7613003"/>
              <a:gd name="connsiteY2370" fmla="*/ 6367505 h 6367505"/>
              <a:gd name="connsiteX2371" fmla="*/ 3556492 w 7613003"/>
              <a:gd name="connsiteY2371" fmla="*/ 6367505 h 6367505"/>
              <a:gd name="connsiteX2372" fmla="*/ 3556492 w 7613003"/>
              <a:gd name="connsiteY2372" fmla="*/ 6353418 h 6367505"/>
              <a:gd name="connsiteX2373" fmla="*/ 3542404 w 7613003"/>
              <a:gd name="connsiteY2373" fmla="*/ 6353418 h 6367505"/>
              <a:gd name="connsiteX2374" fmla="*/ 3500139 w 7613003"/>
              <a:gd name="connsiteY2374" fmla="*/ 6353418 h 6367505"/>
              <a:gd name="connsiteX2375" fmla="*/ 3471963 w 7613003"/>
              <a:gd name="connsiteY2375" fmla="*/ 6353418 h 6367505"/>
              <a:gd name="connsiteX2376" fmla="*/ 3401521 w 7613003"/>
              <a:gd name="connsiteY2376" fmla="*/ 6367505 h 6367505"/>
              <a:gd name="connsiteX2377" fmla="*/ 3373345 w 7613003"/>
              <a:gd name="connsiteY2377" fmla="*/ 6367505 h 6367505"/>
              <a:gd name="connsiteX2378" fmla="*/ 3345168 w 7613003"/>
              <a:gd name="connsiteY2378" fmla="*/ 6367505 h 6367505"/>
              <a:gd name="connsiteX2379" fmla="*/ 3288816 w 7613003"/>
              <a:gd name="connsiteY2379" fmla="*/ 6367505 h 6367505"/>
              <a:gd name="connsiteX2380" fmla="*/ 3260639 w 7613003"/>
              <a:gd name="connsiteY2380" fmla="*/ 6353418 h 6367505"/>
              <a:gd name="connsiteX2381" fmla="*/ 3232462 w 7613003"/>
              <a:gd name="connsiteY2381" fmla="*/ 6353418 h 6367505"/>
              <a:gd name="connsiteX2382" fmla="*/ 3119756 w 7613003"/>
              <a:gd name="connsiteY2382" fmla="*/ 6367505 h 6367505"/>
              <a:gd name="connsiteX2383" fmla="*/ 2992963 w 7613003"/>
              <a:gd name="connsiteY2383" fmla="*/ 6353418 h 6367505"/>
              <a:gd name="connsiteX2384" fmla="*/ 2950699 w 7613003"/>
              <a:gd name="connsiteY2384" fmla="*/ 6353418 h 6367505"/>
              <a:gd name="connsiteX2385" fmla="*/ 2936611 w 7613003"/>
              <a:gd name="connsiteY2385" fmla="*/ 6353418 h 6367505"/>
              <a:gd name="connsiteX2386" fmla="*/ 2880257 w 7613003"/>
              <a:gd name="connsiteY2386" fmla="*/ 6339331 h 6367505"/>
              <a:gd name="connsiteX2387" fmla="*/ 2654846 w 7613003"/>
              <a:gd name="connsiteY2387" fmla="*/ 6311156 h 6367505"/>
              <a:gd name="connsiteX2388" fmla="*/ 2626670 w 7613003"/>
              <a:gd name="connsiteY2388" fmla="*/ 6297069 h 6367505"/>
              <a:gd name="connsiteX2389" fmla="*/ 2570317 w 7613003"/>
              <a:gd name="connsiteY2389" fmla="*/ 6282981 h 6367505"/>
              <a:gd name="connsiteX2390" fmla="*/ 2570317 w 7613003"/>
              <a:gd name="connsiteY2390" fmla="*/ 6297069 h 6367505"/>
              <a:gd name="connsiteX2391" fmla="*/ 2556228 w 7613003"/>
              <a:gd name="connsiteY2391" fmla="*/ 6297069 h 6367505"/>
              <a:gd name="connsiteX2392" fmla="*/ 2471699 w 7613003"/>
              <a:gd name="connsiteY2392" fmla="*/ 6268894 h 6367505"/>
              <a:gd name="connsiteX2393" fmla="*/ 2415347 w 7613003"/>
              <a:gd name="connsiteY2393" fmla="*/ 6268894 h 6367505"/>
              <a:gd name="connsiteX2394" fmla="*/ 2302641 w 7613003"/>
              <a:gd name="connsiteY2394" fmla="*/ 6226631 h 6367505"/>
              <a:gd name="connsiteX2395" fmla="*/ 2288552 w 7613003"/>
              <a:gd name="connsiteY2395" fmla="*/ 6226631 h 6367505"/>
              <a:gd name="connsiteX2396" fmla="*/ 2260376 w 7613003"/>
              <a:gd name="connsiteY2396" fmla="*/ 6212544 h 6367505"/>
              <a:gd name="connsiteX2397" fmla="*/ 2204023 w 7613003"/>
              <a:gd name="connsiteY2397" fmla="*/ 6198456 h 6367505"/>
              <a:gd name="connsiteX2398" fmla="*/ 2175846 w 7613003"/>
              <a:gd name="connsiteY2398" fmla="*/ 6184369 h 6367505"/>
              <a:gd name="connsiteX2399" fmla="*/ 2161758 w 7613003"/>
              <a:gd name="connsiteY2399" fmla="*/ 6184369 h 6367505"/>
              <a:gd name="connsiteX2400" fmla="*/ 2049053 w 7613003"/>
              <a:gd name="connsiteY2400" fmla="*/ 6142107 h 6367505"/>
              <a:gd name="connsiteX2401" fmla="*/ 2034965 w 7613003"/>
              <a:gd name="connsiteY2401" fmla="*/ 6142107 h 6367505"/>
              <a:gd name="connsiteX2402" fmla="*/ 1950434 w 7613003"/>
              <a:gd name="connsiteY2402" fmla="*/ 6099845 h 6367505"/>
              <a:gd name="connsiteX2403" fmla="*/ 1865906 w 7613003"/>
              <a:gd name="connsiteY2403" fmla="*/ 6057582 h 6367505"/>
              <a:gd name="connsiteX2404" fmla="*/ 1851817 w 7613003"/>
              <a:gd name="connsiteY2404" fmla="*/ 6057582 h 6367505"/>
              <a:gd name="connsiteX2405" fmla="*/ 1753200 w 7613003"/>
              <a:gd name="connsiteY2405" fmla="*/ 6015320 h 6367505"/>
              <a:gd name="connsiteX2406" fmla="*/ 1725024 w 7613003"/>
              <a:gd name="connsiteY2406" fmla="*/ 6001233 h 6367505"/>
              <a:gd name="connsiteX2407" fmla="*/ 1555965 w 7613003"/>
              <a:gd name="connsiteY2407" fmla="*/ 5902622 h 6367505"/>
              <a:gd name="connsiteX2408" fmla="*/ 1485523 w 7613003"/>
              <a:gd name="connsiteY2408" fmla="*/ 5874446 h 6367505"/>
              <a:gd name="connsiteX2409" fmla="*/ 1429170 w 7613003"/>
              <a:gd name="connsiteY2409" fmla="*/ 5832184 h 6367505"/>
              <a:gd name="connsiteX2410" fmla="*/ 1358729 w 7613003"/>
              <a:gd name="connsiteY2410" fmla="*/ 5775835 h 6367505"/>
              <a:gd name="connsiteX2411" fmla="*/ 1330553 w 7613003"/>
              <a:gd name="connsiteY2411" fmla="*/ 5761748 h 6367505"/>
              <a:gd name="connsiteX2412" fmla="*/ 1147407 w 7613003"/>
              <a:gd name="connsiteY2412" fmla="*/ 5606786 h 6367505"/>
              <a:gd name="connsiteX2413" fmla="*/ 1119230 w 7613003"/>
              <a:gd name="connsiteY2413" fmla="*/ 5578611 h 6367505"/>
              <a:gd name="connsiteX2414" fmla="*/ 1119230 w 7613003"/>
              <a:gd name="connsiteY2414" fmla="*/ 5564524 h 6367505"/>
              <a:gd name="connsiteX2415" fmla="*/ 1105141 w 7613003"/>
              <a:gd name="connsiteY2415" fmla="*/ 5564524 h 6367505"/>
              <a:gd name="connsiteX2416" fmla="*/ 1076965 w 7613003"/>
              <a:gd name="connsiteY2416" fmla="*/ 5536349 h 6367505"/>
              <a:gd name="connsiteX2417" fmla="*/ 1034701 w 7613003"/>
              <a:gd name="connsiteY2417" fmla="*/ 5494086 h 6367505"/>
              <a:gd name="connsiteX2418" fmla="*/ 978348 w 7613003"/>
              <a:gd name="connsiteY2418" fmla="*/ 5437737 h 6367505"/>
              <a:gd name="connsiteX2419" fmla="*/ 936082 w 7613003"/>
              <a:gd name="connsiteY2419" fmla="*/ 5395475 h 6367505"/>
              <a:gd name="connsiteX2420" fmla="*/ 865642 w 7613003"/>
              <a:gd name="connsiteY2420" fmla="*/ 5310950 h 6367505"/>
              <a:gd name="connsiteX2421" fmla="*/ 781112 w 7613003"/>
              <a:gd name="connsiteY2421" fmla="*/ 5198252 h 6367505"/>
              <a:gd name="connsiteX2422" fmla="*/ 767025 w 7613003"/>
              <a:gd name="connsiteY2422" fmla="*/ 5184163 h 6367505"/>
              <a:gd name="connsiteX2423" fmla="*/ 654319 w 7613003"/>
              <a:gd name="connsiteY2423" fmla="*/ 5057378 h 6367505"/>
              <a:gd name="connsiteX2424" fmla="*/ 640230 w 7613003"/>
              <a:gd name="connsiteY2424" fmla="*/ 5029203 h 6367505"/>
              <a:gd name="connsiteX2425" fmla="*/ 583877 w 7613003"/>
              <a:gd name="connsiteY2425" fmla="*/ 4958765 h 6367505"/>
              <a:gd name="connsiteX2426" fmla="*/ 569789 w 7613003"/>
              <a:gd name="connsiteY2426" fmla="*/ 4930591 h 6367505"/>
              <a:gd name="connsiteX2427" fmla="*/ 555702 w 7613003"/>
              <a:gd name="connsiteY2427" fmla="*/ 4902416 h 6367505"/>
              <a:gd name="connsiteX2428" fmla="*/ 485260 w 7613003"/>
              <a:gd name="connsiteY2428" fmla="*/ 4817891 h 6367505"/>
              <a:gd name="connsiteX2429" fmla="*/ 485260 w 7613003"/>
              <a:gd name="connsiteY2429" fmla="*/ 4803804 h 6367505"/>
              <a:gd name="connsiteX2430" fmla="*/ 457083 w 7613003"/>
              <a:gd name="connsiteY2430" fmla="*/ 4761542 h 6367505"/>
              <a:gd name="connsiteX2431" fmla="*/ 414819 w 7613003"/>
              <a:gd name="connsiteY2431" fmla="*/ 4705192 h 6367505"/>
              <a:gd name="connsiteX2432" fmla="*/ 400731 w 7613003"/>
              <a:gd name="connsiteY2432" fmla="*/ 4662929 h 6367505"/>
              <a:gd name="connsiteX2433" fmla="*/ 386643 w 7613003"/>
              <a:gd name="connsiteY2433" fmla="*/ 4662929 h 6367505"/>
              <a:gd name="connsiteX2434" fmla="*/ 386643 w 7613003"/>
              <a:gd name="connsiteY2434" fmla="*/ 4634755 h 6367505"/>
              <a:gd name="connsiteX2435" fmla="*/ 344378 w 7613003"/>
              <a:gd name="connsiteY2435" fmla="*/ 4564318 h 6367505"/>
              <a:gd name="connsiteX2436" fmla="*/ 316201 w 7613003"/>
              <a:gd name="connsiteY2436" fmla="*/ 4493882 h 6367505"/>
              <a:gd name="connsiteX2437" fmla="*/ 302113 w 7613003"/>
              <a:gd name="connsiteY2437" fmla="*/ 4493882 h 6367505"/>
              <a:gd name="connsiteX2438" fmla="*/ 302113 w 7613003"/>
              <a:gd name="connsiteY2438" fmla="*/ 4465706 h 6367505"/>
              <a:gd name="connsiteX2439" fmla="*/ 288025 w 7613003"/>
              <a:gd name="connsiteY2439" fmla="*/ 4423444 h 6367505"/>
              <a:gd name="connsiteX2440" fmla="*/ 330290 w 7613003"/>
              <a:gd name="connsiteY2440" fmla="*/ 4493882 h 6367505"/>
              <a:gd name="connsiteX2441" fmla="*/ 330290 w 7613003"/>
              <a:gd name="connsiteY2441" fmla="*/ 4507969 h 6367505"/>
              <a:gd name="connsiteX2442" fmla="*/ 344378 w 7613003"/>
              <a:gd name="connsiteY2442" fmla="*/ 4536144 h 6367505"/>
              <a:gd name="connsiteX2443" fmla="*/ 372554 w 7613003"/>
              <a:gd name="connsiteY2443" fmla="*/ 4578406 h 6367505"/>
              <a:gd name="connsiteX2444" fmla="*/ 372554 w 7613003"/>
              <a:gd name="connsiteY2444" fmla="*/ 4592493 h 6367505"/>
              <a:gd name="connsiteX2445" fmla="*/ 372554 w 7613003"/>
              <a:gd name="connsiteY2445" fmla="*/ 4564318 h 6367505"/>
              <a:gd name="connsiteX2446" fmla="*/ 366611 w 7613003"/>
              <a:gd name="connsiteY2446" fmla="*/ 4546489 h 6367505"/>
              <a:gd name="connsiteX2447" fmla="*/ 363538 w 7613003"/>
              <a:gd name="connsiteY2447" fmla="*/ 4537272 h 6367505"/>
              <a:gd name="connsiteX2448" fmla="*/ 372554 w 7613003"/>
              <a:gd name="connsiteY2448" fmla="*/ 4550231 h 6367505"/>
              <a:gd name="connsiteX2449" fmla="*/ 414819 w 7613003"/>
              <a:gd name="connsiteY2449" fmla="*/ 4634755 h 6367505"/>
              <a:gd name="connsiteX2450" fmla="*/ 428907 w 7613003"/>
              <a:gd name="connsiteY2450" fmla="*/ 4648842 h 6367505"/>
              <a:gd name="connsiteX2451" fmla="*/ 457083 w 7613003"/>
              <a:gd name="connsiteY2451" fmla="*/ 4705192 h 6367505"/>
              <a:gd name="connsiteX2452" fmla="*/ 457083 w 7613003"/>
              <a:gd name="connsiteY2452" fmla="*/ 4719280 h 6367505"/>
              <a:gd name="connsiteX2453" fmla="*/ 464128 w 7613003"/>
              <a:gd name="connsiteY2453" fmla="*/ 4712236 h 6367505"/>
              <a:gd name="connsiteX2454" fmla="*/ 467330 w 7613003"/>
              <a:gd name="connsiteY2454" fmla="*/ 4709034 h 6367505"/>
              <a:gd name="connsiteX2455" fmla="*/ 471171 w 7613003"/>
              <a:gd name="connsiteY2455" fmla="*/ 4719280 h 6367505"/>
              <a:gd name="connsiteX2456" fmla="*/ 471171 w 7613003"/>
              <a:gd name="connsiteY2456" fmla="*/ 4705192 h 6367505"/>
              <a:gd name="connsiteX2457" fmla="*/ 467330 w 7613003"/>
              <a:gd name="connsiteY2457" fmla="*/ 4709034 h 6367505"/>
              <a:gd name="connsiteX2458" fmla="*/ 450039 w 7613003"/>
              <a:gd name="connsiteY2458" fmla="*/ 4662931 h 6367505"/>
              <a:gd name="connsiteX2459" fmla="*/ 428907 w 7613003"/>
              <a:gd name="connsiteY2459" fmla="*/ 4606580 h 6367505"/>
              <a:gd name="connsiteX2460" fmla="*/ 414819 w 7613003"/>
              <a:gd name="connsiteY2460" fmla="*/ 4578406 h 6367505"/>
              <a:gd name="connsiteX2461" fmla="*/ 386643 w 7613003"/>
              <a:gd name="connsiteY2461" fmla="*/ 4522056 h 6367505"/>
              <a:gd name="connsiteX2462" fmla="*/ 358466 w 7613003"/>
              <a:gd name="connsiteY2462" fmla="*/ 4479793 h 6367505"/>
              <a:gd name="connsiteX2463" fmla="*/ 344378 w 7613003"/>
              <a:gd name="connsiteY2463" fmla="*/ 4451619 h 6367505"/>
              <a:gd name="connsiteX2464" fmla="*/ 316201 w 7613003"/>
              <a:gd name="connsiteY2464" fmla="*/ 4381182 h 6367505"/>
              <a:gd name="connsiteX2465" fmla="*/ 288025 w 7613003"/>
              <a:gd name="connsiteY2465" fmla="*/ 4338920 h 6367505"/>
              <a:gd name="connsiteX2466" fmla="*/ 288025 w 7613003"/>
              <a:gd name="connsiteY2466" fmla="*/ 4310744 h 6367505"/>
              <a:gd name="connsiteX2467" fmla="*/ 273937 w 7613003"/>
              <a:gd name="connsiteY2467" fmla="*/ 4296657 h 6367505"/>
              <a:gd name="connsiteX2468" fmla="*/ 259848 w 7613003"/>
              <a:gd name="connsiteY2468" fmla="*/ 4254395 h 6367505"/>
              <a:gd name="connsiteX2469" fmla="*/ 273937 w 7613003"/>
              <a:gd name="connsiteY2469" fmla="*/ 4310744 h 6367505"/>
              <a:gd name="connsiteX2470" fmla="*/ 259848 w 7613003"/>
              <a:gd name="connsiteY2470" fmla="*/ 4268482 h 6367505"/>
              <a:gd name="connsiteX2471" fmla="*/ 245761 w 7613003"/>
              <a:gd name="connsiteY2471" fmla="*/ 4254395 h 6367505"/>
              <a:gd name="connsiteX2472" fmla="*/ 245761 w 7613003"/>
              <a:gd name="connsiteY2472" fmla="*/ 4240308 h 6367505"/>
              <a:gd name="connsiteX2473" fmla="*/ 217584 w 7613003"/>
              <a:gd name="connsiteY2473" fmla="*/ 4198046 h 6367505"/>
              <a:gd name="connsiteX2474" fmla="*/ 203495 w 7613003"/>
              <a:gd name="connsiteY2474" fmla="*/ 4169871 h 6367505"/>
              <a:gd name="connsiteX2475" fmla="*/ 189407 w 7613003"/>
              <a:gd name="connsiteY2475" fmla="*/ 4141697 h 6367505"/>
              <a:gd name="connsiteX2476" fmla="*/ 189407 w 7613003"/>
              <a:gd name="connsiteY2476" fmla="*/ 4155784 h 6367505"/>
              <a:gd name="connsiteX2477" fmla="*/ 189407 w 7613003"/>
              <a:gd name="connsiteY2477" fmla="*/ 4175153 h 6367505"/>
              <a:gd name="connsiteX2478" fmla="*/ 189407 w 7613003"/>
              <a:gd name="connsiteY2478" fmla="*/ 4178235 h 6367505"/>
              <a:gd name="connsiteX2479" fmla="*/ 189407 w 7613003"/>
              <a:gd name="connsiteY2479" fmla="*/ 4180437 h 6367505"/>
              <a:gd name="connsiteX2480" fmla="*/ 189407 w 7613003"/>
              <a:gd name="connsiteY2480" fmla="*/ 4183958 h 6367505"/>
              <a:gd name="connsiteX2481" fmla="*/ 189407 w 7613003"/>
              <a:gd name="connsiteY2481" fmla="*/ 4198046 h 6367505"/>
              <a:gd name="connsiteX2482" fmla="*/ 189407 w 7613003"/>
              <a:gd name="connsiteY2482" fmla="*/ 4212133 h 6367505"/>
              <a:gd name="connsiteX2483" fmla="*/ 231672 w 7613003"/>
              <a:gd name="connsiteY2483" fmla="*/ 4296657 h 6367505"/>
              <a:gd name="connsiteX2484" fmla="*/ 217584 w 7613003"/>
              <a:gd name="connsiteY2484" fmla="*/ 4268482 h 6367505"/>
              <a:gd name="connsiteX2485" fmla="*/ 217584 w 7613003"/>
              <a:gd name="connsiteY2485" fmla="*/ 4310744 h 6367505"/>
              <a:gd name="connsiteX2486" fmla="*/ 217584 w 7613003"/>
              <a:gd name="connsiteY2486" fmla="*/ 4316687 h 6367505"/>
              <a:gd name="connsiteX2487" fmla="*/ 217584 w 7613003"/>
              <a:gd name="connsiteY2487" fmla="*/ 4324833 h 6367505"/>
              <a:gd name="connsiteX2488" fmla="*/ 217584 w 7613003"/>
              <a:gd name="connsiteY2488" fmla="*/ 4338920 h 6367505"/>
              <a:gd name="connsiteX2489" fmla="*/ 203495 w 7613003"/>
              <a:gd name="connsiteY2489" fmla="*/ 4338920 h 6367505"/>
              <a:gd name="connsiteX2490" fmla="*/ 189407 w 7613003"/>
              <a:gd name="connsiteY2490" fmla="*/ 4324833 h 6367505"/>
              <a:gd name="connsiteX2491" fmla="*/ 175319 w 7613003"/>
              <a:gd name="connsiteY2491" fmla="*/ 4254395 h 6367505"/>
              <a:gd name="connsiteX2492" fmla="*/ 147142 w 7613003"/>
              <a:gd name="connsiteY2492" fmla="*/ 4169871 h 6367505"/>
              <a:gd name="connsiteX2493" fmla="*/ 147142 w 7613003"/>
              <a:gd name="connsiteY2493" fmla="*/ 4155784 h 6367505"/>
              <a:gd name="connsiteX2494" fmla="*/ 133055 w 7613003"/>
              <a:gd name="connsiteY2494" fmla="*/ 4113521 h 6367505"/>
              <a:gd name="connsiteX2495" fmla="*/ 133055 w 7613003"/>
              <a:gd name="connsiteY2495" fmla="*/ 4141697 h 6367505"/>
              <a:gd name="connsiteX2496" fmla="*/ 133055 w 7613003"/>
              <a:gd name="connsiteY2496" fmla="*/ 4155784 h 6367505"/>
              <a:gd name="connsiteX2497" fmla="*/ 133055 w 7613003"/>
              <a:gd name="connsiteY2497" fmla="*/ 4183958 h 6367505"/>
              <a:gd name="connsiteX2498" fmla="*/ 104878 w 7613003"/>
              <a:gd name="connsiteY2498" fmla="*/ 4071259 h 6367505"/>
              <a:gd name="connsiteX2499" fmla="*/ 90789 w 7613003"/>
              <a:gd name="connsiteY2499" fmla="*/ 4057172 h 6367505"/>
              <a:gd name="connsiteX2500" fmla="*/ 76702 w 7613003"/>
              <a:gd name="connsiteY2500" fmla="*/ 3986735 h 6367505"/>
              <a:gd name="connsiteX2501" fmla="*/ 48525 w 7613003"/>
              <a:gd name="connsiteY2501" fmla="*/ 3859948 h 6367505"/>
              <a:gd name="connsiteX2502" fmla="*/ 62614 w 7613003"/>
              <a:gd name="connsiteY2502" fmla="*/ 3859948 h 6367505"/>
              <a:gd name="connsiteX2503" fmla="*/ 62614 w 7613003"/>
              <a:gd name="connsiteY2503" fmla="*/ 3845861 h 6367505"/>
              <a:gd name="connsiteX2504" fmla="*/ 62614 w 7613003"/>
              <a:gd name="connsiteY2504" fmla="*/ 3789512 h 6367505"/>
              <a:gd name="connsiteX2505" fmla="*/ 62614 w 7613003"/>
              <a:gd name="connsiteY2505" fmla="*/ 3784228 h 6367505"/>
              <a:gd name="connsiteX2506" fmla="*/ 62614 w 7613003"/>
              <a:gd name="connsiteY2506" fmla="*/ 3783567 h 6367505"/>
              <a:gd name="connsiteX2507" fmla="*/ 62614 w 7613003"/>
              <a:gd name="connsiteY2507" fmla="*/ 3759575 h 6367505"/>
              <a:gd name="connsiteX2508" fmla="*/ 62614 w 7613003"/>
              <a:gd name="connsiteY2508" fmla="*/ 3719074 h 6367505"/>
              <a:gd name="connsiteX2509" fmla="*/ 62614 w 7613003"/>
              <a:gd name="connsiteY2509" fmla="*/ 3676812 h 6367505"/>
              <a:gd name="connsiteX2510" fmla="*/ 62614 w 7613003"/>
              <a:gd name="connsiteY2510" fmla="*/ 3648637 h 6367505"/>
              <a:gd name="connsiteX2511" fmla="*/ 76702 w 7613003"/>
              <a:gd name="connsiteY2511" fmla="*/ 3690899 h 6367505"/>
              <a:gd name="connsiteX2512" fmla="*/ 76702 w 7613003"/>
              <a:gd name="connsiteY2512" fmla="*/ 3676812 h 6367505"/>
              <a:gd name="connsiteX2513" fmla="*/ 62614 w 7613003"/>
              <a:gd name="connsiteY2513" fmla="*/ 3564112 h 6367505"/>
              <a:gd name="connsiteX2514" fmla="*/ 62614 w 7613003"/>
              <a:gd name="connsiteY2514" fmla="*/ 3634550 h 6367505"/>
              <a:gd name="connsiteX2515" fmla="*/ 48525 w 7613003"/>
              <a:gd name="connsiteY2515" fmla="*/ 3620463 h 6367505"/>
              <a:gd name="connsiteX2516" fmla="*/ 48525 w 7613003"/>
              <a:gd name="connsiteY2516" fmla="*/ 3578200 h 6367505"/>
              <a:gd name="connsiteX2517" fmla="*/ 34436 w 7613003"/>
              <a:gd name="connsiteY2517" fmla="*/ 3550025 h 6367505"/>
              <a:gd name="connsiteX2518" fmla="*/ 34436 w 7613003"/>
              <a:gd name="connsiteY2518" fmla="*/ 3521850 h 6367505"/>
              <a:gd name="connsiteX2519" fmla="*/ 20349 w 7613003"/>
              <a:gd name="connsiteY2519" fmla="*/ 3366889 h 6367505"/>
              <a:gd name="connsiteX2520" fmla="*/ 6261 w 7613003"/>
              <a:gd name="connsiteY2520" fmla="*/ 3324627 h 6367505"/>
              <a:gd name="connsiteX2521" fmla="*/ 6261 w 7613003"/>
              <a:gd name="connsiteY2521" fmla="*/ 3226015 h 6367505"/>
              <a:gd name="connsiteX2522" fmla="*/ 6261 w 7613003"/>
              <a:gd name="connsiteY2522" fmla="*/ 3183753 h 6367505"/>
              <a:gd name="connsiteX2523" fmla="*/ 6261 w 7613003"/>
              <a:gd name="connsiteY2523" fmla="*/ 3155578 h 6367505"/>
              <a:gd name="connsiteX2524" fmla="*/ 6261 w 7613003"/>
              <a:gd name="connsiteY2524" fmla="*/ 3141491 h 6367505"/>
              <a:gd name="connsiteX2525" fmla="*/ 6261 w 7613003"/>
              <a:gd name="connsiteY2525" fmla="*/ 3056966 h 6367505"/>
              <a:gd name="connsiteX2526" fmla="*/ 6261 w 7613003"/>
              <a:gd name="connsiteY2526" fmla="*/ 2958355 h 6367505"/>
              <a:gd name="connsiteX2527" fmla="*/ 6261 w 7613003"/>
              <a:gd name="connsiteY2527" fmla="*/ 2873830 h 6367505"/>
              <a:gd name="connsiteX2528" fmla="*/ 6261 w 7613003"/>
              <a:gd name="connsiteY2528" fmla="*/ 2859742 h 6367505"/>
              <a:gd name="connsiteX2529" fmla="*/ 20349 w 7613003"/>
              <a:gd name="connsiteY2529" fmla="*/ 2845655 h 6367505"/>
              <a:gd name="connsiteX2530" fmla="*/ 20349 w 7613003"/>
              <a:gd name="connsiteY2530" fmla="*/ 2831568 h 6367505"/>
              <a:gd name="connsiteX2531" fmla="*/ 20349 w 7613003"/>
              <a:gd name="connsiteY2531" fmla="*/ 2761131 h 6367505"/>
              <a:gd name="connsiteX2532" fmla="*/ 34436 w 7613003"/>
              <a:gd name="connsiteY2532" fmla="*/ 2704782 h 6367505"/>
              <a:gd name="connsiteX2533" fmla="*/ 34436 w 7613003"/>
              <a:gd name="connsiteY2533" fmla="*/ 2676606 h 6367505"/>
              <a:gd name="connsiteX2534" fmla="*/ 62614 w 7613003"/>
              <a:gd name="connsiteY2534" fmla="*/ 2521646 h 6367505"/>
              <a:gd name="connsiteX2535" fmla="*/ 104878 w 7613003"/>
              <a:gd name="connsiteY2535" fmla="*/ 2437121 h 6367505"/>
              <a:gd name="connsiteX2536" fmla="*/ 118967 w 7613003"/>
              <a:gd name="connsiteY2536" fmla="*/ 2394859 h 6367505"/>
              <a:gd name="connsiteX2537" fmla="*/ 133055 w 7613003"/>
              <a:gd name="connsiteY2537" fmla="*/ 2310334 h 6367505"/>
              <a:gd name="connsiteX2538" fmla="*/ 161231 w 7613003"/>
              <a:gd name="connsiteY2538" fmla="*/ 2253985 h 6367505"/>
              <a:gd name="connsiteX2539" fmla="*/ 161231 w 7613003"/>
              <a:gd name="connsiteY2539" fmla="*/ 2239897 h 6367505"/>
              <a:gd name="connsiteX2540" fmla="*/ 161231 w 7613003"/>
              <a:gd name="connsiteY2540" fmla="*/ 2211723 h 6367505"/>
              <a:gd name="connsiteX2541" fmla="*/ 175319 w 7613003"/>
              <a:gd name="connsiteY2541" fmla="*/ 2197635 h 6367505"/>
              <a:gd name="connsiteX2542" fmla="*/ 175319 w 7613003"/>
              <a:gd name="connsiteY2542" fmla="*/ 2155372 h 6367505"/>
              <a:gd name="connsiteX2543" fmla="*/ 189407 w 7613003"/>
              <a:gd name="connsiteY2543" fmla="*/ 2141285 h 6367505"/>
              <a:gd name="connsiteX2544" fmla="*/ 189407 w 7613003"/>
              <a:gd name="connsiteY2544" fmla="*/ 2113110 h 6367505"/>
              <a:gd name="connsiteX2545" fmla="*/ 203495 w 7613003"/>
              <a:gd name="connsiteY2545" fmla="*/ 2099023 h 6367505"/>
              <a:gd name="connsiteX2546" fmla="*/ 217584 w 7613003"/>
              <a:gd name="connsiteY2546" fmla="*/ 2056761 h 6367505"/>
              <a:gd name="connsiteX2547" fmla="*/ 217584 w 7613003"/>
              <a:gd name="connsiteY2547" fmla="*/ 2028587 h 6367505"/>
              <a:gd name="connsiteX2548" fmla="*/ 231672 w 7613003"/>
              <a:gd name="connsiteY2548" fmla="*/ 2000412 h 6367505"/>
              <a:gd name="connsiteX2549" fmla="*/ 231672 w 7613003"/>
              <a:gd name="connsiteY2549" fmla="*/ 2000412 h 6367505"/>
              <a:gd name="connsiteX2550" fmla="*/ 245761 w 7613003"/>
              <a:gd name="connsiteY2550" fmla="*/ 1958149 h 6367505"/>
              <a:gd name="connsiteX2551" fmla="*/ 245761 w 7613003"/>
              <a:gd name="connsiteY2551" fmla="*/ 1901800 h 6367505"/>
              <a:gd name="connsiteX2552" fmla="*/ 259848 w 7613003"/>
              <a:gd name="connsiteY2552" fmla="*/ 1873625 h 6367505"/>
              <a:gd name="connsiteX2553" fmla="*/ 245761 w 7613003"/>
              <a:gd name="connsiteY2553" fmla="*/ 1887712 h 6367505"/>
              <a:gd name="connsiteX2554" fmla="*/ 217584 w 7613003"/>
              <a:gd name="connsiteY2554" fmla="*/ 1972236 h 6367505"/>
              <a:gd name="connsiteX2555" fmla="*/ 203495 w 7613003"/>
              <a:gd name="connsiteY2555" fmla="*/ 1986323 h 6367505"/>
              <a:gd name="connsiteX2556" fmla="*/ 203495 w 7613003"/>
              <a:gd name="connsiteY2556" fmla="*/ 2000412 h 6367505"/>
              <a:gd name="connsiteX2557" fmla="*/ 189407 w 7613003"/>
              <a:gd name="connsiteY2557" fmla="*/ 2000412 h 6367505"/>
              <a:gd name="connsiteX2558" fmla="*/ 203495 w 7613003"/>
              <a:gd name="connsiteY2558" fmla="*/ 1915887 h 6367505"/>
              <a:gd name="connsiteX2559" fmla="*/ 175319 w 7613003"/>
              <a:gd name="connsiteY2559" fmla="*/ 1972236 h 6367505"/>
              <a:gd name="connsiteX2560" fmla="*/ 181786 w 7613003"/>
              <a:gd name="connsiteY2560" fmla="*/ 1954455 h 6367505"/>
              <a:gd name="connsiteX2561" fmla="*/ 189407 w 7613003"/>
              <a:gd name="connsiteY2561" fmla="*/ 1944061 h 6367505"/>
              <a:gd name="connsiteX2562" fmla="*/ 182363 w 7613003"/>
              <a:gd name="connsiteY2562" fmla="*/ 1952867 h 6367505"/>
              <a:gd name="connsiteX2563" fmla="*/ 181786 w 7613003"/>
              <a:gd name="connsiteY2563" fmla="*/ 1954455 h 6367505"/>
              <a:gd name="connsiteX2564" fmla="*/ 170036 w 7613003"/>
              <a:gd name="connsiteY2564" fmla="*/ 1970476 h 6367505"/>
              <a:gd name="connsiteX2565" fmla="*/ 161231 w 7613003"/>
              <a:gd name="connsiteY2565" fmla="*/ 1986323 h 6367505"/>
              <a:gd name="connsiteX2566" fmla="*/ 147142 w 7613003"/>
              <a:gd name="connsiteY2566" fmla="*/ 2000412 h 6367505"/>
              <a:gd name="connsiteX2567" fmla="*/ 133055 w 7613003"/>
              <a:gd name="connsiteY2567" fmla="*/ 2014499 h 6367505"/>
              <a:gd name="connsiteX2568" fmla="*/ 76702 w 7613003"/>
              <a:gd name="connsiteY2568" fmla="*/ 2099023 h 6367505"/>
              <a:gd name="connsiteX2569" fmla="*/ 118967 w 7613003"/>
              <a:gd name="connsiteY2569" fmla="*/ 2028587 h 6367505"/>
              <a:gd name="connsiteX2570" fmla="*/ 130854 w 7613003"/>
              <a:gd name="connsiteY2570" fmla="*/ 2002833 h 6367505"/>
              <a:gd name="connsiteX2571" fmla="*/ 131021 w 7613003"/>
              <a:gd name="connsiteY2571" fmla="*/ 2001574 h 6367505"/>
              <a:gd name="connsiteX2572" fmla="*/ 133055 w 7613003"/>
              <a:gd name="connsiteY2572" fmla="*/ 2000412 h 6367505"/>
              <a:gd name="connsiteX2573" fmla="*/ 133055 w 7613003"/>
              <a:gd name="connsiteY2573" fmla="*/ 1986323 h 6367505"/>
              <a:gd name="connsiteX2574" fmla="*/ 131021 w 7613003"/>
              <a:gd name="connsiteY2574" fmla="*/ 2001574 h 6367505"/>
              <a:gd name="connsiteX2575" fmla="*/ 120727 w 7613003"/>
              <a:gd name="connsiteY2575" fmla="*/ 2007456 h 6367505"/>
              <a:gd name="connsiteX2576" fmla="*/ 118967 w 7613003"/>
              <a:gd name="connsiteY2576" fmla="*/ 2014499 h 6367505"/>
              <a:gd name="connsiteX2577" fmla="*/ 118967 w 7613003"/>
              <a:gd name="connsiteY2577" fmla="*/ 2000412 h 6367505"/>
              <a:gd name="connsiteX2578" fmla="*/ 118967 w 7613003"/>
              <a:gd name="connsiteY2578" fmla="*/ 1986323 h 6367505"/>
              <a:gd name="connsiteX2579" fmla="*/ 133055 w 7613003"/>
              <a:gd name="connsiteY2579" fmla="*/ 1972236 h 6367505"/>
              <a:gd name="connsiteX2580" fmla="*/ 147142 w 7613003"/>
              <a:gd name="connsiteY2580" fmla="*/ 1972236 h 6367505"/>
              <a:gd name="connsiteX2581" fmla="*/ 161231 w 7613003"/>
              <a:gd name="connsiteY2581" fmla="*/ 1944061 h 6367505"/>
              <a:gd name="connsiteX2582" fmla="*/ 175319 w 7613003"/>
              <a:gd name="connsiteY2582" fmla="*/ 1929974 h 6367505"/>
              <a:gd name="connsiteX2583" fmla="*/ 231672 w 7613003"/>
              <a:gd name="connsiteY2583" fmla="*/ 1845450 h 6367505"/>
              <a:gd name="connsiteX2584" fmla="*/ 259848 w 7613003"/>
              <a:gd name="connsiteY2584" fmla="*/ 1803188 h 6367505"/>
              <a:gd name="connsiteX2585" fmla="*/ 302113 w 7613003"/>
              <a:gd name="connsiteY2585" fmla="*/ 1775013 h 6367505"/>
              <a:gd name="connsiteX2586" fmla="*/ 358466 w 7613003"/>
              <a:gd name="connsiteY2586" fmla="*/ 1676401 h 6367505"/>
              <a:gd name="connsiteX2587" fmla="*/ 372554 w 7613003"/>
              <a:gd name="connsiteY2587" fmla="*/ 1648227 h 6367505"/>
              <a:gd name="connsiteX2588" fmla="*/ 372554 w 7613003"/>
              <a:gd name="connsiteY2588" fmla="*/ 1662314 h 6367505"/>
              <a:gd name="connsiteX2589" fmla="*/ 358466 w 7613003"/>
              <a:gd name="connsiteY2589" fmla="*/ 1746838 h 6367505"/>
              <a:gd name="connsiteX2590" fmla="*/ 330290 w 7613003"/>
              <a:gd name="connsiteY2590" fmla="*/ 1803188 h 6367505"/>
              <a:gd name="connsiteX2591" fmla="*/ 316201 w 7613003"/>
              <a:gd name="connsiteY2591" fmla="*/ 1845450 h 6367505"/>
              <a:gd name="connsiteX2592" fmla="*/ 259848 w 7613003"/>
              <a:gd name="connsiteY2592" fmla="*/ 1972236 h 6367505"/>
              <a:gd name="connsiteX2593" fmla="*/ 245761 w 7613003"/>
              <a:gd name="connsiteY2593" fmla="*/ 2000412 h 6367505"/>
              <a:gd name="connsiteX2594" fmla="*/ 217584 w 7613003"/>
              <a:gd name="connsiteY2594" fmla="*/ 2070849 h 6367505"/>
              <a:gd name="connsiteX2595" fmla="*/ 203495 w 7613003"/>
              <a:gd name="connsiteY2595" fmla="*/ 2169459 h 6367505"/>
              <a:gd name="connsiteX2596" fmla="*/ 189407 w 7613003"/>
              <a:gd name="connsiteY2596" fmla="*/ 2169459 h 6367505"/>
              <a:gd name="connsiteX2597" fmla="*/ 189407 w 7613003"/>
              <a:gd name="connsiteY2597" fmla="*/ 2225810 h 6367505"/>
              <a:gd name="connsiteX2598" fmla="*/ 175319 w 7613003"/>
              <a:gd name="connsiteY2598" fmla="*/ 2268072 h 6367505"/>
              <a:gd name="connsiteX2599" fmla="*/ 175319 w 7613003"/>
              <a:gd name="connsiteY2599" fmla="*/ 2282159 h 6367505"/>
              <a:gd name="connsiteX2600" fmla="*/ 161231 w 7613003"/>
              <a:gd name="connsiteY2600" fmla="*/ 2324421 h 6367505"/>
              <a:gd name="connsiteX2601" fmla="*/ 175319 w 7613003"/>
              <a:gd name="connsiteY2601" fmla="*/ 2338508 h 6367505"/>
              <a:gd name="connsiteX2602" fmla="*/ 189407 w 7613003"/>
              <a:gd name="connsiteY2602" fmla="*/ 2253985 h 6367505"/>
              <a:gd name="connsiteX2603" fmla="*/ 203495 w 7613003"/>
              <a:gd name="connsiteY2603" fmla="*/ 2211723 h 6367505"/>
              <a:gd name="connsiteX2604" fmla="*/ 203495 w 7613003"/>
              <a:gd name="connsiteY2604" fmla="*/ 2197635 h 6367505"/>
              <a:gd name="connsiteX2605" fmla="*/ 203495 w 7613003"/>
              <a:gd name="connsiteY2605" fmla="*/ 2183548 h 6367505"/>
              <a:gd name="connsiteX2606" fmla="*/ 217584 w 7613003"/>
              <a:gd name="connsiteY2606" fmla="*/ 2155372 h 6367505"/>
              <a:gd name="connsiteX2607" fmla="*/ 231672 w 7613003"/>
              <a:gd name="connsiteY2607" fmla="*/ 2127198 h 6367505"/>
              <a:gd name="connsiteX2608" fmla="*/ 231672 w 7613003"/>
              <a:gd name="connsiteY2608" fmla="*/ 2136003 h 6367505"/>
              <a:gd name="connsiteX2609" fmla="*/ 231672 w 7613003"/>
              <a:gd name="connsiteY2609" fmla="*/ 2149429 h 6367505"/>
              <a:gd name="connsiteX2610" fmla="*/ 231672 w 7613003"/>
              <a:gd name="connsiteY2610" fmla="*/ 2150090 h 6367505"/>
              <a:gd name="connsiteX2611" fmla="*/ 231672 w 7613003"/>
              <a:gd name="connsiteY2611" fmla="*/ 2155372 h 6367505"/>
              <a:gd name="connsiteX2612" fmla="*/ 259848 w 7613003"/>
              <a:gd name="connsiteY2612" fmla="*/ 2113110 h 6367505"/>
              <a:gd name="connsiteX2613" fmla="*/ 245761 w 7613003"/>
              <a:gd name="connsiteY2613" fmla="*/ 2113110 h 6367505"/>
              <a:gd name="connsiteX2614" fmla="*/ 245761 w 7613003"/>
              <a:gd name="connsiteY2614" fmla="*/ 2099023 h 6367505"/>
              <a:gd name="connsiteX2615" fmla="*/ 259848 w 7613003"/>
              <a:gd name="connsiteY2615" fmla="*/ 2084936 h 6367505"/>
              <a:gd name="connsiteX2616" fmla="*/ 273937 w 7613003"/>
              <a:gd name="connsiteY2616" fmla="*/ 2056761 h 6367505"/>
              <a:gd name="connsiteX2617" fmla="*/ 288025 w 7613003"/>
              <a:gd name="connsiteY2617" fmla="*/ 2028587 h 6367505"/>
              <a:gd name="connsiteX2618" fmla="*/ 288025 w 7613003"/>
              <a:gd name="connsiteY2618" fmla="*/ 2056761 h 6367505"/>
              <a:gd name="connsiteX2619" fmla="*/ 273937 w 7613003"/>
              <a:gd name="connsiteY2619" fmla="*/ 2084936 h 6367505"/>
              <a:gd name="connsiteX2620" fmla="*/ 288025 w 7613003"/>
              <a:gd name="connsiteY2620" fmla="*/ 2070849 h 6367505"/>
              <a:gd name="connsiteX2621" fmla="*/ 302113 w 7613003"/>
              <a:gd name="connsiteY2621" fmla="*/ 2028587 h 6367505"/>
              <a:gd name="connsiteX2622" fmla="*/ 302113 w 7613003"/>
              <a:gd name="connsiteY2622" fmla="*/ 2014499 h 6367505"/>
              <a:gd name="connsiteX2623" fmla="*/ 330290 w 7613003"/>
              <a:gd name="connsiteY2623" fmla="*/ 1972236 h 6367505"/>
              <a:gd name="connsiteX2624" fmla="*/ 344378 w 7613003"/>
              <a:gd name="connsiteY2624" fmla="*/ 1958149 h 6367505"/>
              <a:gd name="connsiteX2625" fmla="*/ 358466 w 7613003"/>
              <a:gd name="connsiteY2625" fmla="*/ 1944061 h 6367505"/>
              <a:gd name="connsiteX2626" fmla="*/ 372554 w 7613003"/>
              <a:gd name="connsiteY2626" fmla="*/ 1887712 h 6367505"/>
              <a:gd name="connsiteX2627" fmla="*/ 400731 w 7613003"/>
              <a:gd name="connsiteY2627" fmla="*/ 1845450 h 6367505"/>
              <a:gd name="connsiteX2628" fmla="*/ 386643 w 7613003"/>
              <a:gd name="connsiteY2628" fmla="*/ 1859538 h 6367505"/>
              <a:gd name="connsiteX2629" fmla="*/ 372554 w 7613003"/>
              <a:gd name="connsiteY2629" fmla="*/ 1859538 h 6367505"/>
              <a:gd name="connsiteX2630" fmla="*/ 372554 w 7613003"/>
              <a:gd name="connsiteY2630" fmla="*/ 1873625 h 6367505"/>
              <a:gd name="connsiteX2631" fmla="*/ 358466 w 7613003"/>
              <a:gd name="connsiteY2631" fmla="*/ 1845450 h 6367505"/>
              <a:gd name="connsiteX2632" fmla="*/ 428907 w 7613003"/>
              <a:gd name="connsiteY2632" fmla="*/ 1718663 h 6367505"/>
              <a:gd name="connsiteX2633" fmla="*/ 442996 w 7613003"/>
              <a:gd name="connsiteY2633" fmla="*/ 1676401 h 6367505"/>
              <a:gd name="connsiteX2634" fmla="*/ 471171 w 7613003"/>
              <a:gd name="connsiteY2634" fmla="*/ 1634138 h 6367505"/>
              <a:gd name="connsiteX2635" fmla="*/ 485260 w 7613003"/>
              <a:gd name="connsiteY2635" fmla="*/ 1591876 h 6367505"/>
              <a:gd name="connsiteX2636" fmla="*/ 499349 w 7613003"/>
              <a:gd name="connsiteY2636" fmla="*/ 1577789 h 6367505"/>
              <a:gd name="connsiteX2637" fmla="*/ 527524 w 7613003"/>
              <a:gd name="connsiteY2637" fmla="*/ 1521440 h 6367505"/>
              <a:gd name="connsiteX2638" fmla="*/ 555702 w 7613003"/>
              <a:gd name="connsiteY2638" fmla="*/ 1479178 h 6367505"/>
              <a:gd name="connsiteX2639" fmla="*/ 597966 w 7613003"/>
              <a:gd name="connsiteY2639" fmla="*/ 1451002 h 6367505"/>
              <a:gd name="connsiteX2640" fmla="*/ 527524 w 7613003"/>
              <a:gd name="connsiteY2640" fmla="*/ 1563702 h 6367505"/>
              <a:gd name="connsiteX2641" fmla="*/ 499349 w 7613003"/>
              <a:gd name="connsiteY2641" fmla="*/ 1620051 h 6367505"/>
              <a:gd name="connsiteX2642" fmla="*/ 527524 w 7613003"/>
              <a:gd name="connsiteY2642" fmla="*/ 1591876 h 6367505"/>
              <a:gd name="connsiteX2643" fmla="*/ 527524 w 7613003"/>
              <a:gd name="connsiteY2643" fmla="*/ 1577789 h 6367505"/>
              <a:gd name="connsiteX2644" fmla="*/ 612055 w 7613003"/>
              <a:gd name="connsiteY2644" fmla="*/ 1436915 h 6367505"/>
              <a:gd name="connsiteX2645" fmla="*/ 640230 w 7613003"/>
              <a:gd name="connsiteY2645" fmla="*/ 1394653 h 6367505"/>
              <a:gd name="connsiteX2646" fmla="*/ 668406 w 7613003"/>
              <a:gd name="connsiteY2646" fmla="*/ 1338304 h 6367505"/>
              <a:gd name="connsiteX2647" fmla="*/ 696583 w 7613003"/>
              <a:gd name="connsiteY2647" fmla="*/ 1310129 h 6367505"/>
              <a:gd name="connsiteX2648" fmla="*/ 738848 w 7613003"/>
              <a:gd name="connsiteY2648" fmla="*/ 1253779 h 6367505"/>
              <a:gd name="connsiteX2649" fmla="*/ 752936 w 7613003"/>
              <a:gd name="connsiteY2649" fmla="*/ 1239691 h 6367505"/>
              <a:gd name="connsiteX2650" fmla="*/ 865642 w 7613003"/>
              <a:gd name="connsiteY2650" fmla="*/ 1112904 h 6367505"/>
              <a:gd name="connsiteX2651" fmla="*/ 893818 w 7613003"/>
              <a:gd name="connsiteY2651" fmla="*/ 1070642 h 6367505"/>
              <a:gd name="connsiteX2652" fmla="*/ 921995 w 7613003"/>
              <a:gd name="connsiteY2652" fmla="*/ 1042468 h 6367505"/>
              <a:gd name="connsiteX2653" fmla="*/ 936082 w 7613003"/>
              <a:gd name="connsiteY2653" fmla="*/ 1028381 h 6367505"/>
              <a:gd name="connsiteX2654" fmla="*/ 950171 w 7613003"/>
              <a:gd name="connsiteY2654" fmla="*/ 1000206 h 6367505"/>
              <a:gd name="connsiteX2655" fmla="*/ 964260 w 7613003"/>
              <a:gd name="connsiteY2655" fmla="*/ 986119 h 6367505"/>
              <a:gd name="connsiteX2656" fmla="*/ 1048788 w 7613003"/>
              <a:gd name="connsiteY2656" fmla="*/ 887506 h 6367505"/>
              <a:gd name="connsiteX2657" fmla="*/ 1062877 w 7613003"/>
              <a:gd name="connsiteY2657" fmla="*/ 873419 h 6367505"/>
              <a:gd name="connsiteX2658" fmla="*/ 1076965 w 7613003"/>
              <a:gd name="connsiteY2658" fmla="*/ 873419 h 6367505"/>
              <a:gd name="connsiteX2659" fmla="*/ 1091053 w 7613003"/>
              <a:gd name="connsiteY2659" fmla="*/ 845244 h 6367505"/>
              <a:gd name="connsiteX2660" fmla="*/ 1105141 w 7613003"/>
              <a:gd name="connsiteY2660" fmla="*/ 831157 h 6367505"/>
              <a:gd name="connsiteX2661" fmla="*/ 1119230 w 7613003"/>
              <a:gd name="connsiteY2661" fmla="*/ 817070 h 6367505"/>
              <a:gd name="connsiteX2662" fmla="*/ 1161494 w 7613003"/>
              <a:gd name="connsiteY2662" fmla="*/ 774808 h 6367505"/>
              <a:gd name="connsiteX2663" fmla="*/ 1189671 w 7613003"/>
              <a:gd name="connsiteY2663" fmla="*/ 760719 h 6367505"/>
              <a:gd name="connsiteX2664" fmla="*/ 1203759 w 7613003"/>
              <a:gd name="connsiteY2664" fmla="*/ 746632 h 6367505"/>
              <a:gd name="connsiteX2665" fmla="*/ 1231936 w 7613003"/>
              <a:gd name="connsiteY2665" fmla="*/ 732545 h 6367505"/>
              <a:gd name="connsiteX2666" fmla="*/ 1288289 w 7613003"/>
              <a:gd name="connsiteY2666" fmla="*/ 704370 h 6367505"/>
              <a:gd name="connsiteX2667" fmla="*/ 1358729 w 7613003"/>
              <a:gd name="connsiteY2667" fmla="*/ 662108 h 6367505"/>
              <a:gd name="connsiteX2668" fmla="*/ 1429170 w 7613003"/>
              <a:gd name="connsiteY2668" fmla="*/ 591672 h 6367505"/>
              <a:gd name="connsiteX2669" fmla="*/ 1471435 w 7613003"/>
              <a:gd name="connsiteY2669" fmla="*/ 563496 h 6367505"/>
              <a:gd name="connsiteX2670" fmla="*/ 1527788 w 7613003"/>
              <a:gd name="connsiteY2670" fmla="*/ 521234 h 6367505"/>
              <a:gd name="connsiteX2671" fmla="*/ 1541876 w 7613003"/>
              <a:gd name="connsiteY2671" fmla="*/ 507147 h 6367505"/>
              <a:gd name="connsiteX2672" fmla="*/ 1584141 w 7613003"/>
              <a:gd name="connsiteY2672" fmla="*/ 493059 h 6367505"/>
              <a:gd name="connsiteX2673" fmla="*/ 1598229 w 7613003"/>
              <a:gd name="connsiteY2673" fmla="*/ 464885 h 6367505"/>
              <a:gd name="connsiteX2674" fmla="*/ 1626406 w 7613003"/>
              <a:gd name="connsiteY2674" fmla="*/ 464885 h 6367505"/>
              <a:gd name="connsiteX2675" fmla="*/ 1753200 w 7613003"/>
              <a:gd name="connsiteY2675" fmla="*/ 366272 h 6367505"/>
              <a:gd name="connsiteX2676" fmla="*/ 1795464 w 7613003"/>
              <a:gd name="connsiteY2676" fmla="*/ 338098 h 6367505"/>
              <a:gd name="connsiteX2677" fmla="*/ 1823641 w 7613003"/>
              <a:gd name="connsiteY2677" fmla="*/ 338098 h 6367505"/>
              <a:gd name="connsiteX2678" fmla="*/ 1865906 w 7613003"/>
              <a:gd name="connsiteY2678" fmla="*/ 324010 h 6367505"/>
              <a:gd name="connsiteX2679" fmla="*/ 1964523 w 7613003"/>
              <a:gd name="connsiteY2679" fmla="*/ 267661 h 6367505"/>
              <a:gd name="connsiteX2680" fmla="*/ 1992700 w 7613003"/>
              <a:gd name="connsiteY2680" fmla="*/ 253574 h 6367505"/>
              <a:gd name="connsiteX2681" fmla="*/ 2034965 w 7613003"/>
              <a:gd name="connsiteY2681" fmla="*/ 225398 h 6367505"/>
              <a:gd name="connsiteX2682" fmla="*/ 2091317 w 7613003"/>
              <a:gd name="connsiteY2682" fmla="*/ 197224 h 6367505"/>
              <a:gd name="connsiteX2683" fmla="*/ 2232199 w 7613003"/>
              <a:gd name="connsiteY2683" fmla="*/ 140874 h 6367505"/>
              <a:gd name="connsiteX2684" fmla="*/ 2316729 w 7613003"/>
              <a:gd name="connsiteY2684" fmla="*/ 112700 h 6367505"/>
              <a:gd name="connsiteX2685" fmla="*/ 2415347 w 7613003"/>
              <a:gd name="connsiteY2685" fmla="*/ 84525 h 6367505"/>
              <a:gd name="connsiteX2686" fmla="*/ 2429434 w 7613003"/>
              <a:gd name="connsiteY2686" fmla="*/ 70438 h 6367505"/>
              <a:gd name="connsiteX2687" fmla="*/ 2457611 w 7613003"/>
              <a:gd name="connsiteY2687" fmla="*/ 70438 h 6367505"/>
              <a:gd name="connsiteX2688" fmla="*/ 2668934 w 7613003"/>
              <a:gd name="connsiteY2688" fmla="*/ 14087 h 6367505"/>
              <a:gd name="connsiteX2689" fmla="*/ 2711199 w 7613003"/>
              <a:gd name="connsiteY2689" fmla="*/ 14087 h 6367505"/>
              <a:gd name="connsiteX2690" fmla="*/ 2781640 w 7613003"/>
              <a:gd name="connsiteY2690" fmla="*/ 0 h 6367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Lst>
            <a:rect l="l" t="t" r="r" b="b"/>
            <a:pathLst>
              <a:path w="7613003" h="6367505">
                <a:moveTo>
                  <a:pt x="6223992" y="4938955"/>
                </a:moveTo>
                <a:cubicBezTo>
                  <a:pt x="6224433" y="4938515"/>
                  <a:pt x="6223553" y="4939396"/>
                  <a:pt x="6221792" y="4941156"/>
                </a:cubicBezTo>
                <a:lnTo>
                  <a:pt x="6218266" y="4944683"/>
                </a:lnTo>
                <a:lnTo>
                  <a:pt x="6218269" y="4944678"/>
                </a:lnTo>
                <a:cubicBezTo>
                  <a:pt x="6221792" y="4941156"/>
                  <a:pt x="6223553" y="4939396"/>
                  <a:pt x="6223992" y="4938955"/>
                </a:cubicBezTo>
                <a:close/>
                <a:moveTo>
                  <a:pt x="5683813" y="4846067"/>
                </a:moveTo>
                <a:lnTo>
                  <a:pt x="5682917" y="4846962"/>
                </a:lnTo>
                <a:lnTo>
                  <a:pt x="5682917" y="4846962"/>
                </a:lnTo>
                <a:close/>
                <a:moveTo>
                  <a:pt x="5698414" y="4831466"/>
                </a:moveTo>
                <a:lnTo>
                  <a:pt x="5697005" y="4831978"/>
                </a:lnTo>
                <a:lnTo>
                  <a:pt x="5697005" y="4832875"/>
                </a:lnTo>
                <a:close/>
                <a:moveTo>
                  <a:pt x="353079" y="4516669"/>
                </a:moveTo>
                <a:lnTo>
                  <a:pt x="358466" y="4522056"/>
                </a:lnTo>
                <a:lnTo>
                  <a:pt x="363538" y="4537272"/>
                </a:lnTo>
                <a:lnTo>
                  <a:pt x="361989" y="4535043"/>
                </a:lnTo>
                <a:close/>
                <a:moveTo>
                  <a:pt x="302113" y="4409357"/>
                </a:moveTo>
                <a:cubicBezTo>
                  <a:pt x="316201" y="4423444"/>
                  <a:pt x="316201" y="4451619"/>
                  <a:pt x="330290" y="4465706"/>
                </a:cubicBezTo>
                <a:cubicBezTo>
                  <a:pt x="337333" y="4479794"/>
                  <a:pt x="344378" y="4497404"/>
                  <a:pt x="351422" y="4513251"/>
                </a:cubicBezTo>
                <a:lnTo>
                  <a:pt x="353079" y="4516669"/>
                </a:lnTo>
                <a:lnTo>
                  <a:pt x="344378" y="4507969"/>
                </a:lnTo>
                <a:cubicBezTo>
                  <a:pt x="340855" y="4504447"/>
                  <a:pt x="337333" y="4500925"/>
                  <a:pt x="330290" y="4493882"/>
                </a:cubicBezTo>
                <a:cubicBezTo>
                  <a:pt x="330290" y="4479793"/>
                  <a:pt x="330290" y="4465706"/>
                  <a:pt x="316201" y="4465706"/>
                </a:cubicBezTo>
                <a:cubicBezTo>
                  <a:pt x="316201" y="4451619"/>
                  <a:pt x="302113" y="4423444"/>
                  <a:pt x="302113" y="4409357"/>
                </a:cubicBezTo>
                <a:close/>
                <a:moveTo>
                  <a:pt x="288025" y="4395269"/>
                </a:moveTo>
                <a:cubicBezTo>
                  <a:pt x="288025" y="4395269"/>
                  <a:pt x="288025" y="4409357"/>
                  <a:pt x="288025" y="4423444"/>
                </a:cubicBezTo>
                <a:cubicBezTo>
                  <a:pt x="288025" y="4409357"/>
                  <a:pt x="273937" y="4395269"/>
                  <a:pt x="288025" y="4395269"/>
                </a:cubicBezTo>
                <a:close/>
                <a:moveTo>
                  <a:pt x="259848" y="4296657"/>
                </a:moveTo>
                <a:cubicBezTo>
                  <a:pt x="259848" y="4310744"/>
                  <a:pt x="273937" y="4324833"/>
                  <a:pt x="273937" y="4324833"/>
                </a:cubicBezTo>
                <a:cubicBezTo>
                  <a:pt x="273937" y="4338920"/>
                  <a:pt x="288025" y="4338920"/>
                  <a:pt x="288025" y="4353007"/>
                </a:cubicBezTo>
                <a:cubicBezTo>
                  <a:pt x="288025" y="4381182"/>
                  <a:pt x="302113" y="4381182"/>
                  <a:pt x="302113" y="4409357"/>
                </a:cubicBezTo>
                <a:cubicBezTo>
                  <a:pt x="288025" y="4395269"/>
                  <a:pt x="288025" y="4381182"/>
                  <a:pt x="273937" y="4367095"/>
                </a:cubicBezTo>
                <a:cubicBezTo>
                  <a:pt x="273937" y="4353007"/>
                  <a:pt x="259848" y="4338920"/>
                  <a:pt x="259848" y="4324833"/>
                </a:cubicBezTo>
                <a:cubicBezTo>
                  <a:pt x="259848" y="4310744"/>
                  <a:pt x="259848" y="4296657"/>
                  <a:pt x="259848" y="4296657"/>
                </a:cubicBezTo>
                <a:close/>
                <a:moveTo>
                  <a:pt x="133055" y="4183958"/>
                </a:moveTo>
                <a:cubicBezTo>
                  <a:pt x="147142" y="4212133"/>
                  <a:pt x="147142" y="4226221"/>
                  <a:pt x="147142" y="4240308"/>
                </a:cubicBezTo>
                <a:cubicBezTo>
                  <a:pt x="147142" y="4226221"/>
                  <a:pt x="133055" y="4212133"/>
                  <a:pt x="133055" y="4183958"/>
                </a:cubicBezTo>
                <a:close/>
                <a:moveTo>
                  <a:pt x="92039" y="4073399"/>
                </a:moveTo>
                <a:lnTo>
                  <a:pt x="103118" y="4092390"/>
                </a:lnTo>
                <a:cubicBezTo>
                  <a:pt x="104878" y="4099433"/>
                  <a:pt x="104878" y="4106477"/>
                  <a:pt x="104878" y="4113521"/>
                </a:cubicBezTo>
                <a:cubicBezTo>
                  <a:pt x="97834" y="4099433"/>
                  <a:pt x="94312" y="4088868"/>
                  <a:pt x="92551" y="4080064"/>
                </a:cubicBezTo>
                <a:close/>
                <a:moveTo>
                  <a:pt x="90789" y="4057172"/>
                </a:moveTo>
                <a:lnTo>
                  <a:pt x="92039" y="4073399"/>
                </a:lnTo>
                <a:lnTo>
                  <a:pt x="90789" y="4071259"/>
                </a:lnTo>
                <a:cubicBezTo>
                  <a:pt x="90789" y="4057172"/>
                  <a:pt x="90789" y="4057172"/>
                  <a:pt x="90789" y="4057172"/>
                </a:cubicBezTo>
                <a:close/>
                <a:moveTo>
                  <a:pt x="50726" y="3671089"/>
                </a:moveTo>
                <a:cubicBezTo>
                  <a:pt x="54689" y="3669768"/>
                  <a:pt x="62614" y="3680334"/>
                  <a:pt x="62614" y="3690899"/>
                </a:cubicBezTo>
                <a:cubicBezTo>
                  <a:pt x="62614" y="3704987"/>
                  <a:pt x="62614" y="3719074"/>
                  <a:pt x="62614" y="3719074"/>
                </a:cubicBezTo>
                <a:cubicBezTo>
                  <a:pt x="48525" y="3704987"/>
                  <a:pt x="48525" y="3690899"/>
                  <a:pt x="48525" y="3676812"/>
                </a:cubicBezTo>
                <a:cubicBezTo>
                  <a:pt x="48525" y="3673290"/>
                  <a:pt x="49406" y="3671529"/>
                  <a:pt x="50726" y="3671089"/>
                </a:cubicBezTo>
                <a:close/>
                <a:moveTo>
                  <a:pt x="7359416" y="2859742"/>
                </a:moveTo>
                <a:cubicBezTo>
                  <a:pt x="7359416" y="2873830"/>
                  <a:pt x="7373504" y="2887917"/>
                  <a:pt x="7359416" y="2887917"/>
                </a:cubicBezTo>
                <a:close/>
                <a:moveTo>
                  <a:pt x="5740166" y="2859742"/>
                </a:moveTo>
                <a:cubicBezTo>
                  <a:pt x="5740166" y="2873830"/>
                  <a:pt x="5754254" y="2887917"/>
                  <a:pt x="5740166" y="2887917"/>
                </a:cubicBezTo>
                <a:close/>
                <a:moveTo>
                  <a:pt x="7358520" y="2844503"/>
                </a:moveTo>
                <a:lnTo>
                  <a:pt x="7359416" y="2845655"/>
                </a:lnTo>
                <a:lnTo>
                  <a:pt x="7359416" y="2859742"/>
                </a:lnTo>
                <a:close/>
                <a:moveTo>
                  <a:pt x="5739270" y="2844503"/>
                </a:moveTo>
                <a:lnTo>
                  <a:pt x="5740166" y="2845655"/>
                </a:lnTo>
                <a:lnTo>
                  <a:pt x="5740166" y="2859742"/>
                </a:lnTo>
                <a:close/>
                <a:moveTo>
                  <a:pt x="7345327" y="2789306"/>
                </a:moveTo>
                <a:cubicBezTo>
                  <a:pt x="7352372" y="2803393"/>
                  <a:pt x="7355894" y="2817480"/>
                  <a:pt x="7357655" y="2829808"/>
                </a:cubicBezTo>
                <a:lnTo>
                  <a:pt x="7358520" y="2844503"/>
                </a:lnTo>
                <a:lnTo>
                  <a:pt x="7347089" y="2829808"/>
                </a:lnTo>
                <a:cubicBezTo>
                  <a:pt x="7345327" y="2824524"/>
                  <a:pt x="7345327" y="2817480"/>
                  <a:pt x="7345327" y="2803393"/>
                </a:cubicBezTo>
                <a:cubicBezTo>
                  <a:pt x="7345327" y="2803393"/>
                  <a:pt x="7345327" y="2803393"/>
                  <a:pt x="7345327" y="2789306"/>
                </a:cubicBezTo>
                <a:close/>
                <a:moveTo>
                  <a:pt x="5726077" y="2789306"/>
                </a:moveTo>
                <a:cubicBezTo>
                  <a:pt x="5733122" y="2803393"/>
                  <a:pt x="5736644" y="2817480"/>
                  <a:pt x="5738405" y="2829808"/>
                </a:cubicBezTo>
                <a:lnTo>
                  <a:pt x="5739270" y="2844503"/>
                </a:lnTo>
                <a:lnTo>
                  <a:pt x="5727839" y="2829808"/>
                </a:lnTo>
                <a:cubicBezTo>
                  <a:pt x="5726077" y="2824524"/>
                  <a:pt x="5726077" y="2817480"/>
                  <a:pt x="5726077" y="2803393"/>
                </a:cubicBezTo>
                <a:cubicBezTo>
                  <a:pt x="5726077" y="2803393"/>
                  <a:pt x="5726077" y="2803393"/>
                  <a:pt x="5726077" y="2789306"/>
                </a:cubicBezTo>
                <a:close/>
                <a:moveTo>
                  <a:pt x="7401680" y="2690693"/>
                </a:moveTo>
                <a:cubicBezTo>
                  <a:pt x="7415769" y="2704782"/>
                  <a:pt x="7415769" y="2718869"/>
                  <a:pt x="7415769" y="2747044"/>
                </a:cubicBezTo>
                <a:cubicBezTo>
                  <a:pt x="7415769" y="2747044"/>
                  <a:pt x="7415769" y="2761131"/>
                  <a:pt x="7415769" y="2761131"/>
                </a:cubicBezTo>
                <a:cubicBezTo>
                  <a:pt x="7415769" y="2732957"/>
                  <a:pt x="7401680" y="2704782"/>
                  <a:pt x="7401680" y="2690693"/>
                </a:cubicBezTo>
                <a:close/>
                <a:moveTo>
                  <a:pt x="5782430" y="2690693"/>
                </a:moveTo>
                <a:cubicBezTo>
                  <a:pt x="5796519" y="2704782"/>
                  <a:pt x="5796519" y="2718869"/>
                  <a:pt x="5796519" y="2747044"/>
                </a:cubicBezTo>
                <a:cubicBezTo>
                  <a:pt x="5796519" y="2747044"/>
                  <a:pt x="5796519" y="2761131"/>
                  <a:pt x="5796519" y="2761131"/>
                </a:cubicBezTo>
                <a:cubicBezTo>
                  <a:pt x="5796519" y="2732957"/>
                  <a:pt x="5782430" y="2704782"/>
                  <a:pt x="5782430" y="2690693"/>
                </a:cubicBezTo>
                <a:close/>
                <a:moveTo>
                  <a:pt x="7345327" y="2676606"/>
                </a:moveTo>
                <a:cubicBezTo>
                  <a:pt x="7359416" y="2704782"/>
                  <a:pt x="7359416" y="2747044"/>
                  <a:pt x="7373504" y="2789306"/>
                </a:cubicBezTo>
                <a:cubicBezTo>
                  <a:pt x="7373504" y="2817480"/>
                  <a:pt x="7387591" y="2859742"/>
                  <a:pt x="7387591" y="2887917"/>
                </a:cubicBezTo>
                <a:cubicBezTo>
                  <a:pt x="7387591" y="2902005"/>
                  <a:pt x="7401680" y="2916093"/>
                  <a:pt x="7401680" y="2930180"/>
                </a:cubicBezTo>
                <a:lnTo>
                  <a:pt x="7401680" y="2958355"/>
                </a:lnTo>
                <a:cubicBezTo>
                  <a:pt x="7387591" y="2902005"/>
                  <a:pt x="7373504" y="2845655"/>
                  <a:pt x="7359416" y="2775218"/>
                </a:cubicBezTo>
                <a:cubicBezTo>
                  <a:pt x="7345327" y="2761131"/>
                  <a:pt x="7345327" y="2747044"/>
                  <a:pt x="7345327" y="2732957"/>
                </a:cubicBezTo>
                <a:cubicBezTo>
                  <a:pt x="7345327" y="2732957"/>
                  <a:pt x="7345327" y="2729435"/>
                  <a:pt x="7345327" y="2724151"/>
                </a:cubicBezTo>
                <a:lnTo>
                  <a:pt x="7345327" y="2710725"/>
                </a:lnTo>
                <a:lnTo>
                  <a:pt x="7345327" y="2710064"/>
                </a:lnTo>
                <a:cubicBezTo>
                  <a:pt x="7345327" y="2708304"/>
                  <a:pt x="7345327" y="2704782"/>
                  <a:pt x="7345327" y="2704782"/>
                </a:cubicBezTo>
                <a:lnTo>
                  <a:pt x="7345327" y="2692455"/>
                </a:lnTo>
                <a:cubicBezTo>
                  <a:pt x="7345327" y="2690693"/>
                  <a:pt x="7345327" y="2690693"/>
                  <a:pt x="7345327" y="2690693"/>
                </a:cubicBezTo>
                <a:lnTo>
                  <a:pt x="7345327" y="2685411"/>
                </a:lnTo>
                <a:cubicBezTo>
                  <a:pt x="7345327" y="2680128"/>
                  <a:pt x="7345327" y="2676606"/>
                  <a:pt x="7345327" y="2676606"/>
                </a:cubicBezTo>
                <a:close/>
                <a:moveTo>
                  <a:pt x="5726077" y="2676606"/>
                </a:moveTo>
                <a:cubicBezTo>
                  <a:pt x="5740166" y="2704782"/>
                  <a:pt x="5740166" y="2747044"/>
                  <a:pt x="5754254" y="2789306"/>
                </a:cubicBezTo>
                <a:cubicBezTo>
                  <a:pt x="5754254" y="2817480"/>
                  <a:pt x="5768341" y="2859742"/>
                  <a:pt x="5768341" y="2887917"/>
                </a:cubicBezTo>
                <a:cubicBezTo>
                  <a:pt x="5768341" y="2902005"/>
                  <a:pt x="5782430" y="2916093"/>
                  <a:pt x="5782430" y="2930180"/>
                </a:cubicBezTo>
                <a:lnTo>
                  <a:pt x="5782430" y="2958355"/>
                </a:lnTo>
                <a:cubicBezTo>
                  <a:pt x="5768341" y="2902005"/>
                  <a:pt x="5754254" y="2845655"/>
                  <a:pt x="5740166" y="2775218"/>
                </a:cubicBezTo>
                <a:cubicBezTo>
                  <a:pt x="5726077" y="2761131"/>
                  <a:pt x="5726077" y="2747044"/>
                  <a:pt x="5726077" y="2732957"/>
                </a:cubicBezTo>
                <a:cubicBezTo>
                  <a:pt x="5726077" y="2732957"/>
                  <a:pt x="5726077" y="2729435"/>
                  <a:pt x="5726077" y="2724151"/>
                </a:cubicBezTo>
                <a:lnTo>
                  <a:pt x="5726077" y="2710725"/>
                </a:lnTo>
                <a:lnTo>
                  <a:pt x="5726077" y="2710064"/>
                </a:lnTo>
                <a:cubicBezTo>
                  <a:pt x="5726077" y="2708304"/>
                  <a:pt x="5726077" y="2704782"/>
                  <a:pt x="5726077" y="2704782"/>
                </a:cubicBezTo>
                <a:lnTo>
                  <a:pt x="5726077" y="2692455"/>
                </a:lnTo>
                <a:cubicBezTo>
                  <a:pt x="5726077" y="2690693"/>
                  <a:pt x="5726077" y="2690693"/>
                  <a:pt x="5726077" y="2690693"/>
                </a:cubicBezTo>
                <a:lnTo>
                  <a:pt x="5726077" y="2685411"/>
                </a:lnTo>
                <a:cubicBezTo>
                  <a:pt x="5726077" y="2680128"/>
                  <a:pt x="5726077" y="2676606"/>
                  <a:pt x="5726077" y="2676606"/>
                </a:cubicBezTo>
                <a:close/>
                <a:moveTo>
                  <a:pt x="7176268" y="2437121"/>
                </a:moveTo>
                <a:cubicBezTo>
                  <a:pt x="7176268" y="2437121"/>
                  <a:pt x="7190357" y="2437121"/>
                  <a:pt x="7176268" y="2451208"/>
                </a:cubicBezTo>
                <a:cubicBezTo>
                  <a:pt x="7176268" y="2437121"/>
                  <a:pt x="7176268" y="2437121"/>
                  <a:pt x="7176268" y="2437121"/>
                </a:cubicBezTo>
                <a:close/>
                <a:moveTo>
                  <a:pt x="5557018" y="2437121"/>
                </a:moveTo>
                <a:cubicBezTo>
                  <a:pt x="5557018" y="2437121"/>
                  <a:pt x="5571107" y="2437121"/>
                  <a:pt x="5557018" y="2451208"/>
                </a:cubicBezTo>
                <a:cubicBezTo>
                  <a:pt x="5557018" y="2437121"/>
                  <a:pt x="5557018" y="2437121"/>
                  <a:pt x="5557018" y="2437121"/>
                </a:cubicBezTo>
                <a:close/>
                <a:moveTo>
                  <a:pt x="7280169" y="2415990"/>
                </a:moveTo>
                <a:cubicBezTo>
                  <a:pt x="7285452" y="2430077"/>
                  <a:pt x="7288974" y="2444164"/>
                  <a:pt x="7288974" y="2451208"/>
                </a:cubicBezTo>
                <a:cubicBezTo>
                  <a:pt x="7288974" y="2437121"/>
                  <a:pt x="7285452" y="2426555"/>
                  <a:pt x="7280169" y="2415990"/>
                </a:cubicBezTo>
                <a:close/>
                <a:moveTo>
                  <a:pt x="5660919" y="2415990"/>
                </a:moveTo>
                <a:cubicBezTo>
                  <a:pt x="5666202" y="2430077"/>
                  <a:pt x="5669724" y="2444164"/>
                  <a:pt x="5669724" y="2451208"/>
                </a:cubicBezTo>
                <a:cubicBezTo>
                  <a:pt x="5669724" y="2437121"/>
                  <a:pt x="5666202" y="2426555"/>
                  <a:pt x="5660919" y="2415990"/>
                </a:cubicBezTo>
                <a:close/>
                <a:moveTo>
                  <a:pt x="3515093" y="2408946"/>
                </a:moveTo>
                <a:lnTo>
                  <a:pt x="3520376" y="2408946"/>
                </a:lnTo>
                <a:cubicBezTo>
                  <a:pt x="3523898" y="2408946"/>
                  <a:pt x="3527420" y="2408946"/>
                  <a:pt x="3527420" y="2408946"/>
                </a:cubicBezTo>
                <a:cubicBezTo>
                  <a:pt x="3527420" y="2423033"/>
                  <a:pt x="3513333" y="2423033"/>
                  <a:pt x="3513333" y="2437121"/>
                </a:cubicBezTo>
                <a:cubicBezTo>
                  <a:pt x="3499244" y="2451208"/>
                  <a:pt x="3499244" y="2465295"/>
                  <a:pt x="3485156" y="2479383"/>
                </a:cubicBezTo>
                <a:cubicBezTo>
                  <a:pt x="3485156" y="2479383"/>
                  <a:pt x="3485156" y="2465295"/>
                  <a:pt x="3485156" y="2465295"/>
                </a:cubicBezTo>
                <a:lnTo>
                  <a:pt x="3488287" y="2460599"/>
                </a:lnTo>
                <a:lnTo>
                  <a:pt x="3490439" y="2458252"/>
                </a:lnTo>
                <a:lnTo>
                  <a:pt x="3491417" y="2455904"/>
                </a:lnTo>
                <a:lnTo>
                  <a:pt x="3499244" y="2444164"/>
                </a:lnTo>
                <a:cubicBezTo>
                  <a:pt x="3502766" y="2437121"/>
                  <a:pt x="3506288" y="2430077"/>
                  <a:pt x="3513333" y="2423033"/>
                </a:cubicBezTo>
                <a:cubicBezTo>
                  <a:pt x="3513333" y="2415990"/>
                  <a:pt x="3513333" y="2412468"/>
                  <a:pt x="3515093" y="2408946"/>
                </a:cubicBezTo>
                <a:close/>
                <a:moveTo>
                  <a:pt x="7166821" y="2402814"/>
                </a:moveTo>
                <a:lnTo>
                  <a:pt x="7174508" y="2415990"/>
                </a:lnTo>
                <a:cubicBezTo>
                  <a:pt x="7176268" y="2423033"/>
                  <a:pt x="7176268" y="2430077"/>
                  <a:pt x="7176268" y="2437121"/>
                </a:cubicBezTo>
                <a:cubicBezTo>
                  <a:pt x="7176268" y="2430077"/>
                  <a:pt x="7172746" y="2423033"/>
                  <a:pt x="7169225" y="2414228"/>
                </a:cubicBezTo>
                <a:close/>
                <a:moveTo>
                  <a:pt x="5547571" y="2402814"/>
                </a:moveTo>
                <a:lnTo>
                  <a:pt x="5555258" y="2415990"/>
                </a:lnTo>
                <a:cubicBezTo>
                  <a:pt x="5557018" y="2423033"/>
                  <a:pt x="5557018" y="2430077"/>
                  <a:pt x="5557018" y="2437121"/>
                </a:cubicBezTo>
                <a:cubicBezTo>
                  <a:pt x="5557018" y="2430077"/>
                  <a:pt x="5553496" y="2423033"/>
                  <a:pt x="5549975" y="2414228"/>
                </a:cubicBezTo>
                <a:close/>
                <a:moveTo>
                  <a:pt x="7260798" y="2380771"/>
                </a:moveTo>
                <a:cubicBezTo>
                  <a:pt x="7267842" y="2387815"/>
                  <a:pt x="7274887" y="2401903"/>
                  <a:pt x="7280169" y="2415990"/>
                </a:cubicBezTo>
                <a:cubicBezTo>
                  <a:pt x="7274887" y="2405424"/>
                  <a:pt x="7267842" y="2394859"/>
                  <a:pt x="7260798" y="2380771"/>
                </a:cubicBezTo>
                <a:close/>
                <a:moveTo>
                  <a:pt x="7155418" y="2380771"/>
                </a:moveTo>
                <a:lnTo>
                  <a:pt x="7162181" y="2380771"/>
                </a:lnTo>
                <a:lnTo>
                  <a:pt x="7166821" y="2402814"/>
                </a:lnTo>
                <a:lnTo>
                  <a:pt x="7162181" y="2394859"/>
                </a:lnTo>
                <a:close/>
                <a:moveTo>
                  <a:pt x="5641548" y="2380771"/>
                </a:moveTo>
                <a:cubicBezTo>
                  <a:pt x="5648592" y="2387815"/>
                  <a:pt x="5655637" y="2401903"/>
                  <a:pt x="5660919" y="2415990"/>
                </a:cubicBezTo>
                <a:cubicBezTo>
                  <a:pt x="5655637" y="2405424"/>
                  <a:pt x="5648592" y="2394859"/>
                  <a:pt x="5641548" y="2380771"/>
                </a:cubicBezTo>
                <a:close/>
                <a:moveTo>
                  <a:pt x="5536168" y="2380771"/>
                </a:moveTo>
                <a:lnTo>
                  <a:pt x="5542931" y="2380771"/>
                </a:lnTo>
                <a:lnTo>
                  <a:pt x="5547571" y="2402814"/>
                </a:lnTo>
                <a:lnTo>
                  <a:pt x="5542931" y="2394859"/>
                </a:lnTo>
                <a:close/>
                <a:moveTo>
                  <a:pt x="7246710" y="2352596"/>
                </a:moveTo>
                <a:cubicBezTo>
                  <a:pt x="7246710" y="2352596"/>
                  <a:pt x="7246710" y="2352596"/>
                  <a:pt x="7260798" y="2366684"/>
                </a:cubicBezTo>
                <a:cubicBezTo>
                  <a:pt x="7260798" y="2366684"/>
                  <a:pt x="7260798" y="2380771"/>
                  <a:pt x="7260798" y="2380771"/>
                </a:cubicBezTo>
                <a:cubicBezTo>
                  <a:pt x="7260798" y="2380771"/>
                  <a:pt x="7260798" y="2380771"/>
                  <a:pt x="7260798" y="2394859"/>
                </a:cubicBezTo>
                <a:cubicBezTo>
                  <a:pt x="7246710" y="2380771"/>
                  <a:pt x="7246710" y="2366684"/>
                  <a:pt x="7246710" y="2352596"/>
                </a:cubicBezTo>
                <a:close/>
                <a:moveTo>
                  <a:pt x="5627460" y="2352596"/>
                </a:moveTo>
                <a:cubicBezTo>
                  <a:pt x="5627460" y="2352596"/>
                  <a:pt x="5627460" y="2352596"/>
                  <a:pt x="5641548" y="2366684"/>
                </a:cubicBezTo>
                <a:cubicBezTo>
                  <a:pt x="5641548" y="2366684"/>
                  <a:pt x="5641548" y="2380771"/>
                  <a:pt x="5641548" y="2380771"/>
                </a:cubicBezTo>
                <a:cubicBezTo>
                  <a:pt x="5641548" y="2380771"/>
                  <a:pt x="5641548" y="2380771"/>
                  <a:pt x="5641548" y="2394859"/>
                </a:cubicBezTo>
                <a:cubicBezTo>
                  <a:pt x="5627460" y="2380771"/>
                  <a:pt x="5627460" y="2366684"/>
                  <a:pt x="5627460" y="2352596"/>
                </a:cubicBezTo>
                <a:close/>
                <a:moveTo>
                  <a:pt x="3555597" y="2352596"/>
                </a:moveTo>
                <a:cubicBezTo>
                  <a:pt x="3569684" y="2352596"/>
                  <a:pt x="3569684" y="2352596"/>
                  <a:pt x="3569684" y="2352596"/>
                </a:cubicBezTo>
                <a:cubicBezTo>
                  <a:pt x="3555597" y="2366684"/>
                  <a:pt x="3541509" y="2394859"/>
                  <a:pt x="3527420" y="2408946"/>
                </a:cubicBezTo>
                <a:cubicBezTo>
                  <a:pt x="3527420" y="2394859"/>
                  <a:pt x="3527420" y="2394859"/>
                  <a:pt x="3527420" y="2394859"/>
                </a:cubicBezTo>
                <a:lnTo>
                  <a:pt x="3541509" y="2373728"/>
                </a:lnTo>
                <a:cubicBezTo>
                  <a:pt x="3545030" y="2370206"/>
                  <a:pt x="3548552" y="2366684"/>
                  <a:pt x="3555597" y="2366684"/>
                </a:cubicBezTo>
                <a:cubicBezTo>
                  <a:pt x="3555597" y="2352596"/>
                  <a:pt x="3555597" y="2352596"/>
                  <a:pt x="3555597" y="2352596"/>
                </a:cubicBezTo>
                <a:close/>
                <a:moveTo>
                  <a:pt x="3581308" y="2325830"/>
                </a:moveTo>
                <a:lnTo>
                  <a:pt x="3569684" y="2338508"/>
                </a:lnTo>
                <a:cubicBezTo>
                  <a:pt x="3569684" y="2338508"/>
                  <a:pt x="3569684" y="2334986"/>
                  <a:pt x="3571446" y="2331465"/>
                </a:cubicBezTo>
                <a:close/>
                <a:moveTo>
                  <a:pt x="3582600" y="2324421"/>
                </a:moveTo>
                <a:lnTo>
                  <a:pt x="3583773" y="2324421"/>
                </a:lnTo>
                <a:lnTo>
                  <a:pt x="3581308" y="2325830"/>
                </a:lnTo>
                <a:close/>
                <a:moveTo>
                  <a:pt x="7091739" y="2253985"/>
                </a:moveTo>
                <a:cubicBezTo>
                  <a:pt x="7091739" y="2253985"/>
                  <a:pt x="7105828" y="2268072"/>
                  <a:pt x="7105828" y="2268072"/>
                </a:cubicBezTo>
                <a:cubicBezTo>
                  <a:pt x="7119917" y="2282159"/>
                  <a:pt x="7119917" y="2282159"/>
                  <a:pt x="7119917" y="2296246"/>
                </a:cubicBezTo>
                <a:cubicBezTo>
                  <a:pt x="7126960" y="2317377"/>
                  <a:pt x="7134004" y="2334986"/>
                  <a:pt x="7141049" y="2350836"/>
                </a:cubicBezTo>
                <a:lnTo>
                  <a:pt x="7155418" y="2380771"/>
                </a:lnTo>
                <a:lnTo>
                  <a:pt x="7155136" y="2380771"/>
                </a:lnTo>
                <a:cubicBezTo>
                  <a:pt x="7151614" y="2380771"/>
                  <a:pt x="7148092" y="2380771"/>
                  <a:pt x="7148092" y="2380771"/>
                </a:cubicBezTo>
                <a:cubicBezTo>
                  <a:pt x="7148092" y="2380771"/>
                  <a:pt x="7148092" y="2366684"/>
                  <a:pt x="7134004" y="2366684"/>
                </a:cubicBezTo>
                <a:cubicBezTo>
                  <a:pt x="7134004" y="2366684"/>
                  <a:pt x="7134004" y="2352596"/>
                  <a:pt x="7134004" y="2352596"/>
                </a:cubicBezTo>
                <a:cubicBezTo>
                  <a:pt x="7134004" y="2352596"/>
                  <a:pt x="7134004" y="2338508"/>
                  <a:pt x="7134004" y="2338508"/>
                </a:cubicBezTo>
                <a:cubicBezTo>
                  <a:pt x="7119917" y="2324421"/>
                  <a:pt x="7105828" y="2296246"/>
                  <a:pt x="7091739" y="2268072"/>
                </a:cubicBezTo>
                <a:cubicBezTo>
                  <a:pt x="7091739" y="2268072"/>
                  <a:pt x="7091739" y="2268072"/>
                  <a:pt x="7091739" y="2253985"/>
                </a:cubicBezTo>
                <a:close/>
                <a:moveTo>
                  <a:pt x="5472489" y="2253985"/>
                </a:moveTo>
                <a:cubicBezTo>
                  <a:pt x="5472489" y="2253985"/>
                  <a:pt x="5486578" y="2268072"/>
                  <a:pt x="5486578" y="2268072"/>
                </a:cubicBezTo>
                <a:cubicBezTo>
                  <a:pt x="5500667" y="2282159"/>
                  <a:pt x="5500667" y="2282159"/>
                  <a:pt x="5500667" y="2296246"/>
                </a:cubicBezTo>
                <a:cubicBezTo>
                  <a:pt x="5507710" y="2317377"/>
                  <a:pt x="5514754" y="2334986"/>
                  <a:pt x="5521799" y="2350836"/>
                </a:cubicBezTo>
                <a:lnTo>
                  <a:pt x="5536168" y="2380771"/>
                </a:lnTo>
                <a:lnTo>
                  <a:pt x="5535886" y="2380771"/>
                </a:lnTo>
                <a:cubicBezTo>
                  <a:pt x="5532364" y="2380771"/>
                  <a:pt x="5528842" y="2380771"/>
                  <a:pt x="5528842" y="2380771"/>
                </a:cubicBezTo>
                <a:cubicBezTo>
                  <a:pt x="5528842" y="2380771"/>
                  <a:pt x="5528842" y="2366684"/>
                  <a:pt x="5514754" y="2366684"/>
                </a:cubicBezTo>
                <a:cubicBezTo>
                  <a:pt x="5514754" y="2366684"/>
                  <a:pt x="5514754" y="2352596"/>
                  <a:pt x="5514754" y="2352596"/>
                </a:cubicBezTo>
                <a:cubicBezTo>
                  <a:pt x="5514754" y="2352596"/>
                  <a:pt x="5514754" y="2338508"/>
                  <a:pt x="5514754" y="2338508"/>
                </a:cubicBezTo>
                <a:cubicBezTo>
                  <a:pt x="5500667" y="2324421"/>
                  <a:pt x="5486578" y="2296246"/>
                  <a:pt x="5472489" y="2268072"/>
                </a:cubicBezTo>
                <a:cubicBezTo>
                  <a:pt x="5472489" y="2268072"/>
                  <a:pt x="5472489" y="2268072"/>
                  <a:pt x="5472489" y="2253985"/>
                </a:cubicBezTo>
                <a:close/>
                <a:moveTo>
                  <a:pt x="101747" y="2036412"/>
                </a:moveTo>
                <a:lnTo>
                  <a:pt x="99595" y="2039152"/>
                </a:lnTo>
                <a:cubicBezTo>
                  <a:pt x="94312" y="2046196"/>
                  <a:pt x="90789" y="2049717"/>
                  <a:pt x="90789" y="2042674"/>
                </a:cubicBezTo>
                <a:close/>
                <a:moveTo>
                  <a:pt x="103469" y="2034221"/>
                </a:moveTo>
                <a:lnTo>
                  <a:pt x="103118" y="2035630"/>
                </a:lnTo>
                <a:lnTo>
                  <a:pt x="101747" y="2036412"/>
                </a:lnTo>
                <a:close/>
                <a:moveTo>
                  <a:pt x="104878" y="2014499"/>
                </a:moveTo>
                <a:cubicBezTo>
                  <a:pt x="104878" y="2014499"/>
                  <a:pt x="104878" y="2014499"/>
                  <a:pt x="118967" y="2014499"/>
                </a:cubicBezTo>
                <a:lnTo>
                  <a:pt x="103469" y="2034221"/>
                </a:lnTo>
                <a:lnTo>
                  <a:pt x="104878" y="2028587"/>
                </a:lnTo>
                <a:cubicBezTo>
                  <a:pt x="104878" y="2028587"/>
                  <a:pt x="104878" y="2028587"/>
                  <a:pt x="104878" y="2014499"/>
                </a:cubicBezTo>
                <a:close/>
                <a:moveTo>
                  <a:pt x="330290" y="1944061"/>
                </a:moveTo>
                <a:cubicBezTo>
                  <a:pt x="344378" y="1944061"/>
                  <a:pt x="330290" y="1958149"/>
                  <a:pt x="330290" y="1972236"/>
                </a:cubicBezTo>
                <a:cubicBezTo>
                  <a:pt x="330290" y="1958149"/>
                  <a:pt x="330290" y="1944061"/>
                  <a:pt x="330290" y="1944061"/>
                </a:cubicBezTo>
                <a:close/>
                <a:moveTo>
                  <a:pt x="6556388" y="1648227"/>
                </a:moveTo>
                <a:lnTo>
                  <a:pt x="6570476" y="1657031"/>
                </a:lnTo>
                <a:cubicBezTo>
                  <a:pt x="6573997" y="1662314"/>
                  <a:pt x="6577519" y="1669358"/>
                  <a:pt x="6584563" y="1676401"/>
                </a:cubicBezTo>
                <a:cubicBezTo>
                  <a:pt x="6577519" y="1669358"/>
                  <a:pt x="6570476" y="1662314"/>
                  <a:pt x="6561670" y="1653509"/>
                </a:cubicBezTo>
                <a:close/>
                <a:moveTo>
                  <a:pt x="4937138" y="1648227"/>
                </a:moveTo>
                <a:lnTo>
                  <a:pt x="4951226" y="1657031"/>
                </a:lnTo>
                <a:cubicBezTo>
                  <a:pt x="4954747" y="1662314"/>
                  <a:pt x="4958269" y="1669358"/>
                  <a:pt x="4965313" y="1676401"/>
                </a:cubicBezTo>
                <a:cubicBezTo>
                  <a:pt x="4958269" y="1669358"/>
                  <a:pt x="4951226" y="1662314"/>
                  <a:pt x="4942420" y="1653509"/>
                </a:cubicBezTo>
                <a:close/>
                <a:moveTo>
                  <a:pt x="6542300" y="1634140"/>
                </a:moveTo>
                <a:lnTo>
                  <a:pt x="6554627" y="1641183"/>
                </a:lnTo>
                <a:lnTo>
                  <a:pt x="6556387" y="1648227"/>
                </a:lnTo>
                <a:close/>
                <a:moveTo>
                  <a:pt x="4923050" y="1634140"/>
                </a:moveTo>
                <a:lnTo>
                  <a:pt x="4935377" y="1641183"/>
                </a:lnTo>
                <a:lnTo>
                  <a:pt x="4937137" y="1648227"/>
                </a:lnTo>
                <a:close/>
                <a:moveTo>
                  <a:pt x="6415505" y="1577789"/>
                </a:moveTo>
                <a:cubicBezTo>
                  <a:pt x="6429593" y="1591876"/>
                  <a:pt x="6443681" y="1591876"/>
                  <a:pt x="6457770" y="1605964"/>
                </a:cubicBezTo>
                <a:cubicBezTo>
                  <a:pt x="6485946" y="1620051"/>
                  <a:pt x="6500034" y="1648227"/>
                  <a:pt x="6528211" y="1676401"/>
                </a:cubicBezTo>
                <a:cubicBezTo>
                  <a:pt x="6528211" y="1676401"/>
                  <a:pt x="6542298" y="1690489"/>
                  <a:pt x="6542298" y="1690489"/>
                </a:cubicBezTo>
                <a:cubicBezTo>
                  <a:pt x="6514123" y="1662314"/>
                  <a:pt x="6500034" y="1648227"/>
                  <a:pt x="6485946" y="1634138"/>
                </a:cubicBezTo>
                <a:cubicBezTo>
                  <a:pt x="6471858" y="1634138"/>
                  <a:pt x="6471858" y="1634138"/>
                  <a:pt x="6457770" y="1620051"/>
                </a:cubicBezTo>
                <a:cubicBezTo>
                  <a:pt x="6443681" y="1605964"/>
                  <a:pt x="6429593" y="1605964"/>
                  <a:pt x="6429593" y="1605964"/>
                </a:cubicBezTo>
                <a:cubicBezTo>
                  <a:pt x="6429593" y="1591876"/>
                  <a:pt x="6415505" y="1591876"/>
                  <a:pt x="6415505" y="1577789"/>
                </a:cubicBezTo>
                <a:close/>
                <a:moveTo>
                  <a:pt x="4796255" y="1577789"/>
                </a:moveTo>
                <a:cubicBezTo>
                  <a:pt x="4810343" y="1591876"/>
                  <a:pt x="4824431" y="1591876"/>
                  <a:pt x="4838520" y="1605964"/>
                </a:cubicBezTo>
                <a:cubicBezTo>
                  <a:pt x="4866696" y="1620051"/>
                  <a:pt x="4880784" y="1648227"/>
                  <a:pt x="4908961" y="1676401"/>
                </a:cubicBezTo>
                <a:cubicBezTo>
                  <a:pt x="4908961" y="1676401"/>
                  <a:pt x="4923048" y="1690489"/>
                  <a:pt x="4923048" y="1690489"/>
                </a:cubicBezTo>
                <a:cubicBezTo>
                  <a:pt x="4894873" y="1662314"/>
                  <a:pt x="4880784" y="1648227"/>
                  <a:pt x="4866696" y="1634138"/>
                </a:cubicBezTo>
                <a:cubicBezTo>
                  <a:pt x="4852608" y="1634138"/>
                  <a:pt x="4852608" y="1634138"/>
                  <a:pt x="4838520" y="1620051"/>
                </a:cubicBezTo>
                <a:cubicBezTo>
                  <a:pt x="4824431" y="1605964"/>
                  <a:pt x="4810343" y="1605964"/>
                  <a:pt x="4810343" y="1605964"/>
                </a:cubicBezTo>
                <a:cubicBezTo>
                  <a:pt x="4810343" y="1591876"/>
                  <a:pt x="4796255" y="1591876"/>
                  <a:pt x="4796255" y="1577789"/>
                </a:cubicBezTo>
                <a:close/>
                <a:moveTo>
                  <a:pt x="6471858" y="1563702"/>
                </a:moveTo>
                <a:cubicBezTo>
                  <a:pt x="6471858" y="1563702"/>
                  <a:pt x="6485946" y="1577789"/>
                  <a:pt x="6485946" y="1577789"/>
                </a:cubicBezTo>
                <a:cubicBezTo>
                  <a:pt x="6500034" y="1591876"/>
                  <a:pt x="6500034" y="1591876"/>
                  <a:pt x="6514123" y="1591876"/>
                </a:cubicBezTo>
                <a:cubicBezTo>
                  <a:pt x="6521168" y="1598920"/>
                  <a:pt x="6528211" y="1605964"/>
                  <a:pt x="6533493" y="1613007"/>
                </a:cubicBezTo>
                <a:lnTo>
                  <a:pt x="6542298" y="1634138"/>
                </a:lnTo>
                <a:lnTo>
                  <a:pt x="6528211" y="1620051"/>
                </a:lnTo>
                <a:cubicBezTo>
                  <a:pt x="6528211" y="1620051"/>
                  <a:pt x="6528211" y="1620051"/>
                  <a:pt x="6514123" y="1620051"/>
                </a:cubicBezTo>
                <a:cubicBezTo>
                  <a:pt x="6514123" y="1620051"/>
                  <a:pt x="6514123" y="1620051"/>
                  <a:pt x="6514123" y="1605964"/>
                </a:cubicBezTo>
                <a:cubicBezTo>
                  <a:pt x="6500034" y="1605964"/>
                  <a:pt x="6500034" y="1591876"/>
                  <a:pt x="6485946" y="1591876"/>
                </a:cubicBezTo>
                <a:cubicBezTo>
                  <a:pt x="6485946" y="1577789"/>
                  <a:pt x="6471858" y="1577789"/>
                  <a:pt x="6471858" y="1563702"/>
                </a:cubicBezTo>
                <a:close/>
                <a:moveTo>
                  <a:pt x="4852608" y="1563702"/>
                </a:moveTo>
                <a:cubicBezTo>
                  <a:pt x="4852608" y="1563702"/>
                  <a:pt x="4866696" y="1577789"/>
                  <a:pt x="4866696" y="1577789"/>
                </a:cubicBezTo>
                <a:cubicBezTo>
                  <a:pt x="4880784" y="1591876"/>
                  <a:pt x="4880784" y="1591876"/>
                  <a:pt x="4894873" y="1591876"/>
                </a:cubicBezTo>
                <a:cubicBezTo>
                  <a:pt x="4901918" y="1598920"/>
                  <a:pt x="4908961" y="1605964"/>
                  <a:pt x="4914243" y="1613007"/>
                </a:cubicBezTo>
                <a:lnTo>
                  <a:pt x="4923048" y="1634138"/>
                </a:lnTo>
                <a:lnTo>
                  <a:pt x="4908961" y="1620051"/>
                </a:lnTo>
                <a:cubicBezTo>
                  <a:pt x="4908961" y="1620051"/>
                  <a:pt x="4908961" y="1620051"/>
                  <a:pt x="4894873" y="1620051"/>
                </a:cubicBezTo>
                <a:cubicBezTo>
                  <a:pt x="4894873" y="1620051"/>
                  <a:pt x="4894873" y="1620051"/>
                  <a:pt x="4894873" y="1605964"/>
                </a:cubicBezTo>
                <a:cubicBezTo>
                  <a:pt x="4880784" y="1605964"/>
                  <a:pt x="4880784" y="1591876"/>
                  <a:pt x="4866696" y="1591876"/>
                </a:cubicBezTo>
                <a:cubicBezTo>
                  <a:pt x="4866696" y="1577789"/>
                  <a:pt x="4852608" y="1577789"/>
                  <a:pt x="4852608" y="1563702"/>
                </a:cubicBezTo>
                <a:close/>
                <a:moveTo>
                  <a:pt x="6908593" y="1549616"/>
                </a:moveTo>
                <a:lnTo>
                  <a:pt x="6927964" y="1568985"/>
                </a:lnTo>
                <a:cubicBezTo>
                  <a:pt x="6936769" y="1577789"/>
                  <a:pt x="6943813" y="1584833"/>
                  <a:pt x="6950858" y="1591876"/>
                </a:cubicBezTo>
                <a:cubicBezTo>
                  <a:pt x="6950858" y="1591876"/>
                  <a:pt x="6964945" y="1605964"/>
                  <a:pt x="6964945" y="1605964"/>
                </a:cubicBezTo>
                <a:cubicBezTo>
                  <a:pt x="6950858" y="1598920"/>
                  <a:pt x="6940291" y="1591876"/>
                  <a:pt x="6931486" y="1583072"/>
                </a:cubicBezTo>
                <a:close/>
                <a:moveTo>
                  <a:pt x="5289343" y="1549616"/>
                </a:moveTo>
                <a:lnTo>
                  <a:pt x="5308714" y="1568985"/>
                </a:lnTo>
                <a:cubicBezTo>
                  <a:pt x="5317519" y="1577789"/>
                  <a:pt x="5324563" y="1584833"/>
                  <a:pt x="5331608" y="1591876"/>
                </a:cubicBezTo>
                <a:cubicBezTo>
                  <a:pt x="5331608" y="1591876"/>
                  <a:pt x="5345695" y="1605964"/>
                  <a:pt x="5345695" y="1605964"/>
                </a:cubicBezTo>
                <a:cubicBezTo>
                  <a:pt x="5331608" y="1598920"/>
                  <a:pt x="5321041" y="1591876"/>
                  <a:pt x="5312236" y="1583072"/>
                </a:cubicBezTo>
                <a:close/>
                <a:moveTo>
                  <a:pt x="6415505" y="1549614"/>
                </a:moveTo>
                <a:cubicBezTo>
                  <a:pt x="6429593" y="1549614"/>
                  <a:pt x="6429593" y="1563702"/>
                  <a:pt x="6429593" y="1563702"/>
                </a:cubicBezTo>
                <a:cubicBezTo>
                  <a:pt x="6429593" y="1563702"/>
                  <a:pt x="6429593" y="1563702"/>
                  <a:pt x="6415505" y="1549614"/>
                </a:cubicBezTo>
                <a:close/>
                <a:moveTo>
                  <a:pt x="4796255" y="1549614"/>
                </a:moveTo>
                <a:cubicBezTo>
                  <a:pt x="4810343" y="1549614"/>
                  <a:pt x="4810343" y="1563702"/>
                  <a:pt x="4810343" y="1563702"/>
                </a:cubicBezTo>
                <a:cubicBezTo>
                  <a:pt x="4810343" y="1563702"/>
                  <a:pt x="4810343" y="1563702"/>
                  <a:pt x="4796255" y="1549614"/>
                </a:cubicBezTo>
                <a:close/>
                <a:moveTo>
                  <a:pt x="6401417" y="1521440"/>
                </a:moveTo>
                <a:lnTo>
                  <a:pt x="6414624" y="1532005"/>
                </a:lnTo>
                <a:lnTo>
                  <a:pt x="6415505" y="1535527"/>
                </a:lnTo>
                <a:cubicBezTo>
                  <a:pt x="6401417" y="1535527"/>
                  <a:pt x="6401417" y="1521440"/>
                  <a:pt x="6401417" y="1521440"/>
                </a:cubicBezTo>
                <a:close/>
                <a:moveTo>
                  <a:pt x="4782167" y="1521440"/>
                </a:moveTo>
                <a:lnTo>
                  <a:pt x="4795374" y="1532005"/>
                </a:lnTo>
                <a:lnTo>
                  <a:pt x="4796255" y="1535527"/>
                </a:lnTo>
                <a:cubicBezTo>
                  <a:pt x="4782167" y="1535527"/>
                  <a:pt x="4782167" y="1521440"/>
                  <a:pt x="4782167" y="1521440"/>
                </a:cubicBezTo>
                <a:close/>
                <a:moveTo>
                  <a:pt x="6232358" y="1408740"/>
                </a:moveTo>
                <a:cubicBezTo>
                  <a:pt x="6232358" y="1408740"/>
                  <a:pt x="6232358" y="1408740"/>
                  <a:pt x="6246446" y="1422828"/>
                </a:cubicBezTo>
                <a:cubicBezTo>
                  <a:pt x="6260535" y="1422828"/>
                  <a:pt x="6260535" y="1436915"/>
                  <a:pt x="6260535" y="1436915"/>
                </a:cubicBezTo>
                <a:cubicBezTo>
                  <a:pt x="6274622" y="1436915"/>
                  <a:pt x="6288711" y="1451002"/>
                  <a:pt x="6288711" y="1451002"/>
                </a:cubicBezTo>
                <a:cubicBezTo>
                  <a:pt x="6302799" y="1465089"/>
                  <a:pt x="6302799" y="1465089"/>
                  <a:pt x="6302799" y="1465089"/>
                </a:cubicBezTo>
                <a:cubicBezTo>
                  <a:pt x="6288711" y="1465089"/>
                  <a:pt x="6274622" y="1451002"/>
                  <a:pt x="6260535" y="1451002"/>
                </a:cubicBezTo>
                <a:cubicBezTo>
                  <a:pt x="6246446" y="1436915"/>
                  <a:pt x="6232358" y="1436915"/>
                  <a:pt x="6232358" y="1422828"/>
                </a:cubicBezTo>
                <a:cubicBezTo>
                  <a:pt x="6232358" y="1422828"/>
                  <a:pt x="6232358" y="1422828"/>
                  <a:pt x="6232358" y="1408740"/>
                </a:cubicBezTo>
                <a:close/>
                <a:moveTo>
                  <a:pt x="6190093" y="1394653"/>
                </a:moveTo>
                <a:cubicBezTo>
                  <a:pt x="6204182" y="1394653"/>
                  <a:pt x="6204182" y="1394653"/>
                  <a:pt x="6204182" y="1408740"/>
                </a:cubicBezTo>
                <a:cubicBezTo>
                  <a:pt x="6218269" y="1408740"/>
                  <a:pt x="6232358" y="1408740"/>
                  <a:pt x="6232358" y="1422828"/>
                </a:cubicBezTo>
                <a:cubicBezTo>
                  <a:pt x="6204182" y="1422828"/>
                  <a:pt x="6204182" y="1422828"/>
                  <a:pt x="6190093" y="1408740"/>
                </a:cubicBezTo>
                <a:cubicBezTo>
                  <a:pt x="6190093" y="1394653"/>
                  <a:pt x="6190093" y="1394653"/>
                  <a:pt x="6190093" y="1394653"/>
                </a:cubicBezTo>
                <a:close/>
                <a:moveTo>
                  <a:pt x="6162613" y="1385447"/>
                </a:moveTo>
                <a:lnTo>
                  <a:pt x="6176005" y="1394653"/>
                </a:lnTo>
                <a:cubicBezTo>
                  <a:pt x="6168961" y="1394653"/>
                  <a:pt x="6165439" y="1394653"/>
                  <a:pt x="6163678" y="1392893"/>
                </a:cubicBezTo>
                <a:close/>
                <a:moveTo>
                  <a:pt x="6155514" y="1380566"/>
                </a:moveTo>
                <a:lnTo>
                  <a:pt x="6161916" y="1380566"/>
                </a:lnTo>
                <a:lnTo>
                  <a:pt x="6162613" y="1385447"/>
                </a:lnTo>
                <a:close/>
                <a:moveTo>
                  <a:pt x="5640652" y="1338304"/>
                </a:moveTo>
                <a:cubicBezTo>
                  <a:pt x="5654741" y="1338304"/>
                  <a:pt x="5654741" y="1352391"/>
                  <a:pt x="5654741" y="1352391"/>
                </a:cubicBezTo>
                <a:cubicBezTo>
                  <a:pt x="5654741" y="1352391"/>
                  <a:pt x="5640652" y="1352391"/>
                  <a:pt x="5640652" y="1352391"/>
                </a:cubicBezTo>
                <a:cubicBezTo>
                  <a:pt x="5640652" y="1352391"/>
                  <a:pt x="5640652" y="1352391"/>
                  <a:pt x="5640652" y="1338304"/>
                </a:cubicBezTo>
                <a:close/>
                <a:moveTo>
                  <a:pt x="5422004" y="1336050"/>
                </a:moveTo>
                <a:lnTo>
                  <a:pt x="5429329" y="1338304"/>
                </a:lnTo>
                <a:cubicBezTo>
                  <a:pt x="5429329" y="1338304"/>
                  <a:pt x="5425807" y="1338304"/>
                  <a:pt x="5422286" y="1336542"/>
                </a:cubicBezTo>
                <a:close/>
                <a:moveTo>
                  <a:pt x="5017218" y="1324216"/>
                </a:moveTo>
                <a:lnTo>
                  <a:pt x="5021666" y="1329499"/>
                </a:lnTo>
                <a:cubicBezTo>
                  <a:pt x="5032232" y="1338304"/>
                  <a:pt x="5042798" y="1345347"/>
                  <a:pt x="5049843" y="1352391"/>
                </a:cubicBezTo>
                <a:cubicBezTo>
                  <a:pt x="5056887" y="1359435"/>
                  <a:pt x="5063931" y="1366478"/>
                  <a:pt x="5072736" y="1373522"/>
                </a:cubicBezTo>
                <a:lnTo>
                  <a:pt x="5083889" y="1380566"/>
                </a:lnTo>
                <a:lnTo>
                  <a:pt x="5103065" y="1380566"/>
                </a:lnTo>
                <a:lnTo>
                  <a:pt x="5063931" y="1345347"/>
                </a:lnTo>
                <a:lnTo>
                  <a:pt x="5040451" y="1324216"/>
                </a:lnTo>
                <a:lnTo>
                  <a:pt x="5034860" y="1324216"/>
                </a:lnTo>
                <a:close/>
                <a:moveTo>
                  <a:pt x="5093358" y="1313046"/>
                </a:moveTo>
                <a:lnTo>
                  <a:pt x="5086586" y="1315541"/>
                </a:lnTo>
                <a:lnTo>
                  <a:pt x="5092107" y="1324216"/>
                </a:lnTo>
                <a:cubicBezTo>
                  <a:pt x="5099152" y="1324216"/>
                  <a:pt x="5099152" y="1324216"/>
                  <a:pt x="5097390" y="1322455"/>
                </a:cubicBezTo>
                <a:close/>
                <a:moveTo>
                  <a:pt x="5612477" y="1310129"/>
                </a:moveTo>
                <a:cubicBezTo>
                  <a:pt x="5612477" y="1310129"/>
                  <a:pt x="5626565" y="1310129"/>
                  <a:pt x="5626565" y="1310129"/>
                </a:cubicBezTo>
                <a:cubicBezTo>
                  <a:pt x="5626565" y="1310129"/>
                  <a:pt x="5626565" y="1310129"/>
                  <a:pt x="5640652" y="1324216"/>
                </a:cubicBezTo>
                <a:cubicBezTo>
                  <a:pt x="5626565" y="1324216"/>
                  <a:pt x="5626565" y="1324216"/>
                  <a:pt x="5626565" y="1324216"/>
                </a:cubicBezTo>
                <a:cubicBezTo>
                  <a:pt x="5626565" y="1324216"/>
                  <a:pt x="5626565" y="1310129"/>
                  <a:pt x="5612477" y="1310129"/>
                </a:cubicBezTo>
                <a:close/>
                <a:moveTo>
                  <a:pt x="6126036" y="740689"/>
                </a:moveTo>
                <a:lnTo>
                  <a:pt x="6127728" y="741995"/>
                </a:lnTo>
                <a:lnTo>
                  <a:pt x="6124935" y="741350"/>
                </a:lnTo>
                <a:cubicBezTo>
                  <a:pt x="6124055" y="740469"/>
                  <a:pt x="6124496" y="740029"/>
                  <a:pt x="6126036" y="740689"/>
                </a:cubicBezTo>
                <a:close/>
                <a:moveTo>
                  <a:pt x="5851976" y="633934"/>
                </a:moveTo>
                <a:cubicBezTo>
                  <a:pt x="5851976" y="633934"/>
                  <a:pt x="5866064" y="648021"/>
                  <a:pt x="5866064" y="648021"/>
                </a:cubicBezTo>
                <a:cubicBezTo>
                  <a:pt x="5866064" y="648021"/>
                  <a:pt x="5851976" y="648021"/>
                  <a:pt x="5851976" y="648021"/>
                </a:cubicBezTo>
                <a:cubicBezTo>
                  <a:pt x="5837888" y="633934"/>
                  <a:pt x="5823800" y="633934"/>
                  <a:pt x="5851976" y="633934"/>
                </a:cubicBezTo>
                <a:close/>
                <a:moveTo>
                  <a:pt x="3782948" y="616507"/>
                </a:moveTo>
                <a:lnTo>
                  <a:pt x="3766920" y="619846"/>
                </a:lnTo>
                <a:cubicBezTo>
                  <a:pt x="3752832" y="633934"/>
                  <a:pt x="3752832" y="633934"/>
                  <a:pt x="3752832" y="633934"/>
                </a:cubicBezTo>
                <a:lnTo>
                  <a:pt x="3799137" y="618500"/>
                </a:lnTo>
                <a:close/>
                <a:moveTo>
                  <a:pt x="3851449" y="591672"/>
                </a:moveTo>
                <a:cubicBezTo>
                  <a:pt x="3837361" y="591672"/>
                  <a:pt x="3823273" y="598715"/>
                  <a:pt x="3809185" y="605759"/>
                </a:cubicBezTo>
                <a:lnTo>
                  <a:pt x="3794263" y="612598"/>
                </a:lnTo>
                <a:lnTo>
                  <a:pt x="3801275" y="612803"/>
                </a:lnTo>
                <a:lnTo>
                  <a:pt x="3814919" y="613239"/>
                </a:lnTo>
                <a:lnTo>
                  <a:pt x="3862692" y="597316"/>
                </a:lnTo>
                <a:lnTo>
                  <a:pt x="3852344" y="591672"/>
                </a:lnTo>
                <a:close/>
                <a:moveTo>
                  <a:pt x="5725182" y="563496"/>
                </a:moveTo>
                <a:cubicBezTo>
                  <a:pt x="5725182" y="563496"/>
                  <a:pt x="5739270" y="563496"/>
                  <a:pt x="5739270" y="563496"/>
                </a:cubicBezTo>
                <a:cubicBezTo>
                  <a:pt x="5753358" y="563496"/>
                  <a:pt x="5767447" y="577583"/>
                  <a:pt x="5781535" y="577583"/>
                </a:cubicBezTo>
                <a:cubicBezTo>
                  <a:pt x="5795623" y="591672"/>
                  <a:pt x="5795623" y="591672"/>
                  <a:pt x="5781535" y="591672"/>
                </a:cubicBezTo>
                <a:cubicBezTo>
                  <a:pt x="5767447" y="591672"/>
                  <a:pt x="5767447" y="577583"/>
                  <a:pt x="5725182" y="563496"/>
                </a:cubicBezTo>
                <a:close/>
                <a:moveTo>
                  <a:pt x="3284877" y="436851"/>
                </a:moveTo>
                <a:lnTo>
                  <a:pt x="3282652" y="436930"/>
                </a:lnTo>
                <a:cubicBezTo>
                  <a:pt x="3275608" y="437371"/>
                  <a:pt x="3265042" y="438691"/>
                  <a:pt x="3265042" y="442653"/>
                </a:cubicBezTo>
                <a:lnTo>
                  <a:pt x="3270505" y="447246"/>
                </a:lnTo>
                <a:lnTo>
                  <a:pt x="3281317" y="439572"/>
                </a:lnTo>
                <a:close/>
                <a:moveTo>
                  <a:pt x="4922154" y="436710"/>
                </a:moveTo>
                <a:cubicBezTo>
                  <a:pt x="4922154" y="436710"/>
                  <a:pt x="4922154" y="436710"/>
                  <a:pt x="4936242" y="436710"/>
                </a:cubicBezTo>
                <a:cubicBezTo>
                  <a:pt x="4936242" y="436710"/>
                  <a:pt x="4950331" y="436710"/>
                  <a:pt x="4950331" y="436710"/>
                </a:cubicBezTo>
                <a:cubicBezTo>
                  <a:pt x="4950331" y="436710"/>
                  <a:pt x="4936242" y="450798"/>
                  <a:pt x="4922154" y="436710"/>
                </a:cubicBezTo>
                <a:close/>
                <a:moveTo>
                  <a:pt x="5989458" y="398334"/>
                </a:moveTo>
                <a:lnTo>
                  <a:pt x="5998141" y="401492"/>
                </a:lnTo>
                <a:cubicBezTo>
                  <a:pt x="6003424" y="405012"/>
                  <a:pt x="6006946" y="408534"/>
                  <a:pt x="6006946" y="408534"/>
                </a:cubicBezTo>
                <a:close/>
                <a:moveTo>
                  <a:pt x="4370208" y="398334"/>
                </a:moveTo>
                <a:lnTo>
                  <a:pt x="4378891" y="401492"/>
                </a:lnTo>
                <a:cubicBezTo>
                  <a:pt x="4384174" y="405012"/>
                  <a:pt x="4387696" y="408534"/>
                  <a:pt x="4387696" y="408534"/>
                </a:cubicBezTo>
                <a:close/>
                <a:moveTo>
                  <a:pt x="5982959" y="395971"/>
                </a:moveTo>
                <a:lnTo>
                  <a:pt x="5985815" y="396209"/>
                </a:lnTo>
                <a:lnTo>
                  <a:pt x="5989458" y="398334"/>
                </a:lnTo>
                <a:close/>
                <a:moveTo>
                  <a:pt x="4363709" y="395971"/>
                </a:moveTo>
                <a:lnTo>
                  <a:pt x="4366565" y="396209"/>
                </a:lnTo>
                <a:lnTo>
                  <a:pt x="4370208" y="398334"/>
                </a:lnTo>
                <a:close/>
                <a:moveTo>
                  <a:pt x="5880153" y="366272"/>
                </a:moveTo>
                <a:cubicBezTo>
                  <a:pt x="5908329" y="380360"/>
                  <a:pt x="5936506" y="380360"/>
                  <a:pt x="5978770" y="394447"/>
                </a:cubicBezTo>
                <a:lnTo>
                  <a:pt x="5982959" y="395971"/>
                </a:lnTo>
                <a:lnTo>
                  <a:pt x="5964682" y="394447"/>
                </a:lnTo>
                <a:close/>
                <a:moveTo>
                  <a:pt x="5837888" y="352185"/>
                </a:moveTo>
                <a:lnTo>
                  <a:pt x="5880153" y="366272"/>
                </a:lnTo>
                <a:lnTo>
                  <a:pt x="5867826" y="366272"/>
                </a:lnTo>
                <a:cubicBezTo>
                  <a:pt x="5866064" y="366272"/>
                  <a:pt x="5866064" y="366272"/>
                  <a:pt x="5866064" y="366272"/>
                </a:cubicBezTo>
                <a:cubicBezTo>
                  <a:pt x="5851976" y="366272"/>
                  <a:pt x="5837888" y="352185"/>
                  <a:pt x="5837888" y="352185"/>
                </a:cubicBezTo>
                <a:close/>
                <a:moveTo>
                  <a:pt x="4090949" y="338098"/>
                </a:moveTo>
                <a:cubicBezTo>
                  <a:pt x="4076861" y="352185"/>
                  <a:pt x="4062772" y="352185"/>
                  <a:pt x="4062772" y="352185"/>
                </a:cubicBezTo>
                <a:cubicBezTo>
                  <a:pt x="4062772" y="352185"/>
                  <a:pt x="4105037" y="352185"/>
                  <a:pt x="4105037" y="352185"/>
                </a:cubicBezTo>
                <a:cubicBezTo>
                  <a:pt x="4076861" y="366272"/>
                  <a:pt x="4034596" y="366272"/>
                  <a:pt x="4006419" y="380360"/>
                </a:cubicBezTo>
                <a:cubicBezTo>
                  <a:pt x="4006419" y="380360"/>
                  <a:pt x="3992331" y="380360"/>
                  <a:pt x="3992331" y="394447"/>
                </a:cubicBezTo>
                <a:cubicBezTo>
                  <a:pt x="3978244" y="394447"/>
                  <a:pt x="3978244" y="394447"/>
                  <a:pt x="3978244" y="394447"/>
                </a:cubicBezTo>
                <a:cubicBezTo>
                  <a:pt x="3978244" y="394447"/>
                  <a:pt x="3978244" y="394447"/>
                  <a:pt x="3964155" y="394447"/>
                </a:cubicBezTo>
                <a:cubicBezTo>
                  <a:pt x="3964155" y="408534"/>
                  <a:pt x="3950066" y="408534"/>
                  <a:pt x="3950066" y="408534"/>
                </a:cubicBezTo>
                <a:cubicBezTo>
                  <a:pt x="3950066" y="408534"/>
                  <a:pt x="3935979" y="422623"/>
                  <a:pt x="3907802" y="422623"/>
                </a:cubicBezTo>
                <a:cubicBezTo>
                  <a:pt x="3921891" y="436710"/>
                  <a:pt x="3921891" y="436710"/>
                  <a:pt x="3964155" y="408534"/>
                </a:cubicBezTo>
                <a:cubicBezTo>
                  <a:pt x="3992331" y="408534"/>
                  <a:pt x="4020508" y="394447"/>
                  <a:pt x="4034596" y="394447"/>
                </a:cubicBezTo>
                <a:cubicBezTo>
                  <a:pt x="4048684" y="394447"/>
                  <a:pt x="4076861" y="394447"/>
                  <a:pt x="4090949" y="380360"/>
                </a:cubicBezTo>
                <a:cubicBezTo>
                  <a:pt x="4090949" y="380360"/>
                  <a:pt x="4105037" y="380360"/>
                  <a:pt x="4105037" y="380360"/>
                </a:cubicBezTo>
                <a:cubicBezTo>
                  <a:pt x="4105037" y="380360"/>
                  <a:pt x="4133214" y="366272"/>
                  <a:pt x="4161390" y="352185"/>
                </a:cubicBezTo>
                <a:cubicBezTo>
                  <a:pt x="4168434" y="352185"/>
                  <a:pt x="4175478" y="352185"/>
                  <a:pt x="4184284" y="350424"/>
                </a:cubicBezTo>
                <a:lnTo>
                  <a:pt x="4185741" y="349887"/>
                </a:lnTo>
                <a:lnTo>
                  <a:pt x="4173732" y="344041"/>
                </a:lnTo>
                <a:cubicBezTo>
                  <a:pt x="4160524" y="338098"/>
                  <a:pt x="4155241" y="338098"/>
                  <a:pt x="4134108" y="338098"/>
                </a:cubicBezTo>
                <a:cubicBezTo>
                  <a:pt x="4134108" y="338098"/>
                  <a:pt x="4130586" y="338098"/>
                  <a:pt x="4125303" y="338098"/>
                </a:cubicBezTo>
                <a:lnTo>
                  <a:pt x="4119125" y="338098"/>
                </a:lnTo>
                <a:cubicBezTo>
                  <a:pt x="4119125" y="338098"/>
                  <a:pt x="4115603" y="338098"/>
                  <a:pt x="4110320" y="338098"/>
                </a:cubicBezTo>
                <a:lnTo>
                  <a:pt x="4105932" y="338098"/>
                </a:lnTo>
                <a:close/>
                <a:moveTo>
                  <a:pt x="5640652" y="309923"/>
                </a:moveTo>
                <a:cubicBezTo>
                  <a:pt x="5682917" y="309923"/>
                  <a:pt x="5739270" y="324010"/>
                  <a:pt x="5795623" y="338098"/>
                </a:cubicBezTo>
                <a:cubicBezTo>
                  <a:pt x="5809711" y="338098"/>
                  <a:pt x="5809711" y="338098"/>
                  <a:pt x="5837888" y="338098"/>
                </a:cubicBezTo>
                <a:cubicBezTo>
                  <a:pt x="5837888" y="352185"/>
                  <a:pt x="5837888" y="352185"/>
                  <a:pt x="5837888" y="352185"/>
                </a:cubicBezTo>
                <a:cubicBezTo>
                  <a:pt x="5823800" y="352185"/>
                  <a:pt x="5809711" y="352185"/>
                  <a:pt x="5809711" y="352185"/>
                </a:cubicBezTo>
                <a:cubicBezTo>
                  <a:pt x="5781535" y="338098"/>
                  <a:pt x="5781535" y="338098"/>
                  <a:pt x="5753358" y="338098"/>
                </a:cubicBezTo>
                <a:cubicBezTo>
                  <a:pt x="5753358" y="338098"/>
                  <a:pt x="5739270" y="338098"/>
                  <a:pt x="5725182" y="338098"/>
                </a:cubicBezTo>
                <a:cubicBezTo>
                  <a:pt x="5697005" y="324010"/>
                  <a:pt x="5668829" y="324010"/>
                  <a:pt x="5640652" y="309923"/>
                </a:cubicBezTo>
                <a:close/>
                <a:moveTo>
                  <a:pt x="3509384" y="303980"/>
                </a:moveTo>
                <a:cubicBezTo>
                  <a:pt x="3492214" y="301999"/>
                  <a:pt x="3479006" y="309923"/>
                  <a:pt x="3457874" y="309923"/>
                </a:cubicBezTo>
                <a:cubicBezTo>
                  <a:pt x="3443786" y="309923"/>
                  <a:pt x="3401521" y="309923"/>
                  <a:pt x="3373345" y="309923"/>
                </a:cubicBezTo>
                <a:cubicBezTo>
                  <a:pt x="3345168" y="309923"/>
                  <a:pt x="3331081" y="309923"/>
                  <a:pt x="3316993" y="309923"/>
                </a:cubicBezTo>
                <a:cubicBezTo>
                  <a:pt x="3316993" y="324010"/>
                  <a:pt x="3302904" y="324010"/>
                  <a:pt x="3288816" y="324010"/>
                </a:cubicBezTo>
                <a:cubicBezTo>
                  <a:pt x="3288816" y="324010"/>
                  <a:pt x="3274728" y="324010"/>
                  <a:pt x="3260639" y="324010"/>
                </a:cubicBezTo>
                <a:cubicBezTo>
                  <a:pt x="3260639" y="324010"/>
                  <a:pt x="3260639" y="324010"/>
                  <a:pt x="3246551" y="324010"/>
                </a:cubicBezTo>
                <a:cubicBezTo>
                  <a:pt x="3232462" y="324010"/>
                  <a:pt x="3232462" y="309923"/>
                  <a:pt x="3190198" y="324010"/>
                </a:cubicBezTo>
                <a:cubicBezTo>
                  <a:pt x="3176110" y="324010"/>
                  <a:pt x="3176110" y="324010"/>
                  <a:pt x="3176110" y="324010"/>
                </a:cubicBezTo>
                <a:cubicBezTo>
                  <a:pt x="3162022" y="324010"/>
                  <a:pt x="3162022" y="324010"/>
                  <a:pt x="3162022" y="324010"/>
                </a:cubicBezTo>
                <a:cubicBezTo>
                  <a:pt x="3147934" y="338098"/>
                  <a:pt x="3119756" y="338098"/>
                  <a:pt x="3105669" y="338098"/>
                </a:cubicBezTo>
                <a:cubicBezTo>
                  <a:pt x="3105669" y="338098"/>
                  <a:pt x="3091581" y="338098"/>
                  <a:pt x="3091581" y="338098"/>
                </a:cubicBezTo>
                <a:cubicBezTo>
                  <a:pt x="3077492" y="338098"/>
                  <a:pt x="3063405" y="338098"/>
                  <a:pt x="3035228" y="338098"/>
                </a:cubicBezTo>
                <a:cubicBezTo>
                  <a:pt x="3007052" y="338098"/>
                  <a:pt x="2992963" y="338098"/>
                  <a:pt x="2964786" y="352185"/>
                </a:cubicBezTo>
                <a:cubicBezTo>
                  <a:pt x="2950699" y="352185"/>
                  <a:pt x="2950699" y="352185"/>
                  <a:pt x="2950699" y="352185"/>
                </a:cubicBezTo>
                <a:cubicBezTo>
                  <a:pt x="2950699" y="352185"/>
                  <a:pt x="2936611" y="366272"/>
                  <a:pt x="2908433" y="366272"/>
                </a:cubicBezTo>
                <a:cubicBezTo>
                  <a:pt x="2908433" y="366272"/>
                  <a:pt x="2894345" y="366272"/>
                  <a:pt x="2894345" y="366272"/>
                </a:cubicBezTo>
                <a:cubicBezTo>
                  <a:pt x="2894345" y="366272"/>
                  <a:pt x="2880257" y="366272"/>
                  <a:pt x="2880257" y="366272"/>
                </a:cubicBezTo>
                <a:cubicBezTo>
                  <a:pt x="2866169" y="366272"/>
                  <a:pt x="2866169" y="366272"/>
                  <a:pt x="2866169" y="366272"/>
                </a:cubicBezTo>
                <a:cubicBezTo>
                  <a:pt x="2852080" y="366272"/>
                  <a:pt x="2837993" y="380360"/>
                  <a:pt x="2809816" y="380360"/>
                </a:cubicBezTo>
                <a:cubicBezTo>
                  <a:pt x="2809816" y="380360"/>
                  <a:pt x="2795729" y="380360"/>
                  <a:pt x="2781640" y="380360"/>
                </a:cubicBezTo>
                <a:cubicBezTo>
                  <a:pt x="2781640" y="380360"/>
                  <a:pt x="2781640" y="380360"/>
                  <a:pt x="2781640" y="394447"/>
                </a:cubicBezTo>
                <a:cubicBezTo>
                  <a:pt x="2767551" y="394447"/>
                  <a:pt x="2767551" y="394447"/>
                  <a:pt x="2767551" y="394447"/>
                </a:cubicBezTo>
                <a:cubicBezTo>
                  <a:pt x="2767551" y="394447"/>
                  <a:pt x="2753463" y="394447"/>
                  <a:pt x="2753463" y="394447"/>
                </a:cubicBezTo>
                <a:cubicBezTo>
                  <a:pt x="2753463" y="394447"/>
                  <a:pt x="2753463" y="394447"/>
                  <a:pt x="2739374" y="394447"/>
                </a:cubicBezTo>
                <a:cubicBezTo>
                  <a:pt x="2725287" y="408534"/>
                  <a:pt x="2697110" y="422623"/>
                  <a:pt x="2654846" y="422623"/>
                </a:cubicBezTo>
                <a:cubicBezTo>
                  <a:pt x="2640758" y="422623"/>
                  <a:pt x="2640758" y="422623"/>
                  <a:pt x="2640758" y="422623"/>
                </a:cubicBezTo>
                <a:cubicBezTo>
                  <a:pt x="2626670" y="422623"/>
                  <a:pt x="2612581" y="436710"/>
                  <a:pt x="2612581" y="436710"/>
                </a:cubicBezTo>
                <a:cubicBezTo>
                  <a:pt x="2598493" y="436710"/>
                  <a:pt x="2598493" y="436710"/>
                  <a:pt x="2598493" y="436710"/>
                </a:cubicBezTo>
                <a:cubicBezTo>
                  <a:pt x="2612581" y="436710"/>
                  <a:pt x="2584406" y="436710"/>
                  <a:pt x="2584406" y="450798"/>
                </a:cubicBezTo>
                <a:cubicBezTo>
                  <a:pt x="2584406" y="450798"/>
                  <a:pt x="2584406" y="450798"/>
                  <a:pt x="2570317" y="450798"/>
                </a:cubicBezTo>
                <a:cubicBezTo>
                  <a:pt x="2513964" y="464885"/>
                  <a:pt x="2485787" y="464885"/>
                  <a:pt x="2443523" y="493059"/>
                </a:cubicBezTo>
                <a:cubicBezTo>
                  <a:pt x="2429434" y="493059"/>
                  <a:pt x="2429434" y="493059"/>
                  <a:pt x="2415347" y="493059"/>
                </a:cubicBezTo>
                <a:cubicBezTo>
                  <a:pt x="2401258" y="507147"/>
                  <a:pt x="2401258" y="507147"/>
                  <a:pt x="2401258" y="507147"/>
                </a:cubicBezTo>
                <a:cubicBezTo>
                  <a:pt x="2387169" y="507147"/>
                  <a:pt x="2373081" y="521234"/>
                  <a:pt x="2358994" y="521234"/>
                </a:cubicBezTo>
                <a:cubicBezTo>
                  <a:pt x="2344905" y="535321"/>
                  <a:pt x="2330816" y="535321"/>
                  <a:pt x="2330816" y="535321"/>
                </a:cubicBezTo>
                <a:cubicBezTo>
                  <a:pt x="2316729" y="535321"/>
                  <a:pt x="2316729" y="535321"/>
                  <a:pt x="2316729" y="535321"/>
                </a:cubicBezTo>
                <a:cubicBezTo>
                  <a:pt x="2330816" y="535321"/>
                  <a:pt x="2302641" y="549409"/>
                  <a:pt x="2288552" y="563496"/>
                </a:cubicBezTo>
                <a:cubicBezTo>
                  <a:pt x="2288552" y="563496"/>
                  <a:pt x="2274464" y="563496"/>
                  <a:pt x="2274464" y="577583"/>
                </a:cubicBezTo>
                <a:cubicBezTo>
                  <a:pt x="2274464" y="577583"/>
                  <a:pt x="2260376" y="577583"/>
                  <a:pt x="2232199" y="591672"/>
                </a:cubicBezTo>
                <a:cubicBezTo>
                  <a:pt x="2204023" y="591672"/>
                  <a:pt x="2175846" y="619846"/>
                  <a:pt x="2147670" y="619846"/>
                </a:cubicBezTo>
                <a:cubicBezTo>
                  <a:pt x="2133582" y="633934"/>
                  <a:pt x="2133582" y="633934"/>
                  <a:pt x="2133582" y="633934"/>
                </a:cubicBezTo>
                <a:cubicBezTo>
                  <a:pt x="2175846" y="619846"/>
                  <a:pt x="2218111" y="605759"/>
                  <a:pt x="2260376" y="591672"/>
                </a:cubicBezTo>
                <a:cubicBezTo>
                  <a:pt x="2274464" y="577583"/>
                  <a:pt x="2288552" y="577583"/>
                  <a:pt x="2302641" y="577583"/>
                </a:cubicBezTo>
                <a:cubicBezTo>
                  <a:pt x="2302641" y="577583"/>
                  <a:pt x="2316729" y="577583"/>
                  <a:pt x="2316729" y="563496"/>
                </a:cubicBezTo>
                <a:cubicBezTo>
                  <a:pt x="2330816" y="563496"/>
                  <a:pt x="2330816" y="563496"/>
                  <a:pt x="2344905" y="563496"/>
                </a:cubicBezTo>
                <a:cubicBezTo>
                  <a:pt x="2344905" y="563496"/>
                  <a:pt x="2344905" y="549409"/>
                  <a:pt x="2344905" y="549409"/>
                </a:cubicBezTo>
                <a:cubicBezTo>
                  <a:pt x="2358994" y="549409"/>
                  <a:pt x="2373081" y="549409"/>
                  <a:pt x="2387169" y="549409"/>
                </a:cubicBezTo>
                <a:cubicBezTo>
                  <a:pt x="2387169" y="535321"/>
                  <a:pt x="2401258" y="535321"/>
                  <a:pt x="2401258" y="535321"/>
                </a:cubicBezTo>
                <a:cubicBezTo>
                  <a:pt x="2415347" y="535321"/>
                  <a:pt x="2415347" y="535321"/>
                  <a:pt x="2415347" y="535321"/>
                </a:cubicBezTo>
                <a:cubicBezTo>
                  <a:pt x="2415347" y="535321"/>
                  <a:pt x="2415347" y="535321"/>
                  <a:pt x="2429434" y="521234"/>
                </a:cubicBezTo>
                <a:cubicBezTo>
                  <a:pt x="2457611" y="521234"/>
                  <a:pt x="2471699" y="507147"/>
                  <a:pt x="2499875" y="507147"/>
                </a:cubicBezTo>
                <a:cubicBezTo>
                  <a:pt x="2542140" y="493059"/>
                  <a:pt x="2570317" y="493059"/>
                  <a:pt x="2598493" y="478972"/>
                </a:cubicBezTo>
                <a:cubicBezTo>
                  <a:pt x="2598493" y="478972"/>
                  <a:pt x="2626670" y="464885"/>
                  <a:pt x="2640758" y="464885"/>
                </a:cubicBezTo>
                <a:cubicBezTo>
                  <a:pt x="2612581" y="478972"/>
                  <a:pt x="2598493" y="478972"/>
                  <a:pt x="2626670" y="478972"/>
                </a:cubicBezTo>
                <a:cubicBezTo>
                  <a:pt x="2626670" y="478972"/>
                  <a:pt x="2640758" y="478972"/>
                  <a:pt x="2640758" y="493059"/>
                </a:cubicBezTo>
                <a:cubicBezTo>
                  <a:pt x="2640758" y="493059"/>
                  <a:pt x="2626670" y="493059"/>
                  <a:pt x="2612581" y="493059"/>
                </a:cubicBezTo>
                <a:cubicBezTo>
                  <a:pt x="2598493" y="493059"/>
                  <a:pt x="2612581" y="493059"/>
                  <a:pt x="2612581" y="507147"/>
                </a:cubicBezTo>
                <a:cubicBezTo>
                  <a:pt x="2626670" y="507147"/>
                  <a:pt x="2626670" y="493059"/>
                  <a:pt x="2640758" y="493059"/>
                </a:cubicBezTo>
                <a:cubicBezTo>
                  <a:pt x="2654846" y="493059"/>
                  <a:pt x="2654846" y="493059"/>
                  <a:pt x="2668934" y="493059"/>
                </a:cubicBezTo>
                <a:cubicBezTo>
                  <a:pt x="2697110" y="478972"/>
                  <a:pt x="2725287" y="478972"/>
                  <a:pt x="2753463" y="464885"/>
                </a:cubicBezTo>
                <a:cubicBezTo>
                  <a:pt x="2823905" y="450798"/>
                  <a:pt x="2894345" y="436710"/>
                  <a:pt x="2964786" y="436710"/>
                </a:cubicBezTo>
                <a:cubicBezTo>
                  <a:pt x="2992963" y="422623"/>
                  <a:pt x="3007052" y="422623"/>
                  <a:pt x="3021139" y="422623"/>
                </a:cubicBezTo>
                <a:lnTo>
                  <a:pt x="3049316" y="422623"/>
                </a:lnTo>
                <a:lnTo>
                  <a:pt x="3061643" y="422623"/>
                </a:lnTo>
                <a:cubicBezTo>
                  <a:pt x="3073970" y="422623"/>
                  <a:pt x="3084537" y="422623"/>
                  <a:pt x="3091581" y="422623"/>
                </a:cubicBezTo>
                <a:cubicBezTo>
                  <a:pt x="3091581" y="422623"/>
                  <a:pt x="3105669" y="422623"/>
                  <a:pt x="3105669" y="422623"/>
                </a:cubicBezTo>
                <a:cubicBezTo>
                  <a:pt x="3091581" y="408534"/>
                  <a:pt x="3077492" y="422623"/>
                  <a:pt x="3049316" y="422623"/>
                </a:cubicBezTo>
                <a:cubicBezTo>
                  <a:pt x="3063405" y="408534"/>
                  <a:pt x="3105669" y="408534"/>
                  <a:pt x="3119756" y="408534"/>
                </a:cubicBezTo>
                <a:lnTo>
                  <a:pt x="3133845" y="408534"/>
                </a:lnTo>
                <a:cubicBezTo>
                  <a:pt x="3133845" y="408534"/>
                  <a:pt x="3119756" y="408534"/>
                  <a:pt x="3133845" y="422623"/>
                </a:cubicBezTo>
                <a:cubicBezTo>
                  <a:pt x="3162022" y="422623"/>
                  <a:pt x="3147934" y="422623"/>
                  <a:pt x="3162022" y="436710"/>
                </a:cubicBezTo>
                <a:cubicBezTo>
                  <a:pt x="3176110" y="436710"/>
                  <a:pt x="3176110" y="436710"/>
                  <a:pt x="3190198" y="436710"/>
                </a:cubicBezTo>
                <a:cubicBezTo>
                  <a:pt x="3204287" y="436710"/>
                  <a:pt x="3218375" y="436710"/>
                  <a:pt x="3232462" y="436710"/>
                </a:cubicBezTo>
                <a:cubicBezTo>
                  <a:pt x="3246551" y="429667"/>
                  <a:pt x="3257117" y="426145"/>
                  <a:pt x="3265923" y="426145"/>
                </a:cubicBezTo>
                <a:lnTo>
                  <a:pt x="3286474" y="435630"/>
                </a:lnTo>
                <a:lnTo>
                  <a:pt x="3319619" y="410296"/>
                </a:lnTo>
                <a:cubicBezTo>
                  <a:pt x="3344273" y="390926"/>
                  <a:pt x="3365405" y="373316"/>
                  <a:pt x="3372450" y="366272"/>
                </a:cubicBezTo>
                <a:cubicBezTo>
                  <a:pt x="3386538" y="352185"/>
                  <a:pt x="3400627" y="352185"/>
                  <a:pt x="3414714" y="338098"/>
                </a:cubicBezTo>
                <a:cubicBezTo>
                  <a:pt x="3428803" y="338098"/>
                  <a:pt x="3442891" y="324010"/>
                  <a:pt x="3442891" y="338098"/>
                </a:cubicBezTo>
                <a:cubicBezTo>
                  <a:pt x="3456980" y="338098"/>
                  <a:pt x="3471067" y="324010"/>
                  <a:pt x="3485156" y="324010"/>
                </a:cubicBezTo>
                <a:lnTo>
                  <a:pt x="3513002" y="305116"/>
                </a:lnTo>
                <a:close/>
                <a:moveTo>
                  <a:pt x="3668303" y="267661"/>
                </a:moveTo>
                <a:lnTo>
                  <a:pt x="3611950" y="295836"/>
                </a:lnTo>
                <a:cubicBezTo>
                  <a:pt x="3597862" y="309923"/>
                  <a:pt x="3597862" y="309923"/>
                  <a:pt x="3583773" y="324010"/>
                </a:cubicBezTo>
                <a:cubicBezTo>
                  <a:pt x="3583773" y="324010"/>
                  <a:pt x="3555597" y="338098"/>
                  <a:pt x="3541509" y="338098"/>
                </a:cubicBezTo>
                <a:cubicBezTo>
                  <a:pt x="3513333" y="352185"/>
                  <a:pt x="3499244" y="352185"/>
                  <a:pt x="3471067" y="366272"/>
                </a:cubicBezTo>
                <a:cubicBezTo>
                  <a:pt x="3456980" y="380360"/>
                  <a:pt x="3442891" y="380360"/>
                  <a:pt x="3414714" y="394447"/>
                </a:cubicBezTo>
                <a:cubicBezTo>
                  <a:pt x="3414714" y="394447"/>
                  <a:pt x="3400627" y="408534"/>
                  <a:pt x="3386538" y="408534"/>
                </a:cubicBezTo>
                <a:cubicBezTo>
                  <a:pt x="3372450" y="422623"/>
                  <a:pt x="3358361" y="422623"/>
                  <a:pt x="3344274" y="436710"/>
                </a:cubicBezTo>
                <a:cubicBezTo>
                  <a:pt x="3344274" y="436710"/>
                  <a:pt x="3330185" y="450798"/>
                  <a:pt x="3330185" y="450798"/>
                </a:cubicBezTo>
                <a:lnTo>
                  <a:pt x="3326170" y="452257"/>
                </a:lnTo>
                <a:lnTo>
                  <a:pt x="3361765" y="457920"/>
                </a:lnTo>
                <a:lnTo>
                  <a:pt x="3414714" y="422623"/>
                </a:lnTo>
                <a:cubicBezTo>
                  <a:pt x="3414714" y="408534"/>
                  <a:pt x="3428803" y="408534"/>
                  <a:pt x="3456980" y="394447"/>
                </a:cubicBezTo>
                <a:cubicBezTo>
                  <a:pt x="3485156" y="380360"/>
                  <a:pt x="3513333" y="366272"/>
                  <a:pt x="3541509" y="352185"/>
                </a:cubicBezTo>
                <a:cubicBezTo>
                  <a:pt x="3541509" y="352185"/>
                  <a:pt x="3555597" y="352185"/>
                  <a:pt x="3555597" y="352185"/>
                </a:cubicBezTo>
                <a:cubicBezTo>
                  <a:pt x="3555597" y="352185"/>
                  <a:pt x="3569684" y="338098"/>
                  <a:pt x="3569684" y="338098"/>
                </a:cubicBezTo>
                <a:cubicBezTo>
                  <a:pt x="3583773" y="338098"/>
                  <a:pt x="3583773" y="338098"/>
                  <a:pt x="3597862" y="324010"/>
                </a:cubicBezTo>
                <a:cubicBezTo>
                  <a:pt x="3597862" y="324010"/>
                  <a:pt x="3611950" y="324010"/>
                  <a:pt x="3611950" y="309923"/>
                </a:cubicBezTo>
                <a:cubicBezTo>
                  <a:pt x="3626037" y="309923"/>
                  <a:pt x="3626037" y="309923"/>
                  <a:pt x="3611950" y="324010"/>
                </a:cubicBezTo>
                <a:cubicBezTo>
                  <a:pt x="3611950" y="324010"/>
                  <a:pt x="3626037" y="324010"/>
                  <a:pt x="3597862" y="338098"/>
                </a:cubicBezTo>
                <a:cubicBezTo>
                  <a:pt x="3611950" y="338098"/>
                  <a:pt x="3611950" y="352185"/>
                  <a:pt x="3569684" y="366272"/>
                </a:cubicBezTo>
                <a:cubicBezTo>
                  <a:pt x="3555597" y="373316"/>
                  <a:pt x="3541509" y="376838"/>
                  <a:pt x="3527421" y="380360"/>
                </a:cubicBezTo>
                <a:lnTo>
                  <a:pt x="3527420" y="380360"/>
                </a:lnTo>
                <a:lnTo>
                  <a:pt x="3527419" y="380360"/>
                </a:lnTo>
                <a:lnTo>
                  <a:pt x="3485156" y="394447"/>
                </a:lnTo>
                <a:cubicBezTo>
                  <a:pt x="3485156" y="408534"/>
                  <a:pt x="3456980" y="422623"/>
                  <a:pt x="3428803" y="422623"/>
                </a:cubicBezTo>
                <a:cubicBezTo>
                  <a:pt x="3428803" y="422623"/>
                  <a:pt x="3428803" y="422623"/>
                  <a:pt x="3428803" y="436710"/>
                </a:cubicBezTo>
                <a:cubicBezTo>
                  <a:pt x="3442891" y="422623"/>
                  <a:pt x="3471067" y="422623"/>
                  <a:pt x="3485156" y="408534"/>
                </a:cubicBezTo>
                <a:cubicBezTo>
                  <a:pt x="3492200" y="401491"/>
                  <a:pt x="3499244" y="397969"/>
                  <a:pt x="3506288" y="394447"/>
                </a:cubicBezTo>
                <a:lnTo>
                  <a:pt x="3527419" y="380360"/>
                </a:lnTo>
                <a:lnTo>
                  <a:pt x="3527421" y="380360"/>
                </a:lnTo>
                <a:lnTo>
                  <a:pt x="3534464" y="380360"/>
                </a:lnTo>
                <a:cubicBezTo>
                  <a:pt x="3537987" y="380360"/>
                  <a:pt x="3541509" y="380360"/>
                  <a:pt x="3541509" y="380360"/>
                </a:cubicBezTo>
                <a:cubicBezTo>
                  <a:pt x="3555597" y="380360"/>
                  <a:pt x="3569684" y="366272"/>
                  <a:pt x="3583773" y="366272"/>
                </a:cubicBezTo>
                <a:cubicBezTo>
                  <a:pt x="3541509" y="380360"/>
                  <a:pt x="3513333" y="394447"/>
                  <a:pt x="3485156" y="422623"/>
                </a:cubicBezTo>
                <a:cubicBezTo>
                  <a:pt x="3474589" y="433188"/>
                  <a:pt x="3456099" y="435830"/>
                  <a:pt x="3435627" y="448376"/>
                </a:cubicBezTo>
                <a:lnTo>
                  <a:pt x="3416316" y="463620"/>
                </a:lnTo>
                <a:lnTo>
                  <a:pt x="3471963" y="464885"/>
                </a:lnTo>
                <a:cubicBezTo>
                  <a:pt x="3486050" y="464885"/>
                  <a:pt x="3500139" y="464885"/>
                  <a:pt x="3500139" y="464885"/>
                </a:cubicBezTo>
                <a:cubicBezTo>
                  <a:pt x="3514227" y="464885"/>
                  <a:pt x="3514227" y="464885"/>
                  <a:pt x="3514227" y="464885"/>
                </a:cubicBezTo>
                <a:cubicBezTo>
                  <a:pt x="3528316" y="464885"/>
                  <a:pt x="3542404" y="464885"/>
                  <a:pt x="3554731" y="464885"/>
                </a:cubicBezTo>
                <a:lnTo>
                  <a:pt x="3555597" y="464885"/>
                </a:lnTo>
                <a:cubicBezTo>
                  <a:pt x="3555597" y="464885"/>
                  <a:pt x="3569684" y="450798"/>
                  <a:pt x="3583773" y="450798"/>
                </a:cubicBezTo>
                <a:cubicBezTo>
                  <a:pt x="3597862" y="450798"/>
                  <a:pt x="3611950" y="436710"/>
                  <a:pt x="3626037" y="436710"/>
                </a:cubicBezTo>
                <a:cubicBezTo>
                  <a:pt x="3654214" y="422623"/>
                  <a:pt x="3654214" y="422623"/>
                  <a:pt x="3682390" y="408534"/>
                </a:cubicBezTo>
                <a:cubicBezTo>
                  <a:pt x="3696479" y="394447"/>
                  <a:pt x="3696479" y="394447"/>
                  <a:pt x="3724655" y="380360"/>
                </a:cubicBezTo>
                <a:cubicBezTo>
                  <a:pt x="3738743" y="380360"/>
                  <a:pt x="3752832" y="366272"/>
                  <a:pt x="3766920" y="366272"/>
                </a:cubicBezTo>
                <a:cubicBezTo>
                  <a:pt x="3795096" y="352185"/>
                  <a:pt x="3795096" y="352185"/>
                  <a:pt x="3823273" y="338098"/>
                </a:cubicBezTo>
                <a:cubicBezTo>
                  <a:pt x="3823273" y="352185"/>
                  <a:pt x="3823273" y="352185"/>
                  <a:pt x="3823273" y="352185"/>
                </a:cubicBezTo>
                <a:cubicBezTo>
                  <a:pt x="3823273" y="352185"/>
                  <a:pt x="3809185" y="352185"/>
                  <a:pt x="3809185" y="352185"/>
                </a:cubicBezTo>
                <a:cubicBezTo>
                  <a:pt x="3809185" y="366272"/>
                  <a:pt x="3809185" y="366272"/>
                  <a:pt x="3809185" y="366272"/>
                </a:cubicBezTo>
                <a:cubicBezTo>
                  <a:pt x="3809185" y="366272"/>
                  <a:pt x="3795096" y="366272"/>
                  <a:pt x="3781008" y="380360"/>
                </a:cubicBezTo>
                <a:cubicBezTo>
                  <a:pt x="3781008" y="380360"/>
                  <a:pt x="3781008" y="380360"/>
                  <a:pt x="3795096" y="380360"/>
                </a:cubicBezTo>
                <a:cubicBezTo>
                  <a:pt x="3837361" y="366272"/>
                  <a:pt x="3879626" y="352185"/>
                  <a:pt x="3907802" y="338098"/>
                </a:cubicBezTo>
                <a:cubicBezTo>
                  <a:pt x="3935979" y="338098"/>
                  <a:pt x="3964155" y="324010"/>
                  <a:pt x="3978244" y="324010"/>
                </a:cubicBezTo>
                <a:lnTo>
                  <a:pt x="3999855" y="309154"/>
                </a:lnTo>
                <a:lnTo>
                  <a:pt x="3972094" y="308162"/>
                </a:lnTo>
                <a:cubicBezTo>
                  <a:pt x="3954484" y="306401"/>
                  <a:pt x="3936874" y="302880"/>
                  <a:pt x="3922785" y="295836"/>
                </a:cubicBezTo>
                <a:cubicBezTo>
                  <a:pt x="3922785" y="295836"/>
                  <a:pt x="3908697" y="295836"/>
                  <a:pt x="3908697" y="295836"/>
                </a:cubicBezTo>
                <a:cubicBezTo>
                  <a:pt x="3894609" y="295836"/>
                  <a:pt x="3880521" y="295836"/>
                  <a:pt x="3880521" y="295836"/>
                </a:cubicBezTo>
                <a:cubicBezTo>
                  <a:pt x="3866432" y="295836"/>
                  <a:pt x="3838256" y="281749"/>
                  <a:pt x="3824168" y="281749"/>
                </a:cubicBezTo>
                <a:cubicBezTo>
                  <a:pt x="3810079" y="281749"/>
                  <a:pt x="3810079" y="281749"/>
                  <a:pt x="3795992" y="281749"/>
                </a:cubicBezTo>
                <a:cubicBezTo>
                  <a:pt x="3767815" y="281749"/>
                  <a:pt x="3725550" y="281749"/>
                  <a:pt x="3697375" y="281749"/>
                </a:cubicBezTo>
                <a:cubicBezTo>
                  <a:pt x="3697375" y="267661"/>
                  <a:pt x="3683286" y="267661"/>
                  <a:pt x="3669198" y="267661"/>
                </a:cubicBezTo>
                <a:close/>
                <a:moveTo>
                  <a:pt x="3331081" y="267661"/>
                </a:moveTo>
                <a:cubicBezTo>
                  <a:pt x="3316993" y="267661"/>
                  <a:pt x="3288816" y="267661"/>
                  <a:pt x="3274728" y="281749"/>
                </a:cubicBezTo>
                <a:cubicBezTo>
                  <a:pt x="3260639" y="281749"/>
                  <a:pt x="3232462" y="281749"/>
                  <a:pt x="3218375" y="281749"/>
                </a:cubicBezTo>
                <a:cubicBezTo>
                  <a:pt x="3204287" y="281749"/>
                  <a:pt x="3204287" y="281749"/>
                  <a:pt x="3204287" y="281749"/>
                </a:cubicBezTo>
                <a:cubicBezTo>
                  <a:pt x="3204287" y="281749"/>
                  <a:pt x="3204287" y="281749"/>
                  <a:pt x="3190198" y="281749"/>
                </a:cubicBezTo>
                <a:cubicBezTo>
                  <a:pt x="3162022" y="281749"/>
                  <a:pt x="3176110" y="295836"/>
                  <a:pt x="3190198" y="295836"/>
                </a:cubicBezTo>
                <a:cubicBezTo>
                  <a:pt x="3190198" y="295836"/>
                  <a:pt x="3176110" y="295836"/>
                  <a:pt x="3162022" y="295836"/>
                </a:cubicBezTo>
                <a:cubicBezTo>
                  <a:pt x="3133845" y="295836"/>
                  <a:pt x="3119756" y="295836"/>
                  <a:pt x="3091581" y="295836"/>
                </a:cubicBezTo>
                <a:cubicBezTo>
                  <a:pt x="3063405" y="295836"/>
                  <a:pt x="3035228" y="295836"/>
                  <a:pt x="3007052" y="295836"/>
                </a:cubicBezTo>
                <a:cubicBezTo>
                  <a:pt x="3007052" y="295836"/>
                  <a:pt x="3007052" y="309923"/>
                  <a:pt x="3007052" y="309923"/>
                </a:cubicBezTo>
                <a:lnTo>
                  <a:pt x="3021139" y="309923"/>
                </a:lnTo>
                <a:cubicBezTo>
                  <a:pt x="3049316" y="309923"/>
                  <a:pt x="3063405" y="309923"/>
                  <a:pt x="3077492" y="309923"/>
                </a:cubicBezTo>
                <a:cubicBezTo>
                  <a:pt x="3105669" y="309923"/>
                  <a:pt x="3119756" y="309923"/>
                  <a:pt x="3133845" y="309923"/>
                </a:cubicBezTo>
                <a:cubicBezTo>
                  <a:pt x="3147934" y="309923"/>
                  <a:pt x="3147934" y="309923"/>
                  <a:pt x="3147934" y="309923"/>
                </a:cubicBezTo>
                <a:cubicBezTo>
                  <a:pt x="3176110" y="295836"/>
                  <a:pt x="3204287" y="309923"/>
                  <a:pt x="3232462" y="295836"/>
                </a:cubicBezTo>
                <a:cubicBezTo>
                  <a:pt x="3246551" y="295836"/>
                  <a:pt x="3260639" y="295836"/>
                  <a:pt x="3274728" y="295836"/>
                </a:cubicBezTo>
                <a:cubicBezTo>
                  <a:pt x="3288816" y="295836"/>
                  <a:pt x="3302904" y="295836"/>
                  <a:pt x="3302904" y="295836"/>
                </a:cubicBezTo>
                <a:cubicBezTo>
                  <a:pt x="3316993" y="295836"/>
                  <a:pt x="3316993" y="295836"/>
                  <a:pt x="3345168" y="295836"/>
                </a:cubicBezTo>
                <a:cubicBezTo>
                  <a:pt x="3359257" y="295836"/>
                  <a:pt x="3387433" y="295836"/>
                  <a:pt x="3415610" y="295836"/>
                </a:cubicBezTo>
                <a:cubicBezTo>
                  <a:pt x="3436742" y="295836"/>
                  <a:pt x="3457874" y="287912"/>
                  <a:pt x="3490894" y="289893"/>
                </a:cubicBezTo>
                <a:lnTo>
                  <a:pt x="3526990" y="295625"/>
                </a:lnTo>
                <a:lnTo>
                  <a:pt x="3534465" y="290553"/>
                </a:lnTo>
                <a:cubicBezTo>
                  <a:pt x="3552075" y="281749"/>
                  <a:pt x="3569685" y="274705"/>
                  <a:pt x="3583773" y="267661"/>
                </a:cubicBezTo>
                <a:lnTo>
                  <a:pt x="3579385" y="267661"/>
                </a:lnTo>
                <a:cubicBezTo>
                  <a:pt x="3574102" y="267661"/>
                  <a:pt x="3570580" y="267661"/>
                  <a:pt x="3570580" y="267661"/>
                </a:cubicBezTo>
                <a:cubicBezTo>
                  <a:pt x="3542404" y="267661"/>
                  <a:pt x="3514227" y="267661"/>
                  <a:pt x="3500139" y="267661"/>
                </a:cubicBezTo>
                <a:cubicBezTo>
                  <a:pt x="3500139" y="267661"/>
                  <a:pt x="3486050" y="267661"/>
                  <a:pt x="3471963" y="267661"/>
                </a:cubicBezTo>
                <a:cubicBezTo>
                  <a:pt x="3471963" y="267661"/>
                  <a:pt x="3471963" y="267661"/>
                  <a:pt x="3457874" y="267661"/>
                </a:cubicBezTo>
                <a:cubicBezTo>
                  <a:pt x="3429699" y="267661"/>
                  <a:pt x="3415610" y="267661"/>
                  <a:pt x="3387433" y="281749"/>
                </a:cubicBezTo>
                <a:cubicBezTo>
                  <a:pt x="3373345" y="281749"/>
                  <a:pt x="3359257" y="281749"/>
                  <a:pt x="3345168" y="267661"/>
                </a:cubicBezTo>
                <a:cubicBezTo>
                  <a:pt x="3345168" y="267661"/>
                  <a:pt x="3345168" y="267661"/>
                  <a:pt x="3331081" y="267661"/>
                </a:cubicBezTo>
                <a:close/>
                <a:moveTo>
                  <a:pt x="3686218" y="258704"/>
                </a:moveTo>
                <a:lnTo>
                  <a:pt x="3675744" y="263941"/>
                </a:lnTo>
                <a:lnTo>
                  <a:pt x="3683286" y="267661"/>
                </a:lnTo>
                <a:cubicBezTo>
                  <a:pt x="3697375" y="267661"/>
                  <a:pt x="3697375" y="267661"/>
                  <a:pt x="3697375" y="267661"/>
                </a:cubicBezTo>
                <a:cubicBezTo>
                  <a:pt x="3697375" y="267661"/>
                  <a:pt x="3693853" y="267661"/>
                  <a:pt x="3690330" y="265900"/>
                </a:cubicBezTo>
                <a:close/>
                <a:moveTo>
                  <a:pt x="2781640" y="0"/>
                </a:moveTo>
                <a:cubicBezTo>
                  <a:pt x="2781640" y="14087"/>
                  <a:pt x="2781640" y="14087"/>
                  <a:pt x="2781640" y="14087"/>
                </a:cubicBezTo>
                <a:cubicBezTo>
                  <a:pt x="2781640" y="14087"/>
                  <a:pt x="2781640" y="14087"/>
                  <a:pt x="2767551" y="14087"/>
                </a:cubicBezTo>
                <a:cubicBezTo>
                  <a:pt x="2767551" y="14087"/>
                  <a:pt x="2753463" y="28175"/>
                  <a:pt x="2739374" y="28175"/>
                </a:cubicBezTo>
                <a:cubicBezTo>
                  <a:pt x="2739374" y="28175"/>
                  <a:pt x="2725287" y="28175"/>
                  <a:pt x="2725287" y="28175"/>
                </a:cubicBezTo>
                <a:cubicBezTo>
                  <a:pt x="2711199" y="42262"/>
                  <a:pt x="2654846" y="56349"/>
                  <a:pt x="2612581" y="70438"/>
                </a:cubicBezTo>
                <a:cubicBezTo>
                  <a:pt x="2584406" y="70438"/>
                  <a:pt x="2570317" y="84525"/>
                  <a:pt x="2542140" y="84525"/>
                </a:cubicBezTo>
                <a:cubicBezTo>
                  <a:pt x="2528052" y="84525"/>
                  <a:pt x="2528052" y="84525"/>
                  <a:pt x="2513964" y="98612"/>
                </a:cubicBezTo>
                <a:cubicBezTo>
                  <a:pt x="2471699" y="112700"/>
                  <a:pt x="2429434" y="112700"/>
                  <a:pt x="2387169" y="126787"/>
                </a:cubicBezTo>
                <a:cubicBezTo>
                  <a:pt x="2387169" y="140874"/>
                  <a:pt x="2373081" y="140874"/>
                  <a:pt x="2358994" y="140874"/>
                </a:cubicBezTo>
                <a:cubicBezTo>
                  <a:pt x="2344905" y="140874"/>
                  <a:pt x="2344905" y="140874"/>
                  <a:pt x="2344905" y="140874"/>
                </a:cubicBezTo>
                <a:cubicBezTo>
                  <a:pt x="2330816" y="154962"/>
                  <a:pt x="2302641" y="169049"/>
                  <a:pt x="2302641" y="169049"/>
                </a:cubicBezTo>
                <a:cubicBezTo>
                  <a:pt x="2288552" y="169049"/>
                  <a:pt x="2274464" y="183136"/>
                  <a:pt x="2274464" y="183136"/>
                </a:cubicBezTo>
                <a:cubicBezTo>
                  <a:pt x="2260376" y="183136"/>
                  <a:pt x="2260376" y="183136"/>
                  <a:pt x="2260376" y="183136"/>
                </a:cubicBezTo>
                <a:cubicBezTo>
                  <a:pt x="2232199" y="197224"/>
                  <a:pt x="2218111" y="211311"/>
                  <a:pt x="2175846" y="225398"/>
                </a:cubicBezTo>
                <a:cubicBezTo>
                  <a:pt x="2147670" y="225398"/>
                  <a:pt x="2119493" y="239487"/>
                  <a:pt x="2091317" y="253574"/>
                </a:cubicBezTo>
                <a:cubicBezTo>
                  <a:pt x="2091317" y="253574"/>
                  <a:pt x="2091317" y="253574"/>
                  <a:pt x="2077229" y="253574"/>
                </a:cubicBezTo>
                <a:cubicBezTo>
                  <a:pt x="2049053" y="267661"/>
                  <a:pt x="2020876" y="281749"/>
                  <a:pt x="1992700" y="295836"/>
                </a:cubicBezTo>
                <a:cubicBezTo>
                  <a:pt x="1978611" y="309923"/>
                  <a:pt x="1978611" y="309923"/>
                  <a:pt x="1964523" y="324010"/>
                </a:cubicBezTo>
                <a:cubicBezTo>
                  <a:pt x="1964523" y="324010"/>
                  <a:pt x="1936347" y="338098"/>
                  <a:pt x="1922259" y="338098"/>
                </a:cubicBezTo>
                <a:cubicBezTo>
                  <a:pt x="1894083" y="352185"/>
                  <a:pt x="1879994" y="352185"/>
                  <a:pt x="1851817" y="366272"/>
                </a:cubicBezTo>
                <a:cubicBezTo>
                  <a:pt x="1837730" y="380360"/>
                  <a:pt x="1823641" y="380360"/>
                  <a:pt x="1795464" y="394447"/>
                </a:cubicBezTo>
                <a:cubicBezTo>
                  <a:pt x="1795464" y="394447"/>
                  <a:pt x="1781377" y="408534"/>
                  <a:pt x="1767288" y="408534"/>
                </a:cubicBezTo>
                <a:cubicBezTo>
                  <a:pt x="1753200" y="422623"/>
                  <a:pt x="1739111" y="422623"/>
                  <a:pt x="1725024" y="436710"/>
                </a:cubicBezTo>
                <a:cubicBezTo>
                  <a:pt x="1725024" y="436710"/>
                  <a:pt x="1710935" y="450798"/>
                  <a:pt x="1710935" y="450798"/>
                </a:cubicBezTo>
                <a:cubicBezTo>
                  <a:pt x="1696847" y="450798"/>
                  <a:pt x="1682758" y="464885"/>
                  <a:pt x="1682758" y="464885"/>
                </a:cubicBezTo>
                <a:cubicBezTo>
                  <a:pt x="1668671" y="478972"/>
                  <a:pt x="1668671" y="478972"/>
                  <a:pt x="1668671" y="478972"/>
                </a:cubicBezTo>
                <a:cubicBezTo>
                  <a:pt x="1668671" y="478972"/>
                  <a:pt x="1654582" y="478972"/>
                  <a:pt x="1654582" y="478972"/>
                </a:cubicBezTo>
                <a:cubicBezTo>
                  <a:pt x="1640494" y="493059"/>
                  <a:pt x="1626406" y="507147"/>
                  <a:pt x="1598229" y="535321"/>
                </a:cubicBezTo>
                <a:cubicBezTo>
                  <a:pt x="1555965" y="563496"/>
                  <a:pt x="1527788" y="577583"/>
                  <a:pt x="1485523" y="605759"/>
                </a:cubicBezTo>
                <a:cubicBezTo>
                  <a:pt x="1499612" y="605759"/>
                  <a:pt x="1499612" y="605759"/>
                  <a:pt x="1527788" y="591672"/>
                </a:cubicBezTo>
                <a:cubicBezTo>
                  <a:pt x="1541876" y="577583"/>
                  <a:pt x="1570053" y="549409"/>
                  <a:pt x="1598229" y="535321"/>
                </a:cubicBezTo>
                <a:cubicBezTo>
                  <a:pt x="1612318" y="521234"/>
                  <a:pt x="1640494" y="507147"/>
                  <a:pt x="1668671" y="507147"/>
                </a:cubicBezTo>
                <a:cubicBezTo>
                  <a:pt x="1710935" y="478972"/>
                  <a:pt x="1753200" y="450798"/>
                  <a:pt x="1795464" y="422623"/>
                </a:cubicBezTo>
                <a:cubicBezTo>
                  <a:pt x="1795464" y="408534"/>
                  <a:pt x="1809553" y="408534"/>
                  <a:pt x="1837730" y="394447"/>
                </a:cubicBezTo>
                <a:cubicBezTo>
                  <a:pt x="1865906" y="380360"/>
                  <a:pt x="1894083" y="366272"/>
                  <a:pt x="1922259" y="352185"/>
                </a:cubicBezTo>
                <a:cubicBezTo>
                  <a:pt x="1922259" y="352185"/>
                  <a:pt x="1936347" y="352185"/>
                  <a:pt x="1936347" y="352185"/>
                </a:cubicBezTo>
                <a:cubicBezTo>
                  <a:pt x="1936347" y="352185"/>
                  <a:pt x="1950434" y="338098"/>
                  <a:pt x="1950434" y="338098"/>
                </a:cubicBezTo>
                <a:cubicBezTo>
                  <a:pt x="1964523" y="338098"/>
                  <a:pt x="1964523" y="338098"/>
                  <a:pt x="1978611" y="324010"/>
                </a:cubicBezTo>
                <a:cubicBezTo>
                  <a:pt x="1978611" y="324010"/>
                  <a:pt x="1992700" y="324010"/>
                  <a:pt x="1992700" y="309923"/>
                </a:cubicBezTo>
                <a:cubicBezTo>
                  <a:pt x="2006787" y="309923"/>
                  <a:pt x="2006787" y="309923"/>
                  <a:pt x="1992700" y="324010"/>
                </a:cubicBezTo>
                <a:cubicBezTo>
                  <a:pt x="1992700" y="324010"/>
                  <a:pt x="2006787" y="324010"/>
                  <a:pt x="1978611" y="338098"/>
                </a:cubicBezTo>
                <a:cubicBezTo>
                  <a:pt x="1992700" y="338098"/>
                  <a:pt x="1992700" y="352185"/>
                  <a:pt x="1950434" y="366272"/>
                </a:cubicBezTo>
                <a:cubicBezTo>
                  <a:pt x="1936347" y="373316"/>
                  <a:pt x="1922259" y="376838"/>
                  <a:pt x="1908171" y="380360"/>
                </a:cubicBezTo>
                <a:lnTo>
                  <a:pt x="1908170" y="380360"/>
                </a:lnTo>
                <a:lnTo>
                  <a:pt x="1908169" y="380360"/>
                </a:lnTo>
                <a:lnTo>
                  <a:pt x="1865906" y="394447"/>
                </a:lnTo>
                <a:cubicBezTo>
                  <a:pt x="1865906" y="408534"/>
                  <a:pt x="1837730" y="422623"/>
                  <a:pt x="1809553" y="422623"/>
                </a:cubicBezTo>
                <a:cubicBezTo>
                  <a:pt x="1809553" y="422623"/>
                  <a:pt x="1809553" y="422623"/>
                  <a:pt x="1809553" y="436710"/>
                </a:cubicBezTo>
                <a:cubicBezTo>
                  <a:pt x="1823641" y="422623"/>
                  <a:pt x="1851817" y="422623"/>
                  <a:pt x="1865906" y="408534"/>
                </a:cubicBezTo>
                <a:cubicBezTo>
                  <a:pt x="1872950" y="401491"/>
                  <a:pt x="1879994" y="397969"/>
                  <a:pt x="1887038" y="394447"/>
                </a:cubicBezTo>
                <a:lnTo>
                  <a:pt x="1908169" y="380360"/>
                </a:lnTo>
                <a:lnTo>
                  <a:pt x="1908171" y="380360"/>
                </a:lnTo>
                <a:lnTo>
                  <a:pt x="1915214" y="380360"/>
                </a:lnTo>
                <a:cubicBezTo>
                  <a:pt x="1918737" y="380360"/>
                  <a:pt x="1922259" y="380360"/>
                  <a:pt x="1922259" y="380360"/>
                </a:cubicBezTo>
                <a:cubicBezTo>
                  <a:pt x="1936347" y="380360"/>
                  <a:pt x="1950434" y="366272"/>
                  <a:pt x="1964523" y="366272"/>
                </a:cubicBezTo>
                <a:cubicBezTo>
                  <a:pt x="1922259" y="380360"/>
                  <a:pt x="1894083" y="394447"/>
                  <a:pt x="1865906" y="422623"/>
                </a:cubicBezTo>
                <a:cubicBezTo>
                  <a:pt x="1851817" y="436710"/>
                  <a:pt x="1823641" y="436710"/>
                  <a:pt x="1795464" y="464885"/>
                </a:cubicBezTo>
                <a:cubicBezTo>
                  <a:pt x="1753200" y="478972"/>
                  <a:pt x="1725024" y="507147"/>
                  <a:pt x="1696847" y="535321"/>
                </a:cubicBezTo>
                <a:cubicBezTo>
                  <a:pt x="1654582" y="549409"/>
                  <a:pt x="1626406" y="577583"/>
                  <a:pt x="1626406" y="577583"/>
                </a:cubicBezTo>
                <a:cubicBezTo>
                  <a:pt x="1626406" y="591672"/>
                  <a:pt x="1612318" y="591672"/>
                  <a:pt x="1612318" y="591672"/>
                </a:cubicBezTo>
                <a:cubicBezTo>
                  <a:pt x="1598229" y="605759"/>
                  <a:pt x="1612318" y="591672"/>
                  <a:pt x="1598229" y="591672"/>
                </a:cubicBezTo>
                <a:cubicBezTo>
                  <a:pt x="1584141" y="605759"/>
                  <a:pt x="1570053" y="619846"/>
                  <a:pt x="1555965" y="633934"/>
                </a:cubicBezTo>
                <a:cubicBezTo>
                  <a:pt x="1541876" y="633934"/>
                  <a:pt x="1541876" y="633934"/>
                  <a:pt x="1527788" y="648021"/>
                </a:cubicBezTo>
                <a:cubicBezTo>
                  <a:pt x="1527788" y="648021"/>
                  <a:pt x="1527788" y="662108"/>
                  <a:pt x="1499612" y="676196"/>
                </a:cubicBezTo>
                <a:cubicBezTo>
                  <a:pt x="1485523" y="690283"/>
                  <a:pt x="1471435" y="704370"/>
                  <a:pt x="1457348" y="704370"/>
                </a:cubicBezTo>
                <a:cubicBezTo>
                  <a:pt x="1429170" y="732545"/>
                  <a:pt x="1429170" y="732545"/>
                  <a:pt x="1457348" y="732545"/>
                </a:cubicBezTo>
                <a:cubicBezTo>
                  <a:pt x="1450303" y="732545"/>
                  <a:pt x="1443259" y="736067"/>
                  <a:pt x="1437976" y="741350"/>
                </a:cubicBezTo>
                <a:lnTo>
                  <a:pt x="1432447" y="753512"/>
                </a:lnTo>
                <a:lnTo>
                  <a:pt x="1423888" y="758959"/>
                </a:lnTo>
                <a:cubicBezTo>
                  <a:pt x="1418605" y="760719"/>
                  <a:pt x="1415083" y="760719"/>
                  <a:pt x="1415083" y="760719"/>
                </a:cubicBezTo>
                <a:cubicBezTo>
                  <a:pt x="1415083" y="774808"/>
                  <a:pt x="1415083" y="760719"/>
                  <a:pt x="1429170" y="760719"/>
                </a:cubicBezTo>
                <a:lnTo>
                  <a:pt x="1432447" y="753512"/>
                </a:lnTo>
                <a:lnTo>
                  <a:pt x="1443259" y="746632"/>
                </a:lnTo>
                <a:cubicBezTo>
                  <a:pt x="1443259" y="746632"/>
                  <a:pt x="1457348" y="732545"/>
                  <a:pt x="1471435" y="732545"/>
                </a:cubicBezTo>
                <a:cubicBezTo>
                  <a:pt x="1471435" y="732545"/>
                  <a:pt x="1471435" y="732545"/>
                  <a:pt x="1485523" y="718457"/>
                </a:cubicBezTo>
                <a:cubicBezTo>
                  <a:pt x="1485523" y="704370"/>
                  <a:pt x="1513700" y="690283"/>
                  <a:pt x="1541876" y="676196"/>
                </a:cubicBezTo>
                <a:cubicBezTo>
                  <a:pt x="1555965" y="662108"/>
                  <a:pt x="1570053" y="662108"/>
                  <a:pt x="1570053" y="648021"/>
                </a:cubicBezTo>
                <a:cubicBezTo>
                  <a:pt x="1584141" y="648021"/>
                  <a:pt x="1584141" y="648021"/>
                  <a:pt x="1598229" y="633934"/>
                </a:cubicBezTo>
                <a:cubicBezTo>
                  <a:pt x="1598229" y="648021"/>
                  <a:pt x="1584141" y="648021"/>
                  <a:pt x="1570053" y="662108"/>
                </a:cubicBezTo>
                <a:cubicBezTo>
                  <a:pt x="1541876" y="676196"/>
                  <a:pt x="1541876" y="676196"/>
                  <a:pt x="1541876" y="690283"/>
                </a:cubicBezTo>
                <a:cubicBezTo>
                  <a:pt x="1541876" y="690283"/>
                  <a:pt x="1541876" y="690283"/>
                  <a:pt x="1555965" y="676196"/>
                </a:cubicBezTo>
                <a:cubicBezTo>
                  <a:pt x="1570053" y="676196"/>
                  <a:pt x="1570053" y="676196"/>
                  <a:pt x="1570053" y="676196"/>
                </a:cubicBezTo>
                <a:cubicBezTo>
                  <a:pt x="1570053" y="662108"/>
                  <a:pt x="1584141" y="662108"/>
                  <a:pt x="1598229" y="648021"/>
                </a:cubicBezTo>
                <a:cubicBezTo>
                  <a:pt x="1612318" y="633934"/>
                  <a:pt x="1640494" y="633934"/>
                  <a:pt x="1654582" y="619846"/>
                </a:cubicBezTo>
                <a:cubicBezTo>
                  <a:pt x="1654582" y="619846"/>
                  <a:pt x="1654582" y="605759"/>
                  <a:pt x="1668671" y="605759"/>
                </a:cubicBezTo>
                <a:cubicBezTo>
                  <a:pt x="1682758" y="591672"/>
                  <a:pt x="1682758" y="591672"/>
                  <a:pt x="1696847" y="577583"/>
                </a:cubicBezTo>
                <a:cubicBezTo>
                  <a:pt x="1725024" y="577583"/>
                  <a:pt x="1739111" y="577583"/>
                  <a:pt x="1753200" y="549409"/>
                </a:cubicBezTo>
                <a:cubicBezTo>
                  <a:pt x="1767288" y="549409"/>
                  <a:pt x="1767288" y="549409"/>
                  <a:pt x="1781377" y="535321"/>
                </a:cubicBezTo>
                <a:cubicBezTo>
                  <a:pt x="1823641" y="521234"/>
                  <a:pt x="1823641" y="507147"/>
                  <a:pt x="1837730" y="521234"/>
                </a:cubicBezTo>
                <a:cubicBezTo>
                  <a:pt x="1837730" y="521234"/>
                  <a:pt x="1865906" y="507147"/>
                  <a:pt x="1879994" y="507147"/>
                </a:cubicBezTo>
                <a:cubicBezTo>
                  <a:pt x="1894083" y="493059"/>
                  <a:pt x="1894083" y="493059"/>
                  <a:pt x="1908170" y="493059"/>
                </a:cubicBezTo>
                <a:cubicBezTo>
                  <a:pt x="1908170" y="478972"/>
                  <a:pt x="1922259" y="478972"/>
                  <a:pt x="1936347" y="464885"/>
                </a:cubicBezTo>
                <a:cubicBezTo>
                  <a:pt x="1936347" y="464885"/>
                  <a:pt x="1950434" y="450798"/>
                  <a:pt x="1964523" y="450798"/>
                </a:cubicBezTo>
                <a:cubicBezTo>
                  <a:pt x="1978611" y="450798"/>
                  <a:pt x="1992700" y="436710"/>
                  <a:pt x="2006787" y="436710"/>
                </a:cubicBezTo>
                <a:cubicBezTo>
                  <a:pt x="2034965" y="422623"/>
                  <a:pt x="2034965" y="422623"/>
                  <a:pt x="2063140" y="408534"/>
                </a:cubicBezTo>
                <a:cubicBezTo>
                  <a:pt x="2077229" y="394447"/>
                  <a:pt x="2077229" y="394447"/>
                  <a:pt x="2105405" y="380360"/>
                </a:cubicBezTo>
                <a:cubicBezTo>
                  <a:pt x="2119493" y="380360"/>
                  <a:pt x="2133582" y="366272"/>
                  <a:pt x="2147670" y="366272"/>
                </a:cubicBezTo>
                <a:cubicBezTo>
                  <a:pt x="2175846" y="352185"/>
                  <a:pt x="2175846" y="352185"/>
                  <a:pt x="2204023" y="338098"/>
                </a:cubicBezTo>
                <a:cubicBezTo>
                  <a:pt x="2204023" y="352185"/>
                  <a:pt x="2204023" y="352185"/>
                  <a:pt x="2204023" y="352185"/>
                </a:cubicBezTo>
                <a:cubicBezTo>
                  <a:pt x="2204023" y="352185"/>
                  <a:pt x="2189935" y="352185"/>
                  <a:pt x="2189935" y="352185"/>
                </a:cubicBezTo>
                <a:cubicBezTo>
                  <a:pt x="2189935" y="366272"/>
                  <a:pt x="2189935" y="366272"/>
                  <a:pt x="2189935" y="366272"/>
                </a:cubicBezTo>
                <a:cubicBezTo>
                  <a:pt x="2189935" y="366272"/>
                  <a:pt x="2175846" y="366272"/>
                  <a:pt x="2161758" y="380360"/>
                </a:cubicBezTo>
                <a:cubicBezTo>
                  <a:pt x="2161758" y="380360"/>
                  <a:pt x="2161758" y="380360"/>
                  <a:pt x="2175846" y="380360"/>
                </a:cubicBezTo>
                <a:cubicBezTo>
                  <a:pt x="2218111" y="366272"/>
                  <a:pt x="2260376" y="352185"/>
                  <a:pt x="2288552" y="338098"/>
                </a:cubicBezTo>
                <a:cubicBezTo>
                  <a:pt x="2316729" y="338098"/>
                  <a:pt x="2344905" y="324010"/>
                  <a:pt x="2358994" y="324010"/>
                </a:cubicBezTo>
                <a:cubicBezTo>
                  <a:pt x="2373081" y="309923"/>
                  <a:pt x="2401258" y="295836"/>
                  <a:pt x="2415347" y="295836"/>
                </a:cubicBezTo>
                <a:cubicBezTo>
                  <a:pt x="2443523" y="281749"/>
                  <a:pt x="2485787" y="267661"/>
                  <a:pt x="2528052" y="253574"/>
                </a:cubicBezTo>
                <a:cubicBezTo>
                  <a:pt x="2542140" y="253574"/>
                  <a:pt x="2556228" y="253574"/>
                  <a:pt x="2584406" y="239487"/>
                </a:cubicBezTo>
                <a:cubicBezTo>
                  <a:pt x="2598493" y="239487"/>
                  <a:pt x="2612581" y="239487"/>
                  <a:pt x="2612581" y="239487"/>
                </a:cubicBezTo>
                <a:cubicBezTo>
                  <a:pt x="2654846" y="239487"/>
                  <a:pt x="2640758" y="239487"/>
                  <a:pt x="2640758" y="253574"/>
                </a:cubicBezTo>
                <a:lnTo>
                  <a:pt x="2654846" y="253574"/>
                </a:lnTo>
                <a:cubicBezTo>
                  <a:pt x="2654846" y="267661"/>
                  <a:pt x="2654846" y="267661"/>
                  <a:pt x="2654846" y="281749"/>
                </a:cubicBezTo>
                <a:cubicBezTo>
                  <a:pt x="2626670" y="281749"/>
                  <a:pt x="2598493" y="295836"/>
                  <a:pt x="2598493" y="295836"/>
                </a:cubicBezTo>
                <a:cubicBezTo>
                  <a:pt x="2584406" y="309923"/>
                  <a:pt x="2556228" y="309923"/>
                  <a:pt x="2528052" y="324010"/>
                </a:cubicBezTo>
                <a:cubicBezTo>
                  <a:pt x="2528052" y="324010"/>
                  <a:pt x="2513964" y="324010"/>
                  <a:pt x="2499875" y="338098"/>
                </a:cubicBezTo>
                <a:cubicBezTo>
                  <a:pt x="2499875" y="338098"/>
                  <a:pt x="2485787" y="338098"/>
                  <a:pt x="2471699" y="338098"/>
                </a:cubicBezTo>
                <a:cubicBezTo>
                  <a:pt x="2457611" y="352185"/>
                  <a:pt x="2443523" y="352185"/>
                  <a:pt x="2443523" y="352185"/>
                </a:cubicBezTo>
                <a:cubicBezTo>
                  <a:pt x="2443523" y="352185"/>
                  <a:pt x="2485787" y="352185"/>
                  <a:pt x="2485787" y="352185"/>
                </a:cubicBezTo>
                <a:cubicBezTo>
                  <a:pt x="2457611" y="366272"/>
                  <a:pt x="2415347" y="366272"/>
                  <a:pt x="2387169" y="380360"/>
                </a:cubicBezTo>
                <a:cubicBezTo>
                  <a:pt x="2387169" y="380360"/>
                  <a:pt x="2373081" y="380360"/>
                  <a:pt x="2373081" y="394447"/>
                </a:cubicBezTo>
                <a:cubicBezTo>
                  <a:pt x="2358994" y="394447"/>
                  <a:pt x="2358994" y="394447"/>
                  <a:pt x="2358994" y="394447"/>
                </a:cubicBezTo>
                <a:cubicBezTo>
                  <a:pt x="2358994" y="394447"/>
                  <a:pt x="2358994" y="394447"/>
                  <a:pt x="2344905" y="394447"/>
                </a:cubicBezTo>
                <a:cubicBezTo>
                  <a:pt x="2344905" y="408534"/>
                  <a:pt x="2330816" y="408534"/>
                  <a:pt x="2330816" y="408534"/>
                </a:cubicBezTo>
                <a:cubicBezTo>
                  <a:pt x="2330816" y="408534"/>
                  <a:pt x="2316729" y="422623"/>
                  <a:pt x="2288552" y="422623"/>
                </a:cubicBezTo>
                <a:cubicBezTo>
                  <a:pt x="2302641" y="436710"/>
                  <a:pt x="2302641" y="436710"/>
                  <a:pt x="2344905" y="408534"/>
                </a:cubicBezTo>
                <a:cubicBezTo>
                  <a:pt x="2373081" y="408534"/>
                  <a:pt x="2401258" y="394447"/>
                  <a:pt x="2415347" y="394447"/>
                </a:cubicBezTo>
                <a:cubicBezTo>
                  <a:pt x="2429434" y="394447"/>
                  <a:pt x="2457611" y="394447"/>
                  <a:pt x="2471699" y="380360"/>
                </a:cubicBezTo>
                <a:cubicBezTo>
                  <a:pt x="2471699" y="380360"/>
                  <a:pt x="2485787" y="380360"/>
                  <a:pt x="2485787" y="380360"/>
                </a:cubicBezTo>
                <a:cubicBezTo>
                  <a:pt x="2485787" y="380360"/>
                  <a:pt x="2513964" y="366272"/>
                  <a:pt x="2542140" y="352185"/>
                </a:cubicBezTo>
                <a:cubicBezTo>
                  <a:pt x="2556228" y="352185"/>
                  <a:pt x="2570317" y="352185"/>
                  <a:pt x="2598493" y="338098"/>
                </a:cubicBezTo>
                <a:cubicBezTo>
                  <a:pt x="2612581" y="338098"/>
                  <a:pt x="2626670" y="338098"/>
                  <a:pt x="2654846" y="324010"/>
                </a:cubicBezTo>
                <a:cubicBezTo>
                  <a:pt x="2654846" y="324010"/>
                  <a:pt x="2654846" y="324010"/>
                  <a:pt x="2668934" y="324010"/>
                </a:cubicBezTo>
                <a:cubicBezTo>
                  <a:pt x="2683023" y="324010"/>
                  <a:pt x="2697110" y="324010"/>
                  <a:pt x="2711199" y="309923"/>
                </a:cubicBezTo>
                <a:cubicBezTo>
                  <a:pt x="2711199" y="309923"/>
                  <a:pt x="2711199" y="309923"/>
                  <a:pt x="2725287" y="309923"/>
                </a:cubicBezTo>
                <a:cubicBezTo>
                  <a:pt x="2725287" y="309923"/>
                  <a:pt x="2725287" y="309923"/>
                  <a:pt x="2739374" y="309923"/>
                </a:cubicBezTo>
                <a:cubicBezTo>
                  <a:pt x="2739374" y="309923"/>
                  <a:pt x="2739374" y="295836"/>
                  <a:pt x="2753463" y="295836"/>
                </a:cubicBezTo>
                <a:cubicBezTo>
                  <a:pt x="2795729" y="295836"/>
                  <a:pt x="2823905" y="281749"/>
                  <a:pt x="2866169" y="281749"/>
                </a:cubicBezTo>
                <a:cubicBezTo>
                  <a:pt x="2866169" y="281749"/>
                  <a:pt x="2866169" y="281749"/>
                  <a:pt x="2922522" y="281749"/>
                </a:cubicBezTo>
                <a:cubicBezTo>
                  <a:pt x="2922522" y="267661"/>
                  <a:pt x="2922522" y="267661"/>
                  <a:pt x="2922522" y="267661"/>
                </a:cubicBezTo>
                <a:cubicBezTo>
                  <a:pt x="2936611" y="267661"/>
                  <a:pt x="2936611" y="267661"/>
                  <a:pt x="2936611" y="267661"/>
                </a:cubicBezTo>
                <a:cubicBezTo>
                  <a:pt x="2950699" y="267661"/>
                  <a:pt x="2964786" y="267661"/>
                  <a:pt x="2964786" y="267661"/>
                </a:cubicBezTo>
                <a:cubicBezTo>
                  <a:pt x="2978875" y="267661"/>
                  <a:pt x="2992963" y="267661"/>
                  <a:pt x="3007052" y="267661"/>
                </a:cubicBezTo>
                <a:cubicBezTo>
                  <a:pt x="3021139" y="267661"/>
                  <a:pt x="3035228" y="267661"/>
                  <a:pt x="3035228" y="253574"/>
                </a:cubicBezTo>
                <a:cubicBezTo>
                  <a:pt x="3077492" y="253574"/>
                  <a:pt x="3105669" y="253574"/>
                  <a:pt x="3147934" y="253574"/>
                </a:cubicBezTo>
                <a:cubicBezTo>
                  <a:pt x="3147934" y="253574"/>
                  <a:pt x="3147934" y="239487"/>
                  <a:pt x="3147934" y="239487"/>
                </a:cubicBezTo>
                <a:cubicBezTo>
                  <a:pt x="3162022" y="239487"/>
                  <a:pt x="3176110" y="239487"/>
                  <a:pt x="3190198" y="239487"/>
                </a:cubicBezTo>
                <a:lnTo>
                  <a:pt x="3204287" y="239487"/>
                </a:lnTo>
                <a:cubicBezTo>
                  <a:pt x="3190198" y="253574"/>
                  <a:pt x="3190198" y="253574"/>
                  <a:pt x="3176110" y="253574"/>
                </a:cubicBezTo>
                <a:lnTo>
                  <a:pt x="3188437" y="253574"/>
                </a:lnTo>
                <a:cubicBezTo>
                  <a:pt x="3197242" y="253574"/>
                  <a:pt x="3204287" y="253574"/>
                  <a:pt x="3204287" y="253574"/>
                </a:cubicBezTo>
                <a:cubicBezTo>
                  <a:pt x="3204287" y="253574"/>
                  <a:pt x="3218375" y="253574"/>
                  <a:pt x="3218375" y="253574"/>
                </a:cubicBezTo>
                <a:lnTo>
                  <a:pt x="3232462" y="253574"/>
                </a:lnTo>
                <a:lnTo>
                  <a:pt x="3241268" y="253574"/>
                </a:lnTo>
                <a:cubicBezTo>
                  <a:pt x="3246551" y="253574"/>
                  <a:pt x="3253595" y="253574"/>
                  <a:pt x="3260639" y="253574"/>
                </a:cubicBezTo>
                <a:cubicBezTo>
                  <a:pt x="3288816" y="239487"/>
                  <a:pt x="3316993" y="239487"/>
                  <a:pt x="3331081" y="239487"/>
                </a:cubicBezTo>
                <a:cubicBezTo>
                  <a:pt x="3331081" y="239487"/>
                  <a:pt x="3334603" y="239487"/>
                  <a:pt x="3338125" y="239487"/>
                </a:cubicBezTo>
                <a:lnTo>
                  <a:pt x="3339445" y="239487"/>
                </a:lnTo>
                <a:lnTo>
                  <a:pt x="3341646" y="239487"/>
                </a:lnTo>
                <a:lnTo>
                  <a:pt x="3345168" y="239487"/>
                </a:lnTo>
                <a:lnTo>
                  <a:pt x="3359257" y="239487"/>
                </a:lnTo>
                <a:cubicBezTo>
                  <a:pt x="3373345" y="239487"/>
                  <a:pt x="3373345" y="239487"/>
                  <a:pt x="3373345" y="239487"/>
                </a:cubicBezTo>
                <a:cubicBezTo>
                  <a:pt x="3359257" y="253574"/>
                  <a:pt x="3359257" y="253574"/>
                  <a:pt x="3373345" y="253574"/>
                </a:cubicBezTo>
                <a:lnTo>
                  <a:pt x="3401521" y="253574"/>
                </a:lnTo>
                <a:lnTo>
                  <a:pt x="3406805" y="253574"/>
                </a:lnTo>
                <a:lnTo>
                  <a:pt x="3420893" y="253574"/>
                </a:lnTo>
                <a:lnTo>
                  <a:pt x="3429699" y="253574"/>
                </a:lnTo>
                <a:cubicBezTo>
                  <a:pt x="3433220" y="253574"/>
                  <a:pt x="3433220" y="253574"/>
                  <a:pt x="3431239" y="253574"/>
                </a:cubicBezTo>
                <a:lnTo>
                  <a:pt x="3457874" y="253574"/>
                </a:lnTo>
                <a:cubicBezTo>
                  <a:pt x="3464918" y="253574"/>
                  <a:pt x="3475485" y="253574"/>
                  <a:pt x="3486050" y="253574"/>
                </a:cubicBezTo>
                <a:cubicBezTo>
                  <a:pt x="3496617" y="253574"/>
                  <a:pt x="3507183" y="253574"/>
                  <a:pt x="3514227" y="253574"/>
                </a:cubicBezTo>
                <a:cubicBezTo>
                  <a:pt x="3528316" y="253574"/>
                  <a:pt x="3528316" y="253574"/>
                  <a:pt x="3542404" y="253574"/>
                </a:cubicBezTo>
                <a:cubicBezTo>
                  <a:pt x="3556492" y="253574"/>
                  <a:pt x="3542404" y="253574"/>
                  <a:pt x="3556492" y="239487"/>
                </a:cubicBezTo>
                <a:cubicBezTo>
                  <a:pt x="3570580" y="253574"/>
                  <a:pt x="3570580" y="253574"/>
                  <a:pt x="3584669" y="253574"/>
                </a:cubicBezTo>
                <a:cubicBezTo>
                  <a:pt x="3584669" y="253574"/>
                  <a:pt x="3584669" y="253574"/>
                  <a:pt x="3598756" y="253574"/>
                </a:cubicBezTo>
                <a:cubicBezTo>
                  <a:pt x="3598756" y="253574"/>
                  <a:pt x="3598756" y="253574"/>
                  <a:pt x="3600517" y="253574"/>
                </a:cubicBezTo>
                <a:lnTo>
                  <a:pt x="3611950" y="253574"/>
                </a:lnTo>
                <a:cubicBezTo>
                  <a:pt x="3611950" y="239487"/>
                  <a:pt x="3640126" y="239487"/>
                  <a:pt x="3654214" y="225398"/>
                </a:cubicBezTo>
                <a:cubicBezTo>
                  <a:pt x="3682390" y="225398"/>
                  <a:pt x="3696479" y="211311"/>
                  <a:pt x="3710567" y="197224"/>
                </a:cubicBezTo>
                <a:cubicBezTo>
                  <a:pt x="3752832" y="183136"/>
                  <a:pt x="3809185" y="169049"/>
                  <a:pt x="3851449" y="140874"/>
                </a:cubicBezTo>
                <a:cubicBezTo>
                  <a:pt x="3879626" y="126787"/>
                  <a:pt x="3907802" y="126787"/>
                  <a:pt x="3935979" y="112700"/>
                </a:cubicBezTo>
                <a:cubicBezTo>
                  <a:pt x="3964155" y="98612"/>
                  <a:pt x="3992331" y="84525"/>
                  <a:pt x="4034596" y="84525"/>
                </a:cubicBezTo>
                <a:cubicBezTo>
                  <a:pt x="4048684" y="84525"/>
                  <a:pt x="4048684" y="70438"/>
                  <a:pt x="4048684" y="70438"/>
                </a:cubicBezTo>
                <a:cubicBezTo>
                  <a:pt x="4062772" y="70438"/>
                  <a:pt x="4062772" y="70438"/>
                  <a:pt x="4076861" y="70438"/>
                </a:cubicBezTo>
                <a:cubicBezTo>
                  <a:pt x="4147302" y="56349"/>
                  <a:pt x="4217743" y="28175"/>
                  <a:pt x="4288184" y="14087"/>
                </a:cubicBezTo>
                <a:cubicBezTo>
                  <a:pt x="4302273" y="14087"/>
                  <a:pt x="4316360" y="14087"/>
                  <a:pt x="4330449" y="14087"/>
                </a:cubicBezTo>
                <a:cubicBezTo>
                  <a:pt x="4372713" y="0"/>
                  <a:pt x="4400890" y="0"/>
                  <a:pt x="4400890" y="0"/>
                </a:cubicBezTo>
                <a:cubicBezTo>
                  <a:pt x="4400890" y="14087"/>
                  <a:pt x="4400890" y="14087"/>
                  <a:pt x="4400890" y="14087"/>
                </a:cubicBezTo>
                <a:cubicBezTo>
                  <a:pt x="4400890" y="14087"/>
                  <a:pt x="4400890" y="14087"/>
                  <a:pt x="4386801" y="14087"/>
                </a:cubicBezTo>
                <a:cubicBezTo>
                  <a:pt x="4386801" y="14087"/>
                  <a:pt x="4372713" y="28175"/>
                  <a:pt x="4358624" y="28175"/>
                </a:cubicBezTo>
                <a:cubicBezTo>
                  <a:pt x="4358624" y="28175"/>
                  <a:pt x="4344537" y="28175"/>
                  <a:pt x="4344537" y="28175"/>
                </a:cubicBezTo>
                <a:cubicBezTo>
                  <a:pt x="4330449" y="42262"/>
                  <a:pt x="4274096" y="56349"/>
                  <a:pt x="4231831" y="70438"/>
                </a:cubicBezTo>
                <a:cubicBezTo>
                  <a:pt x="4203655" y="70438"/>
                  <a:pt x="4189567" y="84525"/>
                  <a:pt x="4161390" y="84525"/>
                </a:cubicBezTo>
                <a:cubicBezTo>
                  <a:pt x="4147302" y="84525"/>
                  <a:pt x="4147302" y="84525"/>
                  <a:pt x="4133214" y="98612"/>
                </a:cubicBezTo>
                <a:cubicBezTo>
                  <a:pt x="4090949" y="112700"/>
                  <a:pt x="4048684" y="112700"/>
                  <a:pt x="4006419" y="126787"/>
                </a:cubicBezTo>
                <a:cubicBezTo>
                  <a:pt x="4006419" y="140874"/>
                  <a:pt x="3992331" y="140874"/>
                  <a:pt x="3978244" y="140874"/>
                </a:cubicBezTo>
                <a:cubicBezTo>
                  <a:pt x="3964155" y="140874"/>
                  <a:pt x="3964155" y="140874"/>
                  <a:pt x="3964155" y="140874"/>
                </a:cubicBezTo>
                <a:cubicBezTo>
                  <a:pt x="3950066" y="154962"/>
                  <a:pt x="3921891" y="169049"/>
                  <a:pt x="3921891" y="169049"/>
                </a:cubicBezTo>
                <a:cubicBezTo>
                  <a:pt x="3907802" y="169049"/>
                  <a:pt x="3893713" y="183136"/>
                  <a:pt x="3893713" y="183136"/>
                </a:cubicBezTo>
                <a:cubicBezTo>
                  <a:pt x="3879626" y="183136"/>
                  <a:pt x="3879626" y="183136"/>
                  <a:pt x="3879626" y="183136"/>
                </a:cubicBezTo>
                <a:cubicBezTo>
                  <a:pt x="3851449" y="197224"/>
                  <a:pt x="3837361" y="211311"/>
                  <a:pt x="3795096" y="225398"/>
                </a:cubicBezTo>
                <a:cubicBezTo>
                  <a:pt x="3766920" y="225398"/>
                  <a:pt x="3738743" y="239487"/>
                  <a:pt x="3710567" y="253574"/>
                </a:cubicBezTo>
                <a:cubicBezTo>
                  <a:pt x="3710567" y="253574"/>
                  <a:pt x="3710567" y="253574"/>
                  <a:pt x="3696479" y="253574"/>
                </a:cubicBezTo>
                <a:lnTo>
                  <a:pt x="3691453" y="256087"/>
                </a:lnTo>
                <a:lnTo>
                  <a:pt x="3706180" y="260618"/>
                </a:lnTo>
                <a:cubicBezTo>
                  <a:pt x="3714985" y="264140"/>
                  <a:pt x="3725551" y="267661"/>
                  <a:pt x="3739639" y="267661"/>
                </a:cubicBezTo>
                <a:lnTo>
                  <a:pt x="3743161" y="267661"/>
                </a:lnTo>
                <a:cubicBezTo>
                  <a:pt x="3750205" y="267661"/>
                  <a:pt x="3760771" y="267661"/>
                  <a:pt x="3767815" y="267661"/>
                </a:cubicBezTo>
                <a:cubicBezTo>
                  <a:pt x="3810079" y="267661"/>
                  <a:pt x="3866432" y="281749"/>
                  <a:pt x="3908697" y="281749"/>
                </a:cubicBezTo>
                <a:cubicBezTo>
                  <a:pt x="3929829" y="288792"/>
                  <a:pt x="3947440" y="292314"/>
                  <a:pt x="3965050" y="295836"/>
                </a:cubicBezTo>
                <a:lnTo>
                  <a:pt x="4004780" y="305768"/>
                </a:lnTo>
                <a:lnTo>
                  <a:pt x="4006420" y="304641"/>
                </a:lnTo>
                <a:cubicBezTo>
                  <a:pt x="4016986" y="299358"/>
                  <a:pt x="4027552" y="295836"/>
                  <a:pt x="4034596" y="295836"/>
                </a:cubicBezTo>
                <a:cubicBezTo>
                  <a:pt x="4062772" y="281749"/>
                  <a:pt x="4105037" y="267661"/>
                  <a:pt x="4147302" y="253574"/>
                </a:cubicBezTo>
                <a:cubicBezTo>
                  <a:pt x="4161390" y="253574"/>
                  <a:pt x="4175478" y="253574"/>
                  <a:pt x="4203655" y="239487"/>
                </a:cubicBezTo>
                <a:cubicBezTo>
                  <a:pt x="4217743" y="239487"/>
                  <a:pt x="4231831" y="239487"/>
                  <a:pt x="4231831" y="239487"/>
                </a:cubicBezTo>
                <a:cubicBezTo>
                  <a:pt x="4274096" y="239487"/>
                  <a:pt x="4260008" y="239487"/>
                  <a:pt x="4260008" y="253574"/>
                </a:cubicBezTo>
                <a:lnTo>
                  <a:pt x="4274096" y="253574"/>
                </a:lnTo>
                <a:cubicBezTo>
                  <a:pt x="4274096" y="267661"/>
                  <a:pt x="4274096" y="267661"/>
                  <a:pt x="4274096" y="281749"/>
                </a:cubicBezTo>
                <a:cubicBezTo>
                  <a:pt x="4245920" y="281749"/>
                  <a:pt x="4217743" y="295836"/>
                  <a:pt x="4217743" y="295836"/>
                </a:cubicBezTo>
                <a:cubicBezTo>
                  <a:pt x="4203655" y="309923"/>
                  <a:pt x="4175478" y="309923"/>
                  <a:pt x="4147302" y="324010"/>
                </a:cubicBezTo>
                <a:cubicBezTo>
                  <a:pt x="4147302" y="324010"/>
                  <a:pt x="4143780" y="324010"/>
                  <a:pt x="4138497" y="325771"/>
                </a:cubicBezTo>
                <a:lnTo>
                  <a:pt x="4134519" y="328303"/>
                </a:lnTo>
                <a:lnTo>
                  <a:pt x="4176373" y="338098"/>
                </a:lnTo>
                <a:cubicBezTo>
                  <a:pt x="4186939" y="338098"/>
                  <a:pt x="4189581" y="338098"/>
                  <a:pt x="4202128" y="338098"/>
                </a:cubicBezTo>
                <a:lnTo>
                  <a:pt x="4217743" y="338098"/>
                </a:lnTo>
                <a:cubicBezTo>
                  <a:pt x="4231831" y="338098"/>
                  <a:pt x="4245920" y="338098"/>
                  <a:pt x="4274096" y="324010"/>
                </a:cubicBezTo>
                <a:cubicBezTo>
                  <a:pt x="4274096" y="324010"/>
                  <a:pt x="4274096" y="324010"/>
                  <a:pt x="4288184" y="324010"/>
                </a:cubicBezTo>
                <a:cubicBezTo>
                  <a:pt x="4302273" y="324010"/>
                  <a:pt x="4316360" y="324010"/>
                  <a:pt x="4330449" y="309923"/>
                </a:cubicBezTo>
                <a:cubicBezTo>
                  <a:pt x="4330449" y="309923"/>
                  <a:pt x="4330449" y="309923"/>
                  <a:pt x="4344537" y="309923"/>
                </a:cubicBezTo>
                <a:cubicBezTo>
                  <a:pt x="4344537" y="309923"/>
                  <a:pt x="4344537" y="309923"/>
                  <a:pt x="4358624" y="309923"/>
                </a:cubicBezTo>
                <a:cubicBezTo>
                  <a:pt x="4358624" y="309923"/>
                  <a:pt x="4358624" y="295836"/>
                  <a:pt x="4372713" y="295836"/>
                </a:cubicBezTo>
                <a:cubicBezTo>
                  <a:pt x="4414979" y="295836"/>
                  <a:pt x="4443154" y="281749"/>
                  <a:pt x="4485419" y="281749"/>
                </a:cubicBezTo>
                <a:cubicBezTo>
                  <a:pt x="4485419" y="281749"/>
                  <a:pt x="4485419" y="281749"/>
                  <a:pt x="4541772" y="281749"/>
                </a:cubicBezTo>
                <a:cubicBezTo>
                  <a:pt x="4541772" y="267661"/>
                  <a:pt x="4541772" y="267661"/>
                  <a:pt x="4541772" y="267661"/>
                </a:cubicBezTo>
                <a:cubicBezTo>
                  <a:pt x="4555860" y="267661"/>
                  <a:pt x="4555860" y="267661"/>
                  <a:pt x="4555860" y="267661"/>
                </a:cubicBezTo>
                <a:cubicBezTo>
                  <a:pt x="4569949" y="267661"/>
                  <a:pt x="4584036" y="267661"/>
                  <a:pt x="4584036" y="267661"/>
                </a:cubicBezTo>
                <a:cubicBezTo>
                  <a:pt x="4598125" y="267661"/>
                  <a:pt x="4612213" y="267661"/>
                  <a:pt x="4626302" y="267661"/>
                </a:cubicBezTo>
                <a:cubicBezTo>
                  <a:pt x="4640389" y="267661"/>
                  <a:pt x="4654478" y="267661"/>
                  <a:pt x="4654478" y="253574"/>
                </a:cubicBezTo>
                <a:cubicBezTo>
                  <a:pt x="4696742" y="253574"/>
                  <a:pt x="4724919" y="253574"/>
                  <a:pt x="4767184" y="253574"/>
                </a:cubicBezTo>
                <a:cubicBezTo>
                  <a:pt x="4767184" y="253574"/>
                  <a:pt x="4767184" y="239487"/>
                  <a:pt x="4767184" y="239487"/>
                </a:cubicBezTo>
                <a:cubicBezTo>
                  <a:pt x="4781272" y="239487"/>
                  <a:pt x="4795359" y="239487"/>
                  <a:pt x="4809448" y="239487"/>
                </a:cubicBezTo>
                <a:lnTo>
                  <a:pt x="4823537" y="239487"/>
                </a:lnTo>
                <a:cubicBezTo>
                  <a:pt x="4809448" y="253574"/>
                  <a:pt x="4809448" y="253574"/>
                  <a:pt x="4795359" y="253574"/>
                </a:cubicBezTo>
                <a:lnTo>
                  <a:pt x="4807686" y="253574"/>
                </a:lnTo>
                <a:cubicBezTo>
                  <a:pt x="4816492" y="253574"/>
                  <a:pt x="4823537" y="253574"/>
                  <a:pt x="4823537" y="253574"/>
                </a:cubicBezTo>
                <a:cubicBezTo>
                  <a:pt x="4823537" y="253574"/>
                  <a:pt x="4837625" y="253574"/>
                  <a:pt x="4837625" y="253574"/>
                </a:cubicBezTo>
                <a:lnTo>
                  <a:pt x="4851712" y="253574"/>
                </a:lnTo>
                <a:lnTo>
                  <a:pt x="4860518" y="253574"/>
                </a:lnTo>
                <a:cubicBezTo>
                  <a:pt x="4865801" y="253574"/>
                  <a:pt x="4872845" y="253574"/>
                  <a:pt x="4879889" y="253574"/>
                </a:cubicBezTo>
                <a:cubicBezTo>
                  <a:pt x="4908065" y="239487"/>
                  <a:pt x="4936242" y="239487"/>
                  <a:pt x="4950331" y="239487"/>
                </a:cubicBezTo>
                <a:cubicBezTo>
                  <a:pt x="4950331" y="239487"/>
                  <a:pt x="4953853" y="239487"/>
                  <a:pt x="4957375" y="239487"/>
                </a:cubicBezTo>
                <a:lnTo>
                  <a:pt x="4958695" y="239487"/>
                </a:lnTo>
                <a:lnTo>
                  <a:pt x="4960896" y="239487"/>
                </a:lnTo>
                <a:lnTo>
                  <a:pt x="4964418" y="239487"/>
                </a:lnTo>
                <a:lnTo>
                  <a:pt x="4978507" y="239487"/>
                </a:lnTo>
                <a:cubicBezTo>
                  <a:pt x="4992595" y="239487"/>
                  <a:pt x="4992595" y="239487"/>
                  <a:pt x="4992595" y="239487"/>
                </a:cubicBezTo>
                <a:cubicBezTo>
                  <a:pt x="4978507" y="253574"/>
                  <a:pt x="4978507" y="253574"/>
                  <a:pt x="4992595" y="253574"/>
                </a:cubicBezTo>
                <a:lnTo>
                  <a:pt x="5020771" y="253574"/>
                </a:lnTo>
                <a:lnTo>
                  <a:pt x="5026055" y="253574"/>
                </a:lnTo>
                <a:lnTo>
                  <a:pt x="5040143" y="253574"/>
                </a:lnTo>
                <a:lnTo>
                  <a:pt x="5048948" y="253574"/>
                </a:lnTo>
                <a:cubicBezTo>
                  <a:pt x="5052470" y="253574"/>
                  <a:pt x="5052470" y="253574"/>
                  <a:pt x="5050489" y="253574"/>
                </a:cubicBezTo>
                <a:lnTo>
                  <a:pt x="5077124" y="253574"/>
                </a:lnTo>
                <a:cubicBezTo>
                  <a:pt x="5084168" y="253574"/>
                  <a:pt x="5094735" y="253574"/>
                  <a:pt x="5105300" y="253574"/>
                </a:cubicBezTo>
                <a:cubicBezTo>
                  <a:pt x="5115867" y="253574"/>
                  <a:pt x="5126433" y="253574"/>
                  <a:pt x="5133477" y="253574"/>
                </a:cubicBezTo>
                <a:cubicBezTo>
                  <a:pt x="5147566" y="253574"/>
                  <a:pt x="5147566" y="253574"/>
                  <a:pt x="5161654" y="253574"/>
                </a:cubicBezTo>
                <a:cubicBezTo>
                  <a:pt x="5175742" y="253574"/>
                  <a:pt x="5161654" y="253574"/>
                  <a:pt x="5175742" y="239487"/>
                </a:cubicBezTo>
                <a:cubicBezTo>
                  <a:pt x="5189830" y="253574"/>
                  <a:pt x="5189830" y="253574"/>
                  <a:pt x="5203919" y="253574"/>
                </a:cubicBezTo>
                <a:cubicBezTo>
                  <a:pt x="5203919" y="253574"/>
                  <a:pt x="5203919" y="253574"/>
                  <a:pt x="5218006" y="253574"/>
                </a:cubicBezTo>
                <a:cubicBezTo>
                  <a:pt x="5218006" y="253574"/>
                  <a:pt x="5218006" y="253574"/>
                  <a:pt x="5232094" y="253574"/>
                </a:cubicBezTo>
                <a:cubicBezTo>
                  <a:pt x="5232094" y="253574"/>
                  <a:pt x="5232094" y="253574"/>
                  <a:pt x="5246183" y="253574"/>
                </a:cubicBezTo>
                <a:cubicBezTo>
                  <a:pt x="5246183" y="253574"/>
                  <a:pt x="5246183" y="253574"/>
                  <a:pt x="5260270" y="253574"/>
                </a:cubicBezTo>
                <a:cubicBezTo>
                  <a:pt x="5274359" y="253574"/>
                  <a:pt x="5274359" y="253574"/>
                  <a:pt x="5302536" y="267661"/>
                </a:cubicBezTo>
                <a:cubicBezTo>
                  <a:pt x="5316625" y="267661"/>
                  <a:pt x="5316625" y="267661"/>
                  <a:pt x="5316625" y="267661"/>
                </a:cubicBezTo>
                <a:cubicBezTo>
                  <a:pt x="5316625" y="267661"/>
                  <a:pt x="5302536" y="267661"/>
                  <a:pt x="5302536" y="253574"/>
                </a:cubicBezTo>
                <a:cubicBezTo>
                  <a:pt x="5316625" y="253574"/>
                  <a:pt x="5330712" y="267661"/>
                  <a:pt x="5358889" y="267661"/>
                </a:cubicBezTo>
                <a:lnTo>
                  <a:pt x="5362410" y="267661"/>
                </a:lnTo>
                <a:cubicBezTo>
                  <a:pt x="5369455" y="267661"/>
                  <a:pt x="5380021" y="267661"/>
                  <a:pt x="5387065" y="267661"/>
                </a:cubicBezTo>
                <a:cubicBezTo>
                  <a:pt x="5429329" y="267661"/>
                  <a:pt x="5485682" y="281749"/>
                  <a:pt x="5527947" y="281749"/>
                </a:cubicBezTo>
                <a:cubicBezTo>
                  <a:pt x="5570212" y="295836"/>
                  <a:pt x="5598388" y="295836"/>
                  <a:pt x="5640652" y="309923"/>
                </a:cubicBezTo>
                <a:cubicBezTo>
                  <a:pt x="5612477" y="309923"/>
                  <a:pt x="5570212" y="309923"/>
                  <a:pt x="5542035" y="295836"/>
                </a:cubicBezTo>
                <a:cubicBezTo>
                  <a:pt x="5542035" y="295836"/>
                  <a:pt x="5527947" y="295836"/>
                  <a:pt x="5527947" y="295836"/>
                </a:cubicBezTo>
                <a:cubicBezTo>
                  <a:pt x="5513859" y="295836"/>
                  <a:pt x="5499771" y="295836"/>
                  <a:pt x="5499771" y="295836"/>
                </a:cubicBezTo>
                <a:cubicBezTo>
                  <a:pt x="5485682" y="295836"/>
                  <a:pt x="5457506" y="281749"/>
                  <a:pt x="5443418" y="281749"/>
                </a:cubicBezTo>
                <a:cubicBezTo>
                  <a:pt x="5429329" y="281749"/>
                  <a:pt x="5429329" y="281749"/>
                  <a:pt x="5415242" y="281749"/>
                </a:cubicBezTo>
                <a:cubicBezTo>
                  <a:pt x="5387065" y="281749"/>
                  <a:pt x="5344800" y="281749"/>
                  <a:pt x="5316625" y="281749"/>
                </a:cubicBezTo>
                <a:cubicBezTo>
                  <a:pt x="5316625" y="267661"/>
                  <a:pt x="5302536" y="267661"/>
                  <a:pt x="5288447" y="267661"/>
                </a:cubicBezTo>
                <a:cubicBezTo>
                  <a:pt x="5274359" y="267661"/>
                  <a:pt x="5260270" y="267661"/>
                  <a:pt x="5232094" y="267661"/>
                </a:cubicBezTo>
                <a:cubicBezTo>
                  <a:pt x="5232094" y="267661"/>
                  <a:pt x="5232094" y="267661"/>
                  <a:pt x="5230333" y="267661"/>
                </a:cubicBezTo>
                <a:lnTo>
                  <a:pt x="5228573" y="267661"/>
                </a:lnTo>
                <a:cubicBezTo>
                  <a:pt x="5228573" y="267661"/>
                  <a:pt x="5225051" y="267661"/>
                  <a:pt x="5218006" y="267661"/>
                </a:cubicBezTo>
                <a:cubicBezTo>
                  <a:pt x="5203919" y="267661"/>
                  <a:pt x="5189830" y="267661"/>
                  <a:pt x="5189830" y="267661"/>
                </a:cubicBezTo>
                <a:cubicBezTo>
                  <a:pt x="5161654" y="267661"/>
                  <a:pt x="5133477" y="267661"/>
                  <a:pt x="5119389" y="267661"/>
                </a:cubicBezTo>
                <a:cubicBezTo>
                  <a:pt x="5119389" y="267661"/>
                  <a:pt x="5105300" y="267661"/>
                  <a:pt x="5091213" y="267661"/>
                </a:cubicBezTo>
                <a:cubicBezTo>
                  <a:pt x="5091213" y="267661"/>
                  <a:pt x="5091213" y="267661"/>
                  <a:pt x="5077124" y="267661"/>
                </a:cubicBezTo>
                <a:cubicBezTo>
                  <a:pt x="5048948" y="267661"/>
                  <a:pt x="5034860" y="267661"/>
                  <a:pt x="5006683" y="281749"/>
                </a:cubicBezTo>
                <a:cubicBezTo>
                  <a:pt x="4992595" y="281749"/>
                  <a:pt x="4978507" y="281749"/>
                  <a:pt x="4964418" y="267661"/>
                </a:cubicBezTo>
                <a:cubicBezTo>
                  <a:pt x="4964418" y="267661"/>
                  <a:pt x="4964418" y="267661"/>
                  <a:pt x="4950331" y="267661"/>
                </a:cubicBezTo>
                <a:cubicBezTo>
                  <a:pt x="4936242" y="267661"/>
                  <a:pt x="4908065" y="267661"/>
                  <a:pt x="4893978" y="281749"/>
                </a:cubicBezTo>
                <a:cubicBezTo>
                  <a:pt x="4879889" y="281749"/>
                  <a:pt x="4851712" y="281749"/>
                  <a:pt x="4837625" y="281749"/>
                </a:cubicBezTo>
                <a:cubicBezTo>
                  <a:pt x="4823537" y="281749"/>
                  <a:pt x="4823537" y="281749"/>
                  <a:pt x="4823537" y="281749"/>
                </a:cubicBezTo>
                <a:cubicBezTo>
                  <a:pt x="4823537" y="281749"/>
                  <a:pt x="4823537" y="281749"/>
                  <a:pt x="4809448" y="281749"/>
                </a:cubicBezTo>
                <a:cubicBezTo>
                  <a:pt x="4781272" y="281749"/>
                  <a:pt x="4795359" y="295836"/>
                  <a:pt x="4809448" y="295836"/>
                </a:cubicBezTo>
                <a:cubicBezTo>
                  <a:pt x="4809448" y="295836"/>
                  <a:pt x="4795359" y="295836"/>
                  <a:pt x="4781272" y="295836"/>
                </a:cubicBezTo>
                <a:cubicBezTo>
                  <a:pt x="4753095" y="295836"/>
                  <a:pt x="4739006" y="295836"/>
                  <a:pt x="4710831" y="295836"/>
                </a:cubicBezTo>
                <a:cubicBezTo>
                  <a:pt x="4682655" y="295836"/>
                  <a:pt x="4654478" y="295836"/>
                  <a:pt x="4626302" y="295836"/>
                </a:cubicBezTo>
                <a:cubicBezTo>
                  <a:pt x="4626302" y="295836"/>
                  <a:pt x="4626302" y="309923"/>
                  <a:pt x="4626302" y="309923"/>
                </a:cubicBezTo>
                <a:lnTo>
                  <a:pt x="4640389" y="309923"/>
                </a:lnTo>
                <a:cubicBezTo>
                  <a:pt x="4668566" y="309923"/>
                  <a:pt x="4682655" y="309923"/>
                  <a:pt x="4696742" y="309923"/>
                </a:cubicBezTo>
                <a:cubicBezTo>
                  <a:pt x="4724919" y="309923"/>
                  <a:pt x="4739006" y="309923"/>
                  <a:pt x="4753095" y="309923"/>
                </a:cubicBezTo>
                <a:cubicBezTo>
                  <a:pt x="4767184" y="309923"/>
                  <a:pt x="4767184" y="309923"/>
                  <a:pt x="4767184" y="309923"/>
                </a:cubicBezTo>
                <a:cubicBezTo>
                  <a:pt x="4795359" y="295836"/>
                  <a:pt x="4823537" y="309923"/>
                  <a:pt x="4851712" y="295836"/>
                </a:cubicBezTo>
                <a:cubicBezTo>
                  <a:pt x="4865801" y="295836"/>
                  <a:pt x="4879889" y="295836"/>
                  <a:pt x="4893978" y="295836"/>
                </a:cubicBezTo>
                <a:cubicBezTo>
                  <a:pt x="4908065" y="295836"/>
                  <a:pt x="4922154" y="295836"/>
                  <a:pt x="4922154" y="295836"/>
                </a:cubicBezTo>
                <a:cubicBezTo>
                  <a:pt x="4936242" y="295836"/>
                  <a:pt x="4936242" y="295836"/>
                  <a:pt x="4964418" y="295836"/>
                </a:cubicBezTo>
                <a:cubicBezTo>
                  <a:pt x="4978507" y="295836"/>
                  <a:pt x="5006683" y="295836"/>
                  <a:pt x="5034860" y="295836"/>
                </a:cubicBezTo>
                <a:cubicBezTo>
                  <a:pt x="5063036" y="295836"/>
                  <a:pt x="5091213" y="281749"/>
                  <a:pt x="5147566" y="295836"/>
                </a:cubicBezTo>
                <a:cubicBezTo>
                  <a:pt x="5161654" y="295836"/>
                  <a:pt x="5189830" y="295836"/>
                  <a:pt x="5189830" y="309923"/>
                </a:cubicBezTo>
                <a:cubicBezTo>
                  <a:pt x="5189830" y="309923"/>
                  <a:pt x="5189830" y="309923"/>
                  <a:pt x="5175742" y="309923"/>
                </a:cubicBezTo>
                <a:cubicBezTo>
                  <a:pt x="5175742" y="309923"/>
                  <a:pt x="5161654" y="309923"/>
                  <a:pt x="5147566" y="309923"/>
                </a:cubicBezTo>
                <a:cubicBezTo>
                  <a:pt x="5119389" y="295836"/>
                  <a:pt x="5105300" y="309923"/>
                  <a:pt x="5077124" y="309923"/>
                </a:cubicBezTo>
                <a:cubicBezTo>
                  <a:pt x="5063036" y="309923"/>
                  <a:pt x="5020771" y="309923"/>
                  <a:pt x="4992595" y="309923"/>
                </a:cubicBezTo>
                <a:cubicBezTo>
                  <a:pt x="4964418" y="309923"/>
                  <a:pt x="4950331" y="309923"/>
                  <a:pt x="4936242" y="309923"/>
                </a:cubicBezTo>
                <a:cubicBezTo>
                  <a:pt x="4936242" y="324010"/>
                  <a:pt x="4922154" y="324010"/>
                  <a:pt x="4908065" y="324010"/>
                </a:cubicBezTo>
                <a:cubicBezTo>
                  <a:pt x="4908065" y="324010"/>
                  <a:pt x="4893978" y="324010"/>
                  <a:pt x="4879889" y="324010"/>
                </a:cubicBezTo>
                <a:cubicBezTo>
                  <a:pt x="4879889" y="324010"/>
                  <a:pt x="4879889" y="324010"/>
                  <a:pt x="4865801" y="324010"/>
                </a:cubicBezTo>
                <a:cubicBezTo>
                  <a:pt x="4851712" y="324010"/>
                  <a:pt x="4851712" y="309923"/>
                  <a:pt x="4809448" y="324010"/>
                </a:cubicBezTo>
                <a:cubicBezTo>
                  <a:pt x="4795359" y="324010"/>
                  <a:pt x="4795359" y="324010"/>
                  <a:pt x="4795359" y="324010"/>
                </a:cubicBezTo>
                <a:cubicBezTo>
                  <a:pt x="4781272" y="324010"/>
                  <a:pt x="4781272" y="324010"/>
                  <a:pt x="4781272" y="324010"/>
                </a:cubicBezTo>
                <a:cubicBezTo>
                  <a:pt x="4767184" y="338098"/>
                  <a:pt x="4739006" y="338098"/>
                  <a:pt x="4724919" y="338098"/>
                </a:cubicBezTo>
                <a:cubicBezTo>
                  <a:pt x="4724919" y="338098"/>
                  <a:pt x="4710831" y="338098"/>
                  <a:pt x="4710831" y="338098"/>
                </a:cubicBezTo>
                <a:cubicBezTo>
                  <a:pt x="4696742" y="338098"/>
                  <a:pt x="4682655" y="338098"/>
                  <a:pt x="4654478" y="338098"/>
                </a:cubicBezTo>
                <a:cubicBezTo>
                  <a:pt x="4626302" y="338098"/>
                  <a:pt x="4612213" y="338098"/>
                  <a:pt x="4584036" y="352185"/>
                </a:cubicBezTo>
                <a:cubicBezTo>
                  <a:pt x="4569949" y="352185"/>
                  <a:pt x="4569949" y="352185"/>
                  <a:pt x="4569949" y="352185"/>
                </a:cubicBezTo>
                <a:cubicBezTo>
                  <a:pt x="4569949" y="352185"/>
                  <a:pt x="4555860" y="366272"/>
                  <a:pt x="4527683" y="366272"/>
                </a:cubicBezTo>
                <a:cubicBezTo>
                  <a:pt x="4527683" y="366272"/>
                  <a:pt x="4513595" y="366272"/>
                  <a:pt x="4513595" y="366272"/>
                </a:cubicBezTo>
                <a:cubicBezTo>
                  <a:pt x="4513595" y="366272"/>
                  <a:pt x="4499507" y="366272"/>
                  <a:pt x="4499507" y="366272"/>
                </a:cubicBezTo>
                <a:cubicBezTo>
                  <a:pt x="4485419" y="366272"/>
                  <a:pt x="4485419" y="366272"/>
                  <a:pt x="4485419" y="366272"/>
                </a:cubicBezTo>
                <a:cubicBezTo>
                  <a:pt x="4471330" y="366272"/>
                  <a:pt x="4457243" y="380360"/>
                  <a:pt x="4429066" y="380360"/>
                </a:cubicBezTo>
                <a:cubicBezTo>
                  <a:pt x="4429066" y="380360"/>
                  <a:pt x="4414979" y="380360"/>
                  <a:pt x="4400890" y="380360"/>
                </a:cubicBezTo>
                <a:cubicBezTo>
                  <a:pt x="4400890" y="380360"/>
                  <a:pt x="4400890" y="380360"/>
                  <a:pt x="4400890" y="394447"/>
                </a:cubicBezTo>
                <a:cubicBezTo>
                  <a:pt x="4386801" y="394447"/>
                  <a:pt x="4386801" y="394447"/>
                  <a:pt x="4386801" y="394447"/>
                </a:cubicBezTo>
                <a:cubicBezTo>
                  <a:pt x="4386801" y="394447"/>
                  <a:pt x="4372713" y="394447"/>
                  <a:pt x="4372713" y="394447"/>
                </a:cubicBezTo>
                <a:cubicBezTo>
                  <a:pt x="4372713" y="394447"/>
                  <a:pt x="4372713" y="394447"/>
                  <a:pt x="4370952" y="394447"/>
                </a:cubicBezTo>
                <a:lnTo>
                  <a:pt x="4359520" y="394447"/>
                </a:lnTo>
                <a:lnTo>
                  <a:pt x="4363709" y="395971"/>
                </a:lnTo>
                <a:lnTo>
                  <a:pt x="4357040" y="395415"/>
                </a:lnTo>
                <a:lnTo>
                  <a:pt x="4326927" y="413818"/>
                </a:lnTo>
                <a:cubicBezTo>
                  <a:pt x="4312838" y="419101"/>
                  <a:pt x="4295228" y="422623"/>
                  <a:pt x="4274096" y="422623"/>
                </a:cubicBezTo>
                <a:cubicBezTo>
                  <a:pt x="4260008" y="422623"/>
                  <a:pt x="4260008" y="422623"/>
                  <a:pt x="4260008" y="422623"/>
                </a:cubicBezTo>
                <a:cubicBezTo>
                  <a:pt x="4245920" y="422623"/>
                  <a:pt x="4231831" y="436710"/>
                  <a:pt x="4231831" y="436710"/>
                </a:cubicBezTo>
                <a:cubicBezTo>
                  <a:pt x="4217743" y="436710"/>
                  <a:pt x="4217743" y="436710"/>
                  <a:pt x="4217743" y="436710"/>
                </a:cubicBezTo>
                <a:cubicBezTo>
                  <a:pt x="4231831" y="436710"/>
                  <a:pt x="4203655" y="436710"/>
                  <a:pt x="4203655" y="450798"/>
                </a:cubicBezTo>
                <a:cubicBezTo>
                  <a:pt x="4203655" y="450798"/>
                  <a:pt x="4203655" y="450798"/>
                  <a:pt x="4189567" y="450798"/>
                </a:cubicBezTo>
                <a:cubicBezTo>
                  <a:pt x="4133214" y="464885"/>
                  <a:pt x="4105037" y="464885"/>
                  <a:pt x="4062772" y="493059"/>
                </a:cubicBezTo>
                <a:cubicBezTo>
                  <a:pt x="4048684" y="493059"/>
                  <a:pt x="4048684" y="493059"/>
                  <a:pt x="4034596" y="493059"/>
                </a:cubicBezTo>
                <a:cubicBezTo>
                  <a:pt x="4020508" y="507147"/>
                  <a:pt x="4020508" y="507147"/>
                  <a:pt x="4020508" y="507147"/>
                </a:cubicBezTo>
                <a:cubicBezTo>
                  <a:pt x="4006419" y="507147"/>
                  <a:pt x="3992331" y="521234"/>
                  <a:pt x="3978244" y="521234"/>
                </a:cubicBezTo>
                <a:lnTo>
                  <a:pt x="3967380" y="528146"/>
                </a:lnTo>
                <a:lnTo>
                  <a:pt x="3984422" y="535321"/>
                </a:lnTo>
                <a:lnTo>
                  <a:pt x="4006652" y="549001"/>
                </a:lnTo>
                <a:lnTo>
                  <a:pt x="4013464" y="537082"/>
                </a:lnTo>
                <a:cubicBezTo>
                  <a:pt x="4016986" y="535321"/>
                  <a:pt x="4020508" y="535321"/>
                  <a:pt x="4020508" y="535321"/>
                </a:cubicBezTo>
                <a:cubicBezTo>
                  <a:pt x="4034596" y="535321"/>
                  <a:pt x="4034596" y="535321"/>
                  <a:pt x="4034596" y="535321"/>
                </a:cubicBezTo>
                <a:cubicBezTo>
                  <a:pt x="4034596" y="535321"/>
                  <a:pt x="4034596" y="535321"/>
                  <a:pt x="4048684" y="521234"/>
                </a:cubicBezTo>
                <a:cubicBezTo>
                  <a:pt x="4076861" y="521234"/>
                  <a:pt x="4090949" y="507147"/>
                  <a:pt x="4119125" y="507147"/>
                </a:cubicBezTo>
                <a:cubicBezTo>
                  <a:pt x="4161390" y="493059"/>
                  <a:pt x="4189567" y="493059"/>
                  <a:pt x="4217743" y="478972"/>
                </a:cubicBezTo>
                <a:cubicBezTo>
                  <a:pt x="4217743" y="478972"/>
                  <a:pt x="4245920" y="464885"/>
                  <a:pt x="4260008" y="464885"/>
                </a:cubicBezTo>
                <a:cubicBezTo>
                  <a:pt x="4231831" y="478972"/>
                  <a:pt x="4217743" y="478972"/>
                  <a:pt x="4245920" y="478972"/>
                </a:cubicBezTo>
                <a:cubicBezTo>
                  <a:pt x="4245920" y="478972"/>
                  <a:pt x="4260008" y="478972"/>
                  <a:pt x="4260008" y="493059"/>
                </a:cubicBezTo>
                <a:cubicBezTo>
                  <a:pt x="4260008" y="493059"/>
                  <a:pt x="4245920" y="493059"/>
                  <a:pt x="4231831" y="493059"/>
                </a:cubicBezTo>
                <a:cubicBezTo>
                  <a:pt x="4217743" y="493059"/>
                  <a:pt x="4231831" y="493059"/>
                  <a:pt x="4231831" y="507147"/>
                </a:cubicBezTo>
                <a:cubicBezTo>
                  <a:pt x="4245920" y="507147"/>
                  <a:pt x="4245920" y="493059"/>
                  <a:pt x="4260008" y="493059"/>
                </a:cubicBezTo>
                <a:cubicBezTo>
                  <a:pt x="4274096" y="493059"/>
                  <a:pt x="4274096" y="493059"/>
                  <a:pt x="4288184" y="493059"/>
                </a:cubicBezTo>
                <a:cubicBezTo>
                  <a:pt x="4316360" y="478972"/>
                  <a:pt x="4344537" y="478972"/>
                  <a:pt x="4372713" y="464885"/>
                </a:cubicBezTo>
                <a:cubicBezTo>
                  <a:pt x="4443154" y="450798"/>
                  <a:pt x="4513595" y="436710"/>
                  <a:pt x="4584036" y="436710"/>
                </a:cubicBezTo>
                <a:cubicBezTo>
                  <a:pt x="4612213" y="422623"/>
                  <a:pt x="4626302" y="422623"/>
                  <a:pt x="4640389" y="422623"/>
                </a:cubicBezTo>
                <a:lnTo>
                  <a:pt x="4668566" y="422623"/>
                </a:lnTo>
                <a:lnTo>
                  <a:pt x="4680893" y="422623"/>
                </a:lnTo>
                <a:cubicBezTo>
                  <a:pt x="4693220" y="422623"/>
                  <a:pt x="4703787" y="422623"/>
                  <a:pt x="4710831" y="422623"/>
                </a:cubicBezTo>
                <a:cubicBezTo>
                  <a:pt x="4710831" y="422623"/>
                  <a:pt x="4724919" y="422623"/>
                  <a:pt x="4724919" y="422623"/>
                </a:cubicBezTo>
                <a:cubicBezTo>
                  <a:pt x="4710831" y="408534"/>
                  <a:pt x="4696742" y="422623"/>
                  <a:pt x="4668566" y="422623"/>
                </a:cubicBezTo>
                <a:cubicBezTo>
                  <a:pt x="4682655" y="408534"/>
                  <a:pt x="4724919" y="408534"/>
                  <a:pt x="4739006" y="408534"/>
                </a:cubicBezTo>
                <a:lnTo>
                  <a:pt x="4753095" y="408534"/>
                </a:lnTo>
                <a:cubicBezTo>
                  <a:pt x="4753095" y="408534"/>
                  <a:pt x="4739006" y="408534"/>
                  <a:pt x="4753095" y="422623"/>
                </a:cubicBezTo>
                <a:cubicBezTo>
                  <a:pt x="4781272" y="422623"/>
                  <a:pt x="4767184" y="422623"/>
                  <a:pt x="4781272" y="436710"/>
                </a:cubicBezTo>
                <a:cubicBezTo>
                  <a:pt x="4795359" y="436710"/>
                  <a:pt x="4795359" y="436710"/>
                  <a:pt x="4809448" y="436710"/>
                </a:cubicBezTo>
                <a:cubicBezTo>
                  <a:pt x="4823537" y="436710"/>
                  <a:pt x="4837625" y="436710"/>
                  <a:pt x="4851712" y="436710"/>
                </a:cubicBezTo>
                <a:cubicBezTo>
                  <a:pt x="4879889" y="422623"/>
                  <a:pt x="4893978" y="422623"/>
                  <a:pt x="4908065" y="436710"/>
                </a:cubicBezTo>
                <a:cubicBezTo>
                  <a:pt x="4908065" y="436710"/>
                  <a:pt x="4865801" y="436710"/>
                  <a:pt x="4893978" y="450798"/>
                </a:cubicBezTo>
                <a:cubicBezTo>
                  <a:pt x="4893978" y="450798"/>
                  <a:pt x="4908065" y="450798"/>
                  <a:pt x="4908065" y="450798"/>
                </a:cubicBezTo>
                <a:cubicBezTo>
                  <a:pt x="4908065" y="450798"/>
                  <a:pt x="4922154" y="450798"/>
                  <a:pt x="4936242" y="450798"/>
                </a:cubicBezTo>
                <a:cubicBezTo>
                  <a:pt x="4992595" y="464885"/>
                  <a:pt x="5034860" y="464885"/>
                  <a:pt x="5091213" y="464885"/>
                </a:cubicBezTo>
                <a:cubicBezTo>
                  <a:pt x="5105300" y="464885"/>
                  <a:pt x="5119389" y="464885"/>
                  <a:pt x="5119389" y="464885"/>
                </a:cubicBezTo>
                <a:cubicBezTo>
                  <a:pt x="5133477" y="464885"/>
                  <a:pt x="5133477" y="464885"/>
                  <a:pt x="5133477" y="464885"/>
                </a:cubicBezTo>
                <a:cubicBezTo>
                  <a:pt x="5161654" y="464885"/>
                  <a:pt x="5189830" y="464885"/>
                  <a:pt x="5203919" y="464885"/>
                </a:cubicBezTo>
                <a:cubicBezTo>
                  <a:pt x="5232094" y="478972"/>
                  <a:pt x="5260270" y="478972"/>
                  <a:pt x="5274359" y="478972"/>
                </a:cubicBezTo>
                <a:cubicBezTo>
                  <a:pt x="5288447" y="478972"/>
                  <a:pt x="5302536" y="478972"/>
                  <a:pt x="5316625" y="493059"/>
                </a:cubicBezTo>
                <a:cubicBezTo>
                  <a:pt x="5330712" y="493059"/>
                  <a:pt x="5344800" y="493059"/>
                  <a:pt x="5344800" y="493059"/>
                </a:cubicBezTo>
                <a:lnTo>
                  <a:pt x="5358889" y="493059"/>
                </a:lnTo>
                <a:lnTo>
                  <a:pt x="5362411" y="493059"/>
                </a:lnTo>
                <a:lnTo>
                  <a:pt x="5365933" y="493059"/>
                </a:lnTo>
                <a:lnTo>
                  <a:pt x="5367694" y="493059"/>
                </a:lnTo>
                <a:lnTo>
                  <a:pt x="5372976" y="493059"/>
                </a:lnTo>
                <a:cubicBezTo>
                  <a:pt x="5401153" y="493059"/>
                  <a:pt x="5429329" y="507147"/>
                  <a:pt x="5457506" y="507147"/>
                </a:cubicBezTo>
                <a:cubicBezTo>
                  <a:pt x="5471594" y="507147"/>
                  <a:pt x="5471594" y="507147"/>
                  <a:pt x="5513859" y="507147"/>
                </a:cubicBezTo>
                <a:cubicBezTo>
                  <a:pt x="5527947" y="521234"/>
                  <a:pt x="5542035" y="521234"/>
                  <a:pt x="5542035" y="521234"/>
                </a:cubicBezTo>
                <a:cubicBezTo>
                  <a:pt x="5556124" y="521234"/>
                  <a:pt x="5570212" y="521234"/>
                  <a:pt x="5570212" y="521234"/>
                </a:cubicBezTo>
                <a:cubicBezTo>
                  <a:pt x="5598388" y="535321"/>
                  <a:pt x="5612477" y="535321"/>
                  <a:pt x="5626565" y="549409"/>
                </a:cubicBezTo>
                <a:cubicBezTo>
                  <a:pt x="5640652" y="549409"/>
                  <a:pt x="5640652" y="549409"/>
                  <a:pt x="5654741" y="549409"/>
                </a:cubicBezTo>
                <a:cubicBezTo>
                  <a:pt x="5654741" y="549409"/>
                  <a:pt x="5682917" y="563496"/>
                  <a:pt x="5682917" y="549409"/>
                </a:cubicBezTo>
                <a:cubicBezTo>
                  <a:pt x="5697005" y="549409"/>
                  <a:pt x="5725182" y="563496"/>
                  <a:pt x="5725182" y="563496"/>
                </a:cubicBezTo>
                <a:cubicBezTo>
                  <a:pt x="5711094" y="563496"/>
                  <a:pt x="5711094" y="563496"/>
                  <a:pt x="5697005" y="563496"/>
                </a:cubicBezTo>
                <a:cubicBezTo>
                  <a:pt x="5725182" y="577583"/>
                  <a:pt x="5753358" y="577583"/>
                  <a:pt x="5781535" y="591672"/>
                </a:cubicBezTo>
                <a:cubicBezTo>
                  <a:pt x="5781535" y="605759"/>
                  <a:pt x="5795623" y="605759"/>
                  <a:pt x="5795623" y="605759"/>
                </a:cubicBezTo>
                <a:cubicBezTo>
                  <a:pt x="5795623" y="605759"/>
                  <a:pt x="5795623" y="605759"/>
                  <a:pt x="5781535" y="605759"/>
                </a:cubicBezTo>
                <a:cubicBezTo>
                  <a:pt x="5795623" y="619846"/>
                  <a:pt x="5795623" y="619846"/>
                  <a:pt x="5781535" y="619846"/>
                </a:cubicBezTo>
                <a:cubicBezTo>
                  <a:pt x="5774492" y="619846"/>
                  <a:pt x="5767447" y="616325"/>
                  <a:pt x="5760403" y="612803"/>
                </a:cubicBezTo>
                <a:lnTo>
                  <a:pt x="5729877" y="594489"/>
                </a:lnTo>
                <a:lnTo>
                  <a:pt x="5721661" y="584628"/>
                </a:lnTo>
                <a:cubicBezTo>
                  <a:pt x="5711094" y="577583"/>
                  <a:pt x="5697005" y="570540"/>
                  <a:pt x="5682917" y="563496"/>
                </a:cubicBezTo>
                <a:cubicBezTo>
                  <a:pt x="5682917" y="577583"/>
                  <a:pt x="5682917" y="577583"/>
                  <a:pt x="5682917" y="577583"/>
                </a:cubicBezTo>
                <a:cubicBezTo>
                  <a:pt x="5725182" y="591672"/>
                  <a:pt x="5682917" y="577583"/>
                  <a:pt x="5668829" y="577583"/>
                </a:cubicBezTo>
                <a:cubicBezTo>
                  <a:pt x="5668829" y="577583"/>
                  <a:pt x="5668829" y="577583"/>
                  <a:pt x="5654741" y="577583"/>
                </a:cubicBezTo>
                <a:lnTo>
                  <a:pt x="5635018" y="567722"/>
                </a:lnTo>
                <a:lnTo>
                  <a:pt x="5633609" y="565257"/>
                </a:lnTo>
                <a:cubicBezTo>
                  <a:pt x="5630087" y="563496"/>
                  <a:pt x="5626565" y="563496"/>
                  <a:pt x="5626565" y="563496"/>
                </a:cubicBezTo>
                <a:lnTo>
                  <a:pt x="5635018" y="567722"/>
                </a:lnTo>
                <a:lnTo>
                  <a:pt x="5640652" y="577583"/>
                </a:lnTo>
                <a:cubicBezTo>
                  <a:pt x="5640652" y="577583"/>
                  <a:pt x="5644174" y="577583"/>
                  <a:pt x="5647697" y="577583"/>
                </a:cubicBezTo>
                <a:lnTo>
                  <a:pt x="5654741" y="577583"/>
                </a:lnTo>
                <a:cubicBezTo>
                  <a:pt x="5665308" y="581105"/>
                  <a:pt x="5675873" y="584627"/>
                  <a:pt x="5682917" y="591672"/>
                </a:cubicBezTo>
                <a:cubicBezTo>
                  <a:pt x="5697005" y="591672"/>
                  <a:pt x="5725182" y="591672"/>
                  <a:pt x="5725182" y="591672"/>
                </a:cubicBezTo>
                <a:lnTo>
                  <a:pt x="5729877" y="594489"/>
                </a:lnTo>
                <a:lnTo>
                  <a:pt x="5739270" y="605759"/>
                </a:lnTo>
                <a:cubicBezTo>
                  <a:pt x="5746315" y="605759"/>
                  <a:pt x="5753358" y="609281"/>
                  <a:pt x="5760403" y="612803"/>
                </a:cubicBezTo>
                <a:cubicBezTo>
                  <a:pt x="5770969" y="619846"/>
                  <a:pt x="5781535" y="626890"/>
                  <a:pt x="5795623" y="633934"/>
                </a:cubicBezTo>
                <a:cubicBezTo>
                  <a:pt x="5795623" y="633934"/>
                  <a:pt x="5809711" y="633934"/>
                  <a:pt x="5823800" y="633934"/>
                </a:cubicBezTo>
                <a:cubicBezTo>
                  <a:pt x="5823800" y="633934"/>
                  <a:pt x="5823800" y="633934"/>
                  <a:pt x="5823800" y="648021"/>
                </a:cubicBezTo>
                <a:cubicBezTo>
                  <a:pt x="5837888" y="648021"/>
                  <a:pt x="5837888" y="648021"/>
                  <a:pt x="5851976" y="648021"/>
                </a:cubicBezTo>
                <a:lnTo>
                  <a:pt x="5866064" y="657882"/>
                </a:lnTo>
                <a:lnTo>
                  <a:pt x="5866064" y="662108"/>
                </a:lnTo>
                <a:cubicBezTo>
                  <a:pt x="5873109" y="662108"/>
                  <a:pt x="5873109" y="662108"/>
                  <a:pt x="5869587" y="660347"/>
                </a:cubicBezTo>
                <a:lnTo>
                  <a:pt x="5866064" y="657882"/>
                </a:lnTo>
                <a:lnTo>
                  <a:pt x="5866064" y="655065"/>
                </a:lnTo>
                <a:cubicBezTo>
                  <a:pt x="5866064" y="651543"/>
                  <a:pt x="5866064" y="648021"/>
                  <a:pt x="5866064" y="648021"/>
                </a:cubicBezTo>
                <a:cubicBezTo>
                  <a:pt x="5880153" y="648021"/>
                  <a:pt x="5894240" y="662108"/>
                  <a:pt x="5908329" y="662108"/>
                </a:cubicBezTo>
                <a:cubicBezTo>
                  <a:pt x="5936506" y="676196"/>
                  <a:pt x="5964682" y="690283"/>
                  <a:pt x="5992859" y="704370"/>
                </a:cubicBezTo>
                <a:cubicBezTo>
                  <a:pt x="6006946" y="718457"/>
                  <a:pt x="6021035" y="718457"/>
                  <a:pt x="6035123" y="732545"/>
                </a:cubicBezTo>
                <a:cubicBezTo>
                  <a:pt x="6035123" y="732545"/>
                  <a:pt x="6035123" y="732545"/>
                  <a:pt x="6049212" y="732545"/>
                </a:cubicBezTo>
                <a:cubicBezTo>
                  <a:pt x="6063299" y="732545"/>
                  <a:pt x="6063299" y="732545"/>
                  <a:pt x="6035123" y="718457"/>
                </a:cubicBezTo>
                <a:cubicBezTo>
                  <a:pt x="6021035" y="704370"/>
                  <a:pt x="6006946" y="704370"/>
                  <a:pt x="6006946" y="690283"/>
                </a:cubicBezTo>
                <a:cubicBezTo>
                  <a:pt x="6006946" y="690283"/>
                  <a:pt x="6049212" y="718457"/>
                  <a:pt x="6063299" y="718457"/>
                </a:cubicBezTo>
                <a:cubicBezTo>
                  <a:pt x="6063299" y="732545"/>
                  <a:pt x="6077388" y="732545"/>
                  <a:pt x="6105565" y="746632"/>
                </a:cubicBezTo>
                <a:cubicBezTo>
                  <a:pt x="6091476" y="746632"/>
                  <a:pt x="6091476" y="732545"/>
                  <a:pt x="6077388" y="732545"/>
                </a:cubicBezTo>
                <a:cubicBezTo>
                  <a:pt x="6091476" y="732545"/>
                  <a:pt x="6105565" y="746632"/>
                  <a:pt x="6119652" y="746632"/>
                </a:cubicBezTo>
                <a:cubicBezTo>
                  <a:pt x="6119652" y="746632"/>
                  <a:pt x="6119652" y="746632"/>
                  <a:pt x="6133741" y="760719"/>
                </a:cubicBezTo>
                <a:cubicBezTo>
                  <a:pt x="6133741" y="746632"/>
                  <a:pt x="6133741" y="746632"/>
                  <a:pt x="6133741" y="746632"/>
                </a:cubicBezTo>
                <a:lnTo>
                  <a:pt x="6127728" y="741995"/>
                </a:lnTo>
                <a:lnTo>
                  <a:pt x="6147829" y="746632"/>
                </a:lnTo>
                <a:cubicBezTo>
                  <a:pt x="6147829" y="746632"/>
                  <a:pt x="6147829" y="746632"/>
                  <a:pt x="6176005" y="760719"/>
                </a:cubicBezTo>
                <a:cubicBezTo>
                  <a:pt x="6190093" y="774808"/>
                  <a:pt x="6218269" y="788895"/>
                  <a:pt x="6246446" y="802983"/>
                </a:cubicBezTo>
                <a:cubicBezTo>
                  <a:pt x="6246446" y="802983"/>
                  <a:pt x="6246446" y="802983"/>
                  <a:pt x="6260535" y="802983"/>
                </a:cubicBezTo>
                <a:cubicBezTo>
                  <a:pt x="6274622" y="817070"/>
                  <a:pt x="6274622" y="817070"/>
                  <a:pt x="6274622" y="802983"/>
                </a:cubicBezTo>
                <a:cubicBezTo>
                  <a:pt x="6260535" y="788895"/>
                  <a:pt x="6274622" y="802983"/>
                  <a:pt x="6302799" y="817070"/>
                </a:cubicBezTo>
                <a:cubicBezTo>
                  <a:pt x="6316888" y="831157"/>
                  <a:pt x="6330975" y="831157"/>
                  <a:pt x="6330975" y="845244"/>
                </a:cubicBezTo>
                <a:cubicBezTo>
                  <a:pt x="6330975" y="845244"/>
                  <a:pt x="6345064" y="845244"/>
                  <a:pt x="6345064" y="845244"/>
                </a:cubicBezTo>
                <a:cubicBezTo>
                  <a:pt x="6359152" y="859332"/>
                  <a:pt x="6387328" y="873419"/>
                  <a:pt x="6387328" y="887506"/>
                </a:cubicBezTo>
                <a:cubicBezTo>
                  <a:pt x="6401417" y="901594"/>
                  <a:pt x="6429593" y="915681"/>
                  <a:pt x="6457770" y="929768"/>
                </a:cubicBezTo>
                <a:cubicBezTo>
                  <a:pt x="6471858" y="943856"/>
                  <a:pt x="6471858" y="943856"/>
                  <a:pt x="6471858" y="943856"/>
                </a:cubicBezTo>
                <a:cubicBezTo>
                  <a:pt x="6485946" y="943856"/>
                  <a:pt x="6514123" y="957944"/>
                  <a:pt x="6528211" y="972031"/>
                </a:cubicBezTo>
                <a:cubicBezTo>
                  <a:pt x="6528211" y="972031"/>
                  <a:pt x="6542298" y="986119"/>
                  <a:pt x="6556387" y="986119"/>
                </a:cubicBezTo>
                <a:cubicBezTo>
                  <a:pt x="6570476" y="1000206"/>
                  <a:pt x="6584563" y="1014293"/>
                  <a:pt x="6598651" y="1028381"/>
                </a:cubicBezTo>
                <a:cubicBezTo>
                  <a:pt x="6626829" y="1042468"/>
                  <a:pt x="6640916" y="1042468"/>
                  <a:pt x="6655004" y="1070642"/>
                </a:cubicBezTo>
                <a:cubicBezTo>
                  <a:pt x="6612740" y="1042468"/>
                  <a:pt x="6598651" y="1042468"/>
                  <a:pt x="6570476" y="1014293"/>
                </a:cubicBezTo>
                <a:cubicBezTo>
                  <a:pt x="6528211" y="986119"/>
                  <a:pt x="6485946" y="957944"/>
                  <a:pt x="6443681" y="943856"/>
                </a:cubicBezTo>
                <a:cubicBezTo>
                  <a:pt x="6429593" y="929768"/>
                  <a:pt x="6415505" y="929768"/>
                  <a:pt x="6401417" y="915681"/>
                </a:cubicBezTo>
                <a:cubicBezTo>
                  <a:pt x="6387328" y="901594"/>
                  <a:pt x="6373240" y="901594"/>
                  <a:pt x="6359152" y="887506"/>
                </a:cubicBezTo>
                <a:cubicBezTo>
                  <a:pt x="6345064" y="887506"/>
                  <a:pt x="6330975" y="887506"/>
                  <a:pt x="6316888" y="873419"/>
                </a:cubicBezTo>
                <a:cubicBezTo>
                  <a:pt x="6316888" y="873419"/>
                  <a:pt x="6302799" y="859332"/>
                  <a:pt x="6288711" y="859332"/>
                </a:cubicBezTo>
                <a:cubicBezTo>
                  <a:pt x="6274622" y="859332"/>
                  <a:pt x="6260535" y="845244"/>
                  <a:pt x="6246446" y="831157"/>
                </a:cubicBezTo>
                <a:cubicBezTo>
                  <a:pt x="6246446" y="831157"/>
                  <a:pt x="6246446" y="831157"/>
                  <a:pt x="6218269" y="831157"/>
                </a:cubicBezTo>
                <a:cubicBezTo>
                  <a:pt x="6218269" y="817070"/>
                  <a:pt x="6204182" y="817070"/>
                  <a:pt x="6204182" y="817070"/>
                </a:cubicBezTo>
                <a:cubicBezTo>
                  <a:pt x="6190093" y="817070"/>
                  <a:pt x="6190093" y="802983"/>
                  <a:pt x="6176005" y="802983"/>
                </a:cubicBezTo>
                <a:cubicBezTo>
                  <a:pt x="6147829" y="788895"/>
                  <a:pt x="6119652" y="788895"/>
                  <a:pt x="6091476" y="774808"/>
                </a:cubicBezTo>
                <a:cubicBezTo>
                  <a:pt x="6077388" y="760719"/>
                  <a:pt x="6063299" y="760719"/>
                  <a:pt x="6035123" y="746632"/>
                </a:cubicBezTo>
                <a:cubicBezTo>
                  <a:pt x="6035123" y="746632"/>
                  <a:pt x="6021035" y="746632"/>
                  <a:pt x="6006946" y="732545"/>
                </a:cubicBezTo>
                <a:cubicBezTo>
                  <a:pt x="5992859" y="732545"/>
                  <a:pt x="5992859" y="732545"/>
                  <a:pt x="5978770" y="718457"/>
                </a:cubicBezTo>
                <a:cubicBezTo>
                  <a:pt x="5964682" y="718457"/>
                  <a:pt x="5964682" y="718457"/>
                  <a:pt x="5950593" y="718457"/>
                </a:cubicBezTo>
                <a:cubicBezTo>
                  <a:pt x="5950593" y="718457"/>
                  <a:pt x="5936506" y="718457"/>
                  <a:pt x="5922417" y="718457"/>
                </a:cubicBezTo>
                <a:cubicBezTo>
                  <a:pt x="5894240" y="704370"/>
                  <a:pt x="5866064" y="690283"/>
                  <a:pt x="5837888" y="690283"/>
                </a:cubicBezTo>
                <a:cubicBezTo>
                  <a:pt x="5837888" y="690283"/>
                  <a:pt x="5837888" y="676196"/>
                  <a:pt x="5837888" y="676196"/>
                </a:cubicBezTo>
                <a:cubicBezTo>
                  <a:pt x="5837888" y="676196"/>
                  <a:pt x="5837888" y="676196"/>
                  <a:pt x="5823800" y="676196"/>
                </a:cubicBezTo>
                <a:cubicBezTo>
                  <a:pt x="5809711" y="676196"/>
                  <a:pt x="5809711" y="676196"/>
                  <a:pt x="5809711" y="676196"/>
                </a:cubicBezTo>
                <a:cubicBezTo>
                  <a:pt x="5809711" y="676196"/>
                  <a:pt x="5809711" y="676196"/>
                  <a:pt x="5795623" y="676196"/>
                </a:cubicBezTo>
                <a:cubicBezTo>
                  <a:pt x="5795623" y="676196"/>
                  <a:pt x="5795623" y="676196"/>
                  <a:pt x="5795623" y="662108"/>
                </a:cubicBezTo>
                <a:cubicBezTo>
                  <a:pt x="5767447" y="662108"/>
                  <a:pt x="5767447" y="662108"/>
                  <a:pt x="5753358" y="648021"/>
                </a:cubicBezTo>
                <a:cubicBezTo>
                  <a:pt x="5725182" y="648021"/>
                  <a:pt x="5697005" y="633934"/>
                  <a:pt x="5654741" y="633934"/>
                </a:cubicBezTo>
                <a:cubicBezTo>
                  <a:pt x="5640652" y="619846"/>
                  <a:pt x="5640652" y="633934"/>
                  <a:pt x="5626565" y="619846"/>
                </a:cubicBezTo>
                <a:cubicBezTo>
                  <a:pt x="5584299" y="619846"/>
                  <a:pt x="5542035" y="605759"/>
                  <a:pt x="5499771" y="591672"/>
                </a:cubicBezTo>
                <a:cubicBezTo>
                  <a:pt x="5499771" y="605759"/>
                  <a:pt x="5485682" y="605759"/>
                  <a:pt x="5471594" y="591672"/>
                </a:cubicBezTo>
                <a:cubicBezTo>
                  <a:pt x="5457506" y="591672"/>
                  <a:pt x="5457506" y="591672"/>
                  <a:pt x="5457506" y="591672"/>
                </a:cubicBezTo>
                <a:cubicBezTo>
                  <a:pt x="5415242" y="577583"/>
                  <a:pt x="5401153" y="577583"/>
                  <a:pt x="5372976" y="577583"/>
                </a:cubicBezTo>
                <a:cubicBezTo>
                  <a:pt x="5358889" y="577583"/>
                  <a:pt x="5344800" y="577583"/>
                  <a:pt x="5330712" y="577583"/>
                </a:cubicBezTo>
                <a:cubicBezTo>
                  <a:pt x="5330712" y="577583"/>
                  <a:pt x="5316625" y="577583"/>
                  <a:pt x="5302536" y="577583"/>
                </a:cubicBezTo>
                <a:cubicBezTo>
                  <a:pt x="5246183" y="577583"/>
                  <a:pt x="5175742" y="563496"/>
                  <a:pt x="5091213" y="577583"/>
                </a:cubicBezTo>
                <a:cubicBezTo>
                  <a:pt x="5063036" y="577583"/>
                  <a:pt x="5048948" y="563496"/>
                  <a:pt x="5034860" y="563496"/>
                </a:cubicBezTo>
                <a:cubicBezTo>
                  <a:pt x="5048948" y="577583"/>
                  <a:pt x="5048948" y="577583"/>
                  <a:pt x="5091213" y="577583"/>
                </a:cubicBezTo>
                <a:cubicBezTo>
                  <a:pt x="5105300" y="577583"/>
                  <a:pt x="5119389" y="577583"/>
                  <a:pt x="5133477" y="577583"/>
                </a:cubicBezTo>
                <a:cubicBezTo>
                  <a:pt x="5175742" y="577583"/>
                  <a:pt x="5203919" y="577583"/>
                  <a:pt x="5232094" y="591672"/>
                </a:cubicBezTo>
                <a:cubicBezTo>
                  <a:pt x="5232094" y="591672"/>
                  <a:pt x="5232094" y="591672"/>
                  <a:pt x="5246183" y="591672"/>
                </a:cubicBezTo>
                <a:cubicBezTo>
                  <a:pt x="5246183" y="591672"/>
                  <a:pt x="5260270" y="591672"/>
                  <a:pt x="5288447" y="591672"/>
                </a:cubicBezTo>
                <a:cubicBezTo>
                  <a:pt x="5288447" y="591672"/>
                  <a:pt x="5302536" y="591672"/>
                  <a:pt x="5302536" y="591672"/>
                </a:cubicBezTo>
                <a:cubicBezTo>
                  <a:pt x="5316625" y="591672"/>
                  <a:pt x="5330712" y="605759"/>
                  <a:pt x="5358889" y="605759"/>
                </a:cubicBezTo>
                <a:cubicBezTo>
                  <a:pt x="5401153" y="619846"/>
                  <a:pt x="5443418" y="605759"/>
                  <a:pt x="5471594" y="619846"/>
                </a:cubicBezTo>
                <a:cubicBezTo>
                  <a:pt x="5485682" y="619846"/>
                  <a:pt x="5485682" y="619846"/>
                  <a:pt x="5499771" y="619846"/>
                </a:cubicBezTo>
                <a:cubicBezTo>
                  <a:pt x="5499771" y="633934"/>
                  <a:pt x="5499771" y="633934"/>
                  <a:pt x="5485682" y="633934"/>
                </a:cubicBezTo>
                <a:cubicBezTo>
                  <a:pt x="5485682" y="633934"/>
                  <a:pt x="5457506" y="619846"/>
                  <a:pt x="5457506" y="619846"/>
                </a:cubicBezTo>
                <a:cubicBezTo>
                  <a:pt x="5443418" y="619846"/>
                  <a:pt x="5443418" y="619846"/>
                  <a:pt x="5429329" y="619846"/>
                </a:cubicBezTo>
                <a:cubicBezTo>
                  <a:pt x="5358889" y="605759"/>
                  <a:pt x="5274359" y="605759"/>
                  <a:pt x="5189830" y="591672"/>
                </a:cubicBezTo>
                <a:cubicBezTo>
                  <a:pt x="5189830" y="591672"/>
                  <a:pt x="5189830" y="591672"/>
                  <a:pt x="5175742" y="591672"/>
                </a:cubicBezTo>
                <a:cubicBezTo>
                  <a:pt x="5161654" y="591672"/>
                  <a:pt x="5161654" y="591672"/>
                  <a:pt x="5161654" y="591672"/>
                </a:cubicBezTo>
                <a:cubicBezTo>
                  <a:pt x="5147566" y="591672"/>
                  <a:pt x="5147566" y="591672"/>
                  <a:pt x="5133477" y="605759"/>
                </a:cubicBezTo>
                <a:cubicBezTo>
                  <a:pt x="5133477" y="605759"/>
                  <a:pt x="5119389" y="605759"/>
                  <a:pt x="5119389" y="605759"/>
                </a:cubicBezTo>
                <a:cubicBezTo>
                  <a:pt x="5105300" y="591672"/>
                  <a:pt x="5105300" y="591672"/>
                  <a:pt x="5091213" y="605759"/>
                </a:cubicBezTo>
                <a:cubicBezTo>
                  <a:pt x="5105300" y="605759"/>
                  <a:pt x="5119389" y="605759"/>
                  <a:pt x="5119389" y="605759"/>
                </a:cubicBezTo>
                <a:cubicBezTo>
                  <a:pt x="5119389" y="605759"/>
                  <a:pt x="5147566" y="619846"/>
                  <a:pt x="5175742" y="619846"/>
                </a:cubicBezTo>
                <a:cubicBezTo>
                  <a:pt x="5189830" y="619846"/>
                  <a:pt x="5189830" y="619846"/>
                  <a:pt x="5203919" y="619846"/>
                </a:cubicBezTo>
                <a:cubicBezTo>
                  <a:pt x="5210962" y="619846"/>
                  <a:pt x="5214484" y="619846"/>
                  <a:pt x="5218006" y="619846"/>
                </a:cubicBezTo>
                <a:lnTo>
                  <a:pt x="5221528" y="619846"/>
                </a:lnTo>
                <a:lnTo>
                  <a:pt x="5232094" y="619846"/>
                </a:lnTo>
                <a:cubicBezTo>
                  <a:pt x="5260270" y="633934"/>
                  <a:pt x="5274359" y="633934"/>
                  <a:pt x="5316625" y="633934"/>
                </a:cubicBezTo>
                <a:cubicBezTo>
                  <a:pt x="5302536" y="633934"/>
                  <a:pt x="5288447" y="633934"/>
                  <a:pt x="5274359" y="633934"/>
                </a:cubicBezTo>
                <a:cubicBezTo>
                  <a:pt x="5274359" y="633934"/>
                  <a:pt x="5288447" y="633934"/>
                  <a:pt x="5302536" y="648021"/>
                </a:cubicBezTo>
                <a:cubicBezTo>
                  <a:pt x="5302536" y="648021"/>
                  <a:pt x="5302536" y="648021"/>
                  <a:pt x="5316625" y="648021"/>
                </a:cubicBezTo>
                <a:cubicBezTo>
                  <a:pt x="5316625" y="648021"/>
                  <a:pt x="5330712" y="648021"/>
                  <a:pt x="5330712" y="648021"/>
                </a:cubicBezTo>
                <a:cubicBezTo>
                  <a:pt x="5344800" y="648021"/>
                  <a:pt x="5358889" y="648021"/>
                  <a:pt x="5372976" y="648021"/>
                </a:cubicBezTo>
                <a:cubicBezTo>
                  <a:pt x="5443418" y="648021"/>
                  <a:pt x="5499771" y="676196"/>
                  <a:pt x="5556124" y="676196"/>
                </a:cubicBezTo>
                <a:cubicBezTo>
                  <a:pt x="5556124" y="676196"/>
                  <a:pt x="5570212" y="690283"/>
                  <a:pt x="5584299" y="690283"/>
                </a:cubicBezTo>
                <a:cubicBezTo>
                  <a:pt x="5584299" y="690283"/>
                  <a:pt x="5598388" y="690283"/>
                  <a:pt x="5612477" y="690283"/>
                </a:cubicBezTo>
                <a:cubicBezTo>
                  <a:pt x="5612477" y="690283"/>
                  <a:pt x="5612477" y="690283"/>
                  <a:pt x="5626565" y="690283"/>
                </a:cubicBezTo>
                <a:cubicBezTo>
                  <a:pt x="5626565" y="690283"/>
                  <a:pt x="5626565" y="690283"/>
                  <a:pt x="5654741" y="704370"/>
                </a:cubicBezTo>
                <a:cubicBezTo>
                  <a:pt x="5654741" y="704370"/>
                  <a:pt x="5668829" y="704370"/>
                  <a:pt x="5668829" y="704370"/>
                </a:cubicBezTo>
                <a:cubicBezTo>
                  <a:pt x="5668829" y="704370"/>
                  <a:pt x="5682917" y="704370"/>
                  <a:pt x="5682917" y="704370"/>
                </a:cubicBezTo>
                <a:cubicBezTo>
                  <a:pt x="5711094" y="704370"/>
                  <a:pt x="5725182" y="718457"/>
                  <a:pt x="5739270" y="718457"/>
                </a:cubicBezTo>
                <a:cubicBezTo>
                  <a:pt x="5753358" y="732545"/>
                  <a:pt x="5753358" y="732545"/>
                  <a:pt x="5767447" y="746632"/>
                </a:cubicBezTo>
                <a:cubicBezTo>
                  <a:pt x="5781535" y="760719"/>
                  <a:pt x="5795623" y="760719"/>
                  <a:pt x="5809711" y="760719"/>
                </a:cubicBezTo>
                <a:cubicBezTo>
                  <a:pt x="5795623" y="760719"/>
                  <a:pt x="5795623" y="760719"/>
                  <a:pt x="5781535" y="760719"/>
                </a:cubicBezTo>
                <a:cubicBezTo>
                  <a:pt x="5767447" y="760719"/>
                  <a:pt x="5767447" y="760719"/>
                  <a:pt x="5767447" y="760719"/>
                </a:cubicBezTo>
                <a:cubicBezTo>
                  <a:pt x="5767447" y="760719"/>
                  <a:pt x="5781535" y="774808"/>
                  <a:pt x="5781535" y="774808"/>
                </a:cubicBezTo>
                <a:cubicBezTo>
                  <a:pt x="5795623" y="774808"/>
                  <a:pt x="5809711" y="774808"/>
                  <a:pt x="5809711" y="774808"/>
                </a:cubicBezTo>
                <a:cubicBezTo>
                  <a:pt x="5837888" y="788895"/>
                  <a:pt x="5851976" y="788895"/>
                  <a:pt x="5866064" y="802983"/>
                </a:cubicBezTo>
                <a:cubicBezTo>
                  <a:pt x="5880153" y="802983"/>
                  <a:pt x="5880153" y="802983"/>
                  <a:pt x="5880153" y="802983"/>
                </a:cubicBezTo>
                <a:cubicBezTo>
                  <a:pt x="5894240" y="802983"/>
                  <a:pt x="5894240" y="802983"/>
                  <a:pt x="5894240" y="802983"/>
                </a:cubicBezTo>
                <a:cubicBezTo>
                  <a:pt x="5922417" y="817070"/>
                  <a:pt x="5950593" y="831157"/>
                  <a:pt x="5978770" y="845244"/>
                </a:cubicBezTo>
                <a:cubicBezTo>
                  <a:pt x="6006946" y="859332"/>
                  <a:pt x="6035123" y="859332"/>
                  <a:pt x="6063299" y="887506"/>
                </a:cubicBezTo>
                <a:cubicBezTo>
                  <a:pt x="6063299" y="887506"/>
                  <a:pt x="6077388" y="901594"/>
                  <a:pt x="6077388" y="901594"/>
                </a:cubicBezTo>
                <a:cubicBezTo>
                  <a:pt x="6063299" y="887506"/>
                  <a:pt x="6105565" y="901594"/>
                  <a:pt x="6077388" y="887506"/>
                </a:cubicBezTo>
                <a:cubicBezTo>
                  <a:pt x="6063299" y="873419"/>
                  <a:pt x="6049212" y="873419"/>
                  <a:pt x="6063299" y="873419"/>
                </a:cubicBezTo>
                <a:cubicBezTo>
                  <a:pt x="6077388" y="873419"/>
                  <a:pt x="6091476" y="887506"/>
                  <a:pt x="6119652" y="901594"/>
                </a:cubicBezTo>
                <a:cubicBezTo>
                  <a:pt x="6133741" y="915681"/>
                  <a:pt x="6161916" y="929768"/>
                  <a:pt x="6190093" y="943856"/>
                </a:cubicBezTo>
                <a:cubicBezTo>
                  <a:pt x="6204182" y="957944"/>
                  <a:pt x="6232358" y="972031"/>
                  <a:pt x="6260535" y="986119"/>
                </a:cubicBezTo>
                <a:cubicBezTo>
                  <a:pt x="6260535" y="986119"/>
                  <a:pt x="6274622" y="1000206"/>
                  <a:pt x="6274622" y="986119"/>
                </a:cubicBezTo>
                <a:cubicBezTo>
                  <a:pt x="6274622" y="986119"/>
                  <a:pt x="6260535" y="986119"/>
                  <a:pt x="6260535" y="986119"/>
                </a:cubicBezTo>
                <a:cubicBezTo>
                  <a:pt x="6246446" y="972031"/>
                  <a:pt x="6218269" y="957944"/>
                  <a:pt x="6190093" y="943856"/>
                </a:cubicBezTo>
                <a:cubicBezTo>
                  <a:pt x="6190093" y="943856"/>
                  <a:pt x="6204182" y="943856"/>
                  <a:pt x="6232358" y="957944"/>
                </a:cubicBezTo>
                <a:cubicBezTo>
                  <a:pt x="6246446" y="972031"/>
                  <a:pt x="6274622" y="986119"/>
                  <a:pt x="6302799" y="1000206"/>
                </a:cubicBezTo>
                <a:cubicBezTo>
                  <a:pt x="6302799" y="1000206"/>
                  <a:pt x="6316888" y="1000206"/>
                  <a:pt x="6316888" y="1014293"/>
                </a:cubicBezTo>
                <a:cubicBezTo>
                  <a:pt x="6316888" y="1014293"/>
                  <a:pt x="6345064" y="1028381"/>
                  <a:pt x="6359152" y="1042468"/>
                </a:cubicBezTo>
                <a:cubicBezTo>
                  <a:pt x="6387328" y="1056555"/>
                  <a:pt x="6429593" y="1084730"/>
                  <a:pt x="6457770" y="1112904"/>
                </a:cubicBezTo>
                <a:cubicBezTo>
                  <a:pt x="6485946" y="1126993"/>
                  <a:pt x="6514123" y="1155168"/>
                  <a:pt x="6542298" y="1169255"/>
                </a:cubicBezTo>
                <a:cubicBezTo>
                  <a:pt x="6542298" y="1183342"/>
                  <a:pt x="6556387" y="1183342"/>
                  <a:pt x="6556387" y="1183342"/>
                </a:cubicBezTo>
                <a:cubicBezTo>
                  <a:pt x="6584563" y="1211517"/>
                  <a:pt x="6612740" y="1225604"/>
                  <a:pt x="6655004" y="1267866"/>
                </a:cubicBezTo>
                <a:cubicBezTo>
                  <a:pt x="6669093" y="1267866"/>
                  <a:pt x="6669093" y="1267866"/>
                  <a:pt x="6683181" y="1281953"/>
                </a:cubicBezTo>
                <a:cubicBezTo>
                  <a:pt x="6683181" y="1281953"/>
                  <a:pt x="6683181" y="1296041"/>
                  <a:pt x="6697269" y="1296041"/>
                </a:cubicBezTo>
                <a:cubicBezTo>
                  <a:pt x="6697269" y="1296041"/>
                  <a:pt x="6697269" y="1310129"/>
                  <a:pt x="6711357" y="1324216"/>
                </a:cubicBezTo>
                <a:cubicBezTo>
                  <a:pt x="6725446" y="1324216"/>
                  <a:pt x="6711357" y="1324216"/>
                  <a:pt x="6711357" y="1310129"/>
                </a:cubicBezTo>
                <a:cubicBezTo>
                  <a:pt x="6725446" y="1310129"/>
                  <a:pt x="6725446" y="1310129"/>
                  <a:pt x="6739534" y="1324216"/>
                </a:cubicBezTo>
                <a:cubicBezTo>
                  <a:pt x="6753622" y="1352391"/>
                  <a:pt x="6753622" y="1352391"/>
                  <a:pt x="6781799" y="1394653"/>
                </a:cubicBezTo>
                <a:cubicBezTo>
                  <a:pt x="6781799" y="1394653"/>
                  <a:pt x="6781799" y="1394653"/>
                  <a:pt x="6852240" y="1451002"/>
                </a:cubicBezTo>
                <a:cubicBezTo>
                  <a:pt x="6866328" y="1465089"/>
                  <a:pt x="6866328" y="1465089"/>
                  <a:pt x="6880416" y="1493265"/>
                </a:cubicBezTo>
                <a:cubicBezTo>
                  <a:pt x="6880416" y="1493265"/>
                  <a:pt x="6894505" y="1493265"/>
                  <a:pt x="6894505" y="1507353"/>
                </a:cubicBezTo>
                <a:cubicBezTo>
                  <a:pt x="6908593" y="1507353"/>
                  <a:pt x="6908593" y="1521440"/>
                  <a:pt x="6922681" y="1535527"/>
                </a:cubicBezTo>
                <a:cubicBezTo>
                  <a:pt x="6894505" y="1507353"/>
                  <a:pt x="6880416" y="1507353"/>
                  <a:pt x="6866328" y="1493265"/>
                </a:cubicBezTo>
                <a:cubicBezTo>
                  <a:pt x="6880416" y="1507353"/>
                  <a:pt x="6894505" y="1521440"/>
                  <a:pt x="6894505" y="1535527"/>
                </a:cubicBezTo>
                <a:lnTo>
                  <a:pt x="6908593" y="1549614"/>
                </a:lnTo>
                <a:lnTo>
                  <a:pt x="6901548" y="1549614"/>
                </a:lnTo>
                <a:cubicBezTo>
                  <a:pt x="6898027" y="1549614"/>
                  <a:pt x="6894505" y="1549614"/>
                  <a:pt x="6894505" y="1549614"/>
                </a:cubicBezTo>
                <a:cubicBezTo>
                  <a:pt x="6894505" y="1549614"/>
                  <a:pt x="6880416" y="1535527"/>
                  <a:pt x="6880416" y="1535527"/>
                </a:cubicBezTo>
                <a:cubicBezTo>
                  <a:pt x="6852240" y="1507353"/>
                  <a:pt x="6824063" y="1479178"/>
                  <a:pt x="6809975" y="1451002"/>
                </a:cubicBezTo>
                <a:cubicBezTo>
                  <a:pt x="6809975" y="1451002"/>
                  <a:pt x="6795887" y="1451002"/>
                  <a:pt x="6795887" y="1451002"/>
                </a:cubicBezTo>
                <a:cubicBezTo>
                  <a:pt x="6781799" y="1436915"/>
                  <a:pt x="6781799" y="1436915"/>
                  <a:pt x="6767710" y="1422828"/>
                </a:cubicBezTo>
                <a:cubicBezTo>
                  <a:pt x="6767710" y="1422828"/>
                  <a:pt x="6767710" y="1422828"/>
                  <a:pt x="6753622" y="1408740"/>
                </a:cubicBezTo>
                <a:cubicBezTo>
                  <a:pt x="6711357" y="1366478"/>
                  <a:pt x="6655004" y="1324216"/>
                  <a:pt x="6612740" y="1281953"/>
                </a:cubicBezTo>
                <a:cubicBezTo>
                  <a:pt x="6612740" y="1296041"/>
                  <a:pt x="6612740" y="1296041"/>
                  <a:pt x="6612740" y="1296041"/>
                </a:cubicBezTo>
                <a:cubicBezTo>
                  <a:pt x="6626829" y="1324216"/>
                  <a:pt x="6655004" y="1338304"/>
                  <a:pt x="6669093" y="1352391"/>
                </a:cubicBezTo>
                <a:cubicBezTo>
                  <a:pt x="6683181" y="1366478"/>
                  <a:pt x="6697269" y="1380566"/>
                  <a:pt x="6725446" y="1394653"/>
                </a:cubicBezTo>
                <a:cubicBezTo>
                  <a:pt x="6725446" y="1408740"/>
                  <a:pt x="6725446" y="1408740"/>
                  <a:pt x="6739534" y="1408740"/>
                </a:cubicBezTo>
                <a:cubicBezTo>
                  <a:pt x="6767710" y="1436915"/>
                  <a:pt x="6795887" y="1479178"/>
                  <a:pt x="6824063" y="1507353"/>
                </a:cubicBezTo>
                <a:cubicBezTo>
                  <a:pt x="6824063" y="1507353"/>
                  <a:pt x="6838152" y="1521440"/>
                  <a:pt x="6838152" y="1521440"/>
                </a:cubicBezTo>
                <a:cubicBezTo>
                  <a:pt x="6852240" y="1521440"/>
                  <a:pt x="6852240" y="1535527"/>
                  <a:pt x="6866328" y="1535527"/>
                </a:cubicBezTo>
                <a:cubicBezTo>
                  <a:pt x="6866328" y="1549614"/>
                  <a:pt x="6880416" y="1563702"/>
                  <a:pt x="6880416" y="1563702"/>
                </a:cubicBezTo>
                <a:cubicBezTo>
                  <a:pt x="6908593" y="1577789"/>
                  <a:pt x="6922681" y="1605964"/>
                  <a:pt x="6936769" y="1605964"/>
                </a:cubicBezTo>
                <a:cubicBezTo>
                  <a:pt x="6950858" y="1634138"/>
                  <a:pt x="6964945" y="1648227"/>
                  <a:pt x="6979034" y="1676401"/>
                </a:cubicBezTo>
                <a:cubicBezTo>
                  <a:pt x="6993122" y="1690489"/>
                  <a:pt x="6993122" y="1690489"/>
                  <a:pt x="7007211" y="1704576"/>
                </a:cubicBezTo>
                <a:cubicBezTo>
                  <a:pt x="7007211" y="1704576"/>
                  <a:pt x="7021298" y="1718663"/>
                  <a:pt x="7021298" y="1718663"/>
                </a:cubicBezTo>
                <a:cubicBezTo>
                  <a:pt x="7021298" y="1718663"/>
                  <a:pt x="7021298" y="1732751"/>
                  <a:pt x="7035386" y="1732751"/>
                </a:cubicBezTo>
                <a:cubicBezTo>
                  <a:pt x="7035386" y="1746838"/>
                  <a:pt x="7035386" y="1746838"/>
                  <a:pt x="7035386" y="1746838"/>
                </a:cubicBezTo>
                <a:cubicBezTo>
                  <a:pt x="7049475" y="1746838"/>
                  <a:pt x="7049475" y="1760925"/>
                  <a:pt x="7049475" y="1760925"/>
                </a:cubicBezTo>
                <a:cubicBezTo>
                  <a:pt x="7063564" y="1789100"/>
                  <a:pt x="7077651" y="1803188"/>
                  <a:pt x="7091739" y="1817276"/>
                </a:cubicBezTo>
                <a:cubicBezTo>
                  <a:pt x="7091739" y="1831363"/>
                  <a:pt x="7105828" y="1831363"/>
                  <a:pt x="7105828" y="1845450"/>
                </a:cubicBezTo>
                <a:cubicBezTo>
                  <a:pt x="7119917" y="1859538"/>
                  <a:pt x="7119917" y="1873625"/>
                  <a:pt x="7134004" y="1887712"/>
                </a:cubicBezTo>
                <a:cubicBezTo>
                  <a:pt x="7134004" y="1887712"/>
                  <a:pt x="7134004" y="1887712"/>
                  <a:pt x="7134004" y="1901800"/>
                </a:cubicBezTo>
                <a:cubicBezTo>
                  <a:pt x="7162181" y="1929974"/>
                  <a:pt x="7176268" y="1944061"/>
                  <a:pt x="7190357" y="1986323"/>
                </a:cubicBezTo>
                <a:cubicBezTo>
                  <a:pt x="7204445" y="2000412"/>
                  <a:pt x="7218534" y="2028587"/>
                  <a:pt x="7218534" y="2042674"/>
                </a:cubicBezTo>
                <a:cubicBezTo>
                  <a:pt x="7232621" y="2042674"/>
                  <a:pt x="7232621" y="2056761"/>
                  <a:pt x="7232621" y="2056761"/>
                </a:cubicBezTo>
                <a:cubicBezTo>
                  <a:pt x="7232621" y="2056761"/>
                  <a:pt x="7232621" y="2070849"/>
                  <a:pt x="7232621" y="2070849"/>
                </a:cubicBezTo>
                <a:cubicBezTo>
                  <a:pt x="7232621" y="2070849"/>
                  <a:pt x="7232621" y="2070849"/>
                  <a:pt x="7232621" y="2084936"/>
                </a:cubicBezTo>
                <a:cubicBezTo>
                  <a:pt x="7232621" y="2084936"/>
                  <a:pt x="7232621" y="2084936"/>
                  <a:pt x="7246710" y="2099023"/>
                </a:cubicBezTo>
                <a:cubicBezTo>
                  <a:pt x="7246710" y="2099023"/>
                  <a:pt x="7246710" y="2113110"/>
                  <a:pt x="7246710" y="2113110"/>
                </a:cubicBezTo>
                <a:cubicBezTo>
                  <a:pt x="7274887" y="2169459"/>
                  <a:pt x="7274887" y="2169459"/>
                  <a:pt x="7288974" y="2169459"/>
                </a:cubicBezTo>
                <a:cubicBezTo>
                  <a:pt x="7303063" y="2169459"/>
                  <a:pt x="7303063" y="2183548"/>
                  <a:pt x="7303063" y="2225810"/>
                </a:cubicBezTo>
                <a:cubicBezTo>
                  <a:pt x="7303063" y="2225810"/>
                  <a:pt x="7303063" y="2225810"/>
                  <a:pt x="7317151" y="2225810"/>
                </a:cubicBezTo>
                <a:cubicBezTo>
                  <a:pt x="7317151" y="2239897"/>
                  <a:pt x="7331240" y="2253985"/>
                  <a:pt x="7331240" y="2268072"/>
                </a:cubicBezTo>
                <a:cubicBezTo>
                  <a:pt x="7317151" y="2268072"/>
                  <a:pt x="7317151" y="2268072"/>
                  <a:pt x="7317151" y="2282159"/>
                </a:cubicBezTo>
                <a:cubicBezTo>
                  <a:pt x="7317151" y="2282159"/>
                  <a:pt x="7331240" y="2282159"/>
                  <a:pt x="7331240" y="2296246"/>
                </a:cubicBezTo>
                <a:cubicBezTo>
                  <a:pt x="7331240" y="2296246"/>
                  <a:pt x="7331240" y="2296246"/>
                  <a:pt x="7331240" y="2310334"/>
                </a:cubicBezTo>
                <a:cubicBezTo>
                  <a:pt x="7345327" y="2338508"/>
                  <a:pt x="7359416" y="2366684"/>
                  <a:pt x="7359416" y="2408946"/>
                </a:cubicBezTo>
                <a:cubicBezTo>
                  <a:pt x="7359416" y="2408946"/>
                  <a:pt x="7373504" y="2408946"/>
                  <a:pt x="7373504" y="2408946"/>
                </a:cubicBezTo>
                <a:cubicBezTo>
                  <a:pt x="7373504" y="2423033"/>
                  <a:pt x="7373504" y="2423033"/>
                  <a:pt x="7373504" y="2437121"/>
                </a:cubicBezTo>
                <a:cubicBezTo>
                  <a:pt x="7373504" y="2451208"/>
                  <a:pt x="7373504" y="2465295"/>
                  <a:pt x="7373504" y="2465295"/>
                </a:cubicBezTo>
                <a:cubicBezTo>
                  <a:pt x="7373504" y="2479383"/>
                  <a:pt x="7387591" y="2507557"/>
                  <a:pt x="7387591" y="2521646"/>
                </a:cubicBezTo>
                <a:cubicBezTo>
                  <a:pt x="7373504" y="2493470"/>
                  <a:pt x="7373504" y="2479383"/>
                  <a:pt x="7373504" y="2479383"/>
                </a:cubicBezTo>
                <a:cubicBezTo>
                  <a:pt x="7373504" y="2465295"/>
                  <a:pt x="7359416" y="2465295"/>
                  <a:pt x="7359416" y="2451208"/>
                </a:cubicBezTo>
                <a:cubicBezTo>
                  <a:pt x="7359416" y="2437121"/>
                  <a:pt x="7359416" y="2423033"/>
                  <a:pt x="7345327" y="2423033"/>
                </a:cubicBezTo>
                <a:cubicBezTo>
                  <a:pt x="7345327" y="2408946"/>
                  <a:pt x="7345327" y="2394859"/>
                  <a:pt x="7331240" y="2380771"/>
                </a:cubicBezTo>
                <a:cubicBezTo>
                  <a:pt x="7317151" y="2352596"/>
                  <a:pt x="7317151" y="2324421"/>
                  <a:pt x="7303063" y="2310334"/>
                </a:cubicBezTo>
                <a:cubicBezTo>
                  <a:pt x="7303063" y="2324421"/>
                  <a:pt x="7317151" y="2338508"/>
                  <a:pt x="7317151" y="2352596"/>
                </a:cubicBezTo>
                <a:cubicBezTo>
                  <a:pt x="7317151" y="2359641"/>
                  <a:pt x="7317151" y="2363162"/>
                  <a:pt x="7317151" y="2366684"/>
                </a:cubicBezTo>
                <a:cubicBezTo>
                  <a:pt x="7317151" y="2366684"/>
                  <a:pt x="7303063" y="2352596"/>
                  <a:pt x="7303063" y="2352596"/>
                </a:cubicBezTo>
                <a:cubicBezTo>
                  <a:pt x="7303063" y="2352596"/>
                  <a:pt x="7303063" y="2338508"/>
                  <a:pt x="7303063" y="2338508"/>
                </a:cubicBezTo>
                <a:cubicBezTo>
                  <a:pt x="7288974" y="2296246"/>
                  <a:pt x="7274887" y="2268072"/>
                  <a:pt x="7260798" y="2225810"/>
                </a:cubicBezTo>
                <a:cubicBezTo>
                  <a:pt x="7246710" y="2197635"/>
                  <a:pt x="7232621" y="2169459"/>
                  <a:pt x="7218534" y="2155372"/>
                </a:cubicBezTo>
                <a:cubicBezTo>
                  <a:pt x="7218534" y="2169459"/>
                  <a:pt x="7218534" y="2183548"/>
                  <a:pt x="7232621" y="2211723"/>
                </a:cubicBezTo>
                <a:cubicBezTo>
                  <a:pt x="7246710" y="2239897"/>
                  <a:pt x="7260798" y="2268072"/>
                  <a:pt x="7274887" y="2296246"/>
                </a:cubicBezTo>
                <a:cubicBezTo>
                  <a:pt x="7274887" y="2324421"/>
                  <a:pt x="7288974" y="2338508"/>
                  <a:pt x="7303063" y="2352596"/>
                </a:cubicBezTo>
                <a:cubicBezTo>
                  <a:pt x="7303063" y="2352596"/>
                  <a:pt x="7303063" y="2366684"/>
                  <a:pt x="7303063" y="2380771"/>
                </a:cubicBezTo>
                <a:cubicBezTo>
                  <a:pt x="7317151" y="2380771"/>
                  <a:pt x="7317151" y="2394859"/>
                  <a:pt x="7317151" y="2394859"/>
                </a:cubicBezTo>
                <a:cubicBezTo>
                  <a:pt x="7317151" y="2408946"/>
                  <a:pt x="7331240" y="2437121"/>
                  <a:pt x="7331240" y="2451208"/>
                </a:cubicBezTo>
                <a:cubicBezTo>
                  <a:pt x="7331240" y="2451208"/>
                  <a:pt x="7331240" y="2451208"/>
                  <a:pt x="7331240" y="2465295"/>
                </a:cubicBezTo>
                <a:cubicBezTo>
                  <a:pt x="7345327" y="2465295"/>
                  <a:pt x="7345327" y="2479383"/>
                  <a:pt x="7345327" y="2479383"/>
                </a:cubicBezTo>
                <a:cubicBezTo>
                  <a:pt x="7359416" y="2493470"/>
                  <a:pt x="7359416" y="2507557"/>
                  <a:pt x="7373504" y="2549821"/>
                </a:cubicBezTo>
                <a:cubicBezTo>
                  <a:pt x="7373504" y="2549821"/>
                  <a:pt x="7373504" y="2549821"/>
                  <a:pt x="7373504" y="2563908"/>
                </a:cubicBezTo>
                <a:cubicBezTo>
                  <a:pt x="7373504" y="2563908"/>
                  <a:pt x="7373504" y="2563908"/>
                  <a:pt x="7387591" y="2563908"/>
                </a:cubicBezTo>
                <a:cubicBezTo>
                  <a:pt x="7387591" y="2563908"/>
                  <a:pt x="7387591" y="2563908"/>
                  <a:pt x="7387591" y="2577995"/>
                </a:cubicBezTo>
                <a:cubicBezTo>
                  <a:pt x="7387591" y="2577995"/>
                  <a:pt x="7387591" y="2577995"/>
                  <a:pt x="7387591" y="2592082"/>
                </a:cubicBezTo>
                <a:cubicBezTo>
                  <a:pt x="7387591" y="2606170"/>
                  <a:pt x="7387591" y="2606170"/>
                  <a:pt x="7401680" y="2620257"/>
                </a:cubicBezTo>
                <a:cubicBezTo>
                  <a:pt x="7401680" y="2620257"/>
                  <a:pt x="7401680" y="2620257"/>
                  <a:pt x="7401680" y="2634344"/>
                </a:cubicBezTo>
                <a:cubicBezTo>
                  <a:pt x="7401680" y="2648431"/>
                  <a:pt x="7415769" y="2662519"/>
                  <a:pt x="7415769" y="2676606"/>
                </a:cubicBezTo>
                <a:cubicBezTo>
                  <a:pt x="7401680" y="2676606"/>
                  <a:pt x="7401680" y="2676606"/>
                  <a:pt x="7401680" y="2662519"/>
                </a:cubicBezTo>
                <a:cubicBezTo>
                  <a:pt x="7401680" y="2662519"/>
                  <a:pt x="7401680" y="2676606"/>
                  <a:pt x="7401680" y="2690693"/>
                </a:cubicBezTo>
                <a:cubicBezTo>
                  <a:pt x="7401680" y="2676606"/>
                  <a:pt x="7387591" y="2676606"/>
                  <a:pt x="7387591" y="2662519"/>
                </a:cubicBezTo>
                <a:cubicBezTo>
                  <a:pt x="7387591" y="2648431"/>
                  <a:pt x="7387591" y="2634344"/>
                  <a:pt x="7373504" y="2620257"/>
                </a:cubicBezTo>
                <a:cubicBezTo>
                  <a:pt x="7373504" y="2606170"/>
                  <a:pt x="7373504" y="2592082"/>
                  <a:pt x="7359416" y="2577995"/>
                </a:cubicBezTo>
                <a:cubicBezTo>
                  <a:pt x="7359416" y="2577995"/>
                  <a:pt x="7359416" y="2549821"/>
                  <a:pt x="7345327" y="2535733"/>
                </a:cubicBezTo>
                <a:cubicBezTo>
                  <a:pt x="7345327" y="2493470"/>
                  <a:pt x="7331240" y="2465295"/>
                  <a:pt x="7317151" y="2451208"/>
                </a:cubicBezTo>
                <a:cubicBezTo>
                  <a:pt x="7317151" y="2451208"/>
                  <a:pt x="7317151" y="2423033"/>
                  <a:pt x="7317151" y="2423033"/>
                </a:cubicBezTo>
                <a:cubicBezTo>
                  <a:pt x="7303063" y="2423033"/>
                  <a:pt x="7303063" y="2423033"/>
                  <a:pt x="7303063" y="2423033"/>
                </a:cubicBezTo>
                <a:cubicBezTo>
                  <a:pt x="7303063" y="2408946"/>
                  <a:pt x="7303063" y="2408946"/>
                  <a:pt x="7303063" y="2394859"/>
                </a:cubicBezTo>
                <a:cubicBezTo>
                  <a:pt x="7288974" y="2380771"/>
                  <a:pt x="7274887" y="2352596"/>
                  <a:pt x="7260798" y="2324421"/>
                </a:cubicBezTo>
                <a:cubicBezTo>
                  <a:pt x="7260798" y="2296246"/>
                  <a:pt x="7246710" y="2268072"/>
                  <a:pt x="7232621" y="2239897"/>
                </a:cubicBezTo>
                <a:lnTo>
                  <a:pt x="7232621" y="2253985"/>
                </a:lnTo>
                <a:cubicBezTo>
                  <a:pt x="7218534" y="2211723"/>
                  <a:pt x="7204445" y="2197635"/>
                  <a:pt x="7176268" y="2169459"/>
                </a:cubicBezTo>
                <a:cubicBezTo>
                  <a:pt x="7176268" y="2169459"/>
                  <a:pt x="7190357" y="2183548"/>
                  <a:pt x="7190357" y="2197635"/>
                </a:cubicBezTo>
                <a:cubicBezTo>
                  <a:pt x="7204445" y="2225810"/>
                  <a:pt x="7204445" y="2239897"/>
                  <a:pt x="7218534" y="2253985"/>
                </a:cubicBezTo>
                <a:cubicBezTo>
                  <a:pt x="7218534" y="2253985"/>
                  <a:pt x="7218534" y="2268072"/>
                  <a:pt x="7218534" y="2268072"/>
                </a:cubicBezTo>
                <a:cubicBezTo>
                  <a:pt x="7232621" y="2282159"/>
                  <a:pt x="7232621" y="2324421"/>
                  <a:pt x="7246710" y="2324421"/>
                </a:cubicBezTo>
                <a:cubicBezTo>
                  <a:pt x="7246710" y="2324421"/>
                  <a:pt x="7246710" y="2338508"/>
                  <a:pt x="7246710" y="2352596"/>
                </a:cubicBezTo>
                <a:cubicBezTo>
                  <a:pt x="7246710" y="2338508"/>
                  <a:pt x="7232621" y="2338508"/>
                  <a:pt x="7232621" y="2324421"/>
                </a:cubicBezTo>
                <a:cubicBezTo>
                  <a:pt x="7232621" y="2324421"/>
                  <a:pt x="7232621" y="2324421"/>
                  <a:pt x="7232621" y="2338508"/>
                </a:cubicBezTo>
                <a:cubicBezTo>
                  <a:pt x="7218534" y="2324421"/>
                  <a:pt x="7218534" y="2296246"/>
                  <a:pt x="7204445" y="2282159"/>
                </a:cubicBezTo>
                <a:cubicBezTo>
                  <a:pt x="7204445" y="2268072"/>
                  <a:pt x="7190357" y="2268072"/>
                  <a:pt x="7190357" y="2239897"/>
                </a:cubicBezTo>
                <a:cubicBezTo>
                  <a:pt x="7190357" y="2225810"/>
                  <a:pt x="7176268" y="2211723"/>
                  <a:pt x="7176268" y="2197635"/>
                </a:cubicBezTo>
                <a:cubicBezTo>
                  <a:pt x="7162181" y="2197635"/>
                  <a:pt x="7162181" y="2197635"/>
                  <a:pt x="7162181" y="2183548"/>
                </a:cubicBezTo>
                <a:cubicBezTo>
                  <a:pt x="7162181" y="2197635"/>
                  <a:pt x="7162181" y="2211723"/>
                  <a:pt x="7176268" y="2225810"/>
                </a:cubicBezTo>
                <a:cubicBezTo>
                  <a:pt x="7176268" y="2253985"/>
                  <a:pt x="7190357" y="2268072"/>
                  <a:pt x="7190357" y="2296246"/>
                </a:cubicBezTo>
                <a:cubicBezTo>
                  <a:pt x="7204445" y="2296246"/>
                  <a:pt x="7204445" y="2296246"/>
                  <a:pt x="7204445" y="2310334"/>
                </a:cubicBezTo>
                <a:cubicBezTo>
                  <a:pt x="7204445" y="2310334"/>
                  <a:pt x="7204445" y="2310334"/>
                  <a:pt x="7204445" y="2324421"/>
                </a:cubicBezTo>
                <a:cubicBezTo>
                  <a:pt x="7218534" y="2352596"/>
                  <a:pt x="7232621" y="2380771"/>
                  <a:pt x="7246710" y="2408946"/>
                </a:cubicBezTo>
                <a:cubicBezTo>
                  <a:pt x="7260798" y="2437121"/>
                  <a:pt x="7274887" y="2465295"/>
                  <a:pt x="7274887" y="2479383"/>
                </a:cubicBezTo>
                <a:cubicBezTo>
                  <a:pt x="7288974" y="2493470"/>
                  <a:pt x="7288974" y="2493470"/>
                  <a:pt x="7288974" y="2493470"/>
                </a:cubicBezTo>
                <a:cubicBezTo>
                  <a:pt x="7288974" y="2493470"/>
                  <a:pt x="7288974" y="2493470"/>
                  <a:pt x="7288974" y="2521646"/>
                </a:cubicBezTo>
                <a:cubicBezTo>
                  <a:pt x="7303063" y="2549821"/>
                  <a:pt x="7317151" y="2577995"/>
                  <a:pt x="7317151" y="2606170"/>
                </a:cubicBezTo>
                <a:cubicBezTo>
                  <a:pt x="7331240" y="2620257"/>
                  <a:pt x="7331240" y="2634344"/>
                  <a:pt x="7331240" y="2648431"/>
                </a:cubicBezTo>
                <a:cubicBezTo>
                  <a:pt x="7345327" y="2662519"/>
                  <a:pt x="7331240" y="2676606"/>
                  <a:pt x="7345327" y="2690693"/>
                </a:cubicBezTo>
                <a:cubicBezTo>
                  <a:pt x="7331240" y="2676606"/>
                  <a:pt x="7331240" y="2676606"/>
                  <a:pt x="7331240" y="2662519"/>
                </a:cubicBezTo>
                <a:cubicBezTo>
                  <a:pt x="7317151" y="2662519"/>
                  <a:pt x="7317151" y="2634344"/>
                  <a:pt x="7303063" y="2620257"/>
                </a:cubicBezTo>
                <a:cubicBezTo>
                  <a:pt x="7303063" y="2606170"/>
                  <a:pt x="7303063" y="2606170"/>
                  <a:pt x="7303063" y="2606170"/>
                </a:cubicBezTo>
                <a:cubicBezTo>
                  <a:pt x="7303063" y="2606170"/>
                  <a:pt x="7303063" y="2606170"/>
                  <a:pt x="7303063" y="2592082"/>
                </a:cubicBezTo>
                <a:cubicBezTo>
                  <a:pt x="7303063" y="2592082"/>
                  <a:pt x="7303063" y="2592082"/>
                  <a:pt x="7288974" y="2577995"/>
                </a:cubicBezTo>
                <a:cubicBezTo>
                  <a:pt x="7288974" y="2577995"/>
                  <a:pt x="7288974" y="2577995"/>
                  <a:pt x="7288974" y="2563908"/>
                </a:cubicBezTo>
                <a:cubicBezTo>
                  <a:pt x="7288974" y="2563908"/>
                  <a:pt x="7288974" y="2563908"/>
                  <a:pt x="7288974" y="2549821"/>
                </a:cubicBezTo>
                <a:cubicBezTo>
                  <a:pt x="7274887" y="2549821"/>
                  <a:pt x="7274887" y="2549821"/>
                  <a:pt x="7274887" y="2549821"/>
                </a:cubicBezTo>
                <a:cubicBezTo>
                  <a:pt x="7288974" y="2563908"/>
                  <a:pt x="7288974" y="2577995"/>
                  <a:pt x="7288974" y="2606170"/>
                </a:cubicBezTo>
                <a:cubicBezTo>
                  <a:pt x="7303063" y="2606170"/>
                  <a:pt x="7303063" y="2620257"/>
                  <a:pt x="7303063" y="2634344"/>
                </a:cubicBezTo>
                <a:cubicBezTo>
                  <a:pt x="7317151" y="2648431"/>
                  <a:pt x="7317151" y="2676606"/>
                  <a:pt x="7331240" y="2704782"/>
                </a:cubicBezTo>
                <a:cubicBezTo>
                  <a:pt x="7331240" y="2718869"/>
                  <a:pt x="7331240" y="2732957"/>
                  <a:pt x="7345327" y="2761131"/>
                </a:cubicBezTo>
                <a:cubicBezTo>
                  <a:pt x="7345327" y="2761131"/>
                  <a:pt x="7345327" y="2775218"/>
                  <a:pt x="7345327" y="2775218"/>
                </a:cubicBezTo>
                <a:cubicBezTo>
                  <a:pt x="7345327" y="2775218"/>
                  <a:pt x="7345327" y="2789306"/>
                  <a:pt x="7345327" y="2789306"/>
                </a:cubicBezTo>
                <a:cubicBezTo>
                  <a:pt x="7331240" y="2761131"/>
                  <a:pt x="7317151" y="2718869"/>
                  <a:pt x="7303063" y="2690693"/>
                </a:cubicBezTo>
                <a:cubicBezTo>
                  <a:pt x="7303063" y="2676606"/>
                  <a:pt x="7303063" y="2662519"/>
                  <a:pt x="7288974" y="2648431"/>
                </a:cubicBezTo>
                <a:cubicBezTo>
                  <a:pt x="7288974" y="2620257"/>
                  <a:pt x="7274887" y="2606170"/>
                  <a:pt x="7274887" y="2592082"/>
                </a:cubicBezTo>
                <a:cubicBezTo>
                  <a:pt x="7260798" y="2549821"/>
                  <a:pt x="7246710" y="2521646"/>
                  <a:pt x="7232621" y="2479383"/>
                </a:cubicBezTo>
                <a:cubicBezTo>
                  <a:pt x="7218534" y="2465295"/>
                  <a:pt x="7218534" y="2437121"/>
                  <a:pt x="7204445" y="2408946"/>
                </a:cubicBezTo>
                <a:cubicBezTo>
                  <a:pt x="7190357" y="2394859"/>
                  <a:pt x="7190357" y="2394859"/>
                  <a:pt x="7190357" y="2394859"/>
                </a:cubicBezTo>
                <a:cubicBezTo>
                  <a:pt x="7190357" y="2394859"/>
                  <a:pt x="7176268" y="2380771"/>
                  <a:pt x="7162181" y="2352596"/>
                </a:cubicBezTo>
                <a:cubicBezTo>
                  <a:pt x="7162181" y="2338508"/>
                  <a:pt x="7162181" y="2338508"/>
                  <a:pt x="7162181" y="2324421"/>
                </a:cubicBezTo>
                <a:cubicBezTo>
                  <a:pt x="7162181" y="2324421"/>
                  <a:pt x="7148092" y="2324421"/>
                  <a:pt x="7148092" y="2324421"/>
                </a:cubicBezTo>
                <a:cubicBezTo>
                  <a:pt x="7148092" y="2324421"/>
                  <a:pt x="7148092" y="2324421"/>
                  <a:pt x="7148092" y="2310334"/>
                </a:cubicBezTo>
                <a:cubicBezTo>
                  <a:pt x="7134004" y="2282159"/>
                  <a:pt x="7119917" y="2268072"/>
                  <a:pt x="7119917" y="2253985"/>
                </a:cubicBezTo>
                <a:cubicBezTo>
                  <a:pt x="7105828" y="2239897"/>
                  <a:pt x="7091739" y="2225810"/>
                  <a:pt x="7077651" y="2183548"/>
                </a:cubicBezTo>
                <a:cubicBezTo>
                  <a:pt x="7077651" y="2183548"/>
                  <a:pt x="7063564" y="2169459"/>
                  <a:pt x="7063564" y="2169459"/>
                </a:cubicBezTo>
                <a:cubicBezTo>
                  <a:pt x="7063564" y="2155372"/>
                  <a:pt x="7049475" y="2141285"/>
                  <a:pt x="7049475" y="2127198"/>
                </a:cubicBezTo>
                <a:cubicBezTo>
                  <a:pt x="7035386" y="2127198"/>
                  <a:pt x="7035386" y="2113110"/>
                  <a:pt x="7021298" y="2099023"/>
                </a:cubicBezTo>
                <a:cubicBezTo>
                  <a:pt x="7007211" y="2084936"/>
                  <a:pt x="7007211" y="2070849"/>
                  <a:pt x="6979034" y="2042674"/>
                </a:cubicBezTo>
                <a:cubicBezTo>
                  <a:pt x="6979034" y="2042674"/>
                  <a:pt x="6979034" y="2042674"/>
                  <a:pt x="6979034" y="2028587"/>
                </a:cubicBezTo>
                <a:cubicBezTo>
                  <a:pt x="6964945" y="2014499"/>
                  <a:pt x="6950858" y="2000412"/>
                  <a:pt x="6936769" y="1986323"/>
                </a:cubicBezTo>
                <a:cubicBezTo>
                  <a:pt x="6936769" y="1986323"/>
                  <a:pt x="6936769" y="1986323"/>
                  <a:pt x="6936769" y="2000412"/>
                </a:cubicBezTo>
                <a:cubicBezTo>
                  <a:pt x="6936769" y="2000412"/>
                  <a:pt x="6950858" y="2000412"/>
                  <a:pt x="6950858" y="2014499"/>
                </a:cubicBezTo>
                <a:cubicBezTo>
                  <a:pt x="6964945" y="2014499"/>
                  <a:pt x="6964945" y="2028587"/>
                  <a:pt x="6964945" y="2042674"/>
                </a:cubicBezTo>
                <a:cubicBezTo>
                  <a:pt x="6964945" y="2042674"/>
                  <a:pt x="6979034" y="2056761"/>
                  <a:pt x="6979034" y="2056761"/>
                </a:cubicBezTo>
                <a:cubicBezTo>
                  <a:pt x="6993122" y="2070849"/>
                  <a:pt x="7007211" y="2099023"/>
                  <a:pt x="7021298" y="2127198"/>
                </a:cubicBezTo>
                <a:cubicBezTo>
                  <a:pt x="7035386" y="2127198"/>
                  <a:pt x="7035386" y="2141285"/>
                  <a:pt x="7035386" y="2155372"/>
                </a:cubicBezTo>
                <a:cubicBezTo>
                  <a:pt x="7063564" y="2211723"/>
                  <a:pt x="7077651" y="2225810"/>
                  <a:pt x="7091739" y="2253985"/>
                </a:cubicBezTo>
                <a:cubicBezTo>
                  <a:pt x="7091739" y="2253985"/>
                  <a:pt x="7091739" y="2253985"/>
                  <a:pt x="7077651" y="2239897"/>
                </a:cubicBezTo>
                <a:cubicBezTo>
                  <a:pt x="7063564" y="2211723"/>
                  <a:pt x="7035386" y="2183548"/>
                  <a:pt x="7021298" y="2155372"/>
                </a:cubicBezTo>
                <a:cubicBezTo>
                  <a:pt x="7021298" y="2155372"/>
                  <a:pt x="7021298" y="2141285"/>
                  <a:pt x="7007211" y="2141285"/>
                </a:cubicBezTo>
                <a:cubicBezTo>
                  <a:pt x="7007211" y="2141285"/>
                  <a:pt x="7007211" y="2141285"/>
                  <a:pt x="7007211" y="2127198"/>
                </a:cubicBezTo>
                <a:cubicBezTo>
                  <a:pt x="7007211" y="2127198"/>
                  <a:pt x="6993122" y="2113110"/>
                  <a:pt x="6993122" y="2099023"/>
                </a:cubicBezTo>
                <a:cubicBezTo>
                  <a:pt x="6993122" y="2099023"/>
                  <a:pt x="6993122" y="2099023"/>
                  <a:pt x="6979034" y="2084936"/>
                </a:cubicBezTo>
                <a:cubicBezTo>
                  <a:pt x="6979034" y="2084936"/>
                  <a:pt x="6979034" y="2084936"/>
                  <a:pt x="6979034" y="2070849"/>
                </a:cubicBezTo>
                <a:cubicBezTo>
                  <a:pt x="6964945" y="2070849"/>
                  <a:pt x="6964945" y="2056761"/>
                  <a:pt x="6964945" y="2056761"/>
                </a:cubicBezTo>
                <a:cubicBezTo>
                  <a:pt x="6950858" y="2056761"/>
                  <a:pt x="6950858" y="2056761"/>
                  <a:pt x="6950858" y="2042674"/>
                </a:cubicBezTo>
                <a:cubicBezTo>
                  <a:pt x="6950858" y="2042674"/>
                  <a:pt x="6936769" y="2042674"/>
                  <a:pt x="6936769" y="2028587"/>
                </a:cubicBezTo>
                <a:cubicBezTo>
                  <a:pt x="6936769" y="2014499"/>
                  <a:pt x="6936769" y="2014499"/>
                  <a:pt x="6936769" y="2014499"/>
                </a:cubicBezTo>
                <a:cubicBezTo>
                  <a:pt x="6922681" y="2014499"/>
                  <a:pt x="6922681" y="2000412"/>
                  <a:pt x="6908593" y="2000412"/>
                </a:cubicBezTo>
                <a:cubicBezTo>
                  <a:pt x="6908593" y="2000412"/>
                  <a:pt x="6908593" y="2000412"/>
                  <a:pt x="6908593" y="1986323"/>
                </a:cubicBezTo>
                <a:cubicBezTo>
                  <a:pt x="6894505" y="1972236"/>
                  <a:pt x="6880416" y="1958149"/>
                  <a:pt x="6866328" y="1944061"/>
                </a:cubicBezTo>
                <a:cubicBezTo>
                  <a:pt x="6866328" y="1929974"/>
                  <a:pt x="6866328" y="1929974"/>
                  <a:pt x="6866328" y="1929974"/>
                </a:cubicBezTo>
                <a:cubicBezTo>
                  <a:pt x="6866328" y="1929974"/>
                  <a:pt x="6852240" y="1915887"/>
                  <a:pt x="6852240" y="1915887"/>
                </a:cubicBezTo>
                <a:cubicBezTo>
                  <a:pt x="6838152" y="1901800"/>
                  <a:pt x="6824063" y="1887712"/>
                  <a:pt x="6809975" y="1873625"/>
                </a:cubicBezTo>
                <a:cubicBezTo>
                  <a:pt x="6795887" y="1859538"/>
                  <a:pt x="6781799" y="1845450"/>
                  <a:pt x="6781799" y="1831363"/>
                </a:cubicBezTo>
                <a:cubicBezTo>
                  <a:pt x="6781799" y="1831363"/>
                  <a:pt x="6767710" y="1831363"/>
                  <a:pt x="6767710" y="1831363"/>
                </a:cubicBezTo>
                <a:cubicBezTo>
                  <a:pt x="6767710" y="1817276"/>
                  <a:pt x="6767710" y="1817276"/>
                  <a:pt x="6753622" y="1803188"/>
                </a:cubicBezTo>
                <a:cubicBezTo>
                  <a:pt x="6739534" y="1803188"/>
                  <a:pt x="6725446" y="1789100"/>
                  <a:pt x="6711357" y="1760925"/>
                </a:cubicBezTo>
                <a:cubicBezTo>
                  <a:pt x="6711357" y="1760925"/>
                  <a:pt x="6711357" y="1760925"/>
                  <a:pt x="6697269" y="1760925"/>
                </a:cubicBezTo>
                <a:cubicBezTo>
                  <a:pt x="6697269" y="1746838"/>
                  <a:pt x="6697269" y="1746838"/>
                  <a:pt x="6697269" y="1746838"/>
                </a:cubicBezTo>
                <a:cubicBezTo>
                  <a:pt x="6697269" y="1746838"/>
                  <a:pt x="6697269" y="1746838"/>
                  <a:pt x="6683181" y="1732751"/>
                </a:cubicBezTo>
                <a:cubicBezTo>
                  <a:pt x="6683181" y="1732751"/>
                  <a:pt x="6669093" y="1718663"/>
                  <a:pt x="6655004" y="1704576"/>
                </a:cubicBezTo>
                <a:cubicBezTo>
                  <a:pt x="6640916" y="1704576"/>
                  <a:pt x="6640916" y="1690489"/>
                  <a:pt x="6640916" y="1690489"/>
                </a:cubicBezTo>
                <a:cubicBezTo>
                  <a:pt x="6626829" y="1690489"/>
                  <a:pt x="6626829" y="1690489"/>
                  <a:pt x="6612740" y="1676401"/>
                </a:cubicBezTo>
                <a:cubicBezTo>
                  <a:pt x="6612740" y="1662314"/>
                  <a:pt x="6598651" y="1662314"/>
                  <a:pt x="6598651" y="1662314"/>
                </a:cubicBezTo>
                <a:cubicBezTo>
                  <a:pt x="6598651" y="1662314"/>
                  <a:pt x="6598651" y="1662314"/>
                  <a:pt x="6598651" y="1648227"/>
                </a:cubicBezTo>
                <a:cubicBezTo>
                  <a:pt x="6598651" y="1648227"/>
                  <a:pt x="6598651" y="1648227"/>
                  <a:pt x="6584563" y="1648227"/>
                </a:cubicBezTo>
                <a:cubicBezTo>
                  <a:pt x="6584563" y="1648227"/>
                  <a:pt x="6584563" y="1648227"/>
                  <a:pt x="6570476" y="1634138"/>
                </a:cubicBezTo>
                <a:cubicBezTo>
                  <a:pt x="6570476" y="1634138"/>
                  <a:pt x="6556387" y="1620051"/>
                  <a:pt x="6556387" y="1620051"/>
                </a:cubicBezTo>
                <a:cubicBezTo>
                  <a:pt x="6542298" y="1605964"/>
                  <a:pt x="6542298" y="1605964"/>
                  <a:pt x="6542298" y="1605964"/>
                </a:cubicBezTo>
                <a:cubicBezTo>
                  <a:pt x="6528211" y="1591876"/>
                  <a:pt x="6500034" y="1577789"/>
                  <a:pt x="6485946" y="1563702"/>
                </a:cubicBezTo>
                <a:cubicBezTo>
                  <a:pt x="6471858" y="1563702"/>
                  <a:pt x="6457770" y="1535527"/>
                  <a:pt x="6457770" y="1535527"/>
                </a:cubicBezTo>
                <a:cubicBezTo>
                  <a:pt x="6457770" y="1535527"/>
                  <a:pt x="6443681" y="1535527"/>
                  <a:pt x="6443681" y="1535527"/>
                </a:cubicBezTo>
                <a:cubicBezTo>
                  <a:pt x="6443681" y="1535527"/>
                  <a:pt x="6457770" y="1549614"/>
                  <a:pt x="6471858" y="1563702"/>
                </a:cubicBezTo>
                <a:cubicBezTo>
                  <a:pt x="6471858" y="1577789"/>
                  <a:pt x="6471858" y="1577789"/>
                  <a:pt x="6471858" y="1577789"/>
                </a:cubicBezTo>
                <a:cubicBezTo>
                  <a:pt x="6471858" y="1577789"/>
                  <a:pt x="6471858" y="1577789"/>
                  <a:pt x="6485946" y="1591876"/>
                </a:cubicBezTo>
                <a:cubicBezTo>
                  <a:pt x="6485946" y="1591876"/>
                  <a:pt x="6485946" y="1591876"/>
                  <a:pt x="6500034" y="1605964"/>
                </a:cubicBezTo>
                <a:cubicBezTo>
                  <a:pt x="6514123" y="1620051"/>
                  <a:pt x="6514123" y="1620051"/>
                  <a:pt x="6514123" y="1620051"/>
                </a:cubicBezTo>
                <a:cubicBezTo>
                  <a:pt x="6500034" y="1605964"/>
                  <a:pt x="6500034" y="1605964"/>
                  <a:pt x="6485946" y="1605964"/>
                </a:cubicBezTo>
                <a:cubicBezTo>
                  <a:pt x="6471858" y="1591876"/>
                  <a:pt x="6471858" y="1591876"/>
                  <a:pt x="6471858" y="1591876"/>
                </a:cubicBezTo>
                <a:cubicBezTo>
                  <a:pt x="6471858" y="1591876"/>
                  <a:pt x="6471858" y="1591876"/>
                  <a:pt x="6457770" y="1591876"/>
                </a:cubicBezTo>
                <a:cubicBezTo>
                  <a:pt x="6443681" y="1577789"/>
                  <a:pt x="6443681" y="1563702"/>
                  <a:pt x="6443681" y="1563702"/>
                </a:cubicBezTo>
                <a:cubicBezTo>
                  <a:pt x="6436637" y="1556658"/>
                  <a:pt x="6433114" y="1549614"/>
                  <a:pt x="6427832" y="1542571"/>
                </a:cubicBezTo>
                <a:lnTo>
                  <a:pt x="6414624" y="1532005"/>
                </a:lnTo>
                <a:lnTo>
                  <a:pt x="6413744" y="1528484"/>
                </a:lnTo>
                <a:cubicBezTo>
                  <a:pt x="6411983" y="1524962"/>
                  <a:pt x="6408462" y="1521440"/>
                  <a:pt x="6401417" y="1521440"/>
                </a:cubicBezTo>
                <a:cubicBezTo>
                  <a:pt x="6387328" y="1521440"/>
                  <a:pt x="6387328" y="1521440"/>
                  <a:pt x="6387328" y="1507353"/>
                </a:cubicBezTo>
                <a:cubicBezTo>
                  <a:pt x="6387328" y="1507353"/>
                  <a:pt x="6387328" y="1507353"/>
                  <a:pt x="6373240" y="1507353"/>
                </a:cubicBezTo>
                <a:cubicBezTo>
                  <a:pt x="6387328" y="1521440"/>
                  <a:pt x="6401417" y="1535527"/>
                  <a:pt x="6415505" y="1549614"/>
                </a:cubicBezTo>
                <a:cubicBezTo>
                  <a:pt x="6387328" y="1535527"/>
                  <a:pt x="6359152" y="1507353"/>
                  <a:pt x="6330975" y="1479178"/>
                </a:cubicBezTo>
                <a:cubicBezTo>
                  <a:pt x="6330975" y="1479178"/>
                  <a:pt x="6330975" y="1465089"/>
                  <a:pt x="6330975" y="1465089"/>
                </a:cubicBezTo>
                <a:cubicBezTo>
                  <a:pt x="6345064" y="1479178"/>
                  <a:pt x="6330975" y="1465089"/>
                  <a:pt x="6330975" y="1465089"/>
                </a:cubicBezTo>
                <a:cubicBezTo>
                  <a:pt x="6330975" y="1465089"/>
                  <a:pt x="6316888" y="1451002"/>
                  <a:pt x="6316888" y="1465089"/>
                </a:cubicBezTo>
                <a:cubicBezTo>
                  <a:pt x="6316888" y="1465089"/>
                  <a:pt x="6316888" y="1465089"/>
                  <a:pt x="6302799" y="1451002"/>
                </a:cubicBezTo>
                <a:cubicBezTo>
                  <a:pt x="6288711" y="1436915"/>
                  <a:pt x="6260535" y="1422828"/>
                  <a:pt x="6246446" y="1408740"/>
                </a:cubicBezTo>
                <a:cubicBezTo>
                  <a:pt x="6246446" y="1408740"/>
                  <a:pt x="6242925" y="1408740"/>
                  <a:pt x="6239403" y="1408740"/>
                </a:cubicBezTo>
                <a:lnTo>
                  <a:pt x="6237641" y="1408740"/>
                </a:lnTo>
                <a:cubicBezTo>
                  <a:pt x="6235880" y="1408740"/>
                  <a:pt x="6232358" y="1408740"/>
                  <a:pt x="6232358" y="1408740"/>
                </a:cubicBezTo>
                <a:cubicBezTo>
                  <a:pt x="6218269" y="1408740"/>
                  <a:pt x="6204182" y="1394653"/>
                  <a:pt x="6204182" y="1394653"/>
                </a:cubicBezTo>
                <a:cubicBezTo>
                  <a:pt x="6190093" y="1394653"/>
                  <a:pt x="6190093" y="1380566"/>
                  <a:pt x="6190093" y="1380566"/>
                </a:cubicBezTo>
                <a:cubicBezTo>
                  <a:pt x="6176005" y="1380566"/>
                  <a:pt x="6147829" y="1352391"/>
                  <a:pt x="6119652" y="1352391"/>
                </a:cubicBezTo>
                <a:cubicBezTo>
                  <a:pt x="6119652" y="1338304"/>
                  <a:pt x="6119652" y="1338304"/>
                  <a:pt x="6105565" y="1338304"/>
                </a:cubicBezTo>
                <a:cubicBezTo>
                  <a:pt x="6105565" y="1338304"/>
                  <a:pt x="6105565" y="1338304"/>
                  <a:pt x="6091476" y="1324216"/>
                </a:cubicBezTo>
                <a:cubicBezTo>
                  <a:pt x="6091476" y="1324216"/>
                  <a:pt x="6091476" y="1324216"/>
                  <a:pt x="6077388" y="1324216"/>
                </a:cubicBezTo>
                <a:cubicBezTo>
                  <a:pt x="6063299" y="1310129"/>
                  <a:pt x="6063299" y="1324216"/>
                  <a:pt x="6077388" y="1324216"/>
                </a:cubicBezTo>
                <a:cubicBezTo>
                  <a:pt x="6091476" y="1338304"/>
                  <a:pt x="6105565" y="1352391"/>
                  <a:pt x="6119652" y="1366478"/>
                </a:cubicBezTo>
                <a:cubicBezTo>
                  <a:pt x="6126697" y="1366478"/>
                  <a:pt x="6137262" y="1370000"/>
                  <a:pt x="6147829" y="1375282"/>
                </a:cubicBezTo>
                <a:lnTo>
                  <a:pt x="6155514" y="1380566"/>
                </a:lnTo>
                <a:lnTo>
                  <a:pt x="6154873" y="1380566"/>
                </a:lnTo>
                <a:cubicBezTo>
                  <a:pt x="6151351" y="1380566"/>
                  <a:pt x="6147829" y="1380566"/>
                  <a:pt x="6147829" y="1380566"/>
                </a:cubicBezTo>
                <a:cubicBezTo>
                  <a:pt x="6147829" y="1380566"/>
                  <a:pt x="6161916" y="1394653"/>
                  <a:pt x="6161916" y="1394653"/>
                </a:cubicBezTo>
                <a:cubicBezTo>
                  <a:pt x="6176005" y="1408740"/>
                  <a:pt x="6190093" y="1408740"/>
                  <a:pt x="6190093" y="1422828"/>
                </a:cubicBezTo>
                <a:cubicBezTo>
                  <a:pt x="6204182" y="1422828"/>
                  <a:pt x="6204182" y="1422828"/>
                  <a:pt x="6204182" y="1422828"/>
                </a:cubicBezTo>
                <a:cubicBezTo>
                  <a:pt x="6218269" y="1436915"/>
                  <a:pt x="6246446" y="1451002"/>
                  <a:pt x="6260535" y="1465089"/>
                </a:cubicBezTo>
                <a:cubicBezTo>
                  <a:pt x="6274622" y="1479178"/>
                  <a:pt x="6288711" y="1479178"/>
                  <a:pt x="6302799" y="1493265"/>
                </a:cubicBezTo>
                <a:cubicBezTo>
                  <a:pt x="6330975" y="1507353"/>
                  <a:pt x="6345064" y="1521440"/>
                  <a:pt x="6373240" y="1535527"/>
                </a:cubicBezTo>
                <a:cubicBezTo>
                  <a:pt x="6373240" y="1535527"/>
                  <a:pt x="6373240" y="1549614"/>
                  <a:pt x="6387328" y="1549614"/>
                </a:cubicBezTo>
                <a:cubicBezTo>
                  <a:pt x="6387328" y="1549614"/>
                  <a:pt x="6387328" y="1563702"/>
                  <a:pt x="6401417" y="1563702"/>
                </a:cubicBezTo>
                <a:cubicBezTo>
                  <a:pt x="6401417" y="1563702"/>
                  <a:pt x="6401417" y="1577789"/>
                  <a:pt x="6415505" y="1577789"/>
                </a:cubicBezTo>
                <a:cubicBezTo>
                  <a:pt x="6415505" y="1577789"/>
                  <a:pt x="6401417" y="1577789"/>
                  <a:pt x="6401417" y="1577789"/>
                </a:cubicBezTo>
                <a:cubicBezTo>
                  <a:pt x="6415505" y="1591876"/>
                  <a:pt x="6415505" y="1591876"/>
                  <a:pt x="6429593" y="1605964"/>
                </a:cubicBezTo>
                <a:cubicBezTo>
                  <a:pt x="6429593" y="1605964"/>
                  <a:pt x="6443681" y="1620051"/>
                  <a:pt x="6443681" y="1620051"/>
                </a:cubicBezTo>
                <a:cubicBezTo>
                  <a:pt x="6443681" y="1620051"/>
                  <a:pt x="6443681" y="1620051"/>
                  <a:pt x="6457770" y="1620051"/>
                </a:cubicBezTo>
                <a:cubicBezTo>
                  <a:pt x="6457770" y="1634138"/>
                  <a:pt x="6471858" y="1634138"/>
                  <a:pt x="6485946" y="1648227"/>
                </a:cubicBezTo>
                <a:cubicBezTo>
                  <a:pt x="6500034" y="1662314"/>
                  <a:pt x="6514123" y="1676401"/>
                  <a:pt x="6528211" y="1690489"/>
                </a:cubicBezTo>
                <a:cubicBezTo>
                  <a:pt x="6528211" y="1690489"/>
                  <a:pt x="6528211" y="1690489"/>
                  <a:pt x="6528211" y="1704576"/>
                </a:cubicBezTo>
                <a:cubicBezTo>
                  <a:pt x="6514123" y="1676401"/>
                  <a:pt x="6485946" y="1662314"/>
                  <a:pt x="6471858" y="1648227"/>
                </a:cubicBezTo>
                <a:cubicBezTo>
                  <a:pt x="6471858" y="1662314"/>
                  <a:pt x="6471858" y="1662314"/>
                  <a:pt x="6500034" y="1690489"/>
                </a:cubicBezTo>
                <a:cubicBezTo>
                  <a:pt x="6500034" y="1690489"/>
                  <a:pt x="6500034" y="1690489"/>
                  <a:pt x="6514123" y="1704576"/>
                </a:cubicBezTo>
                <a:cubicBezTo>
                  <a:pt x="6514123" y="1704576"/>
                  <a:pt x="6514123" y="1704576"/>
                  <a:pt x="6500034" y="1704576"/>
                </a:cubicBezTo>
                <a:cubicBezTo>
                  <a:pt x="6514123" y="1704576"/>
                  <a:pt x="6528211" y="1718663"/>
                  <a:pt x="6542298" y="1732751"/>
                </a:cubicBezTo>
                <a:cubicBezTo>
                  <a:pt x="6556387" y="1760925"/>
                  <a:pt x="6584563" y="1775013"/>
                  <a:pt x="6598651" y="1803188"/>
                </a:cubicBezTo>
                <a:cubicBezTo>
                  <a:pt x="6598651" y="1803188"/>
                  <a:pt x="6598651" y="1803188"/>
                  <a:pt x="6612740" y="1803188"/>
                </a:cubicBezTo>
                <a:cubicBezTo>
                  <a:pt x="6612740" y="1803188"/>
                  <a:pt x="6612740" y="1803188"/>
                  <a:pt x="6612740" y="1817276"/>
                </a:cubicBezTo>
                <a:cubicBezTo>
                  <a:pt x="6626829" y="1817276"/>
                  <a:pt x="6626829" y="1817276"/>
                  <a:pt x="6626829" y="1817276"/>
                </a:cubicBezTo>
                <a:cubicBezTo>
                  <a:pt x="6655004" y="1845450"/>
                  <a:pt x="6640916" y="1845450"/>
                  <a:pt x="6640916" y="1859538"/>
                </a:cubicBezTo>
                <a:cubicBezTo>
                  <a:pt x="6655004" y="1873625"/>
                  <a:pt x="6655004" y="1873625"/>
                  <a:pt x="6640916" y="1873625"/>
                </a:cubicBezTo>
                <a:cubicBezTo>
                  <a:pt x="6640916" y="1887712"/>
                  <a:pt x="6640916" y="1887712"/>
                  <a:pt x="6655004" y="1915887"/>
                </a:cubicBezTo>
                <a:cubicBezTo>
                  <a:pt x="6669093" y="1929974"/>
                  <a:pt x="6669093" y="1944061"/>
                  <a:pt x="6683181" y="1958149"/>
                </a:cubicBezTo>
                <a:cubicBezTo>
                  <a:pt x="6697269" y="1958149"/>
                  <a:pt x="6697269" y="1972236"/>
                  <a:pt x="6697269" y="1972236"/>
                </a:cubicBezTo>
                <a:cubicBezTo>
                  <a:pt x="6697269" y="1972236"/>
                  <a:pt x="6711357" y="1986323"/>
                  <a:pt x="6697269" y="1986323"/>
                </a:cubicBezTo>
                <a:cubicBezTo>
                  <a:pt x="6697269" y="1972236"/>
                  <a:pt x="6683181" y="1972236"/>
                  <a:pt x="6655004" y="1944061"/>
                </a:cubicBezTo>
                <a:cubicBezTo>
                  <a:pt x="6655004" y="1944061"/>
                  <a:pt x="6640916" y="1929974"/>
                  <a:pt x="6626829" y="1929974"/>
                </a:cubicBezTo>
                <a:cubicBezTo>
                  <a:pt x="6626829" y="1915887"/>
                  <a:pt x="6612740" y="1901800"/>
                  <a:pt x="6598651" y="1887712"/>
                </a:cubicBezTo>
                <a:cubicBezTo>
                  <a:pt x="6598651" y="1887712"/>
                  <a:pt x="6584563" y="1873625"/>
                  <a:pt x="6584563" y="1873625"/>
                </a:cubicBezTo>
                <a:cubicBezTo>
                  <a:pt x="6570476" y="1873625"/>
                  <a:pt x="6570476" y="1873625"/>
                  <a:pt x="6570476" y="1859538"/>
                </a:cubicBezTo>
                <a:cubicBezTo>
                  <a:pt x="6556387" y="1845450"/>
                  <a:pt x="6542298" y="1831363"/>
                  <a:pt x="6528211" y="1831363"/>
                </a:cubicBezTo>
                <a:cubicBezTo>
                  <a:pt x="6528211" y="1817276"/>
                  <a:pt x="6514123" y="1817276"/>
                  <a:pt x="6500034" y="1803188"/>
                </a:cubicBezTo>
                <a:cubicBezTo>
                  <a:pt x="6500034" y="1789100"/>
                  <a:pt x="6485946" y="1775013"/>
                  <a:pt x="6471858" y="1775013"/>
                </a:cubicBezTo>
                <a:cubicBezTo>
                  <a:pt x="6443681" y="1746838"/>
                  <a:pt x="6429593" y="1732751"/>
                  <a:pt x="6401417" y="1704576"/>
                </a:cubicBezTo>
                <a:cubicBezTo>
                  <a:pt x="6401417" y="1704576"/>
                  <a:pt x="6401417" y="1704576"/>
                  <a:pt x="6316888" y="1634138"/>
                </a:cubicBezTo>
                <a:cubicBezTo>
                  <a:pt x="6302799" y="1634138"/>
                  <a:pt x="6288711" y="1620051"/>
                  <a:pt x="6288711" y="1620051"/>
                </a:cubicBezTo>
                <a:cubicBezTo>
                  <a:pt x="6288711" y="1620051"/>
                  <a:pt x="6288711" y="1605964"/>
                  <a:pt x="6274622" y="1605964"/>
                </a:cubicBezTo>
                <a:cubicBezTo>
                  <a:pt x="6260535" y="1605964"/>
                  <a:pt x="6246446" y="1577789"/>
                  <a:pt x="6232358" y="1577789"/>
                </a:cubicBezTo>
                <a:cubicBezTo>
                  <a:pt x="6204182" y="1563702"/>
                  <a:pt x="6190093" y="1549614"/>
                  <a:pt x="6161916" y="1535527"/>
                </a:cubicBezTo>
                <a:cubicBezTo>
                  <a:pt x="6147829" y="1521440"/>
                  <a:pt x="6133741" y="1521440"/>
                  <a:pt x="6119652" y="1507353"/>
                </a:cubicBezTo>
                <a:cubicBezTo>
                  <a:pt x="6105565" y="1507353"/>
                  <a:pt x="6105565" y="1493265"/>
                  <a:pt x="6091476" y="1493265"/>
                </a:cubicBezTo>
                <a:cubicBezTo>
                  <a:pt x="6077388" y="1479178"/>
                  <a:pt x="6049212" y="1465089"/>
                  <a:pt x="6035123" y="1465089"/>
                </a:cubicBezTo>
                <a:cubicBezTo>
                  <a:pt x="6021035" y="1451002"/>
                  <a:pt x="6021035" y="1451002"/>
                  <a:pt x="6021035" y="1451002"/>
                </a:cubicBezTo>
                <a:cubicBezTo>
                  <a:pt x="6021035" y="1451002"/>
                  <a:pt x="6021035" y="1451002"/>
                  <a:pt x="5992859" y="1436915"/>
                </a:cubicBezTo>
                <a:cubicBezTo>
                  <a:pt x="5978770" y="1436915"/>
                  <a:pt x="5992859" y="1451002"/>
                  <a:pt x="6006946" y="1451002"/>
                </a:cubicBezTo>
                <a:cubicBezTo>
                  <a:pt x="5992859" y="1451002"/>
                  <a:pt x="5978770" y="1436915"/>
                  <a:pt x="5964682" y="1436915"/>
                </a:cubicBezTo>
                <a:cubicBezTo>
                  <a:pt x="5964682" y="1436915"/>
                  <a:pt x="5964682" y="1436915"/>
                  <a:pt x="5950593" y="1422828"/>
                </a:cubicBezTo>
                <a:cubicBezTo>
                  <a:pt x="5950593" y="1422828"/>
                  <a:pt x="5936506" y="1422828"/>
                  <a:pt x="5936506" y="1408740"/>
                </a:cubicBezTo>
                <a:cubicBezTo>
                  <a:pt x="5936506" y="1408740"/>
                  <a:pt x="5922417" y="1408740"/>
                  <a:pt x="5922417" y="1408740"/>
                </a:cubicBezTo>
                <a:cubicBezTo>
                  <a:pt x="5922417" y="1408740"/>
                  <a:pt x="5908329" y="1408740"/>
                  <a:pt x="5908329" y="1394653"/>
                </a:cubicBezTo>
                <a:cubicBezTo>
                  <a:pt x="5908329" y="1394653"/>
                  <a:pt x="5894240" y="1394653"/>
                  <a:pt x="5894240" y="1394653"/>
                </a:cubicBezTo>
                <a:cubicBezTo>
                  <a:pt x="5880153" y="1394653"/>
                  <a:pt x="5880153" y="1380566"/>
                  <a:pt x="5866064" y="1380566"/>
                </a:cubicBezTo>
                <a:cubicBezTo>
                  <a:pt x="5866064" y="1380566"/>
                  <a:pt x="5851976" y="1380566"/>
                  <a:pt x="5851976" y="1366478"/>
                </a:cubicBezTo>
                <a:cubicBezTo>
                  <a:pt x="5823800" y="1366478"/>
                  <a:pt x="5809711" y="1366478"/>
                  <a:pt x="5781535" y="1352391"/>
                </a:cubicBezTo>
                <a:cubicBezTo>
                  <a:pt x="5781535" y="1352391"/>
                  <a:pt x="5781535" y="1352391"/>
                  <a:pt x="5781535" y="1338304"/>
                </a:cubicBezTo>
                <a:lnTo>
                  <a:pt x="5776252" y="1338304"/>
                </a:lnTo>
                <a:lnTo>
                  <a:pt x="5775592" y="1338304"/>
                </a:lnTo>
                <a:lnTo>
                  <a:pt x="5774492" y="1338304"/>
                </a:lnTo>
                <a:cubicBezTo>
                  <a:pt x="5770969" y="1338304"/>
                  <a:pt x="5767447" y="1338304"/>
                  <a:pt x="5767447" y="1338304"/>
                </a:cubicBezTo>
                <a:cubicBezTo>
                  <a:pt x="5753358" y="1324216"/>
                  <a:pt x="5739270" y="1324216"/>
                  <a:pt x="5725182" y="1324216"/>
                </a:cubicBezTo>
                <a:cubicBezTo>
                  <a:pt x="5711094" y="1324216"/>
                  <a:pt x="5711094" y="1324216"/>
                  <a:pt x="5697005" y="1324216"/>
                </a:cubicBezTo>
                <a:cubicBezTo>
                  <a:pt x="5682917" y="1310129"/>
                  <a:pt x="5682917" y="1310129"/>
                  <a:pt x="5668829" y="1310129"/>
                </a:cubicBezTo>
                <a:cubicBezTo>
                  <a:pt x="5668829" y="1310129"/>
                  <a:pt x="5654741" y="1296041"/>
                  <a:pt x="5640652" y="1296041"/>
                </a:cubicBezTo>
                <a:cubicBezTo>
                  <a:pt x="5626565" y="1296041"/>
                  <a:pt x="5626565" y="1296041"/>
                  <a:pt x="5612477" y="1296041"/>
                </a:cubicBezTo>
                <a:cubicBezTo>
                  <a:pt x="5584299" y="1281953"/>
                  <a:pt x="5570212" y="1281953"/>
                  <a:pt x="5556124" y="1267866"/>
                </a:cubicBezTo>
                <a:cubicBezTo>
                  <a:pt x="5542035" y="1267866"/>
                  <a:pt x="5542035" y="1267866"/>
                  <a:pt x="5542035" y="1267866"/>
                </a:cubicBezTo>
                <a:cubicBezTo>
                  <a:pt x="5542035" y="1267866"/>
                  <a:pt x="5527947" y="1267866"/>
                  <a:pt x="5527947" y="1253779"/>
                </a:cubicBezTo>
                <a:cubicBezTo>
                  <a:pt x="5542035" y="1267866"/>
                  <a:pt x="5542035" y="1281953"/>
                  <a:pt x="5513859" y="1267866"/>
                </a:cubicBezTo>
                <a:cubicBezTo>
                  <a:pt x="5513859" y="1267866"/>
                  <a:pt x="5513859" y="1267866"/>
                  <a:pt x="5513859" y="1281953"/>
                </a:cubicBezTo>
                <a:cubicBezTo>
                  <a:pt x="5513859" y="1281953"/>
                  <a:pt x="5527947" y="1281953"/>
                  <a:pt x="5527947" y="1281953"/>
                </a:cubicBezTo>
                <a:cubicBezTo>
                  <a:pt x="5527947" y="1281953"/>
                  <a:pt x="5542035" y="1281953"/>
                  <a:pt x="5542035" y="1281953"/>
                </a:cubicBezTo>
                <a:cubicBezTo>
                  <a:pt x="5556124" y="1296041"/>
                  <a:pt x="5570212" y="1296041"/>
                  <a:pt x="5584299" y="1310129"/>
                </a:cubicBezTo>
                <a:cubicBezTo>
                  <a:pt x="5570212" y="1296041"/>
                  <a:pt x="5570212" y="1296041"/>
                  <a:pt x="5570212" y="1296041"/>
                </a:cubicBezTo>
                <a:cubicBezTo>
                  <a:pt x="5570212" y="1296041"/>
                  <a:pt x="5598388" y="1296041"/>
                  <a:pt x="5612477" y="1310129"/>
                </a:cubicBezTo>
                <a:cubicBezTo>
                  <a:pt x="5612477" y="1310129"/>
                  <a:pt x="5612477" y="1324216"/>
                  <a:pt x="5612477" y="1324216"/>
                </a:cubicBezTo>
                <a:cubicBezTo>
                  <a:pt x="5612477" y="1324216"/>
                  <a:pt x="5626565" y="1338304"/>
                  <a:pt x="5640652" y="1338304"/>
                </a:cubicBezTo>
                <a:cubicBezTo>
                  <a:pt x="5640652" y="1338304"/>
                  <a:pt x="5640652" y="1338304"/>
                  <a:pt x="5612477" y="1338304"/>
                </a:cubicBezTo>
                <a:cubicBezTo>
                  <a:pt x="5598388" y="1338304"/>
                  <a:pt x="5584299" y="1324216"/>
                  <a:pt x="5570212" y="1324216"/>
                </a:cubicBezTo>
                <a:cubicBezTo>
                  <a:pt x="5556124" y="1324216"/>
                  <a:pt x="5542035" y="1310129"/>
                  <a:pt x="5542035" y="1310129"/>
                </a:cubicBezTo>
                <a:cubicBezTo>
                  <a:pt x="5527947" y="1310129"/>
                  <a:pt x="5527947" y="1310129"/>
                  <a:pt x="5513859" y="1310129"/>
                </a:cubicBezTo>
                <a:cubicBezTo>
                  <a:pt x="5499771" y="1310129"/>
                  <a:pt x="5499771" y="1310129"/>
                  <a:pt x="5499771" y="1310129"/>
                </a:cubicBezTo>
                <a:cubicBezTo>
                  <a:pt x="5471594" y="1296041"/>
                  <a:pt x="5471594" y="1310129"/>
                  <a:pt x="5443418" y="1296041"/>
                </a:cubicBezTo>
                <a:cubicBezTo>
                  <a:pt x="5443418" y="1296041"/>
                  <a:pt x="5429329" y="1296041"/>
                  <a:pt x="5429329" y="1310129"/>
                </a:cubicBezTo>
                <a:lnTo>
                  <a:pt x="5401153" y="1310129"/>
                </a:lnTo>
                <a:cubicBezTo>
                  <a:pt x="5401153" y="1310129"/>
                  <a:pt x="5387065" y="1310129"/>
                  <a:pt x="5387065" y="1310129"/>
                </a:cubicBezTo>
                <a:cubicBezTo>
                  <a:pt x="5387065" y="1324216"/>
                  <a:pt x="5401153" y="1324216"/>
                  <a:pt x="5415242" y="1324216"/>
                </a:cubicBezTo>
                <a:lnTo>
                  <a:pt x="5422004" y="1336050"/>
                </a:lnTo>
                <a:lnTo>
                  <a:pt x="5406437" y="1331260"/>
                </a:lnTo>
                <a:cubicBezTo>
                  <a:pt x="5397631" y="1327738"/>
                  <a:pt x="5387065" y="1324216"/>
                  <a:pt x="5372976" y="1324216"/>
                </a:cubicBezTo>
                <a:cubicBezTo>
                  <a:pt x="5372976" y="1324216"/>
                  <a:pt x="5372976" y="1324216"/>
                  <a:pt x="5358889" y="1310129"/>
                </a:cubicBezTo>
                <a:cubicBezTo>
                  <a:pt x="5330712" y="1310129"/>
                  <a:pt x="5316625" y="1310129"/>
                  <a:pt x="5302536" y="1310129"/>
                </a:cubicBezTo>
                <a:cubicBezTo>
                  <a:pt x="5288447" y="1310129"/>
                  <a:pt x="5274359" y="1310129"/>
                  <a:pt x="5260270" y="1310129"/>
                </a:cubicBezTo>
                <a:cubicBezTo>
                  <a:pt x="5260270" y="1310129"/>
                  <a:pt x="5260270" y="1310129"/>
                  <a:pt x="5246183" y="1310129"/>
                </a:cubicBezTo>
                <a:cubicBezTo>
                  <a:pt x="5246183" y="1310129"/>
                  <a:pt x="5246183" y="1310129"/>
                  <a:pt x="5232094" y="1310129"/>
                </a:cubicBezTo>
                <a:cubicBezTo>
                  <a:pt x="5218006" y="1310129"/>
                  <a:pt x="5218006" y="1310129"/>
                  <a:pt x="5218006" y="1310129"/>
                </a:cubicBezTo>
                <a:cubicBezTo>
                  <a:pt x="5218006" y="1310129"/>
                  <a:pt x="5203919" y="1310129"/>
                  <a:pt x="5203919" y="1310129"/>
                </a:cubicBezTo>
                <a:cubicBezTo>
                  <a:pt x="5203919" y="1310129"/>
                  <a:pt x="5189830" y="1310129"/>
                  <a:pt x="5175742" y="1310129"/>
                </a:cubicBezTo>
                <a:cubicBezTo>
                  <a:pt x="5175742" y="1310129"/>
                  <a:pt x="5161654" y="1310129"/>
                  <a:pt x="5147566" y="1310129"/>
                </a:cubicBezTo>
                <a:cubicBezTo>
                  <a:pt x="5147566" y="1310129"/>
                  <a:pt x="5147566" y="1310129"/>
                  <a:pt x="5119389" y="1310129"/>
                </a:cubicBezTo>
                <a:lnTo>
                  <a:pt x="5102500" y="1311428"/>
                </a:lnTo>
                <a:lnTo>
                  <a:pt x="5106196" y="1311890"/>
                </a:lnTo>
                <a:cubicBezTo>
                  <a:pt x="5109718" y="1313651"/>
                  <a:pt x="5113240" y="1317173"/>
                  <a:pt x="5120284" y="1324216"/>
                </a:cubicBezTo>
                <a:cubicBezTo>
                  <a:pt x="5130850" y="1345347"/>
                  <a:pt x="5133491" y="1350630"/>
                  <a:pt x="5146039" y="1369780"/>
                </a:cubicBezTo>
                <a:lnTo>
                  <a:pt x="5153198" y="1380566"/>
                </a:lnTo>
                <a:lnTo>
                  <a:pt x="5175742" y="1380566"/>
                </a:lnTo>
                <a:cubicBezTo>
                  <a:pt x="5189830" y="1394653"/>
                  <a:pt x="5203919" y="1394653"/>
                  <a:pt x="5218006" y="1394653"/>
                </a:cubicBezTo>
                <a:cubicBezTo>
                  <a:pt x="5232094" y="1394653"/>
                  <a:pt x="5246183" y="1394653"/>
                  <a:pt x="5260270" y="1408740"/>
                </a:cubicBezTo>
                <a:cubicBezTo>
                  <a:pt x="5246183" y="1408740"/>
                  <a:pt x="5232094" y="1408740"/>
                  <a:pt x="5232094" y="1422828"/>
                </a:cubicBezTo>
                <a:cubicBezTo>
                  <a:pt x="5232094" y="1422828"/>
                  <a:pt x="5218006" y="1422828"/>
                  <a:pt x="5203919" y="1422828"/>
                </a:cubicBezTo>
                <a:cubicBezTo>
                  <a:pt x="5200397" y="1419306"/>
                  <a:pt x="5196875" y="1417545"/>
                  <a:pt x="5193573" y="1416884"/>
                </a:cubicBezTo>
                <a:lnTo>
                  <a:pt x="5190611" y="1417101"/>
                </a:lnTo>
                <a:lnTo>
                  <a:pt x="5192266" y="1418425"/>
                </a:lnTo>
                <a:cubicBezTo>
                  <a:pt x="5202172" y="1426349"/>
                  <a:pt x="5215380" y="1436915"/>
                  <a:pt x="5232990" y="1451002"/>
                </a:cubicBezTo>
                <a:cubicBezTo>
                  <a:pt x="5247078" y="1465089"/>
                  <a:pt x="5247078" y="1465089"/>
                  <a:pt x="5261166" y="1493265"/>
                </a:cubicBezTo>
                <a:cubicBezTo>
                  <a:pt x="5261166" y="1493265"/>
                  <a:pt x="5275255" y="1493265"/>
                  <a:pt x="5275255" y="1507353"/>
                </a:cubicBezTo>
                <a:cubicBezTo>
                  <a:pt x="5289343" y="1507353"/>
                  <a:pt x="5289343" y="1521440"/>
                  <a:pt x="5303431" y="1535527"/>
                </a:cubicBezTo>
                <a:cubicBezTo>
                  <a:pt x="5275255" y="1507353"/>
                  <a:pt x="5261166" y="1507353"/>
                  <a:pt x="5247078" y="1493265"/>
                </a:cubicBezTo>
                <a:cubicBezTo>
                  <a:pt x="5261166" y="1507353"/>
                  <a:pt x="5275255" y="1521440"/>
                  <a:pt x="5275255" y="1535527"/>
                </a:cubicBezTo>
                <a:lnTo>
                  <a:pt x="5289343" y="1549614"/>
                </a:lnTo>
                <a:lnTo>
                  <a:pt x="5282298" y="1549614"/>
                </a:lnTo>
                <a:cubicBezTo>
                  <a:pt x="5278777" y="1549614"/>
                  <a:pt x="5275255" y="1549614"/>
                  <a:pt x="5275255" y="1549614"/>
                </a:cubicBezTo>
                <a:cubicBezTo>
                  <a:pt x="5275255" y="1549614"/>
                  <a:pt x="5261166" y="1535527"/>
                  <a:pt x="5261166" y="1535527"/>
                </a:cubicBezTo>
                <a:cubicBezTo>
                  <a:pt x="5232990" y="1507353"/>
                  <a:pt x="5204813" y="1479178"/>
                  <a:pt x="5190725" y="1451002"/>
                </a:cubicBezTo>
                <a:cubicBezTo>
                  <a:pt x="5190725" y="1451002"/>
                  <a:pt x="5176637" y="1451002"/>
                  <a:pt x="5176637" y="1451002"/>
                </a:cubicBezTo>
                <a:cubicBezTo>
                  <a:pt x="5162549" y="1436915"/>
                  <a:pt x="5162549" y="1436915"/>
                  <a:pt x="5148460" y="1422828"/>
                </a:cubicBezTo>
                <a:cubicBezTo>
                  <a:pt x="5148460" y="1422828"/>
                  <a:pt x="5148460" y="1422828"/>
                  <a:pt x="5146699" y="1421067"/>
                </a:cubicBezTo>
                <a:lnTo>
                  <a:pt x="5145312" y="1419680"/>
                </a:lnTo>
                <a:lnTo>
                  <a:pt x="5128139" y="1417903"/>
                </a:lnTo>
                <a:lnTo>
                  <a:pt x="5162549" y="1458047"/>
                </a:lnTo>
                <a:cubicBezTo>
                  <a:pt x="5176637" y="1475656"/>
                  <a:pt x="5190725" y="1493265"/>
                  <a:pt x="5204813" y="1507353"/>
                </a:cubicBezTo>
                <a:cubicBezTo>
                  <a:pt x="5204813" y="1507353"/>
                  <a:pt x="5218902" y="1521440"/>
                  <a:pt x="5218902" y="1521440"/>
                </a:cubicBezTo>
                <a:cubicBezTo>
                  <a:pt x="5232990" y="1521440"/>
                  <a:pt x="5232990" y="1535527"/>
                  <a:pt x="5247078" y="1535527"/>
                </a:cubicBezTo>
                <a:cubicBezTo>
                  <a:pt x="5247078" y="1549614"/>
                  <a:pt x="5261166" y="1563702"/>
                  <a:pt x="5261166" y="1563702"/>
                </a:cubicBezTo>
                <a:cubicBezTo>
                  <a:pt x="5289343" y="1577789"/>
                  <a:pt x="5303431" y="1605964"/>
                  <a:pt x="5317519" y="1605964"/>
                </a:cubicBezTo>
                <a:cubicBezTo>
                  <a:pt x="5331608" y="1634138"/>
                  <a:pt x="5345695" y="1648227"/>
                  <a:pt x="5359784" y="1676401"/>
                </a:cubicBezTo>
                <a:cubicBezTo>
                  <a:pt x="5373872" y="1690489"/>
                  <a:pt x="5373872" y="1690489"/>
                  <a:pt x="5387961" y="1704576"/>
                </a:cubicBezTo>
                <a:cubicBezTo>
                  <a:pt x="5387961" y="1704576"/>
                  <a:pt x="5402048" y="1718663"/>
                  <a:pt x="5402048" y="1718663"/>
                </a:cubicBezTo>
                <a:cubicBezTo>
                  <a:pt x="5402048" y="1718663"/>
                  <a:pt x="5402048" y="1732751"/>
                  <a:pt x="5416136" y="1732751"/>
                </a:cubicBezTo>
                <a:cubicBezTo>
                  <a:pt x="5416136" y="1746838"/>
                  <a:pt x="5416136" y="1746838"/>
                  <a:pt x="5416136" y="1746838"/>
                </a:cubicBezTo>
                <a:cubicBezTo>
                  <a:pt x="5430225" y="1746838"/>
                  <a:pt x="5430225" y="1760925"/>
                  <a:pt x="5430225" y="1760925"/>
                </a:cubicBezTo>
                <a:cubicBezTo>
                  <a:pt x="5444314" y="1789100"/>
                  <a:pt x="5458401" y="1803188"/>
                  <a:pt x="5472489" y="1817276"/>
                </a:cubicBezTo>
                <a:cubicBezTo>
                  <a:pt x="5472489" y="1831363"/>
                  <a:pt x="5486578" y="1831363"/>
                  <a:pt x="5486578" y="1845450"/>
                </a:cubicBezTo>
                <a:cubicBezTo>
                  <a:pt x="5500667" y="1859538"/>
                  <a:pt x="5500667" y="1873625"/>
                  <a:pt x="5514754" y="1887712"/>
                </a:cubicBezTo>
                <a:cubicBezTo>
                  <a:pt x="5514754" y="1887712"/>
                  <a:pt x="5514754" y="1887712"/>
                  <a:pt x="5514754" y="1901800"/>
                </a:cubicBezTo>
                <a:cubicBezTo>
                  <a:pt x="5542931" y="1929974"/>
                  <a:pt x="5557018" y="1944061"/>
                  <a:pt x="5571107" y="1986323"/>
                </a:cubicBezTo>
                <a:cubicBezTo>
                  <a:pt x="5585195" y="2000412"/>
                  <a:pt x="5599284" y="2028587"/>
                  <a:pt x="5599284" y="2042674"/>
                </a:cubicBezTo>
                <a:cubicBezTo>
                  <a:pt x="5613371" y="2042674"/>
                  <a:pt x="5613371" y="2056761"/>
                  <a:pt x="5613371" y="2056761"/>
                </a:cubicBezTo>
                <a:cubicBezTo>
                  <a:pt x="5613371" y="2056761"/>
                  <a:pt x="5613371" y="2070849"/>
                  <a:pt x="5613371" y="2070849"/>
                </a:cubicBezTo>
                <a:cubicBezTo>
                  <a:pt x="5613371" y="2070849"/>
                  <a:pt x="5613371" y="2070849"/>
                  <a:pt x="5613371" y="2084936"/>
                </a:cubicBezTo>
                <a:cubicBezTo>
                  <a:pt x="5613371" y="2084936"/>
                  <a:pt x="5613371" y="2084936"/>
                  <a:pt x="5627460" y="2099023"/>
                </a:cubicBezTo>
                <a:cubicBezTo>
                  <a:pt x="5627460" y="2099023"/>
                  <a:pt x="5627460" y="2113110"/>
                  <a:pt x="5627460" y="2113110"/>
                </a:cubicBezTo>
                <a:cubicBezTo>
                  <a:pt x="5655637" y="2169459"/>
                  <a:pt x="5655637" y="2169459"/>
                  <a:pt x="5669724" y="2169459"/>
                </a:cubicBezTo>
                <a:cubicBezTo>
                  <a:pt x="5683813" y="2169459"/>
                  <a:pt x="5683813" y="2183548"/>
                  <a:pt x="5683813" y="2225810"/>
                </a:cubicBezTo>
                <a:cubicBezTo>
                  <a:pt x="5683813" y="2225810"/>
                  <a:pt x="5683813" y="2225810"/>
                  <a:pt x="5697901" y="2225810"/>
                </a:cubicBezTo>
                <a:cubicBezTo>
                  <a:pt x="5697901" y="2239897"/>
                  <a:pt x="5711990" y="2253985"/>
                  <a:pt x="5711990" y="2268072"/>
                </a:cubicBezTo>
                <a:cubicBezTo>
                  <a:pt x="5697901" y="2268072"/>
                  <a:pt x="5697901" y="2268072"/>
                  <a:pt x="5697901" y="2282159"/>
                </a:cubicBezTo>
                <a:cubicBezTo>
                  <a:pt x="5697901" y="2282159"/>
                  <a:pt x="5711990" y="2282159"/>
                  <a:pt x="5711990" y="2296246"/>
                </a:cubicBezTo>
                <a:cubicBezTo>
                  <a:pt x="5711990" y="2296246"/>
                  <a:pt x="5711990" y="2296246"/>
                  <a:pt x="5711990" y="2310334"/>
                </a:cubicBezTo>
                <a:cubicBezTo>
                  <a:pt x="5726077" y="2338508"/>
                  <a:pt x="5740166" y="2366684"/>
                  <a:pt x="5740166" y="2408946"/>
                </a:cubicBezTo>
                <a:cubicBezTo>
                  <a:pt x="5740166" y="2408946"/>
                  <a:pt x="5754254" y="2408946"/>
                  <a:pt x="5754254" y="2408946"/>
                </a:cubicBezTo>
                <a:cubicBezTo>
                  <a:pt x="5754254" y="2423033"/>
                  <a:pt x="5754254" y="2423033"/>
                  <a:pt x="5754254" y="2437121"/>
                </a:cubicBezTo>
                <a:cubicBezTo>
                  <a:pt x="5754254" y="2451208"/>
                  <a:pt x="5754254" y="2465295"/>
                  <a:pt x="5754254" y="2465295"/>
                </a:cubicBezTo>
                <a:cubicBezTo>
                  <a:pt x="5754254" y="2479383"/>
                  <a:pt x="5768341" y="2507557"/>
                  <a:pt x="5768341" y="2521646"/>
                </a:cubicBezTo>
                <a:cubicBezTo>
                  <a:pt x="5754254" y="2493470"/>
                  <a:pt x="5754254" y="2479383"/>
                  <a:pt x="5754254" y="2479383"/>
                </a:cubicBezTo>
                <a:cubicBezTo>
                  <a:pt x="5754254" y="2465295"/>
                  <a:pt x="5740166" y="2465295"/>
                  <a:pt x="5740166" y="2451208"/>
                </a:cubicBezTo>
                <a:cubicBezTo>
                  <a:pt x="5740166" y="2437121"/>
                  <a:pt x="5740166" y="2423033"/>
                  <a:pt x="5726077" y="2423033"/>
                </a:cubicBezTo>
                <a:cubicBezTo>
                  <a:pt x="5726077" y="2408946"/>
                  <a:pt x="5726077" y="2394859"/>
                  <a:pt x="5711990" y="2380771"/>
                </a:cubicBezTo>
                <a:cubicBezTo>
                  <a:pt x="5697901" y="2352596"/>
                  <a:pt x="5697901" y="2324421"/>
                  <a:pt x="5683813" y="2310334"/>
                </a:cubicBezTo>
                <a:cubicBezTo>
                  <a:pt x="5683813" y="2324421"/>
                  <a:pt x="5697901" y="2338508"/>
                  <a:pt x="5697901" y="2352596"/>
                </a:cubicBezTo>
                <a:cubicBezTo>
                  <a:pt x="5697901" y="2359641"/>
                  <a:pt x="5697901" y="2363162"/>
                  <a:pt x="5697901" y="2366684"/>
                </a:cubicBezTo>
                <a:cubicBezTo>
                  <a:pt x="5697901" y="2366684"/>
                  <a:pt x="5683813" y="2352596"/>
                  <a:pt x="5683813" y="2352596"/>
                </a:cubicBezTo>
                <a:cubicBezTo>
                  <a:pt x="5683813" y="2352596"/>
                  <a:pt x="5683813" y="2338508"/>
                  <a:pt x="5683813" y="2338508"/>
                </a:cubicBezTo>
                <a:cubicBezTo>
                  <a:pt x="5669724" y="2296246"/>
                  <a:pt x="5655637" y="2268072"/>
                  <a:pt x="5641548" y="2225810"/>
                </a:cubicBezTo>
                <a:cubicBezTo>
                  <a:pt x="5627460" y="2197635"/>
                  <a:pt x="5613371" y="2169459"/>
                  <a:pt x="5599284" y="2155372"/>
                </a:cubicBezTo>
                <a:cubicBezTo>
                  <a:pt x="5599284" y="2169459"/>
                  <a:pt x="5599284" y="2183548"/>
                  <a:pt x="5613371" y="2211723"/>
                </a:cubicBezTo>
                <a:cubicBezTo>
                  <a:pt x="5627460" y="2239897"/>
                  <a:pt x="5641548" y="2268072"/>
                  <a:pt x="5655637" y="2296246"/>
                </a:cubicBezTo>
                <a:cubicBezTo>
                  <a:pt x="5655637" y="2324421"/>
                  <a:pt x="5669724" y="2338508"/>
                  <a:pt x="5683813" y="2352596"/>
                </a:cubicBezTo>
                <a:cubicBezTo>
                  <a:pt x="5683813" y="2352596"/>
                  <a:pt x="5683813" y="2366684"/>
                  <a:pt x="5683813" y="2380771"/>
                </a:cubicBezTo>
                <a:cubicBezTo>
                  <a:pt x="5697901" y="2380771"/>
                  <a:pt x="5697901" y="2394859"/>
                  <a:pt x="5697901" y="2394859"/>
                </a:cubicBezTo>
                <a:cubicBezTo>
                  <a:pt x="5697901" y="2408946"/>
                  <a:pt x="5711990" y="2437121"/>
                  <a:pt x="5711990" y="2451208"/>
                </a:cubicBezTo>
                <a:cubicBezTo>
                  <a:pt x="5711990" y="2451208"/>
                  <a:pt x="5711990" y="2451208"/>
                  <a:pt x="5711990" y="2465295"/>
                </a:cubicBezTo>
                <a:cubicBezTo>
                  <a:pt x="5726077" y="2465295"/>
                  <a:pt x="5726077" y="2479383"/>
                  <a:pt x="5726077" y="2479383"/>
                </a:cubicBezTo>
                <a:cubicBezTo>
                  <a:pt x="5740166" y="2493470"/>
                  <a:pt x="5740166" y="2507557"/>
                  <a:pt x="5754254" y="2549821"/>
                </a:cubicBezTo>
                <a:cubicBezTo>
                  <a:pt x="5754254" y="2549821"/>
                  <a:pt x="5754254" y="2549821"/>
                  <a:pt x="5754254" y="2563908"/>
                </a:cubicBezTo>
                <a:cubicBezTo>
                  <a:pt x="5754254" y="2563908"/>
                  <a:pt x="5754254" y="2563908"/>
                  <a:pt x="5768341" y="2563908"/>
                </a:cubicBezTo>
                <a:cubicBezTo>
                  <a:pt x="5768341" y="2563908"/>
                  <a:pt x="5768341" y="2563908"/>
                  <a:pt x="5768341" y="2577995"/>
                </a:cubicBezTo>
                <a:cubicBezTo>
                  <a:pt x="5768341" y="2577995"/>
                  <a:pt x="5768341" y="2577995"/>
                  <a:pt x="5768341" y="2592082"/>
                </a:cubicBezTo>
                <a:cubicBezTo>
                  <a:pt x="5768341" y="2606170"/>
                  <a:pt x="5768341" y="2606170"/>
                  <a:pt x="5782430" y="2620257"/>
                </a:cubicBezTo>
                <a:cubicBezTo>
                  <a:pt x="5782430" y="2620257"/>
                  <a:pt x="5782430" y="2620257"/>
                  <a:pt x="5782430" y="2634344"/>
                </a:cubicBezTo>
                <a:cubicBezTo>
                  <a:pt x="5782430" y="2648431"/>
                  <a:pt x="5796519" y="2662519"/>
                  <a:pt x="5796519" y="2676606"/>
                </a:cubicBezTo>
                <a:cubicBezTo>
                  <a:pt x="5782430" y="2676606"/>
                  <a:pt x="5782430" y="2676606"/>
                  <a:pt x="5782430" y="2662519"/>
                </a:cubicBezTo>
                <a:cubicBezTo>
                  <a:pt x="5782430" y="2662519"/>
                  <a:pt x="5782430" y="2676606"/>
                  <a:pt x="5782430" y="2690693"/>
                </a:cubicBezTo>
                <a:cubicBezTo>
                  <a:pt x="5782430" y="2676606"/>
                  <a:pt x="5768341" y="2676606"/>
                  <a:pt x="5768341" y="2662519"/>
                </a:cubicBezTo>
                <a:cubicBezTo>
                  <a:pt x="5768341" y="2648431"/>
                  <a:pt x="5768341" y="2634344"/>
                  <a:pt x="5754254" y="2620257"/>
                </a:cubicBezTo>
                <a:cubicBezTo>
                  <a:pt x="5754254" y="2606170"/>
                  <a:pt x="5754254" y="2592082"/>
                  <a:pt x="5740166" y="2577995"/>
                </a:cubicBezTo>
                <a:cubicBezTo>
                  <a:pt x="5740166" y="2577995"/>
                  <a:pt x="5740166" y="2549821"/>
                  <a:pt x="5726077" y="2535733"/>
                </a:cubicBezTo>
                <a:cubicBezTo>
                  <a:pt x="5726077" y="2493470"/>
                  <a:pt x="5711990" y="2465295"/>
                  <a:pt x="5697901" y="2451208"/>
                </a:cubicBezTo>
                <a:cubicBezTo>
                  <a:pt x="5697901" y="2451208"/>
                  <a:pt x="5697901" y="2423033"/>
                  <a:pt x="5697901" y="2423033"/>
                </a:cubicBezTo>
                <a:cubicBezTo>
                  <a:pt x="5683813" y="2423033"/>
                  <a:pt x="5683813" y="2423033"/>
                  <a:pt x="5683813" y="2423033"/>
                </a:cubicBezTo>
                <a:cubicBezTo>
                  <a:pt x="5683813" y="2408946"/>
                  <a:pt x="5683813" y="2408946"/>
                  <a:pt x="5683813" y="2394859"/>
                </a:cubicBezTo>
                <a:cubicBezTo>
                  <a:pt x="5669724" y="2380771"/>
                  <a:pt x="5655637" y="2352596"/>
                  <a:pt x="5641548" y="2324421"/>
                </a:cubicBezTo>
                <a:cubicBezTo>
                  <a:pt x="5641548" y="2296246"/>
                  <a:pt x="5627460" y="2268072"/>
                  <a:pt x="5613371" y="2239897"/>
                </a:cubicBezTo>
                <a:lnTo>
                  <a:pt x="5613371" y="2253985"/>
                </a:lnTo>
                <a:cubicBezTo>
                  <a:pt x="5599284" y="2211723"/>
                  <a:pt x="5585195" y="2197635"/>
                  <a:pt x="5557018" y="2169459"/>
                </a:cubicBezTo>
                <a:cubicBezTo>
                  <a:pt x="5557018" y="2169459"/>
                  <a:pt x="5571107" y="2183548"/>
                  <a:pt x="5571107" y="2197635"/>
                </a:cubicBezTo>
                <a:cubicBezTo>
                  <a:pt x="5585195" y="2225810"/>
                  <a:pt x="5585195" y="2239897"/>
                  <a:pt x="5599284" y="2253985"/>
                </a:cubicBezTo>
                <a:cubicBezTo>
                  <a:pt x="5599284" y="2253985"/>
                  <a:pt x="5599284" y="2268072"/>
                  <a:pt x="5599284" y="2268072"/>
                </a:cubicBezTo>
                <a:cubicBezTo>
                  <a:pt x="5613371" y="2282159"/>
                  <a:pt x="5613371" y="2324421"/>
                  <a:pt x="5627460" y="2324421"/>
                </a:cubicBezTo>
                <a:cubicBezTo>
                  <a:pt x="5627460" y="2324421"/>
                  <a:pt x="5627460" y="2338508"/>
                  <a:pt x="5627460" y="2352596"/>
                </a:cubicBezTo>
                <a:cubicBezTo>
                  <a:pt x="5627460" y="2338508"/>
                  <a:pt x="5613371" y="2338508"/>
                  <a:pt x="5613371" y="2324421"/>
                </a:cubicBezTo>
                <a:cubicBezTo>
                  <a:pt x="5613371" y="2324421"/>
                  <a:pt x="5613371" y="2324421"/>
                  <a:pt x="5613371" y="2338508"/>
                </a:cubicBezTo>
                <a:cubicBezTo>
                  <a:pt x="5599284" y="2324421"/>
                  <a:pt x="5599284" y="2296246"/>
                  <a:pt x="5585195" y="2282159"/>
                </a:cubicBezTo>
                <a:cubicBezTo>
                  <a:pt x="5585195" y="2268072"/>
                  <a:pt x="5571107" y="2268072"/>
                  <a:pt x="5571107" y="2239897"/>
                </a:cubicBezTo>
                <a:cubicBezTo>
                  <a:pt x="5571107" y="2225810"/>
                  <a:pt x="5557018" y="2211723"/>
                  <a:pt x="5557018" y="2197635"/>
                </a:cubicBezTo>
                <a:cubicBezTo>
                  <a:pt x="5542931" y="2197635"/>
                  <a:pt x="5542931" y="2197635"/>
                  <a:pt x="5542931" y="2183548"/>
                </a:cubicBezTo>
                <a:cubicBezTo>
                  <a:pt x="5542931" y="2197635"/>
                  <a:pt x="5542931" y="2211723"/>
                  <a:pt x="5557018" y="2225810"/>
                </a:cubicBezTo>
                <a:cubicBezTo>
                  <a:pt x="5557018" y="2253985"/>
                  <a:pt x="5571107" y="2268072"/>
                  <a:pt x="5571107" y="2296246"/>
                </a:cubicBezTo>
                <a:cubicBezTo>
                  <a:pt x="5585195" y="2296246"/>
                  <a:pt x="5585195" y="2296246"/>
                  <a:pt x="5585195" y="2310334"/>
                </a:cubicBezTo>
                <a:cubicBezTo>
                  <a:pt x="5585195" y="2310334"/>
                  <a:pt x="5585195" y="2310334"/>
                  <a:pt x="5585195" y="2324421"/>
                </a:cubicBezTo>
                <a:cubicBezTo>
                  <a:pt x="5599284" y="2352596"/>
                  <a:pt x="5613371" y="2380771"/>
                  <a:pt x="5627460" y="2408946"/>
                </a:cubicBezTo>
                <a:cubicBezTo>
                  <a:pt x="5641548" y="2437121"/>
                  <a:pt x="5655637" y="2465295"/>
                  <a:pt x="5655637" y="2479383"/>
                </a:cubicBezTo>
                <a:cubicBezTo>
                  <a:pt x="5669724" y="2493470"/>
                  <a:pt x="5669724" y="2493470"/>
                  <a:pt x="5669724" y="2493470"/>
                </a:cubicBezTo>
                <a:cubicBezTo>
                  <a:pt x="5669724" y="2493470"/>
                  <a:pt x="5669724" y="2493470"/>
                  <a:pt x="5669724" y="2521646"/>
                </a:cubicBezTo>
                <a:cubicBezTo>
                  <a:pt x="5683813" y="2549821"/>
                  <a:pt x="5697901" y="2577995"/>
                  <a:pt x="5697901" y="2606170"/>
                </a:cubicBezTo>
                <a:cubicBezTo>
                  <a:pt x="5711990" y="2620257"/>
                  <a:pt x="5711990" y="2634344"/>
                  <a:pt x="5711990" y="2648431"/>
                </a:cubicBezTo>
                <a:cubicBezTo>
                  <a:pt x="5726077" y="2662519"/>
                  <a:pt x="5711990" y="2676606"/>
                  <a:pt x="5726077" y="2690693"/>
                </a:cubicBezTo>
                <a:cubicBezTo>
                  <a:pt x="5711990" y="2676606"/>
                  <a:pt x="5711990" y="2676606"/>
                  <a:pt x="5711990" y="2662519"/>
                </a:cubicBezTo>
                <a:cubicBezTo>
                  <a:pt x="5697901" y="2662519"/>
                  <a:pt x="5697901" y="2634344"/>
                  <a:pt x="5683813" y="2620257"/>
                </a:cubicBezTo>
                <a:cubicBezTo>
                  <a:pt x="5683813" y="2606170"/>
                  <a:pt x="5683813" y="2606170"/>
                  <a:pt x="5683813" y="2606170"/>
                </a:cubicBezTo>
                <a:cubicBezTo>
                  <a:pt x="5683813" y="2606170"/>
                  <a:pt x="5683813" y="2606170"/>
                  <a:pt x="5683813" y="2592082"/>
                </a:cubicBezTo>
                <a:cubicBezTo>
                  <a:pt x="5683813" y="2592082"/>
                  <a:pt x="5683813" y="2592082"/>
                  <a:pt x="5669724" y="2577995"/>
                </a:cubicBezTo>
                <a:cubicBezTo>
                  <a:pt x="5669724" y="2577995"/>
                  <a:pt x="5669724" y="2577995"/>
                  <a:pt x="5669724" y="2563908"/>
                </a:cubicBezTo>
                <a:cubicBezTo>
                  <a:pt x="5669724" y="2563908"/>
                  <a:pt x="5669724" y="2563908"/>
                  <a:pt x="5669724" y="2549821"/>
                </a:cubicBezTo>
                <a:cubicBezTo>
                  <a:pt x="5655637" y="2549821"/>
                  <a:pt x="5655637" y="2549821"/>
                  <a:pt x="5655637" y="2549821"/>
                </a:cubicBezTo>
                <a:cubicBezTo>
                  <a:pt x="5669724" y="2563908"/>
                  <a:pt x="5669724" y="2577995"/>
                  <a:pt x="5669724" y="2606170"/>
                </a:cubicBezTo>
                <a:cubicBezTo>
                  <a:pt x="5683813" y="2606170"/>
                  <a:pt x="5683813" y="2620257"/>
                  <a:pt x="5683813" y="2634344"/>
                </a:cubicBezTo>
                <a:cubicBezTo>
                  <a:pt x="5697901" y="2648431"/>
                  <a:pt x="5697901" y="2676606"/>
                  <a:pt x="5711990" y="2704782"/>
                </a:cubicBezTo>
                <a:cubicBezTo>
                  <a:pt x="5711990" y="2718869"/>
                  <a:pt x="5711990" y="2732957"/>
                  <a:pt x="5726077" y="2761131"/>
                </a:cubicBezTo>
                <a:cubicBezTo>
                  <a:pt x="5726077" y="2761131"/>
                  <a:pt x="5726077" y="2775218"/>
                  <a:pt x="5726077" y="2775218"/>
                </a:cubicBezTo>
                <a:cubicBezTo>
                  <a:pt x="5726077" y="2775218"/>
                  <a:pt x="5726077" y="2789306"/>
                  <a:pt x="5726077" y="2789306"/>
                </a:cubicBezTo>
                <a:cubicBezTo>
                  <a:pt x="5711990" y="2761131"/>
                  <a:pt x="5697901" y="2718869"/>
                  <a:pt x="5683813" y="2690693"/>
                </a:cubicBezTo>
                <a:cubicBezTo>
                  <a:pt x="5683813" y="2676606"/>
                  <a:pt x="5683813" y="2662519"/>
                  <a:pt x="5669724" y="2648431"/>
                </a:cubicBezTo>
                <a:cubicBezTo>
                  <a:pt x="5669724" y="2620257"/>
                  <a:pt x="5655637" y="2606170"/>
                  <a:pt x="5655637" y="2592082"/>
                </a:cubicBezTo>
                <a:cubicBezTo>
                  <a:pt x="5641548" y="2549821"/>
                  <a:pt x="5627460" y="2521646"/>
                  <a:pt x="5613371" y="2479383"/>
                </a:cubicBezTo>
                <a:cubicBezTo>
                  <a:pt x="5599284" y="2465295"/>
                  <a:pt x="5599284" y="2437121"/>
                  <a:pt x="5585195" y="2408946"/>
                </a:cubicBezTo>
                <a:cubicBezTo>
                  <a:pt x="5571107" y="2394859"/>
                  <a:pt x="5571107" y="2394859"/>
                  <a:pt x="5571107" y="2394859"/>
                </a:cubicBezTo>
                <a:cubicBezTo>
                  <a:pt x="5571107" y="2394859"/>
                  <a:pt x="5557018" y="2380771"/>
                  <a:pt x="5542931" y="2352596"/>
                </a:cubicBezTo>
                <a:cubicBezTo>
                  <a:pt x="5542931" y="2338508"/>
                  <a:pt x="5542931" y="2338508"/>
                  <a:pt x="5542931" y="2324421"/>
                </a:cubicBezTo>
                <a:cubicBezTo>
                  <a:pt x="5542931" y="2324421"/>
                  <a:pt x="5528842" y="2324421"/>
                  <a:pt x="5528842" y="2324421"/>
                </a:cubicBezTo>
                <a:cubicBezTo>
                  <a:pt x="5528842" y="2324421"/>
                  <a:pt x="5528842" y="2324421"/>
                  <a:pt x="5528842" y="2310334"/>
                </a:cubicBezTo>
                <a:cubicBezTo>
                  <a:pt x="5514754" y="2282159"/>
                  <a:pt x="5500667" y="2268072"/>
                  <a:pt x="5500667" y="2253985"/>
                </a:cubicBezTo>
                <a:cubicBezTo>
                  <a:pt x="5486578" y="2239897"/>
                  <a:pt x="5472489" y="2225810"/>
                  <a:pt x="5458401" y="2183548"/>
                </a:cubicBezTo>
                <a:cubicBezTo>
                  <a:pt x="5458401" y="2183548"/>
                  <a:pt x="5444314" y="2169459"/>
                  <a:pt x="5444314" y="2169459"/>
                </a:cubicBezTo>
                <a:cubicBezTo>
                  <a:pt x="5444314" y="2155372"/>
                  <a:pt x="5430225" y="2141285"/>
                  <a:pt x="5430225" y="2127198"/>
                </a:cubicBezTo>
                <a:cubicBezTo>
                  <a:pt x="5416136" y="2127198"/>
                  <a:pt x="5416136" y="2113110"/>
                  <a:pt x="5402048" y="2099023"/>
                </a:cubicBezTo>
                <a:cubicBezTo>
                  <a:pt x="5387961" y="2084936"/>
                  <a:pt x="5387961" y="2070849"/>
                  <a:pt x="5359784" y="2042674"/>
                </a:cubicBezTo>
                <a:cubicBezTo>
                  <a:pt x="5359784" y="2042674"/>
                  <a:pt x="5359784" y="2042674"/>
                  <a:pt x="5359784" y="2028587"/>
                </a:cubicBezTo>
                <a:cubicBezTo>
                  <a:pt x="5345695" y="2014499"/>
                  <a:pt x="5331608" y="2000412"/>
                  <a:pt x="5317519" y="1986323"/>
                </a:cubicBezTo>
                <a:cubicBezTo>
                  <a:pt x="5317519" y="1986323"/>
                  <a:pt x="5317519" y="1986323"/>
                  <a:pt x="5317519" y="2000412"/>
                </a:cubicBezTo>
                <a:cubicBezTo>
                  <a:pt x="5317519" y="2000412"/>
                  <a:pt x="5331608" y="2000412"/>
                  <a:pt x="5331608" y="2014499"/>
                </a:cubicBezTo>
                <a:cubicBezTo>
                  <a:pt x="5345695" y="2014499"/>
                  <a:pt x="5345695" y="2028587"/>
                  <a:pt x="5345695" y="2042674"/>
                </a:cubicBezTo>
                <a:cubicBezTo>
                  <a:pt x="5345695" y="2042674"/>
                  <a:pt x="5359784" y="2056761"/>
                  <a:pt x="5359784" y="2056761"/>
                </a:cubicBezTo>
                <a:cubicBezTo>
                  <a:pt x="5373872" y="2070849"/>
                  <a:pt x="5387961" y="2099023"/>
                  <a:pt x="5402048" y="2127198"/>
                </a:cubicBezTo>
                <a:cubicBezTo>
                  <a:pt x="5416136" y="2127198"/>
                  <a:pt x="5416136" y="2141285"/>
                  <a:pt x="5416136" y="2155372"/>
                </a:cubicBezTo>
                <a:cubicBezTo>
                  <a:pt x="5444314" y="2211723"/>
                  <a:pt x="5458401" y="2225810"/>
                  <a:pt x="5472489" y="2253985"/>
                </a:cubicBezTo>
                <a:cubicBezTo>
                  <a:pt x="5472489" y="2253985"/>
                  <a:pt x="5472489" y="2253985"/>
                  <a:pt x="5458401" y="2239897"/>
                </a:cubicBezTo>
                <a:cubicBezTo>
                  <a:pt x="5444314" y="2211723"/>
                  <a:pt x="5416136" y="2183548"/>
                  <a:pt x="5402048" y="2155372"/>
                </a:cubicBezTo>
                <a:cubicBezTo>
                  <a:pt x="5402048" y="2155372"/>
                  <a:pt x="5402048" y="2141285"/>
                  <a:pt x="5387961" y="2141285"/>
                </a:cubicBezTo>
                <a:cubicBezTo>
                  <a:pt x="5387961" y="2141285"/>
                  <a:pt x="5387961" y="2141285"/>
                  <a:pt x="5387961" y="2127198"/>
                </a:cubicBezTo>
                <a:cubicBezTo>
                  <a:pt x="5387961" y="2127198"/>
                  <a:pt x="5373872" y="2113110"/>
                  <a:pt x="5373872" y="2099023"/>
                </a:cubicBezTo>
                <a:cubicBezTo>
                  <a:pt x="5373872" y="2099023"/>
                  <a:pt x="5373872" y="2099023"/>
                  <a:pt x="5359784" y="2084936"/>
                </a:cubicBezTo>
                <a:cubicBezTo>
                  <a:pt x="5359784" y="2084936"/>
                  <a:pt x="5359784" y="2084936"/>
                  <a:pt x="5359784" y="2070849"/>
                </a:cubicBezTo>
                <a:cubicBezTo>
                  <a:pt x="5345695" y="2070849"/>
                  <a:pt x="5345695" y="2056761"/>
                  <a:pt x="5345695" y="2056761"/>
                </a:cubicBezTo>
                <a:cubicBezTo>
                  <a:pt x="5331608" y="2056761"/>
                  <a:pt x="5331608" y="2056761"/>
                  <a:pt x="5331608" y="2042674"/>
                </a:cubicBezTo>
                <a:cubicBezTo>
                  <a:pt x="5331608" y="2042674"/>
                  <a:pt x="5317519" y="2042674"/>
                  <a:pt x="5317519" y="2028587"/>
                </a:cubicBezTo>
                <a:cubicBezTo>
                  <a:pt x="5317519" y="2014499"/>
                  <a:pt x="5317519" y="2014499"/>
                  <a:pt x="5317519" y="2014499"/>
                </a:cubicBezTo>
                <a:cubicBezTo>
                  <a:pt x="5303431" y="2014499"/>
                  <a:pt x="5303431" y="2000412"/>
                  <a:pt x="5289343" y="2000412"/>
                </a:cubicBezTo>
                <a:cubicBezTo>
                  <a:pt x="5289343" y="2000412"/>
                  <a:pt x="5289343" y="2000412"/>
                  <a:pt x="5289343" y="1986323"/>
                </a:cubicBezTo>
                <a:cubicBezTo>
                  <a:pt x="5275255" y="1972236"/>
                  <a:pt x="5261166" y="1958149"/>
                  <a:pt x="5247078" y="1944061"/>
                </a:cubicBezTo>
                <a:cubicBezTo>
                  <a:pt x="5247078" y="1929974"/>
                  <a:pt x="5247078" y="1929974"/>
                  <a:pt x="5247078" y="1929974"/>
                </a:cubicBezTo>
                <a:cubicBezTo>
                  <a:pt x="5247078" y="1929974"/>
                  <a:pt x="5232990" y="1915887"/>
                  <a:pt x="5232990" y="1915887"/>
                </a:cubicBezTo>
                <a:cubicBezTo>
                  <a:pt x="5218902" y="1901800"/>
                  <a:pt x="5204813" y="1887712"/>
                  <a:pt x="5190725" y="1873625"/>
                </a:cubicBezTo>
                <a:cubicBezTo>
                  <a:pt x="5176637" y="1859538"/>
                  <a:pt x="5162549" y="1845450"/>
                  <a:pt x="5162549" y="1831363"/>
                </a:cubicBezTo>
                <a:cubicBezTo>
                  <a:pt x="5162549" y="1831363"/>
                  <a:pt x="5148460" y="1831363"/>
                  <a:pt x="5148460" y="1831363"/>
                </a:cubicBezTo>
                <a:cubicBezTo>
                  <a:pt x="5148460" y="1817276"/>
                  <a:pt x="5148460" y="1817276"/>
                  <a:pt x="5134372" y="1803188"/>
                </a:cubicBezTo>
                <a:cubicBezTo>
                  <a:pt x="5120284" y="1803188"/>
                  <a:pt x="5106196" y="1789100"/>
                  <a:pt x="5092107" y="1760925"/>
                </a:cubicBezTo>
                <a:cubicBezTo>
                  <a:pt x="5092107" y="1760925"/>
                  <a:pt x="5092107" y="1760925"/>
                  <a:pt x="5078019" y="1760925"/>
                </a:cubicBezTo>
                <a:cubicBezTo>
                  <a:pt x="5078019" y="1746838"/>
                  <a:pt x="5078019" y="1746838"/>
                  <a:pt x="5078019" y="1746838"/>
                </a:cubicBezTo>
                <a:cubicBezTo>
                  <a:pt x="5078019" y="1746838"/>
                  <a:pt x="5078019" y="1746838"/>
                  <a:pt x="5063931" y="1732751"/>
                </a:cubicBezTo>
                <a:cubicBezTo>
                  <a:pt x="5063931" y="1732751"/>
                  <a:pt x="5049843" y="1718663"/>
                  <a:pt x="5035754" y="1704576"/>
                </a:cubicBezTo>
                <a:cubicBezTo>
                  <a:pt x="5021666" y="1704576"/>
                  <a:pt x="5021666" y="1690489"/>
                  <a:pt x="5021666" y="1690489"/>
                </a:cubicBezTo>
                <a:cubicBezTo>
                  <a:pt x="5007579" y="1690489"/>
                  <a:pt x="5007579" y="1690489"/>
                  <a:pt x="4993490" y="1676401"/>
                </a:cubicBezTo>
                <a:cubicBezTo>
                  <a:pt x="4993490" y="1662314"/>
                  <a:pt x="4979401" y="1662314"/>
                  <a:pt x="4979401" y="1662314"/>
                </a:cubicBezTo>
                <a:cubicBezTo>
                  <a:pt x="4979401" y="1662314"/>
                  <a:pt x="4979401" y="1662314"/>
                  <a:pt x="4979401" y="1648227"/>
                </a:cubicBezTo>
                <a:cubicBezTo>
                  <a:pt x="4979401" y="1648227"/>
                  <a:pt x="4979401" y="1648227"/>
                  <a:pt x="4965313" y="1648227"/>
                </a:cubicBezTo>
                <a:cubicBezTo>
                  <a:pt x="4965313" y="1648227"/>
                  <a:pt x="4965313" y="1648227"/>
                  <a:pt x="4951226" y="1634138"/>
                </a:cubicBezTo>
                <a:cubicBezTo>
                  <a:pt x="4951226" y="1634138"/>
                  <a:pt x="4937137" y="1620051"/>
                  <a:pt x="4937137" y="1620051"/>
                </a:cubicBezTo>
                <a:cubicBezTo>
                  <a:pt x="4923048" y="1605964"/>
                  <a:pt x="4923048" y="1605964"/>
                  <a:pt x="4923048" y="1605964"/>
                </a:cubicBezTo>
                <a:cubicBezTo>
                  <a:pt x="4908961" y="1591876"/>
                  <a:pt x="4880784" y="1577789"/>
                  <a:pt x="4866696" y="1563702"/>
                </a:cubicBezTo>
                <a:cubicBezTo>
                  <a:pt x="4852608" y="1563702"/>
                  <a:pt x="4838520" y="1535527"/>
                  <a:pt x="4838520" y="1535527"/>
                </a:cubicBezTo>
                <a:cubicBezTo>
                  <a:pt x="4838520" y="1535527"/>
                  <a:pt x="4824431" y="1535527"/>
                  <a:pt x="4824431" y="1535527"/>
                </a:cubicBezTo>
                <a:cubicBezTo>
                  <a:pt x="4824431" y="1535527"/>
                  <a:pt x="4838520" y="1549614"/>
                  <a:pt x="4852608" y="1563702"/>
                </a:cubicBezTo>
                <a:cubicBezTo>
                  <a:pt x="4852608" y="1577789"/>
                  <a:pt x="4852608" y="1577789"/>
                  <a:pt x="4852608" y="1577789"/>
                </a:cubicBezTo>
                <a:cubicBezTo>
                  <a:pt x="4852608" y="1577789"/>
                  <a:pt x="4852608" y="1577789"/>
                  <a:pt x="4866696" y="1591876"/>
                </a:cubicBezTo>
                <a:cubicBezTo>
                  <a:pt x="4866696" y="1591876"/>
                  <a:pt x="4866696" y="1591876"/>
                  <a:pt x="4880784" y="1605964"/>
                </a:cubicBezTo>
                <a:cubicBezTo>
                  <a:pt x="4894873" y="1620051"/>
                  <a:pt x="4894873" y="1620051"/>
                  <a:pt x="4894873" y="1620051"/>
                </a:cubicBezTo>
                <a:cubicBezTo>
                  <a:pt x="4880784" y="1605964"/>
                  <a:pt x="4880784" y="1605964"/>
                  <a:pt x="4866696" y="1605964"/>
                </a:cubicBezTo>
                <a:cubicBezTo>
                  <a:pt x="4852608" y="1591876"/>
                  <a:pt x="4852608" y="1591876"/>
                  <a:pt x="4852608" y="1591876"/>
                </a:cubicBezTo>
                <a:cubicBezTo>
                  <a:pt x="4852608" y="1591876"/>
                  <a:pt x="4852608" y="1591876"/>
                  <a:pt x="4838520" y="1591876"/>
                </a:cubicBezTo>
                <a:cubicBezTo>
                  <a:pt x="4824431" y="1577789"/>
                  <a:pt x="4824431" y="1563702"/>
                  <a:pt x="4824431" y="1563702"/>
                </a:cubicBezTo>
                <a:cubicBezTo>
                  <a:pt x="4817387" y="1556658"/>
                  <a:pt x="4813864" y="1549614"/>
                  <a:pt x="4808582" y="1542571"/>
                </a:cubicBezTo>
                <a:lnTo>
                  <a:pt x="4795374" y="1532005"/>
                </a:lnTo>
                <a:lnTo>
                  <a:pt x="4794494" y="1528484"/>
                </a:lnTo>
                <a:cubicBezTo>
                  <a:pt x="4792733" y="1524962"/>
                  <a:pt x="4789212" y="1521440"/>
                  <a:pt x="4782167" y="1521440"/>
                </a:cubicBezTo>
                <a:cubicBezTo>
                  <a:pt x="4768078" y="1521440"/>
                  <a:pt x="4768078" y="1521440"/>
                  <a:pt x="4768078" y="1507353"/>
                </a:cubicBezTo>
                <a:cubicBezTo>
                  <a:pt x="4768078" y="1507353"/>
                  <a:pt x="4768078" y="1507353"/>
                  <a:pt x="4753990" y="1507353"/>
                </a:cubicBezTo>
                <a:cubicBezTo>
                  <a:pt x="4768078" y="1521440"/>
                  <a:pt x="4782167" y="1535527"/>
                  <a:pt x="4796255" y="1549614"/>
                </a:cubicBezTo>
                <a:cubicBezTo>
                  <a:pt x="4768078" y="1535527"/>
                  <a:pt x="4739902" y="1507353"/>
                  <a:pt x="4711725" y="1479178"/>
                </a:cubicBezTo>
                <a:cubicBezTo>
                  <a:pt x="4711725" y="1479178"/>
                  <a:pt x="4711725" y="1465089"/>
                  <a:pt x="4711725" y="1465089"/>
                </a:cubicBezTo>
                <a:cubicBezTo>
                  <a:pt x="4711725" y="1465089"/>
                  <a:pt x="4725814" y="1479178"/>
                  <a:pt x="4711725" y="1465089"/>
                </a:cubicBezTo>
                <a:lnTo>
                  <a:pt x="4710831" y="1465089"/>
                </a:lnTo>
                <a:cubicBezTo>
                  <a:pt x="4696743" y="1465089"/>
                  <a:pt x="4686177" y="1465089"/>
                  <a:pt x="4675611" y="1466851"/>
                </a:cubicBezTo>
                <a:lnTo>
                  <a:pt x="4654834" y="1474122"/>
                </a:lnTo>
                <a:lnTo>
                  <a:pt x="4662417" y="1479178"/>
                </a:lnTo>
                <a:cubicBezTo>
                  <a:pt x="4669461" y="1482700"/>
                  <a:pt x="4676505" y="1486222"/>
                  <a:pt x="4683549" y="1493265"/>
                </a:cubicBezTo>
                <a:cubicBezTo>
                  <a:pt x="4711725" y="1507353"/>
                  <a:pt x="4725814" y="1521440"/>
                  <a:pt x="4753990" y="1535527"/>
                </a:cubicBezTo>
                <a:cubicBezTo>
                  <a:pt x="4753990" y="1535527"/>
                  <a:pt x="4753990" y="1549614"/>
                  <a:pt x="4768078" y="1549614"/>
                </a:cubicBezTo>
                <a:cubicBezTo>
                  <a:pt x="4768078" y="1549614"/>
                  <a:pt x="4768078" y="1563702"/>
                  <a:pt x="4782167" y="1563702"/>
                </a:cubicBezTo>
                <a:cubicBezTo>
                  <a:pt x="4782167" y="1563702"/>
                  <a:pt x="4782167" y="1577789"/>
                  <a:pt x="4796255" y="1577789"/>
                </a:cubicBezTo>
                <a:cubicBezTo>
                  <a:pt x="4796255" y="1577789"/>
                  <a:pt x="4782167" y="1577789"/>
                  <a:pt x="4782167" y="1577789"/>
                </a:cubicBezTo>
                <a:cubicBezTo>
                  <a:pt x="4796255" y="1591876"/>
                  <a:pt x="4796255" y="1591876"/>
                  <a:pt x="4810343" y="1605964"/>
                </a:cubicBezTo>
                <a:cubicBezTo>
                  <a:pt x="4810343" y="1605964"/>
                  <a:pt x="4824431" y="1620051"/>
                  <a:pt x="4824431" y="1620051"/>
                </a:cubicBezTo>
                <a:cubicBezTo>
                  <a:pt x="4824431" y="1620051"/>
                  <a:pt x="4824431" y="1620051"/>
                  <a:pt x="4838520" y="1620051"/>
                </a:cubicBezTo>
                <a:cubicBezTo>
                  <a:pt x="4838520" y="1634138"/>
                  <a:pt x="4852608" y="1634138"/>
                  <a:pt x="4866696" y="1648227"/>
                </a:cubicBezTo>
                <a:cubicBezTo>
                  <a:pt x="4880784" y="1662314"/>
                  <a:pt x="4894873" y="1676401"/>
                  <a:pt x="4908961" y="1690489"/>
                </a:cubicBezTo>
                <a:cubicBezTo>
                  <a:pt x="4908961" y="1690489"/>
                  <a:pt x="4908961" y="1690489"/>
                  <a:pt x="4908961" y="1704576"/>
                </a:cubicBezTo>
                <a:cubicBezTo>
                  <a:pt x="4894873" y="1676401"/>
                  <a:pt x="4866696" y="1662314"/>
                  <a:pt x="4852608" y="1648227"/>
                </a:cubicBezTo>
                <a:cubicBezTo>
                  <a:pt x="4852608" y="1662314"/>
                  <a:pt x="4852608" y="1662314"/>
                  <a:pt x="4880784" y="1690489"/>
                </a:cubicBezTo>
                <a:cubicBezTo>
                  <a:pt x="4880784" y="1690489"/>
                  <a:pt x="4880784" y="1690489"/>
                  <a:pt x="4894873" y="1704576"/>
                </a:cubicBezTo>
                <a:cubicBezTo>
                  <a:pt x="4894873" y="1704576"/>
                  <a:pt x="4894873" y="1704576"/>
                  <a:pt x="4880784" y="1704576"/>
                </a:cubicBezTo>
                <a:cubicBezTo>
                  <a:pt x="4894873" y="1704576"/>
                  <a:pt x="4908961" y="1718663"/>
                  <a:pt x="4923048" y="1732751"/>
                </a:cubicBezTo>
                <a:cubicBezTo>
                  <a:pt x="4937137" y="1760925"/>
                  <a:pt x="4965313" y="1775013"/>
                  <a:pt x="4979401" y="1803188"/>
                </a:cubicBezTo>
                <a:cubicBezTo>
                  <a:pt x="4979401" y="1803188"/>
                  <a:pt x="4979401" y="1803188"/>
                  <a:pt x="4993490" y="1803188"/>
                </a:cubicBezTo>
                <a:cubicBezTo>
                  <a:pt x="4993490" y="1803188"/>
                  <a:pt x="4993490" y="1803188"/>
                  <a:pt x="4993490" y="1817276"/>
                </a:cubicBezTo>
                <a:cubicBezTo>
                  <a:pt x="5007579" y="1817276"/>
                  <a:pt x="5007579" y="1817276"/>
                  <a:pt x="5007579" y="1817276"/>
                </a:cubicBezTo>
                <a:cubicBezTo>
                  <a:pt x="5035754" y="1845450"/>
                  <a:pt x="5021666" y="1845450"/>
                  <a:pt x="5021666" y="1859538"/>
                </a:cubicBezTo>
                <a:cubicBezTo>
                  <a:pt x="5035754" y="1873625"/>
                  <a:pt x="5035754" y="1873625"/>
                  <a:pt x="5021666" y="1873625"/>
                </a:cubicBezTo>
                <a:cubicBezTo>
                  <a:pt x="5021666" y="1887712"/>
                  <a:pt x="5021666" y="1887712"/>
                  <a:pt x="5035754" y="1915887"/>
                </a:cubicBezTo>
                <a:cubicBezTo>
                  <a:pt x="5049843" y="1929974"/>
                  <a:pt x="5049843" y="1944061"/>
                  <a:pt x="5063931" y="1958149"/>
                </a:cubicBezTo>
                <a:cubicBezTo>
                  <a:pt x="5078019" y="1958149"/>
                  <a:pt x="5078019" y="1972236"/>
                  <a:pt x="5078019" y="1972236"/>
                </a:cubicBezTo>
                <a:cubicBezTo>
                  <a:pt x="5078019" y="1972236"/>
                  <a:pt x="5092107" y="1986323"/>
                  <a:pt x="5078019" y="1986323"/>
                </a:cubicBezTo>
                <a:cubicBezTo>
                  <a:pt x="5078019" y="1972236"/>
                  <a:pt x="5063931" y="1972236"/>
                  <a:pt x="5035754" y="1944061"/>
                </a:cubicBezTo>
                <a:cubicBezTo>
                  <a:pt x="5035754" y="1944061"/>
                  <a:pt x="5021666" y="1929974"/>
                  <a:pt x="5007579" y="1929974"/>
                </a:cubicBezTo>
                <a:cubicBezTo>
                  <a:pt x="5007579" y="1915887"/>
                  <a:pt x="4993490" y="1901800"/>
                  <a:pt x="4979401" y="1887712"/>
                </a:cubicBezTo>
                <a:cubicBezTo>
                  <a:pt x="4979401" y="1887712"/>
                  <a:pt x="4965313" y="1873625"/>
                  <a:pt x="4965313" y="1873625"/>
                </a:cubicBezTo>
                <a:cubicBezTo>
                  <a:pt x="4951226" y="1873625"/>
                  <a:pt x="4951226" y="1873625"/>
                  <a:pt x="4951226" y="1859538"/>
                </a:cubicBezTo>
                <a:cubicBezTo>
                  <a:pt x="4937137" y="1845450"/>
                  <a:pt x="4923048" y="1831363"/>
                  <a:pt x="4908961" y="1831363"/>
                </a:cubicBezTo>
                <a:cubicBezTo>
                  <a:pt x="4908961" y="1817276"/>
                  <a:pt x="4894873" y="1817276"/>
                  <a:pt x="4880784" y="1803188"/>
                </a:cubicBezTo>
                <a:cubicBezTo>
                  <a:pt x="4880784" y="1789100"/>
                  <a:pt x="4866696" y="1775013"/>
                  <a:pt x="4852608" y="1775013"/>
                </a:cubicBezTo>
                <a:cubicBezTo>
                  <a:pt x="4824431" y="1746838"/>
                  <a:pt x="4810343" y="1732751"/>
                  <a:pt x="4782167" y="1704576"/>
                </a:cubicBezTo>
                <a:cubicBezTo>
                  <a:pt x="4782167" y="1704576"/>
                  <a:pt x="4782167" y="1704576"/>
                  <a:pt x="4697638" y="1634138"/>
                </a:cubicBezTo>
                <a:cubicBezTo>
                  <a:pt x="4683549" y="1634138"/>
                  <a:pt x="4669461" y="1620051"/>
                  <a:pt x="4669461" y="1620051"/>
                </a:cubicBezTo>
                <a:cubicBezTo>
                  <a:pt x="4669461" y="1620051"/>
                  <a:pt x="4669461" y="1605964"/>
                  <a:pt x="4655372" y="1605964"/>
                </a:cubicBezTo>
                <a:cubicBezTo>
                  <a:pt x="4641285" y="1605964"/>
                  <a:pt x="4627196" y="1577789"/>
                  <a:pt x="4613108" y="1577789"/>
                </a:cubicBezTo>
                <a:cubicBezTo>
                  <a:pt x="4584932" y="1563702"/>
                  <a:pt x="4570843" y="1549614"/>
                  <a:pt x="4542666" y="1535527"/>
                </a:cubicBezTo>
                <a:cubicBezTo>
                  <a:pt x="4535623" y="1528484"/>
                  <a:pt x="4528579" y="1524962"/>
                  <a:pt x="4521535" y="1521440"/>
                </a:cubicBezTo>
                <a:lnTo>
                  <a:pt x="4513274" y="1515933"/>
                </a:lnTo>
                <a:lnTo>
                  <a:pt x="4499507" y="1521440"/>
                </a:lnTo>
                <a:cubicBezTo>
                  <a:pt x="4499507" y="1521440"/>
                  <a:pt x="4499507" y="1521440"/>
                  <a:pt x="4485419" y="1521440"/>
                </a:cubicBezTo>
                <a:cubicBezTo>
                  <a:pt x="4471330" y="1521440"/>
                  <a:pt x="4471330" y="1535527"/>
                  <a:pt x="4471330" y="1535527"/>
                </a:cubicBezTo>
                <a:cubicBezTo>
                  <a:pt x="4443154" y="1535527"/>
                  <a:pt x="4429066" y="1549614"/>
                  <a:pt x="4414979" y="1549614"/>
                </a:cubicBezTo>
                <a:cubicBezTo>
                  <a:pt x="4414979" y="1563702"/>
                  <a:pt x="4400890" y="1563702"/>
                  <a:pt x="4400890" y="1563702"/>
                </a:cubicBezTo>
                <a:cubicBezTo>
                  <a:pt x="4386801" y="1577789"/>
                  <a:pt x="4344537" y="1591876"/>
                  <a:pt x="4316360" y="1605964"/>
                </a:cubicBezTo>
                <a:cubicBezTo>
                  <a:pt x="4302273" y="1605964"/>
                  <a:pt x="4302273" y="1620051"/>
                  <a:pt x="4288184" y="1620051"/>
                </a:cubicBezTo>
                <a:cubicBezTo>
                  <a:pt x="4274096" y="1620051"/>
                  <a:pt x="4274096" y="1634138"/>
                  <a:pt x="4260008" y="1634138"/>
                </a:cubicBezTo>
                <a:cubicBezTo>
                  <a:pt x="4260008" y="1634138"/>
                  <a:pt x="4260008" y="1648227"/>
                  <a:pt x="4245920" y="1648227"/>
                </a:cubicBezTo>
                <a:cubicBezTo>
                  <a:pt x="4245920" y="1648227"/>
                  <a:pt x="4231831" y="1662314"/>
                  <a:pt x="4217743" y="1676401"/>
                </a:cubicBezTo>
                <a:cubicBezTo>
                  <a:pt x="4217743" y="1676401"/>
                  <a:pt x="4217743" y="1676401"/>
                  <a:pt x="4203655" y="1676401"/>
                </a:cubicBezTo>
                <a:cubicBezTo>
                  <a:pt x="4203655" y="1676401"/>
                  <a:pt x="4203655" y="1676401"/>
                  <a:pt x="4175478" y="1704576"/>
                </a:cubicBezTo>
                <a:cubicBezTo>
                  <a:pt x="4175478" y="1704576"/>
                  <a:pt x="4175478" y="1704576"/>
                  <a:pt x="4161390" y="1704576"/>
                </a:cubicBezTo>
                <a:cubicBezTo>
                  <a:pt x="4161390" y="1718663"/>
                  <a:pt x="4147302" y="1718663"/>
                  <a:pt x="4147302" y="1718663"/>
                </a:cubicBezTo>
                <a:cubicBezTo>
                  <a:pt x="4147302" y="1718663"/>
                  <a:pt x="4133214" y="1732751"/>
                  <a:pt x="4133214" y="1732751"/>
                </a:cubicBezTo>
                <a:cubicBezTo>
                  <a:pt x="4133214" y="1732751"/>
                  <a:pt x="4119125" y="1746838"/>
                  <a:pt x="4119125" y="1746838"/>
                </a:cubicBezTo>
                <a:cubicBezTo>
                  <a:pt x="4105037" y="1746838"/>
                  <a:pt x="4105037" y="1746838"/>
                  <a:pt x="4105037" y="1760925"/>
                </a:cubicBezTo>
                <a:cubicBezTo>
                  <a:pt x="4090949" y="1760925"/>
                  <a:pt x="4090949" y="1760925"/>
                  <a:pt x="4090949" y="1760925"/>
                </a:cubicBezTo>
                <a:cubicBezTo>
                  <a:pt x="4090949" y="1760925"/>
                  <a:pt x="4090949" y="1760925"/>
                  <a:pt x="4062772" y="1789100"/>
                </a:cubicBezTo>
                <a:cubicBezTo>
                  <a:pt x="4062772" y="1789100"/>
                  <a:pt x="4062772" y="1789100"/>
                  <a:pt x="4048684" y="1789100"/>
                </a:cubicBezTo>
                <a:cubicBezTo>
                  <a:pt x="4048684" y="1803188"/>
                  <a:pt x="4034596" y="1803188"/>
                  <a:pt x="4034596" y="1817276"/>
                </a:cubicBezTo>
                <a:cubicBezTo>
                  <a:pt x="4034596" y="1817276"/>
                  <a:pt x="4020508" y="1817276"/>
                  <a:pt x="4020508" y="1817276"/>
                </a:cubicBezTo>
                <a:cubicBezTo>
                  <a:pt x="4020508" y="1817276"/>
                  <a:pt x="4020508" y="1831363"/>
                  <a:pt x="4006419" y="1831363"/>
                </a:cubicBezTo>
                <a:cubicBezTo>
                  <a:pt x="4006419" y="1831363"/>
                  <a:pt x="4006419" y="1831363"/>
                  <a:pt x="3992331" y="1845450"/>
                </a:cubicBezTo>
                <a:cubicBezTo>
                  <a:pt x="4006419" y="1845450"/>
                  <a:pt x="3992331" y="1859538"/>
                  <a:pt x="3978244" y="1859538"/>
                </a:cubicBezTo>
                <a:cubicBezTo>
                  <a:pt x="3964155" y="1873625"/>
                  <a:pt x="3964155" y="1887712"/>
                  <a:pt x="3950066" y="1887712"/>
                </a:cubicBezTo>
                <a:cubicBezTo>
                  <a:pt x="3950066" y="1901800"/>
                  <a:pt x="3935979" y="1901800"/>
                  <a:pt x="3935979" y="1915887"/>
                </a:cubicBezTo>
                <a:cubicBezTo>
                  <a:pt x="3921891" y="1915887"/>
                  <a:pt x="3921891" y="1915887"/>
                  <a:pt x="3907802" y="1929974"/>
                </a:cubicBezTo>
                <a:cubicBezTo>
                  <a:pt x="3893713" y="1944061"/>
                  <a:pt x="3865538" y="1958149"/>
                  <a:pt x="3851449" y="1986323"/>
                </a:cubicBezTo>
                <a:cubicBezTo>
                  <a:pt x="3851449" y="1986323"/>
                  <a:pt x="3823273" y="2000412"/>
                  <a:pt x="3823273" y="2014499"/>
                </a:cubicBezTo>
                <a:cubicBezTo>
                  <a:pt x="3823273" y="2028587"/>
                  <a:pt x="3823273" y="2028587"/>
                  <a:pt x="3809185" y="2028587"/>
                </a:cubicBezTo>
                <a:cubicBezTo>
                  <a:pt x="3795096" y="2042674"/>
                  <a:pt x="3781008" y="2056761"/>
                  <a:pt x="3766920" y="2070849"/>
                </a:cubicBezTo>
                <a:cubicBezTo>
                  <a:pt x="3766920" y="2070849"/>
                  <a:pt x="3766920" y="2084936"/>
                  <a:pt x="3752832" y="2084936"/>
                </a:cubicBezTo>
                <a:cubicBezTo>
                  <a:pt x="3752832" y="2099023"/>
                  <a:pt x="3738743" y="2113110"/>
                  <a:pt x="3724655" y="2127198"/>
                </a:cubicBezTo>
                <a:cubicBezTo>
                  <a:pt x="3724655" y="2134241"/>
                  <a:pt x="3721133" y="2137763"/>
                  <a:pt x="3715851" y="2141285"/>
                </a:cubicBezTo>
                <a:lnTo>
                  <a:pt x="3713698" y="2142850"/>
                </a:lnTo>
                <a:lnTo>
                  <a:pt x="3712328" y="2143046"/>
                </a:lnTo>
                <a:lnTo>
                  <a:pt x="3712200" y="2143940"/>
                </a:lnTo>
                <a:lnTo>
                  <a:pt x="3696479" y="2155372"/>
                </a:lnTo>
                <a:cubicBezTo>
                  <a:pt x="3710567" y="2155372"/>
                  <a:pt x="3710567" y="2155372"/>
                  <a:pt x="3710567" y="2155372"/>
                </a:cubicBezTo>
                <a:lnTo>
                  <a:pt x="3712200" y="2143940"/>
                </a:lnTo>
                <a:lnTo>
                  <a:pt x="3713698" y="2142850"/>
                </a:lnTo>
                <a:lnTo>
                  <a:pt x="3724655" y="2141285"/>
                </a:lnTo>
                <a:cubicBezTo>
                  <a:pt x="3696479" y="2169459"/>
                  <a:pt x="3682390" y="2183548"/>
                  <a:pt x="3668303" y="2211723"/>
                </a:cubicBezTo>
                <a:cubicBezTo>
                  <a:pt x="3654214" y="2211723"/>
                  <a:pt x="3654214" y="2225810"/>
                  <a:pt x="3654214" y="2225810"/>
                </a:cubicBezTo>
                <a:cubicBezTo>
                  <a:pt x="3640126" y="2253985"/>
                  <a:pt x="3626037" y="2268072"/>
                  <a:pt x="3597862" y="2296246"/>
                </a:cubicBezTo>
                <a:cubicBezTo>
                  <a:pt x="3597862" y="2303290"/>
                  <a:pt x="3594340" y="2310334"/>
                  <a:pt x="3589056" y="2317377"/>
                </a:cubicBezTo>
                <a:lnTo>
                  <a:pt x="3582600" y="2324421"/>
                </a:lnTo>
                <a:lnTo>
                  <a:pt x="3582013" y="2324421"/>
                </a:lnTo>
                <a:cubicBezTo>
                  <a:pt x="3580251" y="2324421"/>
                  <a:pt x="3576729" y="2324421"/>
                  <a:pt x="3569684" y="2324421"/>
                </a:cubicBezTo>
                <a:cubicBezTo>
                  <a:pt x="3569684" y="2324421"/>
                  <a:pt x="3569684" y="2324421"/>
                  <a:pt x="3569684" y="2338508"/>
                </a:cubicBezTo>
                <a:cubicBezTo>
                  <a:pt x="3569684" y="2338508"/>
                  <a:pt x="3555597" y="2338508"/>
                  <a:pt x="3555597" y="2352596"/>
                </a:cubicBezTo>
                <a:cubicBezTo>
                  <a:pt x="3548552" y="2359641"/>
                  <a:pt x="3545030" y="2366684"/>
                  <a:pt x="3541509" y="2373728"/>
                </a:cubicBezTo>
                <a:lnTo>
                  <a:pt x="3527420" y="2380771"/>
                </a:lnTo>
                <a:cubicBezTo>
                  <a:pt x="3527420" y="2394859"/>
                  <a:pt x="3527420" y="2394859"/>
                  <a:pt x="3527420" y="2394859"/>
                </a:cubicBezTo>
                <a:cubicBezTo>
                  <a:pt x="3520376" y="2401903"/>
                  <a:pt x="3516855" y="2405424"/>
                  <a:pt x="3515093" y="2408946"/>
                </a:cubicBezTo>
                <a:lnTo>
                  <a:pt x="3513333" y="2408946"/>
                </a:lnTo>
                <a:cubicBezTo>
                  <a:pt x="3513333" y="2423033"/>
                  <a:pt x="3513333" y="2423033"/>
                  <a:pt x="3513333" y="2423033"/>
                </a:cubicBezTo>
                <a:cubicBezTo>
                  <a:pt x="3499244" y="2423033"/>
                  <a:pt x="3499244" y="2423033"/>
                  <a:pt x="3499244" y="2437121"/>
                </a:cubicBezTo>
                <a:lnTo>
                  <a:pt x="3491417" y="2455904"/>
                </a:lnTo>
                <a:lnTo>
                  <a:pt x="3488287" y="2460599"/>
                </a:lnTo>
                <a:lnTo>
                  <a:pt x="3471067" y="2479383"/>
                </a:lnTo>
                <a:cubicBezTo>
                  <a:pt x="3471067" y="2493470"/>
                  <a:pt x="3456980" y="2507557"/>
                  <a:pt x="3456980" y="2507557"/>
                </a:cubicBezTo>
                <a:cubicBezTo>
                  <a:pt x="3471067" y="2507557"/>
                  <a:pt x="3471067" y="2493470"/>
                  <a:pt x="3471067" y="2493470"/>
                </a:cubicBezTo>
                <a:cubicBezTo>
                  <a:pt x="3471067" y="2493470"/>
                  <a:pt x="3471067" y="2479383"/>
                  <a:pt x="3485156" y="2479383"/>
                </a:cubicBezTo>
                <a:cubicBezTo>
                  <a:pt x="3485156" y="2493470"/>
                  <a:pt x="3485156" y="2493470"/>
                  <a:pt x="3485156" y="2493470"/>
                </a:cubicBezTo>
                <a:cubicBezTo>
                  <a:pt x="3471067" y="2507557"/>
                  <a:pt x="3471067" y="2507557"/>
                  <a:pt x="3471067" y="2521646"/>
                </a:cubicBezTo>
                <a:cubicBezTo>
                  <a:pt x="3456980" y="2535733"/>
                  <a:pt x="3442891" y="2549821"/>
                  <a:pt x="3442891" y="2563908"/>
                </a:cubicBezTo>
                <a:cubicBezTo>
                  <a:pt x="3442891" y="2563908"/>
                  <a:pt x="3442891" y="2577995"/>
                  <a:pt x="3428803" y="2577995"/>
                </a:cubicBezTo>
                <a:cubicBezTo>
                  <a:pt x="3428803" y="2592082"/>
                  <a:pt x="3428803" y="2606170"/>
                  <a:pt x="3428803" y="2606170"/>
                </a:cubicBezTo>
                <a:cubicBezTo>
                  <a:pt x="3414714" y="2620257"/>
                  <a:pt x="3414714" y="2620257"/>
                  <a:pt x="3414714" y="2634344"/>
                </a:cubicBezTo>
                <a:cubicBezTo>
                  <a:pt x="3400627" y="2662519"/>
                  <a:pt x="3386538" y="2690693"/>
                  <a:pt x="3372450" y="2718869"/>
                </a:cubicBezTo>
                <a:cubicBezTo>
                  <a:pt x="3372450" y="2718869"/>
                  <a:pt x="3372450" y="2718869"/>
                  <a:pt x="3372450" y="2732957"/>
                </a:cubicBezTo>
                <a:cubicBezTo>
                  <a:pt x="3372450" y="2732957"/>
                  <a:pt x="3372450" y="2747044"/>
                  <a:pt x="3372450" y="2747044"/>
                </a:cubicBezTo>
                <a:cubicBezTo>
                  <a:pt x="3372450" y="2761131"/>
                  <a:pt x="3358361" y="2775218"/>
                  <a:pt x="3372450" y="2789306"/>
                </a:cubicBezTo>
                <a:cubicBezTo>
                  <a:pt x="3358361" y="2803393"/>
                  <a:pt x="3358361" y="2817480"/>
                  <a:pt x="3358361" y="2831568"/>
                </a:cubicBezTo>
                <a:cubicBezTo>
                  <a:pt x="3344274" y="2859742"/>
                  <a:pt x="3344274" y="2887917"/>
                  <a:pt x="3344274" y="2916093"/>
                </a:cubicBezTo>
                <a:cubicBezTo>
                  <a:pt x="3344274" y="2930180"/>
                  <a:pt x="3330185" y="2930180"/>
                  <a:pt x="3330185" y="2944268"/>
                </a:cubicBezTo>
                <a:cubicBezTo>
                  <a:pt x="3330185" y="2944268"/>
                  <a:pt x="3330185" y="2958355"/>
                  <a:pt x="3330185" y="2986529"/>
                </a:cubicBezTo>
                <a:cubicBezTo>
                  <a:pt x="3330185" y="3000616"/>
                  <a:pt x="3316097" y="3028791"/>
                  <a:pt x="3316097" y="3056966"/>
                </a:cubicBezTo>
                <a:cubicBezTo>
                  <a:pt x="3316097" y="3056966"/>
                  <a:pt x="3316097" y="3071053"/>
                  <a:pt x="3316097" y="3071053"/>
                </a:cubicBezTo>
                <a:cubicBezTo>
                  <a:pt x="3316097" y="3085142"/>
                  <a:pt x="3316097" y="3099229"/>
                  <a:pt x="3316097" y="3099229"/>
                </a:cubicBezTo>
                <a:cubicBezTo>
                  <a:pt x="3316097" y="3099229"/>
                  <a:pt x="3316097" y="3099229"/>
                  <a:pt x="3302008" y="3183753"/>
                </a:cubicBezTo>
                <a:cubicBezTo>
                  <a:pt x="3302008" y="3226015"/>
                  <a:pt x="3302008" y="3254190"/>
                  <a:pt x="3302008" y="3282365"/>
                </a:cubicBezTo>
                <a:cubicBezTo>
                  <a:pt x="3302008" y="3310540"/>
                  <a:pt x="3316097" y="3324627"/>
                  <a:pt x="3316097" y="3352801"/>
                </a:cubicBezTo>
                <a:cubicBezTo>
                  <a:pt x="3316097" y="3352801"/>
                  <a:pt x="3316097" y="3366889"/>
                  <a:pt x="3316097" y="3380976"/>
                </a:cubicBezTo>
                <a:cubicBezTo>
                  <a:pt x="3316097" y="3395063"/>
                  <a:pt x="3316097" y="3409151"/>
                  <a:pt x="3330185" y="3423238"/>
                </a:cubicBezTo>
                <a:cubicBezTo>
                  <a:pt x="3330185" y="3437327"/>
                  <a:pt x="3330185" y="3437327"/>
                  <a:pt x="3330185" y="3437327"/>
                </a:cubicBezTo>
                <a:cubicBezTo>
                  <a:pt x="3330185" y="3465501"/>
                  <a:pt x="3330185" y="3493676"/>
                  <a:pt x="3344274" y="3521850"/>
                </a:cubicBezTo>
                <a:cubicBezTo>
                  <a:pt x="3358361" y="3550025"/>
                  <a:pt x="3358361" y="3578200"/>
                  <a:pt x="3372450" y="3592287"/>
                </a:cubicBezTo>
                <a:cubicBezTo>
                  <a:pt x="3372450" y="3606375"/>
                  <a:pt x="3386538" y="3620463"/>
                  <a:pt x="3386538" y="3634550"/>
                </a:cubicBezTo>
                <a:cubicBezTo>
                  <a:pt x="3386538" y="3634550"/>
                  <a:pt x="3386538" y="3634550"/>
                  <a:pt x="3386538" y="3648637"/>
                </a:cubicBezTo>
                <a:cubicBezTo>
                  <a:pt x="3386538" y="3662725"/>
                  <a:pt x="3400627" y="3676812"/>
                  <a:pt x="3414714" y="3690899"/>
                </a:cubicBezTo>
                <a:cubicBezTo>
                  <a:pt x="3414714" y="3690899"/>
                  <a:pt x="3414714" y="3704987"/>
                  <a:pt x="3414714" y="3704987"/>
                </a:cubicBezTo>
                <a:cubicBezTo>
                  <a:pt x="3414714" y="3704987"/>
                  <a:pt x="3414714" y="3704987"/>
                  <a:pt x="3414714" y="3719074"/>
                </a:cubicBezTo>
                <a:cubicBezTo>
                  <a:pt x="3414714" y="3719074"/>
                  <a:pt x="3428803" y="3733161"/>
                  <a:pt x="3428803" y="3733161"/>
                </a:cubicBezTo>
                <a:cubicBezTo>
                  <a:pt x="3428803" y="3747248"/>
                  <a:pt x="3442891" y="3775423"/>
                  <a:pt x="3442891" y="3789512"/>
                </a:cubicBezTo>
                <a:cubicBezTo>
                  <a:pt x="3456980" y="3803599"/>
                  <a:pt x="3456980" y="3817686"/>
                  <a:pt x="3471067" y="3831773"/>
                </a:cubicBezTo>
                <a:cubicBezTo>
                  <a:pt x="3485156" y="3874035"/>
                  <a:pt x="3499244" y="3916297"/>
                  <a:pt x="3527420" y="3958560"/>
                </a:cubicBezTo>
                <a:cubicBezTo>
                  <a:pt x="3541509" y="3986735"/>
                  <a:pt x="3555597" y="4000822"/>
                  <a:pt x="3555597" y="4028997"/>
                </a:cubicBezTo>
                <a:cubicBezTo>
                  <a:pt x="3569684" y="4043084"/>
                  <a:pt x="3569684" y="4057172"/>
                  <a:pt x="3583773" y="4071259"/>
                </a:cubicBezTo>
                <a:cubicBezTo>
                  <a:pt x="3597862" y="4085346"/>
                  <a:pt x="3597862" y="4099433"/>
                  <a:pt x="3611950" y="4113521"/>
                </a:cubicBezTo>
                <a:cubicBezTo>
                  <a:pt x="3654214" y="4155784"/>
                  <a:pt x="3682390" y="4212133"/>
                  <a:pt x="3724655" y="4254395"/>
                </a:cubicBezTo>
                <a:cubicBezTo>
                  <a:pt x="3738743" y="4268482"/>
                  <a:pt x="3752832" y="4268482"/>
                  <a:pt x="3752832" y="4282570"/>
                </a:cubicBezTo>
                <a:cubicBezTo>
                  <a:pt x="3752832" y="4282570"/>
                  <a:pt x="3766920" y="4282570"/>
                  <a:pt x="3766920" y="4282570"/>
                </a:cubicBezTo>
                <a:cubicBezTo>
                  <a:pt x="3795096" y="4324833"/>
                  <a:pt x="3823273" y="4353007"/>
                  <a:pt x="3851449" y="4381182"/>
                </a:cubicBezTo>
                <a:cubicBezTo>
                  <a:pt x="3879626" y="4395269"/>
                  <a:pt x="3893713" y="4409357"/>
                  <a:pt x="3921891" y="4437531"/>
                </a:cubicBezTo>
                <a:cubicBezTo>
                  <a:pt x="3935979" y="4437531"/>
                  <a:pt x="3950066" y="4451619"/>
                  <a:pt x="3964155" y="4465706"/>
                </a:cubicBezTo>
                <a:cubicBezTo>
                  <a:pt x="3978244" y="4479793"/>
                  <a:pt x="3992331" y="4493882"/>
                  <a:pt x="4006419" y="4507969"/>
                </a:cubicBezTo>
                <a:cubicBezTo>
                  <a:pt x="4020508" y="4507969"/>
                  <a:pt x="4020508" y="4507969"/>
                  <a:pt x="4020508" y="4507969"/>
                </a:cubicBezTo>
                <a:cubicBezTo>
                  <a:pt x="4020508" y="4522056"/>
                  <a:pt x="4034596" y="4522056"/>
                  <a:pt x="4048684" y="4536144"/>
                </a:cubicBezTo>
                <a:cubicBezTo>
                  <a:pt x="4048684" y="4536144"/>
                  <a:pt x="4048684" y="4536144"/>
                  <a:pt x="4062772" y="4536144"/>
                </a:cubicBezTo>
                <a:cubicBezTo>
                  <a:pt x="4048684" y="4536144"/>
                  <a:pt x="4062772" y="4550231"/>
                  <a:pt x="4048684" y="4550231"/>
                </a:cubicBezTo>
                <a:cubicBezTo>
                  <a:pt x="4048684" y="4550231"/>
                  <a:pt x="4048684" y="4550231"/>
                  <a:pt x="4034596" y="4550231"/>
                </a:cubicBezTo>
                <a:cubicBezTo>
                  <a:pt x="4048684" y="4564318"/>
                  <a:pt x="4048684" y="4564318"/>
                  <a:pt x="4062772" y="4578406"/>
                </a:cubicBezTo>
                <a:cubicBezTo>
                  <a:pt x="4076861" y="4592493"/>
                  <a:pt x="4105037" y="4592493"/>
                  <a:pt x="4119125" y="4606580"/>
                </a:cubicBezTo>
                <a:lnTo>
                  <a:pt x="4183518" y="4638774"/>
                </a:lnTo>
                <a:lnTo>
                  <a:pt x="4190461" y="4634755"/>
                </a:lnTo>
                <a:cubicBezTo>
                  <a:pt x="4190461" y="4634755"/>
                  <a:pt x="4218638" y="4634755"/>
                  <a:pt x="4232726" y="4634755"/>
                </a:cubicBezTo>
                <a:cubicBezTo>
                  <a:pt x="4232726" y="4634755"/>
                  <a:pt x="4232726" y="4634755"/>
                  <a:pt x="4232726" y="4648842"/>
                </a:cubicBezTo>
                <a:lnTo>
                  <a:pt x="4226826" y="4658430"/>
                </a:lnTo>
                <a:lnTo>
                  <a:pt x="4254724" y="4669974"/>
                </a:lnTo>
                <a:cubicBezTo>
                  <a:pt x="4274096" y="4677017"/>
                  <a:pt x="4295228" y="4684062"/>
                  <a:pt x="4316360" y="4691105"/>
                </a:cubicBezTo>
                <a:cubicBezTo>
                  <a:pt x="4323405" y="4691105"/>
                  <a:pt x="4330449" y="4691105"/>
                  <a:pt x="4337493" y="4692866"/>
                </a:cubicBezTo>
                <a:lnTo>
                  <a:pt x="4353845" y="4702405"/>
                </a:lnTo>
                <a:lnTo>
                  <a:pt x="4355117" y="4701450"/>
                </a:lnTo>
                <a:cubicBezTo>
                  <a:pt x="4363042" y="4695507"/>
                  <a:pt x="4373608" y="4687583"/>
                  <a:pt x="4387696" y="4677018"/>
                </a:cubicBezTo>
                <a:cubicBezTo>
                  <a:pt x="4415873" y="4662929"/>
                  <a:pt x="4429962" y="4648842"/>
                  <a:pt x="4444049" y="4648842"/>
                </a:cubicBezTo>
                <a:cubicBezTo>
                  <a:pt x="4458138" y="4634755"/>
                  <a:pt x="4472226" y="4634755"/>
                  <a:pt x="4472226" y="4634755"/>
                </a:cubicBezTo>
                <a:cubicBezTo>
                  <a:pt x="4500402" y="4606580"/>
                  <a:pt x="4500402" y="4606580"/>
                  <a:pt x="4500402" y="4620667"/>
                </a:cubicBezTo>
                <a:cubicBezTo>
                  <a:pt x="4514491" y="4606580"/>
                  <a:pt x="4528579" y="4606580"/>
                  <a:pt x="4542666" y="4592493"/>
                </a:cubicBezTo>
                <a:cubicBezTo>
                  <a:pt x="4542666" y="4592493"/>
                  <a:pt x="4542666" y="4578406"/>
                  <a:pt x="4556755" y="4578406"/>
                </a:cubicBezTo>
                <a:cubicBezTo>
                  <a:pt x="4570843" y="4564318"/>
                  <a:pt x="4599019" y="4536144"/>
                  <a:pt x="4613108" y="4522056"/>
                </a:cubicBezTo>
                <a:cubicBezTo>
                  <a:pt x="4627196" y="4522056"/>
                  <a:pt x="4627196" y="4507969"/>
                  <a:pt x="4641285" y="4493882"/>
                </a:cubicBezTo>
                <a:cubicBezTo>
                  <a:pt x="4655372" y="4493882"/>
                  <a:pt x="4683549" y="4465706"/>
                  <a:pt x="4697638" y="4451619"/>
                </a:cubicBezTo>
                <a:cubicBezTo>
                  <a:pt x="4697638" y="4451619"/>
                  <a:pt x="4711725" y="4451619"/>
                  <a:pt x="4711725" y="4437531"/>
                </a:cubicBezTo>
                <a:cubicBezTo>
                  <a:pt x="4725814" y="4409357"/>
                  <a:pt x="4753990" y="4395269"/>
                  <a:pt x="4768078" y="4353007"/>
                </a:cubicBezTo>
                <a:cubicBezTo>
                  <a:pt x="4782167" y="4353007"/>
                  <a:pt x="4782167" y="4353007"/>
                  <a:pt x="4782167" y="4338920"/>
                </a:cubicBezTo>
                <a:cubicBezTo>
                  <a:pt x="4796255" y="4324833"/>
                  <a:pt x="4810343" y="4310744"/>
                  <a:pt x="4824431" y="4296657"/>
                </a:cubicBezTo>
                <a:cubicBezTo>
                  <a:pt x="4838520" y="4282570"/>
                  <a:pt x="4838520" y="4282570"/>
                  <a:pt x="4838520" y="4282570"/>
                </a:cubicBezTo>
                <a:cubicBezTo>
                  <a:pt x="4838520" y="4268482"/>
                  <a:pt x="4838520" y="4268482"/>
                  <a:pt x="4838520" y="4268482"/>
                </a:cubicBezTo>
                <a:cubicBezTo>
                  <a:pt x="4866696" y="4254395"/>
                  <a:pt x="4880784" y="4226221"/>
                  <a:pt x="4894873" y="4226221"/>
                </a:cubicBezTo>
                <a:cubicBezTo>
                  <a:pt x="4894873" y="4226221"/>
                  <a:pt x="4894873" y="4212133"/>
                  <a:pt x="4894873" y="4212133"/>
                </a:cubicBezTo>
                <a:cubicBezTo>
                  <a:pt x="4908961" y="4212133"/>
                  <a:pt x="4908961" y="4198046"/>
                  <a:pt x="4923048" y="4183958"/>
                </a:cubicBezTo>
                <a:cubicBezTo>
                  <a:pt x="4923048" y="4169871"/>
                  <a:pt x="4937137" y="4169871"/>
                  <a:pt x="4937137" y="4169871"/>
                </a:cubicBezTo>
                <a:cubicBezTo>
                  <a:pt x="4951226" y="4155784"/>
                  <a:pt x="4965313" y="4127608"/>
                  <a:pt x="4979401" y="4113521"/>
                </a:cubicBezTo>
                <a:cubicBezTo>
                  <a:pt x="4979401" y="4113521"/>
                  <a:pt x="4979401" y="4099433"/>
                  <a:pt x="4993490" y="4099433"/>
                </a:cubicBezTo>
                <a:cubicBezTo>
                  <a:pt x="4993490" y="4071259"/>
                  <a:pt x="5007579" y="4057172"/>
                  <a:pt x="5021666" y="4028997"/>
                </a:cubicBezTo>
                <a:cubicBezTo>
                  <a:pt x="5035754" y="4014910"/>
                  <a:pt x="5049843" y="3986735"/>
                  <a:pt x="5063931" y="3958560"/>
                </a:cubicBezTo>
                <a:cubicBezTo>
                  <a:pt x="5063931" y="3972648"/>
                  <a:pt x="5078019" y="3972648"/>
                  <a:pt x="5078019" y="3986735"/>
                </a:cubicBezTo>
                <a:cubicBezTo>
                  <a:pt x="5078019" y="4000822"/>
                  <a:pt x="5063931" y="4028997"/>
                  <a:pt x="5063931" y="4043084"/>
                </a:cubicBezTo>
                <a:cubicBezTo>
                  <a:pt x="5063931" y="4057172"/>
                  <a:pt x="5063931" y="4071259"/>
                  <a:pt x="5063931" y="4085346"/>
                </a:cubicBezTo>
                <a:cubicBezTo>
                  <a:pt x="5063931" y="4085346"/>
                  <a:pt x="5063931" y="4099433"/>
                  <a:pt x="5063931" y="4113521"/>
                </a:cubicBezTo>
                <a:cubicBezTo>
                  <a:pt x="5049843" y="4141697"/>
                  <a:pt x="5035754" y="4169871"/>
                  <a:pt x="5021666" y="4198046"/>
                </a:cubicBezTo>
                <a:cubicBezTo>
                  <a:pt x="5021666" y="4212133"/>
                  <a:pt x="5021666" y="4212133"/>
                  <a:pt x="5021666" y="4212133"/>
                </a:cubicBezTo>
                <a:cubicBezTo>
                  <a:pt x="5021666" y="4226221"/>
                  <a:pt x="5007579" y="4240308"/>
                  <a:pt x="4993490" y="4268482"/>
                </a:cubicBezTo>
                <a:cubicBezTo>
                  <a:pt x="4979401" y="4296657"/>
                  <a:pt x="4979401" y="4324833"/>
                  <a:pt x="4965313" y="4353007"/>
                </a:cubicBezTo>
                <a:cubicBezTo>
                  <a:pt x="4937137" y="4367095"/>
                  <a:pt x="4923048" y="4395269"/>
                  <a:pt x="4908961" y="4423444"/>
                </a:cubicBezTo>
                <a:cubicBezTo>
                  <a:pt x="4894873" y="4451619"/>
                  <a:pt x="4880784" y="4479793"/>
                  <a:pt x="4852608" y="4522056"/>
                </a:cubicBezTo>
                <a:cubicBezTo>
                  <a:pt x="4838520" y="4536144"/>
                  <a:pt x="4824431" y="4550231"/>
                  <a:pt x="4824431" y="4564318"/>
                </a:cubicBezTo>
                <a:cubicBezTo>
                  <a:pt x="4796255" y="4592493"/>
                  <a:pt x="4796255" y="4620667"/>
                  <a:pt x="4782167" y="4634755"/>
                </a:cubicBezTo>
                <a:cubicBezTo>
                  <a:pt x="4782167" y="4662929"/>
                  <a:pt x="4768078" y="4677018"/>
                  <a:pt x="4753990" y="4705192"/>
                </a:cubicBezTo>
                <a:cubicBezTo>
                  <a:pt x="4739902" y="4733367"/>
                  <a:pt x="4725814" y="4761542"/>
                  <a:pt x="4711725" y="4775629"/>
                </a:cubicBezTo>
                <a:cubicBezTo>
                  <a:pt x="4704682" y="4789716"/>
                  <a:pt x="4697638" y="4800282"/>
                  <a:pt x="4690593" y="4809086"/>
                </a:cubicBezTo>
                <a:lnTo>
                  <a:pt x="4674017" y="4827043"/>
                </a:lnTo>
                <a:lnTo>
                  <a:pt x="4682655" y="4831978"/>
                </a:lnTo>
                <a:cubicBezTo>
                  <a:pt x="4682655" y="4831978"/>
                  <a:pt x="4696742" y="4831978"/>
                  <a:pt x="4696742" y="4831978"/>
                </a:cubicBezTo>
                <a:cubicBezTo>
                  <a:pt x="4710831" y="4839022"/>
                  <a:pt x="4721397" y="4842545"/>
                  <a:pt x="4730202" y="4844306"/>
                </a:cubicBezTo>
                <a:lnTo>
                  <a:pt x="4741867" y="4845203"/>
                </a:lnTo>
                <a:lnTo>
                  <a:pt x="4753990" y="4831978"/>
                </a:lnTo>
                <a:cubicBezTo>
                  <a:pt x="4768078" y="4817891"/>
                  <a:pt x="4782167" y="4803804"/>
                  <a:pt x="4796255" y="4789716"/>
                </a:cubicBezTo>
                <a:cubicBezTo>
                  <a:pt x="4810343" y="4775629"/>
                  <a:pt x="4838520" y="4761542"/>
                  <a:pt x="4838520" y="4747454"/>
                </a:cubicBezTo>
                <a:cubicBezTo>
                  <a:pt x="4866696" y="4733367"/>
                  <a:pt x="4880784" y="4705192"/>
                  <a:pt x="4894873" y="4691105"/>
                </a:cubicBezTo>
                <a:cubicBezTo>
                  <a:pt x="4894873" y="4691105"/>
                  <a:pt x="4908961" y="4691105"/>
                  <a:pt x="4908961" y="4691105"/>
                </a:cubicBezTo>
                <a:cubicBezTo>
                  <a:pt x="4923048" y="4677018"/>
                  <a:pt x="4951226" y="4648842"/>
                  <a:pt x="4965313" y="4634755"/>
                </a:cubicBezTo>
                <a:cubicBezTo>
                  <a:pt x="4993490" y="4606580"/>
                  <a:pt x="5021666" y="4578406"/>
                  <a:pt x="5035754" y="4550231"/>
                </a:cubicBezTo>
                <a:cubicBezTo>
                  <a:pt x="5049843" y="4536144"/>
                  <a:pt x="5049843" y="4522056"/>
                  <a:pt x="5063931" y="4522056"/>
                </a:cubicBezTo>
                <a:cubicBezTo>
                  <a:pt x="5078019" y="4522056"/>
                  <a:pt x="5078019" y="4522056"/>
                  <a:pt x="5063931" y="4536144"/>
                </a:cubicBezTo>
                <a:cubicBezTo>
                  <a:pt x="5049843" y="4564318"/>
                  <a:pt x="5049843" y="4578406"/>
                  <a:pt x="5049843" y="4592493"/>
                </a:cubicBezTo>
                <a:cubicBezTo>
                  <a:pt x="5049843" y="4592493"/>
                  <a:pt x="5049843" y="4606580"/>
                  <a:pt x="5049843" y="4606580"/>
                </a:cubicBezTo>
                <a:cubicBezTo>
                  <a:pt x="5049843" y="4620667"/>
                  <a:pt x="5021666" y="4662929"/>
                  <a:pt x="5021666" y="4677018"/>
                </a:cubicBezTo>
                <a:cubicBezTo>
                  <a:pt x="4979401" y="4733367"/>
                  <a:pt x="4951226" y="4803804"/>
                  <a:pt x="4894873" y="4860154"/>
                </a:cubicBezTo>
                <a:lnTo>
                  <a:pt x="4902783" y="4860154"/>
                </a:lnTo>
                <a:cubicBezTo>
                  <a:pt x="4908066" y="4860154"/>
                  <a:pt x="4915110" y="4860154"/>
                  <a:pt x="4922154" y="4860154"/>
                </a:cubicBezTo>
                <a:cubicBezTo>
                  <a:pt x="4922154" y="4860154"/>
                  <a:pt x="4922154" y="4860154"/>
                  <a:pt x="4936242" y="4860154"/>
                </a:cubicBezTo>
                <a:cubicBezTo>
                  <a:pt x="4936242" y="4860154"/>
                  <a:pt x="4936242" y="4860154"/>
                  <a:pt x="4950331" y="4860154"/>
                </a:cubicBezTo>
                <a:cubicBezTo>
                  <a:pt x="4950331" y="4846067"/>
                  <a:pt x="4950331" y="4846067"/>
                  <a:pt x="4964418" y="4846067"/>
                </a:cubicBezTo>
                <a:cubicBezTo>
                  <a:pt x="4992595" y="4846067"/>
                  <a:pt x="5006683" y="4846067"/>
                  <a:pt x="5034860" y="4846067"/>
                </a:cubicBezTo>
                <a:cubicBezTo>
                  <a:pt x="5063036" y="4831978"/>
                  <a:pt x="5091213" y="4846067"/>
                  <a:pt x="5119389" y="4846067"/>
                </a:cubicBezTo>
                <a:cubicBezTo>
                  <a:pt x="5119389" y="4846067"/>
                  <a:pt x="5122911" y="4846067"/>
                  <a:pt x="5128194" y="4846067"/>
                </a:cubicBezTo>
                <a:lnTo>
                  <a:pt x="5136626" y="4846067"/>
                </a:lnTo>
                <a:lnTo>
                  <a:pt x="5153743" y="4830218"/>
                </a:lnTo>
                <a:cubicBezTo>
                  <a:pt x="5169593" y="4814369"/>
                  <a:pt x="5183681" y="4796760"/>
                  <a:pt x="5190725" y="4775629"/>
                </a:cubicBezTo>
                <a:cubicBezTo>
                  <a:pt x="5190725" y="4775629"/>
                  <a:pt x="5190725" y="4775629"/>
                  <a:pt x="5204813" y="4761542"/>
                </a:cubicBezTo>
                <a:cubicBezTo>
                  <a:pt x="5204813" y="4761542"/>
                  <a:pt x="5204813" y="4761542"/>
                  <a:pt x="5190725" y="4761542"/>
                </a:cubicBezTo>
                <a:cubicBezTo>
                  <a:pt x="5204813" y="4761542"/>
                  <a:pt x="5204813" y="4747454"/>
                  <a:pt x="5218902" y="4747454"/>
                </a:cubicBezTo>
                <a:cubicBezTo>
                  <a:pt x="5232990" y="4705192"/>
                  <a:pt x="5261166" y="4662929"/>
                  <a:pt x="5289343" y="4634755"/>
                </a:cubicBezTo>
                <a:cubicBezTo>
                  <a:pt x="5289343" y="4634755"/>
                  <a:pt x="5289343" y="4634755"/>
                  <a:pt x="5303431" y="4620667"/>
                </a:cubicBezTo>
                <a:cubicBezTo>
                  <a:pt x="5303431" y="4606580"/>
                  <a:pt x="5317519" y="4606580"/>
                  <a:pt x="5317519" y="4606580"/>
                </a:cubicBezTo>
                <a:cubicBezTo>
                  <a:pt x="5317519" y="4606580"/>
                  <a:pt x="5331608" y="4592493"/>
                  <a:pt x="5331608" y="4592493"/>
                </a:cubicBezTo>
                <a:cubicBezTo>
                  <a:pt x="5331608" y="4592493"/>
                  <a:pt x="5331608" y="4592493"/>
                  <a:pt x="5345695" y="4564318"/>
                </a:cubicBezTo>
                <a:cubicBezTo>
                  <a:pt x="5345695" y="4564318"/>
                  <a:pt x="5345695" y="4564318"/>
                  <a:pt x="5373872" y="4536144"/>
                </a:cubicBezTo>
                <a:cubicBezTo>
                  <a:pt x="5373872" y="4536144"/>
                  <a:pt x="5373872" y="4522056"/>
                  <a:pt x="5373872" y="4522056"/>
                </a:cubicBezTo>
                <a:cubicBezTo>
                  <a:pt x="5373872" y="4522056"/>
                  <a:pt x="5387961" y="4507969"/>
                  <a:pt x="5387961" y="4507969"/>
                </a:cubicBezTo>
                <a:cubicBezTo>
                  <a:pt x="5402048" y="4507969"/>
                  <a:pt x="5402048" y="4493882"/>
                  <a:pt x="5416136" y="4479793"/>
                </a:cubicBezTo>
                <a:cubicBezTo>
                  <a:pt x="5416136" y="4465706"/>
                  <a:pt x="5430225" y="4451619"/>
                  <a:pt x="5444314" y="4437531"/>
                </a:cubicBezTo>
                <a:cubicBezTo>
                  <a:pt x="5458401" y="4409357"/>
                  <a:pt x="5472489" y="4395269"/>
                  <a:pt x="5472489" y="4381182"/>
                </a:cubicBezTo>
                <a:cubicBezTo>
                  <a:pt x="5472489" y="4381182"/>
                  <a:pt x="5472489" y="4367095"/>
                  <a:pt x="5472489" y="4367095"/>
                </a:cubicBezTo>
                <a:cubicBezTo>
                  <a:pt x="5486578" y="4338920"/>
                  <a:pt x="5500667" y="4310744"/>
                  <a:pt x="5528842" y="4268482"/>
                </a:cubicBezTo>
                <a:cubicBezTo>
                  <a:pt x="5528842" y="4268482"/>
                  <a:pt x="5528842" y="4254395"/>
                  <a:pt x="5528842" y="4254395"/>
                </a:cubicBezTo>
                <a:cubicBezTo>
                  <a:pt x="5528842" y="4240308"/>
                  <a:pt x="5542931" y="4240308"/>
                  <a:pt x="5542931" y="4226221"/>
                </a:cubicBezTo>
                <a:cubicBezTo>
                  <a:pt x="5542931" y="4212133"/>
                  <a:pt x="5571107" y="4169871"/>
                  <a:pt x="5585195" y="4141697"/>
                </a:cubicBezTo>
                <a:cubicBezTo>
                  <a:pt x="5585195" y="4127608"/>
                  <a:pt x="5585195" y="4113521"/>
                  <a:pt x="5599284" y="4099433"/>
                </a:cubicBezTo>
                <a:cubicBezTo>
                  <a:pt x="5613371" y="4057172"/>
                  <a:pt x="5627460" y="4000822"/>
                  <a:pt x="5641548" y="3958560"/>
                </a:cubicBezTo>
                <a:cubicBezTo>
                  <a:pt x="5641548" y="3944472"/>
                  <a:pt x="5655637" y="3930385"/>
                  <a:pt x="5655637" y="3916297"/>
                </a:cubicBezTo>
                <a:cubicBezTo>
                  <a:pt x="5655637" y="3916297"/>
                  <a:pt x="5655637" y="3916297"/>
                  <a:pt x="5669724" y="3888123"/>
                </a:cubicBezTo>
                <a:cubicBezTo>
                  <a:pt x="5683813" y="3845861"/>
                  <a:pt x="5683813" y="3803599"/>
                  <a:pt x="5697901" y="3775423"/>
                </a:cubicBezTo>
                <a:cubicBezTo>
                  <a:pt x="5711990" y="3747248"/>
                  <a:pt x="5726077" y="3719074"/>
                  <a:pt x="5726077" y="3690899"/>
                </a:cubicBezTo>
                <a:cubicBezTo>
                  <a:pt x="5726077" y="3662725"/>
                  <a:pt x="5726077" y="3620463"/>
                  <a:pt x="5740166" y="3592287"/>
                </a:cubicBezTo>
                <a:cubicBezTo>
                  <a:pt x="5754254" y="3578200"/>
                  <a:pt x="5754254" y="3564112"/>
                  <a:pt x="5754254" y="3564112"/>
                </a:cubicBezTo>
                <a:cubicBezTo>
                  <a:pt x="5754254" y="3535938"/>
                  <a:pt x="5754254" y="3521850"/>
                  <a:pt x="5768341" y="3521850"/>
                </a:cubicBezTo>
                <a:cubicBezTo>
                  <a:pt x="5768341" y="3507763"/>
                  <a:pt x="5768341" y="3493676"/>
                  <a:pt x="5768341" y="3479588"/>
                </a:cubicBezTo>
                <a:cubicBezTo>
                  <a:pt x="5782430" y="3437327"/>
                  <a:pt x="5782430" y="3409151"/>
                  <a:pt x="5782430" y="3366889"/>
                </a:cubicBezTo>
                <a:cubicBezTo>
                  <a:pt x="5782430" y="3352801"/>
                  <a:pt x="5796519" y="3324627"/>
                  <a:pt x="5782430" y="3310540"/>
                </a:cubicBezTo>
                <a:cubicBezTo>
                  <a:pt x="5782430" y="3282365"/>
                  <a:pt x="5796519" y="3268278"/>
                  <a:pt x="5796519" y="3240102"/>
                </a:cubicBezTo>
                <a:cubicBezTo>
                  <a:pt x="5796519" y="3226015"/>
                  <a:pt x="5810607" y="3211927"/>
                  <a:pt x="5810607" y="3211927"/>
                </a:cubicBezTo>
                <a:cubicBezTo>
                  <a:pt x="5824694" y="3183753"/>
                  <a:pt x="5824694" y="3183753"/>
                  <a:pt x="5824694" y="3226015"/>
                </a:cubicBezTo>
                <a:cubicBezTo>
                  <a:pt x="5824694" y="3254190"/>
                  <a:pt x="5824694" y="3268278"/>
                  <a:pt x="5824694" y="3282365"/>
                </a:cubicBezTo>
                <a:cubicBezTo>
                  <a:pt x="5824694" y="3296452"/>
                  <a:pt x="5824694" y="3310540"/>
                  <a:pt x="5824694" y="3324627"/>
                </a:cubicBezTo>
                <a:lnTo>
                  <a:pt x="5824694" y="3352801"/>
                </a:lnTo>
                <a:cubicBezTo>
                  <a:pt x="5838783" y="3352801"/>
                  <a:pt x="5838783" y="3352801"/>
                  <a:pt x="5838783" y="3352801"/>
                </a:cubicBezTo>
                <a:cubicBezTo>
                  <a:pt x="5852872" y="3324627"/>
                  <a:pt x="5852872" y="3324627"/>
                  <a:pt x="5852872" y="3338714"/>
                </a:cubicBezTo>
                <a:cubicBezTo>
                  <a:pt x="5866960" y="3338714"/>
                  <a:pt x="5881047" y="3324627"/>
                  <a:pt x="5881047" y="3282365"/>
                </a:cubicBezTo>
                <a:cubicBezTo>
                  <a:pt x="5881047" y="3268278"/>
                  <a:pt x="5881047" y="3268278"/>
                  <a:pt x="5895136" y="3254190"/>
                </a:cubicBezTo>
                <a:cubicBezTo>
                  <a:pt x="5895136" y="3268278"/>
                  <a:pt x="5895136" y="3268278"/>
                  <a:pt x="5895136" y="3268278"/>
                </a:cubicBezTo>
                <a:cubicBezTo>
                  <a:pt x="5895136" y="3268278"/>
                  <a:pt x="5895136" y="3282365"/>
                  <a:pt x="5895136" y="3282365"/>
                </a:cubicBezTo>
                <a:cubicBezTo>
                  <a:pt x="5909224" y="3296452"/>
                  <a:pt x="5923313" y="3296452"/>
                  <a:pt x="5923313" y="3296452"/>
                </a:cubicBezTo>
                <a:cubicBezTo>
                  <a:pt x="5937400" y="3310540"/>
                  <a:pt x="5951489" y="3338714"/>
                  <a:pt x="5951489" y="3395063"/>
                </a:cubicBezTo>
                <a:cubicBezTo>
                  <a:pt x="5951489" y="3409151"/>
                  <a:pt x="5965577" y="3409151"/>
                  <a:pt x="5965577" y="3395063"/>
                </a:cubicBezTo>
                <a:cubicBezTo>
                  <a:pt x="5965577" y="3380976"/>
                  <a:pt x="5979666" y="3395063"/>
                  <a:pt x="5979666" y="3409151"/>
                </a:cubicBezTo>
                <a:cubicBezTo>
                  <a:pt x="5979666" y="3437327"/>
                  <a:pt x="5979666" y="3465501"/>
                  <a:pt x="5979666" y="3465501"/>
                </a:cubicBezTo>
                <a:cubicBezTo>
                  <a:pt x="5993753" y="3465501"/>
                  <a:pt x="5993753" y="3479588"/>
                  <a:pt x="5993753" y="3493676"/>
                </a:cubicBezTo>
                <a:cubicBezTo>
                  <a:pt x="5993753" y="3521850"/>
                  <a:pt x="5993753" y="3564112"/>
                  <a:pt x="5993753" y="3578200"/>
                </a:cubicBezTo>
                <a:cubicBezTo>
                  <a:pt x="5993753" y="3606375"/>
                  <a:pt x="5993753" y="3662725"/>
                  <a:pt x="5993753" y="3690899"/>
                </a:cubicBezTo>
                <a:cubicBezTo>
                  <a:pt x="5993753" y="3719074"/>
                  <a:pt x="5993753" y="3747248"/>
                  <a:pt x="5993753" y="3775423"/>
                </a:cubicBezTo>
                <a:cubicBezTo>
                  <a:pt x="5993753" y="3789512"/>
                  <a:pt x="5993753" y="3803599"/>
                  <a:pt x="5993753" y="3817686"/>
                </a:cubicBezTo>
                <a:cubicBezTo>
                  <a:pt x="5979666" y="3831773"/>
                  <a:pt x="5979666" y="3845861"/>
                  <a:pt x="5979666" y="3859948"/>
                </a:cubicBezTo>
                <a:cubicBezTo>
                  <a:pt x="5979666" y="3874035"/>
                  <a:pt x="5979666" y="3888123"/>
                  <a:pt x="5979666" y="3902210"/>
                </a:cubicBezTo>
                <a:cubicBezTo>
                  <a:pt x="5979666" y="3902210"/>
                  <a:pt x="5979666" y="3902210"/>
                  <a:pt x="5979666" y="3916297"/>
                </a:cubicBezTo>
                <a:cubicBezTo>
                  <a:pt x="5965577" y="3930385"/>
                  <a:pt x="5965577" y="3930385"/>
                  <a:pt x="5979666" y="3944472"/>
                </a:cubicBezTo>
                <a:cubicBezTo>
                  <a:pt x="5979666" y="3944472"/>
                  <a:pt x="5965577" y="3972648"/>
                  <a:pt x="5965577" y="4000822"/>
                </a:cubicBezTo>
                <a:cubicBezTo>
                  <a:pt x="5965577" y="4043084"/>
                  <a:pt x="5937400" y="4099433"/>
                  <a:pt x="5923313" y="4155784"/>
                </a:cubicBezTo>
                <a:cubicBezTo>
                  <a:pt x="5923313" y="4183958"/>
                  <a:pt x="5923313" y="4212133"/>
                  <a:pt x="5895136" y="4254395"/>
                </a:cubicBezTo>
                <a:cubicBezTo>
                  <a:pt x="5909224" y="4254395"/>
                  <a:pt x="5895136" y="4296657"/>
                  <a:pt x="5895136" y="4310744"/>
                </a:cubicBezTo>
                <a:cubicBezTo>
                  <a:pt x="5895136" y="4310744"/>
                  <a:pt x="5881047" y="4310744"/>
                  <a:pt x="5881047" y="4324833"/>
                </a:cubicBezTo>
                <a:cubicBezTo>
                  <a:pt x="5895136" y="4310744"/>
                  <a:pt x="5909224" y="4296657"/>
                  <a:pt x="5895136" y="4338920"/>
                </a:cubicBezTo>
                <a:cubicBezTo>
                  <a:pt x="5881047" y="4367095"/>
                  <a:pt x="5866960" y="4395269"/>
                  <a:pt x="5866960" y="4423444"/>
                </a:cubicBezTo>
                <a:cubicBezTo>
                  <a:pt x="5852872" y="4465706"/>
                  <a:pt x="5838783" y="4479793"/>
                  <a:pt x="5824694" y="4507969"/>
                </a:cubicBezTo>
                <a:cubicBezTo>
                  <a:pt x="5838783" y="4522056"/>
                  <a:pt x="5824694" y="4550231"/>
                  <a:pt x="5810607" y="4564318"/>
                </a:cubicBezTo>
                <a:cubicBezTo>
                  <a:pt x="5803563" y="4578405"/>
                  <a:pt x="5796519" y="4596015"/>
                  <a:pt x="5787714" y="4615385"/>
                </a:cubicBezTo>
                <a:lnTo>
                  <a:pt x="5764157" y="4658776"/>
                </a:lnTo>
                <a:lnTo>
                  <a:pt x="5776252" y="4654125"/>
                </a:lnTo>
                <a:cubicBezTo>
                  <a:pt x="5785057" y="4648842"/>
                  <a:pt x="5795623" y="4641799"/>
                  <a:pt x="5809711" y="4634755"/>
                </a:cubicBezTo>
                <a:cubicBezTo>
                  <a:pt x="5809711" y="4634755"/>
                  <a:pt x="5837888" y="4634755"/>
                  <a:pt x="5851976" y="4634755"/>
                </a:cubicBezTo>
                <a:cubicBezTo>
                  <a:pt x="5851976" y="4634755"/>
                  <a:pt x="5851976" y="4634755"/>
                  <a:pt x="5851976" y="4648842"/>
                </a:cubicBezTo>
                <a:cubicBezTo>
                  <a:pt x="5837888" y="4662929"/>
                  <a:pt x="5837888" y="4677018"/>
                  <a:pt x="5823800" y="4705192"/>
                </a:cubicBezTo>
                <a:cubicBezTo>
                  <a:pt x="5809711" y="4705192"/>
                  <a:pt x="5809711" y="4719280"/>
                  <a:pt x="5809711" y="4719280"/>
                </a:cubicBezTo>
                <a:cubicBezTo>
                  <a:pt x="5823800" y="4719280"/>
                  <a:pt x="5809711" y="4719280"/>
                  <a:pt x="5809711" y="4733367"/>
                </a:cubicBezTo>
                <a:cubicBezTo>
                  <a:pt x="5809711" y="4733367"/>
                  <a:pt x="5795623" y="4747454"/>
                  <a:pt x="5795623" y="4761542"/>
                </a:cubicBezTo>
                <a:cubicBezTo>
                  <a:pt x="5781535" y="4775629"/>
                  <a:pt x="5767447" y="4775629"/>
                  <a:pt x="5739270" y="4789716"/>
                </a:cubicBezTo>
                <a:lnTo>
                  <a:pt x="5738497" y="4795901"/>
                </a:lnTo>
                <a:lnTo>
                  <a:pt x="5745449" y="4791477"/>
                </a:lnTo>
                <a:cubicBezTo>
                  <a:pt x="5750732" y="4789716"/>
                  <a:pt x="5754254" y="4789716"/>
                  <a:pt x="5754254" y="4789716"/>
                </a:cubicBezTo>
                <a:cubicBezTo>
                  <a:pt x="5740166" y="4803804"/>
                  <a:pt x="5740166" y="4817891"/>
                  <a:pt x="5726077" y="4831978"/>
                </a:cubicBezTo>
                <a:lnTo>
                  <a:pt x="5712487" y="4850666"/>
                </a:lnTo>
                <a:lnTo>
                  <a:pt x="5751597" y="4826696"/>
                </a:lnTo>
                <a:cubicBezTo>
                  <a:pt x="5767447" y="4817891"/>
                  <a:pt x="5781535" y="4810847"/>
                  <a:pt x="5795623" y="4803804"/>
                </a:cubicBezTo>
                <a:cubicBezTo>
                  <a:pt x="5837888" y="4775629"/>
                  <a:pt x="5866064" y="4761542"/>
                  <a:pt x="5908329" y="4747454"/>
                </a:cubicBezTo>
                <a:cubicBezTo>
                  <a:pt x="5922417" y="4733367"/>
                  <a:pt x="5936506" y="4719280"/>
                  <a:pt x="5950593" y="4719280"/>
                </a:cubicBezTo>
                <a:cubicBezTo>
                  <a:pt x="5950593" y="4719280"/>
                  <a:pt x="5950593" y="4719280"/>
                  <a:pt x="6006946" y="4677018"/>
                </a:cubicBezTo>
                <a:cubicBezTo>
                  <a:pt x="6035123" y="4662929"/>
                  <a:pt x="6049212" y="4648842"/>
                  <a:pt x="6063299" y="4648842"/>
                </a:cubicBezTo>
                <a:cubicBezTo>
                  <a:pt x="6077388" y="4634755"/>
                  <a:pt x="6091476" y="4634755"/>
                  <a:pt x="6091476" y="4634755"/>
                </a:cubicBezTo>
                <a:cubicBezTo>
                  <a:pt x="6119652" y="4606580"/>
                  <a:pt x="6119652" y="4606580"/>
                  <a:pt x="6119652" y="4620667"/>
                </a:cubicBezTo>
                <a:cubicBezTo>
                  <a:pt x="6133741" y="4606580"/>
                  <a:pt x="6147829" y="4606580"/>
                  <a:pt x="6161916" y="4592493"/>
                </a:cubicBezTo>
                <a:cubicBezTo>
                  <a:pt x="6161916" y="4592493"/>
                  <a:pt x="6161916" y="4578406"/>
                  <a:pt x="6176005" y="4578406"/>
                </a:cubicBezTo>
                <a:cubicBezTo>
                  <a:pt x="6190093" y="4564318"/>
                  <a:pt x="6218269" y="4536144"/>
                  <a:pt x="6232358" y="4522056"/>
                </a:cubicBezTo>
                <a:cubicBezTo>
                  <a:pt x="6246446" y="4522056"/>
                  <a:pt x="6246446" y="4507969"/>
                  <a:pt x="6260535" y="4493882"/>
                </a:cubicBezTo>
                <a:cubicBezTo>
                  <a:pt x="6274622" y="4493882"/>
                  <a:pt x="6302799" y="4465706"/>
                  <a:pt x="6316888" y="4451619"/>
                </a:cubicBezTo>
                <a:cubicBezTo>
                  <a:pt x="6316888" y="4451619"/>
                  <a:pt x="6330975" y="4451619"/>
                  <a:pt x="6330975" y="4437531"/>
                </a:cubicBezTo>
                <a:cubicBezTo>
                  <a:pt x="6345064" y="4409357"/>
                  <a:pt x="6373240" y="4395269"/>
                  <a:pt x="6387328" y="4353007"/>
                </a:cubicBezTo>
                <a:cubicBezTo>
                  <a:pt x="6401417" y="4353007"/>
                  <a:pt x="6401417" y="4353007"/>
                  <a:pt x="6401417" y="4338920"/>
                </a:cubicBezTo>
                <a:cubicBezTo>
                  <a:pt x="6415505" y="4324833"/>
                  <a:pt x="6429593" y="4310744"/>
                  <a:pt x="6443681" y="4296657"/>
                </a:cubicBezTo>
                <a:cubicBezTo>
                  <a:pt x="6457770" y="4282570"/>
                  <a:pt x="6457770" y="4282570"/>
                  <a:pt x="6457770" y="4282570"/>
                </a:cubicBezTo>
                <a:cubicBezTo>
                  <a:pt x="6457770" y="4268482"/>
                  <a:pt x="6457770" y="4268482"/>
                  <a:pt x="6457770" y="4268482"/>
                </a:cubicBezTo>
                <a:cubicBezTo>
                  <a:pt x="6485946" y="4254395"/>
                  <a:pt x="6500034" y="4226221"/>
                  <a:pt x="6514123" y="4226221"/>
                </a:cubicBezTo>
                <a:cubicBezTo>
                  <a:pt x="6514123" y="4226221"/>
                  <a:pt x="6514123" y="4212133"/>
                  <a:pt x="6514123" y="4212133"/>
                </a:cubicBezTo>
                <a:cubicBezTo>
                  <a:pt x="6528211" y="4212133"/>
                  <a:pt x="6528211" y="4198046"/>
                  <a:pt x="6542298" y="4183958"/>
                </a:cubicBezTo>
                <a:cubicBezTo>
                  <a:pt x="6542298" y="4169871"/>
                  <a:pt x="6556387" y="4169871"/>
                  <a:pt x="6556387" y="4169871"/>
                </a:cubicBezTo>
                <a:cubicBezTo>
                  <a:pt x="6570476" y="4155784"/>
                  <a:pt x="6584563" y="4127608"/>
                  <a:pt x="6598651" y="4113521"/>
                </a:cubicBezTo>
                <a:cubicBezTo>
                  <a:pt x="6598651" y="4113521"/>
                  <a:pt x="6598651" y="4099433"/>
                  <a:pt x="6612740" y="4099433"/>
                </a:cubicBezTo>
                <a:cubicBezTo>
                  <a:pt x="6612740" y="4071259"/>
                  <a:pt x="6626829" y="4057172"/>
                  <a:pt x="6640916" y="4028997"/>
                </a:cubicBezTo>
                <a:cubicBezTo>
                  <a:pt x="6655004" y="4014910"/>
                  <a:pt x="6669093" y="3986735"/>
                  <a:pt x="6683181" y="3958560"/>
                </a:cubicBezTo>
                <a:cubicBezTo>
                  <a:pt x="6683181" y="3972648"/>
                  <a:pt x="6697269" y="3972648"/>
                  <a:pt x="6697269" y="3986735"/>
                </a:cubicBezTo>
                <a:cubicBezTo>
                  <a:pt x="6697269" y="4000822"/>
                  <a:pt x="6683181" y="4028997"/>
                  <a:pt x="6683181" y="4043084"/>
                </a:cubicBezTo>
                <a:cubicBezTo>
                  <a:pt x="6683181" y="4057172"/>
                  <a:pt x="6683181" y="4071259"/>
                  <a:pt x="6683181" y="4085346"/>
                </a:cubicBezTo>
                <a:cubicBezTo>
                  <a:pt x="6683181" y="4085346"/>
                  <a:pt x="6683181" y="4099433"/>
                  <a:pt x="6683181" y="4113521"/>
                </a:cubicBezTo>
                <a:cubicBezTo>
                  <a:pt x="6669093" y="4141697"/>
                  <a:pt x="6655004" y="4169871"/>
                  <a:pt x="6640916" y="4198046"/>
                </a:cubicBezTo>
                <a:cubicBezTo>
                  <a:pt x="6640916" y="4212133"/>
                  <a:pt x="6640916" y="4212133"/>
                  <a:pt x="6640916" y="4212133"/>
                </a:cubicBezTo>
                <a:cubicBezTo>
                  <a:pt x="6640916" y="4226221"/>
                  <a:pt x="6626829" y="4240308"/>
                  <a:pt x="6612740" y="4268482"/>
                </a:cubicBezTo>
                <a:cubicBezTo>
                  <a:pt x="6598651" y="4296657"/>
                  <a:pt x="6598651" y="4324833"/>
                  <a:pt x="6584563" y="4353007"/>
                </a:cubicBezTo>
                <a:cubicBezTo>
                  <a:pt x="6556387" y="4367095"/>
                  <a:pt x="6542298" y="4395269"/>
                  <a:pt x="6528211" y="4423444"/>
                </a:cubicBezTo>
                <a:cubicBezTo>
                  <a:pt x="6514123" y="4451619"/>
                  <a:pt x="6500034" y="4479793"/>
                  <a:pt x="6471858" y="4522056"/>
                </a:cubicBezTo>
                <a:cubicBezTo>
                  <a:pt x="6457770" y="4536144"/>
                  <a:pt x="6443681" y="4550231"/>
                  <a:pt x="6443681" y="4564318"/>
                </a:cubicBezTo>
                <a:cubicBezTo>
                  <a:pt x="6415505" y="4592493"/>
                  <a:pt x="6415505" y="4620667"/>
                  <a:pt x="6401417" y="4634755"/>
                </a:cubicBezTo>
                <a:cubicBezTo>
                  <a:pt x="6401417" y="4662929"/>
                  <a:pt x="6387328" y="4677018"/>
                  <a:pt x="6373240" y="4705192"/>
                </a:cubicBezTo>
                <a:cubicBezTo>
                  <a:pt x="6359152" y="4733367"/>
                  <a:pt x="6345064" y="4761542"/>
                  <a:pt x="6330975" y="4775629"/>
                </a:cubicBezTo>
                <a:cubicBezTo>
                  <a:pt x="6316888" y="4803804"/>
                  <a:pt x="6302799" y="4817891"/>
                  <a:pt x="6288711" y="4831978"/>
                </a:cubicBezTo>
                <a:cubicBezTo>
                  <a:pt x="6288711" y="4831978"/>
                  <a:pt x="6274622" y="4846067"/>
                  <a:pt x="6274622" y="4846067"/>
                </a:cubicBezTo>
                <a:cubicBezTo>
                  <a:pt x="6260535" y="4860154"/>
                  <a:pt x="6260535" y="4874241"/>
                  <a:pt x="6246446" y="4888329"/>
                </a:cubicBezTo>
                <a:cubicBezTo>
                  <a:pt x="6246446" y="4888329"/>
                  <a:pt x="6246446" y="4888329"/>
                  <a:pt x="6232358" y="4888329"/>
                </a:cubicBezTo>
                <a:cubicBezTo>
                  <a:pt x="6232358" y="4888329"/>
                  <a:pt x="6232358" y="4888329"/>
                  <a:pt x="6232358" y="4902416"/>
                </a:cubicBezTo>
                <a:cubicBezTo>
                  <a:pt x="6232358" y="4902416"/>
                  <a:pt x="6218269" y="4902416"/>
                  <a:pt x="6218269" y="4902416"/>
                </a:cubicBezTo>
                <a:cubicBezTo>
                  <a:pt x="6204182" y="4916503"/>
                  <a:pt x="6176005" y="4944678"/>
                  <a:pt x="6161916" y="4958765"/>
                </a:cubicBezTo>
                <a:cubicBezTo>
                  <a:pt x="6161916" y="4958765"/>
                  <a:pt x="6161916" y="4972852"/>
                  <a:pt x="6147829" y="4972852"/>
                </a:cubicBezTo>
                <a:cubicBezTo>
                  <a:pt x="6147829" y="4972852"/>
                  <a:pt x="6133741" y="4986940"/>
                  <a:pt x="6119652" y="4986940"/>
                </a:cubicBezTo>
                <a:cubicBezTo>
                  <a:pt x="6105565" y="5001027"/>
                  <a:pt x="6091476" y="5015114"/>
                  <a:pt x="6077388" y="5029203"/>
                </a:cubicBezTo>
                <a:cubicBezTo>
                  <a:pt x="6049212" y="5043290"/>
                  <a:pt x="6049212" y="5057378"/>
                  <a:pt x="6035123" y="5071465"/>
                </a:cubicBezTo>
                <a:cubicBezTo>
                  <a:pt x="6035123" y="5071465"/>
                  <a:pt x="6049212" y="5057378"/>
                  <a:pt x="6049212" y="5057378"/>
                </a:cubicBezTo>
                <a:cubicBezTo>
                  <a:pt x="6049212" y="5057378"/>
                  <a:pt x="6049212" y="5057378"/>
                  <a:pt x="6063299" y="5057378"/>
                </a:cubicBezTo>
                <a:cubicBezTo>
                  <a:pt x="6077388" y="5057378"/>
                  <a:pt x="6105565" y="5043290"/>
                  <a:pt x="6119652" y="5029203"/>
                </a:cubicBezTo>
                <a:cubicBezTo>
                  <a:pt x="6119652" y="5029203"/>
                  <a:pt x="6133741" y="5029203"/>
                  <a:pt x="6133741" y="5015114"/>
                </a:cubicBezTo>
                <a:cubicBezTo>
                  <a:pt x="6133741" y="5015114"/>
                  <a:pt x="6147829" y="5001027"/>
                  <a:pt x="6161916" y="4986940"/>
                </a:cubicBezTo>
                <a:cubicBezTo>
                  <a:pt x="6176005" y="4972852"/>
                  <a:pt x="6190093" y="4958765"/>
                  <a:pt x="6204182" y="4958765"/>
                </a:cubicBezTo>
                <a:lnTo>
                  <a:pt x="6218266" y="4944683"/>
                </a:lnTo>
                <a:lnTo>
                  <a:pt x="6191855" y="4972852"/>
                </a:lnTo>
                <a:cubicBezTo>
                  <a:pt x="6183050" y="4983418"/>
                  <a:pt x="6176005" y="4993983"/>
                  <a:pt x="6176005" y="5001027"/>
                </a:cubicBezTo>
                <a:cubicBezTo>
                  <a:pt x="6176005" y="5001027"/>
                  <a:pt x="6190093" y="4986940"/>
                  <a:pt x="6190093" y="4986940"/>
                </a:cubicBezTo>
                <a:cubicBezTo>
                  <a:pt x="6190093" y="4986940"/>
                  <a:pt x="6190093" y="4986940"/>
                  <a:pt x="6204182" y="4986940"/>
                </a:cubicBezTo>
                <a:cubicBezTo>
                  <a:pt x="6218269" y="4972852"/>
                  <a:pt x="6218269" y="4958765"/>
                  <a:pt x="6218269" y="4958765"/>
                </a:cubicBezTo>
                <a:cubicBezTo>
                  <a:pt x="6246446" y="4930591"/>
                  <a:pt x="6274622" y="4916503"/>
                  <a:pt x="6302799" y="4902416"/>
                </a:cubicBezTo>
                <a:cubicBezTo>
                  <a:pt x="6316888" y="4888329"/>
                  <a:pt x="6330975" y="4874241"/>
                  <a:pt x="6345064" y="4874241"/>
                </a:cubicBezTo>
                <a:cubicBezTo>
                  <a:pt x="6345064" y="4860154"/>
                  <a:pt x="6359152" y="4846067"/>
                  <a:pt x="6373240" y="4831978"/>
                </a:cubicBezTo>
                <a:cubicBezTo>
                  <a:pt x="6387328" y="4817891"/>
                  <a:pt x="6401417" y="4803804"/>
                  <a:pt x="6415505" y="4789716"/>
                </a:cubicBezTo>
                <a:cubicBezTo>
                  <a:pt x="6429593" y="4775629"/>
                  <a:pt x="6457770" y="4761542"/>
                  <a:pt x="6457770" y="4747454"/>
                </a:cubicBezTo>
                <a:cubicBezTo>
                  <a:pt x="6485946" y="4733367"/>
                  <a:pt x="6500034" y="4705192"/>
                  <a:pt x="6514123" y="4691105"/>
                </a:cubicBezTo>
                <a:cubicBezTo>
                  <a:pt x="6514123" y="4691105"/>
                  <a:pt x="6528211" y="4691105"/>
                  <a:pt x="6528211" y="4691105"/>
                </a:cubicBezTo>
                <a:cubicBezTo>
                  <a:pt x="6542298" y="4677018"/>
                  <a:pt x="6570476" y="4648842"/>
                  <a:pt x="6584563" y="4634755"/>
                </a:cubicBezTo>
                <a:cubicBezTo>
                  <a:pt x="6612740" y="4606580"/>
                  <a:pt x="6640916" y="4578406"/>
                  <a:pt x="6655004" y="4550231"/>
                </a:cubicBezTo>
                <a:cubicBezTo>
                  <a:pt x="6669093" y="4536144"/>
                  <a:pt x="6669093" y="4522056"/>
                  <a:pt x="6683181" y="4522056"/>
                </a:cubicBezTo>
                <a:cubicBezTo>
                  <a:pt x="6697269" y="4522056"/>
                  <a:pt x="6697269" y="4522056"/>
                  <a:pt x="6683181" y="4536144"/>
                </a:cubicBezTo>
                <a:cubicBezTo>
                  <a:pt x="6669093" y="4564318"/>
                  <a:pt x="6669093" y="4578406"/>
                  <a:pt x="6669093" y="4592493"/>
                </a:cubicBezTo>
                <a:cubicBezTo>
                  <a:pt x="6669093" y="4592493"/>
                  <a:pt x="6669093" y="4606580"/>
                  <a:pt x="6669093" y="4606580"/>
                </a:cubicBezTo>
                <a:cubicBezTo>
                  <a:pt x="6669093" y="4620667"/>
                  <a:pt x="6640916" y="4662929"/>
                  <a:pt x="6640916" y="4677018"/>
                </a:cubicBezTo>
                <a:cubicBezTo>
                  <a:pt x="6598651" y="4733367"/>
                  <a:pt x="6570476" y="4803804"/>
                  <a:pt x="6514123" y="4860154"/>
                </a:cubicBezTo>
                <a:cubicBezTo>
                  <a:pt x="6471858" y="4902416"/>
                  <a:pt x="6443681" y="4944678"/>
                  <a:pt x="6401417" y="4986940"/>
                </a:cubicBezTo>
                <a:cubicBezTo>
                  <a:pt x="6387328" y="5001027"/>
                  <a:pt x="6373240" y="5015114"/>
                  <a:pt x="6359152" y="5015114"/>
                </a:cubicBezTo>
                <a:cubicBezTo>
                  <a:pt x="6359152" y="5029203"/>
                  <a:pt x="6345064" y="5043290"/>
                  <a:pt x="6330975" y="5057378"/>
                </a:cubicBezTo>
                <a:cubicBezTo>
                  <a:pt x="6302799" y="5071465"/>
                  <a:pt x="6288711" y="5099639"/>
                  <a:pt x="6274622" y="5113727"/>
                </a:cubicBezTo>
                <a:cubicBezTo>
                  <a:pt x="6246446" y="5155989"/>
                  <a:pt x="6190093" y="5184163"/>
                  <a:pt x="6147829" y="5212339"/>
                </a:cubicBezTo>
                <a:cubicBezTo>
                  <a:pt x="6119652" y="5240514"/>
                  <a:pt x="6091476" y="5268688"/>
                  <a:pt x="6063299" y="5282776"/>
                </a:cubicBezTo>
                <a:cubicBezTo>
                  <a:pt x="6063299" y="5296863"/>
                  <a:pt x="6049212" y="5296863"/>
                  <a:pt x="6063299" y="5296863"/>
                </a:cubicBezTo>
                <a:cubicBezTo>
                  <a:pt x="6105565" y="5268688"/>
                  <a:pt x="6147829" y="5254601"/>
                  <a:pt x="6190093" y="5226426"/>
                </a:cubicBezTo>
                <a:cubicBezTo>
                  <a:pt x="6204182" y="5212339"/>
                  <a:pt x="6218269" y="5212339"/>
                  <a:pt x="6218269" y="5198252"/>
                </a:cubicBezTo>
                <a:cubicBezTo>
                  <a:pt x="6218269" y="5198252"/>
                  <a:pt x="6218269" y="5198252"/>
                  <a:pt x="6220031" y="5198252"/>
                </a:cubicBezTo>
                <a:lnTo>
                  <a:pt x="6228836" y="5198252"/>
                </a:lnTo>
                <a:lnTo>
                  <a:pt x="6232358" y="5198252"/>
                </a:lnTo>
                <a:cubicBezTo>
                  <a:pt x="6260535" y="5184163"/>
                  <a:pt x="6288711" y="5155989"/>
                  <a:pt x="6330975" y="5127814"/>
                </a:cubicBezTo>
                <a:cubicBezTo>
                  <a:pt x="6359152" y="5113727"/>
                  <a:pt x="6401417" y="5085552"/>
                  <a:pt x="6429593" y="5071465"/>
                </a:cubicBezTo>
                <a:cubicBezTo>
                  <a:pt x="6429593" y="5057378"/>
                  <a:pt x="6443681" y="5057378"/>
                  <a:pt x="6443681" y="5057378"/>
                </a:cubicBezTo>
                <a:cubicBezTo>
                  <a:pt x="6457770" y="5043290"/>
                  <a:pt x="6485946" y="5029203"/>
                  <a:pt x="6500034" y="5015114"/>
                </a:cubicBezTo>
                <a:cubicBezTo>
                  <a:pt x="6542298" y="4986940"/>
                  <a:pt x="6570476" y="4986940"/>
                  <a:pt x="6556387" y="5001027"/>
                </a:cubicBezTo>
                <a:cubicBezTo>
                  <a:pt x="6556387" y="5015114"/>
                  <a:pt x="6556387" y="5029203"/>
                  <a:pt x="6542298" y="5043290"/>
                </a:cubicBezTo>
                <a:cubicBezTo>
                  <a:pt x="6514123" y="5057378"/>
                  <a:pt x="6514123" y="5071465"/>
                  <a:pt x="6500034" y="5099639"/>
                </a:cubicBezTo>
                <a:cubicBezTo>
                  <a:pt x="6500034" y="5099639"/>
                  <a:pt x="6500034" y="5099639"/>
                  <a:pt x="6514123" y="5099639"/>
                </a:cubicBezTo>
                <a:cubicBezTo>
                  <a:pt x="6514123" y="5085552"/>
                  <a:pt x="6514123" y="5085552"/>
                  <a:pt x="6514123" y="5085552"/>
                </a:cubicBezTo>
                <a:cubicBezTo>
                  <a:pt x="6514123" y="5085552"/>
                  <a:pt x="6514123" y="5085552"/>
                  <a:pt x="6528211" y="5085552"/>
                </a:cubicBezTo>
                <a:cubicBezTo>
                  <a:pt x="6528211" y="5071465"/>
                  <a:pt x="6528211" y="5071465"/>
                  <a:pt x="6542298" y="5071465"/>
                </a:cubicBezTo>
                <a:cubicBezTo>
                  <a:pt x="6556387" y="5043290"/>
                  <a:pt x="6556387" y="5029203"/>
                  <a:pt x="6584563" y="5015114"/>
                </a:cubicBezTo>
                <a:cubicBezTo>
                  <a:pt x="6584563" y="5015114"/>
                  <a:pt x="6584563" y="5015114"/>
                  <a:pt x="6598651" y="5001027"/>
                </a:cubicBezTo>
                <a:cubicBezTo>
                  <a:pt x="6598651" y="4986940"/>
                  <a:pt x="6598651" y="4986940"/>
                  <a:pt x="6598651" y="4986940"/>
                </a:cubicBezTo>
                <a:cubicBezTo>
                  <a:pt x="6598651" y="4986940"/>
                  <a:pt x="6598651" y="4986940"/>
                  <a:pt x="6612740" y="4986940"/>
                </a:cubicBezTo>
                <a:cubicBezTo>
                  <a:pt x="6612740" y="4972852"/>
                  <a:pt x="6612740" y="4972852"/>
                  <a:pt x="6612740" y="4972852"/>
                </a:cubicBezTo>
                <a:cubicBezTo>
                  <a:pt x="6626829" y="4972852"/>
                  <a:pt x="6612740" y="4972852"/>
                  <a:pt x="6626829" y="4972852"/>
                </a:cubicBezTo>
                <a:cubicBezTo>
                  <a:pt x="6626829" y="4972852"/>
                  <a:pt x="6626829" y="4972852"/>
                  <a:pt x="6626829" y="4958765"/>
                </a:cubicBezTo>
                <a:cubicBezTo>
                  <a:pt x="6612740" y="4972852"/>
                  <a:pt x="6612740" y="4958765"/>
                  <a:pt x="6626829" y="4944678"/>
                </a:cubicBezTo>
                <a:lnTo>
                  <a:pt x="6630350" y="4944678"/>
                </a:lnTo>
                <a:lnTo>
                  <a:pt x="6633872" y="4944678"/>
                </a:lnTo>
                <a:cubicBezTo>
                  <a:pt x="6637394" y="4944678"/>
                  <a:pt x="6640916" y="4944678"/>
                  <a:pt x="6640916" y="4944678"/>
                </a:cubicBezTo>
                <a:cubicBezTo>
                  <a:pt x="6640916" y="4944678"/>
                  <a:pt x="6626829" y="4944678"/>
                  <a:pt x="6640916" y="4930591"/>
                </a:cubicBezTo>
                <a:cubicBezTo>
                  <a:pt x="6655004" y="4916503"/>
                  <a:pt x="6640916" y="4916503"/>
                  <a:pt x="6655004" y="4902416"/>
                </a:cubicBezTo>
                <a:cubicBezTo>
                  <a:pt x="6669093" y="4902416"/>
                  <a:pt x="6669093" y="4902416"/>
                  <a:pt x="6669093" y="4902416"/>
                </a:cubicBezTo>
                <a:cubicBezTo>
                  <a:pt x="6683181" y="4902416"/>
                  <a:pt x="6683181" y="4888329"/>
                  <a:pt x="6683181" y="4902416"/>
                </a:cubicBezTo>
                <a:cubicBezTo>
                  <a:pt x="6683181" y="4916503"/>
                  <a:pt x="6697269" y="4902416"/>
                  <a:pt x="6711357" y="4902416"/>
                </a:cubicBezTo>
                <a:cubicBezTo>
                  <a:pt x="6711357" y="4888329"/>
                  <a:pt x="6725446" y="4888329"/>
                  <a:pt x="6725446" y="4874241"/>
                </a:cubicBezTo>
                <a:cubicBezTo>
                  <a:pt x="6753622" y="4846067"/>
                  <a:pt x="6795887" y="4817891"/>
                  <a:pt x="6809975" y="4775629"/>
                </a:cubicBezTo>
                <a:cubicBezTo>
                  <a:pt x="6809975" y="4775629"/>
                  <a:pt x="6809975" y="4775629"/>
                  <a:pt x="6824063" y="4761542"/>
                </a:cubicBezTo>
                <a:cubicBezTo>
                  <a:pt x="6824063" y="4761542"/>
                  <a:pt x="6824063" y="4761542"/>
                  <a:pt x="6809975" y="4761542"/>
                </a:cubicBezTo>
                <a:cubicBezTo>
                  <a:pt x="6824063" y="4761542"/>
                  <a:pt x="6824063" y="4747454"/>
                  <a:pt x="6838152" y="4747454"/>
                </a:cubicBezTo>
                <a:cubicBezTo>
                  <a:pt x="6852240" y="4705192"/>
                  <a:pt x="6880416" y="4662929"/>
                  <a:pt x="6908593" y="4634755"/>
                </a:cubicBezTo>
                <a:cubicBezTo>
                  <a:pt x="6908593" y="4634755"/>
                  <a:pt x="6908593" y="4634755"/>
                  <a:pt x="6922681" y="4620667"/>
                </a:cubicBezTo>
                <a:cubicBezTo>
                  <a:pt x="6922681" y="4606580"/>
                  <a:pt x="6936769" y="4606580"/>
                  <a:pt x="6936769" y="4606580"/>
                </a:cubicBezTo>
                <a:cubicBezTo>
                  <a:pt x="6936769" y="4606580"/>
                  <a:pt x="6950858" y="4592493"/>
                  <a:pt x="6950858" y="4592493"/>
                </a:cubicBezTo>
                <a:cubicBezTo>
                  <a:pt x="6950858" y="4592493"/>
                  <a:pt x="6950858" y="4592493"/>
                  <a:pt x="6964945" y="4564318"/>
                </a:cubicBezTo>
                <a:cubicBezTo>
                  <a:pt x="6964945" y="4564318"/>
                  <a:pt x="6964945" y="4564318"/>
                  <a:pt x="6993122" y="4536144"/>
                </a:cubicBezTo>
                <a:cubicBezTo>
                  <a:pt x="6993122" y="4536144"/>
                  <a:pt x="6993122" y="4522056"/>
                  <a:pt x="6993122" y="4522056"/>
                </a:cubicBezTo>
                <a:cubicBezTo>
                  <a:pt x="6993122" y="4522056"/>
                  <a:pt x="7007211" y="4507969"/>
                  <a:pt x="7007211" y="4507969"/>
                </a:cubicBezTo>
                <a:cubicBezTo>
                  <a:pt x="7021298" y="4507969"/>
                  <a:pt x="7021298" y="4493882"/>
                  <a:pt x="7035386" y="4479793"/>
                </a:cubicBezTo>
                <a:cubicBezTo>
                  <a:pt x="7035386" y="4465706"/>
                  <a:pt x="7049475" y="4451619"/>
                  <a:pt x="7063564" y="4437531"/>
                </a:cubicBezTo>
                <a:cubicBezTo>
                  <a:pt x="7077651" y="4409357"/>
                  <a:pt x="7091739" y="4395269"/>
                  <a:pt x="7091739" y="4381182"/>
                </a:cubicBezTo>
                <a:cubicBezTo>
                  <a:pt x="7091739" y="4381182"/>
                  <a:pt x="7091739" y="4367095"/>
                  <a:pt x="7091739" y="4367095"/>
                </a:cubicBezTo>
                <a:cubicBezTo>
                  <a:pt x="7105828" y="4338920"/>
                  <a:pt x="7119917" y="4310744"/>
                  <a:pt x="7148092" y="4268482"/>
                </a:cubicBezTo>
                <a:cubicBezTo>
                  <a:pt x="7148092" y="4268482"/>
                  <a:pt x="7148092" y="4254395"/>
                  <a:pt x="7148092" y="4254395"/>
                </a:cubicBezTo>
                <a:cubicBezTo>
                  <a:pt x="7148092" y="4240308"/>
                  <a:pt x="7162181" y="4240308"/>
                  <a:pt x="7162181" y="4226221"/>
                </a:cubicBezTo>
                <a:cubicBezTo>
                  <a:pt x="7162181" y="4212133"/>
                  <a:pt x="7190357" y="4169871"/>
                  <a:pt x="7204445" y="4141697"/>
                </a:cubicBezTo>
                <a:cubicBezTo>
                  <a:pt x="7204445" y="4127608"/>
                  <a:pt x="7204445" y="4113521"/>
                  <a:pt x="7218534" y="4099433"/>
                </a:cubicBezTo>
                <a:cubicBezTo>
                  <a:pt x="7232621" y="4057172"/>
                  <a:pt x="7246710" y="4000822"/>
                  <a:pt x="7260798" y="3958560"/>
                </a:cubicBezTo>
                <a:cubicBezTo>
                  <a:pt x="7260798" y="3944472"/>
                  <a:pt x="7274887" y="3930385"/>
                  <a:pt x="7274887" y="3916297"/>
                </a:cubicBezTo>
                <a:cubicBezTo>
                  <a:pt x="7274887" y="3916297"/>
                  <a:pt x="7274887" y="3916297"/>
                  <a:pt x="7288974" y="3888123"/>
                </a:cubicBezTo>
                <a:cubicBezTo>
                  <a:pt x="7303063" y="3845861"/>
                  <a:pt x="7303063" y="3803599"/>
                  <a:pt x="7317151" y="3775423"/>
                </a:cubicBezTo>
                <a:cubicBezTo>
                  <a:pt x="7331240" y="3747248"/>
                  <a:pt x="7345327" y="3719074"/>
                  <a:pt x="7345327" y="3690899"/>
                </a:cubicBezTo>
                <a:cubicBezTo>
                  <a:pt x="7345327" y="3662725"/>
                  <a:pt x="7345327" y="3620463"/>
                  <a:pt x="7359416" y="3592287"/>
                </a:cubicBezTo>
                <a:cubicBezTo>
                  <a:pt x="7373504" y="3578200"/>
                  <a:pt x="7373504" y="3564112"/>
                  <a:pt x="7373504" y="3564112"/>
                </a:cubicBezTo>
                <a:cubicBezTo>
                  <a:pt x="7373504" y="3535938"/>
                  <a:pt x="7373504" y="3521850"/>
                  <a:pt x="7387591" y="3521850"/>
                </a:cubicBezTo>
                <a:cubicBezTo>
                  <a:pt x="7387591" y="3507763"/>
                  <a:pt x="7387591" y="3493676"/>
                  <a:pt x="7387591" y="3479588"/>
                </a:cubicBezTo>
                <a:cubicBezTo>
                  <a:pt x="7401680" y="3437327"/>
                  <a:pt x="7401680" y="3409151"/>
                  <a:pt x="7401680" y="3366889"/>
                </a:cubicBezTo>
                <a:cubicBezTo>
                  <a:pt x="7401680" y="3352801"/>
                  <a:pt x="7415769" y="3324627"/>
                  <a:pt x="7401680" y="3310540"/>
                </a:cubicBezTo>
                <a:cubicBezTo>
                  <a:pt x="7401680" y="3282365"/>
                  <a:pt x="7415769" y="3268278"/>
                  <a:pt x="7415769" y="3240102"/>
                </a:cubicBezTo>
                <a:cubicBezTo>
                  <a:pt x="7415769" y="3226015"/>
                  <a:pt x="7429857" y="3211927"/>
                  <a:pt x="7429857" y="3211927"/>
                </a:cubicBezTo>
                <a:cubicBezTo>
                  <a:pt x="7443944" y="3183753"/>
                  <a:pt x="7443944" y="3183753"/>
                  <a:pt x="7443944" y="3226015"/>
                </a:cubicBezTo>
                <a:cubicBezTo>
                  <a:pt x="7443944" y="3254190"/>
                  <a:pt x="7443944" y="3268278"/>
                  <a:pt x="7443944" y="3282365"/>
                </a:cubicBezTo>
                <a:cubicBezTo>
                  <a:pt x="7443944" y="3296452"/>
                  <a:pt x="7443944" y="3310540"/>
                  <a:pt x="7443944" y="3324627"/>
                </a:cubicBezTo>
                <a:lnTo>
                  <a:pt x="7443944" y="3352801"/>
                </a:lnTo>
                <a:cubicBezTo>
                  <a:pt x="7458033" y="3352801"/>
                  <a:pt x="7458033" y="3352801"/>
                  <a:pt x="7458033" y="3352801"/>
                </a:cubicBezTo>
                <a:cubicBezTo>
                  <a:pt x="7472122" y="3324627"/>
                  <a:pt x="7472122" y="3324627"/>
                  <a:pt x="7472122" y="3338714"/>
                </a:cubicBezTo>
                <a:cubicBezTo>
                  <a:pt x="7486210" y="3338714"/>
                  <a:pt x="7500297" y="3324627"/>
                  <a:pt x="7500297" y="3282365"/>
                </a:cubicBezTo>
                <a:cubicBezTo>
                  <a:pt x="7500297" y="3268278"/>
                  <a:pt x="7500297" y="3268278"/>
                  <a:pt x="7514386" y="3254190"/>
                </a:cubicBezTo>
                <a:cubicBezTo>
                  <a:pt x="7514386" y="3268278"/>
                  <a:pt x="7514386" y="3268278"/>
                  <a:pt x="7514386" y="3268278"/>
                </a:cubicBezTo>
                <a:cubicBezTo>
                  <a:pt x="7514386" y="3268278"/>
                  <a:pt x="7514386" y="3282365"/>
                  <a:pt x="7514386" y="3282365"/>
                </a:cubicBezTo>
                <a:cubicBezTo>
                  <a:pt x="7528474" y="3296452"/>
                  <a:pt x="7542563" y="3296452"/>
                  <a:pt x="7542563" y="3296452"/>
                </a:cubicBezTo>
                <a:cubicBezTo>
                  <a:pt x="7556650" y="3310540"/>
                  <a:pt x="7570739" y="3338714"/>
                  <a:pt x="7570739" y="3395063"/>
                </a:cubicBezTo>
                <a:cubicBezTo>
                  <a:pt x="7570739" y="3409151"/>
                  <a:pt x="7584827" y="3409151"/>
                  <a:pt x="7584827" y="3395063"/>
                </a:cubicBezTo>
                <a:cubicBezTo>
                  <a:pt x="7584827" y="3380976"/>
                  <a:pt x="7598916" y="3395063"/>
                  <a:pt x="7598916" y="3409151"/>
                </a:cubicBezTo>
                <a:cubicBezTo>
                  <a:pt x="7598916" y="3437327"/>
                  <a:pt x="7598916" y="3465501"/>
                  <a:pt x="7598916" y="3465501"/>
                </a:cubicBezTo>
                <a:cubicBezTo>
                  <a:pt x="7613003" y="3465501"/>
                  <a:pt x="7613003" y="3479588"/>
                  <a:pt x="7613003" y="3493676"/>
                </a:cubicBezTo>
                <a:cubicBezTo>
                  <a:pt x="7613003" y="3521850"/>
                  <a:pt x="7613003" y="3564112"/>
                  <a:pt x="7613003" y="3578200"/>
                </a:cubicBezTo>
                <a:cubicBezTo>
                  <a:pt x="7613003" y="3606375"/>
                  <a:pt x="7613003" y="3662725"/>
                  <a:pt x="7613003" y="3690899"/>
                </a:cubicBezTo>
                <a:cubicBezTo>
                  <a:pt x="7613003" y="3719074"/>
                  <a:pt x="7613003" y="3747248"/>
                  <a:pt x="7613003" y="3775423"/>
                </a:cubicBezTo>
                <a:cubicBezTo>
                  <a:pt x="7613003" y="3789512"/>
                  <a:pt x="7613003" y="3803599"/>
                  <a:pt x="7613003" y="3817686"/>
                </a:cubicBezTo>
                <a:cubicBezTo>
                  <a:pt x="7598916" y="3831773"/>
                  <a:pt x="7598916" y="3845861"/>
                  <a:pt x="7598916" y="3859948"/>
                </a:cubicBezTo>
                <a:cubicBezTo>
                  <a:pt x="7598916" y="3874035"/>
                  <a:pt x="7598916" y="3888123"/>
                  <a:pt x="7598916" y="3902210"/>
                </a:cubicBezTo>
                <a:cubicBezTo>
                  <a:pt x="7598916" y="3902210"/>
                  <a:pt x="7598916" y="3902210"/>
                  <a:pt x="7598916" y="3916297"/>
                </a:cubicBezTo>
                <a:cubicBezTo>
                  <a:pt x="7584827" y="3930385"/>
                  <a:pt x="7584827" y="3930385"/>
                  <a:pt x="7598916" y="3944472"/>
                </a:cubicBezTo>
                <a:cubicBezTo>
                  <a:pt x="7598916" y="3944472"/>
                  <a:pt x="7584827" y="3972648"/>
                  <a:pt x="7584827" y="4000822"/>
                </a:cubicBezTo>
                <a:cubicBezTo>
                  <a:pt x="7584827" y="4043084"/>
                  <a:pt x="7556650" y="4099433"/>
                  <a:pt x="7542563" y="4155784"/>
                </a:cubicBezTo>
                <a:cubicBezTo>
                  <a:pt x="7542563" y="4183958"/>
                  <a:pt x="7542563" y="4212133"/>
                  <a:pt x="7514386" y="4254395"/>
                </a:cubicBezTo>
                <a:cubicBezTo>
                  <a:pt x="7528474" y="4254395"/>
                  <a:pt x="7514386" y="4296657"/>
                  <a:pt x="7514386" y="4310744"/>
                </a:cubicBezTo>
                <a:cubicBezTo>
                  <a:pt x="7514386" y="4310744"/>
                  <a:pt x="7500297" y="4310744"/>
                  <a:pt x="7500297" y="4324833"/>
                </a:cubicBezTo>
                <a:cubicBezTo>
                  <a:pt x="7514386" y="4310744"/>
                  <a:pt x="7528474" y="4296657"/>
                  <a:pt x="7514386" y="4338920"/>
                </a:cubicBezTo>
                <a:cubicBezTo>
                  <a:pt x="7500297" y="4367095"/>
                  <a:pt x="7486210" y="4395269"/>
                  <a:pt x="7486210" y="4423444"/>
                </a:cubicBezTo>
                <a:cubicBezTo>
                  <a:pt x="7472122" y="4465706"/>
                  <a:pt x="7458033" y="4479793"/>
                  <a:pt x="7443944" y="4507969"/>
                </a:cubicBezTo>
                <a:cubicBezTo>
                  <a:pt x="7458033" y="4522056"/>
                  <a:pt x="7443944" y="4550231"/>
                  <a:pt x="7429857" y="4564318"/>
                </a:cubicBezTo>
                <a:cubicBezTo>
                  <a:pt x="7415769" y="4592493"/>
                  <a:pt x="7401680" y="4634755"/>
                  <a:pt x="7373504" y="4677018"/>
                </a:cubicBezTo>
                <a:cubicBezTo>
                  <a:pt x="7373504" y="4705192"/>
                  <a:pt x="7345327" y="4747454"/>
                  <a:pt x="7359416" y="4733367"/>
                </a:cubicBezTo>
                <a:cubicBezTo>
                  <a:pt x="7359416" y="4733367"/>
                  <a:pt x="7345327" y="4747454"/>
                  <a:pt x="7345327" y="4761542"/>
                </a:cubicBezTo>
                <a:cubicBezTo>
                  <a:pt x="7331240" y="4789716"/>
                  <a:pt x="7303063" y="4817891"/>
                  <a:pt x="7303063" y="4846067"/>
                </a:cubicBezTo>
                <a:cubicBezTo>
                  <a:pt x="7288974" y="4860154"/>
                  <a:pt x="7303063" y="4846067"/>
                  <a:pt x="7303063" y="4846067"/>
                </a:cubicBezTo>
                <a:cubicBezTo>
                  <a:pt x="7317151" y="4831978"/>
                  <a:pt x="7331240" y="4817891"/>
                  <a:pt x="7345327" y="4803804"/>
                </a:cubicBezTo>
                <a:cubicBezTo>
                  <a:pt x="7359416" y="4789716"/>
                  <a:pt x="7373504" y="4789716"/>
                  <a:pt x="7373504" y="4789716"/>
                </a:cubicBezTo>
                <a:cubicBezTo>
                  <a:pt x="7359416" y="4803804"/>
                  <a:pt x="7359416" y="4817891"/>
                  <a:pt x="7345327" y="4831978"/>
                </a:cubicBezTo>
                <a:cubicBezTo>
                  <a:pt x="7331240" y="4846067"/>
                  <a:pt x="7331240" y="4860154"/>
                  <a:pt x="7317151" y="4860154"/>
                </a:cubicBezTo>
                <a:cubicBezTo>
                  <a:pt x="7317151" y="4874241"/>
                  <a:pt x="7303063" y="4888329"/>
                  <a:pt x="7288974" y="4902416"/>
                </a:cubicBezTo>
                <a:cubicBezTo>
                  <a:pt x="7260798" y="4944678"/>
                  <a:pt x="7246710" y="4958765"/>
                  <a:pt x="7246710" y="4972852"/>
                </a:cubicBezTo>
                <a:cubicBezTo>
                  <a:pt x="7232621" y="4986940"/>
                  <a:pt x="7232621" y="5001027"/>
                  <a:pt x="7218534" y="5015114"/>
                </a:cubicBezTo>
                <a:cubicBezTo>
                  <a:pt x="7204445" y="5029203"/>
                  <a:pt x="7204445" y="5043290"/>
                  <a:pt x="7190357" y="5071465"/>
                </a:cubicBezTo>
                <a:cubicBezTo>
                  <a:pt x="7176268" y="5071465"/>
                  <a:pt x="7162181" y="5085552"/>
                  <a:pt x="7162181" y="5099639"/>
                </a:cubicBezTo>
                <a:cubicBezTo>
                  <a:pt x="7162181" y="5099639"/>
                  <a:pt x="7148092" y="5113727"/>
                  <a:pt x="7134004" y="5127814"/>
                </a:cubicBezTo>
                <a:cubicBezTo>
                  <a:pt x="7134004" y="5141901"/>
                  <a:pt x="7105828" y="5170076"/>
                  <a:pt x="7119917" y="5170076"/>
                </a:cubicBezTo>
                <a:cubicBezTo>
                  <a:pt x="7119917" y="5170076"/>
                  <a:pt x="7119917" y="5184163"/>
                  <a:pt x="7105828" y="5184163"/>
                </a:cubicBezTo>
                <a:cubicBezTo>
                  <a:pt x="7091739" y="5212339"/>
                  <a:pt x="7091739" y="5212339"/>
                  <a:pt x="7119917" y="5198252"/>
                </a:cubicBezTo>
                <a:cubicBezTo>
                  <a:pt x="7119917" y="5184163"/>
                  <a:pt x="7119917" y="5184163"/>
                  <a:pt x="7134004" y="5184163"/>
                </a:cubicBezTo>
                <a:cubicBezTo>
                  <a:pt x="7134004" y="5184163"/>
                  <a:pt x="7134004" y="5198252"/>
                  <a:pt x="7162181" y="5170076"/>
                </a:cubicBezTo>
                <a:cubicBezTo>
                  <a:pt x="7162181" y="5184163"/>
                  <a:pt x="7134004" y="5198252"/>
                  <a:pt x="7134004" y="5198252"/>
                </a:cubicBezTo>
                <a:cubicBezTo>
                  <a:pt x="7148092" y="5212339"/>
                  <a:pt x="7148092" y="5212339"/>
                  <a:pt x="7148092" y="5212339"/>
                </a:cubicBezTo>
                <a:cubicBezTo>
                  <a:pt x="7162181" y="5212339"/>
                  <a:pt x="7176268" y="5198252"/>
                  <a:pt x="7190357" y="5184163"/>
                </a:cubicBezTo>
                <a:cubicBezTo>
                  <a:pt x="7232621" y="5155989"/>
                  <a:pt x="7260798" y="5141901"/>
                  <a:pt x="7303063" y="5099639"/>
                </a:cubicBezTo>
                <a:cubicBezTo>
                  <a:pt x="7303063" y="5085552"/>
                  <a:pt x="7317151" y="5085552"/>
                  <a:pt x="7317151" y="5085552"/>
                </a:cubicBezTo>
                <a:cubicBezTo>
                  <a:pt x="7317151" y="5085552"/>
                  <a:pt x="7303063" y="5099639"/>
                  <a:pt x="7303063" y="5113727"/>
                </a:cubicBezTo>
                <a:cubicBezTo>
                  <a:pt x="7274887" y="5141901"/>
                  <a:pt x="7246710" y="5170076"/>
                  <a:pt x="7218534" y="5198252"/>
                </a:cubicBezTo>
                <a:cubicBezTo>
                  <a:pt x="7218534" y="5212339"/>
                  <a:pt x="7218534" y="5212339"/>
                  <a:pt x="7218534" y="5212339"/>
                </a:cubicBezTo>
                <a:cubicBezTo>
                  <a:pt x="7204445" y="5212339"/>
                  <a:pt x="7204445" y="5226426"/>
                  <a:pt x="7204445" y="5226426"/>
                </a:cubicBezTo>
                <a:cubicBezTo>
                  <a:pt x="7190357" y="5240514"/>
                  <a:pt x="7190357" y="5240514"/>
                  <a:pt x="7190357" y="5240514"/>
                </a:cubicBezTo>
                <a:cubicBezTo>
                  <a:pt x="7190357" y="5240514"/>
                  <a:pt x="7190357" y="5240514"/>
                  <a:pt x="7176268" y="5254601"/>
                </a:cubicBezTo>
                <a:cubicBezTo>
                  <a:pt x="7162181" y="5268688"/>
                  <a:pt x="7148092" y="5282776"/>
                  <a:pt x="7134004" y="5296863"/>
                </a:cubicBezTo>
                <a:cubicBezTo>
                  <a:pt x="7119917" y="5325037"/>
                  <a:pt x="7091739" y="5353213"/>
                  <a:pt x="7077651" y="5367301"/>
                </a:cubicBezTo>
                <a:cubicBezTo>
                  <a:pt x="7021298" y="5409563"/>
                  <a:pt x="6979034" y="5451824"/>
                  <a:pt x="6936769" y="5494086"/>
                </a:cubicBezTo>
                <a:cubicBezTo>
                  <a:pt x="6922681" y="5494086"/>
                  <a:pt x="6922681" y="5508174"/>
                  <a:pt x="6908593" y="5508174"/>
                </a:cubicBezTo>
                <a:cubicBezTo>
                  <a:pt x="6880416" y="5536349"/>
                  <a:pt x="6880416" y="5550437"/>
                  <a:pt x="6894505" y="5536349"/>
                </a:cubicBezTo>
                <a:cubicBezTo>
                  <a:pt x="6908593" y="5536349"/>
                  <a:pt x="6922681" y="5522261"/>
                  <a:pt x="6908593" y="5536349"/>
                </a:cubicBezTo>
                <a:cubicBezTo>
                  <a:pt x="6908593" y="5550437"/>
                  <a:pt x="6908593" y="5536349"/>
                  <a:pt x="6922681" y="5536349"/>
                </a:cubicBezTo>
                <a:cubicBezTo>
                  <a:pt x="6922681" y="5536349"/>
                  <a:pt x="6936769" y="5522261"/>
                  <a:pt x="6950858" y="5522261"/>
                </a:cubicBezTo>
                <a:cubicBezTo>
                  <a:pt x="6964945" y="5508174"/>
                  <a:pt x="6979034" y="5508174"/>
                  <a:pt x="6964945" y="5522261"/>
                </a:cubicBezTo>
                <a:cubicBezTo>
                  <a:pt x="6950858" y="5522261"/>
                  <a:pt x="6936769" y="5536349"/>
                  <a:pt x="6936769" y="5550437"/>
                </a:cubicBezTo>
                <a:cubicBezTo>
                  <a:pt x="6908593" y="5564524"/>
                  <a:pt x="6894505" y="5578611"/>
                  <a:pt x="6894505" y="5592699"/>
                </a:cubicBezTo>
                <a:cubicBezTo>
                  <a:pt x="6880416" y="5592699"/>
                  <a:pt x="6866328" y="5606786"/>
                  <a:pt x="6852240" y="5620873"/>
                </a:cubicBezTo>
                <a:cubicBezTo>
                  <a:pt x="6824063" y="5649048"/>
                  <a:pt x="6781799" y="5677223"/>
                  <a:pt x="6753622" y="5691310"/>
                </a:cubicBezTo>
                <a:cubicBezTo>
                  <a:pt x="6753622" y="5705398"/>
                  <a:pt x="6739534" y="5719486"/>
                  <a:pt x="6725446" y="5719486"/>
                </a:cubicBezTo>
                <a:cubicBezTo>
                  <a:pt x="6697269" y="5747660"/>
                  <a:pt x="6669093" y="5761748"/>
                  <a:pt x="6626829" y="5775835"/>
                </a:cubicBezTo>
                <a:cubicBezTo>
                  <a:pt x="6626829" y="5789922"/>
                  <a:pt x="6626829" y="5789922"/>
                  <a:pt x="6626829" y="5789922"/>
                </a:cubicBezTo>
                <a:cubicBezTo>
                  <a:pt x="6612740" y="5789922"/>
                  <a:pt x="6612740" y="5789922"/>
                  <a:pt x="6612740" y="5789922"/>
                </a:cubicBezTo>
                <a:cubicBezTo>
                  <a:pt x="6612740" y="5789922"/>
                  <a:pt x="6612740" y="5804009"/>
                  <a:pt x="6598651" y="5804009"/>
                </a:cubicBezTo>
                <a:cubicBezTo>
                  <a:pt x="6598651" y="5804009"/>
                  <a:pt x="6598651" y="5804009"/>
                  <a:pt x="6584563" y="5818097"/>
                </a:cubicBezTo>
                <a:cubicBezTo>
                  <a:pt x="6584563" y="5818097"/>
                  <a:pt x="6570476" y="5818097"/>
                  <a:pt x="6570476" y="5818097"/>
                </a:cubicBezTo>
                <a:cubicBezTo>
                  <a:pt x="6570476" y="5832184"/>
                  <a:pt x="6570476" y="5832184"/>
                  <a:pt x="6570476" y="5832184"/>
                </a:cubicBezTo>
                <a:cubicBezTo>
                  <a:pt x="6556387" y="5832184"/>
                  <a:pt x="6542298" y="5846271"/>
                  <a:pt x="6528211" y="5846271"/>
                </a:cubicBezTo>
                <a:cubicBezTo>
                  <a:pt x="6528211" y="5860359"/>
                  <a:pt x="6514123" y="5860359"/>
                  <a:pt x="6500034" y="5860359"/>
                </a:cubicBezTo>
                <a:cubicBezTo>
                  <a:pt x="6500034" y="5874446"/>
                  <a:pt x="6485946" y="5874446"/>
                  <a:pt x="6485946" y="5874446"/>
                </a:cubicBezTo>
                <a:cubicBezTo>
                  <a:pt x="6457770" y="5888535"/>
                  <a:pt x="6443681" y="5888535"/>
                  <a:pt x="6429593" y="5902622"/>
                </a:cubicBezTo>
                <a:cubicBezTo>
                  <a:pt x="6429593" y="5902622"/>
                  <a:pt x="6415505" y="5916709"/>
                  <a:pt x="6415505" y="5916709"/>
                </a:cubicBezTo>
                <a:cubicBezTo>
                  <a:pt x="6401417" y="5916709"/>
                  <a:pt x="6401417" y="5916709"/>
                  <a:pt x="6387328" y="5930796"/>
                </a:cubicBezTo>
                <a:cubicBezTo>
                  <a:pt x="6387328" y="5930796"/>
                  <a:pt x="6387328" y="5930796"/>
                  <a:pt x="6373240" y="5930796"/>
                </a:cubicBezTo>
                <a:cubicBezTo>
                  <a:pt x="6373240" y="5930796"/>
                  <a:pt x="6373240" y="5944884"/>
                  <a:pt x="6359152" y="5944884"/>
                </a:cubicBezTo>
                <a:cubicBezTo>
                  <a:pt x="6345064" y="5944884"/>
                  <a:pt x="6345064" y="5944884"/>
                  <a:pt x="6345064" y="5944884"/>
                </a:cubicBezTo>
                <a:cubicBezTo>
                  <a:pt x="6345064" y="5958971"/>
                  <a:pt x="6345064" y="5958971"/>
                  <a:pt x="6330975" y="5958971"/>
                </a:cubicBezTo>
                <a:cubicBezTo>
                  <a:pt x="6330975" y="5958971"/>
                  <a:pt x="6330975" y="5958971"/>
                  <a:pt x="6316888" y="5973058"/>
                </a:cubicBezTo>
                <a:cubicBezTo>
                  <a:pt x="6316888" y="5973058"/>
                  <a:pt x="6302799" y="5973058"/>
                  <a:pt x="6288711" y="5973058"/>
                </a:cubicBezTo>
                <a:cubicBezTo>
                  <a:pt x="6288711" y="5987146"/>
                  <a:pt x="6274622" y="5987146"/>
                  <a:pt x="6260535" y="5987146"/>
                </a:cubicBezTo>
                <a:cubicBezTo>
                  <a:pt x="6260535" y="6001233"/>
                  <a:pt x="6246446" y="6001233"/>
                  <a:pt x="6232358" y="6001233"/>
                </a:cubicBezTo>
                <a:cubicBezTo>
                  <a:pt x="6232358" y="6001233"/>
                  <a:pt x="6232358" y="6001233"/>
                  <a:pt x="6218269" y="6015320"/>
                </a:cubicBezTo>
                <a:cubicBezTo>
                  <a:pt x="6204182" y="6015320"/>
                  <a:pt x="6204182" y="6015320"/>
                  <a:pt x="6204182" y="6015320"/>
                </a:cubicBezTo>
                <a:cubicBezTo>
                  <a:pt x="6190093" y="6015320"/>
                  <a:pt x="6190093" y="6029408"/>
                  <a:pt x="6176005" y="6029408"/>
                </a:cubicBezTo>
                <a:cubicBezTo>
                  <a:pt x="6161916" y="6029408"/>
                  <a:pt x="6161916" y="6029408"/>
                  <a:pt x="6147829" y="6043495"/>
                </a:cubicBezTo>
                <a:cubicBezTo>
                  <a:pt x="6119652" y="6057582"/>
                  <a:pt x="6105565" y="6057582"/>
                  <a:pt x="6105565" y="6071671"/>
                </a:cubicBezTo>
                <a:cubicBezTo>
                  <a:pt x="6105565" y="6071671"/>
                  <a:pt x="6119652" y="6071671"/>
                  <a:pt x="6077388" y="6085758"/>
                </a:cubicBezTo>
                <a:cubicBezTo>
                  <a:pt x="6063299" y="6099845"/>
                  <a:pt x="6063299" y="6099845"/>
                  <a:pt x="6035123" y="6113933"/>
                </a:cubicBezTo>
                <a:cubicBezTo>
                  <a:pt x="6021035" y="6128020"/>
                  <a:pt x="6021035" y="6128020"/>
                  <a:pt x="6006946" y="6128020"/>
                </a:cubicBezTo>
                <a:cubicBezTo>
                  <a:pt x="6006946" y="6128020"/>
                  <a:pt x="6006946" y="6128020"/>
                  <a:pt x="5992859" y="6128020"/>
                </a:cubicBezTo>
                <a:cubicBezTo>
                  <a:pt x="5992859" y="6142107"/>
                  <a:pt x="5978770" y="6142107"/>
                  <a:pt x="5964682" y="6142107"/>
                </a:cubicBezTo>
                <a:cubicBezTo>
                  <a:pt x="5964682" y="6142107"/>
                  <a:pt x="5964682" y="6142107"/>
                  <a:pt x="5950593" y="6156194"/>
                </a:cubicBezTo>
                <a:cubicBezTo>
                  <a:pt x="5950593" y="6156194"/>
                  <a:pt x="5950593" y="6156194"/>
                  <a:pt x="5922417" y="6156194"/>
                </a:cubicBezTo>
                <a:cubicBezTo>
                  <a:pt x="5908329" y="6170282"/>
                  <a:pt x="5894240" y="6170282"/>
                  <a:pt x="5880153" y="6184369"/>
                </a:cubicBezTo>
                <a:cubicBezTo>
                  <a:pt x="5781535" y="6212544"/>
                  <a:pt x="5697005" y="6240720"/>
                  <a:pt x="5612477" y="6254807"/>
                </a:cubicBezTo>
                <a:cubicBezTo>
                  <a:pt x="5570212" y="6268894"/>
                  <a:pt x="5513859" y="6282981"/>
                  <a:pt x="5471594" y="6282981"/>
                </a:cubicBezTo>
                <a:cubicBezTo>
                  <a:pt x="5429329" y="6282981"/>
                  <a:pt x="5372976" y="6297069"/>
                  <a:pt x="5344800" y="6311156"/>
                </a:cubicBezTo>
                <a:cubicBezTo>
                  <a:pt x="5415242" y="6297069"/>
                  <a:pt x="5499771" y="6282981"/>
                  <a:pt x="5556124" y="6297069"/>
                </a:cubicBezTo>
                <a:lnTo>
                  <a:pt x="5564929" y="6297069"/>
                </a:lnTo>
                <a:lnTo>
                  <a:pt x="5570212" y="6297069"/>
                </a:lnTo>
                <a:cubicBezTo>
                  <a:pt x="5570212" y="6297069"/>
                  <a:pt x="5584299" y="6297069"/>
                  <a:pt x="5584299" y="6297069"/>
                </a:cubicBezTo>
                <a:cubicBezTo>
                  <a:pt x="5584299" y="6311156"/>
                  <a:pt x="5584299" y="6311156"/>
                  <a:pt x="5570212" y="6311156"/>
                </a:cubicBezTo>
                <a:cubicBezTo>
                  <a:pt x="5527947" y="6311156"/>
                  <a:pt x="5499771" y="6325243"/>
                  <a:pt x="5485682" y="6325243"/>
                </a:cubicBezTo>
                <a:cubicBezTo>
                  <a:pt x="5443418" y="6339331"/>
                  <a:pt x="5415242" y="6339331"/>
                  <a:pt x="5372976" y="6339331"/>
                </a:cubicBezTo>
                <a:cubicBezTo>
                  <a:pt x="5358889" y="6339331"/>
                  <a:pt x="5344800" y="6339331"/>
                  <a:pt x="5330712" y="6353418"/>
                </a:cubicBezTo>
                <a:cubicBezTo>
                  <a:pt x="5302536" y="6353418"/>
                  <a:pt x="5288447" y="6353418"/>
                  <a:pt x="5260270" y="6353418"/>
                </a:cubicBezTo>
                <a:cubicBezTo>
                  <a:pt x="5246183" y="6367505"/>
                  <a:pt x="5232094" y="6367505"/>
                  <a:pt x="5203919" y="6367505"/>
                </a:cubicBezTo>
                <a:lnTo>
                  <a:pt x="5175742" y="6367505"/>
                </a:lnTo>
                <a:cubicBezTo>
                  <a:pt x="5203919" y="6353418"/>
                  <a:pt x="5203919" y="6353418"/>
                  <a:pt x="5175742" y="6353418"/>
                </a:cubicBezTo>
                <a:cubicBezTo>
                  <a:pt x="5161654" y="6353418"/>
                  <a:pt x="5161654" y="6353418"/>
                  <a:pt x="5161654" y="6353418"/>
                </a:cubicBezTo>
                <a:cubicBezTo>
                  <a:pt x="5147566" y="6353418"/>
                  <a:pt x="5133477" y="6353418"/>
                  <a:pt x="5119389" y="6353418"/>
                </a:cubicBezTo>
                <a:cubicBezTo>
                  <a:pt x="5119389" y="6353418"/>
                  <a:pt x="5105300" y="6353418"/>
                  <a:pt x="5091213" y="6353418"/>
                </a:cubicBezTo>
                <a:cubicBezTo>
                  <a:pt x="5063036" y="6353418"/>
                  <a:pt x="5034860" y="6367505"/>
                  <a:pt x="5020771" y="6367505"/>
                </a:cubicBezTo>
                <a:lnTo>
                  <a:pt x="4992595" y="6367505"/>
                </a:lnTo>
                <a:lnTo>
                  <a:pt x="4964418" y="6367505"/>
                </a:lnTo>
                <a:cubicBezTo>
                  <a:pt x="4946808" y="6367505"/>
                  <a:pt x="4929198" y="6367505"/>
                  <a:pt x="4908065" y="6367505"/>
                </a:cubicBezTo>
                <a:cubicBezTo>
                  <a:pt x="4922154" y="6367505"/>
                  <a:pt x="4908065" y="6353418"/>
                  <a:pt x="4879889" y="6353418"/>
                </a:cubicBezTo>
                <a:cubicBezTo>
                  <a:pt x="4879889" y="6353418"/>
                  <a:pt x="4865801" y="6353418"/>
                  <a:pt x="4851712" y="6353418"/>
                </a:cubicBezTo>
                <a:cubicBezTo>
                  <a:pt x="4823537" y="6353418"/>
                  <a:pt x="4781272" y="6353418"/>
                  <a:pt x="4739006" y="6367505"/>
                </a:cubicBezTo>
                <a:cubicBezTo>
                  <a:pt x="4696742" y="6367505"/>
                  <a:pt x="4654478" y="6367505"/>
                  <a:pt x="4612213" y="6353418"/>
                </a:cubicBezTo>
                <a:cubicBezTo>
                  <a:pt x="4598125" y="6353418"/>
                  <a:pt x="4584036" y="6353418"/>
                  <a:pt x="4569949" y="6353418"/>
                </a:cubicBezTo>
                <a:cubicBezTo>
                  <a:pt x="4555860" y="6353418"/>
                  <a:pt x="4555860" y="6353418"/>
                  <a:pt x="4555860" y="6353418"/>
                </a:cubicBezTo>
                <a:cubicBezTo>
                  <a:pt x="4541772" y="6353418"/>
                  <a:pt x="4527683" y="6353418"/>
                  <a:pt x="4499507" y="6339331"/>
                </a:cubicBezTo>
                <a:cubicBezTo>
                  <a:pt x="4429066" y="6339331"/>
                  <a:pt x="4344537" y="6325243"/>
                  <a:pt x="4274096" y="6311156"/>
                </a:cubicBezTo>
                <a:cubicBezTo>
                  <a:pt x="4260008" y="6311156"/>
                  <a:pt x="4260008" y="6311156"/>
                  <a:pt x="4245920" y="6297069"/>
                </a:cubicBezTo>
                <a:cubicBezTo>
                  <a:pt x="4231831" y="6297069"/>
                  <a:pt x="4203655" y="6297069"/>
                  <a:pt x="4189567" y="6282981"/>
                </a:cubicBezTo>
                <a:cubicBezTo>
                  <a:pt x="4203655" y="6297069"/>
                  <a:pt x="4189567" y="6297069"/>
                  <a:pt x="4189567" y="6297069"/>
                </a:cubicBezTo>
                <a:cubicBezTo>
                  <a:pt x="4175478" y="6282981"/>
                  <a:pt x="4189567" y="6297069"/>
                  <a:pt x="4175478" y="6297069"/>
                </a:cubicBezTo>
                <a:cubicBezTo>
                  <a:pt x="4147302" y="6282981"/>
                  <a:pt x="4119125" y="6282981"/>
                  <a:pt x="4090949" y="6268894"/>
                </a:cubicBezTo>
                <a:cubicBezTo>
                  <a:pt x="4090949" y="6282981"/>
                  <a:pt x="4090949" y="6282981"/>
                  <a:pt x="4034596" y="6268894"/>
                </a:cubicBezTo>
                <a:lnTo>
                  <a:pt x="3997912" y="6253716"/>
                </a:lnTo>
                <a:lnTo>
                  <a:pt x="3993227" y="6254807"/>
                </a:lnTo>
                <a:cubicBezTo>
                  <a:pt x="3950962" y="6268894"/>
                  <a:pt x="3894609" y="6282981"/>
                  <a:pt x="3852344" y="6282981"/>
                </a:cubicBezTo>
                <a:cubicBezTo>
                  <a:pt x="3810079" y="6282981"/>
                  <a:pt x="3753726" y="6297069"/>
                  <a:pt x="3725550" y="6311156"/>
                </a:cubicBezTo>
                <a:cubicBezTo>
                  <a:pt x="3795992" y="6297069"/>
                  <a:pt x="3880521" y="6282981"/>
                  <a:pt x="3936874" y="6297069"/>
                </a:cubicBezTo>
                <a:lnTo>
                  <a:pt x="3945679" y="6297069"/>
                </a:lnTo>
                <a:lnTo>
                  <a:pt x="3950962" y="6297069"/>
                </a:lnTo>
                <a:cubicBezTo>
                  <a:pt x="3950962" y="6297069"/>
                  <a:pt x="3965049" y="6297069"/>
                  <a:pt x="3965049" y="6297069"/>
                </a:cubicBezTo>
                <a:cubicBezTo>
                  <a:pt x="3965049" y="6311156"/>
                  <a:pt x="3965049" y="6311156"/>
                  <a:pt x="3950962" y="6311156"/>
                </a:cubicBezTo>
                <a:cubicBezTo>
                  <a:pt x="3908697" y="6311156"/>
                  <a:pt x="3880521" y="6325243"/>
                  <a:pt x="3866432" y="6325243"/>
                </a:cubicBezTo>
                <a:cubicBezTo>
                  <a:pt x="3824168" y="6339331"/>
                  <a:pt x="3795992" y="6339331"/>
                  <a:pt x="3753726" y="6339331"/>
                </a:cubicBezTo>
                <a:cubicBezTo>
                  <a:pt x="3739639" y="6339331"/>
                  <a:pt x="3725550" y="6339331"/>
                  <a:pt x="3711462" y="6353418"/>
                </a:cubicBezTo>
                <a:cubicBezTo>
                  <a:pt x="3683286" y="6353418"/>
                  <a:pt x="3669198" y="6353418"/>
                  <a:pt x="3641020" y="6353418"/>
                </a:cubicBezTo>
                <a:cubicBezTo>
                  <a:pt x="3626933" y="6367505"/>
                  <a:pt x="3612844" y="6367505"/>
                  <a:pt x="3584669" y="6367505"/>
                </a:cubicBezTo>
                <a:lnTo>
                  <a:pt x="3556492" y="6367505"/>
                </a:lnTo>
                <a:cubicBezTo>
                  <a:pt x="3584669" y="6353418"/>
                  <a:pt x="3584669" y="6353418"/>
                  <a:pt x="3556492" y="6353418"/>
                </a:cubicBezTo>
                <a:cubicBezTo>
                  <a:pt x="3542404" y="6353418"/>
                  <a:pt x="3542404" y="6353418"/>
                  <a:pt x="3542404" y="6353418"/>
                </a:cubicBezTo>
                <a:cubicBezTo>
                  <a:pt x="3528316" y="6353418"/>
                  <a:pt x="3514227" y="6353418"/>
                  <a:pt x="3500139" y="6353418"/>
                </a:cubicBezTo>
                <a:cubicBezTo>
                  <a:pt x="3500139" y="6353418"/>
                  <a:pt x="3486050" y="6353418"/>
                  <a:pt x="3471963" y="6353418"/>
                </a:cubicBezTo>
                <a:cubicBezTo>
                  <a:pt x="3443786" y="6353418"/>
                  <a:pt x="3415610" y="6367505"/>
                  <a:pt x="3401521" y="6367505"/>
                </a:cubicBezTo>
                <a:lnTo>
                  <a:pt x="3373345" y="6367505"/>
                </a:lnTo>
                <a:lnTo>
                  <a:pt x="3345168" y="6367505"/>
                </a:lnTo>
                <a:cubicBezTo>
                  <a:pt x="3327558" y="6367505"/>
                  <a:pt x="3309948" y="6367505"/>
                  <a:pt x="3288816" y="6367505"/>
                </a:cubicBezTo>
                <a:cubicBezTo>
                  <a:pt x="3302904" y="6367505"/>
                  <a:pt x="3288816" y="6353418"/>
                  <a:pt x="3260639" y="6353418"/>
                </a:cubicBezTo>
                <a:cubicBezTo>
                  <a:pt x="3260639" y="6353418"/>
                  <a:pt x="3246551" y="6353418"/>
                  <a:pt x="3232462" y="6353418"/>
                </a:cubicBezTo>
                <a:cubicBezTo>
                  <a:pt x="3204287" y="6353418"/>
                  <a:pt x="3162022" y="6353418"/>
                  <a:pt x="3119756" y="6367505"/>
                </a:cubicBezTo>
                <a:cubicBezTo>
                  <a:pt x="3077492" y="6367505"/>
                  <a:pt x="3035228" y="6367505"/>
                  <a:pt x="2992963" y="6353418"/>
                </a:cubicBezTo>
                <a:cubicBezTo>
                  <a:pt x="2978875" y="6353418"/>
                  <a:pt x="2964786" y="6353418"/>
                  <a:pt x="2950699" y="6353418"/>
                </a:cubicBezTo>
                <a:cubicBezTo>
                  <a:pt x="2936611" y="6353418"/>
                  <a:pt x="2936611" y="6353418"/>
                  <a:pt x="2936611" y="6353418"/>
                </a:cubicBezTo>
                <a:cubicBezTo>
                  <a:pt x="2922522" y="6353418"/>
                  <a:pt x="2908433" y="6353418"/>
                  <a:pt x="2880257" y="6339331"/>
                </a:cubicBezTo>
                <a:cubicBezTo>
                  <a:pt x="2809816" y="6339331"/>
                  <a:pt x="2725287" y="6325243"/>
                  <a:pt x="2654846" y="6311156"/>
                </a:cubicBezTo>
                <a:cubicBezTo>
                  <a:pt x="2640758" y="6311156"/>
                  <a:pt x="2640758" y="6311156"/>
                  <a:pt x="2626670" y="6297069"/>
                </a:cubicBezTo>
                <a:cubicBezTo>
                  <a:pt x="2612581" y="6297069"/>
                  <a:pt x="2584406" y="6297069"/>
                  <a:pt x="2570317" y="6282981"/>
                </a:cubicBezTo>
                <a:cubicBezTo>
                  <a:pt x="2584406" y="6297069"/>
                  <a:pt x="2570317" y="6297069"/>
                  <a:pt x="2570317" y="6297069"/>
                </a:cubicBezTo>
                <a:cubicBezTo>
                  <a:pt x="2556228" y="6282981"/>
                  <a:pt x="2570317" y="6297069"/>
                  <a:pt x="2556228" y="6297069"/>
                </a:cubicBezTo>
                <a:cubicBezTo>
                  <a:pt x="2528052" y="6282981"/>
                  <a:pt x="2499875" y="6282981"/>
                  <a:pt x="2471699" y="6268894"/>
                </a:cubicBezTo>
                <a:cubicBezTo>
                  <a:pt x="2471699" y="6282981"/>
                  <a:pt x="2471699" y="6282981"/>
                  <a:pt x="2415347" y="6268894"/>
                </a:cubicBezTo>
                <a:cubicBezTo>
                  <a:pt x="2387169" y="6254807"/>
                  <a:pt x="2344905" y="6240720"/>
                  <a:pt x="2302641" y="6226631"/>
                </a:cubicBezTo>
                <a:cubicBezTo>
                  <a:pt x="2302641" y="6226631"/>
                  <a:pt x="2288552" y="6226631"/>
                  <a:pt x="2288552" y="6226631"/>
                </a:cubicBezTo>
                <a:cubicBezTo>
                  <a:pt x="2288552" y="6226631"/>
                  <a:pt x="2288552" y="6226631"/>
                  <a:pt x="2260376" y="6212544"/>
                </a:cubicBezTo>
                <a:cubicBezTo>
                  <a:pt x="2260376" y="6226631"/>
                  <a:pt x="2232199" y="6212544"/>
                  <a:pt x="2204023" y="6198456"/>
                </a:cubicBezTo>
                <a:cubicBezTo>
                  <a:pt x="2189935" y="6198456"/>
                  <a:pt x="2175846" y="6198456"/>
                  <a:pt x="2175846" y="6184369"/>
                </a:cubicBezTo>
                <a:cubicBezTo>
                  <a:pt x="2175846" y="6184369"/>
                  <a:pt x="2175846" y="6184369"/>
                  <a:pt x="2161758" y="6184369"/>
                </a:cubicBezTo>
                <a:cubicBezTo>
                  <a:pt x="2119493" y="6170282"/>
                  <a:pt x="2091317" y="6156194"/>
                  <a:pt x="2049053" y="6142107"/>
                </a:cubicBezTo>
                <a:cubicBezTo>
                  <a:pt x="2049053" y="6142107"/>
                  <a:pt x="2034965" y="6142107"/>
                  <a:pt x="2034965" y="6142107"/>
                </a:cubicBezTo>
                <a:cubicBezTo>
                  <a:pt x="2020876" y="6142107"/>
                  <a:pt x="1978611" y="6113933"/>
                  <a:pt x="1950434" y="6099845"/>
                </a:cubicBezTo>
                <a:cubicBezTo>
                  <a:pt x="1922259" y="6085758"/>
                  <a:pt x="1894083" y="6085758"/>
                  <a:pt x="1865906" y="6057582"/>
                </a:cubicBezTo>
                <a:cubicBezTo>
                  <a:pt x="1851817" y="6057582"/>
                  <a:pt x="1851817" y="6057582"/>
                  <a:pt x="1851817" y="6057582"/>
                </a:cubicBezTo>
                <a:cubicBezTo>
                  <a:pt x="1823641" y="6057582"/>
                  <a:pt x="1795464" y="6029408"/>
                  <a:pt x="1753200" y="6015320"/>
                </a:cubicBezTo>
                <a:cubicBezTo>
                  <a:pt x="1753200" y="6015320"/>
                  <a:pt x="1739111" y="6001233"/>
                  <a:pt x="1725024" y="6001233"/>
                </a:cubicBezTo>
                <a:cubicBezTo>
                  <a:pt x="1668671" y="5973058"/>
                  <a:pt x="1612318" y="5944884"/>
                  <a:pt x="1555965" y="5902622"/>
                </a:cubicBezTo>
                <a:cubicBezTo>
                  <a:pt x="1527788" y="5888535"/>
                  <a:pt x="1513700" y="5888535"/>
                  <a:pt x="1485523" y="5874446"/>
                </a:cubicBezTo>
                <a:cubicBezTo>
                  <a:pt x="1471435" y="5860359"/>
                  <a:pt x="1443259" y="5846271"/>
                  <a:pt x="1429170" y="5832184"/>
                </a:cubicBezTo>
                <a:cubicBezTo>
                  <a:pt x="1400995" y="5804009"/>
                  <a:pt x="1386906" y="5789922"/>
                  <a:pt x="1358729" y="5775835"/>
                </a:cubicBezTo>
                <a:cubicBezTo>
                  <a:pt x="1358729" y="5775835"/>
                  <a:pt x="1344642" y="5761748"/>
                  <a:pt x="1330553" y="5761748"/>
                </a:cubicBezTo>
                <a:cubicBezTo>
                  <a:pt x="1260112" y="5705398"/>
                  <a:pt x="1203759" y="5663135"/>
                  <a:pt x="1147407" y="5606786"/>
                </a:cubicBezTo>
                <a:cubicBezTo>
                  <a:pt x="1133318" y="5592699"/>
                  <a:pt x="1119230" y="5578611"/>
                  <a:pt x="1119230" y="5578611"/>
                </a:cubicBezTo>
                <a:cubicBezTo>
                  <a:pt x="1119230" y="5578611"/>
                  <a:pt x="1119230" y="5578611"/>
                  <a:pt x="1119230" y="5564524"/>
                </a:cubicBezTo>
                <a:cubicBezTo>
                  <a:pt x="1119230" y="5564524"/>
                  <a:pt x="1105141" y="5564524"/>
                  <a:pt x="1105141" y="5564524"/>
                </a:cubicBezTo>
                <a:cubicBezTo>
                  <a:pt x="1105141" y="5564524"/>
                  <a:pt x="1091053" y="5550437"/>
                  <a:pt x="1076965" y="5536349"/>
                </a:cubicBezTo>
                <a:cubicBezTo>
                  <a:pt x="1062877" y="5522261"/>
                  <a:pt x="1048788" y="5508174"/>
                  <a:pt x="1034701" y="5494086"/>
                </a:cubicBezTo>
                <a:cubicBezTo>
                  <a:pt x="1020613" y="5479999"/>
                  <a:pt x="992437" y="5451824"/>
                  <a:pt x="978348" y="5437737"/>
                </a:cubicBezTo>
                <a:cubicBezTo>
                  <a:pt x="964260" y="5423650"/>
                  <a:pt x="950171" y="5409563"/>
                  <a:pt x="936082" y="5395475"/>
                </a:cubicBezTo>
                <a:cubicBezTo>
                  <a:pt x="921995" y="5367301"/>
                  <a:pt x="893818" y="5339125"/>
                  <a:pt x="865642" y="5310950"/>
                </a:cubicBezTo>
                <a:cubicBezTo>
                  <a:pt x="837465" y="5268688"/>
                  <a:pt x="809289" y="5226426"/>
                  <a:pt x="781112" y="5198252"/>
                </a:cubicBezTo>
                <a:cubicBezTo>
                  <a:pt x="767025" y="5198252"/>
                  <a:pt x="767025" y="5184163"/>
                  <a:pt x="767025" y="5184163"/>
                </a:cubicBezTo>
                <a:cubicBezTo>
                  <a:pt x="724760" y="5141901"/>
                  <a:pt x="696583" y="5099639"/>
                  <a:pt x="654319" y="5057378"/>
                </a:cubicBezTo>
                <a:cubicBezTo>
                  <a:pt x="654319" y="5057378"/>
                  <a:pt x="654319" y="5057378"/>
                  <a:pt x="640230" y="5029203"/>
                </a:cubicBezTo>
                <a:cubicBezTo>
                  <a:pt x="626142" y="5015114"/>
                  <a:pt x="597966" y="4986940"/>
                  <a:pt x="583877" y="4958765"/>
                </a:cubicBezTo>
                <a:cubicBezTo>
                  <a:pt x="583877" y="4958765"/>
                  <a:pt x="569789" y="4944678"/>
                  <a:pt x="569789" y="4930591"/>
                </a:cubicBezTo>
                <a:cubicBezTo>
                  <a:pt x="569789" y="4930591"/>
                  <a:pt x="555702" y="4916503"/>
                  <a:pt x="555702" y="4902416"/>
                </a:cubicBezTo>
                <a:cubicBezTo>
                  <a:pt x="541613" y="4902416"/>
                  <a:pt x="527524" y="4874241"/>
                  <a:pt x="485260" y="4817891"/>
                </a:cubicBezTo>
                <a:cubicBezTo>
                  <a:pt x="485260" y="4817891"/>
                  <a:pt x="485260" y="4803804"/>
                  <a:pt x="485260" y="4803804"/>
                </a:cubicBezTo>
                <a:cubicBezTo>
                  <a:pt x="471171" y="4803804"/>
                  <a:pt x="471171" y="4803804"/>
                  <a:pt x="457083" y="4761542"/>
                </a:cubicBezTo>
                <a:cubicBezTo>
                  <a:pt x="442996" y="4733367"/>
                  <a:pt x="428907" y="4705192"/>
                  <a:pt x="414819" y="4705192"/>
                </a:cubicBezTo>
                <a:cubicBezTo>
                  <a:pt x="400731" y="4677018"/>
                  <a:pt x="414819" y="4677018"/>
                  <a:pt x="400731" y="4662929"/>
                </a:cubicBezTo>
                <a:cubicBezTo>
                  <a:pt x="400731" y="4648842"/>
                  <a:pt x="400731" y="4662929"/>
                  <a:pt x="386643" y="4662929"/>
                </a:cubicBezTo>
                <a:cubicBezTo>
                  <a:pt x="386643" y="4648842"/>
                  <a:pt x="386643" y="4634755"/>
                  <a:pt x="386643" y="4634755"/>
                </a:cubicBezTo>
                <a:cubicBezTo>
                  <a:pt x="372554" y="4606580"/>
                  <a:pt x="358466" y="4592493"/>
                  <a:pt x="344378" y="4564318"/>
                </a:cubicBezTo>
                <a:cubicBezTo>
                  <a:pt x="330290" y="4536144"/>
                  <a:pt x="330290" y="4507969"/>
                  <a:pt x="316201" y="4493882"/>
                </a:cubicBezTo>
                <a:cubicBezTo>
                  <a:pt x="316201" y="4493882"/>
                  <a:pt x="316201" y="4493882"/>
                  <a:pt x="302113" y="4493882"/>
                </a:cubicBezTo>
                <a:cubicBezTo>
                  <a:pt x="302113" y="4479793"/>
                  <a:pt x="302113" y="4465706"/>
                  <a:pt x="302113" y="4465706"/>
                </a:cubicBezTo>
                <a:cubicBezTo>
                  <a:pt x="302113" y="4451619"/>
                  <a:pt x="302113" y="4437531"/>
                  <a:pt x="288025" y="4423444"/>
                </a:cubicBezTo>
                <a:cubicBezTo>
                  <a:pt x="302113" y="4451619"/>
                  <a:pt x="316201" y="4465706"/>
                  <a:pt x="330290" y="4493882"/>
                </a:cubicBezTo>
                <a:cubicBezTo>
                  <a:pt x="330290" y="4493882"/>
                  <a:pt x="330290" y="4507969"/>
                  <a:pt x="330290" y="4507969"/>
                </a:cubicBezTo>
                <a:cubicBezTo>
                  <a:pt x="330290" y="4507969"/>
                  <a:pt x="344378" y="4536144"/>
                  <a:pt x="344378" y="4536144"/>
                </a:cubicBezTo>
                <a:cubicBezTo>
                  <a:pt x="358466" y="4550231"/>
                  <a:pt x="358466" y="4564318"/>
                  <a:pt x="372554" y="4578406"/>
                </a:cubicBezTo>
                <a:cubicBezTo>
                  <a:pt x="372554" y="4578406"/>
                  <a:pt x="372554" y="4592493"/>
                  <a:pt x="372554" y="4592493"/>
                </a:cubicBezTo>
                <a:cubicBezTo>
                  <a:pt x="386643" y="4592493"/>
                  <a:pt x="386643" y="4592493"/>
                  <a:pt x="372554" y="4564318"/>
                </a:cubicBezTo>
                <a:cubicBezTo>
                  <a:pt x="372554" y="4564318"/>
                  <a:pt x="372554" y="4564318"/>
                  <a:pt x="366611" y="4546489"/>
                </a:cubicBezTo>
                <a:lnTo>
                  <a:pt x="363538" y="4537272"/>
                </a:lnTo>
                <a:lnTo>
                  <a:pt x="372554" y="4550231"/>
                </a:lnTo>
                <a:cubicBezTo>
                  <a:pt x="400731" y="4578406"/>
                  <a:pt x="400731" y="4606580"/>
                  <a:pt x="414819" y="4634755"/>
                </a:cubicBezTo>
                <a:cubicBezTo>
                  <a:pt x="414819" y="4634755"/>
                  <a:pt x="414819" y="4606580"/>
                  <a:pt x="428907" y="4648842"/>
                </a:cubicBezTo>
                <a:cubicBezTo>
                  <a:pt x="428907" y="4677018"/>
                  <a:pt x="442996" y="4691105"/>
                  <a:pt x="457083" y="4705192"/>
                </a:cubicBezTo>
                <a:cubicBezTo>
                  <a:pt x="457083" y="4705192"/>
                  <a:pt x="457083" y="4719280"/>
                  <a:pt x="457083" y="4719280"/>
                </a:cubicBezTo>
                <a:cubicBezTo>
                  <a:pt x="464128" y="4719280"/>
                  <a:pt x="464128" y="4715758"/>
                  <a:pt x="464128" y="4712236"/>
                </a:cubicBezTo>
                <a:lnTo>
                  <a:pt x="467330" y="4709034"/>
                </a:lnTo>
                <a:lnTo>
                  <a:pt x="471171" y="4719280"/>
                </a:lnTo>
                <a:cubicBezTo>
                  <a:pt x="471171" y="4719280"/>
                  <a:pt x="471171" y="4705192"/>
                  <a:pt x="471171" y="4705192"/>
                </a:cubicBezTo>
                <a:lnTo>
                  <a:pt x="467330" y="4709034"/>
                </a:lnTo>
                <a:lnTo>
                  <a:pt x="450039" y="4662931"/>
                </a:lnTo>
                <a:cubicBezTo>
                  <a:pt x="442996" y="4645320"/>
                  <a:pt x="435951" y="4627711"/>
                  <a:pt x="428907" y="4606580"/>
                </a:cubicBezTo>
                <a:cubicBezTo>
                  <a:pt x="414819" y="4606580"/>
                  <a:pt x="414819" y="4592493"/>
                  <a:pt x="414819" y="4578406"/>
                </a:cubicBezTo>
                <a:cubicBezTo>
                  <a:pt x="400731" y="4578406"/>
                  <a:pt x="386643" y="4536144"/>
                  <a:pt x="386643" y="4522056"/>
                </a:cubicBezTo>
                <a:cubicBezTo>
                  <a:pt x="372554" y="4507969"/>
                  <a:pt x="358466" y="4493882"/>
                  <a:pt x="358466" y="4479793"/>
                </a:cubicBezTo>
                <a:cubicBezTo>
                  <a:pt x="344378" y="4465706"/>
                  <a:pt x="344378" y="4451619"/>
                  <a:pt x="344378" y="4451619"/>
                </a:cubicBezTo>
                <a:cubicBezTo>
                  <a:pt x="330290" y="4437531"/>
                  <a:pt x="316201" y="4409357"/>
                  <a:pt x="316201" y="4381182"/>
                </a:cubicBezTo>
                <a:cubicBezTo>
                  <a:pt x="302113" y="4367095"/>
                  <a:pt x="302113" y="4338920"/>
                  <a:pt x="288025" y="4338920"/>
                </a:cubicBezTo>
                <a:cubicBezTo>
                  <a:pt x="288025" y="4338920"/>
                  <a:pt x="288025" y="4324833"/>
                  <a:pt x="288025" y="4310744"/>
                </a:cubicBezTo>
                <a:cubicBezTo>
                  <a:pt x="288025" y="4310744"/>
                  <a:pt x="273937" y="4310744"/>
                  <a:pt x="273937" y="4296657"/>
                </a:cubicBezTo>
                <a:cubicBezTo>
                  <a:pt x="273937" y="4268482"/>
                  <a:pt x="259848" y="4268482"/>
                  <a:pt x="259848" y="4254395"/>
                </a:cubicBezTo>
                <a:cubicBezTo>
                  <a:pt x="259848" y="4254395"/>
                  <a:pt x="273937" y="4296657"/>
                  <a:pt x="273937" y="4310744"/>
                </a:cubicBezTo>
                <a:cubicBezTo>
                  <a:pt x="273937" y="4296657"/>
                  <a:pt x="259848" y="4282570"/>
                  <a:pt x="259848" y="4268482"/>
                </a:cubicBezTo>
                <a:cubicBezTo>
                  <a:pt x="259848" y="4268482"/>
                  <a:pt x="259848" y="4254395"/>
                  <a:pt x="245761" y="4254395"/>
                </a:cubicBezTo>
                <a:cubicBezTo>
                  <a:pt x="245761" y="4254395"/>
                  <a:pt x="245761" y="4254395"/>
                  <a:pt x="245761" y="4240308"/>
                </a:cubicBezTo>
                <a:cubicBezTo>
                  <a:pt x="231672" y="4268482"/>
                  <a:pt x="231672" y="4254395"/>
                  <a:pt x="217584" y="4198046"/>
                </a:cubicBezTo>
                <a:cubicBezTo>
                  <a:pt x="203495" y="4198046"/>
                  <a:pt x="203495" y="4183958"/>
                  <a:pt x="203495" y="4169871"/>
                </a:cubicBezTo>
                <a:cubicBezTo>
                  <a:pt x="203495" y="4155784"/>
                  <a:pt x="189407" y="4155784"/>
                  <a:pt x="189407" y="4141697"/>
                </a:cubicBezTo>
                <a:lnTo>
                  <a:pt x="189407" y="4155784"/>
                </a:lnTo>
                <a:cubicBezTo>
                  <a:pt x="189407" y="4162828"/>
                  <a:pt x="189407" y="4169871"/>
                  <a:pt x="189407" y="4175153"/>
                </a:cubicBezTo>
                <a:lnTo>
                  <a:pt x="189407" y="4178235"/>
                </a:lnTo>
                <a:cubicBezTo>
                  <a:pt x="189407" y="4177796"/>
                  <a:pt x="189407" y="4178676"/>
                  <a:pt x="189407" y="4180437"/>
                </a:cubicBezTo>
                <a:lnTo>
                  <a:pt x="189407" y="4183958"/>
                </a:lnTo>
                <a:lnTo>
                  <a:pt x="189407" y="4198046"/>
                </a:lnTo>
                <a:cubicBezTo>
                  <a:pt x="189407" y="4198046"/>
                  <a:pt x="189407" y="4212133"/>
                  <a:pt x="189407" y="4212133"/>
                </a:cubicBezTo>
                <a:cubicBezTo>
                  <a:pt x="203495" y="4240308"/>
                  <a:pt x="217584" y="4254395"/>
                  <a:pt x="231672" y="4296657"/>
                </a:cubicBezTo>
                <a:cubicBezTo>
                  <a:pt x="217584" y="4296657"/>
                  <a:pt x="217584" y="4268482"/>
                  <a:pt x="217584" y="4268482"/>
                </a:cubicBezTo>
                <a:cubicBezTo>
                  <a:pt x="217584" y="4282570"/>
                  <a:pt x="217584" y="4296657"/>
                  <a:pt x="217584" y="4310744"/>
                </a:cubicBezTo>
                <a:cubicBezTo>
                  <a:pt x="217584" y="4310744"/>
                  <a:pt x="217584" y="4318669"/>
                  <a:pt x="217584" y="4316687"/>
                </a:cubicBezTo>
                <a:lnTo>
                  <a:pt x="217584" y="4324833"/>
                </a:lnTo>
                <a:cubicBezTo>
                  <a:pt x="217584" y="4328355"/>
                  <a:pt x="217584" y="4331877"/>
                  <a:pt x="217584" y="4338920"/>
                </a:cubicBezTo>
                <a:cubicBezTo>
                  <a:pt x="231672" y="4381182"/>
                  <a:pt x="217584" y="4381182"/>
                  <a:pt x="203495" y="4338920"/>
                </a:cubicBezTo>
                <a:cubicBezTo>
                  <a:pt x="189407" y="4324833"/>
                  <a:pt x="189407" y="4338920"/>
                  <a:pt x="189407" y="4324833"/>
                </a:cubicBezTo>
                <a:cubicBezTo>
                  <a:pt x="175319" y="4296657"/>
                  <a:pt x="175319" y="4282570"/>
                  <a:pt x="175319" y="4254395"/>
                </a:cubicBezTo>
                <a:cubicBezTo>
                  <a:pt x="161231" y="4226221"/>
                  <a:pt x="147142" y="4198046"/>
                  <a:pt x="147142" y="4169871"/>
                </a:cubicBezTo>
                <a:cubicBezTo>
                  <a:pt x="147142" y="4169871"/>
                  <a:pt x="147142" y="4155784"/>
                  <a:pt x="147142" y="4155784"/>
                </a:cubicBezTo>
                <a:cubicBezTo>
                  <a:pt x="147142" y="4155784"/>
                  <a:pt x="147142" y="4155784"/>
                  <a:pt x="133055" y="4113521"/>
                </a:cubicBezTo>
                <a:cubicBezTo>
                  <a:pt x="133055" y="4099433"/>
                  <a:pt x="118967" y="4113521"/>
                  <a:pt x="133055" y="4141697"/>
                </a:cubicBezTo>
                <a:cubicBezTo>
                  <a:pt x="133055" y="4141697"/>
                  <a:pt x="133055" y="4155784"/>
                  <a:pt x="133055" y="4155784"/>
                </a:cubicBezTo>
                <a:cubicBezTo>
                  <a:pt x="133055" y="4169871"/>
                  <a:pt x="133055" y="4169871"/>
                  <a:pt x="133055" y="4183958"/>
                </a:cubicBezTo>
                <a:cubicBezTo>
                  <a:pt x="118967" y="4141697"/>
                  <a:pt x="104878" y="4113521"/>
                  <a:pt x="104878" y="4071259"/>
                </a:cubicBezTo>
                <a:cubicBezTo>
                  <a:pt x="104878" y="4071259"/>
                  <a:pt x="104878" y="4057172"/>
                  <a:pt x="90789" y="4057172"/>
                </a:cubicBezTo>
                <a:cubicBezTo>
                  <a:pt x="90789" y="4028997"/>
                  <a:pt x="90789" y="4014910"/>
                  <a:pt x="76702" y="3986735"/>
                </a:cubicBezTo>
                <a:cubicBezTo>
                  <a:pt x="62614" y="3944472"/>
                  <a:pt x="48525" y="3888123"/>
                  <a:pt x="48525" y="3859948"/>
                </a:cubicBezTo>
                <a:cubicBezTo>
                  <a:pt x="62614" y="3859948"/>
                  <a:pt x="62614" y="3859948"/>
                  <a:pt x="62614" y="3859948"/>
                </a:cubicBezTo>
                <a:cubicBezTo>
                  <a:pt x="62614" y="3859948"/>
                  <a:pt x="62614" y="3859948"/>
                  <a:pt x="62614" y="3845861"/>
                </a:cubicBezTo>
                <a:cubicBezTo>
                  <a:pt x="62614" y="3831773"/>
                  <a:pt x="62614" y="3817686"/>
                  <a:pt x="62614" y="3789512"/>
                </a:cubicBezTo>
                <a:lnTo>
                  <a:pt x="62614" y="3784228"/>
                </a:lnTo>
                <a:cubicBezTo>
                  <a:pt x="62614" y="3783347"/>
                  <a:pt x="62614" y="3782908"/>
                  <a:pt x="62614" y="3783567"/>
                </a:cubicBezTo>
                <a:lnTo>
                  <a:pt x="62614" y="3759575"/>
                </a:lnTo>
                <a:cubicBezTo>
                  <a:pt x="62614" y="3747248"/>
                  <a:pt x="62614" y="3733161"/>
                  <a:pt x="62614" y="3719074"/>
                </a:cubicBezTo>
                <a:cubicBezTo>
                  <a:pt x="62614" y="3704987"/>
                  <a:pt x="76702" y="3704987"/>
                  <a:pt x="62614" y="3676812"/>
                </a:cubicBezTo>
                <a:cubicBezTo>
                  <a:pt x="62614" y="3676812"/>
                  <a:pt x="62614" y="3662725"/>
                  <a:pt x="62614" y="3648637"/>
                </a:cubicBezTo>
                <a:cubicBezTo>
                  <a:pt x="62614" y="3648637"/>
                  <a:pt x="76702" y="3690899"/>
                  <a:pt x="76702" y="3690899"/>
                </a:cubicBezTo>
                <a:cubicBezTo>
                  <a:pt x="76702" y="3676812"/>
                  <a:pt x="76702" y="3676812"/>
                  <a:pt x="76702" y="3676812"/>
                </a:cubicBezTo>
                <a:cubicBezTo>
                  <a:pt x="76702" y="3634550"/>
                  <a:pt x="62614" y="3592287"/>
                  <a:pt x="62614" y="3564112"/>
                </a:cubicBezTo>
                <a:cubicBezTo>
                  <a:pt x="62614" y="3592287"/>
                  <a:pt x="62614" y="3620463"/>
                  <a:pt x="62614" y="3634550"/>
                </a:cubicBezTo>
                <a:cubicBezTo>
                  <a:pt x="62614" y="3634550"/>
                  <a:pt x="62614" y="3634550"/>
                  <a:pt x="48525" y="3620463"/>
                </a:cubicBezTo>
                <a:cubicBezTo>
                  <a:pt x="48525" y="3592287"/>
                  <a:pt x="48525" y="3592287"/>
                  <a:pt x="48525" y="3578200"/>
                </a:cubicBezTo>
                <a:cubicBezTo>
                  <a:pt x="48525" y="3564112"/>
                  <a:pt x="34436" y="3564112"/>
                  <a:pt x="34436" y="3550025"/>
                </a:cubicBezTo>
                <a:cubicBezTo>
                  <a:pt x="34436" y="3535938"/>
                  <a:pt x="34436" y="3535938"/>
                  <a:pt x="34436" y="3521850"/>
                </a:cubicBezTo>
                <a:cubicBezTo>
                  <a:pt x="34436" y="3451414"/>
                  <a:pt x="20349" y="3409151"/>
                  <a:pt x="20349" y="3366889"/>
                </a:cubicBezTo>
                <a:cubicBezTo>
                  <a:pt x="20349" y="3352801"/>
                  <a:pt x="6261" y="3338714"/>
                  <a:pt x="6261" y="3324627"/>
                </a:cubicBezTo>
                <a:cubicBezTo>
                  <a:pt x="6261" y="3282365"/>
                  <a:pt x="6261" y="3254190"/>
                  <a:pt x="6261" y="3226015"/>
                </a:cubicBezTo>
                <a:cubicBezTo>
                  <a:pt x="6261" y="3211927"/>
                  <a:pt x="6261" y="3197840"/>
                  <a:pt x="6261" y="3183753"/>
                </a:cubicBezTo>
                <a:cubicBezTo>
                  <a:pt x="6261" y="3169665"/>
                  <a:pt x="6261" y="3169665"/>
                  <a:pt x="6261" y="3155578"/>
                </a:cubicBezTo>
                <a:cubicBezTo>
                  <a:pt x="6261" y="3155578"/>
                  <a:pt x="6261" y="3155578"/>
                  <a:pt x="6261" y="3141491"/>
                </a:cubicBezTo>
                <a:cubicBezTo>
                  <a:pt x="-7828" y="3127404"/>
                  <a:pt x="6261" y="3085142"/>
                  <a:pt x="6261" y="3056966"/>
                </a:cubicBezTo>
                <a:cubicBezTo>
                  <a:pt x="6261" y="3028791"/>
                  <a:pt x="6261" y="3000616"/>
                  <a:pt x="6261" y="2958355"/>
                </a:cubicBezTo>
                <a:cubicBezTo>
                  <a:pt x="20349" y="2887917"/>
                  <a:pt x="20349" y="2887917"/>
                  <a:pt x="6261" y="2873830"/>
                </a:cubicBezTo>
                <a:cubicBezTo>
                  <a:pt x="6261" y="2873830"/>
                  <a:pt x="6261" y="2859742"/>
                  <a:pt x="6261" y="2859742"/>
                </a:cubicBezTo>
                <a:cubicBezTo>
                  <a:pt x="6261" y="2845655"/>
                  <a:pt x="6261" y="2845655"/>
                  <a:pt x="20349" y="2845655"/>
                </a:cubicBezTo>
                <a:cubicBezTo>
                  <a:pt x="20349" y="2845655"/>
                  <a:pt x="20349" y="2831568"/>
                  <a:pt x="20349" y="2831568"/>
                </a:cubicBezTo>
                <a:cubicBezTo>
                  <a:pt x="20349" y="2803393"/>
                  <a:pt x="20349" y="2789306"/>
                  <a:pt x="20349" y="2761131"/>
                </a:cubicBezTo>
                <a:cubicBezTo>
                  <a:pt x="20349" y="2747044"/>
                  <a:pt x="34436" y="2718869"/>
                  <a:pt x="34436" y="2704782"/>
                </a:cubicBezTo>
                <a:cubicBezTo>
                  <a:pt x="34436" y="2704782"/>
                  <a:pt x="34436" y="2704782"/>
                  <a:pt x="34436" y="2676606"/>
                </a:cubicBezTo>
                <a:cubicBezTo>
                  <a:pt x="34436" y="2634344"/>
                  <a:pt x="48525" y="2577995"/>
                  <a:pt x="62614" y="2521646"/>
                </a:cubicBezTo>
                <a:cubicBezTo>
                  <a:pt x="76702" y="2493470"/>
                  <a:pt x="90789" y="2451208"/>
                  <a:pt x="104878" y="2437121"/>
                </a:cubicBezTo>
                <a:cubicBezTo>
                  <a:pt x="104878" y="2437121"/>
                  <a:pt x="104878" y="2408946"/>
                  <a:pt x="118967" y="2394859"/>
                </a:cubicBezTo>
                <a:cubicBezTo>
                  <a:pt x="118967" y="2366684"/>
                  <a:pt x="118967" y="2338508"/>
                  <a:pt x="133055" y="2310334"/>
                </a:cubicBezTo>
                <a:cubicBezTo>
                  <a:pt x="147142" y="2296246"/>
                  <a:pt x="147142" y="2268072"/>
                  <a:pt x="161231" y="2253985"/>
                </a:cubicBezTo>
                <a:cubicBezTo>
                  <a:pt x="161231" y="2253985"/>
                  <a:pt x="161231" y="2253985"/>
                  <a:pt x="161231" y="2239897"/>
                </a:cubicBezTo>
                <a:cubicBezTo>
                  <a:pt x="161231" y="2225810"/>
                  <a:pt x="161231" y="2225810"/>
                  <a:pt x="161231" y="2211723"/>
                </a:cubicBezTo>
                <a:cubicBezTo>
                  <a:pt x="175319" y="2211723"/>
                  <a:pt x="175319" y="2211723"/>
                  <a:pt x="175319" y="2197635"/>
                </a:cubicBezTo>
                <a:cubicBezTo>
                  <a:pt x="175319" y="2197635"/>
                  <a:pt x="175319" y="2183548"/>
                  <a:pt x="175319" y="2155372"/>
                </a:cubicBezTo>
                <a:cubicBezTo>
                  <a:pt x="175319" y="2155372"/>
                  <a:pt x="175319" y="2155372"/>
                  <a:pt x="189407" y="2141285"/>
                </a:cubicBezTo>
                <a:cubicBezTo>
                  <a:pt x="189407" y="2141285"/>
                  <a:pt x="189407" y="2127198"/>
                  <a:pt x="189407" y="2113110"/>
                </a:cubicBezTo>
                <a:cubicBezTo>
                  <a:pt x="189407" y="2113110"/>
                  <a:pt x="189407" y="2113110"/>
                  <a:pt x="203495" y="2099023"/>
                </a:cubicBezTo>
                <a:cubicBezTo>
                  <a:pt x="203495" y="2084936"/>
                  <a:pt x="203495" y="2070849"/>
                  <a:pt x="217584" y="2056761"/>
                </a:cubicBezTo>
                <a:cubicBezTo>
                  <a:pt x="217584" y="2042674"/>
                  <a:pt x="217584" y="2042674"/>
                  <a:pt x="217584" y="2028587"/>
                </a:cubicBezTo>
                <a:cubicBezTo>
                  <a:pt x="217584" y="2014499"/>
                  <a:pt x="231672" y="2000412"/>
                  <a:pt x="231672" y="2000412"/>
                </a:cubicBezTo>
                <a:cubicBezTo>
                  <a:pt x="231672" y="2014499"/>
                  <a:pt x="245761" y="1986323"/>
                  <a:pt x="231672" y="2000412"/>
                </a:cubicBezTo>
                <a:cubicBezTo>
                  <a:pt x="259848" y="1958149"/>
                  <a:pt x="259848" y="1958149"/>
                  <a:pt x="245761" y="1958149"/>
                </a:cubicBezTo>
                <a:cubicBezTo>
                  <a:pt x="231672" y="1944061"/>
                  <a:pt x="245761" y="1929974"/>
                  <a:pt x="245761" y="1901800"/>
                </a:cubicBezTo>
                <a:cubicBezTo>
                  <a:pt x="273937" y="1873625"/>
                  <a:pt x="273937" y="1859538"/>
                  <a:pt x="259848" y="1873625"/>
                </a:cubicBezTo>
                <a:cubicBezTo>
                  <a:pt x="245761" y="1887712"/>
                  <a:pt x="245761" y="1887712"/>
                  <a:pt x="245761" y="1887712"/>
                </a:cubicBezTo>
                <a:cubicBezTo>
                  <a:pt x="231672" y="1915887"/>
                  <a:pt x="245761" y="1915887"/>
                  <a:pt x="217584" y="1972236"/>
                </a:cubicBezTo>
                <a:cubicBezTo>
                  <a:pt x="203495" y="1986323"/>
                  <a:pt x="203495" y="1986323"/>
                  <a:pt x="203495" y="1986323"/>
                </a:cubicBezTo>
                <a:cubicBezTo>
                  <a:pt x="203495" y="1986323"/>
                  <a:pt x="203495" y="2000412"/>
                  <a:pt x="203495" y="2000412"/>
                </a:cubicBezTo>
                <a:cubicBezTo>
                  <a:pt x="175319" y="2042674"/>
                  <a:pt x="189407" y="2014499"/>
                  <a:pt x="189407" y="2000412"/>
                </a:cubicBezTo>
                <a:cubicBezTo>
                  <a:pt x="189407" y="1972236"/>
                  <a:pt x="203495" y="1944061"/>
                  <a:pt x="203495" y="1915887"/>
                </a:cubicBezTo>
                <a:cubicBezTo>
                  <a:pt x="189407" y="1944061"/>
                  <a:pt x="189407" y="1958149"/>
                  <a:pt x="175319" y="1972236"/>
                </a:cubicBezTo>
                <a:lnTo>
                  <a:pt x="181786" y="1954455"/>
                </a:lnTo>
                <a:lnTo>
                  <a:pt x="189407" y="1944061"/>
                </a:lnTo>
                <a:cubicBezTo>
                  <a:pt x="189407" y="1944061"/>
                  <a:pt x="185885" y="1947583"/>
                  <a:pt x="182363" y="1952867"/>
                </a:cubicBezTo>
                <a:lnTo>
                  <a:pt x="181786" y="1954455"/>
                </a:lnTo>
                <a:lnTo>
                  <a:pt x="170036" y="1970476"/>
                </a:lnTo>
                <a:cubicBezTo>
                  <a:pt x="164753" y="1979280"/>
                  <a:pt x="161231" y="1986323"/>
                  <a:pt x="161231" y="1986323"/>
                </a:cubicBezTo>
                <a:cubicBezTo>
                  <a:pt x="161231" y="1972236"/>
                  <a:pt x="147142" y="2000412"/>
                  <a:pt x="147142" y="2000412"/>
                </a:cubicBezTo>
                <a:cubicBezTo>
                  <a:pt x="133055" y="2028587"/>
                  <a:pt x="133055" y="2028587"/>
                  <a:pt x="133055" y="2014499"/>
                </a:cubicBezTo>
                <a:cubicBezTo>
                  <a:pt x="118967" y="2042674"/>
                  <a:pt x="104878" y="2070849"/>
                  <a:pt x="76702" y="2099023"/>
                </a:cubicBezTo>
                <a:cubicBezTo>
                  <a:pt x="90789" y="2056761"/>
                  <a:pt x="104878" y="2042674"/>
                  <a:pt x="118967" y="2028587"/>
                </a:cubicBezTo>
                <a:cubicBezTo>
                  <a:pt x="118967" y="2018021"/>
                  <a:pt x="126891" y="2015379"/>
                  <a:pt x="130854" y="2002833"/>
                </a:cubicBezTo>
                <a:lnTo>
                  <a:pt x="131021" y="2001574"/>
                </a:lnTo>
                <a:lnTo>
                  <a:pt x="133055" y="2000412"/>
                </a:lnTo>
                <a:cubicBezTo>
                  <a:pt x="133055" y="1986323"/>
                  <a:pt x="133055" y="1986323"/>
                  <a:pt x="133055" y="1986323"/>
                </a:cubicBezTo>
                <a:lnTo>
                  <a:pt x="131021" y="2001574"/>
                </a:lnTo>
                <a:lnTo>
                  <a:pt x="120727" y="2007456"/>
                </a:lnTo>
                <a:cubicBezTo>
                  <a:pt x="118967" y="2010977"/>
                  <a:pt x="118967" y="2014499"/>
                  <a:pt x="118967" y="2014499"/>
                </a:cubicBezTo>
                <a:cubicBezTo>
                  <a:pt x="118967" y="2014499"/>
                  <a:pt x="118967" y="2014499"/>
                  <a:pt x="118967" y="2000412"/>
                </a:cubicBezTo>
                <a:cubicBezTo>
                  <a:pt x="118967" y="2000412"/>
                  <a:pt x="118967" y="2000412"/>
                  <a:pt x="118967" y="1986323"/>
                </a:cubicBezTo>
                <a:cubicBezTo>
                  <a:pt x="133055" y="1958149"/>
                  <a:pt x="133055" y="1958149"/>
                  <a:pt x="133055" y="1972236"/>
                </a:cubicBezTo>
                <a:cubicBezTo>
                  <a:pt x="133055" y="1972236"/>
                  <a:pt x="133055" y="1972236"/>
                  <a:pt x="147142" y="1972236"/>
                </a:cubicBezTo>
                <a:cubicBezTo>
                  <a:pt x="147142" y="1944061"/>
                  <a:pt x="161231" y="1944061"/>
                  <a:pt x="161231" y="1944061"/>
                </a:cubicBezTo>
                <a:cubicBezTo>
                  <a:pt x="161231" y="1944061"/>
                  <a:pt x="175319" y="1929974"/>
                  <a:pt x="175319" y="1929974"/>
                </a:cubicBezTo>
                <a:cubicBezTo>
                  <a:pt x="189407" y="1901800"/>
                  <a:pt x="217584" y="1859538"/>
                  <a:pt x="231672" y="1845450"/>
                </a:cubicBezTo>
                <a:cubicBezTo>
                  <a:pt x="231672" y="1845450"/>
                  <a:pt x="259848" y="1803188"/>
                  <a:pt x="259848" y="1803188"/>
                </a:cubicBezTo>
                <a:cubicBezTo>
                  <a:pt x="273937" y="1803188"/>
                  <a:pt x="288025" y="1775013"/>
                  <a:pt x="302113" y="1775013"/>
                </a:cubicBezTo>
                <a:cubicBezTo>
                  <a:pt x="316201" y="1746838"/>
                  <a:pt x="330290" y="1704576"/>
                  <a:pt x="358466" y="1676401"/>
                </a:cubicBezTo>
                <a:cubicBezTo>
                  <a:pt x="358466" y="1662314"/>
                  <a:pt x="358466" y="1648227"/>
                  <a:pt x="372554" y="1648227"/>
                </a:cubicBezTo>
                <a:cubicBezTo>
                  <a:pt x="372554" y="1648227"/>
                  <a:pt x="372554" y="1662314"/>
                  <a:pt x="372554" y="1662314"/>
                </a:cubicBezTo>
                <a:cubicBezTo>
                  <a:pt x="344378" y="1718663"/>
                  <a:pt x="344378" y="1746838"/>
                  <a:pt x="358466" y="1746838"/>
                </a:cubicBezTo>
                <a:cubicBezTo>
                  <a:pt x="358466" y="1746838"/>
                  <a:pt x="358466" y="1760925"/>
                  <a:pt x="330290" y="1803188"/>
                </a:cubicBezTo>
                <a:cubicBezTo>
                  <a:pt x="330290" y="1817276"/>
                  <a:pt x="316201" y="1831363"/>
                  <a:pt x="316201" y="1845450"/>
                </a:cubicBezTo>
                <a:cubicBezTo>
                  <a:pt x="288025" y="1887712"/>
                  <a:pt x="259848" y="1929974"/>
                  <a:pt x="259848" y="1972236"/>
                </a:cubicBezTo>
                <a:cubicBezTo>
                  <a:pt x="245761" y="1986323"/>
                  <a:pt x="245761" y="1986323"/>
                  <a:pt x="245761" y="2000412"/>
                </a:cubicBezTo>
                <a:cubicBezTo>
                  <a:pt x="245761" y="2028587"/>
                  <a:pt x="231672" y="2042674"/>
                  <a:pt x="217584" y="2070849"/>
                </a:cubicBezTo>
                <a:cubicBezTo>
                  <a:pt x="217584" y="2099023"/>
                  <a:pt x="217584" y="2127198"/>
                  <a:pt x="203495" y="2169459"/>
                </a:cubicBezTo>
                <a:cubicBezTo>
                  <a:pt x="203495" y="2169459"/>
                  <a:pt x="203495" y="2169459"/>
                  <a:pt x="189407" y="2169459"/>
                </a:cubicBezTo>
                <a:cubicBezTo>
                  <a:pt x="189407" y="2183548"/>
                  <a:pt x="189407" y="2197635"/>
                  <a:pt x="189407" y="2225810"/>
                </a:cubicBezTo>
                <a:cubicBezTo>
                  <a:pt x="175319" y="2225810"/>
                  <a:pt x="175319" y="2253985"/>
                  <a:pt x="175319" y="2268072"/>
                </a:cubicBezTo>
                <a:cubicBezTo>
                  <a:pt x="175319" y="2282159"/>
                  <a:pt x="175319" y="2282159"/>
                  <a:pt x="175319" y="2282159"/>
                </a:cubicBezTo>
                <a:cubicBezTo>
                  <a:pt x="161231" y="2296246"/>
                  <a:pt x="161231" y="2310334"/>
                  <a:pt x="161231" y="2324421"/>
                </a:cubicBezTo>
                <a:cubicBezTo>
                  <a:pt x="161231" y="2338508"/>
                  <a:pt x="161231" y="2352596"/>
                  <a:pt x="175319" y="2338508"/>
                </a:cubicBezTo>
                <a:cubicBezTo>
                  <a:pt x="175319" y="2324421"/>
                  <a:pt x="175319" y="2296246"/>
                  <a:pt x="189407" y="2253985"/>
                </a:cubicBezTo>
                <a:cubicBezTo>
                  <a:pt x="189407" y="2253985"/>
                  <a:pt x="189407" y="2225810"/>
                  <a:pt x="203495" y="2211723"/>
                </a:cubicBezTo>
                <a:cubicBezTo>
                  <a:pt x="203495" y="2211723"/>
                  <a:pt x="203495" y="2211723"/>
                  <a:pt x="203495" y="2197635"/>
                </a:cubicBezTo>
                <a:cubicBezTo>
                  <a:pt x="203495" y="2183548"/>
                  <a:pt x="203495" y="2183548"/>
                  <a:pt x="203495" y="2183548"/>
                </a:cubicBezTo>
                <a:cubicBezTo>
                  <a:pt x="217584" y="2169459"/>
                  <a:pt x="217584" y="2169459"/>
                  <a:pt x="217584" y="2155372"/>
                </a:cubicBezTo>
                <a:cubicBezTo>
                  <a:pt x="217584" y="2155372"/>
                  <a:pt x="217584" y="2141285"/>
                  <a:pt x="231672" y="2127198"/>
                </a:cubicBezTo>
                <a:cubicBezTo>
                  <a:pt x="231672" y="2127198"/>
                  <a:pt x="231672" y="2130719"/>
                  <a:pt x="231672" y="2136003"/>
                </a:cubicBezTo>
                <a:lnTo>
                  <a:pt x="231672" y="2149429"/>
                </a:lnTo>
                <a:cubicBezTo>
                  <a:pt x="231672" y="2148770"/>
                  <a:pt x="231672" y="2149210"/>
                  <a:pt x="231672" y="2150090"/>
                </a:cubicBezTo>
                <a:lnTo>
                  <a:pt x="231672" y="2155372"/>
                </a:lnTo>
                <a:cubicBezTo>
                  <a:pt x="245761" y="2141285"/>
                  <a:pt x="245761" y="2127198"/>
                  <a:pt x="259848" y="2113110"/>
                </a:cubicBezTo>
                <a:cubicBezTo>
                  <a:pt x="245761" y="2113110"/>
                  <a:pt x="245761" y="2127198"/>
                  <a:pt x="245761" y="2113110"/>
                </a:cubicBezTo>
                <a:cubicBezTo>
                  <a:pt x="245761" y="2113110"/>
                  <a:pt x="245761" y="2113110"/>
                  <a:pt x="245761" y="2099023"/>
                </a:cubicBezTo>
                <a:cubicBezTo>
                  <a:pt x="245761" y="2099023"/>
                  <a:pt x="259848" y="2084936"/>
                  <a:pt x="259848" y="2084936"/>
                </a:cubicBezTo>
                <a:cubicBezTo>
                  <a:pt x="259848" y="2084936"/>
                  <a:pt x="259848" y="2084936"/>
                  <a:pt x="273937" y="2056761"/>
                </a:cubicBezTo>
                <a:cubicBezTo>
                  <a:pt x="273937" y="2042674"/>
                  <a:pt x="288025" y="2028587"/>
                  <a:pt x="288025" y="2028587"/>
                </a:cubicBezTo>
                <a:cubicBezTo>
                  <a:pt x="288025" y="2028587"/>
                  <a:pt x="288025" y="2042674"/>
                  <a:pt x="288025" y="2056761"/>
                </a:cubicBezTo>
                <a:cubicBezTo>
                  <a:pt x="273937" y="2056761"/>
                  <a:pt x="273937" y="2070849"/>
                  <a:pt x="273937" y="2084936"/>
                </a:cubicBezTo>
                <a:cubicBezTo>
                  <a:pt x="273937" y="2099023"/>
                  <a:pt x="273937" y="2084936"/>
                  <a:pt x="288025" y="2070849"/>
                </a:cubicBezTo>
                <a:cubicBezTo>
                  <a:pt x="288025" y="2056761"/>
                  <a:pt x="302113" y="2042674"/>
                  <a:pt x="302113" y="2028587"/>
                </a:cubicBezTo>
                <a:cubicBezTo>
                  <a:pt x="302113" y="2014499"/>
                  <a:pt x="302113" y="2014499"/>
                  <a:pt x="302113" y="2014499"/>
                </a:cubicBezTo>
                <a:cubicBezTo>
                  <a:pt x="316201" y="2000412"/>
                  <a:pt x="316201" y="1986323"/>
                  <a:pt x="330290" y="1972236"/>
                </a:cubicBezTo>
                <a:cubicBezTo>
                  <a:pt x="344378" y="1958149"/>
                  <a:pt x="344378" y="1929974"/>
                  <a:pt x="344378" y="1958149"/>
                </a:cubicBezTo>
                <a:cubicBezTo>
                  <a:pt x="344378" y="1958149"/>
                  <a:pt x="344378" y="1958149"/>
                  <a:pt x="358466" y="1944061"/>
                </a:cubicBezTo>
                <a:cubicBezTo>
                  <a:pt x="344378" y="1944061"/>
                  <a:pt x="358466" y="1915887"/>
                  <a:pt x="372554" y="1887712"/>
                </a:cubicBezTo>
                <a:cubicBezTo>
                  <a:pt x="386643" y="1873625"/>
                  <a:pt x="386643" y="1859538"/>
                  <a:pt x="400731" y="1845450"/>
                </a:cubicBezTo>
                <a:cubicBezTo>
                  <a:pt x="386643" y="1845450"/>
                  <a:pt x="386643" y="1845450"/>
                  <a:pt x="386643" y="1859538"/>
                </a:cubicBezTo>
                <a:cubicBezTo>
                  <a:pt x="386643" y="1859538"/>
                  <a:pt x="386643" y="1859538"/>
                  <a:pt x="372554" y="1859538"/>
                </a:cubicBezTo>
                <a:cubicBezTo>
                  <a:pt x="372554" y="1873625"/>
                  <a:pt x="372554" y="1873625"/>
                  <a:pt x="372554" y="1873625"/>
                </a:cubicBezTo>
                <a:cubicBezTo>
                  <a:pt x="358466" y="1887712"/>
                  <a:pt x="344378" y="1887712"/>
                  <a:pt x="358466" y="1845450"/>
                </a:cubicBezTo>
                <a:cubicBezTo>
                  <a:pt x="400731" y="1789100"/>
                  <a:pt x="400731" y="1760925"/>
                  <a:pt x="428907" y="1718663"/>
                </a:cubicBezTo>
                <a:cubicBezTo>
                  <a:pt x="442996" y="1704576"/>
                  <a:pt x="442996" y="1690489"/>
                  <a:pt x="442996" y="1676401"/>
                </a:cubicBezTo>
                <a:cubicBezTo>
                  <a:pt x="457083" y="1648227"/>
                  <a:pt x="471171" y="1634138"/>
                  <a:pt x="471171" y="1634138"/>
                </a:cubicBezTo>
                <a:cubicBezTo>
                  <a:pt x="457083" y="1620051"/>
                  <a:pt x="471171" y="1605964"/>
                  <a:pt x="485260" y="1591876"/>
                </a:cubicBezTo>
                <a:cubicBezTo>
                  <a:pt x="485260" y="1577789"/>
                  <a:pt x="499349" y="1577789"/>
                  <a:pt x="499349" y="1577789"/>
                </a:cubicBezTo>
                <a:cubicBezTo>
                  <a:pt x="499349" y="1577789"/>
                  <a:pt x="513436" y="1549614"/>
                  <a:pt x="527524" y="1521440"/>
                </a:cubicBezTo>
                <a:cubicBezTo>
                  <a:pt x="541613" y="1507353"/>
                  <a:pt x="555702" y="1493265"/>
                  <a:pt x="555702" y="1479178"/>
                </a:cubicBezTo>
                <a:cubicBezTo>
                  <a:pt x="569789" y="1479178"/>
                  <a:pt x="597966" y="1436915"/>
                  <a:pt x="597966" y="1451002"/>
                </a:cubicBezTo>
                <a:cubicBezTo>
                  <a:pt x="569789" y="1479178"/>
                  <a:pt x="569789" y="1521440"/>
                  <a:pt x="527524" y="1563702"/>
                </a:cubicBezTo>
                <a:cubicBezTo>
                  <a:pt x="513436" y="1591876"/>
                  <a:pt x="499349" y="1605964"/>
                  <a:pt x="499349" y="1620051"/>
                </a:cubicBezTo>
                <a:cubicBezTo>
                  <a:pt x="499349" y="1634138"/>
                  <a:pt x="513436" y="1605964"/>
                  <a:pt x="527524" y="1591876"/>
                </a:cubicBezTo>
                <a:cubicBezTo>
                  <a:pt x="527524" y="1591876"/>
                  <a:pt x="527524" y="1577789"/>
                  <a:pt x="527524" y="1577789"/>
                </a:cubicBezTo>
                <a:cubicBezTo>
                  <a:pt x="555702" y="1535527"/>
                  <a:pt x="583877" y="1479178"/>
                  <a:pt x="612055" y="1436915"/>
                </a:cubicBezTo>
                <a:cubicBezTo>
                  <a:pt x="626142" y="1422828"/>
                  <a:pt x="626142" y="1408740"/>
                  <a:pt x="640230" y="1394653"/>
                </a:cubicBezTo>
                <a:cubicBezTo>
                  <a:pt x="654319" y="1366478"/>
                  <a:pt x="668406" y="1352391"/>
                  <a:pt x="668406" y="1338304"/>
                </a:cubicBezTo>
                <a:cubicBezTo>
                  <a:pt x="682495" y="1338304"/>
                  <a:pt x="696583" y="1324216"/>
                  <a:pt x="696583" y="1310129"/>
                </a:cubicBezTo>
                <a:cubicBezTo>
                  <a:pt x="724760" y="1281953"/>
                  <a:pt x="724760" y="1281953"/>
                  <a:pt x="738848" y="1253779"/>
                </a:cubicBezTo>
                <a:cubicBezTo>
                  <a:pt x="752936" y="1253779"/>
                  <a:pt x="752936" y="1239691"/>
                  <a:pt x="752936" y="1239691"/>
                </a:cubicBezTo>
                <a:cubicBezTo>
                  <a:pt x="795201" y="1197430"/>
                  <a:pt x="823378" y="1155168"/>
                  <a:pt x="865642" y="1112904"/>
                </a:cubicBezTo>
                <a:cubicBezTo>
                  <a:pt x="865642" y="1098817"/>
                  <a:pt x="879731" y="1084730"/>
                  <a:pt x="893818" y="1070642"/>
                </a:cubicBezTo>
                <a:cubicBezTo>
                  <a:pt x="907907" y="1056555"/>
                  <a:pt x="921995" y="1042468"/>
                  <a:pt x="921995" y="1042468"/>
                </a:cubicBezTo>
                <a:cubicBezTo>
                  <a:pt x="921995" y="1042468"/>
                  <a:pt x="936082" y="1028381"/>
                  <a:pt x="936082" y="1028381"/>
                </a:cubicBezTo>
                <a:cubicBezTo>
                  <a:pt x="907907" y="1042468"/>
                  <a:pt x="936082" y="1014293"/>
                  <a:pt x="950171" y="1000206"/>
                </a:cubicBezTo>
                <a:cubicBezTo>
                  <a:pt x="950171" y="1000206"/>
                  <a:pt x="964260" y="986119"/>
                  <a:pt x="964260" y="986119"/>
                </a:cubicBezTo>
                <a:cubicBezTo>
                  <a:pt x="978348" y="957944"/>
                  <a:pt x="1020613" y="915681"/>
                  <a:pt x="1048788" y="887506"/>
                </a:cubicBezTo>
                <a:cubicBezTo>
                  <a:pt x="1048788" y="887506"/>
                  <a:pt x="1062877" y="887506"/>
                  <a:pt x="1062877" y="873419"/>
                </a:cubicBezTo>
                <a:cubicBezTo>
                  <a:pt x="1062877" y="873419"/>
                  <a:pt x="1062877" y="873419"/>
                  <a:pt x="1076965" y="873419"/>
                </a:cubicBezTo>
                <a:cubicBezTo>
                  <a:pt x="1076965" y="859332"/>
                  <a:pt x="1091053" y="859332"/>
                  <a:pt x="1091053" y="845244"/>
                </a:cubicBezTo>
                <a:cubicBezTo>
                  <a:pt x="1091053" y="845244"/>
                  <a:pt x="1105141" y="845244"/>
                  <a:pt x="1105141" y="831157"/>
                </a:cubicBezTo>
                <a:cubicBezTo>
                  <a:pt x="1119230" y="817070"/>
                  <a:pt x="1119230" y="817070"/>
                  <a:pt x="1119230" y="817070"/>
                </a:cubicBezTo>
                <a:cubicBezTo>
                  <a:pt x="1133318" y="802983"/>
                  <a:pt x="1147407" y="788895"/>
                  <a:pt x="1161494" y="774808"/>
                </a:cubicBezTo>
                <a:cubicBezTo>
                  <a:pt x="1175583" y="774808"/>
                  <a:pt x="1189671" y="760719"/>
                  <a:pt x="1189671" y="760719"/>
                </a:cubicBezTo>
                <a:cubicBezTo>
                  <a:pt x="1189671" y="774808"/>
                  <a:pt x="1189671" y="760719"/>
                  <a:pt x="1203759" y="746632"/>
                </a:cubicBezTo>
                <a:cubicBezTo>
                  <a:pt x="1231936" y="732545"/>
                  <a:pt x="1231936" y="732545"/>
                  <a:pt x="1231936" y="732545"/>
                </a:cubicBezTo>
                <a:cubicBezTo>
                  <a:pt x="1246024" y="732545"/>
                  <a:pt x="1260112" y="718457"/>
                  <a:pt x="1288289" y="704370"/>
                </a:cubicBezTo>
                <a:cubicBezTo>
                  <a:pt x="1302377" y="690283"/>
                  <a:pt x="1330553" y="676196"/>
                  <a:pt x="1358729" y="662108"/>
                </a:cubicBezTo>
                <a:cubicBezTo>
                  <a:pt x="1386906" y="633934"/>
                  <a:pt x="1415083" y="605759"/>
                  <a:pt x="1429170" y="591672"/>
                </a:cubicBezTo>
                <a:cubicBezTo>
                  <a:pt x="1443259" y="577583"/>
                  <a:pt x="1457348" y="577583"/>
                  <a:pt x="1471435" y="563496"/>
                </a:cubicBezTo>
                <a:cubicBezTo>
                  <a:pt x="1485523" y="549409"/>
                  <a:pt x="1513700" y="535321"/>
                  <a:pt x="1527788" y="521234"/>
                </a:cubicBezTo>
                <a:cubicBezTo>
                  <a:pt x="1541876" y="521234"/>
                  <a:pt x="1541876" y="521234"/>
                  <a:pt x="1541876" y="507147"/>
                </a:cubicBezTo>
                <a:cubicBezTo>
                  <a:pt x="1555965" y="507147"/>
                  <a:pt x="1570053" y="493059"/>
                  <a:pt x="1584141" y="493059"/>
                </a:cubicBezTo>
                <a:cubicBezTo>
                  <a:pt x="1598229" y="478972"/>
                  <a:pt x="1598229" y="478972"/>
                  <a:pt x="1598229" y="464885"/>
                </a:cubicBezTo>
                <a:cubicBezTo>
                  <a:pt x="1612318" y="464885"/>
                  <a:pt x="1612318" y="464885"/>
                  <a:pt x="1626406" y="464885"/>
                </a:cubicBezTo>
                <a:cubicBezTo>
                  <a:pt x="1668671" y="436710"/>
                  <a:pt x="1739111" y="380360"/>
                  <a:pt x="1753200" y="366272"/>
                </a:cubicBezTo>
                <a:cubicBezTo>
                  <a:pt x="1767288" y="352185"/>
                  <a:pt x="1781377" y="352185"/>
                  <a:pt x="1795464" y="338098"/>
                </a:cubicBezTo>
                <a:cubicBezTo>
                  <a:pt x="1809553" y="338098"/>
                  <a:pt x="1823641" y="324010"/>
                  <a:pt x="1823641" y="338098"/>
                </a:cubicBezTo>
                <a:cubicBezTo>
                  <a:pt x="1837730" y="338098"/>
                  <a:pt x="1851817" y="324010"/>
                  <a:pt x="1865906" y="324010"/>
                </a:cubicBezTo>
                <a:cubicBezTo>
                  <a:pt x="1894083" y="295836"/>
                  <a:pt x="1936347" y="281749"/>
                  <a:pt x="1964523" y="267661"/>
                </a:cubicBezTo>
                <a:cubicBezTo>
                  <a:pt x="1978611" y="253574"/>
                  <a:pt x="1978611" y="253574"/>
                  <a:pt x="1992700" y="253574"/>
                </a:cubicBezTo>
                <a:cubicBezTo>
                  <a:pt x="1992700" y="239487"/>
                  <a:pt x="2020876" y="239487"/>
                  <a:pt x="2034965" y="225398"/>
                </a:cubicBezTo>
                <a:cubicBezTo>
                  <a:pt x="2063140" y="225398"/>
                  <a:pt x="2077229" y="211311"/>
                  <a:pt x="2091317" y="197224"/>
                </a:cubicBezTo>
                <a:cubicBezTo>
                  <a:pt x="2133582" y="183136"/>
                  <a:pt x="2189935" y="169049"/>
                  <a:pt x="2232199" y="140874"/>
                </a:cubicBezTo>
                <a:cubicBezTo>
                  <a:pt x="2260376" y="126787"/>
                  <a:pt x="2288552" y="126787"/>
                  <a:pt x="2316729" y="112700"/>
                </a:cubicBezTo>
                <a:cubicBezTo>
                  <a:pt x="2344905" y="98612"/>
                  <a:pt x="2373081" y="84525"/>
                  <a:pt x="2415347" y="84525"/>
                </a:cubicBezTo>
                <a:cubicBezTo>
                  <a:pt x="2429434" y="84525"/>
                  <a:pt x="2429434" y="70438"/>
                  <a:pt x="2429434" y="70438"/>
                </a:cubicBezTo>
                <a:cubicBezTo>
                  <a:pt x="2443523" y="70438"/>
                  <a:pt x="2443523" y="70438"/>
                  <a:pt x="2457611" y="70438"/>
                </a:cubicBezTo>
                <a:cubicBezTo>
                  <a:pt x="2528052" y="56349"/>
                  <a:pt x="2598493" y="28175"/>
                  <a:pt x="2668934" y="14087"/>
                </a:cubicBezTo>
                <a:cubicBezTo>
                  <a:pt x="2683023" y="14087"/>
                  <a:pt x="2697110" y="14087"/>
                  <a:pt x="2711199" y="14087"/>
                </a:cubicBezTo>
                <a:cubicBezTo>
                  <a:pt x="2753463" y="0"/>
                  <a:pt x="2781640" y="0"/>
                  <a:pt x="2781640" y="0"/>
                </a:cubicBezTo>
                <a:close/>
              </a:path>
            </a:pathLst>
          </a:custGeom>
          <a:solidFill>
            <a:schemeClr val="bg1">
              <a:lumMod val="95000"/>
            </a:schemeClr>
          </a:solidFill>
        </p:spPr>
        <p:txBody>
          <a:bodyPr wrap="square" anchor="ctr">
            <a:noAutofit/>
          </a:bodyPr>
          <a:lstStyle>
            <a:lvl1pPr marL="0" indent="0" algn="ctr">
              <a:buFontTx/>
              <a:buNone/>
              <a:defRPr sz="1200">
                <a:solidFill>
                  <a:schemeClr val="tx1"/>
                </a:solidFill>
              </a:defRPr>
            </a:lvl1pPr>
          </a:lstStyle>
          <a:p>
            <a:r>
              <a:rPr lang="en-US"/>
              <a:t>Image</a:t>
            </a:r>
          </a:p>
        </p:txBody>
      </p:sp>
    </p:spTree>
    <p:extLst>
      <p:ext uri="{BB962C8B-B14F-4D97-AF65-F5344CB8AC3E}">
        <p14:creationId xmlns:p14="http://schemas.microsoft.com/office/powerpoint/2010/main" val="1973462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Freeform 5"/>
          <p:cNvSpPr>
            <a:spLocks noGrp="1"/>
          </p:cNvSpPr>
          <p:nvPr>
            <p:ph type="pic" sz="quarter" idx="10"/>
          </p:nvPr>
        </p:nvSpPr>
        <p:spPr>
          <a:xfrm>
            <a:off x="0" y="0"/>
            <a:ext cx="6419850" cy="6858000"/>
          </a:xfrm>
          <a:custGeom>
            <a:avLst/>
            <a:gdLst>
              <a:gd name="connsiteX0" fmla="*/ 0 w 6419850"/>
              <a:gd name="connsiteY0" fmla="*/ 0 h 6858000"/>
              <a:gd name="connsiteX1" fmla="*/ 3295650 w 6419850"/>
              <a:gd name="connsiteY1" fmla="*/ 0 h 6858000"/>
              <a:gd name="connsiteX2" fmla="*/ 6419850 w 6419850"/>
              <a:gd name="connsiteY2" fmla="*/ 3124200 h 6858000"/>
              <a:gd name="connsiteX3" fmla="*/ 2686050 w 6419850"/>
              <a:gd name="connsiteY3" fmla="*/ 6858000 h 6858000"/>
              <a:gd name="connsiteX4" fmla="*/ 0 w 64198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9850" h="6858000">
                <a:moveTo>
                  <a:pt x="0" y="0"/>
                </a:moveTo>
                <a:lnTo>
                  <a:pt x="3295650" y="0"/>
                </a:lnTo>
                <a:lnTo>
                  <a:pt x="6419850" y="3124200"/>
                </a:lnTo>
                <a:lnTo>
                  <a:pt x="2686050" y="6858000"/>
                </a:lnTo>
                <a:lnTo>
                  <a:pt x="0" y="6858000"/>
                </a:lnTo>
                <a:close/>
              </a:path>
            </a:pathLst>
          </a:custGeom>
        </p:spPr>
        <p:txBody>
          <a:bodyPr wrap="square">
            <a:noAutofit/>
          </a:bodyPr>
          <a:lstStyle/>
          <a:p>
            <a:endParaRPr lang="en-US"/>
          </a:p>
        </p:txBody>
      </p:sp>
    </p:spTree>
    <p:extLst>
      <p:ext uri="{BB962C8B-B14F-4D97-AF65-F5344CB8AC3E}">
        <p14:creationId xmlns:p14="http://schemas.microsoft.com/office/powerpoint/2010/main" val="2721622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9_Custom Layout">
    <p:spTree>
      <p:nvGrpSpPr>
        <p:cNvPr id="1" name=""/>
        <p:cNvGrpSpPr/>
        <p:nvPr/>
      </p:nvGrpSpPr>
      <p:grpSpPr>
        <a:xfrm>
          <a:off x="0" y="0"/>
          <a:ext cx="0" cy="0"/>
          <a:chOff x="0" y="0"/>
          <a:chExt cx="0" cy="0"/>
        </a:xfrm>
      </p:grpSpPr>
      <p:sp>
        <p:nvSpPr>
          <p:cNvPr id="6" name="Freeform 5"/>
          <p:cNvSpPr>
            <a:spLocks noGrp="1"/>
          </p:cNvSpPr>
          <p:nvPr>
            <p:ph type="pic" sz="quarter" idx="19" hasCustomPrompt="1"/>
          </p:nvPr>
        </p:nvSpPr>
        <p:spPr>
          <a:xfrm>
            <a:off x="4267200" y="0"/>
            <a:ext cx="7945998" cy="7437990"/>
          </a:xfrm>
          <a:custGeom>
            <a:avLst/>
            <a:gdLst>
              <a:gd name="connsiteX0" fmla="*/ 5904801 w 7945998"/>
              <a:gd name="connsiteY0" fmla="*/ 5437624 h 7437990"/>
              <a:gd name="connsiteX1" fmla="*/ 6117198 w 7945998"/>
              <a:gd name="connsiteY1" fmla="*/ 5634404 h 7437990"/>
              <a:gd name="connsiteX2" fmla="*/ 6117198 w 7945998"/>
              <a:gd name="connsiteY2" fmla="*/ 7150621 h 7437990"/>
              <a:gd name="connsiteX3" fmla="*/ 5904801 w 7945998"/>
              <a:gd name="connsiteY3" fmla="*/ 7347401 h 7437990"/>
              <a:gd name="connsiteX4" fmla="*/ 5695127 w 7945998"/>
              <a:gd name="connsiteY4" fmla="*/ 7150621 h 7437990"/>
              <a:gd name="connsiteX5" fmla="*/ 5695127 w 7945998"/>
              <a:gd name="connsiteY5" fmla="*/ 5634404 h 7437990"/>
              <a:gd name="connsiteX6" fmla="*/ 5904801 w 7945998"/>
              <a:gd name="connsiteY6" fmla="*/ 5437624 h 7437990"/>
              <a:gd name="connsiteX7" fmla="*/ 3069455 w 7945998"/>
              <a:gd name="connsiteY7" fmla="*/ 4014908 h 7437990"/>
              <a:gd name="connsiteX8" fmla="*/ 3100046 w 7945998"/>
              <a:gd name="connsiteY8" fmla="*/ 4057591 h 7437990"/>
              <a:gd name="connsiteX9" fmla="*/ 3201784 w 7945998"/>
              <a:gd name="connsiteY9" fmla="*/ 4108647 h 7437990"/>
              <a:gd name="connsiteX10" fmla="*/ 3204775 w 7945998"/>
              <a:gd name="connsiteY10" fmla="*/ 4108926 h 7437990"/>
              <a:gd name="connsiteX11" fmla="*/ 3173529 w 7945998"/>
              <a:gd name="connsiteY11" fmla="*/ 4065871 h 7437990"/>
              <a:gd name="connsiteX12" fmla="*/ 3071791 w 7945998"/>
              <a:gd name="connsiteY12" fmla="*/ 4015125 h 7437990"/>
              <a:gd name="connsiteX13" fmla="*/ 7733601 w 7945998"/>
              <a:gd name="connsiteY13" fmla="*/ 3579214 h 7437990"/>
              <a:gd name="connsiteX14" fmla="*/ 7945998 w 7945998"/>
              <a:gd name="connsiteY14" fmla="*/ 3775994 h 7437990"/>
              <a:gd name="connsiteX15" fmla="*/ 7945998 w 7945998"/>
              <a:gd name="connsiteY15" fmla="*/ 5292211 h 7437990"/>
              <a:gd name="connsiteX16" fmla="*/ 7733601 w 7945998"/>
              <a:gd name="connsiteY16" fmla="*/ 5488991 h 7437990"/>
              <a:gd name="connsiteX17" fmla="*/ 7523927 w 7945998"/>
              <a:gd name="connsiteY17" fmla="*/ 5292211 h 7437990"/>
              <a:gd name="connsiteX18" fmla="*/ 7523927 w 7945998"/>
              <a:gd name="connsiteY18" fmla="*/ 3775994 h 7437990"/>
              <a:gd name="connsiteX19" fmla="*/ 7733601 w 7945998"/>
              <a:gd name="connsiteY19" fmla="*/ 3579214 h 7437990"/>
              <a:gd name="connsiteX20" fmla="*/ 7733601 w 7945998"/>
              <a:gd name="connsiteY20" fmla="*/ 1519687 h 7437990"/>
              <a:gd name="connsiteX21" fmla="*/ 7945998 w 7945998"/>
              <a:gd name="connsiteY21" fmla="*/ 1716497 h 7437990"/>
              <a:gd name="connsiteX22" fmla="*/ 7945998 w 7945998"/>
              <a:gd name="connsiteY22" fmla="*/ 2498692 h 7437990"/>
              <a:gd name="connsiteX23" fmla="*/ 7733601 w 7945998"/>
              <a:gd name="connsiteY23" fmla="*/ 2695503 h 7437990"/>
              <a:gd name="connsiteX24" fmla="*/ 7523927 w 7945998"/>
              <a:gd name="connsiteY24" fmla="*/ 2498692 h 7437990"/>
              <a:gd name="connsiteX25" fmla="*/ 7523927 w 7945998"/>
              <a:gd name="connsiteY25" fmla="*/ 1716497 h 7437990"/>
              <a:gd name="connsiteX26" fmla="*/ 7733601 w 7945998"/>
              <a:gd name="connsiteY26" fmla="*/ 1519687 h 7437990"/>
              <a:gd name="connsiteX27" fmla="*/ 2626087 w 7945998"/>
              <a:gd name="connsiteY27" fmla="*/ 0 h 7437990"/>
              <a:gd name="connsiteX28" fmla="*/ 2829976 w 7945998"/>
              <a:gd name="connsiteY28" fmla="*/ 186574 h 7437990"/>
              <a:gd name="connsiteX29" fmla="*/ 2829976 w 7945998"/>
              <a:gd name="connsiteY29" fmla="*/ 801765 h 7437990"/>
              <a:gd name="connsiteX30" fmla="*/ 3031146 w 7945998"/>
              <a:gd name="connsiteY30" fmla="*/ 988339 h 7437990"/>
              <a:gd name="connsiteX31" fmla="*/ 3232316 w 7945998"/>
              <a:gd name="connsiteY31" fmla="*/ 801765 h 7437990"/>
              <a:gd name="connsiteX32" fmla="*/ 3232316 w 7945998"/>
              <a:gd name="connsiteY32" fmla="*/ 708478 h 7437990"/>
              <a:gd name="connsiteX33" fmla="*/ 3436204 w 7945998"/>
              <a:gd name="connsiteY33" fmla="*/ 519383 h 7437990"/>
              <a:gd name="connsiteX34" fmla="*/ 3637375 w 7945998"/>
              <a:gd name="connsiteY34" fmla="*/ 708478 h 7437990"/>
              <a:gd name="connsiteX35" fmla="*/ 3637375 w 7945998"/>
              <a:gd name="connsiteY35" fmla="*/ 3288758 h 7437990"/>
              <a:gd name="connsiteX36" fmla="*/ 3637375 w 7945998"/>
              <a:gd name="connsiteY36" fmla="*/ 3409933 h 7437990"/>
              <a:gd name="connsiteX37" fmla="*/ 3647487 w 7945998"/>
              <a:gd name="connsiteY37" fmla="*/ 3408993 h 7437990"/>
              <a:gd name="connsiteX38" fmla="*/ 3650206 w 7945998"/>
              <a:gd name="connsiteY38" fmla="*/ 3408993 h 7437990"/>
              <a:gd name="connsiteX39" fmla="*/ 3657600 w 7945998"/>
              <a:gd name="connsiteY39" fmla="*/ 3408928 h 7437990"/>
              <a:gd name="connsiteX40" fmla="*/ 3657600 w 7945998"/>
              <a:gd name="connsiteY40" fmla="*/ 3334116 h 7437990"/>
              <a:gd name="connsiteX41" fmla="*/ 3657600 w 7945998"/>
              <a:gd name="connsiteY41" fmla="*/ 847148 h 7437990"/>
              <a:gd name="connsiteX42" fmla="*/ 3858770 w 7945998"/>
              <a:gd name="connsiteY42" fmla="*/ 660574 h 7437990"/>
              <a:gd name="connsiteX43" fmla="*/ 3875081 w 7945998"/>
              <a:gd name="connsiteY43" fmla="*/ 660574 h 7437990"/>
              <a:gd name="connsiteX44" fmla="*/ 3964793 w 7945998"/>
              <a:gd name="connsiteY44" fmla="*/ 645446 h 7437990"/>
              <a:gd name="connsiteX45" fmla="*/ 4062659 w 7945998"/>
              <a:gd name="connsiteY45" fmla="*/ 496691 h 7437990"/>
              <a:gd name="connsiteX46" fmla="*/ 4062659 w 7945998"/>
              <a:gd name="connsiteY46" fmla="*/ 239521 h 7437990"/>
              <a:gd name="connsiteX47" fmla="*/ 4263829 w 7945998"/>
              <a:gd name="connsiteY47" fmla="*/ 50426 h 7437990"/>
              <a:gd name="connsiteX48" fmla="*/ 4464999 w 7945998"/>
              <a:gd name="connsiteY48" fmla="*/ 239521 h 7437990"/>
              <a:gd name="connsiteX49" fmla="*/ 4464999 w 7945998"/>
              <a:gd name="connsiteY49" fmla="*/ 635361 h 7437990"/>
              <a:gd name="connsiteX50" fmla="*/ 4562866 w 7945998"/>
              <a:gd name="connsiteY50" fmla="*/ 784116 h 7437990"/>
              <a:gd name="connsiteX51" fmla="*/ 4682480 w 7945998"/>
              <a:gd name="connsiteY51" fmla="*/ 801765 h 7437990"/>
              <a:gd name="connsiteX52" fmla="*/ 4870058 w 7945998"/>
              <a:gd name="connsiteY52" fmla="*/ 988339 h 7437990"/>
              <a:gd name="connsiteX53" fmla="*/ 4870058 w 7945998"/>
              <a:gd name="connsiteY53" fmla="*/ 2064923 h 7437990"/>
              <a:gd name="connsiteX54" fmla="*/ 5071229 w 7945998"/>
              <a:gd name="connsiteY54" fmla="*/ 2254019 h 7437990"/>
              <a:gd name="connsiteX55" fmla="*/ 5275117 w 7945998"/>
              <a:gd name="connsiteY55" fmla="*/ 2064923 h 7437990"/>
              <a:gd name="connsiteX56" fmla="*/ 5275117 w 7945998"/>
              <a:gd name="connsiteY56" fmla="*/ 1737158 h 7437990"/>
              <a:gd name="connsiteX57" fmla="*/ 5476287 w 7945998"/>
              <a:gd name="connsiteY57" fmla="*/ 1550583 h 7437990"/>
              <a:gd name="connsiteX58" fmla="*/ 5479006 w 7945998"/>
              <a:gd name="connsiteY58" fmla="*/ 1550583 h 7437990"/>
              <a:gd name="connsiteX59" fmla="*/ 5579591 w 7945998"/>
              <a:gd name="connsiteY59" fmla="*/ 1535456 h 7437990"/>
              <a:gd name="connsiteX60" fmla="*/ 5677458 w 7945998"/>
              <a:gd name="connsiteY60" fmla="*/ 1386701 h 7437990"/>
              <a:gd name="connsiteX61" fmla="*/ 5677458 w 7945998"/>
              <a:gd name="connsiteY61" fmla="*/ 544595 h 7437990"/>
              <a:gd name="connsiteX62" fmla="*/ 5881347 w 7945998"/>
              <a:gd name="connsiteY62" fmla="*/ 355500 h 7437990"/>
              <a:gd name="connsiteX63" fmla="*/ 5889502 w 7945998"/>
              <a:gd name="connsiteY63" fmla="*/ 355500 h 7437990"/>
              <a:gd name="connsiteX64" fmla="*/ 5987369 w 7945998"/>
              <a:gd name="connsiteY64" fmla="*/ 340372 h 7437990"/>
              <a:gd name="connsiteX65" fmla="*/ 6082516 w 7945998"/>
              <a:gd name="connsiteY65" fmla="*/ 216830 h 7437990"/>
              <a:gd name="connsiteX66" fmla="*/ 6082516 w 7945998"/>
              <a:gd name="connsiteY66" fmla="*/ 186574 h 7437990"/>
              <a:gd name="connsiteX67" fmla="*/ 6283687 w 7945998"/>
              <a:gd name="connsiteY67" fmla="*/ 0 h 7437990"/>
              <a:gd name="connsiteX68" fmla="*/ 6487576 w 7945998"/>
              <a:gd name="connsiteY68" fmla="*/ 186574 h 7437990"/>
              <a:gd name="connsiteX69" fmla="*/ 6487576 w 7945998"/>
              <a:gd name="connsiteY69" fmla="*/ 801765 h 7437990"/>
              <a:gd name="connsiteX70" fmla="*/ 6688746 w 7945998"/>
              <a:gd name="connsiteY70" fmla="*/ 988339 h 7437990"/>
              <a:gd name="connsiteX71" fmla="*/ 6889916 w 7945998"/>
              <a:gd name="connsiteY71" fmla="*/ 801765 h 7437990"/>
              <a:gd name="connsiteX72" fmla="*/ 6889916 w 7945998"/>
              <a:gd name="connsiteY72" fmla="*/ 708478 h 7437990"/>
              <a:gd name="connsiteX73" fmla="*/ 7093804 w 7945998"/>
              <a:gd name="connsiteY73" fmla="*/ 519383 h 7437990"/>
              <a:gd name="connsiteX74" fmla="*/ 7294975 w 7945998"/>
              <a:gd name="connsiteY74" fmla="*/ 708478 h 7437990"/>
              <a:gd name="connsiteX75" fmla="*/ 7294975 w 7945998"/>
              <a:gd name="connsiteY75" fmla="*/ 4175230 h 7437990"/>
              <a:gd name="connsiteX76" fmla="*/ 7093804 w 7945998"/>
              <a:gd name="connsiteY76" fmla="*/ 4361805 h 7437990"/>
              <a:gd name="connsiteX77" fmla="*/ 6889916 w 7945998"/>
              <a:gd name="connsiteY77" fmla="*/ 4175230 h 7437990"/>
              <a:gd name="connsiteX78" fmla="*/ 6889916 w 7945998"/>
              <a:gd name="connsiteY78" fmla="*/ 4197922 h 7437990"/>
              <a:gd name="connsiteX79" fmla="*/ 6688746 w 7945998"/>
              <a:gd name="connsiteY79" fmla="*/ 4011348 h 7437990"/>
              <a:gd name="connsiteX80" fmla="*/ 6487576 w 7945998"/>
              <a:gd name="connsiteY80" fmla="*/ 4197922 h 7437990"/>
              <a:gd name="connsiteX81" fmla="*/ 6487576 w 7945998"/>
              <a:gd name="connsiteY81" fmla="*/ 4273560 h 7437990"/>
              <a:gd name="connsiteX82" fmla="*/ 6283687 w 7945998"/>
              <a:gd name="connsiteY82" fmla="*/ 4460134 h 7437990"/>
              <a:gd name="connsiteX83" fmla="*/ 6141304 w 7945998"/>
              <a:gd name="connsiteY83" fmla="*/ 4405612 h 7437990"/>
              <a:gd name="connsiteX84" fmla="*/ 6115747 w 7945998"/>
              <a:gd name="connsiteY84" fmla="*/ 4370396 h 7437990"/>
              <a:gd name="connsiteX85" fmla="*/ 6112874 w 7945998"/>
              <a:gd name="connsiteY85" fmla="*/ 4396710 h 7437990"/>
              <a:gd name="connsiteX86" fmla="*/ 5904801 w 7945998"/>
              <a:gd name="connsiteY86" fmla="*/ 4553913 h 7437990"/>
              <a:gd name="connsiteX87" fmla="*/ 5695127 w 7945998"/>
              <a:gd name="connsiteY87" fmla="*/ 4357102 h 7437990"/>
              <a:gd name="connsiteX88" fmla="*/ 5695127 w 7945998"/>
              <a:gd name="connsiteY88" fmla="*/ 4239135 h 7437990"/>
              <a:gd name="connsiteX89" fmla="*/ 5693642 w 7945998"/>
              <a:gd name="connsiteY89" fmla="*/ 4241138 h 7437990"/>
              <a:gd name="connsiteX90" fmla="*/ 5677458 w 7945998"/>
              <a:gd name="connsiteY90" fmla="*/ 4313901 h 7437990"/>
              <a:gd name="connsiteX91" fmla="*/ 5677458 w 7945998"/>
              <a:gd name="connsiteY91" fmla="*/ 5393006 h 7437990"/>
              <a:gd name="connsiteX92" fmla="*/ 5476287 w 7945998"/>
              <a:gd name="connsiteY92" fmla="*/ 5579580 h 7437990"/>
              <a:gd name="connsiteX93" fmla="*/ 5466175 w 7945998"/>
              <a:gd name="connsiteY93" fmla="*/ 5578641 h 7437990"/>
              <a:gd name="connsiteX94" fmla="*/ 5466175 w 7945998"/>
              <a:gd name="connsiteY94" fmla="*/ 5718683 h 7437990"/>
              <a:gd name="connsiteX95" fmla="*/ 5466175 w 7945998"/>
              <a:gd name="connsiteY95" fmla="*/ 6033640 h 7437990"/>
              <a:gd name="connsiteX96" fmla="*/ 5265004 w 7945998"/>
              <a:gd name="connsiteY96" fmla="*/ 6220215 h 7437990"/>
              <a:gd name="connsiteX97" fmla="*/ 5061116 w 7945998"/>
              <a:gd name="connsiteY97" fmla="*/ 6033640 h 7437990"/>
              <a:gd name="connsiteX98" fmla="*/ 5061116 w 7945998"/>
              <a:gd name="connsiteY98" fmla="*/ 6056332 h 7437990"/>
              <a:gd name="connsiteX99" fmla="*/ 4859946 w 7945998"/>
              <a:gd name="connsiteY99" fmla="*/ 5869758 h 7437990"/>
              <a:gd name="connsiteX100" fmla="*/ 4658776 w 7945998"/>
              <a:gd name="connsiteY100" fmla="*/ 6056332 h 7437990"/>
              <a:gd name="connsiteX101" fmla="*/ 4658776 w 7945998"/>
              <a:gd name="connsiteY101" fmla="*/ 6131970 h 7437990"/>
              <a:gd name="connsiteX102" fmla="*/ 4454887 w 7945998"/>
              <a:gd name="connsiteY102" fmla="*/ 6318544 h 7437990"/>
              <a:gd name="connsiteX103" fmla="*/ 4253716 w 7945998"/>
              <a:gd name="connsiteY103" fmla="*/ 6131970 h 7437990"/>
              <a:gd name="connsiteX104" fmla="*/ 4253716 w 7945998"/>
              <a:gd name="connsiteY104" fmla="*/ 6172311 h 7437990"/>
              <a:gd name="connsiteX105" fmla="*/ 4052547 w 7945998"/>
              <a:gd name="connsiteY105" fmla="*/ 5985736 h 7437990"/>
              <a:gd name="connsiteX106" fmla="*/ 3848658 w 7945998"/>
              <a:gd name="connsiteY106" fmla="*/ 6172311 h 7437990"/>
              <a:gd name="connsiteX107" fmla="*/ 3848658 w 7945998"/>
              <a:gd name="connsiteY107" fmla="*/ 7251416 h 7437990"/>
              <a:gd name="connsiteX108" fmla="*/ 3647487 w 7945998"/>
              <a:gd name="connsiteY108" fmla="*/ 7437990 h 7437990"/>
              <a:gd name="connsiteX109" fmla="*/ 3446317 w 7945998"/>
              <a:gd name="connsiteY109" fmla="*/ 7251416 h 7437990"/>
              <a:gd name="connsiteX110" fmla="*/ 3446317 w 7945998"/>
              <a:gd name="connsiteY110" fmla="*/ 5940353 h 7437990"/>
              <a:gd name="connsiteX111" fmla="*/ 3242429 w 7945998"/>
              <a:gd name="connsiteY111" fmla="*/ 5751258 h 7437990"/>
              <a:gd name="connsiteX112" fmla="*/ 3041258 w 7945998"/>
              <a:gd name="connsiteY112" fmla="*/ 5940353 h 7437990"/>
              <a:gd name="connsiteX113" fmla="*/ 3041258 w 7945998"/>
              <a:gd name="connsiteY113" fmla="*/ 6502597 h 7437990"/>
              <a:gd name="connsiteX114" fmla="*/ 2840088 w 7945998"/>
              <a:gd name="connsiteY114" fmla="*/ 6689172 h 7437990"/>
              <a:gd name="connsiteX115" fmla="*/ 2636199 w 7945998"/>
              <a:gd name="connsiteY115" fmla="*/ 6502597 h 7437990"/>
              <a:gd name="connsiteX116" fmla="*/ 2636199 w 7945998"/>
              <a:gd name="connsiteY116" fmla="*/ 5869758 h 7437990"/>
              <a:gd name="connsiteX117" fmla="*/ 2435029 w 7945998"/>
              <a:gd name="connsiteY117" fmla="*/ 5680662 h 7437990"/>
              <a:gd name="connsiteX118" fmla="*/ 2233859 w 7945998"/>
              <a:gd name="connsiteY118" fmla="*/ 5869758 h 7437990"/>
              <a:gd name="connsiteX119" fmla="*/ 2233859 w 7945998"/>
              <a:gd name="connsiteY119" fmla="*/ 6172311 h 7437990"/>
              <a:gd name="connsiteX120" fmla="*/ 2029970 w 7945998"/>
              <a:gd name="connsiteY120" fmla="*/ 6361406 h 7437990"/>
              <a:gd name="connsiteX121" fmla="*/ 1828800 w 7945998"/>
              <a:gd name="connsiteY121" fmla="*/ 6172311 h 7437990"/>
              <a:gd name="connsiteX122" fmla="*/ 1828800 w 7945998"/>
              <a:gd name="connsiteY122" fmla="*/ 5652531 h 7437990"/>
              <a:gd name="connsiteX123" fmla="*/ 1828800 w 7945998"/>
              <a:gd name="connsiteY123" fmla="*/ 5578640 h 7437990"/>
              <a:gd name="connsiteX124" fmla="*/ 1818687 w 7945998"/>
              <a:gd name="connsiteY124" fmla="*/ 5579580 h 7437990"/>
              <a:gd name="connsiteX125" fmla="*/ 1617517 w 7945998"/>
              <a:gd name="connsiteY125" fmla="*/ 5393006 h 7437990"/>
              <a:gd name="connsiteX126" fmla="*/ 1617517 w 7945998"/>
              <a:gd name="connsiteY126" fmla="*/ 4081943 h 7437990"/>
              <a:gd name="connsiteX127" fmla="*/ 1413629 w 7945998"/>
              <a:gd name="connsiteY127" fmla="*/ 3892848 h 7437990"/>
              <a:gd name="connsiteX128" fmla="*/ 1212458 w 7945998"/>
              <a:gd name="connsiteY128" fmla="*/ 4081943 h 7437990"/>
              <a:gd name="connsiteX129" fmla="*/ 1212458 w 7945998"/>
              <a:gd name="connsiteY129" fmla="*/ 4644187 h 7437990"/>
              <a:gd name="connsiteX130" fmla="*/ 1011288 w 7945998"/>
              <a:gd name="connsiteY130" fmla="*/ 4830762 h 7437990"/>
              <a:gd name="connsiteX131" fmla="*/ 807399 w 7945998"/>
              <a:gd name="connsiteY131" fmla="*/ 4644187 h 7437990"/>
              <a:gd name="connsiteX132" fmla="*/ 807399 w 7945998"/>
              <a:gd name="connsiteY132" fmla="*/ 4011348 h 7437990"/>
              <a:gd name="connsiteX133" fmla="*/ 606229 w 7945998"/>
              <a:gd name="connsiteY133" fmla="*/ 3822252 h 7437990"/>
              <a:gd name="connsiteX134" fmla="*/ 405059 w 7945998"/>
              <a:gd name="connsiteY134" fmla="*/ 4011348 h 7437990"/>
              <a:gd name="connsiteX135" fmla="*/ 405059 w 7945998"/>
              <a:gd name="connsiteY135" fmla="*/ 4313901 h 7437990"/>
              <a:gd name="connsiteX136" fmla="*/ 201170 w 7945998"/>
              <a:gd name="connsiteY136" fmla="*/ 4502996 h 7437990"/>
              <a:gd name="connsiteX137" fmla="*/ 0 w 7945998"/>
              <a:gd name="connsiteY137" fmla="*/ 4313901 h 7437990"/>
              <a:gd name="connsiteX138" fmla="*/ 0 w 7945998"/>
              <a:gd name="connsiteY138" fmla="*/ 847148 h 7437990"/>
              <a:gd name="connsiteX139" fmla="*/ 201170 w 7945998"/>
              <a:gd name="connsiteY139" fmla="*/ 660574 h 7437990"/>
              <a:gd name="connsiteX140" fmla="*/ 217481 w 7945998"/>
              <a:gd name="connsiteY140" fmla="*/ 660574 h 7437990"/>
              <a:gd name="connsiteX141" fmla="*/ 307193 w 7945998"/>
              <a:gd name="connsiteY141" fmla="*/ 645446 h 7437990"/>
              <a:gd name="connsiteX142" fmla="*/ 405059 w 7945998"/>
              <a:gd name="connsiteY142" fmla="*/ 496691 h 7437990"/>
              <a:gd name="connsiteX143" fmla="*/ 405059 w 7945998"/>
              <a:gd name="connsiteY143" fmla="*/ 239521 h 7437990"/>
              <a:gd name="connsiteX144" fmla="*/ 606229 w 7945998"/>
              <a:gd name="connsiteY144" fmla="*/ 50426 h 7437990"/>
              <a:gd name="connsiteX145" fmla="*/ 807399 w 7945998"/>
              <a:gd name="connsiteY145" fmla="*/ 239521 h 7437990"/>
              <a:gd name="connsiteX146" fmla="*/ 807399 w 7945998"/>
              <a:gd name="connsiteY146" fmla="*/ 635361 h 7437990"/>
              <a:gd name="connsiteX147" fmla="*/ 905266 w 7945998"/>
              <a:gd name="connsiteY147" fmla="*/ 784116 h 7437990"/>
              <a:gd name="connsiteX148" fmla="*/ 1024880 w 7945998"/>
              <a:gd name="connsiteY148" fmla="*/ 801765 h 7437990"/>
              <a:gd name="connsiteX149" fmla="*/ 1212458 w 7945998"/>
              <a:gd name="connsiteY149" fmla="*/ 988339 h 7437990"/>
              <a:gd name="connsiteX150" fmla="*/ 1212458 w 7945998"/>
              <a:gd name="connsiteY150" fmla="*/ 2064923 h 7437990"/>
              <a:gd name="connsiteX151" fmla="*/ 1413629 w 7945998"/>
              <a:gd name="connsiteY151" fmla="*/ 2254019 h 7437990"/>
              <a:gd name="connsiteX152" fmla="*/ 1617517 w 7945998"/>
              <a:gd name="connsiteY152" fmla="*/ 2064923 h 7437990"/>
              <a:gd name="connsiteX153" fmla="*/ 1617517 w 7945998"/>
              <a:gd name="connsiteY153" fmla="*/ 1737158 h 7437990"/>
              <a:gd name="connsiteX154" fmla="*/ 1818687 w 7945998"/>
              <a:gd name="connsiteY154" fmla="*/ 1550583 h 7437990"/>
              <a:gd name="connsiteX155" fmla="*/ 1821406 w 7945998"/>
              <a:gd name="connsiteY155" fmla="*/ 1550583 h 7437990"/>
              <a:gd name="connsiteX156" fmla="*/ 1921991 w 7945998"/>
              <a:gd name="connsiteY156" fmla="*/ 1535456 h 7437990"/>
              <a:gd name="connsiteX157" fmla="*/ 2019858 w 7945998"/>
              <a:gd name="connsiteY157" fmla="*/ 1386701 h 7437990"/>
              <a:gd name="connsiteX158" fmla="*/ 2019858 w 7945998"/>
              <a:gd name="connsiteY158" fmla="*/ 544595 h 7437990"/>
              <a:gd name="connsiteX159" fmla="*/ 2223747 w 7945998"/>
              <a:gd name="connsiteY159" fmla="*/ 355500 h 7437990"/>
              <a:gd name="connsiteX160" fmla="*/ 2231902 w 7945998"/>
              <a:gd name="connsiteY160" fmla="*/ 355500 h 7437990"/>
              <a:gd name="connsiteX161" fmla="*/ 2329769 w 7945998"/>
              <a:gd name="connsiteY161" fmla="*/ 340372 h 7437990"/>
              <a:gd name="connsiteX162" fmla="*/ 2424916 w 7945998"/>
              <a:gd name="connsiteY162" fmla="*/ 216830 h 7437990"/>
              <a:gd name="connsiteX163" fmla="*/ 2424916 w 7945998"/>
              <a:gd name="connsiteY163" fmla="*/ 186574 h 7437990"/>
              <a:gd name="connsiteX164" fmla="*/ 2626087 w 7945998"/>
              <a:gd name="connsiteY164" fmla="*/ 0 h 7437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7945998" h="7437990">
                <a:moveTo>
                  <a:pt x="5904801" y="5437624"/>
                </a:moveTo>
                <a:cubicBezTo>
                  <a:pt x="6021892" y="5437624"/>
                  <a:pt x="6117198" y="5525923"/>
                  <a:pt x="6117198" y="5634404"/>
                </a:cubicBezTo>
                <a:cubicBezTo>
                  <a:pt x="6117198" y="7150621"/>
                  <a:pt x="6117198" y="7150621"/>
                  <a:pt x="6117198" y="7150621"/>
                </a:cubicBezTo>
                <a:cubicBezTo>
                  <a:pt x="6117198" y="7259102"/>
                  <a:pt x="6021892" y="7347401"/>
                  <a:pt x="5904801" y="7347401"/>
                </a:cubicBezTo>
                <a:cubicBezTo>
                  <a:pt x="5787711" y="7347401"/>
                  <a:pt x="5695127" y="7259102"/>
                  <a:pt x="5695127" y="7150621"/>
                </a:cubicBezTo>
                <a:cubicBezTo>
                  <a:pt x="5695127" y="5634404"/>
                  <a:pt x="5695127" y="5634404"/>
                  <a:pt x="5695127" y="5634404"/>
                </a:cubicBezTo>
                <a:cubicBezTo>
                  <a:pt x="5695127" y="5525923"/>
                  <a:pt x="5787711" y="5437624"/>
                  <a:pt x="5904801" y="5437624"/>
                </a:cubicBezTo>
                <a:close/>
                <a:moveTo>
                  <a:pt x="3069455" y="4014908"/>
                </a:moveTo>
                <a:lnTo>
                  <a:pt x="3100046" y="4057591"/>
                </a:lnTo>
                <a:cubicBezTo>
                  <a:pt x="3127317" y="4083119"/>
                  <a:pt x="3162424" y="4101202"/>
                  <a:pt x="3201784" y="4108647"/>
                </a:cubicBezTo>
                <a:lnTo>
                  <a:pt x="3204775" y="4108926"/>
                </a:lnTo>
                <a:lnTo>
                  <a:pt x="3173529" y="4065871"/>
                </a:lnTo>
                <a:cubicBezTo>
                  <a:pt x="3146258" y="4040579"/>
                  <a:pt x="3111151" y="4022556"/>
                  <a:pt x="3071791" y="4015125"/>
                </a:cubicBezTo>
                <a:close/>
                <a:moveTo>
                  <a:pt x="7733601" y="3579214"/>
                </a:moveTo>
                <a:cubicBezTo>
                  <a:pt x="7850692" y="3579214"/>
                  <a:pt x="7945998" y="3667513"/>
                  <a:pt x="7945998" y="3775994"/>
                </a:cubicBezTo>
                <a:cubicBezTo>
                  <a:pt x="7945998" y="5292211"/>
                  <a:pt x="7945998" y="5292211"/>
                  <a:pt x="7945998" y="5292211"/>
                </a:cubicBezTo>
                <a:cubicBezTo>
                  <a:pt x="7945998" y="5400692"/>
                  <a:pt x="7850692" y="5488991"/>
                  <a:pt x="7733601" y="5488991"/>
                </a:cubicBezTo>
                <a:cubicBezTo>
                  <a:pt x="7616511" y="5488991"/>
                  <a:pt x="7523927" y="5400692"/>
                  <a:pt x="7523927" y="5292211"/>
                </a:cubicBezTo>
                <a:cubicBezTo>
                  <a:pt x="7523927" y="3775994"/>
                  <a:pt x="7523927" y="3775994"/>
                  <a:pt x="7523927" y="3775994"/>
                </a:cubicBezTo>
                <a:cubicBezTo>
                  <a:pt x="7523927" y="3667513"/>
                  <a:pt x="7616511" y="3579214"/>
                  <a:pt x="7733601" y="3579214"/>
                </a:cubicBezTo>
                <a:close/>
                <a:moveTo>
                  <a:pt x="7733601" y="1519687"/>
                </a:moveTo>
                <a:cubicBezTo>
                  <a:pt x="7850692" y="1519687"/>
                  <a:pt x="7945998" y="1607999"/>
                  <a:pt x="7945998" y="1716497"/>
                </a:cubicBezTo>
                <a:cubicBezTo>
                  <a:pt x="7945998" y="2498692"/>
                  <a:pt x="7945998" y="2498692"/>
                  <a:pt x="7945998" y="2498692"/>
                </a:cubicBezTo>
                <a:cubicBezTo>
                  <a:pt x="7945998" y="2607190"/>
                  <a:pt x="7850692" y="2695503"/>
                  <a:pt x="7733601" y="2695503"/>
                </a:cubicBezTo>
                <a:cubicBezTo>
                  <a:pt x="7616511" y="2695503"/>
                  <a:pt x="7523927" y="2607190"/>
                  <a:pt x="7523927" y="2498692"/>
                </a:cubicBezTo>
                <a:cubicBezTo>
                  <a:pt x="7523927" y="1716497"/>
                  <a:pt x="7523927" y="1716497"/>
                  <a:pt x="7523927" y="1716497"/>
                </a:cubicBezTo>
                <a:cubicBezTo>
                  <a:pt x="7523927" y="1607999"/>
                  <a:pt x="7616511" y="1519687"/>
                  <a:pt x="7733601" y="1519687"/>
                </a:cubicBezTo>
                <a:close/>
                <a:moveTo>
                  <a:pt x="2626087" y="0"/>
                </a:moveTo>
                <a:cubicBezTo>
                  <a:pt x="2737546" y="0"/>
                  <a:pt x="2829976" y="83202"/>
                  <a:pt x="2829976" y="186574"/>
                </a:cubicBezTo>
                <a:cubicBezTo>
                  <a:pt x="2829976" y="186574"/>
                  <a:pt x="2829976" y="186574"/>
                  <a:pt x="2829976" y="801765"/>
                </a:cubicBezTo>
                <a:cubicBezTo>
                  <a:pt x="2829976" y="905137"/>
                  <a:pt x="2919686" y="988339"/>
                  <a:pt x="3031146" y="988339"/>
                </a:cubicBezTo>
                <a:cubicBezTo>
                  <a:pt x="3142605" y="988339"/>
                  <a:pt x="3232316" y="905137"/>
                  <a:pt x="3232316" y="801765"/>
                </a:cubicBezTo>
                <a:cubicBezTo>
                  <a:pt x="3232316" y="801765"/>
                  <a:pt x="3232316" y="801765"/>
                  <a:pt x="3232316" y="708478"/>
                </a:cubicBezTo>
                <a:cubicBezTo>
                  <a:pt x="3232316" y="602585"/>
                  <a:pt x="3324745" y="519383"/>
                  <a:pt x="3436204" y="519383"/>
                </a:cubicBezTo>
                <a:cubicBezTo>
                  <a:pt x="3547663" y="519383"/>
                  <a:pt x="3637375" y="602585"/>
                  <a:pt x="3637375" y="708478"/>
                </a:cubicBezTo>
                <a:cubicBezTo>
                  <a:pt x="3637375" y="708478"/>
                  <a:pt x="3637375" y="708478"/>
                  <a:pt x="3637375" y="3288758"/>
                </a:cubicBezTo>
                <a:lnTo>
                  <a:pt x="3637375" y="3409933"/>
                </a:lnTo>
                <a:lnTo>
                  <a:pt x="3647487" y="3408993"/>
                </a:lnTo>
                <a:cubicBezTo>
                  <a:pt x="3647487" y="3408993"/>
                  <a:pt x="3650206" y="3408993"/>
                  <a:pt x="3650206" y="3408993"/>
                </a:cubicBezTo>
                <a:lnTo>
                  <a:pt x="3657600" y="3408928"/>
                </a:lnTo>
                <a:lnTo>
                  <a:pt x="3657600" y="3334116"/>
                </a:lnTo>
                <a:cubicBezTo>
                  <a:pt x="3657600" y="2820895"/>
                  <a:pt x="3657600" y="2038845"/>
                  <a:pt x="3657600" y="847148"/>
                </a:cubicBezTo>
                <a:cubicBezTo>
                  <a:pt x="3657600" y="743776"/>
                  <a:pt x="3747312" y="660574"/>
                  <a:pt x="3858770" y="660574"/>
                </a:cubicBezTo>
                <a:cubicBezTo>
                  <a:pt x="3864207" y="660574"/>
                  <a:pt x="3869644" y="660574"/>
                  <a:pt x="3875081" y="660574"/>
                </a:cubicBezTo>
                <a:cubicBezTo>
                  <a:pt x="3907703" y="660574"/>
                  <a:pt x="3924015" y="658053"/>
                  <a:pt x="3964793" y="645446"/>
                </a:cubicBezTo>
                <a:cubicBezTo>
                  <a:pt x="3997415" y="632840"/>
                  <a:pt x="4057222" y="597542"/>
                  <a:pt x="4062659" y="496691"/>
                </a:cubicBezTo>
                <a:cubicBezTo>
                  <a:pt x="4062659" y="496691"/>
                  <a:pt x="4062659" y="496691"/>
                  <a:pt x="4062659" y="239521"/>
                </a:cubicBezTo>
                <a:cubicBezTo>
                  <a:pt x="4062659" y="136149"/>
                  <a:pt x="4152370" y="50426"/>
                  <a:pt x="4263829" y="50426"/>
                </a:cubicBezTo>
                <a:cubicBezTo>
                  <a:pt x="4375289" y="50426"/>
                  <a:pt x="4464999" y="136149"/>
                  <a:pt x="4464999" y="239521"/>
                </a:cubicBezTo>
                <a:cubicBezTo>
                  <a:pt x="4464999" y="239521"/>
                  <a:pt x="4464999" y="239521"/>
                  <a:pt x="4464999" y="635361"/>
                </a:cubicBezTo>
                <a:cubicBezTo>
                  <a:pt x="4470436" y="736212"/>
                  <a:pt x="4530244" y="771510"/>
                  <a:pt x="4562866" y="784116"/>
                </a:cubicBezTo>
                <a:cubicBezTo>
                  <a:pt x="4614517" y="801765"/>
                  <a:pt x="4628110" y="799244"/>
                  <a:pt x="4682480" y="801765"/>
                </a:cubicBezTo>
                <a:cubicBezTo>
                  <a:pt x="4785784" y="809329"/>
                  <a:pt x="4870058" y="890010"/>
                  <a:pt x="4870058" y="988339"/>
                </a:cubicBezTo>
                <a:cubicBezTo>
                  <a:pt x="4870058" y="988339"/>
                  <a:pt x="4870058" y="988339"/>
                  <a:pt x="4870058" y="2064923"/>
                </a:cubicBezTo>
                <a:cubicBezTo>
                  <a:pt x="4870058" y="2170817"/>
                  <a:pt x="4959769" y="2254019"/>
                  <a:pt x="5071229" y="2254019"/>
                </a:cubicBezTo>
                <a:cubicBezTo>
                  <a:pt x="5182688" y="2254019"/>
                  <a:pt x="5275117" y="2170817"/>
                  <a:pt x="5275117" y="2064923"/>
                </a:cubicBezTo>
                <a:cubicBezTo>
                  <a:pt x="5275117" y="2064923"/>
                  <a:pt x="5275117" y="2064923"/>
                  <a:pt x="5275117" y="1737158"/>
                </a:cubicBezTo>
                <a:cubicBezTo>
                  <a:pt x="5275117" y="1633786"/>
                  <a:pt x="5364828" y="1550583"/>
                  <a:pt x="5476287" y="1550583"/>
                </a:cubicBezTo>
                <a:cubicBezTo>
                  <a:pt x="5476287" y="1550583"/>
                  <a:pt x="5479006" y="1550583"/>
                  <a:pt x="5479006" y="1550583"/>
                </a:cubicBezTo>
                <a:cubicBezTo>
                  <a:pt x="5519783" y="1550583"/>
                  <a:pt x="5536095" y="1550583"/>
                  <a:pt x="5579591" y="1535456"/>
                </a:cubicBezTo>
                <a:cubicBezTo>
                  <a:pt x="5614932" y="1522849"/>
                  <a:pt x="5674739" y="1487552"/>
                  <a:pt x="5677458" y="1386701"/>
                </a:cubicBezTo>
                <a:lnTo>
                  <a:pt x="5677458" y="544595"/>
                </a:lnTo>
                <a:cubicBezTo>
                  <a:pt x="5677458" y="438702"/>
                  <a:pt x="5769887" y="355500"/>
                  <a:pt x="5881347" y="355500"/>
                </a:cubicBezTo>
                <a:cubicBezTo>
                  <a:pt x="5884065" y="355500"/>
                  <a:pt x="5886784" y="355500"/>
                  <a:pt x="5889502" y="355500"/>
                </a:cubicBezTo>
                <a:cubicBezTo>
                  <a:pt x="5927561" y="355500"/>
                  <a:pt x="5943872" y="355500"/>
                  <a:pt x="5987369" y="340372"/>
                </a:cubicBezTo>
                <a:cubicBezTo>
                  <a:pt x="6017272" y="330287"/>
                  <a:pt x="6071642" y="297510"/>
                  <a:pt x="6082516" y="216830"/>
                </a:cubicBezTo>
                <a:cubicBezTo>
                  <a:pt x="6082516" y="216830"/>
                  <a:pt x="6082516" y="216830"/>
                  <a:pt x="6082516" y="186574"/>
                </a:cubicBezTo>
                <a:cubicBezTo>
                  <a:pt x="6082516" y="83202"/>
                  <a:pt x="6172228" y="0"/>
                  <a:pt x="6283687" y="0"/>
                </a:cubicBezTo>
                <a:cubicBezTo>
                  <a:pt x="6395146" y="0"/>
                  <a:pt x="6487576" y="83202"/>
                  <a:pt x="6487576" y="186574"/>
                </a:cubicBezTo>
                <a:cubicBezTo>
                  <a:pt x="6487576" y="186574"/>
                  <a:pt x="6487576" y="186574"/>
                  <a:pt x="6487576" y="801765"/>
                </a:cubicBezTo>
                <a:cubicBezTo>
                  <a:pt x="6487576" y="905137"/>
                  <a:pt x="6577286" y="988339"/>
                  <a:pt x="6688746" y="988339"/>
                </a:cubicBezTo>
                <a:cubicBezTo>
                  <a:pt x="6800205" y="988339"/>
                  <a:pt x="6889916" y="905137"/>
                  <a:pt x="6889916" y="801765"/>
                </a:cubicBezTo>
                <a:cubicBezTo>
                  <a:pt x="6889916" y="801765"/>
                  <a:pt x="6889916" y="801765"/>
                  <a:pt x="6889916" y="708478"/>
                </a:cubicBezTo>
                <a:cubicBezTo>
                  <a:pt x="6889916" y="602585"/>
                  <a:pt x="6982345" y="519383"/>
                  <a:pt x="7093804" y="519383"/>
                </a:cubicBezTo>
                <a:cubicBezTo>
                  <a:pt x="7205263" y="519383"/>
                  <a:pt x="7294975" y="602585"/>
                  <a:pt x="7294975" y="708478"/>
                </a:cubicBezTo>
                <a:cubicBezTo>
                  <a:pt x="7294975" y="708478"/>
                  <a:pt x="7294975" y="708478"/>
                  <a:pt x="7294975" y="4175230"/>
                </a:cubicBezTo>
                <a:cubicBezTo>
                  <a:pt x="7294975" y="4278603"/>
                  <a:pt x="7205263" y="4361805"/>
                  <a:pt x="7093804" y="4361805"/>
                </a:cubicBezTo>
                <a:cubicBezTo>
                  <a:pt x="6982345" y="4361805"/>
                  <a:pt x="6889916" y="4278603"/>
                  <a:pt x="6889916" y="4175230"/>
                </a:cubicBezTo>
                <a:cubicBezTo>
                  <a:pt x="6889916" y="4175230"/>
                  <a:pt x="6889916" y="4175230"/>
                  <a:pt x="6889916" y="4197922"/>
                </a:cubicBezTo>
                <a:cubicBezTo>
                  <a:pt x="6889916" y="4094550"/>
                  <a:pt x="6800205" y="4011348"/>
                  <a:pt x="6688746" y="4011348"/>
                </a:cubicBezTo>
                <a:cubicBezTo>
                  <a:pt x="6577286" y="4011348"/>
                  <a:pt x="6487576" y="4094550"/>
                  <a:pt x="6487576" y="4197922"/>
                </a:cubicBezTo>
                <a:cubicBezTo>
                  <a:pt x="6487576" y="4197922"/>
                  <a:pt x="6487576" y="4197922"/>
                  <a:pt x="6487576" y="4273560"/>
                </a:cubicBezTo>
                <a:cubicBezTo>
                  <a:pt x="6487576" y="4376932"/>
                  <a:pt x="6395146" y="4460134"/>
                  <a:pt x="6283687" y="4460134"/>
                </a:cubicBezTo>
                <a:cubicBezTo>
                  <a:pt x="6227958" y="4460134"/>
                  <a:pt x="6177665" y="4439334"/>
                  <a:pt x="6141304" y="4405612"/>
                </a:cubicBezTo>
                <a:lnTo>
                  <a:pt x="6115747" y="4370396"/>
                </a:lnTo>
                <a:lnTo>
                  <a:pt x="6112874" y="4396710"/>
                </a:lnTo>
                <a:cubicBezTo>
                  <a:pt x="6093031" y="4486299"/>
                  <a:pt x="6007256" y="4553913"/>
                  <a:pt x="5904801" y="4553913"/>
                </a:cubicBezTo>
                <a:cubicBezTo>
                  <a:pt x="5787711" y="4553913"/>
                  <a:pt x="5695127" y="4465600"/>
                  <a:pt x="5695127" y="4357102"/>
                </a:cubicBezTo>
                <a:lnTo>
                  <a:pt x="5695127" y="4239135"/>
                </a:lnTo>
                <a:lnTo>
                  <a:pt x="5693642" y="4241138"/>
                </a:lnTo>
                <a:cubicBezTo>
                  <a:pt x="5683235" y="4263475"/>
                  <a:pt x="5677458" y="4288058"/>
                  <a:pt x="5677458" y="4313901"/>
                </a:cubicBezTo>
                <a:cubicBezTo>
                  <a:pt x="5677458" y="4313901"/>
                  <a:pt x="5677458" y="4313901"/>
                  <a:pt x="5677458" y="5393006"/>
                </a:cubicBezTo>
                <a:cubicBezTo>
                  <a:pt x="5677458" y="5496378"/>
                  <a:pt x="5587746" y="5579580"/>
                  <a:pt x="5476287" y="5579580"/>
                </a:cubicBezTo>
                <a:lnTo>
                  <a:pt x="5466175" y="5578641"/>
                </a:lnTo>
                <a:lnTo>
                  <a:pt x="5466175" y="5718683"/>
                </a:lnTo>
                <a:cubicBezTo>
                  <a:pt x="5466175" y="5820354"/>
                  <a:pt x="5466175" y="5925304"/>
                  <a:pt x="5466175" y="6033640"/>
                </a:cubicBezTo>
                <a:cubicBezTo>
                  <a:pt x="5466175" y="6137013"/>
                  <a:pt x="5376463" y="6220215"/>
                  <a:pt x="5265004" y="6220215"/>
                </a:cubicBezTo>
                <a:cubicBezTo>
                  <a:pt x="5153545" y="6220215"/>
                  <a:pt x="5061116" y="6137013"/>
                  <a:pt x="5061116" y="6033640"/>
                </a:cubicBezTo>
                <a:cubicBezTo>
                  <a:pt x="5061116" y="6033640"/>
                  <a:pt x="5061116" y="6033640"/>
                  <a:pt x="5061116" y="6056332"/>
                </a:cubicBezTo>
                <a:cubicBezTo>
                  <a:pt x="5061116" y="5952960"/>
                  <a:pt x="4971405" y="5869758"/>
                  <a:pt x="4859946" y="5869758"/>
                </a:cubicBezTo>
                <a:cubicBezTo>
                  <a:pt x="4748486" y="5869758"/>
                  <a:pt x="4658776" y="5952960"/>
                  <a:pt x="4658776" y="6056332"/>
                </a:cubicBezTo>
                <a:cubicBezTo>
                  <a:pt x="4658776" y="6056332"/>
                  <a:pt x="4658776" y="6056332"/>
                  <a:pt x="4658776" y="6131970"/>
                </a:cubicBezTo>
                <a:cubicBezTo>
                  <a:pt x="4658776" y="6235342"/>
                  <a:pt x="4566346" y="6318544"/>
                  <a:pt x="4454887" y="6318544"/>
                </a:cubicBezTo>
                <a:cubicBezTo>
                  <a:pt x="4343428" y="6318544"/>
                  <a:pt x="4253716" y="6235342"/>
                  <a:pt x="4253716" y="6131970"/>
                </a:cubicBezTo>
                <a:cubicBezTo>
                  <a:pt x="4253716" y="6131970"/>
                  <a:pt x="4253716" y="6131970"/>
                  <a:pt x="4253716" y="6172311"/>
                </a:cubicBezTo>
                <a:cubicBezTo>
                  <a:pt x="4253716" y="6068938"/>
                  <a:pt x="4164006" y="5985736"/>
                  <a:pt x="4052547" y="5985736"/>
                </a:cubicBezTo>
                <a:cubicBezTo>
                  <a:pt x="3941087" y="5985736"/>
                  <a:pt x="3848658" y="6068938"/>
                  <a:pt x="3848658" y="6172311"/>
                </a:cubicBezTo>
                <a:cubicBezTo>
                  <a:pt x="3848658" y="6172311"/>
                  <a:pt x="3848658" y="6172311"/>
                  <a:pt x="3848658" y="7251416"/>
                </a:cubicBezTo>
                <a:cubicBezTo>
                  <a:pt x="3848658" y="7354788"/>
                  <a:pt x="3758946" y="7437990"/>
                  <a:pt x="3647487" y="7437990"/>
                </a:cubicBezTo>
                <a:cubicBezTo>
                  <a:pt x="3536028" y="7437990"/>
                  <a:pt x="3446317" y="7354788"/>
                  <a:pt x="3446317" y="7251416"/>
                </a:cubicBezTo>
                <a:cubicBezTo>
                  <a:pt x="3446317" y="7251416"/>
                  <a:pt x="3446317" y="7251416"/>
                  <a:pt x="3446317" y="5940353"/>
                </a:cubicBezTo>
                <a:cubicBezTo>
                  <a:pt x="3446317" y="5836981"/>
                  <a:pt x="3353888" y="5751258"/>
                  <a:pt x="3242429" y="5751258"/>
                </a:cubicBezTo>
                <a:cubicBezTo>
                  <a:pt x="3130969" y="5751258"/>
                  <a:pt x="3041258" y="5836981"/>
                  <a:pt x="3041258" y="5940353"/>
                </a:cubicBezTo>
                <a:cubicBezTo>
                  <a:pt x="3041258" y="5940353"/>
                  <a:pt x="3041258" y="5940353"/>
                  <a:pt x="3041258" y="6502597"/>
                </a:cubicBezTo>
                <a:cubicBezTo>
                  <a:pt x="3041258" y="6605970"/>
                  <a:pt x="2951547" y="6689172"/>
                  <a:pt x="2840088" y="6689172"/>
                </a:cubicBezTo>
                <a:cubicBezTo>
                  <a:pt x="2728629" y="6689172"/>
                  <a:pt x="2636199" y="6605970"/>
                  <a:pt x="2636199" y="6502597"/>
                </a:cubicBezTo>
                <a:cubicBezTo>
                  <a:pt x="2636199" y="6502597"/>
                  <a:pt x="2636199" y="6502597"/>
                  <a:pt x="2636199" y="5869758"/>
                </a:cubicBezTo>
                <a:cubicBezTo>
                  <a:pt x="2636199" y="5766385"/>
                  <a:pt x="2546489" y="5680662"/>
                  <a:pt x="2435029" y="5680662"/>
                </a:cubicBezTo>
                <a:cubicBezTo>
                  <a:pt x="2323570" y="5680662"/>
                  <a:pt x="2233859" y="5766385"/>
                  <a:pt x="2233859" y="5869758"/>
                </a:cubicBezTo>
                <a:cubicBezTo>
                  <a:pt x="2233859" y="5869758"/>
                  <a:pt x="2233859" y="5869758"/>
                  <a:pt x="2233859" y="6172311"/>
                </a:cubicBezTo>
                <a:cubicBezTo>
                  <a:pt x="2233859" y="6278204"/>
                  <a:pt x="2141430" y="6361406"/>
                  <a:pt x="2029970" y="6361406"/>
                </a:cubicBezTo>
                <a:cubicBezTo>
                  <a:pt x="1918512" y="6361406"/>
                  <a:pt x="1828800" y="6278204"/>
                  <a:pt x="1828800" y="6172311"/>
                </a:cubicBezTo>
                <a:cubicBezTo>
                  <a:pt x="1828800" y="6172311"/>
                  <a:pt x="1828800" y="6172311"/>
                  <a:pt x="1828800" y="5652531"/>
                </a:cubicBezTo>
                <a:lnTo>
                  <a:pt x="1828800" y="5578640"/>
                </a:lnTo>
                <a:lnTo>
                  <a:pt x="1818687" y="5579580"/>
                </a:lnTo>
                <a:cubicBezTo>
                  <a:pt x="1707228" y="5579580"/>
                  <a:pt x="1617517" y="5496378"/>
                  <a:pt x="1617517" y="5393006"/>
                </a:cubicBezTo>
                <a:cubicBezTo>
                  <a:pt x="1617517" y="5393006"/>
                  <a:pt x="1617517" y="5393006"/>
                  <a:pt x="1617517" y="4081943"/>
                </a:cubicBezTo>
                <a:cubicBezTo>
                  <a:pt x="1617517" y="3978571"/>
                  <a:pt x="1525088" y="3892848"/>
                  <a:pt x="1413629" y="3892848"/>
                </a:cubicBezTo>
                <a:cubicBezTo>
                  <a:pt x="1302169" y="3892848"/>
                  <a:pt x="1212458" y="3978571"/>
                  <a:pt x="1212458" y="4081943"/>
                </a:cubicBezTo>
                <a:cubicBezTo>
                  <a:pt x="1212458" y="4081943"/>
                  <a:pt x="1212458" y="4081943"/>
                  <a:pt x="1212458" y="4644187"/>
                </a:cubicBezTo>
                <a:cubicBezTo>
                  <a:pt x="1212458" y="4747560"/>
                  <a:pt x="1122747" y="4830762"/>
                  <a:pt x="1011288" y="4830762"/>
                </a:cubicBezTo>
                <a:cubicBezTo>
                  <a:pt x="899829" y="4830762"/>
                  <a:pt x="807399" y="4747560"/>
                  <a:pt x="807399" y="4644187"/>
                </a:cubicBezTo>
                <a:cubicBezTo>
                  <a:pt x="807399" y="4644187"/>
                  <a:pt x="807399" y="4644187"/>
                  <a:pt x="807399" y="4011348"/>
                </a:cubicBezTo>
                <a:cubicBezTo>
                  <a:pt x="807399" y="3907975"/>
                  <a:pt x="717689" y="3822252"/>
                  <a:pt x="606229" y="3822252"/>
                </a:cubicBezTo>
                <a:cubicBezTo>
                  <a:pt x="494770" y="3822252"/>
                  <a:pt x="405059" y="3907975"/>
                  <a:pt x="405059" y="4011348"/>
                </a:cubicBezTo>
                <a:cubicBezTo>
                  <a:pt x="405059" y="4011348"/>
                  <a:pt x="405059" y="4011348"/>
                  <a:pt x="405059" y="4313901"/>
                </a:cubicBezTo>
                <a:cubicBezTo>
                  <a:pt x="405059" y="4419794"/>
                  <a:pt x="312630" y="4502996"/>
                  <a:pt x="201170" y="4502996"/>
                </a:cubicBezTo>
                <a:cubicBezTo>
                  <a:pt x="89712" y="4502996"/>
                  <a:pt x="0" y="4419794"/>
                  <a:pt x="0" y="4313901"/>
                </a:cubicBezTo>
                <a:cubicBezTo>
                  <a:pt x="0" y="4313901"/>
                  <a:pt x="0" y="4313901"/>
                  <a:pt x="0" y="847148"/>
                </a:cubicBezTo>
                <a:cubicBezTo>
                  <a:pt x="0" y="743776"/>
                  <a:pt x="89712" y="660574"/>
                  <a:pt x="201170" y="660574"/>
                </a:cubicBezTo>
                <a:cubicBezTo>
                  <a:pt x="206607" y="660574"/>
                  <a:pt x="212044" y="660574"/>
                  <a:pt x="217481" y="660574"/>
                </a:cubicBezTo>
                <a:cubicBezTo>
                  <a:pt x="250103" y="660574"/>
                  <a:pt x="266415" y="658053"/>
                  <a:pt x="307193" y="645446"/>
                </a:cubicBezTo>
                <a:cubicBezTo>
                  <a:pt x="339815" y="632840"/>
                  <a:pt x="399622" y="597542"/>
                  <a:pt x="405059" y="496691"/>
                </a:cubicBezTo>
                <a:cubicBezTo>
                  <a:pt x="405059" y="496691"/>
                  <a:pt x="405059" y="496691"/>
                  <a:pt x="405059" y="239521"/>
                </a:cubicBezTo>
                <a:cubicBezTo>
                  <a:pt x="405059" y="136149"/>
                  <a:pt x="494770" y="50426"/>
                  <a:pt x="606229" y="50426"/>
                </a:cubicBezTo>
                <a:cubicBezTo>
                  <a:pt x="717689" y="50426"/>
                  <a:pt x="807399" y="136149"/>
                  <a:pt x="807399" y="239521"/>
                </a:cubicBezTo>
                <a:cubicBezTo>
                  <a:pt x="807399" y="239521"/>
                  <a:pt x="807399" y="239521"/>
                  <a:pt x="807399" y="635361"/>
                </a:cubicBezTo>
                <a:cubicBezTo>
                  <a:pt x="812836" y="736212"/>
                  <a:pt x="872644" y="771510"/>
                  <a:pt x="905266" y="784116"/>
                </a:cubicBezTo>
                <a:cubicBezTo>
                  <a:pt x="956917" y="801765"/>
                  <a:pt x="970510" y="799244"/>
                  <a:pt x="1024880" y="801765"/>
                </a:cubicBezTo>
                <a:cubicBezTo>
                  <a:pt x="1128184" y="809329"/>
                  <a:pt x="1212458" y="890010"/>
                  <a:pt x="1212458" y="988339"/>
                </a:cubicBezTo>
                <a:cubicBezTo>
                  <a:pt x="1212458" y="988339"/>
                  <a:pt x="1212458" y="988339"/>
                  <a:pt x="1212458" y="2064923"/>
                </a:cubicBezTo>
                <a:cubicBezTo>
                  <a:pt x="1212458" y="2170817"/>
                  <a:pt x="1302169" y="2254019"/>
                  <a:pt x="1413629" y="2254019"/>
                </a:cubicBezTo>
                <a:cubicBezTo>
                  <a:pt x="1525088" y="2254019"/>
                  <a:pt x="1617517" y="2170817"/>
                  <a:pt x="1617517" y="2064923"/>
                </a:cubicBezTo>
                <a:cubicBezTo>
                  <a:pt x="1617517" y="2064923"/>
                  <a:pt x="1617517" y="2064923"/>
                  <a:pt x="1617517" y="1737158"/>
                </a:cubicBezTo>
                <a:cubicBezTo>
                  <a:pt x="1617517" y="1633786"/>
                  <a:pt x="1707228" y="1550583"/>
                  <a:pt x="1818687" y="1550583"/>
                </a:cubicBezTo>
                <a:cubicBezTo>
                  <a:pt x="1818687" y="1550583"/>
                  <a:pt x="1821406" y="1550583"/>
                  <a:pt x="1821406" y="1550583"/>
                </a:cubicBezTo>
                <a:cubicBezTo>
                  <a:pt x="1862183" y="1550583"/>
                  <a:pt x="1878495" y="1550583"/>
                  <a:pt x="1921991" y="1535456"/>
                </a:cubicBezTo>
                <a:cubicBezTo>
                  <a:pt x="1957332" y="1522849"/>
                  <a:pt x="2017139" y="1487552"/>
                  <a:pt x="2019858" y="1386701"/>
                </a:cubicBezTo>
                <a:lnTo>
                  <a:pt x="2019858" y="544595"/>
                </a:lnTo>
                <a:cubicBezTo>
                  <a:pt x="2019858" y="438702"/>
                  <a:pt x="2112287" y="355500"/>
                  <a:pt x="2223747" y="355500"/>
                </a:cubicBezTo>
                <a:cubicBezTo>
                  <a:pt x="2226465" y="355500"/>
                  <a:pt x="2229184" y="355500"/>
                  <a:pt x="2231902" y="355500"/>
                </a:cubicBezTo>
                <a:cubicBezTo>
                  <a:pt x="2269961" y="355500"/>
                  <a:pt x="2286272" y="355500"/>
                  <a:pt x="2329769" y="340372"/>
                </a:cubicBezTo>
                <a:cubicBezTo>
                  <a:pt x="2359672" y="330287"/>
                  <a:pt x="2414042" y="297510"/>
                  <a:pt x="2424916" y="216830"/>
                </a:cubicBezTo>
                <a:cubicBezTo>
                  <a:pt x="2424916" y="216830"/>
                  <a:pt x="2424916" y="216830"/>
                  <a:pt x="2424916" y="186574"/>
                </a:cubicBezTo>
                <a:cubicBezTo>
                  <a:pt x="2424916" y="83202"/>
                  <a:pt x="2514628" y="0"/>
                  <a:pt x="2626087" y="0"/>
                </a:cubicBezTo>
                <a:close/>
              </a:path>
            </a:pathLst>
          </a:custGeom>
          <a:solidFill>
            <a:schemeClr val="bg1">
              <a:lumMod val="95000"/>
            </a:schemeClr>
          </a:solidFill>
        </p:spPr>
        <p:txBody>
          <a:bodyPr wrap="square" anchor="ctr">
            <a:noAutofit/>
          </a:bodyPr>
          <a:lstStyle>
            <a:lvl1pPr marL="0" indent="0" algn="ctr">
              <a:buFontTx/>
              <a:buNone/>
              <a:defRPr sz="1200">
                <a:solidFill>
                  <a:schemeClr val="tx1"/>
                </a:solidFill>
              </a:defRPr>
            </a:lvl1pPr>
          </a:lstStyle>
          <a:p>
            <a:r>
              <a:rPr lang="en-US"/>
              <a:t>Image</a:t>
            </a:r>
          </a:p>
        </p:txBody>
      </p:sp>
    </p:spTree>
    <p:extLst>
      <p:ext uri="{BB962C8B-B14F-4D97-AF65-F5344CB8AC3E}">
        <p14:creationId xmlns:p14="http://schemas.microsoft.com/office/powerpoint/2010/main" val="241295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40_Custom Layout">
    <p:spTree>
      <p:nvGrpSpPr>
        <p:cNvPr id="1" name=""/>
        <p:cNvGrpSpPr/>
        <p:nvPr/>
      </p:nvGrpSpPr>
      <p:grpSpPr>
        <a:xfrm>
          <a:off x="0" y="0"/>
          <a:ext cx="0" cy="0"/>
          <a:chOff x="0" y="0"/>
          <a:chExt cx="0" cy="0"/>
        </a:xfrm>
      </p:grpSpPr>
      <p:sp>
        <p:nvSpPr>
          <p:cNvPr id="9" name="Freeform 8"/>
          <p:cNvSpPr>
            <a:spLocks noGrp="1"/>
          </p:cNvSpPr>
          <p:nvPr>
            <p:ph type="pic" sz="quarter" idx="22" hasCustomPrompt="1"/>
          </p:nvPr>
        </p:nvSpPr>
        <p:spPr>
          <a:xfrm>
            <a:off x="120440" y="50375"/>
            <a:ext cx="11951120" cy="6757249"/>
          </a:xfrm>
          <a:custGeom>
            <a:avLst/>
            <a:gdLst>
              <a:gd name="connsiteX0" fmla="*/ 6672558 w 11951120"/>
              <a:gd name="connsiteY0" fmla="*/ 6700656 h 6757249"/>
              <a:gd name="connsiteX1" fmla="*/ 6676915 w 11951120"/>
              <a:gd name="connsiteY1" fmla="*/ 6726397 h 6757249"/>
              <a:gd name="connsiteX2" fmla="*/ 6650771 w 11951120"/>
              <a:gd name="connsiteY2" fmla="*/ 6756428 h 6757249"/>
              <a:gd name="connsiteX3" fmla="*/ 6642057 w 11951120"/>
              <a:gd name="connsiteY3" fmla="*/ 6726397 h 6757249"/>
              <a:gd name="connsiteX4" fmla="*/ 6672558 w 11951120"/>
              <a:gd name="connsiteY4" fmla="*/ 6700656 h 6757249"/>
              <a:gd name="connsiteX5" fmla="*/ 4374279 w 11951120"/>
              <a:gd name="connsiteY5" fmla="*/ 6700656 h 6757249"/>
              <a:gd name="connsiteX6" fmla="*/ 4378636 w 11951120"/>
              <a:gd name="connsiteY6" fmla="*/ 6726397 h 6757249"/>
              <a:gd name="connsiteX7" fmla="*/ 4352492 w 11951120"/>
              <a:gd name="connsiteY7" fmla="*/ 6756428 h 6757249"/>
              <a:gd name="connsiteX8" fmla="*/ 4343778 w 11951120"/>
              <a:gd name="connsiteY8" fmla="*/ 6726397 h 6757249"/>
              <a:gd name="connsiteX9" fmla="*/ 4374279 w 11951120"/>
              <a:gd name="connsiteY9" fmla="*/ 6700656 h 6757249"/>
              <a:gd name="connsiteX10" fmla="*/ 6822326 w 11951120"/>
              <a:gd name="connsiteY10" fmla="*/ 6699048 h 6757249"/>
              <a:gd name="connsiteX11" fmla="*/ 6869972 w 11951120"/>
              <a:gd name="connsiteY11" fmla="*/ 6720835 h 6757249"/>
              <a:gd name="connsiteX12" fmla="*/ 6822326 w 11951120"/>
              <a:gd name="connsiteY12" fmla="*/ 6751334 h 6757249"/>
              <a:gd name="connsiteX13" fmla="*/ 6822326 w 11951120"/>
              <a:gd name="connsiteY13" fmla="*/ 6699048 h 6757249"/>
              <a:gd name="connsiteX14" fmla="*/ 4524047 w 11951120"/>
              <a:gd name="connsiteY14" fmla="*/ 6699048 h 6757249"/>
              <a:gd name="connsiteX15" fmla="*/ 4571693 w 11951120"/>
              <a:gd name="connsiteY15" fmla="*/ 6720835 h 6757249"/>
              <a:gd name="connsiteX16" fmla="*/ 4524047 w 11951120"/>
              <a:gd name="connsiteY16" fmla="*/ 6751334 h 6757249"/>
              <a:gd name="connsiteX17" fmla="*/ 4524047 w 11951120"/>
              <a:gd name="connsiteY17" fmla="*/ 6699048 h 6757249"/>
              <a:gd name="connsiteX18" fmla="*/ 6580387 w 11951120"/>
              <a:gd name="connsiteY18" fmla="*/ 6620395 h 6757249"/>
              <a:gd name="connsiteX19" fmla="*/ 6601838 w 11951120"/>
              <a:gd name="connsiteY19" fmla="*/ 6651678 h 6757249"/>
              <a:gd name="connsiteX20" fmla="*/ 6584677 w 11951120"/>
              <a:gd name="connsiteY20" fmla="*/ 6678491 h 6757249"/>
              <a:gd name="connsiteX21" fmla="*/ 6563226 w 11951120"/>
              <a:gd name="connsiteY21" fmla="*/ 6642739 h 6757249"/>
              <a:gd name="connsiteX22" fmla="*/ 6580387 w 11951120"/>
              <a:gd name="connsiteY22" fmla="*/ 6620395 h 6757249"/>
              <a:gd name="connsiteX23" fmla="*/ 4282108 w 11951120"/>
              <a:gd name="connsiteY23" fmla="*/ 6620395 h 6757249"/>
              <a:gd name="connsiteX24" fmla="*/ 4303559 w 11951120"/>
              <a:gd name="connsiteY24" fmla="*/ 6651678 h 6757249"/>
              <a:gd name="connsiteX25" fmla="*/ 4286398 w 11951120"/>
              <a:gd name="connsiteY25" fmla="*/ 6678491 h 6757249"/>
              <a:gd name="connsiteX26" fmla="*/ 4264947 w 11951120"/>
              <a:gd name="connsiteY26" fmla="*/ 6642739 h 6757249"/>
              <a:gd name="connsiteX27" fmla="*/ 4282108 w 11951120"/>
              <a:gd name="connsiteY27" fmla="*/ 6620395 h 6757249"/>
              <a:gd name="connsiteX28" fmla="*/ 6958054 w 11951120"/>
              <a:gd name="connsiteY28" fmla="*/ 6576537 h 6757249"/>
              <a:gd name="connsiteX29" fmla="*/ 6984600 w 11951120"/>
              <a:gd name="connsiteY29" fmla="*/ 6674176 h 6757249"/>
              <a:gd name="connsiteX30" fmla="*/ 6944781 w 11951120"/>
              <a:gd name="connsiteY30" fmla="*/ 6651985 h 6757249"/>
              <a:gd name="connsiteX31" fmla="*/ 6918236 w 11951120"/>
              <a:gd name="connsiteY31" fmla="*/ 6625357 h 6757249"/>
              <a:gd name="connsiteX32" fmla="*/ 6958054 w 11951120"/>
              <a:gd name="connsiteY32" fmla="*/ 6576537 h 6757249"/>
              <a:gd name="connsiteX33" fmla="*/ 4659775 w 11951120"/>
              <a:gd name="connsiteY33" fmla="*/ 6576537 h 6757249"/>
              <a:gd name="connsiteX34" fmla="*/ 4686322 w 11951120"/>
              <a:gd name="connsiteY34" fmla="*/ 6674176 h 6757249"/>
              <a:gd name="connsiteX35" fmla="*/ 4646502 w 11951120"/>
              <a:gd name="connsiteY35" fmla="*/ 6651985 h 6757249"/>
              <a:gd name="connsiteX36" fmla="*/ 4619957 w 11951120"/>
              <a:gd name="connsiteY36" fmla="*/ 6625357 h 6757249"/>
              <a:gd name="connsiteX37" fmla="*/ 4659775 w 11951120"/>
              <a:gd name="connsiteY37" fmla="*/ 6576537 h 6757249"/>
              <a:gd name="connsiteX38" fmla="*/ 6440634 w 11951120"/>
              <a:gd name="connsiteY38" fmla="*/ 6475805 h 6757249"/>
              <a:gd name="connsiteX39" fmla="*/ 6438763 w 11951120"/>
              <a:gd name="connsiteY39" fmla="*/ 6479561 h 6757249"/>
              <a:gd name="connsiteX40" fmla="*/ 6438520 w 11951120"/>
              <a:gd name="connsiteY40" fmla="*/ 6480050 h 6757249"/>
              <a:gd name="connsiteX41" fmla="*/ 6441327 w 11951120"/>
              <a:gd name="connsiteY41" fmla="*/ 6475866 h 6757249"/>
              <a:gd name="connsiteX42" fmla="*/ 4142355 w 11951120"/>
              <a:gd name="connsiteY42" fmla="*/ 6475805 h 6757249"/>
              <a:gd name="connsiteX43" fmla="*/ 4140484 w 11951120"/>
              <a:gd name="connsiteY43" fmla="*/ 6479561 h 6757249"/>
              <a:gd name="connsiteX44" fmla="*/ 4140241 w 11951120"/>
              <a:gd name="connsiteY44" fmla="*/ 6480050 h 6757249"/>
              <a:gd name="connsiteX45" fmla="*/ 4143048 w 11951120"/>
              <a:gd name="connsiteY45" fmla="*/ 6475866 h 6757249"/>
              <a:gd name="connsiteX46" fmla="*/ 8984947 w 11951120"/>
              <a:gd name="connsiteY46" fmla="*/ 6474303 h 6757249"/>
              <a:gd name="connsiteX47" fmla="*/ 8983611 w 11951120"/>
              <a:gd name="connsiteY47" fmla="*/ 6475611 h 6757249"/>
              <a:gd name="connsiteX48" fmla="*/ 8993595 w 11951120"/>
              <a:gd name="connsiteY48" fmla="*/ 6485873 h 6757249"/>
              <a:gd name="connsiteX49" fmla="*/ 1687820 w 11951120"/>
              <a:gd name="connsiteY49" fmla="*/ 6430862 h 6757249"/>
              <a:gd name="connsiteX50" fmla="*/ 1681765 w 11951120"/>
              <a:gd name="connsiteY50" fmla="*/ 6432596 h 6757249"/>
              <a:gd name="connsiteX51" fmla="*/ 1683885 w 11951120"/>
              <a:gd name="connsiteY51" fmla="*/ 6435790 h 6757249"/>
              <a:gd name="connsiteX52" fmla="*/ 1683760 w 11951120"/>
              <a:gd name="connsiteY52" fmla="*/ 6436191 h 6757249"/>
              <a:gd name="connsiteX53" fmla="*/ 1688068 w 11951120"/>
              <a:gd name="connsiteY53" fmla="*/ 6431904 h 6757249"/>
              <a:gd name="connsiteX54" fmla="*/ 9351677 w 11951120"/>
              <a:gd name="connsiteY54" fmla="*/ 6409705 h 6757249"/>
              <a:gd name="connsiteX55" fmla="*/ 9347938 w 11951120"/>
              <a:gd name="connsiteY55" fmla="*/ 6412093 h 6757249"/>
              <a:gd name="connsiteX56" fmla="*/ 9355569 w 11951120"/>
              <a:gd name="connsiteY56" fmla="*/ 6425641 h 6757249"/>
              <a:gd name="connsiteX57" fmla="*/ 9356793 w 11951120"/>
              <a:gd name="connsiteY57" fmla="*/ 6425909 h 6757249"/>
              <a:gd name="connsiteX58" fmla="*/ 9351677 w 11951120"/>
              <a:gd name="connsiteY58" fmla="*/ 6410321 h 6757249"/>
              <a:gd name="connsiteX59" fmla="*/ 7053398 w 11951120"/>
              <a:gd name="connsiteY59" fmla="*/ 6409705 h 6757249"/>
              <a:gd name="connsiteX60" fmla="*/ 7049659 w 11951120"/>
              <a:gd name="connsiteY60" fmla="*/ 6412093 h 6757249"/>
              <a:gd name="connsiteX61" fmla="*/ 7057290 w 11951120"/>
              <a:gd name="connsiteY61" fmla="*/ 6425641 h 6757249"/>
              <a:gd name="connsiteX62" fmla="*/ 7058514 w 11951120"/>
              <a:gd name="connsiteY62" fmla="*/ 6425909 h 6757249"/>
              <a:gd name="connsiteX63" fmla="*/ 7053398 w 11951120"/>
              <a:gd name="connsiteY63" fmla="*/ 6410321 h 6757249"/>
              <a:gd name="connsiteX64" fmla="*/ 9906863 w 11951120"/>
              <a:gd name="connsiteY64" fmla="*/ 6387501 h 6757249"/>
              <a:gd name="connsiteX65" fmla="*/ 9907446 w 11951120"/>
              <a:gd name="connsiteY65" fmla="*/ 6391605 h 6757249"/>
              <a:gd name="connsiteX66" fmla="*/ 9907285 w 11951120"/>
              <a:gd name="connsiteY66" fmla="*/ 6392252 h 6757249"/>
              <a:gd name="connsiteX67" fmla="*/ 9907868 w 11951120"/>
              <a:gd name="connsiteY67" fmla="*/ 6391788 h 6757249"/>
              <a:gd name="connsiteX68" fmla="*/ 9918884 w 11951120"/>
              <a:gd name="connsiteY68" fmla="*/ 6388940 h 6757249"/>
              <a:gd name="connsiteX69" fmla="*/ 7608584 w 11951120"/>
              <a:gd name="connsiteY69" fmla="*/ 6387501 h 6757249"/>
              <a:gd name="connsiteX70" fmla="*/ 7609167 w 11951120"/>
              <a:gd name="connsiteY70" fmla="*/ 6391605 h 6757249"/>
              <a:gd name="connsiteX71" fmla="*/ 7609006 w 11951120"/>
              <a:gd name="connsiteY71" fmla="*/ 6392252 h 6757249"/>
              <a:gd name="connsiteX72" fmla="*/ 7609589 w 11951120"/>
              <a:gd name="connsiteY72" fmla="*/ 6391788 h 6757249"/>
              <a:gd name="connsiteX73" fmla="*/ 7620605 w 11951120"/>
              <a:gd name="connsiteY73" fmla="*/ 6388940 h 6757249"/>
              <a:gd name="connsiteX74" fmla="*/ 1614698 w 11951120"/>
              <a:gd name="connsiteY74" fmla="*/ 6360904 h 6757249"/>
              <a:gd name="connsiteX75" fmla="*/ 1614509 w 11951120"/>
              <a:gd name="connsiteY75" fmla="*/ 6360959 h 6757249"/>
              <a:gd name="connsiteX76" fmla="*/ 1614786 w 11951120"/>
              <a:gd name="connsiteY76" fmla="*/ 6361532 h 6757249"/>
              <a:gd name="connsiteX77" fmla="*/ 3911963 w 11951120"/>
              <a:gd name="connsiteY77" fmla="*/ 6358888 h 6757249"/>
              <a:gd name="connsiteX78" fmla="*/ 3911925 w 11951120"/>
              <a:gd name="connsiteY78" fmla="*/ 6359186 h 6757249"/>
              <a:gd name="connsiteX79" fmla="*/ 3911963 w 11951120"/>
              <a:gd name="connsiteY79" fmla="*/ 6359262 h 6757249"/>
              <a:gd name="connsiteX80" fmla="*/ 1613683 w 11951120"/>
              <a:gd name="connsiteY80" fmla="*/ 6358888 h 6757249"/>
              <a:gd name="connsiteX81" fmla="*/ 1613646 w 11951120"/>
              <a:gd name="connsiteY81" fmla="*/ 6359186 h 6757249"/>
              <a:gd name="connsiteX82" fmla="*/ 1613683 w 11951120"/>
              <a:gd name="connsiteY82" fmla="*/ 6359262 h 6757249"/>
              <a:gd name="connsiteX83" fmla="*/ 3911759 w 11951120"/>
              <a:gd name="connsiteY83" fmla="*/ 6356107 h 6757249"/>
              <a:gd name="connsiteX84" fmla="*/ 3910492 w 11951120"/>
              <a:gd name="connsiteY84" fmla="*/ 6356235 h 6757249"/>
              <a:gd name="connsiteX85" fmla="*/ 3911759 w 11951120"/>
              <a:gd name="connsiteY85" fmla="*/ 6358844 h 6757249"/>
              <a:gd name="connsiteX86" fmla="*/ 1613480 w 11951120"/>
              <a:gd name="connsiteY86" fmla="*/ 6356107 h 6757249"/>
              <a:gd name="connsiteX87" fmla="*/ 1612212 w 11951120"/>
              <a:gd name="connsiteY87" fmla="*/ 6356235 h 6757249"/>
              <a:gd name="connsiteX88" fmla="*/ 1613480 w 11951120"/>
              <a:gd name="connsiteY88" fmla="*/ 6358844 h 6757249"/>
              <a:gd name="connsiteX89" fmla="*/ 8512985 w 11951120"/>
              <a:gd name="connsiteY89" fmla="*/ 6350823 h 6757249"/>
              <a:gd name="connsiteX90" fmla="*/ 8510918 w 11951120"/>
              <a:gd name="connsiteY90" fmla="*/ 6356059 h 6757249"/>
              <a:gd name="connsiteX91" fmla="*/ 8513520 w 11951120"/>
              <a:gd name="connsiteY91" fmla="*/ 6355836 h 6757249"/>
              <a:gd name="connsiteX92" fmla="*/ 8514740 w 11951120"/>
              <a:gd name="connsiteY92" fmla="*/ 6356086 h 6757249"/>
              <a:gd name="connsiteX93" fmla="*/ 6214706 w 11951120"/>
              <a:gd name="connsiteY93" fmla="*/ 6350823 h 6757249"/>
              <a:gd name="connsiteX94" fmla="*/ 6212639 w 11951120"/>
              <a:gd name="connsiteY94" fmla="*/ 6356059 h 6757249"/>
              <a:gd name="connsiteX95" fmla="*/ 6215241 w 11951120"/>
              <a:gd name="connsiteY95" fmla="*/ 6355836 h 6757249"/>
              <a:gd name="connsiteX96" fmla="*/ 6216461 w 11951120"/>
              <a:gd name="connsiteY96" fmla="*/ 6356086 h 6757249"/>
              <a:gd name="connsiteX97" fmla="*/ 4165949 w 11951120"/>
              <a:gd name="connsiteY97" fmla="*/ 6338737 h 6757249"/>
              <a:gd name="connsiteX98" fmla="*/ 4164402 w 11951120"/>
              <a:gd name="connsiteY98" fmla="*/ 6342229 h 6757249"/>
              <a:gd name="connsiteX99" fmla="*/ 4168103 w 11951120"/>
              <a:gd name="connsiteY99" fmla="*/ 6339061 h 6757249"/>
              <a:gd name="connsiteX100" fmla="*/ 4167969 w 11951120"/>
              <a:gd name="connsiteY100" fmla="*/ 6338983 h 6757249"/>
              <a:gd name="connsiteX101" fmla="*/ 4475834 w 11951120"/>
              <a:gd name="connsiteY101" fmla="*/ 6334735 h 6757249"/>
              <a:gd name="connsiteX102" fmla="*/ 4475165 w 11951120"/>
              <a:gd name="connsiteY102" fmla="*/ 6335186 h 6757249"/>
              <a:gd name="connsiteX103" fmla="*/ 4475165 w 11951120"/>
              <a:gd name="connsiteY103" fmla="*/ 6355073 h 6757249"/>
              <a:gd name="connsiteX104" fmla="*/ 4475834 w 11951120"/>
              <a:gd name="connsiteY104" fmla="*/ 6355309 h 6757249"/>
              <a:gd name="connsiteX105" fmla="*/ 4185829 w 11951120"/>
              <a:gd name="connsiteY105" fmla="*/ 6334387 h 6757249"/>
              <a:gd name="connsiteX106" fmla="*/ 4185579 w 11951120"/>
              <a:gd name="connsiteY106" fmla="*/ 6334536 h 6757249"/>
              <a:gd name="connsiteX107" fmla="*/ 4185579 w 11951120"/>
              <a:gd name="connsiteY107" fmla="*/ 6337416 h 6757249"/>
              <a:gd name="connsiteX108" fmla="*/ 4190712 w 11951120"/>
              <a:gd name="connsiteY108" fmla="*/ 6334387 h 6757249"/>
              <a:gd name="connsiteX109" fmla="*/ 8012014 w 11951120"/>
              <a:gd name="connsiteY109" fmla="*/ 6323449 h 6757249"/>
              <a:gd name="connsiteX110" fmla="*/ 8001499 w 11951120"/>
              <a:gd name="connsiteY110" fmla="*/ 6324648 h 6757249"/>
              <a:gd name="connsiteX111" fmla="*/ 8001499 w 11951120"/>
              <a:gd name="connsiteY111" fmla="*/ 6325447 h 6757249"/>
              <a:gd name="connsiteX112" fmla="*/ 8001499 w 11951120"/>
              <a:gd name="connsiteY112" fmla="*/ 6329916 h 6757249"/>
              <a:gd name="connsiteX113" fmla="*/ 8001499 w 11951120"/>
              <a:gd name="connsiteY113" fmla="*/ 6332558 h 6757249"/>
              <a:gd name="connsiteX114" fmla="*/ 8002508 w 11951120"/>
              <a:gd name="connsiteY114" fmla="*/ 6333058 h 6757249"/>
              <a:gd name="connsiteX115" fmla="*/ 5713735 w 11951120"/>
              <a:gd name="connsiteY115" fmla="*/ 6323449 h 6757249"/>
              <a:gd name="connsiteX116" fmla="*/ 5703220 w 11951120"/>
              <a:gd name="connsiteY116" fmla="*/ 6324648 h 6757249"/>
              <a:gd name="connsiteX117" fmla="*/ 5703220 w 11951120"/>
              <a:gd name="connsiteY117" fmla="*/ 6325447 h 6757249"/>
              <a:gd name="connsiteX118" fmla="*/ 5703220 w 11951120"/>
              <a:gd name="connsiteY118" fmla="*/ 6329916 h 6757249"/>
              <a:gd name="connsiteX119" fmla="*/ 5703220 w 11951120"/>
              <a:gd name="connsiteY119" fmla="*/ 6332558 h 6757249"/>
              <a:gd name="connsiteX120" fmla="*/ 5704229 w 11951120"/>
              <a:gd name="connsiteY120" fmla="*/ 6333058 h 6757249"/>
              <a:gd name="connsiteX121" fmla="*/ 8848990 w 11951120"/>
              <a:gd name="connsiteY121" fmla="*/ 6285385 h 6757249"/>
              <a:gd name="connsiteX122" fmla="*/ 8848836 w 11951120"/>
              <a:gd name="connsiteY122" fmla="*/ 6285496 h 6757249"/>
              <a:gd name="connsiteX123" fmla="*/ 8848912 w 11951120"/>
              <a:gd name="connsiteY123" fmla="*/ 6285611 h 6757249"/>
              <a:gd name="connsiteX124" fmla="*/ 8654996 w 11951120"/>
              <a:gd name="connsiteY124" fmla="*/ 6260990 h 6757249"/>
              <a:gd name="connsiteX125" fmla="*/ 8654959 w 11951120"/>
              <a:gd name="connsiteY125" fmla="*/ 6261058 h 6757249"/>
              <a:gd name="connsiteX126" fmla="*/ 8654977 w 11951120"/>
              <a:gd name="connsiteY126" fmla="*/ 6261071 h 6757249"/>
              <a:gd name="connsiteX127" fmla="*/ 8821991 w 11951120"/>
              <a:gd name="connsiteY127" fmla="*/ 6188321 h 6757249"/>
              <a:gd name="connsiteX128" fmla="*/ 8820940 w 11951120"/>
              <a:gd name="connsiteY128" fmla="*/ 6190426 h 6757249"/>
              <a:gd name="connsiteX129" fmla="*/ 8819851 w 11951120"/>
              <a:gd name="connsiteY129" fmla="*/ 6191211 h 6757249"/>
              <a:gd name="connsiteX130" fmla="*/ 8822595 w 11951120"/>
              <a:gd name="connsiteY130" fmla="*/ 6193226 h 6757249"/>
              <a:gd name="connsiteX131" fmla="*/ 8821991 w 11951120"/>
              <a:gd name="connsiteY131" fmla="*/ 6189642 h 6757249"/>
              <a:gd name="connsiteX132" fmla="*/ 8269634 w 11951120"/>
              <a:gd name="connsiteY132" fmla="*/ 6184028 h 6757249"/>
              <a:gd name="connsiteX133" fmla="*/ 8269252 w 11951120"/>
              <a:gd name="connsiteY133" fmla="*/ 6186711 h 6757249"/>
              <a:gd name="connsiteX134" fmla="*/ 8269634 w 11951120"/>
              <a:gd name="connsiteY134" fmla="*/ 6186902 h 6757249"/>
              <a:gd name="connsiteX135" fmla="*/ 7315172 w 11951120"/>
              <a:gd name="connsiteY135" fmla="*/ 6121061 h 6757249"/>
              <a:gd name="connsiteX136" fmla="*/ 7312057 w 11951120"/>
              <a:gd name="connsiteY136" fmla="*/ 6124029 h 6757249"/>
              <a:gd name="connsiteX137" fmla="*/ 7316916 w 11951120"/>
              <a:gd name="connsiteY137" fmla="*/ 6130475 h 6757249"/>
              <a:gd name="connsiteX138" fmla="*/ 7317518 w 11951120"/>
              <a:gd name="connsiteY138" fmla="*/ 6129187 h 6757249"/>
              <a:gd name="connsiteX139" fmla="*/ 9624517 w 11951120"/>
              <a:gd name="connsiteY139" fmla="*/ 6110516 h 6757249"/>
              <a:gd name="connsiteX140" fmla="*/ 9610336 w 11951120"/>
              <a:gd name="connsiteY140" fmla="*/ 6124029 h 6757249"/>
              <a:gd name="connsiteX141" fmla="*/ 9615195 w 11951120"/>
              <a:gd name="connsiteY141" fmla="*/ 6130475 h 6757249"/>
              <a:gd name="connsiteX142" fmla="*/ 2784792 w 11951120"/>
              <a:gd name="connsiteY142" fmla="*/ 6106911 h 6757249"/>
              <a:gd name="connsiteX143" fmla="*/ 2779441 w 11951120"/>
              <a:gd name="connsiteY143" fmla="*/ 6111289 h 6757249"/>
              <a:gd name="connsiteX144" fmla="*/ 2779553 w 11951120"/>
              <a:gd name="connsiteY144" fmla="*/ 6111319 h 6757249"/>
              <a:gd name="connsiteX145" fmla="*/ 2780304 w 11951120"/>
              <a:gd name="connsiteY145" fmla="*/ 6111527 h 6757249"/>
              <a:gd name="connsiteX146" fmla="*/ 2782307 w 11951120"/>
              <a:gd name="connsiteY146" fmla="*/ 6114486 h 6757249"/>
              <a:gd name="connsiteX147" fmla="*/ 2784694 w 11951120"/>
              <a:gd name="connsiteY147" fmla="*/ 6107208 h 6757249"/>
              <a:gd name="connsiteX148" fmla="*/ 486512 w 11951120"/>
              <a:gd name="connsiteY148" fmla="*/ 6106911 h 6757249"/>
              <a:gd name="connsiteX149" fmla="*/ 481161 w 11951120"/>
              <a:gd name="connsiteY149" fmla="*/ 6111289 h 6757249"/>
              <a:gd name="connsiteX150" fmla="*/ 481274 w 11951120"/>
              <a:gd name="connsiteY150" fmla="*/ 6111319 h 6757249"/>
              <a:gd name="connsiteX151" fmla="*/ 482024 w 11951120"/>
              <a:gd name="connsiteY151" fmla="*/ 6111527 h 6757249"/>
              <a:gd name="connsiteX152" fmla="*/ 484027 w 11951120"/>
              <a:gd name="connsiteY152" fmla="*/ 6114486 h 6757249"/>
              <a:gd name="connsiteX153" fmla="*/ 486414 w 11951120"/>
              <a:gd name="connsiteY153" fmla="*/ 6107208 h 6757249"/>
              <a:gd name="connsiteX154" fmla="*/ 11178700 w 11951120"/>
              <a:gd name="connsiteY154" fmla="*/ 6092678 h 6757249"/>
              <a:gd name="connsiteX155" fmla="*/ 11176844 w 11951120"/>
              <a:gd name="connsiteY155" fmla="*/ 6093262 h 6757249"/>
              <a:gd name="connsiteX156" fmla="*/ 11178700 w 11951120"/>
              <a:gd name="connsiteY156" fmla="*/ 6096068 h 6757249"/>
              <a:gd name="connsiteX157" fmla="*/ 504441 w 11951120"/>
              <a:gd name="connsiteY157" fmla="*/ 6085325 h 6757249"/>
              <a:gd name="connsiteX158" fmla="*/ 504441 w 11951120"/>
              <a:gd name="connsiteY158" fmla="*/ 6087909 h 6757249"/>
              <a:gd name="connsiteX159" fmla="*/ 504441 w 11951120"/>
              <a:gd name="connsiteY159" fmla="*/ 6091235 h 6757249"/>
              <a:gd name="connsiteX160" fmla="*/ 507449 w 11951120"/>
              <a:gd name="connsiteY160" fmla="*/ 6088789 h 6757249"/>
              <a:gd name="connsiteX161" fmla="*/ 403025 w 11951120"/>
              <a:gd name="connsiteY161" fmla="*/ 6044800 h 6757249"/>
              <a:gd name="connsiteX162" fmla="*/ 410519 w 11951120"/>
              <a:gd name="connsiteY162" fmla="*/ 6115339 h 6757249"/>
              <a:gd name="connsiteX163" fmla="*/ 411071 w 11951120"/>
              <a:gd name="connsiteY163" fmla="*/ 6111527 h 6757249"/>
              <a:gd name="connsiteX164" fmla="*/ 411178 w 11951120"/>
              <a:gd name="connsiteY164" fmla="*/ 6111499 h 6757249"/>
              <a:gd name="connsiteX165" fmla="*/ 407404 w 11951120"/>
              <a:gd name="connsiteY165" fmla="*/ 6044800 h 6757249"/>
              <a:gd name="connsiteX166" fmla="*/ 10960051 w 11951120"/>
              <a:gd name="connsiteY166" fmla="*/ 6033899 h 6757249"/>
              <a:gd name="connsiteX167" fmla="*/ 10959722 w 11951120"/>
              <a:gd name="connsiteY167" fmla="*/ 6034203 h 6757249"/>
              <a:gd name="connsiteX168" fmla="*/ 10956781 w 11951120"/>
              <a:gd name="connsiteY168" fmla="*/ 6057954 h 6757249"/>
              <a:gd name="connsiteX169" fmla="*/ 10957046 w 11951120"/>
              <a:gd name="connsiteY169" fmla="*/ 6058105 h 6757249"/>
              <a:gd name="connsiteX170" fmla="*/ 1733395 w 11951120"/>
              <a:gd name="connsiteY170" fmla="*/ 6023351 h 6757249"/>
              <a:gd name="connsiteX171" fmla="*/ 1734834 w 11951120"/>
              <a:gd name="connsiteY171" fmla="*/ 6030492 h 6757249"/>
              <a:gd name="connsiteX172" fmla="*/ 1736236 w 11951120"/>
              <a:gd name="connsiteY172" fmla="*/ 6023351 h 6757249"/>
              <a:gd name="connsiteX173" fmla="*/ 1735974 w 11951120"/>
              <a:gd name="connsiteY173" fmla="*/ 6023351 h 6757249"/>
              <a:gd name="connsiteX174" fmla="*/ 10646103 w 11951120"/>
              <a:gd name="connsiteY174" fmla="*/ 6016482 h 6757249"/>
              <a:gd name="connsiteX175" fmla="*/ 10645480 w 11951120"/>
              <a:gd name="connsiteY175" fmla="*/ 6017070 h 6757249"/>
              <a:gd name="connsiteX176" fmla="*/ 10645808 w 11951120"/>
              <a:gd name="connsiteY176" fmla="*/ 6017287 h 6757249"/>
              <a:gd name="connsiteX177" fmla="*/ 10269636 w 11951120"/>
              <a:gd name="connsiteY177" fmla="*/ 5998367 h 6757249"/>
              <a:gd name="connsiteX178" fmla="*/ 10267993 w 11951120"/>
              <a:gd name="connsiteY178" fmla="*/ 6000416 h 6757249"/>
              <a:gd name="connsiteX179" fmla="*/ 10267028 w 11951120"/>
              <a:gd name="connsiteY179" fmla="*/ 6001419 h 6757249"/>
              <a:gd name="connsiteX180" fmla="*/ 10268859 w 11951120"/>
              <a:gd name="connsiteY180" fmla="*/ 6002030 h 6757249"/>
              <a:gd name="connsiteX181" fmla="*/ 10268905 w 11951120"/>
              <a:gd name="connsiteY181" fmla="*/ 6001284 h 6757249"/>
              <a:gd name="connsiteX182" fmla="*/ 1179966 w 11951120"/>
              <a:gd name="connsiteY182" fmla="*/ 5982779 h 6757249"/>
              <a:gd name="connsiteX183" fmla="*/ 1179802 w 11951120"/>
              <a:gd name="connsiteY183" fmla="*/ 5982789 h 6757249"/>
              <a:gd name="connsiteX184" fmla="*/ 1176338 w 11951120"/>
              <a:gd name="connsiteY184" fmla="*/ 5993238 h 6757249"/>
              <a:gd name="connsiteX185" fmla="*/ 1176361 w 11951120"/>
              <a:gd name="connsiteY185" fmla="*/ 5993242 h 6757249"/>
              <a:gd name="connsiteX186" fmla="*/ 386114 w 11951120"/>
              <a:gd name="connsiteY186" fmla="*/ 5953136 h 6757249"/>
              <a:gd name="connsiteX187" fmla="*/ 382692 w 11951120"/>
              <a:gd name="connsiteY187" fmla="*/ 5955987 h 6757249"/>
              <a:gd name="connsiteX188" fmla="*/ 386114 w 11951120"/>
              <a:gd name="connsiteY188" fmla="*/ 5957416 h 6757249"/>
              <a:gd name="connsiteX189" fmla="*/ 11275420 w 11951120"/>
              <a:gd name="connsiteY189" fmla="*/ 5949757 h 6757249"/>
              <a:gd name="connsiteX190" fmla="*/ 11275420 w 11951120"/>
              <a:gd name="connsiteY190" fmla="*/ 5952832 h 6757249"/>
              <a:gd name="connsiteX191" fmla="*/ 11275232 w 11951120"/>
              <a:gd name="connsiteY191" fmla="*/ 5953423 h 6757249"/>
              <a:gd name="connsiteX192" fmla="*/ 11275930 w 11951120"/>
              <a:gd name="connsiteY192" fmla="*/ 5952689 h 6757249"/>
              <a:gd name="connsiteX193" fmla="*/ 11277325 w 11951120"/>
              <a:gd name="connsiteY193" fmla="*/ 5952559 h 6757249"/>
              <a:gd name="connsiteX194" fmla="*/ 387783 w 11951120"/>
              <a:gd name="connsiteY194" fmla="*/ 5946486 h 6757249"/>
              <a:gd name="connsiteX195" fmla="*/ 387087 w 11951120"/>
              <a:gd name="connsiteY195" fmla="*/ 5947231 h 6757249"/>
              <a:gd name="connsiteX196" fmla="*/ 386273 w 11951120"/>
              <a:gd name="connsiteY196" fmla="*/ 5948588 h 6757249"/>
              <a:gd name="connsiteX197" fmla="*/ 386273 w 11951120"/>
              <a:gd name="connsiteY197" fmla="*/ 5951114 h 6757249"/>
              <a:gd name="connsiteX198" fmla="*/ 1323505 w 11951120"/>
              <a:gd name="connsiteY198" fmla="*/ 5926141 h 6757249"/>
              <a:gd name="connsiteX199" fmla="*/ 1320340 w 11951120"/>
              <a:gd name="connsiteY199" fmla="*/ 5926198 h 6757249"/>
              <a:gd name="connsiteX200" fmla="*/ 1323014 w 11951120"/>
              <a:gd name="connsiteY200" fmla="*/ 5932098 h 6757249"/>
              <a:gd name="connsiteX201" fmla="*/ 1324287 w 11951120"/>
              <a:gd name="connsiteY201" fmla="*/ 5926438 h 6757249"/>
              <a:gd name="connsiteX202" fmla="*/ 1323916 w 11951120"/>
              <a:gd name="connsiteY202" fmla="*/ 5926821 h 6757249"/>
              <a:gd name="connsiteX203" fmla="*/ 675701 w 11951120"/>
              <a:gd name="connsiteY203" fmla="*/ 5914425 h 6757249"/>
              <a:gd name="connsiteX204" fmla="*/ 674956 w 11951120"/>
              <a:gd name="connsiteY204" fmla="*/ 5917042 h 6757249"/>
              <a:gd name="connsiteX205" fmla="*/ 673818 w 11951120"/>
              <a:gd name="connsiteY205" fmla="*/ 5917818 h 6757249"/>
              <a:gd name="connsiteX206" fmla="*/ 675701 w 11951120"/>
              <a:gd name="connsiteY206" fmla="*/ 5917886 h 6757249"/>
              <a:gd name="connsiteX207" fmla="*/ 413855 w 11951120"/>
              <a:gd name="connsiteY207" fmla="*/ 5902303 h 6757249"/>
              <a:gd name="connsiteX208" fmla="*/ 412892 w 11951120"/>
              <a:gd name="connsiteY208" fmla="*/ 5902496 h 6757249"/>
              <a:gd name="connsiteX209" fmla="*/ 412696 w 11951120"/>
              <a:gd name="connsiteY209" fmla="*/ 5903279 h 6757249"/>
              <a:gd name="connsiteX210" fmla="*/ 382863 w 11951120"/>
              <a:gd name="connsiteY210" fmla="*/ 5900344 h 6757249"/>
              <a:gd name="connsiteX211" fmla="*/ 386116 w 11951120"/>
              <a:gd name="connsiteY211" fmla="*/ 5901428 h 6757249"/>
              <a:gd name="connsiteX212" fmla="*/ 386116 w 11951120"/>
              <a:gd name="connsiteY212" fmla="*/ 5901350 h 6757249"/>
              <a:gd name="connsiteX213" fmla="*/ 385109 w 11951120"/>
              <a:gd name="connsiteY213" fmla="*/ 5900344 h 6757249"/>
              <a:gd name="connsiteX214" fmla="*/ 440413 w 11951120"/>
              <a:gd name="connsiteY214" fmla="*/ 5886602 h 6757249"/>
              <a:gd name="connsiteX215" fmla="*/ 442425 w 11951120"/>
              <a:gd name="connsiteY215" fmla="*/ 5889618 h 6757249"/>
              <a:gd name="connsiteX216" fmla="*/ 433709 w 11951120"/>
              <a:gd name="connsiteY216" fmla="*/ 5898332 h 6757249"/>
              <a:gd name="connsiteX217" fmla="*/ 431194 w 11951120"/>
              <a:gd name="connsiteY217" fmla="*/ 5898835 h 6757249"/>
              <a:gd name="connsiteX218" fmla="*/ 432888 w 11951120"/>
              <a:gd name="connsiteY218" fmla="*/ 5899243 h 6757249"/>
              <a:gd name="connsiteX219" fmla="*/ 434380 w 11951120"/>
              <a:gd name="connsiteY219" fmla="*/ 5904170 h 6757249"/>
              <a:gd name="connsiteX220" fmla="*/ 434582 w 11951120"/>
              <a:gd name="connsiteY220" fmla="*/ 5904840 h 6757249"/>
              <a:gd name="connsiteX221" fmla="*/ 445105 w 11951120"/>
              <a:gd name="connsiteY221" fmla="*/ 5894687 h 6757249"/>
              <a:gd name="connsiteX222" fmla="*/ 455830 w 11951120"/>
              <a:gd name="connsiteY222" fmla="*/ 5900680 h 6757249"/>
              <a:gd name="connsiteX223" fmla="*/ 455830 w 11951120"/>
              <a:gd name="connsiteY223" fmla="*/ 5901683 h 6757249"/>
              <a:gd name="connsiteX224" fmla="*/ 456499 w 11951120"/>
              <a:gd name="connsiteY224" fmla="*/ 5900680 h 6757249"/>
              <a:gd name="connsiteX225" fmla="*/ 457842 w 11951120"/>
              <a:gd name="connsiteY225" fmla="*/ 5900008 h 6757249"/>
              <a:gd name="connsiteX226" fmla="*/ 455829 w 11951120"/>
              <a:gd name="connsiteY226" fmla="*/ 5900008 h 6757249"/>
              <a:gd name="connsiteX227" fmla="*/ 455829 w 11951120"/>
              <a:gd name="connsiteY227" fmla="*/ 5886602 h 6757249"/>
              <a:gd name="connsiteX228" fmla="*/ 11061478 w 11951120"/>
              <a:gd name="connsiteY228" fmla="*/ 5877265 h 6757249"/>
              <a:gd name="connsiteX229" fmla="*/ 11061064 w 11951120"/>
              <a:gd name="connsiteY229" fmla="*/ 5880197 h 6757249"/>
              <a:gd name="connsiteX230" fmla="*/ 11062253 w 11951120"/>
              <a:gd name="connsiteY230" fmla="*/ 5878557 h 6757249"/>
              <a:gd name="connsiteX231" fmla="*/ 11065388 w 11951120"/>
              <a:gd name="connsiteY231" fmla="*/ 5878815 h 6757249"/>
              <a:gd name="connsiteX232" fmla="*/ 11061986 w 11951120"/>
              <a:gd name="connsiteY232" fmla="*/ 5877265 h 6757249"/>
              <a:gd name="connsiteX233" fmla="*/ 503200 w 11951120"/>
              <a:gd name="connsiteY233" fmla="*/ 5854802 h 6757249"/>
              <a:gd name="connsiteX234" fmla="*/ 503085 w 11951120"/>
              <a:gd name="connsiteY234" fmla="*/ 5855150 h 6757249"/>
              <a:gd name="connsiteX235" fmla="*/ 503200 w 11951120"/>
              <a:gd name="connsiteY235" fmla="*/ 5855171 h 6757249"/>
              <a:gd name="connsiteX236" fmla="*/ 793506 w 11951120"/>
              <a:gd name="connsiteY236" fmla="*/ 5851309 h 6757249"/>
              <a:gd name="connsiteX237" fmla="*/ 790825 w 11951120"/>
              <a:gd name="connsiteY237" fmla="*/ 5853304 h 6757249"/>
              <a:gd name="connsiteX238" fmla="*/ 793506 w 11951120"/>
              <a:gd name="connsiteY238" fmla="*/ 5854167 h 6757249"/>
              <a:gd name="connsiteX239" fmla="*/ 526775 w 11951120"/>
              <a:gd name="connsiteY239" fmla="*/ 5845158 h 6757249"/>
              <a:gd name="connsiteX240" fmla="*/ 525544 w 11951120"/>
              <a:gd name="connsiteY240" fmla="*/ 5851125 h 6757249"/>
              <a:gd name="connsiteX241" fmla="*/ 525672 w 11951120"/>
              <a:gd name="connsiteY241" fmla="*/ 5851125 h 6757249"/>
              <a:gd name="connsiteX242" fmla="*/ 526870 w 11951120"/>
              <a:gd name="connsiteY242" fmla="*/ 5845377 h 6757249"/>
              <a:gd name="connsiteX243" fmla="*/ 985923 w 11951120"/>
              <a:gd name="connsiteY243" fmla="*/ 5830294 h 6757249"/>
              <a:gd name="connsiteX244" fmla="*/ 986010 w 11951120"/>
              <a:gd name="connsiteY244" fmla="*/ 5831673 h 6757249"/>
              <a:gd name="connsiteX245" fmla="*/ 986618 w 11951120"/>
              <a:gd name="connsiteY245" fmla="*/ 5830294 h 6757249"/>
              <a:gd name="connsiteX246" fmla="*/ 481159 w 11951120"/>
              <a:gd name="connsiteY246" fmla="*/ 5826915 h 6757249"/>
              <a:gd name="connsiteX247" fmla="*/ 478180 w 11951120"/>
              <a:gd name="connsiteY247" fmla="*/ 5830668 h 6757249"/>
              <a:gd name="connsiteX248" fmla="*/ 482107 w 11951120"/>
              <a:gd name="connsiteY248" fmla="*/ 5830293 h 6757249"/>
              <a:gd name="connsiteX249" fmla="*/ 482642 w 11951120"/>
              <a:gd name="connsiteY249" fmla="*/ 5833536 h 6757249"/>
              <a:gd name="connsiteX250" fmla="*/ 482642 w 11951120"/>
              <a:gd name="connsiteY250" fmla="*/ 5830293 h 6757249"/>
              <a:gd name="connsiteX251" fmla="*/ 483206 w 11951120"/>
              <a:gd name="connsiteY251" fmla="*/ 5830293 h 6757249"/>
              <a:gd name="connsiteX252" fmla="*/ 482080 w 11951120"/>
              <a:gd name="connsiteY252" fmla="*/ 5829538 h 6757249"/>
              <a:gd name="connsiteX253" fmla="*/ 10847305 w 11951120"/>
              <a:gd name="connsiteY253" fmla="*/ 5762498 h 6757249"/>
              <a:gd name="connsiteX254" fmla="*/ 10847308 w 11951120"/>
              <a:gd name="connsiteY254" fmla="*/ 5762562 h 6757249"/>
              <a:gd name="connsiteX255" fmla="*/ 10847382 w 11951120"/>
              <a:gd name="connsiteY255" fmla="*/ 5762535 h 6757249"/>
              <a:gd name="connsiteX256" fmla="*/ 11065417 w 11951120"/>
              <a:gd name="connsiteY256" fmla="*/ 5757394 h 6757249"/>
              <a:gd name="connsiteX257" fmla="*/ 11064864 w 11951120"/>
              <a:gd name="connsiteY257" fmla="*/ 5760872 h 6757249"/>
              <a:gd name="connsiteX258" fmla="*/ 11065940 w 11951120"/>
              <a:gd name="connsiteY258" fmla="*/ 5759377 h 6757249"/>
              <a:gd name="connsiteX259" fmla="*/ 11066707 w 11951120"/>
              <a:gd name="connsiteY259" fmla="*/ 5757620 h 6757249"/>
              <a:gd name="connsiteX260" fmla="*/ 11066428 w 11951120"/>
              <a:gd name="connsiteY260" fmla="*/ 5757895 h 6757249"/>
              <a:gd name="connsiteX261" fmla="*/ 440239 w 11951120"/>
              <a:gd name="connsiteY261" fmla="*/ 5756554 h 6757249"/>
              <a:gd name="connsiteX262" fmla="*/ 435062 w 11951120"/>
              <a:gd name="connsiteY262" fmla="*/ 5757573 h 6757249"/>
              <a:gd name="connsiteX263" fmla="*/ 435018 w 11951120"/>
              <a:gd name="connsiteY263" fmla="*/ 5757661 h 6757249"/>
              <a:gd name="connsiteX264" fmla="*/ 434702 w 11951120"/>
              <a:gd name="connsiteY264" fmla="*/ 5757644 h 6757249"/>
              <a:gd name="connsiteX265" fmla="*/ 433937 w 11951120"/>
              <a:gd name="connsiteY265" fmla="*/ 5757794 h 6757249"/>
              <a:gd name="connsiteX266" fmla="*/ 435378 w 11951120"/>
              <a:gd name="connsiteY266" fmla="*/ 5766276 h 6757249"/>
              <a:gd name="connsiteX267" fmla="*/ 438133 w 11951120"/>
              <a:gd name="connsiteY267" fmla="*/ 5758676 h 6757249"/>
              <a:gd name="connsiteX268" fmla="*/ 438905 w 11951120"/>
              <a:gd name="connsiteY268" fmla="*/ 5757897 h 6757249"/>
              <a:gd name="connsiteX269" fmla="*/ 434898 w 11951120"/>
              <a:gd name="connsiteY269" fmla="*/ 5757897 h 6757249"/>
              <a:gd name="connsiteX270" fmla="*/ 435018 w 11951120"/>
              <a:gd name="connsiteY270" fmla="*/ 5757661 h 6757249"/>
              <a:gd name="connsiteX271" fmla="*/ 438925 w 11951120"/>
              <a:gd name="connsiteY271" fmla="*/ 5757877 h 6757249"/>
              <a:gd name="connsiteX272" fmla="*/ 456435 w 11951120"/>
              <a:gd name="connsiteY272" fmla="*/ 5752247 h 6757249"/>
              <a:gd name="connsiteX273" fmla="*/ 456123 w 11951120"/>
              <a:gd name="connsiteY273" fmla="*/ 5752641 h 6757249"/>
              <a:gd name="connsiteX274" fmla="*/ 456325 w 11951120"/>
              <a:gd name="connsiteY274" fmla="*/ 5752703 h 6757249"/>
              <a:gd name="connsiteX275" fmla="*/ 11516742 w 11951120"/>
              <a:gd name="connsiteY275" fmla="*/ 5655347 h 6757249"/>
              <a:gd name="connsiteX276" fmla="*/ 11516742 w 11951120"/>
              <a:gd name="connsiteY276" fmla="*/ 5657013 h 6757249"/>
              <a:gd name="connsiteX277" fmla="*/ 11515329 w 11951120"/>
              <a:gd name="connsiteY277" fmla="*/ 5657790 h 6757249"/>
              <a:gd name="connsiteX278" fmla="*/ 11516788 w 11951120"/>
              <a:gd name="connsiteY278" fmla="*/ 5659166 h 6757249"/>
              <a:gd name="connsiteX279" fmla="*/ 11517075 w 11951120"/>
              <a:gd name="connsiteY279" fmla="*/ 5657883 h 6757249"/>
              <a:gd name="connsiteX280" fmla="*/ 10439906 w 11951120"/>
              <a:gd name="connsiteY280" fmla="*/ 5648132 h 6757249"/>
              <a:gd name="connsiteX281" fmla="*/ 10439166 w 11951120"/>
              <a:gd name="connsiteY281" fmla="*/ 5649044 h 6757249"/>
              <a:gd name="connsiteX282" fmla="*/ 10432795 w 11951120"/>
              <a:gd name="connsiteY282" fmla="*/ 5661826 h 6757249"/>
              <a:gd name="connsiteX283" fmla="*/ 10433479 w 11951120"/>
              <a:gd name="connsiteY283" fmla="*/ 5661369 h 6757249"/>
              <a:gd name="connsiteX284" fmla="*/ 10432812 w 11951120"/>
              <a:gd name="connsiteY284" fmla="*/ 5663402 h 6757249"/>
              <a:gd name="connsiteX285" fmla="*/ 10436193 w 11951120"/>
              <a:gd name="connsiteY285" fmla="*/ 5658881 h 6757249"/>
              <a:gd name="connsiteX286" fmla="*/ 10433479 w 11951120"/>
              <a:gd name="connsiteY286" fmla="*/ 5661369 h 6757249"/>
              <a:gd name="connsiteX287" fmla="*/ 11374235 w 11951120"/>
              <a:gd name="connsiteY287" fmla="*/ 5580423 h 6757249"/>
              <a:gd name="connsiteX288" fmla="*/ 11372843 w 11951120"/>
              <a:gd name="connsiteY288" fmla="*/ 5581920 h 6757249"/>
              <a:gd name="connsiteX289" fmla="*/ 11371681 w 11951120"/>
              <a:gd name="connsiteY289" fmla="*/ 5582148 h 6757249"/>
              <a:gd name="connsiteX290" fmla="*/ 11373775 w 11951120"/>
              <a:gd name="connsiteY290" fmla="*/ 5582884 h 6757249"/>
              <a:gd name="connsiteX291" fmla="*/ 1542350 w 11951120"/>
              <a:gd name="connsiteY291" fmla="*/ 5539696 h 6757249"/>
              <a:gd name="connsiteX292" fmla="*/ 1540212 w 11951120"/>
              <a:gd name="connsiteY292" fmla="*/ 5541658 h 6757249"/>
              <a:gd name="connsiteX293" fmla="*/ 1547285 w 11951120"/>
              <a:gd name="connsiteY293" fmla="*/ 5552362 h 6757249"/>
              <a:gd name="connsiteX294" fmla="*/ 580162 w 11951120"/>
              <a:gd name="connsiteY294" fmla="*/ 5511565 h 6757249"/>
              <a:gd name="connsiteX295" fmla="*/ 579520 w 11951120"/>
              <a:gd name="connsiteY295" fmla="*/ 5511702 h 6757249"/>
              <a:gd name="connsiteX296" fmla="*/ 579510 w 11951120"/>
              <a:gd name="connsiteY296" fmla="*/ 5511707 h 6757249"/>
              <a:gd name="connsiteX297" fmla="*/ 579880 w 11951120"/>
              <a:gd name="connsiteY297" fmla="*/ 5511972 h 6757249"/>
              <a:gd name="connsiteX298" fmla="*/ 11373929 w 11951120"/>
              <a:gd name="connsiteY298" fmla="*/ 5464554 h 6757249"/>
              <a:gd name="connsiteX299" fmla="*/ 11371948 w 11951120"/>
              <a:gd name="connsiteY299" fmla="*/ 5468525 h 6757249"/>
              <a:gd name="connsiteX300" fmla="*/ 11371723 w 11951120"/>
              <a:gd name="connsiteY300" fmla="*/ 5468751 h 6757249"/>
              <a:gd name="connsiteX301" fmla="*/ 11371370 w 11951120"/>
              <a:gd name="connsiteY301" fmla="*/ 5469440 h 6757249"/>
              <a:gd name="connsiteX302" fmla="*/ 11372843 w 11951120"/>
              <a:gd name="connsiteY302" fmla="*/ 5468310 h 6757249"/>
              <a:gd name="connsiteX303" fmla="*/ 11381628 w 11951120"/>
              <a:gd name="connsiteY303" fmla="*/ 5468310 h 6757249"/>
              <a:gd name="connsiteX304" fmla="*/ 262189 w 11951120"/>
              <a:gd name="connsiteY304" fmla="*/ 5464072 h 6757249"/>
              <a:gd name="connsiteX305" fmla="*/ 262189 w 11951120"/>
              <a:gd name="connsiteY305" fmla="*/ 5464768 h 6757249"/>
              <a:gd name="connsiteX306" fmla="*/ 263463 w 11951120"/>
              <a:gd name="connsiteY306" fmla="*/ 5467947 h 6757249"/>
              <a:gd name="connsiteX307" fmla="*/ 263463 w 11951120"/>
              <a:gd name="connsiteY307" fmla="*/ 5465437 h 6757249"/>
              <a:gd name="connsiteX308" fmla="*/ 265297 w 11951120"/>
              <a:gd name="connsiteY308" fmla="*/ 5464485 h 6757249"/>
              <a:gd name="connsiteX309" fmla="*/ 9832971 w 11951120"/>
              <a:gd name="connsiteY309" fmla="*/ 5463969 h 6757249"/>
              <a:gd name="connsiteX310" fmla="*/ 9825829 w 11951120"/>
              <a:gd name="connsiteY310" fmla="*/ 5470695 h 6757249"/>
              <a:gd name="connsiteX311" fmla="*/ 9831333 w 11951120"/>
              <a:gd name="connsiteY311" fmla="*/ 5468542 h 6757249"/>
              <a:gd name="connsiteX312" fmla="*/ 1421113 w 11951120"/>
              <a:gd name="connsiteY312" fmla="*/ 5366999 h 6757249"/>
              <a:gd name="connsiteX313" fmla="*/ 1413564 w 11951120"/>
              <a:gd name="connsiteY313" fmla="*/ 5374597 h 6757249"/>
              <a:gd name="connsiteX314" fmla="*/ 1415421 w 11951120"/>
              <a:gd name="connsiteY314" fmla="*/ 5373905 h 6757249"/>
              <a:gd name="connsiteX315" fmla="*/ 1421113 w 11951120"/>
              <a:gd name="connsiteY315" fmla="*/ 5370086 h 6757249"/>
              <a:gd name="connsiteX316" fmla="*/ 10125627 w 11951120"/>
              <a:gd name="connsiteY316" fmla="*/ 5342587 h 6757249"/>
              <a:gd name="connsiteX317" fmla="*/ 10123134 w 11951120"/>
              <a:gd name="connsiteY317" fmla="*/ 5344453 h 6757249"/>
              <a:gd name="connsiteX318" fmla="*/ 10119403 w 11951120"/>
              <a:gd name="connsiteY318" fmla="*/ 5350069 h 6757249"/>
              <a:gd name="connsiteX319" fmla="*/ 10116957 w 11951120"/>
              <a:gd name="connsiteY319" fmla="*/ 5352929 h 6757249"/>
              <a:gd name="connsiteX320" fmla="*/ 10113033 w 11951120"/>
              <a:gd name="connsiteY320" fmla="*/ 5358619 h 6757249"/>
              <a:gd name="connsiteX321" fmla="*/ 10123783 w 11951120"/>
              <a:gd name="connsiteY321" fmla="*/ 5345673 h 6757249"/>
              <a:gd name="connsiteX322" fmla="*/ 578477 w 11951120"/>
              <a:gd name="connsiteY322" fmla="*/ 5325100 h 6757249"/>
              <a:gd name="connsiteX323" fmla="*/ 574600 w 11951120"/>
              <a:gd name="connsiteY323" fmla="*/ 5327112 h 6757249"/>
              <a:gd name="connsiteX324" fmla="*/ 576911 w 11951120"/>
              <a:gd name="connsiteY324" fmla="*/ 5332723 h 6757249"/>
              <a:gd name="connsiteX325" fmla="*/ 1853244 w 11951120"/>
              <a:gd name="connsiteY325" fmla="*/ 5247996 h 6757249"/>
              <a:gd name="connsiteX326" fmla="*/ 1853244 w 11951120"/>
              <a:gd name="connsiteY326" fmla="*/ 5248739 h 6757249"/>
              <a:gd name="connsiteX327" fmla="*/ 1854163 w 11951120"/>
              <a:gd name="connsiteY327" fmla="*/ 5249614 h 6757249"/>
              <a:gd name="connsiteX328" fmla="*/ 11512844 w 11951120"/>
              <a:gd name="connsiteY328" fmla="*/ 5243760 h 6757249"/>
              <a:gd name="connsiteX329" fmla="*/ 11511827 w 11951120"/>
              <a:gd name="connsiteY329" fmla="*/ 5249171 h 6757249"/>
              <a:gd name="connsiteX330" fmla="*/ 11511744 w 11951120"/>
              <a:gd name="connsiteY330" fmla="*/ 5249458 h 6757249"/>
              <a:gd name="connsiteX331" fmla="*/ 11512354 w 11951120"/>
              <a:gd name="connsiteY331" fmla="*/ 5248930 h 6757249"/>
              <a:gd name="connsiteX332" fmla="*/ 11517599 w 11951120"/>
              <a:gd name="connsiteY332" fmla="*/ 5247737 h 6757249"/>
              <a:gd name="connsiteX333" fmla="*/ 11517607 w 11951120"/>
              <a:gd name="connsiteY333" fmla="*/ 5102588 h 6757249"/>
              <a:gd name="connsiteX334" fmla="*/ 11516536 w 11951120"/>
              <a:gd name="connsiteY334" fmla="*/ 5103649 h 6757249"/>
              <a:gd name="connsiteX335" fmla="*/ 11514915 w 11951120"/>
              <a:gd name="connsiteY335" fmla="*/ 5103649 h 6757249"/>
              <a:gd name="connsiteX336" fmla="*/ 11516220 w 11951120"/>
              <a:gd name="connsiteY336" fmla="*/ 5104379 h 6757249"/>
              <a:gd name="connsiteX337" fmla="*/ 11519619 w 11951120"/>
              <a:gd name="connsiteY337" fmla="*/ 5106075 h 6757249"/>
              <a:gd name="connsiteX338" fmla="*/ 11520394 w 11951120"/>
              <a:gd name="connsiteY338" fmla="*/ 5104475 h 6757249"/>
              <a:gd name="connsiteX339" fmla="*/ 11180501 w 11951120"/>
              <a:gd name="connsiteY339" fmla="*/ 5066210 h 6757249"/>
              <a:gd name="connsiteX340" fmla="*/ 11180354 w 11951120"/>
              <a:gd name="connsiteY340" fmla="*/ 5067835 h 6757249"/>
              <a:gd name="connsiteX341" fmla="*/ 11180501 w 11951120"/>
              <a:gd name="connsiteY341" fmla="*/ 5067835 h 6757249"/>
              <a:gd name="connsiteX342" fmla="*/ 864008 w 11951120"/>
              <a:gd name="connsiteY342" fmla="*/ 4958856 h 6757249"/>
              <a:gd name="connsiteX343" fmla="*/ 868756 w 11951120"/>
              <a:gd name="connsiteY343" fmla="*/ 4967163 h 6757249"/>
              <a:gd name="connsiteX344" fmla="*/ 868756 w 11951120"/>
              <a:gd name="connsiteY344" fmla="*/ 4958856 h 6757249"/>
              <a:gd name="connsiteX345" fmla="*/ 868666 w 11951120"/>
              <a:gd name="connsiteY345" fmla="*/ 4958856 h 6757249"/>
              <a:gd name="connsiteX346" fmla="*/ 1246333 w 11951120"/>
              <a:gd name="connsiteY346" fmla="*/ 4937404 h 6757249"/>
              <a:gd name="connsiteX347" fmla="*/ 1247534 w 11951120"/>
              <a:gd name="connsiteY347" fmla="*/ 4943936 h 6757249"/>
              <a:gd name="connsiteX348" fmla="*/ 1252608 w 11951120"/>
              <a:gd name="connsiteY348" fmla="*/ 4937404 h 6757249"/>
              <a:gd name="connsiteX349" fmla="*/ 573880 w 11951120"/>
              <a:gd name="connsiteY349" fmla="*/ 4884823 h 6757249"/>
              <a:gd name="connsiteX350" fmla="*/ 570705 w 11951120"/>
              <a:gd name="connsiteY350" fmla="*/ 4885466 h 6757249"/>
              <a:gd name="connsiteX351" fmla="*/ 574026 w 11951120"/>
              <a:gd name="connsiteY351" fmla="*/ 4886552 h 6757249"/>
              <a:gd name="connsiteX352" fmla="*/ 11447026 w 11951120"/>
              <a:gd name="connsiteY352" fmla="*/ 4813892 h 6757249"/>
              <a:gd name="connsiteX353" fmla="*/ 11446835 w 11951120"/>
              <a:gd name="connsiteY353" fmla="*/ 4814064 h 6757249"/>
              <a:gd name="connsiteX354" fmla="*/ 11445837 w 11951120"/>
              <a:gd name="connsiteY354" fmla="*/ 4814064 h 6757249"/>
              <a:gd name="connsiteX355" fmla="*/ 11447026 w 11951120"/>
              <a:gd name="connsiteY355" fmla="*/ 4816466 h 6757249"/>
              <a:gd name="connsiteX356" fmla="*/ 870457 w 11951120"/>
              <a:gd name="connsiteY356" fmla="*/ 4810340 h 6757249"/>
              <a:gd name="connsiteX357" fmla="*/ 867053 w 11951120"/>
              <a:gd name="connsiteY357" fmla="*/ 4813795 h 6757249"/>
              <a:gd name="connsiteX358" fmla="*/ 866830 w 11951120"/>
              <a:gd name="connsiteY358" fmla="*/ 4816457 h 6757249"/>
              <a:gd name="connsiteX359" fmla="*/ 868666 w 11951120"/>
              <a:gd name="connsiteY359" fmla="*/ 4813593 h 6757249"/>
              <a:gd name="connsiteX360" fmla="*/ 1061813 w 11951120"/>
              <a:gd name="connsiteY360" fmla="*/ 4764502 h 6757249"/>
              <a:gd name="connsiteX361" fmla="*/ 1061365 w 11951120"/>
              <a:gd name="connsiteY361" fmla="*/ 4764953 h 6757249"/>
              <a:gd name="connsiteX362" fmla="*/ 1053747 w 11951120"/>
              <a:gd name="connsiteY362" fmla="*/ 4767982 h 6757249"/>
              <a:gd name="connsiteX363" fmla="*/ 1054577 w 11951120"/>
              <a:gd name="connsiteY363" fmla="*/ 4773470 h 6757249"/>
              <a:gd name="connsiteX364" fmla="*/ 1060473 w 11951120"/>
              <a:gd name="connsiteY364" fmla="*/ 4766499 h 6757249"/>
              <a:gd name="connsiteX365" fmla="*/ 1061813 w 11951120"/>
              <a:gd name="connsiteY365" fmla="*/ 4765746 h 6757249"/>
              <a:gd name="connsiteX366" fmla="*/ 1063578 w 11951120"/>
              <a:gd name="connsiteY366" fmla="*/ 4693945 h 6757249"/>
              <a:gd name="connsiteX367" fmla="*/ 1062020 w 11951120"/>
              <a:gd name="connsiteY367" fmla="*/ 4694737 h 6757249"/>
              <a:gd name="connsiteX368" fmla="*/ 1062145 w 11951120"/>
              <a:gd name="connsiteY368" fmla="*/ 4695681 h 6757249"/>
              <a:gd name="connsiteX369" fmla="*/ 551905 w 11951120"/>
              <a:gd name="connsiteY369" fmla="*/ 4690180 h 6757249"/>
              <a:gd name="connsiteX370" fmla="*/ 550688 w 11951120"/>
              <a:gd name="connsiteY370" fmla="*/ 4690291 h 6757249"/>
              <a:gd name="connsiteX371" fmla="*/ 556367 w 11951120"/>
              <a:gd name="connsiteY371" fmla="*/ 4698294 h 6757249"/>
              <a:gd name="connsiteX372" fmla="*/ 556745 w 11951120"/>
              <a:gd name="connsiteY372" fmla="*/ 4696419 h 6757249"/>
              <a:gd name="connsiteX373" fmla="*/ 558509 w 11951120"/>
              <a:gd name="connsiteY373" fmla="*/ 4696002 h 6757249"/>
              <a:gd name="connsiteX374" fmla="*/ 557124 w 11951120"/>
              <a:gd name="connsiteY374" fmla="*/ 4695340 h 6757249"/>
              <a:gd name="connsiteX375" fmla="*/ 1777970 w 11951120"/>
              <a:gd name="connsiteY375" fmla="*/ 4650028 h 6757249"/>
              <a:gd name="connsiteX376" fmla="*/ 1777170 w 11951120"/>
              <a:gd name="connsiteY376" fmla="*/ 4650864 h 6757249"/>
              <a:gd name="connsiteX377" fmla="*/ 1778047 w 11951120"/>
              <a:gd name="connsiteY377" fmla="*/ 4650150 h 6757249"/>
              <a:gd name="connsiteX378" fmla="*/ 11495650 w 11951120"/>
              <a:gd name="connsiteY378" fmla="*/ 4554954 h 6757249"/>
              <a:gd name="connsiteX379" fmla="*/ 11496175 w 11951120"/>
              <a:gd name="connsiteY379" fmla="*/ 4556624 h 6757249"/>
              <a:gd name="connsiteX380" fmla="*/ 11496148 w 11951120"/>
              <a:gd name="connsiteY380" fmla="*/ 4554954 h 6757249"/>
              <a:gd name="connsiteX381" fmla="*/ 11709774 w 11951120"/>
              <a:gd name="connsiteY381" fmla="*/ 4550056 h 6757249"/>
              <a:gd name="connsiteX382" fmla="*/ 11709439 w 11951120"/>
              <a:gd name="connsiteY382" fmla="*/ 4551415 h 6757249"/>
              <a:gd name="connsiteX383" fmla="*/ 11709797 w 11951120"/>
              <a:gd name="connsiteY383" fmla="*/ 4551292 h 6757249"/>
              <a:gd name="connsiteX384" fmla="*/ 11709544 w 11951120"/>
              <a:gd name="connsiteY384" fmla="*/ 4552025 h 6757249"/>
              <a:gd name="connsiteX385" fmla="*/ 11710316 w 11951120"/>
              <a:gd name="connsiteY385" fmla="*/ 4551099 h 6757249"/>
              <a:gd name="connsiteX386" fmla="*/ 11711019 w 11951120"/>
              <a:gd name="connsiteY386" fmla="*/ 4550694 h 6757249"/>
              <a:gd name="connsiteX387" fmla="*/ 797528 w 11951120"/>
              <a:gd name="connsiteY387" fmla="*/ 4501923 h 6757249"/>
              <a:gd name="connsiteX388" fmla="*/ 797798 w 11951120"/>
              <a:gd name="connsiteY388" fmla="*/ 4502508 h 6757249"/>
              <a:gd name="connsiteX389" fmla="*/ 797935 w 11951120"/>
              <a:gd name="connsiteY389" fmla="*/ 4502335 h 6757249"/>
              <a:gd name="connsiteX390" fmla="*/ 11583001 w 11951120"/>
              <a:gd name="connsiteY390" fmla="*/ 4495768 h 6757249"/>
              <a:gd name="connsiteX391" fmla="*/ 11582652 w 11951120"/>
              <a:gd name="connsiteY391" fmla="*/ 4496672 h 6757249"/>
              <a:gd name="connsiteX392" fmla="*/ 11582909 w 11951120"/>
              <a:gd name="connsiteY392" fmla="*/ 4496719 h 6757249"/>
              <a:gd name="connsiteX393" fmla="*/ 11583106 w 11951120"/>
              <a:gd name="connsiteY393" fmla="*/ 4496748 h 6757249"/>
              <a:gd name="connsiteX394" fmla="*/ 11442720 w 11951120"/>
              <a:gd name="connsiteY394" fmla="*/ 4482344 h 6757249"/>
              <a:gd name="connsiteX395" fmla="*/ 11440315 w 11951120"/>
              <a:gd name="connsiteY395" fmla="*/ 4501378 h 6757249"/>
              <a:gd name="connsiteX396" fmla="*/ 11446083 w 11951120"/>
              <a:gd name="connsiteY396" fmla="*/ 4502334 h 6757249"/>
              <a:gd name="connsiteX397" fmla="*/ 888945 w 11951120"/>
              <a:gd name="connsiteY397" fmla="*/ 4453782 h 6757249"/>
              <a:gd name="connsiteX398" fmla="*/ 889252 w 11951120"/>
              <a:gd name="connsiteY398" fmla="*/ 4454235 h 6757249"/>
              <a:gd name="connsiteX399" fmla="*/ 889469 w 11951120"/>
              <a:gd name="connsiteY399" fmla="*/ 4453882 h 6757249"/>
              <a:gd name="connsiteX400" fmla="*/ 892853 w 11951120"/>
              <a:gd name="connsiteY400" fmla="*/ 4265588 h 6757249"/>
              <a:gd name="connsiteX401" fmla="*/ 892889 w 11951120"/>
              <a:gd name="connsiteY401" fmla="*/ 4265808 h 6757249"/>
              <a:gd name="connsiteX402" fmla="*/ 892554 w 11951120"/>
              <a:gd name="connsiteY402" fmla="*/ 4267510 h 6757249"/>
              <a:gd name="connsiteX403" fmla="*/ 893401 w 11951120"/>
              <a:gd name="connsiteY403" fmla="*/ 4266032 h 6757249"/>
              <a:gd name="connsiteX404" fmla="*/ 11490245 w 11951120"/>
              <a:gd name="connsiteY404" fmla="*/ 4209885 h 6757249"/>
              <a:gd name="connsiteX405" fmla="*/ 11487753 w 11951120"/>
              <a:gd name="connsiteY405" fmla="*/ 4217675 h 6757249"/>
              <a:gd name="connsiteX406" fmla="*/ 11490707 w 11951120"/>
              <a:gd name="connsiteY406" fmla="*/ 4218792 h 6757249"/>
              <a:gd name="connsiteX407" fmla="*/ 11490442 w 11951120"/>
              <a:gd name="connsiteY407" fmla="*/ 4213024 h 6757249"/>
              <a:gd name="connsiteX408" fmla="*/ 11492197 w 11951120"/>
              <a:gd name="connsiteY408" fmla="*/ 4212281 h 6757249"/>
              <a:gd name="connsiteX409" fmla="*/ 11490408 w 11951120"/>
              <a:gd name="connsiteY409" fmla="*/ 4212281 h 6757249"/>
              <a:gd name="connsiteX410" fmla="*/ 11490442 w 11951120"/>
              <a:gd name="connsiteY410" fmla="*/ 4213024 h 6757249"/>
              <a:gd name="connsiteX411" fmla="*/ 11490245 w 11951120"/>
              <a:gd name="connsiteY411" fmla="*/ 4213106 h 6757249"/>
              <a:gd name="connsiteX412" fmla="*/ 11490245 w 11951120"/>
              <a:gd name="connsiteY412" fmla="*/ 4212281 h 6757249"/>
              <a:gd name="connsiteX413" fmla="*/ 11489929 w 11951120"/>
              <a:gd name="connsiteY413" fmla="*/ 4212281 h 6757249"/>
              <a:gd name="connsiteX414" fmla="*/ 11490245 w 11951120"/>
              <a:gd name="connsiteY414" fmla="*/ 4210671 h 6757249"/>
              <a:gd name="connsiteX415" fmla="*/ 11490643 w 11951120"/>
              <a:gd name="connsiteY415" fmla="*/ 4208637 h 6757249"/>
              <a:gd name="connsiteX416" fmla="*/ 11490290 w 11951120"/>
              <a:gd name="connsiteY416" fmla="*/ 4209742 h 6757249"/>
              <a:gd name="connsiteX417" fmla="*/ 11490316 w 11951120"/>
              <a:gd name="connsiteY417" fmla="*/ 4210306 h 6757249"/>
              <a:gd name="connsiteX418" fmla="*/ 11065417 w 11951120"/>
              <a:gd name="connsiteY418" fmla="*/ 4195294 h 6757249"/>
              <a:gd name="connsiteX419" fmla="*/ 11064864 w 11951120"/>
              <a:gd name="connsiteY419" fmla="*/ 4198772 h 6757249"/>
              <a:gd name="connsiteX420" fmla="*/ 11065940 w 11951120"/>
              <a:gd name="connsiteY420" fmla="*/ 4197277 h 6757249"/>
              <a:gd name="connsiteX421" fmla="*/ 11066707 w 11951120"/>
              <a:gd name="connsiteY421" fmla="*/ 4195520 h 6757249"/>
              <a:gd name="connsiteX422" fmla="*/ 11066428 w 11951120"/>
              <a:gd name="connsiteY422" fmla="*/ 4195795 h 6757249"/>
              <a:gd name="connsiteX423" fmla="*/ 1013288 w 11951120"/>
              <a:gd name="connsiteY423" fmla="*/ 4183503 h 6757249"/>
              <a:gd name="connsiteX424" fmla="*/ 1013013 w 11951120"/>
              <a:gd name="connsiteY424" fmla="*/ 4185325 h 6757249"/>
              <a:gd name="connsiteX425" fmla="*/ 1012966 w 11951120"/>
              <a:gd name="connsiteY425" fmla="*/ 4185530 h 6757249"/>
              <a:gd name="connsiteX426" fmla="*/ 1014170 w 11951120"/>
              <a:gd name="connsiteY426" fmla="*/ 4184568 h 6757249"/>
              <a:gd name="connsiteX427" fmla="*/ 486513 w 11951120"/>
              <a:gd name="connsiteY427" fmla="*/ 4182861 h 6757249"/>
              <a:gd name="connsiteX428" fmla="*/ 481162 w 11951120"/>
              <a:gd name="connsiteY428" fmla="*/ 4187239 h 6757249"/>
              <a:gd name="connsiteX429" fmla="*/ 481275 w 11951120"/>
              <a:gd name="connsiteY429" fmla="*/ 4187269 h 6757249"/>
              <a:gd name="connsiteX430" fmla="*/ 482025 w 11951120"/>
              <a:gd name="connsiteY430" fmla="*/ 4187477 h 6757249"/>
              <a:gd name="connsiteX431" fmla="*/ 484028 w 11951120"/>
              <a:gd name="connsiteY431" fmla="*/ 4190436 h 6757249"/>
              <a:gd name="connsiteX432" fmla="*/ 486415 w 11951120"/>
              <a:gd name="connsiteY432" fmla="*/ 4183158 h 6757249"/>
              <a:gd name="connsiteX433" fmla="*/ 504442 w 11951120"/>
              <a:gd name="connsiteY433" fmla="*/ 4161275 h 6757249"/>
              <a:gd name="connsiteX434" fmla="*/ 504442 w 11951120"/>
              <a:gd name="connsiteY434" fmla="*/ 4163859 h 6757249"/>
              <a:gd name="connsiteX435" fmla="*/ 504442 w 11951120"/>
              <a:gd name="connsiteY435" fmla="*/ 4167185 h 6757249"/>
              <a:gd name="connsiteX436" fmla="*/ 507450 w 11951120"/>
              <a:gd name="connsiteY436" fmla="*/ 4164739 h 6757249"/>
              <a:gd name="connsiteX437" fmla="*/ 11584464 w 11951120"/>
              <a:gd name="connsiteY437" fmla="*/ 4139851 h 6757249"/>
              <a:gd name="connsiteX438" fmla="*/ 11587070 w 11951120"/>
              <a:gd name="connsiteY438" fmla="*/ 4141476 h 6757249"/>
              <a:gd name="connsiteX439" fmla="*/ 11587192 w 11951120"/>
              <a:gd name="connsiteY439" fmla="*/ 4140029 h 6757249"/>
              <a:gd name="connsiteX440" fmla="*/ 11688314 w 11951120"/>
              <a:gd name="connsiteY440" fmla="*/ 4136544 h 6757249"/>
              <a:gd name="connsiteX441" fmla="*/ 11687860 w 11951120"/>
              <a:gd name="connsiteY441" fmla="*/ 4137470 h 6757249"/>
              <a:gd name="connsiteX442" fmla="*/ 11687711 w 11951120"/>
              <a:gd name="connsiteY442" fmla="*/ 4138380 h 6757249"/>
              <a:gd name="connsiteX443" fmla="*/ 11688990 w 11951120"/>
              <a:gd name="connsiteY443" fmla="*/ 4138458 h 6757249"/>
              <a:gd name="connsiteX444" fmla="*/ 403026 w 11951120"/>
              <a:gd name="connsiteY444" fmla="*/ 4120750 h 6757249"/>
              <a:gd name="connsiteX445" fmla="*/ 410520 w 11951120"/>
              <a:gd name="connsiteY445" fmla="*/ 4191289 h 6757249"/>
              <a:gd name="connsiteX446" fmla="*/ 411072 w 11951120"/>
              <a:gd name="connsiteY446" fmla="*/ 4187477 h 6757249"/>
              <a:gd name="connsiteX447" fmla="*/ 411179 w 11951120"/>
              <a:gd name="connsiteY447" fmla="*/ 4187449 h 6757249"/>
              <a:gd name="connsiteX448" fmla="*/ 407405 w 11951120"/>
              <a:gd name="connsiteY448" fmla="*/ 4120750 h 6757249"/>
              <a:gd name="connsiteX449" fmla="*/ 386115 w 11951120"/>
              <a:gd name="connsiteY449" fmla="*/ 4029086 h 6757249"/>
              <a:gd name="connsiteX450" fmla="*/ 382693 w 11951120"/>
              <a:gd name="connsiteY450" fmla="*/ 4031937 h 6757249"/>
              <a:gd name="connsiteX451" fmla="*/ 386115 w 11951120"/>
              <a:gd name="connsiteY451" fmla="*/ 4033366 h 6757249"/>
              <a:gd name="connsiteX452" fmla="*/ 387784 w 11951120"/>
              <a:gd name="connsiteY452" fmla="*/ 4022436 h 6757249"/>
              <a:gd name="connsiteX453" fmla="*/ 387088 w 11951120"/>
              <a:gd name="connsiteY453" fmla="*/ 4023181 h 6757249"/>
              <a:gd name="connsiteX454" fmla="*/ 386274 w 11951120"/>
              <a:gd name="connsiteY454" fmla="*/ 4024538 h 6757249"/>
              <a:gd name="connsiteX455" fmla="*/ 386274 w 11951120"/>
              <a:gd name="connsiteY455" fmla="*/ 4027064 h 6757249"/>
              <a:gd name="connsiteX456" fmla="*/ 675702 w 11951120"/>
              <a:gd name="connsiteY456" fmla="*/ 3990375 h 6757249"/>
              <a:gd name="connsiteX457" fmla="*/ 674957 w 11951120"/>
              <a:gd name="connsiteY457" fmla="*/ 3992992 h 6757249"/>
              <a:gd name="connsiteX458" fmla="*/ 673819 w 11951120"/>
              <a:gd name="connsiteY458" fmla="*/ 3993768 h 6757249"/>
              <a:gd name="connsiteX459" fmla="*/ 675702 w 11951120"/>
              <a:gd name="connsiteY459" fmla="*/ 3993836 h 6757249"/>
              <a:gd name="connsiteX460" fmla="*/ 413856 w 11951120"/>
              <a:gd name="connsiteY460" fmla="*/ 3978253 h 6757249"/>
              <a:gd name="connsiteX461" fmla="*/ 412893 w 11951120"/>
              <a:gd name="connsiteY461" fmla="*/ 3978446 h 6757249"/>
              <a:gd name="connsiteX462" fmla="*/ 412697 w 11951120"/>
              <a:gd name="connsiteY462" fmla="*/ 3979229 h 6757249"/>
              <a:gd name="connsiteX463" fmla="*/ 382864 w 11951120"/>
              <a:gd name="connsiteY463" fmla="*/ 3976294 h 6757249"/>
              <a:gd name="connsiteX464" fmla="*/ 386117 w 11951120"/>
              <a:gd name="connsiteY464" fmla="*/ 3977378 h 6757249"/>
              <a:gd name="connsiteX465" fmla="*/ 386117 w 11951120"/>
              <a:gd name="connsiteY465" fmla="*/ 3977300 h 6757249"/>
              <a:gd name="connsiteX466" fmla="*/ 385110 w 11951120"/>
              <a:gd name="connsiteY466" fmla="*/ 3976294 h 6757249"/>
              <a:gd name="connsiteX467" fmla="*/ 440414 w 11951120"/>
              <a:gd name="connsiteY467" fmla="*/ 3962552 h 6757249"/>
              <a:gd name="connsiteX468" fmla="*/ 442426 w 11951120"/>
              <a:gd name="connsiteY468" fmla="*/ 3965568 h 6757249"/>
              <a:gd name="connsiteX469" fmla="*/ 433710 w 11951120"/>
              <a:gd name="connsiteY469" fmla="*/ 3974282 h 6757249"/>
              <a:gd name="connsiteX470" fmla="*/ 431195 w 11951120"/>
              <a:gd name="connsiteY470" fmla="*/ 3974785 h 6757249"/>
              <a:gd name="connsiteX471" fmla="*/ 432889 w 11951120"/>
              <a:gd name="connsiteY471" fmla="*/ 3975193 h 6757249"/>
              <a:gd name="connsiteX472" fmla="*/ 434381 w 11951120"/>
              <a:gd name="connsiteY472" fmla="*/ 3980120 h 6757249"/>
              <a:gd name="connsiteX473" fmla="*/ 434583 w 11951120"/>
              <a:gd name="connsiteY473" fmla="*/ 3980790 h 6757249"/>
              <a:gd name="connsiteX474" fmla="*/ 445106 w 11951120"/>
              <a:gd name="connsiteY474" fmla="*/ 3970637 h 6757249"/>
              <a:gd name="connsiteX475" fmla="*/ 455831 w 11951120"/>
              <a:gd name="connsiteY475" fmla="*/ 3976630 h 6757249"/>
              <a:gd name="connsiteX476" fmla="*/ 455831 w 11951120"/>
              <a:gd name="connsiteY476" fmla="*/ 3977633 h 6757249"/>
              <a:gd name="connsiteX477" fmla="*/ 456500 w 11951120"/>
              <a:gd name="connsiteY477" fmla="*/ 3976630 h 6757249"/>
              <a:gd name="connsiteX478" fmla="*/ 457843 w 11951120"/>
              <a:gd name="connsiteY478" fmla="*/ 3975958 h 6757249"/>
              <a:gd name="connsiteX479" fmla="*/ 455830 w 11951120"/>
              <a:gd name="connsiteY479" fmla="*/ 3975958 h 6757249"/>
              <a:gd name="connsiteX480" fmla="*/ 455830 w 11951120"/>
              <a:gd name="connsiteY480" fmla="*/ 3962552 h 6757249"/>
              <a:gd name="connsiteX481" fmla="*/ 503201 w 11951120"/>
              <a:gd name="connsiteY481" fmla="*/ 3930752 h 6757249"/>
              <a:gd name="connsiteX482" fmla="*/ 503086 w 11951120"/>
              <a:gd name="connsiteY482" fmla="*/ 3931100 h 6757249"/>
              <a:gd name="connsiteX483" fmla="*/ 503201 w 11951120"/>
              <a:gd name="connsiteY483" fmla="*/ 3931121 h 6757249"/>
              <a:gd name="connsiteX484" fmla="*/ 793507 w 11951120"/>
              <a:gd name="connsiteY484" fmla="*/ 3927259 h 6757249"/>
              <a:gd name="connsiteX485" fmla="*/ 790826 w 11951120"/>
              <a:gd name="connsiteY485" fmla="*/ 3929254 h 6757249"/>
              <a:gd name="connsiteX486" fmla="*/ 793507 w 11951120"/>
              <a:gd name="connsiteY486" fmla="*/ 3930117 h 6757249"/>
              <a:gd name="connsiteX487" fmla="*/ 526776 w 11951120"/>
              <a:gd name="connsiteY487" fmla="*/ 3921108 h 6757249"/>
              <a:gd name="connsiteX488" fmla="*/ 525545 w 11951120"/>
              <a:gd name="connsiteY488" fmla="*/ 3927075 h 6757249"/>
              <a:gd name="connsiteX489" fmla="*/ 525673 w 11951120"/>
              <a:gd name="connsiteY489" fmla="*/ 3927075 h 6757249"/>
              <a:gd name="connsiteX490" fmla="*/ 526871 w 11951120"/>
              <a:gd name="connsiteY490" fmla="*/ 3921327 h 6757249"/>
              <a:gd name="connsiteX491" fmla="*/ 985924 w 11951120"/>
              <a:gd name="connsiteY491" fmla="*/ 3906244 h 6757249"/>
              <a:gd name="connsiteX492" fmla="*/ 986011 w 11951120"/>
              <a:gd name="connsiteY492" fmla="*/ 3907623 h 6757249"/>
              <a:gd name="connsiteX493" fmla="*/ 986619 w 11951120"/>
              <a:gd name="connsiteY493" fmla="*/ 3906244 h 6757249"/>
              <a:gd name="connsiteX494" fmla="*/ 481160 w 11951120"/>
              <a:gd name="connsiteY494" fmla="*/ 3902865 h 6757249"/>
              <a:gd name="connsiteX495" fmla="*/ 478181 w 11951120"/>
              <a:gd name="connsiteY495" fmla="*/ 3906618 h 6757249"/>
              <a:gd name="connsiteX496" fmla="*/ 482108 w 11951120"/>
              <a:gd name="connsiteY496" fmla="*/ 3906243 h 6757249"/>
              <a:gd name="connsiteX497" fmla="*/ 482643 w 11951120"/>
              <a:gd name="connsiteY497" fmla="*/ 3909486 h 6757249"/>
              <a:gd name="connsiteX498" fmla="*/ 482643 w 11951120"/>
              <a:gd name="connsiteY498" fmla="*/ 3906243 h 6757249"/>
              <a:gd name="connsiteX499" fmla="*/ 483207 w 11951120"/>
              <a:gd name="connsiteY499" fmla="*/ 3906243 h 6757249"/>
              <a:gd name="connsiteX500" fmla="*/ 482081 w 11951120"/>
              <a:gd name="connsiteY500" fmla="*/ 3905488 h 6757249"/>
              <a:gd name="connsiteX501" fmla="*/ 11373929 w 11951120"/>
              <a:gd name="connsiteY501" fmla="*/ 3902454 h 6757249"/>
              <a:gd name="connsiteX502" fmla="*/ 11371948 w 11951120"/>
              <a:gd name="connsiteY502" fmla="*/ 3906425 h 6757249"/>
              <a:gd name="connsiteX503" fmla="*/ 11371723 w 11951120"/>
              <a:gd name="connsiteY503" fmla="*/ 3906651 h 6757249"/>
              <a:gd name="connsiteX504" fmla="*/ 11371370 w 11951120"/>
              <a:gd name="connsiteY504" fmla="*/ 3907340 h 6757249"/>
              <a:gd name="connsiteX505" fmla="*/ 11372843 w 11951120"/>
              <a:gd name="connsiteY505" fmla="*/ 3906210 h 6757249"/>
              <a:gd name="connsiteX506" fmla="*/ 11381628 w 11951120"/>
              <a:gd name="connsiteY506" fmla="*/ 3906210 h 6757249"/>
              <a:gd name="connsiteX507" fmla="*/ 440240 w 11951120"/>
              <a:gd name="connsiteY507" fmla="*/ 3832504 h 6757249"/>
              <a:gd name="connsiteX508" fmla="*/ 435063 w 11951120"/>
              <a:gd name="connsiteY508" fmla="*/ 3833523 h 6757249"/>
              <a:gd name="connsiteX509" fmla="*/ 435019 w 11951120"/>
              <a:gd name="connsiteY509" fmla="*/ 3833611 h 6757249"/>
              <a:gd name="connsiteX510" fmla="*/ 434703 w 11951120"/>
              <a:gd name="connsiteY510" fmla="*/ 3833594 h 6757249"/>
              <a:gd name="connsiteX511" fmla="*/ 433938 w 11951120"/>
              <a:gd name="connsiteY511" fmla="*/ 3833744 h 6757249"/>
              <a:gd name="connsiteX512" fmla="*/ 435379 w 11951120"/>
              <a:gd name="connsiteY512" fmla="*/ 3842226 h 6757249"/>
              <a:gd name="connsiteX513" fmla="*/ 438134 w 11951120"/>
              <a:gd name="connsiteY513" fmla="*/ 3834626 h 6757249"/>
              <a:gd name="connsiteX514" fmla="*/ 438906 w 11951120"/>
              <a:gd name="connsiteY514" fmla="*/ 3833847 h 6757249"/>
              <a:gd name="connsiteX515" fmla="*/ 434899 w 11951120"/>
              <a:gd name="connsiteY515" fmla="*/ 3833847 h 6757249"/>
              <a:gd name="connsiteX516" fmla="*/ 435019 w 11951120"/>
              <a:gd name="connsiteY516" fmla="*/ 3833611 h 6757249"/>
              <a:gd name="connsiteX517" fmla="*/ 438926 w 11951120"/>
              <a:gd name="connsiteY517" fmla="*/ 3833827 h 6757249"/>
              <a:gd name="connsiteX518" fmla="*/ 456436 w 11951120"/>
              <a:gd name="connsiteY518" fmla="*/ 3828197 h 6757249"/>
              <a:gd name="connsiteX519" fmla="*/ 456124 w 11951120"/>
              <a:gd name="connsiteY519" fmla="*/ 3828591 h 6757249"/>
              <a:gd name="connsiteX520" fmla="*/ 456326 w 11951120"/>
              <a:gd name="connsiteY520" fmla="*/ 3828653 h 6757249"/>
              <a:gd name="connsiteX521" fmla="*/ 10125627 w 11951120"/>
              <a:gd name="connsiteY521" fmla="*/ 3780487 h 6757249"/>
              <a:gd name="connsiteX522" fmla="*/ 10123134 w 11951120"/>
              <a:gd name="connsiteY522" fmla="*/ 3782353 h 6757249"/>
              <a:gd name="connsiteX523" fmla="*/ 10119403 w 11951120"/>
              <a:gd name="connsiteY523" fmla="*/ 3787969 h 6757249"/>
              <a:gd name="connsiteX524" fmla="*/ 10116957 w 11951120"/>
              <a:gd name="connsiteY524" fmla="*/ 3790829 h 6757249"/>
              <a:gd name="connsiteX525" fmla="*/ 10113033 w 11951120"/>
              <a:gd name="connsiteY525" fmla="*/ 3796519 h 6757249"/>
              <a:gd name="connsiteX526" fmla="*/ 10123783 w 11951120"/>
              <a:gd name="connsiteY526" fmla="*/ 3783573 h 6757249"/>
              <a:gd name="connsiteX527" fmla="*/ 11512844 w 11951120"/>
              <a:gd name="connsiteY527" fmla="*/ 3681660 h 6757249"/>
              <a:gd name="connsiteX528" fmla="*/ 11511827 w 11951120"/>
              <a:gd name="connsiteY528" fmla="*/ 3687071 h 6757249"/>
              <a:gd name="connsiteX529" fmla="*/ 11511744 w 11951120"/>
              <a:gd name="connsiteY529" fmla="*/ 3687358 h 6757249"/>
              <a:gd name="connsiteX530" fmla="*/ 11512354 w 11951120"/>
              <a:gd name="connsiteY530" fmla="*/ 3686830 h 6757249"/>
              <a:gd name="connsiteX531" fmla="*/ 11517599 w 11951120"/>
              <a:gd name="connsiteY531" fmla="*/ 3685637 h 6757249"/>
              <a:gd name="connsiteX532" fmla="*/ 1542351 w 11951120"/>
              <a:gd name="connsiteY532" fmla="*/ 3615646 h 6757249"/>
              <a:gd name="connsiteX533" fmla="*/ 1540213 w 11951120"/>
              <a:gd name="connsiteY533" fmla="*/ 3617608 h 6757249"/>
              <a:gd name="connsiteX534" fmla="*/ 1547286 w 11951120"/>
              <a:gd name="connsiteY534" fmla="*/ 3628312 h 6757249"/>
              <a:gd name="connsiteX535" fmla="*/ 580163 w 11951120"/>
              <a:gd name="connsiteY535" fmla="*/ 3587515 h 6757249"/>
              <a:gd name="connsiteX536" fmla="*/ 579521 w 11951120"/>
              <a:gd name="connsiteY536" fmla="*/ 3587652 h 6757249"/>
              <a:gd name="connsiteX537" fmla="*/ 579511 w 11951120"/>
              <a:gd name="connsiteY537" fmla="*/ 3587657 h 6757249"/>
              <a:gd name="connsiteX538" fmla="*/ 579881 w 11951120"/>
              <a:gd name="connsiteY538" fmla="*/ 3587922 h 6757249"/>
              <a:gd name="connsiteX539" fmla="*/ 11517607 w 11951120"/>
              <a:gd name="connsiteY539" fmla="*/ 3540488 h 6757249"/>
              <a:gd name="connsiteX540" fmla="*/ 11516536 w 11951120"/>
              <a:gd name="connsiteY540" fmla="*/ 3541549 h 6757249"/>
              <a:gd name="connsiteX541" fmla="*/ 11514915 w 11951120"/>
              <a:gd name="connsiteY541" fmla="*/ 3541549 h 6757249"/>
              <a:gd name="connsiteX542" fmla="*/ 11516220 w 11951120"/>
              <a:gd name="connsiteY542" fmla="*/ 3542279 h 6757249"/>
              <a:gd name="connsiteX543" fmla="*/ 11519619 w 11951120"/>
              <a:gd name="connsiteY543" fmla="*/ 3543975 h 6757249"/>
              <a:gd name="connsiteX544" fmla="*/ 11520394 w 11951120"/>
              <a:gd name="connsiteY544" fmla="*/ 3542375 h 6757249"/>
              <a:gd name="connsiteX545" fmla="*/ 262190 w 11951120"/>
              <a:gd name="connsiteY545" fmla="*/ 3540022 h 6757249"/>
              <a:gd name="connsiteX546" fmla="*/ 262190 w 11951120"/>
              <a:gd name="connsiteY546" fmla="*/ 3540718 h 6757249"/>
              <a:gd name="connsiteX547" fmla="*/ 263464 w 11951120"/>
              <a:gd name="connsiteY547" fmla="*/ 3543897 h 6757249"/>
              <a:gd name="connsiteX548" fmla="*/ 263464 w 11951120"/>
              <a:gd name="connsiteY548" fmla="*/ 3541387 h 6757249"/>
              <a:gd name="connsiteX549" fmla="*/ 265298 w 11951120"/>
              <a:gd name="connsiteY549" fmla="*/ 3540435 h 6757249"/>
              <a:gd name="connsiteX550" fmla="*/ 11180501 w 11951120"/>
              <a:gd name="connsiteY550" fmla="*/ 3504110 h 6757249"/>
              <a:gd name="connsiteX551" fmla="*/ 11180354 w 11951120"/>
              <a:gd name="connsiteY551" fmla="*/ 3505735 h 6757249"/>
              <a:gd name="connsiteX552" fmla="*/ 11180501 w 11951120"/>
              <a:gd name="connsiteY552" fmla="*/ 3505735 h 6757249"/>
              <a:gd name="connsiteX553" fmla="*/ 1421114 w 11951120"/>
              <a:gd name="connsiteY553" fmla="*/ 3442949 h 6757249"/>
              <a:gd name="connsiteX554" fmla="*/ 1413565 w 11951120"/>
              <a:gd name="connsiteY554" fmla="*/ 3450547 h 6757249"/>
              <a:gd name="connsiteX555" fmla="*/ 1415422 w 11951120"/>
              <a:gd name="connsiteY555" fmla="*/ 3449855 h 6757249"/>
              <a:gd name="connsiteX556" fmla="*/ 1421114 w 11951120"/>
              <a:gd name="connsiteY556" fmla="*/ 3446036 h 6757249"/>
              <a:gd name="connsiteX557" fmla="*/ 578478 w 11951120"/>
              <a:gd name="connsiteY557" fmla="*/ 3401050 h 6757249"/>
              <a:gd name="connsiteX558" fmla="*/ 574601 w 11951120"/>
              <a:gd name="connsiteY558" fmla="*/ 3403062 h 6757249"/>
              <a:gd name="connsiteX559" fmla="*/ 576912 w 11951120"/>
              <a:gd name="connsiteY559" fmla="*/ 3408673 h 6757249"/>
              <a:gd name="connsiteX560" fmla="*/ 1853245 w 11951120"/>
              <a:gd name="connsiteY560" fmla="*/ 3323946 h 6757249"/>
              <a:gd name="connsiteX561" fmla="*/ 1853245 w 11951120"/>
              <a:gd name="connsiteY561" fmla="*/ 3324689 h 6757249"/>
              <a:gd name="connsiteX562" fmla="*/ 1854164 w 11951120"/>
              <a:gd name="connsiteY562" fmla="*/ 3325564 h 6757249"/>
              <a:gd name="connsiteX563" fmla="*/ 11447026 w 11951120"/>
              <a:gd name="connsiteY563" fmla="*/ 3251792 h 6757249"/>
              <a:gd name="connsiteX564" fmla="*/ 11446835 w 11951120"/>
              <a:gd name="connsiteY564" fmla="*/ 3251964 h 6757249"/>
              <a:gd name="connsiteX565" fmla="*/ 11445837 w 11951120"/>
              <a:gd name="connsiteY565" fmla="*/ 3251964 h 6757249"/>
              <a:gd name="connsiteX566" fmla="*/ 11447026 w 11951120"/>
              <a:gd name="connsiteY566" fmla="*/ 3254366 h 6757249"/>
              <a:gd name="connsiteX567" fmla="*/ 864009 w 11951120"/>
              <a:gd name="connsiteY567" fmla="*/ 3034806 h 6757249"/>
              <a:gd name="connsiteX568" fmla="*/ 868757 w 11951120"/>
              <a:gd name="connsiteY568" fmla="*/ 3043113 h 6757249"/>
              <a:gd name="connsiteX569" fmla="*/ 868757 w 11951120"/>
              <a:gd name="connsiteY569" fmla="*/ 3034806 h 6757249"/>
              <a:gd name="connsiteX570" fmla="*/ 868667 w 11951120"/>
              <a:gd name="connsiteY570" fmla="*/ 3034806 h 6757249"/>
              <a:gd name="connsiteX571" fmla="*/ 1246334 w 11951120"/>
              <a:gd name="connsiteY571" fmla="*/ 3013354 h 6757249"/>
              <a:gd name="connsiteX572" fmla="*/ 1247535 w 11951120"/>
              <a:gd name="connsiteY572" fmla="*/ 3019886 h 6757249"/>
              <a:gd name="connsiteX573" fmla="*/ 1252609 w 11951120"/>
              <a:gd name="connsiteY573" fmla="*/ 3013354 h 6757249"/>
              <a:gd name="connsiteX574" fmla="*/ 10891872 w 11951120"/>
              <a:gd name="connsiteY574" fmla="*/ 3003900 h 6757249"/>
              <a:gd name="connsiteX575" fmla="*/ 10890350 w 11951120"/>
              <a:gd name="connsiteY575" fmla="*/ 3009152 h 6757249"/>
              <a:gd name="connsiteX576" fmla="*/ 10890698 w 11951120"/>
              <a:gd name="connsiteY576" fmla="*/ 3010563 h 6757249"/>
              <a:gd name="connsiteX577" fmla="*/ 10894679 w 11951120"/>
              <a:gd name="connsiteY577" fmla="*/ 3006582 h 6757249"/>
              <a:gd name="connsiteX578" fmla="*/ 11495650 w 11951120"/>
              <a:gd name="connsiteY578" fmla="*/ 2992854 h 6757249"/>
              <a:gd name="connsiteX579" fmla="*/ 11496175 w 11951120"/>
              <a:gd name="connsiteY579" fmla="*/ 2994524 h 6757249"/>
              <a:gd name="connsiteX580" fmla="*/ 11496148 w 11951120"/>
              <a:gd name="connsiteY580" fmla="*/ 2992854 h 6757249"/>
              <a:gd name="connsiteX581" fmla="*/ 11709774 w 11951120"/>
              <a:gd name="connsiteY581" fmla="*/ 2987956 h 6757249"/>
              <a:gd name="connsiteX582" fmla="*/ 11709439 w 11951120"/>
              <a:gd name="connsiteY582" fmla="*/ 2989315 h 6757249"/>
              <a:gd name="connsiteX583" fmla="*/ 11709797 w 11951120"/>
              <a:gd name="connsiteY583" fmla="*/ 2989192 h 6757249"/>
              <a:gd name="connsiteX584" fmla="*/ 11709544 w 11951120"/>
              <a:gd name="connsiteY584" fmla="*/ 2989925 h 6757249"/>
              <a:gd name="connsiteX585" fmla="*/ 11710316 w 11951120"/>
              <a:gd name="connsiteY585" fmla="*/ 2988999 h 6757249"/>
              <a:gd name="connsiteX586" fmla="*/ 11711019 w 11951120"/>
              <a:gd name="connsiteY586" fmla="*/ 2988594 h 6757249"/>
              <a:gd name="connsiteX587" fmla="*/ 573881 w 11951120"/>
              <a:gd name="connsiteY587" fmla="*/ 2960773 h 6757249"/>
              <a:gd name="connsiteX588" fmla="*/ 570706 w 11951120"/>
              <a:gd name="connsiteY588" fmla="*/ 2961416 h 6757249"/>
              <a:gd name="connsiteX589" fmla="*/ 574027 w 11951120"/>
              <a:gd name="connsiteY589" fmla="*/ 2962502 h 6757249"/>
              <a:gd name="connsiteX590" fmla="*/ 11583001 w 11951120"/>
              <a:gd name="connsiteY590" fmla="*/ 2933668 h 6757249"/>
              <a:gd name="connsiteX591" fmla="*/ 11582652 w 11951120"/>
              <a:gd name="connsiteY591" fmla="*/ 2934572 h 6757249"/>
              <a:gd name="connsiteX592" fmla="*/ 11582909 w 11951120"/>
              <a:gd name="connsiteY592" fmla="*/ 2934619 h 6757249"/>
              <a:gd name="connsiteX593" fmla="*/ 11583106 w 11951120"/>
              <a:gd name="connsiteY593" fmla="*/ 2934648 h 6757249"/>
              <a:gd name="connsiteX594" fmla="*/ 11442720 w 11951120"/>
              <a:gd name="connsiteY594" fmla="*/ 2920244 h 6757249"/>
              <a:gd name="connsiteX595" fmla="*/ 11440315 w 11951120"/>
              <a:gd name="connsiteY595" fmla="*/ 2939278 h 6757249"/>
              <a:gd name="connsiteX596" fmla="*/ 11446083 w 11951120"/>
              <a:gd name="connsiteY596" fmla="*/ 2940234 h 6757249"/>
              <a:gd name="connsiteX597" fmla="*/ 870458 w 11951120"/>
              <a:gd name="connsiteY597" fmla="*/ 2886290 h 6757249"/>
              <a:gd name="connsiteX598" fmla="*/ 867054 w 11951120"/>
              <a:gd name="connsiteY598" fmla="*/ 2889745 h 6757249"/>
              <a:gd name="connsiteX599" fmla="*/ 866831 w 11951120"/>
              <a:gd name="connsiteY599" fmla="*/ 2892407 h 6757249"/>
              <a:gd name="connsiteX600" fmla="*/ 868667 w 11951120"/>
              <a:gd name="connsiteY600" fmla="*/ 2889543 h 6757249"/>
              <a:gd name="connsiteX601" fmla="*/ 11269302 w 11951120"/>
              <a:gd name="connsiteY601" fmla="*/ 2880025 h 6757249"/>
              <a:gd name="connsiteX602" fmla="*/ 11276347 w 11951120"/>
              <a:gd name="connsiteY602" fmla="*/ 2896935 h 6757249"/>
              <a:gd name="connsiteX603" fmla="*/ 11276698 w 11951120"/>
              <a:gd name="connsiteY603" fmla="*/ 2896547 h 6757249"/>
              <a:gd name="connsiteX604" fmla="*/ 11280620 w 11951120"/>
              <a:gd name="connsiteY604" fmla="*/ 2888694 h 6757249"/>
              <a:gd name="connsiteX605" fmla="*/ 1061814 w 11951120"/>
              <a:gd name="connsiteY605" fmla="*/ 2840452 h 6757249"/>
              <a:gd name="connsiteX606" fmla="*/ 1061366 w 11951120"/>
              <a:gd name="connsiteY606" fmla="*/ 2840903 h 6757249"/>
              <a:gd name="connsiteX607" fmla="*/ 1053748 w 11951120"/>
              <a:gd name="connsiteY607" fmla="*/ 2843932 h 6757249"/>
              <a:gd name="connsiteX608" fmla="*/ 1054578 w 11951120"/>
              <a:gd name="connsiteY608" fmla="*/ 2849420 h 6757249"/>
              <a:gd name="connsiteX609" fmla="*/ 1060474 w 11951120"/>
              <a:gd name="connsiteY609" fmla="*/ 2842450 h 6757249"/>
              <a:gd name="connsiteX610" fmla="*/ 1061814 w 11951120"/>
              <a:gd name="connsiteY610" fmla="*/ 2841696 h 6757249"/>
              <a:gd name="connsiteX611" fmla="*/ 551906 w 11951120"/>
              <a:gd name="connsiteY611" fmla="*/ 2766130 h 6757249"/>
              <a:gd name="connsiteX612" fmla="*/ 550689 w 11951120"/>
              <a:gd name="connsiteY612" fmla="*/ 2766241 h 6757249"/>
              <a:gd name="connsiteX613" fmla="*/ 556368 w 11951120"/>
              <a:gd name="connsiteY613" fmla="*/ 2774244 h 6757249"/>
              <a:gd name="connsiteX614" fmla="*/ 556746 w 11951120"/>
              <a:gd name="connsiteY614" fmla="*/ 2772369 h 6757249"/>
              <a:gd name="connsiteX615" fmla="*/ 558510 w 11951120"/>
              <a:gd name="connsiteY615" fmla="*/ 2771952 h 6757249"/>
              <a:gd name="connsiteX616" fmla="*/ 557125 w 11951120"/>
              <a:gd name="connsiteY616" fmla="*/ 2771290 h 6757249"/>
              <a:gd name="connsiteX617" fmla="*/ 11160690 w 11951120"/>
              <a:gd name="connsiteY617" fmla="*/ 2747790 h 6757249"/>
              <a:gd name="connsiteX618" fmla="*/ 11160704 w 11951120"/>
              <a:gd name="connsiteY618" fmla="*/ 2747871 h 6757249"/>
              <a:gd name="connsiteX619" fmla="*/ 11161112 w 11951120"/>
              <a:gd name="connsiteY619" fmla="*/ 2747871 h 6757249"/>
              <a:gd name="connsiteX620" fmla="*/ 11181864 w 11951120"/>
              <a:gd name="connsiteY620" fmla="*/ 2730942 h 6757249"/>
              <a:gd name="connsiteX621" fmla="*/ 11175991 w 11951120"/>
              <a:gd name="connsiteY621" fmla="*/ 2747871 h 6757249"/>
              <a:gd name="connsiteX622" fmla="*/ 11178403 w 11951120"/>
              <a:gd name="connsiteY622" fmla="*/ 2747871 h 6757249"/>
              <a:gd name="connsiteX623" fmla="*/ 11186056 w 11951120"/>
              <a:gd name="connsiteY623" fmla="*/ 2755470 h 6757249"/>
              <a:gd name="connsiteX624" fmla="*/ 11188002 w 11951120"/>
              <a:gd name="connsiteY624" fmla="*/ 2751011 h 6757249"/>
              <a:gd name="connsiteX625" fmla="*/ 11187666 w 11951120"/>
              <a:gd name="connsiteY625" fmla="*/ 2750551 h 6757249"/>
              <a:gd name="connsiteX626" fmla="*/ 11178891 w 11951120"/>
              <a:gd name="connsiteY626" fmla="*/ 2746082 h 6757249"/>
              <a:gd name="connsiteX627" fmla="*/ 11156674 w 11951120"/>
              <a:gd name="connsiteY627" fmla="*/ 2688078 h 6757249"/>
              <a:gd name="connsiteX628" fmla="*/ 11118431 w 11951120"/>
              <a:gd name="connsiteY628" fmla="*/ 2723738 h 6757249"/>
              <a:gd name="connsiteX629" fmla="*/ 11156674 w 11951120"/>
              <a:gd name="connsiteY629" fmla="*/ 2723738 h 6757249"/>
              <a:gd name="connsiteX630" fmla="*/ 11490245 w 11951120"/>
              <a:gd name="connsiteY630" fmla="*/ 2647785 h 6757249"/>
              <a:gd name="connsiteX631" fmla="*/ 11487753 w 11951120"/>
              <a:gd name="connsiteY631" fmla="*/ 2655575 h 6757249"/>
              <a:gd name="connsiteX632" fmla="*/ 11490707 w 11951120"/>
              <a:gd name="connsiteY632" fmla="*/ 2656692 h 6757249"/>
              <a:gd name="connsiteX633" fmla="*/ 11490442 w 11951120"/>
              <a:gd name="connsiteY633" fmla="*/ 2650924 h 6757249"/>
              <a:gd name="connsiteX634" fmla="*/ 11492197 w 11951120"/>
              <a:gd name="connsiteY634" fmla="*/ 2650181 h 6757249"/>
              <a:gd name="connsiteX635" fmla="*/ 11490408 w 11951120"/>
              <a:gd name="connsiteY635" fmla="*/ 2650181 h 6757249"/>
              <a:gd name="connsiteX636" fmla="*/ 11490442 w 11951120"/>
              <a:gd name="connsiteY636" fmla="*/ 2650924 h 6757249"/>
              <a:gd name="connsiteX637" fmla="*/ 11490245 w 11951120"/>
              <a:gd name="connsiteY637" fmla="*/ 2651006 h 6757249"/>
              <a:gd name="connsiteX638" fmla="*/ 11490245 w 11951120"/>
              <a:gd name="connsiteY638" fmla="*/ 2650181 h 6757249"/>
              <a:gd name="connsiteX639" fmla="*/ 11489929 w 11951120"/>
              <a:gd name="connsiteY639" fmla="*/ 2650181 h 6757249"/>
              <a:gd name="connsiteX640" fmla="*/ 11490245 w 11951120"/>
              <a:gd name="connsiteY640" fmla="*/ 2648571 h 6757249"/>
              <a:gd name="connsiteX641" fmla="*/ 11490643 w 11951120"/>
              <a:gd name="connsiteY641" fmla="*/ 2646537 h 6757249"/>
              <a:gd name="connsiteX642" fmla="*/ 11490290 w 11951120"/>
              <a:gd name="connsiteY642" fmla="*/ 2647642 h 6757249"/>
              <a:gd name="connsiteX643" fmla="*/ 11490316 w 11951120"/>
              <a:gd name="connsiteY643" fmla="*/ 2648206 h 6757249"/>
              <a:gd name="connsiteX644" fmla="*/ 11584464 w 11951120"/>
              <a:gd name="connsiteY644" fmla="*/ 2577751 h 6757249"/>
              <a:gd name="connsiteX645" fmla="*/ 11587070 w 11951120"/>
              <a:gd name="connsiteY645" fmla="*/ 2579376 h 6757249"/>
              <a:gd name="connsiteX646" fmla="*/ 11587192 w 11951120"/>
              <a:gd name="connsiteY646" fmla="*/ 2577929 h 6757249"/>
              <a:gd name="connsiteX647" fmla="*/ 11688314 w 11951120"/>
              <a:gd name="connsiteY647" fmla="*/ 2574444 h 6757249"/>
              <a:gd name="connsiteX648" fmla="*/ 11687860 w 11951120"/>
              <a:gd name="connsiteY648" fmla="*/ 2575370 h 6757249"/>
              <a:gd name="connsiteX649" fmla="*/ 11687711 w 11951120"/>
              <a:gd name="connsiteY649" fmla="*/ 2576280 h 6757249"/>
              <a:gd name="connsiteX650" fmla="*/ 11688990 w 11951120"/>
              <a:gd name="connsiteY650" fmla="*/ 2576358 h 6757249"/>
              <a:gd name="connsiteX651" fmla="*/ 386116 w 11951120"/>
              <a:gd name="connsiteY651" fmla="*/ 2524136 h 6757249"/>
              <a:gd name="connsiteX652" fmla="*/ 382694 w 11951120"/>
              <a:gd name="connsiteY652" fmla="*/ 2526987 h 6757249"/>
              <a:gd name="connsiteX653" fmla="*/ 386116 w 11951120"/>
              <a:gd name="connsiteY653" fmla="*/ 2528416 h 6757249"/>
              <a:gd name="connsiteX654" fmla="*/ 387785 w 11951120"/>
              <a:gd name="connsiteY654" fmla="*/ 2517486 h 6757249"/>
              <a:gd name="connsiteX655" fmla="*/ 387089 w 11951120"/>
              <a:gd name="connsiteY655" fmla="*/ 2518231 h 6757249"/>
              <a:gd name="connsiteX656" fmla="*/ 386275 w 11951120"/>
              <a:gd name="connsiteY656" fmla="*/ 2519588 h 6757249"/>
              <a:gd name="connsiteX657" fmla="*/ 386275 w 11951120"/>
              <a:gd name="connsiteY657" fmla="*/ 2522114 h 6757249"/>
              <a:gd name="connsiteX658" fmla="*/ 413857 w 11951120"/>
              <a:gd name="connsiteY658" fmla="*/ 2473303 h 6757249"/>
              <a:gd name="connsiteX659" fmla="*/ 412894 w 11951120"/>
              <a:gd name="connsiteY659" fmla="*/ 2473496 h 6757249"/>
              <a:gd name="connsiteX660" fmla="*/ 412698 w 11951120"/>
              <a:gd name="connsiteY660" fmla="*/ 2474279 h 6757249"/>
              <a:gd name="connsiteX661" fmla="*/ 382865 w 11951120"/>
              <a:gd name="connsiteY661" fmla="*/ 2471344 h 6757249"/>
              <a:gd name="connsiteX662" fmla="*/ 386118 w 11951120"/>
              <a:gd name="connsiteY662" fmla="*/ 2472428 h 6757249"/>
              <a:gd name="connsiteX663" fmla="*/ 386118 w 11951120"/>
              <a:gd name="connsiteY663" fmla="*/ 2472350 h 6757249"/>
              <a:gd name="connsiteX664" fmla="*/ 385111 w 11951120"/>
              <a:gd name="connsiteY664" fmla="*/ 2471344 h 6757249"/>
              <a:gd name="connsiteX665" fmla="*/ 440415 w 11951120"/>
              <a:gd name="connsiteY665" fmla="*/ 2457602 h 6757249"/>
              <a:gd name="connsiteX666" fmla="*/ 442427 w 11951120"/>
              <a:gd name="connsiteY666" fmla="*/ 2460618 h 6757249"/>
              <a:gd name="connsiteX667" fmla="*/ 433711 w 11951120"/>
              <a:gd name="connsiteY667" fmla="*/ 2469332 h 6757249"/>
              <a:gd name="connsiteX668" fmla="*/ 431196 w 11951120"/>
              <a:gd name="connsiteY668" fmla="*/ 2469835 h 6757249"/>
              <a:gd name="connsiteX669" fmla="*/ 432890 w 11951120"/>
              <a:gd name="connsiteY669" fmla="*/ 2470243 h 6757249"/>
              <a:gd name="connsiteX670" fmla="*/ 434382 w 11951120"/>
              <a:gd name="connsiteY670" fmla="*/ 2475170 h 6757249"/>
              <a:gd name="connsiteX671" fmla="*/ 434584 w 11951120"/>
              <a:gd name="connsiteY671" fmla="*/ 2475840 h 6757249"/>
              <a:gd name="connsiteX672" fmla="*/ 445107 w 11951120"/>
              <a:gd name="connsiteY672" fmla="*/ 2465687 h 6757249"/>
              <a:gd name="connsiteX673" fmla="*/ 455832 w 11951120"/>
              <a:gd name="connsiteY673" fmla="*/ 2471680 h 6757249"/>
              <a:gd name="connsiteX674" fmla="*/ 455832 w 11951120"/>
              <a:gd name="connsiteY674" fmla="*/ 2472683 h 6757249"/>
              <a:gd name="connsiteX675" fmla="*/ 456501 w 11951120"/>
              <a:gd name="connsiteY675" fmla="*/ 2471680 h 6757249"/>
              <a:gd name="connsiteX676" fmla="*/ 457844 w 11951120"/>
              <a:gd name="connsiteY676" fmla="*/ 2471008 h 6757249"/>
              <a:gd name="connsiteX677" fmla="*/ 455831 w 11951120"/>
              <a:gd name="connsiteY677" fmla="*/ 2471008 h 6757249"/>
              <a:gd name="connsiteX678" fmla="*/ 455831 w 11951120"/>
              <a:gd name="connsiteY678" fmla="*/ 2457602 h 6757249"/>
              <a:gd name="connsiteX679" fmla="*/ 11061478 w 11951120"/>
              <a:gd name="connsiteY679" fmla="*/ 2448265 h 6757249"/>
              <a:gd name="connsiteX680" fmla="*/ 11061064 w 11951120"/>
              <a:gd name="connsiteY680" fmla="*/ 2451197 h 6757249"/>
              <a:gd name="connsiteX681" fmla="*/ 11062253 w 11951120"/>
              <a:gd name="connsiteY681" fmla="*/ 2449557 h 6757249"/>
              <a:gd name="connsiteX682" fmla="*/ 11065388 w 11951120"/>
              <a:gd name="connsiteY682" fmla="*/ 2449815 h 6757249"/>
              <a:gd name="connsiteX683" fmla="*/ 11061986 w 11951120"/>
              <a:gd name="connsiteY683" fmla="*/ 2448265 h 6757249"/>
              <a:gd name="connsiteX684" fmla="*/ 503202 w 11951120"/>
              <a:gd name="connsiteY684" fmla="*/ 2425802 h 6757249"/>
              <a:gd name="connsiteX685" fmla="*/ 503087 w 11951120"/>
              <a:gd name="connsiteY685" fmla="*/ 2426150 h 6757249"/>
              <a:gd name="connsiteX686" fmla="*/ 503202 w 11951120"/>
              <a:gd name="connsiteY686" fmla="*/ 2426171 h 6757249"/>
              <a:gd name="connsiteX687" fmla="*/ 526777 w 11951120"/>
              <a:gd name="connsiteY687" fmla="*/ 2416158 h 6757249"/>
              <a:gd name="connsiteX688" fmla="*/ 525546 w 11951120"/>
              <a:gd name="connsiteY688" fmla="*/ 2422125 h 6757249"/>
              <a:gd name="connsiteX689" fmla="*/ 525674 w 11951120"/>
              <a:gd name="connsiteY689" fmla="*/ 2422125 h 6757249"/>
              <a:gd name="connsiteX690" fmla="*/ 526872 w 11951120"/>
              <a:gd name="connsiteY690" fmla="*/ 2416377 h 6757249"/>
              <a:gd name="connsiteX691" fmla="*/ 481161 w 11951120"/>
              <a:gd name="connsiteY691" fmla="*/ 2397915 h 6757249"/>
              <a:gd name="connsiteX692" fmla="*/ 478182 w 11951120"/>
              <a:gd name="connsiteY692" fmla="*/ 2401668 h 6757249"/>
              <a:gd name="connsiteX693" fmla="*/ 482109 w 11951120"/>
              <a:gd name="connsiteY693" fmla="*/ 2401293 h 6757249"/>
              <a:gd name="connsiteX694" fmla="*/ 482644 w 11951120"/>
              <a:gd name="connsiteY694" fmla="*/ 2404536 h 6757249"/>
              <a:gd name="connsiteX695" fmla="*/ 482644 w 11951120"/>
              <a:gd name="connsiteY695" fmla="*/ 2401293 h 6757249"/>
              <a:gd name="connsiteX696" fmla="*/ 483208 w 11951120"/>
              <a:gd name="connsiteY696" fmla="*/ 2401293 h 6757249"/>
              <a:gd name="connsiteX697" fmla="*/ 482082 w 11951120"/>
              <a:gd name="connsiteY697" fmla="*/ 2400538 h 6757249"/>
              <a:gd name="connsiteX698" fmla="*/ 10847305 w 11951120"/>
              <a:gd name="connsiteY698" fmla="*/ 2333498 h 6757249"/>
              <a:gd name="connsiteX699" fmla="*/ 10847308 w 11951120"/>
              <a:gd name="connsiteY699" fmla="*/ 2333562 h 6757249"/>
              <a:gd name="connsiteX700" fmla="*/ 10847382 w 11951120"/>
              <a:gd name="connsiteY700" fmla="*/ 2333535 h 6757249"/>
              <a:gd name="connsiteX701" fmla="*/ 11065417 w 11951120"/>
              <a:gd name="connsiteY701" fmla="*/ 2328394 h 6757249"/>
              <a:gd name="connsiteX702" fmla="*/ 11064864 w 11951120"/>
              <a:gd name="connsiteY702" fmla="*/ 2331872 h 6757249"/>
              <a:gd name="connsiteX703" fmla="*/ 11065940 w 11951120"/>
              <a:gd name="connsiteY703" fmla="*/ 2330377 h 6757249"/>
              <a:gd name="connsiteX704" fmla="*/ 11066707 w 11951120"/>
              <a:gd name="connsiteY704" fmla="*/ 2328620 h 6757249"/>
              <a:gd name="connsiteX705" fmla="*/ 11066428 w 11951120"/>
              <a:gd name="connsiteY705" fmla="*/ 2328895 h 6757249"/>
              <a:gd name="connsiteX706" fmla="*/ 440241 w 11951120"/>
              <a:gd name="connsiteY706" fmla="*/ 2327554 h 6757249"/>
              <a:gd name="connsiteX707" fmla="*/ 435064 w 11951120"/>
              <a:gd name="connsiteY707" fmla="*/ 2328573 h 6757249"/>
              <a:gd name="connsiteX708" fmla="*/ 435020 w 11951120"/>
              <a:gd name="connsiteY708" fmla="*/ 2328661 h 6757249"/>
              <a:gd name="connsiteX709" fmla="*/ 434704 w 11951120"/>
              <a:gd name="connsiteY709" fmla="*/ 2328644 h 6757249"/>
              <a:gd name="connsiteX710" fmla="*/ 433939 w 11951120"/>
              <a:gd name="connsiteY710" fmla="*/ 2328794 h 6757249"/>
              <a:gd name="connsiteX711" fmla="*/ 435380 w 11951120"/>
              <a:gd name="connsiteY711" fmla="*/ 2337276 h 6757249"/>
              <a:gd name="connsiteX712" fmla="*/ 438135 w 11951120"/>
              <a:gd name="connsiteY712" fmla="*/ 2329676 h 6757249"/>
              <a:gd name="connsiteX713" fmla="*/ 438907 w 11951120"/>
              <a:gd name="connsiteY713" fmla="*/ 2328897 h 6757249"/>
              <a:gd name="connsiteX714" fmla="*/ 434900 w 11951120"/>
              <a:gd name="connsiteY714" fmla="*/ 2328897 h 6757249"/>
              <a:gd name="connsiteX715" fmla="*/ 435020 w 11951120"/>
              <a:gd name="connsiteY715" fmla="*/ 2328661 h 6757249"/>
              <a:gd name="connsiteX716" fmla="*/ 438927 w 11951120"/>
              <a:gd name="connsiteY716" fmla="*/ 2328877 h 6757249"/>
              <a:gd name="connsiteX717" fmla="*/ 456437 w 11951120"/>
              <a:gd name="connsiteY717" fmla="*/ 2323247 h 6757249"/>
              <a:gd name="connsiteX718" fmla="*/ 456125 w 11951120"/>
              <a:gd name="connsiteY718" fmla="*/ 2323641 h 6757249"/>
              <a:gd name="connsiteX719" fmla="*/ 456327 w 11951120"/>
              <a:gd name="connsiteY719" fmla="*/ 2323703 h 6757249"/>
              <a:gd name="connsiteX720" fmla="*/ 11516742 w 11951120"/>
              <a:gd name="connsiteY720" fmla="*/ 2226347 h 6757249"/>
              <a:gd name="connsiteX721" fmla="*/ 11516742 w 11951120"/>
              <a:gd name="connsiteY721" fmla="*/ 2228013 h 6757249"/>
              <a:gd name="connsiteX722" fmla="*/ 11515329 w 11951120"/>
              <a:gd name="connsiteY722" fmla="*/ 2228790 h 6757249"/>
              <a:gd name="connsiteX723" fmla="*/ 11516788 w 11951120"/>
              <a:gd name="connsiteY723" fmla="*/ 2230166 h 6757249"/>
              <a:gd name="connsiteX724" fmla="*/ 11517075 w 11951120"/>
              <a:gd name="connsiteY724" fmla="*/ 2228883 h 6757249"/>
              <a:gd name="connsiteX725" fmla="*/ 10439906 w 11951120"/>
              <a:gd name="connsiteY725" fmla="*/ 2219132 h 6757249"/>
              <a:gd name="connsiteX726" fmla="*/ 10439166 w 11951120"/>
              <a:gd name="connsiteY726" fmla="*/ 2220044 h 6757249"/>
              <a:gd name="connsiteX727" fmla="*/ 10432795 w 11951120"/>
              <a:gd name="connsiteY727" fmla="*/ 2232826 h 6757249"/>
              <a:gd name="connsiteX728" fmla="*/ 10433479 w 11951120"/>
              <a:gd name="connsiteY728" fmla="*/ 2232369 h 6757249"/>
              <a:gd name="connsiteX729" fmla="*/ 10432812 w 11951120"/>
              <a:gd name="connsiteY729" fmla="*/ 2234402 h 6757249"/>
              <a:gd name="connsiteX730" fmla="*/ 10436193 w 11951120"/>
              <a:gd name="connsiteY730" fmla="*/ 2229881 h 6757249"/>
              <a:gd name="connsiteX731" fmla="*/ 10433479 w 11951120"/>
              <a:gd name="connsiteY731" fmla="*/ 2232369 h 6757249"/>
              <a:gd name="connsiteX732" fmla="*/ 11374235 w 11951120"/>
              <a:gd name="connsiteY732" fmla="*/ 2151423 h 6757249"/>
              <a:gd name="connsiteX733" fmla="*/ 11372843 w 11951120"/>
              <a:gd name="connsiteY733" fmla="*/ 2152920 h 6757249"/>
              <a:gd name="connsiteX734" fmla="*/ 11371681 w 11951120"/>
              <a:gd name="connsiteY734" fmla="*/ 2153148 h 6757249"/>
              <a:gd name="connsiteX735" fmla="*/ 11373775 w 11951120"/>
              <a:gd name="connsiteY735" fmla="*/ 2153884 h 6757249"/>
              <a:gd name="connsiteX736" fmla="*/ 580164 w 11951120"/>
              <a:gd name="connsiteY736" fmla="*/ 2082565 h 6757249"/>
              <a:gd name="connsiteX737" fmla="*/ 579522 w 11951120"/>
              <a:gd name="connsiteY737" fmla="*/ 2082702 h 6757249"/>
              <a:gd name="connsiteX738" fmla="*/ 579512 w 11951120"/>
              <a:gd name="connsiteY738" fmla="*/ 2082707 h 6757249"/>
              <a:gd name="connsiteX739" fmla="*/ 579882 w 11951120"/>
              <a:gd name="connsiteY739" fmla="*/ 2082972 h 6757249"/>
              <a:gd name="connsiteX740" fmla="*/ 11373929 w 11951120"/>
              <a:gd name="connsiteY740" fmla="*/ 2035554 h 6757249"/>
              <a:gd name="connsiteX741" fmla="*/ 11371948 w 11951120"/>
              <a:gd name="connsiteY741" fmla="*/ 2039525 h 6757249"/>
              <a:gd name="connsiteX742" fmla="*/ 11371723 w 11951120"/>
              <a:gd name="connsiteY742" fmla="*/ 2039751 h 6757249"/>
              <a:gd name="connsiteX743" fmla="*/ 11371370 w 11951120"/>
              <a:gd name="connsiteY743" fmla="*/ 2040440 h 6757249"/>
              <a:gd name="connsiteX744" fmla="*/ 11372843 w 11951120"/>
              <a:gd name="connsiteY744" fmla="*/ 2039310 h 6757249"/>
              <a:gd name="connsiteX745" fmla="*/ 11381628 w 11951120"/>
              <a:gd name="connsiteY745" fmla="*/ 2039310 h 6757249"/>
              <a:gd name="connsiteX746" fmla="*/ 262191 w 11951120"/>
              <a:gd name="connsiteY746" fmla="*/ 2035072 h 6757249"/>
              <a:gd name="connsiteX747" fmla="*/ 262191 w 11951120"/>
              <a:gd name="connsiteY747" fmla="*/ 2035768 h 6757249"/>
              <a:gd name="connsiteX748" fmla="*/ 263465 w 11951120"/>
              <a:gd name="connsiteY748" fmla="*/ 2038947 h 6757249"/>
              <a:gd name="connsiteX749" fmla="*/ 263465 w 11951120"/>
              <a:gd name="connsiteY749" fmla="*/ 2036437 h 6757249"/>
              <a:gd name="connsiteX750" fmla="*/ 265299 w 11951120"/>
              <a:gd name="connsiteY750" fmla="*/ 2035485 h 6757249"/>
              <a:gd name="connsiteX751" fmla="*/ 9832971 w 11951120"/>
              <a:gd name="connsiteY751" fmla="*/ 2034969 h 6757249"/>
              <a:gd name="connsiteX752" fmla="*/ 9825829 w 11951120"/>
              <a:gd name="connsiteY752" fmla="*/ 2041695 h 6757249"/>
              <a:gd name="connsiteX753" fmla="*/ 9831333 w 11951120"/>
              <a:gd name="connsiteY753" fmla="*/ 2039542 h 6757249"/>
              <a:gd name="connsiteX754" fmla="*/ 10125627 w 11951120"/>
              <a:gd name="connsiteY754" fmla="*/ 1913587 h 6757249"/>
              <a:gd name="connsiteX755" fmla="*/ 10123134 w 11951120"/>
              <a:gd name="connsiteY755" fmla="*/ 1915454 h 6757249"/>
              <a:gd name="connsiteX756" fmla="*/ 10119403 w 11951120"/>
              <a:gd name="connsiteY756" fmla="*/ 1921070 h 6757249"/>
              <a:gd name="connsiteX757" fmla="*/ 10116957 w 11951120"/>
              <a:gd name="connsiteY757" fmla="*/ 1923930 h 6757249"/>
              <a:gd name="connsiteX758" fmla="*/ 10113033 w 11951120"/>
              <a:gd name="connsiteY758" fmla="*/ 1929619 h 6757249"/>
              <a:gd name="connsiteX759" fmla="*/ 10123783 w 11951120"/>
              <a:gd name="connsiteY759" fmla="*/ 1916673 h 6757249"/>
              <a:gd name="connsiteX760" fmla="*/ 578479 w 11951120"/>
              <a:gd name="connsiteY760" fmla="*/ 1896101 h 6757249"/>
              <a:gd name="connsiteX761" fmla="*/ 574602 w 11951120"/>
              <a:gd name="connsiteY761" fmla="*/ 1898112 h 6757249"/>
              <a:gd name="connsiteX762" fmla="*/ 576913 w 11951120"/>
              <a:gd name="connsiteY762" fmla="*/ 1903723 h 6757249"/>
              <a:gd name="connsiteX763" fmla="*/ 1853246 w 11951120"/>
              <a:gd name="connsiteY763" fmla="*/ 1818997 h 6757249"/>
              <a:gd name="connsiteX764" fmla="*/ 1853246 w 11951120"/>
              <a:gd name="connsiteY764" fmla="*/ 1819739 h 6757249"/>
              <a:gd name="connsiteX765" fmla="*/ 1854165 w 11951120"/>
              <a:gd name="connsiteY765" fmla="*/ 1820615 h 6757249"/>
              <a:gd name="connsiteX766" fmla="*/ 11512844 w 11951120"/>
              <a:gd name="connsiteY766" fmla="*/ 1814760 h 6757249"/>
              <a:gd name="connsiteX767" fmla="*/ 11511827 w 11951120"/>
              <a:gd name="connsiteY767" fmla="*/ 1820172 h 6757249"/>
              <a:gd name="connsiteX768" fmla="*/ 11511744 w 11951120"/>
              <a:gd name="connsiteY768" fmla="*/ 1820458 h 6757249"/>
              <a:gd name="connsiteX769" fmla="*/ 11512354 w 11951120"/>
              <a:gd name="connsiteY769" fmla="*/ 1819930 h 6757249"/>
              <a:gd name="connsiteX770" fmla="*/ 11517599 w 11951120"/>
              <a:gd name="connsiteY770" fmla="*/ 1818738 h 6757249"/>
              <a:gd name="connsiteX771" fmla="*/ 11517607 w 11951120"/>
              <a:gd name="connsiteY771" fmla="*/ 1673589 h 6757249"/>
              <a:gd name="connsiteX772" fmla="*/ 11516536 w 11951120"/>
              <a:gd name="connsiteY772" fmla="*/ 1674649 h 6757249"/>
              <a:gd name="connsiteX773" fmla="*/ 11514915 w 11951120"/>
              <a:gd name="connsiteY773" fmla="*/ 1674649 h 6757249"/>
              <a:gd name="connsiteX774" fmla="*/ 11516220 w 11951120"/>
              <a:gd name="connsiteY774" fmla="*/ 1675379 h 6757249"/>
              <a:gd name="connsiteX775" fmla="*/ 11519619 w 11951120"/>
              <a:gd name="connsiteY775" fmla="*/ 1677075 h 6757249"/>
              <a:gd name="connsiteX776" fmla="*/ 11520394 w 11951120"/>
              <a:gd name="connsiteY776" fmla="*/ 1675475 h 6757249"/>
              <a:gd name="connsiteX777" fmla="*/ 11180501 w 11951120"/>
              <a:gd name="connsiteY777" fmla="*/ 1637210 h 6757249"/>
              <a:gd name="connsiteX778" fmla="*/ 11180354 w 11951120"/>
              <a:gd name="connsiteY778" fmla="*/ 1638835 h 6757249"/>
              <a:gd name="connsiteX779" fmla="*/ 11180501 w 11951120"/>
              <a:gd name="connsiteY779" fmla="*/ 1638835 h 6757249"/>
              <a:gd name="connsiteX780" fmla="*/ 864010 w 11951120"/>
              <a:gd name="connsiteY780" fmla="*/ 1529856 h 6757249"/>
              <a:gd name="connsiteX781" fmla="*/ 868758 w 11951120"/>
              <a:gd name="connsiteY781" fmla="*/ 1538164 h 6757249"/>
              <a:gd name="connsiteX782" fmla="*/ 868758 w 11951120"/>
              <a:gd name="connsiteY782" fmla="*/ 1529856 h 6757249"/>
              <a:gd name="connsiteX783" fmla="*/ 868668 w 11951120"/>
              <a:gd name="connsiteY783" fmla="*/ 1529856 h 6757249"/>
              <a:gd name="connsiteX784" fmla="*/ 1246335 w 11951120"/>
              <a:gd name="connsiteY784" fmla="*/ 1508405 h 6757249"/>
              <a:gd name="connsiteX785" fmla="*/ 1247536 w 11951120"/>
              <a:gd name="connsiteY785" fmla="*/ 1514937 h 6757249"/>
              <a:gd name="connsiteX786" fmla="*/ 1252610 w 11951120"/>
              <a:gd name="connsiteY786" fmla="*/ 1508405 h 6757249"/>
              <a:gd name="connsiteX787" fmla="*/ 573882 w 11951120"/>
              <a:gd name="connsiteY787" fmla="*/ 1455824 h 6757249"/>
              <a:gd name="connsiteX788" fmla="*/ 570707 w 11951120"/>
              <a:gd name="connsiteY788" fmla="*/ 1456466 h 6757249"/>
              <a:gd name="connsiteX789" fmla="*/ 574028 w 11951120"/>
              <a:gd name="connsiteY789" fmla="*/ 1457552 h 6757249"/>
              <a:gd name="connsiteX790" fmla="*/ 11447026 w 11951120"/>
              <a:gd name="connsiteY790" fmla="*/ 1384892 h 6757249"/>
              <a:gd name="connsiteX791" fmla="*/ 11446835 w 11951120"/>
              <a:gd name="connsiteY791" fmla="*/ 1385064 h 6757249"/>
              <a:gd name="connsiteX792" fmla="*/ 11445837 w 11951120"/>
              <a:gd name="connsiteY792" fmla="*/ 1385064 h 6757249"/>
              <a:gd name="connsiteX793" fmla="*/ 11447026 w 11951120"/>
              <a:gd name="connsiteY793" fmla="*/ 1387466 h 6757249"/>
              <a:gd name="connsiteX794" fmla="*/ 870459 w 11951120"/>
              <a:gd name="connsiteY794" fmla="*/ 1381340 h 6757249"/>
              <a:gd name="connsiteX795" fmla="*/ 867055 w 11951120"/>
              <a:gd name="connsiteY795" fmla="*/ 1384795 h 6757249"/>
              <a:gd name="connsiteX796" fmla="*/ 866832 w 11951120"/>
              <a:gd name="connsiteY796" fmla="*/ 1387458 h 6757249"/>
              <a:gd name="connsiteX797" fmla="*/ 868668 w 11951120"/>
              <a:gd name="connsiteY797" fmla="*/ 1384593 h 6757249"/>
              <a:gd name="connsiteX798" fmla="*/ 1061815 w 11951120"/>
              <a:gd name="connsiteY798" fmla="*/ 1335502 h 6757249"/>
              <a:gd name="connsiteX799" fmla="*/ 1061367 w 11951120"/>
              <a:gd name="connsiteY799" fmla="*/ 1335953 h 6757249"/>
              <a:gd name="connsiteX800" fmla="*/ 1053749 w 11951120"/>
              <a:gd name="connsiteY800" fmla="*/ 1338982 h 6757249"/>
              <a:gd name="connsiteX801" fmla="*/ 1054579 w 11951120"/>
              <a:gd name="connsiteY801" fmla="*/ 1344470 h 6757249"/>
              <a:gd name="connsiteX802" fmla="*/ 1060475 w 11951120"/>
              <a:gd name="connsiteY802" fmla="*/ 1337499 h 6757249"/>
              <a:gd name="connsiteX803" fmla="*/ 1061815 w 11951120"/>
              <a:gd name="connsiteY803" fmla="*/ 1336746 h 6757249"/>
              <a:gd name="connsiteX804" fmla="*/ 1063580 w 11951120"/>
              <a:gd name="connsiteY804" fmla="*/ 1264945 h 6757249"/>
              <a:gd name="connsiteX805" fmla="*/ 1062022 w 11951120"/>
              <a:gd name="connsiteY805" fmla="*/ 1265738 h 6757249"/>
              <a:gd name="connsiteX806" fmla="*/ 1062147 w 11951120"/>
              <a:gd name="connsiteY806" fmla="*/ 1266681 h 6757249"/>
              <a:gd name="connsiteX807" fmla="*/ 551907 w 11951120"/>
              <a:gd name="connsiteY807" fmla="*/ 1261181 h 6757249"/>
              <a:gd name="connsiteX808" fmla="*/ 550690 w 11951120"/>
              <a:gd name="connsiteY808" fmla="*/ 1261291 h 6757249"/>
              <a:gd name="connsiteX809" fmla="*/ 556369 w 11951120"/>
              <a:gd name="connsiteY809" fmla="*/ 1269294 h 6757249"/>
              <a:gd name="connsiteX810" fmla="*/ 556747 w 11951120"/>
              <a:gd name="connsiteY810" fmla="*/ 1267419 h 6757249"/>
              <a:gd name="connsiteX811" fmla="*/ 558511 w 11951120"/>
              <a:gd name="connsiteY811" fmla="*/ 1267002 h 6757249"/>
              <a:gd name="connsiteX812" fmla="*/ 557126 w 11951120"/>
              <a:gd name="connsiteY812" fmla="*/ 1266340 h 6757249"/>
              <a:gd name="connsiteX813" fmla="*/ 1777972 w 11951120"/>
              <a:gd name="connsiteY813" fmla="*/ 1221028 h 6757249"/>
              <a:gd name="connsiteX814" fmla="*/ 1777172 w 11951120"/>
              <a:gd name="connsiteY814" fmla="*/ 1221864 h 6757249"/>
              <a:gd name="connsiteX815" fmla="*/ 1778049 w 11951120"/>
              <a:gd name="connsiteY815" fmla="*/ 1221150 h 6757249"/>
              <a:gd name="connsiteX816" fmla="*/ 10891872 w 11951120"/>
              <a:gd name="connsiteY816" fmla="*/ 1137000 h 6757249"/>
              <a:gd name="connsiteX817" fmla="*/ 10890350 w 11951120"/>
              <a:gd name="connsiteY817" fmla="*/ 1142251 h 6757249"/>
              <a:gd name="connsiteX818" fmla="*/ 10890698 w 11951120"/>
              <a:gd name="connsiteY818" fmla="*/ 1143663 h 6757249"/>
              <a:gd name="connsiteX819" fmla="*/ 10894679 w 11951120"/>
              <a:gd name="connsiteY819" fmla="*/ 1139682 h 6757249"/>
              <a:gd name="connsiteX820" fmla="*/ 11495650 w 11951120"/>
              <a:gd name="connsiteY820" fmla="*/ 1125954 h 6757249"/>
              <a:gd name="connsiteX821" fmla="*/ 11496175 w 11951120"/>
              <a:gd name="connsiteY821" fmla="*/ 1127624 h 6757249"/>
              <a:gd name="connsiteX822" fmla="*/ 11496148 w 11951120"/>
              <a:gd name="connsiteY822" fmla="*/ 1125954 h 6757249"/>
              <a:gd name="connsiteX823" fmla="*/ 11709774 w 11951120"/>
              <a:gd name="connsiteY823" fmla="*/ 1121056 h 6757249"/>
              <a:gd name="connsiteX824" fmla="*/ 11709439 w 11951120"/>
              <a:gd name="connsiteY824" fmla="*/ 1122415 h 6757249"/>
              <a:gd name="connsiteX825" fmla="*/ 11709797 w 11951120"/>
              <a:gd name="connsiteY825" fmla="*/ 1122292 h 6757249"/>
              <a:gd name="connsiteX826" fmla="*/ 11709544 w 11951120"/>
              <a:gd name="connsiteY826" fmla="*/ 1123025 h 6757249"/>
              <a:gd name="connsiteX827" fmla="*/ 11710316 w 11951120"/>
              <a:gd name="connsiteY827" fmla="*/ 1122099 h 6757249"/>
              <a:gd name="connsiteX828" fmla="*/ 11711019 w 11951120"/>
              <a:gd name="connsiteY828" fmla="*/ 1121694 h 6757249"/>
              <a:gd name="connsiteX829" fmla="*/ 1536207 w 11951120"/>
              <a:gd name="connsiteY829" fmla="*/ 1096166 h 6757249"/>
              <a:gd name="connsiteX830" fmla="*/ 1536033 w 11951120"/>
              <a:gd name="connsiteY830" fmla="*/ 1096267 h 6757249"/>
              <a:gd name="connsiteX831" fmla="*/ 1536295 w 11951120"/>
              <a:gd name="connsiteY831" fmla="*/ 1096256 h 6757249"/>
              <a:gd name="connsiteX832" fmla="*/ 797530 w 11951120"/>
              <a:gd name="connsiteY832" fmla="*/ 1072923 h 6757249"/>
              <a:gd name="connsiteX833" fmla="*/ 797800 w 11951120"/>
              <a:gd name="connsiteY833" fmla="*/ 1073508 h 6757249"/>
              <a:gd name="connsiteX834" fmla="*/ 797937 w 11951120"/>
              <a:gd name="connsiteY834" fmla="*/ 1073335 h 6757249"/>
              <a:gd name="connsiteX835" fmla="*/ 11583001 w 11951120"/>
              <a:gd name="connsiteY835" fmla="*/ 1066768 h 6757249"/>
              <a:gd name="connsiteX836" fmla="*/ 11582652 w 11951120"/>
              <a:gd name="connsiteY836" fmla="*/ 1067672 h 6757249"/>
              <a:gd name="connsiteX837" fmla="*/ 11582909 w 11951120"/>
              <a:gd name="connsiteY837" fmla="*/ 1067719 h 6757249"/>
              <a:gd name="connsiteX838" fmla="*/ 11583106 w 11951120"/>
              <a:gd name="connsiteY838" fmla="*/ 1067748 h 6757249"/>
              <a:gd name="connsiteX839" fmla="*/ 11442720 w 11951120"/>
              <a:gd name="connsiteY839" fmla="*/ 1053344 h 6757249"/>
              <a:gd name="connsiteX840" fmla="*/ 11440315 w 11951120"/>
              <a:gd name="connsiteY840" fmla="*/ 1072378 h 6757249"/>
              <a:gd name="connsiteX841" fmla="*/ 11446083 w 11951120"/>
              <a:gd name="connsiteY841" fmla="*/ 1073334 h 6757249"/>
              <a:gd name="connsiteX842" fmla="*/ 888947 w 11951120"/>
              <a:gd name="connsiteY842" fmla="*/ 1024783 h 6757249"/>
              <a:gd name="connsiteX843" fmla="*/ 889254 w 11951120"/>
              <a:gd name="connsiteY843" fmla="*/ 1025236 h 6757249"/>
              <a:gd name="connsiteX844" fmla="*/ 889471 w 11951120"/>
              <a:gd name="connsiteY844" fmla="*/ 1024882 h 6757249"/>
              <a:gd name="connsiteX845" fmla="*/ 11269302 w 11951120"/>
              <a:gd name="connsiteY845" fmla="*/ 1013125 h 6757249"/>
              <a:gd name="connsiteX846" fmla="*/ 11276347 w 11951120"/>
              <a:gd name="connsiteY846" fmla="*/ 1030035 h 6757249"/>
              <a:gd name="connsiteX847" fmla="*/ 11276698 w 11951120"/>
              <a:gd name="connsiteY847" fmla="*/ 1029647 h 6757249"/>
              <a:gd name="connsiteX848" fmla="*/ 11280620 w 11951120"/>
              <a:gd name="connsiteY848" fmla="*/ 1021794 h 6757249"/>
              <a:gd name="connsiteX849" fmla="*/ 1517452 w 11951120"/>
              <a:gd name="connsiteY849" fmla="*/ 998261 h 6757249"/>
              <a:gd name="connsiteX850" fmla="*/ 1517140 w 11951120"/>
              <a:gd name="connsiteY850" fmla="*/ 998950 h 6757249"/>
              <a:gd name="connsiteX851" fmla="*/ 1515907 w 11951120"/>
              <a:gd name="connsiteY851" fmla="*/ 1000391 h 6757249"/>
              <a:gd name="connsiteX852" fmla="*/ 1516045 w 11951120"/>
              <a:gd name="connsiteY852" fmla="*/ 1000898 h 6757249"/>
              <a:gd name="connsiteX853" fmla="*/ 1517432 w 11951120"/>
              <a:gd name="connsiteY853" fmla="*/ 998831 h 6757249"/>
              <a:gd name="connsiteX854" fmla="*/ 11160690 w 11951120"/>
              <a:gd name="connsiteY854" fmla="*/ 880890 h 6757249"/>
              <a:gd name="connsiteX855" fmla="*/ 11160704 w 11951120"/>
              <a:gd name="connsiteY855" fmla="*/ 880971 h 6757249"/>
              <a:gd name="connsiteX856" fmla="*/ 11161112 w 11951120"/>
              <a:gd name="connsiteY856" fmla="*/ 880971 h 6757249"/>
              <a:gd name="connsiteX857" fmla="*/ 11181864 w 11951120"/>
              <a:gd name="connsiteY857" fmla="*/ 864042 h 6757249"/>
              <a:gd name="connsiteX858" fmla="*/ 11175991 w 11951120"/>
              <a:gd name="connsiteY858" fmla="*/ 880971 h 6757249"/>
              <a:gd name="connsiteX859" fmla="*/ 11178403 w 11951120"/>
              <a:gd name="connsiteY859" fmla="*/ 880971 h 6757249"/>
              <a:gd name="connsiteX860" fmla="*/ 11186056 w 11951120"/>
              <a:gd name="connsiteY860" fmla="*/ 888570 h 6757249"/>
              <a:gd name="connsiteX861" fmla="*/ 11188002 w 11951120"/>
              <a:gd name="connsiteY861" fmla="*/ 884111 h 6757249"/>
              <a:gd name="connsiteX862" fmla="*/ 11187666 w 11951120"/>
              <a:gd name="connsiteY862" fmla="*/ 883651 h 6757249"/>
              <a:gd name="connsiteX863" fmla="*/ 11178891 w 11951120"/>
              <a:gd name="connsiteY863" fmla="*/ 879182 h 6757249"/>
              <a:gd name="connsiteX864" fmla="*/ 892855 w 11951120"/>
              <a:gd name="connsiteY864" fmla="*/ 836588 h 6757249"/>
              <a:gd name="connsiteX865" fmla="*/ 892891 w 11951120"/>
              <a:gd name="connsiteY865" fmla="*/ 836808 h 6757249"/>
              <a:gd name="connsiteX866" fmla="*/ 892556 w 11951120"/>
              <a:gd name="connsiteY866" fmla="*/ 838510 h 6757249"/>
              <a:gd name="connsiteX867" fmla="*/ 893403 w 11951120"/>
              <a:gd name="connsiteY867" fmla="*/ 837032 h 6757249"/>
              <a:gd name="connsiteX868" fmla="*/ 11490245 w 11951120"/>
              <a:gd name="connsiteY868" fmla="*/ 780885 h 6757249"/>
              <a:gd name="connsiteX869" fmla="*/ 11487753 w 11951120"/>
              <a:gd name="connsiteY869" fmla="*/ 788675 h 6757249"/>
              <a:gd name="connsiteX870" fmla="*/ 11490707 w 11951120"/>
              <a:gd name="connsiteY870" fmla="*/ 789792 h 6757249"/>
              <a:gd name="connsiteX871" fmla="*/ 11490442 w 11951120"/>
              <a:gd name="connsiteY871" fmla="*/ 784024 h 6757249"/>
              <a:gd name="connsiteX872" fmla="*/ 11492197 w 11951120"/>
              <a:gd name="connsiteY872" fmla="*/ 783281 h 6757249"/>
              <a:gd name="connsiteX873" fmla="*/ 11490408 w 11951120"/>
              <a:gd name="connsiteY873" fmla="*/ 783281 h 6757249"/>
              <a:gd name="connsiteX874" fmla="*/ 11490442 w 11951120"/>
              <a:gd name="connsiteY874" fmla="*/ 784024 h 6757249"/>
              <a:gd name="connsiteX875" fmla="*/ 11490245 w 11951120"/>
              <a:gd name="connsiteY875" fmla="*/ 784106 h 6757249"/>
              <a:gd name="connsiteX876" fmla="*/ 11490245 w 11951120"/>
              <a:gd name="connsiteY876" fmla="*/ 783281 h 6757249"/>
              <a:gd name="connsiteX877" fmla="*/ 11489929 w 11951120"/>
              <a:gd name="connsiteY877" fmla="*/ 783281 h 6757249"/>
              <a:gd name="connsiteX878" fmla="*/ 11490245 w 11951120"/>
              <a:gd name="connsiteY878" fmla="*/ 781671 h 6757249"/>
              <a:gd name="connsiteX879" fmla="*/ 11490643 w 11951120"/>
              <a:gd name="connsiteY879" fmla="*/ 779637 h 6757249"/>
              <a:gd name="connsiteX880" fmla="*/ 11490290 w 11951120"/>
              <a:gd name="connsiteY880" fmla="*/ 780742 h 6757249"/>
              <a:gd name="connsiteX881" fmla="*/ 11490316 w 11951120"/>
              <a:gd name="connsiteY881" fmla="*/ 781306 h 6757249"/>
              <a:gd name="connsiteX882" fmla="*/ 1013290 w 11951120"/>
              <a:gd name="connsiteY882" fmla="*/ 754503 h 6757249"/>
              <a:gd name="connsiteX883" fmla="*/ 1013015 w 11951120"/>
              <a:gd name="connsiteY883" fmla="*/ 756325 h 6757249"/>
              <a:gd name="connsiteX884" fmla="*/ 1012968 w 11951120"/>
              <a:gd name="connsiteY884" fmla="*/ 756530 h 6757249"/>
              <a:gd name="connsiteX885" fmla="*/ 1014172 w 11951120"/>
              <a:gd name="connsiteY885" fmla="*/ 755568 h 6757249"/>
              <a:gd name="connsiteX886" fmla="*/ 11584464 w 11951120"/>
              <a:gd name="connsiteY886" fmla="*/ 710851 h 6757249"/>
              <a:gd name="connsiteX887" fmla="*/ 11587070 w 11951120"/>
              <a:gd name="connsiteY887" fmla="*/ 712476 h 6757249"/>
              <a:gd name="connsiteX888" fmla="*/ 11587192 w 11951120"/>
              <a:gd name="connsiteY888" fmla="*/ 711029 h 6757249"/>
              <a:gd name="connsiteX889" fmla="*/ 11688314 w 11951120"/>
              <a:gd name="connsiteY889" fmla="*/ 707544 h 6757249"/>
              <a:gd name="connsiteX890" fmla="*/ 11687860 w 11951120"/>
              <a:gd name="connsiteY890" fmla="*/ 708470 h 6757249"/>
              <a:gd name="connsiteX891" fmla="*/ 11687711 w 11951120"/>
              <a:gd name="connsiteY891" fmla="*/ 709380 h 6757249"/>
              <a:gd name="connsiteX892" fmla="*/ 11688990 w 11951120"/>
              <a:gd name="connsiteY892" fmla="*/ 709458 h 6757249"/>
              <a:gd name="connsiteX893" fmla="*/ 1999412 w 11951120"/>
              <a:gd name="connsiteY893" fmla="*/ 692378 h 6757249"/>
              <a:gd name="connsiteX894" fmla="*/ 1999626 w 11951120"/>
              <a:gd name="connsiteY894" fmla="*/ 694089 h 6757249"/>
              <a:gd name="connsiteX895" fmla="*/ 2002074 w 11951120"/>
              <a:gd name="connsiteY895" fmla="*/ 692912 h 6757249"/>
              <a:gd name="connsiteX896" fmla="*/ 1448682 w 11951120"/>
              <a:gd name="connsiteY896" fmla="*/ 615753 h 6757249"/>
              <a:gd name="connsiteX897" fmla="*/ 1448874 w 11951120"/>
              <a:gd name="connsiteY897" fmla="*/ 616166 h 6757249"/>
              <a:gd name="connsiteX898" fmla="*/ 1449428 w 11951120"/>
              <a:gd name="connsiteY898" fmla="*/ 616166 h 6757249"/>
              <a:gd name="connsiteX899" fmla="*/ 1494262 w 11951120"/>
              <a:gd name="connsiteY899" fmla="*/ 615652 h 6757249"/>
              <a:gd name="connsiteX900" fmla="*/ 1496444 w 11951120"/>
              <a:gd name="connsiteY900" fmla="*/ 616861 h 6757249"/>
              <a:gd name="connsiteX901" fmla="*/ 1497935 w 11951120"/>
              <a:gd name="connsiteY901" fmla="*/ 616718 h 6757249"/>
              <a:gd name="connsiteX902" fmla="*/ 1495763 w 11951120"/>
              <a:gd name="connsiteY902" fmla="*/ 615652 h 6757249"/>
              <a:gd name="connsiteX903" fmla="*/ 2192448 w 11951120"/>
              <a:gd name="connsiteY903" fmla="*/ 541683 h 6757249"/>
              <a:gd name="connsiteX904" fmla="*/ 2192448 w 11951120"/>
              <a:gd name="connsiteY904" fmla="*/ 544863 h 6757249"/>
              <a:gd name="connsiteX905" fmla="*/ 2192535 w 11951120"/>
              <a:gd name="connsiteY905" fmla="*/ 545235 h 6757249"/>
              <a:gd name="connsiteX906" fmla="*/ 2195083 w 11951120"/>
              <a:gd name="connsiteY906" fmla="*/ 544316 h 6757249"/>
              <a:gd name="connsiteX907" fmla="*/ 5932207 w 11951120"/>
              <a:gd name="connsiteY907" fmla="*/ 526076 h 6757249"/>
              <a:gd name="connsiteX908" fmla="*/ 5931838 w 11951120"/>
              <a:gd name="connsiteY908" fmla="*/ 526420 h 6757249"/>
              <a:gd name="connsiteX909" fmla="*/ 5931838 w 11951120"/>
              <a:gd name="connsiteY909" fmla="*/ 540439 h 6757249"/>
              <a:gd name="connsiteX910" fmla="*/ 5932207 w 11951120"/>
              <a:gd name="connsiteY910" fmla="*/ 540439 h 6757249"/>
              <a:gd name="connsiteX911" fmla="*/ 9745508 w 11951120"/>
              <a:gd name="connsiteY911" fmla="*/ 522164 h 6757249"/>
              <a:gd name="connsiteX912" fmla="*/ 9741647 w 11951120"/>
              <a:gd name="connsiteY912" fmla="*/ 522814 h 6757249"/>
              <a:gd name="connsiteX913" fmla="*/ 9741691 w 11951120"/>
              <a:gd name="connsiteY913" fmla="*/ 523113 h 6757249"/>
              <a:gd name="connsiteX914" fmla="*/ 9741685 w 11951120"/>
              <a:gd name="connsiteY914" fmla="*/ 523117 h 6757249"/>
              <a:gd name="connsiteX915" fmla="*/ 9304253 w 11951120"/>
              <a:gd name="connsiteY915" fmla="*/ 520125 h 6757249"/>
              <a:gd name="connsiteX916" fmla="*/ 9301000 w 11951120"/>
              <a:gd name="connsiteY916" fmla="*/ 522351 h 6757249"/>
              <a:gd name="connsiteX917" fmla="*/ 9307186 w 11951120"/>
              <a:gd name="connsiteY917" fmla="*/ 523400 h 6757249"/>
              <a:gd name="connsiteX918" fmla="*/ 9308163 w 11951120"/>
              <a:gd name="connsiteY918" fmla="*/ 524394 h 6757249"/>
              <a:gd name="connsiteX919" fmla="*/ 9308080 w 11951120"/>
              <a:gd name="connsiteY919" fmla="*/ 523981 h 6757249"/>
              <a:gd name="connsiteX920" fmla="*/ 9544722 w 11951120"/>
              <a:gd name="connsiteY920" fmla="*/ 496953 h 6757249"/>
              <a:gd name="connsiteX921" fmla="*/ 9545149 w 11951120"/>
              <a:gd name="connsiteY921" fmla="*/ 497952 h 6757249"/>
              <a:gd name="connsiteX922" fmla="*/ 9545143 w 11951120"/>
              <a:gd name="connsiteY922" fmla="*/ 498056 h 6757249"/>
              <a:gd name="connsiteX923" fmla="*/ 9545357 w 11951120"/>
              <a:gd name="connsiteY923" fmla="*/ 497697 h 6757249"/>
              <a:gd name="connsiteX924" fmla="*/ 9545906 w 11951120"/>
              <a:gd name="connsiteY924" fmla="*/ 496975 h 6757249"/>
              <a:gd name="connsiteX925" fmla="*/ 1951575 w 11951120"/>
              <a:gd name="connsiteY925" fmla="*/ 469023 h 6757249"/>
              <a:gd name="connsiteX926" fmla="*/ 1945498 w 11951120"/>
              <a:gd name="connsiteY926" fmla="*/ 472065 h 6757249"/>
              <a:gd name="connsiteX927" fmla="*/ 1951425 w 11951120"/>
              <a:gd name="connsiteY927" fmla="*/ 472065 h 6757249"/>
              <a:gd name="connsiteX928" fmla="*/ 1951575 w 11951120"/>
              <a:gd name="connsiteY928" fmla="*/ 470312 h 6757249"/>
              <a:gd name="connsiteX929" fmla="*/ 1639882 w 11951120"/>
              <a:gd name="connsiteY929" fmla="*/ 464002 h 6757249"/>
              <a:gd name="connsiteX930" fmla="*/ 1634702 w 11951120"/>
              <a:gd name="connsiteY930" fmla="*/ 470839 h 6757249"/>
              <a:gd name="connsiteX931" fmla="*/ 1632009 w 11951120"/>
              <a:gd name="connsiteY931" fmla="*/ 478899 h 6757249"/>
              <a:gd name="connsiteX932" fmla="*/ 1638304 w 11951120"/>
              <a:gd name="connsiteY932" fmla="*/ 476087 h 6757249"/>
              <a:gd name="connsiteX933" fmla="*/ 1638304 w 11951120"/>
              <a:gd name="connsiteY933" fmla="*/ 478842 h 6757249"/>
              <a:gd name="connsiteX934" fmla="*/ 1639684 w 11951120"/>
              <a:gd name="connsiteY934" fmla="*/ 476310 h 6757249"/>
              <a:gd name="connsiteX935" fmla="*/ 1638762 w 11951120"/>
              <a:gd name="connsiteY935" fmla="*/ 475776 h 6757249"/>
              <a:gd name="connsiteX936" fmla="*/ 1638977 w 11951120"/>
              <a:gd name="connsiteY936" fmla="*/ 473513 h 6757249"/>
              <a:gd name="connsiteX937" fmla="*/ 1636046 w 11951120"/>
              <a:gd name="connsiteY937" fmla="*/ 470583 h 6757249"/>
              <a:gd name="connsiteX938" fmla="*/ 1639194 w 11951120"/>
              <a:gd name="connsiteY938" fmla="*/ 471233 h 6757249"/>
              <a:gd name="connsiteX939" fmla="*/ 8906130 w 11951120"/>
              <a:gd name="connsiteY939" fmla="*/ 451199 h 6757249"/>
              <a:gd name="connsiteX940" fmla="*/ 8899536 w 11951120"/>
              <a:gd name="connsiteY940" fmla="*/ 457671 h 6757249"/>
              <a:gd name="connsiteX941" fmla="*/ 8899495 w 11951120"/>
              <a:gd name="connsiteY941" fmla="*/ 458582 h 6757249"/>
              <a:gd name="connsiteX942" fmla="*/ 8903223 w 11951120"/>
              <a:gd name="connsiteY942" fmla="*/ 454339 h 6757249"/>
              <a:gd name="connsiteX943" fmla="*/ 8906657 w 11951120"/>
              <a:gd name="connsiteY943" fmla="*/ 451299 h 6757249"/>
              <a:gd name="connsiteX944" fmla="*/ 2501951 w 11951120"/>
              <a:gd name="connsiteY944" fmla="*/ 422681 h 6757249"/>
              <a:gd name="connsiteX945" fmla="*/ 2501804 w 11951120"/>
              <a:gd name="connsiteY945" fmla="*/ 423823 h 6757249"/>
              <a:gd name="connsiteX946" fmla="*/ 2502241 w 11951120"/>
              <a:gd name="connsiteY946" fmla="*/ 423382 h 6757249"/>
              <a:gd name="connsiteX947" fmla="*/ 2769832 w 11951120"/>
              <a:gd name="connsiteY947" fmla="*/ 421860 h 6757249"/>
              <a:gd name="connsiteX948" fmla="*/ 2769832 w 11951120"/>
              <a:gd name="connsiteY948" fmla="*/ 422078 h 6757249"/>
              <a:gd name="connsiteX949" fmla="*/ 2769457 w 11951120"/>
              <a:gd name="connsiteY949" fmla="*/ 422703 h 6757249"/>
              <a:gd name="connsiteX950" fmla="*/ 2769474 w 11951120"/>
              <a:gd name="connsiteY950" fmla="*/ 422698 h 6757249"/>
              <a:gd name="connsiteX951" fmla="*/ 2770453 w 11951120"/>
              <a:gd name="connsiteY951" fmla="*/ 422217 h 6757249"/>
              <a:gd name="connsiteX952" fmla="*/ 7208837 w 11951120"/>
              <a:gd name="connsiteY952" fmla="*/ 419290 h 6757249"/>
              <a:gd name="connsiteX953" fmla="*/ 7208019 w 11951120"/>
              <a:gd name="connsiteY953" fmla="*/ 419530 h 6757249"/>
              <a:gd name="connsiteX954" fmla="*/ 7211299 w 11951120"/>
              <a:gd name="connsiteY954" fmla="*/ 426193 h 6757249"/>
              <a:gd name="connsiteX955" fmla="*/ 7212024 w 11951120"/>
              <a:gd name="connsiteY955" fmla="*/ 422507 h 6757249"/>
              <a:gd name="connsiteX956" fmla="*/ 4260661 w 11951120"/>
              <a:gd name="connsiteY956" fmla="*/ 396172 h 6757249"/>
              <a:gd name="connsiteX957" fmla="*/ 4260661 w 11951120"/>
              <a:gd name="connsiteY957" fmla="*/ 404681 h 6757249"/>
              <a:gd name="connsiteX958" fmla="*/ 4272748 w 11951120"/>
              <a:gd name="connsiteY958" fmla="*/ 396973 h 6757249"/>
              <a:gd name="connsiteX959" fmla="*/ 2674514 w 11951120"/>
              <a:gd name="connsiteY959" fmla="*/ 391911 h 6757249"/>
              <a:gd name="connsiteX960" fmla="*/ 2673303 w 11951120"/>
              <a:gd name="connsiteY960" fmla="*/ 392733 h 6757249"/>
              <a:gd name="connsiteX961" fmla="*/ 2673303 w 11951120"/>
              <a:gd name="connsiteY961" fmla="*/ 398059 h 6757249"/>
              <a:gd name="connsiteX962" fmla="*/ 2674514 w 11951120"/>
              <a:gd name="connsiteY962" fmla="*/ 396942 h 6757249"/>
              <a:gd name="connsiteX963" fmla="*/ 6315958 w 11951120"/>
              <a:gd name="connsiteY963" fmla="*/ 375089 h 6757249"/>
              <a:gd name="connsiteX964" fmla="*/ 6315735 w 11951120"/>
              <a:gd name="connsiteY964" fmla="*/ 376471 h 6757249"/>
              <a:gd name="connsiteX965" fmla="*/ 6317034 w 11951120"/>
              <a:gd name="connsiteY965" fmla="*/ 375089 h 6757249"/>
              <a:gd name="connsiteX966" fmla="*/ 4311805 w 11951120"/>
              <a:gd name="connsiteY966" fmla="*/ 369570 h 6757249"/>
              <a:gd name="connsiteX967" fmla="*/ 4309189 w 11951120"/>
              <a:gd name="connsiteY967" fmla="*/ 373899 h 6757249"/>
              <a:gd name="connsiteX968" fmla="*/ 4308944 w 11951120"/>
              <a:gd name="connsiteY968" fmla="*/ 374196 h 6757249"/>
              <a:gd name="connsiteX969" fmla="*/ 4312742 w 11951120"/>
              <a:gd name="connsiteY969" fmla="*/ 374196 h 6757249"/>
              <a:gd name="connsiteX970" fmla="*/ 3007558 w 11951120"/>
              <a:gd name="connsiteY970" fmla="*/ 351560 h 6757249"/>
              <a:gd name="connsiteX971" fmla="*/ 3007104 w 11951120"/>
              <a:gd name="connsiteY971" fmla="*/ 352899 h 6757249"/>
              <a:gd name="connsiteX972" fmla="*/ 3009722 w 11951120"/>
              <a:gd name="connsiteY972" fmla="*/ 353558 h 6757249"/>
              <a:gd name="connsiteX973" fmla="*/ 5305835 w 11951120"/>
              <a:gd name="connsiteY973" fmla="*/ 351560 h 6757249"/>
              <a:gd name="connsiteX974" fmla="*/ 5305381 w 11951120"/>
              <a:gd name="connsiteY974" fmla="*/ 352899 h 6757249"/>
              <a:gd name="connsiteX975" fmla="*/ 5307999 w 11951120"/>
              <a:gd name="connsiteY975" fmla="*/ 353558 h 6757249"/>
              <a:gd name="connsiteX976" fmla="*/ 5752296 w 11951120"/>
              <a:gd name="connsiteY976" fmla="*/ 350600 h 6757249"/>
              <a:gd name="connsiteX977" fmla="*/ 5722911 w 11951120"/>
              <a:gd name="connsiteY977" fmla="*/ 355834 h 6757249"/>
              <a:gd name="connsiteX978" fmla="*/ 5692272 w 11951120"/>
              <a:gd name="connsiteY978" fmla="*/ 368872 h 6757249"/>
              <a:gd name="connsiteX979" fmla="*/ 5692255 w 11951120"/>
              <a:gd name="connsiteY979" fmla="*/ 368906 h 6757249"/>
              <a:gd name="connsiteX980" fmla="*/ 5665788 w 11951120"/>
              <a:gd name="connsiteY980" fmla="*/ 395353 h 6757249"/>
              <a:gd name="connsiteX981" fmla="*/ 5665511 w 11951120"/>
              <a:gd name="connsiteY981" fmla="*/ 396343 h 6757249"/>
              <a:gd name="connsiteX982" fmla="*/ 5672046 w 11951120"/>
              <a:gd name="connsiteY982" fmla="*/ 409139 h 6757249"/>
              <a:gd name="connsiteX983" fmla="*/ 5750479 w 11951120"/>
              <a:gd name="connsiteY983" fmla="*/ 373576 h 6757249"/>
              <a:gd name="connsiteX984" fmla="*/ 5750479 w 11951120"/>
              <a:gd name="connsiteY984" fmla="*/ 351575 h 6757249"/>
              <a:gd name="connsiteX985" fmla="*/ 3153124 w 11951120"/>
              <a:gd name="connsiteY985" fmla="*/ 342577 h 6757249"/>
              <a:gd name="connsiteX986" fmla="*/ 3152929 w 11951120"/>
              <a:gd name="connsiteY986" fmla="*/ 342726 h 6757249"/>
              <a:gd name="connsiteX987" fmla="*/ 3153091 w 11951120"/>
              <a:gd name="connsiteY987" fmla="*/ 342739 h 6757249"/>
              <a:gd name="connsiteX988" fmla="*/ 5451401 w 11951120"/>
              <a:gd name="connsiteY988" fmla="*/ 342577 h 6757249"/>
              <a:gd name="connsiteX989" fmla="*/ 5451206 w 11951120"/>
              <a:gd name="connsiteY989" fmla="*/ 342726 h 6757249"/>
              <a:gd name="connsiteX990" fmla="*/ 5451369 w 11951120"/>
              <a:gd name="connsiteY990" fmla="*/ 342739 h 6757249"/>
              <a:gd name="connsiteX991" fmla="*/ 4335495 w 11951120"/>
              <a:gd name="connsiteY991" fmla="*/ 325648 h 6757249"/>
              <a:gd name="connsiteX992" fmla="*/ 4335736 w 11951120"/>
              <a:gd name="connsiteY992" fmla="*/ 329953 h 6757249"/>
              <a:gd name="connsiteX993" fmla="*/ 4335259 w 11951120"/>
              <a:gd name="connsiteY993" fmla="*/ 330740 h 6757249"/>
              <a:gd name="connsiteX994" fmla="*/ 4336290 w 11951120"/>
              <a:gd name="connsiteY994" fmla="*/ 330088 h 6757249"/>
              <a:gd name="connsiteX995" fmla="*/ 4340427 w 11951120"/>
              <a:gd name="connsiteY995" fmla="*/ 327141 h 6757249"/>
              <a:gd name="connsiteX996" fmla="*/ 3084284 w 11951120"/>
              <a:gd name="connsiteY996" fmla="*/ 268278 h 6757249"/>
              <a:gd name="connsiteX997" fmla="*/ 3080467 w 11951120"/>
              <a:gd name="connsiteY997" fmla="*/ 276708 h 6757249"/>
              <a:gd name="connsiteX998" fmla="*/ 3082082 w 11951120"/>
              <a:gd name="connsiteY998" fmla="*/ 277742 h 6757249"/>
              <a:gd name="connsiteX999" fmla="*/ 3087164 w 11951120"/>
              <a:gd name="connsiteY999" fmla="*/ 277044 h 6757249"/>
              <a:gd name="connsiteX1000" fmla="*/ 5382561 w 11951120"/>
              <a:gd name="connsiteY1000" fmla="*/ 268278 h 6757249"/>
              <a:gd name="connsiteX1001" fmla="*/ 5378745 w 11951120"/>
              <a:gd name="connsiteY1001" fmla="*/ 276708 h 6757249"/>
              <a:gd name="connsiteX1002" fmla="*/ 5380359 w 11951120"/>
              <a:gd name="connsiteY1002" fmla="*/ 277742 h 6757249"/>
              <a:gd name="connsiteX1003" fmla="*/ 5385441 w 11951120"/>
              <a:gd name="connsiteY1003" fmla="*/ 277044 h 6757249"/>
              <a:gd name="connsiteX1004" fmla="*/ 2598226 w 11951120"/>
              <a:gd name="connsiteY1004" fmla="*/ 132875 h 6757249"/>
              <a:gd name="connsiteX1005" fmla="*/ 2646490 w 11951120"/>
              <a:gd name="connsiteY1005" fmla="*/ 132875 h 6757249"/>
              <a:gd name="connsiteX1006" fmla="*/ 2604808 w 11951120"/>
              <a:gd name="connsiteY1006" fmla="*/ 177536 h 6757249"/>
              <a:gd name="connsiteX1007" fmla="*/ 2558000 w 11951120"/>
              <a:gd name="connsiteY1007" fmla="*/ 198918 h 6757249"/>
              <a:gd name="connsiteX1008" fmla="*/ 2556218 w 11951120"/>
              <a:gd name="connsiteY1008" fmla="*/ 201980 h 6757249"/>
              <a:gd name="connsiteX1009" fmla="*/ 2551749 w 11951120"/>
              <a:gd name="connsiteY1009" fmla="*/ 203078 h 6757249"/>
              <a:gd name="connsiteX1010" fmla="*/ 2453433 w 11951120"/>
              <a:gd name="connsiteY1010" fmla="*/ 277667 h 6757249"/>
              <a:gd name="connsiteX1011" fmla="*/ 2453433 w 11951120"/>
              <a:gd name="connsiteY1011" fmla="*/ 229403 h 6757249"/>
              <a:gd name="connsiteX1012" fmla="*/ 2480247 w 11951120"/>
              <a:gd name="connsiteY1012" fmla="*/ 225015 h 6757249"/>
              <a:gd name="connsiteX1013" fmla="*/ 2549962 w 11951120"/>
              <a:gd name="connsiteY1013" fmla="*/ 182235 h 6757249"/>
              <a:gd name="connsiteX1014" fmla="*/ 2549962 w 11951120"/>
              <a:gd name="connsiteY1014" fmla="*/ 180803 h 6757249"/>
              <a:gd name="connsiteX1015" fmla="*/ 2598226 w 11951120"/>
              <a:gd name="connsiteY1015" fmla="*/ 132875 h 6757249"/>
              <a:gd name="connsiteX1016" fmla="*/ 4896503 w 11951120"/>
              <a:gd name="connsiteY1016" fmla="*/ 132875 h 6757249"/>
              <a:gd name="connsiteX1017" fmla="*/ 4944767 w 11951120"/>
              <a:gd name="connsiteY1017" fmla="*/ 132875 h 6757249"/>
              <a:gd name="connsiteX1018" fmla="*/ 4903085 w 11951120"/>
              <a:gd name="connsiteY1018" fmla="*/ 177536 h 6757249"/>
              <a:gd name="connsiteX1019" fmla="*/ 4856278 w 11951120"/>
              <a:gd name="connsiteY1019" fmla="*/ 198918 h 6757249"/>
              <a:gd name="connsiteX1020" fmla="*/ 4854496 w 11951120"/>
              <a:gd name="connsiteY1020" fmla="*/ 201980 h 6757249"/>
              <a:gd name="connsiteX1021" fmla="*/ 4850026 w 11951120"/>
              <a:gd name="connsiteY1021" fmla="*/ 203078 h 6757249"/>
              <a:gd name="connsiteX1022" fmla="*/ 4751710 w 11951120"/>
              <a:gd name="connsiteY1022" fmla="*/ 277667 h 6757249"/>
              <a:gd name="connsiteX1023" fmla="*/ 4751710 w 11951120"/>
              <a:gd name="connsiteY1023" fmla="*/ 229403 h 6757249"/>
              <a:gd name="connsiteX1024" fmla="*/ 4778524 w 11951120"/>
              <a:gd name="connsiteY1024" fmla="*/ 225015 h 6757249"/>
              <a:gd name="connsiteX1025" fmla="*/ 4848239 w 11951120"/>
              <a:gd name="connsiteY1025" fmla="*/ 182235 h 6757249"/>
              <a:gd name="connsiteX1026" fmla="*/ 4848239 w 11951120"/>
              <a:gd name="connsiteY1026" fmla="*/ 180803 h 6757249"/>
              <a:gd name="connsiteX1027" fmla="*/ 4896503 w 11951120"/>
              <a:gd name="connsiteY1027" fmla="*/ 132875 h 6757249"/>
              <a:gd name="connsiteX1028" fmla="*/ 5353337 w 11951120"/>
              <a:gd name="connsiteY1028" fmla="*/ 559 h 6757249"/>
              <a:gd name="connsiteX1029" fmla="*/ 5427409 w 11951120"/>
              <a:gd name="connsiteY1029" fmla="*/ 58209 h 6757249"/>
              <a:gd name="connsiteX1030" fmla="*/ 5427403 w 11951120"/>
              <a:gd name="connsiteY1030" fmla="*/ 58216 h 6757249"/>
              <a:gd name="connsiteX1031" fmla="*/ 5428481 w 11951120"/>
              <a:gd name="connsiteY1031" fmla="*/ 57797 h 6757249"/>
              <a:gd name="connsiteX1032" fmla="*/ 5357386 w 11951120"/>
              <a:gd name="connsiteY1032" fmla="*/ 133768 h 6757249"/>
              <a:gd name="connsiteX1033" fmla="*/ 5356690 w 11951120"/>
              <a:gd name="connsiteY1033" fmla="*/ 133069 h 6757249"/>
              <a:gd name="connsiteX1034" fmla="*/ 5350514 w 11951120"/>
              <a:gd name="connsiteY1034" fmla="*/ 159280 h 6757249"/>
              <a:gd name="connsiteX1035" fmla="*/ 5330939 w 11951120"/>
              <a:gd name="connsiteY1035" fmla="*/ 180322 h 6757249"/>
              <a:gd name="connsiteX1036" fmla="*/ 5329956 w 11951120"/>
              <a:gd name="connsiteY1036" fmla="*/ 181757 h 6757249"/>
              <a:gd name="connsiteX1037" fmla="*/ 5331552 w 11951120"/>
              <a:gd name="connsiteY1037" fmla="*/ 181139 h 6757249"/>
              <a:gd name="connsiteX1038" fmla="*/ 5357218 w 11951120"/>
              <a:gd name="connsiteY1038" fmla="*/ 224091 h 6757249"/>
              <a:gd name="connsiteX1039" fmla="*/ 5400595 w 11951120"/>
              <a:gd name="connsiteY1039" fmla="*/ 228446 h 6757249"/>
              <a:gd name="connsiteX1040" fmla="*/ 5399490 w 11951120"/>
              <a:gd name="connsiteY1040" fmla="*/ 230888 h 6757249"/>
              <a:gd name="connsiteX1041" fmla="*/ 5401532 w 11951120"/>
              <a:gd name="connsiteY1041" fmla="*/ 229074 h 6757249"/>
              <a:gd name="connsiteX1042" fmla="*/ 5633874 w 11951120"/>
              <a:gd name="connsiteY1042" fmla="*/ 84611 h 6757249"/>
              <a:gd name="connsiteX1043" fmla="*/ 5476057 w 11951120"/>
              <a:gd name="connsiteY1043" fmla="*/ 229074 h 6757249"/>
              <a:gd name="connsiteX1044" fmla="*/ 5475966 w 11951120"/>
              <a:gd name="connsiteY1044" fmla="*/ 229576 h 6757249"/>
              <a:gd name="connsiteX1045" fmla="*/ 5476078 w 11951120"/>
              <a:gd name="connsiteY1045" fmla="*/ 229403 h 6757249"/>
              <a:gd name="connsiteX1046" fmla="*/ 5497833 w 11951120"/>
              <a:gd name="connsiteY1046" fmla="*/ 229403 h 6757249"/>
              <a:gd name="connsiteX1047" fmla="*/ 5498885 w 11951120"/>
              <a:gd name="connsiteY1047" fmla="*/ 231871 h 6757249"/>
              <a:gd name="connsiteX1048" fmla="*/ 5499268 w 11951120"/>
              <a:gd name="connsiteY1048" fmla="*/ 229594 h 6757249"/>
              <a:gd name="connsiteX1049" fmla="*/ 5595789 w 11951120"/>
              <a:gd name="connsiteY1049" fmla="*/ 247964 h 6757249"/>
              <a:gd name="connsiteX1050" fmla="*/ 5595628 w 11951120"/>
              <a:gd name="connsiteY1050" fmla="*/ 276646 h 6757249"/>
              <a:gd name="connsiteX1051" fmla="*/ 5617197 w 11951120"/>
              <a:gd name="connsiteY1051" fmla="*/ 292185 h 6757249"/>
              <a:gd name="connsiteX1052" fmla="*/ 5654958 w 11951120"/>
              <a:gd name="connsiteY1052" fmla="*/ 297608 h 6757249"/>
              <a:gd name="connsiteX1053" fmla="*/ 5690806 w 11951120"/>
              <a:gd name="connsiteY1053" fmla="*/ 298353 h 6757249"/>
              <a:gd name="connsiteX1054" fmla="*/ 5712927 w 11951120"/>
              <a:gd name="connsiteY1054" fmla="*/ 282248 h 6757249"/>
              <a:gd name="connsiteX1055" fmla="*/ 5787820 w 11951120"/>
              <a:gd name="connsiteY1055" fmla="*/ 276636 h 6757249"/>
              <a:gd name="connsiteX1056" fmla="*/ 5793007 w 11951120"/>
              <a:gd name="connsiteY1056" fmla="*/ 318798 h 6757249"/>
              <a:gd name="connsiteX1057" fmla="*/ 5779707 w 11951120"/>
              <a:gd name="connsiteY1057" fmla="*/ 339343 h 6757249"/>
              <a:gd name="connsiteX1058" fmla="*/ 5798409 w 11951120"/>
              <a:gd name="connsiteY1058" fmla="*/ 347175 h 6757249"/>
              <a:gd name="connsiteX1059" fmla="*/ 5798409 w 11951120"/>
              <a:gd name="connsiteY1059" fmla="*/ 395577 h 6757249"/>
              <a:gd name="connsiteX1060" fmla="*/ 5799751 w 11951120"/>
              <a:gd name="connsiteY1060" fmla="*/ 400543 h 6757249"/>
              <a:gd name="connsiteX1061" fmla="*/ 5799751 w 11951120"/>
              <a:gd name="connsiteY1061" fmla="*/ 395263 h 6757249"/>
              <a:gd name="connsiteX1062" fmla="*/ 5896662 w 11951120"/>
              <a:gd name="connsiteY1062" fmla="*/ 368833 h 6757249"/>
              <a:gd name="connsiteX1063" fmla="*/ 5896846 w 11951120"/>
              <a:gd name="connsiteY1063" fmla="*/ 369355 h 6757249"/>
              <a:gd name="connsiteX1064" fmla="*/ 5932028 w 11951120"/>
              <a:gd name="connsiteY1064" fmla="*/ 339339 h 6757249"/>
              <a:gd name="connsiteX1065" fmla="*/ 5939291 w 11951120"/>
              <a:gd name="connsiteY1065" fmla="*/ 393261 h 6757249"/>
              <a:gd name="connsiteX1066" fmla="*/ 5923950 w 11951120"/>
              <a:gd name="connsiteY1066" fmla="*/ 441230 h 6757249"/>
              <a:gd name="connsiteX1067" fmla="*/ 5926783 w 11951120"/>
              <a:gd name="connsiteY1067" fmla="*/ 441230 h 6757249"/>
              <a:gd name="connsiteX1068" fmla="*/ 5931129 w 11951120"/>
              <a:gd name="connsiteY1068" fmla="*/ 445470 h 6757249"/>
              <a:gd name="connsiteX1069" fmla="*/ 5928820 w 11951120"/>
              <a:gd name="connsiteY1069" fmla="*/ 439523 h 6757249"/>
              <a:gd name="connsiteX1070" fmla="*/ 5946947 w 11951120"/>
              <a:gd name="connsiteY1070" fmla="*/ 409358 h 6757249"/>
              <a:gd name="connsiteX1071" fmla="*/ 5979842 w 11951120"/>
              <a:gd name="connsiteY1071" fmla="*/ 396324 h 6757249"/>
              <a:gd name="connsiteX1072" fmla="*/ 5979766 w 11951120"/>
              <a:gd name="connsiteY1072" fmla="*/ 396071 h 6757249"/>
              <a:gd name="connsiteX1073" fmla="*/ 6005983 w 11951120"/>
              <a:gd name="connsiteY1073" fmla="*/ 374196 h 6757249"/>
              <a:gd name="connsiteX1074" fmla="*/ 6097745 w 11951120"/>
              <a:gd name="connsiteY1074" fmla="*/ 396071 h 6757249"/>
              <a:gd name="connsiteX1075" fmla="*/ 6097745 w 11951120"/>
              <a:gd name="connsiteY1075" fmla="*/ 407260 h 6757249"/>
              <a:gd name="connsiteX1076" fmla="*/ 6098559 w 11951120"/>
              <a:gd name="connsiteY1076" fmla="*/ 406000 h 6757249"/>
              <a:gd name="connsiteX1077" fmla="*/ 6098559 w 11951120"/>
              <a:gd name="connsiteY1077" fmla="*/ 395539 h 6757249"/>
              <a:gd name="connsiteX1078" fmla="*/ 6124709 w 11951120"/>
              <a:gd name="connsiteY1078" fmla="*/ 347952 h 6757249"/>
              <a:gd name="connsiteX1079" fmla="*/ 6124559 w 11951120"/>
              <a:gd name="connsiteY1079" fmla="*/ 347871 h 6757249"/>
              <a:gd name="connsiteX1080" fmla="*/ 6124987 w 11951120"/>
              <a:gd name="connsiteY1080" fmla="*/ 347443 h 6757249"/>
              <a:gd name="connsiteX1081" fmla="*/ 6125139 w 11951120"/>
              <a:gd name="connsiteY1081" fmla="*/ 347166 h 6757249"/>
              <a:gd name="connsiteX1082" fmla="*/ 6125269 w 11951120"/>
              <a:gd name="connsiteY1082" fmla="*/ 347165 h 6757249"/>
              <a:gd name="connsiteX1083" fmla="*/ 6146680 w 11951120"/>
              <a:gd name="connsiteY1083" fmla="*/ 325932 h 6757249"/>
              <a:gd name="connsiteX1084" fmla="*/ 6146999 w 11951120"/>
              <a:gd name="connsiteY1084" fmla="*/ 325932 h 6757249"/>
              <a:gd name="connsiteX1085" fmla="*/ 6146009 w 11951120"/>
              <a:gd name="connsiteY1085" fmla="*/ 325232 h 6757249"/>
              <a:gd name="connsiteX1086" fmla="*/ 6269351 w 11951120"/>
              <a:gd name="connsiteY1086" fmla="*/ 254352 h 6757249"/>
              <a:gd name="connsiteX1087" fmla="*/ 6269351 w 11951120"/>
              <a:gd name="connsiteY1087" fmla="*/ 260531 h 6757249"/>
              <a:gd name="connsiteX1088" fmla="*/ 6270080 w 11951120"/>
              <a:gd name="connsiteY1088" fmla="*/ 255323 h 6757249"/>
              <a:gd name="connsiteX1089" fmla="*/ 6340284 w 11951120"/>
              <a:gd name="connsiteY1089" fmla="*/ 197227 h 6757249"/>
              <a:gd name="connsiteX1090" fmla="*/ 6340409 w 11951120"/>
              <a:gd name="connsiteY1090" fmla="*/ 197322 h 6757249"/>
              <a:gd name="connsiteX1091" fmla="*/ 6365315 w 11951120"/>
              <a:gd name="connsiteY1091" fmla="*/ 176506 h 6757249"/>
              <a:gd name="connsiteX1092" fmla="*/ 6366459 w 11951120"/>
              <a:gd name="connsiteY1092" fmla="*/ 176645 h 6757249"/>
              <a:gd name="connsiteX1093" fmla="*/ 6414250 w 11951120"/>
              <a:gd name="connsiteY1093" fmla="*/ 132875 h 6757249"/>
              <a:gd name="connsiteX1094" fmla="*/ 6436238 w 11951120"/>
              <a:gd name="connsiteY1094" fmla="*/ 203755 h 6757249"/>
              <a:gd name="connsiteX1095" fmla="*/ 6436263 w 11951120"/>
              <a:gd name="connsiteY1095" fmla="*/ 204809 h 6757249"/>
              <a:gd name="connsiteX1096" fmla="*/ 6437543 w 11951120"/>
              <a:gd name="connsiteY1096" fmla="*/ 203260 h 6757249"/>
              <a:gd name="connsiteX1097" fmla="*/ 6529452 w 11951120"/>
              <a:gd name="connsiteY1097" fmla="*/ 181195 h 6757249"/>
              <a:gd name="connsiteX1098" fmla="*/ 6529440 w 11951120"/>
              <a:gd name="connsiteY1098" fmla="*/ 181139 h 6757249"/>
              <a:gd name="connsiteX1099" fmla="*/ 6563459 w 11951120"/>
              <a:gd name="connsiteY1099" fmla="*/ 150036 h 6757249"/>
              <a:gd name="connsiteX1100" fmla="*/ 6606136 w 11951120"/>
              <a:gd name="connsiteY1100" fmla="*/ 151081 h 6757249"/>
              <a:gd name="connsiteX1101" fmla="*/ 6607288 w 11951120"/>
              <a:gd name="connsiteY1101" fmla="*/ 150353 h 6757249"/>
              <a:gd name="connsiteX1102" fmla="*/ 6655465 w 11951120"/>
              <a:gd name="connsiteY1102" fmla="*/ 180940 h 6757249"/>
              <a:gd name="connsiteX1103" fmla="*/ 6655196 w 11951120"/>
              <a:gd name="connsiteY1103" fmla="*/ 181208 h 6757249"/>
              <a:gd name="connsiteX1104" fmla="*/ 6655799 w 11951120"/>
              <a:gd name="connsiteY1104" fmla="*/ 181197 h 6757249"/>
              <a:gd name="connsiteX1105" fmla="*/ 6725514 w 11951120"/>
              <a:gd name="connsiteY1105" fmla="*/ 132875 h 6757249"/>
              <a:gd name="connsiteX1106" fmla="*/ 6799585 w 11951120"/>
              <a:gd name="connsiteY1106" fmla="*/ 229518 h 6757249"/>
              <a:gd name="connsiteX1107" fmla="*/ 6799293 w 11951120"/>
              <a:gd name="connsiteY1107" fmla="*/ 230405 h 6757249"/>
              <a:gd name="connsiteX1108" fmla="*/ 6800592 w 11951120"/>
              <a:gd name="connsiteY1108" fmla="*/ 229087 h 6757249"/>
              <a:gd name="connsiteX1109" fmla="*/ 6861593 w 11951120"/>
              <a:gd name="connsiteY1109" fmla="*/ 277667 h 6757249"/>
              <a:gd name="connsiteX1110" fmla="*/ 6918236 w 11951120"/>
              <a:gd name="connsiteY1110" fmla="*/ 326248 h 6757249"/>
              <a:gd name="connsiteX1111" fmla="*/ 6917922 w 11951120"/>
              <a:gd name="connsiteY1111" fmla="*/ 326536 h 6757249"/>
              <a:gd name="connsiteX1112" fmla="*/ 6918846 w 11951120"/>
              <a:gd name="connsiteY1112" fmla="*/ 326170 h 6757249"/>
              <a:gd name="connsiteX1113" fmla="*/ 6971387 w 11951120"/>
              <a:gd name="connsiteY1113" fmla="*/ 282076 h 6757249"/>
              <a:gd name="connsiteX1114" fmla="*/ 7076058 w 11951120"/>
              <a:gd name="connsiteY1114" fmla="*/ 295718 h 6757249"/>
              <a:gd name="connsiteX1115" fmla="*/ 7111332 w 11951120"/>
              <a:gd name="connsiteY1115" fmla="*/ 277750 h 6757249"/>
              <a:gd name="connsiteX1116" fmla="*/ 7111293 w 11951120"/>
              <a:gd name="connsiteY1116" fmla="*/ 277725 h 6757249"/>
              <a:gd name="connsiteX1117" fmla="*/ 7207821 w 11951120"/>
              <a:gd name="connsiteY1117" fmla="*/ 229403 h 6757249"/>
              <a:gd name="connsiteX1118" fmla="*/ 7209115 w 11951120"/>
              <a:gd name="connsiteY1118" fmla="*/ 231570 h 6757249"/>
              <a:gd name="connsiteX1119" fmla="*/ 7209250 w 11951120"/>
              <a:gd name="connsiteY1119" fmla="*/ 229224 h 6757249"/>
              <a:gd name="connsiteX1120" fmla="*/ 7269415 w 11951120"/>
              <a:gd name="connsiteY1120" fmla="*/ 284593 h 6757249"/>
              <a:gd name="connsiteX1121" fmla="*/ 7266779 w 11951120"/>
              <a:gd name="connsiteY1121" fmla="*/ 308716 h 6757249"/>
              <a:gd name="connsiteX1122" fmla="*/ 7274524 w 11951120"/>
              <a:gd name="connsiteY1122" fmla="*/ 305763 h 6757249"/>
              <a:gd name="connsiteX1123" fmla="*/ 7319256 w 11951120"/>
              <a:gd name="connsiteY1123" fmla="*/ 299949 h 6757249"/>
              <a:gd name="connsiteX1124" fmla="*/ 7348573 w 11951120"/>
              <a:gd name="connsiteY1124" fmla="*/ 299424 h 6757249"/>
              <a:gd name="connsiteX1125" fmla="*/ 7369038 w 11951120"/>
              <a:gd name="connsiteY1125" fmla="*/ 285711 h 6757249"/>
              <a:gd name="connsiteX1126" fmla="*/ 7371216 w 11951120"/>
              <a:gd name="connsiteY1126" fmla="*/ 332791 h 6757249"/>
              <a:gd name="connsiteX1127" fmla="*/ 7373278 w 11951120"/>
              <a:gd name="connsiteY1127" fmla="*/ 371133 h 6757249"/>
              <a:gd name="connsiteX1128" fmla="*/ 7382262 w 11951120"/>
              <a:gd name="connsiteY1128" fmla="*/ 367839 h 6757249"/>
              <a:gd name="connsiteX1129" fmla="*/ 7400108 w 11951120"/>
              <a:gd name="connsiteY1129" fmla="*/ 353123 h 6757249"/>
              <a:gd name="connsiteX1130" fmla="*/ 7399804 w 11951120"/>
              <a:gd name="connsiteY1130" fmla="*/ 351566 h 6757249"/>
              <a:gd name="connsiteX1131" fmla="*/ 7465285 w 11951120"/>
              <a:gd name="connsiteY1131" fmla="*/ 309996 h 6757249"/>
              <a:gd name="connsiteX1132" fmla="*/ 7479974 w 11951120"/>
              <a:gd name="connsiteY1132" fmla="*/ 322345 h 6757249"/>
              <a:gd name="connsiteX1133" fmla="*/ 7481203 w 11951120"/>
              <a:gd name="connsiteY1133" fmla="*/ 327908 h 6757249"/>
              <a:gd name="connsiteX1134" fmla="*/ 7489079 w 11951120"/>
              <a:gd name="connsiteY1134" fmla="*/ 332213 h 6757249"/>
              <a:gd name="connsiteX1135" fmla="*/ 7509343 w 11951120"/>
              <a:gd name="connsiteY1135" fmla="*/ 348870 h 6757249"/>
              <a:gd name="connsiteX1136" fmla="*/ 7515578 w 11951120"/>
              <a:gd name="connsiteY1136" fmla="*/ 381507 h 6757249"/>
              <a:gd name="connsiteX1137" fmla="*/ 7532307 w 11951120"/>
              <a:gd name="connsiteY1137" fmla="*/ 408600 h 6757249"/>
              <a:gd name="connsiteX1138" fmla="*/ 7540308 w 11951120"/>
              <a:gd name="connsiteY1138" fmla="*/ 402744 h 6757249"/>
              <a:gd name="connsiteX1139" fmla="*/ 7620748 w 11951120"/>
              <a:gd name="connsiteY1139" fmla="*/ 418021 h 6757249"/>
              <a:gd name="connsiteX1140" fmla="*/ 7620228 w 11951120"/>
              <a:gd name="connsiteY1140" fmla="*/ 418780 h 6757249"/>
              <a:gd name="connsiteX1141" fmla="*/ 7667482 w 11951120"/>
              <a:gd name="connsiteY1141" fmla="*/ 418780 h 6757249"/>
              <a:gd name="connsiteX1142" fmla="*/ 7668025 w 11951120"/>
              <a:gd name="connsiteY1142" fmla="*/ 418231 h 6757249"/>
              <a:gd name="connsiteX1143" fmla="*/ 7707398 w 11951120"/>
              <a:gd name="connsiteY1143" fmla="*/ 338409 h 6757249"/>
              <a:gd name="connsiteX1144" fmla="*/ 7735834 w 11951120"/>
              <a:gd name="connsiteY1144" fmla="*/ 357257 h 6757249"/>
              <a:gd name="connsiteX1145" fmla="*/ 7738018 w 11951120"/>
              <a:gd name="connsiteY1145" fmla="*/ 395976 h 6757249"/>
              <a:gd name="connsiteX1146" fmla="*/ 7738961 w 11951120"/>
              <a:gd name="connsiteY1146" fmla="*/ 395647 h 6757249"/>
              <a:gd name="connsiteX1147" fmla="*/ 7765541 w 11951120"/>
              <a:gd name="connsiteY1147" fmla="*/ 448201 h 6757249"/>
              <a:gd name="connsiteX1148" fmla="*/ 7763702 w 11951120"/>
              <a:gd name="connsiteY1148" fmla="*/ 449503 h 6757249"/>
              <a:gd name="connsiteX1149" fmla="*/ 7764725 w 11951120"/>
              <a:gd name="connsiteY1149" fmla="*/ 449334 h 6757249"/>
              <a:gd name="connsiteX1150" fmla="*/ 7786681 w 11951120"/>
              <a:gd name="connsiteY1150" fmla="*/ 449334 h 6757249"/>
              <a:gd name="connsiteX1151" fmla="*/ 7843767 w 11951120"/>
              <a:gd name="connsiteY1151" fmla="*/ 462430 h 6757249"/>
              <a:gd name="connsiteX1152" fmla="*/ 7846066 w 11951120"/>
              <a:gd name="connsiteY1152" fmla="*/ 465478 h 6757249"/>
              <a:gd name="connsiteX1153" fmla="*/ 8048757 w 11951120"/>
              <a:gd name="connsiteY1153" fmla="*/ 373576 h 6757249"/>
              <a:gd name="connsiteX1154" fmla="*/ 8048757 w 11951120"/>
              <a:gd name="connsiteY1154" fmla="*/ 351575 h 6757249"/>
              <a:gd name="connsiteX1155" fmla="*/ 8074356 w 11951120"/>
              <a:gd name="connsiteY1155" fmla="*/ 337824 h 6757249"/>
              <a:gd name="connsiteX1156" fmla="*/ 8096687 w 11951120"/>
              <a:gd name="connsiteY1156" fmla="*/ 347175 h 6757249"/>
              <a:gd name="connsiteX1157" fmla="*/ 8096687 w 11951120"/>
              <a:gd name="connsiteY1157" fmla="*/ 395577 h 6757249"/>
              <a:gd name="connsiteX1158" fmla="*/ 8098028 w 11951120"/>
              <a:gd name="connsiteY1158" fmla="*/ 400543 h 6757249"/>
              <a:gd name="connsiteX1159" fmla="*/ 8098028 w 11951120"/>
              <a:gd name="connsiteY1159" fmla="*/ 395263 h 6757249"/>
              <a:gd name="connsiteX1160" fmla="*/ 8178991 w 11951120"/>
              <a:gd name="connsiteY1160" fmla="*/ 373183 h 6757249"/>
              <a:gd name="connsiteX1161" fmla="*/ 8183265 w 11951120"/>
              <a:gd name="connsiteY1161" fmla="*/ 368833 h 6757249"/>
              <a:gd name="connsiteX1162" fmla="*/ 8186459 w 11951120"/>
              <a:gd name="connsiteY1162" fmla="*/ 371146 h 6757249"/>
              <a:gd name="connsiteX1163" fmla="*/ 8194940 w 11951120"/>
              <a:gd name="connsiteY1163" fmla="*/ 368833 h 6757249"/>
              <a:gd name="connsiteX1164" fmla="*/ 8195124 w 11951120"/>
              <a:gd name="connsiteY1164" fmla="*/ 369355 h 6757249"/>
              <a:gd name="connsiteX1165" fmla="*/ 8230306 w 11951120"/>
              <a:gd name="connsiteY1165" fmla="*/ 339339 h 6757249"/>
              <a:gd name="connsiteX1166" fmla="*/ 8237569 w 11951120"/>
              <a:gd name="connsiteY1166" fmla="*/ 393261 h 6757249"/>
              <a:gd name="connsiteX1167" fmla="*/ 8231321 w 11951120"/>
              <a:gd name="connsiteY1167" fmla="*/ 412796 h 6757249"/>
              <a:gd name="connsiteX1168" fmla="*/ 8242801 w 11951120"/>
              <a:gd name="connsiteY1168" fmla="*/ 432204 h 6757249"/>
              <a:gd name="connsiteX1169" fmla="*/ 8253081 w 11951120"/>
              <a:gd name="connsiteY1169" fmla="*/ 514806 h 6757249"/>
              <a:gd name="connsiteX1170" fmla="*/ 8254011 w 11951120"/>
              <a:gd name="connsiteY1170" fmla="*/ 514997 h 6757249"/>
              <a:gd name="connsiteX1171" fmla="*/ 8268851 w 11951120"/>
              <a:gd name="connsiteY1171" fmla="*/ 535156 h 6757249"/>
              <a:gd name="connsiteX1172" fmla="*/ 8279822 w 11951120"/>
              <a:gd name="connsiteY1172" fmla="*/ 518120 h 6757249"/>
              <a:gd name="connsiteX1173" fmla="*/ 8316235 w 11951120"/>
              <a:gd name="connsiteY1173" fmla="*/ 500678 h 6757249"/>
              <a:gd name="connsiteX1174" fmla="*/ 8324574 w 11951120"/>
              <a:gd name="connsiteY1174" fmla="*/ 483696 h 6757249"/>
              <a:gd name="connsiteX1175" fmla="*/ 8344435 w 11951120"/>
              <a:gd name="connsiteY1175" fmla="*/ 468929 h 6757249"/>
              <a:gd name="connsiteX1176" fmla="*/ 8353809 w 11951120"/>
              <a:gd name="connsiteY1176" fmla="*/ 448033 h 6757249"/>
              <a:gd name="connsiteX1177" fmla="*/ 8386846 w 11951120"/>
              <a:gd name="connsiteY1177" fmla="*/ 417098 h 6757249"/>
              <a:gd name="connsiteX1178" fmla="*/ 8388694 w 11951120"/>
              <a:gd name="connsiteY1178" fmla="*/ 418604 h 6757249"/>
              <a:gd name="connsiteX1179" fmla="*/ 8421292 w 11951120"/>
              <a:gd name="connsiteY1179" fmla="*/ 368147 h 6757249"/>
              <a:gd name="connsiteX1180" fmla="*/ 8468550 w 11951120"/>
              <a:gd name="connsiteY1180" fmla="*/ 351838 h 6757249"/>
              <a:gd name="connsiteX1181" fmla="*/ 8505926 w 11951120"/>
              <a:gd name="connsiteY1181" fmla="*/ 366474 h 6757249"/>
              <a:gd name="connsiteX1182" fmla="*/ 8501569 w 11951120"/>
              <a:gd name="connsiteY1182" fmla="*/ 485203 h 6757249"/>
              <a:gd name="connsiteX1183" fmla="*/ 8462500 w 11951120"/>
              <a:gd name="connsiteY1183" fmla="*/ 542160 h 6757249"/>
              <a:gd name="connsiteX1184" fmla="*/ 8487019 w 11951120"/>
              <a:gd name="connsiteY1184" fmla="*/ 567033 h 6757249"/>
              <a:gd name="connsiteX1185" fmla="*/ 8488254 w 11951120"/>
              <a:gd name="connsiteY1185" fmla="*/ 568156 h 6757249"/>
              <a:gd name="connsiteX1186" fmla="*/ 8488251 w 11951120"/>
              <a:gd name="connsiteY1186" fmla="*/ 568148 h 6757249"/>
              <a:gd name="connsiteX1187" fmla="*/ 8522741 w 11951120"/>
              <a:gd name="connsiteY1187" fmla="*/ 515712 h 6757249"/>
              <a:gd name="connsiteX1188" fmla="*/ 8579540 w 11951120"/>
              <a:gd name="connsiteY1188" fmla="*/ 489805 h 6757249"/>
              <a:gd name="connsiteX1189" fmla="*/ 8579774 w 11951120"/>
              <a:gd name="connsiteY1189" fmla="*/ 488275 h 6757249"/>
              <a:gd name="connsiteX1190" fmla="*/ 8606588 w 11951120"/>
              <a:gd name="connsiteY1190" fmla="*/ 470724 h 6757249"/>
              <a:gd name="connsiteX1191" fmla="*/ 8606699 w 11951120"/>
              <a:gd name="connsiteY1191" fmla="*/ 471184 h 6757249"/>
              <a:gd name="connsiteX1192" fmla="*/ 8606995 w 11951120"/>
              <a:gd name="connsiteY1192" fmla="*/ 470409 h 6757249"/>
              <a:gd name="connsiteX1193" fmla="*/ 8606995 w 11951120"/>
              <a:gd name="connsiteY1193" fmla="*/ 444497 h 6757249"/>
              <a:gd name="connsiteX1194" fmla="*/ 8580670 w 11951120"/>
              <a:gd name="connsiteY1194" fmla="*/ 444497 h 6757249"/>
              <a:gd name="connsiteX1195" fmla="*/ 8642097 w 11951120"/>
              <a:gd name="connsiteY1195" fmla="*/ 422293 h 6757249"/>
              <a:gd name="connsiteX1196" fmla="*/ 8685424 w 11951120"/>
              <a:gd name="connsiteY1196" fmla="*/ 437281 h 6757249"/>
              <a:gd name="connsiteX1197" fmla="*/ 8723665 w 11951120"/>
              <a:gd name="connsiteY1197" fmla="*/ 422965 h 6757249"/>
              <a:gd name="connsiteX1198" fmla="*/ 8723518 w 11951120"/>
              <a:gd name="connsiteY1198" fmla="*/ 421889 h 6757249"/>
              <a:gd name="connsiteX1199" fmla="*/ 8723518 w 11951120"/>
              <a:gd name="connsiteY1199" fmla="*/ 395532 h 6757249"/>
              <a:gd name="connsiteX1200" fmla="*/ 8850863 w 11951120"/>
              <a:gd name="connsiteY1200" fmla="*/ 364781 h 6757249"/>
              <a:gd name="connsiteX1201" fmla="*/ 8951861 w 11951120"/>
              <a:gd name="connsiteY1201" fmla="*/ 314813 h 6757249"/>
              <a:gd name="connsiteX1202" fmla="*/ 9013338 w 11951120"/>
              <a:gd name="connsiteY1202" fmla="*/ 399925 h 6757249"/>
              <a:gd name="connsiteX1203" fmla="*/ 9013117 w 11951120"/>
              <a:gd name="connsiteY1203" fmla="*/ 401692 h 6757249"/>
              <a:gd name="connsiteX1204" fmla="*/ 9013833 w 11951120"/>
              <a:gd name="connsiteY1204" fmla="*/ 401269 h 6757249"/>
              <a:gd name="connsiteX1205" fmla="*/ 9084257 w 11951120"/>
              <a:gd name="connsiteY1205" fmla="*/ 352745 h 6757249"/>
              <a:gd name="connsiteX1206" fmla="*/ 9086169 w 11951120"/>
              <a:gd name="connsiteY1206" fmla="*/ 354108 h 6757249"/>
              <a:gd name="connsiteX1207" fmla="*/ 9084762 w 11951120"/>
              <a:gd name="connsiteY1207" fmla="*/ 351404 h 6757249"/>
              <a:gd name="connsiteX1208" fmla="*/ 9154759 w 11951120"/>
              <a:gd name="connsiteY1208" fmla="*/ 360214 h 6757249"/>
              <a:gd name="connsiteX1209" fmla="*/ 9160229 w 11951120"/>
              <a:gd name="connsiteY1209" fmla="*/ 403715 h 6757249"/>
              <a:gd name="connsiteX1210" fmla="*/ 9133353 w 11951120"/>
              <a:gd name="connsiteY1210" fmla="*/ 443224 h 6757249"/>
              <a:gd name="connsiteX1211" fmla="*/ 9133109 w 11951120"/>
              <a:gd name="connsiteY1211" fmla="*/ 443999 h 6757249"/>
              <a:gd name="connsiteX1212" fmla="*/ 9133270 w 11951120"/>
              <a:gd name="connsiteY1212" fmla="*/ 443911 h 6757249"/>
              <a:gd name="connsiteX1213" fmla="*/ 9159595 w 11951120"/>
              <a:gd name="connsiteY1213" fmla="*/ 492312 h 6757249"/>
              <a:gd name="connsiteX1214" fmla="*/ 9160791 w 11951120"/>
              <a:gd name="connsiteY1214" fmla="*/ 491913 h 6757249"/>
              <a:gd name="connsiteX1215" fmla="*/ 9189405 w 11951120"/>
              <a:gd name="connsiteY1215" fmla="*/ 449934 h 6757249"/>
              <a:gd name="connsiteX1216" fmla="*/ 9302398 w 11951120"/>
              <a:gd name="connsiteY1216" fmla="*/ 471137 h 6757249"/>
              <a:gd name="connsiteX1217" fmla="*/ 9303161 w 11951120"/>
              <a:gd name="connsiteY1217" fmla="*/ 475062 h 6757249"/>
              <a:gd name="connsiteX1218" fmla="*/ 9303685 w 11951120"/>
              <a:gd name="connsiteY1218" fmla="*/ 469876 h 6757249"/>
              <a:gd name="connsiteX1219" fmla="*/ 9374348 w 11951120"/>
              <a:gd name="connsiteY1219" fmla="*/ 469876 h 6757249"/>
              <a:gd name="connsiteX1220" fmla="*/ 9372594 w 11951120"/>
              <a:gd name="connsiteY1220" fmla="*/ 471319 h 6757249"/>
              <a:gd name="connsiteX1221" fmla="*/ 9374155 w 11951120"/>
              <a:gd name="connsiteY1221" fmla="*/ 470724 h 6757249"/>
              <a:gd name="connsiteX1222" fmla="*/ 9400070 w 11951120"/>
              <a:gd name="connsiteY1222" fmla="*/ 470724 h 6757249"/>
              <a:gd name="connsiteX1223" fmla="*/ 9400110 w 11951120"/>
              <a:gd name="connsiteY1223" fmla="*/ 470265 h 6757249"/>
              <a:gd name="connsiteX1224" fmla="*/ 9422260 w 11951120"/>
              <a:gd name="connsiteY1224" fmla="*/ 374196 h 6757249"/>
              <a:gd name="connsiteX1225" fmla="*/ 9470991 w 11951120"/>
              <a:gd name="connsiteY1225" fmla="*/ 448431 h 6757249"/>
              <a:gd name="connsiteX1226" fmla="*/ 9471308 w 11951120"/>
              <a:gd name="connsiteY1226" fmla="*/ 448796 h 6757249"/>
              <a:gd name="connsiteX1227" fmla="*/ 9516963 w 11951120"/>
              <a:gd name="connsiteY1227" fmla="*/ 436317 h 6757249"/>
              <a:gd name="connsiteX1228" fmla="*/ 9517179 w 11951120"/>
              <a:gd name="connsiteY1228" fmla="*/ 435101 h 6757249"/>
              <a:gd name="connsiteX1229" fmla="*/ 9512745 w 11951120"/>
              <a:gd name="connsiteY1229" fmla="*/ 430696 h 6757249"/>
              <a:gd name="connsiteX1230" fmla="*/ 9513609 w 11951120"/>
              <a:gd name="connsiteY1230" fmla="*/ 429392 h 6757249"/>
              <a:gd name="connsiteX1231" fmla="*/ 9497228 w 11951120"/>
              <a:gd name="connsiteY1231" fmla="*/ 393245 h 6757249"/>
              <a:gd name="connsiteX1232" fmla="*/ 9496701 w 11951120"/>
              <a:gd name="connsiteY1232" fmla="*/ 354079 h 6757249"/>
              <a:gd name="connsiteX1233" fmla="*/ 9495007 w 11951120"/>
              <a:gd name="connsiteY1233" fmla="*/ 352279 h 6757249"/>
              <a:gd name="connsiteX1234" fmla="*/ 9663933 w 11951120"/>
              <a:gd name="connsiteY1234" fmla="*/ 299118 h 6757249"/>
              <a:gd name="connsiteX1235" fmla="*/ 9663933 w 11951120"/>
              <a:gd name="connsiteY1235" fmla="*/ 373777 h 6757249"/>
              <a:gd name="connsiteX1236" fmla="*/ 9664159 w 11951120"/>
              <a:gd name="connsiteY1236" fmla="*/ 373845 h 6757249"/>
              <a:gd name="connsiteX1237" fmla="*/ 9720199 w 11951120"/>
              <a:gd name="connsiteY1237" fmla="*/ 353296 h 6757249"/>
              <a:gd name="connsiteX1238" fmla="*/ 9720871 w 11951120"/>
              <a:gd name="connsiteY1238" fmla="*/ 344501 h 6757249"/>
              <a:gd name="connsiteX1239" fmla="*/ 9765873 w 11951120"/>
              <a:gd name="connsiteY1239" fmla="*/ 320469 h 6757249"/>
              <a:gd name="connsiteX1240" fmla="*/ 9807621 w 11951120"/>
              <a:gd name="connsiteY1240" fmla="*/ 348870 h 6757249"/>
              <a:gd name="connsiteX1241" fmla="*/ 9831478 w 11951120"/>
              <a:gd name="connsiteY1241" fmla="*/ 410046 h 6757249"/>
              <a:gd name="connsiteX1242" fmla="*/ 9854817 w 11951120"/>
              <a:gd name="connsiteY1242" fmla="*/ 469898 h 6757249"/>
              <a:gd name="connsiteX1243" fmla="*/ 9855648 w 11951120"/>
              <a:gd name="connsiteY1243" fmla="*/ 469767 h 6757249"/>
              <a:gd name="connsiteX1244" fmla="*/ 9855648 w 11951120"/>
              <a:gd name="connsiteY1244" fmla="*/ 491792 h 6757249"/>
              <a:gd name="connsiteX1245" fmla="*/ 9857683 w 11951120"/>
              <a:gd name="connsiteY1245" fmla="*/ 492640 h 6757249"/>
              <a:gd name="connsiteX1246" fmla="*/ 9880411 w 11951120"/>
              <a:gd name="connsiteY1246" fmla="*/ 489390 h 6757249"/>
              <a:gd name="connsiteX1247" fmla="*/ 9917469 w 11951120"/>
              <a:gd name="connsiteY1247" fmla="*/ 435866 h 6757249"/>
              <a:gd name="connsiteX1248" fmla="*/ 9908829 w 11951120"/>
              <a:gd name="connsiteY1248" fmla="*/ 518989 h 6757249"/>
              <a:gd name="connsiteX1249" fmla="*/ 9907816 w 11951120"/>
              <a:gd name="connsiteY1249" fmla="*/ 518818 h 6757249"/>
              <a:gd name="connsiteX1250" fmla="*/ 9903588 w 11951120"/>
              <a:gd name="connsiteY1250" fmla="*/ 540191 h 6757249"/>
              <a:gd name="connsiteX1251" fmla="*/ 9903633 w 11951120"/>
              <a:gd name="connsiteY1251" fmla="*/ 540194 h 6757249"/>
              <a:gd name="connsiteX1252" fmla="*/ 9991665 w 11951120"/>
              <a:gd name="connsiteY1252" fmla="*/ 566520 h 6757249"/>
              <a:gd name="connsiteX1253" fmla="*/ 10022475 w 11951120"/>
              <a:gd name="connsiteY1253" fmla="*/ 601621 h 6757249"/>
              <a:gd name="connsiteX1254" fmla="*/ 10020207 w 11951120"/>
              <a:gd name="connsiteY1254" fmla="*/ 604030 h 6757249"/>
              <a:gd name="connsiteX1255" fmla="*/ 10022713 w 11951120"/>
              <a:gd name="connsiteY1255" fmla="*/ 603934 h 6757249"/>
              <a:gd name="connsiteX1256" fmla="*/ 10077922 w 11951120"/>
              <a:gd name="connsiteY1256" fmla="*/ 572396 h 6757249"/>
              <a:gd name="connsiteX1257" fmla="*/ 10093294 w 11951120"/>
              <a:gd name="connsiteY1257" fmla="*/ 586344 h 6757249"/>
              <a:gd name="connsiteX1258" fmla="*/ 10027124 w 11951120"/>
              <a:gd name="connsiteY1258" fmla="*/ 691882 h 6757249"/>
              <a:gd name="connsiteX1259" fmla="*/ 10026908 w 11951120"/>
              <a:gd name="connsiteY1259" fmla="*/ 691750 h 6757249"/>
              <a:gd name="connsiteX1260" fmla="*/ 10026908 w 11951120"/>
              <a:gd name="connsiteY1260" fmla="*/ 707681 h 6757249"/>
              <a:gd name="connsiteX1261" fmla="*/ 10027298 w 11951120"/>
              <a:gd name="connsiteY1261" fmla="*/ 708270 h 6757249"/>
              <a:gd name="connsiteX1262" fmla="*/ 10081084 w 11951120"/>
              <a:gd name="connsiteY1262" fmla="*/ 699035 h 6757249"/>
              <a:gd name="connsiteX1263" fmla="*/ 10215941 w 11951120"/>
              <a:gd name="connsiteY1263" fmla="*/ 616257 h 6757249"/>
              <a:gd name="connsiteX1264" fmla="*/ 10218318 w 11951120"/>
              <a:gd name="connsiteY1264" fmla="*/ 616715 h 6757249"/>
              <a:gd name="connsiteX1265" fmla="*/ 10216289 w 11951120"/>
              <a:gd name="connsiteY1265" fmla="*/ 614892 h 6757249"/>
              <a:gd name="connsiteX1266" fmla="*/ 10264411 w 11951120"/>
              <a:gd name="connsiteY1266" fmla="*/ 540439 h 6757249"/>
              <a:gd name="connsiteX1267" fmla="*/ 10264559 w 11951120"/>
              <a:gd name="connsiteY1267" fmla="*/ 540534 h 6757249"/>
              <a:gd name="connsiteX1268" fmla="*/ 10276465 w 11951120"/>
              <a:gd name="connsiteY1268" fmla="*/ 512994 h 6757249"/>
              <a:gd name="connsiteX1269" fmla="*/ 10336951 w 11951120"/>
              <a:gd name="connsiteY1269" fmla="*/ 518559 h 6757249"/>
              <a:gd name="connsiteX1270" fmla="*/ 10336921 w 11951120"/>
              <a:gd name="connsiteY1270" fmla="*/ 518664 h 6757249"/>
              <a:gd name="connsiteX1271" fmla="*/ 10337743 w 11951120"/>
              <a:gd name="connsiteY1271" fmla="*/ 518022 h 6757249"/>
              <a:gd name="connsiteX1272" fmla="*/ 10381439 w 11951120"/>
              <a:gd name="connsiteY1272" fmla="*/ 513626 h 6757249"/>
              <a:gd name="connsiteX1273" fmla="*/ 10382938 w 11951120"/>
              <a:gd name="connsiteY1273" fmla="*/ 514703 h 6757249"/>
              <a:gd name="connsiteX1274" fmla="*/ 10400459 w 11951120"/>
              <a:gd name="connsiteY1274" fmla="*/ 464043 h 6757249"/>
              <a:gd name="connsiteX1275" fmla="*/ 10434679 w 11951120"/>
              <a:gd name="connsiteY1275" fmla="*/ 418829 h 6757249"/>
              <a:gd name="connsiteX1276" fmla="*/ 10433477 w 11951120"/>
              <a:gd name="connsiteY1276" fmla="*/ 417751 h 6757249"/>
              <a:gd name="connsiteX1277" fmla="*/ 10481543 w 11951120"/>
              <a:gd name="connsiteY1277" fmla="*/ 368833 h 6757249"/>
              <a:gd name="connsiteX1278" fmla="*/ 10541079 w 11951120"/>
              <a:gd name="connsiteY1278" fmla="*/ 432204 h 6757249"/>
              <a:gd name="connsiteX1279" fmla="*/ 10551359 w 11951120"/>
              <a:gd name="connsiteY1279" fmla="*/ 514806 h 6757249"/>
              <a:gd name="connsiteX1280" fmla="*/ 10552289 w 11951120"/>
              <a:gd name="connsiteY1280" fmla="*/ 514997 h 6757249"/>
              <a:gd name="connsiteX1281" fmla="*/ 10578363 w 11951120"/>
              <a:gd name="connsiteY1281" fmla="*/ 550416 h 6757249"/>
              <a:gd name="connsiteX1282" fmla="*/ 10578589 w 11951120"/>
              <a:gd name="connsiteY1282" fmla="*/ 550552 h 6757249"/>
              <a:gd name="connsiteX1283" fmla="*/ 10578270 w 11951120"/>
              <a:gd name="connsiteY1283" fmla="*/ 549927 h 6757249"/>
              <a:gd name="connsiteX1284" fmla="*/ 10604897 w 11951120"/>
              <a:gd name="connsiteY1284" fmla="*/ 519607 h 6757249"/>
              <a:gd name="connsiteX1285" fmla="*/ 10605215 w 11951120"/>
              <a:gd name="connsiteY1285" fmla="*/ 519614 h 6757249"/>
              <a:gd name="connsiteX1286" fmla="*/ 10622852 w 11951120"/>
              <a:gd name="connsiteY1286" fmla="*/ 483696 h 6757249"/>
              <a:gd name="connsiteX1287" fmla="*/ 10722727 w 11951120"/>
              <a:gd name="connsiteY1287" fmla="*/ 445598 h 6757249"/>
              <a:gd name="connsiteX1288" fmla="*/ 10744513 w 11951120"/>
              <a:gd name="connsiteY1288" fmla="*/ 471815 h 6757249"/>
              <a:gd name="connsiteX1289" fmla="*/ 10727084 w 11951120"/>
              <a:gd name="connsiteY1289" fmla="*/ 537360 h 6757249"/>
              <a:gd name="connsiteX1290" fmla="*/ 10722727 w 11951120"/>
              <a:gd name="connsiteY1290" fmla="*/ 541730 h 6757249"/>
              <a:gd name="connsiteX1291" fmla="*/ 10718749 w 11951120"/>
              <a:gd name="connsiteY1291" fmla="*/ 545719 h 6757249"/>
              <a:gd name="connsiteX1292" fmla="*/ 10718827 w 11951120"/>
              <a:gd name="connsiteY1292" fmla="*/ 548217 h 6757249"/>
              <a:gd name="connsiteX1293" fmla="*/ 10729219 w 11951120"/>
              <a:gd name="connsiteY1293" fmla="*/ 537757 h 6757249"/>
              <a:gd name="connsiteX1294" fmla="*/ 10774007 w 11951120"/>
              <a:gd name="connsiteY1294" fmla="*/ 597672 h 6757249"/>
              <a:gd name="connsiteX1295" fmla="*/ 10772948 w 11951120"/>
              <a:gd name="connsiteY1295" fmla="*/ 671784 h 6757249"/>
              <a:gd name="connsiteX1296" fmla="*/ 10792778 w 11951120"/>
              <a:gd name="connsiteY1296" fmla="*/ 663781 h 6757249"/>
              <a:gd name="connsiteX1297" fmla="*/ 10793984 w 11951120"/>
              <a:gd name="connsiteY1297" fmla="*/ 664757 h 6757249"/>
              <a:gd name="connsiteX1298" fmla="*/ 10824261 w 11951120"/>
              <a:gd name="connsiteY1298" fmla="*/ 630914 h 6757249"/>
              <a:gd name="connsiteX1299" fmla="*/ 10868374 w 11951120"/>
              <a:gd name="connsiteY1299" fmla="*/ 612835 h 6757249"/>
              <a:gd name="connsiteX1300" fmla="*/ 10884632 w 11951120"/>
              <a:gd name="connsiteY1300" fmla="*/ 637064 h 6757249"/>
              <a:gd name="connsiteX1301" fmla="*/ 10885256 w 11951120"/>
              <a:gd name="connsiteY1301" fmla="*/ 636573 h 6757249"/>
              <a:gd name="connsiteX1302" fmla="*/ 10867855 w 11951120"/>
              <a:gd name="connsiteY1302" fmla="*/ 610718 h 6757249"/>
              <a:gd name="connsiteX1303" fmla="*/ 10942933 w 11951120"/>
              <a:gd name="connsiteY1303" fmla="*/ 610718 h 6757249"/>
              <a:gd name="connsiteX1304" fmla="*/ 10939909 w 11951120"/>
              <a:gd name="connsiteY1304" fmla="*/ 613257 h 6757249"/>
              <a:gd name="connsiteX1305" fmla="*/ 10942788 w 11951120"/>
              <a:gd name="connsiteY1305" fmla="*/ 612835 h 6757249"/>
              <a:gd name="connsiteX1306" fmla="*/ 10983755 w 11951120"/>
              <a:gd name="connsiteY1306" fmla="*/ 742644 h 6757249"/>
              <a:gd name="connsiteX1307" fmla="*/ 11032943 w 11951120"/>
              <a:gd name="connsiteY1307" fmla="*/ 761835 h 6757249"/>
              <a:gd name="connsiteX1308" fmla="*/ 11035232 w 11951120"/>
              <a:gd name="connsiteY1308" fmla="*/ 760310 h 6757249"/>
              <a:gd name="connsiteX1309" fmla="*/ 11086886 w 11951120"/>
              <a:gd name="connsiteY1309" fmla="*/ 797100 h 6757249"/>
              <a:gd name="connsiteX1310" fmla="*/ 11109136 w 11951120"/>
              <a:gd name="connsiteY1310" fmla="*/ 856838 h 6757249"/>
              <a:gd name="connsiteX1311" fmla="*/ 11156674 w 11951120"/>
              <a:gd name="connsiteY1311" fmla="*/ 856838 h 6757249"/>
              <a:gd name="connsiteX1312" fmla="*/ 11156674 w 11951120"/>
              <a:gd name="connsiteY1312" fmla="*/ 808574 h 6757249"/>
              <a:gd name="connsiteX1313" fmla="*/ 11157907 w 11951120"/>
              <a:gd name="connsiteY1313" fmla="*/ 810748 h 6757249"/>
              <a:gd name="connsiteX1314" fmla="*/ 11157440 w 11951120"/>
              <a:gd name="connsiteY1314" fmla="*/ 809702 h 6757249"/>
              <a:gd name="connsiteX1315" fmla="*/ 11172524 w 11951120"/>
              <a:gd name="connsiteY1315" fmla="*/ 787827 h 6757249"/>
              <a:gd name="connsiteX1316" fmla="*/ 11197248 w 11951120"/>
              <a:gd name="connsiteY1316" fmla="*/ 779222 h 6757249"/>
              <a:gd name="connsiteX1317" fmla="*/ 11197248 w 11951120"/>
              <a:gd name="connsiteY1317" fmla="*/ 761997 h 6757249"/>
              <a:gd name="connsiteX1318" fmla="*/ 11198123 w 11951120"/>
              <a:gd name="connsiteY1318" fmla="*/ 762019 h 6757249"/>
              <a:gd name="connsiteX1319" fmla="*/ 11196601 w 11951120"/>
              <a:gd name="connsiteY1319" fmla="*/ 761039 h 6757249"/>
              <a:gd name="connsiteX1320" fmla="*/ 11178891 w 11951120"/>
              <a:gd name="connsiteY1320" fmla="*/ 739102 h 6757249"/>
              <a:gd name="connsiteX1321" fmla="*/ 11179335 w 11951120"/>
              <a:gd name="connsiteY1321" fmla="*/ 738786 h 6757249"/>
              <a:gd name="connsiteX1322" fmla="*/ 11178891 w 11951120"/>
              <a:gd name="connsiteY1322" fmla="*/ 738859 h 6757249"/>
              <a:gd name="connsiteX1323" fmla="*/ 11248606 w 11951120"/>
              <a:gd name="connsiteY1323" fmla="*/ 687019 h 6757249"/>
              <a:gd name="connsiteX1324" fmla="*/ 11248537 w 11951120"/>
              <a:gd name="connsiteY1324" fmla="*/ 687379 h 6757249"/>
              <a:gd name="connsiteX1325" fmla="*/ 11249729 w 11951120"/>
              <a:gd name="connsiteY1325" fmla="*/ 686450 h 6757249"/>
              <a:gd name="connsiteX1326" fmla="*/ 11250753 w 11951120"/>
              <a:gd name="connsiteY1326" fmla="*/ 686029 h 6757249"/>
              <a:gd name="connsiteX1327" fmla="*/ 11248606 w 11951120"/>
              <a:gd name="connsiteY1327" fmla="*/ 685066 h 6757249"/>
              <a:gd name="connsiteX1328" fmla="*/ 11323268 w 11951120"/>
              <a:gd name="connsiteY1328" fmla="*/ 588758 h 6757249"/>
              <a:gd name="connsiteX1329" fmla="*/ 11380363 w 11951120"/>
              <a:gd name="connsiteY1329" fmla="*/ 553735 h 6757249"/>
              <a:gd name="connsiteX1330" fmla="*/ 11464906 w 11951120"/>
              <a:gd name="connsiteY1330" fmla="*/ 530205 h 6757249"/>
              <a:gd name="connsiteX1331" fmla="*/ 11490158 w 11951120"/>
              <a:gd name="connsiteY1331" fmla="*/ 615024 h 6757249"/>
              <a:gd name="connsiteX1332" fmla="*/ 11487380 w 11951120"/>
              <a:gd name="connsiteY1332" fmla="*/ 615946 h 6757249"/>
              <a:gd name="connsiteX1333" fmla="*/ 11491091 w 11951120"/>
              <a:gd name="connsiteY1333" fmla="*/ 615946 h 6757249"/>
              <a:gd name="connsiteX1334" fmla="*/ 11582459 w 11951120"/>
              <a:gd name="connsiteY1334" fmla="*/ 563177 h 6757249"/>
              <a:gd name="connsiteX1335" fmla="*/ 11582914 w 11951120"/>
              <a:gd name="connsiteY1335" fmla="*/ 563868 h 6757249"/>
              <a:gd name="connsiteX1336" fmla="*/ 11582670 w 11951120"/>
              <a:gd name="connsiteY1336" fmla="*/ 562412 h 6757249"/>
              <a:gd name="connsiteX1337" fmla="*/ 11613585 w 11951120"/>
              <a:gd name="connsiteY1337" fmla="*/ 562412 h 6757249"/>
              <a:gd name="connsiteX1338" fmla="*/ 11613923 w 11951120"/>
              <a:gd name="connsiteY1338" fmla="*/ 562422 h 6757249"/>
              <a:gd name="connsiteX1339" fmla="*/ 11648600 w 11951120"/>
              <a:gd name="connsiteY1339" fmla="*/ 543233 h 6757249"/>
              <a:gd name="connsiteX1340" fmla="*/ 11683930 w 11951120"/>
              <a:gd name="connsiteY1340" fmla="*/ 540439 h 6757249"/>
              <a:gd name="connsiteX1341" fmla="*/ 11688238 w 11951120"/>
              <a:gd name="connsiteY1341" fmla="*/ 562233 h 6757249"/>
              <a:gd name="connsiteX1342" fmla="*/ 11688662 w 11951120"/>
              <a:gd name="connsiteY1342" fmla="*/ 562412 h 6757249"/>
              <a:gd name="connsiteX1343" fmla="*/ 11688336 w 11951120"/>
              <a:gd name="connsiteY1343" fmla="*/ 562735 h 6757249"/>
              <a:gd name="connsiteX1344" fmla="*/ 11688347 w 11951120"/>
              <a:gd name="connsiteY1344" fmla="*/ 562784 h 6757249"/>
              <a:gd name="connsiteX1345" fmla="*/ 11688279 w 11951120"/>
              <a:gd name="connsiteY1345" fmla="*/ 562792 h 6757249"/>
              <a:gd name="connsiteX1346" fmla="*/ 11684246 w 11951120"/>
              <a:gd name="connsiteY1346" fmla="*/ 566805 h 6757249"/>
              <a:gd name="connsiteX1347" fmla="*/ 11684335 w 11951120"/>
              <a:gd name="connsiteY1347" fmla="*/ 567253 h 6757249"/>
              <a:gd name="connsiteX1348" fmla="*/ 11731767 w 11951120"/>
              <a:gd name="connsiteY1348" fmla="*/ 567253 h 6757249"/>
              <a:gd name="connsiteX1349" fmla="*/ 11732143 w 11951120"/>
              <a:gd name="connsiteY1349" fmla="*/ 567253 h 6757249"/>
              <a:gd name="connsiteX1350" fmla="*/ 11732040 w 11951120"/>
              <a:gd name="connsiteY1350" fmla="*/ 567695 h 6757249"/>
              <a:gd name="connsiteX1351" fmla="*/ 11772312 w 11951120"/>
              <a:gd name="connsiteY1351" fmla="*/ 632875 h 6757249"/>
              <a:gd name="connsiteX1352" fmla="*/ 11757715 w 11951120"/>
              <a:gd name="connsiteY1352" fmla="*/ 711621 h 6757249"/>
              <a:gd name="connsiteX1353" fmla="*/ 11754270 w 11951120"/>
              <a:gd name="connsiteY1353" fmla="*/ 713395 h 6757249"/>
              <a:gd name="connsiteX1354" fmla="*/ 11758957 w 11951120"/>
              <a:gd name="connsiteY1354" fmla="*/ 713679 h 6757249"/>
              <a:gd name="connsiteX1355" fmla="*/ 11732143 w 11951120"/>
              <a:gd name="connsiteY1355" fmla="*/ 808576 h 6757249"/>
              <a:gd name="connsiteX1356" fmla="*/ 11729436 w 11951120"/>
              <a:gd name="connsiteY1356" fmla="*/ 808576 h 6757249"/>
              <a:gd name="connsiteX1357" fmla="*/ 11730927 w 11951120"/>
              <a:gd name="connsiteY1357" fmla="*/ 809352 h 6757249"/>
              <a:gd name="connsiteX1358" fmla="*/ 11752913 w 11951120"/>
              <a:gd name="connsiteY1358" fmla="*/ 831410 h 6757249"/>
              <a:gd name="connsiteX1359" fmla="*/ 11752331 w 11951120"/>
              <a:gd name="connsiteY1359" fmla="*/ 834144 h 6757249"/>
              <a:gd name="connsiteX1360" fmla="*/ 11754406 w 11951120"/>
              <a:gd name="connsiteY1360" fmla="*/ 831825 h 6757249"/>
              <a:gd name="connsiteX1361" fmla="*/ 11780732 w 11951120"/>
              <a:gd name="connsiteY1361" fmla="*/ 805598 h 6757249"/>
              <a:gd name="connsiteX1362" fmla="*/ 11782909 w 11951120"/>
              <a:gd name="connsiteY1362" fmla="*/ 805564 h 6757249"/>
              <a:gd name="connsiteX1363" fmla="*/ 11779514 w 11951120"/>
              <a:gd name="connsiteY1363" fmla="*/ 803699 h 6757249"/>
              <a:gd name="connsiteX1364" fmla="*/ 11792585 w 11951120"/>
              <a:gd name="connsiteY1364" fmla="*/ 751047 h 6757249"/>
              <a:gd name="connsiteX1365" fmla="*/ 11849229 w 11951120"/>
              <a:gd name="connsiteY1365" fmla="*/ 781760 h 6757249"/>
              <a:gd name="connsiteX1366" fmla="*/ 11848200 w 11951120"/>
              <a:gd name="connsiteY1366" fmla="*/ 784041 h 6757249"/>
              <a:gd name="connsiteX1367" fmla="*/ 11850234 w 11951120"/>
              <a:gd name="connsiteY1367" fmla="*/ 782311 h 6757249"/>
              <a:gd name="connsiteX1368" fmla="*/ 11854590 w 11951120"/>
              <a:gd name="connsiteY1368" fmla="*/ 760310 h 6757249"/>
              <a:gd name="connsiteX1369" fmla="*/ 11855980 w 11951120"/>
              <a:gd name="connsiteY1369" fmla="*/ 762961 h 6757249"/>
              <a:gd name="connsiteX1370" fmla="*/ 11855867 w 11951120"/>
              <a:gd name="connsiteY1370" fmla="*/ 761179 h 6757249"/>
              <a:gd name="connsiteX1371" fmla="*/ 11877573 w 11951120"/>
              <a:gd name="connsiteY1371" fmla="*/ 704654 h 6757249"/>
              <a:gd name="connsiteX1372" fmla="*/ 11925327 w 11951120"/>
              <a:gd name="connsiteY1372" fmla="*/ 756830 h 6757249"/>
              <a:gd name="connsiteX1373" fmla="*/ 11925004 w 11951120"/>
              <a:gd name="connsiteY1373" fmla="*/ 759004 h 6757249"/>
              <a:gd name="connsiteX1374" fmla="*/ 11948328 w 11951120"/>
              <a:gd name="connsiteY1374" fmla="*/ 805007 h 6757249"/>
              <a:gd name="connsiteX1375" fmla="*/ 11943790 w 11951120"/>
              <a:gd name="connsiteY1375" fmla="*/ 822907 h 6757249"/>
              <a:gd name="connsiteX1376" fmla="*/ 11904131 w 11951120"/>
              <a:gd name="connsiteY1376" fmla="*/ 829656 h 6757249"/>
              <a:gd name="connsiteX1377" fmla="*/ 11903621 w 11951120"/>
              <a:gd name="connsiteY1377" fmla="*/ 830749 h 6757249"/>
              <a:gd name="connsiteX1378" fmla="*/ 11881913 w 11951120"/>
              <a:gd name="connsiteY1378" fmla="*/ 856838 h 6757249"/>
              <a:gd name="connsiteX1379" fmla="*/ 11880645 w 11951120"/>
              <a:gd name="connsiteY1379" fmla="*/ 854357 h 6757249"/>
              <a:gd name="connsiteX1380" fmla="*/ 11880735 w 11951120"/>
              <a:gd name="connsiteY1380" fmla="*/ 857113 h 6757249"/>
              <a:gd name="connsiteX1381" fmla="*/ 11876389 w 11951120"/>
              <a:gd name="connsiteY1381" fmla="*/ 927330 h 6757249"/>
              <a:gd name="connsiteX1382" fmla="*/ 11876414 w 11951120"/>
              <a:gd name="connsiteY1382" fmla="*/ 927342 h 6757249"/>
              <a:gd name="connsiteX1383" fmla="*/ 11951120 w 11951120"/>
              <a:gd name="connsiteY1383" fmla="*/ 953841 h 6757249"/>
              <a:gd name="connsiteX1384" fmla="*/ 11854441 w 11951120"/>
              <a:gd name="connsiteY1384" fmla="*/ 1143743 h 6757249"/>
              <a:gd name="connsiteX1385" fmla="*/ 11854088 w 11951120"/>
              <a:gd name="connsiteY1385" fmla="*/ 1143663 h 6757249"/>
              <a:gd name="connsiteX1386" fmla="*/ 11828486 w 11951120"/>
              <a:gd name="connsiteY1386" fmla="*/ 1217111 h 6757249"/>
              <a:gd name="connsiteX1387" fmla="*/ 11827146 w 11951120"/>
              <a:gd name="connsiteY1387" fmla="*/ 1216638 h 6757249"/>
              <a:gd name="connsiteX1388" fmla="*/ 11827776 w 11951120"/>
              <a:gd name="connsiteY1388" fmla="*/ 1217525 h 6757249"/>
              <a:gd name="connsiteX1389" fmla="*/ 11805900 w 11951120"/>
              <a:gd name="connsiteY1389" fmla="*/ 1288336 h 6757249"/>
              <a:gd name="connsiteX1390" fmla="*/ 11806326 w 11951120"/>
              <a:gd name="connsiteY1390" fmla="*/ 1288723 h 6757249"/>
              <a:gd name="connsiteX1391" fmla="*/ 11640753 w 11951120"/>
              <a:gd name="connsiteY1391" fmla="*/ 1555953 h 6757249"/>
              <a:gd name="connsiteX1392" fmla="*/ 11639711 w 11951120"/>
              <a:gd name="connsiteY1392" fmla="*/ 1556496 h 6757249"/>
              <a:gd name="connsiteX1393" fmla="*/ 11640084 w 11951120"/>
              <a:gd name="connsiteY1393" fmla="*/ 1556496 h 6757249"/>
              <a:gd name="connsiteX1394" fmla="*/ 11592283 w 11951120"/>
              <a:gd name="connsiteY1394" fmla="*/ 1680012 h 6757249"/>
              <a:gd name="connsiteX1395" fmla="*/ 11590715 w 11951120"/>
              <a:gd name="connsiteY1395" fmla="*/ 1680012 h 6757249"/>
              <a:gd name="connsiteX1396" fmla="*/ 11590985 w 11951120"/>
              <a:gd name="connsiteY1396" fmla="*/ 1708877 h 6757249"/>
              <a:gd name="connsiteX1397" fmla="*/ 11647805 w 11951120"/>
              <a:gd name="connsiteY1397" fmla="*/ 1710109 h 6757249"/>
              <a:gd name="connsiteX1398" fmla="*/ 11731250 w 11951120"/>
              <a:gd name="connsiteY1398" fmla="*/ 1749508 h 6757249"/>
              <a:gd name="connsiteX1399" fmla="*/ 11682940 w 11951120"/>
              <a:gd name="connsiteY1399" fmla="*/ 1867707 h 6757249"/>
              <a:gd name="connsiteX1400" fmla="*/ 11682908 w 11951120"/>
              <a:gd name="connsiteY1400" fmla="*/ 1867686 h 6757249"/>
              <a:gd name="connsiteX1401" fmla="*/ 11639535 w 11951120"/>
              <a:gd name="connsiteY1401" fmla="*/ 1915936 h 6757249"/>
              <a:gd name="connsiteX1402" fmla="*/ 11640084 w 11951120"/>
              <a:gd name="connsiteY1402" fmla="*/ 1916624 h 6757249"/>
              <a:gd name="connsiteX1403" fmla="*/ 11635671 w 11951120"/>
              <a:gd name="connsiteY1403" fmla="*/ 1964822 h 6757249"/>
              <a:gd name="connsiteX1404" fmla="*/ 11635578 w 11951120"/>
              <a:gd name="connsiteY1404" fmla="*/ 1965107 h 6757249"/>
              <a:gd name="connsiteX1405" fmla="*/ 11655046 w 11951120"/>
              <a:gd name="connsiteY1405" fmla="*/ 2018326 h 6757249"/>
              <a:gd name="connsiteX1406" fmla="*/ 11565390 w 11951120"/>
              <a:gd name="connsiteY1406" fmla="*/ 2109027 h 6757249"/>
              <a:gd name="connsiteX1407" fmla="*/ 11565006 w 11951120"/>
              <a:gd name="connsiteY1407" fmla="*/ 2108562 h 6757249"/>
              <a:gd name="connsiteX1408" fmla="*/ 11565006 w 11951120"/>
              <a:gd name="connsiteY1408" fmla="*/ 2110535 h 6757249"/>
              <a:gd name="connsiteX1409" fmla="*/ 11539266 w 11951120"/>
              <a:gd name="connsiteY1409" fmla="*/ 2133160 h 6757249"/>
              <a:gd name="connsiteX1410" fmla="*/ 11539029 w 11951120"/>
              <a:gd name="connsiteY1410" fmla="*/ 2132219 h 6757249"/>
              <a:gd name="connsiteX1411" fmla="*/ 11538789 w 11951120"/>
              <a:gd name="connsiteY1411" fmla="*/ 2132861 h 6757249"/>
              <a:gd name="connsiteX1412" fmla="*/ 11538789 w 11951120"/>
              <a:gd name="connsiteY1412" fmla="*/ 2158073 h 6757249"/>
              <a:gd name="connsiteX1413" fmla="*/ 11538862 w 11951120"/>
              <a:gd name="connsiteY1413" fmla="*/ 2158095 h 6757249"/>
              <a:gd name="connsiteX1414" fmla="*/ 11565005 w 11951120"/>
              <a:gd name="connsiteY1414" fmla="*/ 2277549 h 6757249"/>
              <a:gd name="connsiteX1415" fmla="*/ 11495290 w 11951120"/>
              <a:gd name="connsiteY1415" fmla="*/ 2326215 h 6757249"/>
              <a:gd name="connsiteX1416" fmla="*/ 11495916 w 11951120"/>
              <a:gd name="connsiteY1416" fmla="*/ 2323418 h 6757249"/>
              <a:gd name="connsiteX1417" fmla="*/ 11494423 w 11951120"/>
              <a:gd name="connsiteY1417" fmla="*/ 2325727 h 6757249"/>
              <a:gd name="connsiteX1418" fmla="*/ 11446277 w 11951120"/>
              <a:gd name="connsiteY1418" fmla="*/ 2373991 h 6757249"/>
              <a:gd name="connsiteX1419" fmla="*/ 11424393 w 11951120"/>
              <a:gd name="connsiteY1419" fmla="*/ 2400318 h 6757249"/>
              <a:gd name="connsiteX1420" fmla="*/ 11418907 w 11951120"/>
              <a:gd name="connsiteY1420" fmla="*/ 2403679 h 6757249"/>
              <a:gd name="connsiteX1421" fmla="*/ 11427163 w 11951120"/>
              <a:gd name="connsiteY1421" fmla="*/ 2400047 h 6757249"/>
              <a:gd name="connsiteX1422" fmla="*/ 11464906 w 11951120"/>
              <a:gd name="connsiteY1422" fmla="*/ 2397105 h 6757249"/>
              <a:gd name="connsiteX1423" fmla="*/ 11490158 w 11951120"/>
              <a:gd name="connsiteY1423" fmla="*/ 2481924 h 6757249"/>
              <a:gd name="connsiteX1424" fmla="*/ 11487380 w 11951120"/>
              <a:gd name="connsiteY1424" fmla="*/ 2482846 h 6757249"/>
              <a:gd name="connsiteX1425" fmla="*/ 11491091 w 11951120"/>
              <a:gd name="connsiteY1425" fmla="*/ 2482846 h 6757249"/>
              <a:gd name="connsiteX1426" fmla="*/ 11582459 w 11951120"/>
              <a:gd name="connsiteY1426" fmla="*/ 2430077 h 6757249"/>
              <a:gd name="connsiteX1427" fmla="*/ 11582914 w 11951120"/>
              <a:gd name="connsiteY1427" fmla="*/ 2430768 h 6757249"/>
              <a:gd name="connsiteX1428" fmla="*/ 11582670 w 11951120"/>
              <a:gd name="connsiteY1428" fmla="*/ 2429312 h 6757249"/>
              <a:gd name="connsiteX1429" fmla="*/ 11613585 w 11951120"/>
              <a:gd name="connsiteY1429" fmla="*/ 2429312 h 6757249"/>
              <a:gd name="connsiteX1430" fmla="*/ 11613923 w 11951120"/>
              <a:gd name="connsiteY1430" fmla="*/ 2429322 h 6757249"/>
              <a:gd name="connsiteX1431" fmla="*/ 11648600 w 11951120"/>
              <a:gd name="connsiteY1431" fmla="*/ 2410133 h 6757249"/>
              <a:gd name="connsiteX1432" fmla="*/ 11683930 w 11951120"/>
              <a:gd name="connsiteY1432" fmla="*/ 2407339 h 6757249"/>
              <a:gd name="connsiteX1433" fmla="*/ 11688238 w 11951120"/>
              <a:gd name="connsiteY1433" fmla="*/ 2429133 h 6757249"/>
              <a:gd name="connsiteX1434" fmla="*/ 11688662 w 11951120"/>
              <a:gd name="connsiteY1434" fmla="*/ 2429312 h 6757249"/>
              <a:gd name="connsiteX1435" fmla="*/ 11688336 w 11951120"/>
              <a:gd name="connsiteY1435" fmla="*/ 2429635 h 6757249"/>
              <a:gd name="connsiteX1436" fmla="*/ 11688347 w 11951120"/>
              <a:gd name="connsiteY1436" fmla="*/ 2429684 h 6757249"/>
              <a:gd name="connsiteX1437" fmla="*/ 11688279 w 11951120"/>
              <a:gd name="connsiteY1437" fmla="*/ 2429692 h 6757249"/>
              <a:gd name="connsiteX1438" fmla="*/ 11684246 w 11951120"/>
              <a:gd name="connsiteY1438" fmla="*/ 2433705 h 6757249"/>
              <a:gd name="connsiteX1439" fmla="*/ 11684335 w 11951120"/>
              <a:gd name="connsiteY1439" fmla="*/ 2434153 h 6757249"/>
              <a:gd name="connsiteX1440" fmla="*/ 11731767 w 11951120"/>
              <a:gd name="connsiteY1440" fmla="*/ 2434153 h 6757249"/>
              <a:gd name="connsiteX1441" fmla="*/ 11732143 w 11951120"/>
              <a:gd name="connsiteY1441" fmla="*/ 2434153 h 6757249"/>
              <a:gd name="connsiteX1442" fmla="*/ 11732040 w 11951120"/>
              <a:gd name="connsiteY1442" fmla="*/ 2434595 h 6757249"/>
              <a:gd name="connsiteX1443" fmla="*/ 11772312 w 11951120"/>
              <a:gd name="connsiteY1443" fmla="*/ 2499775 h 6757249"/>
              <a:gd name="connsiteX1444" fmla="*/ 11757715 w 11951120"/>
              <a:gd name="connsiteY1444" fmla="*/ 2578521 h 6757249"/>
              <a:gd name="connsiteX1445" fmla="*/ 11754270 w 11951120"/>
              <a:gd name="connsiteY1445" fmla="*/ 2580295 h 6757249"/>
              <a:gd name="connsiteX1446" fmla="*/ 11758957 w 11951120"/>
              <a:gd name="connsiteY1446" fmla="*/ 2580579 h 6757249"/>
              <a:gd name="connsiteX1447" fmla="*/ 11732143 w 11951120"/>
              <a:gd name="connsiteY1447" fmla="*/ 2675476 h 6757249"/>
              <a:gd name="connsiteX1448" fmla="*/ 11729436 w 11951120"/>
              <a:gd name="connsiteY1448" fmla="*/ 2675476 h 6757249"/>
              <a:gd name="connsiteX1449" fmla="*/ 11730927 w 11951120"/>
              <a:gd name="connsiteY1449" fmla="*/ 2676252 h 6757249"/>
              <a:gd name="connsiteX1450" fmla="*/ 11752913 w 11951120"/>
              <a:gd name="connsiteY1450" fmla="*/ 2698310 h 6757249"/>
              <a:gd name="connsiteX1451" fmla="*/ 11752331 w 11951120"/>
              <a:gd name="connsiteY1451" fmla="*/ 2701044 h 6757249"/>
              <a:gd name="connsiteX1452" fmla="*/ 11754406 w 11951120"/>
              <a:gd name="connsiteY1452" fmla="*/ 2698725 h 6757249"/>
              <a:gd name="connsiteX1453" fmla="*/ 11780732 w 11951120"/>
              <a:gd name="connsiteY1453" fmla="*/ 2672498 h 6757249"/>
              <a:gd name="connsiteX1454" fmla="*/ 11782909 w 11951120"/>
              <a:gd name="connsiteY1454" fmla="*/ 2672464 h 6757249"/>
              <a:gd name="connsiteX1455" fmla="*/ 11779514 w 11951120"/>
              <a:gd name="connsiteY1455" fmla="*/ 2670599 h 6757249"/>
              <a:gd name="connsiteX1456" fmla="*/ 11792585 w 11951120"/>
              <a:gd name="connsiteY1456" fmla="*/ 2617947 h 6757249"/>
              <a:gd name="connsiteX1457" fmla="*/ 11849229 w 11951120"/>
              <a:gd name="connsiteY1457" fmla="*/ 2648660 h 6757249"/>
              <a:gd name="connsiteX1458" fmla="*/ 11848200 w 11951120"/>
              <a:gd name="connsiteY1458" fmla="*/ 2650941 h 6757249"/>
              <a:gd name="connsiteX1459" fmla="*/ 11850234 w 11951120"/>
              <a:gd name="connsiteY1459" fmla="*/ 2649211 h 6757249"/>
              <a:gd name="connsiteX1460" fmla="*/ 11854590 w 11951120"/>
              <a:gd name="connsiteY1460" fmla="*/ 2627210 h 6757249"/>
              <a:gd name="connsiteX1461" fmla="*/ 11855980 w 11951120"/>
              <a:gd name="connsiteY1461" fmla="*/ 2629861 h 6757249"/>
              <a:gd name="connsiteX1462" fmla="*/ 11855867 w 11951120"/>
              <a:gd name="connsiteY1462" fmla="*/ 2628079 h 6757249"/>
              <a:gd name="connsiteX1463" fmla="*/ 11877573 w 11951120"/>
              <a:gd name="connsiteY1463" fmla="*/ 2571554 h 6757249"/>
              <a:gd name="connsiteX1464" fmla="*/ 11925327 w 11951120"/>
              <a:gd name="connsiteY1464" fmla="*/ 2623730 h 6757249"/>
              <a:gd name="connsiteX1465" fmla="*/ 11925004 w 11951120"/>
              <a:gd name="connsiteY1465" fmla="*/ 2625904 h 6757249"/>
              <a:gd name="connsiteX1466" fmla="*/ 11948328 w 11951120"/>
              <a:gd name="connsiteY1466" fmla="*/ 2671907 h 6757249"/>
              <a:gd name="connsiteX1467" fmla="*/ 11943790 w 11951120"/>
              <a:gd name="connsiteY1467" fmla="*/ 2689807 h 6757249"/>
              <a:gd name="connsiteX1468" fmla="*/ 11904131 w 11951120"/>
              <a:gd name="connsiteY1468" fmla="*/ 2696556 h 6757249"/>
              <a:gd name="connsiteX1469" fmla="*/ 11903621 w 11951120"/>
              <a:gd name="connsiteY1469" fmla="*/ 2697649 h 6757249"/>
              <a:gd name="connsiteX1470" fmla="*/ 11881913 w 11951120"/>
              <a:gd name="connsiteY1470" fmla="*/ 2723738 h 6757249"/>
              <a:gd name="connsiteX1471" fmla="*/ 11880645 w 11951120"/>
              <a:gd name="connsiteY1471" fmla="*/ 2721257 h 6757249"/>
              <a:gd name="connsiteX1472" fmla="*/ 11880735 w 11951120"/>
              <a:gd name="connsiteY1472" fmla="*/ 2724013 h 6757249"/>
              <a:gd name="connsiteX1473" fmla="*/ 11876389 w 11951120"/>
              <a:gd name="connsiteY1473" fmla="*/ 2794230 h 6757249"/>
              <a:gd name="connsiteX1474" fmla="*/ 11876414 w 11951120"/>
              <a:gd name="connsiteY1474" fmla="*/ 2794242 h 6757249"/>
              <a:gd name="connsiteX1475" fmla="*/ 11951120 w 11951120"/>
              <a:gd name="connsiteY1475" fmla="*/ 2820741 h 6757249"/>
              <a:gd name="connsiteX1476" fmla="*/ 11854441 w 11951120"/>
              <a:gd name="connsiteY1476" fmla="*/ 3010643 h 6757249"/>
              <a:gd name="connsiteX1477" fmla="*/ 11854088 w 11951120"/>
              <a:gd name="connsiteY1477" fmla="*/ 3010563 h 6757249"/>
              <a:gd name="connsiteX1478" fmla="*/ 11828486 w 11951120"/>
              <a:gd name="connsiteY1478" fmla="*/ 3084011 h 6757249"/>
              <a:gd name="connsiteX1479" fmla="*/ 11827146 w 11951120"/>
              <a:gd name="connsiteY1479" fmla="*/ 3083538 h 6757249"/>
              <a:gd name="connsiteX1480" fmla="*/ 11827776 w 11951120"/>
              <a:gd name="connsiteY1480" fmla="*/ 3084425 h 6757249"/>
              <a:gd name="connsiteX1481" fmla="*/ 11805900 w 11951120"/>
              <a:gd name="connsiteY1481" fmla="*/ 3155236 h 6757249"/>
              <a:gd name="connsiteX1482" fmla="*/ 11806326 w 11951120"/>
              <a:gd name="connsiteY1482" fmla="*/ 3155623 h 6757249"/>
              <a:gd name="connsiteX1483" fmla="*/ 11640753 w 11951120"/>
              <a:gd name="connsiteY1483" fmla="*/ 3422852 h 6757249"/>
              <a:gd name="connsiteX1484" fmla="*/ 11639711 w 11951120"/>
              <a:gd name="connsiteY1484" fmla="*/ 3423396 h 6757249"/>
              <a:gd name="connsiteX1485" fmla="*/ 11640084 w 11951120"/>
              <a:gd name="connsiteY1485" fmla="*/ 3423396 h 6757249"/>
              <a:gd name="connsiteX1486" fmla="*/ 11592283 w 11951120"/>
              <a:gd name="connsiteY1486" fmla="*/ 3546912 h 6757249"/>
              <a:gd name="connsiteX1487" fmla="*/ 11590715 w 11951120"/>
              <a:gd name="connsiteY1487" fmla="*/ 3546912 h 6757249"/>
              <a:gd name="connsiteX1488" fmla="*/ 11590985 w 11951120"/>
              <a:gd name="connsiteY1488" fmla="*/ 3575777 h 6757249"/>
              <a:gd name="connsiteX1489" fmla="*/ 11647805 w 11951120"/>
              <a:gd name="connsiteY1489" fmla="*/ 3577009 h 6757249"/>
              <a:gd name="connsiteX1490" fmla="*/ 11731250 w 11951120"/>
              <a:gd name="connsiteY1490" fmla="*/ 3616407 h 6757249"/>
              <a:gd name="connsiteX1491" fmla="*/ 11682940 w 11951120"/>
              <a:gd name="connsiteY1491" fmla="*/ 3734606 h 6757249"/>
              <a:gd name="connsiteX1492" fmla="*/ 11682908 w 11951120"/>
              <a:gd name="connsiteY1492" fmla="*/ 3734586 h 6757249"/>
              <a:gd name="connsiteX1493" fmla="*/ 11639535 w 11951120"/>
              <a:gd name="connsiteY1493" fmla="*/ 3782836 h 6757249"/>
              <a:gd name="connsiteX1494" fmla="*/ 11640084 w 11951120"/>
              <a:gd name="connsiteY1494" fmla="*/ 3783524 h 6757249"/>
              <a:gd name="connsiteX1495" fmla="*/ 11635671 w 11951120"/>
              <a:gd name="connsiteY1495" fmla="*/ 3831722 h 6757249"/>
              <a:gd name="connsiteX1496" fmla="*/ 11635578 w 11951120"/>
              <a:gd name="connsiteY1496" fmla="*/ 3832006 h 6757249"/>
              <a:gd name="connsiteX1497" fmla="*/ 11655046 w 11951120"/>
              <a:gd name="connsiteY1497" fmla="*/ 3885226 h 6757249"/>
              <a:gd name="connsiteX1498" fmla="*/ 11565390 w 11951120"/>
              <a:gd name="connsiteY1498" fmla="*/ 3975927 h 6757249"/>
              <a:gd name="connsiteX1499" fmla="*/ 11565006 w 11951120"/>
              <a:gd name="connsiteY1499" fmla="*/ 3975462 h 6757249"/>
              <a:gd name="connsiteX1500" fmla="*/ 11565006 w 11951120"/>
              <a:gd name="connsiteY1500" fmla="*/ 3977435 h 6757249"/>
              <a:gd name="connsiteX1501" fmla="*/ 11554287 w 11951120"/>
              <a:gd name="connsiteY1501" fmla="*/ 3986857 h 6757249"/>
              <a:gd name="connsiteX1502" fmla="*/ 11563900 w 11951120"/>
              <a:gd name="connsiteY1502" fmla="*/ 3985607 h 6757249"/>
              <a:gd name="connsiteX1503" fmla="*/ 11582459 w 11951120"/>
              <a:gd name="connsiteY1503" fmla="*/ 3992177 h 6757249"/>
              <a:gd name="connsiteX1504" fmla="*/ 11582914 w 11951120"/>
              <a:gd name="connsiteY1504" fmla="*/ 3992868 h 6757249"/>
              <a:gd name="connsiteX1505" fmla="*/ 11582670 w 11951120"/>
              <a:gd name="connsiteY1505" fmla="*/ 3991412 h 6757249"/>
              <a:gd name="connsiteX1506" fmla="*/ 11613585 w 11951120"/>
              <a:gd name="connsiteY1506" fmla="*/ 3991412 h 6757249"/>
              <a:gd name="connsiteX1507" fmla="*/ 11613923 w 11951120"/>
              <a:gd name="connsiteY1507" fmla="*/ 3991422 h 6757249"/>
              <a:gd name="connsiteX1508" fmla="*/ 11648600 w 11951120"/>
              <a:gd name="connsiteY1508" fmla="*/ 3972233 h 6757249"/>
              <a:gd name="connsiteX1509" fmla="*/ 11683930 w 11951120"/>
              <a:gd name="connsiteY1509" fmla="*/ 3969439 h 6757249"/>
              <a:gd name="connsiteX1510" fmla="*/ 11688238 w 11951120"/>
              <a:gd name="connsiteY1510" fmla="*/ 3991233 h 6757249"/>
              <a:gd name="connsiteX1511" fmla="*/ 11688662 w 11951120"/>
              <a:gd name="connsiteY1511" fmla="*/ 3991412 h 6757249"/>
              <a:gd name="connsiteX1512" fmla="*/ 11688336 w 11951120"/>
              <a:gd name="connsiteY1512" fmla="*/ 3991735 h 6757249"/>
              <a:gd name="connsiteX1513" fmla="*/ 11688347 w 11951120"/>
              <a:gd name="connsiteY1513" fmla="*/ 3991784 h 6757249"/>
              <a:gd name="connsiteX1514" fmla="*/ 11688279 w 11951120"/>
              <a:gd name="connsiteY1514" fmla="*/ 3991792 h 6757249"/>
              <a:gd name="connsiteX1515" fmla="*/ 11684246 w 11951120"/>
              <a:gd name="connsiteY1515" fmla="*/ 3995805 h 6757249"/>
              <a:gd name="connsiteX1516" fmla="*/ 11684335 w 11951120"/>
              <a:gd name="connsiteY1516" fmla="*/ 3996253 h 6757249"/>
              <a:gd name="connsiteX1517" fmla="*/ 11731767 w 11951120"/>
              <a:gd name="connsiteY1517" fmla="*/ 3996253 h 6757249"/>
              <a:gd name="connsiteX1518" fmla="*/ 11732143 w 11951120"/>
              <a:gd name="connsiteY1518" fmla="*/ 3996253 h 6757249"/>
              <a:gd name="connsiteX1519" fmla="*/ 11732040 w 11951120"/>
              <a:gd name="connsiteY1519" fmla="*/ 3996695 h 6757249"/>
              <a:gd name="connsiteX1520" fmla="*/ 11772312 w 11951120"/>
              <a:gd name="connsiteY1520" fmla="*/ 4061875 h 6757249"/>
              <a:gd name="connsiteX1521" fmla="*/ 11757715 w 11951120"/>
              <a:gd name="connsiteY1521" fmla="*/ 4140621 h 6757249"/>
              <a:gd name="connsiteX1522" fmla="*/ 11754270 w 11951120"/>
              <a:gd name="connsiteY1522" fmla="*/ 4142395 h 6757249"/>
              <a:gd name="connsiteX1523" fmla="*/ 11758957 w 11951120"/>
              <a:gd name="connsiteY1523" fmla="*/ 4142679 h 6757249"/>
              <a:gd name="connsiteX1524" fmla="*/ 11732143 w 11951120"/>
              <a:gd name="connsiteY1524" fmla="*/ 4237576 h 6757249"/>
              <a:gd name="connsiteX1525" fmla="*/ 11729436 w 11951120"/>
              <a:gd name="connsiteY1525" fmla="*/ 4237576 h 6757249"/>
              <a:gd name="connsiteX1526" fmla="*/ 11730927 w 11951120"/>
              <a:gd name="connsiteY1526" fmla="*/ 4238352 h 6757249"/>
              <a:gd name="connsiteX1527" fmla="*/ 11752913 w 11951120"/>
              <a:gd name="connsiteY1527" fmla="*/ 4260410 h 6757249"/>
              <a:gd name="connsiteX1528" fmla="*/ 11752331 w 11951120"/>
              <a:gd name="connsiteY1528" fmla="*/ 4263144 h 6757249"/>
              <a:gd name="connsiteX1529" fmla="*/ 11754406 w 11951120"/>
              <a:gd name="connsiteY1529" fmla="*/ 4260825 h 6757249"/>
              <a:gd name="connsiteX1530" fmla="*/ 11780732 w 11951120"/>
              <a:gd name="connsiteY1530" fmla="*/ 4234598 h 6757249"/>
              <a:gd name="connsiteX1531" fmla="*/ 11782909 w 11951120"/>
              <a:gd name="connsiteY1531" fmla="*/ 4234564 h 6757249"/>
              <a:gd name="connsiteX1532" fmla="*/ 11779514 w 11951120"/>
              <a:gd name="connsiteY1532" fmla="*/ 4232699 h 6757249"/>
              <a:gd name="connsiteX1533" fmla="*/ 11792585 w 11951120"/>
              <a:gd name="connsiteY1533" fmla="*/ 4180047 h 6757249"/>
              <a:gd name="connsiteX1534" fmla="*/ 11849229 w 11951120"/>
              <a:gd name="connsiteY1534" fmla="*/ 4210760 h 6757249"/>
              <a:gd name="connsiteX1535" fmla="*/ 11848200 w 11951120"/>
              <a:gd name="connsiteY1535" fmla="*/ 4213041 h 6757249"/>
              <a:gd name="connsiteX1536" fmla="*/ 11850234 w 11951120"/>
              <a:gd name="connsiteY1536" fmla="*/ 4211311 h 6757249"/>
              <a:gd name="connsiteX1537" fmla="*/ 11854590 w 11951120"/>
              <a:gd name="connsiteY1537" fmla="*/ 4189310 h 6757249"/>
              <a:gd name="connsiteX1538" fmla="*/ 11855980 w 11951120"/>
              <a:gd name="connsiteY1538" fmla="*/ 4191961 h 6757249"/>
              <a:gd name="connsiteX1539" fmla="*/ 11855867 w 11951120"/>
              <a:gd name="connsiteY1539" fmla="*/ 4190179 h 6757249"/>
              <a:gd name="connsiteX1540" fmla="*/ 11877573 w 11951120"/>
              <a:gd name="connsiteY1540" fmla="*/ 4133654 h 6757249"/>
              <a:gd name="connsiteX1541" fmla="*/ 11925327 w 11951120"/>
              <a:gd name="connsiteY1541" fmla="*/ 4185830 h 6757249"/>
              <a:gd name="connsiteX1542" fmla="*/ 11925004 w 11951120"/>
              <a:gd name="connsiteY1542" fmla="*/ 4188004 h 6757249"/>
              <a:gd name="connsiteX1543" fmla="*/ 11948328 w 11951120"/>
              <a:gd name="connsiteY1543" fmla="*/ 4234007 h 6757249"/>
              <a:gd name="connsiteX1544" fmla="*/ 11943790 w 11951120"/>
              <a:gd name="connsiteY1544" fmla="*/ 4251907 h 6757249"/>
              <a:gd name="connsiteX1545" fmla="*/ 11904131 w 11951120"/>
              <a:gd name="connsiteY1545" fmla="*/ 4258656 h 6757249"/>
              <a:gd name="connsiteX1546" fmla="*/ 11903621 w 11951120"/>
              <a:gd name="connsiteY1546" fmla="*/ 4259749 h 6757249"/>
              <a:gd name="connsiteX1547" fmla="*/ 11881913 w 11951120"/>
              <a:gd name="connsiteY1547" fmla="*/ 4285838 h 6757249"/>
              <a:gd name="connsiteX1548" fmla="*/ 11880645 w 11951120"/>
              <a:gd name="connsiteY1548" fmla="*/ 4283357 h 6757249"/>
              <a:gd name="connsiteX1549" fmla="*/ 11880735 w 11951120"/>
              <a:gd name="connsiteY1549" fmla="*/ 4286113 h 6757249"/>
              <a:gd name="connsiteX1550" fmla="*/ 11876389 w 11951120"/>
              <a:gd name="connsiteY1550" fmla="*/ 4356330 h 6757249"/>
              <a:gd name="connsiteX1551" fmla="*/ 11876414 w 11951120"/>
              <a:gd name="connsiteY1551" fmla="*/ 4356342 h 6757249"/>
              <a:gd name="connsiteX1552" fmla="*/ 11951120 w 11951120"/>
              <a:gd name="connsiteY1552" fmla="*/ 4382841 h 6757249"/>
              <a:gd name="connsiteX1553" fmla="*/ 11854441 w 11951120"/>
              <a:gd name="connsiteY1553" fmla="*/ 4572743 h 6757249"/>
              <a:gd name="connsiteX1554" fmla="*/ 11854088 w 11951120"/>
              <a:gd name="connsiteY1554" fmla="*/ 4572663 h 6757249"/>
              <a:gd name="connsiteX1555" fmla="*/ 11828486 w 11951120"/>
              <a:gd name="connsiteY1555" fmla="*/ 4646111 h 6757249"/>
              <a:gd name="connsiteX1556" fmla="*/ 11827146 w 11951120"/>
              <a:gd name="connsiteY1556" fmla="*/ 4645638 h 6757249"/>
              <a:gd name="connsiteX1557" fmla="*/ 11827776 w 11951120"/>
              <a:gd name="connsiteY1557" fmla="*/ 4646525 h 6757249"/>
              <a:gd name="connsiteX1558" fmla="*/ 11805900 w 11951120"/>
              <a:gd name="connsiteY1558" fmla="*/ 4717336 h 6757249"/>
              <a:gd name="connsiteX1559" fmla="*/ 11806326 w 11951120"/>
              <a:gd name="connsiteY1559" fmla="*/ 4717723 h 6757249"/>
              <a:gd name="connsiteX1560" fmla="*/ 11640753 w 11951120"/>
              <a:gd name="connsiteY1560" fmla="*/ 4984952 h 6757249"/>
              <a:gd name="connsiteX1561" fmla="*/ 11639711 w 11951120"/>
              <a:gd name="connsiteY1561" fmla="*/ 4985496 h 6757249"/>
              <a:gd name="connsiteX1562" fmla="*/ 11640084 w 11951120"/>
              <a:gd name="connsiteY1562" fmla="*/ 4985496 h 6757249"/>
              <a:gd name="connsiteX1563" fmla="*/ 11592283 w 11951120"/>
              <a:gd name="connsiteY1563" fmla="*/ 5109012 h 6757249"/>
              <a:gd name="connsiteX1564" fmla="*/ 11590715 w 11951120"/>
              <a:gd name="connsiteY1564" fmla="*/ 5109012 h 6757249"/>
              <a:gd name="connsiteX1565" fmla="*/ 11590985 w 11951120"/>
              <a:gd name="connsiteY1565" fmla="*/ 5137877 h 6757249"/>
              <a:gd name="connsiteX1566" fmla="*/ 11647805 w 11951120"/>
              <a:gd name="connsiteY1566" fmla="*/ 5139109 h 6757249"/>
              <a:gd name="connsiteX1567" fmla="*/ 11731250 w 11951120"/>
              <a:gd name="connsiteY1567" fmla="*/ 5178507 h 6757249"/>
              <a:gd name="connsiteX1568" fmla="*/ 11682940 w 11951120"/>
              <a:gd name="connsiteY1568" fmla="*/ 5296706 h 6757249"/>
              <a:gd name="connsiteX1569" fmla="*/ 11682908 w 11951120"/>
              <a:gd name="connsiteY1569" fmla="*/ 5296686 h 6757249"/>
              <a:gd name="connsiteX1570" fmla="*/ 11639535 w 11951120"/>
              <a:gd name="connsiteY1570" fmla="*/ 5344936 h 6757249"/>
              <a:gd name="connsiteX1571" fmla="*/ 11640084 w 11951120"/>
              <a:gd name="connsiteY1571" fmla="*/ 5345624 h 6757249"/>
              <a:gd name="connsiteX1572" fmla="*/ 11635671 w 11951120"/>
              <a:gd name="connsiteY1572" fmla="*/ 5393822 h 6757249"/>
              <a:gd name="connsiteX1573" fmla="*/ 11635578 w 11951120"/>
              <a:gd name="connsiteY1573" fmla="*/ 5394106 h 6757249"/>
              <a:gd name="connsiteX1574" fmla="*/ 11655046 w 11951120"/>
              <a:gd name="connsiteY1574" fmla="*/ 5447326 h 6757249"/>
              <a:gd name="connsiteX1575" fmla="*/ 11565390 w 11951120"/>
              <a:gd name="connsiteY1575" fmla="*/ 5538027 h 6757249"/>
              <a:gd name="connsiteX1576" fmla="*/ 11565006 w 11951120"/>
              <a:gd name="connsiteY1576" fmla="*/ 5537562 h 6757249"/>
              <a:gd name="connsiteX1577" fmla="*/ 11565006 w 11951120"/>
              <a:gd name="connsiteY1577" fmla="*/ 5539535 h 6757249"/>
              <a:gd name="connsiteX1578" fmla="*/ 11539266 w 11951120"/>
              <a:gd name="connsiteY1578" fmla="*/ 5562160 h 6757249"/>
              <a:gd name="connsiteX1579" fmla="*/ 11539029 w 11951120"/>
              <a:gd name="connsiteY1579" fmla="*/ 5561219 h 6757249"/>
              <a:gd name="connsiteX1580" fmla="*/ 11538789 w 11951120"/>
              <a:gd name="connsiteY1580" fmla="*/ 5561861 h 6757249"/>
              <a:gd name="connsiteX1581" fmla="*/ 11538789 w 11951120"/>
              <a:gd name="connsiteY1581" fmla="*/ 5587073 h 6757249"/>
              <a:gd name="connsiteX1582" fmla="*/ 11538862 w 11951120"/>
              <a:gd name="connsiteY1582" fmla="*/ 5587095 h 6757249"/>
              <a:gd name="connsiteX1583" fmla="*/ 11565005 w 11951120"/>
              <a:gd name="connsiteY1583" fmla="*/ 5706549 h 6757249"/>
              <a:gd name="connsiteX1584" fmla="*/ 11495290 w 11951120"/>
              <a:gd name="connsiteY1584" fmla="*/ 5755215 h 6757249"/>
              <a:gd name="connsiteX1585" fmla="*/ 11495916 w 11951120"/>
              <a:gd name="connsiteY1585" fmla="*/ 5752418 h 6757249"/>
              <a:gd name="connsiteX1586" fmla="*/ 11494423 w 11951120"/>
              <a:gd name="connsiteY1586" fmla="*/ 5754727 h 6757249"/>
              <a:gd name="connsiteX1587" fmla="*/ 11446277 w 11951120"/>
              <a:gd name="connsiteY1587" fmla="*/ 5802991 h 6757249"/>
              <a:gd name="connsiteX1588" fmla="*/ 11424393 w 11951120"/>
              <a:gd name="connsiteY1588" fmla="*/ 5829318 h 6757249"/>
              <a:gd name="connsiteX1589" fmla="*/ 11345609 w 11951120"/>
              <a:gd name="connsiteY1589" fmla="*/ 5877582 h 6757249"/>
              <a:gd name="connsiteX1590" fmla="*/ 11344055 w 11951120"/>
              <a:gd name="connsiteY1590" fmla="*/ 5878981 h 6757249"/>
              <a:gd name="connsiteX1591" fmla="*/ 11345136 w 11951120"/>
              <a:gd name="connsiteY1591" fmla="*/ 5878557 h 6757249"/>
              <a:gd name="connsiteX1592" fmla="*/ 11323261 w 11951120"/>
              <a:gd name="connsiteY1592" fmla="*/ 5947199 h 6757249"/>
              <a:gd name="connsiteX1593" fmla="*/ 11321398 w 11951120"/>
              <a:gd name="connsiteY1593" fmla="*/ 5948483 h 6757249"/>
              <a:gd name="connsiteX1594" fmla="*/ 11323684 w 11951120"/>
              <a:gd name="connsiteY1594" fmla="*/ 5948272 h 6757249"/>
              <a:gd name="connsiteX1595" fmla="*/ 11323684 w 11951120"/>
              <a:gd name="connsiteY1595" fmla="*/ 5973831 h 6757249"/>
              <a:gd name="connsiteX1596" fmla="*/ 11324069 w 11951120"/>
              <a:gd name="connsiteY1596" fmla="*/ 5973905 h 6757249"/>
              <a:gd name="connsiteX1597" fmla="*/ 11350499 w 11951120"/>
              <a:gd name="connsiteY1597" fmla="*/ 5995892 h 6757249"/>
              <a:gd name="connsiteX1598" fmla="*/ 11271207 w 11951120"/>
              <a:gd name="connsiteY1598" fmla="*/ 6105827 h 6757249"/>
              <a:gd name="connsiteX1599" fmla="*/ 11178700 w 11951120"/>
              <a:gd name="connsiteY1599" fmla="*/ 6097032 h 6757249"/>
              <a:gd name="connsiteX1600" fmla="*/ 11178700 w 11951120"/>
              <a:gd name="connsiteY1600" fmla="*/ 6096539 h 6757249"/>
              <a:gd name="connsiteX1601" fmla="*/ 11111747 w 11951120"/>
              <a:gd name="connsiteY1601" fmla="*/ 6158971 h 6757249"/>
              <a:gd name="connsiteX1602" fmla="*/ 10859432 w 11951120"/>
              <a:gd name="connsiteY1602" fmla="*/ 6211099 h 6757249"/>
              <a:gd name="connsiteX1603" fmla="*/ 10723772 w 11951120"/>
              <a:gd name="connsiteY1603" fmla="*/ 6237578 h 6757249"/>
              <a:gd name="connsiteX1604" fmla="*/ 10724152 w 11951120"/>
              <a:gd name="connsiteY1604" fmla="*/ 6234315 h 6757249"/>
              <a:gd name="connsiteX1605" fmla="*/ 10723063 w 11951120"/>
              <a:gd name="connsiteY1605" fmla="*/ 6237857 h 6757249"/>
              <a:gd name="connsiteX1606" fmla="*/ 10650130 w 11951120"/>
              <a:gd name="connsiteY1606" fmla="*/ 6189927 h 6757249"/>
              <a:gd name="connsiteX1607" fmla="*/ 10693032 w 11951120"/>
              <a:gd name="connsiteY1607" fmla="*/ 6133284 h 6757249"/>
              <a:gd name="connsiteX1608" fmla="*/ 10708956 w 11951120"/>
              <a:gd name="connsiteY1608" fmla="*/ 6138108 h 6757249"/>
              <a:gd name="connsiteX1609" fmla="*/ 10742909 w 11951120"/>
              <a:gd name="connsiteY1609" fmla="*/ 6100682 h 6757249"/>
              <a:gd name="connsiteX1610" fmla="*/ 10793296 w 11951120"/>
              <a:gd name="connsiteY1610" fmla="*/ 6072080 h 6757249"/>
              <a:gd name="connsiteX1611" fmla="*/ 10793408 w 11951120"/>
              <a:gd name="connsiteY1611" fmla="*/ 6071701 h 6757249"/>
              <a:gd name="connsiteX1612" fmla="*/ 10793544 w 11951120"/>
              <a:gd name="connsiteY1612" fmla="*/ 6071452 h 6757249"/>
              <a:gd name="connsiteX1613" fmla="*/ 10793544 w 11951120"/>
              <a:gd name="connsiteY1613" fmla="*/ 6050156 h 6757249"/>
              <a:gd name="connsiteX1614" fmla="*/ 10723628 w 11951120"/>
              <a:gd name="connsiteY1614" fmla="*/ 6045797 h 6757249"/>
              <a:gd name="connsiteX1615" fmla="*/ 10706508 w 11951120"/>
              <a:gd name="connsiteY1615" fmla="*/ 6071923 h 6757249"/>
              <a:gd name="connsiteX1616" fmla="*/ 10654079 w 11951120"/>
              <a:gd name="connsiteY1616" fmla="*/ 6023015 h 6757249"/>
              <a:gd name="connsiteX1617" fmla="*/ 10653226 w 11951120"/>
              <a:gd name="connsiteY1617" fmla="*/ 6022591 h 6757249"/>
              <a:gd name="connsiteX1618" fmla="*/ 10627321 w 11951120"/>
              <a:gd name="connsiteY1618" fmla="*/ 6081078 h 6757249"/>
              <a:gd name="connsiteX1619" fmla="*/ 10578037 w 11951120"/>
              <a:gd name="connsiteY1619" fmla="*/ 6119880 h 6757249"/>
              <a:gd name="connsiteX1620" fmla="*/ 10556183 w 11951120"/>
              <a:gd name="connsiteY1620" fmla="*/ 6098003 h 6757249"/>
              <a:gd name="connsiteX1621" fmla="*/ 10524423 w 11951120"/>
              <a:gd name="connsiteY1621" fmla="*/ 6110217 h 6757249"/>
              <a:gd name="connsiteX1622" fmla="*/ 10420643 w 11951120"/>
              <a:gd name="connsiteY1622" fmla="*/ 6150044 h 6757249"/>
              <a:gd name="connsiteX1623" fmla="*/ 10359141 w 11951120"/>
              <a:gd name="connsiteY1623" fmla="*/ 6119543 h 6757249"/>
              <a:gd name="connsiteX1624" fmla="*/ 10358791 w 11951120"/>
              <a:gd name="connsiteY1624" fmla="*/ 6118851 h 6757249"/>
              <a:gd name="connsiteX1625" fmla="*/ 10331132 w 11951120"/>
              <a:gd name="connsiteY1625" fmla="*/ 6100192 h 6757249"/>
              <a:gd name="connsiteX1626" fmla="*/ 10311860 w 11951120"/>
              <a:gd name="connsiteY1626" fmla="*/ 6067381 h 6757249"/>
              <a:gd name="connsiteX1627" fmla="*/ 10311905 w 11951120"/>
              <a:gd name="connsiteY1627" fmla="*/ 6067266 h 6757249"/>
              <a:gd name="connsiteX1628" fmla="*/ 10264553 w 11951120"/>
              <a:gd name="connsiteY1628" fmla="*/ 6071614 h 6757249"/>
              <a:gd name="connsiteX1629" fmla="*/ 10264883 w 11951120"/>
              <a:gd name="connsiteY1629" fmla="*/ 6066293 h 6757249"/>
              <a:gd name="connsiteX1630" fmla="*/ 10264011 w 11951120"/>
              <a:gd name="connsiteY1630" fmla="*/ 6070639 h 6757249"/>
              <a:gd name="connsiteX1631" fmla="*/ 10264011 w 11951120"/>
              <a:gd name="connsiteY1631" fmla="*/ 6088190 h 6757249"/>
              <a:gd name="connsiteX1632" fmla="*/ 10261693 w 11951120"/>
              <a:gd name="connsiteY1632" fmla="*/ 6090435 h 6757249"/>
              <a:gd name="connsiteX1633" fmla="*/ 10272874 w 11951120"/>
              <a:gd name="connsiteY1633" fmla="*/ 6091906 h 6757249"/>
              <a:gd name="connsiteX1634" fmla="*/ 10281628 w 11951120"/>
              <a:gd name="connsiteY1634" fmla="*/ 6127131 h 6757249"/>
              <a:gd name="connsiteX1635" fmla="*/ 9988405 w 11951120"/>
              <a:gd name="connsiteY1635" fmla="*/ 6492584 h 6757249"/>
              <a:gd name="connsiteX1636" fmla="*/ 9953395 w 11951120"/>
              <a:gd name="connsiteY1636" fmla="*/ 6479376 h 6757249"/>
              <a:gd name="connsiteX1637" fmla="*/ 9931511 w 11951120"/>
              <a:gd name="connsiteY1637" fmla="*/ 6479376 h 6757249"/>
              <a:gd name="connsiteX1638" fmla="*/ 9930071 w 11951120"/>
              <a:gd name="connsiteY1638" fmla="*/ 6477927 h 6757249"/>
              <a:gd name="connsiteX1639" fmla="*/ 9929777 w 11951120"/>
              <a:gd name="connsiteY1639" fmla="*/ 6479178 h 6757249"/>
              <a:gd name="connsiteX1640" fmla="*/ 9883207 w 11951120"/>
              <a:gd name="connsiteY1640" fmla="*/ 6479178 h 6757249"/>
              <a:gd name="connsiteX1641" fmla="*/ 9883036 w 11951120"/>
              <a:gd name="connsiteY1641" fmla="*/ 6479715 h 6757249"/>
              <a:gd name="connsiteX1642" fmla="*/ 9785281 w 11951120"/>
              <a:gd name="connsiteY1642" fmla="*/ 6527750 h 6757249"/>
              <a:gd name="connsiteX1643" fmla="*/ 9785035 w 11951120"/>
              <a:gd name="connsiteY1643" fmla="*/ 6527142 h 6757249"/>
              <a:gd name="connsiteX1644" fmla="*/ 9734024 w 11951120"/>
              <a:gd name="connsiteY1644" fmla="*/ 6501137 h 6757249"/>
              <a:gd name="connsiteX1645" fmla="*/ 9733916 w 11951120"/>
              <a:gd name="connsiteY1645" fmla="*/ 6501794 h 6757249"/>
              <a:gd name="connsiteX1646" fmla="*/ 9690121 w 11951120"/>
              <a:gd name="connsiteY1646" fmla="*/ 6532805 h 6757249"/>
              <a:gd name="connsiteX1647" fmla="*/ 9687768 w 11951120"/>
              <a:gd name="connsiteY1647" fmla="*/ 6531966 h 6757249"/>
              <a:gd name="connsiteX1648" fmla="*/ 9662535 w 11951120"/>
              <a:gd name="connsiteY1648" fmla="*/ 6574823 h 6757249"/>
              <a:gd name="connsiteX1649" fmla="*/ 9663933 w 11951120"/>
              <a:gd name="connsiteY1649" fmla="*/ 6576195 h 6757249"/>
              <a:gd name="connsiteX1650" fmla="*/ 9663933 w 11951120"/>
              <a:gd name="connsiteY1650" fmla="*/ 6624459 h 6757249"/>
              <a:gd name="connsiteX1651" fmla="*/ 9641587 w 11951120"/>
              <a:gd name="connsiteY1651" fmla="*/ 6650784 h 6757249"/>
              <a:gd name="connsiteX1652" fmla="*/ 9626505 w 11951120"/>
              <a:gd name="connsiteY1652" fmla="*/ 6600875 h 6757249"/>
              <a:gd name="connsiteX1653" fmla="*/ 9641237 w 11951120"/>
              <a:gd name="connsiteY1653" fmla="*/ 6555338 h 6757249"/>
              <a:gd name="connsiteX1654" fmla="*/ 9640309 w 11951120"/>
              <a:gd name="connsiteY1654" fmla="*/ 6553585 h 6757249"/>
              <a:gd name="connsiteX1655" fmla="*/ 9597942 w 11951120"/>
              <a:gd name="connsiteY1655" fmla="*/ 6553585 h 6757249"/>
              <a:gd name="connsiteX1656" fmla="*/ 9596898 w 11951120"/>
              <a:gd name="connsiteY1656" fmla="*/ 6554639 h 6757249"/>
              <a:gd name="connsiteX1657" fmla="*/ 9543271 w 11951120"/>
              <a:gd name="connsiteY1657" fmla="*/ 6554639 h 6757249"/>
              <a:gd name="connsiteX1658" fmla="*/ 9543499 w 11951120"/>
              <a:gd name="connsiteY1658" fmla="*/ 6554173 h 6757249"/>
              <a:gd name="connsiteX1659" fmla="*/ 9517890 w 11951120"/>
              <a:gd name="connsiteY1659" fmla="*/ 6549927 h 6757249"/>
              <a:gd name="connsiteX1660" fmla="*/ 9521291 w 11951120"/>
              <a:gd name="connsiteY1660" fmla="*/ 6556985 h 6757249"/>
              <a:gd name="connsiteX1661" fmla="*/ 9521822 w 11951120"/>
              <a:gd name="connsiteY1661" fmla="*/ 6558086 h 6757249"/>
              <a:gd name="connsiteX1662" fmla="*/ 9470875 w 11951120"/>
              <a:gd name="connsiteY1662" fmla="*/ 6575707 h 6757249"/>
              <a:gd name="connsiteX1663" fmla="*/ 9470875 w 11951120"/>
              <a:gd name="connsiteY1663" fmla="*/ 6529577 h 6757249"/>
              <a:gd name="connsiteX1664" fmla="*/ 9470387 w 11951120"/>
              <a:gd name="connsiteY1664" fmla="*/ 6529373 h 6757249"/>
              <a:gd name="connsiteX1665" fmla="*/ 9444063 w 11951120"/>
              <a:gd name="connsiteY1665" fmla="*/ 6454616 h 6757249"/>
              <a:gd name="connsiteX1666" fmla="*/ 9445093 w 11951120"/>
              <a:gd name="connsiteY1666" fmla="*/ 6454013 h 6757249"/>
              <a:gd name="connsiteX1667" fmla="*/ 9443817 w 11951120"/>
              <a:gd name="connsiteY1667" fmla="*/ 6454295 h 6757249"/>
              <a:gd name="connsiteX1668" fmla="*/ 9435041 w 11951120"/>
              <a:gd name="connsiteY1668" fmla="*/ 6454295 h 6757249"/>
              <a:gd name="connsiteX1669" fmla="*/ 9426267 w 11951120"/>
              <a:gd name="connsiteY1669" fmla="*/ 6458693 h 6757249"/>
              <a:gd name="connsiteX1670" fmla="*/ 9425267 w 11951120"/>
              <a:gd name="connsiteY1670" fmla="*/ 6458155 h 6757249"/>
              <a:gd name="connsiteX1671" fmla="*/ 9425292 w 11951120"/>
              <a:gd name="connsiteY1671" fmla="*/ 6458187 h 6757249"/>
              <a:gd name="connsiteX1672" fmla="*/ 9377028 w 11951120"/>
              <a:gd name="connsiteY1672" fmla="*/ 6554256 h 6757249"/>
              <a:gd name="connsiteX1673" fmla="*/ 9376471 w 11951120"/>
              <a:gd name="connsiteY1673" fmla="*/ 6553616 h 6757249"/>
              <a:gd name="connsiteX1674" fmla="*/ 9377028 w 11951120"/>
              <a:gd name="connsiteY1674" fmla="*/ 6555374 h 6757249"/>
              <a:gd name="connsiteX1675" fmla="*/ 9276112 w 11951120"/>
              <a:gd name="connsiteY1675" fmla="*/ 6572952 h 6757249"/>
              <a:gd name="connsiteX1676" fmla="*/ 9227847 w 11951120"/>
              <a:gd name="connsiteY1676" fmla="*/ 6485063 h 6757249"/>
              <a:gd name="connsiteX1677" fmla="*/ 9231972 w 11951120"/>
              <a:gd name="connsiteY1677" fmla="*/ 6483401 h 6757249"/>
              <a:gd name="connsiteX1678" fmla="*/ 9229818 w 11951120"/>
              <a:gd name="connsiteY1678" fmla="*/ 6483163 h 6757249"/>
              <a:gd name="connsiteX1679" fmla="*/ 9084762 w 11951120"/>
              <a:gd name="connsiteY1679" fmla="*/ 6500629 h 6757249"/>
              <a:gd name="connsiteX1680" fmla="*/ 9084801 w 11951120"/>
              <a:gd name="connsiteY1680" fmla="*/ 6500511 h 6757249"/>
              <a:gd name="connsiteX1681" fmla="*/ 9083306 w 11951120"/>
              <a:gd name="connsiteY1681" fmla="*/ 6502198 h 6757249"/>
              <a:gd name="connsiteX1682" fmla="*/ 9083306 w 11951120"/>
              <a:gd name="connsiteY1682" fmla="*/ 6550398 h 6757249"/>
              <a:gd name="connsiteX1683" fmla="*/ 9030906 w 11951120"/>
              <a:gd name="connsiteY1683" fmla="*/ 6528489 h 6757249"/>
              <a:gd name="connsiteX1684" fmla="*/ 8995971 w 11951120"/>
              <a:gd name="connsiteY1684" fmla="*/ 6489054 h 6757249"/>
              <a:gd name="connsiteX1685" fmla="*/ 8995819 w 11951120"/>
              <a:gd name="connsiteY1685" fmla="*/ 6488850 h 6757249"/>
              <a:gd name="connsiteX1686" fmla="*/ 8952693 w 11951120"/>
              <a:gd name="connsiteY1686" fmla="*/ 6509167 h 6757249"/>
              <a:gd name="connsiteX1687" fmla="*/ 8816172 w 11951120"/>
              <a:gd name="connsiteY1687" fmla="*/ 6502181 h 6757249"/>
              <a:gd name="connsiteX1688" fmla="*/ 8804090 w 11951120"/>
              <a:gd name="connsiteY1688" fmla="*/ 6479601 h 6757249"/>
              <a:gd name="connsiteX1689" fmla="*/ 8824739 w 11951120"/>
              <a:gd name="connsiteY1689" fmla="*/ 6457256 h 6757249"/>
              <a:gd name="connsiteX1690" fmla="*/ 8824671 w 11951120"/>
              <a:gd name="connsiteY1690" fmla="*/ 6457190 h 6757249"/>
              <a:gd name="connsiteX1691" fmla="*/ 8864374 w 11951120"/>
              <a:gd name="connsiteY1691" fmla="*/ 6402138 h 6757249"/>
              <a:gd name="connsiteX1692" fmla="*/ 8864556 w 11951120"/>
              <a:gd name="connsiteY1692" fmla="*/ 6400444 h 6757249"/>
              <a:gd name="connsiteX1693" fmla="*/ 8868905 w 11951120"/>
              <a:gd name="connsiteY1693" fmla="*/ 6361027 h 6757249"/>
              <a:gd name="connsiteX1694" fmla="*/ 8839685 w 11951120"/>
              <a:gd name="connsiteY1694" fmla="*/ 6382102 h 6757249"/>
              <a:gd name="connsiteX1695" fmla="*/ 8746227 w 11951120"/>
              <a:gd name="connsiteY1695" fmla="*/ 6372254 h 6757249"/>
              <a:gd name="connsiteX1696" fmla="*/ 8703844 w 11951120"/>
              <a:gd name="connsiteY1696" fmla="*/ 6364943 h 6757249"/>
              <a:gd name="connsiteX1697" fmla="*/ 8629420 w 11951120"/>
              <a:gd name="connsiteY1697" fmla="*/ 6440746 h 6757249"/>
              <a:gd name="connsiteX1698" fmla="*/ 8572382 w 11951120"/>
              <a:gd name="connsiteY1698" fmla="*/ 6440746 h 6757249"/>
              <a:gd name="connsiteX1699" fmla="*/ 8603095 w 11951120"/>
              <a:gd name="connsiteY1699" fmla="*/ 6382650 h 6757249"/>
              <a:gd name="connsiteX1700" fmla="*/ 8603293 w 11951120"/>
              <a:gd name="connsiteY1700" fmla="*/ 6382420 h 6757249"/>
              <a:gd name="connsiteX1701" fmla="*/ 8602607 w 11951120"/>
              <a:gd name="connsiteY1701" fmla="*/ 6382650 h 6757249"/>
              <a:gd name="connsiteX1702" fmla="*/ 8580847 w 11951120"/>
              <a:gd name="connsiteY1702" fmla="*/ 6334521 h 6757249"/>
              <a:gd name="connsiteX1703" fmla="*/ 8536809 w 11951120"/>
              <a:gd name="connsiteY1703" fmla="*/ 6360560 h 6757249"/>
              <a:gd name="connsiteX1704" fmla="*/ 8534191 w 11951120"/>
              <a:gd name="connsiteY1704" fmla="*/ 6361794 h 6757249"/>
              <a:gd name="connsiteX1705" fmla="*/ 8506511 w 11951120"/>
              <a:gd name="connsiteY1705" fmla="*/ 6409386 h 6757249"/>
              <a:gd name="connsiteX1706" fmla="*/ 8461758 w 11951120"/>
              <a:gd name="connsiteY1706" fmla="*/ 6422082 h 6757249"/>
              <a:gd name="connsiteX1707" fmla="*/ 8453669 w 11951120"/>
              <a:gd name="connsiteY1707" fmla="*/ 6397792 h 6757249"/>
              <a:gd name="connsiteX1708" fmla="*/ 8461530 w 11951120"/>
              <a:gd name="connsiteY1708" fmla="*/ 6361307 h 6757249"/>
              <a:gd name="connsiteX1709" fmla="*/ 8461471 w 11951120"/>
              <a:gd name="connsiteY1709" fmla="*/ 6361275 h 6757249"/>
              <a:gd name="connsiteX1710" fmla="*/ 8447211 w 11951120"/>
              <a:gd name="connsiteY1710" fmla="*/ 6325172 h 6757249"/>
              <a:gd name="connsiteX1711" fmla="*/ 8413538 w 11951120"/>
              <a:gd name="connsiteY1711" fmla="*/ 6312523 h 6757249"/>
              <a:gd name="connsiteX1712" fmla="*/ 8387302 w 11951120"/>
              <a:gd name="connsiteY1712" fmla="*/ 6334385 h 6757249"/>
              <a:gd name="connsiteX1713" fmla="*/ 8386902 w 11951120"/>
              <a:gd name="connsiteY1713" fmla="*/ 6333985 h 6757249"/>
              <a:gd name="connsiteX1714" fmla="*/ 8386914 w 11951120"/>
              <a:gd name="connsiteY1714" fmla="*/ 6334521 h 6757249"/>
              <a:gd name="connsiteX1715" fmla="*/ 8194556 w 11951120"/>
              <a:gd name="connsiteY1715" fmla="*/ 6312399 h 6757249"/>
              <a:gd name="connsiteX1716" fmla="*/ 8194556 w 11951120"/>
              <a:gd name="connsiteY1716" fmla="*/ 6311002 h 6757249"/>
              <a:gd name="connsiteX1717" fmla="*/ 8193318 w 11951120"/>
              <a:gd name="connsiteY1717" fmla="*/ 6312876 h 6757249"/>
              <a:gd name="connsiteX1718" fmla="*/ 8076369 w 11951120"/>
              <a:gd name="connsiteY1718" fmla="*/ 6430914 h 6757249"/>
              <a:gd name="connsiteX1719" fmla="*/ 8076270 w 11951120"/>
              <a:gd name="connsiteY1719" fmla="*/ 6430856 h 6757249"/>
              <a:gd name="connsiteX1720" fmla="*/ 8076577 w 11951120"/>
              <a:gd name="connsiteY1720" fmla="*/ 6431110 h 6757249"/>
              <a:gd name="connsiteX1721" fmla="*/ 7953235 w 11951120"/>
              <a:gd name="connsiteY1721" fmla="*/ 6479308 h 6757249"/>
              <a:gd name="connsiteX1722" fmla="*/ 7953598 w 11951120"/>
              <a:gd name="connsiteY1722" fmla="*/ 6478947 h 6757249"/>
              <a:gd name="connsiteX1723" fmla="*/ 7883596 w 11951120"/>
              <a:gd name="connsiteY1723" fmla="*/ 6409386 h 6757249"/>
              <a:gd name="connsiteX1724" fmla="*/ 7862129 w 11951120"/>
              <a:gd name="connsiteY1724" fmla="*/ 6405082 h 6757249"/>
              <a:gd name="connsiteX1725" fmla="*/ 7861527 w 11951120"/>
              <a:gd name="connsiteY1725" fmla="*/ 6404938 h 6757249"/>
              <a:gd name="connsiteX1726" fmla="*/ 7862069 w 11951120"/>
              <a:gd name="connsiteY1726" fmla="*/ 6405318 h 6757249"/>
              <a:gd name="connsiteX1727" fmla="*/ 7817906 w 11951120"/>
              <a:gd name="connsiteY1727" fmla="*/ 6414094 h 6757249"/>
              <a:gd name="connsiteX1728" fmla="*/ 7815195 w 11951120"/>
              <a:gd name="connsiteY1728" fmla="*/ 6412622 h 6757249"/>
              <a:gd name="connsiteX1729" fmla="*/ 7816487 w 11951120"/>
              <a:gd name="connsiteY1729" fmla="*/ 6414316 h 6757249"/>
              <a:gd name="connsiteX1730" fmla="*/ 7756305 w 11951120"/>
              <a:gd name="connsiteY1730" fmla="*/ 6449045 h 6757249"/>
              <a:gd name="connsiteX1731" fmla="*/ 7738879 w 11951120"/>
              <a:gd name="connsiteY1731" fmla="*/ 6451209 h 6757249"/>
              <a:gd name="connsiteX1732" fmla="*/ 7690126 w 11951120"/>
              <a:gd name="connsiteY1732" fmla="*/ 6492584 h 6757249"/>
              <a:gd name="connsiteX1733" fmla="*/ 7655116 w 11951120"/>
              <a:gd name="connsiteY1733" fmla="*/ 6479376 h 6757249"/>
              <a:gd name="connsiteX1734" fmla="*/ 7633232 w 11951120"/>
              <a:gd name="connsiteY1734" fmla="*/ 6479376 h 6757249"/>
              <a:gd name="connsiteX1735" fmla="*/ 7631792 w 11951120"/>
              <a:gd name="connsiteY1735" fmla="*/ 6477927 h 6757249"/>
              <a:gd name="connsiteX1736" fmla="*/ 7631498 w 11951120"/>
              <a:gd name="connsiteY1736" fmla="*/ 6479178 h 6757249"/>
              <a:gd name="connsiteX1737" fmla="*/ 7584928 w 11951120"/>
              <a:gd name="connsiteY1737" fmla="*/ 6479178 h 6757249"/>
              <a:gd name="connsiteX1738" fmla="*/ 7584757 w 11951120"/>
              <a:gd name="connsiteY1738" fmla="*/ 6479715 h 6757249"/>
              <a:gd name="connsiteX1739" fmla="*/ 7487002 w 11951120"/>
              <a:gd name="connsiteY1739" fmla="*/ 6527750 h 6757249"/>
              <a:gd name="connsiteX1740" fmla="*/ 7486756 w 11951120"/>
              <a:gd name="connsiteY1740" fmla="*/ 6527142 h 6757249"/>
              <a:gd name="connsiteX1741" fmla="*/ 7435745 w 11951120"/>
              <a:gd name="connsiteY1741" fmla="*/ 6501137 h 6757249"/>
              <a:gd name="connsiteX1742" fmla="*/ 7435637 w 11951120"/>
              <a:gd name="connsiteY1742" fmla="*/ 6501794 h 6757249"/>
              <a:gd name="connsiteX1743" fmla="*/ 7391842 w 11951120"/>
              <a:gd name="connsiteY1743" fmla="*/ 6532805 h 6757249"/>
              <a:gd name="connsiteX1744" fmla="*/ 7389489 w 11951120"/>
              <a:gd name="connsiteY1744" fmla="*/ 6531966 h 6757249"/>
              <a:gd name="connsiteX1745" fmla="*/ 7364256 w 11951120"/>
              <a:gd name="connsiteY1745" fmla="*/ 6574823 h 6757249"/>
              <a:gd name="connsiteX1746" fmla="*/ 7365654 w 11951120"/>
              <a:gd name="connsiteY1746" fmla="*/ 6576195 h 6757249"/>
              <a:gd name="connsiteX1747" fmla="*/ 7365654 w 11951120"/>
              <a:gd name="connsiteY1747" fmla="*/ 6624459 h 6757249"/>
              <a:gd name="connsiteX1748" fmla="*/ 7343308 w 11951120"/>
              <a:gd name="connsiteY1748" fmla="*/ 6650784 h 6757249"/>
              <a:gd name="connsiteX1749" fmla="*/ 7328226 w 11951120"/>
              <a:gd name="connsiteY1749" fmla="*/ 6600875 h 6757249"/>
              <a:gd name="connsiteX1750" fmla="*/ 7342958 w 11951120"/>
              <a:gd name="connsiteY1750" fmla="*/ 6555338 h 6757249"/>
              <a:gd name="connsiteX1751" fmla="*/ 7342030 w 11951120"/>
              <a:gd name="connsiteY1751" fmla="*/ 6553585 h 6757249"/>
              <a:gd name="connsiteX1752" fmla="*/ 7299663 w 11951120"/>
              <a:gd name="connsiteY1752" fmla="*/ 6553585 h 6757249"/>
              <a:gd name="connsiteX1753" fmla="*/ 7298619 w 11951120"/>
              <a:gd name="connsiteY1753" fmla="*/ 6554639 h 6757249"/>
              <a:gd name="connsiteX1754" fmla="*/ 7244992 w 11951120"/>
              <a:gd name="connsiteY1754" fmla="*/ 6554639 h 6757249"/>
              <a:gd name="connsiteX1755" fmla="*/ 7245220 w 11951120"/>
              <a:gd name="connsiteY1755" fmla="*/ 6554173 h 6757249"/>
              <a:gd name="connsiteX1756" fmla="*/ 7219611 w 11951120"/>
              <a:gd name="connsiteY1756" fmla="*/ 6549927 h 6757249"/>
              <a:gd name="connsiteX1757" fmla="*/ 7223012 w 11951120"/>
              <a:gd name="connsiteY1757" fmla="*/ 6556985 h 6757249"/>
              <a:gd name="connsiteX1758" fmla="*/ 7223543 w 11951120"/>
              <a:gd name="connsiteY1758" fmla="*/ 6558086 h 6757249"/>
              <a:gd name="connsiteX1759" fmla="*/ 7172596 w 11951120"/>
              <a:gd name="connsiteY1759" fmla="*/ 6575707 h 6757249"/>
              <a:gd name="connsiteX1760" fmla="*/ 7172596 w 11951120"/>
              <a:gd name="connsiteY1760" fmla="*/ 6529577 h 6757249"/>
              <a:gd name="connsiteX1761" fmla="*/ 7172108 w 11951120"/>
              <a:gd name="connsiteY1761" fmla="*/ 6529373 h 6757249"/>
              <a:gd name="connsiteX1762" fmla="*/ 7145784 w 11951120"/>
              <a:gd name="connsiteY1762" fmla="*/ 6454616 h 6757249"/>
              <a:gd name="connsiteX1763" fmla="*/ 7146814 w 11951120"/>
              <a:gd name="connsiteY1763" fmla="*/ 6454013 h 6757249"/>
              <a:gd name="connsiteX1764" fmla="*/ 7145538 w 11951120"/>
              <a:gd name="connsiteY1764" fmla="*/ 6454295 h 6757249"/>
              <a:gd name="connsiteX1765" fmla="*/ 7136762 w 11951120"/>
              <a:gd name="connsiteY1765" fmla="*/ 6454295 h 6757249"/>
              <a:gd name="connsiteX1766" fmla="*/ 7127988 w 11951120"/>
              <a:gd name="connsiteY1766" fmla="*/ 6458693 h 6757249"/>
              <a:gd name="connsiteX1767" fmla="*/ 7126988 w 11951120"/>
              <a:gd name="connsiteY1767" fmla="*/ 6458155 h 6757249"/>
              <a:gd name="connsiteX1768" fmla="*/ 7127013 w 11951120"/>
              <a:gd name="connsiteY1768" fmla="*/ 6458187 h 6757249"/>
              <a:gd name="connsiteX1769" fmla="*/ 7078749 w 11951120"/>
              <a:gd name="connsiteY1769" fmla="*/ 6554256 h 6757249"/>
              <a:gd name="connsiteX1770" fmla="*/ 7078192 w 11951120"/>
              <a:gd name="connsiteY1770" fmla="*/ 6553616 h 6757249"/>
              <a:gd name="connsiteX1771" fmla="*/ 7078749 w 11951120"/>
              <a:gd name="connsiteY1771" fmla="*/ 6555374 h 6757249"/>
              <a:gd name="connsiteX1772" fmla="*/ 6977833 w 11951120"/>
              <a:gd name="connsiteY1772" fmla="*/ 6572952 h 6757249"/>
              <a:gd name="connsiteX1773" fmla="*/ 6929568 w 11951120"/>
              <a:gd name="connsiteY1773" fmla="*/ 6485063 h 6757249"/>
              <a:gd name="connsiteX1774" fmla="*/ 6933693 w 11951120"/>
              <a:gd name="connsiteY1774" fmla="*/ 6483401 h 6757249"/>
              <a:gd name="connsiteX1775" fmla="*/ 6931539 w 11951120"/>
              <a:gd name="connsiteY1775" fmla="*/ 6483163 h 6757249"/>
              <a:gd name="connsiteX1776" fmla="*/ 6786483 w 11951120"/>
              <a:gd name="connsiteY1776" fmla="*/ 6500629 h 6757249"/>
              <a:gd name="connsiteX1777" fmla="*/ 6786522 w 11951120"/>
              <a:gd name="connsiteY1777" fmla="*/ 6500511 h 6757249"/>
              <a:gd name="connsiteX1778" fmla="*/ 6785027 w 11951120"/>
              <a:gd name="connsiteY1778" fmla="*/ 6502198 h 6757249"/>
              <a:gd name="connsiteX1779" fmla="*/ 6785027 w 11951120"/>
              <a:gd name="connsiteY1779" fmla="*/ 6550398 h 6757249"/>
              <a:gd name="connsiteX1780" fmla="*/ 6732627 w 11951120"/>
              <a:gd name="connsiteY1780" fmla="*/ 6528489 h 6757249"/>
              <a:gd name="connsiteX1781" fmla="*/ 6732675 w 11951120"/>
              <a:gd name="connsiteY1781" fmla="*/ 6513808 h 6757249"/>
              <a:gd name="connsiteX1782" fmla="*/ 6723529 w 11951120"/>
              <a:gd name="connsiteY1782" fmla="*/ 6517592 h 6757249"/>
              <a:gd name="connsiteX1783" fmla="*/ 6674302 w 11951120"/>
              <a:gd name="connsiteY1783" fmla="*/ 6508759 h 6757249"/>
              <a:gd name="connsiteX1784" fmla="*/ 6669289 w 11951120"/>
              <a:gd name="connsiteY1784" fmla="*/ 6502160 h 6757249"/>
              <a:gd name="connsiteX1785" fmla="*/ 6654414 w 11951120"/>
              <a:gd name="connsiteY1785" fmla="*/ 6509167 h 6757249"/>
              <a:gd name="connsiteX1786" fmla="*/ 6586849 w 11951120"/>
              <a:gd name="connsiteY1786" fmla="*/ 6517343 h 6757249"/>
              <a:gd name="connsiteX1787" fmla="*/ 6540846 w 11951120"/>
              <a:gd name="connsiteY1787" fmla="*/ 6507228 h 6757249"/>
              <a:gd name="connsiteX1788" fmla="*/ 6490780 w 11951120"/>
              <a:gd name="connsiteY1788" fmla="*/ 6529871 h 6757249"/>
              <a:gd name="connsiteX1789" fmla="*/ 6440003 w 11951120"/>
              <a:gd name="connsiteY1789" fmla="*/ 6567663 h 6757249"/>
              <a:gd name="connsiteX1790" fmla="*/ 6437798 w 11951120"/>
              <a:gd name="connsiteY1790" fmla="*/ 6519465 h 6757249"/>
              <a:gd name="connsiteX1791" fmla="*/ 6435625 w 11951120"/>
              <a:gd name="connsiteY1791" fmla="*/ 6484914 h 6757249"/>
              <a:gd name="connsiteX1792" fmla="*/ 6414630 w 11951120"/>
              <a:gd name="connsiteY1792" fmla="*/ 6505991 h 6757249"/>
              <a:gd name="connsiteX1793" fmla="*/ 6411735 w 11951120"/>
              <a:gd name="connsiteY1793" fmla="*/ 6474018 h 6757249"/>
              <a:gd name="connsiteX1794" fmla="*/ 6411542 w 11951120"/>
              <a:gd name="connsiteY1794" fmla="*/ 6474486 h 6757249"/>
              <a:gd name="connsiteX1795" fmla="*/ 6413670 w 11951120"/>
              <a:gd name="connsiteY1795" fmla="*/ 6506885 h 6757249"/>
              <a:gd name="connsiteX1796" fmla="*/ 6392576 w 11951120"/>
              <a:gd name="connsiteY1796" fmla="*/ 6529022 h 6757249"/>
              <a:gd name="connsiteX1797" fmla="*/ 6392576 w 11951120"/>
              <a:gd name="connsiteY1797" fmla="*/ 6574826 h 6757249"/>
              <a:gd name="connsiteX1798" fmla="*/ 6353754 w 11951120"/>
              <a:gd name="connsiteY1798" fmla="*/ 6592801 h 6757249"/>
              <a:gd name="connsiteX1799" fmla="*/ 6332725 w 11951120"/>
              <a:gd name="connsiteY1799" fmla="*/ 6579728 h 6757249"/>
              <a:gd name="connsiteX1800" fmla="*/ 6340811 w 11951120"/>
              <a:gd name="connsiteY1800" fmla="*/ 6553594 h 6757249"/>
              <a:gd name="connsiteX1801" fmla="*/ 6340442 w 11951120"/>
              <a:gd name="connsiteY1801" fmla="*/ 6553569 h 6757249"/>
              <a:gd name="connsiteX1802" fmla="*/ 6269712 w 11951120"/>
              <a:gd name="connsiteY1802" fmla="*/ 6431297 h 6757249"/>
              <a:gd name="connsiteX1803" fmla="*/ 6270376 w 11951120"/>
              <a:gd name="connsiteY1803" fmla="*/ 6430914 h 6757249"/>
              <a:gd name="connsiteX1804" fmla="*/ 6269351 w 11951120"/>
              <a:gd name="connsiteY1804" fmla="*/ 6430914 h 6757249"/>
              <a:gd name="connsiteX1805" fmla="*/ 6269351 w 11951120"/>
              <a:gd name="connsiteY1805" fmla="*/ 6409365 h 6757249"/>
              <a:gd name="connsiteX1806" fmla="*/ 6268863 w 11951120"/>
              <a:gd name="connsiteY1806" fmla="*/ 6409465 h 6757249"/>
              <a:gd name="connsiteX1807" fmla="*/ 6230471 w 11951120"/>
              <a:gd name="connsiteY1807" fmla="*/ 6412257 h 6757249"/>
              <a:gd name="connsiteX1808" fmla="*/ 6199582 w 11951120"/>
              <a:gd name="connsiteY1808" fmla="*/ 6431242 h 6757249"/>
              <a:gd name="connsiteX1809" fmla="*/ 6199636 w 11951120"/>
              <a:gd name="connsiteY1809" fmla="*/ 6431250 h 6757249"/>
              <a:gd name="connsiteX1810" fmla="*/ 6095063 w 11951120"/>
              <a:gd name="connsiteY1810" fmla="*/ 6479178 h 6757249"/>
              <a:gd name="connsiteX1811" fmla="*/ 6114669 w 11951120"/>
              <a:gd name="connsiteY1811" fmla="*/ 6432883 h 6757249"/>
              <a:gd name="connsiteX1812" fmla="*/ 6146155 w 11951120"/>
              <a:gd name="connsiteY1812" fmla="*/ 6410319 h 6757249"/>
              <a:gd name="connsiteX1813" fmla="*/ 6146009 w 11951120"/>
              <a:gd name="connsiteY1813" fmla="*/ 6409465 h 6757249"/>
              <a:gd name="connsiteX1814" fmla="*/ 6155566 w 11951120"/>
              <a:gd name="connsiteY1814" fmla="*/ 6396976 h 6757249"/>
              <a:gd name="connsiteX1815" fmla="*/ 6163251 w 11951120"/>
              <a:gd name="connsiteY1815" fmla="*/ 6361307 h 6757249"/>
              <a:gd name="connsiteX1816" fmla="*/ 6163192 w 11951120"/>
              <a:gd name="connsiteY1816" fmla="*/ 6361275 h 6757249"/>
              <a:gd name="connsiteX1817" fmla="*/ 6150099 w 11951120"/>
              <a:gd name="connsiteY1817" fmla="*/ 6328126 h 6757249"/>
              <a:gd name="connsiteX1818" fmla="*/ 6138298 w 11951120"/>
              <a:gd name="connsiteY1818" fmla="*/ 6340350 h 6757249"/>
              <a:gd name="connsiteX1819" fmla="*/ 6085956 w 11951120"/>
              <a:gd name="connsiteY1819" fmla="*/ 6355836 h 6757249"/>
              <a:gd name="connsiteX1820" fmla="*/ 6086108 w 11951120"/>
              <a:gd name="connsiteY1820" fmla="*/ 6337310 h 6757249"/>
              <a:gd name="connsiteX1821" fmla="*/ 6061542 w 11951120"/>
              <a:gd name="connsiteY1821" fmla="*/ 6364419 h 6757249"/>
              <a:gd name="connsiteX1822" fmla="*/ 5896277 w 11951120"/>
              <a:gd name="connsiteY1822" fmla="*/ 6312399 h 6757249"/>
              <a:gd name="connsiteX1823" fmla="*/ 5896277 w 11951120"/>
              <a:gd name="connsiteY1823" fmla="*/ 6311002 h 6757249"/>
              <a:gd name="connsiteX1824" fmla="*/ 5895039 w 11951120"/>
              <a:gd name="connsiteY1824" fmla="*/ 6312876 h 6757249"/>
              <a:gd name="connsiteX1825" fmla="*/ 5886696 w 11951120"/>
              <a:gd name="connsiteY1825" fmla="*/ 6323084 h 6757249"/>
              <a:gd name="connsiteX1826" fmla="*/ 5884195 w 11951120"/>
              <a:gd name="connsiteY1826" fmla="*/ 6338039 h 6757249"/>
              <a:gd name="connsiteX1827" fmla="*/ 5875851 w 11951120"/>
              <a:gd name="connsiteY1827" fmla="*/ 6336351 h 6757249"/>
              <a:gd name="connsiteX1828" fmla="*/ 5841438 w 11951120"/>
              <a:gd name="connsiteY1828" fmla="*/ 6378453 h 6757249"/>
              <a:gd name="connsiteX1829" fmla="*/ 5778090 w 11951120"/>
              <a:gd name="connsiteY1829" fmla="*/ 6430914 h 6757249"/>
              <a:gd name="connsiteX1830" fmla="*/ 5777991 w 11951120"/>
              <a:gd name="connsiteY1830" fmla="*/ 6430856 h 6757249"/>
              <a:gd name="connsiteX1831" fmla="*/ 5778298 w 11951120"/>
              <a:gd name="connsiteY1831" fmla="*/ 6431110 h 6757249"/>
              <a:gd name="connsiteX1832" fmla="*/ 5654957 w 11951120"/>
              <a:gd name="connsiteY1832" fmla="*/ 6479308 h 6757249"/>
              <a:gd name="connsiteX1833" fmla="*/ 5655319 w 11951120"/>
              <a:gd name="connsiteY1833" fmla="*/ 6478947 h 6757249"/>
              <a:gd name="connsiteX1834" fmla="*/ 5585317 w 11951120"/>
              <a:gd name="connsiteY1834" fmla="*/ 6409386 h 6757249"/>
              <a:gd name="connsiteX1835" fmla="*/ 5563850 w 11951120"/>
              <a:gd name="connsiteY1835" fmla="*/ 6405082 h 6757249"/>
              <a:gd name="connsiteX1836" fmla="*/ 5563248 w 11951120"/>
              <a:gd name="connsiteY1836" fmla="*/ 6404938 h 6757249"/>
              <a:gd name="connsiteX1837" fmla="*/ 5563790 w 11951120"/>
              <a:gd name="connsiteY1837" fmla="*/ 6405318 h 6757249"/>
              <a:gd name="connsiteX1838" fmla="*/ 5519628 w 11951120"/>
              <a:gd name="connsiteY1838" fmla="*/ 6414094 h 6757249"/>
              <a:gd name="connsiteX1839" fmla="*/ 5516917 w 11951120"/>
              <a:gd name="connsiteY1839" fmla="*/ 6412622 h 6757249"/>
              <a:gd name="connsiteX1840" fmla="*/ 5518208 w 11951120"/>
              <a:gd name="connsiteY1840" fmla="*/ 6414316 h 6757249"/>
              <a:gd name="connsiteX1841" fmla="*/ 5388083 w 11951120"/>
              <a:gd name="connsiteY1841" fmla="*/ 6457728 h 6757249"/>
              <a:gd name="connsiteX1842" fmla="*/ 5414108 w 11951120"/>
              <a:gd name="connsiteY1842" fmla="*/ 6383927 h 6757249"/>
              <a:gd name="connsiteX1843" fmla="*/ 5414370 w 11951120"/>
              <a:gd name="connsiteY1843" fmla="*/ 6383900 h 6757249"/>
              <a:gd name="connsiteX1844" fmla="*/ 5413635 w 11951120"/>
              <a:gd name="connsiteY1844" fmla="*/ 6383381 h 6757249"/>
              <a:gd name="connsiteX1845" fmla="*/ 5413635 w 11951120"/>
              <a:gd name="connsiteY1845" fmla="*/ 6361442 h 6757249"/>
              <a:gd name="connsiteX1846" fmla="*/ 5414436 w 11951120"/>
              <a:gd name="connsiteY1846" fmla="*/ 6360434 h 6757249"/>
              <a:gd name="connsiteX1847" fmla="*/ 5413328 w 11951120"/>
              <a:gd name="connsiteY1847" fmla="*/ 6361199 h 6757249"/>
              <a:gd name="connsiteX1848" fmla="*/ 5380863 w 11951120"/>
              <a:gd name="connsiteY1848" fmla="*/ 6313199 h 6757249"/>
              <a:gd name="connsiteX1849" fmla="*/ 5331774 w 11951120"/>
              <a:gd name="connsiteY1849" fmla="*/ 6335318 h 6757249"/>
              <a:gd name="connsiteX1850" fmla="*/ 5330808 w 11951120"/>
              <a:gd name="connsiteY1850" fmla="*/ 6335228 h 6757249"/>
              <a:gd name="connsiteX1851" fmla="*/ 5319169 w 11951120"/>
              <a:gd name="connsiteY1851" fmla="*/ 6369244 h 6757249"/>
              <a:gd name="connsiteX1852" fmla="*/ 5288293 w 11951120"/>
              <a:gd name="connsiteY1852" fmla="*/ 6370347 h 6757249"/>
              <a:gd name="connsiteX1853" fmla="*/ 5276879 w 11951120"/>
              <a:gd name="connsiteY1853" fmla="*/ 6355846 h 6757249"/>
              <a:gd name="connsiteX1854" fmla="*/ 5247392 w 11951120"/>
              <a:gd name="connsiteY1854" fmla="*/ 6388281 h 6757249"/>
              <a:gd name="connsiteX1855" fmla="*/ 5243597 w 11951120"/>
              <a:gd name="connsiteY1855" fmla="*/ 6388658 h 6757249"/>
              <a:gd name="connsiteX1856" fmla="*/ 5204379 w 11951120"/>
              <a:gd name="connsiteY1856" fmla="*/ 6410370 h 6757249"/>
              <a:gd name="connsiteX1857" fmla="*/ 5129413 w 11951120"/>
              <a:gd name="connsiteY1857" fmla="*/ 6338524 h 6757249"/>
              <a:gd name="connsiteX1858" fmla="*/ 5129413 w 11951120"/>
              <a:gd name="connsiteY1858" fmla="*/ 6337929 h 6757249"/>
              <a:gd name="connsiteX1859" fmla="*/ 5128632 w 11951120"/>
              <a:gd name="connsiteY1859" fmla="*/ 6339197 h 6757249"/>
              <a:gd name="connsiteX1860" fmla="*/ 5102684 w 11951120"/>
              <a:gd name="connsiteY1860" fmla="*/ 6361199 h 6757249"/>
              <a:gd name="connsiteX1861" fmla="*/ 5101991 w 11951120"/>
              <a:gd name="connsiteY1861" fmla="*/ 6360802 h 6757249"/>
              <a:gd name="connsiteX1862" fmla="*/ 5085860 w 11951120"/>
              <a:gd name="connsiteY1862" fmla="*/ 6378685 h 6757249"/>
              <a:gd name="connsiteX1863" fmla="*/ 5072359 w 11951120"/>
              <a:gd name="connsiteY1863" fmla="*/ 6390695 h 6757249"/>
              <a:gd name="connsiteX1864" fmla="*/ 5036807 w 11951120"/>
              <a:gd name="connsiteY1864" fmla="*/ 6347135 h 6757249"/>
              <a:gd name="connsiteX1865" fmla="*/ 4994442 w 11951120"/>
              <a:gd name="connsiteY1865" fmla="*/ 6361199 h 6757249"/>
              <a:gd name="connsiteX1866" fmla="*/ 4987237 w 11951120"/>
              <a:gd name="connsiteY1866" fmla="*/ 6319158 h 6757249"/>
              <a:gd name="connsiteX1867" fmla="*/ 4984463 w 11951120"/>
              <a:gd name="connsiteY1867" fmla="*/ 6320980 h 6757249"/>
              <a:gd name="connsiteX1868" fmla="*/ 5001497 w 11951120"/>
              <a:gd name="connsiteY1868" fmla="*/ 6211044 h 6757249"/>
              <a:gd name="connsiteX1869" fmla="*/ 5001672 w 11951120"/>
              <a:gd name="connsiteY1869" fmla="*/ 6211440 h 6757249"/>
              <a:gd name="connsiteX1870" fmla="*/ 5026495 w 11951120"/>
              <a:gd name="connsiteY1870" fmla="*/ 6165780 h 6757249"/>
              <a:gd name="connsiteX1871" fmla="*/ 5014373 w 11951120"/>
              <a:gd name="connsiteY1871" fmla="*/ 6183172 h 6757249"/>
              <a:gd name="connsiteX1872" fmla="*/ 4943117 w 11951120"/>
              <a:gd name="connsiteY1872" fmla="*/ 6190555 h 6757249"/>
              <a:gd name="connsiteX1873" fmla="*/ 4934533 w 11951120"/>
              <a:gd name="connsiteY1873" fmla="*/ 6186162 h 6757249"/>
              <a:gd name="connsiteX1874" fmla="*/ 4910113 w 11951120"/>
              <a:gd name="connsiteY1874" fmla="*/ 6194955 h 6757249"/>
              <a:gd name="connsiteX1875" fmla="*/ 4910049 w 11951120"/>
              <a:gd name="connsiteY1875" fmla="*/ 6194915 h 6757249"/>
              <a:gd name="connsiteX1876" fmla="*/ 4899263 w 11951120"/>
              <a:gd name="connsiteY1876" fmla="*/ 6231197 h 6757249"/>
              <a:gd name="connsiteX1877" fmla="*/ 4861278 w 11951120"/>
              <a:gd name="connsiteY1877" fmla="*/ 6245902 h 6757249"/>
              <a:gd name="connsiteX1878" fmla="*/ 4859861 w 11951120"/>
              <a:gd name="connsiteY1878" fmla="*/ 6243250 h 6757249"/>
              <a:gd name="connsiteX1879" fmla="*/ 4860564 w 11951120"/>
              <a:gd name="connsiteY1879" fmla="*/ 6246726 h 6757249"/>
              <a:gd name="connsiteX1880" fmla="*/ 4860564 w 11951120"/>
              <a:gd name="connsiteY1880" fmla="*/ 6285709 h 6757249"/>
              <a:gd name="connsiteX1881" fmla="*/ 4812389 w 11951120"/>
              <a:gd name="connsiteY1881" fmla="*/ 6285709 h 6757249"/>
              <a:gd name="connsiteX1882" fmla="*/ 4768592 w 11951120"/>
              <a:gd name="connsiteY1882" fmla="*/ 6255389 h 6757249"/>
              <a:gd name="connsiteX1883" fmla="*/ 4772426 w 11951120"/>
              <a:gd name="connsiteY1883" fmla="*/ 6229400 h 6757249"/>
              <a:gd name="connsiteX1884" fmla="*/ 4768873 w 11951120"/>
              <a:gd name="connsiteY1884" fmla="*/ 6227606 h 6757249"/>
              <a:gd name="connsiteX1885" fmla="*/ 4753460 w 11951120"/>
              <a:gd name="connsiteY1885" fmla="*/ 6237859 h 6757249"/>
              <a:gd name="connsiteX1886" fmla="*/ 4731893 w 11951120"/>
              <a:gd name="connsiteY1886" fmla="*/ 6237859 h 6757249"/>
              <a:gd name="connsiteX1887" fmla="*/ 4732304 w 11951120"/>
              <a:gd name="connsiteY1887" fmla="*/ 6227582 h 6757249"/>
              <a:gd name="connsiteX1888" fmla="*/ 4727210 w 11951120"/>
              <a:gd name="connsiteY1888" fmla="*/ 6231864 h 6757249"/>
              <a:gd name="connsiteX1889" fmla="*/ 4668179 w 11951120"/>
              <a:gd name="connsiteY1889" fmla="*/ 6285608 h 6757249"/>
              <a:gd name="connsiteX1890" fmla="*/ 4628825 w 11951120"/>
              <a:gd name="connsiteY1890" fmla="*/ 6307572 h 6757249"/>
              <a:gd name="connsiteX1891" fmla="*/ 4623761 w 11951120"/>
              <a:gd name="connsiteY1891" fmla="*/ 6306119 h 6757249"/>
              <a:gd name="connsiteX1892" fmla="*/ 4620908 w 11951120"/>
              <a:gd name="connsiteY1892" fmla="*/ 6334798 h 6757249"/>
              <a:gd name="connsiteX1893" fmla="*/ 4555152 w 11951120"/>
              <a:gd name="connsiteY1893" fmla="*/ 6381569 h 6757249"/>
              <a:gd name="connsiteX1894" fmla="*/ 4528390 w 11951120"/>
              <a:gd name="connsiteY1894" fmla="*/ 6387985 h 6757249"/>
              <a:gd name="connsiteX1895" fmla="*/ 4528792 w 11951120"/>
              <a:gd name="connsiteY1895" fmla="*/ 6388303 h 6757249"/>
              <a:gd name="connsiteX1896" fmla="*/ 4453989 w 11951120"/>
              <a:gd name="connsiteY1896" fmla="*/ 6505703 h 6757249"/>
              <a:gd name="connsiteX1897" fmla="*/ 4357186 w 11951120"/>
              <a:gd name="connsiteY1897" fmla="*/ 6483961 h 6757249"/>
              <a:gd name="connsiteX1898" fmla="*/ 4379119 w 11951120"/>
              <a:gd name="connsiteY1898" fmla="*/ 6436277 h 6757249"/>
              <a:gd name="connsiteX1899" fmla="*/ 4357903 w 11951120"/>
              <a:gd name="connsiteY1899" fmla="*/ 6431868 h 6757249"/>
              <a:gd name="connsiteX1900" fmla="*/ 4336010 w 11951120"/>
              <a:gd name="connsiteY1900" fmla="*/ 6436277 h 6757249"/>
              <a:gd name="connsiteX1901" fmla="*/ 4335705 w 11951120"/>
              <a:gd name="connsiteY1901" fmla="*/ 6436168 h 6757249"/>
              <a:gd name="connsiteX1902" fmla="*/ 4335736 w 11951120"/>
              <a:gd name="connsiteY1902" fmla="*/ 6436212 h 6757249"/>
              <a:gd name="connsiteX1903" fmla="*/ 4141724 w 11951120"/>
              <a:gd name="connsiteY1903" fmla="*/ 6567663 h 6757249"/>
              <a:gd name="connsiteX1904" fmla="*/ 4139519 w 11951120"/>
              <a:gd name="connsiteY1904" fmla="*/ 6519465 h 6757249"/>
              <a:gd name="connsiteX1905" fmla="*/ 4137346 w 11951120"/>
              <a:gd name="connsiteY1905" fmla="*/ 6484914 h 6757249"/>
              <a:gd name="connsiteX1906" fmla="*/ 4116351 w 11951120"/>
              <a:gd name="connsiteY1906" fmla="*/ 6505991 h 6757249"/>
              <a:gd name="connsiteX1907" fmla="*/ 4113456 w 11951120"/>
              <a:gd name="connsiteY1907" fmla="*/ 6474018 h 6757249"/>
              <a:gd name="connsiteX1908" fmla="*/ 4113263 w 11951120"/>
              <a:gd name="connsiteY1908" fmla="*/ 6474486 h 6757249"/>
              <a:gd name="connsiteX1909" fmla="*/ 4115391 w 11951120"/>
              <a:gd name="connsiteY1909" fmla="*/ 6506885 h 6757249"/>
              <a:gd name="connsiteX1910" fmla="*/ 4094297 w 11951120"/>
              <a:gd name="connsiteY1910" fmla="*/ 6529022 h 6757249"/>
              <a:gd name="connsiteX1911" fmla="*/ 4094297 w 11951120"/>
              <a:gd name="connsiteY1911" fmla="*/ 6574826 h 6757249"/>
              <a:gd name="connsiteX1912" fmla="*/ 4055475 w 11951120"/>
              <a:gd name="connsiteY1912" fmla="*/ 6592801 h 6757249"/>
              <a:gd name="connsiteX1913" fmla="*/ 4034446 w 11951120"/>
              <a:gd name="connsiteY1913" fmla="*/ 6579728 h 6757249"/>
              <a:gd name="connsiteX1914" fmla="*/ 4042532 w 11951120"/>
              <a:gd name="connsiteY1914" fmla="*/ 6553594 h 6757249"/>
              <a:gd name="connsiteX1915" fmla="*/ 4042163 w 11951120"/>
              <a:gd name="connsiteY1915" fmla="*/ 6553569 h 6757249"/>
              <a:gd name="connsiteX1916" fmla="*/ 3971987 w 11951120"/>
              <a:gd name="connsiteY1916" fmla="*/ 6513720 h 6757249"/>
              <a:gd name="connsiteX1917" fmla="*/ 3963263 w 11951120"/>
              <a:gd name="connsiteY1917" fmla="*/ 6496522 h 6757249"/>
              <a:gd name="connsiteX1918" fmla="*/ 3960316 w 11951120"/>
              <a:gd name="connsiteY1918" fmla="*/ 6505991 h 6757249"/>
              <a:gd name="connsiteX1919" fmla="*/ 3864184 w 11951120"/>
              <a:gd name="connsiteY1919" fmla="*/ 6457728 h 6757249"/>
              <a:gd name="connsiteX1920" fmla="*/ 3865552 w 11951120"/>
              <a:gd name="connsiteY1920" fmla="*/ 6455668 h 6757249"/>
              <a:gd name="connsiteX1921" fmla="*/ 3862846 w 11951120"/>
              <a:gd name="connsiteY1921" fmla="*/ 6456878 h 6757249"/>
              <a:gd name="connsiteX1922" fmla="*/ 3862846 w 11951120"/>
              <a:gd name="connsiteY1922" fmla="*/ 6457728 h 6757249"/>
              <a:gd name="connsiteX1923" fmla="*/ 3860945 w 11951120"/>
              <a:gd name="connsiteY1923" fmla="*/ 6457728 h 6757249"/>
              <a:gd name="connsiteX1924" fmla="*/ 3855607 w 11951120"/>
              <a:gd name="connsiteY1924" fmla="*/ 6460116 h 6757249"/>
              <a:gd name="connsiteX1925" fmla="*/ 3835763 w 11951120"/>
              <a:gd name="connsiteY1925" fmla="*/ 6466546 h 6757249"/>
              <a:gd name="connsiteX1926" fmla="*/ 3809814 w 11951120"/>
              <a:gd name="connsiteY1926" fmla="*/ 6521510 h 6757249"/>
              <a:gd name="connsiteX1927" fmla="*/ 3766615 w 11951120"/>
              <a:gd name="connsiteY1927" fmla="*/ 6575707 h 6757249"/>
              <a:gd name="connsiteX1928" fmla="*/ 3770935 w 11951120"/>
              <a:gd name="connsiteY1928" fmla="*/ 6479357 h 6757249"/>
              <a:gd name="connsiteX1929" fmla="*/ 3771155 w 11951120"/>
              <a:gd name="connsiteY1929" fmla="*/ 6478957 h 6757249"/>
              <a:gd name="connsiteX1930" fmla="*/ 3741730 w 11951120"/>
              <a:gd name="connsiteY1930" fmla="*/ 6458023 h 6757249"/>
              <a:gd name="connsiteX1931" fmla="*/ 3739663 w 11951120"/>
              <a:gd name="connsiteY1931" fmla="*/ 6457935 h 6757249"/>
              <a:gd name="connsiteX1932" fmla="*/ 3673703 w 11951120"/>
              <a:gd name="connsiteY1932" fmla="*/ 6466735 h 6757249"/>
              <a:gd name="connsiteX1933" fmla="*/ 3616535 w 11951120"/>
              <a:gd name="connsiteY1933" fmla="*/ 6444734 h 6757249"/>
              <a:gd name="connsiteX1934" fmla="*/ 3642919 w 11951120"/>
              <a:gd name="connsiteY1934" fmla="*/ 6409532 h 6757249"/>
              <a:gd name="connsiteX1935" fmla="*/ 3642919 w 11951120"/>
              <a:gd name="connsiteY1935" fmla="*/ 6408943 h 6757249"/>
              <a:gd name="connsiteX1936" fmla="*/ 3611687 w 11951120"/>
              <a:gd name="connsiteY1936" fmla="*/ 6380831 h 6757249"/>
              <a:gd name="connsiteX1937" fmla="*/ 3596106 w 11951120"/>
              <a:gd name="connsiteY1937" fmla="*/ 6339134 h 6757249"/>
              <a:gd name="connsiteX1938" fmla="*/ 3587104 w 11951120"/>
              <a:gd name="connsiteY1938" fmla="*/ 6330936 h 6757249"/>
              <a:gd name="connsiteX1939" fmla="*/ 3585916 w 11951120"/>
              <a:gd name="connsiteY1939" fmla="*/ 6338039 h 6757249"/>
              <a:gd name="connsiteX1940" fmla="*/ 3489004 w 11951120"/>
              <a:gd name="connsiteY1940" fmla="*/ 6289728 h 6757249"/>
              <a:gd name="connsiteX1941" fmla="*/ 3475149 w 11951120"/>
              <a:gd name="connsiteY1941" fmla="*/ 6278570 h 6757249"/>
              <a:gd name="connsiteX1942" fmla="*/ 3472833 w 11951120"/>
              <a:gd name="connsiteY1942" fmla="*/ 6280164 h 6757249"/>
              <a:gd name="connsiteX1943" fmla="*/ 3488430 w 11951120"/>
              <a:gd name="connsiteY1943" fmla="*/ 6291484 h 6757249"/>
              <a:gd name="connsiteX1944" fmla="*/ 3458306 w 11951120"/>
              <a:gd name="connsiteY1944" fmla="*/ 6290166 h 6757249"/>
              <a:gd name="connsiteX1945" fmla="*/ 3447663 w 11951120"/>
              <a:gd name="connsiteY1945" fmla="*/ 6297494 h 6757249"/>
              <a:gd name="connsiteX1946" fmla="*/ 3407398 w 11951120"/>
              <a:gd name="connsiteY1946" fmla="*/ 6307572 h 6757249"/>
              <a:gd name="connsiteX1947" fmla="*/ 3407006 w 11951120"/>
              <a:gd name="connsiteY1947" fmla="*/ 6301316 h 6757249"/>
              <a:gd name="connsiteX1948" fmla="*/ 3392825 w 11951120"/>
              <a:gd name="connsiteY1948" fmla="*/ 6313828 h 6757249"/>
              <a:gd name="connsiteX1949" fmla="*/ 3392258 w 11951120"/>
              <a:gd name="connsiteY1949" fmla="*/ 6313786 h 6757249"/>
              <a:gd name="connsiteX1950" fmla="*/ 3392780 w 11951120"/>
              <a:gd name="connsiteY1950" fmla="*/ 6346276 h 6757249"/>
              <a:gd name="connsiteX1951" fmla="*/ 3370449 w 11951120"/>
              <a:gd name="connsiteY1951" fmla="*/ 6360495 h 6757249"/>
              <a:gd name="connsiteX1952" fmla="*/ 3370449 w 11951120"/>
              <a:gd name="connsiteY1952" fmla="*/ 6286121 h 6757249"/>
              <a:gd name="connsiteX1953" fmla="*/ 3371145 w 11951120"/>
              <a:gd name="connsiteY1953" fmla="*/ 6286961 h 6757249"/>
              <a:gd name="connsiteX1954" fmla="*/ 3403789 w 11951120"/>
              <a:gd name="connsiteY1954" fmla="*/ 6250035 h 6757249"/>
              <a:gd name="connsiteX1955" fmla="*/ 3403069 w 11951120"/>
              <a:gd name="connsiteY1955" fmla="*/ 6238573 h 6757249"/>
              <a:gd name="connsiteX1956" fmla="*/ 3342861 w 11951120"/>
              <a:gd name="connsiteY1956" fmla="*/ 6211064 h 6757249"/>
              <a:gd name="connsiteX1957" fmla="*/ 3318583 w 11951120"/>
              <a:gd name="connsiteY1957" fmla="*/ 6178495 h 6757249"/>
              <a:gd name="connsiteX1958" fmla="*/ 3334413 w 11951120"/>
              <a:gd name="connsiteY1958" fmla="*/ 6144566 h 6757249"/>
              <a:gd name="connsiteX1959" fmla="*/ 3332611 w 11951120"/>
              <a:gd name="connsiteY1959" fmla="*/ 6143410 h 6757249"/>
              <a:gd name="connsiteX1960" fmla="*/ 3301041 w 11951120"/>
              <a:gd name="connsiteY1960" fmla="*/ 6141974 h 6757249"/>
              <a:gd name="connsiteX1961" fmla="*/ 3230969 w 11951120"/>
              <a:gd name="connsiteY1961" fmla="*/ 6168351 h 6757249"/>
              <a:gd name="connsiteX1962" fmla="*/ 3230590 w 11951120"/>
              <a:gd name="connsiteY1962" fmla="*/ 6168419 h 6757249"/>
              <a:gd name="connsiteX1963" fmla="*/ 3231021 w 11951120"/>
              <a:gd name="connsiteY1963" fmla="*/ 6168767 h 6757249"/>
              <a:gd name="connsiteX1964" fmla="*/ 3178159 w 11951120"/>
              <a:gd name="connsiteY1964" fmla="*/ 6221322 h 6757249"/>
              <a:gd name="connsiteX1965" fmla="*/ 3177219 w 11951120"/>
              <a:gd name="connsiteY1965" fmla="*/ 6221747 h 6757249"/>
              <a:gd name="connsiteX1966" fmla="*/ 3166093 w 11951120"/>
              <a:gd name="connsiteY1966" fmla="*/ 6258247 h 6757249"/>
              <a:gd name="connsiteX1967" fmla="*/ 3142536 w 11951120"/>
              <a:gd name="connsiteY1967" fmla="*/ 6281801 h 6757249"/>
              <a:gd name="connsiteX1968" fmla="*/ 3082578 w 11951120"/>
              <a:gd name="connsiteY1968" fmla="*/ 6312403 h 6757249"/>
              <a:gd name="connsiteX1969" fmla="*/ 3082653 w 11951120"/>
              <a:gd name="connsiteY1969" fmla="*/ 6313168 h 6757249"/>
              <a:gd name="connsiteX1970" fmla="*/ 3033495 w 11951120"/>
              <a:gd name="connsiteY1970" fmla="*/ 6335318 h 6757249"/>
              <a:gd name="connsiteX1971" fmla="*/ 3032529 w 11951120"/>
              <a:gd name="connsiteY1971" fmla="*/ 6335228 h 6757249"/>
              <a:gd name="connsiteX1972" fmla="*/ 3020890 w 11951120"/>
              <a:gd name="connsiteY1972" fmla="*/ 6369244 h 6757249"/>
              <a:gd name="connsiteX1973" fmla="*/ 2990014 w 11951120"/>
              <a:gd name="connsiteY1973" fmla="*/ 6370347 h 6757249"/>
              <a:gd name="connsiteX1974" fmla="*/ 2968722 w 11951120"/>
              <a:gd name="connsiteY1974" fmla="*/ 6343297 h 6757249"/>
              <a:gd name="connsiteX1975" fmla="*/ 2985165 w 11951120"/>
              <a:gd name="connsiteY1975" fmla="*/ 6313989 h 6757249"/>
              <a:gd name="connsiteX1976" fmla="*/ 2984337 w 11951120"/>
              <a:gd name="connsiteY1976" fmla="*/ 6313168 h 6757249"/>
              <a:gd name="connsiteX1977" fmla="*/ 3033289 w 11951120"/>
              <a:gd name="connsiteY1977" fmla="*/ 6264642 h 6757249"/>
              <a:gd name="connsiteX1978" fmla="*/ 3003106 w 11951120"/>
              <a:gd name="connsiteY1978" fmla="*/ 6243022 h 6757249"/>
              <a:gd name="connsiteX1979" fmla="*/ 3011820 w 11951120"/>
              <a:gd name="connsiteY1979" fmla="*/ 6234282 h 6757249"/>
              <a:gd name="connsiteX1980" fmla="*/ 3014108 w 11951120"/>
              <a:gd name="connsiteY1980" fmla="*/ 6231748 h 6757249"/>
              <a:gd name="connsiteX1981" fmla="*/ 3013211 w 11951120"/>
              <a:gd name="connsiteY1981" fmla="*/ 6231966 h 6757249"/>
              <a:gd name="connsiteX1982" fmla="*/ 3003379 w 11951120"/>
              <a:gd name="connsiteY1982" fmla="*/ 6241950 h 6757249"/>
              <a:gd name="connsiteX1983" fmla="*/ 2819516 w 11951120"/>
              <a:gd name="connsiteY1983" fmla="*/ 6339748 h 6757249"/>
              <a:gd name="connsiteX1984" fmla="*/ 2815138 w 11951120"/>
              <a:gd name="connsiteY1984" fmla="*/ 6330857 h 6757249"/>
              <a:gd name="connsiteX1985" fmla="*/ 2815187 w 11951120"/>
              <a:gd name="connsiteY1985" fmla="*/ 6330295 h 6757249"/>
              <a:gd name="connsiteX1986" fmla="*/ 2814552 w 11951120"/>
              <a:gd name="connsiteY1986" fmla="*/ 6331352 h 6757249"/>
              <a:gd name="connsiteX1987" fmla="*/ 2761734 w 11951120"/>
              <a:gd name="connsiteY1987" fmla="*/ 6340155 h 6757249"/>
              <a:gd name="connsiteX1988" fmla="*/ 2761307 w 11951120"/>
              <a:gd name="connsiteY1988" fmla="*/ 6339572 h 6757249"/>
              <a:gd name="connsiteX1989" fmla="*/ 2696163 w 11951120"/>
              <a:gd name="connsiteY1989" fmla="*/ 6361199 h 6757249"/>
              <a:gd name="connsiteX1990" fmla="*/ 2688508 w 11951120"/>
              <a:gd name="connsiteY1990" fmla="*/ 6316538 h 6757249"/>
              <a:gd name="connsiteX1991" fmla="*/ 2726398 w 11951120"/>
              <a:gd name="connsiteY1991" fmla="*/ 6291739 h 6757249"/>
              <a:gd name="connsiteX1992" fmla="*/ 2722121 w 11951120"/>
              <a:gd name="connsiteY1992" fmla="*/ 6291739 h 6757249"/>
              <a:gd name="connsiteX1993" fmla="*/ 2723104 w 11951120"/>
              <a:gd name="connsiteY1993" fmla="*/ 6290293 h 6757249"/>
              <a:gd name="connsiteX1994" fmla="*/ 2724510 w 11951120"/>
              <a:gd name="connsiteY1994" fmla="*/ 6245576 h 6757249"/>
              <a:gd name="connsiteX1995" fmla="*/ 2734073 w 11951120"/>
              <a:gd name="connsiteY1995" fmla="*/ 6233002 h 6757249"/>
              <a:gd name="connsiteX1996" fmla="*/ 2724247 w 11951120"/>
              <a:gd name="connsiteY1996" fmla="*/ 6226838 h 6757249"/>
              <a:gd name="connsiteX1997" fmla="*/ 2712122 w 11951120"/>
              <a:gd name="connsiteY1997" fmla="*/ 6202138 h 6757249"/>
              <a:gd name="connsiteX1998" fmla="*/ 2710263 w 11951120"/>
              <a:gd name="connsiteY1998" fmla="*/ 6186647 h 6757249"/>
              <a:gd name="connsiteX1999" fmla="*/ 2697282 w 11951120"/>
              <a:gd name="connsiteY1999" fmla="*/ 6194383 h 6757249"/>
              <a:gd name="connsiteX2000" fmla="*/ 2673891 w 11951120"/>
              <a:gd name="connsiteY2000" fmla="*/ 6197390 h 6757249"/>
              <a:gd name="connsiteX2001" fmla="*/ 2645346 w 11951120"/>
              <a:gd name="connsiteY2001" fmla="*/ 6190674 h 6757249"/>
              <a:gd name="connsiteX2002" fmla="*/ 2643430 w 11951120"/>
              <a:gd name="connsiteY2002" fmla="*/ 6193128 h 6757249"/>
              <a:gd name="connsiteX2003" fmla="*/ 2561803 w 11951120"/>
              <a:gd name="connsiteY2003" fmla="*/ 6237857 h 6757249"/>
              <a:gd name="connsiteX2004" fmla="*/ 2561803 w 11951120"/>
              <a:gd name="connsiteY2004" fmla="*/ 6236089 h 6757249"/>
              <a:gd name="connsiteX2005" fmla="*/ 2561333 w 11951120"/>
              <a:gd name="connsiteY2005" fmla="*/ 6237972 h 6757249"/>
              <a:gd name="connsiteX2006" fmla="*/ 2561333 w 11951120"/>
              <a:gd name="connsiteY2006" fmla="*/ 6286294 h 6757249"/>
              <a:gd name="connsiteX2007" fmla="*/ 2453058 w 11951120"/>
              <a:gd name="connsiteY2007" fmla="*/ 6241198 h 6757249"/>
              <a:gd name="connsiteX2008" fmla="*/ 2450065 w 11951120"/>
              <a:gd name="connsiteY2008" fmla="*/ 6237859 h 6757249"/>
              <a:gd name="connsiteX2009" fmla="*/ 2433614 w 11951120"/>
              <a:gd name="connsiteY2009" fmla="*/ 6237859 h 6757249"/>
              <a:gd name="connsiteX2010" fmla="*/ 2434213 w 11951120"/>
              <a:gd name="connsiteY2010" fmla="*/ 6222869 h 6757249"/>
              <a:gd name="connsiteX2011" fmla="*/ 2421340 w 11951120"/>
              <a:gd name="connsiteY2011" fmla="*/ 6216008 h 6757249"/>
              <a:gd name="connsiteX2012" fmla="*/ 2434464 w 11951120"/>
              <a:gd name="connsiteY2012" fmla="*/ 6162195 h 6757249"/>
              <a:gd name="connsiteX2013" fmla="*/ 2454910 w 11951120"/>
              <a:gd name="connsiteY2013" fmla="*/ 6152166 h 6757249"/>
              <a:gd name="connsiteX2014" fmla="*/ 2453799 w 11951120"/>
              <a:gd name="connsiteY2014" fmla="*/ 6146692 h 6757249"/>
              <a:gd name="connsiteX2015" fmla="*/ 2384968 w 11951120"/>
              <a:gd name="connsiteY2015" fmla="*/ 6146692 h 6757249"/>
              <a:gd name="connsiteX2016" fmla="*/ 2383625 w 11951120"/>
              <a:gd name="connsiteY2016" fmla="*/ 6146477 h 6757249"/>
              <a:gd name="connsiteX2017" fmla="*/ 2374628 w 11951120"/>
              <a:gd name="connsiteY2017" fmla="*/ 6173216 h 6757249"/>
              <a:gd name="connsiteX2018" fmla="*/ 2356584 w 11951120"/>
              <a:gd name="connsiteY2018" fmla="*/ 6191177 h 6757249"/>
              <a:gd name="connsiteX2019" fmla="*/ 2310394 w 11951120"/>
              <a:gd name="connsiteY2019" fmla="*/ 6216148 h 6757249"/>
              <a:gd name="connsiteX2020" fmla="*/ 2310392 w 11951120"/>
              <a:gd name="connsiteY2020" fmla="*/ 6216157 h 6757249"/>
              <a:gd name="connsiteX2021" fmla="*/ 2213966 w 11951120"/>
              <a:gd name="connsiteY2021" fmla="*/ 6312936 h 6757249"/>
              <a:gd name="connsiteX2022" fmla="*/ 2165753 w 11951120"/>
              <a:gd name="connsiteY2022" fmla="*/ 6312936 h 6757249"/>
              <a:gd name="connsiteX2023" fmla="*/ 2192051 w 11951120"/>
              <a:gd name="connsiteY2023" fmla="*/ 6167767 h 6757249"/>
              <a:gd name="connsiteX2024" fmla="*/ 2191994 w 11951120"/>
              <a:gd name="connsiteY2024" fmla="*/ 6167588 h 6757249"/>
              <a:gd name="connsiteX2025" fmla="*/ 2191732 w 11951120"/>
              <a:gd name="connsiteY2025" fmla="*/ 6168375 h 6757249"/>
              <a:gd name="connsiteX2026" fmla="*/ 2122436 w 11951120"/>
              <a:gd name="connsiteY2026" fmla="*/ 6194396 h 6757249"/>
              <a:gd name="connsiteX2027" fmla="*/ 2122255 w 11951120"/>
              <a:gd name="connsiteY2027" fmla="*/ 6194640 h 6757249"/>
              <a:gd name="connsiteX2028" fmla="*/ 2016432 w 11951120"/>
              <a:gd name="connsiteY2028" fmla="*/ 6282966 h 6757249"/>
              <a:gd name="connsiteX2029" fmla="*/ 1972338 w 11951120"/>
              <a:gd name="connsiteY2029" fmla="*/ 6238803 h 6757249"/>
              <a:gd name="connsiteX2030" fmla="*/ 1972221 w 11951120"/>
              <a:gd name="connsiteY2030" fmla="*/ 6237972 h 6757249"/>
              <a:gd name="connsiteX2031" fmla="*/ 1936828 w 11951120"/>
              <a:gd name="connsiteY2031" fmla="*/ 6263171 h 6757249"/>
              <a:gd name="connsiteX2032" fmla="*/ 1832077 w 11951120"/>
              <a:gd name="connsiteY2032" fmla="*/ 6339750 h 6757249"/>
              <a:gd name="connsiteX2033" fmla="*/ 1828204 w 11951120"/>
              <a:gd name="connsiteY2033" fmla="*/ 6333880 h 6757249"/>
              <a:gd name="connsiteX2034" fmla="*/ 1827904 w 11951120"/>
              <a:gd name="connsiteY2034" fmla="*/ 6334385 h 6757249"/>
              <a:gd name="connsiteX2035" fmla="*/ 1825324 w 11951120"/>
              <a:gd name="connsiteY2035" fmla="*/ 6334385 h 6757249"/>
              <a:gd name="connsiteX2036" fmla="*/ 1826985 w 11951120"/>
              <a:gd name="connsiteY2036" fmla="*/ 6335458 h 6757249"/>
              <a:gd name="connsiteX2037" fmla="*/ 1831359 w 11951120"/>
              <a:gd name="connsiteY2037" fmla="*/ 6339748 h 6757249"/>
              <a:gd name="connsiteX2038" fmla="*/ 1779575 w 11951120"/>
              <a:gd name="connsiteY2038" fmla="*/ 6382065 h 6757249"/>
              <a:gd name="connsiteX2039" fmla="*/ 1780415 w 11951120"/>
              <a:gd name="connsiteY2039" fmla="*/ 6383780 h 6757249"/>
              <a:gd name="connsiteX2040" fmla="*/ 1741937 w 11951120"/>
              <a:gd name="connsiteY2040" fmla="*/ 6426435 h 6757249"/>
              <a:gd name="connsiteX2041" fmla="*/ 1683736 w 11951120"/>
              <a:gd name="connsiteY2041" fmla="*/ 6436268 h 6757249"/>
              <a:gd name="connsiteX2042" fmla="*/ 1662037 w 11951120"/>
              <a:gd name="connsiteY2042" fmla="*/ 6505991 h 6757249"/>
              <a:gd name="connsiteX2043" fmla="*/ 1565905 w 11951120"/>
              <a:gd name="connsiteY2043" fmla="*/ 6457728 h 6757249"/>
              <a:gd name="connsiteX2044" fmla="*/ 1569136 w 11951120"/>
              <a:gd name="connsiteY2044" fmla="*/ 6452861 h 6757249"/>
              <a:gd name="connsiteX2045" fmla="*/ 1565905 w 11951120"/>
              <a:gd name="connsiteY2045" fmla="*/ 6452581 h 6757249"/>
              <a:gd name="connsiteX2046" fmla="*/ 1566140 w 11951120"/>
              <a:gd name="connsiteY2046" fmla="*/ 6452287 h 6757249"/>
              <a:gd name="connsiteX2047" fmla="*/ 1564566 w 11951120"/>
              <a:gd name="connsiteY2047" fmla="*/ 6453294 h 6757249"/>
              <a:gd name="connsiteX2048" fmla="*/ 1564566 w 11951120"/>
              <a:gd name="connsiteY2048" fmla="*/ 6457728 h 6757249"/>
              <a:gd name="connsiteX2049" fmla="*/ 1555947 w 11951120"/>
              <a:gd name="connsiteY2049" fmla="*/ 6457728 h 6757249"/>
              <a:gd name="connsiteX2050" fmla="*/ 1543019 w 11951120"/>
              <a:gd name="connsiteY2050" fmla="*/ 6457728 h 6757249"/>
              <a:gd name="connsiteX2051" fmla="*/ 1541647 w 11951120"/>
              <a:gd name="connsiteY2051" fmla="*/ 6457728 h 6757249"/>
              <a:gd name="connsiteX2052" fmla="*/ 1511534 w 11951120"/>
              <a:gd name="connsiteY2052" fmla="*/ 6521510 h 6757249"/>
              <a:gd name="connsiteX2053" fmla="*/ 1468335 w 11951120"/>
              <a:gd name="connsiteY2053" fmla="*/ 6575707 h 6757249"/>
              <a:gd name="connsiteX2054" fmla="*/ 1472655 w 11951120"/>
              <a:gd name="connsiteY2054" fmla="*/ 6479357 h 6757249"/>
              <a:gd name="connsiteX2055" fmla="*/ 1472875 w 11951120"/>
              <a:gd name="connsiteY2055" fmla="*/ 6478957 h 6757249"/>
              <a:gd name="connsiteX2056" fmla="*/ 1443450 w 11951120"/>
              <a:gd name="connsiteY2056" fmla="*/ 6458023 h 6757249"/>
              <a:gd name="connsiteX2057" fmla="*/ 1441383 w 11951120"/>
              <a:gd name="connsiteY2057" fmla="*/ 6457935 h 6757249"/>
              <a:gd name="connsiteX2058" fmla="*/ 1375423 w 11951120"/>
              <a:gd name="connsiteY2058" fmla="*/ 6466735 h 6757249"/>
              <a:gd name="connsiteX2059" fmla="*/ 1318255 w 11951120"/>
              <a:gd name="connsiteY2059" fmla="*/ 6444734 h 6757249"/>
              <a:gd name="connsiteX2060" fmla="*/ 1344640 w 11951120"/>
              <a:gd name="connsiteY2060" fmla="*/ 6409532 h 6757249"/>
              <a:gd name="connsiteX2061" fmla="*/ 1344640 w 11951120"/>
              <a:gd name="connsiteY2061" fmla="*/ 6408943 h 6757249"/>
              <a:gd name="connsiteX2062" fmla="*/ 1313408 w 11951120"/>
              <a:gd name="connsiteY2062" fmla="*/ 6380831 h 6757249"/>
              <a:gd name="connsiteX2063" fmla="*/ 1297827 w 11951120"/>
              <a:gd name="connsiteY2063" fmla="*/ 6339134 h 6757249"/>
              <a:gd name="connsiteX2064" fmla="*/ 1253804 w 11951120"/>
              <a:gd name="connsiteY2064" fmla="*/ 6299043 h 6757249"/>
              <a:gd name="connsiteX2065" fmla="*/ 1260112 w 11951120"/>
              <a:gd name="connsiteY2065" fmla="*/ 6267074 h 6757249"/>
              <a:gd name="connsiteX2066" fmla="*/ 1318384 w 11951120"/>
              <a:gd name="connsiteY2066" fmla="*/ 6212954 h 6757249"/>
              <a:gd name="connsiteX2067" fmla="*/ 1318264 w 11951120"/>
              <a:gd name="connsiteY2067" fmla="*/ 6211989 h 6757249"/>
              <a:gd name="connsiteX2068" fmla="*/ 1322669 w 11951120"/>
              <a:gd name="connsiteY2068" fmla="*/ 6189909 h 6757249"/>
              <a:gd name="connsiteX2069" fmla="*/ 1323588 w 11951120"/>
              <a:gd name="connsiteY2069" fmla="*/ 6188804 h 6757249"/>
              <a:gd name="connsiteX2070" fmla="*/ 1323512 w 11951120"/>
              <a:gd name="connsiteY2070" fmla="*/ 6188838 h 6757249"/>
              <a:gd name="connsiteX2071" fmla="*/ 1273491 w 11951120"/>
              <a:gd name="connsiteY2071" fmla="*/ 6192113 h 6757249"/>
              <a:gd name="connsiteX2072" fmla="*/ 1227059 w 11951120"/>
              <a:gd name="connsiteY2072" fmla="*/ 6214891 h 6757249"/>
              <a:gd name="connsiteX2073" fmla="*/ 1228056 w 11951120"/>
              <a:gd name="connsiteY2073" fmla="*/ 6215432 h 6757249"/>
              <a:gd name="connsiteX2074" fmla="*/ 1109119 w 11951120"/>
              <a:gd name="connsiteY2074" fmla="*/ 6307572 h 6757249"/>
              <a:gd name="connsiteX2075" fmla="*/ 1104790 w 11951120"/>
              <a:gd name="connsiteY2075" fmla="*/ 6238573 h 6757249"/>
              <a:gd name="connsiteX2076" fmla="*/ 1044581 w 11951120"/>
              <a:gd name="connsiteY2076" fmla="*/ 6211064 h 6757249"/>
              <a:gd name="connsiteX2077" fmla="*/ 1040938 w 11951120"/>
              <a:gd name="connsiteY2077" fmla="*/ 6134267 h 6757249"/>
              <a:gd name="connsiteX2078" fmla="*/ 1078595 w 11951120"/>
              <a:gd name="connsiteY2078" fmla="*/ 6093257 h 6757249"/>
              <a:gd name="connsiteX2079" fmla="*/ 1082929 w 11951120"/>
              <a:gd name="connsiteY2079" fmla="*/ 6075566 h 6757249"/>
              <a:gd name="connsiteX2080" fmla="*/ 1082583 w 11951120"/>
              <a:gd name="connsiteY2080" fmla="*/ 6073804 h 6757249"/>
              <a:gd name="connsiteX2081" fmla="*/ 1053217 w 11951120"/>
              <a:gd name="connsiteY2081" fmla="*/ 6059280 h 6757249"/>
              <a:gd name="connsiteX2082" fmla="*/ 968754 w 11951120"/>
              <a:gd name="connsiteY2082" fmla="*/ 6005346 h 6757249"/>
              <a:gd name="connsiteX2083" fmla="*/ 968287 w 11951120"/>
              <a:gd name="connsiteY2083" fmla="*/ 6004662 h 6757249"/>
              <a:gd name="connsiteX2084" fmla="*/ 908401 w 11951120"/>
              <a:gd name="connsiteY2084" fmla="*/ 6044096 h 6757249"/>
              <a:gd name="connsiteX2085" fmla="*/ 844160 w 11951120"/>
              <a:gd name="connsiteY2085" fmla="*/ 6072830 h 6757249"/>
              <a:gd name="connsiteX2086" fmla="*/ 842365 w 11951120"/>
              <a:gd name="connsiteY2086" fmla="*/ 6075615 h 6757249"/>
              <a:gd name="connsiteX2087" fmla="*/ 772123 w 11951120"/>
              <a:gd name="connsiteY2087" fmla="*/ 6167439 h 6757249"/>
              <a:gd name="connsiteX2088" fmla="*/ 754564 w 11951120"/>
              <a:gd name="connsiteY2088" fmla="*/ 6045006 h 6757249"/>
              <a:gd name="connsiteX2089" fmla="*/ 552621 w 11951120"/>
              <a:gd name="connsiteY2089" fmla="*/ 6167439 h 6757249"/>
              <a:gd name="connsiteX2090" fmla="*/ 552351 w 11951120"/>
              <a:gd name="connsiteY2090" fmla="*/ 6167448 h 6757249"/>
              <a:gd name="connsiteX2091" fmla="*/ 533295 w 11951120"/>
              <a:gd name="connsiteY2091" fmla="*/ 6185162 h 6757249"/>
              <a:gd name="connsiteX2092" fmla="*/ 504427 w 11951120"/>
              <a:gd name="connsiteY2092" fmla="*/ 6189593 h 6757249"/>
              <a:gd name="connsiteX2093" fmla="*/ 504253 w 11951120"/>
              <a:gd name="connsiteY2093" fmla="*/ 6189027 h 6757249"/>
              <a:gd name="connsiteX2094" fmla="*/ 504196 w 11951120"/>
              <a:gd name="connsiteY2094" fmla="*/ 6190130 h 6757249"/>
              <a:gd name="connsiteX2095" fmla="*/ 450981 w 11951120"/>
              <a:gd name="connsiteY2095" fmla="*/ 6242531 h 6757249"/>
              <a:gd name="connsiteX2096" fmla="*/ 406636 w 11951120"/>
              <a:gd name="connsiteY2096" fmla="*/ 6142096 h 6757249"/>
              <a:gd name="connsiteX2097" fmla="*/ 406722 w 11951120"/>
              <a:gd name="connsiteY2097" fmla="*/ 6141511 h 6757249"/>
              <a:gd name="connsiteX2098" fmla="*/ 363536 w 11951120"/>
              <a:gd name="connsiteY2098" fmla="*/ 6167185 h 6757249"/>
              <a:gd name="connsiteX2099" fmla="*/ 364665 w 11951120"/>
              <a:gd name="connsiteY2099" fmla="*/ 6168142 h 6757249"/>
              <a:gd name="connsiteX2100" fmla="*/ 263524 w 11951120"/>
              <a:gd name="connsiteY2100" fmla="*/ 6237857 h 6757249"/>
              <a:gd name="connsiteX2101" fmla="*/ 263524 w 11951120"/>
              <a:gd name="connsiteY2101" fmla="*/ 6236089 h 6757249"/>
              <a:gd name="connsiteX2102" fmla="*/ 263054 w 11951120"/>
              <a:gd name="connsiteY2102" fmla="*/ 6237972 h 6757249"/>
              <a:gd name="connsiteX2103" fmla="*/ 263054 w 11951120"/>
              <a:gd name="connsiteY2103" fmla="*/ 6286294 h 6757249"/>
              <a:gd name="connsiteX2104" fmla="*/ 123060 w 11951120"/>
              <a:gd name="connsiteY2104" fmla="*/ 6216008 h 6757249"/>
              <a:gd name="connsiteX2105" fmla="*/ 188683 w 11951120"/>
              <a:gd name="connsiteY2105" fmla="*/ 6141329 h 6757249"/>
              <a:gd name="connsiteX2106" fmla="*/ 197366 w 11951120"/>
              <a:gd name="connsiteY2106" fmla="*/ 6143935 h 6757249"/>
              <a:gd name="connsiteX2107" fmla="*/ 198416 w 11951120"/>
              <a:gd name="connsiteY2107" fmla="*/ 6138079 h 6757249"/>
              <a:gd name="connsiteX2108" fmla="*/ 262517 w 11951120"/>
              <a:gd name="connsiteY2108" fmla="*/ 6119494 h 6757249"/>
              <a:gd name="connsiteX2109" fmla="*/ 262824 w 11951120"/>
              <a:gd name="connsiteY2109" fmla="*/ 6120207 h 6757249"/>
              <a:gd name="connsiteX2110" fmla="*/ 262772 w 11951120"/>
              <a:gd name="connsiteY2110" fmla="*/ 6119390 h 6757249"/>
              <a:gd name="connsiteX2111" fmla="*/ 289352 w 11951120"/>
              <a:gd name="connsiteY2111" fmla="*/ 6071126 h 6757249"/>
              <a:gd name="connsiteX2112" fmla="*/ 290207 w 11951120"/>
              <a:gd name="connsiteY2112" fmla="*/ 6070740 h 6757249"/>
              <a:gd name="connsiteX2113" fmla="*/ 358773 w 11951120"/>
              <a:gd name="connsiteY2113" fmla="*/ 5974457 h 6757249"/>
              <a:gd name="connsiteX2114" fmla="*/ 336037 w 11951120"/>
              <a:gd name="connsiteY2114" fmla="*/ 5960179 h 6757249"/>
              <a:gd name="connsiteX2115" fmla="*/ 328860 w 11951120"/>
              <a:gd name="connsiteY2115" fmla="*/ 5935339 h 6757249"/>
              <a:gd name="connsiteX2116" fmla="*/ 348734 w 11951120"/>
              <a:gd name="connsiteY2116" fmla="*/ 5909392 h 6757249"/>
              <a:gd name="connsiteX2117" fmla="*/ 380756 w 11951120"/>
              <a:gd name="connsiteY2117" fmla="*/ 5900320 h 6757249"/>
              <a:gd name="connsiteX2118" fmla="*/ 385109 w 11951120"/>
              <a:gd name="connsiteY2118" fmla="*/ 5878557 h 6757249"/>
              <a:gd name="connsiteX2119" fmla="*/ 386901 w 11951120"/>
              <a:gd name="connsiteY2119" fmla="*/ 5878557 h 6757249"/>
              <a:gd name="connsiteX2120" fmla="*/ 385577 w 11951120"/>
              <a:gd name="connsiteY2120" fmla="*/ 5877780 h 6757249"/>
              <a:gd name="connsiteX2121" fmla="*/ 359300 w 11951120"/>
              <a:gd name="connsiteY2121" fmla="*/ 5851311 h 6757249"/>
              <a:gd name="connsiteX2122" fmla="*/ 360334 w 11951120"/>
              <a:gd name="connsiteY2122" fmla="*/ 5849656 h 6757249"/>
              <a:gd name="connsiteX2123" fmla="*/ 359300 w 11951120"/>
              <a:gd name="connsiteY2123" fmla="*/ 5850080 h 6757249"/>
              <a:gd name="connsiteX2124" fmla="*/ 315728 w 11951120"/>
              <a:gd name="connsiteY2124" fmla="*/ 5854426 h 6757249"/>
              <a:gd name="connsiteX2125" fmla="*/ 315026 w 11951120"/>
              <a:gd name="connsiteY2125" fmla="*/ 5853725 h 6757249"/>
              <a:gd name="connsiteX2126" fmla="*/ 314509 w 11951120"/>
              <a:gd name="connsiteY2126" fmla="*/ 5855667 h 6757249"/>
              <a:gd name="connsiteX2127" fmla="*/ 313126 w 11951120"/>
              <a:gd name="connsiteY2127" fmla="*/ 5855981 h 6757249"/>
              <a:gd name="connsiteX2128" fmla="*/ 315695 w 11951120"/>
              <a:gd name="connsiteY2128" fmla="*/ 5856618 h 6757249"/>
              <a:gd name="connsiteX2129" fmla="*/ 304756 w 11951120"/>
              <a:gd name="connsiteY2129" fmla="*/ 5901592 h 6757249"/>
              <a:gd name="connsiteX2130" fmla="*/ 267962 w 11951120"/>
              <a:gd name="connsiteY2130" fmla="*/ 5926556 h 6757249"/>
              <a:gd name="connsiteX2131" fmla="*/ 268135 w 11951120"/>
              <a:gd name="connsiteY2131" fmla="*/ 5926899 h 6757249"/>
              <a:gd name="connsiteX2132" fmla="*/ 140530 w 11951120"/>
              <a:gd name="connsiteY2132" fmla="*/ 6040436 h 6757249"/>
              <a:gd name="connsiteX2133" fmla="*/ 139878 w 11951120"/>
              <a:gd name="connsiteY2133" fmla="*/ 6040223 h 6757249"/>
              <a:gd name="connsiteX2134" fmla="*/ 140388 w 11951120"/>
              <a:gd name="connsiteY2134" fmla="*/ 6041081 h 6757249"/>
              <a:gd name="connsiteX2135" fmla="*/ 144793 w 11951120"/>
              <a:gd name="connsiteY2135" fmla="*/ 6071960 h 6757249"/>
              <a:gd name="connsiteX2136" fmla="*/ 25856 w 11951120"/>
              <a:gd name="connsiteY2136" fmla="*/ 6094015 h 6757249"/>
              <a:gd name="connsiteX2137" fmla="*/ 25856 w 11951120"/>
              <a:gd name="connsiteY2137" fmla="*/ 6045493 h 6757249"/>
              <a:gd name="connsiteX2138" fmla="*/ 58688 w 11951120"/>
              <a:gd name="connsiteY2138" fmla="*/ 5982218 h 6757249"/>
              <a:gd name="connsiteX2139" fmla="*/ 96336 w 11951120"/>
              <a:gd name="connsiteY2139" fmla="*/ 5996968 h 6757249"/>
              <a:gd name="connsiteX2140" fmla="*/ 96670 w 11951120"/>
              <a:gd name="connsiteY2140" fmla="*/ 5997159 h 6757249"/>
              <a:gd name="connsiteX2141" fmla="*/ 96529 w 11951120"/>
              <a:gd name="connsiteY2141" fmla="*/ 5996767 h 6757249"/>
              <a:gd name="connsiteX2142" fmla="*/ 153731 w 11951120"/>
              <a:gd name="connsiteY2142" fmla="*/ 5926899 h 6757249"/>
              <a:gd name="connsiteX2143" fmla="*/ 158352 w 11951120"/>
              <a:gd name="connsiteY2143" fmla="*/ 5924350 h 6757249"/>
              <a:gd name="connsiteX2144" fmla="*/ 153220 w 11951120"/>
              <a:gd name="connsiteY2144" fmla="*/ 5925156 h 6757249"/>
              <a:gd name="connsiteX2145" fmla="*/ 0 w 11951120"/>
              <a:gd name="connsiteY2145" fmla="*/ 5803408 h 6757249"/>
              <a:gd name="connsiteX2146" fmla="*/ 48155 w 11951120"/>
              <a:gd name="connsiteY2146" fmla="*/ 5772970 h 6757249"/>
              <a:gd name="connsiteX2147" fmla="*/ 54521 w 11951120"/>
              <a:gd name="connsiteY2147" fmla="*/ 5775296 h 6757249"/>
              <a:gd name="connsiteX2148" fmla="*/ 77954 w 11951120"/>
              <a:gd name="connsiteY2148" fmla="*/ 5746407 h 6757249"/>
              <a:gd name="connsiteX2149" fmla="*/ 123344 w 11951120"/>
              <a:gd name="connsiteY2149" fmla="*/ 5733764 h 6757249"/>
              <a:gd name="connsiteX2150" fmla="*/ 123344 w 11951120"/>
              <a:gd name="connsiteY2150" fmla="*/ 5790497 h 6757249"/>
              <a:gd name="connsiteX2151" fmla="*/ 123548 w 11951120"/>
              <a:gd name="connsiteY2151" fmla="*/ 5790533 h 6757249"/>
              <a:gd name="connsiteX2152" fmla="*/ 123548 w 11951120"/>
              <a:gd name="connsiteY2152" fmla="*/ 5733381 h 6757249"/>
              <a:gd name="connsiteX2153" fmla="*/ 119218 w 11951120"/>
              <a:gd name="connsiteY2153" fmla="*/ 5733381 h 6757249"/>
              <a:gd name="connsiteX2154" fmla="*/ 187740 w 11951120"/>
              <a:gd name="connsiteY2154" fmla="*/ 5707248 h 6757249"/>
              <a:gd name="connsiteX2155" fmla="*/ 214161 w 11951120"/>
              <a:gd name="connsiteY2155" fmla="*/ 5685500 h 6757249"/>
              <a:gd name="connsiteX2156" fmla="*/ 216048 w 11951120"/>
              <a:gd name="connsiteY2156" fmla="*/ 5686615 h 6757249"/>
              <a:gd name="connsiteX2157" fmla="*/ 214508 w 11951120"/>
              <a:gd name="connsiteY2157" fmla="*/ 5684427 h 6757249"/>
              <a:gd name="connsiteX2158" fmla="*/ 238343 w 11951120"/>
              <a:gd name="connsiteY2158" fmla="*/ 5623041 h 6757249"/>
              <a:gd name="connsiteX2159" fmla="*/ 284354 w 11951120"/>
              <a:gd name="connsiteY2159" fmla="*/ 5579299 h 6757249"/>
              <a:gd name="connsiteX2160" fmla="*/ 284223 w 11951120"/>
              <a:gd name="connsiteY2160" fmla="*/ 5577604 h 6757249"/>
              <a:gd name="connsiteX2161" fmla="*/ 337850 w 11951120"/>
              <a:gd name="connsiteY2161" fmla="*/ 5538027 h 6757249"/>
              <a:gd name="connsiteX2162" fmla="*/ 337850 w 11951120"/>
              <a:gd name="connsiteY2162" fmla="*/ 5538130 h 6757249"/>
              <a:gd name="connsiteX2163" fmla="*/ 362771 w 11951120"/>
              <a:gd name="connsiteY2163" fmla="*/ 5517042 h 6757249"/>
              <a:gd name="connsiteX2164" fmla="*/ 362759 w 11951120"/>
              <a:gd name="connsiteY2164" fmla="*/ 5516848 h 6757249"/>
              <a:gd name="connsiteX2165" fmla="*/ 481487 w 11951120"/>
              <a:gd name="connsiteY2165" fmla="*/ 5368980 h 6757249"/>
              <a:gd name="connsiteX2166" fmla="*/ 445593 w 11951120"/>
              <a:gd name="connsiteY2166" fmla="*/ 5365695 h 6757249"/>
              <a:gd name="connsiteX2167" fmla="*/ 446097 w 11951120"/>
              <a:gd name="connsiteY2167" fmla="*/ 5371724 h 6757249"/>
              <a:gd name="connsiteX2168" fmla="*/ 411122 w 11951120"/>
              <a:gd name="connsiteY2168" fmla="*/ 5411071 h 6757249"/>
              <a:gd name="connsiteX2169" fmla="*/ 387837 w 11951120"/>
              <a:gd name="connsiteY2169" fmla="*/ 5425829 h 6757249"/>
              <a:gd name="connsiteX2170" fmla="*/ 383276 w 11951120"/>
              <a:gd name="connsiteY2170" fmla="*/ 5433982 h 6757249"/>
              <a:gd name="connsiteX2171" fmla="*/ 267829 w 11951120"/>
              <a:gd name="connsiteY2171" fmla="*/ 5513894 h 6757249"/>
              <a:gd name="connsiteX2172" fmla="*/ 267826 w 11951120"/>
              <a:gd name="connsiteY2172" fmla="*/ 5513889 h 6757249"/>
              <a:gd name="connsiteX2173" fmla="*/ 242189 w 11951120"/>
              <a:gd name="connsiteY2173" fmla="*/ 5553992 h 6757249"/>
              <a:gd name="connsiteX2174" fmla="*/ 193057 w 11951120"/>
              <a:gd name="connsiteY2174" fmla="*/ 5561670 h 6757249"/>
              <a:gd name="connsiteX2175" fmla="*/ 193057 w 11951120"/>
              <a:gd name="connsiteY2175" fmla="*/ 5560204 h 6757249"/>
              <a:gd name="connsiteX2176" fmla="*/ 96529 w 11951120"/>
              <a:gd name="connsiteY2176" fmla="*/ 5586289 h 6757249"/>
              <a:gd name="connsiteX2177" fmla="*/ 171285 w 11951120"/>
              <a:gd name="connsiteY2177" fmla="*/ 5516575 h 6757249"/>
              <a:gd name="connsiteX2178" fmla="*/ 171748 w 11951120"/>
              <a:gd name="connsiteY2178" fmla="*/ 5516575 h 6757249"/>
              <a:gd name="connsiteX2179" fmla="*/ 171606 w 11951120"/>
              <a:gd name="connsiteY2179" fmla="*/ 5516480 h 6757249"/>
              <a:gd name="connsiteX2180" fmla="*/ 193174 w 11951120"/>
              <a:gd name="connsiteY2180" fmla="*/ 5469077 h 6757249"/>
              <a:gd name="connsiteX2181" fmla="*/ 262189 w 11951120"/>
              <a:gd name="connsiteY2181" fmla="*/ 5417366 h 6757249"/>
              <a:gd name="connsiteX2182" fmla="*/ 262189 w 11951120"/>
              <a:gd name="connsiteY2182" fmla="*/ 5418653 h 6757249"/>
              <a:gd name="connsiteX2183" fmla="*/ 262481 w 11951120"/>
              <a:gd name="connsiteY2183" fmla="*/ 5415442 h 6757249"/>
              <a:gd name="connsiteX2184" fmla="*/ 288712 w 11951120"/>
              <a:gd name="connsiteY2184" fmla="*/ 5371724 h 6757249"/>
              <a:gd name="connsiteX2185" fmla="*/ 290035 w 11951120"/>
              <a:gd name="connsiteY2185" fmla="*/ 5370159 h 6757249"/>
              <a:gd name="connsiteX2186" fmla="*/ 302282 w 11951120"/>
              <a:gd name="connsiteY2186" fmla="*/ 5325962 h 6757249"/>
              <a:gd name="connsiteX2187" fmla="*/ 337049 w 11951120"/>
              <a:gd name="connsiteY2187" fmla="*/ 5297615 h 6757249"/>
              <a:gd name="connsiteX2188" fmla="*/ 316399 w 11951120"/>
              <a:gd name="connsiteY2188" fmla="*/ 5276552 h 6757249"/>
              <a:gd name="connsiteX2189" fmla="*/ 317639 w 11951120"/>
              <a:gd name="connsiteY2189" fmla="*/ 5274046 h 6757249"/>
              <a:gd name="connsiteX2190" fmla="*/ 315987 w 11951120"/>
              <a:gd name="connsiteY2190" fmla="*/ 5275253 h 6757249"/>
              <a:gd name="connsiteX2191" fmla="*/ 170328 w 11951120"/>
              <a:gd name="connsiteY2191" fmla="*/ 5200451 h 6757249"/>
              <a:gd name="connsiteX2192" fmla="*/ 214467 w 11951120"/>
              <a:gd name="connsiteY2192" fmla="*/ 5103647 h 6757249"/>
              <a:gd name="connsiteX2193" fmla="*/ 214893 w 11951120"/>
              <a:gd name="connsiteY2193" fmla="*/ 5103717 h 6757249"/>
              <a:gd name="connsiteX2194" fmla="*/ 262937 w 11951120"/>
              <a:gd name="connsiteY2194" fmla="*/ 5055214 h 6757249"/>
              <a:gd name="connsiteX2195" fmla="*/ 262772 w 11951120"/>
              <a:gd name="connsiteY2195" fmla="*/ 5055049 h 6757249"/>
              <a:gd name="connsiteX2196" fmla="*/ 305721 w 11951120"/>
              <a:gd name="connsiteY2196" fmla="*/ 4978253 h 6757249"/>
              <a:gd name="connsiteX2197" fmla="*/ 380760 w 11951120"/>
              <a:gd name="connsiteY2197" fmla="*/ 4937916 h 6757249"/>
              <a:gd name="connsiteX2198" fmla="*/ 381134 w 11951120"/>
              <a:gd name="connsiteY2198" fmla="*/ 4937255 h 6757249"/>
              <a:gd name="connsiteX2199" fmla="*/ 385492 w 11951120"/>
              <a:gd name="connsiteY2199" fmla="*/ 4915327 h 6757249"/>
              <a:gd name="connsiteX2200" fmla="*/ 359971 w 11951120"/>
              <a:gd name="connsiteY2200" fmla="*/ 4889525 h 6757249"/>
              <a:gd name="connsiteX2201" fmla="*/ 359300 w 11951120"/>
              <a:gd name="connsiteY2201" fmla="*/ 4887148 h 6757249"/>
              <a:gd name="connsiteX2202" fmla="*/ 359300 w 11951120"/>
              <a:gd name="connsiteY2202" fmla="*/ 4889408 h 6757249"/>
              <a:gd name="connsiteX2203" fmla="*/ 262772 w 11951120"/>
              <a:gd name="connsiteY2203" fmla="*/ 4862863 h 6757249"/>
              <a:gd name="connsiteX2204" fmla="*/ 263335 w 11951120"/>
              <a:gd name="connsiteY2204" fmla="*/ 4862605 h 6757249"/>
              <a:gd name="connsiteX2205" fmla="*/ 262772 w 11951120"/>
              <a:gd name="connsiteY2205" fmla="*/ 4862524 h 6757249"/>
              <a:gd name="connsiteX2206" fmla="*/ 341826 w 11951120"/>
              <a:gd name="connsiteY2206" fmla="*/ 4589505 h 6757249"/>
              <a:gd name="connsiteX2207" fmla="*/ 412095 w 11951120"/>
              <a:gd name="connsiteY2207" fmla="*/ 4514647 h 6757249"/>
              <a:gd name="connsiteX2208" fmla="*/ 504324 w 11951120"/>
              <a:gd name="connsiteY2208" fmla="*/ 4404559 h 6757249"/>
              <a:gd name="connsiteX2209" fmla="*/ 658038 w 11951120"/>
              <a:gd name="connsiteY2209" fmla="*/ 4338506 h 6757249"/>
              <a:gd name="connsiteX2210" fmla="*/ 662167 w 11951120"/>
              <a:gd name="connsiteY2210" fmla="*/ 4339178 h 6757249"/>
              <a:gd name="connsiteX2211" fmla="*/ 714133 w 11951120"/>
              <a:gd name="connsiteY2211" fmla="*/ 4276884 h 6757249"/>
              <a:gd name="connsiteX2212" fmla="*/ 761734 w 11951120"/>
              <a:gd name="connsiteY2212" fmla="*/ 4237260 h 6757249"/>
              <a:gd name="connsiteX2213" fmla="*/ 749222 w 11951120"/>
              <a:gd name="connsiteY2213" fmla="*/ 4229879 h 6757249"/>
              <a:gd name="connsiteX2214" fmla="*/ 748528 w 11951120"/>
              <a:gd name="connsiteY2214" fmla="*/ 4185453 h 6757249"/>
              <a:gd name="connsiteX2215" fmla="*/ 760611 w 11951120"/>
              <a:gd name="connsiteY2215" fmla="*/ 4160747 h 6757249"/>
              <a:gd name="connsiteX2216" fmla="*/ 748125 w 11951120"/>
              <a:gd name="connsiteY2216" fmla="*/ 4123975 h 6757249"/>
              <a:gd name="connsiteX2217" fmla="*/ 703256 w 11951120"/>
              <a:gd name="connsiteY2217" fmla="*/ 4145005 h 6757249"/>
              <a:gd name="connsiteX2218" fmla="*/ 552622 w 11951120"/>
              <a:gd name="connsiteY2218" fmla="*/ 4243389 h 6757249"/>
              <a:gd name="connsiteX2219" fmla="*/ 552352 w 11951120"/>
              <a:gd name="connsiteY2219" fmla="*/ 4243398 h 6757249"/>
              <a:gd name="connsiteX2220" fmla="*/ 533296 w 11951120"/>
              <a:gd name="connsiteY2220" fmla="*/ 4261112 h 6757249"/>
              <a:gd name="connsiteX2221" fmla="*/ 504428 w 11951120"/>
              <a:gd name="connsiteY2221" fmla="*/ 4265543 h 6757249"/>
              <a:gd name="connsiteX2222" fmla="*/ 504254 w 11951120"/>
              <a:gd name="connsiteY2222" fmla="*/ 4264977 h 6757249"/>
              <a:gd name="connsiteX2223" fmla="*/ 504197 w 11951120"/>
              <a:gd name="connsiteY2223" fmla="*/ 4266080 h 6757249"/>
              <a:gd name="connsiteX2224" fmla="*/ 450982 w 11951120"/>
              <a:gd name="connsiteY2224" fmla="*/ 4318481 h 6757249"/>
              <a:gd name="connsiteX2225" fmla="*/ 406637 w 11951120"/>
              <a:gd name="connsiteY2225" fmla="*/ 4218046 h 6757249"/>
              <a:gd name="connsiteX2226" fmla="*/ 406723 w 11951120"/>
              <a:gd name="connsiteY2226" fmla="*/ 4217461 h 6757249"/>
              <a:gd name="connsiteX2227" fmla="*/ 363537 w 11951120"/>
              <a:gd name="connsiteY2227" fmla="*/ 4243135 h 6757249"/>
              <a:gd name="connsiteX2228" fmla="*/ 364666 w 11951120"/>
              <a:gd name="connsiteY2228" fmla="*/ 4244092 h 6757249"/>
              <a:gd name="connsiteX2229" fmla="*/ 263525 w 11951120"/>
              <a:gd name="connsiteY2229" fmla="*/ 4313807 h 6757249"/>
              <a:gd name="connsiteX2230" fmla="*/ 263525 w 11951120"/>
              <a:gd name="connsiteY2230" fmla="*/ 4312039 h 6757249"/>
              <a:gd name="connsiteX2231" fmla="*/ 263055 w 11951120"/>
              <a:gd name="connsiteY2231" fmla="*/ 4313922 h 6757249"/>
              <a:gd name="connsiteX2232" fmla="*/ 263055 w 11951120"/>
              <a:gd name="connsiteY2232" fmla="*/ 4362244 h 6757249"/>
              <a:gd name="connsiteX2233" fmla="*/ 123061 w 11951120"/>
              <a:gd name="connsiteY2233" fmla="*/ 4291958 h 6757249"/>
              <a:gd name="connsiteX2234" fmla="*/ 188684 w 11951120"/>
              <a:gd name="connsiteY2234" fmla="*/ 4217279 h 6757249"/>
              <a:gd name="connsiteX2235" fmla="*/ 197367 w 11951120"/>
              <a:gd name="connsiteY2235" fmla="*/ 4219885 h 6757249"/>
              <a:gd name="connsiteX2236" fmla="*/ 198417 w 11951120"/>
              <a:gd name="connsiteY2236" fmla="*/ 4214029 h 6757249"/>
              <a:gd name="connsiteX2237" fmla="*/ 262518 w 11951120"/>
              <a:gd name="connsiteY2237" fmla="*/ 4195444 h 6757249"/>
              <a:gd name="connsiteX2238" fmla="*/ 262825 w 11951120"/>
              <a:gd name="connsiteY2238" fmla="*/ 4196157 h 6757249"/>
              <a:gd name="connsiteX2239" fmla="*/ 262773 w 11951120"/>
              <a:gd name="connsiteY2239" fmla="*/ 4195340 h 6757249"/>
              <a:gd name="connsiteX2240" fmla="*/ 289353 w 11951120"/>
              <a:gd name="connsiteY2240" fmla="*/ 4147076 h 6757249"/>
              <a:gd name="connsiteX2241" fmla="*/ 290208 w 11951120"/>
              <a:gd name="connsiteY2241" fmla="*/ 4146690 h 6757249"/>
              <a:gd name="connsiteX2242" fmla="*/ 358774 w 11951120"/>
              <a:gd name="connsiteY2242" fmla="*/ 4050407 h 6757249"/>
              <a:gd name="connsiteX2243" fmla="*/ 336038 w 11951120"/>
              <a:gd name="connsiteY2243" fmla="*/ 4036129 h 6757249"/>
              <a:gd name="connsiteX2244" fmla="*/ 328861 w 11951120"/>
              <a:gd name="connsiteY2244" fmla="*/ 4011289 h 6757249"/>
              <a:gd name="connsiteX2245" fmla="*/ 348735 w 11951120"/>
              <a:gd name="connsiteY2245" fmla="*/ 3985342 h 6757249"/>
              <a:gd name="connsiteX2246" fmla="*/ 380757 w 11951120"/>
              <a:gd name="connsiteY2246" fmla="*/ 3976270 h 6757249"/>
              <a:gd name="connsiteX2247" fmla="*/ 385110 w 11951120"/>
              <a:gd name="connsiteY2247" fmla="*/ 3954507 h 6757249"/>
              <a:gd name="connsiteX2248" fmla="*/ 386902 w 11951120"/>
              <a:gd name="connsiteY2248" fmla="*/ 3954507 h 6757249"/>
              <a:gd name="connsiteX2249" fmla="*/ 385578 w 11951120"/>
              <a:gd name="connsiteY2249" fmla="*/ 3953730 h 6757249"/>
              <a:gd name="connsiteX2250" fmla="*/ 359301 w 11951120"/>
              <a:gd name="connsiteY2250" fmla="*/ 3927261 h 6757249"/>
              <a:gd name="connsiteX2251" fmla="*/ 360335 w 11951120"/>
              <a:gd name="connsiteY2251" fmla="*/ 3925606 h 6757249"/>
              <a:gd name="connsiteX2252" fmla="*/ 359301 w 11951120"/>
              <a:gd name="connsiteY2252" fmla="*/ 3926030 h 6757249"/>
              <a:gd name="connsiteX2253" fmla="*/ 315729 w 11951120"/>
              <a:gd name="connsiteY2253" fmla="*/ 3930376 h 6757249"/>
              <a:gd name="connsiteX2254" fmla="*/ 315027 w 11951120"/>
              <a:gd name="connsiteY2254" fmla="*/ 3929675 h 6757249"/>
              <a:gd name="connsiteX2255" fmla="*/ 314510 w 11951120"/>
              <a:gd name="connsiteY2255" fmla="*/ 3931617 h 6757249"/>
              <a:gd name="connsiteX2256" fmla="*/ 313127 w 11951120"/>
              <a:gd name="connsiteY2256" fmla="*/ 3931931 h 6757249"/>
              <a:gd name="connsiteX2257" fmla="*/ 315696 w 11951120"/>
              <a:gd name="connsiteY2257" fmla="*/ 3932568 h 6757249"/>
              <a:gd name="connsiteX2258" fmla="*/ 304757 w 11951120"/>
              <a:gd name="connsiteY2258" fmla="*/ 3977542 h 6757249"/>
              <a:gd name="connsiteX2259" fmla="*/ 267963 w 11951120"/>
              <a:gd name="connsiteY2259" fmla="*/ 4002506 h 6757249"/>
              <a:gd name="connsiteX2260" fmla="*/ 268136 w 11951120"/>
              <a:gd name="connsiteY2260" fmla="*/ 4002849 h 6757249"/>
              <a:gd name="connsiteX2261" fmla="*/ 140531 w 11951120"/>
              <a:gd name="connsiteY2261" fmla="*/ 4116386 h 6757249"/>
              <a:gd name="connsiteX2262" fmla="*/ 139879 w 11951120"/>
              <a:gd name="connsiteY2262" fmla="*/ 4116173 h 6757249"/>
              <a:gd name="connsiteX2263" fmla="*/ 140389 w 11951120"/>
              <a:gd name="connsiteY2263" fmla="*/ 4117031 h 6757249"/>
              <a:gd name="connsiteX2264" fmla="*/ 144794 w 11951120"/>
              <a:gd name="connsiteY2264" fmla="*/ 4147910 h 6757249"/>
              <a:gd name="connsiteX2265" fmla="*/ 25857 w 11951120"/>
              <a:gd name="connsiteY2265" fmla="*/ 4169965 h 6757249"/>
              <a:gd name="connsiteX2266" fmla="*/ 25857 w 11951120"/>
              <a:gd name="connsiteY2266" fmla="*/ 4121443 h 6757249"/>
              <a:gd name="connsiteX2267" fmla="*/ 58689 w 11951120"/>
              <a:gd name="connsiteY2267" fmla="*/ 4058168 h 6757249"/>
              <a:gd name="connsiteX2268" fmla="*/ 96337 w 11951120"/>
              <a:gd name="connsiteY2268" fmla="*/ 4072918 h 6757249"/>
              <a:gd name="connsiteX2269" fmla="*/ 96671 w 11951120"/>
              <a:gd name="connsiteY2269" fmla="*/ 4073109 h 6757249"/>
              <a:gd name="connsiteX2270" fmla="*/ 96530 w 11951120"/>
              <a:gd name="connsiteY2270" fmla="*/ 4072717 h 6757249"/>
              <a:gd name="connsiteX2271" fmla="*/ 153732 w 11951120"/>
              <a:gd name="connsiteY2271" fmla="*/ 4002849 h 6757249"/>
              <a:gd name="connsiteX2272" fmla="*/ 158353 w 11951120"/>
              <a:gd name="connsiteY2272" fmla="*/ 4000300 h 6757249"/>
              <a:gd name="connsiteX2273" fmla="*/ 153221 w 11951120"/>
              <a:gd name="connsiteY2273" fmla="*/ 4001106 h 6757249"/>
              <a:gd name="connsiteX2274" fmla="*/ 1 w 11951120"/>
              <a:gd name="connsiteY2274" fmla="*/ 3879358 h 6757249"/>
              <a:gd name="connsiteX2275" fmla="*/ 48156 w 11951120"/>
              <a:gd name="connsiteY2275" fmla="*/ 3848920 h 6757249"/>
              <a:gd name="connsiteX2276" fmla="*/ 54522 w 11951120"/>
              <a:gd name="connsiteY2276" fmla="*/ 3851246 h 6757249"/>
              <a:gd name="connsiteX2277" fmla="*/ 77955 w 11951120"/>
              <a:gd name="connsiteY2277" fmla="*/ 3822357 h 6757249"/>
              <a:gd name="connsiteX2278" fmla="*/ 123345 w 11951120"/>
              <a:gd name="connsiteY2278" fmla="*/ 3809714 h 6757249"/>
              <a:gd name="connsiteX2279" fmla="*/ 123345 w 11951120"/>
              <a:gd name="connsiteY2279" fmla="*/ 3866447 h 6757249"/>
              <a:gd name="connsiteX2280" fmla="*/ 123549 w 11951120"/>
              <a:gd name="connsiteY2280" fmla="*/ 3866483 h 6757249"/>
              <a:gd name="connsiteX2281" fmla="*/ 123549 w 11951120"/>
              <a:gd name="connsiteY2281" fmla="*/ 3809331 h 6757249"/>
              <a:gd name="connsiteX2282" fmla="*/ 119219 w 11951120"/>
              <a:gd name="connsiteY2282" fmla="*/ 3809331 h 6757249"/>
              <a:gd name="connsiteX2283" fmla="*/ 187741 w 11951120"/>
              <a:gd name="connsiteY2283" fmla="*/ 3783198 h 6757249"/>
              <a:gd name="connsiteX2284" fmla="*/ 214162 w 11951120"/>
              <a:gd name="connsiteY2284" fmla="*/ 3761450 h 6757249"/>
              <a:gd name="connsiteX2285" fmla="*/ 216049 w 11951120"/>
              <a:gd name="connsiteY2285" fmla="*/ 3762565 h 6757249"/>
              <a:gd name="connsiteX2286" fmla="*/ 214509 w 11951120"/>
              <a:gd name="connsiteY2286" fmla="*/ 3760377 h 6757249"/>
              <a:gd name="connsiteX2287" fmla="*/ 238344 w 11951120"/>
              <a:gd name="connsiteY2287" fmla="*/ 3698991 h 6757249"/>
              <a:gd name="connsiteX2288" fmla="*/ 284355 w 11951120"/>
              <a:gd name="connsiteY2288" fmla="*/ 3655249 h 6757249"/>
              <a:gd name="connsiteX2289" fmla="*/ 284224 w 11951120"/>
              <a:gd name="connsiteY2289" fmla="*/ 3653554 h 6757249"/>
              <a:gd name="connsiteX2290" fmla="*/ 337851 w 11951120"/>
              <a:gd name="connsiteY2290" fmla="*/ 3613977 h 6757249"/>
              <a:gd name="connsiteX2291" fmla="*/ 337851 w 11951120"/>
              <a:gd name="connsiteY2291" fmla="*/ 3614080 h 6757249"/>
              <a:gd name="connsiteX2292" fmla="*/ 362772 w 11951120"/>
              <a:gd name="connsiteY2292" fmla="*/ 3592992 h 6757249"/>
              <a:gd name="connsiteX2293" fmla="*/ 362760 w 11951120"/>
              <a:gd name="connsiteY2293" fmla="*/ 3592798 h 6757249"/>
              <a:gd name="connsiteX2294" fmla="*/ 481488 w 11951120"/>
              <a:gd name="connsiteY2294" fmla="*/ 3444930 h 6757249"/>
              <a:gd name="connsiteX2295" fmla="*/ 445594 w 11951120"/>
              <a:gd name="connsiteY2295" fmla="*/ 3441645 h 6757249"/>
              <a:gd name="connsiteX2296" fmla="*/ 446098 w 11951120"/>
              <a:gd name="connsiteY2296" fmla="*/ 3447674 h 6757249"/>
              <a:gd name="connsiteX2297" fmla="*/ 411123 w 11951120"/>
              <a:gd name="connsiteY2297" fmla="*/ 3487021 h 6757249"/>
              <a:gd name="connsiteX2298" fmla="*/ 387838 w 11951120"/>
              <a:gd name="connsiteY2298" fmla="*/ 3501779 h 6757249"/>
              <a:gd name="connsiteX2299" fmla="*/ 383277 w 11951120"/>
              <a:gd name="connsiteY2299" fmla="*/ 3509932 h 6757249"/>
              <a:gd name="connsiteX2300" fmla="*/ 267830 w 11951120"/>
              <a:gd name="connsiteY2300" fmla="*/ 3589844 h 6757249"/>
              <a:gd name="connsiteX2301" fmla="*/ 267827 w 11951120"/>
              <a:gd name="connsiteY2301" fmla="*/ 3589839 h 6757249"/>
              <a:gd name="connsiteX2302" fmla="*/ 242190 w 11951120"/>
              <a:gd name="connsiteY2302" fmla="*/ 3629942 h 6757249"/>
              <a:gd name="connsiteX2303" fmla="*/ 193058 w 11951120"/>
              <a:gd name="connsiteY2303" fmla="*/ 3637620 h 6757249"/>
              <a:gd name="connsiteX2304" fmla="*/ 193058 w 11951120"/>
              <a:gd name="connsiteY2304" fmla="*/ 3636154 h 6757249"/>
              <a:gd name="connsiteX2305" fmla="*/ 96530 w 11951120"/>
              <a:gd name="connsiteY2305" fmla="*/ 3662239 h 6757249"/>
              <a:gd name="connsiteX2306" fmla="*/ 171286 w 11951120"/>
              <a:gd name="connsiteY2306" fmla="*/ 3592525 h 6757249"/>
              <a:gd name="connsiteX2307" fmla="*/ 171749 w 11951120"/>
              <a:gd name="connsiteY2307" fmla="*/ 3592525 h 6757249"/>
              <a:gd name="connsiteX2308" fmla="*/ 171607 w 11951120"/>
              <a:gd name="connsiteY2308" fmla="*/ 3592430 h 6757249"/>
              <a:gd name="connsiteX2309" fmla="*/ 193175 w 11951120"/>
              <a:gd name="connsiteY2309" fmla="*/ 3545027 h 6757249"/>
              <a:gd name="connsiteX2310" fmla="*/ 262190 w 11951120"/>
              <a:gd name="connsiteY2310" fmla="*/ 3493316 h 6757249"/>
              <a:gd name="connsiteX2311" fmla="*/ 262190 w 11951120"/>
              <a:gd name="connsiteY2311" fmla="*/ 3494603 h 6757249"/>
              <a:gd name="connsiteX2312" fmla="*/ 262482 w 11951120"/>
              <a:gd name="connsiteY2312" fmla="*/ 3491392 h 6757249"/>
              <a:gd name="connsiteX2313" fmla="*/ 288713 w 11951120"/>
              <a:gd name="connsiteY2313" fmla="*/ 3447674 h 6757249"/>
              <a:gd name="connsiteX2314" fmla="*/ 290036 w 11951120"/>
              <a:gd name="connsiteY2314" fmla="*/ 3446109 h 6757249"/>
              <a:gd name="connsiteX2315" fmla="*/ 302283 w 11951120"/>
              <a:gd name="connsiteY2315" fmla="*/ 3401912 h 6757249"/>
              <a:gd name="connsiteX2316" fmla="*/ 337050 w 11951120"/>
              <a:gd name="connsiteY2316" fmla="*/ 3373565 h 6757249"/>
              <a:gd name="connsiteX2317" fmla="*/ 316400 w 11951120"/>
              <a:gd name="connsiteY2317" fmla="*/ 3352502 h 6757249"/>
              <a:gd name="connsiteX2318" fmla="*/ 317640 w 11951120"/>
              <a:gd name="connsiteY2318" fmla="*/ 3349996 h 6757249"/>
              <a:gd name="connsiteX2319" fmla="*/ 315988 w 11951120"/>
              <a:gd name="connsiteY2319" fmla="*/ 3351203 h 6757249"/>
              <a:gd name="connsiteX2320" fmla="*/ 170329 w 11951120"/>
              <a:gd name="connsiteY2320" fmla="*/ 3276401 h 6757249"/>
              <a:gd name="connsiteX2321" fmla="*/ 214468 w 11951120"/>
              <a:gd name="connsiteY2321" fmla="*/ 3179597 h 6757249"/>
              <a:gd name="connsiteX2322" fmla="*/ 214894 w 11951120"/>
              <a:gd name="connsiteY2322" fmla="*/ 3179667 h 6757249"/>
              <a:gd name="connsiteX2323" fmla="*/ 262938 w 11951120"/>
              <a:gd name="connsiteY2323" fmla="*/ 3131164 h 6757249"/>
              <a:gd name="connsiteX2324" fmla="*/ 262773 w 11951120"/>
              <a:gd name="connsiteY2324" fmla="*/ 3130999 h 6757249"/>
              <a:gd name="connsiteX2325" fmla="*/ 305722 w 11951120"/>
              <a:gd name="connsiteY2325" fmla="*/ 3054203 h 6757249"/>
              <a:gd name="connsiteX2326" fmla="*/ 380761 w 11951120"/>
              <a:gd name="connsiteY2326" fmla="*/ 3013866 h 6757249"/>
              <a:gd name="connsiteX2327" fmla="*/ 381135 w 11951120"/>
              <a:gd name="connsiteY2327" fmla="*/ 3013205 h 6757249"/>
              <a:gd name="connsiteX2328" fmla="*/ 385493 w 11951120"/>
              <a:gd name="connsiteY2328" fmla="*/ 2991277 h 6757249"/>
              <a:gd name="connsiteX2329" fmla="*/ 359972 w 11951120"/>
              <a:gd name="connsiteY2329" fmla="*/ 2965475 h 6757249"/>
              <a:gd name="connsiteX2330" fmla="*/ 359301 w 11951120"/>
              <a:gd name="connsiteY2330" fmla="*/ 2963098 h 6757249"/>
              <a:gd name="connsiteX2331" fmla="*/ 359301 w 11951120"/>
              <a:gd name="connsiteY2331" fmla="*/ 2965358 h 6757249"/>
              <a:gd name="connsiteX2332" fmla="*/ 262773 w 11951120"/>
              <a:gd name="connsiteY2332" fmla="*/ 2938813 h 6757249"/>
              <a:gd name="connsiteX2333" fmla="*/ 263336 w 11951120"/>
              <a:gd name="connsiteY2333" fmla="*/ 2938555 h 6757249"/>
              <a:gd name="connsiteX2334" fmla="*/ 262773 w 11951120"/>
              <a:gd name="connsiteY2334" fmla="*/ 2938474 h 6757249"/>
              <a:gd name="connsiteX2335" fmla="*/ 318769 w 11951120"/>
              <a:gd name="connsiteY2335" fmla="*/ 2808570 h 6757249"/>
              <a:gd name="connsiteX2336" fmla="*/ 329221 w 11951120"/>
              <a:gd name="connsiteY2336" fmla="*/ 2775879 h 6757249"/>
              <a:gd name="connsiteX2337" fmla="*/ 320692 w 11951120"/>
              <a:gd name="connsiteY2337" fmla="*/ 2782169 h 6757249"/>
              <a:gd name="connsiteX2338" fmla="*/ 263526 w 11951120"/>
              <a:gd name="connsiteY2338" fmla="*/ 2808857 h 6757249"/>
              <a:gd name="connsiteX2339" fmla="*/ 263526 w 11951120"/>
              <a:gd name="connsiteY2339" fmla="*/ 2807089 h 6757249"/>
              <a:gd name="connsiteX2340" fmla="*/ 263056 w 11951120"/>
              <a:gd name="connsiteY2340" fmla="*/ 2808972 h 6757249"/>
              <a:gd name="connsiteX2341" fmla="*/ 263056 w 11951120"/>
              <a:gd name="connsiteY2341" fmla="*/ 2857294 h 6757249"/>
              <a:gd name="connsiteX2342" fmla="*/ 123062 w 11951120"/>
              <a:gd name="connsiteY2342" fmla="*/ 2787009 h 6757249"/>
              <a:gd name="connsiteX2343" fmla="*/ 188685 w 11951120"/>
              <a:gd name="connsiteY2343" fmla="*/ 2712329 h 6757249"/>
              <a:gd name="connsiteX2344" fmla="*/ 197368 w 11951120"/>
              <a:gd name="connsiteY2344" fmla="*/ 2714935 h 6757249"/>
              <a:gd name="connsiteX2345" fmla="*/ 198418 w 11951120"/>
              <a:gd name="connsiteY2345" fmla="*/ 2709079 h 6757249"/>
              <a:gd name="connsiteX2346" fmla="*/ 262519 w 11951120"/>
              <a:gd name="connsiteY2346" fmla="*/ 2690494 h 6757249"/>
              <a:gd name="connsiteX2347" fmla="*/ 262826 w 11951120"/>
              <a:gd name="connsiteY2347" fmla="*/ 2691207 h 6757249"/>
              <a:gd name="connsiteX2348" fmla="*/ 262774 w 11951120"/>
              <a:gd name="connsiteY2348" fmla="*/ 2690390 h 6757249"/>
              <a:gd name="connsiteX2349" fmla="*/ 289354 w 11951120"/>
              <a:gd name="connsiteY2349" fmla="*/ 2642126 h 6757249"/>
              <a:gd name="connsiteX2350" fmla="*/ 290209 w 11951120"/>
              <a:gd name="connsiteY2350" fmla="*/ 2641740 h 6757249"/>
              <a:gd name="connsiteX2351" fmla="*/ 358775 w 11951120"/>
              <a:gd name="connsiteY2351" fmla="*/ 2545457 h 6757249"/>
              <a:gd name="connsiteX2352" fmla="*/ 336039 w 11951120"/>
              <a:gd name="connsiteY2352" fmla="*/ 2531179 h 6757249"/>
              <a:gd name="connsiteX2353" fmla="*/ 328862 w 11951120"/>
              <a:gd name="connsiteY2353" fmla="*/ 2506339 h 6757249"/>
              <a:gd name="connsiteX2354" fmla="*/ 348736 w 11951120"/>
              <a:gd name="connsiteY2354" fmla="*/ 2480392 h 6757249"/>
              <a:gd name="connsiteX2355" fmla="*/ 380758 w 11951120"/>
              <a:gd name="connsiteY2355" fmla="*/ 2471320 h 6757249"/>
              <a:gd name="connsiteX2356" fmla="*/ 385111 w 11951120"/>
              <a:gd name="connsiteY2356" fmla="*/ 2449557 h 6757249"/>
              <a:gd name="connsiteX2357" fmla="*/ 386903 w 11951120"/>
              <a:gd name="connsiteY2357" fmla="*/ 2449557 h 6757249"/>
              <a:gd name="connsiteX2358" fmla="*/ 385579 w 11951120"/>
              <a:gd name="connsiteY2358" fmla="*/ 2448780 h 6757249"/>
              <a:gd name="connsiteX2359" fmla="*/ 359302 w 11951120"/>
              <a:gd name="connsiteY2359" fmla="*/ 2422311 h 6757249"/>
              <a:gd name="connsiteX2360" fmla="*/ 360336 w 11951120"/>
              <a:gd name="connsiteY2360" fmla="*/ 2420656 h 6757249"/>
              <a:gd name="connsiteX2361" fmla="*/ 359302 w 11951120"/>
              <a:gd name="connsiteY2361" fmla="*/ 2421080 h 6757249"/>
              <a:gd name="connsiteX2362" fmla="*/ 315730 w 11951120"/>
              <a:gd name="connsiteY2362" fmla="*/ 2425426 h 6757249"/>
              <a:gd name="connsiteX2363" fmla="*/ 315028 w 11951120"/>
              <a:gd name="connsiteY2363" fmla="*/ 2424725 h 6757249"/>
              <a:gd name="connsiteX2364" fmla="*/ 314511 w 11951120"/>
              <a:gd name="connsiteY2364" fmla="*/ 2426667 h 6757249"/>
              <a:gd name="connsiteX2365" fmla="*/ 313128 w 11951120"/>
              <a:gd name="connsiteY2365" fmla="*/ 2426981 h 6757249"/>
              <a:gd name="connsiteX2366" fmla="*/ 315697 w 11951120"/>
              <a:gd name="connsiteY2366" fmla="*/ 2427618 h 6757249"/>
              <a:gd name="connsiteX2367" fmla="*/ 304758 w 11951120"/>
              <a:gd name="connsiteY2367" fmla="*/ 2472592 h 6757249"/>
              <a:gd name="connsiteX2368" fmla="*/ 267964 w 11951120"/>
              <a:gd name="connsiteY2368" fmla="*/ 2497556 h 6757249"/>
              <a:gd name="connsiteX2369" fmla="*/ 268137 w 11951120"/>
              <a:gd name="connsiteY2369" fmla="*/ 2497899 h 6757249"/>
              <a:gd name="connsiteX2370" fmla="*/ 140532 w 11951120"/>
              <a:gd name="connsiteY2370" fmla="*/ 2611436 h 6757249"/>
              <a:gd name="connsiteX2371" fmla="*/ 139880 w 11951120"/>
              <a:gd name="connsiteY2371" fmla="*/ 2611223 h 6757249"/>
              <a:gd name="connsiteX2372" fmla="*/ 140390 w 11951120"/>
              <a:gd name="connsiteY2372" fmla="*/ 2612081 h 6757249"/>
              <a:gd name="connsiteX2373" fmla="*/ 144795 w 11951120"/>
              <a:gd name="connsiteY2373" fmla="*/ 2642960 h 6757249"/>
              <a:gd name="connsiteX2374" fmla="*/ 25858 w 11951120"/>
              <a:gd name="connsiteY2374" fmla="*/ 2665015 h 6757249"/>
              <a:gd name="connsiteX2375" fmla="*/ 25858 w 11951120"/>
              <a:gd name="connsiteY2375" fmla="*/ 2616493 h 6757249"/>
              <a:gd name="connsiteX2376" fmla="*/ 58690 w 11951120"/>
              <a:gd name="connsiteY2376" fmla="*/ 2553218 h 6757249"/>
              <a:gd name="connsiteX2377" fmla="*/ 96338 w 11951120"/>
              <a:gd name="connsiteY2377" fmla="*/ 2567968 h 6757249"/>
              <a:gd name="connsiteX2378" fmla="*/ 96672 w 11951120"/>
              <a:gd name="connsiteY2378" fmla="*/ 2568159 h 6757249"/>
              <a:gd name="connsiteX2379" fmla="*/ 96531 w 11951120"/>
              <a:gd name="connsiteY2379" fmla="*/ 2567767 h 6757249"/>
              <a:gd name="connsiteX2380" fmla="*/ 153733 w 11951120"/>
              <a:gd name="connsiteY2380" fmla="*/ 2497899 h 6757249"/>
              <a:gd name="connsiteX2381" fmla="*/ 158354 w 11951120"/>
              <a:gd name="connsiteY2381" fmla="*/ 2495350 h 6757249"/>
              <a:gd name="connsiteX2382" fmla="*/ 153222 w 11951120"/>
              <a:gd name="connsiteY2382" fmla="*/ 2496156 h 6757249"/>
              <a:gd name="connsiteX2383" fmla="*/ 2 w 11951120"/>
              <a:gd name="connsiteY2383" fmla="*/ 2374408 h 6757249"/>
              <a:gd name="connsiteX2384" fmla="*/ 48157 w 11951120"/>
              <a:gd name="connsiteY2384" fmla="*/ 2343970 h 6757249"/>
              <a:gd name="connsiteX2385" fmla="*/ 54523 w 11951120"/>
              <a:gd name="connsiteY2385" fmla="*/ 2346296 h 6757249"/>
              <a:gd name="connsiteX2386" fmla="*/ 77956 w 11951120"/>
              <a:gd name="connsiteY2386" fmla="*/ 2317407 h 6757249"/>
              <a:gd name="connsiteX2387" fmla="*/ 123346 w 11951120"/>
              <a:gd name="connsiteY2387" fmla="*/ 2304764 h 6757249"/>
              <a:gd name="connsiteX2388" fmla="*/ 123346 w 11951120"/>
              <a:gd name="connsiteY2388" fmla="*/ 2361497 h 6757249"/>
              <a:gd name="connsiteX2389" fmla="*/ 123550 w 11951120"/>
              <a:gd name="connsiteY2389" fmla="*/ 2361533 h 6757249"/>
              <a:gd name="connsiteX2390" fmla="*/ 123550 w 11951120"/>
              <a:gd name="connsiteY2390" fmla="*/ 2304381 h 6757249"/>
              <a:gd name="connsiteX2391" fmla="*/ 119220 w 11951120"/>
              <a:gd name="connsiteY2391" fmla="*/ 2304381 h 6757249"/>
              <a:gd name="connsiteX2392" fmla="*/ 187742 w 11951120"/>
              <a:gd name="connsiteY2392" fmla="*/ 2278248 h 6757249"/>
              <a:gd name="connsiteX2393" fmla="*/ 214163 w 11951120"/>
              <a:gd name="connsiteY2393" fmla="*/ 2256500 h 6757249"/>
              <a:gd name="connsiteX2394" fmla="*/ 216050 w 11951120"/>
              <a:gd name="connsiteY2394" fmla="*/ 2257615 h 6757249"/>
              <a:gd name="connsiteX2395" fmla="*/ 214510 w 11951120"/>
              <a:gd name="connsiteY2395" fmla="*/ 2255427 h 6757249"/>
              <a:gd name="connsiteX2396" fmla="*/ 238345 w 11951120"/>
              <a:gd name="connsiteY2396" fmla="*/ 2194041 h 6757249"/>
              <a:gd name="connsiteX2397" fmla="*/ 284356 w 11951120"/>
              <a:gd name="connsiteY2397" fmla="*/ 2150299 h 6757249"/>
              <a:gd name="connsiteX2398" fmla="*/ 284225 w 11951120"/>
              <a:gd name="connsiteY2398" fmla="*/ 2148604 h 6757249"/>
              <a:gd name="connsiteX2399" fmla="*/ 337852 w 11951120"/>
              <a:gd name="connsiteY2399" fmla="*/ 2109027 h 6757249"/>
              <a:gd name="connsiteX2400" fmla="*/ 337852 w 11951120"/>
              <a:gd name="connsiteY2400" fmla="*/ 2109130 h 6757249"/>
              <a:gd name="connsiteX2401" fmla="*/ 362773 w 11951120"/>
              <a:gd name="connsiteY2401" fmla="*/ 2088042 h 6757249"/>
              <a:gd name="connsiteX2402" fmla="*/ 362761 w 11951120"/>
              <a:gd name="connsiteY2402" fmla="*/ 2087848 h 6757249"/>
              <a:gd name="connsiteX2403" fmla="*/ 481489 w 11951120"/>
              <a:gd name="connsiteY2403" fmla="*/ 1939980 h 6757249"/>
              <a:gd name="connsiteX2404" fmla="*/ 445595 w 11951120"/>
              <a:gd name="connsiteY2404" fmla="*/ 1936696 h 6757249"/>
              <a:gd name="connsiteX2405" fmla="*/ 446099 w 11951120"/>
              <a:gd name="connsiteY2405" fmla="*/ 1942725 h 6757249"/>
              <a:gd name="connsiteX2406" fmla="*/ 411124 w 11951120"/>
              <a:gd name="connsiteY2406" fmla="*/ 1982072 h 6757249"/>
              <a:gd name="connsiteX2407" fmla="*/ 387839 w 11951120"/>
              <a:gd name="connsiteY2407" fmla="*/ 1996829 h 6757249"/>
              <a:gd name="connsiteX2408" fmla="*/ 383278 w 11951120"/>
              <a:gd name="connsiteY2408" fmla="*/ 2004982 h 6757249"/>
              <a:gd name="connsiteX2409" fmla="*/ 267831 w 11951120"/>
              <a:gd name="connsiteY2409" fmla="*/ 2084894 h 6757249"/>
              <a:gd name="connsiteX2410" fmla="*/ 267828 w 11951120"/>
              <a:gd name="connsiteY2410" fmla="*/ 2084889 h 6757249"/>
              <a:gd name="connsiteX2411" fmla="*/ 242191 w 11951120"/>
              <a:gd name="connsiteY2411" fmla="*/ 2124992 h 6757249"/>
              <a:gd name="connsiteX2412" fmla="*/ 193059 w 11951120"/>
              <a:gd name="connsiteY2412" fmla="*/ 2132670 h 6757249"/>
              <a:gd name="connsiteX2413" fmla="*/ 193059 w 11951120"/>
              <a:gd name="connsiteY2413" fmla="*/ 2131204 h 6757249"/>
              <a:gd name="connsiteX2414" fmla="*/ 96531 w 11951120"/>
              <a:gd name="connsiteY2414" fmla="*/ 2157289 h 6757249"/>
              <a:gd name="connsiteX2415" fmla="*/ 171287 w 11951120"/>
              <a:gd name="connsiteY2415" fmla="*/ 2087575 h 6757249"/>
              <a:gd name="connsiteX2416" fmla="*/ 171750 w 11951120"/>
              <a:gd name="connsiteY2416" fmla="*/ 2087575 h 6757249"/>
              <a:gd name="connsiteX2417" fmla="*/ 171608 w 11951120"/>
              <a:gd name="connsiteY2417" fmla="*/ 2087480 h 6757249"/>
              <a:gd name="connsiteX2418" fmla="*/ 193176 w 11951120"/>
              <a:gd name="connsiteY2418" fmla="*/ 2040077 h 6757249"/>
              <a:gd name="connsiteX2419" fmla="*/ 262191 w 11951120"/>
              <a:gd name="connsiteY2419" fmla="*/ 1988367 h 6757249"/>
              <a:gd name="connsiteX2420" fmla="*/ 262191 w 11951120"/>
              <a:gd name="connsiteY2420" fmla="*/ 1989654 h 6757249"/>
              <a:gd name="connsiteX2421" fmla="*/ 262483 w 11951120"/>
              <a:gd name="connsiteY2421" fmla="*/ 1986442 h 6757249"/>
              <a:gd name="connsiteX2422" fmla="*/ 288714 w 11951120"/>
              <a:gd name="connsiteY2422" fmla="*/ 1942725 h 6757249"/>
              <a:gd name="connsiteX2423" fmla="*/ 290037 w 11951120"/>
              <a:gd name="connsiteY2423" fmla="*/ 1941160 h 6757249"/>
              <a:gd name="connsiteX2424" fmla="*/ 302284 w 11951120"/>
              <a:gd name="connsiteY2424" fmla="*/ 1896963 h 6757249"/>
              <a:gd name="connsiteX2425" fmla="*/ 337051 w 11951120"/>
              <a:gd name="connsiteY2425" fmla="*/ 1868615 h 6757249"/>
              <a:gd name="connsiteX2426" fmla="*/ 316401 w 11951120"/>
              <a:gd name="connsiteY2426" fmla="*/ 1847552 h 6757249"/>
              <a:gd name="connsiteX2427" fmla="*/ 317641 w 11951120"/>
              <a:gd name="connsiteY2427" fmla="*/ 1845046 h 6757249"/>
              <a:gd name="connsiteX2428" fmla="*/ 315989 w 11951120"/>
              <a:gd name="connsiteY2428" fmla="*/ 1846254 h 6757249"/>
              <a:gd name="connsiteX2429" fmla="*/ 170330 w 11951120"/>
              <a:gd name="connsiteY2429" fmla="*/ 1771452 h 6757249"/>
              <a:gd name="connsiteX2430" fmla="*/ 214469 w 11951120"/>
              <a:gd name="connsiteY2430" fmla="*/ 1674647 h 6757249"/>
              <a:gd name="connsiteX2431" fmla="*/ 214895 w 11951120"/>
              <a:gd name="connsiteY2431" fmla="*/ 1674717 h 6757249"/>
              <a:gd name="connsiteX2432" fmla="*/ 262939 w 11951120"/>
              <a:gd name="connsiteY2432" fmla="*/ 1626215 h 6757249"/>
              <a:gd name="connsiteX2433" fmla="*/ 262774 w 11951120"/>
              <a:gd name="connsiteY2433" fmla="*/ 1626050 h 6757249"/>
              <a:gd name="connsiteX2434" fmla="*/ 305723 w 11951120"/>
              <a:gd name="connsiteY2434" fmla="*/ 1549253 h 6757249"/>
              <a:gd name="connsiteX2435" fmla="*/ 380762 w 11951120"/>
              <a:gd name="connsiteY2435" fmla="*/ 1508917 h 6757249"/>
              <a:gd name="connsiteX2436" fmla="*/ 381136 w 11951120"/>
              <a:gd name="connsiteY2436" fmla="*/ 1508256 h 6757249"/>
              <a:gd name="connsiteX2437" fmla="*/ 385494 w 11951120"/>
              <a:gd name="connsiteY2437" fmla="*/ 1486327 h 6757249"/>
              <a:gd name="connsiteX2438" fmla="*/ 359973 w 11951120"/>
              <a:gd name="connsiteY2438" fmla="*/ 1460525 h 6757249"/>
              <a:gd name="connsiteX2439" fmla="*/ 359302 w 11951120"/>
              <a:gd name="connsiteY2439" fmla="*/ 1458148 h 6757249"/>
              <a:gd name="connsiteX2440" fmla="*/ 359302 w 11951120"/>
              <a:gd name="connsiteY2440" fmla="*/ 1460408 h 6757249"/>
              <a:gd name="connsiteX2441" fmla="*/ 262774 w 11951120"/>
              <a:gd name="connsiteY2441" fmla="*/ 1433863 h 6757249"/>
              <a:gd name="connsiteX2442" fmla="*/ 263337 w 11951120"/>
              <a:gd name="connsiteY2442" fmla="*/ 1433605 h 6757249"/>
              <a:gd name="connsiteX2443" fmla="*/ 262774 w 11951120"/>
              <a:gd name="connsiteY2443" fmla="*/ 1433525 h 6757249"/>
              <a:gd name="connsiteX2444" fmla="*/ 341828 w 11951120"/>
              <a:gd name="connsiteY2444" fmla="*/ 1160505 h 6757249"/>
              <a:gd name="connsiteX2445" fmla="*/ 412097 w 11951120"/>
              <a:gd name="connsiteY2445" fmla="*/ 1085648 h 6757249"/>
              <a:gd name="connsiteX2446" fmla="*/ 504326 w 11951120"/>
              <a:gd name="connsiteY2446" fmla="*/ 975559 h 6757249"/>
              <a:gd name="connsiteX2447" fmla="*/ 658040 w 11951120"/>
              <a:gd name="connsiteY2447" fmla="*/ 909506 h 6757249"/>
              <a:gd name="connsiteX2448" fmla="*/ 662169 w 11951120"/>
              <a:gd name="connsiteY2448" fmla="*/ 910178 h 6757249"/>
              <a:gd name="connsiteX2449" fmla="*/ 714135 w 11951120"/>
              <a:gd name="connsiteY2449" fmla="*/ 847884 h 6757249"/>
              <a:gd name="connsiteX2450" fmla="*/ 792777 w 11951120"/>
              <a:gd name="connsiteY2450" fmla="*/ 782421 h 6757249"/>
              <a:gd name="connsiteX2451" fmla="*/ 762953 w 11951120"/>
              <a:gd name="connsiteY2451" fmla="*/ 738639 h 6757249"/>
              <a:gd name="connsiteX2452" fmla="*/ 745416 w 11951120"/>
              <a:gd name="connsiteY2452" fmla="*/ 686990 h 6757249"/>
              <a:gd name="connsiteX2453" fmla="*/ 793643 w 11951120"/>
              <a:gd name="connsiteY2453" fmla="*/ 638638 h 6757249"/>
              <a:gd name="connsiteX2454" fmla="*/ 890101 w 11951120"/>
              <a:gd name="connsiteY2454" fmla="*/ 616660 h 6757249"/>
              <a:gd name="connsiteX2455" fmla="*/ 981226 w 11951120"/>
              <a:gd name="connsiteY2455" fmla="*/ 557232 h 6757249"/>
              <a:gd name="connsiteX2456" fmla="*/ 1014027 w 11951120"/>
              <a:gd name="connsiteY2456" fmla="*/ 557936 h 6757249"/>
              <a:gd name="connsiteX2457" fmla="*/ 1059447 w 11951120"/>
              <a:gd name="connsiteY2457" fmla="*/ 584913 h 6757249"/>
              <a:gd name="connsiteX2458" fmla="*/ 1104909 w 11951120"/>
              <a:gd name="connsiteY2458" fmla="*/ 519168 h 6757249"/>
              <a:gd name="connsiteX2459" fmla="*/ 1157770 w 11951120"/>
              <a:gd name="connsiteY2459" fmla="*/ 492891 h 6757249"/>
              <a:gd name="connsiteX2460" fmla="*/ 1167131 w 11951120"/>
              <a:gd name="connsiteY2460" fmla="*/ 486321 h 6757249"/>
              <a:gd name="connsiteX2461" fmla="*/ 1174904 w 11951120"/>
              <a:gd name="connsiteY2461" fmla="*/ 490353 h 6757249"/>
              <a:gd name="connsiteX2462" fmla="*/ 1187261 w 11951120"/>
              <a:gd name="connsiteY2462" fmla="*/ 475339 h 6757249"/>
              <a:gd name="connsiteX2463" fmla="*/ 1190018 w 11951120"/>
              <a:gd name="connsiteY2463" fmla="*/ 473971 h 6757249"/>
              <a:gd name="connsiteX2464" fmla="*/ 1205783 w 11951120"/>
              <a:gd name="connsiteY2464" fmla="*/ 444448 h 6757249"/>
              <a:gd name="connsiteX2465" fmla="*/ 1249098 w 11951120"/>
              <a:gd name="connsiteY2465" fmla="*/ 422327 h 6757249"/>
              <a:gd name="connsiteX2466" fmla="*/ 1249537 w 11951120"/>
              <a:gd name="connsiteY2466" fmla="*/ 422317 h 6757249"/>
              <a:gd name="connsiteX2467" fmla="*/ 1253866 w 11951120"/>
              <a:gd name="connsiteY2467" fmla="*/ 400116 h 6757249"/>
              <a:gd name="connsiteX2468" fmla="*/ 1301795 w 11951120"/>
              <a:gd name="connsiteY2468" fmla="*/ 373302 h 6757249"/>
              <a:gd name="connsiteX2469" fmla="*/ 1345367 w 11951120"/>
              <a:gd name="connsiteY2469" fmla="*/ 368833 h 6757249"/>
              <a:gd name="connsiteX2470" fmla="*/ 1345579 w 11951120"/>
              <a:gd name="connsiteY2470" fmla="*/ 371444 h 6757249"/>
              <a:gd name="connsiteX2471" fmla="*/ 1345703 w 11951120"/>
              <a:gd name="connsiteY2471" fmla="*/ 370821 h 6757249"/>
              <a:gd name="connsiteX2472" fmla="*/ 1371846 w 11951120"/>
              <a:gd name="connsiteY2472" fmla="*/ 326709 h 6757249"/>
              <a:gd name="connsiteX2473" fmla="*/ 1441561 w 11951120"/>
              <a:gd name="connsiteY2473" fmla="*/ 326709 h 6757249"/>
              <a:gd name="connsiteX2474" fmla="*/ 1442273 w 11951120"/>
              <a:gd name="connsiteY2474" fmla="*/ 327719 h 6757249"/>
              <a:gd name="connsiteX2475" fmla="*/ 1441971 w 11951120"/>
              <a:gd name="connsiteY2475" fmla="*/ 326119 h 6757249"/>
              <a:gd name="connsiteX2476" fmla="*/ 1402346 w 11951120"/>
              <a:gd name="connsiteY2476" fmla="*/ 189042 h 6757249"/>
              <a:gd name="connsiteX2477" fmla="*/ 1516817 w 11951120"/>
              <a:gd name="connsiteY2477" fmla="*/ 277478 h 6757249"/>
              <a:gd name="connsiteX2478" fmla="*/ 1635690 w 11951120"/>
              <a:gd name="connsiteY2478" fmla="*/ 250949 h 6757249"/>
              <a:gd name="connsiteX2479" fmla="*/ 1758966 w 11951120"/>
              <a:gd name="connsiteY2479" fmla="*/ 277478 h 6757249"/>
              <a:gd name="connsiteX2480" fmla="*/ 1758966 w 11951120"/>
              <a:gd name="connsiteY2480" fmla="*/ 304010 h 6757249"/>
              <a:gd name="connsiteX2481" fmla="*/ 1758545 w 11951120"/>
              <a:gd name="connsiteY2481" fmla="*/ 305802 h 6757249"/>
              <a:gd name="connsiteX2482" fmla="*/ 1782553 w 11951120"/>
              <a:gd name="connsiteY2482" fmla="*/ 325736 h 6757249"/>
              <a:gd name="connsiteX2483" fmla="*/ 1783259 w 11951120"/>
              <a:gd name="connsiteY2483" fmla="*/ 325408 h 6757249"/>
              <a:gd name="connsiteX2484" fmla="*/ 1806244 w 11951120"/>
              <a:gd name="connsiteY2484" fmla="*/ 314318 h 6757249"/>
              <a:gd name="connsiteX2485" fmla="*/ 1875192 w 11951120"/>
              <a:gd name="connsiteY2485" fmla="*/ 325408 h 6757249"/>
              <a:gd name="connsiteX2486" fmla="*/ 1878420 w 11951120"/>
              <a:gd name="connsiteY2486" fmla="*/ 327715 h 6757249"/>
              <a:gd name="connsiteX2487" fmla="*/ 1876943 w 11951120"/>
              <a:gd name="connsiteY2487" fmla="*/ 324986 h 6757249"/>
              <a:gd name="connsiteX2488" fmla="*/ 1950383 w 11951120"/>
              <a:gd name="connsiteY2488" fmla="*/ 395647 h 6757249"/>
              <a:gd name="connsiteX2489" fmla="*/ 1949567 w 11951120"/>
              <a:gd name="connsiteY2489" fmla="*/ 395459 h 6757249"/>
              <a:gd name="connsiteX2490" fmla="*/ 1949612 w 11951120"/>
              <a:gd name="connsiteY2490" fmla="*/ 395517 h 6757249"/>
              <a:gd name="connsiteX2491" fmla="*/ 1949612 w 11951120"/>
              <a:gd name="connsiteY2491" fmla="*/ 421807 h 6757249"/>
              <a:gd name="connsiteX2492" fmla="*/ 1951575 w 11951120"/>
              <a:gd name="connsiteY2492" fmla="*/ 431625 h 6757249"/>
              <a:gd name="connsiteX2493" fmla="*/ 1951575 w 11951120"/>
              <a:gd name="connsiteY2493" fmla="*/ 421531 h 6757249"/>
              <a:gd name="connsiteX2494" fmla="*/ 2094133 w 11951120"/>
              <a:gd name="connsiteY2494" fmla="*/ 465877 h 6757249"/>
              <a:gd name="connsiteX2495" fmla="*/ 2091356 w 11951120"/>
              <a:gd name="connsiteY2495" fmla="*/ 466341 h 6757249"/>
              <a:gd name="connsiteX2496" fmla="*/ 2095217 w 11951120"/>
              <a:gd name="connsiteY2496" fmla="*/ 466836 h 6757249"/>
              <a:gd name="connsiteX2497" fmla="*/ 2165503 w 11951120"/>
              <a:gd name="connsiteY2497" fmla="*/ 444717 h 6757249"/>
              <a:gd name="connsiteX2498" fmla="*/ 2167586 w 11951120"/>
              <a:gd name="connsiteY2498" fmla="*/ 444950 h 6757249"/>
              <a:gd name="connsiteX2499" fmla="*/ 2166529 w 11951120"/>
              <a:gd name="connsiteY2499" fmla="*/ 443911 h 6757249"/>
              <a:gd name="connsiteX2500" fmla="*/ 2247639 w 11951120"/>
              <a:gd name="connsiteY2500" fmla="*/ 391424 h 6757249"/>
              <a:gd name="connsiteX2501" fmla="*/ 2282405 w 11951120"/>
              <a:gd name="connsiteY2501" fmla="*/ 400462 h 6757249"/>
              <a:gd name="connsiteX2502" fmla="*/ 2284001 w 11951120"/>
              <a:gd name="connsiteY2502" fmla="*/ 399962 h 6757249"/>
              <a:gd name="connsiteX2503" fmla="*/ 2310259 w 11951120"/>
              <a:gd name="connsiteY2503" fmla="*/ 369144 h 6757249"/>
              <a:gd name="connsiteX2504" fmla="*/ 2310259 w 11951120"/>
              <a:gd name="connsiteY2504" fmla="*/ 347168 h 6757249"/>
              <a:gd name="connsiteX2505" fmla="*/ 2312731 w 11951120"/>
              <a:gd name="connsiteY2505" fmla="*/ 346682 h 6757249"/>
              <a:gd name="connsiteX2506" fmla="*/ 2358724 w 11951120"/>
              <a:gd name="connsiteY2506" fmla="*/ 294651 h 6757249"/>
              <a:gd name="connsiteX2507" fmla="*/ 2431982 w 11951120"/>
              <a:gd name="connsiteY2507" fmla="*/ 299118 h 6757249"/>
              <a:gd name="connsiteX2508" fmla="*/ 2385181 w 11951120"/>
              <a:gd name="connsiteY2508" fmla="*/ 352064 h 6757249"/>
              <a:gd name="connsiteX2509" fmla="*/ 2390035 w 11951120"/>
              <a:gd name="connsiteY2509" fmla="*/ 376851 h 6757249"/>
              <a:gd name="connsiteX2510" fmla="*/ 2411493 w 11951120"/>
              <a:gd name="connsiteY2510" fmla="*/ 395540 h 6757249"/>
              <a:gd name="connsiteX2511" fmla="*/ 2411440 w 11951120"/>
              <a:gd name="connsiteY2511" fmla="*/ 395730 h 6757249"/>
              <a:gd name="connsiteX2512" fmla="*/ 2480068 w 11951120"/>
              <a:gd name="connsiteY2512" fmla="*/ 374196 h 6757249"/>
              <a:gd name="connsiteX2513" fmla="*/ 2483309 w 11951120"/>
              <a:gd name="connsiteY2513" fmla="*/ 377755 h 6757249"/>
              <a:gd name="connsiteX2514" fmla="*/ 2481934 w 11951120"/>
              <a:gd name="connsiteY2514" fmla="*/ 374441 h 6757249"/>
              <a:gd name="connsiteX2515" fmla="*/ 2534368 w 11951120"/>
              <a:gd name="connsiteY2515" fmla="*/ 330563 h 6757249"/>
              <a:gd name="connsiteX2516" fmla="*/ 2536573 w 11951120"/>
              <a:gd name="connsiteY2516" fmla="*/ 329801 h 6757249"/>
              <a:gd name="connsiteX2517" fmla="*/ 2533874 w 11951120"/>
              <a:gd name="connsiteY2517" fmla="*/ 329149 h 6757249"/>
              <a:gd name="connsiteX2518" fmla="*/ 2621876 w 11951120"/>
              <a:gd name="connsiteY2518" fmla="*/ 276595 h 6757249"/>
              <a:gd name="connsiteX2519" fmla="*/ 2624625 w 11951120"/>
              <a:gd name="connsiteY2519" fmla="*/ 274573 h 6757249"/>
              <a:gd name="connsiteX2520" fmla="*/ 2649669 w 11951120"/>
              <a:gd name="connsiteY2520" fmla="*/ 238031 h 6757249"/>
              <a:gd name="connsiteX2521" fmla="*/ 2769832 w 11951120"/>
              <a:gd name="connsiteY2521" fmla="*/ 181139 h 6757249"/>
              <a:gd name="connsiteX2522" fmla="*/ 2766802 w 11951120"/>
              <a:gd name="connsiteY2522" fmla="*/ 214937 h 6757249"/>
              <a:gd name="connsiteX2523" fmla="*/ 2768128 w 11951120"/>
              <a:gd name="connsiteY2523" fmla="*/ 213667 h 6757249"/>
              <a:gd name="connsiteX2524" fmla="*/ 2771043 w 11951120"/>
              <a:gd name="connsiteY2524" fmla="*/ 181139 h 6757249"/>
              <a:gd name="connsiteX2525" fmla="*/ 2817941 w 11951120"/>
              <a:gd name="connsiteY2525" fmla="*/ 133559 h 6757249"/>
              <a:gd name="connsiteX2526" fmla="*/ 2818373 w 11951120"/>
              <a:gd name="connsiteY2526" fmla="*/ 103180 h 6757249"/>
              <a:gd name="connsiteX2527" fmla="*/ 2888316 w 11951120"/>
              <a:gd name="connsiteY2527" fmla="*/ 84866 h 6757249"/>
              <a:gd name="connsiteX2528" fmla="*/ 2958738 w 11951120"/>
              <a:gd name="connsiteY2528" fmla="*/ 63160 h 6757249"/>
              <a:gd name="connsiteX2529" fmla="*/ 2981297 w 11951120"/>
              <a:gd name="connsiteY2529" fmla="*/ 80525 h 6757249"/>
              <a:gd name="connsiteX2530" fmla="*/ 3005829 w 11951120"/>
              <a:gd name="connsiteY2530" fmla="*/ 84643 h 6757249"/>
              <a:gd name="connsiteX2531" fmla="*/ 3005791 w 11951120"/>
              <a:gd name="connsiteY2531" fmla="*/ 84611 h 6757249"/>
              <a:gd name="connsiteX2532" fmla="*/ 3032450 w 11951120"/>
              <a:gd name="connsiteY2532" fmla="*/ 57797 h 6757249"/>
              <a:gd name="connsiteX2533" fmla="*/ 3033280 w 11951120"/>
              <a:gd name="connsiteY2533" fmla="*/ 57973 h 6757249"/>
              <a:gd name="connsiteX2534" fmla="*/ 3034362 w 11951120"/>
              <a:gd name="connsiteY2534" fmla="*/ 21069 h 6757249"/>
              <a:gd name="connsiteX2535" fmla="*/ 3055059 w 11951120"/>
              <a:gd name="connsiteY2535" fmla="*/ 559 h 6757249"/>
              <a:gd name="connsiteX2536" fmla="*/ 3129132 w 11951120"/>
              <a:gd name="connsiteY2536" fmla="*/ 58209 h 6757249"/>
              <a:gd name="connsiteX2537" fmla="*/ 3129125 w 11951120"/>
              <a:gd name="connsiteY2537" fmla="*/ 58216 h 6757249"/>
              <a:gd name="connsiteX2538" fmla="*/ 3130204 w 11951120"/>
              <a:gd name="connsiteY2538" fmla="*/ 57797 h 6757249"/>
              <a:gd name="connsiteX2539" fmla="*/ 3059109 w 11951120"/>
              <a:gd name="connsiteY2539" fmla="*/ 133768 h 6757249"/>
              <a:gd name="connsiteX2540" fmla="*/ 3058413 w 11951120"/>
              <a:gd name="connsiteY2540" fmla="*/ 133069 h 6757249"/>
              <a:gd name="connsiteX2541" fmla="*/ 3052237 w 11951120"/>
              <a:gd name="connsiteY2541" fmla="*/ 159280 h 6757249"/>
              <a:gd name="connsiteX2542" fmla="*/ 3032662 w 11951120"/>
              <a:gd name="connsiteY2542" fmla="*/ 180322 h 6757249"/>
              <a:gd name="connsiteX2543" fmla="*/ 3031678 w 11951120"/>
              <a:gd name="connsiteY2543" fmla="*/ 181757 h 6757249"/>
              <a:gd name="connsiteX2544" fmla="*/ 3033274 w 11951120"/>
              <a:gd name="connsiteY2544" fmla="*/ 181139 h 6757249"/>
              <a:gd name="connsiteX2545" fmla="*/ 3058941 w 11951120"/>
              <a:gd name="connsiteY2545" fmla="*/ 224091 h 6757249"/>
              <a:gd name="connsiteX2546" fmla="*/ 3102318 w 11951120"/>
              <a:gd name="connsiteY2546" fmla="*/ 228446 h 6757249"/>
              <a:gd name="connsiteX2547" fmla="*/ 3101212 w 11951120"/>
              <a:gd name="connsiteY2547" fmla="*/ 230888 h 6757249"/>
              <a:gd name="connsiteX2548" fmla="*/ 3103254 w 11951120"/>
              <a:gd name="connsiteY2548" fmla="*/ 229074 h 6757249"/>
              <a:gd name="connsiteX2549" fmla="*/ 3335596 w 11951120"/>
              <a:gd name="connsiteY2549" fmla="*/ 84611 h 6757249"/>
              <a:gd name="connsiteX2550" fmla="*/ 3177779 w 11951120"/>
              <a:gd name="connsiteY2550" fmla="*/ 229074 h 6757249"/>
              <a:gd name="connsiteX2551" fmla="*/ 3177688 w 11951120"/>
              <a:gd name="connsiteY2551" fmla="*/ 229576 h 6757249"/>
              <a:gd name="connsiteX2552" fmla="*/ 3177800 w 11951120"/>
              <a:gd name="connsiteY2552" fmla="*/ 229403 h 6757249"/>
              <a:gd name="connsiteX2553" fmla="*/ 3199555 w 11951120"/>
              <a:gd name="connsiteY2553" fmla="*/ 229403 h 6757249"/>
              <a:gd name="connsiteX2554" fmla="*/ 3200608 w 11951120"/>
              <a:gd name="connsiteY2554" fmla="*/ 231871 h 6757249"/>
              <a:gd name="connsiteX2555" fmla="*/ 3200990 w 11951120"/>
              <a:gd name="connsiteY2555" fmla="*/ 229594 h 6757249"/>
              <a:gd name="connsiteX2556" fmla="*/ 3297512 w 11951120"/>
              <a:gd name="connsiteY2556" fmla="*/ 247964 h 6757249"/>
              <a:gd name="connsiteX2557" fmla="*/ 3297350 w 11951120"/>
              <a:gd name="connsiteY2557" fmla="*/ 276646 h 6757249"/>
              <a:gd name="connsiteX2558" fmla="*/ 3318919 w 11951120"/>
              <a:gd name="connsiteY2558" fmla="*/ 292185 h 6757249"/>
              <a:gd name="connsiteX2559" fmla="*/ 3356680 w 11951120"/>
              <a:gd name="connsiteY2559" fmla="*/ 297608 h 6757249"/>
              <a:gd name="connsiteX2560" fmla="*/ 3392528 w 11951120"/>
              <a:gd name="connsiteY2560" fmla="*/ 298353 h 6757249"/>
              <a:gd name="connsiteX2561" fmla="*/ 3414649 w 11951120"/>
              <a:gd name="connsiteY2561" fmla="*/ 282248 h 6757249"/>
              <a:gd name="connsiteX2562" fmla="*/ 3489542 w 11951120"/>
              <a:gd name="connsiteY2562" fmla="*/ 276636 h 6757249"/>
              <a:gd name="connsiteX2563" fmla="*/ 3424634 w 11951120"/>
              <a:gd name="connsiteY2563" fmla="*/ 355834 h 6757249"/>
              <a:gd name="connsiteX2564" fmla="*/ 3393994 w 11951120"/>
              <a:gd name="connsiteY2564" fmla="*/ 368872 h 6757249"/>
              <a:gd name="connsiteX2565" fmla="*/ 3393978 w 11951120"/>
              <a:gd name="connsiteY2565" fmla="*/ 368906 h 6757249"/>
              <a:gd name="connsiteX2566" fmla="*/ 3367510 w 11951120"/>
              <a:gd name="connsiteY2566" fmla="*/ 395353 h 6757249"/>
              <a:gd name="connsiteX2567" fmla="*/ 3367233 w 11951120"/>
              <a:gd name="connsiteY2567" fmla="*/ 396343 h 6757249"/>
              <a:gd name="connsiteX2568" fmla="*/ 3389221 w 11951120"/>
              <a:gd name="connsiteY2568" fmla="*/ 439394 h 6757249"/>
              <a:gd name="connsiteX2569" fmla="*/ 3389605 w 11951120"/>
              <a:gd name="connsiteY2569" fmla="*/ 439769 h 6757249"/>
              <a:gd name="connsiteX2570" fmla="*/ 3438156 w 11951120"/>
              <a:gd name="connsiteY2570" fmla="*/ 418716 h 6757249"/>
              <a:gd name="connsiteX2571" fmla="*/ 3487091 w 11951120"/>
              <a:gd name="connsiteY2571" fmla="*/ 406651 h 6757249"/>
              <a:gd name="connsiteX2572" fmla="*/ 3536026 w 11951120"/>
              <a:gd name="connsiteY2572" fmla="*/ 411227 h 6757249"/>
              <a:gd name="connsiteX2573" fmla="*/ 3548865 w 11951120"/>
              <a:gd name="connsiteY2573" fmla="*/ 416931 h 6757249"/>
              <a:gd name="connsiteX2574" fmla="*/ 3552144 w 11951120"/>
              <a:gd name="connsiteY2574" fmla="*/ 400116 h 6757249"/>
              <a:gd name="connsiteX2575" fmla="*/ 3600073 w 11951120"/>
              <a:gd name="connsiteY2575" fmla="*/ 373302 h 6757249"/>
              <a:gd name="connsiteX2576" fmla="*/ 3643645 w 11951120"/>
              <a:gd name="connsiteY2576" fmla="*/ 368833 h 6757249"/>
              <a:gd name="connsiteX2577" fmla="*/ 3643857 w 11951120"/>
              <a:gd name="connsiteY2577" fmla="*/ 371444 h 6757249"/>
              <a:gd name="connsiteX2578" fmla="*/ 3643981 w 11951120"/>
              <a:gd name="connsiteY2578" fmla="*/ 370821 h 6757249"/>
              <a:gd name="connsiteX2579" fmla="*/ 3670124 w 11951120"/>
              <a:gd name="connsiteY2579" fmla="*/ 326709 h 6757249"/>
              <a:gd name="connsiteX2580" fmla="*/ 3739839 w 11951120"/>
              <a:gd name="connsiteY2580" fmla="*/ 326709 h 6757249"/>
              <a:gd name="connsiteX2581" fmla="*/ 3740551 w 11951120"/>
              <a:gd name="connsiteY2581" fmla="*/ 327719 h 6757249"/>
              <a:gd name="connsiteX2582" fmla="*/ 3740249 w 11951120"/>
              <a:gd name="connsiteY2582" fmla="*/ 326119 h 6757249"/>
              <a:gd name="connsiteX2583" fmla="*/ 3700624 w 11951120"/>
              <a:gd name="connsiteY2583" fmla="*/ 189042 h 6757249"/>
              <a:gd name="connsiteX2584" fmla="*/ 3815095 w 11951120"/>
              <a:gd name="connsiteY2584" fmla="*/ 277478 h 6757249"/>
              <a:gd name="connsiteX2585" fmla="*/ 3933968 w 11951120"/>
              <a:gd name="connsiteY2585" fmla="*/ 250949 h 6757249"/>
              <a:gd name="connsiteX2586" fmla="*/ 3987677 w 11951120"/>
              <a:gd name="connsiteY2586" fmla="*/ 230584 h 6757249"/>
              <a:gd name="connsiteX2587" fmla="*/ 3996493 w 11951120"/>
              <a:gd name="connsiteY2587" fmla="*/ 234891 h 6757249"/>
              <a:gd name="connsiteX2588" fmla="*/ 4042007 w 11951120"/>
              <a:gd name="connsiteY2588" fmla="*/ 197227 h 6757249"/>
              <a:gd name="connsiteX2589" fmla="*/ 4042131 w 11951120"/>
              <a:gd name="connsiteY2589" fmla="*/ 197322 h 6757249"/>
              <a:gd name="connsiteX2590" fmla="*/ 4067038 w 11951120"/>
              <a:gd name="connsiteY2590" fmla="*/ 176506 h 6757249"/>
              <a:gd name="connsiteX2591" fmla="*/ 4068181 w 11951120"/>
              <a:gd name="connsiteY2591" fmla="*/ 176645 h 6757249"/>
              <a:gd name="connsiteX2592" fmla="*/ 4115972 w 11951120"/>
              <a:gd name="connsiteY2592" fmla="*/ 132875 h 6757249"/>
              <a:gd name="connsiteX2593" fmla="*/ 4137961 w 11951120"/>
              <a:gd name="connsiteY2593" fmla="*/ 203755 h 6757249"/>
              <a:gd name="connsiteX2594" fmla="*/ 4137986 w 11951120"/>
              <a:gd name="connsiteY2594" fmla="*/ 204809 h 6757249"/>
              <a:gd name="connsiteX2595" fmla="*/ 4139266 w 11951120"/>
              <a:gd name="connsiteY2595" fmla="*/ 203260 h 6757249"/>
              <a:gd name="connsiteX2596" fmla="*/ 4231175 w 11951120"/>
              <a:gd name="connsiteY2596" fmla="*/ 181195 h 6757249"/>
              <a:gd name="connsiteX2597" fmla="*/ 4231162 w 11951120"/>
              <a:gd name="connsiteY2597" fmla="*/ 181139 h 6757249"/>
              <a:gd name="connsiteX2598" fmla="*/ 4265181 w 11951120"/>
              <a:gd name="connsiteY2598" fmla="*/ 150036 h 6757249"/>
              <a:gd name="connsiteX2599" fmla="*/ 4307859 w 11951120"/>
              <a:gd name="connsiteY2599" fmla="*/ 151081 h 6757249"/>
              <a:gd name="connsiteX2600" fmla="*/ 4309010 w 11951120"/>
              <a:gd name="connsiteY2600" fmla="*/ 150353 h 6757249"/>
              <a:gd name="connsiteX2601" fmla="*/ 4357188 w 11951120"/>
              <a:gd name="connsiteY2601" fmla="*/ 180940 h 6757249"/>
              <a:gd name="connsiteX2602" fmla="*/ 4356918 w 11951120"/>
              <a:gd name="connsiteY2602" fmla="*/ 181208 h 6757249"/>
              <a:gd name="connsiteX2603" fmla="*/ 4357521 w 11951120"/>
              <a:gd name="connsiteY2603" fmla="*/ 181197 h 6757249"/>
              <a:gd name="connsiteX2604" fmla="*/ 4427236 w 11951120"/>
              <a:gd name="connsiteY2604" fmla="*/ 132875 h 6757249"/>
              <a:gd name="connsiteX2605" fmla="*/ 4501308 w 11951120"/>
              <a:gd name="connsiteY2605" fmla="*/ 229518 h 6757249"/>
              <a:gd name="connsiteX2606" fmla="*/ 4501015 w 11951120"/>
              <a:gd name="connsiteY2606" fmla="*/ 230405 h 6757249"/>
              <a:gd name="connsiteX2607" fmla="*/ 4502314 w 11951120"/>
              <a:gd name="connsiteY2607" fmla="*/ 229087 h 6757249"/>
              <a:gd name="connsiteX2608" fmla="*/ 4563315 w 11951120"/>
              <a:gd name="connsiteY2608" fmla="*/ 277667 h 6757249"/>
              <a:gd name="connsiteX2609" fmla="*/ 4619959 w 11951120"/>
              <a:gd name="connsiteY2609" fmla="*/ 326248 h 6757249"/>
              <a:gd name="connsiteX2610" fmla="*/ 4619644 w 11951120"/>
              <a:gd name="connsiteY2610" fmla="*/ 326536 h 6757249"/>
              <a:gd name="connsiteX2611" fmla="*/ 4620568 w 11951120"/>
              <a:gd name="connsiteY2611" fmla="*/ 326170 h 6757249"/>
              <a:gd name="connsiteX2612" fmla="*/ 4653771 w 11951120"/>
              <a:gd name="connsiteY2612" fmla="*/ 298305 h 6757249"/>
              <a:gd name="connsiteX2613" fmla="*/ 4657002 w 11951120"/>
              <a:gd name="connsiteY2613" fmla="*/ 294651 h 6757249"/>
              <a:gd name="connsiteX2614" fmla="*/ 4658406 w 11951120"/>
              <a:gd name="connsiteY2614" fmla="*/ 294415 h 6757249"/>
              <a:gd name="connsiteX2615" fmla="*/ 4673110 w 11951120"/>
              <a:gd name="connsiteY2615" fmla="*/ 282076 h 6757249"/>
              <a:gd name="connsiteX2616" fmla="*/ 4682779 w 11951120"/>
              <a:gd name="connsiteY2616" fmla="*/ 290326 h 6757249"/>
              <a:gd name="connsiteX2617" fmla="*/ 4693631 w 11951120"/>
              <a:gd name="connsiteY2617" fmla="*/ 288505 h 6757249"/>
              <a:gd name="connsiteX2618" fmla="*/ 4730259 w 11951120"/>
              <a:gd name="connsiteY2618" fmla="*/ 299118 h 6757249"/>
              <a:gd name="connsiteX2619" fmla="*/ 4720422 w 11951120"/>
              <a:gd name="connsiteY2619" fmla="*/ 310248 h 6757249"/>
              <a:gd name="connsiteX2620" fmla="*/ 4725907 w 11951120"/>
              <a:gd name="connsiteY2620" fmla="*/ 311685 h 6757249"/>
              <a:gd name="connsiteX2621" fmla="*/ 4777780 w 11951120"/>
              <a:gd name="connsiteY2621" fmla="*/ 295718 h 6757249"/>
              <a:gd name="connsiteX2622" fmla="*/ 4813055 w 11951120"/>
              <a:gd name="connsiteY2622" fmla="*/ 277750 h 6757249"/>
              <a:gd name="connsiteX2623" fmla="*/ 4813016 w 11951120"/>
              <a:gd name="connsiteY2623" fmla="*/ 277725 h 6757249"/>
              <a:gd name="connsiteX2624" fmla="*/ 4909543 w 11951120"/>
              <a:gd name="connsiteY2624" fmla="*/ 229403 h 6757249"/>
              <a:gd name="connsiteX2625" fmla="*/ 4910838 w 11951120"/>
              <a:gd name="connsiteY2625" fmla="*/ 231570 h 6757249"/>
              <a:gd name="connsiteX2626" fmla="*/ 4910973 w 11951120"/>
              <a:gd name="connsiteY2626" fmla="*/ 229224 h 6757249"/>
              <a:gd name="connsiteX2627" fmla="*/ 4955971 w 11951120"/>
              <a:gd name="connsiteY2627" fmla="*/ 233032 h 6757249"/>
              <a:gd name="connsiteX2628" fmla="*/ 4955990 w 11951120"/>
              <a:gd name="connsiteY2628" fmla="*/ 233058 h 6757249"/>
              <a:gd name="connsiteX2629" fmla="*/ 4976014 w 11951120"/>
              <a:gd name="connsiteY2629" fmla="*/ 220677 h 6757249"/>
              <a:gd name="connsiteX2630" fmla="*/ 5068110 w 11951120"/>
              <a:gd name="connsiteY2630" fmla="*/ 181139 h 6757249"/>
              <a:gd name="connsiteX2631" fmla="*/ 5065079 w 11951120"/>
              <a:gd name="connsiteY2631" fmla="*/ 214937 h 6757249"/>
              <a:gd name="connsiteX2632" fmla="*/ 5066405 w 11951120"/>
              <a:gd name="connsiteY2632" fmla="*/ 213667 h 6757249"/>
              <a:gd name="connsiteX2633" fmla="*/ 5069320 w 11951120"/>
              <a:gd name="connsiteY2633" fmla="*/ 181139 h 6757249"/>
              <a:gd name="connsiteX2634" fmla="*/ 5116219 w 11951120"/>
              <a:gd name="connsiteY2634" fmla="*/ 133559 h 6757249"/>
              <a:gd name="connsiteX2635" fmla="*/ 5116651 w 11951120"/>
              <a:gd name="connsiteY2635" fmla="*/ 103180 h 6757249"/>
              <a:gd name="connsiteX2636" fmla="*/ 5186593 w 11951120"/>
              <a:gd name="connsiteY2636" fmla="*/ 84866 h 6757249"/>
              <a:gd name="connsiteX2637" fmla="*/ 5257015 w 11951120"/>
              <a:gd name="connsiteY2637" fmla="*/ 63160 h 6757249"/>
              <a:gd name="connsiteX2638" fmla="*/ 5279574 w 11951120"/>
              <a:gd name="connsiteY2638" fmla="*/ 80525 h 6757249"/>
              <a:gd name="connsiteX2639" fmla="*/ 5304106 w 11951120"/>
              <a:gd name="connsiteY2639" fmla="*/ 84643 h 6757249"/>
              <a:gd name="connsiteX2640" fmla="*/ 5304068 w 11951120"/>
              <a:gd name="connsiteY2640" fmla="*/ 84611 h 6757249"/>
              <a:gd name="connsiteX2641" fmla="*/ 5330728 w 11951120"/>
              <a:gd name="connsiteY2641" fmla="*/ 57797 h 6757249"/>
              <a:gd name="connsiteX2642" fmla="*/ 5331557 w 11951120"/>
              <a:gd name="connsiteY2642" fmla="*/ 57973 h 6757249"/>
              <a:gd name="connsiteX2643" fmla="*/ 5332639 w 11951120"/>
              <a:gd name="connsiteY2643" fmla="*/ 21069 h 6757249"/>
              <a:gd name="connsiteX2644" fmla="*/ 5353337 w 11951120"/>
              <a:gd name="connsiteY2644" fmla="*/ 559 h 675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Lst>
            <a:rect l="l" t="t" r="r" b="b"/>
            <a:pathLst>
              <a:path w="11951120" h="6757249">
                <a:moveTo>
                  <a:pt x="6672558" y="6700656"/>
                </a:moveTo>
                <a:cubicBezTo>
                  <a:pt x="6676915" y="6700656"/>
                  <a:pt x="6676915" y="6722107"/>
                  <a:pt x="6676915" y="6726397"/>
                </a:cubicBezTo>
                <a:cubicBezTo>
                  <a:pt x="6672558" y="6747848"/>
                  <a:pt x="6668200" y="6760718"/>
                  <a:pt x="6650771" y="6756428"/>
                </a:cubicBezTo>
                <a:cubicBezTo>
                  <a:pt x="6642057" y="6752138"/>
                  <a:pt x="6642057" y="6734977"/>
                  <a:pt x="6642057" y="6726397"/>
                </a:cubicBezTo>
                <a:cubicBezTo>
                  <a:pt x="6646415" y="6713527"/>
                  <a:pt x="6650771" y="6696366"/>
                  <a:pt x="6672558" y="6700656"/>
                </a:cubicBezTo>
                <a:close/>
                <a:moveTo>
                  <a:pt x="4374279" y="6700656"/>
                </a:moveTo>
                <a:cubicBezTo>
                  <a:pt x="4378636" y="6700656"/>
                  <a:pt x="4378636" y="6722107"/>
                  <a:pt x="4378636" y="6726397"/>
                </a:cubicBezTo>
                <a:cubicBezTo>
                  <a:pt x="4374279" y="6747848"/>
                  <a:pt x="4369921" y="6760718"/>
                  <a:pt x="4352492" y="6756428"/>
                </a:cubicBezTo>
                <a:cubicBezTo>
                  <a:pt x="4343778" y="6752138"/>
                  <a:pt x="4343778" y="6734977"/>
                  <a:pt x="4343778" y="6726397"/>
                </a:cubicBezTo>
                <a:cubicBezTo>
                  <a:pt x="4348136" y="6713527"/>
                  <a:pt x="4352492" y="6696366"/>
                  <a:pt x="4374279" y="6700656"/>
                </a:cubicBezTo>
                <a:close/>
                <a:moveTo>
                  <a:pt x="6822326" y="6699048"/>
                </a:moveTo>
                <a:cubicBezTo>
                  <a:pt x="6843983" y="6699048"/>
                  <a:pt x="6861309" y="6703406"/>
                  <a:pt x="6869972" y="6720835"/>
                </a:cubicBezTo>
                <a:cubicBezTo>
                  <a:pt x="6848314" y="6725191"/>
                  <a:pt x="6848314" y="6768763"/>
                  <a:pt x="6822326" y="6751334"/>
                </a:cubicBezTo>
                <a:cubicBezTo>
                  <a:pt x="6813663" y="6746978"/>
                  <a:pt x="6822326" y="6716477"/>
                  <a:pt x="6822326" y="6699048"/>
                </a:cubicBezTo>
                <a:close/>
                <a:moveTo>
                  <a:pt x="4524047" y="6699048"/>
                </a:moveTo>
                <a:cubicBezTo>
                  <a:pt x="4545704" y="6699048"/>
                  <a:pt x="4563030" y="6703406"/>
                  <a:pt x="4571693" y="6720835"/>
                </a:cubicBezTo>
                <a:cubicBezTo>
                  <a:pt x="4550035" y="6725191"/>
                  <a:pt x="4550035" y="6768763"/>
                  <a:pt x="4524047" y="6751334"/>
                </a:cubicBezTo>
                <a:cubicBezTo>
                  <a:pt x="4515384" y="6746978"/>
                  <a:pt x="4524047" y="6716477"/>
                  <a:pt x="4524047" y="6699048"/>
                </a:cubicBezTo>
                <a:close/>
                <a:moveTo>
                  <a:pt x="6580387" y="6620395"/>
                </a:moveTo>
                <a:cubicBezTo>
                  <a:pt x="6588967" y="6629333"/>
                  <a:pt x="6597547" y="6642739"/>
                  <a:pt x="6601838" y="6651678"/>
                </a:cubicBezTo>
                <a:cubicBezTo>
                  <a:pt x="6601838" y="6669554"/>
                  <a:pt x="6597547" y="6682960"/>
                  <a:pt x="6584677" y="6678491"/>
                </a:cubicBezTo>
                <a:cubicBezTo>
                  <a:pt x="6576097" y="6669554"/>
                  <a:pt x="6567516" y="6656147"/>
                  <a:pt x="6563226" y="6642739"/>
                </a:cubicBezTo>
                <a:cubicBezTo>
                  <a:pt x="6558936" y="6629333"/>
                  <a:pt x="6567516" y="6615926"/>
                  <a:pt x="6580387" y="6620395"/>
                </a:cubicBezTo>
                <a:close/>
                <a:moveTo>
                  <a:pt x="4282108" y="6620395"/>
                </a:moveTo>
                <a:cubicBezTo>
                  <a:pt x="4290688" y="6629333"/>
                  <a:pt x="4299268" y="6642739"/>
                  <a:pt x="4303559" y="6651678"/>
                </a:cubicBezTo>
                <a:cubicBezTo>
                  <a:pt x="4303559" y="6669554"/>
                  <a:pt x="4299268" y="6682960"/>
                  <a:pt x="4286398" y="6678491"/>
                </a:cubicBezTo>
                <a:cubicBezTo>
                  <a:pt x="4277819" y="6669554"/>
                  <a:pt x="4269237" y="6656147"/>
                  <a:pt x="4264947" y="6642739"/>
                </a:cubicBezTo>
                <a:cubicBezTo>
                  <a:pt x="4260657" y="6629333"/>
                  <a:pt x="4269237" y="6615926"/>
                  <a:pt x="4282108" y="6620395"/>
                </a:cubicBezTo>
                <a:close/>
                <a:moveTo>
                  <a:pt x="6958054" y="6576537"/>
                </a:moveTo>
                <a:cubicBezTo>
                  <a:pt x="6989024" y="6594291"/>
                  <a:pt x="7006721" y="6638672"/>
                  <a:pt x="6984600" y="6674176"/>
                </a:cubicBezTo>
                <a:cubicBezTo>
                  <a:pt x="6971328" y="6696366"/>
                  <a:pt x="6953630" y="6665300"/>
                  <a:pt x="6944781" y="6651985"/>
                </a:cubicBezTo>
                <a:cubicBezTo>
                  <a:pt x="6931509" y="6643109"/>
                  <a:pt x="6922660" y="6638672"/>
                  <a:pt x="6918236" y="6625357"/>
                </a:cubicBezTo>
                <a:cubicBezTo>
                  <a:pt x="6931509" y="6607606"/>
                  <a:pt x="6940358" y="6567662"/>
                  <a:pt x="6958054" y="6576537"/>
                </a:cubicBezTo>
                <a:close/>
                <a:moveTo>
                  <a:pt x="4659775" y="6576537"/>
                </a:moveTo>
                <a:cubicBezTo>
                  <a:pt x="4690746" y="6594291"/>
                  <a:pt x="4708442" y="6638672"/>
                  <a:pt x="4686322" y="6674176"/>
                </a:cubicBezTo>
                <a:cubicBezTo>
                  <a:pt x="4673050" y="6696366"/>
                  <a:pt x="4655351" y="6665300"/>
                  <a:pt x="4646502" y="6651985"/>
                </a:cubicBezTo>
                <a:cubicBezTo>
                  <a:pt x="4633230" y="6643109"/>
                  <a:pt x="4624381" y="6638672"/>
                  <a:pt x="4619957" y="6625357"/>
                </a:cubicBezTo>
                <a:cubicBezTo>
                  <a:pt x="4633230" y="6607606"/>
                  <a:pt x="4642079" y="6567662"/>
                  <a:pt x="4659775" y="6576537"/>
                </a:cubicBezTo>
                <a:close/>
                <a:moveTo>
                  <a:pt x="6440634" y="6475805"/>
                </a:moveTo>
                <a:lnTo>
                  <a:pt x="6438763" y="6479561"/>
                </a:lnTo>
                <a:lnTo>
                  <a:pt x="6438520" y="6480050"/>
                </a:lnTo>
                <a:lnTo>
                  <a:pt x="6441327" y="6475866"/>
                </a:lnTo>
                <a:close/>
                <a:moveTo>
                  <a:pt x="4142355" y="6475805"/>
                </a:moveTo>
                <a:lnTo>
                  <a:pt x="4140484" y="6479561"/>
                </a:lnTo>
                <a:lnTo>
                  <a:pt x="4140241" y="6480050"/>
                </a:lnTo>
                <a:lnTo>
                  <a:pt x="4143048" y="6475866"/>
                </a:lnTo>
                <a:close/>
                <a:moveTo>
                  <a:pt x="8984947" y="6474303"/>
                </a:moveTo>
                <a:lnTo>
                  <a:pt x="8983611" y="6475611"/>
                </a:lnTo>
                <a:lnTo>
                  <a:pt x="8993595" y="6485873"/>
                </a:lnTo>
                <a:close/>
                <a:moveTo>
                  <a:pt x="1687820" y="6430862"/>
                </a:moveTo>
                <a:lnTo>
                  <a:pt x="1681765" y="6432596"/>
                </a:lnTo>
                <a:lnTo>
                  <a:pt x="1683885" y="6435790"/>
                </a:lnTo>
                <a:lnTo>
                  <a:pt x="1683760" y="6436191"/>
                </a:lnTo>
                <a:lnTo>
                  <a:pt x="1688068" y="6431904"/>
                </a:lnTo>
                <a:close/>
                <a:moveTo>
                  <a:pt x="9351677" y="6409705"/>
                </a:moveTo>
                <a:lnTo>
                  <a:pt x="9347938" y="6412093"/>
                </a:lnTo>
                <a:lnTo>
                  <a:pt x="9355569" y="6425641"/>
                </a:lnTo>
                <a:lnTo>
                  <a:pt x="9356793" y="6425909"/>
                </a:lnTo>
                <a:lnTo>
                  <a:pt x="9351677" y="6410321"/>
                </a:lnTo>
                <a:close/>
                <a:moveTo>
                  <a:pt x="7053398" y="6409705"/>
                </a:moveTo>
                <a:lnTo>
                  <a:pt x="7049659" y="6412093"/>
                </a:lnTo>
                <a:lnTo>
                  <a:pt x="7057290" y="6425641"/>
                </a:lnTo>
                <a:lnTo>
                  <a:pt x="7058514" y="6425909"/>
                </a:lnTo>
                <a:lnTo>
                  <a:pt x="7053398" y="6410321"/>
                </a:lnTo>
                <a:close/>
                <a:moveTo>
                  <a:pt x="9906863" y="6387501"/>
                </a:moveTo>
                <a:lnTo>
                  <a:pt x="9907446" y="6391605"/>
                </a:lnTo>
                <a:lnTo>
                  <a:pt x="9907285" y="6392252"/>
                </a:lnTo>
                <a:lnTo>
                  <a:pt x="9907868" y="6391788"/>
                </a:lnTo>
                <a:lnTo>
                  <a:pt x="9918884" y="6388940"/>
                </a:lnTo>
                <a:close/>
                <a:moveTo>
                  <a:pt x="7608584" y="6387501"/>
                </a:moveTo>
                <a:lnTo>
                  <a:pt x="7609167" y="6391605"/>
                </a:lnTo>
                <a:lnTo>
                  <a:pt x="7609006" y="6392252"/>
                </a:lnTo>
                <a:lnTo>
                  <a:pt x="7609589" y="6391788"/>
                </a:lnTo>
                <a:lnTo>
                  <a:pt x="7620605" y="6388940"/>
                </a:lnTo>
                <a:close/>
                <a:moveTo>
                  <a:pt x="1614698" y="6360904"/>
                </a:moveTo>
                <a:lnTo>
                  <a:pt x="1614509" y="6360959"/>
                </a:lnTo>
                <a:lnTo>
                  <a:pt x="1614786" y="6361532"/>
                </a:lnTo>
                <a:close/>
                <a:moveTo>
                  <a:pt x="3911963" y="6358888"/>
                </a:moveTo>
                <a:lnTo>
                  <a:pt x="3911925" y="6359186"/>
                </a:lnTo>
                <a:lnTo>
                  <a:pt x="3911963" y="6359262"/>
                </a:lnTo>
                <a:close/>
                <a:moveTo>
                  <a:pt x="1613683" y="6358888"/>
                </a:moveTo>
                <a:lnTo>
                  <a:pt x="1613646" y="6359186"/>
                </a:lnTo>
                <a:lnTo>
                  <a:pt x="1613683" y="6359262"/>
                </a:lnTo>
                <a:close/>
                <a:moveTo>
                  <a:pt x="3911759" y="6356107"/>
                </a:moveTo>
                <a:lnTo>
                  <a:pt x="3910492" y="6356235"/>
                </a:lnTo>
                <a:lnTo>
                  <a:pt x="3911759" y="6358844"/>
                </a:lnTo>
                <a:close/>
                <a:moveTo>
                  <a:pt x="1613480" y="6356107"/>
                </a:moveTo>
                <a:lnTo>
                  <a:pt x="1612212" y="6356235"/>
                </a:lnTo>
                <a:lnTo>
                  <a:pt x="1613480" y="6358844"/>
                </a:lnTo>
                <a:close/>
                <a:moveTo>
                  <a:pt x="8512985" y="6350823"/>
                </a:moveTo>
                <a:lnTo>
                  <a:pt x="8510918" y="6356059"/>
                </a:lnTo>
                <a:lnTo>
                  <a:pt x="8513520" y="6355836"/>
                </a:lnTo>
                <a:lnTo>
                  <a:pt x="8514740" y="6356086"/>
                </a:lnTo>
                <a:close/>
                <a:moveTo>
                  <a:pt x="6214706" y="6350823"/>
                </a:moveTo>
                <a:lnTo>
                  <a:pt x="6212639" y="6356059"/>
                </a:lnTo>
                <a:lnTo>
                  <a:pt x="6215241" y="6355836"/>
                </a:lnTo>
                <a:lnTo>
                  <a:pt x="6216461" y="6356086"/>
                </a:lnTo>
                <a:close/>
                <a:moveTo>
                  <a:pt x="4165949" y="6338737"/>
                </a:moveTo>
                <a:lnTo>
                  <a:pt x="4164402" y="6342229"/>
                </a:lnTo>
                <a:lnTo>
                  <a:pt x="4168103" y="6339061"/>
                </a:lnTo>
                <a:lnTo>
                  <a:pt x="4167969" y="6338983"/>
                </a:lnTo>
                <a:close/>
                <a:moveTo>
                  <a:pt x="4475834" y="6334735"/>
                </a:moveTo>
                <a:lnTo>
                  <a:pt x="4475165" y="6335186"/>
                </a:lnTo>
                <a:lnTo>
                  <a:pt x="4475165" y="6355073"/>
                </a:lnTo>
                <a:lnTo>
                  <a:pt x="4475834" y="6355309"/>
                </a:lnTo>
                <a:close/>
                <a:moveTo>
                  <a:pt x="4185829" y="6334387"/>
                </a:moveTo>
                <a:lnTo>
                  <a:pt x="4185579" y="6334536"/>
                </a:lnTo>
                <a:lnTo>
                  <a:pt x="4185579" y="6337416"/>
                </a:lnTo>
                <a:lnTo>
                  <a:pt x="4190712" y="6334387"/>
                </a:lnTo>
                <a:close/>
                <a:moveTo>
                  <a:pt x="8012014" y="6323449"/>
                </a:moveTo>
                <a:lnTo>
                  <a:pt x="8001499" y="6324648"/>
                </a:lnTo>
                <a:lnTo>
                  <a:pt x="8001499" y="6325447"/>
                </a:lnTo>
                <a:cubicBezTo>
                  <a:pt x="8001499" y="6325447"/>
                  <a:pt x="8001499" y="6327682"/>
                  <a:pt x="8001499" y="6329916"/>
                </a:cubicBezTo>
                <a:lnTo>
                  <a:pt x="8001499" y="6332558"/>
                </a:lnTo>
                <a:lnTo>
                  <a:pt x="8002508" y="6333058"/>
                </a:lnTo>
                <a:close/>
                <a:moveTo>
                  <a:pt x="5713735" y="6323449"/>
                </a:moveTo>
                <a:lnTo>
                  <a:pt x="5703220" y="6324648"/>
                </a:lnTo>
                <a:lnTo>
                  <a:pt x="5703220" y="6325447"/>
                </a:lnTo>
                <a:cubicBezTo>
                  <a:pt x="5703220" y="6325447"/>
                  <a:pt x="5703220" y="6327682"/>
                  <a:pt x="5703220" y="6329916"/>
                </a:cubicBezTo>
                <a:lnTo>
                  <a:pt x="5703220" y="6332558"/>
                </a:lnTo>
                <a:lnTo>
                  <a:pt x="5704229" y="6333058"/>
                </a:lnTo>
                <a:close/>
                <a:moveTo>
                  <a:pt x="8848990" y="6285385"/>
                </a:moveTo>
                <a:lnTo>
                  <a:pt x="8848836" y="6285496"/>
                </a:lnTo>
                <a:lnTo>
                  <a:pt x="8848912" y="6285611"/>
                </a:lnTo>
                <a:close/>
                <a:moveTo>
                  <a:pt x="8654996" y="6260990"/>
                </a:moveTo>
                <a:lnTo>
                  <a:pt x="8654959" y="6261058"/>
                </a:lnTo>
                <a:lnTo>
                  <a:pt x="8654977" y="6261071"/>
                </a:lnTo>
                <a:close/>
                <a:moveTo>
                  <a:pt x="8821991" y="6188321"/>
                </a:moveTo>
                <a:lnTo>
                  <a:pt x="8820940" y="6190426"/>
                </a:lnTo>
                <a:lnTo>
                  <a:pt x="8819851" y="6191211"/>
                </a:lnTo>
                <a:lnTo>
                  <a:pt x="8822595" y="6193226"/>
                </a:lnTo>
                <a:lnTo>
                  <a:pt x="8821991" y="6189642"/>
                </a:lnTo>
                <a:close/>
                <a:moveTo>
                  <a:pt x="8269634" y="6184028"/>
                </a:moveTo>
                <a:lnTo>
                  <a:pt x="8269252" y="6186711"/>
                </a:lnTo>
                <a:lnTo>
                  <a:pt x="8269634" y="6186902"/>
                </a:lnTo>
                <a:close/>
                <a:moveTo>
                  <a:pt x="7315172" y="6121061"/>
                </a:moveTo>
                <a:lnTo>
                  <a:pt x="7312057" y="6124029"/>
                </a:lnTo>
                <a:lnTo>
                  <a:pt x="7316916" y="6130475"/>
                </a:lnTo>
                <a:lnTo>
                  <a:pt x="7317518" y="6129187"/>
                </a:lnTo>
                <a:close/>
                <a:moveTo>
                  <a:pt x="9624517" y="6110516"/>
                </a:moveTo>
                <a:lnTo>
                  <a:pt x="9610336" y="6124029"/>
                </a:lnTo>
                <a:lnTo>
                  <a:pt x="9615195" y="6130475"/>
                </a:lnTo>
                <a:close/>
                <a:moveTo>
                  <a:pt x="2784792" y="6106911"/>
                </a:moveTo>
                <a:lnTo>
                  <a:pt x="2779441" y="6111289"/>
                </a:lnTo>
                <a:lnTo>
                  <a:pt x="2779553" y="6111319"/>
                </a:lnTo>
                <a:lnTo>
                  <a:pt x="2780304" y="6111527"/>
                </a:lnTo>
                <a:lnTo>
                  <a:pt x="2782307" y="6114486"/>
                </a:lnTo>
                <a:lnTo>
                  <a:pt x="2784694" y="6107208"/>
                </a:lnTo>
                <a:close/>
                <a:moveTo>
                  <a:pt x="486512" y="6106911"/>
                </a:moveTo>
                <a:lnTo>
                  <a:pt x="481161" y="6111289"/>
                </a:lnTo>
                <a:lnTo>
                  <a:pt x="481274" y="6111319"/>
                </a:lnTo>
                <a:lnTo>
                  <a:pt x="482024" y="6111527"/>
                </a:lnTo>
                <a:lnTo>
                  <a:pt x="484027" y="6114486"/>
                </a:lnTo>
                <a:lnTo>
                  <a:pt x="486414" y="6107208"/>
                </a:lnTo>
                <a:close/>
                <a:moveTo>
                  <a:pt x="11178700" y="6092678"/>
                </a:moveTo>
                <a:lnTo>
                  <a:pt x="11176844" y="6093262"/>
                </a:lnTo>
                <a:lnTo>
                  <a:pt x="11178700" y="6096068"/>
                </a:lnTo>
                <a:close/>
                <a:moveTo>
                  <a:pt x="504441" y="6085325"/>
                </a:moveTo>
                <a:lnTo>
                  <a:pt x="504441" y="6087909"/>
                </a:lnTo>
                <a:lnTo>
                  <a:pt x="504441" y="6091235"/>
                </a:lnTo>
                <a:lnTo>
                  <a:pt x="507449" y="6088789"/>
                </a:lnTo>
                <a:close/>
                <a:moveTo>
                  <a:pt x="403025" y="6044800"/>
                </a:moveTo>
                <a:lnTo>
                  <a:pt x="410519" y="6115339"/>
                </a:lnTo>
                <a:lnTo>
                  <a:pt x="411071" y="6111527"/>
                </a:lnTo>
                <a:lnTo>
                  <a:pt x="411178" y="6111499"/>
                </a:lnTo>
                <a:lnTo>
                  <a:pt x="407404" y="6044800"/>
                </a:lnTo>
                <a:close/>
                <a:moveTo>
                  <a:pt x="10960051" y="6033899"/>
                </a:moveTo>
                <a:lnTo>
                  <a:pt x="10959722" y="6034203"/>
                </a:lnTo>
                <a:lnTo>
                  <a:pt x="10956781" y="6057954"/>
                </a:lnTo>
                <a:lnTo>
                  <a:pt x="10957046" y="6058105"/>
                </a:lnTo>
                <a:close/>
                <a:moveTo>
                  <a:pt x="1733395" y="6023351"/>
                </a:moveTo>
                <a:lnTo>
                  <a:pt x="1734834" y="6030492"/>
                </a:lnTo>
                <a:lnTo>
                  <a:pt x="1736236" y="6023351"/>
                </a:lnTo>
                <a:lnTo>
                  <a:pt x="1735974" y="6023351"/>
                </a:lnTo>
                <a:close/>
                <a:moveTo>
                  <a:pt x="10646103" y="6016482"/>
                </a:moveTo>
                <a:lnTo>
                  <a:pt x="10645480" y="6017070"/>
                </a:lnTo>
                <a:lnTo>
                  <a:pt x="10645808" y="6017287"/>
                </a:lnTo>
                <a:close/>
                <a:moveTo>
                  <a:pt x="10269636" y="5998367"/>
                </a:moveTo>
                <a:lnTo>
                  <a:pt x="10267993" y="6000416"/>
                </a:lnTo>
                <a:lnTo>
                  <a:pt x="10267028" y="6001419"/>
                </a:lnTo>
                <a:lnTo>
                  <a:pt x="10268859" y="6002030"/>
                </a:lnTo>
                <a:lnTo>
                  <a:pt x="10268905" y="6001284"/>
                </a:lnTo>
                <a:close/>
                <a:moveTo>
                  <a:pt x="1179966" y="5982779"/>
                </a:moveTo>
                <a:lnTo>
                  <a:pt x="1179802" y="5982789"/>
                </a:lnTo>
                <a:lnTo>
                  <a:pt x="1176338" y="5993238"/>
                </a:lnTo>
                <a:lnTo>
                  <a:pt x="1176361" y="5993242"/>
                </a:lnTo>
                <a:close/>
                <a:moveTo>
                  <a:pt x="386114" y="5953136"/>
                </a:moveTo>
                <a:lnTo>
                  <a:pt x="382692" y="5955987"/>
                </a:lnTo>
                <a:lnTo>
                  <a:pt x="386114" y="5957416"/>
                </a:lnTo>
                <a:close/>
                <a:moveTo>
                  <a:pt x="11275420" y="5949757"/>
                </a:moveTo>
                <a:lnTo>
                  <a:pt x="11275420" y="5952832"/>
                </a:lnTo>
                <a:lnTo>
                  <a:pt x="11275232" y="5953423"/>
                </a:lnTo>
                <a:lnTo>
                  <a:pt x="11275930" y="5952689"/>
                </a:lnTo>
                <a:lnTo>
                  <a:pt x="11277325" y="5952559"/>
                </a:lnTo>
                <a:close/>
                <a:moveTo>
                  <a:pt x="387783" y="5946486"/>
                </a:moveTo>
                <a:lnTo>
                  <a:pt x="387087" y="5947231"/>
                </a:lnTo>
                <a:lnTo>
                  <a:pt x="386273" y="5948588"/>
                </a:lnTo>
                <a:lnTo>
                  <a:pt x="386273" y="5951114"/>
                </a:lnTo>
                <a:close/>
                <a:moveTo>
                  <a:pt x="1323505" y="5926141"/>
                </a:moveTo>
                <a:lnTo>
                  <a:pt x="1320340" y="5926198"/>
                </a:lnTo>
                <a:lnTo>
                  <a:pt x="1323014" y="5932098"/>
                </a:lnTo>
                <a:lnTo>
                  <a:pt x="1324287" y="5926438"/>
                </a:lnTo>
                <a:lnTo>
                  <a:pt x="1323916" y="5926821"/>
                </a:lnTo>
                <a:close/>
                <a:moveTo>
                  <a:pt x="675701" y="5914425"/>
                </a:moveTo>
                <a:lnTo>
                  <a:pt x="674956" y="5917042"/>
                </a:lnTo>
                <a:lnTo>
                  <a:pt x="673818" y="5917818"/>
                </a:lnTo>
                <a:lnTo>
                  <a:pt x="675701" y="5917886"/>
                </a:lnTo>
                <a:close/>
                <a:moveTo>
                  <a:pt x="413855" y="5902303"/>
                </a:moveTo>
                <a:lnTo>
                  <a:pt x="412892" y="5902496"/>
                </a:lnTo>
                <a:lnTo>
                  <a:pt x="412696" y="5903279"/>
                </a:lnTo>
                <a:close/>
                <a:moveTo>
                  <a:pt x="382863" y="5900344"/>
                </a:moveTo>
                <a:lnTo>
                  <a:pt x="386116" y="5901428"/>
                </a:lnTo>
                <a:lnTo>
                  <a:pt x="386116" y="5901350"/>
                </a:lnTo>
                <a:lnTo>
                  <a:pt x="385109" y="5900344"/>
                </a:lnTo>
                <a:close/>
                <a:moveTo>
                  <a:pt x="440413" y="5886602"/>
                </a:moveTo>
                <a:lnTo>
                  <a:pt x="442425" y="5889618"/>
                </a:lnTo>
                <a:cubicBezTo>
                  <a:pt x="438067" y="5893976"/>
                  <a:pt x="438067" y="5898332"/>
                  <a:pt x="433709" y="5898332"/>
                </a:cubicBezTo>
                <a:lnTo>
                  <a:pt x="431194" y="5898835"/>
                </a:lnTo>
                <a:lnTo>
                  <a:pt x="432888" y="5899243"/>
                </a:lnTo>
                <a:lnTo>
                  <a:pt x="434380" y="5904170"/>
                </a:lnTo>
                <a:lnTo>
                  <a:pt x="434582" y="5904840"/>
                </a:lnTo>
                <a:lnTo>
                  <a:pt x="445105" y="5894687"/>
                </a:lnTo>
                <a:cubicBezTo>
                  <a:pt x="448323" y="5894143"/>
                  <a:pt x="451540" y="5896322"/>
                  <a:pt x="455830" y="5900680"/>
                </a:cubicBezTo>
                <a:lnTo>
                  <a:pt x="455830" y="5901683"/>
                </a:lnTo>
                <a:lnTo>
                  <a:pt x="456499" y="5900680"/>
                </a:lnTo>
                <a:lnTo>
                  <a:pt x="457842" y="5900008"/>
                </a:lnTo>
                <a:lnTo>
                  <a:pt x="455829" y="5900008"/>
                </a:lnTo>
                <a:lnTo>
                  <a:pt x="455829" y="5886602"/>
                </a:lnTo>
                <a:close/>
                <a:moveTo>
                  <a:pt x="11061478" y="5877265"/>
                </a:moveTo>
                <a:lnTo>
                  <a:pt x="11061064" y="5880197"/>
                </a:lnTo>
                <a:lnTo>
                  <a:pt x="11062253" y="5878557"/>
                </a:lnTo>
                <a:lnTo>
                  <a:pt x="11065388" y="5878815"/>
                </a:lnTo>
                <a:lnTo>
                  <a:pt x="11061986" y="5877265"/>
                </a:lnTo>
                <a:close/>
                <a:moveTo>
                  <a:pt x="503200" y="5854802"/>
                </a:moveTo>
                <a:lnTo>
                  <a:pt x="503085" y="5855150"/>
                </a:lnTo>
                <a:lnTo>
                  <a:pt x="503200" y="5855171"/>
                </a:lnTo>
                <a:close/>
                <a:moveTo>
                  <a:pt x="793506" y="5851309"/>
                </a:moveTo>
                <a:lnTo>
                  <a:pt x="790825" y="5853304"/>
                </a:lnTo>
                <a:lnTo>
                  <a:pt x="793506" y="5854167"/>
                </a:lnTo>
                <a:close/>
                <a:moveTo>
                  <a:pt x="526775" y="5845158"/>
                </a:moveTo>
                <a:lnTo>
                  <a:pt x="525544" y="5851125"/>
                </a:lnTo>
                <a:lnTo>
                  <a:pt x="525672" y="5851125"/>
                </a:lnTo>
                <a:lnTo>
                  <a:pt x="526870" y="5845377"/>
                </a:lnTo>
                <a:close/>
                <a:moveTo>
                  <a:pt x="985923" y="5830294"/>
                </a:moveTo>
                <a:lnTo>
                  <a:pt x="986010" y="5831673"/>
                </a:lnTo>
                <a:lnTo>
                  <a:pt x="986618" y="5830294"/>
                </a:lnTo>
                <a:close/>
                <a:moveTo>
                  <a:pt x="481159" y="5826915"/>
                </a:moveTo>
                <a:lnTo>
                  <a:pt x="478180" y="5830668"/>
                </a:lnTo>
                <a:lnTo>
                  <a:pt x="482107" y="5830293"/>
                </a:lnTo>
                <a:lnTo>
                  <a:pt x="482642" y="5833536"/>
                </a:lnTo>
                <a:lnTo>
                  <a:pt x="482642" y="5830293"/>
                </a:lnTo>
                <a:lnTo>
                  <a:pt x="483206" y="5830293"/>
                </a:lnTo>
                <a:lnTo>
                  <a:pt x="482080" y="5829538"/>
                </a:lnTo>
                <a:close/>
                <a:moveTo>
                  <a:pt x="10847305" y="5762498"/>
                </a:moveTo>
                <a:lnTo>
                  <a:pt x="10847308" y="5762562"/>
                </a:lnTo>
                <a:lnTo>
                  <a:pt x="10847382" y="5762535"/>
                </a:lnTo>
                <a:close/>
                <a:moveTo>
                  <a:pt x="11065417" y="5757394"/>
                </a:moveTo>
                <a:lnTo>
                  <a:pt x="11064864" y="5760872"/>
                </a:lnTo>
                <a:lnTo>
                  <a:pt x="11065940" y="5759377"/>
                </a:lnTo>
                <a:lnTo>
                  <a:pt x="11066707" y="5757620"/>
                </a:lnTo>
                <a:lnTo>
                  <a:pt x="11066428" y="5757895"/>
                </a:lnTo>
                <a:close/>
                <a:moveTo>
                  <a:pt x="440239" y="5756554"/>
                </a:moveTo>
                <a:lnTo>
                  <a:pt x="435062" y="5757573"/>
                </a:lnTo>
                <a:lnTo>
                  <a:pt x="435018" y="5757661"/>
                </a:lnTo>
                <a:lnTo>
                  <a:pt x="434702" y="5757644"/>
                </a:lnTo>
                <a:lnTo>
                  <a:pt x="433937" y="5757794"/>
                </a:lnTo>
                <a:lnTo>
                  <a:pt x="435378" y="5766276"/>
                </a:lnTo>
                <a:lnTo>
                  <a:pt x="438133" y="5758676"/>
                </a:lnTo>
                <a:lnTo>
                  <a:pt x="438905" y="5757897"/>
                </a:lnTo>
                <a:lnTo>
                  <a:pt x="434898" y="5757897"/>
                </a:lnTo>
                <a:lnTo>
                  <a:pt x="435018" y="5757661"/>
                </a:lnTo>
                <a:lnTo>
                  <a:pt x="438925" y="5757877"/>
                </a:lnTo>
                <a:close/>
                <a:moveTo>
                  <a:pt x="456435" y="5752247"/>
                </a:moveTo>
                <a:lnTo>
                  <a:pt x="456123" y="5752641"/>
                </a:lnTo>
                <a:lnTo>
                  <a:pt x="456325" y="5752703"/>
                </a:lnTo>
                <a:close/>
                <a:moveTo>
                  <a:pt x="11516742" y="5655347"/>
                </a:moveTo>
                <a:lnTo>
                  <a:pt x="11516742" y="5657013"/>
                </a:lnTo>
                <a:lnTo>
                  <a:pt x="11515329" y="5657790"/>
                </a:lnTo>
                <a:lnTo>
                  <a:pt x="11516788" y="5659166"/>
                </a:lnTo>
                <a:lnTo>
                  <a:pt x="11517075" y="5657883"/>
                </a:lnTo>
                <a:close/>
                <a:moveTo>
                  <a:pt x="10439906" y="5648132"/>
                </a:moveTo>
                <a:lnTo>
                  <a:pt x="10439166" y="5649044"/>
                </a:lnTo>
                <a:lnTo>
                  <a:pt x="10432795" y="5661826"/>
                </a:lnTo>
                <a:lnTo>
                  <a:pt x="10433479" y="5661369"/>
                </a:lnTo>
                <a:lnTo>
                  <a:pt x="10432812" y="5663402"/>
                </a:lnTo>
                <a:lnTo>
                  <a:pt x="10436193" y="5658881"/>
                </a:lnTo>
                <a:lnTo>
                  <a:pt x="10433479" y="5661369"/>
                </a:lnTo>
                <a:close/>
                <a:moveTo>
                  <a:pt x="11374235" y="5580423"/>
                </a:moveTo>
                <a:lnTo>
                  <a:pt x="11372843" y="5581920"/>
                </a:lnTo>
                <a:lnTo>
                  <a:pt x="11371681" y="5582148"/>
                </a:lnTo>
                <a:lnTo>
                  <a:pt x="11373775" y="5582884"/>
                </a:lnTo>
                <a:close/>
                <a:moveTo>
                  <a:pt x="1542350" y="5539696"/>
                </a:moveTo>
                <a:lnTo>
                  <a:pt x="1540212" y="5541658"/>
                </a:lnTo>
                <a:lnTo>
                  <a:pt x="1547285" y="5552362"/>
                </a:lnTo>
                <a:close/>
                <a:moveTo>
                  <a:pt x="580162" y="5511565"/>
                </a:moveTo>
                <a:lnTo>
                  <a:pt x="579520" y="5511702"/>
                </a:lnTo>
                <a:lnTo>
                  <a:pt x="579510" y="5511707"/>
                </a:lnTo>
                <a:lnTo>
                  <a:pt x="579880" y="5511972"/>
                </a:lnTo>
                <a:close/>
                <a:moveTo>
                  <a:pt x="11373929" y="5464554"/>
                </a:moveTo>
                <a:lnTo>
                  <a:pt x="11371948" y="5468525"/>
                </a:lnTo>
                <a:lnTo>
                  <a:pt x="11371723" y="5468751"/>
                </a:lnTo>
                <a:lnTo>
                  <a:pt x="11371370" y="5469440"/>
                </a:lnTo>
                <a:lnTo>
                  <a:pt x="11372843" y="5468310"/>
                </a:lnTo>
                <a:lnTo>
                  <a:pt x="11381628" y="5468310"/>
                </a:lnTo>
                <a:close/>
                <a:moveTo>
                  <a:pt x="262189" y="5464072"/>
                </a:moveTo>
                <a:lnTo>
                  <a:pt x="262189" y="5464768"/>
                </a:lnTo>
                <a:lnTo>
                  <a:pt x="263463" y="5467947"/>
                </a:lnTo>
                <a:lnTo>
                  <a:pt x="263463" y="5465437"/>
                </a:lnTo>
                <a:lnTo>
                  <a:pt x="265297" y="5464485"/>
                </a:lnTo>
                <a:close/>
                <a:moveTo>
                  <a:pt x="9832971" y="5463969"/>
                </a:moveTo>
                <a:lnTo>
                  <a:pt x="9825829" y="5470695"/>
                </a:lnTo>
                <a:lnTo>
                  <a:pt x="9831333" y="5468542"/>
                </a:lnTo>
                <a:close/>
                <a:moveTo>
                  <a:pt x="1421113" y="5366999"/>
                </a:moveTo>
                <a:lnTo>
                  <a:pt x="1413564" y="5374597"/>
                </a:lnTo>
                <a:lnTo>
                  <a:pt x="1415421" y="5373905"/>
                </a:lnTo>
                <a:lnTo>
                  <a:pt x="1421113" y="5370086"/>
                </a:lnTo>
                <a:close/>
                <a:moveTo>
                  <a:pt x="10125627" y="5342587"/>
                </a:moveTo>
                <a:lnTo>
                  <a:pt x="10123134" y="5344453"/>
                </a:lnTo>
                <a:lnTo>
                  <a:pt x="10119403" y="5350069"/>
                </a:lnTo>
                <a:lnTo>
                  <a:pt x="10116957" y="5352929"/>
                </a:lnTo>
                <a:lnTo>
                  <a:pt x="10113033" y="5358619"/>
                </a:lnTo>
                <a:lnTo>
                  <a:pt x="10123783" y="5345673"/>
                </a:lnTo>
                <a:close/>
                <a:moveTo>
                  <a:pt x="578477" y="5325100"/>
                </a:moveTo>
                <a:lnTo>
                  <a:pt x="574600" y="5327112"/>
                </a:lnTo>
                <a:lnTo>
                  <a:pt x="576911" y="5332723"/>
                </a:lnTo>
                <a:close/>
                <a:moveTo>
                  <a:pt x="1853244" y="5247996"/>
                </a:moveTo>
                <a:lnTo>
                  <a:pt x="1853244" y="5248739"/>
                </a:lnTo>
                <a:lnTo>
                  <a:pt x="1854163" y="5249614"/>
                </a:lnTo>
                <a:close/>
                <a:moveTo>
                  <a:pt x="11512844" y="5243760"/>
                </a:moveTo>
                <a:lnTo>
                  <a:pt x="11511827" y="5249171"/>
                </a:lnTo>
                <a:lnTo>
                  <a:pt x="11511744" y="5249458"/>
                </a:lnTo>
                <a:lnTo>
                  <a:pt x="11512354" y="5248930"/>
                </a:lnTo>
                <a:lnTo>
                  <a:pt x="11517599" y="5247737"/>
                </a:lnTo>
                <a:close/>
                <a:moveTo>
                  <a:pt x="11517607" y="5102588"/>
                </a:moveTo>
                <a:lnTo>
                  <a:pt x="11516536" y="5103649"/>
                </a:lnTo>
                <a:lnTo>
                  <a:pt x="11514915" y="5103649"/>
                </a:lnTo>
                <a:lnTo>
                  <a:pt x="11516220" y="5104379"/>
                </a:lnTo>
                <a:lnTo>
                  <a:pt x="11519619" y="5106075"/>
                </a:lnTo>
                <a:lnTo>
                  <a:pt x="11520394" y="5104475"/>
                </a:lnTo>
                <a:close/>
                <a:moveTo>
                  <a:pt x="11180501" y="5066210"/>
                </a:moveTo>
                <a:lnTo>
                  <a:pt x="11180354" y="5067835"/>
                </a:lnTo>
                <a:lnTo>
                  <a:pt x="11180501" y="5067835"/>
                </a:lnTo>
                <a:close/>
                <a:moveTo>
                  <a:pt x="864008" y="4958856"/>
                </a:moveTo>
                <a:lnTo>
                  <a:pt x="868756" y="4967163"/>
                </a:lnTo>
                <a:lnTo>
                  <a:pt x="868756" y="4958856"/>
                </a:lnTo>
                <a:lnTo>
                  <a:pt x="868666" y="4958856"/>
                </a:lnTo>
                <a:close/>
                <a:moveTo>
                  <a:pt x="1246333" y="4937404"/>
                </a:moveTo>
                <a:lnTo>
                  <a:pt x="1247534" y="4943936"/>
                </a:lnTo>
                <a:lnTo>
                  <a:pt x="1252608" y="4937404"/>
                </a:lnTo>
                <a:close/>
                <a:moveTo>
                  <a:pt x="573880" y="4884823"/>
                </a:moveTo>
                <a:lnTo>
                  <a:pt x="570705" y="4885466"/>
                </a:lnTo>
                <a:lnTo>
                  <a:pt x="574026" y="4886552"/>
                </a:lnTo>
                <a:close/>
                <a:moveTo>
                  <a:pt x="11447026" y="4813892"/>
                </a:moveTo>
                <a:lnTo>
                  <a:pt x="11446835" y="4814064"/>
                </a:lnTo>
                <a:lnTo>
                  <a:pt x="11445837" y="4814064"/>
                </a:lnTo>
                <a:lnTo>
                  <a:pt x="11447026" y="4816466"/>
                </a:lnTo>
                <a:close/>
                <a:moveTo>
                  <a:pt x="870457" y="4810340"/>
                </a:moveTo>
                <a:lnTo>
                  <a:pt x="867053" y="4813795"/>
                </a:lnTo>
                <a:lnTo>
                  <a:pt x="866830" y="4816457"/>
                </a:lnTo>
                <a:lnTo>
                  <a:pt x="868666" y="4813593"/>
                </a:lnTo>
                <a:close/>
                <a:moveTo>
                  <a:pt x="1061813" y="4764502"/>
                </a:moveTo>
                <a:lnTo>
                  <a:pt x="1061365" y="4764953"/>
                </a:lnTo>
                <a:lnTo>
                  <a:pt x="1053747" y="4767982"/>
                </a:lnTo>
                <a:lnTo>
                  <a:pt x="1054577" y="4773470"/>
                </a:lnTo>
                <a:lnTo>
                  <a:pt x="1060473" y="4766499"/>
                </a:lnTo>
                <a:lnTo>
                  <a:pt x="1061813" y="4765746"/>
                </a:lnTo>
                <a:close/>
                <a:moveTo>
                  <a:pt x="1063578" y="4693945"/>
                </a:moveTo>
                <a:lnTo>
                  <a:pt x="1062020" y="4694737"/>
                </a:lnTo>
                <a:lnTo>
                  <a:pt x="1062145" y="4695681"/>
                </a:lnTo>
                <a:close/>
                <a:moveTo>
                  <a:pt x="551905" y="4690180"/>
                </a:moveTo>
                <a:lnTo>
                  <a:pt x="550688" y="4690291"/>
                </a:lnTo>
                <a:lnTo>
                  <a:pt x="556367" y="4698294"/>
                </a:lnTo>
                <a:lnTo>
                  <a:pt x="556745" y="4696419"/>
                </a:lnTo>
                <a:lnTo>
                  <a:pt x="558509" y="4696002"/>
                </a:lnTo>
                <a:lnTo>
                  <a:pt x="557124" y="4695340"/>
                </a:lnTo>
                <a:close/>
                <a:moveTo>
                  <a:pt x="1777970" y="4650028"/>
                </a:moveTo>
                <a:lnTo>
                  <a:pt x="1777170" y="4650864"/>
                </a:lnTo>
                <a:lnTo>
                  <a:pt x="1778047" y="4650150"/>
                </a:lnTo>
                <a:close/>
                <a:moveTo>
                  <a:pt x="11495650" y="4554954"/>
                </a:moveTo>
                <a:lnTo>
                  <a:pt x="11496175" y="4556624"/>
                </a:lnTo>
                <a:lnTo>
                  <a:pt x="11496148" y="4554954"/>
                </a:lnTo>
                <a:close/>
                <a:moveTo>
                  <a:pt x="11709774" y="4550056"/>
                </a:moveTo>
                <a:lnTo>
                  <a:pt x="11709439" y="4551415"/>
                </a:lnTo>
                <a:lnTo>
                  <a:pt x="11709797" y="4551292"/>
                </a:lnTo>
                <a:lnTo>
                  <a:pt x="11709544" y="4552025"/>
                </a:lnTo>
                <a:lnTo>
                  <a:pt x="11710316" y="4551099"/>
                </a:lnTo>
                <a:lnTo>
                  <a:pt x="11711019" y="4550694"/>
                </a:lnTo>
                <a:close/>
                <a:moveTo>
                  <a:pt x="797528" y="4501923"/>
                </a:moveTo>
                <a:lnTo>
                  <a:pt x="797798" y="4502508"/>
                </a:lnTo>
                <a:lnTo>
                  <a:pt x="797935" y="4502335"/>
                </a:lnTo>
                <a:close/>
                <a:moveTo>
                  <a:pt x="11583001" y="4495768"/>
                </a:moveTo>
                <a:lnTo>
                  <a:pt x="11582652" y="4496672"/>
                </a:lnTo>
                <a:lnTo>
                  <a:pt x="11582909" y="4496719"/>
                </a:lnTo>
                <a:lnTo>
                  <a:pt x="11583106" y="4496748"/>
                </a:lnTo>
                <a:close/>
                <a:moveTo>
                  <a:pt x="11442720" y="4482344"/>
                </a:moveTo>
                <a:lnTo>
                  <a:pt x="11440315" y="4501378"/>
                </a:lnTo>
                <a:lnTo>
                  <a:pt x="11446083" y="4502334"/>
                </a:lnTo>
                <a:close/>
                <a:moveTo>
                  <a:pt x="888945" y="4453782"/>
                </a:moveTo>
                <a:lnTo>
                  <a:pt x="889252" y="4454235"/>
                </a:lnTo>
                <a:lnTo>
                  <a:pt x="889469" y="4453882"/>
                </a:lnTo>
                <a:close/>
                <a:moveTo>
                  <a:pt x="892853" y="4265588"/>
                </a:moveTo>
                <a:lnTo>
                  <a:pt x="892889" y="4265808"/>
                </a:lnTo>
                <a:lnTo>
                  <a:pt x="892554" y="4267510"/>
                </a:lnTo>
                <a:lnTo>
                  <a:pt x="893401" y="4266032"/>
                </a:lnTo>
                <a:close/>
                <a:moveTo>
                  <a:pt x="11490245" y="4209885"/>
                </a:moveTo>
                <a:lnTo>
                  <a:pt x="11487753" y="4217675"/>
                </a:lnTo>
                <a:lnTo>
                  <a:pt x="11490707" y="4218792"/>
                </a:lnTo>
                <a:lnTo>
                  <a:pt x="11490442" y="4213024"/>
                </a:lnTo>
                <a:lnTo>
                  <a:pt x="11492197" y="4212281"/>
                </a:lnTo>
                <a:lnTo>
                  <a:pt x="11490408" y="4212281"/>
                </a:lnTo>
                <a:lnTo>
                  <a:pt x="11490442" y="4213024"/>
                </a:lnTo>
                <a:lnTo>
                  <a:pt x="11490245" y="4213106"/>
                </a:lnTo>
                <a:lnTo>
                  <a:pt x="11490245" y="4212281"/>
                </a:lnTo>
                <a:lnTo>
                  <a:pt x="11489929" y="4212281"/>
                </a:lnTo>
                <a:lnTo>
                  <a:pt x="11490245" y="4210671"/>
                </a:lnTo>
                <a:close/>
                <a:moveTo>
                  <a:pt x="11490643" y="4208637"/>
                </a:moveTo>
                <a:lnTo>
                  <a:pt x="11490290" y="4209742"/>
                </a:lnTo>
                <a:lnTo>
                  <a:pt x="11490316" y="4210306"/>
                </a:lnTo>
                <a:close/>
                <a:moveTo>
                  <a:pt x="11065417" y="4195294"/>
                </a:moveTo>
                <a:lnTo>
                  <a:pt x="11064864" y="4198772"/>
                </a:lnTo>
                <a:lnTo>
                  <a:pt x="11065940" y="4197277"/>
                </a:lnTo>
                <a:lnTo>
                  <a:pt x="11066707" y="4195520"/>
                </a:lnTo>
                <a:lnTo>
                  <a:pt x="11066428" y="4195795"/>
                </a:lnTo>
                <a:close/>
                <a:moveTo>
                  <a:pt x="1013288" y="4183503"/>
                </a:moveTo>
                <a:lnTo>
                  <a:pt x="1013013" y="4185325"/>
                </a:lnTo>
                <a:lnTo>
                  <a:pt x="1012966" y="4185530"/>
                </a:lnTo>
                <a:lnTo>
                  <a:pt x="1014170" y="4184568"/>
                </a:lnTo>
                <a:close/>
                <a:moveTo>
                  <a:pt x="486513" y="4182861"/>
                </a:moveTo>
                <a:lnTo>
                  <a:pt x="481162" y="4187239"/>
                </a:lnTo>
                <a:lnTo>
                  <a:pt x="481275" y="4187269"/>
                </a:lnTo>
                <a:lnTo>
                  <a:pt x="482025" y="4187477"/>
                </a:lnTo>
                <a:lnTo>
                  <a:pt x="484028" y="4190436"/>
                </a:lnTo>
                <a:lnTo>
                  <a:pt x="486415" y="4183158"/>
                </a:lnTo>
                <a:close/>
                <a:moveTo>
                  <a:pt x="504442" y="4161275"/>
                </a:moveTo>
                <a:lnTo>
                  <a:pt x="504442" y="4163859"/>
                </a:lnTo>
                <a:lnTo>
                  <a:pt x="504442" y="4167185"/>
                </a:lnTo>
                <a:lnTo>
                  <a:pt x="507450" y="4164739"/>
                </a:lnTo>
                <a:close/>
                <a:moveTo>
                  <a:pt x="11584464" y="4139851"/>
                </a:moveTo>
                <a:lnTo>
                  <a:pt x="11587070" y="4141476"/>
                </a:lnTo>
                <a:lnTo>
                  <a:pt x="11587192" y="4140029"/>
                </a:lnTo>
                <a:close/>
                <a:moveTo>
                  <a:pt x="11688314" y="4136544"/>
                </a:moveTo>
                <a:lnTo>
                  <a:pt x="11687860" y="4137470"/>
                </a:lnTo>
                <a:lnTo>
                  <a:pt x="11687711" y="4138380"/>
                </a:lnTo>
                <a:lnTo>
                  <a:pt x="11688990" y="4138458"/>
                </a:lnTo>
                <a:close/>
                <a:moveTo>
                  <a:pt x="403026" y="4120750"/>
                </a:moveTo>
                <a:lnTo>
                  <a:pt x="410520" y="4191289"/>
                </a:lnTo>
                <a:lnTo>
                  <a:pt x="411072" y="4187477"/>
                </a:lnTo>
                <a:lnTo>
                  <a:pt x="411179" y="4187449"/>
                </a:lnTo>
                <a:lnTo>
                  <a:pt x="407405" y="4120750"/>
                </a:lnTo>
                <a:close/>
                <a:moveTo>
                  <a:pt x="386115" y="4029086"/>
                </a:moveTo>
                <a:lnTo>
                  <a:pt x="382693" y="4031937"/>
                </a:lnTo>
                <a:lnTo>
                  <a:pt x="386115" y="4033366"/>
                </a:lnTo>
                <a:close/>
                <a:moveTo>
                  <a:pt x="387784" y="4022436"/>
                </a:moveTo>
                <a:lnTo>
                  <a:pt x="387088" y="4023181"/>
                </a:lnTo>
                <a:lnTo>
                  <a:pt x="386274" y="4024538"/>
                </a:lnTo>
                <a:lnTo>
                  <a:pt x="386274" y="4027064"/>
                </a:lnTo>
                <a:close/>
                <a:moveTo>
                  <a:pt x="675702" y="3990375"/>
                </a:moveTo>
                <a:lnTo>
                  <a:pt x="674957" y="3992992"/>
                </a:lnTo>
                <a:lnTo>
                  <a:pt x="673819" y="3993768"/>
                </a:lnTo>
                <a:lnTo>
                  <a:pt x="675702" y="3993836"/>
                </a:lnTo>
                <a:close/>
                <a:moveTo>
                  <a:pt x="413856" y="3978253"/>
                </a:moveTo>
                <a:lnTo>
                  <a:pt x="412893" y="3978446"/>
                </a:lnTo>
                <a:lnTo>
                  <a:pt x="412697" y="3979229"/>
                </a:lnTo>
                <a:close/>
                <a:moveTo>
                  <a:pt x="382864" y="3976294"/>
                </a:moveTo>
                <a:lnTo>
                  <a:pt x="386117" y="3977378"/>
                </a:lnTo>
                <a:lnTo>
                  <a:pt x="386117" y="3977300"/>
                </a:lnTo>
                <a:lnTo>
                  <a:pt x="385110" y="3976294"/>
                </a:lnTo>
                <a:close/>
                <a:moveTo>
                  <a:pt x="440414" y="3962552"/>
                </a:moveTo>
                <a:lnTo>
                  <a:pt x="442426" y="3965568"/>
                </a:lnTo>
                <a:cubicBezTo>
                  <a:pt x="438068" y="3969926"/>
                  <a:pt x="438068" y="3974282"/>
                  <a:pt x="433710" y="3974282"/>
                </a:cubicBezTo>
                <a:lnTo>
                  <a:pt x="431195" y="3974785"/>
                </a:lnTo>
                <a:lnTo>
                  <a:pt x="432889" y="3975193"/>
                </a:lnTo>
                <a:lnTo>
                  <a:pt x="434381" y="3980120"/>
                </a:lnTo>
                <a:lnTo>
                  <a:pt x="434583" y="3980790"/>
                </a:lnTo>
                <a:lnTo>
                  <a:pt x="445106" y="3970637"/>
                </a:lnTo>
                <a:cubicBezTo>
                  <a:pt x="448324" y="3970093"/>
                  <a:pt x="451541" y="3972272"/>
                  <a:pt x="455831" y="3976630"/>
                </a:cubicBezTo>
                <a:lnTo>
                  <a:pt x="455831" y="3977633"/>
                </a:lnTo>
                <a:lnTo>
                  <a:pt x="456500" y="3976630"/>
                </a:lnTo>
                <a:lnTo>
                  <a:pt x="457843" y="3975958"/>
                </a:lnTo>
                <a:lnTo>
                  <a:pt x="455830" y="3975958"/>
                </a:lnTo>
                <a:lnTo>
                  <a:pt x="455830" y="3962552"/>
                </a:lnTo>
                <a:close/>
                <a:moveTo>
                  <a:pt x="503201" y="3930752"/>
                </a:moveTo>
                <a:lnTo>
                  <a:pt x="503086" y="3931100"/>
                </a:lnTo>
                <a:lnTo>
                  <a:pt x="503201" y="3931121"/>
                </a:lnTo>
                <a:close/>
                <a:moveTo>
                  <a:pt x="793507" y="3927259"/>
                </a:moveTo>
                <a:lnTo>
                  <a:pt x="790826" y="3929254"/>
                </a:lnTo>
                <a:lnTo>
                  <a:pt x="793507" y="3930117"/>
                </a:lnTo>
                <a:close/>
                <a:moveTo>
                  <a:pt x="526776" y="3921108"/>
                </a:moveTo>
                <a:lnTo>
                  <a:pt x="525545" y="3927075"/>
                </a:lnTo>
                <a:lnTo>
                  <a:pt x="525673" y="3927075"/>
                </a:lnTo>
                <a:lnTo>
                  <a:pt x="526871" y="3921327"/>
                </a:lnTo>
                <a:close/>
                <a:moveTo>
                  <a:pt x="985924" y="3906244"/>
                </a:moveTo>
                <a:lnTo>
                  <a:pt x="986011" y="3907623"/>
                </a:lnTo>
                <a:lnTo>
                  <a:pt x="986619" y="3906244"/>
                </a:lnTo>
                <a:close/>
                <a:moveTo>
                  <a:pt x="481160" y="3902865"/>
                </a:moveTo>
                <a:lnTo>
                  <a:pt x="478181" y="3906618"/>
                </a:lnTo>
                <a:lnTo>
                  <a:pt x="482108" y="3906243"/>
                </a:lnTo>
                <a:lnTo>
                  <a:pt x="482643" y="3909486"/>
                </a:lnTo>
                <a:lnTo>
                  <a:pt x="482643" y="3906243"/>
                </a:lnTo>
                <a:lnTo>
                  <a:pt x="483207" y="3906243"/>
                </a:lnTo>
                <a:lnTo>
                  <a:pt x="482081" y="3905488"/>
                </a:lnTo>
                <a:close/>
                <a:moveTo>
                  <a:pt x="11373929" y="3902454"/>
                </a:moveTo>
                <a:lnTo>
                  <a:pt x="11371948" y="3906425"/>
                </a:lnTo>
                <a:lnTo>
                  <a:pt x="11371723" y="3906651"/>
                </a:lnTo>
                <a:lnTo>
                  <a:pt x="11371370" y="3907340"/>
                </a:lnTo>
                <a:lnTo>
                  <a:pt x="11372843" y="3906210"/>
                </a:lnTo>
                <a:lnTo>
                  <a:pt x="11381628" y="3906210"/>
                </a:lnTo>
                <a:close/>
                <a:moveTo>
                  <a:pt x="440240" y="3832504"/>
                </a:moveTo>
                <a:lnTo>
                  <a:pt x="435063" y="3833523"/>
                </a:lnTo>
                <a:lnTo>
                  <a:pt x="435019" y="3833611"/>
                </a:lnTo>
                <a:lnTo>
                  <a:pt x="434703" y="3833594"/>
                </a:lnTo>
                <a:lnTo>
                  <a:pt x="433938" y="3833744"/>
                </a:lnTo>
                <a:lnTo>
                  <a:pt x="435379" y="3842226"/>
                </a:lnTo>
                <a:lnTo>
                  <a:pt x="438134" y="3834626"/>
                </a:lnTo>
                <a:lnTo>
                  <a:pt x="438906" y="3833847"/>
                </a:lnTo>
                <a:lnTo>
                  <a:pt x="434899" y="3833847"/>
                </a:lnTo>
                <a:lnTo>
                  <a:pt x="435019" y="3833611"/>
                </a:lnTo>
                <a:lnTo>
                  <a:pt x="438926" y="3833827"/>
                </a:lnTo>
                <a:close/>
                <a:moveTo>
                  <a:pt x="456436" y="3828197"/>
                </a:moveTo>
                <a:lnTo>
                  <a:pt x="456124" y="3828591"/>
                </a:lnTo>
                <a:lnTo>
                  <a:pt x="456326" y="3828653"/>
                </a:lnTo>
                <a:close/>
                <a:moveTo>
                  <a:pt x="10125627" y="3780487"/>
                </a:moveTo>
                <a:lnTo>
                  <a:pt x="10123134" y="3782353"/>
                </a:lnTo>
                <a:lnTo>
                  <a:pt x="10119403" y="3787969"/>
                </a:lnTo>
                <a:lnTo>
                  <a:pt x="10116957" y="3790829"/>
                </a:lnTo>
                <a:lnTo>
                  <a:pt x="10113033" y="3796519"/>
                </a:lnTo>
                <a:lnTo>
                  <a:pt x="10123783" y="3783573"/>
                </a:lnTo>
                <a:close/>
                <a:moveTo>
                  <a:pt x="11512844" y="3681660"/>
                </a:moveTo>
                <a:lnTo>
                  <a:pt x="11511827" y="3687071"/>
                </a:lnTo>
                <a:lnTo>
                  <a:pt x="11511744" y="3687358"/>
                </a:lnTo>
                <a:lnTo>
                  <a:pt x="11512354" y="3686830"/>
                </a:lnTo>
                <a:lnTo>
                  <a:pt x="11517599" y="3685637"/>
                </a:lnTo>
                <a:close/>
                <a:moveTo>
                  <a:pt x="1542351" y="3615646"/>
                </a:moveTo>
                <a:lnTo>
                  <a:pt x="1540213" y="3617608"/>
                </a:lnTo>
                <a:lnTo>
                  <a:pt x="1547286" y="3628312"/>
                </a:lnTo>
                <a:close/>
                <a:moveTo>
                  <a:pt x="580163" y="3587515"/>
                </a:moveTo>
                <a:lnTo>
                  <a:pt x="579521" y="3587652"/>
                </a:lnTo>
                <a:lnTo>
                  <a:pt x="579511" y="3587657"/>
                </a:lnTo>
                <a:lnTo>
                  <a:pt x="579881" y="3587922"/>
                </a:lnTo>
                <a:close/>
                <a:moveTo>
                  <a:pt x="11517607" y="3540488"/>
                </a:moveTo>
                <a:lnTo>
                  <a:pt x="11516536" y="3541549"/>
                </a:lnTo>
                <a:lnTo>
                  <a:pt x="11514915" y="3541549"/>
                </a:lnTo>
                <a:lnTo>
                  <a:pt x="11516220" y="3542279"/>
                </a:lnTo>
                <a:lnTo>
                  <a:pt x="11519619" y="3543975"/>
                </a:lnTo>
                <a:lnTo>
                  <a:pt x="11520394" y="3542375"/>
                </a:lnTo>
                <a:close/>
                <a:moveTo>
                  <a:pt x="262190" y="3540022"/>
                </a:moveTo>
                <a:lnTo>
                  <a:pt x="262190" y="3540718"/>
                </a:lnTo>
                <a:lnTo>
                  <a:pt x="263464" y="3543897"/>
                </a:lnTo>
                <a:lnTo>
                  <a:pt x="263464" y="3541387"/>
                </a:lnTo>
                <a:lnTo>
                  <a:pt x="265298" y="3540435"/>
                </a:lnTo>
                <a:close/>
                <a:moveTo>
                  <a:pt x="11180501" y="3504110"/>
                </a:moveTo>
                <a:lnTo>
                  <a:pt x="11180354" y="3505735"/>
                </a:lnTo>
                <a:lnTo>
                  <a:pt x="11180501" y="3505735"/>
                </a:lnTo>
                <a:close/>
                <a:moveTo>
                  <a:pt x="1421114" y="3442949"/>
                </a:moveTo>
                <a:lnTo>
                  <a:pt x="1413565" y="3450547"/>
                </a:lnTo>
                <a:lnTo>
                  <a:pt x="1415422" y="3449855"/>
                </a:lnTo>
                <a:lnTo>
                  <a:pt x="1421114" y="3446036"/>
                </a:lnTo>
                <a:close/>
                <a:moveTo>
                  <a:pt x="578478" y="3401050"/>
                </a:moveTo>
                <a:lnTo>
                  <a:pt x="574601" y="3403062"/>
                </a:lnTo>
                <a:lnTo>
                  <a:pt x="576912" y="3408673"/>
                </a:lnTo>
                <a:close/>
                <a:moveTo>
                  <a:pt x="1853245" y="3323946"/>
                </a:moveTo>
                <a:lnTo>
                  <a:pt x="1853245" y="3324689"/>
                </a:lnTo>
                <a:lnTo>
                  <a:pt x="1854164" y="3325564"/>
                </a:lnTo>
                <a:close/>
                <a:moveTo>
                  <a:pt x="11447026" y="3251792"/>
                </a:moveTo>
                <a:lnTo>
                  <a:pt x="11446835" y="3251964"/>
                </a:lnTo>
                <a:lnTo>
                  <a:pt x="11445837" y="3251964"/>
                </a:lnTo>
                <a:lnTo>
                  <a:pt x="11447026" y="3254366"/>
                </a:lnTo>
                <a:close/>
                <a:moveTo>
                  <a:pt x="864009" y="3034806"/>
                </a:moveTo>
                <a:lnTo>
                  <a:pt x="868757" y="3043113"/>
                </a:lnTo>
                <a:lnTo>
                  <a:pt x="868757" y="3034806"/>
                </a:lnTo>
                <a:lnTo>
                  <a:pt x="868667" y="3034806"/>
                </a:lnTo>
                <a:close/>
                <a:moveTo>
                  <a:pt x="1246334" y="3013354"/>
                </a:moveTo>
                <a:lnTo>
                  <a:pt x="1247535" y="3019886"/>
                </a:lnTo>
                <a:lnTo>
                  <a:pt x="1252609" y="3013354"/>
                </a:lnTo>
                <a:close/>
                <a:moveTo>
                  <a:pt x="10891872" y="3003900"/>
                </a:moveTo>
                <a:lnTo>
                  <a:pt x="10890350" y="3009152"/>
                </a:lnTo>
                <a:lnTo>
                  <a:pt x="10890698" y="3010563"/>
                </a:lnTo>
                <a:lnTo>
                  <a:pt x="10894679" y="3006582"/>
                </a:lnTo>
                <a:close/>
                <a:moveTo>
                  <a:pt x="11495650" y="2992854"/>
                </a:moveTo>
                <a:lnTo>
                  <a:pt x="11496175" y="2994524"/>
                </a:lnTo>
                <a:lnTo>
                  <a:pt x="11496148" y="2992854"/>
                </a:lnTo>
                <a:close/>
                <a:moveTo>
                  <a:pt x="11709774" y="2987956"/>
                </a:moveTo>
                <a:lnTo>
                  <a:pt x="11709439" y="2989315"/>
                </a:lnTo>
                <a:lnTo>
                  <a:pt x="11709797" y="2989192"/>
                </a:lnTo>
                <a:lnTo>
                  <a:pt x="11709544" y="2989925"/>
                </a:lnTo>
                <a:lnTo>
                  <a:pt x="11710316" y="2988999"/>
                </a:lnTo>
                <a:lnTo>
                  <a:pt x="11711019" y="2988594"/>
                </a:lnTo>
                <a:close/>
                <a:moveTo>
                  <a:pt x="573881" y="2960773"/>
                </a:moveTo>
                <a:lnTo>
                  <a:pt x="570706" y="2961416"/>
                </a:lnTo>
                <a:lnTo>
                  <a:pt x="574027" y="2962502"/>
                </a:lnTo>
                <a:close/>
                <a:moveTo>
                  <a:pt x="11583001" y="2933668"/>
                </a:moveTo>
                <a:lnTo>
                  <a:pt x="11582652" y="2934572"/>
                </a:lnTo>
                <a:lnTo>
                  <a:pt x="11582909" y="2934619"/>
                </a:lnTo>
                <a:lnTo>
                  <a:pt x="11583106" y="2934648"/>
                </a:lnTo>
                <a:close/>
                <a:moveTo>
                  <a:pt x="11442720" y="2920244"/>
                </a:moveTo>
                <a:lnTo>
                  <a:pt x="11440315" y="2939278"/>
                </a:lnTo>
                <a:lnTo>
                  <a:pt x="11446083" y="2940234"/>
                </a:lnTo>
                <a:close/>
                <a:moveTo>
                  <a:pt x="870458" y="2886290"/>
                </a:moveTo>
                <a:lnTo>
                  <a:pt x="867054" y="2889745"/>
                </a:lnTo>
                <a:lnTo>
                  <a:pt x="866831" y="2892407"/>
                </a:lnTo>
                <a:lnTo>
                  <a:pt x="868667" y="2889543"/>
                </a:lnTo>
                <a:close/>
                <a:moveTo>
                  <a:pt x="11269302" y="2880025"/>
                </a:moveTo>
                <a:lnTo>
                  <a:pt x="11276347" y="2896935"/>
                </a:lnTo>
                <a:lnTo>
                  <a:pt x="11276698" y="2896547"/>
                </a:lnTo>
                <a:lnTo>
                  <a:pt x="11280620" y="2888694"/>
                </a:lnTo>
                <a:close/>
                <a:moveTo>
                  <a:pt x="1061814" y="2840452"/>
                </a:moveTo>
                <a:lnTo>
                  <a:pt x="1061366" y="2840903"/>
                </a:lnTo>
                <a:lnTo>
                  <a:pt x="1053748" y="2843932"/>
                </a:lnTo>
                <a:lnTo>
                  <a:pt x="1054578" y="2849420"/>
                </a:lnTo>
                <a:lnTo>
                  <a:pt x="1060474" y="2842450"/>
                </a:lnTo>
                <a:lnTo>
                  <a:pt x="1061814" y="2841696"/>
                </a:lnTo>
                <a:close/>
                <a:moveTo>
                  <a:pt x="551906" y="2766130"/>
                </a:moveTo>
                <a:lnTo>
                  <a:pt x="550689" y="2766241"/>
                </a:lnTo>
                <a:lnTo>
                  <a:pt x="556368" y="2774244"/>
                </a:lnTo>
                <a:lnTo>
                  <a:pt x="556746" y="2772369"/>
                </a:lnTo>
                <a:lnTo>
                  <a:pt x="558510" y="2771952"/>
                </a:lnTo>
                <a:lnTo>
                  <a:pt x="557125" y="2771290"/>
                </a:lnTo>
                <a:close/>
                <a:moveTo>
                  <a:pt x="11160690" y="2747790"/>
                </a:moveTo>
                <a:lnTo>
                  <a:pt x="11160704" y="2747871"/>
                </a:lnTo>
                <a:lnTo>
                  <a:pt x="11161112" y="2747871"/>
                </a:lnTo>
                <a:close/>
                <a:moveTo>
                  <a:pt x="11181864" y="2730942"/>
                </a:moveTo>
                <a:lnTo>
                  <a:pt x="11175991" y="2747871"/>
                </a:lnTo>
                <a:lnTo>
                  <a:pt x="11178403" y="2747871"/>
                </a:lnTo>
                <a:lnTo>
                  <a:pt x="11186056" y="2755470"/>
                </a:lnTo>
                <a:lnTo>
                  <a:pt x="11188002" y="2751011"/>
                </a:lnTo>
                <a:lnTo>
                  <a:pt x="11187666" y="2750551"/>
                </a:lnTo>
                <a:cubicBezTo>
                  <a:pt x="11187666" y="2750551"/>
                  <a:pt x="11178891" y="2746082"/>
                  <a:pt x="11178891" y="2746082"/>
                </a:cubicBezTo>
                <a:close/>
                <a:moveTo>
                  <a:pt x="11156674" y="2688078"/>
                </a:moveTo>
                <a:lnTo>
                  <a:pt x="11118431" y="2723738"/>
                </a:lnTo>
                <a:lnTo>
                  <a:pt x="11156674" y="2723738"/>
                </a:lnTo>
                <a:close/>
                <a:moveTo>
                  <a:pt x="11490245" y="2647785"/>
                </a:moveTo>
                <a:lnTo>
                  <a:pt x="11487753" y="2655575"/>
                </a:lnTo>
                <a:lnTo>
                  <a:pt x="11490707" y="2656692"/>
                </a:lnTo>
                <a:lnTo>
                  <a:pt x="11490442" y="2650924"/>
                </a:lnTo>
                <a:lnTo>
                  <a:pt x="11492197" y="2650181"/>
                </a:lnTo>
                <a:lnTo>
                  <a:pt x="11490408" y="2650181"/>
                </a:lnTo>
                <a:lnTo>
                  <a:pt x="11490442" y="2650924"/>
                </a:lnTo>
                <a:lnTo>
                  <a:pt x="11490245" y="2651006"/>
                </a:lnTo>
                <a:lnTo>
                  <a:pt x="11490245" y="2650181"/>
                </a:lnTo>
                <a:lnTo>
                  <a:pt x="11489929" y="2650181"/>
                </a:lnTo>
                <a:lnTo>
                  <a:pt x="11490245" y="2648571"/>
                </a:lnTo>
                <a:close/>
                <a:moveTo>
                  <a:pt x="11490643" y="2646537"/>
                </a:moveTo>
                <a:lnTo>
                  <a:pt x="11490290" y="2647642"/>
                </a:lnTo>
                <a:lnTo>
                  <a:pt x="11490316" y="2648206"/>
                </a:lnTo>
                <a:close/>
                <a:moveTo>
                  <a:pt x="11584464" y="2577751"/>
                </a:moveTo>
                <a:lnTo>
                  <a:pt x="11587070" y="2579376"/>
                </a:lnTo>
                <a:lnTo>
                  <a:pt x="11587192" y="2577929"/>
                </a:lnTo>
                <a:close/>
                <a:moveTo>
                  <a:pt x="11688314" y="2574444"/>
                </a:moveTo>
                <a:lnTo>
                  <a:pt x="11687860" y="2575370"/>
                </a:lnTo>
                <a:lnTo>
                  <a:pt x="11687711" y="2576280"/>
                </a:lnTo>
                <a:lnTo>
                  <a:pt x="11688990" y="2576358"/>
                </a:lnTo>
                <a:close/>
                <a:moveTo>
                  <a:pt x="386116" y="2524136"/>
                </a:moveTo>
                <a:lnTo>
                  <a:pt x="382694" y="2526987"/>
                </a:lnTo>
                <a:lnTo>
                  <a:pt x="386116" y="2528416"/>
                </a:lnTo>
                <a:close/>
                <a:moveTo>
                  <a:pt x="387785" y="2517486"/>
                </a:moveTo>
                <a:lnTo>
                  <a:pt x="387089" y="2518231"/>
                </a:lnTo>
                <a:lnTo>
                  <a:pt x="386275" y="2519588"/>
                </a:lnTo>
                <a:lnTo>
                  <a:pt x="386275" y="2522114"/>
                </a:lnTo>
                <a:close/>
                <a:moveTo>
                  <a:pt x="413857" y="2473303"/>
                </a:moveTo>
                <a:lnTo>
                  <a:pt x="412894" y="2473496"/>
                </a:lnTo>
                <a:lnTo>
                  <a:pt x="412698" y="2474279"/>
                </a:lnTo>
                <a:close/>
                <a:moveTo>
                  <a:pt x="382865" y="2471344"/>
                </a:moveTo>
                <a:lnTo>
                  <a:pt x="386118" y="2472428"/>
                </a:lnTo>
                <a:lnTo>
                  <a:pt x="386118" y="2472350"/>
                </a:lnTo>
                <a:lnTo>
                  <a:pt x="385111" y="2471344"/>
                </a:lnTo>
                <a:close/>
                <a:moveTo>
                  <a:pt x="440415" y="2457602"/>
                </a:moveTo>
                <a:lnTo>
                  <a:pt x="442427" y="2460618"/>
                </a:lnTo>
                <a:cubicBezTo>
                  <a:pt x="438069" y="2464976"/>
                  <a:pt x="438069" y="2469332"/>
                  <a:pt x="433711" y="2469332"/>
                </a:cubicBezTo>
                <a:lnTo>
                  <a:pt x="431196" y="2469835"/>
                </a:lnTo>
                <a:lnTo>
                  <a:pt x="432890" y="2470243"/>
                </a:lnTo>
                <a:lnTo>
                  <a:pt x="434382" y="2475170"/>
                </a:lnTo>
                <a:lnTo>
                  <a:pt x="434584" y="2475840"/>
                </a:lnTo>
                <a:lnTo>
                  <a:pt x="445107" y="2465687"/>
                </a:lnTo>
                <a:cubicBezTo>
                  <a:pt x="448325" y="2465143"/>
                  <a:pt x="451542" y="2467322"/>
                  <a:pt x="455832" y="2471680"/>
                </a:cubicBezTo>
                <a:lnTo>
                  <a:pt x="455832" y="2472683"/>
                </a:lnTo>
                <a:lnTo>
                  <a:pt x="456501" y="2471680"/>
                </a:lnTo>
                <a:lnTo>
                  <a:pt x="457844" y="2471008"/>
                </a:lnTo>
                <a:lnTo>
                  <a:pt x="455831" y="2471008"/>
                </a:lnTo>
                <a:lnTo>
                  <a:pt x="455831" y="2457602"/>
                </a:lnTo>
                <a:close/>
                <a:moveTo>
                  <a:pt x="11061478" y="2448265"/>
                </a:moveTo>
                <a:lnTo>
                  <a:pt x="11061064" y="2451197"/>
                </a:lnTo>
                <a:lnTo>
                  <a:pt x="11062253" y="2449557"/>
                </a:lnTo>
                <a:lnTo>
                  <a:pt x="11065388" y="2449815"/>
                </a:lnTo>
                <a:lnTo>
                  <a:pt x="11061986" y="2448265"/>
                </a:lnTo>
                <a:close/>
                <a:moveTo>
                  <a:pt x="503202" y="2425802"/>
                </a:moveTo>
                <a:lnTo>
                  <a:pt x="503087" y="2426150"/>
                </a:lnTo>
                <a:lnTo>
                  <a:pt x="503202" y="2426171"/>
                </a:lnTo>
                <a:close/>
                <a:moveTo>
                  <a:pt x="526777" y="2416158"/>
                </a:moveTo>
                <a:lnTo>
                  <a:pt x="525546" y="2422125"/>
                </a:lnTo>
                <a:lnTo>
                  <a:pt x="525674" y="2422125"/>
                </a:lnTo>
                <a:lnTo>
                  <a:pt x="526872" y="2416377"/>
                </a:lnTo>
                <a:close/>
                <a:moveTo>
                  <a:pt x="481161" y="2397915"/>
                </a:moveTo>
                <a:lnTo>
                  <a:pt x="478182" y="2401668"/>
                </a:lnTo>
                <a:lnTo>
                  <a:pt x="482109" y="2401293"/>
                </a:lnTo>
                <a:lnTo>
                  <a:pt x="482644" y="2404536"/>
                </a:lnTo>
                <a:lnTo>
                  <a:pt x="482644" y="2401293"/>
                </a:lnTo>
                <a:lnTo>
                  <a:pt x="483208" y="2401293"/>
                </a:lnTo>
                <a:lnTo>
                  <a:pt x="482082" y="2400538"/>
                </a:lnTo>
                <a:close/>
                <a:moveTo>
                  <a:pt x="10847305" y="2333498"/>
                </a:moveTo>
                <a:lnTo>
                  <a:pt x="10847308" y="2333562"/>
                </a:lnTo>
                <a:lnTo>
                  <a:pt x="10847382" y="2333535"/>
                </a:lnTo>
                <a:close/>
                <a:moveTo>
                  <a:pt x="11065417" y="2328394"/>
                </a:moveTo>
                <a:lnTo>
                  <a:pt x="11064864" y="2331872"/>
                </a:lnTo>
                <a:lnTo>
                  <a:pt x="11065940" y="2330377"/>
                </a:lnTo>
                <a:lnTo>
                  <a:pt x="11066707" y="2328620"/>
                </a:lnTo>
                <a:lnTo>
                  <a:pt x="11066428" y="2328895"/>
                </a:lnTo>
                <a:close/>
                <a:moveTo>
                  <a:pt x="440241" y="2327554"/>
                </a:moveTo>
                <a:lnTo>
                  <a:pt x="435064" y="2328573"/>
                </a:lnTo>
                <a:lnTo>
                  <a:pt x="435020" y="2328661"/>
                </a:lnTo>
                <a:lnTo>
                  <a:pt x="434704" y="2328644"/>
                </a:lnTo>
                <a:lnTo>
                  <a:pt x="433939" y="2328794"/>
                </a:lnTo>
                <a:lnTo>
                  <a:pt x="435380" y="2337276"/>
                </a:lnTo>
                <a:lnTo>
                  <a:pt x="438135" y="2329676"/>
                </a:lnTo>
                <a:lnTo>
                  <a:pt x="438907" y="2328897"/>
                </a:lnTo>
                <a:lnTo>
                  <a:pt x="434900" y="2328897"/>
                </a:lnTo>
                <a:lnTo>
                  <a:pt x="435020" y="2328661"/>
                </a:lnTo>
                <a:lnTo>
                  <a:pt x="438927" y="2328877"/>
                </a:lnTo>
                <a:close/>
                <a:moveTo>
                  <a:pt x="456437" y="2323247"/>
                </a:moveTo>
                <a:lnTo>
                  <a:pt x="456125" y="2323641"/>
                </a:lnTo>
                <a:lnTo>
                  <a:pt x="456327" y="2323703"/>
                </a:lnTo>
                <a:close/>
                <a:moveTo>
                  <a:pt x="11516742" y="2226347"/>
                </a:moveTo>
                <a:lnTo>
                  <a:pt x="11516742" y="2228013"/>
                </a:lnTo>
                <a:lnTo>
                  <a:pt x="11515329" y="2228790"/>
                </a:lnTo>
                <a:lnTo>
                  <a:pt x="11516788" y="2230166"/>
                </a:lnTo>
                <a:lnTo>
                  <a:pt x="11517075" y="2228883"/>
                </a:lnTo>
                <a:close/>
                <a:moveTo>
                  <a:pt x="10439906" y="2219132"/>
                </a:moveTo>
                <a:lnTo>
                  <a:pt x="10439166" y="2220044"/>
                </a:lnTo>
                <a:lnTo>
                  <a:pt x="10432795" y="2232826"/>
                </a:lnTo>
                <a:lnTo>
                  <a:pt x="10433479" y="2232369"/>
                </a:lnTo>
                <a:lnTo>
                  <a:pt x="10432812" y="2234402"/>
                </a:lnTo>
                <a:lnTo>
                  <a:pt x="10436193" y="2229881"/>
                </a:lnTo>
                <a:lnTo>
                  <a:pt x="10433479" y="2232369"/>
                </a:lnTo>
                <a:close/>
                <a:moveTo>
                  <a:pt x="11374235" y="2151423"/>
                </a:moveTo>
                <a:lnTo>
                  <a:pt x="11372843" y="2152920"/>
                </a:lnTo>
                <a:lnTo>
                  <a:pt x="11371681" y="2153148"/>
                </a:lnTo>
                <a:lnTo>
                  <a:pt x="11373775" y="2153884"/>
                </a:lnTo>
                <a:close/>
                <a:moveTo>
                  <a:pt x="580164" y="2082565"/>
                </a:moveTo>
                <a:lnTo>
                  <a:pt x="579522" y="2082702"/>
                </a:lnTo>
                <a:lnTo>
                  <a:pt x="579512" y="2082707"/>
                </a:lnTo>
                <a:lnTo>
                  <a:pt x="579882" y="2082972"/>
                </a:lnTo>
                <a:close/>
                <a:moveTo>
                  <a:pt x="11373929" y="2035554"/>
                </a:moveTo>
                <a:lnTo>
                  <a:pt x="11371948" y="2039525"/>
                </a:lnTo>
                <a:lnTo>
                  <a:pt x="11371723" y="2039751"/>
                </a:lnTo>
                <a:lnTo>
                  <a:pt x="11371370" y="2040440"/>
                </a:lnTo>
                <a:lnTo>
                  <a:pt x="11372843" y="2039310"/>
                </a:lnTo>
                <a:lnTo>
                  <a:pt x="11381628" y="2039310"/>
                </a:lnTo>
                <a:close/>
                <a:moveTo>
                  <a:pt x="262191" y="2035072"/>
                </a:moveTo>
                <a:lnTo>
                  <a:pt x="262191" y="2035768"/>
                </a:lnTo>
                <a:lnTo>
                  <a:pt x="263465" y="2038947"/>
                </a:lnTo>
                <a:lnTo>
                  <a:pt x="263465" y="2036437"/>
                </a:lnTo>
                <a:lnTo>
                  <a:pt x="265299" y="2035485"/>
                </a:lnTo>
                <a:close/>
                <a:moveTo>
                  <a:pt x="9832971" y="2034969"/>
                </a:moveTo>
                <a:lnTo>
                  <a:pt x="9825829" y="2041695"/>
                </a:lnTo>
                <a:lnTo>
                  <a:pt x="9831333" y="2039542"/>
                </a:lnTo>
                <a:close/>
                <a:moveTo>
                  <a:pt x="10125627" y="1913587"/>
                </a:moveTo>
                <a:lnTo>
                  <a:pt x="10123134" y="1915454"/>
                </a:lnTo>
                <a:lnTo>
                  <a:pt x="10119403" y="1921070"/>
                </a:lnTo>
                <a:lnTo>
                  <a:pt x="10116957" y="1923930"/>
                </a:lnTo>
                <a:lnTo>
                  <a:pt x="10113033" y="1929619"/>
                </a:lnTo>
                <a:lnTo>
                  <a:pt x="10123783" y="1916673"/>
                </a:lnTo>
                <a:close/>
                <a:moveTo>
                  <a:pt x="578479" y="1896101"/>
                </a:moveTo>
                <a:lnTo>
                  <a:pt x="574602" y="1898112"/>
                </a:lnTo>
                <a:lnTo>
                  <a:pt x="576913" y="1903723"/>
                </a:lnTo>
                <a:close/>
                <a:moveTo>
                  <a:pt x="1853246" y="1818997"/>
                </a:moveTo>
                <a:lnTo>
                  <a:pt x="1853246" y="1819739"/>
                </a:lnTo>
                <a:lnTo>
                  <a:pt x="1854165" y="1820615"/>
                </a:lnTo>
                <a:close/>
                <a:moveTo>
                  <a:pt x="11512844" y="1814760"/>
                </a:moveTo>
                <a:lnTo>
                  <a:pt x="11511827" y="1820172"/>
                </a:lnTo>
                <a:lnTo>
                  <a:pt x="11511744" y="1820458"/>
                </a:lnTo>
                <a:lnTo>
                  <a:pt x="11512354" y="1819930"/>
                </a:lnTo>
                <a:lnTo>
                  <a:pt x="11517599" y="1818738"/>
                </a:lnTo>
                <a:close/>
                <a:moveTo>
                  <a:pt x="11517607" y="1673589"/>
                </a:moveTo>
                <a:lnTo>
                  <a:pt x="11516536" y="1674649"/>
                </a:lnTo>
                <a:lnTo>
                  <a:pt x="11514915" y="1674649"/>
                </a:lnTo>
                <a:lnTo>
                  <a:pt x="11516220" y="1675379"/>
                </a:lnTo>
                <a:lnTo>
                  <a:pt x="11519619" y="1677075"/>
                </a:lnTo>
                <a:lnTo>
                  <a:pt x="11520394" y="1675475"/>
                </a:lnTo>
                <a:close/>
                <a:moveTo>
                  <a:pt x="11180501" y="1637210"/>
                </a:moveTo>
                <a:lnTo>
                  <a:pt x="11180354" y="1638835"/>
                </a:lnTo>
                <a:lnTo>
                  <a:pt x="11180501" y="1638835"/>
                </a:lnTo>
                <a:close/>
                <a:moveTo>
                  <a:pt x="864010" y="1529856"/>
                </a:moveTo>
                <a:lnTo>
                  <a:pt x="868758" y="1538164"/>
                </a:lnTo>
                <a:lnTo>
                  <a:pt x="868758" y="1529856"/>
                </a:lnTo>
                <a:lnTo>
                  <a:pt x="868668" y="1529856"/>
                </a:lnTo>
                <a:close/>
                <a:moveTo>
                  <a:pt x="1246335" y="1508405"/>
                </a:moveTo>
                <a:lnTo>
                  <a:pt x="1247536" y="1514937"/>
                </a:lnTo>
                <a:lnTo>
                  <a:pt x="1252610" y="1508405"/>
                </a:lnTo>
                <a:close/>
                <a:moveTo>
                  <a:pt x="573882" y="1455824"/>
                </a:moveTo>
                <a:lnTo>
                  <a:pt x="570707" y="1456466"/>
                </a:lnTo>
                <a:lnTo>
                  <a:pt x="574028" y="1457552"/>
                </a:lnTo>
                <a:close/>
                <a:moveTo>
                  <a:pt x="11447026" y="1384892"/>
                </a:moveTo>
                <a:lnTo>
                  <a:pt x="11446835" y="1385064"/>
                </a:lnTo>
                <a:lnTo>
                  <a:pt x="11445837" y="1385064"/>
                </a:lnTo>
                <a:lnTo>
                  <a:pt x="11447026" y="1387466"/>
                </a:lnTo>
                <a:close/>
                <a:moveTo>
                  <a:pt x="870459" y="1381340"/>
                </a:moveTo>
                <a:lnTo>
                  <a:pt x="867055" y="1384795"/>
                </a:lnTo>
                <a:lnTo>
                  <a:pt x="866832" y="1387458"/>
                </a:lnTo>
                <a:lnTo>
                  <a:pt x="868668" y="1384593"/>
                </a:lnTo>
                <a:close/>
                <a:moveTo>
                  <a:pt x="1061815" y="1335502"/>
                </a:moveTo>
                <a:lnTo>
                  <a:pt x="1061367" y="1335953"/>
                </a:lnTo>
                <a:lnTo>
                  <a:pt x="1053749" y="1338982"/>
                </a:lnTo>
                <a:lnTo>
                  <a:pt x="1054579" y="1344470"/>
                </a:lnTo>
                <a:lnTo>
                  <a:pt x="1060475" y="1337499"/>
                </a:lnTo>
                <a:lnTo>
                  <a:pt x="1061815" y="1336746"/>
                </a:lnTo>
                <a:close/>
                <a:moveTo>
                  <a:pt x="1063580" y="1264945"/>
                </a:moveTo>
                <a:lnTo>
                  <a:pt x="1062022" y="1265738"/>
                </a:lnTo>
                <a:lnTo>
                  <a:pt x="1062147" y="1266681"/>
                </a:lnTo>
                <a:close/>
                <a:moveTo>
                  <a:pt x="551907" y="1261181"/>
                </a:moveTo>
                <a:lnTo>
                  <a:pt x="550690" y="1261291"/>
                </a:lnTo>
                <a:lnTo>
                  <a:pt x="556369" y="1269294"/>
                </a:lnTo>
                <a:lnTo>
                  <a:pt x="556747" y="1267419"/>
                </a:lnTo>
                <a:lnTo>
                  <a:pt x="558511" y="1267002"/>
                </a:lnTo>
                <a:lnTo>
                  <a:pt x="557126" y="1266340"/>
                </a:lnTo>
                <a:close/>
                <a:moveTo>
                  <a:pt x="1777972" y="1221028"/>
                </a:moveTo>
                <a:lnTo>
                  <a:pt x="1777172" y="1221864"/>
                </a:lnTo>
                <a:lnTo>
                  <a:pt x="1778049" y="1221150"/>
                </a:lnTo>
                <a:close/>
                <a:moveTo>
                  <a:pt x="10891872" y="1137000"/>
                </a:moveTo>
                <a:lnTo>
                  <a:pt x="10890350" y="1142251"/>
                </a:lnTo>
                <a:lnTo>
                  <a:pt x="10890698" y="1143663"/>
                </a:lnTo>
                <a:lnTo>
                  <a:pt x="10894679" y="1139682"/>
                </a:lnTo>
                <a:close/>
                <a:moveTo>
                  <a:pt x="11495650" y="1125954"/>
                </a:moveTo>
                <a:lnTo>
                  <a:pt x="11496175" y="1127624"/>
                </a:lnTo>
                <a:lnTo>
                  <a:pt x="11496148" y="1125954"/>
                </a:lnTo>
                <a:close/>
                <a:moveTo>
                  <a:pt x="11709774" y="1121056"/>
                </a:moveTo>
                <a:lnTo>
                  <a:pt x="11709439" y="1122415"/>
                </a:lnTo>
                <a:lnTo>
                  <a:pt x="11709797" y="1122292"/>
                </a:lnTo>
                <a:lnTo>
                  <a:pt x="11709544" y="1123025"/>
                </a:lnTo>
                <a:lnTo>
                  <a:pt x="11710316" y="1122099"/>
                </a:lnTo>
                <a:lnTo>
                  <a:pt x="11711019" y="1121694"/>
                </a:lnTo>
                <a:close/>
                <a:moveTo>
                  <a:pt x="1536207" y="1096166"/>
                </a:moveTo>
                <a:lnTo>
                  <a:pt x="1536033" y="1096267"/>
                </a:lnTo>
                <a:lnTo>
                  <a:pt x="1536295" y="1096256"/>
                </a:lnTo>
                <a:close/>
                <a:moveTo>
                  <a:pt x="797530" y="1072923"/>
                </a:moveTo>
                <a:lnTo>
                  <a:pt x="797800" y="1073508"/>
                </a:lnTo>
                <a:lnTo>
                  <a:pt x="797937" y="1073335"/>
                </a:lnTo>
                <a:close/>
                <a:moveTo>
                  <a:pt x="11583001" y="1066768"/>
                </a:moveTo>
                <a:lnTo>
                  <a:pt x="11582652" y="1067672"/>
                </a:lnTo>
                <a:lnTo>
                  <a:pt x="11582909" y="1067719"/>
                </a:lnTo>
                <a:lnTo>
                  <a:pt x="11583106" y="1067748"/>
                </a:lnTo>
                <a:close/>
                <a:moveTo>
                  <a:pt x="11442720" y="1053344"/>
                </a:moveTo>
                <a:lnTo>
                  <a:pt x="11440315" y="1072378"/>
                </a:lnTo>
                <a:lnTo>
                  <a:pt x="11446083" y="1073334"/>
                </a:lnTo>
                <a:close/>
                <a:moveTo>
                  <a:pt x="888947" y="1024783"/>
                </a:moveTo>
                <a:lnTo>
                  <a:pt x="889254" y="1025236"/>
                </a:lnTo>
                <a:lnTo>
                  <a:pt x="889471" y="1024882"/>
                </a:lnTo>
                <a:close/>
                <a:moveTo>
                  <a:pt x="11269302" y="1013125"/>
                </a:moveTo>
                <a:lnTo>
                  <a:pt x="11276347" y="1030035"/>
                </a:lnTo>
                <a:lnTo>
                  <a:pt x="11276698" y="1029647"/>
                </a:lnTo>
                <a:lnTo>
                  <a:pt x="11280620" y="1021794"/>
                </a:lnTo>
                <a:close/>
                <a:moveTo>
                  <a:pt x="1517452" y="998261"/>
                </a:moveTo>
                <a:lnTo>
                  <a:pt x="1517140" y="998950"/>
                </a:lnTo>
                <a:lnTo>
                  <a:pt x="1515907" y="1000391"/>
                </a:lnTo>
                <a:lnTo>
                  <a:pt x="1516045" y="1000898"/>
                </a:lnTo>
                <a:lnTo>
                  <a:pt x="1517432" y="998831"/>
                </a:lnTo>
                <a:close/>
                <a:moveTo>
                  <a:pt x="11160690" y="880890"/>
                </a:moveTo>
                <a:lnTo>
                  <a:pt x="11160704" y="880971"/>
                </a:lnTo>
                <a:lnTo>
                  <a:pt x="11161112" y="880971"/>
                </a:lnTo>
                <a:close/>
                <a:moveTo>
                  <a:pt x="11181864" y="864042"/>
                </a:moveTo>
                <a:lnTo>
                  <a:pt x="11175991" y="880971"/>
                </a:lnTo>
                <a:lnTo>
                  <a:pt x="11178403" y="880971"/>
                </a:lnTo>
                <a:lnTo>
                  <a:pt x="11186056" y="888570"/>
                </a:lnTo>
                <a:lnTo>
                  <a:pt x="11188002" y="884111"/>
                </a:lnTo>
                <a:lnTo>
                  <a:pt x="11187666" y="883651"/>
                </a:lnTo>
                <a:cubicBezTo>
                  <a:pt x="11187666" y="883651"/>
                  <a:pt x="11178891" y="879182"/>
                  <a:pt x="11178891" y="879182"/>
                </a:cubicBezTo>
                <a:close/>
                <a:moveTo>
                  <a:pt x="892855" y="836588"/>
                </a:moveTo>
                <a:lnTo>
                  <a:pt x="892891" y="836808"/>
                </a:lnTo>
                <a:lnTo>
                  <a:pt x="892556" y="838510"/>
                </a:lnTo>
                <a:lnTo>
                  <a:pt x="893403" y="837032"/>
                </a:lnTo>
                <a:close/>
                <a:moveTo>
                  <a:pt x="11490245" y="780885"/>
                </a:moveTo>
                <a:lnTo>
                  <a:pt x="11487753" y="788675"/>
                </a:lnTo>
                <a:lnTo>
                  <a:pt x="11490707" y="789792"/>
                </a:lnTo>
                <a:lnTo>
                  <a:pt x="11490442" y="784024"/>
                </a:lnTo>
                <a:lnTo>
                  <a:pt x="11492197" y="783281"/>
                </a:lnTo>
                <a:lnTo>
                  <a:pt x="11490408" y="783281"/>
                </a:lnTo>
                <a:lnTo>
                  <a:pt x="11490442" y="784024"/>
                </a:lnTo>
                <a:lnTo>
                  <a:pt x="11490245" y="784106"/>
                </a:lnTo>
                <a:lnTo>
                  <a:pt x="11490245" y="783281"/>
                </a:lnTo>
                <a:lnTo>
                  <a:pt x="11489929" y="783281"/>
                </a:lnTo>
                <a:lnTo>
                  <a:pt x="11490245" y="781671"/>
                </a:lnTo>
                <a:close/>
                <a:moveTo>
                  <a:pt x="11490643" y="779637"/>
                </a:moveTo>
                <a:lnTo>
                  <a:pt x="11490290" y="780742"/>
                </a:lnTo>
                <a:lnTo>
                  <a:pt x="11490316" y="781306"/>
                </a:lnTo>
                <a:close/>
                <a:moveTo>
                  <a:pt x="1013290" y="754503"/>
                </a:moveTo>
                <a:lnTo>
                  <a:pt x="1013015" y="756325"/>
                </a:lnTo>
                <a:lnTo>
                  <a:pt x="1012968" y="756530"/>
                </a:lnTo>
                <a:lnTo>
                  <a:pt x="1014172" y="755568"/>
                </a:lnTo>
                <a:close/>
                <a:moveTo>
                  <a:pt x="11584464" y="710851"/>
                </a:moveTo>
                <a:lnTo>
                  <a:pt x="11587070" y="712476"/>
                </a:lnTo>
                <a:lnTo>
                  <a:pt x="11587192" y="711029"/>
                </a:lnTo>
                <a:close/>
                <a:moveTo>
                  <a:pt x="11688314" y="707544"/>
                </a:moveTo>
                <a:lnTo>
                  <a:pt x="11687860" y="708470"/>
                </a:lnTo>
                <a:lnTo>
                  <a:pt x="11687711" y="709380"/>
                </a:lnTo>
                <a:lnTo>
                  <a:pt x="11688990" y="709458"/>
                </a:lnTo>
                <a:close/>
                <a:moveTo>
                  <a:pt x="1999412" y="692378"/>
                </a:moveTo>
                <a:lnTo>
                  <a:pt x="1999626" y="694089"/>
                </a:lnTo>
                <a:lnTo>
                  <a:pt x="2002074" y="692912"/>
                </a:lnTo>
                <a:close/>
                <a:moveTo>
                  <a:pt x="1448682" y="615753"/>
                </a:moveTo>
                <a:lnTo>
                  <a:pt x="1448874" y="616166"/>
                </a:lnTo>
                <a:lnTo>
                  <a:pt x="1449428" y="616166"/>
                </a:lnTo>
                <a:close/>
                <a:moveTo>
                  <a:pt x="1494262" y="615652"/>
                </a:moveTo>
                <a:lnTo>
                  <a:pt x="1496444" y="616861"/>
                </a:lnTo>
                <a:lnTo>
                  <a:pt x="1497935" y="616718"/>
                </a:lnTo>
                <a:lnTo>
                  <a:pt x="1495763" y="615652"/>
                </a:lnTo>
                <a:close/>
                <a:moveTo>
                  <a:pt x="2192448" y="541683"/>
                </a:moveTo>
                <a:lnTo>
                  <a:pt x="2192448" y="544863"/>
                </a:lnTo>
                <a:lnTo>
                  <a:pt x="2192535" y="545235"/>
                </a:lnTo>
                <a:lnTo>
                  <a:pt x="2195083" y="544316"/>
                </a:lnTo>
                <a:close/>
                <a:moveTo>
                  <a:pt x="5932207" y="526076"/>
                </a:moveTo>
                <a:lnTo>
                  <a:pt x="5931838" y="526420"/>
                </a:lnTo>
                <a:lnTo>
                  <a:pt x="5931838" y="540439"/>
                </a:lnTo>
                <a:lnTo>
                  <a:pt x="5932207" y="540439"/>
                </a:lnTo>
                <a:close/>
                <a:moveTo>
                  <a:pt x="9745508" y="522164"/>
                </a:moveTo>
                <a:lnTo>
                  <a:pt x="9741647" y="522814"/>
                </a:lnTo>
                <a:lnTo>
                  <a:pt x="9741691" y="523113"/>
                </a:lnTo>
                <a:lnTo>
                  <a:pt x="9741685" y="523117"/>
                </a:lnTo>
                <a:close/>
                <a:moveTo>
                  <a:pt x="9304253" y="520125"/>
                </a:moveTo>
                <a:lnTo>
                  <a:pt x="9301000" y="522351"/>
                </a:lnTo>
                <a:lnTo>
                  <a:pt x="9307186" y="523400"/>
                </a:lnTo>
                <a:lnTo>
                  <a:pt x="9308163" y="524394"/>
                </a:lnTo>
                <a:lnTo>
                  <a:pt x="9308080" y="523981"/>
                </a:lnTo>
                <a:close/>
                <a:moveTo>
                  <a:pt x="9544722" y="496953"/>
                </a:moveTo>
                <a:lnTo>
                  <a:pt x="9545149" y="497952"/>
                </a:lnTo>
                <a:lnTo>
                  <a:pt x="9545143" y="498056"/>
                </a:lnTo>
                <a:lnTo>
                  <a:pt x="9545357" y="497697"/>
                </a:lnTo>
                <a:lnTo>
                  <a:pt x="9545906" y="496975"/>
                </a:lnTo>
                <a:close/>
                <a:moveTo>
                  <a:pt x="1951575" y="469023"/>
                </a:moveTo>
                <a:lnTo>
                  <a:pt x="1945498" y="472065"/>
                </a:lnTo>
                <a:lnTo>
                  <a:pt x="1951425" y="472065"/>
                </a:lnTo>
                <a:lnTo>
                  <a:pt x="1951575" y="470312"/>
                </a:lnTo>
                <a:close/>
                <a:moveTo>
                  <a:pt x="1639882" y="464002"/>
                </a:moveTo>
                <a:lnTo>
                  <a:pt x="1634702" y="470839"/>
                </a:lnTo>
                <a:lnTo>
                  <a:pt x="1632009" y="478899"/>
                </a:lnTo>
                <a:lnTo>
                  <a:pt x="1638304" y="476087"/>
                </a:lnTo>
                <a:lnTo>
                  <a:pt x="1638304" y="478842"/>
                </a:lnTo>
                <a:lnTo>
                  <a:pt x="1639684" y="476310"/>
                </a:lnTo>
                <a:lnTo>
                  <a:pt x="1638762" y="475776"/>
                </a:lnTo>
                <a:lnTo>
                  <a:pt x="1638977" y="473513"/>
                </a:lnTo>
                <a:lnTo>
                  <a:pt x="1636046" y="470583"/>
                </a:lnTo>
                <a:lnTo>
                  <a:pt x="1639194" y="471233"/>
                </a:lnTo>
                <a:close/>
                <a:moveTo>
                  <a:pt x="8906130" y="451199"/>
                </a:moveTo>
                <a:lnTo>
                  <a:pt x="8899536" y="457671"/>
                </a:lnTo>
                <a:lnTo>
                  <a:pt x="8899495" y="458582"/>
                </a:lnTo>
                <a:lnTo>
                  <a:pt x="8903223" y="454339"/>
                </a:lnTo>
                <a:lnTo>
                  <a:pt x="8906657" y="451299"/>
                </a:lnTo>
                <a:close/>
                <a:moveTo>
                  <a:pt x="2501951" y="422681"/>
                </a:moveTo>
                <a:lnTo>
                  <a:pt x="2501804" y="423823"/>
                </a:lnTo>
                <a:lnTo>
                  <a:pt x="2502241" y="423382"/>
                </a:lnTo>
                <a:close/>
                <a:moveTo>
                  <a:pt x="2769832" y="421860"/>
                </a:moveTo>
                <a:lnTo>
                  <a:pt x="2769832" y="422078"/>
                </a:lnTo>
                <a:lnTo>
                  <a:pt x="2769457" y="422703"/>
                </a:lnTo>
                <a:lnTo>
                  <a:pt x="2769474" y="422698"/>
                </a:lnTo>
                <a:lnTo>
                  <a:pt x="2770453" y="422217"/>
                </a:lnTo>
                <a:close/>
                <a:moveTo>
                  <a:pt x="7208837" y="419290"/>
                </a:moveTo>
                <a:lnTo>
                  <a:pt x="7208019" y="419530"/>
                </a:lnTo>
                <a:lnTo>
                  <a:pt x="7211299" y="426193"/>
                </a:lnTo>
                <a:lnTo>
                  <a:pt x="7212024" y="422507"/>
                </a:lnTo>
                <a:close/>
                <a:moveTo>
                  <a:pt x="4260661" y="396172"/>
                </a:moveTo>
                <a:lnTo>
                  <a:pt x="4260661" y="404681"/>
                </a:lnTo>
                <a:lnTo>
                  <a:pt x="4272748" y="396973"/>
                </a:lnTo>
                <a:close/>
                <a:moveTo>
                  <a:pt x="2674514" y="391911"/>
                </a:moveTo>
                <a:lnTo>
                  <a:pt x="2673303" y="392733"/>
                </a:lnTo>
                <a:lnTo>
                  <a:pt x="2673303" y="398059"/>
                </a:lnTo>
                <a:lnTo>
                  <a:pt x="2674514" y="396942"/>
                </a:lnTo>
                <a:close/>
                <a:moveTo>
                  <a:pt x="6315958" y="375089"/>
                </a:moveTo>
                <a:lnTo>
                  <a:pt x="6315735" y="376471"/>
                </a:lnTo>
                <a:lnTo>
                  <a:pt x="6317034" y="375089"/>
                </a:lnTo>
                <a:close/>
                <a:moveTo>
                  <a:pt x="4311805" y="369570"/>
                </a:moveTo>
                <a:lnTo>
                  <a:pt x="4309189" y="373899"/>
                </a:lnTo>
                <a:lnTo>
                  <a:pt x="4308944" y="374196"/>
                </a:lnTo>
                <a:lnTo>
                  <a:pt x="4312742" y="374196"/>
                </a:lnTo>
                <a:close/>
                <a:moveTo>
                  <a:pt x="3007558" y="351560"/>
                </a:moveTo>
                <a:lnTo>
                  <a:pt x="3007104" y="352899"/>
                </a:lnTo>
                <a:lnTo>
                  <a:pt x="3009722" y="353558"/>
                </a:lnTo>
                <a:close/>
                <a:moveTo>
                  <a:pt x="5305835" y="351560"/>
                </a:moveTo>
                <a:lnTo>
                  <a:pt x="5305381" y="352899"/>
                </a:lnTo>
                <a:lnTo>
                  <a:pt x="5307999" y="353558"/>
                </a:lnTo>
                <a:close/>
                <a:moveTo>
                  <a:pt x="5752296" y="350600"/>
                </a:moveTo>
                <a:lnTo>
                  <a:pt x="5722911" y="355834"/>
                </a:lnTo>
                <a:lnTo>
                  <a:pt x="5692272" y="368872"/>
                </a:lnTo>
                <a:lnTo>
                  <a:pt x="5692255" y="368906"/>
                </a:lnTo>
                <a:cubicBezTo>
                  <a:pt x="5683433" y="377723"/>
                  <a:pt x="5674612" y="386538"/>
                  <a:pt x="5665788" y="395353"/>
                </a:cubicBezTo>
                <a:lnTo>
                  <a:pt x="5665511" y="396343"/>
                </a:lnTo>
                <a:lnTo>
                  <a:pt x="5672046" y="409139"/>
                </a:lnTo>
                <a:lnTo>
                  <a:pt x="5750479" y="373576"/>
                </a:lnTo>
                <a:cubicBezTo>
                  <a:pt x="5750479" y="364776"/>
                  <a:pt x="5754838" y="355976"/>
                  <a:pt x="5750479" y="351575"/>
                </a:cubicBezTo>
                <a:close/>
                <a:moveTo>
                  <a:pt x="3153124" y="342577"/>
                </a:moveTo>
                <a:lnTo>
                  <a:pt x="3152929" y="342726"/>
                </a:lnTo>
                <a:lnTo>
                  <a:pt x="3153091" y="342739"/>
                </a:lnTo>
                <a:close/>
                <a:moveTo>
                  <a:pt x="5451401" y="342577"/>
                </a:moveTo>
                <a:lnTo>
                  <a:pt x="5451206" y="342726"/>
                </a:lnTo>
                <a:lnTo>
                  <a:pt x="5451369" y="342739"/>
                </a:lnTo>
                <a:close/>
                <a:moveTo>
                  <a:pt x="4335495" y="325648"/>
                </a:moveTo>
                <a:lnTo>
                  <a:pt x="4335736" y="329953"/>
                </a:lnTo>
                <a:lnTo>
                  <a:pt x="4335259" y="330740"/>
                </a:lnTo>
                <a:lnTo>
                  <a:pt x="4336290" y="330088"/>
                </a:lnTo>
                <a:lnTo>
                  <a:pt x="4340427" y="327141"/>
                </a:lnTo>
                <a:close/>
                <a:moveTo>
                  <a:pt x="3084284" y="268278"/>
                </a:moveTo>
                <a:lnTo>
                  <a:pt x="3080467" y="276708"/>
                </a:lnTo>
                <a:lnTo>
                  <a:pt x="3082082" y="277742"/>
                </a:lnTo>
                <a:lnTo>
                  <a:pt x="3087164" y="277044"/>
                </a:lnTo>
                <a:close/>
                <a:moveTo>
                  <a:pt x="5382561" y="268278"/>
                </a:moveTo>
                <a:lnTo>
                  <a:pt x="5378745" y="276708"/>
                </a:lnTo>
                <a:lnTo>
                  <a:pt x="5380359" y="277742"/>
                </a:lnTo>
                <a:lnTo>
                  <a:pt x="5385441" y="277044"/>
                </a:lnTo>
                <a:close/>
                <a:moveTo>
                  <a:pt x="2598226" y="132875"/>
                </a:moveTo>
                <a:cubicBezTo>
                  <a:pt x="2615777" y="132875"/>
                  <a:pt x="2628939" y="132875"/>
                  <a:pt x="2646490" y="132875"/>
                </a:cubicBezTo>
                <a:cubicBezTo>
                  <a:pt x="2637714" y="154660"/>
                  <a:pt x="2622357" y="167732"/>
                  <a:pt x="2604808" y="177536"/>
                </a:cubicBezTo>
                <a:lnTo>
                  <a:pt x="2558000" y="198918"/>
                </a:lnTo>
                <a:lnTo>
                  <a:pt x="2556218" y="201980"/>
                </a:lnTo>
                <a:cubicBezTo>
                  <a:pt x="2555100" y="203078"/>
                  <a:pt x="2553983" y="203078"/>
                  <a:pt x="2551749" y="203078"/>
                </a:cubicBezTo>
                <a:cubicBezTo>
                  <a:pt x="2533874" y="246954"/>
                  <a:pt x="2489183" y="255729"/>
                  <a:pt x="2453433" y="277667"/>
                </a:cubicBezTo>
                <a:cubicBezTo>
                  <a:pt x="2453433" y="260117"/>
                  <a:pt x="2453433" y="242566"/>
                  <a:pt x="2453433" y="229403"/>
                </a:cubicBezTo>
                <a:cubicBezTo>
                  <a:pt x="2462370" y="229403"/>
                  <a:pt x="2471308" y="229403"/>
                  <a:pt x="2480247" y="225015"/>
                </a:cubicBezTo>
                <a:lnTo>
                  <a:pt x="2549962" y="182235"/>
                </a:lnTo>
                <a:lnTo>
                  <a:pt x="2549962" y="180803"/>
                </a:lnTo>
                <a:cubicBezTo>
                  <a:pt x="2567512" y="163375"/>
                  <a:pt x="2580675" y="145946"/>
                  <a:pt x="2598226" y="132875"/>
                </a:cubicBezTo>
                <a:close/>
                <a:moveTo>
                  <a:pt x="4896503" y="132875"/>
                </a:moveTo>
                <a:cubicBezTo>
                  <a:pt x="4914054" y="132875"/>
                  <a:pt x="4927216" y="132875"/>
                  <a:pt x="4944767" y="132875"/>
                </a:cubicBezTo>
                <a:cubicBezTo>
                  <a:pt x="4935991" y="154660"/>
                  <a:pt x="4920634" y="167732"/>
                  <a:pt x="4903085" y="177536"/>
                </a:cubicBezTo>
                <a:lnTo>
                  <a:pt x="4856278" y="198918"/>
                </a:lnTo>
                <a:lnTo>
                  <a:pt x="4854496" y="201980"/>
                </a:lnTo>
                <a:cubicBezTo>
                  <a:pt x="4853377" y="203078"/>
                  <a:pt x="4852260" y="203078"/>
                  <a:pt x="4850026" y="203078"/>
                </a:cubicBezTo>
                <a:cubicBezTo>
                  <a:pt x="4832152" y="246954"/>
                  <a:pt x="4787460" y="255729"/>
                  <a:pt x="4751710" y="277667"/>
                </a:cubicBezTo>
                <a:cubicBezTo>
                  <a:pt x="4751710" y="260117"/>
                  <a:pt x="4751710" y="242566"/>
                  <a:pt x="4751710" y="229403"/>
                </a:cubicBezTo>
                <a:cubicBezTo>
                  <a:pt x="4760647" y="229403"/>
                  <a:pt x="4769585" y="229403"/>
                  <a:pt x="4778524" y="225015"/>
                </a:cubicBezTo>
                <a:lnTo>
                  <a:pt x="4848239" y="182235"/>
                </a:lnTo>
                <a:lnTo>
                  <a:pt x="4848239" y="180803"/>
                </a:lnTo>
                <a:cubicBezTo>
                  <a:pt x="4865790" y="163375"/>
                  <a:pt x="4878952" y="145946"/>
                  <a:pt x="4896503" y="132875"/>
                </a:cubicBezTo>
                <a:close/>
                <a:moveTo>
                  <a:pt x="5353337" y="559"/>
                </a:moveTo>
                <a:cubicBezTo>
                  <a:pt x="5392550" y="-3875"/>
                  <a:pt x="5423051" y="18297"/>
                  <a:pt x="5427409" y="58209"/>
                </a:cubicBezTo>
                <a:lnTo>
                  <a:pt x="5427403" y="58216"/>
                </a:lnTo>
                <a:lnTo>
                  <a:pt x="5428481" y="57797"/>
                </a:lnTo>
                <a:cubicBezTo>
                  <a:pt x="5459585" y="138238"/>
                  <a:pt x="5370716" y="98017"/>
                  <a:pt x="5357386" y="133768"/>
                </a:cubicBezTo>
                <a:lnTo>
                  <a:pt x="5356690" y="133069"/>
                </a:lnTo>
                <a:lnTo>
                  <a:pt x="5350514" y="159280"/>
                </a:lnTo>
                <a:cubicBezTo>
                  <a:pt x="5347252" y="168139"/>
                  <a:pt x="5341816" y="175891"/>
                  <a:pt x="5330939" y="180322"/>
                </a:cubicBezTo>
                <a:lnTo>
                  <a:pt x="5329956" y="181757"/>
                </a:lnTo>
                <a:lnTo>
                  <a:pt x="5331552" y="181139"/>
                </a:lnTo>
                <a:lnTo>
                  <a:pt x="5357218" y="224091"/>
                </a:lnTo>
                <a:lnTo>
                  <a:pt x="5400595" y="228446"/>
                </a:lnTo>
                <a:lnTo>
                  <a:pt x="5399490" y="230888"/>
                </a:lnTo>
                <a:lnTo>
                  <a:pt x="5401532" y="229074"/>
                </a:lnTo>
                <a:cubicBezTo>
                  <a:pt x="5467289" y="172165"/>
                  <a:pt x="5515511" y="88989"/>
                  <a:pt x="5633874" y="84611"/>
                </a:cubicBezTo>
                <a:cubicBezTo>
                  <a:pt x="5572501" y="141521"/>
                  <a:pt x="5524279" y="185298"/>
                  <a:pt x="5476057" y="229074"/>
                </a:cubicBezTo>
                <a:lnTo>
                  <a:pt x="5475966" y="229576"/>
                </a:lnTo>
                <a:lnTo>
                  <a:pt x="5476078" y="229403"/>
                </a:lnTo>
                <a:cubicBezTo>
                  <a:pt x="5484779" y="229403"/>
                  <a:pt x="5489130" y="229403"/>
                  <a:pt x="5497833" y="229403"/>
                </a:cubicBezTo>
                <a:lnTo>
                  <a:pt x="5498885" y="231871"/>
                </a:lnTo>
                <a:lnTo>
                  <a:pt x="5499268" y="229594"/>
                </a:lnTo>
                <a:cubicBezTo>
                  <a:pt x="5537590" y="225740"/>
                  <a:pt x="5589323" y="191532"/>
                  <a:pt x="5595789" y="247964"/>
                </a:cubicBezTo>
                <a:lnTo>
                  <a:pt x="5595628" y="276646"/>
                </a:lnTo>
                <a:lnTo>
                  <a:pt x="5617197" y="292185"/>
                </a:lnTo>
                <a:cubicBezTo>
                  <a:pt x="5629086" y="296938"/>
                  <a:pt x="5642060" y="297661"/>
                  <a:pt x="5654958" y="297608"/>
                </a:cubicBezTo>
                <a:lnTo>
                  <a:pt x="5690806" y="298353"/>
                </a:lnTo>
                <a:lnTo>
                  <a:pt x="5712927" y="282248"/>
                </a:lnTo>
                <a:cubicBezTo>
                  <a:pt x="5737890" y="276636"/>
                  <a:pt x="5767847" y="296592"/>
                  <a:pt x="5787820" y="276636"/>
                </a:cubicBezTo>
                <a:cubicBezTo>
                  <a:pt x="5793645" y="294929"/>
                  <a:pt x="5794945" y="308544"/>
                  <a:pt x="5793007" y="318798"/>
                </a:cubicBezTo>
                <a:lnTo>
                  <a:pt x="5779707" y="339343"/>
                </a:lnTo>
                <a:lnTo>
                  <a:pt x="5798409" y="347175"/>
                </a:lnTo>
                <a:cubicBezTo>
                  <a:pt x="5798409" y="364776"/>
                  <a:pt x="5798409" y="382376"/>
                  <a:pt x="5798409" y="395577"/>
                </a:cubicBezTo>
                <a:lnTo>
                  <a:pt x="5799751" y="400543"/>
                </a:lnTo>
                <a:lnTo>
                  <a:pt x="5799751" y="395263"/>
                </a:lnTo>
                <a:cubicBezTo>
                  <a:pt x="5834991" y="386453"/>
                  <a:pt x="5865826" y="377643"/>
                  <a:pt x="5896662" y="368833"/>
                </a:cubicBezTo>
                <a:lnTo>
                  <a:pt x="5896846" y="369355"/>
                </a:lnTo>
                <a:lnTo>
                  <a:pt x="5932028" y="339339"/>
                </a:lnTo>
                <a:cubicBezTo>
                  <a:pt x="5934263" y="356769"/>
                  <a:pt x="5938732" y="375287"/>
                  <a:pt x="5939291" y="393261"/>
                </a:cubicBezTo>
                <a:lnTo>
                  <a:pt x="5923950" y="441230"/>
                </a:lnTo>
                <a:lnTo>
                  <a:pt x="5926783" y="441230"/>
                </a:lnTo>
                <a:lnTo>
                  <a:pt x="5931129" y="445470"/>
                </a:lnTo>
                <a:lnTo>
                  <a:pt x="5928820" y="439523"/>
                </a:lnTo>
                <a:cubicBezTo>
                  <a:pt x="5931017" y="426360"/>
                  <a:pt x="5937609" y="416488"/>
                  <a:pt x="5946947" y="409358"/>
                </a:cubicBezTo>
                <a:lnTo>
                  <a:pt x="5979842" y="396324"/>
                </a:lnTo>
                <a:lnTo>
                  <a:pt x="5979766" y="396071"/>
                </a:lnTo>
                <a:cubicBezTo>
                  <a:pt x="5988505" y="387320"/>
                  <a:pt x="5997244" y="382945"/>
                  <a:pt x="6005983" y="374196"/>
                </a:cubicBezTo>
                <a:cubicBezTo>
                  <a:pt x="6036570" y="382945"/>
                  <a:pt x="6067156" y="387320"/>
                  <a:pt x="6097745" y="396071"/>
                </a:cubicBezTo>
                <a:lnTo>
                  <a:pt x="6097745" y="407260"/>
                </a:lnTo>
                <a:lnTo>
                  <a:pt x="6098559" y="406000"/>
                </a:lnTo>
                <a:lnTo>
                  <a:pt x="6098559" y="395539"/>
                </a:lnTo>
                <a:lnTo>
                  <a:pt x="6124709" y="347952"/>
                </a:lnTo>
                <a:lnTo>
                  <a:pt x="6124559" y="347871"/>
                </a:lnTo>
                <a:lnTo>
                  <a:pt x="6124987" y="347443"/>
                </a:lnTo>
                <a:lnTo>
                  <a:pt x="6125139" y="347166"/>
                </a:lnTo>
                <a:lnTo>
                  <a:pt x="6125269" y="347165"/>
                </a:lnTo>
                <a:lnTo>
                  <a:pt x="6146680" y="325932"/>
                </a:lnTo>
                <a:lnTo>
                  <a:pt x="6146999" y="325932"/>
                </a:lnTo>
                <a:lnTo>
                  <a:pt x="6146009" y="325232"/>
                </a:lnTo>
                <a:cubicBezTo>
                  <a:pt x="6176844" y="276502"/>
                  <a:pt x="6212084" y="245491"/>
                  <a:pt x="6269351" y="254352"/>
                </a:cubicBezTo>
                <a:lnTo>
                  <a:pt x="6269351" y="260531"/>
                </a:lnTo>
                <a:lnTo>
                  <a:pt x="6270080" y="255323"/>
                </a:lnTo>
                <a:cubicBezTo>
                  <a:pt x="6292019" y="232979"/>
                  <a:pt x="6318345" y="215102"/>
                  <a:pt x="6340284" y="197227"/>
                </a:cubicBezTo>
                <a:lnTo>
                  <a:pt x="6340409" y="197322"/>
                </a:lnTo>
                <a:lnTo>
                  <a:pt x="6365315" y="176506"/>
                </a:lnTo>
                <a:lnTo>
                  <a:pt x="6366459" y="176645"/>
                </a:lnTo>
                <a:lnTo>
                  <a:pt x="6414250" y="132875"/>
                </a:lnTo>
                <a:cubicBezTo>
                  <a:pt x="6475815" y="137305"/>
                  <a:pt x="6431841" y="181605"/>
                  <a:pt x="6436238" y="203755"/>
                </a:cubicBezTo>
                <a:lnTo>
                  <a:pt x="6436263" y="204809"/>
                </a:lnTo>
                <a:lnTo>
                  <a:pt x="6437543" y="203260"/>
                </a:lnTo>
                <a:lnTo>
                  <a:pt x="6529452" y="181195"/>
                </a:lnTo>
                <a:lnTo>
                  <a:pt x="6529440" y="181139"/>
                </a:lnTo>
                <a:cubicBezTo>
                  <a:pt x="6540240" y="166124"/>
                  <a:pt x="6551040" y="155398"/>
                  <a:pt x="6563459" y="150036"/>
                </a:cubicBezTo>
                <a:lnTo>
                  <a:pt x="6606136" y="151081"/>
                </a:lnTo>
                <a:lnTo>
                  <a:pt x="6607288" y="150353"/>
                </a:lnTo>
                <a:cubicBezTo>
                  <a:pt x="6642325" y="132875"/>
                  <a:pt x="6642325" y="163462"/>
                  <a:pt x="6655465" y="180940"/>
                </a:cubicBezTo>
                <a:lnTo>
                  <a:pt x="6655196" y="181208"/>
                </a:lnTo>
                <a:lnTo>
                  <a:pt x="6655799" y="181197"/>
                </a:lnTo>
                <a:cubicBezTo>
                  <a:pt x="6681942" y="163626"/>
                  <a:pt x="6703727" y="146053"/>
                  <a:pt x="6725514" y="132875"/>
                </a:cubicBezTo>
                <a:cubicBezTo>
                  <a:pt x="6764728" y="154839"/>
                  <a:pt x="6795229" y="181197"/>
                  <a:pt x="6799585" y="229518"/>
                </a:cubicBezTo>
                <a:lnTo>
                  <a:pt x="6799293" y="230405"/>
                </a:lnTo>
                <a:lnTo>
                  <a:pt x="6800592" y="229087"/>
                </a:lnTo>
                <a:cubicBezTo>
                  <a:pt x="6852877" y="202590"/>
                  <a:pt x="6865949" y="246753"/>
                  <a:pt x="6861593" y="277667"/>
                </a:cubicBezTo>
                <a:cubicBezTo>
                  <a:pt x="6861593" y="326248"/>
                  <a:pt x="6883378" y="326248"/>
                  <a:pt x="6918236" y="326248"/>
                </a:cubicBezTo>
                <a:lnTo>
                  <a:pt x="6917922" y="326536"/>
                </a:lnTo>
                <a:lnTo>
                  <a:pt x="6918846" y="326170"/>
                </a:lnTo>
                <a:cubicBezTo>
                  <a:pt x="6936360" y="308533"/>
                  <a:pt x="6953873" y="295304"/>
                  <a:pt x="6971387" y="282076"/>
                </a:cubicBezTo>
                <a:cubicBezTo>
                  <a:pt x="7007509" y="325067"/>
                  <a:pt x="7041168" y="313494"/>
                  <a:pt x="7076058" y="295718"/>
                </a:cubicBezTo>
                <a:lnTo>
                  <a:pt x="7111332" y="277750"/>
                </a:lnTo>
                <a:lnTo>
                  <a:pt x="7111293" y="277725"/>
                </a:lnTo>
                <a:cubicBezTo>
                  <a:pt x="7137618" y="246974"/>
                  <a:pt x="7168332" y="233796"/>
                  <a:pt x="7207821" y="229403"/>
                </a:cubicBezTo>
                <a:lnTo>
                  <a:pt x="7209115" y="231570"/>
                </a:lnTo>
                <a:lnTo>
                  <a:pt x="7209250" y="229224"/>
                </a:lnTo>
                <a:cubicBezTo>
                  <a:pt x="7273303" y="221784"/>
                  <a:pt x="7273611" y="252011"/>
                  <a:pt x="7269415" y="284593"/>
                </a:cubicBezTo>
                <a:lnTo>
                  <a:pt x="7266779" y="308716"/>
                </a:lnTo>
                <a:lnTo>
                  <a:pt x="7274524" y="305763"/>
                </a:lnTo>
                <a:cubicBezTo>
                  <a:pt x="7288972" y="302441"/>
                  <a:pt x="7303975" y="300780"/>
                  <a:pt x="7319256" y="299949"/>
                </a:cubicBezTo>
                <a:lnTo>
                  <a:pt x="7348573" y="299424"/>
                </a:lnTo>
                <a:lnTo>
                  <a:pt x="7369038" y="285711"/>
                </a:lnTo>
                <a:cubicBezTo>
                  <a:pt x="7369038" y="303229"/>
                  <a:pt x="7370127" y="318557"/>
                  <a:pt x="7371216" y="332791"/>
                </a:cubicBezTo>
                <a:lnTo>
                  <a:pt x="7373278" y="371133"/>
                </a:lnTo>
                <a:lnTo>
                  <a:pt x="7382262" y="367839"/>
                </a:lnTo>
                <a:lnTo>
                  <a:pt x="7400108" y="353123"/>
                </a:lnTo>
                <a:lnTo>
                  <a:pt x="7399804" y="351566"/>
                </a:lnTo>
                <a:cubicBezTo>
                  <a:pt x="7432786" y="319684"/>
                  <a:pt x="7452848" y="308690"/>
                  <a:pt x="7465285" y="309996"/>
                </a:cubicBezTo>
                <a:cubicBezTo>
                  <a:pt x="7472281" y="310731"/>
                  <a:pt x="7476863" y="315356"/>
                  <a:pt x="7479974" y="322345"/>
                </a:cubicBezTo>
                <a:lnTo>
                  <a:pt x="7481203" y="327908"/>
                </a:lnTo>
                <a:lnTo>
                  <a:pt x="7489079" y="332213"/>
                </a:lnTo>
                <a:cubicBezTo>
                  <a:pt x="7496059" y="337402"/>
                  <a:pt x="7502837" y="343409"/>
                  <a:pt x="7509343" y="348870"/>
                </a:cubicBezTo>
                <a:cubicBezTo>
                  <a:pt x="7508258" y="360887"/>
                  <a:pt x="7510969" y="371539"/>
                  <a:pt x="7515578" y="381507"/>
                </a:cubicBezTo>
                <a:lnTo>
                  <a:pt x="7532307" y="408600"/>
                </a:lnTo>
                <a:lnTo>
                  <a:pt x="7540308" y="402744"/>
                </a:lnTo>
                <a:cubicBezTo>
                  <a:pt x="7567122" y="389504"/>
                  <a:pt x="7593935" y="395206"/>
                  <a:pt x="7620748" y="418021"/>
                </a:cubicBezTo>
                <a:lnTo>
                  <a:pt x="7620228" y="418780"/>
                </a:lnTo>
                <a:lnTo>
                  <a:pt x="7667482" y="418780"/>
                </a:lnTo>
                <a:lnTo>
                  <a:pt x="7668025" y="418231"/>
                </a:lnTo>
                <a:cubicBezTo>
                  <a:pt x="7668025" y="387190"/>
                  <a:pt x="7663650" y="342844"/>
                  <a:pt x="7707398" y="338409"/>
                </a:cubicBezTo>
                <a:cubicBezTo>
                  <a:pt x="7727085" y="336193"/>
                  <a:pt x="7733647" y="345062"/>
                  <a:pt x="7735834" y="357257"/>
                </a:cubicBezTo>
                <a:lnTo>
                  <a:pt x="7738018" y="395976"/>
                </a:lnTo>
                <a:lnTo>
                  <a:pt x="7738961" y="395647"/>
                </a:lnTo>
                <a:cubicBezTo>
                  <a:pt x="7747820" y="413165"/>
                  <a:pt x="7756680" y="430682"/>
                  <a:pt x="7765541" y="448201"/>
                </a:cubicBezTo>
                <a:lnTo>
                  <a:pt x="7763702" y="449503"/>
                </a:lnTo>
                <a:lnTo>
                  <a:pt x="7764725" y="449334"/>
                </a:lnTo>
                <a:cubicBezTo>
                  <a:pt x="7769117" y="449334"/>
                  <a:pt x="7777898" y="449334"/>
                  <a:pt x="7786681" y="449334"/>
                </a:cubicBezTo>
                <a:cubicBezTo>
                  <a:pt x="7808637" y="444970"/>
                  <a:pt x="7826201" y="449334"/>
                  <a:pt x="7843767" y="462430"/>
                </a:cubicBezTo>
                <a:lnTo>
                  <a:pt x="7846066" y="465478"/>
                </a:lnTo>
                <a:lnTo>
                  <a:pt x="8048757" y="373576"/>
                </a:lnTo>
                <a:cubicBezTo>
                  <a:pt x="8048757" y="364776"/>
                  <a:pt x="8053115" y="355976"/>
                  <a:pt x="8048757" y="351575"/>
                </a:cubicBezTo>
                <a:cubicBezTo>
                  <a:pt x="8057472" y="342775"/>
                  <a:pt x="8066186" y="338375"/>
                  <a:pt x="8074356" y="337824"/>
                </a:cubicBezTo>
                <a:cubicBezTo>
                  <a:pt x="8082526" y="337275"/>
                  <a:pt x="8090150" y="340576"/>
                  <a:pt x="8096687" y="347175"/>
                </a:cubicBezTo>
                <a:cubicBezTo>
                  <a:pt x="8096687" y="364776"/>
                  <a:pt x="8096687" y="382376"/>
                  <a:pt x="8096687" y="395577"/>
                </a:cubicBezTo>
                <a:lnTo>
                  <a:pt x="8098028" y="400543"/>
                </a:lnTo>
                <a:lnTo>
                  <a:pt x="8098028" y="395263"/>
                </a:lnTo>
                <a:lnTo>
                  <a:pt x="8178991" y="373183"/>
                </a:lnTo>
                <a:lnTo>
                  <a:pt x="8183265" y="368833"/>
                </a:lnTo>
                <a:lnTo>
                  <a:pt x="8186459" y="371146"/>
                </a:lnTo>
                <a:lnTo>
                  <a:pt x="8194940" y="368833"/>
                </a:lnTo>
                <a:lnTo>
                  <a:pt x="8195124" y="369355"/>
                </a:lnTo>
                <a:lnTo>
                  <a:pt x="8230306" y="339339"/>
                </a:lnTo>
                <a:cubicBezTo>
                  <a:pt x="8232540" y="356769"/>
                  <a:pt x="8237010" y="375287"/>
                  <a:pt x="8237569" y="393261"/>
                </a:cubicBezTo>
                <a:lnTo>
                  <a:pt x="8231321" y="412796"/>
                </a:lnTo>
                <a:lnTo>
                  <a:pt x="8242801" y="432204"/>
                </a:lnTo>
                <a:lnTo>
                  <a:pt x="8253081" y="514806"/>
                </a:lnTo>
                <a:lnTo>
                  <a:pt x="8254011" y="514997"/>
                </a:lnTo>
                <a:lnTo>
                  <a:pt x="8268851" y="535156"/>
                </a:lnTo>
                <a:lnTo>
                  <a:pt x="8279822" y="518120"/>
                </a:lnTo>
                <a:lnTo>
                  <a:pt x="8316235" y="500678"/>
                </a:lnTo>
                <a:lnTo>
                  <a:pt x="8324574" y="483696"/>
                </a:lnTo>
                <a:lnTo>
                  <a:pt x="8344435" y="468929"/>
                </a:lnTo>
                <a:lnTo>
                  <a:pt x="8353809" y="448033"/>
                </a:lnTo>
                <a:cubicBezTo>
                  <a:pt x="8362619" y="435880"/>
                  <a:pt x="8373631" y="425937"/>
                  <a:pt x="8386846" y="417098"/>
                </a:cubicBezTo>
                <a:lnTo>
                  <a:pt x="8388694" y="418604"/>
                </a:lnTo>
                <a:lnTo>
                  <a:pt x="8421292" y="368147"/>
                </a:lnTo>
                <a:cubicBezTo>
                  <a:pt x="8434901" y="356218"/>
                  <a:pt x="8450882" y="350087"/>
                  <a:pt x="8468550" y="351838"/>
                </a:cubicBezTo>
                <a:cubicBezTo>
                  <a:pt x="8480327" y="353007"/>
                  <a:pt x="8492855" y="357679"/>
                  <a:pt x="8505926" y="366474"/>
                </a:cubicBezTo>
                <a:cubicBezTo>
                  <a:pt x="8553856" y="401653"/>
                  <a:pt x="8523356" y="445627"/>
                  <a:pt x="8501569" y="485203"/>
                </a:cubicBezTo>
                <a:lnTo>
                  <a:pt x="8462500" y="542160"/>
                </a:lnTo>
                <a:lnTo>
                  <a:pt x="8487019" y="567033"/>
                </a:lnTo>
                <a:lnTo>
                  <a:pt x="8488254" y="568156"/>
                </a:lnTo>
                <a:lnTo>
                  <a:pt x="8488251" y="568148"/>
                </a:lnTo>
                <a:cubicBezTo>
                  <a:pt x="8494821" y="544115"/>
                  <a:pt x="8506864" y="527728"/>
                  <a:pt x="8522741" y="515712"/>
                </a:cubicBezTo>
                <a:lnTo>
                  <a:pt x="8579540" y="489805"/>
                </a:lnTo>
                <a:lnTo>
                  <a:pt x="8579774" y="488275"/>
                </a:lnTo>
                <a:cubicBezTo>
                  <a:pt x="8588713" y="483887"/>
                  <a:pt x="8597650" y="475113"/>
                  <a:pt x="8606588" y="470724"/>
                </a:cubicBezTo>
                <a:lnTo>
                  <a:pt x="8606699" y="471184"/>
                </a:lnTo>
                <a:lnTo>
                  <a:pt x="8606995" y="470409"/>
                </a:lnTo>
                <a:lnTo>
                  <a:pt x="8606995" y="444497"/>
                </a:lnTo>
                <a:cubicBezTo>
                  <a:pt x="8598220" y="444497"/>
                  <a:pt x="8589444" y="444497"/>
                  <a:pt x="8580670" y="444497"/>
                </a:cubicBezTo>
                <a:cubicBezTo>
                  <a:pt x="8593832" y="417851"/>
                  <a:pt x="8611383" y="395647"/>
                  <a:pt x="8642097" y="422293"/>
                </a:cubicBezTo>
                <a:cubicBezTo>
                  <a:pt x="8657453" y="435616"/>
                  <a:pt x="8671714" y="438947"/>
                  <a:pt x="8685424" y="437281"/>
                </a:cubicBezTo>
                <a:lnTo>
                  <a:pt x="8723665" y="422965"/>
                </a:lnTo>
                <a:lnTo>
                  <a:pt x="8723518" y="421889"/>
                </a:lnTo>
                <a:cubicBezTo>
                  <a:pt x="8723518" y="413103"/>
                  <a:pt x="8723518" y="404318"/>
                  <a:pt x="8723518" y="395532"/>
                </a:cubicBezTo>
                <a:cubicBezTo>
                  <a:pt x="8776213" y="417496"/>
                  <a:pt x="8811343" y="399925"/>
                  <a:pt x="8850863" y="364781"/>
                </a:cubicBezTo>
                <a:cubicBezTo>
                  <a:pt x="8890385" y="325246"/>
                  <a:pt x="8924415" y="308773"/>
                  <a:pt x="8951861" y="314813"/>
                </a:cubicBezTo>
                <a:cubicBezTo>
                  <a:pt x="8979306" y="320853"/>
                  <a:pt x="9000164" y="349408"/>
                  <a:pt x="9013338" y="399925"/>
                </a:cubicBezTo>
                <a:lnTo>
                  <a:pt x="9013117" y="401692"/>
                </a:lnTo>
                <a:lnTo>
                  <a:pt x="9013833" y="401269"/>
                </a:lnTo>
                <a:cubicBezTo>
                  <a:pt x="9035841" y="383624"/>
                  <a:pt x="9057848" y="370390"/>
                  <a:pt x="9084257" y="352745"/>
                </a:cubicBezTo>
                <a:lnTo>
                  <a:pt x="9086169" y="354108"/>
                </a:lnTo>
                <a:lnTo>
                  <a:pt x="9084762" y="351404"/>
                </a:lnTo>
                <a:cubicBezTo>
                  <a:pt x="9106637" y="355809"/>
                  <a:pt x="9141636" y="320569"/>
                  <a:pt x="9154759" y="360214"/>
                </a:cubicBezTo>
                <a:cubicBezTo>
                  <a:pt x="9161323" y="373429"/>
                  <a:pt x="9163510" y="388847"/>
                  <a:pt x="9160229" y="403715"/>
                </a:cubicBezTo>
                <a:lnTo>
                  <a:pt x="9133353" y="443224"/>
                </a:lnTo>
                <a:lnTo>
                  <a:pt x="9133109" y="443999"/>
                </a:lnTo>
                <a:lnTo>
                  <a:pt x="9133270" y="443911"/>
                </a:lnTo>
                <a:cubicBezTo>
                  <a:pt x="9142044" y="461511"/>
                  <a:pt x="9150819" y="474712"/>
                  <a:pt x="9159595" y="492312"/>
                </a:cubicBezTo>
                <a:lnTo>
                  <a:pt x="9160791" y="491913"/>
                </a:lnTo>
                <a:lnTo>
                  <a:pt x="9189405" y="449934"/>
                </a:lnTo>
                <a:cubicBezTo>
                  <a:pt x="9222209" y="424573"/>
                  <a:pt x="9263518" y="447855"/>
                  <a:pt x="9302398" y="471137"/>
                </a:cubicBezTo>
                <a:lnTo>
                  <a:pt x="9303161" y="475062"/>
                </a:lnTo>
                <a:lnTo>
                  <a:pt x="9303685" y="469876"/>
                </a:lnTo>
                <a:cubicBezTo>
                  <a:pt x="9330184" y="430503"/>
                  <a:pt x="9352265" y="434878"/>
                  <a:pt x="9374348" y="469876"/>
                </a:cubicBezTo>
                <a:lnTo>
                  <a:pt x="9372594" y="471319"/>
                </a:lnTo>
                <a:lnTo>
                  <a:pt x="9374155" y="470724"/>
                </a:lnTo>
                <a:lnTo>
                  <a:pt x="9400070" y="470724"/>
                </a:lnTo>
                <a:lnTo>
                  <a:pt x="9400110" y="470265"/>
                </a:lnTo>
                <a:cubicBezTo>
                  <a:pt x="9400110" y="435331"/>
                  <a:pt x="9382391" y="396030"/>
                  <a:pt x="9422260" y="374196"/>
                </a:cubicBezTo>
                <a:cubicBezTo>
                  <a:pt x="9439980" y="400396"/>
                  <a:pt x="9439980" y="430964"/>
                  <a:pt x="9470991" y="448431"/>
                </a:cubicBezTo>
                <a:lnTo>
                  <a:pt x="9471308" y="448796"/>
                </a:lnTo>
                <a:lnTo>
                  <a:pt x="9516963" y="436317"/>
                </a:lnTo>
                <a:lnTo>
                  <a:pt x="9517179" y="435101"/>
                </a:lnTo>
                <a:cubicBezTo>
                  <a:pt x="9512745" y="430696"/>
                  <a:pt x="9512745" y="430696"/>
                  <a:pt x="9512745" y="430696"/>
                </a:cubicBezTo>
                <a:lnTo>
                  <a:pt x="9513609" y="429392"/>
                </a:lnTo>
                <a:lnTo>
                  <a:pt x="9497228" y="393245"/>
                </a:lnTo>
                <a:lnTo>
                  <a:pt x="9496701" y="354079"/>
                </a:lnTo>
                <a:lnTo>
                  <a:pt x="9495007" y="352279"/>
                </a:lnTo>
                <a:cubicBezTo>
                  <a:pt x="9539461" y="299118"/>
                  <a:pt x="9601697" y="299118"/>
                  <a:pt x="9663933" y="299118"/>
                </a:cubicBezTo>
                <a:lnTo>
                  <a:pt x="9663933" y="373777"/>
                </a:lnTo>
                <a:lnTo>
                  <a:pt x="9664159" y="373845"/>
                </a:lnTo>
                <a:lnTo>
                  <a:pt x="9720199" y="353296"/>
                </a:lnTo>
                <a:lnTo>
                  <a:pt x="9720871" y="344501"/>
                </a:lnTo>
                <a:cubicBezTo>
                  <a:pt x="9736053" y="320469"/>
                  <a:pt x="9751233" y="316100"/>
                  <a:pt x="9765873" y="320469"/>
                </a:cubicBezTo>
                <a:cubicBezTo>
                  <a:pt x="9780511" y="324839"/>
                  <a:pt x="9794608" y="337948"/>
                  <a:pt x="9807621" y="348870"/>
                </a:cubicBezTo>
                <a:cubicBezTo>
                  <a:pt x="9805451" y="372904"/>
                  <a:pt x="9818464" y="391475"/>
                  <a:pt x="9831478" y="410046"/>
                </a:cubicBezTo>
                <a:lnTo>
                  <a:pt x="9854817" y="469898"/>
                </a:lnTo>
                <a:lnTo>
                  <a:pt x="9855648" y="469767"/>
                </a:lnTo>
                <a:cubicBezTo>
                  <a:pt x="9855648" y="478577"/>
                  <a:pt x="9855648" y="482982"/>
                  <a:pt x="9855648" y="491792"/>
                </a:cubicBezTo>
                <a:lnTo>
                  <a:pt x="9857683" y="492640"/>
                </a:lnTo>
                <a:lnTo>
                  <a:pt x="9880411" y="489390"/>
                </a:lnTo>
                <a:cubicBezTo>
                  <a:pt x="9898839" y="480161"/>
                  <a:pt x="9904509" y="455553"/>
                  <a:pt x="9917469" y="435866"/>
                </a:cubicBezTo>
                <a:cubicBezTo>
                  <a:pt x="9934749" y="470864"/>
                  <a:pt x="9930429" y="497114"/>
                  <a:pt x="9908829" y="518989"/>
                </a:cubicBezTo>
                <a:lnTo>
                  <a:pt x="9907816" y="518818"/>
                </a:lnTo>
                <a:lnTo>
                  <a:pt x="9903588" y="540191"/>
                </a:lnTo>
                <a:lnTo>
                  <a:pt x="9903633" y="540194"/>
                </a:lnTo>
                <a:cubicBezTo>
                  <a:pt x="9925642" y="570908"/>
                  <a:pt x="9952050" y="584070"/>
                  <a:pt x="9991665" y="566520"/>
                </a:cubicBezTo>
                <a:cubicBezTo>
                  <a:pt x="10031277" y="548971"/>
                  <a:pt x="10022475" y="579684"/>
                  <a:pt x="10022475" y="601621"/>
                </a:cubicBezTo>
                <a:lnTo>
                  <a:pt x="10020207" y="604030"/>
                </a:lnTo>
                <a:lnTo>
                  <a:pt x="10022713" y="603934"/>
                </a:lnTo>
                <a:cubicBezTo>
                  <a:pt x="10039255" y="594039"/>
                  <a:pt x="10060759" y="569303"/>
                  <a:pt x="10077922" y="572396"/>
                </a:cubicBezTo>
                <a:cubicBezTo>
                  <a:pt x="10083645" y="573426"/>
                  <a:pt x="10088882" y="577549"/>
                  <a:pt x="10093294" y="586344"/>
                </a:cubicBezTo>
                <a:cubicBezTo>
                  <a:pt x="10119761" y="639113"/>
                  <a:pt x="10066825" y="665497"/>
                  <a:pt x="10027124" y="691882"/>
                </a:cubicBezTo>
                <a:lnTo>
                  <a:pt x="10026908" y="691750"/>
                </a:lnTo>
                <a:lnTo>
                  <a:pt x="10026908" y="707681"/>
                </a:lnTo>
                <a:lnTo>
                  <a:pt x="10027298" y="708270"/>
                </a:lnTo>
                <a:lnTo>
                  <a:pt x="10081084" y="699035"/>
                </a:lnTo>
                <a:cubicBezTo>
                  <a:pt x="10132251" y="681327"/>
                  <a:pt x="10172854" y="642614"/>
                  <a:pt x="10215941" y="616257"/>
                </a:cubicBezTo>
                <a:lnTo>
                  <a:pt x="10218318" y="616715"/>
                </a:lnTo>
                <a:lnTo>
                  <a:pt x="10216289" y="614892"/>
                </a:lnTo>
                <a:cubicBezTo>
                  <a:pt x="10220664" y="579855"/>
                  <a:pt x="10233788" y="553578"/>
                  <a:pt x="10264411" y="540439"/>
                </a:cubicBezTo>
                <a:lnTo>
                  <a:pt x="10264559" y="540534"/>
                </a:lnTo>
                <a:lnTo>
                  <a:pt x="10276465" y="512994"/>
                </a:lnTo>
                <a:cubicBezTo>
                  <a:pt x="10290637" y="493824"/>
                  <a:pt x="10311397" y="498771"/>
                  <a:pt x="10336951" y="518559"/>
                </a:cubicBezTo>
                <a:lnTo>
                  <a:pt x="10336921" y="518664"/>
                </a:lnTo>
                <a:lnTo>
                  <a:pt x="10337743" y="518022"/>
                </a:lnTo>
                <a:cubicBezTo>
                  <a:pt x="10350851" y="518022"/>
                  <a:pt x="10368329" y="513626"/>
                  <a:pt x="10381439" y="513626"/>
                </a:cubicBezTo>
                <a:lnTo>
                  <a:pt x="10382938" y="514703"/>
                </a:lnTo>
                <a:lnTo>
                  <a:pt x="10400459" y="464043"/>
                </a:lnTo>
                <a:lnTo>
                  <a:pt x="10434679" y="418829"/>
                </a:lnTo>
                <a:lnTo>
                  <a:pt x="10433477" y="417751"/>
                </a:lnTo>
                <a:cubicBezTo>
                  <a:pt x="10446586" y="404409"/>
                  <a:pt x="10464064" y="386622"/>
                  <a:pt x="10481543" y="368833"/>
                </a:cubicBezTo>
                <a:cubicBezTo>
                  <a:pt x="10514315" y="384398"/>
                  <a:pt x="10531793" y="406634"/>
                  <a:pt x="10541079" y="432204"/>
                </a:cubicBezTo>
                <a:lnTo>
                  <a:pt x="10551359" y="514806"/>
                </a:lnTo>
                <a:lnTo>
                  <a:pt x="10552289" y="514997"/>
                </a:lnTo>
                <a:cubicBezTo>
                  <a:pt x="10560981" y="528280"/>
                  <a:pt x="10569671" y="537134"/>
                  <a:pt x="10578363" y="550416"/>
                </a:cubicBezTo>
                <a:lnTo>
                  <a:pt x="10578589" y="550552"/>
                </a:lnTo>
                <a:lnTo>
                  <a:pt x="10578270" y="549927"/>
                </a:lnTo>
                <a:cubicBezTo>
                  <a:pt x="10587146" y="541264"/>
                  <a:pt x="10596022" y="532600"/>
                  <a:pt x="10604897" y="519607"/>
                </a:cubicBezTo>
                <a:lnTo>
                  <a:pt x="10605215" y="519614"/>
                </a:lnTo>
                <a:lnTo>
                  <a:pt x="10622852" y="483696"/>
                </a:lnTo>
                <a:cubicBezTo>
                  <a:pt x="10645115" y="453792"/>
                  <a:pt x="10680244" y="442321"/>
                  <a:pt x="10722727" y="445598"/>
                </a:cubicBezTo>
                <a:cubicBezTo>
                  <a:pt x="10731442" y="454337"/>
                  <a:pt x="10735798" y="463076"/>
                  <a:pt x="10744513" y="471815"/>
                </a:cubicBezTo>
                <a:cubicBezTo>
                  <a:pt x="10740156" y="493663"/>
                  <a:pt x="10731442" y="515513"/>
                  <a:pt x="10727084" y="537360"/>
                </a:cubicBezTo>
                <a:cubicBezTo>
                  <a:pt x="10727084" y="537360"/>
                  <a:pt x="10724905" y="539544"/>
                  <a:pt x="10722727" y="541730"/>
                </a:cubicBezTo>
                <a:lnTo>
                  <a:pt x="10718749" y="545719"/>
                </a:lnTo>
                <a:lnTo>
                  <a:pt x="10718827" y="548217"/>
                </a:lnTo>
                <a:lnTo>
                  <a:pt x="10729219" y="537757"/>
                </a:lnTo>
                <a:cubicBezTo>
                  <a:pt x="10766361" y="550948"/>
                  <a:pt x="10774007" y="572936"/>
                  <a:pt x="10774007" y="597672"/>
                </a:cubicBezTo>
                <a:lnTo>
                  <a:pt x="10772948" y="671784"/>
                </a:lnTo>
                <a:lnTo>
                  <a:pt x="10792778" y="663781"/>
                </a:lnTo>
                <a:lnTo>
                  <a:pt x="10793984" y="664757"/>
                </a:lnTo>
                <a:lnTo>
                  <a:pt x="10824261" y="630914"/>
                </a:lnTo>
                <a:cubicBezTo>
                  <a:pt x="10836394" y="621601"/>
                  <a:pt x="10850728" y="615025"/>
                  <a:pt x="10868374" y="612835"/>
                </a:cubicBezTo>
                <a:lnTo>
                  <a:pt x="10884632" y="637064"/>
                </a:lnTo>
                <a:lnTo>
                  <a:pt x="10885256" y="636573"/>
                </a:lnTo>
                <a:lnTo>
                  <a:pt x="10867855" y="610718"/>
                </a:lnTo>
                <a:cubicBezTo>
                  <a:pt x="10889936" y="553845"/>
                  <a:pt x="10916435" y="571345"/>
                  <a:pt x="10942933" y="610718"/>
                </a:cubicBezTo>
                <a:lnTo>
                  <a:pt x="10939909" y="613257"/>
                </a:lnTo>
                <a:lnTo>
                  <a:pt x="10942788" y="612835"/>
                </a:lnTo>
                <a:cubicBezTo>
                  <a:pt x="10975398" y="642506"/>
                  <a:pt x="10954202" y="709264"/>
                  <a:pt x="10983755" y="742644"/>
                </a:cubicBezTo>
                <a:lnTo>
                  <a:pt x="11032943" y="761835"/>
                </a:lnTo>
                <a:lnTo>
                  <a:pt x="11035232" y="760310"/>
                </a:lnTo>
                <a:cubicBezTo>
                  <a:pt x="11056982" y="769096"/>
                  <a:pt x="11074380" y="781176"/>
                  <a:pt x="11086886" y="797100"/>
                </a:cubicBezTo>
                <a:lnTo>
                  <a:pt x="11109136" y="856838"/>
                </a:lnTo>
                <a:lnTo>
                  <a:pt x="11156674" y="856838"/>
                </a:lnTo>
                <a:lnTo>
                  <a:pt x="11156674" y="808574"/>
                </a:lnTo>
                <a:lnTo>
                  <a:pt x="11157907" y="810748"/>
                </a:lnTo>
                <a:lnTo>
                  <a:pt x="11157440" y="809702"/>
                </a:lnTo>
                <a:cubicBezTo>
                  <a:pt x="11159675" y="798766"/>
                  <a:pt x="11165261" y="792202"/>
                  <a:pt x="11172524" y="787827"/>
                </a:cubicBezTo>
                <a:lnTo>
                  <a:pt x="11197248" y="779222"/>
                </a:lnTo>
                <a:lnTo>
                  <a:pt x="11197248" y="761997"/>
                </a:lnTo>
                <a:lnTo>
                  <a:pt x="11198123" y="762019"/>
                </a:lnTo>
                <a:lnTo>
                  <a:pt x="11196601" y="761039"/>
                </a:lnTo>
                <a:cubicBezTo>
                  <a:pt x="11192174" y="752265"/>
                  <a:pt x="11187745" y="743489"/>
                  <a:pt x="11178891" y="739102"/>
                </a:cubicBezTo>
                <a:lnTo>
                  <a:pt x="11179335" y="738786"/>
                </a:lnTo>
                <a:lnTo>
                  <a:pt x="11178891" y="738859"/>
                </a:lnTo>
                <a:cubicBezTo>
                  <a:pt x="11196320" y="712939"/>
                  <a:pt x="11191963" y="661099"/>
                  <a:pt x="11248606" y="687019"/>
                </a:cubicBezTo>
                <a:lnTo>
                  <a:pt x="11248537" y="687379"/>
                </a:lnTo>
                <a:lnTo>
                  <a:pt x="11249729" y="686450"/>
                </a:lnTo>
                <a:lnTo>
                  <a:pt x="11250753" y="686029"/>
                </a:lnTo>
                <a:lnTo>
                  <a:pt x="11248606" y="685066"/>
                </a:lnTo>
                <a:cubicBezTo>
                  <a:pt x="11248606" y="632534"/>
                  <a:pt x="11314484" y="632534"/>
                  <a:pt x="11323268" y="588758"/>
                </a:cubicBezTo>
                <a:cubicBezTo>
                  <a:pt x="11349619" y="588758"/>
                  <a:pt x="11362795" y="562491"/>
                  <a:pt x="11380363" y="553735"/>
                </a:cubicBezTo>
                <a:cubicBezTo>
                  <a:pt x="11413302" y="536225"/>
                  <a:pt x="11444044" y="524186"/>
                  <a:pt x="11464906" y="530205"/>
                </a:cubicBezTo>
                <a:cubicBezTo>
                  <a:pt x="11485767" y="536225"/>
                  <a:pt x="11496746" y="560302"/>
                  <a:pt x="11490158" y="615024"/>
                </a:cubicBezTo>
                <a:lnTo>
                  <a:pt x="11487380" y="615946"/>
                </a:lnTo>
                <a:lnTo>
                  <a:pt x="11491091" y="615946"/>
                </a:lnTo>
                <a:cubicBezTo>
                  <a:pt x="11530249" y="615946"/>
                  <a:pt x="11525898" y="532396"/>
                  <a:pt x="11582459" y="563177"/>
                </a:cubicBezTo>
                <a:lnTo>
                  <a:pt x="11582914" y="563868"/>
                </a:lnTo>
                <a:lnTo>
                  <a:pt x="11582670" y="562412"/>
                </a:lnTo>
                <a:cubicBezTo>
                  <a:pt x="11591502" y="562412"/>
                  <a:pt x="11604751" y="562412"/>
                  <a:pt x="11613585" y="562412"/>
                </a:cubicBezTo>
                <a:lnTo>
                  <a:pt x="11613923" y="562422"/>
                </a:lnTo>
                <a:lnTo>
                  <a:pt x="11648600" y="543233"/>
                </a:lnTo>
                <a:cubicBezTo>
                  <a:pt x="11660744" y="540439"/>
                  <a:pt x="11672890" y="540439"/>
                  <a:pt x="11683930" y="540439"/>
                </a:cubicBezTo>
                <a:lnTo>
                  <a:pt x="11688238" y="562233"/>
                </a:lnTo>
                <a:lnTo>
                  <a:pt x="11688662" y="562412"/>
                </a:lnTo>
                <a:lnTo>
                  <a:pt x="11688336" y="562735"/>
                </a:lnTo>
                <a:lnTo>
                  <a:pt x="11688347" y="562784"/>
                </a:lnTo>
                <a:lnTo>
                  <a:pt x="11688279" y="562792"/>
                </a:lnTo>
                <a:lnTo>
                  <a:pt x="11684246" y="566805"/>
                </a:lnTo>
                <a:lnTo>
                  <a:pt x="11684335" y="567253"/>
                </a:lnTo>
                <a:lnTo>
                  <a:pt x="11731767" y="567253"/>
                </a:lnTo>
                <a:lnTo>
                  <a:pt x="11732143" y="567253"/>
                </a:lnTo>
                <a:lnTo>
                  <a:pt x="11732040" y="567695"/>
                </a:lnTo>
                <a:lnTo>
                  <a:pt x="11772312" y="632875"/>
                </a:lnTo>
                <a:cubicBezTo>
                  <a:pt x="11780421" y="655843"/>
                  <a:pt x="11779340" y="680998"/>
                  <a:pt x="11757715" y="711621"/>
                </a:cubicBezTo>
                <a:lnTo>
                  <a:pt x="11754270" y="713395"/>
                </a:lnTo>
                <a:lnTo>
                  <a:pt x="11758957" y="713679"/>
                </a:lnTo>
                <a:cubicBezTo>
                  <a:pt x="11763426" y="748186"/>
                  <a:pt x="11750018" y="778381"/>
                  <a:pt x="11732143" y="808576"/>
                </a:cubicBezTo>
                <a:lnTo>
                  <a:pt x="11729436" y="808576"/>
                </a:lnTo>
                <a:lnTo>
                  <a:pt x="11730927" y="809352"/>
                </a:lnTo>
                <a:cubicBezTo>
                  <a:pt x="11739722" y="813764"/>
                  <a:pt x="11748517" y="822586"/>
                  <a:pt x="11752913" y="831410"/>
                </a:cubicBezTo>
                <a:lnTo>
                  <a:pt x="11752331" y="834144"/>
                </a:lnTo>
                <a:lnTo>
                  <a:pt x="11754406" y="831825"/>
                </a:lnTo>
                <a:cubicBezTo>
                  <a:pt x="11763181" y="823083"/>
                  <a:pt x="11771957" y="814340"/>
                  <a:pt x="11780732" y="805598"/>
                </a:cubicBezTo>
                <a:lnTo>
                  <a:pt x="11782909" y="805564"/>
                </a:lnTo>
                <a:lnTo>
                  <a:pt x="11779514" y="803699"/>
                </a:lnTo>
                <a:cubicBezTo>
                  <a:pt x="11783872" y="786148"/>
                  <a:pt x="11783872" y="759821"/>
                  <a:pt x="11792585" y="751047"/>
                </a:cubicBezTo>
                <a:cubicBezTo>
                  <a:pt x="11823086" y="733496"/>
                  <a:pt x="11831800" y="772984"/>
                  <a:pt x="11849229" y="781760"/>
                </a:cubicBezTo>
                <a:lnTo>
                  <a:pt x="11848200" y="784041"/>
                </a:lnTo>
                <a:lnTo>
                  <a:pt x="11850234" y="782311"/>
                </a:lnTo>
                <a:cubicBezTo>
                  <a:pt x="11854590" y="773509"/>
                  <a:pt x="11854590" y="769109"/>
                  <a:pt x="11854590" y="760310"/>
                </a:cubicBezTo>
                <a:lnTo>
                  <a:pt x="11855980" y="762961"/>
                </a:lnTo>
                <a:lnTo>
                  <a:pt x="11855867" y="761179"/>
                </a:lnTo>
                <a:cubicBezTo>
                  <a:pt x="11860208" y="739438"/>
                  <a:pt x="11847183" y="709002"/>
                  <a:pt x="11877573" y="704654"/>
                </a:cubicBezTo>
                <a:cubicBezTo>
                  <a:pt x="11912303" y="695957"/>
                  <a:pt x="11912303" y="735091"/>
                  <a:pt x="11925327" y="756830"/>
                </a:cubicBezTo>
                <a:lnTo>
                  <a:pt x="11925004" y="759004"/>
                </a:lnTo>
                <a:lnTo>
                  <a:pt x="11948328" y="805007"/>
                </a:lnTo>
                <a:cubicBezTo>
                  <a:pt x="11950841" y="812193"/>
                  <a:pt x="11950422" y="818448"/>
                  <a:pt x="11943790" y="822907"/>
                </a:cubicBezTo>
                <a:lnTo>
                  <a:pt x="11904131" y="829656"/>
                </a:lnTo>
                <a:lnTo>
                  <a:pt x="11903621" y="830749"/>
                </a:lnTo>
                <a:cubicBezTo>
                  <a:pt x="11894938" y="839446"/>
                  <a:pt x="11890597" y="848141"/>
                  <a:pt x="11881913" y="856838"/>
                </a:cubicBezTo>
                <a:lnTo>
                  <a:pt x="11880645" y="854357"/>
                </a:lnTo>
                <a:lnTo>
                  <a:pt x="11880735" y="857113"/>
                </a:lnTo>
                <a:lnTo>
                  <a:pt x="11876389" y="927330"/>
                </a:lnTo>
                <a:lnTo>
                  <a:pt x="11876414" y="927342"/>
                </a:lnTo>
                <a:cubicBezTo>
                  <a:pt x="11898387" y="940591"/>
                  <a:pt x="11915964" y="975922"/>
                  <a:pt x="11951120" y="953841"/>
                </a:cubicBezTo>
                <a:cubicBezTo>
                  <a:pt x="11915964" y="1015668"/>
                  <a:pt x="11951120" y="1112828"/>
                  <a:pt x="11854441" y="1143743"/>
                </a:cubicBezTo>
                <a:lnTo>
                  <a:pt x="11854088" y="1143663"/>
                </a:lnTo>
                <a:lnTo>
                  <a:pt x="11828486" y="1217111"/>
                </a:lnTo>
                <a:lnTo>
                  <a:pt x="11827146" y="1216638"/>
                </a:lnTo>
                <a:lnTo>
                  <a:pt x="11827776" y="1217525"/>
                </a:lnTo>
                <a:lnTo>
                  <a:pt x="11805900" y="1288336"/>
                </a:lnTo>
                <a:lnTo>
                  <a:pt x="11806326" y="1288723"/>
                </a:lnTo>
                <a:cubicBezTo>
                  <a:pt x="11767111" y="1385101"/>
                  <a:pt x="11740968" y="1494620"/>
                  <a:pt x="11640753" y="1555953"/>
                </a:cubicBezTo>
                <a:lnTo>
                  <a:pt x="11639711" y="1556496"/>
                </a:lnTo>
                <a:lnTo>
                  <a:pt x="11640084" y="1556496"/>
                </a:lnTo>
                <a:cubicBezTo>
                  <a:pt x="11622702" y="1596198"/>
                  <a:pt x="11609665" y="1635899"/>
                  <a:pt x="11592283" y="1680012"/>
                </a:cubicBezTo>
                <a:lnTo>
                  <a:pt x="11590715" y="1680012"/>
                </a:lnTo>
                <a:lnTo>
                  <a:pt x="11590985" y="1708877"/>
                </a:lnTo>
                <a:cubicBezTo>
                  <a:pt x="11592632" y="1736375"/>
                  <a:pt x="11601691" y="1752791"/>
                  <a:pt x="11647805" y="1710109"/>
                </a:cubicBezTo>
                <a:cubicBezTo>
                  <a:pt x="11696114" y="1670709"/>
                  <a:pt x="11726858" y="1688221"/>
                  <a:pt x="11731250" y="1749508"/>
                </a:cubicBezTo>
                <a:cubicBezTo>
                  <a:pt x="11709291" y="1784530"/>
                  <a:pt x="11726858" y="1837063"/>
                  <a:pt x="11682940" y="1867707"/>
                </a:cubicBezTo>
                <a:lnTo>
                  <a:pt x="11682908" y="1867686"/>
                </a:lnTo>
                <a:lnTo>
                  <a:pt x="11639535" y="1915936"/>
                </a:lnTo>
                <a:lnTo>
                  <a:pt x="11640084" y="1916624"/>
                </a:lnTo>
                <a:cubicBezTo>
                  <a:pt x="11640084" y="1934151"/>
                  <a:pt x="11635671" y="1951676"/>
                  <a:pt x="11635671" y="1964822"/>
                </a:cubicBezTo>
                <a:lnTo>
                  <a:pt x="11635578" y="1965107"/>
                </a:lnTo>
                <a:lnTo>
                  <a:pt x="11655046" y="2018326"/>
                </a:lnTo>
                <a:cubicBezTo>
                  <a:pt x="11652179" y="2062134"/>
                  <a:pt x="11591590" y="2079410"/>
                  <a:pt x="11565390" y="2109027"/>
                </a:cubicBezTo>
                <a:lnTo>
                  <a:pt x="11565006" y="2108562"/>
                </a:lnTo>
                <a:lnTo>
                  <a:pt x="11565006" y="2110535"/>
                </a:lnTo>
                <a:cubicBezTo>
                  <a:pt x="11556426" y="2119585"/>
                  <a:pt x="11547846" y="2128635"/>
                  <a:pt x="11539266" y="2133160"/>
                </a:cubicBezTo>
                <a:lnTo>
                  <a:pt x="11539029" y="2132219"/>
                </a:lnTo>
                <a:lnTo>
                  <a:pt x="11538789" y="2132861"/>
                </a:lnTo>
                <a:lnTo>
                  <a:pt x="11538789" y="2158073"/>
                </a:lnTo>
                <a:lnTo>
                  <a:pt x="11538862" y="2158095"/>
                </a:lnTo>
                <a:cubicBezTo>
                  <a:pt x="11565005" y="2193489"/>
                  <a:pt x="11534504" y="2242155"/>
                  <a:pt x="11565005" y="2277549"/>
                </a:cubicBezTo>
                <a:cubicBezTo>
                  <a:pt x="11538862" y="2295246"/>
                  <a:pt x="11517075" y="2312943"/>
                  <a:pt x="11495290" y="2326215"/>
                </a:cubicBezTo>
                <a:lnTo>
                  <a:pt x="11495916" y="2323418"/>
                </a:lnTo>
                <a:lnTo>
                  <a:pt x="11494423" y="2325727"/>
                </a:lnTo>
                <a:cubicBezTo>
                  <a:pt x="11476916" y="2343278"/>
                  <a:pt x="11459408" y="2360828"/>
                  <a:pt x="11446277" y="2373991"/>
                </a:cubicBezTo>
                <a:cubicBezTo>
                  <a:pt x="11437525" y="2382767"/>
                  <a:pt x="11428770" y="2391542"/>
                  <a:pt x="11424393" y="2400318"/>
                </a:cubicBezTo>
                <a:lnTo>
                  <a:pt x="11418907" y="2403679"/>
                </a:lnTo>
                <a:lnTo>
                  <a:pt x="11427163" y="2400047"/>
                </a:lnTo>
                <a:cubicBezTo>
                  <a:pt x="11441574" y="2395601"/>
                  <a:pt x="11454475" y="2394096"/>
                  <a:pt x="11464906" y="2397105"/>
                </a:cubicBezTo>
                <a:cubicBezTo>
                  <a:pt x="11485767" y="2403125"/>
                  <a:pt x="11496746" y="2427202"/>
                  <a:pt x="11490158" y="2481924"/>
                </a:cubicBezTo>
                <a:lnTo>
                  <a:pt x="11487380" y="2482846"/>
                </a:lnTo>
                <a:lnTo>
                  <a:pt x="11491091" y="2482846"/>
                </a:lnTo>
                <a:cubicBezTo>
                  <a:pt x="11530249" y="2482846"/>
                  <a:pt x="11525898" y="2399296"/>
                  <a:pt x="11582459" y="2430077"/>
                </a:cubicBezTo>
                <a:lnTo>
                  <a:pt x="11582914" y="2430768"/>
                </a:lnTo>
                <a:lnTo>
                  <a:pt x="11582670" y="2429312"/>
                </a:lnTo>
                <a:cubicBezTo>
                  <a:pt x="11591502" y="2429312"/>
                  <a:pt x="11604751" y="2429312"/>
                  <a:pt x="11613585" y="2429312"/>
                </a:cubicBezTo>
                <a:lnTo>
                  <a:pt x="11613923" y="2429322"/>
                </a:lnTo>
                <a:lnTo>
                  <a:pt x="11648600" y="2410133"/>
                </a:lnTo>
                <a:cubicBezTo>
                  <a:pt x="11660744" y="2407339"/>
                  <a:pt x="11672890" y="2407339"/>
                  <a:pt x="11683930" y="2407339"/>
                </a:cubicBezTo>
                <a:lnTo>
                  <a:pt x="11688238" y="2429133"/>
                </a:lnTo>
                <a:lnTo>
                  <a:pt x="11688662" y="2429312"/>
                </a:lnTo>
                <a:lnTo>
                  <a:pt x="11688336" y="2429635"/>
                </a:lnTo>
                <a:lnTo>
                  <a:pt x="11688347" y="2429684"/>
                </a:lnTo>
                <a:lnTo>
                  <a:pt x="11688279" y="2429692"/>
                </a:lnTo>
                <a:lnTo>
                  <a:pt x="11684246" y="2433705"/>
                </a:lnTo>
                <a:lnTo>
                  <a:pt x="11684335" y="2434153"/>
                </a:lnTo>
                <a:lnTo>
                  <a:pt x="11731767" y="2434153"/>
                </a:lnTo>
                <a:lnTo>
                  <a:pt x="11732143" y="2434153"/>
                </a:lnTo>
                <a:lnTo>
                  <a:pt x="11732040" y="2434595"/>
                </a:lnTo>
                <a:lnTo>
                  <a:pt x="11772312" y="2499775"/>
                </a:lnTo>
                <a:cubicBezTo>
                  <a:pt x="11780421" y="2522743"/>
                  <a:pt x="11779340" y="2547898"/>
                  <a:pt x="11757715" y="2578521"/>
                </a:cubicBezTo>
                <a:lnTo>
                  <a:pt x="11754270" y="2580295"/>
                </a:lnTo>
                <a:lnTo>
                  <a:pt x="11758957" y="2580579"/>
                </a:lnTo>
                <a:cubicBezTo>
                  <a:pt x="11763426" y="2615086"/>
                  <a:pt x="11750018" y="2645281"/>
                  <a:pt x="11732143" y="2675476"/>
                </a:cubicBezTo>
                <a:lnTo>
                  <a:pt x="11729436" y="2675476"/>
                </a:lnTo>
                <a:lnTo>
                  <a:pt x="11730927" y="2676252"/>
                </a:lnTo>
                <a:cubicBezTo>
                  <a:pt x="11739722" y="2680664"/>
                  <a:pt x="11748517" y="2689486"/>
                  <a:pt x="11752913" y="2698310"/>
                </a:cubicBezTo>
                <a:lnTo>
                  <a:pt x="11752331" y="2701044"/>
                </a:lnTo>
                <a:lnTo>
                  <a:pt x="11754406" y="2698725"/>
                </a:lnTo>
                <a:cubicBezTo>
                  <a:pt x="11763181" y="2689983"/>
                  <a:pt x="11771957" y="2681240"/>
                  <a:pt x="11780732" y="2672498"/>
                </a:cubicBezTo>
                <a:lnTo>
                  <a:pt x="11782909" y="2672464"/>
                </a:lnTo>
                <a:lnTo>
                  <a:pt x="11779514" y="2670599"/>
                </a:lnTo>
                <a:cubicBezTo>
                  <a:pt x="11783872" y="2653048"/>
                  <a:pt x="11783872" y="2626721"/>
                  <a:pt x="11792585" y="2617947"/>
                </a:cubicBezTo>
                <a:cubicBezTo>
                  <a:pt x="11823086" y="2600396"/>
                  <a:pt x="11831800" y="2639884"/>
                  <a:pt x="11849229" y="2648660"/>
                </a:cubicBezTo>
                <a:lnTo>
                  <a:pt x="11848200" y="2650941"/>
                </a:lnTo>
                <a:lnTo>
                  <a:pt x="11850234" y="2649211"/>
                </a:lnTo>
                <a:cubicBezTo>
                  <a:pt x="11854590" y="2640409"/>
                  <a:pt x="11854590" y="2636009"/>
                  <a:pt x="11854590" y="2627210"/>
                </a:cubicBezTo>
                <a:lnTo>
                  <a:pt x="11855980" y="2629861"/>
                </a:lnTo>
                <a:lnTo>
                  <a:pt x="11855867" y="2628079"/>
                </a:lnTo>
                <a:cubicBezTo>
                  <a:pt x="11860208" y="2606338"/>
                  <a:pt x="11847183" y="2575902"/>
                  <a:pt x="11877573" y="2571554"/>
                </a:cubicBezTo>
                <a:cubicBezTo>
                  <a:pt x="11912303" y="2562857"/>
                  <a:pt x="11912303" y="2601991"/>
                  <a:pt x="11925327" y="2623730"/>
                </a:cubicBezTo>
                <a:lnTo>
                  <a:pt x="11925004" y="2625904"/>
                </a:lnTo>
                <a:lnTo>
                  <a:pt x="11948328" y="2671907"/>
                </a:lnTo>
                <a:cubicBezTo>
                  <a:pt x="11950841" y="2679093"/>
                  <a:pt x="11950422" y="2685348"/>
                  <a:pt x="11943790" y="2689807"/>
                </a:cubicBezTo>
                <a:lnTo>
                  <a:pt x="11904131" y="2696556"/>
                </a:lnTo>
                <a:lnTo>
                  <a:pt x="11903621" y="2697649"/>
                </a:lnTo>
                <a:cubicBezTo>
                  <a:pt x="11894938" y="2706346"/>
                  <a:pt x="11890597" y="2715041"/>
                  <a:pt x="11881913" y="2723738"/>
                </a:cubicBezTo>
                <a:lnTo>
                  <a:pt x="11880645" y="2721257"/>
                </a:lnTo>
                <a:lnTo>
                  <a:pt x="11880735" y="2724013"/>
                </a:lnTo>
                <a:lnTo>
                  <a:pt x="11876389" y="2794230"/>
                </a:lnTo>
                <a:lnTo>
                  <a:pt x="11876414" y="2794242"/>
                </a:lnTo>
                <a:cubicBezTo>
                  <a:pt x="11898387" y="2807491"/>
                  <a:pt x="11915964" y="2842822"/>
                  <a:pt x="11951120" y="2820741"/>
                </a:cubicBezTo>
                <a:cubicBezTo>
                  <a:pt x="11915964" y="2882568"/>
                  <a:pt x="11951120" y="2979728"/>
                  <a:pt x="11854441" y="3010643"/>
                </a:cubicBezTo>
                <a:lnTo>
                  <a:pt x="11854088" y="3010563"/>
                </a:lnTo>
                <a:lnTo>
                  <a:pt x="11828486" y="3084011"/>
                </a:lnTo>
                <a:lnTo>
                  <a:pt x="11827146" y="3083538"/>
                </a:lnTo>
                <a:lnTo>
                  <a:pt x="11827776" y="3084425"/>
                </a:lnTo>
                <a:lnTo>
                  <a:pt x="11805900" y="3155236"/>
                </a:lnTo>
                <a:lnTo>
                  <a:pt x="11806326" y="3155623"/>
                </a:lnTo>
                <a:cubicBezTo>
                  <a:pt x="11767111" y="3252001"/>
                  <a:pt x="11740968" y="3361520"/>
                  <a:pt x="11640753" y="3422852"/>
                </a:cubicBezTo>
                <a:lnTo>
                  <a:pt x="11639711" y="3423396"/>
                </a:lnTo>
                <a:lnTo>
                  <a:pt x="11640084" y="3423396"/>
                </a:lnTo>
                <a:cubicBezTo>
                  <a:pt x="11622702" y="3463097"/>
                  <a:pt x="11609665" y="3502799"/>
                  <a:pt x="11592283" y="3546912"/>
                </a:cubicBezTo>
                <a:lnTo>
                  <a:pt x="11590715" y="3546912"/>
                </a:lnTo>
                <a:lnTo>
                  <a:pt x="11590985" y="3575777"/>
                </a:lnTo>
                <a:cubicBezTo>
                  <a:pt x="11592632" y="3603275"/>
                  <a:pt x="11601691" y="3619691"/>
                  <a:pt x="11647805" y="3577009"/>
                </a:cubicBezTo>
                <a:cubicBezTo>
                  <a:pt x="11696114" y="3537609"/>
                  <a:pt x="11726858" y="3555120"/>
                  <a:pt x="11731250" y="3616407"/>
                </a:cubicBezTo>
                <a:cubicBezTo>
                  <a:pt x="11709291" y="3651429"/>
                  <a:pt x="11726858" y="3703962"/>
                  <a:pt x="11682940" y="3734606"/>
                </a:cubicBezTo>
                <a:lnTo>
                  <a:pt x="11682908" y="3734586"/>
                </a:lnTo>
                <a:lnTo>
                  <a:pt x="11639535" y="3782836"/>
                </a:lnTo>
                <a:lnTo>
                  <a:pt x="11640084" y="3783524"/>
                </a:lnTo>
                <a:cubicBezTo>
                  <a:pt x="11640084" y="3801051"/>
                  <a:pt x="11635671" y="3818576"/>
                  <a:pt x="11635671" y="3831722"/>
                </a:cubicBezTo>
                <a:lnTo>
                  <a:pt x="11635578" y="3832006"/>
                </a:lnTo>
                <a:lnTo>
                  <a:pt x="11655046" y="3885226"/>
                </a:lnTo>
                <a:cubicBezTo>
                  <a:pt x="11652179" y="3929034"/>
                  <a:pt x="11591590" y="3946310"/>
                  <a:pt x="11565390" y="3975927"/>
                </a:cubicBezTo>
                <a:lnTo>
                  <a:pt x="11565006" y="3975462"/>
                </a:lnTo>
                <a:lnTo>
                  <a:pt x="11565006" y="3977435"/>
                </a:lnTo>
                <a:lnTo>
                  <a:pt x="11554287" y="3986857"/>
                </a:lnTo>
                <a:lnTo>
                  <a:pt x="11563900" y="3985607"/>
                </a:lnTo>
                <a:cubicBezTo>
                  <a:pt x="11569271" y="3986268"/>
                  <a:pt x="11575389" y="3988330"/>
                  <a:pt x="11582459" y="3992177"/>
                </a:cubicBezTo>
                <a:lnTo>
                  <a:pt x="11582914" y="3992868"/>
                </a:lnTo>
                <a:lnTo>
                  <a:pt x="11582670" y="3991412"/>
                </a:lnTo>
                <a:cubicBezTo>
                  <a:pt x="11591502" y="3991412"/>
                  <a:pt x="11604751" y="3991412"/>
                  <a:pt x="11613585" y="3991412"/>
                </a:cubicBezTo>
                <a:lnTo>
                  <a:pt x="11613923" y="3991422"/>
                </a:lnTo>
                <a:lnTo>
                  <a:pt x="11648600" y="3972233"/>
                </a:lnTo>
                <a:cubicBezTo>
                  <a:pt x="11660744" y="3969439"/>
                  <a:pt x="11672890" y="3969439"/>
                  <a:pt x="11683930" y="3969439"/>
                </a:cubicBezTo>
                <a:lnTo>
                  <a:pt x="11688238" y="3991233"/>
                </a:lnTo>
                <a:lnTo>
                  <a:pt x="11688662" y="3991412"/>
                </a:lnTo>
                <a:lnTo>
                  <a:pt x="11688336" y="3991735"/>
                </a:lnTo>
                <a:lnTo>
                  <a:pt x="11688347" y="3991784"/>
                </a:lnTo>
                <a:lnTo>
                  <a:pt x="11688279" y="3991792"/>
                </a:lnTo>
                <a:lnTo>
                  <a:pt x="11684246" y="3995805"/>
                </a:lnTo>
                <a:lnTo>
                  <a:pt x="11684335" y="3996253"/>
                </a:lnTo>
                <a:lnTo>
                  <a:pt x="11731767" y="3996253"/>
                </a:lnTo>
                <a:lnTo>
                  <a:pt x="11732143" y="3996253"/>
                </a:lnTo>
                <a:lnTo>
                  <a:pt x="11732040" y="3996695"/>
                </a:lnTo>
                <a:lnTo>
                  <a:pt x="11772312" y="4061875"/>
                </a:lnTo>
                <a:cubicBezTo>
                  <a:pt x="11780421" y="4084843"/>
                  <a:pt x="11779340" y="4109998"/>
                  <a:pt x="11757715" y="4140621"/>
                </a:cubicBezTo>
                <a:lnTo>
                  <a:pt x="11754270" y="4142395"/>
                </a:lnTo>
                <a:lnTo>
                  <a:pt x="11758957" y="4142679"/>
                </a:lnTo>
                <a:cubicBezTo>
                  <a:pt x="11763426" y="4177186"/>
                  <a:pt x="11750018" y="4207381"/>
                  <a:pt x="11732143" y="4237576"/>
                </a:cubicBezTo>
                <a:lnTo>
                  <a:pt x="11729436" y="4237576"/>
                </a:lnTo>
                <a:lnTo>
                  <a:pt x="11730927" y="4238352"/>
                </a:lnTo>
                <a:cubicBezTo>
                  <a:pt x="11739722" y="4242764"/>
                  <a:pt x="11748517" y="4251586"/>
                  <a:pt x="11752913" y="4260410"/>
                </a:cubicBezTo>
                <a:lnTo>
                  <a:pt x="11752331" y="4263144"/>
                </a:lnTo>
                <a:lnTo>
                  <a:pt x="11754406" y="4260825"/>
                </a:lnTo>
                <a:cubicBezTo>
                  <a:pt x="11763181" y="4252083"/>
                  <a:pt x="11771957" y="4243340"/>
                  <a:pt x="11780732" y="4234598"/>
                </a:cubicBezTo>
                <a:lnTo>
                  <a:pt x="11782909" y="4234564"/>
                </a:lnTo>
                <a:lnTo>
                  <a:pt x="11779514" y="4232699"/>
                </a:lnTo>
                <a:cubicBezTo>
                  <a:pt x="11783872" y="4215148"/>
                  <a:pt x="11783872" y="4188821"/>
                  <a:pt x="11792585" y="4180047"/>
                </a:cubicBezTo>
                <a:cubicBezTo>
                  <a:pt x="11823086" y="4162496"/>
                  <a:pt x="11831800" y="4201984"/>
                  <a:pt x="11849229" y="4210760"/>
                </a:cubicBezTo>
                <a:lnTo>
                  <a:pt x="11848200" y="4213041"/>
                </a:lnTo>
                <a:lnTo>
                  <a:pt x="11850234" y="4211311"/>
                </a:lnTo>
                <a:cubicBezTo>
                  <a:pt x="11854590" y="4202509"/>
                  <a:pt x="11854590" y="4198109"/>
                  <a:pt x="11854590" y="4189310"/>
                </a:cubicBezTo>
                <a:lnTo>
                  <a:pt x="11855980" y="4191961"/>
                </a:lnTo>
                <a:lnTo>
                  <a:pt x="11855867" y="4190179"/>
                </a:lnTo>
                <a:cubicBezTo>
                  <a:pt x="11860208" y="4168438"/>
                  <a:pt x="11847183" y="4138002"/>
                  <a:pt x="11877573" y="4133654"/>
                </a:cubicBezTo>
                <a:cubicBezTo>
                  <a:pt x="11912303" y="4124957"/>
                  <a:pt x="11912303" y="4164091"/>
                  <a:pt x="11925327" y="4185830"/>
                </a:cubicBezTo>
                <a:lnTo>
                  <a:pt x="11925004" y="4188004"/>
                </a:lnTo>
                <a:lnTo>
                  <a:pt x="11948328" y="4234007"/>
                </a:lnTo>
                <a:cubicBezTo>
                  <a:pt x="11950841" y="4241193"/>
                  <a:pt x="11950422" y="4247448"/>
                  <a:pt x="11943790" y="4251907"/>
                </a:cubicBezTo>
                <a:lnTo>
                  <a:pt x="11904131" y="4258656"/>
                </a:lnTo>
                <a:lnTo>
                  <a:pt x="11903621" y="4259749"/>
                </a:lnTo>
                <a:cubicBezTo>
                  <a:pt x="11894938" y="4268446"/>
                  <a:pt x="11890597" y="4277141"/>
                  <a:pt x="11881913" y="4285838"/>
                </a:cubicBezTo>
                <a:lnTo>
                  <a:pt x="11880645" y="4283357"/>
                </a:lnTo>
                <a:lnTo>
                  <a:pt x="11880735" y="4286113"/>
                </a:lnTo>
                <a:lnTo>
                  <a:pt x="11876389" y="4356330"/>
                </a:lnTo>
                <a:lnTo>
                  <a:pt x="11876414" y="4356342"/>
                </a:lnTo>
                <a:cubicBezTo>
                  <a:pt x="11898387" y="4369591"/>
                  <a:pt x="11915964" y="4404922"/>
                  <a:pt x="11951120" y="4382841"/>
                </a:cubicBezTo>
                <a:cubicBezTo>
                  <a:pt x="11915964" y="4444668"/>
                  <a:pt x="11951120" y="4541828"/>
                  <a:pt x="11854441" y="4572743"/>
                </a:cubicBezTo>
                <a:lnTo>
                  <a:pt x="11854088" y="4572663"/>
                </a:lnTo>
                <a:lnTo>
                  <a:pt x="11828486" y="4646111"/>
                </a:lnTo>
                <a:lnTo>
                  <a:pt x="11827146" y="4645638"/>
                </a:lnTo>
                <a:lnTo>
                  <a:pt x="11827776" y="4646525"/>
                </a:lnTo>
                <a:lnTo>
                  <a:pt x="11805900" y="4717336"/>
                </a:lnTo>
                <a:lnTo>
                  <a:pt x="11806326" y="4717723"/>
                </a:lnTo>
                <a:cubicBezTo>
                  <a:pt x="11767111" y="4814101"/>
                  <a:pt x="11740968" y="4923620"/>
                  <a:pt x="11640753" y="4984952"/>
                </a:cubicBezTo>
                <a:lnTo>
                  <a:pt x="11639711" y="4985496"/>
                </a:lnTo>
                <a:lnTo>
                  <a:pt x="11640084" y="4985496"/>
                </a:lnTo>
                <a:cubicBezTo>
                  <a:pt x="11622702" y="5025197"/>
                  <a:pt x="11609665" y="5064899"/>
                  <a:pt x="11592283" y="5109012"/>
                </a:cubicBezTo>
                <a:lnTo>
                  <a:pt x="11590715" y="5109012"/>
                </a:lnTo>
                <a:lnTo>
                  <a:pt x="11590985" y="5137877"/>
                </a:lnTo>
                <a:cubicBezTo>
                  <a:pt x="11592632" y="5165375"/>
                  <a:pt x="11601691" y="5181791"/>
                  <a:pt x="11647805" y="5139109"/>
                </a:cubicBezTo>
                <a:cubicBezTo>
                  <a:pt x="11696114" y="5099709"/>
                  <a:pt x="11726858" y="5117220"/>
                  <a:pt x="11731250" y="5178507"/>
                </a:cubicBezTo>
                <a:cubicBezTo>
                  <a:pt x="11709291" y="5213529"/>
                  <a:pt x="11726858" y="5266062"/>
                  <a:pt x="11682940" y="5296706"/>
                </a:cubicBezTo>
                <a:lnTo>
                  <a:pt x="11682908" y="5296686"/>
                </a:lnTo>
                <a:lnTo>
                  <a:pt x="11639535" y="5344936"/>
                </a:lnTo>
                <a:lnTo>
                  <a:pt x="11640084" y="5345624"/>
                </a:lnTo>
                <a:cubicBezTo>
                  <a:pt x="11640084" y="5363151"/>
                  <a:pt x="11635671" y="5380676"/>
                  <a:pt x="11635671" y="5393822"/>
                </a:cubicBezTo>
                <a:lnTo>
                  <a:pt x="11635578" y="5394106"/>
                </a:lnTo>
                <a:lnTo>
                  <a:pt x="11655046" y="5447326"/>
                </a:lnTo>
                <a:cubicBezTo>
                  <a:pt x="11652179" y="5491134"/>
                  <a:pt x="11591590" y="5508410"/>
                  <a:pt x="11565390" y="5538027"/>
                </a:cubicBezTo>
                <a:lnTo>
                  <a:pt x="11565006" y="5537562"/>
                </a:lnTo>
                <a:lnTo>
                  <a:pt x="11565006" y="5539535"/>
                </a:lnTo>
                <a:cubicBezTo>
                  <a:pt x="11556426" y="5548585"/>
                  <a:pt x="11547846" y="5557635"/>
                  <a:pt x="11539266" y="5562160"/>
                </a:cubicBezTo>
                <a:lnTo>
                  <a:pt x="11539029" y="5561219"/>
                </a:lnTo>
                <a:lnTo>
                  <a:pt x="11538789" y="5561861"/>
                </a:lnTo>
                <a:lnTo>
                  <a:pt x="11538789" y="5587073"/>
                </a:lnTo>
                <a:lnTo>
                  <a:pt x="11538862" y="5587095"/>
                </a:lnTo>
                <a:cubicBezTo>
                  <a:pt x="11565005" y="5622489"/>
                  <a:pt x="11534504" y="5671155"/>
                  <a:pt x="11565005" y="5706549"/>
                </a:cubicBezTo>
                <a:cubicBezTo>
                  <a:pt x="11538862" y="5724246"/>
                  <a:pt x="11517075" y="5741943"/>
                  <a:pt x="11495290" y="5755215"/>
                </a:cubicBezTo>
                <a:lnTo>
                  <a:pt x="11495916" y="5752418"/>
                </a:lnTo>
                <a:lnTo>
                  <a:pt x="11494423" y="5754727"/>
                </a:lnTo>
                <a:cubicBezTo>
                  <a:pt x="11476916" y="5772278"/>
                  <a:pt x="11459408" y="5789828"/>
                  <a:pt x="11446277" y="5802991"/>
                </a:cubicBezTo>
                <a:cubicBezTo>
                  <a:pt x="11437525" y="5811767"/>
                  <a:pt x="11428770" y="5820542"/>
                  <a:pt x="11424393" y="5829318"/>
                </a:cubicBezTo>
                <a:cubicBezTo>
                  <a:pt x="11398131" y="5842481"/>
                  <a:pt x="11371870" y="5860031"/>
                  <a:pt x="11345609" y="5877582"/>
                </a:cubicBezTo>
                <a:lnTo>
                  <a:pt x="11344055" y="5878981"/>
                </a:lnTo>
                <a:lnTo>
                  <a:pt x="11345136" y="5878557"/>
                </a:lnTo>
                <a:cubicBezTo>
                  <a:pt x="11336387" y="5904298"/>
                  <a:pt x="11332012" y="5925749"/>
                  <a:pt x="11323261" y="5947199"/>
                </a:cubicBezTo>
                <a:lnTo>
                  <a:pt x="11321398" y="5948483"/>
                </a:lnTo>
                <a:lnTo>
                  <a:pt x="11323684" y="5948272"/>
                </a:lnTo>
                <a:lnTo>
                  <a:pt x="11323684" y="5973831"/>
                </a:lnTo>
                <a:lnTo>
                  <a:pt x="11324069" y="5973905"/>
                </a:lnTo>
                <a:cubicBezTo>
                  <a:pt x="11332879" y="5982699"/>
                  <a:pt x="11341689" y="5991494"/>
                  <a:pt x="11350499" y="5995892"/>
                </a:cubicBezTo>
                <a:cubicBezTo>
                  <a:pt x="11332879" y="6039867"/>
                  <a:pt x="11284422" y="6057456"/>
                  <a:pt x="11271207" y="6105827"/>
                </a:cubicBezTo>
                <a:cubicBezTo>
                  <a:pt x="11244777" y="6176185"/>
                  <a:pt x="11213942" y="6092635"/>
                  <a:pt x="11178700" y="6097032"/>
                </a:cubicBezTo>
                <a:lnTo>
                  <a:pt x="11178700" y="6096539"/>
                </a:lnTo>
                <a:lnTo>
                  <a:pt x="11111747" y="6158971"/>
                </a:lnTo>
                <a:cubicBezTo>
                  <a:pt x="11042412" y="6218546"/>
                  <a:pt x="10964460" y="6260747"/>
                  <a:pt x="10859432" y="6211099"/>
                </a:cubicBezTo>
                <a:cubicBezTo>
                  <a:pt x="10802542" y="6184620"/>
                  <a:pt x="10780662" y="6286121"/>
                  <a:pt x="10723772" y="6237578"/>
                </a:cubicBezTo>
                <a:lnTo>
                  <a:pt x="10724152" y="6234315"/>
                </a:lnTo>
                <a:lnTo>
                  <a:pt x="10723063" y="6237857"/>
                </a:lnTo>
                <a:cubicBezTo>
                  <a:pt x="10697322" y="6220428"/>
                  <a:pt x="10684451" y="6189927"/>
                  <a:pt x="10650130" y="6189927"/>
                </a:cubicBezTo>
                <a:cubicBezTo>
                  <a:pt x="10637259" y="6150713"/>
                  <a:pt x="10663001" y="6141999"/>
                  <a:pt x="10693032" y="6133284"/>
                </a:cubicBezTo>
                <a:lnTo>
                  <a:pt x="10708956" y="6138108"/>
                </a:lnTo>
                <a:lnTo>
                  <a:pt x="10742909" y="6100682"/>
                </a:lnTo>
                <a:lnTo>
                  <a:pt x="10793296" y="6072080"/>
                </a:lnTo>
                <a:lnTo>
                  <a:pt x="10793408" y="6071701"/>
                </a:lnTo>
                <a:lnTo>
                  <a:pt x="10793544" y="6071452"/>
                </a:lnTo>
                <a:lnTo>
                  <a:pt x="10793544" y="6050156"/>
                </a:lnTo>
                <a:lnTo>
                  <a:pt x="10723628" y="6045797"/>
                </a:lnTo>
                <a:lnTo>
                  <a:pt x="10706508" y="6071923"/>
                </a:lnTo>
                <a:cubicBezTo>
                  <a:pt x="10672795" y="6109274"/>
                  <a:pt x="10688632" y="5981078"/>
                  <a:pt x="10654079" y="6023015"/>
                </a:cubicBezTo>
                <a:lnTo>
                  <a:pt x="10653226" y="6022591"/>
                </a:lnTo>
                <a:lnTo>
                  <a:pt x="10627321" y="6081078"/>
                </a:lnTo>
                <a:cubicBezTo>
                  <a:pt x="10614585" y="6096598"/>
                  <a:pt x="10597971" y="6108793"/>
                  <a:pt x="10578037" y="6119880"/>
                </a:cubicBezTo>
                <a:lnTo>
                  <a:pt x="10556183" y="6098003"/>
                </a:lnTo>
                <a:lnTo>
                  <a:pt x="10524423" y="6110217"/>
                </a:lnTo>
                <a:cubicBezTo>
                  <a:pt x="10489829" y="6117365"/>
                  <a:pt x="10450293" y="6114097"/>
                  <a:pt x="10420643" y="6150044"/>
                </a:cubicBezTo>
                <a:cubicBezTo>
                  <a:pt x="10398679" y="6176187"/>
                  <a:pt x="10376714" y="6141331"/>
                  <a:pt x="10359141" y="6119543"/>
                </a:cubicBezTo>
                <a:lnTo>
                  <a:pt x="10358791" y="6118851"/>
                </a:lnTo>
                <a:lnTo>
                  <a:pt x="10331132" y="6100192"/>
                </a:lnTo>
                <a:cubicBezTo>
                  <a:pt x="10322873" y="6091441"/>
                  <a:pt x="10316265" y="6080505"/>
                  <a:pt x="10311860" y="6067381"/>
                </a:cubicBezTo>
                <a:lnTo>
                  <a:pt x="10311905" y="6067266"/>
                </a:lnTo>
                <a:lnTo>
                  <a:pt x="10264553" y="6071614"/>
                </a:lnTo>
                <a:lnTo>
                  <a:pt x="10264883" y="6066293"/>
                </a:lnTo>
                <a:lnTo>
                  <a:pt x="10264011" y="6070639"/>
                </a:lnTo>
                <a:cubicBezTo>
                  <a:pt x="10264011" y="6075027"/>
                  <a:pt x="10264011" y="6083802"/>
                  <a:pt x="10264011" y="6088190"/>
                </a:cubicBezTo>
                <a:lnTo>
                  <a:pt x="10261693" y="6090435"/>
                </a:lnTo>
                <a:lnTo>
                  <a:pt x="10272874" y="6091906"/>
                </a:lnTo>
                <a:cubicBezTo>
                  <a:pt x="10277252" y="6105116"/>
                  <a:pt x="10286005" y="6118326"/>
                  <a:pt x="10281628" y="6127131"/>
                </a:cubicBezTo>
                <a:cubicBezTo>
                  <a:pt x="10198475" y="6259222"/>
                  <a:pt x="10124075" y="6400121"/>
                  <a:pt x="9988405" y="6492584"/>
                </a:cubicBezTo>
                <a:cubicBezTo>
                  <a:pt x="9975276" y="6492584"/>
                  <a:pt x="9962147" y="6488181"/>
                  <a:pt x="9953395" y="6479376"/>
                </a:cubicBezTo>
                <a:cubicBezTo>
                  <a:pt x="9944642" y="6479376"/>
                  <a:pt x="9935887" y="6479376"/>
                  <a:pt x="9931511" y="6479376"/>
                </a:cubicBezTo>
                <a:lnTo>
                  <a:pt x="9930071" y="6477927"/>
                </a:lnTo>
                <a:lnTo>
                  <a:pt x="9929777" y="6479178"/>
                </a:lnTo>
                <a:lnTo>
                  <a:pt x="9883207" y="6479178"/>
                </a:lnTo>
                <a:lnTo>
                  <a:pt x="9883036" y="6479715"/>
                </a:lnTo>
                <a:cubicBezTo>
                  <a:pt x="9847489" y="6492815"/>
                  <a:pt x="9829717" y="6540850"/>
                  <a:pt x="9785281" y="6527750"/>
                </a:cubicBezTo>
                <a:lnTo>
                  <a:pt x="9785035" y="6527142"/>
                </a:lnTo>
                <a:lnTo>
                  <a:pt x="9734024" y="6501137"/>
                </a:lnTo>
                <a:lnTo>
                  <a:pt x="9733916" y="6501794"/>
                </a:lnTo>
                <a:cubicBezTo>
                  <a:pt x="9716397" y="6510655"/>
                  <a:pt x="9703259" y="6523946"/>
                  <a:pt x="9690121" y="6532805"/>
                </a:cubicBezTo>
                <a:lnTo>
                  <a:pt x="9687768" y="6531966"/>
                </a:lnTo>
                <a:lnTo>
                  <a:pt x="9662535" y="6574823"/>
                </a:lnTo>
                <a:lnTo>
                  <a:pt x="9663933" y="6576195"/>
                </a:lnTo>
                <a:cubicBezTo>
                  <a:pt x="9663933" y="6593745"/>
                  <a:pt x="9663933" y="6611296"/>
                  <a:pt x="9663933" y="6624459"/>
                </a:cubicBezTo>
                <a:cubicBezTo>
                  <a:pt x="9654994" y="6633233"/>
                  <a:pt x="9650525" y="6642010"/>
                  <a:pt x="9641587" y="6650784"/>
                </a:cubicBezTo>
                <a:cubicBezTo>
                  <a:pt x="9619243" y="6633233"/>
                  <a:pt x="9620359" y="6616780"/>
                  <a:pt x="9626505" y="6600875"/>
                </a:cubicBezTo>
                <a:lnTo>
                  <a:pt x="9641237" y="6555338"/>
                </a:lnTo>
                <a:lnTo>
                  <a:pt x="9640309" y="6553585"/>
                </a:lnTo>
                <a:lnTo>
                  <a:pt x="9597942" y="6553585"/>
                </a:lnTo>
                <a:lnTo>
                  <a:pt x="9596898" y="6554639"/>
                </a:lnTo>
                <a:cubicBezTo>
                  <a:pt x="9579023" y="6576664"/>
                  <a:pt x="9561146" y="6581069"/>
                  <a:pt x="9543271" y="6554639"/>
                </a:cubicBezTo>
                <a:lnTo>
                  <a:pt x="9543499" y="6554173"/>
                </a:lnTo>
                <a:lnTo>
                  <a:pt x="9517890" y="6549927"/>
                </a:lnTo>
                <a:lnTo>
                  <a:pt x="9521291" y="6556985"/>
                </a:lnTo>
                <a:cubicBezTo>
                  <a:pt x="9521822" y="6558086"/>
                  <a:pt x="9521822" y="6558086"/>
                  <a:pt x="9521822" y="6558086"/>
                </a:cubicBezTo>
                <a:cubicBezTo>
                  <a:pt x="9504839" y="6562491"/>
                  <a:pt x="9487857" y="6571302"/>
                  <a:pt x="9470875" y="6575707"/>
                </a:cubicBezTo>
                <a:lnTo>
                  <a:pt x="9470875" y="6529577"/>
                </a:lnTo>
                <a:lnTo>
                  <a:pt x="9470387" y="6529373"/>
                </a:lnTo>
                <a:cubicBezTo>
                  <a:pt x="9470387" y="6502989"/>
                  <a:pt x="9474775" y="6472206"/>
                  <a:pt x="9444063" y="6454616"/>
                </a:cubicBezTo>
                <a:lnTo>
                  <a:pt x="9445093" y="6454013"/>
                </a:lnTo>
                <a:lnTo>
                  <a:pt x="9443817" y="6454295"/>
                </a:lnTo>
                <a:cubicBezTo>
                  <a:pt x="9435041" y="6454295"/>
                  <a:pt x="9435041" y="6454295"/>
                  <a:pt x="9435041" y="6454295"/>
                </a:cubicBezTo>
                <a:lnTo>
                  <a:pt x="9426267" y="6458693"/>
                </a:lnTo>
                <a:lnTo>
                  <a:pt x="9425267" y="6458155"/>
                </a:lnTo>
                <a:lnTo>
                  <a:pt x="9425292" y="6458187"/>
                </a:lnTo>
                <a:cubicBezTo>
                  <a:pt x="9420904" y="6497487"/>
                  <a:pt x="9398965" y="6528055"/>
                  <a:pt x="9377028" y="6554256"/>
                </a:cubicBezTo>
                <a:lnTo>
                  <a:pt x="9376471" y="6553616"/>
                </a:lnTo>
                <a:lnTo>
                  <a:pt x="9377028" y="6555374"/>
                </a:lnTo>
                <a:cubicBezTo>
                  <a:pt x="9355089" y="6621290"/>
                  <a:pt x="9293662" y="6498246"/>
                  <a:pt x="9276112" y="6572952"/>
                </a:cubicBezTo>
                <a:cubicBezTo>
                  <a:pt x="9232235" y="6555374"/>
                  <a:pt x="9183971" y="6546584"/>
                  <a:pt x="9227847" y="6485063"/>
                </a:cubicBezTo>
                <a:lnTo>
                  <a:pt x="9231972" y="6483401"/>
                </a:lnTo>
                <a:lnTo>
                  <a:pt x="9229818" y="6483163"/>
                </a:lnTo>
                <a:cubicBezTo>
                  <a:pt x="9181466" y="6487529"/>
                  <a:pt x="9133114" y="6496263"/>
                  <a:pt x="9084762" y="6500629"/>
                </a:cubicBezTo>
                <a:lnTo>
                  <a:pt x="9084801" y="6500511"/>
                </a:lnTo>
                <a:lnTo>
                  <a:pt x="9083306" y="6502198"/>
                </a:lnTo>
                <a:cubicBezTo>
                  <a:pt x="9083306" y="6519725"/>
                  <a:pt x="9083306" y="6537252"/>
                  <a:pt x="9083306" y="6550398"/>
                </a:cubicBezTo>
                <a:cubicBezTo>
                  <a:pt x="9052740" y="6567925"/>
                  <a:pt x="9022172" y="6581069"/>
                  <a:pt x="9030906" y="6528489"/>
                </a:cubicBezTo>
                <a:cubicBezTo>
                  <a:pt x="9035272" y="6493435"/>
                  <a:pt x="9022172" y="6489054"/>
                  <a:pt x="8995971" y="6489054"/>
                </a:cubicBezTo>
                <a:lnTo>
                  <a:pt x="8995819" y="6488850"/>
                </a:lnTo>
                <a:lnTo>
                  <a:pt x="8952693" y="6509167"/>
                </a:lnTo>
                <a:cubicBezTo>
                  <a:pt x="8908422" y="6523350"/>
                  <a:pt x="8862296" y="6519115"/>
                  <a:pt x="8816172" y="6502181"/>
                </a:cubicBezTo>
                <a:cubicBezTo>
                  <a:pt x="8802992" y="6495406"/>
                  <a:pt x="8800797" y="6487503"/>
                  <a:pt x="8804090" y="6479601"/>
                </a:cubicBezTo>
                <a:lnTo>
                  <a:pt x="8824739" y="6457256"/>
                </a:lnTo>
                <a:lnTo>
                  <a:pt x="8824671" y="6457190"/>
                </a:lnTo>
                <a:lnTo>
                  <a:pt x="8864374" y="6402138"/>
                </a:lnTo>
                <a:lnTo>
                  <a:pt x="8864556" y="6400444"/>
                </a:lnTo>
                <a:lnTo>
                  <a:pt x="8868905" y="6361027"/>
                </a:lnTo>
                <a:lnTo>
                  <a:pt x="8839685" y="6382102"/>
                </a:lnTo>
                <a:cubicBezTo>
                  <a:pt x="8809396" y="6394243"/>
                  <a:pt x="8777985" y="6381342"/>
                  <a:pt x="8746227" y="6372254"/>
                </a:cubicBezTo>
                <a:lnTo>
                  <a:pt x="8703844" y="6364943"/>
                </a:lnTo>
                <a:lnTo>
                  <a:pt x="8629420" y="6440746"/>
                </a:lnTo>
                <a:cubicBezTo>
                  <a:pt x="8611870" y="6454153"/>
                  <a:pt x="8585544" y="6463090"/>
                  <a:pt x="8572382" y="6440746"/>
                </a:cubicBezTo>
                <a:cubicBezTo>
                  <a:pt x="8559219" y="6413932"/>
                  <a:pt x="8598707" y="6404994"/>
                  <a:pt x="8603095" y="6382650"/>
                </a:cubicBezTo>
                <a:lnTo>
                  <a:pt x="8603293" y="6382420"/>
                </a:lnTo>
                <a:lnTo>
                  <a:pt x="8602607" y="6382650"/>
                </a:lnTo>
                <a:lnTo>
                  <a:pt x="8580847" y="6334521"/>
                </a:lnTo>
                <a:lnTo>
                  <a:pt x="8536809" y="6360560"/>
                </a:lnTo>
                <a:lnTo>
                  <a:pt x="8534191" y="6361794"/>
                </a:lnTo>
                <a:lnTo>
                  <a:pt x="8506511" y="6409386"/>
                </a:lnTo>
                <a:cubicBezTo>
                  <a:pt x="8494108" y="6420977"/>
                  <a:pt x="8479012" y="6426497"/>
                  <a:pt x="8461758" y="6422082"/>
                </a:cubicBezTo>
                <a:cubicBezTo>
                  <a:pt x="8448817" y="6419875"/>
                  <a:pt x="8449896" y="6409936"/>
                  <a:pt x="8453669" y="6397792"/>
                </a:cubicBezTo>
                <a:lnTo>
                  <a:pt x="8461530" y="6361307"/>
                </a:lnTo>
                <a:lnTo>
                  <a:pt x="8461471" y="6361275"/>
                </a:lnTo>
                <a:cubicBezTo>
                  <a:pt x="8459277" y="6345722"/>
                  <a:pt x="8454889" y="6333504"/>
                  <a:pt x="8447211" y="6325172"/>
                </a:cubicBezTo>
                <a:lnTo>
                  <a:pt x="8413538" y="6312523"/>
                </a:lnTo>
                <a:lnTo>
                  <a:pt x="8387302" y="6334385"/>
                </a:lnTo>
                <a:lnTo>
                  <a:pt x="8386902" y="6333985"/>
                </a:lnTo>
                <a:lnTo>
                  <a:pt x="8386914" y="6334521"/>
                </a:lnTo>
                <a:cubicBezTo>
                  <a:pt x="8312594" y="6436277"/>
                  <a:pt x="8255760" y="6352217"/>
                  <a:pt x="8194556" y="6312399"/>
                </a:cubicBezTo>
                <a:lnTo>
                  <a:pt x="8194556" y="6311002"/>
                </a:lnTo>
                <a:lnTo>
                  <a:pt x="8193318" y="6312876"/>
                </a:lnTo>
                <a:cubicBezTo>
                  <a:pt x="8154335" y="6356595"/>
                  <a:pt x="8128346" y="6404683"/>
                  <a:pt x="8076369" y="6430914"/>
                </a:cubicBezTo>
                <a:lnTo>
                  <a:pt x="8076270" y="6430856"/>
                </a:lnTo>
                <a:lnTo>
                  <a:pt x="8076577" y="6431110"/>
                </a:lnTo>
                <a:cubicBezTo>
                  <a:pt x="8032525" y="6444256"/>
                  <a:pt x="8036930" y="6575707"/>
                  <a:pt x="7953235" y="6479308"/>
                </a:cubicBezTo>
                <a:lnTo>
                  <a:pt x="7953598" y="6478947"/>
                </a:lnTo>
                <a:lnTo>
                  <a:pt x="7883596" y="6409386"/>
                </a:lnTo>
                <a:lnTo>
                  <a:pt x="7862129" y="6405082"/>
                </a:lnTo>
                <a:lnTo>
                  <a:pt x="7861527" y="6404938"/>
                </a:lnTo>
                <a:lnTo>
                  <a:pt x="7862069" y="6405318"/>
                </a:lnTo>
                <a:cubicBezTo>
                  <a:pt x="7844404" y="6405318"/>
                  <a:pt x="7831155" y="6409707"/>
                  <a:pt x="7817906" y="6414094"/>
                </a:cubicBezTo>
                <a:lnTo>
                  <a:pt x="7815195" y="6412622"/>
                </a:lnTo>
                <a:lnTo>
                  <a:pt x="7816487" y="6414316"/>
                </a:lnTo>
                <a:cubicBezTo>
                  <a:pt x="7799138" y="6433851"/>
                  <a:pt x="7778535" y="6443619"/>
                  <a:pt x="7756305" y="6449045"/>
                </a:cubicBezTo>
                <a:lnTo>
                  <a:pt x="7738879" y="6451209"/>
                </a:lnTo>
                <a:lnTo>
                  <a:pt x="7690126" y="6492584"/>
                </a:lnTo>
                <a:cubicBezTo>
                  <a:pt x="7676997" y="6492584"/>
                  <a:pt x="7663868" y="6488181"/>
                  <a:pt x="7655116" y="6479376"/>
                </a:cubicBezTo>
                <a:cubicBezTo>
                  <a:pt x="7646363" y="6479376"/>
                  <a:pt x="7637608" y="6479376"/>
                  <a:pt x="7633232" y="6479376"/>
                </a:cubicBezTo>
                <a:lnTo>
                  <a:pt x="7631792" y="6477927"/>
                </a:lnTo>
                <a:lnTo>
                  <a:pt x="7631498" y="6479178"/>
                </a:lnTo>
                <a:lnTo>
                  <a:pt x="7584928" y="6479178"/>
                </a:lnTo>
                <a:lnTo>
                  <a:pt x="7584757" y="6479715"/>
                </a:lnTo>
                <a:cubicBezTo>
                  <a:pt x="7549210" y="6492815"/>
                  <a:pt x="7531438" y="6540850"/>
                  <a:pt x="7487002" y="6527750"/>
                </a:cubicBezTo>
                <a:lnTo>
                  <a:pt x="7486756" y="6527142"/>
                </a:lnTo>
                <a:lnTo>
                  <a:pt x="7435745" y="6501137"/>
                </a:lnTo>
                <a:lnTo>
                  <a:pt x="7435637" y="6501794"/>
                </a:lnTo>
                <a:cubicBezTo>
                  <a:pt x="7418118" y="6510655"/>
                  <a:pt x="7404980" y="6523946"/>
                  <a:pt x="7391842" y="6532805"/>
                </a:cubicBezTo>
                <a:lnTo>
                  <a:pt x="7389489" y="6531966"/>
                </a:lnTo>
                <a:lnTo>
                  <a:pt x="7364256" y="6574823"/>
                </a:lnTo>
                <a:lnTo>
                  <a:pt x="7365654" y="6576195"/>
                </a:lnTo>
                <a:cubicBezTo>
                  <a:pt x="7365654" y="6593745"/>
                  <a:pt x="7365654" y="6611296"/>
                  <a:pt x="7365654" y="6624459"/>
                </a:cubicBezTo>
                <a:cubicBezTo>
                  <a:pt x="7356715" y="6633233"/>
                  <a:pt x="7352246" y="6642010"/>
                  <a:pt x="7343308" y="6650784"/>
                </a:cubicBezTo>
                <a:cubicBezTo>
                  <a:pt x="7320964" y="6633233"/>
                  <a:pt x="7322080" y="6616780"/>
                  <a:pt x="7328226" y="6600875"/>
                </a:cubicBezTo>
                <a:lnTo>
                  <a:pt x="7342958" y="6555338"/>
                </a:lnTo>
                <a:lnTo>
                  <a:pt x="7342030" y="6553585"/>
                </a:lnTo>
                <a:lnTo>
                  <a:pt x="7299663" y="6553585"/>
                </a:lnTo>
                <a:lnTo>
                  <a:pt x="7298619" y="6554639"/>
                </a:lnTo>
                <a:cubicBezTo>
                  <a:pt x="7280744" y="6576664"/>
                  <a:pt x="7262867" y="6581069"/>
                  <a:pt x="7244992" y="6554639"/>
                </a:cubicBezTo>
                <a:lnTo>
                  <a:pt x="7245220" y="6554173"/>
                </a:lnTo>
                <a:lnTo>
                  <a:pt x="7219611" y="6549927"/>
                </a:lnTo>
                <a:lnTo>
                  <a:pt x="7223012" y="6556985"/>
                </a:lnTo>
                <a:cubicBezTo>
                  <a:pt x="7223543" y="6558086"/>
                  <a:pt x="7223543" y="6558086"/>
                  <a:pt x="7223543" y="6558086"/>
                </a:cubicBezTo>
                <a:cubicBezTo>
                  <a:pt x="7206560" y="6562491"/>
                  <a:pt x="7189578" y="6571302"/>
                  <a:pt x="7172596" y="6575707"/>
                </a:cubicBezTo>
                <a:lnTo>
                  <a:pt x="7172596" y="6529577"/>
                </a:lnTo>
                <a:lnTo>
                  <a:pt x="7172108" y="6529373"/>
                </a:lnTo>
                <a:cubicBezTo>
                  <a:pt x="7172108" y="6502989"/>
                  <a:pt x="7176496" y="6472206"/>
                  <a:pt x="7145784" y="6454616"/>
                </a:cubicBezTo>
                <a:lnTo>
                  <a:pt x="7146814" y="6454013"/>
                </a:lnTo>
                <a:lnTo>
                  <a:pt x="7145538" y="6454295"/>
                </a:lnTo>
                <a:cubicBezTo>
                  <a:pt x="7136762" y="6454295"/>
                  <a:pt x="7136762" y="6454295"/>
                  <a:pt x="7136762" y="6454295"/>
                </a:cubicBezTo>
                <a:lnTo>
                  <a:pt x="7127988" y="6458693"/>
                </a:lnTo>
                <a:lnTo>
                  <a:pt x="7126988" y="6458155"/>
                </a:lnTo>
                <a:lnTo>
                  <a:pt x="7127013" y="6458187"/>
                </a:lnTo>
                <a:cubicBezTo>
                  <a:pt x="7122625" y="6497487"/>
                  <a:pt x="7100686" y="6528055"/>
                  <a:pt x="7078749" y="6554256"/>
                </a:cubicBezTo>
                <a:lnTo>
                  <a:pt x="7078192" y="6553616"/>
                </a:lnTo>
                <a:lnTo>
                  <a:pt x="7078749" y="6555374"/>
                </a:lnTo>
                <a:cubicBezTo>
                  <a:pt x="7056810" y="6621290"/>
                  <a:pt x="6995383" y="6498246"/>
                  <a:pt x="6977833" y="6572952"/>
                </a:cubicBezTo>
                <a:cubicBezTo>
                  <a:pt x="6933956" y="6555374"/>
                  <a:pt x="6885692" y="6546584"/>
                  <a:pt x="6929568" y="6485063"/>
                </a:cubicBezTo>
                <a:lnTo>
                  <a:pt x="6933693" y="6483401"/>
                </a:lnTo>
                <a:lnTo>
                  <a:pt x="6931539" y="6483163"/>
                </a:lnTo>
                <a:cubicBezTo>
                  <a:pt x="6883187" y="6487529"/>
                  <a:pt x="6834835" y="6496263"/>
                  <a:pt x="6786483" y="6500629"/>
                </a:cubicBezTo>
                <a:lnTo>
                  <a:pt x="6786522" y="6500511"/>
                </a:lnTo>
                <a:lnTo>
                  <a:pt x="6785027" y="6502198"/>
                </a:lnTo>
                <a:cubicBezTo>
                  <a:pt x="6785027" y="6519725"/>
                  <a:pt x="6785027" y="6537252"/>
                  <a:pt x="6785027" y="6550398"/>
                </a:cubicBezTo>
                <a:cubicBezTo>
                  <a:pt x="6754461" y="6567925"/>
                  <a:pt x="6723893" y="6581069"/>
                  <a:pt x="6732627" y="6528489"/>
                </a:cubicBezTo>
                <a:lnTo>
                  <a:pt x="6732675" y="6513808"/>
                </a:lnTo>
                <a:lnTo>
                  <a:pt x="6723529" y="6517592"/>
                </a:lnTo>
                <a:cubicBezTo>
                  <a:pt x="6705103" y="6522347"/>
                  <a:pt x="6688327" y="6520309"/>
                  <a:pt x="6674302" y="6508759"/>
                </a:cubicBezTo>
                <a:lnTo>
                  <a:pt x="6669289" y="6502160"/>
                </a:lnTo>
                <a:lnTo>
                  <a:pt x="6654414" y="6509167"/>
                </a:lnTo>
                <a:cubicBezTo>
                  <a:pt x="6632279" y="6516259"/>
                  <a:pt x="6609679" y="6518746"/>
                  <a:pt x="6586849" y="6517343"/>
                </a:cubicBezTo>
                <a:lnTo>
                  <a:pt x="6540846" y="6507228"/>
                </a:lnTo>
                <a:lnTo>
                  <a:pt x="6490780" y="6529871"/>
                </a:lnTo>
                <a:cubicBezTo>
                  <a:pt x="6472798" y="6539456"/>
                  <a:pt x="6455436" y="6551232"/>
                  <a:pt x="6440003" y="6567663"/>
                </a:cubicBezTo>
                <a:cubicBezTo>
                  <a:pt x="6440003" y="6547946"/>
                  <a:pt x="6438901" y="6532609"/>
                  <a:pt x="6437798" y="6519465"/>
                </a:cubicBezTo>
                <a:lnTo>
                  <a:pt x="6435625" y="6484914"/>
                </a:lnTo>
                <a:lnTo>
                  <a:pt x="6414630" y="6505991"/>
                </a:lnTo>
                <a:lnTo>
                  <a:pt x="6411735" y="6474018"/>
                </a:lnTo>
                <a:lnTo>
                  <a:pt x="6411542" y="6474486"/>
                </a:lnTo>
                <a:cubicBezTo>
                  <a:pt x="6407283" y="6483424"/>
                  <a:pt x="6405154" y="6493479"/>
                  <a:pt x="6413670" y="6506885"/>
                </a:cubicBezTo>
                <a:lnTo>
                  <a:pt x="6392576" y="6529022"/>
                </a:lnTo>
                <a:lnTo>
                  <a:pt x="6392576" y="6574826"/>
                </a:lnTo>
                <a:cubicBezTo>
                  <a:pt x="6383949" y="6585175"/>
                  <a:pt x="6368852" y="6590622"/>
                  <a:pt x="6353754" y="6592801"/>
                </a:cubicBezTo>
                <a:cubicBezTo>
                  <a:pt x="6334343" y="6594980"/>
                  <a:pt x="6331109" y="6588443"/>
                  <a:pt x="6332725" y="6579728"/>
                </a:cubicBezTo>
                <a:lnTo>
                  <a:pt x="6340811" y="6553594"/>
                </a:lnTo>
                <a:lnTo>
                  <a:pt x="6340442" y="6553569"/>
                </a:lnTo>
                <a:cubicBezTo>
                  <a:pt x="6296237" y="6527366"/>
                  <a:pt x="6221087" y="6514266"/>
                  <a:pt x="6269712" y="6431297"/>
                </a:cubicBezTo>
                <a:lnTo>
                  <a:pt x="6270376" y="6430914"/>
                </a:lnTo>
                <a:lnTo>
                  <a:pt x="6269351" y="6430914"/>
                </a:lnTo>
                <a:lnTo>
                  <a:pt x="6269351" y="6409365"/>
                </a:lnTo>
                <a:lnTo>
                  <a:pt x="6268863" y="6409465"/>
                </a:lnTo>
                <a:cubicBezTo>
                  <a:pt x="6255700" y="6409465"/>
                  <a:pt x="6242537" y="6409465"/>
                  <a:pt x="6230471" y="6412257"/>
                </a:cubicBezTo>
                <a:lnTo>
                  <a:pt x="6199582" y="6431242"/>
                </a:lnTo>
                <a:lnTo>
                  <a:pt x="6199636" y="6431250"/>
                </a:lnTo>
                <a:cubicBezTo>
                  <a:pt x="6173493" y="6461749"/>
                  <a:pt x="6138635" y="6461749"/>
                  <a:pt x="6095063" y="6479178"/>
                </a:cubicBezTo>
                <a:cubicBezTo>
                  <a:pt x="6097242" y="6457393"/>
                  <a:pt x="6104866" y="6443232"/>
                  <a:pt x="6114669" y="6432883"/>
                </a:cubicBezTo>
                <a:lnTo>
                  <a:pt x="6146155" y="6410319"/>
                </a:lnTo>
                <a:lnTo>
                  <a:pt x="6146009" y="6409465"/>
                </a:lnTo>
                <a:lnTo>
                  <a:pt x="6155566" y="6396976"/>
                </a:lnTo>
                <a:lnTo>
                  <a:pt x="6163251" y="6361307"/>
                </a:lnTo>
                <a:lnTo>
                  <a:pt x="6163192" y="6361275"/>
                </a:lnTo>
                <a:lnTo>
                  <a:pt x="6150099" y="6328126"/>
                </a:lnTo>
                <a:lnTo>
                  <a:pt x="6138298" y="6340350"/>
                </a:lnTo>
                <a:cubicBezTo>
                  <a:pt x="6123630" y="6347990"/>
                  <a:pt x="6105720" y="6352533"/>
                  <a:pt x="6085956" y="6355836"/>
                </a:cubicBezTo>
                <a:lnTo>
                  <a:pt x="6086108" y="6337310"/>
                </a:lnTo>
                <a:lnTo>
                  <a:pt x="6061542" y="6364419"/>
                </a:lnTo>
                <a:cubicBezTo>
                  <a:pt x="6000038" y="6415954"/>
                  <a:pt x="5949831" y="6347240"/>
                  <a:pt x="5896277" y="6312399"/>
                </a:cubicBezTo>
                <a:lnTo>
                  <a:pt x="5896277" y="6311002"/>
                </a:lnTo>
                <a:lnTo>
                  <a:pt x="5895039" y="6312876"/>
                </a:lnTo>
                <a:lnTo>
                  <a:pt x="5886696" y="6323084"/>
                </a:lnTo>
                <a:lnTo>
                  <a:pt x="5884195" y="6338039"/>
                </a:lnTo>
                <a:lnTo>
                  <a:pt x="5875851" y="6336351"/>
                </a:lnTo>
                <a:lnTo>
                  <a:pt x="5841438" y="6378453"/>
                </a:lnTo>
                <a:cubicBezTo>
                  <a:pt x="5823570" y="6399219"/>
                  <a:pt x="5804079" y="6417799"/>
                  <a:pt x="5778090" y="6430914"/>
                </a:cubicBezTo>
                <a:lnTo>
                  <a:pt x="5777991" y="6430856"/>
                </a:lnTo>
                <a:lnTo>
                  <a:pt x="5778298" y="6431110"/>
                </a:lnTo>
                <a:cubicBezTo>
                  <a:pt x="5734246" y="6444256"/>
                  <a:pt x="5738651" y="6575707"/>
                  <a:pt x="5654957" y="6479308"/>
                </a:cubicBezTo>
                <a:lnTo>
                  <a:pt x="5655319" y="6478947"/>
                </a:lnTo>
                <a:lnTo>
                  <a:pt x="5585317" y="6409386"/>
                </a:lnTo>
                <a:lnTo>
                  <a:pt x="5563850" y="6405082"/>
                </a:lnTo>
                <a:lnTo>
                  <a:pt x="5563248" y="6404938"/>
                </a:lnTo>
                <a:lnTo>
                  <a:pt x="5563790" y="6405318"/>
                </a:lnTo>
                <a:cubicBezTo>
                  <a:pt x="5546125" y="6405318"/>
                  <a:pt x="5532876" y="6409707"/>
                  <a:pt x="5519628" y="6414094"/>
                </a:cubicBezTo>
                <a:lnTo>
                  <a:pt x="5516917" y="6412622"/>
                </a:lnTo>
                <a:lnTo>
                  <a:pt x="5518208" y="6414316"/>
                </a:lnTo>
                <a:cubicBezTo>
                  <a:pt x="5483509" y="6453386"/>
                  <a:pt x="5435796" y="6453386"/>
                  <a:pt x="5388083" y="6457728"/>
                </a:cubicBezTo>
                <a:cubicBezTo>
                  <a:pt x="5370734" y="6422998"/>
                  <a:pt x="5379409" y="6396951"/>
                  <a:pt x="5414108" y="6383927"/>
                </a:cubicBezTo>
                <a:lnTo>
                  <a:pt x="5414370" y="6383900"/>
                </a:lnTo>
                <a:lnTo>
                  <a:pt x="5413635" y="6383381"/>
                </a:lnTo>
                <a:cubicBezTo>
                  <a:pt x="5413635" y="6374605"/>
                  <a:pt x="5413635" y="6365830"/>
                  <a:pt x="5413635" y="6361442"/>
                </a:cubicBezTo>
                <a:lnTo>
                  <a:pt x="5414436" y="6360434"/>
                </a:lnTo>
                <a:lnTo>
                  <a:pt x="5413328" y="6361199"/>
                </a:lnTo>
                <a:lnTo>
                  <a:pt x="5380863" y="6313199"/>
                </a:lnTo>
                <a:lnTo>
                  <a:pt x="5331774" y="6335318"/>
                </a:lnTo>
                <a:lnTo>
                  <a:pt x="5330808" y="6335228"/>
                </a:lnTo>
                <a:lnTo>
                  <a:pt x="5319169" y="6369244"/>
                </a:lnTo>
                <a:cubicBezTo>
                  <a:pt x="5312781" y="6376971"/>
                  <a:pt x="5303199" y="6379180"/>
                  <a:pt x="5288293" y="6370347"/>
                </a:cubicBezTo>
                <a:lnTo>
                  <a:pt x="5276879" y="6355846"/>
                </a:lnTo>
                <a:lnTo>
                  <a:pt x="5247392" y="6388281"/>
                </a:lnTo>
                <a:lnTo>
                  <a:pt x="5243597" y="6388658"/>
                </a:lnTo>
                <a:lnTo>
                  <a:pt x="5204379" y="6410370"/>
                </a:lnTo>
                <a:cubicBezTo>
                  <a:pt x="5167100" y="6419582"/>
                  <a:pt x="5145798" y="6387649"/>
                  <a:pt x="5129413" y="6338524"/>
                </a:cubicBezTo>
                <a:lnTo>
                  <a:pt x="5129413" y="6337929"/>
                </a:lnTo>
                <a:lnTo>
                  <a:pt x="5128632" y="6339197"/>
                </a:lnTo>
                <a:cubicBezTo>
                  <a:pt x="5119983" y="6343599"/>
                  <a:pt x="5111333" y="6352399"/>
                  <a:pt x="5102684" y="6361199"/>
                </a:cubicBezTo>
                <a:lnTo>
                  <a:pt x="5101991" y="6360802"/>
                </a:lnTo>
                <a:lnTo>
                  <a:pt x="5085860" y="6378685"/>
                </a:lnTo>
                <a:cubicBezTo>
                  <a:pt x="5079919" y="6385236"/>
                  <a:pt x="5074519" y="6390695"/>
                  <a:pt x="5072359" y="6390695"/>
                </a:cubicBezTo>
                <a:lnTo>
                  <a:pt x="5036807" y="6347135"/>
                </a:lnTo>
                <a:lnTo>
                  <a:pt x="4994442" y="6361199"/>
                </a:lnTo>
                <a:lnTo>
                  <a:pt x="4987237" y="6319158"/>
                </a:lnTo>
                <a:lnTo>
                  <a:pt x="4984463" y="6320980"/>
                </a:lnTo>
                <a:cubicBezTo>
                  <a:pt x="4963169" y="6277006"/>
                  <a:pt x="4975945" y="6241826"/>
                  <a:pt x="5001497" y="6211044"/>
                </a:cubicBezTo>
                <a:lnTo>
                  <a:pt x="5001672" y="6211440"/>
                </a:lnTo>
                <a:lnTo>
                  <a:pt x="5026495" y="6165780"/>
                </a:lnTo>
                <a:lnTo>
                  <a:pt x="5014373" y="6183172"/>
                </a:lnTo>
                <a:cubicBezTo>
                  <a:pt x="4997492" y="6197937"/>
                  <a:pt x="4975361" y="6202859"/>
                  <a:pt x="4943117" y="6190555"/>
                </a:cubicBezTo>
                <a:lnTo>
                  <a:pt x="4934533" y="6186162"/>
                </a:lnTo>
                <a:lnTo>
                  <a:pt x="4910113" y="6194955"/>
                </a:lnTo>
                <a:lnTo>
                  <a:pt x="4910049" y="6194915"/>
                </a:lnTo>
                <a:lnTo>
                  <a:pt x="4899263" y="6231197"/>
                </a:lnTo>
                <a:cubicBezTo>
                  <a:pt x="4890326" y="6239367"/>
                  <a:pt x="4876919" y="6243723"/>
                  <a:pt x="4861278" y="6245902"/>
                </a:cubicBezTo>
                <a:lnTo>
                  <a:pt x="4859861" y="6243250"/>
                </a:lnTo>
                <a:lnTo>
                  <a:pt x="4860564" y="6246726"/>
                </a:lnTo>
                <a:cubicBezTo>
                  <a:pt x="4860564" y="6259720"/>
                  <a:pt x="4860564" y="6272714"/>
                  <a:pt x="4860564" y="6285709"/>
                </a:cubicBezTo>
                <a:cubicBezTo>
                  <a:pt x="4843045" y="6285709"/>
                  <a:pt x="4829906" y="6285709"/>
                  <a:pt x="4812389" y="6285709"/>
                </a:cubicBezTo>
                <a:cubicBezTo>
                  <a:pt x="4781731" y="6298703"/>
                  <a:pt x="4737936" y="6329023"/>
                  <a:pt x="4768592" y="6255389"/>
                </a:cubicBezTo>
                <a:cubicBezTo>
                  <a:pt x="4772972" y="6244561"/>
                  <a:pt x="4775162" y="6235898"/>
                  <a:pt x="4772426" y="6229400"/>
                </a:cubicBezTo>
                <a:lnTo>
                  <a:pt x="4768873" y="6227606"/>
                </a:lnTo>
                <a:lnTo>
                  <a:pt x="4753460" y="6237859"/>
                </a:lnTo>
                <a:cubicBezTo>
                  <a:pt x="4744832" y="6237859"/>
                  <a:pt x="4736205" y="6237859"/>
                  <a:pt x="4731893" y="6237859"/>
                </a:cubicBezTo>
                <a:lnTo>
                  <a:pt x="4732304" y="6227582"/>
                </a:lnTo>
                <a:lnTo>
                  <a:pt x="4727210" y="6231864"/>
                </a:lnTo>
                <a:cubicBezTo>
                  <a:pt x="4705074" y="6246073"/>
                  <a:pt x="4678017" y="6255956"/>
                  <a:pt x="4668179" y="6285608"/>
                </a:cubicBezTo>
                <a:cubicBezTo>
                  <a:pt x="4659433" y="6298787"/>
                  <a:pt x="4646316" y="6303179"/>
                  <a:pt x="4628825" y="6307572"/>
                </a:cubicBezTo>
                <a:lnTo>
                  <a:pt x="4623761" y="6306119"/>
                </a:lnTo>
                <a:lnTo>
                  <a:pt x="4620908" y="6334798"/>
                </a:lnTo>
                <a:cubicBezTo>
                  <a:pt x="4597750" y="6344775"/>
                  <a:pt x="4579554" y="6369720"/>
                  <a:pt x="4555152" y="6381569"/>
                </a:cubicBezTo>
                <a:lnTo>
                  <a:pt x="4528390" y="6387985"/>
                </a:lnTo>
                <a:lnTo>
                  <a:pt x="4528792" y="6388303"/>
                </a:lnTo>
                <a:cubicBezTo>
                  <a:pt x="4524392" y="6440481"/>
                  <a:pt x="4471589" y="6462220"/>
                  <a:pt x="4453989" y="6505703"/>
                </a:cubicBezTo>
                <a:cubicBezTo>
                  <a:pt x="4414386" y="6527442"/>
                  <a:pt x="4379185" y="6527442"/>
                  <a:pt x="4357186" y="6483961"/>
                </a:cubicBezTo>
                <a:lnTo>
                  <a:pt x="4379119" y="6436277"/>
                </a:lnTo>
                <a:lnTo>
                  <a:pt x="4357903" y="6431868"/>
                </a:lnTo>
                <a:lnTo>
                  <a:pt x="4336010" y="6436277"/>
                </a:lnTo>
                <a:lnTo>
                  <a:pt x="4335705" y="6436168"/>
                </a:lnTo>
                <a:lnTo>
                  <a:pt x="4335736" y="6436212"/>
                </a:lnTo>
                <a:cubicBezTo>
                  <a:pt x="4296051" y="6510701"/>
                  <a:pt x="4203456" y="6501938"/>
                  <a:pt x="4141724" y="6567663"/>
                </a:cubicBezTo>
                <a:cubicBezTo>
                  <a:pt x="4141724" y="6547946"/>
                  <a:pt x="4140622" y="6532609"/>
                  <a:pt x="4139519" y="6519465"/>
                </a:cubicBezTo>
                <a:lnTo>
                  <a:pt x="4137346" y="6484914"/>
                </a:lnTo>
                <a:lnTo>
                  <a:pt x="4116351" y="6505991"/>
                </a:lnTo>
                <a:lnTo>
                  <a:pt x="4113456" y="6474018"/>
                </a:lnTo>
                <a:lnTo>
                  <a:pt x="4113263" y="6474486"/>
                </a:lnTo>
                <a:cubicBezTo>
                  <a:pt x="4109004" y="6483424"/>
                  <a:pt x="4106875" y="6493479"/>
                  <a:pt x="4115391" y="6506885"/>
                </a:cubicBezTo>
                <a:lnTo>
                  <a:pt x="4094297" y="6529022"/>
                </a:lnTo>
                <a:lnTo>
                  <a:pt x="4094297" y="6574826"/>
                </a:lnTo>
                <a:cubicBezTo>
                  <a:pt x="4085670" y="6585175"/>
                  <a:pt x="4070573" y="6590622"/>
                  <a:pt x="4055475" y="6592801"/>
                </a:cubicBezTo>
                <a:cubicBezTo>
                  <a:pt x="4036065" y="6594980"/>
                  <a:pt x="4032830" y="6588443"/>
                  <a:pt x="4034446" y="6579728"/>
                </a:cubicBezTo>
                <a:lnTo>
                  <a:pt x="4042532" y="6553594"/>
                </a:lnTo>
                <a:lnTo>
                  <a:pt x="4042163" y="6553569"/>
                </a:lnTo>
                <a:cubicBezTo>
                  <a:pt x="4020061" y="6540468"/>
                  <a:pt x="3990222" y="6530642"/>
                  <a:pt x="3971987" y="6513720"/>
                </a:cubicBezTo>
                <a:lnTo>
                  <a:pt x="3963263" y="6496522"/>
                </a:lnTo>
                <a:lnTo>
                  <a:pt x="3960316" y="6505991"/>
                </a:lnTo>
                <a:cubicBezTo>
                  <a:pt x="3925359" y="6501605"/>
                  <a:pt x="3890402" y="6488441"/>
                  <a:pt x="3864184" y="6457728"/>
                </a:cubicBezTo>
                <a:lnTo>
                  <a:pt x="3865552" y="6455668"/>
                </a:lnTo>
                <a:lnTo>
                  <a:pt x="3862846" y="6456878"/>
                </a:lnTo>
                <a:lnTo>
                  <a:pt x="3862846" y="6457728"/>
                </a:lnTo>
                <a:lnTo>
                  <a:pt x="3860945" y="6457728"/>
                </a:lnTo>
                <a:lnTo>
                  <a:pt x="3855607" y="6460116"/>
                </a:lnTo>
                <a:lnTo>
                  <a:pt x="3835763" y="6466546"/>
                </a:lnTo>
                <a:lnTo>
                  <a:pt x="3809814" y="6521510"/>
                </a:lnTo>
                <a:cubicBezTo>
                  <a:pt x="3794695" y="6539575"/>
                  <a:pt x="3777415" y="6555999"/>
                  <a:pt x="3766615" y="6575707"/>
                </a:cubicBezTo>
                <a:cubicBezTo>
                  <a:pt x="3684535" y="6540671"/>
                  <a:pt x="3792535" y="6514393"/>
                  <a:pt x="3770935" y="6479357"/>
                </a:cubicBezTo>
                <a:lnTo>
                  <a:pt x="3771155" y="6478957"/>
                </a:lnTo>
                <a:lnTo>
                  <a:pt x="3741730" y="6458023"/>
                </a:lnTo>
                <a:lnTo>
                  <a:pt x="3739663" y="6457935"/>
                </a:lnTo>
                <a:cubicBezTo>
                  <a:pt x="3713278" y="6387533"/>
                  <a:pt x="3695689" y="6462335"/>
                  <a:pt x="3673703" y="6466735"/>
                </a:cubicBezTo>
                <a:cubicBezTo>
                  <a:pt x="3647317" y="6466735"/>
                  <a:pt x="3625330" y="6466735"/>
                  <a:pt x="3616535" y="6444734"/>
                </a:cubicBezTo>
                <a:cubicBezTo>
                  <a:pt x="3612139" y="6440334"/>
                  <a:pt x="3634124" y="6422734"/>
                  <a:pt x="3642919" y="6409532"/>
                </a:cubicBezTo>
                <a:lnTo>
                  <a:pt x="3642919" y="6408943"/>
                </a:lnTo>
                <a:lnTo>
                  <a:pt x="3611687" y="6380831"/>
                </a:lnTo>
                <a:lnTo>
                  <a:pt x="3596106" y="6339134"/>
                </a:lnTo>
                <a:lnTo>
                  <a:pt x="3587104" y="6330936"/>
                </a:lnTo>
                <a:lnTo>
                  <a:pt x="3585916" y="6338039"/>
                </a:lnTo>
                <a:cubicBezTo>
                  <a:pt x="3550674" y="6324863"/>
                  <a:pt x="3502219" y="6342430"/>
                  <a:pt x="3489004" y="6289728"/>
                </a:cubicBezTo>
                <a:lnTo>
                  <a:pt x="3475149" y="6278570"/>
                </a:lnTo>
                <a:lnTo>
                  <a:pt x="3472833" y="6280164"/>
                </a:lnTo>
                <a:lnTo>
                  <a:pt x="3488430" y="6291484"/>
                </a:lnTo>
                <a:lnTo>
                  <a:pt x="3458306" y="6290166"/>
                </a:lnTo>
                <a:lnTo>
                  <a:pt x="3447663" y="6297494"/>
                </a:lnTo>
                <a:cubicBezTo>
                  <a:pt x="3436031" y="6302910"/>
                  <a:pt x="3422816" y="6306475"/>
                  <a:pt x="3407398" y="6307572"/>
                </a:cubicBezTo>
                <a:lnTo>
                  <a:pt x="3407006" y="6301316"/>
                </a:lnTo>
                <a:lnTo>
                  <a:pt x="3392825" y="6313828"/>
                </a:lnTo>
                <a:lnTo>
                  <a:pt x="3392258" y="6313786"/>
                </a:lnTo>
                <a:lnTo>
                  <a:pt x="3392780" y="6346276"/>
                </a:lnTo>
                <a:cubicBezTo>
                  <a:pt x="3392236" y="6357213"/>
                  <a:pt x="3387878" y="6364869"/>
                  <a:pt x="3370449" y="6360495"/>
                </a:cubicBezTo>
                <a:cubicBezTo>
                  <a:pt x="3335592" y="6347369"/>
                  <a:pt x="3339948" y="6312371"/>
                  <a:pt x="3370449" y="6286121"/>
                </a:cubicBezTo>
                <a:lnTo>
                  <a:pt x="3371145" y="6286961"/>
                </a:lnTo>
                <a:lnTo>
                  <a:pt x="3403789" y="6250035"/>
                </a:lnTo>
                <a:lnTo>
                  <a:pt x="3403069" y="6238573"/>
                </a:lnTo>
                <a:lnTo>
                  <a:pt x="3342861" y="6211064"/>
                </a:lnTo>
                <a:cubicBezTo>
                  <a:pt x="3327086" y="6200972"/>
                  <a:pt x="3319092" y="6190706"/>
                  <a:pt x="3318583" y="6178495"/>
                </a:cubicBezTo>
                <a:lnTo>
                  <a:pt x="3334413" y="6144566"/>
                </a:lnTo>
                <a:lnTo>
                  <a:pt x="3332611" y="6143410"/>
                </a:lnTo>
                <a:lnTo>
                  <a:pt x="3301041" y="6141974"/>
                </a:lnTo>
                <a:lnTo>
                  <a:pt x="3230969" y="6168351"/>
                </a:lnTo>
                <a:lnTo>
                  <a:pt x="3230590" y="6168419"/>
                </a:lnTo>
                <a:lnTo>
                  <a:pt x="3231021" y="6168767"/>
                </a:lnTo>
                <a:cubicBezTo>
                  <a:pt x="3213401" y="6186286"/>
                  <a:pt x="3195780" y="6203804"/>
                  <a:pt x="3178159" y="6221322"/>
                </a:cubicBezTo>
                <a:lnTo>
                  <a:pt x="3177219" y="6221747"/>
                </a:lnTo>
                <a:lnTo>
                  <a:pt x="3166093" y="6258247"/>
                </a:lnTo>
                <a:cubicBezTo>
                  <a:pt x="3159965" y="6268010"/>
                  <a:pt x="3151796" y="6275521"/>
                  <a:pt x="3142536" y="6281801"/>
                </a:cubicBezTo>
                <a:lnTo>
                  <a:pt x="3082578" y="6312403"/>
                </a:lnTo>
                <a:lnTo>
                  <a:pt x="3082653" y="6313168"/>
                </a:lnTo>
                <a:cubicBezTo>
                  <a:pt x="3064777" y="6322029"/>
                  <a:pt x="3051370" y="6330887"/>
                  <a:pt x="3033495" y="6335318"/>
                </a:cubicBezTo>
                <a:lnTo>
                  <a:pt x="3032529" y="6335228"/>
                </a:lnTo>
                <a:lnTo>
                  <a:pt x="3020890" y="6369244"/>
                </a:lnTo>
                <a:cubicBezTo>
                  <a:pt x="3014502" y="6376971"/>
                  <a:pt x="3004920" y="6379180"/>
                  <a:pt x="2990014" y="6370347"/>
                </a:cubicBezTo>
                <a:cubicBezTo>
                  <a:pt x="2977238" y="6363722"/>
                  <a:pt x="2969786" y="6353786"/>
                  <a:pt x="2968722" y="6343297"/>
                </a:cubicBezTo>
                <a:lnTo>
                  <a:pt x="2985165" y="6313989"/>
                </a:lnTo>
                <a:lnTo>
                  <a:pt x="2984337" y="6313168"/>
                </a:lnTo>
                <a:lnTo>
                  <a:pt x="3033289" y="6264642"/>
                </a:lnTo>
                <a:lnTo>
                  <a:pt x="3003106" y="6243022"/>
                </a:lnTo>
                <a:cubicBezTo>
                  <a:pt x="3003106" y="6243022"/>
                  <a:pt x="3011820" y="6234282"/>
                  <a:pt x="3011820" y="6234282"/>
                </a:cubicBezTo>
                <a:lnTo>
                  <a:pt x="3014108" y="6231748"/>
                </a:lnTo>
                <a:lnTo>
                  <a:pt x="3013211" y="6231966"/>
                </a:lnTo>
                <a:lnTo>
                  <a:pt x="3003379" y="6241950"/>
                </a:lnTo>
                <a:cubicBezTo>
                  <a:pt x="2924581" y="6241950"/>
                  <a:pt x="2889559" y="6326412"/>
                  <a:pt x="2819516" y="6339748"/>
                </a:cubicBezTo>
                <a:cubicBezTo>
                  <a:pt x="2819516" y="6339748"/>
                  <a:pt x="2815138" y="6330857"/>
                  <a:pt x="2815138" y="6330857"/>
                </a:cubicBezTo>
                <a:lnTo>
                  <a:pt x="2815187" y="6330295"/>
                </a:lnTo>
                <a:lnTo>
                  <a:pt x="2814552" y="6331352"/>
                </a:lnTo>
                <a:cubicBezTo>
                  <a:pt x="2796947" y="6335754"/>
                  <a:pt x="2783742" y="6366563"/>
                  <a:pt x="2761734" y="6340155"/>
                </a:cubicBezTo>
                <a:lnTo>
                  <a:pt x="2761307" y="6339572"/>
                </a:lnTo>
                <a:lnTo>
                  <a:pt x="2696163" y="6361199"/>
                </a:lnTo>
                <a:cubicBezTo>
                  <a:pt x="2687413" y="6343770"/>
                  <a:pt x="2684131" y="6328519"/>
                  <a:pt x="2688508" y="6316538"/>
                </a:cubicBezTo>
                <a:lnTo>
                  <a:pt x="2726398" y="6291739"/>
                </a:lnTo>
                <a:lnTo>
                  <a:pt x="2722121" y="6291739"/>
                </a:lnTo>
                <a:lnTo>
                  <a:pt x="2723104" y="6290293"/>
                </a:lnTo>
                <a:lnTo>
                  <a:pt x="2724510" y="6245576"/>
                </a:lnTo>
                <a:lnTo>
                  <a:pt x="2734073" y="6233002"/>
                </a:lnTo>
                <a:lnTo>
                  <a:pt x="2724247" y="6226838"/>
                </a:lnTo>
                <a:cubicBezTo>
                  <a:pt x="2718358" y="6219878"/>
                  <a:pt x="2714616" y="6211418"/>
                  <a:pt x="2712122" y="6202138"/>
                </a:cubicBezTo>
                <a:lnTo>
                  <a:pt x="2710263" y="6186647"/>
                </a:lnTo>
                <a:lnTo>
                  <a:pt x="2697282" y="6194383"/>
                </a:lnTo>
                <a:cubicBezTo>
                  <a:pt x="2690309" y="6196843"/>
                  <a:pt x="2682571" y="6197937"/>
                  <a:pt x="2673891" y="6197390"/>
                </a:cubicBezTo>
                <a:lnTo>
                  <a:pt x="2645346" y="6190674"/>
                </a:lnTo>
                <a:lnTo>
                  <a:pt x="2643430" y="6193128"/>
                </a:lnTo>
                <a:cubicBezTo>
                  <a:pt x="2621168" y="6214165"/>
                  <a:pt x="2591486" y="6224785"/>
                  <a:pt x="2561803" y="6237857"/>
                </a:cubicBezTo>
                <a:lnTo>
                  <a:pt x="2561803" y="6236089"/>
                </a:lnTo>
                <a:lnTo>
                  <a:pt x="2561333" y="6237972"/>
                </a:lnTo>
                <a:cubicBezTo>
                  <a:pt x="2561333" y="6255543"/>
                  <a:pt x="2561333" y="6273114"/>
                  <a:pt x="2561333" y="6286294"/>
                </a:cubicBezTo>
                <a:cubicBezTo>
                  <a:pt x="2495712" y="6332418"/>
                  <a:pt x="2479307" y="6277233"/>
                  <a:pt x="2453058" y="6241198"/>
                </a:cubicBezTo>
                <a:lnTo>
                  <a:pt x="2450065" y="6237859"/>
                </a:lnTo>
                <a:lnTo>
                  <a:pt x="2433614" y="6237859"/>
                </a:lnTo>
                <a:lnTo>
                  <a:pt x="2434213" y="6222869"/>
                </a:lnTo>
                <a:lnTo>
                  <a:pt x="2421340" y="6216008"/>
                </a:lnTo>
                <a:cubicBezTo>
                  <a:pt x="2414778" y="6187454"/>
                  <a:pt x="2421340" y="6172079"/>
                  <a:pt x="2434464" y="6162195"/>
                </a:cubicBezTo>
                <a:lnTo>
                  <a:pt x="2454910" y="6152166"/>
                </a:lnTo>
                <a:lnTo>
                  <a:pt x="2453799" y="6146692"/>
                </a:lnTo>
                <a:lnTo>
                  <a:pt x="2384968" y="6146692"/>
                </a:lnTo>
                <a:lnTo>
                  <a:pt x="2383625" y="6146477"/>
                </a:lnTo>
                <a:lnTo>
                  <a:pt x="2374628" y="6173216"/>
                </a:lnTo>
                <a:cubicBezTo>
                  <a:pt x="2369878" y="6180482"/>
                  <a:pt x="2363639" y="6186242"/>
                  <a:pt x="2356584" y="6191177"/>
                </a:cubicBezTo>
                <a:lnTo>
                  <a:pt x="2310394" y="6216148"/>
                </a:lnTo>
                <a:lnTo>
                  <a:pt x="2310392" y="6216157"/>
                </a:lnTo>
                <a:cubicBezTo>
                  <a:pt x="2310392" y="6277744"/>
                  <a:pt x="2257797" y="6290942"/>
                  <a:pt x="2213966" y="6312936"/>
                </a:cubicBezTo>
                <a:cubicBezTo>
                  <a:pt x="2200817" y="6286542"/>
                  <a:pt x="2183285" y="6308538"/>
                  <a:pt x="2165753" y="6312936"/>
                </a:cubicBezTo>
                <a:cubicBezTo>
                  <a:pt x="2126307" y="6255749"/>
                  <a:pt x="2231499" y="6224954"/>
                  <a:pt x="2192051" y="6167767"/>
                </a:cubicBezTo>
                <a:lnTo>
                  <a:pt x="2191994" y="6167588"/>
                </a:lnTo>
                <a:lnTo>
                  <a:pt x="2191732" y="6168375"/>
                </a:lnTo>
                <a:lnTo>
                  <a:pt x="2122436" y="6194396"/>
                </a:lnTo>
                <a:lnTo>
                  <a:pt x="2122255" y="6194640"/>
                </a:lnTo>
                <a:cubicBezTo>
                  <a:pt x="2086980" y="6225554"/>
                  <a:pt x="2056116" y="6260886"/>
                  <a:pt x="2016432" y="6282966"/>
                </a:cubicBezTo>
                <a:cubicBezTo>
                  <a:pt x="1959110" y="6318297"/>
                  <a:pt x="1981156" y="6265302"/>
                  <a:pt x="1972338" y="6238803"/>
                </a:cubicBezTo>
                <a:lnTo>
                  <a:pt x="1972221" y="6237972"/>
                </a:lnTo>
                <a:lnTo>
                  <a:pt x="1936828" y="6263171"/>
                </a:lnTo>
                <a:cubicBezTo>
                  <a:pt x="1904376" y="6292433"/>
                  <a:pt x="1878086" y="6329788"/>
                  <a:pt x="1832077" y="6339750"/>
                </a:cubicBezTo>
                <a:lnTo>
                  <a:pt x="1828204" y="6333880"/>
                </a:lnTo>
                <a:lnTo>
                  <a:pt x="1827904" y="6334385"/>
                </a:lnTo>
                <a:lnTo>
                  <a:pt x="1825324" y="6334385"/>
                </a:lnTo>
                <a:lnTo>
                  <a:pt x="1826985" y="6335458"/>
                </a:lnTo>
                <a:cubicBezTo>
                  <a:pt x="1831359" y="6339748"/>
                  <a:pt x="1831359" y="6339748"/>
                  <a:pt x="1831359" y="6339748"/>
                </a:cubicBezTo>
                <a:lnTo>
                  <a:pt x="1779575" y="6382065"/>
                </a:lnTo>
                <a:lnTo>
                  <a:pt x="1780415" y="6383780"/>
                </a:lnTo>
                <a:cubicBezTo>
                  <a:pt x="1771620" y="6405654"/>
                  <a:pt x="1758427" y="6418780"/>
                  <a:pt x="1741937" y="6426435"/>
                </a:cubicBezTo>
                <a:lnTo>
                  <a:pt x="1683736" y="6436268"/>
                </a:lnTo>
                <a:lnTo>
                  <a:pt x="1662037" y="6505991"/>
                </a:lnTo>
                <a:cubicBezTo>
                  <a:pt x="1627079" y="6501605"/>
                  <a:pt x="1592122" y="6488441"/>
                  <a:pt x="1565905" y="6457728"/>
                </a:cubicBezTo>
                <a:lnTo>
                  <a:pt x="1569136" y="6452861"/>
                </a:lnTo>
                <a:lnTo>
                  <a:pt x="1565905" y="6452581"/>
                </a:lnTo>
                <a:lnTo>
                  <a:pt x="1566140" y="6452287"/>
                </a:lnTo>
                <a:lnTo>
                  <a:pt x="1564566" y="6453294"/>
                </a:lnTo>
                <a:cubicBezTo>
                  <a:pt x="1564566" y="6457728"/>
                  <a:pt x="1564566" y="6457728"/>
                  <a:pt x="1564566" y="6457728"/>
                </a:cubicBezTo>
                <a:cubicBezTo>
                  <a:pt x="1555947" y="6457728"/>
                  <a:pt x="1555947" y="6457728"/>
                  <a:pt x="1555947" y="6457728"/>
                </a:cubicBezTo>
                <a:lnTo>
                  <a:pt x="1543019" y="6457728"/>
                </a:lnTo>
                <a:lnTo>
                  <a:pt x="1541647" y="6457728"/>
                </a:lnTo>
                <a:lnTo>
                  <a:pt x="1511534" y="6521510"/>
                </a:lnTo>
                <a:cubicBezTo>
                  <a:pt x="1496415" y="6539575"/>
                  <a:pt x="1479135" y="6555999"/>
                  <a:pt x="1468335" y="6575707"/>
                </a:cubicBezTo>
                <a:cubicBezTo>
                  <a:pt x="1386256" y="6540671"/>
                  <a:pt x="1494255" y="6514393"/>
                  <a:pt x="1472655" y="6479357"/>
                </a:cubicBezTo>
                <a:lnTo>
                  <a:pt x="1472875" y="6478957"/>
                </a:lnTo>
                <a:lnTo>
                  <a:pt x="1443450" y="6458023"/>
                </a:lnTo>
                <a:lnTo>
                  <a:pt x="1441383" y="6457935"/>
                </a:lnTo>
                <a:cubicBezTo>
                  <a:pt x="1414998" y="6387533"/>
                  <a:pt x="1397409" y="6462335"/>
                  <a:pt x="1375423" y="6466735"/>
                </a:cubicBezTo>
                <a:cubicBezTo>
                  <a:pt x="1349038" y="6466735"/>
                  <a:pt x="1327050" y="6466735"/>
                  <a:pt x="1318255" y="6444734"/>
                </a:cubicBezTo>
                <a:cubicBezTo>
                  <a:pt x="1313859" y="6440334"/>
                  <a:pt x="1335845" y="6422734"/>
                  <a:pt x="1344640" y="6409532"/>
                </a:cubicBezTo>
                <a:lnTo>
                  <a:pt x="1344640" y="6408943"/>
                </a:lnTo>
                <a:lnTo>
                  <a:pt x="1313408" y="6380831"/>
                </a:lnTo>
                <a:lnTo>
                  <a:pt x="1297827" y="6339134"/>
                </a:lnTo>
                <a:lnTo>
                  <a:pt x="1253804" y="6299043"/>
                </a:lnTo>
                <a:cubicBezTo>
                  <a:pt x="1248868" y="6287185"/>
                  <a:pt x="1252432" y="6276783"/>
                  <a:pt x="1260112" y="6267074"/>
                </a:cubicBezTo>
                <a:lnTo>
                  <a:pt x="1318384" y="6212954"/>
                </a:lnTo>
                <a:lnTo>
                  <a:pt x="1318264" y="6211989"/>
                </a:lnTo>
                <a:cubicBezTo>
                  <a:pt x="1322669" y="6207575"/>
                  <a:pt x="1322669" y="6198741"/>
                  <a:pt x="1322669" y="6189909"/>
                </a:cubicBezTo>
                <a:lnTo>
                  <a:pt x="1323588" y="6188804"/>
                </a:lnTo>
                <a:lnTo>
                  <a:pt x="1323512" y="6188838"/>
                </a:lnTo>
                <a:cubicBezTo>
                  <a:pt x="1305922" y="6186656"/>
                  <a:pt x="1289432" y="6187747"/>
                  <a:pt x="1273491" y="6192113"/>
                </a:cubicBezTo>
                <a:lnTo>
                  <a:pt x="1227059" y="6214891"/>
                </a:lnTo>
                <a:lnTo>
                  <a:pt x="1228056" y="6215432"/>
                </a:lnTo>
                <a:cubicBezTo>
                  <a:pt x="1197221" y="6259308"/>
                  <a:pt x="1170789" y="6303184"/>
                  <a:pt x="1109119" y="6307572"/>
                </a:cubicBezTo>
                <a:lnTo>
                  <a:pt x="1104790" y="6238573"/>
                </a:lnTo>
                <a:lnTo>
                  <a:pt x="1044581" y="6211064"/>
                </a:lnTo>
                <a:cubicBezTo>
                  <a:pt x="1013032" y="6190880"/>
                  <a:pt x="1012604" y="6169997"/>
                  <a:pt x="1040938" y="6134267"/>
                </a:cubicBezTo>
                <a:lnTo>
                  <a:pt x="1078595" y="6093257"/>
                </a:lnTo>
                <a:lnTo>
                  <a:pt x="1082929" y="6075566"/>
                </a:lnTo>
                <a:lnTo>
                  <a:pt x="1082583" y="6073804"/>
                </a:lnTo>
                <a:lnTo>
                  <a:pt x="1053217" y="6059280"/>
                </a:lnTo>
                <a:cubicBezTo>
                  <a:pt x="1030030" y="6032818"/>
                  <a:pt x="1021750" y="5982723"/>
                  <a:pt x="968754" y="6005346"/>
                </a:cubicBezTo>
                <a:lnTo>
                  <a:pt x="968287" y="6004662"/>
                </a:lnTo>
                <a:lnTo>
                  <a:pt x="908401" y="6044096"/>
                </a:lnTo>
                <a:lnTo>
                  <a:pt x="844160" y="6072830"/>
                </a:lnTo>
                <a:lnTo>
                  <a:pt x="842365" y="6075615"/>
                </a:lnTo>
                <a:cubicBezTo>
                  <a:pt x="820414" y="6106224"/>
                  <a:pt x="794073" y="6136833"/>
                  <a:pt x="772123" y="6167439"/>
                </a:cubicBezTo>
                <a:cubicBezTo>
                  <a:pt x="688713" y="6132460"/>
                  <a:pt x="798463" y="6088732"/>
                  <a:pt x="754564" y="6045006"/>
                </a:cubicBezTo>
                <a:cubicBezTo>
                  <a:pt x="679932" y="6062496"/>
                  <a:pt x="636032" y="6149949"/>
                  <a:pt x="552621" y="6167439"/>
                </a:cubicBezTo>
                <a:lnTo>
                  <a:pt x="552351" y="6167448"/>
                </a:lnTo>
                <a:lnTo>
                  <a:pt x="533295" y="6185162"/>
                </a:lnTo>
                <a:cubicBezTo>
                  <a:pt x="525125" y="6188485"/>
                  <a:pt x="515322" y="6189593"/>
                  <a:pt x="504427" y="6189593"/>
                </a:cubicBezTo>
                <a:lnTo>
                  <a:pt x="504253" y="6189027"/>
                </a:lnTo>
                <a:lnTo>
                  <a:pt x="504196" y="6190130"/>
                </a:lnTo>
                <a:cubicBezTo>
                  <a:pt x="490893" y="6216330"/>
                  <a:pt x="477589" y="6251265"/>
                  <a:pt x="450981" y="6242531"/>
                </a:cubicBezTo>
                <a:cubicBezTo>
                  <a:pt x="406636" y="6229430"/>
                  <a:pt x="411071" y="6181396"/>
                  <a:pt x="406636" y="6142096"/>
                </a:cubicBezTo>
                <a:lnTo>
                  <a:pt x="406722" y="6141511"/>
                </a:lnTo>
                <a:lnTo>
                  <a:pt x="363536" y="6167185"/>
                </a:lnTo>
                <a:lnTo>
                  <a:pt x="364665" y="6168142"/>
                </a:lnTo>
                <a:cubicBezTo>
                  <a:pt x="342677" y="6207356"/>
                  <a:pt x="303101" y="6220428"/>
                  <a:pt x="263524" y="6237857"/>
                </a:cubicBezTo>
                <a:lnTo>
                  <a:pt x="263524" y="6236089"/>
                </a:lnTo>
                <a:lnTo>
                  <a:pt x="263054" y="6237972"/>
                </a:lnTo>
                <a:cubicBezTo>
                  <a:pt x="263054" y="6255543"/>
                  <a:pt x="263054" y="6273114"/>
                  <a:pt x="263054" y="6286294"/>
                </a:cubicBezTo>
                <a:cubicBezTo>
                  <a:pt x="175559" y="6347793"/>
                  <a:pt x="175559" y="6229186"/>
                  <a:pt x="123060" y="6216008"/>
                </a:cubicBezTo>
                <a:cubicBezTo>
                  <a:pt x="109936" y="6158900"/>
                  <a:pt x="149309" y="6154508"/>
                  <a:pt x="188683" y="6141329"/>
                </a:cubicBezTo>
                <a:lnTo>
                  <a:pt x="197366" y="6143935"/>
                </a:lnTo>
                <a:lnTo>
                  <a:pt x="198416" y="6138079"/>
                </a:lnTo>
                <a:cubicBezTo>
                  <a:pt x="206352" y="6112061"/>
                  <a:pt x="223446" y="6099672"/>
                  <a:pt x="262517" y="6119494"/>
                </a:cubicBezTo>
                <a:lnTo>
                  <a:pt x="262824" y="6120207"/>
                </a:lnTo>
                <a:lnTo>
                  <a:pt x="262772" y="6119390"/>
                </a:lnTo>
                <a:cubicBezTo>
                  <a:pt x="284922" y="6106227"/>
                  <a:pt x="289352" y="6088677"/>
                  <a:pt x="289352" y="6071126"/>
                </a:cubicBezTo>
                <a:lnTo>
                  <a:pt x="290207" y="6070740"/>
                </a:lnTo>
                <a:lnTo>
                  <a:pt x="358773" y="5974457"/>
                </a:lnTo>
                <a:lnTo>
                  <a:pt x="336037" y="5960179"/>
                </a:lnTo>
                <a:cubicBezTo>
                  <a:pt x="329963" y="5954107"/>
                  <a:pt x="326651" y="5946380"/>
                  <a:pt x="328860" y="5935339"/>
                </a:cubicBezTo>
                <a:cubicBezTo>
                  <a:pt x="331068" y="5922090"/>
                  <a:pt x="338797" y="5914361"/>
                  <a:pt x="348734" y="5909392"/>
                </a:cubicBezTo>
                <a:lnTo>
                  <a:pt x="380756" y="5900320"/>
                </a:lnTo>
                <a:lnTo>
                  <a:pt x="385109" y="5878557"/>
                </a:lnTo>
                <a:lnTo>
                  <a:pt x="386901" y="5878557"/>
                </a:lnTo>
                <a:lnTo>
                  <a:pt x="385577" y="5877780"/>
                </a:lnTo>
                <a:cubicBezTo>
                  <a:pt x="376819" y="5868956"/>
                  <a:pt x="368060" y="5860135"/>
                  <a:pt x="359300" y="5851311"/>
                </a:cubicBezTo>
                <a:lnTo>
                  <a:pt x="360334" y="5849656"/>
                </a:lnTo>
                <a:lnTo>
                  <a:pt x="359300" y="5850080"/>
                </a:lnTo>
                <a:cubicBezTo>
                  <a:pt x="346229" y="5850080"/>
                  <a:pt x="328800" y="5854426"/>
                  <a:pt x="315728" y="5854426"/>
                </a:cubicBezTo>
                <a:lnTo>
                  <a:pt x="315026" y="5853725"/>
                </a:lnTo>
                <a:lnTo>
                  <a:pt x="314509" y="5855667"/>
                </a:lnTo>
                <a:lnTo>
                  <a:pt x="313126" y="5855981"/>
                </a:lnTo>
                <a:lnTo>
                  <a:pt x="315695" y="5856618"/>
                </a:lnTo>
                <a:cubicBezTo>
                  <a:pt x="320069" y="5876363"/>
                  <a:pt x="314600" y="5890623"/>
                  <a:pt x="304756" y="5901592"/>
                </a:cubicBezTo>
                <a:lnTo>
                  <a:pt x="267962" y="5926556"/>
                </a:lnTo>
                <a:lnTo>
                  <a:pt x="268135" y="5926899"/>
                </a:lnTo>
                <a:cubicBezTo>
                  <a:pt x="224134" y="5966199"/>
                  <a:pt x="184531" y="6001134"/>
                  <a:pt x="140530" y="6040436"/>
                </a:cubicBezTo>
                <a:lnTo>
                  <a:pt x="139878" y="6040223"/>
                </a:lnTo>
                <a:lnTo>
                  <a:pt x="140388" y="6041081"/>
                </a:lnTo>
                <a:cubicBezTo>
                  <a:pt x="144793" y="6049903"/>
                  <a:pt x="144793" y="6058726"/>
                  <a:pt x="144793" y="6071960"/>
                </a:cubicBezTo>
                <a:cubicBezTo>
                  <a:pt x="109553" y="6094015"/>
                  <a:pt x="65501" y="6098427"/>
                  <a:pt x="25856" y="6094015"/>
                </a:cubicBezTo>
                <a:cubicBezTo>
                  <a:pt x="25856" y="6080782"/>
                  <a:pt x="25856" y="6063136"/>
                  <a:pt x="25856" y="6045493"/>
                </a:cubicBezTo>
                <a:cubicBezTo>
                  <a:pt x="22552" y="6005790"/>
                  <a:pt x="29160" y="5978495"/>
                  <a:pt x="58688" y="5982218"/>
                </a:cubicBezTo>
                <a:cubicBezTo>
                  <a:pt x="68529" y="5983458"/>
                  <a:pt x="80919" y="5988145"/>
                  <a:pt x="96336" y="5996968"/>
                </a:cubicBezTo>
                <a:lnTo>
                  <a:pt x="96670" y="5997159"/>
                </a:lnTo>
                <a:lnTo>
                  <a:pt x="96529" y="5996767"/>
                </a:lnTo>
                <a:cubicBezTo>
                  <a:pt x="114128" y="5974933"/>
                  <a:pt x="131730" y="5953099"/>
                  <a:pt x="153731" y="5926899"/>
                </a:cubicBezTo>
                <a:lnTo>
                  <a:pt x="158352" y="5924350"/>
                </a:lnTo>
                <a:lnTo>
                  <a:pt x="153220" y="5925156"/>
                </a:lnTo>
                <a:cubicBezTo>
                  <a:pt x="96309" y="5890370"/>
                  <a:pt x="13133" y="5894719"/>
                  <a:pt x="0" y="5803408"/>
                </a:cubicBezTo>
                <a:cubicBezTo>
                  <a:pt x="13133" y="5786015"/>
                  <a:pt x="21889" y="5768623"/>
                  <a:pt x="48155" y="5772970"/>
                </a:cubicBezTo>
                <a:lnTo>
                  <a:pt x="54521" y="5775296"/>
                </a:lnTo>
                <a:lnTo>
                  <a:pt x="77954" y="5746407"/>
                </a:lnTo>
                <a:cubicBezTo>
                  <a:pt x="90533" y="5738162"/>
                  <a:pt x="105844" y="5733764"/>
                  <a:pt x="123344" y="5733764"/>
                </a:cubicBezTo>
                <a:lnTo>
                  <a:pt x="123344" y="5790497"/>
                </a:lnTo>
                <a:lnTo>
                  <a:pt x="123548" y="5790533"/>
                </a:lnTo>
                <a:lnTo>
                  <a:pt x="123548" y="5733381"/>
                </a:lnTo>
                <a:cubicBezTo>
                  <a:pt x="119218" y="5733381"/>
                  <a:pt x="119218" y="5733381"/>
                  <a:pt x="119218" y="5733381"/>
                </a:cubicBezTo>
                <a:lnTo>
                  <a:pt x="187740" y="5707248"/>
                </a:lnTo>
                <a:lnTo>
                  <a:pt x="214161" y="5685500"/>
                </a:lnTo>
                <a:lnTo>
                  <a:pt x="216048" y="5686615"/>
                </a:lnTo>
                <a:lnTo>
                  <a:pt x="214508" y="5684427"/>
                </a:lnTo>
                <a:cubicBezTo>
                  <a:pt x="216726" y="5660095"/>
                  <a:pt x="225595" y="5640185"/>
                  <a:pt x="238343" y="5623041"/>
                </a:cubicBezTo>
                <a:lnTo>
                  <a:pt x="284354" y="5579299"/>
                </a:lnTo>
                <a:lnTo>
                  <a:pt x="284223" y="5577604"/>
                </a:lnTo>
                <a:cubicBezTo>
                  <a:pt x="302098" y="5564411"/>
                  <a:pt x="319975" y="5551218"/>
                  <a:pt x="337850" y="5538027"/>
                </a:cubicBezTo>
                <a:lnTo>
                  <a:pt x="337850" y="5538130"/>
                </a:lnTo>
                <a:lnTo>
                  <a:pt x="362771" y="5517042"/>
                </a:lnTo>
                <a:lnTo>
                  <a:pt x="362759" y="5516848"/>
                </a:lnTo>
                <a:lnTo>
                  <a:pt x="481487" y="5368980"/>
                </a:lnTo>
                <a:lnTo>
                  <a:pt x="445593" y="5365695"/>
                </a:lnTo>
                <a:lnTo>
                  <a:pt x="446097" y="5371724"/>
                </a:lnTo>
                <a:cubicBezTo>
                  <a:pt x="437352" y="5389211"/>
                  <a:pt x="428608" y="5402326"/>
                  <a:pt x="411122" y="5411071"/>
                </a:cubicBezTo>
                <a:lnTo>
                  <a:pt x="387837" y="5425829"/>
                </a:lnTo>
                <a:lnTo>
                  <a:pt x="383276" y="5433982"/>
                </a:lnTo>
                <a:cubicBezTo>
                  <a:pt x="352162" y="5469293"/>
                  <a:pt x="303854" y="5484160"/>
                  <a:pt x="267829" y="5513894"/>
                </a:cubicBezTo>
                <a:lnTo>
                  <a:pt x="267826" y="5513889"/>
                </a:lnTo>
                <a:lnTo>
                  <a:pt x="242189" y="5553992"/>
                </a:lnTo>
                <a:cubicBezTo>
                  <a:pt x="232803" y="5566058"/>
                  <a:pt x="219555" y="5572640"/>
                  <a:pt x="193057" y="5561670"/>
                </a:cubicBezTo>
                <a:lnTo>
                  <a:pt x="193057" y="5560204"/>
                </a:lnTo>
                <a:lnTo>
                  <a:pt x="96529" y="5586289"/>
                </a:lnTo>
                <a:cubicBezTo>
                  <a:pt x="100925" y="5542718"/>
                  <a:pt x="122913" y="5516575"/>
                  <a:pt x="171285" y="5516575"/>
                </a:cubicBezTo>
                <a:lnTo>
                  <a:pt x="171748" y="5516575"/>
                </a:lnTo>
                <a:lnTo>
                  <a:pt x="171606" y="5516480"/>
                </a:lnTo>
                <a:cubicBezTo>
                  <a:pt x="175920" y="5499243"/>
                  <a:pt x="184546" y="5486316"/>
                  <a:pt x="193174" y="5469077"/>
                </a:cubicBezTo>
                <a:cubicBezTo>
                  <a:pt x="214741" y="5451840"/>
                  <a:pt x="240622" y="5434602"/>
                  <a:pt x="262189" y="5417366"/>
                </a:cubicBezTo>
                <a:lnTo>
                  <a:pt x="262189" y="5418653"/>
                </a:lnTo>
                <a:lnTo>
                  <a:pt x="262481" y="5415442"/>
                </a:lnTo>
                <a:cubicBezTo>
                  <a:pt x="271226" y="5397955"/>
                  <a:pt x="279968" y="5384840"/>
                  <a:pt x="288712" y="5371724"/>
                </a:cubicBezTo>
                <a:lnTo>
                  <a:pt x="290035" y="5370159"/>
                </a:lnTo>
                <a:lnTo>
                  <a:pt x="302282" y="5325962"/>
                </a:lnTo>
                <a:lnTo>
                  <a:pt x="337049" y="5297615"/>
                </a:lnTo>
                <a:lnTo>
                  <a:pt x="316399" y="5276552"/>
                </a:lnTo>
                <a:lnTo>
                  <a:pt x="317639" y="5274046"/>
                </a:lnTo>
                <a:lnTo>
                  <a:pt x="315987" y="5275253"/>
                </a:lnTo>
                <a:cubicBezTo>
                  <a:pt x="285089" y="5213651"/>
                  <a:pt x="249778" y="5160850"/>
                  <a:pt x="170328" y="5200451"/>
                </a:cubicBezTo>
                <a:cubicBezTo>
                  <a:pt x="139430" y="5147648"/>
                  <a:pt x="179155" y="5125649"/>
                  <a:pt x="214467" y="5103647"/>
                </a:cubicBezTo>
                <a:lnTo>
                  <a:pt x="214893" y="5103717"/>
                </a:lnTo>
                <a:lnTo>
                  <a:pt x="262937" y="5055214"/>
                </a:lnTo>
                <a:lnTo>
                  <a:pt x="262772" y="5055049"/>
                </a:lnTo>
                <a:cubicBezTo>
                  <a:pt x="271582" y="5024550"/>
                  <a:pt x="285898" y="4998407"/>
                  <a:pt x="305721" y="4978253"/>
                </a:cubicBezTo>
                <a:lnTo>
                  <a:pt x="380760" y="4937916"/>
                </a:lnTo>
                <a:lnTo>
                  <a:pt x="381134" y="4937255"/>
                </a:lnTo>
                <a:lnTo>
                  <a:pt x="385492" y="4915327"/>
                </a:lnTo>
                <a:lnTo>
                  <a:pt x="359971" y="4889525"/>
                </a:lnTo>
                <a:lnTo>
                  <a:pt x="359300" y="4887148"/>
                </a:lnTo>
                <a:lnTo>
                  <a:pt x="359300" y="4889408"/>
                </a:lnTo>
                <a:cubicBezTo>
                  <a:pt x="328587" y="4876136"/>
                  <a:pt x="284711" y="4915955"/>
                  <a:pt x="262772" y="4862863"/>
                </a:cubicBezTo>
                <a:lnTo>
                  <a:pt x="263335" y="4862605"/>
                </a:lnTo>
                <a:lnTo>
                  <a:pt x="262772" y="4862524"/>
                </a:lnTo>
                <a:cubicBezTo>
                  <a:pt x="289123" y="4774453"/>
                  <a:pt x="359393" y="4695189"/>
                  <a:pt x="341826" y="4589505"/>
                </a:cubicBezTo>
                <a:cubicBezTo>
                  <a:pt x="333041" y="4554278"/>
                  <a:pt x="363785" y="4514647"/>
                  <a:pt x="412095" y="4514647"/>
                </a:cubicBezTo>
                <a:cubicBezTo>
                  <a:pt x="491148" y="4514647"/>
                  <a:pt x="504324" y="4466207"/>
                  <a:pt x="504324" y="4404559"/>
                </a:cubicBezTo>
                <a:cubicBezTo>
                  <a:pt x="552634" y="4373734"/>
                  <a:pt x="609729" y="4360524"/>
                  <a:pt x="658038" y="4338506"/>
                </a:cubicBezTo>
                <a:lnTo>
                  <a:pt x="662167" y="4339178"/>
                </a:lnTo>
                <a:lnTo>
                  <a:pt x="714133" y="4276884"/>
                </a:lnTo>
                <a:lnTo>
                  <a:pt x="761734" y="4237260"/>
                </a:lnTo>
                <a:lnTo>
                  <a:pt x="749222" y="4229879"/>
                </a:lnTo>
                <a:cubicBezTo>
                  <a:pt x="734020" y="4215993"/>
                  <a:pt x="739885" y="4201030"/>
                  <a:pt x="748528" y="4185453"/>
                </a:cubicBezTo>
                <a:lnTo>
                  <a:pt x="760611" y="4160747"/>
                </a:lnTo>
                <a:lnTo>
                  <a:pt x="748125" y="4123975"/>
                </a:lnTo>
                <a:lnTo>
                  <a:pt x="703256" y="4145005"/>
                </a:lnTo>
                <a:cubicBezTo>
                  <a:pt x="655513" y="4177800"/>
                  <a:pt x="615180" y="4230272"/>
                  <a:pt x="552622" y="4243389"/>
                </a:cubicBezTo>
                <a:lnTo>
                  <a:pt x="552352" y="4243398"/>
                </a:lnTo>
                <a:lnTo>
                  <a:pt x="533296" y="4261112"/>
                </a:lnTo>
                <a:cubicBezTo>
                  <a:pt x="525126" y="4264435"/>
                  <a:pt x="515323" y="4265543"/>
                  <a:pt x="504428" y="4265543"/>
                </a:cubicBezTo>
                <a:lnTo>
                  <a:pt x="504254" y="4264977"/>
                </a:lnTo>
                <a:lnTo>
                  <a:pt x="504197" y="4266080"/>
                </a:lnTo>
                <a:cubicBezTo>
                  <a:pt x="490894" y="4292280"/>
                  <a:pt x="477590" y="4327215"/>
                  <a:pt x="450982" y="4318481"/>
                </a:cubicBezTo>
                <a:cubicBezTo>
                  <a:pt x="406637" y="4305380"/>
                  <a:pt x="411072" y="4257346"/>
                  <a:pt x="406637" y="4218046"/>
                </a:cubicBezTo>
                <a:lnTo>
                  <a:pt x="406723" y="4217461"/>
                </a:lnTo>
                <a:lnTo>
                  <a:pt x="363537" y="4243135"/>
                </a:lnTo>
                <a:lnTo>
                  <a:pt x="364666" y="4244092"/>
                </a:lnTo>
                <a:cubicBezTo>
                  <a:pt x="342678" y="4283306"/>
                  <a:pt x="303102" y="4296378"/>
                  <a:pt x="263525" y="4313807"/>
                </a:cubicBezTo>
                <a:lnTo>
                  <a:pt x="263525" y="4312039"/>
                </a:lnTo>
                <a:lnTo>
                  <a:pt x="263055" y="4313922"/>
                </a:lnTo>
                <a:cubicBezTo>
                  <a:pt x="263055" y="4331493"/>
                  <a:pt x="263055" y="4349064"/>
                  <a:pt x="263055" y="4362244"/>
                </a:cubicBezTo>
                <a:cubicBezTo>
                  <a:pt x="175560" y="4423743"/>
                  <a:pt x="175560" y="4305136"/>
                  <a:pt x="123061" y="4291958"/>
                </a:cubicBezTo>
                <a:cubicBezTo>
                  <a:pt x="109937" y="4234850"/>
                  <a:pt x="149310" y="4230458"/>
                  <a:pt x="188684" y="4217279"/>
                </a:cubicBezTo>
                <a:lnTo>
                  <a:pt x="197367" y="4219885"/>
                </a:lnTo>
                <a:lnTo>
                  <a:pt x="198417" y="4214029"/>
                </a:lnTo>
                <a:cubicBezTo>
                  <a:pt x="206353" y="4188011"/>
                  <a:pt x="223447" y="4175622"/>
                  <a:pt x="262518" y="4195444"/>
                </a:cubicBezTo>
                <a:lnTo>
                  <a:pt x="262825" y="4196157"/>
                </a:lnTo>
                <a:lnTo>
                  <a:pt x="262773" y="4195340"/>
                </a:lnTo>
                <a:cubicBezTo>
                  <a:pt x="284923" y="4182177"/>
                  <a:pt x="289353" y="4164627"/>
                  <a:pt x="289353" y="4147076"/>
                </a:cubicBezTo>
                <a:lnTo>
                  <a:pt x="290208" y="4146690"/>
                </a:lnTo>
                <a:lnTo>
                  <a:pt x="358774" y="4050407"/>
                </a:lnTo>
                <a:lnTo>
                  <a:pt x="336038" y="4036129"/>
                </a:lnTo>
                <a:cubicBezTo>
                  <a:pt x="329964" y="4030057"/>
                  <a:pt x="326652" y="4022330"/>
                  <a:pt x="328861" y="4011289"/>
                </a:cubicBezTo>
                <a:cubicBezTo>
                  <a:pt x="331069" y="3998040"/>
                  <a:pt x="338798" y="3990311"/>
                  <a:pt x="348735" y="3985342"/>
                </a:cubicBezTo>
                <a:lnTo>
                  <a:pt x="380757" y="3976270"/>
                </a:lnTo>
                <a:lnTo>
                  <a:pt x="385110" y="3954507"/>
                </a:lnTo>
                <a:lnTo>
                  <a:pt x="386902" y="3954507"/>
                </a:lnTo>
                <a:lnTo>
                  <a:pt x="385578" y="3953730"/>
                </a:lnTo>
                <a:cubicBezTo>
                  <a:pt x="376820" y="3944906"/>
                  <a:pt x="368061" y="3936085"/>
                  <a:pt x="359301" y="3927261"/>
                </a:cubicBezTo>
                <a:lnTo>
                  <a:pt x="360335" y="3925606"/>
                </a:lnTo>
                <a:lnTo>
                  <a:pt x="359301" y="3926030"/>
                </a:lnTo>
                <a:cubicBezTo>
                  <a:pt x="346230" y="3926030"/>
                  <a:pt x="328801" y="3930376"/>
                  <a:pt x="315729" y="3930376"/>
                </a:cubicBezTo>
                <a:lnTo>
                  <a:pt x="315027" y="3929675"/>
                </a:lnTo>
                <a:lnTo>
                  <a:pt x="314510" y="3931617"/>
                </a:lnTo>
                <a:lnTo>
                  <a:pt x="313127" y="3931931"/>
                </a:lnTo>
                <a:lnTo>
                  <a:pt x="315696" y="3932568"/>
                </a:lnTo>
                <a:cubicBezTo>
                  <a:pt x="320070" y="3952313"/>
                  <a:pt x="314601" y="3966573"/>
                  <a:pt x="304757" y="3977542"/>
                </a:cubicBezTo>
                <a:lnTo>
                  <a:pt x="267963" y="4002506"/>
                </a:lnTo>
                <a:lnTo>
                  <a:pt x="268136" y="4002849"/>
                </a:lnTo>
                <a:cubicBezTo>
                  <a:pt x="224135" y="4042149"/>
                  <a:pt x="184532" y="4077084"/>
                  <a:pt x="140531" y="4116386"/>
                </a:cubicBezTo>
                <a:lnTo>
                  <a:pt x="139879" y="4116173"/>
                </a:lnTo>
                <a:lnTo>
                  <a:pt x="140389" y="4117031"/>
                </a:lnTo>
                <a:cubicBezTo>
                  <a:pt x="144794" y="4125853"/>
                  <a:pt x="144794" y="4134676"/>
                  <a:pt x="144794" y="4147910"/>
                </a:cubicBezTo>
                <a:cubicBezTo>
                  <a:pt x="109554" y="4169965"/>
                  <a:pt x="65502" y="4174377"/>
                  <a:pt x="25857" y="4169965"/>
                </a:cubicBezTo>
                <a:cubicBezTo>
                  <a:pt x="25857" y="4156732"/>
                  <a:pt x="25857" y="4139086"/>
                  <a:pt x="25857" y="4121443"/>
                </a:cubicBezTo>
                <a:cubicBezTo>
                  <a:pt x="22553" y="4081740"/>
                  <a:pt x="29161" y="4054445"/>
                  <a:pt x="58689" y="4058168"/>
                </a:cubicBezTo>
                <a:cubicBezTo>
                  <a:pt x="68530" y="4059408"/>
                  <a:pt x="80920" y="4064095"/>
                  <a:pt x="96337" y="4072918"/>
                </a:cubicBezTo>
                <a:lnTo>
                  <a:pt x="96671" y="4073109"/>
                </a:lnTo>
                <a:lnTo>
                  <a:pt x="96530" y="4072717"/>
                </a:lnTo>
                <a:cubicBezTo>
                  <a:pt x="114129" y="4050883"/>
                  <a:pt x="131731" y="4029049"/>
                  <a:pt x="153732" y="4002849"/>
                </a:cubicBezTo>
                <a:lnTo>
                  <a:pt x="158353" y="4000300"/>
                </a:lnTo>
                <a:lnTo>
                  <a:pt x="153221" y="4001106"/>
                </a:lnTo>
                <a:cubicBezTo>
                  <a:pt x="96310" y="3966320"/>
                  <a:pt x="13134" y="3970669"/>
                  <a:pt x="1" y="3879358"/>
                </a:cubicBezTo>
                <a:cubicBezTo>
                  <a:pt x="13134" y="3861965"/>
                  <a:pt x="21890" y="3844573"/>
                  <a:pt x="48156" y="3848920"/>
                </a:cubicBezTo>
                <a:lnTo>
                  <a:pt x="54522" y="3851246"/>
                </a:lnTo>
                <a:lnTo>
                  <a:pt x="77955" y="3822357"/>
                </a:lnTo>
                <a:cubicBezTo>
                  <a:pt x="90534" y="3814112"/>
                  <a:pt x="105845" y="3809714"/>
                  <a:pt x="123345" y="3809714"/>
                </a:cubicBezTo>
                <a:lnTo>
                  <a:pt x="123345" y="3866447"/>
                </a:lnTo>
                <a:lnTo>
                  <a:pt x="123549" y="3866483"/>
                </a:lnTo>
                <a:lnTo>
                  <a:pt x="123549" y="3809331"/>
                </a:lnTo>
                <a:cubicBezTo>
                  <a:pt x="119219" y="3809331"/>
                  <a:pt x="119219" y="3809331"/>
                  <a:pt x="119219" y="3809331"/>
                </a:cubicBezTo>
                <a:lnTo>
                  <a:pt x="187741" y="3783198"/>
                </a:lnTo>
                <a:lnTo>
                  <a:pt x="214162" y="3761450"/>
                </a:lnTo>
                <a:lnTo>
                  <a:pt x="216049" y="3762565"/>
                </a:lnTo>
                <a:lnTo>
                  <a:pt x="214509" y="3760377"/>
                </a:lnTo>
                <a:cubicBezTo>
                  <a:pt x="216727" y="3736045"/>
                  <a:pt x="225596" y="3716135"/>
                  <a:pt x="238344" y="3698991"/>
                </a:cubicBezTo>
                <a:lnTo>
                  <a:pt x="284355" y="3655249"/>
                </a:lnTo>
                <a:lnTo>
                  <a:pt x="284224" y="3653554"/>
                </a:lnTo>
                <a:cubicBezTo>
                  <a:pt x="302099" y="3640361"/>
                  <a:pt x="319976" y="3627168"/>
                  <a:pt x="337851" y="3613977"/>
                </a:cubicBezTo>
                <a:lnTo>
                  <a:pt x="337851" y="3614080"/>
                </a:lnTo>
                <a:lnTo>
                  <a:pt x="362772" y="3592992"/>
                </a:lnTo>
                <a:lnTo>
                  <a:pt x="362760" y="3592798"/>
                </a:lnTo>
                <a:lnTo>
                  <a:pt x="481488" y="3444930"/>
                </a:lnTo>
                <a:lnTo>
                  <a:pt x="445594" y="3441645"/>
                </a:lnTo>
                <a:lnTo>
                  <a:pt x="446098" y="3447674"/>
                </a:lnTo>
                <a:cubicBezTo>
                  <a:pt x="437353" y="3465161"/>
                  <a:pt x="428609" y="3478276"/>
                  <a:pt x="411123" y="3487021"/>
                </a:cubicBezTo>
                <a:lnTo>
                  <a:pt x="387838" y="3501779"/>
                </a:lnTo>
                <a:lnTo>
                  <a:pt x="383277" y="3509932"/>
                </a:lnTo>
                <a:cubicBezTo>
                  <a:pt x="352163" y="3545243"/>
                  <a:pt x="303855" y="3560110"/>
                  <a:pt x="267830" y="3589844"/>
                </a:cubicBezTo>
                <a:lnTo>
                  <a:pt x="267827" y="3589839"/>
                </a:lnTo>
                <a:lnTo>
                  <a:pt x="242190" y="3629942"/>
                </a:lnTo>
                <a:cubicBezTo>
                  <a:pt x="232804" y="3642008"/>
                  <a:pt x="219556" y="3648590"/>
                  <a:pt x="193058" y="3637620"/>
                </a:cubicBezTo>
                <a:lnTo>
                  <a:pt x="193058" y="3636154"/>
                </a:lnTo>
                <a:lnTo>
                  <a:pt x="96530" y="3662239"/>
                </a:lnTo>
                <a:cubicBezTo>
                  <a:pt x="100926" y="3618668"/>
                  <a:pt x="122914" y="3592525"/>
                  <a:pt x="171286" y="3592525"/>
                </a:cubicBezTo>
                <a:lnTo>
                  <a:pt x="171749" y="3592525"/>
                </a:lnTo>
                <a:lnTo>
                  <a:pt x="171607" y="3592430"/>
                </a:lnTo>
                <a:cubicBezTo>
                  <a:pt x="175921" y="3575193"/>
                  <a:pt x="184547" y="3562266"/>
                  <a:pt x="193175" y="3545027"/>
                </a:cubicBezTo>
                <a:cubicBezTo>
                  <a:pt x="214742" y="3527790"/>
                  <a:pt x="240623" y="3510552"/>
                  <a:pt x="262190" y="3493316"/>
                </a:cubicBezTo>
                <a:lnTo>
                  <a:pt x="262190" y="3494603"/>
                </a:lnTo>
                <a:lnTo>
                  <a:pt x="262482" y="3491392"/>
                </a:lnTo>
                <a:cubicBezTo>
                  <a:pt x="271227" y="3473905"/>
                  <a:pt x="279969" y="3460790"/>
                  <a:pt x="288713" y="3447674"/>
                </a:cubicBezTo>
                <a:lnTo>
                  <a:pt x="290036" y="3446109"/>
                </a:lnTo>
                <a:lnTo>
                  <a:pt x="302283" y="3401912"/>
                </a:lnTo>
                <a:lnTo>
                  <a:pt x="337050" y="3373565"/>
                </a:lnTo>
                <a:lnTo>
                  <a:pt x="316400" y="3352502"/>
                </a:lnTo>
                <a:lnTo>
                  <a:pt x="317640" y="3349996"/>
                </a:lnTo>
                <a:lnTo>
                  <a:pt x="315988" y="3351203"/>
                </a:lnTo>
                <a:cubicBezTo>
                  <a:pt x="285090" y="3289601"/>
                  <a:pt x="249779" y="3236800"/>
                  <a:pt x="170329" y="3276401"/>
                </a:cubicBezTo>
                <a:cubicBezTo>
                  <a:pt x="139431" y="3223598"/>
                  <a:pt x="179156" y="3201599"/>
                  <a:pt x="214468" y="3179597"/>
                </a:cubicBezTo>
                <a:lnTo>
                  <a:pt x="214894" y="3179667"/>
                </a:lnTo>
                <a:lnTo>
                  <a:pt x="262938" y="3131164"/>
                </a:lnTo>
                <a:lnTo>
                  <a:pt x="262773" y="3130999"/>
                </a:lnTo>
                <a:cubicBezTo>
                  <a:pt x="271583" y="3100500"/>
                  <a:pt x="285899" y="3074358"/>
                  <a:pt x="305722" y="3054203"/>
                </a:cubicBezTo>
                <a:lnTo>
                  <a:pt x="380761" y="3013866"/>
                </a:lnTo>
                <a:lnTo>
                  <a:pt x="381135" y="3013205"/>
                </a:lnTo>
                <a:lnTo>
                  <a:pt x="385493" y="2991277"/>
                </a:lnTo>
                <a:lnTo>
                  <a:pt x="359972" y="2965475"/>
                </a:lnTo>
                <a:lnTo>
                  <a:pt x="359301" y="2963098"/>
                </a:lnTo>
                <a:lnTo>
                  <a:pt x="359301" y="2965358"/>
                </a:lnTo>
                <a:cubicBezTo>
                  <a:pt x="328588" y="2952086"/>
                  <a:pt x="284712" y="2991905"/>
                  <a:pt x="262773" y="2938813"/>
                </a:cubicBezTo>
                <a:lnTo>
                  <a:pt x="263336" y="2938555"/>
                </a:lnTo>
                <a:lnTo>
                  <a:pt x="262773" y="2938474"/>
                </a:lnTo>
                <a:cubicBezTo>
                  <a:pt x="275948" y="2894439"/>
                  <a:pt x="300104" y="2852605"/>
                  <a:pt x="318769" y="2808570"/>
                </a:cubicBezTo>
                <a:lnTo>
                  <a:pt x="329221" y="2775879"/>
                </a:lnTo>
                <a:lnTo>
                  <a:pt x="320692" y="2782169"/>
                </a:lnTo>
                <a:cubicBezTo>
                  <a:pt x="303103" y="2792518"/>
                  <a:pt x="283314" y="2800143"/>
                  <a:pt x="263526" y="2808857"/>
                </a:cubicBezTo>
                <a:lnTo>
                  <a:pt x="263526" y="2807089"/>
                </a:lnTo>
                <a:lnTo>
                  <a:pt x="263056" y="2808972"/>
                </a:lnTo>
                <a:cubicBezTo>
                  <a:pt x="263056" y="2826543"/>
                  <a:pt x="263056" y="2844114"/>
                  <a:pt x="263056" y="2857294"/>
                </a:cubicBezTo>
                <a:cubicBezTo>
                  <a:pt x="175561" y="2918793"/>
                  <a:pt x="175561" y="2800186"/>
                  <a:pt x="123062" y="2787009"/>
                </a:cubicBezTo>
                <a:cubicBezTo>
                  <a:pt x="109938" y="2729900"/>
                  <a:pt x="149311" y="2725508"/>
                  <a:pt x="188685" y="2712329"/>
                </a:cubicBezTo>
                <a:lnTo>
                  <a:pt x="197368" y="2714935"/>
                </a:lnTo>
                <a:lnTo>
                  <a:pt x="198418" y="2709079"/>
                </a:lnTo>
                <a:cubicBezTo>
                  <a:pt x="206354" y="2683061"/>
                  <a:pt x="223448" y="2670672"/>
                  <a:pt x="262519" y="2690494"/>
                </a:cubicBezTo>
                <a:lnTo>
                  <a:pt x="262826" y="2691207"/>
                </a:lnTo>
                <a:lnTo>
                  <a:pt x="262774" y="2690390"/>
                </a:lnTo>
                <a:cubicBezTo>
                  <a:pt x="284924" y="2677227"/>
                  <a:pt x="289354" y="2659677"/>
                  <a:pt x="289354" y="2642126"/>
                </a:cubicBezTo>
                <a:lnTo>
                  <a:pt x="290209" y="2641740"/>
                </a:lnTo>
                <a:lnTo>
                  <a:pt x="358775" y="2545457"/>
                </a:lnTo>
                <a:lnTo>
                  <a:pt x="336039" y="2531179"/>
                </a:lnTo>
                <a:cubicBezTo>
                  <a:pt x="329965" y="2525107"/>
                  <a:pt x="326653" y="2517380"/>
                  <a:pt x="328862" y="2506339"/>
                </a:cubicBezTo>
                <a:cubicBezTo>
                  <a:pt x="331070" y="2493090"/>
                  <a:pt x="338799" y="2485361"/>
                  <a:pt x="348736" y="2480392"/>
                </a:cubicBezTo>
                <a:lnTo>
                  <a:pt x="380758" y="2471320"/>
                </a:lnTo>
                <a:lnTo>
                  <a:pt x="385111" y="2449557"/>
                </a:lnTo>
                <a:lnTo>
                  <a:pt x="386903" y="2449557"/>
                </a:lnTo>
                <a:lnTo>
                  <a:pt x="385579" y="2448780"/>
                </a:lnTo>
                <a:cubicBezTo>
                  <a:pt x="376821" y="2439956"/>
                  <a:pt x="368062" y="2431135"/>
                  <a:pt x="359302" y="2422311"/>
                </a:cubicBezTo>
                <a:lnTo>
                  <a:pt x="360336" y="2420656"/>
                </a:lnTo>
                <a:lnTo>
                  <a:pt x="359302" y="2421080"/>
                </a:lnTo>
                <a:cubicBezTo>
                  <a:pt x="346231" y="2421080"/>
                  <a:pt x="328802" y="2425426"/>
                  <a:pt x="315730" y="2425426"/>
                </a:cubicBezTo>
                <a:lnTo>
                  <a:pt x="315028" y="2424725"/>
                </a:lnTo>
                <a:lnTo>
                  <a:pt x="314511" y="2426667"/>
                </a:lnTo>
                <a:lnTo>
                  <a:pt x="313128" y="2426981"/>
                </a:lnTo>
                <a:lnTo>
                  <a:pt x="315697" y="2427618"/>
                </a:lnTo>
                <a:cubicBezTo>
                  <a:pt x="320071" y="2447363"/>
                  <a:pt x="314602" y="2461623"/>
                  <a:pt x="304758" y="2472592"/>
                </a:cubicBezTo>
                <a:lnTo>
                  <a:pt x="267964" y="2497556"/>
                </a:lnTo>
                <a:lnTo>
                  <a:pt x="268137" y="2497899"/>
                </a:lnTo>
                <a:cubicBezTo>
                  <a:pt x="224136" y="2537199"/>
                  <a:pt x="184533" y="2572134"/>
                  <a:pt x="140532" y="2611436"/>
                </a:cubicBezTo>
                <a:lnTo>
                  <a:pt x="139880" y="2611223"/>
                </a:lnTo>
                <a:lnTo>
                  <a:pt x="140390" y="2612081"/>
                </a:lnTo>
                <a:cubicBezTo>
                  <a:pt x="144795" y="2620903"/>
                  <a:pt x="144795" y="2629726"/>
                  <a:pt x="144795" y="2642960"/>
                </a:cubicBezTo>
                <a:cubicBezTo>
                  <a:pt x="109555" y="2665015"/>
                  <a:pt x="65503" y="2669427"/>
                  <a:pt x="25858" y="2665015"/>
                </a:cubicBezTo>
                <a:cubicBezTo>
                  <a:pt x="25858" y="2651782"/>
                  <a:pt x="25858" y="2634136"/>
                  <a:pt x="25858" y="2616493"/>
                </a:cubicBezTo>
                <a:cubicBezTo>
                  <a:pt x="22554" y="2576790"/>
                  <a:pt x="29162" y="2549495"/>
                  <a:pt x="58690" y="2553218"/>
                </a:cubicBezTo>
                <a:cubicBezTo>
                  <a:pt x="68531" y="2554458"/>
                  <a:pt x="80921" y="2559145"/>
                  <a:pt x="96338" y="2567968"/>
                </a:cubicBezTo>
                <a:lnTo>
                  <a:pt x="96672" y="2568159"/>
                </a:lnTo>
                <a:lnTo>
                  <a:pt x="96531" y="2567767"/>
                </a:lnTo>
                <a:cubicBezTo>
                  <a:pt x="114130" y="2545933"/>
                  <a:pt x="131732" y="2524099"/>
                  <a:pt x="153733" y="2497899"/>
                </a:cubicBezTo>
                <a:lnTo>
                  <a:pt x="158354" y="2495350"/>
                </a:lnTo>
                <a:lnTo>
                  <a:pt x="153222" y="2496156"/>
                </a:lnTo>
                <a:cubicBezTo>
                  <a:pt x="96311" y="2461370"/>
                  <a:pt x="13135" y="2465719"/>
                  <a:pt x="2" y="2374408"/>
                </a:cubicBezTo>
                <a:cubicBezTo>
                  <a:pt x="13135" y="2357015"/>
                  <a:pt x="21891" y="2339623"/>
                  <a:pt x="48157" y="2343970"/>
                </a:cubicBezTo>
                <a:lnTo>
                  <a:pt x="54523" y="2346296"/>
                </a:lnTo>
                <a:lnTo>
                  <a:pt x="77956" y="2317407"/>
                </a:lnTo>
                <a:cubicBezTo>
                  <a:pt x="90535" y="2309162"/>
                  <a:pt x="105846" y="2304764"/>
                  <a:pt x="123346" y="2304764"/>
                </a:cubicBezTo>
                <a:lnTo>
                  <a:pt x="123346" y="2361497"/>
                </a:lnTo>
                <a:lnTo>
                  <a:pt x="123550" y="2361533"/>
                </a:lnTo>
                <a:lnTo>
                  <a:pt x="123550" y="2304381"/>
                </a:lnTo>
                <a:cubicBezTo>
                  <a:pt x="119220" y="2304381"/>
                  <a:pt x="119220" y="2304381"/>
                  <a:pt x="119220" y="2304381"/>
                </a:cubicBezTo>
                <a:lnTo>
                  <a:pt x="187742" y="2278248"/>
                </a:lnTo>
                <a:lnTo>
                  <a:pt x="214163" y="2256500"/>
                </a:lnTo>
                <a:lnTo>
                  <a:pt x="216050" y="2257615"/>
                </a:lnTo>
                <a:lnTo>
                  <a:pt x="214510" y="2255427"/>
                </a:lnTo>
                <a:cubicBezTo>
                  <a:pt x="216728" y="2231095"/>
                  <a:pt x="225597" y="2211185"/>
                  <a:pt x="238345" y="2194041"/>
                </a:cubicBezTo>
                <a:lnTo>
                  <a:pt x="284356" y="2150299"/>
                </a:lnTo>
                <a:lnTo>
                  <a:pt x="284225" y="2148604"/>
                </a:lnTo>
                <a:cubicBezTo>
                  <a:pt x="302100" y="2135411"/>
                  <a:pt x="319977" y="2122218"/>
                  <a:pt x="337852" y="2109027"/>
                </a:cubicBezTo>
                <a:lnTo>
                  <a:pt x="337852" y="2109130"/>
                </a:lnTo>
                <a:lnTo>
                  <a:pt x="362773" y="2088042"/>
                </a:lnTo>
                <a:lnTo>
                  <a:pt x="362761" y="2087848"/>
                </a:lnTo>
                <a:lnTo>
                  <a:pt x="481489" y="1939980"/>
                </a:lnTo>
                <a:lnTo>
                  <a:pt x="445595" y="1936696"/>
                </a:lnTo>
                <a:lnTo>
                  <a:pt x="446099" y="1942725"/>
                </a:lnTo>
                <a:cubicBezTo>
                  <a:pt x="437354" y="1960211"/>
                  <a:pt x="428610" y="1973327"/>
                  <a:pt x="411124" y="1982072"/>
                </a:cubicBezTo>
                <a:lnTo>
                  <a:pt x="387839" y="1996829"/>
                </a:lnTo>
                <a:lnTo>
                  <a:pt x="383278" y="2004982"/>
                </a:lnTo>
                <a:cubicBezTo>
                  <a:pt x="352164" y="2040293"/>
                  <a:pt x="303856" y="2055160"/>
                  <a:pt x="267831" y="2084894"/>
                </a:cubicBezTo>
                <a:lnTo>
                  <a:pt x="267828" y="2084889"/>
                </a:lnTo>
                <a:lnTo>
                  <a:pt x="242191" y="2124992"/>
                </a:lnTo>
                <a:cubicBezTo>
                  <a:pt x="232805" y="2137058"/>
                  <a:pt x="219557" y="2143640"/>
                  <a:pt x="193059" y="2132670"/>
                </a:cubicBezTo>
                <a:lnTo>
                  <a:pt x="193059" y="2131204"/>
                </a:lnTo>
                <a:lnTo>
                  <a:pt x="96531" y="2157289"/>
                </a:lnTo>
                <a:cubicBezTo>
                  <a:pt x="100927" y="2113718"/>
                  <a:pt x="122915" y="2087575"/>
                  <a:pt x="171287" y="2087575"/>
                </a:cubicBezTo>
                <a:lnTo>
                  <a:pt x="171750" y="2087575"/>
                </a:lnTo>
                <a:lnTo>
                  <a:pt x="171608" y="2087480"/>
                </a:lnTo>
                <a:cubicBezTo>
                  <a:pt x="175922" y="2070243"/>
                  <a:pt x="184548" y="2057316"/>
                  <a:pt x="193176" y="2040077"/>
                </a:cubicBezTo>
                <a:cubicBezTo>
                  <a:pt x="214743" y="2022840"/>
                  <a:pt x="240624" y="2005602"/>
                  <a:pt x="262191" y="1988367"/>
                </a:cubicBezTo>
                <a:lnTo>
                  <a:pt x="262191" y="1989654"/>
                </a:lnTo>
                <a:lnTo>
                  <a:pt x="262483" y="1986442"/>
                </a:lnTo>
                <a:cubicBezTo>
                  <a:pt x="271228" y="1968956"/>
                  <a:pt x="279970" y="1955840"/>
                  <a:pt x="288714" y="1942725"/>
                </a:cubicBezTo>
                <a:lnTo>
                  <a:pt x="290037" y="1941160"/>
                </a:lnTo>
                <a:lnTo>
                  <a:pt x="302284" y="1896963"/>
                </a:lnTo>
                <a:lnTo>
                  <a:pt x="337051" y="1868615"/>
                </a:lnTo>
                <a:lnTo>
                  <a:pt x="316401" y="1847552"/>
                </a:lnTo>
                <a:lnTo>
                  <a:pt x="317641" y="1845046"/>
                </a:lnTo>
                <a:lnTo>
                  <a:pt x="315989" y="1846254"/>
                </a:lnTo>
                <a:cubicBezTo>
                  <a:pt x="285091" y="1784651"/>
                  <a:pt x="249780" y="1731851"/>
                  <a:pt x="170330" y="1771452"/>
                </a:cubicBezTo>
                <a:cubicBezTo>
                  <a:pt x="139432" y="1718649"/>
                  <a:pt x="179157" y="1696650"/>
                  <a:pt x="214469" y="1674647"/>
                </a:cubicBezTo>
                <a:lnTo>
                  <a:pt x="214895" y="1674717"/>
                </a:lnTo>
                <a:lnTo>
                  <a:pt x="262939" y="1626215"/>
                </a:lnTo>
                <a:lnTo>
                  <a:pt x="262774" y="1626050"/>
                </a:lnTo>
                <a:cubicBezTo>
                  <a:pt x="271584" y="1595551"/>
                  <a:pt x="285900" y="1569408"/>
                  <a:pt x="305723" y="1549253"/>
                </a:cubicBezTo>
                <a:lnTo>
                  <a:pt x="380762" y="1508917"/>
                </a:lnTo>
                <a:lnTo>
                  <a:pt x="381136" y="1508256"/>
                </a:lnTo>
                <a:lnTo>
                  <a:pt x="385494" y="1486327"/>
                </a:lnTo>
                <a:lnTo>
                  <a:pt x="359973" y="1460525"/>
                </a:lnTo>
                <a:lnTo>
                  <a:pt x="359302" y="1458148"/>
                </a:lnTo>
                <a:lnTo>
                  <a:pt x="359302" y="1460408"/>
                </a:lnTo>
                <a:cubicBezTo>
                  <a:pt x="328589" y="1447136"/>
                  <a:pt x="284713" y="1486955"/>
                  <a:pt x="262774" y="1433863"/>
                </a:cubicBezTo>
                <a:lnTo>
                  <a:pt x="263337" y="1433605"/>
                </a:lnTo>
                <a:lnTo>
                  <a:pt x="262774" y="1433525"/>
                </a:lnTo>
                <a:cubicBezTo>
                  <a:pt x="289125" y="1345453"/>
                  <a:pt x="359395" y="1266190"/>
                  <a:pt x="341828" y="1160505"/>
                </a:cubicBezTo>
                <a:cubicBezTo>
                  <a:pt x="333043" y="1125278"/>
                  <a:pt x="363787" y="1085648"/>
                  <a:pt x="412097" y="1085648"/>
                </a:cubicBezTo>
                <a:cubicBezTo>
                  <a:pt x="491150" y="1085648"/>
                  <a:pt x="504326" y="1037207"/>
                  <a:pt x="504326" y="975559"/>
                </a:cubicBezTo>
                <a:cubicBezTo>
                  <a:pt x="552636" y="944734"/>
                  <a:pt x="609731" y="931524"/>
                  <a:pt x="658040" y="909506"/>
                </a:cubicBezTo>
                <a:lnTo>
                  <a:pt x="662169" y="910178"/>
                </a:lnTo>
                <a:lnTo>
                  <a:pt x="714135" y="847884"/>
                </a:lnTo>
                <a:lnTo>
                  <a:pt x="792777" y="782421"/>
                </a:lnTo>
                <a:lnTo>
                  <a:pt x="762953" y="738639"/>
                </a:lnTo>
                <a:cubicBezTo>
                  <a:pt x="757472" y="721056"/>
                  <a:pt x="754186" y="702376"/>
                  <a:pt x="745416" y="686990"/>
                </a:cubicBezTo>
                <a:cubicBezTo>
                  <a:pt x="762953" y="669407"/>
                  <a:pt x="780491" y="656221"/>
                  <a:pt x="793643" y="638638"/>
                </a:cubicBezTo>
                <a:cubicBezTo>
                  <a:pt x="828719" y="629847"/>
                  <a:pt x="859409" y="621055"/>
                  <a:pt x="890101" y="616660"/>
                </a:cubicBezTo>
                <a:cubicBezTo>
                  <a:pt x="919694" y="589462"/>
                  <a:pt x="949289" y="563655"/>
                  <a:pt x="981226" y="557232"/>
                </a:cubicBezTo>
                <a:cubicBezTo>
                  <a:pt x="991870" y="555090"/>
                  <a:pt x="1002776" y="555104"/>
                  <a:pt x="1014027" y="557936"/>
                </a:cubicBezTo>
                <a:lnTo>
                  <a:pt x="1059447" y="584913"/>
                </a:lnTo>
                <a:lnTo>
                  <a:pt x="1104909" y="519168"/>
                </a:lnTo>
                <a:cubicBezTo>
                  <a:pt x="1122529" y="510408"/>
                  <a:pt x="1140150" y="501651"/>
                  <a:pt x="1157770" y="492891"/>
                </a:cubicBezTo>
                <a:cubicBezTo>
                  <a:pt x="1159973" y="488512"/>
                  <a:pt x="1163277" y="486321"/>
                  <a:pt x="1167131" y="486321"/>
                </a:cubicBezTo>
                <a:lnTo>
                  <a:pt x="1174904" y="490353"/>
                </a:lnTo>
                <a:lnTo>
                  <a:pt x="1187261" y="475339"/>
                </a:lnTo>
                <a:lnTo>
                  <a:pt x="1190018" y="473971"/>
                </a:lnTo>
                <a:lnTo>
                  <a:pt x="1205783" y="444448"/>
                </a:lnTo>
                <a:cubicBezTo>
                  <a:pt x="1218778" y="435599"/>
                  <a:pt x="1236103" y="431176"/>
                  <a:pt x="1249098" y="422327"/>
                </a:cubicBezTo>
                <a:lnTo>
                  <a:pt x="1249537" y="422317"/>
                </a:lnTo>
                <a:lnTo>
                  <a:pt x="1253866" y="400116"/>
                </a:lnTo>
                <a:cubicBezTo>
                  <a:pt x="1266938" y="382239"/>
                  <a:pt x="1280009" y="368833"/>
                  <a:pt x="1301795" y="373302"/>
                </a:cubicBezTo>
                <a:cubicBezTo>
                  <a:pt x="1314866" y="373302"/>
                  <a:pt x="1332295" y="373302"/>
                  <a:pt x="1345367" y="368833"/>
                </a:cubicBezTo>
                <a:lnTo>
                  <a:pt x="1345579" y="371444"/>
                </a:lnTo>
                <a:lnTo>
                  <a:pt x="1345703" y="370821"/>
                </a:lnTo>
                <a:cubicBezTo>
                  <a:pt x="1354416" y="357588"/>
                  <a:pt x="1363132" y="339942"/>
                  <a:pt x="1371846" y="326709"/>
                </a:cubicBezTo>
                <a:cubicBezTo>
                  <a:pt x="1397988" y="317887"/>
                  <a:pt x="1419775" y="348766"/>
                  <a:pt x="1441561" y="326709"/>
                </a:cubicBezTo>
                <a:lnTo>
                  <a:pt x="1442273" y="327719"/>
                </a:lnTo>
                <a:lnTo>
                  <a:pt x="1441971" y="326119"/>
                </a:lnTo>
                <a:cubicBezTo>
                  <a:pt x="1450776" y="277478"/>
                  <a:pt x="1441971" y="233261"/>
                  <a:pt x="1402346" y="189042"/>
                </a:cubicBezTo>
                <a:cubicBezTo>
                  <a:pt x="1490401" y="175776"/>
                  <a:pt x="1450776" y="286322"/>
                  <a:pt x="1516817" y="277478"/>
                </a:cubicBezTo>
                <a:cubicBezTo>
                  <a:pt x="1556440" y="259792"/>
                  <a:pt x="1600468" y="273057"/>
                  <a:pt x="1635690" y="250949"/>
                </a:cubicBezTo>
                <a:cubicBezTo>
                  <a:pt x="1692925" y="193464"/>
                  <a:pt x="1719341" y="264214"/>
                  <a:pt x="1758966" y="277478"/>
                </a:cubicBezTo>
                <a:cubicBezTo>
                  <a:pt x="1758966" y="286322"/>
                  <a:pt x="1758966" y="295166"/>
                  <a:pt x="1758966" y="304010"/>
                </a:cubicBezTo>
                <a:lnTo>
                  <a:pt x="1758545" y="305802"/>
                </a:lnTo>
                <a:lnTo>
                  <a:pt x="1782553" y="325736"/>
                </a:lnTo>
                <a:lnTo>
                  <a:pt x="1783259" y="325408"/>
                </a:lnTo>
                <a:cubicBezTo>
                  <a:pt x="1790921" y="318836"/>
                  <a:pt x="1798582" y="315549"/>
                  <a:pt x="1806244" y="314318"/>
                </a:cubicBezTo>
                <a:cubicBezTo>
                  <a:pt x="1829226" y="310621"/>
                  <a:pt x="1852209" y="325408"/>
                  <a:pt x="1875192" y="325408"/>
                </a:cubicBezTo>
                <a:lnTo>
                  <a:pt x="1878420" y="327715"/>
                </a:lnTo>
                <a:lnTo>
                  <a:pt x="1876943" y="324986"/>
                </a:lnTo>
                <a:cubicBezTo>
                  <a:pt x="1933102" y="320569"/>
                  <a:pt x="1954703" y="342650"/>
                  <a:pt x="1950383" y="395647"/>
                </a:cubicBezTo>
                <a:lnTo>
                  <a:pt x="1949567" y="395459"/>
                </a:lnTo>
                <a:lnTo>
                  <a:pt x="1949612" y="395517"/>
                </a:lnTo>
                <a:cubicBezTo>
                  <a:pt x="1949612" y="404279"/>
                  <a:pt x="1949612" y="413044"/>
                  <a:pt x="1949612" y="421807"/>
                </a:cubicBezTo>
                <a:lnTo>
                  <a:pt x="1951575" y="431625"/>
                </a:lnTo>
                <a:lnTo>
                  <a:pt x="1951575" y="421531"/>
                </a:lnTo>
                <a:cubicBezTo>
                  <a:pt x="2003413" y="417098"/>
                  <a:pt x="2055253" y="425967"/>
                  <a:pt x="2094133" y="465877"/>
                </a:cubicBezTo>
                <a:lnTo>
                  <a:pt x="2091356" y="466341"/>
                </a:lnTo>
                <a:lnTo>
                  <a:pt x="2095217" y="466836"/>
                </a:lnTo>
                <a:cubicBezTo>
                  <a:pt x="2121575" y="475685"/>
                  <a:pt x="2143539" y="457989"/>
                  <a:pt x="2165503" y="444717"/>
                </a:cubicBezTo>
                <a:lnTo>
                  <a:pt x="2167586" y="444950"/>
                </a:lnTo>
                <a:lnTo>
                  <a:pt x="2166529" y="443911"/>
                </a:lnTo>
                <a:cubicBezTo>
                  <a:pt x="2186190" y="405300"/>
                  <a:pt x="2213228" y="388407"/>
                  <a:pt x="2247639" y="391424"/>
                </a:cubicBezTo>
                <a:lnTo>
                  <a:pt x="2282405" y="400462"/>
                </a:lnTo>
                <a:lnTo>
                  <a:pt x="2284001" y="399962"/>
                </a:lnTo>
                <a:lnTo>
                  <a:pt x="2310259" y="369144"/>
                </a:lnTo>
                <a:lnTo>
                  <a:pt x="2310259" y="347168"/>
                </a:lnTo>
                <a:lnTo>
                  <a:pt x="2312731" y="346682"/>
                </a:lnTo>
                <a:lnTo>
                  <a:pt x="2358724" y="294651"/>
                </a:lnTo>
                <a:cubicBezTo>
                  <a:pt x="2384580" y="285712"/>
                  <a:pt x="2406126" y="285712"/>
                  <a:pt x="2431982" y="299118"/>
                </a:cubicBezTo>
                <a:lnTo>
                  <a:pt x="2385181" y="352064"/>
                </a:lnTo>
                <a:lnTo>
                  <a:pt x="2390035" y="376851"/>
                </a:lnTo>
                <a:cubicBezTo>
                  <a:pt x="2393886" y="384546"/>
                  <a:pt x="2400489" y="391142"/>
                  <a:pt x="2411493" y="395540"/>
                </a:cubicBezTo>
                <a:lnTo>
                  <a:pt x="2411440" y="395730"/>
                </a:lnTo>
                <a:lnTo>
                  <a:pt x="2480068" y="374196"/>
                </a:lnTo>
                <a:lnTo>
                  <a:pt x="2483309" y="377755"/>
                </a:lnTo>
                <a:lnTo>
                  <a:pt x="2481934" y="374441"/>
                </a:lnTo>
                <a:cubicBezTo>
                  <a:pt x="2499412" y="356890"/>
                  <a:pt x="2516890" y="343727"/>
                  <a:pt x="2534368" y="330563"/>
                </a:cubicBezTo>
                <a:lnTo>
                  <a:pt x="2536573" y="329801"/>
                </a:lnTo>
                <a:lnTo>
                  <a:pt x="2533874" y="329149"/>
                </a:lnTo>
                <a:cubicBezTo>
                  <a:pt x="2547073" y="285354"/>
                  <a:pt x="2586674" y="285354"/>
                  <a:pt x="2621876" y="276595"/>
                </a:cubicBezTo>
                <a:lnTo>
                  <a:pt x="2624625" y="274573"/>
                </a:lnTo>
                <a:lnTo>
                  <a:pt x="2649669" y="238031"/>
                </a:lnTo>
                <a:cubicBezTo>
                  <a:pt x="2683623" y="209172"/>
                  <a:pt x="2734046" y="207524"/>
                  <a:pt x="2769832" y="181139"/>
                </a:cubicBezTo>
                <a:lnTo>
                  <a:pt x="2766802" y="214937"/>
                </a:lnTo>
                <a:lnTo>
                  <a:pt x="2768128" y="213667"/>
                </a:lnTo>
                <a:lnTo>
                  <a:pt x="2771043" y="181139"/>
                </a:lnTo>
                <a:lnTo>
                  <a:pt x="2817941" y="133559"/>
                </a:lnTo>
                <a:lnTo>
                  <a:pt x="2818373" y="103180"/>
                </a:lnTo>
                <a:cubicBezTo>
                  <a:pt x="2828071" y="79983"/>
                  <a:pt x="2861908" y="84866"/>
                  <a:pt x="2888316" y="84866"/>
                </a:cubicBezTo>
                <a:cubicBezTo>
                  <a:pt x="2910322" y="76184"/>
                  <a:pt x="2936732" y="71842"/>
                  <a:pt x="2958738" y="63160"/>
                </a:cubicBezTo>
                <a:cubicBezTo>
                  <a:pt x="2965342" y="71842"/>
                  <a:pt x="2973045" y="77268"/>
                  <a:pt x="2981297" y="80525"/>
                </a:cubicBezTo>
                <a:lnTo>
                  <a:pt x="3005829" y="84643"/>
                </a:lnTo>
                <a:lnTo>
                  <a:pt x="3005791" y="84611"/>
                </a:lnTo>
                <a:cubicBezTo>
                  <a:pt x="3014677" y="75672"/>
                  <a:pt x="3023564" y="66736"/>
                  <a:pt x="3032450" y="57797"/>
                </a:cubicBezTo>
                <a:lnTo>
                  <a:pt x="3033280" y="57973"/>
                </a:lnTo>
                <a:lnTo>
                  <a:pt x="3034362" y="21069"/>
                </a:lnTo>
                <a:cubicBezTo>
                  <a:pt x="3035452" y="9428"/>
                  <a:pt x="3039809" y="559"/>
                  <a:pt x="3055059" y="559"/>
                </a:cubicBezTo>
                <a:cubicBezTo>
                  <a:pt x="3094273" y="-3875"/>
                  <a:pt x="3124774" y="18297"/>
                  <a:pt x="3129132" y="58209"/>
                </a:cubicBezTo>
                <a:lnTo>
                  <a:pt x="3129125" y="58216"/>
                </a:lnTo>
                <a:lnTo>
                  <a:pt x="3130204" y="57797"/>
                </a:lnTo>
                <a:cubicBezTo>
                  <a:pt x="3161308" y="138238"/>
                  <a:pt x="3072439" y="98017"/>
                  <a:pt x="3059109" y="133768"/>
                </a:cubicBezTo>
                <a:lnTo>
                  <a:pt x="3058413" y="133069"/>
                </a:lnTo>
                <a:lnTo>
                  <a:pt x="3052237" y="159280"/>
                </a:lnTo>
                <a:cubicBezTo>
                  <a:pt x="3048975" y="168139"/>
                  <a:pt x="3043538" y="175891"/>
                  <a:pt x="3032662" y="180322"/>
                </a:cubicBezTo>
                <a:lnTo>
                  <a:pt x="3031678" y="181757"/>
                </a:lnTo>
                <a:lnTo>
                  <a:pt x="3033274" y="181139"/>
                </a:lnTo>
                <a:lnTo>
                  <a:pt x="3058941" y="224091"/>
                </a:lnTo>
                <a:lnTo>
                  <a:pt x="3102318" y="228446"/>
                </a:lnTo>
                <a:lnTo>
                  <a:pt x="3101212" y="230888"/>
                </a:lnTo>
                <a:lnTo>
                  <a:pt x="3103254" y="229074"/>
                </a:lnTo>
                <a:cubicBezTo>
                  <a:pt x="3169012" y="172165"/>
                  <a:pt x="3217234" y="88989"/>
                  <a:pt x="3335596" y="84611"/>
                </a:cubicBezTo>
                <a:cubicBezTo>
                  <a:pt x="3274224" y="141521"/>
                  <a:pt x="3226001" y="185298"/>
                  <a:pt x="3177779" y="229074"/>
                </a:cubicBezTo>
                <a:lnTo>
                  <a:pt x="3177688" y="229576"/>
                </a:lnTo>
                <a:lnTo>
                  <a:pt x="3177800" y="229403"/>
                </a:lnTo>
                <a:cubicBezTo>
                  <a:pt x="3186502" y="229403"/>
                  <a:pt x="3190853" y="229403"/>
                  <a:pt x="3199555" y="229403"/>
                </a:cubicBezTo>
                <a:lnTo>
                  <a:pt x="3200608" y="231871"/>
                </a:lnTo>
                <a:lnTo>
                  <a:pt x="3200990" y="229594"/>
                </a:lnTo>
                <a:cubicBezTo>
                  <a:pt x="3239313" y="225740"/>
                  <a:pt x="3291046" y="191532"/>
                  <a:pt x="3297512" y="247964"/>
                </a:cubicBezTo>
                <a:lnTo>
                  <a:pt x="3297350" y="276646"/>
                </a:lnTo>
                <a:lnTo>
                  <a:pt x="3318919" y="292185"/>
                </a:lnTo>
                <a:cubicBezTo>
                  <a:pt x="3330808" y="296938"/>
                  <a:pt x="3343783" y="297661"/>
                  <a:pt x="3356680" y="297608"/>
                </a:cubicBezTo>
                <a:lnTo>
                  <a:pt x="3392528" y="298353"/>
                </a:lnTo>
                <a:lnTo>
                  <a:pt x="3414649" y="282248"/>
                </a:lnTo>
                <a:cubicBezTo>
                  <a:pt x="3439613" y="276636"/>
                  <a:pt x="3469570" y="296592"/>
                  <a:pt x="3489542" y="276636"/>
                </a:cubicBezTo>
                <a:cubicBezTo>
                  <a:pt x="3512842" y="349806"/>
                  <a:pt x="3463746" y="348143"/>
                  <a:pt x="3424634" y="355834"/>
                </a:cubicBezTo>
                <a:lnTo>
                  <a:pt x="3393994" y="368872"/>
                </a:lnTo>
                <a:lnTo>
                  <a:pt x="3393978" y="368906"/>
                </a:lnTo>
                <a:cubicBezTo>
                  <a:pt x="3385156" y="377723"/>
                  <a:pt x="3376335" y="386538"/>
                  <a:pt x="3367510" y="395353"/>
                </a:cubicBezTo>
                <a:lnTo>
                  <a:pt x="3367233" y="396343"/>
                </a:lnTo>
                <a:lnTo>
                  <a:pt x="3389221" y="439394"/>
                </a:lnTo>
                <a:lnTo>
                  <a:pt x="3389605" y="439769"/>
                </a:lnTo>
                <a:lnTo>
                  <a:pt x="3438156" y="418716"/>
                </a:lnTo>
                <a:cubicBezTo>
                  <a:pt x="3454467" y="412753"/>
                  <a:pt x="3470780" y="408315"/>
                  <a:pt x="3487091" y="406651"/>
                </a:cubicBezTo>
                <a:cubicBezTo>
                  <a:pt x="3503402" y="404987"/>
                  <a:pt x="3519714" y="406096"/>
                  <a:pt x="3536026" y="411227"/>
                </a:cubicBezTo>
                <a:lnTo>
                  <a:pt x="3548865" y="416931"/>
                </a:lnTo>
                <a:lnTo>
                  <a:pt x="3552144" y="400116"/>
                </a:lnTo>
                <a:cubicBezTo>
                  <a:pt x="3565216" y="382239"/>
                  <a:pt x="3578287" y="368833"/>
                  <a:pt x="3600073" y="373302"/>
                </a:cubicBezTo>
                <a:cubicBezTo>
                  <a:pt x="3613144" y="373302"/>
                  <a:pt x="3630573" y="373302"/>
                  <a:pt x="3643645" y="368833"/>
                </a:cubicBezTo>
                <a:lnTo>
                  <a:pt x="3643857" y="371444"/>
                </a:lnTo>
                <a:lnTo>
                  <a:pt x="3643981" y="370821"/>
                </a:lnTo>
                <a:cubicBezTo>
                  <a:pt x="3652694" y="357588"/>
                  <a:pt x="3661410" y="339942"/>
                  <a:pt x="3670124" y="326709"/>
                </a:cubicBezTo>
                <a:cubicBezTo>
                  <a:pt x="3696266" y="317887"/>
                  <a:pt x="3718053" y="348766"/>
                  <a:pt x="3739839" y="326709"/>
                </a:cubicBezTo>
                <a:lnTo>
                  <a:pt x="3740551" y="327719"/>
                </a:lnTo>
                <a:lnTo>
                  <a:pt x="3740249" y="326119"/>
                </a:lnTo>
                <a:cubicBezTo>
                  <a:pt x="3749054" y="277478"/>
                  <a:pt x="3740249" y="233261"/>
                  <a:pt x="3700624" y="189042"/>
                </a:cubicBezTo>
                <a:cubicBezTo>
                  <a:pt x="3788679" y="175776"/>
                  <a:pt x="3749054" y="286322"/>
                  <a:pt x="3815095" y="277478"/>
                </a:cubicBezTo>
                <a:cubicBezTo>
                  <a:pt x="3854718" y="259792"/>
                  <a:pt x="3898746" y="273057"/>
                  <a:pt x="3933968" y="250949"/>
                </a:cubicBezTo>
                <a:cubicBezTo>
                  <a:pt x="3955431" y="229392"/>
                  <a:pt x="3972560" y="225869"/>
                  <a:pt x="3987677" y="230584"/>
                </a:cubicBezTo>
                <a:lnTo>
                  <a:pt x="3996493" y="234891"/>
                </a:lnTo>
                <a:lnTo>
                  <a:pt x="4042007" y="197227"/>
                </a:lnTo>
                <a:lnTo>
                  <a:pt x="4042131" y="197322"/>
                </a:lnTo>
                <a:lnTo>
                  <a:pt x="4067038" y="176506"/>
                </a:lnTo>
                <a:lnTo>
                  <a:pt x="4068181" y="176645"/>
                </a:lnTo>
                <a:lnTo>
                  <a:pt x="4115972" y="132875"/>
                </a:lnTo>
                <a:cubicBezTo>
                  <a:pt x="4177537" y="137305"/>
                  <a:pt x="4133564" y="181605"/>
                  <a:pt x="4137961" y="203755"/>
                </a:cubicBezTo>
                <a:lnTo>
                  <a:pt x="4137986" y="204809"/>
                </a:lnTo>
                <a:lnTo>
                  <a:pt x="4139266" y="203260"/>
                </a:lnTo>
                <a:lnTo>
                  <a:pt x="4231175" y="181195"/>
                </a:lnTo>
                <a:lnTo>
                  <a:pt x="4231162" y="181139"/>
                </a:lnTo>
                <a:cubicBezTo>
                  <a:pt x="4241962" y="166124"/>
                  <a:pt x="4252762" y="155398"/>
                  <a:pt x="4265181" y="150036"/>
                </a:cubicBezTo>
                <a:lnTo>
                  <a:pt x="4307859" y="151081"/>
                </a:lnTo>
                <a:lnTo>
                  <a:pt x="4309010" y="150353"/>
                </a:lnTo>
                <a:cubicBezTo>
                  <a:pt x="4344047" y="132875"/>
                  <a:pt x="4344047" y="163462"/>
                  <a:pt x="4357188" y="180940"/>
                </a:cubicBezTo>
                <a:lnTo>
                  <a:pt x="4356918" y="181208"/>
                </a:lnTo>
                <a:lnTo>
                  <a:pt x="4357521" y="181197"/>
                </a:lnTo>
                <a:cubicBezTo>
                  <a:pt x="4383664" y="163626"/>
                  <a:pt x="4405449" y="146053"/>
                  <a:pt x="4427236" y="132875"/>
                </a:cubicBezTo>
                <a:cubicBezTo>
                  <a:pt x="4466450" y="154839"/>
                  <a:pt x="4496951" y="181197"/>
                  <a:pt x="4501308" y="229518"/>
                </a:cubicBezTo>
                <a:lnTo>
                  <a:pt x="4501015" y="230405"/>
                </a:lnTo>
                <a:lnTo>
                  <a:pt x="4502314" y="229087"/>
                </a:lnTo>
                <a:cubicBezTo>
                  <a:pt x="4554600" y="202590"/>
                  <a:pt x="4567671" y="246753"/>
                  <a:pt x="4563315" y="277667"/>
                </a:cubicBezTo>
                <a:cubicBezTo>
                  <a:pt x="4563315" y="326248"/>
                  <a:pt x="4585101" y="326248"/>
                  <a:pt x="4619959" y="326248"/>
                </a:cubicBezTo>
                <a:lnTo>
                  <a:pt x="4619644" y="326536"/>
                </a:lnTo>
                <a:lnTo>
                  <a:pt x="4620568" y="326170"/>
                </a:lnTo>
                <a:lnTo>
                  <a:pt x="4653771" y="298305"/>
                </a:lnTo>
                <a:lnTo>
                  <a:pt x="4657002" y="294651"/>
                </a:lnTo>
                <a:lnTo>
                  <a:pt x="4658406" y="294415"/>
                </a:lnTo>
                <a:lnTo>
                  <a:pt x="4673110" y="282076"/>
                </a:lnTo>
                <a:lnTo>
                  <a:pt x="4682779" y="290326"/>
                </a:lnTo>
                <a:lnTo>
                  <a:pt x="4693631" y="288505"/>
                </a:lnTo>
                <a:cubicBezTo>
                  <a:pt x="4705481" y="289064"/>
                  <a:pt x="4717331" y="292415"/>
                  <a:pt x="4730259" y="299118"/>
                </a:cubicBezTo>
                <a:lnTo>
                  <a:pt x="4720422" y="310248"/>
                </a:lnTo>
                <a:lnTo>
                  <a:pt x="4725907" y="311685"/>
                </a:lnTo>
                <a:cubicBezTo>
                  <a:pt x="4743198" y="311944"/>
                  <a:pt x="4760335" y="304606"/>
                  <a:pt x="4777780" y="295718"/>
                </a:cubicBezTo>
                <a:lnTo>
                  <a:pt x="4813055" y="277750"/>
                </a:lnTo>
                <a:lnTo>
                  <a:pt x="4813016" y="277725"/>
                </a:lnTo>
                <a:cubicBezTo>
                  <a:pt x="4839341" y="246974"/>
                  <a:pt x="4870054" y="233796"/>
                  <a:pt x="4909543" y="229403"/>
                </a:cubicBezTo>
                <a:lnTo>
                  <a:pt x="4910838" y="231570"/>
                </a:lnTo>
                <a:lnTo>
                  <a:pt x="4910973" y="229224"/>
                </a:lnTo>
                <a:cubicBezTo>
                  <a:pt x="4932323" y="226744"/>
                  <a:pt x="4946591" y="228449"/>
                  <a:pt x="4955971" y="233032"/>
                </a:cubicBezTo>
                <a:lnTo>
                  <a:pt x="4955990" y="233058"/>
                </a:lnTo>
                <a:lnTo>
                  <a:pt x="4976014" y="220677"/>
                </a:lnTo>
                <a:cubicBezTo>
                  <a:pt x="5006197" y="206802"/>
                  <a:pt x="5041270" y="200928"/>
                  <a:pt x="5068110" y="181139"/>
                </a:cubicBezTo>
                <a:lnTo>
                  <a:pt x="5065079" y="214937"/>
                </a:lnTo>
                <a:lnTo>
                  <a:pt x="5066405" y="213667"/>
                </a:lnTo>
                <a:lnTo>
                  <a:pt x="5069320" y="181139"/>
                </a:lnTo>
                <a:lnTo>
                  <a:pt x="5116219" y="133559"/>
                </a:lnTo>
                <a:lnTo>
                  <a:pt x="5116651" y="103180"/>
                </a:lnTo>
                <a:cubicBezTo>
                  <a:pt x="5126349" y="79983"/>
                  <a:pt x="5160186" y="84866"/>
                  <a:pt x="5186593" y="84866"/>
                </a:cubicBezTo>
                <a:cubicBezTo>
                  <a:pt x="5208599" y="76184"/>
                  <a:pt x="5235010" y="71842"/>
                  <a:pt x="5257015" y="63160"/>
                </a:cubicBezTo>
                <a:cubicBezTo>
                  <a:pt x="5263619" y="71842"/>
                  <a:pt x="5271322" y="77268"/>
                  <a:pt x="5279574" y="80525"/>
                </a:cubicBezTo>
                <a:lnTo>
                  <a:pt x="5304106" y="84643"/>
                </a:lnTo>
                <a:lnTo>
                  <a:pt x="5304068" y="84611"/>
                </a:lnTo>
                <a:cubicBezTo>
                  <a:pt x="5312954" y="75672"/>
                  <a:pt x="5321841" y="66736"/>
                  <a:pt x="5330728" y="57797"/>
                </a:cubicBezTo>
                <a:lnTo>
                  <a:pt x="5331557" y="57973"/>
                </a:lnTo>
                <a:lnTo>
                  <a:pt x="5332639" y="21069"/>
                </a:lnTo>
                <a:cubicBezTo>
                  <a:pt x="5333730" y="9428"/>
                  <a:pt x="5338087" y="559"/>
                  <a:pt x="5353337" y="559"/>
                </a:cubicBezTo>
                <a:close/>
              </a:path>
            </a:pathLst>
          </a:custGeom>
          <a:solidFill>
            <a:schemeClr val="bg1">
              <a:lumMod val="95000"/>
            </a:schemeClr>
          </a:solidFill>
        </p:spPr>
        <p:txBody>
          <a:bodyPr wrap="square" anchor="ctr">
            <a:noAutofit/>
          </a:bodyPr>
          <a:lstStyle>
            <a:lvl1pPr marL="0" indent="0" algn="ctr">
              <a:buFontTx/>
              <a:buNone/>
              <a:defRPr sz="1200">
                <a:solidFill>
                  <a:schemeClr val="tx1"/>
                </a:solidFill>
              </a:defRPr>
            </a:lvl1pPr>
          </a:lstStyle>
          <a:p>
            <a:r>
              <a:rPr lang="en-US"/>
              <a:t>Image</a:t>
            </a:r>
          </a:p>
        </p:txBody>
      </p:sp>
    </p:spTree>
    <p:extLst>
      <p:ext uri="{BB962C8B-B14F-4D97-AF65-F5344CB8AC3E}">
        <p14:creationId xmlns:p14="http://schemas.microsoft.com/office/powerpoint/2010/main" val="3928643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1" y="0"/>
            <a:ext cx="12182475" cy="6091238"/>
          </a:xfrm>
          <a:custGeom>
            <a:avLst/>
            <a:gdLst>
              <a:gd name="connsiteX0" fmla="*/ 0 w 12182475"/>
              <a:gd name="connsiteY0" fmla="*/ 0 h 6091238"/>
              <a:gd name="connsiteX1" fmla="*/ 12182475 w 12182475"/>
              <a:gd name="connsiteY1" fmla="*/ 0 h 6091238"/>
              <a:gd name="connsiteX2" fmla="*/ 6091239 w 12182475"/>
              <a:gd name="connsiteY2" fmla="*/ 6091238 h 6091238"/>
            </a:gdLst>
            <a:ahLst/>
            <a:cxnLst>
              <a:cxn ang="0">
                <a:pos x="connsiteX0" y="connsiteY0"/>
              </a:cxn>
              <a:cxn ang="0">
                <a:pos x="connsiteX1" y="connsiteY1"/>
              </a:cxn>
              <a:cxn ang="0">
                <a:pos x="connsiteX2" y="connsiteY2"/>
              </a:cxn>
            </a:cxnLst>
            <a:rect l="l" t="t" r="r" b="b"/>
            <a:pathLst>
              <a:path w="12182475" h="6091238">
                <a:moveTo>
                  <a:pt x="0" y="0"/>
                </a:moveTo>
                <a:lnTo>
                  <a:pt x="12182475" y="0"/>
                </a:lnTo>
                <a:lnTo>
                  <a:pt x="6091239" y="6091238"/>
                </a:lnTo>
                <a:close/>
              </a:path>
            </a:pathLst>
          </a:custGeom>
          <a:solidFill>
            <a:schemeClr val="bg1">
              <a:lumMod val="95000"/>
            </a:schemeClr>
          </a:solidFill>
        </p:spPr>
      </p:sp>
    </p:spTree>
    <p:extLst>
      <p:ext uri="{BB962C8B-B14F-4D97-AF65-F5344CB8AC3E}">
        <p14:creationId xmlns:p14="http://schemas.microsoft.com/office/powerpoint/2010/main" val="2804865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801260" y="0"/>
            <a:ext cx="9390741" cy="6858000"/>
          </a:xfrm>
          <a:custGeom>
            <a:avLst/>
            <a:gdLst>
              <a:gd name="connsiteX0" fmla="*/ 9390741 w 9390741"/>
              <a:gd name="connsiteY0" fmla="*/ 2744432 h 6858000"/>
              <a:gd name="connsiteX1" fmla="*/ 9390741 w 9390741"/>
              <a:gd name="connsiteY1" fmla="*/ 5258113 h 6858000"/>
              <a:gd name="connsiteX2" fmla="*/ 7810132 w 9390741"/>
              <a:gd name="connsiteY2" fmla="*/ 6858000 h 6858000"/>
              <a:gd name="connsiteX3" fmla="*/ 5326741 w 9390741"/>
              <a:gd name="connsiteY3" fmla="*/ 6858000 h 6858000"/>
              <a:gd name="connsiteX4" fmla="*/ 9390741 w 9390741"/>
              <a:gd name="connsiteY4" fmla="*/ 48575 h 6858000"/>
              <a:gd name="connsiteX5" fmla="*/ 9390741 w 9390741"/>
              <a:gd name="connsiteY5" fmla="*/ 2562256 h 6858000"/>
              <a:gd name="connsiteX6" fmla="*/ 5146761 w 9390741"/>
              <a:gd name="connsiteY6" fmla="*/ 6858000 h 6858000"/>
              <a:gd name="connsiteX7" fmla="*/ 2663371 w 9390741"/>
              <a:gd name="connsiteY7" fmla="*/ 6858000 h 6858000"/>
              <a:gd name="connsiteX8" fmla="*/ 6775360 w 9390741"/>
              <a:gd name="connsiteY8" fmla="*/ 0 h 6858000"/>
              <a:gd name="connsiteX9" fmla="*/ 9258751 w 9390741"/>
              <a:gd name="connsiteY9" fmla="*/ 0 h 6858000"/>
              <a:gd name="connsiteX10" fmla="*/ 2483391 w 9390741"/>
              <a:gd name="connsiteY10" fmla="*/ 6858000 h 6858000"/>
              <a:gd name="connsiteX11" fmla="*/ 0 w 939074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90741" h="6858000">
                <a:moveTo>
                  <a:pt x="9390741" y="2744432"/>
                </a:moveTo>
                <a:lnTo>
                  <a:pt x="9390741" y="5258113"/>
                </a:lnTo>
                <a:lnTo>
                  <a:pt x="7810132" y="6858000"/>
                </a:lnTo>
                <a:lnTo>
                  <a:pt x="5326741" y="6858000"/>
                </a:lnTo>
                <a:close/>
                <a:moveTo>
                  <a:pt x="9390741" y="48575"/>
                </a:moveTo>
                <a:lnTo>
                  <a:pt x="9390741" y="2562256"/>
                </a:lnTo>
                <a:lnTo>
                  <a:pt x="5146761" y="6858000"/>
                </a:lnTo>
                <a:lnTo>
                  <a:pt x="2663371" y="6858000"/>
                </a:lnTo>
                <a:close/>
                <a:moveTo>
                  <a:pt x="6775360" y="0"/>
                </a:moveTo>
                <a:lnTo>
                  <a:pt x="9258751" y="0"/>
                </a:lnTo>
                <a:lnTo>
                  <a:pt x="2483391" y="6858000"/>
                </a:lnTo>
                <a:lnTo>
                  <a:pt x="0" y="6858000"/>
                </a:lnTo>
                <a:close/>
              </a:path>
            </a:pathLst>
          </a:custGeom>
        </p:spPr>
      </p:sp>
    </p:spTree>
    <p:extLst>
      <p:ext uri="{BB962C8B-B14F-4D97-AF65-F5344CB8AC3E}">
        <p14:creationId xmlns:p14="http://schemas.microsoft.com/office/powerpoint/2010/main" val="1954905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Picture Placeholder 2"/>
          <p:cNvSpPr>
            <a:spLocks noGrp="1"/>
          </p:cNvSpPr>
          <p:nvPr>
            <p:ph type="pic" sz="quarter" idx="27"/>
          </p:nvPr>
        </p:nvSpPr>
        <p:spPr>
          <a:xfrm>
            <a:off x="0" y="0"/>
            <a:ext cx="10840357" cy="5924740"/>
          </a:xfrm>
          <a:custGeom>
            <a:avLst/>
            <a:gdLst>
              <a:gd name="connsiteX0" fmla="*/ 0 w 10840357"/>
              <a:gd name="connsiteY0" fmla="*/ 3740338 h 5924740"/>
              <a:gd name="connsiteX1" fmla="*/ 1028701 w 10840357"/>
              <a:gd name="connsiteY1" fmla="*/ 4769040 h 5924740"/>
              <a:gd name="connsiteX2" fmla="*/ 0 w 10840357"/>
              <a:gd name="connsiteY2" fmla="*/ 5797742 h 5924740"/>
              <a:gd name="connsiteX3" fmla="*/ 2349501 w 10840357"/>
              <a:gd name="connsiteY3" fmla="*/ 3613340 h 5924740"/>
              <a:gd name="connsiteX4" fmla="*/ 3505201 w 10840357"/>
              <a:gd name="connsiteY4" fmla="*/ 4769040 h 5924740"/>
              <a:gd name="connsiteX5" fmla="*/ 2349501 w 10840357"/>
              <a:gd name="connsiteY5" fmla="*/ 5924740 h 5924740"/>
              <a:gd name="connsiteX6" fmla="*/ 1193801 w 10840357"/>
              <a:gd name="connsiteY6" fmla="*/ 4769040 h 5924740"/>
              <a:gd name="connsiteX7" fmla="*/ 6072414 w 10840357"/>
              <a:gd name="connsiteY7" fmla="*/ 2389330 h 5924740"/>
              <a:gd name="connsiteX8" fmla="*/ 7228114 w 10840357"/>
              <a:gd name="connsiteY8" fmla="*/ 3545030 h 5924740"/>
              <a:gd name="connsiteX9" fmla="*/ 6072414 w 10840357"/>
              <a:gd name="connsiteY9" fmla="*/ 4700730 h 5924740"/>
              <a:gd name="connsiteX10" fmla="*/ 4916714 w 10840357"/>
              <a:gd name="connsiteY10" fmla="*/ 3545030 h 5924740"/>
              <a:gd name="connsiteX11" fmla="*/ 3595916 w 10840357"/>
              <a:gd name="connsiteY11" fmla="*/ 2389330 h 5924740"/>
              <a:gd name="connsiteX12" fmla="*/ 4751615 w 10840357"/>
              <a:gd name="connsiteY12" fmla="*/ 3545030 h 5924740"/>
              <a:gd name="connsiteX13" fmla="*/ 3595916 w 10840357"/>
              <a:gd name="connsiteY13" fmla="*/ 4700730 h 5924740"/>
              <a:gd name="connsiteX14" fmla="*/ 2440216 w 10840357"/>
              <a:gd name="connsiteY14" fmla="*/ 3545030 h 5924740"/>
              <a:gd name="connsiteX15" fmla="*/ 1111252 w 10840357"/>
              <a:gd name="connsiteY15" fmla="*/ 2389330 h 5924740"/>
              <a:gd name="connsiteX16" fmla="*/ 2266952 w 10840357"/>
              <a:gd name="connsiteY16" fmla="*/ 3545030 h 5924740"/>
              <a:gd name="connsiteX17" fmla="*/ 1111252 w 10840357"/>
              <a:gd name="connsiteY17" fmla="*/ 4700730 h 5924740"/>
              <a:gd name="connsiteX18" fmla="*/ 0 w 10840357"/>
              <a:gd name="connsiteY18" fmla="*/ 3589478 h 5924740"/>
              <a:gd name="connsiteX19" fmla="*/ 0 w 10840357"/>
              <a:gd name="connsiteY19" fmla="*/ 3500582 h 5924740"/>
              <a:gd name="connsiteX20" fmla="*/ 0 w 10840357"/>
              <a:gd name="connsiteY20" fmla="*/ 1292320 h 5924740"/>
              <a:gd name="connsiteX21" fmla="*/ 1028701 w 10840357"/>
              <a:gd name="connsiteY21" fmla="*/ 2321020 h 5924740"/>
              <a:gd name="connsiteX22" fmla="*/ 0 w 10840357"/>
              <a:gd name="connsiteY22" fmla="*/ 3349721 h 5924740"/>
              <a:gd name="connsiteX23" fmla="*/ 4834164 w 10840357"/>
              <a:gd name="connsiteY23" fmla="*/ 1165321 h 5924740"/>
              <a:gd name="connsiteX24" fmla="*/ 5989864 w 10840357"/>
              <a:gd name="connsiteY24" fmla="*/ 2321020 h 5924740"/>
              <a:gd name="connsiteX25" fmla="*/ 4834164 w 10840357"/>
              <a:gd name="connsiteY25" fmla="*/ 3476720 h 5924740"/>
              <a:gd name="connsiteX26" fmla="*/ 3678466 w 10840357"/>
              <a:gd name="connsiteY26" fmla="*/ 2321020 h 5924740"/>
              <a:gd name="connsiteX27" fmla="*/ 2357666 w 10840357"/>
              <a:gd name="connsiteY27" fmla="*/ 1165321 h 5924740"/>
              <a:gd name="connsiteX28" fmla="*/ 3513367 w 10840357"/>
              <a:gd name="connsiteY28" fmla="*/ 2321020 h 5924740"/>
              <a:gd name="connsiteX29" fmla="*/ 2357666 w 10840357"/>
              <a:gd name="connsiteY29" fmla="*/ 3476720 h 5924740"/>
              <a:gd name="connsiteX30" fmla="*/ 1201966 w 10840357"/>
              <a:gd name="connsiteY30" fmla="*/ 2321020 h 5924740"/>
              <a:gd name="connsiteX31" fmla="*/ 7310664 w 10840357"/>
              <a:gd name="connsiteY31" fmla="*/ 1165320 h 5924740"/>
              <a:gd name="connsiteX32" fmla="*/ 8466364 w 10840357"/>
              <a:gd name="connsiteY32" fmla="*/ 2321020 h 5924740"/>
              <a:gd name="connsiteX33" fmla="*/ 7310664 w 10840357"/>
              <a:gd name="connsiteY33" fmla="*/ 3476720 h 5924740"/>
              <a:gd name="connsiteX34" fmla="*/ 6154964 w 10840357"/>
              <a:gd name="connsiteY34" fmla="*/ 2321020 h 5924740"/>
              <a:gd name="connsiteX35" fmla="*/ 8782955 w 10840357"/>
              <a:gd name="connsiteY35" fmla="*/ 0 h 5924740"/>
              <a:gd name="connsiteX36" fmla="*/ 10840357 w 10840357"/>
              <a:gd name="connsiteY36" fmla="*/ 0 h 5924740"/>
              <a:gd name="connsiteX37" fmla="*/ 9811656 w 10840357"/>
              <a:gd name="connsiteY37" fmla="*/ 1028701 h 5924740"/>
              <a:gd name="connsiteX38" fmla="*/ 8498388 w 10840357"/>
              <a:gd name="connsiteY38" fmla="*/ 0 h 5924740"/>
              <a:gd name="connsiteX39" fmla="*/ 8615768 w 10840357"/>
              <a:gd name="connsiteY39" fmla="*/ 0 h 5924740"/>
              <a:gd name="connsiteX40" fmla="*/ 9712778 w 10840357"/>
              <a:gd name="connsiteY40" fmla="*/ 1097010 h 5924740"/>
              <a:gd name="connsiteX41" fmla="*/ 8557078 w 10840357"/>
              <a:gd name="connsiteY41" fmla="*/ 2252710 h 5924740"/>
              <a:gd name="connsiteX42" fmla="*/ 7401378 w 10840357"/>
              <a:gd name="connsiteY42" fmla="*/ 1097010 h 5924740"/>
              <a:gd name="connsiteX43" fmla="*/ 6298292 w 10840357"/>
              <a:gd name="connsiteY43" fmla="*/ 0 h 5924740"/>
              <a:gd name="connsiteX44" fmla="*/ 8355692 w 10840357"/>
              <a:gd name="connsiteY44" fmla="*/ 0 h 5924740"/>
              <a:gd name="connsiteX45" fmla="*/ 7326992 w 10840357"/>
              <a:gd name="connsiteY45" fmla="*/ 1028700 h 5924740"/>
              <a:gd name="connsiteX46" fmla="*/ 6013725 w 10840357"/>
              <a:gd name="connsiteY46" fmla="*/ 0 h 5924740"/>
              <a:gd name="connsiteX47" fmla="*/ 6131103 w 10840357"/>
              <a:gd name="connsiteY47" fmla="*/ 0 h 5924740"/>
              <a:gd name="connsiteX48" fmla="*/ 7228114 w 10840357"/>
              <a:gd name="connsiteY48" fmla="*/ 1097011 h 5924740"/>
              <a:gd name="connsiteX49" fmla="*/ 6072414 w 10840357"/>
              <a:gd name="connsiteY49" fmla="*/ 2252710 h 5924740"/>
              <a:gd name="connsiteX50" fmla="*/ 4916714 w 10840357"/>
              <a:gd name="connsiteY50" fmla="*/ 1097011 h 5924740"/>
              <a:gd name="connsiteX51" fmla="*/ 3813628 w 10840357"/>
              <a:gd name="connsiteY51" fmla="*/ 0 h 5924740"/>
              <a:gd name="connsiteX52" fmla="*/ 5871029 w 10840357"/>
              <a:gd name="connsiteY52" fmla="*/ 0 h 5924740"/>
              <a:gd name="connsiteX53" fmla="*/ 4842329 w 10840357"/>
              <a:gd name="connsiteY53" fmla="*/ 1028701 h 5924740"/>
              <a:gd name="connsiteX54" fmla="*/ 3537228 w 10840357"/>
              <a:gd name="connsiteY54" fmla="*/ 0 h 5924740"/>
              <a:gd name="connsiteX55" fmla="*/ 3654606 w 10840357"/>
              <a:gd name="connsiteY55" fmla="*/ 0 h 5924740"/>
              <a:gd name="connsiteX56" fmla="*/ 4751615 w 10840357"/>
              <a:gd name="connsiteY56" fmla="*/ 1097011 h 5924740"/>
              <a:gd name="connsiteX57" fmla="*/ 3595917 w 10840357"/>
              <a:gd name="connsiteY57" fmla="*/ 2252711 h 5924740"/>
              <a:gd name="connsiteX58" fmla="*/ 2440217 w 10840357"/>
              <a:gd name="connsiteY58" fmla="*/ 1097011 h 5924740"/>
              <a:gd name="connsiteX59" fmla="*/ 1328965 w 10840357"/>
              <a:gd name="connsiteY59" fmla="*/ 0 h 5924740"/>
              <a:gd name="connsiteX60" fmla="*/ 3386368 w 10840357"/>
              <a:gd name="connsiteY60" fmla="*/ 0 h 5924740"/>
              <a:gd name="connsiteX61" fmla="*/ 2357667 w 10840357"/>
              <a:gd name="connsiteY61" fmla="*/ 1028701 h 5924740"/>
              <a:gd name="connsiteX62" fmla="*/ 1052564 w 10840357"/>
              <a:gd name="connsiteY62" fmla="*/ 0 h 5924740"/>
              <a:gd name="connsiteX63" fmla="*/ 1169942 w 10840357"/>
              <a:gd name="connsiteY63" fmla="*/ 0 h 5924740"/>
              <a:gd name="connsiteX64" fmla="*/ 2266953 w 10840357"/>
              <a:gd name="connsiteY64" fmla="*/ 1097011 h 5924740"/>
              <a:gd name="connsiteX65" fmla="*/ 1111253 w 10840357"/>
              <a:gd name="connsiteY65" fmla="*/ 2252711 h 5924740"/>
              <a:gd name="connsiteX66" fmla="*/ 0 w 10840357"/>
              <a:gd name="connsiteY66" fmla="*/ 1141458 h 5924740"/>
              <a:gd name="connsiteX67" fmla="*/ 0 w 10840357"/>
              <a:gd name="connsiteY67" fmla="*/ 1052564 h 5924740"/>
              <a:gd name="connsiteX68" fmla="*/ 0 w 10840357"/>
              <a:gd name="connsiteY68" fmla="*/ 0 h 5924740"/>
              <a:gd name="connsiteX69" fmla="*/ 901704 w 10840357"/>
              <a:gd name="connsiteY69" fmla="*/ 0 h 5924740"/>
              <a:gd name="connsiteX70" fmla="*/ 0 w 10840357"/>
              <a:gd name="connsiteY70" fmla="*/ 901704 h 5924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0840357" h="5924740">
                <a:moveTo>
                  <a:pt x="0" y="3740338"/>
                </a:moveTo>
                <a:lnTo>
                  <a:pt x="1028701" y="4769040"/>
                </a:lnTo>
                <a:lnTo>
                  <a:pt x="0" y="5797742"/>
                </a:lnTo>
                <a:close/>
                <a:moveTo>
                  <a:pt x="2349501" y="3613340"/>
                </a:moveTo>
                <a:lnTo>
                  <a:pt x="3505201" y="4769040"/>
                </a:lnTo>
                <a:lnTo>
                  <a:pt x="2349501" y="5924740"/>
                </a:lnTo>
                <a:lnTo>
                  <a:pt x="1193801" y="4769040"/>
                </a:lnTo>
                <a:close/>
                <a:moveTo>
                  <a:pt x="6072414" y="2389330"/>
                </a:moveTo>
                <a:lnTo>
                  <a:pt x="7228114" y="3545030"/>
                </a:lnTo>
                <a:lnTo>
                  <a:pt x="6072414" y="4700730"/>
                </a:lnTo>
                <a:lnTo>
                  <a:pt x="4916714" y="3545030"/>
                </a:lnTo>
                <a:close/>
                <a:moveTo>
                  <a:pt x="3595916" y="2389330"/>
                </a:moveTo>
                <a:lnTo>
                  <a:pt x="4751615" y="3545030"/>
                </a:lnTo>
                <a:lnTo>
                  <a:pt x="3595916" y="4700730"/>
                </a:lnTo>
                <a:lnTo>
                  <a:pt x="2440216" y="3545030"/>
                </a:lnTo>
                <a:close/>
                <a:moveTo>
                  <a:pt x="1111252" y="2389330"/>
                </a:moveTo>
                <a:lnTo>
                  <a:pt x="2266952" y="3545030"/>
                </a:lnTo>
                <a:lnTo>
                  <a:pt x="1111252" y="4700730"/>
                </a:lnTo>
                <a:lnTo>
                  <a:pt x="0" y="3589478"/>
                </a:lnTo>
                <a:lnTo>
                  <a:pt x="0" y="3500582"/>
                </a:lnTo>
                <a:close/>
                <a:moveTo>
                  <a:pt x="0" y="1292320"/>
                </a:moveTo>
                <a:lnTo>
                  <a:pt x="1028701" y="2321020"/>
                </a:lnTo>
                <a:lnTo>
                  <a:pt x="0" y="3349721"/>
                </a:lnTo>
                <a:close/>
                <a:moveTo>
                  <a:pt x="4834164" y="1165321"/>
                </a:moveTo>
                <a:lnTo>
                  <a:pt x="5989864" y="2321020"/>
                </a:lnTo>
                <a:lnTo>
                  <a:pt x="4834164" y="3476720"/>
                </a:lnTo>
                <a:lnTo>
                  <a:pt x="3678466" y="2321020"/>
                </a:lnTo>
                <a:close/>
                <a:moveTo>
                  <a:pt x="2357666" y="1165321"/>
                </a:moveTo>
                <a:lnTo>
                  <a:pt x="3513367" y="2321020"/>
                </a:lnTo>
                <a:lnTo>
                  <a:pt x="2357666" y="3476720"/>
                </a:lnTo>
                <a:lnTo>
                  <a:pt x="1201966" y="2321020"/>
                </a:lnTo>
                <a:close/>
                <a:moveTo>
                  <a:pt x="7310664" y="1165320"/>
                </a:moveTo>
                <a:lnTo>
                  <a:pt x="8466364" y="2321020"/>
                </a:lnTo>
                <a:lnTo>
                  <a:pt x="7310664" y="3476720"/>
                </a:lnTo>
                <a:lnTo>
                  <a:pt x="6154964" y="2321020"/>
                </a:lnTo>
                <a:close/>
                <a:moveTo>
                  <a:pt x="8782955" y="0"/>
                </a:moveTo>
                <a:lnTo>
                  <a:pt x="10840357" y="0"/>
                </a:lnTo>
                <a:lnTo>
                  <a:pt x="9811656" y="1028701"/>
                </a:lnTo>
                <a:close/>
                <a:moveTo>
                  <a:pt x="8498388" y="0"/>
                </a:moveTo>
                <a:lnTo>
                  <a:pt x="8615768" y="0"/>
                </a:lnTo>
                <a:lnTo>
                  <a:pt x="9712778" y="1097010"/>
                </a:lnTo>
                <a:lnTo>
                  <a:pt x="8557078" y="2252710"/>
                </a:lnTo>
                <a:lnTo>
                  <a:pt x="7401378" y="1097010"/>
                </a:lnTo>
                <a:close/>
                <a:moveTo>
                  <a:pt x="6298292" y="0"/>
                </a:moveTo>
                <a:lnTo>
                  <a:pt x="8355692" y="0"/>
                </a:lnTo>
                <a:lnTo>
                  <a:pt x="7326992" y="1028700"/>
                </a:lnTo>
                <a:close/>
                <a:moveTo>
                  <a:pt x="6013725" y="0"/>
                </a:moveTo>
                <a:lnTo>
                  <a:pt x="6131103" y="0"/>
                </a:lnTo>
                <a:lnTo>
                  <a:pt x="7228114" y="1097011"/>
                </a:lnTo>
                <a:lnTo>
                  <a:pt x="6072414" y="2252710"/>
                </a:lnTo>
                <a:lnTo>
                  <a:pt x="4916714" y="1097011"/>
                </a:lnTo>
                <a:close/>
                <a:moveTo>
                  <a:pt x="3813628" y="0"/>
                </a:moveTo>
                <a:lnTo>
                  <a:pt x="5871029" y="0"/>
                </a:lnTo>
                <a:lnTo>
                  <a:pt x="4842329" y="1028701"/>
                </a:lnTo>
                <a:close/>
                <a:moveTo>
                  <a:pt x="3537228" y="0"/>
                </a:moveTo>
                <a:lnTo>
                  <a:pt x="3654606" y="0"/>
                </a:lnTo>
                <a:lnTo>
                  <a:pt x="4751615" y="1097011"/>
                </a:lnTo>
                <a:lnTo>
                  <a:pt x="3595917" y="2252711"/>
                </a:lnTo>
                <a:lnTo>
                  <a:pt x="2440217" y="1097011"/>
                </a:lnTo>
                <a:close/>
                <a:moveTo>
                  <a:pt x="1328965" y="0"/>
                </a:moveTo>
                <a:lnTo>
                  <a:pt x="3386368" y="0"/>
                </a:lnTo>
                <a:lnTo>
                  <a:pt x="2357667" y="1028701"/>
                </a:lnTo>
                <a:close/>
                <a:moveTo>
                  <a:pt x="1052564" y="0"/>
                </a:moveTo>
                <a:lnTo>
                  <a:pt x="1169942" y="0"/>
                </a:lnTo>
                <a:lnTo>
                  <a:pt x="2266953" y="1097011"/>
                </a:lnTo>
                <a:lnTo>
                  <a:pt x="1111253" y="2252711"/>
                </a:lnTo>
                <a:lnTo>
                  <a:pt x="0" y="1141458"/>
                </a:lnTo>
                <a:lnTo>
                  <a:pt x="0" y="1052564"/>
                </a:lnTo>
                <a:close/>
                <a:moveTo>
                  <a:pt x="0" y="0"/>
                </a:moveTo>
                <a:lnTo>
                  <a:pt x="901704" y="0"/>
                </a:lnTo>
                <a:lnTo>
                  <a:pt x="0" y="901704"/>
                </a:lnTo>
                <a:close/>
              </a:path>
            </a:pathLst>
          </a:custGeom>
        </p:spPr>
      </p:sp>
    </p:spTree>
    <p:extLst>
      <p:ext uri="{BB962C8B-B14F-4D97-AF65-F5344CB8AC3E}">
        <p14:creationId xmlns:p14="http://schemas.microsoft.com/office/powerpoint/2010/main" val="1626039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8336371" cy="6858000"/>
          </a:xfrm>
          <a:custGeom>
            <a:avLst/>
            <a:gdLst>
              <a:gd name="connsiteX0" fmla="*/ 0 w 7734300"/>
              <a:gd name="connsiteY0" fmla="*/ 0 h 6362700"/>
              <a:gd name="connsiteX1" fmla="*/ 4622749 w 7734300"/>
              <a:gd name="connsiteY1" fmla="*/ 0 h 6362700"/>
              <a:gd name="connsiteX2" fmla="*/ 7734300 w 7734300"/>
              <a:gd name="connsiteY2" fmla="*/ 3181350 h 6362700"/>
              <a:gd name="connsiteX3" fmla="*/ 4622749 w 7734300"/>
              <a:gd name="connsiteY3" fmla="*/ 6362700 h 6362700"/>
              <a:gd name="connsiteX4" fmla="*/ 0 w 7734300"/>
              <a:gd name="connsiteY4" fmla="*/ 6362700 h 6362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34300" h="6362700">
                <a:moveTo>
                  <a:pt x="0" y="0"/>
                </a:moveTo>
                <a:lnTo>
                  <a:pt x="4622749" y="0"/>
                </a:lnTo>
                <a:lnTo>
                  <a:pt x="7734300" y="3181350"/>
                </a:lnTo>
                <a:lnTo>
                  <a:pt x="4622749" y="6362700"/>
                </a:lnTo>
                <a:lnTo>
                  <a:pt x="0" y="6362700"/>
                </a:lnTo>
                <a:close/>
              </a:path>
            </a:pathLst>
          </a:custGeom>
        </p:spPr>
      </p:sp>
    </p:spTree>
    <p:extLst>
      <p:ext uri="{BB962C8B-B14F-4D97-AF65-F5344CB8AC3E}">
        <p14:creationId xmlns:p14="http://schemas.microsoft.com/office/powerpoint/2010/main" val="237217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3" name="Picture Placeholder 4"/>
          <p:cNvSpPr>
            <a:spLocks noGrp="1"/>
          </p:cNvSpPr>
          <p:nvPr>
            <p:ph type="pic" sz="quarter" idx="21"/>
          </p:nvPr>
        </p:nvSpPr>
        <p:spPr>
          <a:xfrm>
            <a:off x="971323" y="0"/>
            <a:ext cx="10249355" cy="6858000"/>
          </a:xfrm>
          <a:custGeom>
            <a:avLst/>
            <a:gdLst>
              <a:gd name="connsiteX0" fmla="*/ 5124677 w 10249354"/>
              <a:gd name="connsiteY0" fmla="*/ 6088739 h 6858000"/>
              <a:gd name="connsiteX1" fmla="*/ 5893938 w 10249354"/>
              <a:gd name="connsiteY1" fmla="*/ 6858000 h 6858000"/>
              <a:gd name="connsiteX2" fmla="*/ 4355416 w 10249354"/>
              <a:gd name="connsiteY2" fmla="*/ 6858000 h 6858000"/>
              <a:gd name="connsiteX3" fmla="*/ 6395357 w 10249354"/>
              <a:gd name="connsiteY3" fmla="*/ 4785630 h 6858000"/>
              <a:gd name="connsiteX4" fmla="*/ 7624082 w 10249354"/>
              <a:gd name="connsiteY4" fmla="*/ 6014355 h 6858000"/>
              <a:gd name="connsiteX5" fmla="*/ 6780437 w 10249354"/>
              <a:gd name="connsiteY5" fmla="*/ 6858000 h 6858000"/>
              <a:gd name="connsiteX6" fmla="*/ 6010277 w 10249354"/>
              <a:gd name="connsiteY6" fmla="*/ 6858000 h 6858000"/>
              <a:gd name="connsiteX7" fmla="*/ 5166632 w 10249354"/>
              <a:gd name="connsiteY7" fmla="*/ 6014355 h 6858000"/>
              <a:gd name="connsiteX8" fmla="*/ 3853996 w 10249354"/>
              <a:gd name="connsiteY8" fmla="*/ 4785630 h 6858000"/>
              <a:gd name="connsiteX9" fmla="*/ 5082721 w 10249354"/>
              <a:gd name="connsiteY9" fmla="*/ 6014355 h 6858000"/>
              <a:gd name="connsiteX10" fmla="*/ 4239076 w 10249354"/>
              <a:gd name="connsiteY10" fmla="*/ 6858000 h 6858000"/>
              <a:gd name="connsiteX11" fmla="*/ 3468917 w 10249354"/>
              <a:gd name="connsiteY11" fmla="*/ 6858000 h 6858000"/>
              <a:gd name="connsiteX12" fmla="*/ 2625272 w 10249354"/>
              <a:gd name="connsiteY12" fmla="*/ 6014355 h 6858000"/>
              <a:gd name="connsiteX13" fmla="*/ 2541361 w 10249354"/>
              <a:gd name="connsiteY13" fmla="*/ 3482521 h 6858000"/>
              <a:gd name="connsiteX14" fmla="*/ 3770085 w 10249354"/>
              <a:gd name="connsiteY14" fmla="*/ 4711246 h 6858000"/>
              <a:gd name="connsiteX15" fmla="*/ 2541361 w 10249354"/>
              <a:gd name="connsiteY15" fmla="*/ 5939971 h 6858000"/>
              <a:gd name="connsiteX16" fmla="*/ 1312636 w 10249354"/>
              <a:gd name="connsiteY16" fmla="*/ 4711246 h 6858000"/>
              <a:gd name="connsiteX17" fmla="*/ 7707993 w 10249354"/>
              <a:gd name="connsiteY17" fmla="*/ 3482067 h 6858000"/>
              <a:gd name="connsiteX18" fmla="*/ 8936718 w 10249354"/>
              <a:gd name="connsiteY18" fmla="*/ 4710792 h 6858000"/>
              <a:gd name="connsiteX19" fmla="*/ 7707993 w 10249354"/>
              <a:gd name="connsiteY19" fmla="*/ 5939517 h 6858000"/>
              <a:gd name="connsiteX20" fmla="*/ 6479268 w 10249354"/>
              <a:gd name="connsiteY20" fmla="*/ 4710792 h 6858000"/>
              <a:gd name="connsiteX21" fmla="*/ 9020629 w 10249354"/>
              <a:gd name="connsiteY21" fmla="*/ 2168526 h 6858000"/>
              <a:gd name="connsiteX22" fmla="*/ 10249354 w 10249354"/>
              <a:gd name="connsiteY22" fmla="*/ 3397250 h 6858000"/>
              <a:gd name="connsiteX23" fmla="*/ 9020629 w 10249354"/>
              <a:gd name="connsiteY23" fmla="*/ 4625975 h 6858000"/>
              <a:gd name="connsiteX24" fmla="*/ 7791904 w 10249354"/>
              <a:gd name="connsiteY24" fmla="*/ 3397250 h 6858000"/>
              <a:gd name="connsiteX25" fmla="*/ 1228725 w 10249354"/>
              <a:gd name="connsiteY25" fmla="*/ 2168526 h 6858000"/>
              <a:gd name="connsiteX26" fmla="*/ 2457450 w 10249354"/>
              <a:gd name="connsiteY26" fmla="*/ 3397250 h 6858000"/>
              <a:gd name="connsiteX27" fmla="*/ 1228725 w 10249354"/>
              <a:gd name="connsiteY27" fmla="*/ 4625975 h 6858000"/>
              <a:gd name="connsiteX28" fmla="*/ 0 w 10249354"/>
              <a:gd name="connsiteY28" fmla="*/ 3397250 h 6858000"/>
              <a:gd name="connsiteX29" fmla="*/ 7707993 w 10249354"/>
              <a:gd name="connsiteY29" fmla="*/ 854984 h 6858000"/>
              <a:gd name="connsiteX30" fmla="*/ 8936718 w 10249354"/>
              <a:gd name="connsiteY30" fmla="*/ 2083709 h 6858000"/>
              <a:gd name="connsiteX31" fmla="*/ 7707993 w 10249354"/>
              <a:gd name="connsiteY31" fmla="*/ 3312433 h 6858000"/>
              <a:gd name="connsiteX32" fmla="*/ 6479268 w 10249354"/>
              <a:gd name="connsiteY32" fmla="*/ 2083709 h 6858000"/>
              <a:gd name="connsiteX33" fmla="*/ 2541361 w 10249354"/>
              <a:gd name="connsiteY33" fmla="*/ 854984 h 6858000"/>
              <a:gd name="connsiteX34" fmla="*/ 3770085 w 10249354"/>
              <a:gd name="connsiteY34" fmla="*/ 2083709 h 6858000"/>
              <a:gd name="connsiteX35" fmla="*/ 2541361 w 10249354"/>
              <a:gd name="connsiteY35" fmla="*/ 3312433 h 6858000"/>
              <a:gd name="connsiteX36" fmla="*/ 1312636 w 10249354"/>
              <a:gd name="connsiteY36" fmla="*/ 2083709 h 6858000"/>
              <a:gd name="connsiteX37" fmla="*/ 5945416 w 10249354"/>
              <a:gd name="connsiteY37" fmla="*/ 0 h 6858000"/>
              <a:gd name="connsiteX38" fmla="*/ 6845298 w 10249354"/>
              <a:gd name="connsiteY38" fmla="*/ 0 h 6858000"/>
              <a:gd name="connsiteX39" fmla="*/ 7624082 w 10249354"/>
              <a:gd name="connsiteY39" fmla="*/ 778784 h 6858000"/>
              <a:gd name="connsiteX40" fmla="*/ 6395357 w 10249354"/>
              <a:gd name="connsiteY40" fmla="*/ 2007509 h 6858000"/>
              <a:gd name="connsiteX41" fmla="*/ 5166632 w 10249354"/>
              <a:gd name="connsiteY41" fmla="*/ 778784 h 6858000"/>
              <a:gd name="connsiteX42" fmla="*/ 4420960 w 10249354"/>
              <a:gd name="connsiteY42" fmla="*/ 0 h 6858000"/>
              <a:gd name="connsiteX43" fmla="*/ 5826129 w 10249354"/>
              <a:gd name="connsiteY43" fmla="*/ 0 h 6858000"/>
              <a:gd name="connsiteX44" fmla="*/ 5123544 w 10249354"/>
              <a:gd name="connsiteY44" fmla="*/ 702584 h 6858000"/>
              <a:gd name="connsiteX45" fmla="*/ 3404056 w 10249354"/>
              <a:gd name="connsiteY45" fmla="*/ 0 h 6858000"/>
              <a:gd name="connsiteX46" fmla="*/ 4303937 w 10249354"/>
              <a:gd name="connsiteY46" fmla="*/ 0 h 6858000"/>
              <a:gd name="connsiteX47" fmla="*/ 5082721 w 10249354"/>
              <a:gd name="connsiteY47" fmla="*/ 778784 h 6858000"/>
              <a:gd name="connsiteX48" fmla="*/ 3853996 w 10249354"/>
              <a:gd name="connsiteY48" fmla="*/ 2007509 h 6858000"/>
              <a:gd name="connsiteX49" fmla="*/ 2625272 w 10249354"/>
              <a:gd name="connsiteY49" fmla="*/ 77878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249354" h="6858000">
                <a:moveTo>
                  <a:pt x="5124677" y="6088739"/>
                </a:moveTo>
                <a:lnTo>
                  <a:pt x="5893938" y="6858000"/>
                </a:lnTo>
                <a:lnTo>
                  <a:pt x="4355416" y="6858000"/>
                </a:lnTo>
                <a:close/>
                <a:moveTo>
                  <a:pt x="6395357" y="4785630"/>
                </a:moveTo>
                <a:lnTo>
                  <a:pt x="7624082" y="6014355"/>
                </a:lnTo>
                <a:lnTo>
                  <a:pt x="6780437" y="6858000"/>
                </a:lnTo>
                <a:lnTo>
                  <a:pt x="6010277" y="6858000"/>
                </a:lnTo>
                <a:lnTo>
                  <a:pt x="5166632" y="6014355"/>
                </a:lnTo>
                <a:close/>
                <a:moveTo>
                  <a:pt x="3853996" y="4785630"/>
                </a:moveTo>
                <a:lnTo>
                  <a:pt x="5082721" y="6014355"/>
                </a:lnTo>
                <a:lnTo>
                  <a:pt x="4239076" y="6858000"/>
                </a:lnTo>
                <a:lnTo>
                  <a:pt x="3468917" y="6858000"/>
                </a:lnTo>
                <a:lnTo>
                  <a:pt x="2625272" y="6014355"/>
                </a:lnTo>
                <a:close/>
                <a:moveTo>
                  <a:pt x="2541361" y="3482521"/>
                </a:moveTo>
                <a:lnTo>
                  <a:pt x="3770085" y="4711246"/>
                </a:lnTo>
                <a:lnTo>
                  <a:pt x="2541361" y="5939971"/>
                </a:lnTo>
                <a:lnTo>
                  <a:pt x="1312636" y="4711246"/>
                </a:lnTo>
                <a:close/>
                <a:moveTo>
                  <a:pt x="7707993" y="3482067"/>
                </a:moveTo>
                <a:lnTo>
                  <a:pt x="8936718" y="4710792"/>
                </a:lnTo>
                <a:lnTo>
                  <a:pt x="7707993" y="5939517"/>
                </a:lnTo>
                <a:lnTo>
                  <a:pt x="6479268" y="4710792"/>
                </a:lnTo>
                <a:close/>
                <a:moveTo>
                  <a:pt x="9020629" y="2168526"/>
                </a:moveTo>
                <a:lnTo>
                  <a:pt x="10249354" y="3397250"/>
                </a:lnTo>
                <a:lnTo>
                  <a:pt x="9020629" y="4625975"/>
                </a:lnTo>
                <a:lnTo>
                  <a:pt x="7791904" y="3397250"/>
                </a:lnTo>
                <a:close/>
                <a:moveTo>
                  <a:pt x="1228725" y="2168526"/>
                </a:moveTo>
                <a:lnTo>
                  <a:pt x="2457450" y="3397250"/>
                </a:lnTo>
                <a:lnTo>
                  <a:pt x="1228725" y="4625975"/>
                </a:lnTo>
                <a:lnTo>
                  <a:pt x="0" y="3397250"/>
                </a:lnTo>
                <a:close/>
                <a:moveTo>
                  <a:pt x="7707993" y="854984"/>
                </a:moveTo>
                <a:lnTo>
                  <a:pt x="8936718" y="2083709"/>
                </a:lnTo>
                <a:lnTo>
                  <a:pt x="7707993" y="3312433"/>
                </a:lnTo>
                <a:lnTo>
                  <a:pt x="6479268" y="2083709"/>
                </a:lnTo>
                <a:close/>
                <a:moveTo>
                  <a:pt x="2541361" y="854984"/>
                </a:moveTo>
                <a:lnTo>
                  <a:pt x="3770085" y="2083709"/>
                </a:lnTo>
                <a:lnTo>
                  <a:pt x="2541361" y="3312433"/>
                </a:lnTo>
                <a:lnTo>
                  <a:pt x="1312636" y="2083709"/>
                </a:lnTo>
                <a:close/>
                <a:moveTo>
                  <a:pt x="5945416" y="0"/>
                </a:moveTo>
                <a:lnTo>
                  <a:pt x="6845298" y="0"/>
                </a:lnTo>
                <a:lnTo>
                  <a:pt x="7624082" y="778784"/>
                </a:lnTo>
                <a:lnTo>
                  <a:pt x="6395357" y="2007509"/>
                </a:lnTo>
                <a:lnTo>
                  <a:pt x="5166632" y="778784"/>
                </a:lnTo>
                <a:close/>
                <a:moveTo>
                  <a:pt x="4420960" y="0"/>
                </a:moveTo>
                <a:lnTo>
                  <a:pt x="5826129" y="0"/>
                </a:lnTo>
                <a:lnTo>
                  <a:pt x="5123544" y="702584"/>
                </a:lnTo>
                <a:close/>
                <a:moveTo>
                  <a:pt x="3404056" y="0"/>
                </a:moveTo>
                <a:lnTo>
                  <a:pt x="4303937" y="0"/>
                </a:lnTo>
                <a:lnTo>
                  <a:pt x="5082721" y="778784"/>
                </a:lnTo>
                <a:lnTo>
                  <a:pt x="3853996" y="2007509"/>
                </a:lnTo>
                <a:lnTo>
                  <a:pt x="2625272" y="778784"/>
                </a:lnTo>
                <a:close/>
              </a:path>
            </a:pathLst>
          </a:custGeom>
        </p:spPr>
      </p:sp>
    </p:spTree>
    <p:extLst>
      <p:ext uri="{BB962C8B-B14F-4D97-AF65-F5344CB8AC3E}">
        <p14:creationId xmlns:p14="http://schemas.microsoft.com/office/powerpoint/2010/main" val="1568365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Blank with Footer &amp; Header">
    <p:spTree>
      <p:nvGrpSpPr>
        <p:cNvPr id="1" name=""/>
        <p:cNvGrpSpPr/>
        <p:nvPr/>
      </p:nvGrpSpPr>
      <p:grpSpPr>
        <a:xfrm>
          <a:off x="0" y="0"/>
          <a:ext cx="0" cy="0"/>
          <a:chOff x="0" y="0"/>
          <a:chExt cx="0" cy="0"/>
        </a:xfrm>
      </p:grpSpPr>
      <p:sp>
        <p:nvSpPr>
          <p:cNvPr id="10" name="Picture Placeholder 2"/>
          <p:cNvSpPr>
            <a:spLocks noGrp="1"/>
          </p:cNvSpPr>
          <p:nvPr>
            <p:ph type="pic" sz="quarter" idx="10"/>
          </p:nvPr>
        </p:nvSpPr>
        <p:spPr>
          <a:xfrm>
            <a:off x="2909347" y="1"/>
            <a:ext cx="9282655" cy="6787244"/>
          </a:xfrm>
          <a:custGeom>
            <a:avLst/>
            <a:gdLst>
              <a:gd name="connsiteX0" fmla="*/ 0 w 9282655"/>
              <a:gd name="connsiteY0" fmla="*/ 0 h 6787244"/>
              <a:gd name="connsiteX1" fmla="*/ 9282655 w 9282655"/>
              <a:gd name="connsiteY1" fmla="*/ 0 h 6787244"/>
              <a:gd name="connsiteX2" fmla="*/ 9282655 w 9282655"/>
              <a:gd name="connsiteY2" fmla="*/ 4291831 h 6787244"/>
              <a:gd name="connsiteX3" fmla="*/ 6787243 w 9282655"/>
              <a:gd name="connsiteY3" fmla="*/ 6787244 h 6787244"/>
            </a:gdLst>
            <a:ahLst/>
            <a:cxnLst>
              <a:cxn ang="0">
                <a:pos x="connsiteX0" y="connsiteY0"/>
              </a:cxn>
              <a:cxn ang="0">
                <a:pos x="connsiteX1" y="connsiteY1"/>
              </a:cxn>
              <a:cxn ang="0">
                <a:pos x="connsiteX2" y="connsiteY2"/>
              </a:cxn>
              <a:cxn ang="0">
                <a:pos x="connsiteX3" y="connsiteY3"/>
              </a:cxn>
            </a:cxnLst>
            <a:rect l="l" t="t" r="r" b="b"/>
            <a:pathLst>
              <a:path w="9282655" h="6787244">
                <a:moveTo>
                  <a:pt x="0" y="0"/>
                </a:moveTo>
                <a:lnTo>
                  <a:pt x="9282655" y="0"/>
                </a:lnTo>
                <a:lnTo>
                  <a:pt x="9282655" y="4291831"/>
                </a:lnTo>
                <a:lnTo>
                  <a:pt x="6787243" y="6787244"/>
                </a:lnTo>
                <a:close/>
              </a:path>
            </a:pathLst>
          </a:custGeom>
        </p:spPr>
      </p:sp>
    </p:spTree>
    <p:extLst>
      <p:ext uri="{BB962C8B-B14F-4D97-AF65-F5344CB8AC3E}">
        <p14:creationId xmlns:p14="http://schemas.microsoft.com/office/powerpoint/2010/main" val="768466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10_Custom Layout">
    <p:spTree>
      <p:nvGrpSpPr>
        <p:cNvPr id="1" name=""/>
        <p:cNvGrpSpPr/>
        <p:nvPr/>
      </p:nvGrpSpPr>
      <p:grpSpPr>
        <a:xfrm>
          <a:off x="0" y="0"/>
          <a:ext cx="0" cy="0"/>
          <a:chOff x="0" y="0"/>
          <a:chExt cx="0" cy="0"/>
        </a:xfrm>
      </p:grpSpPr>
      <p:sp>
        <p:nvSpPr>
          <p:cNvPr id="2" name="Picture Placeholder 2"/>
          <p:cNvSpPr>
            <a:spLocks noGrp="1"/>
          </p:cNvSpPr>
          <p:nvPr>
            <p:ph type="pic" sz="quarter" idx="10"/>
          </p:nvPr>
        </p:nvSpPr>
        <p:spPr>
          <a:xfrm>
            <a:off x="1" y="3"/>
            <a:ext cx="6743348" cy="6857999"/>
          </a:xfrm>
          <a:custGeom>
            <a:avLst/>
            <a:gdLst>
              <a:gd name="connsiteX0" fmla="*/ 1867233 w 6743348"/>
              <a:gd name="connsiteY0" fmla="*/ 0 h 6857999"/>
              <a:gd name="connsiteX1" fmla="*/ 6743348 w 6743348"/>
              <a:gd name="connsiteY1" fmla="*/ 0 h 6857999"/>
              <a:gd name="connsiteX2" fmla="*/ 0 w 6743348"/>
              <a:gd name="connsiteY2" fmla="*/ 6857999 h 6857999"/>
              <a:gd name="connsiteX3" fmla="*/ 0 w 6743348"/>
              <a:gd name="connsiteY3" fmla="*/ 1898980 h 6857999"/>
            </a:gdLst>
            <a:ahLst/>
            <a:cxnLst>
              <a:cxn ang="0">
                <a:pos x="connsiteX0" y="connsiteY0"/>
              </a:cxn>
              <a:cxn ang="0">
                <a:pos x="connsiteX1" y="connsiteY1"/>
              </a:cxn>
              <a:cxn ang="0">
                <a:pos x="connsiteX2" y="connsiteY2"/>
              </a:cxn>
              <a:cxn ang="0">
                <a:pos x="connsiteX3" y="connsiteY3"/>
              </a:cxn>
            </a:cxnLst>
            <a:rect l="l" t="t" r="r" b="b"/>
            <a:pathLst>
              <a:path w="6743348" h="6857999">
                <a:moveTo>
                  <a:pt x="1867233" y="0"/>
                </a:moveTo>
                <a:lnTo>
                  <a:pt x="6743348" y="0"/>
                </a:lnTo>
                <a:lnTo>
                  <a:pt x="0" y="6857999"/>
                </a:lnTo>
                <a:lnTo>
                  <a:pt x="0" y="1898980"/>
                </a:lnTo>
                <a:close/>
              </a:path>
            </a:pathLst>
          </a:custGeom>
        </p:spPr>
      </p:sp>
    </p:spTree>
    <p:extLst>
      <p:ext uri="{BB962C8B-B14F-4D97-AF65-F5344CB8AC3E}">
        <p14:creationId xmlns:p14="http://schemas.microsoft.com/office/powerpoint/2010/main" val="3665692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4" name="Picture Placeholder 1"/>
          <p:cNvSpPr>
            <a:spLocks noGrp="1"/>
          </p:cNvSpPr>
          <p:nvPr>
            <p:ph type="pic" sz="quarter" idx="34"/>
          </p:nvPr>
        </p:nvSpPr>
        <p:spPr>
          <a:xfrm>
            <a:off x="5242715" y="0"/>
            <a:ext cx="7078587" cy="6858000"/>
          </a:xfrm>
          <a:custGeom>
            <a:avLst/>
            <a:gdLst>
              <a:gd name="connsiteX0" fmla="*/ 4027003 w 10732631"/>
              <a:gd name="connsiteY0" fmla="*/ 6026314 h 6858000"/>
              <a:gd name="connsiteX1" fmla="*/ 4283530 w 10732631"/>
              <a:gd name="connsiteY1" fmla="*/ 6132571 h 6858000"/>
              <a:gd name="connsiteX2" fmla="*/ 5008959 w 10732631"/>
              <a:gd name="connsiteY2" fmla="*/ 6858000 h 6858000"/>
              <a:gd name="connsiteX3" fmla="*/ 3982847 w 10732631"/>
              <a:gd name="connsiteY3" fmla="*/ 6858000 h 6858000"/>
              <a:gd name="connsiteX4" fmla="*/ 3770474 w 10732631"/>
              <a:gd name="connsiteY4" fmla="*/ 6645627 h 6858000"/>
              <a:gd name="connsiteX5" fmla="*/ 3770474 w 10732631"/>
              <a:gd name="connsiteY5" fmla="*/ 6132571 h 6858000"/>
              <a:gd name="connsiteX6" fmla="*/ 4027003 w 10732631"/>
              <a:gd name="connsiteY6" fmla="*/ 6026314 h 6858000"/>
              <a:gd name="connsiteX7" fmla="*/ 5226044 w 10732631"/>
              <a:gd name="connsiteY7" fmla="*/ 4810762 h 6858000"/>
              <a:gd name="connsiteX8" fmla="*/ 5482571 w 10732631"/>
              <a:gd name="connsiteY8" fmla="*/ 4917019 h 6858000"/>
              <a:gd name="connsiteX9" fmla="*/ 7423552 w 10732631"/>
              <a:gd name="connsiteY9" fmla="*/ 6858000 h 6858000"/>
              <a:gd name="connsiteX10" fmla="*/ 6397442 w 10732631"/>
              <a:gd name="connsiteY10" fmla="*/ 6858000 h 6858000"/>
              <a:gd name="connsiteX11" fmla="*/ 4969516 w 10732631"/>
              <a:gd name="connsiteY11" fmla="*/ 5430074 h 6858000"/>
              <a:gd name="connsiteX12" fmla="*/ 4969516 w 10732631"/>
              <a:gd name="connsiteY12" fmla="*/ 4917019 h 6858000"/>
              <a:gd name="connsiteX13" fmla="*/ 5226044 w 10732631"/>
              <a:gd name="connsiteY13" fmla="*/ 4810762 h 6858000"/>
              <a:gd name="connsiteX14" fmla="*/ 4016831 w 10732631"/>
              <a:gd name="connsiteY14" fmla="*/ 4808883 h 6858000"/>
              <a:gd name="connsiteX15" fmla="*/ 4273358 w 10732631"/>
              <a:gd name="connsiteY15" fmla="*/ 4915140 h 6858000"/>
              <a:gd name="connsiteX16" fmla="*/ 6216216 w 10732631"/>
              <a:gd name="connsiteY16" fmla="*/ 6858000 h 6858000"/>
              <a:gd name="connsiteX17" fmla="*/ 5190107 w 10732631"/>
              <a:gd name="connsiteY17" fmla="*/ 6858000 h 6858000"/>
              <a:gd name="connsiteX18" fmla="*/ 3760302 w 10732631"/>
              <a:gd name="connsiteY18" fmla="*/ 5428196 h 6858000"/>
              <a:gd name="connsiteX19" fmla="*/ 3760302 w 10732631"/>
              <a:gd name="connsiteY19" fmla="*/ 4915140 h 6858000"/>
              <a:gd name="connsiteX20" fmla="*/ 4016831 w 10732631"/>
              <a:gd name="connsiteY20" fmla="*/ 4808883 h 6858000"/>
              <a:gd name="connsiteX21" fmla="*/ 4983334 w 10732631"/>
              <a:gd name="connsiteY21" fmla="*/ 3358111 h 6858000"/>
              <a:gd name="connsiteX22" fmla="*/ 5239861 w 10732631"/>
              <a:gd name="connsiteY22" fmla="*/ 3464368 h 6858000"/>
              <a:gd name="connsiteX23" fmla="*/ 8633493 w 10732631"/>
              <a:gd name="connsiteY23" fmla="*/ 6858000 h 6858000"/>
              <a:gd name="connsiteX24" fmla="*/ 7607384 w 10732631"/>
              <a:gd name="connsiteY24" fmla="*/ 6858000 h 6858000"/>
              <a:gd name="connsiteX25" fmla="*/ 4726806 w 10732631"/>
              <a:gd name="connsiteY25" fmla="*/ 3977423 h 6858000"/>
              <a:gd name="connsiteX26" fmla="*/ 4726806 w 10732631"/>
              <a:gd name="connsiteY26" fmla="*/ 3464368 h 6858000"/>
              <a:gd name="connsiteX27" fmla="*/ 4983334 w 10732631"/>
              <a:gd name="connsiteY27" fmla="*/ 3358111 h 6858000"/>
              <a:gd name="connsiteX28" fmla="*/ 4411835 w 10732631"/>
              <a:gd name="connsiteY28" fmla="*/ 1580111 h 6858000"/>
              <a:gd name="connsiteX29" fmla="*/ 4668361 w 10732631"/>
              <a:gd name="connsiteY29" fmla="*/ 1686369 h 6858000"/>
              <a:gd name="connsiteX30" fmla="*/ 9305884 w 10732631"/>
              <a:gd name="connsiteY30" fmla="*/ 6323892 h 6858000"/>
              <a:gd name="connsiteX31" fmla="*/ 9305884 w 10732631"/>
              <a:gd name="connsiteY31" fmla="*/ 6836948 h 6858000"/>
              <a:gd name="connsiteX32" fmla="*/ 9305884 w 10732631"/>
              <a:gd name="connsiteY32" fmla="*/ 6836946 h 6858000"/>
              <a:gd name="connsiteX33" fmla="*/ 9280109 w 10732631"/>
              <a:gd name="connsiteY33" fmla="*/ 6858000 h 6858000"/>
              <a:gd name="connsiteX34" fmla="*/ 8818604 w 10732631"/>
              <a:gd name="connsiteY34" fmla="*/ 6858000 h 6858000"/>
              <a:gd name="connsiteX35" fmla="*/ 8792829 w 10732631"/>
              <a:gd name="connsiteY35" fmla="*/ 6836946 h 6858000"/>
              <a:gd name="connsiteX36" fmla="*/ 4155306 w 10732631"/>
              <a:gd name="connsiteY36" fmla="*/ 2199424 h 6858000"/>
              <a:gd name="connsiteX37" fmla="*/ 4155306 w 10732631"/>
              <a:gd name="connsiteY37" fmla="*/ 1686369 h 6858000"/>
              <a:gd name="connsiteX38" fmla="*/ 4411835 w 10732631"/>
              <a:gd name="connsiteY38" fmla="*/ 1580111 h 6858000"/>
              <a:gd name="connsiteX39" fmla="*/ 5620152 w 10732631"/>
              <a:gd name="connsiteY39" fmla="*/ 1580110 h 6858000"/>
              <a:gd name="connsiteX40" fmla="*/ 5876680 w 10732631"/>
              <a:gd name="connsiteY40" fmla="*/ 1686368 h 6858000"/>
              <a:gd name="connsiteX41" fmla="*/ 10732631 w 10732631"/>
              <a:gd name="connsiteY41" fmla="*/ 6542320 h 6858000"/>
              <a:gd name="connsiteX42" fmla="*/ 10732631 w 10732631"/>
              <a:gd name="connsiteY42" fmla="*/ 6858000 h 6858000"/>
              <a:gd name="connsiteX43" fmla="*/ 10022202 w 10732631"/>
              <a:gd name="connsiteY43" fmla="*/ 6858000 h 6858000"/>
              <a:gd name="connsiteX44" fmla="*/ 5363625 w 10732631"/>
              <a:gd name="connsiteY44" fmla="*/ 2199423 h 6858000"/>
              <a:gd name="connsiteX45" fmla="*/ 5363625 w 10732631"/>
              <a:gd name="connsiteY45" fmla="*/ 1686368 h 6858000"/>
              <a:gd name="connsiteX46" fmla="*/ 5620152 w 10732631"/>
              <a:gd name="connsiteY46" fmla="*/ 1580110 h 6858000"/>
              <a:gd name="connsiteX47" fmla="*/ 1008756 w 10732631"/>
              <a:gd name="connsiteY47" fmla="*/ 1525191 h 6858000"/>
              <a:gd name="connsiteX48" fmla="*/ 2017511 w 10732631"/>
              <a:gd name="connsiteY48" fmla="*/ 2533946 h 6858000"/>
              <a:gd name="connsiteX49" fmla="*/ 2017511 w 10732631"/>
              <a:gd name="connsiteY49" fmla="*/ 2953645 h 6858000"/>
              <a:gd name="connsiteX50" fmla="*/ 1008756 w 10732631"/>
              <a:gd name="connsiteY50" fmla="*/ 3962400 h 6858000"/>
              <a:gd name="connsiteX51" fmla="*/ 0 w 10732631"/>
              <a:gd name="connsiteY51" fmla="*/ 2953645 h 6858000"/>
              <a:gd name="connsiteX52" fmla="*/ 0 w 10732631"/>
              <a:gd name="connsiteY52" fmla="*/ 2533946 h 6858000"/>
              <a:gd name="connsiteX53" fmla="*/ 1008756 w 10732631"/>
              <a:gd name="connsiteY53" fmla="*/ 1525191 h 6858000"/>
              <a:gd name="connsiteX54" fmla="*/ 8378524 w 10732631"/>
              <a:gd name="connsiteY54" fmla="*/ 743773 h 6858000"/>
              <a:gd name="connsiteX55" fmla="*/ 8635051 w 10732631"/>
              <a:gd name="connsiteY55" fmla="*/ 850031 h 6858000"/>
              <a:gd name="connsiteX56" fmla="*/ 10340228 w 10732631"/>
              <a:gd name="connsiteY56" fmla="*/ 2555209 h 6858000"/>
              <a:gd name="connsiteX57" fmla="*/ 10340228 w 10732631"/>
              <a:gd name="connsiteY57" fmla="*/ 3068265 h 6858000"/>
              <a:gd name="connsiteX58" fmla="*/ 10340228 w 10732631"/>
              <a:gd name="connsiteY58" fmla="*/ 3068263 h 6858000"/>
              <a:gd name="connsiteX59" fmla="*/ 9827172 w 10732631"/>
              <a:gd name="connsiteY59" fmla="*/ 3068263 h 6858000"/>
              <a:gd name="connsiteX60" fmla="*/ 8121996 w 10732631"/>
              <a:gd name="connsiteY60" fmla="*/ 1363086 h 6858000"/>
              <a:gd name="connsiteX61" fmla="*/ 8121996 w 10732631"/>
              <a:gd name="connsiteY61" fmla="*/ 850031 h 6858000"/>
              <a:gd name="connsiteX62" fmla="*/ 8378524 w 10732631"/>
              <a:gd name="connsiteY62" fmla="*/ 743773 h 6858000"/>
              <a:gd name="connsiteX63" fmla="*/ 7062200 w 10732631"/>
              <a:gd name="connsiteY63" fmla="*/ 612697 h 6858000"/>
              <a:gd name="connsiteX64" fmla="*/ 7318728 w 10732631"/>
              <a:gd name="connsiteY64" fmla="*/ 718955 h 6858000"/>
              <a:gd name="connsiteX65" fmla="*/ 10488805 w 10732631"/>
              <a:gd name="connsiteY65" fmla="*/ 3889033 h 6858000"/>
              <a:gd name="connsiteX66" fmla="*/ 10488805 w 10732631"/>
              <a:gd name="connsiteY66" fmla="*/ 4402089 h 6858000"/>
              <a:gd name="connsiteX67" fmla="*/ 10488805 w 10732631"/>
              <a:gd name="connsiteY67" fmla="*/ 4402087 h 6858000"/>
              <a:gd name="connsiteX68" fmla="*/ 9975750 w 10732631"/>
              <a:gd name="connsiteY68" fmla="*/ 4402087 h 6858000"/>
              <a:gd name="connsiteX69" fmla="*/ 6805673 w 10732631"/>
              <a:gd name="connsiteY69" fmla="*/ 1232010 h 6858000"/>
              <a:gd name="connsiteX70" fmla="*/ 6805673 w 10732631"/>
              <a:gd name="connsiteY70" fmla="*/ 718955 h 6858000"/>
              <a:gd name="connsiteX71" fmla="*/ 7062200 w 10732631"/>
              <a:gd name="connsiteY71" fmla="*/ 612697 h 6858000"/>
              <a:gd name="connsiteX72" fmla="*/ 4371995 w 10732631"/>
              <a:gd name="connsiteY72" fmla="*/ 0 h 6858000"/>
              <a:gd name="connsiteX73" fmla="*/ 5398106 w 10732631"/>
              <a:gd name="connsiteY73" fmla="*/ 0 h 6858000"/>
              <a:gd name="connsiteX74" fmla="*/ 10678822 w 10732631"/>
              <a:gd name="connsiteY74" fmla="*/ 5280718 h 6858000"/>
              <a:gd name="connsiteX75" fmla="*/ 10725310 w 10732631"/>
              <a:gd name="connsiteY75" fmla="*/ 5337629 h 6858000"/>
              <a:gd name="connsiteX76" fmla="*/ 10732631 w 10732631"/>
              <a:gd name="connsiteY76" fmla="*/ 5351542 h 6858000"/>
              <a:gd name="connsiteX77" fmla="*/ 10732631 w 10732631"/>
              <a:gd name="connsiteY77" fmla="*/ 5722950 h 6858000"/>
              <a:gd name="connsiteX78" fmla="*/ 10725310 w 10732631"/>
              <a:gd name="connsiteY78" fmla="*/ 5736863 h 6858000"/>
              <a:gd name="connsiteX79" fmla="*/ 10678822 w 10732631"/>
              <a:gd name="connsiteY79" fmla="*/ 5793774 h 6858000"/>
              <a:gd name="connsiteX80" fmla="*/ 10678822 w 10732631"/>
              <a:gd name="connsiteY80" fmla="*/ 5793772 h 6858000"/>
              <a:gd name="connsiteX81" fmla="*/ 10165767 w 10732631"/>
              <a:gd name="connsiteY81" fmla="*/ 5793772 h 6858000"/>
              <a:gd name="connsiteX0" fmla="*/ 4027003 w 10732631"/>
              <a:gd name="connsiteY0" fmla="*/ 6026314 h 6858000"/>
              <a:gd name="connsiteX1" fmla="*/ 4283530 w 10732631"/>
              <a:gd name="connsiteY1" fmla="*/ 6132571 h 6858000"/>
              <a:gd name="connsiteX2" fmla="*/ 5008959 w 10732631"/>
              <a:gd name="connsiteY2" fmla="*/ 6858000 h 6858000"/>
              <a:gd name="connsiteX3" fmla="*/ 3982847 w 10732631"/>
              <a:gd name="connsiteY3" fmla="*/ 6858000 h 6858000"/>
              <a:gd name="connsiteX4" fmla="*/ 3770474 w 10732631"/>
              <a:gd name="connsiteY4" fmla="*/ 6645627 h 6858000"/>
              <a:gd name="connsiteX5" fmla="*/ 3770474 w 10732631"/>
              <a:gd name="connsiteY5" fmla="*/ 6132571 h 6858000"/>
              <a:gd name="connsiteX6" fmla="*/ 4027003 w 10732631"/>
              <a:gd name="connsiteY6" fmla="*/ 6026314 h 6858000"/>
              <a:gd name="connsiteX7" fmla="*/ 5226044 w 10732631"/>
              <a:gd name="connsiteY7" fmla="*/ 4810762 h 6858000"/>
              <a:gd name="connsiteX8" fmla="*/ 5482571 w 10732631"/>
              <a:gd name="connsiteY8" fmla="*/ 4917019 h 6858000"/>
              <a:gd name="connsiteX9" fmla="*/ 7423552 w 10732631"/>
              <a:gd name="connsiteY9" fmla="*/ 6858000 h 6858000"/>
              <a:gd name="connsiteX10" fmla="*/ 6397442 w 10732631"/>
              <a:gd name="connsiteY10" fmla="*/ 6858000 h 6858000"/>
              <a:gd name="connsiteX11" fmla="*/ 4969516 w 10732631"/>
              <a:gd name="connsiteY11" fmla="*/ 5430074 h 6858000"/>
              <a:gd name="connsiteX12" fmla="*/ 4969516 w 10732631"/>
              <a:gd name="connsiteY12" fmla="*/ 4917019 h 6858000"/>
              <a:gd name="connsiteX13" fmla="*/ 5226044 w 10732631"/>
              <a:gd name="connsiteY13" fmla="*/ 4810762 h 6858000"/>
              <a:gd name="connsiteX14" fmla="*/ 4016831 w 10732631"/>
              <a:gd name="connsiteY14" fmla="*/ 4808883 h 6858000"/>
              <a:gd name="connsiteX15" fmla="*/ 4273358 w 10732631"/>
              <a:gd name="connsiteY15" fmla="*/ 4915140 h 6858000"/>
              <a:gd name="connsiteX16" fmla="*/ 6216216 w 10732631"/>
              <a:gd name="connsiteY16" fmla="*/ 6858000 h 6858000"/>
              <a:gd name="connsiteX17" fmla="*/ 5190107 w 10732631"/>
              <a:gd name="connsiteY17" fmla="*/ 6858000 h 6858000"/>
              <a:gd name="connsiteX18" fmla="*/ 3760302 w 10732631"/>
              <a:gd name="connsiteY18" fmla="*/ 5428196 h 6858000"/>
              <a:gd name="connsiteX19" fmla="*/ 3760302 w 10732631"/>
              <a:gd name="connsiteY19" fmla="*/ 4915140 h 6858000"/>
              <a:gd name="connsiteX20" fmla="*/ 4016831 w 10732631"/>
              <a:gd name="connsiteY20" fmla="*/ 4808883 h 6858000"/>
              <a:gd name="connsiteX21" fmla="*/ 4983334 w 10732631"/>
              <a:gd name="connsiteY21" fmla="*/ 3358111 h 6858000"/>
              <a:gd name="connsiteX22" fmla="*/ 5239861 w 10732631"/>
              <a:gd name="connsiteY22" fmla="*/ 3464368 h 6858000"/>
              <a:gd name="connsiteX23" fmla="*/ 8633493 w 10732631"/>
              <a:gd name="connsiteY23" fmla="*/ 6858000 h 6858000"/>
              <a:gd name="connsiteX24" fmla="*/ 7607384 w 10732631"/>
              <a:gd name="connsiteY24" fmla="*/ 6858000 h 6858000"/>
              <a:gd name="connsiteX25" fmla="*/ 4726806 w 10732631"/>
              <a:gd name="connsiteY25" fmla="*/ 3977423 h 6858000"/>
              <a:gd name="connsiteX26" fmla="*/ 4726806 w 10732631"/>
              <a:gd name="connsiteY26" fmla="*/ 3464368 h 6858000"/>
              <a:gd name="connsiteX27" fmla="*/ 4983334 w 10732631"/>
              <a:gd name="connsiteY27" fmla="*/ 3358111 h 6858000"/>
              <a:gd name="connsiteX28" fmla="*/ 4411835 w 10732631"/>
              <a:gd name="connsiteY28" fmla="*/ 1580111 h 6858000"/>
              <a:gd name="connsiteX29" fmla="*/ 4668361 w 10732631"/>
              <a:gd name="connsiteY29" fmla="*/ 1686369 h 6858000"/>
              <a:gd name="connsiteX30" fmla="*/ 9305884 w 10732631"/>
              <a:gd name="connsiteY30" fmla="*/ 6323892 h 6858000"/>
              <a:gd name="connsiteX31" fmla="*/ 9305884 w 10732631"/>
              <a:gd name="connsiteY31" fmla="*/ 6836948 h 6858000"/>
              <a:gd name="connsiteX32" fmla="*/ 9305884 w 10732631"/>
              <a:gd name="connsiteY32" fmla="*/ 6836946 h 6858000"/>
              <a:gd name="connsiteX33" fmla="*/ 9280109 w 10732631"/>
              <a:gd name="connsiteY33" fmla="*/ 6858000 h 6858000"/>
              <a:gd name="connsiteX34" fmla="*/ 8818604 w 10732631"/>
              <a:gd name="connsiteY34" fmla="*/ 6858000 h 6858000"/>
              <a:gd name="connsiteX35" fmla="*/ 8792829 w 10732631"/>
              <a:gd name="connsiteY35" fmla="*/ 6836946 h 6858000"/>
              <a:gd name="connsiteX36" fmla="*/ 4155306 w 10732631"/>
              <a:gd name="connsiteY36" fmla="*/ 2199424 h 6858000"/>
              <a:gd name="connsiteX37" fmla="*/ 4155306 w 10732631"/>
              <a:gd name="connsiteY37" fmla="*/ 1686369 h 6858000"/>
              <a:gd name="connsiteX38" fmla="*/ 4411835 w 10732631"/>
              <a:gd name="connsiteY38" fmla="*/ 1580111 h 6858000"/>
              <a:gd name="connsiteX39" fmla="*/ 5620152 w 10732631"/>
              <a:gd name="connsiteY39" fmla="*/ 1580110 h 6858000"/>
              <a:gd name="connsiteX40" fmla="*/ 5876680 w 10732631"/>
              <a:gd name="connsiteY40" fmla="*/ 1686368 h 6858000"/>
              <a:gd name="connsiteX41" fmla="*/ 10732631 w 10732631"/>
              <a:gd name="connsiteY41" fmla="*/ 6542320 h 6858000"/>
              <a:gd name="connsiteX42" fmla="*/ 10732631 w 10732631"/>
              <a:gd name="connsiteY42" fmla="*/ 6858000 h 6858000"/>
              <a:gd name="connsiteX43" fmla="*/ 10022202 w 10732631"/>
              <a:gd name="connsiteY43" fmla="*/ 6858000 h 6858000"/>
              <a:gd name="connsiteX44" fmla="*/ 5363625 w 10732631"/>
              <a:gd name="connsiteY44" fmla="*/ 2199423 h 6858000"/>
              <a:gd name="connsiteX45" fmla="*/ 5363625 w 10732631"/>
              <a:gd name="connsiteY45" fmla="*/ 1686368 h 6858000"/>
              <a:gd name="connsiteX46" fmla="*/ 5620152 w 10732631"/>
              <a:gd name="connsiteY46" fmla="*/ 1580110 h 6858000"/>
              <a:gd name="connsiteX47" fmla="*/ 0 w 10732631"/>
              <a:gd name="connsiteY47" fmla="*/ 2533946 h 6858000"/>
              <a:gd name="connsiteX48" fmla="*/ 2017511 w 10732631"/>
              <a:gd name="connsiteY48" fmla="*/ 2533946 h 6858000"/>
              <a:gd name="connsiteX49" fmla="*/ 2017511 w 10732631"/>
              <a:gd name="connsiteY49" fmla="*/ 2953645 h 6858000"/>
              <a:gd name="connsiteX50" fmla="*/ 1008756 w 10732631"/>
              <a:gd name="connsiteY50" fmla="*/ 3962400 h 6858000"/>
              <a:gd name="connsiteX51" fmla="*/ 0 w 10732631"/>
              <a:gd name="connsiteY51" fmla="*/ 2953645 h 6858000"/>
              <a:gd name="connsiteX52" fmla="*/ 0 w 10732631"/>
              <a:gd name="connsiteY52" fmla="*/ 2533946 h 6858000"/>
              <a:gd name="connsiteX53" fmla="*/ 8378524 w 10732631"/>
              <a:gd name="connsiteY53" fmla="*/ 743773 h 6858000"/>
              <a:gd name="connsiteX54" fmla="*/ 8635051 w 10732631"/>
              <a:gd name="connsiteY54" fmla="*/ 850031 h 6858000"/>
              <a:gd name="connsiteX55" fmla="*/ 10340228 w 10732631"/>
              <a:gd name="connsiteY55" fmla="*/ 2555209 h 6858000"/>
              <a:gd name="connsiteX56" fmla="*/ 10340228 w 10732631"/>
              <a:gd name="connsiteY56" fmla="*/ 3068265 h 6858000"/>
              <a:gd name="connsiteX57" fmla="*/ 10340228 w 10732631"/>
              <a:gd name="connsiteY57" fmla="*/ 3068263 h 6858000"/>
              <a:gd name="connsiteX58" fmla="*/ 9827172 w 10732631"/>
              <a:gd name="connsiteY58" fmla="*/ 3068263 h 6858000"/>
              <a:gd name="connsiteX59" fmla="*/ 8121996 w 10732631"/>
              <a:gd name="connsiteY59" fmla="*/ 1363086 h 6858000"/>
              <a:gd name="connsiteX60" fmla="*/ 8121996 w 10732631"/>
              <a:gd name="connsiteY60" fmla="*/ 850031 h 6858000"/>
              <a:gd name="connsiteX61" fmla="*/ 8378524 w 10732631"/>
              <a:gd name="connsiteY61" fmla="*/ 743773 h 6858000"/>
              <a:gd name="connsiteX62" fmla="*/ 7062200 w 10732631"/>
              <a:gd name="connsiteY62" fmla="*/ 612697 h 6858000"/>
              <a:gd name="connsiteX63" fmla="*/ 7318728 w 10732631"/>
              <a:gd name="connsiteY63" fmla="*/ 718955 h 6858000"/>
              <a:gd name="connsiteX64" fmla="*/ 10488805 w 10732631"/>
              <a:gd name="connsiteY64" fmla="*/ 3889033 h 6858000"/>
              <a:gd name="connsiteX65" fmla="*/ 10488805 w 10732631"/>
              <a:gd name="connsiteY65" fmla="*/ 4402089 h 6858000"/>
              <a:gd name="connsiteX66" fmla="*/ 10488805 w 10732631"/>
              <a:gd name="connsiteY66" fmla="*/ 4402087 h 6858000"/>
              <a:gd name="connsiteX67" fmla="*/ 9975750 w 10732631"/>
              <a:gd name="connsiteY67" fmla="*/ 4402087 h 6858000"/>
              <a:gd name="connsiteX68" fmla="*/ 6805673 w 10732631"/>
              <a:gd name="connsiteY68" fmla="*/ 1232010 h 6858000"/>
              <a:gd name="connsiteX69" fmla="*/ 6805673 w 10732631"/>
              <a:gd name="connsiteY69" fmla="*/ 718955 h 6858000"/>
              <a:gd name="connsiteX70" fmla="*/ 7062200 w 10732631"/>
              <a:gd name="connsiteY70" fmla="*/ 612697 h 6858000"/>
              <a:gd name="connsiteX71" fmla="*/ 4371995 w 10732631"/>
              <a:gd name="connsiteY71" fmla="*/ 0 h 6858000"/>
              <a:gd name="connsiteX72" fmla="*/ 5398106 w 10732631"/>
              <a:gd name="connsiteY72" fmla="*/ 0 h 6858000"/>
              <a:gd name="connsiteX73" fmla="*/ 10678822 w 10732631"/>
              <a:gd name="connsiteY73" fmla="*/ 5280718 h 6858000"/>
              <a:gd name="connsiteX74" fmla="*/ 10725310 w 10732631"/>
              <a:gd name="connsiteY74" fmla="*/ 5337629 h 6858000"/>
              <a:gd name="connsiteX75" fmla="*/ 10732631 w 10732631"/>
              <a:gd name="connsiteY75" fmla="*/ 5351542 h 6858000"/>
              <a:gd name="connsiteX76" fmla="*/ 10732631 w 10732631"/>
              <a:gd name="connsiteY76" fmla="*/ 5722950 h 6858000"/>
              <a:gd name="connsiteX77" fmla="*/ 10725310 w 10732631"/>
              <a:gd name="connsiteY77" fmla="*/ 5736863 h 6858000"/>
              <a:gd name="connsiteX78" fmla="*/ 10678822 w 10732631"/>
              <a:gd name="connsiteY78" fmla="*/ 5793774 h 6858000"/>
              <a:gd name="connsiteX79" fmla="*/ 10678822 w 10732631"/>
              <a:gd name="connsiteY79" fmla="*/ 5793772 h 6858000"/>
              <a:gd name="connsiteX80" fmla="*/ 10165767 w 10732631"/>
              <a:gd name="connsiteY80" fmla="*/ 5793772 h 6858000"/>
              <a:gd name="connsiteX81" fmla="*/ 4371995 w 10732631"/>
              <a:gd name="connsiteY81" fmla="*/ 0 h 6858000"/>
              <a:gd name="connsiteX0" fmla="*/ 4027003 w 10732631"/>
              <a:gd name="connsiteY0" fmla="*/ 6026314 h 6858000"/>
              <a:gd name="connsiteX1" fmla="*/ 4283530 w 10732631"/>
              <a:gd name="connsiteY1" fmla="*/ 6132571 h 6858000"/>
              <a:gd name="connsiteX2" fmla="*/ 5008959 w 10732631"/>
              <a:gd name="connsiteY2" fmla="*/ 6858000 h 6858000"/>
              <a:gd name="connsiteX3" fmla="*/ 3982847 w 10732631"/>
              <a:gd name="connsiteY3" fmla="*/ 6858000 h 6858000"/>
              <a:gd name="connsiteX4" fmla="*/ 3770474 w 10732631"/>
              <a:gd name="connsiteY4" fmla="*/ 6645627 h 6858000"/>
              <a:gd name="connsiteX5" fmla="*/ 3770474 w 10732631"/>
              <a:gd name="connsiteY5" fmla="*/ 6132571 h 6858000"/>
              <a:gd name="connsiteX6" fmla="*/ 4027003 w 10732631"/>
              <a:gd name="connsiteY6" fmla="*/ 6026314 h 6858000"/>
              <a:gd name="connsiteX7" fmla="*/ 5226044 w 10732631"/>
              <a:gd name="connsiteY7" fmla="*/ 4810762 h 6858000"/>
              <a:gd name="connsiteX8" fmla="*/ 5482571 w 10732631"/>
              <a:gd name="connsiteY8" fmla="*/ 4917019 h 6858000"/>
              <a:gd name="connsiteX9" fmla="*/ 7423552 w 10732631"/>
              <a:gd name="connsiteY9" fmla="*/ 6858000 h 6858000"/>
              <a:gd name="connsiteX10" fmla="*/ 6397442 w 10732631"/>
              <a:gd name="connsiteY10" fmla="*/ 6858000 h 6858000"/>
              <a:gd name="connsiteX11" fmla="*/ 4969516 w 10732631"/>
              <a:gd name="connsiteY11" fmla="*/ 5430074 h 6858000"/>
              <a:gd name="connsiteX12" fmla="*/ 4969516 w 10732631"/>
              <a:gd name="connsiteY12" fmla="*/ 4917019 h 6858000"/>
              <a:gd name="connsiteX13" fmla="*/ 5226044 w 10732631"/>
              <a:gd name="connsiteY13" fmla="*/ 4810762 h 6858000"/>
              <a:gd name="connsiteX14" fmla="*/ 4016831 w 10732631"/>
              <a:gd name="connsiteY14" fmla="*/ 4808883 h 6858000"/>
              <a:gd name="connsiteX15" fmla="*/ 4273358 w 10732631"/>
              <a:gd name="connsiteY15" fmla="*/ 4915140 h 6858000"/>
              <a:gd name="connsiteX16" fmla="*/ 6216216 w 10732631"/>
              <a:gd name="connsiteY16" fmla="*/ 6858000 h 6858000"/>
              <a:gd name="connsiteX17" fmla="*/ 5190107 w 10732631"/>
              <a:gd name="connsiteY17" fmla="*/ 6858000 h 6858000"/>
              <a:gd name="connsiteX18" fmla="*/ 3760302 w 10732631"/>
              <a:gd name="connsiteY18" fmla="*/ 5428196 h 6858000"/>
              <a:gd name="connsiteX19" fmla="*/ 3760302 w 10732631"/>
              <a:gd name="connsiteY19" fmla="*/ 4915140 h 6858000"/>
              <a:gd name="connsiteX20" fmla="*/ 4016831 w 10732631"/>
              <a:gd name="connsiteY20" fmla="*/ 4808883 h 6858000"/>
              <a:gd name="connsiteX21" fmla="*/ 4983334 w 10732631"/>
              <a:gd name="connsiteY21" fmla="*/ 3358111 h 6858000"/>
              <a:gd name="connsiteX22" fmla="*/ 5239861 w 10732631"/>
              <a:gd name="connsiteY22" fmla="*/ 3464368 h 6858000"/>
              <a:gd name="connsiteX23" fmla="*/ 8633493 w 10732631"/>
              <a:gd name="connsiteY23" fmla="*/ 6858000 h 6858000"/>
              <a:gd name="connsiteX24" fmla="*/ 7607384 w 10732631"/>
              <a:gd name="connsiteY24" fmla="*/ 6858000 h 6858000"/>
              <a:gd name="connsiteX25" fmla="*/ 4726806 w 10732631"/>
              <a:gd name="connsiteY25" fmla="*/ 3977423 h 6858000"/>
              <a:gd name="connsiteX26" fmla="*/ 4726806 w 10732631"/>
              <a:gd name="connsiteY26" fmla="*/ 3464368 h 6858000"/>
              <a:gd name="connsiteX27" fmla="*/ 4983334 w 10732631"/>
              <a:gd name="connsiteY27" fmla="*/ 3358111 h 6858000"/>
              <a:gd name="connsiteX28" fmla="*/ 4411835 w 10732631"/>
              <a:gd name="connsiteY28" fmla="*/ 1580111 h 6858000"/>
              <a:gd name="connsiteX29" fmla="*/ 4668361 w 10732631"/>
              <a:gd name="connsiteY29" fmla="*/ 1686369 h 6858000"/>
              <a:gd name="connsiteX30" fmla="*/ 9305884 w 10732631"/>
              <a:gd name="connsiteY30" fmla="*/ 6323892 h 6858000"/>
              <a:gd name="connsiteX31" fmla="*/ 9305884 w 10732631"/>
              <a:gd name="connsiteY31" fmla="*/ 6836948 h 6858000"/>
              <a:gd name="connsiteX32" fmla="*/ 9305884 w 10732631"/>
              <a:gd name="connsiteY32" fmla="*/ 6836946 h 6858000"/>
              <a:gd name="connsiteX33" fmla="*/ 9280109 w 10732631"/>
              <a:gd name="connsiteY33" fmla="*/ 6858000 h 6858000"/>
              <a:gd name="connsiteX34" fmla="*/ 8818604 w 10732631"/>
              <a:gd name="connsiteY34" fmla="*/ 6858000 h 6858000"/>
              <a:gd name="connsiteX35" fmla="*/ 8792829 w 10732631"/>
              <a:gd name="connsiteY35" fmla="*/ 6836946 h 6858000"/>
              <a:gd name="connsiteX36" fmla="*/ 4155306 w 10732631"/>
              <a:gd name="connsiteY36" fmla="*/ 2199424 h 6858000"/>
              <a:gd name="connsiteX37" fmla="*/ 4155306 w 10732631"/>
              <a:gd name="connsiteY37" fmla="*/ 1686369 h 6858000"/>
              <a:gd name="connsiteX38" fmla="*/ 4411835 w 10732631"/>
              <a:gd name="connsiteY38" fmla="*/ 1580111 h 6858000"/>
              <a:gd name="connsiteX39" fmla="*/ 5620152 w 10732631"/>
              <a:gd name="connsiteY39" fmla="*/ 1580110 h 6858000"/>
              <a:gd name="connsiteX40" fmla="*/ 5876680 w 10732631"/>
              <a:gd name="connsiteY40" fmla="*/ 1686368 h 6858000"/>
              <a:gd name="connsiteX41" fmla="*/ 10732631 w 10732631"/>
              <a:gd name="connsiteY41" fmla="*/ 6542320 h 6858000"/>
              <a:gd name="connsiteX42" fmla="*/ 10732631 w 10732631"/>
              <a:gd name="connsiteY42" fmla="*/ 6858000 h 6858000"/>
              <a:gd name="connsiteX43" fmla="*/ 10022202 w 10732631"/>
              <a:gd name="connsiteY43" fmla="*/ 6858000 h 6858000"/>
              <a:gd name="connsiteX44" fmla="*/ 5363625 w 10732631"/>
              <a:gd name="connsiteY44" fmla="*/ 2199423 h 6858000"/>
              <a:gd name="connsiteX45" fmla="*/ 5363625 w 10732631"/>
              <a:gd name="connsiteY45" fmla="*/ 1686368 h 6858000"/>
              <a:gd name="connsiteX46" fmla="*/ 5620152 w 10732631"/>
              <a:gd name="connsiteY46" fmla="*/ 1580110 h 6858000"/>
              <a:gd name="connsiteX47" fmla="*/ 0 w 10732631"/>
              <a:gd name="connsiteY47" fmla="*/ 2533946 h 6858000"/>
              <a:gd name="connsiteX48" fmla="*/ 2017511 w 10732631"/>
              <a:gd name="connsiteY48" fmla="*/ 2953645 h 6858000"/>
              <a:gd name="connsiteX49" fmla="*/ 1008756 w 10732631"/>
              <a:gd name="connsiteY49" fmla="*/ 3962400 h 6858000"/>
              <a:gd name="connsiteX50" fmla="*/ 0 w 10732631"/>
              <a:gd name="connsiteY50" fmla="*/ 2953645 h 6858000"/>
              <a:gd name="connsiteX51" fmla="*/ 0 w 10732631"/>
              <a:gd name="connsiteY51" fmla="*/ 2533946 h 6858000"/>
              <a:gd name="connsiteX52" fmla="*/ 8378524 w 10732631"/>
              <a:gd name="connsiteY52" fmla="*/ 743773 h 6858000"/>
              <a:gd name="connsiteX53" fmla="*/ 8635051 w 10732631"/>
              <a:gd name="connsiteY53" fmla="*/ 850031 h 6858000"/>
              <a:gd name="connsiteX54" fmla="*/ 10340228 w 10732631"/>
              <a:gd name="connsiteY54" fmla="*/ 2555209 h 6858000"/>
              <a:gd name="connsiteX55" fmla="*/ 10340228 w 10732631"/>
              <a:gd name="connsiteY55" fmla="*/ 3068265 h 6858000"/>
              <a:gd name="connsiteX56" fmla="*/ 10340228 w 10732631"/>
              <a:gd name="connsiteY56" fmla="*/ 3068263 h 6858000"/>
              <a:gd name="connsiteX57" fmla="*/ 9827172 w 10732631"/>
              <a:gd name="connsiteY57" fmla="*/ 3068263 h 6858000"/>
              <a:gd name="connsiteX58" fmla="*/ 8121996 w 10732631"/>
              <a:gd name="connsiteY58" fmla="*/ 1363086 h 6858000"/>
              <a:gd name="connsiteX59" fmla="*/ 8121996 w 10732631"/>
              <a:gd name="connsiteY59" fmla="*/ 850031 h 6858000"/>
              <a:gd name="connsiteX60" fmla="*/ 8378524 w 10732631"/>
              <a:gd name="connsiteY60" fmla="*/ 743773 h 6858000"/>
              <a:gd name="connsiteX61" fmla="*/ 7062200 w 10732631"/>
              <a:gd name="connsiteY61" fmla="*/ 612697 h 6858000"/>
              <a:gd name="connsiteX62" fmla="*/ 7318728 w 10732631"/>
              <a:gd name="connsiteY62" fmla="*/ 718955 h 6858000"/>
              <a:gd name="connsiteX63" fmla="*/ 10488805 w 10732631"/>
              <a:gd name="connsiteY63" fmla="*/ 3889033 h 6858000"/>
              <a:gd name="connsiteX64" fmla="*/ 10488805 w 10732631"/>
              <a:gd name="connsiteY64" fmla="*/ 4402089 h 6858000"/>
              <a:gd name="connsiteX65" fmla="*/ 10488805 w 10732631"/>
              <a:gd name="connsiteY65" fmla="*/ 4402087 h 6858000"/>
              <a:gd name="connsiteX66" fmla="*/ 9975750 w 10732631"/>
              <a:gd name="connsiteY66" fmla="*/ 4402087 h 6858000"/>
              <a:gd name="connsiteX67" fmla="*/ 6805673 w 10732631"/>
              <a:gd name="connsiteY67" fmla="*/ 1232010 h 6858000"/>
              <a:gd name="connsiteX68" fmla="*/ 6805673 w 10732631"/>
              <a:gd name="connsiteY68" fmla="*/ 718955 h 6858000"/>
              <a:gd name="connsiteX69" fmla="*/ 7062200 w 10732631"/>
              <a:gd name="connsiteY69" fmla="*/ 612697 h 6858000"/>
              <a:gd name="connsiteX70" fmla="*/ 4371995 w 10732631"/>
              <a:gd name="connsiteY70" fmla="*/ 0 h 6858000"/>
              <a:gd name="connsiteX71" fmla="*/ 5398106 w 10732631"/>
              <a:gd name="connsiteY71" fmla="*/ 0 h 6858000"/>
              <a:gd name="connsiteX72" fmla="*/ 10678822 w 10732631"/>
              <a:gd name="connsiteY72" fmla="*/ 5280718 h 6858000"/>
              <a:gd name="connsiteX73" fmla="*/ 10725310 w 10732631"/>
              <a:gd name="connsiteY73" fmla="*/ 5337629 h 6858000"/>
              <a:gd name="connsiteX74" fmla="*/ 10732631 w 10732631"/>
              <a:gd name="connsiteY74" fmla="*/ 5351542 h 6858000"/>
              <a:gd name="connsiteX75" fmla="*/ 10732631 w 10732631"/>
              <a:gd name="connsiteY75" fmla="*/ 5722950 h 6858000"/>
              <a:gd name="connsiteX76" fmla="*/ 10725310 w 10732631"/>
              <a:gd name="connsiteY76" fmla="*/ 5736863 h 6858000"/>
              <a:gd name="connsiteX77" fmla="*/ 10678822 w 10732631"/>
              <a:gd name="connsiteY77" fmla="*/ 5793774 h 6858000"/>
              <a:gd name="connsiteX78" fmla="*/ 10678822 w 10732631"/>
              <a:gd name="connsiteY78" fmla="*/ 5793772 h 6858000"/>
              <a:gd name="connsiteX79" fmla="*/ 10165767 w 10732631"/>
              <a:gd name="connsiteY79" fmla="*/ 5793772 h 6858000"/>
              <a:gd name="connsiteX80" fmla="*/ 4371995 w 10732631"/>
              <a:gd name="connsiteY80" fmla="*/ 0 h 6858000"/>
              <a:gd name="connsiteX0" fmla="*/ 4027003 w 10732631"/>
              <a:gd name="connsiteY0" fmla="*/ 6026314 h 6858000"/>
              <a:gd name="connsiteX1" fmla="*/ 4283530 w 10732631"/>
              <a:gd name="connsiteY1" fmla="*/ 6132571 h 6858000"/>
              <a:gd name="connsiteX2" fmla="*/ 5008959 w 10732631"/>
              <a:gd name="connsiteY2" fmla="*/ 6858000 h 6858000"/>
              <a:gd name="connsiteX3" fmla="*/ 3982847 w 10732631"/>
              <a:gd name="connsiteY3" fmla="*/ 6858000 h 6858000"/>
              <a:gd name="connsiteX4" fmla="*/ 3770474 w 10732631"/>
              <a:gd name="connsiteY4" fmla="*/ 6645627 h 6858000"/>
              <a:gd name="connsiteX5" fmla="*/ 3770474 w 10732631"/>
              <a:gd name="connsiteY5" fmla="*/ 6132571 h 6858000"/>
              <a:gd name="connsiteX6" fmla="*/ 4027003 w 10732631"/>
              <a:gd name="connsiteY6" fmla="*/ 6026314 h 6858000"/>
              <a:gd name="connsiteX7" fmla="*/ 5226044 w 10732631"/>
              <a:gd name="connsiteY7" fmla="*/ 4810762 h 6858000"/>
              <a:gd name="connsiteX8" fmla="*/ 5482571 w 10732631"/>
              <a:gd name="connsiteY8" fmla="*/ 4917019 h 6858000"/>
              <a:gd name="connsiteX9" fmla="*/ 7423552 w 10732631"/>
              <a:gd name="connsiteY9" fmla="*/ 6858000 h 6858000"/>
              <a:gd name="connsiteX10" fmla="*/ 6397442 w 10732631"/>
              <a:gd name="connsiteY10" fmla="*/ 6858000 h 6858000"/>
              <a:gd name="connsiteX11" fmla="*/ 4969516 w 10732631"/>
              <a:gd name="connsiteY11" fmla="*/ 5430074 h 6858000"/>
              <a:gd name="connsiteX12" fmla="*/ 4969516 w 10732631"/>
              <a:gd name="connsiteY12" fmla="*/ 4917019 h 6858000"/>
              <a:gd name="connsiteX13" fmla="*/ 5226044 w 10732631"/>
              <a:gd name="connsiteY13" fmla="*/ 4810762 h 6858000"/>
              <a:gd name="connsiteX14" fmla="*/ 4016831 w 10732631"/>
              <a:gd name="connsiteY14" fmla="*/ 4808883 h 6858000"/>
              <a:gd name="connsiteX15" fmla="*/ 4273358 w 10732631"/>
              <a:gd name="connsiteY15" fmla="*/ 4915140 h 6858000"/>
              <a:gd name="connsiteX16" fmla="*/ 6216216 w 10732631"/>
              <a:gd name="connsiteY16" fmla="*/ 6858000 h 6858000"/>
              <a:gd name="connsiteX17" fmla="*/ 5190107 w 10732631"/>
              <a:gd name="connsiteY17" fmla="*/ 6858000 h 6858000"/>
              <a:gd name="connsiteX18" fmla="*/ 3760302 w 10732631"/>
              <a:gd name="connsiteY18" fmla="*/ 5428196 h 6858000"/>
              <a:gd name="connsiteX19" fmla="*/ 3760302 w 10732631"/>
              <a:gd name="connsiteY19" fmla="*/ 4915140 h 6858000"/>
              <a:gd name="connsiteX20" fmla="*/ 4016831 w 10732631"/>
              <a:gd name="connsiteY20" fmla="*/ 4808883 h 6858000"/>
              <a:gd name="connsiteX21" fmla="*/ 4983334 w 10732631"/>
              <a:gd name="connsiteY21" fmla="*/ 3358111 h 6858000"/>
              <a:gd name="connsiteX22" fmla="*/ 5239861 w 10732631"/>
              <a:gd name="connsiteY22" fmla="*/ 3464368 h 6858000"/>
              <a:gd name="connsiteX23" fmla="*/ 8633493 w 10732631"/>
              <a:gd name="connsiteY23" fmla="*/ 6858000 h 6858000"/>
              <a:gd name="connsiteX24" fmla="*/ 7607384 w 10732631"/>
              <a:gd name="connsiteY24" fmla="*/ 6858000 h 6858000"/>
              <a:gd name="connsiteX25" fmla="*/ 4726806 w 10732631"/>
              <a:gd name="connsiteY25" fmla="*/ 3977423 h 6858000"/>
              <a:gd name="connsiteX26" fmla="*/ 4726806 w 10732631"/>
              <a:gd name="connsiteY26" fmla="*/ 3464368 h 6858000"/>
              <a:gd name="connsiteX27" fmla="*/ 4983334 w 10732631"/>
              <a:gd name="connsiteY27" fmla="*/ 3358111 h 6858000"/>
              <a:gd name="connsiteX28" fmla="*/ 4411835 w 10732631"/>
              <a:gd name="connsiteY28" fmla="*/ 1580111 h 6858000"/>
              <a:gd name="connsiteX29" fmla="*/ 4668361 w 10732631"/>
              <a:gd name="connsiteY29" fmla="*/ 1686369 h 6858000"/>
              <a:gd name="connsiteX30" fmla="*/ 9305884 w 10732631"/>
              <a:gd name="connsiteY30" fmla="*/ 6323892 h 6858000"/>
              <a:gd name="connsiteX31" fmla="*/ 9305884 w 10732631"/>
              <a:gd name="connsiteY31" fmla="*/ 6836948 h 6858000"/>
              <a:gd name="connsiteX32" fmla="*/ 9305884 w 10732631"/>
              <a:gd name="connsiteY32" fmla="*/ 6836946 h 6858000"/>
              <a:gd name="connsiteX33" fmla="*/ 9280109 w 10732631"/>
              <a:gd name="connsiteY33" fmla="*/ 6858000 h 6858000"/>
              <a:gd name="connsiteX34" fmla="*/ 8818604 w 10732631"/>
              <a:gd name="connsiteY34" fmla="*/ 6858000 h 6858000"/>
              <a:gd name="connsiteX35" fmla="*/ 8792829 w 10732631"/>
              <a:gd name="connsiteY35" fmla="*/ 6836946 h 6858000"/>
              <a:gd name="connsiteX36" fmla="*/ 4155306 w 10732631"/>
              <a:gd name="connsiteY36" fmla="*/ 2199424 h 6858000"/>
              <a:gd name="connsiteX37" fmla="*/ 4155306 w 10732631"/>
              <a:gd name="connsiteY37" fmla="*/ 1686369 h 6858000"/>
              <a:gd name="connsiteX38" fmla="*/ 4411835 w 10732631"/>
              <a:gd name="connsiteY38" fmla="*/ 1580111 h 6858000"/>
              <a:gd name="connsiteX39" fmla="*/ 5620152 w 10732631"/>
              <a:gd name="connsiteY39" fmla="*/ 1580110 h 6858000"/>
              <a:gd name="connsiteX40" fmla="*/ 5876680 w 10732631"/>
              <a:gd name="connsiteY40" fmla="*/ 1686368 h 6858000"/>
              <a:gd name="connsiteX41" fmla="*/ 10732631 w 10732631"/>
              <a:gd name="connsiteY41" fmla="*/ 6542320 h 6858000"/>
              <a:gd name="connsiteX42" fmla="*/ 10732631 w 10732631"/>
              <a:gd name="connsiteY42" fmla="*/ 6858000 h 6858000"/>
              <a:gd name="connsiteX43" fmla="*/ 10022202 w 10732631"/>
              <a:gd name="connsiteY43" fmla="*/ 6858000 h 6858000"/>
              <a:gd name="connsiteX44" fmla="*/ 5363625 w 10732631"/>
              <a:gd name="connsiteY44" fmla="*/ 2199423 h 6858000"/>
              <a:gd name="connsiteX45" fmla="*/ 5363625 w 10732631"/>
              <a:gd name="connsiteY45" fmla="*/ 1686368 h 6858000"/>
              <a:gd name="connsiteX46" fmla="*/ 5620152 w 10732631"/>
              <a:gd name="connsiteY46" fmla="*/ 1580110 h 6858000"/>
              <a:gd name="connsiteX47" fmla="*/ 0 w 10732631"/>
              <a:gd name="connsiteY47" fmla="*/ 2533946 h 6858000"/>
              <a:gd name="connsiteX48" fmla="*/ 1008756 w 10732631"/>
              <a:gd name="connsiteY48" fmla="*/ 3962400 h 6858000"/>
              <a:gd name="connsiteX49" fmla="*/ 0 w 10732631"/>
              <a:gd name="connsiteY49" fmla="*/ 2953645 h 6858000"/>
              <a:gd name="connsiteX50" fmla="*/ 0 w 10732631"/>
              <a:gd name="connsiteY50" fmla="*/ 2533946 h 6858000"/>
              <a:gd name="connsiteX51" fmla="*/ 8378524 w 10732631"/>
              <a:gd name="connsiteY51" fmla="*/ 743773 h 6858000"/>
              <a:gd name="connsiteX52" fmla="*/ 8635051 w 10732631"/>
              <a:gd name="connsiteY52" fmla="*/ 850031 h 6858000"/>
              <a:gd name="connsiteX53" fmla="*/ 10340228 w 10732631"/>
              <a:gd name="connsiteY53" fmla="*/ 2555209 h 6858000"/>
              <a:gd name="connsiteX54" fmla="*/ 10340228 w 10732631"/>
              <a:gd name="connsiteY54" fmla="*/ 3068265 h 6858000"/>
              <a:gd name="connsiteX55" fmla="*/ 10340228 w 10732631"/>
              <a:gd name="connsiteY55" fmla="*/ 3068263 h 6858000"/>
              <a:gd name="connsiteX56" fmla="*/ 9827172 w 10732631"/>
              <a:gd name="connsiteY56" fmla="*/ 3068263 h 6858000"/>
              <a:gd name="connsiteX57" fmla="*/ 8121996 w 10732631"/>
              <a:gd name="connsiteY57" fmla="*/ 1363086 h 6858000"/>
              <a:gd name="connsiteX58" fmla="*/ 8121996 w 10732631"/>
              <a:gd name="connsiteY58" fmla="*/ 850031 h 6858000"/>
              <a:gd name="connsiteX59" fmla="*/ 8378524 w 10732631"/>
              <a:gd name="connsiteY59" fmla="*/ 743773 h 6858000"/>
              <a:gd name="connsiteX60" fmla="*/ 7062200 w 10732631"/>
              <a:gd name="connsiteY60" fmla="*/ 612697 h 6858000"/>
              <a:gd name="connsiteX61" fmla="*/ 7318728 w 10732631"/>
              <a:gd name="connsiteY61" fmla="*/ 718955 h 6858000"/>
              <a:gd name="connsiteX62" fmla="*/ 10488805 w 10732631"/>
              <a:gd name="connsiteY62" fmla="*/ 3889033 h 6858000"/>
              <a:gd name="connsiteX63" fmla="*/ 10488805 w 10732631"/>
              <a:gd name="connsiteY63" fmla="*/ 4402089 h 6858000"/>
              <a:gd name="connsiteX64" fmla="*/ 10488805 w 10732631"/>
              <a:gd name="connsiteY64" fmla="*/ 4402087 h 6858000"/>
              <a:gd name="connsiteX65" fmla="*/ 9975750 w 10732631"/>
              <a:gd name="connsiteY65" fmla="*/ 4402087 h 6858000"/>
              <a:gd name="connsiteX66" fmla="*/ 6805673 w 10732631"/>
              <a:gd name="connsiteY66" fmla="*/ 1232010 h 6858000"/>
              <a:gd name="connsiteX67" fmla="*/ 6805673 w 10732631"/>
              <a:gd name="connsiteY67" fmla="*/ 718955 h 6858000"/>
              <a:gd name="connsiteX68" fmla="*/ 7062200 w 10732631"/>
              <a:gd name="connsiteY68" fmla="*/ 612697 h 6858000"/>
              <a:gd name="connsiteX69" fmla="*/ 4371995 w 10732631"/>
              <a:gd name="connsiteY69" fmla="*/ 0 h 6858000"/>
              <a:gd name="connsiteX70" fmla="*/ 5398106 w 10732631"/>
              <a:gd name="connsiteY70" fmla="*/ 0 h 6858000"/>
              <a:gd name="connsiteX71" fmla="*/ 10678822 w 10732631"/>
              <a:gd name="connsiteY71" fmla="*/ 5280718 h 6858000"/>
              <a:gd name="connsiteX72" fmla="*/ 10725310 w 10732631"/>
              <a:gd name="connsiteY72" fmla="*/ 5337629 h 6858000"/>
              <a:gd name="connsiteX73" fmla="*/ 10732631 w 10732631"/>
              <a:gd name="connsiteY73" fmla="*/ 5351542 h 6858000"/>
              <a:gd name="connsiteX74" fmla="*/ 10732631 w 10732631"/>
              <a:gd name="connsiteY74" fmla="*/ 5722950 h 6858000"/>
              <a:gd name="connsiteX75" fmla="*/ 10725310 w 10732631"/>
              <a:gd name="connsiteY75" fmla="*/ 5736863 h 6858000"/>
              <a:gd name="connsiteX76" fmla="*/ 10678822 w 10732631"/>
              <a:gd name="connsiteY76" fmla="*/ 5793774 h 6858000"/>
              <a:gd name="connsiteX77" fmla="*/ 10678822 w 10732631"/>
              <a:gd name="connsiteY77" fmla="*/ 5793772 h 6858000"/>
              <a:gd name="connsiteX78" fmla="*/ 10165767 w 10732631"/>
              <a:gd name="connsiteY78" fmla="*/ 5793772 h 6858000"/>
              <a:gd name="connsiteX79" fmla="*/ 4371995 w 10732631"/>
              <a:gd name="connsiteY79" fmla="*/ 0 h 6858000"/>
              <a:gd name="connsiteX0" fmla="*/ 4027003 w 10732631"/>
              <a:gd name="connsiteY0" fmla="*/ 6026314 h 6858000"/>
              <a:gd name="connsiteX1" fmla="*/ 4283530 w 10732631"/>
              <a:gd name="connsiteY1" fmla="*/ 6132571 h 6858000"/>
              <a:gd name="connsiteX2" fmla="*/ 5008959 w 10732631"/>
              <a:gd name="connsiteY2" fmla="*/ 6858000 h 6858000"/>
              <a:gd name="connsiteX3" fmla="*/ 3982847 w 10732631"/>
              <a:gd name="connsiteY3" fmla="*/ 6858000 h 6858000"/>
              <a:gd name="connsiteX4" fmla="*/ 3770474 w 10732631"/>
              <a:gd name="connsiteY4" fmla="*/ 6645627 h 6858000"/>
              <a:gd name="connsiteX5" fmla="*/ 3770474 w 10732631"/>
              <a:gd name="connsiteY5" fmla="*/ 6132571 h 6858000"/>
              <a:gd name="connsiteX6" fmla="*/ 4027003 w 10732631"/>
              <a:gd name="connsiteY6" fmla="*/ 6026314 h 6858000"/>
              <a:gd name="connsiteX7" fmla="*/ 5226044 w 10732631"/>
              <a:gd name="connsiteY7" fmla="*/ 4810762 h 6858000"/>
              <a:gd name="connsiteX8" fmla="*/ 5482571 w 10732631"/>
              <a:gd name="connsiteY8" fmla="*/ 4917019 h 6858000"/>
              <a:gd name="connsiteX9" fmla="*/ 7423552 w 10732631"/>
              <a:gd name="connsiteY9" fmla="*/ 6858000 h 6858000"/>
              <a:gd name="connsiteX10" fmla="*/ 6397442 w 10732631"/>
              <a:gd name="connsiteY10" fmla="*/ 6858000 h 6858000"/>
              <a:gd name="connsiteX11" fmla="*/ 4969516 w 10732631"/>
              <a:gd name="connsiteY11" fmla="*/ 5430074 h 6858000"/>
              <a:gd name="connsiteX12" fmla="*/ 4969516 w 10732631"/>
              <a:gd name="connsiteY12" fmla="*/ 4917019 h 6858000"/>
              <a:gd name="connsiteX13" fmla="*/ 5226044 w 10732631"/>
              <a:gd name="connsiteY13" fmla="*/ 4810762 h 6858000"/>
              <a:gd name="connsiteX14" fmla="*/ 4016831 w 10732631"/>
              <a:gd name="connsiteY14" fmla="*/ 4808883 h 6858000"/>
              <a:gd name="connsiteX15" fmla="*/ 4273358 w 10732631"/>
              <a:gd name="connsiteY15" fmla="*/ 4915140 h 6858000"/>
              <a:gd name="connsiteX16" fmla="*/ 6216216 w 10732631"/>
              <a:gd name="connsiteY16" fmla="*/ 6858000 h 6858000"/>
              <a:gd name="connsiteX17" fmla="*/ 5190107 w 10732631"/>
              <a:gd name="connsiteY17" fmla="*/ 6858000 h 6858000"/>
              <a:gd name="connsiteX18" fmla="*/ 3760302 w 10732631"/>
              <a:gd name="connsiteY18" fmla="*/ 5428196 h 6858000"/>
              <a:gd name="connsiteX19" fmla="*/ 3760302 w 10732631"/>
              <a:gd name="connsiteY19" fmla="*/ 4915140 h 6858000"/>
              <a:gd name="connsiteX20" fmla="*/ 4016831 w 10732631"/>
              <a:gd name="connsiteY20" fmla="*/ 4808883 h 6858000"/>
              <a:gd name="connsiteX21" fmla="*/ 4983334 w 10732631"/>
              <a:gd name="connsiteY21" fmla="*/ 3358111 h 6858000"/>
              <a:gd name="connsiteX22" fmla="*/ 5239861 w 10732631"/>
              <a:gd name="connsiteY22" fmla="*/ 3464368 h 6858000"/>
              <a:gd name="connsiteX23" fmla="*/ 8633493 w 10732631"/>
              <a:gd name="connsiteY23" fmla="*/ 6858000 h 6858000"/>
              <a:gd name="connsiteX24" fmla="*/ 7607384 w 10732631"/>
              <a:gd name="connsiteY24" fmla="*/ 6858000 h 6858000"/>
              <a:gd name="connsiteX25" fmla="*/ 4726806 w 10732631"/>
              <a:gd name="connsiteY25" fmla="*/ 3977423 h 6858000"/>
              <a:gd name="connsiteX26" fmla="*/ 4726806 w 10732631"/>
              <a:gd name="connsiteY26" fmla="*/ 3464368 h 6858000"/>
              <a:gd name="connsiteX27" fmla="*/ 4983334 w 10732631"/>
              <a:gd name="connsiteY27" fmla="*/ 3358111 h 6858000"/>
              <a:gd name="connsiteX28" fmla="*/ 4411835 w 10732631"/>
              <a:gd name="connsiteY28" fmla="*/ 1580111 h 6858000"/>
              <a:gd name="connsiteX29" fmla="*/ 4668361 w 10732631"/>
              <a:gd name="connsiteY29" fmla="*/ 1686369 h 6858000"/>
              <a:gd name="connsiteX30" fmla="*/ 9305884 w 10732631"/>
              <a:gd name="connsiteY30" fmla="*/ 6323892 h 6858000"/>
              <a:gd name="connsiteX31" fmla="*/ 9305884 w 10732631"/>
              <a:gd name="connsiteY31" fmla="*/ 6836948 h 6858000"/>
              <a:gd name="connsiteX32" fmla="*/ 9305884 w 10732631"/>
              <a:gd name="connsiteY32" fmla="*/ 6836946 h 6858000"/>
              <a:gd name="connsiteX33" fmla="*/ 9280109 w 10732631"/>
              <a:gd name="connsiteY33" fmla="*/ 6858000 h 6858000"/>
              <a:gd name="connsiteX34" fmla="*/ 8818604 w 10732631"/>
              <a:gd name="connsiteY34" fmla="*/ 6858000 h 6858000"/>
              <a:gd name="connsiteX35" fmla="*/ 8792829 w 10732631"/>
              <a:gd name="connsiteY35" fmla="*/ 6836946 h 6858000"/>
              <a:gd name="connsiteX36" fmla="*/ 4155306 w 10732631"/>
              <a:gd name="connsiteY36" fmla="*/ 2199424 h 6858000"/>
              <a:gd name="connsiteX37" fmla="*/ 4155306 w 10732631"/>
              <a:gd name="connsiteY37" fmla="*/ 1686369 h 6858000"/>
              <a:gd name="connsiteX38" fmla="*/ 4411835 w 10732631"/>
              <a:gd name="connsiteY38" fmla="*/ 1580111 h 6858000"/>
              <a:gd name="connsiteX39" fmla="*/ 5620152 w 10732631"/>
              <a:gd name="connsiteY39" fmla="*/ 1580110 h 6858000"/>
              <a:gd name="connsiteX40" fmla="*/ 5876680 w 10732631"/>
              <a:gd name="connsiteY40" fmla="*/ 1686368 h 6858000"/>
              <a:gd name="connsiteX41" fmla="*/ 10732631 w 10732631"/>
              <a:gd name="connsiteY41" fmla="*/ 6542320 h 6858000"/>
              <a:gd name="connsiteX42" fmla="*/ 10732631 w 10732631"/>
              <a:gd name="connsiteY42" fmla="*/ 6858000 h 6858000"/>
              <a:gd name="connsiteX43" fmla="*/ 10022202 w 10732631"/>
              <a:gd name="connsiteY43" fmla="*/ 6858000 h 6858000"/>
              <a:gd name="connsiteX44" fmla="*/ 5363625 w 10732631"/>
              <a:gd name="connsiteY44" fmla="*/ 2199423 h 6858000"/>
              <a:gd name="connsiteX45" fmla="*/ 5363625 w 10732631"/>
              <a:gd name="connsiteY45" fmla="*/ 1686368 h 6858000"/>
              <a:gd name="connsiteX46" fmla="*/ 5620152 w 10732631"/>
              <a:gd name="connsiteY46" fmla="*/ 1580110 h 6858000"/>
              <a:gd name="connsiteX47" fmla="*/ 0 w 10732631"/>
              <a:gd name="connsiteY47" fmla="*/ 2533946 h 6858000"/>
              <a:gd name="connsiteX48" fmla="*/ 0 w 10732631"/>
              <a:gd name="connsiteY48" fmla="*/ 2953645 h 6858000"/>
              <a:gd name="connsiteX49" fmla="*/ 0 w 10732631"/>
              <a:gd name="connsiteY49" fmla="*/ 2533946 h 6858000"/>
              <a:gd name="connsiteX50" fmla="*/ 8378524 w 10732631"/>
              <a:gd name="connsiteY50" fmla="*/ 743773 h 6858000"/>
              <a:gd name="connsiteX51" fmla="*/ 8635051 w 10732631"/>
              <a:gd name="connsiteY51" fmla="*/ 850031 h 6858000"/>
              <a:gd name="connsiteX52" fmla="*/ 10340228 w 10732631"/>
              <a:gd name="connsiteY52" fmla="*/ 2555209 h 6858000"/>
              <a:gd name="connsiteX53" fmla="*/ 10340228 w 10732631"/>
              <a:gd name="connsiteY53" fmla="*/ 3068265 h 6858000"/>
              <a:gd name="connsiteX54" fmla="*/ 10340228 w 10732631"/>
              <a:gd name="connsiteY54" fmla="*/ 3068263 h 6858000"/>
              <a:gd name="connsiteX55" fmla="*/ 9827172 w 10732631"/>
              <a:gd name="connsiteY55" fmla="*/ 3068263 h 6858000"/>
              <a:gd name="connsiteX56" fmla="*/ 8121996 w 10732631"/>
              <a:gd name="connsiteY56" fmla="*/ 1363086 h 6858000"/>
              <a:gd name="connsiteX57" fmla="*/ 8121996 w 10732631"/>
              <a:gd name="connsiteY57" fmla="*/ 850031 h 6858000"/>
              <a:gd name="connsiteX58" fmla="*/ 8378524 w 10732631"/>
              <a:gd name="connsiteY58" fmla="*/ 743773 h 6858000"/>
              <a:gd name="connsiteX59" fmla="*/ 7062200 w 10732631"/>
              <a:gd name="connsiteY59" fmla="*/ 612697 h 6858000"/>
              <a:gd name="connsiteX60" fmla="*/ 7318728 w 10732631"/>
              <a:gd name="connsiteY60" fmla="*/ 718955 h 6858000"/>
              <a:gd name="connsiteX61" fmla="*/ 10488805 w 10732631"/>
              <a:gd name="connsiteY61" fmla="*/ 3889033 h 6858000"/>
              <a:gd name="connsiteX62" fmla="*/ 10488805 w 10732631"/>
              <a:gd name="connsiteY62" fmla="*/ 4402089 h 6858000"/>
              <a:gd name="connsiteX63" fmla="*/ 10488805 w 10732631"/>
              <a:gd name="connsiteY63" fmla="*/ 4402087 h 6858000"/>
              <a:gd name="connsiteX64" fmla="*/ 9975750 w 10732631"/>
              <a:gd name="connsiteY64" fmla="*/ 4402087 h 6858000"/>
              <a:gd name="connsiteX65" fmla="*/ 6805673 w 10732631"/>
              <a:gd name="connsiteY65" fmla="*/ 1232010 h 6858000"/>
              <a:gd name="connsiteX66" fmla="*/ 6805673 w 10732631"/>
              <a:gd name="connsiteY66" fmla="*/ 718955 h 6858000"/>
              <a:gd name="connsiteX67" fmla="*/ 7062200 w 10732631"/>
              <a:gd name="connsiteY67" fmla="*/ 612697 h 6858000"/>
              <a:gd name="connsiteX68" fmla="*/ 4371995 w 10732631"/>
              <a:gd name="connsiteY68" fmla="*/ 0 h 6858000"/>
              <a:gd name="connsiteX69" fmla="*/ 5398106 w 10732631"/>
              <a:gd name="connsiteY69" fmla="*/ 0 h 6858000"/>
              <a:gd name="connsiteX70" fmla="*/ 10678822 w 10732631"/>
              <a:gd name="connsiteY70" fmla="*/ 5280718 h 6858000"/>
              <a:gd name="connsiteX71" fmla="*/ 10725310 w 10732631"/>
              <a:gd name="connsiteY71" fmla="*/ 5337629 h 6858000"/>
              <a:gd name="connsiteX72" fmla="*/ 10732631 w 10732631"/>
              <a:gd name="connsiteY72" fmla="*/ 5351542 h 6858000"/>
              <a:gd name="connsiteX73" fmla="*/ 10732631 w 10732631"/>
              <a:gd name="connsiteY73" fmla="*/ 5722950 h 6858000"/>
              <a:gd name="connsiteX74" fmla="*/ 10725310 w 10732631"/>
              <a:gd name="connsiteY74" fmla="*/ 5736863 h 6858000"/>
              <a:gd name="connsiteX75" fmla="*/ 10678822 w 10732631"/>
              <a:gd name="connsiteY75" fmla="*/ 5793774 h 6858000"/>
              <a:gd name="connsiteX76" fmla="*/ 10678822 w 10732631"/>
              <a:gd name="connsiteY76" fmla="*/ 5793772 h 6858000"/>
              <a:gd name="connsiteX77" fmla="*/ 10165767 w 10732631"/>
              <a:gd name="connsiteY77" fmla="*/ 5793772 h 6858000"/>
              <a:gd name="connsiteX78" fmla="*/ 4371995 w 10732631"/>
              <a:gd name="connsiteY78" fmla="*/ 0 h 6858000"/>
              <a:gd name="connsiteX0" fmla="*/ 372959 w 7078587"/>
              <a:gd name="connsiteY0" fmla="*/ 6026314 h 6858000"/>
              <a:gd name="connsiteX1" fmla="*/ 629486 w 7078587"/>
              <a:gd name="connsiteY1" fmla="*/ 6132571 h 6858000"/>
              <a:gd name="connsiteX2" fmla="*/ 1354915 w 7078587"/>
              <a:gd name="connsiteY2" fmla="*/ 6858000 h 6858000"/>
              <a:gd name="connsiteX3" fmla="*/ 328803 w 7078587"/>
              <a:gd name="connsiteY3" fmla="*/ 6858000 h 6858000"/>
              <a:gd name="connsiteX4" fmla="*/ 116430 w 7078587"/>
              <a:gd name="connsiteY4" fmla="*/ 6645627 h 6858000"/>
              <a:gd name="connsiteX5" fmla="*/ 116430 w 7078587"/>
              <a:gd name="connsiteY5" fmla="*/ 6132571 h 6858000"/>
              <a:gd name="connsiteX6" fmla="*/ 372959 w 7078587"/>
              <a:gd name="connsiteY6" fmla="*/ 6026314 h 6858000"/>
              <a:gd name="connsiteX7" fmla="*/ 1572000 w 7078587"/>
              <a:gd name="connsiteY7" fmla="*/ 4810762 h 6858000"/>
              <a:gd name="connsiteX8" fmla="*/ 1828527 w 7078587"/>
              <a:gd name="connsiteY8" fmla="*/ 4917019 h 6858000"/>
              <a:gd name="connsiteX9" fmla="*/ 3769508 w 7078587"/>
              <a:gd name="connsiteY9" fmla="*/ 6858000 h 6858000"/>
              <a:gd name="connsiteX10" fmla="*/ 2743398 w 7078587"/>
              <a:gd name="connsiteY10" fmla="*/ 6858000 h 6858000"/>
              <a:gd name="connsiteX11" fmla="*/ 1315472 w 7078587"/>
              <a:gd name="connsiteY11" fmla="*/ 5430074 h 6858000"/>
              <a:gd name="connsiteX12" fmla="*/ 1315472 w 7078587"/>
              <a:gd name="connsiteY12" fmla="*/ 4917019 h 6858000"/>
              <a:gd name="connsiteX13" fmla="*/ 1572000 w 7078587"/>
              <a:gd name="connsiteY13" fmla="*/ 4810762 h 6858000"/>
              <a:gd name="connsiteX14" fmla="*/ 362787 w 7078587"/>
              <a:gd name="connsiteY14" fmla="*/ 4808883 h 6858000"/>
              <a:gd name="connsiteX15" fmla="*/ 619314 w 7078587"/>
              <a:gd name="connsiteY15" fmla="*/ 4915140 h 6858000"/>
              <a:gd name="connsiteX16" fmla="*/ 2562172 w 7078587"/>
              <a:gd name="connsiteY16" fmla="*/ 6858000 h 6858000"/>
              <a:gd name="connsiteX17" fmla="*/ 1536063 w 7078587"/>
              <a:gd name="connsiteY17" fmla="*/ 6858000 h 6858000"/>
              <a:gd name="connsiteX18" fmla="*/ 106258 w 7078587"/>
              <a:gd name="connsiteY18" fmla="*/ 5428196 h 6858000"/>
              <a:gd name="connsiteX19" fmla="*/ 106258 w 7078587"/>
              <a:gd name="connsiteY19" fmla="*/ 4915140 h 6858000"/>
              <a:gd name="connsiteX20" fmla="*/ 362787 w 7078587"/>
              <a:gd name="connsiteY20" fmla="*/ 4808883 h 6858000"/>
              <a:gd name="connsiteX21" fmla="*/ 1329290 w 7078587"/>
              <a:gd name="connsiteY21" fmla="*/ 3358111 h 6858000"/>
              <a:gd name="connsiteX22" fmla="*/ 1585817 w 7078587"/>
              <a:gd name="connsiteY22" fmla="*/ 3464368 h 6858000"/>
              <a:gd name="connsiteX23" fmla="*/ 4979449 w 7078587"/>
              <a:gd name="connsiteY23" fmla="*/ 6858000 h 6858000"/>
              <a:gd name="connsiteX24" fmla="*/ 3953340 w 7078587"/>
              <a:gd name="connsiteY24" fmla="*/ 6858000 h 6858000"/>
              <a:gd name="connsiteX25" fmla="*/ 1072762 w 7078587"/>
              <a:gd name="connsiteY25" fmla="*/ 3977423 h 6858000"/>
              <a:gd name="connsiteX26" fmla="*/ 1072762 w 7078587"/>
              <a:gd name="connsiteY26" fmla="*/ 3464368 h 6858000"/>
              <a:gd name="connsiteX27" fmla="*/ 1329290 w 7078587"/>
              <a:gd name="connsiteY27" fmla="*/ 3358111 h 6858000"/>
              <a:gd name="connsiteX28" fmla="*/ 757791 w 7078587"/>
              <a:gd name="connsiteY28" fmla="*/ 1580111 h 6858000"/>
              <a:gd name="connsiteX29" fmla="*/ 1014317 w 7078587"/>
              <a:gd name="connsiteY29" fmla="*/ 1686369 h 6858000"/>
              <a:gd name="connsiteX30" fmla="*/ 5651840 w 7078587"/>
              <a:gd name="connsiteY30" fmla="*/ 6323892 h 6858000"/>
              <a:gd name="connsiteX31" fmla="*/ 5651840 w 7078587"/>
              <a:gd name="connsiteY31" fmla="*/ 6836948 h 6858000"/>
              <a:gd name="connsiteX32" fmla="*/ 5651840 w 7078587"/>
              <a:gd name="connsiteY32" fmla="*/ 6836946 h 6858000"/>
              <a:gd name="connsiteX33" fmla="*/ 5626065 w 7078587"/>
              <a:gd name="connsiteY33" fmla="*/ 6858000 h 6858000"/>
              <a:gd name="connsiteX34" fmla="*/ 5164560 w 7078587"/>
              <a:gd name="connsiteY34" fmla="*/ 6858000 h 6858000"/>
              <a:gd name="connsiteX35" fmla="*/ 5138785 w 7078587"/>
              <a:gd name="connsiteY35" fmla="*/ 6836946 h 6858000"/>
              <a:gd name="connsiteX36" fmla="*/ 501262 w 7078587"/>
              <a:gd name="connsiteY36" fmla="*/ 2199424 h 6858000"/>
              <a:gd name="connsiteX37" fmla="*/ 501262 w 7078587"/>
              <a:gd name="connsiteY37" fmla="*/ 1686369 h 6858000"/>
              <a:gd name="connsiteX38" fmla="*/ 757791 w 7078587"/>
              <a:gd name="connsiteY38" fmla="*/ 1580111 h 6858000"/>
              <a:gd name="connsiteX39" fmla="*/ 1966108 w 7078587"/>
              <a:gd name="connsiteY39" fmla="*/ 1580110 h 6858000"/>
              <a:gd name="connsiteX40" fmla="*/ 2222636 w 7078587"/>
              <a:gd name="connsiteY40" fmla="*/ 1686368 h 6858000"/>
              <a:gd name="connsiteX41" fmla="*/ 7078587 w 7078587"/>
              <a:gd name="connsiteY41" fmla="*/ 6542320 h 6858000"/>
              <a:gd name="connsiteX42" fmla="*/ 7078587 w 7078587"/>
              <a:gd name="connsiteY42" fmla="*/ 6858000 h 6858000"/>
              <a:gd name="connsiteX43" fmla="*/ 6368158 w 7078587"/>
              <a:gd name="connsiteY43" fmla="*/ 6858000 h 6858000"/>
              <a:gd name="connsiteX44" fmla="*/ 1709581 w 7078587"/>
              <a:gd name="connsiteY44" fmla="*/ 2199423 h 6858000"/>
              <a:gd name="connsiteX45" fmla="*/ 1709581 w 7078587"/>
              <a:gd name="connsiteY45" fmla="*/ 1686368 h 6858000"/>
              <a:gd name="connsiteX46" fmla="*/ 1966108 w 7078587"/>
              <a:gd name="connsiteY46" fmla="*/ 1580110 h 6858000"/>
              <a:gd name="connsiteX47" fmla="*/ 4724480 w 7078587"/>
              <a:gd name="connsiteY47" fmla="*/ 743773 h 6858000"/>
              <a:gd name="connsiteX48" fmla="*/ 4981007 w 7078587"/>
              <a:gd name="connsiteY48" fmla="*/ 850031 h 6858000"/>
              <a:gd name="connsiteX49" fmla="*/ 6686184 w 7078587"/>
              <a:gd name="connsiteY49" fmla="*/ 2555209 h 6858000"/>
              <a:gd name="connsiteX50" fmla="*/ 6686184 w 7078587"/>
              <a:gd name="connsiteY50" fmla="*/ 3068265 h 6858000"/>
              <a:gd name="connsiteX51" fmla="*/ 6686184 w 7078587"/>
              <a:gd name="connsiteY51" fmla="*/ 3068263 h 6858000"/>
              <a:gd name="connsiteX52" fmla="*/ 6173128 w 7078587"/>
              <a:gd name="connsiteY52" fmla="*/ 3068263 h 6858000"/>
              <a:gd name="connsiteX53" fmla="*/ 4467952 w 7078587"/>
              <a:gd name="connsiteY53" fmla="*/ 1363086 h 6858000"/>
              <a:gd name="connsiteX54" fmla="*/ 4467952 w 7078587"/>
              <a:gd name="connsiteY54" fmla="*/ 850031 h 6858000"/>
              <a:gd name="connsiteX55" fmla="*/ 4724480 w 7078587"/>
              <a:gd name="connsiteY55" fmla="*/ 743773 h 6858000"/>
              <a:gd name="connsiteX56" fmla="*/ 3408156 w 7078587"/>
              <a:gd name="connsiteY56" fmla="*/ 612697 h 6858000"/>
              <a:gd name="connsiteX57" fmla="*/ 3664684 w 7078587"/>
              <a:gd name="connsiteY57" fmla="*/ 718955 h 6858000"/>
              <a:gd name="connsiteX58" fmla="*/ 6834761 w 7078587"/>
              <a:gd name="connsiteY58" fmla="*/ 3889033 h 6858000"/>
              <a:gd name="connsiteX59" fmla="*/ 6834761 w 7078587"/>
              <a:gd name="connsiteY59" fmla="*/ 4402089 h 6858000"/>
              <a:gd name="connsiteX60" fmla="*/ 6834761 w 7078587"/>
              <a:gd name="connsiteY60" fmla="*/ 4402087 h 6858000"/>
              <a:gd name="connsiteX61" fmla="*/ 6321706 w 7078587"/>
              <a:gd name="connsiteY61" fmla="*/ 4402087 h 6858000"/>
              <a:gd name="connsiteX62" fmla="*/ 3151629 w 7078587"/>
              <a:gd name="connsiteY62" fmla="*/ 1232010 h 6858000"/>
              <a:gd name="connsiteX63" fmla="*/ 3151629 w 7078587"/>
              <a:gd name="connsiteY63" fmla="*/ 718955 h 6858000"/>
              <a:gd name="connsiteX64" fmla="*/ 3408156 w 7078587"/>
              <a:gd name="connsiteY64" fmla="*/ 612697 h 6858000"/>
              <a:gd name="connsiteX65" fmla="*/ 717951 w 7078587"/>
              <a:gd name="connsiteY65" fmla="*/ 0 h 6858000"/>
              <a:gd name="connsiteX66" fmla="*/ 1744062 w 7078587"/>
              <a:gd name="connsiteY66" fmla="*/ 0 h 6858000"/>
              <a:gd name="connsiteX67" fmla="*/ 7024778 w 7078587"/>
              <a:gd name="connsiteY67" fmla="*/ 5280718 h 6858000"/>
              <a:gd name="connsiteX68" fmla="*/ 7071266 w 7078587"/>
              <a:gd name="connsiteY68" fmla="*/ 5337629 h 6858000"/>
              <a:gd name="connsiteX69" fmla="*/ 7078587 w 7078587"/>
              <a:gd name="connsiteY69" fmla="*/ 5351542 h 6858000"/>
              <a:gd name="connsiteX70" fmla="*/ 7078587 w 7078587"/>
              <a:gd name="connsiteY70" fmla="*/ 5722950 h 6858000"/>
              <a:gd name="connsiteX71" fmla="*/ 7071266 w 7078587"/>
              <a:gd name="connsiteY71" fmla="*/ 5736863 h 6858000"/>
              <a:gd name="connsiteX72" fmla="*/ 7024778 w 7078587"/>
              <a:gd name="connsiteY72" fmla="*/ 5793774 h 6858000"/>
              <a:gd name="connsiteX73" fmla="*/ 7024778 w 7078587"/>
              <a:gd name="connsiteY73" fmla="*/ 5793772 h 6858000"/>
              <a:gd name="connsiteX74" fmla="*/ 6511723 w 7078587"/>
              <a:gd name="connsiteY74" fmla="*/ 5793772 h 6858000"/>
              <a:gd name="connsiteX75" fmla="*/ 717951 w 7078587"/>
              <a:gd name="connsiteY7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7078587" h="6858000">
                <a:moveTo>
                  <a:pt x="372959" y="6026314"/>
                </a:moveTo>
                <a:cubicBezTo>
                  <a:pt x="465804" y="6026314"/>
                  <a:pt x="558647" y="6061733"/>
                  <a:pt x="629486" y="6132571"/>
                </a:cubicBezTo>
                <a:lnTo>
                  <a:pt x="1354915" y="6858000"/>
                </a:lnTo>
                <a:lnTo>
                  <a:pt x="328803" y="6858000"/>
                </a:lnTo>
                <a:lnTo>
                  <a:pt x="116430" y="6645627"/>
                </a:lnTo>
                <a:cubicBezTo>
                  <a:pt x="-25247" y="6503950"/>
                  <a:pt x="-25247" y="6274248"/>
                  <a:pt x="116430" y="6132571"/>
                </a:cubicBezTo>
                <a:cubicBezTo>
                  <a:pt x="187269" y="6061733"/>
                  <a:pt x="280113" y="6026314"/>
                  <a:pt x="372959" y="6026314"/>
                </a:cubicBezTo>
                <a:close/>
                <a:moveTo>
                  <a:pt x="1572000" y="4810762"/>
                </a:moveTo>
                <a:cubicBezTo>
                  <a:pt x="1664844" y="4810762"/>
                  <a:pt x="1757689" y="4846181"/>
                  <a:pt x="1828527" y="4917019"/>
                </a:cubicBezTo>
                <a:lnTo>
                  <a:pt x="3769508" y="6858000"/>
                </a:lnTo>
                <a:lnTo>
                  <a:pt x="2743398" y="6858000"/>
                </a:lnTo>
                <a:lnTo>
                  <a:pt x="1315472" y="5430074"/>
                </a:lnTo>
                <a:cubicBezTo>
                  <a:pt x="1173795" y="5288397"/>
                  <a:pt x="1173795" y="5058695"/>
                  <a:pt x="1315472" y="4917019"/>
                </a:cubicBezTo>
                <a:cubicBezTo>
                  <a:pt x="1386310" y="4846181"/>
                  <a:pt x="1479155" y="4810762"/>
                  <a:pt x="1572000" y="4810762"/>
                </a:cubicBezTo>
                <a:close/>
                <a:moveTo>
                  <a:pt x="362787" y="4808883"/>
                </a:moveTo>
                <a:cubicBezTo>
                  <a:pt x="455632" y="4808883"/>
                  <a:pt x="548477" y="4844302"/>
                  <a:pt x="619314" y="4915140"/>
                </a:cubicBezTo>
                <a:lnTo>
                  <a:pt x="2562172" y="6858000"/>
                </a:lnTo>
                <a:lnTo>
                  <a:pt x="1536063" y="6858000"/>
                </a:lnTo>
                <a:lnTo>
                  <a:pt x="106258" y="5428196"/>
                </a:lnTo>
                <a:cubicBezTo>
                  <a:pt x="-35419" y="5286519"/>
                  <a:pt x="-35419" y="5056817"/>
                  <a:pt x="106258" y="4915140"/>
                </a:cubicBezTo>
                <a:cubicBezTo>
                  <a:pt x="177097" y="4844302"/>
                  <a:pt x="269941" y="4808883"/>
                  <a:pt x="362787" y="4808883"/>
                </a:cubicBezTo>
                <a:close/>
                <a:moveTo>
                  <a:pt x="1329290" y="3358111"/>
                </a:moveTo>
                <a:cubicBezTo>
                  <a:pt x="1422134" y="3358111"/>
                  <a:pt x="1514979" y="3393529"/>
                  <a:pt x="1585817" y="3464368"/>
                </a:cubicBezTo>
                <a:lnTo>
                  <a:pt x="4979449" y="6858000"/>
                </a:lnTo>
                <a:lnTo>
                  <a:pt x="3953340" y="6858000"/>
                </a:lnTo>
                <a:lnTo>
                  <a:pt x="1072762" y="3977423"/>
                </a:lnTo>
                <a:cubicBezTo>
                  <a:pt x="931085" y="3835747"/>
                  <a:pt x="931085" y="3606045"/>
                  <a:pt x="1072762" y="3464368"/>
                </a:cubicBezTo>
                <a:cubicBezTo>
                  <a:pt x="1143600" y="3393529"/>
                  <a:pt x="1236445" y="3358111"/>
                  <a:pt x="1329290" y="3358111"/>
                </a:cubicBezTo>
                <a:close/>
                <a:moveTo>
                  <a:pt x="757791" y="1580111"/>
                </a:moveTo>
                <a:cubicBezTo>
                  <a:pt x="850634" y="1580111"/>
                  <a:pt x="943479" y="1615530"/>
                  <a:pt x="1014317" y="1686369"/>
                </a:cubicBezTo>
                <a:lnTo>
                  <a:pt x="5651840" y="6323892"/>
                </a:lnTo>
                <a:cubicBezTo>
                  <a:pt x="5793517" y="6465569"/>
                  <a:pt x="5793517" y="6695271"/>
                  <a:pt x="5651840" y="6836948"/>
                </a:cubicBezTo>
                <a:lnTo>
                  <a:pt x="5651840" y="6836946"/>
                </a:lnTo>
                <a:lnTo>
                  <a:pt x="5626065" y="6858000"/>
                </a:lnTo>
                <a:lnTo>
                  <a:pt x="5164560" y="6858000"/>
                </a:lnTo>
                <a:lnTo>
                  <a:pt x="5138785" y="6836946"/>
                </a:lnTo>
                <a:lnTo>
                  <a:pt x="501262" y="2199424"/>
                </a:lnTo>
                <a:cubicBezTo>
                  <a:pt x="359585" y="2057747"/>
                  <a:pt x="359585" y="1828045"/>
                  <a:pt x="501262" y="1686369"/>
                </a:cubicBezTo>
                <a:cubicBezTo>
                  <a:pt x="572100" y="1615530"/>
                  <a:pt x="664946" y="1580111"/>
                  <a:pt x="757791" y="1580111"/>
                </a:cubicBezTo>
                <a:close/>
                <a:moveTo>
                  <a:pt x="1966108" y="1580110"/>
                </a:moveTo>
                <a:cubicBezTo>
                  <a:pt x="2058953" y="1580110"/>
                  <a:pt x="2151798" y="1615529"/>
                  <a:pt x="2222636" y="1686368"/>
                </a:cubicBezTo>
                <a:lnTo>
                  <a:pt x="7078587" y="6542320"/>
                </a:lnTo>
                <a:lnTo>
                  <a:pt x="7078587" y="6858000"/>
                </a:lnTo>
                <a:lnTo>
                  <a:pt x="6368158" y="6858000"/>
                </a:lnTo>
                <a:lnTo>
                  <a:pt x="1709581" y="2199423"/>
                </a:lnTo>
                <a:cubicBezTo>
                  <a:pt x="1567904" y="2057746"/>
                  <a:pt x="1567904" y="1828044"/>
                  <a:pt x="1709581" y="1686368"/>
                </a:cubicBezTo>
                <a:cubicBezTo>
                  <a:pt x="1780419" y="1615529"/>
                  <a:pt x="1873264" y="1580110"/>
                  <a:pt x="1966108" y="1580110"/>
                </a:cubicBezTo>
                <a:close/>
                <a:moveTo>
                  <a:pt x="4724480" y="743773"/>
                </a:moveTo>
                <a:cubicBezTo>
                  <a:pt x="4817324" y="743773"/>
                  <a:pt x="4910169" y="779192"/>
                  <a:pt x="4981007" y="850031"/>
                </a:cubicBezTo>
                <a:lnTo>
                  <a:pt x="6686184" y="2555209"/>
                </a:lnTo>
                <a:cubicBezTo>
                  <a:pt x="6827861" y="2696885"/>
                  <a:pt x="6827861" y="2926588"/>
                  <a:pt x="6686184" y="3068265"/>
                </a:cubicBezTo>
                <a:lnTo>
                  <a:pt x="6686184" y="3068263"/>
                </a:lnTo>
                <a:cubicBezTo>
                  <a:pt x="6544507" y="3209940"/>
                  <a:pt x="6314805" y="3209940"/>
                  <a:pt x="6173128" y="3068263"/>
                </a:cubicBezTo>
                <a:lnTo>
                  <a:pt x="4467952" y="1363086"/>
                </a:lnTo>
                <a:cubicBezTo>
                  <a:pt x="4326275" y="1221409"/>
                  <a:pt x="4326275" y="991707"/>
                  <a:pt x="4467952" y="850031"/>
                </a:cubicBezTo>
                <a:cubicBezTo>
                  <a:pt x="4538790" y="779192"/>
                  <a:pt x="4631635" y="743773"/>
                  <a:pt x="4724480" y="743773"/>
                </a:cubicBezTo>
                <a:close/>
                <a:moveTo>
                  <a:pt x="3408156" y="612697"/>
                </a:moveTo>
                <a:cubicBezTo>
                  <a:pt x="3501001" y="612697"/>
                  <a:pt x="3593846" y="648116"/>
                  <a:pt x="3664684" y="718955"/>
                </a:cubicBezTo>
                <a:lnTo>
                  <a:pt x="6834761" y="3889033"/>
                </a:lnTo>
                <a:cubicBezTo>
                  <a:pt x="6976438" y="4030710"/>
                  <a:pt x="6976438" y="4260412"/>
                  <a:pt x="6834761" y="4402089"/>
                </a:cubicBezTo>
                <a:lnTo>
                  <a:pt x="6834761" y="4402087"/>
                </a:lnTo>
                <a:cubicBezTo>
                  <a:pt x="6693085" y="4543764"/>
                  <a:pt x="6463382" y="4543764"/>
                  <a:pt x="6321706" y="4402087"/>
                </a:cubicBezTo>
                <a:lnTo>
                  <a:pt x="3151629" y="1232010"/>
                </a:lnTo>
                <a:cubicBezTo>
                  <a:pt x="3009952" y="1090334"/>
                  <a:pt x="3009952" y="860631"/>
                  <a:pt x="3151629" y="718955"/>
                </a:cubicBezTo>
                <a:cubicBezTo>
                  <a:pt x="3222467" y="648116"/>
                  <a:pt x="3315311" y="612697"/>
                  <a:pt x="3408156" y="612697"/>
                </a:cubicBezTo>
                <a:close/>
                <a:moveTo>
                  <a:pt x="717951" y="0"/>
                </a:moveTo>
                <a:lnTo>
                  <a:pt x="1744062" y="0"/>
                </a:lnTo>
                <a:lnTo>
                  <a:pt x="7024778" y="5280718"/>
                </a:lnTo>
                <a:cubicBezTo>
                  <a:pt x="7042488" y="5298428"/>
                  <a:pt x="7057984" y="5317513"/>
                  <a:pt x="7071266" y="5337629"/>
                </a:cubicBezTo>
                <a:lnTo>
                  <a:pt x="7078587" y="5351542"/>
                </a:lnTo>
                <a:lnTo>
                  <a:pt x="7078587" y="5722950"/>
                </a:lnTo>
                <a:lnTo>
                  <a:pt x="7071266" y="5736863"/>
                </a:lnTo>
                <a:cubicBezTo>
                  <a:pt x="7057984" y="5756980"/>
                  <a:pt x="7042488" y="5776065"/>
                  <a:pt x="7024778" y="5793774"/>
                </a:cubicBezTo>
                <a:lnTo>
                  <a:pt x="7024778" y="5793772"/>
                </a:lnTo>
                <a:cubicBezTo>
                  <a:pt x="6883102" y="5935449"/>
                  <a:pt x="6653400" y="5935449"/>
                  <a:pt x="6511723" y="5793772"/>
                </a:cubicBezTo>
                <a:lnTo>
                  <a:pt x="717951" y="0"/>
                </a:lnTo>
                <a:close/>
              </a:path>
            </a:pathLst>
          </a:custGeom>
        </p:spPr>
      </p:sp>
    </p:spTree>
    <p:extLst>
      <p:ext uri="{BB962C8B-B14F-4D97-AF65-F5344CB8AC3E}">
        <p14:creationId xmlns:p14="http://schemas.microsoft.com/office/powerpoint/2010/main" val="4239782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485900" y="1581150"/>
            <a:ext cx="9201150" cy="2743200"/>
          </a:xfrm>
          <a:prstGeom prst="rect">
            <a:avLst/>
          </a:prstGeom>
        </p:spPr>
        <p:txBody>
          <a:bodyPr/>
          <a:lstStyle/>
          <a:p>
            <a:endParaRPr lang="en-US"/>
          </a:p>
        </p:txBody>
      </p:sp>
    </p:spTree>
    <p:extLst>
      <p:ext uri="{BB962C8B-B14F-4D97-AF65-F5344CB8AC3E}">
        <p14:creationId xmlns:p14="http://schemas.microsoft.com/office/powerpoint/2010/main" val="112817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43_Custom Layout">
    <p:spTree>
      <p:nvGrpSpPr>
        <p:cNvPr id="1" name=""/>
        <p:cNvGrpSpPr/>
        <p:nvPr/>
      </p:nvGrpSpPr>
      <p:grpSpPr>
        <a:xfrm>
          <a:off x="0" y="0"/>
          <a:ext cx="0" cy="0"/>
          <a:chOff x="0" y="0"/>
          <a:chExt cx="0" cy="0"/>
        </a:xfrm>
      </p:grpSpPr>
      <p:sp>
        <p:nvSpPr>
          <p:cNvPr id="4" name="Picture Placeholder 11"/>
          <p:cNvSpPr>
            <a:spLocks noGrp="1"/>
          </p:cNvSpPr>
          <p:nvPr>
            <p:ph type="pic" sz="quarter" idx="10"/>
          </p:nvPr>
        </p:nvSpPr>
        <p:spPr>
          <a:xfrm>
            <a:off x="2560366" y="433387"/>
            <a:ext cx="9498284" cy="5991225"/>
          </a:xfrm>
          <a:custGeom>
            <a:avLst/>
            <a:gdLst>
              <a:gd name="connsiteX0" fmla="*/ 1123950 w 8667750"/>
              <a:gd name="connsiteY0" fmla="*/ 3867150 h 5467350"/>
              <a:gd name="connsiteX1" fmla="*/ 4933950 w 8667750"/>
              <a:gd name="connsiteY1" fmla="*/ 3867150 h 5467350"/>
              <a:gd name="connsiteX2" fmla="*/ 4933950 w 8667750"/>
              <a:gd name="connsiteY2" fmla="*/ 5467350 h 5467350"/>
              <a:gd name="connsiteX3" fmla="*/ 1123950 w 8667750"/>
              <a:gd name="connsiteY3" fmla="*/ 5467350 h 5467350"/>
              <a:gd name="connsiteX4" fmla="*/ 5181600 w 8667750"/>
              <a:gd name="connsiteY4" fmla="*/ 2038350 h 5467350"/>
              <a:gd name="connsiteX5" fmla="*/ 7524750 w 8667750"/>
              <a:gd name="connsiteY5" fmla="*/ 2038350 h 5467350"/>
              <a:gd name="connsiteX6" fmla="*/ 7524750 w 8667750"/>
              <a:gd name="connsiteY6" fmla="*/ 5467350 h 5467350"/>
              <a:gd name="connsiteX7" fmla="*/ 5181600 w 8667750"/>
              <a:gd name="connsiteY7" fmla="*/ 5467350 h 5467350"/>
              <a:gd name="connsiteX8" fmla="*/ 0 w 8667750"/>
              <a:gd name="connsiteY8" fmla="*/ 1409700 h 5467350"/>
              <a:gd name="connsiteX9" fmla="*/ 2343150 w 8667750"/>
              <a:gd name="connsiteY9" fmla="*/ 1409700 h 5467350"/>
              <a:gd name="connsiteX10" fmla="*/ 2343150 w 8667750"/>
              <a:gd name="connsiteY10" fmla="*/ 3695700 h 5467350"/>
              <a:gd name="connsiteX11" fmla="*/ 0 w 8667750"/>
              <a:gd name="connsiteY11" fmla="*/ 3695700 h 5467350"/>
              <a:gd name="connsiteX12" fmla="*/ 5181600 w 8667750"/>
              <a:gd name="connsiteY12" fmla="*/ 19050 h 5467350"/>
              <a:gd name="connsiteX13" fmla="*/ 8667750 w 8667750"/>
              <a:gd name="connsiteY13" fmla="*/ 19050 h 5467350"/>
              <a:gd name="connsiteX14" fmla="*/ 8667750 w 8667750"/>
              <a:gd name="connsiteY14" fmla="*/ 1828800 h 5467350"/>
              <a:gd name="connsiteX15" fmla="*/ 5181600 w 8667750"/>
              <a:gd name="connsiteY15" fmla="*/ 1828800 h 5467350"/>
              <a:gd name="connsiteX16" fmla="*/ 2590800 w 8667750"/>
              <a:gd name="connsiteY16" fmla="*/ 0 h 5467350"/>
              <a:gd name="connsiteX17" fmla="*/ 4933950 w 8667750"/>
              <a:gd name="connsiteY17" fmla="*/ 0 h 5467350"/>
              <a:gd name="connsiteX18" fmla="*/ 4933950 w 8667750"/>
              <a:gd name="connsiteY18" fmla="*/ 3695700 h 5467350"/>
              <a:gd name="connsiteX19" fmla="*/ 2590800 w 8667750"/>
              <a:gd name="connsiteY19" fmla="*/ 3695700 h 546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667750" h="5467350">
                <a:moveTo>
                  <a:pt x="1123950" y="3867150"/>
                </a:moveTo>
                <a:lnTo>
                  <a:pt x="4933950" y="3867150"/>
                </a:lnTo>
                <a:lnTo>
                  <a:pt x="4933950" y="5467350"/>
                </a:lnTo>
                <a:lnTo>
                  <a:pt x="1123950" y="5467350"/>
                </a:lnTo>
                <a:close/>
                <a:moveTo>
                  <a:pt x="5181600" y="2038350"/>
                </a:moveTo>
                <a:lnTo>
                  <a:pt x="7524750" y="2038350"/>
                </a:lnTo>
                <a:lnTo>
                  <a:pt x="7524750" y="5467350"/>
                </a:lnTo>
                <a:lnTo>
                  <a:pt x="5181600" y="5467350"/>
                </a:lnTo>
                <a:close/>
                <a:moveTo>
                  <a:pt x="0" y="1409700"/>
                </a:moveTo>
                <a:lnTo>
                  <a:pt x="2343150" y="1409700"/>
                </a:lnTo>
                <a:lnTo>
                  <a:pt x="2343150" y="3695700"/>
                </a:lnTo>
                <a:lnTo>
                  <a:pt x="0" y="3695700"/>
                </a:lnTo>
                <a:close/>
                <a:moveTo>
                  <a:pt x="5181600" y="19050"/>
                </a:moveTo>
                <a:lnTo>
                  <a:pt x="8667750" y="19050"/>
                </a:lnTo>
                <a:lnTo>
                  <a:pt x="8667750" y="1828800"/>
                </a:lnTo>
                <a:lnTo>
                  <a:pt x="5181600" y="1828800"/>
                </a:lnTo>
                <a:close/>
                <a:moveTo>
                  <a:pt x="2590800" y="0"/>
                </a:moveTo>
                <a:lnTo>
                  <a:pt x="4933950" y="0"/>
                </a:lnTo>
                <a:lnTo>
                  <a:pt x="4933950" y="3695700"/>
                </a:lnTo>
                <a:lnTo>
                  <a:pt x="2590800" y="3695700"/>
                </a:lnTo>
                <a:close/>
              </a:path>
            </a:pathLst>
          </a:custGeom>
        </p:spPr>
        <p:txBody>
          <a:bodyPr wrap="square">
            <a:noAutofit/>
          </a:bodyPr>
          <a:lstStyle/>
          <a:p>
            <a:endParaRPr lang="en-US"/>
          </a:p>
        </p:txBody>
      </p:sp>
    </p:spTree>
    <p:extLst>
      <p:ext uri="{BB962C8B-B14F-4D97-AF65-F5344CB8AC3E}">
        <p14:creationId xmlns:p14="http://schemas.microsoft.com/office/powerpoint/2010/main" val="630585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42_Custom Layout">
    <p:spTree>
      <p:nvGrpSpPr>
        <p:cNvPr id="1" name=""/>
        <p:cNvGrpSpPr/>
        <p:nvPr/>
      </p:nvGrpSpPr>
      <p:grpSpPr>
        <a:xfrm>
          <a:off x="0" y="0"/>
          <a:ext cx="0" cy="0"/>
          <a:chOff x="0" y="0"/>
          <a:chExt cx="0" cy="0"/>
        </a:xfrm>
      </p:grpSpPr>
      <p:sp>
        <p:nvSpPr>
          <p:cNvPr id="3" name="Picture Placeholder 20"/>
          <p:cNvSpPr>
            <a:spLocks noGrp="1"/>
          </p:cNvSpPr>
          <p:nvPr>
            <p:ph type="pic" sz="quarter" idx="10"/>
          </p:nvPr>
        </p:nvSpPr>
        <p:spPr>
          <a:xfrm>
            <a:off x="114300" y="95252"/>
            <a:ext cx="8915400" cy="6667499"/>
          </a:xfrm>
          <a:custGeom>
            <a:avLst/>
            <a:gdLst>
              <a:gd name="connsiteX0" fmla="*/ 6743700 w 8915400"/>
              <a:gd name="connsiteY0" fmla="*/ 4495799 h 6667499"/>
              <a:gd name="connsiteX1" fmla="*/ 8915400 w 8915400"/>
              <a:gd name="connsiteY1" fmla="*/ 4495799 h 6667499"/>
              <a:gd name="connsiteX2" fmla="*/ 8915400 w 8915400"/>
              <a:gd name="connsiteY2" fmla="*/ 6667499 h 6667499"/>
              <a:gd name="connsiteX3" fmla="*/ 6743700 w 8915400"/>
              <a:gd name="connsiteY3" fmla="*/ 6667499 h 6667499"/>
              <a:gd name="connsiteX4" fmla="*/ 2247900 w 8915400"/>
              <a:gd name="connsiteY4" fmla="*/ 4495799 h 6667499"/>
              <a:gd name="connsiteX5" fmla="*/ 4419600 w 8915400"/>
              <a:gd name="connsiteY5" fmla="*/ 4495799 h 6667499"/>
              <a:gd name="connsiteX6" fmla="*/ 4419600 w 8915400"/>
              <a:gd name="connsiteY6" fmla="*/ 6667499 h 6667499"/>
              <a:gd name="connsiteX7" fmla="*/ 2247900 w 8915400"/>
              <a:gd name="connsiteY7" fmla="*/ 6667499 h 6667499"/>
              <a:gd name="connsiteX8" fmla="*/ 0 w 8915400"/>
              <a:gd name="connsiteY8" fmla="*/ 4495799 h 6667499"/>
              <a:gd name="connsiteX9" fmla="*/ 2171700 w 8915400"/>
              <a:gd name="connsiteY9" fmla="*/ 4495799 h 6667499"/>
              <a:gd name="connsiteX10" fmla="*/ 2171700 w 8915400"/>
              <a:gd name="connsiteY10" fmla="*/ 6667499 h 6667499"/>
              <a:gd name="connsiteX11" fmla="*/ 0 w 8915400"/>
              <a:gd name="connsiteY11" fmla="*/ 6667499 h 6667499"/>
              <a:gd name="connsiteX12" fmla="*/ 4495800 w 8915400"/>
              <a:gd name="connsiteY12" fmla="*/ 4476749 h 6667499"/>
              <a:gd name="connsiteX13" fmla="*/ 6667500 w 8915400"/>
              <a:gd name="connsiteY13" fmla="*/ 4476749 h 6667499"/>
              <a:gd name="connsiteX14" fmla="*/ 6667500 w 8915400"/>
              <a:gd name="connsiteY14" fmla="*/ 6648449 h 6667499"/>
              <a:gd name="connsiteX15" fmla="*/ 4495800 w 8915400"/>
              <a:gd name="connsiteY15" fmla="*/ 6648449 h 6667499"/>
              <a:gd name="connsiteX16" fmla="*/ 6743700 w 8915400"/>
              <a:gd name="connsiteY16" fmla="*/ 2257424 h 6667499"/>
              <a:gd name="connsiteX17" fmla="*/ 8915400 w 8915400"/>
              <a:gd name="connsiteY17" fmla="*/ 2257424 h 6667499"/>
              <a:gd name="connsiteX18" fmla="*/ 8915400 w 8915400"/>
              <a:gd name="connsiteY18" fmla="*/ 4429124 h 6667499"/>
              <a:gd name="connsiteX19" fmla="*/ 6743700 w 8915400"/>
              <a:gd name="connsiteY19" fmla="*/ 4429124 h 6667499"/>
              <a:gd name="connsiteX20" fmla="*/ 2247900 w 8915400"/>
              <a:gd name="connsiteY20" fmla="*/ 2257424 h 6667499"/>
              <a:gd name="connsiteX21" fmla="*/ 4419600 w 8915400"/>
              <a:gd name="connsiteY21" fmla="*/ 2257424 h 6667499"/>
              <a:gd name="connsiteX22" fmla="*/ 4419600 w 8915400"/>
              <a:gd name="connsiteY22" fmla="*/ 4429124 h 6667499"/>
              <a:gd name="connsiteX23" fmla="*/ 2247900 w 8915400"/>
              <a:gd name="connsiteY23" fmla="*/ 4429124 h 6667499"/>
              <a:gd name="connsiteX24" fmla="*/ 0 w 8915400"/>
              <a:gd name="connsiteY24" fmla="*/ 2257424 h 6667499"/>
              <a:gd name="connsiteX25" fmla="*/ 2171700 w 8915400"/>
              <a:gd name="connsiteY25" fmla="*/ 2257424 h 6667499"/>
              <a:gd name="connsiteX26" fmla="*/ 2171700 w 8915400"/>
              <a:gd name="connsiteY26" fmla="*/ 4429124 h 6667499"/>
              <a:gd name="connsiteX27" fmla="*/ 0 w 8915400"/>
              <a:gd name="connsiteY27" fmla="*/ 4429124 h 6667499"/>
              <a:gd name="connsiteX28" fmla="*/ 4495800 w 8915400"/>
              <a:gd name="connsiteY28" fmla="*/ 2238374 h 6667499"/>
              <a:gd name="connsiteX29" fmla="*/ 6667500 w 8915400"/>
              <a:gd name="connsiteY29" fmla="*/ 2238374 h 6667499"/>
              <a:gd name="connsiteX30" fmla="*/ 6667500 w 8915400"/>
              <a:gd name="connsiteY30" fmla="*/ 4410074 h 6667499"/>
              <a:gd name="connsiteX31" fmla="*/ 4495800 w 8915400"/>
              <a:gd name="connsiteY31" fmla="*/ 4410074 h 6667499"/>
              <a:gd name="connsiteX32" fmla="*/ 6743700 w 8915400"/>
              <a:gd name="connsiteY32" fmla="*/ 19050 h 6667499"/>
              <a:gd name="connsiteX33" fmla="*/ 8915400 w 8915400"/>
              <a:gd name="connsiteY33" fmla="*/ 19050 h 6667499"/>
              <a:gd name="connsiteX34" fmla="*/ 8915400 w 8915400"/>
              <a:gd name="connsiteY34" fmla="*/ 2190749 h 6667499"/>
              <a:gd name="connsiteX35" fmla="*/ 6743700 w 8915400"/>
              <a:gd name="connsiteY35" fmla="*/ 2190749 h 6667499"/>
              <a:gd name="connsiteX36" fmla="*/ 2247900 w 8915400"/>
              <a:gd name="connsiteY36" fmla="*/ 19050 h 6667499"/>
              <a:gd name="connsiteX37" fmla="*/ 4419600 w 8915400"/>
              <a:gd name="connsiteY37" fmla="*/ 19050 h 6667499"/>
              <a:gd name="connsiteX38" fmla="*/ 4419600 w 8915400"/>
              <a:gd name="connsiteY38" fmla="*/ 2190749 h 6667499"/>
              <a:gd name="connsiteX39" fmla="*/ 2247900 w 8915400"/>
              <a:gd name="connsiteY39" fmla="*/ 2190749 h 6667499"/>
              <a:gd name="connsiteX40" fmla="*/ 0 w 8915400"/>
              <a:gd name="connsiteY40" fmla="*/ 19050 h 6667499"/>
              <a:gd name="connsiteX41" fmla="*/ 2171700 w 8915400"/>
              <a:gd name="connsiteY41" fmla="*/ 19050 h 6667499"/>
              <a:gd name="connsiteX42" fmla="*/ 2171700 w 8915400"/>
              <a:gd name="connsiteY42" fmla="*/ 2190749 h 6667499"/>
              <a:gd name="connsiteX43" fmla="*/ 0 w 8915400"/>
              <a:gd name="connsiteY43" fmla="*/ 2190749 h 6667499"/>
              <a:gd name="connsiteX44" fmla="*/ 4495800 w 8915400"/>
              <a:gd name="connsiteY44" fmla="*/ 0 h 6667499"/>
              <a:gd name="connsiteX45" fmla="*/ 6667500 w 8915400"/>
              <a:gd name="connsiteY45" fmla="*/ 0 h 6667499"/>
              <a:gd name="connsiteX46" fmla="*/ 6667500 w 8915400"/>
              <a:gd name="connsiteY46" fmla="*/ 2171699 h 6667499"/>
              <a:gd name="connsiteX47" fmla="*/ 4495800 w 8915400"/>
              <a:gd name="connsiteY47" fmla="*/ 2171699 h 666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8915400" h="6667499">
                <a:moveTo>
                  <a:pt x="6743700" y="4495799"/>
                </a:moveTo>
                <a:lnTo>
                  <a:pt x="8915400" y="4495799"/>
                </a:lnTo>
                <a:lnTo>
                  <a:pt x="8915400" y="6667499"/>
                </a:lnTo>
                <a:lnTo>
                  <a:pt x="6743700" y="6667499"/>
                </a:lnTo>
                <a:close/>
                <a:moveTo>
                  <a:pt x="2247900" y="4495799"/>
                </a:moveTo>
                <a:lnTo>
                  <a:pt x="4419600" y="4495799"/>
                </a:lnTo>
                <a:lnTo>
                  <a:pt x="4419600" y="6667499"/>
                </a:lnTo>
                <a:lnTo>
                  <a:pt x="2247900" y="6667499"/>
                </a:lnTo>
                <a:close/>
                <a:moveTo>
                  <a:pt x="0" y="4495799"/>
                </a:moveTo>
                <a:lnTo>
                  <a:pt x="2171700" y="4495799"/>
                </a:lnTo>
                <a:lnTo>
                  <a:pt x="2171700" y="6667499"/>
                </a:lnTo>
                <a:lnTo>
                  <a:pt x="0" y="6667499"/>
                </a:lnTo>
                <a:close/>
                <a:moveTo>
                  <a:pt x="4495800" y="4476749"/>
                </a:moveTo>
                <a:lnTo>
                  <a:pt x="6667500" y="4476749"/>
                </a:lnTo>
                <a:lnTo>
                  <a:pt x="6667500" y="6648449"/>
                </a:lnTo>
                <a:lnTo>
                  <a:pt x="4495800" y="6648449"/>
                </a:lnTo>
                <a:close/>
                <a:moveTo>
                  <a:pt x="6743700" y="2257424"/>
                </a:moveTo>
                <a:lnTo>
                  <a:pt x="8915400" y="2257424"/>
                </a:lnTo>
                <a:lnTo>
                  <a:pt x="8915400" y="4429124"/>
                </a:lnTo>
                <a:lnTo>
                  <a:pt x="6743700" y="4429124"/>
                </a:lnTo>
                <a:close/>
                <a:moveTo>
                  <a:pt x="2247900" y="2257424"/>
                </a:moveTo>
                <a:lnTo>
                  <a:pt x="4419600" y="2257424"/>
                </a:lnTo>
                <a:lnTo>
                  <a:pt x="4419600" y="4429124"/>
                </a:lnTo>
                <a:lnTo>
                  <a:pt x="2247900" y="4429124"/>
                </a:lnTo>
                <a:close/>
                <a:moveTo>
                  <a:pt x="0" y="2257424"/>
                </a:moveTo>
                <a:lnTo>
                  <a:pt x="2171700" y="2257424"/>
                </a:lnTo>
                <a:lnTo>
                  <a:pt x="2171700" y="4429124"/>
                </a:lnTo>
                <a:lnTo>
                  <a:pt x="0" y="4429124"/>
                </a:lnTo>
                <a:close/>
                <a:moveTo>
                  <a:pt x="4495800" y="2238374"/>
                </a:moveTo>
                <a:lnTo>
                  <a:pt x="6667500" y="2238374"/>
                </a:lnTo>
                <a:lnTo>
                  <a:pt x="6667500" y="4410074"/>
                </a:lnTo>
                <a:lnTo>
                  <a:pt x="4495800" y="4410074"/>
                </a:lnTo>
                <a:close/>
                <a:moveTo>
                  <a:pt x="6743700" y="19050"/>
                </a:moveTo>
                <a:lnTo>
                  <a:pt x="8915400" y="19050"/>
                </a:lnTo>
                <a:lnTo>
                  <a:pt x="8915400" y="2190749"/>
                </a:lnTo>
                <a:lnTo>
                  <a:pt x="6743700" y="2190749"/>
                </a:lnTo>
                <a:close/>
                <a:moveTo>
                  <a:pt x="2247900" y="19050"/>
                </a:moveTo>
                <a:lnTo>
                  <a:pt x="4419600" y="19050"/>
                </a:lnTo>
                <a:lnTo>
                  <a:pt x="4419600" y="2190749"/>
                </a:lnTo>
                <a:lnTo>
                  <a:pt x="2247900" y="2190749"/>
                </a:lnTo>
                <a:close/>
                <a:moveTo>
                  <a:pt x="0" y="19050"/>
                </a:moveTo>
                <a:lnTo>
                  <a:pt x="2171700" y="19050"/>
                </a:lnTo>
                <a:lnTo>
                  <a:pt x="2171700" y="2190749"/>
                </a:lnTo>
                <a:lnTo>
                  <a:pt x="0" y="2190749"/>
                </a:lnTo>
                <a:close/>
                <a:moveTo>
                  <a:pt x="4495800" y="0"/>
                </a:moveTo>
                <a:lnTo>
                  <a:pt x="6667500" y="0"/>
                </a:lnTo>
                <a:lnTo>
                  <a:pt x="6667500" y="2171699"/>
                </a:lnTo>
                <a:lnTo>
                  <a:pt x="4495800" y="2171699"/>
                </a:lnTo>
                <a:close/>
              </a:path>
            </a:pathLst>
          </a:custGeom>
        </p:spPr>
        <p:txBody>
          <a:bodyPr wrap="square">
            <a:noAutofit/>
          </a:bodyPr>
          <a:lstStyle/>
          <a:p>
            <a:endParaRPr lang="en-US"/>
          </a:p>
        </p:txBody>
      </p:sp>
    </p:spTree>
    <p:extLst>
      <p:ext uri="{BB962C8B-B14F-4D97-AF65-F5344CB8AC3E}">
        <p14:creationId xmlns:p14="http://schemas.microsoft.com/office/powerpoint/2010/main" val="671683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41_Custom Layout">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0" y="652463"/>
            <a:ext cx="5675313" cy="5530850"/>
          </a:xfrm>
          <a:prstGeom prst="rect">
            <a:avLst/>
          </a:prstGeom>
        </p:spPr>
        <p:txBody>
          <a:bodyPr/>
          <a:lstStyle/>
          <a:p>
            <a:endParaRPr lang="en-US"/>
          </a:p>
        </p:txBody>
      </p:sp>
      <p:sp>
        <p:nvSpPr>
          <p:cNvPr id="4" name="Picture Placeholder 5"/>
          <p:cNvSpPr>
            <a:spLocks noGrp="1"/>
          </p:cNvSpPr>
          <p:nvPr>
            <p:ph type="pic" sz="quarter" idx="11"/>
          </p:nvPr>
        </p:nvSpPr>
        <p:spPr>
          <a:xfrm>
            <a:off x="5675313" y="668338"/>
            <a:ext cx="2684462" cy="2760662"/>
          </a:xfrm>
          <a:prstGeom prst="rect">
            <a:avLst/>
          </a:prstGeom>
        </p:spPr>
        <p:txBody>
          <a:bodyPr/>
          <a:lstStyle/>
          <a:p>
            <a:endParaRPr lang="en-US"/>
          </a:p>
        </p:txBody>
      </p:sp>
      <p:sp>
        <p:nvSpPr>
          <p:cNvPr id="5" name="Picture Placeholder 5"/>
          <p:cNvSpPr>
            <a:spLocks noGrp="1"/>
          </p:cNvSpPr>
          <p:nvPr>
            <p:ph type="pic" sz="quarter" idx="12"/>
          </p:nvPr>
        </p:nvSpPr>
        <p:spPr>
          <a:xfrm>
            <a:off x="5675313" y="3444875"/>
            <a:ext cx="2684462" cy="2760662"/>
          </a:xfrm>
          <a:prstGeom prst="rect">
            <a:avLst/>
          </a:prstGeom>
        </p:spPr>
        <p:txBody>
          <a:bodyPr/>
          <a:lstStyle/>
          <a:p>
            <a:endParaRPr lang="en-US"/>
          </a:p>
        </p:txBody>
      </p:sp>
      <p:sp>
        <p:nvSpPr>
          <p:cNvPr id="6" name="Picture Placeholder 8"/>
          <p:cNvSpPr>
            <a:spLocks noGrp="1"/>
          </p:cNvSpPr>
          <p:nvPr>
            <p:ph type="pic" sz="quarter" idx="13"/>
          </p:nvPr>
        </p:nvSpPr>
        <p:spPr>
          <a:xfrm>
            <a:off x="8359775" y="668338"/>
            <a:ext cx="3832225" cy="5553075"/>
          </a:xfrm>
          <a:prstGeom prst="rect">
            <a:avLst/>
          </a:prstGeom>
        </p:spPr>
        <p:txBody>
          <a:bodyPr/>
          <a:lstStyle/>
          <a:p>
            <a:endParaRPr lang="en-US"/>
          </a:p>
        </p:txBody>
      </p:sp>
    </p:spTree>
    <p:extLst>
      <p:ext uri="{BB962C8B-B14F-4D97-AF65-F5344CB8AC3E}">
        <p14:creationId xmlns:p14="http://schemas.microsoft.com/office/powerpoint/2010/main" val="4175446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44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581150"/>
            <a:ext cx="12192000" cy="3714750"/>
          </a:xfrm>
          <a:prstGeom prst="rect">
            <a:avLst/>
          </a:prstGeom>
        </p:spPr>
        <p:txBody>
          <a:bodyPr/>
          <a:lstStyle/>
          <a:p>
            <a:endParaRPr lang="en-US"/>
          </a:p>
        </p:txBody>
      </p:sp>
    </p:spTree>
    <p:extLst>
      <p:ext uri="{BB962C8B-B14F-4D97-AF65-F5344CB8AC3E}">
        <p14:creationId xmlns:p14="http://schemas.microsoft.com/office/powerpoint/2010/main" val="1533373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5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590550" y="704850"/>
            <a:ext cx="3714750" cy="5467350"/>
          </a:xfrm>
          <a:prstGeom prst="rect">
            <a:avLst/>
          </a:prstGeom>
        </p:spPr>
        <p:txBody>
          <a:bodyPr/>
          <a:lstStyle/>
          <a:p>
            <a:endParaRPr lang="en-US"/>
          </a:p>
        </p:txBody>
      </p:sp>
      <p:sp>
        <p:nvSpPr>
          <p:cNvPr id="6" name="Picture Placeholder 5"/>
          <p:cNvSpPr>
            <a:spLocks noGrp="1"/>
          </p:cNvSpPr>
          <p:nvPr>
            <p:ph type="pic" sz="quarter" idx="11"/>
          </p:nvPr>
        </p:nvSpPr>
        <p:spPr>
          <a:xfrm>
            <a:off x="4476750" y="685800"/>
            <a:ext cx="7162800" cy="1828800"/>
          </a:xfrm>
          <a:prstGeom prst="rect">
            <a:avLst/>
          </a:prstGeom>
        </p:spPr>
        <p:txBody>
          <a:bodyPr/>
          <a:lstStyle/>
          <a:p>
            <a:endParaRPr lang="en-US"/>
          </a:p>
        </p:txBody>
      </p:sp>
      <p:sp>
        <p:nvSpPr>
          <p:cNvPr id="8" name="Picture Placeholder 7"/>
          <p:cNvSpPr>
            <a:spLocks noGrp="1"/>
          </p:cNvSpPr>
          <p:nvPr>
            <p:ph type="pic" sz="quarter" idx="12"/>
          </p:nvPr>
        </p:nvSpPr>
        <p:spPr>
          <a:xfrm>
            <a:off x="4476750" y="2667000"/>
            <a:ext cx="3486150" cy="2247900"/>
          </a:xfrm>
          <a:prstGeom prst="rect">
            <a:avLst/>
          </a:prstGeom>
        </p:spPr>
        <p:txBody>
          <a:bodyPr/>
          <a:lstStyle/>
          <a:p>
            <a:endParaRPr lang="en-US"/>
          </a:p>
        </p:txBody>
      </p:sp>
      <p:sp>
        <p:nvSpPr>
          <p:cNvPr id="11" name="Picture Placeholder 7"/>
          <p:cNvSpPr>
            <a:spLocks noGrp="1"/>
          </p:cNvSpPr>
          <p:nvPr>
            <p:ph type="pic" sz="quarter" idx="13"/>
          </p:nvPr>
        </p:nvSpPr>
        <p:spPr>
          <a:xfrm>
            <a:off x="8153400" y="2667000"/>
            <a:ext cx="3486150" cy="2247900"/>
          </a:xfrm>
          <a:prstGeom prst="rect">
            <a:avLst/>
          </a:prstGeom>
        </p:spPr>
        <p:txBody>
          <a:bodyPr/>
          <a:lstStyle/>
          <a:p>
            <a:endParaRPr lang="en-US"/>
          </a:p>
        </p:txBody>
      </p:sp>
    </p:spTree>
    <p:extLst>
      <p:ext uri="{BB962C8B-B14F-4D97-AF65-F5344CB8AC3E}">
        <p14:creationId xmlns:p14="http://schemas.microsoft.com/office/powerpoint/2010/main" val="891432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46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524000" y="666750"/>
            <a:ext cx="4572000" cy="6191250"/>
          </a:xfrm>
          <a:prstGeom prst="rect">
            <a:avLst/>
          </a:prstGeom>
        </p:spPr>
        <p:txBody>
          <a:bodyPr/>
          <a:lstStyle/>
          <a:p>
            <a:endParaRPr lang="en-US"/>
          </a:p>
        </p:txBody>
      </p:sp>
      <p:sp>
        <p:nvSpPr>
          <p:cNvPr id="6" name="Picture Placeholder 5"/>
          <p:cNvSpPr>
            <a:spLocks noGrp="1"/>
          </p:cNvSpPr>
          <p:nvPr>
            <p:ph type="pic" sz="quarter" idx="11"/>
          </p:nvPr>
        </p:nvSpPr>
        <p:spPr>
          <a:xfrm>
            <a:off x="6553200" y="666750"/>
            <a:ext cx="1866900" cy="1866900"/>
          </a:xfrm>
          <a:prstGeom prst="rect">
            <a:avLst/>
          </a:prstGeom>
        </p:spPr>
        <p:txBody>
          <a:bodyPr/>
          <a:lstStyle/>
          <a:p>
            <a:endParaRPr lang="en-US"/>
          </a:p>
        </p:txBody>
      </p:sp>
    </p:spTree>
    <p:extLst>
      <p:ext uri="{BB962C8B-B14F-4D97-AF65-F5344CB8AC3E}">
        <p14:creationId xmlns:p14="http://schemas.microsoft.com/office/powerpoint/2010/main" val="3829724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48_Custom Layout">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0" y="3429000"/>
            <a:ext cx="4305300" cy="3429000"/>
          </a:xfrm>
          <a:prstGeom prst="rect">
            <a:avLst/>
          </a:prstGeom>
        </p:spPr>
        <p:txBody>
          <a:bodyPr/>
          <a:lstStyle/>
          <a:p>
            <a:endParaRPr lang="en-US"/>
          </a:p>
        </p:txBody>
      </p:sp>
      <p:sp>
        <p:nvSpPr>
          <p:cNvPr id="4" name="Picture Placeholder 5"/>
          <p:cNvSpPr>
            <a:spLocks noGrp="1"/>
          </p:cNvSpPr>
          <p:nvPr>
            <p:ph type="pic" sz="quarter" idx="11"/>
          </p:nvPr>
        </p:nvSpPr>
        <p:spPr>
          <a:xfrm>
            <a:off x="4305300" y="0"/>
            <a:ext cx="7886700" cy="6858000"/>
          </a:xfrm>
          <a:prstGeom prst="rect">
            <a:avLst/>
          </a:prstGeom>
        </p:spPr>
        <p:txBody>
          <a:bodyPr/>
          <a:lstStyle/>
          <a:p>
            <a:endParaRPr lang="en-US"/>
          </a:p>
        </p:txBody>
      </p:sp>
    </p:spTree>
    <p:extLst>
      <p:ext uri="{BB962C8B-B14F-4D97-AF65-F5344CB8AC3E}">
        <p14:creationId xmlns:p14="http://schemas.microsoft.com/office/powerpoint/2010/main" val="1650921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50_Custom Layout">
    <p:spTree>
      <p:nvGrpSpPr>
        <p:cNvPr id="1" name=""/>
        <p:cNvGrpSpPr/>
        <p:nvPr/>
      </p:nvGrpSpPr>
      <p:grpSpPr>
        <a:xfrm>
          <a:off x="0" y="0"/>
          <a:ext cx="0" cy="0"/>
          <a:chOff x="0" y="0"/>
          <a:chExt cx="0" cy="0"/>
        </a:xfrm>
      </p:grpSpPr>
      <p:sp>
        <p:nvSpPr>
          <p:cNvPr id="3" name="Picture Placeholder 3"/>
          <p:cNvSpPr>
            <a:spLocks noGrp="1"/>
          </p:cNvSpPr>
          <p:nvPr>
            <p:ph type="pic" sz="quarter" idx="11"/>
          </p:nvPr>
        </p:nvSpPr>
        <p:spPr>
          <a:xfrm>
            <a:off x="8943473" y="419100"/>
            <a:ext cx="2610853" cy="3200400"/>
          </a:xfrm>
          <a:prstGeom prst="rect">
            <a:avLst/>
          </a:prstGeom>
        </p:spPr>
        <p:txBody>
          <a:bodyPr/>
          <a:lstStyle/>
          <a:p>
            <a:endParaRPr lang="en-US"/>
          </a:p>
        </p:txBody>
      </p:sp>
      <p:sp>
        <p:nvSpPr>
          <p:cNvPr id="4" name="Picture Placeholder 3"/>
          <p:cNvSpPr>
            <a:spLocks noGrp="1"/>
          </p:cNvSpPr>
          <p:nvPr>
            <p:ph type="pic" sz="quarter" idx="12"/>
          </p:nvPr>
        </p:nvSpPr>
        <p:spPr>
          <a:xfrm>
            <a:off x="4550944" y="3238500"/>
            <a:ext cx="2610853" cy="3200400"/>
          </a:xfrm>
          <a:prstGeom prst="rect">
            <a:avLst/>
          </a:prstGeom>
        </p:spPr>
        <p:txBody>
          <a:bodyPr/>
          <a:lstStyle/>
          <a:p>
            <a:endParaRPr lang="en-US"/>
          </a:p>
        </p:txBody>
      </p:sp>
      <p:sp>
        <p:nvSpPr>
          <p:cNvPr id="5" name="Picture Placeholder 3"/>
          <p:cNvSpPr>
            <a:spLocks noGrp="1"/>
          </p:cNvSpPr>
          <p:nvPr>
            <p:ph type="pic" sz="quarter" idx="10"/>
          </p:nvPr>
        </p:nvSpPr>
        <p:spPr>
          <a:xfrm>
            <a:off x="6229350" y="1257300"/>
            <a:ext cx="3543300" cy="4343400"/>
          </a:xfrm>
          <a:prstGeom prst="rect">
            <a:avLst/>
          </a:prstGeom>
        </p:spPr>
        <p:txBody>
          <a:bodyPr/>
          <a:lstStyle/>
          <a:p>
            <a:endParaRPr lang="en-US"/>
          </a:p>
        </p:txBody>
      </p:sp>
    </p:spTree>
    <p:extLst>
      <p:ext uri="{BB962C8B-B14F-4D97-AF65-F5344CB8AC3E}">
        <p14:creationId xmlns:p14="http://schemas.microsoft.com/office/powerpoint/2010/main" val="31882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51_Custom Layout">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0" y="3429000"/>
            <a:ext cx="6096000" cy="3429000"/>
          </a:xfrm>
          <a:prstGeom prst="rect">
            <a:avLst/>
          </a:prstGeom>
        </p:spPr>
        <p:txBody>
          <a:bodyPr/>
          <a:lstStyle/>
          <a:p>
            <a:endParaRPr lang="en-US"/>
          </a:p>
        </p:txBody>
      </p:sp>
      <p:sp>
        <p:nvSpPr>
          <p:cNvPr id="4" name="Picture Placeholder 3"/>
          <p:cNvSpPr>
            <a:spLocks noGrp="1"/>
          </p:cNvSpPr>
          <p:nvPr>
            <p:ph type="pic" sz="quarter" idx="11"/>
          </p:nvPr>
        </p:nvSpPr>
        <p:spPr>
          <a:xfrm>
            <a:off x="0" y="0"/>
            <a:ext cx="6096000" cy="3429000"/>
          </a:xfrm>
          <a:prstGeom prst="rect">
            <a:avLst/>
          </a:prstGeom>
        </p:spPr>
        <p:txBody>
          <a:bodyPr/>
          <a:lstStyle/>
          <a:p>
            <a:endParaRPr lang="en-US"/>
          </a:p>
        </p:txBody>
      </p:sp>
    </p:spTree>
    <p:extLst>
      <p:ext uri="{BB962C8B-B14F-4D97-AF65-F5344CB8AC3E}">
        <p14:creationId xmlns:p14="http://schemas.microsoft.com/office/powerpoint/2010/main" val="234319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2" name="Picture Placeholder 3"/>
          <p:cNvSpPr>
            <a:spLocks noGrp="1"/>
          </p:cNvSpPr>
          <p:nvPr>
            <p:ph type="pic" sz="quarter" idx="10"/>
          </p:nvPr>
        </p:nvSpPr>
        <p:spPr>
          <a:xfrm>
            <a:off x="0" y="0"/>
            <a:ext cx="3429000" cy="6858000"/>
          </a:xfrm>
          <a:prstGeom prst="rect">
            <a:avLst/>
          </a:prstGeom>
        </p:spPr>
        <p:txBody>
          <a:bodyPr/>
          <a:lstStyle/>
          <a:p>
            <a:endParaRPr lang="en-US"/>
          </a:p>
        </p:txBody>
      </p:sp>
      <p:sp>
        <p:nvSpPr>
          <p:cNvPr id="13" name="Picture Placeholder 5"/>
          <p:cNvSpPr>
            <a:spLocks noGrp="1"/>
          </p:cNvSpPr>
          <p:nvPr>
            <p:ph type="pic" sz="quarter" idx="11"/>
          </p:nvPr>
        </p:nvSpPr>
        <p:spPr>
          <a:xfrm>
            <a:off x="3429000" y="3429000"/>
            <a:ext cx="3619500" cy="3429000"/>
          </a:xfrm>
          <a:prstGeom prst="rect">
            <a:avLst/>
          </a:prstGeom>
        </p:spPr>
        <p:txBody>
          <a:bodyPr/>
          <a:lstStyle/>
          <a:p>
            <a:endParaRPr lang="en-US"/>
          </a:p>
        </p:txBody>
      </p:sp>
      <p:sp>
        <p:nvSpPr>
          <p:cNvPr id="14" name="Picture Placeholder 5"/>
          <p:cNvSpPr>
            <a:spLocks noGrp="1"/>
          </p:cNvSpPr>
          <p:nvPr>
            <p:ph type="pic" sz="quarter" idx="12"/>
          </p:nvPr>
        </p:nvSpPr>
        <p:spPr>
          <a:xfrm>
            <a:off x="7048500" y="3429000"/>
            <a:ext cx="5143500" cy="3429000"/>
          </a:xfrm>
          <a:prstGeom prst="rect">
            <a:avLst/>
          </a:prstGeom>
        </p:spPr>
        <p:txBody>
          <a:bodyPr/>
          <a:lstStyle/>
          <a:p>
            <a:endParaRPr lang="en-US"/>
          </a:p>
        </p:txBody>
      </p:sp>
    </p:spTree>
    <p:extLst>
      <p:ext uri="{BB962C8B-B14F-4D97-AF65-F5344CB8AC3E}">
        <p14:creationId xmlns:p14="http://schemas.microsoft.com/office/powerpoint/2010/main" val="1443132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504950" y="1600200"/>
            <a:ext cx="6438900" cy="1828800"/>
          </a:xfrm>
          <a:prstGeom prst="rect">
            <a:avLst/>
          </a:prstGeom>
        </p:spPr>
        <p:txBody>
          <a:bodyPr/>
          <a:lstStyle/>
          <a:p>
            <a:endParaRPr lang="en-US"/>
          </a:p>
        </p:txBody>
      </p:sp>
    </p:spTree>
    <p:extLst>
      <p:ext uri="{BB962C8B-B14F-4D97-AF65-F5344CB8AC3E}">
        <p14:creationId xmlns:p14="http://schemas.microsoft.com/office/powerpoint/2010/main" val="2572822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52_Custom Layout">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1524000" y="685800"/>
            <a:ext cx="4076700" cy="4591050"/>
          </a:xfrm>
          <a:prstGeom prst="rect">
            <a:avLst/>
          </a:prstGeom>
        </p:spPr>
        <p:txBody>
          <a:bodyPr/>
          <a:lstStyle/>
          <a:p>
            <a:endParaRPr lang="en-US"/>
          </a:p>
        </p:txBody>
      </p:sp>
      <p:sp>
        <p:nvSpPr>
          <p:cNvPr id="4" name="Picture Placeholder 3"/>
          <p:cNvSpPr>
            <a:spLocks noGrp="1"/>
          </p:cNvSpPr>
          <p:nvPr>
            <p:ph type="pic" sz="quarter" idx="11"/>
          </p:nvPr>
        </p:nvSpPr>
        <p:spPr>
          <a:xfrm>
            <a:off x="6610350" y="685800"/>
            <a:ext cx="4057650" cy="4591050"/>
          </a:xfrm>
          <a:prstGeom prst="rect">
            <a:avLst/>
          </a:prstGeom>
        </p:spPr>
        <p:txBody>
          <a:bodyPr/>
          <a:lstStyle/>
          <a:p>
            <a:endParaRPr lang="en-US"/>
          </a:p>
        </p:txBody>
      </p:sp>
    </p:spTree>
    <p:extLst>
      <p:ext uri="{BB962C8B-B14F-4D97-AF65-F5344CB8AC3E}">
        <p14:creationId xmlns:p14="http://schemas.microsoft.com/office/powerpoint/2010/main" val="315819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53_Custom Layout">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0" y="1600200"/>
            <a:ext cx="2457450" cy="2362200"/>
          </a:xfrm>
          <a:prstGeom prst="rect">
            <a:avLst/>
          </a:prstGeom>
        </p:spPr>
        <p:txBody>
          <a:bodyPr/>
          <a:lstStyle/>
          <a:p>
            <a:endParaRPr lang="en-US"/>
          </a:p>
        </p:txBody>
      </p:sp>
      <p:sp>
        <p:nvSpPr>
          <p:cNvPr id="4" name="Picture Placeholder 3"/>
          <p:cNvSpPr>
            <a:spLocks noGrp="1"/>
          </p:cNvSpPr>
          <p:nvPr>
            <p:ph type="pic" sz="quarter" idx="11"/>
          </p:nvPr>
        </p:nvSpPr>
        <p:spPr>
          <a:xfrm>
            <a:off x="2628900" y="1600200"/>
            <a:ext cx="3733800" cy="2362200"/>
          </a:xfrm>
          <a:prstGeom prst="rect">
            <a:avLst/>
          </a:prstGeom>
        </p:spPr>
        <p:txBody>
          <a:bodyPr/>
          <a:lstStyle/>
          <a:p>
            <a:endParaRPr lang="en-US"/>
          </a:p>
        </p:txBody>
      </p:sp>
      <p:sp>
        <p:nvSpPr>
          <p:cNvPr id="5" name="Picture Placeholder 3"/>
          <p:cNvSpPr>
            <a:spLocks noGrp="1"/>
          </p:cNvSpPr>
          <p:nvPr>
            <p:ph type="pic" sz="quarter" idx="12"/>
          </p:nvPr>
        </p:nvSpPr>
        <p:spPr>
          <a:xfrm>
            <a:off x="6534150" y="1600200"/>
            <a:ext cx="4191000" cy="2362200"/>
          </a:xfrm>
          <a:prstGeom prst="rect">
            <a:avLst/>
          </a:prstGeom>
        </p:spPr>
        <p:txBody>
          <a:bodyPr/>
          <a:lstStyle/>
          <a:p>
            <a:endParaRPr lang="en-US"/>
          </a:p>
        </p:txBody>
      </p:sp>
      <p:sp>
        <p:nvSpPr>
          <p:cNvPr id="6" name="Picture Placeholder 3"/>
          <p:cNvSpPr>
            <a:spLocks noGrp="1"/>
          </p:cNvSpPr>
          <p:nvPr>
            <p:ph type="pic" sz="quarter" idx="13"/>
          </p:nvPr>
        </p:nvSpPr>
        <p:spPr>
          <a:xfrm>
            <a:off x="8629650" y="4114800"/>
            <a:ext cx="3562350" cy="2362200"/>
          </a:xfrm>
          <a:prstGeom prst="rect">
            <a:avLst/>
          </a:prstGeom>
        </p:spPr>
        <p:txBody>
          <a:bodyPr/>
          <a:lstStyle/>
          <a:p>
            <a:endParaRPr lang="en-US"/>
          </a:p>
        </p:txBody>
      </p:sp>
      <p:sp>
        <p:nvSpPr>
          <p:cNvPr id="7" name="Picture Placeholder 3"/>
          <p:cNvSpPr>
            <a:spLocks noGrp="1"/>
          </p:cNvSpPr>
          <p:nvPr>
            <p:ph type="pic" sz="quarter" idx="14"/>
          </p:nvPr>
        </p:nvSpPr>
        <p:spPr>
          <a:xfrm>
            <a:off x="4286250" y="4114800"/>
            <a:ext cx="4191000" cy="2362200"/>
          </a:xfrm>
          <a:prstGeom prst="rect">
            <a:avLst/>
          </a:prstGeom>
        </p:spPr>
        <p:txBody>
          <a:bodyPr/>
          <a:lstStyle/>
          <a:p>
            <a:endParaRPr lang="en-US"/>
          </a:p>
        </p:txBody>
      </p:sp>
      <p:sp>
        <p:nvSpPr>
          <p:cNvPr id="8" name="Picture Placeholder 3"/>
          <p:cNvSpPr>
            <a:spLocks noGrp="1"/>
          </p:cNvSpPr>
          <p:nvPr>
            <p:ph type="pic" sz="quarter" idx="15"/>
          </p:nvPr>
        </p:nvSpPr>
        <p:spPr>
          <a:xfrm>
            <a:off x="914400" y="4114800"/>
            <a:ext cx="3219450" cy="2362200"/>
          </a:xfrm>
          <a:prstGeom prst="rect">
            <a:avLst/>
          </a:prstGeom>
        </p:spPr>
        <p:txBody>
          <a:bodyPr/>
          <a:lstStyle/>
          <a:p>
            <a:endParaRPr lang="en-US"/>
          </a:p>
        </p:txBody>
      </p:sp>
    </p:spTree>
    <p:extLst>
      <p:ext uri="{BB962C8B-B14F-4D97-AF65-F5344CB8AC3E}">
        <p14:creationId xmlns:p14="http://schemas.microsoft.com/office/powerpoint/2010/main" val="1371934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54_Custom Layout">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6096000" y="0"/>
            <a:ext cx="6096000" cy="6858000"/>
          </a:xfrm>
          <a:prstGeom prst="rect">
            <a:avLst/>
          </a:prstGeom>
        </p:spPr>
        <p:txBody>
          <a:bodyPr/>
          <a:lstStyle/>
          <a:p>
            <a:endParaRPr lang="en-US"/>
          </a:p>
        </p:txBody>
      </p:sp>
      <p:sp>
        <p:nvSpPr>
          <p:cNvPr id="4" name="Picture Placeholder 5"/>
          <p:cNvSpPr>
            <a:spLocks noGrp="1"/>
          </p:cNvSpPr>
          <p:nvPr>
            <p:ph type="pic" sz="quarter" idx="11"/>
          </p:nvPr>
        </p:nvSpPr>
        <p:spPr>
          <a:xfrm>
            <a:off x="4057650" y="2533650"/>
            <a:ext cx="1504950" cy="1504950"/>
          </a:xfrm>
          <a:prstGeom prst="rect">
            <a:avLst/>
          </a:prstGeom>
        </p:spPr>
        <p:txBody>
          <a:bodyPr/>
          <a:lstStyle/>
          <a:p>
            <a:endParaRPr lang="en-US"/>
          </a:p>
        </p:txBody>
      </p:sp>
      <p:sp>
        <p:nvSpPr>
          <p:cNvPr id="5" name="Picture Placeholder 5"/>
          <p:cNvSpPr>
            <a:spLocks noGrp="1"/>
          </p:cNvSpPr>
          <p:nvPr>
            <p:ph type="pic" sz="quarter" idx="12"/>
          </p:nvPr>
        </p:nvSpPr>
        <p:spPr>
          <a:xfrm>
            <a:off x="609600" y="4686300"/>
            <a:ext cx="1504950" cy="1504950"/>
          </a:xfrm>
          <a:prstGeom prst="rect">
            <a:avLst/>
          </a:prstGeom>
        </p:spPr>
        <p:txBody>
          <a:bodyPr/>
          <a:lstStyle/>
          <a:p>
            <a:endParaRPr lang="en-US"/>
          </a:p>
        </p:txBody>
      </p:sp>
    </p:spTree>
    <p:extLst>
      <p:ext uri="{BB962C8B-B14F-4D97-AF65-F5344CB8AC3E}">
        <p14:creationId xmlns:p14="http://schemas.microsoft.com/office/powerpoint/2010/main" val="2772218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55_Custom Layout">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381000" y="609600"/>
            <a:ext cx="3657600" cy="2743200"/>
          </a:xfrm>
          <a:prstGeom prst="rect">
            <a:avLst/>
          </a:prstGeom>
          <a:effectLst>
            <a:outerShdw blurRad="406400" dist="38100" dir="2700000" algn="tl" rotWithShape="0">
              <a:prstClr val="black">
                <a:alpha val="40000"/>
              </a:prstClr>
            </a:outerShdw>
          </a:effectLst>
        </p:spPr>
        <p:txBody>
          <a:bodyPr/>
          <a:lstStyle/>
          <a:p>
            <a:endParaRPr lang="en-US"/>
          </a:p>
        </p:txBody>
      </p:sp>
      <p:sp>
        <p:nvSpPr>
          <p:cNvPr id="4" name="Picture Placeholder 3"/>
          <p:cNvSpPr>
            <a:spLocks noGrp="1"/>
          </p:cNvSpPr>
          <p:nvPr>
            <p:ph type="pic" sz="quarter" idx="11"/>
          </p:nvPr>
        </p:nvSpPr>
        <p:spPr>
          <a:xfrm>
            <a:off x="4267200" y="609600"/>
            <a:ext cx="3657600" cy="2743200"/>
          </a:xfrm>
          <a:prstGeom prst="rect">
            <a:avLst/>
          </a:prstGeom>
        </p:spPr>
        <p:txBody>
          <a:bodyPr/>
          <a:lstStyle/>
          <a:p>
            <a:endParaRPr lang="en-US"/>
          </a:p>
        </p:txBody>
      </p:sp>
      <p:sp>
        <p:nvSpPr>
          <p:cNvPr id="5" name="Picture Placeholder 3"/>
          <p:cNvSpPr>
            <a:spLocks noGrp="1"/>
          </p:cNvSpPr>
          <p:nvPr>
            <p:ph type="pic" sz="quarter" idx="12"/>
          </p:nvPr>
        </p:nvSpPr>
        <p:spPr>
          <a:xfrm>
            <a:off x="8153400" y="609600"/>
            <a:ext cx="3657600" cy="2743200"/>
          </a:xfrm>
          <a:prstGeom prst="rect">
            <a:avLst/>
          </a:prstGeom>
        </p:spPr>
        <p:txBody>
          <a:bodyPr/>
          <a:lstStyle/>
          <a:p>
            <a:endParaRPr lang="en-US"/>
          </a:p>
        </p:txBody>
      </p:sp>
      <p:sp>
        <p:nvSpPr>
          <p:cNvPr id="6" name="Picture Placeholder 3"/>
          <p:cNvSpPr>
            <a:spLocks noGrp="1"/>
          </p:cNvSpPr>
          <p:nvPr>
            <p:ph type="pic" sz="quarter" idx="13"/>
          </p:nvPr>
        </p:nvSpPr>
        <p:spPr>
          <a:xfrm>
            <a:off x="381000" y="3524250"/>
            <a:ext cx="3657600" cy="2743200"/>
          </a:xfrm>
          <a:prstGeom prst="rect">
            <a:avLst/>
          </a:prstGeom>
        </p:spPr>
        <p:txBody>
          <a:bodyPr/>
          <a:lstStyle/>
          <a:p>
            <a:endParaRPr lang="en-US"/>
          </a:p>
        </p:txBody>
      </p:sp>
      <p:sp>
        <p:nvSpPr>
          <p:cNvPr id="7" name="Picture Placeholder 3"/>
          <p:cNvSpPr>
            <a:spLocks noGrp="1"/>
          </p:cNvSpPr>
          <p:nvPr>
            <p:ph type="pic" sz="quarter" idx="14"/>
          </p:nvPr>
        </p:nvSpPr>
        <p:spPr>
          <a:xfrm>
            <a:off x="4267200" y="3524250"/>
            <a:ext cx="3657600" cy="2743200"/>
          </a:xfrm>
          <a:prstGeom prst="rect">
            <a:avLst/>
          </a:prstGeom>
        </p:spPr>
        <p:txBody>
          <a:bodyPr/>
          <a:lstStyle/>
          <a:p>
            <a:endParaRPr lang="en-US"/>
          </a:p>
        </p:txBody>
      </p:sp>
      <p:sp>
        <p:nvSpPr>
          <p:cNvPr id="8" name="Picture Placeholder 3"/>
          <p:cNvSpPr>
            <a:spLocks noGrp="1"/>
          </p:cNvSpPr>
          <p:nvPr>
            <p:ph type="pic" sz="quarter" idx="15"/>
          </p:nvPr>
        </p:nvSpPr>
        <p:spPr>
          <a:xfrm>
            <a:off x="8153400" y="3524250"/>
            <a:ext cx="3657600" cy="2743200"/>
          </a:xfrm>
          <a:prstGeom prst="rect">
            <a:avLst/>
          </a:prstGeom>
        </p:spPr>
        <p:txBody>
          <a:bodyPr/>
          <a:lstStyle/>
          <a:p>
            <a:endParaRPr lang="en-US"/>
          </a:p>
        </p:txBody>
      </p:sp>
    </p:spTree>
    <p:extLst>
      <p:ext uri="{BB962C8B-B14F-4D97-AF65-F5344CB8AC3E}">
        <p14:creationId xmlns:p14="http://schemas.microsoft.com/office/powerpoint/2010/main" val="4069523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877050" y="1352550"/>
            <a:ext cx="4457700" cy="5505450"/>
          </a:xfrm>
          <a:prstGeom prst="rect">
            <a:avLst/>
          </a:prstGeom>
          <a:solidFill>
            <a:schemeClr val="bg1">
              <a:lumMod val="85000"/>
            </a:schemeClr>
          </a:solidFill>
        </p:spPr>
        <p:txBody>
          <a:bodyPr/>
          <a:lstStyle/>
          <a:p>
            <a:endParaRPr lang="en-US"/>
          </a:p>
        </p:txBody>
      </p:sp>
      <p:sp>
        <p:nvSpPr>
          <p:cNvPr id="8" name="Picture Placeholder 7"/>
          <p:cNvSpPr>
            <a:spLocks noGrp="1"/>
          </p:cNvSpPr>
          <p:nvPr>
            <p:ph type="pic" sz="quarter" idx="11"/>
          </p:nvPr>
        </p:nvSpPr>
        <p:spPr>
          <a:xfrm>
            <a:off x="5172075" y="3495675"/>
            <a:ext cx="1400175" cy="3362325"/>
          </a:xfrm>
          <a:prstGeom prst="rect">
            <a:avLst/>
          </a:prstGeom>
          <a:solidFill>
            <a:schemeClr val="bg1">
              <a:lumMod val="85000"/>
            </a:schemeClr>
          </a:solidFill>
        </p:spPr>
        <p:txBody>
          <a:bodyPr/>
          <a:lstStyle/>
          <a:p>
            <a:endParaRPr lang="en-US"/>
          </a:p>
        </p:txBody>
      </p:sp>
    </p:spTree>
    <p:extLst>
      <p:ext uri="{BB962C8B-B14F-4D97-AF65-F5344CB8AC3E}">
        <p14:creationId xmlns:p14="http://schemas.microsoft.com/office/powerpoint/2010/main" val="1050155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4741863" y="2960688"/>
            <a:ext cx="2836862" cy="3897312"/>
          </a:xfrm>
          <a:prstGeom prst="rect">
            <a:avLst/>
          </a:prstGeom>
          <a:solidFill>
            <a:schemeClr val="bg1">
              <a:lumMod val="75000"/>
            </a:schemeClr>
          </a:solidFill>
        </p:spPr>
        <p:txBody>
          <a:bodyPr/>
          <a:lstStyle/>
          <a:p>
            <a:endParaRPr lang="en-US"/>
          </a:p>
        </p:txBody>
      </p:sp>
      <p:sp>
        <p:nvSpPr>
          <p:cNvPr id="9" name="Picture Placeholder 8"/>
          <p:cNvSpPr>
            <a:spLocks noGrp="1"/>
          </p:cNvSpPr>
          <p:nvPr>
            <p:ph type="pic" sz="quarter" idx="11"/>
          </p:nvPr>
        </p:nvSpPr>
        <p:spPr>
          <a:xfrm>
            <a:off x="1490853" y="3162300"/>
            <a:ext cx="1813033" cy="3695700"/>
          </a:xfrm>
          <a:custGeom>
            <a:avLst/>
            <a:gdLst>
              <a:gd name="connsiteX0" fmla="*/ 0 w 1782036"/>
              <a:gd name="connsiteY0" fmla="*/ 0 h 3695700"/>
              <a:gd name="connsiteX1" fmla="*/ 1782036 w 1782036"/>
              <a:gd name="connsiteY1" fmla="*/ 0 h 3695700"/>
              <a:gd name="connsiteX2" fmla="*/ 1782036 w 1782036"/>
              <a:gd name="connsiteY2" fmla="*/ 3695700 h 3695700"/>
              <a:gd name="connsiteX3" fmla="*/ 0 w 1782036"/>
              <a:gd name="connsiteY3" fmla="*/ 3695700 h 3695700"/>
              <a:gd name="connsiteX4" fmla="*/ 0 w 1782036"/>
              <a:gd name="connsiteY4" fmla="*/ 0 h 3695700"/>
              <a:gd name="connsiteX0" fmla="*/ 0 w 1813033"/>
              <a:gd name="connsiteY0" fmla="*/ 418454 h 3695700"/>
              <a:gd name="connsiteX1" fmla="*/ 1813033 w 1813033"/>
              <a:gd name="connsiteY1" fmla="*/ 0 h 3695700"/>
              <a:gd name="connsiteX2" fmla="*/ 1813033 w 1813033"/>
              <a:gd name="connsiteY2" fmla="*/ 3695700 h 3695700"/>
              <a:gd name="connsiteX3" fmla="*/ 30997 w 1813033"/>
              <a:gd name="connsiteY3" fmla="*/ 3695700 h 3695700"/>
              <a:gd name="connsiteX4" fmla="*/ 0 w 1813033"/>
              <a:gd name="connsiteY4" fmla="*/ 418454 h 3695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3033" h="3695700">
                <a:moveTo>
                  <a:pt x="0" y="418454"/>
                </a:moveTo>
                <a:lnTo>
                  <a:pt x="1813033" y="0"/>
                </a:lnTo>
                <a:lnTo>
                  <a:pt x="1813033" y="3695700"/>
                </a:lnTo>
                <a:lnTo>
                  <a:pt x="30997" y="3695700"/>
                </a:lnTo>
                <a:lnTo>
                  <a:pt x="0" y="418454"/>
                </a:lnTo>
                <a:close/>
              </a:path>
            </a:pathLst>
          </a:custGeom>
          <a:solidFill>
            <a:schemeClr val="bg1">
              <a:lumMod val="75000"/>
            </a:schemeClr>
          </a:solidFill>
        </p:spPr>
        <p:txBody>
          <a:bodyPr/>
          <a:lstStyle/>
          <a:p>
            <a:endParaRPr lang="en-US"/>
          </a:p>
        </p:txBody>
      </p:sp>
      <p:sp>
        <p:nvSpPr>
          <p:cNvPr id="11" name="Picture Placeholder 10"/>
          <p:cNvSpPr>
            <a:spLocks noGrp="1"/>
          </p:cNvSpPr>
          <p:nvPr>
            <p:ph type="pic" sz="quarter" idx="12"/>
          </p:nvPr>
        </p:nvSpPr>
        <p:spPr>
          <a:xfrm>
            <a:off x="9048452" y="3162300"/>
            <a:ext cx="1796674" cy="3695700"/>
          </a:xfrm>
          <a:custGeom>
            <a:avLst/>
            <a:gdLst>
              <a:gd name="connsiteX0" fmla="*/ 0 w 1781175"/>
              <a:gd name="connsiteY0" fmla="*/ 0 h 3695700"/>
              <a:gd name="connsiteX1" fmla="*/ 1781175 w 1781175"/>
              <a:gd name="connsiteY1" fmla="*/ 0 h 3695700"/>
              <a:gd name="connsiteX2" fmla="*/ 1781175 w 1781175"/>
              <a:gd name="connsiteY2" fmla="*/ 3695700 h 3695700"/>
              <a:gd name="connsiteX3" fmla="*/ 0 w 1781175"/>
              <a:gd name="connsiteY3" fmla="*/ 3695700 h 3695700"/>
              <a:gd name="connsiteX4" fmla="*/ 0 w 1781175"/>
              <a:gd name="connsiteY4" fmla="*/ 0 h 3695700"/>
              <a:gd name="connsiteX0" fmla="*/ 0 w 1796674"/>
              <a:gd name="connsiteY0" fmla="*/ 0 h 3695700"/>
              <a:gd name="connsiteX1" fmla="*/ 1796674 w 1796674"/>
              <a:gd name="connsiteY1" fmla="*/ 418455 h 3695700"/>
              <a:gd name="connsiteX2" fmla="*/ 1781175 w 1796674"/>
              <a:gd name="connsiteY2" fmla="*/ 3695700 h 3695700"/>
              <a:gd name="connsiteX3" fmla="*/ 0 w 1796674"/>
              <a:gd name="connsiteY3" fmla="*/ 3695700 h 3695700"/>
              <a:gd name="connsiteX4" fmla="*/ 0 w 1796674"/>
              <a:gd name="connsiteY4" fmla="*/ 0 h 3695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6674" h="3695700">
                <a:moveTo>
                  <a:pt x="0" y="0"/>
                </a:moveTo>
                <a:lnTo>
                  <a:pt x="1796674" y="418455"/>
                </a:lnTo>
                <a:cubicBezTo>
                  <a:pt x="1791508" y="1510870"/>
                  <a:pt x="1786341" y="2603285"/>
                  <a:pt x="1781175" y="3695700"/>
                </a:cubicBezTo>
                <a:lnTo>
                  <a:pt x="0" y="3695700"/>
                </a:lnTo>
                <a:lnTo>
                  <a:pt x="0" y="0"/>
                </a:lnTo>
                <a:close/>
              </a:path>
            </a:pathLst>
          </a:custGeom>
          <a:solidFill>
            <a:schemeClr val="bg1">
              <a:lumMod val="75000"/>
            </a:schemeClr>
          </a:solidFill>
        </p:spPr>
        <p:txBody>
          <a:bodyPr/>
          <a:lstStyle/>
          <a:p>
            <a:endParaRPr lang="en-US"/>
          </a:p>
        </p:txBody>
      </p:sp>
    </p:spTree>
    <p:extLst>
      <p:ext uri="{BB962C8B-B14F-4D97-AF65-F5344CB8AC3E}">
        <p14:creationId xmlns:p14="http://schemas.microsoft.com/office/powerpoint/2010/main" val="3848671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438150" y="819150"/>
            <a:ext cx="6629400" cy="3790950"/>
          </a:xfrm>
          <a:prstGeom prst="rect">
            <a:avLst/>
          </a:prstGeom>
        </p:spPr>
        <p:txBody>
          <a:bodyPr/>
          <a:lstStyle/>
          <a:p>
            <a:endParaRPr lang="en-US"/>
          </a:p>
        </p:txBody>
      </p:sp>
    </p:spTree>
    <p:extLst>
      <p:ext uri="{BB962C8B-B14F-4D97-AF65-F5344CB8AC3E}">
        <p14:creationId xmlns:p14="http://schemas.microsoft.com/office/powerpoint/2010/main" val="3772740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3409950" y="3276600"/>
            <a:ext cx="5029200" cy="1905000"/>
          </a:xfrm>
          <a:prstGeom prst="rect">
            <a:avLst/>
          </a:prstGeom>
        </p:spPr>
        <p:txBody>
          <a:bodyPr/>
          <a:lstStyle/>
          <a:p>
            <a:endParaRPr lang="en-US"/>
          </a:p>
        </p:txBody>
      </p:sp>
    </p:spTree>
    <p:extLst>
      <p:ext uri="{BB962C8B-B14F-4D97-AF65-F5344CB8AC3E}">
        <p14:creationId xmlns:p14="http://schemas.microsoft.com/office/powerpoint/2010/main" val="1563015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229100" y="762000"/>
            <a:ext cx="3695700" cy="4914900"/>
          </a:xfrm>
          <a:prstGeom prst="rect">
            <a:avLst/>
          </a:prstGeom>
        </p:spPr>
        <p:txBody>
          <a:bodyPr/>
          <a:lstStyle/>
          <a:p>
            <a:endParaRPr lang="en-US"/>
          </a:p>
        </p:txBody>
      </p:sp>
    </p:spTree>
    <p:extLst>
      <p:ext uri="{BB962C8B-B14F-4D97-AF65-F5344CB8AC3E}">
        <p14:creationId xmlns:p14="http://schemas.microsoft.com/office/powerpoint/2010/main" val="21344341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8401050" y="1905000"/>
            <a:ext cx="2552700" cy="3028950"/>
          </a:xfrm>
          <a:prstGeom prst="rect">
            <a:avLst/>
          </a:prstGeom>
          <a:solidFill>
            <a:schemeClr val="bg1">
              <a:lumMod val="85000"/>
            </a:schemeClr>
          </a:solidFill>
        </p:spPr>
        <p:txBody>
          <a:bodyPr/>
          <a:lstStyle/>
          <a:p>
            <a:endParaRPr lang="en-US"/>
          </a:p>
        </p:txBody>
      </p:sp>
    </p:spTree>
    <p:extLst>
      <p:ext uri="{BB962C8B-B14F-4D97-AF65-F5344CB8AC3E}">
        <p14:creationId xmlns:p14="http://schemas.microsoft.com/office/powerpoint/2010/main" val="614157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4972050"/>
          </a:xfrm>
          <a:prstGeom prst="rect">
            <a:avLst/>
          </a:prstGeom>
        </p:spPr>
        <p:txBody>
          <a:bodyPr/>
          <a:lstStyle/>
          <a:p>
            <a:endParaRPr lang="en-US"/>
          </a:p>
        </p:txBody>
      </p:sp>
    </p:spTree>
    <p:extLst>
      <p:ext uri="{BB962C8B-B14F-4D97-AF65-F5344CB8AC3E}">
        <p14:creationId xmlns:p14="http://schemas.microsoft.com/office/powerpoint/2010/main" val="213920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6496050" y="2800350"/>
            <a:ext cx="4800600" cy="3162300"/>
          </a:xfrm>
          <a:prstGeom prst="rect">
            <a:avLst/>
          </a:prstGeom>
        </p:spPr>
        <p:txBody>
          <a:bodyPr/>
          <a:lstStyle/>
          <a:p>
            <a:endParaRPr lang="en-US"/>
          </a:p>
        </p:txBody>
      </p:sp>
      <p:sp>
        <p:nvSpPr>
          <p:cNvPr id="11" name="Picture Placeholder 9"/>
          <p:cNvSpPr>
            <a:spLocks noGrp="1"/>
          </p:cNvSpPr>
          <p:nvPr>
            <p:ph type="pic" sz="quarter" idx="11"/>
          </p:nvPr>
        </p:nvSpPr>
        <p:spPr>
          <a:xfrm>
            <a:off x="4315782" y="1562100"/>
            <a:ext cx="4800600" cy="3162300"/>
          </a:xfrm>
          <a:prstGeom prst="rect">
            <a:avLst/>
          </a:prstGeom>
          <a:effectLst>
            <a:outerShdw blurRad="482600" dist="38100" dir="2700000" algn="tl" rotWithShape="0">
              <a:prstClr val="black">
                <a:alpha val="40000"/>
              </a:prstClr>
            </a:outerShdw>
          </a:effectLst>
        </p:spPr>
        <p:txBody>
          <a:bodyPr/>
          <a:lstStyle/>
          <a:p>
            <a:endParaRPr lang="en-US"/>
          </a:p>
        </p:txBody>
      </p:sp>
      <p:sp>
        <p:nvSpPr>
          <p:cNvPr id="12" name="Picture Placeholder 9"/>
          <p:cNvSpPr>
            <a:spLocks noGrp="1"/>
          </p:cNvSpPr>
          <p:nvPr>
            <p:ph type="pic" sz="quarter" idx="12"/>
          </p:nvPr>
        </p:nvSpPr>
        <p:spPr>
          <a:xfrm>
            <a:off x="2045505" y="419100"/>
            <a:ext cx="4800600" cy="3162300"/>
          </a:xfrm>
          <a:prstGeom prst="rect">
            <a:avLst/>
          </a:prstGeom>
          <a:effectLst>
            <a:outerShdw blurRad="482600" dist="38100" dir="2700000" algn="tl" rotWithShape="0">
              <a:prstClr val="black">
                <a:alpha val="40000"/>
              </a:prstClr>
            </a:outerShdw>
          </a:effectLst>
        </p:spPr>
        <p:txBody>
          <a:bodyPr/>
          <a:lstStyle/>
          <a:p>
            <a:endParaRPr lang="en-US"/>
          </a:p>
        </p:txBody>
      </p:sp>
    </p:spTree>
    <p:extLst>
      <p:ext uri="{BB962C8B-B14F-4D97-AF65-F5344CB8AC3E}">
        <p14:creationId xmlns:p14="http://schemas.microsoft.com/office/powerpoint/2010/main" val="102105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1085850" y="2857500"/>
            <a:ext cx="4667250" cy="3086100"/>
          </a:xfrm>
          <a:prstGeom prst="rect">
            <a:avLst/>
          </a:prstGeom>
        </p:spPr>
        <p:txBody>
          <a:bodyPr/>
          <a:lstStyle/>
          <a:p>
            <a:endParaRPr lang="en-US"/>
          </a:p>
        </p:txBody>
      </p:sp>
      <p:sp>
        <p:nvSpPr>
          <p:cNvPr id="11" name="Picture Placeholder 9"/>
          <p:cNvSpPr>
            <a:spLocks noGrp="1"/>
          </p:cNvSpPr>
          <p:nvPr>
            <p:ph type="pic" sz="quarter" idx="11"/>
          </p:nvPr>
        </p:nvSpPr>
        <p:spPr>
          <a:xfrm>
            <a:off x="6751027" y="590549"/>
            <a:ext cx="4667250" cy="3086100"/>
          </a:xfrm>
          <a:prstGeom prst="rect">
            <a:avLst/>
          </a:prstGeom>
        </p:spPr>
        <p:txBody>
          <a:bodyPr/>
          <a:lstStyle/>
          <a:p>
            <a:endParaRPr lang="en-US"/>
          </a:p>
        </p:txBody>
      </p:sp>
    </p:spTree>
    <p:extLst>
      <p:ext uri="{BB962C8B-B14F-4D97-AF65-F5344CB8AC3E}">
        <p14:creationId xmlns:p14="http://schemas.microsoft.com/office/powerpoint/2010/main" val="248565603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258015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901651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124630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130792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37317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96030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965062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25715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029075" y="1619250"/>
            <a:ext cx="4133850" cy="2743200"/>
          </a:xfrm>
          <a:prstGeom prst="rect">
            <a:avLst/>
          </a:prstGeom>
        </p:spPr>
        <p:txBody>
          <a:bodyPr/>
          <a:lstStyle/>
          <a:p>
            <a:endParaRPr lang="en-US"/>
          </a:p>
        </p:txBody>
      </p:sp>
    </p:spTree>
    <p:extLst>
      <p:ext uri="{BB962C8B-B14F-4D97-AF65-F5344CB8AC3E}">
        <p14:creationId xmlns:p14="http://schemas.microsoft.com/office/powerpoint/2010/main" val="1524340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690898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603496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925149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153162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040751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9648675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302978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08668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5348929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26541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1569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136542" y="1642820"/>
            <a:ext cx="3657600" cy="3634030"/>
          </a:xfrm>
          <a:prstGeom prst="rect">
            <a:avLst/>
          </a:prstGeom>
        </p:spPr>
        <p:txBody>
          <a:bodyPr/>
          <a:lstStyle/>
          <a:p>
            <a:endParaRPr lang="en-US"/>
          </a:p>
        </p:txBody>
      </p:sp>
    </p:spTree>
    <p:extLst>
      <p:ext uri="{BB962C8B-B14F-4D97-AF65-F5344CB8AC3E}">
        <p14:creationId xmlns:p14="http://schemas.microsoft.com/office/powerpoint/2010/main" val="117551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549087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42566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1331363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2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72819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439308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2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593183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151428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47_Custom Layout">
    <p:spTree>
      <p:nvGrpSpPr>
        <p:cNvPr id="1" name=""/>
        <p:cNvGrpSpPr/>
        <p:nvPr/>
      </p:nvGrpSpPr>
      <p:grpSpPr>
        <a:xfrm>
          <a:off x="0" y="0"/>
          <a:ext cx="0" cy="0"/>
          <a:chOff x="0" y="0"/>
          <a:chExt cx="0" cy="0"/>
        </a:xfrm>
      </p:grpSpPr>
      <p:sp>
        <p:nvSpPr>
          <p:cNvPr id="2" name="Rectangle 1"/>
          <p:cNvSpPr/>
          <p:nvPr userDrawn="1"/>
        </p:nvSpPr>
        <p:spPr>
          <a:xfrm>
            <a:off x="0" y="2148114"/>
            <a:ext cx="711200" cy="26270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d-ID" sz="1800"/>
          </a:p>
        </p:txBody>
      </p:sp>
    </p:spTree>
    <p:extLst>
      <p:ext uri="{BB962C8B-B14F-4D97-AF65-F5344CB8AC3E}">
        <p14:creationId xmlns:p14="http://schemas.microsoft.com/office/powerpoint/2010/main" val="315895544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2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204210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49_Custom Layout">
    <p:spTree>
      <p:nvGrpSpPr>
        <p:cNvPr id="1" name=""/>
        <p:cNvGrpSpPr/>
        <p:nvPr/>
      </p:nvGrpSpPr>
      <p:grpSpPr>
        <a:xfrm>
          <a:off x="0" y="0"/>
          <a:ext cx="0" cy="0"/>
          <a:chOff x="0" y="0"/>
          <a:chExt cx="0" cy="0"/>
        </a:xfrm>
      </p:grpSpPr>
      <p:sp>
        <p:nvSpPr>
          <p:cNvPr id="4" name="Rectangle 3"/>
          <p:cNvSpPr/>
          <p:nvPr userDrawn="1"/>
        </p:nvSpPr>
        <p:spPr>
          <a:xfrm>
            <a:off x="8186057" y="0"/>
            <a:ext cx="4005943" cy="2293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Tree>
    <p:extLst>
      <p:ext uri="{BB962C8B-B14F-4D97-AF65-F5344CB8AC3E}">
        <p14:creationId xmlns:p14="http://schemas.microsoft.com/office/powerpoint/2010/main" val="1050251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7924800" y="685800"/>
            <a:ext cx="3676650" cy="2743200"/>
          </a:xfrm>
          <a:prstGeom prst="rect">
            <a:avLst/>
          </a:prstGeom>
        </p:spPr>
        <p:txBody>
          <a:bodyPr/>
          <a:lstStyle/>
          <a:p>
            <a:endParaRPr lang="en-US"/>
          </a:p>
        </p:txBody>
      </p:sp>
    </p:spTree>
    <p:extLst>
      <p:ext uri="{BB962C8B-B14F-4D97-AF65-F5344CB8AC3E}">
        <p14:creationId xmlns:p14="http://schemas.microsoft.com/office/powerpoint/2010/main" val="1992673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763698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Титульны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699208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090538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28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6711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Vertical Title and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endParaRPr lang="en-US"/>
          </a:p>
        </p:txBody>
      </p:sp>
      <p:sp>
        <p:nvSpPr>
          <p:cNvPr id="3" name="Picture Placeholder 2"/>
          <p:cNvSpPr>
            <a:spLocks noGrp="1"/>
          </p:cNvSpPr>
          <p:nvPr>
            <p:ph type="pic" sz="quarter" idx="13"/>
          </p:nvPr>
        </p:nvSpPr>
        <p:spPr>
          <a:xfrm>
            <a:off x="609600" y="692943"/>
            <a:ext cx="6392334" cy="5472113"/>
          </a:xfrm>
          <a:prstGeom prst="rect">
            <a:avLst/>
          </a:prstGeom>
        </p:spPr>
        <p:txBody>
          <a:bodyPr/>
          <a:lstStyle/>
          <a:p>
            <a:endParaRPr lang="en-US"/>
          </a:p>
        </p:txBody>
      </p:sp>
    </p:spTree>
    <p:extLst>
      <p:ext uri="{BB962C8B-B14F-4D97-AF65-F5344CB8AC3E}">
        <p14:creationId xmlns:p14="http://schemas.microsoft.com/office/powerpoint/2010/main" val="3297079247"/>
      </p:ext>
    </p:extLst>
  </p:cSld>
  <p:clrMapOvr>
    <a:masterClrMapping/>
  </p:clrMapOvr>
  <mc:AlternateContent xmlns:mc="http://schemas.openxmlformats.org/markup-compatibility/2006" xmlns:p14="http://schemas.microsoft.com/office/powerpoint/2010/main">
    <mc:Choice Requires="p14">
      <p:transition spd="slow" p14:dur="900">
        <p14:flythrough hasBounce="1"/>
      </p:transition>
    </mc:Choice>
    <mc:Fallback xmlns="">
      <p:transition spd="slow">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Master Slid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3972342"/>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5DB1D66-61DB-4025-AF8C-37FD48F0AD65}"/>
              </a:ext>
            </a:extLst>
          </p:cNvPr>
          <p:cNvSpPr>
            <a:spLocks noGrp="1"/>
          </p:cNvSpPr>
          <p:nvPr>
            <p:ph type="dt" sz="half" idx="10"/>
          </p:nvPr>
        </p:nvSpPr>
        <p:spPr/>
        <p:txBody>
          <a:bodyPr/>
          <a:lstStyle/>
          <a:p>
            <a:fld id="{835DC671-AE47-4674-A005-E71857B17AF9}" type="datetimeFigureOut">
              <a:rPr lang="en-US" smtClean="0"/>
              <a:t>5/26/2020</a:t>
            </a:fld>
            <a:endParaRPr lang="en-US"/>
          </a:p>
        </p:txBody>
      </p:sp>
      <p:sp>
        <p:nvSpPr>
          <p:cNvPr id="3" name="Footer Placeholder 2">
            <a:extLst>
              <a:ext uri="{FF2B5EF4-FFF2-40B4-BE49-F238E27FC236}">
                <a16:creationId xmlns:a16="http://schemas.microsoft.com/office/drawing/2014/main" id="{801A7BA0-D5AD-430F-8993-09C30A89D44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22E7AF7-CDBA-4266-BAA3-2AA128DD4311}"/>
              </a:ext>
            </a:extLst>
          </p:cNvPr>
          <p:cNvSpPr>
            <a:spLocks noGrp="1"/>
          </p:cNvSpPr>
          <p:nvPr>
            <p:ph type="sldNum" sz="quarter" idx="12"/>
          </p:nvPr>
        </p:nvSpPr>
        <p:spPr/>
        <p:txBody>
          <a:bodyPr/>
          <a:lstStyle/>
          <a:p>
            <a:fld id="{290CFA36-8BA7-4F17-8412-F85AC937E5CF}" type="slidenum">
              <a:rPr lang="en-US" smtClean="0"/>
              <a:t>‹#›</a:t>
            </a:fld>
            <a:endParaRPr lang="en-US"/>
          </a:p>
        </p:txBody>
      </p:sp>
    </p:spTree>
    <p:extLst>
      <p:ext uri="{BB962C8B-B14F-4D97-AF65-F5344CB8AC3E}">
        <p14:creationId xmlns:p14="http://schemas.microsoft.com/office/powerpoint/2010/main" val="62210927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a:prstGeom prst="rect">
            <a:avLst/>
          </a:prstGeom>
        </p:spPr>
        <p:txBody>
          <a:bodyPr/>
          <a:lstStyle/>
          <a:p>
            <a:r>
              <a:rPr lang="ru-RU" smtClean="0"/>
              <a:t>Образец заголовка</a:t>
            </a:r>
            <a:endParaRPr lang="ru-RU"/>
          </a:p>
        </p:txBody>
      </p:sp>
      <p:sp>
        <p:nvSpPr>
          <p:cNvPr id="3" name="Объект 2"/>
          <p:cNvSpPr>
            <a:spLocks noGrp="1"/>
          </p:cNvSpPr>
          <p:nvPr>
            <p:ph idx="1"/>
          </p:nvPr>
        </p:nvSpPr>
        <p:spPr>
          <a:xfrm>
            <a:off x="609600" y="1600201"/>
            <a:ext cx="10972800" cy="4525963"/>
          </a:xfrm>
          <a:prstGeom prst="rect">
            <a:avLst/>
          </a:prstGeo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a:xfrm>
            <a:off x="609600" y="6245225"/>
            <a:ext cx="2844800" cy="476250"/>
          </a:xfrm>
          <a:prstGeom prst="rect">
            <a:avLst/>
          </a:prstGeom>
        </p:spPr>
        <p:txBody>
          <a:bodyPr/>
          <a:lstStyle>
            <a:lvl1pPr>
              <a:defRPr/>
            </a:lvl1pPr>
          </a:lstStyle>
          <a:p>
            <a:endParaRPr lang="ru-RU" altLang="x-none"/>
          </a:p>
        </p:txBody>
      </p:sp>
      <p:sp>
        <p:nvSpPr>
          <p:cNvPr id="5" name="Нижний колонтитул 4"/>
          <p:cNvSpPr>
            <a:spLocks noGrp="1"/>
          </p:cNvSpPr>
          <p:nvPr>
            <p:ph type="ftr" sz="quarter" idx="11"/>
          </p:nvPr>
        </p:nvSpPr>
        <p:spPr>
          <a:xfrm>
            <a:off x="4165600" y="6245225"/>
            <a:ext cx="3860800" cy="476250"/>
          </a:xfrm>
          <a:prstGeom prst="rect">
            <a:avLst/>
          </a:prstGeom>
        </p:spPr>
        <p:txBody>
          <a:bodyPr/>
          <a:lstStyle>
            <a:lvl1pPr>
              <a:defRPr/>
            </a:lvl1pPr>
          </a:lstStyle>
          <a:p>
            <a:endParaRPr lang="ru-RU" altLang="x-none"/>
          </a:p>
        </p:txBody>
      </p:sp>
      <p:sp>
        <p:nvSpPr>
          <p:cNvPr id="6" name="Номер слайда 5"/>
          <p:cNvSpPr>
            <a:spLocks noGrp="1"/>
          </p:cNvSpPr>
          <p:nvPr>
            <p:ph type="sldNum" sz="quarter" idx="12"/>
          </p:nvPr>
        </p:nvSpPr>
        <p:spPr>
          <a:xfrm>
            <a:off x="8737600" y="6245225"/>
            <a:ext cx="2844800" cy="476250"/>
          </a:xfrm>
          <a:prstGeom prst="rect">
            <a:avLst/>
          </a:prstGeom>
        </p:spPr>
        <p:txBody>
          <a:bodyPr/>
          <a:lstStyle>
            <a:lvl1pPr>
              <a:defRPr/>
            </a:lvl1pPr>
          </a:lstStyle>
          <a:p>
            <a:fld id="{BBB6E34A-8305-BD41-9F26-6365FECA2BE3}" type="slidenum">
              <a:rPr lang="ru-RU" altLang="x-none"/>
              <a:pPr/>
              <a:t>‹#›</a:t>
            </a:fld>
            <a:endParaRPr lang="ru-RU" altLang="x-none"/>
          </a:p>
        </p:txBody>
      </p:sp>
    </p:spTree>
    <p:extLst>
      <p:ext uri="{BB962C8B-B14F-4D97-AF65-F5344CB8AC3E}">
        <p14:creationId xmlns:p14="http://schemas.microsoft.com/office/powerpoint/2010/main" val="114772229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2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29306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3429000"/>
          </a:xfrm>
          <a:prstGeom prst="rect">
            <a:avLst/>
          </a:prstGeom>
        </p:spPr>
        <p:txBody>
          <a:bodyPr/>
          <a:lstStyle/>
          <a:p>
            <a:endParaRPr lang="en-US"/>
          </a:p>
        </p:txBody>
      </p:sp>
    </p:spTree>
    <p:extLst>
      <p:ext uri="{BB962C8B-B14F-4D97-AF65-F5344CB8AC3E}">
        <p14:creationId xmlns:p14="http://schemas.microsoft.com/office/powerpoint/2010/main" val="681475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914400" y="2076450"/>
            <a:ext cx="3067050" cy="2286000"/>
          </a:xfrm>
          <a:prstGeom prst="rect">
            <a:avLst/>
          </a:prstGeom>
        </p:spPr>
        <p:txBody>
          <a:bodyPr/>
          <a:lstStyle/>
          <a:p>
            <a:endParaRPr lang="en-US"/>
          </a:p>
        </p:txBody>
      </p:sp>
      <p:sp>
        <p:nvSpPr>
          <p:cNvPr id="6" name="Picture Placeholder 3"/>
          <p:cNvSpPr>
            <a:spLocks noGrp="1"/>
          </p:cNvSpPr>
          <p:nvPr>
            <p:ph type="pic" sz="quarter" idx="11"/>
          </p:nvPr>
        </p:nvSpPr>
        <p:spPr>
          <a:xfrm>
            <a:off x="4562475" y="2076450"/>
            <a:ext cx="3067050" cy="2286000"/>
          </a:xfrm>
          <a:prstGeom prst="rect">
            <a:avLst/>
          </a:prstGeom>
        </p:spPr>
        <p:txBody>
          <a:bodyPr/>
          <a:lstStyle/>
          <a:p>
            <a:endParaRPr lang="en-US"/>
          </a:p>
        </p:txBody>
      </p:sp>
      <p:sp>
        <p:nvSpPr>
          <p:cNvPr id="7" name="Picture Placeholder 3"/>
          <p:cNvSpPr>
            <a:spLocks noGrp="1"/>
          </p:cNvSpPr>
          <p:nvPr>
            <p:ph type="pic" sz="quarter" idx="12"/>
          </p:nvPr>
        </p:nvSpPr>
        <p:spPr>
          <a:xfrm>
            <a:off x="8210550" y="2076450"/>
            <a:ext cx="3067050" cy="2286000"/>
          </a:xfrm>
          <a:prstGeom prst="rect">
            <a:avLst/>
          </a:prstGeom>
        </p:spPr>
        <p:txBody>
          <a:bodyPr/>
          <a:lstStyle/>
          <a:p>
            <a:endParaRPr lang="en-US"/>
          </a:p>
        </p:txBody>
      </p:sp>
    </p:spTree>
    <p:extLst>
      <p:ext uri="{BB962C8B-B14F-4D97-AF65-F5344CB8AC3E}">
        <p14:creationId xmlns:p14="http://schemas.microsoft.com/office/powerpoint/2010/main" val="2206975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6" name="Freeform 5"/>
          <p:cNvSpPr>
            <a:spLocks noGrp="1"/>
          </p:cNvSpPr>
          <p:nvPr>
            <p:ph type="pic" sz="quarter" idx="10"/>
          </p:nvPr>
        </p:nvSpPr>
        <p:spPr>
          <a:xfrm>
            <a:off x="384004" y="0"/>
            <a:ext cx="7229118" cy="5362412"/>
          </a:xfrm>
          <a:custGeom>
            <a:avLst/>
            <a:gdLst>
              <a:gd name="connsiteX0" fmla="*/ 1747853 w 7229118"/>
              <a:gd name="connsiteY0" fmla="*/ 0 h 5362412"/>
              <a:gd name="connsiteX1" fmla="*/ 5481265 w 7229118"/>
              <a:gd name="connsiteY1" fmla="*/ 0 h 5362412"/>
              <a:gd name="connsiteX2" fmla="*/ 7229118 w 7229118"/>
              <a:gd name="connsiteY2" fmla="*/ 1747853 h 5362412"/>
              <a:gd name="connsiteX3" fmla="*/ 3614559 w 7229118"/>
              <a:gd name="connsiteY3" fmla="*/ 5362412 h 5362412"/>
              <a:gd name="connsiteX4" fmla="*/ 0 w 7229118"/>
              <a:gd name="connsiteY4" fmla="*/ 1747853 h 5362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9118" h="5362412">
                <a:moveTo>
                  <a:pt x="1747853" y="0"/>
                </a:moveTo>
                <a:lnTo>
                  <a:pt x="5481265" y="0"/>
                </a:lnTo>
                <a:lnTo>
                  <a:pt x="7229118" y="1747853"/>
                </a:lnTo>
                <a:lnTo>
                  <a:pt x="3614559" y="5362412"/>
                </a:lnTo>
                <a:lnTo>
                  <a:pt x="0" y="1747853"/>
                </a:lnTo>
                <a:close/>
              </a:path>
            </a:pathLst>
          </a:custGeom>
        </p:spPr>
        <p:txBody>
          <a:bodyPr wrap="square">
            <a:noAutofit/>
          </a:bodyPr>
          <a:lstStyle/>
          <a:p>
            <a:endParaRPr lang="en-US"/>
          </a:p>
        </p:txBody>
      </p:sp>
    </p:spTree>
    <p:extLst>
      <p:ext uri="{BB962C8B-B14F-4D97-AF65-F5344CB8AC3E}">
        <p14:creationId xmlns:p14="http://schemas.microsoft.com/office/powerpoint/2010/main" val="2391061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sp>
        <p:nvSpPr>
          <p:cNvPr id="6" name="Freeform 5"/>
          <p:cNvSpPr>
            <a:spLocks noGrp="1"/>
          </p:cNvSpPr>
          <p:nvPr>
            <p:ph type="pic" sz="quarter" idx="10"/>
          </p:nvPr>
        </p:nvSpPr>
        <p:spPr>
          <a:xfrm>
            <a:off x="1084882" y="1243739"/>
            <a:ext cx="4370522" cy="4370522"/>
          </a:xfrm>
          <a:custGeom>
            <a:avLst/>
            <a:gdLst>
              <a:gd name="connsiteX0" fmla="*/ 2185261 w 4370522"/>
              <a:gd name="connsiteY0" fmla="*/ 0 h 4370522"/>
              <a:gd name="connsiteX1" fmla="*/ 4370522 w 4370522"/>
              <a:gd name="connsiteY1" fmla="*/ 2185261 h 4370522"/>
              <a:gd name="connsiteX2" fmla="*/ 2185261 w 4370522"/>
              <a:gd name="connsiteY2" fmla="*/ 4370522 h 4370522"/>
              <a:gd name="connsiteX3" fmla="*/ 0 w 4370522"/>
              <a:gd name="connsiteY3" fmla="*/ 2185261 h 4370522"/>
              <a:gd name="connsiteX4" fmla="*/ 2185261 w 4370522"/>
              <a:gd name="connsiteY4" fmla="*/ 0 h 4370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0522" h="4370522">
                <a:moveTo>
                  <a:pt x="2185261" y="0"/>
                </a:moveTo>
                <a:cubicBezTo>
                  <a:pt x="3392147" y="0"/>
                  <a:pt x="4370522" y="978375"/>
                  <a:pt x="4370522" y="2185261"/>
                </a:cubicBezTo>
                <a:cubicBezTo>
                  <a:pt x="4370522" y="3392147"/>
                  <a:pt x="3392147" y="4370522"/>
                  <a:pt x="2185261" y="4370522"/>
                </a:cubicBezTo>
                <a:cubicBezTo>
                  <a:pt x="978375" y="4370522"/>
                  <a:pt x="0" y="3392147"/>
                  <a:pt x="0" y="2185261"/>
                </a:cubicBezTo>
                <a:cubicBezTo>
                  <a:pt x="0" y="978375"/>
                  <a:pt x="978375" y="0"/>
                  <a:pt x="2185261"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37084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799308" y="1127918"/>
            <a:ext cx="2593384" cy="4602163"/>
          </a:xfrm>
          <a:prstGeom prst="rect">
            <a:avLst/>
          </a:prstGeom>
        </p:spPr>
        <p:txBody>
          <a:bodyPr/>
          <a:lstStyle/>
          <a:p>
            <a:endParaRPr lang="en-US"/>
          </a:p>
        </p:txBody>
      </p:sp>
    </p:spTree>
    <p:extLst>
      <p:ext uri="{BB962C8B-B14F-4D97-AF65-F5344CB8AC3E}">
        <p14:creationId xmlns:p14="http://schemas.microsoft.com/office/powerpoint/2010/main" val="665010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9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a:prstGeom prst="rect">
            <a:avLst/>
          </a:prstGeom>
        </p:spPr>
        <p:txBody>
          <a:bodyPr/>
          <a:lstStyle/>
          <a:p>
            <a:endParaRPr lang="en-US"/>
          </a:p>
        </p:txBody>
      </p:sp>
      <p:sp>
        <p:nvSpPr>
          <p:cNvPr id="6" name="Picture Placeholder 5"/>
          <p:cNvSpPr>
            <a:spLocks noGrp="1"/>
          </p:cNvSpPr>
          <p:nvPr>
            <p:ph type="pic" sz="quarter" idx="11"/>
          </p:nvPr>
        </p:nvSpPr>
        <p:spPr>
          <a:xfrm>
            <a:off x="1503363" y="682625"/>
            <a:ext cx="2746375" cy="2746375"/>
          </a:xfrm>
          <a:prstGeom prst="rect">
            <a:avLst/>
          </a:prstGeom>
        </p:spPr>
        <p:txBody>
          <a:bodyPr/>
          <a:lstStyle/>
          <a:p>
            <a:endParaRPr lang="en-US"/>
          </a:p>
        </p:txBody>
      </p:sp>
    </p:spTree>
    <p:extLst>
      <p:ext uri="{BB962C8B-B14F-4D97-AF65-F5344CB8AC3E}">
        <p14:creationId xmlns:p14="http://schemas.microsoft.com/office/powerpoint/2010/main" val="4143879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50957" y="1801812"/>
            <a:ext cx="3657600" cy="3254375"/>
          </a:xfrm>
          <a:prstGeom prst="rect">
            <a:avLst/>
          </a:prstGeom>
        </p:spPr>
        <p:txBody>
          <a:bodyPr/>
          <a:lstStyle/>
          <a:p>
            <a:endParaRPr lang="en-US"/>
          </a:p>
        </p:txBody>
      </p:sp>
    </p:spTree>
    <p:extLst>
      <p:ext uri="{BB962C8B-B14F-4D97-AF65-F5344CB8AC3E}">
        <p14:creationId xmlns:p14="http://schemas.microsoft.com/office/powerpoint/2010/main" val="1989933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1_Custom Layout">
    <p:spTree>
      <p:nvGrpSpPr>
        <p:cNvPr id="1" name=""/>
        <p:cNvGrpSpPr/>
        <p:nvPr/>
      </p:nvGrpSpPr>
      <p:grpSpPr>
        <a:xfrm>
          <a:off x="0" y="0"/>
          <a:ext cx="0" cy="0"/>
          <a:chOff x="0" y="0"/>
          <a:chExt cx="0" cy="0"/>
        </a:xfrm>
      </p:grpSpPr>
      <p:sp>
        <p:nvSpPr>
          <p:cNvPr id="5" name="Freeform 4"/>
          <p:cNvSpPr>
            <a:spLocks noGrp="1"/>
          </p:cNvSpPr>
          <p:nvPr>
            <p:ph type="pic" sz="quarter" idx="11"/>
          </p:nvPr>
        </p:nvSpPr>
        <p:spPr>
          <a:xfrm>
            <a:off x="880118" y="2578091"/>
            <a:ext cx="10431764" cy="4122539"/>
          </a:xfrm>
          <a:custGeom>
            <a:avLst/>
            <a:gdLst>
              <a:gd name="connsiteX0" fmla="*/ 1684870 w 9107476"/>
              <a:gd name="connsiteY0" fmla="*/ 528837 h 3599192"/>
              <a:gd name="connsiteX1" fmla="*/ 1624613 w 9107476"/>
              <a:gd name="connsiteY1" fmla="*/ 540441 h 3599192"/>
              <a:gd name="connsiteX2" fmla="*/ 1633320 w 9107476"/>
              <a:gd name="connsiteY2" fmla="*/ 607833 h 3599192"/>
              <a:gd name="connsiteX3" fmla="*/ 1696368 w 9107476"/>
              <a:gd name="connsiteY3" fmla="*/ 597646 h 3599192"/>
              <a:gd name="connsiteX4" fmla="*/ 1695595 w 9107476"/>
              <a:gd name="connsiteY4" fmla="*/ 596365 h 3599192"/>
              <a:gd name="connsiteX5" fmla="*/ 1684870 w 9107476"/>
              <a:gd name="connsiteY5" fmla="*/ 528837 h 3599192"/>
              <a:gd name="connsiteX6" fmla="*/ 7627715 w 9107476"/>
              <a:gd name="connsiteY6" fmla="*/ 100399 h 3599192"/>
              <a:gd name="connsiteX7" fmla="*/ 7682494 w 9107476"/>
              <a:gd name="connsiteY7" fmla="*/ 115461 h 3599192"/>
              <a:gd name="connsiteX8" fmla="*/ 7545267 w 9107476"/>
              <a:gd name="connsiteY8" fmla="*/ 146350 h 3599192"/>
              <a:gd name="connsiteX9" fmla="*/ 7547921 w 9107476"/>
              <a:gd name="connsiteY9" fmla="*/ 159362 h 3599192"/>
              <a:gd name="connsiteX10" fmla="*/ 7668655 w 9107476"/>
              <a:gd name="connsiteY10" fmla="*/ 167110 h 3599192"/>
              <a:gd name="connsiteX11" fmla="*/ 7669771 w 9107476"/>
              <a:gd name="connsiteY11" fmla="*/ 185861 h 3599192"/>
              <a:gd name="connsiteX12" fmla="*/ 7275700 w 9107476"/>
              <a:gd name="connsiteY12" fmla="*/ 258640 h 3599192"/>
              <a:gd name="connsiteX13" fmla="*/ 7296235 w 9107476"/>
              <a:gd name="connsiteY13" fmla="*/ 319499 h 3599192"/>
              <a:gd name="connsiteX14" fmla="*/ 7148245 w 9107476"/>
              <a:gd name="connsiteY14" fmla="*/ 390558 h 3599192"/>
              <a:gd name="connsiteX15" fmla="*/ 7105486 w 9107476"/>
              <a:gd name="connsiteY15" fmla="*/ 366799 h 3599192"/>
              <a:gd name="connsiteX16" fmla="*/ 6960572 w 9107476"/>
              <a:gd name="connsiteY16" fmla="*/ 426380 h 3599192"/>
              <a:gd name="connsiteX17" fmla="*/ 6828800 w 9107476"/>
              <a:gd name="connsiteY17" fmla="*/ 391072 h 3599192"/>
              <a:gd name="connsiteX18" fmla="*/ 6634133 w 9107476"/>
              <a:gd name="connsiteY18" fmla="*/ 498831 h 3599192"/>
              <a:gd name="connsiteX19" fmla="*/ 6648245 w 9107476"/>
              <a:gd name="connsiteY19" fmla="*/ 514913 h 3599192"/>
              <a:gd name="connsiteX20" fmla="*/ 7012407 w 9107476"/>
              <a:gd name="connsiteY20" fmla="*/ 507928 h 3599192"/>
              <a:gd name="connsiteX21" fmla="*/ 7365953 w 9107476"/>
              <a:gd name="connsiteY21" fmla="*/ 448893 h 3599192"/>
              <a:gd name="connsiteX22" fmla="*/ 7608959 w 9107476"/>
              <a:gd name="connsiteY22" fmla="*/ 458650 h 3599192"/>
              <a:gd name="connsiteX23" fmla="*/ 7890952 w 9107476"/>
              <a:gd name="connsiteY23" fmla="*/ 460401 h 3599192"/>
              <a:gd name="connsiteX24" fmla="*/ 7664143 w 9107476"/>
              <a:gd name="connsiteY24" fmla="*/ 596450 h 3599192"/>
              <a:gd name="connsiteX25" fmla="*/ 7593707 w 9107476"/>
              <a:gd name="connsiteY25" fmla="*/ 675988 h 3599192"/>
              <a:gd name="connsiteX26" fmla="*/ 7454669 w 9107476"/>
              <a:gd name="connsiteY26" fmla="*/ 644884 h 3599192"/>
              <a:gd name="connsiteX27" fmla="*/ 7366351 w 9107476"/>
              <a:gd name="connsiteY27" fmla="*/ 676575 h 3599192"/>
              <a:gd name="connsiteX28" fmla="*/ 7031951 w 9107476"/>
              <a:gd name="connsiteY28" fmla="*/ 709987 h 3599192"/>
              <a:gd name="connsiteX29" fmla="*/ 6648644 w 9107476"/>
              <a:gd name="connsiteY29" fmla="*/ 742595 h 3599192"/>
              <a:gd name="connsiteX30" fmla="*/ 6655066 w 9107476"/>
              <a:gd name="connsiteY30" fmla="*/ 787371 h 3599192"/>
              <a:gd name="connsiteX31" fmla="*/ 7048717 w 9107476"/>
              <a:gd name="connsiteY31" fmla="*/ 739082 h 3599192"/>
              <a:gd name="connsiteX32" fmla="*/ 7182447 w 9107476"/>
              <a:gd name="connsiteY32" fmla="*/ 744162 h 3599192"/>
              <a:gd name="connsiteX33" fmla="*/ 7593707 w 9107476"/>
              <a:gd name="connsiteY33" fmla="*/ 675988 h 3599192"/>
              <a:gd name="connsiteX34" fmla="*/ 8015581 w 9107476"/>
              <a:gd name="connsiteY34" fmla="*/ 659864 h 3599192"/>
              <a:gd name="connsiteX35" fmla="*/ 8015159 w 9107476"/>
              <a:gd name="connsiteY35" fmla="*/ 684354 h 3599192"/>
              <a:gd name="connsiteX36" fmla="*/ 7859208 w 9107476"/>
              <a:gd name="connsiteY36" fmla="*/ 716375 h 3599192"/>
              <a:gd name="connsiteX37" fmla="*/ 7943608 w 9107476"/>
              <a:gd name="connsiteY37" fmla="*/ 745140 h 3599192"/>
              <a:gd name="connsiteX38" fmla="*/ 7948915 w 9107476"/>
              <a:gd name="connsiteY38" fmla="*/ 771166 h 3599192"/>
              <a:gd name="connsiteX39" fmla="*/ 7434382 w 9107476"/>
              <a:gd name="connsiteY39" fmla="*/ 903928 h 3599192"/>
              <a:gd name="connsiteX40" fmla="*/ 7437036 w 9107476"/>
              <a:gd name="connsiteY40" fmla="*/ 916941 h 3599192"/>
              <a:gd name="connsiteX41" fmla="*/ 7651818 w 9107476"/>
              <a:gd name="connsiteY41" fmla="*/ 894532 h 3599192"/>
              <a:gd name="connsiteX42" fmla="*/ 7568658 w 9107476"/>
              <a:gd name="connsiteY42" fmla="*/ 1044470 h 3599192"/>
              <a:gd name="connsiteX43" fmla="*/ 7397204 w 9107476"/>
              <a:gd name="connsiteY43" fmla="*/ 973926 h 3599192"/>
              <a:gd name="connsiteX44" fmla="*/ 6580267 w 9107476"/>
              <a:gd name="connsiteY44" fmla="*/ 1204029 h 3599192"/>
              <a:gd name="connsiteX45" fmla="*/ 6554275 w 9107476"/>
              <a:gd name="connsiteY45" fmla="*/ 1209366 h 3599192"/>
              <a:gd name="connsiteX46" fmla="*/ 6155590 w 9107476"/>
              <a:gd name="connsiteY46" fmla="*/ 1299361 h 3599192"/>
              <a:gd name="connsiteX47" fmla="*/ 6117718 w 9107476"/>
              <a:gd name="connsiteY47" fmla="*/ 1326118 h 3599192"/>
              <a:gd name="connsiteX48" fmla="*/ 5957847 w 9107476"/>
              <a:gd name="connsiteY48" fmla="*/ 1418596 h 3599192"/>
              <a:gd name="connsiteX49" fmla="*/ 6136568 w 9107476"/>
              <a:gd name="connsiteY49" fmla="*/ 1484936 h 3599192"/>
              <a:gd name="connsiteX50" fmla="*/ 6060130 w 9107476"/>
              <a:gd name="connsiteY50" fmla="*/ 1495208 h 3599192"/>
              <a:gd name="connsiteX51" fmla="*/ 6056633 w 9107476"/>
              <a:gd name="connsiteY51" fmla="*/ 1531175 h 3599192"/>
              <a:gd name="connsiteX52" fmla="*/ 6376772 w 9107476"/>
              <a:gd name="connsiteY52" fmla="*/ 1573902 h 3599192"/>
              <a:gd name="connsiteX53" fmla="*/ 6823522 w 9107476"/>
              <a:gd name="connsiteY53" fmla="*/ 1533689 h 3599192"/>
              <a:gd name="connsiteX54" fmla="*/ 6891156 w 9107476"/>
              <a:gd name="connsiteY54" fmla="*/ 1533360 h 3599192"/>
              <a:gd name="connsiteX55" fmla="*/ 7069752 w 9107476"/>
              <a:gd name="connsiteY55" fmla="*/ 1439748 h 3599192"/>
              <a:gd name="connsiteX56" fmla="*/ 7026993 w 9107476"/>
              <a:gd name="connsiteY56" fmla="*/ 1415990 h 3599192"/>
              <a:gd name="connsiteX57" fmla="*/ 7106508 w 9107476"/>
              <a:gd name="connsiteY57" fmla="*/ 1394241 h 3599192"/>
              <a:gd name="connsiteX58" fmla="*/ 8290782 w 9107476"/>
              <a:gd name="connsiteY58" fmla="*/ 1557798 h 3599192"/>
              <a:gd name="connsiteX59" fmla="*/ 8673247 w 9107476"/>
              <a:gd name="connsiteY59" fmla="*/ 1574169 h 3599192"/>
              <a:gd name="connsiteX60" fmla="*/ 8789220 w 9107476"/>
              <a:gd name="connsiteY60" fmla="*/ 1691354 h 3599192"/>
              <a:gd name="connsiteX61" fmla="*/ 8655763 w 9107476"/>
              <a:gd name="connsiteY61" fmla="*/ 1754006 h 3599192"/>
              <a:gd name="connsiteX62" fmla="*/ 8641775 w 9107476"/>
              <a:gd name="connsiteY62" fmla="*/ 1897875 h 3599192"/>
              <a:gd name="connsiteX63" fmla="*/ 8678804 w 9107476"/>
              <a:gd name="connsiteY63" fmla="*/ 1920098 h 3599192"/>
              <a:gd name="connsiteX64" fmla="*/ 8557227 w 9107476"/>
              <a:gd name="connsiteY64" fmla="*/ 1961331 h 3599192"/>
              <a:gd name="connsiteX65" fmla="*/ 9077613 w 9107476"/>
              <a:gd name="connsiteY65" fmla="*/ 1990054 h 3599192"/>
              <a:gd name="connsiteX66" fmla="*/ 8957153 w 9107476"/>
              <a:gd name="connsiteY66" fmla="*/ 2050038 h 3599192"/>
              <a:gd name="connsiteX67" fmla="*/ 9014023 w 9107476"/>
              <a:gd name="connsiteY67" fmla="*/ 2089879 h 3599192"/>
              <a:gd name="connsiteX68" fmla="*/ 8944430 w 9107476"/>
              <a:gd name="connsiteY68" fmla="*/ 2120437 h 3599192"/>
              <a:gd name="connsiteX69" fmla="*/ 8734535 w 9107476"/>
              <a:gd name="connsiteY69" fmla="*/ 2193360 h 3599192"/>
              <a:gd name="connsiteX70" fmla="*/ 8712734 w 9107476"/>
              <a:gd name="connsiteY70" fmla="*/ 2205972 h 3599192"/>
              <a:gd name="connsiteX71" fmla="*/ 8478805 w 9107476"/>
              <a:gd name="connsiteY71" fmla="*/ 2254003 h 3599192"/>
              <a:gd name="connsiteX72" fmla="*/ 8320621 w 9107476"/>
              <a:gd name="connsiteY72" fmla="*/ 2248522 h 3599192"/>
              <a:gd name="connsiteX73" fmla="*/ 8288752 w 9107476"/>
              <a:gd name="connsiteY73" fmla="*/ 2344545 h 3599192"/>
              <a:gd name="connsiteX74" fmla="*/ 8222656 w 9107476"/>
              <a:gd name="connsiteY74" fmla="*/ 2339135 h 3599192"/>
              <a:gd name="connsiteX75" fmla="*/ 8320746 w 9107476"/>
              <a:gd name="connsiteY75" fmla="*/ 2408474 h 3599192"/>
              <a:gd name="connsiteX76" fmla="*/ 8138802 w 9107476"/>
              <a:gd name="connsiteY76" fmla="*/ 2445831 h 3599192"/>
              <a:gd name="connsiteX77" fmla="*/ 8168143 w 9107476"/>
              <a:gd name="connsiteY77" fmla="*/ 2496748 h 3599192"/>
              <a:gd name="connsiteX78" fmla="*/ 9099515 w 9107476"/>
              <a:gd name="connsiteY78" fmla="*/ 2389568 h 3599192"/>
              <a:gd name="connsiteX79" fmla="*/ 9107476 w 9107476"/>
              <a:gd name="connsiteY79" fmla="*/ 2428606 h 3599192"/>
              <a:gd name="connsiteX80" fmla="*/ 8974441 w 9107476"/>
              <a:gd name="connsiteY80" fmla="*/ 2466767 h 3599192"/>
              <a:gd name="connsiteX81" fmla="*/ 9038578 w 9107476"/>
              <a:gd name="connsiteY81" fmla="*/ 2502405 h 3599192"/>
              <a:gd name="connsiteX82" fmla="*/ 8857329 w 9107476"/>
              <a:gd name="connsiteY82" fmla="*/ 2583004 h 3599192"/>
              <a:gd name="connsiteX83" fmla="*/ 8899665 w 9107476"/>
              <a:gd name="connsiteY83" fmla="*/ 2631252 h 3599192"/>
              <a:gd name="connsiteX84" fmla="*/ 8658048 w 9107476"/>
              <a:gd name="connsiteY84" fmla="*/ 2707977 h 3599192"/>
              <a:gd name="connsiteX85" fmla="*/ 8155521 w 9107476"/>
              <a:gd name="connsiteY85" fmla="*/ 2979272 h 3599192"/>
              <a:gd name="connsiteX86" fmla="*/ 7609813 w 9107476"/>
              <a:gd name="connsiteY86" fmla="*/ 3251297 h 3599192"/>
              <a:gd name="connsiteX87" fmla="*/ 7149075 w 9107476"/>
              <a:gd name="connsiteY87" fmla="*/ 3435379 h 3599192"/>
              <a:gd name="connsiteX88" fmla="*/ 6812716 w 9107476"/>
              <a:gd name="connsiteY88" fmla="*/ 3499019 h 3599192"/>
              <a:gd name="connsiteX89" fmla="*/ 5871844 w 9107476"/>
              <a:gd name="connsiteY89" fmla="*/ 3572900 h 3599192"/>
              <a:gd name="connsiteX90" fmla="*/ 5414057 w 9107476"/>
              <a:gd name="connsiteY90" fmla="*/ 3585552 h 3599192"/>
              <a:gd name="connsiteX91" fmla="*/ 5284245 w 9107476"/>
              <a:gd name="connsiteY91" fmla="*/ 3520015 h 3599192"/>
              <a:gd name="connsiteX92" fmla="*/ 5180971 w 9107476"/>
              <a:gd name="connsiteY92" fmla="*/ 3584604 h 3599192"/>
              <a:gd name="connsiteX93" fmla="*/ 4845878 w 9107476"/>
              <a:gd name="connsiteY93" fmla="*/ 3574775 h 3599192"/>
              <a:gd name="connsiteX94" fmla="*/ 4360560 w 9107476"/>
              <a:gd name="connsiteY94" fmla="*/ 3598502 h 3599192"/>
              <a:gd name="connsiteX95" fmla="*/ 3757311 w 9107476"/>
              <a:gd name="connsiteY95" fmla="*/ 3535274 h 3599192"/>
              <a:gd name="connsiteX96" fmla="*/ 3648731 w 9107476"/>
              <a:gd name="connsiteY96" fmla="*/ 3573837 h 3599192"/>
              <a:gd name="connsiteX97" fmla="*/ 3586130 w 9107476"/>
              <a:gd name="connsiteY97" fmla="*/ 3532461 h 3599192"/>
              <a:gd name="connsiteX98" fmla="*/ 3045903 w 9107476"/>
              <a:gd name="connsiteY98" fmla="*/ 3486119 h 3599192"/>
              <a:gd name="connsiteX99" fmla="*/ 1762000 w 9107476"/>
              <a:gd name="connsiteY99" fmla="*/ 3258961 h 3599192"/>
              <a:gd name="connsiteX100" fmla="*/ 1634420 w 9107476"/>
              <a:gd name="connsiteY100" fmla="*/ 3230927 h 3599192"/>
              <a:gd name="connsiteX101" fmla="*/ 1684023 w 9107476"/>
              <a:gd name="connsiteY101" fmla="*/ 3274972 h 3599192"/>
              <a:gd name="connsiteX102" fmla="*/ 1381493 w 9107476"/>
              <a:gd name="connsiteY102" fmla="*/ 3212361 h 3599192"/>
              <a:gd name="connsiteX103" fmla="*/ 1378418 w 9107476"/>
              <a:gd name="connsiteY103" fmla="*/ 3223839 h 3599192"/>
              <a:gd name="connsiteX104" fmla="*/ 1524301 w 9107476"/>
              <a:gd name="connsiteY104" fmla="*/ 3275229 h 3599192"/>
              <a:gd name="connsiteX105" fmla="*/ 1519688 w 9107476"/>
              <a:gd name="connsiteY105" fmla="*/ 3292445 h 3599192"/>
              <a:gd name="connsiteX106" fmla="*/ 1227500 w 9107476"/>
              <a:gd name="connsiteY106" fmla="*/ 3214154 h 3599192"/>
              <a:gd name="connsiteX107" fmla="*/ 758701 w 9107476"/>
              <a:gd name="connsiteY107" fmla="*/ 2947073 h 3599192"/>
              <a:gd name="connsiteX108" fmla="*/ 277450 w 9107476"/>
              <a:gd name="connsiteY108" fmla="*/ 2818122 h 3599192"/>
              <a:gd name="connsiteX109" fmla="*/ 159791 w 9107476"/>
              <a:gd name="connsiteY109" fmla="*/ 2798898 h 3599192"/>
              <a:gd name="connsiteX110" fmla="*/ 279409 w 9107476"/>
              <a:gd name="connsiteY110" fmla="*/ 2787894 h 3599192"/>
              <a:gd name="connsiteX111" fmla="*/ 122068 w 9107476"/>
              <a:gd name="connsiteY111" fmla="*/ 2733433 h 3599192"/>
              <a:gd name="connsiteX112" fmla="*/ 529136 w 9107476"/>
              <a:gd name="connsiteY112" fmla="*/ 2657986 h 3599192"/>
              <a:gd name="connsiteX113" fmla="*/ 460807 w 9107476"/>
              <a:gd name="connsiteY113" fmla="*/ 2615074 h 3599192"/>
              <a:gd name="connsiteX114" fmla="*/ 401705 w 9107476"/>
              <a:gd name="connsiteY114" fmla="*/ 2537731 h 3599192"/>
              <a:gd name="connsiteX115" fmla="*/ 291462 w 9107476"/>
              <a:gd name="connsiteY115" fmla="*/ 2422081 h 3599192"/>
              <a:gd name="connsiteX116" fmla="*/ 197836 w 9107476"/>
              <a:gd name="connsiteY116" fmla="*/ 2427748 h 3599192"/>
              <a:gd name="connsiteX117" fmla="*/ 94289 w 9107476"/>
              <a:gd name="connsiteY117" fmla="*/ 2424605 h 3599192"/>
              <a:gd name="connsiteX118" fmla="*/ 154259 w 9107476"/>
              <a:gd name="connsiteY118" fmla="*/ 2200796 h 3599192"/>
              <a:gd name="connsiteX119" fmla="*/ 310086 w 9107476"/>
              <a:gd name="connsiteY119" fmla="*/ 2008824 h 3599192"/>
              <a:gd name="connsiteX120" fmla="*/ 243295 w 9107476"/>
              <a:gd name="connsiteY120" fmla="*/ 1960173 h 3599192"/>
              <a:gd name="connsiteX121" fmla="*/ 296817 w 9107476"/>
              <a:gd name="connsiteY121" fmla="*/ 1943761 h 3599192"/>
              <a:gd name="connsiteX122" fmla="*/ 249172 w 9107476"/>
              <a:gd name="connsiteY122" fmla="*/ 1869487 h 3599192"/>
              <a:gd name="connsiteX123" fmla="*/ 383746 w 9107476"/>
              <a:gd name="connsiteY123" fmla="*/ 1825588 h 3599192"/>
              <a:gd name="connsiteX124" fmla="*/ 400512 w 9107476"/>
              <a:gd name="connsiteY124" fmla="*/ 1854682 h 3599192"/>
              <a:gd name="connsiteX125" fmla="*/ 534227 w 9107476"/>
              <a:gd name="connsiteY125" fmla="*/ 1839768 h 3599192"/>
              <a:gd name="connsiteX126" fmla="*/ 589790 w 9107476"/>
              <a:gd name="connsiteY126" fmla="*/ 1831891 h 3599192"/>
              <a:gd name="connsiteX127" fmla="*/ 531755 w 9107476"/>
              <a:gd name="connsiteY127" fmla="*/ 1767118 h 3599192"/>
              <a:gd name="connsiteX128" fmla="*/ 442176 w 9107476"/>
              <a:gd name="connsiteY128" fmla="*/ 1548449 h 3599192"/>
              <a:gd name="connsiteX129" fmla="*/ 22345 w 9107476"/>
              <a:gd name="connsiteY129" fmla="*/ 1272751 h 3599192"/>
              <a:gd name="connsiteX130" fmla="*/ 252204 w 9107476"/>
              <a:gd name="connsiteY130" fmla="*/ 1236983 h 3599192"/>
              <a:gd name="connsiteX131" fmla="*/ 246710 w 9107476"/>
              <a:gd name="connsiteY131" fmla="*/ 1218433 h 3599192"/>
              <a:gd name="connsiteX132" fmla="*/ 0 w 9107476"/>
              <a:gd name="connsiteY132" fmla="*/ 1181583 h 3599192"/>
              <a:gd name="connsiteX133" fmla="*/ 511706 w 9107476"/>
              <a:gd name="connsiteY133" fmla="*/ 850820 h 3599192"/>
              <a:gd name="connsiteX134" fmla="*/ 1039883 w 9107476"/>
              <a:gd name="connsiteY134" fmla="*/ 724229 h 3599192"/>
              <a:gd name="connsiteX135" fmla="*/ 1502643 w 9107476"/>
              <a:gd name="connsiteY135" fmla="*/ 631615 h 3599192"/>
              <a:gd name="connsiteX136" fmla="*/ 1502193 w 9107476"/>
              <a:gd name="connsiteY136" fmla="*/ 630654 h 3599192"/>
              <a:gd name="connsiteX137" fmla="*/ 1532525 w 9107476"/>
              <a:gd name="connsiteY137" fmla="*/ 540370 h 3599192"/>
              <a:gd name="connsiteX138" fmla="*/ 1514097 w 9107476"/>
              <a:gd name="connsiteY138" fmla="*/ 357061 h 3599192"/>
              <a:gd name="connsiteX139" fmla="*/ 1788278 w 9107476"/>
              <a:gd name="connsiteY139" fmla="*/ 227555 h 3599192"/>
              <a:gd name="connsiteX140" fmla="*/ 2653555 w 9107476"/>
              <a:gd name="connsiteY140" fmla="*/ 114965 h 3599192"/>
              <a:gd name="connsiteX141" fmla="*/ 3509183 w 9107476"/>
              <a:gd name="connsiteY141" fmla="*/ 61299 h 3599192"/>
              <a:gd name="connsiteX142" fmla="*/ 5741945 w 9107476"/>
              <a:gd name="connsiteY142" fmla="*/ 1439 h 3599192"/>
              <a:gd name="connsiteX143" fmla="*/ 6295590 w 9107476"/>
              <a:gd name="connsiteY143" fmla="*/ 20624 h 3599192"/>
              <a:gd name="connsiteX144" fmla="*/ 6791101 w 9107476"/>
              <a:gd name="connsiteY144" fmla="*/ 73436 h 3599192"/>
              <a:gd name="connsiteX145" fmla="*/ 7462827 w 9107476"/>
              <a:gd name="connsiteY145" fmla="*/ 87356 h 3599192"/>
              <a:gd name="connsiteX146" fmla="*/ 7627715 w 9107476"/>
              <a:gd name="connsiteY146" fmla="*/ 100399 h 359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9107476" h="3599192">
                <a:moveTo>
                  <a:pt x="1684870" y="528837"/>
                </a:moveTo>
                <a:cubicBezTo>
                  <a:pt x="1668502" y="518084"/>
                  <a:pt x="1639898" y="540693"/>
                  <a:pt x="1624613" y="540441"/>
                </a:cubicBezTo>
                <a:lnTo>
                  <a:pt x="1633320" y="607833"/>
                </a:lnTo>
                <a:lnTo>
                  <a:pt x="1696368" y="597646"/>
                </a:lnTo>
                <a:lnTo>
                  <a:pt x="1695595" y="596365"/>
                </a:lnTo>
                <a:cubicBezTo>
                  <a:pt x="1700106" y="553750"/>
                  <a:pt x="1694691" y="535289"/>
                  <a:pt x="1684870" y="528837"/>
                </a:cubicBezTo>
                <a:close/>
                <a:moveTo>
                  <a:pt x="7627715" y="100399"/>
                </a:moveTo>
                <a:cubicBezTo>
                  <a:pt x="7645997" y="104145"/>
                  <a:pt x="7664258" y="109038"/>
                  <a:pt x="7682494" y="115461"/>
                </a:cubicBezTo>
                <a:cubicBezTo>
                  <a:pt x="7637777" y="121932"/>
                  <a:pt x="7591522" y="134141"/>
                  <a:pt x="7545267" y="146350"/>
                </a:cubicBezTo>
                <a:cubicBezTo>
                  <a:pt x="7543729" y="152088"/>
                  <a:pt x="7543729" y="152088"/>
                  <a:pt x="7547921" y="159362"/>
                </a:cubicBezTo>
                <a:cubicBezTo>
                  <a:pt x="7583834" y="162834"/>
                  <a:pt x="7627013" y="162103"/>
                  <a:pt x="7668655" y="167110"/>
                </a:cubicBezTo>
                <a:cubicBezTo>
                  <a:pt x="7667117" y="172849"/>
                  <a:pt x="7665580" y="178588"/>
                  <a:pt x="7669771" y="185861"/>
                </a:cubicBezTo>
                <a:cubicBezTo>
                  <a:pt x="7541349" y="206807"/>
                  <a:pt x="7405659" y="231956"/>
                  <a:pt x="7275700" y="258640"/>
                </a:cubicBezTo>
                <a:cubicBezTo>
                  <a:pt x="7285198" y="291939"/>
                  <a:pt x="7293582" y="306486"/>
                  <a:pt x="7296235" y="319499"/>
                </a:cubicBezTo>
                <a:cubicBezTo>
                  <a:pt x="7248442" y="337447"/>
                  <a:pt x="7212108" y="358465"/>
                  <a:pt x="7148245" y="390558"/>
                </a:cubicBezTo>
                <a:cubicBezTo>
                  <a:pt x="7142515" y="389023"/>
                  <a:pt x="7109678" y="374074"/>
                  <a:pt x="7105486" y="366799"/>
                </a:cubicBezTo>
                <a:cubicBezTo>
                  <a:pt x="7043160" y="393154"/>
                  <a:pt x="7005289" y="419911"/>
                  <a:pt x="6960572" y="426380"/>
                </a:cubicBezTo>
                <a:cubicBezTo>
                  <a:pt x="6917392" y="427113"/>
                  <a:pt x="6874634" y="403354"/>
                  <a:pt x="6828800" y="391072"/>
                </a:cubicBezTo>
                <a:cubicBezTo>
                  <a:pt x="6770665" y="424701"/>
                  <a:pt x="6705264" y="462533"/>
                  <a:pt x="6634133" y="498831"/>
                </a:cubicBezTo>
                <a:cubicBezTo>
                  <a:pt x="6638324" y="506104"/>
                  <a:pt x="6644054" y="507640"/>
                  <a:pt x="6648245" y="514913"/>
                </a:cubicBezTo>
                <a:cubicBezTo>
                  <a:pt x="6772054" y="511183"/>
                  <a:pt x="6892789" y="518932"/>
                  <a:pt x="7012407" y="507928"/>
                </a:cubicBezTo>
                <a:cubicBezTo>
                  <a:pt x="7132025" y="496924"/>
                  <a:pt x="7246335" y="459897"/>
                  <a:pt x="7365953" y="448893"/>
                </a:cubicBezTo>
                <a:cubicBezTo>
                  <a:pt x="7448120" y="440156"/>
                  <a:pt x="7529866" y="455909"/>
                  <a:pt x="7608959" y="458650"/>
                </a:cubicBezTo>
                <a:cubicBezTo>
                  <a:pt x="7706776" y="460257"/>
                  <a:pt x="7798864" y="460329"/>
                  <a:pt x="7890952" y="460401"/>
                </a:cubicBezTo>
                <a:cubicBezTo>
                  <a:pt x="7870120" y="583984"/>
                  <a:pt x="7791722" y="624484"/>
                  <a:pt x="7664143" y="596450"/>
                </a:cubicBezTo>
                <a:cubicBezTo>
                  <a:pt x="7646955" y="591845"/>
                  <a:pt x="7612853" y="650364"/>
                  <a:pt x="7593707" y="675988"/>
                </a:cubicBezTo>
                <a:cubicBezTo>
                  <a:pt x="7554445" y="616262"/>
                  <a:pt x="7502462" y="626936"/>
                  <a:pt x="7454669" y="644884"/>
                </a:cubicBezTo>
                <a:cubicBezTo>
                  <a:pt x="7427139" y="655959"/>
                  <a:pt x="7398072" y="672774"/>
                  <a:pt x="7366351" y="676575"/>
                </a:cubicBezTo>
                <a:cubicBezTo>
                  <a:pt x="7252462" y="689114"/>
                  <a:pt x="7140111" y="695914"/>
                  <a:pt x="7031951" y="709987"/>
                </a:cubicBezTo>
                <a:cubicBezTo>
                  <a:pt x="6898643" y="680418"/>
                  <a:pt x="6772874" y="714376"/>
                  <a:pt x="6648644" y="742595"/>
                </a:cubicBezTo>
                <a:cubicBezTo>
                  <a:pt x="6651297" y="755608"/>
                  <a:pt x="6652413" y="774359"/>
                  <a:pt x="6655066" y="787371"/>
                </a:cubicBezTo>
                <a:cubicBezTo>
                  <a:pt x="6781952" y="772165"/>
                  <a:pt x="6916104" y="752754"/>
                  <a:pt x="7048717" y="739082"/>
                </a:cubicBezTo>
                <a:cubicBezTo>
                  <a:pt x="7091897" y="738351"/>
                  <a:pt x="7137730" y="750632"/>
                  <a:pt x="7182447" y="744162"/>
                </a:cubicBezTo>
                <a:cubicBezTo>
                  <a:pt x="7322328" y="726286"/>
                  <a:pt x="7458017" y="701137"/>
                  <a:pt x="7593707" y="675988"/>
                </a:cubicBezTo>
                <a:cubicBezTo>
                  <a:pt x="7730512" y="669590"/>
                  <a:pt x="7873047" y="664727"/>
                  <a:pt x="8015581" y="659864"/>
                </a:cubicBezTo>
                <a:cubicBezTo>
                  <a:pt x="8014043" y="665603"/>
                  <a:pt x="8016697" y="678616"/>
                  <a:pt x="8015159" y="684354"/>
                </a:cubicBezTo>
                <a:cubicBezTo>
                  <a:pt x="7968904" y="696562"/>
                  <a:pt x="7929917" y="704569"/>
                  <a:pt x="7859208" y="716375"/>
                </a:cubicBezTo>
                <a:cubicBezTo>
                  <a:pt x="7897774" y="732859"/>
                  <a:pt x="7920691" y="739000"/>
                  <a:pt x="7943608" y="745140"/>
                </a:cubicBezTo>
                <a:cubicBezTo>
                  <a:pt x="7940532" y="756618"/>
                  <a:pt x="7944723" y="763892"/>
                  <a:pt x="7948915" y="771166"/>
                </a:cubicBezTo>
                <a:cubicBezTo>
                  <a:pt x="7776891" y="817333"/>
                  <a:pt x="7606405" y="857761"/>
                  <a:pt x="7434382" y="903928"/>
                </a:cubicBezTo>
                <a:cubicBezTo>
                  <a:pt x="7432844" y="909667"/>
                  <a:pt x="7437036" y="916941"/>
                  <a:pt x="7437036" y="916941"/>
                </a:cubicBezTo>
                <a:cubicBezTo>
                  <a:pt x="7506208" y="910872"/>
                  <a:pt x="7569650" y="903269"/>
                  <a:pt x="7651818" y="894532"/>
                </a:cubicBezTo>
                <a:cubicBezTo>
                  <a:pt x="7617716" y="953052"/>
                  <a:pt x="7593956" y="995891"/>
                  <a:pt x="7568658" y="1044470"/>
                </a:cubicBezTo>
                <a:cubicBezTo>
                  <a:pt x="7555117" y="911676"/>
                  <a:pt x="7476719" y="952176"/>
                  <a:pt x="7397204" y="973926"/>
                </a:cubicBezTo>
                <a:cubicBezTo>
                  <a:pt x="7123867" y="1054452"/>
                  <a:pt x="6852067" y="1129241"/>
                  <a:pt x="6580267" y="1204029"/>
                </a:cubicBezTo>
                <a:cubicBezTo>
                  <a:pt x="6573000" y="1208233"/>
                  <a:pt x="6561541" y="1205162"/>
                  <a:pt x="6554275" y="1209366"/>
                </a:cubicBezTo>
                <a:cubicBezTo>
                  <a:pt x="6441775" y="1308387"/>
                  <a:pt x="6293933" y="1287224"/>
                  <a:pt x="6155590" y="1299361"/>
                </a:cubicBezTo>
                <a:cubicBezTo>
                  <a:pt x="6142594" y="1302029"/>
                  <a:pt x="6132252" y="1317711"/>
                  <a:pt x="6117718" y="1326118"/>
                </a:cubicBezTo>
                <a:cubicBezTo>
                  <a:pt x="6066850" y="1355543"/>
                  <a:pt x="6008715" y="1389171"/>
                  <a:pt x="5957847" y="1418596"/>
                </a:cubicBezTo>
                <a:cubicBezTo>
                  <a:pt x="6003680" y="1430877"/>
                  <a:pt x="6059435" y="1451967"/>
                  <a:pt x="6136568" y="1484936"/>
                </a:cubicBezTo>
                <a:cubicBezTo>
                  <a:pt x="6097580" y="1492941"/>
                  <a:pt x="6078854" y="1494075"/>
                  <a:pt x="6060130" y="1495208"/>
                </a:cubicBezTo>
                <a:cubicBezTo>
                  <a:pt x="6062783" y="1508221"/>
                  <a:pt x="6059708" y="1519698"/>
                  <a:pt x="6056633" y="1531175"/>
                </a:cubicBezTo>
                <a:cubicBezTo>
                  <a:pt x="6162833" y="1547330"/>
                  <a:pt x="6271687" y="1576497"/>
                  <a:pt x="6376772" y="1573902"/>
                </a:cubicBezTo>
                <a:cubicBezTo>
                  <a:pt x="6530764" y="1572109"/>
                  <a:pt x="6677913" y="1550029"/>
                  <a:pt x="6823522" y="1533689"/>
                </a:cubicBezTo>
                <a:cubicBezTo>
                  <a:pt x="6849514" y="1528353"/>
                  <a:pt x="6873968" y="1528754"/>
                  <a:pt x="6891156" y="1533360"/>
                </a:cubicBezTo>
                <a:cubicBezTo>
                  <a:pt x="6997356" y="1549515"/>
                  <a:pt x="7048224" y="1520090"/>
                  <a:pt x="7069752" y="1439748"/>
                </a:cubicBezTo>
                <a:cubicBezTo>
                  <a:pt x="7071290" y="1434010"/>
                  <a:pt x="7054102" y="1429404"/>
                  <a:pt x="7026993" y="1415990"/>
                </a:cubicBezTo>
                <a:cubicBezTo>
                  <a:pt x="7060253" y="1406450"/>
                  <a:pt x="7083591" y="1388100"/>
                  <a:pt x="7106508" y="1394241"/>
                </a:cubicBezTo>
                <a:cubicBezTo>
                  <a:pt x="7504201" y="1445446"/>
                  <a:pt x="7898818" y="1508128"/>
                  <a:pt x="8290782" y="1557798"/>
                </a:cubicBezTo>
                <a:cubicBezTo>
                  <a:pt x="8415708" y="1572821"/>
                  <a:pt x="8545246" y="1570626"/>
                  <a:pt x="8673247" y="1574169"/>
                </a:cubicBezTo>
                <a:cubicBezTo>
                  <a:pt x="8784061" y="1573109"/>
                  <a:pt x="8806556" y="1603739"/>
                  <a:pt x="8789220" y="1691354"/>
                </a:cubicBezTo>
                <a:cubicBezTo>
                  <a:pt x="8734160" y="1713506"/>
                  <a:pt x="8676448" y="1722644"/>
                  <a:pt x="8655763" y="1754006"/>
                </a:cubicBezTo>
                <a:cubicBezTo>
                  <a:pt x="8633540" y="1791107"/>
                  <a:pt x="8648348" y="1850431"/>
                  <a:pt x="8641775" y="1897875"/>
                </a:cubicBezTo>
                <a:cubicBezTo>
                  <a:pt x="8651695" y="1906684"/>
                  <a:pt x="8663154" y="1909754"/>
                  <a:pt x="8678804" y="1920098"/>
                </a:cubicBezTo>
                <a:cubicBezTo>
                  <a:pt x="8638279" y="1933843"/>
                  <a:pt x="8599291" y="1941848"/>
                  <a:pt x="8557227" y="1961331"/>
                </a:cubicBezTo>
                <a:cubicBezTo>
                  <a:pt x="8710650" y="2076248"/>
                  <a:pt x="8888130" y="1963886"/>
                  <a:pt x="9077613" y="1990054"/>
                </a:cubicBezTo>
                <a:cubicBezTo>
                  <a:pt x="9021016" y="2017944"/>
                  <a:pt x="8986220" y="2033224"/>
                  <a:pt x="8957153" y="2050038"/>
                </a:cubicBezTo>
                <a:cubicBezTo>
                  <a:pt x="8967073" y="2058846"/>
                  <a:pt x="8988453" y="2070726"/>
                  <a:pt x="9014023" y="2089879"/>
                </a:cubicBezTo>
                <a:cubicBezTo>
                  <a:pt x="8984956" y="2106693"/>
                  <a:pt x="8961617" y="2125043"/>
                  <a:pt x="8944430" y="2120437"/>
                </a:cubicBezTo>
                <a:cubicBezTo>
                  <a:pt x="8856954" y="2103149"/>
                  <a:pt x="8784707" y="2120695"/>
                  <a:pt x="8734535" y="2193360"/>
                </a:cubicBezTo>
                <a:cubicBezTo>
                  <a:pt x="8727267" y="2197564"/>
                  <a:pt x="8712734" y="2205972"/>
                  <a:pt x="8712734" y="2205972"/>
                </a:cubicBezTo>
                <a:cubicBezTo>
                  <a:pt x="8613527" y="2117882"/>
                  <a:pt x="8550358" y="2193216"/>
                  <a:pt x="8478805" y="2254003"/>
                </a:cubicBezTo>
                <a:cubicBezTo>
                  <a:pt x="8448200" y="2276556"/>
                  <a:pt x="8380989" y="2252395"/>
                  <a:pt x="8320621" y="2248522"/>
                </a:cubicBezTo>
                <a:cubicBezTo>
                  <a:pt x="8317546" y="2259999"/>
                  <a:pt x="8308320" y="2294432"/>
                  <a:pt x="8288752" y="2344545"/>
                </a:cubicBezTo>
                <a:cubicBezTo>
                  <a:pt x="8283022" y="2343009"/>
                  <a:pt x="8258569" y="2342608"/>
                  <a:pt x="8222656" y="2339135"/>
                </a:cubicBezTo>
                <a:cubicBezTo>
                  <a:pt x="8258147" y="2367097"/>
                  <a:pt x="8283717" y="2386251"/>
                  <a:pt x="8320746" y="2408474"/>
                </a:cubicBezTo>
                <a:cubicBezTo>
                  <a:pt x="8255767" y="2421816"/>
                  <a:pt x="8203782" y="2432490"/>
                  <a:pt x="8138802" y="2445831"/>
                </a:cubicBezTo>
                <a:cubicBezTo>
                  <a:pt x="8151376" y="2467653"/>
                  <a:pt x="8163951" y="2489474"/>
                  <a:pt x="8168143" y="2496748"/>
                </a:cubicBezTo>
                <a:cubicBezTo>
                  <a:pt x="8485354" y="2458731"/>
                  <a:pt x="8789570" y="2423382"/>
                  <a:pt x="9099515" y="2389568"/>
                </a:cubicBezTo>
                <a:cubicBezTo>
                  <a:pt x="9102168" y="2402581"/>
                  <a:pt x="9104823" y="2415593"/>
                  <a:pt x="9107476" y="2428606"/>
                </a:cubicBezTo>
                <a:cubicBezTo>
                  <a:pt x="9066950" y="2442350"/>
                  <a:pt x="9027963" y="2450355"/>
                  <a:pt x="8974441" y="2466767"/>
                </a:cubicBezTo>
                <a:cubicBezTo>
                  <a:pt x="8995820" y="2478647"/>
                  <a:pt x="9007278" y="2481717"/>
                  <a:pt x="9038578" y="2502405"/>
                </a:cubicBezTo>
                <a:cubicBezTo>
                  <a:pt x="8976251" y="2528760"/>
                  <a:pt x="8919654" y="2556650"/>
                  <a:pt x="8857329" y="2583004"/>
                </a:cubicBezTo>
                <a:cubicBezTo>
                  <a:pt x="8865711" y="2597552"/>
                  <a:pt x="8881361" y="2607896"/>
                  <a:pt x="8899665" y="2631252"/>
                </a:cubicBezTo>
                <a:cubicBezTo>
                  <a:pt x="8812885" y="2657205"/>
                  <a:pt x="8724988" y="2664407"/>
                  <a:pt x="8658048" y="2707977"/>
                </a:cubicBezTo>
                <a:cubicBezTo>
                  <a:pt x="8499294" y="2819207"/>
                  <a:pt x="8322657" y="2882590"/>
                  <a:pt x="8155521" y="2979272"/>
                </a:cubicBezTo>
                <a:cubicBezTo>
                  <a:pt x="7981116" y="3080157"/>
                  <a:pt x="7780025" y="3143138"/>
                  <a:pt x="7609813" y="3251297"/>
                </a:cubicBezTo>
                <a:cubicBezTo>
                  <a:pt x="7468667" y="3342643"/>
                  <a:pt x="7300140" y="3352842"/>
                  <a:pt x="7149075" y="3435379"/>
                </a:cubicBezTo>
                <a:cubicBezTo>
                  <a:pt x="7056143" y="3484286"/>
                  <a:pt x="6930796" y="3493754"/>
                  <a:pt x="6812716" y="3499019"/>
                </a:cubicBezTo>
                <a:cubicBezTo>
                  <a:pt x="6497042" y="3531298"/>
                  <a:pt x="6184442" y="3552099"/>
                  <a:pt x="5871844" y="3572900"/>
                </a:cubicBezTo>
                <a:cubicBezTo>
                  <a:pt x="5716313" y="3580431"/>
                  <a:pt x="5564975" y="3595237"/>
                  <a:pt x="5414057" y="3585552"/>
                </a:cubicBezTo>
                <a:cubicBezTo>
                  <a:pt x="5359418" y="3583213"/>
                  <a:pt x="5312891" y="3527691"/>
                  <a:pt x="5284245" y="3520015"/>
                </a:cubicBezTo>
                <a:cubicBezTo>
                  <a:pt x="5247911" y="3541034"/>
                  <a:pt x="5218422" y="3582338"/>
                  <a:pt x="5180971" y="3584604"/>
                </a:cubicBezTo>
                <a:cubicBezTo>
                  <a:pt x="5070158" y="3585666"/>
                  <a:pt x="4958228" y="3567975"/>
                  <a:pt x="4845878" y="3574775"/>
                </a:cubicBezTo>
                <a:cubicBezTo>
                  <a:pt x="4686156" y="3575033"/>
                  <a:pt x="4518744" y="3603983"/>
                  <a:pt x="4360560" y="3598502"/>
                </a:cubicBezTo>
                <a:cubicBezTo>
                  <a:pt x="4159196" y="3593753"/>
                  <a:pt x="3953219" y="3606219"/>
                  <a:pt x="3757311" y="3535274"/>
                </a:cubicBezTo>
                <a:cubicBezTo>
                  <a:pt x="3728666" y="3527598"/>
                  <a:pt x="3683527" y="3558558"/>
                  <a:pt x="3648731" y="3573837"/>
                </a:cubicBezTo>
                <a:cubicBezTo>
                  <a:pt x="3638809" y="3565028"/>
                  <a:pt x="3616315" y="3534398"/>
                  <a:pt x="3586130" y="3532461"/>
                </a:cubicBezTo>
                <a:cubicBezTo>
                  <a:pt x="3408105" y="3509362"/>
                  <a:pt x="3224350" y="3484728"/>
                  <a:pt x="3045903" y="3486119"/>
                </a:cubicBezTo>
                <a:cubicBezTo>
                  <a:pt x="2604188" y="3484625"/>
                  <a:pt x="2181767" y="3365287"/>
                  <a:pt x="1762000" y="3258961"/>
                </a:cubicBezTo>
                <a:cubicBezTo>
                  <a:pt x="1727624" y="3249750"/>
                  <a:pt x="1685982" y="3244743"/>
                  <a:pt x="1634420" y="3230927"/>
                </a:cubicBezTo>
                <a:cubicBezTo>
                  <a:pt x="1658453" y="3255819"/>
                  <a:pt x="1674103" y="3266163"/>
                  <a:pt x="1684023" y="3274972"/>
                </a:cubicBezTo>
                <a:cubicBezTo>
                  <a:pt x="1579361" y="3253078"/>
                  <a:pt x="1480427" y="3232720"/>
                  <a:pt x="1381493" y="3212361"/>
                </a:cubicBezTo>
                <a:cubicBezTo>
                  <a:pt x="1381493" y="3212361"/>
                  <a:pt x="1379956" y="3218099"/>
                  <a:pt x="1378418" y="3223839"/>
                </a:cubicBezTo>
                <a:cubicBezTo>
                  <a:pt x="1428443" y="3243394"/>
                  <a:pt x="1478468" y="3262948"/>
                  <a:pt x="1524301" y="3275229"/>
                </a:cubicBezTo>
                <a:cubicBezTo>
                  <a:pt x="1522763" y="3280968"/>
                  <a:pt x="1521225" y="3286706"/>
                  <a:pt x="1519688" y="3292445"/>
                </a:cubicBezTo>
                <a:cubicBezTo>
                  <a:pt x="1422292" y="3266348"/>
                  <a:pt x="1324896" y="3240251"/>
                  <a:pt x="1227500" y="3214154"/>
                </a:cubicBezTo>
                <a:cubicBezTo>
                  <a:pt x="1042630" y="3170768"/>
                  <a:pt x="891438" y="3093353"/>
                  <a:pt x="758701" y="2947073"/>
                </a:cubicBezTo>
                <a:cubicBezTo>
                  <a:pt x="634344" y="2815340"/>
                  <a:pt x="454781" y="2797980"/>
                  <a:pt x="277450" y="2818122"/>
                </a:cubicBezTo>
                <a:cubicBezTo>
                  <a:pt x="238462" y="2826128"/>
                  <a:pt x="202550" y="2822656"/>
                  <a:pt x="159791" y="2798898"/>
                </a:cubicBezTo>
                <a:cubicBezTo>
                  <a:pt x="189975" y="2800834"/>
                  <a:pt x="215967" y="2795497"/>
                  <a:pt x="279409" y="2787894"/>
                </a:cubicBezTo>
                <a:cubicBezTo>
                  <a:pt x="217927" y="2765269"/>
                  <a:pt x="183551" y="2756059"/>
                  <a:pt x="122068" y="2733433"/>
                </a:cubicBezTo>
                <a:cubicBezTo>
                  <a:pt x="260833" y="2696807"/>
                  <a:pt x="365223" y="2650969"/>
                  <a:pt x="529136" y="2657986"/>
                </a:cubicBezTo>
                <a:cubicBezTo>
                  <a:pt x="507757" y="2646107"/>
                  <a:pt x="480649" y="2632692"/>
                  <a:pt x="460807" y="2615074"/>
                </a:cubicBezTo>
                <a:cubicBezTo>
                  <a:pt x="436775" y="2590182"/>
                  <a:pt x="412742" y="2565290"/>
                  <a:pt x="401705" y="2537731"/>
                </a:cubicBezTo>
                <a:cubicBezTo>
                  <a:pt x="386477" y="2502896"/>
                  <a:pt x="321645" y="2424018"/>
                  <a:pt x="291462" y="2422081"/>
                </a:cubicBezTo>
                <a:cubicBezTo>
                  <a:pt x="261278" y="2420144"/>
                  <a:pt x="229557" y="2423946"/>
                  <a:pt x="197836" y="2427748"/>
                </a:cubicBezTo>
                <a:cubicBezTo>
                  <a:pt x="167652" y="2425811"/>
                  <a:pt x="137469" y="2423874"/>
                  <a:pt x="94289" y="2424605"/>
                </a:cubicBezTo>
                <a:cubicBezTo>
                  <a:pt x="115817" y="2344264"/>
                  <a:pt x="120156" y="2259317"/>
                  <a:pt x="154259" y="2200796"/>
                </a:cubicBezTo>
                <a:cubicBezTo>
                  <a:pt x="191436" y="2130799"/>
                  <a:pt x="255721" y="2074215"/>
                  <a:pt x="310086" y="2008824"/>
                </a:cubicBezTo>
                <a:cubicBezTo>
                  <a:pt x="304356" y="2007288"/>
                  <a:pt x="280324" y="1982396"/>
                  <a:pt x="243295" y="1960173"/>
                </a:cubicBezTo>
                <a:cubicBezTo>
                  <a:pt x="263558" y="1953302"/>
                  <a:pt x="276555" y="1950633"/>
                  <a:pt x="296817" y="1943761"/>
                </a:cubicBezTo>
                <a:cubicBezTo>
                  <a:pt x="284243" y="1921940"/>
                  <a:pt x="270131" y="1905857"/>
                  <a:pt x="249172" y="1869487"/>
                </a:cubicBezTo>
                <a:cubicBezTo>
                  <a:pt x="296965" y="1851540"/>
                  <a:pt x="337491" y="1837796"/>
                  <a:pt x="383746" y="1825588"/>
                </a:cubicBezTo>
                <a:cubicBezTo>
                  <a:pt x="385284" y="1819849"/>
                  <a:pt x="400512" y="1854682"/>
                  <a:pt x="400512" y="1854682"/>
                </a:cubicBezTo>
                <a:cubicBezTo>
                  <a:pt x="448094" y="1848980"/>
                  <a:pt x="493859" y="1844328"/>
                  <a:pt x="534227" y="1839768"/>
                </a:cubicBezTo>
                <a:lnTo>
                  <a:pt x="589790" y="1831891"/>
                </a:lnTo>
                <a:lnTo>
                  <a:pt x="531755" y="1767118"/>
                </a:lnTo>
                <a:cubicBezTo>
                  <a:pt x="465635" y="1690523"/>
                  <a:pt x="467317" y="1612391"/>
                  <a:pt x="442176" y="1548449"/>
                </a:cubicBezTo>
                <a:cubicBezTo>
                  <a:pt x="268018" y="1494674"/>
                  <a:pt x="115933" y="1442097"/>
                  <a:pt x="22345" y="1272751"/>
                </a:cubicBezTo>
                <a:cubicBezTo>
                  <a:pt x="105143" y="1258991"/>
                  <a:pt x="176113" y="1247196"/>
                  <a:pt x="252204" y="1236983"/>
                </a:cubicBezTo>
                <a:cubicBezTo>
                  <a:pt x="248666" y="1230273"/>
                  <a:pt x="250249" y="1225144"/>
                  <a:pt x="246710" y="1218433"/>
                </a:cubicBezTo>
                <a:cubicBezTo>
                  <a:pt x="165125" y="1210096"/>
                  <a:pt x="80002" y="1195048"/>
                  <a:pt x="0" y="1181583"/>
                </a:cubicBezTo>
                <a:cubicBezTo>
                  <a:pt x="92967" y="935008"/>
                  <a:pt x="310997" y="901206"/>
                  <a:pt x="511706" y="850820"/>
                </a:cubicBezTo>
                <a:cubicBezTo>
                  <a:pt x="687082" y="805252"/>
                  <a:pt x="863167" y="763063"/>
                  <a:pt x="1039883" y="724229"/>
                </a:cubicBezTo>
                <a:lnTo>
                  <a:pt x="1502643" y="631615"/>
                </a:lnTo>
                <a:lnTo>
                  <a:pt x="1502193" y="630654"/>
                </a:lnTo>
                <a:cubicBezTo>
                  <a:pt x="1496885" y="604628"/>
                  <a:pt x="1530565" y="570598"/>
                  <a:pt x="1532525" y="540370"/>
                </a:cubicBezTo>
                <a:cubicBezTo>
                  <a:pt x="1530714" y="478378"/>
                  <a:pt x="1490759" y="375411"/>
                  <a:pt x="1514097" y="357061"/>
                </a:cubicBezTo>
                <a:cubicBezTo>
                  <a:pt x="1592916" y="292071"/>
                  <a:pt x="1693114" y="238960"/>
                  <a:pt x="1788278" y="227555"/>
                </a:cubicBezTo>
                <a:cubicBezTo>
                  <a:pt x="2072652" y="174588"/>
                  <a:pt x="2363872" y="141908"/>
                  <a:pt x="2653555" y="114965"/>
                </a:cubicBezTo>
                <a:cubicBezTo>
                  <a:pt x="2935970" y="92227"/>
                  <a:pt x="3225653" y="65285"/>
                  <a:pt x="3509183" y="61299"/>
                </a:cubicBezTo>
                <a:cubicBezTo>
                  <a:pt x="4253577" y="33182"/>
                  <a:pt x="5000625" y="18078"/>
                  <a:pt x="5741945" y="1439"/>
                </a:cubicBezTo>
                <a:cubicBezTo>
                  <a:pt x="5927659" y="-4155"/>
                  <a:pt x="6108760" y="7467"/>
                  <a:pt x="6295590" y="20624"/>
                </a:cubicBezTo>
                <a:cubicBezTo>
                  <a:pt x="6457966" y="33378"/>
                  <a:pt x="6621458" y="64885"/>
                  <a:pt x="6791101" y="73436"/>
                </a:cubicBezTo>
                <a:cubicBezTo>
                  <a:pt x="7013844" y="90065"/>
                  <a:pt x="7237008" y="82204"/>
                  <a:pt x="7462827" y="87356"/>
                </a:cubicBezTo>
                <a:cubicBezTo>
                  <a:pt x="7517849" y="88259"/>
                  <a:pt x="7572871" y="89164"/>
                  <a:pt x="7627715" y="100399"/>
                </a:cubicBezTo>
                <a:close/>
              </a:path>
            </a:pathLst>
          </a:custGeom>
        </p:spPr>
      </p:sp>
    </p:spTree>
    <p:extLst>
      <p:ext uri="{BB962C8B-B14F-4D97-AF65-F5344CB8AC3E}">
        <p14:creationId xmlns:p14="http://schemas.microsoft.com/office/powerpoint/2010/main" val="2684216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2_Custom Layout">
    <p:spTree>
      <p:nvGrpSpPr>
        <p:cNvPr id="1" name=""/>
        <p:cNvGrpSpPr/>
        <p:nvPr/>
      </p:nvGrpSpPr>
      <p:grpSpPr>
        <a:xfrm>
          <a:off x="0" y="0"/>
          <a:ext cx="0" cy="0"/>
          <a:chOff x="0" y="0"/>
          <a:chExt cx="0" cy="0"/>
        </a:xfrm>
      </p:grpSpPr>
      <p:sp>
        <p:nvSpPr>
          <p:cNvPr id="22" name="Freeform 21"/>
          <p:cNvSpPr>
            <a:spLocks noGrp="1"/>
          </p:cNvSpPr>
          <p:nvPr>
            <p:ph type="pic" sz="quarter" idx="10"/>
          </p:nvPr>
        </p:nvSpPr>
        <p:spPr>
          <a:xfrm>
            <a:off x="4757980" y="2"/>
            <a:ext cx="7434020" cy="6819247"/>
          </a:xfrm>
          <a:custGeom>
            <a:avLst/>
            <a:gdLst>
              <a:gd name="connsiteX0" fmla="*/ 924732 w 7434020"/>
              <a:gd name="connsiteY0" fmla="*/ 6292305 h 6819247"/>
              <a:gd name="connsiteX1" fmla="*/ 7418522 w 7434020"/>
              <a:gd name="connsiteY1" fmla="*/ 6292305 h 6819247"/>
              <a:gd name="connsiteX2" fmla="*/ 7418522 w 7434020"/>
              <a:gd name="connsiteY2" fmla="*/ 6819247 h 6819247"/>
              <a:gd name="connsiteX3" fmla="*/ 924732 w 7434020"/>
              <a:gd name="connsiteY3" fmla="*/ 6819247 h 6819247"/>
              <a:gd name="connsiteX4" fmla="*/ 924732 w 7434020"/>
              <a:gd name="connsiteY4" fmla="*/ 5594882 h 6819247"/>
              <a:gd name="connsiteX5" fmla="*/ 7418522 w 7434020"/>
              <a:gd name="connsiteY5" fmla="*/ 5594882 h 6819247"/>
              <a:gd name="connsiteX6" fmla="*/ 7418522 w 7434020"/>
              <a:gd name="connsiteY6" fmla="*/ 6121824 h 6819247"/>
              <a:gd name="connsiteX7" fmla="*/ 924732 w 7434020"/>
              <a:gd name="connsiteY7" fmla="*/ 6121824 h 6819247"/>
              <a:gd name="connsiteX8" fmla="*/ 335796 w 7434020"/>
              <a:gd name="connsiteY8" fmla="*/ 4897459 h 6819247"/>
              <a:gd name="connsiteX9" fmla="*/ 1761640 w 7434020"/>
              <a:gd name="connsiteY9" fmla="*/ 4897459 h 6819247"/>
              <a:gd name="connsiteX10" fmla="*/ 6829586 w 7434020"/>
              <a:gd name="connsiteY10" fmla="*/ 4897459 h 6819247"/>
              <a:gd name="connsiteX11" fmla="*/ 7434020 w 7434020"/>
              <a:gd name="connsiteY11" fmla="*/ 4897459 h 6819247"/>
              <a:gd name="connsiteX12" fmla="*/ 7434020 w 7434020"/>
              <a:gd name="connsiteY12" fmla="*/ 5424401 h 6819247"/>
              <a:gd name="connsiteX13" fmla="*/ 6829586 w 7434020"/>
              <a:gd name="connsiteY13" fmla="*/ 5424401 h 6819247"/>
              <a:gd name="connsiteX14" fmla="*/ 1761640 w 7434020"/>
              <a:gd name="connsiteY14" fmla="*/ 5424401 h 6819247"/>
              <a:gd name="connsiteX15" fmla="*/ 335796 w 7434020"/>
              <a:gd name="connsiteY15" fmla="*/ 5424401 h 6819247"/>
              <a:gd name="connsiteX16" fmla="*/ 537274 w 7434020"/>
              <a:gd name="connsiteY16" fmla="*/ 4200036 h 6819247"/>
              <a:gd name="connsiteX17" fmla="*/ 7031064 w 7434020"/>
              <a:gd name="connsiteY17" fmla="*/ 4200036 h 6819247"/>
              <a:gd name="connsiteX18" fmla="*/ 7031064 w 7434020"/>
              <a:gd name="connsiteY18" fmla="*/ 4726978 h 6819247"/>
              <a:gd name="connsiteX19" fmla="*/ 537274 w 7434020"/>
              <a:gd name="connsiteY19" fmla="*/ 4726978 h 6819247"/>
              <a:gd name="connsiteX20" fmla="*/ 1338020 w 7434020"/>
              <a:gd name="connsiteY20" fmla="*/ 3502613 h 6819247"/>
              <a:gd name="connsiteX21" fmla="*/ 7434020 w 7434020"/>
              <a:gd name="connsiteY21" fmla="*/ 3502613 h 6819247"/>
              <a:gd name="connsiteX22" fmla="*/ 7434020 w 7434020"/>
              <a:gd name="connsiteY22" fmla="*/ 4029555 h 6819247"/>
              <a:gd name="connsiteX23" fmla="*/ 1338020 w 7434020"/>
              <a:gd name="connsiteY23" fmla="*/ 4029555 h 6819247"/>
              <a:gd name="connsiteX24" fmla="*/ 227308 w 7434020"/>
              <a:gd name="connsiteY24" fmla="*/ 2805190 h 6819247"/>
              <a:gd name="connsiteX25" fmla="*/ 940230 w 7434020"/>
              <a:gd name="connsiteY25" fmla="*/ 2805190 h 6819247"/>
              <a:gd name="connsiteX26" fmla="*/ 6721098 w 7434020"/>
              <a:gd name="connsiteY26" fmla="*/ 2805190 h 6819247"/>
              <a:gd name="connsiteX27" fmla="*/ 7434020 w 7434020"/>
              <a:gd name="connsiteY27" fmla="*/ 2805190 h 6819247"/>
              <a:gd name="connsiteX28" fmla="*/ 7434020 w 7434020"/>
              <a:gd name="connsiteY28" fmla="*/ 3332133 h 6819247"/>
              <a:gd name="connsiteX29" fmla="*/ 6721098 w 7434020"/>
              <a:gd name="connsiteY29" fmla="*/ 3332133 h 6819247"/>
              <a:gd name="connsiteX30" fmla="*/ 940230 w 7434020"/>
              <a:gd name="connsiteY30" fmla="*/ 3332133 h 6819247"/>
              <a:gd name="connsiteX31" fmla="*/ 227308 w 7434020"/>
              <a:gd name="connsiteY31" fmla="*/ 3332133 h 6819247"/>
              <a:gd name="connsiteX32" fmla="*/ 537274 w 7434020"/>
              <a:gd name="connsiteY32" fmla="*/ 2107767 h 6819247"/>
              <a:gd name="connsiteX33" fmla="*/ 7031064 w 7434020"/>
              <a:gd name="connsiteY33" fmla="*/ 2107767 h 6819247"/>
              <a:gd name="connsiteX34" fmla="*/ 7031064 w 7434020"/>
              <a:gd name="connsiteY34" fmla="*/ 2634709 h 6819247"/>
              <a:gd name="connsiteX35" fmla="*/ 537274 w 7434020"/>
              <a:gd name="connsiteY35" fmla="*/ 2634709 h 6819247"/>
              <a:gd name="connsiteX36" fmla="*/ 1157206 w 7434020"/>
              <a:gd name="connsiteY36" fmla="*/ 1410345 h 6819247"/>
              <a:gd name="connsiteX37" fmla="*/ 7434020 w 7434020"/>
              <a:gd name="connsiteY37" fmla="*/ 1410345 h 6819247"/>
              <a:gd name="connsiteX38" fmla="*/ 7434020 w 7434020"/>
              <a:gd name="connsiteY38" fmla="*/ 1937287 h 6819247"/>
              <a:gd name="connsiteX39" fmla="*/ 1157206 w 7434020"/>
              <a:gd name="connsiteY39" fmla="*/ 1937287 h 6819247"/>
              <a:gd name="connsiteX40" fmla="*/ 0 w 7434020"/>
              <a:gd name="connsiteY40" fmla="*/ 712922 h 6819247"/>
              <a:gd name="connsiteX41" fmla="*/ 940230 w 7434020"/>
              <a:gd name="connsiteY41" fmla="*/ 712922 h 6819247"/>
              <a:gd name="connsiteX42" fmla="*/ 7434020 w 7434020"/>
              <a:gd name="connsiteY42" fmla="*/ 712922 h 6819247"/>
              <a:gd name="connsiteX43" fmla="*/ 7434020 w 7434020"/>
              <a:gd name="connsiteY43" fmla="*/ 1239864 h 6819247"/>
              <a:gd name="connsiteX44" fmla="*/ 6493790 w 7434020"/>
              <a:gd name="connsiteY44" fmla="*/ 1239864 h 6819247"/>
              <a:gd name="connsiteX45" fmla="*/ 0 w 7434020"/>
              <a:gd name="connsiteY45" fmla="*/ 1239864 h 6819247"/>
              <a:gd name="connsiteX46" fmla="*/ 821410 w 7434020"/>
              <a:gd name="connsiteY46" fmla="*/ 0 h 6819247"/>
              <a:gd name="connsiteX47" fmla="*/ 7315200 w 7434020"/>
              <a:gd name="connsiteY47" fmla="*/ 0 h 6819247"/>
              <a:gd name="connsiteX48" fmla="*/ 7315200 w 7434020"/>
              <a:gd name="connsiteY48" fmla="*/ 526942 h 6819247"/>
              <a:gd name="connsiteX49" fmla="*/ 821410 w 7434020"/>
              <a:gd name="connsiteY49" fmla="*/ 526942 h 681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434020" h="6819247">
                <a:moveTo>
                  <a:pt x="924732" y="6292305"/>
                </a:moveTo>
                <a:lnTo>
                  <a:pt x="7418522" y="6292305"/>
                </a:lnTo>
                <a:lnTo>
                  <a:pt x="7418522" y="6819247"/>
                </a:lnTo>
                <a:lnTo>
                  <a:pt x="924732" y="6819247"/>
                </a:lnTo>
                <a:close/>
                <a:moveTo>
                  <a:pt x="924732" y="5594882"/>
                </a:moveTo>
                <a:lnTo>
                  <a:pt x="7418522" y="5594882"/>
                </a:lnTo>
                <a:lnTo>
                  <a:pt x="7418522" y="6121824"/>
                </a:lnTo>
                <a:lnTo>
                  <a:pt x="924732" y="6121824"/>
                </a:lnTo>
                <a:close/>
                <a:moveTo>
                  <a:pt x="335796" y="4897459"/>
                </a:moveTo>
                <a:lnTo>
                  <a:pt x="1761640" y="4897459"/>
                </a:lnTo>
                <a:lnTo>
                  <a:pt x="6829586" y="4897459"/>
                </a:lnTo>
                <a:lnTo>
                  <a:pt x="7434020" y="4897459"/>
                </a:lnTo>
                <a:lnTo>
                  <a:pt x="7434020" y="5424401"/>
                </a:lnTo>
                <a:lnTo>
                  <a:pt x="6829586" y="5424401"/>
                </a:lnTo>
                <a:lnTo>
                  <a:pt x="1761640" y="5424401"/>
                </a:lnTo>
                <a:lnTo>
                  <a:pt x="335796" y="5424401"/>
                </a:lnTo>
                <a:close/>
                <a:moveTo>
                  <a:pt x="537274" y="4200036"/>
                </a:moveTo>
                <a:lnTo>
                  <a:pt x="7031064" y="4200036"/>
                </a:lnTo>
                <a:lnTo>
                  <a:pt x="7031064" y="4726978"/>
                </a:lnTo>
                <a:lnTo>
                  <a:pt x="537274" y="4726978"/>
                </a:lnTo>
                <a:close/>
                <a:moveTo>
                  <a:pt x="1338020" y="3502613"/>
                </a:moveTo>
                <a:lnTo>
                  <a:pt x="7434020" y="3502613"/>
                </a:lnTo>
                <a:lnTo>
                  <a:pt x="7434020" y="4029555"/>
                </a:lnTo>
                <a:lnTo>
                  <a:pt x="1338020" y="4029555"/>
                </a:lnTo>
                <a:close/>
                <a:moveTo>
                  <a:pt x="227308" y="2805190"/>
                </a:moveTo>
                <a:lnTo>
                  <a:pt x="940230" y="2805190"/>
                </a:lnTo>
                <a:lnTo>
                  <a:pt x="6721098" y="2805190"/>
                </a:lnTo>
                <a:lnTo>
                  <a:pt x="7434020" y="2805190"/>
                </a:lnTo>
                <a:lnTo>
                  <a:pt x="7434020" y="3332133"/>
                </a:lnTo>
                <a:lnTo>
                  <a:pt x="6721098" y="3332133"/>
                </a:lnTo>
                <a:lnTo>
                  <a:pt x="940230" y="3332133"/>
                </a:lnTo>
                <a:lnTo>
                  <a:pt x="227308" y="3332133"/>
                </a:lnTo>
                <a:close/>
                <a:moveTo>
                  <a:pt x="537274" y="2107767"/>
                </a:moveTo>
                <a:lnTo>
                  <a:pt x="7031064" y="2107767"/>
                </a:lnTo>
                <a:lnTo>
                  <a:pt x="7031064" y="2634709"/>
                </a:lnTo>
                <a:lnTo>
                  <a:pt x="537274" y="2634709"/>
                </a:lnTo>
                <a:close/>
                <a:moveTo>
                  <a:pt x="1157206" y="1410345"/>
                </a:moveTo>
                <a:lnTo>
                  <a:pt x="7434020" y="1410345"/>
                </a:lnTo>
                <a:lnTo>
                  <a:pt x="7434020" y="1937287"/>
                </a:lnTo>
                <a:lnTo>
                  <a:pt x="1157206" y="1937287"/>
                </a:lnTo>
                <a:close/>
                <a:moveTo>
                  <a:pt x="0" y="712922"/>
                </a:moveTo>
                <a:lnTo>
                  <a:pt x="940230" y="712922"/>
                </a:lnTo>
                <a:lnTo>
                  <a:pt x="7434020" y="712922"/>
                </a:lnTo>
                <a:lnTo>
                  <a:pt x="7434020" y="1239864"/>
                </a:lnTo>
                <a:lnTo>
                  <a:pt x="6493790" y="1239864"/>
                </a:lnTo>
                <a:lnTo>
                  <a:pt x="0" y="1239864"/>
                </a:lnTo>
                <a:close/>
                <a:moveTo>
                  <a:pt x="821410" y="0"/>
                </a:moveTo>
                <a:lnTo>
                  <a:pt x="7315200" y="0"/>
                </a:lnTo>
                <a:lnTo>
                  <a:pt x="7315200" y="526942"/>
                </a:lnTo>
                <a:lnTo>
                  <a:pt x="821410" y="526942"/>
                </a:lnTo>
                <a:close/>
              </a:path>
            </a:pathLst>
          </a:custGeom>
        </p:spPr>
        <p:txBody>
          <a:bodyPr wrap="square">
            <a:noAutofit/>
          </a:bodyPr>
          <a:lstStyle/>
          <a:p>
            <a:endParaRPr lang="en-US"/>
          </a:p>
        </p:txBody>
      </p:sp>
    </p:spTree>
    <p:extLst>
      <p:ext uri="{BB962C8B-B14F-4D97-AF65-F5344CB8AC3E}">
        <p14:creationId xmlns:p14="http://schemas.microsoft.com/office/powerpoint/2010/main" val="3770589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2_Custom Layout">
    <p:spTree>
      <p:nvGrpSpPr>
        <p:cNvPr id="1" name=""/>
        <p:cNvGrpSpPr/>
        <p:nvPr/>
      </p:nvGrpSpPr>
      <p:grpSpPr>
        <a:xfrm>
          <a:off x="0" y="0"/>
          <a:ext cx="0" cy="0"/>
          <a:chOff x="0" y="0"/>
          <a:chExt cx="0" cy="0"/>
        </a:xfrm>
      </p:grpSpPr>
      <p:sp>
        <p:nvSpPr>
          <p:cNvPr id="5" name="Freeform 4"/>
          <p:cNvSpPr>
            <a:spLocks noGrp="1"/>
          </p:cNvSpPr>
          <p:nvPr>
            <p:ph type="pic" sz="quarter" idx="11"/>
          </p:nvPr>
        </p:nvSpPr>
        <p:spPr>
          <a:xfrm>
            <a:off x="-1150052" y="-533400"/>
            <a:ext cx="8872353" cy="7569200"/>
          </a:xfrm>
          <a:custGeom>
            <a:avLst/>
            <a:gdLst>
              <a:gd name="connsiteX0" fmla="*/ 7871349 w 8872353"/>
              <a:gd name="connsiteY0" fmla="*/ 3847293 h 7569200"/>
              <a:gd name="connsiteX1" fmla="*/ 7871349 w 8872353"/>
              <a:gd name="connsiteY1" fmla="*/ 3849566 h 7569200"/>
              <a:gd name="connsiteX2" fmla="*/ 7870478 w 8872353"/>
              <a:gd name="connsiteY2" fmla="*/ 3847968 h 7569200"/>
              <a:gd name="connsiteX3" fmla="*/ 5063358 w 8872353"/>
              <a:gd name="connsiteY3" fmla="*/ 3280595 h 7569200"/>
              <a:gd name="connsiteX4" fmla="*/ 5023651 w 8872353"/>
              <a:gd name="connsiteY4" fmla="*/ 3295561 h 7569200"/>
              <a:gd name="connsiteX5" fmla="*/ 4972569 w 8872353"/>
              <a:gd name="connsiteY5" fmla="*/ 3317750 h 7569200"/>
              <a:gd name="connsiteX6" fmla="*/ 4972345 w 8872353"/>
              <a:gd name="connsiteY6" fmla="*/ 3319922 h 7569200"/>
              <a:gd name="connsiteX7" fmla="*/ 5044688 w 8872353"/>
              <a:gd name="connsiteY7" fmla="*/ 3386412 h 7569200"/>
              <a:gd name="connsiteX8" fmla="*/ 5075321 w 8872353"/>
              <a:gd name="connsiteY8" fmla="*/ 3417013 h 7569200"/>
              <a:gd name="connsiteX9" fmla="*/ 5079988 w 8872353"/>
              <a:gd name="connsiteY9" fmla="*/ 3415500 h 7569200"/>
              <a:gd name="connsiteX10" fmla="*/ 5073342 w 8872353"/>
              <a:gd name="connsiteY10" fmla="*/ 3377224 h 7569200"/>
              <a:gd name="connsiteX11" fmla="*/ 5067668 w 8872353"/>
              <a:gd name="connsiteY11" fmla="*/ 3338865 h 7569200"/>
              <a:gd name="connsiteX12" fmla="*/ 8309499 w 8872353"/>
              <a:gd name="connsiteY12" fmla="*/ 951693 h 7569200"/>
              <a:gd name="connsiteX13" fmla="*/ 8309499 w 8872353"/>
              <a:gd name="connsiteY13" fmla="*/ 953966 h 7569200"/>
              <a:gd name="connsiteX14" fmla="*/ 8308628 w 8872353"/>
              <a:gd name="connsiteY14" fmla="*/ 952368 h 7569200"/>
              <a:gd name="connsiteX15" fmla="*/ 5004998 w 8872353"/>
              <a:gd name="connsiteY15" fmla="*/ 0 h 7569200"/>
              <a:gd name="connsiteX16" fmla="*/ 5077624 w 8872353"/>
              <a:gd name="connsiteY16" fmla="*/ 54556 h 7569200"/>
              <a:gd name="connsiteX17" fmla="*/ 4962633 w 8872353"/>
              <a:gd name="connsiteY17" fmla="*/ 200038 h 7569200"/>
              <a:gd name="connsiteX18" fmla="*/ 5428652 w 8872353"/>
              <a:gd name="connsiteY18" fmla="*/ 248531 h 7569200"/>
              <a:gd name="connsiteX19" fmla="*/ 5410495 w 8872353"/>
              <a:gd name="connsiteY19" fmla="*/ 424322 h 7569200"/>
              <a:gd name="connsiteX20" fmla="*/ 5519435 w 8872353"/>
              <a:gd name="connsiteY20" fmla="*/ 527371 h 7569200"/>
              <a:gd name="connsiteX21" fmla="*/ 5501278 w 8872353"/>
              <a:gd name="connsiteY21" fmla="*/ 381890 h 7569200"/>
              <a:gd name="connsiteX22" fmla="*/ 5519435 w 8872353"/>
              <a:gd name="connsiteY22" fmla="*/ 375828 h 7569200"/>
              <a:gd name="connsiteX23" fmla="*/ 5604166 w 8872353"/>
              <a:gd name="connsiteY23" fmla="*/ 606174 h 7569200"/>
              <a:gd name="connsiteX24" fmla="*/ 5676792 w 8872353"/>
              <a:gd name="connsiteY24" fmla="*/ 503124 h 7569200"/>
              <a:gd name="connsiteX25" fmla="*/ 5761523 w 8872353"/>
              <a:gd name="connsiteY25" fmla="*/ 691038 h 7569200"/>
              <a:gd name="connsiteX26" fmla="*/ 5906776 w 8872353"/>
              <a:gd name="connsiteY26" fmla="*/ 824396 h 7569200"/>
              <a:gd name="connsiteX27" fmla="*/ 5815993 w 8872353"/>
              <a:gd name="connsiteY27" fmla="*/ 806211 h 7569200"/>
              <a:gd name="connsiteX28" fmla="*/ 5840202 w 8872353"/>
              <a:gd name="connsiteY28" fmla="*/ 842582 h 7569200"/>
              <a:gd name="connsiteX29" fmla="*/ 5949141 w 8872353"/>
              <a:gd name="connsiteY29" fmla="*/ 848643 h 7569200"/>
              <a:gd name="connsiteX30" fmla="*/ 6905389 w 8872353"/>
              <a:gd name="connsiteY30" fmla="*/ 545557 h 7569200"/>
              <a:gd name="connsiteX31" fmla="*/ 7201946 w 8872353"/>
              <a:gd name="connsiteY31" fmla="*/ 491001 h 7569200"/>
              <a:gd name="connsiteX32" fmla="*/ 7462191 w 8872353"/>
              <a:gd name="connsiteY32" fmla="*/ 394013 h 7569200"/>
              <a:gd name="connsiteX33" fmla="*/ 7625600 w 8872353"/>
              <a:gd name="connsiteY33" fmla="*/ 394013 h 7569200"/>
              <a:gd name="connsiteX34" fmla="*/ 8261081 w 8872353"/>
              <a:gd name="connsiteY34" fmla="*/ 139420 h 7569200"/>
              <a:gd name="connsiteX35" fmla="*/ 8497117 w 8872353"/>
              <a:gd name="connsiteY35" fmla="*/ 96988 h 7569200"/>
              <a:gd name="connsiteX36" fmla="*/ 8097672 w 8872353"/>
              <a:gd name="connsiteY36" fmla="*/ 339457 h 7569200"/>
              <a:gd name="connsiteX37" fmla="*/ 7916106 w 8872353"/>
              <a:gd name="connsiteY37" fmla="*/ 509186 h 7569200"/>
              <a:gd name="connsiteX38" fmla="*/ 7879793 w 8872353"/>
              <a:gd name="connsiteY38" fmla="*/ 533433 h 7569200"/>
              <a:gd name="connsiteX39" fmla="*/ 7431930 w 8872353"/>
              <a:gd name="connsiteY39" fmla="*/ 788026 h 7569200"/>
              <a:gd name="connsiteX40" fmla="*/ 8115828 w 8872353"/>
              <a:gd name="connsiteY40" fmla="*/ 581927 h 7569200"/>
              <a:gd name="connsiteX41" fmla="*/ 7976628 w 8872353"/>
              <a:gd name="connsiteY41" fmla="*/ 684977 h 7569200"/>
              <a:gd name="connsiteX42" fmla="*/ 7982680 w 8872353"/>
              <a:gd name="connsiteY42" fmla="*/ 703162 h 7569200"/>
              <a:gd name="connsiteX43" fmla="*/ 8121881 w 8872353"/>
              <a:gd name="connsiteY43" fmla="*/ 684977 h 7569200"/>
              <a:gd name="connsiteX44" fmla="*/ 8127933 w 8872353"/>
              <a:gd name="connsiteY44" fmla="*/ 703162 h 7569200"/>
              <a:gd name="connsiteX45" fmla="*/ 7813218 w 8872353"/>
              <a:gd name="connsiteY45" fmla="*/ 885014 h 7569200"/>
              <a:gd name="connsiteX46" fmla="*/ 7946367 w 8872353"/>
              <a:gd name="connsiteY46" fmla="*/ 915323 h 7569200"/>
              <a:gd name="connsiteX47" fmla="*/ 8133985 w 8872353"/>
              <a:gd name="connsiteY47" fmla="*/ 775903 h 7569200"/>
              <a:gd name="connsiteX48" fmla="*/ 8303447 w 8872353"/>
              <a:gd name="connsiteY48" fmla="*/ 733470 h 7569200"/>
              <a:gd name="connsiteX49" fmla="*/ 8636317 w 8872353"/>
              <a:gd name="connsiteY49" fmla="*/ 557680 h 7569200"/>
              <a:gd name="connsiteX50" fmla="*/ 8587899 w 8872353"/>
              <a:gd name="connsiteY50" fmla="*/ 666791 h 7569200"/>
              <a:gd name="connsiteX51" fmla="*/ 8866301 w 8872353"/>
              <a:gd name="connsiteY51" fmla="*/ 539495 h 7569200"/>
              <a:gd name="connsiteX52" fmla="*/ 8872353 w 8872353"/>
              <a:gd name="connsiteY52" fmla="*/ 551618 h 7569200"/>
              <a:gd name="connsiteX53" fmla="*/ 8309499 w 8872353"/>
              <a:gd name="connsiteY53" fmla="*/ 951693 h 7569200"/>
              <a:gd name="connsiteX54" fmla="*/ 8307797 w 8872353"/>
              <a:gd name="connsiteY54" fmla="*/ 950841 h 7569200"/>
              <a:gd name="connsiteX55" fmla="*/ 8308628 w 8872353"/>
              <a:gd name="connsiteY55" fmla="*/ 952368 h 7569200"/>
              <a:gd name="connsiteX56" fmla="*/ 8068924 w 8872353"/>
              <a:gd name="connsiteY56" fmla="*/ 1138091 h 7569200"/>
              <a:gd name="connsiteX57" fmla="*/ 7837427 w 8872353"/>
              <a:gd name="connsiteY57" fmla="*/ 1333583 h 7569200"/>
              <a:gd name="connsiteX58" fmla="*/ 7341147 w 8872353"/>
              <a:gd name="connsiteY58" fmla="*/ 1763966 h 7569200"/>
              <a:gd name="connsiteX59" fmla="*/ 6778292 w 8872353"/>
              <a:gd name="connsiteY59" fmla="*/ 2261029 h 7569200"/>
              <a:gd name="connsiteX60" fmla="*/ 6766188 w 8872353"/>
              <a:gd name="connsiteY60" fmla="*/ 2303461 h 7569200"/>
              <a:gd name="connsiteX61" fmla="*/ 6808553 w 8872353"/>
              <a:gd name="connsiteY61" fmla="*/ 2297399 h 7569200"/>
              <a:gd name="connsiteX62" fmla="*/ 7111163 w 8872353"/>
              <a:gd name="connsiteY62" fmla="*/ 2242843 h 7569200"/>
              <a:gd name="connsiteX63" fmla="*/ 7195894 w 8872353"/>
              <a:gd name="connsiteY63" fmla="*/ 2182226 h 7569200"/>
              <a:gd name="connsiteX64" fmla="*/ 7232207 w 8872353"/>
              <a:gd name="connsiteY64" fmla="*/ 2273152 h 7569200"/>
              <a:gd name="connsiteX65" fmla="*/ 6984067 w 8872353"/>
              <a:gd name="connsiteY65" fmla="*/ 2382263 h 7569200"/>
              <a:gd name="connsiteX66" fmla="*/ 6735927 w 8872353"/>
              <a:gd name="connsiteY66" fmla="*/ 2539868 h 7569200"/>
              <a:gd name="connsiteX67" fmla="*/ 6717770 w 8872353"/>
              <a:gd name="connsiteY67" fmla="*/ 2594424 h 7569200"/>
              <a:gd name="connsiteX68" fmla="*/ 6602779 w 8872353"/>
              <a:gd name="connsiteY68" fmla="*/ 2697474 h 7569200"/>
              <a:gd name="connsiteX69" fmla="*/ 6318325 w 8872353"/>
              <a:gd name="connsiteY69" fmla="*/ 2739906 h 7569200"/>
              <a:gd name="connsiteX70" fmla="*/ 6033872 w 8872353"/>
              <a:gd name="connsiteY70" fmla="*/ 2933881 h 7569200"/>
              <a:gd name="connsiteX71" fmla="*/ 6106498 w 8872353"/>
              <a:gd name="connsiteY71" fmla="*/ 2849017 h 7569200"/>
              <a:gd name="connsiteX72" fmla="*/ 5912828 w 8872353"/>
              <a:gd name="connsiteY72" fmla="*/ 2903573 h 7569200"/>
              <a:gd name="connsiteX73" fmla="*/ 5967298 w 8872353"/>
              <a:gd name="connsiteY73" fmla="*/ 2976313 h 7569200"/>
              <a:gd name="connsiteX74" fmla="*/ 5209260 w 8872353"/>
              <a:gd name="connsiteY74" fmla="*/ 3225603 h 7569200"/>
              <a:gd name="connsiteX75" fmla="*/ 5082040 w 8872353"/>
              <a:gd name="connsiteY75" fmla="*/ 3273554 h 7569200"/>
              <a:gd name="connsiteX76" fmla="*/ 5121381 w 8872353"/>
              <a:gd name="connsiteY76" fmla="*/ 3384328 h 7569200"/>
              <a:gd name="connsiteX77" fmla="*/ 5127389 w 8872353"/>
              <a:gd name="connsiteY77" fmla="*/ 3400136 h 7569200"/>
              <a:gd name="connsiteX78" fmla="*/ 5158573 w 8872353"/>
              <a:gd name="connsiteY78" fmla="*/ 3390028 h 7569200"/>
              <a:gd name="connsiteX79" fmla="*/ 5822045 w 8872353"/>
              <a:gd name="connsiteY79" fmla="*/ 3170289 h 7569200"/>
              <a:gd name="connsiteX80" fmla="*/ 5719158 w 8872353"/>
              <a:gd name="connsiteY80" fmla="*/ 3139980 h 7569200"/>
              <a:gd name="connsiteX81" fmla="*/ 5876515 w 8872353"/>
              <a:gd name="connsiteY81" fmla="*/ 3109672 h 7569200"/>
              <a:gd name="connsiteX82" fmla="*/ 6027820 w 8872353"/>
              <a:gd name="connsiteY82" fmla="*/ 3067240 h 7569200"/>
              <a:gd name="connsiteX83" fmla="*/ 6518048 w 8872353"/>
              <a:gd name="connsiteY83" fmla="*/ 2861140 h 7569200"/>
              <a:gd name="connsiteX84" fmla="*/ 6251751 w 8872353"/>
              <a:gd name="connsiteY84" fmla="*/ 3158166 h 7569200"/>
              <a:gd name="connsiteX85" fmla="*/ 5755471 w 8872353"/>
              <a:gd name="connsiteY85" fmla="*/ 3364265 h 7569200"/>
              <a:gd name="connsiteX86" fmla="*/ 5471018 w 8872353"/>
              <a:gd name="connsiteY86" fmla="*/ 3457464 h 7569200"/>
              <a:gd name="connsiteX87" fmla="*/ 5243878 w 8872353"/>
              <a:gd name="connsiteY87" fmla="*/ 3528255 h 7569200"/>
              <a:gd name="connsiteX88" fmla="*/ 5274388 w 8872353"/>
              <a:gd name="connsiteY88" fmla="*/ 3558982 h 7569200"/>
              <a:gd name="connsiteX89" fmla="*/ 5320819 w 8872353"/>
              <a:gd name="connsiteY89" fmla="*/ 3585196 h 7569200"/>
              <a:gd name="connsiteX90" fmla="*/ 5546670 w 8872353"/>
              <a:gd name="connsiteY90" fmla="*/ 3500654 h 7569200"/>
              <a:gd name="connsiteX91" fmla="*/ 5846254 w 8872353"/>
              <a:gd name="connsiteY91" fmla="*/ 3388512 h 7569200"/>
              <a:gd name="connsiteX92" fmla="*/ 5955193 w 8872353"/>
              <a:gd name="connsiteY92" fmla="*/ 3376388 h 7569200"/>
              <a:gd name="connsiteX93" fmla="*/ 6179125 w 8872353"/>
              <a:gd name="connsiteY93" fmla="*/ 3249092 h 7569200"/>
              <a:gd name="connsiteX94" fmla="*/ 6209386 w 8872353"/>
              <a:gd name="connsiteY94" fmla="*/ 3358203 h 7569200"/>
              <a:gd name="connsiteX95" fmla="*/ 6493839 w 8872353"/>
              <a:gd name="connsiteY95" fmla="*/ 3164227 h 7569200"/>
              <a:gd name="connsiteX96" fmla="*/ 6723823 w 8872353"/>
              <a:gd name="connsiteY96" fmla="*/ 3085425 h 7569200"/>
              <a:gd name="connsiteX97" fmla="*/ 6766188 w 8872353"/>
              <a:gd name="connsiteY97" fmla="*/ 3061178 h 7569200"/>
              <a:gd name="connsiteX98" fmla="*/ 6705666 w 8872353"/>
              <a:gd name="connsiteY98" fmla="*/ 3018746 h 7569200"/>
              <a:gd name="connsiteX99" fmla="*/ 7032485 w 8872353"/>
              <a:gd name="connsiteY99" fmla="*/ 2818708 h 7569200"/>
              <a:gd name="connsiteX100" fmla="*/ 7068798 w 8872353"/>
              <a:gd name="connsiteY100" fmla="*/ 2897511 h 7569200"/>
              <a:gd name="connsiteX101" fmla="*/ 7141424 w 8872353"/>
              <a:gd name="connsiteY101" fmla="*/ 2745967 h 7569200"/>
              <a:gd name="connsiteX102" fmla="*/ 7189842 w 8872353"/>
              <a:gd name="connsiteY102" fmla="*/ 2758091 h 7569200"/>
              <a:gd name="connsiteX103" fmla="*/ 7165633 w 8872353"/>
              <a:gd name="connsiteY103" fmla="*/ 2970252 h 7569200"/>
              <a:gd name="connsiteX104" fmla="*/ 7086955 w 8872353"/>
              <a:gd name="connsiteY104" fmla="*/ 2921758 h 7569200"/>
              <a:gd name="connsiteX105" fmla="*/ 7093007 w 8872353"/>
              <a:gd name="connsiteY105" fmla="*/ 3012684 h 7569200"/>
              <a:gd name="connsiteX106" fmla="*/ 6838814 w 8872353"/>
              <a:gd name="connsiteY106" fmla="*/ 3121795 h 7569200"/>
              <a:gd name="connsiteX107" fmla="*/ 6893284 w 8872353"/>
              <a:gd name="connsiteY107" fmla="*/ 3139980 h 7569200"/>
              <a:gd name="connsiteX108" fmla="*/ 6711718 w 8872353"/>
              <a:gd name="connsiteY108" fmla="*/ 3303647 h 7569200"/>
              <a:gd name="connsiteX109" fmla="*/ 6651196 w 8872353"/>
              <a:gd name="connsiteY109" fmla="*/ 3285462 h 7569200"/>
              <a:gd name="connsiteX110" fmla="*/ 6521831 w 8872353"/>
              <a:gd name="connsiteY110" fmla="*/ 3386996 h 7569200"/>
              <a:gd name="connsiteX111" fmla="*/ 6435291 w 8872353"/>
              <a:gd name="connsiteY111" fmla="*/ 3451084 h 7569200"/>
              <a:gd name="connsiteX112" fmla="*/ 6467239 w 8872353"/>
              <a:gd name="connsiteY112" fmla="*/ 3441157 h 7569200"/>
              <a:gd name="connsiteX113" fmla="*/ 6763796 w 8872353"/>
              <a:gd name="connsiteY113" fmla="*/ 3386601 h 7569200"/>
              <a:gd name="connsiteX114" fmla="*/ 7024041 w 8872353"/>
              <a:gd name="connsiteY114" fmla="*/ 3289613 h 7569200"/>
              <a:gd name="connsiteX115" fmla="*/ 7187450 w 8872353"/>
              <a:gd name="connsiteY115" fmla="*/ 3289613 h 7569200"/>
              <a:gd name="connsiteX116" fmla="*/ 7822931 w 8872353"/>
              <a:gd name="connsiteY116" fmla="*/ 3035020 h 7569200"/>
              <a:gd name="connsiteX117" fmla="*/ 8058967 w 8872353"/>
              <a:gd name="connsiteY117" fmla="*/ 2992588 h 7569200"/>
              <a:gd name="connsiteX118" fmla="*/ 7659522 w 8872353"/>
              <a:gd name="connsiteY118" fmla="*/ 3235057 h 7569200"/>
              <a:gd name="connsiteX119" fmla="*/ 7477956 w 8872353"/>
              <a:gd name="connsiteY119" fmla="*/ 3404786 h 7569200"/>
              <a:gd name="connsiteX120" fmla="*/ 7441643 w 8872353"/>
              <a:gd name="connsiteY120" fmla="*/ 3429033 h 7569200"/>
              <a:gd name="connsiteX121" fmla="*/ 6993780 w 8872353"/>
              <a:gd name="connsiteY121" fmla="*/ 3683626 h 7569200"/>
              <a:gd name="connsiteX122" fmla="*/ 7677678 w 8872353"/>
              <a:gd name="connsiteY122" fmla="*/ 3477527 h 7569200"/>
              <a:gd name="connsiteX123" fmla="*/ 7538478 w 8872353"/>
              <a:gd name="connsiteY123" fmla="*/ 3580577 h 7569200"/>
              <a:gd name="connsiteX124" fmla="*/ 7544530 w 8872353"/>
              <a:gd name="connsiteY124" fmla="*/ 3598762 h 7569200"/>
              <a:gd name="connsiteX125" fmla="*/ 7683731 w 8872353"/>
              <a:gd name="connsiteY125" fmla="*/ 3580577 h 7569200"/>
              <a:gd name="connsiteX126" fmla="*/ 7689783 w 8872353"/>
              <a:gd name="connsiteY126" fmla="*/ 3598762 h 7569200"/>
              <a:gd name="connsiteX127" fmla="*/ 7375068 w 8872353"/>
              <a:gd name="connsiteY127" fmla="*/ 3780614 h 7569200"/>
              <a:gd name="connsiteX128" fmla="*/ 7508217 w 8872353"/>
              <a:gd name="connsiteY128" fmla="*/ 3810923 h 7569200"/>
              <a:gd name="connsiteX129" fmla="*/ 7695835 w 8872353"/>
              <a:gd name="connsiteY129" fmla="*/ 3671503 h 7569200"/>
              <a:gd name="connsiteX130" fmla="*/ 7865297 w 8872353"/>
              <a:gd name="connsiteY130" fmla="*/ 3629070 h 7569200"/>
              <a:gd name="connsiteX131" fmla="*/ 8198167 w 8872353"/>
              <a:gd name="connsiteY131" fmla="*/ 3453280 h 7569200"/>
              <a:gd name="connsiteX132" fmla="*/ 8149749 w 8872353"/>
              <a:gd name="connsiteY132" fmla="*/ 3562391 h 7569200"/>
              <a:gd name="connsiteX133" fmla="*/ 8428151 w 8872353"/>
              <a:gd name="connsiteY133" fmla="*/ 3435095 h 7569200"/>
              <a:gd name="connsiteX134" fmla="*/ 8434203 w 8872353"/>
              <a:gd name="connsiteY134" fmla="*/ 3447218 h 7569200"/>
              <a:gd name="connsiteX135" fmla="*/ 7871349 w 8872353"/>
              <a:gd name="connsiteY135" fmla="*/ 3847293 h 7569200"/>
              <a:gd name="connsiteX136" fmla="*/ 7869647 w 8872353"/>
              <a:gd name="connsiteY136" fmla="*/ 3846441 h 7569200"/>
              <a:gd name="connsiteX137" fmla="*/ 7870478 w 8872353"/>
              <a:gd name="connsiteY137" fmla="*/ 3847968 h 7569200"/>
              <a:gd name="connsiteX138" fmla="*/ 7630774 w 8872353"/>
              <a:gd name="connsiteY138" fmla="*/ 4033691 h 7569200"/>
              <a:gd name="connsiteX139" fmla="*/ 7399277 w 8872353"/>
              <a:gd name="connsiteY139" fmla="*/ 4229183 h 7569200"/>
              <a:gd name="connsiteX140" fmla="*/ 6902997 w 8872353"/>
              <a:gd name="connsiteY140" fmla="*/ 4659566 h 7569200"/>
              <a:gd name="connsiteX141" fmla="*/ 6340142 w 8872353"/>
              <a:gd name="connsiteY141" fmla="*/ 5156629 h 7569200"/>
              <a:gd name="connsiteX142" fmla="*/ 6328038 w 8872353"/>
              <a:gd name="connsiteY142" fmla="*/ 5199061 h 7569200"/>
              <a:gd name="connsiteX143" fmla="*/ 6370403 w 8872353"/>
              <a:gd name="connsiteY143" fmla="*/ 5192999 h 7569200"/>
              <a:gd name="connsiteX144" fmla="*/ 6673013 w 8872353"/>
              <a:gd name="connsiteY144" fmla="*/ 5138443 h 7569200"/>
              <a:gd name="connsiteX145" fmla="*/ 6757744 w 8872353"/>
              <a:gd name="connsiteY145" fmla="*/ 5077826 h 7569200"/>
              <a:gd name="connsiteX146" fmla="*/ 6794057 w 8872353"/>
              <a:gd name="connsiteY146" fmla="*/ 5168752 h 7569200"/>
              <a:gd name="connsiteX147" fmla="*/ 6545917 w 8872353"/>
              <a:gd name="connsiteY147" fmla="*/ 5277863 h 7569200"/>
              <a:gd name="connsiteX148" fmla="*/ 6297777 w 8872353"/>
              <a:gd name="connsiteY148" fmla="*/ 5435468 h 7569200"/>
              <a:gd name="connsiteX149" fmla="*/ 6279620 w 8872353"/>
              <a:gd name="connsiteY149" fmla="*/ 5490024 h 7569200"/>
              <a:gd name="connsiteX150" fmla="*/ 6164629 w 8872353"/>
              <a:gd name="connsiteY150" fmla="*/ 5593074 h 7569200"/>
              <a:gd name="connsiteX151" fmla="*/ 5880175 w 8872353"/>
              <a:gd name="connsiteY151" fmla="*/ 5635506 h 7569200"/>
              <a:gd name="connsiteX152" fmla="*/ 5595722 w 8872353"/>
              <a:gd name="connsiteY152" fmla="*/ 5829481 h 7569200"/>
              <a:gd name="connsiteX153" fmla="*/ 5668348 w 8872353"/>
              <a:gd name="connsiteY153" fmla="*/ 5744617 h 7569200"/>
              <a:gd name="connsiteX154" fmla="*/ 5474678 w 8872353"/>
              <a:gd name="connsiteY154" fmla="*/ 5799173 h 7569200"/>
              <a:gd name="connsiteX155" fmla="*/ 5529148 w 8872353"/>
              <a:gd name="connsiteY155" fmla="*/ 5871913 h 7569200"/>
              <a:gd name="connsiteX156" fmla="*/ 4058463 w 8872353"/>
              <a:gd name="connsiteY156" fmla="*/ 6465964 h 7569200"/>
              <a:gd name="connsiteX157" fmla="*/ 4070568 w 8872353"/>
              <a:gd name="connsiteY157" fmla="*/ 6496272 h 7569200"/>
              <a:gd name="connsiteX158" fmla="*/ 5383895 w 8872353"/>
              <a:gd name="connsiteY158" fmla="*/ 6065889 h 7569200"/>
              <a:gd name="connsiteX159" fmla="*/ 5281008 w 8872353"/>
              <a:gd name="connsiteY159" fmla="*/ 6035580 h 7569200"/>
              <a:gd name="connsiteX160" fmla="*/ 5438365 w 8872353"/>
              <a:gd name="connsiteY160" fmla="*/ 6005272 h 7569200"/>
              <a:gd name="connsiteX161" fmla="*/ 5589670 w 8872353"/>
              <a:gd name="connsiteY161" fmla="*/ 5962840 h 7569200"/>
              <a:gd name="connsiteX162" fmla="*/ 6079898 w 8872353"/>
              <a:gd name="connsiteY162" fmla="*/ 5756740 h 7569200"/>
              <a:gd name="connsiteX163" fmla="*/ 5813601 w 8872353"/>
              <a:gd name="connsiteY163" fmla="*/ 6053766 h 7569200"/>
              <a:gd name="connsiteX164" fmla="*/ 5317321 w 8872353"/>
              <a:gd name="connsiteY164" fmla="*/ 6259865 h 7569200"/>
              <a:gd name="connsiteX165" fmla="*/ 4748414 w 8872353"/>
              <a:gd name="connsiteY165" fmla="*/ 6441717 h 7569200"/>
              <a:gd name="connsiteX166" fmla="*/ 4585005 w 8872353"/>
              <a:gd name="connsiteY166" fmla="*/ 6544766 h 7569200"/>
              <a:gd name="connsiteX167" fmla="*/ 4687892 w 8872353"/>
              <a:gd name="connsiteY167" fmla="*/ 6569013 h 7569200"/>
              <a:gd name="connsiteX168" fmla="*/ 4687892 w 8872353"/>
              <a:gd name="connsiteY168" fmla="*/ 6666001 h 7569200"/>
              <a:gd name="connsiteX169" fmla="*/ 4742362 w 8872353"/>
              <a:gd name="connsiteY169" fmla="*/ 6599322 h 7569200"/>
              <a:gd name="connsiteX170" fmla="*/ 4808936 w 8872353"/>
              <a:gd name="connsiteY170" fmla="*/ 6508396 h 7569200"/>
              <a:gd name="connsiteX171" fmla="*/ 5408104 w 8872353"/>
              <a:gd name="connsiteY171" fmla="*/ 6284112 h 7569200"/>
              <a:gd name="connsiteX172" fmla="*/ 5517043 w 8872353"/>
              <a:gd name="connsiteY172" fmla="*/ 6271988 h 7569200"/>
              <a:gd name="connsiteX173" fmla="*/ 5740975 w 8872353"/>
              <a:gd name="connsiteY173" fmla="*/ 6144692 h 7569200"/>
              <a:gd name="connsiteX174" fmla="*/ 5771236 w 8872353"/>
              <a:gd name="connsiteY174" fmla="*/ 6253803 h 7569200"/>
              <a:gd name="connsiteX175" fmla="*/ 6055689 w 8872353"/>
              <a:gd name="connsiteY175" fmla="*/ 6059827 h 7569200"/>
              <a:gd name="connsiteX176" fmla="*/ 6285673 w 8872353"/>
              <a:gd name="connsiteY176" fmla="*/ 5981025 h 7569200"/>
              <a:gd name="connsiteX177" fmla="*/ 6328038 w 8872353"/>
              <a:gd name="connsiteY177" fmla="*/ 5956778 h 7569200"/>
              <a:gd name="connsiteX178" fmla="*/ 6267516 w 8872353"/>
              <a:gd name="connsiteY178" fmla="*/ 5914346 h 7569200"/>
              <a:gd name="connsiteX179" fmla="*/ 6594335 w 8872353"/>
              <a:gd name="connsiteY179" fmla="*/ 5714308 h 7569200"/>
              <a:gd name="connsiteX180" fmla="*/ 6630648 w 8872353"/>
              <a:gd name="connsiteY180" fmla="*/ 5793111 h 7569200"/>
              <a:gd name="connsiteX181" fmla="*/ 6703274 w 8872353"/>
              <a:gd name="connsiteY181" fmla="*/ 5641567 h 7569200"/>
              <a:gd name="connsiteX182" fmla="*/ 6751692 w 8872353"/>
              <a:gd name="connsiteY182" fmla="*/ 5653691 h 7569200"/>
              <a:gd name="connsiteX183" fmla="*/ 6727483 w 8872353"/>
              <a:gd name="connsiteY183" fmla="*/ 5865852 h 7569200"/>
              <a:gd name="connsiteX184" fmla="*/ 6648805 w 8872353"/>
              <a:gd name="connsiteY184" fmla="*/ 5817358 h 7569200"/>
              <a:gd name="connsiteX185" fmla="*/ 6654857 w 8872353"/>
              <a:gd name="connsiteY185" fmla="*/ 5908284 h 7569200"/>
              <a:gd name="connsiteX186" fmla="*/ 6400664 w 8872353"/>
              <a:gd name="connsiteY186" fmla="*/ 6017395 h 7569200"/>
              <a:gd name="connsiteX187" fmla="*/ 6455134 w 8872353"/>
              <a:gd name="connsiteY187" fmla="*/ 6035580 h 7569200"/>
              <a:gd name="connsiteX188" fmla="*/ 6273568 w 8872353"/>
              <a:gd name="connsiteY188" fmla="*/ 6199247 h 7569200"/>
              <a:gd name="connsiteX189" fmla="*/ 6213046 w 8872353"/>
              <a:gd name="connsiteY189" fmla="*/ 6181062 h 7569200"/>
              <a:gd name="connsiteX190" fmla="*/ 5958854 w 8872353"/>
              <a:gd name="connsiteY190" fmla="*/ 6375038 h 7569200"/>
              <a:gd name="connsiteX191" fmla="*/ 5862019 w 8872353"/>
              <a:gd name="connsiteY191" fmla="*/ 6417470 h 7569200"/>
              <a:gd name="connsiteX192" fmla="*/ 5801497 w 8872353"/>
              <a:gd name="connsiteY192" fmla="*/ 6490211 h 7569200"/>
              <a:gd name="connsiteX193" fmla="*/ 5523096 w 8872353"/>
              <a:gd name="connsiteY193" fmla="*/ 6587199 h 7569200"/>
              <a:gd name="connsiteX194" fmla="*/ 5498887 w 8872353"/>
              <a:gd name="connsiteY194" fmla="*/ 6593260 h 7569200"/>
              <a:gd name="connsiteX195" fmla="*/ 5353634 w 8872353"/>
              <a:gd name="connsiteY195" fmla="*/ 6714495 h 7569200"/>
              <a:gd name="connsiteX196" fmla="*/ 5383895 w 8872353"/>
              <a:gd name="connsiteY196" fmla="*/ 6769051 h 7569200"/>
              <a:gd name="connsiteX197" fmla="*/ 5202329 w 8872353"/>
              <a:gd name="connsiteY197" fmla="*/ 6805421 h 7569200"/>
              <a:gd name="connsiteX198" fmla="*/ 5159964 w 8872353"/>
              <a:gd name="connsiteY198" fmla="*/ 6884224 h 7569200"/>
              <a:gd name="connsiteX199" fmla="*/ 4645527 w 8872353"/>
              <a:gd name="connsiteY199" fmla="*/ 7072138 h 7569200"/>
              <a:gd name="connsiteX200" fmla="*/ 4415543 w 8872353"/>
              <a:gd name="connsiteY200" fmla="*/ 7169126 h 7569200"/>
              <a:gd name="connsiteX201" fmla="*/ 3876898 w 8872353"/>
              <a:gd name="connsiteY201" fmla="*/ 7332792 h 7569200"/>
              <a:gd name="connsiteX202" fmla="*/ 3162738 w 8872353"/>
              <a:gd name="connsiteY202" fmla="*/ 7496459 h 7569200"/>
              <a:gd name="connsiteX203" fmla="*/ 3053798 w 8872353"/>
              <a:gd name="connsiteY203" fmla="*/ 7502521 h 7569200"/>
              <a:gd name="connsiteX204" fmla="*/ 2823815 w 8872353"/>
              <a:gd name="connsiteY204" fmla="*/ 7490398 h 7569200"/>
              <a:gd name="connsiteX205" fmla="*/ 2605936 w 8872353"/>
              <a:gd name="connsiteY205" fmla="*/ 7496459 h 7569200"/>
              <a:gd name="connsiteX206" fmla="*/ 2339639 w 8872353"/>
              <a:gd name="connsiteY206" fmla="*/ 7551015 h 7569200"/>
              <a:gd name="connsiteX207" fmla="*/ 2273065 w 8872353"/>
              <a:gd name="connsiteY207" fmla="*/ 7508583 h 7569200"/>
              <a:gd name="connsiteX208" fmla="*/ 2152021 w 8872353"/>
              <a:gd name="connsiteY208" fmla="*/ 7569200 h 7569200"/>
              <a:gd name="connsiteX209" fmla="*/ 2176229 w 8872353"/>
              <a:gd name="connsiteY209" fmla="*/ 7435842 h 7569200"/>
              <a:gd name="connsiteX210" fmla="*/ 2127812 w 8872353"/>
              <a:gd name="connsiteY210" fmla="*/ 7393410 h 7569200"/>
              <a:gd name="connsiteX211" fmla="*/ 2158073 w 8872353"/>
              <a:gd name="connsiteY211" fmla="*/ 7369163 h 7569200"/>
              <a:gd name="connsiteX212" fmla="*/ 2363848 w 8872353"/>
              <a:gd name="connsiteY212" fmla="*/ 7278237 h 7569200"/>
              <a:gd name="connsiteX213" fmla="*/ 2406213 w 8872353"/>
              <a:gd name="connsiteY213" fmla="*/ 7266113 h 7569200"/>
              <a:gd name="connsiteX214" fmla="*/ 2884337 w 8872353"/>
              <a:gd name="connsiteY214" fmla="*/ 7217619 h 7569200"/>
              <a:gd name="connsiteX215" fmla="*/ 2878285 w 8872353"/>
              <a:gd name="connsiteY215" fmla="*/ 7187311 h 7569200"/>
              <a:gd name="connsiteX216" fmla="*/ 2593831 w 8872353"/>
              <a:gd name="connsiteY216" fmla="*/ 7247928 h 7569200"/>
              <a:gd name="connsiteX217" fmla="*/ 2775397 w 8872353"/>
              <a:gd name="connsiteY217" fmla="*/ 7096385 h 7569200"/>
              <a:gd name="connsiteX218" fmla="*/ 2545414 w 8872353"/>
              <a:gd name="connsiteY218" fmla="*/ 7181249 h 7569200"/>
              <a:gd name="connsiteX219" fmla="*/ 2254908 w 8872353"/>
              <a:gd name="connsiteY219" fmla="*/ 7199434 h 7569200"/>
              <a:gd name="connsiteX220" fmla="*/ 1994664 w 8872353"/>
              <a:gd name="connsiteY220" fmla="*/ 7272175 h 7569200"/>
              <a:gd name="connsiteX221" fmla="*/ 1976507 w 8872353"/>
              <a:gd name="connsiteY221" fmla="*/ 7193372 h 7569200"/>
              <a:gd name="connsiteX222" fmla="*/ 1649688 w 8872353"/>
              <a:gd name="connsiteY222" fmla="*/ 7247928 h 7569200"/>
              <a:gd name="connsiteX223" fmla="*/ 1643636 w 8872353"/>
              <a:gd name="connsiteY223" fmla="*/ 7223681 h 7569200"/>
              <a:gd name="connsiteX224" fmla="*/ 1692054 w 8872353"/>
              <a:gd name="connsiteY224" fmla="*/ 7205496 h 7569200"/>
              <a:gd name="connsiteX225" fmla="*/ 1643636 w 8872353"/>
              <a:gd name="connsiteY225" fmla="*/ 7169126 h 7569200"/>
              <a:gd name="connsiteX226" fmla="*/ 1649688 w 8872353"/>
              <a:gd name="connsiteY226" fmla="*/ 7138817 h 7569200"/>
              <a:gd name="connsiteX227" fmla="*/ 1843359 w 8872353"/>
              <a:gd name="connsiteY227" fmla="*/ 7126693 h 7569200"/>
              <a:gd name="connsiteX228" fmla="*/ 1831254 w 8872353"/>
              <a:gd name="connsiteY228" fmla="*/ 7163064 h 7569200"/>
              <a:gd name="connsiteX229" fmla="*/ 1879672 w 8872353"/>
              <a:gd name="connsiteY229" fmla="*/ 7163064 h 7569200"/>
              <a:gd name="connsiteX230" fmla="*/ 2133864 w 8872353"/>
              <a:gd name="connsiteY230" fmla="*/ 7041829 h 7569200"/>
              <a:gd name="connsiteX231" fmla="*/ 2158073 w 8872353"/>
              <a:gd name="connsiteY231" fmla="*/ 6987273 h 7569200"/>
              <a:gd name="connsiteX232" fmla="*/ 2254908 w 8872353"/>
              <a:gd name="connsiteY232" fmla="*/ 7047891 h 7569200"/>
              <a:gd name="connsiteX233" fmla="*/ 2351743 w 8872353"/>
              <a:gd name="connsiteY233" fmla="*/ 6969088 h 7569200"/>
              <a:gd name="connsiteX234" fmla="*/ 2333587 w 8872353"/>
              <a:gd name="connsiteY234" fmla="*/ 6878162 h 7569200"/>
              <a:gd name="connsiteX235" fmla="*/ 2200438 w 8872353"/>
              <a:gd name="connsiteY235" fmla="*/ 6853915 h 7569200"/>
              <a:gd name="connsiteX236" fmla="*/ 1849411 w 8872353"/>
              <a:gd name="connsiteY236" fmla="*/ 6926656 h 7569200"/>
              <a:gd name="connsiteX237" fmla="*/ 1770732 w 8872353"/>
              <a:gd name="connsiteY237" fmla="*/ 6914532 h 7569200"/>
              <a:gd name="connsiteX238" fmla="*/ 1474174 w 8872353"/>
              <a:gd name="connsiteY238" fmla="*/ 6920594 h 7569200"/>
              <a:gd name="connsiteX239" fmla="*/ 1165512 w 8872353"/>
              <a:gd name="connsiteY239" fmla="*/ 7066076 h 7569200"/>
              <a:gd name="connsiteX240" fmla="*/ 1153408 w 8872353"/>
              <a:gd name="connsiteY240" fmla="*/ 7041829 h 7569200"/>
              <a:gd name="connsiteX241" fmla="*/ 1492331 w 8872353"/>
              <a:gd name="connsiteY241" fmla="*/ 6817545 h 7569200"/>
              <a:gd name="connsiteX242" fmla="*/ 1510488 w 8872353"/>
              <a:gd name="connsiteY242" fmla="*/ 6847853 h 7569200"/>
              <a:gd name="connsiteX243" fmla="*/ 1522592 w 8872353"/>
              <a:gd name="connsiteY243" fmla="*/ 6775112 h 7569200"/>
              <a:gd name="connsiteX244" fmla="*/ 1135251 w 8872353"/>
              <a:gd name="connsiteY244" fmla="*/ 6756927 h 7569200"/>
              <a:gd name="connsiteX245" fmla="*/ 977894 w 8872353"/>
              <a:gd name="connsiteY245" fmla="*/ 6684186 h 7569200"/>
              <a:gd name="connsiteX246" fmla="*/ 747911 w 8872353"/>
              <a:gd name="connsiteY246" fmla="*/ 6550828 h 7569200"/>
              <a:gd name="connsiteX247" fmla="*/ 620814 w 8872353"/>
              <a:gd name="connsiteY247" fmla="*/ 6508396 h 7569200"/>
              <a:gd name="connsiteX248" fmla="*/ 457405 w 8872353"/>
              <a:gd name="connsiteY248" fmla="*/ 6338667 h 7569200"/>
              <a:gd name="connsiteX249" fmla="*/ 366622 w 8872353"/>
              <a:gd name="connsiteY249" fmla="*/ 6217433 h 7569200"/>
              <a:gd name="connsiteX250" fmla="*/ 27699 w 8872353"/>
              <a:gd name="connsiteY250" fmla="*/ 6259865 h 7569200"/>
              <a:gd name="connsiteX251" fmla="*/ 64012 w 8872353"/>
              <a:gd name="connsiteY251" fmla="*/ 6144692 h 7569200"/>
              <a:gd name="connsiteX252" fmla="*/ 669232 w 8872353"/>
              <a:gd name="connsiteY252" fmla="*/ 5774926 h 7569200"/>
              <a:gd name="connsiteX253" fmla="*/ 1528644 w 8872353"/>
              <a:gd name="connsiteY253" fmla="*/ 5089950 h 7569200"/>
              <a:gd name="connsiteX254" fmla="*/ 2032266 w 8872353"/>
              <a:gd name="connsiteY254" fmla="*/ 4424520 h 7569200"/>
              <a:gd name="connsiteX255" fmla="*/ 2087482 w 8872353"/>
              <a:gd name="connsiteY255" fmla="*/ 4346613 h 7569200"/>
              <a:gd name="connsiteX256" fmla="*/ 2087082 w 8872353"/>
              <a:gd name="connsiteY256" fmla="*/ 4340205 h 7569200"/>
              <a:gd name="connsiteX257" fmla="*/ 2081786 w 8872353"/>
              <a:gd name="connsiteY257" fmla="*/ 4328081 h 7569200"/>
              <a:gd name="connsiteX258" fmla="*/ 2105995 w 8872353"/>
              <a:gd name="connsiteY258" fmla="*/ 4318989 h 7569200"/>
              <a:gd name="connsiteX259" fmla="*/ 2107447 w 8872353"/>
              <a:gd name="connsiteY259" fmla="*/ 4318444 h 7569200"/>
              <a:gd name="connsiteX260" fmla="*/ 2119307 w 8872353"/>
              <a:gd name="connsiteY260" fmla="*/ 4301710 h 7569200"/>
              <a:gd name="connsiteX261" fmla="*/ 2105995 w 8872353"/>
              <a:gd name="connsiteY261" fmla="*/ 4291711 h 7569200"/>
              <a:gd name="connsiteX262" fmla="*/ 2081786 w 8872353"/>
              <a:gd name="connsiteY262" fmla="*/ 4273526 h 7569200"/>
              <a:gd name="connsiteX263" fmla="*/ 2087838 w 8872353"/>
              <a:gd name="connsiteY263" fmla="*/ 4243217 h 7569200"/>
              <a:gd name="connsiteX264" fmla="*/ 2168881 w 8872353"/>
              <a:gd name="connsiteY264" fmla="*/ 4240119 h 7569200"/>
              <a:gd name="connsiteX265" fmla="*/ 2235700 w 8872353"/>
              <a:gd name="connsiteY265" fmla="*/ 4160337 h 7569200"/>
              <a:gd name="connsiteX266" fmla="*/ 2351743 w 8872353"/>
              <a:gd name="connsiteY266" fmla="*/ 4053392 h 7569200"/>
              <a:gd name="connsiteX267" fmla="*/ 2429170 w 8872353"/>
              <a:gd name="connsiteY267" fmla="*/ 4002086 h 7569200"/>
              <a:gd name="connsiteX268" fmla="*/ 2287561 w 8872353"/>
              <a:gd name="connsiteY268" fmla="*/ 4031056 h 7569200"/>
              <a:gd name="connsiteX269" fmla="*/ 2208882 w 8872353"/>
              <a:gd name="connsiteY269" fmla="*/ 4018932 h 7569200"/>
              <a:gd name="connsiteX270" fmla="*/ 1912324 w 8872353"/>
              <a:gd name="connsiteY270" fmla="*/ 4024994 h 7569200"/>
              <a:gd name="connsiteX271" fmla="*/ 1603662 w 8872353"/>
              <a:gd name="connsiteY271" fmla="*/ 4170476 h 7569200"/>
              <a:gd name="connsiteX272" fmla="*/ 1591558 w 8872353"/>
              <a:gd name="connsiteY272" fmla="*/ 4146229 h 7569200"/>
              <a:gd name="connsiteX273" fmla="*/ 1930481 w 8872353"/>
              <a:gd name="connsiteY273" fmla="*/ 3921945 h 7569200"/>
              <a:gd name="connsiteX274" fmla="*/ 1948638 w 8872353"/>
              <a:gd name="connsiteY274" fmla="*/ 3952253 h 7569200"/>
              <a:gd name="connsiteX275" fmla="*/ 1960742 w 8872353"/>
              <a:gd name="connsiteY275" fmla="*/ 3879512 h 7569200"/>
              <a:gd name="connsiteX276" fmla="*/ 1573401 w 8872353"/>
              <a:gd name="connsiteY276" fmla="*/ 3861327 h 7569200"/>
              <a:gd name="connsiteX277" fmla="*/ 1416044 w 8872353"/>
              <a:gd name="connsiteY277" fmla="*/ 3788586 h 7569200"/>
              <a:gd name="connsiteX278" fmla="*/ 1186061 w 8872353"/>
              <a:gd name="connsiteY278" fmla="*/ 3655228 h 7569200"/>
              <a:gd name="connsiteX279" fmla="*/ 1058964 w 8872353"/>
              <a:gd name="connsiteY279" fmla="*/ 3612796 h 7569200"/>
              <a:gd name="connsiteX280" fmla="*/ 895555 w 8872353"/>
              <a:gd name="connsiteY280" fmla="*/ 3443067 h 7569200"/>
              <a:gd name="connsiteX281" fmla="*/ 804772 w 8872353"/>
              <a:gd name="connsiteY281" fmla="*/ 3321833 h 7569200"/>
              <a:gd name="connsiteX282" fmla="*/ 465849 w 8872353"/>
              <a:gd name="connsiteY282" fmla="*/ 3364265 h 7569200"/>
              <a:gd name="connsiteX283" fmla="*/ 502162 w 8872353"/>
              <a:gd name="connsiteY283" fmla="*/ 3249092 h 7569200"/>
              <a:gd name="connsiteX284" fmla="*/ 1107382 w 8872353"/>
              <a:gd name="connsiteY284" fmla="*/ 2879326 h 7569200"/>
              <a:gd name="connsiteX285" fmla="*/ 1966794 w 8872353"/>
              <a:gd name="connsiteY285" fmla="*/ 2194350 h 7569200"/>
              <a:gd name="connsiteX286" fmla="*/ 2789893 w 8872353"/>
              <a:gd name="connsiteY286" fmla="*/ 1157792 h 7569200"/>
              <a:gd name="connsiteX287" fmla="*/ 4060855 w 8872353"/>
              <a:gd name="connsiteY287" fmla="*/ 563742 h 7569200"/>
              <a:gd name="connsiteX288" fmla="*/ 4660023 w 8872353"/>
              <a:gd name="connsiteY288" fmla="*/ 78803 h 7569200"/>
              <a:gd name="connsiteX289" fmla="*/ 4787119 w 8872353"/>
              <a:gd name="connsiteY289" fmla="*/ 66679 h 7569200"/>
              <a:gd name="connsiteX290" fmla="*/ 5004998 w 8872353"/>
              <a:gd name="connsiteY290" fmla="*/ 0 h 756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Lst>
            <a:rect l="l" t="t" r="r" b="b"/>
            <a:pathLst>
              <a:path w="8872353" h="7569200">
                <a:moveTo>
                  <a:pt x="7871349" y="3847293"/>
                </a:moveTo>
                <a:cubicBezTo>
                  <a:pt x="7874375" y="3853355"/>
                  <a:pt x="7872862" y="3851839"/>
                  <a:pt x="7871349" y="3849566"/>
                </a:cubicBezTo>
                <a:lnTo>
                  <a:pt x="7870478" y="3847968"/>
                </a:lnTo>
                <a:close/>
                <a:moveTo>
                  <a:pt x="5063358" y="3280595"/>
                </a:moveTo>
                <a:lnTo>
                  <a:pt x="5023651" y="3295561"/>
                </a:lnTo>
                <a:lnTo>
                  <a:pt x="4972569" y="3317750"/>
                </a:lnTo>
                <a:lnTo>
                  <a:pt x="4972345" y="3319922"/>
                </a:lnTo>
                <a:cubicBezTo>
                  <a:pt x="4990502" y="3333561"/>
                  <a:pt x="5012063" y="3354019"/>
                  <a:pt x="5044688" y="3386412"/>
                </a:cubicBezTo>
                <a:lnTo>
                  <a:pt x="5075321" y="3417013"/>
                </a:lnTo>
                <a:lnTo>
                  <a:pt x="5079988" y="3415500"/>
                </a:lnTo>
                <a:lnTo>
                  <a:pt x="5073342" y="3377224"/>
                </a:lnTo>
                <a:cubicBezTo>
                  <a:pt x="5071072" y="3363301"/>
                  <a:pt x="5069181" y="3350609"/>
                  <a:pt x="5067668" y="3338865"/>
                </a:cubicBezTo>
                <a:close/>
                <a:moveTo>
                  <a:pt x="8309499" y="951693"/>
                </a:moveTo>
                <a:cubicBezTo>
                  <a:pt x="8312525" y="957755"/>
                  <a:pt x="8311012" y="956239"/>
                  <a:pt x="8309499" y="953966"/>
                </a:cubicBezTo>
                <a:lnTo>
                  <a:pt x="8308628" y="952368"/>
                </a:lnTo>
                <a:close/>
                <a:moveTo>
                  <a:pt x="5004998" y="0"/>
                </a:moveTo>
                <a:cubicBezTo>
                  <a:pt x="5017102" y="6062"/>
                  <a:pt x="5041311" y="30309"/>
                  <a:pt x="5077624" y="54556"/>
                </a:cubicBezTo>
                <a:cubicBezTo>
                  <a:pt x="5004998" y="90926"/>
                  <a:pt x="4926320" y="121235"/>
                  <a:pt x="4962633" y="200038"/>
                </a:cubicBezTo>
                <a:cubicBezTo>
                  <a:pt x="5126042" y="212161"/>
                  <a:pt x="5271295" y="230346"/>
                  <a:pt x="5428652" y="248531"/>
                </a:cubicBezTo>
                <a:cubicBezTo>
                  <a:pt x="5422600" y="309149"/>
                  <a:pt x="5416548" y="363704"/>
                  <a:pt x="5410495" y="424322"/>
                </a:cubicBezTo>
                <a:cubicBezTo>
                  <a:pt x="5434704" y="442507"/>
                  <a:pt x="5464965" y="472816"/>
                  <a:pt x="5519435" y="527371"/>
                </a:cubicBezTo>
                <a:cubicBezTo>
                  <a:pt x="5507331" y="460692"/>
                  <a:pt x="5501278" y="418260"/>
                  <a:pt x="5501278" y="381890"/>
                </a:cubicBezTo>
                <a:cubicBezTo>
                  <a:pt x="5507331" y="375828"/>
                  <a:pt x="5513383" y="375828"/>
                  <a:pt x="5519435" y="375828"/>
                </a:cubicBezTo>
                <a:cubicBezTo>
                  <a:pt x="5543644" y="448569"/>
                  <a:pt x="5573905" y="527371"/>
                  <a:pt x="5604166" y="606174"/>
                </a:cubicBezTo>
                <a:cubicBezTo>
                  <a:pt x="5616270" y="581927"/>
                  <a:pt x="5640479" y="557680"/>
                  <a:pt x="5676792" y="503124"/>
                </a:cubicBezTo>
                <a:cubicBezTo>
                  <a:pt x="5640479" y="624359"/>
                  <a:pt x="5688897" y="654668"/>
                  <a:pt x="5761523" y="691038"/>
                </a:cubicBezTo>
                <a:cubicBezTo>
                  <a:pt x="5809941" y="715285"/>
                  <a:pt x="5846254" y="763779"/>
                  <a:pt x="5906776" y="824396"/>
                </a:cubicBezTo>
                <a:cubicBezTo>
                  <a:pt x="5858358" y="812273"/>
                  <a:pt x="5846254" y="812273"/>
                  <a:pt x="5815993" y="806211"/>
                </a:cubicBezTo>
                <a:cubicBezTo>
                  <a:pt x="5828097" y="824396"/>
                  <a:pt x="5834149" y="842582"/>
                  <a:pt x="5840202" y="842582"/>
                </a:cubicBezTo>
                <a:cubicBezTo>
                  <a:pt x="5876515" y="848643"/>
                  <a:pt x="5918880" y="854705"/>
                  <a:pt x="5949141" y="848643"/>
                </a:cubicBezTo>
                <a:cubicBezTo>
                  <a:pt x="6263855" y="745594"/>
                  <a:pt x="6584622" y="642544"/>
                  <a:pt x="6905389" y="545557"/>
                </a:cubicBezTo>
                <a:cubicBezTo>
                  <a:pt x="7002224" y="515248"/>
                  <a:pt x="7105111" y="515248"/>
                  <a:pt x="7201946" y="491001"/>
                </a:cubicBezTo>
                <a:cubicBezTo>
                  <a:pt x="7292729" y="460692"/>
                  <a:pt x="7377460" y="418260"/>
                  <a:pt x="7462191" y="394013"/>
                </a:cubicBezTo>
                <a:cubicBezTo>
                  <a:pt x="7516661" y="394013"/>
                  <a:pt x="7577183" y="412198"/>
                  <a:pt x="7625600" y="394013"/>
                </a:cubicBezTo>
                <a:cubicBezTo>
                  <a:pt x="7837427" y="315211"/>
                  <a:pt x="8049254" y="224284"/>
                  <a:pt x="8261081" y="139420"/>
                </a:cubicBezTo>
                <a:cubicBezTo>
                  <a:pt x="8333707" y="109111"/>
                  <a:pt x="8412386" y="96988"/>
                  <a:pt x="8497117" y="96988"/>
                </a:cubicBezTo>
                <a:cubicBezTo>
                  <a:pt x="8363969" y="175791"/>
                  <a:pt x="8224767" y="254593"/>
                  <a:pt x="8097672" y="339457"/>
                </a:cubicBezTo>
                <a:cubicBezTo>
                  <a:pt x="8031098" y="387951"/>
                  <a:pt x="7910054" y="381890"/>
                  <a:pt x="7916106" y="509186"/>
                </a:cubicBezTo>
                <a:cubicBezTo>
                  <a:pt x="7916106" y="521310"/>
                  <a:pt x="7891897" y="533433"/>
                  <a:pt x="7879793" y="533433"/>
                </a:cubicBezTo>
                <a:cubicBezTo>
                  <a:pt x="7710331" y="581927"/>
                  <a:pt x="7577183" y="691038"/>
                  <a:pt x="7431930" y="788026"/>
                </a:cubicBezTo>
                <a:cubicBezTo>
                  <a:pt x="7674018" y="769841"/>
                  <a:pt x="7861636" y="563742"/>
                  <a:pt x="8115828" y="581927"/>
                </a:cubicBezTo>
                <a:cubicBezTo>
                  <a:pt x="8067411" y="618297"/>
                  <a:pt x="8018993" y="648606"/>
                  <a:pt x="7976628" y="684977"/>
                </a:cubicBezTo>
                <a:cubicBezTo>
                  <a:pt x="7976628" y="691038"/>
                  <a:pt x="7976628" y="697100"/>
                  <a:pt x="7982680" y="703162"/>
                </a:cubicBezTo>
                <a:cubicBezTo>
                  <a:pt x="8031098" y="697100"/>
                  <a:pt x="8073463" y="691038"/>
                  <a:pt x="8121881" y="684977"/>
                </a:cubicBezTo>
                <a:cubicBezTo>
                  <a:pt x="8121881" y="691038"/>
                  <a:pt x="8127933" y="697100"/>
                  <a:pt x="8127933" y="703162"/>
                </a:cubicBezTo>
                <a:cubicBezTo>
                  <a:pt x="8031098" y="763779"/>
                  <a:pt x="7928210" y="824396"/>
                  <a:pt x="7813218" y="885014"/>
                </a:cubicBezTo>
                <a:cubicBezTo>
                  <a:pt x="7867688" y="897137"/>
                  <a:pt x="7904001" y="909261"/>
                  <a:pt x="7946367" y="915323"/>
                </a:cubicBezTo>
                <a:cubicBezTo>
                  <a:pt x="7940315" y="860767"/>
                  <a:pt x="8067411" y="745594"/>
                  <a:pt x="8133985" y="775903"/>
                </a:cubicBezTo>
                <a:cubicBezTo>
                  <a:pt x="8212663" y="800150"/>
                  <a:pt x="8248977" y="757717"/>
                  <a:pt x="8303447" y="733470"/>
                </a:cubicBezTo>
                <a:cubicBezTo>
                  <a:pt x="8406333" y="678915"/>
                  <a:pt x="8509221" y="624359"/>
                  <a:pt x="8636317" y="557680"/>
                </a:cubicBezTo>
                <a:cubicBezTo>
                  <a:pt x="8612109" y="606174"/>
                  <a:pt x="8600004" y="630421"/>
                  <a:pt x="8587899" y="666791"/>
                </a:cubicBezTo>
                <a:cubicBezTo>
                  <a:pt x="8684735" y="624359"/>
                  <a:pt x="8775518" y="581927"/>
                  <a:pt x="8866301" y="539495"/>
                </a:cubicBezTo>
                <a:cubicBezTo>
                  <a:pt x="8866301" y="545557"/>
                  <a:pt x="8872353" y="551618"/>
                  <a:pt x="8872353" y="551618"/>
                </a:cubicBezTo>
                <a:cubicBezTo>
                  <a:pt x="8684735" y="684977"/>
                  <a:pt x="8503169" y="818335"/>
                  <a:pt x="8309499" y="951693"/>
                </a:cubicBezTo>
                <a:cubicBezTo>
                  <a:pt x="8307986" y="950178"/>
                  <a:pt x="8307608" y="950178"/>
                  <a:pt x="8307797" y="950841"/>
                </a:cubicBezTo>
                <a:lnTo>
                  <a:pt x="8308628" y="952368"/>
                </a:lnTo>
                <a:lnTo>
                  <a:pt x="8068924" y="1138091"/>
                </a:lnTo>
                <a:cubicBezTo>
                  <a:pt x="7988732" y="1200224"/>
                  <a:pt x="7910054" y="1263873"/>
                  <a:pt x="7837427" y="1333583"/>
                </a:cubicBezTo>
                <a:cubicBezTo>
                  <a:pt x="7680070" y="1491188"/>
                  <a:pt x="7516661" y="1630608"/>
                  <a:pt x="7341147" y="1763966"/>
                </a:cubicBezTo>
                <a:cubicBezTo>
                  <a:pt x="7141424" y="1915509"/>
                  <a:pt x="6965911" y="2097362"/>
                  <a:pt x="6778292" y="2261029"/>
                </a:cubicBezTo>
                <a:cubicBezTo>
                  <a:pt x="6766188" y="2273152"/>
                  <a:pt x="6772240" y="2291337"/>
                  <a:pt x="6766188" y="2303461"/>
                </a:cubicBezTo>
                <a:cubicBezTo>
                  <a:pt x="6784345" y="2303461"/>
                  <a:pt x="6796449" y="2297399"/>
                  <a:pt x="6808553" y="2297399"/>
                </a:cubicBezTo>
                <a:cubicBezTo>
                  <a:pt x="6911441" y="2285275"/>
                  <a:pt x="6996172" y="2194350"/>
                  <a:pt x="7111163" y="2242843"/>
                </a:cubicBezTo>
                <a:cubicBezTo>
                  <a:pt x="7129320" y="2248905"/>
                  <a:pt x="7165633" y="2206473"/>
                  <a:pt x="7195894" y="2182226"/>
                </a:cubicBezTo>
                <a:cubicBezTo>
                  <a:pt x="7207999" y="2212534"/>
                  <a:pt x="7220103" y="2236781"/>
                  <a:pt x="7232207" y="2273152"/>
                </a:cubicBezTo>
                <a:cubicBezTo>
                  <a:pt x="7147477" y="2309522"/>
                  <a:pt x="7014328" y="2321646"/>
                  <a:pt x="6984067" y="2382263"/>
                </a:cubicBezTo>
                <a:cubicBezTo>
                  <a:pt x="6929597" y="2503498"/>
                  <a:pt x="6796449" y="2461066"/>
                  <a:pt x="6735927" y="2539868"/>
                </a:cubicBezTo>
                <a:cubicBezTo>
                  <a:pt x="6723823" y="2551992"/>
                  <a:pt x="6723823" y="2576239"/>
                  <a:pt x="6717770" y="2594424"/>
                </a:cubicBezTo>
                <a:cubicBezTo>
                  <a:pt x="6711718" y="2661103"/>
                  <a:pt x="6669353" y="2691412"/>
                  <a:pt x="6602779" y="2697474"/>
                </a:cubicBezTo>
                <a:cubicBezTo>
                  <a:pt x="6505943" y="2703535"/>
                  <a:pt x="6415160" y="2721720"/>
                  <a:pt x="6318325" y="2739906"/>
                </a:cubicBezTo>
                <a:cubicBezTo>
                  <a:pt x="6354638" y="2818708"/>
                  <a:pt x="6245699" y="2891449"/>
                  <a:pt x="6033872" y="2933881"/>
                </a:cubicBezTo>
                <a:cubicBezTo>
                  <a:pt x="6058081" y="2909634"/>
                  <a:pt x="6070185" y="2891449"/>
                  <a:pt x="6106498" y="2849017"/>
                </a:cubicBezTo>
                <a:cubicBezTo>
                  <a:pt x="6027820" y="2873264"/>
                  <a:pt x="5979402" y="2885387"/>
                  <a:pt x="5912828" y="2903573"/>
                </a:cubicBezTo>
                <a:cubicBezTo>
                  <a:pt x="5924932" y="2927820"/>
                  <a:pt x="5943089" y="2946005"/>
                  <a:pt x="5967298" y="2976313"/>
                </a:cubicBezTo>
                <a:cubicBezTo>
                  <a:pt x="5716132" y="3064209"/>
                  <a:pt x="5458913" y="3136950"/>
                  <a:pt x="5209260" y="3225603"/>
                </a:cubicBezTo>
                <a:lnTo>
                  <a:pt x="5082040" y="3273554"/>
                </a:lnTo>
                <a:lnTo>
                  <a:pt x="5121381" y="3384328"/>
                </a:lnTo>
                <a:lnTo>
                  <a:pt x="5127389" y="3400136"/>
                </a:lnTo>
                <a:lnTo>
                  <a:pt x="5158573" y="3390028"/>
                </a:lnTo>
                <a:cubicBezTo>
                  <a:pt x="5377209" y="3318802"/>
                  <a:pt x="5598114" y="3246061"/>
                  <a:pt x="5822045" y="3170289"/>
                </a:cubicBezTo>
                <a:cubicBezTo>
                  <a:pt x="5785732" y="3158166"/>
                  <a:pt x="5767575" y="3152104"/>
                  <a:pt x="5719158" y="3139980"/>
                </a:cubicBezTo>
                <a:cubicBezTo>
                  <a:pt x="5785732" y="3127857"/>
                  <a:pt x="5834149" y="3115733"/>
                  <a:pt x="5876515" y="3109672"/>
                </a:cubicBezTo>
                <a:cubicBezTo>
                  <a:pt x="5924932" y="3091487"/>
                  <a:pt x="5979402" y="3067240"/>
                  <a:pt x="6027820" y="3067240"/>
                </a:cubicBezTo>
                <a:cubicBezTo>
                  <a:pt x="6221490" y="3067240"/>
                  <a:pt x="6342534" y="2897511"/>
                  <a:pt x="6518048" y="2861140"/>
                </a:cubicBezTo>
                <a:cubicBezTo>
                  <a:pt x="6518048" y="3006622"/>
                  <a:pt x="6445421" y="3073301"/>
                  <a:pt x="6251751" y="3158166"/>
                </a:cubicBezTo>
                <a:cubicBezTo>
                  <a:pt x="6082290" y="3224845"/>
                  <a:pt x="5924932" y="3303647"/>
                  <a:pt x="5755471" y="3364265"/>
                </a:cubicBezTo>
                <a:cubicBezTo>
                  <a:pt x="5661662" y="3397605"/>
                  <a:pt x="5566340" y="3427913"/>
                  <a:pt x="5471018" y="3457464"/>
                </a:cubicBezTo>
                <a:lnTo>
                  <a:pt x="5243878" y="3528255"/>
                </a:lnTo>
                <a:lnTo>
                  <a:pt x="5274388" y="3558982"/>
                </a:lnTo>
                <a:lnTo>
                  <a:pt x="5320819" y="3585196"/>
                </a:lnTo>
                <a:lnTo>
                  <a:pt x="5546670" y="3500654"/>
                </a:lnTo>
                <a:cubicBezTo>
                  <a:pt x="5646531" y="3462768"/>
                  <a:pt x="5746393" y="3424883"/>
                  <a:pt x="5846254" y="3388512"/>
                </a:cubicBezTo>
                <a:cubicBezTo>
                  <a:pt x="5882567" y="3376388"/>
                  <a:pt x="5918880" y="3370326"/>
                  <a:pt x="5955193" y="3376388"/>
                </a:cubicBezTo>
                <a:cubicBezTo>
                  <a:pt x="6052029" y="3394573"/>
                  <a:pt x="6130707" y="3382450"/>
                  <a:pt x="6179125" y="3249092"/>
                </a:cubicBezTo>
                <a:cubicBezTo>
                  <a:pt x="6197281" y="3309709"/>
                  <a:pt x="6203333" y="3340018"/>
                  <a:pt x="6209386" y="3358203"/>
                </a:cubicBezTo>
                <a:cubicBezTo>
                  <a:pt x="6306221" y="3291524"/>
                  <a:pt x="6390952" y="3218783"/>
                  <a:pt x="6493839" y="3164227"/>
                </a:cubicBezTo>
                <a:cubicBezTo>
                  <a:pt x="6560413" y="3121795"/>
                  <a:pt x="6645144" y="3109672"/>
                  <a:pt x="6723823" y="3085425"/>
                </a:cubicBezTo>
                <a:cubicBezTo>
                  <a:pt x="6735927" y="3085425"/>
                  <a:pt x="6754084" y="3067240"/>
                  <a:pt x="6766188" y="3061178"/>
                </a:cubicBezTo>
                <a:cubicBezTo>
                  <a:pt x="6748031" y="3049054"/>
                  <a:pt x="6735927" y="3036931"/>
                  <a:pt x="6705666" y="3018746"/>
                </a:cubicBezTo>
                <a:cubicBezTo>
                  <a:pt x="6820658" y="2946005"/>
                  <a:pt x="6923545" y="2885387"/>
                  <a:pt x="7032485" y="2818708"/>
                </a:cubicBezTo>
                <a:cubicBezTo>
                  <a:pt x="7044589" y="2842955"/>
                  <a:pt x="7050641" y="2867202"/>
                  <a:pt x="7068798" y="2897511"/>
                </a:cubicBezTo>
                <a:cubicBezTo>
                  <a:pt x="7099059" y="2842955"/>
                  <a:pt x="7123268" y="2794461"/>
                  <a:pt x="7141424" y="2745967"/>
                </a:cubicBezTo>
                <a:cubicBezTo>
                  <a:pt x="7159581" y="2752029"/>
                  <a:pt x="7171685" y="2752029"/>
                  <a:pt x="7189842" y="2758091"/>
                </a:cubicBezTo>
                <a:cubicBezTo>
                  <a:pt x="7183790" y="2824770"/>
                  <a:pt x="7171685" y="2891449"/>
                  <a:pt x="7165633" y="2970252"/>
                </a:cubicBezTo>
                <a:cubicBezTo>
                  <a:pt x="7135372" y="2952067"/>
                  <a:pt x="7117216" y="2939943"/>
                  <a:pt x="7086955" y="2921758"/>
                </a:cubicBezTo>
                <a:cubicBezTo>
                  <a:pt x="7093007" y="2958128"/>
                  <a:pt x="7093007" y="2988437"/>
                  <a:pt x="7093007" y="3012684"/>
                </a:cubicBezTo>
                <a:cubicBezTo>
                  <a:pt x="7008276" y="3049054"/>
                  <a:pt x="6917493" y="3091487"/>
                  <a:pt x="6838814" y="3121795"/>
                </a:cubicBezTo>
                <a:cubicBezTo>
                  <a:pt x="6844867" y="3127857"/>
                  <a:pt x="6869075" y="3133919"/>
                  <a:pt x="6893284" y="3139980"/>
                </a:cubicBezTo>
                <a:cubicBezTo>
                  <a:pt x="6875128" y="3243030"/>
                  <a:pt x="6687509" y="3152104"/>
                  <a:pt x="6711718" y="3303647"/>
                </a:cubicBezTo>
                <a:cubicBezTo>
                  <a:pt x="6681457" y="3297586"/>
                  <a:pt x="6651196" y="3285462"/>
                  <a:pt x="6651196" y="3285462"/>
                </a:cubicBezTo>
                <a:cubicBezTo>
                  <a:pt x="6605805" y="3321833"/>
                  <a:pt x="6563439" y="3355172"/>
                  <a:pt x="6521831" y="3386996"/>
                </a:cubicBezTo>
                <a:lnTo>
                  <a:pt x="6435291" y="3451084"/>
                </a:lnTo>
                <a:lnTo>
                  <a:pt x="6467239" y="3441157"/>
                </a:lnTo>
                <a:cubicBezTo>
                  <a:pt x="6564074" y="3410848"/>
                  <a:pt x="6666961" y="3410848"/>
                  <a:pt x="6763796" y="3386601"/>
                </a:cubicBezTo>
                <a:cubicBezTo>
                  <a:pt x="6854579" y="3356292"/>
                  <a:pt x="6939310" y="3313860"/>
                  <a:pt x="7024041" y="3289613"/>
                </a:cubicBezTo>
                <a:cubicBezTo>
                  <a:pt x="7078511" y="3289613"/>
                  <a:pt x="7139033" y="3307798"/>
                  <a:pt x="7187450" y="3289613"/>
                </a:cubicBezTo>
                <a:cubicBezTo>
                  <a:pt x="7399277" y="3210811"/>
                  <a:pt x="7611104" y="3119884"/>
                  <a:pt x="7822931" y="3035020"/>
                </a:cubicBezTo>
                <a:cubicBezTo>
                  <a:pt x="7895557" y="3004711"/>
                  <a:pt x="7974236" y="2992588"/>
                  <a:pt x="8058967" y="2992588"/>
                </a:cubicBezTo>
                <a:cubicBezTo>
                  <a:pt x="7925819" y="3071391"/>
                  <a:pt x="7786617" y="3150193"/>
                  <a:pt x="7659522" y="3235057"/>
                </a:cubicBezTo>
                <a:cubicBezTo>
                  <a:pt x="7592948" y="3283551"/>
                  <a:pt x="7471904" y="3277490"/>
                  <a:pt x="7477956" y="3404786"/>
                </a:cubicBezTo>
                <a:cubicBezTo>
                  <a:pt x="7477956" y="3416910"/>
                  <a:pt x="7453747" y="3429033"/>
                  <a:pt x="7441643" y="3429033"/>
                </a:cubicBezTo>
                <a:cubicBezTo>
                  <a:pt x="7272181" y="3477527"/>
                  <a:pt x="7139033" y="3586638"/>
                  <a:pt x="6993780" y="3683626"/>
                </a:cubicBezTo>
                <a:cubicBezTo>
                  <a:pt x="7235868" y="3665441"/>
                  <a:pt x="7423486" y="3459342"/>
                  <a:pt x="7677678" y="3477527"/>
                </a:cubicBezTo>
                <a:cubicBezTo>
                  <a:pt x="7629261" y="3513897"/>
                  <a:pt x="7580843" y="3544206"/>
                  <a:pt x="7538478" y="3580577"/>
                </a:cubicBezTo>
                <a:cubicBezTo>
                  <a:pt x="7538478" y="3586638"/>
                  <a:pt x="7538478" y="3592700"/>
                  <a:pt x="7544530" y="3598762"/>
                </a:cubicBezTo>
                <a:cubicBezTo>
                  <a:pt x="7592948" y="3592700"/>
                  <a:pt x="7635313" y="3586638"/>
                  <a:pt x="7683731" y="3580577"/>
                </a:cubicBezTo>
                <a:cubicBezTo>
                  <a:pt x="7683731" y="3586638"/>
                  <a:pt x="7689783" y="3592700"/>
                  <a:pt x="7689783" y="3598762"/>
                </a:cubicBezTo>
                <a:cubicBezTo>
                  <a:pt x="7592948" y="3659379"/>
                  <a:pt x="7490060" y="3719996"/>
                  <a:pt x="7375068" y="3780614"/>
                </a:cubicBezTo>
                <a:cubicBezTo>
                  <a:pt x="7429538" y="3792737"/>
                  <a:pt x="7465851" y="3804861"/>
                  <a:pt x="7508217" y="3810923"/>
                </a:cubicBezTo>
                <a:cubicBezTo>
                  <a:pt x="7502165" y="3756367"/>
                  <a:pt x="7629261" y="3641194"/>
                  <a:pt x="7695835" y="3671503"/>
                </a:cubicBezTo>
                <a:cubicBezTo>
                  <a:pt x="7774513" y="3695750"/>
                  <a:pt x="7810827" y="3653317"/>
                  <a:pt x="7865297" y="3629070"/>
                </a:cubicBezTo>
                <a:cubicBezTo>
                  <a:pt x="7968183" y="3574515"/>
                  <a:pt x="8071071" y="3519959"/>
                  <a:pt x="8198167" y="3453280"/>
                </a:cubicBezTo>
                <a:cubicBezTo>
                  <a:pt x="8173959" y="3501774"/>
                  <a:pt x="8161854" y="3526021"/>
                  <a:pt x="8149749" y="3562391"/>
                </a:cubicBezTo>
                <a:cubicBezTo>
                  <a:pt x="8246585" y="3519959"/>
                  <a:pt x="8337368" y="3477527"/>
                  <a:pt x="8428151" y="3435095"/>
                </a:cubicBezTo>
                <a:cubicBezTo>
                  <a:pt x="8428151" y="3441157"/>
                  <a:pt x="8434203" y="3447218"/>
                  <a:pt x="8434203" y="3447218"/>
                </a:cubicBezTo>
                <a:cubicBezTo>
                  <a:pt x="8246585" y="3580577"/>
                  <a:pt x="8065019" y="3713935"/>
                  <a:pt x="7871349" y="3847293"/>
                </a:cubicBezTo>
                <a:cubicBezTo>
                  <a:pt x="7869836" y="3845778"/>
                  <a:pt x="7869458" y="3845778"/>
                  <a:pt x="7869647" y="3846441"/>
                </a:cubicBezTo>
                <a:lnTo>
                  <a:pt x="7870478" y="3847968"/>
                </a:lnTo>
                <a:lnTo>
                  <a:pt x="7630774" y="4033691"/>
                </a:lnTo>
                <a:cubicBezTo>
                  <a:pt x="7550582" y="4095824"/>
                  <a:pt x="7471904" y="4159473"/>
                  <a:pt x="7399277" y="4229183"/>
                </a:cubicBezTo>
                <a:cubicBezTo>
                  <a:pt x="7241920" y="4386788"/>
                  <a:pt x="7078511" y="4526208"/>
                  <a:pt x="6902997" y="4659566"/>
                </a:cubicBezTo>
                <a:cubicBezTo>
                  <a:pt x="6703274" y="4811109"/>
                  <a:pt x="6527761" y="4992962"/>
                  <a:pt x="6340142" y="5156629"/>
                </a:cubicBezTo>
                <a:cubicBezTo>
                  <a:pt x="6328038" y="5168752"/>
                  <a:pt x="6334090" y="5186937"/>
                  <a:pt x="6328038" y="5199061"/>
                </a:cubicBezTo>
                <a:cubicBezTo>
                  <a:pt x="6346195" y="5199061"/>
                  <a:pt x="6358299" y="5192999"/>
                  <a:pt x="6370403" y="5192999"/>
                </a:cubicBezTo>
                <a:cubicBezTo>
                  <a:pt x="6473291" y="5180875"/>
                  <a:pt x="6558022" y="5089950"/>
                  <a:pt x="6673013" y="5138443"/>
                </a:cubicBezTo>
                <a:cubicBezTo>
                  <a:pt x="6691170" y="5144505"/>
                  <a:pt x="6727483" y="5102073"/>
                  <a:pt x="6757744" y="5077826"/>
                </a:cubicBezTo>
                <a:cubicBezTo>
                  <a:pt x="6769849" y="5108134"/>
                  <a:pt x="6781953" y="5132381"/>
                  <a:pt x="6794057" y="5168752"/>
                </a:cubicBezTo>
                <a:cubicBezTo>
                  <a:pt x="6709327" y="5205122"/>
                  <a:pt x="6576178" y="5217246"/>
                  <a:pt x="6545917" y="5277863"/>
                </a:cubicBezTo>
                <a:cubicBezTo>
                  <a:pt x="6491447" y="5399098"/>
                  <a:pt x="6358299" y="5356666"/>
                  <a:pt x="6297777" y="5435468"/>
                </a:cubicBezTo>
                <a:cubicBezTo>
                  <a:pt x="6285673" y="5447592"/>
                  <a:pt x="6285673" y="5471839"/>
                  <a:pt x="6279620" y="5490024"/>
                </a:cubicBezTo>
                <a:cubicBezTo>
                  <a:pt x="6273568" y="5556703"/>
                  <a:pt x="6231203" y="5587012"/>
                  <a:pt x="6164629" y="5593074"/>
                </a:cubicBezTo>
                <a:cubicBezTo>
                  <a:pt x="6067793" y="5599135"/>
                  <a:pt x="5977010" y="5617320"/>
                  <a:pt x="5880175" y="5635506"/>
                </a:cubicBezTo>
                <a:cubicBezTo>
                  <a:pt x="5916488" y="5714308"/>
                  <a:pt x="5807549" y="5787049"/>
                  <a:pt x="5595722" y="5829481"/>
                </a:cubicBezTo>
                <a:cubicBezTo>
                  <a:pt x="5619931" y="5805234"/>
                  <a:pt x="5632035" y="5787049"/>
                  <a:pt x="5668348" y="5744617"/>
                </a:cubicBezTo>
                <a:cubicBezTo>
                  <a:pt x="5589670" y="5768864"/>
                  <a:pt x="5541252" y="5780987"/>
                  <a:pt x="5474678" y="5799173"/>
                </a:cubicBezTo>
                <a:cubicBezTo>
                  <a:pt x="5486782" y="5823420"/>
                  <a:pt x="5504939" y="5841605"/>
                  <a:pt x="5529148" y="5871913"/>
                </a:cubicBezTo>
                <a:cubicBezTo>
                  <a:pt x="5026815" y="6047704"/>
                  <a:pt x="4500274" y="6162877"/>
                  <a:pt x="4058463" y="6465964"/>
                </a:cubicBezTo>
                <a:cubicBezTo>
                  <a:pt x="4058463" y="6478087"/>
                  <a:pt x="4064516" y="6490211"/>
                  <a:pt x="4070568" y="6496272"/>
                </a:cubicBezTo>
                <a:cubicBezTo>
                  <a:pt x="4500274" y="6356853"/>
                  <a:pt x="4936032" y="6217433"/>
                  <a:pt x="5383895" y="6065889"/>
                </a:cubicBezTo>
                <a:cubicBezTo>
                  <a:pt x="5347582" y="6053766"/>
                  <a:pt x="5329425" y="6047704"/>
                  <a:pt x="5281008" y="6035580"/>
                </a:cubicBezTo>
                <a:cubicBezTo>
                  <a:pt x="5347582" y="6023457"/>
                  <a:pt x="5395999" y="6011333"/>
                  <a:pt x="5438365" y="6005272"/>
                </a:cubicBezTo>
                <a:cubicBezTo>
                  <a:pt x="5486782" y="5987087"/>
                  <a:pt x="5541252" y="5962840"/>
                  <a:pt x="5589670" y="5962840"/>
                </a:cubicBezTo>
                <a:cubicBezTo>
                  <a:pt x="5783340" y="5962840"/>
                  <a:pt x="5904384" y="5793111"/>
                  <a:pt x="6079898" y="5756740"/>
                </a:cubicBezTo>
                <a:cubicBezTo>
                  <a:pt x="6079898" y="5902222"/>
                  <a:pt x="6007271" y="5968901"/>
                  <a:pt x="5813601" y="6053766"/>
                </a:cubicBezTo>
                <a:cubicBezTo>
                  <a:pt x="5644140" y="6120445"/>
                  <a:pt x="5486782" y="6199247"/>
                  <a:pt x="5317321" y="6259865"/>
                </a:cubicBezTo>
                <a:cubicBezTo>
                  <a:pt x="5129703" y="6326544"/>
                  <a:pt x="4936032" y="6381099"/>
                  <a:pt x="4748414" y="6441717"/>
                </a:cubicBezTo>
                <a:cubicBezTo>
                  <a:pt x="4687892" y="6459902"/>
                  <a:pt x="4633422" y="6490211"/>
                  <a:pt x="4585005" y="6544766"/>
                </a:cubicBezTo>
                <a:cubicBezTo>
                  <a:pt x="4615266" y="6550828"/>
                  <a:pt x="4651579" y="6562952"/>
                  <a:pt x="4687892" y="6569013"/>
                </a:cubicBezTo>
                <a:cubicBezTo>
                  <a:pt x="4687892" y="6593260"/>
                  <a:pt x="4687892" y="6617507"/>
                  <a:pt x="4687892" y="6666001"/>
                </a:cubicBezTo>
                <a:cubicBezTo>
                  <a:pt x="4712101" y="6635692"/>
                  <a:pt x="4742362" y="6611446"/>
                  <a:pt x="4742362" y="6599322"/>
                </a:cubicBezTo>
                <a:cubicBezTo>
                  <a:pt x="4730257" y="6538705"/>
                  <a:pt x="4760518" y="6526581"/>
                  <a:pt x="4808936" y="6508396"/>
                </a:cubicBezTo>
                <a:cubicBezTo>
                  <a:pt x="5008659" y="6435655"/>
                  <a:pt x="5208381" y="6356853"/>
                  <a:pt x="5408104" y="6284112"/>
                </a:cubicBezTo>
                <a:cubicBezTo>
                  <a:pt x="5444417" y="6271988"/>
                  <a:pt x="5480730" y="6265926"/>
                  <a:pt x="5517043" y="6271988"/>
                </a:cubicBezTo>
                <a:cubicBezTo>
                  <a:pt x="5613879" y="6290173"/>
                  <a:pt x="5692557" y="6278050"/>
                  <a:pt x="5740975" y="6144692"/>
                </a:cubicBezTo>
                <a:cubicBezTo>
                  <a:pt x="5759131" y="6205309"/>
                  <a:pt x="5765183" y="6235618"/>
                  <a:pt x="5771236" y="6253803"/>
                </a:cubicBezTo>
                <a:cubicBezTo>
                  <a:pt x="5868071" y="6187124"/>
                  <a:pt x="5952802" y="6114383"/>
                  <a:pt x="6055689" y="6059827"/>
                </a:cubicBezTo>
                <a:cubicBezTo>
                  <a:pt x="6122263" y="6017395"/>
                  <a:pt x="6206994" y="6005272"/>
                  <a:pt x="6285673" y="5981025"/>
                </a:cubicBezTo>
                <a:cubicBezTo>
                  <a:pt x="6297777" y="5981025"/>
                  <a:pt x="6315934" y="5962840"/>
                  <a:pt x="6328038" y="5956778"/>
                </a:cubicBezTo>
                <a:cubicBezTo>
                  <a:pt x="6309881" y="5944654"/>
                  <a:pt x="6297777" y="5932531"/>
                  <a:pt x="6267516" y="5914346"/>
                </a:cubicBezTo>
                <a:cubicBezTo>
                  <a:pt x="6382508" y="5841605"/>
                  <a:pt x="6485395" y="5780987"/>
                  <a:pt x="6594335" y="5714308"/>
                </a:cubicBezTo>
                <a:cubicBezTo>
                  <a:pt x="6606439" y="5738555"/>
                  <a:pt x="6612491" y="5762802"/>
                  <a:pt x="6630648" y="5793111"/>
                </a:cubicBezTo>
                <a:cubicBezTo>
                  <a:pt x="6660909" y="5738555"/>
                  <a:pt x="6685118" y="5690061"/>
                  <a:pt x="6703274" y="5641567"/>
                </a:cubicBezTo>
                <a:cubicBezTo>
                  <a:pt x="6721431" y="5647629"/>
                  <a:pt x="6733535" y="5647629"/>
                  <a:pt x="6751692" y="5653691"/>
                </a:cubicBezTo>
                <a:cubicBezTo>
                  <a:pt x="6745640" y="5720370"/>
                  <a:pt x="6733535" y="5787049"/>
                  <a:pt x="6727483" y="5865852"/>
                </a:cubicBezTo>
                <a:cubicBezTo>
                  <a:pt x="6697222" y="5847667"/>
                  <a:pt x="6679066" y="5835543"/>
                  <a:pt x="6648805" y="5817358"/>
                </a:cubicBezTo>
                <a:cubicBezTo>
                  <a:pt x="6654857" y="5853728"/>
                  <a:pt x="6654857" y="5884037"/>
                  <a:pt x="6654857" y="5908284"/>
                </a:cubicBezTo>
                <a:cubicBezTo>
                  <a:pt x="6570126" y="5944654"/>
                  <a:pt x="6479343" y="5987087"/>
                  <a:pt x="6400664" y="6017395"/>
                </a:cubicBezTo>
                <a:cubicBezTo>
                  <a:pt x="6406717" y="6023457"/>
                  <a:pt x="6430925" y="6029519"/>
                  <a:pt x="6455134" y="6035580"/>
                </a:cubicBezTo>
                <a:cubicBezTo>
                  <a:pt x="6436978" y="6138630"/>
                  <a:pt x="6249359" y="6047704"/>
                  <a:pt x="6273568" y="6199247"/>
                </a:cubicBezTo>
                <a:cubicBezTo>
                  <a:pt x="6243307" y="6193186"/>
                  <a:pt x="6213046" y="6181062"/>
                  <a:pt x="6213046" y="6181062"/>
                </a:cubicBezTo>
                <a:cubicBezTo>
                  <a:pt x="6122263" y="6253803"/>
                  <a:pt x="6043585" y="6314420"/>
                  <a:pt x="5958854" y="6375038"/>
                </a:cubicBezTo>
                <a:cubicBezTo>
                  <a:pt x="5928593" y="6393223"/>
                  <a:pt x="5892280" y="6393223"/>
                  <a:pt x="5862019" y="6417470"/>
                </a:cubicBezTo>
                <a:cubicBezTo>
                  <a:pt x="5837810" y="6435655"/>
                  <a:pt x="5825705" y="6472026"/>
                  <a:pt x="5801497" y="6490211"/>
                </a:cubicBezTo>
                <a:cubicBezTo>
                  <a:pt x="5710714" y="6532643"/>
                  <a:pt x="5638087" y="6617507"/>
                  <a:pt x="5523096" y="6587199"/>
                </a:cubicBezTo>
                <a:cubicBezTo>
                  <a:pt x="5517043" y="6587199"/>
                  <a:pt x="5498887" y="6593260"/>
                  <a:pt x="5498887" y="6593260"/>
                </a:cubicBezTo>
                <a:cubicBezTo>
                  <a:pt x="5498887" y="6696310"/>
                  <a:pt x="5383895" y="6653878"/>
                  <a:pt x="5353634" y="6714495"/>
                </a:cubicBezTo>
                <a:cubicBezTo>
                  <a:pt x="5353634" y="6726619"/>
                  <a:pt x="5365738" y="6744804"/>
                  <a:pt x="5383895" y="6769051"/>
                </a:cubicBezTo>
                <a:cubicBezTo>
                  <a:pt x="5317321" y="6781174"/>
                  <a:pt x="5262851" y="6793298"/>
                  <a:pt x="5202329" y="6805421"/>
                </a:cubicBezTo>
                <a:cubicBezTo>
                  <a:pt x="5196277" y="6823606"/>
                  <a:pt x="5184172" y="6872100"/>
                  <a:pt x="5159964" y="6884224"/>
                </a:cubicBezTo>
                <a:cubicBezTo>
                  <a:pt x="4990502" y="6950903"/>
                  <a:pt x="4814988" y="7011520"/>
                  <a:pt x="4645527" y="7072138"/>
                </a:cubicBezTo>
                <a:cubicBezTo>
                  <a:pt x="4566848" y="7102446"/>
                  <a:pt x="4494222" y="7144879"/>
                  <a:pt x="4415543" y="7169126"/>
                </a:cubicBezTo>
                <a:cubicBezTo>
                  <a:pt x="4233977" y="7229743"/>
                  <a:pt x="4058463" y="7284299"/>
                  <a:pt x="3876898" y="7332792"/>
                </a:cubicBezTo>
                <a:cubicBezTo>
                  <a:pt x="3640862" y="7393410"/>
                  <a:pt x="3404826" y="7447965"/>
                  <a:pt x="3162738" y="7496459"/>
                </a:cubicBezTo>
                <a:cubicBezTo>
                  <a:pt x="3126425" y="7508583"/>
                  <a:pt x="3090112" y="7502521"/>
                  <a:pt x="3053798" y="7502521"/>
                </a:cubicBezTo>
                <a:cubicBezTo>
                  <a:pt x="2975120" y="7496459"/>
                  <a:pt x="2896441" y="7496459"/>
                  <a:pt x="2823815" y="7490398"/>
                </a:cubicBezTo>
                <a:cubicBezTo>
                  <a:pt x="2751189" y="7490398"/>
                  <a:pt x="2690667" y="7532830"/>
                  <a:pt x="2605936" y="7496459"/>
                </a:cubicBezTo>
                <a:cubicBezTo>
                  <a:pt x="2533309" y="7466151"/>
                  <a:pt x="2430422" y="7526768"/>
                  <a:pt x="2339639" y="7551015"/>
                </a:cubicBezTo>
                <a:cubicBezTo>
                  <a:pt x="2363848" y="7447965"/>
                  <a:pt x="2309378" y="7484336"/>
                  <a:pt x="2273065" y="7508583"/>
                </a:cubicBezTo>
                <a:cubicBezTo>
                  <a:pt x="2236752" y="7526768"/>
                  <a:pt x="2200438" y="7544953"/>
                  <a:pt x="2152021" y="7569200"/>
                </a:cubicBezTo>
                <a:cubicBezTo>
                  <a:pt x="2164125" y="7514645"/>
                  <a:pt x="2170177" y="7478274"/>
                  <a:pt x="2176229" y="7435842"/>
                </a:cubicBezTo>
                <a:cubicBezTo>
                  <a:pt x="2170177" y="7429780"/>
                  <a:pt x="2152021" y="7411595"/>
                  <a:pt x="2127812" y="7393410"/>
                </a:cubicBezTo>
                <a:cubicBezTo>
                  <a:pt x="2139916" y="7381286"/>
                  <a:pt x="2145969" y="7369163"/>
                  <a:pt x="2158073" y="7369163"/>
                </a:cubicBezTo>
                <a:cubicBezTo>
                  <a:pt x="2242804" y="7375225"/>
                  <a:pt x="2321482" y="7369163"/>
                  <a:pt x="2363848" y="7278237"/>
                </a:cubicBezTo>
                <a:cubicBezTo>
                  <a:pt x="2369900" y="7266113"/>
                  <a:pt x="2394109" y="7260052"/>
                  <a:pt x="2406213" y="7266113"/>
                </a:cubicBezTo>
                <a:cubicBezTo>
                  <a:pt x="2575675" y="7338854"/>
                  <a:pt x="2720927" y="7223681"/>
                  <a:pt x="2884337" y="7217619"/>
                </a:cubicBezTo>
                <a:cubicBezTo>
                  <a:pt x="2884337" y="7205496"/>
                  <a:pt x="2884337" y="7199434"/>
                  <a:pt x="2878285" y="7187311"/>
                </a:cubicBezTo>
                <a:cubicBezTo>
                  <a:pt x="2787502" y="7205496"/>
                  <a:pt x="2690667" y="7223681"/>
                  <a:pt x="2593831" y="7247928"/>
                </a:cubicBezTo>
                <a:cubicBezTo>
                  <a:pt x="2787502" y="7126693"/>
                  <a:pt x="2787502" y="7126693"/>
                  <a:pt x="2775397" y="7096385"/>
                </a:cubicBezTo>
                <a:cubicBezTo>
                  <a:pt x="2696719" y="7126693"/>
                  <a:pt x="2599884" y="7205496"/>
                  <a:pt x="2545414" y="7181249"/>
                </a:cubicBezTo>
                <a:cubicBezTo>
                  <a:pt x="2436474" y="7132755"/>
                  <a:pt x="2345691" y="7193372"/>
                  <a:pt x="2254908" y="7199434"/>
                </a:cubicBezTo>
                <a:cubicBezTo>
                  <a:pt x="2170177" y="7199434"/>
                  <a:pt x="2085447" y="7247928"/>
                  <a:pt x="1994664" y="7272175"/>
                </a:cubicBezTo>
                <a:cubicBezTo>
                  <a:pt x="1988611" y="7241866"/>
                  <a:pt x="1982559" y="7217619"/>
                  <a:pt x="1976507" y="7193372"/>
                </a:cubicBezTo>
                <a:cubicBezTo>
                  <a:pt x="1867567" y="7211558"/>
                  <a:pt x="1758628" y="7229743"/>
                  <a:pt x="1649688" y="7247928"/>
                </a:cubicBezTo>
                <a:cubicBezTo>
                  <a:pt x="1649688" y="7241866"/>
                  <a:pt x="1649688" y="7229743"/>
                  <a:pt x="1643636" y="7223681"/>
                </a:cubicBezTo>
                <a:cubicBezTo>
                  <a:pt x="1661793" y="7217619"/>
                  <a:pt x="1673897" y="7211558"/>
                  <a:pt x="1692054" y="7205496"/>
                </a:cubicBezTo>
                <a:cubicBezTo>
                  <a:pt x="1673897" y="7193372"/>
                  <a:pt x="1661793" y="7181249"/>
                  <a:pt x="1643636" y="7169126"/>
                </a:cubicBezTo>
                <a:cubicBezTo>
                  <a:pt x="1643636" y="7163064"/>
                  <a:pt x="1649688" y="7150940"/>
                  <a:pt x="1649688" y="7138817"/>
                </a:cubicBezTo>
                <a:cubicBezTo>
                  <a:pt x="1716262" y="7138817"/>
                  <a:pt x="1782836" y="7132755"/>
                  <a:pt x="1843359" y="7126693"/>
                </a:cubicBezTo>
                <a:cubicBezTo>
                  <a:pt x="1843359" y="7138817"/>
                  <a:pt x="1837306" y="7150940"/>
                  <a:pt x="1831254" y="7163064"/>
                </a:cubicBezTo>
                <a:cubicBezTo>
                  <a:pt x="1843359" y="7163064"/>
                  <a:pt x="1873620" y="7169126"/>
                  <a:pt x="1879672" y="7163064"/>
                </a:cubicBezTo>
                <a:cubicBezTo>
                  <a:pt x="1934141" y="7047891"/>
                  <a:pt x="2043081" y="7066076"/>
                  <a:pt x="2133864" y="7041829"/>
                </a:cubicBezTo>
                <a:cubicBezTo>
                  <a:pt x="2145969" y="7041829"/>
                  <a:pt x="2145969" y="7011520"/>
                  <a:pt x="2158073" y="6987273"/>
                </a:cubicBezTo>
                <a:cubicBezTo>
                  <a:pt x="2188334" y="7005458"/>
                  <a:pt x="2218595" y="7023644"/>
                  <a:pt x="2254908" y="7047891"/>
                </a:cubicBezTo>
                <a:cubicBezTo>
                  <a:pt x="2285169" y="7023644"/>
                  <a:pt x="2327534" y="6999397"/>
                  <a:pt x="2351743" y="6969088"/>
                </a:cubicBezTo>
                <a:cubicBezTo>
                  <a:pt x="2375952" y="6938779"/>
                  <a:pt x="2424370" y="6890285"/>
                  <a:pt x="2333587" y="6878162"/>
                </a:cubicBezTo>
                <a:cubicBezTo>
                  <a:pt x="2291221" y="6872100"/>
                  <a:pt x="2248856" y="6859977"/>
                  <a:pt x="2200438" y="6853915"/>
                </a:cubicBezTo>
                <a:cubicBezTo>
                  <a:pt x="2085447" y="6878162"/>
                  <a:pt x="1970455" y="6902409"/>
                  <a:pt x="1849411" y="6926656"/>
                </a:cubicBezTo>
                <a:cubicBezTo>
                  <a:pt x="1825202" y="6926656"/>
                  <a:pt x="1788889" y="6932718"/>
                  <a:pt x="1770732" y="6914532"/>
                </a:cubicBezTo>
                <a:cubicBezTo>
                  <a:pt x="1667845" y="6829668"/>
                  <a:pt x="1571010" y="6878162"/>
                  <a:pt x="1474174" y="6920594"/>
                </a:cubicBezTo>
                <a:cubicBezTo>
                  <a:pt x="1371287" y="6969088"/>
                  <a:pt x="1268400" y="7017582"/>
                  <a:pt x="1165512" y="7066076"/>
                </a:cubicBezTo>
                <a:cubicBezTo>
                  <a:pt x="1159460" y="7060014"/>
                  <a:pt x="1159460" y="7053952"/>
                  <a:pt x="1153408" y="7041829"/>
                </a:cubicBezTo>
                <a:cubicBezTo>
                  <a:pt x="1268400" y="6969088"/>
                  <a:pt x="1377339" y="6896347"/>
                  <a:pt x="1492331" y="6817545"/>
                </a:cubicBezTo>
                <a:cubicBezTo>
                  <a:pt x="1498383" y="6829668"/>
                  <a:pt x="1504435" y="6835730"/>
                  <a:pt x="1510488" y="6847853"/>
                </a:cubicBezTo>
                <a:cubicBezTo>
                  <a:pt x="1516540" y="6823606"/>
                  <a:pt x="1516540" y="6793298"/>
                  <a:pt x="1522592" y="6775112"/>
                </a:cubicBezTo>
                <a:cubicBezTo>
                  <a:pt x="1389444" y="6793298"/>
                  <a:pt x="1262347" y="6835730"/>
                  <a:pt x="1135251" y="6756927"/>
                </a:cubicBezTo>
                <a:cubicBezTo>
                  <a:pt x="1086834" y="6726619"/>
                  <a:pt x="1032364" y="6708433"/>
                  <a:pt x="977894" y="6684186"/>
                </a:cubicBezTo>
                <a:cubicBezTo>
                  <a:pt x="899216" y="6641754"/>
                  <a:pt x="826589" y="6593260"/>
                  <a:pt x="747911" y="6550828"/>
                </a:cubicBezTo>
                <a:cubicBezTo>
                  <a:pt x="711597" y="6538705"/>
                  <a:pt x="675284" y="6526581"/>
                  <a:pt x="620814" y="6508396"/>
                </a:cubicBezTo>
                <a:cubicBezTo>
                  <a:pt x="645023" y="6411408"/>
                  <a:pt x="596605" y="6338667"/>
                  <a:pt x="457405" y="6338667"/>
                </a:cubicBezTo>
                <a:cubicBezTo>
                  <a:pt x="505823" y="6229556"/>
                  <a:pt x="475562" y="6199247"/>
                  <a:pt x="366622" y="6217433"/>
                </a:cubicBezTo>
                <a:cubicBezTo>
                  <a:pt x="263735" y="6235618"/>
                  <a:pt x="154795" y="6241680"/>
                  <a:pt x="27699" y="6259865"/>
                </a:cubicBezTo>
                <a:cubicBezTo>
                  <a:pt x="-8614" y="6223494"/>
                  <a:pt x="-20719" y="6187124"/>
                  <a:pt x="64012" y="6144692"/>
                </a:cubicBezTo>
                <a:cubicBezTo>
                  <a:pt x="269787" y="6023457"/>
                  <a:pt x="481614" y="5914346"/>
                  <a:pt x="669232" y="5774926"/>
                </a:cubicBezTo>
                <a:cubicBezTo>
                  <a:pt x="965790" y="5556703"/>
                  <a:pt x="1244191" y="5314234"/>
                  <a:pt x="1528644" y="5089950"/>
                </a:cubicBezTo>
                <a:cubicBezTo>
                  <a:pt x="1729124" y="4927041"/>
                  <a:pt x="1872864" y="4662313"/>
                  <a:pt x="2032266" y="4424520"/>
                </a:cubicBezTo>
                <a:lnTo>
                  <a:pt x="2087482" y="4346613"/>
                </a:lnTo>
                <a:lnTo>
                  <a:pt x="2087082" y="4340205"/>
                </a:lnTo>
                <a:cubicBezTo>
                  <a:pt x="2086325" y="4335658"/>
                  <a:pt x="2084812" y="4331112"/>
                  <a:pt x="2081786" y="4328081"/>
                </a:cubicBezTo>
                <a:cubicBezTo>
                  <a:pt x="2090865" y="4325050"/>
                  <a:pt x="2098430" y="4322019"/>
                  <a:pt x="2105995" y="4318989"/>
                </a:cubicBezTo>
                <a:lnTo>
                  <a:pt x="2107447" y="4318444"/>
                </a:lnTo>
                <a:lnTo>
                  <a:pt x="2119307" y="4301710"/>
                </a:lnTo>
                <a:lnTo>
                  <a:pt x="2105995" y="4291711"/>
                </a:lnTo>
                <a:cubicBezTo>
                  <a:pt x="2098430" y="4285649"/>
                  <a:pt x="2090865" y="4279588"/>
                  <a:pt x="2081786" y="4273526"/>
                </a:cubicBezTo>
                <a:cubicBezTo>
                  <a:pt x="2081786" y="4267464"/>
                  <a:pt x="2087838" y="4255340"/>
                  <a:pt x="2087838" y="4243217"/>
                </a:cubicBezTo>
                <a:lnTo>
                  <a:pt x="2168881" y="4240119"/>
                </a:lnTo>
                <a:lnTo>
                  <a:pt x="2235700" y="4160337"/>
                </a:lnTo>
                <a:cubicBezTo>
                  <a:pt x="2272403" y="4121208"/>
                  <a:pt x="2310891" y="4085216"/>
                  <a:pt x="2351743" y="4053392"/>
                </a:cubicBezTo>
                <a:lnTo>
                  <a:pt x="2429170" y="4002086"/>
                </a:lnTo>
                <a:lnTo>
                  <a:pt x="2287561" y="4031056"/>
                </a:lnTo>
                <a:cubicBezTo>
                  <a:pt x="2263352" y="4031056"/>
                  <a:pt x="2227039" y="4037118"/>
                  <a:pt x="2208882" y="4018932"/>
                </a:cubicBezTo>
                <a:cubicBezTo>
                  <a:pt x="2105995" y="3934068"/>
                  <a:pt x="2009160" y="3982562"/>
                  <a:pt x="1912324" y="4024994"/>
                </a:cubicBezTo>
                <a:cubicBezTo>
                  <a:pt x="1809437" y="4073488"/>
                  <a:pt x="1706550" y="4121982"/>
                  <a:pt x="1603662" y="4170476"/>
                </a:cubicBezTo>
                <a:cubicBezTo>
                  <a:pt x="1597610" y="4164414"/>
                  <a:pt x="1597610" y="4158352"/>
                  <a:pt x="1591558" y="4146229"/>
                </a:cubicBezTo>
                <a:cubicBezTo>
                  <a:pt x="1706550" y="4073488"/>
                  <a:pt x="1815489" y="4000747"/>
                  <a:pt x="1930481" y="3921945"/>
                </a:cubicBezTo>
                <a:cubicBezTo>
                  <a:pt x="1936533" y="3934068"/>
                  <a:pt x="1942585" y="3940130"/>
                  <a:pt x="1948638" y="3952253"/>
                </a:cubicBezTo>
                <a:cubicBezTo>
                  <a:pt x="1954690" y="3928006"/>
                  <a:pt x="1954690" y="3897698"/>
                  <a:pt x="1960742" y="3879512"/>
                </a:cubicBezTo>
                <a:cubicBezTo>
                  <a:pt x="1827594" y="3897698"/>
                  <a:pt x="1700497" y="3940130"/>
                  <a:pt x="1573401" y="3861327"/>
                </a:cubicBezTo>
                <a:cubicBezTo>
                  <a:pt x="1524984" y="3831019"/>
                  <a:pt x="1470514" y="3812833"/>
                  <a:pt x="1416044" y="3788586"/>
                </a:cubicBezTo>
                <a:cubicBezTo>
                  <a:pt x="1337366" y="3746154"/>
                  <a:pt x="1264739" y="3697660"/>
                  <a:pt x="1186061" y="3655228"/>
                </a:cubicBezTo>
                <a:cubicBezTo>
                  <a:pt x="1149747" y="3643105"/>
                  <a:pt x="1113434" y="3630981"/>
                  <a:pt x="1058964" y="3612796"/>
                </a:cubicBezTo>
                <a:cubicBezTo>
                  <a:pt x="1083173" y="3515808"/>
                  <a:pt x="1034755" y="3443067"/>
                  <a:pt x="895555" y="3443067"/>
                </a:cubicBezTo>
                <a:cubicBezTo>
                  <a:pt x="943973" y="3333956"/>
                  <a:pt x="913712" y="3303647"/>
                  <a:pt x="804772" y="3321833"/>
                </a:cubicBezTo>
                <a:cubicBezTo>
                  <a:pt x="701885" y="3340018"/>
                  <a:pt x="592945" y="3346080"/>
                  <a:pt x="465849" y="3364265"/>
                </a:cubicBezTo>
                <a:cubicBezTo>
                  <a:pt x="429536" y="3327894"/>
                  <a:pt x="417431" y="3291524"/>
                  <a:pt x="502162" y="3249092"/>
                </a:cubicBezTo>
                <a:cubicBezTo>
                  <a:pt x="707937" y="3127857"/>
                  <a:pt x="919764" y="3018746"/>
                  <a:pt x="1107382" y="2879326"/>
                </a:cubicBezTo>
                <a:cubicBezTo>
                  <a:pt x="1403940" y="2661103"/>
                  <a:pt x="1682341" y="2418634"/>
                  <a:pt x="1966794" y="2194350"/>
                </a:cubicBezTo>
                <a:cubicBezTo>
                  <a:pt x="2287561" y="1933695"/>
                  <a:pt x="2463075" y="1412385"/>
                  <a:pt x="2789893" y="1157792"/>
                </a:cubicBezTo>
                <a:cubicBezTo>
                  <a:pt x="3165130" y="866829"/>
                  <a:pt x="3685619" y="848643"/>
                  <a:pt x="4060855" y="563742"/>
                </a:cubicBezTo>
                <a:cubicBezTo>
                  <a:pt x="4260577" y="406137"/>
                  <a:pt x="4460300" y="242470"/>
                  <a:pt x="4660023" y="78803"/>
                </a:cubicBezTo>
                <a:cubicBezTo>
                  <a:pt x="4702388" y="48494"/>
                  <a:pt x="4720545" y="6062"/>
                  <a:pt x="4787119" y="66679"/>
                </a:cubicBezTo>
                <a:cubicBezTo>
                  <a:pt x="4817380" y="90926"/>
                  <a:pt x="4920267" y="30309"/>
                  <a:pt x="5004998" y="0"/>
                </a:cubicBezTo>
                <a:close/>
              </a:path>
            </a:pathLst>
          </a:custGeom>
        </p:spPr>
      </p:sp>
    </p:spTree>
    <p:extLst>
      <p:ext uri="{BB962C8B-B14F-4D97-AF65-F5344CB8AC3E}">
        <p14:creationId xmlns:p14="http://schemas.microsoft.com/office/powerpoint/2010/main" val="2972353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3_Custom Layout">
    <p:spTree>
      <p:nvGrpSpPr>
        <p:cNvPr id="1" name=""/>
        <p:cNvGrpSpPr/>
        <p:nvPr/>
      </p:nvGrpSpPr>
      <p:grpSpPr>
        <a:xfrm>
          <a:off x="0" y="0"/>
          <a:ext cx="0" cy="0"/>
          <a:chOff x="0" y="0"/>
          <a:chExt cx="0" cy="0"/>
        </a:xfrm>
      </p:grpSpPr>
      <p:sp>
        <p:nvSpPr>
          <p:cNvPr id="5" name="Freeform 4"/>
          <p:cNvSpPr>
            <a:spLocks noGrp="1"/>
          </p:cNvSpPr>
          <p:nvPr>
            <p:ph type="pic" sz="quarter" idx="10"/>
          </p:nvPr>
        </p:nvSpPr>
        <p:spPr>
          <a:xfrm>
            <a:off x="101592" y="285751"/>
            <a:ext cx="12090408" cy="5238749"/>
          </a:xfrm>
          <a:custGeom>
            <a:avLst/>
            <a:gdLst>
              <a:gd name="connsiteX0" fmla="*/ 4906702 w 9485517"/>
              <a:gd name="connsiteY0" fmla="*/ 332 h 4110055"/>
              <a:gd name="connsiteX1" fmla="*/ 5555718 w 9485517"/>
              <a:gd name="connsiteY1" fmla="*/ 33094 h 4110055"/>
              <a:gd name="connsiteX2" fmla="*/ 7577737 w 9485517"/>
              <a:gd name="connsiteY2" fmla="*/ 468485 h 4110055"/>
              <a:gd name="connsiteX3" fmla="*/ 8685848 w 9485517"/>
              <a:gd name="connsiteY3" fmla="*/ 949707 h 4110055"/>
              <a:gd name="connsiteX4" fmla="*/ 9485517 w 9485517"/>
              <a:gd name="connsiteY4" fmla="*/ 1385098 h 4110055"/>
              <a:gd name="connsiteX5" fmla="*/ 9142802 w 9485517"/>
              <a:gd name="connsiteY5" fmla="*/ 1385098 h 4110055"/>
              <a:gd name="connsiteX6" fmla="*/ 9154226 w 9485517"/>
              <a:gd name="connsiteY6" fmla="*/ 1545506 h 4110055"/>
              <a:gd name="connsiteX7" fmla="*/ 9005716 w 9485517"/>
              <a:gd name="connsiteY7" fmla="*/ 1545506 h 4110055"/>
              <a:gd name="connsiteX8" fmla="*/ 8491644 w 9485517"/>
              <a:gd name="connsiteY8" fmla="*/ 1408013 h 4110055"/>
              <a:gd name="connsiteX9" fmla="*/ 8091809 w 9485517"/>
              <a:gd name="connsiteY9" fmla="*/ 1453844 h 4110055"/>
              <a:gd name="connsiteX10" fmla="*/ 7920451 w 9485517"/>
              <a:gd name="connsiteY10" fmla="*/ 1430929 h 4110055"/>
              <a:gd name="connsiteX11" fmla="*/ 7463498 w 9485517"/>
              <a:gd name="connsiteY11" fmla="*/ 1304894 h 4110055"/>
              <a:gd name="connsiteX12" fmla="*/ 7707683 w 9485517"/>
              <a:gd name="connsiteY12" fmla="*/ 1594201 h 4110055"/>
              <a:gd name="connsiteX13" fmla="*/ 7755161 w 9485517"/>
              <a:gd name="connsiteY13" fmla="*/ 1650204 h 4110055"/>
              <a:gd name="connsiteX14" fmla="*/ 8016510 w 9485517"/>
              <a:gd name="connsiteY14" fmla="*/ 1785524 h 4110055"/>
              <a:gd name="connsiteX15" fmla="*/ 8294760 w 9485517"/>
              <a:gd name="connsiteY15" fmla="*/ 1944290 h 4110055"/>
              <a:gd name="connsiteX16" fmla="*/ 8058789 w 9485517"/>
              <a:gd name="connsiteY16" fmla="*/ 1944290 h 4110055"/>
              <a:gd name="connsiteX17" fmla="*/ 8066654 w 9485517"/>
              <a:gd name="connsiteY17" fmla="*/ 2054736 h 4110055"/>
              <a:gd name="connsiteX18" fmla="*/ 7964400 w 9485517"/>
              <a:gd name="connsiteY18" fmla="*/ 2054736 h 4110055"/>
              <a:gd name="connsiteX19" fmla="*/ 7610443 w 9485517"/>
              <a:gd name="connsiteY19" fmla="*/ 1960068 h 4110055"/>
              <a:gd name="connsiteX20" fmla="*/ 7335141 w 9485517"/>
              <a:gd name="connsiteY20" fmla="*/ 1991624 h 4110055"/>
              <a:gd name="connsiteX21" fmla="*/ 7217156 w 9485517"/>
              <a:gd name="connsiteY21" fmla="*/ 1975846 h 4110055"/>
              <a:gd name="connsiteX22" fmla="*/ 6902527 w 9485517"/>
              <a:gd name="connsiteY22" fmla="*/ 1889067 h 4110055"/>
              <a:gd name="connsiteX23" fmla="*/ 7209290 w 9485517"/>
              <a:gd name="connsiteY23" fmla="*/ 2251962 h 4110055"/>
              <a:gd name="connsiteX24" fmla="*/ 5455234 w 9485517"/>
              <a:gd name="connsiteY24" fmla="*/ 2046847 h 4110055"/>
              <a:gd name="connsiteX25" fmla="*/ 5478831 w 9485517"/>
              <a:gd name="connsiteY25" fmla="*/ 2102070 h 4110055"/>
              <a:gd name="connsiteX26" fmla="*/ 5408040 w 9485517"/>
              <a:gd name="connsiteY26" fmla="*/ 2149404 h 4110055"/>
              <a:gd name="connsiteX27" fmla="*/ 4597870 w 9485517"/>
              <a:gd name="connsiteY27" fmla="*/ 2267740 h 4110055"/>
              <a:gd name="connsiteX28" fmla="*/ 4505817 w 9485517"/>
              <a:gd name="connsiteY28" fmla="*/ 2289573 h 4110055"/>
              <a:gd name="connsiteX29" fmla="*/ 4442672 w 9485517"/>
              <a:gd name="connsiteY29" fmla="*/ 2313168 h 4110055"/>
              <a:gd name="connsiteX30" fmla="*/ 4744626 w 9485517"/>
              <a:gd name="connsiteY30" fmla="*/ 2313168 h 4110055"/>
              <a:gd name="connsiteX31" fmla="*/ 4744626 w 9485517"/>
              <a:gd name="connsiteY31" fmla="*/ 2393372 h 4110055"/>
              <a:gd name="connsiteX32" fmla="*/ 4269750 w 9485517"/>
              <a:gd name="connsiteY32" fmla="*/ 2393372 h 4110055"/>
              <a:gd name="connsiteX33" fmla="*/ 4245880 w 9485517"/>
              <a:gd name="connsiteY33" fmla="*/ 2404811 h 4110055"/>
              <a:gd name="connsiteX34" fmla="*/ 4159725 w 9485517"/>
              <a:gd name="connsiteY34" fmla="*/ 2445320 h 4110055"/>
              <a:gd name="connsiteX35" fmla="*/ 4132551 w 9485517"/>
              <a:gd name="connsiteY35" fmla="*/ 2455872 h 4110055"/>
              <a:gd name="connsiteX36" fmla="*/ 4523289 w 9485517"/>
              <a:gd name="connsiteY36" fmla="*/ 2513678 h 4110055"/>
              <a:gd name="connsiteX37" fmla="*/ 4865826 w 9485517"/>
              <a:gd name="connsiteY37" fmla="*/ 2561299 h 4110055"/>
              <a:gd name="connsiteX38" fmla="*/ 5024345 w 9485517"/>
              <a:gd name="connsiteY38" fmla="*/ 2583300 h 4110055"/>
              <a:gd name="connsiteX39" fmla="*/ 5030485 w 9485517"/>
              <a:gd name="connsiteY39" fmla="*/ 2583300 h 4110055"/>
              <a:gd name="connsiteX40" fmla="*/ 5030485 w 9485517"/>
              <a:gd name="connsiteY40" fmla="*/ 2584152 h 4110055"/>
              <a:gd name="connsiteX41" fmla="*/ 5224427 w 9485517"/>
              <a:gd name="connsiteY41" fmla="*/ 2611069 h 4110055"/>
              <a:gd name="connsiteX42" fmla="*/ 4763190 w 9485517"/>
              <a:gd name="connsiteY42" fmla="*/ 2695032 h 4110055"/>
              <a:gd name="connsiteX43" fmla="*/ 4734901 w 9485517"/>
              <a:gd name="connsiteY43" fmla="*/ 2700175 h 4110055"/>
              <a:gd name="connsiteX44" fmla="*/ 4878087 w 9485517"/>
              <a:gd name="connsiteY44" fmla="*/ 2721358 h 4110055"/>
              <a:gd name="connsiteX45" fmla="*/ 5360845 w 9485517"/>
              <a:gd name="connsiteY45" fmla="*/ 2788415 h 4110055"/>
              <a:gd name="connsiteX46" fmla="*/ 4149524 w 9485517"/>
              <a:gd name="connsiteY46" fmla="*/ 3009307 h 4110055"/>
              <a:gd name="connsiteX47" fmla="*/ 4149524 w 9485517"/>
              <a:gd name="connsiteY47" fmla="*/ 3056641 h 4110055"/>
              <a:gd name="connsiteX48" fmla="*/ 4416959 w 9485517"/>
              <a:gd name="connsiteY48" fmla="*/ 3119753 h 4110055"/>
              <a:gd name="connsiteX49" fmla="*/ 4416959 w 9485517"/>
              <a:gd name="connsiteY49" fmla="*/ 3151309 h 4110055"/>
              <a:gd name="connsiteX50" fmla="*/ 4055135 w 9485517"/>
              <a:gd name="connsiteY50" fmla="*/ 3174976 h 4110055"/>
              <a:gd name="connsiteX51" fmla="*/ 4055135 w 9485517"/>
              <a:gd name="connsiteY51" fmla="*/ 3190754 h 4110055"/>
              <a:gd name="connsiteX52" fmla="*/ 4393362 w 9485517"/>
              <a:gd name="connsiteY52" fmla="*/ 3222310 h 4110055"/>
              <a:gd name="connsiteX53" fmla="*/ 4330436 w 9485517"/>
              <a:gd name="connsiteY53" fmla="*/ 3277533 h 4110055"/>
              <a:gd name="connsiteX54" fmla="*/ 4456288 w 9485517"/>
              <a:gd name="connsiteY54" fmla="*/ 3316978 h 4110055"/>
              <a:gd name="connsiteX55" fmla="*/ 4306839 w 9485517"/>
              <a:gd name="connsiteY55" fmla="*/ 3356423 h 4110055"/>
              <a:gd name="connsiteX56" fmla="*/ 3205638 w 9485517"/>
              <a:gd name="connsiteY56" fmla="*/ 3553648 h 4110055"/>
              <a:gd name="connsiteX57" fmla="*/ 2206691 w 9485517"/>
              <a:gd name="connsiteY57" fmla="*/ 3813986 h 4110055"/>
              <a:gd name="connsiteX58" fmla="*/ 1923525 w 9485517"/>
              <a:gd name="connsiteY58" fmla="*/ 3798208 h 4110055"/>
              <a:gd name="connsiteX59" fmla="*/ 1904721 w 9485517"/>
              <a:gd name="connsiteY59" fmla="*/ 3785758 h 4110055"/>
              <a:gd name="connsiteX60" fmla="*/ 1891121 w 9485517"/>
              <a:gd name="connsiteY60" fmla="*/ 3770403 h 4110055"/>
              <a:gd name="connsiteX61" fmla="*/ 1727841 w 9485517"/>
              <a:gd name="connsiteY61" fmla="*/ 3808931 h 4110055"/>
              <a:gd name="connsiteX62" fmla="*/ 643470 w 9485517"/>
              <a:gd name="connsiteY62" fmla="*/ 4100564 h 4110055"/>
              <a:gd name="connsiteX63" fmla="*/ 232211 w 9485517"/>
              <a:gd name="connsiteY63" fmla="*/ 4077649 h 4110055"/>
              <a:gd name="connsiteX64" fmla="*/ 129396 w 9485517"/>
              <a:gd name="connsiteY64" fmla="*/ 3951614 h 4110055"/>
              <a:gd name="connsiteX65" fmla="*/ 129396 w 9485517"/>
              <a:gd name="connsiteY65" fmla="*/ 3837038 h 4110055"/>
              <a:gd name="connsiteX66" fmla="*/ 152244 w 9485517"/>
              <a:gd name="connsiteY66" fmla="*/ 2828764 h 4110055"/>
              <a:gd name="connsiteX67" fmla="*/ 620622 w 9485517"/>
              <a:gd name="connsiteY67" fmla="*/ 1854862 h 4110055"/>
              <a:gd name="connsiteX68" fmla="*/ 2985355 w 9485517"/>
              <a:gd name="connsiteY68" fmla="*/ 204959 h 4110055"/>
              <a:gd name="connsiteX69" fmla="*/ 4906702 w 9485517"/>
              <a:gd name="connsiteY69" fmla="*/ 332 h 4110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9485517" h="4110055">
                <a:moveTo>
                  <a:pt x="4906702" y="332"/>
                </a:moveTo>
                <a:cubicBezTo>
                  <a:pt x="5122326" y="2302"/>
                  <a:pt x="5338666" y="13044"/>
                  <a:pt x="5555718" y="33094"/>
                </a:cubicBezTo>
                <a:cubicBezTo>
                  <a:pt x="6252572" y="101840"/>
                  <a:pt x="6926578" y="239332"/>
                  <a:pt x="7577737" y="468485"/>
                </a:cubicBezTo>
                <a:cubicBezTo>
                  <a:pt x="7954723" y="594520"/>
                  <a:pt x="8320286" y="777843"/>
                  <a:pt x="8685848" y="949707"/>
                </a:cubicBezTo>
                <a:cubicBezTo>
                  <a:pt x="8948596" y="1075742"/>
                  <a:pt x="9211345" y="1224691"/>
                  <a:pt x="9485517" y="1385098"/>
                </a:cubicBezTo>
                <a:cubicBezTo>
                  <a:pt x="9371278" y="1385098"/>
                  <a:pt x="9257041" y="1385098"/>
                  <a:pt x="9142802" y="1385098"/>
                </a:cubicBezTo>
                <a:cubicBezTo>
                  <a:pt x="9142802" y="1430929"/>
                  <a:pt x="9142802" y="1488217"/>
                  <a:pt x="9154226" y="1545506"/>
                </a:cubicBezTo>
                <a:cubicBezTo>
                  <a:pt x="9108530" y="1545506"/>
                  <a:pt x="9051411" y="1556963"/>
                  <a:pt x="9005716" y="1545506"/>
                </a:cubicBezTo>
                <a:cubicBezTo>
                  <a:pt x="8834359" y="1499675"/>
                  <a:pt x="8663001" y="1430929"/>
                  <a:pt x="8491644" y="1408013"/>
                </a:cubicBezTo>
                <a:cubicBezTo>
                  <a:pt x="8354557" y="1385098"/>
                  <a:pt x="8206047" y="1281979"/>
                  <a:pt x="8091809" y="1453844"/>
                </a:cubicBezTo>
                <a:cubicBezTo>
                  <a:pt x="8068961" y="1476759"/>
                  <a:pt x="7977571" y="1442387"/>
                  <a:pt x="7920451" y="1430929"/>
                </a:cubicBezTo>
                <a:cubicBezTo>
                  <a:pt x="7783365" y="1396556"/>
                  <a:pt x="7646280" y="1350725"/>
                  <a:pt x="7463498" y="1304894"/>
                </a:cubicBezTo>
                <a:cubicBezTo>
                  <a:pt x="7554889" y="1413743"/>
                  <a:pt x="7634856" y="1508268"/>
                  <a:pt x="7707683" y="1594201"/>
                </a:cubicBezTo>
                <a:lnTo>
                  <a:pt x="7755161" y="1650204"/>
                </a:lnTo>
                <a:lnTo>
                  <a:pt x="8016510" y="1785524"/>
                </a:lnTo>
                <a:cubicBezTo>
                  <a:pt x="8107949" y="1835816"/>
                  <a:pt x="8200371" y="1889067"/>
                  <a:pt x="8294760" y="1944290"/>
                </a:cubicBezTo>
                <a:cubicBezTo>
                  <a:pt x="8216103" y="1944290"/>
                  <a:pt x="8137446" y="1944290"/>
                  <a:pt x="8058789" y="1944290"/>
                </a:cubicBezTo>
                <a:cubicBezTo>
                  <a:pt x="8058789" y="1975846"/>
                  <a:pt x="8058789" y="2015291"/>
                  <a:pt x="8066654" y="2054736"/>
                </a:cubicBezTo>
                <a:cubicBezTo>
                  <a:pt x="8035191" y="2054736"/>
                  <a:pt x="7995863" y="2062625"/>
                  <a:pt x="7964400" y="2054736"/>
                </a:cubicBezTo>
                <a:cubicBezTo>
                  <a:pt x="7846414" y="2023180"/>
                  <a:pt x="7728428" y="1975846"/>
                  <a:pt x="7610443" y="1960068"/>
                </a:cubicBezTo>
                <a:cubicBezTo>
                  <a:pt x="7516053" y="1944290"/>
                  <a:pt x="7413799" y="1873289"/>
                  <a:pt x="7335141" y="1991624"/>
                </a:cubicBezTo>
                <a:cubicBezTo>
                  <a:pt x="7319411" y="2007402"/>
                  <a:pt x="7256485" y="1983735"/>
                  <a:pt x="7217156" y="1975846"/>
                </a:cubicBezTo>
                <a:cubicBezTo>
                  <a:pt x="7122767" y="1952179"/>
                  <a:pt x="7028379" y="1920623"/>
                  <a:pt x="6902527" y="1889067"/>
                </a:cubicBezTo>
                <a:cubicBezTo>
                  <a:pt x="7028379" y="2038958"/>
                  <a:pt x="7122767" y="2149404"/>
                  <a:pt x="7209290" y="2251962"/>
                </a:cubicBezTo>
                <a:cubicBezTo>
                  <a:pt x="6642959" y="2180960"/>
                  <a:pt x="6045163" y="2117848"/>
                  <a:pt x="5455234" y="2046847"/>
                </a:cubicBezTo>
                <a:cubicBezTo>
                  <a:pt x="5463100" y="2070514"/>
                  <a:pt x="5470966" y="2086292"/>
                  <a:pt x="5478831" y="2102070"/>
                </a:cubicBezTo>
                <a:cubicBezTo>
                  <a:pt x="5455234" y="2117848"/>
                  <a:pt x="5431637" y="2141516"/>
                  <a:pt x="5408040" y="2149404"/>
                </a:cubicBezTo>
                <a:cubicBezTo>
                  <a:pt x="5140606" y="2188850"/>
                  <a:pt x="4865305" y="2236184"/>
                  <a:pt x="4597870" y="2267740"/>
                </a:cubicBezTo>
                <a:cubicBezTo>
                  <a:pt x="4566408" y="2272670"/>
                  <a:pt x="4535805" y="2280189"/>
                  <a:pt x="4505817" y="2289573"/>
                </a:cubicBezTo>
                <a:lnTo>
                  <a:pt x="4442672" y="2313168"/>
                </a:lnTo>
                <a:lnTo>
                  <a:pt x="4744626" y="2313168"/>
                </a:lnTo>
                <a:cubicBezTo>
                  <a:pt x="4744626" y="2336085"/>
                  <a:pt x="4744626" y="2370457"/>
                  <a:pt x="4744626" y="2393372"/>
                </a:cubicBezTo>
                <a:lnTo>
                  <a:pt x="4269750" y="2393372"/>
                </a:lnTo>
                <a:lnTo>
                  <a:pt x="4245880" y="2404811"/>
                </a:lnTo>
                <a:cubicBezTo>
                  <a:pt x="4217366" y="2418864"/>
                  <a:pt x="4188730" y="2432608"/>
                  <a:pt x="4159725" y="2445320"/>
                </a:cubicBezTo>
                <a:lnTo>
                  <a:pt x="4132551" y="2455872"/>
                </a:lnTo>
                <a:lnTo>
                  <a:pt x="4523289" y="2513678"/>
                </a:lnTo>
                <a:cubicBezTo>
                  <a:pt x="4635386" y="2529432"/>
                  <a:pt x="4749267" y="2545187"/>
                  <a:pt x="4865826" y="2561299"/>
                </a:cubicBezTo>
                <a:lnTo>
                  <a:pt x="5024345" y="2583300"/>
                </a:lnTo>
                <a:lnTo>
                  <a:pt x="5030485" y="2583300"/>
                </a:lnTo>
                <a:lnTo>
                  <a:pt x="5030485" y="2584152"/>
                </a:lnTo>
                <a:lnTo>
                  <a:pt x="5224427" y="2611069"/>
                </a:lnTo>
                <a:cubicBezTo>
                  <a:pt x="5067349" y="2639713"/>
                  <a:pt x="4913842" y="2667641"/>
                  <a:pt x="4763190" y="2695032"/>
                </a:cubicBezTo>
                <a:lnTo>
                  <a:pt x="4734901" y="2700175"/>
                </a:lnTo>
                <a:lnTo>
                  <a:pt x="4878087" y="2721358"/>
                </a:lnTo>
                <a:cubicBezTo>
                  <a:pt x="5032452" y="2743053"/>
                  <a:pt x="5191732" y="2764747"/>
                  <a:pt x="5360845" y="2788415"/>
                </a:cubicBezTo>
                <a:cubicBezTo>
                  <a:pt x="4928231" y="2867305"/>
                  <a:pt x="4534945" y="2938306"/>
                  <a:pt x="4149524" y="3009307"/>
                </a:cubicBezTo>
                <a:cubicBezTo>
                  <a:pt x="4149524" y="3025085"/>
                  <a:pt x="4149524" y="3040863"/>
                  <a:pt x="4149524" y="3056641"/>
                </a:cubicBezTo>
                <a:cubicBezTo>
                  <a:pt x="4236047" y="3080308"/>
                  <a:pt x="4330436" y="3103975"/>
                  <a:pt x="4416959" y="3119753"/>
                </a:cubicBezTo>
                <a:cubicBezTo>
                  <a:pt x="4416959" y="3135531"/>
                  <a:pt x="4416959" y="3143420"/>
                  <a:pt x="4416959" y="3151309"/>
                </a:cubicBezTo>
                <a:cubicBezTo>
                  <a:pt x="4298973" y="3159198"/>
                  <a:pt x="4173122" y="3167087"/>
                  <a:pt x="4055135" y="3174976"/>
                </a:cubicBezTo>
                <a:cubicBezTo>
                  <a:pt x="4055135" y="3182865"/>
                  <a:pt x="4055135" y="3190754"/>
                  <a:pt x="4055135" y="3190754"/>
                </a:cubicBezTo>
                <a:cubicBezTo>
                  <a:pt x="4157390" y="3206532"/>
                  <a:pt x="4267510" y="3214421"/>
                  <a:pt x="4393362" y="3222310"/>
                </a:cubicBezTo>
                <a:cubicBezTo>
                  <a:pt x="4361899" y="3245977"/>
                  <a:pt x="4346168" y="3261755"/>
                  <a:pt x="4330436" y="3277533"/>
                </a:cubicBezTo>
                <a:cubicBezTo>
                  <a:pt x="4354033" y="3285422"/>
                  <a:pt x="4385496" y="3293311"/>
                  <a:pt x="4456288" y="3316978"/>
                </a:cubicBezTo>
                <a:cubicBezTo>
                  <a:pt x="4377630" y="3332756"/>
                  <a:pt x="4346168" y="3348534"/>
                  <a:pt x="4306839" y="3356423"/>
                </a:cubicBezTo>
                <a:cubicBezTo>
                  <a:pt x="3937149" y="3419535"/>
                  <a:pt x="3567461" y="3474759"/>
                  <a:pt x="3205638" y="3553648"/>
                </a:cubicBezTo>
                <a:cubicBezTo>
                  <a:pt x="2867411" y="3624650"/>
                  <a:pt x="2537051" y="3735096"/>
                  <a:pt x="2206691" y="3813986"/>
                </a:cubicBezTo>
                <a:cubicBezTo>
                  <a:pt x="2120168" y="3829764"/>
                  <a:pt x="2017913" y="3813986"/>
                  <a:pt x="1923525" y="3798208"/>
                </a:cubicBezTo>
                <a:cubicBezTo>
                  <a:pt x="1917625" y="3796236"/>
                  <a:pt x="1911235" y="3791798"/>
                  <a:pt x="1904721" y="3785758"/>
                </a:cubicBezTo>
                <a:lnTo>
                  <a:pt x="1891121" y="3770403"/>
                </a:lnTo>
                <a:lnTo>
                  <a:pt x="1727841" y="3808931"/>
                </a:lnTo>
                <a:cubicBezTo>
                  <a:pt x="1363171" y="3902920"/>
                  <a:pt x="1003320" y="4014632"/>
                  <a:pt x="643470" y="4100564"/>
                </a:cubicBezTo>
                <a:cubicBezTo>
                  <a:pt x="517807" y="4123479"/>
                  <a:pt x="369297" y="4100564"/>
                  <a:pt x="232211" y="4077649"/>
                </a:cubicBezTo>
                <a:cubicBezTo>
                  <a:pt x="197940" y="4066191"/>
                  <a:pt x="152244" y="3997445"/>
                  <a:pt x="129396" y="3951614"/>
                </a:cubicBezTo>
                <a:cubicBezTo>
                  <a:pt x="117973" y="3917242"/>
                  <a:pt x="140821" y="3859953"/>
                  <a:pt x="129396" y="3837038"/>
                </a:cubicBezTo>
                <a:cubicBezTo>
                  <a:pt x="-133352" y="3493308"/>
                  <a:pt x="72277" y="3149578"/>
                  <a:pt x="152244" y="2828764"/>
                </a:cubicBezTo>
                <a:cubicBezTo>
                  <a:pt x="255058" y="2485034"/>
                  <a:pt x="414992" y="2141304"/>
                  <a:pt x="620622" y="1854862"/>
                </a:cubicBezTo>
                <a:cubicBezTo>
                  <a:pt x="1214661" y="1029910"/>
                  <a:pt x="1980058" y="434113"/>
                  <a:pt x="2985355" y="204959"/>
                </a:cubicBezTo>
                <a:cubicBezTo>
                  <a:pt x="3619378" y="67467"/>
                  <a:pt x="4259827" y="-5576"/>
                  <a:pt x="4906702" y="332"/>
                </a:cubicBezTo>
                <a:close/>
              </a:path>
            </a:pathLst>
          </a:custGeom>
        </p:spPr>
      </p:sp>
    </p:spTree>
    <p:extLst>
      <p:ext uri="{BB962C8B-B14F-4D97-AF65-F5344CB8AC3E}">
        <p14:creationId xmlns:p14="http://schemas.microsoft.com/office/powerpoint/2010/main" val="2942013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4_Custom Layout">
    <p:spTree>
      <p:nvGrpSpPr>
        <p:cNvPr id="1" name=""/>
        <p:cNvGrpSpPr/>
        <p:nvPr/>
      </p:nvGrpSpPr>
      <p:grpSpPr>
        <a:xfrm>
          <a:off x="0" y="0"/>
          <a:ext cx="0" cy="0"/>
          <a:chOff x="0" y="0"/>
          <a:chExt cx="0" cy="0"/>
        </a:xfrm>
      </p:grpSpPr>
      <p:sp>
        <p:nvSpPr>
          <p:cNvPr id="5" name="Freeform 4"/>
          <p:cNvSpPr>
            <a:spLocks noGrp="1"/>
          </p:cNvSpPr>
          <p:nvPr>
            <p:ph type="pic" sz="quarter" idx="10"/>
          </p:nvPr>
        </p:nvSpPr>
        <p:spPr>
          <a:xfrm>
            <a:off x="5695949" y="0"/>
            <a:ext cx="5829300" cy="7051380"/>
          </a:xfrm>
          <a:custGeom>
            <a:avLst/>
            <a:gdLst>
              <a:gd name="connsiteX0" fmla="*/ 4742410 w 5829300"/>
              <a:gd name="connsiteY0" fmla="*/ 0 h 7051380"/>
              <a:gd name="connsiteX1" fmla="*/ 4760626 w 5829300"/>
              <a:gd name="connsiteY1" fmla="*/ 15182 h 7051380"/>
              <a:gd name="connsiteX2" fmla="*/ 4684726 w 5829300"/>
              <a:gd name="connsiteY2" fmla="*/ 139673 h 7051380"/>
              <a:gd name="connsiteX3" fmla="*/ 4702942 w 5829300"/>
              <a:gd name="connsiteY3" fmla="*/ 154855 h 7051380"/>
              <a:gd name="connsiteX4" fmla="*/ 4787950 w 5829300"/>
              <a:gd name="connsiteY4" fmla="*/ 24291 h 7051380"/>
              <a:gd name="connsiteX5" fmla="*/ 4818310 w 5829300"/>
              <a:gd name="connsiteY5" fmla="*/ 45546 h 7051380"/>
              <a:gd name="connsiteX6" fmla="*/ 4775806 w 5829300"/>
              <a:gd name="connsiteY6" fmla="*/ 194328 h 7051380"/>
              <a:gd name="connsiteX7" fmla="*/ 4794022 w 5829300"/>
              <a:gd name="connsiteY7" fmla="*/ 203437 h 7051380"/>
              <a:gd name="connsiteX8" fmla="*/ 4994398 w 5829300"/>
              <a:gd name="connsiteY8" fmla="*/ 6073 h 7051380"/>
              <a:gd name="connsiteX9" fmla="*/ 4942786 w 5829300"/>
              <a:gd name="connsiteY9" fmla="*/ 252019 h 7051380"/>
              <a:gd name="connsiteX10" fmla="*/ 5143163 w 5829300"/>
              <a:gd name="connsiteY10" fmla="*/ 194328 h 7051380"/>
              <a:gd name="connsiteX11" fmla="*/ 5176559 w 5829300"/>
              <a:gd name="connsiteY11" fmla="*/ 170037 h 7051380"/>
              <a:gd name="connsiteX12" fmla="*/ 5176559 w 5829300"/>
              <a:gd name="connsiteY12" fmla="*/ 212546 h 7051380"/>
              <a:gd name="connsiteX13" fmla="*/ 5134054 w 5829300"/>
              <a:gd name="connsiteY13" fmla="*/ 297564 h 7051380"/>
              <a:gd name="connsiteX14" fmla="*/ 5340504 w 5829300"/>
              <a:gd name="connsiteY14" fmla="*/ 127528 h 7051380"/>
              <a:gd name="connsiteX15" fmla="*/ 5334431 w 5829300"/>
              <a:gd name="connsiteY15" fmla="*/ 209510 h 7051380"/>
              <a:gd name="connsiteX16" fmla="*/ 5510520 w 5829300"/>
              <a:gd name="connsiteY16" fmla="*/ 91091 h 7051380"/>
              <a:gd name="connsiteX17" fmla="*/ 5522664 w 5829300"/>
              <a:gd name="connsiteY17" fmla="*/ 100201 h 7051380"/>
              <a:gd name="connsiteX18" fmla="*/ 5431583 w 5829300"/>
              <a:gd name="connsiteY18" fmla="*/ 236837 h 7051380"/>
              <a:gd name="connsiteX19" fmla="*/ 5455872 w 5829300"/>
              <a:gd name="connsiteY19" fmla="*/ 258092 h 7051380"/>
              <a:gd name="connsiteX20" fmla="*/ 5543915 w 5829300"/>
              <a:gd name="connsiteY20" fmla="*/ 118418 h 7051380"/>
              <a:gd name="connsiteX21" fmla="*/ 5580348 w 5829300"/>
              <a:gd name="connsiteY21" fmla="*/ 151819 h 7051380"/>
              <a:gd name="connsiteX22" fmla="*/ 5352647 w 5829300"/>
              <a:gd name="connsiteY22" fmla="*/ 428128 h 7051380"/>
              <a:gd name="connsiteX23" fmla="*/ 5370864 w 5829300"/>
              <a:gd name="connsiteY23" fmla="*/ 443310 h 7051380"/>
              <a:gd name="connsiteX24" fmla="*/ 5747328 w 5829300"/>
              <a:gd name="connsiteY24" fmla="*/ 75909 h 7051380"/>
              <a:gd name="connsiteX25" fmla="*/ 5583384 w 5829300"/>
              <a:gd name="connsiteY25" fmla="*/ 422056 h 7051380"/>
              <a:gd name="connsiteX26" fmla="*/ 5647140 w 5829300"/>
              <a:gd name="connsiteY26" fmla="*/ 473674 h 7051380"/>
              <a:gd name="connsiteX27" fmla="*/ 5680536 w 5829300"/>
              <a:gd name="connsiteY27" fmla="*/ 643711 h 7051380"/>
              <a:gd name="connsiteX28" fmla="*/ 5583384 w 5829300"/>
              <a:gd name="connsiteY28" fmla="*/ 838038 h 7051380"/>
              <a:gd name="connsiteX29" fmla="*/ 5692680 w 5829300"/>
              <a:gd name="connsiteY29" fmla="*/ 771238 h 7051380"/>
              <a:gd name="connsiteX30" fmla="*/ 5710896 w 5829300"/>
              <a:gd name="connsiteY30" fmla="*/ 783384 h 7051380"/>
              <a:gd name="connsiteX31" fmla="*/ 5549988 w 5829300"/>
              <a:gd name="connsiteY31" fmla="*/ 1102202 h 7051380"/>
              <a:gd name="connsiteX32" fmla="*/ 5565168 w 5829300"/>
              <a:gd name="connsiteY32" fmla="*/ 1159894 h 7051380"/>
              <a:gd name="connsiteX33" fmla="*/ 5619816 w 5829300"/>
              <a:gd name="connsiteY33" fmla="*/ 1342076 h 7051380"/>
              <a:gd name="connsiteX34" fmla="*/ 5404259 w 5829300"/>
              <a:gd name="connsiteY34" fmla="*/ 1824859 h 7051380"/>
              <a:gd name="connsiteX35" fmla="*/ 5410332 w 5829300"/>
              <a:gd name="connsiteY35" fmla="*/ 1867368 h 7051380"/>
              <a:gd name="connsiteX36" fmla="*/ 5446763 w 5829300"/>
              <a:gd name="connsiteY36" fmla="*/ 1985787 h 7051380"/>
              <a:gd name="connsiteX37" fmla="*/ 5577312 w 5829300"/>
              <a:gd name="connsiteY37" fmla="*/ 1864332 h 7051380"/>
              <a:gd name="connsiteX38" fmla="*/ 5589456 w 5829300"/>
              <a:gd name="connsiteY38" fmla="*/ 1870404 h 7051380"/>
              <a:gd name="connsiteX39" fmla="*/ 5549988 w 5829300"/>
              <a:gd name="connsiteY39" fmla="*/ 2000968 h 7051380"/>
              <a:gd name="connsiteX40" fmla="*/ 5741256 w 5829300"/>
              <a:gd name="connsiteY40" fmla="*/ 1915950 h 7051380"/>
              <a:gd name="connsiteX41" fmla="*/ 5668392 w 5829300"/>
              <a:gd name="connsiteY41" fmla="*/ 2079914 h 7051380"/>
              <a:gd name="connsiteX42" fmla="*/ 5692680 w 5829300"/>
              <a:gd name="connsiteY42" fmla="*/ 2237806 h 7051380"/>
              <a:gd name="connsiteX43" fmla="*/ 5811085 w 5829300"/>
              <a:gd name="connsiteY43" fmla="*/ 2128496 h 7051380"/>
              <a:gd name="connsiteX44" fmla="*/ 5829300 w 5829300"/>
              <a:gd name="connsiteY44" fmla="*/ 2137605 h 7051380"/>
              <a:gd name="connsiteX45" fmla="*/ 5747328 w 5829300"/>
              <a:gd name="connsiteY45" fmla="*/ 2295496 h 7051380"/>
              <a:gd name="connsiteX46" fmla="*/ 5786796 w 5829300"/>
              <a:gd name="connsiteY46" fmla="*/ 2404805 h 7051380"/>
              <a:gd name="connsiteX47" fmla="*/ 5437276 w 5829300"/>
              <a:gd name="connsiteY47" fmla="*/ 3134673 h 7051380"/>
              <a:gd name="connsiteX48" fmla="*/ 5272826 w 5829300"/>
              <a:gd name="connsiteY48" fmla="*/ 3443994 h 7051380"/>
              <a:gd name="connsiteX49" fmla="*/ 5307909 w 5829300"/>
              <a:gd name="connsiteY49" fmla="*/ 3476943 h 7051380"/>
              <a:gd name="connsiteX50" fmla="*/ 5294971 w 5829300"/>
              <a:gd name="connsiteY50" fmla="*/ 3616394 h 7051380"/>
              <a:gd name="connsiteX51" fmla="*/ 5427857 w 5829300"/>
              <a:gd name="connsiteY51" fmla="*/ 3493716 h 7051380"/>
              <a:gd name="connsiteX52" fmla="*/ 5448300 w 5829300"/>
              <a:gd name="connsiteY52" fmla="*/ 3503939 h 7051380"/>
              <a:gd name="connsiteX53" fmla="*/ 5356303 w 5829300"/>
              <a:gd name="connsiteY53" fmla="*/ 3681141 h 7051380"/>
              <a:gd name="connsiteX54" fmla="*/ 5400598 w 5829300"/>
              <a:gd name="connsiteY54" fmla="*/ 3803818 h 7051380"/>
              <a:gd name="connsiteX55" fmla="*/ 4572620 w 5829300"/>
              <a:gd name="connsiteY55" fmla="*/ 5419081 h 7051380"/>
              <a:gd name="connsiteX56" fmla="*/ 4313664 w 5829300"/>
              <a:gd name="connsiteY56" fmla="*/ 5926832 h 7051380"/>
              <a:gd name="connsiteX57" fmla="*/ 4300035 w 5829300"/>
              <a:gd name="connsiteY57" fmla="*/ 5828007 h 7051380"/>
              <a:gd name="connsiteX58" fmla="*/ 4364773 w 5829300"/>
              <a:gd name="connsiteY58" fmla="*/ 5582651 h 7051380"/>
              <a:gd name="connsiteX59" fmla="*/ 4323886 w 5829300"/>
              <a:gd name="connsiteY59" fmla="*/ 5637175 h 7051380"/>
              <a:gd name="connsiteX60" fmla="*/ 4310257 w 5829300"/>
              <a:gd name="connsiteY60" fmla="*/ 5630359 h 7051380"/>
              <a:gd name="connsiteX61" fmla="*/ 4429512 w 5829300"/>
              <a:gd name="connsiteY61" fmla="*/ 5310033 h 7051380"/>
              <a:gd name="connsiteX62" fmla="*/ 4409069 w 5829300"/>
              <a:gd name="connsiteY62" fmla="*/ 5299809 h 7051380"/>
              <a:gd name="connsiteX63" fmla="*/ 4214852 w 5829300"/>
              <a:gd name="connsiteY63" fmla="*/ 5698514 h 7051380"/>
              <a:gd name="connsiteX64" fmla="*/ 4170557 w 5829300"/>
              <a:gd name="connsiteY64" fmla="*/ 5592874 h 7051380"/>
              <a:gd name="connsiteX65" fmla="*/ 3792344 w 5829300"/>
              <a:gd name="connsiteY65" fmla="*/ 6325535 h 7051380"/>
              <a:gd name="connsiteX66" fmla="*/ 3782122 w 5829300"/>
              <a:gd name="connsiteY66" fmla="*/ 6151741 h 7051380"/>
              <a:gd name="connsiteX67" fmla="*/ 3775307 w 5829300"/>
              <a:gd name="connsiteY67" fmla="*/ 6083587 h 7051380"/>
              <a:gd name="connsiteX68" fmla="*/ 3744641 w 5829300"/>
              <a:gd name="connsiteY68" fmla="*/ 6083587 h 7051380"/>
              <a:gd name="connsiteX69" fmla="*/ 3604942 w 5829300"/>
              <a:gd name="connsiteY69" fmla="*/ 6380059 h 7051380"/>
              <a:gd name="connsiteX70" fmla="*/ 3577683 w 5829300"/>
              <a:gd name="connsiteY70" fmla="*/ 6376651 h 7051380"/>
              <a:gd name="connsiteX71" fmla="*/ 3628793 w 5829300"/>
              <a:gd name="connsiteY71" fmla="*/ 6114256 h 7051380"/>
              <a:gd name="connsiteX72" fmla="*/ 3581091 w 5829300"/>
              <a:gd name="connsiteY72" fmla="*/ 6138110 h 7051380"/>
              <a:gd name="connsiteX73" fmla="*/ 3639015 w 5829300"/>
              <a:gd name="connsiteY73" fmla="*/ 5885939 h 7051380"/>
              <a:gd name="connsiteX74" fmla="*/ 3611757 w 5829300"/>
              <a:gd name="connsiteY74" fmla="*/ 5882531 h 7051380"/>
              <a:gd name="connsiteX75" fmla="*/ 3397095 w 5829300"/>
              <a:gd name="connsiteY75" fmla="*/ 6325535 h 7051380"/>
              <a:gd name="connsiteX76" fmla="*/ 3380058 w 5829300"/>
              <a:gd name="connsiteY76" fmla="*/ 6328942 h 7051380"/>
              <a:gd name="connsiteX77" fmla="*/ 3380058 w 5829300"/>
              <a:gd name="connsiteY77" fmla="*/ 6185819 h 7051380"/>
              <a:gd name="connsiteX78" fmla="*/ 3366429 w 5829300"/>
              <a:gd name="connsiteY78" fmla="*/ 6179003 h 7051380"/>
              <a:gd name="connsiteX79" fmla="*/ 2947330 w 5829300"/>
              <a:gd name="connsiteY79" fmla="*/ 7051380 h 7051380"/>
              <a:gd name="connsiteX80" fmla="*/ 2930293 w 5829300"/>
              <a:gd name="connsiteY80" fmla="*/ 7044565 h 7051380"/>
              <a:gd name="connsiteX81" fmla="*/ 3022291 w 5829300"/>
              <a:gd name="connsiteY81" fmla="*/ 6717423 h 7051380"/>
              <a:gd name="connsiteX82" fmla="*/ 3008661 w 5829300"/>
              <a:gd name="connsiteY82" fmla="*/ 6714016 h 7051380"/>
              <a:gd name="connsiteX83" fmla="*/ 2896220 w 5829300"/>
              <a:gd name="connsiteY83" fmla="*/ 6945741 h 7051380"/>
              <a:gd name="connsiteX84" fmla="*/ 2875776 w 5829300"/>
              <a:gd name="connsiteY84" fmla="*/ 6935518 h 7051380"/>
              <a:gd name="connsiteX85" fmla="*/ 3179027 w 5829300"/>
              <a:gd name="connsiteY85" fmla="*/ 6086995 h 7051380"/>
              <a:gd name="connsiteX86" fmla="*/ 3161990 w 5829300"/>
              <a:gd name="connsiteY86" fmla="*/ 6080179 h 7051380"/>
              <a:gd name="connsiteX87" fmla="*/ 2943922 w 5829300"/>
              <a:gd name="connsiteY87" fmla="*/ 6536814 h 7051380"/>
              <a:gd name="connsiteX88" fmla="*/ 2920072 w 5829300"/>
              <a:gd name="connsiteY88" fmla="*/ 6536814 h 7051380"/>
              <a:gd name="connsiteX89" fmla="*/ 2920072 w 5829300"/>
              <a:gd name="connsiteY89" fmla="*/ 6448213 h 7051380"/>
              <a:gd name="connsiteX90" fmla="*/ 3090437 w 5829300"/>
              <a:gd name="connsiteY90" fmla="*/ 5977947 h 7051380"/>
              <a:gd name="connsiteX91" fmla="*/ 3066586 w 5829300"/>
              <a:gd name="connsiteY91" fmla="*/ 5967724 h 7051380"/>
              <a:gd name="connsiteX92" fmla="*/ 2995032 w 5829300"/>
              <a:gd name="connsiteY92" fmla="*/ 6144926 h 7051380"/>
              <a:gd name="connsiteX93" fmla="*/ 3059771 w 5829300"/>
              <a:gd name="connsiteY93" fmla="*/ 5838231 h 7051380"/>
              <a:gd name="connsiteX94" fmla="*/ 2879183 w 5829300"/>
              <a:gd name="connsiteY94" fmla="*/ 5984763 h 7051380"/>
              <a:gd name="connsiteX95" fmla="*/ 2776964 w 5829300"/>
              <a:gd name="connsiteY95" fmla="*/ 6213080 h 7051380"/>
              <a:gd name="connsiteX96" fmla="*/ 2742890 w 5829300"/>
              <a:gd name="connsiteY96" fmla="*/ 6305089 h 7051380"/>
              <a:gd name="connsiteX97" fmla="*/ 2712224 w 5829300"/>
              <a:gd name="connsiteY97" fmla="*/ 6250565 h 7051380"/>
              <a:gd name="connsiteX98" fmla="*/ 2603190 w 5829300"/>
              <a:gd name="connsiteY98" fmla="*/ 6468659 h 7051380"/>
              <a:gd name="connsiteX99" fmla="*/ 2586154 w 5829300"/>
              <a:gd name="connsiteY99" fmla="*/ 6465252 h 7051380"/>
              <a:gd name="connsiteX100" fmla="*/ 2644079 w 5829300"/>
              <a:gd name="connsiteY100" fmla="*/ 6243750 h 7051380"/>
              <a:gd name="connsiteX101" fmla="*/ 2633857 w 5829300"/>
              <a:gd name="connsiteY101" fmla="*/ 6243750 h 7051380"/>
              <a:gd name="connsiteX102" fmla="*/ 2541859 w 5829300"/>
              <a:gd name="connsiteY102" fmla="*/ 6386874 h 7051380"/>
              <a:gd name="connsiteX103" fmla="*/ 2518008 w 5829300"/>
              <a:gd name="connsiteY103" fmla="*/ 6380059 h 7051380"/>
              <a:gd name="connsiteX104" fmla="*/ 2630449 w 5829300"/>
              <a:gd name="connsiteY104" fmla="*/ 6012025 h 7051380"/>
              <a:gd name="connsiteX105" fmla="*/ 2616819 w 5829300"/>
              <a:gd name="connsiteY105" fmla="*/ 6005209 h 7051380"/>
              <a:gd name="connsiteX106" fmla="*/ 2514600 w 5829300"/>
              <a:gd name="connsiteY106" fmla="*/ 6236934 h 7051380"/>
              <a:gd name="connsiteX107" fmla="*/ 2490750 w 5829300"/>
              <a:gd name="connsiteY107" fmla="*/ 6230119 h 7051380"/>
              <a:gd name="connsiteX108" fmla="*/ 2528230 w 5829300"/>
              <a:gd name="connsiteY108" fmla="*/ 6097217 h 7051380"/>
              <a:gd name="connsiteX109" fmla="*/ 2514600 w 5829300"/>
              <a:gd name="connsiteY109" fmla="*/ 6093810 h 7051380"/>
              <a:gd name="connsiteX110" fmla="*/ 2368086 w 5829300"/>
              <a:gd name="connsiteY110" fmla="*/ 6400505 h 7051380"/>
              <a:gd name="connsiteX111" fmla="*/ 2351049 w 5829300"/>
              <a:gd name="connsiteY111" fmla="*/ 6366428 h 7051380"/>
              <a:gd name="connsiteX112" fmla="*/ 2177276 w 5829300"/>
              <a:gd name="connsiteY112" fmla="*/ 6710608 h 7051380"/>
              <a:gd name="connsiteX113" fmla="*/ 2167054 w 5829300"/>
              <a:gd name="connsiteY113" fmla="*/ 6714016 h 7051380"/>
              <a:gd name="connsiteX114" fmla="*/ 2224978 w 5829300"/>
              <a:gd name="connsiteY114" fmla="*/ 6455028 h 7051380"/>
              <a:gd name="connsiteX115" fmla="*/ 2214757 w 5829300"/>
              <a:gd name="connsiteY115" fmla="*/ 6448213 h 7051380"/>
              <a:gd name="connsiteX116" fmla="*/ 2129573 w 5829300"/>
              <a:gd name="connsiteY116" fmla="*/ 6570891 h 7051380"/>
              <a:gd name="connsiteX117" fmla="*/ 2105723 w 5829300"/>
              <a:gd name="connsiteY117" fmla="*/ 6567484 h 7051380"/>
              <a:gd name="connsiteX118" fmla="*/ 2143202 w 5829300"/>
              <a:gd name="connsiteY118" fmla="*/ 6315311 h 7051380"/>
              <a:gd name="connsiteX119" fmla="*/ 2081871 w 5829300"/>
              <a:gd name="connsiteY119" fmla="*/ 6397097 h 7051380"/>
              <a:gd name="connsiteX120" fmla="*/ 2068242 w 5829300"/>
              <a:gd name="connsiteY120" fmla="*/ 6380059 h 7051380"/>
              <a:gd name="connsiteX121" fmla="*/ 2146610 w 5829300"/>
              <a:gd name="connsiteY121" fmla="*/ 5950685 h 7051380"/>
              <a:gd name="connsiteX122" fmla="*/ 2081871 w 5829300"/>
              <a:gd name="connsiteY122" fmla="*/ 5994985 h 7051380"/>
              <a:gd name="connsiteX123" fmla="*/ 1891061 w 5829300"/>
              <a:gd name="connsiteY123" fmla="*/ 6434583 h 7051380"/>
              <a:gd name="connsiteX124" fmla="*/ 1867210 w 5829300"/>
              <a:gd name="connsiteY124" fmla="*/ 6427767 h 7051380"/>
              <a:gd name="connsiteX125" fmla="*/ 1931949 w 5829300"/>
              <a:gd name="connsiteY125" fmla="*/ 6185819 h 7051380"/>
              <a:gd name="connsiteX126" fmla="*/ 1853581 w 5829300"/>
              <a:gd name="connsiteY126" fmla="*/ 6202857 h 7051380"/>
              <a:gd name="connsiteX127" fmla="*/ 1782027 w 5829300"/>
              <a:gd name="connsiteY127" fmla="*/ 6366428 h 7051380"/>
              <a:gd name="connsiteX128" fmla="*/ 1891061 w 5829300"/>
              <a:gd name="connsiteY128" fmla="*/ 5657621 h 7051380"/>
              <a:gd name="connsiteX129" fmla="*/ 1867210 w 5829300"/>
              <a:gd name="connsiteY129" fmla="*/ 5647397 h 7051380"/>
              <a:gd name="connsiteX130" fmla="*/ 1533293 w 5829300"/>
              <a:gd name="connsiteY130" fmla="*/ 6363020 h 7051380"/>
              <a:gd name="connsiteX131" fmla="*/ 1495813 w 5829300"/>
              <a:gd name="connsiteY131" fmla="*/ 6322127 h 7051380"/>
              <a:gd name="connsiteX132" fmla="*/ 1475368 w 5829300"/>
              <a:gd name="connsiteY132" fmla="*/ 6366428 h 7051380"/>
              <a:gd name="connsiteX133" fmla="*/ 1458332 w 5829300"/>
              <a:gd name="connsiteY133" fmla="*/ 6335758 h 7051380"/>
              <a:gd name="connsiteX134" fmla="*/ 1359520 w 5829300"/>
              <a:gd name="connsiteY134" fmla="*/ 6529998 h 7051380"/>
              <a:gd name="connsiteX135" fmla="*/ 1342484 w 5829300"/>
              <a:gd name="connsiteY135" fmla="*/ 6523183 h 7051380"/>
              <a:gd name="connsiteX136" fmla="*/ 1356113 w 5829300"/>
              <a:gd name="connsiteY136" fmla="*/ 6410728 h 7051380"/>
              <a:gd name="connsiteX137" fmla="*/ 1339076 w 5829300"/>
              <a:gd name="connsiteY137" fmla="*/ 6397097 h 7051380"/>
              <a:gd name="connsiteX138" fmla="*/ 1243671 w 5829300"/>
              <a:gd name="connsiteY138" fmla="*/ 6506145 h 7051380"/>
              <a:gd name="connsiteX139" fmla="*/ 1352705 w 5829300"/>
              <a:gd name="connsiteY139" fmla="*/ 6080179 h 7051380"/>
              <a:gd name="connsiteX140" fmla="*/ 1342484 w 5829300"/>
              <a:gd name="connsiteY140" fmla="*/ 6073364 h 7051380"/>
              <a:gd name="connsiteX141" fmla="*/ 834793 w 5829300"/>
              <a:gd name="connsiteY141" fmla="*/ 7044565 h 7051380"/>
              <a:gd name="connsiteX142" fmla="*/ 824571 w 5829300"/>
              <a:gd name="connsiteY142" fmla="*/ 7041158 h 7051380"/>
              <a:gd name="connsiteX143" fmla="*/ 916568 w 5829300"/>
              <a:gd name="connsiteY143" fmla="*/ 6720831 h 7051380"/>
              <a:gd name="connsiteX144" fmla="*/ 902939 w 5829300"/>
              <a:gd name="connsiteY144" fmla="*/ 6714016 h 7051380"/>
              <a:gd name="connsiteX145" fmla="*/ 790497 w 5829300"/>
              <a:gd name="connsiteY145" fmla="*/ 6942334 h 7051380"/>
              <a:gd name="connsiteX146" fmla="*/ 773461 w 5829300"/>
              <a:gd name="connsiteY146" fmla="*/ 6938925 h 7051380"/>
              <a:gd name="connsiteX147" fmla="*/ 1032417 w 5829300"/>
              <a:gd name="connsiteY147" fmla="*/ 6189226 h 7051380"/>
              <a:gd name="connsiteX148" fmla="*/ 1005159 w 5829300"/>
              <a:gd name="connsiteY148" fmla="*/ 6175595 h 7051380"/>
              <a:gd name="connsiteX149" fmla="*/ 841607 w 5829300"/>
              <a:gd name="connsiteY149" fmla="*/ 6533407 h 7051380"/>
              <a:gd name="connsiteX150" fmla="*/ 814349 w 5829300"/>
              <a:gd name="connsiteY150" fmla="*/ 6455028 h 7051380"/>
              <a:gd name="connsiteX151" fmla="*/ 1018788 w 5829300"/>
              <a:gd name="connsiteY151" fmla="*/ 5947277 h 7051380"/>
              <a:gd name="connsiteX152" fmla="*/ 1008566 w 5829300"/>
              <a:gd name="connsiteY152" fmla="*/ 5899570 h 7051380"/>
              <a:gd name="connsiteX153" fmla="*/ 845015 w 5829300"/>
              <a:gd name="connsiteY153" fmla="*/ 6213080 h 7051380"/>
              <a:gd name="connsiteX154" fmla="*/ 831386 w 5829300"/>
              <a:gd name="connsiteY154" fmla="*/ 6206265 h 7051380"/>
              <a:gd name="connsiteX155" fmla="*/ 875681 w 5829300"/>
              <a:gd name="connsiteY155" fmla="*/ 6012025 h 7051380"/>
              <a:gd name="connsiteX156" fmla="*/ 848422 w 5829300"/>
              <a:gd name="connsiteY156" fmla="*/ 6001801 h 7051380"/>
              <a:gd name="connsiteX157" fmla="*/ 790497 w 5829300"/>
              <a:gd name="connsiteY157" fmla="*/ 6110848 h 7051380"/>
              <a:gd name="connsiteX158" fmla="*/ 773461 w 5829300"/>
              <a:gd name="connsiteY158" fmla="*/ 6104033 h 7051380"/>
              <a:gd name="connsiteX159" fmla="*/ 1076712 w 5829300"/>
              <a:gd name="connsiteY159" fmla="*/ 5252101 h 7051380"/>
              <a:gd name="connsiteX160" fmla="*/ 1052861 w 5829300"/>
              <a:gd name="connsiteY160" fmla="*/ 5241878 h 7051380"/>
              <a:gd name="connsiteX161" fmla="*/ 848422 w 5829300"/>
              <a:gd name="connsiteY161" fmla="*/ 5678068 h 7051380"/>
              <a:gd name="connsiteX162" fmla="*/ 851830 w 5829300"/>
              <a:gd name="connsiteY162" fmla="*/ 5531535 h 7051380"/>
              <a:gd name="connsiteX163" fmla="*/ 919976 w 5829300"/>
              <a:gd name="connsiteY163" fmla="*/ 5364557 h 7051380"/>
              <a:gd name="connsiteX164" fmla="*/ 906346 w 5829300"/>
              <a:gd name="connsiteY164" fmla="*/ 5354333 h 7051380"/>
              <a:gd name="connsiteX165" fmla="*/ 599688 w 5829300"/>
              <a:gd name="connsiteY165" fmla="*/ 5596282 h 7051380"/>
              <a:gd name="connsiteX166" fmla="*/ 350954 w 5829300"/>
              <a:gd name="connsiteY166" fmla="*/ 5879123 h 7051380"/>
              <a:gd name="connsiteX167" fmla="*/ 231698 w 5829300"/>
              <a:gd name="connsiteY167" fmla="*/ 5926832 h 7051380"/>
              <a:gd name="connsiteX168" fmla="*/ 51110 w 5829300"/>
              <a:gd name="connsiteY168" fmla="*/ 5967724 h 7051380"/>
              <a:gd name="connsiteX169" fmla="*/ 156736 w 5829300"/>
              <a:gd name="connsiteY169" fmla="*/ 5650806 h 7051380"/>
              <a:gd name="connsiteX170" fmla="*/ 13629 w 5829300"/>
              <a:gd name="connsiteY170" fmla="*/ 5763260 h 7051380"/>
              <a:gd name="connsiteX171" fmla="*/ 279401 w 5829300"/>
              <a:gd name="connsiteY171" fmla="*/ 5218024 h 7051380"/>
              <a:gd name="connsiteX172" fmla="*/ 255549 w 5829300"/>
              <a:gd name="connsiteY172" fmla="*/ 5207801 h 7051380"/>
              <a:gd name="connsiteX173" fmla="*/ 357769 w 5829300"/>
              <a:gd name="connsiteY173" fmla="*/ 5054454 h 7051380"/>
              <a:gd name="connsiteX174" fmla="*/ 71554 w 5829300"/>
              <a:gd name="connsiteY174" fmla="*/ 5126015 h 7051380"/>
              <a:gd name="connsiteX175" fmla="*/ 201032 w 5829300"/>
              <a:gd name="connsiteY175" fmla="*/ 4836359 h 7051380"/>
              <a:gd name="connsiteX176" fmla="*/ 170366 w 5829300"/>
              <a:gd name="connsiteY176" fmla="*/ 4819320 h 7051380"/>
              <a:gd name="connsiteX177" fmla="*/ 95405 w 5829300"/>
              <a:gd name="connsiteY177" fmla="*/ 4867029 h 7051380"/>
              <a:gd name="connsiteX178" fmla="*/ 0 w 5829300"/>
              <a:gd name="connsiteY178" fmla="*/ 4928368 h 7051380"/>
              <a:gd name="connsiteX179" fmla="*/ 572429 w 5829300"/>
              <a:gd name="connsiteY179" fmla="*/ 3831080 h 7051380"/>
              <a:gd name="connsiteX180" fmla="*/ 538356 w 5829300"/>
              <a:gd name="connsiteY180" fmla="*/ 3810634 h 7051380"/>
              <a:gd name="connsiteX181" fmla="*/ 453174 w 5829300"/>
              <a:gd name="connsiteY181" fmla="*/ 3929904 h 7051380"/>
              <a:gd name="connsiteX182" fmla="*/ 442951 w 5829300"/>
              <a:gd name="connsiteY182" fmla="*/ 3926497 h 7051380"/>
              <a:gd name="connsiteX183" fmla="*/ 609910 w 5829300"/>
              <a:gd name="connsiteY183" fmla="*/ 3568685 h 7051380"/>
              <a:gd name="connsiteX184" fmla="*/ 882496 w 5829300"/>
              <a:gd name="connsiteY184" fmla="*/ 3016634 h 7051380"/>
              <a:gd name="connsiteX185" fmla="*/ 1444703 w 5829300"/>
              <a:gd name="connsiteY185" fmla="*/ 2110179 h 7051380"/>
              <a:gd name="connsiteX186" fmla="*/ 1570773 w 5829300"/>
              <a:gd name="connsiteY186" fmla="*/ 2038617 h 7051380"/>
              <a:gd name="connsiteX187" fmla="*/ 1601812 w 5829300"/>
              <a:gd name="connsiteY187" fmla="*/ 2026687 h 7051380"/>
              <a:gd name="connsiteX188" fmla="*/ 1639611 w 5829300"/>
              <a:gd name="connsiteY188" fmla="*/ 1950489 h 7051380"/>
              <a:gd name="connsiteX189" fmla="*/ 1761051 w 5829300"/>
              <a:gd name="connsiteY189" fmla="*/ 1703404 h 7051380"/>
              <a:gd name="connsiteX190" fmla="*/ 2261992 w 5829300"/>
              <a:gd name="connsiteY190" fmla="*/ 895729 h 7051380"/>
              <a:gd name="connsiteX191" fmla="*/ 2374324 w 5829300"/>
              <a:gd name="connsiteY191" fmla="*/ 831966 h 7051380"/>
              <a:gd name="connsiteX192" fmla="*/ 2577737 w 5829300"/>
              <a:gd name="connsiteY192" fmla="*/ 756057 h 7051380"/>
              <a:gd name="connsiteX193" fmla="*/ 2680962 w 5829300"/>
              <a:gd name="connsiteY193" fmla="*/ 844111 h 7051380"/>
              <a:gd name="connsiteX194" fmla="*/ 3591763 w 5829300"/>
              <a:gd name="connsiteY194" fmla="*/ 157891 h 7051380"/>
              <a:gd name="connsiteX195" fmla="*/ 3373171 w 5829300"/>
              <a:gd name="connsiteY195" fmla="*/ 415983 h 7051380"/>
              <a:gd name="connsiteX196" fmla="*/ 3391386 w 5829300"/>
              <a:gd name="connsiteY196" fmla="*/ 434201 h 7051380"/>
              <a:gd name="connsiteX197" fmla="*/ 3807320 w 5829300"/>
              <a:gd name="connsiteY197" fmla="*/ 12146 h 7051380"/>
              <a:gd name="connsiteX198" fmla="*/ 3822500 w 5829300"/>
              <a:gd name="connsiteY198" fmla="*/ 27327 h 7051380"/>
              <a:gd name="connsiteX199" fmla="*/ 3807320 w 5829300"/>
              <a:gd name="connsiteY199" fmla="*/ 81983 h 7051380"/>
              <a:gd name="connsiteX200" fmla="*/ 3752672 w 5829300"/>
              <a:gd name="connsiteY200" fmla="*/ 160928 h 7051380"/>
              <a:gd name="connsiteX201" fmla="*/ 3655520 w 5829300"/>
              <a:gd name="connsiteY201" fmla="*/ 282383 h 7051380"/>
              <a:gd name="connsiteX202" fmla="*/ 3722311 w 5829300"/>
              <a:gd name="connsiteY202" fmla="*/ 267201 h 7051380"/>
              <a:gd name="connsiteX203" fmla="*/ 3655520 w 5829300"/>
              <a:gd name="connsiteY203" fmla="*/ 394729 h 7051380"/>
              <a:gd name="connsiteX204" fmla="*/ 3664627 w 5829300"/>
              <a:gd name="connsiteY204" fmla="*/ 406874 h 7051380"/>
              <a:gd name="connsiteX205" fmla="*/ 3989480 w 5829300"/>
              <a:gd name="connsiteY205" fmla="*/ 94127 h 7051380"/>
              <a:gd name="connsiteX206" fmla="*/ 3883220 w 5829300"/>
              <a:gd name="connsiteY206" fmla="*/ 364364 h 7051380"/>
              <a:gd name="connsiteX207" fmla="*/ 3901436 w 5829300"/>
              <a:gd name="connsiteY207" fmla="*/ 376510 h 7051380"/>
              <a:gd name="connsiteX208" fmla="*/ 3974300 w 5829300"/>
              <a:gd name="connsiteY208" fmla="*/ 297564 h 7051380"/>
              <a:gd name="connsiteX209" fmla="*/ 3989480 w 5829300"/>
              <a:gd name="connsiteY209" fmla="*/ 312746 h 7051380"/>
              <a:gd name="connsiteX210" fmla="*/ 3852860 w 5829300"/>
              <a:gd name="connsiteY210" fmla="*/ 479746 h 7051380"/>
              <a:gd name="connsiteX211" fmla="*/ 3928760 w 5829300"/>
              <a:gd name="connsiteY211" fmla="*/ 449383 h 7051380"/>
              <a:gd name="connsiteX212" fmla="*/ 4147352 w 5829300"/>
              <a:gd name="connsiteY212" fmla="*/ 236837 h 7051380"/>
              <a:gd name="connsiteX213" fmla="*/ 4211108 w 5829300"/>
              <a:gd name="connsiteY213" fmla="*/ 239874 h 7051380"/>
              <a:gd name="connsiteX214" fmla="*/ 4256648 w 5829300"/>
              <a:gd name="connsiteY214" fmla="*/ 236837 h 7051380"/>
              <a:gd name="connsiteX215" fmla="*/ 4444881 w 5829300"/>
              <a:gd name="connsiteY215" fmla="*/ 151819 h 7051380"/>
              <a:gd name="connsiteX216" fmla="*/ 4535962 w 5829300"/>
              <a:gd name="connsiteY216" fmla="*/ 88055 h 7051380"/>
              <a:gd name="connsiteX217" fmla="*/ 4526853 w 5829300"/>
              <a:gd name="connsiteY217" fmla="*/ 157891 h 7051380"/>
              <a:gd name="connsiteX218" fmla="*/ 4538997 w 5829300"/>
              <a:gd name="connsiteY218" fmla="*/ 173074 h 7051380"/>
              <a:gd name="connsiteX219" fmla="*/ 4742410 w 5829300"/>
              <a:gd name="connsiteY219" fmla="*/ 0 h 7051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5829300" h="7051380">
                <a:moveTo>
                  <a:pt x="4742410" y="0"/>
                </a:moveTo>
                <a:cubicBezTo>
                  <a:pt x="4748482" y="6073"/>
                  <a:pt x="4754554" y="12146"/>
                  <a:pt x="4760626" y="15182"/>
                </a:cubicBezTo>
                <a:cubicBezTo>
                  <a:pt x="4733302" y="57692"/>
                  <a:pt x="4709013" y="97164"/>
                  <a:pt x="4684726" y="139673"/>
                </a:cubicBezTo>
                <a:cubicBezTo>
                  <a:pt x="4690798" y="142709"/>
                  <a:pt x="4696870" y="148783"/>
                  <a:pt x="4702942" y="154855"/>
                </a:cubicBezTo>
                <a:cubicBezTo>
                  <a:pt x="4730266" y="109310"/>
                  <a:pt x="4760626" y="66800"/>
                  <a:pt x="4787950" y="24291"/>
                </a:cubicBezTo>
                <a:cubicBezTo>
                  <a:pt x="4797058" y="30363"/>
                  <a:pt x="4809202" y="39473"/>
                  <a:pt x="4818310" y="45546"/>
                </a:cubicBezTo>
                <a:cubicBezTo>
                  <a:pt x="4806166" y="97164"/>
                  <a:pt x="4790986" y="145746"/>
                  <a:pt x="4775806" y="194328"/>
                </a:cubicBezTo>
                <a:cubicBezTo>
                  <a:pt x="4781878" y="197364"/>
                  <a:pt x="4787950" y="200401"/>
                  <a:pt x="4794022" y="203437"/>
                </a:cubicBezTo>
                <a:cubicBezTo>
                  <a:pt x="4857778" y="139673"/>
                  <a:pt x="4924570" y="75909"/>
                  <a:pt x="4994398" y="6073"/>
                </a:cubicBezTo>
                <a:cubicBezTo>
                  <a:pt x="5067263" y="103237"/>
                  <a:pt x="5015651" y="182182"/>
                  <a:pt x="4942786" y="252019"/>
                </a:cubicBezTo>
                <a:cubicBezTo>
                  <a:pt x="5039939" y="334001"/>
                  <a:pt x="5079406" y="218619"/>
                  <a:pt x="5143163" y="194328"/>
                </a:cubicBezTo>
                <a:cubicBezTo>
                  <a:pt x="5155307" y="191292"/>
                  <a:pt x="5164415" y="179146"/>
                  <a:pt x="5176559" y="170037"/>
                </a:cubicBezTo>
                <a:cubicBezTo>
                  <a:pt x="5176559" y="185218"/>
                  <a:pt x="5182631" y="203437"/>
                  <a:pt x="5176559" y="212546"/>
                </a:cubicBezTo>
                <a:cubicBezTo>
                  <a:pt x="5164415" y="239874"/>
                  <a:pt x="5143163" y="264165"/>
                  <a:pt x="5134054" y="297564"/>
                </a:cubicBezTo>
                <a:cubicBezTo>
                  <a:pt x="5200847" y="242910"/>
                  <a:pt x="5267639" y="188255"/>
                  <a:pt x="5340504" y="127528"/>
                </a:cubicBezTo>
                <a:cubicBezTo>
                  <a:pt x="5337467" y="154855"/>
                  <a:pt x="5337467" y="170037"/>
                  <a:pt x="5334431" y="209510"/>
                </a:cubicBezTo>
                <a:cubicBezTo>
                  <a:pt x="5401223" y="163964"/>
                  <a:pt x="5455872" y="127528"/>
                  <a:pt x="5510520" y="91091"/>
                </a:cubicBezTo>
                <a:cubicBezTo>
                  <a:pt x="5513556" y="94127"/>
                  <a:pt x="5519628" y="97164"/>
                  <a:pt x="5522664" y="100201"/>
                </a:cubicBezTo>
                <a:cubicBezTo>
                  <a:pt x="5492304" y="145746"/>
                  <a:pt x="5461943" y="191292"/>
                  <a:pt x="5431583" y="236837"/>
                </a:cubicBezTo>
                <a:cubicBezTo>
                  <a:pt x="5440692" y="245946"/>
                  <a:pt x="5446763" y="252019"/>
                  <a:pt x="5455872" y="258092"/>
                </a:cubicBezTo>
                <a:cubicBezTo>
                  <a:pt x="5486231" y="212546"/>
                  <a:pt x="5513556" y="163964"/>
                  <a:pt x="5543915" y="118418"/>
                </a:cubicBezTo>
                <a:cubicBezTo>
                  <a:pt x="5556060" y="130564"/>
                  <a:pt x="5568204" y="142709"/>
                  <a:pt x="5580348" y="151819"/>
                </a:cubicBezTo>
                <a:cubicBezTo>
                  <a:pt x="5504448" y="242910"/>
                  <a:pt x="5428548" y="334001"/>
                  <a:pt x="5352647" y="428128"/>
                </a:cubicBezTo>
                <a:cubicBezTo>
                  <a:pt x="5358719" y="431164"/>
                  <a:pt x="5364791" y="437238"/>
                  <a:pt x="5370864" y="443310"/>
                </a:cubicBezTo>
                <a:cubicBezTo>
                  <a:pt x="5492304" y="324892"/>
                  <a:pt x="5616780" y="203437"/>
                  <a:pt x="5747328" y="75909"/>
                </a:cubicBezTo>
                <a:cubicBezTo>
                  <a:pt x="5707860" y="206473"/>
                  <a:pt x="5707860" y="340074"/>
                  <a:pt x="5583384" y="422056"/>
                </a:cubicBezTo>
                <a:cubicBezTo>
                  <a:pt x="5607672" y="440274"/>
                  <a:pt x="5625888" y="458492"/>
                  <a:pt x="5647140" y="473674"/>
                </a:cubicBezTo>
                <a:cubicBezTo>
                  <a:pt x="5713932" y="516183"/>
                  <a:pt x="5723040" y="570838"/>
                  <a:pt x="5680536" y="643711"/>
                </a:cubicBezTo>
                <a:cubicBezTo>
                  <a:pt x="5647140" y="698365"/>
                  <a:pt x="5622852" y="759093"/>
                  <a:pt x="5583384" y="838038"/>
                </a:cubicBezTo>
                <a:cubicBezTo>
                  <a:pt x="5634996" y="804639"/>
                  <a:pt x="5665356" y="789456"/>
                  <a:pt x="5692680" y="771238"/>
                </a:cubicBezTo>
                <a:cubicBezTo>
                  <a:pt x="5698752" y="774275"/>
                  <a:pt x="5704824" y="777311"/>
                  <a:pt x="5710896" y="783384"/>
                </a:cubicBezTo>
                <a:cubicBezTo>
                  <a:pt x="5656248" y="889657"/>
                  <a:pt x="5601600" y="995929"/>
                  <a:pt x="5549988" y="1102202"/>
                </a:cubicBezTo>
                <a:cubicBezTo>
                  <a:pt x="5543915" y="1117385"/>
                  <a:pt x="5553024" y="1153821"/>
                  <a:pt x="5565168" y="1159894"/>
                </a:cubicBezTo>
                <a:cubicBezTo>
                  <a:pt x="5628924" y="1196330"/>
                  <a:pt x="5659284" y="1284385"/>
                  <a:pt x="5619816" y="1342076"/>
                </a:cubicBezTo>
                <a:cubicBezTo>
                  <a:pt x="5519628" y="1490858"/>
                  <a:pt x="5461943" y="1657859"/>
                  <a:pt x="5404259" y="1824859"/>
                </a:cubicBezTo>
                <a:cubicBezTo>
                  <a:pt x="5398188" y="1837004"/>
                  <a:pt x="5404259" y="1855223"/>
                  <a:pt x="5410332" y="1867368"/>
                </a:cubicBezTo>
                <a:cubicBezTo>
                  <a:pt x="5419439" y="1906841"/>
                  <a:pt x="5431583" y="1943277"/>
                  <a:pt x="5446763" y="1985787"/>
                </a:cubicBezTo>
                <a:cubicBezTo>
                  <a:pt x="5486231" y="1946314"/>
                  <a:pt x="5531772" y="1906841"/>
                  <a:pt x="5577312" y="1864332"/>
                </a:cubicBezTo>
                <a:cubicBezTo>
                  <a:pt x="5580348" y="1864332"/>
                  <a:pt x="5586420" y="1867368"/>
                  <a:pt x="5589456" y="1870404"/>
                </a:cubicBezTo>
                <a:cubicBezTo>
                  <a:pt x="5577312" y="1912913"/>
                  <a:pt x="5565168" y="1955423"/>
                  <a:pt x="5549988" y="2000968"/>
                </a:cubicBezTo>
                <a:cubicBezTo>
                  <a:pt x="5634996" y="2049550"/>
                  <a:pt x="5665356" y="1949350"/>
                  <a:pt x="5741256" y="1915950"/>
                </a:cubicBezTo>
                <a:cubicBezTo>
                  <a:pt x="5713932" y="1979714"/>
                  <a:pt x="5692680" y="2028296"/>
                  <a:pt x="5668392" y="2079914"/>
                </a:cubicBezTo>
                <a:cubicBezTo>
                  <a:pt x="5729112" y="2122423"/>
                  <a:pt x="5738220" y="2174041"/>
                  <a:pt x="5692680" y="2237806"/>
                </a:cubicBezTo>
                <a:cubicBezTo>
                  <a:pt x="5732148" y="2201369"/>
                  <a:pt x="5771616" y="2164933"/>
                  <a:pt x="5811085" y="2128496"/>
                </a:cubicBezTo>
                <a:cubicBezTo>
                  <a:pt x="5817156" y="2131532"/>
                  <a:pt x="5823229" y="2134568"/>
                  <a:pt x="5829300" y="2137605"/>
                </a:cubicBezTo>
                <a:cubicBezTo>
                  <a:pt x="5801976" y="2189224"/>
                  <a:pt x="5774652" y="2240842"/>
                  <a:pt x="5747328" y="2295496"/>
                </a:cubicBezTo>
                <a:cubicBezTo>
                  <a:pt x="5795905" y="2319787"/>
                  <a:pt x="5814120" y="2341041"/>
                  <a:pt x="5786796" y="2404805"/>
                </a:cubicBezTo>
                <a:cubicBezTo>
                  <a:pt x="5677500" y="2652270"/>
                  <a:pt x="5560614" y="2895179"/>
                  <a:pt x="5437276" y="3134673"/>
                </a:cubicBezTo>
                <a:lnTo>
                  <a:pt x="5272826" y="3443994"/>
                </a:lnTo>
                <a:lnTo>
                  <a:pt x="5307909" y="3476943"/>
                </a:lnTo>
                <a:cubicBezTo>
                  <a:pt x="5337137" y="3516717"/>
                  <a:pt x="5333304" y="3562722"/>
                  <a:pt x="5294971" y="3616394"/>
                </a:cubicBezTo>
                <a:cubicBezTo>
                  <a:pt x="5339266" y="3575501"/>
                  <a:pt x="5383561" y="3534608"/>
                  <a:pt x="5427857" y="3493716"/>
                </a:cubicBezTo>
                <a:cubicBezTo>
                  <a:pt x="5434671" y="3497123"/>
                  <a:pt x="5441486" y="3500531"/>
                  <a:pt x="5448300" y="3503939"/>
                </a:cubicBezTo>
                <a:cubicBezTo>
                  <a:pt x="5417634" y="3561870"/>
                  <a:pt x="5386969" y="3619802"/>
                  <a:pt x="5356303" y="3681141"/>
                </a:cubicBezTo>
                <a:cubicBezTo>
                  <a:pt x="5410820" y="3708402"/>
                  <a:pt x="5431264" y="3732256"/>
                  <a:pt x="5400598" y="3803818"/>
                </a:cubicBezTo>
                <a:cubicBezTo>
                  <a:pt x="5155271" y="4359278"/>
                  <a:pt x="4875871" y="4894290"/>
                  <a:pt x="4572620" y="5419081"/>
                </a:cubicBezTo>
                <a:cubicBezTo>
                  <a:pt x="4484030" y="5572428"/>
                  <a:pt x="4409069" y="5739407"/>
                  <a:pt x="4313664" y="5926832"/>
                </a:cubicBezTo>
                <a:cubicBezTo>
                  <a:pt x="4306849" y="5879123"/>
                  <a:pt x="4293220" y="5851862"/>
                  <a:pt x="4300035" y="5828007"/>
                </a:cubicBezTo>
                <a:cubicBezTo>
                  <a:pt x="4323886" y="5746222"/>
                  <a:pt x="4351144" y="5667844"/>
                  <a:pt x="4364773" y="5582651"/>
                </a:cubicBezTo>
                <a:cubicBezTo>
                  <a:pt x="4351144" y="5599690"/>
                  <a:pt x="4337515" y="5616728"/>
                  <a:pt x="4323886" y="5637175"/>
                </a:cubicBezTo>
                <a:cubicBezTo>
                  <a:pt x="4320478" y="5633767"/>
                  <a:pt x="4313664" y="5633767"/>
                  <a:pt x="4310257" y="5630359"/>
                </a:cubicBezTo>
                <a:cubicBezTo>
                  <a:pt x="4351144" y="5524720"/>
                  <a:pt x="4388625" y="5415672"/>
                  <a:pt x="4429512" y="5310033"/>
                </a:cubicBezTo>
                <a:cubicBezTo>
                  <a:pt x="4422698" y="5306625"/>
                  <a:pt x="4415883" y="5303218"/>
                  <a:pt x="4409069" y="5299809"/>
                </a:cubicBezTo>
                <a:cubicBezTo>
                  <a:pt x="4347737" y="5432711"/>
                  <a:pt x="4282998" y="5562205"/>
                  <a:pt x="4214852" y="5698514"/>
                </a:cubicBezTo>
                <a:cubicBezTo>
                  <a:pt x="4201223" y="5667844"/>
                  <a:pt x="4191000" y="5643990"/>
                  <a:pt x="4170557" y="5592874"/>
                </a:cubicBezTo>
                <a:cubicBezTo>
                  <a:pt x="4041079" y="5841638"/>
                  <a:pt x="3921822" y="6073364"/>
                  <a:pt x="3792344" y="6325535"/>
                </a:cubicBezTo>
                <a:cubicBezTo>
                  <a:pt x="3788937" y="6257381"/>
                  <a:pt x="3785530" y="6206265"/>
                  <a:pt x="3782122" y="6151741"/>
                </a:cubicBezTo>
                <a:cubicBezTo>
                  <a:pt x="3778715" y="6131295"/>
                  <a:pt x="3775307" y="6107441"/>
                  <a:pt x="3775307" y="6083587"/>
                </a:cubicBezTo>
                <a:cubicBezTo>
                  <a:pt x="3765086" y="6083587"/>
                  <a:pt x="3754864" y="6083587"/>
                  <a:pt x="3744641" y="6083587"/>
                </a:cubicBezTo>
                <a:cubicBezTo>
                  <a:pt x="3696939" y="6182410"/>
                  <a:pt x="3652644" y="6281235"/>
                  <a:pt x="3604942" y="6380059"/>
                </a:cubicBezTo>
                <a:cubicBezTo>
                  <a:pt x="3594720" y="6380059"/>
                  <a:pt x="3587905" y="6376651"/>
                  <a:pt x="3577683" y="6376651"/>
                </a:cubicBezTo>
                <a:cubicBezTo>
                  <a:pt x="3594720" y="6288050"/>
                  <a:pt x="3611757" y="6199450"/>
                  <a:pt x="3628793" y="6114256"/>
                </a:cubicBezTo>
                <a:cubicBezTo>
                  <a:pt x="3618571" y="6117664"/>
                  <a:pt x="3601534" y="6127887"/>
                  <a:pt x="3581091" y="6138110"/>
                </a:cubicBezTo>
                <a:cubicBezTo>
                  <a:pt x="3594720" y="6049509"/>
                  <a:pt x="3662867" y="5974539"/>
                  <a:pt x="3639015" y="5885939"/>
                </a:cubicBezTo>
                <a:cubicBezTo>
                  <a:pt x="3632200" y="5885939"/>
                  <a:pt x="3621978" y="5882531"/>
                  <a:pt x="3611757" y="5882531"/>
                </a:cubicBezTo>
                <a:cubicBezTo>
                  <a:pt x="3540202" y="6029063"/>
                  <a:pt x="3468649" y="6179003"/>
                  <a:pt x="3397095" y="6325535"/>
                </a:cubicBezTo>
                <a:cubicBezTo>
                  <a:pt x="3390281" y="6325535"/>
                  <a:pt x="3386873" y="6325535"/>
                  <a:pt x="3380058" y="6328942"/>
                </a:cubicBezTo>
                <a:cubicBezTo>
                  <a:pt x="3380058" y="6281235"/>
                  <a:pt x="3380058" y="6233527"/>
                  <a:pt x="3380058" y="6185819"/>
                </a:cubicBezTo>
                <a:cubicBezTo>
                  <a:pt x="3373244" y="6182410"/>
                  <a:pt x="3369837" y="6182410"/>
                  <a:pt x="3366429" y="6179003"/>
                </a:cubicBezTo>
                <a:cubicBezTo>
                  <a:pt x="3226730" y="6468659"/>
                  <a:pt x="3087030" y="6758316"/>
                  <a:pt x="2947330" y="7051380"/>
                </a:cubicBezTo>
                <a:cubicBezTo>
                  <a:pt x="2943922" y="7047973"/>
                  <a:pt x="2937107" y="7044565"/>
                  <a:pt x="2930293" y="7044565"/>
                </a:cubicBezTo>
                <a:cubicBezTo>
                  <a:pt x="2960959" y="6935518"/>
                  <a:pt x="2991625" y="6826471"/>
                  <a:pt x="3022291" y="6717423"/>
                </a:cubicBezTo>
                <a:cubicBezTo>
                  <a:pt x="3018883" y="6717423"/>
                  <a:pt x="3015476" y="6714016"/>
                  <a:pt x="3008661" y="6714016"/>
                </a:cubicBezTo>
                <a:cubicBezTo>
                  <a:pt x="2971181" y="6792393"/>
                  <a:pt x="2933701" y="6867364"/>
                  <a:pt x="2896220" y="6945741"/>
                </a:cubicBezTo>
                <a:cubicBezTo>
                  <a:pt x="2889405" y="6942334"/>
                  <a:pt x="2882591" y="6938925"/>
                  <a:pt x="2875776" y="6935518"/>
                </a:cubicBezTo>
                <a:cubicBezTo>
                  <a:pt x="2977996" y="6652677"/>
                  <a:pt x="3076807" y="6369835"/>
                  <a:pt x="3179027" y="6086995"/>
                </a:cubicBezTo>
                <a:cubicBezTo>
                  <a:pt x="3172212" y="6086995"/>
                  <a:pt x="3165398" y="6083587"/>
                  <a:pt x="3161990" y="6080179"/>
                </a:cubicBezTo>
                <a:cubicBezTo>
                  <a:pt x="3090437" y="6233527"/>
                  <a:pt x="3015476" y="6383466"/>
                  <a:pt x="2943922" y="6536814"/>
                </a:cubicBezTo>
                <a:cubicBezTo>
                  <a:pt x="2937107" y="6536814"/>
                  <a:pt x="2926886" y="6536814"/>
                  <a:pt x="2920072" y="6536814"/>
                </a:cubicBezTo>
                <a:cubicBezTo>
                  <a:pt x="2920072" y="6506145"/>
                  <a:pt x="2913257" y="6475475"/>
                  <a:pt x="2920072" y="6448213"/>
                </a:cubicBezTo>
                <a:cubicBezTo>
                  <a:pt x="2974588" y="6291458"/>
                  <a:pt x="3032512" y="6134702"/>
                  <a:pt x="3090437" y="5977947"/>
                </a:cubicBezTo>
                <a:cubicBezTo>
                  <a:pt x="3083622" y="5974539"/>
                  <a:pt x="3073401" y="5971132"/>
                  <a:pt x="3066586" y="5967724"/>
                </a:cubicBezTo>
                <a:cubicBezTo>
                  <a:pt x="3046141" y="6022247"/>
                  <a:pt x="3022291" y="6073364"/>
                  <a:pt x="2995032" y="6144926"/>
                </a:cubicBezTo>
                <a:cubicBezTo>
                  <a:pt x="2960959" y="6018840"/>
                  <a:pt x="3042735" y="5933647"/>
                  <a:pt x="3059771" y="5838231"/>
                </a:cubicBezTo>
                <a:cubicBezTo>
                  <a:pt x="2923478" y="5793930"/>
                  <a:pt x="2920072" y="5916608"/>
                  <a:pt x="2879183" y="5984763"/>
                </a:cubicBezTo>
                <a:cubicBezTo>
                  <a:pt x="2834888" y="6052917"/>
                  <a:pt x="2811037" y="6134702"/>
                  <a:pt x="2776964" y="6213080"/>
                </a:cubicBezTo>
                <a:cubicBezTo>
                  <a:pt x="2763334" y="6243750"/>
                  <a:pt x="2753113" y="6274419"/>
                  <a:pt x="2742890" y="6305089"/>
                </a:cubicBezTo>
                <a:cubicBezTo>
                  <a:pt x="2736076" y="6291458"/>
                  <a:pt x="2729261" y="6281235"/>
                  <a:pt x="2712224" y="6250565"/>
                </a:cubicBezTo>
                <a:cubicBezTo>
                  <a:pt x="2674744" y="6332351"/>
                  <a:pt x="2637264" y="6400505"/>
                  <a:pt x="2603190" y="6468659"/>
                </a:cubicBezTo>
                <a:cubicBezTo>
                  <a:pt x="2596376" y="6468659"/>
                  <a:pt x="2589561" y="6465252"/>
                  <a:pt x="2586154" y="6465252"/>
                </a:cubicBezTo>
                <a:cubicBezTo>
                  <a:pt x="2603190" y="6390282"/>
                  <a:pt x="2623634" y="6318720"/>
                  <a:pt x="2644079" y="6243750"/>
                </a:cubicBezTo>
                <a:cubicBezTo>
                  <a:pt x="2640671" y="6243750"/>
                  <a:pt x="2637264" y="6243750"/>
                  <a:pt x="2633857" y="6243750"/>
                </a:cubicBezTo>
                <a:cubicBezTo>
                  <a:pt x="2603190" y="6291458"/>
                  <a:pt x="2572524" y="6339166"/>
                  <a:pt x="2541859" y="6386874"/>
                </a:cubicBezTo>
                <a:cubicBezTo>
                  <a:pt x="2535045" y="6386874"/>
                  <a:pt x="2528230" y="6383466"/>
                  <a:pt x="2518008" y="6380059"/>
                </a:cubicBezTo>
                <a:cubicBezTo>
                  <a:pt x="2555488" y="6257381"/>
                  <a:pt x="2592969" y="6134702"/>
                  <a:pt x="2630449" y="6012025"/>
                </a:cubicBezTo>
                <a:cubicBezTo>
                  <a:pt x="2627042" y="6008616"/>
                  <a:pt x="2620227" y="6008616"/>
                  <a:pt x="2616819" y="6005209"/>
                </a:cubicBezTo>
                <a:cubicBezTo>
                  <a:pt x="2582747" y="6083587"/>
                  <a:pt x="2548674" y="6161964"/>
                  <a:pt x="2514600" y="6236934"/>
                </a:cubicBezTo>
                <a:cubicBezTo>
                  <a:pt x="2507785" y="6236934"/>
                  <a:pt x="2500971" y="6233527"/>
                  <a:pt x="2490750" y="6230119"/>
                </a:cubicBezTo>
                <a:cubicBezTo>
                  <a:pt x="2504379" y="6185819"/>
                  <a:pt x="2514600" y="6141518"/>
                  <a:pt x="2528230" y="6097217"/>
                </a:cubicBezTo>
                <a:cubicBezTo>
                  <a:pt x="2524822" y="6097217"/>
                  <a:pt x="2518008" y="6093810"/>
                  <a:pt x="2514600" y="6093810"/>
                </a:cubicBezTo>
                <a:cubicBezTo>
                  <a:pt x="2466898" y="6196041"/>
                  <a:pt x="2415788" y="6298273"/>
                  <a:pt x="2368086" y="6400505"/>
                </a:cubicBezTo>
                <a:cubicBezTo>
                  <a:pt x="2364679" y="6390282"/>
                  <a:pt x="2357864" y="6380059"/>
                  <a:pt x="2351049" y="6366428"/>
                </a:cubicBezTo>
                <a:cubicBezTo>
                  <a:pt x="2293125" y="6485698"/>
                  <a:pt x="2235201" y="6598153"/>
                  <a:pt x="2177276" y="6710608"/>
                </a:cubicBezTo>
                <a:cubicBezTo>
                  <a:pt x="2173868" y="6710608"/>
                  <a:pt x="2170461" y="6714016"/>
                  <a:pt x="2167054" y="6714016"/>
                </a:cubicBezTo>
                <a:cubicBezTo>
                  <a:pt x="2187497" y="6628822"/>
                  <a:pt x="2204534" y="6540222"/>
                  <a:pt x="2224978" y="6455028"/>
                </a:cubicBezTo>
                <a:cubicBezTo>
                  <a:pt x="2221572" y="6451621"/>
                  <a:pt x="2218163" y="6451621"/>
                  <a:pt x="2214757" y="6448213"/>
                </a:cubicBezTo>
                <a:cubicBezTo>
                  <a:pt x="2187497" y="6489105"/>
                  <a:pt x="2160239" y="6529998"/>
                  <a:pt x="2129573" y="6570891"/>
                </a:cubicBezTo>
                <a:cubicBezTo>
                  <a:pt x="2122759" y="6570891"/>
                  <a:pt x="2112537" y="6567484"/>
                  <a:pt x="2105723" y="6567484"/>
                </a:cubicBezTo>
                <a:cubicBezTo>
                  <a:pt x="2119352" y="6482290"/>
                  <a:pt x="2129573" y="6397097"/>
                  <a:pt x="2143202" y="6315311"/>
                </a:cubicBezTo>
                <a:cubicBezTo>
                  <a:pt x="2126166" y="6339166"/>
                  <a:pt x="2105723" y="6366428"/>
                  <a:pt x="2081871" y="6397097"/>
                </a:cubicBezTo>
                <a:cubicBezTo>
                  <a:pt x="2078464" y="6390282"/>
                  <a:pt x="2071649" y="6386874"/>
                  <a:pt x="2068242" y="6380059"/>
                </a:cubicBezTo>
                <a:cubicBezTo>
                  <a:pt x="2095500" y="6240342"/>
                  <a:pt x="2119352" y="6100625"/>
                  <a:pt x="2146610" y="5950685"/>
                </a:cubicBezTo>
                <a:cubicBezTo>
                  <a:pt x="2122759" y="5967724"/>
                  <a:pt x="2092094" y="5974539"/>
                  <a:pt x="2081871" y="5994985"/>
                </a:cubicBezTo>
                <a:cubicBezTo>
                  <a:pt x="2017132" y="6141518"/>
                  <a:pt x="1955800" y="6288050"/>
                  <a:pt x="1891061" y="6434583"/>
                </a:cubicBezTo>
                <a:cubicBezTo>
                  <a:pt x="1884247" y="6431174"/>
                  <a:pt x="1877432" y="6431174"/>
                  <a:pt x="1867210" y="6427767"/>
                </a:cubicBezTo>
                <a:cubicBezTo>
                  <a:pt x="1891061" y="6345982"/>
                  <a:pt x="1911505" y="6267604"/>
                  <a:pt x="1931949" y="6185819"/>
                </a:cubicBezTo>
                <a:cubicBezTo>
                  <a:pt x="1904690" y="6192634"/>
                  <a:pt x="1877432" y="6199450"/>
                  <a:pt x="1853581" y="6202857"/>
                </a:cubicBezTo>
                <a:cubicBezTo>
                  <a:pt x="1829730" y="6257381"/>
                  <a:pt x="1805878" y="6311904"/>
                  <a:pt x="1782027" y="6366428"/>
                </a:cubicBezTo>
                <a:cubicBezTo>
                  <a:pt x="1700251" y="6104033"/>
                  <a:pt x="1826322" y="5885939"/>
                  <a:pt x="1891061" y="5657621"/>
                </a:cubicBezTo>
                <a:cubicBezTo>
                  <a:pt x="1884247" y="5654213"/>
                  <a:pt x="1874025" y="5650806"/>
                  <a:pt x="1867210" y="5647397"/>
                </a:cubicBezTo>
                <a:cubicBezTo>
                  <a:pt x="1754769" y="5885939"/>
                  <a:pt x="1645735" y="6124479"/>
                  <a:pt x="1533293" y="6363020"/>
                </a:cubicBezTo>
                <a:cubicBezTo>
                  <a:pt x="1519664" y="6349389"/>
                  <a:pt x="1509442" y="6339166"/>
                  <a:pt x="1495813" y="6322127"/>
                </a:cubicBezTo>
                <a:cubicBezTo>
                  <a:pt x="1488998" y="6339166"/>
                  <a:pt x="1482183" y="6352797"/>
                  <a:pt x="1475368" y="6366428"/>
                </a:cubicBezTo>
                <a:cubicBezTo>
                  <a:pt x="1468554" y="6352797"/>
                  <a:pt x="1461739" y="6342573"/>
                  <a:pt x="1458332" y="6335758"/>
                </a:cubicBezTo>
                <a:cubicBezTo>
                  <a:pt x="1424259" y="6400505"/>
                  <a:pt x="1393594" y="6465252"/>
                  <a:pt x="1359520" y="6529998"/>
                </a:cubicBezTo>
                <a:cubicBezTo>
                  <a:pt x="1352705" y="6526591"/>
                  <a:pt x="1349298" y="6523183"/>
                  <a:pt x="1342484" y="6523183"/>
                </a:cubicBezTo>
                <a:cubicBezTo>
                  <a:pt x="1345890" y="6485698"/>
                  <a:pt x="1352705" y="6448213"/>
                  <a:pt x="1356113" y="6410728"/>
                </a:cubicBezTo>
                <a:cubicBezTo>
                  <a:pt x="1349298" y="6403913"/>
                  <a:pt x="1345890" y="6400505"/>
                  <a:pt x="1339076" y="6397097"/>
                </a:cubicBezTo>
                <a:cubicBezTo>
                  <a:pt x="1315224" y="6424359"/>
                  <a:pt x="1291374" y="6455028"/>
                  <a:pt x="1243671" y="6506145"/>
                </a:cubicBezTo>
                <a:cubicBezTo>
                  <a:pt x="1284559" y="6349389"/>
                  <a:pt x="1318632" y="6213080"/>
                  <a:pt x="1352705" y="6080179"/>
                </a:cubicBezTo>
                <a:cubicBezTo>
                  <a:pt x="1349298" y="6076771"/>
                  <a:pt x="1345890" y="6076771"/>
                  <a:pt x="1342484" y="6073364"/>
                </a:cubicBezTo>
                <a:cubicBezTo>
                  <a:pt x="1172117" y="6397097"/>
                  <a:pt x="1001751" y="6720831"/>
                  <a:pt x="834793" y="7044565"/>
                </a:cubicBezTo>
                <a:cubicBezTo>
                  <a:pt x="831386" y="7044565"/>
                  <a:pt x="827978" y="7044565"/>
                  <a:pt x="824571" y="7041158"/>
                </a:cubicBezTo>
                <a:cubicBezTo>
                  <a:pt x="855237" y="6935518"/>
                  <a:pt x="885902" y="6826471"/>
                  <a:pt x="916568" y="6720831"/>
                </a:cubicBezTo>
                <a:cubicBezTo>
                  <a:pt x="913162" y="6717423"/>
                  <a:pt x="909754" y="6714016"/>
                  <a:pt x="902939" y="6714016"/>
                </a:cubicBezTo>
                <a:cubicBezTo>
                  <a:pt x="865459" y="6788986"/>
                  <a:pt x="827978" y="6867364"/>
                  <a:pt x="790497" y="6942334"/>
                </a:cubicBezTo>
                <a:cubicBezTo>
                  <a:pt x="783683" y="6942334"/>
                  <a:pt x="780276" y="6938925"/>
                  <a:pt x="773461" y="6938925"/>
                </a:cubicBezTo>
                <a:cubicBezTo>
                  <a:pt x="862052" y="6686754"/>
                  <a:pt x="947235" y="6437990"/>
                  <a:pt x="1032417" y="6189226"/>
                </a:cubicBezTo>
                <a:cubicBezTo>
                  <a:pt x="1025603" y="6182410"/>
                  <a:pt x="1015381" y="6179003"/>
                  <a:pt x="1005159" y="6175595"/>
                </a:cubicBezTo>
                <a:cubicBezTo>
                  <a:pt x="950641" y="6294865"/>
                  <a:pt x="896125" y="6414136"/>
                  <a:pt x="841607" y="6533407"/>
                </a:cubicBezTo>
                <a:cubicBezTo>
                  <a:pt x="787091" y="6526591"/>
                  <a:pt x="793905" y="6499329"/>
                  <a:pt x="814349" y="6455028"/>
                </a:cubicBezTo>
                <a:cubicBezTo>
                  <a:pt x="885902" y="6288050"/>
                  <a:pt x="950641" y="6117664"/>
                  <a:pt x="1018788" y="5947277"/>
                </a:cubicBezTo>
                <a:cubicBezTo>
                  <a:pt x="1025603" y="5933647"/>
                  <a:pt x="1022196" y="5920016"/>
                  <a:pt x="1008566" y="5899570"/>
                </a:cubicBezTo>
                <a:cubicBezTo>
                  <a:pt x="954049" y="6005209"/>
                  <a:pt x="899532" y="6107441"/>
                  <a:pt x="845015" y="6213080"/>
                </a:cubicBezTo>
                <a:cubicBezTo>
                  <a:pt x="841607" y="6209672"/>
                  <a:pt x="834793" y="6209672"/>
                  <a:pt x="831386" y="6206265"/>
                </a:cubicBezTo>
                <a:cubicBezTo>
                  <a:pt x="845015" y="6141518"/>
                  <a:pt x="862052" y="6076771"/>
                  <a:pt x="875681" y="6012025"/>
                </a:cubicBezTo>
                <a:cubicBezTo>
                  <a:pt x="865459" y="6008616"/>
                  <a:pt x="858644" y="6005209"/>
                  <a:pt x="848422" y="6001801"/>
                </a:cubicBezTo>
                <a:cubicBezTo>
                  <a:pt x="827978" y="6039286"/>
                  <a:pt x="810942" y="6073364"/>
                  <a:pt x="790497" y="6110848"/>
                </a:cubicBezTo>
                <a:cubicBezTo>
                  <a:pt x="787091" y="6107441"/>
                  <a:pt x="780276" y="6107441"/>
                  <a:pt x="773461" y="6104033"/>
                </a:cubicBezTo>
                <a:cubicBezTo>
                  <a:pt x="872273" y="5821191"/>
                  <a:pt x="974493" y="5534943"/>
                  <a:pt x="1076712" y="5252101"/>
                </a:cubicBezTo>
                <a:cubicBezTo>
                  <a:pt x="1069898" y="5248694"/>
                  <a:pt x="1063083" y="5245286"/>
                  <a:pt x="1052861" y="5241878"/>
                </a:cubicBezTo>
                <a:cubicBezTo>
                  <a:pt x="984715" y="5388411"/>
                  <a:pt x="916568" y="5531535"/>
                  <a:pt x="848422" y="5678068"/>
                </a:cubicBezTo>
                <a:cubicBezTo>
                  <a:pt x="814349" y="5643990"/>
                  <a:pt x="814349" y="5643990"/>
                  <a:pt x="851830" y="5531535"/>
                </a:cubicBezTo>
                <a:cubicBezTo>
                  <a:pt x="872273" y="5473603"/>
                  <a:pt x="896125" y="5419081"/>
                  <a:pt x="919976" y="5364557"/>
                </a:cubicBezTo>
                <a:cubicBezTo>
                  <a:pt x="916568" y="5361149"/>
                  <a:pt x="909754" y="5354333"/>
                  <a:pt x="906346" y="5354333"/>
                </a:cubicBezTo>
                <a:cubicBezTo>
                  <a:pt x="793905" y="5419081"/>
                  <a:pt x="667834" y="5449750"/>
                  <a:pt x="599688" y="5596282"/>
                </a:cubicBezTo>
                <a:cubicBezTo>
                  <a:pt x="551985" y="5705329"/>
                  <a:pt x="473617" y="5821191"/>
                  <a:pt x="350954" y="5879123"/>
                </a:cubicBezTo>
                <a:cubicBezTo>
                  <a:pt x="313473" y="5899570"/>
                  <a:pt x="272586" y="5916608"/>
                  <a:pt x="231698" y="5926832"/>
                </a:cubicBezTo>
                <a:cubicBezTo>
                  <a:pt x="173773" y="5943870"/>
                  <a:pt x="115849" y="5954093"/>
                  <a:pt x="51110" y="5967724"/>
                </a:cubicBezTo>
                <a:cubicBezTo>
                  <a:pt x="102220" y="5872308"/>
                  <a:pt x="214661" y="5790522"/>
                  <a:pt x="156736" y="5650806"/>
                </a:cubicBezTo>
                <a:cubicBezTo>
                  <a:pt x="115849" y="5681475"/>
                  <a:pt x="71554" y="5718960"/>
                  <a:pt x="13629" y="5763260"/>
                </a:cubicBezTo>
                <a:cubicBezTo>
                  <a:pt x="64739" y="5555389"/>
                  <a:pt x="235105" y="5415672"/>
                  <a:pt x="279401" y="5218024"/>
                </a:cubicBezTo>
                <a:cubicBezTo>
                  <a:pt x="272586" y="5214617"/>
                  <a:pt x="262364" y="5211209"/>
                  <a:pt x="255549" y="5207801"/>
                </a:cubicBezTo>
                <a:cubicBezTo>
                  <a:pt x="286215" y="5160093"/>
                  <a:pt x="316880" y="5112385"/>
                  <a:pt x="357769" y="5054454"/>
                </a:cubicBezTo>
                <a:cubicBezTo>
                  <a:pt x="245327" y="5081715"/>
                  <a:pt x="153330" y="5105569"/>
                  <a:pt x="71554" y="5126015"/>
                </a:cubicBezTo>
                <a:cubicBezTo>
                  <a:pt x="109034" y="5040823"/>
                  <a:pt x="153330" y="4938591"/>
                  <a:pt x="201032" y="4836359"/>
                </a:cubicBezTo>
                <a:cubicBezTo>
                  <a:pt x="190810" y="4829544"/>
                  <a:pt x="180588" y="4822728"/>
                  <a:pt x="170366" y="4819320"/>
                </a:cubicBezTo>
                <a:cubicBezTo>
                  <a:pt x="146515" y="4832951"/>
                  <a:pt x="122663" y="4849990"/>
                  <a:pt x="95405" y="4867029"/>
                </a:cubicBezTo>
                <a:cubicBezTo>
                  <a:pt x="71554" y="4880659"/>
                  <a:pt x="44295" y="4897698"/>
                  <a:pt x="0" y="4928368"/>
                </a:cubicBezTo>
                <a:cubicBezTo>
                  <a:pt x="197625" y="4550110"/>
                  <a:pt x="385027" y="4192299"/>
                  <a:pt x="572429" y="3831080"/>
                </a:cubicBezTo>
                <a:cubicBezTo>
                  <a:pt x="562208" y="3824265"/>
                  <a:pt x="548579" y="3817449"/>
                  <a:pt x="538356" y="3810634"/>
                </a:cubicBezTo>
                <a:cubicBezTo>
                  <a:pt x="511098" y="3851527"/>
                  <a:pt x="480432" y="3892420"/>
                  <a:pt x="453174" y="3929904"/>
                </a:cubicBezTo>
                <a:cubicBezTo>
                  <a:pt x="449766" y="3929904"/>
                  <a:pt x="446359" y="3926497"/>
                  <a:pt x="442951" y="3926497"/>
                </a:cubicBezTo>
                <a:cubicBezTo>
                  <a:pt x="497469" y="3807227"/>
                  <a:pt x="551985" y="3687956"/>
                  <a:pt x="609910" y="3568685"/>
                </a:cubicBezTo>
                <a:cubicBezTo>
                  <a:pt x="698500" y="3384669"/>
                  <a:pt x="793905" y="3204059"/>
                  <a:pt x="882496" y="3016634"/>
                </a:cubicBezTo>
                <a:cubicBezTo>
                  <a:pt x="1035825" y="2692900"/>
                  <a:pt x="1240264" y="2403244"/>
                  <a:pt x="1444703" y="2110179"/>
                </a:cubicBezTo>
                <a:cubicBezTo>
                  <a:pt x="1468554" y="2072694"/>
                  <a:pt x="1526478" y="2055656"/>
                  <a:pt x="1570773" y="2038617"/>
                </a:cubicBezTo>
                <a:lnTo>
                  <a:pt x="1601812" y="2026687"/>
                </a:lnTo>
                <a:lnTo>
                  <a:pt x="1639611" y="1950489"/>
                </a:lnTo>
                <a:cubicBezTo>
                  <a:pt x="1680597" y="1868886"/>
                  <a:pt x="1721583" y="1786904"/>
                  <a:pt x="1761051" y="1703404"/>
                </a:cubicBezTo>
                <a:cubicBezTo>
                  <a:pt x="1897671" y="1414949"/>
                  <a:pt x="2079832" y="1156858"/>
                  <a:pt x="2261992" y="895729"/>
                </a:cubicBezTo>
                <a:cubicBezTo>
                  <a:pt x="2283245" y="862329"/>
                  <a:pt x="2334856" y="847148"/>
                  <a:pt x="2374324" y="831966"/>
                </a:cubicBezTo>
                <a:cubicBezTo>
                  <a:pt x="2441117" y="801602"/>
                  <a:pt x="2510945" y="783384"/>
                  <a:pt x="2577737" y="756057"/>
                </a:cubicBezTo>
                <a:cubicBezTo>
                  <a:pt x="2671853" y="713547"/>
                  <a:pt x="2680962" y="768202"/>
                  <a:pt x="2680962" y="844111"/>
                </a:cubicBezTo>
                <a:cubicBezTo>
                  <a:pt x="2984562" y="616384"/>
                  <a:pt x="3282090" y="391692"/>
                  <a:pt x="3591763" y="157891"/>
                </a:cubicBezTo>
                <a:cubicBezTo>
                  <a:pt x="3512827" y="248982"/>
                  <a:pt x="3442999" y="334001"/>
                  <a:pt x="3373171" y="415983"/>
                </a:cubicBezTo>
                <a:cubicBezTo>
                  <a:pt x="3379242" y="422056"/>
                  <a:pt x="3385315" y="428128"/>
                  <a:pt x="3391386" y="434201"/>
                </a:cubicBezTo>
                <a:cubicBezTo>
                  <a:pt x="3528007" y="294528"/>
                  <a:pt x="3667663" y="154855"/>
                  <a:pt x="3807320" y="12146"/>
                </a:cubicBezTo>
                <a:cubicBezTo>
                  <a:pt x="3810356" y="18219"/>
                  <a:pt x="3816427" y="24291"/>
                  <a:pt x="3822500" y="27327"/>
                </a:cubicBezTo>
                <a:cubicBezTo>
                  <a:pt x="3816427" y="45546"/>
                  <a:pt x="3813392" y="63764"/>
                  <a:pt x="3807320" y="81983"/>
                </a:cubicBezTo>
                <a:cubicBezTo>
                  <a:pt x="3752672" y="85019"/>
                  <a:pt x="3767852" y="127528"/>
                  <a:pt x="3752672" y="160928"/>
                </a:cubicBezTo>
                <a:cubicBezTo>
                  <a:pt x="3734455" y="203437"/>
                  <a:pt x="3694987" y="236837"/>
                  <a:pt x="3655520" y="282383"/>
                </a:cubicBezTo>
                <a:cubicBezTo>
                  <a:pt x="3688915" y="276310"/>
                  <a:pt x="3707131" y="270237"/>
                  <a:pt x="3722311" y="267201"/>
                </a:cubicBezTo>
                <a:cubicBezTo>
                  <a:pt x="3701059" y="309710"/>
                  <a:pt x="3679807" y="352219"/>
                  <a:pt x="3655520" y="394729"/>
                </a:cubicBezTo>
                <a:cubicBezTo>
                  <a:pt x="3658555" y="397765"/>
                  <a:pt x="3661591" y="403837"/>
                  <a:pt x="3664627" y="406874"/>
                </a:cubicBezTo>
                <a:cubicBezTo>
                  <a:pt x="3770888" y="303638"/>
                  <a:pt x="3880184" y="197364"/>
                  <a:pt x="3989480" y="94127"/>
                </a:cubicBezTo>
                <a:cubicBezTo>
                  <a:pt x="3953048" y="188255"/>
                  <a:pt x="3916616" y="276310"/>
                  <a:pt x="3883220" y="364364"/>
                </a:cubicBezTo>
                <a:cubicBezTo>
                  <a:pt x="3889292" y="370438"/>
                  <a:pt x="3895364" y="373474"/>
                  <a:pt x="3901436" y="376510"/>
                </a:cubicBezTo>
                <a:cubicBezTo>
                  <a:pt x="3925724" y="352219"/>
                  <a:pt x="3950012" y="324892"/>
                  <a:pt x="3974300" y="297564"/>
                </a:cubicBezTo>
                <a:cubicBezTo>
                  <a:pt x="3977336" y="303638"/>
                  <a:pt x="3983408" y="306674"/>
                  <a:pt x="3989480" y="312746"/>
                </a:cubicBezTo>
                <a:cubicBezTo>
                  <a:pt x="3946976" y="364364"/>
                  <a:pt x="3904472" y="412946"/>
                  <a:pt x="3852860" y="479746"/>
                </a:cubicBezTo>
                <a:cubicBezTo>
                  <a:pt x="3886255" y="467601"/>
                  <a:pt x="3910544" y="464565"/>
                  <a:pt x="3928760" y="449383"/>
                </a:cubicBezTo>
                <a:cubicBezTo>
                  <a:pt x="4001624" y="382583"/>
                  <a:pt x="4071452" y="306674"/>
                  <a:pt x="4147352" y="236837"/>
                </a:cubicBezTo>
                <a:cubicBezTo>
                  <a:pt x="4159496" y="224692"/>
                  <a:pt x="4189857" y="163964"/>
                  <a:pt x="4211108" y="239874"/>
                </a:cubicBezTo>
                <a:cubicBezTo>
                  <a:pt x="4211108" y="242910"/>
                  <a:pt x="4253612" y="242910"/>
                  <a:pt x="4256648" y="236837"/>
                </a:cubicBezTo>
                <a:cubicBezTo>
                  <a:pt x="4302189" y="163964"/>
                  <a:pt x="4353801" y="130564"/>
                  <a:pt x="4444881" y="151819"/>
                </a:cubicBezTo>
                <a:cubicBezTo>
                  <a:pt x="4466134" y="157891"/>
                  <a:pt x="4502565" y="112346"/>
                  <a:pt x="4535962" y="88055"/>
                </a:cubicBezTo>
                <a:cubicBezTo>
                  <a:pt x="4532926" y="115382"/>
                  <a:pt x="4529889" y="136637"/>
                  <a:pt x="4526853" y="157891"/>
                </a:cubicBezTo>
                <a:cubicBezTo>
                  <a:pt x="4529889" y="163964"/>
                  <a:pt x="4535962" y="167001"/>
                  <a:pt x="4538997" y="173074"/>
                </a:cubicBezTo>
                <a:cubicBezTo>
                  <a:pt x="4605790" y="115382"/>
                  <a:pt x="4675618" y="57692"/>
                  <a:pt x="4742410" y="0"/>
                </a:cubicBezTo>
                <a:close/>
              </a:path>
            </a:pathLst>
          </a:custGeom>
        </p:spPr>
      </p:sp>
    </p:spTree>
    <p:extLst>
      <p:ext uri="{BB962C8B-B14F-4D97-AF65-F5344CB8AC3E}">
        <p14:creationId xmlns:p14="http://schemas.microsoft.com/office/powerpoint/2010/main" val="1310790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5_Custom Layout">
    <p:spTree>
      <p:nvGrpSpPr>
        <p:cNvPr id="1" name=""/>
        <p:cNvGrpSpPr/>
        <p:nvPr/>
      </p:nvGrpSpPr>
      <p:grpSpPr>
        <a:xfrm>
          <a:off x="0" y="0"/>
          <a:ext cx="0" cy="0"/>
          <a:chOff x="0" y="0"/>
          <a:chExt cx="0" cy="0"/>
        </a:xfrm>
      </p:grpSpPr>
      <p:sp>
        <p:nvSpPr>
          <p:cNvPr id="10" name="Freeform 9"/>
          <p:cNvSpPr>
            <a:spLocks noGrp="1"/>
          </p:cNvSpPr>
          <p:nvPr>
            <p:ph type="pic" sz="quarter" idx="11"/>
          </p:nvPr>
        </p:nvSpPr>
        <p:spPr>
          <a:xfrm>
            <a:off x="590550" y="261937"/>
            <a:ext cx="5867400" cy="6334125"/>
          </a:xfrm>
          <a:custGeom>
            <a:avLst/>
            <a:gdLst>
              <a:gd name="connsiteX0" fmla="*/ 2216240 w 5867400"/>
              <a:gd name="connsiteY0" fmla="*/ 5488401 h 6334125"/>
              <a:gd name="connsiteX1" fmla="*/ 2217838 w 5867400"/>
              <a:gd name="connsiteY1" fmla="*/ 5488902 h 6334125"/>
              <a:gd name="connsiteX2" fmla="*/ 2216709 w 5867400"/>
              <a:gd name="connsiteY2" fmla="*/ 5493099 h 6334125"/>
              <a:gd name="connsiteX3" fmla="*/ 2216240 w 5867400"/>
              <a:gd name="connsiteY3" fmla="*/ 5488401 h 6334125"/>
              <a:gd name="connsiteX4" fmla="*/ 608997 w 5867400"/>
              <a:gd name="connsiteY4" fmla="*/ 4291701 h 6334125"/>
              <a:gd name="connsiteX5" fmla="*/ 609527 w 5867400"/>
              <a:gd name="connsiteY5" fmla="*/ 4292163 h 6334125"/>
              <a:gd name="connsiteX6" fmla="*/ 608527 w 5867400"/>
              <a:gd name="connsiteY6" fmla="*/ 4293110 h 6334125"/>
              <a:gd name="connsiteX7" fmla="*/ 608997 w 5867400"/>
              <a:gd name="connsiteY7" fmla="*/ 4291701 h 6334125"/>
              <a:gd name="connsiteX8" fmla="*/ 672385 w 5867400"/>
              <a:gd name="connsiteY8" fmla="*/ 3969855 h 6334125"/>
              <a:gd name="connsiteX9" fmla="*/ 676141 w 5867400"/>
              <a:gd name="connsiteY9" fmla="*/ 3969855 h 6334125"/>
              <a:gd name="connsiteX10" fmla="*/ 675322 w 5867400"/>
              <a:gd name="connsiteY10" fmla="*/ 3972210 h 6334125"/>
              <a:gd name="connsiteX11" fmla="*/ 608997 w 5867400"/>
              <a:gd name="connsiteY11" fmla="*/ 3129651 h 6334125"/>
              <a:gd name="connsiteX12" fmla="*/ 609527 w 5867400"/>
              <a:gd name="connsiteY12" fmla="*/ 3130113 h 6334125"/>
              <a:gd name="connsiteX13" fmla="*/ 608527 w 5867400"/>
              <a:gd name="connsiteY13" fmla="*/ 3131060 h 6334125"/>
              <a:gd name="connsiteX14" fmla="*/ 608997 w 5867400"/>
              <a:gd name="connsiteY14" fmla="*/ 3129651 h 6334125"/>
              <a:gd name="connsiteX15" fmla="*/ 672385 w 5867400"/>
              <a:gd name="connsiteY15" fmla="*/ 2807805 h 6334125"/>
              <a:gd name="connsiteX16" fmla="*/ 676141 w 5867400"/>
              <a:gd name="connsiteY16" fmla="*/ 2807805 h 6334125"/>
              <a:gd name="connsiteX17" fmla="*/ 675322 w 5867400"/>
              <a:gd name="connsiteY17" fmla="*/ 2810160 h 6334125"/>
              <a:gd name="connsiteX18" fmla="*/ 1442434 w 5867400"/>
              <a:gd name="connsiteY18" fmla="*/ 0 h 6334125"/>
              <a:gd name="connsiteX19" fmla="*/ 1720403 w 5867400"/>
              <a:gd name="connsiteY19" fmla="*/ 0 h 6334125"/>
              <a:gd name="connsiteX20" fmla="*/ 1720403 w 5867400"/>
              <a:gd name="connsiteY20" fmla="*/ 56382 h 6334125"/>
              <a:gd name="connsiteX21" fmla="*/ 1874413 w 5867400"/>
              <a:gd name="connsiteY21" fmla="*/ 165386 h 6334125"/>
              <a:gd name="connsiteX22" fmla="*/ 1859388 w 5867400"/>
              <a:gd name="connsiteY22" fmla="*/ 199215 h 6334125"/>
              <a:gd name="connsiteX23" fmla="*/ 1889438 w 5867400"/>
              <a:gd name="connsiteY23" fmla="*/ 187939 h 6334125"/>
              <a:gd name="connsiteX24" fmla="*/ 1945783 w 5867400"/>
              <a:gd name="connsiteY24" fmla="*/ 225527 h 6334125"/>
              <a:gd name="connsiteX25" fmla="*/ 2069742 w 5867400"/>
              <a:gd name="connsiteY25" fmla="*/ 259356 h 6334125"/>
              <a:gd name="connsiteX26" fmla="*/ 2178676 w 5867400"/>
              <a:gd name="connsiteY26" fmla="*/ 353325 h 6334125"/>
              <a:gd name="connsiteX27" fmla="*/ 2253803 w 5867400"/>
              <a:gd name="connsiteY27" fmla="*/ 372119 h 6334125"/>
              <a:gd name="connsiteX28" fmla="*/ 2317661 w 5867400"/>
              <a:gd name="connsiteY28" fmla="*/ 387154 h 6334125"/>
              <a:gd name="connsiteX29" fmla="*/ 2313904 w 5867400"/>
              <a:gd name="connsiteY29" fmla="*/ 413465 h 6334125"/>
              <a:gd name="connsiteX30" fmla="*/ 2238778 w 5867400"/>
              <a:gd name="connsiteY30" fmla="*/ 413465 h 6334125"/>
              <a:gd name="connsiteX31" fmla="*/ 2332686 w 5867400"/>
              <a:gd name="connsiteY31" fmla="*/ 514952 h 6334125"/>
              <a:gd name="connsiteX32" fmla="*/ 2434107 w 5867400"/>
              <a:gd name="connsiteY32" fmla="*/ 518711 h 6334125"/>
              <a:gd name="connsiteX33" fmla="*/ 2396544 w 5867400"/>
              <a:gd name="connsiteY33" fmla="*/ 590128 h 6334125"/>
              <a:gd name="connsiteX34" fmla="*/ 2479183 w 5867400"/>
              <a:gd name="connsiteY34" fmla="*/ 657786 h 6334125"/>
              <a:gd name="connsiteX35" fmla="*/ 2486696 w 5867400"/>
              <a:gd name="connsiteY35" fmla="*/ 601404 h 6334125"/>
              <a:gd name="connsiteX36" fmla="*/ 2584361 w 5867400"/>
              <a:gd name="connsiteY36" fmla="*/ 684097 h 6334125"/>
              <a:gd name="connsiteX37" fmla="*/ 2723345 w 5867400"/>
              <a:gd name="connsiteY37" fmla="*/ 849483 h 6334125"/>
              <a:gd name="connsiteX38" fmla="*/ 2805985 w 5867400"/>
              <a:gd name="connsiteY38" fmla="*/ 898347 h 6334125"/>
              <a:gd name="connsiteX39" fmla="*/ 2839792 w 5867400"/>
              <a:gd name="connsiteY39" fmla="*/ 849483 h 6334125"/>
              <a:gd name="connsiteX40" fmla="*/ 2881112 w 5867400"/>
              <a:gd name="connsiteY40" fmla="*/ 966005 h 6334125"/>
              <a:gd name="connsiteX41" fmla="*/ 2997558 w 5867400"/>
              <a:gd name="connsiteY41" fmla="*/ 1059975 h 6334125"/>
              <a:gd name="connsiteX42" fmla="*/ 3076441 w 5867400"/>
              <a:gd name="connsiteY42" fmla="*/ 1075010 h 6334125"/>
              <a:gd name="connsiteX43" fmla="*/ 3181618 w 5867400"/>
              <a:gd name="connsiteY43" fmla="*/ 1029905 h 6334125"/>
              <a:gd name="connsiteX44" fmla="*/ 3159080 w 5867400"/>
              <a:gd name="connsiteY44" fmla="*/ 950970 h 6334125"/>
              <a:gd name="connsiteX45" fmla="*/ 3192887 w 5867400"/>
              <a:gd name="connsiteY45" fmla="*/ 969764 h 6334125"/>
              <a:gd name="connsiteX46" fmla="*/ 3219182 w 5867400"/>
              <a:gd name="connsiteY46" fmla="*/ 879554 h 6334125"/>
              <a:gd name="connsiteX47" fmla="*/ 3244537 w 5867400"/>
              <a:gd name="connsiteY47" fmla="*/ 857001 h 6334125"/>
              <a:gd name="connsiteX48" fmla="*/ 3286796 w 5867400"/>
              <a:gd name="connsiteY48" fmla="*/ 834448 h 6334125"/>
              <a:gd name="connsiteX49" fmla="*/ 3290552 w 5867400"/>
              <a:gd name="connsiteY49" fmla="*/ 836328 h 6334125"/>
              <a:gd name="connsiteX50" fmla="*/ 3316847 w 5867400"/>
              <a:gd name="connsiteY50" fmla="*/ 849483 h 6334125"/>
              <a:gd name="connsiteX51" fmla="*/ 3301821 w 5867400"/>
              <a:gd name="connsiteY51" fmla="*/ 778067 h 6334125"/>
              <a:gd name="connsiteX52" fmla="*/ 3391973 w 5867400"/>
              <a:gd name="connsiteY52" fmla="*/ 785584 h 6334125"/>
              <a:gd name="connsiteX53" fmla="*/ 3527202 w 5867400"/>
              <a:gd name="connsiteY53" fmla="*/ 860760 h 6334125"/>
              <a:gd name="connsiteX54" fmla="*/ 3553496 w 5867400"/>
              <a:gd name="connsiteY54" fmla="*/ 898347 h 6334125"/>
              <a:gd name="connsiteX55" fmla="*/ 3497151 w 5867400"/>
              <a:gd name="connsiteY55" fmla="*/ 962247 h 6334125"/>
              <a:gd name="connsiteX56" fmla="*/ 3602328 w 5867400"/>
              <a:gd name="connsiteY56" fmla="*/ 1044940 h 6334125"/>
              <a:gd name="connsiteX57" fmla="*/ 3699993 w 5867400"/>
              <a:gd name="connsiteY57" fmla="*/ 1165221 h 6334125"/>
              <a:gd name="connsiteX58" fmla="*/ 3778876 w 5867400"/>
              <a:gd name="connsiteY58" fmla="*/ 1326848 h 6334125"/>
              <a:gd name="connsiteX59" fmla="*/ 3730044 w 5867400"/>
              <a:gd name="connsiteY59" fmla="*/ 1262949 h 6334125"/>
              <a:gd name="connsiteX60" fmla="*/ 3711262 w 5867400"/>
              <a:gd name="connsiteY60" fmla="*/ 1277984 h 6334125"/>
              <a:gd name="connsiteX61" fmla="*/ 3797658 w 5867400"/>
              <a:gd name="connsiteY61" fmla="*/ 1364436 h 6334125"/>
              <a:gd name="connsiteX62" fmla="*/ 3921617 w 5867400"/>
              <a:gd name="connsiteY62" fmla="*/ 1420817 h 6334125"/>
              <a:gd name="connsiteX63" fmla="*/ 3955424 w 5867400"/>
              <a:gd name="connsiteY63" fmla="*/ 1495993 h 6334125"/>
              <a:gd name="connsiteX64" fmla="*/ 3996744 w 5867400"/>
              <a:gd name="connsiteY64" fmla="*/ 1635068 h 6334125"/>
              <a:gd name="connsiteX65" fmla="*/ 4075627 w 5867400"/>
              <a:gd name="connsiteY65" fmla="*/ 1574927 h 6334125"/>
              <a:gd name="connsiteX66" fmla="*/ 4105678 w 5867400"/>
              <a:gd name="connsiteY66" fmla="*/ 1574927 h 6334125"/>
              <a:gd name="connsiteX67" fmla="*/ 4109434 w 5867400"/>
              <a:gd name="connsiteY67" fmla="*/ 1593721 h 6334125"/>
              <a:gd name="connsiteX68" fmla="*/ 4109434 w 5867400"/>
              <a:gd name="connsiteY68" fmla="*/ 1612515 h 6334125"/>
              <a:gd name="connsiteX69" fmla="*/ 4124459 w 5867400"/>
              <a:gd name="connsiteY69" fmla="*/ 1612515 h 6334125"/>
              <a:gd name="connsiteX70" fmla="*/ 4165779 w 5867400"/>
              <a:gd name="connsiteY70" fmla="*/ 1665138 h 6334125"/>
              <a:gd name="connsiteX71" fmla="*/ 4222124 w 5867400"/>
              <a:gd name="connsiteY71" fmla="*/ 1762866 h 6334125"/>
              <a:gd name="connsiteX72" fmla="*/ 4237150 w 5867400"/>
              <a:gd name="connsiteY72" fmla="*/ 1777901 h 6334125"/>
              <a:gd name="connsiteX73" fmla="*/ 4240906 w 5867400"/>
              <a:gd name="connsiteY73" fmla="*/ 1796695 h 6334125"/>
              <a:gd name="connsiteX74" fmla="*/ 4297251 w 5867400"/>
              <a:gd name="connsiteY74" fmla="*/ 1834283 h 6334125"/>
              <a:gd name="connsiteX75" fmla="*/ 4331058 w 5867400"/>
              <a:gd name="connsiteY75" fmla="*/ 1871870 h 6334125"/>
              <a:gd name="connsiteX76" fmla="*/ 4368621 w 5867400"/>
              <a:gd name="connsiteY76" fmla="*/ 1905699 h 6334125"/>
              <a:gd name="connsiteX77" fmla="*/ 4402428 w 5867400"/>
              <a:gd name="connsiteY77" fmla="*/ 1962081 h 6334125"/>
              <a:gd name="connsiteX78" fmla="*/ 4515119 w 5867400"/>
              <a:gd name="connsiteY78" fmla="*/ 2108673 h 6334125"/>
              <a:gd name="connsiteX79" fmla="*/ 4548926 w 5867400"/>
              <a:gd name="connsiteY79" fmla="*/ 2097397 h 6334125"/>
              <a:gd name="connsiteX80" fmla="*/ 4537657 w 5867400"/>
              <a:gd name="connsiteY80" fmla="*/ 2056050 h 6334125"/>
              <a:gd name="connsiteX81" fmla="*/ 4533900 w 5867400"/>
              <a:gd name="connsiteY81" fmla="*/ 1984634 h 6334125"/>
              <a:gd name="connsiteX82" fmla="*/ 4605271 w 5867400"/>
              <a:gd name="connsiteY82" fmla="*/ 2082362 h 6334125"/>
              <a:gd name="connsiteX83" fmla="*/ 4642834 w 5867400"/>
              <a:gd name="connsiteY83" fmla="*/ 2052292 h 6334125"/>
              <a:gd name="connsiteX84" fmla="*/ 4714204 w 5867400"/>
              <a:gd name="connsiteY84" fmla="*/ 2150020 h 6334125"/>
              <a:gd name="connsiteX85" fmla="*/ 4744255 w 5867400"/>
              <a:gd name="connsiteY85" fmla="*/ 2195125 h 6334125"/>
              <a:gd name="connsiteX86" fmla="*/ 4909534 w 5867400"/>
              <a:gd name="connsiteY86" fmla="*/ 2439445 h 6334125"/>
              <a:gd name="connsiteX87" fmla="*/ 4935828 w 5867400"/>
              <a:gd name="connsiteY87" fmla="*/ 2446963 h 6334125"/>
              <a:gd name="connsiteX88" fmla="*/ 5014712 w 5867400"/>
              <a:gd name="connsiteY88" fmla="*/ 2507104 h 6334125"/>
              <a:gd name="connsiteX89" fmla="*/ 5059788 w 5867400"/>
              <a:gd name="connsiteY89" fmla="*/ 2548450 h 6334125"/>
              <a:gd name="connsiteX90" fmla="*/ 5104864 w 5867400"/>
              <a:gd name="connsiteY90" fmla="*/ 2510862 h 6334125"/>
              <a:gd name="connsiteX91" fmla="*/ 5127402 w 5867400"/>
              <a:gd name="connsiteY91" fmla="*/ 2461998 h 6334125"/>
              <a:gd name="connsiteX92" fmla="*/ 5149940 w 5867400"/>
              <a:gd name="connsiteY92" fmla="*/ 2461998 h 6334125"/>
              <a:gd name="connsiteX93" fmla="*/ 5273899 w 5867400"/>
              <a:gd name="connsiteY93" fmla="*/ 2488309 h 6334125"/>
              <a:gd name="connsiteX94" fmla="*/ 5326488 w 5867400"/>
              <a:gd name="connsiteY94" fmla="*/ 2507104 h 6334125"/>
              <a:gd name="connsiteX95" fmla="*/ 5364051 w 5867400"/>
              <a:gd name="connsiteY95" fmla="*/ 2612349 h 6334125"/>
              <a:gd name="connsiteX96" fmla="*/ 5356538 w 5867400"/>
              <a:gd name="connsiteY96" fmla="*/ 2804047 h 6334125"/>
              <a:gd name="connsiteX97" fmla="*/ 5303950 w 5867400"/>
              <a:gd name="connsiteY97" fmla="*/ 2954398 h 6334125"/>
              <a:gd name="connsiteX98" fmla="*/ 5367807 w 5867400"/>
              <a:gd name="connsiteY98" fmla="*/ 2973191 h 6334125"/>
              <a:gd name="connsiteX99" fmla="*/ 5142427 w 5867400"/>
              <a:gd name="connsiteY99" fmla="*/ 3063402 h 6334125"/>
              <a:gd name="connsiteX100" fmla="*/ 5108620 w 5867400"/>
              <a:gd name="connsiteY100" fmla="*/ 3221271 h 6334125"/>
              <a:gd name="connsiteX101" fmla="*/ 5093595 w 5867400"/>
              <a:gd name="connsiteY101" fmla="*/ 3277652 h 6334125"/>
              <a:gd name="connsiteX102" fmla="*/ 5131158 w 5867400"/>
              <a:gd name="connsiteY102" fmla="*/ 3296446 h 6334125"/>
              <a:gd name="connsiteX103" fmla="*/ 5146183 w 5867400"/>
              <a:gd name="connsiteY103" fmla="*/ 3315240 h 6334125"/>
              <a:gd name="connsiteX104" fmla="*/ 5164965 w 5867400"/>
              <a:gd name="connsiteY104" fmla="*/ 3352828 h 6334125"/>
              <a:gd name="connsiteX105" fmla="*/ 5172478 w 5867400"/>
              <a:gd name="connsiteY105" fmla="*/ 3352828 h 6334125"/>
              <a:gd name="connsiteX106" fmla="*/ 5183747 w 5867400"/>
              <a:gd name="connsiteY106" fmla="*/ 3352828 h 6334125"/>
              <a:gd name="connsiteX107" fmla="*/ 5202528 w 5867400"/>
              <a:gd name="connsiteY107" fmla="*/ 3352828 h 6334125"/>
              <a:gd name="connsiteX108" fmla="*/ 5334000 w 5867400"/>
              <a:gd name="connsiteY108" fmla="*/ 3315240 h 6334125"/>
              <a:gd name="connsiteX109" fmla="*/ 5514304 w 5867400"/>
              <a:gd name="connsiteY109" fmla="*/ 3375380 h 6334125"/>
              <a:gd name="connsiteX110" fmla="*/ 5548112 w 5867400"/>
              <a:gd name="connsiteY110" fmla="*/ 3458074 h 6334125"/>
              <a:gd name="connsiteX111" fmla="*/ 5548112 w 5867400"/>
              <a:gd name="connsiteY111" fmla="*/ 3544525 h 6334125"/>
              <a:gd name="connsiteX112" fmla="*/ 5604457 w 5867400"/>
              <a:gd name="connsiteY112" fmla="*/ 3800122 h 6334125"/>
              <a:gd name="connsiteX113" fmla="*/ 5623238 w 5867400"/>
              <a:gd name="connsiteY113" fmla="*/ 4033166 h 6334125"/>
              <a:gd name="connsiteX114" fmla="*/ 5672071 w 5867400"/>
              <a:gd name="connsiteY114" fmla="*/ 4307557 h 6334125"/>
              <a:gd name="connsiteX115" fmla="*/ 5596944 w 5867400"/>
              <a:gd name="connsiteY115" fmla="*/ 4292522 h 6334125"/>
              <a:gd name="connsiteX116" fmla="*/ 5673010 w 5867400"/>
              <a:gd name="connsiteY116" fmla="*/ 4353602 h 6334125"/>
              <a:gd name="connsiteX117" fmla="*/ 5742387 w 5867400"/>
              <a:gd name="connsiteY117" fmla="*/ 4408214 h 6334125"/>
              <a:gd name="connsiteX118" fmla="*/ 5739215 w 5867400"/>
              <a:gd name="connsiteY118" fmla="*/ 4417031 h 6334125"/>
              <a:gd name="connsiteX119" fmla="*/ 5743441 w 5867400"/>
              <a:gd name="connsiteY119" fmla="*/ 4409044 h 6334125"/>
              <a:gd name="connsiteX120" fmla="*/ 5742387 w 5867400"/>
              <a:gd name="connsiteY120" fmla="*/ 4408214 h 6334125"/>
              <a:gd name="connsiteX121" fmla="*/ 5743441 w 5867400"/>
              <a:gd name="connsiteY121" fmla="*/ 4405285 h 6334125"/>
              <a:gd name="connsiteX122" fmla="*/ 5765979 w 5867400"/>
              <a:gd name="connsiteY122" fmla="*/ 4600741 h 6334125"/>
              <a:gd name="connsiteX123" fmla="*/ 5867400 w 5867400"/>
              <a:gd name="connsiteY123" fmla="*/ 4668399 h 6334125"/>
              <a:gd name="connsiteX124" fmla="*/ 5852375 w 5867400"/>
              <a:gd name="connsiteY124" fmla="*/ 4871373 h 6334125"/>
              <a:gd name="connsiteX125" fmla="*/ 5811055 w 5867400"/>
              <a:gd name="connsiteY125" fmla="*/ 4856338 h 6334125"/>
              <a:gd name="connsiteX126" fmla="*/ 5818568 w 5867400"/>
              <a:gd name="connsiteY126" fmla="*/ 4961584 h 6334125"/>
              <a:gd name="connsiteX127" fmla="*/ 5672071 w 5867400"/>
              <a:gd name="connsiteY127" fmla="*/ 5021724 h 6334125"/>
              <a:gd name="connsiteX128" fmla="*/ 5637325 w 5867400"/>
              <a:gd name="connsiteY128" fmla="*/ 5074347 h 6334125"/>
              <a:gd name="connsiteX129" fmla="*/ 5613845 w 5867400"/>
              <a:gd name="connsiteY129" fmla="*/ 5107695 h 6334125"/>
              <a:gd name="connsiteX130" fmla="*/ 5612381 w 5867400"/>
              <a:gd name="connsiteY130" fmla="*/ 5139246 h 6334125"/>
              <a:gd name="connsiteX131" fmla="*/ 5623238 w 5867400"/>
              <a:gd name="connsiteY131" fmla="*/ 5195216 h 6334125"/>
              <a:gd name="connsiteX132" fmla="*/ 5672071 w 5867400"/>
              <a:gd name="connsiteY132" fmla="*/ 5469607 h 6334125"/>
              <a:gd name="connsiteX133" fmla="*/ 5596944 w 5867400"/>
              <a:gd name="connsiteY133" fmla="*/ 5454572 h 6334125"/>
              <a:gd name="connsiteX134" fmla="*/ 5673010 w 5867400"/>
              <a:gd name="connsiteY134" fmla="*/ 5515652 h 6334125"/>
              <a:gd name="connsiteX135" fmla="*/ 5742387 w 5867400"/>
              <a:gd name="connsiteY135" fmla="*/ 5570264 h 6334125"/>
              <a:gd name="connsiteX136" fmla="*/ 5739215 w 5867400"/>
              <a:gd name="connsiteY136" fmla="*/ 5579081 h 6334125"/>
              <a:gd name="connsiteX137" fmla="*/ 5743441 w 5867400"/>
              <a:gd name="connsiteY137" fmla="*/ 5571094 h 6334125"/>
              <a:gd name="connsiteX138" fmla="*/ 5742387 w 5867400"/>
              <a:gd name="connsiteY138" fmla="*/ 5570264 h 6334125"/>
              <a:gd name="connsiteX139" fmla="*/ 5743441 w 5867400"/>
              <a:gd name="connsiteY139" fmla="*/ 5567335 h 6334125"/>
              <a:gd name="connsiteX140" fmla="*/ 5765979 w 5867400"/>
              <a:gd name="connsiteY140" fmla="*/ 5762791 h 6334125"/>
              <a:gd name="connsiteX141" fmla="*/ 5867400 w 5867400"/>
              <a:gd name="connsiteY141" fmla="*/ 5830449 h 6334125"/>
              <a:gd name="connsiteX142" fmla="*/ 5852375 w 5867400"/>
              <a:gd name="connsiteY142" fmla="*/ 6033423 h 6334125"/>
              <a:gd name="connsiteX143" fmla="*/ 5811055 w 5867400"/>
              <a:gd name="connsiteY143" fmla="*/ 6018388 h 6334125"/>
              <a:gd name="connsiteX144" fmla="*/ 5818568 w 5867400"/>
              <a:gd name="connsiteY144" fmla="*/ 6123634 h 6334125"/>
              <a:gd name="connsiteX145" fmla="*/ 5672071 w 5867400"/>
              <a:gd name="connsiteY145" fmla="*/ 6183774 h 6334125"/>
              <a:gd name="connsiteX146" fmla="*/ 5608213 w 5867400"/>
              <a:gd name="connsiteY146" fmla="*/ 6277744 h 6334125"/>
              <a:gd name="connsiteX147" fmla="*/ 5555624 w 5867400"/>
              <a:gd name="connsiteY147" fmla="*/ 6273985 h 6334125"/>
              <a:gd name="connsiteX148" fmla="*/ 5555624 w 5867400"/>
              <a:gd name="connsiteY148" fmla="*/ 6296537 h 6334125"/>
              <a:gd name="connsiteX149" fmla="*/ 5551868 w 5867400"/>
              <a:gd name="connsiteY149" fmla="*/ 6311573 h 6334125"/>
              <a:gd name="connsiteX150" fmla="*/ 5382833 w 5867400"/>
              <a:gd name="connsiteY150" fmla="*/ 6296537 h 6334125"/>
              <a:gd name="connsiteX151" fmla="*/ 5052275 w 5867400"/>
              <a:gd name="connsiteY151" fmla="*/ 6334125 h 6334125"/>
              <a:gd name="connsiteX152" fmla="*/ 5093595 w 5867400"/>
              <a:gd name="connsiteY152" fmla="*/ 6258950 h 6334125"/>
              <a:gd name="connsiteX153" fmla="*/ 5048519 w 5867400"/>
              <a:gd name="connsiteY153" fmla="*/ 6217603 h 6334125"/>
              <a:gd name="connsiteX154" fmla="*/ 4759281 w 5867400"/>
              <a:gd name="connsiteY154" fmla="*/ 6191292 h 6334125"/>
              <a:gd name="connsiteX155" fmla="*/ 4789331 w 5867400"/>
              <a:gd name="connsiteY155" fmla="*/ 6255191 h 6334125"/>
              <a:gd name="connsiteX156" fmla="*/ 4744255 w 5867400"/>
              <a:gd name="connsiteY156" fmla="*/ 6251432 h 6334125"/>
              <a:gd name="connsiteX157" fmla="*/ 4530144 w 5867400"/>
              <a:gd name="connsiteY157" fmla="*/ 6191292 h 6334125"/>
              <a:gd name="connsiteX158" fmla="*/ 4263444 w 5867400"/>
              <a:gd name="connsiteY158" fmla="*/ 6104840 h 6334125"/>
              <a:gd name="connsiteX159" fmla="*/ 4203343 w 5867400"/>
              <a:gd name="connsiteY159" fmla="*/ 6127393 h 6334125"/>
              <a:gd name="connsiteX160" fmla="*/ 4146997 w 5867400"/>
              <a:gd name="connsiteY160" fmla="*/ 6123634 h 6334125"/>
              <a:gd name="connsiteX161" fmla="*/ 3977962 w 5867400"/>
              <a:gd name="connsiteY161" fmla="*/ 6123634 h 6334125"/>
              <a:gd name="connsiteX162" fmla="*/ 3767607 w 5867400"/>
              <a:gd name="connsiteY162" fmla="*/ 6055976 h 6334125"/>
              <a:gd name="connsiteX163" fmla="*/ 3823952 w 5867400"/>
              <a:gd name="connsiteY163" fmla="*/ 6168739 h 6334125"/>
              <a:gd name="connsiteX164" fmla="*/ 3797658 w 5867400"/>
              <a:gd name="connsiteY164" fmla="*/ 6183774 h 6334125"/>
              <a:gd name="connsiteX165" fmla="*/ 3609841 w 5867400"/>
              <a:gd name="connsiteY165" fmla="*/ 6082287 h 6334125"/>
              <a:gd name="connsiteX166" fmla="*/ 3534714 w 5867400"/>
              <a:gd name="connsiteY166" fmla="*/ 6210086 h 6334125"/>
              <a:gd name="connsiteX167" fmla="*/ 3463344 w 5867400"/>
              <a:gd name="connsiteY167" fmla="*/ 6131151 h 6334125"/>
              <a:gd name="connsiteX168" fmla="*/ 3260502 w 5867400"/>
              <a:gd name="connsiteY168" fmla="*/ 6018388 h 6334125"/>
              <a:gd name="connsiteX169" fmla="*/ 3245476 w 5867400"/>
              <a:gd name="connsiteY169" fmla="*/ 6059735 h 6334125"/>
              <a:gd name="connsiteX170" fmla="*/ 3185375 w 5867400"/>
              <a:gd name="connsiteY170" fmla="*/ 5958248 h 6334125"/>
              <a:gd name="connsiteX171" fmla="*/ 3144055 w 5867400"/>
              <a:gd name="connsiteY171" fmla="*/ 6059735 h 6334125"/>
              <a:gd name="connsiteX172" fmla="*/ 3102736 w 5867400"/>
              <a:gd name="connsiteY172" fmla="*/ 5977042 h 6334125"/>
              <a:gd name="connsiteX173" fmla="*/ 3016340 w 5867400"/>
              <a:gd name="connsiteY173" fmla="*/ 6014629 h 6334125"/>
              <a:gd name="connsiteX174" fmla="*/ 2794716 w 5867400"/>
              <a:gd name="connsiteY174" fmla="*/ 5845484 h 6334125"/>
              <a:gd name="connsiteX175" fmla="*/ 2685782 w 5867400"/>
              <a:gd name="connsiteY175" fmla="*/ 5826691 h 6334125"/>
              <a:gd name="connsiteX176" fmla="*/ 2651975 w 5867400"/>
              <a:gd name="connsiteY176" fmla="*/ 5822932 h 6334125"/>
              <a:gd name="connsiteX177" fmla="*/ 2351468 w 5867400"/>
              <a:gd name="connsiteY177" fmla="*/ 5698892 h 6334125"/>
              <a:gd name="connsiteX178" fmla="*/ 2306392 w 5867400"/>
              <a:gd name="connsiteY178" fmla="*/ 5646269 h 6334125"/>
              <a:gd name="connsiteX179" fmla="*/ 2321417 w 5867400"/>
              <a:gd name="connsiteY179" fmla="*/ 5627475 h 6334125"/>
              <a:gd name="connsiteX180" fmla="*/ 2456645 w 5867400"/>
              <a:gd name="connsiteY180" fmla="*/ 5683857 h 6334125"/>
              <a:gd name="connsiteX181" fmla="*/ 2310148 w 5867400"/>
              <a:gd name="connsiteY181" fmla="*/ 5525989 h 6334125"/>
              <a:gd name="connsiteX182" fmla="*/ 2271646 w 5867400"/>
              <a:gd name="connsiteY182" fmla="*/ 5505785 h 6334125"/>
              <a:gd name="connsiteX183" fmla="*/ 2217838 w 5867400"/>
              <a:gd name="connsiteY183" fmla="*/ 5488902 h 6334125"/>
              <a:gd name="connsiteX184" fmla="*/ 2219996 w 5867400"/>
              <a:gd name="connsiteY184" fmla="*/ 5480883 h 6334125"/>
              <a:gd name="connsiteX185" fmla="*/ 2058474 w 5867400"/>
              <a:gd name="connsiteY185" fmla="*/ 5432019 h 6334125"/>
              <a:gd name="connsiteX186" fmla="*/ 1885682 w 5867400"/>
              <a:gd name="connsiteY186" fmla="*/ 5353085 h 6334125"/>
              <a:gd name="connsiteX187" fmla="*/ 1881926 w 5867400"/>
              <a:gd name="connsiteY187" fmla="*/ 5338050 h 6334125"/>
              <a:gd name="connsiteX188" fmla="*/ 1776748 w 5867400"/>
              <a:gd name="connsiteY188" fmla="*/ 5214010 h 6334125"/>
              <a:gd name="connsiteX189" fmla="*/ 1727916 w 5867400"/>
              <a:gd name="connsiteY189" fmla="*/ 5168905 h 6334125"/>
              <a:gd name="connsiteX190" fmla="*/ 1727916 w 5867400"/>
              <a:gd name="connsiteY190" fmla="*/ 5229045 h 6334125"/>
              <a:gd name="connsiteX191" fmla="*/ 1709134 w 5867400"/>
              <a:gd name="connsiteY191" fmla="*/ 5251598 h 6334125"/>
              <a:gd name="connsiteX192" fmla="*/ 1694109 w 5867400"/>
              <a:gd name="connsiteY192" fmla="*/ 5206492 h 6334125"/>
              <a:gd name="connsiteX193" fmla="*/ 1412383 w 5867400"/>
              <a:gd name="connsiteY193" fmla="*/ 5003519 h 6334125"/>
              <a:gd name="connsiteX194" fmla="*/ 1254617 w 5867400"/>
              <a:gd name="connsiteY194" fmla="*/ 4808062 h 6334125"/>
              <a:gd name="connsiteX195" fmla="*/ 1190759 w 5867400"/>
              <a:gd name="connsiteY195" fmla="*/ 4751681 h 6334125"/>
              <a:gd name="connsiteX196" fmla="*/ 1187003 w 5867400"/>
              <a:gd name="connsiteY196" fmla="*/ 4725369 h 6334125"/>
              <a:gd name="connsiteX197" fmla="*/ 1164465 w 5867400"/>
              <a:gd name="connsiteY197" fmla="*/ 4684023 h 6334125"/>
              <a:gd name="connsiteX198" fmla="*/ 1123145 w 5867400"/>
              <a:gd name="connsiteY198" fmla="*/ 4646435 h 6334125"/>
              <a:gd name="connsiteX199" fmla="*/ 1149440 w 5867400"/>
              <a:gd name="connsiteY199" fmla="*/ 4623882 h 6334125"/>
              <a:gd name="connsiteX200" fmla="*/ 1360750 w 5867400"/>
              <a:gd name="connsiteY200" fmla="*/ 4805511 h 6334125"/>
              <a:gd name="connsiteX201" fmla="*/ 1427409 w 5867400"/>
              <a:gd name="connsiteY201" fmla="*/ 4886997 h 6334125"/>
              <a:gd name="connsiteX202" fmla="*/ 1442434 w 5867400"/>
              <a:gd name="connsiteY202" fmla="*/ 4875720 h 6334125"/>
              <a:gd name="connsiteX203" fmla="*/ 1360750 w 5867400"/>
              <a:gd name="connsiteY203" fmla="*/ 4805511 h 6334125"/>
              <a:gd name="connsiteX204" fmla="*/ 1336318 w 5867400"/>
              <a:gd name="connsiteY204" fmla="*/ 4775643 h 6334125"/>
              <a:gd name="connsiteX205" fmla="*/ 1250861 w 5867400"/>
              <a:gd name="connsiteY205" fmla="*/ 4661470 h 6334125"/>
              <a:gd name="connsiteX206" fmla="*/ 1108120 w 5867400"/>
              <a:gd name="connsiteY206" fmla="*/ 4496084 h 6334125"/>
              <a:gd name="connsiteX207" fmla="*/ 1032993 w 5867400"/>
              <a:gd name="connsiteY207" fmla="*/ 4383321 h 6334125"/>
              <a:gd name="connsiteX208" fmla="*/ 991673 w 5867400"/>
              <a:gd name="connsiteY208" fmla="*/ 4353250 h 6334125"/>
              <a:gd name="connsiteX209" fmla="*/ 863958 w 5867400"/>
              <a:gd name="connsiteY209" fmla="*/ 4326939 h 6334125"/>
              <a:gd name="connsiteX210" fmla="*/ 1126902 w 5867400"/>
              <a:gd name="connsiteY210" fmla="*/ 4582536 h 6334125"/>
              <a:gd name="connsiteX211" fmla="*/ 1108120 w 5867400"/>
              <a:gd name="connsiteY211" fmla="*/ 4642676 h 6334125"/>
              <a:gd name="connsiteX212" fmla="*/ 841420 w 5867400"/>
              <a:gd name="connsiteY212" fmla="*/ 4402115 h 6334125"/>
              <a:gd name="connsiteX213" fmla="*/ 503349 w 5867400"/>
              <a:gd name="connsiteY213" fmla="*/ 4375803 h 6334125"/>
              <a:gd name="connsiteX214" fmla="*/ 623552 w 5867400"/>
              <a:gd name="connsiteY214" fmla="*/ 4304386 h 6334125"/>
              <a:gd name="connsiteX215" fmla="*/ 609527 w 5867400"/>
              <a:gd name="connsiteY215" fmla="*/ 4292163 h 6334125"/>
              <a:gd name="connsiteX216" fmla="*/ 652194 w 5867400"/>
              <a:gd name="connsiteY216" fmla="*/ 4251764 h 6334125"/>
              <a:gd name="connsiteX217" fmla="*/ 687410 w 5867400"/>
              <a:gd name="connsiteY217" fmla="*/ 4210417 h 6334125"/>
              <a:gd name="connsiteX218" fmla="*/ 702435 w 5867400"/>
              <a:gd name="connsiteY218" fmla="*/ 4120207 h 6334125"/>
              <a:gd name="connsiteX219" fmla="*/ 770049 w 5867400"/>
              <a:gd name="connsiteY219" fmla="*/ 4093895 h 6334125"/>
              <a:gd name="connsiteX220" fmla="*/ 666618 w 5867400"/>
              <a:gd name="connsiteY220" fmla="*/ 3997231 h 6334125"/>
              <a:gd name="connsiteX221" fmla="*/ 675322 w 5867400"/>
              <a:gd name="connsiteY221" fmla="*/ 3972210 h 6334125"/>
              <a:gd name="connsiteX222" fmla="*/ 716639 w 5867400"/>
              <a:gd name="connsiteY222" fmla="*/ 4005329 h 6334125"/>
              <a:gd name="connsiteX223" fmla="*/ 867714 w 5867400"/>
              <a:gd name="connsiteY223" fmla="*/ 4075101 h 6334125"/>
              <a:gd name="connsiteX224" fmla="*/ 897765 w 5867400"/>
              <a:gd name="connsiteY224" fmla="*/ 4105171 h 6334125"/>
              <a:gd name="connsiteX225" fmla="*/ 1029237 w 5867400"/>
              <a:gd name="connsiteY225" fmla="*/ 4259281 h 6334125"/>
              <a:gd name="connsiteX226" fmla="*/ 972892 w 5867400"/>
              <a:gd name="connsiteY226" fmla="*/ 4184106 h 6334125"/>
              <a:gd name="connsiteX227" fmla="*/ 1055531 w 5867400"/>
              <a:gd name="connsiteY227" fmla="*/ 4199141 h 6334125"/>
              <a:gd name="connsiteX228" fmla="*/ 972892 w 5867400"/>
              <a:gd name="connsiteY228" fmla="*/ 4060066 h 6334125"/>
              <a:gd name="connsiteX229" fmla="*/ 1051775 w 5867400"/>
              <a:gd name="connsiteY229" fmla="*/ 4071342 h 6334125"/>
              <a:gd name="connsiteX230" fmla="*/ 1051775 w 5867400"/>
              <a:gd name="connsiteY230" fmla="*/ 3954820 h 6334125"/>
              <a:gd name="connsiteX231" fmla="*/ 1093095 w 5867400"/>
              <a:gd name="connsiteY231" fmla="*/ 4022478 h 6334125"/>
              <a:gd name="connsiteX232" fmla="*/ 1111876 w 5867400"/>
              <a:gd name="connsiteY232" fmla="*/ 3969855 h 6334125"/>
              <a:gd name="connsiteX233" fmla="*/ 939085 w 5867400"/>
              <a:gd name="connsiteY233" fmla="*/ 3793193 h 6334125"/>
              <a:gd name="connsiteX234" fmla="*/ 954110 w 5867400"/>
              <a:gd name="connsiteY234" fmla="*/ 3770640 h 6334125"/>
              <a:gd name="connsiteX235" fmla="*/ 1168221 w 5867400"/>
              <a:gd name="connsiteY235" fmla="*/ 3868369 h 6334125"/>
              <a:gd name="connsiteX236" fmla="*/ 1175734 w 5867400"/>
              <a:gd name="connsiteY236" fmla="*/ 3793193 h 6334125"/>
              <a:gd name="connsiteX237" fmla="*/ 1126902 w 5867400"/>
              <a:gd name="connsiteY237" fmla="*/ 3785676 h 6334125"/>
              <a:gd name="connsiteX238" fmla="*/ 1044262 w 5867400"/>
              <a:gd name="connsiteY238" fmla="*/ 3537596 h 6334125"/>
              <a:gd name="connsiteX239" fmla="*/ 1017968 w 5867400"/>
              <a:gd name="connsiteY239" fmla="*/ 3545114 h 6334125"/>
              <a:gd name="connsiteX240" fmla="*/ 1029237 w 5867400"/>
              <a:gd name="connsiteY240" fmla="*/ 3620289 h 6334125"/>
              <a:gd name="connsiteX241" fmla="*/ 905278 w 5867400"/>
              <a:gd name="connsiteY241" fmla="*/ 3477456 h 6334125"/>
              <a:gd name="connsiteX242" fmla="*/ 890252 w 5867400"/>
              <a:gd name="connsiteY242" fmla="*/ 3421074 h 6334125"/>
              <a:gd name="connsiteX243" fmla="*/ 999186 w 5867400"/>
              <a:gd name="connsiteY243" fmla="*/ 3383486 h 6334125"/>
              <a:gd name="connsiteX244" fmla="*/ 999186 w 5867400"/>
              <a:gd name="connsiteY244" fmla="*/ 3382369 h 6334125"/>
              <a:gd name="connsiteX245" fmla="*/ 955995 w 5867400"/>
              <a:gd name="connsiteY245" fmla="*/ 3343410 h 6334125"/>
              <a:gd name="connsiteX246" fmla="*/ 926407 w 5867400"/>
              <a:gd name="connsiteY246" fmla="*/ 3323346 h 6334125"/>
              <a:gd name="connsiteX247" fmla="*/ 845176 w 5867400"/>
              <a:gd name="connsiteY247" fmla="*/ 3342140 h 6334125"/>
              <a:gd name="connsiteX248" fmla="*/ 811369 w 5867400"/>
              <a:gd name="connsiteY248" fmla="*/ 3323346 h 6334125"/>
              <a:gd name="connsiteX249" fmla="*/ 743755 w 5867400"/>
              <a:gd name="connsiteY249" fmla="*/ 3263206 h 6334125"/>
              <a:gd name="connsiteX250" fmla="*/ 757239 w 5867400"/>
              <a:gd name="connsiteY250" fmla="*/ 3255534 h 6334125"/>
              <a:gd name="connsiteX251" fmla="*/ 679428 w 5867400"/>
              <a:gd name="connsiteY251" fmla="*/ 3243823 h 6334125"/>
              <a:gd name="connsiteX252" fmla="*/ 503349 w 5867400"/>
              <a:gd name="connsiteY252" fmla="*/ 3213753 h 6334125"/>
              <a:gd name="connsiteX253" fmla="*/ 623552 w 5867400"/>
              <a:gd name="connsiteY253" fmla="*/ 3142336 h 6334125"/>
              <a:gd name="connsiteX254" fmla="*/ 609527 w 5867400"/>
              <a:gd name="connsiteY254" fmla="*/ 3130113 h 6334125"/>
              <a:gd name="connsiteX255" fmla="*/ 652194 w 5867400"/>
              <a:gd name="connsiteY255" fmla="*/ 3089714 h 6334125"/>
              <a:gd name="connsiteX256" fmla="*/ 687410 w 5867400"/>
              <a:gd name="connsiteY256" fmla="*/ 3048367 h 6334125"/>
              <a:gd name="connsiteX257" fmla="*/ 702435 w 5867400"/>
              <a:gd name="connsiteY257" fmla="*/ 2958157 h 6334125"/>
              <a:gd name="connsiteX258" fmla="*/ 770049 w 5867400"/>
              <a:gd name="connsiteY258" fmla="*/ 2931845 h 6334125"/>
              <a:gd name="connsiteX259" fmla="*/ 666618 w 5867400"/>
              <a:gd name="connsiteY259" fmla="*/ 2835181 h 6334125"/>
              <a:gd name="connsiteX260" fmla="*/ 675322 w 5867400"/>
              <a:gd name="connsiteY260" fmla="*/ 2810160 h 6334125"/>
              <a:gd name="connsiteX261" fmla="*/ 716639 w 5867400"/>
              <a:gd name="connsiteY261" fmla="*/ 2843279 h 6334125"/>
              <a:gd name="connsiteX262" fmla="*/ 748020 w 5867400"/>
              <a:gd name="connsiteY262" fmla="*/ 2871426 h 6334125"/>
              <a:gd name="connsiteX263" fmla="*/ 759548 w 5867400"/>
              <a:gd name="connsiteY263" fmla="*/ 2879757 h 6334125"/>
              <a:gd name="connsiteX264" fmla="*/ 717461 w 5867400"/>
              <a:gd name="connsiteY264" fmla="*/ 2812153 h 6334125"/>
              <a:gd name="connsiteX265" fmla="*/ 702435 w 5867400"/>
              <a:gd name="connsiteY265" fmla="*/ 2718183 h 6334125"/>
              <a:gd name="connsiteX266" fmla="*/ 679897 w 5867400"/>
              <a:gd name="connsiteY266" fmla="*/ 2646767 h 6334125"/>
              <a:gd name="connsiteX267" fmla="*/ 649847 w 5867400"/>
              <a:gd name="connsiteY267" fmla="*/ 2654284 h 6334125"/>
              <a:gd name="connsiteX268" fmla="*/ 657359 w 5867400"/>
              <a:gd name="connsiteY268" fmla="*/ 2624214 h 6334125"/>
              <a:gd name="connsiteX269" fmla="*/ 454517 w 5867400"/>
              <a:gd name="connsiteY269" fmla="*/ 2447551 h 6334125"/>
              <a:gd name="connsiteX270" fmla="*/ 262944 w 5867400"/>
              <a:gd name="connsiteY270" fmla="*/ 2413722 h 6334125"/>
              <a:gd name="connsiteX271" fmla="*/ 424466 w 5867400"/>
              <a:gd name="connsiteY271" fmla="*/ 2206990 h 6334125"/>
              <a:gd name="connsiteX272" fmla="*/ 364365 w 5867400"/>
              <a:gd name="connsiteY272" fmla="*/ 2176920 h 6334125"/>
              <a:gd name="connsiteX273" fmla="*/ 300507 w 5867400"/>
              <a:gd name="connsiteY273" fmla="*/ 2191955 h 6334125"/>
              <a:gd name="connsiteX274" fmla="*/ 187817 w 5867400"/>
              <a:gd name="connsiteY274" fmla="*/ 2150608 h 6334125"/>
              <a:gd name="connsiteX275" fmla="*/ 0 w 5867400"/>
              <a:gd name="connsiteY275" fmla="*/ 2097985 h 6334125"/>
              <a:gd name="connsiteX276" fmla="*/ 123959 w 5867400"/>
              <a:gd name="connsiteY276" fmla="*/ 2052880 h 6334125"/>
              <a:gd name="connsiteX277" fmla="*/ 63858 w 5867400"/>
              <a:gd name="connsiteY277" fmla="*/ 1977704 h 6334125"/>
              <a:gd name="connsiteX278" fmla="*/ 176548 w 5867400"/>
              <a:gd name="connsiteY278" fmla="*/ 1988981 h 6334125"/>
              <a:gd name="connsiteX279" fmla="*/ 150254 w 5867400"/>
              <a:gd name="connsiteY279" fmla="*/ 1921323 h 6334125"/>
              <a:gd name="connsiteX280" fmla="*/ 135228 w 5867400"/>
              <a:gd name="connsiteY280" fmla="*/ 1868700 h 6334125"/>
              <a:gd name="connsiteX281" fmla="*/ 187817 w 5867400"/>
              <a:gd name="connsiteY281" fmla="*/ 1834871 h 6334125"/>
              <a:gd name="connsiteX282" fmla="*/ 338071 w 5867400"/>
              <a:gd name="connsiteY282" fmla="*/ 1763454 h 6334125"/>
              <a:gd name="connsiteX283" fmla="*/ 409441 w 5867400"/>
              <a:gd name="connsiteY283" fmla="*/ 1752178 h 6334125"/>
              <a:gd name="connsiteX284" fmla="*/ 142741 w 5867400"/>
              <a:gd name="connsiteY284" fmla="*/ 1677002 h 6334125"/>
              <a:gd name="connsiteX285" fmla="*/ 142741 w 5867400"/>
              <a:gd name="connsiteY285" fmla="*/ 1661967 h 6334125"/>
              <a:gd name="connsiteX286" fmla="*/ 232893 w 5867400"/>
              <a:gd name="connsiteY286" fmla="*/ 1654450 h 6334125"/>
              <a:gd name="connsiteX287" fmla="*/ 210355 w 5867400"/>
              <a:gd name="connsiteY287" fmla="*/ 1590551 h 6334125"/>
              <a:gd name="connsiteX288" fmla="*/ 300507 w 5867400"/>
              <a:gd name="connsiteY288" fmla="*/ 1477787 h 6334125"/>
              <a:gd name="connsiteX289" fmla="*/ 334314 w 5867400"/>
              <a:gd name="connsiteY289" fmla="*/ 1436441 h 6334125"/>
              <a:gd name="connsiteX290" fmla="*/ 424466 w 5867400"/>
              <a:gd name="connsiteY290" fmla="*/ 1387577 h 6334125"/>
              <a:gd name="connsiteX291" fmla="*/ 510862 w 5867400"/>
              <a:gd name="connsiteY291" fmla="*/ 1432682 h 6334125"/>
              <a:gd name="connsiteX292" fmla="*/ 642334 w 5867400"/>
              <a:gd name="connsiteY292" fmla="*/ 1571757 h 6334125"/>
              <a:gd name="connsiteX293" fmla="*/ 687410 w 5867400"/>
              <a:gd name="connsiteY293" fmla="*/ 1601827 h 6334125"/>
              <a:gd name="connsiteX294" fmla="*/ 664872 w 5867400"/>
              <a:gd name="connsiteY294" fmla="*/ 1654450 h 6334125"/>
              <a:gd name="connsiteX295" fmla="*/ 732486 w 5867400"/>
              <a:gd name="connsiteY295" fmla="*/ 1710831 h 6334125"/>
              <a:gd name="connsiteX296" fmla="*/ 713704 w 5867400"/>
              <a:gd name="connsiteY296" fmla="*/ 1729625 h 6334125"/>
              <a:gd name="connsiteX297" fmla="*/ 574720 w 5867400"/>
              <a:gd name="connsiteY297" fmla="*/ 1631897 h 6334125"/>
              <a:gd name="connsiteX298" fmla="*/ 709948 w 5867400"/>
              <a:gd name="connsiteY298" fmla="*/ 1868700 h 6334125"/>
              <a:gd name="connsiteX299" fmla="*/ 758781 w 5867400"/>
              <a:gd name="connsiteY299" fmla="*/ 1733384 h 6334125"/>
              <a:gd name="connsiteX300" fmla="*/ 771001 w 5867400"/>
              <a:gd name="connsiteY300" fmla="*/ 1736102 h 6334125"/>
              <a:gd name="connsiteX301" fmla="*/ 770989 w 5867400"/>
              <a:gd name="connsiteY301" fmla="*/ 1736085 h 6334125"/>
              <a:gd name="connsiteX302" fmla="*/ 717461 w 5867400"/>
              <a:gd name="connsiteY302" fmla="*/ 1650103 h 6334125"/>
              <a:gd name="connsiteX303" fmla="*/ 702435 w 5867400"/>
              <a:gd name="connsiteY303" fmla="*/ 1556133 h 6334125"/>
              <a:gd name="connsiteX304" fmla="*/ 679897 w 5867400"/>
              <a:gd name="connsiteY304" fmla="*/ 1484717 h 6334125"/>
              <a:gd name="connsiteX305" fmla="*/ 649847 w 5867400"/>
              <a:gd name="connsiteY305" fmla="*/ 1492234 h 6334125"/>
              <a:gd name="connsiteX306" fmla="*/ 657359 w 5867400"/>
              <a:gd name="connsiteY306" fmla="*/ 1462164 h 6334125"/>
              <a:gd name="connsiteX307" fmla="*/ 454517 w 5867400"/>
              <a:gd name="connsiteY307" fmla="*/ 1285501 h 6334125"/>
              <a:gd name="connsiteX308" fmla="*/ 262944 w 5867400"/>
              <a:gd name="connsiteY308" fmla="*/ 1251672 h 6334125"/>
              <a:gd name="connsiteX309" fmla="*/ 424466 w 5867400"/>
              <a:gd name="connsiteY309" fmla="*/ 1044940 h 6334125"/>
              <a:gd name="connsiteX310" fmla="*/ 364365 w 5867400"/>
              <a:gd name="connsiteY310" fmla="*/ 1014870 h 6334125"/>
              <a:gd name="connsiteX311" fmla="*/ 300507 w 5867400"/>
              <a:gd name="connsiteY311" fmla="*/ 1029905 h 6334125"/>
              <a:gd name="connsiteX312" fmla="*/ 187817 w 5867400"/>
              <a:gd name="connsiteY312" fmla="*/ 988558 h 6334125"/>
              <a:gd name="connsiteX313" fmla="*/ 0 w 5867400"/>
              <a:gd name="connsiteY313" fmla="*/ 935935 h 6334125"/>
              <a:gd name="connsiteX314" fmla="*/ 123959 w 5867400"/>
              <a:gd name="connsiteY314" fmla="*/ 890830 h 6334125"/>
              <a:gd name="connsiteX315" fmla="*/ 63858 w 5867400"/>
              <a:gd name="connsiteY315" fmla="*/ 815654 h 6334125"/>
              <a:gd name="connsiteX316" fmla="*/ 176548 w 5867400"/>
              <a:gd name="connsiteY316" fmla="*/ 826931 h 6334125"/>
              <a:gd name="connsiteX317" fmla="*/ 150254 w 5867400"/>
              <a:gd name="connsiteY317" fmla="*/ 759273 h 6334125"/>
              <a:gd name="connsiteX318" fmla="*/ 135228 w 5867400"/>
              <a:gd name="connsiteY318" fmla="*/ 706650 h 6334125"/>
              <a:gd name="connsiteX319" fmla="*/ 187817 w 5867400"/>
              <a:gd name="connsiteY319" fmla="*/ 672821 h 6334125"/>
              <a:gd name="connsiteX320" fmla="*/ 338071 w 5867400"/>
              <a:gd name="connsiteY320" fmla="*/ 601404 h 6334125"/>
              <a:gd name="connsiteX321" fmla="*/ 409441 w 5867400"/>
              <a:gd name="connsiteY321" fmla="*/ 590128 h 6334125"/>
              <a:gd name="connsiteX322" fmla="*/ 142741 w 5867400"/>
              <a:gd name="connsiteY322" fmla="*/ 514952 h 6334125"/>
              <a:gd name="connsiteX323" fmla="*/ 142741 w 5867400"/>
              <a:gd name="connsiteY323" fmla="*/ 499917 h 6334125"/>
              <a:gd name="connsiteX324" fmla="*/ 232893 w 5867400"/>
              <a:gd name="connsiteY324" fmla="*/ 492400 h 6334125"/>
              <a:gd name="connsiteX325" fmla="*/ 210355 w 5867400"/>
              <a:gd name="connsiteY325" fmla="*/ 428501 h 6334125"/>
              <a:gd name="connsiteX326" fmla="*/ 300507 w 5867400"/>
              <a:gd name="connsiteY326" fmla="*/ 315737 h 6334125"/>
              <a:gd name="connsiteX327" fmla="*/ 334314 w 5867400"/>
              <a:gd name="connsiteY327" fmla="*/ 274391 h 6334125"/>
              <a:gd name="connsiteX328" fmla="*/ 424466 w 5867400"/>
              <a:gd name="connsiteY328" fmla="*/ 225527 h 6334125"/>
              <a:gd name="connsiteX329" fmla="*/ 510862 w 5867400"/>
              <a:gd name="connsiteY329" fmla="*/ 270632 h 6334125"/>
              <a:gd name="connsiteX330" fmla="*/ 642334 w 5867400"/>
              <a:gd name="connsiteY330" fmla="*/ 409707 h 6334125"/>
              <a:gd name="connsiteX331" fmla="*/ 687410 w 5867400"/>
              <a:gd name="connsiteY331" fmla="*/ 439777 h 6334125"/>
              <a:gd name="connsiteX332" fmla="*/ 664872 w 5867400"/>
              <a:gd name="connsiteY332" fmla="*/ 492400 h 6334125"/>
              <a:gd name="connsiteX333" fmla="*/ 732486 w 5867400"/>
              <a:gd name="connsiteY333" fmla="*/ 548781 h 6334125"/>
              <a:gd name="connsiteX334" fmla="*/ 713704 w 5867400"/>
              <a:gd name="connsiteY334" fmla="*/ 567575 h 6334125"/>
              <a:gd name="connsiteX335" fmla="*/ 574720 w 5867400"/>
              <a:gd name="connsiteY335" fmla="*/ 469847 h 6334125"/>
              <a:gd name="connsiteX336" fmla="*/ 709948 w 5867400"/>
              <a:gd name="connsiteY336" fmla="*/ 706650 h 6334125"/>
              <a:gd name="connsiteX337" fmla="*/ 758781 w 5867400"/>
              <a:gd name="connsiteY337" fmla="*/ 571334 h 6334125"/>
              <a:gd name="connsiteX338" fmla="*/ 837664 w 5867400"/>
              <a:gd name="connsiteY338" fmla="*/ 590128 h 6334125"/>
              <a:gd name="connsiteX339" fmla="*/ 905278 w 5867400"/>
              <a:gd name="connsiteY339" fmla="*/ 563816 h 6334125"/>
              <a:gd name="connsiteX340" fmla="*/ 920303 w 5867400"/>
              <a:gd name="connsiteY340" fmla="*/ 582610 h 6334125"/>
              <a:gd name="connsiteX341" fmla="*/ 935328 w 5867400"/>
              <a:gd name="connsiteY341" fmla="*/ 507435 h 6334125"/>
              <a:gd name="connsiteX342" fmla="*/ 871471 w 5867400"/>
              <a:gd name="connsiteY342" fmla="*/ 507435 h 6334125"/>
              <a:gd name="connsiteX343" fmla="*/ 860202 w 5867400"/>
              <a:gd name="connsiteY343" fmla="*/ 488641 h 6334125"/>
              <a:gd name="connsiteX344" fmla="*/ 901521 w 5867400"/>
              <a:gd name="connsiteY344" fmla="*/ 477365 h 6334125"/>
              <a:gd name="connsiteX345" fmla="*/ 815126 w 5867400"/>
              <a:gd name="connsiteY345" fmla="*/ 409707 h 6334125"/>
              <a:gd name="connsiteX346" fmla="*/ 826395 w 5867400"/>
              <a:gd name="connsiteY346" fmla="*/ 383395 h 6334125"/>
              <a:gd name="connsiteX347" fmla="*/ 1006699 w 5867400"/>
              <a:gd name="connsiteY347" fmla="*/ 462330 h 6334125"/>
              <a:gd name="connsiteX348" fmla="*/ 999186 w 5867400"/>
              <a:gd name="connsiteY348" fmla="*/ 402189 h 6334125"/>
              <a:gd name="connsiteX349" fmla="*/ 1089338 w 5867400"/>
              <a:gd name="connsiteY349" fmla="*/ 251838 h 6334125"/>
              <a:gd name="connsiteX350" fmla="*/ 1258373 w 5867400"/>
              <a:gd name="connsiteY350" fmla="*/ 334531 h 6334125"/>
              <a:gd name="connsiteX351" fmla="*/ 1341013 w 5867400"/>
              <a:gd name="connsiteY351" fmla="*/ 432259 h 6334125"/>
              <a:gd name="connsiteX352" fmla="*/ 1386089 w 5867400"/>
              <a:gd name="connsiteY352" fmla="*/ 420983 h 6334125"/>
              <a:gd name="connsiteX353" fmla="*/ 1386089 w 5867400"/>
              <a:gd name="connsiteY353" fmla="*/ 372119 h 6334125"/>
              <a:gd name="connsiteX354" fmla="*/ 1374820 w 5867400"/>
              <a:gd name="connsiteY354" fmla="*/ 334531 h 6334125"/>
              <a:gd name="connsiteX355" fmla="*/ 1322231 w 5867400"/>
              <a:gd name="connsiteY355" fmla="*/ 330772 h 6334125"/>
              <a:gd name="connsiteX356" fmla="*/ 1322231 w 5867400"/>
              <a:gd name="connsiteY356" fmla="*/ 311979 h 6334125"/>
              <a:gd name="connsiteX357" fmla="*/ 1389845 w 5867400"/>
              <a:gd name="connsiteY357" fmla="*/ 308220 h 6334125"/>
              <a:gd name="connsiteX358" fmla="*/ 1333500 w 5867400"/>
              <a:gd name="connsiteY358" fmla="*/ 255597 h 6334125"/>
              <a:gd name="connsiteX359" fmla="*/ 1367307 w 5867400"/>
              <a:gd name="connsiteY359" fmla="*/ 199215 h 6334125"/>
              <a:gd name="connsiteX360" fmla="*/ 1442434 w 5867400"/>
              <a:gd name="connsiteY360" fmla="*/ 0 h 633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5867400" h="6334125">
                <a:moveTo>
                  <a:pt x="2216240" y="5488401"/>
                </a:moveTo>
                <a:lnTo>
                  <a:pt x="2217838" y="5488902"/>
                </a:lnTo>
                <a:lnTo>
                  <a:pt x="2216709" y="5493099"/>
                </a:lnTo>
                <a:cubicBezTo>
                  <a:pt x="2216240" y="5494979"/>
                  <a:pt x="2216240" y="5494039"/>
                  <a:pt x="2216240" y="5488401"/>
                </a:cubicBezTo>
                <a:close/>
                <a:moveTo>
                  <a:pt x="608997" y="4291701"/>
                </a:moveTo>
                <a:lnTo>
                  <a:pt x="609527" y="4292163"/>
                </a:lnTo>
                <a:lnTo>
                  <a:pt x="608527" y="4293110"/>
                </a:lnTo>
                <a:cubicBezTo>
                  <a:pt x="604771" y="4289351"/>
                  <a:pt x="605710" y="4289351"/>
                  <a:pt x="608997" y="4291701"/>
                </a:cubicBezTo>
                <a:close/>
                <a:moveTo>
                  <a:pt x="672385" y="3969855"/>
                </a:moveTo>
                <a:cubicBezTo>
                  <a:pt x="672385" y="3969855"/>
                  <a:pt x="672385" y="3969855"/>
                  <a:pt x="676141" y="3969855"/>
                </a:cubicBezTo>
                <a:lnTo>
                  <a:pt x="675322" y="3972210"/>
                </a:lnTo>
                <a:close/>
                <a:moveTo>
                  <a:pt x="608997" y="3129651"/>
                </a:moveTo>
                <a:lnTo>
                  <a:pt x="609527" y="3130113"/>
                </a:lnTo>
                <a:lnTo>
                  <a:pt x="608527" y="3131060"/>
                </a:lnTo>
                <a:cubicBezTo>
                  <a:pt x="604771" y="3127301"/>
                  <a:pt x="605710" y="3127301"/>
                  <a:pt x="608997" y="3129651"/>
                </a:cubicBezTo>
                <a:close/>
                <a:moveTo>
                  <a:pt x="672385" y="2807805"/>
                </a:moveTo>
                <a:cubicBezTo>
                  <a:pt x="672385" y="2807805"/>
                  <a:pt x="672385" y="2807805"/>
                  <a:pt x="676141" y="2807805"/>
                </a:cubicBezTo>
                <a:lnTo>
                  <a:pt x="675322" y="2810160"/>
                </a:lnTo>
                <a:close/>
                <a:moveTo>
                  <a:pt x="1442434" y="0"/>
                </a:moveTo>
                <a:cubicBezTo>
                  <a:pt x="1536343" y="0"/>
                  <a:pt x="1630251" y="0"/>
                  <a:pt x="1720403" y="0"/>
                </a:cubicBezTo>
                <a:cubicBezTo>
                  <a:pt x="1720403" y="18794"/>
                  <a:pt x="1720403" y="37588"/>
                  <a:pt x="1720403" y="56382"/>
                </a:cubicBezTo>
                <a:cubicBezTo>
                  <a:pt x="1772992" y="93970"/>
                  <a:pt x="1821824" y="131557"/>
                  <a:pt x="1874413" y="165386"/>
                </a:cubicBezTo>
                <a:cubicBezTo>
                  <a:pt x="1870657" y="176663"/>
                  <a:pt x="1863144" y="187939"/>
                  <a:pt x="1859388" y="199215"/>
                </a:cubicBezTo>
                <a:cubicBezTo>
                  <a:pt x="1870657" y="195456"/>
                  <a:pt x="1878169" y="191698"/>
                  <a:pt x="1889438" y="187939"/>
                </a:cubicBezTo>
                <a:cubicBezTo>
                  <a:pt x="1908220" y="199215"/>
                  <a:pt x="1923245" y="218009"/>
                  <a:pt x="1945783" y="225527"/>
                </a:cubicBezTo>
                <a:cubicBezTo>
                  <a:pt x="1987103" y="240562"/>
                  <a:pt x="2032179" y="266873"/>
                  <a:pt x="2069742" y="259356"/>
                </a:cubicBezTo>
                <a:cubicBezTo>
                  <a:pt x="2193702" y="236803"/>
                  <a:pt x="2201214" y="240562"/>
                  <a:pt x="2178676" y="353325"/>
                </a:cubicBezTo>
                <a:cubicBezTo>
                  <a:pt x="2201214" y="375878"/>
                  <a:pt x="2261316" y="296943"/>
                  <a:pt x="2253803" y="372119"/>
                </a:cubicBezTo>
                <a:cubicBezTo>
                  <a:pt x="2276341" y="379636"/>
                  <a:pt x="2295123" y="383395"/>
                  <a:pt x="2317661" y="387154"/>
                </a:cubicBezTo>
                <a:cubicBezTo>
                  <a:pt x="2313904" y="394672"/>
                  <a:pt x="2313904" y="405948"/>
                  <a:pt x="2313904" y="413465"/>
                </a:cubicBezTo>
                <a:cubicBezTo>
                  <a:pt x="2291366" y="413465"/>
                  <a:pt x="2265072" y="413465"/>
                  <a:pt x="2238778" y="413465"/>
                </a:cubicBezTo>
                <a:cubicBezTo>
                  <a:pt x="2276341" y="454812"/>
                  <a:pt x="2310148" y="488641"/>
                  <a:pt x="2332686" y="514952"/>
                </a:cubicBezTo>
                <a:cubicBezTo>
                  <a:pt x="2370249" y="514952"/>
                  <a:pt x="2400300" y="518711"/>
                  <a:pt x="2434107" y="518711"/>
                </a:cubicBezTo>
                <a:cubicBezTo>
                  <a:pt x="2422838" y="541264"/>
                  <a:pt x="2411569" y="563816"/>
                  <a:pt x="2396544" y="590128"/>
                </a:cubicBezTo>
                <a:cubicBezTo>
                  <a:pt x="2419082" y="608922"/>
                  <a:pt x="2449133" y="631474"/>
                  <a:pt x="2479183" y="657786"/>
                </a:cubicBezTo>
                <a:cubicBezTo>
                  <a:pt x="2482940" y="638992"/>
                  <a:pt x="2486696" y="620198"/>
                  <a:pt x="2486696" y="601404"/>
                </a:cubicBezTo>
                <a:cubicBezTo>
                  <a:pt x="2524259" y="631474"/>
                  <a:pt x="2588117" y="661545"/>
                  <a:pt x="2584361" y="684097"/>
                </a:cubicBezTo>
                <a:cubicBezTo>
                  <a:pt x="2576848" y="793102"/>
                  <a:pt x="2670757" y="800619"/>
                  <a:pt x="2723345" y="849483"/>
                </a:cubicBezTo>
                <a:cubicBezTo>
                  <a:pt x="2745883" y="872036"/>
                  <a:pt x="2775934" y="883312"/>
                  <a:pt x="2805985" y="898347"/>
                </a:cubicBezTo>
                <a:cubicBezTo>
                  <a:pt x="2817254" y="883312"/>
                  <a:pt x="2828523" y="864519"/>
                  <a:pt x="2839792" y="849483"/>
                </a:cubicBezTo>
                <a:cubicBezTo>
                  <a:pt x="2851061" y="887071"/>
                  <a:pt x="2854817" y="939694"/>
                  <a:pt x="2881112" y="966005"/>
                </a:cubicBezTo>
                <a:cubicBezTo>
                  <a:pt x="2914918" y="996076"/>
                  <a:pt x="2986289" y="984799"/>
                  <a:pt x="2997558" y="1059975"/>
                </a:cubicBezTo>
                <a:cubicBezTo>
                  <a:pt x="3001314" y="1067492"/>
                  <a:pt x="3050147" y="1082528"/>
                  <a:pt x="3076441" y="1075010"/>
                </a:cubicBezTo>
                <a:cubicBezTo>
                  <a:pt x="3110248" y="1071251"/>
                  <a:pt x="3144055" y="1048699"/>
                  <a:pt x="3181618" y="1029905"/>
                </a:cubicBezTo>
                <a:cubicBezTo>
                  <a:pt x="3177862" y="1011111"/>
                  <a:pt x="3170349" y="988558"/>
                  <a:pt x="3159080" y="950970"/>
                </a:cubicBezTo>
                <a:cubicBezTo>
                  <a:pt x="3181618" y="962247"/>
                  <a:pt x="3189131" y="969764"/>
                  <a:pt x="3192887" y="969764"/>
                </a:cubicBezTo>
                <a:cubicBezTo>
                  <a:pt x="3200400" y="939694"/>
                  <a:pt x="3204156" y="905865"/>
                  <a:pt x="3219182" y="879554"/>
                </a:cubicBezTo>
                <a:cubicBezTo>
                  <a:pt x="3222938" y="870157"/>
                  <a:pt x="3232329" y="863579"/>
                  <a:pt x="3244537" y="857001"/>
                </a:cubicBezTo>
                <a:lnTo>
                  <a:pt x="3286796" y="834448"/>
                </a:lnTo>
                <a:lnTo>
                  <a:pt x="3290552" y="836328"/>
                </a:lnTo>
                <a:cubicBezTo>
                  <a:pt x="3296187" y="839147"/>
                  <a:pt x="3305578" y="843845"/>
                  <a:pt x="3316847" y="849483"/>
                </a:cubicBezTo>
                <a:cubicBezTo>
                  <a:pt x="3309334" y="815654"/>
                  <a:pt x="3305578" y="793102"/>
                  <a:pt x="3301821" y="778067"/>
                </a:cubicBezTo>
                <a:cubicBezTo>
                  <a:pt x="3339385" y="781825"/>
                  <a:pt x="3376948" y="785584"/>
                  <a:pt x="3391973" y="785584"/>
                </a:cubicBezTo>
                <a:cubicBezTo>
                  <a:pt x="3448318" y="819413"/>
                  <a:pt x="3489638" y="838207"/>
                  <a:pt x="3527202" y="860760"/>
                </a:cubicBezTo>
                <a:cubicBezTo>
                  <a:pt x="3538471" y="868277"/>
                  <a:pt x="3553496" y="894589"/>
                  <a:pt x="3553496" y="898347"/>
                </a:cubicBezTo>
                <a:cubicBezTo>
                  <a:pt x="3538471" y="920900"/>
                  <a:pt x="3515933" y="939694"/>
                  <a:pt x="3497151" y="962247"/>
                </a:cubicBezTo>
                <a:cubicBezTo>
                  <a:pt x="3530958" y="992317"/>
                  <a:pt x="3572278" y="1022387"/>
                  <a:pt x="3602328" y="1044940"/>
                </a:cubicBezTo>
                <a:cubicBezTo>
                  <a:pt x="3684968" y="1063734"/>
                  <a:pt x="3497151" y="1221602"/>
                  <a:pt x="3699993" y="1165221"/>
                </a:cubicBezTo>
                <a:cubicBezTo>
                  <a:pt x="3662430" y="1251672"/>
                  <a:pt x="3838978" y="1225361"/>
                  <a:pt x="3778876" y="1326848"/>
                </a:cubicBezTo>
                <a:cubicBezTo>
                  <a:pt x="3760094" y="1300536"/>
                  <a:pt x="3745069" y="1281743"/>
                  <a:pt x="3730044" y="1262949"/>
                </a:cubicBezTo>
                <a:cubicBezTo>
                  <a:pt x="3726287" y="1266708"/>
                  <a:pt x="3718775" y="1274225"/>
                  <a:pt x="3711262" y="1277984"/>
                </a:cubicBezTo>
                <a:cubicBezTo>
                  <a:pt x="3733800" y="1311813"/>
                  <a:pt x="3718775" y="1368194"/>
                  <a:pt x="3797658" y="1364436"/>
                </a:cubicBezTo>
                <a:cubicBezTo>
                  <a:pt x="3835221" y="1364436"/>
                  <a:pt x="3872785" y="1417059"/>
                  <a:pt x="3921617" y="1420817"/>
                </a:cubicBezTo>
                <a:cubicBezTo>
                  <a:pt x="3936642" y="1420817"/>
                  <a:pt x="3944155" y="1469681"/>
                  <a:pt x="3955424" y="1495993"/>
                </a:cubicBezTo>
                <a:cubicBezTo>
                  <a:pt x="3966693" y="1541098"/>
                  <a:pt x="3981718" y="1582445"/>
                  <a:pt x="3996744" y="1635068"/>
                </a:cubicBezTo>
                <a:cubicBezTo>
                  <a:pt x="4030551" y="1608756"/>
                  <a:pt x="4053089" y="1589962"/>
                  <a:pt x="4075627" y="1574927"/>
                </a:cubicBezTo>
                <a:cubicBezTo>
                  <a:pt x="4086896" y="1574927"/>
                  <a:pt x="4098165" y="1574927"/>
                  <a:pt x="4105678" y="1574927"/>
                </a:cubicBezTo>
                <a:cubicBezTo>
                  <a:pt x="4109434" y="1578686"/>
                  <a:pt x="4109434" y="1586204"/>
                  <a:pt x="4109434" y="1593721"/>
                </a:cubicBezTo>
                <a:cubicBezTo>
                  <a:pt x="4109434" y="1597480"/>
                  <a:pt x="4109434" y="1604997"/>
                  <a:pt x="4109434" y="1612515"/>
                </a:cubicBezTo>
                <a:cubicBezTo>
                  <a:pt x="4113190" y="1612515"/>
                  <a:pt x="4120703" y="1612515"/>
                  <a:pt x="4124459" y="1612515"/>
                </a:cubicBezTo>
                <a:cubicBezTo>
                  <a:pt x="4139485" y="1631309"/>
                  <a:pt x="4154510" y="1650103"/>
                  <a:pt x="4165779" y="1665138"/>
                </a:cubicBezTo>
                <a:cubicBezTo>
                  <a:pt x="4113190" y="1740313"/>
                  <a:pt x="4203343" y="1729037"/>
                  <a:pt x="4222124" y="1762866"/>
                </a:cubicBezTo>
                <a:lnTo>
                  <a:pt x="4237150" y="1777901"/>
                </a:lnTo>
                <a:lnTo>
                  <a:pt x="4240906" y="1796695"/>
                </a:lnTo>
                <a:cubicBezTo>
                  <a:pt x="4259688" y="1807971"/>
                  <a:pt x="4278469" y="1823006"/>
                  <a:pt x="4297251" y="1834283"/>
                </a:cubicBezTo>
                <a:cubicBezTo>
                  <a:pt x="4308520" y="1845559"/>
                  <a:pt x="4319789" y="1856835"/>
                  <a:pt x="4331058" y="1871870"/>
                </a:cubicBezTo>
                <a:cubicBezTo>
                  <a:pt x="4346083" y="1883147"/>
                  <a:pt x="4357352" y="1894423"/>
                  <a:pt x="4368621" y="1905699"/>
                </a:cubicBezTo>
                <a:cubicBezTo>
                  <a:pt x="4379890" y="1924493"/>
                  <a:pt x="4391159" y="1943287"/>
                  <a:pt x="4402428" y="1962081"/>
                </a:cubicBezTo>
                <a:cubicBezTo>
                  <a:pt x="4439992" y="2010945"/>
                  <a:pt x="4477555" y="2063568"/>
                  <a:pt x="4515119" y="2108673"/>
                </a:cubicBezTo>
                <a:cubicBezTo>
                  <a:pt x="4518875" y="2112432"/>
                  <a:pt x="4548926" y="2104914"/>
                  <a:pt x="4548926" y="2097397"/>
                </a:cubicBezTo>
                <a:cubicBezTo>
                  <a:pt x="4552682" y="2086121"/>
                  <a:pt x="4545169" y="2067327"/>
                  <a:pt x="4537657" y="2056050"/>
                </a:cubicBezTo>
                <a:cubicBezTo>
                  <a:pt x="4526388" y="2037257"/>
                  <a:pt x="4518875" y="1999669"/>
                  <a:pt x="4533900" y="1984634"/>
                </a:cubicBezTo>
                <a:cubicBezTo>
                  <a:pt x="4556438" y="2014704"/>
                  <a:pt x="4578976" y="2048533"/>
                  <a:pt x="4605271" y="2082362"/>
                </a:cubicBezTo>
                <a:cubicBezTo>
                  <a:pt x="4612783" y="2074844"/>
                  <a:pt x="4627809" y="2063568"/>
                  <a:pt x="4642834" y="2052292"/>
                </a:cubicBezTo>
                <a:cubicBezTo>
                  <a:pt x="4635321" y="2108673"/>
                  <a:pt x="4778062" y="2056050"/>
                  <a:pt x="4714204" y="2150020"/>
                </a:cubicBezTo>
                <a:cubicBezTo>
                  <a:pt x="4710448" y="2157537"/>
                  <a:pt x="4732986" y="2180090"/>
                  <a:pt x="4744255" y="2195125"/>
                </a:cubicBezTo>
                <a:cubicBezTo>
                  <a:pt x="4811869" y="2266542"/>
                  <a:pt x="4917047" y="2315406"/>
                  <a:pt x="4909534" y="2439445"/>
                </a:cubicBezTo>
                <a:cubicBezTo>
                  <a:pt x="4909534" y="2443204"/>
                  <a:pt x="4928316" y="2443204"/>
                  <a:pt x="4935828" y="2446963"/>
                </a:cubicBezTo>
                <a:cubicBezTo>
                  <a:pt x="4962123" y="2465757"/>
                  <a:pt x="4992173" y="2484551"/>
                  <a:pt x="5014712" y="2507104"/>
                </a:cubicBezTo>
                <a:cubicBezTo>
                  <a:pt x="5033493" y="2522138"/>
                  <a:pt x="5044762" y="2548450"/>
                  <a:pt x="5059788" y="2548450"/>
                </a:cubicBezTo>
                <a:cubicBezTo>
                  <a:pt x="5074813" y="2548450"/>
                  <a:pt x="5093595" y="2525897"/>
                  <a:pt x="5104864" y="2510862"/>
                </a:cubicBezTo>
                <a:cubicBezTo>
                  <a:pt x="5116133" y="2495827"/>
                  <a:pt x="5119889" y="2480792"/>
                  <a:pt x="5127402" y="2461998"/>
                </a:cubicBezTo>
                <a:cubicBezTo>
                  <a:pt x="5134914" y="2461998"/>
                  <a:pt x="5142427" y="2461998"/>
                  <a:pt x="5149940" y="2461998"/>
                </a:cubicBezTo>
                <a:cubicBezTo>
                  <a:pt x="5183747" y="2499586"/>
                  <a:pt x="5217554" y="2555967"/>
                  <a:pt x="5273899" y="2488309"/>
                </a:cubicBezTo>
                <a:cubicBezTo>
                  <a:pt x="5277655" y="2480792"/>
                  <a:pt x="5318975" y="2495827"/>
                  <a:pt x="5326488" y="2507104"/>
                </a:cubicBezTo>
                <a:cubicBezTo>
                  <a:pt x="5345269" y="2540933"/>
                  <a:pt x="5375320" y="2601073"/>
                  <a:pt x="5364051" y="2612349"/>
                </a:cubicBezTo>
                <a:cubicBezTo>
                  <a:pt x="5296437" y="2676248"/>
                  <a:pt x="5341513" y="2755183"/>
                  <a:pt x="5356538" y="2804047"/>
                </a:cubicBezTo>
                <a:cubicBezTo>
                  <a:pt x="5379076" y="2875463"/>
                  <a:pt x="5390345" y="2916810"/>
                  <a:pt x="5303950" y="2954398"/>
                </a:cubicBezTo>
                <a:cubicBezTo>
                  <a:pt x="5330244" y="2961915"/>
                  <a:pt x="5341513" y="2965674"/>
                  <a:pt x="5367807" y="2973191"/>
                </a:cubicBezTo>
                <a:cubicBezTo>
                  <a:pt x="5288924" y="3003262"/>
                  <a:pt x="5217554" y="3033332"/>
                  <a:pt x="5142427" y="3063402"/>
                </a:cubicBezTo>
                <a:cubicBezTo>
                  <a:pt x="5179990" y="3131060"/>
                  <a:pt x="5161209" y="3183683"/>
                  <a:pt x="5108620" y="3221271"/>
                </a:cubicBezTo>
                <a:cubicBezTo>
                  <a:pt x="5101107" y="3240065"/>
                  <a:pt x="5097351" y="3258858"/>
                  <a:pt x="5093595" y="3277652"/>
                </a:cubicBezTo>
                <a:cubicBezTo>
                  <a:pt x="5104864" y="3285170"/>
                  <a:pt x="5116133" y="3288929"/>
                  <a:pt x="5131158" y="3296446"/>
                </a:cubicBezTo>
                <a:cubicBezTo>
                  <a:pt x="5134914" y="3303964"/>
                  <a:pt x="5142427" y="3307723"/>
                  <a:pt x="5146183" y="3315240"/>
                </a:cubicBezTo>
                <a:cubicBezTo>
                  <a:pt x="5153696" y="3326516"/>
                  <a:pt x="5161209" y="3341551"/>
                  <a:pt x="5164965" y="3352828"/>
                </a:cubicBezTo>
                <a:cubicBezTo>
                  <a:pt x="5172478" y="3352828"/>
                  <a:pt x="5172478" y="3352828"/>
                  <a:pt x="5172478" y="3352828"/>
                </a:cubicBezTo>
                <a:cubicBezTo>
                  <a:pt x="5183747" y="3352828"/>
                  <a:pt x="5183747" y="3352828"/>
                  <a:pt x="5183747" y="3352828"/>
                </a:cubicBezTo>
                <a:cubicBezTo>
                  <a:pt x="5187503" y="3352828"/>
                  <a:pt x="5195016" y="3352828"/>
                  <a:pt x="5202528" y="3352828"/>
                </a:cubicBezTo>
                <a:cubicBezTo>
                  <a:pt x="5255117" y="3367863"/>
                  <a:pt x="5303950" y="3382898"/>
                  <a:pt x="5334000" y="3315240"/>
                </a:cubicBezTo>
                <a:cubicBezTo>
                  <a:pt x="5405371" y="3300205"/>
                  <a:pt x="5457959" y="3345310"/>
                  <a:pt x="5514304" y="3375380"/>
                </a:cubicBezTo>
                <a:cubicBezTo>
                  <a:pt x="5533086" y="3386657"/>
                  <a:pt x="5540599" y="3428003"/>
                  <a:pt x="5548112" y="3458074"/>
                </a:cubicBezTo>
                <a:cubicBezTo>
                  <a:pt x="5551868" y="3484385"/>
                  <a:pt x="5555624" y="3518214"/>
                  <a:pt x="5548112" y="3544525"/>
                </a:cubicBezTo>
                <a:cubicBezTo>
                  <a:pt x="5518061" y="3642254"/>
                  <a:pt x="5555624" y="3717429"/>
                  <a:pt x="5604457" y="3800122"/>
                </a:cubicBezTo>
                <a:cubicBezTo>
                  <a:pt x="5638264" y="3864021"/>
                  <a:pt x="5593188" y="3965508"/>
                  <a:pt x="5623238" y="4033166"/>
                </a:cubicBezTo>
                <a:cubicBezTo>
                  <a:pt x="5657045" y="4119618"/>
                  <a:pt x="5548112" y="4232381"/>
                  <a:pt x="5672071" y="4307557"/>
                </a:cubicBezTo>
                <a:cubicBezTo>
                  <a:pt x="5653289" y="4303798"/>
                  <a:pt x="5634507" y="4300039"/>
                  <a:pt x="5596944" y="4292522"/>
                </a:cubicBezTo>
                <a:cubicBezTo>
                  <a:pt x="5625116" y="4315074"/>
                  <a:pt x="5649533" y="4334808"/>
                  <a:pt x="5673010" y="4353602"/>
                </a:cubicBezTo>
                <a:lnTo>
                  <a:pt x="5742387" y="4408214"/>
                </a:lnTo>
                <a:lnTo>
                  <a:pt x="5739215" y="4417031"/>
                </a:lnTo>
                <a:cubicBezTo>
                  <a:pt x="5738746" y="4418441"/>
                  <a:pt x="5739685" y="4416561"/>
                  <a:pt x="5743441" y="4409044"/>
                </a:cubicBezTo>
                <a:lnTo>
                  <a:pt x="5742387" y="4408214"/>
                </a:lnTo>
                <a:lnTo>
                  <a:pt x="5743441" y="4405285"/>
                </a:lnTo>
                <a:cubicBezTo>
                  <a:pt x="5811055" y="4574430"/>
                  <a:pt x="5811055" y="4574430"/>
                  <a:pt x="5765979" y="4600741"/>
                </a:cubicBezTo>
                <a:cubicBezTo>
                  <a:pt x="5803543" y="4623294"/>
                  <a:pt x="5833593" y="4645847"/>
                  <a:pt x="5867400" y="4668399"/>
                </a:cubicBezTo>
                <a:cubicBezTo>
                  <a:pt x="5863644" y="4732299"/>
                  <a:pt x="5859888" y="4799956"/>
                  <a:pt x="5852375" y="4871373"/>
                </a:cubicBezTo>
                <a:cubicBezTo>
                  <a:pt x="5841106" y="4867614"/>
                  <a:pt x="5826081" y="4860097"/>
                  <a:pt x="5811055" y="4856338"/>
                </a:cubicBezTo>
                <a:cubicBezTo>
                  <a:pt x="5811055" y="4890167"/>
                  <a:pt x="5814812" y="4927755"/>
                  <a:pt x="5818568" y="4961584"/>
                </a:cubicBezTo>
                <a:cubicBezTo>
                  <a:pt x="5765979" y="4984136"/>
                  <a:pt x="5709634" y="5006689"/>
                  <a:pt x="5672071" y="5021724"/>
                </a:cubicBezTo>
                <a:cubicBezTo>
                  <a:pt x="5658924" y="5042398"/>
                  <a:pt x="5647655" y="5059312"/>
                  <a:pt x="5637325" y="5074347"/>
                </a:cubicBezTo>
                <a:lnTo>
                  <a:pt x="5613845" y="5107695"/>
                </a:lnTo>
                <a:lnTo>
                  <a:pt x="5612381" y="5139246"/>
                </a:lnTo>
                <a:cubicBezTo>
                  <a:pt x="5612909" y="5159273"/>
                  <a:pt x="5615726" y="5178302"/>
                  <a:pt x="5623238" y="5195216"/>
                </a:cubicBezTo>
                <a:cubicBezTo>
                  <a:pt x="5657045" y="5281668"/>
                  <a:pt x="5548112" y="5394431"/>
                  <a:pt x="5672071" y="5469607"/>
                </a:cubicBezTo>
                <a:cubicBezTo>
                  <a:pt x="5653289" y="5465848"/>
                  <a:pt x="5634507" y="5462089"/>
                  <a:pt x="5596944" y="5454572"/>
                </a:cubicBezTo>
                <a:cubicBezTo>
                  <a:pt x="5625116" y="5477124"/>
                  <a:pt x="5649533" y="5496858"/>
                  <a:pt x="5673010" y="5515652"/>
                </a:cubicBezTo>
                <a:lnTo>
                  <a:pt x="5742387" y="5570264"/>
                </a:lnTo>
                <a:lnTo>
                  <a:pt x="5739215" y="5579081"/>
                </a:lnTo>
                <a:cubicBezTo>
                  <a:pt x="5738746" y="5580491"/>
                  <a:pt x="5739685" y="5578611"/>
                  <a:pt x="5743441" y="5571094"/>
                </a:cubicBezTo>
                <a:lnTo>
                  <a:pt x="5742387" y="5570264"/>
                </a:lnTo>
                <a:lnTo>
                  <a:pt x="5743441" y="5567335"/>
                </a:lnTo>
                <a:cubicBezTo>
                  <a:pt x="5811055" y="5736480"/>
                  <a:pt x="5811055" y="5736480"/>
                  <a:pt x="5765979" y="5762791"/>
                </a:cubicBezTo>
                <a:cubicBezTo>
                  <a:pt x="5803543" y="5785344"/>
                  <a:pt x="5833593" y="5807897"/>
                  <a:pt x="5867400" y="5830449"/>
                </a:cubicBezTo>
                <a:cubicBezTo>
                  <a:pt x="5863644" y="5894349"/>
                  <a:pt x="5859888" y="5962006"/>
                  <a:pt x="5852375" y="6033423"/>
                </a:cubicBezTo>
                <a:cubicBezTo>
                  <a:pt x="5841106" y="6029664"/>
                  <a:pt x="5826081" y="6022147"/>
                  <a:pt x="5811055" y="6018388"/>
                </a:cubicBezTo>
                <a:cubicBezTo>
                  <a:pt x="5811055" y="6052217"/>
                  <a:pt x="5814812" y="6089805"/>
                  <a:pt x="5818568" y="6123634"/>
                </a:cubicBezTo>
                <a:cubicBezTo>
                  <a:pt x="5765979" y="6146186"/>
                  <a:pt x="5709634" y="6168739"/>
                  <a:pt x="5672071" y="6183774"/>
                </a:cubicBezTo>
                <a:cubicBezTo>
                  <a:pt x="5645776" y="6225121"/>
                  <a:pt x="5626995" y="6251432"/>
                  <a:pt x="5608213" y="6277744"/>
                </a:cubicBezTo>
                <a:cubicBezTo>
                  <a:pt x="5589431" y="6277744"/>
                  <a:pt x="5574406" y="6273985"/>
                  <a:pt x="5555624" y="6273985"/>
                </a:cubicBezTo>
                <a:cubicBezTo>
                  <a:pt x="5555624" y="6281502"/>
                  <a:pt x="5555624" y="6289020"/>
                  <a:pt x="5555624" y="6296537"/>
                </a:cubicBezTo>
                <a:cubicBezTo>
                  <a:pt x="5555624" y="6300296"/>
                  <a:pt x="5551868" y="6307814"/>
                  <a:pt x="5551868" y="6311573"/>
                </a:cubicBezTo>
                <a:cubicBezTo>
                  <a:pt x="5495523" y="6307814"/>
                  <a:pt x="5435421" y="6311573"/>
                  <a:pt x="5382833" y="6296537"/>
                </a:cubicBezTo>
                <a:cubicBezTo>
                  <a:pt x="5266386" y="6262709"/>
                  <a:pt x="5161209" y="6262709"/>
                  <a:pt x="5052275" y="6334125"/>
                </a:cubicBezTo>
                <a:cubicBezTo>
                  <a:pt x="5067300" y="6311573"/>
                  <a:pt x="5078569" y="6285261"/>
                  <a:pt x="5093595" y="6258950"/>
                </a:cubicBezTo>
                <a:cubicBezTo>
                  <a:pt x="5086082" y="6247673"/>
                  <a:pt x="5067300" y="6232638"/>
                  <a:pt x="5048519" y="6217603"/>
                </a:cubicBezTo>
                <a:cubicBezTo>
                  <a:pt x="4947097" y="6270226"/>
                  <a:pt x="4853189" y="6262709"/>
                  <a:pt x="4759281" y="6191292"/>
                </a:cubicBezTo>
                <a:cubicBezTo>
                  <a:pt x="4766793" y="6210086"/>
                  <a:pt x="4778062" y="6228880"/>
                  <a:pt x="4789331" y="6255191"/>
                </a:cubicBezTo>
                <a:cubicBezTo>
                  <a:pt x="4770550" y="6255191"/>
                  <a:pt x="4755524" y="6255191"/>
                  <a:pt x="4744255" y="6251432"/>
                </a:cubicBezTo>
                <a:cubicBezTo>
                  <a:pt x="4672885" y="6228880"/>
                  <a:pt x="4601514" y="6210086"/>
                  <a:pt x="4530144" y="6191292"/>
                </a:cubicBezTo>
                <a:cubicBezTo>
                  <a:pt x="4439992" y="6164980"/>
                  <a:pt x="4353596" y="6131151"/>
                  <a:pt x="4263444" y="6104840"/>
                </a:cubicBezTo>
                <a:cubicBezTo>
                  <a:pt x="4248419" y="6101081"/>
                  <a:pt x="4222124" y="6119875"/>
                  <a:pt x="4203343" y="6127393"/>
                </a:cubicBezTo>
                <a:cubicBezTo>
                  <a:pt x="4184561" y="6127393"/>
                  <a:pt x="4165779" y="6127393"/>
                  <a:pt x="4146997" y="6123634"/>
                </a:cubicBezTo>
                <a:cubicBezTo>
                  <a:pt x="4094409" y="6123634"/>
                  <a:pt x="4038064" y="6123634"/>
                  <a:pt x="3977962" y="6123634"/>
                </a:cubicBezTo>
                <a:cubicBezTo>
                  <a:pt x="3914104" y="6104840"/>
                  <a:pt x="3838978" y="6078529"/>
                  <a:pt x="3767607" y="6055976"/>
                </a:cubicBezTo>
                <a:cubicBezTo>
                  <a:pt x="3786389" y="6093564"/>
                  <a:pt x="3805171" y="6131151"/>
                  <a:pt x="3823952" y="6168739"/>
                </a:cubicBezTo>
                <a:cubicBezTo>
                  <a:pt x="3816440" y="6172498"/>
                  <a:pt x="3805171" y="6180015"/>
                  <a:pt x="3797658" y="6183774"/>
                </a:cubicBezTo>
                <a:cubicBezTo>
                  <a:pt x="3733800" y="6149945"/>
                  <a:pt x="3666186" y="6112357"/>
                  <a:pt x="3609841" y="6082287"/>
                </a:cubicBezTo>
                <a:cubicBezTo>
                  <a:pt x="3583547" y="6127393"/>
                  <a:pt x="3561009" y="6168739"/>
                  <a:pt x="3534714" y="6210086"/>
                </a:cubicBezTo>
                <a:cubicBezTo>
                  <a:pt x="3508420" y="6176257"/>
                  <a:pt x="3478369" y="6146186"/>
                  <a:pt x="3463344" y="6131151"/>
                </a:cubicBezTo>
                <a:cubicBezTo>
                  <a:pt x="3388217" y="6089805"/>
                  <a:pt x="3324359" y="6055976"/>
                  <a:pt x="3260502" y="6018388"/>
                </a:cubicBezTo>
                <a:cubicBezTo>
                  <a:pt x="3260502" y="6018388"/>
                  <a:pt x="3252989" y="6033423"/>
                  <a:pt x="3245476" y="6059735"/>
                </a:cubicBezTo>
                <a:cubicBezTo>
                  <a:pt x="3226694" y="6029664"/>
                  <a:pt x="3211669" y="6003353"/>
                  <a:pt x="3185375" y="5958248"/>
                </a:cubicBezTo>
                <a:cubicBezTo>
                  <a:pt x="3170349" y="5999594"/>
                  <a:pt x="3159080" y="6022147"/>
                  <a:pt x="3144055" y="6059735"/>
                </a:cubicBezTo>
                <a:cubicBezTo>
                  <a:pt x="3129030" y="6029664"/>
                  <a:pt x="3117761" y="6007112"/>
                  <a:pt x="3102736" y="5977042"/>
                </a:cubicBezTo>
                <a:cubicBezTo>
                  <a:pt x="3072685" y="5988318"/>
                  <a:pt x="3042634" y="6003353"/>
                  <a:pt x="3016340" y="6014629"/>
                </a:cubicBezTo>
                <a:cubicBezTo>
                  <a:pt x="2941213" y="5954489"/>
                  <a:pt x="2873599" y="5894349"/>
                  <a:pt x="2794716" y="5845484"/>
                </a:cubicBezTo>
                <a:cubicBezTo>
                  <a:pt x="2768421" y="5826691"/>
                  <a:pt x="2730858" y="5774068"/>
                  <a:pt x="2685782" y="5826691"/>
                </a:cubicBezTo>
                <a:cubicBezTo>
                  <a:pt x="2682025" y="5834208"/>
                  <a:pt x="2663244" y="5826691"/>
                  <a:pt x="2651975" y="5822932"/>
                </a:cubicBezTo>
                <a:cubicBezTo>
                  <a:pt x="2546798" y="5792862"/>
                  <a:pt x="2445376" y="5751515"/>
                  <a:pt x="2351468" y="5698892"/>
                </a:cubicBezTo>
                <a:cubicBezTo>
                  <a:pt x="2332686" y="5691375"/>
                  <a:pt x="2321417" y="5665063"/>
                  <a:pt x="2306392" y="5646269"/>
                </a:cubicBezTo>
                <a:cubicBezTo>
                  <a:pt x="2310148" y="5642511"/>
                  <a:pt x="2317661" y="5634993"/>
                  <a:pt x="2321417" y="5627475"/>
                </a:cubicBezTo>
                <a:cubicBezTo>
                  <a:pt x="2366493" y="5646269"/>
                  <a:pt x="2411569" y="5665063"/>
                  <a:pt x="2456645" y="5683857"/>
                </a:cubicBezTo>
                <a:cubicBezTo>
                  <a:pt x="2404057" y="5623717"/>
                  <a:pt x="2362737" y="5571094"/>
                  <a:pt x="2310148" y="5525989"/>
                </a:cubicBezTo>
                <a:cubicBezTo>
                  <a:pt x="2300757" y="5516592"/>
                  <a:pt x="2287610" y="5510954"/>
                  <a:pt x="2271646" y="5505785"/>
                </a:cubicBezTo>
                <a:lnTo>
                  <a:pt x="2217838" y="5488902"/>
                </a:lnTo>
                <a:lnTo>
                  <a:pt x="2219996" y="5480883"/>
                </a:lnTo>
                <a:cubicBezTo>
                  <a:pt x="2163651" y="5473366"/>
                  <a:pt x="2129844" y="5398190"/>
                  <a:pt x="2058474" y="5432019"/>
                </a:cubicBezTo>
                <a:cubicBezTo>
                  <a:pt x="1990859" y="5462089"/>
                  <a:pt x="1911976" y="5424502"/>
                  <a:pt x="1885682" y="5353085"/>
                </a:cubicBezTo>
                <a:cubicBezTo>
                  <a:pt x="1885682" y="5345567"/>
                  <a:pt x="1881926" y="5338050"/>
                  <a:pt x="1881926" y="5338050"/>
                </a:cubicBezTo>
                <a:cubicBezTo>
                  <a:pt x="1814312" y="5319256"/>
                  <a:pt x="1795530" y="5270392"/>
                  <a:pt x="1776748" y="5214010"/>
                </a:cubicBezTo>
                <a:cubicBezTo>
                  <a:pt x="1772992" y="5198975"/>
                  <a:pt x="1754210" y="5191457"/>
                  <a:pt x="1727916" y="5168905"/>
                </a:cubicBezTo>
                <a:cubicBezTo>
                  <a:pt x="1727916" y="5198975"/>
                  <a:pt x="1727916" y="5214010"/>
                  <a:pt x="1727916" y="5229045"/>
                </a:cubicBezTo>
                <a:cubicBezTo>
                  <a:pt x="1720403" y="5236563"/>
                  <a:pt x="1716647" y="5244080"/>
                  <a:pt x="1709134" y="5251598"/>
                </a:cubicBezTo>
                <a:cubicBezTo>
                  <a:pt x="1705378" y="5236563"/>
                  <a:pt x="1701621" y="5206492"/>
                  <a:pt x="1694109" y="5206492"/>
                </a:cubicBezTo>
                <a:cubicBezTo>
                  <a:pt x="1562637" y="5187699"/>
                  <a:pt x="1472485" y="5089970"/>
                  <a:pt x="1412383" y="5003519"/>
                </a:cubicBezTo>
                <a:cubicBezTo>
                  <a:pt x="1363551" y="4935861"/>
                  <a:pt x="1258373" y="4913308"/>
                  <a:pt x="1254617" y="4808062"/>
                </a:cubicBezTo>
                <a:cubicBezTo>
                  <a:pt x="1254617" y="4789268"/>
                  <a:pt x="1213297" y="4774233"/>
                  <a:pt x="1190759" y="4751681"/>
                </a:cubicBezTo>
                <a:cubicBezTo>
                  <a:pt x="1183247" y="4747922"/>
                  <a:pt x="1190759" y="4732887"/>
                  <a:pt x="1187003" y="4725369"/>
                </a:cubicBezTo>
                <a:cubicBezTo>
                  <a:pt x="1179490" y="4710334"/>
                  <a:pt x="1175734" y="4695299"/>
                  <a:pt x="1164465" y="4684023"/>
                </a:cubicBezTo>
                <a:cubicBezTo>
                  <a:pt x="1153196" y="4668988"/>
                  <a:pt x="1138171" y="4657711"/>
                  <a:pt x="1123145" y="4646435"/>
                </a:cubicBezTo>
                <a:cubicBezTo>
                  <a:pt x="1130658" y="4638917"/>
                  <a:pt x="1138171" y="4631400"/>
                  <a:pt x="1149440" y="4623882"/>
                </a:cubicBezTo>
                <a:lnTo>
                  <a:pt x="1360750" y="4805511"/>
                </a:lnTo>
                <a:lnTo>
                  <a:pt x="1427409" y="4886997"/>
                </a:lnTo>
                <a:cubicBezTo>
                  <a:pt x="1431165" y="4883238"/>
                  <a:pt x="1438678" y="4879479"/>
                  <a:pt x="1442434" y="4875720"/>
                </a:cubicBezTo>
                <a:lnTo>
                  <a:pt x="1360750" y="4805511"/>
                </a:lnTo>
                <a:lnTo>
                  <a:pt x="1336318" y="4775643"/>
                </a:lnTo>
                <a:cubicBezTo>
                  <a:pt x="1306267" y="4738525"/>
                  <a:pt x="1277155" y="4700937"/>
                  <a:pt x="1250861" y="4661470"/>
                </a:cubicBezTo>
                <a:cubicBezTo>
                  <a:pt x="1209541" y="4597571"/>
                  <a:pt x="1104364" y="4567501"/>
                  <a:pt x="1108120" y="4496084"/>
                </a:cubicBezTo>
                <a:cubicBezTo>
                  <a:pt x="1074313" y="4447220"/>
                  <a:pt x="1055531" y="4413391"/>
                  <a:pt x="1032993" y="4383321"/>
                </a:cubicBezTo>
                <a:cubicBezTo>
                  <a:pt x="1021724" y="4368286"/>
                  <a:pt x="1006699" y="4357009"/>
                  <a:pt x="991673" y="4353250"/>
                </a:cubicBezTo>
                <a:cubicBezTo>
                  <a:pt x="950354" y="4341974"/>
                  <a:pt x="905278" y="4334457"/>
                  <a:pt x="863958" y="4326939"/>
                </a:cubicBezTo>
                <a:cubicBezTo>
                  <a:pt x="856445" y="4372044"/>
                  <a:pt x="1021724" y="4541189"/>
                  <a:pt x="1126902" y="4582536"/>
                </a:cubicBezTo>
                <a:cubicBezTo>
                  <a:pt x="1119389" y="4605088"/>
                  <a:pt x="1111876" y="4627641"/>
                  <a:pt x="1108120" y="4642676"/>
                </a:cubicBezTo>
                <a:cubicBezTo>
                  <a:pt x="1021724" y="4563742"/>
                  <a:pt x="931572" y="4481049"/>
                  <a:pt x="841420" y="4402115"/>
                </a:cubicBezTo>
                <a:cubicBezTo>
                  <a:pt x="732486" y="4450979"/>
                  <a:pt x="631065" y="4372044"/>
                  <a:pt x="503349" y="4375803"/>
                </a:cubicBezTo>
                <a:cubicBezTo>
                  <a:pt x="552182" y="4345733"/>
                  <a:pt x="585989" y="4323180"/>
                  <a:pt x="623552" y="4304386"/>
                </a:cubicBezTo>
                <a:lnTo>
                  <a:pt x="609527" y="4292163"/>
                </a:lnTo>
                <a:lnTo>
                  <a:pt x="652194" y="4251764"/>
                </a:lnTo>
                <a:cubicBezTo>
                  <a:pt x="665811" y="4238608"/>
                  <a:pt x="678019" y="4225452"/>
                  <a:pt x="687410" y="4210417"/>
                </a:cubicBezTo>
                <a:cubicBezTo>
                  <a:pt x="698679" y="4187864"/>
                  <a:pt x="694923" y="4157794"/>
                  <a:pt x="702435" y="4120207"/>
                </a:cubicBezTo>
                <a:cubicBezTo>
                  <a:pt x="709948" y="4116448"/>
                  <a:pt x="736242" y="4108930"/>
                  <a:pt x="770049" y="4093895"/>
                </a:cubicBezTo>
                <a:cubicBezTo>
                  <a:pt x="733895" y="4057717"/>
                  <a:pt x="657477" y="4053194"/>
                  <a:pt x="666618" y="3997231"/>
                </a:cubicBezTo>
                <a:lnTo>
                  <a:pt x="675322" y="3972210"/>
                </a:lnTo>
                <a:lnTo>
                  <a:pt x="716639" y="4005329"/>
                </a:lnTo>
                <a:cubicBezTo>
                  <a:pt x="758546" y="4043386"/>
                  <a:pt x="797283" y="4083558"/>
                  <a:pt x="867714" y="4075101"/>
                </a:cubicBezTo>
                <a:cubicBezTo>
                  <a:pt x="875227" y="4071342"/>
                  <a:pt x="897765" y="4093895"/>
                  <a:pt x="897765" y="4105171"/>
                </a:cubicBezTo>
                <a:cubicBezTo>
                  <a:pt x="901521" y="4180347"/>
                  <a:pt x="946597" y="4221693"/>
                  <a:pt x="1029237" y="4259281"/>
                </a:cubicBezTo>
                <a:cubicBezTo>
                  <a:pt x="1002942" y="4225452"/>
                  <a:pt x="991673" y="4210417"/>
                  <a:pt x="972892" y="4184106"/>
                </a:cubicBezTo>
                <a:cubicBezTo>
                  <a:pt x="1006699" y="4187864"/>
                  <a:pt x="1025480" y="4191623"/>
                  <a:pt x="1055531" y="4199141"/>
                </a:cubicBezTo>
                <a:cubicBezTo>
                  <a:pt x="1025480" y="4150277"/>
                  <a:pt x="999186" y="4108930"/>
                  <a:pt x="972892" y="4060066"/>
                </a:cubicBezTo>
                <a:cubicBezTo>
                  <a:pt x="1010455" y="4067584"/>
                  <a:pt x="1032993" y="4067584"/>
                  <a:pt x="1051775" y="4071342"/>
                </a:cubicBezTo>
                <a:cubicBezTo>
                  <a:pt x="1051775" y="4037513"/>
                  <a:pt x="1051775" y="4007443"/>
                  <a:pt x="1051775" y="3954820"/>
                </a:cubicBezTo>
                <a:cubicBezTo>
                  <a:pt x="1070557" y="3988649"/>
                  <a:pt x="1081826" y="4003685"/>
                  <a:pt x="1093095" y="4022478"/>
                </a:cubicBezTo>
                <a:cubicBezTo>
                  <a:pt x="1100607" y="3992408"/>
                  <a:pt x="1108120" y="3973614"/>
                  <a:pt x="1111876" y="3969855"/>
                </a:cubicBezTo>
                <a:cubicBezTo>
                  <a:pt x="1051775" y="3909715"/>
                  <a:pt x="995430" y="3853333"/>
                  <a:pt x="939085" y="3793193"/>
                </a:cubicBezTo>
                <a:cubicBezTo>
                  <a:pt x="942841" y="3785676"/>
                  <a:pt x="950354" y="3778158"/>
                  <a:pt x="954110" y="3770640"/>
                </a:cubicBezTo>
                <a:cubicBezTo>
                  <a:pt x="1025480" y="3800710"/>
                  <a:pt x="1096851" y="3834540"/>
                  <a:pt x="1168221" y="3868369"/>
                </a:cubicBezTo>
                <a:cubicBezTo>
                  <a:pt x="1168221" y="3845816"/>
                  <a:pt x="1171978" y="3823263"/>
                  <a:pt x="1175734" y="3793193"/>
                </a:cubicBezTo>
                <a:cubicBezTo>
                  <a:pt x="1164465" y="3793193"/>
                  <a:pt x="1134414" y="3785676"/>
                  <a:pt x="1126902" y="3785676"/>
                </a:cubicBezTo>
                <a:cubicBezTo>
                  <a:pt x="1096851" y="3699224"/>
                  <a:pt x="1070557" y="3620289"/>
                  <a:pt x="1044262" y="3537596"/>
                </a:cubicBezTo>
                <a:cubicBezTo>
                  <a:pt x="1032993" y="3541355"/>
                  <a:pt x="1025480" y="3541355"/>
                  <a:pt x="1017968" y="3545114"/>
                </a:cubicBezTo>
                <a:cubicBezTo>
                  <a:pt x="1021724" y="3571425"/>
                  <a:pt x="1025480" y="3597737"/>
                  <a:pt x="1029237" y="3620289"/>
                </a:cubicBezTo>
                <a:cubicBezTo>
                  <a:pt x="909034" y="3567666"/>
                  <a:pt x="909034" y="3567666"/>
                  <a:pt x="905278" y="3477456"/>
                </a:cubicBezTo>
                <a:cubicBezTo>
                  <a:pt x="897765" y="3451145"/>
                  <a:pt x="890252" y="3424833"/>
                  <a:pt x="890252" y="3421074"/>
                </a:cubicBezTo>
                <a:cubicBezTo>
                  <a:pt x="935328" y="3406039"/>
                  <a:pt x="969135" y="3394763"/>
                  <a:pt x="999186" y="3383486"/>
                </a:cubicBezTo>
                <a:lnTo>
                  <a:pt x="999186" y="3382369"/>
                </a:lnTo>
                <a:lnTo>
                  <a:pt x="955995" y="3343410"/>
                </a:lnTo>
                <a:lnTo>
                  <a:pt x="926407" y="3323346"/>
                </a:lnTo>
                <a:cubicBezTo>
                  <a:pt x="902460" y="3309251"/>
                  <a:pt x="877105" y="3304552"/>
                  <a:pt x="845176" y="3342140"/>
                </a:cubicBezTo>
                <a:cubicBezTo>
                  <a:pt x="841420" y="3342140"/>
                  <a:pt x="822638" y="3330864"/>
                  <a:pt x="811369" y="3323346"/>
                </a:cubicBezTo>
                <a:cubicBezTo>
                  <a:pt x="788831" y="3304552"/>
                  <a:pt x="766293" y="3282000"/>
                  <a:pt x="743755" y="3263206"/>
                </a:cubicBezTo>
                <a:lnTo>
                  <a:pt x="757239" y="3255534"/>
                </a:lnTo>
                <a:lnTo>
                  <a:pt x="679428" y="3243823"/>
                </a:lnTo>
                <a:cubicBezTo>
                  <a:pt x="624491" y="3230668"/>
                  <a:pt x="567207" y="3211874"/>
                  <a:pt x="503349" y="3213753"/>
                </a:cubicBezTo>
                <a:cubicBezTo>
                  <a:pt x="552182" y="3183683"/>
                  <a:pt x="585989" y="3161130"/>
                  <a:pt x="623552" y="3142336"/>
                </a:cubicBezTo>
                <a:lnTo>
                  <a:pt x="609527" y="3130113"/>
                </a:lnTo>
                <a:lnTo>
                  <a:pt x="652194" y="3089714"/>
                </a:lnTo>
                <a:cubicBezTo>
                  <a:pt x="665811" y="3076558"/>
                  <a:pt x="678019" y="3063402"/>
                  <a:pt x="687410" y="3048367"/>
                </a:cubicBezTo>
                <a:cubicBezTo>
                  <a:pt x="698679" y="3025814"/>
                  <a:pt x="694923" y="2995744"/>
                  <a:pt x="702435" y="2958157"/>
                </a:cubicBezTo>
                <a:cubicBezTo>
                  <a:pt x="709948" y="2954398"/>
                  <a:pt x="736242" y="2946880"/>
                  <a:pt x="770049" y="2931845"/>
                </a:cubicBezTo>
                <a:cubicBezTo>
                  <a:pt x="733895" y="2895667"/>
                  <a:pt x="657477" y="2891144"/>
                  <a:pt x="666618" y="2835181"/>
                </a:cubicBezTo>
                <a:lnTo>
                  <a:pt x="675322" y="2810160"/>
                </a:lnTo>
                <a:lnTo>
                  <a:pt x="716639" y="2843279"/>
                </a:lnTo>
                <a:cubicBezTo>
                  <a:pt x="727116" y="2852793"/>
                  <a:pt x="737395" y="2862440"/>
                  <a:pt x="748020" y="2871426"/>
                </a:cubicBezTo>
                <a:lnTo>
                  <a:pt x="759548" y="2879757"/>
                </a:lnTo>
                <a:lnTo>
                  <a:pt x="717461" y="2812153"/>
                </a:lnTo>
                <a:cubicBezTo>
                  <a:pt x="702435" y="2785841"/>
                  <a:pt x="709948" y="2748254"/>
                  <a:pt x="702435" y="2718183"/>
                </a:cubicBezTo>
                <a:cubicBezTo>
                  <a:pt x="698679" y="2691872"/>
                  <a:pt x="687410" y="2669319"/>
                  <a:pt x="679897" y="2646767"/>
                </a:cubicBezTo>
                <a:cubicBezTo>
                  <a:pt x="668628" y="2650525"/>
                  <a:pt x="661116" y="2650525"/>
                  <a:pt x="649847" y="2654284"/>
                </a:cubicBezTo>
                <a:cubicBezTo>
                  <a:pt x="653603" y="2635490"/>
                  <a:pt x="661116" y="2616696"/>
                  <a:pt x="657359" y="2624214"/>
                </a:cubicBezTo>
                <a:cubicBezTo>
                  <a:pt x="574720" y="2549038"/>
                  <a:pt x="503349" y="2488898"/>
                  <a:pt x="454517" y="2447551"/>
                </a:cubicBezTo>
                <a:cubicBezTo>
                  <a:pt x="375634" y="2432516"/>
                  <a:pt x="323045" y="2424999"/>
                  <a:pt x="262944" y="2413722"/>
                </a:cubicBezTo>
                <a:cubicBezTo>
                  <a:pt x="323045" y="2338547"/>
                  <a:pt x="375634" y="2270889"/>
                  <a:pt x="424466" y="2206990"/>
                </a:cubicBezTo>
                <a:cubicBezTo>
                  <a:pt x="405685" y="2195713"/>
                  <a:pt x="375634" y="2184437"/>
                  <a:pt x="364365" y="2176920"/>
                </a:cubicBezTo>
                <a:cubicBezTo>
                  <a:pt x="338071" y="2184437"/>
                  <a:pt x="315533" y="2195713"/>
                  <a:pt x="300507" y="2191955"/>
                </a:cubicBezTo>
                <a:cubicBezTo>
                  <a:pt x="266700" y="2176920"/>
                  <a:pt x="255431" y="2128055"/>
                  <a:pt x="187817" y="2150608"/>
                </a:cubicBezTo>
                <a:cubicBezTo>
                  <a:pt x="138985" y="2165643"/>
                  <a:pt x="63858" y="2116779"/>
                  <a:pt x="0" y="2097985"/>
                </a:cubicBezTo>
                <a:cubicBezTo>
                  <a:pt x="37564" y="2082950"/>
                  <a:pt x="78883" y="2067915"/>
                  <a:pt x="123959" y="2052880"/>
                </a:cubicBezTo>
                <a:cubicBezTo>
                  <a:pt x="101421" y="2026569"/>
                  <a:pt x="86396" y="2007775"/>
                  <a:pt x="63858" y="1977704"/>
                </a:cubicBezTo>
                <a:cubicBezTo>
                  <a:pt x="101421" y="1981463"/>
                  <a:pt x="127716" y="1985222"/>
                  <a:pt x="176548" y="1988981"/>
                </a:cubicBezTo>
                <a:cubicBezTo>
                  <a:pt x="169035" y="1970187"/>
                  <a:pt x="161523" y="1943875"/>
                  <a:pt x="150254" y="1921323"/>
                </a:cubicBezTo>
                <a:cubicBezTo>
                  <a:pt x="146497" y="1902529"/>
                  <a:pt x="127716" y="1879976"/>
                  <a:pt x="135228" y="1868700"/>
                </a:cubicBezTo>
                <a:cubicBezTo>
                  <a:pt x="146497" y="1853665"/>
                  <a:pt x="176548" y="1831112"/>
                  <a:pt x="187817" y="1834871"/>
                </a:cubicBezTo>
                <a:cubicBezTo>
                  <a:pt x="270457" y="1868700"/>
                  <a:pt x="311776" y="1838630"/>
                  <a:pt x="338071" y="1763454"/>
                </a:cubicBezTo>
                <a:cubicBezTo>
                  <a:pt x="341827" y="1755937"/>
                  <a:pt x="368121" y="1759696"/>
                  <a:pt x="409441" y="1752178"/>
                </a:cubicBezTo>
                <a:cubicBezTo>
                  <a:pt x="304264" y="1725866"/>
                  <a:pt x="225380" y="1699555"/>
                  <a:pt x="142741" y="1677002"/>
                </a:cubicBezTo>
                <a:cubicBezTo>
                  <a:pt x="142741" y="1673244"/>
                  <a:pt x="142741" y="1665726"/>
                  <a:pt x="142741" y="1661967"/>
                </a:cubicBezTo>
                <a:cubicBezTo>
                  <a:pt x="172792" y="1658209"/>
                  <a:pt x="202842" y="1654450"/>
                  <a:pt x="232893" y="1654450"/>
                </a:cubicBezTo>
                <a:cubicBezTo>
                  <a:pt x="225380" y="1635656"/>
                  <a:pt x="221624" y="1616862"/>
                  <a:pt x="210355" y="1590551"/>
                </a:cubicBezTo>
                <a:cubicBezTo>
                  <a:pt x="308020" y="1605586"/>
                  <a:pt x="296751" y="1522893"/>
                  <a:pt x="300507" y="1477787"/>
                </a:cubicBezTo>
                <a:cubicBezTo>
                  <a:pt x="304264" y="1443958"/>
                  <a:pt x="308020" y="1443958"/>
                  <a:pt x="334314" y="1436441"/>
                </a:cubicBezTo>
                <a:cubicBezTo>
                  <a:pt x="364365" y="1421406"/>
                  <a:pt x="394416" y="1391335"/>
                  <a:pt x="424466" y="1387577"/>
                </a:cubicBezTo>
                <a:cubicBezTo>
                  <a:pt x="454517" y="1387577"/>
                  <a:pt x="507106" y="1417647"/>
                  <a:pt x="510862" y="1432682"/>
                </a:cubicBezTo>
                <a:cubicBezTo>
                  <a:pt x="510862" y="1526651"/>
                  <a:pt x="567207" y="1556722"/>
                  <a:pt x="642334" y="1571757"/>
                </a:cubicBezTo>
                <a:cubicBezTo>
                  <a:pt x="657359" y="1575515"/>
                  <a:pt x="683654" y="1590551"/>
                  <a:pt x="687410" y="1601827"/>
                </a:cubicBezTo>
                <a:cubicBezTo>
                  <a:pt x="687410" y="1616862"/>
                  <a:pt x="672385" y="1639415"/>
                  <a:pt x="664872" y="1654450"/>
                </a:cubicBezTo>
                <a:cubicBezTo>
                  <a:pt x="683654" y="1669485"/>
                  <a:pt x="706192" y="1688279"/>
                  <a:pt x="732486" y="1710831"/>
                </a:cubicBezTo>
                <a:cubicBezTo>
                  <a:pt x="724974" y="1714590"/>
                  <a:pt x="721217" y="1722108"/>
                  <a:pt x="713704" y="1729625"/>
                </a:cubicBezTo>
                <a:cubicBezTo>
                  <a:pt x="672385" y="1699555"/>
                  <a:pt x="631065" y="1669485"/>
                  <a:pt x="574720" y="1631897"/>
                </a:cubicBezTo>
                <a:cubicBezTo>
                  <a:pt x="608527" y="1729625"/>
                  <a:pt x="597258" y="1831112"/>
                  <a:pt x="709948" y="1868700"/>
                </a:cubicBezTo>
                <a:cubicBezTo>
                  <a:pt x="728730" y="1823595"/>
                  <a:pt x="743755" y="1778489"/>
                  <a:pt x="758781" y="1733384"/>
                </a:cubicBezTo>
                <a:lnTo>
                  <a:pt x="771001" y="1736102"/>
                </a:lnTo>
                <a:lnTo>
                  <a:pt x="770989" y="1736085"/>
                </a:lnTo>
                <a:cubicBezTo>
                  <a:pt x="751268" y="1708364"/>
                  <a:pt x="732487" y="1680173"/>
                  <a:pt x="717461" y="1650103"/>
                </a:cubicBezTo>
                <a:cubicBezTo>
                  <a:pt x="702435" y="1623791"/>
                  <a:pt x="709948" y="1586204"/>
                  <a:pt x="702435" y="1556133"/>
                </a:cubicBezTo>
                <a:cubicBezTo>
                  <a:pt x="698679" y="1529822"/>
                  <a:pt x="687410" y="1507269"/>
                  <a:pt x="679897" y="1484717"/>
                </a:cubicBezTo>
                <a:cubicBezTo>
                  <a:pt x="668628" y="1488475"/>
                  <a:pt x="661116" y="1488475"/>
                  <a:pt x="649847" y="1492234"/>
                </a:cubicBezTo>
                <a:cubicBezTo>
                  <a:pt x="653603" y="1473440"/>
                  <a:pt x="661116" y="1454646"/>
                  <a:pt x="657359" y="1462164"/>
                </a:cubicBezTo>
                <a:cubicBezTo>
                  <a:pt x="574720" y="1386988"/>
                  <a:pt x="503349" y="1326848"/>
                  <a:pt x="454517" y="1285501"/>
                </a:cubicBezTo>
                <a:cubicBezTo>
                  <a:pt x="375634" y="1270466"/>
                  <a:pt x="323045" y="1262949"/>
                  <a:pt x="262944" y="1251672"/>
                </a:cubicBezTo>
                <a:cubicBezTo>
                  <a:pt x="323045" y="1176497"/>
                  <a:pt x="375634" y="1108839"/>
                  <a:pt x="424466" y="1044940"/>
                </a:cubicBezTo>
                <a:cubicBezTo>
                  <a:pt x="405685" y="1033663"/>
                  <a:pt x="375634" y="1022387"/>
                  <a:pt x="364365" y="1014870"/>
                </a:cubicBezTo>
                <a:cubicBezTo>
                  <a:pt x="338071" y="1022387"/>
                  <a:pt x="315533" y="1033663"/>
                  <a:pt x="300507" y="1029905"/>
                </a:cubicBezTo>
                <a:cubicBezTo>
                  <a:pt x="266700" y="1014870"/>
                  <a:pt x="255431" y="966005"/>
                  <a:pt x="187817" y="988558"/>
                </a:cubicBezTo>
                <a:cubicBezTo>
                  <a:pt x="138985" y="1003593"/>
                  <a:pt x="63858" y="954729"/>
                  <a:pt x="0" y="935935"/>
                </a:cubicBezTo>
                <a:cubicBezTo>
                  <a:pt x="37564" y="920900"/>
                  <a:pt x="78883" y="905865"/>
                  <a:pt x="123959" y="890830"/>
                </a:cubicBezTo>
                <a:cubicBezTo>
                  <a:pt x="101421" y="864519"/>
                  <a:pt x="86396" y="845725"/>
                  <a:pt x="63858" y="815654"/>
                </a:cubicBezTo>
                <a:cubicBezTo>
                  <a:pt x="101421" y="819413"/>
                  <a:pt x="127716" y="823172"/>
                  <a:pt x="176548" y="826931"/>
                </a:cubicBezTo>
                <a:cubicBezTo>
                  <a:pt x="169035" y="808137"/>
                  <a:pt x="161523" y="781825"/>
                  <a:pt x="150254" y="759273"/>
                </a:cubicBezTo>
                <a:cubicBezTo>
                  <a:pt x="146497" y="740479"/>
                  <a:pt x="127716" y="717926"/>
                  <a:pt x="135228" y="706650"/>
                </a:cubicBezTo>
                <a:cubicBezTo>
                  <a:pt x="146497" y="691615"/>
                  <a:pt x="176548" y="669062"/>
                  <a:pt x="187817" y="672821"/>
                </a:cubicBezTo>
                <a:cubicBezTo>
                  <a:pt x="270457" y="706650"/>
                  <a:pt x="311776" y="676580"/>
                  <a:pt x="338071" y="601404"/>
                </a:cubicBezTo>
                <a:cubicBezTo>
                  <a:pt x="341827" y="593887"/>
                  <a:pt x="368121" y="597646"/>
                  <a:pt x="409441" y="590128"/>
                </a:cubicBezTo>
                <a:cubicBezTo>
                  <a:pt x="304264" y="563816"/>
                  <a:pt x="225380" y="537505"/>
                  <a:pt x="142741" y="514952"/>
                </a:cubicBezTo>
                <a:cubicBezTo>
                  <a:pt x="142741" y="511194"/>
                  <a:pt x="142741" y="503676"/>
                  <a:pt x="142741" y="499917"/>
                </a:cubicBezTo>
                <a:cubicBezTo>
                  <a:pt x="172792" y="496159"/>
                  <a:pt x="202842" y="492400"/>
                  <a:pt x="232893" y="492400"/>
                </a:cubicBezTo>
                <a:cubicBezTo>
                  <a:pt x="225380" y="473606"/>
                  <a:pt x="221624" y="454812"/>
                  <a:pt x="210355" y="428501"/>
                </a:cubicBezTo>
                <a:cubicBezTo>
                  <a:pt x="308020" y="443536"/>
                  <a:pt x="296751" y="360843"/>
                  <a:pt x="300507" y="315737"/>
                </a:cubicBezTo>
                <a:cubicBezTo>
                  <a:pt x="304264" y="281908"/>
                  <a:pt x="308020" y="281908"/>
                  <a:pt x="334314" y="274391"/>
                </a:cubicBezTo>
                <a:cubicBezTo>
                  <a:pt x="364365" y="259356"/>
                  <a:pt x="394416" y="229285"/>
                  <a:pt x="424466" y="225527"/>
                </a:cubicBezTo>
                <a:cubicBezTo>
                  <a:pt x="454517" y="225527"/>
                  <a:pt x="507106" y="255597"/>
                  <a:pt x="510862" y="270632"/>
                </a:cubicBezTo>
                <a:cubicBezTo>
                  <a:pt x="510862" y="364601"/>
                  <a:pt x="567207" y="394672"/>
                  <a:pt x="642334" y="409707"/>
                </a:cubicBezTo>
                <a:cubicBezTo>
                  <a:pt x="657359" y="413465"/>
                  <a:pt x="683654" y="428501"/>
                  <a:pt x="687410" y="439777"/>
                </a:cubicBezTo>
                <a:cubicBezTo>
                  <a:pt x="687410" y="454812"/>
                  <a:pt x="672385" y="477365"/>
                  <a:pt x="664872" y="492400"/>
                </a:cubicBezTo>
                <a:cubicBezTo>
                  <a:pt x="683654" y="507435"/>
                  <a:pt x="706192" y="526229"/>
                  <a:pt x="732486" y="548781"/>
                </a:cubicBezTo>
                <a:cubicBezTo>
                  <a:pt x="724974" y="552540"/>
                  <a:pt x="721217" y="560058"/>
                  <a:pt x="713704" y="567575"/>
                </a:cubicBezTo>
                <a:cubicBezTo>
                  <a:pt x="672385" y="537505"/>
                  <a:pt x="631065" y="507435"/>
                  <a:pt x="574720" y="469847"/>
                </a:cubicBezTo>
                <a:cubicBezTo>
                  <a:pt x="608527" y="567575"/>
                  <a:pt x="597258" y="669062"/>
                  <a:pt x="709948" y="706650"/>
                </a:cubicBezTo>
                <a:cubicBezTo>
                  <a:pt x="728730" y="661545"/>
                  <a:pt x="743755" y="616439"/>
                  <a:pt x="758781" y="571334"/>
                </a:cubicBezTo>
                <a:cubicBezTo>
                  <a:pt x="773806" y="575093"/>
                  <a:pt x="796344" y="578852"/>
                  <a:pt x="837664" y="590128"/>
                </a:cubicBezTo>
                <a:cubicBezTo>
                  <a:pt x="848933" y="586369"/>
                  <a:pt x="875227" y="575093"/>
                  <a:pt x="905278" y="563816"/>
                </a:cubicBezTo>
                <a:cubicBezTo>
                  <a:pt x="909034" y="571334"/>
                  <a:pt x="912790" y="578852"/>
                  <a:pt x="920303" y="582610"/>
                </a:cubicBezTo>
                <a:cubicBezTo>
                  <a:pt x="924059" y="560058"/>
                  <a:pt x="931572" y="533746"/>
                  <a:pt x="935328" y="507435"/>
                </a:cubicBezTo>
                <a:cubicBezTo>
                  <a:pt x="916547" y="507435"/>
                  <a:pt x="894009" y="507435"/>
                  <a:pt x="871471" y="507435"/>
                </a:cubicBezTo>
                <a:cubicBezTo>
                  <a:pt x="867714" y="499917"/>
                  <a:pt x="863958" y="496159"/>
                  <a:pt x="860202" y="488641"/>
                </a:cubicBezTo>
                <a:cubicBezTo>
                  <a:pt x="875227" y="484882"/>
                  <a:pt x="890252" y="481123"/>
                  <a:pt x="901521" y="477365"/>
                </a:cubicBezTo>
                <a:cubicBezTo>
                  <a:pt x="867714" y="451053"/>
                  <a:pt x="841420" y="428501"/>
                  <a:pt x="815126" y="409707"/>
                </a:cubicBezTo>
                <a:cubicBezTo>
                  <a:pt x="818882" y="398430"/>
                  <a:pt x="822638" y="390913"/>
                  <a:pt x="826395" y="383395"/>
                </a:cubicBezTo>
                <a:cubicBezTo>
                  <a:pt x="886496" y="409707"/>
                  <a:pt x="942841" y="436018"/>
                  <a:pt x="1006699" y="462330"/>
                </a:cubicBezTo>
                <a:cubicBezTo>
                  <a:pt x="1006699" y="443536"/>
                  <a:pt x="1002942" y="424742"/>
                  <a:pt x="999186" y="402189"/>
                </a:cubicBezTo>
                <a:cubicBezTo>
                  <a:pt x="1104364" y="409707"/>
                  <a:pt x="1108120" y="345807"/>
                  <a:pt x="1089338" y="251838"/>
                </a:cubicBezTo>
                <a:cubicBezTo>
                  <a:pt x="1145683" y="304461"/>
                  <a:pt x="1175734" y="390913"/>
                  <a:pt x="1258373" y="334531"/>
                </a:cubicBezTo>
                <a:cubicBezTo>
                  <a:pt x="1284668" y="368360"/>
                  <a:pt x="1310962" y="402189"/>
                  <a:pt x="1341013" y="432259"/>
                </a:cubicBezTo>
                <a:cubicBezTo>
                  <a:pt x="1344769" y="439777"/>
                  <a:pt x="1378576" y="432259"/>
                  <a:pt x="1386089" y="420983"/>
                </a:cubicBezTo>
                <a:cubicBezTo>
                  <a:pt x="1393602" y="413465"/>
                  <a:pt x="1389845" y="390913"/>
                  <a:pt x="1386089" y="372119"/>
                </a:cubicBezTo>
                <a:cubicBezTo>
                  <a:pt x="1386089" y="364601"/>
                  <a:pt x="1382333" y="353325"/>
                  <a:pt x="1374820" y="334531"/>
                </a:cubicBezTo>
                <a:cubicBezTo>
                  <a:pt x="1371064" y="334531"/>
                  <a:pt x="1348526" y="330772"/>
                  <a:pt x="1322231" y="330772"/>
                </a:cubicBezTo>
                <a:cubicBezTo>
                  <a:pt x="1322231" y="323255"/>
                  <a:pt x="1322231" y="319496"/>
                  <a:pt x="1322231" y="311979"/>
                </a:cubicBezTo>
                <a:cubicBezTo>
                  <a:pt x="1341013" y="311979"/>
                  <a:pt x="1359795" y="308220"/>
                  <a:pt x="1389845" y="308220"/>
                </a:cubicBezTo>
                <a:cubicBezTo>
                  <a:pt x="1367307" y="289426"/>
                  <a:pt x="1352282" y="274391"/>
                  <a:pt x="1333500" y="255597"/>
                </a:cubicBezTo>
                <a:cubicBezTo>
                  <a:pt x="1344769" y="236803"/>
                  <a:pt x="1352282" y="210492"/>
                  <a:pt x="1367307" y="199215"/>
                </a:cubicBezTo>
                <a:cubicBezTo>
                  <a:pt x="1427409" y="142834"/>
                  <a:pt x="1453703" y="78934"/>
                  <a:pt x="1442434" y="0"/>
                </a:cubicBezTo>
                <a:close/>
              </a:path>
            </a:pathLst>
          </a:custGeom>
        </p:spPr>
      </p:sp>
    </p:spTree>
    <p:extLst>
      <p:ext uri="{BB962C8B-B14F-4D97-AF65-F5344CB8AC3E}">
        <p14:creationId xmlns:p14="http://schemas.microsoft.com/office/powerpoint/2010/main" val="3088765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6_Custom Layout">
    <p:spTree>
      <p:nvGrpSpPr>
        <p:cNvPr id="1" name=""/>
        <p:cNvGrpSpPr/>
        <p:nvPr/>
      </p:nvGrpSpPr>
      <p:grpSpPr>
        <a:xfrm>
          <a:off x="0" y="0"/>
          <a:ext cx="0" cy="0"/>
          <a:chOff x="0" y="0"/>
          <a:chExt cx="0" cy="0"/>
        </a:xfrm>
      </p:grpSpPr>
      <p:sp>
        <p:nvSpPr>
          <p:cNvPr id="5" name="Freeform 4"/>
          <p:cNvSpPr>
            <a:spLocks noGrp="1"/>
          </p:cNvSpPr>
          <p:nvPr>
            <p:ph type="pic" sz="quarter" idx="18" hasCustomPrompt="1"/>
          </p:nvPr>
        </p:nvSpPr>
        <p:spPr>
          <a:xfrm>
            <a:off x="0" y="0"/>
            <a:ext cx="12356823" cy="4722863"/>
          </a:xfrm>
          <a:custGeom>
            <a:avLst/>
            <a:gdLst>
              <a:gd name="connsiteX0" fmla="*/ 10742574 w 12356823"/>
              <a:gd name="connsiteY0" fmla="*/ 1497163 h 4722863"/>
              <a:gd name="connsiteX1" fmla="*/ 10749584 w 12356823"/>
              <a:gd name="connsiteY1" fmla="*/ 1497163 h 4722863"/>
              <a:gd name="connsiteX2" fmla="*/ 10774118 w 12356823"/>
              <a:gd name="connsiteY2" fmla="*/ 1503116 h 4722863"/>
              <a:gd name="connsiteX3" fmla="*/ 10784633 w 12356823"/>
              <a:gd name="connsiteY3" fmla="*/ 1509071 h 4722863"/>
              <a:gd name="connsiteX4" fmla="*/ 10788138 w 12356823"/>
              <a:gd name="connsiteY4" fmla="*/ 1509071 h 4722863"/>
              <a:gd name="connsiteX5" fmla="*/ 10788138 w 12356823"/>
              <a:gd name="connsiteY5" fmla="*/ 1512048 h 4722863"/>
              <a:gd name="connsiteX6" fmla="*/ 10784633 w 12356823"/>
              <a:gd name="connsiteY6" fmla="*/ 1515024 h 4722863"/>
              <a:gd name="connsiteX7" fmla="*/ 10774118 w 12356823"/>
              <a:gd name="connsiteY7" fmla="*/ 1515024 h 4722863"/>
              <a:gd name="connsiteX8" fmla="*/ 10746079 w 12356823"/>
              <a:gd name="connsiteY8" fmla="*/ 1512048 h 4722863"/>
              <a:gd name="connsiteX9" fmla="*/ 10742574 w 12356823"/>
              <a:gd name="connsiteY9" fmla="*/ 1506094 h 4722863"/>
              <a:gd name="connsiteX10" fmla="*/ 10742574 w 12356823"/>
              <a:gd name="connsiteY10" fmla="*/ 1500141 h 4722863"/>
              <a:gd name="connsiteX11" fmla="*/ 10742574 w 12356823"/>
              <a:gd name="connsiteY11" fmla="*/ 1497163 h 4722863"/>
              <a:gd name="connsiteX12" fmla="*/ 10951795 w 12356823"/>
              <a:gd name="connsiteY12" fmla="*/ 1460091 h 4722863"/>
              <a:gd name="connsiteX13" fmla="*/ 10980311 w 12356823"/>
              <a:gd name="connsiteY13" fmla="*/ 1463180 h 4722863"/>
              <a:gd name="connsiteX14" fmla="*/ 11005263 w 12356823"/>
              <a:gd name="connsiteY14" fmla="*/ 1472453 h 4722863"/>
              <a:gd name="connsiteX15" fmla="*/ 11012391 w 12356823"/>
              <a:gd name="connsiteY15" fmla="*/ 1478634 h 4722863"/>
              <a:gd name="connsiteX16" fmla="*/ 11015956 w 12356823"/>
              <a:gd name="connsiteY16" fmla="*/ 1481724 h 4722863"/>
              <a:gd name="connsiteX17" fmla="*/ 11012391 w 12356823"/>
              <a:gd name="connsiteY17" fmla="*/ 1484816 h 4722863"/>
              <a:gd name="connsiteX18" fmla="*/ 11005263 w 12356823"/>
              <a:gd name="connsiteY18" fmla="*/ 1484816 h 4722863"/>
              <a:gd name="connsiteX19" fmla="*/ 10983876 w 12356823"/>
              <a:gd name="connsiteY19" fmla="*/ 1487906 h 4722863"/>
              <a:gd name="connsiteX20" fmla="*/ 10866247 w 12356823"/>
              <a:gd name="connsiteY20" fmla="*/ 1512631 h 4722863"/>
              <a:gd name="connsiteX21" fmla="*/ 10869811 w 12356823"/>
              <a:gd name="connsiteY21" fmla="*/ 1506450 h 4722863"/>
              <a:gd name="connsiteX22" fmla="*/ 10866247 w 12356823"/>
              <a:gd name="connsiteY22" fmla="*/ 1497178 h 4722863"/>
              <a:gd name="connsiteX23" fmla="*/ 10866247 w 12356823"/>
              <a:gd name="connsiteY23" fmla="*/ 1490997 h 4722863"/>
              <a:gd name="connsiteX24" fmla="*/ 10866247 w 12356823"/>
              <a:gd name="connsiteY24" fmla="*/ 1487906 h 4722863"/>
              <a:gd name="connsiteX25" fmla="*/ 10876940 w 12356823"/>
              <a:gd name="connsiteY25" fmla="*/ 1478634 h 4722863"/>
              <a:gd name="connsiteX26" fmla="*/ 10891199 w 12356823"/>
              <a:gd name="connsiteY26" fmla="*/ 1475543 h 4722863"/>
              <a:gd name="connsiteX27" fmla="*/ 10951795 w 12356823"/>
              <a:gd name="connsiteY27" fmla="*/ 1460091 h 4722863"/>
              <a:gd name="connsiteX28" fmla="*/ 225646 w 12356823"/>
              <a:gd name="connsiteY28" fmla="*/ 1240356 h 4722863"/>
              <a:gd name="connsiteX29" fmla="*/ 229263 w 12356823"/>
              <a:gd name="connsiteY29" fmla="*/ 1240356 h 4722863"/>
              <a:gd name="connsiteX30" fmla="*/ 236494 w 12356823"/>
              <a:gd name="connsiteY30" fmla="*/ 1249498 h 4722863"/>
              <a:gd name="connsiteX31" fmla="*/ 265424 w 12356823"/>
              <a:gd name="connsiteY31" fmla="*/ 1286065 h 4722863"/>
              <a:gd name="connsiteX32" fmla="*/ 269040 w 12356823"/>
              <a:gd name="connsiteY32" fmla="*/ 1301302 h 4722863"/>
              <a:gd name="connsiteX33" fmla="*/ 269040 w 12356823"/>
              <a:gd name="connsiteY33" fmla="*/ 1307397 h 4722863"/>
              <a:gd name="connsiteX34" fmla="*/ 269040 w 12356823"/>
              <a:gd name="connsiteY34" fmla="*/ 1310444 h 4722863"/>
              <a:gd name="connsiteX35" fmla="*/ 261807 w 12356823"/>
              <a:gd name="connsiteY35" fmla="*/ 1307397 h 4722863"/>
              <a:gd name="connsiteX36" fmla="*/ 236494 w 12356823"/>
              <a:gd name="connsiteY36" fmla="*/ 1267782 h 4722863"/>
              <a:gd name="connsiteX37" fmla="*/ 229263 w 12356823"/>
              <a:gd name="connsiteY37" fmla="*/ 1246450 h 4722863"/>
              <a:gd name="connsiteX38" fmla="*/ 225646 w 12356823"/>
              <a:gd name="connsiteY38" fmla="*/ 1243404 h 4722863"/>
              <a:gd name="connsiteX39" fmla="*/ 225646 w 12356823"/>
              <a:gd name="connsiteY39" fmla="*/ 1240356 h 4722863"/>
              <a:gd name="connsiteX40" fmla="*/ 10848 w 12356823"/>
              <a:gd name="connsiteY40" fmla="*/ 978949 h 4722863"/>
              <a:gd name="connsiteX41" fmla="*/ 14374 w 12356823"/>
              <a:gd name="connsiteY41" fmla="*/ 978949 h 4722863"/>
              <a:gd name="connsiteX42" fmla="*/ 17899 w 12356823"/>
              <a:gd name="connsiteY42" fmla="*/ 978949 h 4722863"/>
              <a:gd name="connsiteX43" fmla="*/ 21425 w 12356823"/>
              <a:gd name="connsiteY43" fmla="*/ 988265 h 4722863"/>
              <a:gd name="connsiteX44" fmla="*/ 42579 w 12356823"/>
              <a:gd name="connsiteY44" fmla="*/ 1016213 h 4722863"/>
              <a:gd name="connsiteX45" fmla="*/ 151878 w 12356823"/>
              <a:gd name="connsiteY45" fmla="*/ 1137321 h 4722863"/>
              <a:gd name="connsiteX46" fmla="*/ 148352 w 12356823"/>
              <a:gd name="connsiteY46" fmla="*/ 1140427 h 4722863"/>
              <a:gd name="connsiteX47" fmla="*/ 151878 w 12356823"/>
              <a:gd name="connsiteY47" fmla="*/ 1159059 h 4722863"/>
              <a:gd name="connsiteX48" fmla="*/ 151878 w 12356823"/>
              <a:gd name="connsiteY48" fmla="*/ 1165270 h 4722863"/>
              <a:gd name="connsiteX49" fmla="*/ 148352 w 12356823"/>
              <a:gd name="connsiteY49" fmla="*/ 1168375 h 4722863"/>
              <a:gd name="connsiteX50" fmla="*/ 141301 w 12356823"/>
              <a:gd name="connsiteY50" fmla="*/ 1165270 h 4722863"/>
              <a:gd name="connsiteX51" fmla="*/ 127198 w 12356823"/>
              <a:gd name="connsiteY51" fmla="*/ 1152848 h 4722863"/>
              <a:gd name="connsiteX52" fmla="*/ 70786 w 12356823"/>
              <a:gd name="connsiteY52" fmla="*/ 1087636 h 4722863"/>
              <a:gd name="connsiteX53" fmla="*/ 46106 w 12356823"/>
              <a:gd name="connsiteY53" fmla="*/ 1050371 h 4722863"/>
              <a:gd name="connsiteX54" fmla="*/ 21425 w 12356823"/>
              <a:gd name="connsiteY54" fmla="*/ 1000687 h 4722863"/>
              <a:gd name="connsiteX55" fmla="*/ 14374 w 12356823"/>
              <a:gd name="connsiteY55" fmla="*/ 982054 h 4722863"/>
              <a:gd name="connsiteX56" fmla="*/ 10848 w 12356823"/>
              <a:gd name="connsiteY56" fmla="*/ 978949 h 4722863"/>
              <a:gd name="connsiteX57" fmla="*/ 8697751 w 12356823"/>
              <a:gd name="connsiteY57" fmla="*/ 863228 h 4722863"/>
              <a:gd name="connsiteX58" fmla="*/ 8630343 w 12356823"/>
              <a:gd name="connsiteY58" fmla="*/ 865011 h 4722863"/>
              <a:gd name="connsiteX59" fmla="*/ 8594872 w 12356823"/>
              <a:gd name="connsiteY59" fmla="*/ 868108 h 4722863"/>
              <a:gd name="connsiteX60" fmla="*/ 8584229 w 12356823"/>
              <a:gd name="connsiteY60" fmla="*/ 868108 h 4722863"/>
              <a:gd name="connsiteX61" fmla="*/ 8580683 w 12356823"/>
              <a:gd name="connsiteY61" fmla="*/ 871205 h 4722863"/>
              <a:gd name="connsiteX62" fmla="*/ 8580240 w 12356823"/>
              <a:gd name="connsiteY62" fmla="*/ 890952 h 4722863"/>
              <a:gd name="connsiteX63" fmla="*/ 8579818 w 12356823"/>
              <a:gd name="connsiteY63" fmla="*/ 893321 h 4722863"/>
              <a:gd name="connsiteX64" fmla="*/ 9084385 w 12356823"/>
              <a:gd name="connsiteY64" fmla="*/ 626508 h 4722863"/>
              <a:gd name="connsiteX65" fmla="*/ 9080838 w 12356823"/>
              <a:gd name="connsiteY65" fmla="*/ 629606 h 4722863"/>
              <a:gd name="connsiteX66" fmla="*/ 9077292 w 12356823"/>
              <a:gd name="connsiteY66" fmla="*/ 629606 h 4722863"/>
              <a:gd name="connsiteX67" fmla="*/ 9063102 w 12356823"/>
              <a:gd name="connsiteY67" fmla="*/ 660580 h 4722863"/>
              <a:gd name="connsiteX68" fmla="*/ 9063102 w 12356823"/>
              <a:gd name="connsiteY68" fmla="*/ 663677 h 4722863"/>
              <a:gd name="connsiteX69" fmla="*/ 9073744 w 12356823"/>
              <a:gd name="connsiteY69" fmla="*/ 663677 h 4722863"/>
              <a:gd name="connsiteX70" fmla="*/ 9112764 w 12356823"/>
              <a:gd name="connsiteY70" fmla="*/ 666775 h 4722863"/>
              <a:gd name="connsiteX71" fmla="*/ 9220878 w 12356823"/>
              <a:gd name="connsiteY71" fmla="*/ 687437 h 4722863"/>
              <a:gd name="connsiteX72" fmla="*/ 9283231 w 12356823"/>
              <a:gd name="connsiteY72" fmla="*/ 662690 h 4722863"/>
              <a:gd name="connsiteX73" fmla="*/ 9162424 w 12356823"/>
              <a:gd name="connsiteY73" fmla="*/ 635800 h 4722863"/>
              <a:gd name="connsiteX74" fmla="*/ 9102121 w 12356823"/>
              <a:gd name="connsiteY74" fmla="*/ 626508 h 4722863"/>
              <a:gd name="connsiteX75" fmla="*/ 9084385 w 12356823"/>
              <a:gd name="connsiteY75" fmla="*/ 626508 h 4722863"/>
              <a:gd name="connsiteX76" fmla="*/ 12143987 w 12356823"/>
              <a:gd name="connsiteY76" fmla="*/ 571686 h 4722863"/>
              <a:gd name="connsiteX77" fmla="*/ 12154629 w 12356823"/>
              <a:gd name="connsiteY77" fmla="*/ 571686 h 4722863"/>
              <a:gd name="connsiteX78" fmla="*/ 12172365 w 12356823"/>
              <a:gd name="connsiteY78" fmla="*/ 574758 h 4722863"/>
              <a:gd name="connsiteX79" fmla="*/ 12197195 w 12356823"/>
              <a:gd name="connsiteY79" fmla="*/ 587049 h 4722863"/>
              <a:gd name="connsiteX80" fmla="*/ 12292972 w 12356823"/>
              <a:gd name="connsiteY80" fmla="*/ 636216 h 4722863"/>
              <a:gd name="connsiteX81" fmla="*/ 12324897 w 12356823"/>
              <a:gd name="connsiteY81" fmla="*/ 663873 h 4722863"/>
              <a:gd name="connsiteX82" fmla="*/ 12349728 w 12356823"/>
              <a:gd name="connsiteY82" fmla="*/ 694602 h 4722863"/>
              <a:gd name="connsiteX83" fmla="*/ 12356823 w 12356823"/>
              <a:gd name="connsiteY83" fmla="*/ 706894 h 4722863"/>
              <a:gd name="connsiteX84" fmla="*/ 12353276 w 12356823"/>
              <a:gd name="connsiteY84" fmla="*/ 709967 h 4722863"/>
              <a:gd name="connsiteX85" fmla="*/ 12353276 w 12356823"/>
              <a:gd name="connsiteY85" fmla="*/ 706894 h 4722863"/>
              <a:gd name="connsiteX86" fmla="*/ 12349728 w 12356823"/>
              <a:gd name="connsiteY86" fmla="*/ 709967 h 4722863"/>
              <a:gd name="connsiteX87" fmla="*/ 12346182 w 12356823"/>
              <a:gd name="connsiteY87" fmla="*/ 706894 h 4722863"/>
              <a:gd name="connsiteX88" fmla="*/ 12335540 w 12356823"/>
              <a:gd name="connsiteY88" fmla="*/ 700748 h 4722863"/>
              <a:gd name="connsiteX89" fmla="*/ 12310708 w 12356823"/>
              <a:gd name="connsiteY89" fmla="*/ 679237 h 4722863"/>
              <a:gd name="connsiteX90" fmla="*/ 12133344 w 12356823"/>
              <a:gd name="connsiteY90" fmla="*/ 587049 h 4722863"/>
              <a:gd name="connsiteX91" fmla="*/ 12140439 w 12356823"/>
              <a:gd name="connsiteY91" fmla="*/ 587049 h 4722863"/>
              <a:gd name="connsiteX92" fmla="*/ 12140439 w 12356823"/>
              <a:gd name="connsiteY92" fmla="*/ 574758 h 4722863"/>
              <a:gd name="connsiteX93" fmla="*/ 12143987 w 12356823"/>
              <a:gd name="connsiteY93" fmla="*/ 571686 h 4722863"/>
              <a:gd name="connsiteX94" fmla="*/ 11958742 w 12356823"/>
              <a:gd name="connsiteY94" fmla="*/ 461819 h 4722863"/>
              <a:gd name="connsiteX95" fmla="*/ 11965821 w 12356823"/>
              <a:gd name="connsiteY95" fmla="*/ 464897 h 4722863"/>
              <a:gd name="connsiteX96" fmla="*/ 12001222 w 12356823"/>
              <a:gd name="connsiteY96" fmla="*/ 492600 h 4722863"/>
              <a:gd name="connsiteX97" fmla="*/ 12008302 w 12356823"/>
              <a:gd name="connsiteY97" fmla="*/ 504913 h 4722863"/>
              <a:gd name="connsiteX98" fmla="*/ 12008302 w 12356823"/>
              <a:gd name="connsiteY98" fmla="*/ 511069 h 4722863"/>
              <a:gd name="connsiteX99" fmla="*/ 12004762 w 12356823"/>
              <a:gd name="connsiteY99" fmla="*/ 511069 h 4722863"/>
              <a:gd name="connsiteX100" fmla="*/ 12001222 w 12356823"/>
              <a:gd name="connsiteY100" fmla="*/ 511069 h 4722863"/>
              <a:gd name="connsiteX101" fmla="*/ 11990602 w 12356823"/>
              <a:gd name="connsiteY101" fmla="*/ 501835 h 4722863"/>
              <a:gd name="connsiteX102" fmla="*/ 11948121 w 12356823"/>
              <a:gd name="connsiteY102" fmla="*/ 477209 h 4722863"/>
              <a:gd name="connsiteX103" fmla="*/ 11948121 w 12356823"/>
              <a:gd name="connsiteY103" fmla="*/ 467974 h 4722863"/>
              <a:gd name="connsiteX104" fmla="*/ 11951662 w 12356823"/>
              <a:gd name="connsiteY104" fmla="*/ 464897 h 4722863"/>
              <a:gd name="connsiteX105" fmla="*/ 11955202 w 12356823"/>
              <a:gd name="connsiteY105" fmla="*/ 464897 h 4722863"/>
              <a:gd name="connsiteX106" fmla="*/ 11958742 w 12356823"/>
              <a:gd name="connsiteY106" fmla="*/ 461819 h 4722863"/>
              <a:gd name="connsiteX107" fmla="*/ 9291742 w 12356823"/>
              <a:gd name="connsiteY107" fmla="*/ 461819 h 4722863"/>
              <a:gd name="connsiteX108" fmla="*/ 9298821 w 12356823"/>
              <a:gd name="connsiteY108" fmla="*/ 464897 h 4722863"/>
              <a:gd name="connsiteX109" fmla="*/ 9334222 w 12356823"/>
              <a:gd name="connsiteY109" fmla="*/ 492600 h 4722863"/>
              <a:gd name="connsiteX110" fmla="*/ 9341302 w 12356823"/>
              <a:gd name="connsiteY110" fmla="*/ 504913 h 4722863"/>
              <a:gd name="connsiteX111" fmla="*/ 9341302 w 12356823"/>
              <a:gd name="connsiteY111" fmla="*/ 511069 h 4722863"/>
              <a:gd name="connsiteX112" fmla="*/ 9337762 w 12356823"/>
              <a:gd name="connsiteY112" fmla="*/ 511069 h 4722863"/>
              <a:gd name="connsiteX113" fmla="*/ 9334222 w 12356823"/>
              <a:gd name="connsiteY113" fmla="*/ 511069 h 4722863"/>
              <a:gd name="connsiteX114" fmla="*/ 9323602 w 12356823"/>
              <a:gd name="connsiteY114" fmla="*/ 501835 h 4722863"/>
              <a:gd name="connsiteX115" fmla="*/ 9281121 w 12356823"/>
              <a:gd name="connsiteY115" fmla="*/ 477209 h 4722863"/>
              <a:gd name="connsiteX116" fmla="*/ 9281121 w 12356823"/>
              <a:gd name="connsiteY116" fmla="*/ 467974 h 4722863"/>
              <a:gd name="connsiteX117" fmla="*/ 9284662 w 12356823"/>
              <a:gd name="connsiteY117" fmla="*/ 464897 h 4722863"/>
              <a:gd name="connsiteX118" fmla="*/ 9288202 w 12356823"/>
              <a:gd name="connsiteY118" fmla="*/ 464897 h 4722863"/>
              <a:gd name="connsiteX119" fmla="*/ 9291742 w 12356823"/>
              <a:gd name="connsiteY119" fmla="*/ 461819 h 4722863"/>
              <a:gd name="connsiteX120" fmla="*/ 7864147 w 12356823"/>
              <a:gd name="connsiteY120" fmla="*/ 824 h 4722863"/>
              <a:gd name="connsiteX121" fmla="*/ 7867695 w 12356823"/>
              <a:gd name="connsiteY121" fmla="*/ 25603 h 4722863"/>
              <a:gd name="connsiteX122" fmla="*/ 7867695 w 12356823"/>
              <a:gd name="connsiteY122" fmla="*/ 31799 h 4722863"/>
              <a:gd name="connsiteX123" fmla="*/ 7860601 w 12356823"/>
              <a:gd name="connsiteY123" fmla="*/ 37994 h 4722863"/>
              <a:gd name="connsiteX124" fmla="*/ 7835770 w 12356823"/>
              <a:gd name="connsiteY124" fmla="*/ 56578 h 4722863"/>
              <a:gd name="connsiteX125" fmla="*/ 7754184 w 12356823"/>
              <a:gd name="connsiteY125" fmla="*/ 127819 h 4722863"/>
              <a:gd name="connsiteX126" fmla="*/ 7516521 w 12356823"/>
              <a:gd name="connsiteY126" fmla="*/ 335348 h 4722863"/>
              <a:gd name="connsiteX127" fmla="*/ 7275311 w 12356823"/>
              <a:gd name="connsiteY127" fmla="*/ 549072 h 4722863"/>
              <a:gd name="connsiteX128" fmla="*/ 7282405 w 12356823"/>
              <a:gd name="connsiteY128" fmla="*/ 545975 h 4722863"/>
              <a:gd name="connsiteX129" fmla="*/ 7303690 w 12356823"/>
              <a:gd name="connsiteY129" fmla="*/ 533584 h 4722863"/>
              <a:gd name="connsiteX130" fmla="*/ 7761279 w 12356823"/>
              <a:gd name="connsiteY130" fmla="*/ 171183 h 4722863"/>
              <a:gd name="connsiteX131" fmla="*/ 7920902 w 12356823"/>
              <a:gd name="connsiteY131" fmla="*/ 50383 h 4722863"/>
              <a:gd name="connsiteX132" fmla="*/ 7949281 w 12356823"/>
              <a:gd name="connsiteY132" fmla="*/ 31799 h 4722863"/>
              <a:gd name="connsiteX133" fmla="*/ 7970564 w 12356823"/>
              <a:gd name="connsiteY133" fmla="*/ 22506 h 4722863"/>
              <a:gd name="connsiteX134" fmla="*/ 7991847 w 12356823"/>
              <a:gd name="connsiteY134" fmla="*/ 25603 h 4722863"/>
              <a:gd name="connsiteX135" fmla="*/ 8009583 w 12356823"/>
              <a:gd name="connsiteY135" fmla="*/ 41090 h 4722863"/>
              <a:gd name="connsiteX136" fmla="*/ 8006036 w 12356823"/>
              <a:gd name="connsiteY136" fmla="*/ 53481 h 4722863"/>
              <a:gd name="connsiteX137" fmla="*/ 7998941 w 12356823"/>
              <a:gd name="connsiteY137" fmla="*/ 62772 h 4722863"/>
              <a:gd name="connsiteX138" fmla="*/ 7963469 w 12356823"/>
              <a:gd name="connsiteY138" fmla="*/ 99942 h 4722863"/>
              <a:gd name="connsiteX139" fmla="*/ 7857053 w 12356823"/>
              <a:gd name="connsiteY139" fmla="*/ 183573 h 4722863"/>
              <a:gd name="connsiteX140" fmla="*/ 7818033 w 12356823"/>
              <a:gd name="connsiteY140" fmla="*/ 214548 h 4722863"/>
              <a:gd name="connsiteX141" fmla="*/ 7818033 w 12356823"/>
              <a:gd name="connsiteY141" fmla="*/ 217645 h 4722863"/>
              <a:gd name="connsiteX142" fmla="*/ 7825129 w 12356823"/>
              <a:gd name="connsiteY142" fmla="*/ 223841 h 4722863"/>
              <a:gd name="connsiteX143" fmla="*/ 7828675 w 12356823"/>
              <a:gd name="connsiteY143" fmla="*/ 220743 h 4722863"/>
              <a:gd name="connsiteX144" fmla="*/ 7857053 w 12356823"/>
              <a:gd name="connsiteY144" fmla="*/ 205256 h 4722863"/>
              <a:gd name="connsiteX145" fmla="*/ 7867695 w 12356823"/>
              <a:gd name="connsiteY145" fmla="*/ 202159 h 4722863"/>
              <a:gd name="connsiteX146" fmla="*/ 7871242 w 12356823"/>
              <a:gd name="connsiteY146" fmla="*/ 205256 h 4722863"/>
              <a:gd name="connsiteX147" fmla="*/ 7867695 w 12356823"/>
              <a:gd name="connsiteY147" fmla="*/ 214548 h 4722863"/>
              <a:gd name="connsiteX148" fmla="*/ 7860601 w 12356823"/>
              <a:gd name="connsiteY148" fmla="*/ 230035 h 4722863"/>
              <a:gd name="connsiteX149" fmla="*/ 7786109 w 12356823"/>
              <a:gd name="connsiteY149" fmla="*/ 307471 h 4722863"/>
              <a:gd name="connsiteX150" fmla="*/ 7768373 w 12356823"/>
              <a:gd name="connsiteY150" fmla="*/ 322959 h 4722863"/>
              <a:gd name="connsiteX151" fmla="*/ 7700976 w 12356823"/>
              <a:gd name="connsiteY151" fmla="*/ 400395 h 4722863"/>
              <a:gd name="connsiteX152" fmla="*/ 7576825 w 12356823"/>
              <a:gd name="connsiteY152" fmla="*/ 539780 h 4722863"/>
              <a:gd name="connsiteX153" fmla="*/ 7803845 w 12356823"/>
              <a:gd name="connsiteY153" fmla="*/ 338446 h 4722863"/>
              <a:gd name="connsiteX154" fmla="*/ 7864147 w 12356823"/>
              <a:gd name="connsiteY154" fmla="*/ 279594 h 4722863"/>
              <a:gd name="connsiteX155" fmla="*/ 7874789 w 12356823"/>
              <a:gd name="connsiteY155" fmla="*/ 270301 h 4722863"/>
              <a:gd name="connsiteX156" fmla="*/ 7885431 w 12356823"/>
              <a:gd name="connsiteY156" fmla="*/ 270301 h 4722863"/>
              <a:gd name="connsiteX157" fmla="*/ 7896073 w 12356823"/>
              <a:gd name="connsiteY157" fmla="*/ 279594 h 4722863"/>
              <a:gd name="connsiteX158" fmla="*/ 7910261 w 12356823"/>
              <a:gd name="connsiteY158" fmla="*/ 298179 h 4722863"/>
              <a:gd name="connsiteX159" fmla="*/ 7910261 w 12356823"/>
              <a:gd name="connsiteY159" fmla="*/ 307471 h 4722863"/>
              <a:gd name="connsiteX160" fmla="*/ 7906714 w 12356823"/>
              <a:gd name="connsiteY160" fmla="*/ 316764 h 4722863"/>
              <a:gd name="connsiteX161" fmla="*/ 7896073 w 12356823"/>
              <a:gd name="connsiteY161" fmla="*/ 335348 h 4722863"/>
              <a:gd name="connsiteX162" fmla="*/ 7860601 w 12356823"/>
              <a:gd name="connsiteY162" fmla="*/ 378712 h 4722863"/>
              <a:gd name="connsiteX163" fmla="*/ 7832223 w 12356823"/>
              <a:gd name="connsiteY163" fmla="*/ 406590 h 4722863"/>
              <a:gd name="connsiteX164" fmla="*/ 7828675 w 12356823"/>
              <a:gd name="connsiteY164" fmla="*/ 406590 h 4722863"/>
              <a:gd name="connsiteX165" fmla="*/ 7828675 w 12356823"/>
              <a:gd name="connsiteY165" fmla="*/ 409686 h 4722863"/>
              <a:gd name="connsiteX166" fmla="*/ 7832223 w 12356823"/>
              <a:gd name="connsiteY166" fmla="*/ 409686 h 4722863"/>
              <a:gd name="connsiteX167" fmla="*/ 7853506 w 12356823"/>
              <a:gd name="connsiteY167" fmla="*/ 403492 h 4722863"/>
              <a:gd name="connsiteX168" fmla="*/ 7864147 w 12356823"/>
              <a:gd name="connsiteY168" fmla="*/ 397297 h 4722863"/>
              <a:gd name="connsiteX169" fmla="*/ 7867695 w 12356823"/>
              <a:gd name="connsiteY169" fmla="*/ 397297 h 4722863"/>
              <a:gd name="connsiteX170" fmla="*/ 7871242 w 12356823"/>
              <a:gd name="connsiteY170" fmla="*/ 400395 h 4722863"/>
              <a:gd name="connsiteX171" fmla="*/ 8069885 w 12356823"/>
              <a:gd name="connsiteY171" fmla="*/ 264107 h 4722863"/>
              <a:gd name="connsiteX172" fmla="*/ 8133735 w 12356823"/>
              <a:gd name="connsiteY172" fmla="*/ 220743 h 4722863"/>
              <a:gd name="connsiteX173" fmla="*/ 8137282 w 12356823"/>
              <a:gd name="connsiteY173" fmla="*/ 214548 h 4722863"/>
              <a:gd name="connsiteX174" fmla="*/ 8158566 w 12356823"/>
              <a:gd name="connsiteY174" fmla="*/ 202159 h 4722863"/>
              <a:gd name="connsiteX175" fmla="*/ 8172754 w 12356823"/>
              <a:gd name="connsiteY175" fmla="*/ 192866 h 4722863"/>
              <a:gd name="connsiteX176" fmla="*/ 8194037 w 12356823"/>
              <a:gd name="connsiteY176" fmla="*/ 186670 h 4722863"/>
              <a:gd name="connsiteX177" fmla="*/ 8222415 w 12356823"/>
              <a:gd name="connsiteY177" fmla="*/ 183573 h 4722863"/>
              <a:gd name="connsiteX178" fmla="*/ 8307548 w 12356823"/>
              <a:gd name="connsiteY178" fmla="*/ 177379 h 4722863"/>
              <a:gd name="connsiteX179" fmla="*/ 8399775 w 12356823"/>
              <a:gd name="connsiteY179" fmla="*/ 168086 h 4722863"/>
              <a:gd name="connsiteX180" fmla="*/ 8481361 w 12356823"/>
              <a:gd name="connsiteY180" fmla="*/ 134014 h 4722863"/>
              <a:gd name="connsiteX181" fmla="*/ 8566493 w 12356823"/>
              <a:gd name="connsiteY181" fmla="*/ 106137 h 4722863"/>
              <a:gd name="connsiteX182" fmla="*/ 8662268 w 12356823"/>
              <a:gd name="connsiteY182" fmla="*/ 93748 h 4722863"/>
              <a:gd name="connsiteX183" fmla="*/ 8789968 w 12356823"/>
              <a:gd name="connsiteY183" fmla="*/ 99942 h 4722863"/>
              <a:gd name="connsiteX184" fmla="*/ 8892836 w 12356823"/>
              <a:gd name="connsiteY184" fmla="*/ 118527 h 4722863"/>
              <a:gd name="connsiteX185" fmla="*/ 8999253 w 12356823"/>
              <a:gd name="connsiteY185" fmla="*/ 171183 h 4722863"/>
              <a:gd name="connsiteX186" fmla="*/ 9034725 w 12356823"/>
              <a:gd name="connsiteY186" fmla="*/ 199061 h 4722863"/>
              <a:gd name="connsiteX187" fmla="*/ 9048913 w 12356823"/>
              <a:gd name="connsiteY187" fmla="*/ 226937 h 4722863"/>
              <a:gd name="connsiteX188" fmla="*/ 9034725 w 12356823"/>
              <a:gd name="connsiteY188" fmla="*/ 248619 h 4722863"/>
              <a:gd name="connsiteX189" fmla="*/ 8985063 w 12356823"/>
              <a:gd name="connsiteY189" fmla="*/ 261010 h 4722863"/>
              <a:gd name="connsiteX190" fmla="*/ 8949592 w 12356823"/>
              <a:gd name="connsiteY190" fmla="*/ 257912 h 4722863"/>
              <a:gd name="connsiteX191" fmla="*/ 8899931 w 12356823"/>
              <a:gd name="connsiteY191" fmla="*/ 251717 h 4722863"/>
              <a:gd name="connsiteX192" fmla="*/ 8807704 w 12356823"/>
              <a:gd name="connsiteY192" fmla="*/ 242425 h 4722863"/>
              <a:gd name="connsiteX193" fmla="*/ 8804157 w 12356823"/>
              <a:gd name="connsiteY193" fmla="*/ 242425 h 4722863"/>
              <a:gd name="connsiteX194" fmla="*/ 8800609 w 12356823"/>
              <a:gd name="connsiteY194" fmla="*/ 245523 h 4722863"/>
              <a:gd name="connsiteX195" fmla="*/ 8800609 w 12356823"/>
              <a:gd name="connsiteY195" fmla="*/ 254815 h 4722863"/>
              <a:gd name="connsiteX196" fmla="*/ 8807704 w 12356823"/>
              <a:gd name="connsiteY196" fmla="*/ 282692 h 4722863"/>
              <a:gd name="connsiteX197" fmla="*/ 8807704 w 12356823"/>
              <a:gd name="connsiteY197" fmla="*/ 295082 h 4722863"/>
              <a:gd name="connsiteX198" fmla="*/ 8804157 w 12356823"/>
              <a:gd name="connsiteY198" fmla="*/ 301277 h 4722863"/>
              <a:gd name="connsiteX199" fmla="*/ 8800609 w 12356823"/>
              <a:gd name="connsiteY199" fmla="*/ 304374 h 4722863"/>
              <a:gd name="connsiteX200" fmla="*/ 8786421 w 12356823"/>
              <a:gd name="connsiteY200" fmla="*/ 307471 h 4722863"/>
              <a:gd name="connsiteX201" fmla="*/ 8772232 w 12356823"/>
              <a:gd name="connsiteY201" fmla="*/ 304374 h 4722863"/>
              <a:gd name="connsiteX202" fmla="*/ 8726118 w 12356823"/>
              <a:gd name="connsiteY202" fmla="*/ 295082 h 4722863"/>
              <a:gd name="connsiteX203" fmla="*/ 8555852 w 12356823"/>
              <a:gd name="connsiteY203" fmla="*/ 291984 h 4722863"/>
              <a:gd name="connsiteX204" fmla="*/ 8314643 w 12356823"/>
              <a:gd name="connsiteY204" fmla="*/ 344641 h 4722863"/>
              <a:gd name="connsiteX205" fmla="*/ 8080527 w 12356823"/>
              <a:gd name="connsiteY205" fmla="*/ 440661 h 4722863"/>
              <a:gd name="connsiteX206" fmla="*/ 8059244 w 12356823"/>
              <a:gd name="connsiteY206" fmla="*/ 453051 h 4722863"/>
              <a:gd name="connsiteX207" fmla="*/ 8076981 w 12356823"/>
              <a:gd name="connsiteY207" fmla="*/ 453051 h 4722863"/>
              <a:gd name="connsiteX208" fmla="*/ 8098263 w 12356823"/>
              <a:gd name="connsiteY208" fmla="*/ 456148 h 4722863"/>
              <a:gd name="connsiteX209" fmla="*/ 8165659 w 12356823"/>
              <a:gd name="connsiteY209" fmla="*/ 428272 h 4722863"/>
              <a:gd name="connsiteX210" fmla="*/ 8172754 w 12356823"/>
              <a:gd name="connsiteY210" fmla="*/ 422077 h 4722863"/>
              <a:gd name="connsiteX211" fmla="*/ 8218867 w 12356823"/>
              <a:gd name="connsiteY211" fmla="*/ 391102 h 4722863"/>
              <a:gd name="connsiteX212" fmla="*/ 8272076 w 12356823"/>
              <a:gd name="connsiteY212" fmla="*/ 375615 h 4722863"/>
              <a:gd name="connsiteX213" fmla="*/ 8346567 w 12356823"/>
              <a:gd name="connsiteY213" fmla="*/ 369420 h 4722863"/>
              <a:gd name="connsiteX214" fmla="*/ 8392680 w 12356823"/>
              <a:gd name="connsiteY214" fmla="*/ 375615 h 4722863"/>
              <a:gd name="connsiteX215" fmla="*/ 8417511 w 12356823"/>
              <a:gd name="connsiteY215" fmla="*/ 360128 h 4722863"/>
              <a:gd name="connsiteX216" fmla="*/ 8438794 w 12356823"/>
              <a:gd name="connsiteY216" fmla="*/ 347737 h 4722863"/>
              <a:gd name="connsiteX217" fmla="*/ 8463625 w 12356823"/>
              <a:gd name="connsiteY217" fmla="*/ 341543 h 4722863"/>
              <a:gd name="connsiteX218" fmla="*/ 8531022 w 12356823"/>
              <a:gd name="connsiteY218" fmla="*/ 332250 h 4722863"/>
              <a:gd name="connsiteX219" fmla="*/ 8701287 w 12356823"/>
              <a:gd name="connsiteY219" fmla="*/ 338446 h 4722863"/>
              <a:gd name="connsiteX220" fmla="*/ 8889290 w 12356823"/>
              <a:gd name="connsiteY220" fmla="*/ 347737 h 4722863"/>
              <a:gd name="connsiteX221" fmla="*/ 8974422 w 12356823"/>
              <a:gd name="connsiteY221" fmla="*/ 347737 h 4722863"/>
              <a:gd name="connsiteX222" fmla="*/ 9056008 w 12356823"/>
              <a:gd name="connsiteY222" fmla="*/ 335348 h 4722863"/>
              <a:gd name="connsiteX223" fmla="*/ 9073744 w 12356823"/>
              <a:gd name="connsiteY223" fmla="*/ 332250 h 4722863"/>
              <a:gd name="connsiteX224" fmla="*/ 9098575 w 12356823"/>
              <a:gd name="connsiteY224" fmla="*/ 332250 h 4722863"/>
              <a:gd name="connsiteX225" fmla="*/ 9151783 w 12356823"/>
              <a:gd name="connsiteY225" fmla="*/ 344641 h 4722863"/>
              <a:gd name="connsiteX226" fmla="*/ 9251105 w 12356823"/>
              <a:gd name="connsiteY226" fmla="*/ 391102 h 4722863"/>
              <a:gd name="connsiteX227" fmla="*/ 9283029 w 12356823"/>
              <a:gd name="connsiteY227" fmla="*/ 415882 h 4722863"/>
              <a:gd name="connsiteX228" fmla="*/ 9290123 w 12356823"/>
              <a:gd name="connsiteY228" fmla="*/ 428272 h 4722863"/>
              <a:gd name="connsiteX229" fmla="*/ 9293670 w 12356823"/>
              <a:gd name="connsiteY229" fmla="*/ 434466 h 4722863"/>
              <a:gd name="connsiteX230" fmla="*/ 9290123 w 12356823"/>
              <a:gd name="connsiteY230" fmla="*/ 437564 h 4722863"/>
              <a:gd name="connsiteX231" fmla="*/ 9286577 w 12356823"/>
              <a:gd name="connsiteY231" fmla="*/ 437564 h 4722863"/>
              <a:gd name="connsiteX232" fmla="*/ 9283029 w 12356823"/>
              <a:gd name="connsiteY232" fmla="*/ 440661 h 4722863"/>
              <a:gd name="connsiteX233" fmla="*/ 9272387 w 12356823"/>
              <a:gd name="connsiteY233" fmla="*/ 437564 h 4722863"/>
              <a:gd name="connsiteX234" fmla="*/ 9219179 w 12356823"/>
              <a:gd name="connsiteY234" fmla="*/ 428272 h 4722863"/>
              <a:gd name="connsiteX235" fmla="*/ 9123405 w 12356823"/>
              <a:gd name="connsiteY235" fmla="*/ 409686 h 4722863"/>
              <a:gd name="connsiteX236" fmla="*/ 9109216 w 12356823"/>
              <a:gd name="connsiteY236" fmla="*/ 409686 h 4722863"/>
              <a:gd name="connsiteX237" fmla="*/ 9102121 w 12356823"/>
              <a:gd name="connsiteY237" fmla="*/ 409686 h 4722863"/>
              <a:gd name="connsiteX238" fmla="*/ 9091480 w 12356823"/>
              <a:gd name="connsiteY238" fmla="*/ 418979 h 4722863"/>
              <a:gd name="connsiteX239" fmla="*/ 9080838 w 12356823"/>
              <a:gd name="connsiteY239" fmla="*/ 490220 h 4722863"/>
              <a:gd name="connsiteX240" fmla="*/ 9073744 w 12356823"/>
              <a:gd name="connsiteY240" fmla="*/ 505708 h 4722863"/>
              <a:gd name="connsiteX241" fmla="*/ 9073744 w 12356823"/>
              <a:gd name="connsiteY241" fmla="*/ 508806 h 4722863"/>
              <a:gd name="connsiteX242" fmla="*/ 9073744 w 12356823"/>
              <a:gd name="connsiteY242" fmla="*/ 511902 h 4722863"/>
              <a:gd name="connsiteX243" fmla="*/ 9077292 w 12356823"/>
              <a:gd name="connsiteY243" fmla="*/ 511902 h 4722863"/>
              <a:gd name="connsiteX244" fmla="*/ 9080838 w 12356823"/>
              <a:gd name="connsiteY244" fmla="*/ 511902 h 4722863"/>
              <a:gd name="connsiteX245" fmla="*/ 9087933 w 12356823"/>
              <a:gd name="connsiteY245" fmla="*/ 511902 h 4722863"/>
              <a:gd name="connsiteX246" fmla="*/ 9105669 w 12356823"/>
              <a:gd name="connsiteY246" fmla="*/ 505708 h 4722863"/>
              <a:gd name="connsiteX247" fmla="*/ 9165971 w 12356823"/>
              <a:gd name="connsiteY247" fmla="*/ 493318 h 4722863"/>
              <a:gd name="connsiteX248" fmla="*/ 9254651 w 12356823"/>
              <a:gd name="connsiteY248" fmla="*/ 502610 h 4722863"/>
              <a:gd name="connsiteX249" fmla="*/ 9357520 w 12356823"/>
              <a:gd name="connsiteY249" fmla="*/ 552169 h 4722863"/>
              <a:gd name="connsiteX250" fmla="*/ 9414037 w 12356823"/>
              <a:gd name="connsiteY250" fmla="*/ 610774 h 4722863"/>
              <a:gd name="connsiteX251" fmla="*/ 9469207 w 12356823"/>
              <a:gd name="connsiteY251" fmla="*/ 588878 h 4722863"/>
              <a:gd name="connsiteX252" fmla="*/ 9466344 w 12356823"/>
              <a:gd name="connsiteY252" fmla="*/ 587049 h 4722863"/>
              <a:gd name="connsiteX253" fmla="*/ 9473439 w 12356823"/>
              <a:gd name="connsiteY253" fmla="*/ 587049 h 4722863"/>
              <a:gd name="connsiteX254" fmla="*/ 9473439 w 12356823"/>
              <a:gd name="connsiteY254" fmla="*/ 574758 h 4722863"/>
              <a:gd name="connsiteX255" fmla="*/ 9476987 w 12356823"/>
              <a:gd name="connsiteY255" fmla="*/ 571686 h 4722863"/>
              <a:gd name="connsiteX256" fmla="*/ 9487629 w 12356823"/>
              <a:gd name="connsiteY256" fmla="*/ 571686 h 4722863"/>
              <a:gd name="connsiteX257" fmla="*/ 9501534 w 12356823"/>
              <a:gd name="connsiteY257" fmla="*/ 574095 h 4722863"/>
              <a:gd name="connsiteX258" fmla="*/ 9828801 w 12356823"/>
              <a:gd name="connsiteY258" fmla="*/ 412784 h 4722863"/>
              <a:gd name="connsiteX259" fmla="*/ 9899745 w 12356823"/>
              <a:gd name="connsiteY259" fmla="*/ 363226 h 4722863"/>
              <a:gd name="connsiteX260" fmla="*/ 9956501 w 12356823"/>
              <a:gd name="connsiteY260" fmla="*/ 332250 h 4722863"/>
              <a:gd name="connsiteX261" fmla="*/ 9988425 w 12356823"/>
              <a:gd name="connsiteY261" fmla="*/ 322959 h 4722863"/>
              <a:gd name="connsiteX262" fmla="*/ 9991973 w 12356823"/>
              <a:gd name="connsiteY262" fmla="*/ 350835 h 4722863"/>
              <a:gd name="connsiteX263" fmla="*/ 9988425 w 12356823"/>
              <a:gd name="connsiteY263" fmla="*/ 353933 h 4722863"/>
              <a:gd name="connsiteX264" fmla="*/ 9984878 w 12356823"/>
              <a:gd name="connsiteY264" fmla="*/ 363226 h 4722863"/>
              <a:gd name="connsiteX265" fmla="*/ 9963595 w 12356823"/>
              <a:gd name="connsiteY265" fmla="*/ 381810 h 4722863"/>
              <a:gd name="connsiteX266" fmla="*/ 9885556 w 12356823"/>
              <a:gd name="connsiteY266" fmla="*/ 449953 h 4722863"/>
              <a:gd name="connsiteX267" fmla="*/ 9821707 w 12356823"/>
              <a:gd name="connsiteY267" fmla="*/ 508806 h 4722863"/>
              <a:gd name="connsiteX268" fmla="*/ 10070011 w 12356823"/>
              <a:gd name="connsiteY268" fmla="*/ 316764 h 4722863"/>
              <a:gd name="connsiteX269" fmla="*/ 10353787 w 12356823"/>
              <a:gd name="connsiteY269" fmla="*/ 93748 h 4722863"/>
              <a:gd name="connsiteX270" fmla="*/ 10431825 w 12356823"/>
              <a:gd name="connsiteY270" fmla="*/ 41090 h 4722863"/>
              <a:gd name="connsiteX271" fmla="*/ 10492129 w 12356823"/>
              <a:gd name="connsiteY271" fmla="*/ 10116 h 4722863"/>
              <a:gd name="connsiteX272" fmla="*/ 10531147 w 12356823"/>
              <a:gd name="connsiteY272" fmla="*/ 824 h 4722863"/>
              <a:gd name="connsiteX273" fmla="*/ 10534695 w 12356823"/>
              <a:gd name="connsiteY273" fmla="*/ 25603 h 4722863"/>
              <a:gd name="connsiteX274" fmla="*/ 10534695 w 12356823"/>
              <a:gd name="connsiteY274" fmla="*/ 31799 h 4722863"/>
              <a:gd name="connsiteX275" fmla="*/ 10527601 w 12356823"/>
              <a:gd name="connsiteY275" fmla="*/ 37994 h 4722863"/>
              <a:gd name="connsiteX276" fmla="*/ 10502770 w 12356823"/>
              <a:gd name="connsiteY276" fmla="*/ 56578 h 4722863"/>
              <a:gd name="connsiteX277" fmla="*/ 10421184 w 12356823"/>
              <a:gd name="connsiteY277" fmla="*/ 127819 h 4722863"/>
              <a:gd name="connsiteX278" fmla="*/ 10183521 w 12356823"/>
              <a:gd name="connsiteY278" fmla="*/ 335348 h 4722863"/>
              <a:gd name="connsiteX279" fmla="*/ 9942311 w 12356823"/>
              <a:gd name="connsiteY279" fmla="*/ 549072 h 4722863"/>
              <a:gd name="connsiteX280" fmla="*/ 9949405 w 12356823"/>
              <a:gd name="connsiteY280" fmla="*/ 545975 h 4722863"/>
              <a:gd name="connsiteX281" fmla="*/ 9970690 w 12356823"/>
              <a:gd name="connsiteY281" fmla="*/ 533584 h 4722863"/>
              <a:gd name="connsiteX282" fmla="*/ 10428279 w 12356823"/>
              <a:gd name="connsiteY282" fmla="*/ 171183 h 4722863"/>
              <a:gd name="connsiteX283" fmla="*/ 10587902 w 12356823"/>
              <a:gd name="connsiteY283" fmla="*/ 50383 h 4722863"/>
              <a:gd name="connsiteX284" fmla="*/ 10616281 w 12356823"/>
              <a:gd name="connsiteY284" fmla="*/ 31799 h 4722863"/>
              <a:gd name="connsiteX285" fmla="*/ 10637564 w 12356823"/>
              <a:gd name="connsiteY285" fmla="*/ 22506 h 4722863"/>
              <a:gd name="connsiteX286" fmla="*/ 10658847 w 12356823"/>
              <a:gd name="connsiteY286" fmla="*/ 25603 h 4722863"/>
              <a:gd name="connsiteX287" fmla="*/ 10676583 w 12356823"/>
              <a:gd name="connsiteY287" fmla="*/ 41090 h 4722863"/>
              <a:gd name="connsiteX288" fmla="*/ 10673036 w 12356823"/>
              <a:gd name="connsiteY288" fmla="*/ 53481 h 4722863"/>
              <a:gd name="connsiteX289" fmla="*/ 10665941 w 12356823"/>
              <a:gd name="connsiteY289" fmla="*/ 62772 h 4722863"/>
              <a:gd name="connsiteX290" fmla="*/ 10630469 w 12356823"/>
              <a:gd name="connsiteY290" fmla="*/ 99942 h 4722863"/>
              <a:gd name="connsiteX291" fmla="*/ 10524053 w 12356823"/>
              <a:gd name="connsiteY291" fmla="*/ 183573 h 4722863"/>
              <a:gd name="connsiteX292" fmla="*/ 10485033 w 12356823"/>
              <a:gd name="connsiteY292" fmla="*/ 214548 h 4722863"/>
              <a:gd name="connsiteX293" fmla="*/ 10485033 w 12356823"/>
              <a:gd name="connsiteY293" fmla="*/ 217645 h 4722863"/>
              <a:gd name="connsiteX294" fmla="*/ 10492129 w 12356823"/>
              <a:gd name="connsiteY294" fmla="*/ 223841 h 4722863"/>
              <a:gd name="connsiteX295" fmla="*/ 10495675 w 12356823"/>
              <a:gd name="connsiteY295" fmla="*/ 220743 h 4722863"/>
              <a:gd name="connsiteX296" fmla="*/ 10524053 w 12356823"/>
              <a:gd name="connsiteY296" fmla="*/ 205256 h 4722863"/>
              <a:gd name="connsiteX297" fmla="*/ 10534695 w 12356823"/>
              <a:gd name="connsiteY297" fmla="*/ 202159 h 4722863"/>
              <a:gd name="connsiteX298" fmla="*/ 10538242 w 12356823"/>
              <a:gd name="connsiteY298" fmla="*/ 205256 h 4722863"/>
              <a:gd name="connsiteX299" fmla="*/ 10534695 w 12356823"/>
              <a:gd name="connsiteY299" fmla="*/ 214548 h 4722863"/>
              <a:gd name="connsiteX300" fmla="*/ 10527601 w 12356823"/>
              <a:gd name="connsiteY300" fmla="*/ 230035 h 4722863"/>
              <a:gd name="connsiteX301" fmla="*/ 10453109 w 12356823"/>
              <a:gd name="connsiteY301" fmla="*/ 307471 h 4722863"/>
              <a:gd name="connsiteX302" fmla="*/ 10435373 w 12356823"/>
              <a:gd name="connsiteY302" fmla="*/ 322959 h 4722863"/>
              <a:gd name="connsiteX303" fmla="*/ 10367976 w 12356823"/>
              <a:gd name="connsiteY303" fmla="*/ 400395 h 4722863"/>
              <a:gd name="connsiteX304" fmla="*/ 10243825 w 12356823"/>
              <a:gd name="connsiteY304" fmla="*/ 539780 h 4722863"/>
              <a:gd name="connsiteX305" fmla="*/ 10470845 w 12356823"/>
              <a:gd name="connsiteY305" fmla="*/ 338446 h 4722863"/>
              <a:gd name="connsiteX306" fmla="*/ 10531147 w 12356823"/>
              <a:gd name="connsiteY306" fmla="*/ 279594 h 4722863"/>
              <a:gd name="connsiteX307" fmla="*/ 10541789 w 12356823"/>
              <a:gd name="connsiteY307" fmla="*/ 270301 h 4722863"/>
              <a:gd name="connsiteX308" fmla="*/ 10552431 w 12356823"/>
              <a:gd name="connsiteY308" fmla="*/ 270301 h 4722863"/>
              <a:gd name="connsiteX309" fmla="*/ 10563073 w 12356823"/>
              <a:gd name="connsiteY309" fmla="*/ 279594 h 4722863"/>
              <a:gd name="connsiteX310" fmla="*/ 10577261 w 12356823"/>
              <a:gd name="connsiteY310" fmla="*/ 298179 h 4722863"/>
              <a:gd name="connsiteX311" fmla="*/ 10577261 w 12356823"/>
              <a:gd name="connsiteY311" fmla="*/ 307471 h 4722863"/>
              <a:gd name="connsiteX312" fmla="*/ 10573714 w 12356823"/>
              <a:gd name="connsiteY312" fmla="*/ 316764 h 4722863"/>
              <a:gd name="connsiteX313" fmla="*/ 10563073 w 12356823"/>
              <a:gd name="connsiteY313" fmla="*/ 335348 h 4722863"/>
              <a:gd name="connsiteX314" fmla="*/ 10527601 w 12356823"/>
              <a:gd name="connsiteY314" fmla="*/ 378712 h 4722863"/>
              <a:gd name="connsiteX315" fmla="*/ 10499223 w 12356823"/>
              <a:gd name="connsiteY315" fmla="*/ 406590 h 4722863"/>
              <a:gd name="connsiteX316" fmla="*/ 10495675 w 12356823"/>
              <a:gd name="connsiteY316" fmla="*/ 406590 h 4722863"/>
              <a:gd name="connsiteX317" fmla="*/ 10495675 w 12356823"/>
              <a:gd name="connsiteY317" fmla="*/ 409686 h 4722863"/>
              <a:gd name="connsiteX318" fmla="*/ 10499223 w 12356823"/>
              <a:gd name="connsiteY318" fmla="*/ 409686 h 4722863"/>
              <a:gd name="connsiteX319" fmla="*/ 10520506 w 12356823"/>
              <a:gd name="connsiteY319" fmla="*/ 403492 h 4722863"/>
              <a:gd name="connsiteX320" fmla="*/ 10531147 w 12356823"/>
              <a:gd name="connsiteY320" fmla="*/ 397297 h 4722863"/>
              <a:gd name="connsiteX321" fmla="*/ 10534695 w 12356823"/>
              <a:gd name="connsiteY321" fmla="*/ 397297 h 4722863"/>
              <a:gd name="connsiteX322" fmla="*/ 10538242 w 12356823"/>
              <a:gd name="connsiteY322" fmla="*/ 400395 h 4722863"/>
              <a:gd name="connsiteX323" fmla="*/ 10736885 w 12356823"/>
              <a:gd name="connsiteY323" fmla="*/ 264107 h 4722863"/>
              <a:gd name="connsiteX324" fmla="*/ 10800735 w 12356823"/>
              <a:gd name="connsiteY324" fmla="*/ 220743 h 4722863"/>
              <a:gd name="connsiteX325" fmla="*/ 10804282 w 12356823"/>
              <a:gd name="connsiteY325" fmla="*/ 214548 h 4722863"/>
              <a:gd name="connsiteX326" fmla="*/ 10825566 w 12356823"/>
              <a:gd name="connsiteY326" fmla="*/ 202159 h 4722863"/>
              <a:gd name="connsiteX327" fmla="*/ 10839754 w 12356823"/>
              <a:gd name="connsiteY327" fmla="*/ 192866 h 4722863"/>
              <a:gd name="connsiteX328" fmla="*/ 10861037 w 12356823"/>
              <a:gd name="connsiteY328" fmla="*/ 186670 h 4722863"/>
              <a:gd name="connsiteX329" fmla="*/ 10889415 w 12356823"/>
              <a:gd name="connsiteY329" fmla="*/ 183573 h 4722863"/>
              <a:gd name="connsiteX330" fmla="*/ 10974548 w 12356823"/>
              <a:gd name="connsiteY330" fmla="*/ 177379 h 4722863"/>
              <a:gd name="connsiteX331" fmla="*/ 11066775 w 12356823"/>
              <a:gd name="connsiteY331" fmla="*/ 168086 h 4722863"/>
              <a:gd name="connsiteX332" fmla="*/ 11148361 w 12356823"/>
              <a:gd name="connsiteY332" fmla="*/ 134014 h 4722863"/>
              <a:gd name="connsiteX333" fmla="*/ 11233493 w 12356823"/>
              <a:gd name="connsiteY333" fmla="*/ 106137 h 4722863"/>
              <a:gd name="connsiteX334" fmla="*/ 11329268 w 12356823"/>
              <a:gd name="connsiteY334" fmla="*/ 93748 h 4722863"/>
              <a:gd name="connsiteX335" fmla="*/ 11456968 w 12356823"/>
              <a:gd name="connsiteY335" fmla="*/ 99942 h 4722863"/>
              <a:gd name="connsiteX336" fmla="*/ 11559836 w 12356823"/>
              <a:gd name="connsiteY336" fmla="*/ 118527 h 4722863"/>
              <a:gd name="connsiteX337" fmla="*/ 11666253 w 12356823"/>
              <a:gd name="connsiteY337" fmla="*/ 171183 h 4722863"/>
              <a:gd name="connsiteX338" fmla="*/ 11701725 w 12356823"/>
              <a:gd name="connsiteY338" fmla="*/ 199061 h 4722863"/>
              <a:gd name="connsiteX339" fmla="*/ 11715913 w 12356823"/>
              <a:gd name="connsiteY339" fmla="*/ 226937 h 4722863"/>
              <a:gd name="connsiteX340" fmla="*/ 11701725 w 12356823"/>
              <a:gd name="connsiteY340" fmla="*/ 248619 h 4722863"/>
              <a:gd name="connsiteX341" fmla="*/ 11652063 w 12356823"/>
              <a:gd name="connsiteY341" fmla="*/ 261010 h 4722863"/>
              <a:gd name="connsiteX342" fmla="*/ 11616592 w 12356823"/>
              <a:gd name="connsiteY342" fmla="*/ 257912 h 4722863"/>
              <a:gd name="connsiteX343" fmla="*/ 11566931 w 12356823"/>
              <a:gd name="connsiteY343" fmla="*/ 251717 h 4722863"/>
              <a:gd name="connsiteX344" fmla="*/ 11474704 w 12356823"/>
              <a:gd name="connsiteY344" fmla="*/ 242425 h 4722863"/>
              <a:gd name="connsiteX345" fmla="*/ 11471157 w 12356823"/>
              <a:gd name="connsiteY345" fmla="*/ 242425 h 4722863"/>
              <a:gd name="connsiteX346" fmla="*/ 11467609 w 12356823"/>
              <a:gd name="connsiteY346" fmla="*/ 245523 h 4722863"/>
              <a:gd name="connsiteX347" fmla="*/ 11467609 w 12356823"/>
              <a:gd name="connsiteY347" fmla="*/ 254815 h 4722863"/>
              <a:gd name="connsiteX348" fmla="*/ 11474704 w 12356823"/>
              <a:gd name="connsiteY348" fmla="*/ 282692 h 4722863"/>
              <a:gd name="connsiteX349" fmla="*/ 11474704 w 12356823"/>
              <a:gd name="connsiteY349" fmla="*/ 295082 h 4722863"/>
              <a:gd name="connsiteX350" fmla="*/ 11471157 w 12356823"/>
              <a:gd name="connsiteY350" fmla="*/ 301277 h 4722863"/>
              <a:gd name="connsiteX351" fmla="*/ 11467609 w 12356823"/>
              <a:gd name="connsiteY351" fmla="*/ 304374 h 4722863"/>
              <a:gd name="connsiteX352" fmla="*/ 11453421 w 12356823"/>
              <a:gd name="connsiteY352" fmla="*/ 307471 h 4722863"/>
              <a:gd name="connsiteX353" fmla="*/ 11439232 w 12356823"/>
              <a:gd name="connsiteY353" fmla="*/ 304374 h 4722863"/>
              <a:gd name="connsiteX354" fmla="*/ 11393118 w 12356823"/>
              <a:gd name="connsiteY354" fmla="*/ 295082 h 4722863"/>
              <a:gd name="connsiteX355" fmla="*/ 11222852 w 12356823"/>
              <a:gd name="connsiteY355" fmla="*/ 291984 h 4722863"/>
              <a:gd name="connsiteX356" fmla="*/ 10981643 w 12356823"/>
              <a:gd name="connsiteY356" fmla="*/ 344641 h 4722863"/>
              <a:gd name="connsiteX357" fmla="*/ 10747527 w 12356823"/>
              <a:gd name="connsiteY357" fmla="*/ 440661 h 4722863"/>
              <a:gd name="connsiteX358" fmla="*/ 10726244 w 12356823"/>
              <a:gd name="connsiteY358" fmla="*/ 453051 h 4722863"/>
              <a:gd name="connsiteX359" fmla="*/ 10743981 w 12356823"/>
              <a:gd name="connsiteY359" fmla="*/ 453051 h 4722863"/>
              <a:gd name="connsiteX360" fmla="*/ 10765263 w 12356823"/>
              <a:gd name="connsiteY360" fmla="*/ 456148 h 4722863"/>
              <a:gd name="connsiteX361" fmla="*/ 10832659 w 12356823"/>
              <a:gd name="connsiteY361" fmla="*/ 428272 h 4722863"/>
              <a:gd name="connsiteX362" fmla="*/ 10839754 w 12356823"/>
              <a:gd name="connsiteY362" fmla="*/ 422077 h 4722863"/>
              <a:gd name="connsiteX363" fmla="*/ 10885867 w 12356823"/>
              <a:gd name="connsiteY363" fmla="*/ 391102 h 4722863"/>
              <a:gd name="connsiteX364" fmla="*/ 10939076 w 12356823"/>
              <a:gd name="connsiteY364" fmla="*/ 375615 h 4722863"/>
              <a:gd name="connsiteX365" fmla="*/ 11013567 w 12356823"/>
              <a:gd name="connsiteY365" fmla="*/ 369420 h 4722863"/>
              <a:gd name="connsiteX366" fmla="*/ 11059680 w 12356823"/>
              <a:gd name="connsiteY366" fmla="*/ 375615 h 4722863"/>
              <a:gd name="connsiteX367" fmla="*/ 11084511 w 12356823"/>
              <a:gd name="connsiteY367" fmla="*/ 360128 h 4722863"/>
              <a:gd name="connsiteX368" fmla="*/ 11105794 w 12356823"/>
              <a:gd name="connsiteY368" fmla="*/ 347737 h 4722863"/>
              <a:gd name="connsiteX369" fmla="*/ 11130625 w 12356823"/>
              <a:gd name="connsiteY369" fmla="*/ 341543 h 4722863"/>
              <a:gd name="connsiteX370" fmla="*/ 11198022 w 12356823"/>
              <a:gd name="connsiteY370" fmla="*/ 332250 h 4722863"/>
              <a:gd name="connsiteX371" fmla="*/ 11368287 w 12356823"/>
              <a:gd name="connsiteY371" fmla="*/ 338446 h 4722863"/>
              <a:gd name="connsiteX372" fmla="*/ 11556290 w 12356823"/>
              <a:gd name="connsiteY372" fmla="*/ 347737 h 4722863"/>
              <a:gd name="connsiteX373" fmla="*/ 11641422 w 12356823"/>
              <a:gd name="connsiteY373" fmla="*/ 347737 h 4722863"/>
              <a:gd name="connsiteX374" fmla="*/ 11723008 w 12356823"/>
              <a:gd name="connsiteY374" fmla="*/ 335348 h 4722863"/>
              <a:gd name="connsiteX375" fmla="*/ 11740744 w 12356823"/>
              <a:gd name="connsiteY375" fmla="*/ 332250 h 4722863"/>
              <a:gd name="connsiteX376" fmla="*/ 11765575 w 12356823"/>
              <a:gd name="connsiteY376" fmla="*/ 332250 h 4722863"/>
              <a:gd name="connsiteX377" fmla="*/ 11818783 w 12356823"/>
              <a:gd name="connsiteY377" fmla="*/ 344641 h 4722863"/>
              <a:gd name="connsiteX378" fmla="*/ 11918105 w 12356823"/>
              <a:gd name="connsiteY378" fmla="*/ 391102 h 4722863"/>
              <a:gd name="connsiteX379" fmla="*/ 11950029 w 12356823"/>
              <a:gd name="connsiteY379" fmla="*/ 415882 h 4722863"/>
              <a:gd name="connsiteX380" fmla="*/ 11957123 w 12356823"/>
              <a:gd name="connsiteY380" fmla="*/ 428272 h 4722863"/>
              <a:gd name="connsiteX381" fmla="*/ 11960670 w 12356823"/>
              <a:gd name="connsiteY381" fmla="*/ 434466 h 4722863"/>
              <a:gd name="connsiteX382" fmla="*/ 11957123 w 12356823"/>
              <a:gd name="connsiteY382" fmla="*/ 437564 h 4722863"/>
              <a:gd name="connsiteX383" fmla="*/ 11953577 w 12356823"/>
              <a:gd name="connsiteY383" fmla="*/ 437564 h 4722863"/>
              <a:gd name="connsiteX384" fmla="*/ 11950029 w 12356823"/>
              <a:gd name="connsiteY384" fmla="*/ 440661 h 4722863"/>
              <a:gd name="connsiteX385" fmla="*/ 11939387 w 12356823"/>
              <a:gd name="connsiteY385" fmla="*/ 437564 h 4722863"/>
              <a:gd name="connsiteX386" fmla="*/ 11886179 w 12356823"/>
              <a:gd name="connsiteY386" fmla="*/ 428272 h 4722863"/>
              <a:gd name="connsiteX387" fmla="*/ 11790405 w 12356823"/>
              <a:gd name="connsiteY387" fmla="*/ 409686 h 4722863"/>
              <a:gd name="connsiteX388" fmla="*/ 11776216 w 12356823"/>
              <a:gd name="connsiteY388" fmla="*/ 409686 h 4722863"/>
              <a:gd name="connsiteX389" fmla="*/ 11769121 w 12356823"/>
              <a:gd name="connsiteY389" fmla="*/ 409686 h 4722863"/>
              <a:gd name="connsiteX390" fmla="*/ 11758480 w 12356823"/>
              <a:gd name="connsiteY390" fmla="*/ 418979 h 4722863"/>
              <a:gd name="connsiteX391" fmla="*/ 11747838 w 12356823"/>
              <a:gd name="connsiteY391" fmla="*/ 490220 h 4722863"/>
              <a:gd name="connsiteX392" fmla="*/ 11740744 w 12356823"/>
              <a:gd name="connsiteY392" fmla="*/ 505708 h 4722863"/>
              <a:gd name="connsiteX393" fmla="*/ 11740744 w 12356823"/>
              <a:gd name="connsiteY393" fmla="*/ 508806 h 4722863"/>
              <a:gd name="connsiteX394" fmla="*/ 11740744 w 12356823"/>
              <a:gd name="connsiteY394" fmla="*/ 511902 h 4722863"/>
              <a:gd name="connsiteX395" fmla="*/ 11744292 w 12356823"/>
              <a:gd name="connsiteY395" fmla="*/ 511902 h 4722863"/>
              <a:gd name="connsiteX396" fmla="*/ 11747838 w 12356823"/>
              <a:gd name="connsiteY396" fmla="*/ 511902 h 4722863"/>
              <a:gd name="connsiteX397" fmla="*/ 11754933 w 12356823"/>
              <a:gd name="connsiteY397" fmla="*/ 511902 h 4722863"/>
              <a:gd name="connsiteX398" fmla="*/ 11772669 w 12356823"/>
              <a:gd name="connsiteY398" fmla="*/ 505708 h 4722863"/>
              <a:gd name="connsiteX399" fmla="*/ 11832971 w 12356823"/>
              <a:gd name="connsiteY399" fmla="*/ 493318 h 4722863"/>
              <a:gd name="connsiteX400" fmla="*/ 11921651 w 12356823"/>
              <a:gd name="connsiteY400" fmla="*/ 502610 h 4722863"/>
              <a:gd name="connsiteX401" fmla="*/ 12024520 w 12356823"/>
              <a:gd name="connsiteY401" fmla="*/ 552169 h 4722863"/>
              <a:gd name="connsiteX402" fmla="*/ 12081276 w 12356823"/>
              <a:gd name="connsiteY402" fmla="*/ 611022 h 4722863"/>
              <a:gd name="connsiteX403" fmla="*/ 12141578 w 12356823"/>
              <a:gd name="connsiteY403" fmla="*/ 663677 h 4722863"/>
              <a:gd name="connsiteX404" fmla="*/ 12184145 w 12356823"/>
              <a:gd name="connsiteY404" fmla="*/ 682262 h 4722863"/>
              <a:gd name="connsiteX405" fmla="*/ 12247994 w 12356823"/>
              <a:gd name="connsiteY405" fmla="*/ 697749 h 4722863"/>
              <a:gd name="connsiteX406" fmla="*/ 12255089 w 12356823"/>
              <a:gd name="connsiteY406" fmla="*/ 697749 h 4722863"/>
              <a:gd name="connsiteX407" fmla="*/ 12262184 w 12356823"/>
              <a:gd name="connsiteY407" fmla="*/ 703944 h 4722863"/>
              <a:gd name="connsiteX408" fmla="*/ 12272825 w 12356823"/>
              <a:gd name="connsiteY408" fmla="*/ 713236 h 4722863"/>
              <a:gd name="connsiteX409" fmla="*/ 12297654 w 12356823"/>
              <a:gd name="connsiteY409" fmla="*/ 738016 h 4722863"/>
              <a:gd name="connsiteX410" fmla="*/ 12304749 w 12356823"/>
              <a:gd name="connsiteY410" fmla="*/ 762796 h 4722863"/>
              <a:gd name="connsiteX411" fmla="*/ 12304749 w 12356823"/>
              <a:gd name="connsiteY411" fmla="*/ 768991 h 4722863"/>
              <a:gd name="connsiteX412" fmla="*/ 12297654 w 12356823"/>
              <a:gd name="connsiteY412" fmla="*/ 772087 h 4722863"/>
              <a:gd name="connsiteX413" fmla="*/ 12294108 w 12356823"/>
              <a:gd name="connsiteY413" fmla="*/ 772087 h 4722863"/>
              <a:gd name="connsiteX414" fmla="*/ 12279920 w 12356823"/>
              <a:gd name="connsiteY414" fmla="*/ 768991 h 4722863"/>
              <a:gd name="connsiteX415" fmla="*/ 12262184 w 12356823"/>
              <a:gd name="connsiteY415" fmla="*/ 762796 h 4722863"/>
              <a:gd name="connsiteX416" fmla="*/ 12194786 w 12356823"/>
              <a:gd name="connsiteY416" fmla="*/ 738016 h 4722863"/>
              <a:gd name="connsiteX417" fmla="*/ 12010332 w 12356823"/>
              <a:gd name="connsiteY417" fmla="*/ 676067 h 4722863"/>
              <a:gd name="connsiteX418" fmla="*/ 11829424 w 12356823"/>
              <a:gd name="connsiteY418" fmla="*/ 635800 h 4722863"/>
              <a:gd name="connsiteX419" fmla="*/ 11769121 w 12356823"/>
              <a:gd name="connsiteY419" fmla="*/ 626508 h 4722863"/>
              <a:gd name="connsiteX420" fmla="*/ 11751385 w 12356823"/>
              <a:gd name="connsiteY420" fmla="*/ 626508 h 4722863"/>
              <a:gd name="connsiteX421" fmla="*/ 11747838 w 12356823"/>
              <a:gd name="connsiteY421" fmla="*/ 629606 h 4722863"/>
              <a:gd name="connsiteX422" fmla="*/ 11744292 w 12356823"/>
              <a:gd name="connsiteY422" fmla="*/ 629606 h 4722863"/>
              <a:gd name="connsiteX423" fmla="*/ 11730102 w 12356823"/>
              <a:gd name="connsiteY423" fmla="*/ 660580 h 4722863"/>
              <a:gd name="connsiteX424" fmla="*/ 11730102 w 12356823"/>
              <a:gd name="connsiteY424" fmla="*/ 663677 h 4722863"/>
              <a:gd name="connsiteX425" fmla="*/ 11740744 w 12356823"/>
              <a:gd name="connsiteY425" fmla="*/ 663677 h 4722863"/>
              <a:gd name="connsiteX426" fmla="*/ 11779764 w 12356823"/>
              <a:gd name="connsiteY426" fmla="*/ 666775 h 4722863"/>
              <a:gd name="connsiteX427" fmla="*/ 12006784 w 12356823"/>
              <a:gd name="connsiteY427" fmla="*/ 734918 h 4722863"/>
              <a:gd name="connsiteX428" fmla="*/ 12091917 w 12356823"/>
              <a:gd name="connsiteY428" fmla="*/ 793769 h 4722863"/>
              <a:gd name="connsiteX429" fmla="*/ 12113200 w 12356823"/>
              <a:gd name="connsiteY429" fmla="*/ 824743 h 4722863"/>
              <a:gd name="connsiteX430" fmla="*/ 12106105 w 12356823"/>
              <a:gd name="connsiteY430" fmla="*/ 852621 h 4722863"/>
              <a:gd name="connsiteX431" fmla="*/ 12095464 w 12356823"/>
              <a:gd name="connsiteY431" fmla="*/ 858816 h 4722863"/>
              <a:gd name="connsiteX432" fmla="*/ 12074181 w 12356823"/>
              <a:gd name="connsiteY432" fmla="*/ 865011 h 4722863"/>
              <a:gd name="connsiteX433" fmla="*/ 12013878 w 12356823"/>
              <a:gd name="connsiteY433" fmla="*/ 865011 h 4722863"/>
              <a:gd name="connsiteX434" fmla="*/ 11836519 w 12356823"/>
              <a:gd name="connsiteY434" fmla="*/ 834036 h 4722863"/>
              <a:gd name="connsiteX435" fmla="*/ 11641422 w 12356823"/>
              <a:gd name="connsiteY435" fmla="*/ 812355 h 4722863"/>
              <a:gd name="connsiteX436" fmla="*/ 11574026 w 12356823"/>
              <a:gd name="connsiteY436" fmla="*/ 812355 h 4722863"/>
              <a:gd name="connsiteX437" fmla="*/ 11591762 w 12356823"/>
              <a:gd name="connsiteY437" fmla="*/ 827841 h 4722863"/>
              <a:gd name="connsiteX438" fmla="*/ 11602403 w 12356823"/>
              <a:gd name="connsiteY438" fmla="*/ 849523 h 4722863"/>
              <a:gd name="connsiteX439" fmla="*/ 11605950 w 12356823"/>
              <a:gd name="connsiteY439" fmla="*/ 858816 h 4722863"/>
              <a:gd name="connsiteX440" fmla="*/ 11602403 w 12356823"/>
              <a:gd name="connsiteY440" fmla="*/ 861914 h 4722863"/>
              <a:gd name="connsiteX441" fmla="*/ 11598856 w 12356823"/>
              <a:gd name="connsiteY441" fmla="*/ 861914 h 4722863"/>
              <a:gd name="connsiteX442" fmla="*/ 11591762 w 12356823"/>
              <a:gd name="connsiteY442" fmla="*/ 865011 h 4722863"/>
              <a:gd name="connsiteX443" fmla="*/ 11577572 w 12356823"/>
              <a:gd name="connsiteY443" fmla="*/ 865011 h 4722863"/>
              <a:gd name="connsiteX444" fmla="*/ 11531459 w 12356823"/>
              <a:gd name="connsiteY444" fmla="*/ 865011 h 4722863"/>
              <a:gd name="connsiteX445" fmla="*/ 11414401 w 12356823"/>
              <a:gd name="connsiteY445" fmla="*/ 861914 h 4722863"/>
              <a:gd name="connsiteX446" fmla="*/ 11297343 w 12356823"/>
              <a:gd name="connsiteY446" fmla="*/ 865011 h 4722863"/>
              <a:gd name="connsiteX447" fmla="*/ 11261872 w 12356823"/>
              <a:gd name="connsiteY447" fmla="*/ 868108 h 4722863"/>
              <a:gd name="connsiteX448" fmla="*/ 11251229 w 12356823"/>
              <a:gd name="connsiteY448" fmla="*/ 868108 h 4722863"/>
              <a:gd name="connsiteX449" fmla="*/ 11247683 w 12356823"/>
              <a:gd name="connsiteY449" fmla="*/ 871205 h 4722863"/>
              <a:gd name="connsiteX450" fmla="*/ 11244136 w 12356823"/>
              <a:gd name="connsiteY450" fmla="*/ 908376 h 4722863"/>
              <a:gd name="connsiteX451" fmla="*/ 11251229 w 12356823"/>
              <a:gd name="connsiteY451" fmla="*/ 908376 h 4722863"/>
              <a:gd name="connsiteX452" fmla="*/ 11272513 w 12356823"/>
              <a:gd name="connsiteY452" fmla="*/ 902180 h 4722863"/>
              <a:gd name="connsiteX453" fmla="*/ 11425042 w 12356823"/>
              <a:gd name="connsiteY453" fmla="*/ 920765 h 4722863"/>
              <a:gd name="connsiteX454" fmla="*/ 11488893 w 12356823"/>
              <a:gd name="connsiteY454" fmla="*/ 957934 h 4722863"/>
              <a:gd name="connsiteX455" fmla="*/ 11503081 w 12356823"/>
              <a:gd name="connsiteY455" fmla="*/ 982713 h 4722863"/>
              <a:gd name="connsiteX456" fmla="*/ 11506628 w 12356823"/>
              <a:gd name="connsiteY456" fmla="*/ 1010590 h 4722863"/>
              <a:gd name="connsiteX457" fmla="*/ 11503081 w 12356823"/>
              <a:gd name="connsiteY457" fmla="*/ 1022981 h 4722863"/>
              <a:gd name="connsiteX458" fmla="*/ 11492440 w 12356823"/>
              <a:gd name="connsiteY458" fmla="*/ 1035370 h 4722863"/>
              <a:gd name="connsiteX459" fmla="*/ 11453421 w 12356823"/>
              <a:gd name="connsiteY459" fmla="*/ 1050857 h 4722863"/>
              <a:gd name="connsiteX460" fmla="*/ 11336363 w 12356823"/>
              <a:gd name="connsiteY460" fmla="*/ 1063246 h 4722863"/>
              <a:gd name="connsiteX461" fmla="*/ 11208664 w 12356823"/>
              <a:gd name="connsiteY461" fmla="*/ 1072539 h 4722863"/>
              <a:gd name="connsiteX462" fmla="*/ 11119983 w 12356823"/>
              <a:gd name="connsiteY462" fmla="*/ 1094221 h 4722863"/>
              <a:gd name="connsiteX463" fmla="*/ 10775905 w 12356823"/>
              <a:gd name="connsiteY463" fmla="*/ 1221217 h 4722863"/>
              <a:gd name="connsiteX464" fmla="*/ 10715601 w 12356823"/>
              <a:gd name="connsiteY464" fmla="*/ 1252191 h 4722863"/>
              <a:gd name="connsiteX465" fmla="*/ 10541789 w 12356823"/>
              <a:gd name="connsiteY465" fmla="*/ 1385382 h 4722863"/>
              <a:gd name="connsiteX466" fmla="*/ 10545337 w 12356823"/>
              <a:gd name="connsiteY466" fmla="*/ 1391577 h 4722863"/>
              <a:gd name="connsiteX467" fmla="*/ 10548883 w 12356823"/>
              <a:gd name="connsiteY467" fmla="*/ 1413259 h 4722863"/>
              <a:gd name="connsiteX468" fmla="*/ 10534695 w 12356823"/>
              <a:gd name="connsiteY468" fmla="*/ 1444233 h 4722863"/>
              <a:gd name="connsiteX469" fmla="*/ 10516959 w 12356823"/>
              <a:gd name="connsiteY469" fmla="*/ 1456623 h 4722863"/>
              <a:gd name="connsiteX470" fmla="*/ 10495675 w 12356823"/>
              <a:gd name="connsiteY470" fmla="*/ 1465915 h 4722863"/>
              <a:gd name="connsiteX471" fmla="*/ 10449561 w 12356823"/>
              <a:gd name="connsiteY471" fmla="*/ 1478306 h 4722863"/>
              <a:gd name="connsiteX472" fmla="*/ 10446015 w 12356823"/>
              <a:gd name="connsiteY472" fmla="*/ 1481403 h 4722863"/>
              <a:gd name="connsiteX473" fmla="*/ 10446015 w 12356823"/>
              <a:gd name="connsiteY473" fmla="*/ 1484500 h 4722863"/>
              <a:gd name="connsiteX474" fmla="*/ 10449561 w 12356823"/>
              <a:gd name="connsiteY474" fmla="*/ 1493791 h 4722863"/>
              <a:gd name="connsiteX475" fmla="*/ 10467297 w 12356823"/>
              <a:gd name="connsiteY475" fmla="*/ 1512377 h 4722863"/>
              <a:gd name="connsiteX476" fmla="*/ 10470845 w 12356823"/>
              <a:gd name="connsiteY476" fmla="*/ 1524766 h 4722863"/>
              <a:gd name="connsiteX477" fmla="*/ 10467297 w 12356823"/>
              <a:gd name="connsiteY477" fmla="*/ 1530962 h 4722863"/>
              <a:gd name="connsiteX478" fmla="*/ 10467297 w 12356823"/>
              <a:gd name="connsiteY478" fmla="*/ 1534059 h 4722863"/>
              <a:gd name="connsiteX479" fmla="*/ 10460203 w 12356823"/>
              <a:gd name="connsiteY479" fmla="*/ 1537156 h 4722863"/>
              <a:gd name="connsiteX480" fmla="*/ 10453109 w 12356823"/>
              <a:gd name="connsiteY480" fmla="*/ 1540253 h 4722863"/>
              <a:gd name="connsiteX481" fmla="*/ 10431825 w 12356823"/>
              <a:gd name="connsiteY481" fmla="*/ 1543351 h 4722863"/>
              <a:gd name="connsiteX482" fmla="*/ 10343147 w 12356823"/>
              <a:gd name="connsiteY482" fmla="*/ 1574326 h 4722863"/>
              <a:gd name="connsiteX483" fmla="*/ 10233182 w 12356823"/>
              <a:gd name="connsiteY483" fmla="*/ 1645567 h 4722863"/>
              <a:gd name="connsiteX484" fmla="*/ 10126767 w 12356823"/>
              <a:gd name="connsiteY484" fmla="*/ 1732295 h 4722863"/>
              <a:gd name="connsiteX485" fmla="*/ 10087747 w 12356823"/>
              <a:gd name="connsiteY485" fmla="*/ 1775660 h 4722863"/>
              <a:gd name="connsiteX486" fmla="*/ 10066463 w 12356823"/>
              <a:gd name="connsiteY486" fmla="*/ 1812829 h 4722863"/>
              <a:gd name="connsiteX487" fmla="*/ 10062917 w 12356823"/>
              <a:gd name="connsiteY487" fmla="*/ 1815927 h 4722863"/>
              <a:gd name="connsiteX488" fmla="*/ 10059369 w 12356823"/>
              <a:gd name="connsiteY488" fmla="*/ 1819024 h 4722863"/>
              <a:gd name="connsiteX489" fmla="*/ 10045181 w 12356823"/>
              <a:gd name="connsiteY489" fmla="*/ 1834511 h 4722863"/>
              <a:gd name="connsiteX490" fmla="*/ 10016803 w 12356823"/>
              <a:gd name="connsiteY490" fmla="*/ 1856193 h 4722863"/>
              <a:gd name="connsiteX491" fmla="*/ 10006161 w 12356823"/>
              <a:gd name="connsiteY491" fmla="*/ 1865486 h 4722863"/>
              <a:gd name="connsiteX492" fmla="*/ 10002614 w 12356823"/>
              <a:gd name="connsiteY492" fmla="*/ 1871680 h 4722863"/>
              <a:gd name="connsiteX493" fmla="*/ 10002614 w 12356823"/>
              <a:gd name="connsiteY493" fmla="*/ 1874778 h 4722863"/>
              <a:gd name="connsiteX494" fmla="*/ 10006161 w 12356823"/>
              <a:gd name="connsiteY494" fmla="*/ 1874778 h 4722863"/>
              <a:gd name="connsiteX495" fmla="*/ 10030991 w 12356823"/>
              <a:gd name="connsiteY495" fmla="*/ 1871680 h 4722863"/>
              <a:gd name="connsiteX496" fmla="*/ 10176427 w 12356823"/>
              <a:gd name="connsiteY496" fmla="*/ 1784952 h 4722863"/>
              <a:gd name="connsiteX497" fmla="*/ 10247371 w 12356823"/>
              <a:gd name="connsiteY497" fmla="*/ 1719906 h 4722863"/>
              <a:gd name="connsiteX498" fmla="*/ 10293485 w 12356823"/>
              <a:gd name="connsiteY498" fmla="*/ 1648664 h 4722863"/>
              <a:gd name="connsiteX499" fmla="*/ 10300579 w 12356823"/>
              <a:gd name="connsiteY499" fmla="*/ 1639371 h 4722863"/>
              <a:gd name="connsiteX500" fmla="*/ 10311221 w 12356823"/>
              <a:gd name="connsiteY500" fmla="*/ 1626982 h 4722863"/>
              <a:gd name="connsiteX501" fmla="*/ 10343147 w 12356823"/>
              <a:gd name="connsiteY501" fmla="*/ 1614593 h 4722863"/>
              <a:gd name="connsiteX502" fmla="*/ 10431825 w 12356823"/>
              <a:gd name="connsiteY502" fmla="*/ 1586715 h 4722863"/>
              <a:gd name="connsiteX503" fmla="*/ 10524053 w 12356823"/>
              <a:gd name="connsiteY503" fmla="*/ 1549546 h 4722863"/>
              <a:gd name="connsiteX504" fmla="*/ 10563073 w 12356823"/>
              <a:gd name="connsiteY504" fmla="*/ 1521669 h 4722863"/>
              <a:gd name="connsiteX505" fmla="*/ 10591450 w 12356823"/>
              <a:gd name="connsiteY505" fmla="*/ 1481403 h 4722863"/>
              <a:gd name="connsiteX506" fmla="*/ 10598545 w 12356823"/>
              <a:gd name="connsiteY506" fmla="*/ 1472110 h 4722863"/>
              <a:gd name="connsiteX507" fmla="*/ 10609187 w 12356823"/>
              <a:gd name="connsiteY507" fmla="*/ 1465915 h 4722863"/>
              <a:gd name="connsiteX508" fmla="*/ 10637564 w 12356823"/>
              <a:gd name="connsiteY508" fmla="*/ 1456623 h 4722863"/>
              <a:gd name="connsiteX509" fmla="*/ 10697867 w 12356823"/>
              <a:gd name="connsiteY509" fmla="*/ 1456623 h 4722863"/>
              <a:gd name="connsiteX510" fmla="*/ 10719149 w 12356823"/>
              <a:gd name="connsiteY510" fmla="*/ 1462817 h 4722863"/>
              <a:gd name="connsiteX511" fmla="*/ 10729791 w 12356823"/>
              <a:gd name="connsiteY511" fmla="*/ 1465915 h 4722863"/>
              <a:gd name="connsiteX512" fmla="*/ 10733337 w 12356823"/>
              <a:gd name="connsiteY512" fmla="*/ 1472110 h 4722863"/>
              <a:gd name="connsiteX513" fmla="*/ 10733337 w 12356823"/>
              <a:gd name="connsiteY513" fmla="*/ 1475208 h 4722863"/>
              <a:gd name="connsiteX514" fmla="*/ 10733337 w 12356823"/>
              <a:gd name="connsiteY514" fmla="*/ 1478306 h 4722863"/>
              <a:gd name="connsiteX515" fmla="*/ 10729791 w 12356823"/>
              <a:gd name="connsiteY515" fmla="*/ 1481403 h 4722863"/>
              <a:gd name="connsiteX516" fmla="*/ 10726244 w 12356823"/>
              <a:gd name="connsiteY516" fmla="*/ 1484500 h 4722863"/>
              <a:gd name="connsiteX517" fmla="*/ 10697867 w 12356823"/>
              <a:gd name="connsiteY517" fmla="*/ 1496889 h 4722863"/>
              <a:gd name="connsiteX518" fmla="*/ 10651752 w 12356823"/>
              <a:gd name="connsiteY518" fmla="*/ 1521669 h 4722863"/>
              <a:gd name="connsiteX519" fmla="*/ 10644659 w 12356823"/>
              <a:gd name="connsiteY519" fmla="*/ 1524766 h 4722863"/>
              <a:gd name="connsiteX520" fmla="*/ 10644659 w 12356823"/>
              <a:gd name="connsiteY520" fmla="*/ 1530962 h 4722863"/>
              <a:gd name="connsiteX521" fmla="*/ 10644659 w 12356823"/>
              <a:gd name="connsiteY521" fmla="*/ 1540253 h 4722863"/>
              <a:gd name="connsiteX522" fmla="*/ 10665941 w 12356823"/>
              <a:gd name="connsiteY522" fmla="*/ 1605300 h 4722863"/>
              <a:gd name="connsiteX523" fmla="*/ 10665941 w 12356823"/>
              <a:gd name="connsiteY523" fmla="*/ 1620787 h 4722863"/>
              <a:gd name="connsiteX524" fmla="*/ 10669488 w 12356823"/>
              <a:gd name="connsiteY524" fmla="*/ 1626982 h 4722863"/>
              <a:gd name="connsiteX525" fmla="*/ 10673036 w 12356823"/>
              <a:gd name="connsiteY525" fmla="*/ 1626982 h 4722863"/>
              <a:gd name="connsiteX526" fmla="*/ 10673036 w 12356823"/>
              <a:gd name="connsiteY526" fmla="*/ 1620787 h 4722863"/>
              <a:gd name="connsiteX527" fmla="*/ 10683677 w 12356823"/>
              <a:gd name="connsiteY527" fmla="*/ 1611495 h 4722863"/>
              <a:gd name="connsiteX528" fmla="*/ 10704960 w 12356823"/>
              <a:gd name="connsiteY528" fmla="*/ 1577424 h 4722863"/>
              <a:gd name="connsiteX529" fmla="*/ 10747527 w 12356823"/>
              <a:gd name="connsiteY529" fmla="*/ 1546449 h 4722863"/>
              <a:gd name="connsiteX530" fmla="*/ 10811377 w 12356823"/>
              <a:gd name="connsiteY530" fmla="*/ 1540253 h 4722863"/>
              <a:gd name="connsiteX531" fmla="*/ 10864585 w 12356823"/>
              <a:gd name="connsiteY531" fmla="*/ 1561936 h 4722863"/>
              <a:gd name="connsiteX532" fmla="*/ 10914245 w 12356823"/>
              <a:gd name="connsiteY532" fmla="*/ 1571228 h 4722863"/>
              <a:gd name="connsiteX533" fmla="*/ 10939076 w 12356823"/>
              <a:gd name="connsiteY533" fmla="*/ 1561936 h 4722863"/>
              <a:gd name="connsiteX534" fmla="*/ 10971001 w 12356823"/>
              <a:gd name="connsiteY534" fmla="*/ 1537156 h 4722863"/>
              <a:gd name="connsiteX535" fmla="*/ 10974548 w 12356823"/>
              <a:gd name="connsiteY535" fmla="*/ 1534059 h 4722863"/>
              <a:gd name="connsiteX536" fmla="*/ 10978095 w 12356823"/>
              <a:gd name="connsiteY536" fmla="*/ 1530962 h 4722863"/>
              <a:gd name="connsiteX537" fmla="*/ 10992284 w 12356823"/>
              <a:gd name="connsiteY537" fmla="*/ 1530962 h 4722863"/>
              <a:gd name="connsiteX538" fmla="*/ 11013567 w 12356823"/>
              <a:gd name="connsiteY538" fmla="*/ 1537156 h 4722863"/>
              <a:gd name="connsiteX539" fmla="*/ 11031303 w 12356823"/>
              <a:gd name="connsiteY539" fmla="*/ 1552644 h 4722863"/>
              <a:gd name="connsiteX540" fmla="*/ 11034851 w 12356823"/>
              <a:gd name="connsiteY540" fmla="*/ 1558838 h 4722863"/>
              <a:gd name="connsiteX541" fmla="*/ 11031303 w 12356823"/>
              <a:gd name="connsiteY541" fmla="*/ 1561936 h 4722863"/>
              <a:gd name="connsiteX542" fmla="*/ 11031303 w 12356823"/>
              <a:gd name="connsiteY542" fmla="*/ 1565033 h 4722863"/>
              <a:gd name="connsiteX543" fmla="*/ 11024209 w 12356823"/>
              <a:gd name="connsiteY543" fmla="*/ 1571228 h 4722863"/>
              <a:gd name="connsiteX544" fmla="*/ 11010020 w 12356823"/>
              <a:gd name="connsiteY544" fmla="*/ 1577424 h 4722863"/>
              <a:gd name="connsiteX545" fmla="*/ 10971001 w 12356823"/>
              <a:gd name="connsiteY545" fmla="*/ 1599106 h 4722863"/>
              <a:gd name="connsiteX546" fmla="*/ 10924887 w 12356823"/>
              <a:gd name="connsiteY546" fmla="*/ 1620787 h 4722863"/>
              <a:gd name="connsiteX547" fmla="*/ 10985189 w 12356823"/>
              <a:gd name="connsiteY547" fmla="*/ 1611495 h 4722863"/>
              <a:gd name="connsiteX548" fmla="*/ 11006472 w 12356823"/>
              <a:gd name="connsiteY548" fmla="*/ 1614593 h 4722863"/>
              <a:gd name="connsiteX549" fmla="*/ 11006472 w 12356823"/>
              <a:gd name="connsiteY549" fmla="*/ 1617690 h 4722863"/>
              <a:gd name="connsiteX550" fmla="*/ 11002925 w 12356823"/>
              <a:gd name="connsiteY550" fmla="*/ 1620787 h 4722863"/>
              <a:gd name="connsiteX551" fmla="*/ 10995831 w 12356823"/>
              <a:gd name="connsiteY551" fmla="*/ 1623884 h 4722863"/>
              <a:gd name="connsiteX552" fmla="*/ 10988737 w 12356823"/>
              <a:gd name="connsiteY552" fmla="*/ 1626982 h 4722863"/>
              <a:gd name="connsiteX553" fmla="*/ 10978095 w 12356823"/>
              <a:gd name="connsiteY553" fmla="*/ 1633177 h 4722863"/>
              <a:gd name="connsiteX554" fmla="*/ 10946171 w 12356823"/>
              <a:gd name="connsiteY554" fmla="*/ 1642469 h 4722863"/>
              <a:gd name="connsiteX555" fmla="*/ 10850395 w 12356823"/>
              <a:gd name="connsiteY555" fmla="*/ 1673444 h 4722863"/>
              <a:gd name="connsiteX556" fmla="*/ 10719149 w 12356823"/>
              <a:gd name="connsiteY556" fmla="*/ 1723003 h 4722863"/>
              <a:gd name="connsiteX557" fmla="*/ 10715601 w 12356823"/>
              <a:gd name="connsiteY557" fmla="*/ 1726100 h 4722863"/>
              <a:gd name="connsiteX558" fmla="*/ 10719149 w 12356823"/>
              <a:gd name="connsiteY558" fmla="*/ 1763271 h 4722863"/>
              <a:gd name="connsiteX559" fmla="*/ 10726244 w 12356823"/>
              <a:gd name="connsiteY559" fmla="*/ 1760173 h 4722863"/>
              <a:gd name="connsiteX560" fmla="*/ 10743981 w 12356823"/>
              <a:gd name="connsiteY560" fmla="*/ 1744685 h 4722863"/>
              <a:gd name="connsiteX561" fmla="*/ 10889415 w 12356823"/>
              <a:gd name="connsiteY561" fmla="*/ 1698224 h 4722863"/>
              <a:gd name="connsiteX562" fmla="*/ 10953265 w 12356823"/>
              <a:gd name="connsiteY562" fmla="*/ 1704418 h 4722863"/>
              <a:gd name="connsiteX563" fmla="*/ 10978095 w 12356823"/>
              <a:gd name="connsiteY563" fmla="*/ 1716809 h 4722863"/>
              <a:gd name="connsiteX564" fmla="*/ 10988737 w 12356823"/>
              <a:gd name="connsiteY564" fmla="*/ 1741588 h 4722863"/>
              <a:gd name="connsiteX565" fmla="*/ 10988737 w 12356823"/>
              <a:gd name="connsiteY565" fmla="*/ 1757074 h 4722863"/>
              <a:gd name="connsiteX566" fmla="*/ 10978095 w 12356823"/>
              <a:gd name="connsiteY566" fmla="*/ 1772562 h 4722863"/>
              <a:gd name="connsiteX567" fmla="*/ 10946171 w 12356823"/>
              <a:gd name="connsiteY567" fmla="*/ 1803536 h 4722863"/>
              <a:gd name="connsiteX568" fmla="*/ 10836207 w 12356823"/>
              <a:gd name="connsiteY568" fmla="*/ 1862389 h 4722863"/>
              <a:gd name="connsiteX569" fmla="*/ 10715601 w 12356823"/>
              <a:gd name="connsiteY569" fmla="*/ 1924336 h 4722863"/>
              <a:gd name="connsiteX570" fmla="*/ 10634015 w 12356823"/>
              <a:gd name="connsiteY570" fmla="*/ 1973896 h 4722863"/>
              <a:gd name="connsiteX571" fmla="*/ 10321862 w 12356823"/>
              <a:gd name="connsiteY571" fmla="*/ 2187618 h 4722863"/>
              <a:gd name="connsiteX572" fmla="*/ 10247371 w 12356823"/>
              <a:gd name="connsiteY572" fmla="*/ 2246469 h 4722863"/>
              <a:gd name="connsiteX573" fmla="*/ 10187068 w 12356823"/>
              <a:gd name="connsiteY573" fmla="*/ 2286736 h 4722863"/>
              <a:gd name="connsiteX574" fmla="*/ 9977783 w 12356823"/>
              <a:gd name="connsiteY574" fmla="*/ 2407536 h 4722863"/>
              <a:gd name="connsiteX575" fmla="*/ 9374759 w 12356823"/>
              <a:gd name="connsiteY575" fmla="*/ 2707988 h 4722863"/>
              <a:gd name="connsiteX576" fmla="*/ 8874603 w 12356823"/>
              <a:gd name="connsiteY576" fmla="*/ 2943393 h 4722863"/>
              <a:gd name="connsiteX577" fmla="*/ 8661772 w 12356823"/>
              <a:gd name="connsiteY577" fmla="*/ 3491641 h 4722863"/>
              <a:gd name="connsiteX578" fmla="*/ 8743358 w 12356823"/>
              <a:gd name="connsiteY578" fmla="*/ 3795191 h 4722863"/>
              <a:gd name="connsiteX579" fmla="*/ 8693696 w 12356823"/>
              <a:gd name="connsiteY579" fmla="*/ 4132812 h 4722863"/>
              <a:gd name="connsiteX580" fmla="*/ 8605015 w 12356823"/>
              <a:gd name="connsiteY580" fmla="*/ 3816873 h 4722863"/>
              <a:gd name="connsiteX581" fmla="*/ 8597922 w 12356823"/>
              <a:gd name="connsiteY581" fmla="*/ 3497836 h 4722863"/>
              <a:gd name="connsiteX582" fmla="*/ 8594374 w 12356823"/>
              <a:gd name="connsiteY582" fmla="*/ 3333672 h 4722863"/>
              <a:gd name="connsiteX583" fmla="*/ 8420561 w 12356823"/>
              <a:gd name="connsiteY583" fmla="*/ 3126143 h 4722863"/>
              <a:gd name="connsiteX584" fmla="*/ 8260936 w 12356823"/>
              <a:gd name="connsiteY584" fmla="*/ 3200482 h 4722863"/>
              <a:gd name="connsiteX585" fmla="*/ 8268031 w 12356823"/>
              <a:gd name="connsiteY585" fmla="*/ 3305794 h 4722863"/>
              <a:gd name="connsiteX586" fmla="*/ 8225464 w 12356823"/>
              <a:gd name="connsiteY586" fmla="*/ 3358452 h 4722863"/>
              <a:gd name="connsiteX587" fmla="*/ 8236107 w 12356823"/>
              <a:gd name="connsiteY587" fmla="*/ 3271723 h 4722863"/>
              <a:gd name="connsiteX588" fmla="*/ 8133237 w 12356823"/>
              <a:gd name="connsiteY588" fmla="*/ 3194287 h 4722863"/>
              <a:gd name="connsiteX589" fmla="*/ 7867197 w 12356823"/>
              <a:gd name="connsiteY589" fmla="*/ 3414205 h 4722863"/>
              <a:gd name="connsiteX590" fmla="*/ 7923952 w 12356823"/>
              <a:gd name="connsiteY590" fmla="*/ 3689877 h 4722863"/>
              <a:gd name="connsiteX591" fmla="*/ 7860103 w 12356823"/>
              <a:gd name="connsiteY591" fmla="*/ 3711560 h 4722863"/>
              <a:gd name="connsiteX592" fmla="*/ 7856556 w 12356823"/>
              <a:gd name="connsiteY592" fmla="*/ 3423498 h 4722863"/>
              <a:gd name="connsiteX593" fmla="*/ 7668554 w 12356823"/>
              <a:gd name="connsiteY593" fmla="*/ 3302698 h 4722863"/>
              <a:gd name="connsiteX594" fmla="*/ 7530213 w 12356823"/>
              <a:gd name="connsiteY594" fmla="*/ 3600052 h 4722863"/>
              <a:gd name="connsiteX595" fmla="*/ 7590516 w 12356823"/>
              <a:gd name="connsiteY595" fmla="*/ 4420874 h 4722863"/>
              <a:gd name="connsiteX596" fmla="*/ 7491194 w 12356823"/>
              <a:gd name="connsiteY596" fmla="*/ 4718230 h 4722863"/>
              <a:gd name="connsiteX597" fmla="*/ 7448631 w 12356823"/>
              <a:gd name="connsiteY597" fmla="*/ 4380608 h 4722863"/>
              <a:gd name="connsiteX598" fmla="*/ 7416703 w 12356823"/>
              <a:gd name="connsiteY598" fmla="*/ 3336769 h 4722863"/>
              <a:gd name="connsiteX599" fmla="*/ 7221608 w 12356823"/>
              <a:gd name="connsiteY599" fmla="*/ 3457570 h 4722863"/>
              <a:gd name="connsiteX600" fmla="*/ 7242890 w 12356823"/>
              <a:gd name="connsiteY600" fmla="*/ 3807581 h 4722863"/>
              <a:gd name="connsiteX601" fmla="*/ 7207419 w 12356823"/>
              <a:gd name="connsiteY601" fmla="*/ 3863335 h 4722863"/>
              <a:gd name="connsiteX602" fmla="*/ 7171949 w 12356823"/>
              <a:gd name="connsiteY602" fmla="*/ 3689877 h 4722863"/>
              <a:gd name="connsiteX603" fmla="*/ 7207419 w 12356823"/>
              <a:gd name="connsiteY603" fmla="*/ 3479252 h 4722863"/>
              <a:gd name="connsiteX604" fmla="*/ 7072628 w 12356823"/>
              <a:gd name="connsiteY604" fmla="*/ 3311990 h 4722863"/>
              <a:gd name="connsiteX605" fmla="*/ 6842060 w 12356823"/>
              <a:gd name="connsiteY605" fmla="*/ 3318185 h 4722863"/>
              <a:gd name="connsiteX606" fmla="*/ 6735642 w 12356823"/>
              <a:gd name="connsiteY606" fmla="*/ 3392523 h 4722863"/>
              <a:gd name="connsiteX607" fmla="*/ 6590207 w 12356823"/>
              <a:gd name="connsiteY607" fmla="*/ 3420401 h 4722863"/>
              <a:gd name="connsiteX608" fmla="*/ 6547642 w 12356823"/>
              <a:gd name="connsiteY608" fmla="*/ 3253138 h 4722863"/>
              <a:gd name="connsiteX609" fmla="*/ 6175185 w 12356823"/>
              <a:gd name="connsiteY609" fmla="*/ 3315087 h 4722863"/>
              <a:gd name="connsiteX610" fmla="*/ 6235487 w 12356823"/>
              <a:gd name="connsiteY610" fmla="*/ 4018207 h 4722863"/>
              <a:gd name="connsiteX611" fmla="*/ 6200016 w 12356823"/>
              <a:gd name="connsiteY611" fmla="*/ 4374414 h 4722863"/>
              <a:gd name="connsiteX612" fmla="*/ 6153902 w 12356823"/>
              <a:gd name="connsiteY612" fmla="*/ 4021304 h 4722863"/>
              <a:gd name="connsiteX613" fmla="*/ 6125525 w 12356823"/>
              <a:gd name="connsiteY613" fmla="*/ 3377036 h 4722863"/>
              <a:gd name="connsiteX614" fmla="*/ 5957656 w 12356823"/>
              <a:gd name="connsiteY614" fmla="*/ 3210276 h 4722863"/>
              <a:gd name="connsiteX615" fmla="*/ 5940846 w 12356823"/>
              <a:gd name="connsiteY615" fmla="*/ 3207361 h 4722863"/>
              <a:gd name="connsiteX616" fmla="*/ 5943892 w 12356823"/>
              <a:gd name="connsiteY616" fmla="*/ 3224189 h 4722863"/>
              <a:gd name="connsiteX617" fmla="*/ 5994772 w 12356823"/>
              <a:gd name="connsiteY617" fmla="*/ 3491641 h 4722863"/>
              <a:gd name="connsiteX618" fmla="*/ 6076358 w 12356823"/>
              <a:gd name="connsiteY618" fmla="*/ 3795191 h 4722863"/>
              <a:gd name="connsiteX619" fmla="*/ 6026696 w 12356823"/>
              <a:gd name="connsiteY619" fmla="*/ 4132812 h 4722863"/>
              <a:gd name="connsiteX620" fmla="*/ 5938015 w 12356823"/>
              <a:gd name="connsiteY620" fmla="*/ 3816873 h 4722863"/>
              <a:gd name="connsiteX621" fmla="*/ 5930922 w 12356823"/>
              <a:gd name="connsiteY621" fmla="*/ 3497836 h 4722863"/>
              <a:gd name="connsiteX622" fmla="*/ 5927375 w 12356823"/>
              <a:gd name="connsiteY622" fmla="*/ 3333672 h 4722863"/>
              <a:gd name="connsiteX623" fmla="*/ 5926307 w 12356823"/>
              <a:gd name="connsiteY623" fmla="*/ 3252467 h 4722863"/>
              <a:gd name="connsiteX624" fmla="*/ 5926192 w 12356823"/>
              <a:gd name="connsiteY624" fmla="*/ 3204820 h 4722863"/>
              <a:gd name="connsiteX625" fmla="*/ 5907039 w 12356823"/>
              <a:gd name="connsiteY625" fmla="*/ 3201498 h 4722863"/>
              <a:gd name="connsiteX626" fmla="*/ 5813370 w 12356823"/>
              <a:gd name="connsiteY626" fmla="*/ 3203579 h 4722863"/>
              <a:gd name="connsiteX627" fmla="*/ 5710675 w 12356823"/>
              <a:gd name="connsiteY627" fmla="*/ 3141945 h 4722863"/>
              <a:gd name="connsiteX628" fmla="*/ 5708138 w 12356823"/>
              <a:gd name="connsiteY628" fmla="*/ 3139837 h 4722863"/>
              <a:gd name="connsiteX629" fmla="*/ 5697693 w 12356823"/>
              <a:gd name="connsiteY629" fmla="*/ 3142986 h 4722863"/>
              <a:gd name="connsiteX630" fmla="*/ 5593936 w 12356823"/>
              <a:gd name="connsiteY630" fmla="*/ 3200482 h 4722863"/>
              <a:gd name="connsiteX631" fmla="*/ 5601031 w 12356823"/>
              <a:gd name="connsiteY631" fmla="*/ 3305794 h 4722863"/>
              <a:gd name="connsiteX632" fmla="*/ 5558464 w 12356823"/>
              <a:gd name="connsiteY632" fmla="*/ 3358452 h 4722863"/>
              <a:gd name="connsiteX633" fmla="*/ 5569108 w 12356823"/>
              <a:gd name="connsiteY633" fmla="*/ 3271723 h 4722863"/>
              <a:gd name="connsiteX634" fmla="*/ 5466237 w 12356823"/>
              <a:gd name="connsiteY634" fmla="*/ 3194287 h 4722863"/>
              <a:gd name="connsiteX635" fmla="*/ 5200198 w 12356823"/>
              <a:gd name="connsiteY635" fmla="*/ 3414205 h 4722863"/>
              <a:gd name="connsiteX636" fmla="*/ 5256952 w 12356823"/>
              <a:gd name="connsiteY636" fmla="*/ 3689877 h 4722863"/>
              <a:gd name="connsiteX637" fmla="*/ 5193104 w 12356823"/>
              <a:gd name="connsiteY637" fmla="*/ 3711560 h 4722863"/>
              <a:gd name="connsiteX638" fmla="*/ 5189556 w 12356823"/>
              <a:gd name="connsiteY638" fmla="*/ 3423498 h 4722863"/>
              <a:gd name="connsiteX639" fmla="*/ 5001554 w 12356823"/>
              <a:gd name="connsiteY639" fmla="*/ 3302698 h 4722863"/>
              <a:gd name="connsiteX640" fmla="*/ 4863213 w 12356823"/>
              <a:gd name="connsiteY640" fmla="*/ 3600052 h 4722863"/>
              <a:gd name="connsiteX641" fmla="*/ 4923516 w 12356823"/>
              <a:gd name="connsiteY641" fmla="*/ 4420874 h 4722863"/>
              <a:gd name="connsiteX642" fmla="*/ 4824194 w 12356823"/>
              <a:gd name="connsiteY642" fmla="*/ 4718230 h 4722863"/>
              <a:gd name="connsiteX643" fmla="*/ 4781631 w 12356823"/>
              <a:gd name="connsiteY643" fmla="*/ 4380608 h 4722863"/>
              <a:gd name="connsiteX644" fmla="*/ 4749704 w 12356823"/>
              <a:gd name="connsiteY644" fmla="*/ 3336769 h 4722863"/>
              <a:gd name="connsiteX645" fmla="*/ 4554608 w 12356823"/>
              <a:gd name="connsiteY645" fmla="*/ 3457570 h 4722863"/>
              <a:gd name="connsiteX646" fmla="*/ 4575890 w 12356823"/>
              <a:gd name="connsiteY646" fmla="*/ 3807581 h 4722863"/>
              <a:gd name="connsiteX647" fmla="*/ 4540419 w 12356823"/>
              <a:gd name="connsiteY647" fmla="*/ 3863335 h 4722863"/>
              <a:gd name="connsiteX648" fmla="*/ 4504949 w 12356823"/>
              <a:gd name="connsiteY648" fmla="*/ 3689877 h 4722863"/>
              <a:gd name="connsiteX649" fmla="*/ 4540419 w 12356823"/>
              <a:gd name="connsiteY649" fmla="*/ 3479252 h 4722863"/>
              <a:gd name="connsiteX650" fmla="*/ 4405628 w 12356823"/>
              <a:gd name="connsiteY650" fmla="*/ 3311990 h 4722863"/>
              <a:gd name="connsiteX651" fmla="*/ 4175060 w 12356823"/>
              <a:gd name="connsiteY651" fmla="*/ 3318185 h 4722863"/>
              <a:gd name="connsiteX652" fmla="*/ 4068642 w 12356823"/>
              <a:gd name="connsiteY652" fmla="*/ 3392523 h 4722863"/>
              <a:gd name="connsiteX653" fmla="*/ 3923207 w 12356823"/>
              <a:gd name="connsiteY653" fmla="*/ 3420401 h 4722863"/>
              <a:gd name="connsiteX654" fmla="*/ 3880642 w 12356823"/>
              <a:gd name="connsiteY654" fmla="*/ 3253138 h 4722863"/>
              <a:gd name="connsiteX655" fmla="*/ 3508185 w 12356823"/>
              <a:gd name="connsiteY655" fmla="*/ 3315087 h 4722863"/>
              <a:gd name="connsiteX656" fmla="*/ 3568487 w 12356823"/>
              <a:gd name="connsiteY656" fmla="*/ 4018207 h 4722863"/>
              <a:gd name="connsiteX657" fmla="*/ 3533016 w 12356823"/>
              <a:gd name="connsiteY657" fmla="*/ 4374414 h 4722863"/>
              <a:gd name="connsiteX658" fmla="*/ 3486901 w 12356823"/>
              <a:gd name="connsiteY658" fmla="*/ 4021304 h 4722863"/>
              <a:gd name="connsiteX659" fmla="*/ 3458525 w 12356823"/>
              <a:gd name="connsiteY659" fmla="*/ 3377036 h 4722863"/>
              <a:gd name="connsiteX660" fmla="*/ 3146370 w 12356823"/>
              <a:gd name="connsiteY660" fmla="*/ 3203579 h 4722863"/>
              <a:gd name="connsiteX661" fmla="*/ 2688781 w 12356823"/>
              <a:gd name="connsiteY661" fmla="*/ 3098266 h 4722863"/>
              <a:gd name="connsiteX662" fmla="*/ 2649762 w 12356823"/>
              <a:gd name="connsiteY662" fmla="*/ 3119949 h 4722863"/>
              <a:gd name="connsiteX663" fmla="*/ 2646214 w 12356823"/>
              <a:gd name="connsiteY663" fmla="*/ 3123045 h 4722863"/>
              <a:gd name="connsiteX664" fmla="*/ 2639120 w 12356823"/>
              <a:gd name="connsiteY664" fmla="*/ 3129240 h 4722863"/>
              <a:gd name="connsiteX665" fmla="*/ 2628478 w 12356823"/>
              <a:gd name="connsiteY665" fmla="*/ 3132338 h 4722863"/>
              <a:gd name="connsiteX666" fmla="*/ 2610741 w 12356823"/>
              <a:gd name="connsiteY666" fmla="*/ 3129240 h 4722863"/>
              <a:gd name="connsiteX667" fmla="*/ 2593008 w 12356823"/>
              <a:gd name="connsiteY667" fmla="*/ 3123045 h 4722863"/>
              <a:gd name="connsiteX668" fmla="*/ 2536251 w 12356823"/>
              <a:gd name="connsiteY668" fmla="*/ 3088974 h 4722863"/>
              <a:gd name="connsiteX669" fmla="*/ 2468854 w 12356823"/>
              <a:gd name="connsiteY669" fmla="*/ 3070389 h 4722863"/>
              <a:gd name="connsiteX670" fmla="*/ 2419195 w 12356823"/>
              <a:gd name="connsiteY670" fmla="*/ 3079682 h 4722863"/>
              <a:gd name="connsiteX671" fmla="*/ 2369533 w 12356823"/>
              <a:gd name="connsiteY671" fmla="*/ 3092071 h 4722863"/>
              <a:gd name="connsiteX672" fmla="*/ 2309230 w 12356823"/>
              <a:gd name="connsiteY672" fmla="*/ 3085876 h 4722863"/>
              <a:gd name="connsiteX673" fmla="*/ 2224098 w 12356823"/>
              <a:gd name="connsiteY673" fmla="*/ 3058000 h 4722863"/>
              <a:gd name="connsiteX674" fmla="*/ 2153153 w 12356823"/>
              <a:gd name="connsiteY674" fmla="*/ 3020829 h 4722863"/>
              <a:gd name="connsiteX675" fmla="*/ 2075114 w 12356823"/>
              <a:gd name="connsiteY675" fmla="*/ 2955784 h 4722863"/>
              <a:gd name="connsiteX676" fmla="*/ 2046737 w 12356823"/>
              <a:gd name="connsiteY676" fmla="*/ 2918615 h 4722863"/>
              <a:gd name="connsiteX677" fmla="*/ 2025454 w 12356823"/>
              <a:gd name="connsiteY677" fmla="*/ 2884542 h 4722863"/>
              <a:gd name="connsiteX678" fmla="*/ 2029001 w 12356823"/>
              <a:gd name="connsiteY678" fmla="*/ 2856666 h 4722863"/>
              <a:gd name="connsiteX679" fmla="*/ 2053832 w 12356823"/>
              <a:gd name="connsiteY679" fmla="*/ 2838080 h 4722863"/>
              <a:gd name="connsiteX680" fmla="*/ 2078662 w 12356823"/>
              <a:gd name="connsiteY680" fmla="*/ 2841178 h 4722863"/>
              <a:gd name="connsiteX681" fmla="*/ 2110587 w 12356823"/>
              <a:gd name="connsiteY681" fmla="*/ 2853568 h 4722863"/>
              <a:gd name="connsiteX682" fmla="*/ 2174436 w 12356823"/>
              <a:gd name="connsiteY682" fmla="*/ 2878347 h 4722863"/>
              <a:gd name="connsiteX683" fmla="*/ 2177984 w 12356823"/>
              <a:gd name="connsiteY683" fmla="*/ 2878347 h 4722863"/>
              <a:gd name="connsiteX684" fmla="*/ 2177984 w 12356823"/>
              <a:gd name="connsiteY684" fmla="*/ 2875250 h 4722863"/>
              <a:gd name="connsiteX685" fmla="*/ 2177984 w 12356823"/>
              <a:gd name="connsiteY685" fmla="*/ 2862860 h 4722863"/>
              <a:gd name="connsiteX686" fmla="*/ 2160248 w 12356823"/>
              <a:gd name="connsiteY686" fmla="*/ 2828788 h 4722863"/>
              <a:gd name="connsiteX687" fmla="*/ 2160248 w 12356823"/>
              <a:gd name="connsiteY687" fmla="*/ 2813302 h 4722863"/>
              <a:gd name="connsiteX688" fmla="*/ 2160248 w 12356823"/>
              <a:gd name="connsiteY688" fmla="*/ 2807106 h 4722863"/>
              <a:gd name="connsiteX689" fmla="*/ 2163795 w 12356823"/>
              <a:gd name="connsiteY689" fmla="*/ 2804009 h 4722863"/>
              <a:gd name="connsiteX690" fmla="*/ 2167343 w 12356823"/>
              <a:gd name="connsiteY690" fmla="*/ 2804009 h 4722863"/>
              <a:gd name="connsiteX691" fmla="*/ 2181531 w 12356823"/>
              <a:gd name="connsiteY691" fmla="*/ 2807106 h 4722863"/>
              <a:gd name="connsiteX692" fmla="*/ 2213456 w 12356823"/>
              <a:gd name="connsiteY692" fmla="*/ 2825691 h 4722863"/>
              <a:gd name="connsiteX693" fmla="*/ 2334061 w 12356823"/>
              <a:gd name="connsiteY693" fmla="*/ 2872153 h 4722863"/>
              <a:gd name="connsiteX694" fmla="*/ 2497231 w 12356823"/>
              <a:gd name="connsiteY694" fmla="*/ 2896933 h 4722863"/>
              <a:gd name="connsiteX695" fmla="*/ 2653309 w 12356823"/>
              <a:gd name="connsiteY695" fmla="*/ 2896933 h 4722863"/>
              <a:gd name="connsiteX696" fmla="*/ 2713612 w 12356823"/>
              <a:gd name="connsiteY696" fmla="*/ 2887640 h 4722863"/>
              <a:gd name="connsiteX697" fmla="*/ 2749083 w 12356823"/>
              <a:gd name="connsiteY697" fmla="*/ 2865958 h 4722863"/>
              <a:gd name="connsiteX698" fmla="*/ 2756178 w 12356823"/>
              <a:gd name="connsiteY698" fmla="*/ 2865958 h 4722863"/>
              <a:gd name="connsiteX699" fmla="*/ 2763272 w 12356823"/>
              <a:gd name="connsiteY699" fmla="*/ 2865958 h 4722863"/>
              <a:gd name="connsiteX700" fmla="*/ 2781010 w 12356823"/>
              <a:gd name="connsiteY700" fmla="*/ 2862860 h 4722863"/>
              <a:gd name="connsiteX701" fmla="*/ 2827123 w 12356823"/>
              <a:gd name="connsiteY701" fmla="*/ 2862860 h 4722863"/>
              <a:gd name="connsiteX702" fmla="*/ 2841310 w 12356823"/>
              <a:gd name="connsiteY702" fmla="*/ 2862860 h 4722863"/>
              <a:gd name="connsiteX703" fmla="*/ 2848406 w 12356823"/>
              <a:gd name="connsiteY703" fmla="*/ 2859762 h 4722863"/>
              <a:gd name="connsiteX704" fmla="*/ 2848406 w 12356823"/>
              <a:gd name="connsiteY704" fmla="*/ 2856666 h 4722863"/>
              <a:gd name="connsiteX705" fmla="*/ 2635573 w 12356823"/>
              <a:gd name="connsiteY705" fmla="*/ 2831886 h 4722863"/>
              <a:gd name="connsiteX706" fmla="*/ 2486591 w 12356823"/>
              <a:gd name="connsiteY706" fmla="*/ 2810204 h 4722863"/>
              <a:gd name="connsiteX707" fmla="*/ 2419195 w 12356823"/>
              <a:gd name="connsiteY707" fmla="*/ 2841178 h 4722863"/>
              <a:gd name="connsiteX708" fmla="*/ 2408552 w 12356823"/>
              <a:gd name="connsiteY708" fmla="*/ 2844275 h 4722863"/>
              <a:gd name="connsiteX709" fmla="*/ 2390816 w 12356823"/>
              <a:gd name="connsiteY709" fmla="*/ 2844275 h 4722863"/>
              <a:gd name="connsiteX710" fmla="*/ 2341156 w 12356823"/>
              <a:gd name="connsiteY710" fmla="*/ 2834984 h 4722863"/>
              <a:gd name="connsiteX711" fmla="*/ 2220550 w 12356823"/>
              <a:gd name="connsiteY711" fmla="*/ 2782326 h 4722863"/>
              <a:gd name="connsiteX712" fmla="*/ 2124776 w 12356823"/>
              <a:gd name="connsiteY712" fmla="*/ 2742060 h 4722863"/>
              <a:gd name="connsiteX713" fmla="*/ 2046737 w 12356823"/>
              <a:gd name="connsiteY713" fmla="*/ 2726573 h 4722863"/>
              <a:gd name="connsiteX714" fmla="*/ 2032549 w 12356823"/>
              <a:gd name="connsiteY714" fmla="*/ 2726573 h 4722863"/>
              <a:gd name="connsiteX715" fmla="*/ 1986435 w 12356823"/>
              <a:gd name="connsiteY715" fmla="*/ 2742060 h 4722863"/>
              <a:gd name="connsiteX716" fmla="*/ 1975793 w 12356823"/>
              <a:gd name="connsiteY716" fmla="*/ 2745157 h 4722863"/>
              <a:gd name="connsiteX717" fmla="*/ 1958056 w 12356823"/>
              <a:gd name="connsiteY717" fmla="*/ 2745157 h 4722863"/>
              <a:gd name="connsiteX718" fmla="*/ 1926132 w 12356823"/>
              <a:gd name="connsiteY718" fmla="*/ 2729670 h 4722863"/>
              <a:gd name="connsiteX719" fmla="*/ 1855188 w 12356823"/>
              <a:gd name="connsiteY719" fmla="*/ 2683208 h 4722863"/>
              <a:gd name="connsiteX720" fmla="*/ 961291 w 12356823"/>
              <a:gd name="connsiteY720" fmla="*/ 2419926 h 4722863"/>
              <a:gd name="connsiteX721" fmla="*/ 634950 w 12356823"/>
              <a:gd name="connsiteY721" fmla="*/ 2320807 h 4722863"/>
              <a:gd name="connsiteX722" fmla="*/ 546269 w 12356823"/>
              <a:gd name="connsiteY722" fmla="*/ 2283638 h 4722863"/>
              <a:gd name="connsiteX723" fmla="*/ 478873 w 12356823"/>
              <a:gd name="connsiteY723" fmla="*/ 2246469 h 4722863"/>
              <a:gd name="connsiteX724" fmla="*/ 432760 w 12356823"/>
              <a:gd name="connsiteY724" fmla="*/ 2206202 h 4722863"/>
              <a:gd name="connsiteX725" fmla="*/ 429212 w 12356823"/>
              <a:gd name="connsiteY725" fmla="*/ 2165936 h 4722863"/>
              <a:gd name="connsiteX726" fmla="*/ 432760 w 12356823"/>
              <a:gd name="connsiteY726" fmla="*/ 2165936 h 4722863"/>
              <a:gd name="connsiteX727" fmla="*/ 439853 w 12356823"/>
              <a:gd name="connsiteY727" fmla="*/ 2165936 h 4722863"/>
              <a:gd name="connsiteX728" fmla="*/ 468231 w 12356823"/>
              <a:gd name="connsiteY728" fmla="*/ 2169032 h 4722863"/>
              <a:gd name="connsiteX729" fmla="*/ 560458 w 12356823"/>
              <a:gd name="connsiteY729" fmla="*/ 2187618 h 4722863"/>
              <a:gd name="connsiteX730" fmla="*/ 833592 w 12356823"/>
              <a:gd name="connsiteY730" fmla="*/ 2252663 h 4722863"/>
              <a:gd name="connsiteX731" fmla="*/ 1216692 w 12356823"/>
              <a:gd name="connsiteY731" fmla="*/ 2330100 h 4722863"/>
              <a:gd name="connsiteX732" fmla="*/ 553364 w 12356823"/>
              <a:gd name="connsiteY732" fmla="*/ 2125669 h 4722863"/>
              <a:gd name="connsiteX733" fmla="*/ 372457 w 12356823"/>
              <a:gd name="connsiteY733" fmla="*/ 2066818 h 4722863"/>
              <a:gd name="connsiteX734" fmla="*/ 340531 w 12356823"/>
              <a:gd name="connsiteY734" fmla="*/ 2054430 h 4722863"/>
              <a:gd name="connsiteX735" fmla="*/ 315702 w 12356823"/>
              <a:gd name="connsiteY735" fmla="*/ 2032747 h 4722863"/>
              <a:gd name="connsiteX736" fmla="*/ 297966 w 12356823"/>
              <a:gd name="connsiteY736" fmla="*/ 2004870 h 4722863"/>
              <a:gd name="connsiteX737" fmla="*/ 276681 w 12356823"/>
              <a:gd name="connsiteY737" fmla="*/ 1964603 h 4722863"/>
              <a:gd name="connsiteX738" fmla="*/ 280230 w 12356823"/>
              <a:gd name="connsiteY738" fmla="*/ 1952214 h 4722863"/>
              <a:gd name="connsiteX739" fmla="*/ 287324 w 12356823"/>
              <a:gd name="connsiteY739" fmla="*/ 1949116 h 4722863"/>
              <a:gd name="connsiteX740" fmla="*/ 329890 w 12356823"/>
              <a:gd name="connsiteY740" fmla="*/ 1949116 h 4722863"/>
              <a:gd name="connsiteX741" fmla="*/ 450494 w 12356823"/>
              <a:gd name="connsiteY741" fmla="*/ 1986285 h 4722863"/>
              <a:gd name="connsiteX742" fmla="*/ 539175 w 12356823"/>
              <a:gd name="connsiteY742" fmla="*/ 2014163 h 4722863"/>
              <a:gd name="connsiteX743" fmla="*/ 542722 w 12356823"/>
              <a:gd name="connsiteY743" fmla="*/ 2014163 h 4722863"/>
              <a:gd name="connsiteX744" fmla="*/ 542722 w 12356823"/>
              <a:gd name="connsiteY744" fmla="*/ 2011065 h 4722863"/>
              <a:gd name="connsiteX745" fmla="*/ 539175 w 12356823"/>
              <a:gd name="connsiteY745" fmla="*/ 2011065 h 4722863"/>
              <a:gd name="connsiteX746" fmla="*/ 535628 w 12356823"/>
              <a:gd name="connsiteY746" fmla="*/ 2007968 h 4722863"/>
              <a:gd name="connsiteX747" fmla="*/ 485967 w 12356823"/>
              <a:gd name="connsiteY747" fmla="*/ 1980091 h 4722863"/>
              <a:gd name="connsiteX748" fmla="*/ 454043 w 12356823"/>
              <a:gd name="connsiteY748" fmla="*/ 1961507 h 4722863"/>
              <a:gd name="connsiteX749" fmla="*/ 443401 w 12356823"/>
              <a:gd name="connsiteY749" fmla="*/ 1952214 h 4722863"/>
              <a:gd name="connsiteX750" fmla="*/ 439853 w 12356823"/>
              <a:gd name="connsiteY750" fmla="*/ 1946019 h 4722863"/>
              <a:gd name="connsiteX751" fmla="*/ 439853 w 12356823"/>
              <a:gd name="connsiteY751" fmla="*/ 1936727 h 4722863"/>
              <a:gd name="connsiteX752" fmla="*/ 454043 w 12356823"/>
              <a:gd name="connsiteY752" fmla="*/ 1933629 h 4722863"/>
              <a:gd name="connsiteX753" fmla="*/ 546269 w 12356823"/>
              <a:gd name="connsiteY753" fmla="*/ 1936727 h 4722863"/>
              <a:gd name="connsiteX754" fmla="*/ 815856 w 12356823"/>
              <a:gd name="connsiteY754" fmla="*/ 1983189 h 4722863"/>
              <a:gd name="connsiteX755" fmla="*/ 808763 w 12356823"/>
              <a:gd name="connsiteY755" fmla="*/ 1976994 h 4722863"/>
              <a:gd name="connsiteX756" fmla="*/ 762649 w 12356823"/>
              <a:gd name="connsiteY756" fmla="*/ 1949116 h 4722863"/>
              <a:gd name="connsiteX757" fmla="*/ 730724 w 12356823"/>
              <a:gd name="connsiteY757" fmla="*/ 1952214 h 4722863"/>
              <a:gd name="connsiteX758" fmla="*/ 698800 w 12356823"/>
              <a:gd name="connsiteY758" fmla="*/ 1958409 h 4722863"/>
              <a:gd name="connsiteX759" fmla="*/ 656233 w 12356823"/>
              <a:gd name="connsiteY759" fmla="*/ 1942922 h 4722863"/>
              <a:gd name="connsiteX760" fmla="*/ 595930 w 12356823"/>
              <a:gd name="connsiteY760" fmla="*/ 1902655 h 4722863"/>
              <a:gd name="connsiteX761" fmla="*/ 546269 w 12356823"/>
              <a:gd name="connsiteY761" fmla="*/ 1856193 h 4722863"/>
              <a:gd name="connsiteX762" fmla="*/ 485967 w 12356823"/>
              <a:gd name="connsiteY762" fmla="*/ 1772562 h 4722863"/>
              <a:gd name="connsiteX763" fmla="*/ 464684 w 12356823"/>
              <a:gd name="connsiteY763" fmla="*/ 1723003 h 4722863"/>
              <a:gd name="connsiteX764" fmla="*/ 446948 w 12356823"/>
              <a:gd name="connsiteY764" fmla="*/ 1682736 h 4722863"/>
              <a:gd name="connsiteX765" fmla="*/ 446948 w 12356823"/>
              <a:gd name="connsiteY765" fmla="*/ 1651762 h 4722863"/>
              <a:gd name="connsiteX766" fmla="*/ 464684 w 12356823"/>
              <a:gd name="connsiteY766" fmla="*/ 1636275 h 4722863"/>
              <a:gd name="connsiteX767" fmla="*/ 478873 w 12356823"/>
              <a:gd name="connsiteY767" fmla="*/ 1642469 h 4722863"/>
              <a:gd name="connsiteX768" fmla="*/ 503703 w 12356823"/>
              <a:gd name="connsiteY768" fmla="*/ 1657957 h 4722863"/>
              <a:gd name="connsiteX769" fmla="*/ 546269 w 12356823"/>
              <a:gd name="connsiteY769" fmla="*/ 1695126 h 4722863"/>
              <a:gd name="connsiteX770" fmla="*/ 549816 w 12356823"/>
              <a:gd name="connsiteY770" fmla="*/ 1695126 h 4722863"/>
              <a:gd name="connsiteX771" fmla="*/ 549816 w 12356823"/>
              <a:gd name="connsiteY771" fmla="*/ 1679639 h 4722863"/>
              <a:gd name="connsiteX772" fmla="*/ 535628 w 12356823"/>
              <a:gd name="connsiteY772" fmla="*/ 1636275 h 4722863"/>
              <a:gd name="connsiteX773" fmla="*/ 532080 w 12356823"/>
              <a:gd name="connsiteY773" fmla="*/ 1620787 h 4722863"/>
              <a:gd name="connsiteX774" fmla="*/ 532080 w 12356823"/>
              <a:gd name="connsiteY774" fmla="*/ 1614593 h 4722863"/>
              <a:gd name="connsiteX775" fmla="*/ 535628 w 12356823"/>
              <a:gd name="connsiteY775" fmla="*/ 1611495 h 4722863"/>
              <a:gd name="connsiteX776" fmla="*/ 539175 w 12356823"/>
              <a:gd name="connsiteY776" fmla="*/ 1611495 h 4722863"/>
              <a:gd name="connsiteX777" fmla="*/ 546269 w 12356823"/>
              <a:gd name="connsiteY777" fmla="*/ 1614593 h 4722863"/>
              <a:gd name="connsiteX778" fmla="*/ 571100 w 12356823"/>
              <a:gd name="connsiteY778" fmla="*/ 1642469 h 4722863"/>
              <a:gd name="connsiteX779" fmla="*/ 656233 w 12356823"/>
              <a:gd name="connsiteY779" fmla="*/ 1704418 h 4722863"/>
              <a:gd name="connsiteX780" fmla="*/ 766196 w 12356823"/>
              <a:gd name="connsiteY780" fmla="*/ 1750880 h 4722863"/>
              <a:gd name="connsiteX781" fmla="*/ 872613 w 12356823"/>
              <a:gd name="connsiteY781" fmla="*/ 1766367 h 4722863"/>
              <a:gd name="connsiteX782" fmla="*/ 911631 w 12356823"/>
              <a:gd name="connsiteY782" fmla="*/ 1760173 h 4722863"/>
              <a:gd name="connsiteX783" fmla="*/ 932914 w 12356823"/>
              <a:gd name="connsiteY783" fmla="*/ 1741588 h 4722863"/>
              <a:gd name="connsiteX784" fmla="*/ 936462 w 12356823"/>
              <a:gd name="connsiteY784" fmla="*/ 1738491 h 4722863"/>
              <a:gd name="connsiteX785" fmla="*/ 940009 w 12356823"/>
              <a:gd name="connsiteY785" fmla="*/ 1738491 h 4722863"/>
              <a:gd name="connsiteX786" fmla="*/ 954198 w 12356823"/>
              <a:gd name="connsiteY786" fmla="*/ 1738491 h 4722863"/>
              <a:gd name="connsiteX787" fmla="*/ 982576 w 12356823"/>
              <a:gd name="connsiteY787" fmla="*/ 1744685 h 4722863"/>
              <a:gd name="connsiteX788" fmla="*/ 996764 w 12356823"/>
              <a:gd name="connsiteY788" fmla="*/ 1744685 h 4722863"/>
              <a:gd name="connsiteX789" fmla="*/ 996764 w 12356823"/>
              <a:gd name="connsiteY789" fmla="*/ 1741588 h 4722863"/>
              <a:gd name="connsiteX790" fmla="*/ 996764 w 12356823"/>
              <a:gd name="connsiteY790" fmla="*/ 1738491 h 4722863"/>
              <a:gd name="connsiteX791" fmla="*/ 996764 w 12356823"/>
              <a:gd name="connsiteY791" fmla="*/ 1735393 h 4722863"/>
              <a:gd name="connsiteX792" fmla="*/ 989670 w 12356823"/>
              <a:gd name="connsiteY792" fmla="*/ 1729198 h 4722863"/>
              <a:gd name="connsiteX793" fmla="*/ 968386 w 12356823"/>
              <a:gd name="connsiteY793" fmla="*/ 1710613 h 4722863"/>
              <a:gd name="connsiteX794" fmla="*/ 826499 w 12356823"/>
              <a:gd name="connsiteY794" fmla="*/ 1648664 h 4722863"/>
              <a:gd name="connsiteX795" fmla="*/ 755554 w 12356823"/>
              <a:gd name="connsiteY795" fmla="*/ 1648664 h 4722863"/>
              <a:gd name="connsiteX796" fmla="*/ 709441 w 12356823"/>
              <a:gd name="connsiteY796" fmla="*/ 1676542 h 4722863"/>
              <a:gd name="connsiteX797" fmla="*/ 702346 w 12356823"/>
              <a:gd name="connsiteY797" fmla="*/ 1682736 h 4722863"/>
              <a:gd name="connsiteX798" fmla="*/ 688158 w 12356823"/>
              <a:gd name="connsiteY798" fmla="*/ 1682736 h 4722863"/>
              <a:gd name="connsiteX799" fmla="*/ 659779 w 12356823"/>
              <a:gd name="connsiteY799" fmla="*/ 1664151 h 4722863"/>
              <a:gd name="connsiteX800" fmla="*/ 574647 w 12356823"/>
              <a:gd name="connsiteY800" fmla="*/ 1589813 h 4722863"/>
              <a:gd name="connsiteX801" fmla="*/ 482420 w 12356823"/>
              <a:gd name="connsiteY801" fmla="*/ 1521669 h 4722863"/>
              <a:gd name="connsiteX802" fmla="*/ 439853 w 12356823"/>
              <a:gd name="connsiteY802" fmla="*/ 1509279 h 4722863"/>
              <a:gd name="connsiteX803" fmla="*/ 411476 w 12356823"/>
              <a:gd name="connsiteY803" fmla="*/ 1518571 h 4722863"/>
              <a:gd name="connsiteX804" fmla="*/ 404381 w 12356823"/>
              <a:gd name="connsiteY804" fmla="*/ 1521669 h 4722863"/>
              <a:gd name="connsiteX805" fmla="*/ 393740 w 12356823"/>
              <a:gd name="connsiteY805" fmla="*/ 1518571 h 4722863"/>
              <a:gd name="connsiteX806" fmla="*/ 368909 w 12356823"/>
              <a:gd name="connsiteY806" fmla="*/ 1496889 h 4722863"/>
              <a:gd name="connsiteX807" fmla="*/ 308607 w 12356823"/>
              <a:gd name="connsiteY807" fmla="*/ 1422551 h 4722863"/>
              <a:gd name="connsiteX808" fmla="*/ 290871 w 12356823"/>
              <a:gd name="connsiteY808" fmla="*/ 1385382 h 4722863"/>
              <a:gd name="connsiteX809" fmla="*/ 283776 w 12356823"/>
              <a:gd name="connsiteY809" fmla="*/ 1369895 h 4722863"/>
              <a:gd name="connsiteX810" fmla="*/ 276681 w 12356823"/>
              <a:gd name="connsiteY810" fmla="*/ 1357504 h 4722863"/>
              <a:gd name="connsiteX811" fmla="*/ 276681 w 12356823"/>
              <a:gd name="connsiteY811" fmla="*/ 1354408 h 4722863"/>
              <a:gd name="connsiteX812" fmla="*/ 280230 w 12356823"/>
              <a:gd name="connsiteY812" fmla="*/ 1351310 h 4722863"/>
              <a:gd name="connsiteX813" fmla="*/ 280230 w 12356823"/>
              <a:gd name="connsiteY813" fmla="*/ 1348212 h 4722863"/>
              <a:gd name="connsiteX814" fmla="*/ 283776 w 12356823"/>
              <a:gd name="connsiteY814" fmla="*/ 1348212 h 4722863"/>
              <a:gd name="connsiteX815" fmla="*/ 308607 w 12356823"/>
              <a:gd name="connsiteY815" fmla="*/ 1366797 h 4722863"/>
              <a:gd name="connsiteX816" fmla="*/ 358267 w 12356823"/>
              <a:gd name="connsiteY816" fmla="*/ 1400869 h 4722863"/>
              <a:gd name="connsiteX817" fmla="*/ 361815 w 12356823"/>
              <a:gd name="connsiteY817" fmla="*/ 1400869 h 4722863"/>
              <a:gd name="connsiteX818" fmla="*/ 365362 w 12356823"/>
              <a:gd name="connsiteY818" fmla="*/ 1397771 h 4722863"/>
              <a:gd name="connsiteX819" fmla="*/ 368909 w 12356823"/>
              <a:gd name="connsiteY819" fmla="*/ 1385382 h 4722863"/>
              <a:gd name="connsiteX820" fmla="*/ 351174 w 12356823"/>
              <a:gd name="connsiteY820" fmla="*/ 1283166 h 4722863"/>
              <a:gd name="connsiteX821" fmla="*/ 351174 w 12356823"/>
              <a:gd name="connsiteY821" fmla="*/ 1258386 h 4722863"/>
              <a:gd name="connsiteX822" fmla="*/ 347626 w 12356823"/>
              <a:gd name="connsiteY822" fmla="*/ 1252191 h 4722863"/>
              <a:gd name="connsiteX823" fmla="*/ 347626 w 12356823"/>
              <a:gd name="connsiteY823" fmla="*/ 1249093 h 4722863"/>
              <a:gd name="connsiteX824" fmla="*/ 344079 w 12356823"/>
              <a:gd name="connsiteY824" fmla="*/ 1249093 h 4722863"/>
              <a:gd name="connsiteX825" fmla="*/ 340531 w 12356823"/>
              <a:gd name="connsiteY825" fmla="*/ 1249093 h 4722863"/>
              <a:gd name="connsiteX826" fmla="*/ 336985 w 12356823"/>
              <a:gd name="connsiteY826" fmla="*/ 1255288 h 4722863"/>
              <a:gd name="connsiteX827" fmla="*/ 312154 w 12356823"/>
              <a:gd name="connsiteY827" fmla="*/ 1264581 h 4722863"/>
              <a:gd name="connsiteX828" fmla="*/ 269588 w 12356823"/>
              <a:gd name="connsiteY828" fmla="*/ 1249093 h 4722863"/>
              <a:gd name="connsiteX829" fmla="*/ 209285 w 12356823"/>
              <a:gd name="connsiteY829" fmla="*/ 1174755 h 4722863"/>
              <a:gd name="connsiteX830" fmla="*/ 163172 w 12356823"/>
              <a:gd name="connsiteY830" fmla="*/ 1084930 h 4722863"/>
              <a:gd name="connsiteX831" fmla="*/ 117058 w 12356823"/>
              <a:gd name="connsiteY831" fmla="*/ 1007493 h 4722863"/>
              <a:gd name="connsiteX832" fmla="*/ 92227 w 12356823"/>
              <a:gd name="connsiteY832" fmla="*/ 982713 h 4722863"/>
              <a:gd name="connsiteX833" fmla="*/ 60303 w 12356823"/>
              <a:gd name="connsiteY833" fmla="*/ 973421 h 4722863"/>
              <a:gd name="connsiteX834" fmla="*/ 56755 w 12356823"/>
              <a:gd name="connsiteY834" fmla="*/ 970323 h 4722863"/>
              <a:gd name="connsiteX835" fmla="*/ 53209 w 12356823"/>
              <a:gd name="connsiteY835" fmla="*/ 967226 h 4722863"/>
              <a:gd name="connsiteX836" fmla="*/ 39019 w 12356823"/>
              <a:gd name="connsiteY836" fmla="*/ 954836 h 4722863"/>
              <a:gd name="connsiteX837" fmla="*/ 21283 w 12356823"/>
              <a:gd name="connsiteY837" fmla="*/ 914570 h 4722863"/>
              <a:gd name="connsiteX838" fmla="*/ 3547 w 12356823"/>
              <a:gd name="connsiteY838" fmla="*/ 874304 h 4722863"/>
              <a:gd name="connsiteX839" fmla="*/ 0 w 12356823"/>
              <a:gd name="connsiteY839" fmla="*/ 861914 h 4722863"/>
              <a:gd name="connsiteX840" fmla="*/ 3547 w 12356823"/>
              <a:gd name="connsiteY840" fmla="*/ 855718 h 4722863"/>
              <a:gd name="connsiteX841" fmla="*/ 10642 w 12356823"/>
              <a:gd name="connsiteY841" fmla="*/ 858816 h 4722863"/>
              <a:gd name="connsiteX842" fmla="*/ 24831 w 12356823"/>
              <a:gd name="connsiteY842" fmla="*/ 865011 h 4722863"/>
              <a:gd name="connsiteX843" fmla="*/ 63850 w 12356823"/>
              <a:gd name="connsiteY843" fmla="*/ 892887 h 4722863"/>
              <a:gd name="connsiteX844" fmla="*/ 166718 w 12356823"/>
              <a:gd name="connsiteY844" fmla="*/ 973421 h 4722863"/>
              <a:gd name="connsiteX845" fmla="*/ 266040 w 12356823"/>
              <a:gd name="connsiteY845" fmla="*/ 1044662 h 4722863"/>
              <a:gd name="connsiteX846" fmla="*/ 297966 w 12356823"/>
              <a:gd name="connsiteY846" fmla="*/ 1066344 h 4722863"/>
              <a:gd name="connsiteX847" fmla="*/ 305060 w 12356823"/>
              <a:gd name="connsiteY847" fmla="*/ 1069442 h 4722863"/>
              <a:gd name="connsiteX848" fmla="*/ 308607 w 12356823"/>
              <a:gd name="connsiteY848" fmla="*/ 1069442 h 4722863"/>
              <a:gd name="connsiteX849" fmla="*/ 308607 w 12356823"/>
              <a:gd name="connsiteY849" fmla="*/ 1066344 h 4722863"/>
              <a:gd name="connsiteX850" fmla="*/ 305060 w 12356823"/>
              <a:gd name="connsiteY850" fmla="*/ 1016785 h 4722863"/>
              <a:gd name="connsiteX851" fmla="*/ 301512 w 12356823"/>
              <a:gd name="connsiteY851" fmla="*/ 1013688 h 4722863"/>
              <a:gd name="connsiteX852" fmla="*/ 280230 w 12356823"/>
              <a:gd name="connsiteY852" fmla="*/ 1007493 h 4722863"/>
              <a:gd name="connsiteX853" fmla="*/ 145436 w 12356823"/>
              <a:gd name="connsiteY853" fmla="*/ 880498 h 4722863"/>
              <a:gd name="connsiteX854" fmla="*/ 81586 w 12356823"/>
              <a:gd name="connsiteY854" fmla="*/ 781380 h 4722863"/>
              <a:gd name="connsiteX855" fmla="*/ 60303 w 12356823"/>
              <a:gd name="connsiteY855" fmla="*/ 731822 h 4722863"/>
              <a:gd name="connsiteX856" fmla="*/ 49660 w 12356823"/>
              <a:gd name="connsiteY856" fmla="*/ 685360 h 4722863"/>
              <a:gd name="connsiteX857" fmla="*/ 53209 w 12356823"/>
              <a:gd name="connsiteY857" fmla="*/ 669873 h 4722863"/>
              <a:gd name="connsiteX858" fmla="*/ 60303 w 12356823"/>
              <a:gd name="connsiteY858" fmla="*/ 660580 h 4722863"/>
              <a:gd name="connsiteX859" fmla="*/ 92227 w 12356823"/>
              <a:gd name="connsiteY859" fmla="*/ 666775 h 4722863"/>
              <a:gd name="connsiteX860" fmla="*/ 191549 w 12356823"/>
              <a:gd name="connsiteY860" fmla="*/ 731822 h 4722863"/>
              <a:gd name="connsiteX861" fmla="*/ 305060 w 12356823"/>
              <a:gd name="connsiteY861" fmla="*/ 812355 h 4722863"/>
              <a:gd name="connsiteX862" fmla="*/ 379552 w 12356823"/>
              <a:gd name="connsiteY862" fmla="*/ 852621 h 4722863"/>
              <a:gd name="connsiteX863" fmla="*/ 670422 w 12356823"/>
              <a:gd name="connsiteY863" fmla="*/ 967226 h 4722863"/>
              <a:gd name="connsiteX864" fmla="*/ 766196 w 12356823"/>
              <a:gd name="connsiteY864" fmla="*/ 1001298 h 4722863"/>
              <a:gd name="connsiteX865" fmla="*/ 865518 w 12356823"/>
              <a:gd name="connsiteY865" fmla="*/ 1060150 h 4722863"/>
              <a:gd name="connsiteX866" fmla="*/ 954198 w 12356823"/>
              <a:gd name="connsiteY866" fmla="*/ 1088026 h 4722863"/>
              <a:gd name="connsiteX867" fmla="*/ 1007407 w 12356823"/>
              <a:gd name="connsiteY867" fmla="*/ 1106612 h 4722863"/>
              <a:gd name="connsiteX868" fmla="*/ 1025143 w 12356823"/>
              <a:gd name="connsiteY868" fmla="*/ 1115904 h 4722863"/>
              <a:gd name="connsiteX869" fmla="*/ 1032237 w 12356823"/>
              <a:gd name="connsiteY869" fmla="*/ 1119001 h 4722863"/>
              <a:gd name="connsiteX870" fmla="*/ 1032237 w 12356823"/>
              <a:gd name="connsiteY870" fmla="*/ 1122099 h 4722863"/>
              <a:gd name="connsiteX871" fmla="*/ 1032237 w 12356823"/>
              <a:gd name="connsiteY871" fmla="*/ 1131392 h 4722863"/>
              <a:gd name="connsiteX872" fmla="*/ 1032237 w 12356823"/>
              <a:gd name="connsiteY872" fmla="*/ 1134488 h 4722863"/>
              <a:gd name="connsiteX873" fmla="*/ 1021596 w 12356823"/>
              <a:gd name="connsiteY873" fmla="*/ 1140683 h 4722863"/>
              <a:gd name="connsiteX874" fmla="*/ 982576 w 12356823"/>
              <a:gd name="connsiteY874" fmla="*/ 1134488 h 4722863"/>
              <a:gd name="connsiteX875" fmla="*/ 858423 w 12356823"/>
              <a:gd name="connsiteY875" fmla="*/ 1081832 h 4722863"/>
              <a:gd name="connsiteX876" fmla="*/ 720082 w 12356823"/>
              <a:gd name="connsiteY876" fmla="*/ 1032272 h 4722863"/>
              <a:gd name="connsiteX877" fmla="*/ 673969 w 12356823"/>
              <a:gd name="connsiteY877" fmla="*/ 1022981 h 4722863"/>
              <a:gd name="connsiteX878" fmla="*/ 659779 w 12356823"/>
              <a:gd name="connsiteY878" fmla="*/ 1026078 h 4722863"/>
              <a:gd name="connsiteX879" fmla="*/ 649138 w 12356823"/>
              <a:gd name="connsiteY879" fmla="*/ 1035370 h 4722863"/>
              <a:gd name="connsiteX880" fmla="*/ 652686 w 12356823"/>
              <a:gd name="connsiteY880" fmla="*/ 1038468 h 4722863"/>
              <a:gd name="connsiteX881" fmla="*/ 649138 w 12356823"/>
              <a:gd name="connsiteY881" fmla="*/ 1038468 h 4722863"/>
              <a:gd name="connsiteX882" fmla="*/ 652686 w 12356823"/>
              <a:gd name="connsiteY882" fmla="*/ 1041565 h 4722863"/>
              <a:gd name="connsiteX883" fmla="*/ 663328 w 12356823"/>
              <a:gd name="connsiteY883" fmla="*/ 1050857 h 4722863"/>
              <a:gd name="connsiteX884" fmla="*/ 709441 w 12356823"/>
              <a:gd name="connsiteY884" fmla="*/ 1078734 h 4722863"/>
              <a:gd name="connsiteX885" fmla="*/ 847782 w 12356823"/>
              <a:gd name="connsiteY885" fmla="*/ 1146877 h 4722863"/>
              <a:gd name="connsiteX886" fmla="*/ 996764 w 12356823"/>
              <a:gd name="connsiteY886" fmla="*/ 1215022 h 4722863"/>
              <a:gd name="connsiteX887" fmla="*/ 1046427 w 12356823"/>
              <a:gd name="connsiteY887" fmla="*/ 1239801 h 4722863"/>
              <a:gd name="connsiteX888" fmla="*/ 1074804 w 12356823"/>
              <a:gd name="connsiteY888" fmla="*/ 1255288 h 4722863"/>
              <a:gd name="connsiteX889" fmla="*/ 1081899 w 12356823"/>
              <a:gd name="connsiteY889" fmla="*/ 1264581 h 4722863"/>
              <a:gd name="connsiteX890" fmla="*/ 1088992 w 12356823"/>
              <a:gd name="connsiteY890" fmla="*/ 1264581 h 4722863"/>
              <a:gd name="connsiteX891" fmla="*/ 1103182 w 12356823"/>
              <a:gd name="connsiteY891" fmla="*/ 1249093 h 4722863"/>
              <a:gd name="connsiteX892" fmla="*/ 1103182 w 12356823"/>
              <a:gd name="connsiteY892" fmla="*/ 1245997 h 4722863"/>
              <a:gd name="connsiteX893" fmla="*/ 1113823 w 12356823"/>
              <a:gd name="connsiteY893" fmla="*/ 1242899 h 4722863"/>
              <a:gd name="connsiteX894" fmla="*/ 1135106 w 12356823"/>
              <a:gd name="connsiteY894" fmla="*/ 1242899 h 4722863"/>
              <a:gd name="connsiteX895" fmla="*/ 1209597 w 12356823"/>
              <a:gd name="connsiteY895" fmla="*/ 1258386 h 4722863"/>
              <a:gd name="connsiteX896" fmla="*/ 1344391 w 12356823"/>
              <a:gd name="connsiteY896" fmla="*/ 1301751 h 4722863"/>
              <a:gd name="connsiteX897" fmla="*/ 1202503 w 12356823"/>
              <a:gd name="connsiteY897" fmla="*/ 1215022 h 4722863"/>
              <a:gd name="connsiteX898" fmla="*/ 1145749 w 12356823"/>
              <a:gd name="connsiteY898" fmla="*/ 1171658 h 4722863"/>
              <a:gd name="connsiteX899" fmla="*/ 1096087 w 12356823"/>
              <a:gd name="connsiteY899" fmla="*/ 1119001 h 4722863"/>
              <a:gd name="connsiteX900" fmla="*/ 1085446 w 12356823"/>
              <a:gd name="connsiteY900" fmla="*/ 1103514 h 4722863"/>
              <a:gd name="connsiteX901" fmla="*/ 1085446 w 12356823"/>
              <a:gd name="connsiteY901" fmla="*/ 1100417 h 4722863"/>
              <a:gd name="connsiteX902" fmla="*/ 1088992 w 12356823"/>
              <a:gd name="connsiteY902" fmla="*/ 1100417 h 4722863"/>
              <a:gd name="connsiteX903" fmla="*/ 1088992 w 12356823"/>
              <a:gd name="connsiteY903" fmla="*/ 1097319 h 4722863"/>
              <a:gd name="connsiteX904" fmla="*/ 1092540 w 12356823"/>
              <a:gd name="connsiteY904" fmla="*/ 1100417 h 4722863"/>
              <a:gd name="connsiteX905" fmla="*/ 1099635 w 12356823"/>
              <a:gd name="connsiteY905" fmla="*/ 1103514 h 4722863"/>
              <a:gd name="connsiteX906" fmla="*/ 1113823 w 12356823"/>
              <a:gd name="connsiteY906" fmla="*/ 1112806 h 4722863"/>
              <a:gd name="connsiteX907" fmla="*/ 1159937 w 12356823"/>
              <a:gd name="connsiteY907" fmla="*/ 1146877 h 4722863"/>
              <a:gd name="connsiteX908" fmla="*/ 1429525 w 12356823"/>
              <a:gd name="connsiteY908" fmla="*/ 1307946 h 4722863"/>
              <a:gd name="connsiteX909" fmla="*/ 1422430 w 12356823"/>
              <a:gd name="connsiteY909" fmla="*/ 1307946 h 4722863"/>
              <a:gd name="connsiteX910" fmla="*/ 1422430 w 12356823"/>
              <a:gd name="connsiteY910" fmla="*/ 1326530 h 4722863"/>
              <a:gd name="connsiteX911" fmla="*/ 1418882 w 12356823"/>
              <a:gd name="connsiteY911" fmla="*/ 1326530 h 4722863"/>
              <a:gd name="connsiteX912" fmla="*/ 1433071 w 12356823"/>
              <a:gd name="connsiteY912" fmla="*/ 1332724 h 4722863"/>
              <a:gd name="connsiteX913" fmla="*/ 1514657 w 12356823"/>
              <a:gd name="connsiteY913" fmla="*/ 1363699 h 4722863"/>
              <a:gd name="connsiteX914" fmla="*/ 1479185 w 12356823"/>
              <a:gd name="connsiteY914" fmla="*/ 1323433 h 4722863"/>
              <a:gd name="connsiteX915" fmla="*/ 1464997 w 12356823"/>
              <a:gd name="connsiteY915" fmla="*/ 1307946 h 4722863"/>
              <a:gd name="connsiteX916" fmla="*/ 1461449 w 12356823"/>
              <a:gd name="connsiteY916" fmla="*/ 1295555 h 4722863"/>
              <a:gd name="connsiteX917" fmla="*/ 1464997 w 12356823"/>
              <a:gd name="connsiteY917" fmla="*/ 1292459 h 4722863"/>
              <a:gd name="connsiteX918" fmla="*/ 1468543 w 12356823"/>
              <a:gd name="connsiteY918" fmla="*/ 1292459 h 4722863"/>
              <a:gd name="connsiteX919" fmla="*/ 1475637 w 12356823"/>
              <a:gd name="connsiteY919" fmla="*/ 1292459 h 4722863"/>
              <a:gd name="connsiteX920" fmla="*/ 1486280 w 12356823"/>
              <a:gd name="connsiteY920" fmla="*/ 1295555 h 4722863"/>
              <a:gd name="connsiteX921" fmla="*/ 1518205 w 12356823"/>
              <a:gd name="connsiteY921" fmla="*/ 1311043 h 4722863"/>
              <a:gd name="connsiteX922" fmla="*/ 1489826 w 12356823"/>
              <a:gd name="connsiteY922" fmla="*/ 1280068 h 4722863"/>
              <a:gd name="connsiteX923" fmla="*/ 1464997 w 12356823"/>
              <a:gd name="connsiteY923" fmla="*/ 1258386 h 4722863"/>
              <a:gd name="connsiteX924" fmla="*/ 1461449 w 12356823"/>
              <a:gd name="connsiteY924" fmla="*/ 1255288 h 4722863"/>
              <a:gd name="connsiteX925" fmla="*/ 1457902 w 12356823"/>
              <a:gd name="connsiteY925" fmla="*/ 1255288 h 4722863"/>
              <a:gd name="connsiteX926" fmla="*/ 1447259 w 12356823"/>
              <a:gd name="connsiteY926" fmla="*/ 1249093 h 4722863"/>
              <a:gd name="connsiteX927" fmla="*/ 1401146 w 12356823"/>
              <a:gd name="connsiteY927" fmla="*/ 1202632 h 4722863"/>
              <a:gd name="connsiteX928" fmla="*/ 1397599 w 12356823"/>
              <a:gd name="connsiteY928" fmla="*/ 1199535 h 4722863"/>
              <a:gd name="connsiteX929" fmla="*/ 1390504 w 12356823"/>
              <a:gd name="connsiteY929" fmla="*/ 1193339 h 4722863"/>
              <a:gd name="connsiteX930" fmla="*/ 1323108 w 12356823"/>
              <a:gd name="connsiteY930" fmla="*/ 1159268 h 4722863"/>
              <a:gd name="connsiteX931" fmla="*/ 1234428 w 12356823"/>
              <a:gd name="connsiteY931" fmla="*/ 1128293 h 4722863"/>
              <a:gd name="connsiteX932" fmla="*/ 1223786 w 12356823"/>
              <a:gd name="connsiteY932" fmla="*/ 1125195 h 4722863"/>
              <a:gd name="connsiteX933" fmla="*/ 1213145 w 12356823"/>
              <a:gd name="connsiteY933" fmla="*/ 1119001 h 4722863"/>
              <a:gd name="connsiteX934" fmla="*/ 1188314 w 12356823"/>
              <a:gd name="connsiteY934" fmla="*/ 1103514 h 4722863"/>
              <a:gd name="connsiteX935" fmla="*/ 1149295 w 12356823"/>
              <a:gd name="connsiteY935" fmla="*/ 1060150 h 4722863"/>
              <a:gd name="connsiteX936" fmla="*/ 1124464 w 12356823"/>
              <a:gd name="connsiteY936" fmla="*/ 1022981 h 4722863"/>
              <a:gd name="connsiteX937" fmla="*/ 1120918 w 12356823"/>
              <a:gd name="connsiteY937" fmla="*/ 1010590 h 4722863"/>
              <a:gd name="connsiteX938" fmla="*/ 1124464 w 12356823"/>
              <a:gd name="connsiteY938" fmla="*/ 1007493 h 4722863"/>
              <a:gd name="connsiteX939" fmla="*/ 1010955 w 12356823"/>
              <a:gd name="connsiteY939" fmla="*/ 920765 h 4722863"/>
              <a:gd name="connsiteX940" fmla="*/ 957745 w 12356823"/>
              <a:gd name="connsiteY940" fmla="*/ 871205 h 4722863"/>
              <a:gd name="connsiteX941" fmla="*/ 918726 w 12356823"/>
              <a:gd name="connsiteY941" fmla="*/ 815452 h 4722863"/>
              <a:gd name="connsiteX942" fmla="*/ 908085 w 12356823"/>
              <a:gd name="connsiteY942" fmla="*/ 796867 h 4722863"/>
              <a:gd name="connsiteX943" fmla="*/ 908085 w 12356823"/>
              <a:gd name="connsiteY943" fmla="*/ 793769 h 4722863"/>
              <a:gd name="connsiteX944" fmla="*/ 911631 w 12356823"/>
              <a:gd name="connsiteY944" fmla="*/ 793769 h 4722863"/>
              <a:gd name="connsiteX945" fmla="*/ 915178 w 12356823"/>
              <a:gd name="connsiteY945" fmla="*/ 796867 h 4722863"/>
              <a:gd name="connsiteX946" fmla="*/ 918726 w 12356823"/>
              <a:gd name="connsiteY946" fmla="*/ 799965 h 4722863"/>
              <a:gd name="connsiteX947" fmla="*/ 932914 w 12356823"/>
              <a:gd name="connsiteY947" fmla="*/ 812355 h 4722863"/>
              <a:gd name="connsiteX948" fmla="*/ 971934 w 12356823"/>
              <a:gd name="connsiteY948" fmla="*/ 849523 h 4722863"/>
              <a:gd name="connsiteX949" fmla="*/ 1220240 w 12356823"/>
              <a:gd name="connsiteY949" fmla="*/ 1035370 h 4722863"/>
              <a:gd name="connsiteX950" fmla="*/ 1213145 w 12356823"/>
              <a:gd name="connsiteY950" fmla="*/ 1035370 h 4722863"/>
              <a:gd name="connsiteX951" fmla="*/ 1213145 w 12356823"/>
              <a:gd name="connsiteY951" fmla="*/ 1041565 h 4722863"/>
              <a:gd name="connsiteX952" fmla="*/ 1287636 w 12356823"/>
              <a:gd name="connsiteY952" fmla="*/ 1075637 h 4722863"/>
              <a:gd name="connsiteX953" fmla="*/ 1355032 w 12356823"/>
              <a:gd name="connsiteY953" fmla="*/ 1106612 h 4722863"/>
              <a:gd name="connsiteX954" fmla="*/ 1276994 w 12356823"/>
              <a:gd name="connsiteY954" fmla="*/ 1013688 h 4722863"/>
              <a:gd name="connsiteX955" fmla="*/ 1188314 w 12356823"/>
              <a:gd name="connsiteY955" fmla="*/ 920765 h 4722863"/>
              <a:gd name="connsiteX956" fmla="*/ 1128012 w 12356823"/>
              <a:gd name="connsiteY956" fmla="*/ 877401 h 4722863"/>
              <a:gd name="connsiteX957" fmla="*/ 1046427 w 12356823"/>
              <a:gd name="connsiteY957" fmla="*/ 840231 h 4722863"/>
              <a:gd name="connsiteX958" fmla="*/ 1039332 w 12356823"/>
              <a:gd name="connsiteY958" fmla="*/ 834036 h 4722863"/>
              <a:gd name="connsiteX959" fmla="*/ 1025143 w 12356823"/>
              <a:gd name="connsiteY959" fmla="*/ 827841 h 4722863"/>
              <a:gd name="connsiteX960" fmla="*/ 1007407 w 12356823"/>
              <a:gd name="connsiteY960" fmla="*/ 812355 h 4722863"/>
              <a:gd name="connsiteX961" fmla="*/ 968386 w 12356823"/>
              <a:gd name="connsiteY961" fmla="*/ 765893 h 4722863"/>
              <a:gd name="connsiteX962" fmla="*/ 950650 w 12356823"/>
              <a:gd name="connsiteY962" fmla="*/ 725626 h 4722863"/>
              <a:gd name="connsiteX963" fmla="*/ 950650 w 12356823"/>
              <a:gd name="connsiteY963" fmla="*/ 716334 h 4722863"/>
              <a:gd name="connsiteX964" fmla="*/ 954198 w 12356823"/>
              <a:gd name="connsiteY964" fmla="*/ 713236 h 4722863"/>
              <a:gd name="connsiteX965" fmla="*/ 957745 w 12356823"/>
              <a:gd name="connsiteY965" fmla="*/ 713236 h 4722863"/>
              <a:gd name="connsiteX966" fmla="*/ 975481 w 12356823"/>
              <a:gd name="connsiteY966" fmla="*/ 722529 h 4722863"/>
              <a:gd name="connsiteX967" fmla="*/ 1007407 w 12356823"/>
              <a:gd name="connsiteY967" fmla="*/ 738016 h 4722863"/>
              <a:gd name="connsiteX968" fmla="*/ 1099635 w 12356823"/>
              <a:gd name="connsiteY968" fmla="*/ 793769 h 4722863"/>
              <a:gd name="connsiteX969" fmla="*/ 1351486 w 12356823"/>
              <a:gd name="connsiteY969" fmla="*/ 945544 h 4722863"/>
              <a:gd name="connsiteX970" fmla="*/ 1362127 w 12356823"/>
              <a:gd name="connsiteY970" fmla="*/ 951739 h 4722863"/>
              <a:gd name="connsiteX971" fmla="*/ 1362127 w 12356823"/>
              <a:gd name="connsiteY971" fmla="*/ 926960 h 4722863"/>
              <a:gd name="connsiteX972" fmla="*/ 1379863 w 12356823"/>
              <a:gd name="connsiteY972" fmla="*/ 914570 h 4722863"/>
              <a:gd name="connsiteX973" fmla="*/ 1404694 w 12356823"/>
              <a:gd name="connsiteY973" fmla="*/ 917667 h 4722863"/>
              <a:gd name="connsiteX974" fmla="*/ 1340844 w 12356823"/>
              <a:gd name="connsiteY974" fmla="*/ 865011 h 4722863"/>
              <a:gd name="connsiteX975" fmla="*/ 1213145 w 12356823"/>
              <a:gd name="connsiteY975" fmla="*/ 747309 h 4722863"/>
              <a:gd name="connsiteX976" fmla="*/ 1181221 w 12356823"/>
              <a:gd name="connsiteY976" fmla="*/ 694651 h 4722863"/>
              <a:gd name="connsiteX977" fmla="*/ 1177673 w 12356823"/>
              <a:gd name="connsiteY977" fmla="*/ 657482 h 4722863"/>
              <a:gd name="connsiteX978" fmla="*/ 1191861 w 12356823"/>
              <a:gd name="connsiteY978" fmla="*/ 648190 h 4722863"/>
              <a:gd name="connsiteX979" fmla="*/ 1216692 w 12356823"/>
              <a:gd name="connsiteY979" fmla="*/ 651288 h 4722863"/>
              <a:gd name="connsiteX980" fmla="*/ 1301825 w 12356823"/>
              <a:gd name="connsiteY980" fmla="*/ 682262 h 4722863"/>
              <a:gd name="connsiteX981" fmla="*/ 2680813 w 12356823"/>
              <a:gd name="connsiteY981" fmla="*/ 1139574 h 4722863"/>
              <a:gd name="connsiteX982" fmla="*/ 2791519 w 12356823"/>
              <a:gd name="connsiteY982" fmla="*/ 1149751 h 4722863"/>
              <a:gd name="connsiteX983" fmla="*/ 2737786 w 12356823"/>
              <a:gd name="connsiteY983" fmla="*/ 1087636 h 4722863"/>
              <a:gd name="connsiteX984" fmla="*/ 2713106 w 12356823"/>
              <a:gd name="connsiteY984" fmla="*/ 1050371 h 4722863"/>
              <a:gd name="connsiteX985" fmla="*/ 2688425 w 12356823"/>
              <a:gd name="connsiteY985" fmla="*/ 1000687 h 4722863"/>
              <a:gd name="connsiteX986" fmla="*/ 2681374 w 12356823"/>
              <a:gd name="connsiteY986" fmla="*/ 982054 h 4722863"/>
              <a:gd name="connsiteX987" fmla="*/ 2677848 w 12356823"/>
              <a:gd name="connsiteY987" fmla="*/ 978949 h 4722863"/>
              <a:gd name="connsiteX988" fmla="*/ 2681374 w 12356823"/>
              <a:gd name="connsiteY988" fmla="*/ 978949 h 4722863"/>
              <a:gd name="connsiteX989" fmla="*/ 2684899 w 12356823"/>
              <a:gd name="connsiteY989" fmla="*/ 978949 h 4722863"/>
              <a:gd name="connsiteX990" fmla="*/ 2688425 w 12356823"/>
              <a:gd name="connsiteY990" fmla="*/ 988265 h 4722863"/>
              <a:gd name="connsiteX991" fmla="*/ 2709579 w 12356823"/>
              <a:gd name="connsiteY991" fmla="*/ 1016213 h 4722863"/>
              <a:gd name="connsiteX992" fmla="*/ 2818878 w 12356823"/>
              <a:gd name="connsiteY992" fmla="*/ 1137321 h 4722863"/>
              <a:gd name="connsiteX993" fmla="*/ 2815352 w 12356823"/>
              <a:gd name="connsiteY993" fmla="*/ 1140427 h 4722863"/>
              <a:gd name="connsiteX994" fmla="*/ 2817570 w 12356823"/>
              <a:gd name="connsiteY994" fmla="*/ 1152146 h 4722863"/>
              <a:gd name="connsiteX995" fmla="*/ 2867012 w 12356823"/>
              <a:gd name="connsiteY995" fmla="*/ 1156691 h 4722863"/>
              <a:gd name="connsiteX996" fmla="*/ 2830172 w 12356823"/>
              <a:gd name="connsiteY996" fmla="*/ 1084930 h 4722863"/>
              <a:gd name="connsiteX997" fmla="*/ 2784058 w 12356823"/>
              <a:gd name="connsiteY997" fmla="*/ 1007493 h 4722863"/>
              <a:gd name="connsiteX998" fmla="*/ 2759227 w 12356823"/>
              <a:gd name="connsiteY998" fmla="*/ 982713 h 4722863"/>
              <a:gd name="connsiteX999" fmla="*/ 2727303 w 12356823"/>
              <a:gd name="connsiteY999" fmla="*/ 973421 h 4722863"/>
              <a:gd name="connsiteX1000" fmla="*/ 2723755 w 12356823"/>
              <a:gd name="connsiteY1000" fmla="*/ 970323 h 4722863"/>
              <a:gd name="connsiteX1001" fmla="*/ 2720209 w 12356823"/>
              <a:gd name="connsiteY1001" fmla="*/ 967226 h 4722863"/>
              <a:gd name="connsiteX1002" fmla="*/ 2706019 w 12356823"/>
              <a:gd name="connsiteY1002" fmla="*/ 954836 h 4722863"/>
              <a:gd name="connsiteX1003" fmla="*/ 2688283 w 12356823"/>
              <a:gd name="connsiteY1003" fmla="*/ 914570 h 4722863"/>
              <a:gd name="connsiteX1004" fmla="*/ 2670547 w 12356823"/>
              <a:gd name="connsiteY1004" fmla="*/ 874304 h 4722863"/>
              <a:gd name="connsiteX1005" fmla="*/ 2667000 w 12356823"/>
              <a:gd name="connsiteY1005" fmla="*/ 861914 h 4722863"/>
              <a:gd name="connsiteX1006" fmla="*/ 2670547 w 12356823"/>
              <a:gd name="connsiteY1006" fmla="*/ 855718 h 4722863"/>
              <a:gd name="connsiteX1007" fmla="*/ 2677642 w 12356823"/>
              <a:gd name="connsiteY1007" fmla="*/ 858816 h 4722863"/>
              <a:gd name="connsiteX1008" fmla="*/ 2691831 w 12356823"/>
              <a:gd name="connsiteY1008" fmla="*/ 865011 h 4722863"/>
              <a:gd name="connsiteX1009" fmla="*/ 2730850 w 12356823"/>
              <a:gd name="connsiteY1009" fmla="*/ 892887 h 4722863"/>
              <a:gd name="connsiteX1010" fmla="*/ 2833718 w 12356823"/>
              <a:gd name="connsiteY1010" fmla="*/ 973421 h 4722863"/>
              <a:gd name="connsiteX1011" fmla="*/ 2933040 w 12356823"/>
              <a:gd name="connsiteY1011" fmla="*/ 1044662 h 4722863"/>
              <a:gd name="connsiteX1012" fmla="*/ 2964966 w 12356823"/>
              <a:gd name="connsiteY1012" fmla="*/ 1066344 h 4722863"/>
              <a:gd name="connsiteX1013" fmla="*/ 2972060 w 12356823"/>
              <a:gd name="connsiteY1013" fmla="*/ 1069442 h 4722863"/>
              <a:gd name="connsiteX1014" fmla="*/ 2975607 w 12356823"/>
              <a:gd name="connsiteY1014" fmla="*/ 1069442 h 4722863"/>
              <a:gd name="connsiteX1015" fmla="*/ 2975607 w 12356823"/>
              <a:gd name="connsiteY1015" fmla="*/ 1066344 h 4722863"/>
              <a:gd name="connsiteX1016" fmla="*/ 2972060 w 12356823"/>
              <a:gd name="connsiteY1016" fmla="*/ 1016785 h 4722863"/>
              <a:gd name="connsiteX1017" fmla="*/ 2968512 w 12356823"/>
              <a:gd name="connsiteY1017" fmla="*/ 1013688 h 4722863"/>
              <a:gd name="connsiteX1018" fmla="*/ 2947230 w 12356823"/>
              <a:gd name="connsiteY1018" fmla="*/ 1007493 h 4722863"/>
              <a:gd name="connsiteX1019" fmla="*/ 2812436 w 12356823"/>
              <a:gd name="connsiteY1019" fmla="*/ 880498 h 4722863"/>
              <a:gd name="connsiteX1020" fmla="*/ 2748586 w 12356823"/>
              <a:gd name="connsiteY1020" fmla="*/ 781380 h 4722863"/>
              <a:gd name="connsiteX1021" fmla="*/ 2727303 w 12356823"/>
              <a:gd name="connsiteY1021" fmla="*/ 731822 h 4722863"/>
              <a:gd name="connsiteX1022" fmla="*/ 2716660 w 12356823"/>
              <a:gd name="connsiteY1022" fmla="*/ 685360 h 4722863"/>
              <a:gd name="connsiteX1023" fmla="*/ 2720209 w 12356823"/>
              <a:gd name="connsiteY1023" fmla="*/ 669873 h 4722863"/>
              <a:gd name="connsiteX1024" fmla="*/ 2727303 w 12356823"/>
              <a:gd name="connsiteY1024" fmla="*/ 660580 h 4722863"/>
              <a:gd name="connsiteX1025" fmla="*/ 2759227 w 12356823"/>
              <a:gd name="connsiteY1025" fmla="*/ 666775 h 4722863"/>
              <a:gd name="connsiteX1026" fmla="*/ 2858549 w 12356823"/>
              <a:gd name="connsiteY1026" fmla="*/ 731822 h 4722863"/>
              <a:gd name="connsiteX1027" fmla="*/ 2972060 w 12356823"/>
              <a:gd name="connsiteY1027" fmla="*/ 812355 h 4722863"/>
              <a:gd name="connsiteX1028" fmla="*/ 3046552 w 12356823"/>
              <a:gd name="connsiteY1028" fmla="*/ 852621 h 4722863"/>
              <a:gd name="connsiteX1029" fmla="*/ 3337422 w 12356823"/>
              <a:gd name="connsiteY1029" fmla="*/ 967226 h 4722863"/>
              <a:gd name="connsiteX1030" fmla="*/ 3433196 w 12356823"/>
              <a:gd name="connsiteY1030" fmla="*/ 1001298 h 4722863"/>
              <a:gd name="connsiteX1031" fmla="*/ 3532518 w 12356823"/>
              <a:gd name="connsiteY1031" fmla="*/ 1060150 h 4722863"/>
              <a:gd name="connsiteX1032" fmla="*/ 3621198 w 12356823"/>
              <a:gd name="connsiteY1032" fmla="*/ 1088026 h 4722863"/>
              <a:gd name="connsiteX1033" fmla="*/ 3674407 w 12356823"/>
              <a:gd name="connsiteY1033" fmla="*/ 1106612 h 4722863"/>
              <a:gd name="connsiteX1034" fmla="*/ 3692143 w 12356823"/>
              <a:gd name="connsiteY1034" fmla="*/ 1115904 h 4722863"/>
              <a:gd name="connsiteX1035" fmla="*/ 3699237 w 12356823"/>
              <a:gd name="connsiteY1035" fmla="*/ 1119001 h 4722863"/>
              <a:gd name="connsiteX1036" fmla="*/ 3699237 w 12356823"/>
              <a:gd name="connsiteY1036" fmla="*/ 1122099 h 4722863"/>
              <a:gd name="connsiteX1037" fmla="*/ 3699237 w 12356823"/>
              <a:gd name="connsiteY1037" fmla="*/ 1131392 h 4722863"/>
              <a:gd name="connsiteX1038" fmla="*/ 3699237 w 12356823"/>
              <a:gd name="connsiteY1038" fmla="*/ 1134488 h 4722863"/>
              <a:gd name="connsiteX1039" fmla="*/ 3688596 w 12356823"/>
              <a:gd name="connsiteY1039" fmla="*/ 1140683 h 4722863"/>
              <a:gd name="connsiteX1040" fmla="*/ 3649576 w 12356823"/>
              <a:gd name="connsiteY1040" fmla="*/ 1134488 h 4722863"/>
              <a:gd name="connsiteX1041" fmla="*/ 3525423 w 12356823"/>
              <a:gd name="connsiteY1041" fmla="*/ 1081832 h 4722863"/>
              <a:gd name="connsiteX1042" fmla="*/ 3387082 w 12356823"/>
              <a:gd name="connsiteY1042" fmla="*/ 1032272 h 4722863"/>
              <a:gd name="connsiteX1043" fmla="*/ 3340969 w 12356823"/>
              <a:gd name="connsiteY1043" fmla="*/ 1022981 h 4722863"/>
              <a:gd name="connsiteX1044" fmla="*/ 3326779 w 12356823"/>
              <a:gd name="connsiteY1044" fmla="*/ 1026078 h 4722863"/>
              <a:gd name="connsiteX1045" fmla="*/ 3316138 w 12356823"/>
              <a:gd name="connsiteY1045" fmla="*/ 1035370 h 4722863"/>
              <a:gd name="connsiteX1046" fmla="*/ 3319686 w 12356823"/>
              <a:gd name="connsiteY1046" fmla="*/ 1038468 h 4722863"/>
              <a:gd name="connsiteX1047" fmla="*/ 3316138 w 12356823"/>
              <a:gd name="connsiteY1047" fmla="*/ 1038468 h 4722863"/>
              <a:gd name="connsiteX1048" fmla="*/ 3319686 w 12356823"/>
              <a:gd name="connsiteY1048" fmla="*/ 1041565 h 4722863"/>
              <a:gd name="connsiteX1049" fmla="*/ 3330328 w 12356823"/>
              <a:gd name="connsiteY1049" fmla="*/ 1050857 h 4722863"/>
              <a:gd name="connsiteX1050" fmla="*/ 3376441 w 12356823"/>
              <a:gd name="connsiteY1050" fmla="*/ 1078734 h 4722863"/>
              <a:gd name="connsiteX1051" fmla="*/ 3514782 w 12356823"/>
              <a:gd name="connsiteY1051" fmla="*/ 1146877 h 4722863"/>
              <a:gd name="connsiteX1052" fmla="*/ 3606959 w 12356823"/>
              <a:gd name="connsiteY1052" fmla="*/ 1189039 h 4722863"/>
              <a:gd name="connsiteX1053" fmla="*/ 3829954 w 12356823"/>
              <a:gd name="connsiteY1053" fmla="*/ 1186917 h 4722863"/>
              <a:gd name="connsiteX1054" fmla="*/ 3812749 w 12356823"/>
              <a:gd name="connsiteY1054" fmla="*/ 1171658 h 4722863"/>
              <a:gd name="connsiteX1055" fmla="*/ 3763087 w 12356823"/>
              <a:gd name="connsiteY1055" fmla="*/ 1119001 h 4722863"/>
              <a:gd name="connsiteX1056" fmla="*/ 3752446 w 12356823"/>
              <a:gd name="connsiteY1056" fmla="*/ 1103514 h 4722863"/>
              <a:gd name="connsiteX1057" fmla="*/ 3752446 w 12356823"/>
              <a:gd name="connsiteY1057" fmla="*/ 1100417 h 4722863"/>
              <a:gd name="connsiteX1058" fmla="*/ 3755992 w 12356823"/>
              <a:gd name="connsiteY1058" fmla="*/ 1100417 h 4722863"/>
              <a:gd name="connsiteX1059" fmla="*/ 3755992 w 12356823"/>
              <a:gd name="connsiteY1059" fmla="*/ 1097319 h 4722863"/>
              <a:gd name="connsiteX1060" fmla="*/ 3759540 w 12356823"/>
              <a:gd name="connsiteY1060" fmla="*/ 1100417 h 4722863"/>
              <a:gd name="connsiteX1061" fmla="*/ 3766635 w 12356823"/>
              <a:gd name="connsiteY1061" fmla="*/ 1103514 h 4722863"/>
              <a:gd name="connsiteX1062" fmla="*/ 3780823 w 12356823"/>
              <a:gd name="connsiteY1062" fmla="*/ 1112806 h 4722863"/>
              <a:gd name="connsiteX1063" fmla="*/ 3826937 w 12356823"/>
              <a:gd name="connsiteY1063" fmla="*/ 1146877 h 4722863"/>
              <a:gd name="connsiteX1064" fmla="*/ 3887833 w 12356823"/>
              <a:gd name="connsiteY1064" fmla="*/ 1186341 h 4722863"/>
              <a:gd name="connsiteX1065" fmla="*/ 4028229 w 12356823"/>
              <a:gd name="connsiteY1065" fmla="*/ 1178539 h 4722863"/>
              <a:gd name="connsiteX1066" fmla="*/ 3990108 w 12356823"/>
              <a:gd name="connsiteY1066" fmla="*/ 1159268 h 4722863"/>
              <a:gd name="connsiteX1067" fmla="*/ 3901428 w 12356823"/>
              <a:gd name="connsiteY1067" fmla="*/ 1128293 h 4722863"/>
              <a:gd name="connsiteX1068" fmla="*/ 3890786 w 12356823"/>
              <a:gd name="connsiteY1068" fmla="*/ 1125195 h 4722863"/>
              <a:gd name="connsiteX1069" fmla="*/ 3880145 w 12356823"/>
              <a:gd name="connsiteY1069" fmla="*/ 1119001 h 4722863"/>
              <a:gd name="connsiteX1070" fmla="*/ 3855314 w 12356823"/>
              <a:gd name="connsiteY1070" fmla="*/ 1103514 h 4722863"/>
              <a:gd name="connsiteX1071" fmla="*/ 3816295 w 12356823"/>
              <a:gd name="connsiteY1071" fmla="*/ 1060150 h 4722863"/>
              <a:gd name="connsiteX1072" fmla="*/ 3791464 w 12356823"/>
              <a:gd name="connsiteY1072" fmla="*/ 1022981 h 4722863"/>
              <a:gd name="connsiteX1073" fmla="*/ 3787918 w 12356823"/>
              <a:gd name="connsiteY1073" fmla="*/ 1010590 h 4722863"/>
              <a:gd name="connsiteX1074" fmla="*/ 3791464 w 12356823"/>
              <a:gd name="connsiteY1074" fmla="*/ 1007493 h 4722863"/>
              <a:gd name="connsiteX1075" fmla="*/ 3677955 w 12356823"/>
              <a:gd name="connsiteY1075" fmla="*/ 920765 h 4722863"/>
              <a:gd name="connsiteX1076" fmla="*/ 3624745 w 12356823"/>
              <a:gd name="connsiteY1076" fmla="*/ 871205 h 4722863"/>
              <a:gd name="connsiteX1077" fmla="*/ 3585726 w 12356823"/>
              <a:gd name="connsiteY1077" fmla="*/ 815452 h 4722863"/>
              <a:gd name="connsiteX1078" fmla="*/ 3575085 w 12356823"/>
              <a:gd name="connsiteY1078" fmla="*/ 796867 h 4722863"/>
              <a:gd name="connsiteX1079" fmla="*/ 3575085 w 12356823"/>
              <a:gd name="connsiteY1079" fmla="*/ 793769 h 4722863"/>
              <a:gd name="connsiteX1080" fmla="*/ 3578631 w 12356823"/>
              <a:gd name="connsiteY1080" fmla="*/ 793769 h 4722863"/>
              <a:gd name="connsiteX1081" fmla="*/ 3582178 w 12356823"/>
              <a:gd name="connsiteY1081" fmla="*/ 796867 h 4722863"/>
              <a:gd name="connsiteX1082" fmla="*/ 3585726 w 12356823"/>
              <a:gd name="connsiteY1082" fmla="*/ 799965 h 4722863"/>
              <a:gd name="connsiteX1083" fmla="*/ 3599914 w 12356823"/>
              <a:gd name="connsiteY1083" fmla="*/ 812355 h 4722863"/>
              <a:gd name="connsiteX1084" fmla="*/ 3638934 w 12356823"/>
              <a:gd name="connsiteY1084" fmla="*/ 849523 h 4722863"/>
              <a:gd name="connsiteX1085" fmla="*/ 3887240 w 12356823"/>
              <a:gd name="connsiteY1085" fmla="*/ 1035370 h 4722863"/>
              <a:gd name="connsiteX1086" fmla="*/ 3880145 w 12356823"/>
              <a:gd name="connsiteY1086" fmla="*/ 1035370 h 4722863"/>
              <a:gd name="connsiteX1087" fmla="*/ 3880145 w 12356823"/>
              <a:gd name="connsiteY1087" fmla="*/ 1041565 h 4722863"/>
              <a:gd name="connsiteX1088" fmla="*/ 3954636 w 12356823"/>
              <a:gd name="connsiteY1088" fmla="*/ 1075637 h 4722863"/>
              <a:gd name="connsiteX1089" fmla="*/ 4022032 w 12356823"/>
              <a:gd name="connsiteY1089" fmla="*/ 1106612 h 4722863"/>
              <a:gd name="connsiteX1090" fmla="*/ 3943994 w 12356823"/>
              <a:gd name="connsiteY1090" fmla="*/ 1013688 h 4722863"/>
              <a:gd name="connsiteX1091" fmla="*/ 3855314 w 12356823"/>
              <a:gd name="connsiteY1091" fmla="*/ 920765 h 4722863"/>
              <a:gd name="connsiteX1092" fmla="*/ 3795012 w 12356823"/>
              <a:gd name="connsiteY1092" fmla="*/ 877401 h 4722863"/>
              <a:gd name="connsiteX1093" fmla="*/ 3713427 w 12356823"/>
              <a:gd name="connsiteY1093" fmla="*/ 840231 h 4722863"/>
              <a:gd name="connsiteX1094" fmla="*/ 3706332 w 12356823"/>
              <a:gd name="connsiteY1094" fmla="*/ 834036 h 4722863"/>
              <a:gd name="connsiteX1095" fmla="*/ 3692143 w 12356823"/>
              <a:gd name="connsiteY1095" fmla="*/ 827841 h 4722863"/>
              <a:gd name="connsiteX1096" fmla="*/ 3674407 w 12356823"/>
              <a:gd name="connsiteY1096" fmla="*/ 812355 h 4722863"/>
              <a:gd name="connsiteX1097" fmla="*/ 3635386 w 12356823"/>
              <a:gd name="connsiteY1097" fmla="*/ 765893 h 4722863"/>
              <a:gd name="connsiteX1098" fmla="*/ 3617650 w 12356823"/>
              <a:gd name="connsiteY1098" fmla="*/ 725626 h 4722863"/>
              <a:gd name="connsiteX1099" fmla="*/ 3617650 w 12356823"/>
              <a:gd name="connsiteY1099" fmla="*/ 716334 h 4722863"/>
              <a:gd name="connsiteX1100" fmla="*/ 3621198 w 12356823"/>
              <a:gd name="connsiteY1100" fmla="*/ 713236 h 4722863"/>
              <a:gd name="connsiteX1101" fmla="*/ 3624745 w 12356823"/>
              <a:gd name="connsiteY1101" fmla="*/ 713236 h 4722863"/>
              <a:gd name="connsiteX1102" fmla="*/ 3642481 w 12356823"/>
              <a:gd name="connsiteY1102" fmla="*/ 722529 h 4722863"/>
              <a:gd name="connsiteX1103" fmla="*/ 3674407 w 12356823"/>
              <a:gd name="connsiteY1103" fmla="*/ 738016 h 4722863"/>
              <a:gd name="connsiteX1104" fmla="*/ 3766635 w 12356823"/>
              <a:gd name="connsiteY1104" fmla="*/ 793769 h 4722863"/>
              <a:gd name="connsiteX1105" fmla="*/ 4018486 w 12356823"/>
              <a:gd name="connsiteY1105" fmla="*/ 945544 h 4722863"/>
              <a:gd name="connsiteX1106" fmla="*/ 4029127 w 12356823"/>
              <a:gd name="connsiteY1106" fmla="*/ 951739 h 4722863"/>
              <a:gd name="connsiteX1107" fmla="*/ 4029127 w 12356823"/>
              <a:gd name="connsiteY1107" fmla="*/ 926960 h 4722863"/>
              <a:gd name="connsiteX1108" fmla="*/ 4046863 w 12356823"/>
              <a:gd name="connsiteY1108" fmla="*/ 914570 h 4722863"/>
              <a:gd name="connsiteX1109" fmla="*/ 4071694 w 12356823"/>
              <a:gd name="connsiteY1109" fmla="*/ 917667 h 4722863"/>
              <a:gd name="connsiteX1110" fmla="*/ 4007844 w 12356823"/>
              <a:gd name="connsiteY1110" fmla="*/ 865011 h 4722863"/>
              <a:gd name="connsiteX1111" fmla="*/ 3880145 w 12356823"/>
              <a:gd name="connsiteY1111" fmla="*/ 747309 h 4722863"/>
              <a:gd name="connsiteX1112" fmla="*/ 3848221 w 12356823"/>
              <a:gd name="connsiteY1112" fmla="*/ 694651 h 4722863"/>
              <a:gd name="connsiteX1113" fmla="*/ 3844673 w 12356823"/>
              <a:gd name="connsiteY1113" fmla="*/ 657482 h 4722863"/>
              <a:gd name="connsiteX1114" fmla="*/ 3858861 w 12356823"/>
              <a:gd name="connsiteY1114" fmla="*/ 648190 h 4722863"/>
              <a:gd name="connsiteX1115" fmla="*/ 3883692 w 12356823"/>
              <a:gd name="connsiteY1115" fmla="*/ 651288 h 4722863"/>
              <a:gd name="connsiteX1116" fmla="*/ 3968825 w 12356823"/>
              <a:gd name="connsiteY1116" fmla="*/ 682262 h 4722863"/>
              <a:gd name="connsiteX1117" fmla="*/ 4673050 w 12356823"/>
              <a:gd name="connsiteY1117" fmla="*/ 1012185 h 4722863"/>
              <a:gd name="connsiteX1118" fmla="*/ 4986857 w 12356823"/>
              <a:gd name="connsiteY1118" fmla="*/ 1083759 h 4722863"/>
              <a:gd name="connsiteX1119" fmla="*/ 5190667 w 12356823"/>
              <a:gd name="connsiteY1119" fmla="*/ 1053493 h 4722863"/>
              <a:gd name="connsiteX1120" fmla="*/ 7161801 w 12356823"/>
              <a:gd name="connsiteY1120" fmla="*/ 412784 h 4722863"/>
              <a:gd name="connsiteX1121" fmla="*/ 7232745 w 12356823"/>
              <a:gd name="connsiteY1121" fmla="*/ 363226 h 4722863"/>
              <a:gd name="connsiteX1122" fmla="*/ 7289501 w 12356823"/>
              <a:gd name="connsiteY1122" fmla="*/ 332250 h 4722863"/>
              <a:gd name="connsiteX1123" fmla="*/ 7321425 w 12356823"/>
              <a:gd name="connsiteY1123" fmla="*/ 322959 h 4722863"/>
              <a:gd name="connsiteX1124" fmla="*/ 7324973 w 12356823"/>
              <a:gd name="connsiteY1124" fmla="*/ 350835 h 4722863"/>
              <a:gd name="connsiteX1125" fmla="*/ 7321425 w 12356823"/>
              <a:gd name="connsiteY1125" fmla="*/ 353933 h 4722863"/>
              <a:gd name="connsiteX1126" fmla="*/ 7317878 w 12356823"/>
              <a:gd name="connsiteY1126" fmla="*/ 363226 h 4722863"/>
              <a:gd name="connsiteX1127" fmla="*/ 7296595 w 12356823"/>
              <a:gd name="connsiteY1127" fmla="*/ 381810 h 4722863"/>
              <a:gd name="connsiteX1128" fmla="*/ 7218556 w 12356823"/>
              <a:gd name="connsiteY1128" fmla="*/ 449953 h 4722863"/>
              <a:gd name="connsiteX1129" fmla="*/ 7154707 w 12356823"/>
              <a:gd name="connsiteY1129" fmla="*/ 508806 h 4722863"/>
              <a:gd name="connsiteX1130" fmla="*/ 7403011 w 12356823"/>
              <a:gd name="connsiteY1130" fmla="*/ 316764 h 4722863"/>
              <a:gd name="connsiteX1131" fmla="*/ 7686787 w 12356823"/>
              <a:gd name="connsiteY1131" fmla="*/ 93748 h 4722863"/>
              <a:gd name="connsiteX1132" fmla="*/ 7764825 w 12356823"/>
              <a:gd name="connsiteY1132" fmla="*/ 41090 h 4722863"/>
              <a:gd name="connsiteX1133" fmla="*/ 7825129 w 12356823"/>
              <a:gd name="connsiteY1133" fmla="*/ 10116 h 4722863"/>
              <a:gd name="connsiteX1134" fmla="*/ 7864147 w 12356823"/>
              <a:gd name="connsiteY1134" fmla="*/ 824 h 472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Lst>
            <a:rect l="l" t="t" r="r" b="b"/>
            <a:pathLst>
              <a:path w="12356823" h="4722863">
                <a:moveTo>
                  <a:pt x="10742574" y="1497163"/>
                </a:moveTo>
                <a:cubicBezTo>
                  <a:pt x="10746079" y="1497163"/>
                  <a:pt x="10746079" y="1497163"/>
                  <a:pt x="10749584" y="1497163"/>
                </a:cubicBezTo>
                <a:cubicBezTo>
                  <a:pt x="10756594" y="1494186"/>
                  <a:pt x="10767108" y="1500141"/>
                  <a:pt x="10774118" y="1503116"/>
                </a:cubicBezTo>
                <a:cubicBezTo>
                  <a:pt x="10777624" y="1503116"/>
                  <a:pt x="10781128" y="1506094"/>
                  <a:pt x="10784633" y="1509071"/>
                </a:cubicBezTo>
                <a:cubicBezTo>
                  <a:pt x="10784633" y="1509071"/>
                  <a:pt x="10788138" y="1509071"/>
                  <a:pt x="10788138" y="1509071"/>
                </a:cubicBezTo>
                <a:cubicBezTo>
                  <a:pt x="10788138" y="1509071"/>
                  <a:pt x="10788138" y="1509071"/>
                  <a:pt x="10788138" y="1512048"/>
                </a:cubicBezTo>
                <a:cubicBezTo>
                  <a:pt x="10784633" y="1515024"/>
                  <a:pt x="10784633" y="1515024"/>
                  <a:pt x="10784633" y="1515024"/>
                </a:cubicBezTo>
                <a:cubicBezTo>
                  <a:pt x="10781128" y="1515024"/>
                  <a:pt x="10777624" y="1515024"/>
                  <a:pt x="10774118" y="1515024"/>
                </a:cubicBezTo>
                <a:cubicBezTo>
                  <a:pt x="10767108" y="1515024"/>
                  <a:pt x="10756594" y="1515024"/>
                  <a:pt x="10746079" y="1512048"/>
                </a:cubicBezTo>
                <a:cubicBezTo>
                  <a:pt x="10746079" y="1512048"/>
                  <a:pt x="10746079" y="1509071"/>
                  <a:pt x="10742574" y="1506094"/>
                </a:cubicBezTo>
                <a:cubicBezTo>
                  <a:pt x="10742574" y="1506094"/>
                  <a:pt x="10742574" y="1503116"/>
                  <a:pt x="10742574" y="1500141"/>
                </a:cubicBezTo>
                <a:cubicBezTo>
                  <a:pt x="10742574" y="1500141"/>
                  <a:pt x="10742574" y="1500141"/>
                  <a:pt x="10742574" y="1497163"/>
                </a:cubicBezTo>
                <a:close/>
                <a:moveTo>
                  <a:pt x="10951795" y="1460091"/>
                </a:moveTo>
                <a:cubicBezTo>
                  <a:pt x="10962489" y="1460091"/>
                  <a:pt x="10973183" y="1460091"/>
                  <a:pt x="10980311" y="1463180"/>
                </a:cubicBezTo>
                <a:cubicBezTo>
                  <a:pt x="10987441" y="1466272"/>
                  <a:pt x="10998133" y="1469362"/>
                  <a:pt x="11005263" y="1472453"/>
                </a:cubicBezTo>
                <a:cubicBezTo>
                  <a:pt x="11008827" y="1475543"/>
                  <a:pt x="11012391" y="1475543"/>
                  <a:pt x="11012391" y="1478634"/>
                </a:cubicBezTo>
                <a:cubicBezTo>
                  <a:pt x="11015956" y="1478634"/>
                  <a:pt x="11015956" y="1478634"/>
                  <a:pt x="11015956" y="1481724"/>
                </a:cubicBezTo>
                <a:cubicBezTo>
                  <a:pt x="11015956" y="1481724"/>
                  <a:pt x="11015956" y="1481724"/>
                  <a:pt x="11012391" y="1484816"/>
                </a:cubicBezTo>
                <a:cubicBezTo>
                  <a:pt x="11008827" y="1484816"/>
                  <a:pt x="11005263" y="1484816"/>
                  <a:pt x="11005263" y="1484816"/>
                </a:cubicBezTo>
                <a:cubicBezTo>
                  <a:pt x="10998133" y="1487906"/>
                  <a:pt x="10991005" y="1484816"/>
                  <a:pt x="10983876" y="1487906"/>
                </a:cubicBezTo>
                <a:cubicBezTo>
                  <a:pt x="10944666" y="1484816"/>
                  <a:pt x="10909021" y="1518812"/>
                  <a:pt x="10866247" y="1512631"/>
                </a:cubicBezTo>
                <a:cubicBezTo>
                  <a:pt x="10866247" y="1509541"/>
                  <a:pt x="10869811" y="1509541"/>
                  <a:pt x="10869811" y="1506450"/>
                </a:cubicBezTo>
                <a:cubicBezTo>
                  <a:pt x="10869811" y="1503360"/>
                  <a:pt x="10866247" y="1497178"/>
                  <a:pt x="10866247" y="1497178"/>
                </a:cubicBezTo>
                <a:cubicBezTo>
                  <a:pt x="10866247" y="1494087"/>
                  <a:pt x="10866247" y="1494087"/>
                  <a:pt x="10866247" y="1490997"/>
                </a:cubicBezTo>
                <a:cubicBezTo>
                  <a:pt x="10866247" y="1490997"/>
                  <a:pt x="10866247" y="1487906"/>
                  <a:pt x="10866247" y="1487906"/>
                </a:cubicBezTo>
                <a:cubicBezTo>
                  <a:pt x="10873375" y="1484816"/>
                  <a:pt x="10873375" y="1481724"/>
                  <a:pt x="10876940" y="1478634"/>
                </a:cubicBezTo>
                <a:cubicBezTo>
                  <a:pt x="10880505" y="1478634"/>
                  <a:pt x="10887635" y="1475543"/>
                  <a:pt x="10891199" y="1475543"/>
                </a:cubicBezTo>
                <a:cubicBezTo>
                  <a:pt x="10912586" y="1469362"/>
                  <a:pt x="10930408" y="1466272"/>
                  <a:pt x="10951795" y="1460091"/>
                </a:cubicBezTo>
                <a:close/>
                <a:moveTo>
                  <a:pt x="225646" y="1240356"/>
                </a:moveTo>
                <a:cubicBezTo>
                  <a:pt x="225646" y="1240356"/>
                  <a:pt x="225646" y="1240356"/>
                  <a:pt x="229263" y="1240356"/>
                </a:cubicBezTo>
                <a:cubicBezTo>
                  <a:pt x="232878" y="1243404"/>
                  <a:pt x="236494" y="1246450"/>
                  <a:pt x="236494" y="1249498"/>
                </a:cubicBezTo>
                <a:cubicBezTo>
                  <a:pt x="247343" y="1261688"/>
                  <a:pt x="258191" y="1273877"/>
                  <a:pt x="265424" y="1286065"/>
                </a:cubicBezTo>
                <a:cubicBezTo>
                  <a:pt x="265424" y="1292160"/>
                  <a:pt x="269040" y="1298255"/>
                  <a:pt x="269040" y="1301302"/>
                </a:cubicBezTo>
                <a:cubicBezTo>
                  <a:pt x="269040" y="1304349"/>
                  <a:pt x="269040" y="1304349"/>
                  <a:pt x="269040" y="1307397"/>
                </a:cubicBezTo>
                <a:cubicBezTo>
                  <a:pt x="269040" y="1307397"/>
                  <a:pt x="269040" y="1310444"/>
                  <a:pt x="269040" y="1310444"/>
                </a:cubicBezTo>
                <a:cubicBezTo>
                  <a:pt x="265424" y="1307397"/>
                  <a:pt x="261807" y="1307397"/>
                  <a:pt x="261807" y="1307397"/>
                </a:cubicBezTo>
                <a:cubicBezTo>
                  <a:pt x="254576" y="1295208"/>
                  <a:pt x="243727" y="1279972"/>
                  <a:pt x="236494" y="1267782"/>
                </a:cubicBezTo>
                <a:cubicBezTo>
                  <a:pt x="232878" y="1261688"/>
                  <a:pt x="229263" y="1255593"/>
                  <a:pt x="229263" y="1246450"/>
                </a:cubicBezTo>
                <a:cubicBezTo>
                  <a:pt x="225646" y="1246450"/>
                  <a:pt x="225646" y="1243404"/>
                  <a:pt x="225646" y="1243404"/>
                </a:cubicBezTo>
                <a:cubicBezTo>
                  <a:pt x="225646" y="1240356"/>
                  <a:pt x="225646" y="1240356"/>
                  <a:pt x="225646" y="1240356"/>
                </a:cubicBezTo>
                <a:close/>
                <a:moveTo>
                  <a:pt x="10848" y="978949"/>
                </a:moveTo>
                <a:cubicBezTo>
                  <a:pt x="10848" y="978949"/>
                  <a:pt x="10848" y="978949"/>
                  <a:pt x="14374" y="978949"/>
                </a:cubicBezTo>
                <a:cubicBezTo>
                  <a:pt x="14374" y="978949"/>
                  <a:pt x="14374" y="978949"/>
                  <a:pt x="17899" y="978949"/>
                </a:cubicBezTo>
                <a:cubicBezTo>
                  <a:pt x="17899" y="982054"/>
                  <a:pt x="21425" y="985160"/>
                  <a:pt x="21425" y="988265"/>
                </a:cubicBezTo>
                <a:cubicBezTo>
                  <a:pt x="32002" y="997582"/>
                  <a:pt x="35529" y="1006897"/>
                  <a:pt x="42579" y="1016213"/>
                </a:cubicBezTo>
                <a:cubicBezTo>
                  <a:pt x="77837" y="1069004"/>
                  <a:pt x="116621" y="1081425"/>
                  <a:pt x="151878" y="1137321"/>
                </a:cubicBezTo>
                <a:cubicBezTo>
                  <a:pt x="151878" y="1137321"/>
                  <a:pt x="148352" y="1140427"/>
                  <a:pt x="148352" y="1140427"/>
                </a:cubicBezTo>
                <a:cubicBezTo>
                  <a:pt x="151878" y="1149742"/>
                  <a:pt x="151878" y="1155953"/>
                  <a:pt x="151878" y="1159059"/>
                </a:cubicBezTo>
                <a:cubicBezTo>
                  <a:pt x="151878" y="1162164"/>
                  <a:pt x="151878" y="1162164"/>
                  <a:pt x="151878" y="1165270"/>
                </a:cubicBezTo>
                <a:cubicBezTo>
                  <a:pt x="151878" y="1165270"/>
                  <a:pt x="151878" y="1168375"/>
                  <a:pt x="148352" y="1168375"/>
                </a:cubicBezTo>
                <a:cubicBezTo>
                  <a:pt x="148352" y="1168375"/>
                  <a:pt x="144826" y="1165270"/>
                  <a:pt x="141301" y="1165270"/>
                </a:cubicBezTo>
                <a:cubicBezTo>
                  <a:pt x="137775" y="1162164"/>
                  <a:pt x="134249" y="1155953"/>
                  <a:pt x="127198" y="1152848"/>
                </a:cubicBezTo>
                <a:cubicBezTo>
                  <a:pt x="109570" y="1131110"/>
                  <a:pt x="88414" y="1109373"/>
                  <a:pt x="70786" y="1087636"/>
                </a:cubicBezTo>
                <a:cubicBezTo>
                  <a:pt x="60209" y="1078320"/>
                  <a:pt x="53157" y="1065899"/>
                  <a:pt x="46106" y="1050371"/>
                </a:cubicBezTo>
                <a:cubicBezTo>
                  <a:pt x="35529" y="1034845"/>
                  <a:pt x="28476" y="1019319"/>
                  <a:pt x="21425" y="1000687"/>
                </a:cubicBezTo>
                <a:cubicBezTo>
                  <a:pt x="17899" y="997582"/>
                  <a:pt x="14374" y="988265"/>
                  <a:pt x="14374" y="982054"/>
                </a:cubicBezTo>
                <a:cubicBezTo>
                  <a:pt x="14374" y="982054"/>
                  <a:pt x="14374" y="982054"/>
                  <a:pt x="10848" y="978949"/>
                </a:cubicBezTo>
                <a:close/>
                <a:moveTo>
                  <a:pt x="8697751" y="863228"/>
                </a:moveTo>
                <a:lnTo>
                  <a:pt x="8630343" y="865011"/>
                </a:lnTo>
                <a:cubicBezTo>
                  <a:pt x="8619702" y="865011"/>
                  <a:pt x="8605513" y="865011"/>
                  <a:pt x="8594872" y="868108"/>
                </a:cubicBezTo>
                <a:cubicBezTo>
                  <a:pt x="8591324" y="868108"/>
                  <a:pt x="8587777" y="868108"/>
                  <a:pt x="8584229" y="868108"/>
                </a:cubicBezTo>
                <a:cubicBezTo>
                  <a:pt x="8584229" y="868108"/>
                  <a:pt x="8580683" y="871205"/>
                  <a:pt x="8580683" y="871205"/>
                </a:cubicBezTo>
                <a:cubicBezTo>
                  <a:pt x="8580683" y="878949"/>
                  <a:pt x="8580683" y="885144"/>
                  <a:pt x="8580240" y="890952"/>
                </a:cubicBezTo>
                <a:lnTo>
                  <a:pt x="8579818" y="893321"/>
                </a:lnTo>
                <a:close/>
                <a:moveTo>
                  <a:pt x="9084385" y="626508"/>
                </a:moveTo>
                <a:cubicBezTo>
                  <a:pt x="9080838" y="626508"/>
                  <a:pt x="9080838" y="626508"/>
                  <a:pt x="9080838" y="629606"/>
                </a:cubicBezTo>
                <a:cubicBezTo>
                  <a:pt x="9077292" y="629606"/>
                  <a:pt x="9077292" y="629606"/>
                  <a:pt x="9077292" y="629606"/>
                </a:cubicBezTo>
                <a:cubicBezTo>
                  <a:pt x="9073744" y="645093"/>
                  <a:pt x="9070197" y="648190"/>
                  <a:pt x="9063102" y="660580"/>
                </a:cubicBezTo>
                <a:cubicBezTo>
                  <a:pt x="9063102" y="663677"/>
                  <a:pt x="9063102" y="663677"/>
                  <a:pt x="9063102" y="663677"/>
                </a:cubicBezTo>
                <a:cubicBezTo>
                  <a:pt x="9066649" y="663677"/>
                  <a:pt x="9070197" y="663677"/>
                  <a:pt x="9073744" y="663677"/>
                </a:cubicBezTo>
                <a:cubicBezTo>
                  <a:pt x="9087933" y="663677"/>
                  <a:pt x="9098575" y="663677"/>
                  <a:pt x="9112764" y="666775"/>
                </a:cubicBezTo>
                <a:lnTo>
                  <a:pt x="9220878" y="687437"/>
                </a:lnTo>
                <a:lnTo>
                  <a:pt x="9283231" y="662690"/>
                </a:lnTo>
                <a:lnTo>
                  <a:pt x="9162424" y="635800"/>
                </a:lnTo>
                <a:cubicBezTo>
                  <a:pt x="9141141" y="632703"/>
                  <a:pt x="9119857" y="629606"/>
                  <a:pt x="9102121" y="626508"/>
                </a:cubicBezTo>
                <a:cubicBezTo>
                  <a:pt x="9095028" y="629606"/>
                  <a:pt x="9091480" y="626508"/>
                  <a:pt x="9084385" y="626508"/>
                </a:cubicBezTo>
                <a:close/>
                <a:moveTo>
                  <a:pt x="12143987" y="571686"/>
                </a:moveTo>
                <a:cubicBezTo>
                  <a:pt x="12147534" y="571686"/>
                  <a:pt x="12151081" y="571686"/>
                  <a:pt x="12154629" y="571686"/>
                </a:cubicBezTo>
                <a:cubicBezTo>
                  <a:pt x="12161723" y="571686"/>
                  <a:pt x="12168818" y="574758"/>
                  <a:pt x="12172365" y="574758"/>
                </a:cubicBezTo>
                <a:cubicBezTo>
                  <a:pt x="12179459" y="577831"/>
                  <a:pt x="12186554" y="580904"/>
                  <a:pt x="12197195" y="587049"/>
                </a:cubicBezTo>
                <a:cubicBezTo>
                  <a:pt x="12229121" y="599342"/>
                  <a:pt x="12261046" y="617779"/>
                  <a:pt x="12292972" y="636216"/>
                </a:cubicBezTo>
                <a:cubicBezTo>
                  <a:pt x="12303615" y="642362"/>
                  <a:pt x="12317803" y="651580"/>
                  <a:pt x="12324897" y="663873"/>
                </a:cubicBezTo>
                <a:cubicBezTo>
                  <a:pt x="12335540" y="673091"/>
                  <a:pt x="12346182" y="685383"/>
                  <a:pt x="12349728" y="694602"/>
                </a:cubicBezTo>
                <a:cubicBezTo>
                  <a:pt x="12353276" y="697675"/>
                  <a:pt x="12353276" y="703820"/>
                  <a:pt x="12356823" y="706894"/>
                </a:cubicBezTo>
                <a:cubicBezTo>
                  <a:pt x="12353276" y="709967"/>
                  <a:pt x="12353276" y="709967"/>
                  <a:pt x="12353276" y="709967"/>
                </a:cubicBezTo>
                <a:cubicBezTo>
                  <a:pt x="12353276" y="709967"/>
                  <a:pt x="12353276" y="709967"/>
                  <a:pt x="12353276" y="706894"/>
                </a:cubicBezTo>
                <a:cubicBezTo>
                  <a:pt x="12353276" y="706894"/>
                  <a:pt x="12353276" y="706894"/>
                  <a:pt x="12349728" y="709967"/>
                </a:cubicBezTo>
                <a:cubicBezTo>
                  <a:pt x="12346182" y="706894"/>
                  <a:pt x="12346182" y="706894"/>
                  <a:pt x="12346182" y="706894"/>
                </a:cubicBezTo>
                <a:cubicBezTo>
                  <a:pt x="12342634" y="703820"/>
                  <a:pt x="12339087" y="703820"/>
                  <a:pt x="12335540" y="700748"/>
                </a:cubicBezTo>
                <a:cubicBezTo>
                  <a:pt x="12328446" y="694602"/>
                  <a:pt x="12317803" y="688456"/>
                  <a:pt x="12310708" y="679237"/>
                </a:cubicBezTo>
                <a:cubicBezTo>
                  <a:pt x="12253952" y="639289"/>
                  <a:pt x="12186554" y="630070"/>
                  <a:pt x="12133344" y="587049"/>
                </a:cubicBezTo>
                <a:cubicBezTo>
                  <a:pt x="12133344" y="587049"/>
                  <a:pt x="12136893" y="587049"/>
                  <a:pt x="12140439" y="587049"/>
                </a:cubicBezTo>
                <a:cubicBezTo>
                  <a:pt x="12136893" y="580904"/>
                  <a:pt x="12136893" y="577831"/>
                  <a:pt x="12140439" y="574758"/>
                </a:cubicBezTo>
                <a:cubicBezTo>
                  <a:pt x="12143987" y="571686"/>
                  <a:pt x="12143987" y="571686"/>
                  <a:pt x="12143987" y="571686"/>
                </a:cubicBezTo>
                <a:close/>
                <a:moveTo>
                  <a:pt x="11958742" y="461819"/>
                </a:moveTo>
                <a:cubicBezTo>
                  <a:pt x="11958742" y="464897"/>
                  <a:pt x="11962282" y="464897"/>
                  <a:pt x="11965821" y="464897"/>
                </a:cubicBezTo>
                <a:cubicBezTo>
                  <a:pt x="11976442" y="471053"/>
                  <a:pt x="11990602" y="483366"/>
                  <a:pt x="12001222" y="492600"/>
                </a:cubicBezTo>
                <a:cubicBezTo>
                  <a:pt x="12004762" y="495678"/>
                  <a:pt x="12008302" y="501835"/>
                  <a:pt x="12008302" y="504913"/>
                </a:cubicBezTo>
                <a:cubicBezTo>
                  <a:pt x="12008302" y="507991"/>
                  <a:pt x="12011842" y="507991"/>
                  <a:pt x="12008302" y="511069"/>
                </a:cubicBezTo>
                <a:cubicBezTo>
                  <a:pt x="12008302" y="511069"/>
                  <a:pt x="12008302" y="511069"/>
                  <a:pt x="12004762" y="511069"/>
                </a:cubicBezTo>
                <a:cubicBezTo>
                  <a:pt x="12004762" y="511069"/>
                  <a:pt x="12001222" y="511069"/>
                  <a:pt x="12001222" y="511069"/>
                </a:cubicBezTo>
                <a:cubicBezTo>
                  <a:pt x="11997683" y="507991"/>
                  <a:pt x="11994141" y="504913"/>
                  <a:pt x="11990602" y="501835"/>
                </a:cubicBezTo>
                <a:cubicBezTo>
                  <a:pt x="11972902" y="495678"/>
                  <a:pt x="11962282" y="486443"/>
                  <a:pt x="11948121" y="477209"/>
                </a:cubicBezTo>
                <a:cubicBezTo>
                  <a:pt x="11944581" y="474132"/>
                  <a:pt x="11944581" y="471053"/>
                  <a:pt x="11948121" y="467974"/>
                </a:cubicBezTo>
                <a:cubicBezTo>
                  <a:pt x="11948121" y="467974"/>
                  <a:pt x="11948121" y="464897"/>
                  <a:pt x="11951662" y="464897"/>
                </a:cubicBezTo>
                <a:cubicBezTo>
                  <a:pt x="11951662" y="464897"/>
                  <a:pt x="11951662" y="464897"/>
                  <a:pt x="11955202" y="464897"/>
                </a:cubicBezTo>
                <a:cubicBezTo>
                  <a:pt x="11955202" y="464897"/>
                  <a:pt x="11955202" y="464897"/>
                  <a:pt x="11958742" y="461819"/>
                </a:cubicBezTo>
                <a:close/>
                <a:moveTo>
                  <a:pt x="9291742" y="461819"/>
                </a:moveTo>
                <a:cubicBezTo>
                  <a:pt x="9291742" y="464897"/>
                  <a:pt x="9295282" y="464897"/>
                  <a:pt x="9298821" y="464897"/>
                </a:cubicBezTo>
                <a:cubicBezTo>
                  <a:pt x="9309442" y="471053"/>
                  <a:pt x="9323602" y="483366"/>
                  <a:pt x="9334222" y="492600"/>
                </a:cubicBezTo>
                <a:cubicBezTo>
                  <a:pt x="9337762" y="495678"/>
                  <a:pt x="9341302" y="501835"/>
                  <a:pt x="9341302" y="504913"/>
                </a:cubicBezTo>
                <a:cubicBezTo>
                  <a:pt x="9341302" y="507991"/>
                  <a:pt x="9344842" y="507991"/>
                  <a:pt x="9341302" y="511069"/>
                </a:cubicBezTo>
                <a:cubicBezTo>
                  <a:pt x="9341302" y="511069"/>
                  <a:pt x="9341302" y="511069"/>
                  <a:pt x="9337762" y="511069"/>
                </a:cubicBezTo>
                <a:cubicBezTo>
                  <a:pt x="9337762" y="511069"/>
                  <a:pt x="9334222" y="511069"/>
                  <a:pt x="9334222" y="511069"/>
                </a:cubicBezTo>
                <a:cubicBezTo>
                  <a:pt x="9330683" y="507991"/>
                  <a:pt x="9327141" y="504913"/>
                  <a:pt x="9323602" y="501835"/>
                </a:cubicBezTo>
                <a:cubicBezTo>
                  <a:pt x="9305902" y="495678"/>
                  <a:pt x="9295282" y="486443"/>
                  <a:pt x="9281121" y="477209"/>
                </a:cubicBezTo>
                <a:cubicBezTo>
                  <a:pt x="9277581" y="474132"/>
                  <a:pt x="9277581" y="471053"/>
                  <a:pt x="9281121" y="467974"/>
                </a:cubicBezTo>
                <a:cubicBezTo>
                  <a:pt x="9281121" y="467974"/>
                  <a:pt x="9281121" y="464897"/>
                  <a:pt x="9284662" y="464897"/>
                </a:cubicBezTo>
                <a:cubicBezTo>
                  <a:pt x="9284662" y="464897"/>
                  <a:pt x="9284662" y="464897"/>
                  <a:pt x="9288202" y="464897"/>
                </a:cubicBezTo>
                <a:cubicBezTo>
                  <a:pt x="9288202" y="464897"/>
                  <a:pt x="9288202" y="464897"/>
                  <a:pt x="9291742" y="461819"/>
                </a:cubicBezTo>
                <a:close/>
                <a:moveTo>
                  <a:pt x="7864147" y="824"/>
                </a:moveTo>
                <a:cubicBezTo>
                  <a:pt x="7874789" y="3921"/>
                  <a:pt x="7871242" y="16312"/>
                  <a:pt x="7867695" y="25603"/>
                </a:cubicBezTo>
                <a:cubicBezTo>
                  <a:pt x="7867695" y="28701"/>
                  <a:pt x="7867695" y="28701"/>
                  <a:pt x="7867695" y="31799"/>
                </a:cubicBezTo>
                <a:cubicBezTo>
                  <a:pt x="7864147" y="31799"/>
                  <a:pt x="7860601" y="34896"/>
                  <a:pt x="7860601" y="37994"/>
                </a:cubicBezTo>
                <a:cubicBezTo>
                  <a:pt x="7853506" y="44188"/>
                  <a:pt x="7842865" y="50383"/>
                  <a:pt x="7835770" y="56578"/>
                </a:cubicBezTo>
                <a:cubicBezTo>
                  <a:pt x="7807393" y="81357"/>
                  <a:pt x="7782561" y="103039"/>
                  <a:pt x="7754184" y="127819"/>
                </a:cubicBezTo>
                <a:cubicBezTo>
                  <a:pt x="7676147" y="199061"/>
                  <a:pt x="7594561" y="267204"/>
                  <a:pt x="7516521" y="335348"/>
                </a:cubicBezTo>
                <a:cubicBezTo>
                  <a:pt x="7434936" y="406590"/>
                  <a:pt x="7356897" y="477831"/>
                  <a:pt x="7275311" y="549072"/>
                </a:cubicBezTo>
                <a:cubicBezTo>
                  <a:pt x="7275311" y="549072"/>
                  <a:pt x="7278859" y="545975"/>
                  <a:pt x="7282405" y="545975"/>
                </a:cubicBezTo>
                <a:cubicBezTo>
                  <a:pt x="7289501" y="542877"/>
                  <a:pt x="7296595" y="536682"/>
                  <a:pt x="7303690" y="533584"/>
                </a:cubicBezTo>
                <a:cubicBezTo>
                  <a:pt x="7456219" y="409686"/>
                  <a:pt x="7605202" y="282692"/>
                  <a:pt x="7761279" y="171183"/>
                </a:cubicBezTo>
                <a:cubicBezTo>
                  <a:pt x="7818033" y="134014"/>
                  <a:pt x="7867695" y="90650"/>
                  <a:pt x="7920902" y="50383"/>
                </a:cubicBezTo>
                <a:cubicBezTo>
                  <a:pt x="7931545" y="41090"/>
                  <a:pt x="7938638" y="37994"/>
                  <a:pt x="7949281" y="31799"/>
                </a:cubicBezTo>
                <a:cubicBezTo>
                  <a:pt x="7956375" y="25603"/>
                  <a:pt x="7963469" y="25603"/>
                  <a:pt x="7970564" y="22506"/>
                </a:cubicBezTo>
                <a:cubicBezTo>
                  <a:pt x="7977659" y="22506"/>
                  <a:pt x="7984752" y="22506"/>
                  <a:pt x="7991847" y="25603"/>
                </a:cubicBezTo>
                <a:cubicBezTo>
                  <a:pt x="7995395" y="31799"/>
                  <a:pt x="8002488" y="34896"/>
                  <a:pt x="8009583" y="41090"/>
                </a:cubicBezTo>
                <a:cubicBezTo>
                  <a:pt x="8009583" y="44188"/>
                  <a:pt x="8009583" y="47286"/>
                  <a:pt x="8006036" y="53481"/>
                </a:cubicBezTo>
                <a:cubicBezTo>
                  <a:pt x="8006036" y="56578"/>
                  <a:pt x="8002488" y="59676"/>
                  <a:pt x="7998941" y="62772"/>
                </a:cubicBezTo>
                <a:cubicBezTo>
                  <a:pt x="7988300" y="78261"/>
                  <a:pt x="7977659" y="90650"/>
                  <a:pt x="7963469" y="99942"/>
                </a:cubicBezTo>
                <a:cubicBezTo>
                  <a:pt x="7931545" y="130917"/>
                  <a:pt x="7896073" y="158794"/>
                  <a:pt x="7857053" y="183573"/>
                </a:cubicBezTo>
                <a:cubicBezTo>
                  <a:pt x="7846411" y="195963"/>
                  <a:pt x="7832223" y="205256"/>
                  <a:pt x="7818033" y="214548"/>
                </a:cubicBezTo>
                <a:cubicBezTo>
                  <a:pt x="7818033" y="214548"/>
                  <a:pt x="7818033" y="217645"/>
                  <a:pt x="7818033" y="217645"/>
                </a:cubicBezTo>
                <a:cubicBezTo>
                  <a:pt x="7821581" y="220743"/>
                  <a:pt x="7825129" y="220743"/>
                  <a:pt x="7825129" y="223841"/>
                </a:cubicBezTo>
                <a:cubicBezTo>
                  <a:pt x="7825129" y="223841"/>
                  <a:pt x="7825129" y="220743"/>
                  <a:pt x="7828675" y="220743"/>
                </a:cubicBezTo>
                <a:cubicBezTo>
                  <a:pt x="7839317" y="214548"/>
                  <a:pt x="7849959" y="208353"/>
                  <a:pt x="7857053" y="205256"/>
                </a:cubicBezTo>
                <a:cubicBezTo>
                  <a:pt x="7860601" y="205256"/>
                  <a:pt x="7864147" y="202159"/>
                  <a:pt x="7867695" y="202159"/>
                </a:cubicBezTo>
                <a:cubicBezTo>
                  <a:pt x="7867695" y="205256"/>
                  <a:pt x="7871242" y="202159"/>
                  <a:pt x="7871242" y="205256"/>
                </a:cubicBezTo>
                <a:cubicBezTo>
                  <a:pt x="7874789" y="205256"/>
                  <a:pt x="7871242" y="211450"/>
                  <a:pt x="7867695" y="214548"/>
                </a:cubicBezTo>
                <a:cubicBezTo>
                  <a:pt x="7867695" y="217645"/>
                  <a:pt x="7860601" y="223841"/>
                  <a:pt x="7860601" y="230035"/>
                </a:cubicBezTo>
                <a:cubicBezTo>
                  <a:pt x="7835770" y="257912"/>
                  <a:pt x="7807393" y="282692"/>
                  <a:pt x="7786109" y="307471"/>
                </a:cubicBezTo>
                <a:cubicBezTo>
                  <a:pt x="7775467" y="310568"/>
                  <a:pt x="7771920" y="316764"/>
                  <a:pt x="7768373" y="322959"/>
                </a:cubicBezTo>
                <a:cubicBezTo>
                  <a:pt x="7747089" y="347737"/>
                  <a:pt x="7725807" y="372517"/>
                  <a:pt x="7700976" y="400395"/>
                </a:cubicBezTo>
                <a:cubicBezTo>
                  <a:pt x="7661957" y="443759"/>
                  <a:pt x="7619390" y="493318"/>
                  <a:pt x="7576825" y="539780"/>
                </a:cubicBezTo>
                <a:cubicBezTo>
                  <a:pt x="7654862" y="471636"/>
                  <a:pt x="7718712" y="397297"/>
                  <a:pt x="7803845" y="338446"/>
                </a:cubicBezTo>
                <a:cubicBezTo>
                  <a:pt x="7828675" y="319861"/>
                  <a:pt x="7842865" y="301277"/>
                  <a:pt x="7864147" y="279594"/>
                </a:cubicBezTo>
                <a:cubicBezTo>
                  <a:pt x="7867695" y="276497"/>
                  <a:pt x="7871242" y="273399"/>
                  <a:pt x="7874789" y="270301"/>
                </a:cubicBezTo>
                <a:cubicBezTo>
                  <a:pt x="7878337" y="270301"/>
                  <a:pt x="7881883" y="270301"/>
                  <a:pt x="7885431" y="270301"/>
                </a:cubicBezTo>
                <a:cubicBezTo>
                  <a:pt x="7888978" y="273399"/>
                  <a:pt x="7892525" y="273399"/>
                  <a:pt x="7896073" y="279594"/>
                </a:cubicBezTo>
                <a:cubicBezTo>
                  <a:pt x="7899619" y="285790"/>
                  <a:pt x="7903166" y="288886"/>
                  <a:pt x="7910261" y="298179"/>
                </a:cubicBezTo>
                <a:cubicBezTo>
                  <a:pt x="7910261" y="301277"/>
                  <a:pt x="7910261" y="304374"/>
                  <a:pt x="7910261" y="307471"/>
                </a:cubicBezTo>
                <a:cubicBezTo>
                  <a:pt x="7910261" y="310568"/>
                  <a:pt x="7910261" y="313666"/>
                  <a:pt x="7906714" y="316764"/>
                </a:cubicBezTo>
                <a:cubicBezTo>
                  <a:pt x="7906714" y="322959"/>
                  <a:pt x="7903166" y="332250"/>
                  <a:pt x="7896073" y="335348"/>
                </a:cubicBezTo>
                <a:cubicBezTo>
                  <a:pt x="7888978" y="350835"/>
                  <a:pt x="7874789" y="366322"/>
                  <a:pt x="7860601" y="378712"/>
                </a:cubicBezTo>
                <a:cubicBezTo>
                  <a:pt x="7849959" y="388005"/>
                  <a:pt x="7839317" y="397297"/>
                  <a:pt x="7832223" y="406590"/>
                </a:cubicBezTo>
                <a:cubicBezTo>
                  <a:pt x="7832223" y="406590"/>
                  <a:pt x="7828675" y="406590"/>
                  <a:pt x="7828675" y="406590"/>
                </a:cubicBezTo>
                <a:cubicBezTo>
                  <a:pt x="7828675" y="406590"/>
                  <a:pt x="7832223" y="409686"/>
                  <a:pt x="7828675" y="409686"/>
                </a:cubicBezTo>
                <a:cubicBezTo>
                  <a:pt x="7828675" y="409686"/>
                  <a:pt x="7828675" y="409686"/>
                  <a:pt x="7832223" y="409686"/>
                </a:cubicBezTo>
                <a:cubicBezTo>
                  <a:pt x="7839317" y="406590"/>
                  <a:pt x="7842865" y="403492"/>
                  <a:pt x="7853506" y="403492"/>
                </a:cubicBezTo>
                <a:cubicBezTo>
                  <a:pt x="7857053" y="400395"/>
                  <a:pt x="7860601" y="397297"/>
                  <a:pt x="7864147" y="397297"/>
                </a:cubicBezTo>
                <a:cubicBezTo>
                  <a:pt x="7864147" y="397297"/>
                  <a:pt x="7867695" y="397297"/>
                  <a:pt x="7867695" y="397297"/>
                </a:cubicBezTo>
                <a:cubicBezTo>
                  <a:pt x="7871242" y="400395"/>
                  <a:pt x="7871242" y="400395"/>
                  <a:pt x="7871242" y="400395"/>
                </a:cubicBezTo>
                <a:cubicBezTo>
                  <a:pt x="7938638" y="357030"/>
                  <a:pt x="8006036" y="313666"/>
                  <a:pt x="8069885" y="264107"/>
                </a:cubicBezTo>
                <a:cubicBezTo>
                  <a:pt x="8091169" y="251717"/>
                  <a:pt x="8112451" y="236230"/>
                  <a:pt x="8133735" y="220743"/>
                </a:cubicBezTo>
                <a:cubicBezTo>
                  <a:pt x="8137282" y="217645"/>
                  <a:pt x="8137282" y="217645"/>
                  <a:pt x="8137282" y="214548"/>
                </a:cubicBezTo>
                <a:cubicBezTo>
                  <a:pt x="8144377" y="211450"/>
                  <a:pt x="8151471" y="205256"/>
                  <a:pt x="8158566" y="202159"/>
                </a:cubicBezTo>
                <a:cubicBezTo>
                  <a:pt x="8162113" y="199061"/>
                  <a:pt x="8169207" y="192866"/>
                  <a:pt x="8172754" y="192866"/>
                </a:cubicBezTo>
                <a:cubicBezTo>
                  <a:pt x="8179849" y="189768"/>
                  <a:pt x="8186943" y="186670"/>
                  <a:pt x="8194037" y="186670"/>
                </a:cubicBezTo>
                <a:cubicBezTo>
                  <a:pt x="8204679" y="183573"/>
                  <a:pt x="8211773" y="180476"/>
                  <a:pt x="8222415" y="183573"/>
                </a:cubicBezTo>
                <a:cubicBezTo>
                  <a:pt x="8247245" y="177379"/>
                  <a:pt x="8275623" y="177379"/>
                  <a:pt x="8307548" y="177379"/>
                </a:cubicBezTo>
                <a:cubicBezTo>
                  <a:pt x="8335925" y="180476"/>
                  <a:pt x="8367851" y="174281"/>
                  <a:pt x="8399775" y="168086"/>
                </a:cubicBezTo>
                <a:cubicBezTo>
                  <a:pt x="8428153" y="158794"/>
                  <a:pt x="8456530" y="146404"/>
                  <a:pt x="8481361" y="134014"/>
                </a:cubicBezTo>
                <a:cubicBezTo>
                  <a:pt x="8509738" y="124721"/>
                  <a:pt x="8538116" y="112332"/>
                  <a:pt x="8566493" y="106137"/>
                </a:cubicBezTo>
                <a:cubicBezTo>
                  <a:pt x="8598419" y="96845"/>
                  <a:pt x="8630343" y="93748"/>
                  <a:pt x="8662268" y="93748"/>
                </a:cubicBezTo>
                <a:cubicBezTo>
                  <a:pt x="8704835" y="96845"/>
                  <a:pt x="8747401" y="99942"/>
                  <a:pt x="8789968" y="99942"/>
                </a:cubicBezTo>
                <a:cubicBezTo>
                  <a:pt x="8825440" y="96845"/>
                  <a:pt x="8860912" y="106137"/>
                  <a:pt x="8892836" y="118527"/>
                </a:cubicBezTo>
                <a:cubicBezTo>
                  <a:pt x="8931856" y="134014"/>
                  <a:pt x="8967329" y="149501"/>
                  <a:pt x="8999253" y="171183"/>
                </a:cubicBezTo>
                <a:cubicBezTo>
                  <a:pt x="9013442" y="180476"/>
                  <a:pt x="9027630" y="189768"/>
                  <a:pt x="9034725" y="199061"/>
                </a:cubicBezTo>
                <a:cubicBezTo>
                  <a:pt x="9041820" y="205256"/>
                  <a:pt x="9048913" y="214548"/>
                  <a:pt x="9048913" y="226937"/>
                </a:cubicBezTo>
                <a:cubicBezTo>
                  <a:pt x="9048913" y="236230"/>
                  <a:pt x="9041820" y="242425"/>
                  <a:pt x="9034725" y="248619"/>
                </a:cubicBezTo>
                <a:cubicBezTo>
                  <a:pt x="9020535" y="254815"/>
                  <a:pt x="9002799" y="257912"/>
                  <a:pt x="8985063" y="261010"/>
                </a:cubicBezTo>
                <a:cubicBezTo>
                  <a:pt x="8974422" y="264107"/>
                  <a:pt x="8960234" y="261010"/>
                  <a:pt x="8949592" y="257912"/>
                </a:cubicBezTo>
                <a:cubicBezTo>
                  <a:pt x="8931856" y="257912"/>
                  <a:pt x="8917667" y="254815"/>
                  <a:pt x="8899931" y="251717"/>
                </a:cubicBezTo>
                <a:cubicBezTo>
                  <a:pt x="8868007" y="248619"/>
                  <a:pt x="8839628" y="245523"/>
                  <a:pt x="8807704" y="242425"/>
                </a:cubicBezTo>
                <a:cubicBezTo>
                  <a:pt x="8807704" y="242425"/>
                  <a:pt x="8807704" y="242425"/>
                  <a:pt x="8804157" y="242425"/>
                </a:cubicBezTo>
                <a:cubicBezTo>
                  <a:pt x="8804157" y="242425"/>
                  <a:pt x="8800609" y="245523"/>
                  <a:pt x="8800609" y="245523"/>
                </a:cubicBezTo>
                <a:cubicBezTo>
                  <a:pt x="8800609" y="248619"/>
                  <a:pt x="8800609" y="251717"/>
                  <a:pt x="8800609" y="254815"/>
                </a:cubicBezTo>
                <a:cubicBezTo>
                  <a:pt x="8804157" y="264107"/>
                  <a:pt x="8807704" y="273399"/>
                  <a:pt x="8807704" y="282692"/>
                </a:cubicBezTo>
                <a:cubicBezTo>
                  <a:pt x="8811250" y="288886"/>
                  <a:pt x="8811250" y="291984"/>
                  <a:pt x="8807704" y="295082"/>
                </a:cubicBezTo>
                <a:cubicBezTo>
                  <a:pt x="8807704" y="298179"/>
                  <a:pt x="8807704" y="298179"/>
                  <a:pt x="8804157" y="301277"/>
                </a:cubicBezTo>
                <a:cubicBezTo>
                  <a:pt x="8804157" y="301277"/>
                  <a:pt x="8800609" y="304374"/>
                  <a:pt x="8800609" y="304374"/>
                </a:cubicBezTo>
                <a:cubicBezTo>
                  <a:pt x="8797062" y="304374"/>
                  <a:pt x="8793514" y="304374"/>
                  <a:pt x="8786421" y="307471"/>
                </a:cubicBezTo>
                <a:cubicBezTo>
                  <a:pt x="8782873" y="307471"/>
                  <a:pt x="8775778" y="304374"/>
                  <a:pt x="8772232" y="304374"/>
                </a:cubicBezTo>
                <a:cubicBezTo>
                  <a:pt x="8758042" y="301277"/>
                  <a:pt x="8743854" y="298179"/>
                  <a:pt x="8726118" y="295082"/>
                </a:cubicBezTo>
                <a:cubicBezTo>
                  <a:pt x="8672910" y="282692"/>
                  <a:pt x="8612608" y="285790"/>
                  <a:pt x="8555852" y="291984"/>
                </a:cubicBezTo>
                <a:cubicBezTo>
                  <a:pt x="8474266" y="304374"/>
                  <a:pt x="8392680" y="319861"/>
                  <a:pt x="8314643" y="344641"/>
                </a:cubicBezTo>
                <a:cubicBezTo>
                  <a:pt x="8236603" y="372517"/>
                  <a:pt x="8158566" y="403492"/>
                  <a:pt x="8080527" y="440661"/>
                </a:cubicBezTo>
                <a:cubicBezTo>
                  <a:pt x="8073432" y="443759"/>
                  <a:pt x="8066337" y="449953"/>
                  <a:pt x="8059244" y="453051"/>
                </a:cubicBezTo>
                <a:cubicBezTo>
                  <a:pt x="8066337" y="453051"/>
                  <a:pt x="8069885" y="453051"/>
                  <a:pt x="8076981" y="453051"/>
                </a:cubicBezTo>
                <a:cubicBezTo>
                  <a:pt x="8084073" y="456148"/>
                  <a:pt x="8091169" y="456148"/>
                  <a:pt x="8098263" y="456148"/>
                </a:cubicBezTo>
                <a:cubicBezTo>
                  <a:pt x="8119546" y="443759"/>
                  <a:pt x="8144377" y="434466"/>
                  <a:pt x="8165659" y="428272"/>
                </a:cubicBezTo>
                <a:cubicBezTo>
                  <a:pt x="8169207" y="425174"/>
                  <a:pt x="8172754" y="425174"/>
                  <a:pt x="8172754" y="422077"/>
                </a:cubicBezTo>
                <a:cubicBezTo>
                  <a:pt x="8190490" y="409686"/>
                  <a:pt x="8204679" y="400395"/>
                  <a:pt x="8218867" y="391102"/>
                </a:cubicBezTo>
                <a:cubicBezTo>
                  <a:pt x="8236603" y="381810"/>
                  <a:pt x="8257887" y="375615"/>
                  <a:pt x="8272076" y="375615"/>
                </a:cubicBezTo>
                <a:cubicBezTo>
                  <a:pt x="8296907" y="375615"/>
                  <a:pt x="8321737" y="375615"/>
                  <a:pt x="8346567" y="369420"/>
                </a:cubicBezTo>
                <a:cubicBezTo>
                  <a:pt x="8360757" y="366322"/>
                  <a:pt x="8378493" y="369420"/>
                  <a:pt x="8392680" y="375615"/>
                </a:cubicBezTo>
                <a:cubicBezTo>
                  <a:pt x="8399775" y="369420"/>
                  <a:pt x="8410417" y="366322"/>
                  <a:pt x="8417511" y="360128"/>
                </a:cubicBezTo>
                <a:cubicBezTo>
                  <a:pt x="8424606" y="353933"/>
                  <a:pt x="8428153" y="350835"/>
                  <a:pt x="8438794" y="347737"/>
                </a:cubicBezTo>
                <a:cubicBezTo>
                  <a:pt x="8445889" y="344641"/>
                  <a:pt x="8452983" y="341543"/>
                  <a:pt x="8463625" y="341543"/>
                </a:cubicBezTo>
                <a:cubicBezTo>
                  <a:pt x="8484908" y="335348"/>
                  <a:pt x="8509738" y="335348"/>
                  <a:pt x="8531022" y="332250"/>
                </a:cubicBezTo>
                <a:cubicBezTo>
                  <a:pt x="8584229" y="329153"/>
                  <a:pt x="8640986" y="332250"/>
                  <a:pt x="8701287" y="338446"/>
                </a:cubicBezTo>
                <a:cubicBezTo>
                  <a:pt x="8761590" y="344641"/>
                  <a:pt x="8825440" y="347737"/>
                  <a:pt x="8889290" y="347737"/>
                </a:cubicBezTo>
                <a:cubicBezTo>
                  <a:pt x="8917667" y="347737"/>
                  <a:pt x="8949592" y="350835"/>
                  <a:pt x="8974422" y="347737"/>
                </a:cubicBezTo>
                <a:cubicBezTo>
                  <a:pt x="9002799" y="344641"/>
                  <a:pt x="9027630" y="341543"/>
                  <a:pt x="9056008" y="335348"/>
                </a:cubicBezTo>
                <a:cubicBezTo>
                  <a:pt x="9059556" y="332250"/>
                  <a:pt x="9070197" y="332250"/>
                  <a:pt x="9073744" y="332250"/>
                </a:cubicBezTo>
                <a:cubicBezTo>
                  <a:pt x="9084385" y="332250"/>
                  <a:pt x="9091480" y="332250"/>
                  <a:pt x="9098575" y="332250"/>
                </a:cubicBezTo>
                <a:cubicBezTo>
                  <a:pt x="9116311" y="335348"/>
                  <a:pt x="9134047" y="338446"/>
                  <a:pt x="9151783" y="344641"/>
                </a:cubicBezTo>
                <a:cubicBezTo>
                  <a:pt x="9183707" y="357030"/>
                  <a:pt x="9219179" y="372517"/>
                  <a:pt x="9251105" y="391102"/>
                </a:cubicBezTo>
                <a:cubicBezTo>
                  <a:pt x="9261746" y="400395"/>
                  <a:pt x="9272387" y="406590"/>
                  <a:pt x="9283029" y="415882"/>
                </a:cubicBezTo>
                <a:cubicBezTo>
                  <a:pt x="9286577" y="418979"/>
                  <a:pt x="9290123" y="425174"/>
                  <a:pt x="9290123" y="428272"/>
                </a:cubicBezTo>
                <a:cubicBezTo>
                  <a:pt x="9293670" y="431369"/>
                  <a:pt x="9293670" y="431369"/>
                  <a:pt x="9293670" y="434466"/>
                </a:cubicBezTo>
                <a:cubicBezTo>
                  <a:pt x="9293670" y="434466"/>
                  <a:pt x="9290123" y="434466"/>
                  <a:pt x="9290123" y="437564"/>
                </a:cubicBezTo>
                <a:cubicBezTo>
                  <a:pt x="9290123" y="437564"/>
                  <a:pt x="9290123" y="437564"/>
                  <a:pt x="9286577" y="437564"/>
                </a:cubicBezTo>
                <a:cubicBezTo>
                  <a:pt x="9286577" y="440661"/>
                  <a:pt x="9283029" y="440661"/>
                  <a:pt x="9283029" y="440661"/>
                </a:cubicBezTo>
                <a:cubicBezTo>
                  <a:pt x="9279482" y="440661"/>
                  <a:pt x="9275934" y="437564"/>
                  <a:pt x="9272387" y="437564"/>
                </a:cubicBezTo>
                <a:cubicBezTo>
                  <a:pt x="9254651" y="434466"/>
                  <a:pt x="9236915" y="431369"/>
                  <a:pt x="9219179" y="428272"/>
                </a:cubicBezTo>
                <a:cubicBezTo>
                  <a:pt x="9187255" y="418979"/>
                  <a:pt x="9155329" y="409686"/>
                  <a:pt x="9123405" y="409686"/>
                </a:cubicBezTo>
                <a:cubicBezTo>
                  <a:pt x="9119857" y="409686"/>
                  <a:pt x="9112764" y="409686"/>
                  <a:pt x="9109216" y="409686"/>
                </a:cubicBezTo>
                <a:cubicBezTo>
                  <a:pt x="9109216" y="409686"/>
                  <a:pt x="9105669" y="409686"/>
                  <a:pt x="9102121" y="409686"/>
                </a:cubicBezTo>
                <a:cubicBezTo>
                  <a:pt x="9098575" y="412784"/>
                  <a:pt x="9095028" y="415882"/>
                  <a:pt x="9091480" y="418979"/>
                </a:cubicBezTo>
                <a:cubicBezTo>
                  <a:pt x="9084385" y="440661"/>
                  <a:pt x="9095028" y="465441"/>
                  <a:pt x="9080838" y="490220"/>
                </a:cubicBezTo>
                <a:cubicBezTo>
                  <a:pt x="9077292" y="493318"/>
                  <a:pt x="9073744" y="499513"/>
                  <a:pt x="9073744" y="505708"/>
                </a:cubicBezTo>
                <a:cubicBezTo>
                  <a:pt x="9073744" y="505708"/>
                  <a:pt x="9073744" y="508806"/>
                  <a:pt x="9073744" y="508806"/>
                </a:cubicBezTo>
                <a:cubicBezTo>
                  <a:pt x="9073744" y="508806"/>
                  <a:pt x="9073744" y="508806"/>
                  <a:pt x="9073744" y="511902"/>
                </a:cubicBezTo>
                <a:cubicBezTo>
                  <a:pt x="9077292" y="511902"/>
                  <a:pt x="9077292" y="511902"/>
                  <a:pt x="9077292" y="511902"/>
                </a:cubicBezTo>
                <a:cubicBezTo>
                  <a:pt x="9077292" y="511902"/>
                  <a:pt x="9080838" y="511902"/>
                  <a:pt x="9080838" y="511902"/>
                </a:cubicBezTo>
                <a:cubicBezTo>
                  <a:pt x="9080838" y="511902"/>
                  <a:pt x="9084385" y="511902"/>
                  <a:pt x="9087933" y="511902"/>
                </a:cubicBezTo>
                <a:cubicBezTo>
                  <a:pt x="9091480" y="508806"/>
                  <a:pt x="9098575" y="505708"/>
                  <a:pt x="9105669" y="505708"/>
                </a:cubicBezTo>
                <a:cubicBezTo>
                  <a:pt x="9126952" y="499513"/>
                  <a:pt x="9144688" y="496415"/>
                  <a:pt x="9165971" y="493318"/>
                </a:cubicBezTo>
                <a:cubicBezTo>
                  <a:pt x="9194348" y="493318"/>
                  <a:pt x="9222727" y="493318"/>
                  <a:pt x="9254651" y="502610"/>
                </a:cubicBezTo>
                <a:cubicBezTo>
                  <a:pt x="9290123" y="511902"/>
                  <a:pt x="9325596" y="527390"/>
                  <a:pt x="9357520" y="552169"/>
                </a:cubicBezTo>
                <a:lnTo>
                  <a:pt x="9414037" y="610774"/>
                </a:lnTo>
                <a:lnTo>
                  <a:pt x="9469207" y="588878"/>
                </a:lnTo>
                <a:lnTo>
                  <a:pt x="9466344" y="587049"/>
                </a:lnTo>
                <a:cubicBezTo>
                  <a:pt x="9466344" y="587049"/>
                  <a:pt x="9469893" y="587049"/>
                  <a:pt x="9473439" y="587049"/>
                </a:cubicBezTo>
                <a:cubicBezTo>
                  <a:pt x="9469893" y="580904"/>
                  <a:pt x="9469893" y="577831"/>
                  <a:pt x="9473439" y="574758"/>
                </a:cubicBezTo>
                <a:cubicBezTo>
                  <a:pt x="9476987" y="571686"/>
                  <a:pt x="9476987" y="571686"/>
                  <a:pt x="9476987" y="571686"/>
                </a:cubicBezTo>
                <a:cubicBezTo>
                  <a:pt x="9480534" y="571686"/>
                  <a:pt x="9484081" y="571686"/>
                  <a:pt x="9487629" y="571686"/>
                </a:cubicBezTo>
                <a:lnTo>
                  <a:pt x="9501534" y="574095"/>
                </a:lnTo>
                <a:lnTo>
                  <a:pt x="9828801" y="412784"/>
                </a:lnTo>
                <a:cubicBezTo>
                  <a:pt x="9853632" y="394200"/>
                  <a:pt x="9874915" y="378712"/>
                  <a:pt x="9899745" y="363226"/>
                </a:cubicBezTo>
                <a:cubicBezTo>
                  <a:pt x="9917481" y="350835"/>
                  <a:pt x="9935217" y="338446"/>
                  <a:pt x="9956501" y="332250"/>
                </a:cubicBezTo>
                <a:cubicBezTo>
                  <a:pt x="9967142" y="326055"/>
                  <a:pt x="9981331" y="319861"/>
                  <a:pt x="9988425" y="322959"/>
                </a:cubicBezTo>
                <a:cubicBezTo>
                  <a:pt x="9995519" y="329153"/>
                  <a:pt x="9995519" y="338446"/>
                  <a:pt x="9991973" y="350835"/>
                </a:cubicBezTo>
                <a:cubicBezTo>
                  <a:pt x="9991973" y="350835"/>
                  <a:pt x="9991973" y="350835"/>
                  <a:pt x="9988425" y="353933"/>
                </a:cubicBezTo>
                <a:cubicBezTo>
                  <a:pt x="9988425" y="357030"/>
                  <a:pt x="9984878" y="360128"/>
                  <a:pt x="9984878" y="363226"/>
                </a:cubicBezTo>
                <a:cubicBezTo>
                  <a:pt x="9974237" y="369420"/>
                  <a:pt x="9967142" y="375615"/>
                  <a:pt x="9963595" y="381810"/>
                </a:cubicBezTo>
                <a:cubicBezTo>
                  <a:pt x="9935217" y="406590"/>
                  <a:pt x="9910387" y="428272"/>
                  <a:pt x="9885556" y="449953"/>
                </a:cubicBezTo>
                <a:cubicBezTo>
                  <a:pt x="9864273" y="468539"/>
                  <a:pt x="9842989" y="490220"/>
                  <a:pt x="9821707" y="508806"/>
                </a:cubicBezTo>
                <a:cubicBezTo>
                  <a:pt x="9903292" y="443759"/>
                  <a:pt x="9984878" y="381810"/>
                  <a:pt x="10070011" y="316764"/>
                </a:cubicBezTo>
                <a:cubicBezTo>
                  <a:pt x="10165785" y="245523"/>
                  <a:pt x="10258013" y="164988"/>
                  <a:pt x="10353787" y="93748"/>
                </a:cubicBezTo>
                <a:cubicBezTo>
                  <a:pt x="10382165" y="75163"/>
                  <a:pt x="10406996" y="56578"/>
                  <a:pt x="10431825" y="41090"/>
                </a:cubicBezTo>
                <a:cubicBezTo>
                  <a:pt x="10453109" y="28701"/>
                  <a:pt x="10474393" y="16312"/>
                  <a:pt x="10492129" y="10116"/>
                </a:cubicBezTo>
                <a:cubicBezTo>
                  <a:pt x="10506317" y="3921"/>
                  <a:pt x="10520506" y="-2273"/>
                  <a:pt x="10531147" y="824"/>
                </a:cubicBezTo>
                <a:cubicBezTo>
                  <a:pt x="10541789" y="3921"/>
                  <a:pt x="10538242" y="16312"/>
                  <a:pt x="10534695" y="25603"/>
                </a:cubicBezTo>
                <a:cubicBezTo>
                  <a:pt x="10534695" y="28701"/>
                  <a:pt x="10534695" y="28701"/>
                  <a:pt x="10534695" y="31799"/>
                </a:cubicBezTo>
                <a:cubicBezTo>
                  <a:pt x="10531147" y="31799"/>
                  <a:pt x="10527601" y="34896"/>
                  <a:pt x="10527601" y="37994"/>
                </a:cubicBezTo>
                <a:cubicBezTo>
                  <a:pt x="10520506" y="44188"/>
                  <a:pt x="10509865" y="50383"/>
                  <a:pt x="10502770" y="56578"/>
                </a:cubicBezTo>
                <a:cubicBezTo>
                  <a:pt x="10474393" y="81357"/>
                  <a:pt x="10449561" y="103039"/>
                  <a:pt x="10421184" y="127819"/>
                </a:cubicBezTo>
                <a:cubicBezTo>
                  <a:pt x="10343147" y="199061"/>
                  <a:pt x="10261561" y="267204"/>
                  <a:pt x="10183521" y="335348"/>
                </a:cubicBezTo>
                <a:cubicBezTo>
                  <a:pt x="10101936" y="406590"/>
                  <a:pt x="10023897" y="477831"/>
                  <a:pt x="9942311" y="549072"/>
                </a:cubicBezTo>
                <a:cubicBezTo>
                  <a:pt x="9942311" y="549072"/>
                  <a:pt x="9945859" y="545975"/>
                  <a:pt x="9949405" y="545975"/>
                </a:cubicBezTo>
                <a:cubicBezTo>
                  <a:pt x="9956501" y="542877"/>
                  <a:pt x="9963595" y="536682"/>
                  <a:pt x="9970690" y="533584"/>
                </a:cubicBezTo>
                <a:cubicBezTo>
                  <a:pt x="10123219" y="409686"/>
                  <a:pt x="10272202" y="282692"/>
                  <a:pt x="10428279" y="171183"/>
                </a:cubicBezTo>
                <a:cubicBezTo>
                  <a:pt x="10485033" y="134014"/>
                  <a:pt x="10534695" y="90650"/>
                  <a:pt x="10587902" y="50383"/>
                </a:cubicBezTo>
                <a:cubicBezTo>
                  <a:pt x="10598545" y="41090"/>
                  <a:pt x="10605638" y="37994"/>
                  <a:pt x="10616281" y="31799"/>
                </a:cubicBezTo>
                <a:cubicBezTo>
                  <a:pt x="10623375" y="25603"/>
                  <a:pt x="10630469" y="25603"/>
                  <a:pt x="10637564" y="22506"/>
                </a:cubicBezTo>
                <a:cubicBezTo>
                  <a:pt x="10644659" y="22506"/>
                  <a:pt x="10651752" y="22506"/>
                  <a:pt x="10658847" y="25603"/>
                </a:cubicBezTo>
                <a:cubicBezTo>
                  <a:pt x="10662395" y="31799"/>
                  <a:pt x="10669488" y="34896"/>
                  <a:pt x="10676583" y="41090"/>
                </a:cubicBezTo>
                <a:cubicBezTo>
                  <a:pt x="10676583" y="44188"/>
                  <a:pt x="10676583" y="47286"/>
                  <a:pt x="10673036" y="53481"/>
                </a:cubicBezTo>
                <a:cubicBezTo>
                  <a:pt x="10673036" y="56578"/>
                  <a:pt x="10669488" y="59676"/>
                  <a:pt x="10665941" y="62772"/>
                </a:cubicBezTo>
                <a:cubicBezTo>
                  <a:pt x="10655300" y="78261"/>
                  <a:pt x="10644659" y="90650"/>
                  <a:pt x="10630469" y="99942"/>
                </a:cubicBezTo>
                <a:cubicBezTo>
                  <a:pt x="10598545" y="130917"/>
                  <a:pt x="10563073" y="158794"/>
                  <a:pt x="10524053" y="183573"/>
                </a:cubicBezTo>
                <a:cubicBezTo>
                  <a:pt x="10513411" y="195963"/>
                  <a:pt x="10499223" y="205256"/>
                  <a:pt x="10485033" y="214548"/>
                </a:cubicBezTo>
                <a:cubicBezTo>
                  <a:pt x="10485033" y="214548"/>
                  <a:pt x="10485033" y="217645"/>
                  <a:pt x="10485033" y="217645"/>
                </a:cubicBezTo>
                <a:cubicBezTo>
                  <a:pt x="10488581" y="220743"/>
                  <a:pt x="10492129" y="220743"/>
                  <a:pt x="10492129" y="223841"/>
                </a:cubicBezTo>
                <a:cubicBezTo>
                  <a:pt x="10492129" y="223841"/>
                  <a:pt x="10492129" y="220743"/>
                  <a:pt x="10495675" y="220743"/>
                </a:cubicBezTo>
                <a:cubicBezTo>
                  <a:pt x="10506317" y="214548"/>
                  <a:pt x="10516959" y="208353"/>
                  <a:pt x="10524053" y="205256"/>
                </a:cubicBezTo>
                <a:cubicBezTo>
                  <a:pt x="10527601" y="205256"/>
                  <a:pt x="10531147" y="202159"/>
                  <a:pt x="10534695" y="202159"/>
                </a:cubicBezTo>
                <a:cubicBezTo>
                  <a:pt x="10534695" y="205256"/>
                  <a:pt x="10538242" y="202159"/>
                  <a:pt x="10538242" y="205256"/>
                </a:cubicBezTo>
                <a:cubicBezTo>
                  <a:pt x="10541789" y="205256"/>
                  <a:pt x="10538242" y="211450"/>
                  <a:pt x="10534695" y="214548"/>
                </a:cubicBezTo>
                <a:cubicBezTo>
                  <a:pt x="10534695" y="217645"/>
                  <a:pt x="10527601" y="223841"/>
                  <a:pt x="10527601" y="230035"/>
                </a:cubicBezTo>
                <a:cubicBezTo>
                  <a:pt x="10502770" y="257912"/>
                  <a:pt x="10474393" y="282692"/>
                  <a:pt x="10453109" y="307471"/>
                </a:cubicBezTo>
                <a:cubicBezTo>
                  <a:pt x="10442467" y="310568"/>
                  <a:pt x="10438920" y="316764"/>
                  <a:pt x="10435373" y="322959"/>
                </a:cubicBezTo>
                <a:cubicBezTo>
                  <a:pt x="10414089" y="347737"/>
                  <a:pt x="10392807" y="372517"/>
                  <a:pt x="10367976" y="400395"/>
                </a:cubicBezTo>
                <a:cubicBezTo>
                  <a:pt x="10328957" y="443759"/>
                  <a:pt x="10286390" y="493318"/>
                  <a:pt x="10243825" y="539780"/>
                </a:cubicBezTo>
                <a:cubicBezTo>
                  <a:pt x="10321862" y="471636"/>
                  <a:pt x="10385712" y="397297"/>
                  <a:pt x="10470845" y="338446"/>
                </a:cubicBezTo>
                <a:cubicBezTo>
                  <a:pt x="10495675" y="319861"/>
                  <a:pt x="10509865" y="301277"/>
                  <a:pt x="10531147" y="279594"/>
                </a:cubicBezTo>
                <a:cubicBezTo>
                  <a:pt x="10534695" y="276497"/>
                  <a:pt x="10538242" y="273399"/>
                  <a:pt x="10541789" y="270301"/>
                </a:cubicBezTo>
                <a:cubicBezTo>
                  <a:pt x="10545337" y="270301"/>
                  <a:pt x="10548883" y="270301"/>
                  <a:pt x="10552431" y="270301"/>
                </a:cubicBezTo>
                <a:cubicBezTo>
                  <a:pt x="10555978" y="273399"/>
                  <a:pt x="10559525" y="273399"/>
                  <a:pt x="10563073" y="279594"/>
                </a:cubicBezTo>
                <a:cubicBezTo>
                  <a:pt x="10566619" y="285790"/>
                  <a:pt x="10570166" y="288886"/>
                  <a:pt x="10577261" y="298179"/>
                </a:cubicBezTo>
                <a:cubicBezTo>
                  <a:pt x="10577261" y="301277"/>
                  <a:pt x="10577261" y="304374"/>
                  <a:pt x="10577261" y="307471"/>
                </a:cubicBezTo>
                <a:cubicBezTo>
                  <a:pt x="10577261" y="310568"/>
                  <a:pt x="10577261" y="313666"/>
                  <a:pt x="10573714" y="316764"/>
                </a:cubicBezTo>
                <a:cubicBezTo>
                  <a:pt x="10573714" y="322959"/>
                  <a:pt x="10570166" y="332250"/>
                  <a:pt x="10563073" y="335348"/>
                </a:cubicBezTo>
                <a:cubicBezTo>
                  <a:pt x="10555978" y="350835"/>
                  <a:pt x="10541789" y="366322"/>
                  <a:pt x="10527601" y="378712"/>
                </a:cubicBezTo>
                <a:cubicBezTo>
                  <a:pt x="10516959" y="388005"/>
                  <a:pt x="10506317" y="397297"/>
                  <a:pt x="10499223" y="406590"/>
                </a:cubicBezTo>
                <a:cubicBezTo>
                  <a:pt x="10499223" y="406590"/>
                  <a:pt x="10495675" y="406590"/>
                  <a:pt x="10495675" y="406590"/>
                </a:cubicBezTo>
                <a:cubicBezTo>
                  <a:pt x="10495675" y="406590"/>
                  <a:pt x="10499223" y="409686"/>
                  <a:pt x="10495675" y="409686"/>
                </a:cubicBezTo>
                <a:cubicBezTo>
                  <a:pt x="10495675" y="409686"/>
                  <a:pt x="10495675" y="409686"/>
                  <a:pt x="10499223" y="409686"/>
                </a:cubicBezTo>
                <a:cubicBezTo>
                  <a:pt x="10506317" y="406590"/>
                  <a:pt x="10509865" y="403492"/>
                  <a:pt x="10520506" y="403492"/>
                </a:cubicBezTo>
                <a:cubicBezTo>
                  <a:pt x="10524053" y="400395"/>
                  <a:pt x="10527601" y="397297"/>
                  <a:pt x="10531147" y="397297"/>
                </a:cubicBezTo>
                <a:cubicBezTo>
                  <a:pt x="10531147" y="397297"/>
                  <a:pt x="10534695" y="397297"/>
                  <a:pt x="10534695" y="397297"/>
                </a:cubicBezTo>
                <a:cubicBezTo>
                  <a:pt x="10538242" y="400395"/>
                  <a:pt x="10538242" y="400395"/>
                  <a:pt x="10538242" y="400395"/>
                </a:cubicBezTo>
                <a:cubicBezTo>
                  <a:pt x="10605638" y="357030"/>
                  <a:pt x="10673036" y="313666"/>
                  <a:pt x="10736885" y="264107"/>
                </a:cubicBezTo>
                <a:cubicBezTo>
                  <a:pt x="10758169" y="251717"/>
                  <a:pt x="10779451" y="236230"/>
                  <a:pt x="10800735" y="220743"/>
                </a:cubicBezTo>
                <a:cubicBezTo>
                  <a:pt x="10804282" y="217645"/>
                  <a:pt x="10804282" y="217645"/>
                  <a:pt x="10804282" y="214548"/>
                </a:cubicBezTo>
                <a:cubicBezTo>
                  <a:pt x="10811377" y="211450"/>
                  <a:pt x="10818471" y="205256"/>
                  <a:pt x="10825566" y="202159"/>
                </a:cubicBezTo>
                <a:cubicBezTo>
                  <a:pt x="10829113" y="199061"/>
                  <a:pt x="10836207" y="192866"/>
                  <a:pt x="10839754" y="192866"/>
                </a:cubicBezTo>
                <a:cubicBezTo>
                  <a:pt x="10846849" y="189768"/>
                  <a:pt x="10853943" y="186670"/>
                  <a:pt x="10861037" y="186670"/>
                </a:cubicBezTo>
                <a:cubicBezTo>
                  <a:pt x="10871679" y="183573"/>
                  <a:pt x="10878773" y="180476"/>
                  <a:pt x="10889415" y="183573"/>
                </a:cubicBezTo>
                <a:cubicBezTo>
                  <a:pt x="10914245" y="177379"/>
                  <a:pt x="10942623" y="177379"/>
                  <a:pt x="10974548" y="177379"/>
                </a:cubicBezTo>
                <a:cubicBezTo>
                  <a:pt x="11002925" y="180476"/>
                  <a:pt x="11034851" y="174281"/>
                  <a:pt x="11066775" y="168086"/>
                </a:cubicBezTo>
                <a:cubicBezTo>
                  <a:pt x="11095153" y="158794"/>
                  <a:pt x="11123530" y="146404"/>
                  <a:pt x="11148361" y="134014"/>
                </a:cubicBezTo>
                <a:cubicBezTo>
                  <a:pt x="11176738" y="124721"/>
                  <a:pt x="11205116" y="112332"/>
                  <a:pt x="11233493" y="106137"/>
                </a:cubicBezTo>
                <a:cubicBezTo>
                  <a:pt x="11265419" y="96845"/>
                  <a:pt x="11297343" y="93748"/>
                  <a:pt x="11329268" y="93748"/>
                </a:cubicBezTo>
                <a:cubicBezTo>
                  <a:pt x="11371835" y="96845"/>
                  <a:pt x="11414401" y="99942"/>
                  <a:pt x="11456968" y="99942"/>
                </a:cubicBezTo>
                <a:cubicBezTo>
                  <a:pt x="11492440" y="96845"/>
                  <a:pt x="11527912" y="106137"/>
                  <a:pt x="11559836" y="118527"/>
                </a:cubicBezTo>
                <a:cubicBezTo>
                  <a:pt x="11598856" y="134014"/>
                  <a:pt x="11634329" y="149501"/>
                  <a:pt x="11666253" y="171183"/>
                </a:cubicBezTo>
                <a:cubicBezTo>
                  <a:pt x="11680442" y="180476"/>
                  <a:pt x="11694630" y="189768"/>
                  <a:pt x="11701725" y="199061"/>
                </a:cubicBezTo>
                <a:cubicBezTo>
                  <a:pt x="11708820" y="205256"/>
                  <a:pt x="11715913" y="214548"/>
                  <a:pt x="11715913" y="226937"/>
                </a:cubicBezTo>
                <a:cubicBezTo>
                  <a:pt x="11715913" y="236230"/>
                  <a:pt x="11708820" y="242425"/>
                  <a:pt x="11701725" y="248619"/>
                </a:cubicBezTo>
                <a:cubicBezTo>
                  <a:pt x="11687535" y="254815"/>
                  <a:pt x="11669799" y="257912"/>
                  <a:pt x="11652063" y="261010"/>
                </a:cubicBezTo>
                <a:cubicBezTo>
                  <a:pt x="11641422" y="264107"/>
                  <a:pt x="11627234" y="261010"/>
                  <a:pt x="11616592" y="257912"/>
                </a:cubicBezTo>
                <a:cubicBezTo>
                  <a:pt x="11598856" y="257912"/>
                  <a:pt x="11584667" y="254815"/>
                  <a:pt x="11566931" y="251717"/>
                </a:cubicBezTo>
                <a:cubicBezTo>
                  <a:pt x="11535007" y="248619"/>
                  <a:pt x="11506628" y="245523"/>
                  <a:pt x="11474704" y="242425"/>
                </a:cubicBezTo>
                <a:cubicBezTo>
                  <a:pt x="11474704" y="242425"/>
                  <a:pt x="11474704" y="242425"/>
                  <a:pt x="11471157" y="242425"/>
                </a:cubicBezTo>
                <a:cubicBezTo>
                  <a:pt x="11471157" y="242425"/>
                  <a:pt x="11467609" y="245523"/>
                  <a:pt x="11467609" y="245523"/>
                </a:cubicBezTo>
                <a:cubicBezTo>
                  <a:pt x="11467609" y="248619"/>
                  <a:pt x="11467609" y="251717"/>
                  <a:pt x="11467609" y="254815"/>
                </a:cubicBezTo>
                <a:cubicBezTo>
                  <a:pt x="11471157" y="264107"/>
                  <a:pt x="11474704" y="273399"/>
                  <a:pt x="11474704" y="282692"/>
                </a:cubicBezTo>
                <a:cubicBezTo>
                  <a:pt x="11478250" y="288886"/>
                  <a:pt x="11478250" y="291984"/>
                  <a:pt x="11474704" y="295082"/>
                </a:cubicBezTo>
                <a:cubicBezTo>
                  <a:pt x="11474704" y="298179"/>
                  <a:pt x="11474704" y="298179"/>
                  <a:pt x="11471157" y="301277"/>
                </a:cubicBezTo>
                <a:cubicBezTo>
                  <a:pt x="11471157" y="301277"/>
                  <a:pt x="11467609" y="304374"/>
                  <a:pt x="11467609" y="304374"/>
                </a:cubicBezTo>
                <a:cubicBezTo>
                  <a:pt x="11464062" y="304374"/>
                  <a:pt x="11460514" y="304374"/>
                  <a:pt x="11453421" y="307471"/>
                </a:cubicBezTo>
                <a:cubicBezTo>
                  <a:pt x="11449873" y="307471"/>
                  <a:pt x="11442778" y="304374"/>
                  <a:pt x="11439232" y="304374"/>
                </a:cubicBezTo>
                <a:cubicBezTo>
                  <a:pt x="11425042" y="301277"/>
                  <a:pt x="11410854" y="298179"/>
                  <a:pt x="11393118" y="295082"/>
                </a:cubicBezTo>
                <a:cubicBezTo>
                  <a:pt x="11339910" y="282692"/>
                  <a:pt x="11279608" y="285790"/>
                  <a:pt x="11222852" y="291984"/>
                </a:cubicBezTo>
                <a:cubicBezTo>
                  <a:pt x="11141266" y="304374"/>
                  <a:pt x="11059680" y="319861"/>
                  <a:pt x="10981643" y="344641"/>
                </a:cubicBezTo>
                <a:cubicBezTo>
                  <a:pt x="10903603" y="372517"/>
                  <a:pt x="10825566" y="403492"/>
                  <a:pt x="10747527" y="440661"/>
                </a:cubicBezTo>
                <a:cubicBezTo>
                  <a:pt x="10740432" y="443759"/>
                  <a:pt x="10733337" y="449953"/>
                  <a:pt x="10726244" y="453051"/>
                </a:cubicBezTo>
                <a:cubicBezTo>
                  <a:pt x="10733337" y="453051"/>
                  <a:pt x="10736885" y="453051"/>
                  <a:pt x="10743981" y="453051"/>
                </a:cubicBezTo>
                <a:cubicBezTo>
                  <a:pt x="10751073" y="456148"/>
                  <a:pt x="10758169" y="456148"/>
                  <a:pt x="10765263" y="456148"/>
                </a:cubicBezTo>
                <a:cubicBezTo>
                  <a:pt x="10786546" y="443759"/>
                  <a:pt x="10811377" y="434466"/>
                  <a:pt x="10832659" y="428272"/>
                </a:cubicBezTo>
                <a:cubicBezTo>
                  <a:pt x="10836207" y="425174"/>
                  <a:pt x="10839754" y="425174"/>
                  <a:pt x="10839754" y="422077"/>
                </a:cubicBezTo>
                <a:cubicBezTo>
                  <a:pt x="10857490" y="409686"/>
                  <a:pt x="10871679" y="400395"/>
                  <a:pt x="10885867" y="391102"/>
                </a:cubicBezTo>
                <a:cubicBezTo>
                  <a:pt x="10903603" y="381810"/>
                  <a:pt x="10924887" y="375615"/>
                  <a:pt x="10939076" y="375615"/>
                </a:cubicBezTo>
                <a:cubicBezTo>
                  <a:pt x="10963907" y="375615"/>
                  <a:pt x="10988737" y="375615"/>
                  <a:pt x="11013567" y="369420"/>
                </a:cubicBezTo>
                <a:cubicBezTo>
                  <a:pt x="11027757" y="366322"/>
                  <a:pt x="11045493" y="369420"/>
                  <a:pt x="11059680" y="375615"/>
                </a:cubicBezTo>
                <a:cubicBezTo>
                  <a:pt x="11066775" y="369420"/>
                  <a:pt x="11077417" y="366322"/>
                  <a:pt x="11084511" y="360128"/>
                </a:cubicBezTo>
                <a:cubicBezTo>
                  <a:pt x="11091606" y="353933"/>
                  <a:pt x="11095153" y="350835"/>
                  <a:pt x="11105794" y="347737"/>
                </a:cubicBezTo>
                <a:cubicBezTo>
                  <a:pt x="11112889" y="344641"/>
                  <a:pt x="11119983" y="341543"/>
                  <a:pt x="11130625" y="341543"/>
                </a:cubicBezTo>
                <a:cubicBezTo>
                  <a:pt x="11151908" y="335348"/>
                  <a:pt x="11176738" y="335348"/>
                  <a:pt x="11198022" y="332250"/>
                </a:cubicBezTo>
                <a:cubicBezTo>
                  <a:pt x="11251229" y="329153"/>
                  <a:pt x="11307986" y="332250"/>
                  <a:pt x="11368287" y="338446"/>
                </a:cubicBezTo>
                <a:cubicBezTo>
                  <a:pt x="11428590" y="344641"/>
                  <a:pt x="11492440" y="347737"/>
                  <a:pt x="11556290" y="347737"/>
                </a:cubicBezTo>
                <a:cubicBezTo>
                  <a:pt x="11584667" y="347737"/>
                  <a:pt x="11616592" y="350835"/>
                  <a:pt x="11641422" y="347737"/>
                </a:cubicBezTo>
                <a:cubicBezTo>
                  <a:pt x="11669799" y="344641"/>
                  <a:pt x="11694630" y="341543"/>
                  <a:pt x="11723008" y="335348"/>
                </a:cubicBezTo>
                <a:cubicBezTo>
                  <a:pt x="11726556" y="332250"/>
                  <a:pt x="11737197" y="332250"/>
                  <a:pt x="11740744" y="332250"/>
                </a:cubicBezTo>
                <a:cubicBezTo>
                  <a:pt x="11751385" y="332250"/>
                  <a:pt x="11758480" y="332250"/>
                  <a:pt x="11765575" y="332250"/>
                </a:cubicBezTo>
                <a:cubicBezTo>
                  <a:pt x="11783311" y="335348"/>
                  <a:pt x="11801047" y="338446"/>
                  <a:pt x="11818783" y="344641"/>
                </a:cubicBezTo>
                <a:cubicBezTo>
                  <a:pt x="11850707" y="357030"/>
                  <a:pt x="11886179" y="372517"/>
                  <a:pt x="11918105" y="391102"/>
                </a:cubicBezTo>
                <a:cubicBezTo>
                  <a:pt x="11928746" y="400395"/>
                  <a:pt x="11939387" y="406590"/>
                  <a:pt x="11950029" y="415882"/>
                </a:cubicBezTo>
                <a:cubicBezTo>
                  <a:pt x="11953577" y="418979"/>
                  <a:pt x="11957123" y="425174"/>
                  <a:pt x="11957123" y="428272"/>
                </a:cubicBezTo>
                <a:cubicBezTo>
                  <a:pt x="11960670" y="431369"/>
                  <a:pt x="11960670" y="431369"/>
                  <a:pt x="11960670" y="434466"/>
                </a:cubicBezTo>
                <a:cubicBezTo>
                  <a:pt x="11960670" y="434466"/>
                  <a:pt x="11957123" y="434466"/>
                  <a:pt x="11957123" y="437564"/>
                </a:cubicBezTo>
                <a:cubicBezTo>
                  <a:pt x="11957123" y="437564"/>
                  <a:pt x="11957123" y="437564"/>
                  <a:pt x="11953577" y="437564"/>
                </a:cubicBezTo>
                <a:cubicBezTo>
                  <a:pt x="11953577" y="440661"/>
                  <a:pt x="11950029" y="440661"/>
                  <a:pt x="11950029" y="440661"/>
                </a:cubicBezTo>
                <a:cubicBezTo>
                  <a:pt x="11946482" y="440661"/>
                  <a:pt x="11942934" y="437564"/>
                  <a:pt x="11939387" y="437564"/>
                </a:cubicBezTo>
                <a:cubicBezTo>
                  <a:pt x="11921651" y="434466"/>
                  <a:pt x="11903915" y="431369"/>
                  <a:pt x="11886179" y="428272"/>
                </a:cubicBezTo>
                <a:cubicBezTo>
                  <a:pt x="11854255" y="418979"/>
                  <a:pt x="11822329" y="409686"/>
                  <a:pt x="11790405" y="409686"/>
                </a:cubicBezTo>
                <a:cubicBezTo>
                  <a:pt x="11786857" y="409686"/>
                  <a:pt x="11779764" y="409686"/>
                  <a:pt x="11776216" y="409686"/>
                </a:cubicBezTo>
                <a:cubicBezTo>
                  <a:pt x="11776216" y="409686"/>
                  <a:pt x="11772669" y="409686"/>
                  <a:pt x="11769121" y="409686"/>
                </a:cubicBezTo>
                <a:cubicBezTo>
                  <a:pt x="11765575" y="412784"/>
                  <a:pt x="11762028" y="415882"/>
                  <a:pt x="11758480" y="418979"/>
                </a:cubicBezTo>
                <a:cubicBezTo>
                  <a:pt x="11751385" y="440661"/>
                  <a:pt x="11762028" y="465441"/>
                  <a:pt x="11747838" y="490220"/>
                </a:cubicBezTo>
                <a:cubicBezTo>
                  <a:pt x="11744292" y="493318"/>
                  <a:pt x="11740744" y="499513"/>
                  <a:pt x="11740744" y="505708"/>
                </a:cubicBezTo>
                <a:cubicBezTo>
                  <a:pt x="11740744" y="505708"/>
                  <a:pt x="11740744" y="508806"/>
                  <a:pt x="11740744" y="508806"/>
                </a:cubicBezTo>
                <a:cubicBezTo>
                  <a:pt x="11740744" y="508806"/>
                  <a:pt x="11740744" y="508806"/>
                  <a:pt x="11740744" y="511902"/>
                </a:cubicBezTo>
                <a:cubicBezTo>
                  <a:pt x="11744292" y="511902"/>
                  <a:pt x="11744292" y="511902"/>
                  <a:pt x="11744292" y="511902"/>
                </a:cubicBezTo>
                <a:cubicBezTo>
                  <a:pt x="11744292" y="511902"/>
                  <a:pt x="11747838" y="511902"/>
                  <a:pt x="11747838" y="511902"/>
                </a:cubicBezTo>
                <a:cubicBezTo>
                  <a:pt x="11747838" y="511902"/>
                  <a:pt x="11751385" y="511902"/>
                  <a:pt x="11754933" y="511902"/>
                </a:cubicBezTo>
                <a:cubicBezTo>
                  <a:pt x="11758480" y="508806"/>
                  <a:pt x="11765575" y="505708"/>
                  <a:pt x="11772669" y="505708"/>
                </a:cubicBezTo>
                <a:cubicBezTo>
                  <a:pt x="11793952" y="499513"/>
                  <a:pt x="11811688" y="496415"/>
                  <a:pt x="11832971" y="493318"/>
                </a:cubicBezTo>
                <a:cubicBezTo>
                  <a:pt x="11861348" y="493318"/>
                  <a:pt x="11889727" y="493318"/>
                  <a:pt x="11921651" y="502610"/>
                </a:cubicBezTo>
                <a:cubicBezTo>
                  <a:pt x="11957123" y="511902"/>
                  <a:pt x="11992596" y="527390"/>
                  <a:pt x="12024520" y="552169"/>
                </a:cubicBezTo>
                <a:cubicBezTo>
                  <a:pt x="12045804" y="570754"/>
                  <a:pt x="12063540" y="592436"/>
                  <a:pt x="12081276" y="611022"/>
                </a:cubicBezTo>
                <a:cubicBezTo>
                  <a:pt x="12099012" y="632703"/>
                  <a:pt x="12116748" y="648190"/>
                  <a:pt x="12141578" y="663677"/>
                </a:cubicBezTo>
                <a:cubicBezTo>
                  <a:pt x="12152219" y="672969"/>
                  <a:pt x="12169955" y="679164"/>
                  <a:pt x="12184145" y="682262"/>
                </a:cubicBezTo>
                <a:cubicBezTo>
                  <a:pt x="12205427" y="688457"/>
                  <a:pt x="12223163" y="694651"/>
                  <a:pt x="12247994" y="697749"/>
                </a:cubicBezTo>
                <a:cubicBezTo>
                  <a:pt x="12247994" y="697749"/>
                  <a:pt x="12251541" y="697749"/>
                  <a:pt x="12255089" y="697749"/>
                </a:cubicBezTo>
                <a:cubicBezTo>
                  <a:pt x="12255089" y="700847"/>
                  <a:pt x="12258636" y="700847"/>
                  <a:pt x="12262184" y="703944"/>
                </a:cubicBezTo>
                <a:cubicBezTo>
                  <a:pt x="12265730" y="703944"/>
                  <a:pt x="12272825" y="707042"/>
                  <a:pt x="12272825" y="713236"/>
                </a:cubicBezTo>
                <a:cubicBezTo>
                  <a:pt x="12283466" y="719431"/>
                  <a:pt x="12290561" y="728724"/>
                  <a:pt x="12297654" y="738016"/>
                </a:cubicBezTo>
                <a:cubicBezTo>
                  <a:pt x="12301202" y="744211"/>
                  <a:pt x="12304749" y="753503"/>
                  <a:pt x="12304749" y="762796"/>
                </a:cubicBezTo>
                <a:cubicBezTo>
                  <a:pt x="12304749" y="765893"/>
                  <a:pt x="12304749" y="765893"/>
                  <a:pt x="12304749" y="768991"/>
                </a:cubicBezTo>
                <a:cubicBezTo>
                  <a:pt x="12301202" y="768991"/>
                  <a:pt x="12301202" y="772087"/>
                  <a:pt x="12297654" y="772087"/>
                </a:cubicBezTo>
                <a:cubicBezTo>
                  <a:pt x="12297654" y="772087"/>
                  <a:pt x="12297654" y="772087"/>
                  <a:pt x="12294108" y="772087"/>
                </a:cubicBezTo>
                <a:cubicBezTo>
                  <a:pt x="12290561" y="772087"/>
                  <a:pt x="12287013" y="768991"/>
                  <a:pt x="12279920" y="768991"/>
                </a:cubicBezTo>
                <a:cubicBezTo>
                  <a:pt x="12272825" y="765893"/>
                  <a:pt x="12265730" y="762796"/>
                  <a:pt x="12262184" y="762796"/>
                </a:cubicBezTo>
                <a:cubicBezTo>
                  <a:pt x="12237353" y="753503"/>
                  <a:pt x="12216069" y="747309"/>
                  <a:pt x="12194786" y="738016"/>
                </a:cubicBezTo>
                <a:cubicBezTo>
                  <a:pt x="12130936" y="716334"/>
                  <a:pt x="12070635" y="694651"/>
                  <a:pt x="12010332" y="676067"/>
                </a:cubicBezTo>
                <a:cubicBezTo>
                  <a:pt x="11950029" y="660580"/>
                  <a:pt x="11889727" y="648190"/>
                  <a:pt x="11829424" y="635800"/>
                </a:cubicBezTo>
                <a:cubicBezTo>
                  <a:pt x="11808141" y="632703"/>
                  <a:pt x="11786857" y="629606"/>
                  <a:pt x="11769121" y="626508"/>
                </a:cubicBezTo>
                <a:cubicBezTo>
                  <a:pt x="11762028" y="629606"/>
                  <a:pt x="11758480" y="626508"/>
                  <a:pt x="11751385" y="626508"/>
                </a:cubicBezTo>
                <a:cubicBezTo>
                  <a:pt x="11747838" y="626508"/>
                  <a:pt x="11747838" y="626508"/>
                  <a:pt x="11747838" y="629606"/>
                </a:cubicBezTo>
                <a:cubicBezTo>
                  <a:pt x="11744292" y="629606"/>
                  <a:pt x="11744292" y="629606"/>
                  <a:pt x="11744292" y="629606"/>
                </a:cubicBezTo>
                <a:cubicBezTo>
                  <a:pt x="11740744" y="645093"/>
                  <a:pt x="11737197" y="648190"/>
                  <a:pt x="11730102" y="660580"/>
                </a:cubicBezTo>
                <a:cubicBezTo>
                  <a:pt x="11730102" y="663677"/>
                  <a:pt x="11730102" y="663677"/>
                  <a:pt x="11730102" y="663677"/>
                </a:cubicBezTo>
                <a:cubicBezTo>
                  <a:pt x="11733649" y="663677"/>
                  <a:pt x="11737197" y="663677"/>
                  <a:pt x="11740744" y="663677"/>
                </a:cubicBezTo>
                <a:cubicBezTo>
                  <a:pt x="11754933" y="663677"/>
                  <a:pt x="11765575" y="663677"/>
                  <a:pt x="11779764" y="666775"/>
                </a:cubicBezTo>
                <a:cubicBezTo>
                  <a:pt x="11857802" y="672969"/>
                  <a:pt x="11939387" y="697749"/>
                  <a:pt x="12006784" y="734918"/>
                </a:cubicBezTo>
                <a:cubicBezTo>
                  <a:pt x="12038709" y="747309"/>
                  <a:pt x="12070635" y="768991"/>
                  <a:pt x="12091917" y="793769"/>
                </a:cubicBezTo>
                <a:cubicBezTo>
                  <a:pt x="12102559" y="803062"/>
                  <a:pt x="12106105" y="812355"/>
                  <a:pt x="12113200" y="824743"/>
                </a:cubicBezTo>
                <a:cubicBezTo>
                  <a:pt x="12113200" y="834036"/>
                  <a:pt x="12109654" y="843329"/>
                  <a:pt x="12106105" y="852621"/>
                </a:cubicBezTo>
                <a:cubicBezTo>
                  <a:pt x="12102559" y="855718"/>
                  <a:pt x="12099012" y="858816"/>
                  <a:pt x="12095464" y="858816"/>
                </a:cubicBezTo>
                <a:cubicBezTo>
                  <a:pt x="12088369" y="861914"/>
                  <a:pt x="12081276" y="865011"/>
                  <a:pt x="12074181" y="865011"/>
                </a:cubicBezTo>
                <a:cubicBezTo>
                  <a:pt x="12056445" y="865011"/>
                  <a:pt x="12035163" y="865011"/>
                  <a:pt x="12013878" y="865011"/>
                </a:cubicBezTo>
                <a:cubicBezTo>
                  <a:pt x="11957123" y="858816"/>
                  <a:pt x="11896820" y="846426"/>
                  <a:pt x="11836519" y="834036"/>
                </a:cubicBezTo>
                <a:cubicBezTo>
                  <a:pt x="11772669" y="824743"/>
                  <a:pt x="11708820" y="815452"/>
                  <a:pt x="11641422" y="812355"/>
                </a:cubicBezTo>
                <a:cubicBezTo>
                  <a:pt x="11620139" y="812355"/>
                  <a:pt x="11595308" y="812355"/>
                  <a:pt x="11574026" y="812355"/>
                </a:cubicBezTo>
                <a:cubicBezTo>
                  <a:pt x="11581120" y="815452"/>
                  <a:pt x="11588214" y="821647"/>
                  <a:pt x="11591762" y="827841"/>
                </a:cubicBezTo>
                <a:cubicBezTo>
                  <a:pt x="11595308" y="834036"/>
                  <a:pt x="11602403" y="840231"/>
                  <a:pt x="11602403" y="849523"/>
                </a:cubicBezTo>
                <a:cubicBezTo>
                  <a:pt x="11602403" y="852621"/>
                  <a:pt x="11605950" y="855718"/>
                  <a:pt x="11605950" y="858816"/>
                </a:cubicBezTo>
                <a:cubicBezTo>
                  <a:pt x="11602403" y="858816"/>
                  <a:pt x="11602403" y="858816"/>
                  <a:pt x="11602403" y="861914"/>
                </a:cubicBezTo>
                <a:cubicBezTo>
                  <a:pt x="11602403" y="861914"/>
                  <a:pt x="11602403" y="861914"/>
                  <a:pt x="11598856" y="861914"/>
                </a:cubicBezTo>
                <a:cubicBezTo>
                  <a:pt x="11598856" y="865011"/>
                  <a:pt x="11595308" y="865011"/>
                  <a:pt x="11591762" y="865011"/>
                </a:cubicBezTo>
                <a:cubicBezTo>
                  <a:pt x="11588214" y="865011"/>
                  <a:pt x="11581120" y="865011"/>
                  <a:pt x="11577572" y="865011"/>
                </a:cubicBezTo>
                <a:cubicBezTo>
                  <a:pt x="11563384" y="865011"/>
                  <a:pt x="11549195" y="865011"/>
                  <a:pt x="11531459" y="865011"/>
                </a:cubicBezTo>
                <a:cubicBezTo>
                  <a:pt x="11492440" y="861914"/>
                  <a:pt x="11453421" y="861914"/>
                  <a:pt x="11414401" y="861914"/>
                </a:cubicBezTo>
                <a:cubicBezTo>
                  <a:pt x="11375382" y="861914"/>
                  <a:pt x="11336363" y="861914"/>
                  <a:pt x="11297343" y="865011"/>
                </a:cubicBezTo>
                <a:cubicBezTo>
                  <a:pt x="11286702" y="865011"/>
                  <a:pt x="11272513" y="865011"/>
                  <a:pt x="11261872" y="868108"/>
                </a:cubicBezTo>
                <a:cubicBezTo>
                  <a:pt x="11258324" y="868108"/>
                  <a:pt x="11254777" y="868108"/>
                  <a:pt x="11251229" y="868108"/>
                </a:cubicBezTo>
                <a:cubicBezTo>
                  <a:pt x="11251229" y="868108"/>
                  <a:pt x="11247683" y="871205"/>
                  <a:pt x="11247683" y="871205"/>
                </a:cubicBezTo>
                <a:cubicBezTo>
                  <a:pt x="11247683" y="886692"/>
                  <a:pt x="11247683" y="895985"/>
                  <a:pt x="11244136" y="908376"/>
                </a:cubicBezTo>
                <a:cubicBezTo>
                  <a:pt x="11247683" y="908376"/>
                  <a:pt x="11247683" y="908376"/>
                  <a:pt x="11251229" y="908376"/>
                </a:cubicBezTo>
                <a:cubicBezTo>
                  <a:pt x="11258324" y="908376"/>
                  <a:pt x="11265419" y="902180"/>
                  <a:pt x="11272513" y="902180"/>
                </a:cubicBezTo>
                <a:cubicBezTo>
                  <a:pt x="11325722" y="895985"/>
                  <a:pt x="11378929" y="902180"/>
                  <a:pt x="11425042" y="920765"/>
                </a:cubicBezTo>
                <a:cubicBezTo>
                  <a:pt x="11446326" y="930058"/>
                  <a:pt x="11471157" y="939350"/>
                  <a:pt x="11488893" y="957934"/>
                </a:cubicBezTo>
                <a:cubicBezTo>
                  <a:pt x="11495987" y="964128"/>
                  <a:pt x="11503081" y="973421"/>
                  <a:pt x="11503081" y="982713"/>
                </a:cubicBezTo>
                <a:cubicBezTo>
                  <a:pt x="11510176" y="992006"/>
                  <a:pt x="11510176" y="1001298"/>
                  <a:pt x="11506628" y="1010590"/>
                </a:cubicBezTo>
                <a:cubicBezTo>
                  <a:pt x="11510176" y="1016785"/>
                  <a:pt x="11506628" y="1019883"/>
                  <a:pt x="11503081" y="1022981"/>
                </a:cubicBezTo>
                <a:cubicBezTo>
                  <a:pt x="11499535" y="1029175"/>
                  <a:pt x="11495987" y="1032272"/>
                  <a:pt x="11492440" y="1035370"/>
                </a:cubicBezTo>
                <a:cubicBezTo>
                  <a:pt x="11481799" y="1041565"/>
                  <a:pt x="11467609" y="1047761"/>
                  <a:pt x="11453421" y="1050857"/>
                </a:cubicBezTo>
                <a:cubicBezTo>
                  <a:pt x="11414401" y="1060150"/>
                  <a:pt x="11375382" y="1063246"/>
                  <a:pt x="11336363" y="1063246"/>
                </a:cubicBezTo>
                <a:cubicBezTo>
                  <a:pt x="11293796" y="1069442"/>
                  <a:pt x="11251229" y="1069442"/>
                  <a:pt x="11208664" y="1072539"/>
                </a:cubicBezTo>
                <a:cubicBezTo>
                  <a:pt x="11180286" y="1075637"/>
                  <a:pt x="11148361" y="1078734"/>
                  <a:pt x="11119983" y="1094221"/>
                </a:cubicBezTo>
                <a:cubicBezTo>
                  <a:pt x="11006472" y="1153073"/>
                  <a:pt x="10885867" y="1149975"/>
                  <a:pt x="10775905" y="1221217"/>
                </a:cubicBezTo>
                <a:cubicBezTo>
                  <a:pt x="10754621" y="1233606"/>
                  <a:pt x="10736885" y="1242899"/>
                  <a:pt x="10715601" y="1252191"/>
                </a:cubicBezTo>
                <a:cubicBezTo>
                  <a:pt x="10658847" y="1295555"/>
                  <a:pt x="10602091" y="1342017"/>
                  <a:pt x="10541789" y="1385382"/>
                </a:cubicBezTo>
                <a:cubicBezTo>
                  <a:pt x="10545337" y="1385382"/>
                  <a:pt x="10545337" y="1388479"/>
                  <a:pt x="10545337" y="1391577"/>
                </a:cubicBezTo>
                <a:cubicBezTo>
                  <a:pt x="10548883" y="1397771"/>
                  <a:pt x="10548883" y="1407064"/>
                  <a:pt x="10548883" y="1413259"/>
                </a:cubicBezTo>
                <a:cubicBezTo>
                  <a:pt x="10545337" y="1425648"/>
                  <a:pt x="10541789" y="1434941"/>
                  <a:pt x="10534695" y="1444233"/>
                </a:cubicBezTo>
                <a:cubicBezTo>
                  <a:pt x="10531147" y="1447330"/>
                  <a:pt x="10524053" y="1450428"/>
                  <a:pt x="10516959" y="1456623"/>
                </a:cubicBezTo>
                <a:cubicBezTo>
                  <a:pt x="10509865" y="1459720"/>
                  <a:pt x="10502770" y="1462817"/>
                  <a:pt x="10495675" y="1465915"/>
                </a:cubicBezTo>
                <a:cubicBezTo>
                  <a:pt x="10481487" y="1469013"/>
                  <a:pt x="10467297" y="1475208"/>
                  <a:pt x="10449561" y="1478306"/>
                </a:cubicBezTo>
                <a:cubicBezTo>
                  <a:pt x="10449561" y="1481403"/>
                  <a:pt x="10449561" y="1481403"/>
                  <a:pt x="10446015" y="1481403"/>
                </a:cubicBezTo>
                <a:cubicBezTo>
                  <a:pt x="10446015" y="1484500"/>
                  <a:pt x="10446015" y="1484500"/>
                  <a:pt x="10446015" y="1484500"/>
                </a:cubicBezTo>
                <a:cubicBezTo>
                  <a:pt x="10446015" y="1487597"/>
                  <a:pt x="10449561" y="1490695"/>
                  <a:pt x="10449561" y="1493791"/>
                </a:cubicBezTo>
                <a:cubicBezTo>
                  <a:pt x="10453109" y="1499987"/>
                  <a:pt x="10460203" y="1506182"/>
                  <a:pt x="10467297" y="1512377"/>
                </a:cubicBezTo>
                <a:cubicBezTo>
                  <a:pt x="10467297" y="1515475"/>
                  <a:pt x="10470845" y="1521669"/>
                  <a:pt x="10470845" y="1524766"/>
                </a:cubicBezTo>
                <a:cubicBezTo>
                  <a:pt x="10470845" y="1527864"/>
                  <a:pt x="10467297" y="1527864"/>
                  <a:pt x="10467297" y="1530962"/>
                </a:cubicBezTo>
                <a:cubicBezTo>
                  <a:pt x="10467297" y="1530962"/>
                  <a:pt x="10467297" y="1534059"/>
                  <a:pt x="10467297" y="1534059"/>
                </a:cubicBezTo>
                <a:cubicBezTo>
                  <a:pt x="10467297" y="1537156"/>
                  <a:pt x="10463751" y="1537156"/>
                  <a:pt x="10460203" y="1537156"/>
                </a:cubicBezTo>
                <a:cubicBezTo>
                  <a:pt x="10460203" y="1540253"/>
                  <a:pt x="10456656" y="1540253"/>
                  <a:pt x="10453109" y="1540253"/>
                </a:cubicBezTo>
                <a:cubicBezTo>
                  <a:pt x="10446015" y="1543351"/>
                  <a:pt x="10438920" y="1543351"/>
                  <a:pt x="10431825" y="1543351"/>
                </a:cubicBezTo>
                <a:cubicBezTo>
                  <a:pt x="10403448" y="1546449"/>
                  <a:pt x="10371524" y="1561936"/>
                  <a:pt x="10343147" y="1574326"/>
                </a:cubicBezTo>
                <a:cubicBezTo>
                  <a:pt x="10307674" y="1596008"/>
                  <a:pt x="10268654" y="1620787"/>
                  <a:pt x="10233182" y="1645567"/>
                </a:cubicBezTo>
                <a:cubicBezTo>
                  <a:pt x="10197711" y="1673444"/>
                  <a:pt x="10162239" y="1701320"/>
                  <a:pt x="10126767" y="1732295"/>
                </a:cubicBezTo>
                <a:cubicBezTo>
                  <a:pt x="10116125" y="1747782"/>
                  <a:pt x="10101936" y="1760173"/>
                  <a:pt x="10087747" y="1775660"/>
                </a:cubicBezTo>
                <a:cubicBezTo>
                  <a:pt x="10080653" y="1784952"/>
                  <a:pt x="10073559" y="1797342"/>
                  <a:pt x="10066463" y="1812829"/>
                </a:cubicBezTo>
                <a:cubicBezTo>
                  <a:pt x="10066463" y="1812829"/>
                  <a:pt x="10062917" y="1815927"/>
                  <a:pt x="10062917" y="1815927"/>
                </a:cubicBezTo>
                <a:cubicBezTo>
                  <a:pt x="10062917" y="1815927"/>
                  <a:pt x="10059369" y="1819024"/>
                  <a:pt x="10059369" y="1819024"/>
                </a:cubicBezTo>
                <a:cubicBezTo>
                  <a:pt x="10055823" y="1825218"/>
                  <a:pt x="10048727" y="1828316"/>
                  <a:pt x="10045181" y="1834511"/>
                </a:cubicBezTo>
                <a:cubicBezTo>
                  <a:pt x="10034539" y="1840706"/>
                  <a:pt x="10027445" y="1846900"/>
                  <a:pt x="10016803" y="1856193"/>
                </a:cubicBezTo>
                <a:cubicBezTo>
                  <a:pt x="10013255" y="1859291"/>
                  <a:pt x="10006161" y="1862389"/>
                  <a:pt x="10006161" y="1865486"/>
                </a:cubicBezTo>
                <a:cubicBezTo>
                  <a:pt x="10006161" y="1868583"/>
                  <a:pt x="10002614" y="1868583"/>
                  <a:pt x="10002614" y="1871680"/>
                </a:cubicBezTo>
                <a:cubicBezTo>
                  <a:pt x="10002614" y="1874778"/>
                  <a:pt x="10002614" y="1874778"/>
                  <a:pt x="10002614" y="1874778"/>
                </a:cubicBezTo>
                <a:cubicBezTo>
                  <a:pt x="10006161" y="1874778"/>
                  <a:pt x="10006161" y="1874778"/>
                  <a:pt x="10006161" y="1874778"/>
                </a:cubicBezTo>
                <a:cubicBezTo>
                  <a:pt x="10013255" y="1874778"/>
                  <a:pt x="10020350" y="1874778"/>
                  <a:pt x="10030991" y="1871680"/>
                </a:cubicBezTo>
                <a:cubicBezTo>
                  <a:pt x="10080653" y="1856193"/>
                  <a:pt x="10126767" y="1825218"/>
                  <a:pt x="10176427" y="1784952"/>
                </a:cubicBezTo>
                <a:cubicBezTo>
                  <a:pt x="10201257" y="1766367"/>
                  <a:pt x="10226089" y="1744685"/>
                  <a:pt x="10247371" y="1719906"/>
                </a:cubicBezTo>
                <a:cubicBezTo>
                  <a:pt x="10265107" y="1695126"/>
                  <a:pt x="10279295" y="1673444"/>
                  <a:pt x="10293485" y="1648664"/>
                </a:cubicBezTo>
                <a:cubicBezTo>
                  <a:pt x="10293485" y="1645567"/>
                  <a:pt x="10297031" y="1639371"/>
                  <a:pt x="10300579" y="1639371"/>
                </a:cubicBezTo>
                <a:cubicBezTo>
                  <a:pt x="10304126" y="1633177"/>
                  <a:pt x="10307674" y="1630080"/>
                  <a:pt x="10311221" y="1626982"/>
                </a:cubicBezTo>
                <a:cubicBezTo>
                  <a:pt x="10321862" y="1620787"/>
                  <a:pt x="10332503" y="1617690"/>
                  <a:pt x="10343147" y="1614593"/>
                </a:cubicBezTo>
                <a:cubicBezTo>
                  <a:pt x="10371524" y="1602202"/>
                  <a:pt x="10403448" y="1596008"/>
                  <a:pt x="10431825" y="1586715"/>
                </a:cubicBezTo>
                <a:cubicBezTo>
                  <a:pt x="10460203" y="1577424"/>
                  <a:pt x="10495675" y="1568131"/>
                  <a:pt x="10524053" y="1549546"/>
                </a:cubicBezTo>
                <a:cubicBezTo>
                  <a:pt x="10541789" y="1543351"/>
                  <a:pt x="10552431" y="1530962"/>
                  <a:pt x="10563073" y="1521669"/>
                </a:cubicBezTo>
                <a:cubicBezTo>
                  <a:pt x="10577261" y="1509279"/>
                  <a:pt x="10584355" y="1496889"/>
                  <a:pt x="10591450" y="1481403"/>
                </a:cubicBezTo>
                <a:cubicBezTo>
                  <a:pt x="10594997" y="1478306"/>
                  <a:pt x="10598545" y="1475208"/>
                  <a:pt x="10598545" y="1472110"/>
                </a:cubicBezTo>
                <a:cubicBezTo>
                  <a:pt x="10602091" y="1469013"/>
                  <a:pt x="10609187" y="1465915"/>
                  <a:pt x="10609187" y="1465915"/>
                </a:cubicBezTo>
                <a:cubicBezTo>
                  <a:pt x="10619827" y="1459720"/>
                  <a:pt x="10626923" y="1456623"/>
                  <a:pt x="10637564" y="1456623"/>
                </a:cubicBezTo>
                <a:cubicBezTo>
                  <a:pt x="10655300" y="1453526"/>
                  <a:pt x="10676583" y="1453526"/>
                  <a:pt x="10697867" y="1456623"/>
                </a:cubicBezTo>
                <a:cubicBezTo>
                  <a:pt x="10704960" y="1456623"/>
                  <a:pt x="10712055" y="1459720"/>
                  <a:pt x="10719149" y="1462817"/>
                </a:cubicBezTo>
                <a:cubicBezTo>
                  <a:pt x="10722696" y="1462817"/>
                  <a:pt x="10726244" y="1465915"/>
                  <a:pt x="10729791" y="1465915"/>
                </a:cubicBezTo>
                <a:cubicBezTo>
                  <a:pt x="10729791" y="1469013"/>
                  <a:pt x="10733337" y="1469013"/>
                  <a:pt x="10733337" y="1472110"/>
                </a:cubicBezTo>
                <a:cubicBezTo>
                  <a:pt x="10733337" y="1475208"/>
                  <a:pt x="10733337" y="1475208"/>
                  <a:pt x="10733337" y="1475208"/>
                </a:cubicBezTo>
                <a:cubicBezTo>
                  <a:pt x="10733337" y="1475208"/>
                  <a:pt x="10733337" y="1475208"/>
                  <a:pt x="10733337" y="1478306"/>
                </a:cubicBezTo>
                <a:cubicBezTo>
                  <a:pt x="10729791" y="1478306"/>
                  <a:pt x="10729791" y="1481403"/>
                  <a:pt x="10729791" y="1481403"/>
                </a:cubicBezTo>
                <a:cubicBezTo>
                  <a:pt x="10729791" y="1481403"/>
                  <a:pt x="10729791" y="1484500"/>
                  <a:pt x="10726244" y="1484500"/>
                </a:cubicBezTo>
                <a:cubicBezTo>
                  <a:pt x="10719149" y="1493791"/>
                  <a:pt x="10708508" y="1493791"/>
                  <a:pt x="10697867" y="1496889"/>
                </a:cubicBezTo>
                <a:cubicBezTo>
                  <a:pt x="10683677" y="1503084"/>
                  <a:pt x="10665941" y="1509279"/>
                  <a:pt x="10651752" y="1521669"/>
                </a:cubicBezTo>
                <a:cubicBezTo>
                  <a:pt x="10648205" y="1521669"/>
                  <a:pt x="10648205" y="1521669"/>
                  <a:pt x="10644659" y="1524766"/>
                </a:cubicBezTo>
                <a:cubicBezTo>
                  <a:pt x="10644659" y="1524766"/>
                  <a:pt x="10644659" y="1527864"/>
                  <a:pt x="10644659" y="1530962"/>
                </a:cubicBezTo>
                <a:cubicBezTo>
                  <a:pt x="10641111" y="1534059"/>
                  <a:pt x="10644659" y="1537156"/>
                  <a:pt x="10644659" y="1540253"/>
                </a:cubicBezTo>
                <a:cubicBezTo>
                  <a:pt x="10648205" y="1565033"/>
                  <a:pt x="10662395" y="1580520"/>
                  <a:pt x="10665941" y="1605300"/>
                </a:cubicBezTo>
                <a:cubicBezTo>
                  <a:pt x="10665941" y="1611495"/>
                  <a:pt x="10665941" y="1617690"/>
                  <a:pt x="10665941" y="1620787"/>
                </a:cubicBezTo>
                <a:cubicBezTo>
                  <a:pt x="10669488" y="1623884"/>
                  <a:pt x="10669488" y="1623884"/>
                  <a:pt x="10669488" y="1626982"/>
                </a:cubicBezTo>
                <a:cubicBezTo>
                  <a:pt x="10673036" y="1626982"/>
                  <a:pt x="10673036" y="1626982"/>
                  <a:pt x="10673036" y="1626982"/>
                </a:cubicBezTo>
                <a:cubicBezTo>
                  <a:pt x="10673036" y="1623884"/>
                  <a:pt x="10676583" y="1623884"/>
                  <a:pt x="10673036" y="1620787"/>
                </a:cubicBezTo>
                <a:cubicBezTo>
                  <a:pt x="10680131" y="1617690"/>
                  <a:pt x="10680131" y="1614593"/>
                  <a:pt x="10683677" y="1611495"/>
                </a:cubicBezTo>
                <a:cubicBezTo>
                  <a:pt x="10690772" y="1599106"/>
                  <a:pt x="10697867" y="1586715"/>
                  <a:pt x="10704960" y="1577424"/>
                </a:cubicBezTo>
                <a:cubicBezTo>
                  <a:pt x="10715601" y="1561936"/>
                  <a:pt x="10729791" y="1552644"/>
                  <a:pt x="10747527" y="1546449"/>
                </a:cubicBezTo>
                <a:cubicBezTo>
                  <a:pt x="10772357" y="1537156"/>
                  <a:pt x="10793641" y="1537156"/>
                  <a:pt x="10811377" y="1540253"/>
                </a:cubicBezTo>
                <a:cubicBezTo>
                  <a:pt x="10832659" y="1543351"/>
                  <a:pt x="10850395" y="1552644"/>
                  <a:pt x="10864585" y="1561936"/>
                </a:cubicBezTo>
                <a:cubicBezTo>
                  <a:pt x="10878773" y="1568131"/>
                  <a:pt x="10896509" y="1574326"/>
                  <a:pt x="10914245" y="1571228"/>
                </a:cubicBezTo>
                <a:cubicBezTo>
                  <a:pt x="10921340" y="1571228"/>
                  <a:pt x="10931981" y="1568131"/>
                  <a:pt x="10939076" y="1561936"/>
                </a:cubicBezTo>
                <a:cubicBezTo>
                  <a:pt x="10949717" y="1555740"/>
                  <a:pt x="10963907" y="1546449"/>
                  <a:pt x="10971001" y="1537156"/>
                </a:cubicBezTo>
                <a:cubicBezTo>
                  <a:pt x="10971001" y="1537156"/>
                  <a:pt x="10974548" y="1537156"/>
                  <a:pt x="10974548" y="1534059"/>
                </a:cubicBezTo>
                <a:cubicBezTo>
                  <a:pt x="10978095" y="1534059"/>
                  <a:pt x="10978095" y="1530962"/>
                  <a:pt x="10978095" y="1530962"/>
                </a:cubicBezTo>
                <a:cubicBezTo>
                  <a:pt x="10981643" y="1530962"/>
                  <a:pt x="10985189" y="1530962"/>
                  <a:pt x="10992284" y="1530962"/>
                </a:cubicBezTo>
                <a:cubicBezTo>
                  <a:pt x="10999379" y="1530962"/>
                  <a:pt x="11006472" y="1534059"/>
                  <a:pt x="11013567" y="1537156"/>
                </a:cubicBezTo>
                <a:cubicBezTo>
                  <a:pt x="11020661" y="1540253"/>
                  <a:pt x="11024209" y="1546449"/>
                  <a:pt x="11031303" y="1552644"/>
                </a:cubicBezTo>
                <a:cubicBezTo>
                  <a:pt x="11031303" y="1552644"/>
                  <a:pt x="11031303" y="1555740"/>
                  <a:pt x="11034851" y="1558838"/>
                </a:cubicBezTo>
                <a:cubicBezTo>
                  <a:pt x="11031303" y="1561936"/>
                  <a:pt x="11031303" y="1561936"/>
                  <a:pt x="11031303" y="1561936"/>
                </a:cubicBezTo>
                <a:cubicBezTo>
                  <a:pt x="11031303" y="1565033"/>
                  <a:pt x="11031303" y="1565033"/>
                  <a:pt x="11031303" y="1565033"/>
                </a:cubicBezTo>
                <a:cubicBezTo>
                  <a:pt x="11027757" y="1568131"/>
                  <a:pt x="11027757" y="1571228"/>
                  <a:pt x="11024209" y="1571228"/>
                </a:cubicBezTo>
                <a:cubicBezTo>
                  <a:pt x="11020661" y="1574326"/>
                  <a:pt x="11013567" y="1577424"/>
                  <a:pt x="11010020" y="1577424"/>
                </a:cubicBezTo>
                <a:cubicBezTo>
                  <a:pt x="10999379" y="1586715"/>
                  <a:pt x="10985189" y="1592911"/>
                  <a:pt x="10971001" y="1599106"/>
                </a:cubicBezTo>
                <a:cubicBezTo>
                  <a:pt x="10956812" y="1608398"/>
                  <a:pt x="10942623" y="1614593"/>
                  <a:pt x="10924887" y="1620787"/>
                </a:cubicBezTo>
                <a:cubicBezTo>
                  <a:pt x="10946171" y="1617690"/>
                  <a:pt x="10967453" y="1614593"/>
                  <a:pt x="10985189" y="1611495"/>
                </a:cubicBezTo>
                <a:cubicBezTo>
                  <a:pt x="10992284" y="1611495"/>
                  <a:pt x="11002925" y="1611495"/>
                  <a:pt x="11006472" y="1614593"/>
                </a:cubicBezTo>
                <a:cubicBezTo>
                  <a:pt x="11010020" y="1614593"/>
                  <a:pt x="11006472" y="1617690"/>
                  <a:pt x="11006472" y="1617690"/>
                </a:cubicBezTo>
                <a:cubicBezTo>
                  <a:pt x="11006472" y="1620787"/>
                  <a:pt x="11002925" y="1620787"/>
                  <a:pt x="11002925" y="1620787"/>
                </a:cubicBezTo>
                <a:cubicBezTo>
                  <a:pt x="10999379" y="1620787"/>
                  <a:pt x="10999379" y="1623884"/>
                  <a:pt x="10995831" y="1623884"/>
                </a:cubicBezTo>
                <a:cubicBezTo>
                  <a:pt x="10995831" y="1626982"/>
                  <a:pt x="10992284" y="1626982"/>
                  <a:pt x="10988737" y="1626982"/>
                </a:cubicBezTo>
                <a:cubicBezTo>
                  <a:pt x="10985189" y="1630080"/>
                  <a:pt x="10981643" y="1630080"/>
                  <a:pt x="10978095" y="1633177"/>
                </a:cubicBezTo>
                <a:cubicBezTo>
                  <a:pt x="10967453" y="1636275"/>
                  <a:pt x="10956812" y="1639371"/>
                  <a:pt x="10946171" y="1642469"/>
                </a:cubicBezTo>
                <a:cubicBezTo>
                  <a:pt x="10914245" y="1654860"/>
                  <a:pt x="10882321" y="1661054"/>
                  <a:pt x="10850395" y="1673444"/>
                </a:cubicBezTo>
                <a:cubicBezTo>
                  <a:pt x="10804282" y="1688931"/>
                  <a:pt x="10761717" y="1704418"/>
                  <a:pt x="10719149" y="1723003"/>
                </a:cubicBezTo>
                <a:cubicBezTo>
                  <a:pt x="10719149" y="1723003"/>
                  <a:pt x="10719149" y="1726100"/>
                  <a:pt x="10715601" y="1726100"/>
                </a:cubicBezTo>
                <a:cubicBezTo>
                  <a:pt x="10719149" y="1741588"/>
                  <a:pt x="10719149" y="1747782"/>
                  <a:pt x="10719149" y="1763271"/>
                </a:cubicBezTo>
                <a:cubicBezTo>
                  <a:pt x="10722696" y="1763271"/>
                  <a:pt x="10722696" y="1763271"/>
                  <a:pt x="10726244" y="1760173"/>
                </a:cubicBezTo>
                <a:cubicBezTo>
                  <a:pt x="10733337" y="1753978"/>
                  <a:pt x="10736885" y="1747782"/>
                  <a:pt x="10743981" y="1744685"/>
                </a:cubicBezTo>
                <a:cubicBezTo>
                  <a:pt x="10793641" y="1716809"/>
                  <a:pt x="10843302" y="1704418"/>
                  <a:pt x="10889415" y="1698224"/>
                </a:cubicBezTo>
                <a:cubicBezTo>
                  <a:pt x="10914245" y="1695126"/>
                  <a:pt x="10935529" y="1698224"/>
                  <a:pt x="10953265" y="1704418"/>
                </a:cubicBezTo>
                <a:cubicBezTo>
                  <a:pt x="10963907" y="1707516"/>
                  <a:pt x="10971001" y="1710613"/>
                  <a:pt x="10978095" y="1716809"/>
                </a:cubicBezTo>
                <a:cubicBezTo>
                  <a:pt x="10985189" y="1726100"/>
                  <a:pt x="10988737" y="1732295"/>
                  <a:pt x="10988737" y="1741588"/>
                </a:cubicBezTo>
                <a:cubicBezTo>
                  <a:pt x="10988737" y="1747782"/>
                  <a:pt x="10988737" y="1753978"/>
                  <a:pt x="10988737" y="1757074"/>
                </a:cubicBezTo>
                <a:cubicBezTo>
                  <a:pt x="10985189" y="1763271"/>
                  <a:pt x="10981643" y="1769465"/>
                  <a:pt x="10978095" y="1772562"/>
                </a:cubicBezTo>
                <a:cubicBezTo>
                  <a:pt x="10967453" y="1784952"/>
                  <a:pt x="10956812" y="1794244"/>
                  <a:pt x="10946171" y="1803536"/>
                </a:cubicBezTo>
                <a:cubicBezTo>
                  <a:pt x="10910699" y="1828316"/>
                  <a:pt x="10871679" y="1846900"/>
                  <a:pt x="10836207" y="1862389"/>
                </a:cubicBezTo>
                <a:cubicBezTo>
                  <a:pt x="10797187" y="1884070"/>
                  <a:pt x="10754621" y="1902655"/>
                  <a:pt x="10715601" y="1924336"/>
                </a:cubicBezTo>
                <a:cubicBezTo>
                  <a:pt x="10690772" y="1939823"/>
                  <a:pt x="10658847" y="1952214"/>
                  <a:pt x="10634015" y="1973896"/>
                </a:cubicBezTo>
                <a:cubicBezTo>
                  <a:pt x="10531147" y="2066818"/>
                  <a:pt x="10421184" y="2097791"/>
                  <a:pt x="10321862" y="2187618"/>
                </a:cubicBezTo>
                <a:cubicBezTo>
                  <a:pt x="10293485" y="2215494"/>
                  <a:pt x="10272202" y="2230981"/>
                  <a:pt x="10247371" y="2246469"/>
                </a:cubicBezTo>
                <a:cubicBezTo>
                  <a:pt x="10222541" y="2258859"/>
                  <a:pt x="10204805" y="2274345"/>
                  <a:pt x="10187068" y="2286736"/>
                </a:cubicBezTo>
                <a:cubicBezTo>
                  <a:pt x="10116125" y="2330100"/>
                  <a:pt x="10048727" y="2367270"/>
                  <a:pt x="9977783" y="2407536"/>
                </a:cubicBezTo>
                <a:cubicBezTo>
                  <a:pt x="9779140" y="2515946"/>
                  <a:pt x="9576950" y="2615065"/>
                  <a:pt x="9374759" y="2707988"/>
                </a:cubicBezTo>
                <a:cubicBezTo>
                  <a:pt x="9310910" y="2735866"/>
                  <a:pt x="9140643" y="2940296"/>
                  <a:pt x="8874603" y="2943393"/>
                </a:cubicBezTo>
                <a:cubicBezTo>
                  <a:pt x="8512788" y="2949589"/>
                  <a:pt x="8555355" y="2906224"/>
                  <a:pt x="8661772" y="3491641"/>
                </a:cubicBezTo>
                <a:cubicBezTo>
                  <a:pt x="8679508" y="3600052"/>
                  <a:pt x="8711432" y="3696073"/>
                  <a:pt x="8743358" y="3795191"/>
                </a:cubicBezTo>
                <a:cubicBezTo>
                  <a:pt x="8775282" y="3891211"/>
                  <a:pt x="8778828" y="4129715"/>
                  <a:pt x="8693696" y="4132812"/>
                </a:cubicBezTo>
                <a:cubicBezTo>
                  <a:pt x="8647582" y="4135909"/>
                  <a:pt x="8619205" y="4101838"/>
                  <a:pt x="8605015" y="3816873"/>
                </a:cubicBezTo>
                <a:cubicBezTo>
                  <a:pt x="8601469" y="3708462"/>
                  <a:pt x="8597922" y="3600052"/>
                  <a:pt x="8597922" y="3497836"/>
                </a:cubicBezTo>
                <a:cubicBezTo>
                  <a:pt x="8597922" y="3438985"/>
                  <a:pt x="8594374" y="3386328"/>
                  <a:pt x="8594374" y="3333672"/>
                </a:cubicBezTo>
                <a:cubicBezTo>
                  <a:pt x="8587279" y="3092071"/>
                  <a:pt x="8626300" y="3054902"/>
                  <a:pt x="8420561" y="3126143"/>
                </a:cubicBezTo>
                <a:cubicBezTo>
                  <a:pt x="8342522" y="3154020"/>
                  <a:pt x="8275126" y="3154020"/>
                  <a:pt x="8260936" y="3200482"/>
                </a:cubicBezTo>
                <a:cubicBezTo>
                  <a:pt x="8257390" y="3222164"/>
                  <a:pt x="8260936" y="3271723"/>
                  <a:pt x="8268031" y="3305794"/>
                </a:cubicBezTo>
                <a:cubicBezTo>
                  <a:pt x="8310598" y="3457570"/>
                  <a:pt x="8239654" y="3531908"/>
                  <a:pt x="8225464" y="3358452"/>
                </a:cubicBezTo>
                <a:cubicBezTo>
                  <a:pt x="8225464" y="3339867"/>
                  <a:pt x="8225464" y="3305794"/>
                  <a:pt x="8236107" y="3271723"/>
                </a:cubicBezTo>
                <a:cubicBezTo>
                  <a:pt x="8260936" y="3150923"/>
                  <a:pt x="8271579" y="3191189"/>
                  <a:pt x="8133237" y="3194287"/>
                </a:cubicBezTo>
                <a:cubicBezTo>
                  <a:pt x="7980709" y="3200482"/>
                  <a:pt x="7835273" y="3237651"/>
                  <a:pt x="7867197" y="3414205"/>
                </a:cubicBezTo>
                <a:cubicBezTo>
                  <a:pt x="7881387" y="3504032"/>
                  <a:pt x="7923952" y="3584565"/>
                  <a:pt x="7923952" y="3689877"/>
                </a:cubicBezTo>
                <a:cubicBezTo>
                  <a:pt x="7923952" y="3807581"/>
                  <a:pt x="7892028" y="3894309"/>
                  <a:pt x="7860103" y="3711560"/>
                </a:cubicBezTo>
                <a:cubicBezTo>
                  <a:pt x="7853009" y="3671293"/>
                  <a:pt x="7860103" y="3541201"/>
                  <a:pt x="7856556" y="3423498"/>
                </a:cubicBezTo>
                <a:cubicBezTo>
                  <a:pt x="7845915" y="3222164"/>
                  <a:pt x="7824630" y="3277918"/>
                  <a:pt x="7668554" y="3302698"/>
                </a:cubicBezTo>
                <a:cubicBezTo>
                  <a:pt x="7466366" y="3336769"/>
                  <a:pt x="7512477" y="3355354"/>
                  <a:pt x="7530213" y="3600052"/>
                </a:cubicBezTo>
                <a:cubicBezTo>
                  <a:pt x="7551496" y="3878822"/>
                  <a:pt x="7601157" y="4160689"/>
                  <a:pt x="7590516" y="4420874"/>
                </a:cubicBezTo>
                <a:cubicBezTo>
                  <a:pt x="7586968" y="4585039"/>
                  <a:pt x="7597609" y="4671768"/>
                  <a:pt x="7491194" y="4718230"/>
                </a:cubicBezTo>
                <a:cubicBezTo>
                  <a:pt x="7413156" y="4752301"/>
                  <a:pt x="7384779" y="4594332"/>
                  <a:pt x="7448631" y="4380608"/>
                </a:cubicBezTo>
                <a:cubicBezTo>
                  <a:pt x="7491194" y="4225736"/>
                  <a:pt x="7608252" y="3339867"/>
                  <a:pt x="7416703" y="3336769"/>
                </a:cubicBezTo>
                <a:cubicBezTo>
                  <a:pt x="7249985" y="3333672"/>
                  <a:pt x="7203870" y="3194287"/>
                  <a:pt x="7221608" y="3457570"/>
                </a:cubicBezTo>
                <a:cubicBezTo>
                  <a:pt x="7228701" y="3541201"/>
                  <a:pt x="7257082" y="3723950"/>
                  <a:pt x="7242890" y="3807581"/>
                </a:cubicBezTo>
                <a:cubicBezTo>
                  <a:pt x="7235797" y="3841653"/>
                  <a:pt x="7221608" y="3860237"/>
                  <a:pt x="7207419" y="3863335"/>
                </a:cubicBezTo>
                <a:cubicBezTo>
                  <a:pt x="7168402" y="3866433"/>
                  <a:pt x="7161306" y="3782801"/>
                  <a:pt x="7171949" y="3689877"/>
                </a:cubicBezTo>
                <a:cubicBezTo>
                  <a:pt x="7182589" y="3615539"/>
                  <a:pt x="7214513" y="3535006"/>
                  <a:pt x="7207419" y="3479252"/>
                </a:cubicBezTo>
                <a:cubicBezTo>
                  <a:pt x="7186135" y="3256236"/>
                  <a:pt x="7150666" y="3268625"/>
                  <a:pt x="7072628" y="3311990"/>
                </a:cubicBezTo>
                <a:cubicBezTo>
                  <a:pt x="7008777" y="3346061"/>
                  <a:pt x="6927191" y="3315087"/>
                  <a:pt x="6842060" y="3318185"/>
                </a:cubicBezTo>
                <a:cubicBezTo>
                  <a:pt x="6746284" y="3321282"/>
                  <a:pt x="6693076" y="3274820"/>
                  <a:pt x="6735642" y="3392523"/>
                </a:cubicBezTo>
                <a:cubicBezTo>
                  <a:pt x="6856247" y="3674390"/>
                  <a:pt x="6536999" y="3640319"/>
                  <a:pt x="6590207" y="3420401"/>
                </a:cubicBezTo>
                <a:cubicBezTo>
                  <a:pt x="6618585" y="3271723"/>
                  <a:pt x="6774664" y="3281016"/>
                  <a:pt x="6547642" y="3253138"/>
                </a:cubicBezTo>
                <a:cubicBezTo>
                  <a:pt x="6398660" y="3234554"/>
                  <a:pt x="6235487" y="3209774"/>
                  <a:pt x="6175185" y="3315087"/>
                </a:cubicBezTo>
                <a:cubicBezTo>
                  <a:pt x="6107789" y="3435888"/>
                  <a:pt x="6224845" y="3863335"/>
                  <a:pt x="6235487" y="4018207"/>
                </a:cubicBezTo>
                <a:cubicBezTo>
                  <a:pt x="6249675" y="4222638"/>
                  <a:pt x="6317072" y="4386803"/>
                  <a:pt x="6200016" y="4374414"/>
                </a:cubicBezTo>
                <a:cubicBezTo>
                  <a:pt x="6107789" y="4365121"/>
                  <a:pt x="6121977" y="4216443"/>
                  <a:pt x="6153902" y="4021304"/>
                </a:cubicBezTo>
                <a:cubicBezTo>
                  <a:pt x="6182280" y="3838555"/>
                  <a:pt x="6139713" y="3562883"/>
                  <a:pt x="6125525" y="3377036"/>
                </a:cubicBezTo>
                <a:cubicBezTo>
                  <a:pt x="6118874" y="3282177"/>
                  <a:pt x="6041556" y="3230875"/>
                  <a:pt x="5957656" y="3210276"/>
                </a:cubicBezTo>
                <a:lnTo>
                  <a:pt x="5940846" y="3207361"/>
                </a:lnTo>
                <a:lnTo>
                  <a:pt x="5943892" y="3224189"/>
                </a:lnTo>
                <a:cubicBezTo>
                  <a:pt x="5957111" y="3294215"/>
                  <a:pt x="5974819" y="3381875"/>
                  <a:pt x="5994772" y="3491641"/>
                </a:cubicBezTo>
                <a:cubicBezTo>
                  <a:pt x="6012508" y="3600052"/>
                  <a:pt x="6044433" y="3696073"/>
                  <a:pt x="6076358" y="3795191"/>
                </a:cubicBezTo>
                <a:cubicBezTo>
                  <a:pt x="6108283" y="3891211"/>
                  <a:pt x="6111829" y="4129715"/>
                  <a:pt x="6026696" y="4132812"/>
                </a:cubicBezTo>
                <a:cubicBezTo>
                  <a:pt x="5980582" y="4135909"/>
                  <a:pt x="5952206" y="4101838"/>
                  <a:pt x="5938015" y="3816873"/>
                </a:cubicBezTo>
                <a:cubicBezTo>
                  <a:pt x="5934469" y="3708462"/>
                  <a:pt x="5930922" y="3600052"/>
                  <a:pt x="5930922" y="3497836"/>
                </a:cubicBezTo>
                <a:cubicBezTo>
                  <a:pt x="5930922" y="3438985"/>
                  <a:pt x="5927375" y="3386328"/>
                  <a:pt x="5927375" y="3333672"/>
                </a:cubicBezTo>
                <a:cubicBezTo>
                  <a:pt x="5926488" y="3303472"/>
                  <a:pt x="5926321" y="3276466"/>
                  <a:pt x="5926307" y="3252467"/>
                </a:cubicBezTo>
                <a:lnTo>
                  <a:pt x="5926192" y="3204820"/>
                </a:lnTo>
                <a:lnTo>
                  <a:pt x="5907039" y="3201498"/>
                </a:lnTo>
                <a:cubicBezTo>
                  <a:pt x="5873451" y="3197965"/>
                  <a:pt x="5840861" y="3198933"/>
                  <a:pt x="5813370" y="3203579"/>
                </a:cubicBezTo>
                <a:cubicBezTo>
                  <a:pt x="5777455" y="3209387"/>
                  <a:pt x="5749022" y="3177300"/>
                  <a:pt x="5710675" y="3141945"/>
                </a:cubicBezTo>
                <a:lnTo>
                  <a:pt x="5708138" y="3139837"/>
                </a:lnTo>
                <a:lnTo>
                  <a:pt x="5697693" y="3142986"/>
                </a:lnTo>
                <a:cubicBezTo>
                  <a:pt x="5645150" y="3156924"/>
                  <a:pt x="5604579" y="3165636"/>
                  <a:pt x="5593936" y="3200482"/>
                </a:cubicBezTo>
                <a:cubicBezTo>
                  <a:pt x="5590390" y="3222164"/>
                  <a:pt x="5593936" y="3271723"/>
                  <a:pt x="5601031" y="3305794"/>
                </a:cubicBezTo>
                <a:cubicBezTo>
                  <a:pt x="5643598" y="3457570"/>
                  <a:pt x="5572654" y="3531908"/>
                  <a:pt x="5558464" y="3358452"/>
                </a:cubicBezTo>
                <a:cubicBezTo>
                  <a:pt x="5558464" y="3339867"/>
                  <a:pt x="5558464" y="3305794"/>
                  <a:pt x="5569108" y="3271723"/>
                </a:cubicBezTo>
                <a:cubicBezTo>
                  <a:pt x="5593936" y="3150923"/>
                  <a:pt x="5604579" y="3191189"/>
                  <a:pt x="5466237" y="3194287"/>
                </a:cubicBezTo>
                <a:cubicBezTo>
                  <a:pt x="5313710" y="3200482"/>
                  <a:pt x="5168273" y="3237651"/>
                  <a:pt x="5200198" y="3414205"/>
                </a:cubicBezTo>
                <a:cubicBezTo>
                  <a:pt x="5214387" y="3504032"/>
                  <a:pt x="5256952" y="3584565"/>
                  <a:pt x="5256952" y="3689877"/>
                </a:cubicBezTo>
                <a:cubicBezTo>
                  <a:pt x="5256952" y="3807581"/>
                  <a:pt x="5225029" y="3894309"/>
                  <a:pt x="5193104" y="3711560"/>
                </a:cubicBezTo>
                <a:cubicBezTo>
                  <a:pt x="5186009" y="3671293"/>
                  <a:pt x="5193104" y="3541201"/>
                  <a:pt x="5189556" y="3423498"/>
                </a:cubicBezTo>
                <a:cubicBezTo>
                  <a:pt x="5178915" y="3222164"/>
                  <a:pt x="5157630" y="3277918"/>
                  <a:pt x="5001554" y="3302698"/>
                </a:cubicBezTo>
                <a:cubicBezTo>
                  <a:pt x="4799366" y="3336769"/>
                  <a:pt x="4845477" y="3355354"/>
                  <a:pt x="4863213" y="3600052"/>
                </a:cubicBezTo>
                <a:cubicBezTo>
                  <a:pt x="4884496" y="3878822"/>
                  <a:pt x="4934157" y="4160689"/>
                  <a:pt x="4923516" y="4420874"/>
                </a:cubicBezTo>
                <a:cubicBezTo>
                  <a:pt x="4919968" y="4585039"/>
                  <a:pt x="4930609" y="4671768"/>
                  <a:pt x="4824194" y="4718230"/>
                </a:cubicBezTo>
                <a:cubicBezTo>
                  <a:pt x="4746156" y="4752301"/>
                  <a:pt x="4717779" y="4594332"/>
                  <a:pt x="4781631" y="4380608"/>
                </a:cubicBezTo>
                <a:cubicBezTo>
                  <a:pt x="4824194" y="4225736"/>
                  <a:pt x="4941252" y="3339867"/>
                  <a:pt x="4749704" y="3336769"/>
                </a:cubicBezTo>
                <a:cubicBezTo>
                  <a:pt x="4582985" y="3333672"/>
                  <a:pt x="4536870" y="3194287"/>
                  <a:pt x="4554608" y="3457570"/>
                </a:cubicBezTo>
                <a:cubicBezTo>
                  <a:pt x="4561702" y="3541201"/>
                  <a:pt x="4590082" y="3723950"/>
                  <a:pt x="4575890" y="3807581"/>
                </a:cubicBezTo>
                <a:cubicBezTo>
                  <a:pt x="4568797" y="3841653"/>
                  <a:pt x="4554608" y="3860237"/>
                  <a:pt x="4540419" y="3863335"/>
                </a:cubicBezTo>
                <a:cubicBezTo>
                  <a:pt x="4501402" y="3866433"/>
                  <a:pt x="4494306" y="3782801"/>
                  <a:pt x="4504949" y="3689877"/>
                </a:cubicBezTo>
                <a:cubicBezTo>
                  <a:pt x="4515589" y="3615539"/>
                  <a:pt x="4547513" y="3535006"/>
                  <a:pt x="4540419" y="3479252"/>
                </a:cubicBezTo>
                <a:cubicBezTo>
                  <a:pt x="4519135" y="3256236"/>
                  <a:pt x="4483666" y="3268625"/>
                  <a:pt x="4405628" y="3311990"/>
                </a:cubicBezTo>
                <a:cubicBezTo>
                  <a:pt x="4341777" y="3346061"/>
                  <a:pt x="4260191" y="3315087"/>
                  <a:pt x="4175060" y="3318185"/>
                </a:cubicBezTo>
                <a:cubicBezTo>
                  <a:pt x="4079284" y="3321282"/>
                  <a:pt x="4026076" y="3274820"/>
                  <a:pt x="4068642" y="3392523"/>
                </a:cubicBezTo>
                <a:cubicBezTo>
                  <a:pt x="4189247" y="3674390"/>
                  <a:pt x="3869999" y="3640319"/>
                  <a:pt x="3923207" y="3420401"/>
                </a:cubicBezTo>
                <a:cubicBezTo>
                  <a:pt x="3951585" y="3271723"/>
                  <a:pt x="4107664" y="3281016"/>
                  <a:pt x="3880642" y="3253138"/>
                </a:cubicBezTo>
                <a:cubicBezTo>
                  <a:pt x="3731660" y="3234554"/>
                  <a:pt x="3568487" y="3209774"/>
                  <a:pt x="3508185" y="3315087"/>
                </a:cubicBezTo>
                <a:cubicBezTo>
                  <a:pt x="3440789" y="3435888"/>
                  <a:pt x="3557845" y="3863335"/>
                  <a:pt x="3568487" y="4018207"/>
                </a:cubicBezTo>
                <a:cubicBezTo>
                  <a:pt x="3582675" y="4222638"/>
                  <a:pt x="3650072" y="4386803"/>
                  <a:pt x="3533016" y="4374414"/>
                </a:cubicBezTo>
                <a:cubicBezTo>
                  <a:pt x="3440789" y="4365121"/>
                  <a:pt x="3454977" y="4216443"/>
                  <a:pt x="3486901" y="4021304"/>
                </a:cubicBezTo>
                <a:cubicBezTo>
                  <a:pt x="3515280" y="3838555"/>
                  <a:pt x="3472713" y="3562883"/>
                  <a:pt x="3458525" y="3377036"/>
                </a:cubicBezTo>
                <a:cubicBezTo>
                  <a:pt x="3447883" y="3225261"/>
                  <a:pt x="3256333" y="3184994"/>
                  <a:pt x="3146370" y="3203579"/>
                </a:cubicBezTo>
                <a:cubicBezTo>
                  <a:pt x="3050596" y="3219067"/>
                  <a:pt x="3008029" y="2965076"/>
                  <a:pt x="2688781" y="3098266"/>
                </a:cubicBezTo>
                <a:cubicBezTo>
                  <a:pt x="2674593" y="3104461"/>
                  <a:pt x="2663952" y="3113753"/>
                  <a:pt x="2649762" y="3119949"/>
                </a:cubicBezTo>
                <a:cubicBezTo>
                  <a:pt x="2649762" y="3119949"/>
                  <a:pt x="2649762" y="3119949"/>
                  <a:pt x="2646214" y="3123045"/>
                </a:cubicBezTo>
                <a:cubicBezTo>
                  <a:pt x="2642668" y="3123045"/>
                  <a:pt x="2639120" y="3129240"/>
                  <a:pt x="2639120" y="3129240"/>
                </a:cubicBezTo>
                <a:cubicBezTo>
                  <a:pt x="2635573" y="3132338"/>
                  <a:pt x="2632026" y="3132338"/>
                  <a:pt x="2628478" y="3132338"/>
                </a:cubicBezTo>
                <a:cubicBezTo>
                  <a:pt x="2621383" y="3132338"/>
                  <a:pt x="2617837" y="3132338"/>
                  <a:pt x="2610741" y="3129240"/>
                </a:cubicBezTo>
                <a:cubicBezTo>
                  <a:pt x="2607196" y="3126143"/>
                  <a:pt x="2600101" y="3126143"/>
                  <a:pt x="2593008" y="3123045"/>
                </a:cubicBezTo>
                <a:cubicBezTo>
                  <a:pt x="2575270" y="3113753"/>
                  <a:pt x="2553989" y="3101363"/>
                  <a:pt x="2536251" y="3088974"/>
                </a:cubicBezTo>
                <a:cubicBezTo>
                  <a:pt x="2511421" y="3079682"/>
                  <a:pt x="2490137" y="3070389"/>
                  <a:pt x="2468854" y="3070389"/>
                </a:cubicBezTo>
                <a:cubicBezTo>
                  <a:pt x="2451119" y="3070389"/>
                  <a:pt x="2436929" y="3073487"/>
                  <a:pt x="2419195" y="3079682"/>
                </a:cubicBezTo>
                <a:cubicBezTo>
                  <a:pt x="2405005" y="3082778"/>
                  <a:pt x="2387269" y="3088974"/>
                  <a:pt x="2369533" y="3092071"/>
                </a:cubicBezTo>
                <a:cubicBezTo>
                  <a:pt x="2351797" y="3095169"/>
                  <a:pt x="2330514" y="3092071"/>
                  <a:pt x="2309230" y="3085876"/>
                </a:cubicBezTo>
                <a:cubicBezTo>
                  <a:pt x="2280853" y="3073487"/>
                  <a:pt x="2252475" y="3061096"/>
                  <a:pt x="2224098" y="3058000"/>
                </a:cubicBezTo>
                <a:cubicBezTo>
                  <a:pt x="2202815" y="3051804"/>
                  <a:pt x="2177984" y="3036318"/>
                  <a:pt x="2153153" y="3020829"/>
                </a:cubicBezTo>
                <a:cubicBezTo>
                  <a:pt x="2128323" y="3002245"/>
                  <a:pt x="2099945" y="2980563"/>
                  <a:pt x="2075114" y="2955784"/>
                </a:cubicBezTo>
                <a:cubicBezTo>
                  <a:pt x="2064473" y="2943393"/>
                  <a:pt x="2053832" y="2931004"/>
                  <a:pt x="2046737" y="2918615"/>
                </a:cubicBezTo>
                <a:cubicBezTo>
                  <a:pt x="2036095" y="2906224"/>
                  <a:pt x="2032549" y="2896933"/>
                  <a:pt x="2025454" y="2884542"/>
                </a:cubicBezTo>
                <a:cubicBezTo>
                  <a:pt x="2025454" y="2872153"/>
                  <a:pt x="2025454" y="2862860"/>
                  <a:pt x="2029001" y="2856666"/>
                </a:cubicBezTo>
                <a:cubicBezTo>
                  <a:pt x="2032549" y="2847373"/>
                  <a:pt x="2046737" y="2841178"/>
                  <a:pt x="2053832" y="2838080"/>
                </a:cubicBezTo>
                <a:cubicBezTo>
                  <a:pt x="2060926" y="2838080"/>
                  <a:pt x="2071568" y="2838080"/>
                  <a:pt x="2078662" y="2841178"/>
                </a:cubicBezTo>
                <a:cubicBezTo>
                  <a:pt x="2089304" y="2844275"/>
                  <a:pt x="2099945" y="2850471"/>
                  <a:pt x="2110587" y="2853568"/>
                </a:cubicBezTo>
                <a:cubicBezTo>
                  <a:pt x="2131871" y="2859762"/>
                  <a:pt x="2153153" y="2869055"/>
                  <a:pt x="2174436" y="2878347"/>
                </a:cubicBezTo>
                <a:cubicBezTo>
                  <a:pt x="2177984" y="2878347"/>
                  <a:pt x="2177984" y="2878347"/>
                  <a:pt x="2177984" y="2878347"/>
                </a:cubicBezTo>
                <a:cubicBezTo>
                  <a:pt x="2177984" y="2878347"/>
                  <a:pt x="2177984" y="2875250"/>
                  <a:pt x="2177984" y="2875250"/>
                </a:cubicBezTo>
                <a:cubicBezTo>
                  <a:pt x="2181531" y="2872153"/>
                  <a:pt x="2177984" y="2869055"/>
                  <a:pt x="2177984" y="2862860"/>
                </a:cubicBezTo>
                <a:cubicBezTo>
                  <a:pt x="2170890" y="2853568"/>
                  <a:pt x="2167343" y="2841178"/>
                  <a:pt x="2160248" y="2828788"/>
                </a:cubicBezTo>
                <a:cubicBezTo>
                  <a:pt x="2160248" y="2822593"/>
                  <a:pt x="2156700" y="2816399"/>
                  <a:pt x="2160248" y="2813302"/>
                </a:cubicBezTo>
                <a:cubicBezTo>
                  <a:pt x="2160248" y="2810204"/>
                  <a:pt x="2160248" y="2810204"/>
                  <a:pt x="2160248" y="2807106"/>
                </a:cubicBezTo>
                <a:cubicBezTo>
                  <a:pt x="2160248" y="2807106"/>
                  <a:pt x="2163795" y="2807106"/>
                  <a:pt x="2163795" y="2804009"/>
                </a:cubicBezTo>
                <a:cubicBezTo>
                  <a:pt x="2167343" y="2804009"/>
                  <a:pt x="2167343" y="2804009"/>
                  <a:pt x="2167343" y="2804009"/>
                </a:cubicBezTo>
                <a:cubicBezTo>
                  <a:pt x="2174436" y="2804009"/>
                  <a:pt x="2177984" y="2807106"/>
                  <a:pt x="2181531" y="2807106"/>
                </a:cubicBezTo>
                <a:cubicBezTo>
                  <a:pt x="2192174" y="2813302"/>
                  <a:pt x="2202815" y="2819496"/>
                  <a:pt x="2213456" y="2825691"/>
                </a:cubicBezTo>
                <a:cubicBezTo>
                  <a:pt x="2252475" y="2850471"/>
                  <a:pt x="2295042" y="2862860"/>
                  <a:pt x="2334061" y="2872153"/>
                </a:cubicBezTo>
                <a:cubicBezTo>
                  <a:pt x="2390816" y="2884542"/>
                  <a:pt x="2444024" y="2890737"/>
                  <a:pt x="2497231" y="2896933"/>
                </a:cubicBezTo>
                <a:cubicBezTo>
                  <a:pt x="2550439" y="2903127"/>
                  <a:pt x="2603649" y="2903127"/>
                  <a:pt x="2653309" y="2896933"/>
                </a:cubicBezTo>
                <a:cubicBezTo>
                  <a:pt x="2674593" y="2893835"/>
                  <a:pt x="2695875" y="2890737"/>
                  <a:pt x="2713612" y="2887640"/>
                </a:cubicBezTo>
                <a:cubicBezTo>
                  <a:pt x="2727800" y="2881445"/>
                  <a:pt x="2741990" y="2875250"/>
                  <a:pt x="2749083" y="2865958"/>
                </a:cubicBezTo>
                <a:cubicBezTo>
                  <a:pt x="2752631" y="2865958"/>
                  <a:pt x="2752631" y="2865958"/>
                  <a:pt x="2756178" y="2865958"/>
                </a:cubicBezTo>
                <a:cubicBezTo>
                  <a:pt x="2759725" y="2865958"/>
                  <a:pt x="2759725" y="2865958"/>
                  <a:pt x="2763272" y="2865958"/>
                </a:cubicBezTo>
                <a:cubicBezTo>
                  <a:pt x="2766819" y="2862860"/>
                  <a:pt x="2773914" y="2862860"/>
                  <a:pt x="2781010" y="2862860"/>
                </a:cubicBezTo>
                <a:cubicBezTo>
                  <a:pt x="2795196" y="2862860"/>
                  <a:pt x="2809387" y="2862860"/>
                  <a:pt x="2827123" y="2862860"/>
                </a:cubicBezTo>
                <a:cubicBezTo>
                  <a:pt x="2830670" y="2862860"/>
                  <a:pt x="2837765" y="2862860"/>
                  <a:pt x="2841310" y="2862860"/>
                </a:cubicBezTo>
                <a:cubicBezTo>
                  <a:pt x="2844858" y="2862860"/>
                  <a:pt x="2848406" y="2862860"/>
                  <a:pt x="2848406" y="2859762"/>
                </a:cubicBezTo>
                <a:cubicBezTo>
                  <a:pt x="2848406" y="2859762"/>
                  <a:pt x="2848406" y="2859762"/>
                  <a:pt x="2848406" y="2856666"/>
                </a:cubicBezTo>
                <a:cubicBezTo>
                  <a:pt x="2777460" y="2850471"/>
                  <a:pt x="2706517" y="2841178"/>
                  <a:pt x="2635573" y="2831886"/>
                </a:cubicBezTo>
                <a:cubicBezTo>
                  <a:pt x="2585913" y="2825691"/>
                  <a:pt x="2536251" y="2819496"/>
                  <a:pt x="2486591" y="2810204"/>
                </a:cubicBezTo>
                <a:cubicBezTo>
                  <a:pt x="2461760" y="2816399"/>
                  <a:pt x="2436929" y="2825691"/>
                  <a:pt x="2419195" y="2841178"/>
                </a:cubicBezTo>
                <a:cubicBezTo>
                  <a:pt x="2415647" y="2844275"/>
                  <a:pt x="2412100" y="2844275"/>
                  <a:pt x="2408552" y="2844275"/>
                </a:cubicBezTo>
                <a:cubicBezTo>
                  <a:pt x="2401459" y="2844275"/>
                  <a:pt x="2394364" y="2847373"/>
                  <a:pt x="2390816" y="2844275"/>
                </a:cubicBezTo>
                <a:cubicBezTo>
                  <a:pt x="2373080" y="2844275"/>
                  <a:pt x="2358892" y="2838080"/>
                  <a:pt x="2341156" y="2834984"/>
                </a:cubicBezTo>
                <a:cubicBezTo>
                  <a:pt x="2302137" y="2819496"/>
                  <a:pt x="2263117" y="2797813"/>
                  <a:pt x="2220550" y="2782326"/>
                </a:cubicBezTo>
                <a:cubicBezTo>
                  <a:pt x="2192174" y="2766839"/>
                  <a:pt x="2156700" y="2754450"/>
                  <a:pt x="2124776" y="2742060"/>
                </a:cubicBezTo>
                <a:cubicBezTo>
                  <a:pt x="2099945" y="2738962"/>
                  <a:pt x="2075114" y="2732768"/>
                  <a:pt x="2046737" y="2726573"/>
                </a:cubicBezTo>
                <a:cubicBezTo>
                  <a:pt x="2043190" y="2726573"/>
                  <a:pt x="2036095" y="2726573"/>
                  <a:pt x="2032549" y="2726573"/>
                </a:cubicBezTo>
                <a:cubicBezTo>
                  <a:pt x="2014813" y="2726573"/>
                  <a:pt x="2000623" y="2732768"/>
                  <a:pt x="1986435" y="2742060"/>
                </a:cubicBezTo>
                <a:cubicBezTo>
                  <a:pt x="1982889" y="2745157"/>
                  <a:pt x="1979341" y="2745157"/>
                  <a:pt x="1975793" y="2745157"/>
                </a:cubicBezTo>
                <a:cubicBezTo>
                  <a:pt x="1972246" y="2745157"/>
                  <a:pt x="1965151" y="2745157"/>
                  <a:pt x="1958056" y="2745157"/>
                </a:cubicBezTo>
                <a:cubicBezTo>
                  <a:pt x="1947416" y="2742060"/>
                  <a:pt x="1936774" y="2735866"/>
                  <a:pt x="1926132" y="2729670"/>
                </a:cubicBezTo>
                <a:cubicBezTo>
                  <a:pt x="1901301" y="2717280"/>
                  <a:pt x="1880019" y="2701793"/>
                  <a:pt x="1855188" y="2683208"/>
                </a:cubicBezTo>
                <a:cubicBezTo>
                  <a:pt x="1557222" y="2605772"/>
                  <a:pt x="1259258" y="2519044"/>
                  <a:pt x="961291" y="2419926"/>
                </a:cubicBezTo>
                <a:cubicBezTo>
                  <a:pt x="851328" y="2385854"/>
                  <a:pt x="744913" y="2357977"/>
                  <a:pt x="634950" y="2320807"/>
                </a:cubicBezTo>
                <a:cubicBezTo>
                  <a:pt x="606573" y="2311515"/>
                  <a:pt x="578194" y="2299125"/>
                  <a:pt x="546269" y="2283638"/>
                </a:cubicBezTo>
                <a:cubicBezTo>
                  <a:pt x="524987" y="2271248"/>
                  <a:pt x="503703" y="2261956"/>
                  <a:pt x="478873" y="2246469"/>
                </a:cubicBezTo>
                <a:cubicBezTo>
                  <a:pt x="464684" y="2237176"/>
                  <a:pt x="446948" y="2221689"/>
                  <a:pt x="432760" y="2206202"/>
                </a:cubicBezTo>
                <a:cubicBezTo>
                  <a:pt x="425665" y="2187618"/>
                  <a:pt x="425665" y="2178325"/>
                  <a:pt x="429212" y="2165936"/>
                </a:cubicBezTo>
                <a:cubicBezTo>
                  <a:pt x="429212" y="2165936"/>
                  <a:pt x="432760" y="2165936"/>
                  <a:pt x="432760" y="2165936"/>
                </a:cubicBezTo>
                <a:cubicBezTo>
                  <a:pt x="436306" y="2165936"/>
                  <a:pt x="439853" y="2165936"/>
                  <a:pt x="439853" y="2165936"/>
                </a:cubicBezTo>
                <a:cubicBezTo>
                  <a:pt x="450494" y="2165936"/>
                  <a:pt x="461137" y="2165936"/>
                  <a:pt x="468231" y="2169032"/>
                </a:cubicBezTo>
                <a:cubicBezTo>
                  <a:pt x="496608" y="2175227"/>
                  <a:pt x="528534" y="2181423"/>
                  <a:pt x="560458" y="2187618"/>
                </a:cubicBezTo>
                <a:cubicBezTo>
                  <a:pt x="649138" y="2209300"/>
                  <a:pt x="741365" y="2227885"/>
                  <a:pt x="833592" y="2252663"/>
                </a:cubicBezTo>
                <a:cubicBezTo>
                  <a:pt x="961291" y="2277443"/>
                  <a:pt x="1092540" y="2305321"/>
                  <a:pt x="1216692" y="2330100"/>
                </a:cubicBezTo>
                <a:cubicBezTo>
                  <a:pt x="996764" y="2265054"/>
                  <a:pt x="780385" y="2218592"/>
                  <a:pt x="553364" y="2125669"/>
                </a:cubicBezTo>
                <a:cubicBezTo>
                  <a:pt x="489515" y="2097791"/>
                  <a:pt x="432760" y="2085402"/>
                  <a:pt x="372457" y="2066818"/>
                </a:cubicBezTo>
                <a:cubicBezTo>
                  <a:pt x="361815" y="2063721"/>
                  <a:pt x="351174" y="2060624"/>
                  <a:pt x="340531" y="2054430"/>
                </a:cubicBezTo>
                <a:cubicBezTo>
                  <a:pt x="333438" y="2048235"/>
                  <a:pt x="322795" y="2042040"/>
                  <a:pt x="315702" y="2032747"/>
                </a:cubicBezTo>
                <a:cubicBezTo>
                  <a:pt x="305060" y="2026553"/>
                  <a:pt x="301512" y="2017260"/>
                  <a:pt x="297966" y="2004870"/>
                </a:cubicBezTo>
                <a:cubicBezTo>
                  <a:pt x="287324" y="1992481"/>
                  <a:pt x="283776" y="1976994"/>
                  <a:pt x="276681" y="1964603"/>
                </a:cubicBezTo>
                <a:cubicBezTo>
                  <a:pt x="276681" y="1958409"/>
                  <a:pt x="280230" y="1955311"/>
                  <a:pt x="280230" y="1952214"/>
                </a:cubicBezTo>
                <a:cubicBezTo>
                  <a:pt x="283776" y="1949116"/>
                  <a:pt x="287324" y="1949116"/>
                  <a:pt x="287324" y="1949116"/>
                </a:cubicBezTo>
                <a:cubicBezTo>
                  <a:pt x="301512" y="1942922"/>
                  <a:pt x="315702" y="1946019"/>
                  <a:pt x="329890" y="1949116"/>
                </a:cubicBezTo>
                <a:cubicBezTo>
                  <a:pt x="368909" y="1958409"/>
                  <a:pt x="407929" y="1970798"/>
                  <a:pt x="450494" y="1986285"/>
                </a:cubicBezTo>
                <a:cubicBezTo>
                  <a:pt x="478873" y="1995578"/>
                  <a:pt x="507251" y="2007968"/>
                  <a:pt x="539175" y="2014163"/>
                </a:cubicBezTo>
                <a:cubicBezTo>
                  <a:pt x="542722" y="2014163"/>
                  <a:pt x="542722" y="2014163"/>
                  <a:pt x="542722" y="2014163"/>
                </a:cubicBezTo>
                <a:cubicBezTo>
                  <a:pt x="542722" y="2014163"/>
                  <a:pt x="542722" y="2014163"/>
                  <a:pt x="542722" y="2011065"/>
                </a:cubicBezTo>
                <a:cubicBezTo>
                  <a:pt x="539175" y="2011065"/>
                  <a:pt x="539175" y="2011065"/>
                  <a:pt x="539175" y="2011065"/>
                </a:cubicBezTo>
                <a:cubicBezTo>
                  <a:pt x="539175" y="2011065"/>
                  <a:pt x="535628" y="2007968"/>
                  <a:pt x="535628" y="2007968"/>
                </a:cubicBezTo>
                <a:cubicBezTo>
                  <a:pt x="517892" y="1998676"/>
                  <a:pt x="503703" y="1989383"/>
                  <a:pt x="485967" y="1980091"/>
                </a:cubicBezTo>
                <a:cubicBezTo>
                  <a:pt x="475325" y="1973896"/>
                  <a:pt x="464684" y="1967701"/>
                  <a:pt x="454043" y="1961507"/>
                </a:cubicBezTo>
                <a:cubicBezTo>
                  <a:pt x="450494" y="1958409"/>
                  <a:pt x="446948" y="1955311"/>
                  <a:pt x="443401" y="1952214"/>
                </a:cubicBezTo>
                <a:cubicBezTo>
                  <a:pt x="443401" y="1952214"/>
                  <a:pt x="439853" y="1949116"/>
                  <a:pt x="439853" y="1946019"/>
                </a:cubicBezTo>
                <a:cubicBezTo>
                  <a:pt x="436306" y="1942922"/>
                  <a:pt x="439853" y="1939823"/>
                  <a:pt x="439853" y="1936727"/>
                </a:cubicBezTo>
                <a:cubicBezTo>
                  <a:pt x="446948" y="1936727"/>
                  <a:pt x="450494" y="1933629"/>
                  <a:pt x="454043" y="1933629"/>
                </a:cubicBezTo>
                <a:cubicBezTo>
                  <a:pt x="482420" y="1930532"/>
                  <a:pt x="514344" y="1930532"/>
                  <a:pt x="546269" y="1936727"/>
                </a:cubicBezTo>
                <a:cubicBezTo>
                  <a:pt x="634950" y="1949116"/>
                  <a:pt x="723629" y="1964603"/>
                  <a:pt x="815856" y="1983189"/>
                </a:cubicBezTo>
                <a:cubicBezTo>
                  <a:pt x="812310" y="1980091"/>
                  <a:pt x="808763" y="1980091"/>
                  <a:pt x="808763" y="1976994"/>
                </a:cubicBezTo>
                <a:cubicBezTo>
                  <a:pt x="791027" y="1961507"/>
                  <a:pt x="776837" y="1952214"/>
                  <a:pt x="762649" y="1949116"/>
                </a:cubicBezTo>
                <a:cubicBezTo>
                  <a:pt x="752007" y="1946019"/>
                  <a:pt x="741365" y="1946019"/>
                  <a:pt x="730724" y="1952214"/>
                </a:cubicBezTo>
                <a:cubicBezTo>
                  <a:pt x="720082" y="1952214"/>
                  <a:pt x="709441" y="1958409"/>
                  <a:pt x="698800" y="1958409"/>
                </a:cubicBezTo>
                <a:cubicBezTo>
                  <a:pt x="684610" y="1958409"/>
                  <a:pt x="670422" y="1955311"/>
                  <a:pt x="656233" y="1942922"/>
                </a:cubicBezTo>
                <a:cubicBezTo>
                  <a:pt x="634950" y="1930532"/>
                  <a:pt x="617214" y="1915045"/>
                  <a:pt x="595930" y="1902655"/>
                </a:cubicBezTo>
                <a:cubicBezTo>
                  <a:pt x="581742" y="1896460"/>
                  <a:pt x="560458" y="1874778"/>
                  <a:pt x="546269" y="1856193"/>
                </a:cubicBezTo>
                <a:cubicBezTo>
                  <a:pt x="524987" y="1831414"/>
                  <a:pt x="503703" y="1800440"/>
                  <a:pt x="485967" y="1772562"/>
                </a:cubicBezTo>
                <a:cubicBezTo>
                  <a:pt x="478873" y="1757074"/>
                  <a:pt x="468231" y="1741588"/>
                  <a:pt x="464684" y="1723003"/>
                </a:cubicBezTo>
                <a:cubicBezTo>
                  <a:pt x="457589" y="1710613"/>
                  <a:pt x="450494" y="1698224"/>
                  <a:pt x="446948" y="1682736"/>
                </a:cubicBezTo>
                <a:cubicBezTo>
                  <a:pt x="446948" y="1673444"/>
                  <a:pt x="443401" y="1661054"/>
                  <a:pt x="446948" y="1651762"/>
                </a:cubicBezTo>
                <a:cubicBezTo>
                  <a:pt x="450494" y="1642469"/>
                  <a:pt x="457589" y="1639371"/>
                  <a:pt x="464684" y="1636275"/>
                </a:cubicBezTo>
                <a:cubicBezTo>
                  <a:pt x="468231" y="1636275"/>
                  <a:pt x="471778" y="1639371"/>
                  <a:pt x="478873" y="1642469"/>
                </a:cubicBezTo>
                <a:cubicBezTo>
                  <a:pt x="485967" y="1648664"/>
                  <a:pt x="496608" y="1654860"/>
                  <a:pt x="503703" y="1657957"/>
                </a:cubicBezTo>
                <a:cubicBezTo>
                  <a:pt x="517892" y="1670347"/>
                  <a:pt x="532080" y="1685833"/>
                  <a:pt x="546269" y="1695126"/>
                </a:cubicBezTo>
                <a:cubicBezTo>
                  <a:pt x="549816" y="1698224"/>
                  <a:pt x="549816" y="1698224"/>
                  <a:pt x="549816" y="1695126"/>
                </a:cubicBezTo>
                <a:cubicBezTo>
                  <a:pt x="549816" y="1688931"/>
                  <a:pt x="549816" y="1682736"/>
                  <a:pt x="549816" y="1679639"/>
                </a:cubicBezTo>
                <a:cubicBezTo>
                  <a:pt x="542722" y="1667249"/>
                  <a:pt x="539175" y="1651762"/>
                  <a:pt x="535628" y="1636275"/>
                </a:cubicBezTo>
                <a:cubicBezTo>
                  <a:pt x="535628" y="1633177"/>
                  <a:pt x="532080" y="1623884"/>
                  <a:pt x="532080" y="1620787"/>
                </a:cubicBezTo>
                <a:cubicBezTo>
                  <a:pt x="532080" y="1617690"/>
                  <a:pt x="532080" y="1614593"/>
                  <a:pt x="532080" y="1614593"/>
                </a:cubicBezTo>
                <a:cubicBezTo>
                  <a:pt x="532080" y="1611495"/>
                  <a:pt x="532080" y="1611495"/>
                  <a:pt x="535628" y="1611495"/>
                </a:cubicBezTo>
                <a:cubicBezTo>
                  <a:pt x="535628" y="1611495"/>
                  <a:pt x="539175" y="1611495"/>
                  <a:pt x="539175" y="1611495"/>
                </a:cubicBezTo>
                <a:cubicBezTo>
                  <a:pt x="542722" y="1614593"/>
                  <a:pt x="546269" y="1614593"/>
                  <a:pt x="546269" y="1614593"/>
                </a:cubicBezTo>
                <a:cubicBezTo>
                  <a:pt x="556911" y="1623884"/>
                  <a:pt x="564006" y="1633177"/>
                  <a:pt x="571100" y="1642469"/>
                </a:cubicBezTo>
                <a:cubicBezTo>
                  <a:pt x="595930" y="1673444"/>
                  <a:pt x="627855" y="1688931"/>
                  <a:pt x="656233" y="1704418"/>
                </a:cubicBezTo>
                <a:cubicBezTo>
                  <a:pt x="691705" y="1726100"/>
                  <a:pt x="730724" y="1741588"/>
                  <a:pt x="766196" y="1750880"/>
                </a:cubicBezTo>
                <a:cubicBezTo>
                  <a:pt x="801668" y="1760173"/>
                  <a:pt x="840687" y="1766367"/>
                  <a:pt x="872613" y="1766367"/>
                </a:cubicBezTo>
                <a:cubicBezTo>
                  <a:pt x="886801" y="1766367"/>
                  <a:pt x="897442" y="1766367"/>
                  <a:pt x="911631" y="1760173"/>
                </a:cubicBezTo>
                <a:cubicBezTo>
                  <a:pt x="918726" y="1757074"/>
                  <a:pt x="925819" y="1750880"/>
                  <a:pt x="932914" y="1741588"/>
                </a:cubicBezTo>
                <a:cubicBezTo>
                  <a:pt x="932914" y="1741588"/>
                  <a:pt x="936462" y="1741588"/>
                  <a:pt x="936462" y="1738491"/>
                </a:cubicBezTo>
                <a:cubicBezTo>
                  <a:pt x="936462" y="1738491"/>
                  <a:pt x="936462" y="1738491"/>
                  <a:pt x="940009" y="1738491"/>
                </a:cubicBezTo>
                <a:cubicBezTo>
                  <a:pt x="943556" y="1738491"/>
                  <a:pt x="947104" y="1738491"/>
                  <a:pt x="954198" y="1738491"/>
                </a:cubicBezTo>
                <a:cubicBezTo>
                  <a:pt x="964840" y="1741588"/>
                  <a:pt x="971934" y="1741588"/>
                  <a:pt x="982576" y="1744685"/>
                </a:cubicBezTo>
                <a:cubicBezTo>
                  <a:pt x="986122" y="1744685"/>
                  <a:pt x="989670" y="1744685"/>
                  <a:pt x="996764" y="1744685"/>
                </a:cubicBezTo>
                <a:cubicBezTo>
                  <a:pt x="996764" y="1741588"/>
                  <a:pt x="996764" y="1744685"/>
                  <a:pt x="996764" y="1741588"/>
                </a:cubicBezTo>
                <a:cubicBezTo>
                  <a:pt x="996764" y="1738491"/>
                  <a:pt x="996764" y="1738491"/>
                  <a:pt x="996764" y="1738491"/>
                </a:cubicBezTo>
                <a:cubicBezTo>
                  <a:pt x="996764" y="1738491"/>
                  <a:pt x="996764" y="1735393"/>
                  <a:pt x="996764" y="1735393"/>
                </a:cubicBezTo>
                <a:cubicBezTo>
                  <a:pt x="993217" y="1735393"/>
                  <a:pt x="993217" y="1732295"/>
                  <a:pt x="989670" y="1729198"/>
                </a:cubicBezTo>
                <a:cubicBezTo>
                  <a:pt x="986122" y="1723003"/>
                  <a:pt x="975481" y="1716809"/>
                  <a:pt x="968386" y="1710613"/>
                </a:cubicBezTo>
                <a:cubicBezTo>
                  <a:pt x="922273" y="1670347"/>
                  <a:pt x="872613" y="1657957"/>
                  <a:pt x="826499" y="1648664"/>
                </a:cubicBezTo>
                <a:cubicBezTo>
                  <a:pt x="801668" y="1645567"/>
                  <a:pt x="780385" y="1645567"/>
                  <a:pt x="755554" y="1648664"/>
                </a:cubicBezTo>
                <a:cubicBezTo>
                  <a:pt x="737819" y="1654860"/>
                  <a:pt x="723629" y="1661054"/>
                  <a:pt x="709441" y="1676542"/>
                </a:cubicBezTo>
                <a:cubicBezTo>
                  <a:pt x="705893" y="1679639"/>
                  <a:pt x="705893" y="1682736"/>
                  <a:pt x="702346" y="1682736"/>
                </a:cubicBezTo>
                <a:cubicBezTo>
                  <a:pt x="698800" y="1682736"/>
                  <a:pt x="691705" y="1682736"/>
                  <a:pt x="688158" y="1682736"/>
                </a:cubicBezTo>
                <a:cubicBezTo>
                  <a:pt x="677516" y="1676542"/>
                  <a:pt x="670422" y="1670347"/>
                  <a:pt x="659779" y="1664151"/>
                </a:cubicBezTo>
                <a:cubicBezTo>
                  <a:pt x="627855" y="1639371"/>
                  <a:pt x="603024" y="1614593"/>
                  <a:pt x="574647" y="1589813"/>
                </a:cubicBezTo>
                <a:cubicBezTo>
                  <a:pt x="542722" y="1565033"/>
                  <a:pt x="510797" y="1540253"/>
                  <a:pt x="482420" y="1521669"/>
                </a:cubicBezTo>
                <a:cubicBezTo>
                  <a:pt x="468231" y="1515475"/>
                  <a:pt x="454043" y="1509279"/>
                  <a:pt x="439853" y="1509279"/>
                </a:cubicBezTo>
                <a:cubicBezTo>
                  <a:pt x="429212" y="1506182"/>
                  <a:pt x="418570" y="1512377"/>
                  <a:pt x="411476" y="1518571"/>
                </a:cubicBezTo>
                <a:cubicBezTo>
                  <a:pt x="407929" y="1521669"/>
                  <a:pt x="404381" y="1521669"/>
                  <a:pt x="404381" y="1521669"/>
                </a:cubicBezTo>
                <a:cubicBezTo>
                  <a:pt x="400834" y="1521669"/>
                  <a:pt x="397288" y="1521669"/>
                  <a:pt x="393740" y="1518571"/>
                </a:cubicBezTo>
                <a:cubicBezTo>
                  <a:pt x="383098" y="1512377"/>
                  <a:pt x="376003" y="1506182"/>
                  <a:pt x="368909" y="1496889"/>
                </a:cubicBezTo>
                <a:cubicBezTo>
                  <a:pt x="347626" y="1478306"/>
                  <a:pt x="329890" y="1450428"/>
                  <a:pt x="308607" y="1422551"/>
                </a:cubicBezTo>
                <a:cubicBezTo>
                  <a:pt x="301512" y="1410161"/>
                  <a:pt x="294418" y="1397771"/>
                  <a:pt x="290871" y="1385382"/>
                </a:cubicBezTo>
                <a:cubicBezTo>
                  <a:pt x="287324" y="1379186"/>
                  <a:pt x="283776" y="1372991"/>
                  <a:pt x="283776" y="1369895"/>
                </a:cubicBezTo>
                <a:cubicBezTo>
                  <a:pt x="280230" y="1366797"/>
                  <a:pt x="280230" y="1363699"/>
                  <a:pt x="276681" y="1357504"/>
                </a:cubicBezTo>
                <a:cubicBezTo>
                  <a:pt x="276681" y="1357504"/>
                  <a:pt x="276681" y="1354408"/>
                  <a:pt x="276681" y="1354408"/>
                </a:cubicBezTo>
                <a:cubicBezTo>
                  <a:pt x="276681" y="1351310"/>
                  <a:pt x="276681" y="1351310"/>
                  <a:pt x="280230" y="1351310"/>
                </a:cubicBezTo>
                <a:cubicBezTo>
                  <a:pt x="280230" y="1351310"/>
                  <a:pt x="280230" y="1348212"/>
                  <a:pt x="280230" y="1348212"/>
                </a:cubicBezTo>
                <a:cubicBezTo>
                  <a:pt x="280230" y="1348212"/>
                  <a:pt x="283776" y="1348212"/>
                  <a:pt x="283776" y="1348212"/>
                </a:cubicBezTo>
                <a:cubicBezTo>
                  <a:pt x="290871" y="1351310"/>
                  <a:pt x="301512" y="1360602"/>
                  <a:pt x="308607" y="1366797"/>
                </a:cubicBezTo>
                <a:cubicBezTo>
                  <a:pt x="326343" y="1382284"/>
                  <a:pt x="344079" y="1394673"/>
                  <a:pt x="358267" y="1400869"/>
                </a:cubicBezTo>
                <a:cubicBezTo>
                  <a:pt x="358267" y="1400869"/>
                  <a:pt x="361815" y="1400869"/>
                  <a:pt x="361815" y="1400869"/>
                </a:cubicBezTo>
                <a:cubicBezTo>
                  <a:pt x="361815" y="1400869"/>
                  <a:pt x="365362" y="1400869"/>
                  <a:pt x="365362" y="1397771"/>
                </a:cubicBezTo>
                <a:cubicBezTo>
                  <a:pt x="365362" y="1394673"/>
                  <a:pt x="368909" y="1391577"/>
                  <a:pt x="368909" y="1385382"/>
                </a:cubicBezTo>
                <a:cubicBezTo>
                  <a:pt x="361815" y="1351310"/>
                  <a:pt x="351174" y="1317237"/>
                  <a:pt x="351174" y="1283166"/>
                </a:cubicBezTo>
                <a:cubicBezTo>
                  <a:pt x="351174" y="1273873"/>
                  <a:pt x="351174" y="1264581"/>
                  <a:pt x="351174" y="1258386"/>
                </a:cubicBezTo>
                <a:cubicBezTo>
                  <a:pt x="351174" y="1258386"/>
                  <a:pt x="347626" y="1255288"/>
                  <a:pt x="347626" y="1252191"/>
                </a:cubicBezTo>
                <a:cubicBezTo>
                  <a:pt x="347626" y="1249093"/>
                  <a:pt x="347626" y="1249093"/>
                  <a:pt x="347626" y="1249093"/>
                </a:cubicBezTo>
                <a:cubicBezTo>
                  <a:pt x="347626" y="1249093"/>
                  <a:pt x="347626" y="1249093"/>
                  <a:pt x="344079" y="1249093"/>
                </a:cubicBezTo>
                <a:cubicBezTo>
                  <a:pt x="344079" y="1249093"/>
                  <a:pt x="344079" y="1249093"/>
                  <a:pt x="340531" y="1249093"/>
                </a:cubicBezTo>
                <a:cubicBezTo>
                  <a:pt x="340531" y="1249093"/>
                  <a:pt x="336985" y="1252191"/>
                  <a:pt x="336985" y="1255288"/>
                </a:cubicBezTo>
                <a:cubicBezTo>
                  <a:pt x="329890" y="1261484"/>
                  <a:pt x="319248" y="1264581"/>
                  <a:pt x="312154" y="1264581"/>
                </a:cubicBezTo>
                <a:cubicBezTo>
                  <a:pt x="297966" y="1267679"/>
                  <a:pt x="287324" y="1264581"/>
                  <a:pt x="269588" y="1249093"/>
                </a:cubicBezTo>
                <a:cubicBezTo>
                  <a:pt x="248304" y="1233606"/>
                  <a:pt x="227021" y="1205730"/>
                  <a:pt x="209285" y="1174755"/>
                </a:cubicBezTo>
                <a:cubicBezTo>
                  <a:pt x="191549" y="1146877"/>
                  <a:pt x="177361" y="1115904"/>
                  <a:pt x="163172" y="1084930"/>
                </a:cubicBezTo>
                <a:cubicBezTo>
                  <a:pt x="148982" y="1060150"/>
                  <a:pt x="134794" y="1032272"/>
                  <a:pt x="117058" y="1007493"/>
                </a:cubicBezTo>
                <a:cubicBezTo>
                  <a:pt x="109964" y="998201"/>
                  <a:pt x="99322" y="992006"/>
                  <a:pt x="92227" y="982713"/>
                </a:cubicBezTo>
                <a:cubicBezTo>
                  <a:pt x="78039" y="976519"/>
                  <a:pt x="70945" y="973421"/>
                  <a:pt x="60303" y="973421"/>
                </a:cubicBezTo>
                <a:cubicBezTo>
                  <a:pt x="56755" y="970323"/>
                  <a:pt x="56755" y="970323"/>
                  <a:pt x="56755" y="970323"/>
                </a:cubicBezTo>
                <a:cubicBezTo>
                  <a:pt x="53209" y="970323"/>
                  <a:pt x="53209" y="970323"/>
                  <a:pt x="53209" y="967226"/>
                </a:cubicBezTo>
                <a:cubicBezTo>
                  <a:pt x="49660" y="964128"/>
                  <a:pt x="46114" y="957934"/>
                  <a:pt x="39019" y="954836"/>
                </a:cubicBezTo>
                <a:cubicBezTo>
                  <a:pt x="35472" y="942447"/>
                  <a:pt x="28378" y="926960"/>
                  <a:pt x="21283" y="914570"/>
                </a:cubicBezTo>
                <a:cubicBezTo>
                  <a:pt x="14190" y="902180"/>
                  <a:pt x="7095" y="886692"/>
                  <a:pt x="3547" y="874304"/>
                </a:cubicBezTo>
                <a:cubicBezTo>
                  <a:pt x="3547" y="871205"/>
                  <a:pt x="0" y="865011"/>
                  <a:pt x="0" y="861914"/>
                </a:cubicBezTo>
                <a:cubicBezTo>
                  <a:pt x="0" y="858816"/>
                  <a:pt x="0" y="858816"/>
                  <a:pt x="3547" y="855718"/>
                </a:cubicBezTo>
                <a:cubicBezTo>
                  <a:pt x="7095" y="855718"/>
                  <a:pt x="10642" y="855718"/>
                  <a:pt x="10642" y="858816"/>
                </a:cubicBezTo>
                <a:cubicBezTo>
                  <a:pt x="14190" y="858816"/>
                  <a:pt x="21283" y="861914"/>
                  <a:pt x="24831" y="865011"/>
                </a:cubicBezTo>
                <a:cubicBezTo>
                  <a:pt x="39019" y="874304"/>
                  <a:pt x="49660" y="883596"/>
                  <a:pt x="63850" y="892887"/>
                </a:cubicBezTo>
                <a:cubicBezTo>
                  <a:pt x="95775" y="917667"/>
                  <a:pt x="131246" y="945544"/>
                  <a:pt x="166718" y="973421"/>
                </a:cubicBezTo>
                <a:cubicBezTo>
                  <a:pt x="202190" y="995103"/>
                  <a:pt x="234116" y="1019883"/>
                  <a:pt x="266040" y="1044662"/>
                </a:cubicBezTo>
                <a:cubicBezTo>
                  <a:pt x="276681" y="1053955"/>
                  <a:pt x="287324" y="1060150"/>
                  <a:pt x="297966" y="1066344"/>
                </a:cubicBezTo>
                <a:cubicBezTo>
                  <a:pt x="301512" y="1066344"/>
                  <a:pt x="305060" y="1069442"/>
                  <a:pt x="305060" y="1069442"/>
                </a:cubicBezTo>
                <a:cubicBezTo>
                  <a:pt x="308607" y="1069442"/>
                  <a:pt x="308607" y="1069442"/>
                  <a:pt x="308607" y="1069442"/>
                </a:cubicBezTo>
                <a:cubicBezTo>
                  <a:pt x="308607" y="1066344"/>
                  <a:pt x="308607" y="1066344"/>
                  <a:pt x="308607" y="1066344"/>
                </a:cubicBezTo>
                <a:cubicBezTo>
                  <a:pt x="308607" y="1047761"/>
                  <a:pt x="308607" y="1035370"/>
                  <a:pt x="305060" y="1016785"/>
                </a:cubicBezTo>
                <a:cubicBezTo>
                  <a:pt x="305060" y="1013688"/>
                  <a:pt x="301512" y="1016785"/>
                  <a:pt x="301512" y="1013688"/>
                </a:cubicBezTo>
                <a:cubicBezTo>
                  <a:pt x="294418" y="1013688"/>
                  <a:pt x="287324" y="1010590"/>
                  <a:pt x="280230" y="1007493"/>
                </a:cubicBezTo>
                <a:cubicBezTo>
                  <a:pt x="234116" y="982713"/>
                  <a:pt x="184455" y="930058"/>
                  <a:pt x="145436" y="880498"/>
                </a:cubicBezTo>
                <a:cubicBezTo>
                  <a:pt x="120605" y="849523"/>
                  <a:pt x="99322" y="815452"/>
                  <a:pt x="81586" y="781380"/>
                </a:cubicBezTo>
                <a:cubicBezTo>
                  <a:pt x="70945" y="765893"/>
                  <a:pt x="63850" y="747309"/>
                  <a:pt x="60303" y="731822"/>
                </a:cubicBezTo>
                <a:cubicBezTo>
                  <a:pt x="53209" y="713236"/>
                  <a:pt x="49660" y="700847"/>
                  <a:pt x="49660" y="685360"/>
                </a:cubicBezTo>
                <a:cubicBezTo>
                  <a:pt x="46114" y="679164"/>
                  <a:pt x="49660" y="672969"/>
                  <a:pt x="53209" y="669873"/>
                </a:cubicBezTo>
                <a:cubicBezTo>
                  <a:pt x="53209" y="666775"/>
                  <a:pt x="56755" y="663677"/>
                  <a:pt x="60303" y="660580"/>
                </a:cubicBezTo>
                <a:cubicBezTo>
                  <a:pt x="67397" y="657482"/>
                  <a:pt x="78039" y="663677"/>
                  <a:pt x="92227" y="666775"/>
                </a:cubicBezTo>
                <a:cubicBezTo>
                  <a:pt x="124153" y="679164"/>
                  <a:pt x="156077" y="707042"/>
                  <a:pt x="191549" y="731822"/>
                </a:cubicBezTo>
                <a:cubicBezTo>
                  <a:pt x="230568" y="756600"/>
                  <a:pt x="269588" y="784478"/>
                  <a:pt x="305060" y="812355"/>
                </a:cubicBezTo>
                <a:cubicBezTo>
                  <a:pt x="329890" y="827841"/>
                  <a:pt x="358267" y="849523"/>
                  <a:pt x="379552" y="852621"/>
                </a:cubicBezTo>
                <a:cubicBezTo>
                  <a:pt x="475325" y="865011"/>
                  <a:pt x="578194" y="964128"/>
                  <a:pt x="670422" y="967226"/>
                </a:cubicBezTo>
                <a:cubicBezTo>
                  <a:pt x="705893" y="967226"/>
                  <a:pt x="730724" y="979616"/>
                  <a:pt x="766196" y="1001298"/>
                </a:cubicBezTo>
                <a:cubicBezTo>
                  <a:pt x="798122" y="1022981"/>
                  <a:pt x="833592" y="1044662"/>
                  <a:pt x="865518" y="1060150"/>
                </a:cubicBezTo>
                <a:cubicBezTo>
                  <a:pt x="893895" y="1072539"/>
                  <a:pt x="925819" y="1078734"/>
                  <a:pt x="954198" y="1088026"/>
                </a:cubicBezTo>
                <a:cubicBezTo>
                  <a:pt x="971934" y="1094221"/>
                  <a:pt x="989670" y="1097319"/>
                  <a:pt x="1007407" y="1106612"/>
                </a:cubicBezTo>
                <a:cubicBezTo>
                  <a:pt x="1014501" y="1109708"/>
                  <a:pt x="1018049" y="1109708"/>
                  <a:pt x="1025143" y="1115904"/>
                </a:cubicBezTo>
                <a:cubicBezTo>
                  <a:pt x="1025143" y="1115904"/>
                  <a:pt x="1028691" y="1119001"/>
                  <a:pt x="1032237" y="1119001"/>
                </a:cubicBezTo>
                <a:cubicBezTo>
                  <a:pt x="1032237" y="1119001"/>
                  <a:pt x="1032237" y="1119001"/>
                  <a:pt x="1032237" y="1122099"/>
                </a:cubicBezTo>
                <a:cubicBezTo>
                  <a:pt x="1032237" y="1125195"/>
                  <a:pt x="1035785" y="1128293"/>
                  <a:pt x="1032237" y="1131392"/>
                </a:cubicBezTo>
                <a:cubicBezTo>
                  <a:pt x="1032237" y="1131392"/>
                  <a:pt x="1032237" y="1134488"/>
                  <a:pt x="1032237" y="1134488"/>
                </a:cubicBezTo>
                <a:cubicBezTo>
                  <a:pt x="1028691" y="1137586"/>
                  <a:pt x="1025143" y="1140683"/>
                  <a:pt x="1021596" y="1140683"/>
                </a:cubicBezTo>
                <a:cubicBezTo>
                  <a:pt x="1010955" y="1140683"/>
                  <a:pt x="996764" y="1137586"/>
                  <a:pt x="982576" y="1134488"/>
                </a:cubicBezTo>
                <a:cubicBezTo>
                  <a:pt x="943556" y="1119001"/>
                  <a:pt x="900990" y="1100417"/>
                  <a:pt x="858423" y="1081832"/>
                </a:cubicBezTo>
                <a:cubicBezTo>
                  <a:pt x="812310" y="1063246"/>
                  <a:pt x="766196" y="1044662"/>
                  <a:pt x="720082" y="1032272"/>
                </a:cubicBezTo>
                <a:cubicBezTo>
                  <a:pt x="705893" y="1026078"/>
                  <a:pt x="691705" y="1022981"/>
                  <a:pt x="673969" y="1022981"/>
                </a:cubicBezTo>
                <a:cubicBezTo>
                  <a:pt x="670422" y="1022981"/>
                  <a:pt x="663328" y="1022981"/>
                  <a:pt x="659779" y="1026078"/>
                </a:cubicBezTo>
                <a:cubicBezTo>
                  <a:pt x="656233" y="1029175"/>
                  <a:pt x="652686" y="1032272"/>
                  <a:pt x="649138" y="1035370"/>
                </a:cubicBezTo>
                <a:cubicBezTo>
                  <a:pt x="652686" y="1038468"/>
                  <a:pt x="652686" y="1038468"/>
                  <a:pt x="652686" y="1038468"/>
                </a:cubicBezTo>
                <a:cubicBezTo>
                  <a:pt x="652686" y="1038468"/>
                  <a:pt x="649138" y="1038468"/>
                  <a:pt x="649138" y="1038468"/>
                </a:cubicBezTo>
                <a:cubicBezTo>
                  <a:pt x="649138" y="1038468"/>
                  <a:pt x="652686" y="1038468"/>
                  <a:pt x="652686" y="1041565"/>
                </a:cubicBezTo>
                <a:cubicBezTo>
                  <a:pt x="656233" y="1047761"/>
                  <a:pt x="659779" y="1050857"/>
                  <a:pt x="663328" y="1050857"/>
                </a:cubicBezTo>
                <a:cubicBezTo>
                  <a:pt x="681064" y="1063246"/>
                  <a:pt x="695252" y="1072539"/>
                  <a:pt x="709441" y="1078734"/>
                </a:cubicBezTo>
                <a:cubicBezTo>
                  <a:pt x="755554" y="1103514"/>
                  <a:pt x="801668" y="1125195"/>
                  <a:pt x="847782" y="1146877"/>
                </a:cubicBezTo>
                <a:cubicBezTo>
                  <a:pt x="897442" y="1168561"/>
                  <a:pt x="943556" y="1190242"/>
                  <a:pt x="996764" y="1215022"/>
                </a:cubicBezTo>
                <a:cubicBezTo>
                  <a:pt x="1010955" y="1224315"/>
                  <a:pt x="1028691" y="1230510"/>
                  <a:pt x="1046427" y="1239801"/>
                </a:cubicBezTo>
                <a:cubicBezTo>
                  <a:pt x="1053520" y="1242899"/>
                  <a:pt x="1064161" y="1249093"/>
                  <a:pt x="1074804" y="1255288"/>
                </a:cubicBezTo>
                <a:cubicBezTo>
                  <a:pt x="1074804" y="1261484"/>
                  <a:pt x="1078351" y="1261484"/>
                  <a:pt x="1081899" y="1264581"/>
                </a:cubicBezTo>
                <a:cubicBezTo>
                  <a:pt x="1088992" y="1264581"/>
                  <a:pt x="1088992" y="1264581"/>
                  <a:pt x="1088992" y="1264581"/>
                </a:cubicBezTo>
                <a:cubicBezTo>
                  <a:pt x="1096087" y="1261484"/>
                  <a:pt x="1099635" y="1255288"/>
                  <a:pt x="1103182" y="1249093"/>
                </a:cubicBezTo>
                <a:cubicBezTo>
                  <a:pt x="1103182" y="1249093"/>
                  <a:pt x="1103182" y="1245997"/>
                  <a:pt x="1103182" y="1245997"/>
                </a:cubicBezTo>
                <a:cubicBezTo>
                  <a:pt x="1106728" y="1242899"/>
                  <a:pt x="1110276" y="1242899"/>
                  <a:pt x="1113823" y="1242899"/>
                </a:cubicBezTo>
                <a:cubicBezTo>
                  <a:pt x="1117370" y="1242899"/>
                  <a:pt x="1128012" y="1242899"/>
                  <a:pt x="1135106" y="1242899"/>
                </a:cubicBezTo>
                <a:cubicBezTo>
                  <a:pt x="1159937" y="1245997"/>
                  <a:pt x="1184767" y="1252191"/>
                  <a:pt x="1209597" y="1258386"/>
                </a:cubicBezTo>
                <a:cubicBezTo>
                  <a:pt x="1252164" y="1273873"/>
                  <a:pt x="1301825" y="1286263"/>
                  <a:pt x="1344391" y="1301751"/>
                </a:cubicBezTo>
                <a:cubicBezTo>
                  <a:pt x="1294731" y="1276971"/>
                  <a:pt x="1248617" y="1245997"/>
                  <a:pt x="1202503" y="1215022"/>
                </a:cubicBezTo>
                <a:cubicBezTo>
                  <a:pt x="1184767" y="1205730"/>
                  <a:pt x="1163483" y="1190242"/>
                  <a:pt x="1145749" y="1171658"/>
                </a:cubicBezTo>
                <a:cubicBezTo>
                  <a:pt x="1128012" y="1156170"/>
                  <a:pt x="1110276" y="1140683"/>
                  <a:pt x="1096087" y="1119001"/>
                </a:cubicBezTo>
                <a:cubicBezTo>
                  <a:pt x="1092540" y="1115904"/>
                  <a:pt x="1088992" y="1109708"/>
                  <a:pt x="1085446" y="1103514"/>
                </a:cubicBezTo>
                <a:cubicBezTo>
                  <a:pt x="1085446" y="1100417"/>
                  <a:pt x="1085446" y="1100417"/>
                  <a:pt x="1085446" y="1100417"/>
                </a:cubicBezTo>
                <a:cubicBezTo>
                  <a:pt x="1088992" y="1100417"/>
                  <a:pt x="1088992" y="1100417"/>
                  <a:pt x="1088992" y="1100417"/>
                </a:cubicBezTo>
                <a:cubicBezTo>
                  <a:pt x="1088992" y="1097319"/>
                  <a:pt x="1088992" y="1097319"/>
                  <a:pt x="1088992" y="1097319"/>
                </a:cubicBezTo>
                <a:cubicBezTo>
                  <a:pt x="1092540" y="1100417"/>
                  <a:pt x="1092540" y="1100417"/>
                  <a:pt x="1092540" y="1100417"/>
                </a:cubicBezTo>
                <a:cubicBezTo>
                  <a:pt x="1096087" y="1103514"/>
                  <a:pt x="1096087" y="1103514"/>
                  <a:pt x="1099635" y="1103514"/>
                </a:cubicBezTo>
                <a:cubicBezTo>
                  <a:pt x="1103182" y="1106612"/>
                  <a:pt x="1110276" y="1109708"/>
                  <a:pt x="1113823" y="1112806"/>
                </a:cubicBezTo>
                <a:cubicBezTo>
                  <a:pt x="1128012" y="1122099"/>
                  <a:pt x="1142201" y="1134488"/>
                  <a:pt x="1159937" y="1146877"/>
                </a:cubicBezTo>
                <a:cubicBezTo>
                  <a:pt x="1248617" y="1215022"/>
                  <a:pt x="1340844" y="1233606"/>
                  <a:pt x="1429525" y="1307946"/>
                </a:cubicBezTo>
                <a:cubicBezTo>
                  <a:pt x="1429525" y="1307946"/>
                  <a:pt x="1422430" y="1307946"/>
                  <a:pt x="1422430" y="1307946"/>
                </a:cubicBezTo>
                <a:cubicBezTo>
                  <a:pt x="1425977" y="1317237"/>
                  <a:pt x="1422430" y="1323433"/>
                  <a:pt x="1422430" y="1326530"/>
                </a:cubicBezTo>
                <a:cubicBezTo>
                  <a:pt x="1418882" y="1326530"/>
                  <a:pt x="1422430" y="1326530"/>
                  <a:pt x="1418882" y="1326530"/>
                </a:cubicBezTo>
                <a:cubicBezTo>
                  <a:pt x="1422430" y="1329628"/>
                  <a:pt x="1429525" y="1329628"/>
                  <a:pt x="1433071" y="1332724"/>
                </a:cubicBezTo>
                <a:cubicBezTo>
                  <a:pt x="1461449" y="1342017"/>
                  <a:pt x="1489826" y="1351310"/>
                  <a:pt x="1514657" y="1363699"/>
                </a:cubicBezTo>
                <a:cubicBezTo>
                  <a:pt x="1504016" y="1351310"/>
                  <a:pt x="1489826" y="1335822"/>
                  <a:pt x="1479185" y="1323433"/>
                </a:cubicBezTo>
                <a:cubicBezTo>
                  <a:pt x="1475637" y="1317237"/>
                  <a:pt x="1468543" y="1314140"/>
                  <a:pt x="1464997" y="1307946"/>
                </a:cubicBezTo>
                <a:cubicBezTo>
                  <a:pt x="1464997" y="1301751"/>
                  <a:pt x="1461449" y="1298653"/>
                  <a:pt x="1461449" y="1295555"/>
                </a:cubicBezTo>
                <a:cubicBezTo>
                  <a:pt x="1461449" y="1295555"/>
                  <a:pt x="1461449" y="1292459"/>
                  <a:pt x="1464997" y="1292459"/>
                </a:cubicBezTo>
                <a:cubicBezTo>
                  <a:pt x="1464997" y="1292459"/>
                  <a:pt x="1464997" y="1292459"/>
                  <a:pt x="1468543" y="1292459"/>
                </a:cubicBezTo>
                <a:cubicBezTo>
                  <a:pt x="1472090" y="1292459"/>
                  <a:pt x="1472090" y="1292459"/>
                  <a:pt x="1475637" y="1292459"/>
                </a:cubicBezTo>
                <a:cubicBezTo>
                  <a:pt x="1479185" y="1295555"/>
                  <a:pt x="1482731" y="1295555"/>
                  <a:pt x="1486280" y="1295555"/>
                </a:cubicBezTo>
                <a:cubicBezTo>
                  <a:pt x="1496921" y="1301751"/>
                  <a:pt x="1507562" y="1304848"/>
                  <a:pt x="1518205" y="1311043"/>
                </a:cubicBezTo>
                <a:cubicBezTo>
                  <a:pt x="1507562" y="1301751"/>
                  <a:pt x="1496921" y="1289361"/>
                  <a:pt x="1489826" y="1280068"/>
                </a:cubicBezTo>
                <a:cubicBezTo>
                  <a:pt x="1479185" y="1273873"/>
                  <a:pt x="1472090" y="1264581"/>
                  <a:pt x="1464997" y="1258386"/>
                </a:cubicBezTo>
                <a:cubicBezTo>
                  <a:pt x="1464997" y="1258386"/>
                  <a:pt x="1464997" y="1258386"/>
                  <a:pt x="1461449" y="1255288"/>
                </a:cubicBezTo>
                <a:cubicBezTo>
                  <a:pt x="1461449" y="1255288"/>
                  <a:pt x="1461449" y="1255288"/>
                  <a:pt x="1457902" y="1255288"/>
                </a:cubicBezTo>
                <a:cubicBezTo>
                  <a:pt x="1454354" y="1255288"/>
                  <a:pt x="1450807" y="1252191"/>
                  <a:pt x="1447259" y="1249093"/>
                </a:cubicBezTo>
                <a:cubicBezTo>
                  <a:pt x="1433071" y="1236704"/>
                  <a:pt x="1415335" y="1221217"/>
                  <a:pt x="1401146" y="1202632"/>
                </a:cubicBezTo>
                <a:cubicBezTo>
                  <a:pt x="1401146" y="1202632"/>
                  <a:pt x="1397599" y="1199535"/>
                  <a:pt x="1397599" y="1199535"/>
                </a:cubicBezTo>
                <a:cubicBezTo>
                  <a:pt x="1397599" y="1196437"/>
                  <a:pt x="1394051" y="1196437"/>
                  <a:pt x="1390504" y="1193339"/>
                </a:cubicBezTo>
                <a:cubicBezTo>
                  <a:pt x="1369221" y="1180950"/>
                  <a:pt x="1347939" y="1168561"/>
                  <a:pt x="1323108" y="1159268"/>
                </a:cubicBezTo>
                <a:cubicBezTo>
                  <a:pt x="1294731" y="1146877"/>
                  <a:pt x="1266353" y="1137586"/>
                  <a:pt x="1234428" y="1128293"/>
                </a:cubicBezTo>
                <a:cubicBezTo>
                  <a:pt x="1230881" y="1128293"/>
                  <a:pt x="1227333" y="1128293"/>
                  <a:pt x="1223786" y="1125195"/>
                </a:cubicBezTo>
                <a:cubicBezTo>
                  <a:pt x="1220240" y="1125195"/>
                  <a:pt x="1216692" y="1122099"/>
                  <a:pt x="1213145" y="1119001"/>
                </a:cubicBezTo>
                <a:cubicBezTo>
                  <a:pt x="1206050" y="1115904"/>
                  <a:pt x="1198955" y="1109708"/>
                  <a:pt x="1188314" y="1103514"/>
                </a:cubicBezTo>
                <a:cubicBezTo>
                  <a:pt x="1174126" y="1091124"/>
                  <a:pt x="1159937" y="1075637"/>
                  <a:pt x="1149295" y="1060150"/>
                </a:cubicBezTo>
                <a:cubicBezTo>
                  <a:pt x="1138654" y="1050857"/>
                  <a:pt x="1128012" y="1035370"/>
                  <a:pt x="1124464" y="1022981"/>
                </a:cubicBezTo>
                <a:cubicBezTo>
                  <a:pt x="1120918" y="1016785"/>
                  <a:pt x="1120918" y="1013688"/>
                  <a:pt x="1120918" y="1010590"/>
                </a:cubicBezTo>
                <a:cubicBezTo>
                  <a:pt x="1120918" y="1007493"/>
                  <a:pt x="1124464" y="1007493"/>
                  <a:pt x="1124464" y="1007493"/>
                </a:cubicBezTo>
                <a:cubicBezTo>
                  <a:pt x="1085446" y="979616"/>
                  <a:pt x="1049973" y="948641"/>
                  <a:pt x="1010955" y="920765"/>
                </a:cubicBezTo>
                <a:cubicBezTo>
                  <a:pt x="993217" y="905278"/>
                  <a:pt x="975481" y="889790"/>
                  <a:pt x="957745" y="871205"/>
                </a:cubicBezTo>
                <a:cubicBezTo>
                  <a:pt x="943556" y="855718"/>
                  <a:pt x="929367" y="837134"/>
                  <a:pt x="918726" y="815452"/>
                </a:cubicBezTo>
                <a:cubicBezTo>
                  <a:pt x="915178" y="812355"/>
                  <a:pt x="908085" y="803062"/>
                  <a:pt x="908085" y="796867"/>
                </a:cubicBezTo>
                <a:cubicBezTo>
                  <a:pt x="908085" y="796867"/>
                  <a:pt x="908085" y="796867"/>
                  <a:pt x="908085" y="793769"/>
                </a:cubicBezTo>
                <a:cubicBezTo>
                  <a:pt x="911631" y="793769"/>
                  <a:pt x="911631" y="793769"/>
                  <a:pt x="911631" y="793769"/>
                </a:cubicBezTo>
                <a:cubicBezTo>
                  <a:pt x="915178" y="793769"/>
                  <a:pt x="915178" y="796867"/>
                  <a:pt x="915178" y="796867"/>
                </a:cubicBezTo>
                <a:cubicBezTo>
                  <a:pt x="918726" y="796867"/>
                  <a:pt x="918726" y="799965"/>
                  <a:pt x="918726" y="799965"/>
                </a:cubicBezTo>
                <a:cubicBezTo>
                  <a:pt x="925819" y="803062"/>
                  <a:pt x="929367" y="806160"/>
                  <a:pt x="932914" y="812355"/>
                </a:cubicBezTo>
                <a:cubicBezTo>
                  <a:pt x="943556" y="824743"/>
                  <a:pt x="961291" y="837134"/>
                  <a:pt x="971934" y="849523"/>
                </a:cubicBezTo>
                <a:cubicBezTo>
                  <a:pt x="1053520" y="926960"/>
                  <a:pt x="1142201" y="954836"/>
                  <a:pt x="1220240" y="1035370"/>
                </a:cubicBezTo>
                <a:cubicBezTo>
                  <a:pt x="1216692" y="1035370"/>
                  <a:pt x="1216692" y="1035370"/>
                  <a:pt x="1213145" y="1035370"/>
                </a:cubicBezTo>
                <a:cubicBezTo>
                  <a:pt x="1213145" y="1038468"/>
                  <a:pt x="1213145" y="1038468"/>
                  <a:pt x="1213145" y="1041565"/>
                </a:cubicBezTo>
                <a:cubicBezTo>
                  <a:pt x="1237976" y="1053955"/>
                  <a:pt x="1262805" y="1066344"/>
                  <a:pt x="1287636" y="1075637"/>
                </a:cubicBezTo>
                <a:cubicBezTo>
                  <a:pt x="1308919" y="1088026"/>
                  <a:pt x="1330201" y="1097319"/>
                  <a:pt x="1355032" y="1106612"/>
                </a:cubicBezTo>
                <a:cubicBezTo>
                  <a:pt x="1326655" y="1078734"/>
                  <a:pt x="1301825" y="1044662"/>
                  <a:pt x="1276994" y="1013688"/>
                </a:cubicBezTo>
                <a:cubicBezTo>
                  <a:pt x="1248617" y="976519"/>
                  <a:pt x="1220240" y="948641"/>
                  <a:pt x="1188314" y="920765"/>
                </a:cubicBezTo>
                <a:cubicBezTo>
                  <a:pt x="1170578" y="902180"/>
                  <a:pt x="1149295" y="889790"/>
                  <a:pt x="1128012" y="877401"/>
                </a:cubicBezTo>
                <a:cubicBezTo>
                  <a:pt x="1099635" y="861914"/>
                  <a:pt x="1074804" y="849523"/>
                  <a:pt x="1046427" y="840231"/>
                </a:cubicBezTo>
                <a:cubicBezTo>
                  <a:pt x="1042879" y="840231"/>
                  <a:pt x="1039332" y="837134"/>
                  <a:pt x="1039332" y="834036"/>
                </a:cubicBezTo>
                <a:cubicBezTo>
                  <a:pt x="1032237" y="834036"/>
                  <a:pt x="1032237" y="830939"/>
                  <a:pt x="1025143" y="827841"/>
                </a:cubicBezTo>
                <a:cubicBezTo>
                  <a:pt x="1018049" y="824743"/>
                  <a:pt x="1010955" y="815452"/>
                  <a:pt x="1007407" y="812355"/>
                </a:cubicBezTo>
                <a:cubicBezTo>
                  <a:pt x="993217" y="796867"/>
                  <a:pt x="979028" y="781380"/>
                  <a:pt x="968386" y="765893"/>
                </a:cubicBezTo>
                <a:cubicBezTo>
                  <a:pt x="961291" y="753503"/>
                  <a:pt x="950650" y="738016"/>
                  <a:pt x="950650" y="725626"/>
                </a:cubicBezTo>
                <a:cubicBezTo>
                  <a:pt x="947104" y="722529"/>
                  <a:pt x="947104" y="716334"/>
                  <a:pt x="950650" y="716334"/>
                </a:cubicBezTo>
                <a:cubicBezTo>
                  <a:pt x="950650" y="713236"/>
                  <a:pt x="950650" y="713236"/>
                  <a:pt x="954198" y="713236"/>
                </a:cubicBezTo>
                <a:cubicBezTo>
                  <a:pt x="957745" y="713236"/>
                  <a:pt x="957745" y="713236"/>
                  <a:pt x="957745" y="713236"/>
                </a:cubicBezTo>
                <a:cubicBezTo>
                  <a:pt x="964840" y="716334"/>
                  <a:pt x="971934" y="719431"/>
                  <a:pt x="975481" y="722529"/>
                </a:cubicBezTo>
                <a:cubicBezTo>
                  <a:pt x="986122" y="728724"/>
                  <a:pt x="996764" y="731822"/>
                  <a:pt x="1007407" y="738016"/>
                </a:cubicBezTo>
                <a:cubicBezTo>
                  <a:pt x="1039332" y="756600"/>
                  <a:pt x="1067709" y="775185"/>
                  <a:pt x="1099635" y="793769"/>
                </a:cubicBezTo>
                <a:cubicBezTo>
                  <a:pt x="1184767" y="846426"/>
                  <a:pt x="1266353" y="899083"/>
                  <a:pt x="1351486" y="945544"/>
                </a:cubicBezTo>
                <a:cubicBezTo>
                  <a:pt x="1355032" y="948641"/>
                  <a:pt x="1362127" y="951739"/>
                  <a:pt x="1362127" y="951739"/>
                </a:cubicBezTo>
                <a:cubicBezTo>
                  <a:pt x="1358580" y="942447"/>
                  <a:pt x="1358580" y="933154"/>
                  <a:pt x="1362127" y="926960"/>
                </a:cubicBezTo>
                <a:cubicBezTo>
                  <a:pt x="1365674" y="920765"/>
                  <a:pt x="1372768" y="917667"/>
                  <a:pt x="1379863" y="914570"/>
                </a:cubicBezTo>
                <a:cubicBezTo>
                  <a:pt x="1386956" y="914570"/>
                  <a:pt x="1394051" y="914570"/>
                  <a:pt x="1404694" y="917667"/>
                </a:cubicBezTo>
                <a:cubicBezTo>
                  <a:pt x="1383410" y="899083"/>
                  <a:pt x="1358580" y="883596"/>
                  <a:pt x="1340844" y="865011"/>
                </a:cubicBezTo>
                <a:cubicBezTo>
                  <a:pt x="1298277" y="834036"/>
                  <a:pt x="1252164" y="793769"/>
                  <a:pt x="1213145" y="747309"/>
                </a:cubicBezTo>
                <a:cubicBezTo>
                  <a:pt x="1198955" y="731822"/>
                  <a:pt x="1188314" y="713236"/>
                  <a:pt x="1181221" y="694651"/>
                </a:cubicBezTo>
                <a:cubicBezTo>
                  <a:pt x="1170578" y="679164"/>
                  <a:pt x="1170578" y="666775"/>
                  <a:pt x="1177673" y="657482"/>
                </a:cubicBezTo>
                <a:cubicBezTo>
                  <a:pt x="1181221" y="651288"/>
                  <a:pt x="1184767" y="648190"/>
                  <a:pt x="1191861" y="648190"/>
                </a:cubicBezTo>
                <a:cubicBezTo>
                  <a:pt x="1198955" y="648190"/>
                  <a:pt x="1206050" y="648190"/>
                  <a:pt x="1216692" y="651288"/>
                </a:cubicBezTo>
                <a:cubicBezTo>
                  <a:pt x="1241522" y="657482"/>
                  <a:pt x="1269900" y="669873"/>
                  <a:pt x="1301825" y="682262"/>
                </a:cubicBezTo>
                <a:cubicBezTo>
                  <a:pt x="1566757" y="910699"/>
                  <a:pt x="2065859" y="1065026"/>
                  <a:pt x="2680813" y="1139574"/>
                </a:cubicBezTo>
                <a:lnTo>
                  <a:pt x="2791519" y="1149751"/>
                </a:lnTo>
                <a:lnTo>
                  <a:pt x="2737786" y="1087636"/>
                </a:lnTo>
                <a:cubicBezTo>
                  <a:pt x="2727209" y="1078320"/>
                  <a:pt x="2720157" y="1065899"/>
                  <a:pt x="2713106" y="1050371"/>
                </a:cubicBezTo>
                <a:cubicBezTo>
                  <a:pt x="2702529" y="1034845"/>
                  <a:pt x="2695476" y="1019319"/>
                  <a:pt x="2688425" y="1000687"/>
                </a:cubicBezTo>
                <a:cubicBezTo>
                  <a:pt x="2684899" y="997582"/>
                  <a:pt x="2681374" y="988265"/>
                  <a:pt x="2681374" y="982054"/>
                </a:cubicBezTo>
                <a:cubicBezTo>
                  <a:pt x="2681374" y="982054"/>
                  <a:pt x="2681374" y="982054"/>
                  <a:pt x="2677848" y="978949"/>
                </a:cubicBezTo>
                <a:cubicBezTo>
                  <a:pt x="2677848" y="978949"/>
                  <a:pt x="2677848" y="978949"/>
                  <a:pt x="2681374" y="978949"/>
                </a:cubicBezTo>
                <a:cubicBezTo>
                  <a:pt x="2681374" y="978949"/>
                  <a:pt x="2681374" y="978949"/>
                  <a:pt x="2684899" y="978949"/>
                </a:cubicBezTo>
                <a:cubicBezTo>
                  <a:pt x="2684899" y="982054"/>
                  <a:pt x="2688425" y="985160"/>
                  <a:pt x="2688425" y="988265"/>
                </a:cubicBezTo>
                <a:cubicBezTo>
                  <a:pt x="2699002" y="997582"/>
                  <a:pt x="2702529" y="1006897"/>
                  <a:pt x="2709579" y="1016213"/>
                </a:cubicBezTo>
                <a:cubicBezTo>
                  <a:pt x="2744837" y="1069004"/>
                  <a:pt x="2783621" y="1081425"/>
                  <a:pt x="2818878" y="1137321"/>
                </a:cubicBezTo>
                <a:cubicBezTo>
                  <a:pt x="2818878" y="1137321"/>
                  <a:pt x="2815352" y="1140427"/>
                  <a:pt x="2815352" y="1140427"/>
                </a:cubicBezTo>
                <a:lnTo>
                  <a:pt x="2817570" y="1152146"/>
                </a:lnTo>
                <a:lnTo>
                  <a:pt x="2867012" y="1156691"/>
                </a:lnTo>
                <a:lnTo>
                  <a:pt x="2830172" y="1084930"/>
                </a:lnTo>
                <a:cubicBezTo>
                  <a:pt x="2815982" y="1060150"/>
                  <a:pt x="2801794" y="1032272"/>
                  <a:pt x="2784058" y="1007493"/>
                </a:cubicBezTo>
                <a:cubicBezTo>
                  <a:pt x="2776964" y="998201"/>
                  <a:pt x="2766322" y="992006"/>
                  <a:pt x="2759227" y="982713"/>
                </a:cubicBezTo>
                <a:cubicBezTo>
                  <a:pt x="2745039" y="976519"/>
                  <a:pt x="2737945" y="973421"/>
                  <a:pt x="2727303" y="973421"/>
                </a:cubicBezTo>
                <a:cubicBezTo>
                  <a:pt x="2723755" y="970323"/>
                  <a:pt x="2723755" y="970323"/>
                  <a:pt x="2723755" y="970323"/>
                </a:cubicBezTo>
                <a:cubicBezTo>
                  <a:pt x="2720209" y="970323"/>
                  <a:pt x="2720209" y="970323"/>
                  <a:pt x="2720209" y="967226"/>
                </a:cubicBezTo>
                <a:cubicBezTo>
                  <a:pt x="2716660" y="964128"/>
                  <a:pt x="2713114" y="957934"/>
                  <a:pt x="2706019" y="954836"/>
                </a:cubicBezTo>
                <a:cubicBezTo>
                  <a:pt x="2702472" y="942447"/>
                  <a:pt x="2695378" y="926960"/>
                  <a:pt x="2688283" y="914570"/>
                </a:cubicBezTo>
                <a:cubicBezTo>
                  <a:pt x="2681190" y="902180"/>
                  <a:pt x="2674095" y="886692"/>
                  <a:pt x="2670547" y="874304"/>
                </a:cubicBezTo>
                <a:cubicBezTo>
                  <a:pt x="2670547" y="871205"/>
                  <a:pt x="2667000" y="865011"/>
                  <a:pt x="2667000" y="861914"/>
                </a:cubicBezTo>
                <a:cubicBezTo>
                  <a:pt x="2667000" y="858816"/>
                  <a:pt x="2667000" y="858816"/>
                  <a:pt x="2670547" y="855718"/>
                </a:cubicBezTo>
                <a:cubicBezTo>
                  <a:pt x="2674095" y="855718"/>
                  <a:pt x="2677642" y="855718"/>
                  <a:pt x="2677642" y="858816"/>
                </a:cubicBezTo>
                <a:cubicBezTo>
                  <a:pt x="2681190" y="858816"/>
                  <a:pt x="2688283" y="861914"/>
                  <a:pt x="2691831" y="865011"/>
                </a:cubicBezTo>
                <a:cubicBezTo>
                  <a:pt x="2706019" y="874304"/>
                  <a:pt x="2716660" y="883596"/>
                  <a:pt x="2730850" y="892887"/>
                </a:cubicBezTo>
                <a:cubicBezTo>
                  <a:pt x="2762775" y="917667"/>
                  <a:pt x="2798246" y="945544"/>
                  <a:pt x="2833718" y="973421"/>
                </a:cubicBezTo>
                <a:cubicBezTo>
                  <a:pt x="2869190" y="995103"/>
                  <a:pt x="2901116" y="1019883"/>
                  <a:pt x="2933040" y="1044662"/>
                </a:cubicBezTo>
                <a:cubicBezTo>
                  <a:pt x="2943681" y="1053955"/>
                  <a:pt x="2954324" y="1060150"/>
                  <a:pt x="2964966" y="1066344"/>
                </a:cubicBezTo>
                <a:cubicBezTo>
                  <a:pt x="2968512" y="1066344"/>
                  <a:pt x="2972060" y="1069442"/>
                  <a:pt x="2972060" y="1069442"/>
                </a:cubicBezTo>
                <a:cubicBezTo>
                  <a:pt x="2975607" y="1069442"/>
                  <a:pt x="2975607" y="1069442"/>
                  <a:pt x="2975607" y="1069442"/>
                </a:cubicBezTo>
                <a:cubicBezTo>
                  <a:pt x="2975607" y="1066344"/>
                  <a:pt x="2975607" y="1066344"/>
                  <a:pt x="2975607" y="1066344"/>
                </a:cubicBezTo>
                <a:cubicBezTo>
                  <a:pt x="2975607" y="1047761"/>
                  <a:pt x="2975607" y="1035370"/>
                  <a:pt x="2972060" y="1016785"/>
                </a:cubicBezTo>
                <a:cubicBezTo>
                  <a:pt x="2972060" y="1013688"/>
                  <a:pt x="2968512" y="1016785"/>
                  <a:pt x="2968512" y="1013688"/>
                </a:cubicBezTo>
                <a:cubicBezTo>
                  <a:pt x="2961418" y="1013688"/>
                  <a:pt x="2954324" y="1010590"/>
                  <a:pt x="2947230" y="1007493"/>
                </a:cubicBezTo>
                <a:cubicBezTo>
                  <a:pt x="2901116" y="982713"/>
                  <a:pt x="2851455" y="930058"/>
                  <a:pt x="2812436" y="880498"/>
                </a:cubicBezTo>
                <a:cubicBezTo>
                  <a:pt x="2787605" y="849523"/>
                  <a:pt x="2766322" y="815452"/>
                  <a:pt x="2748586" y="781380"/>
                </a:cubicBezTo>
                <a:cubicBezTo>
                  <a:pt x="2737945" y="765893"/>
                  <a:pt x="2730850" y="747309"/>
                  <a:pt x="2727303" y="731822"/>
                </a:cubicBezTo>
                <a:cubicBezTo>
                  <a:pt x="2720209" y="713236"/>
                  <a:pt x="2716660" y="700847"/>
                  <a:pt x="2716660" y="685360"/>
                </a:cubicBezTo>
                <a:cubicBezTo>
                  <a:pt x="2713114" y="679164"/>
                  <a:pt x="2716660" y="672969"/>
                  <a:pt x="2720209" y="669873"/>
                </a:cubicBezTo>
                <a:cubicBezTo>
                  <a:pt x="2720209" y="666775"/>
                  <a:pt x="2723755" y="663677"/>
                  <a:pt x="2727303" y="660580"/>
                </a:cubicBezTo>
                <a:cubicBezTo>
                  <a:pt x="2734397" y="657482"/>
                  <a:pt x="2745039" y="663677"/>
                  <a:pt x="2759227" y="666775"/>
                </a:cubicBezTo>
                <a:cubicBezTo>
                  <a:pt x="2791153" y="679164"/>
                  <a:pt x="2823077" y="707042"/>
                  <a:pt x="2858549" y="731822"/>
                </a:cubicBezTo>
                <a:cubicBezTo>
                  <a:pt x="2897568" y="756600"/>
                  <a:pt x="2936588" y="784478"/>
                  <a:pt x="2972060" y="812355"/>
                </a:cubicBezTo>
                <a:cubicBezTo>
                  <a:pt x="2996890" y="827841"/>
                  <a:pt x="3025267" y="849523"/>
                  <a:pt x="3046552" y="852621"/>
                </a:cubicBezTo>
                <a:cubicBezTo>
                  <a:pt x="3142325" y="865011"/>
                  <a:pt x="3245194" y="964128"/>
                  <a:pt x="3337422" y="967226"/>
                </a:cubicBezTo>
                <a:cubicBezTo>
                  <a:pt x="3372893" y="967226"/>
                  <a:pt x="3397724" y="979616"/>
                  <a:pt x="3433196" y="1001298"/>
                </a:cubicBezTo>
                <a:cubicBezTo>
                  <a:pt x="3465122" y="1022981"/>
                  <a:pt x="3500592" y="1044662"/>
                  <a:pt x="3532518" y="1060150"/>
                </a:cubicBezTo>
                <a:cubicBezTo>
                  <a:pt x="3560895" y="1072539"/>
                  <a:pt x="3592819" y="1078734"/>
                  <a:pt x="3621198" y="1088026"/>
                </a:cubicBezTo>
                <a:cubicBezTo>
                  <a:pt x="3638934" y="1094221"/>
                  <a:pt x="3656670" y="1097319"/>
                  <a:pt x="3674407" y="1106612"/>
                </a:cubicBezTo>
                <a:cubicBezTo>
                  <a:pt x="3681501" y="1109708"/>
                  <a:pt x="3685049" y="1109708"/>
                  <a:pt x="3692143" y="1115904"/>
                </a:cubicBezTo>
                <a:cubicBezTo>
                  <a:pt x="3692143" y="1115904"/>
                  <a:pt x="3695691" y="1119001"/>
                  <a:pt x="3699237" y="1119001"/>
                </a:cubicBezTo>
                <a:cubicBezTo>
                  <a:pt x="3699237" y="1119001"/>
                  <a:pt x="3699237" y="1119001"/>
                  <a:pt x="3699237" y="1122099"/>
                </a:cubicBezTo>
                <a:cubicBezTo>
                  <a:pt x="3699237" y="1125195"/>
                  <a:pt x="3702785" y="1128293"/>
                  <a:pt x="3699237" y="1131392"/>
                </a:cubicBezTo>
                <a:cubicBezTo>
                  <a:pt x="3699237" y="1131392"/>
                  <a:pt x="3699237" y="1134488"/>
                  <a:pt x="3699237" y="1134488"/>
                </a:cubicBezTo>
                <a:cubicBezTo>
                  <a:pt x="3695691" y="1137586"/>
                  <a:pt x="3692143" y="1140683"/>
                  <a:pt x="3688596" y="1140683"/>
                </a:cubicBezTo>
                <a:cubicBezTo>
                  <a:pt x="3677955" y="1140683"/>
                  <a:pt x="3663764" y="1137586"/>
                  <a:pt x="3649576" y="1134488"/>
                </a:cubicBezTo>
                <a:cubicBezTo>
                  <a:pt x="3610556" y="1119001"/>
                  <a:pt x="3567990" y="1100417"/>
                  <a:pt x="3525423" y="1081832"/>
                </a:cubicBezTo>
                <a:cubicBezTo>
                  <a:pt x="3479310" y="1063246"/>
                  <a:pt x="3433196" y="1044662"/>
                  <a:pt x="3387082" y="1032272"/>
                </a:cubicBezTo>
                <a:cubicBezTo>
                  <a:pt x="3372893" y="1026078"/>
                  <a:pt x="3358705" y="1022981"/>
                  <a:pt x="3340969" y="1022981"/>
                </a:cubicBezTo>
                <a:cubicBezTo>
                  <a:pt x="3337422" y="1022981"/>
                  <a:pt x="3330328" y="1022981"/>
                  <a:pt x="3326779" y="1026078"/>
                </a:cubicBezTo>
                <a:cubicBezTo>
                  <a:pt x="3323233" y="1029175"/>
                  <a:pt x="3319686" y="1032272"/>
                  <a:pt x="3316138" y="1035370"/>
                </a:cubicBezTo>
                <a:cubicBezTo>
                  <a:pt x="3319686" y="1038468"/>
                  <a:pt x="3319686" y="1038468"/>
                  <a:pt x="3319686" y="1038468"/>
                </a:cubicBezTo>
                <a:cubicBezTo>
                  <a:pt x="3319686" y="1038468"/>
                  <a:pt x="3316138" y="1038468"/>
                  <a:pt x="3316138" y="1038468"/>
                </a:cubicBezTo>
                <a:cubicBezTo>
                  <a:pt x="3316138" y="1038468"/>
                  <a:pt x="3319686" y="1038468"/>
                  <a:pt x="3319686" y="1041565"/>
                </a:cubicBezTo>
                <a:cubicBezTo>
                  <a:pt x="3323233" y="1047761"/>
                  <a:pt x="3326779" y="1050857"/>
                  <a:pt x="3330328" y="1050857"/>
                </a:cubicBezTo>
                <a:cubicBezTo>
                  <a:pt x="3348064" y="1063246"/>
                  <a:pt x="3362252" y="1072539"/>
                  <a:pt x="3376441" y="1078734"/>
                </a:cubicBezTo>
                <a:cubicBezTo>
                  <a:pt x="3422554" y="1103514"/>
                  <a:pt x="3468668" y="1125195"/>
                  <a:pt x="3514782" y="1146877"/>
                </a:cubicBezTo>
                <a:lnTo>
                  <a:pt x="3606959" y="1189039"/>
                </a:lnTo>
                <a:lnTo>
                  <a:pt x="3829954" y="1186917"/>
                </a:lnTo>
                <a:lnTo>
                  <a:pt x="3812749" y="1171658"/>
                </a:lnTo>
                <a:cubicBezTo>
                  <a:pt x="3795012" y="1156170"/>
                  <a:pt x="3777276" y="1140683"/>
                  <a:pt x="3763087" y="1119001"/>
                </a:cubicBezTo>
                <a:cubicBezTo>
                  <a:pt x="3759540" y="1115904"/>
                  <a:pt x="3755992" y="1109708"/>
                  <a:pt x="3752446" y="1103514"/>
                </a:cubicBezTo>
                <a:cubicBezTo>
                  <a:pt x="3752446" y="1100417"/>
                  <a:pt x="3752446" y="1100417"/>
                  <a:pt x="3752446" y="1100417"/>
                </a:cubicBezTo>
                <a:cubicBezTo>
                  <a:pt x="3755992" y="1100417"/>
                  <a:pt x="3755992" y="1100417"/>
                  <a:pt x="3755992" y="1100417"/>
                </a:cubicBezTo>
                <a:cubicBezTo>
                  <a:pt x="3755992" y="1097319"/>
                  <a:pt x="3755992" y="1097319"/>
                  <a:pt x="3755992" y="1097319"/>
                </a:cubicBezTo>
                <a:cubicBezTo>
                  <a:pt x="3759540" y="1100417"/>
                  <a:pt x="3759540" y="1100417"/>
                  <a:pt x="3759540" y="1100417"/>
                </a:cubicBezTo>
                <a:cubicBezTo>
                  <a:pt x="3763087" y="1103514"/>
                  <a:pt x="3763087" y="1103514"/>
                  <a:pt x="3766635" y="1103514"/>
                </a:cubicBezTo>
                <a:cubicBezTo>
                  <a:pt x="3770182" y="1106612"/>
                  <a:pt x="3777276" y="1109708"/>
                  <a:pt x="3780823" y="1112806"/>
                </a:cubicBezTo>
                <a:cubicBezTo>
                  <a:pt x="3795012" y="1122099"/>
                  <a:pt x="3809201" y="1134488"/>
                  <a:pt x="3826937" y="1146877"/>
                </a:cubicBezTo>
                <a:lnTo>
                  <a:pt x="3887833" y="1186341"/>
                </a:lnTo>
                <a:lnTo>
                  <a:pt x="4028229" y="1178539"/>
                </a:lnTo>
                <a:lnTo>
                  <a:pt x="3990108" y="1159268"/>
                </a:lnTo>
                <a:cubicBezTo>
                  <a:pt x="3961731" y="1146877"/>
                  <a:pt x="3933353" y="1137586"/>
                  <a:pt x="3901428" y="1128293"/>
                </a:cubicBezTo>
                <a:cubicBezTo>
                  <a:pt x="3897881" y="1128293"/>
                  <a:pt x="3894333" y="1128293"/>
                  <a:pt x="3890786" y="1125195"/>
                </a:cubicBezTo>
                <a:cubicBezTo>
                  <a:pt x="3887240" y="1125195"/>
                  <a:pt x="3883692" y="1122099"/>
                  <a:pt x="3880145" y="1119001"/>
                </a:cubicBezTo>
                <a:cubicBezTo>
                  <a:pt x="3873050" y="1115904"/>
                  <a:pt x="3865955" y="1109708"/>
                  <a:pt x="3855314" y="1103514"/>
                </a:cubicBezTo>
                <a:cubicBezTo>
                  <a:pt x="3841126" y="1091124"/>
                  <a:pt x="3826937" y="1075637"/>
                  <a:pt x="3816295" y="1060150"/>
                </a:cubicBezTo>
                <a:cubicBezTo>
                  <a:pt x="3805654" y="1050857"/>
                  <a:pt x="3795012" y="1035370"/>
                  <a:pt x="3791464" y="1022981"/>
                </a:cubicBezTo>
                <a:cubicBezTo>
                  <a:pt x="3787918" y="1016785"/>
                  <a:pt x="3787918" y="1013688"/>
                  <a:pt x="3787918" y="1010590"/>
                </a:cubicBezTo>
                <a:cubicBezTo>
                  <a:pt x="3787918" y="1007493"/>
                  <a:pt x="3791464" y="1007493"/>
                  <a:pt x="3791464" y="1007493"/>
                </a:cubicBezTo>
                <a:cubicBezTo>
                  <a:pt x="3752446" y="979616"/>
                  <a:pt x="3716973" y="948641"/>
                  <a:pt x="3677955" y="920765"/>
                </a:cubicBezTo>
                <a:cubicBezTo>
                  <a:pt x="3660217" y="905278"/>
                  <a:pt x="3642481" y="889790"/>
                  <a:pt x="3624745" y="871205"/>
                </a:cubicBezTo>
                <a:cubicBezTo>
                  <a:pt x="3610556" y="855718"/>
                  <a:pt x="3596367" y="837134"/>
                  <a:pt x="3585726" y="815452"/>
                </a:cubicBezTo>
                <a:cubicBezTo>
                  <a:pt x="3582178" y="812355"/>
                  <a:pt x="3575085" y="803062"/>
                  <a:pt x="3575085" y="796867"/>
                </a:cubicBezTo>
                <a:cubicBezTo>
                  <a:pt x="3575085" y="796867"/>
                  <a:pt x="3575085" y="796867"/>
                  <a:pt x="3575085" y="793769"/>
                </a:cubicBezTo>
                <a:cubicBezTo>
                  <a:pt x="3578631" y="793769"/>
                  <a:pt x="3578631" y="793769"/>
                  <a:pt x="3578631" y="793769"/>
                </a:cubicBezTo>
                <a:cubicBezTo>
                  <a:pt x="3582178" y="793769"/>
                  <a:pt x="3582178" y="796867"/>
                  <a:pt x="3582178" y="796867"/>
                </a:cubicBezTo>
                <a:cubicBezTo>
                  <a:pt x="3585726" y="796867"/>
                  <a:pt x="3585726" y="799965"/>
                  <a:pt x="3585726" y="799965"/>
                </a:cubicBezTo>
                <a:cubicBezTo>
                  <a:pt x="3592819" y="803062"/>
                  <a:pt x="3596367" y="806160"/>
                  <a:pt x="3599914" y="812355"/>
                </a:cubicBezTo>
                <a:cubicBezTo>
                  <a:pt x="3610556" y="824743"/>
                  <a:pt x="3628291" y="837134"/>
                  <a:pt x="3638934" y="849523"/>
                </a:cubicBezTo>
                <a:cubicBezTo>
                  <a:pt x="3720520" y="926960"/>
                  <a:pt x="3809201" y="954836"/>
                  <a:pt x="3887240" y="1035370"/>
                </a:cubicBezTo>
                <a:cubicBezTo>
                  <a:pt x="3883692" y="1035370"/>
                  <a:pt x="3883692" y="1035370"/>
                  <a:pt x="3880145" y="1035370"/>
                </a:cubicBezTo>
                <a:cubicBezTo>
                  <a:pt x="3880145" y="1038468"/>
                  <a:pt x="3880145" y="1038468"/>
                  <a:pt x="3880145" y="1041565"/>
                </a:cubicBezTo>
                <a:cubicBezTo>
                  <a:pt x="3904976" y="1053955"/>
                  <a:pt x="3929805" y="1066344"/>
                  <a:pt x="3954636" y="1075637"/>
                </a:cubicBezTo>
                <a:cubicBezTo>
                  <a:pt x="3975919" y="1088026"/>
                  <a:pt x="3997201" y="1097319"/>
                  <a:pt x="4022032" y="1106612"/>
                </a:cubicBezTo>
                <a:cubicBezTo>
                  <a:pt x="3993655" y="1078734"/>
                  <a:pt x="3968825" y="1044662"/>
                  <a:pt x="3943994" y="1013688"/>
                </a:cubicBezTo>
                <a:cubicBezTo>
                  <a:pt x="3915617" y="976519"/>
                  <a:pt x="3887240" y="948641"/>
                  <a:pt x="3855314" y="920765"/>
                </a:cubicBezTo>
                <a:cubicBezTo>
                  <a:pt x="3837578" y="902180"/>
                  <a:pt x="3816295" y="889790"/>
                  <a:pt x="3795012" y="877401"/>
                </a:cubicBezTo>
                <a:cubicBezTo>
                  <a:pt x="3766635" y="861914"/>
                  <a:pt x="3741804" y="849523"/>
                  <a:pt x="3713427" y="840231"/>
                </a:cubicBezTo>
                <a:cubicBezTo>
                  <a:pt x="3709879" y="840231"/>
                  <a:pt x="3706332" y="837134"/>
                  <a:pt x="3706332" y="834036"/>
                </a:cubicBezTo>
                <a:cubicBezTo>
                  <a:pt x="3699237" y="834036"/>
                  <a:pt x="3699237" y="830939"/>
                  <a:pt x="3692143" y="827841"/>
                </a:cubicBezTo>
                <a:cubicBezTo>
                  <a:pt x="3685049" y="824743"/>
                  <a:pt x="3677955" y="815452"/>
                  <a:pt x="3674407" y="812355"/>
                </a:cubicBezTo>
                <a:cubicBezTo>
                  <a:pt x="3660217" y="796867"/>
                  <a:pt x="3646028" y="781380"/>
                  <a:pt x="3635386" y="765893"/>
                </a:cubicBezTo>
                <a:cubicBezTo>
                  <a:pt x="3628291" y="753503"/>
                  <a:pt x="3617650" y="738016"/>
                  <a:pt x="3617650" y="725626"/>
                </a:cubicBezTo>
                <a:cubicBezTo>
                  <a:pt x="3614104" y="722529"/>
                  <a:pt x="3614104" y="716334"/>
                  <a:pt x="3617650" y="716334"/>
                </a:cubicBezTo>
                <a:cubicBezTo>
                  <a:pt x="3617650" y="713236"/>
                  <a:pt x="3617650" y="713236"/>
                  <a:pt x="3621198" y="713236"/>
                </a:cubicBezTo>
                <a:cubicBezTo>
                  <a:pt x="3624745" y="713236"/>
                  <a:pt x="3624745" y="713236"/>
                  <a:pt x="3624745" y="713236"/>
                </a:cubicBezTo>
                <a:cubicBezTo>
                  <a:pt x="3631840" y="716334"/>
                  <a:pt x="3638934" y="719431"/>
                  <a:pt x="3642481" y="722529"/>
                </a:cubicBezTo>
                <a:cubicBezTo>
                  <a:pt x="3653122" y="728724"/>
                  <a:pt x="3663764" y="731822"/>
                  <a:pt x="3674407" y="738016"/>
                </a:cubicBezTo>
                <a:cubicBezTo>
                  <a:pt x="3706332" y="756600"/>
                  <a:pt x="3734709" y="775185"/>
                  <a:pt x="3766635" y="793769"/>
                </a:cubicBezTo>
                <a:cubicBezTo>
                  <a:pt x="3851767" y="846426"/>
                  <a:pt x="3933353" y="899083"/>
                  <a:pt x="4018486" y="945544"/>
                </a:cubicBezTo>
                <a:cubicBezTo>
                  <a:pt x="4022032" y="948641"/>
                  <a:pt x="4029127" y="951739"/>
                  <a:pt x="4029127" y="951739"/>
                </a:cubicBezTo>
                <a:cubicBezTo>
                  <a:pt x="4025580" y="942447"/>
                  <a:pt x="4025580" y="933154"/>
                  <a:pt x="4029127" y="926960"/>
                </a:cubicBezTo>
                <a:cubicBezTo>
                  <a:pt x="4032674" y="920765"/>
                  <a:pt x="4039768" y="917667"/>
                  <a:pt x="4046863" y="914570"/>
                </a:cubicBezTo>
                <a:cubicBezTo>
                  <a:pt x="4053956" y="914570"/>
                  <a:pt x="4061051" y="914570"/>
                  <a:pt x="4071694" y="917667"/>
                </a:cubicBezTo>
                <a:cubicBezTo>
                  <a:pt x="4050410" y="899083"/>
                  <a:pt x="4025580" y="883596"/>
                  <a:pt x="4007844" y="865011"/>
                </a:cubicBezTo>
                <a:cubicBezTo>
                  <a:pt x="3965277" y="834036"/>
                  <a:pt x="3919164" y="793769"/>
                  <a:pt x="3880145" y="747309"/>
                </a:cubicBezTo>
                <a:cubicBezTo>
                  <a:pt x="3865955" y="731822"/>
                  <a:pt x="3855314" y="713236"/>
                  <a:pt x="3848221" y="694651"/>
                </a:cubicBezTo>
                <a:cubicBezTo>
                  <a:pt x="3837578" y="679164"/>
                  <a:pt x="3837578" y="666775"/>
                  <a:pt x="3844673" y="657482"/>
                </a:cubicBezTo>
                <a:cubicBezTo>
                  <a:pt x="3848221" y="651288"/>
                  <a:pt x="3851767" y="648190"/>
                  <a:pt x="3858861" y="648190"/>
                </a:cubicBezTo>
                <a:cubicBezTo>
                  <a:pt x="3865955" y="648190"/>
                  <a:pt x="3873050" y="648190"/>
                  <a:pt x="3883692" y="651288"/>
                </a:cubicBezTo>
                <a:cubicBezTo>
                  <a:pt x="3908522" y="657482"/>
                  <a:pt x="3936900" y="669873"/>
                  <a:pt x="3968825" y="682262"/>
                </a:cubicBezTo>
                <a:cubicBezTo>
                  <a:pt x="4127784" y="819324"/>
                  <a:pt x="4371045" y="929707"/>
                  <a:pt x="4673050" y="1012185"/>
                </a:cubicBezTo>
                <a:lnTo>
                  <a:pt x="4986857" y="1083759"/>
                </a:lnTo>
                <a:lnTo>
                  <a:pt x="5190667" y="1053493"/>
                </a:lnTo>
                <a:cubicBezTo>
                  <a:pt x="5913283" y="928400"/>
                  <a:pt x="6609768" y="716721"/>
                  <a:pt x="7161801" y="412784"/>
                </a:cubicBezTo>
                <a:cubicBezTo>
                  <a:pt x="7186632" y="394200"/>
                  <a:pt x="7207915" y="378712"/>
                  <a:pt x="7232745" y="363226"/>
                </a:cubicBezTo>
                <a:cubicBezTo>
                  <a:pt x="7250481" y="350835"/>
                  <a:pt x="7268217" y="338446"/>
                  <a:pt x="7289501" y="332250"/>
                </a:cubicBezTo>
                <a:cubicBezTo>
                  <a:pt x="7300142" y="326055"/>
                  <a:pt x="7314331" y="319861"/>
                  <a:pt x="7321425" y="322959"/>
                </a:cubicBezTo>
                <a:cubicBezTo>
                  <a:pt x="7328519" y="329153"/>
                  <a:pt x="7328519" y="338446"/>
                  <a:pt x="7324973" y="350835"/>
                </a:cubicBezTo>
                <a:cubicBezTo>
                  <a:pt x="7324973" y="350835"/>
                  <a:pt x="7324973" y="350835"/>
                  <a:pt x="7321425" y="353933"/>
                </a:cubicBezTo>
                <a:cubicBezTo>
                  <a:pt x="7321425" y="357030"/>
                  <a:pt x="7317878" y="360128"/>
                  <a:pt x="7317878" y="363226"/>
                </a:cubicBezTo>
                <a:cubicBezTo>
                  <a:pt x="7307237" y="369420"/>
                  <a:pt x="7300142" y="375615"/>
                  <a:pt x="7296595" y="381810"/>
                </a:cubicBezTo>
                <a:cubicBezTo>
                  <a:pt x="7268217" y="406590"/>
                  <a:pt x="7243387" y="428272"/>
                  <a:pt x="7218556" y="449953"/>
                </a:cubicBezTo>
                <a:cubicBezTo>
                  <a:pt x="7197273" y="468539"/>
                  <a:pt x="7175989" y="490220"/>
                  <a:pt x="7154707" y="508806"/>
                </a:cubicBezTo>
                <a:cubicBezTo>
                  <a:pt x="7236292" y="443759"/>
                  <a:pt x="7317878" y="381810"/>
                  <a:pt x="7403011" y="316764"/>
                </a:cubicBezTo>
                <a:cubicBezTo>
                  <a:pt x="7498785" y="245523"/>
                  <a:pt x="7591013" y="164988"/>
                  <a:pt x="7686787" y="93748"/>
                </a:cubicBezTo>
                <a:cubicBezTo>
                  <a:pt x="7715165" y="75163"/>
                  <a:pt x="7739996" y="56578"/>
                  <a:pt x="7764825" y="41090"/>
                </a:cubicBezTo>
                <a:cubicBezTo>
                  <a:pt x="7786109" y="28701"/>
                  <a:pt x="7807393" y="16312"/>
                  <a:pt x="7825129" y="10116"/>
                </a:cubicBezTo>
                <a:cubicBezTo>
                  <a:pt x="7839317" y="3921"/>
                  <a:pt x="7853506" y="-2273"/>
                  <a:pt x="7864147" y="824"/>
                </a:cubicBezTo>
                <a:close/>
              </a:path>
            </a:pathLst>
          </a:custGeom>
          <a:solidFill>
            <a:schemeClr val="bg1">
              <a:lumMod val="95000"/>
            </a:schemeClr>
          </a:solidFill>
        </p:spPr>
        <p:txBody>
          <a:bodyPr wrap="square" anchor="ctr">
            <a:noAutofit/>
          </a:bodyPr>
          <a:lstStyle>
            <a:lvl1pPr marL="0" indent="0" algn="ctr">
              <a:buFontTx/>
              <a:buNone/>
              <a:defRPr sz="1200">
                <a:solidFill>
                  <a:schemeClr val="tx1"/>
                </a:solidFill>
              </a:defRPr>
            </a:lvl1pPr>
          </a:lstStyle>
          <a:p>
            <a:r>
              <a:rPr lang="en-US"/>
              <a:t>Image</a:t>
            </a:r>
          </a:p>
        </p:txBody>
      </p:sp>
    </p:spTree>
    <p:extLst>
      <p:ext uri="{BB962C8B-B14F-4D97-AF65-F5344CB8AC3E}">
        <p14:creationId xmlns:p14="http://schemas.microsoft.com/office/powerpoint/2010/main" val="4157331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7_Custom Layout">
    <p:spTree>
      <p:nvGrpSpPr>
        <p:cNvPr id="1" name=""/>
        <p:cNvGrpSpPr/>
        <p:nvPr/>
      </p:nvGrpSpPr>
      <p:grpSpPr>
        <a:xfrm>
          <a:off x="0" y="0"/>
          <a:ext cx="0" cy="0"/>
          <a:chOff x="0" y="0"/>
          <a:chExt cx="0" cy="0"/>
        </a:xfrm>
      </p:grpSpPr>
      <p:sp>
        <p:nvSpPr>
          <p:cNvPr id="5" name="Freeform 4"/>
          <p:cNvSpPr>
            <a:spLocks noGrp="1"/>
          </p:cNvSpPr>
          <p:nvPr>
            <p:ph type="pic" sz="quarter" idx="18" hasCustomPrompt="1"/>
          </p:nvPr>
        </p:nvSpPr>
        <p:spPr>
          <a:xfrm>
            <a:off x="-1352755" y="-800690"/>
            <a:ext cx="8286956" cy="8459380"/>
          </a:xfrm>
          <a:custGeom>
            <a:avLst/>
            <a:gdLst>
              <a:gd name="connsiteX0" fmla="*/ 6681779 w 6863196"/>
              <a:gd name="connsiteY0" fmla="*/ 3641421 h 7005996"/>
              <a:gd name="connsiteX1" fmla="*/ 6712111 w 6863196"/>
              <a:gd name="connsiteY1" fmla="*/ 3641421 h 7005996"/>
              <a:gd name="connsiteX2" fmla="*/ 6681779 w 6863196"/>
              <a:gd name="connsiteY2" fmla="*/ 3641421 h 7005996"/>
              <a:gd name="connsiteX3" fmla="*/ 3092813 w 6863196"/>
              <a:gd name="connsiteY3" fmla="*/ 4434166 h 7005996"/>
              <a:gd name="connsiteX4" fmla="*/ 3021054 w 6863196"/>
              <a:gd name="connsiteY4" fmla="*/ 4535860 h 7005996"/>
              <a:gd name="connsiteX5" fmla="*/ 2935469 w 6863196"/>
              <a:gd name="connsiteY5" fmla="*/ 4727881 h 7005996"/>
              <a:gd name="connsiteX6" fmla="*/ 2935147 w 6863196"/>
              <a:gd name="connsiteY6" fmla="*/ 4813349 h 7005996"/>
              <a:gd name="connsiteX7" fmla="*/ 2916513 w 6863196"/>
              <a:gd name="connsiteY7" fmla="*/ 4866849 h 7005996"/>
              <a:gd name="connsiteX8" fmla="*/ 2915458 w 6863196"/>
              <a:gd name="connsiteY8" fmla="*/ 4872223 h 7005996"/>
              <a:gd name="connsiteX9" fmla="*/ 2952135 w 6863196"/>
              <a:gd name="connsiteY9" fmla="*/ 4849218 h 7005996"/>
              <a:gd name="connsiteX10" fmla="*/ 3073461 w 6863196"/>
              <a:gd name="connsiteY10" fmla="*/ 4758906 h 7005996"/>
              <a:gd name="connsiteX11" fmla="*/ 3193643 w 6863196"/>
              <a:gd name="connsiteY11" fmla="*/ 4637971 h 7005996"/>
              <a:gd name="connsiteX12" fmla="*/ 3209095 w 6863196"/>
              <a:gd name="connsiteY12" fmla="*/ 4562710 h 7005996"/>
              <a:gd name="connsiteX13" fmla="*/ 3284638 w 6863196"/>
              <a:gd name="connsiteY13" fmla="*/ 4517035 h 7005996"/>
              <a:gd name="connsiteX14" fmla="*/ 3299517 w 6863196"/>
              <a:gd name="connsiteY14" fmla="*/ 4502502 h 7005996"/>
              <a:gd name="connsiteX15" fmla="*/ 3314969 w 6863196"/>
              <a:gd name="connsiteY15" fmla="*/ 4471879 h 7005996"/>
              <a:gd name="connsiteX16" fmla="*/ 3327989 w 6863196"/>
              <a:gd name="connsiteY16" fmla="*/ 4466234 h 7005996"/>
              <a:gd name="connsiteX17" fmla="*/ 3328915 w 6863196"/>
              <a:gd name="connsiteY17" fmla="*/ 4465833 h 7005996"/>
              <a:gd name="connsiteX18" fmla="*/ 3329849 w 6863196"/>
              <a:gd name="connsiteY18" fmla="*/ 4471879 h 7005996"/>
              <a:gd name="connsiteX19" fmla="*/ 3329616 w 6863196"/>
              <a:gd name="connsiteY19" fmla="*/ 4465529 h 7005996"/>
              <a:gd name="connsiteX20" fmla="*/ 3328915 w 6863196"/>
              <a:gd name="connsiteY20" fmla="*/ 4465833 h 7005996"/>
              <a:gd name="connsiteX21" fmla="*/ 3321605 w 6863196"/>
              <a:gd name="connsiteY21" fmla="*/ 4418516 h 7005996"/>
              <a:gd name="connsiteX22" fmla="*/ 3312480 w 6863196"/>
              <a:gd name="connsiteY22" fmla="*/ 4417402 h 7005996"/>
              <a:gd name="connsiteX23" fmla="*/ 3277135 w 6863196"/>
              <a:gd name="connsiteY23" fmla="*/ 4407501 h 7005996"/>
              <a:gd name="connsiteX24" fmla="*/ 3202592 w 6863196"/>
              <a:gd name="connsiteY24" fmla="*/ 4396896 h 7005996"/>
              <a:gd name="connsiteX25" fmla="*/ 3127361 w 6863196"/>
              <a:gd name="connsiteY25" fmla="*/ 4408266 h 7005996"/>
              <a:gd name="connsiteX26" fmla="*/ 3092813 w 6863196"/>
              <a:gd name="connsiteY26" fmla="*/ 4434166 h 7005996"/>
              <a:gd name="connsiteX27" fmla="*/ 2637760 w 6863196"/>
              <a:gd name="connsiteY27" fmla="*/ 4320187 h 7005996"/>
              <a:gd name="connsiteX28" fmla="*/ 2644258 w 6863196"/>
              <a:gd name="connsiteY28" fmla="*/ 4318171 h 7005996"/>
              <a:gd name="connsiteX29" fmla="*/ 2648675 w 6863196"/>
              <a:gd name="connsiteY29" fmla="*/ 4311172 h 7005996"/>
              <a:gd name="connsiteX30" fmla="*/ 2648861 w 6863196"/>
              <a:gd name="connsiteY30" fmla="*/ 4309086 h 7005996"/>
              <a:gd name="connsiteX31" fmla="*/ 2732337 w 6863196"/>
              <a:gd name="connsiteY31" fmla="*/ 4205057 h 7005996"/>
              <a:gd name="connsiteX32" fmla="*/ 2670717 w 6863196"/>
              <a:gd name="connsiteY32" fmla="*/ 4275348 h 7005996"/>
              <a:gd name="connsiteX33" fmla="*/ 2664312 w 6863196"/>
              <a:gd name="connsiteY33" fmla="*/ 4287394 h 7005996"/>
              <a:gd name="connsiteX34" fmla="*/ 2788316 w 6863196"/>
              <a:gd name="connsiteY34" fmla="*/ 4261994 h 7005996"/>
              <a:gd name="connsiteX35" fmla="*/ 2821957 w 6863196"/>
              <a:gd name="connsiteY35" fmla="*/ 4256423 h 7005996"/>
              <a:gd name="connsiteX36" fmla="*/ 2789779 w 6863196"/>
              <a:gd name="connsiteY36" fmla="*/ 4232856 h 7005996"/>
              <a:gd name="connsiteX37" fmla="*/ 2732337 w 6863196"/>
              <a:gd name="connsiteY37" fmla="*/ 4205057 h 7005996"/>
              <a:gd name="connsiteX38" fmla="*/ 4622249 w 6863196"/>
              <a:gd name="connsiteY38" fmla="*/ 1311729 h 7005996"/>
              <a:gd name="connsiteX39" fmla="*/ 4643696 w 6863196"/>
              <a:gd name="connsiteY39" fmla="*/ 1290282 h 7005996"/>
              <a:gd name="connsiteX40" fmla="*/ 4622249 w 6863196"/>
              <a:gd name="connsiteY40" fmla="*/ 1311729 h 7005996"/>
              <a:gd name="connsiteX41" fmla="*/ 1788581 w 6863196"/>
              <a:gd name="connsiteY41" fmla="*/ 1564579 h 7005996"/>
              <a:gd name="connsiteX42" fmla="*/ 1996813 w 6863196"/>
              <a:gd name="connsiteY42" fmla="*/ 1632316 h 7005996"/>
              <a:gd name="connsiteX43" fmla="*/ 2135061 w 6863196"/>
              <a:gd name="connsiteY43" fmla="*/ 1899251 h 7005996"/>
              <a:gd name="connsiteX44" fmla="*/ 2294958 w 6863196"/>
              <a:gd name="connsiteY44" fmla="*/ 2038104 h 7005996"/>
              <a:gd name="connsiteX45" fmla="*/ 2413007 w 6863196"/>
              <a:gd name="connsiteY45" fmla="*/ 2048510 h 7005996"/>
              <a:gd name="connsiteX46" fmla="*/ 2572808 w 6863196"/>
              <a:gd name="connsiteY46" fmla="*/ 1802827 h 7005996"/>
              <a:gd name="connsiteX47" fmla="*/ 2476722 w 6863196"/>
              <a:gd name="connsiteY47" fmla="*/ 1429136 h 7005996"/>
              <a:gd name="connsiteX48" fmla="*/ 2732964 w 6863196"/>
              <a:gd name="connsiteY48" fmla="*/ 1194914 h 7005996"/>
              <a:gd name="connsiteX49" fmla="*/ 2711465 w 6863196"/>
              <a:gd name="connsiteY49" fmla="*/ 980790 h 7005996"/>
              <a:gd name="connsiteX50" fmla="*/ 2690699 w 6863196"/>
              <a:gd name="connsiteY50" fmla="*/ 767400 h 7005996"/>
              <a:gd name="connsiteX51" fmla="*/ 2818022 w 6863196"/>
              <a:gd name="connsiteY51" fmla="*/ 1045261 h 7005996"/>
              <a:gd name="connsiteX52" fmla="*/ 2861207 w 6863196"/>
              <a:gd name="connsiteY52" fmla="*/ 1130531 h 7005996"/>
              <a:gd name="connsiteX53" fmla="*/ 2861167 w 6863196"/>
              <a:gd name="connsiteY53" fmla="*/ 1194431 h 7005996"/>
              <a:gd name="connsiteX54" fmla="*/ 3074442 w 6863196"/>
              <a:gd name="connsiteY54" fmla="*/ 1343767 h 7005996"/>
              <a:gd name="connsiteX55" fmla="*/ 3117137 w 6863196"/>
              <a:gd name="connsiteY55" fmla="*/ 1407505 h 7005996"/>
              <a:gd name="connsiteX56" fmla="*/ 3202408 w 6863196"/>
              <a:gd name="connsiteY56" fmla="*/ 1450690 h 7005996"/>
              <a:gd name="connsiteX57" fmla="*/ 3426808 w 6863196"/>
              <a:gd name="connsiteY57" fmla="*/ 1482466 h 7005996"/>
              <a:gd name="connsiteX58" fmla="*/ 3501269 w 6863196"/>
              <a:gd name="connsiteY58" fmla="*/ 1408006 h 7005996"/>
              <a:gd name="connsiteX59" fmla="*/ 3533559 w 6863196"/>
              <a:gd name="connsiteY59" fmla="*/ 1290567 h 7005996"/>
              <a:gd name="connsiteX60" fmla="*/ 3522587 w 6863196"/>
              <a:gd name="connsiteY60" fmla="*/ 1215658 h 7005996"/>
              <a:gd name="connsiteX61" fmla="*/ 3491268 w 6863196"/>
              <a:gd name="connsiteY61" fmla="*/ 1226424 h 7005996"/>
              <a:gd name="connsiteX62" fmla="*/ 3458882 w 6863196"/>
              <a:gd name="connsiteY62" fmla="*/ 959327 h 7005996"/>
              <a:gd name="connsiteX63" fmla="*/ 3448438 w 6863196"/>
              <a:gd name="connsiteY63" fmla="*/ 842050 h 7005996"/>
              <a:gd name="connsiteX64" fmla="*/ 3427029 w 6863196"/>
              <a:gd name="connsiteY64" fmla="*/ 799598 h 7005996"/>
              <a:gd name="connsiteX65" fmla="*/ 3437872 w 6863196"/>
              <a:gd name="connsiteY65" fmla="*/ 703607 h 7005996"/>
              <a:gd name="connsiteX66" fmla="*/ 3437949 w 6863196"/>
              <a:gd name="connsiteY66" fmla="*/ 638936 h 7005996"/>
              <a:gd name="connsiteX67" fmla="*/ 3448349 w 6863196"/>
              <a:gd name="connsiteY67" fmla="*/ 607250 h 7005996"/>
              <a:gd name="connsiteX68" fmla="*/ 3437988 w 6863196"/>
              <a:gd name="connsiteY68" fmla="*/ 575037 h 7005996"/>
              <a:gd name="connsiteX69" fmla="*/ 3448510 w 6863196"/>
              <a:gd name="connsiteY69" fmla="*/ 564515 h 7005996"/>
              <a:gd name="connsiteX70" fmla="*/ 3437905 w 6863196"/>
              <a:gd name="connsiteY70" fmla="*/ 489973 h 7005996"/>
              <a:gd name="connsiteX71" fmla="*/ 3447938 w 6863196"/>
              <a:gd name="connsiteY71" fmla="*/ 457919 h 7005996"/>
              <a:gd name="connsiteX72" fmla="*/ 3437771 w 6863196"/>
              <a:gd name="connsiteY72" fmla="*/ 169336 h 7005996"/>
              <a:gd name="connsiteX73" fmla="*/ 3416484 w 6863196"/>
              <a:gd name="connsiteY73" fmla="*/ 148050 h 7005996"/>
              <a:gd name="connsiteX74" fmla="*/ 3416400 w 6863196"/>
              <a:gd name="connsiteY74" fmla="*/ 62986 h 7005996"/>
              <a:gd name="connsiteX75" fmla="*/ 3469817 w 6863196"/>
              <a:gd name="connsiteY75" fmla="*/ 9569 h 7005996"/>
              <a:gd name="connsiteX76" fmla="*/ 3533718 w 6863196"/>
              <a:gd name="connsiteY76" fmla="*/ 9530 h 7005996"/>
              <a:gd name="connsiteX77" fmla="*/ 3587262 w 6863196"/>
              <a:gd name="connsiteY77" fmla="*/ 127013 h 7005996"/>
              <a:gd name="connsiteX78" fmla="*/ 3598028 w 6863196"/>
              <a:gd name="connsiteY78" fmla="*/ 158821 h 7005996"/>
              <a:gd name="connsiteX79" fmla="*/ 3576418 w 6863196"/>
              <a:gd name="connsiteY79" fmla="*/ 223004 h 7005996"/>
              <a:gd name="connsiteX80" fmla="*/ 3534218 w 6863196"/>
              <a:gd name="connsiteY80" fmla="*/ 393660 h 7005996"/>
              <a:gd name="connsiteX81" fmla="*/ 3544295 w 6863196"/>
              <a:gd name="connsiteY81" fmla="*/ 447443 h 7005996"/>
              <a:gd name="connsiteX82" fmla="*/ 3522847 w 6863196"/>
              <a:gd name="connsiteY82" fmla="*/ 468891 h 7005996"/>
              <a:gd name="connsiteX83" fmla="*/ 3554778 w 6863196"/>
              <a:gd name="connsiteY83" fmla="*/ 500821 h 7005996"/>
              <a:gd name="connsiteX84" fmla="*/ 3554911 w 6863196"/>
              <a:gd name="connsiteY84" fmla="*/ 884584 h 7005996"/>
              <a:gd name="connsiteX85" fmla="*/ 3586558 w 6863196"/>
              <a:gd name="connsiteY85" fmla="*/ 938084 h 7005996"/>
              <a:gd name="connsiteX86" fmla="*/ 3618817 w 6863196"/>
              <a:gd name="connsiteY86" fmla="*/ 1034281 h 7005996"/>
              <a:gd name="connsiteX87" fmla="*/ 3629665 w 6863196"/>
              <a:gd name="connsiteY87" fmla="*/ 1151154 h 7005996"/>
              <a:gd name="connsiteX88" fmla="*/ 3618785 w 6863196"/>
              <a:gd name="connsiteY88" fmla="*/ 1247916 h 7005996"/>
              <a:gd name="connsiteX89" fmla="*/ 3629389 w 6863196"/>
              <a:gd name="connsiteY89" fmla="*/ 1322459 h 7005996"/>
              <a:gd name="connsiteX90" fmla="*/ 3640038 w 6863196"/>
              <a:gd name="connsiteY90" fmla="*/ 1482838 h 7005996"/>
              <a:gd name="connsiteX91" fmla="*/ 3650804 w 6863196"/>
              <a:gd name="connsiteY91" fmla="*/ 1514647 h 7005996"/>
              <a:gd name="connsiteX92" fmla="*/ 3714871 w 6863196"/>
              <a:gd name="connsiteY92" fmla="*/ 1621608 h 7005996"/>
              <a:gd name="connsiteX93" fmla="*/ 3715114 w 6863196"/>
              <a:gd name="connsiteY93" fmla="*/ 1663938 h 7005996"/>
              <a:gd name="connsiteX94" fmla="*/ 3896452 w 6863196"/>
              <a:gd name="connsiteY94" fmla="*/ 1631609 h 7005996"/>
              <a:gd name="connsiteX95" fmla="*/ 4013647 w 6863196"/>
              <a:gd name="connsiteY95" fmla="*/ 1556988 h 7005996"/>
              <a:gd name="connsiteX96" fmla="*/ 4067552 w 6863196"/>
              <a:gd name="connsiteY96" fmla="*/ 1525103 h 7005996"/>
              <a:gd name="connsiteX97" fmla="*/ 4088350 w 6863196"/>
              <a:gd name="connsiteY97" fmla="*/ 1524857 h 7005996"/>
              <a:gd name="connsiteX98" fmla="*/ 4109798 w 6863196"/>
              <a:gd name="connsiteY98" fmla="*/ 1503410 h 7005996"/>
              <a:gd name="connsiteX99" fmla="*/ 4163054 w 6863196"/>
              <a:gd name="connsiteY99" fmla="*/ 1492727 h 7005996"/>
              <a:gd name="connsiteX100" fmla="*/ 4323432 w 6863196"/>
              <a:gd name="connsiteY100" fmla="*/ 1503377 h 7005996"/>
              <a:gd name="connsiteX101" fmla="*/ 4621921 w 6863196"/>
              <a:gd name="connsiteY101" fmla="*/ 1247463 h 7005996"/>
              <a:gd name="connsiteX102" fmla="*/ 4675987 w 6863196"/>
              <a:gd name="connsiteY102" fmla="*/ 1172843 h 7005996"/>
              <a:gd name="connsiteX103" fmla="*/ 4718723 w 6863196"/>
              <a:gd name="connsiteY103" fmla="*/ 1172682 h 7005996"/>
              <a:gd name="connsiteX104" fmla="*/ 4728998 w 6863196"/>
              <a:gd name="connsiteY104" fmla="*/ 1182958 h 7005996"/>
              <a:gd name="connsiteX105" fmla="*/ 4739519 w 6863196"/>
              <a:gd name="connsiteY105" fmla="*/ 1172437 h 7005996"/>
              <a:gd name="connsiteX106" fmla="*/ 4686102 w 6863196"/>
              <a:gd name="connsiteY106" fmla="*/ 1225854 h 7005996"/>
              <a:gd name="connsiteX107" fmla="*/ 4654340 w 6863196"/>
              <a:gd name="connsiteY107" fmla="*/ 1300925 h 7005996"/>
              <a:gd name="connsiteX108" fmla="*/ 4643696 w 6863196"/>
              <a:gd name="connsiteY108" fmla="*/ 1290282 h 7005996"/>
              <a:gd name="connsiteX109" fmla="*/ 4622249 w 6863196"/>
              <a:gd name="connsiteY109" fmla="*/ 1311729 h 7005996"/>
              <a:gd name="connsiteX110" fmla="*/ 4632893 w 6863196"/>
              <a:gd name="connsiteY110" fmla="*/ 1322372 h 7005996"/>
              <a:gd name="connsiteX111" fmla="*/ 4622371 w 6863196"/>
              <a:gd name="connsiteY111" fmla="*/ 1332894 h 7005996"/>
              <a:gd name="connsiteX112" fmla="*/ 4537152 w 6863196"/>
              <a:gd name="connsiteY112" fmla="*/ 1525281 h 7005996"/>
              <a:gd name="connsiteX113" fmla="*/ 4472724 w 6863196"/>
              <a:gd name="connsiteY113" fmla="*/ 1567687 h 7005996"/>
              <a:gd name="connsiteX114" fmla="*/ 4494255 w 6863196"/>
              <a:gd name="connsiteY114" fmla="*/ 1631304 h 7005996"/>
              <a:gd name="connsiteX115" fmla="*/ 4472807 w 6863196"/>
              <a:gd name="connsiteY115" fmla="*/ 1652752 h 7005996"/>
              <a:gd name="connsiteX116" fmla="*/ 4451566 w 6863196"/>
              <a:gd name="connsiteY116" fmla="*/ 1717301 h 7005996"/>
              <a:gd name="connsiteX117" fmla="*/ 4451404 w 6863196"/>
              <a:gd name="connsiteY117" fmla="*/ 1760035 h 7005996"/>
              <a:gd name="connsiteX118" fmla="*/ 4430041 w 6863196"/>
              <a:gd name="connsiteY118" fmla="*/ 1866548 h 7005996"/>
              <a:gd name="connsiteX119" fmla="*/ 4434568 w 6863196"/>
              <a:gd name="connsiteY119" fmla="*/ 1871279 h 7005996"/>
              <a:gd name="connsiteX120" fmla="*/ 4443835 w 6863196"/>
              <a:gd name="connsiteY120" fmla="*/ 1848369 h 7005996"/>
              <a:gd name="connsiteX121" fmla="*/ 4462420 w 6863196"/>
              <a:gd name="connsiteY121" fmla="*/ 1830502 h 7005996"/>
              <a:gd name="connsiteX122" fmla="*/ 4499281 w 6863196"/>
              <a:gd name="connsiteY122" fmla="*/ 1816507 h 7005996"/>
              <a:gd name="connsiteX123" fmla="*/ 4583603 w 6863196"/>
              <a:gd name="connsiteY123" fmla="*/ 1874381 h 7005996"/>
              <a:gd name="connsiteX124" fmla="*/ 4597630 w 6863196"/>
              <a:gd name="connsiteY124" fmla="*/ 1931536 h 7005996"/>
              <a:gd name="connsiteX125" fmla="*/ 4623591 w 6863196"/>
              <a:gd name="connsiteY125" fmla="*/ 1932499 h 7005996"/>
              <a:gd name="connsiteX126" fmla="*/ 4718501 w 6863196"/>
              <a:gd name="connsiteY126" fmla="*/ 1855550 h 7005996"/>
              <a:gd name="connsiteX127" fmla="*/ 4707253 w 6863196"/>
              <a:gd name="connsiteY127" fmla="*/ 1951945 h 7005996"/>
              <a:gd name="connsiteX128" fmla="*/ 4973983 w 6863196"/>
              <a:gd name="connsiteY128" fmla="*/ 1983964 h 7005996"/>
              <a:gd name="connsiteX129" fmla="*/ 5049382 w 6863196"/>
              <a:gd name="connsiteY129" fmla="*/ 2016468 h 7005996"/>
              <a:gd name="connsiteX130" fmla="*/ 5209516 w 6863196"/>
              <a:gd name="connsiteY130" fmla="*/ 2047915 h 7005996"/>
              <a:gd name="connsiteX131" fmla="*/ 5288202 w 6863196"/>
              <a:gd name="connsiteY131" fmla="*/ 2151085 h 7005996"/>
              <a:gd name="connsiteX132" fmla="*/ 5295874 w 6863196"/>
              <a:gd name="connsiteY132" fmla="*/ 2165551 h 7005996"/>
              <a:gd name="connsiteX133" fmla="*/ 5313289 w 6863196"/>
              <a:gd name="connsiteY133" fmla="*/ 2166281 h 7005996"/>
              <a:gd name="connsiteX134" fmla="*/ 5428453 w 6863196"/>
              <a:gd name="connsiteY134" fmla="*/ 2222894 h 7005996"/>
              <a:gd name="connsiteX135" fmla="*/ 5564660 w 6863196"/>
              <a:gd name="connsiteY135" fmla="*/ 2056283 h 7005996"/>
              <a:gd name="connsiteX136" fmla="*/ 5700866 w 6863196"/>
              <a:gd name="connsiteY136" fmla="*/ 1890710 h 7005996"/>
              <a:gd name="connsiteX137" fmla="*/ 5594419 w 6863196"/>
              <a:gd name="connsiteY137" fmla="*/ 2177219 h 7005996"/>
              <a:gd name="connsiteX138" fmla="*/ 5564660 w 6863196"/>
              <a:gd name="connsiteY138" fmla="*/ 2268050 h 7005996"/>
              <a:gd name="connsiteX139" fmla="*/ 5519448 w 6863196"/>
              <a:gd name="connsiteY139" fmla="*/ 2313206 h 7005996"/>
              <a:gd name="connsiteX140" fmla="*/ 5564660 w 6863196"/>
              <a:gd name="connsiteY140" fmla="*/ 2569610 h 7005996"/>
              <a:gd name="connsiteX141" fmla="*/ 5549780 w 6863196"/>
              <a:gd name="connsiteY141" fmla="*/ 2644870 h 7005996"/>
              <a:gd name="connsiteX142" fmla="*/ 5579539 w 6863196"/>
              <a:gd name="connsiteY142" fmla="*/ 2735702 h 7005996"/>
              <a:gd name="connsiteX143" fmla="*/ 5715745 w 6863196"/>
              <a:gd name="connsiteY143" fmla="*/ 2916846 h 7005996"/>
              <a:gd name="connsiteX144" fmla="*/ 5821048 w 6863196"/>
              <a:gd name="connsiteY144" fmla="*/ 2916846 h 7005996"/>
              <a:gd name="connsiteX145" fmla="*/ 5926922 w 6863196"/>
              <a:gd name="connsiteY145" fmla="*/ 2856637 h 7005996"/>
              <a:gd name="connsiteX146" fmla="*/ 5972133 w 6863196"/>
              <a:gd name="connsiteY146" fmla="*/ 2795910 h 7005996"/>
              <a:gd name="connsiteX147" fmla="*/ 5942374 w 6863196"/>
              <a:gd name="connsiteY147" fmla="*/ 2781377 h 7005996"/>
              <a:gd name="connsiteX148" fmla="*/ 6108340 w 6863196"/>
              <a:gd name="connsiteY148" fmla="*/ 2569610 h 7005996"/>
              <a:gd name="connsiteX149" fmla="*/ 6183882 w 6863196"/>
              <a:gd name="connsiteY149" fmla="*/ 2479298 h 7005996"/>
              <a:gd name="connsiteX150" fmla="*/ 6198762 w 6863196"/>
              <a:gd name="connsiteY150" fmla="*/ 2434142 h 7005996"/>
              <a:gd name="connsiteX151" fmla="*/ 6274305 w 6863196"/>
              <a:gd name="connsiteY151" fmla="*/ 2373933 h 7005996"/>
              <a:gd name="connsiteX152" fmla="*/ 6320089 w 6863196"/>
              <a:gd name="connsiteY152" fmla="*/ 2328258 h 7005996"/>
              <a:gd name="connsiteX153" fmla="*/ 6349848 w 6863196"/>
              <a:gd name="connsiteY153" fmla="*/ 2313206 h 7005996"/>
              <a:gd name="connsiteX154" fmla="*/ 6365300 w 6863196"/>
              <a:gd name="connsiteY154" fmla="*/ 2283102 h 7005996"/>
              <a:gd name="connsiteX155" fmla="*/ 6380180 w 6863196"/>
              <a:gd name="connsiteY155" fmla="*/ 2283102 h 7005996"/>
              <a:gd name="connsiteX156" fmla="*/ 6425391 w 6863196"/>
              <a:gd name="connsiteY156" fmla="*/ 2222894 h 7005996"/>
              <a:gd name="connsiteX157" fmla="*/ 6455150 w 6863196"/>
              <a:gd name="connsiteY157" fmla="*/ 2207323 h 7005996"/>
              <a:gd name="connsiteX158" fmla="*/ 6652020 w 6863196"/>
              <a:gd name="connsiteY158" fmla="*/ 1996075 h 7005996"/>
              <a:gd name="connsiteX159" fmla="*/ 6652020 w 6863196"/>
              <a:gd name="connsiteY159" fmla="*/ 1965971 h 7005996"/>
              <a:gd name="connsiteX160" fmla="*/ 6712110 w 6863196"/>
              <a:gd name="connsiteY160" fmla="*/ 1905762 h 7005996"/>
              <a:gd name="connsiteX161" fmla="*/ 6787653 w 6863196"/>
              <a:gd name="connsiteY161" fmla="*/ 1905762 h 7005996"/>
              <a:gd name="connsiteX162" fmla="*/ 6832865 w 6863196"/>
              <a:gd name="connsiteY162" fmla="*/ 1950919 h 7005996"/>
              <a:gd name="connsiteX163" fmla="*/ 6787653 w 6863196"/>
              <a:gd name="connsiteY163" fmla="*/ 2071854 h 7005996"/>
              <a:gd name="connsiteX164" fmla="*/ 6772774 w 6863196"/>
              <a:gd name="connsiteY164" fmla="*/ 2101958 h 7005996"/>
              <a:gd name="connsiteX165" fmla="*/ 6712111 w 6863196"/>
              <a:gd name="connsiteY165" fmla="*/ 2132062 h 7005996"/>
              <a:gd name="connsiteX166" fmla="*/ 6561597 w 6863196"/>
              <a:gd name="connsiteY166" fmla="*/ 2222894 h 7005996"/>
              <a:gd name="connsiteX167" fmla="*/ 6530693 w 6863196"/>
              <a:gd name="connsiteY167" fmla="*/ 2268050 h 7005996"/>
              <a:gd name="connsiteX168" fmla="*/ 6500361 w 6863196"/>
              <a:gd name="connsiteY168" fmla="*/ 2268050 h 7005996"/>
              <a:gd name="connsiteX169" fmla="*/ 6500361 w 6863196"/>
              <a:gd name="connsiteY169" fmla="*/ 2313206 h 7005996"/>
              <a:gd name="connsiteX170" fmla="*/ 6229094 w 6863196"/>
              <a:gd name="connsiteY170" fmla="*/ 2584662 h 7005996"/>
              <a:gd name="connsiteX171" fmla="*/ 6213642 w 6863196"/>
              <a:gd name="connsiteY171" fmla="*/ 2644870 h 7005996"/>
              <a:gd name="connsiteX172" fmla="*/ 6168431 w 6863196"/>
              <a:gd name="connsiteY172" fmla="*/ 2735702 h 7005996"/>
              <a:gd name="connsiteX173" fmla="*/ 6093460 w 6863196"/>
              <a:gd name="connsiteY173" fmla="*/ 2826014 h 7005996"/>
              <a:gd name="connsiteX174" fmla="*/ 6017345 w 6863196"/>
              <a:gd name="connsiteY174" fmla="*/ 2886742 h 7005996"/>
              <a:gd name="connsiteX175" fmla="*/ 5972133 w 6863196"/>
              <a:gd name="connsiteY175" fmla="*/ 2946950 h 7005996"/>
              <a:gd name="connsiteX176" fmla="*/ 5866259 w 6863196"/>
              <a:gd name="connsiteY176" fmla="*/ 3067885 h 7005996"/>
              <a:gd name="connsiteX177" fmla="*/ 5851379 w 6863196"/>
              <a:gd name="connsiteY177" fmla="*/ 3097990 h 7005996"/>
              <a:gd name="connsiteX178" fmla="*/ 5821048 w 6863196"/>
              <a:gd name="connsiteY178" fmla="*/ 3218925 h 7005996"/>
              <a:gd name="connsiteX179" fmla="*/ 5791288 w 6863196"/>
              <a:gd name="connsiteY179" fmla="*/ 3249029 h 7005996"/>
              <a:gd name="connsiteX180" fmla="*/ 5942374 w 6863196"/>
              <a:gd name="connsiteY180" fmla="*/ 3354394 h 7005996"/>
              <a:gd name="connsiteX181" fmla="*/ 6078008 w 6863196"/>
              <a:gd name="connsiteY181" fmla="*/ 3384498 h 7005996"/>
              <a:gd name="connsiteX182" fmla="*/ 6138671 w 6863196"/>
              <a:gd name="connsiteY182" fmla="*/ 3400069 h 7005996"/>
              <a:gd name="connsiteX183" fmla="*/ 6153551 w 6863196"/>
              <a:gd name="connsiteY183" fmla="*/ 3414602 h 7005996"/>
              <a:gd name="connsiteX184" fmla="*/ 6183882 w 6863196"/>
              <a:gd name="connsiteY184" fmla="*/ 3414602 h 7005996"/>
              <a:gd name="connsiteX185" fmla="*/ 6229094 w 6863196"/>
              <a:gd name="connsiteY185" fmla="*/ 3444706 h 7005996"/>
              <a:gd name="connsiteX186" fmla="*/ 6334968 w 6863196"/>
              <a:gd name="connsiteY186" fmla="*/ 3565641 h 7005996"/>
              <a:gd name="connsiteX187" fmla="*/ 6726990 w 6863196"/>
              <a:gd name="connsiteY187" fmla="*/ 3595746 h 7005996"/>
              <a:gd name="connsiteX188" fmla="*/ 6817985 w 6863196"/>
              <a:gd name="connsiteY188" fmla="*/ 3581212 h 7005996"/>
              <a:gd name="connsiteX189" fmla="*/ 6848317 w 6863196"/>
              <a:gd name="connsiteY189" fmla="*/ 3611317 h 7005996"/>
              <a:gd name="connsiteX190" fmla="*/ 6848317 w 6863196"/>
              <a:gd name="connsiteY190" fmla="*/ 3625849 h 7005996"/>
              <a:gd name="connsiteX191" fmla="*/ 6863196 w 6863196"/>
              <a:gd name="connsiteY191" fmla="*/ 3625849 h 7005996"/>
              <a:gd name="connsiteX192" fmla="*/ 6787653 w 6863196"/>
              <a:gd name="connsiteY192" fmla="*/ 3625849 h 7005996"/>
              <a:gd name="connsiteX193" fmla="*/ 6712110 w 6863196"/>
              <a:gd name="connsiteY193" fmla="*/ 3656473 h 7005996"/>
              <a:gd name="connsiteX194" fmla="*/ 6712111 w 6863196"/>
              <a:gd name="connsiteY194" fmla="*/ 3641421 h 7005996"/>
              <a:gd name="connsiteX195" fmla="*/ 6681779 w 6863196"/>
              <a:gd name="connsiteY195" fmla="*/ 3641421 h 7005996"/>
              <a:gd name="connsiteX196" fmla="*/ 6681779 w 6863196"/>
              <a:gd name="connsiteY196" fmla="*/ 3656473 h 7005996"/>
              <a:gd name="connsiteX197" fmla="*/ 6666899 w 6863196"/>
              <a:gd name="connsiteY197" fmla="*/ 3656473 h 7005996"/>
              <a:gd name="connsiteX198" fmla="*/ 6470602 w 6863196"/>
              <a:gd name="connsiteY198" fmla="*/ 3732252 h 7005996"/>
              <a:gd name="connsiteX199" fmla="*/ 6395059 w 6863196"/>
              <a:gd name="connsiteY199" fmla="*/ 3716681 h 7005996"/>
              <a:gd name="connsiteX200" fmla="*/ 6365300 w 6863196"/>
              <a:gd name="connsiteY200" fmla="*/ 3776889 h 7005996"/>
              <a:gd name="connsiteX201" fmla="*/ 6334968 w 6863196"/>
              <a:gd name="connsiteY201" fmla="*/ 3776889 h 7005996"/>
              <a:gd name="connsiteX202" fmla="*/ 6274305 w 6863196"/>
              <a:gd name="connsiteY202" fmla="*/ 3807512 h 7005996"/>
              <a:gd name="connsiteX203" fmla="*/ 6243973 w 6863196"/>
              <a:gd name="connsiteY203" fmla="*/ 3837616 h 7005996"/>
              <a:gd name="connsiteX204" fmla="*/ 6153551 w 6863196"/>
              <a:gd name="connsiteY204" fmla="*/ 3897825 h 7005996"/>
              <a:gd name="connsiteX205" fmla="*/ 6229094 w 6863196"/>
              <a:gd name="connsiteY205" fmla="*/ 4003708 h 7005996"/>
              <a:gd name="connsiteX206" fmla="*/ 6243973 w 6863196"/>
              <a:gd name="connsiteY206" fmla="*/ 3988656 h 7005996"/>
              <a:gd name="connsiteX207" fmla="*/ 6213642 w 6863196"/>
              <a:gd name="connsiteY207" fmla="*/ 4048864 h 7005996"/>
              <a:gd name="connsiteX208" fmla="*/ 6365300 w 6863196"/>
              <a:gd name="connsiteY208" fmla="*/ 4094021 h 7005996"/>
              <a:gd name="connsiteX209" fmla="*/ 6289185 w 6863196"/>
              <a:gd name="connsiteY209" fmla="*/ 4154229 h 7005996"/>
              <a:gd name="connsiteX210" fmla="*/ 6455150 w 6863196"/>
              <a:gd name="connsiteY210" fmla="*/ 4365476 h 7005996"/>
              <a:gd name="connsiteX211" fmla="*/ 6485482 w 6863196"/>
              <a:gd name="connsiteY211" fmla="*/ 4441775 h 7005996"/>
              <a:gd name="connsiteX212" fmla="*/ 6576477 w 6863196"/>
              <a:gd name="connsiteY212" fmla="*/ 4577243 h 7005996"/>
              <a:gd name="connsiteX213" fmla="*/ 6530693 w 6863196"/>
              <a:gd name="connsiteY213" fmla="*/ 4833647 h 7005996"/>
              <a:gd name="connsiteX214" fmla="*/ 6561598 w 6863196"/>
              <a:gd name="connsiteY214" fmla="*/ 4954583 h 7005996"/>
              <a:gd name="connsiteX215" fmla="*/ 6500361 w 6863196"/>
              <a:gd name="connsiteY215" fmla="*/ 5075518 h 7005996"/>
              <a:gd name="connsiteX216" fmla="*/ 6440270 w 6863196"/>
              <a:gd name="connsiteY216" fmla="*/ 5090570 h 7005996"/>
              <a:gd name="connsiteX217" fmla="*/ 6274305 w 6863196"/>
              <a:gd name="connsiteY217" fmla="*/ 5105622 h 7005996"/>
              <a:gd name="connsiteX218" fmla="*/ 6138671 w 6863196"/>
              <a:gd name="connsiteY218" fmla="*/ 5135727 h 7005996"/>
              <a:gd name="connsiteX219" fmla="*/ 6062556 w 6863196"/>
              <a:gd name="connsiteY219" fmla="*/ 5135727 h 7005996"/>
              <a:gd name="connsiteX220" fmla="*/ 5957254 w 6863196"/>
              <a:gd name="connsiteY220" fmla="*/ 5151298 h 7005996"/>
              <a:gd name="connsiteX221" fmla="*/ 5881712 w 6863196"/>
              <a:gd name="connsiteY221" fmla="*/ 5151298 h 7005996"/>
              <a:gd name="connsiteX222" fmla="*/ 5821048 w 6863196"/>
              <a:gd name="connsiteY222" fmla="*/ 5286766 h 7005996"/>
              <a:gd name="connsiteX223" fmla="*/ 5821048 w 6863196"/>
              <a:gd name="connsiteY223" fmla="*/ 5151298 h 7005996"/>
              <a:gd name="connsiteX224" fmla="*/ 5791288 w 6863196"/>
              <a:gd name="connsiteY224" fmla="*/ 5135727 h 7005996"/>
              <a:gd name="connsiteX225" fmla="*/ 5655654 w 6863196"/>
              <a:gd name="connsiteY225" fmla="*/ 5196454 h 7005996"/>
              <a:gd name="connsiteX226" fmla="*/ 5624750 w 6863196"/>
              <a:gd name="connsiteY226" fmla="*/ 5211506 h 7005996"/>
              <a:gd name="connsiteX227" fmla="*/ 5594419 w 6863196"/>
              <a:gd name="connsiteY227" fmla="*/ 5181402 h 7005996"/>
              <a:gd name="connsiteX228" fmla="*/ 5519448 w 6863196"/>
              <a:gd name="connsiteY228" fmla="*/ 5272233 h 7005996"/>
              <a:gd name="connsiteX229" fmla="*/ 5489117 w 6863196"/>
              <a:gd name="connsiteY229" fmla="*/ 5316870 h 7005996"/>
              <a:gd name="connsiteX230" fmla="*/ 5459357 w 6863196"/>
              <a:gd name="connsiteY230" fmla="*/ 5362546 h 7005996"/>
              <a:gd name="connsiteX231" fmla="*/ 5398122 w 6863196"/>
              <a:gd name="connsiteY231" fmla="*/ 5573274 h 7005996"/>
              <a:gd name="connsiteX232" fmla="*/ 5352911 w 6863196"/>
              <a:gd name="connsiteY232" fmla="*/ 5694210 h 7005996"/>
              <a:gd name="connsiteX233" fmla="*/ 5307699 w 6863196"/>
              <a:gd name="connsiteY233" fmla="*/ 5467910 h 7005996"/>
              <a:gd name="connsiteX234" fmla="*/ 5186945 w 6863196"/>
              <a:gd name="connsiteY234" fmla="*/ 5513585 h 7005996"/>
              <a:gd name="connsiteX235" fmla="*/ 5232729 w 6863196"/>
              <a:gd name="connsiteY235" fmla="*/ 5769989 h 7005996"/>
              <a:gd name="connsiteX236" fmla="*/ 5263060 w 6863196"/>
              <a:gd name="connsiteY236" fmla="*/ 5875354 h 7005996"/>
              <a:gd name="connsiteX237" fmla="*/ 5307699 w 6863196"/>
              <a:gd name="connsiteY237" fmla="*/ 5981237 h 7005996"/>
              <a:gd name="connsiteX238" fmla="*/ 5263060 w 6863196"/>
              <a:gd name="connsiteY238" fmla="*/ 6056497 h 7005996"/>
              <a:gd name="connsiteX239" fmla="*/ 5217849 w 6863196"/>
              <a:gd name="connsiteY239" fmla="*/ 6041445 h 7005996"/>
              <a:gd name="connsiteX240" fmla="*/ 5111402 w 6863196"/>
              <a:gd name="connsiteY240" fmla="*/ 5679158 h 7005996"/>
              <a:gd name="connsiteX241" fmla="*/ 4915105 w 6863196"/>
              <a:gd name="connsiteY241" fmla="*/ 5664106 h 7005996"/>
              <a:gd name="connsiteX242" fmla="*/ 5020980 w 6863196"/>
              <a:gd name="connsiteY242" fmla="*/ 6116706 h 7005996"/>
              <a:gd name="connsiteX243" fmla="*/ 5066191 w 6863196"/>
              <a:gd name="connsiteY243" fmla="*/ 6267745 h 7005996"/>
              <a:gd name="connsiteX244" fmla="*/ 5036432 w 6863196"/>
              <a:gd name="connsiteY244" fmla="*/ 6358577 h 7005996"/>
              <a:gd name="connsiteX245" fmla="*/ 5096523 w 6863196"/>
              <a:gd name="connsiteY245" fmla="*/ 6569825 h 7005996"/>
              <a:gd name="connsiteX246" fmla="*/ 5096523 w 6863196"/>
              <a:gd name="connsiteY246" fmla="*/ 6735397 h 7005996"/>
              <a:gd name="connsiteX247" fmla="*/ 5141734 w 6863196"/>
              <a:gd name="connsiteY247" fmla="*/ 6796125 h 7005996"/>
              <a:gd name="connsiteX248" fmla="*/ 5111403 w 6863196"/>
              <a:gd name="connsiteY248" fmla="*/ 6992320 h 7005996"/>
              <a:gd name="connsiteX249" fmla="*/ 5036432 w 6863196"/>
              <a:gd name="connsiteY249" fmla="*/ 6735397 h 7005996"/>
              <a:gd name="connsiteX250" fmla="*/ 5006100 w 6863196"/>
              <a:gd name="connsiteY250" fmla="*/ 6569825 h 7005996"/>
              <a:gd name="connsiteX251" fmla="*/ 4975768 w 6863196"/>
              <a:gd name="connsiteY251" fmla="*/ 6479512 h 7005996"/>
              <a:gd name="connsiteX252" fmla="*/ 4975768 w 6863196"/>
              <a:gd name="connsiteY252" fmla="*/ 6358577 h 7005996"/>
              <a:gd name="connsiteX253" fmla="*/ 4930557 w 6863196"/>
              <a:gd name="connsiteY253" fmla="*/ 6177433 h 7005996"/>
              <a:gd name="connsiteX254" fmla="*/ 4900225 w 6863196"/>
              <a:gd name="connsiteY254" fmla="*/ 6177433 h 7005996"/>
              <a:gd name="connsiteX255" fmla="*/ 4930557 w 6863196"/>
              <a:gd name="connsiteY255" fmla="*/ 6162381 h 7005996"/>
              <a:gd name="connsiteX256" fmla="*/ 4824683 w 6863196"/>
              <a:gd name="connsiteY256" fmla="*/ 5921029 h 7005996"/>
              <a:gd name="connsiteX257" fmla="*/ 4779471 w 6863196"/>
              <a:gd name="connsiteY257" fmla="*/ 5921029 h 7005996"/>
              <a:gd name="connsiteX258" fmla="*/ 4764019 w 6863196"/>
              <a:gd name="connsiteY258" fmla="*/ 5800093 h 7005996"/>
              <a:gd name="connsiteX259" fmla="*/ 4689049 w 6863196"/>
              <a:gd name="connsiteY259" fmla="*/ 5724314 h 7005996"/>
              <a:gd name="connsiteX260" fmla="*/ 4643837 w 6863196"/>
              <a:gd name="connsiteY260" fmla="*/ 5603379 h 7005996"/>
              <a:gd name="connsiteX261" fmla="*/ 4628385 w 6863196"/>
              <a:gd name="connsiteY261" fmla="*/ 5543689 h 7005996"/>
              <a:gd name="connsiteX262" fmla="*/ 4492179 w 6863196"/>
              <a:gd name="connsiteY262" fmla="*/ 5618950 h 7005996"/>
              <a:gd name="connsiteX263" fmla="*/ 4432088 w 6863196"/>
              <a:gd name="connsiteY263" fmla="*/ 5724314 h 7005996"/>
              <a:gd name="connsiteX264" fmla="*/ 4266123 w 6863196"/>
              <a:gd name="connsiteY264" fmla="*/ 6102174 h 7005996"/>
              <a:gd name="connsiteX265" fmla="*/ 4205460 w 6863196"/>
              <a:gd name="connsiteY265" fmla="*/ 5890925 h 7005996"/>
              <a:gd name="connsiteX266" fmla="*/ 4266123 w 6863196"/>
              <a:gd name="connsiteY266" fmla="*/ 5679158 h 7005996"/>
              <a:gd name="connsiteX267" fmla="*/ 4235791 w 6863196"/>
              <a:gd name="connsiteY267" fmla="*/ 5603379 h 7005996"/>
              <a:gd name="connsiteX268" fmla="*/ 4205460 w 6863196"/>
              <a:gd name="connsiteY268" fmla="*/ 5543689 h 7005996"/>
              <a:gd name="connsiteX269" fmla="*/ 4160249 w 6863196"/>
              <a:gd name="connsiteY269" fmla="*/ 5332441 h 7005996"/>
              <a:gd name="connsiteX270" fmla="*/ 4084706 w 6863196"/>
              <a:gd name="connsiteY270" fmla="*/ 5256662 h 7005996"/>
              <a:gd name="connsiteX271" fmla="*/ 3994283 w 6863196"/>
              <a:gd name="connsiteY271" fmla="*/ 5241610 h 7005996"/>
              <a:gd name="connsiteX272" fmla="*/ 3903860 w 6863196"/>
              <a:gd name="connsiteY272" fmla="*/ 5226558 h 7005996"/>
              <a:gd name="connsiteX273" fmla="*/ 3843197 w 6863196"/>
              <a:gd name="connsiteY273" fmla="*/ 5211506 h 7005996"/>
              <a:gd name="connsiteX274" fmla="*/ 3752775 w 6863196"/>
              <a:gd name="connsiteY274" fmla="*/ 5181402 h 7005996"/>
              <a:gd name="connsiteX275" fmla="*/ 3707563 w 6863196"/>
              <a:gd name="connsiteY275" fmla="*/ 5151298 h 7005996"/>
              <a:gd name="connsiteX276" fmla="*/ 3661780 w 6863196"/>
              <a:gd name="connsiteY276" fmla="*/ 5105622 h 7005996"/>
              <a:gd name="connsiteX277" fmla="*/ 3616569 w 6863196"/>
              <a:gd name="connsiteY277" fmla="*/ 5030362 h 7005996"/>
              <a:gd name="connsiteX278" fmla="*/ 3541598 w 6863196"/>
              <a:gd name="connsiteY278" fmla="*/ 4879323 h 7005996"/>
              <a:gd name="connsiteX279" fmla="*/ 3496387 w 6863196"/>
              <a:gd name="connsiteY279" fmla="*/ 4819114 h 7005996"/>
              <a:gd name="connsiteX280" fmla="*/ 3435151 w 6863196"/>
              <a:gd name="connsiteY280" fmla="*/ 4773958 h 7005996"/>
              <a:gd name="connsiteX281" fmla="*/ 3269758 w 6863196"/>
              <a:gd name="connsiteY281" fmla="*/ 4789010 h 7005996"/>
              <a:gd name="connsiteX282" fmla="*/ 3073461 w 6863196"/>
              <a:gd name="connsiteY282" fmla="*/ 4864271 h 7005996"/>
              <a:gd name="connsiteX283" fmla="*/ 3012798 w 6863196"/>
              <a:gd name="connsiteY283" fmla="*/ 4924479 h 7005996"/>
              <a:gd name="connsiteX284" fmla="*/ 2922375 w 6863196"/>
              <a:gd name="connsiteY284" fmla="*/ 4984687 h 7005996"/>
              <a:gd name="connsiteX285" fmla="*/ 2906923 w 6863196"/>
              <a:gd name="connsiteY285" fmla="*/ 4970154 h 7005996"/>
              <a:gd name="connsiteX286" fmla="*/ 2879766 w 6863196"/>
              <a:gd name="connsiteY286" fmla="*/ 4976991 h 7005996"/>
              <a:gd name="connsiteX287" fmla="*/ 2852748 w 6863196"/>
              <a:gd name="connsiteY287" fmla="*/ 4980476 h 7005996"/>
              <a:gd name="connsiteX288" fmla="*/ 2841540 w 6863196"/>
              <a:gd name="connsiteY288" fmla="*/ 5001382 h 7005996"/>
              <a:gd name="connsiteX289" fmla="*/ 2839123 w 6863196"/>
              <a:gd name="connsiteY289" fmla="*/ 5037828 h 7005996"/>
              <a:gd name="connsiteX290" fmla="*/ 2774984 w 6863196"/>
              <a:gd name="connsiteY290" fmla="*/ 5208400 h 7005996"/>
              <a:gd name="connsiteX291" fmla="*/ 2785796 w 6863196"/>
              <a:gd name="connsiteY291" fmla="*/ 5326044 h 7005996"/>
              <a:gd name="connsiteX292" fmla="*/ 2646909 w 6863196"/>
              <a:gd name="connsiteY292" fmla="*/ 5442911 h 7005996"/>
              <a:gd name="connsiteX293" fmla="*/ 2647025 w 6863196"/>
              <a:gd name="connsiteY293" fmla="*/ 5251213 h 7005996"/>
              <a:gd name="connsiteX294" fmla="*/ 2721723 w 6863196"/>
              <a:gd name="connsiteY294" fmla="*/ 5069347 h 7005996"/>
              <a:gd name="connsiteX295" fmla="*/ 2748295 w 6863196"/>
              <a:gd name="connsiteY295" fmla="*/ 5035458 h 7005996"/>
              <a:gd name="connsiteX296" fmla="*/ 2758940 w 6863196"/>
              <a:gd name="connsiteY296" fmla="*/ 5013800 h 7005996"/>
              <a:gd name="connsiteX297" fmla="*/ 2736898 w 6863196"/>
              <a:gd name="connsiteY297" fmla="*/ 5018603 h 7005996"/>
              <a:gd name="connsiteX298" fmla="*/ 2620203 w 6863196"/>
              <a:gd name="connsiteY298" fmla="*/ 5090570 h 7005996"/>
              <a:gd name="connsiteX299" fmla="*/ 2544661 w 6863196"/>
              <a:gd name="connsiteY299" fmla="*/ 5181402 h 7005996"/>
              <a:gd name="connsiteX300" fmla="*/ 2363816 w 6863196"/>
              <a:gd name="connsiteY300" fmla="*/ 5165831 h 7005996"/>
              <a:gd name="connsiteX301" fmla="*/ 2499449 w 6863196"/>
              <a:gd name="connsiteY301" fmla="*/ 5030362 h 7005996"/>
              <a:gd name="connsiteX302" fmla="*/ 2680867 w 6863196"/>
              <a:gd name="connsiteY302" fmla="*/ 4954583 h 7005996"/>
              <a:gd name="connsiteX303" fmla="*/ 2763635 w 6863196"/>
              <a:gd name="connsiteY303" fmla="*/ 4935768 h 7005996"/>
              <a:gd name="connsiteX304" fmla="*/ 2792478 w 6863196"/>
              <a:gd name="connsiteY304" fmla="*/ 4921418 h 7005996"/>
              <a:gd name="connsiteX305" fmla="*/ 2796505 w 6863196"/>
              <a:gd name="connsiteY305" fmla="*/ 4909419 h 7005996"/>
              <a:gd name="connsiteX306" fmla="*/ 2807026 w 6863196"/>
              <a:gd name="connsiteY306" fmla="*/ 4898897 h 7005996"/>
              <a:gd name="connsiteX307" fmla="*/ 2839034 w 6863196"/>
              <a:gd name="connsiteY307" fmla="*/ 4803027 h 7005996"/>
              <a:gd name="connsiteX308" fmla="*/ 2860964 w 6863196"/>
              <a:gd name="connsiteY308" fmla="*/ 4653376 h 7005996"/>
              <a:gd name="connsiteX309" fmla="*/ 2860432 w 6863196"/>
              <a:gd name="connsiteY309" fmla="*/ 4482881 h 7005996"/>
              <a:gd name="connsiteX310" fmla="*/ 2818141 w 6863196"/>
              <a:gd name="connsiteY310" fmla="*/ 4418737 h 7005996"/>
              <a:gd name="connsiteX311" fmla="*/ 2822429 w 6863196"/>
              <a:gd name="connsiteY311" fmla="*/ 4394964 h 7005996"/>
              <a:gd name="connsiteX312" fmla="*/ 2816501 w 6863196"/>
              <a:gd name="connsiteY312" fmla="*/ 4395581 h 7005996"/>
              <a:gd name="connsiteX313" fmla="*/ 2725506 w 6863196"/>
              <a:gd name="connsiteY313" fmla="*/ 4381048 h 7005996"/>
              <a:gd name="connsiteX314" fmla="*/ 2710626 w 6863196"/>
              <a:gd name="connsiteY314" fmla="*/ 4395581 h 7005996"/>
              <a:gd name="connsiteX315" fmla="*/ 2665415 w 6863196"/>
              <a:gd name="connsiteY315" fmla="*/ 4395581 h 7005996"/>
              <a:gd name="connsiteX316" fmla="*/ 2595666 w 6863196"/>
              <a:gd name="connsiteY316" fmla="*/ 4409271 h 7005996"/>
              <a:gd name="connsiteX317" fmla="*/ 2563332 w 6863196"/>
              <a:gd name="connsiteY317" fmla="*/ 4414509 h 7005996"/>
              <a:gd name="connsiteX318" fmla="*/ 2518913 w 6863196"/>
              <a:gd name="connsiteY318" fmla="*/ 4461055 h 7005996"/>
              <a:gd name="connsiteX319" fmla="*/ 2422357 w 6863196"/>
              <a:gd name="connsiteY319" fmla="*/ 4578165 h 7005996"/>
              <a:gd name="connsiteX320" fmla="*/ 2347737 w 6863196"/>
              <a:gd name="connsiteY320" fmla="*/ 4632232 h 7005996"/>
              <a:gd name="connsiteX321" fmla="*/ 2347492 w 6863196"/>
              <a:gd name="connsiteY321" fmla="*/ 4653030 h 7005996"/>
              <a:gd name="connsiteX322" fmla="*/ 2315523 w 6863196"/>
              <a:gd name="connsiteY322" fmla="*/ 4684999 h 7005996"/>
              <a:gd name="connsiteX323" fmla="*/ 2220066 w 6863196"/>
              <a:gd name="connsiteY323" fmla="*/ 4803210 h 7005996"/>
              <a:gd name="connsiteX324" fmla="*/ 2166649 w 6863196"/>
              <a:gd name="connsiteY324" fmla="*/ 4856627 h 7005996"/>
              <a:gd name="connsiteX325" fmla="*/ 2060059 w 6863196"/>
              <a:gd name="connsiteY325" fmla="*/ 5005791 h 7005996"/>
              <a:gd name="connsiteX326" fmla="*/ 2070420 w 6863196"/>
              <a:gd name="connsiteY326" fmla="*/ 5038004 h 7005996"/>
              <a:gd name="connsiteX327" fmla="*/ 2028050 w 6863196"/>
              <a:gd name="connsiteY327" fmla="*/ 5101660 h 7005996"/>
              <a:gd name="connsiteX328" fmla="*/ 1932228 w 6863196"/>
              <a:gd name="connsiteY328" fmla="*/ 5219503 h 7005996"/>
              <a:gd name="connsiteX329" fmla="*/ 1921545 w 6863196"/>
              <a:gd name="connsiteY329" fmla="*/ 5272759 h 7005996"/>
              <a:gd name="connsiteX330" fmla="*/ 1814262 w 6863196"/>
              <a:gd name="connsiteY330" fmla="*/ 5294161 h 7005996"/>
              <a:gd name="connsiteX331" fmla="*/ 1856868 w 6863196"/>
              <a:gd name="connsiteY331" fmla="*/ 5123101 h 7005996"/>
              <a:gd name="connsiteX332" fmla="*/ 1952852 w 6863196"/>
              <a:gd name="connsiteY332" fmla="*/ 4962521 h 7005996"/>
              <a:gd name="connsiteX333" fmla="*/ 2166360 w 6863196"/>
              <a:gd name="connsiteY333" fmla="*/ 4728460 h 7005996"/>
              <a:gd name="connsiteX334" fmla="*/ 2241629 w 6863196"/>
              <a:gd name="connsiteY334" fmla="*/ 4653191 h 7005996"/>
              <a:gd name="connsiteX335" fmla="*/ 2230497 w 6863196"/>
              <a:gd name="connsiteY335" fmla="*/ 4621016 h 7005996"/>
              <a:gd name="connsiteX336" fmla="*/ 2350701 w 6863196"/>
              <a:gd name="connsiteY336" fmla="*/ 4443937 h 7005996"/>
              <a:gd name="connsiteX337" fmla="*/ 2367226 w 6863196"/>
              <a:gd name="connsiteY337" fmla="*/ 4425131 h 7005996"/>
              <a:gd name="connsiteX338" fmla="*/ 2354158 w 6863196"/>
              <a:gd name="connsiteY338" fmla="*/ 4426723 h 7005996"/>
              <a:gd name="connsiteX339" fmla="*/ 2257941 w 6863196"/>
              <a:gd name="connsiteY339" fmla="*/ 4441775 h 7005996"/>
              <a:gd name="connsiteX340" fmla="*/ 2242489 w 6863196"/>
              <a:gd name="connsiteY340" fmla="*/ 4471879 h 7005996"/>
              <a:gd name="connsiteX341" fmla="*/ 2167518 w 6863196"/>
              <a:gd name="connsiteY341" fmla="*/ 4486931 h 7005996"/>
              <a:gd name="connsiteX342" fmla="*/ 2016433 w 6863196"/>
              <a:gd name="connsiteY342" fmla="*/ 4502502 h 7005996"/>
              <a:gd name="connsiteX343" fmla="*/ 1971221 w 6863196"/>
              <a:gd name="connsiteY343" fmla="*/ 4532606 h 7005996"/>
              <a:gd name="connsiteX344" fmla="*/ 1880227 w 6863196"/>
              <a:gd name="connsiteY344" fmla="*/ 4471879 h 7005996"/>
              <a:gd name="connsiteX345" fmla="*/ 2031312 w 6863196"/>
              <a:gd name="connsiteY345" fmla="*/ 4381048 h 7005996"/>
              <a:gd name="connsiteX346" fmla="*/ 2212730 w 6863196"/>
              <a:gd name="connsiteY346" fmla="*/ 4335372 h 7005996"/>
              <a:gd name="connsiteX347" fmla="*/ 2458513 w 6863196"/>
              <a:gd name="connsiteY347" fmla="*/ 4297564 h 7005996"/>
              <a:gd name="connsiteX348" fmla="*/ 2459714 w 6863196"/>
              <a:gd name="connsiteY348" fmla="*/ 4297698 h 7005996"/>
              <a:gd name="connsiteX349" fmla="*/ 2492762 w 6863196"/>
              <a:gd name="connsiteY349" fmla="*/ 4261551 h 7005996"/>
              <a:gd name="connsiteX350" fmla="*/ 2528979 w 6863196"/>
              <a:gd name="connsiteY350" fmla="*/ 4215366 h 7005996"/>
              <a:gd name="connsiteX351" fmla="*/ 2572196 w 6863196"/>
              <a:gd name="connsiteY351" fmla="*/ 4087002 h 7005996"/>
              <a:gd name="connsiteX352" fmla="*/ 2572074 w 6863196"/>
              <a:gd name="connsiteY352" fmla="*/ 4065837 h 7005996"/>
              <a:gd name="connsiteX353" fmla="*/ 2540266 w 6863196"/>
              <a:gd name="connsiteY353" fmla="*/ 4055072 h 7005996"/>
              <a:gd name="connsiteX354" fmla="*/ 2540021 w 6863196"/>
              <a:gd name="connsiteY354" fmla="*/ 4012742 h 7005996"/>
              <a:gd name="connsiteX355" fmla="*/ 2465640 w 6863196"/>
              <a:gd name="connsiteY355" fmla="*/ 3959403 h 7005996"/>
              <a:gd name="connsiteX356" fmla="*/ 2433465 w 6863196"/>
              <a:gd name="connsiteY356" fmla="*/ 3948271 h 7005996"/>
              <a:gd name="connsiteX357" fmla="*/ 2401740 w 6863196"/>
              <a:gd name="connsiteY357" fmla="*/ 3959442 h 7005996"/>
              <a:gd name="connsiteX358" fmla="*/ 2401901 w 6863196"/>
              <a:gd name="connsiteY358" fmla="*/ 3916707 h 7005996"/>
              <a:gd name="connsiteX359" fmla="*/ 2358800 w 6863196"/>
              <a:gd name="connsiteY359" fmla="*/ 3916502 h 7005996"/>
              <a:gd name="connsiteX360" fmla="*/ 2380369 w 6863196"/>
              <a:gd name="connsiteY360" fmla="*/ 3916219 h 7005996"/>
              <a:gd name="connsiteX361" fmla="*/ 2337674 w 6863196"/>
              <a:gd name="connsiteY361" fmla="*/ 3852480 h 7005996"/>
              <a:gd name="connsiteX362" fmla="*/ 2327030 w 6863196"/>
              <a:gd name="connsiteY362" fmla="*/ 3841836 h 7005996"/>
              <a:gd name="connsiteX363" fmla="*/ 2326908 w 6863196"/>
              <a:gd name="connsiteY363" fmla="*/ 3820671 h 7005996"/>
              <a:gd name="connsiteX364" fmla="*/ 2177212 w 6863196"/>
              <a:gd name="connsiteY364" fmla="*/ 3756766 h 7005996"/>
              <a:gd name="connsiteX365" fmla="*/ 2155841 w 6863196"/>
              <a:gd name="connsiteY365" fmla="*/ 3713543 h 7005996"/>
              <a:gd name="connsiteX366" fmla="*/ 2038441 w 6863196"/>
              <a:gd name="connsiteY366" fmla="*/ 3681934 h 7005996"/>
              <a:gd name="connsiteX367" fmla="*/ 1985186 w 6863196"/>
              <a:gd name="connsiteY367" fmla="*/ 3692616 h 7005996"/>
              <a:gd name="connsiteX368" fmla="*/ 1984697 w 6863196"/>
              <a:gd name="connsiteY368" fmla="*/ 3671084 h 7005996"/>
              <a:gd name="connsiteX369" fmla="*/ 1963654 w 6863196"/>
              <a:gd name="connsiteY369" fmla="*/ 3692128 h 7005996"/>
              <a:gd name="connsiteX370" fmla="*/ 1910643 w 6863196"/>
              <a:gd name="connsiteY370" fmla="*/ 3682012 h 7005996"/>
              <a:gd name="connsiteX371" fmla="*/ 1857387 w 6863196"/>
              <a:gd name="connsiteY371" fmla="*/ 3692695 h 7005996"/>
              <a:gd name="connsiteX372" fmla="*/ 1814003 w 6863196"/>
              <a:gd name="connsiteY372" fmla="*/ 3714058 h 7005996"/>
              <a:gd name="connsiteX373" fmla="*/ 1792959 w 6863196"/>
              <a:gd name="connsiteY373" fmla="*/ 3735101 h 7005996"/>
              <a:gd name="connsiteX374" fmla="*/ 1547439 w 6863196"/>
              <a:gd name="connsiteY374" fmla="*/ 3789040 h 7005996"/>
              <a:gd name="connsiteX375" fmla="*/ 1525992 w 6863196"/>
              <a:gd name="connsiteY375" fmla="*/ 3810487 h 7005996"/>
              <a:gd name="connsiteX376" fmla="*/ 1483540 w 6863196"/>
              <a:gd name="connsiteY376" fmla="*/ 3789078 h 7005996"/>
              <a:gd name="connsiteX377" fmla="*/ 1473018 w 6863196"/>
              <a:gd name="connsiteY377" fmla="*/ 3799600 h 7005996"/>
              <a:gd name="connsiteX378" fmla="*/ 1440561 w 6863196"/>
              <a:gd name="connsiteY378" fmla="*/ 3810037 h 7005996"/>
              <a:gd name="connsiteX379" fmla="*/ 1366300 w 6863196"/>
              <a:gd name="connsiteY379" fmla="*/ 3777862 h 7005996"/>
              <a:gd name="connsiteX380" fmla="*/ 1237936 w 6863196"/>
              <a:gd name="connsiteY380" fmla="*/ 3821080 h 7005996"/>
              <a:gd name="connsiteX381" fmla="*/ 1141945 w 6863196"/>
              <a:gd name="connsiteY381" fmla="*/ 3831923 h 7005996"/>
              <a:gd name="connsiteX382" fmla="*/ 1078084 w 6863196"/>
              <a:gd name="connsiteY382" fmla="*/ 3831191 h 7005996"/>
              <a:gd name="connsiteX383" fmla="*/ 1056636 w 6863196"/>
              <a:gd name="connsiteY383" fmla="*/ 3852638 h 7005996"/>
              <a:gd name="connsiteX384" fmla="*/ 1045993 w 6863196"/>
              <a:gd name="connsiteY384" fmla="*/ 3841995 h 7005996"/>
              <a:gd name="connsiteX385" fmla="*/ 992331 w 6863196"/>
              <a:gd name="connsiteY385" fmla="*/ 3853081 h 7005996"/>
              <a:gd name="connsiteX386" fmla="*/ 874809 w 6863196"/>
              <a:gd name="connsiteY386" fmla="*/ 3863436 h 7005996"/>
              <a:gd name="connsiteX387" fmla="*/ 842840 w 6863196"/>
              <a:gd name="connsiteY387" fmla="*/ 3895405 h 7005996"/>
              <a:gd name="connsiteX388" fmla="*/ 714919 w 6863196"/>
              <a:gd name="connsiteY388" fmla="*/ 3874319 h 7005996"/>
              <a:gd name="connsiteX389" fmla="*/ 565427 w 6863196"/>
              <a:gd name="connsiteY389" fmla="*/ 3916642 h 7005996"/>
              <a:gd name="connsiteX390" fmla="*/ 426420 w 6863196"/>
              <a:gd name="connsiteY390" fmla="*/ 3949215 h 7005996"/>
              <a:gd name="connsiteX391" fmla="*/ 148846 w 6863196"/>
              <a:gd name="connsiteY391" fmla="*/ 4013186 h 7005996"/>
              <a:gd name="connsiteX392" fmla="*/ 10648 w 6863196"/>
              <a:gd name="connsiteY392" fmla="*/ 4044951 h 7005996"/>
              <a:gd name="connsiteX393" fmla="*/ 5 w 6863196"/>
              <a:gd name="connsiteY393" fmla="*/ 4034307 h 7005996"/>
              <a:gd name="connsiteX394" fmla="*/ 21086 w 6863196"/>
              <a:gd name="connsiteY394" fmla="*/ 3949365 h 7005996"/>
              <a:gd name="connsiteX395" fmla="*/ 63821 w 6863196"/>
              <a:gd name="connsiteY395" fmla="*/ 3949204 h 7005996"/>
              <a:gd name="connsiteX396" fmla="*/ 159689 w 6863196"/>
              <a:gd name="connsiteY396" fmla="*/ 3917196 h 7005996"/>
              <a:gd name="connsiteX397" fmla="*/ 170699 w 6863196"/>
              <a:gd name="connsiteY397" fmla="*/ 3928207 h 7005996"/>
              <a:gd name="connsiteX398" fmla="*/ 203074 w 6863196"/>
              <a:gd name="connsiteY398" fmla="*/ 3895832 h 7005996"/>
              <a:gd name="connsiteX399" fmla="*/ 543897 w 6863196"/>
              <a:gd name="connsiteY399" fmla="*/ 3853025 h 7005996"/>
              <a:gd name="connsiteX400" fmla="*/ 661580 w 6863196"/>
              <a:gd name="connsiteY400" fmla="*/ 3799936 h 7005996"/>
              <a:gd name="connsiteX401" fmla="*/ 725517 w 6863196"/>
              <a:gd name="connsiteY401" fmla="*/ 3799126 h 7005996"/>
              <a:gd name="connsiteX402" fmla="*/ 800305 w 6863196"/>
              <a:gd name="connsiteY402" fmla="*/ 3788933 h 7005996"/>
              <a:gd name="connsiteX403" fmla="*/ 842918 w 6863196"/>
              <a:gd name="connsiteY403" fmla="*/ 3767606 h 7005996"/>
              <a:gd name="connsiteX404" fmla="*/ 1131257 w 6863196"/>
              <a:gd name="connsiteY404" fmla="*/ 3735444 h 7005996"/>
              <a:gd name="connsiteX405" fmla="*/ 1205960 w 6863196"/>
              <a:gd name="connsiteY405" fmla="*/ 3703314 h 7005996"/>
              <a:gd name="connsiteX406" fmla="*/ 1344930 w 6863196"/>
              <a:gd name="connsiteY406" fmla="*/ 3671512 h 7005996"/>
              <a:gd name="connsiteX407" fmla="*/ 1408830 w 6863196"/>
              <a:gd name="connsiteY407" fmla="*/ 3671472 h 7005996"/>
              <a:gd name="connsiteX408" fmla="*/ 1536790 w 6863196"/>
              <a:gd name="connsiteY408" fmla="*/ 3628661 h 7005996"/>
              <a:gd name="connsiteX409" fmla="*/ 1771422 w 6863196"/>
              <a:gd name="connsiteY409" fmla="*/ 3521749 h 7005996"/>
              <a:gd name="connsiteX410" fmla="*/ 1921319 w 6863196"/>
              <a:gd name="connsiteY410" fmla="*/ 3479020 h 7005996"/>
              <a:gd name="connsiteX411" fmla="*/ 1974614 w 6863196"/>
              <a:gd name="connsiteY411" fmla="*/ 3404439 h 7005996"/>
              <a:gd name="connsiteX412" fmla="*/ 1996062 w 6863196"/>
              <a:gd name="connsiteY412" fmla="*/ 3382990 h 7005996"/>
              <a:gd name="connsiteX413" fmla="*/ 2081486 w 6863196"/>
              <a:gd name="connsiteY413" fmla="*/ 3233705 h 7005996"/>
              <a:gd name="connsiteX414" fmla="*/ 2166867 w 6863196"/>
              <a:gd name="connsiteY414" fmla="*/ 2998584 h 7005996"/>
              <a:gd name="connsiteX415" fmla="*/ 2198996 w 6863196"/>
              <a:gd name="connsiteY415" fmla="*/ 2923880 h 7005996"/>
              <a:gd name="connsiteX416" fmla="*/ 2187621 w 6863196"/>
              <a:gd name="connsiteY416" fmla="*/ 2849374 h 7005996"/>
              <a:gd name="connsiteX417" fmla="*/ 2198546 w 6863196"/>
              <a:gd name="connsiteY417" fmla="*/ 2838449 h 7005996"/>
              <a:gd name="connsiteX418" fmla="*/ 2188185 w 6863196"/>
              <a:gd name="connsiteY418" fmla="*/ 2806236 h 7005996"/>
              <a:gd name="connsiteX419" fmla="*/ 2209718 w 6863196"/>
              <a:gd name="connsiteY419" fmla="*/ 2806725 h 7005996"/>
              <a:gd name="connsiteX420" fmla="*/ 2210479 w 6863196"/>
              <a:gd name="connsiteY420" fmla="*/ 2802243 h 7005996"/>
              <a:gd name="connsiteX421" fmla="*/ 2209842 w 6863196"/>
              <a:gd name="connsiteY421" fmla="*/ 2802479 h 7005996"/>
              <a:gd name="connsiteX422" fmla="*/ 2182398 w 6863196"/>
              <a:gd name="connsiteY422" fmla="*/ 2795910 h 7005996"/>
              <a:gd name="connsiteX423" fmla="*/ 2106855 w 6863196"/>
              <a:gd name="connsiteY423" fmla="*/ 2690546 h 7005996"/>
              <a:gd name="connsiteX424" fmla="*/ 1971221 w 6863196"/>
              <a:gd name="connsiteY424" fmla="*/ 2614766 h 7005996"/>
              <a:gd name="connsiteX425" fmla="*/ 1849895 w 6863196"/>
              <a:gd name="connsiteY425" fmla="*/ 2539506 h 7005996"/>
              <a:gd name="connsiteX426" fmla="*/ 1608387 w 6863196"/>
              <a:gd name="connsiteY426" fmla="*/ 2388466 h 7005996"/>
              <a:gd name="connsiteX427" fmla="*/ 1488205 w 6863196"/>
              <a:gd name="connsiteY427" fmla="*/ 2313206 h 7005996"/>
              <a:gd name="connsiteX428" fmla="*/ 1488205 w 6863196"/>
              <a:gd name="connsiteY428" fmla="*/ 2298154 h 7005996"/>
              <a:gd name="connsiteX429" fmla="*/ 1563175 w 6863196"/>
              <a:gd name="connsiteY429" fmla="*/ 2252998 h 7005996"/>
              <a:gd name="connsiteX430" fmla="*/ 1593507 w 6863196"/>
              <a:gd name="connsiteY430" fmla="*/ 2283102 h 7005996"/>
              <a:gd name="connsiteX431" fmla="*/ 1683929 w 6863196"/>
              <a:gd name="connsiteY431" fmla="*/ 2328258 h 7005996"/>
              <a:gd name="connsiteX432" fmla="*/ 1683929 w 6863196"/>
              <a:gd name="connsiteY432" fmla="*/ 2343829 h 7005996"/>
              <a:gd name="connsiteX433" fmla="*/ 1729713 w 6863196"/>
              <a:gd name="connsiteY433" fmla="*/ 2343829 h 7005996"/>
              <a:gd name="connsiteX434" fmla="*/ 2000981 w 6863196"/>
              <a:gd name="connsiteY434" fmla="*/ 2554558 h 7005996"/>
              <a:gd name="connsiteX435" fmla="*/ 2121735 w 6863196"/>
              <a:gd name="connsiteY435" fmla="*/ 2600233 h 7005996"/>
              <a:gd name="connsiteX436" fmla="*/ 2167518 w 6863196"/>
              <a:gd name="connsiteY436" fmla="*/ 2644870 h 7005996"/>
              <a:gd name="connsiteX437" fmla="*/ 2227609 w 6863196"/>
              <a:gd name="connsiteY437" fmla="*/ 2690546 h 7005996"/>
              <a:gd name="connsiteX438" fmla="*/ 2233519 w 6863196"/>
              <a:gd name="connsiteY438" fmla="*/ 2696212 h 7005996"/>
              <a:gd name="connsiteX439" fmla="*/ 2238904 w 6863196"/>
              <a:gd name="connsiteY439" fmla="*/ 2646422 h 7005996"/>
              <a:gd name="connsiteX440" fmla="*/ 2230793 w 6863196"/>
              <a:gd name="connsiteY440" fmla="*/ 2572046 h 7005996"/>
              <a:gd name="connsiteX441" fmla="*/ 2220348 w 6863196"/>
              <a:gd name="connsiteY441" fmla="*/ 2517897 h 7005996"/>
              <a:gd name="connsiteX442" fmla="*/ 2199061 w 6863196"/>
              <a:gd name="connsiteY442" fmla="*/ 2496610 h 7005996"/>
              <a:gd name="connsiteX443" fmla="*/ 2156038 w 6863196"/>
              <a:gd name="connsiteY443" fmla="*/ 2368605 h 7005996"/>
              <a:gd name="connsiteX444" fmla="*/ 2166920 w 6863196"/>
              <a:gd name="connsiteY444" fmla="*/ 2208715 h 7005996"/>
              <a:gd name="connsiteX445" fmla="*/ 2049919 w 6863196"/>
              <a:gd name="connsiteY445" fmla="*/ 2026966 h 7005996"/>
              <a:gd name="connsiteX446" fmla="*/ 1943035 w 6863196"/>
              <a:gd name="connsiteY446" fmla="*/ 1835101 h 7005996"/>
              <a:gd name="connsiteX447" fmla="*/ 1772412 w 6863196"/>
              <a:gd name="connsiteY447" fmla="*/ 1600540 h 7005996"/>
              <a:gd name="connsiteX448" fmla="*/ 1788581 w 6863196"/>
              <a:gd name="connsiteY448" fmla="*/ 1564579 h 7005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Lst>
            <a:rect l="l" t="t" r="r" b="b"/>
            <a:pathLst>
              <a:path w="6863196" h="7005996">
                <a:moveTo>
                  <a:pt x="6681779" y="3641421"/>
                </a:moveTo>
                <a:lnTo>
                  <a:pt x="6712111" y="3641421"/>
                </a:lnTo>
                <a:cubicBezTo>
                  <a:pt x="6712110" y="3656473"/>
                  <a:pt x="6681779" y="3656473"/>
                  <a:pt x="6681779" y="3641421"/>
                </a:cubicBezTo>
                <a:close/>
                <a:moveTo>
                  <a:pt x="3092813" y="4434166"/>
                </a:moveTo>
                <a:cubicBezTo>
                  <a:pt x="3062907" y="4462078"/>
                  <a:pt x="3044939" y="4496010"/>
                  <a:pt x="3021054" y="4535860"/>
                </a:cubicBezTo>
                <a:cubicBezTo>
                  <a:pt x="2977509" y="4599958"/>
                  <a:pt x="2946028" y="4653459"/>
                  <a:pt x="2935469" y="4727881"/>
                </a:cubicBezTo>
                <a:cubicBezTo>
                  <a:pt x="2924664" y="4759972"/>
                  <a:pt x="2935430" y="4791780"/>
                  <a:pt x="2935147" y="4813349"/>
                </a:cubicBezTo>
                <a:cubicBezTo>
                  <a:pt x="2929928" y="4829579"/>
                  <a:pt x="2921895" y="4848255"/>
                  <a:pt x="2916513" y="4866849"/>
                </a:cubicBezTo>
                <a:lnTo>
                  <a:pt x="2915458" y="4872223"/>
                </a:lnTo>
                <a:lnTo>
                  <a:pt x="2952135" y="4849218"/>
                </a:lnTo>
                <a:cubicBezTo>
                  <a:pt x="2982466" y="4819114"/>
                  <a:pt x="3028250" y="4789010"/>
                  <a:pt x="3073461" y="4758906"/>
                </a:cubicBezTo>
                <a:cubicBezTo>
                  <a:pt x="3118672" y="4728283"/>
                  <a:pt x="3148432" y="4698179"/>
                  <a:pt x="3193643" y="4637971"/>
                </a:cubicBezTo>
                <a:cubicBezTo>
                  <a:pt x="3209095" y="4607866"/>
                  <a:pt x="3209095" y="4592814"/>
                  <a:pt x="3209095" y="4562710"/>
                </a:cubicBezTo>
                <a:cubicBezTo>
                  <a:pt x="3239426" y="4532606"/>
                  <a:pt x="3284638" y="4517035"/>
                  <a:pt x="3284638" y="4517035"/>
                </a:cubicBezTo>
                <a:cubicBezTo>
                  <a:pt x="3284638" y="4517035"/>
                  <a:pt x="3299517" y="4517035"/>
                  <a:pt x="3299517" y="4502502"/>
                </a:cubicBezTo>
                <a:cubicBezTo>
                  <a:pt x="3299517" y="4502502"/>
                  <a:pt x="3299517" y="4486931"/>
                  <a:pt x="3314969" y="4471879"/>
                </a:cubicBezTo>
                <a:cubicBezTo>
                  <a:pt x="3322409" y="4471879"/>
                  <a:pt x="3326129" y="4468116"/>
                  <a:pt x="3327989" y="4466234"/>
                </a:cubicBezTo>
                <a:lnTo>
                  <a:pt x="3328915" y="4465833"/>
                </a:lnTo>
                <a:lnTo>
                  <a:pt x="3329849" y="4471879"/>
                </a:lnTo>
                <a:cubicBezTo>
                  <a:pt x="3329849" y="4468116"/>
                  <a:pt x="3329849" y="4466234"/>
                  <a:pt x="3329616" y="4465529"/>
                </a:cubicBezTo>
                <a:lnTo>
                  <a:pt x="3328915" y="4465833"/>
                </a:lnTo>
                <a:lnTo>
                  <a:pt x="3321605" y="4418516"/>
                </a:lnTo>
                <a:lnTo>
                  <a:pt x="3312480" y="4417402"/>
                </a:lnTo>
                <a:cubicBezTo>
                  <a:pt x="3299694" y="4415542"/>
                  <a:pt x="3287748" y="4412853"/>
                  <a:pt x="3277135" y="4407501"/>
                </a:cubicBezTo>
                <a:cubicBezTo>
                  <a:pt x="3245043" y="4418306"/>
                  <a:pt x="3223389" y="4396651"/>
                  <a:pt x="3202592" y="4396896"/>
                </a:cubicBezTo>
                <a:cubicBezTo>
                  <a:pt x="3191665" y="4407822"/>
                  <a:pt x="3148931" y="4407984"/>
                  <a:pt x="3127361" y="4408266"/>
                </a:cubicBezTo>
                <a:cubicBezTo>
                  <a:pt x="3114078" y="4416228"/>
                  <a:pt x="3102782" y="4424863"/>
                  <a:pt x="3092813" y="4434166"/>
                </a:cubicBezTo>
                <a:close/>
                <a:moveTo>
                  <a:pt x="2637760" y="4320187"/>
                </a:moveTo>
                <a:lnTo>
                  <a:pt x="2644258" y="4318171"/>
                </a:lnTo>
                <a:cubicBezTo>
                  <a:pt x="2646350" y="4316476"/>
                  <a:pt x="2647745" y="4314059"/>
                  <a:pt x="2648675" y="4311172"/>
                </a:cubicBezTo>
                <a:lnTo>
                  <a:pt x="2648861" y="4309086"/>
                </a:lnTo>
                <a:close/>
                <a:moveTo>
                  <a:pt x="2732337" y="4205057"/>
                </a:moveTo>
                <a:cubicBezTo>
                  <a:pt x="2716554" y="4220839"/>
                  <a:pt x="2688480" y="4248914"/>
                  <a:pt x="2670717" y="4275348"/>
                </a:cubicBezTo>
                <a:lnTo>
                  <a:pt x="2664312" y="4287394"/>
                </a:lnTo>
                <a:lnTo>
                  <a:pt x="2788316" y="4261994"/>
                </a:lnTo>
                <a:lnTo>
                  <a:pt x="2821957" y="4256423"/>
                </a:lnTo>
                <a:lnTo>
                  <a:pt x="2789779" y="4232856"/>
                </a:lnTo>
                <a:cubicBezTo>
                  <a:pt x="2772340" y="4223410"/>
                  <a:pt x="2753582" y="4215376"/>
                  <a:pt x="2732337" y="4205057"/>
                </a:cubicBezTo>
                <a:close/>
                <a:moveTo>
                  <a:pt x="4622249" y="1311729"/>
                </a:moveTo>
                <a:lnTo>
                  <a:pt x="4643696" y="1290282"/>
                </a:lnTo>
                <a:cubicBezTo>
                  <a:pt x="4654340" y="1300925"/>
                  <a:pt x="4632893" y="1322372"/>
                  <a:pt x="4622249" y="1311729"/>
                </a:cubicBezTo>
                <a:close/>
                <a:moveTo>
                  <a:pt x="1788581" y="1564579"/>
                </a:moveTo>
                <a:cubicBezTo>
                  <a:pt x="1835372" y="1499112"/>
                  <a:pt x="1940507" y="1557597"/>
                  <a:pt x="1996813" y="1632316"/>
                </a:cubicBezTo>
                <a:cubicBezTo>
                  <a:pt x="2049747" y="1707102"/>
                  <a:pt x="2071079" y="1814225"/>
                  <a:pt x="2135061" y="1899251"/>
                </a:cubicBezTo>
                <a:cubicBezTo>
                  <a:pt x="2166708" y="1952750"/>
                  <a:pt x="2241580" y="2027622"/>
                  <a:pt x="2294958" y="2038104"/>
                </a:cubicBezTo>
                <a:cubicBezTo>
                  <a:pt x="2337410" y="2059512"/>
                  <a:pt x="2359262" y="2037660"/>
                  <a:pt x="2413007" y="2048510"/>
                </a:cubicBezTo>
                <a:cubicBezTo>
                  <a:pt x="2519029" y="2005613"/>
                  <a:pt x="2551321" y="1888174"/>
                  <a:pt x="2572808" y="1802827"/>
                </a:cubicBezTo>
                <a:cubicBezTo>
                  <a:pt x="2540795" y="1685833"/>
                  <a:pt x="2508697" y="1546901"/>
                  <a:pt x="2476722" y="1429136"/>
                </a:cubicBezTo>
                <a:cubicBezTo>
                  <a:pt x="2519618" y="1323113"/>
                  <a:pt x="2615320" y="1184103"/>
                  <a:pt x="2732964" y="1194914"/>
                </a:cubicBezTo>
                <a:cubicBezTo>
                  <a:pt x="2786297" y="1119561"/>
                  <a:pt x="2722436" y="1055700"/>
                  <a:pt x="2711465" y="980790"/>
                </a:cubicBezTo>
                <a:cubicBezTo>
                  <a:pt x="2626440" y="916808"/>
                  <a:pt x="2594059" y="799446"/>
                  <a:pt x="2690699" y="767400"/>
                </a:cubicBezTo>
                <a:cubicBezTo>
                  <a:pt x="2818459" y="831222"/>
                  <a:pt x="2722231" y="949470"/>
                  <a:pt x="2818022" y="1045261"/>
                </a:cubicBezTo>
                <a:cubicBezTo>
                  <a:pt x="2828787" y="1077070"/>
                  <a:pt x="2818755" y="1109123"/>
                  <a:pt x="2861207" y="1130531"/>
                </a:cubicBezTo>
                <a:cubicBezTo>
                  <a:pt x="2839759" y="1151979"/>
                  <a:pt x="2861046" y="1173266"/>
                  <a:pt x="2861167" y="1194431"/>
                </a:cubicBezTo>
                <a:cubicBezTo>
                  <a:pt x="2914384" y="1247648"/>
                  <a:pt x="3010582" y="1279906"/>
                  <a:pt x="3074442" y="1343767"/>
                </a:cubicBezTo>
                <a:cubicBezTo>
                  <a:pt x="3096096" y="1365420"/>
                  <a:pt x="3095850" y="1386219"/>
                  <a:pt x="3117137" y="1407505"/>
                </a:cubicBezTo>
                <a:cubicBezTo>
                  <a:pt x="3138425" y="1428793"/>
                  <a:pt x="3181243" y="1450568"/>
                  <a:pt x="3202408" y="1450690"/>
                </a:cubicBezTo>
                <a:cubicBezTo>
                  <a:pt x="3277440" y="1482826"/>
                  <a:pt x="3352143" y="1450696"/>
                  <a:pt x="3426808" y="1482466"/>
                </a:cubicBezTo>
                <a:cubicBezTo>
                  <a:pt x="3448256" y="1461018"/>
                  <a:pt x="3479942" y="1450619"/>
                  <a:pt x="3501269" y="1408006"/>
                </a:cubicBezTo>
                <a:cubicBezTo>
                  <a:pt x="3512073" y="1375915"/>
                  <a:pt x="3533803" y="1332898"/>
                  <a:pt x="3533559" y="1290567"/>
                </a:cubicBezTo>
                <a:cubicBezTo>
                  <a:pt x="3533842" y="1268998"/>
                  <a:pt x="3512555" y="1247711"/>
                  <a:pt x="3522587" y="1215658"/>
                </a:cubicBezTo>
                <a:cubicBezTo>
                  <a:pt x="3512311" y="1205382"/>
                  <a:pt x="3501544" y="1236701"/>
                  <a:pt x="3491268" y="1226424"/>
                </a:cubicBezTo>
                <a:cubicBezTo>
                  <a:pt x="3448084" y="1141154"/>
                  <a:pt x="3458926" y="1045163"/>
                  <a:pt x="3458882" y="959327"/>
                </a:cubicBezTo>
                <a:cubicBezTo>
                  <a:pt x="3459042" y="916593"/>
                  <a:pt x="3458799" y="874263"/>
                  <a:pt x="3448438" y="842050"/>
                </a:cubicBezTo>
                <a:cubicBezTo>
                  <a:pt x="3437794" y="831407"/>
                  <a:pt x="3427151" y="820764"/>
                  <a:pt x="3427029" y="799598"/>
                </a:cubicBezTo>
                <a:cubicBezTo>
                  <a:pt x="3426908" y="778433"/>
                  <a:pt x="3437712" y="746343"/>
                  <a:pt x="3437872" y="703607"/>
                </a:cubicBezTo>
                <a:cubicBezTo>
                  <a:pt x="3437384" y="682075"/>
                  <a:pt x="3437628" y="661278"/>
                  <a:pt x="3437949" y="638936"/>
                </a:cubicBezTo>
                <a:cubicBezTo>
                  <a:pt x="3437949" y="638936"/>
                  <a:pt x="3437827" y="617772"/>
                  <a:pt x="3448349" y="607250"/>
                </a:cubicBezTo>
                <a:cubicBezTo>
                  <a:pt x="3437705" y="596606"/>
                  <a:pt x="3427062" y="585963"/>
                  <a:pt x="3437988" y="575037"/>
                </a:cubicBezTo>
                <a:lnTo>
                  <a:pt x="3448510" y="564515"/>
                </a:lnTo>
                <a:cubicBezTo>
                  <a:pt x="3459314" y="532424"/>
                  <a:pt x="3437660" y="510771"/>
                  <a:pt x="3437905" y="489973"/>
                </a:cubicBezTo>
                <a:cubicBezTo>
                  <a:pt x="3437905" y="489973"/>
                  <a:pt x="3437416" y="468441"/>
                  <a:pt x="3447938" y="457919"/>
                </a:cubicBezTo>
                <a:cubicBezTo>
                  <a:pt x="3437616" y="361807"/>
                  <a:pt x="3437938" y="276337"/>
                  <a:pt x="3437771" y="169336"/>
                </a:cubicBezTo>
                <a:cubicBezTo>
                  <a:pt x="3416202" y="169619"/>
                  <a:pt x="3427128" y="158693"/>
                  <a:pt x="3416484" y="148050"/>
                </a:cubicBezTo>
                <a:cubicBezTo>
                  <a:pt x="3426884" y="116364"/>
                  <a:pt x="3427167" y="94794"/>
                  <a:pt x="3416400" y="62986"/>
                </a:cubicBezTo>
                <a:lnTo>
                  <a:pt x="3469817" y="9569"/>
                </a:lnTo>
                <a:cubicBezTo>
                  <a:pt x="3491265" y="-11879"/>
                  <a:pt x="3512553" y="9408"/>
                  <a:pt x="3533718" y="9530"/>
                </a:cubicBezTo>
                <a:cubicBezTo>
                  <a:pt x="3544604" y="62503"/>
                  <a:pt x="3576901" y="94800"/>
                  <a:pt x="3587262" y="127013"/>
                </a:cubicBezTo>
                <a:cubicBezTo>
                  <a:pt x="3597905" y="137657"/>
                  <a:pt x="3566219" y="148056"/>
                  <a:pt x="3598028" y="158821"/>
                </a:cubicBezTo>
                <a:cubicBezTo>
                  <a:pt x="3576175" y="180673"/>
                  <a:pt x="3576297" y="201839"/>
                  <a:pt x="3576418" y="223004"/>
                </a:cubicBezTo>
                <a:cubicBezTo>
                  <a:pt x="3555583" y="287148"/>
                  <a:pt x="3533890" y="329394"/>
                  <a:pt x="3534218" y="393660"/>
                </a:cubicBezTo>
                <a:cubicBezTo>
                  <a:pt x="3533568" y="414863"/>
                  <a:pt x="3533652" y="436800"/>
                  <a:pt x="3544295" y="447443"/>
                </a:cubicBezTo>
                <a:cubicBezTo>
                  <a:pt x="3544417" y="468608"/>
                  <a:pt x="3533774" y="457965"/>
                  <a:pt x="3522847" y="468891"/>
                </a:cubicBezTo>
                <a:cubicBezTo>
                  <a:pt x="3544417" y="468608"/>
                  <a:pt x="3544134" y="490178"/>
                  <a:pt x="3554778" y="500821"/>
                </a:cubicBezTo>
                <a:cubicBezTo>
                  <a:pt x="3533535" y="628498"/>
                  <a:pt x="3555394" y="756381"/>
                  <a:pt x="3554911" y="884584"/>
                </a:cubicBezTo>
                <a:cubicBezTo>
                  <a:pt x="3576198" y="905871"/>
                  <a:pt x="3576282" y="927807"/>
                  <a:pt x="3586558" y="938084"/>
                </a:cubicBezTo>
                <a:cubicBezTo>
                  <a:pt x="3597324" y="969893"/>
                  <a:pt x="3586887" y="1002351"/>
                  <a:pt x="3618817" y="1034281"/>
                </a:cubicBezTo>
                <a:cubicBezTo>
                  <a:pt x="3587253" y="1065845"/>
                  <a:pt x="3619550" y="1098142"/>
                  <a:pt x="3629665" y="1151154"/>
                </a:cubicBezTo>
                <a:cubicBezTo>
                  <a:pt x="3629749" y="1173090"/>
                  <a:pt x="3618945" y="1205181"/>
                  <a:pt x="3618785" y="1247916"/>
                </a:cubicBezTo>
                <a:cubicBezTo>
                  <a:pt x="3618907" y="1269081"/>
                  <a:pt x="3640193" y="1290368"/>
                  <a:pt x="3629389" y="1322459"/>
                </a:cubicBezTo>
                <a:cubicBezTo>
                  <a:pt x="3629633" y="1364789"/>
                  <a:pt x="3629472" y="1407523"/>
                  <a:pt x="3640038" y="1482838"/>
                </a:cubicBezTo>
                <a:cubicBezTo>
                  <a:pt x="3650682" y="1493481"/>
                  <a:pt x="3640160" y="1504003"/>
                  <a:pt x="3650804" y="1514647"/>
                </a:cubicBezTo>
                <a:cubicBezTo>
                  <a:pt x="3661654" y="1568391"/>
                  <a:pt x="3672419" y="1600200"/>
                  <a:pt x="3714871" y="1621608"/>
                </a:cubicBezTo>
                <a:cubicBezTo>
                  <a:pt x="3725514" y="1632251"/>
                  <a:pt x="3704471" y="1653295"/>
                  <a:pt x="3715114" y="1663938"/>
                </a:cubicBezTo>
                <a:cubicBezTo>
                  <a:pt x="3778974" y="1727798"/>
                  <a:pt x="3821465" y="1685308"/>
                  <a:pt x="3896452" y="1631609"/>
                </a:cubicBezTo>
                <a:cubicBezTo>
                  <a:pt x="3939432" y="1610650"/>
                  <a:pt x="3992199" y="1578436"/>
                  <a:pt x="4013647" y="1556988"/>
                </a:cubicBezTo>
                <a:cubicBezTo>
                  <a:pt x="4046105" y="1546550"/>
                  <a:pt x="4057031" y="1535624"/>
                  <a:pt x="4067552" y="1525103"/>
                </a:cubicBezTo>
                <a:cubicBezTo>
                  <a:pt x="4074498" y="1524763"/>
                  <a:pt x="4081404" y="1525196"/>
                  <a:pt x="4088350" y="1524857"/>
                </a:cubicBezTo>
                <a:lnTo>
                  <a:pt x="4109798" y="1503410"/>
                </a:lnTo>
                <a:cubicBezTo>
                  <a:pt x="4131330" y="1503899"/>
                  <a:pt x="4152128" y="1503653"/>
                  <a:pt x="4163054" y="1492727"/>
                </a:cubicBezTo>
                <a:cubicBezTo>
                  <a:pt x="4216677" y="1482412"/>
                  <a:pt x="4259694" y="1460681"/>
                  <a:pt x="4323432" y="1503377"/>
                </a:cubicBezTo>
                <a:cubicBezTo>
                  <a:pt x="4450987" y="1460969"/>
                  <a:pt x="4526663" y="1322167"/>
                  <a:pt x="4621921" y="1247463"/>
                </a:cubicBezTo>
                <a:cubicBezTo>
                  <a:pt x="4643774" y="1225610"/>
                  <a:pt x="4654539" y="1194291"/>
                  <a:pt x="4675987" y="1172843"/>
                </a:cubicBezTo>
                <a:cubicBezTo>
                  <a:pt x="4697435" y="1151395"/>
                  <a:pt x="4696786" y="1172598"/>
                  <a:pt x="4718723" y="1172682"/>
                </a:cubicBezTo>
                <a:lnTo>
                  <a:pt x="4728998" y="1182958"/>
                </a:lnTo>
                <a:lnTo>
                  <a:pt x="4739519" y="1172437"/>
                </a:lnTo>
                <a:cubicBezTo>
                  <a:pt x="4740009" y="1193969"/>
                  <a:pt x="4708040" y="1225939"/>
                  <a:pt x="4686102" y="1225854"/>
                </a:cubicBezTo>
                <a:cubicBezTo>
                  <a:pt x="4665060" y="1246896"/>
                  <a:pt x="4675383" y="1279882"/>
                  <a:pt x="4654340" y="1300925"/>
                </a:cubicBezTo>
                <a:lnTo>
                  <a:pt x="4643696" y="1290282"/>
                </a:lnTo>
                <a:cubicBezTo>
                  <a:pt x="4633175" y="1300803"/>
                  <a:pt x="4611238" y="1300718"/>
                  <a:pt x="4622249" y="1311729"/>
                </a:cubicBezTo>
                <a:lnTo>
                  <a:pt x="4632893" y="1322372"/>
                </a:lnTo>
                <a:lnTo>
                  <a:pt x="4622371" y="1332894"/>
                </a:lnTo>
                <a:cubicBezTo>
                  <a:pt x="4601167" y="1396672"/>
                  <a:pt x="4515254" y="1461298"/>
                  <a:pt x="4537152" y="1525281"/>
                </a:cubicBezTo>
                <a:cubicBezTo>
                  <a:pt x="4504572" y="1514553"/>
                  <a:pt x="4494661" y="1567772"/>
                  <a:pt x="4472724" y="1567687"/>
                </a:cubicBezTo>
                <a:cubicBezTo>
                  <a:pt x="4462692" y="1599741"/>
                  <a:pt x="4494500" y="1610506"/>
                  <a:pt x="4494255" y="1631304"/>
                </a:cubicBezTo>
                <a:lnTo>
                  <a:pt x="4472807" y="1652752"/>
                </a:lnTo>
                <a:cubicBezTo>
                  <a:pt x="4473296" y="1674283"/>
                  <a:pt x="4451444" y="1696136"/>
                  <a:pt x="4451566" y="1717301"/>
                </a:cubicBezTo>
                <a:cubicBezTo>
                  <a:pt x="4440639" y="1728227"/>
                  <a:pt x="4451283" y="1738870"/>
                  <a:pt x="4451404" y="1760035"/>
                </a:cubicBezTo>
                <a:cubicBezTo>
                  <a:pt x="4440601" y="1792127"/>
                  <a:pt x="4419276" y="1834739"/>
                  <a:pt x="4430041" y="1866548"/>
                </a:cubicBezTo>
                <a:lnTo>
                  <a:pt x="4434568" y="1871279"/>
                </a:lnTo>
                <a:lnTo>
                  <a:pt x="4443835" y="1848369"/>
                </a:lnTo>
                <a:cubicBezTo>
                  <a:pt x="4448801" y="1840388"/>
                  <a:pt x="4454909" y="1834265"/>
                  <a:pt x="4462420" y="1830502"/>
                </a:cubicBezTo>
                <a:cubicBezTo>
                  <a:pt x="4475655" y="1822911"/>
                  <a:pt x="4487941" y="1818394"/>
                  <a:pt x="4499281" y="1816507"/>
                </a:cubicBezTo>
                <a:cubicBezTo>
                  <a:pt x="4538970" y="1809904"/>
                  <a:pt x="4567061" y="1835527"/>
                  <a:pt x="4583603" y="1874381"/>
                </a:cubicBezTo>
                <a:lnTo>
                  <a:pt x="4597630" y="1931536"/>
                </a:lnTo>
                <a:lnTo>
                  <a:pt x="4623591" y="1932499"/>
                </a:lnTo>
                <a:cubicBezTo>
                  <a:pt x="4664242" y="1921783"/>
                  <a:pt x="4694524" y="1879527"/>
                  <a:pt x="4718501" y="1855550"/>
                </a:cubicBezTo>
                <a:cubicBezTo>
                  <a:pt x="4782118" y="1877081"/>
                  <a:pt x="4718462" y="1919449"/>
                  <a:pt x="4707253" y="1951945"/>
                </a:cubicBezTo>
                <a:cubicBezTo>
                  <a:pt x="4782002" y="2005651"/>
                  <a:pt x="4889201" y="1962312"/>
                  <a:pt x="4973983" y="1983964"/>
                </a:cubicBezTo>
                <a:cubicBezTo>
                  <a:pt x="4995920" y="1984049"/>
                  <a:pt x="5017574" y="2005703"/>
                  <a:pt x="5049382" y="2016468"/>
                </a:cubicBezTo>
                <a:cubicBezTo>
                  <a:pt x="5091833" y="2037877"/>
                  <a:pt x="5166942" y="2005341"/>
                  <a:pt x="5209516" y="2047915"/>
                </a:cubicBezTo>
                <a:cubicBezTo>
                  <a:pt x="5246890" y="2074768"/>
                  <a:pt x="5268249" y="2112315"/>
                  <a:pt x="5288202" y="2151085"/>
                </a:cubicBezTo>
                <a:lnTo>
                  <a:pt x="5295874" y="2165551"/>
                </a:lnTo>
                <a:lnTo>
                  <a:pt x="5313289" y="2166281"/>
                </a:lnTo>
                <a:cubicBezTo>
                  <a:pt x="5359081" y="2171850"/>
                  <a:pt x="5400125" y="2188832"/>
                  <a:pt x="5428453" y="2222894"/>
                </a:cubicBezTo>
                <a:cubicBezTo>
                  <a:pt x="5519448" y="2207323"/>
                  <a:pt x="5519448" y="2117010"/>
                  <a:pt x="5564660" y="2056283"/>
                </a:cubicBezTo>
                <a:cubicBezTo>
                  <a:pt x="5549780" y="1950919"/>
                  <a:pt x="5609871" y="1845035"/>
                  <a:pt x="5700866" y="1890710"/>
                </a:cubicBezTo>
                <a:cubicBezTo>
                  <a:pt x="5746077" y="2026179"/>
                  <a:pt x="5594419" y="2041750"/>
                  <a:pt x="5594419" y="2177219"/>
                </a:cubicBezTo>
                <a:cubicBezTo>
                  <a:pt x="5579539" y="2207323"/>
                  <a:pt x="5549780" y="2222894"/>
                  <a:pt x="5564660" y="2268050"/>
                </a:cubicBezTo>
                <a:cubicBezTo>
                  <a:pt x="5534328" y="2268050"/>
                  <a:pt x="5534328" y="2298154"/>
                  <a:pt x="5519448" y="2313206"/>
                </a:cubicBezTo>
                <a:cubicBezTo>
                  <a:pt x="5519448" y="2388466"/>
                  <a:pt x="5564660" y="2479298"/>
                  <a:pt x="5564660" y="2569610"/>
                </a:cubicBezTo>
                <a:cubicBezTo>
                  <a:pt x="5564660" y="2600233"/>
                  <a:pt x="5549780" y="2614766"/>
                  <a:pt x="5549780" y="2644870"/>
                </a:cubicBezTo>
                <a:cubicBezTo>
                  <a:pt x="5549780" y="2674975"/>
                  <a:pt x="5564660" y="2720650"/>
                  <a:pt x="5579539" y="2735702"/>
                </a:cubicBezTo>
                <a:cubicBezTo>
                  <a:pt x="5609871" y="2811481"/>
                  <a:pt x="5685414" y="2841585"/>
                  <a:pt x="5715745" y="2916846"/>
                </a:cubicBezTo>
                <a:cubicBezTo>
                  <a:pt x="5746077" y="2916846"/>
                  <a:pt x="5775836" y="2931898"/>
                  <a:pt x="5821048" y="2916846"/>
                </a:cubicBezTo>
                <a:cubicBezTo>
                  <a:pt x="5851379" y="2901794"/>
                  <a:pt x="5897163" y="2886742"/>
                  <a:pt x="5926922" y="2856637"/>
                </a:cubicBezTo>
                <a:cubicBezTo>
                  <a:pt x="5942374" y="2841585"/>
                  <a:pt x="5942374" y="2811481"/>
                  <a:pt x="5972133" y="2795910"/>
                </a:cubicBezTo>
                <a:cubicBezTo>
                  <a:pt x="5972133" y="2781377"/>
                  <a:pt x="5942374" y="2795910"/>
                  <a:pt x="5942374" y="2781377"/>
                </a:cubicBezTo>
                <a:cubicBezTo>
                  <a:pt x="5972133" y="2690546"/>
                  <a:pt x="6047676" y="2630337"/>
                  <a:pt x="6108340" y="2569610"/>
                </a:cubicBezTo>
                <a:cubicBezTo>
                  <a:pt x="6138671" y="2539506"/>
                  <a:pt x="6168431" y="2509402"/>
                  <a:pt x="6183882" y="2479298"/>
                </a:cubicBezTo>
                <a:cubicBezTo>
                  <a:pt x="6183882" y="2464246"/>
                  <a:pt x="6183882" y="2449194"/>
                  <a:pt x="6198762" y="2434142"/>
                </a:cubicBezTo>
                <a:cubicBezTo>
                  <a:pt x="6213642" y="2419090"/>
                  <a:pt x="6243973" y="2404038"/>
                  <a:pt x="6274305" y="2373933"/>
                </a:cubicBezTo>
                <a:cubicBezTo>
                  <a:pt x="6289185" y="2358362"/>
                  <a:pt x="6304064" y="2343829"/>
                  <a:pt x="6320089" y="2328258"/>
                </a:cubicBezTo>
                <a:cubicBezTo>
                  <a:pt x="6320089" y="2328258"/>
                  <a:pt x="6334968" y="2313206"/>
                  <a:pt x="6349848" y="2313206"/>
                </a:cubicBezTo>
                <a:cubicBezTo>
                  <a:pt x="6349848" y="2298154"/>
                  <a:pt x="6349848" y="2283102"/>
                  <a:pt x="6365300" y="2283102"/>
                </a:cubicBezTo>
                <a:lnTo>
                  <a:pt x="6380180" y="2283102"/>
                </a:lnTo>
                <a:cubicBezTo>
                  <a:pt x="6410511" y="2268050"/>
                  <a:pt x="6410511" y="2237427"/>
                  <a:pt x="6425391" y="2222894"/>
                </a:cubicBezTo>
                <a:cubicBezTo>
                  <a:pt x="6425391" y="2222894"/>
                  <a:pt x="6440270" y="2207323"/>
                  <a:pt x="6455150" y="2207323"/>
                </a:cubicBezTo>
                <a:cubicBezTo>
                  <a:pt x="6515813" y="2132062"/>
                  <a:pt x="6576477" y="2071854"/>
                  <a:pt x="6652020" y="1996075"/>
                </a:cubicBezTo>
                <a:cubicBezTo>
                  <a:pt x="6636568" y="1981023"/>
                  <a:pt x="6652020" y="1981023"/>
                  <a:pt x="6652020" y="1965971"/>
                </a:cubicBezTo>
                <a:cubicBezTo>
                  <a:pt x="6681779" y="1950919"/>
                  <a:pt x="6697231" y="1935867"/>
                  <a:pt x="6712110" y="1905762"/>
                </a:cubicBezTo>
                <a:lnTo>
                  <a:pt x="6787653" y="1905762"/>
                </a:lnTo>
                <a:cubicBezTo>
                  <a:pt x="6817985" y="1905762"/>
                  <a:pt x="6817985" y="1935867"/>
                  <a:pt x="6832865" y="1950919"/>
                </a:cubicBezTo>
                <a:cubicBezTo>
                  <a:pt x="6803105" y="1996075"/>
                  <a:pt x="6803105" y="2041750"/>
                  <a:pt x="6787653" y="2071854"/>
                </a:cubicBezTo>
                <a:cubicBezTo>
                  <a:pt x="6787653" y="2086906"/>
                  <a:pt x="6757894" y="2071854"/>
                  <a:pt x="6772774" y="2101958"/>
                </a:cubicBezTo>
                <a:cubicBezTo>
                  <a:pt x="6741870" y="2101958"/>
                  <a:pt x="6726990" y="2117010"/>
                  <a:pt x="6712111" y="2132062"/>
                </a:cubicBezTo>
                <a:cubicBezTo>
                  <a:pt x="6652020" y="2162686"/>
                  <a:pt x="6606808" y="2177219"/>
                  <a:pt x="6561597" y="2222894"/>
                </a:cubicBezTo>
                <a:cubicBezTo>
                  <a:pt x="6546145" y="2237427"/>
                  <a:pt x="6530693" y="2252998"/>
                  <a:pt x="6530693" y="2268050"/>
                </a:cubicBezTo>
                <a:cubicBezTo>
                  <a:pt x="6515813" y="2283102"/>
                  <a:pt x="6515813" y="2268050"/>
                  <a:pt x="6500361" y="2268050"/>
                </a:cubicBezTo>
                <a:cubicBezTo>
                  <a:pt x="6515813" y="2283102"/>
                  <a:pt x="6500361" y="2298154"/>
                  <a:pt x="6500361" y="2313206"/>
                </a:cubicBezTo>
                <a:cubicBezTo>
                  <a:pt x="6395059" y="2388466"/>
                  <a:pt x="6320089" y="2494350"/>
                  <a:pt x="6229094" y="2584662"/>
                </a:cubicBezTo>
                <a:cubicBezTo>
                  <a:pt x="6229094" y="2614766"/>
                  <a:pt x="6213642" y="2630337"/>
                  <a:pt x="6213642" y="2644870"/>
                </a:cubicBezTo>
                <a:cubicBezTo>
                  <a:pt x="6198762" y="2674975"/>
                  <a:pt x="6168431" y="2690546"/>
                  <a:pt x="6168431" y="2735702"/>
                </a:cubicBezTo>
                <a:cubicBezTo>
                  <a:pt x="6123792" y="2735702"/>
                  <a:pt x="6123792" y="2781377"/>
                  <a:pt x="6093460" y="2826014"/>
                </a:cubicBezTo>
                <a:cubicBezTo>
                  <a:pt x="6078008" y="2841585"/>
                  <a:pt x="6047676" y="2856637"/>
                  <a:pt x="6017345" y="2886742"/>
                </a:cubicBezTo>
                <a:cubicBezTo>
                  <a:pt x="6002466" y="2901794"/>
                  <a:pt x="6002465" y="2931898"/>
                  <a:pt x="5972133" y="2946950"/>
                </a:cubicBezTo>
                <a:cubicBezTo>
                  <a:pt x="5942374" y="2977054"/>
                  <a:pt x="5912043" y="3007158"/>
                  <a:pt x="5866259" y="3067885"/>
                </a:cubicBezTo>
                <a:cubicBezTo>
                  <a:pt x="5866259" y="3082937"/>
                  <a:pt x="5851379" y="3082937"/>
                  <a:pt x="5851379" y="3097990"/>
                </a:cubicBezTo>
                <a:cubicBezTo>
                  <a:pt x="5821048" y="3143665"/>
                  <a:pt x="5806168" y="3173769"/>
                  <a:pt x="5821048" y="3218925"/>
                </a:cubicBezTo>
                <a:cubicBezTo>
                  <a:pt x="5821048" y="3233977"/>
                  <a:pt x="5791288" y="3233977"/>
                  <a:pt x="5791288" y="3249029"/>
                </a:cubicBezTo>
                <a:cubicBezTo>
                  <a:pt x="5791288" y="3339341"/>
                  <a:pt x="5851379" y="3339341"/>
                  <a:pt x="5942374" y="3354394"/>
                </a:cubicBezTo>
                <a:cubicBezTo>
                  <a:pt x="5987585" y="3369965"/>
                  <a:pt x="6047676" y="3384498"/>
                  <a:pt x="6078008" y="3384498"/>
                </a:cubicBezTo>
                <a:cubicBezTo>
                  <a:pt x="6108340" y="3400069"/>
                  <a:pt x="6123792" y="3400069"/>
                  <a:pt x="6138671" y="3400069"/>
                </a:cubicBezTo>
                <a:cubicBezTo>
                  <a:pt x="6143822" y="3404740"/>
                  <a:pt x="6148400" y="3409930"/>
                  <a:pt x="6153551" y="3414602"/>
                </a:cubicBezTo>
                <a:lnTo>
                  <a:pt x="6183882" y="3414602"/>
                </a:lnTo>
                <a:cubicBezTo>
                  <a:pt x="6198762" y="3430173"/>
                  <a:pt x="6213642" y="3444706"/>
                  <a:pt x="6229094" y="3444706"/>
                </a:cubicBezTo>
                <a:cubicBezTo>
                  <a:pt x="6274305" y="3475329"/>
                  <a:pt x="6320089" y="3490381"/>
                  <a:pt x="6334968" y="3565641"/>
                </a:cubicBezTo>
                <a:cubicBezTo>
                  <a:pt x="6455150" y="3625849"/>
                  <a:pt x="6606808" y="3581212"/>
                  <a:pt x="6726990" y="3595746"/>
                </a:cubicBezTo>
                <a:cubicBezTo>
                  <a:pt x="6757894" y="3595746"/>
                  <a:pt x="6787653" y="3581212"/>
                  <a:pt x="6817985" y="3581212"/>
                </a:cubicBezTo>
                <a:cubicBezTo>
                  <a:pt x="6848317" y="3581212"/>
                  <a:pt x="6832865" y="3595746"/>
                  <a:pt x="6848317" y="3611317"/>
                </a:cubicBezTo>
                <a:lnTo>
                  <a:pt x="6848317" y="3625849"/>
                </a:lnTo>
                <a:lnTo>
                  <a:pt x="6863196" y="3625849"/>
                </a:lnTo>
                <a:cubicBezTo>
                  <a:pt x="6848317" y="3641421"/>
                  <a:pt x="6803105" y="3641421"/>
                  <a:pt x="6787653" y="3625849"/>
                </a:cubicBezTo>
                <a:cubicBezTo>
                  <a:pt x="6757894" y="3625849"/>
                  <a:pt x="6741870" y="3656473"/>
                  <a:pt x="6712110" y="3656473"/>
                </a:cubicBezTo>
                <a:lnTo>
                  <a:pt x="6712111" y="3641421"/>
                </a:lnTo>
                <a:cubicBezTo>
                  <a:pt x="6697232" y="3641421"/>
                  <a:pt x="6681779" y="3625849"/>
                  <a:pt x="6681779" y="3641421"/>
                </a:cubicBezTo>
                <a:lnTo>
                  <a:pt x="6681779" y="3656473"/>
                </a:lnTo>
                <a:lnTo>
                  <a:pt x="6666899" y="3656473"/>
                </a:lnTo>
                <a:cubicBezTo>
                  <a:pt x="6606808" y="3686577"/>
                  <a:pt x="6500361" y="3671525"/>
                  <a:pt x="6470602" y="3732252"/>
                </a:cubicBezTo>
                <a:cubicBezTo>
                  <a:pt x="6455150" y="3701629"/>
                  <a:pt x="6410511" y="3732252"/>
                  <a:pt x="6395059" y="3716681"/>
                </a:cubicBezTo>
                <a:cubicBezTo>
                  <a:pt x="6365300" y="3732252"/>
                  <a:pt x="6380180" y="3762356"/>
                  <a:pt x="6365300" y="3776889"/>
                </a:cubicBezTo>
                <a:lnTo>
                  <a:pt x="6334968" y="3776889"/>
                </a:lnTo>
                <a:cubicBezTo>
                  <a:pt x="6320089" y="3792460"/>
                  <a:pt x="6289185" y="3792460"/>
                  <a:pt x="6274305" y="3807512"/>
                </a:cubicBezTo>
                <a:cubicBezTo>
                  <a:pt x="6258853" y="3807512"/>
                  <a:pt x="6258853" y="3822564"/>
                  <a:pt x="6243973" y="3837616"/>
                </a:cubicBezTo>
                <a:cubicBezTo>
                  <a:pt x="6213642" y="3852669"/>
                  <a:pt x="6168431" y="3867721"/>
                  <a:pt x="6153551" y="3897825"/>
                </a:cubicBezTo>
                <a:cubicBezTo>
                  <a:pt x="6138671" y="3958033"/>
                  <a:pt x="6183882" y="3973604"/>
                  <a:pt x="6229094" y="4003708"/>
                </a:cubicBezTo>
                <a:cubicBezTo>
                  <a:pt x="6243973" y="4003708"/>
                  <a:pt x="6229094" y="3988656"/>
                  <a:pt x="6243973" y="3988656"/>
                </a:cubicBezTo>
                <a:cubicBezTo>
                  <a:pt x="6258853" y="4033812"/>
                  <a:pt x="6229094" y="4033812"/>
                  <a:pt x="6213642" y="4048864"/>
                </a:cubicBezTo>
                <a:cubicBezTo>
                  <a:pt x="6243973" y="4109073"/>
                  <a:pt x="6320089" y="4094021"/>
                  <a:pt x="6365300" y="4094021"/>
                </a:cubicBezTo>
                <a:cubicBezTo>
                  <a:pt x="6395059" y="4154229"/>
                  <a:pt x="6320089" y="4139177"/>
                  <a:pt x="6289185" y="4154229"/>
                </a:cubicBezTo>
                <a:cubicBezTo>
                  <a:pt x="6304064" y="4245060"/>
                  <a:pt x="6410511" y="4290216"/>
                  <a:pt x="6455150" y="4365476"/>
                </a:cubicBezTo>
                <a:cubicBezTo>
                  <a:pt x="6470602" y="4381048"/>
                  <a:pt x="6470602" y="4411671"/>
                  <a:pt x="6485482" y="4441775"/>
                </a:cubicBezTo>
                <a:cubicBezTo>
                  <a:pt x="6500361" y="4486931"/>
                  <a:pt x="6576477" y="4517035"/>
                  <a:pt x="6576477" y="4577243"/>
                </a:cubicBezTo>
                <a:cubicBezTo>
                  <a:pt x="6591356" y="4668075"/>
                  <a:pt x="6530693" y="4743854"/>
                  <a:pt x="6530693" y="4833647"/>
                </a:cubicBezTo>
                <a:cubicBezTo>
                  <a:pt x="6546145" y="4864271"/>
                  <a:pt x="6576477" y="4894375"/>
                  <a:pt x="6561598" y="4954583"/>
                </a:cubicBezTo>
                <a:cubicBezTo>
                  <a:pt x="6546145" y="5000258"/>
                  <a:pt x="6515813" y="5030362"/>
                  <a:pt x="6500361" y="5075518"/>
                </a:cubicBezTo>
                <a:cubicBezTo>
                  <a:pt x="6470602" y="5060466"/>
                  <a:pt x="6455150" y="5090570"/>
                  <a:pt x="6440270" y="5090570"/>
                </a:cubicBezTo>
                <a:cubicBezTo>
                  <a:pt x="6380180" y="5105622"/>
                  <a:pt x="6320089" y="5105622"/>
                  <a:pt x="6274305" y="5105622"/>
                </a:cubicBezTo>
                <a:cubicBezTo>
                  <a:pt x="6229094" y="5121194"/>
                  <a:pt x="6198762" y="5135727"/>
                  <a:pt x="6138671" y="5135727"/>
                </a:cubicBezTo>
                <a:lnTo>
                  <a:pt x="6062556" y="5135727"/>
                </a:lnTo>
                <a:cubicBezTo>
                  <a:pt x="6032797" y="5135727"/>
                  <a:pt x="6002465" y="5165831"/>
                  <a:pt x="5957254" y="5151298"/>
                </a:cubicBezTo>
                <a:cubicBezTo>
                  <a:pt x="5942374" y="5165831"/>
                  <a:pt x="5912043" y="5165831"/>
                  <a:pt x="5881712" y="5151298"/>
                </a:cubicBezTo>
                <a:cubicBezTo>
                  <a:pt x="5851379" y="5181402"/>
                  <a:pt x="5881711" y="5302337"/>
                  <a:pt x="5821048" y="5286766"/>
                </a:cubicBezTo>
                <a:cubicBezTo>
                  <a:pt x="5791288" y="5286766"/>
                  <a:pt x="5836500" y="5196454"/>
                  <a:pt x="5821048" y="5151298"/>
                </a:cubicBezTo>
                <a:cubicBezTo>
                  <a:pt x="5821048" y="5135727"/>
                  <a:pt x="5791288" y="5151298"/>
                  <a:pt x="5791288" y="5135727"/>
                </a:cubicBezTo>
                <a:cubicBezTo>
                  <a:pt x="5746077" y="5151298"/>
                  <a:pt x="5700866" y="5211506"/>
                  <a:pt x="5655654" y="5196454"/>
                </a:cubicBezTo>
                <a:cubicBezTo>
                  <a:pt x="5655654" y="5211506"/>
                  <a:pt x="5639630" y="5211506"/>
                  <a:pt x="5624750" y="5211506"/>
                </a:cubicBezTo>
                <a:cubicBezTo>
                  <a:pt x="5609871" y="5211506"/>
                  <a:pt x="5609871" y="5181402"/>
                  <a:pt x="5594419" y="5181402"/>
                </a:cubicBezTo>
                <a:cubicBezTo>
                  <a:pt x="5549780" y="5181402"/>
                  <a:pt x="5534328" y="5241610"/>
                  <a:pt x="5519448" y="5272233"/>
                </a:cubicBezTo>
                <a:cubicBezTo>
                  <a:pt x="5519448" y="5286766"/>
                  <a:pt x="5489117" y="5302337"/>
                  <a:pt x="5489117" y="5316870"/>
                </a:cubicBezTo>
                <a:cubicBezTo>
                  <a:pt x="5474237" y="5332441"/>
                  <a:pt x="5474237" y="5346974"/>
                  <a:pt x="5459357" y="5362546"/>
                </a:cubicBezTo>
                <a:cubicBezTo>
                  <a:pt x="5443905" y="5407702"/>
                  <a:pt x="5398122" y="5483481"/>
                  <a:pt x="5398122" y="5573274"/>
                </a:cubicBezTo>
                <a:cubicBezTo>
                  <a:pt x="5398122" y="5618950"/>
                  <a:pt x="5398122" y="5664106"/>
                  <a:pt x="5352911" y="5694210"/>
                </a:cubicBezTo>
                <a:cubicBezTo>
                  <a:pt x="5263060" y="5679158"/>
                  <a:pt x="5323151" y="5528637"/>
                  <a:pt x="5307699" y="5467910"/>
                </a:cubicBezTo>
                <a:cubicBezTo>
                  <a:pt x="5277940" y="5437806"/>
                  <a:pt x="5201825" y="5453377"/>
                  <a:pt x="5186945" y="5513585"/>
                </a:cubicBezTo>
                <a:cubicBezTo>
                  <a:pt x="5172065" y="5573274"/>
                  <a:pt x="5232729" y="5679158"/>
                  <a:pt x="5232729" y="5769989"/>
                </a:cubicBezTo>
                <a:cubicBezTo>
                  <a:pt x="5247608" y="5815145"/>
                  <a:pt x="5263060" y="5845250"/>
                  <a:pt x="5263060" y="5875354"/>
                </a:cubicBezTo>
                <a:cubicBezTo>
                  <a:pt x="5277940" y="5921029"/>
                  <a:pt x="5263060" y="5966185"/>
                  <a:pt x="5307699" y="5981237"/>
                </a:cubicBezTo>
                <a:cubicBezTo>
                  <a:pt x="5292820" y="6011341"/>
                  <a:pt x="5292820" y="6041445"/>
                  <a:pt x="5263060" y="6056497"/>
                </a:cubicBezTo>
                <a:cubicBezTo>
                  <a:pt x="5247608" y="6041445"/>
                  <a:pt x="5232729" y="6041445"/>
                  <a:pt x="5217849" y="6041445"/>
                </a:cubicBezTo>
                <a:cubicBezTo>
                  <a:pt x="5186945" y="5921029"/>
                  <a:pt x="5201825" y="5739885"/>
                  <a:pt x="5111402" y="5679158"/>
                </a:cubicBezTo>
                <a:cubicBezTo>
                  <a:pt x="5036432" y="5724314"/>
                  <a:pt x="4975768" y="5618950"/>
                  <a:pt x="4915105" y="5664106"/>
                </a:cubicBezTo>
                <a:cubicBezTo>
                  <a:pt x="4930557" y="5845250"/>
                  <a:pt x="4990648" y="5981237"/>
                  <a:pt x="5020980" y="6116706"/>
                </a:cubicBezTo>
                <a:cubicBezTo>
                  <a:pt x="5066191" y="6147329"/>
                  <a:pt x="5081643" y="6207537"/>
                  <a:pt x="5066191" y="6267745"/>
                </a:cubicBezTo>
                <a:cubicBezTo>
                  <a:pt x="5066191" y="6297849"/>
                  <a:pt x="5051311" y="6328473"/>
                  <a:pt x="5036432" y="6358577"/>
                </a:cubicBezTo>
                <a:cubicBezTo>
                  <a:pt x="5036432" y="6433837"/>
                  <a:pt x="5066191" y="6479512"/>
                  <a:pt x="5096523" y="6569825"/>
                </a:cubicBezTo>
                <a:cubicBezTo>
                  <a:pt x="5111402" y="6614981"/>
                  <a:pt x="5081643" y="6675189"/>
                  <a:pt x="5096523" y="6735397"/>
                </a:cubicBezTo>
                <a:cubicBezTo>
                  <a:pt x="5111402" y="6750968"/>
                  <a:pt x="5126854" y="6766020"/>
                  <a:pt x="5141734" y="6796125"/>
                </a:cubicBezTo>
                <a:cubicBezTo>
                  <a:pt x="5172065" y="6871904"/>
                  <a:pt x="5111402" y="6917060"/>
                  <a:pt x="5111403" y="6992320"/>
                </a:cubicBezTo>
                <a:cubicBezTo>
                  <a:pt x="4990648" y="7067581"/>
                  <a:pt x="5006100" y="6811177"/>
                  <a:pt x="5036432" y="6735397"/>
                </a:cubicBezTo>
                <a:cubicBezTo>
                  <a:pt x="5006100" y="6690760"/>
                  <a:pt x="5020980" y="6630033"/>
                  <a:pt x="5006100" y="6569825"/>
                </a:cubicBezTo>
                <a:cubicBezTo>
                  <a:pt x="5006100" y="6539720"/>
                  <a:pt x="4975768" y="6509616"/>
                  <a:pt x="4975768" y="6479512"/>
                </a:cubicBezTo>
                <a:cubicBezTo>
                  <a:pt x="4960316" y="6433837"/>
                  <a:pt x="4975768" y="6403733"/>
                  <a:pt x="4975768" y="6358577"/>
                </a:cubicBezTo>
                <a:cubicBezTo>
                  <a:pt x="4960316" y="6297849"/>
                  <a:pt x="4930557" y="6253212"/>
                  <a:pt x="4930557" y="6177433"/>
                </a:cubicBezTo>
                <a:lnTo>
                  <a:pt x="4900225" y="6177433"/>
                </a:lnTo>
                <a:cubicBezTo>
                  <a:pt x="4900225" y="6162381"/>
                  <a:pt x="4915105" y="6162381"/>
                  <a:pt x="4930557" y="6162381"/>
                </a:cubicBezTo>
                <a:cubicBezTo>
                  <a:pt x="4945437" y="6086602"/>
                  <a:pt x="4869894" y="5996289"/>
                  <a:pt x="4824683" y="5921029"/>
                </a:cubicBezTo>
                <a:cubicBezTo>
                  <a:pt x="4809803" y="5935562"/>
                  <a:pt x="4794923" y="5921029"/>
                  <a:pt x="4779471" y="5921029"/>
                </a:cubicBezTo>
                <a:cubicBezTo>
                  <a:pt x="4764019" y="5890925"/>
                  <a:pt x="4749140" y="5845250"/>
                  <a:pt x="4764019" y="5800093"/>
                </a:cubicBezTo>
                <a:cubicBezTo>
                  <a:pt x="4733688" y="5784522"/>
                  <a:pt x="4718808" y="5739885"/>
                  <a:pt x="4689049" y="5724314"/>
                </a:cubicBezTo>
                <a:cubicBezTo>
                  <a:pt x="4673597" y="5679158"/>
                  <a:pt x="4658717" y="5649054"/>
                  <a:pt x="4643837" y="5603379"/>
                </a:cubicBezTo>
                <a:cubicBezTo>
                  <a:pt x="4643837" y="5573274"/>
                  <a:pt x="4643837" y="5543689"/>
                  <a:pt x="4628385" y="5543689"/>
                </a:cubicBezTo>
                <a:cubicBezTo>
                  <a:pt x="4553415" y="5543689"/>
                  <a:pt x="4553415" y="5603379"/>
                  <a:pt x="4492179" y="5618950"/>
                </a:cubicBezTo>
                <a:cubicBezTo>
                  <a:pt x="4477300" y="5649054"/>
                  <a:pt x="4446968" y="5694210"/>
                  <a:pt x="4432088" y="5724314"/>
                </a:cubicBezTo>
                <a:cubicBezTo>
                  <a:pt x="4446968" y="5875354"/>
                  <a:pt x="4477300" y="6116706"/>
                  <a:pt x="4266123" y="6102174"/>
                </a:cubicBezTo>
                <a:cubicBezTo>
                  <a:pt x="4205460" y="6056497"/>
                  <a:pt x="4190580" y="5981237"/>
                  <a:pt x="4205460" y="5890925"/>
                </a:cubicBezTo>
                <a:cubicBezTo>
                  <a:pt x="4250671" y="5845250"/>
                  <a:pt x="4250671" y="5754418"/>
                  <a:pt x="4266123" y="5679158"/>
                </a:cubicBezTo>
                <a:cubicBezTo>
                  <a:pt x="4250671" y="5649054"/>
                  <a:pt x="4250671" y="5634002"/>
                  <a:pt x="4235791" y="5603379"/>
                </a:cubicBezTo>
                <a:cubicBezTo>
                  <a:pt x="4220912" y="5588845"/>
                  <a:pt x="4205460" y="5558741"/>
                  <a:pt x="4205460" y="5543689"/>
                </a:cubicBezTo>
                <a:cubicBezTo>
                  <a:pt x="4175700" y="5467910"/>
                  <a:pt x="4190580" y="5377598"/>
                  <a:pt x="4160249" y="5332441"/>
                </a:cubicBezTo>
                <a:cubicBezTo>
                  <a:pt x="4130489" y="5302337"/>
                  <a:pt x="4099585" y="5286766"/>
                  <a:pt x="4084706" y="5256662"/>
                </a:cubicBezTo>
                <a:cubicBezTo>
                  <a:pt x="4054374" y="5256662"/>
                  <a:pt x="4024615" y="5241610"/>
                  <a:pt x="3994283" y="5241610"/>
                </a:cubicBezTo>
                <a:cubicBezTo>
                  <a:pt x="3963951" y="5226558"/>
                  <a:pt x="3934192" y="5241610"/>
                  <a:pt x="3903860" y="5226558"/>
                </a:cubicBezTo>
                <a:cubicBezTo>
                  <a:pt x="3888408" y="5226558"/>
                  <a:pt x="3872957" y="5211506"/>
                  <a:pt x="3843197" y="5211506"/>
                </a:cubicBezTo>
                <a:cubicBezTo>
                  <a:pt x="3812866" y="5196454"/>
                  <a:pt x="3767654" y="5196454"/>
                  <a:pt x="3752775" y="5181402"/>
                </a:cubicBezTo>
                <a:cubicBezTo>
                  <a:pt x="3737895" y="5181402"/>
                  <a:pt x="3722443" y="5151298"/>
                  <a:pt x="3707563" y="5151298"/>
                </a:cubicBezTo>
                <a:cubicBezTo>
                  <a:pt x="3692684" y="5135727"/>
                  <a:pt x="3677232" y="5121194"/>
                  <a:pt x="3661780" y="5105622"/>
                </a:cubicBezTo>
                <a:cubicBezTo>
                  <a:pt x="3661780" y="5075518"/>
                  <a:pt x="3631448" y="5045414"/>
                  <a:pt x="3616569" y="5030362"/>
                </a:cubicBezTo>
                <a:cubicBezTo>
                  <a:pt x="3616569" y="4954583"/>
                  <a:pt x="3556478" y="4924479"/>
                  <a:pt x="3541598" y="4879323"/>
                </a:cubicBezTo>
                <a:cubicBezTo>
                  <a:pt x="3511266" y="4864271"/>
                  <a:pt x="3511266" y="4833647"/>
                  <a:pt x="3496387" y="4819114"/>
                </a:cubicBezTo>
                <a:cubicBezTo>
                  <a:pt x="3480935" y="4819114"/>
                  <a:pt x="3450603" y="4789010"/>
                  <a:pt x="3435151" y="4773958"/>
                </a:cubicBezTo>
                <a:cubicBezTo>
                  <a:pt x="3375060" y="4758906"/>
                  <a:pt x="3329849" y="4773958"/>
                  <a:pt x="3269758" y="4789010"/>
                </a:cubicBezTo>
                <a:cubicBezTo>
                  <a:pt x="3193643" y="4803543"/>
                  <a:pt x="3133552" y="4819114"/>
                  <a:pt x="3073461" y="4864271"/>
                </a:cubicBezTo>
                <a:cubicBezTo>
                  <a:pt x="3043129" y="4879323"/>
                  <a:pt x="3028250" y="4909427"/>
                  <a:pt x="3012798" y="4924479"/>
                </a:cubicBezTo>
                <a:cubicBezTo>
                  <a:pt x="2982466" y="4940050"/>
                  <a:pt x="2937255" y="4954583"/>
                  <a:pt x="2922375" y="4984687"/>
                </a:cubicBezTo>
                <a:cubicBezTo>
                  <a:pt x="2906923" y="4984687"/>
                  <a:pt x="2906923" y="4970154"/>
                  <a:pt x="2906923" y="4970154"/>
                </a:cubicBezTo>
                <a:cubicBezTo>
                  <a:pt x="2899483" y="4973787"/>
                  <a:pt x="2890112" y="4975604"/>
                  <a:pt x="2879766" y="4976991"/>
                </a:cubicBezTo>
                <a:lnTo>
                  <a:pt x="2852748" y="4980476"/>
                </a:lnTo>
                <a:lnTo>
                  <a:pt x="2841540" y="5001382"/>
                </a:lnTo>
                <a:cubicBezTo>
                  <a:pt x="2837860" y="5012436"/>
                  <a:pt x="2836503" y="5024483"/>
                  <a:pt x="2839123" y="5037828"/>
                </a:cubicBezTo>
                <a:cubicBezTo>
                  <a:pt x="2775063" y="5080601"/>
                  <a:pt x="2807237" y="5154861"/>
                  <a:pt x="2774984" y="5208400"/>
                </a:cubicBezTo>
                <a:cubicBezTo>
                  <a:pt x="2775596" y="5251097"/>
                  <a:pt x="2785956" y="5283310"/>
                  <a:pt x="2785796" y="5326044"/>
                </a:cubicBezTo>
                <a:cubicBezTo>
                  <a:pt x="2753544" y="5379584"/>
                  <a:pt x="2700370" y="5475330"/>
                  <a:pt x="2646909" y="5442911"/>
                </a:cubicBezTo>
                <a:cubicBezTo>
                  <a:pt x="2582765" y="5400619"/>
                  <a:pt x="2657508" y="5304590"/>
                  <a:pt x="2647025" y="5251213"/>
                </a:cubicBezTo>
                <a:cubicBezTo>
                  <a:pt x="2711368" y="5186869"/>
                  <a:pt x="2732572" y="5123092"/>
                  <a:pt x="2721723" y="5069347"/>
                </a:cubicBezTo>
                <a:cubicBezTo>
                  <a:pt x="2732346" y="5058724"/>
                  <a:pt x="2740980" y="5047429"/>
                  <a:pt x="2748295" y="5035458"/>
                </a:cubicBezTo>
                <a:lnTo>
                  <a:pt x="2758940" y="5013800"/>
                </a:lnTo>
                <a:lnTo>
                  <a:pt x="2736898" y="5018603"/>
                </a:lnTo>
                <a:cubicBezTo>
                  <a:pt x="2693815" y="5034125"/>
                  <a:pt x="2665701" y="5079281"/>
                  <a:pt x="2620203" y="5090570"/>
                </a:cubicBezTo>
                <a:cubicBezTo>
                  <a:pt x="2590444" y="5121194"/>
                  <a:pt x="2574992" y="5151298"/>
                  <a:pt x="2544661" y="5181402"/>
                </a:cubicBezTo>
                <a:cubicBezTo>
                  <a:pt x="2483997" y="5196454"/>
                  <a:pt x="2378695" y="5226558"/>
                  <a:pt x="2363816" y="5165831"/>
                </a:cubicBezTo>
                <a:cubicBezTo>
                  <a:pt x="2348364" y="5090570"/>
                  <a:pt x="2469118" y="5075518"/>
                  <a:pt x="2499449" y="5030362"/>
                </a:cubicBezTo>
                <a:cubicBezTo>
                  <a:pt x="2590444" y="5030362"/>
                  <a:pt x="2650535" y="5000258"/>
                  <a:pt x="2680867" y="4954583"/>
                </a:cubicBezTo>
                <a:cubicBezTo>
                  <a:pt x="2710913" y="4954583"/>
                  <a:pt x="2737238" y="4947057"/>
                  <a:pt x="2763635" y="4935768"/>
                </a:cubicBezTo>
                <a:lnTo>
                  <a:pt x="2792478" y="4921418"/>
                </a:lnTo>
                <a:lnTo>
                  <a:pt x="2796505" y="4909419"/>
                </a:lnTo>
                <a:cubicBezTo>
                  <a:pt x="2796505" y="4909419"/>
                  <a:pt x="2817670" y="4909540"/>
                  <a:pt x="2807026" y="4898897"/>
                </a:cubicBezTo>
                <a:cubicBezTo>
                  <a:pt x="2828474" y="4877449"/>
                  <a:pt x="2828635" y="4834715"/>
                  <a:pt x="2839034" y="4803027"/>
                </a:cubicBezTo>
                <a:cubicBezTo>
                  <a:pt x="2839195" y="4760293"/>
                  <a:pt x="2850282" y="4706632"/>
                  <a:pt x="2860964" y="4653376"/>
                </a:cubicBezTo>
                <a:cubicBezTo>
                  <a:pt x="2871280" y="4599754"/>
                  <a:pt x="2871036" y="4557423"/>
                  <a:pt x="2860432" y="4482881"/>
                </a:cubicBezTo>
                <a:cubicBezTo>
                  <a:pt x="2850071" y="4450668"/>
                  <a:pt x="2839427" y="4440024"/>
                  <a:pt x="2818141" y="4418737"/>
                </a:cubicBezTo>
                <a:lnTo>
                  <a:pt x="2822429" y="4394964"/>
                </a:lnTo>
                <a:lnTo>
                  <a:pt x="2816501" y="4395581"/>
                </a:lnTo>
                <a:cubicBezTo>
                  <a:pt x="2786169" y="4395581"/>
                  <a:pt x="2755837" y="4381048"/>
                  <a:pt x="2725506" y="4381048"/>
                </a:cubicBezTo>
                <a:cubicBezTo>
                  <a:pt x="2720355" y="4385719"/>
                  <a:pt x="2715777" y="4390909"/>
                  <a:pt x="2710626" y="4395581"/>
                </a:cubicBezTo>
                <a:lnTo>
                  <a:pt x="2665415" y="4395581"/>
                </a:lnTo>
                <a:cubicBezTo>
                  <a:pt x="2642809" y="4395581"/>
                  <a:pt x="2620203" y="4403367"/>
                  <a:pt x="2595666" y="4409271"/>
                </a:cubicBezTo>
                <a:lnTo>
                  <a:pt x="2563332" y="4414509"/>
                </a:lnTo>
                <a:lnTo>
                  <a:pt x="2518913" y="4461055"/>
                </a:lnTo>
                <a:cubicBezTo>
                  <a:pt x="2476018" y="4503951"/>
                  <a:pt x="2454326" y="4546196"/>
                  <a:pt x="2422357" y="4578165"/>
                </a:cubicBezTo>
                <a:cubicBezTo>
                  <a:pt x="2400909" y="4599613"/>
                  <a:pt x="2369184" y="4610785"/>
                  <a:pt x="2347737" y="4632232"/>
                </a:cubicBezTo>
                <a:cubicBezTo>
                  <a:pt x="2347398" y="4639177"/>
                  <a:pt x="2347830" y="4646084"/>
                  <a:pt x="2347492" y="4653030"/>
                </a:cubicBezTo>
                <a:lnTo>
                  <a:pt x="2315523" y="4684999"/>
                </a:lnTo>
                <a:cubicBezTo>
                  <a:pt x="2283553" y="4716969"/>
                  <a:pt x="2273605" y="4770958"/>
                  <a:pt x="2220066" y="4803210"/>
                </a:cubicBezTo>
                <a:cubicBezTo>
                  <a:pt x="2209544" y="4813732"/>
                  <a:pt x="2187241" y="4813281"/>
                  <a:pt x="2166649" y="4856627"/>
                </a:cubicBezTo>
                <a:cubicBezTo>
                  <a:pt x="2156250" y="4888313"/>
                  <a:pt x="2081385" y="4963178"/>
                  <a:pt x="2060059" y="5005791"/>
                </a:cubicBezTo>
                <a:cubicBezTo>
                  <a:pt x="2059776" y="5027360"/>
                  <a:pt x="2059776" y="5027360"/>
                  <a:pt x="2070420" y="5038004"/>
                </a:cubicBezTo>
                <a:cubicBezTo>
                  <a:pt x="2049377" y="5059046"/>
                  <a:pt x="2017286" y="5069851"/>
                  <a:pt x="2028050" y="5101660"/>
                </a:cubicBezTo>
                <a:cubicBezTo>
                  <a:pt x="1974390" y="5112746"/>
                  <a:pt x="1953186" y="5176524"/>
                  <a:pt x="1932228" y="5219503"/>
                </a:cubicBezTo>
                <a:cubicBezTo>
                  <a:pt x="1931578" y="5240706"/>
                  <a:pt x="1921545" y="5272759"/>
                  <a:pt x="1921545" y="5272759"/>
                </a:cubicBezTo>
                <a:cubicBezTo>
                  <a:pt x="1899852" y="5315005"/>
                  <a:pt x="1846192" y="5326092"/>
                  <a:pt x="1814262" y="5294161"/>
                </a:cubicBezTo>
                <a:cubicBezTo>
                  <a:pt x="1771688" y="5251588"/>
                  <a:pt x="1824654" y="5175868"/>
                  <a:pt x="1856868" y="5123101"/>
                </a:cubicBezTo>
                <a:cubicBezTo>
                  <a:pt x="1899358" y="5080610"/>
                  <a:pt x="1931892" y="5005501"/>
                  <a:pt x="1952852" y="4962521"/>
                </a:cubicBezTo>
                <a:cubicBezTo>
                  <a:pt x="2070131" y="4909838"/>
                  <a:pt x="2048837" y="4738815"/>
                  <a:pt x="2166360" y="4728460"/>
                </a:cubicBezTo>
                <a:lnTo>
                  <a:pt x="2241629" y="4653191"/>
                </a:lnTo>
                <a:cubicBezTo>
                  <a:pt x="2252150" y="4642670"/>
                  <a:pt x="2241140" y="4631660"/>
                  <a:pt x="2230497" y="4621016"/>
                </a:cubicBezTo>
                <a:cubicBezTo>
                  <a:pt x="2270468" y="4565080"/>
                  <a:pt x="2304680" y="4502929"/>
                  <a:pt x="2350701" y="4443937"/>
                </a:cubicBezTo>
                <a:lnTo>
                  <a:pt x="2367226" y="4425131"/>
                </a:lnTo>
                <a:lnTo>
                  <a:pt x="2354158" y="4426723"/>
                </a:lnTo>
                <a:cubicBezTo>
                  <a:pt x="2318318" y="4430486"/>
                  <a:pt x="2280547" y="4434249"/>
                  <a:pt x="2257941" y="4441775"/>
                </a:cubicBezTo>
                <a:cubicBezTo>
                  <a:pt x="2242489" y="4456827"/>
                  <a:pt x="2242489" y="4456827"/>
                  <a:pt x="2242489" y="4471879"/>
                </a:cubicBezTo>
                <a:cubicBezTo>
                  <a:pt x="2212730" y="4471879"/>
                  <a:pt x="2182398" y="4456827"/>
                  <a:pt x="2167518" y="4486931"/>
                </a:cubicBezTo>
                <a:cubicBezTo>
                  <a:pt x="2121735" y="4456827"/>
                  <a:pt x="2061644" y="4486931"/>
                  <a:pt x="2016433" y="4502502"/>
                </a:cubicBezTo>
                <a:cubicBezTo>
                  <a:pt x="2000981" y="4517035"/>
                  <a:pt x="1971221" y="4532606"/>
                  <a:pt x="1971221" y="4532606"/>
                </a:cubicBezTo>
                <a:cubicBezTo>
                  <a:pt x="1926010" y="4547139"/>
                  <a:pt x="1880227" y="4517035"/>
                  <a:pt x="1880227" y="4471879"/>
                </a:cubicBezTo>
                <a:cubicBezTo>
                  <a:pt x="1880227" y="4411671"/>
                  <a:pt x="1971221" y="4395581"/>
                  <a:pt x="2031312" y="4381048"/>
                </a:cubicBezTo>
                <a:cubicBezTo>
                  <a:pt x="2091403" y="4381048"/>
                  <a:pt x="2167518" y="4350943"/>
                  <a:pt x="2212730" y="4335372"/>
                </a:cubicBezTo>
                <a:cubicBezTo>
                  <a:pt x="2302867" y="4369629"/>
                  <a:pt x="2384955" y="4301700"/>
                  <a:pt x="2458513" y="4297564"/>
                </a:cubicBezTo>
                <a:lnTo>
                  <a:pt x="2459714" y="4297698"/>
                </a:lnTo>
                <a:lnTo>
                  <a:pt x="2492762" y="4261551"/>
                </a:lnTo>
                <a:cubicBezTo>
                  <a:pt x="2505894" y="4246710"/>
                  <a:pt x="2518478" y="4231372"/>
                  <a:pt x="2528979" y="4215366"/>
                </a:cubicBezTo>
                <a:cubicBezTo>
                  <a:pt x="2550672" y="4173121"/>
                  <a:pt x="2582961" y="4118811"/>
                  <a:pt x="2572196" y="4087002"/>
                </a:cubicBezTo>
                <a:lnTo>
                  <a:pt x="2572074" y="4065837"/>
                </a:lnTo>
                <a:cubicBezTo>
                  <a:pt x="2561430" y="4055193"/>
                  <a:pt x="2561309" y="4034029"/>
                  <a:pt x="2540266" y="4055072"/>
                </a:cubicBezTo>
                <a:cubicBezTo>
                  <a:pt x="2561309" y="4034029"/>
                  <a:pt x="2508335" y="4023141"/>
                  <a:pt x="2540021" y="4012742"/>
                </a:cubicBezTo>
                <a:cubicBezTo>
                  <a:pt x="2508091" y="3980812"/>
                  <a:pt x="2476405" y="3991211"/>
                  <a:pt x="2465640" y="3959403"/>
                </a:cubicBezTo>
                <a:cubicBezTo>
                  <a:pt x="2454997" y="3948759"/>
                  <a:pt x="2444596" y="3980446"/>
                  <a:pt x="2433465" y="3948271"/>
                </a:cubicBezTo>
                <a:cubicBezTo>
                  <a:pt x="2412017" y="3969719"/>
                  <a:pt x="2422943" y="3958793"/>
                  <a:pt x="2401740" y="3959442"/>
                </a:cubicBezTo>
                <a:cubicBezTo>
                  <a:pt x="2401656" y="3937506"/>
                  <a:pt x="2391380" y="3927229"/>
                  <a:pt x="2401901" y="3916707"/>
                </a:cubicBezTo>
                <a:cubicBezTo>
                  <a:pt x="2380369" y="3916219"/>
                  <a:pt x="2369443" y="3927145"/>
                  <a:pt x="2358800" y="3916502"/>
                </a:cubicBezTo>
                <a:cubicBezTo>
                  <a:pt x="2369726" y="3905576"/>
                  <a:pt x="2380369" y="3916219"/>
                  <a:pt x="2380369" y="3916219"/>
                </a:cubicBezTo>
                <a:cubicBezTo>
                  <a:pt x="2390769" y="3884532"/>
                  <a:pt x="2348317" y="3863123"/>
                  <a:pt x="2337674" y="3852480"/>
                </a:cubicBezTo>
                <a:cubicBezTo>
                  <a:pt x="2327030" y="3841836"/>
                  <a:pt x="2337552" y="3831315"/>
                  <a:pt x="2327030" y="3841836"/>
                </a:cubicBezTo>
                <a:cubicBezTo>
                  <a:pt x="2294855" y="3830705"/>
                  <a:pt x="2327030" y="3841836"/>
                  <a:pt x="2326908" y="3820671"/>
                </a:cubicBezTo>
                <a:cubicBezTo>
                  <a:pt x="2273325" y="3767087"/>
                  <a:pt x="2241394" y="3735157"/>
                  <a:pt x="2177212" y="3756766"/>
                </a:cubicBezTo>
                <a:cubicBezTo>
                  <a:pt x="2177127" y="3734829"/>
                  <a:pt x="2145404" y="3746001"/>
                  <a:pt x="2155841" y="3713543"/>
                </a:cubicBezTo>
                <a:cubicBezTo>
                  <a:pt x="2113106" y="3713703"/>
                  <a:pt x="2070250" y="3692699"/>
                  <a:pt x="2038441" y="3681934"/>
                </a:cubicBezTo>
                <a:cubicBezTo>
                  <a:pt x="2027798" y="3671291"/>
                  <a:pt x="1995708" y="3682094"/>
                  <a:pt x="1985186" y="3692616"/>
                </a:cubicBezTo>
                <a:cubicBezTo>
                  <a:pt x="1985157" y="3685303"/>
                  <a:pt x="1984725" y="3678396"/>
                  <a:pt x="1984697" y="3671084"/>
                </a:cubicBezTo>
                <a:cubicBezTo>
                  <a:pt x="1963899" y="3671330"/>
                  <a:pt x="1974175" y="3681606"/>
                  <a:pt x="1963654" y="3692128"/>
                </a:cubicBezTo>
                <a:cubicBezTo>
                  <a:pt x="1942451" y="3692777"/>
                  <a:pt x="1931441" y="3681767"/>
                  <a:pt x="1910643" y="3682012"/>
                </a:cubicBezTo>
                <a:cubicBezTo>
                  <a:pt x="1910643" y="3682012"/>
                  <a:pt x="1878185" y="3692449"/>
                  <a:pt x="1857387" y="3692695"/>
                </a:cubicBezTo>
                <a:cubicBezTo>
                  <a:pt x="1846866" y="3703216"/>
                  <a:pt x="1824929" y="3703132"/>
                  <a:pt x="1814003" y="3714058"/>
                </a:cubicBezTo>
                <a:lnTo>
                  <a:pt x="1792959" y="3735101"/>
                </a:lnTo>
                <a:cubicBezTo>
                  <a:pt x="1707734" y="3777752"/>
                  <a:pt x="1611743" y="3788596"/>
                  <a:pt x="1547439" y="3789040"/>
                </a:cubicBezTo>
                <a:lnTo>
                  <a:pt x="1525992" y="3810487"/>
                </a:lnTo>
                <a:cubicBezTo>
                  <a:pt x="1515348" y="3799843"/>
                  <a:pt x="1493817" y="3799355"/>
                  <a:pt x="1483540" y="3789078"/>
                </a:cubicBezTo>
                <a:cubicBezTo>
                  <a:pt x="1472774" y="3820398"/>
                  <a:pt x="1483540" y="3789078"/>
                  <a:pt x="1473018" y="3799600"/>
                </a:cubicBezTo>
                <a:cubicBezTo>
                  <a:pt x="1451487" y="3799111"/>
                  <a:pt x="1440561" y="3810037"/>
                  <a:pt x="1440561" y="3810037"/>
                </a:cubicBezTo>
                <a:cubicBezTo>
                  <a:pt x="1419763" y="3810282"/>
                  <a:pt x="1376945" y="3788506"/>
                  <a:pt x="1366300" y="3777862"/>
                </a:cubicBezTo>
                <a:cubicBezTo>
                  <a:pt x="1323687" y="3799189"/>
                  <a:pt x="1280831" y="3778185"/>
                  <a:pt x="1237936" y="3821080"/>
                </a:cubicBezTo>
                <a:cubicBezTo>
                  <a:pt x="1205639" y="3788783"/>
                  <a:pt x="1141945" y="3831923"/>
                  <a:pt x="1141945" y="3831923"/>
                </a:cubicBezTo>
                <a:cubicBezTo>
                  <a:pt x="1131424" y="3842445"/>
                  <a:pt x="1109770" y="3820791"/>
                  <a:pt x="1078084" y="3831191"/>
                </a:cubicBezTo>
                <a:lnTo>
                  <a:pt x="1056636" y="3852638"/>
                </a:lnTo>
                <a:lnTo>
                  <a:pt x="1045993" y="3841995"/>
                </a:lnTo>
                <a:cubicBezTo>
                  <a:pt x="1024423" y="3842278"/>
                  <a:pt x="1002976" y="3863726"/>
                  <a:pt x="992331" y="3853081"/>
                </a:cubicBezTo>
                <a:cubicBezTo>
                  <a:pt x="949719" y="3874407"/>
                  <a:pt x="906617" y="3874201"/>
                  <a:pt x="874809" y="3863436"/>
                </a:cubicBezTo>
                <a:cubicBezTo>
                  <a:pt x="864372" y="3895894"/>
                  <a:pt x="853362" y="3884884"/>
                  <a:pt x="842840" y="3895405"/>
                </a:cubicBezTo>
                <a:cubicBezTo>
                  <a:pt x="800388" y="3873997"/>
                  <a:pt x="735923" y="3917175"/>
                  <a:pt x="714919" y="3874319"/>
                </a:cubicBezTo>
                <a:cubicBezTo>
                  <a:pt x="693594" y="3916931"/>
                  <a:pt x="618683" y="3905959"/>
                  <a:pt x="565427" y="3916642"/>
                </a:cubicBezTo>
                <a:cubicBezTo>
                  <a:pt x="523182" y="3938335"/>
                  <a:pt x="469154" y="3949054"/>
                  <a:pt x="426420" y="3949215"/>
                </a:cubicBezTo>
                <a:cubicBezTo>
                  <a:pt x="341194" y="3991867"/>
                  <a:pt x="245487" y="3981141"/>
                  <a:pt x="148846" y="4013186"/>
                </a:cubicBezTo>
                <a:cubicBezTo>
                  <a:pt x="106761" y="3992145"/>
                  <a:pt x="53260" y="4023625"/>
                  <a:pt x="10648" y="4044951"/>
                </a:cubicBezTo>
                <a:cubicBezTo>
                  <a:pt x="10648" y="4044951"/>
                  <a:pt x="-278" y="4055877"/>
                  <a:pt x="5" y="4034307"/>
                </a:cubicBezTo>
                <a:cubicBezTo>
                  <a:pt x="1934" y="4018431"/>
                  <a:pt x="10376" y="3963745"/>
                  <a:pt x="21086" y="3949365"/>
                </a:cubicBezTo>
                <a:cubicBezTo>
                  <a:pt x="35344" y="3949054"/>
                  <a:pt x="49564" y="3949515"/>
                  <a:pt x="63821" y="3949204"/>
                </a:cubicBezTo>
                <a:cubicBezTo>
                  <a:pt x="84986" y="3949326"/>
                  <a:pt x="117077" y="3938522"/>
                  <a:pt x="159689" y="3917196"/>
                </a:cubicBezTo>
                <a:lnTo>
                  <a:pt x="170699" y="3928207"/>
                </a:lnTo>
                <a:lnTo>
                  <a:pt x="203074" y="3895832"/>
                </a:lnTo>
                <a:cubicBezTo>
                  <a:pt x="309425" y="3917203"/>
                  <a:pt x="426337" y="3864151"/>
                  <a:pt x="543897" y="3853025"/>
                </a:cubicBezTo>
                <a:cubicBezTo>
                  <a:pt x="576149" y="3799486"/>
                  <a:pt x="640132" y="3821384"/>
                  <a:pt x="661580" y="3799936"/>
                </a:cubicBezTo>
                <a:cubicBezTo>
                  <a:pt x="682867" y="3821223"/>
                  <a:pt x="714590" y="3810052"/>
                  <a:pt x="725517" y="3799126"/>
                </a:cubicBezTo>
                <a:cubicBezTo>
                  <a:pt x="757326" y="3809891"/>
                  <a:pt x="768497" y="3778167"/>
                  <a:pt x="800305" y="3788933"/>
                </a:cubicBezTo>
                <a:cubicBezTo>
                  <a:pt x="821470" y="3789054"/>
                  <a:pt x="821470" y="3789054"/>
                  <a:pt x="842918" y="3767606"/>
                </a:cubicBezTo>
                <a:cubicBezTo>
                  <a:pt x="938993" y="3778699"/>
                  <a:pt x="1024622" y="3735644"/>
                  <a:pt x="1131257" y="3735444"/>
                </a:cubicBezTo>
                <a:cubicBezTo>
                  <a:pt x="1141656" y="3703757"/>
                  <a:pt x="1173587" y="3735687"/>
                  <a:pt x="1205960" y="3703314"/>
                </a:cubicBezTo>
                <a:cubicBezTo>
                  <a:pt x="1259706" y="3714163"/>
                  <a:pt x="1301951" y="3692471"/>
                  <a:pt x="1344930" y="3671512"/>
                </a:cubicBezTo>
                <a:cubicBezTo>
                  <a:pt x="1376739" y="3682277"/>
                  <a:pt x="1387260" y="3671755"/>
                  <a:pt x="1408830" y="3671472"/>
                </a:cubicBezTo>
                <a:cubicBezTo>
                  <a:pt x="1451442" y="3650147"/>
                  <a:pt x="1494460" y="3628416"/>
                  <a:pt x="1536790" y="3628661"/>
                </a:cubicBezTo>
                <a:cubicBezTo>
                  <a:pt x="1622015" y="3586008"/>
                  <a:pt x="1686282" y="3586337"/>
                  <a:pt x="1771422" y="3521749"/>
                </a:cubicBezTo>
                <a:cubicBezTo>
                  <a:pt x="1814524" y="3521955"/>
                  <a:pt x="1888945" y="3511394"/>
                  <a:pt x="1921319" y="3479020"/>
                </a:cubicBezTo>
                <a:cubicBezTo>
                  <a:pt x="1942767" y="3457572"/>
                  <a:pt x="1953166" y="3425886"/>
                  <a:pt x="1974614" y="3404439"/>
                </a:cubicBezTo>
                <a:cubicBezTo>
                  <a:pt x="1963970" y="3393795"/>
                  <a:pt x="1985135" y="3393917"/>
                  <a:pt x="1996062" y="3382990"/>
                </a:cubicBezTo>
                <a:cubicBezTo>
                  <a:pt x="2038552" y="3340500"/>
                  <a:pt x="2070804" y="3286961"/>
                  <a:pt x="2081486" y="3233705"/>
                </a:cubicBezTo>
                <a:cubicBezTo>
                  <a:pt x="2145547" y="3190932"/>
                  <a:pt x="2145747" y="3084298"/>
                  <a:pt x="2166867" y="2998584"/>
                </a:cubicBezTo>
                <a:cubicBezTo>
                  <a:pt x="2177670" y="2966493"/>
                  <a:pt x="2198713" y="2945449"/>
                  <a:pt x="2198996" y="2923880"/>
                </a:cubicBezTo>
                <a:cubicBezTo>
                  <a:pt x="2209396" y="2892193"/>
                  <a:pt x="2209274" y="2871028"/>
                  <a:pt x="2187621" y="2849374"/>
                </a:cubicBezTo>
                <a:cubicBezTo>
                  <a:pt x="2220200" y="2860103"/>
                  <a:pt x="2166334" y="2828088"/>
                  <a:pt x="2198546" y="2838449"/>
                </a:cubicBezTo>
                <a:cubicBezTo>
                  <a:pt x="2199196" y="2817246"/>
                  <a:pt x="2188270" y="2828173"/>
                  <a:pt x="2188185" y="2806236"/>
                </a:cubicBezTo>
                <a:cubicBezTo>
                  <a:pt x="2188185" y="2806236"/>
                  <a:pt x="2198707" y="2795714"/>
                  <a:pt x="2209718" y="2806725"/>
                </a:cubicBezTo>
                <a:lnTo>
                  <a:pt x="2210479" y="2802243"/>
                </a:lnTo>
                <a:lnTo>
                  <a:pt x="2209842" y="2802479"/>
                </a:lnTo>
                <a:cubicBezTo>
                  <a:pt x="2196348" y="2804669"/>
                  <a:pt x="2193558" y="2795910"/>
                  <a:pt x="2182398" y="2795910"/>
                </a:cubicBezTo>
                <a:cubicBezTo>
                  <a:pt x="2167518" y="2750754"/>
                  <a:pt x="2091403" y="2735702"/>
                  <a:pt x="2106855" y="2690546"/>
                </a:cubicBezTo>
                <a:cubicBezTo>
                  <a:pt x="2061644" y="2705598"/>
                  <a:pt x="2016433" y="2644870"/>
                  <a:pt x="1971221" y="2614766"/>
                </a:cubicBezTo>
                <a:cubicBezTo>
                  <a:pt x="1926010" y="2600233"/>
                  <a:pt x="1880227" y="2569610"/>
                  <a:pt x="1849895" y="2539506"/>
                </a:cubicBezTo>
                <a:cubicBezTo>
                  <a:pt x="1759472" y="2509402"/>
                  <a:pt x="1699381" y="2434142"/>
                  <a:pt x="1608387" y="2388466"/>
                </a:cubicBezTo>
                <a:cubicBezTo>
                  <a:pt x="1593507" y="2343829"/>
                  <a:pt x="1533416" y="2328258"/>
                  <a:pt x="1488205" y="2313206"/>
                </a:cubicBezTo>
                <a:cubicBezTo>
                  <a:pt x="1488205" y="2313206"/>
                  <a:pt x="1472753" y="2313206"/>
                  <a:pt x="1488205" y="2298154"/>
                </a:cubicBezTo>
                <a:cubicBezTo>
                  <a:pt x="1500795" y="2288292"/>
                  <a:pt x="1545434" y="2255593"/>
                  <a:pt x="1563175" y="2252998"/>
                </a:cubicBezTo>
                <a:cubicBezTo>
                  <a:pt x="1573477" y="2262860"/>
                  <a:pt x="1583206" y="2273240"/>
                  <a:pt x="1593507" y="2283102"/>
                </a:cubicBezTo>
                <a:cubicBezTo>
                  <a:pt x="1608387" y="2298154"/>
                  <a:pt x="1638718" y="2313206"/>
                  <a:pt x="1683929" y="2328258"/>
                </a:cubicBezTo>
                <a:lnTo>
                  <a:pt x="1683929" y="2343829"/>
                </a:lnTo>
                <a:lnTo>
                  <a:pt x="1729713" y="2343829"/>
                </a:lnTo>
                <a:cubicBezTo>
                  <a:pt x="1789804" y="2434142"/>
                  <a:pt x="1909986" y="2479298"/>
                  <a:pt x="2000981" y="2554558"/>
                </a:cubicBezTo>
                <a:cubicBezTo>
                  <a:pt x="2061644" y="2539506"/>
                  <a:pt x="2091403" y="2600233"/>
                  <a:pt x="2121735" y="2600233"/>
                </a:cubicBezTo>
                <a:cubicBezTo>
                  <a:pt x="2121735" y="2630337"/>
                  <a:pt x="2152066" y="2644870"/>
                  <a:pt x="2167518" y="2644870"/>
                </a:cubicBezTo>
                <a:cubicBezTo>
                  <a:pt x="2182398" y="2674975"/>
                  <a:pt x="2212730" y="2660442"/>
                  <a:pt x="2227609" y="2690546"/>
                </a:cubicBezTo>
                <a:lnTo>
                  <a:pt x="2233519" y="2696212"/>
                </a:lnTo>
                <a:lnTo>
                  <a:pt x="2238904" y="2646422"/>
                </a:lnTo>
                <a:cubicBezTo>
                  <a:pt x="2238919" y="2622460"/>
                  <a:pt x="2236237" y="2598533"/>
                  <a:pt x="2230793" y="2572046"/>
                </a:cubicBezTo>
                <a:cubicBezTo>
                  <a:pt x="2231113" y="2549705"/>
                  <a:pt x="2220837" y="2539429"/>
                  <a:pt x="2220348" y="2517897"/>
                </a:cubicBezTo>
                <a:lnTo>
                  <a:pt x="2199061" y="2496610"/>
                </a:lnTo>
                <a:cubicBezTo>
                  <a:pt x="2198818" y="2454280"/>
                  <a:pt x="2198979" y="2411546"/>
                  <a:pt x="2156038" y="2368605"/>
                </a:cubicBezTo>
                <a:cubicBezTo>
                  <a:pt x="2156443" y="2305073"/>
                  <a:pt x="2145594" y="2251328"/>
                  <a:pt x="2166920" y="2208715"/>
                </a:cubicBezTo>
                <a:cubicBezTo>
                  <a:pt x="2167364" y="2144411"/>
                  <a:pt x="2092578" y="2091477"/>
                  <a:pt x="2049919" y="2026966"/>
                </a:cubicBezTo>
                <a:cubicBezTo>
                  <a:pt x="2028510" y="1984515"/>
                  <a:pt x="1975333" y="1867398"/>
                  <a:pt x="1943035" y="1835101"/>
                </a:cubicBezTo>
                <a:cubicBezTo>
                  <a:pt x="1900339" y="1771363"/>
                  <a:pt x="1751208" y="1664317"/>
                  <a:pt x="1772412" y="1600540"/>
                </a:cubicBezTo>
                <a:cubicBezTo>
                  <a:pt x="1776403" y="1585813"/>
                  <a:pt x="1781897" y="1573932"/>
                  <a:pt x="1788581" y="1564579"/>
                </a:cubicBezTo>
                <a:close/>
              </a:path>
            </a:pathLst>
          </a:custGeom>
          <a:solidFill>
            <a:schemeClr val="bg1">
              <a:lumMod val="95000"/>
            </a:schemeClr>
          </a:solidFill>
        </p:spPr>
        <p:txBody>
          <a:bodyPr wrap="square" anchor="ctr">
            <a:noAutofit/>
          </a:bodyPr>
          <a:lstStyle>
            <a:lvl1pPr marL="0" indent="0" algn="ctr">
              <a:buFontTx/>
              <a:buNone/>
              <a:defRPr sz="1200">
                <a:solidFill>
                  <a:schemeClr val="tx1"/>
                </a:solidFill>
              </a:defRPr>
            </a:lvl1pPr>
          </a:lstStyle>
          <a:p>
            <a:r>
              <a:rPr lang="en-US"/>
              <a:t>Image</a:t>
            </a:r>
          </a:p>
        </p:txBody>
      </p:sp>
    </p:spTree>
    <p:extLst>
      <p:ext uri="{BB962C8B-B14F-4D97-AF65-F5344CB8AC3E}">
        <p14:creationId xmlns:p14="http://schemas.microsoft.com/office/powerpoint/2010/main" val="691830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8_Custom Layout">
    <p:spTree>
      <p:nvGrpSpPr>
        <p:cNvPr id="1" name=""/>
        <p:cNvGrpSpPr/>
        <p:nvPr/>
      </p:nvGrpSpPr>
      <p:grpSpPr>
        <a:xfrm>
          <a:off x="0" y="0"/>
          <a:ext cx="0" cy="0"/>
          <a:chOff x="0" y="0"/>
          <a:chExt cx="0" cy="0"/>
        </a:xfrm>
      </p:grpSpPr>
      <p:sp>
        <p:nvSpPr>
          <p:cNvPr id="5" name="Freeform 4"/>
          <p:cNvSpPr>
            <a:spLocks noGrp="1"/>
          </p:cNvSpPr>
          <p:nvPr>
            <p:ph type="pic" sz="quarter" idx="18" hasCustomPrompt="1"/>
          </p:nvPr>
        </p:nvSpPr>
        <p:spPr>
          <a:xfrm>
            <a:off x="483344" y="245247"/>
            <a:ext cx="7613003" cy="6367505"/>
          </a:xfrm>
          <a:custGeom>
            <a:avLst/>
            <a:gdLst>
              <a:gd name="connsiteX0" fmla="*/ 6223992 w 7613003"/>
              <a:gd name="connsiteY0" fmla="*/ 4938955 h 6367505"/>
              <a:gd name="connsiteX1" fmla="*/ 6221792 w 7613003"/>
              <a:gd name="connsiteY1" fmla="*/ 4941156 h 6367505"/>
              <a:gd name="connsiteX2" fmla="*/ 6218266 w 7613003"/>
              <a:gd name="connsiteY2" fmla="*/ 4944683 h 6367505"/>
              <a:gd name="connsiteX3" fmla="*/ 6218269 w 7613003"/>
              <a:gd name="connsiteY3" fmla="*/ 4944678 h 6367505"/>
              <a:gd name="connsiteX4" fmla="*/ 6223992 w 7613003"/>
              <a:gd name="connsiteY4" fmla="*/ 4938955 h 6367505"/>
              <a:gd name="connsiteX5" fmla="*/ 5683813 w 7613003"/>
              <a:gd name="connsiteY5" fmla="*/ 4846067 h 6367505"/>
              <a:gd name="connsiteX6" fmla="*/ 5682917 w 7613003"/>
              <a:gd name="connsiteY6" fmla="*/ 4846962 h 6367505"/>
              <a:gd name="connsiteX7" fmla="*/ 5682917 w 7613003"/>
              <a:gd name="connsiteY7" fmla="*/ 4846962 h 6367505"/>
              <a:gd name="connsiteX8" fmla="*/ 5698414 w 7613003"/>
              <a:gd name="connsiteY8" fmla="*/ 4831466 h 6367505"/>
              <a:gd name="connsiteX9" fmla="*/ 5697005 w 7613003"/>
              <a:gd name="connsiteY9" fmla="*/ 4831978 h 6367505"/>
              <a:gd name="connsiteX10" fmla="*/ 5697005 w 7613003"/>
              <a:gd name="connsiteY10" fmla="*/ 4832875 h 6367505"/>
              <a:gd name="connsiteX11" fmla="*/ 353079 w 7613003"/>
              <a:gd name="connsiteY11" fmla="*/ 4516669 h 6367505"/>
              <a:gd name="connsiteX12" fmla="*/ 358466 w 7613003"/>
              <a:gd name="connsiteY12" fmla="*/ 4522056 h 6367505"/>
              <a:gd name="connsiteX13" fmla="*/ 363538 w 7613003"/>
              <a:gd name="connsiteY13" fmla="*/ 4537272 h 6367505"/>
              <a:gd name="connsiteX14" fmla="*/ 361989 w 7613003"/>
              <a:gd name="connsiteY14" fmla="*/ 4535043 h 6367505"/>
              <a:gd name="connsiteX15" fmla="*/ 302113 w 7613003"/>
              <a:gd name="connsiteY15" fmla="*/ 4409357 h 6367505"/>
              <a:gd name="connsiteX16" fmla="*/ 330290 w 7613003"/>
              <a:gd name="connsiteY16" fmla="*/ 4465706 h 6367505"/>
              <a:gd name="connsiteX17" fmla="*/ 351422 w 7613003"/>
              <a:gd name="connsiteY17" fmla="*/ 4513251 h 6367505"/>
              <a:gd name="connsiteX18" fmla="*/ 353079 w 7613003"/>
              <a:gd name="connsiteY18" fmla="*/ 4516669 h 6367505"/>
              <a:gd name="connsiteX19" fmla="*/ 344378 w 7613003"/>
              <a:gd name="connsiteY19" fmla="*/ 4507969 h 6367505"/>
              <a:gd name="connsiteX20" fmla="*/ 330290 w 7613003"/>
              <a:gd name="connsiteY20" fmla="*/ 4493882 h 6367505"/>
              <a:gd name="connsiteX21" fmla="*/ 316201 w 7613003"/>
              <a:gd name="connsiteY21" fmla="*/ 4465706 h 6367505"/>
              <a:gd name="connsiteX22" fmla="*/ 302113 w 7613003"/>
              <a:gd name="connsiteY22" fmla="*/ 4409357 h 6367505"/>
              <a:gd name="connsiteX23" fmla="*/ 288025 w 7613003"/>
              <a:gd name="connsiteY23" fmla="*/ 4395269 h 6367505"/>
              <a:gd name="connsiteX24" fmla="*/ 288025 w 7613003"/>
              <a:gd name="connsiteY24" fmla="*/ 4423444 h 6367505"/>
              <a:gd name="connsiteX25" fmla="*/ 288025 w 7613003"/>
              <a:gd name="connsiteY25" fmla="*/ 4395269 h 6367505"/>
              <a:gd name="connsiteX26" fmla="*/ 259848 w 7613003"/>
              <a:gd name="connsiteY26" fmla="*/ 4296657 h 6367505"/>
              <a:gd name="connsiteX27" fmla="*/ 273937 w 7613003"/>
              <a:gd name="connsiteY27" fmla="*/ 4324833 h 6367505"/>
              <a:gd name="connsiteX28" fmla="*/ 288025 w 7613003"/>
              <a:gd name="connsiteY28" fmla="*/ 4353007 h 6367505"/>
              <a:gd name="connsiteX29" fmla="*/ 302113 w 7613003"/>
              <a:gd name="connsiteY29" fmla="*/ 4409357 h 6367505"/>
              <a:gd name="connsiteX30" fmla="*/ 273937 w 7613003"/>
              <a:gd name="connsiteY30" fmla="*/ 4367095 h 6367505"/>
              <a:gd name="connsiteX31" fmla="*/ 259848 w 7613003"/>
              <a:gd name="connsiteY31" fmla="*/ 4324833 h 6367505"/>
              <a:gd name="connsiteX32" fmla="*/ 259848 w 7613003"/>
              <a:gd name="connsiteY32" fmla="*/ 4296657 h 6367505"/>
              <a:gd name="connsiteX33" fmla="*/ 133055 w 7613003"/>
              <a:gd name="connsiteY33" fmla="*/ 4183958 h 6367505"/>
              <a:gd name="connsiteX34" fmla="*/ 147142 w 7613003"/>
              <a:gd name="connsiteY34" fmla="*/ 4240308 h 6367505"/>
              <a:gd name="connsiteX35" fmla="*/ 133055 w 7613003"/>
              <a:gd name="connsiteY35" fmla="*/ 4183958 h 6367505"/>
              <a:gd name="connsiteX36" fmla="*/ 92039 w 7613003"/>
              <a:gd name="connsiteY36" fmla="*/ 4073399 h 6367505"/>
              <a:gd name="connsiteX37" fmla="*/ 103118 w 7613003"/>
              <a:gd name="connsiteY37" fmla="*/ 4092390 h 6367505"/>
              <a:gd name="connsiteX38" fmla="*/ 104878 w 7613003"/>
              <a:gd name="connsiteY38" fmla="*/ 4113521 h 6367505"/>
              <a:gd name="connsiteX39" fmla="*/ 92551 w 7613003"/>
              <a:gd name="connsiteY39" fmla="*/ 4080064 h 6367505"/>
              <a:gd name="connsiteX40" fmla="*/ 90789 w 7613003"/>
              <a:gd name="connsiteY40" fmla="*/ 4057172 h 6367505"/>
              <a:gd name="connsiteX41" fmla="*/ 92039 w 7613003"/>
              <a:gd name="connsiteY41" fmla="*/ 4073399 h 6367505"/>
              <a:gd name="connsiteX42" fmla="*/ 90789 w 7613003"/>
              <a:gd name="connsiteY42" fmla="*/ 4071259 h 6367505"/>
              <a:gd name="connsiteX43" fmla="*/ 90789 w 7613003"/>
              <a:gd name="connsiteY43" fmla="*/ 4057172 h 6367505"/>
              <a:gd name="connsiteX44" fmla="*/ 50726 w 7613003"/>
              <a:gd name="connsiteY44" fmla="*/ 3671089 h 6367505"/>
              <a:gd name="connsiteX45" fmla="*/ 62614 w 7613003"/>
              <a:gd name="connsiteY45" fmla="*/ 3690899 h 6367505"/>
              <a:gd name="connsiteX46" fmla="*/ 62614 w 7613003"/>
              <a:gd name="connsiteY46" fmla="*/ 3719074 h 6367505"/>
              <a:gd name="connsiteX47" fmla="*/ 48525 w 7613003"/>
              <a:gd name="connsiteY47" fmla="*/ 3676812 h 6367505"/>
              <a:gd name="connsiteX48" fmla="*/ 50726 w 7613003"/>
              <a:gd name="connsiteY48" fmla="*/ 3671089 h 6367505"/>
              <a:gd name="connsiteX49" fmla="*/ 7359416 w 7613003"/>
              <a:gd name="connsiteY49" fmla="*/ 2859742 h 6367505"/>
              <a:gd name="connsiteX50" fmla="*/ 7359416 w 7613003"/>
              <a:gd name="connsiteY50" fmla="*/ 2887917 h 6367505"/>
              <a:gd name="connsiteX51" fmla="*/ 5740166 w 7613003"/>
              <a:gd name="connsiteY51" fmla="*/ 2859742 h 6367505"/>
              <a:gd name="connsiteX52" fmla="*/ 5740166 w 7613003"/>
              <a:gd name="connsiteY52" fmla="*/ 2887917 h 6367505"/>
              <a:gd name="connsiteX53" fmla="*/ 7358520 w 7613003"/>
              <a:gd name="connsiteY53" fmla="*/ 2844503 h 6367505"/>
              <a:gd name="connsiteX54" fmla="*/ 7359416 w 7613003"/>
              <a:gd name="connsiteY54" fmla="*/ 2845655 h 6367505"/>
              <a:gd name="connsiteX55" fmla="*/ 7359416 w 7613003"/>
              <a:gd name="connsiteY55" fmla="*/ 2859742 h 6367505"/>
              <a:gd name="connsiteX56" fmla="*/ 5739270 w 7613003"/>
              <a:gd name="connsiteY56" fmla="*/ 2844503 h 6367505"/>
              <a:gd name="connsiteX57" fmla="*/ 5740166 w 7613003"/>
              <a:gd name="connsiteY57" fmla="*/ 2845655 h 6367505"/>
              <a:gd name="connsiteX58" fmla="*/ 5740166 w 7613003"/>
              <a:gd name="connsiteY58" fmla="*/ 2859742 h 6367505"/>
              <a:gd name="connsiteX59" fmla="*/ 7345327 w 7613003"/>
              <a:gd name="connsiteY59" fmla="*/ 2789306 h 6367505"/>
              <a:gd name="connsiteX60" fmla="*/ 7357655 w 7613003"/>
              <a:gd name="connsiteY60" fmla="*/ 2829808 h 6367505"/>
              <a:gd name="connsiteX61" fmla="*/ 7358520 w 7613003"/>
              <a:gd name="connsiteY61" fmla="*/ 2844503 h 6367505"/>
              <a:gd name="connsiteX62" fmla="*/ 7347089 w 7613003"/>
              <a:gd name="connsiteY62" fmla="*/ 2829808 h 6367505"/>
              <a:gd name="connsiteX63" fmla="*/ 7345327 w 7613003"/>
              <a:gd name="connsiteY63" fmla="*/ 2803393 h 6367505"/>
              <a:gd name="connsiteX64" fmla="*/ 7345327 w 7613003"/>
              <a:gd name="connsiteY64" fmla="*/ 2789306 h 6367505"/>
              <a:gd name="connsiteX65" fmla="*/ 5726077 w 7613003"/>
              <a:gd name="connsiteY65" fmla="*/ 2789306 h 6367505"/>
              <a:gd name="connsiteX66" fmla="*/ 5738405 w 7613003"/>
              <a:gd name="connsiteY66" fmla="*/ 2829808 h 6367505"/>
              <a:gd name="connsiteX67" fmla="*/ 5739270 w 7613003"/>
              <a:gd name="connsiteY67" fmla="*/ 2844503 h 6367505"/>
              <a:gd name="connsiteX68" fmla="*/ 5727839 w 7613003"/>
              <a:gd name="connsiteY68" fmla="*/ 2829808 h 6367505"/>
              <a:gd name="connsiteX69" fmla="*/ 5726077 w 7613003"/>
              <a:gd name="connsiteY69" fmla="*/ 2803393 h 6367505"/>
              <a:gd name="connsiteX70" fmla="*/ 5726077 w 7613003"/>
              <a:gd name="connsiteY70" fmla="*/ 2789306 h 6367505"/>
              <a:gd name="connsiteX71" fmla="*/ 7401680 w 7613003"/>
              <a:gd name="connsiteY71" fmla="*/ 2690693 h 6367505"/>
              <a:gd name="connsiteX72" fmla="*/ 7415769 w 7613003"/>
              <a:gd name="connsiteY72" fmla="*/ 2747044 h 6367505"/>
              <a:gd name="connsiteX73" fmla="*/ 7415769 w 7613003"/>
              <a:gd name="connsiteY73" fmla="*/ 2761131 h 6367505"/>
              <a:gd name="connsiteX74" fmla="*/ 7401680 w 7613003"/>
              <a:gd name="connsiteY74" fmla="*/ 2690693 h 6367505"/>
              <a:gd name="connsiteX75" fmla="*/ 5782430 w 7613003"/>
              <a:gd name="connsiteY75" fmla="*/ 2690693 h 6367505"/>
              <a:gd name="connsiteX76" fmla="*/ 5796519 w 7613003"/>
              <a:gd name="connsiteY76" fmla="*/ 2747044 h 6367505"/>
              <a:gd name="connsiteX77" fmla="*/ 5796519 w 7613003"/>
              <a:gd name="connsiteY77" fmla="*/ 2761131 h 6367505"/>
              <a:gd name="connsiteX78" fmla="*/ 5782430 w 7613003"/>
              <a:gd name="connsiteY78" fmla="*/ 2690693 h 6367505"/>
              <a:gd name="connsiteX79" fmla="*/ 7345327 w 7613003"/>
              <a:gd name="connsiteY79" fmla="*/ 2676606 h 6367505"/>
              <a:gd name="connsiteX80" fmla="*/ 7373504 w 7613003"/>
              <a:gd name="connsiteY80" fmla="*/ 2789306 h 6367505"/>
              <a:gd name="connsiteX81" fmla="*/ 7387591 w 7613003"/>
              <a:gd name="connsiteY81" fmla="*/ 2887917 h 6367505"/>
              <a:gd name="connsiteX82" fmla="*/ 7401680 w 7613003"/>
              <a:gd name="connsiteY82" fmla="*/ 2930180 h 6367505"/>
              <a:gd name="connsiteX83" fmla="*/ 7401680 w 7613003"/>
              <a:gd name="connsiteY83" fmla="*/ 2958355 h 6367505"/>
              <a:gd name="connsiteX84" fmla="*/ 7359416 w 7613003"/>
              <a:gd name="connsiteY84" fmla="*/ 2775218 h 6367505"/>
              <a:gd name="connsiteX85" fmla="*/ 7345327 w 7613003"/>
              <a:gd name="connsiteY85" fmla="*/ 2732957 h 6367505"/>
              <a:gd name="connsiteX86" fmla="*/ 7345327 w 7613003"/>
              <a:gd name="connsiteY86" fmla="*/ 2724151 h 6367505"/>
              <a:gd name="connsiteX87" fmla="*/ 7345327 w 7613003"/>
              <a:gd name="connsiteY87" fmla="*/ 2710725 h 6367505"/>
              <a:gd name="connsiteX88" fmla="*/ 7345327 w 7613003"/>
              <a:gd name="connsiteY88" fmla="*/ 2710064 h 6367505"/>
              <a:gd name="connsiteX89" fmla="*/ 7345327 w 7613003"/>
              <a:gd name="connsiteY89" fmla="*/ 2704782 h 6367505"/>
              <a:gd name="connsiteX90" fmla="*/ 7345327 w 7613003"/>
              <a:gd name="connsiteY90" fmla="*/ 2692455 h 6367505"/>
              <a:gd name="connsiteX91" fmla="*/ 7345327 w 7613003"/>
              <a:gd name="connsiteY91" fmla="*/ 2690693 h 6367505"/>
              <a:gd name="connsiteX92" fmla="*/ 7345327 w 7613003"/>
              <a:gd name="connsiteY92" fmla="*/ 2685411 h 6367505"/>
              <a:gd name="connsiteX93" fmla="*/ 7345327 w 7613003"/>
              <a:gd name="connsiteY93" fmla="*/ 2676606 h 6367505"/>
              <a:gd name="connsiteX94" fmla="*/ 5726077 w 7613003"/>
              <a:gd name="connsiteY94" fmla="*/ 2676606 h 6367505"/>
              <a:gd name="connsiteX95" fmla="*/ 5754254 w 7613003"/>
              <a:gd name="connsiteY95" fmla="*/ 2789306 h 6367505"/>
              <a:gd name="connsiteX96" fmla="*/ 5768341 w 7613003"/>
              <a:gd name="connsiteY96" fmla="*/ 2887917 h 6367505"/>
              <a:gd name="connsiteX97" fmla="*/ 5782430 w 7613003"/>
              <a:gd name="connsiteY97" fmla="*/ 2930180 h 6367505"/>
              <a:gd name="connsiteX98" fmla="*/ 5782430 w 7613003"/>
              <a:gd name="connsiteY98" fmla="*/ 2958355 h 6367505"/>
              <a:gd name="connsiteX99" fmla="*/ 5740166 w 7613003"/>
              <a:gd name="connsiteY99" fmla="*/ 2775218 h 6367505"/>
              <a:gd name="connsiteX100" fmla="*/ 5726077 w 7613003"/>
              <a:gd name="connsiteY100" fmla="*/ 2732957 h 6367505"/>
              <a:gd name="connsiteX101" fmla="*/ 5726077 w 7613003"/>
              <a:gd name="connsiteY101" fmla="*/ 2724151 h 6367505"/>
              <a:gd name="connsiteX102" fmla="*/ 5726077 w 7613003"/>
              <a:gd name="connsiteY102" fmla="*/ 2710725 h 6367505"/>
              <a:gd name="connsiteX103" fmla="*/ 5726077 w 7613003"/>
              <a:gd name="connsiteY103" fmla="*/ 2710064 h 6367505"/>
              <a:gd name="connsiteX104" fmla="*/ 5726077 w 7613003"/>
              <a:gd name="connsiteY104" fmla="*/ 2704782 h 6367505"/>
              <a:gd name="connsiteX105" fmla="*/ 5726077 w 7613003"/>
              <a:gd name="connsiteY105" fmla="*/ 2692455 h 6367505"/>
              <a:gd name="connsiteX106" fmla="*/ 5726077 w 7613003"/>
              <a:gd name="connsiteY106" fmla="*/ 2690693 h 6367505"/>
              <a:gd name="connsiteX107" fmla="*/ 5726077 w 7613003"/>
              <a:gd name="connsiteY107" fmla="*/ 2685411 h 6367505"/>
              <a:gd name="connsiteX108" fmla="*/ 5726077 w 7613003"/>
              <a:gd name="connsiteY108" fmla="*/ 2676606 h 6367505"/>
              <a:gd name="connsiteX109" fmla="*/ 7176268 w 7613003"/>
              <a:gd name="connsiteY109" fmla="*/ 2437121 h 6367505"/>
              <a:gd name="connsiteX110" fmla="*/ 7176268 w 7613003"/>
              <a:gd name="connsiteY110" fmla="*/ 2451208 h 6367505"/>
              <a:gd name="connsiteX111" fmla="*/ 7176268 w 7613003"/>
              <a:gd name="connsiteY111" fmla="*/ 2437121 h 6367505"/>
              <a:gd name="connsiteX112" fmla="*/ 5557018 w 7613003"/>
              <a:gd name="connsiteY112" fmla="*/ 2437121 h 6367505"/>
              <a:gd name="connsiteX113" fmla="*/ 5557018 w 7613003"/>
              <a:gd name="connsiteY113" fmla="*/ 2451208 h 6367505"/>
              <a:gd name="connsiteX114" fmla="*/ 5557018 w 7613003"/>
              <a:gd name="connsiteY114" fmla="*/ 2437121 h 6367505"/>
              <a:gd name="connsiteX115" fmla="*/ 7280169 w 7613003"/>
              <a:gd name="connsiteY115" fmla="*/ 2415990 h 6367505"/>
              <a:gd name="connsiteX116" fmla="*/ 7288974 w 7613003"/>
              <a:gd name="connsiteY116" fmla="*/ 2451208 h 6367505"/>
              <a:gd name="connsiteX117" fmla="*/ 7280169 w 7613003"/>
              <a:gd name="connsiteY117" fmla="*/ 2415990 h 6367505"/>
              <a:gd name="connsiteX118" fmla="*/ 5660919 w 7613003"/>
              <a:gd name="connsiteY118" fmla="*/ 2415990 h 6367505"/>
              <a:gd name="connsiteX119" fmla="*/ 5669724 w 7613003"/>
              <a:gd name="connsiteY119" fmla="*/ 2451208 h 6367505"/>
              <a:gd name="connsiteX120" fmla="*/ 5660919 w 7613003"/>
              <a:gd name="connsiteY120" fmla="*/ 2415990 h 6367505"/>
              <a:gd name="connsiteX121" fmla="*/ 3515093 w 7613003"/>
              <a:gd name="connsiteY121" fmla="*/ 2408946 h 6367505"/>
              <a:gd name="connsiteX122" fmla="*/ 3520376 w 7613003"/>
              <a:gd name="connsiteY122" fmla="*/ 2408946 h 6367505"/>
              <a:gd name="connsiteX123" fmla="*/ 3527420 w 7613003"/>
              <a:gd name="connsiteY123" fmla="*/ 2408946 h 6367505"/>
              <a:gd name="connsiteX124" fmla="*/ 3513333 w 7613003"/>
              <a:gd name="connsiteY124" fmla="*/ 2437121 h 6367505"/>
              <a:gd name="connsiteX125" fmla="*/ 3485156 w 7613003"/>
              <a:gd name="connsiteY125" fmla="*/ 2479383 h 6367505"/>
              <a:gd name="connsiteX126" fmla="*/ 3485156 w 7613003"/>
              <a:gd name="connsiteY126" fmla="*/ 2465295 h 6367505"/>
              <a:gd name="connsiteX127" fmla="*/ 3488287 w 7613003"/>
              <a:gd name="connsiteY127" fmla="*/ 2460599 h 6367505"/>
              <a:gd name="connsiteX128" fmla="*/ 3490439 w 7613003"/>
              <a:gd name="connsiteY128" fmla="*/ 2458252 h 6367505"/>
              <a:gd name="connsiteX129" fmla="*/ 3491417 w 7613003"/>
              <a:gd name="connsiteY129" fmla="*/ 2455904 h 6367505"/>
              <a:gd name="connsiteX130" fmla="*/ 3499244 w 7613003"/>
              <a:gd name="connsiteY130" fmla="*/ 2444164 h 6367505"/>
              <a:gd name="connsiteX131" fmla="*/ 3513333 w 7613003"/>
              <a:gd name="connsiteY131" fmla="*/ 2423033 h 6367505"/>
              <a:gd name="connsiteX132" fmla="*/ 3515093 w 7613003"/>
              <a:gd name="connsiteY132" fmla="*/ 2408946 h 6367505"/>
              <a:gd name="connsiteX133" fmla="*/ 7166821 w 7613003"/>
              <a:gd name="connsiteY133" fmla="*/ 2402814 h 6367505"/>
              <a:gd name="connsiteX134" fmla="*/ 7174508 w 7613003"/>
              <a:gd name="connsiteY134" fmla="*/ 2415990 h 6367505"/>
              <a:gd name="connsiteX135" fmla="*/ 7176268 w 7613003"/>
              <a:gd name="connsiteY135" fmla="*/ 2437121 h 6367505"/>
              <a:gd name="connsiteX136" fmla="*/ 7169225 w 7613003"/>
              <a:gd name="connsiteY136" fmla="*/ 2414228 h 6367505"/>
              <a:gd name="connsiteX137" fmla="*/ 5547571 w 7613003"/>
              <a:gd name="connsiteY137" fmla="*/ 2402814 h 6367505"/>
              <a:gd name="connsiteX138" fmla="*/ 5555258 w 7613003"/>
              <a:gd name="connsiteY138" fmla="*/ 2415990 h 6367505"/>
              <a:gd name="connsiteX139" fmla="*/ 5557018 w 7613003"/>
              <a:gd name="connsiteY139" fmla="*/ 2437121 h 6367505"/>
              <a:gd name="connsiteX140" fmla="*/ 5549975 w 7613003"/>
              <a:gd name="connsiteY140" fmla="*/ 2414228 h 6367505"/>
              <a:gd name="connsiteX141" fmla="*/ 7260798 w 7613003"/>
              <a:gd name="connsiteY141" fmla="*/ 2380771 h 6367505"/>
              <a:gd name="connsiteX142" fmla="*/ 7280169 w 7613003"/>
              <a:gd name="connsiteY142" fmla="*/ 2415990 h 6367505"/>
              <a:gd name="connsiteX143" fmla="*/ 7260798 w 7613003"/>
              <a:gd name="connsiteY143" fmla="*/ 2380771 h 6367505"/>
              <a:gd name="connsiteX144" fmla="*/ 7155418 w 7613003"/>
              <a:gd name="connsiteY144" fmla="*/ 2380771 h 6367505"/>
              <a:gd name="connsiteX145" fmla="*/ 7162181 w 7613003"/>
              <a:gd name="connsiteY145" fmla="*/ 2380771 h 6367505"/>
              <a:gd name="connsiteX146" fmla="*/ 7166821 w 7613003"/>
              <a:gd name="connsiteY146" fmla="*/ 2402814 h 6367505"/>
              <a:gd name="connsiteX147" fmla="*/ 7162181 w 7613003"/>
              <a:gd name="connsiteY147" fmla="*/ 2394859 h 6367505"/>
              <a:gd name="connsiteX148" fmla="*/ 5641548 w 7613003"/>
              <a:gd name="connsiteY148" fmla="*/ 2380771 h 6367505"/>
              <a:gd name="connsiteX149" fmla="*/ 5660919 w 7613003"/>
              <a:gd name="connsiteY149" fmla="*/ 2415990 h 6367505"/>
              <a:gd name="connsiteX150" fmla="*/ 5641548 w 7613003"/>
              <a:gd name="connsiteY150" fmla="*/ 2380771 h 6367505"/>
              <a:gd name="connsiteX151" fmla="*/ 5536168 w 7613003"/>
              <a:gd name="connsiteY151" fmla="*/ 2380771 h 6367505"/>
              <a:gd name="connsiteX152" fmla="*/ 5542931 w 7613003"/>
              <a:gd name="connsiteY152" fmla="*/ 2380771 h 6367505"/>
              <a:gd name="connsiteX153" fmla="*/ 5547571 w 7613003"/>
              <a:gd name="connsiteY153" fmla="*/ 2402814 h 6367505"/>
              <a:gd name="connsiteX154" fmla="*/ 5542931 w 7613003"/>
              <a:gd name="connsiteY154" fmla="*/ 2394859 h 6367505"/>
              <a:gd name="connsiteX155" fmla="*/ 7246710 w 7613003"/>
              <a:gd name="connsiteY155" fmla="*/ 2352596 h 6367505"/>
              <a:gd name="connsiteX156" fmla="*/ 7260798 w 7613003"/>
              <a:gd name="connsiteY156" fmla="*/ 2366684 h 6367505"/>
              <a:gd name="connsiteX157" fmla="*/ 7260798 w 7613003"/>
              <a:gd name="connsiteY157" fmla="*/ 2380771 h 6367505"/>
              <a:gd name="connsiteX158" fmla="*/ 7260798 w 7613003"/>
              <a:gd name="connsiteY158" fmla="*/ 2394859 h 6367505"/>
              <a:gd name="connsiteX159" fmla="*/ 7246710 w 7613003"/>
              <a:gd name="connsiteY159" fmla="*/ 2352596 h 6367505"/>
              <a:gd name="connsiteX160" fmla="*/ 5627460 w 7613003"/>
              <a:gd name="connsiteY160" fmla="*/ 2352596 h 6367505"/>
              <a:gd name="connsiteX161" fmla="*/ 5641548 w 7613003"/>
              <a:gd name="connsiteY161" fmla="*/ 2366684 h 6367505"/>
              <a:gd name="connsiteX162" fmla="*/ 5641548 w 7613003"/>
              <a:gd name="connsiteY162" fmla="*/ 2380771 h 6367505"/>
              <a:gd name="connsiteX163" fmla="*/ 5641548 w 7613003"/>
              <a:gd name="connsiteY163" fmla="*/ 2394859 h 6367505"/>
              <a:gd name="connsiteX164" fmla="*/ 5627460 w 7613003"/>
              <a:gd name="connsiteY164" fmla="*/ 2352596 h 6367505"/>
              <a:gd name="connsiteX165" fmla="*/ 3555597 w 7613003"/>
              <a:gd name="connsiteY165" fmla="*/ 2352596 h 6367505"/>
              <a:gd name="connsiteX166" fmla="*/ 3569684 w 7613003"/>
              <a:gd name="connsiteY166" fmla="*/ 2352596 h 6367505"/>
              <a:gd name="connsiteX167" fmla="*/ 3527420 w 7613003"/>
              <a:gd name="connsiteY167" fmla="*/ 2408946 h 6367505"/>
              <a:gd name="connsiteX168" fmla="*/ 3527420 w 7613003"/>
              <a:gd name="connsiteY168" fmla="*/ 2394859 h 6367505"/>
              <a:gd name="connsiteX169" fmla="*/ 3541509 w 7613003"/>
              <a:gd name="connsiteY169" fmla="*/ 2373728 h 6367505"/>
              <a:gd name="connsiteX170" fmla="*/ 3555597 w 7613003"/>
              <a:gd name="connsiteY170" fmla="*/ 2366684 h 6367505"/>
              <a:gd name="connsiteX171" fmla="*/ 3555597 w 7613003"/>
              <a:gd name="connsiteY171" fmla="*/ 2352596 h 6367505"/>
              <a:gd name="connsiteX172" fmla="*/ 3581308 w 7613003"/>
              <a:gd name="connsiteY172" fmla="*/ 2325830 h 6367505"/>
              <a:gd name="connsiteX173" fmla="*/ 3569684 w 7613003"/>
              <a:gd name="connsiteY173" fmla="*/ 2338508 h 6367505"/>
              <a:gd name="connsiteX174" fmla="*/ 3571446 w 7613003"/>
              <a:gd name="connsiteY174" fmla="*/ 2331465 h 6367505"/>
              <a:gd name="connsiteX175" fmla="*/ 3582600 w 7613003"/>
              <a:gd name="connsiteY175" fmla="*/ 2324421 h 6367505"/>
              <a:gd name="connsiteX176" fmla="*/ 3583773 w 7613003"/>
              <a:gd name="connsiteY176" fmla="*/ 2324421 h 6367505"/>
              <a:gd name="connsiteX177" fmla="*/ 3581308 w 7613003"/>
              <a:gd name="connsiteY177" fmla="*/ 2325830 h 6367505"/>
              <a:gd name="connsiteX178" fmla="*/ 7091739 w 7613003"/>
              <a:gd name="connsiteY178" fmla="*/ 2253985 h 6367505"/>
              <a:gd name="connsiteX179" fmla="*/ 7105828 w 7613003"/>
              <a:gd name="connsiteY179" fmla="*/ 2268072 h 6367505"/>
              <a:gd name="connsiteX180" fmla="*/ 7119917 w 7613003"/>
              <a:gd name="connsiteY180" fmla="*/ 2296246 h 6367505"/>
              <a:gd name="connsiteX181" fmla="*/ 7141049 w 7613003"/>
              <a:gd name="connsiteY181" fmla="*/ 2350836 h 6367505"/>
              <a:gd name="connsiteX182" fmla="*/ 7155418 w 7613003"/>
              <a:gd name="connsiteY182" fmla="*/ 2380771 h 6367505"/>
              <a:gd name="connsiteX183" fmla="*/ 7155136 w 7613003"/>
              <a:gd name="connsiteY183" fmla="*/ 2380771 h 6367505"/>
              <a:gd name="connsiteX184" fmla="*/ 7148092 w 7613003"/>
              <a:gd name="connsiteY184" fmla="*/ 2380771 h 6367505"/>
              <a:gd name="connsiteX185" fmla="*/ 7134004 w 7613003"/>
              <a:gd name="connsiteY185" fmla="*/ 2366684 h 6367505"/>
              <a:gd name="connsiteX186" fmla="*/ 7134004 w 7613003"/>
              <a:gd name="connsiteY186" fmla="*/ 2352596 h 6367505"/>
              <a:gd name="connsiteX187" fmla="*/ 7134004 w 7613003"/>
              <a:gd name="connsiteY187" fmla="*/ 2338508 h 6367505"/>
              <a:gd name="connsiteX188" fmla="*/ 7091739 w 7613003"/>
              <a:gd name="connsiteY188" fmla="*/ 2268072 h 6367505"/>
              <a:gd name="connsiteX189" fmla="*/ 7091739 w 7613003"/>
              <a:gd name="connsiteY189" fmla="*/ 2253985 h 6367505"/>
              <a:gd name="connsiteX190" fmla="*/ 5472489 w 7613003"/>
              <a:gd name="connsiteY190" fmla="*/ 2253985 h 6367505"/>
              <a:gd name="connsiteX191" fmla="*/ 5486578 w 7613003"/>
              <a:gd name="connsiteY191" fmla="*/ 2268072 h 6367505"/>
              <a:gd name="connsiteX192" fmla="*/ 5500667 w 7613003"/>
              <a:gd name="connsiteY192" fmla="*/ 2296246 h 6367505"/>
              <a:gd name="connsiteX193" fmla="*/ 5521799 w 7613003"/>
              <a:gd name="connsiteY193" fmla="*/ 2350836 h 6367505"/>
              <a:gd name="connsiteX194" fmla="*/ 5536168 w 7613003"/>
              <a:gd name="connsiteY194" fmla="*/ 2380771 h 6367505"/>
              <a:gd name="connsiteX195" fmla="*/ 5535886 w 7613003"/>
              <a:gd name="connsiteY195" fmla="*/ 2380771 h 6367505"/>
              <a:gd name="connsiteX196" fmla="*/ 5528842 w 7613003"/>
              <a:gd name="connsiteY196" fmla="*/ 2380771 h 6367505"/>
              <a:gd name="connsiteX197" fmla="*/ 5514754 w 7613003"/>
              <a:gd name="connsiteY197" fmla="*/ 2366684 h 6367505"/>
              <a:gd name="connsiteX198" fmla="*/ 5514754 w 7613003"/>
              <a:gd name="connsiteY198" fmla="*/ 2352596 h 6367505"/>
              <a:gd name="connsiteX199" fmla="*/ 5514754 w 7613003"/>
              <a:gd name="connsiteY199" fmla="*/ 2338508 h 6367505"/>
              <a:gd name="connsiteX200" fmla="*/ 5472489 w 7613003"/>
              <a:gd name="connsiteY200" fmla="*/ 2268072 h 6367505"/>
              <a:gd name="connsiteX201" fmla="*/ 5472489 w 7613003"/>
              <a:gd name="connsiteY201" fmla="*/ 2253985 h 6367505"/>
              <a:gd name="connsiteX202" fmla="*/ 101747 w 7613003"/>
              <a:gd name="connsiteY202" fmla="*/ 2036412 h 6367505"/>
              <a:gd name="connsiteX203" fmla="*/ 99595 w 7613003"/>
              <a:gd name="connsiteY203" fmla="*/ 2039152 h 6367505"/>
              <a:gd name="connsiteX204" fmla="*/ 90789 w 7613003"/>
              <a:gd name="connsiteY204" fmla="*/ 2042674 h 6367505"/>
              <a:gd name="connsiteX205" fmla="*/ 103469 w 7613003"/>
              <a:gd name="connsiteY205" fmla="*/ 2034221 h 6367505"/>
              <a:gd name="connsiteX206" fmla="*/ 103118 w 7613003"/>
              <a:gd name="connsiteY206" fmla="*/ 2035630 h 6367505"/>
              <a:gd name="connsiteX207" fmla="*/ 101747 w 7613003"/>
              <a:gd name="connsiteY207" fmla="*/ 2036412 h 6367505"/>
              <a:gd name="connsiteX208" fmla="*/ 104878 w 7613003"/>
              <a:gd name="connsiteY208" fmla="*/ 2014499 h 6367505"/>
              <a:gd name="connsiteX209" fmla="*/ 118967 w 7613003"/>
              <a:gd name="connsiteY209" fmla="*/ 2014499 h 6367505"/>
              <a:gd name="connsiteX210" fmla="*/ 103469 w 7613003"/>
              <a:gd name="connsiteY210" fmla="*/ 2034221 h 6367505"/>
              <a:gd name="connsiteX211" fmla="*/ 104878 w 7613003"/>
              <a:gd name="connsiteY211" fmla="*/ 2028587 h 6367505"/>
              <a:gd name="connsiteX212" fmla="*/ 104878 w 7613003"/>
              <a:gd name="connsiteY212" fmla="*/ 2014499 h 6367505"/>
              <a:gd name="connsiteX213" fmla="*/ 330290 w 7613003"/>
              <a:gd name="connsiteY213" fmla="*/ 1944061 h 6367505"/>
              <a:gd name="connsiteX214" fmla="*/ 330290 w 7613003"/>
              <a:gd name="connsiteY214" fmla="*/ 1972236 h 6367505"/>
              <a:gd name="connsiteX215" fmla="*/ 330290 w 7613003"/>
              <a:gd name="connsiteY215" fmla="*/ 1944061 h 6367505"/>
              <a:gd name="connsiteX216" fmla="*/ 6556388 w 7613003"/>
              <a:gd name="connsiteY216" fmla="*/ 1648227 h 6367505"/>
              <a:gd name="connsiteX217" fmla="*/ 6570476 w 7613003"/>
              <a:gd name="connsiteY217" fmla="*/ 1657031 h 6367505"/>
              <a:gd name="connsiteX218" fmla="*/ 6584563 w 7613003"/>
              <a:gd name="connsiteY218" fmla="*/ 1676401 h 6367505"/>
              <a:gd name="connsiteX219" fmla="*/ 6561670 w 7613003"/>
              <a:gd name="connsiteY219" fmla="*/ 1653509 h 6367505"/>
              <a:gd name="connsiteX220" fmla="*/ 4937138 w 7613003"/>
              <a:gd name="connsiteY220" fmla="*/ 1648227 h 6367505"/>
              <a:gd name="connsiteX221" fmla="*/ 4951226 w 7613003"/>
              <a:gd name="connsiteY221" fmla="*/ 1657031 h 6367505"/>
              <a:gd name="connsiteX222" fmla="*/ 4965313 w 7613003"/>
              <a:gd name="connsiteY222" fmla="*/ 1676401 h 6367505"/>
              <a:gd name="connsiteX223" fmla="*/ 4942420 w 7613003"/>
              <a:gd name="connsiteY223" fmla="*/ 1653509 h 6367505"/>
              <a:gd name="connsiteX224" fmla="*/ 6542300 w 7613003"/>
              <a:gd name="connsiteY224" fmla="*/ 1634140 h 6367505"/>
              <a:gd name="connsiteX225" fmla="*/ 6554627 w 7613003"/>
              <a:gd name="connsiteY225" fmla="*/ 1641183 h 6367505"/>
              <a:gd name="connsiteX226" fmla="*/ 6556387 w 7613003"/>
              <a:gd name="connsiteY226" fmla="*/ 1648227 h 6367505"/>
              <a:gd name="connsiteX227" fmla="*/ 4923050 w 7613003"/>
              <a:gd name="connsiteY227" fmla="*/ 1634140 h 6367505"/>
              <a:gd name="connsiteX228" fmla="*/ 4935377 w 7613003"/>
              <a:gd name="connsiteY228" fmla="*/ 1641183 h 6367505"/>
              <a:gd name="connsiteX229" fmla="*/ 4937137 w 7613003"/>
              <a:gd name="connsiteY229" fmla="*/ 1648227 h 6367505"/>
              <a:gd name="connsiteX230" fmla="*/ 6415505 w 7613003"/>
              <a:gd name="connsiteY230" fmla="*/ 1577789 h 6367505"/>
              <a:gd name="connsiteX231" fmla="*/ 6457770 w 7613003"/>
              <a:gd name="connsiteY231" fmla="*/ 1605964 h 6367505"/>
              <a:gd name="connsiteX232" fmla="*/ 6528211 w 7613003"/>
              <a:gd name="connsiteY232" fmla="*/ 1676401 h 6367505"/>
              <a:gd name="connsiteX233" fmla="*/ 6542298 w 7613003"/>
              <a:gd name="connsiteY233" fmla="*/ 1690489 h 6367505"/>
              <a:gd name="connsiteX234" fmla="*/ 6485946 w 7613003"/>
              <a:gd name="connsiteY234" fmla="*/ 1634138 h 6367505"/>
              <a:gd name="connsiteX235" fmla="*/ 6457770 w 7613003"/>
              <a:gd name="connsiteY235" fmla="*/ 1620051 h 6367505"/>
              <a:gd name="connsiteX236" fmla="*/ 6429593 w 7613003"/>
              <a:gd name="connsiteY236" fmla="*/ 1605964 h 6367505"/>
              <a:gd name="connsiteX237" fmla="*/ 6415505 w 7613003"/>
              <a:gd name="connsiteY237" fmla="*/ 1577789 h 6367505"/>
              <a:gd name="connsiteX238" fmla="*/ 4796255 w 7613003"/>
              <a:gd name="connsiteY238" fmla="*/ 1577789 h 6367505"/>
              <a:gd name="connsiteX239" fmla="*/ 4838520 w 7613003"/>
              <a:gd name="connsiteY239" fmla="*/ 1605964 h 6367505"/>
              <a:gd name="connsiteX240" fmla="*/ 4908961 w 7613003"/>
              <a:gd name="connsiteY240" fmla="*/ 1676401 h 6367505"/>
              <a:gd name="connsiteX241" fmla="*/ 4923048 w 7613003"/>
              <a:gd name="connsiteY241" fmla="*/ 1690489 h 6367505"/>
              <a:gd name="connsiteX242" fmla="*/ 4866696 w 7613003"/>
              <a:gd name="connsiteY242" fmla="*/ 1634138 h 6367505"/>
              <a:gd name="connsiteX243" fmla="*/ 4838520 w 7613003"/>
              <a:gd name="connsiteY243" fmla="*/ 1620051 h 6367505"/>
              <a:gd name="connsiteX244" fmla="*/ 4810343 w 7613003"/>
              <a:gd name="connsiteY244" fmla="*/ 1605964 h 6367505"/>
              <a:gd name="connsiteX245" fmla="*/ 4796255 w 7613003"/>
              <a:gd name="connsiteY245" fmla="*/ 1577789 h 6367505"/>
              <a:gd name="connsiteX246" fmla="*/ 6471858 w 7613003"/>
              <a:gd name="connsiteY246" fmla="*/ 1563702 h 6367505"/>
              <a:gd name="connsiteX247" fmla="*/ 6485946 w 7613003"/>
              <a:gd name="connsiteY247" fmla="*/ 1577789 h 6367505"/>
              <a:gd name="connsiteX248" fmla="*/ 6514123 w 7613003"/>
              <a:gd name="connsiteY248" fmla="*/ 1591876 h 6367505"/>
              <a:gd name="connsiteX249" fmla="*/ 6533493 w 7613003"/>
              <a:gd name="connsiteY249" fmla="*/ 1613007 h 6367505"/>
              <a:gd name="connsiteX250" fmla="*/ 6542298 w 7613003"/>
              <a:gd name="connsiteY250" fmla="*/ 1634138 h 6367505"/>
              <a:gd name="connsiteX251" fmla="*/ 6528211 w 7613003"/>
              <a:gd name="connsiteY251" fmla="*/ 1620051 h 6367505"/>
              <a:gd name="connsiteX252" fmla="*/ 6514123 w 7613003"/>
              <a:gd name="connsiteY252" fmla="*/ 1620051 h 6367505"/>
              <a:gd name="connsiteX253" fmla="*/ 6514123 w 7613003"/>
              <a:gd name="connsiteY253" fmla="*/ 1605964 h 6367505"/>
              <a:gd name="connsiteX254" fmla="*/ 6485946 w 7613003"/>
              <a:gd name="connsiteY254" fmla="*/ 1591876 h 6367505"/>
              <a:gd name="connsiteX255" fmla="*/ 6471858 w 7613003"/>
              <a:gd name="connsiteY255" fmla="*/ 1563702 h 6367505"/>
              <a:gd name="connsiteX256" fmla="*/ 4852608 w 7613003"/>
              <a:gd name="connsiteY256" fmla="*/ 1563702 h 6367505"/>
              <a:gd name="connsiteX257" fmla="*/ 4866696 w 7613003"/>
              <a:gd name="connsiteY257" fmla="*/ 1577789 h 6367505"/>
              <a:gd name="connsiteX258" fmla="*/ 4894873 w 7613003"/>
              <a:gd name="connsiteY258" fmla="*/ 1591876 h 6367505"/>
              <a:gd name="connsiteX259" fmla="*/ 4914243 w 7613003"/>
              <a:gd name="connsiteY259" fmla="*/ 1613007 h 6367505"/>
              <a:gd name="connsiteX260" fmla="*/ 4923048 w 7613003"/>
              <a:gd name="connsiteY260" fmla="*/ 1634138 h 6367505"/>
              <a:gd name="connsiteX261" fmla="*/ 4908961 w 7613003"/>
              <a:gd name="connsiteY261" fmla="*/ 1620051 h 6367505"/>
              <a:gd name="connsiteX262" fmla="*/ 4894873 w 7613003"/>
              <a:gd name="connsiteY262" fmla="*/ 1620051 h 6367505"/>
              <a:gd name="connsiteX263" fmla="*/ 4894873 w 7613003"/>
              <a:gd name="connsiteY263" fmla="*/ 1605964 h 6367505"/>
              <a:gd name="connsiteX264" fmla="*/ 4866696 w 7613003"/>
              <a:gd name="connsiteY264" fmla="*/ 1591876 h 6367505"/>
              <a:gd name="connsiteX265" fmla="*/ 4852608 w 7613003"/>
              <a:gd name="connsiteY265" fmla="*/ 1563702 h 6367505"/>
              <a:gd name="connsiteX266" fmla="*/ 6908593 w 7613003"/>
              <a:gd name="connsiteY266" fmla="*/ 1549616 h 6367505"/>
              <a:gd name="connsiteX267" fmla="*/ 6927964 w 7613003"/>
              <a:gd name="connsiteY267" fmla="*/ 1568985 h 6367505"/>
              <a:gd name="connsiteX268" fmla="*/ 6950858 w 7613003"/>
              <a:gd name="connsiteY268" fmla="*/ 1591876 h 6367505"/>
              <a:gd name="connsiteX269" fmla="*/ 6964945 w 7613003"/>
              <a:gd name="connsiteY269" fmla="*/ 1605964 h 6367505"/>
              <a:gd name="connsiteX270" fmla="*/ 6931486 w 7613003"/>
              <a:gd name="connsiteY270" fmla="*/ 1583072 h 6367505"/>
              <a:gd name="connsiteX271" fmla="*/ 5289343 w 7613003"/>
              <a:gd name="connsiteY271" fmla="*/ 1549616 h 6367505"/>
              <a:gd name="connsiteX272" fmla="*/ 5308714 w 7613003"/>
              <a:gd name="connsiteY272" fmla="*/ 1568985 h 6367505"/>
              <a:gd name="connsiteX273" fmla="*/ 5331608 w 7613003"/>
              <a:gd name="connsiteY273" fmla="*/ 1591876 h 6367505"/>
              <a:gd name="connsiteX274" fmla="*/ 5345695 w 7613003"/>
              <a:gd name="connsiteY274" fmla="*/ 1605964 h 6367505"/>
              <a:gd name="connsiteX275" fmla="*/ 5312236 w 7613003"/>
              <a:gd name="connsiteY275" fmla="*/ 1583072 h 6367505"/>
              <a:gd name="connsiteX276" fmla="*/ 6415505 w 7613003"/>
              <a:gd name="connsiteY276" fmla="*/ 1549614 h 6367505"/>
              <a:gd name="connsiteX277" fmla="*/ 6429593 w 7613003"/>
              <a:gd name="connsiteY277" fmla="*/ 1563702 h 6367505"/>
              <a:gd name="connsiteX278" fmla="*/ 6415505 w 7613003"/>
              <a:gd name="connsiteY278" fmla="*/ 1549614 h 6367505"/>
              <a:gd name="connsiteX279" fmla="*/ 4796255 w 7613003"/>
              <a:gd name="connsiteY279" fmla="*/ 1549614 h 6367505"/>
              <a:gd name="connsiteX280" fmla="*/ 4810343 w 7613003"/>
              <a:gd name="connsiteY280" fmla="*/ 1563702 h 6367505"/>
              <a:gd name="connsiteX281" fmla="*/ 4796255 w 7613003"/>
              <a:gd name="connsiteY281" fmla="*/ 1549614 h 6367505"/>
              <a:gd name="connsiteX282" fmla="*/ 6401417 w 7613003"/>
              <a:gd name="connsiteY282" fmla="*/ 1521440 h 6367505"/>
              <a:gd name="connsiteX283" fmla="*/ 6414624 w 7613003"/>
              <a:gd name="connsiteY283" fmla="*/ 1532005 h 6367505"/>
              <a:gd name="connsiteX284" fmla="*/ 6415505 w 7613003"/>
              <a:gd name="connsiteY284" fmla="*/ 1535527 h 6367505"/>
              <a:gd name="connsiteX285" fmla="*/ 6401417 w 7613003"/>
              <a:gd name="connsiteY285" fmla="*/ 1521440 h 6367505"/>
              <a:gd name="connsiteX286" fmla="*/ 4782167 w 7613003"/>
              <a:gd name="connsiteY286" fmla="*/ 1521440 h 6367505"/>
              <a:gd name="connsiteX287" fmla="*/ 4795374 w 7613003"/>
              <a:gd name="connsiteY287" fmla="*/ 1532005 h 6367505"/>
              <a:gd name="connsiteX288" fmla="*/ 4796255 w 7613003"/>
              <a:gd name="connsiteY288" fmla="*/ 1535527 h 6367505"/>
              <a:gd name="connsiteX289" fmla="*/ 4782167 w 7613003"/>
              <a:gd name="connsiteY289" fmla="*/ 1521440 h 6367505"/>
              <a:gd name="connsiteX290" fmla="*/ 6232358 w 7613003"/>
              <a:gd name="connsiteY290" fmla="*/ 1408740 h 6367505"/>
              <a:gd name="connsiteX291" fmla="*/ 6246446 w 7613003"/>
              <a:gd name="connsiteY291" fmla="*/ 1422828 h 6367505"/>
              <a:gd name="connsiteX292" fmla="*/ 6260535 w 7613003"/>
              <a:gd name="connsiteY292" fmla="*/ 1436915 h 6367505"/>
              <a:gd name="connsiteX293" fmla="*/ 6288711 w 7613003"/>
              <a:gd name="connsiteY293" fmla="*/ 1451002 h 6367505"/>
              <a:gd name="connsiteX294" fmla="*/ 6302799 w 7613003"/>
              <a:gd name="connsiteY294" fmla="*/ 1465089 h 6367505"/>
              <a:gd name="connsiteX295" fmla="*/ 6260535 w 7613003"/>
              <a:gd name="connsiteY295" fmla="*/ 1451002 h 6367505"/>
              <a:gd name="connsiteX296" fmla="*/ 6232358 w 7613003"/>
              <a:gd name="connsiteY296" fmla="*/ 1422828 h 6367505"/>
              <a:gd name="connsiteX297" fmla="*/ 6232358 w 7613003"/>
              <a:gd name="connsiteY297" fmla="*/ 1408740 h 6367505"/>
              <a:gd name="connsiteX298" fmla="*/ 6190093 w 7613003"/>
              <a:gd name="connsiteY298" fmla="*/ 1394653 h 6367505"/>
              <a:gd name="connsiteX299" fmla="*/ 6204182 w 7613003"/>
              <a:gd name="connsiteY299" fmla="*/ 1408740 h 6367505"/>
              <a:gd name="connsiteX300" fmla="*/ 6232358 w 7613003"/>
              <a:gd name="connsiteY300" fmla="*/ 1422828 h 6367505"/>
              <a:gd name="connsiteX301" fmla="*/ 6190093 w 7613003"/>
              <a:gd name="connsiteY301" fmla="*/ 1408740 h 6367505"/>
              <a:gd name="connsiteX302" fmla="*/ 6190093 w 7613003"/>
              <a:gd name="connsiteY302" fmla="*/ 1394653 h 6367505"/>
              <a:gd name="connsiteX303" fmla="*/ 6162613 w 7613003"/>
              <a:gd name="connsiteY303" fmla="*/ 1385447 h 6367505"/>
              <a:gd name="connsiteX304" fmla="*/ 6176005 w 7613003"/>
              <a:gd name="connsiteY304" fmla="*/ 1394653 h 6367505"/>
              <a:gd name="connsiteX305" fmla="*/ 6163678 w 7613003"/>
              <a:gd name="connsiteY305" fmla="*/ 1392893 h 6367505"/>
              <a:gd name="connsiteX306" fmla="*/ 6155514 w 7613003"/>
              <a:gd name="connsiteY306" fmla="*/ 1380566 h 6367505"/>
              <a:gd name="connsiteX307" fmla="*/ 6161916 w 7613003"/>
              <a:gd name="connsiteY307" fmla="*/ 1380566 h 6367505"/>
              <a:gd name="connsiteX308" fmla="*/ 6162613 w 7613003"/>
              <a:gd name="connsiteY308" fmla="*/ 1385447 h 6367505"/>
              <a:gd name="connsiteX309" fmla="*/ 5640652 w 7613003"/>
              <a:gd name="connsiteY309" fmla="*/ 1338304 h 6367505"/>
              <a:gd name="connsiteX310" fmla="*/ 5654741 w 7613003"/>
              <a:gd name="connsiteY310" fmla="*/ 1352391 h 6367505"/>
              <a:gd name="connsiteX311" fmla="*/ 5640652 w 7613003"/>
              <a:gd name="connsiteY311" fmla="*/ 1352391 h 6367505"/>
              <a:gd name="connsiteX312" fmla="*/ 5640652 w 7613003"/>
              <a:gd name="connsiteY312" fmla="*/ 1338304 h 6367505"/>
              <a:gd name="connsiteX313" fmla="*/ 5422004 w 7613003"/>
              <a:gd name="connsiteY313" fmla="*/ 1336050 h 6367505"/>
              <a:gd name="connsiteX314" fmla="*/ 5429329 w 7613003"/>
              <a:gd name="connsiteY314" fmla="*/ 1338304 h 6367505"/>
              <a:gd name="connsiteX315" fmla="*/ 5422286 w 7613003"/>
              <a:gd name="connsiteY315" fmla="*/ 1336542 h 6367505"/>
              <a:gd name="connsiteX316" fmla="*/ 5017218 w 7613003"/>
              <a:gd name="connsiteY316" fmla="*/ 1324216 h 6367505"/>
              <a:gd name="connsiteX317" fmla="*/ 5021666 w 7613003"/>
              <a:gd name="connsiteY317" fmla="*/ 1329499 h 6367505"/>
              <a:gd name="connsiteX318" fmla="*/ 5049843 w 7613003"/>
              <a:gd name="connsiteY318" fmla="*/ 1352391 h 6367505"/>
              <a:gd name="connsiteX319" fmla="*/ 5072736 w 7613003"/>
              <a:gd name="connsiteY319" fmla="*/ 1373522 h 6367505"/>
              <a:gd name="connsiteX320" fmla="*/ 5083889 w 7613003"/>
              <a:gd name="connsiteY320" fmla="*/ 1380566 h 6367505"/>
              <a:gd name="connsiteX321" fmla="*/ 5103065 w 7613003"/>
              <a:gd name="connsiteY321" fmla="*/ 1380566 h 6367505"/>
              <a:gd name="connsiteX322" fmla="*/ 5063931 w 7613003"/>
              <a:gd name="connsiteY322" fmla="*/ 1345347 h 6367505"/>
              <a:gd name="connsiteX323" fmla="*/ 5040451 w 7613003"/>
              <a:gd name="connsiteY323" fmla="*/ 1324216 h 6367505"/>
              <a:gd name="connsiteX324" fmla="*/ 5034860 w 7613003"/>
              <a:gd name="connsiteY324" fmla="*/ 1324216 h 6367505"/>
              <a:gd name="connsiteX325" fmla="*/ 5093358 w 7613003"/>
              <a:gd name="connsiteY325" fmla="*/ 1313046 h 6367505"/>
              <a:gd name="connsiteX326" fmla="*/ 5086586 w 7613003"/>
              <a:gd name="connsiteY326" fmla="*/ 1315541 h 6367505"/>
              <a:gd name="connsiteX327" fmla="*/ 5092107 w 7613003"/>
              <a:gd name="connsiteY327" fmla="*/ 1324216 h 6367505"/>
              <a:gd name="connsiteX328" fmla="*/ 5097390 w 7613003"/>
              <a:gd name="connsiteY328" fmla="*/ 1322455 h 6367505"/>
              <a:gd name="connsiteX329" fmla="*/ 5612477 w 7613003"/>
              <a:gd name="connsiteY329" fmla="*/ 1310129 h 6367505"/>
              <a:gd name="connsiteX330" fmla="*/ 5626565 w 7613003"/>
              <a:gd name="connsiteY330" fmla="*/ 1310129 h 6367505"/>
              <a:gd name="connsiteX331" fmla="*/ 5640652 w 7613003"/>
              <a:gd name="connsiteY331" fmla="*/ 1324216 h 6367505"/>
              <a:gd name="connsiteX332" fmla="*/ 5626565 w 7613003"/>
              <a:gd name="connsiteY332" fmla="*/ 1324216 h 6367505"/>
              <a:gd name="connsiteX333" fmla="*/ 5612477 w 7613003"/>
              <a:gd name="connsiteY333" fmla="*/ 1310129 h 6367505"/>
              <a:gd name="connsiteX334" fmla="*/ 6126036 w 7613003"/>
              <a:gd name="connsiteY334" fmla="*/ 740689 h 6367505"/>
              <a:gd name="connsiteX335" fmla="*/ 6127728 w 7613003"/>
              <a:gd name="connsiteY335" fmla="*/ 741995 h 6367505"/>
              <a:gd name="connsiteX336" fmla="*/ 6124935 w 7613003"/>
              <a:gd name="connsiteY336" fmla="*/ 741350 h 6367505"/>
              <a:gd name="connsiteX337" fmla="*/ 6126036 w 7613003"/>
              <a:gd name="connsiteY337" fmla="*/ 740689 h 6367505"/>
              <a:gd name="connsiteX338" fmla="*/ 5851976 w 7613003"/>
              <a:gd name="connsiteY338" fmla="*/ 633934 h 6367505"/>
              <a:gd name="connsiteX339" fmla="*/ 5866064 w 7613003"/>
              <a:gd name="connsiteY339" fmla="*/ 648021 h 6367505"/>
              <a:gd name="connsiteX340" fmla="*/ 5851976 w 7613003"/>
              <a:gd name="connsiteY340" fmla="*/ 648021 h 6367505"/>
              <a:gd name="connsiteX341" fmla="*/ 5851976 w 7613003"/>
              <a:gd name="connsiteY341" fmla="*/ 633934 h 6367505"/>
              <a:gd name="connsiteX342" fmla="*/ 3782948 w 7613003"/>
              <a:gd name="connsiteY342" fmla="*/ 616507 h 6367505"/>
              <a:gd name="connsiteX343" fmla="*/ 3766920 w 7613003"/>
              <a:gd name="connsiteY343" fmla="*/ 619846 h 6367505"/>
              <a:gd name="connsiteX344" fmla="*/ 3752832 w 7613003"/>
              <a:gd name="connsiteY344" fmla="*/ 633934 h 6367505"/>
              <a:gd name="connsiteX345" fmla="*/ 3799137 w 7613003"/>
              <a:gd name="connsiteY345" fmla="*/ 618500 h 6367505"/>
              <a:gd name="connsiteX346" fmla="*/ 3851449 w 7613003"/>
              <a:gd name="connsiteY346" fmla="*/ 591672 h 6367505"/>
              <a:gd name="connsiteX347" fmla="*/ 3809185 w 7613003"/>
              <a:gd name="connsiteY347" fmla="*/ 605759 h 6367505"/>
              <a:gd name="connsiteX348" fmla="*/ 3794263 w 7613003"/>
              <a:gd name="connsiteY348" fmla="*/ 612598 h 6367505"/>
              <a:gd name="connsiteX349" fmla="*/ 3801275 w 7613003"/>
              <a:gd name="connsiteY349" fmla="*/ 612803 h 6367505"/>
              <a:gd name="connsiteX350" fmla="*/ 3814919 w 7613003"/>
              <a:gd name="connsiteY350" fmla="*/ 613239 h 6367505"/>
              <a:gd name="connsiteX351" fmla="*/ 3862692 w 7613003"/>
              <a:gd name="connsiteY351" fmla="*/ 597316 h 6367505"/>
              <a:gd name="connsiteX352" fmla="*/ 3852344 w 7613003"/>
              <a:gd name="connsiteY352" fmla="*/ 591672 h 6367505"/>
              <a:gd name="connsiteX353" fmla="*/ 5725182 w 7613003"/>
              <a:gd name="connsiteY353" fmla="*/ 563496 h 6367505"/>
              <a:gd name="connsiteX354" fmla="*/ 5739270 w 7613003"/>
              <a:gd name="connsiteY354" fmla="*/ 563496 h 6367505"/>
              <a:gd name="connsiteX355" fmla="*/ 5781535 w 7613003"/>
              <a:gd name="connsiteY355" fmla="*/ 577583 h 6367505"/>
              <a:gd name="connsiteX356" fmla="*/ 5781535 w 7613003"/>
              <a:gd name="connsiteY356" fmla="*/ 591672 h 6367505"/>
              <a:gd name="connsiteX357" fmla="*/ 5725182 w 7613003"/>
              <a:gd name="connsiteY357" fmla="*/ 563496 h 6367505"/>
              <a:gd name="connsiteX358" fmla="*/ 3284877 w 7613003"/>
              <a:gd name="connsiteY358" fmla="*/ 436851 h 6367505"/>
              <a:gd name="connsiteX359" fmla="*/ 3282652 w 7613003"/>
              <a:gd name="connsiteY359" fmla="*/ 436930 h 6367505"/>
              <a:gd name="connsiteX360" fmla="*/ 3265042 w 7613003"/>
              <a:gd name="connsiteY360" fmla="*/ 442653 h 6367505"/>
              <a:gd name="connsiteX361" fmla="*/ 3270505 w 7613003"/>
              <a:gd name="connsiteY361" fmla="*/ 447246 h 6367505"/>
              <a:gd name="connsiteX362" fmla="*/ 3281317 w 7613003"/>
              <a:gd name="connsiteY362" fmla="*/ 439572 h 6367505"/>
              <a:gd name="connsiteX363" fmla="*/ 4922154 w 7613003"/>
              <a:gd name="connsiteY363" fmla="*/ 436710 h 6367505"/>
              <a:gd name="connsiteX364" fmla="*/ 4936242 w 7613003"/>
              <a:gd name="connsiteY364" fmla="*/ 436710 h 6367505"/>
              <a:gd name="connsiteX365" fmla="*/ 4950331 w 7613003"/>
              <a:gd name="connsiteY365" fmla="*/ 436710 h 6367505"/>
              <a:gd name="connsiteX366" fmla="*/ 4922154 w 7613003"/>
              <a:gd name="connsiteY366" fmla="*/ 436710 h 6367505"/>
              <a:gd name="connsiteX367" fmla="*/ 5989458 w 7613003"/>
              <a:gd name="connsiteY367" fmla="*/ 398334 h 6367505"/>
              <a:gd name="connsiteX368" fmla="*/ 5998141 w 7613003"/>
              <a:gd name="connsiteY368" fmla="*/ 401492 h 6367505"/>
              <a:gd name="connsiteX369" fmla="*/ 6006946 w 7613003"/>
              <a:gd name="connsiteY369" fmla="*/ 408534 h 6367505"/>
              <a:gd name="connsiteX370" fmla="*/ 4370208 w 7613003"/>
              <a:gd name="connsiteY370" fmla="*/ 398334 h 6367505"/>
              <a:gd name="connsiteX371" fmla="*/ 4378891 w 7613003"/>
              <a:gd name="connsiteY371" fmla="*/ 401492 h 6367505"/>
              <a:gd name="connsiteX372" fmla="*/ 4387696 w 7613003"/>
              <a:gd name="connsiteY372" fmla="*/ 408534 h 6367505"/>
              <a:gd name="connsiteX373" fmla="*/ 5982959 w 7613003"/>
              <a:gd name="connsiteY373" fmla="*/ 395971 h 6367505"/>
              <a:gd name="connsiteX374" fmla="*/ 5985815 w 7613003"/>
              <a:gd name="connsiteY374" fmla="*/ 396209 h 6367505"/>
              <a:gd name="connsiteX375" fmla="*/ 5989458 w 7613003"/>
              <a:gd name="connsiteY375" fmla="*/ 398334 h 6367505"/>
              <a:gd name="connsiteX376" fmla="*/ 4363709 w 7613003"/>
              <a:gd name="connsiteY376" fmla="*/ 395971 h 6367505"/>
              <a:gd name="connsiteX377" fmla="*/ 4366565 w 7613003"/>
              <a:gd name="connsiteY377" fmla="*/ 396209 h 6367505"/>
              <a:gd name="connsiteX378" fmla="*/ 4370208 w 7613003"/>
              <a:gd name="connsiteY378" fmla="*/ 398334 h 6367505"/>
              <a:gd name="connsiteX379" fmla="*/ 5880153 w 7613003"/>
              <a:gd name="connsiteY379" fmla="*/ 366272 h 6367505"/>
              <a:gd name="connsiteX380" fmla="*/ 5978770 w 7613003"/>
              <a:gd name="connsiteY380" fmla="*/ 394447 h 6367505"/>
              <a:gd name="connsiteX381" fmla="*/ 5982959 w 7613003"/>
              <a:gd name="connsiteY381" fmla="*/ 395971 h 6367505"/>
              <a:gd name="connsiteX382" fmla="*/ 5964682 w 7613003"/>
              <a:gd name="connsiteY382" fmla="*/ 394447 h 6367505"/>
              <a:gd name="connsiteX383" fmla="*/ 5837888 w 7613003"/>
              <a:gd name="connsiteY383" fmla="*/ 352185 h 6367505"/>
              <a:gd name="connsiteX384" fmla="*/ 5880153 w 7613003"/>
              <a:gd name="connsiteY384" fmla="*/ 366272 h 6367505"/>
              <a:gd name="connsiteX385" fmla="*/ 5867826 w 7613003"/>
              <a:gd name="connsiteY385" fmla="*/ 366272 h 6367505"/>
              <a:gd name="connsiteX386" fmla="*/ 5866064 w 7613003"/>
              <a:gd name="connsiteY386" fmla="*/ 366272 h 6367505"/>
              <a:gd name="connsiteX387" fmla="*/ 5837888 w 7613003"/>
              <a:gd name="connsiteY387" fmla="*/ 352185 h 6367505"/>
              <a:gd name="connsiteX388" fmla="*/ 4090949 w 7613003"/>
              <a:gd name="connsiteY388" fmla="*/ 338098 h 6367505"/>
              <a:gd name="connsiteX389" fmla="*/ 4062772 w 7613003"/>
              <a:gd name="connsiteY389" fmla="*/ 352185 h 6367505"/>
              <a:gd name="connsiteX390" fmla="*/ 4105037 w 7613003"/>
              <a:gd name="connsiteY390" fmla="*/ 352185 h 6367505"/>
              <a:gd name="connsiteX391" fmla="*/ 4006419 w 7613003"/>
              <a:gd name="connsiteY391" fmla="*/ 380360 h 6367505"/>
              <a:gd name="connsiteX392" fmla="*/ 3992331 w 7613003"/>
              <a:gd name="connsiteY392" fmla="*/ 394447 h 6367505"/>
              <a:gd name="connsiteX393" fmla="*/ 3978244 w 7613003"/>
              <a:gd name="connsiteY393" fmla="*/ 394447 h 6367505"/>
              <a:gd name="connsiteX394" fmla="*/ 3964155 w 7613003"/>
              <a:gd name="connsiteY394" fmla="*/ 394447 h 6367505"/>
              <a:gd name="connsiteX395" fmla="*/ 3950066 w 7613003"/>
              <a:gd name="connsiteY395" fmla="*/ 408534 h 6367505"/>
              <a:gd name="connsiteX396" fmla="*/ 3907802 w 7613003"/>
              <a:gd name="connsiteY396" fmla="*/ 422623 h 6367505"/>
              <a:gd name="connsiteX397" fmla="*/ 3964155 w 7613003"/>
              <a:gd name="connsiteY397" fmla="*/ 408534 h 6367505"/>
              <a:gd name="connsiteX398" fmla="*/ 4034596 w 7613003"/>
              <a:gd name="connsiteY398" fmla="*/ 394447 h 6367505"/>
              <a:gd name="connsiteX399" fmla="*/ 4090949 w 7613003"/>
              <a:gd name="connsiteY399" fmla="*/ 380360 h 6367505"/>
              <a:gd name="connsiteX400" fmla="*/ 4105037 w 7613003"/>
              <a:gd name="connsiteY400" fmla="*/ 380360 h 6367505"/>
              <a:gd name="connsiteX401" fmla="*/ 4161390 w 7613003"/>
              <a:gd name="connsiteY401" fmla="*/ 352185 h 6367505"/>
              <a:gd name="connsiteX402" fmla="*/ 4184284 w 7613003"/>
              <a:gd name="connsiteY402" fmla="*/ 350424 h 6367505"/>
              <a:gd name="connsiteX403" fmla="*/ 4185741 w 7613003"/>
              <a:gd name="connsiteY403" fmla="*/ 349887 h 6367505"/>
              <a:gd name="connsiteX404" fmla="*/ 4173732 w 7613003"/>
              <a:gd name="connsiteY404" fmla="*/ 344041 h 6367505"/>
              <a:gd name="connsiteX405" fmla="*/ 4134108 w 7613003"/>
              <a:gd name="connsiteY405" fmla="*/ 338098 h 6367505"/>
              <a:gd name="connsiteX406" fmla="*/ 4125303 w 7613003"/>
              <a:gd name="connsiteY406" fmla="*/ 338098 h 6367505"/>
              <a:gd name="connsiteX407" fmla="*/ 4119125 w 7613003"/>
              <a:gd name="connsiteY407" fmla="*/ 338098 h 6367505"/>
              <a:gd name="connsiteX408" fmla="*/ 4110320 w 7613003"/>
              <a:gd name="connsiteY408" fmla="*/ 338098 h 6367505"/>
              <a:gd name="connsiteX409" fmla="*/ 4105932 w 7613003"/>
              <a:gd name="connsiteY409" fmla="*/ 338098 h 6367505"/>
              <a:gd name="connsiteX410" fmla="*/ 5640652 w 7613003"/>
              <a:gd name="connsiteY410" fmla="*/ 309923 h 6367505"/>
              <a:gd name="connsiteX411" fmla="*/ 5795623 w 7613003"/>
              <a:gd name="connsiteY411" fmla="*/ 338098 h 6367505"/>
              <a:gd name="connsiteX412" fmla="*/ 5837888 w 7613003"/>
              <a:gd name="connsiteY412" fmla="*/ 338098 h 6367505"/>
              <a:gd name="connsiteX413" fmla="*/ 5837888 w 7613003"/>
              <a:gd name="connsiteY413" fmla="*/ 352185 h 6367505"/>
              <a:gd name="connsiteX414" fmla="*/ 5809711 w 7613003"/>
              <a:gd name="connsiteY414" fmla="*/ 352185 h 6367505"/>
              <a:gd name="connsiteX415" fmla="*/ 5753358 w 7613003"/>
              <a:gd name="connsiteY415" fmla="*/ 338098 h 6367505"/>
              <a:gd name="connsiteX416" fmla="*/ 5725182 w 7613003"/>
              <a:gd name="connsiteY416" fmla="*/ 338098 h 6367505"/>
              <a:gd name="connsiteX417" fmla="*/ 5640652 w 7613003"/>
              <a:gd name="connsiteY417" fmla="*/ 309923 h 6367505"/>
              <a:gd name="connsiteX418" fmla="*/ 3509384 w 7613003"/>
              <a:gd name="connsiteY418" fmla="*/ 303980 h 6367505"/>
              <a:gd name="connsiteX419" fmla="*/ 3457874 w 7613003"/>
              <a:gd name="connsiteY419" fmla="*/ 309923 h 6367505"/>
              <a:gd name="connsiteX420" fmla="*/ 3373345 w 7613003"/>
              <a:gd name="connsiteY420" fmla="*/ 309923 h 6367505"/>
              <a:gd name="connsiteX421" fmla="*/ 3316993 w 7613003"/>
              <a:gd name="connsiteY421" fmla="*/ 309923 h 6367505"/>
              <a:gd name="connsiteX422" fmla="*/ 3288816 w 7613003"/>
              <a:gd name="connsiteY422" fmla="*/ 324010 h 6367505"/>
              <a:gd name="connsiteX423" fmla="*/ 3260639 w 7613003"/>
              <a:gd name="connsiteY423" fmla="*/ 324010 h 6367505"/>
              <a:gd name="connsiteX424" fmla="*/ 3246551 w 7613003"/>
              <a:gd name="connsiteY424" fmla="*/ 324010 h 6367505"/>
              <a:gd name="connsiteX425" fmla="*/ 3190198 w 7613003"/>
              <a:gd name="connsiteY425" fmla="*/ 324010 h 6367505"/>
              <a:gd name="connsiteX426" fmla="*/ 3176110 w 7613003"/>
              <a:gd name="connsiteY426" fmla="*/ 324010 h 6367505"/>
              <a:gd name="connsiteX427" fmla="*/ 3162022 w 7613003"/>
              <a:gd name="connsiteY427" fmla="*/ 324010 h 6367505"/>
              <a:gd name="connsiteX428" fmla="*/ 3105669 w 7613003"/>
              <a:gd name="connsiteY428" fmla="*/ 338098 h 6367505"/>
              <a:gd name="connsiteX429" fmla="*/ 3091581 w 7613003"/>
              <a:gd name="connsiteY429" fmla="*/ 338098 h 6367505"/>
              <a:gd name="connsiteX430" fmla="*/ 3035228 w 7613003"/>
              <a:gd name="connsiteY430" fmla="*/ 338098 h 6367505"/>
              <a:gd name="connsiteX431" fmla="*/ 2964786 w 7613003"/>
              <a:gd name="connsiteY431" fmla="*/ 352185 h 6367505"/>
              <a:gd name="connsiteX432" fmla="*/ 2950699 w 7613003"/>
              <a:gd name="connsiteY432" fmla="*/ 352185 h 6367505"/>
              <a:gd name="connsiteX433" fmla="*/ 2908433 w 7613003"/>
              <a:gd name="connsiteY433" fmla="*/ 366272 h 6367505"/>
              <a:gd name="connsiteX434" fmla="*/ 2894345 w 7613003"/>
              <a:gd name="connsiteY434" fmla="*/ 366272 h 6367505"/>
              <a:gd name="connsiteX435" fmla="*/ 2880257 w 7613003"/>
              <a:gd name="connsiteY435" fmla="*/ 366272 h 6367505"/>
              <a:gd name="connsiteX436" fmla="*/ 2866169 w 7613003"/>
              <a:gd name="connsiteY436" fmla="*/ 366272 h 6367505"/>
              <a:gd name="connsiteX437" fmla="*/ 2809816 w 7613003"/>
              <a:gd name="connsiteY437" fmla="*/ 380360 h 6367505"/>
              <a:gd name="connsiteX438" fmla="*/ 2781640 w 7613003"/>
              <a:gd name="connsiteY438" fmla="*/ 380360 h 6367505"/>
              <a:gd name="connsiteX439" fmla="*/ 2781640 w 7613003"/>
              <a:gd name="connsiteY439" fmla="*/ 394447 h 6367505"/>
              <a:gd name="connsiteX440" fmla="*/ 2767551 w 7613003"/>
              <a:gd name="connsiteY440" fmla="*/ 394447 h 6367505"/>
              <a:gd name="connsiteX441" fmla="*/ 2753463 w 7613003"/>
              <a:gd name="connsiteY441" fmla="*/ 394447 h 6367505"/>
              <a:gd name="connsiteX442" fmla="*/ 2739374 w 7613003"/>
              <a:gd name="connsiteY442" fmla="*/ 394447 h 6367505"/>
              <a:gd name="connsiteX443" fmla="*/ 2654846 w 7613003"/>
              <a:gd name="connsiteY443" fmla="*/ 422623 h 6367505"/>
              <a:gd name="connsiteX444" fmla="*/ 2640758 w 7613003"/>
              <a:gd name="connsiteY444" fmla="*/ 422623 h 6367505"/>
              <a:gd name="connsiteX445" fmla="*/ 2612581 w 7613003"/>
              <a:gd name="connsiteY445" fmla="*/ 436710 h 6367505"/>
              <a:gd name="connsiteX446" fmla="*/ 2598493 w 7613003"/>
              <a:gd name="connsiteY446" fmla="*/ 436710 h 6367505"/>
              <a:gd name="connsiteX447" fmla="*/ 2584406 w 7613003"/>
              <a:gd name="connsiteY447" fmla="*/ 450798 h 6367505"/>
              <a:gd name="connsiteX448" fmla="*/ 2570317 w 7613003"/>
              <a:gd name="connsiteY448" fmla="*/ 450798 h 6367505"/>
              <a:gd name="connsiteX449" fmla="*/ 2443523 w 7613003"/>
              <a:gd name="connsiteY449" fmla="*/ 493059 h 6367505"/>
              <a:gd name="connsiteX450" fmla="*/ 2415347 w 7613003"/>
              <a:gd name="connsiteY450" fmla="*/ 493059 h 6367505"/>
              <a:gd name="connsiteX451" fmla="*/ 2401258 w 7613003"/>
              <a:gd name="connsiteY451" fmla="*/ 507147 h 6367505"/>
              <a:gd name="connsiteX452" fmla="*/ 2358994 w 7613003"/>
              <a:gd name="connsiteY452" fmla="*/ 521234 h 6367505"/>
              <a:gd name="connsiteX453" fmla="*/ 2330816 w 7613003"/>
              <a:gd name="connsiteY453" fmla="*/ 535321 h 6367505"/>
              <a:gd name="connsiteX454" fmla="*/ 2316729 w 7613003"/>
              <a:gd name="connsiteY454" fmla="*/ 535321 h 6367505"/>
              <a:gd name="connsiteX455" fmla="*/ 2288552 w 7613003"/>
              <a:gd name="connsiteY455" fmla="*/ 563496 h 6367505"/>
              <a:gd name="connsiteX456" fmla="*/ 2274464 w 7613003"/>
              <a:gd name="connsiteY456" fmla="*/ 577583 h 6367505"/>
              <a:gd name="connsiteX457" fmla="*/ 2232199 w 7613003"/>
              <a:gd name="connsiteY457" fmla="*/ 591672 h 6367505"/>
              <a:gd name="connsiteX458" fmla="*/ 2147670 w 7613003"/>
              <a:gd name="connsiteY458" fmla="*/ 619846 h 6367505"/>
              <a:gd name="connsiteX459" fmla="*/ 2133582 w 7613003"/>
              <a:gd name="connsiteY459" fmla="*/ 633934 h 6367505"/>
              <a:gd name="connsiteX460" fmla="*/ 2260376 w 7613003"/>
              <a:gd name="connsiteY460" fmla="*/ 591672 h 6367505"/>
              <a:gd name="connsiteX461" fmla="*/ 2302641 w 7613003"/>
              <a:gd name="connsiteY461" fmla="*/ 577583 h 6367505"/>
              <a:gd name="connsiteX462" fmla="*/ 2316729 w 7613003"/>
              <a:gd name="connsiteY462" fmla="*/ 563496 h 6367505"/>
              <a:gd name="connsiteX463" fmla="*/ 2344905 w 7613003"/>
              <a:gd name="connsiteY463" fmla="*/ 563496 h 6367505"/>
              <a:gd name="connsiteX464" fmla="*/ 2344905 w 7613003"/>
              <a:gd name="connsiteY464" fmla="*/ 549409 h 6367505"/>
              <a:gd name="connsiteX465" fmla="*/ 2387169 w 7613003"/>
              <a:gd name="connsiteY465" fmla="*/ 549409 h 6367505"/>
              <a:gd name="connsiteX466" fmla="*/ 2401258 w 7613003"/>
              <a:gd name="connsiteY466" fmla="*/ 535321 h 6367505"/>
              <a:gd name="connsiteX467" fmla="*/ 2415347 w 7613003"/>
              <a:gd name="connsiteY467" fmla="*/ 535321 h 6367505"/>
              <a:gd name="connsiteX468" fmla="*/ 2429434 w 7613003"/>
              <a:gd name="connsiteY468" fmla="*/ 521234 h 6367505"/>
              <a:gd name="connsiteX469" fmla="*/ 2499875 w 7613003"/>
              <a:gd name="connsiteY469" fmla="*/ 507147 h 6367505"/>
              <a:gd name="connsiteX470" fmla="*/ 2598493 w 7613003"/>
              <a:gd name="connsiteY470" fmla="*/ 478972 h 6367505"/>
              <a:gd name="connsiteX471" fmla="*/ 2640758 w 7613003"/>
              <a:gd name="connsiteY471" fmla="*/ 464885 h 6367505"/>
              <a:gd name="connsiteX472" fmla="*/ 2626670 w 7613003"/>
              <a:gd name="connsiteY472" fmla="*/ 478972 h 6367505"/>
              <a:gd name="connsiteX473" fmla="*/ 2640758 w 7613003"/>
              <a:gd name="connsiteY473" fmla="*/ 493059 h 6367505"/>
              <a:gd name="connsiteX474" fmla="*/ 2612581 w 7613003"/>
              <a:gd name="connsiteY474" fmla="*/ 493059 h 6367505"/>
              <a:gd name="connsiteX475" fmla="*/ 2612581 w 7613003"/>
              <a:gd name="connsiteY475" fmla="*/ 507147 h 6367505"/>
              <a:gd name="connsiteX476" fmla="*/ 2640758 w 7613003"/>
              <a:gd name="connsiteY476" fmla="*/ 493059 h 6367505"/>
              <a:gd name="connsiteX477" fmla="*/ 2668934 w 7613003"/>
              <a:gd name="connsiteY477" fmla="*/ 493059 h 6367505"/>
              <a:gd name="connsiteX478" fmla="*/ 2753463 w 7613003"/>
              <a:gd name="connsiteY478" fmla="*/ 464885 h 6367505"/>
              <a:gd name="connsiteX479" fmla="*/ 2964786 w 7613003"/>
              <a:gd name="connsiteY479" fmla="*/ 436710 h 6367505"/>
              <a:gd name="connsiteX480" fmla="*/ 3021139 w 7613003"/>
              <a:gd name="connsiteY480" fmla="*/ 422623 h 6367505"/>
              <a:gd name="connsiteX481" fmla="*/ 3049316 w 7613003"/>
              <a:gd name="connsiteY481" fmla="*/ 422623 h 6367505"/>
              <a:gd name="connsiteX482" fmla="*/ 3061643 w 7613003"/>
              <a:gd name="connsiteY482" fmla="*/ 422623 h 6367505"/>
              <a:gd name="connsiteX483" fmla="*/ 3091581 w 7613003"/>
              <a:gd name="connsiteY483" fmla="*/ 422623 h 6367505"/>
              <a:gd name="connsiteX484" fmla="*/ 3105669 w 7613003"/>
              <a:gd name="connsiteY484" fmla="*/ 422623 h 6367505"/>
              <a:gd name="connsiteX485" fmla="*/ 3049316 w 7613003"/>
              <a:gd name="connsiteY485" fmla="*/ 422623 h 6367505"/>
              <a:gd name="connsiteX486" fmla="*/ 3119756 w 7613003"/>
              <a:gd name="connsiteY486" fmla="*/ 408534 h 6367505"/>
              <a:gd name="connsiteX487" fmla="*/ 3133845 w 7613003"/>
              <a:gd name="connsiteY487" fmla="*/ 408534 h 6367505"/>
              <a:gd name="connsiteX488" fmla="*/ 3133845 w 7613003"/>
              <a:gd name="connsiteY488" fmla="*/ 422623 h 6367505"/>
              <a:gd name="connsiteX489" fmla="*/ 3162022 w 7613003"/>
              <a:gd name="connsiteY489" fmla="*/ 436710 h 6367505"/>
              <a:gd name="connsiteX490" fmla="*/ 3190198 w 7613003"/>
              <a:gd name="connsiteY490" fmla="*/ 436710 h 6367505"/>
              <a:gd name="connsiteX491" fmla="*/ 3232462 w 7613003"/>
              <a:gd name="connsiteY491" fmla="*/ 436710 h 6367505"/>
              <a:gd name="connsiteX492" fmla="*/ 3265923 w 7613003"/>
              <a:gd name="connsiteY492" fmla="*/ 426145 h 6367505"/>
              <a:gd name="connsiteX493" fmla="*/ 3286474 w 7613003"/>
              <a:gd name="connsiteY493" fmla="*/ 435630 h 6367505"/>
              <a:gd name="connsiteX494" fmla="*/ 3319619 w 7613003"/>
              <a:gd name="connsiteY494" fmla="*/ 410296 h 6367505"/>
              <a:gd name="connsiteX495" fmla="*/ 3372450 w 7613003"/>
              <a:gd name="connsiteY495" fmla="*/ 366272 h 6367505"/>
              <a:gd name="connsiteX496" fmla="*/ 3414714 w 7613003"/>
              <a:gd name="connsiteY496" fmla="*/ 338098 h 6367505"/>
              <a:gd name="connsiteX497" fmla="*/ 3442891 w 7613003"/>
              <a:gd name="connsiteY497" fmla="*/ 338098 h 6367505"/>
              <a:gd name="connsiteX498" fmla="*/ 3485156 w 7613003"/>
              <a:gd name="connsiteY498" fmla="*/ 324010 h 6367505"/>
              <a:gd name="connsiteX499" fmla="*/ 3513002 w 7613003"/>
              <a:gd name="connsiteY499" fmla="*/ 305116 h 6367505"/>
              <a:gd name="connsiteX500" fmla="*/ 3668303 w 7613003"/>
              <a:gd name="connsiteY500" fmla="*/ 267661 h 6367505"/>
              <a:gd name="connsiteX501" fmla="*/ 3611950 w 7613003"/>
              <a:gd name="connsiteY501" fmla="*/ 295836 h 6367505"/>
              <a:gd name="connsiteX502" fmla="*/ 3583773 w 7613003"/>
              <a:gd name="connsiteY502" fmla="*/ 324010 h 6367505"/>
              <a:gd name="connsiteX503" fmla="*/ 3541509 w 7613003"/>
              <a:gd name="connsiteY503" fmla="*/ 338098 h 6367505"/>
              <a:gd name="connsiteX504" fmla="*/ 3471067 w 7613003"/>
              <a:gd name="connsiteY504" fmla="*/ 366272 h 6367505"/>
              <a:gd name="connsiteX505" fmla="*/ 3414714 w 7613003"/>
              <a:gd name="connsiteY505" fmla="*/ 394447 h 6367505"/>
              <a:gd name="connsiteX506" fmla="*/ 3386538 w 7613003"/>
              <a:gd name="connsiteY506" fmla="*/ 408534 h 6367505"/>
              <a:gd name="connsiteX507" fmla="*/ 3344274 w 7613003"/>
              <a:gd name="connsiteY507" fmla="*/ 436710 h 6367505"/>
              <a:gd name="connsiteX508" fmla="*/ 3330185 w 7613003"/>
              <a:gd name="connsiteY508" fmla="*/ 450798 h 6367505"/>
              <a:gd name="connsiteX509" fmla="*/ 3326170 w 7613003"/>
              <a:gd name="connsiteY509" fmla="*/ 452257 h 6367505"/>
              <a:gd name="connsiteX510" fmla="*/ 3361765 w 7613003"/>
              <a:gd name="connsiteY510" fmla="*/ 457920 h 6367505"/>
              <a:gd name="connsiteX511" fmla="*/ 3414714 w 7613003"/>
              <a:gd name="connsiteY511" fmla="*/ 422623 h 6367505"/>
              <a:gd name="connsiteX512" fmla="*/ 3456980 w 7613003"/>
              <a:gd name="connsiteY512" fmla="*/ 394447 h 6367505"/>
              <a:gd name="connsiteX513" fmla="*/ 3541509 w 7613003"/>
              <a:gd name="connsiteY513" fmla="*/ 352185 h 6367505"/>
              <a:gd name="connsiteX514" fmla="*/ 3555597 w 7613003"/>
              <a:gd name="connsiteY514" fmla="*/ 352185 h 6367505"/>
              <a:gd name="connsiteX515" fmla="*/ 3569684 w 7613003"/>
              <a:gd name="connsiteY515" fmla="*/ 338098 h 6367505"/>
              <a:gd name="connsiteX516" fmla="*/ 3597862 w 7613003"/>
              <a:gd name="connsiteY516" fmla="*/ 324010 h 6367505"/>
              <a:gd name="connsiteX517" fmla="*/ 3611950 w 7613003"/>
              <a:gd name="connsiteY517" fmla="*/ 309923 h 6367505"/>
              <a:gd name="connsiteX518" fmla="*/ 3611950 w 7613003"/>
              <a:gd name="connsiteY518" fmla="*/ 324010 h 6367505"/>
              <a:gd name="connsiteX519" fmla="*/ 3597862 w 7613003"/>
              <a:gd name="connsiteY519" fmla="*/ 338098 h 6367505"/>
              <a:gd name="connsiteX520" fmla="*/ 3569684 w 7613003"/>
              <a:gd name="connsiteY520" fmla="*/ 366272 h 6367505"/>
              <a:gd name="connsiteX521" fmla="*/ 3527421 w 7613003"/>
              <a:gd name="connsiteY521" fmla="*/ 380360 h 6367505"/>
              <a:gd name="connsiteX522" fmla="*/ 3527420 w 7613003"/>
              <a:gd name="connsiteY522" fmla="*/ 380360 h 6367505"/>
              <a:gd name="connsiteX523" fmla="*/ 3527419 w 7613003"/>
              <a:gd name="connsiteY523" fmla="*/ 380360 h 6367505"/>
              <a:gd name="connsiteX524" fmla="*/ 3485156 w 7613003"/>
              <a:gd name="connsiteY524" fmla="*/ 394447 h 6367505"/>
              <a:gd name="connsiteX525" fmla="*/ 3428803 w 7613003"/>
              <a:gd name="connsiteY525" fmla="*/ 422623 h 6367505"/>
              <a:gd name="connsiteX526" fmla="*/ 3428803 w 7613003"/>
              <a:gd name="connsiteY526" fmla="*/ 436710 h 6367505"/>
              <a:gd name="connsiteX527" fmla="*/ 3485156 w 7613003"/>
              <a:gd name="connsiteY527" fmla="*/ 408534 h 6367505"/>
              <a:gd name="connsiteX528" fmla="*/ 3506288 w 7613003"/>
              <a:gd name="connsiteY528" fmla="*/ 394447 h 6367505"/>
              <a:gd name="connsiteX529" fmla="*/ 3527419 w 7613003"/>
              <a:gd name="connsiteY529" fmla="*/ 380360 h 6367505"/>
              <a:gd name="connsiteX530" fmla="*/ 3527421 w 7613003"/>
              <a:gd name="connsiteY530" fmla="*/ 380360 h 6367505"/>
              <a:gd name="connsiteX531" fmla="*/ 3534464 w 7613003"/>
              <a:gd name="connsiteY531" fmla="*/ 380360 h 6367505"/>
              <a:gd name="connsiteX532" fmla="*/ 3541509 w 7613003"/>
              <a:gd name="connsiteY532" fmla="*/ 380360 h 6367505"/>
              <a:gd name="connsiteX533" fmla="*/ 3583773 w 7613003"/>
              <a:gd name="connsiteY533" fmla="*/ 366272 h 6367505"/>
              <a:gd name="connsiteX534" fmla="*/ 3485156 w 7613003"/>
              <a:gd name="connsiteY534" fmla="*/ 422623 h 6367505"/>
              <a:gd name="connsiteX535" fmla="*/ 3435627 w 7613003"/>
              <a:gd name="connsiteY535" fmla="*/ 448376 h 6367505"/>
              <a:gd name="connsiteX536" fmla="*/ 3416316 w 7613003"/>
              <a:gd name="connsiteY536" fmla="*/ 463620 h 6367505"/>
              <a:gd name="connsiteX537" fmla="*/ 3471963 w 7613003"/>
              <a:gd name="connsiteY537" fmla="*/ 464885 h 6367505"/>
              <a:gd name="connsiteX538" fmla="*/ 3500139 w 7613003"/>
              <a:gd name="connsiteY538" fmla="*/ 464885 h 6367505"/>
              <a:gd name="connsiteX539" fmla="*/ 3514227 w 7613003"/>
              <a:gd name="connsiteY539" fmla="*/ 464885 h 6367505"/>
              <a:gd name="connsiteX540" fmla="*/ 3554731 w 7613003"/>
              <a:gd name="connsiteY540" fmla="*/ 464885 h 6367505"/>
              <a:gd name="connsiteX541" fmla="*/ 3555597 w 7613003"/>
              <a:gd name="connsiteY541" fmla="*/ 464885 h 6367505"/>
              <a:gd name="connsiteX542" fmla="*/ 3583773 w 7613003"/>
              <a:gd name="connsiteY542" fmla="*/ 450798 h 6367505"/>
              <a:gd name="connsiteX543" fmla="*/ 3626037 w 7613003"/>
              <a:gd name="connsiteY543" fmla="*/ 436710 h 6367505"/>
              <a:gd name="connsiteX544" fmla="*/ 3682390 w 7613003"/>
              <a:gd name="connsiteY544" fmla="*/ 408534 h 6367505"/>
              <a:gd name="connsiteX545" fmla="*/ 3724655 w 7613003"/>
              <a:gd name="connsiteY545" fmla="*/ 380360 h 6367505"/>
              <a:gd name="connsiteX546" fmla="*/ 3766920 w 7613003"/>
              <a:gd name="connsiteY546" fmla="*/ 366272 h 6367505"/>
              <a:gd name="connsiteX547" fmla="*/ 3823273 w 7613003"/>
              <a:gd name="connsiteY547" fmla="*/ 338098 h 6367505"/>
              <a:gd name="connsiteX548" fmla="*/ 3823273 w 7613003"/>
              <a:gd name="connsiteY548" fmla="*/ 352185 h 6367505"/>
              <a:gd name="connsiteX549" fmla="*/ 3809185 w 7613003"/>
              <a:gd name="connsiteY549" fmla="*/ 352185 h 6367505"/>
              <a:gd name="connsiteX550" fmla="*/ 3809185 w 7613003"/>
              <a:gd name="connsiteY550" fmla="*/ 366272 h 6367505"/>
              <a:gd name="connsiteX551" fmla="*/ 3781008 w 7613003"/>
              <a:gd name="connsiteY551" fmla="*/ 380360 h 6367505"/>
              <a:gd name="connsiteX552" fmla="*/ 3795096 w 7613003"/>
              <a:gd name="connsiteY552" fmla="*/ 380360 h 6367505"/>
              <a:gd name="connsiteX553" fmla="*/ 3907802 w 7613003"/>
              <a:gd name="connsiteY553" fmla="*/ 338098 h 6367505"/>
              <a:gd name="connsiteX554" fmla="*/ 3978244 w 7613003"/>
              <a:gd name="connsiteY554" fmla="*/ 324010 h 6367505"/>
              <a:gd name="connsiteX555" fmla="*/ 3999855 w 7613003"/>
              <a:gd name="connsiteY555" fmla="*/ 309154 h 6367505"/>
              <a:gd name="connsiteX556" fmla="*/ 3972094 w 7613003"/>
              <a:gd name="connsiteY556" fmla="*/ 308162 h 6367505"/>
              <a:gd name="connsiteX557" fmla="*/ 3922785 w 7613003"/>
              <a:gd name="connsiteY557" fmla="*/ 295836 h 6367505"/>
              <a:gd name="connsiteX558" fmla="*/ 3908697 w 7613003"/>
              <a:gd name="connsiteY558" fmla="*/ 295836 h 6367505"/>
              <a:gd name="connsiteX559" fmla="*/ 3880521 w 7613003"/>
              <a:gd name="connsiteY559" fmla="*/ 295836 h 6367505"/>
              <a:gd name="connsiteX560" fmla="*/ 3824168 w 7613003"/>
              <a:gd name="connsiteY560" fmla="*/ 281749 h 6367505"/>
              <a:gd name="connsiteX561" fmla="*/ 3795992 w 7613003"/>
              <a:gd name="connsiteY561" fmla="*/ 281749 h 6367505"/>
              <a:gd name="connsiteX562" fmla="*/ 3697375 w 7613003"/>
              <a:gd name="connsiteY562" fmla="*/ 281749 h 6367505"/>
              <a:gd name="connsiteX563" fmla="*/ 3669198 w 7613003"/>
              <a:gd name="connsiteY563" fmla="*/ 267661 h 6367505"/>
              <a:gd name="connsiteX564" fmla="*/ 3331081 w 7613003"/>
              <a:gd name="connsiteY564" fmla="*/ 267661 h 6367505"/>
              <a:gd name="connsiteX565" fmla="*/ 3274728 w 7613003"/>
              <a:gd name="connsiteY565" fmla="*/ 281749 h 6367505"/>
              <a:gd name="connsiteX566" fmla="*/ 3218375 w 7613003"/>
              <a:gd name="connsiteY566" fmla="*/ 281749 h 6367505"/>
              <a:gd name="connsiteX567" fmla="*/ 3204287 w 7613003"/>
              <a:gd name="connsiteY567" fmla="*/ 281749 h 6367505"/>
              <a:gd name="connsiteX568" fmla="*/ 3190198 w 7613003"/>
              <a:gd name="connsiteY568" fmla="*/ 281749 h 6367505"/>
              <a:gd name="connsiteX569" fmla="*/ 3190198 w 7613003"/>
              <a:gd name="connsiteY569" fmla="*/ 295836 h 6367505"/>
              <a:gd name="connsiteX570" fmla="*/ 3162022 w 7613003"/>
              <a:gd name="connsiteY570" fmla="*/ 295836 h 6367505"/>
              <a:gd name="connsiteX571" fmla="*/ 3091581 w 7613003"/>
              <a:gd name="connsiteY571" fmla="*/ 295836 h 6367505"/>
              <a:gd name="connsiteX572" fmla="*/ 3007052 w 7613003"/>
              <a:gd name="connsiteY572" fmla="*/ 295836 h 6367505"/>
              <a:gd name="connsiteX573" fmla="*/ 3007052 w 7613003"/>
              <a:gd name="connsiteY573" fmla="*/ 309923 h 6367505"/>
              <a:gd name="connsiteX574" fmla="*/ 3021139 w 7613003"/>
              <a:gd name="connsiteY574" fmla="*/ 309923 h 6367505"/>
              <a:gd name="connsiteX575" fmla="*/ 3077492 w 7613003"/>
              <a:gd name="connsiteY575" fmla="*/ 309923 h 6367505"/>
              <a:gd name="connsiteX576" fmla="*/ 3133845 w 7613003"/>
              <a:gd name="connsiteY576" fmla="*/ 309923 h 6367505"/>
              <a:gd name="connsiteX577" fmla="*/ 3147934 w 7613003"/>
              <a:gd name="connsiteY577" fmla="*/ 309923 h 6367505"/>
              <a:gd name="connsiteX578" fmla="*/ 3232462 w 7613003"/>
              <a:gd name="connsiteY578" fmla="*/ 295836 h 6367505"/>
              <a:gd name="connsiteX579" fmla="*/ 3274728 w 7613003"/>
              <a:gd name="connsiteY579" fmla="*/ 295836 h 6367505"/>
              <a:gd name="connsiteX580" fmla="*/ 3302904 w 7613003"/>
              <a:gd name="connsiteY580" fmla="*/ 295836 h 6367505"/>
              <a:gd name="connsiteX581" fmla="*/ 3345168 w 7613003"/>
              <a:gd name="connsiteY581" fmla="*/ 295836 h 6367505"/>
              <a:gd name="connsiteX582" fmla="*/ 3415610 w 7613003"/>
              <a:gd name="connsiteY582" fmla="*/ 295836 h 6367505"/>
              <a:gd name="connsiteX583" fmla="*/ 3490894 w 7613003"/>
              <a:gd name="connsiteY583" fmla="*/ 289893 h 6367505"/>
              <a:gd name="connsiteX584" fmla="*/ 3526990 w 7613003"/>
              <a:gd name="connsiteY584" fmla="*/ 295625 h 6367505"/>
              <a:gd name="connsiteX585" fmla="*/ 3534465 w 7613003"/>
              <a:gd name="connsiteY585" fmla="*/ 290553 h 6367505"/>
              <a:gd name="connsiteX586" fmla="*/ 3583773 w 7613003"/>
              <a:gd name="connsiteY586" fmla="*/ 267661 h 6367505"/>
              <a:gd name="connsiteX587" fmla="*/ 3579385 w 7613003"/>
              <a:gd name="connsiteY587" fmla="*/ 267661 h 6367505"/>
              <a:gd name="connsiteX588" fmla="*/ 3570580 w 7613003"/>
              <a:gd name="connsiteY588" fmla="*/ 267661 h 6367505"/>
              <a:gd name="connsiteX589" fmla="*/ 3500139 w 7613003"/>
              <a:gd name="connsiteY589" fmla="*/ 267661 h 6367505"/>
              <a:gd name="connsiteX590" fmla="*/ 3471963 w 7613003"/>
              <a:gd name="connsiteY590" fmla="*/ 267661 h 6367505"/>
              <a:gd name="connsiteX591" fmla="*/ 3457874 w 7613003"/>
              <a:gd name="connsiteY591" fmla="*/ 267661 h 6367505"/>
              <a:gd name="connsiteX592" fmla="*/ 3387433 w 7613003"/>
              <a:gd name="connsiteY592" fmla="*/ 281749 h 6367505"/>
              <a:gd name="connsiteX593" fmla="*/ 3345168 w 7613003"/>
              <a:gd name="connsiteY593" fmla="*/ 267661 h 6367505"/>
              <a:gd name="connsiteX594" fmla="*/ 3331081 w 7613003"/>
              <a:gd name="connsiteY594" fmla="*/ 267661 h 6367505"/>
              <a:gd name="connsiteX595" fmla="*/ 3686218 w 7613003"/>
              <a:gd name="connsiteY595" fmla="*/ 258704 h 6367505"/>
              <a:gd name="connsiteX596" fmla="*/ 3675744 w 7613003"/>
              <a:gd name="connsiteY596" fmla="*/ 263941 h 6367505"/>
              <a:gd name="connsiteX597" fmla="*/ 3683286 w 7613003"/>
              <a:gd name="connsiteY597" fmla="*/ 267661 h 6367505"/>
              <a:gd name="connsiteX598" fmla="*/ 3697375 w 7613003"/>
              <a:gd name="connsiteY598" fmla="*/ 267661 h 6367505"/>
              <a:gd name="connsiteX599" fmla="*/ 3690330 w 7613003"/>
              <a:gd name="connsiteY599" fmla="*/ 265900 h 6367505"/>
              <a:gd name="connsiteX600" fmla="*/ 2781640 w 7613003"/>
              <a:gd name="connsiteY600" fmla="*/ 0 h 6367505"/>
              <a:gd name="connsiteX601" fmla="*/ 2781640 w 7613003"/>
              <a:gd name="connsiteY601" fmla="*/ 14087 h 6367505"/>
              <a:gd name="connsiteX602" fmla="*/ 2767551 w 7613003"/>
              <a:gd name="connsiteY602" fmla="*/ 14087 h 6367505"/>
              <a:gd name="connsiteX603" fmla="*/ 2739374 w 7613003"/>
              <a:gd name="connsiteY603" fmla="*/ 28175 h 6367505"/>
              <a:gd name="connsiteX604" fmla="*/ 2725287 w 7613003"/>
              <a:gd name="connsiteY604" fmla="*/ 28175 h 6367505"/>
              <a:gd name="connsiteX605" fmla="*/ 2612581 w 7613003"/>
              <a:gd name="connsiteY605" fmla="*/ 70438 h 6367505"/>
              <a:gd name="connsiteX606" fmla="*/ 2542140 w 7613003"/>
              <a:gd name="connsiteY606" fmla="*/ 84525 h 6367505"/>
              <a:gd name="connsiteX607" fmla="*/ 2513964 w 7613003"/>
              <a:gd name="connsiteY607" fmla="*/ 98612 h 6367505"/>
              <a:gd name="connsiteX608" fmla="*/ 2387169 w 7613003"/>
              <a:gd name="connsiteY608" fmla="*/ 126787 h 6367505"/>
              <a:gd name="connsiteX609" fmla="*/ 2358994 w 7613003"/>
              <a:gd name="connsiteY609" fmla="*/ 140874 h 6367505"/>
              <a:gd name="connsiteX610" fmla="*/ 2344905 w 7613003"/>
              <a:gd name="connsiteY610" fmla="*/ 140874 h 6367505"/>
              <a:gd name="connsiteX611" fmla="*/ 2302641 w 7613003"/>
              <a:gd name="connsiteY611" fmla="*/ 169049 h 6367505"/>
              <a:gd name="connsiteX612" fmla="*/ 2274464 w 7613003"/>
              <a:gd name="connsiteY612" fmla="*/ 183136 h 6367505"/>
              <a:gd name="connsiteX613" fmla="*/ 2260376 w 7613003"/>
              <a:gd name="connsiteY613" fmla="*/ 183136 h 6367505"/>
              <a:gd name="connsiteX614" fmla="*/ 2175846 w 7613003"/>
              <a:gd name="connsiteY614" fmla="*/ 225398 h 6367505"/>
              <a:gd name="connsiteX615" fmla="*/ 2091317 w 7613003"/>
              <a:gd name="connsiteY615" fmla="*/ 253574 h 6367505"/>
              <a:gd name="connsiteX616" fmla="*/ 2077229 w 7613003"/>
              <a:gd name="connsiteY616" fmla="*/ 253574 h 6367505"/>
              <a:gd name="connsiteX617" fmla="*/ 1992700 w 7613003"/>
              <a:gd name="connsiteY617" fmla="*/ 295836 h 6367505"/>
              <a:gd name="connsiteX618" fmla="*/ 1964523 w 7613003"/>
              <a:gd name="connsiteY618" fmla="*/ 324010 h 6367505"/>
              <a:gd name="connsiteX619" fmla="*/ 1922259 w 7613003"/>
              <a:gd name="connsiteY619" fmla="*/ 338098 h 6367505"/>
              <a:gd name="connsiteX620" fmla="*/ 1851817 w 7613003"/>
              <a:gd name="connsiteY620" fmla="*/ 366272 h 6367505"/>
              <a:gd name="connsiteX621" fmla="*/ 1795464 w 7613003"/>
              <a:gd name="connsiteY621" fmla="*/ 394447 h 6367505"/>
              <a:gd name="connsiteX622" fmla="*/ 1767288 w 7613003"/>
              <a:gd name="connsiteY622" fmla="*/ 408534 h 6367505"/>
              <a:gd name="connsiteX623" fmla="*/ 1725024 w 7613003"/>
              <a:gd name="connsiteY623" fmla="*/ 436710 h 6367505"/>
              <a:gd name="connsiteX624" fmla="*/ 1710935 w 7613003"/>
              <a:gd name="connsiteY624" fmla="*/ 450798 h 6367505"/>
              <a:gd name="connsiteX625" fmla="*/ 1682758 w 7613003"/>
              <a:gd name="connsiteY625" fmla="*/ 464885 h 6367505"/>
              <a:gd name="connsiteX626" fmla="*/ 1668671 w 7613003"/>
              <a:gd name="connsiteY626" fmla="*/ 478972 h 6367505"/>
              <a:gd name="connsiteX627" fmla="*/ 1654582 w 7613003"/>
              <a:gd name="connsiteY627" fmla="*/ 478972 h 6367505"/>
              <a:gd name="connsiteX628" fmla="*/ 1598229 w 7613003"/>
              <a:gd name="connsiteY628" fmla="*/ 535321 h 6367505"/>
              <a:gd name="connsiteX629" fmla="*/ 1485523 w 7613003"/>
              <a:gd name="connsiteY629" fmla="*/ 605759 h 6367505"/>
              <a:gd name="connsiteX630" fmla="*/ 1527788 w 7613003"/>
              <a:gd name="connsiteY630" fmla="*/ 591672 h 6367505"/>
              <a:gd name="connsiteX631" fmla="*/ 1598229 w 7613003"/>
              <a:gd name="connsiteY631" fmla="*/ 535321 h 6367505"/>
              <a:gd name="connsiteX632" fmla="*/ 1668671 w 7613003"/>
              <a:gd name="connsiteY632" fmla="*/ 507147 h 6367505"/>
              <a:gd name="connsiteX633" fmla="*/ 1795464 w 7613003"/>
              <a:gd name="connsiteY633" fmla="*/ 422623 h 6367505"/>
              <a:gd name="connsiteX634" fmla="*/ 1837730 w 7613003"/>
              <a:gd name="connsiteY634" fmla="*/ 394447 h 6367505"/>
              <a:gd name="connsiteX635" fmla="*/ 1922259 w 7613003"/>
              <a:gd name="connsiteY635" fmla="*/ 352185 h 6367505"/>
              <a:gd name="connsiteX636" fmla="*/ 1936347 w 7613003"/>
              <a:gd name="connsiteY636" fmla="*/ 352185 h 6367505"/>
              <a:gd name="connsiteX637" fmla="*/ 1950434 w 7613003"/>
              <a:gd name="connsiteY637" fmla="*/ 338098 h 6367505"/>
              <a:gd name="connsiteX638" fmla="*/ 1978611 w 7613003"/>
              <a:gd name="connsiteY638" fmla="*/ 324010 h 6367505"/>
              <a:gd name="connsiteX639" fmla="*/ 1992700 w 7613003"/>
              <a:gd name="connsiteY639" fmla="*/ 309923 h 6367505"/>
              <a:gd name="connsiteX640" fmla="*/ 1992700 w 7613003"/>
              <a:gd name="connsiteY640" fmla="*/ 324010 h 6367505"/>
              <a:gd name="connsiteX641" fmla="*/ 1978611 w 7613003"/>
              <a:gd name="connsiteY641" fmla="*/ 338098 h 6367505"/>
              <a:gd name="connsiteX642" fmla="*/ 1950434 w 7613003"/>
              <a:gd name="connsiteY642" fmla="*/ 366272 h 6367505"/>
              <a:gd name="connsiteX643" fmla="*/ 1908171 w 7613003"/>
              <a:gd name="connsiteY643" fmla="*/ 380360 h 6367505"/>
              <a:gd name="connsiteX644" fmla="*/ 1908170 w 7613003"/>
              <a:gd name="connsiteY644" fmla="*/ 380360 h 6367505"/>
              <a:gd name="connsiteX645" fmla="*/ 1908169 w 7613003"/>
              <a:gd name="connsiteY645" fmla="*/ 380360 h 6367505"/>
              <a:gd name="connsiteX646" fmla="*/ 1865906 w 7613003"/>
              <a:gd name="connsiteY646" fmla="*/ 394447 h 6367505"/>
              <a:gd name="connsiteX647" fmla="*/ 1809553 w 7613003"/>
              <a:gd name="connsiteY647" fmla="*/ 422623 h 6367505"/>
              <a:gd name="connsiteX648" fmla="*/ 1809553 w 7613003"/>
              <a:gd name="connsiteY648" fmla="*/ 436710 h 6367505"/>
              <a:gd name="connsiteX649" fmla="*/ 1865906 w 7613003"/>
              <a:gd name="connsiteY649" fmla="*/ 408534 h 6367505"/>
              <a:gd name="connsiteX650" fmla="*/ 1887038 w 7613003"/>
              <a:gd name="connsiteY650" fmla="*/ 394447 h 6367505"/>
              <a:gd name="connsiteX651" fmla="*/ 1908169 w 7613003"/>
              <a:gd name="connsiteY651" fmla="*/ 380360 h 6367505"/>
              <a:gd name="connsiteX652" fmla="*/ 1908171 w 7613003"/>
              <a:gd name="connsiteY652" fmla="*/ 380360 h 6367505"/>
              <a:gd name="connsiteX653" fmla="*/ 1915214 w 7613003"/>
              <a:gd name="connsiteY653" fmla="*/ 380360 h 6367505"/>
              <a:gd name="connsiteX654" fmla="*/ 1922259 w 7613003"/>
              <a:gd name="connsiteY654" fmla="*/ 380360 h 6367505"/>
              <a:gd name="connsiteX655" fmla="*/ 1964523 w 7613003"/>
              <a:gd name="connsiteY655" fmla="*/ 366272 h 6367505"/>
              <a:gd name="connsiteX656" fmla="*/ 1865906 w 7613003"/>
              <a:gd name="connsiteY656" fmla="*/ 422623 h 6367505"/>
              <a:gd name="connsiteX657" fmla="*/ 1795464 w 7613003"/>
              <a:gd name="connsiteY657" fmla="*/ 464885 h 6367505"/>
              <a:gd name="connsiteX658" fmla="*/ 1696847 w 7613003"/>
              <a:gd name="connsiteY658" fmla="*/ 535321 h 6367505"/>
              <a:gd name="connsiteX659" fmla="*/ 1626406 w 7613003"/>
              <a:gd name="connsiteY659" fmla="*/ 577583 h 6367505"/>
              <a:gd name="connsiteX660" fmla="*/ 1612318 w 7613003"/>
              <a:gd name="connsiteY660" fmla="*/ 591672 h 6367505"/>
              <a:gd name="connsiteX661" fmla="*/ 1598229 w 7613003"/>
              <a:gd name="connsiteY661" fmla="*/ 591672 h 6367505"/>
              <a:gd name="connsiteX662" fmla="*/ 1555965 w 7613003"/>
              <a:gd name="connsiteY662" fmla="*/ 633934 h 6367505"/>
              <a:gd name="connsiteX663" fmla="*/ 1527788 w 7613003"/>
              <a:gd name="connsiteY663" fmla="*/ 648021 h 6367505"/>
              <a:gd name="connsiteX664" fmla="*/ 1499612 w 7613003"/>
              <a:gd name="connsiteY664" fmla="*/ 676196 h 6367505"/>
              <a:gd name="connsiteX665" fmla="*/ 1457348 w 7613003"/>
              <a:gd name="connsiteY665" fmla="*/ 704370 h 6367505"/>
              <a:gd name="connsiteX666" fmla="*/ 1457348 w 7613003"/>
              <a:gd name="connsiteY666" fmla="*/ 732545 h 6367505"/>
              <a:gd name="connsiteX667" fmla="*/ 1437976 w 7613003"/>
              <a:gd name="connsiteY667" fmla="*/ 741350 h 6367505"/>
              <a:gd name="connsiteX668" fmla="*/ 1432447 w 7613003"/>
              <a:gd name="connsiteY668" fmla="*/ 753512 h 6367505"/>
              <a:gd name="connsiteX669" fmla="*/ 1423888 w 7613003"/>
              <a:gd name="connsiteY669" fmla="*/ 758959 h 6367505"/>
              <a:gd name="connsiteX670" fmla="*/ 1415083 w 7613003"/>
              <a:gd name="connsiteY670" fmla="*/ 760719 h 6367505"/>
              <a:gd name="connsiteX671" fmla="*/ 1429170 w 7613003"/>
              <a:gd name="connsiteY671" fmla="*/ 760719 h 6367505"/>
              <a:gd name="connsiteX672" fmla="*/ 1432447 w 7613003"/>
              <a:gd name="connsiteY672" fmla="*/ 753512 h 6367505"/>
              <a:gd name="connsiteX673" fmla="*/ 1443259 w 7613003"/>
              <a:gd name="connsiteY673" fmla="*/ 746632 h 6367505"/>
              <a:gd name="connsiteX674" fmla="*/ 1471435 w 7613003"/>
              <a:gd name="connsiteY674" fmla="*/ 732545 h 6367505"/>
              <a:gd name="connsiteX675" fmla="*/ 1485523 w 7613003"/>
              <a:gd name="connsiteY675" fmla="*/ 718457 h 6367505"/>
              <a:gd name="connsiteX676" fmla="*/ 1541876 w 7613003"/>
              <a:gd name="connsiteY676" fmla="*/ 676196 h 6367505"/>
              <a:gd name="connsiteX677" fmla="*/ 1570053 w 7613003"/>
              <a:gd name="connsiteY677" fmla="*/ 648021 h 6367505"/>
              <a:gd name="connsiteX678" fmla="*/ 1598229 w 7613003"/>
              <a:gd name="connsiteY678" fmla="*/ 633934 h 6367505"/>
              <a:gd name="connsiteX679" fmla="*/ 1570053 w 7613003"/>
              <a:gd name="connsiteY679" fmla="*/ 662108 h 6367505"/>
              <a:gd name="connsiteX680" fmla="*/ 1541876 w 7613003"/>
              <a:gd name="connsiteY680" fmla="*/ 690283 h 6367505"/>
              <a:gd name="connsiteX681" fmla="*/ 1555965 w 7613003"/>
              <a:gd name="connsiteY681" fmla="*/ 676196 h 6367505"/>
              <a:gd name="connsiteX682" fmla="*/ 1570053 w 7613003"/>
              <a:gd name="connsiteY682" fmla="*/ 676196 h 6367505"/>
              <a:gd name="connsiteX683" fmla="*/ 1598229 w 7613003"/>
              <a:gd name="connsiteY683" fmla="*/ 648021 h 6367505"/>
              <a:gd name="connsiteX684" fmla="*/ 1654582 w 7613003"/>
              <a:gd name="connsiteY684" fmla="*/ 619846 h 6367505"/>
              <a:gd name="connsiteX685" fmla="*/ 1668671 w 7613003"/>
              <a:gd name="connsiteY685" fmla="*/ 605759 h 6367505"/>
              <a:gd name="connsiteX686" fmla="*/ 1696847 w 7613003"/>
              <a:gd name="connsiteY686" fmla="*/ 577583 h 6367505"/>
              <a:gd name="connsiteX687" fmla="*/ 1753200 w 7613003"/>
              <a:gd name="connsiteY687" fmla="*/ 549409 h 6367505"/>
              <a:gd name="connsiteX688" fmla="*/ 1781377 w 7613003"/>
              <a:gd name="connsiteY688" fmla="*/ 535321 h 6367505"/>
              <a:gd name="connsiteX689" fmla="*/ 1837730 w 7613003"/>
              <a:gd name="connsiteY689" fmla="*/ 521234 h 6367505"/>
              <a:gd name="connsiteX690" fmla="*/ 1879994 w 7613003"/>
              <a:gd name="connsiteY690" fmla="*/ 507147 h 6367505"/>
              <a:gd name="connsiteX691" fmla="*/ 1908170 w 7613003"/>
              <a:gd name="connsiteY691" fmla="*/ 493059 h 6367505"/>
              <a:gd name="connsiteX692" fmla="*/ 1936347 w 7613003"/>
              <a:gd name="connsiteY692" fmla="*/ 464885 h 6367505"/>
              <a:gd name="connsiteX693" fmla="*/ 1964523 w 7613003"/>
              <a:gd name="connsiteY693" fmla="*/ 450798 h 6367505"/>
              <a:gd name="connsiteX694" fmla="*/ 2006787 w 7613003"/>
              <a:gd name="connsiteY694" fmla="*/ 436710 h 6367505"/>
              <a:gd name="connsiteX695" fmla="*/ 2063140 w 7613003"/>
              <a:gd name="connsiteY695" fmla="*/ 408534 h 6367505"/>
              <a:gd name="connsiteX696" fmla="*/ 2105405 w 7613003"/>
              <a:gd name="connsiteY696" fmla="*/ 380360 h 6367505"/>
              <a:gd name="connsiteX697" fmla="*/ 2147670 w 7613003"/>
              <a:gd name="connsiteY697" fmla="*/ 366272 h 6367505"/>
              <a:gd name="connsiteX698" fmla="*/ 2204023 w 7613003"/>
              <a:gd name="connsiteY698" fmla="*/ 338098 h 6367505"/>
              <a:gd name="connsiteX699" fmla="*/ 2204023 w 7613003"/>
              <a:gd name="connsiteY699" fmla="*/ 352185 h 6367505"/>
              <a:gd name="connsiteX700" fmla="*/ 2189935 w 7613003"/>
              <a:gd name="connsiteY700" fmla="*/ 352185 h 6367505"/>
              <a:gd name="connsiteX701" fmla="*/ 2189935 w 7613003"/>
              <a:gd name="connsiteY701" fmla="*/ 366272 h 6367505"/>
              <a:gd name="connsiteX702" fmla="*/ 2161758 w 7613003"/>
              <a:gd name="connsiteY702" fmla="*/ 380360 h 6367505"/>
              <a:gd name="connsiteX703" fmla="*/ 2175846 w 7613003"/>
              <a:gd name="connsiteY703" fmla="*/ 380360 h 6367505"/>
              <a:gd name="connsiteX704" fmla="*/ 2288552 w 7613003"/>
              <a:gd name="connsiteY704" fmla="*/ 338098 h 6367505"/>
              <a:gd name="connsiteX705" fmla="*/ 2358994 w 7613003"/>
              <a:gd name="connsiteY705" fmla="*/ 324010 h 6367505"/>
              <a:gd name="connsiteX706" fmla="*/ 2415347 w 7613003"/>
              <a:gd name="connsiteY706" fmla="*/ 295836 h 6367505"/>
              <a:gd name="connsiteX707" fmla="*/ 2528052 w 7613003"/>
              <a:gd name="connsiteY707" fmla="*/ 253574 h 6367505"/>
              <a:gd name="connsiteX708" fmla="*/ 2584406 w 7613003"/>
              <a:gd name="connsiteY708" fmla="*/ 239487 h 6367505"/>
              <a:gd name="connsiteX709" fmla="*/ 2612581 w 7613003"/>
              <a:gd name="connsiteY709" fmla="*/ 239487 h 6367505"/>
              <a:gd name="connsiteX710" fmla="*/ 2640758 w 7613003"/>
              <a:gd name="connsiteY710" fmla="*/ 253574 h 6367505"/>
              <a:gd name="connsiteX711" fmla="*/ 2654846 w 7613003"/>
              <a:gd name="connsiteY711" fmla="*/ 253574 h 6367505"/>
              <a:gd name="connsiteX712" fmla="*/ 2654846 w 7613003"/>
              <a:gd name="connsiteY712" fmla="*/ 281749 h 6367505"/>
              <a:gd name="connsiteX713" fmla="*/ 2598493 w 7613003"/>
              <a:gd name="connsiteY713" fmla="*/ 295836 h 6367505"/>
              <a:gd name="connsiteX714" fmla="*/ 2528052 w 7613003"/>
              <a:gd name="connsiteY714" fmla="*/ 324010 h 6367505"/>
              <a:gd name="connsiteX715" fmla="*/ 2499875 w 7613003"/>
              <a:gd name="connsiteY715" fmla="*/ 338098 h 6367505"/>
              <a:gd name="connsiteX716" fmla="*/ 2471699 w 7613003"/>
              <a:gd name="connsiteY716" fmla="*/ 338098 h 6367505"/>
              <a:gd name="connsiteX717" fmla="*/ 2443523 w 7613003"/>
              <a:gd name="connsiteY717" fmla="*/ 352185 h 6367505"/>
              <a:gd name="connsiteX718" fmla="*/ 2485787 w 7613003"/>
              <a:gd name="connsiteY718" fmla="*/ 352185 h 6367505"/>
              <a:gd name="connsiteX719" fmla="*/ 2387169 w 7613003"/>
              <a:gd name="connsiteY719" fmla="*/ 380360 h 6367505"/>
              <a:gd name="connsiteX720" fmla="*/ 2373081 w 7613003"/>
              <a:gd name="connsiteY720" fmla="*/ 394447 h 6367505"/>
              <a:gd name="connsiteX721" fmla="*/ 2358994 w 7613003"/>
              <a:gd name="connsiteY721" fmla="*/ 394447 h 6367505"/>
              <a:gd name="connsiteX722" fmla="*/ 2344905 w 7613003"/>
              <a:gd name="connsiteY722" fmla="*/ 394447 h 6367505"/>
              <a:gd name="connsiteX723" fmla="*/ 2330816 w 7613003"/>
              <a:gd name="connsiteY723" fmla="*/ 408534 h 6367505"/>
              <a:gd name="connsiteX724" fmla="*/ 2288552 w 7613003"/>
              <a:gd name="connsiteY724" fmla="*/ 422623 h 6367505"/>
              <a:gd name="connsiteX725" fmla="*/ 2344905 w 7613003"/>
              <a:gd name="connsiteY725" fmla="*/ 408534 h 6367505"/>
              <a:gd name="connsiteX726" fmla="*/ 2415347 w 7613003"/>
              <a:gd name="connsiteY726" fmla="*/ 394447 h 6367505"/>
              <a:gd name="connsiteX727" fmla="*/ 2471699 w 7613003"/>
              <a:gd name="connsiteY727" fmla="*/ 380360 h 6367505"/>
              <a:gd name="connsiteX728" fmla="*/ 2485787 w 7613003"/>
              <a:gd name="connsiteY728" fmla="*/ 380360 h 6367505"/>
              <a:gd name="connsiteX729" fmla="*/ 2542140 w 7613003"/>
              <a:gd name="connsiteY729" fmla="*/ 352185 h 6367505"/>
              <a:gd name="connsiteX730" fmla="*/ 2598493 w 7613003"/>
              <a:gd name="connsiteY730" fmla="*/ 338098 h 6367505"/>
              <a:gd name="connsiteX731" fmla="*/ 2654846 w 7613003"/>
              <a:gd name="connsiteY731" fmla="*/ 324010 h 6367505"/>
              <a:gd name="connsiteX732" fmla="*/ 2668934 w 7613003"/>
              <a:gd name="connsiteY732" fmla="*/ 324010 h 6367505"/>
              <a:gd name="connsiteX733" fmla="*/ 2711199 w 7613003"/>
              <a:gd name="connsiteY733" fmla="*/ 309923 h 6367505"/>
              <a:gd name="connsiteX734" fmla="*/ 2725287 w 7613003"/>
              <a:gd name="connsiteY734" fmla="*/ 309923 h 6367505"/>
              <a:gd name="connsiteX735" fmla="*/ 2739374 w 7613003"/>
              <a:gd name="connsiteY735" fmla="*/ 309923 h 6367505"/>
              <a:gd name="connsiteX736" fmla="*/ 2753463 w 7613003"/>
              <a:gd name="connsiteY736" fmla="*/ 295836 h 6367505"/>
              <a:gd name="connsiteX737" fmla="*/ 2866169 w 7613003"/>
              <a:gd name="connsiteY737" fmla="*/ 281749 h 6367505"/>
              <a:gd name="connsiteX738" fmla="*/ 2922522 w 7613003"/>
              <a:gd name="connsiteY738" fmla="*/ 281749 h 6367505"/>
              <a:gd name="connsiteX739" fmla="*/ 2922522 w 7613003"/>
              <a:gd name="connsiteY739" fmla="*/ 267661 h 6367505"/>
              <a:gd name="connsiteX740" fmla="*/ 2936611 w 7613003"/>
              <a:gd name="connsiteY740" fmla="*/ 267661 h 6367505"/>
              <a:gd name="connsiteX741" fmla="*/ 2964786 w 7613003"/>
              <a:gd name="connsiteY741" fmla="*/ 267661 h 6367505"/>
              <a:gd name="connsiteX742" fmla="*/ 3007052 w 7613003"/>
              <a:gd name="connsiteY742" fmla="*/ 267661 h 6367505"/>
              <a:gd name="connsiteX743" fmla="*/ 3035228 w 7613003"/>
              <a:gd name="connsiteY743" fmla="*/ 253574 h 6367505"/>
              <a:gd name="connsiteX744" fmla="*/ 3147934 w 7613003"/>
              <a:gd name="connsiteY744" fmla="*/ 253574 h 6367505"/>
              <a:gd name="connsiteX745" fmla="*/ 3147934 w 7613003"/>
              <a:gd name="connsiteY745" fmla="*/ 239487 h 6367505"/>
              <a:gd name="connsiteX746" fmla="*/ 3190198 w 7613003"/>
              <a:gd name="connsiteY746" fmla="*/ 239487 h 6367505"/>
              <a:gd name="connsiteX747" fmla="*/ 3204287 w 7613003"/>
              <a:gd name="connsiteY747" fmla="*/ 239487 h 6367505"/>
              <a:gd name="connsiteX748" fmla="*/ 3176110 w 7613003"/>
              <a:gd name="connsiteY748" fmla="*/ 253574 h 6367505"/>
              <a:gd name="connsiteX749" fmla="*/ 3188437 w 7613003"/>
              <a:gd name="connsiteY749" fmla="*/ 253574 h 6367505"/>
              <a:gd name="connsiteX750" fmla="*/ 3204287 w 7613003"/>
              <a:gd name="connsiteY750" fmla="*/ 253574 h 6367505"/>
              <a:gd name="connsiteX751" fmla="*/ 3218375 w 7613003"/>
              <a:gd name="connsiteY751" fmla="*/ 253574 h 6367505"/>
              <a:gd name="connsiteX752" fmla="*/ 3232462 w 7613003"/>
              <a:gd name="connsiteY752" fmla="*/ 253574 h 6367505"/>
              <a:gd name="connsiteX753" fmla="*/ 3241268 w 7613003"/>
              <a:gd name="connsiteY753" fmla="*/ 253574 h 6367505"/>
              <a:gd name="connsiteX754" fmla="*/ 3260639 w 7613003"/>
              <a:gd name="connsiteY754" fmla="*/ 253574 h 6367505"/>
              <a:gd name="connsiteX755" fmla="*/ 3331081 w 7613003"/>
              <a:gd name="connsiteY755" fmla="*/ 239487 h 6367505"/>
              <a:gd name="connsiteX756" fmla="*/ 3338125 w 7613003"/>
              <a:gd name="connsiteY756" fmla="*/ 239487 h 6367505"/>
              <a:gd name="connsiteX757" fmla="*/ 3339445 w 7613003"/>
              <a:gd name="connsiteY757" fmla="*/ 239487 h 6367505"/>
              <a:gd name="connsiteX758" fmla="*/ 3341646 w 7613003"/>
              <a:gd name="connsiteY758" fmla="*/ 239487 h 6367505"/>
              <a:gd name="connsiteX759" fmla="*/ 3345168 w 7613003"/>
              <a:gd name="connsiteY759" fmla="*/ 239487 h 6367505"/>
              <a:gd name="connsiteX760" fmla="*/ 3359257 w 7613003"/>
              <a:gd name="connsiteY760" fmla="*/ 239487 h 6367505"/>
              <a:gd name="connsiteX761" fmla="*/ 3373345 w 7613003"/>
              <a:gd name="connsiteY761" fmla="*/ 239487 h 6367505"/>
              <a:gd name="connsiteX762" fmla="*/ 3373345 w 7613003"/>
              <a:gd name="connsiteY762" fmla="*/ 253574 h 6367505"/>
              <a:gd name="connsiteX763" fmla="*/ 3401521 w 7613003"/>
              <a:gd name="connsiteY763" fmla="*/ 253574 h 6367505"/>
              <a:gd name="connsiteX764" fmla="*/ 3406805 w 7613003"/>
              <a:gd name="connsiteY764" fmla="*/ 253574 h 6367505"/>
              <a:gd name="connsiteX765" fmla="*/ 3420893 w 7613003"/>
              <a:gd name="connsiteY765" fmla="*/ 253574 h 6367505"/>
              <a:gd name="connsiteX766" fmla="*/ 3429699 w 7613003"/>
              <a:gd name="connsiteY766" fmla="*/ 253574 h 6367505"/>
              <a:gd name="connsiteX767" fmla="*/ 3431239 w 7613003"/>
              <a:gd name="connsiteY767" fmla="*/ 253574 h 6367505"/>
              <a:gd name="connsiteX768" fmla="*/ 3457874 w 7613003"/>
              <a:gd name="connsiteY768" fmla="*/ 253574 h 6367505"/>
              <a:gd name="connsiteX769" fmla="*/ 3486050 w 7613003"/>
              <a:gd name="connsiteY769" fmla="*/ 253574 h 6367505"/>
              <a:gd name="connsiteX770" fmla="*/ 3514227 w 7613003"/>
              <a:gd name="connsiteY770" fmla="*/ 253574 h 6367505"/>
              <a:gd name="connsiteX771" fmla="*/ 3542404 w 7613003"/>
              <a:gd name="connsiteY771" fmla="*/ 253574 h 6367505"/>
              <a:gd name="connsiteX772" fmla="*/ 3556492 w 7613003"/>
              <a:gd name="connsiteY772" fmla="*/ 239487 h 6367505"/>
              <a:gd name="connsiteX773" fmla="*/ 3584669 w 7613003"/>
              <a:gd name="connsiteY773" fmla="*/ 253574 h 6367505"/>
              <a:gd name="connsiteX774" fmla="*/ 3598756 w 7613003"/>
              <a:gd name="connsiteY774" fmla="*/ 253574 h 6367505"/>
              <a:gd name="connsiteX775" fmla="*/ 3600517 w 7613003"/>
              <a:gd name="connsiteY775" fmla="*/ 253574 h 6367505"/>
              <a:gd name="connsiteX776" fmla="*/ 3611950 w 7613003"/>
              <a:gd name="connsiteY776" fmla="*/ 253574 h 6367505"/>
              <a:gd name="connsiteX777" fmla="*/ 3654214 w 7613003"/>
              <a:gd name="connsiteY777" fmla="*/ 225398 h 6367505"/>
              <a:gd name="connsiteX778" fmla="*/ 3710567 w 7613003"/>
              <a:gd name="connsiteY778" fmla="*/ 197224 h 6367505"/>
              <a:gd name="connsiteX779" fmla="*/ 3851449 w 7613003"/>
              <a:gd name="connsiteY779" fmla="*/ 140874 h 6367505"/>
              <a:gd name="connsiteX780" fmla="*/ 3935979 w 7613003"/>
              <a:gd name="connsiteY780" fmla="*/ 112700 h 6367505"/>
              <a:gd name="connsiteX781" fmla="*/ 4034596 w 7613003"/>
              <a:gd name="connsiteY781" fmla="*/ 84525 h 6367505"/>
              <a:gd name="connsiteX782" fmla="*/ 4048684 w 7613003"/>
              <a:gd name="connsiteY782" fmla="*/ 70438 h 6367505"/>
              <a:gd name="connsiteX783" fmla="*/ 4076861 w 7613003"/>
              <a:gd name="connsiteY783" fmla="*/ 70438 h 6367505"/>
              <a:gd name="connsiteX784" fmla="*/ 4288184 w 7613003"/>
              <a:gd name="connsiteY784" fmla="*/ 14087 h 6367505"/>
              <a:gd name="connsiteX785" fmla="*/ 4330449 w 7613003"/>
              <a:gd name="connsiteY785" fmla="*/ 14087 h 6367505"/>
              <a:gd name="connsiteX786" fmla="*/ 4400890 w 7613003"/>
              <a:gd name="connsiteY786" fmla="*/ 0 h 6367505"/>
              <a:gd name="connsiteX787" fmla="*/ 4400890 w 7613003"/>
              <a:gd name="connsiteY787" fmla="*/ 14087 h 6367505"/>
              <a:gd name="connsiteX788" fmla="*/ 4386801 w 7613003"/>
              <a:gd name="connsiteY788" fmla="*/ 14087 h 6367505"/>
              <a:gd name="connsiteX789" fmla="*/ 4358624 w 7613003"/>
              <a:gd name="connsiteY789" fmla="*/ 28175 h 6367505"/>
              <a:gd name="connsiteX790" fmla="*/ 4344537 w 7613003"/>
              <a:gd name="connsiteY790" fmla="*/ 28175 h 6367505"/>
              <a:gd name="connsiteX791" fmla="*/ 4231831 w 7613003"/>
              <a:gd name="connsiteY791" fmla="*/ 70438 h 6367505"/>
              <a:gd name="connsiteX792" fmla="*/ 4161390 w 7613003"/>
              <a:gd name="connsiteY792" fmla="*/ 84525 h 6367505"/>
              <a:gd name="connsiteX793" fmla="*/ 4133214 w 7613003"/>
              <a:gd name="connsiteY793" fmla="*/ 98612 h 6367505"/>
              <a:gd name="connsiteX794" fmla="*/ 4006419 w 7613003"/>
              <a:gd name="connsiteY794" fmla="*/ 126787 h 6367505"/>
              <a:gd name="connsiteX795" fmla="*/ 3978244 w 7613003"/>
              <a:gd name="connsiteY795" fmla="*/ 140874 h 6367505"/>
              <a:gd name="connsiteX796" fmla="*/ 3964155 w 7613003"/>
              <a:gd name="connsiteY796" fmla="*/ 140874 h 6367505"/>
              <a:gd name="connsiteX797" fmla="*/ 3921891 w 7613003"/>
              <a:gd name="connsiteY797" fmla="*/ 169049 h 6367505"/>
              <a:gd name="connsiteX798" fmla="*/ 3893713 w 7613003"/>
              <a:gd name="connsiteY798" fmla="*/ 183136 h 6367505"/>
              <a:gd name="connsiteX799" fmla="*/ 3879626 w 7613003"/>
              <a:gd name="connsiteY799" fmla="*/ 183136 h 6367505"/>
              <a:gd name="connsiteX800" fmla="*/ 3795096 w 7613003"/>
              <a:gd name="connsiteY800" fmla="*/ 225398 h 6367505"/>
              <a:gd name="connsiteX801" fmla="*/ 3710567 w 7613003"/>
              <a:gd name="connsiteY801" fmla="*/ 253574 h 6367505"/>
              <a:gd name="connsiteX802" fmla="*/ 3696479 w 7613003"/>
              <a:gd name="connsiteY802" fmla="*/ 253574 h 6367505"/>
              <a:gd name="connsiteX803" fmla="*/ 3691453 w 7613003"/>
              <a:gd name="connsiteY803" fmla="*/ 256087 h 6367505"/>
              <a:gd name="connsiteX804" fmla="*/ 3706180 w 7613003"/>
              <a:gd name="connsiteY804" fmla="*/ 260618 h 6367505"/>
              <a:gd name="connsiteX805" fmla="*/ 3739639 w 7613003"/>
              <a:gd name="connsiteY805" fmla="*/ 267661 h 6367505"/>
              <a:gd name="connsiteX806" fmla="*/ 3743161 w 7613003"/>
              <a:gd name="connsiteY806" fmla="*/ 267661 h 6367505"/>
              <a:gd name="connsiteX807" fmla="*/ 3767815 w 7613003"/>
              <a:gd name="connsiteY807" fmla="*/ 267661 h 6367505"/>
              <a:gd name="connsiteX808" fmla="*/ 3908697 w 7613003"/>
              <a:gd name="connsiteY808" fmla="*/ 281749 h 6367505"/>
              <a:gd name="connsiteX809" fmla="*/ 3965050 w 7613003"/>
              <a:gd name="connsiteY809" fmla="*/ 295836 h 6367505"/>
              <a:gd name="connsiteX810" fmla="*/ 4004780 w 7613003"/>
              <a:gd name="connsiteY810" fmla="*/ 305768 h 6367505"/>
              <a:gd name="connsiteX811" fmla="*/ 4006420 w 7613003"/>
              <a:gd name="connsiteY811" fmla="*/ 304641 h 6367505"/>
              <a:gd name="connsiteX812" fmla="*/ 4034596 w 7613003"/>
              <a:gd name="connsiteY812" fmla="*/ 295836 h 6367505"/>
              <a:gd name="connsiteX813" fmla="*/ 4147302 w 7613003"/>
              <a:gd name="connsiteY813" fmla="*/ 253574 h 6367505"/>
              <a:gd name="connsiteX814" fmla="*/ 4203655 w 7613003"/>
              <a:gd name="connsiteY814" fmla="*/ 239487 h 6367505"/>
              <a:gd name="connsiteX815" fmla="*/ 4231831 w 7613003"/>
              <a:gd name="connsiteY815" fmla="*/ 239487 h 6367505"/>
              <a:gd name="connsiteX816" fmla="*/ 4260008 w 7613003"/>
              <a:gd name="connsiteY816" fmla="*/ 253574 h 6367505"/>
              <a:gd name="connsiteX817" fmla="*/ 4274096 w 7613003"/>
              <a:gd name="connsiteY817" fmla="*/ 253574 h 6367505"/>
              <a:gd name="connsiteX818" fmla="*/ 4274096 w 7613003"/>
              <a:gd name="connsiteY818" fmla="*/ 281749 h 6367505"/>
              <a:gd name="connsiteX819" fmla="*/ 4217743 w 7613003"/>
              <a:gd name="connsiteY819" fmla="*/ 295836 h 6367505"/>
              <a:gd name="connsiteX820" fmla="*/ 4147302 w 7613003"/>
              <a:gd name="connsiteY820" fmla="*/ 324010 h 6367505"/>
              <a:gd name="connsiteX821" fmla="*/ 4138497 w 7613003"/>
              <a:gd name="connsiteY821" fmla="*/ 325771 h 6367505"/>
              <a:gd name="connsiteX822" fmla="*/ 4134519 w 7613003"/>
              <a:gd name="connsiteY822" fmla="*/ 328303 h 6367505"/>
              <a:gd name="connsiteX823" fmla="*/ 4176373 w 7613003"/>
              <a:gd name="connsiteY823" fmla="*/ 338098 h 6367505"/>
              <a:gd name="connsiteX824" fmla="*/ 4202128 w 7613003"/>
              <a:gd name="connsiteY824" fmla="*/ 338098 h 6367505"/>
              <a:gd name="connsiteX825" fmla="*/ 4217743 w 7613003"/>
              <a:gd name="connsiteY825" fmla="*/ 338098 h 6367505"/>
              <a:gd name="connsiteX826" fmla="*/ 4274096 w 7613003"/>
              <a:gd name="connsiteY826" fmla="*/ 324010 h 6367505"/>
              <a:gd name="connsiteX827" fmla="*/ 4288184 w 7613003"/>
              <a:gd name="connsiteY827" fmla="*/ 324010 h 6367505"/>
              <a:gd name="connsiteX828" fmla="*/ 4330449 w 7613003"/>
              <a:gd name="connsiteY828" fmla="*/ 309923 h 6367505"/>
              <a:gd name="connsiteX829" fmla="*/ 4344537 w 7613003"/>
              <a:gd name="connsiteY829" fmla="*/ 309923 h 6367505"/>
              <a:gd name="connsiteX830" fmla="*/ 4358624 w 7613003"/>
              <a:gd name="connsiteY830" fmla="*/ 309923 h 6367505"/>
              <a:gd name="connsiteX831" fmla="*/ 4372713 w 7613003"/>
              <a:gd name="connsiteY831" fmla="*/ 295836 h 6367505"/>
              <a:gd name="connsiteX832" fmla="*/ 4485419 w 7613003"/>
              <a:gd name="connsiteY832" fmla="*/ 281749 h 6367505"/>
              <a:gd name="connsiteX833" fmla="*/ 4541772 w 7613003"/>
              <a:gd name="connsiteY833" fmla="*/ 281749 h 6367505"/>
              <a:gd name="connsiteX834" fmla="*/ 4541772 w 7613003"/>
              <a:gd name="connsiteY834" fmla="*/ 267661 h 6367505"/>
              <a:gd name="connsiteX835" fmla="*/ 4555860 w 7613003"/>
              <a:gd name="connsiteY835" fmla="*/ 267661 h 6367505"/>
              <a:gd name="connsiteX836" fmla="*/ 4584036 w 7613003"/>
              <a:gd name="connsiteY836" fmla="*/ 267661 h 6367505"/>
              <a:gd name="connsiteX837" fmla="*/ 4626302 w 7613003"/>
              <a:gd name="connsiteY837" fmla="*/ 267661 h 6367505"/>
              <a:gd name="connsiteX838" fmla="*/ 4654478 w 7613003"/>
              <a:gd name="connsiteY838" fmla="*/ 253574 h 6367505"/>
              <a:gd name="connsiteX839" fmla="*/ 4767184 w 7613003"/>
              <a:gd name="connsiteY839" fmla="*/ 253574 h 6367505"/>
              <a:gd name="connsiteX840" fmla="*/ 4767184 w 7613003"/>
              <a:gd name="connsiteY840" fmla="*/ 239487 h 6367505"/>
              <a:gd name="connsiteX841" fmla="*/ 4809448 w 7613003"/>
              <a:gd name="connsiteY841" fmla="*/ 239487 h 6367505"/>
              <a:gd name="connsiteX842" fmla="*/ 4823537 w 7613003"/>
              <a:gd name="connsiteY842" fmla="*/ 239487 h 6367505"/>
              <a:gd name="connsiteX843" fmla="*/ 4795359 w 7613003"/>
              <a:gd name="connsiteY843" fmla="*/ 253574 h 6367505"/>
              <a:gd name="connsiteX844" fmla="*/ 4807686 w 7613003"/>
              <a:gd name="connsiteY844" fmla="*/ 253574 h 6367505"/>
              <a:gd name="connsiteX845" fmla="*/ 4823537 w 7613003"/>
              <a:gd name="connsiteY845" fmla="*/ 253574 h 6367505"/>
              <a:gd name="connsiteX846" fmla="*/ 4837625 w 7613003"/>
              <a:gd name="connsiteY846" fmla="*/ 253574 h 6367505"/>
              <a:gd name="connsiteX847" fmla="*/ 4851712 w 7613003"/>
              <a:gd name="connsiteY847" fmla="*/ 253574 h 6367505"/>
              <a:gd name="connsiteX848" fmla="*/ 4860518 w 7613003"/>
              <a:gd name="connsiteY848" fmla="*/ 253574 h 6367505"/>
              <a:gd name="connsiteX849" fmla="*/ 4879889 w 7613003"/>
              <a:gd name="connsiteY849" fmla="*/ 253574 h 6367505"/>
              <a:gd name="connsiteX850" fmla="*/ 4950331 w 7613003"/>
              <a:gd name="connsiteY850" fmla="*/ 239487 h 6367505"/>
              <a:gd name="connsiteX851" fmla="*/ 4957375 w 7613003"/>
              <a:gd name="connsiteY851" fmla="*/ 239487 h 6367505"/>
              <a:gd name="connsiteX852" fmla="*/ 4958695 w 7613003"/>
              <a:gd name="connsiteY852" fmla="*/ 239487 h 6367505"/>
              <a:gd name="connsiteX853" fmla="*/ 4960896 w 7613003"/>
              <a:gd name="connsiteY853" fmla="*/ 239487 h 6367505"/>
              <a:gd name="connsiteX854" fmla="*/ 4964418 w 7613003"/>
              <a:gd name="connsiteY854" fmla="*/ 239487 h 6367505"/>
              <a:gd name="connsiteX855" fmla="*/ 4978507 w 7613003"/>
              <a:gd name="connsiteY855" fmla="*/ 239487 h 6367505"/>
              <a:gd name="connsiteX856" fmla="*/ 4992595 w 7613003"/>
              <a:gd name="connsiteY856" fmla="*/ 239487 h 6367505"/>
              <a:gd name="connsiteX857" fmla="*/ 4992595 w 7613003"/>
              <a:gd name="connsiteY857" fmla="*/ 253574 h 6367505"/>
              <a:gd name="connsiteX858" fmla="*/ 5020771 w 7613003"/>
              <a:gd name="connsiteY858" fmla="*/ 253574 h 6367505"/>
              <a:gd name="connsiteX859" fmla="*/ 5026055 w 7613003"/>
              <a:gd name="connsiteY859" fmla="*/ 253574 h 6367505"/>
              <a:gd name="connsiteX860" fmla="*/ 5040143 w 7613003"/>
              <a:gd name="connsiteY860" fmla="*/ 253574 h 6367505"/>
              <a:gd name="connsiteX861" fmla="*/ 5048948 w 7613003"/>
              <a:gd name="connsiteY861" fmla="*/ 253574 h 6367505"/>
              <a:gd name="connsiteX862" fmla="*/ 5050489 w 7613003"/>
              <a:gd name="connsiteY862" fmla="*/ 253574 h 6367505"/>
              <a:gd name="connsiteX863" fmla="*/ 5077124 w 7613003"/>
              <a:gd name="connsiteY863" fmla="*/ 253574 h 6367505"/>
              <a:gd name="connsiteX864" fmla="*/ 5105300 w 7613003"/>
              <a:gd name="connsiteY864" fmla="*/ 253574 h 6367505"/>
              <a:gd name="connsiteX865" fmla="*/ 5133477 w 7613003"/>
              <a:gd name="connsiteY865" fmla="*/ 253574 h 6367505"/>
              <a:gd name="connsiteX866" fmla="*/ 5161654 w 7613003"/>
              <a:gd name="connsiteY866" fmla="*/ 253574 h 6367505"/>
              <a:gd name="connsiteX867" fmla="*/ 5175742 w 7613003"/>
              <a:gd name="connsiteY867" fmla="*/ 239487 h 6367505"/>
              <a:gd name="connsiteX868" fmla="*/ 5203919 w 7613003"/>
              <a:gd name="connsiteY868" fmla="*/ 253574 h 6367505"/>
              <a:gd name="connsiteX869" fmla="*/ 5218006 w 7613003"/>
              <a:gd name="connsiteY869" fmla="*/ 253574 h 6367505"/>
              <a:gd name="connsiteX870" fmla="*/ 5232094 w 7613003"/>
              <a:gd name="connsiteY870" fmla="*/ 253574 h 6367505"/>
              <a:gd name="connsiteX871" fmla="*/ 5246183 w 7613003"/>
              <a:gd name="connsiteY871" fmla="*/ 253574 h 6367505"/>
              <a:gd name="connsiteX872" fmla="*/ 5260270 w 7613003"/>
              <a:gd name="connsiteY872" fmla="*/ 253574 h 6367505"/>
              <a:gd name="connsiteX873" fmla="*/ 5302536 w 7613003"/>
              <a:gd name="connsiteY873" fmla="*/ 267661 h 6367505"/>
              <a:gd name="connsiteX874" fmla="*/ 5316625 w 7613003"/>
              <a:gd name="connsiteY874" fmla="*/ 267661 h 6367505"/>
              <a:gd name="connsiteX875" fmla="*/ 5302536 w 7613003"/>
              <a:gd name="connsiteY875" fmla="*/ 253574 h 6367505"/>
              <a:gd name="connsiteX876" fmla="*/ 5358889 w 7613003"/>
              <a:gd name="connsiteY876" fmla="*/ 267661 h 6367505"/>
              <a:gd name="connsiteX877" fmla="*/ 5362410 w 7613003"/>
              <a:gd name="connsiteY877" fmla="*/ 267661 h 6367505"/>
              <a:gd name="connsiteX878" fmla="*/ 5387065 w 7613003"/>
              <a:gd name="connsiteY878" fmla="*/ 267661 h 6367505"/>
              <a:gd name="connsiteX879" fmla="*/ 5527947 w 7613003"/>
              <a:gd name="connsiteY879" fmla="*/ 281749 h 6367505"/>
              <a:gd name="connsiteX880" fmla="*/ 5640652 w 7613003"/>
              <a:gd name="connsiteY880" fmla="*/ 309923 h 6367505"/>
              <a:gd name="connsiteX881" fmla="*/ 5542035 w 7613003"/>
              <a:gd name="connsiteY881" fmla="*/ 295836 h 6367505"/>
              <a:gd name="connsiteX882" fmla="*/ 5527947 w 7613003"/>
              <a:gd name="connsiteY882" fmla="*/ 295836 h 6367505"/>
              <a:gd name="connsiteX883" fmla="*/ 5499771 w 7613003"/>
              <a:gd name="connsiteY883" fmla="*/ 295836 h 6367505"/>
              <a:gd name="connsiteX884" fmla="*/ 5443418 w 7613003"/>
              <a:gd name="connsiteY884" fmla="*/ 281749 h 6367505"/>
              <a:gd name="connsiteX885" fmla="*/ 5415242 w 7613003"/>
              <a:gd name="connsiteY885" fmla="*/ 281749 h 6367505"/>
              <a:gd name="connsiteX886" fmla="*/ 5316625 w 7613003"/>
              <a:gd name="connsiteY886" fmla="*/ 281749 h 6367505"/>
              <a:gd name="connsiteX887" fmla="*/ 5288447 w 7613003"/>
              <a:gd name="connsiteY887" fmla="*/ 267661 h 6367505"/>
              <a:gd name="connsiteX888" fmla="*/ 5232094 w 7613003"/>
              <a:gd name="connsiteY888" fmla="*/ 267661 h 6367505"/>
              <a:gd name="connsiteX889" fmla="*/ 5230333 w 7613003"/>
              <a:gd name="connsiteY889" fmla="*/ 267661 h 6367505"/>
              <a:gd name="connsiteX890" fmla="*/ 5228573 w 7613003"/>
              <a:gd name="connsiteY890" fmla="*/ 267661 h 6367505"/>
              <a:gd name="connsiteX891" fmla="*/ 5218006 w 7613003"/>
              <a:gd name="connsiteY891" fmla="*/ 267661 h 6367505"/>
              <a:gd name="connsiteX892" fmla="*/ 5189830 w 7613003"/>
              <a:gd name="connsiteY892" fmla="*/ 267661 h 6367505"/>
              <a:gd name="connsiteX893" fmla="*/ 5119389 w 7613003"/>
              <a:gd name="connsiteY893" fmla="*/ 267661 h 6367505"/>
              <a:gd name="connsiteX894" fmla="*/ 5091213 w 7613003"/>
              <a:gd name="connsiteY894" fmla="*/ 267661 h 6367505"/>
              <a:gd name="connsiteX895" fmla="*/ 5077124 w 7613003"/>
              <a:gd name="connsiteY895" fmla="*/ 267661 h 6367505"/>
              <a:gd name="connsiteX896" fmla="*/ 5006683 w 7613003"/>
              <a:gd name="connsiteY896" fmla="*/ 281749 h 6367505"/>
              <a:gd name="connsiteX897" fmla="*/ 4964418 w 7613003"/>
              <a:gd name="connsiteY897" fmla="*/ 267661 h 6367505"/>
              <a:gd name="connsiteX898" fmla="*/ 4950331 w 7613003"/>
              <a:gd name="connsiteY898" fmla="*/ 267661 h 6367505"/>
              <a:gd name="connsiteX899" fmla="*/ 4893978 w 7613003"/>
              <a:gd name="connsiteY899" fmla="*/ 281749 h 6367505"/>
              <a:gd name="connsiteX900" fmla="*/ 4837625 w 7613003"/>
              <a:gd name="connsiteY900" fmla="*/ 281749 h 6367505"/>
              <a:gd name="connsiteX901" fmla="*/ 4823537 w 7613003"/>
              <a:gd name="connsiteY901" fmla="*/ 281749 h 6367505"/>
              <a:gd name="connsiteX902" fmla="*/ 4809448 w 7613003"/>
              <a:gd name="connsiteY902" fmla="*/ 281749 h 6367505"/>
              <a:gd name="connsiteX903" fmla="*/ 4809448 w 7613003"/>
              <a:gd name="connsiteY903" fmla="*/ 295836 h 6367505"/>
              <a:gd name="connsiteX904" fmla="*/ 4781272 w 7613003"/>
              <a:gd name="connsiteY904" fmla="*/ 295836 h 6367505"/>
              <a:gd name="connsiteX905" fmla="*/ 4710831 w 7613003"/>
              <a:gd name="connsiteY905" fmla="*/ 295836 h 6367505"/>
              <a:gd name="connsiteX906" fmla="*/ 4626302 w 7613003"/>
              <a:gd name="connsiteY906" fmla="*/ 295836 h 6367505"/>
              <a:gd name="connsiteX907" fmla="*/ 4626302 w 7613003"/>
              <a:gd name="connsiteY907" fmla="*/ 309923 h 6367505"/>
              <a:gd name="connsiteX908" fmla="*/ 4640389 w 7613003"/>
              <a:gd name="connsiteY908" fmla="*/ 309923 h 6367505"/>
              <a:gd name="connsiteX909" fmla="*/ 4696742 w 7613003"/>
              <a:gd name="connsiteY909" fmla="*/ 309923 h 6367505"/>
              <a:gd name="connsiteX910" fmla="*/ 4753095 w 7613003"/>
              <a:gd name="connsiteY910" fmla="*/ 309923 h 6367505"/>
              <a:gd name="connsiteX911" fmla="*/ 4767184 w 7613003"/>
              <a:gd name="connsiteY911" fmla="*/ 309923 h 6367505"/>
              <a:gd name="connsiteX912" fmla="*/ 4851712 w 7613003"/>
              <a:gd name="connsiteY912" fmla="*/ 295836 h 6367505"/>
              <a:gd name="connsiteX913" fmla="*/ 4893978 w 7613003"/>
              <a:gd name="connsiteY913" fmla="*/ 295836 h 6367505"/>
              <a:gd name="connsiteX914" fmla="*/ 4922154 w 7613003"/>
              <a:gd name="connsiteY914" fmla="*/ 295836 h 6367505"/>
              <a:gd name="connsiteX915" fmla="*/ 4964418 w 7613003"/>
              <a:gd name="connsiteY915" fmla="*/ 295836 h 6367505"/>
              <a:gd name="connsiteX916" fmla="*/ 5034860 w 7613003"/>
              <a:gd name="connsiteY916" fmla="*/ 295836 h 6367505"/>
              <a:gd name="connsiteX917" fmla="*/ 5147566 w 7613003"/>
              <a:gd name="connsiteY917" fmla="*/ 295836 h 6367505"/>
              <a:gd name="connsiteX918" fmla="*/ 5189830 w 7613003"/>
              <a:gd name="connsiteY918" fmla="*/ 309923 h 6367505"/>
              <a:gd name="connsiteX919" fmla="*/ 5175742 w 7613003"/>
              <a:gd name="connsiteY919" fmla="*/ 309923 h 6367505"/>
              <a:gd name="connsiteX920" fmla="*/ 5147566 w 7613003"/>
              <a:gd name="connsiteY920" fmla="*/ 309923 h 6367505"/>
              <a:gd name="connsiteX921" fmla="*/ 5077124 w 7613003"/>
              <a:gd name="connsiteY921" fmla="*/ 309923 h 6367505"/>
              <a:gd name="connsiteX922" fmla="*/ 4992595 w 7613003"/>
              <a:gd name="connsiteY922" fmla="*/ 309923 h 6367505"/>
              <a:gd name="connsiteX923" fmla="*/ 4936242 w 7613003"/>
              <a:gd name="connsiteY923" fmla="*/ 309923 h 6367505"/>
              <a:gd name="connsiteX924" fmla="*/ 4908065 w 7613003"/>
              <a:gd name="connsiteY924" fmla="*/ 324010 h 6367505"/>
              <a:gd name="connsiteX925" fmla="*/ 4879889 w 7613003"/>
              <a:gd name="connsiteY925" fmla="*/ 324010 h 6367505"/>
              <a:gd name="connsiteX926" fmla="*/ 4865801 w 7613003"/>
              <a:gd name="connsiteY926" fmla="*/ 324010 h 6367505"/>
              <a:gd name="connsiteX927" fmla="*/ 4809448 w 7613003"/>
              <a:gd name="connsiteY927" fmla="*/ 324010 h 6367505"/>
              <a:gd name="connsiteX928" fmla="*/ 4795359 w 7613003"/>
              <a:gd name="connsiteY928" fmla="*/ 324010 h 6367505"/>
              <a:gd name="connsiteX929" fmla="*/ 4781272 w 7613003"/>
              <a:gd name="connsiteY929" fmla="*/ 324010 h 6367505"/>
              <a:gd name="connsiteX930" fmla="*/ 4724919 w 7613003"/>
              <a:gd name="connsiteY930" fmla="*/ 338098 h 6367505"/>
              <a:gd name="connsiteX931" fmla="*/ 4710831 w 7613003"/>
              <a:gd name="connsiteY931" fmla="*/ 338098 h 6367505"/>
              <a:gd name="connsiteX932" fmla="*/ 4654478 w 7613003"/>
              <a:gd name="connsiteY932" fmla="*/ 338098 h 6367505"/>
              <a:gd name="connsiteX933" fmla="*/ 4584036 w 7613003"/>
              <a:gd name="connsiteY933" fmla="*/ 352185 h 6367505"/>
              <a:gd name="connsiteX934" fmla="*/ 4569949 w 7613003"/>
              <a:gd name="connsiteY934" fmla="*/ 352185 h 6367505"/>
              <a:gd name="connsiteX935" fmla="*/ 4527683 w 7613003"/>
              <a:gd name="connsiteY935" fmla="*/ 366272 h 6367505"/>
              <a:gd name="connsiteX936" fmla="*/ 4513595 w 7613003"/>
              <a:gd name="connsiteY936" fmla="*/ 366272 h 6367505"/>
              <a:gd name="connsiteX937" fmla="*/ 4499507 w 7613003"/>
              <a:gd name="connsiteY937" fmla="*/ 366272 h 6367505"/>
              <a:gd name="connsiteX938" fmla="*/ 4485419 w 7613003"/>
              <a:gd name="connsiteY938" fmla="*/ 366272 h 6367505"/>
              <a:gd name="connsiteX939" fmla="*/ 4429066 w 7613003"/>
              <a:gd name="connsiteY939" fmla="*/ 380360 h 6367505"/>
              <a:gd name="connsiteX940" fmla="*/ 4400890 w 7613003"/>
              <a:gd name="connsiteY940" fmla="*/ 380360 h 6367505"/>
              <a:gd name="connsiteX941" fmla="*/ 4400890 w 7613003"/>
              <a:gd name="connsiteY941" fmla="*/ 394447 h 6367505"/>
              <a:gd name="connsiteX942" fmla="*/ 4386801 w 7613003"/>
              <a:gd name="connsiteY942" fmla="*/ 394447 h 6367505"/>
              <a:gd name="connsiteX943" fmla="*/ 4372713 w 7613003"/>
              <a:gd name="connsiteY943" fmla="*/ 394447 h 6367505"/>
              <a:gd name="connsiteX944" fmla="*/ 4370952 w 7613003"/>
              <a:gd name="connsiteY944" fmla="*/ 394447 h 6367505"/>
              <a:gd name="connsiteX945" fmla="*/ 4359520 w 7613003"/>
              <a:gd name="connsiteY945" fmla="*/ 394447 h 6367505"/>
              <a:gd name="connsiteX946" fmla="*/ 4363709 w 7613003"/>
              <a:gd name="connsiteY946" fmla="*/ 395971 h 6367505"/>
              <a:gd name="connsiteX947" fmla="*/ 4357040 w 7613003"/>
              <a:gd name="connsiteY947" fmla="*/ 395415 h 6367505"/>
              <a:gd name="connsiteX948" fmla="*/ 4326927 w 7613003"/>
              <a:gd name="connsiteY948" fmla="*/ 413818 h 6367505"/>
              <a:gd name="connsiteX949" fmla="*/ 4274096 w 7613003"/>
              <a:gd name="connsiteY949" fmla="*/ 422623 h 6367505"/>
              <a:gd name="connsiteX950" fmla="*/ 4260008 w 7613003"/>
              <a:gd name="connsiteY950" fmla="*/ 422623 h 6367505"/>
              <a:gd name="connsiteX951" fmla="*/ 4231831 w 7613003"/>
              <a:gd name="connsiteY951" fmla="*/ 436710 h 6367505"/>
              <a:gd name="connsiteX952" fmla="*/ 4217743 w 7613003"/>
              <a:gd name="connsiteY952" fmla="*/ 436710 h 6367505"/>
              <a:gd name="connsiteX953" fmla="*/ 4203655 w 7613003"/>
              <a:gd name="connsiteY953" fmla="*/ 450798 h 6367505"/>
              <a:gd name="connsiteX954" fmla="*/ 4189567 w 7613003"/>
              <a:gd name="connsiteY954" fmla="*/ 450798 h 6367505"/>
              <a:gd name="connsiteX955" fmla="*/ 4062772 w 7613003"/>
              <a:gd name="connsiteY955" fmla="*/ 493059 h 6367505"/>
              <a:gd name="connsiteX956" fmla="*/ 4034596 w 7613003"/>
              <a:gd name="connsiteY956" fmla="*/ 493059 h 6367505"/>
              <a:gd name="connsiteX957" fmla="*/ 4020508 w 7613003"/>
              <a:gd name="connsiteY957" fmla="*/ 507147 h 6367505"/>
              <a:gd name="connsiteX958" fmla="*/ 3978244 w 7613003"/>
              <a:gd name="connsiteY958" fmla="*/ 521234 h 6367505"/>
              <a:gd name="connsiteX959" fmla="*/ 3967380 w 7613003"/>
              <a:gd name="connsiteY959" fmla="*/ 528146 h 6367505"/>
              <a:gd name="connsiteX960" fmla="*/ 3984422 w 7613003"/>
              <a:gd name="connsiteY960" fmla="*/ 535321 h 6367505"/>
              <a:gd name="connsiteX961" fmla="*/ 4006652 w 7613003"/>
              <a:gd name="connsiteY961" fmla="*/ 549001 h 6367505"/>
              <a:gd name="connsiteX962" fmla="*/ 4013464 w 7613003"/>
              <a:gd name="connsiteY962" fmla="*/ 537082 h 6367505"/>
              <a:gd name="connsiteX963" fmla="*/ 4020508 w 7613003"/>
              <a:gd name="connsiteY963" fmla="*/ 535321 h 6367505"/>
              <a:gd name="connsiteX964" fmla="*/ 4034596 w 7613003"/>
              <a:gd name="connsiteY964" fmla="*/ 535321 h 6367505"/>
              <a:gd name="connsiteX965" fmla="*/ 4048684 w 7613003"/>
              <a:gd name="connsiteY965" fmla="*/ 521234 h 6367505"/>
              <a:gd name="connsiteX966" fmla="*/ 4119125 w 7613003"/>
              <a:gd name="connsiteY966" fmla="*/ 507147 h 6367505"/>
              <a:gd name="connsiteX967" fmla="*/ 4217743 w 7613003"/>
              <a:gd name="connsiteY967" fmla="*/ 478972 h 6367505"/>
              <a:gd name="connsiteX968" fmla="*/ 4260008 w 7613003"/>
              <a:gd name="connsiteY968" fmla="*/ 464885 h 6367505"/>
              <a:gd name="connsiteX969" fmla="*/ 4245920 w 7613003"/>
              <a:gd name="connsiteY969" fmla="*/ 478972 h 6367505"/>
              <a:gd name="connsiteX970" fmla="*/ 4260008 w 7613003"/>
              <a:gd name="connsiteY970" fmla="*/ 493059 h 6367505"/>
              <a:gd name="connsiteX971" fmla="*/ 4231831 w 7613003"/>
              <a:gd name="connsiteY971" fmla="*/ 493059 h 6367505"/>
              <a:gd name="connsiteX972" fmla="*/ 4231831 w 7613003"/>
              <a:gd name="connsiteY972" fmla="*/ 507147 h 6367505"/>
              <a:gd name="connsiteX973" fmla="*/ 4260008 w 7613003"/>
              <a:gd name="connsiteY973" fmla="*/ 493059 h 6367505"/>
              <a:gd name="connsiteX974" fmla="*/ 4288184 w 7613003"/>
              <a:gd name="connsiteY974" fmla="*/ 493059 h 6367505"/>
              <a:gd name="connsiteX975" fmla="*/ 4372713 w 7613003"/>
              <a:gd name="connsiteY975" fmla="*/ 464885 h 6367505"/>
              <a:gd name="connsiteX976" fmla="*/ 4584036 w 7613003"/>
              <a:gd name="connsiteY976" fmla="*/ 436710 h 6367505"/>
              <a:gd name="connsiteX977" fmla="*/ 4640389 w 7613003"/>
              <a:gd name="connsiteY977" fmla="*/ 422623 h 6367505"/>
              <a:gd name="connsiteX978" fmla="*/ 4668566 w 7613003"/>
              <a:gd name="connsiteY978" fmla="*/ 422623 h 6367505"/>
              <a:gd name="connsiteX979" fmla="*/ 4680893 w 7613003"/>
              <a:gd name="connsiteY979" fmla="*/ 422623 h 6367505"/>
              <a:gd name="connsiteX980" fmla="*/ 4710831 w 7613003"/>
              <a:gd name="connsiteY980" fmla="*/ 422623 h 6367505"/>
              <a:gd name="connsiteX981" fmla="*/ 4724919 w 7613003"/>
              <a:gd name="connsiteY981" fmla="*/ 422623 h 6367505"/>
              <a:gd name="connsiteX982" fmla="*/ 4668566 w 7613003"/>
              <a:gd name="connsiteY982" fmla="*/ 422623 h 6367505"/>
              <a:gd name="connsiteX983" fmla="*/ 4739006 w 7613003"/>
              <a:gd name="connsiteY983" fmla="*/ 408534 h 6367505"/>
              <a:gd name="connsiteX984" fmla="*/ 4753095 w 7613003"/>
              <a:gd name="connsiteY984" fmla="*/ 408534 h 6367505"/>
              <a:gd name="connsiteX985" fmla="*/ 4753095 w 7613003"/>
              <a:gd name="connsiteY985" fmla="*/ 422623 h 6367505"/>
              <a:gd name="connsiteX986" fmla="*/ 4781272 w 7613003"/>
              <a:gd name="connsiteY986" fmla="*/ 436710 h 6367505"/>
              <a:gd name="connsiteX987" fmla="*/ 4809448 w 7613003"/>
              <a:gd name="connsiteY987" fmla="*/ 436710 h 6367505"/>
              <a:gd name="connsiteX988" fmla="*/ 4851712 w 7613003"/>
              <a:gd name="connsiteY988" fmla="*/ 436710 h 6367505"/>
              <a:gd name="connsiteX989" fmla="*/ 4908065 w 7613003"/>
              <a:gd name="connsiteY989" fmla="*/ 436710 h 6367505"/>
              <a:gd name="connsiteX990" fmla="*/ 4893978 w 7613003"/>
              <a:gd name="connsiteY990" fmla="*/ 450798 h 6367505"/>
              <a:gd name="connsiteX991" fmla="*/ 4908065 w 7613003"/>
              <a:gd name="connsiteY991" fmla="*/ 450798 h 6367505"/>
              <a:gd name="connsiteX992" fmla="*/ 4936242 w 7613003"/>
              <a:gd name="connsiteY992" fmla="*/ 450798 h 6367505"/>
              <a:gd name="connsiteX993" fmla="*/ 5091213 w 7613003"/>
              <a:gd name="connsiteY993" fmla="*/ 464885 h 6367505"/>
              <a:gd name="connsiteX994" fmla="*/ 5119389 w 7613003"/>
              <a:gd name="connsiteY994" fmla="*/ 464885 h 6367505"/>
              <a:gd name="connsiteX995" fmla="*/ 5133477 w 7613003"/>
              <a:gd name="connsiteY995" fmla="*/ 464885 h 6367505"/>
              <a:gd name="connsiteX996" fmla="*/ 5203919 w 7613003"/>
              <a:gd name="connsiteY996" fmla="*/ 464885 h 6367505"/>
              <a:gd name="connsiteX997" fmla="*/ 5274359 w 7613003"/>
              <a:gd name="connsiteY997" fmla="*/ 478972 h 6367505"/>
              <a:gd name="connsiteX998" fmla="*/ 5316625 w 7613003"/>
              <a:gd name="connsiteY998" fmla="*/ 493059 h 6367505"/>
              <a:gd name="connsiteX999" fmla="*/ 5344800 w 7613003"/>
              <a:gd name="connsiteY999" fmla="*/ 493059 h 6367505"/>
              <a:gd name="connsiteX1000" fmla="*/ 5358889 w 7613003"/>
              <a:gd name="connsiteY1000" fmla="*/ 493059 h 6367505"/>
              <a:gd name="connsiteX1001" fmla="*/ 5362411 w 7613003"/>
              <a:gd name="connsiteY1001" fmla="*/ 493059 h 6367505"/>
              <a:gd name="connsiteX1002" fmla="*/ 5365933 w 7613003"/>
              <a:gd name="connsiteY1002" fmla="*/ 493059 h 6367505"/>
              <a:gd name="connsiteX1003" fmla="*/ 5367694 w 7613003"/>
              <a:gd name="connsiteY1003" fmla="*/ 493059 h 6367505"/>
              <a:gd name="connsiteX1004" fmla="*/ 5372976 w 7613003"/>
              <a:gd name="connsiteY1004" fmla="*/ 493059 h 6367505"/>
              <a:gd name="connsiteX1005" fmla="*/ 5457506 w 7613003"/>
              <a:gd name="connsiteY1005" fmla="*/ 507147 h 6367505"/>
              <a:gd name="connsiteX1006" fmla="*/ 5513859 w 7613003"/>
              <a:gd name="connsiteY1006" fmla="*/ 507147 h 6367505"/>
              <a:gd name="connsiteX1007" fmla="*/ 5542035 w 7613003"/>
              <a:gd name="connsiteY1007" fmla="*/ 521234 h 6367505"/>
              <a:gd name="connsiteX1008" fmla="*/ 5570212 w 7613003"/>
              <a:gd name="connsiteY1008" fmla="*/ 521234 h 6367505"/>
              <a:gd name="connsiteX1009" fmla="*/ 5626565 w 7613003"/>
              <a:gd name="connsiteY1009" fmla="*/ 549409 h 6367505"/>
              <a:gd name="connsiteX1010" fmla="*/ 5654741 w 7613003"/>
              <a:gd name="connsiteY1010" fmla="*/ 549409 h 6367505"/>
              <a:gd name="connsiteX1011" fmla="*/ 5682917 w 7613003"/>
              <a:gd name="connsiteY1011" fmla="*/ 549409 h 6367505"/>
              <a:gd name="connsiteX1012" fmla="*/ 5725182 w 7613003"/>
              <a:gd name="connsiteY1012" fmla="*/ 563496 h 6367505"/>
              <a:gd name="connsiteX1013" fmla="*/ 5697005 w 7613003"/>
              <a:gd name="connsiteY1013" fmla="*/ 563496 h 6367505"/>
              <a:gd name="connsiteX1014" fmla="*/ 5781535 w 7613003"/>
              <a:gd name="connsiteY1014" fmla="*/ 591672 h 6367505"/>
              <a:gd name="connsiteX1015" fmla="*/ 5795623 w 7613003"/>
              <a:gd name="connsiteY1015" fmla="*/ 605759 h 6367505"/>
              <a:gd name="connsiteX1016" fmla="*/ 5781535 w 7613003"/>
              <a:gd name="connsiteY1016" fmla="*/ 605759 h 6367505"/>
              <a:gd name="connsiteX1017" fmla="*/ 5781535 w 7613003"/>
              <a:gd name="connsiteY1017" fmla="*/ 619846 h 6367505"/>
              <a:gd name="connsiteX1018" fmla="*/ 5760403 w 7613003"/>
              <a:gd name="connsiteY1018" fmla="*/ 612803 h 6367505"/>
              <a:gd name="connsiteX1019" fmla="*/ 5729877 w 7613003"/>
              <a:gd name="connsiteY1019" fmla="*/ 594489 h 6367505"/>
              <a:gd name="connsiteX1020" fmla="*/ 5721661 w 7613003"/>
              <a:gd name="connsiteY1020" fmla="*/ 584628 h 6367505"/>
              <a:gd name="connsiteX1021" fmla="*/ 5682917 w 7613003"/>
              <a:gd name="connsiteY1021" fmla="*/ 563496 h 6367505"/>
              <a:gd name="connsiteX1022" fmla="*/ 5682917 w 7613003"/>
              <a:gd name="connsiteY1022" fmla="*/ 577583 h 6367505"/>
              <a:gd name="connsiteX1023" fmla="*/ 5668829 w 7613003"/>
              <a:gd name="connsiteY1023" fmla="*/ 577583 h 6367505"/>
              <a:gd name="connsiteX1024" fmla="*/ 5654741 w 7613003"/>
              <a:gd name="connsiteY1024" fmla="*/ 577583 h 6367505"/>
              <a:gd name="connsiteX1025" fmla="*/ 5635018 w 7613003"/>
              <a:gd name="connsiteY1025" fmla="*/ 567722 h 6367505"/>
              <a:gd name="connsiteX1026" fmla="*/ 5633609 w 7613003"/>
              <a:gd name="connsiteY1026" fmla="*/ 565257 h 6367505"/>
              <a:gd name="connsiteX1027" fmla="*/ 5626565 w 7613003"/>
              <a:gd name="connsiteY1027" fmla="*/ 563496 h 6367505"/>
              <a:gd name="connsiteX1028" fmla="*/ 5635018 w 7613003"/>
              <a:gd name="connsiteY1028" fmla="*/ 567722 h 6367505"/>
              <a:gd name="connsiteX1029" fmla="*/ 5640652 w 7613003"/>
              <a:gd name="connsiteY1029" fmla="*/ 577583 h 6367505"/>
              <a:gd name="connsiteX1030" fmla="*/ 5647697 w 7613003"/>
              <a:gd name="connsiteY1030" fmla="*/ 577583 h 6367505"/>
              <a:gd name="connsiteX1031" fmla="*/ 5654741 w 7613003"/>
              <a:gd name="connsiteY1031" fmla="*/ 577583 h 6367505"/>
              <a:gd name="connsiteX1032" fmla="*/ 5682917 w 7613003"/>
              <a:gd name="connsiteY1032" fmla="*/ 591672 h 6367505"/>
              <a:gd name="connsiteX1033" fmla="*/ 5725182 w 7613003"/>
              <a:gd name="connsiteY1033" fmla="*/ 591672 h 6367505"/>
              <a:gd name="connsiteX1034" fmla="*/ 5729877 w 7613003"/>
              <a:gd name="connsiteY1034" fmla="*/ 594489 h 6367505"/>
              <a:gd name="connsiteX1035" fmla="*/ 5739270 w 7613003"/>
              <a:gd name="connsiteY1035" fmla="*/ 605759 h 6367505"/>
              <a:gd name="connsiteX1036" fmla="*/ 5760403 w 7613003"/>
              <a:gd name="connsiteY1036" fmla="*/ 612803 h 6367505"/>
              <a:gd name="connsiteX1037" fmla="*/ 5795623 w 7613003"/>
              <a:gd name="connsiteY1037" fmla="*/ 633934 h 6367505"/>
              <a:gd name="connsiteX1038" fmla="*/ 5823800 w 7613003"/>
              <a:gd name="connsiteY1038" fmla="*/ 633934 h 6367505"/>
              <a:gd name="connsiteX1039" fmla="*/ 5823800 w 7613003"/>
              <a:gd name="connsiteY1039" fmla="*/ 648021 h 6367505"/>
              <a:gd name="connsiteX1040" fmla="*/ 5851976 w 7613003"/>
              <a:gd name="connsiteY1040" fmla="*/ 648021 h 6367505"/>
              <a:gd name="connsiteX1041" fmla="*/ 5866064 w 7613003"/>
              <a:gd name="connsiteY1041" fmla="*/ 657882 h 6367505"/>
              <a:gd name="connsiteX1042" fmla="*/ 5866064 w 7613003"/>
              <a:gd name="connsiteY1042" fmla="*/ 662108 h 6367505"/>
              <a:gd name="connsiteX1043" fmla="*/ 5869587 w 7613003"/>
              <a:gd name="connsiteY1043" fmla="*/ 660347 h 6367505"/>
              <a:gd name="connsiteX1044" fmla="*/ 5866064 w 7613003"/>
              <a:gd name="connsiteY1044" fmla="*/ 657882 h 6367505"/>
              <a:gd name="connsiteX1045" fmla="*/ 5866064 w 7613003"/>
              <a:gd name="connsiteY1045" fmla="*/ 655065 h 6367505"/>
              <a:gd name="connsiteX1046" fmla="*/ 5866064 w 7613003"/>
              <a:gd name="connsiteY1046" fmla="*/ 648021 h 6367505"/>
              <a:gd name="connsiteX1047" fmla="*/ 5908329 w 7613003"/>
              <a:gd name="connsiteY1047" fmla="*/ 662108 h 6367505"/>
              <a:gd name="connsiteX1048" fmla="*/ 5992859 w 7613003"/>
              <a:gd name="connsiteY1048" fmla="*/ 704370 h 6367505"/>
              <a:gd name="connsiteX1049" fmla="*/ 6035123 w 7613003"/>
              <a:gd name="connsiteY1049" fmla="*/ 732545 h 6367505"/>
              <a:gd name="connsiteX1050" fmla="*/ 6049212 w 7613003"/>
              <a:gd name="connsiteY1050" fmla="*/ 732545 h 6367505"/>
              <a:gd name="connsiteX1051" fmla="*/ 6035123 w 7613003"/>
              <a:gd name="connsiteY1051" fmla="*/ 718457 h 6367505"/>
              <a:gd name="connsiteX1052" fmla="*/ 6006946 w 7613003"/>
              <a:gd name="connsiteY1052" fmla="*/ 690283 h 6367505"/>
              <a:gd name="connsiteX1053" fmla="*/ 6063299 w 7613003"/>
              <a:gd name="connsiteY1053" fmla="*/ 718457 h 6367505"/>
              <a:gd name="connsiteX1054" fmla="*/ 6105565 w 7613003"/>
              <a:gd name="connsiteY1054" fmla="*/ 746632 h 6367505"/>
              <a:gd name="connsiteX1055" fmla="*/ 6077388 w 7613003"/>
              <a:gd name="connsiteY1055" fmla="*/ 732545 h 6367505"/>
              <a:gd name="connsiteX1056" fmla="*/ 6119652 w 7613003"/>
              <a:gd name="connsiteY1056" fmla="*/ 746632 h 6367505"/>
              <a:gd name="connsiteX1057" fmla="*/ 6133741 w 7613003"/>
              <a:gd name="connsiteY1057" fmla="*/ 760719 h 6367505"/>
              <a:gd name="connsiteX1058" fmla="*/ 6133741 w 7613003"/>
              <a:gd name="connsiteY1058" fmla="*/ 746632 h 6367505"/>
              <a:gd name="connsiteX1059" fmla="*/ 6127728 w 7613003"/>
              <a:gd name="connsiteY1059" fmla="*/ 741995 h 6367505"/>
              <a:gd name="connsiteX1060" fmla="*/ 6147829 w 7613003"/>
              <a:gd name="connsiteY1060" fmla="*/ 746632 h 6367505"/>
              <a:gd name="connsiteX1061" fmla="*/ 6176005 w 7613003"/>
              <a:gd name="connsiteY1061" fmla="*/ 760719 h 6367505"/>
              <a:gd name="connsiteX1062" fmla="*/ 6246446 w 7613003"/>
              <a:gd name="connsiteY1062" fmla="*/ 802983 h 6367505"/>
              <a:gd name="connsiteX1063" fmla="*/ 6260535 w 7613003"/>
              <a:gd name="connsiteY1063" fmla="*/ 802983 h 6367505"/>
              <a:gd name="connsiteX1064" fmla="*/ 6274622 w 7613003"/>
              <a:gd name="connsiteY1064" fmla="*/ 802983 h 6367505"/>
              <a:gd name="connsiteX1065" fmla="*/ 6302799 w 7613003"/>
              <a:gd name="connsiteY1065" fmla="*/ 817070 h 6367505"/>
              <a:gd name="connsiteX1066" fmla="*/ 6330975 w 7613003"/>
              <a:gd name="connsiteY1066" fmla="*/ 845244 h 6367505"/>
              <a:gd name="connsiteX1067" fmla="*/ 6345064 w 7613003"/>
              <a:gd name="connsiteY1067" fmla="*/ 845244 h 6367505"/>
              <a:gd name="connsiteX1068" fmla="*/ 6387328 w 7613003"/>
              <a:gd name="connsiteY1068" fmla="*/ 887506 h 6367505"/>
              <a:gd name="connsiteX1069" fmla="*/ 6457770 w 7613003"/>
              <a:gd name="connsiteY1069" fmla="*/ 929768 h 6367505"/>
              <a:gd name="connsiteX1070" fmla="*/ 6471858 w 7613003"/>
              <a:gd name="connsiteY1070" fmla="*/ 943856 h 6367505"/>
              <a:gd name="connsiteX1071" fmla="*/ 6528211 w 7613003"/>
              <a:gd name="connsiteY1071" fmla="*/ 972031 h 6367505"/>
              <a:gd name="connsiteX1072" fmla="*/ 6556387 w 7613003"/>
              <a:gd name="connsiteY1072" fmla="*/ 986119 h 6367505"/>
              <a:gd name="connsiteX1073" fmla="*/ 6598651 w 7613003"/>
              <a:gd name="connsiteY1073" fmla="*/ 1028381 h 6367505"/>
              <a:gd name="connsiteX1074" fmla="*/ 6655004 w 7613003"/>
              <a:gd name="connsiteY1074" fmla="*/ 1070642 h 6367505"/>
              <a:gd name="connsiteX1075" fmla="*/ 6570476 w 7613003"/>
              <a:gd name="connsiteY1075" fmla="*/ 1014293 h 6367505"/>
              <a:gd name="connsiteX1076" fmla="*/ 6443681 w 7613003"/>
              <a:gd name="connsiteY1076" fmla="*/ 943856 h 6367505"/>
              <a:gd name="connsiteX1077" fmla="*/ 6401417 w 7613003"/>
              <a:gd name="connsiteY1077" fmla="*/ 915681 h 6367505"/>
              <a:gd name="connsiteX1078" fmla="*/ 6359152 w 7613003"/>
              <a:gd name="connsiteY1078" fmla="*/ 887506 h 6367505"/>
              <a:gd name="connsiteX1079" fmla="*/ 6316888 w 7613003"/>
              <a:gd name="connsiteY1079" fmla="*/ 873419 h 6367505"/>
              <a:gd name="connsiteX1080" fmla="*/ 6288711 w 7613003"/>
              <a:gd name="connsiteY1080" fmla="*/ 859332 h 6367505"/>
              <a:gd name="connsiteX1081" fmla="*/ 6246446 w 7613003"/>
              <a:gd name="connsiteY1081" fmla="*/ 831157 h 6367505"/>
              <a:gd name="connsiteX1082" fmla="*/ 6218269 w 7613003"/>
              <a:gd name="connsiteY1082" fmla="*/ 831157 h 6367505"/>
              <a:gd name="connsiteX1083" fmla="*/ 6204182 w 7613003"/>
              <a:gd name="connsiteY1083" fmla="*/ 817070 h 6367505"/>
              <a:gd name="connsiteX1084" fmla="*/ 6176005 w 7613003"/>
              <a:gd name="connsiteY1084" fmla="*/ 802983 h 6367505"/>
              <a:gd name="connsiteX1085" fmla="*/ 6091476 w 7613003"/>
              <a:gd name="connsiteY1085" fmla="*/ 774808 h 6367505"/>
              <a:gd name="connsiteX1086" fmla="*/ 6035123 w 7613003"/>
              <a:gd name="connsiteY1086" fmla="*/ 746632 h 6367505"/>
              <a:gd name="connsiteX1087" fmla="*/ 6006946 w 7613003"/>
              <a:gd name="connsiteY1087" fmla="*/ 732545 h 6367505"/>
              <a:gd name="connsiteX1088" fmla="*/ 5978770 w 7613003"/>
              <a:gd name="connsiteY1088" fmla="*/ 718457 h 6367505"/>
              <a:gd name="connsiteX1089" fmla="*/ 5950593 w 7613003"/>
              <a:gd name="connsiteY1089" fmla="*/ 718457 h 6367505"/>
              <a:gd name="connsiteX1090" fmla="*/ 5922417 w 7613003"/>
              <a:gd name="connsiteY1090" fmla="*/ 718457 h 6367505"/>
              <a:gd name="connsiteX1091" fmla="*/ 5837888 w 7613003"/>
              <a:gd name="connsiteY1091" fmla="*/ 690283 h 6367505"/>
              <a:gd name="connsiteX1092" fmla="*/ 5837888 w 7613003"/>
              <a:gd name="connsiteY1092" fmla="*/ 676196 h 6367505"/>
              <a:gd name="connsiteX1093" fmla="*/ 5823800 w 7613003"/>
              <a:gd name="connsiteY1093" fmla="*/ 676196 h 6367505"/>
              <a:gd name="connsiteX1094" fmla="*/ 5809711 w 7613003"/>
              <a:gd name="connsiteY1094" fmla="*/ 676196 h 6367505"/>
              <a:gd name="connsiteX1095" fmla="*/ 5795623 w 7613003"/>
              <a:gd name="connsiteY1095" fmla="*/ 676196 h 6367505"/>
              <a:gd name="connsiteX1096" fmla="*/ 5795623 w 7613003"/>
              <a:gd name="connsiteY1096" fmla="*/ 662108 h 6367505"/>
              <a:gd name="connsiteX1097" fmla="*/ 5753358 w 7613003"/>
              <a:gd name="connsiteY1097" fmla="*/ 648021 h 6367505"/>
              <a:gd name="connsiteX1098" fmla="*/ 5654741 w 7613003"/>
              <a:gd name="connsiteY1098" fmla="*/ 633934 h 6367505"/>
              <a:gd name="connsiteX1099" fmla="*/ 5626565 w 7613003"/>
              <a:gd name="connsiteY1099" fmla="*/ 619846 h 6367505"/>
              <a:gd name="connsiteX1100" fmla="*/ 5499771 w 7613003"/>
              <a:gd name="connsiteY1100" fmla="*/ 591672 h 6367505"/>
              <a:gd name="connsiteX1101" fmla="*/ 5471594 w 7613003"/>
              <a:gd name="connsiteY1101" fmla="*/ 591672 h 6367505"/>
              <a:gd name="connsiteX1102" fmla="*/ 5457506 w 7613003"/>
              <a:gd name="connsiteY1102" fmla="*/ 591672 h 6367505"/>
              <a:gd name="connsiteX1103" fmla="*/ 5372976 w 7613003"/>
              <a:gd name="connsiteY1103" fmla="*/ 577583 h 6367505"/>
              <a:gd name="connsiteX1104" fmla="*/ 5330712 w 7613003"/>
              <a:gd name="connsiteY1104" fmla="*/ 577583 h 6367505"/>
              <a:gd name="connsiteX1105" fmla="*/ 5302536 w 7613003"/>
              <a:gd name="connsiteY1105" fmla="*/ 577583 h 6367505"/>
              <a:gd name="connsiteX1106" fmla="*/ 5091213 w 7613003"/>
              <a:gd name="connsiteY1106" fmla="*/ 577583 h 6367505"/>
              <a:gd name="connsiteX1107" fmla="*/ 5034860 w 7613003"/>
              <a:gd name="connsiteY1107" fmla="*/ 563496 h 6367505"/>
              <a:gd name="connsiteX1108" fmla="*/ 5091213 w 7613003"/>
              <a:gd name="connsiteY1108" fmla="*/ 577583 h 6367505"/>
              <a:gd name="connsiteX1109" fmla="*/ 5133477 w 7613003"/>
              <a:gd name="connsiteY1109" fmla="*/ 577583 h 6367505"/>
              <a:gd name="connsiteX1110" fmla="*/ 5232094 w 7613003"/>
              <a:gd name="connsiteY1110" fmla="*/ 591672 h 6367505"/>
              <a:gd name="connsiteX1111" fmla="*/ 5246183 w 7613003"/>
              <a:gd name="connsiteY1111" fmla="*/ 591672 h 6367505"/>
              <a:gd name="connsiteX1112" fmla="*/ 5288447 w 7613003"/>
              <a:gd name="connsiteY1112" fmla="*/ 591672 h 6367505"/>
              <a:gd name="connsiteX1113" fmla="*/ 5302536 w 7613003"/>
              <a:gd name="connsiteY1113" fmla="*/ 591672 h 6367505"/>
              <a:gd name="connsiteX1114" fmla="*/ 5358889 w 7613003"/>
              <a:gd name="connsiteY1114" fmla="*/ 605759 h 6367505"/>
              <a:gd name="connsiteX1115" fmla="*/ 5471594 w 7613003"/>
              <a:gd name="connsiteY1115" fmla="*/ 619846 h 6367505"/>
              <a:gd name="connsiteX1116" fmla="*/ 5499771 w 7613003"/>
              <a:gd name="connsiteY1116" fmla="*/ 619846 h 6367505"/>
              <a:gd name="connsiteX1117" fmla="*/ 5485682 w 7613003"/>
              <a:gd name="connsiteY1117" fmla="*/ 633934 h 6367505"/>
              <a:gd name="connsiteX1118" fmla="*/ 5457506 w 7613003"/>
              <a:gd name="connsiteY1118" fmla="*/ 619846 h 6367505"/>
              <a:gd name="connsiteX1119" fmla="*/ 5429329 w 7613003"/>
              <a:gd name="connsiteY1119" fmla="*/ 619846 h 6367505"/>
              <a:gd name="connsiteX1120" fmla="*/ 5189830 w 7613003"/>
              <a:gd name="connsiteY1120" fmla="*/ 591672 h 6367505"/>
              <a:gd name="connsiteX1121" fmla="*/ 5175742 w 7613003"/>
              <a:gd name="connsiteY1121" fmla="*/ 591672 h 6367505"/>
              <a:gd name="connsiteX1122" fmla="*/ 5161654 w 7613003"/>
              <a:gd name="connsiteY1122" fmla="*/ 591672 h 6367505"/>
              <a:gd name="connsiteX1123" fmla="*/ 5133477 w 7613003"/>
              <a:gd name="connsiteY1123" fmla="*/ 605759 h 6367505"/>
              <a:gd name="connsiteX1124" fmla="*/ 5119389 w 7613003"/>
              <a:gd name="connsiteY1124" fmla="*/ 605759 h 6367505"/>
              <a:gd name="connsiteX1125" fmla="*/ 5091213 w 7613003"/>
              <a:gd name="connsiteY1125" fmla="*/ 605759 h 6367505"/>
              <a:gd name="connsiteX1126" fmla="*/ 5119389 w 7613003"/>
              <a:gd name="connsiteY1126" fmla="*/ 605759 h 6367505"/>
              <a:gd name="connsiteX1127" fmla="*/ 5175742 w 7613003"/>
              <a:gd name="connsiteY1127" fmla="*/ 619846 h 6367505"/>
              <a:gd name="connsiteX1128" fmla="*/ 5203919 w 7613003"/>
              <a:gd name="connsiteY1128" fmla="*/ 619846 h 6367505"/>
              <a:gd name="connsiteX1129" fmla="*/ 5218006 w 7613003"/>
              <a:gd name="connsiteY1129" fmla="*/ 619846 h 6367505"/>
              <a:gd name="connsiteX1130" fmla="*/ 5221528 w 7613003"/>
              <a:gd name="connsiteY1130" fmla="*/ 619846 h 6367505"/>
              <a:gd name="connsiteX1131" fmla="*/ 5232094 w 7613003"/>
              <a:gd name="connsiteY1131" fmla="*/ 619846 h 6367505"/>
              <a:gd name="connsiteX1132" fmla="*/ 5316625 w 7613003"/>
              <a:gd name="connsiteY1132" fmla="*/ 633934 h 6367505"/>
              <a:gd name="connsiteX1133" fmla="*/ 5274359 w 7613003"/>
              <a:gd name="connsiteY1133" fmla="*/ 633934 h 6367505"/>
              <a:gd name="connsiteX1134" fmla="*/ 5302536 w 7613003"/>
              <a:gd name="connsiteY1134" fmla="*/ 648021 h 6367505"/>
              <a:gd name="connsiteX1135" fmla="*/ 5316625 w 7613003"/>
              <a:gd name="connsiteY1135" fmla="*/ 648021 h 6367505"/>
              <a:gd name="connsiteX1136" fmla="*/ 5330712 w 7613003"/>
              <a:gd name="connsiteY1136" fmla="*/ 648021 h 6367505"/>
              <a:gd name="connsiteX1137" fmla="*/ 5372976 w 7613003"/>
              <a:gd name="connsiteY1137" fmla="*/ 648021 h 6367505"/>
              <a:gd name="connsiteX1138" fmla="*/ 5556124 w 7613003"/>
              <a:gd name="connsiteY1138" fmla="*/ 676196 h 6367505"/>
              <a:gd name="connsiteX1139" fmla="*/ 5584299 w 7613003"/>
              <a:gd name="connsiteY1139" fmla="*/ 690283 h 6367505"/>
              <a:gd name="connsiteX1140" fmla="*/ 5612477 w 7613003"/>
              <a:gd name="connsiteY1140" fmla="*/ 690283 h 6367505"/>
              <a:gd name="connsiteX1141" fmla="*/ 5626565 w 7613003"/>
              <a:gd name="connsiteY1141" fmla="*/ 690283 h 6367505"/>
              <a:gd name="connsiteX1142" fmla="*/ 5654741 w 7613003"/>
              <a:gd name="connsiteY1142" fmla="*/ 704370 h 6367505"/>
              <a:gd name="connsiteX1143" fmla="*/ 5668829 w 7613003"/>
              <a:gd name="connsiteY1143" fmla="*/ 704370 h 6367505"/>
              <a:gd name="connsiteX1144" fmla="*/ 5682917 w 7613003"/>
              <a:gd name="connsiteY1144" fmla="*/ 704370 h 6367505"/>
              <a:gd name="connsiteX1145" fmla="*/ 5739270 w 7613003"/>
              <a:gd name="connsiteY1145" fmla="*/ 718457 h 6367505"/>
              <a:gd name="connsiteX1146" fmla="*/ 5767447 w 7613003"/>
              <a:gd name="connsiteY1146" fmla="*/ 746632 h 6367505"/>
              <a:gd name="connsiteX1147" fmla="*/ 5809711 w 7613003"/>
              <a:gd name="connsiteY1147" fmla="*/ 760719 h 6367505"/>
              <a:gd name="connsiteX1148" fmla="*/ 5781535 w 7613003"/>
              <a:gd name="connsiteY1148" fmla="*/ 760719 h 6367505"/>
              <a:gd name="connsiteX1149" fmla="*/ 5767447 w 7613003"/>
              <a:gd name="connsiteY1149" fmla="*/ 760719 h 6367505"/>
              <a:gd name="connsiteX1150" fmla="*/ 5781535 w 7613003"/>
              <a:gd name="connsiteY1150" fmla="*/ 774808 h 6367505"/>
              <a:gd name="connsiteX1151" fmla="*/ 5809711 w 7613003"/>
              <a:gd name="connsiteY1151" fmla="*/ 774808 h 6367505"/>
              <a:gd name="connsiteX1152" fmla="*/ 5866064 w 7613003"/>
              <a:gd name="connsiteY1152" fmla="*/ 802983 h 6367505"/>
              <a:gd name="connsiteX1153" fmla="*/ 5880153 w 7613003"/>
              <a:gd name="connsiteY1153" fmla="*/ 802983 h 6367505"/>
              <a:gd name="connsiteX1154" fmla="*/ 5894240 w 7613003"/>
              <a:gd name="connsiteY1154" fmla="*/ 802983 h 6367505"/>
              <a:gd name="connsiteX1155" fmla="*/ 5978770 w 7613003"/>
              <a:gd name="connsiteY1155" fmla="*/ 845244 h 6367505"/>
              <a:gd name="connsiteX1156" fmla="*/ 6063299 w 7613003"/>
              <a:gd name="connsiteY1156" fmla="*/ 887506 h 6367505"/>
              <a:gd name="connsiteX1157" fmla="*/ 6077388 w 7613003"/>
              <a:gd name="connsiteY1157" fmla="*/ 901594 h 6367505"/>
              <a:gd name="connsiteX1158" fmla="*/ 6077388 w 7613003"/>
              <a:gd name="connsiteY1158" fmla="*/ 887506 h 6367505"/>
              <a:gd name="connsiteX1159" fmla="*/ 6063299 w 7613003"/>
              <a:gd name="connsiteY1159" fmla="*/ 873419 h 6367505"/>
              <a:gd name="connsiteX1160" fmla="*/ 6119652 w 7613003"/>
              <a:gd name="connsiteY1160" fmla="*/ 901594 h 6367505"/>
              <a:gd name="connsiteX1161" fmla="*/ 6190093 w 7613003"/>
              <a:gd name="connsiteY1161" fmla="*/ 943856 h 6367505"/>
              <a:gd name="connsiteX1162" fmla="*/ 6260535 w 7613003"/>
              <a:gd name="connsiteY1162" fmla="*/ 986119 h 6367505"/>
              <a:gd name="connsiteX1163" fmla="*/ 6274622 w 7613003"/>
              <a:gd name="connsiteY1163" fmla="*/ 986119 h 6367505"/>
              <a:gd name="connsiteX1164" fmla="*/ 6260535 w 7613003"/>
              <a:gd name="connsiteY1164" fmla="*/ 986119 h 6367505"/>
              <a:gd name="connsiteX1165" fmla="*/ 6190093 w 7613003"/>
              <a:gd name="connsiteY1165" fmla="*/ 943856 h 6367505"/>
              <a:gd name="connsiteX1166" fmla="*/ 6232358 w 7613003"/>
              <a:gd name="connsiteY1166" fmla="*/ 957944 h 6367505"/>
              <a:gd name="connsiteX1167" fmla="*/ 6302799 w 7613003"/>
              <a:gd name="connsiteY1167" fmla="*/ 1000206 h 6367505"/>
              <a:gd name="connsiteX1168" fmla="*/ 6316888 w 7613003"/>
              <a:gd name="connsiteY1168" fmla="*/ 1014293 h 6367505"/>
              <a:gd name="connsiteX1169" fmla="*/ 6359152 w 7613003"/>
              <a:gd name="connsiteY1169" fmla="*/ 1042468 h 6367505"/>
              <a:gd name="connsiteX1170" fmla="*/ 6457770 w 7613003"/>
              <a:gd name="connsiteY1170" fmla="*/ 1112904 h 6367505"/>
              <a:gd name="connsiteX1171" fmla="*/ 6542298 w 7613003"/>
              <a:gd name="connsiteY1171" fmla="*/ 1169255 h 6367505"/>
              <a:gd name="connsiteX1172" fmla="*/ 6556387 w 7613003"/>
              <a:gd name="connsiteY1172" fmla="*/ 1183342 h 6367505"/>
              <a:gd name="connsiteX1173" fmla="*/ 6655004 w 7613003"/>
              <a:gd name="connsiteY1173" fmla="*/ 1267866 h 6367505"/>
              <a:gd name="connsiteX1174" fmla="*/ 6683181 w 7613003"/>
              <a:gd name="connsiteY1174" fmla="*/ 1281953 h 6367505"/>
              <a:gd name="connsiteX1175" fmla="*/ 6697269 w 7613003"/>
              <a:gd name="connsiteY1175" fmla="*/ 1296041 h 6367505"/>
              <a:gd name="connsiteX1176" fmla="*/ 6711357 w 7613003"/>
              <a:gd name="connsiteY1176" fmla="*/ 1324216 h 6367505"/>
              <a:gd name="connsiteX1177" fmla="*/ 6711357 w 7613003"/>
              <a:gd name="connsiteY1177" fmla="*/ 1310129 h 6367505"/>
              <a:gd name="connsiteX1178" fmla="*/ 6739534 w 7613003"/>
              <a:gd name="connsiteY1178" fmla="*/ 1324216 h 6367505"/>
              <a:gd name="connsiteX1179" fmla="*/ 6781799 w 7613003"/>
              <a:gd name="connsiteY1179" fmla="*/ 1394653 h 6367505"/>
              <a:gd name="connsiteX1180" fmla="*/ 6852240 w 7613003"/>
              <a:gd name="connsiteY1180" fmla="*/ 1451002 h 6367505"/>
              <a:gd name="connsiteX1181" fmla="*/ 6880416 w 7613003"/>
              <a:gd name="connsiteY1181" fmla="*/ 1493265 h 6367505"/>
              <a:gd name="connsiteX1182" fmla="*/ 6894505 w 7613003"/>
              <a:gd name="connsiteY1182" fmla="*/ 1507353 h 6367505"/>
              <a:gd name="connsiteX1183" fmla="*/ 6922681 w 7613003"/>
              <a:gd name="connsiteY1183" fmla="*/ 1535527 h 6367505"/>
              <a:gd name="connsiteX1184" fmla="*/ 6866328 w 7613003"/>
              <a:gd name="connsiteY1184" fmla="*/ 1493265 h 6367505"/>
              <a:gd name="connsiteX1185" fmla="*/ 6894505 w 7613003"/>
              <a:gd name="connsiteY1185" fmla="*/ 1535527 h 6367505"/>
              <a:gd name="connsiteX1186" fmla="*/ 6908593 w 7613003"/>
              <a:gd name="connsiteY1186" fmla="*/ 1549614 h 6367505"/>
              <a:gd name="connsiteX1187" fmla="*/ 6901548 w 7613003"/>
              <a:gd name="connsiteY1187" fmla="*/ 1549614 h 6367505"/>
              <a:gd name="connsiteX1188" fmla="*/ 6894505 w 7613003"/>
              <a:gd name="connsiteY1188" fmla="*/ 1549614 h 6367505"/>
              <a:gd name="connsiteX1189" fmla="*/ 6880416 w 7613003"/>
              <a:gd name="connsiteY1189" fmla="*/ 1535527 h 6367505"/>
              <a:gd name="connsiteX1190" fmla="*/ 6809975 w 7613003"/>
              <a:gd name="connsiteY1190" fmla="*/ 1451002 h 6367505"/>
              <a:gd name="connsiteX1191" fmla="*/ 6795887 w 7613003"/>
              <a:gd name="connsiteY1191" fmla="*/ 1451002 h 6367505"/>
              <a:gd name="connsiteX1192" fmla="*/ 6767710 w 7613003"/>
              <a:gd name="connsiteY1192" fmla="*/ 1422828 h 6367505"/>
              <a:gd name="connsiteX1193" fmla="*/ 6753622 w 7613003"/>
              <a:gd name="connsiteY1193" fmla="*/ 1408740 h 6367505"/>
              <a:gd name="connsiteX1194" fmla="*/ 6612740 w 7613003"/>
              <a:gd name="connsiteY1194" fmla="*/ 1281953 h 6367505"/>
              <a:gd name="connsiteX1195" fmla="*/ 6612740 w 7613003"/>
              <a:gd name="connsiteY1195" fmla="*/ 1296041 h 6367505"/>
              <a:gd name="connsiteX1196" fmla="*/ 6669093 w 7613003"/>
              <a:gd name="connsiteY1196" fmla="*/ 1352391 h 6367505"/>
              <a:gd name="connsiteX1197" fmla="*/ 6725446 w 7613003"/>
              <a:gd name="connsiteY1197" fmla="*/ 1394653 h 6367505"/>
              <a:gd name="connsiteX1198" fmla="*/ 6739534 w 7613003"/>
              <a:gd name="connsiteY1198" fmla="*/ 1408740 h 6367505"/>
              <a:gd name="connsiteX1199" fmla="*/ 6824063 w 7613003"/>
              <a:gd name="connsiteY1199" fmla="*/ 1507353 h 6367505"/>
              <a:gd name="connsiteX1200" fmla="*/ 6838152 w 7613003"/>
              <a:gd name="connsiteY1200" fmla="*/ 1521440 h 6367505"/>
              <a:gd name="connsiteX1201" fmla="*/ 6866328 w 7613003"/>
              <a:gd name="connsiteY1201" fmla="*/ 1535527 h 6367505"/>
              <a:gd name="connsiteX1202" fmla="*/ 6880416 w 7613003"/>
              <a:gd name="connsiteY1202" fmla="*/ 1563702 h 6367505"/>
              <a:gd name="connsiteX1203" fmla="*/ 6936769 w 7613003"/>
              <a:gd name="connsiteY1203" fmla="*/ 1605964 h 6367505"/>
              <a:gd name="connsiteX1204" fmla="*/ 6979034 w 7613003"/>
              <a:gd name="connsiteY1204" fmla="*/ 1676401 h 6367505"/>
              <a:gd name="connsiteX1205" fmla="*/ 7007211 w 7613003"/>
              <a:gd name="connsiteY1205" fmla="*/ 1704576 h 6367505"/>
              <a:gd name="connsiteX1206" fmla="*/ 7021298 w 7613003"/>
              <a:gd name="connsiteY1206" fmla="*/ 1718663 h 6367505"/>
              <a:gd name="connsiteX1207" fmla="*/ 7035386 w 7613003"/>
              <a:gd name="connsiteY1207" fmla="*/ 1732751 h 6367505"/>
              <a:gd name="connsiteX1208" fmla="*/ 7035386 w 7613003"/>
              <a:gd name="connsiteY1208" fmla="*/ 1746838 h 6367505"/>
              <a:gd name="connsiteX1209" fmla="*/ 7049475 w 7613003"/>
              <a:gd name="connsiteY1209" fmla="*/ 1760925 h 6367505"/>
              <a:gd name="connsiteX1210" fmla="*/ 7091739 w 7613003"/>
              <a:gd name="connsiteY1210" fmla="*/ 1817276 h 6367505"/>
              <a:gd name="connsiteX1211" fmla="*/ 7105828 w 7613003"/>
              <a:gd name="connsiteY1211" fmla="*/ 1845450 h 6367505"/>
              <a:gd name="connsiteX1212" fmla="*/ 7134004 w 7613003"/>
              <a:gd name="connsiteY1212" fmla="*/ 1887712 h 6367505"/>
              <a:gd name="connsiteX1213" fmla="*/ 7134004 w 7613003"/>
              <a:gd name="connsiteY1213" fmla="*/ 1901800 h 6367505"/>
              <a:gd name="connsiteX1214" fmla="*/ 7190357 w 7613003"/>
              <a:gd name="connsiteY1214" fmla="*/ 1986323 h 6367505"/>
              <a:gd name="connsiteX1215" fmla="*/ 7218534 w 7613003"/>
              <a:gd name="connsiteY1215" fmla="*/ 2042674 h 6367505"/>
              <a:gd name="connsiteX1216" fmla="*/ 7232621 w 7613003"/>
              <a:gd name="connsiteY1216" fmla="*/ 2056761 h 6367505"/>
              <a:gd name="connsiteX1217" fmla="*/ 7232621 w 7613003"/>
              <a:gd name="connsiteY1217" fmla="*/ 2070849 h 6367505"/>
              <a:gd name="connsiteX1218" fmla="*/ 7232621 w 7613003"/>
              <a:gd name="connsiteY1218" fmla="*/ 2084936 h 6367505"/>
              <a:gd name="connsiteX1219" fmla="*/ 7246710 w 7613003"/>
              <a:gd name="connsiteY1219" fmla="*/ 2099023 h 6367505"/>
              <a:gd name="connsiteX1220" fmla="*/ 7246710 w 7613003"/>
              <a:gd name="connsiteY1220" fmla="*/ 2113110 h 6367505"/>
              <a:gd name="connsiteX1221" fmla="*/ 7288974 w 7613003"/>
              <a:gd name="connsiteY1221" fmla="*/ 2169459 h 6367505"/>
              <a:gd name="connsiteX1222" fmla="*/ 7303063 w 7613003"/>
              <a:gd name="connsiteY1222" fmla="*/ 2225810 h 6367505"/>
              <a:gd name="connsiteX1223" fmla="*/ 7317151 w 7613003"/>
              <a:gd name="connsiteY1223" fmla="*/ 2225810 h 6367505"/>
              <a:gd name="connsiteX1224" fmla="*/ 7331240 w 7613003"/>
              <a:gd name="connsiteY1224" fmla="*/ 2268072 h 6367505"/>
              <a:gd name="connsiteX1225" fmla="*/ 7317151 w 7613003"/>
              <a:gd name="connsiteY1225" fmla="*/ 2282159 h 6367505"/>
              <a:gd name="connsiteX1226" fmla="*/ 7331240 w 7613003"/>
              <a:gd name="connsiteY1226" fmla="*/ 2296246 h 6367505"/>
              <a:gd name="connsiteX1227" fmla="*/ 7331240 w 7613003"/>
              <a:gd name="connsiteY1227" fmla="*/ 2310334 h 6367505"/>
              <a:gd name="connsiteX1228" fmla="*/ 7359416 w 7613003"/>
              <a:gd name="connsiteY1228" fmla="*/ 2408946 h 6367505"/>
              <a:gd name="connsiteX1229" fmla="*/ 7373504 w 7613003"/>
              <a:gd name="connsiteY1229" fmla="*/ 2408946 h 6367505"/>
              <a:gd name="connsiteX1230" fmla="*/ 7373504 w 7613003"/>
              <a:gd name="connsiteY1230" fmla="*/ 2437121 h 6367505"/>
              <a:gd name="connsiteX1231" fmla="*/ 7373504 w 7613003"/>
              <a:gd name="connsiteY1231" fmla="*/ 2465295 h 6367505"/>
              <a:gd name="connsiteX1232" fmla="*/ 7387591 w 7613003"/>
              <a:gd name="connsiteY1232" fmla="*/ 2521646 h 6367505"/>
              <a:gd name="connsiteX1233" fmla="*/ 7373504 w 7613003"/>
              <a:gd name="connsiteY1233" fmla="*/ 2479383 h 6367505"/>
              <a:gd name="connsiteX1234" fmla="*/ 7359416 w 7613003"/>
              <a:gd name="connsiteY1234" fmla="*/ 2451208 h 6367505"/>
              <a:gd name="connsiteX1235" fmla="*/ 7345327 w 7613003"/>
              <a:gd name="connsiteY1235" fmla="*/ 2423033 h 6367505"/>
              <a:gd name="connsiteX1236" fmla="*/ 7331240 w 7613003"/>
              <a:gd name="connsiteY1236" fmla="*/ 2380771 h 6367505"/>
              <a:gd name="connsiteX1237" fmla="*/ 7303063 w 7613003"/>
              <a:gd name="connsiteY1237" fmla="*/ 2310334 h 6367505"/>
              <a:gd name="connsiteX1238" fmla="*/ 7317151 w 7613003"/>
              <a:gd name="connsiteY1238" fmla="*/ 2352596 h 6367505"/>
              <a:gd name="connsiteX1239" fmla="*/ 7317151 w 7613003"/>
              <a:gd name="connsiteY1239" fmla="*/ 2366684 h 6367505"/>
              <a:gd name="connsiteX1240" fmla="*/ 7303063 w 7613003"/>
              <a:gd name="connsiteY1240" fmla="*/ 2352596 h 6367505"/>
              <a:gd name="connsiteX1241" fmla="*/ 7303063 w 7613003"/>
              <a:gd name="connsiteY1241" fmla="*/ 2338508 h 6367505"/>
              <a:gd name="connsiteX1242" fmla="*/ 7260798 w 7613003"/>
              <a:gd name="connsiteY1242" fmla="*/ 2225810 h 6367505"/>
              <a:gd name="connsiteX1243" fmla="*/ 7218534 w 7613003"/>
              <a:gd name="connsiteY1243" fmla="*/ 2155372 h 6367505"/>
              <a:gd name="connsiteX1244" fmla="*/ 7232621 w 7613003"/>
              <a:gd name="connsiteY1244" fmla="*/ 2211723 h 6367505"/>
              <a:gd name="connsiteX1245" fmla="*/ 7274887 w 7613003"/>
              <a:gd name="connsiteY1245" fmla="*/ 2296246 h 6367505"/>
              <a:gd name="connsiteX1246" fmla="*/ 7303063 w 7613003"/>
              <a:gd name="connsiteY1246" fmla="*/ 2352596 h 6367505"/>
              <a:gd name="connsiteX1247" fmla="*/ 7303063 w 7613003"/>
              <a:gd name="connsiteY1247" fmla="*/ 2380771 h 6367505"/>
              <a:gd name="connsiteX1248" fmla="*/ 7317151 w 7613003"/>
              <a:gd name="connsiteY1248" fmla="*/ 2394859 h 6367505"/>
              <a:gd name="connsiteX1249" fmla="*/ 7331240 w 7613003"/>
              <a:gd name="connsiteY1249" fmla="*/ 2451208 h 6367505"/>
              <a:gd name="connsiteX1250" fmla="*/ 7331240 w 7613003"/>
              <a:gd name="connsiteY1250" fmla="*/ 2465295 h 6367505"/>
              <a:gd name="connsiteX1251" fmla="*/ 7345327 w 7613003"/>
              <a:gd name="connsiteY1251" fmla="*/ 2479383 h 6367505"/>
              <a:gd name="connsiteX1252" fmla="*/ 7373504 w 7613003"/>
              <a:gd name="connsiteY1252" fmla="*/ 2549821 h 6367505"/>
              <a:gd name="connsiteX1253" fmla="*/ 7373504 w 7613003"/>
              <a:gd name="connsiteY1253" fmla="*/ 2563908 h 6367505"/>
              <a:gd name="connsiteX1254" fmla="*/ 7387591 w 7613003"/>
              <a:gd name="connsiteY1254" fmla="*/ 2563908 h 6367505"/>
              <a:gd name="connsiteX1255" fmla="*/ 7387591 w 7613003"/>
              <a:gd name="connsiteY1255" fmla="*/ 2577995 h 6367505"/>
              <a:gd name="connsiteX1256" fmla="*/ 7387591 w 7613003"/>
              <a:gd name="connsiteY1256" fmla="*/ 2592082 h 6367505"/>
              <a:gd name="connsiteX1257" fmla="*/ 7401680 w 7613003"/>
              <a:gd name="connsiteY1257" fmla="*/ 2620257 h 6367505"/>
              <a:gd name="connsiteX1258" fmla="*/ 7401680 w 7613003"/>
              <a:gd name="connsiteY1258" fmla="*/ 2634344 h 6367505"/>
              <a:gd name="connsiteX1259" fmla="*/ 7415769 w 7613003"/>
              <a:gd name="connsiteY1259" fmla="*/ 2676606 h 6367505"/>
              <a:gd name="connsiteX1260" fmla="*/ 7401680 w 7613003"/>
              <a:gd name="connsiteY1260" fmla="*/ 2662519 h 6367505"/>
              <a:gd name="connsiteX1261" fmla="*/ 7401680 w 7613003"/>
              <a:gd name="connsiteY1261" fmla="*/ 2690693 h 6367505"/>
              <a:gd name="connsiteX1262" fmla="*/ 7387591 w 7613003"/>
              <a:gd name="connsiteY1262" fmla="*/ 2662519 h 6367505"/>
              <a:gd name="connsiteX1263" fmla="*/ 7373504 w 7613003"/>
              <a:gd name="connsiteY1263" fmla="*/ 2620257 h 6367505"/>
              <a:gd name="connsiteX1264" fmla="*/ 7359416 w 7613003"/>
              <a:gd name="connsiteY1264" fmla="*/ 2577995 h 6367505"/>
              <a:gd name="connsiteX1265" fmla="*/ 7345327 w 7613003"/>
              <a:gd name="connsiteY1265" fmla="*/ 2535733 h 6367505"/>
              <a:gd name="connsiteX1266" fmla="*/ 7317151 w 7613003"/>
              <a:gd name="connsiteY1266" fmla="*/ 2451208 h 6367505"/>
              <a:gd name="connsiteX1267" fmla="*/ 7317151 w 7613003"/>
              <a:gd name="connsiteY1267" fmla="*/ 2423033 h 6367505"/>
              <a:gd name="connsiteX1268" fmla="*/ 7303063 w 7613003"/>
              <a:gd name="connsiteY1268" fmla="*/ 2423033 h 6367505"/>
              <a:gd name="connsiteX1269" fmla="*/ 7303063 w 7613003"/>
              <a:gd name="connsiteY1269" fmla="*/ 2394859 h 6367505"/>
              <a:gd name="connsiteX1270" fmla="*/ 7260798 w 7613003"/>
              <a:gd name="connsiteY1270" fmla="*/ 2324421 h 6367505"/>
              <a:gd name="connsiteX1271" fmla="*/ 7232621 w 7613003"/>
              <a:gd name="connsiteY1271" fmla="*/ 2239897 h 6367505"/>
              <a:gd name="connsiteX1272" fmla="*/ 7232621 w 7613003"/>
              <a:gd name="connsiteY1272" fmla="*/ 2253985 h 6367505"/>
              <a:gd name="connsiteX1273" fmla="*/ 7176268 w 7613003"/>
              <a:gd name="connsiteY1273" fmla="*/ 2169459 h 6367505"/>
              <a:gd name="connsiteX1274" fmla="*/ 7190357 w 7613003"/>
              <a:gd name="connsiteY1274" fmla="*/ 2197635 h 6367505"/>
              <a:gd name="connsiteX1275" fmla="*/ 7218534 w 7613003"/>
              <a:gd name="connsiteY1275" fmla="*/ 2253985 h 6367505"/>
              <a:gd name="connsiteX1276" fmla="*/ 7218534 w 7613003"/>
              <a:gd name="connsiteY1276" fmla="*/ 2268072 h 6367505"/>
              <a:gd name="connsiteX1277" fmla="*/ 7246710 w 7613003"/>
              <a:gd name="connsiteY1277" fmla="*/ 2324421 h 6367505"/>
              <a:gd name="connsiteX1278" fmla="*/ 7246710 w 7613003"/>
              <a:gd name="connsiteY1278" fmla="*/ 2352596 h 6367505"/>
              <a:gd name="connsiteX1279" fmla="*/ 7232621 w 7613003"/>
              <a:gd name="connsiteY1279" fmla="*/ 2324421 h 6367505"/>
              <a:gd name="connsiteX1280" fmla="*/ 7232621 w 7613003"/>
              <a:gd name="connsiteY1280" fmla="*/ 2338508 h 6367505"/>
              <a:gd name="connsiteX1281" fmla="*/ 7204445 w 7613003"/>
              <a:gd name="connsiteY1281" fmla="*/ 2282159 h 6367505"/>
              <a:gd name="connsiteX1282" fmla="*/ 7190357 w 7613003"/>
              <a:gd name="connsiteY1282" fmla="*/ 2239897 h 6367505"/>
              <a:gd name="connsiteX1283" fmla="*/ 7176268 w 7613003"/>
              <a:gd name="connsiteY1283" fmla="*/ 2197635 h 6367505"/>
              <a:gd name="connsiteX1284" fmla="*/ 7162181 w 7613003"/>
              <a:gd name="connsiteY1284" fmla="*/ 2183548 h 6367505"/>
              <a:gd name="connsiteX1285" fmla="*/ 7176268 w 7613003"/>
              <a:gd name="connsiteY1285" fmla="*/ 2225810 h 6367505"/>
              <a:gd name="connsiteX1286" fmla="*/ 7190357 w 7613003"/>
              <a:gd name="connsiteY1286" fmla="*/ 2296246 h 6367505"/>
              <a:gd name="connsiteX1287" fmla="*/ 7204445 w 7613003"/>
              <a:gd name="connsiteY1287" fmla="*/ 2310334 h 6367505"/>
              <a:gd name="connsiteX1288" fmla="*/ 7204445 w 7613003"/>
              <a:gd name="connsiteY1288" fmla="*/ 2324421 h 6367505"/>
              <a:gd name="connsiteX1289" fmla="*/ 7246710 w 7613003"/>
              <a:gd name="connsiteY1289" fmla="*/ 2408946 h 6367505"/>
              <a:gd name="connsiteX1290" fmla="*/ 7274887 w 7613003"/>
              <a:gd name="connsiteY1290" fmla="*/ 2479383 h 6367505"/>
              <a:gd name="connsiteX1291" fmla="*/ 7288974 w 7613003"/>
              <a:gd name="connsiteY1291" fmla="*/ 2493470 h 6367505"/>
              <a:gd name="connsiteX1292" fmla="*/ 7288974 w 7613003"/>
              <a:gd name="connsiteY1292" fmla="*/ 2521646 h 6367505"/>
              <a:gd name="connsiteX1293" fmla="*/ 7317151 w 7613003"/>
              <a:gd name="connsiteY1293" fmla="*/ 2606170 h 6367505"/>
              <a:gd name="connsiteX1294" fmla="*/ 7331240 w 7613003"/>
              <a:gd name="connsiteY1294" fmla="*/ 2648431 h 6367505"/>
              <a:gd name="connsiteX1295" fmla="*/ 7345327 w 7613003"/>
              <a:gd name="connsiteY1295" fmla="*/ 2690693 h 6367505"/>
              <a:gd name="connsiteX1296" fmla="*/ 7331240 w 7613003"/>
              <a:gd name="connsiteY1296" fmla="*/ 2662519 h 6367505"/>
              <a:gd name="connsiteX1297" fmla="*/ 7303063 w 7613003"/>
              <a:gd name="connsiteY1297" fmla="*/ 2620257 h 6367505"/>
              <a:gd name="connsiteX1298" fmla="*/ 7303063 w 7613003"/>
              <a:gd name="connsiteY1298" fmla="*/ 2606170 h 6367505"/>
              <a:gd name="connsiteX1299" fmla="*/ 7303063 w 7613003"/>
              <a:gd name="connsiteY1299" fmla="*/ 2592082 h 6367505"/>
              <a:gd name="connsiteX1300" fmla="*/ 7288974 w 7613003"/>
              <a:gd name="connsiteY1300" fmla="*/ 2577995 h 6367505"/>
              <a:gd name="connsiteX1301" fmla="*/ 7288974 w 7613003"/>
              <a:gd name="connsiteY1301" fmla="*/ 2563908 h 6367505"/>
              <a:gd name="connsiteX1302" fmla="*/ 7288974 w 7613003"/>
              <a:gd name="connsiteY1302" fmla="*/ 2549821 h 6367505"/>
              <a:gd name="connsiteX1303" fmla="*/ 7274887 w 7613003"/>
              <a:gd name="connsiteY1303" fmla="*/ 2549821 h 6367505"/>
              <a:gd name="connsiteX1304" fmla="*/ 7288974 w 7613003"/>
              <a:gd name="connsiteY1304" fmla="*/ 2606170 h 6367505"/>
              <a:gd name="connsiteX1305" fmla="*/ 7303063 w 7613003"/>
              <a:gd name="connsiteY1305" fmla="*/ 2634344 h 6367505"/>
              <a:gd name="connsiteX1306" fmla="*/ 7331240 w 7613003"/>
              <a:gd name="connsiteY1306" fmla="*/ 2704782 h 6367505"/>
              <a:gd name="connsiteX1307" fmla="*/ 7345327 w 7613003"/>
              <a:gd name="connsiteY1307" fmla="*/ 2761131 h 6367505"/>
              <a:gd name="connsiteX1308" fmla="*/ 7345327 w 7613003"/>
              <a:gd name="connsiteY1308" fmla="*/ 2775218 h 6367505"/>
              <a:gd name="connsiteX1309" fmla="*/ 7345327 w 7613003"/>
              <a:gd name="connsiteY1309" fmla="*/ 2789306 h 6367505"/>
              <a:gd name="connsiteX1310" fmla="*/ 7303063 w 7613003"/>
              <a:gd name="connsiteY1310" fmla="*/ 2690693 h 6367505"/>
              <a:gd name="connsiteX1311" fmla="*/ 7288974 w 7613003"/>
              <a:gd name="connsiteY1311" fmla="*/ 2648431 h 6367505"/>
              <a:gd name="connsiteX1312" fmla="*/ 7274887 w 7613003"/>
              <a:gd name="connsiteY1312" fmla="*/ 2592082 h 6367505"/>
              <a:gd name="connsiteX1313" fmla="*/ 7232621 w 7613003"/>
              <a:gd name="connsiteY1313" fmla="*/ 2479383 h 6367505"/>
              <a:gd name="connsiteX1314" fmla="*/ 7204445 w 7613003"/>
              <a:gd name="connsiteY1314" fmla="*/ 2408946 h 6367505"/>
              <a:gd name="connsiteX1315" fmla="*/ 7190357 w 7613003"/>
              <a:gd name="connsiteY1315" fmla="*/ 2394859 h 6367505"/>
              <a:gd name="connsiteX1316" fmla="*/ 7162181 w 7613003"/>
              <a:gd name="connsiteY1316" fmla="*/ 2352596 h 6367505"/>
              <a:gd name="connsiteX1317" fmla="*/ 7162181 w 7613003"/>
              <a:gd name="connsiteY1317" fmla="*/ 2324421 h 6367505"/>
              <a:gd name="connsiteX1318" fmla="*/ 7148092 w 7613003"/>
              <a:gd name="connsiteY1318" fmla="*/ 2324421 h 6367505"/>
              <a:gd name="connsiteX1319" fmla="*/ 7148092 w 7613003"/>
              <a:gd name="connsiteY1319" fmla="*/ 2310334 h 6367505"/>
              <a:gd name="connsiteX1320" fmla="*/ 7119917 w 7613003"/>
              <a:gd name="connsiteY1320" fmla="*/ 2253985 h 6367505"/>
              <a:gd name="connsiteX1321" fmla="*/ 7077651 w 7613003"/>
              <a:gd name="connsiteY1321" fmla="*/ 2183548 h 6367505"/>
              <a:gd name="connsiteX1322" fmla="*/ 7063564 w 7613003"/>
              <a:gd name="connsiteY1322" fmla="*/ 2169459 h 6367505"/>
              <a:gd name="connsiteX1323" fmla="*/ 7049475 w 7613003"/>
              <a:gd name="connsiteY1323" fmla="*/ 2127198 h 6367505"/>
              <a:gd name="connsiteX1324" fmla="*/ 7021298 w 7613003"/>
              <a:gd name="connsiteY1324" fmla="*/ 2099023 h 6367505"/>
              <a:gd name="connsiteX1325" fmla="*/ 6979034 w 7613003"/>
              <a:gd name="connsiteY1325" fmla="*/ 2042674 h 6367505"/>
              <a:gd name="connsiteX1326" fmla="*/ 6979034 w 7613003"/>
              <a:gd name="connsiteY1326" fmla="*/ 2028587 h 6367505"/>
              <a:gd name="connsiteX1327" fmla="*/ 6936769 w 7613003"/>
              <a:gd name="connsiteY1327" fmla="*/ 1986323 h 6367505"/>
              <a:gd name="connsiteX1328" fmla="*/ 6936769 w 7613003"/>
              <a:gd name="connsiteY1328" fmla="*/ 2000412 h 6367505"/>
              <a:gd name="connsiteX1329" fmla="*/ 6950858 w 7613003"/>
              <a:gd name="connsiteY1329" fmla="*/ 2014499 h 6367505"/>
              <a:gd name="connsiteX1330" fmla="*/ 6964945 w 7613003"/>
              <a:gd name="connsiteY1330" fmla="*/ 2042674 h 6367505"/>
              <a:gd name="connsiteX1331" fmla="*/ 6979034 w 7613003"/>
              <a:gd name="connsiteY1331" fmla="*/ 2056761 h 6367505"/>
              <a:gd name="connsiteX1332" fmla="*/ 7021298 w 7613003"/>
              <a:gd name="connsiteY1332" fmla="*/ 2127198 h 6367505"/>
              <a:gd name="connsiteX1333" fmla="*/ 7035386 w 7613003"/>
              <a:gd name="connsiteY1333" fmla="*/ 2155372 h 6367505"/>
              <a:gd name="connsiteX1334" fmla="*/ 7091739 w 7613003"/>
              <a:gd name="connsiteY1334" fmla="*/ 2253985 h 6367505"/>
              <a:gd name="connsiteX1335" fmla="*/ 7077651 w 7613003"/>
              <a:gd name="connsiteY1335" fmla="*/ 2239897 h 6367505"/>
              <a:gd name="connsiteX1336" fmla="*/ 7021298 w 7613003"/>
              <a:gd name="connsiteY1336" fmla="*/ 2155372 h 6367505"/>
              <a:gd name="connsiteX1337" fmla="*/ 7007211 w 7613003"/>
              <a:gd name="connsiteY1337" fmla="*/ 2141285 h 6367505"/>
              <a:gd name="connsiteX1338" fmla="*/ 7007211 w 7613003"/>
              <a:gd name="connsiteY1338" fmla="*/ 2127198 h 6367505"/>
              <a:gd name="connsiteX1339" fmla="*/ 6993122 w 7613003"/>
              <a:gd name="connsiteY1339" fmla="*/ 2099023 h 6367505"/>
              <a:gd name="connsiteX1340" fmla="*/ 6979034 w 7613003"/>
              <a:gd name="connsiteY1340" fmla="*/ 2084936 h 6367505"/>
              <a:gd name="connsiteX1341" fmla="*/ 6979034 w 7613003"/>
              <a:gd name="connsiteY1341" fmla="*/ 2070849 h 6367505"/>
              <a:gd name="connsiteX1342" fmla="*/ 6964945 w 7613003"/>
              <a:gd name="connsiteY1342" fmla="*/ 2056761 h 6367505"/>
              <a:gd name="connsiteX1343" fmla="*/ 6950858 w 7613003"/>
              <a:gd name="connsiteY1343" fmla="*/ 2042674 h 6367505"/>
              <a:gd name="connsiteX1344" fmla="*/ 6936769 w 7613003"/>
              <a:gd name="connsiteY1344" fmla="*/ 2028587 h 6367505"/>
              <a:gd name="connsiteX1345" fmla="*/ 6936769 w 7613003"/>
              <a:gd name="connsiteY1345" fmla="*/ 2014499 h 6367505"/>
              <a:gd name="connsiteX1346" fmla="*/ 6908593 w 7613003"/>
              <a:gd name="connsiteY1346" fmla="*/ 2000412 h 6367505"/>
              <a:gd name="connsiteX1347" fmla="*/ 6908593 w 7613003"/>
              <a:gd name="connsiteY1347" fmla="*/ 1986323 h 6367505"/>
              <a:gd name="connsiteX1348" fmla="*/ 6866328 w 7613003"/>
              <a:gd name="connsiteY1348" fmla="*/ 1944061 h 6367505"/>
              <a:gd name="connsiteX1349" fmla="*/ 6866328 w 7613003"/>
              <a:gd name="connsiteY1349" fmla="*/ 1929974 h 6367505"/>
              <a:gd name="connsiteX1350" fmla="*/ 6852240 w 7613003"/>
              <a:gd name="connsiteY1350" fmla="*/ 1915887 h 6367505"/>
              <a:gd name="connsiteX1351" fmla="*/ 6809975 w 7613003"/>
              <a:gd name="connsiteY1351" fmla="*/ 1873625 h 6367505"/>
              <a:gd name="connsiteX1352" fmla="*/ 6781799 w 7613003"/>
              <a:gd name="connsiteY1352" fmla="*/ 1831363 h 6367505"/>
              <a:gd name="connsiteX1353" fmla="*/ 6767710 w 7613003"/>
              <a:gd name="connsiteY1353" fmla="*/ 1831363 h 6367505"/>
              <a:gd name="connsiteX1354" fmla="*/ 6753622 w 7613003"/>
              <a:gd name="connsiteY1354" fmla="*/ 1803188 h 6367505"/>
              <a:gd name="connsiteX1355" fmla="*/ 6711357 w 7613003"/>
              <a:gd name="connsiteY1355" fmla="*/ 1760925 h 6367505"/>
              <a:gd name="connsiteX1356" fmla="*/ 6697269 w 7613003"/>
              <a:gd name="connsiteY1356" fmla="*/ 1760925 h 6367505"/>
              <a:gd name="connsiteX1357" fmla="*/ 6697269 w 7613003"/>
              <a:gd name="connsiteY1357" fmla="*/ 1746838 h 6367505"/>
              <a:gd name="connsiteX1358" fmla="*/ 6683181 w 7613003"/>
              <a:gd name="connsiteY1358" fmla="*/ 1732751 h 6367505"/>
              <a:gd name="connsiteX1359" fmla="*/ 6655004 w 7613003"/>
              <a:gd name="connsiteY1359" fmla="*/ 1704576 h 6367505"/>
              <a:gd name="connsiteX1360" fmla="*/ 6640916 w 7613003"/>
              <a:gd name="connsiteY1360" fmla="*/ 1690489 h 6367505"/>
              <a:gd name="connsiteX1361" fmla="*/ 6612740 w 7613003"/>
              <a:gd name="connsiteY1361" fmla="*/ 1676401 h 6367505"/>
              <a:gd name="connsiteX1362" fmla="*/ 6598651 w 7613003"/>
              <a:gd name="connsiteY1362" fmla="*/ 1662314 h 6367505"/>
              <a:gd name="connsiteX1363" fmla="*/ 6598651 w 7613003"/>
              <a:gd name="connsiteY1363" fmla="*/ 1648227 h 6367505"/>
              <a:gd name="connsiteX1364" fmla="*/ 6584563 w 7613003"/>
              <a:gd name="connsiteY1364" fmla="*/ 1648227 h 6367505"/>
              <a:gd name="connsiteX1365" fmla="*/ 6570476 w 7613003"/>
              <a:gd name="connsiteY1365" fmla="*/ 1634138 h 6367505"/>
              <a:gd name="connsiteX1366" fmla="*/ 6556387 w 7613003"/>
              <a:gd name="connsiteY1366" fmla="*/ 1620051 h 6367505"/>
              <a:gd name="connsiteX1367" fmla="*/ 6542298 w 7613003"/>
              <a:gd name="connsiteY1367" fmla="*/ 1605964 h 6367505"/>
              <a:gd name="connsiteX1368" fmla="*/ 6485946 w 7613003"/>
              <a:gd name="connsiteY1368" fmla="*/ 1563702 h 6367505"/>
              <a:gd name="connsiteX1369" fmla="*/ 6457770 w 7613003"/>
              <a:gd name="connsiteY1369" fmla="*/ 1535527 h 6367505"/>
              <a:gd name="connsiteX1370" fmla="*/ 6443681 w 7613003"/>
              <a:gd name="connsiteY1370" fmla="*/ 1535527 h 6367505"/>
              <a:gd name="connsiteX1371" fmla="*/ 6471858 w 7613003"/>
              <a:gd name="connsiteY1371" fmla="*/ 1563702 h 6367505"/>
              <a:gd name="connsiteX1372" fmla="*/ 6471858 w 7613003"/>
              <a:gd name="connsiteY1372" fmla="*/ 1577789 h 6367505"/>
              <a:gd name="connsiteX1373" fmla="*/ 6485946 w 7613003"/>
              <a:gd name="connsiteY1373" fmla="*/ 1591876 h 6367505"/>
              <a:gd name="connsiteX1374" fmla="*/ 6500034 w 7613003"/>
              <a:gd name="connsiteY1374" fmla="*/ 1605964 h 6367505"/>
              <a:gd name="connsiteX1375" fmla="*/ 6514123 w 7613003"/>
              <a:gd name="connsiteY1375" fmla="*/ 1620051 h 6367505"/>
              <a:gd name="connsiteX1376" fmla="*/ 6485946 w 7613003"/>
              <a:gd name="connsiteY1376" fmla="*/ 1605964 h 6367505"/>
              <a:gd name="connsiteX1377" fmla="*/ 6471858 w 7613003"/>
              <a:gd name="connsiteY1377" fmla="*/ 1591876 h 6367505"/>
              <a:gd name="connsiteX1378" fmla="*/ 6457770 w 7613003"/>
              <a:gd name="connsiteY1378" fmla="*/ 1591876 h 6367505"/>
              <a:gd name="connsiteX1379" fmla="*/ 6443681 w 7613003"/>
              <a:gd name="connsiteY1379" fmla="*/ 1563702 h 6367505"/>
              <a:gd name="connsiteX1380" fmla="*/ 6427832 w 7613003"/>
              <a:gd name="connsiteY1380" fmla="*/ 1542571 h 6367505"/>
              <a:gd name="connsiteX1381" fmla="*/ 6414624 w 7613003"/>
              <a:gd name="connsiteY1381" fmla="*/ 1532005 h 6367505"/>
              <a:gd name="connsiteX1382" fmla="*/ 6413744 w 7613003"/>
              <a:gd name="connsiteY1382" fmla="*/ 1528484 h 6367505"/>
              <a:gd name="connsiteX1383" fmla="*/ 6401417 w 7613003"/>
              <a:gd name="connsiteY1383" fmla="*/ 1521440 h 6367505"/>
              <a:gd name="connsiteX1384" fmla="*/ 6387328 w 7613003"/>
              <a:gd name="connsiteY1384" fmla="*/ 1507353 h 6367505"/>
              <a:gd name="connsiteX1385" fmla="*/ 6373240 w 7613003"/>
              <a:gd name="connsiteY1385" fmla="*/ 1507353 h 6367505"/>
              <a:gd name="connsiteX1386" fmla="*/ 6415505 w 7613003"/>
              <a:gd name="connsiteY1386" fmla="*/ 1549614 h 6367505"/>
              <a:gd name="connsiteX1387" fmla="*/ 6330975 w 7613003"/>
              <a:gd name="connsiteY1387" fmla="*/ 1479178 h 6367505"/>
              <a:gd name="connsiteX1388" fmla="*/ 6330975 w 7613003"/>
              <a:gd name="connsiteY1388" fmla="*/ 1465089 h 6367505"/>
              <a:gd name="connsiteX1389" fmla="*/ 6330975 w 7613003"/>
              <a:gd name="connsiteY1389" fmla="*/ 1465089 h 6367505"/>
              <a:gd name="connsiteX1390" fmla="*/ 6316888 w 7613003"/>
              <a:gd name="connsiteY1390" fmla="*/ 1465089 h 6367505"/>
              <a:gd name="connsiteX1391" fmla="*/ 6302799 w 7613003"/>
              <a:gd name="connsiteY1391" fmla="*/ 1451002 h 6367505"/>
              <a:gd name="connsiteX1392" fmla="*/ 6246446 w 7613003"/>
              <a:gd name="connsiteY1392" fmla="*/ 1408740 h 6367505"/>
              <a:gd name="connsiteX1393" fmla="*/ 6239403 w 7613003"/>
              <a:gd name="connsiteY1393" fmla="*/ 1408740 h 6367505"/>
              <a:gd name="connsiteX1394" fmla="*/ 6237641 w 7613003"/>
              <a:gd name="connsiteY1394" fmla="*/ 1408740 h 6367505"/>
              <a:gd name="connsiteX1395" fmla="*/ 6232358 w 7613003"/>
              <a:gd name="connsiteY1395" fmla="*/ 1408740 h 6367505"/>
              <a:gd name="connsiteX1396" fmla="*/ 6204182 w 7613003"/>
              <a:gd name="connsiteY1396" fmla="*/ 1394653 h 6367505"/>
              <a:gd name="connsiteX1397" fmla="*/ 6190093 w 7613003"/>
              <a:gd name="connsiteY1397" fmla="*/ 1380566 h 6367505"/>
              <a:gd name="connsiteX1398" fmla="*/ 6119652 w 7613003"/>
              <a:gd name="connsiteY1398" fmla="*/ 1352391 h 6367505"/>
              <a:gd name="connsiteX1399" fmla="*/ 6105565 w 7613003"/>
              <a:gd name="connsiteY1399" fmla="*/ 1338304 h 6367505"/>
              <a:gd name="connsiteX1400" fmla="*/ 6091476 w 7613003"/>
              <a:gd name="connsiteY1400" fmla="*/ 1324216 h 6367505"/>
              <a:gd name="connsiteX1401" fmla="*/ 6077388 w 7613003"/>
              <a:gd name="connsiteY1401" fmla="*/ 1324216 h 6367505"/>
              <a:gd name="connsiteX1402" fmla="*/ 6077388 w 7613003"/>
              <a:gd name="connsiteY1402" fmla="*/ 1324216 h 6367505"/>
              <a:gd name="connsiteX1403" fmla="*/ 6119652 w 7613003"/>
              <a:gd name="connsiteY1403" fmla="*/ 1366478 h 6367505"/>
              <a:gd name="connsiteX1404" fmla="*/ 6147829 w 7613003"/>
              <a:gd name="connsiteY1404" fmla="*/ 1375282 h 6367505"/>
              <a:gd name="connsiteX1405" fmla="*/ 6155514 w 7613003"/>
              <a:gd name="connsiteY1405" fmla="*/ 1380566 h 6367505"/>
              <a:gd name="connsiteX1406" fmla="*/ 6154873 w 7613003"/>
              <a:gd name="connsiteY1406" fmla="*/ 1380566 h 6367505"/>
              <a:gd name="connsiteX1407" fmla="*/ 6147829 w 7613003"/>
              <a:gd name="connsiteY1407" fmla="*/ 1380566 h 6367505"/>
              <a:gd name="connsiteX1408" fmla="*/ 6161916 w 7613003"/>
              <a:gd name="connsiteY1408" fmla="*/ 1394653 h 6367505"/>
              <a:gd name="connsiteX1409" fmla="*/ 6190093 w 7613003"/>
              <a:gd name="connsiteY1409" fmla="*/ 1422828 h 6367505"/>
              <a:gd name="connsiteX1410" fmla="*/ 6204182 w 7613003"/>
              <a:gd name="connsiteY1410" fmla="*/ 1422828 h 6367505"/>
              <a:gd name="connsiteX1411" fmla="*/ 6260535 w 7613003"/>
              <a:gd name="connsiteY1411" fmla="*/ 1465089 h 6367505"/>
              <a:gd name="connsiteX1412" fmla="*/ 6302799 w 7613003"/>
              <a:gd name="connsiteY1412" fmla="*/ 1493265 h 6367505"/>
              <a:gd name="connsiteX1413" fmla="*/ 6373240 w 7613003"/>
              <a:gd name="connsiteY1413" fmla="*/ 1535527 h 6367505"/>
              <a:gd name="connsiteX1414" fmla="*/ 6387328 w 7613003"/>
              <a:gd name="connsiteY1414" fmla="*/ 1549614 h 6367505"/>
              <a:gd name="connsiteX1415" fmla="*/ 6401417 w 7613003"/>
              <a:gd name="connsiteY1415" fmla="*/ 1563702 h 6367505"/>
              <a:gd name="connsiteX1416" fmla="*/ 6415505 w 7613003"/>
              <a:gd name="connsiteY1416" fmla="*/ 1577789 h 6367505"/>
              <a:gd name="connsiteX1417" fmla="*/ 6401417 w 7613003"/>
              <a:gd name="connsiteY1417" fmla="*/ 1577789 h 6367505"/>
              <a:gd name="connsiteX1418" fmla="*/ 6429593 w 7613003"/>
              <a:gd name="connsiteY1418" fmla="*/ 1605964 h 6367505"/>
              <a:gd name="connsiteX1419" fmla="*/ 6443681 w 7613003"/>
              <a:gd name="connsiteY1419" fmla="*/ 1620051 h 6367505"/>
              <a:gd name="connsiteX1420" fmla="*/ 6457770 w 7613003"/>
              <a:gd name="connsiteY1420" fmla="*/ 1620051 h 6367505"/>
              <a:gd name="connsiteX1421" fmla="*/ 6485946 w 7613003"/>
              <a:gd name="connsiteY1421" fmla="*/ 1648227 h 6367505"/>
              <a:gd name="connsiteX1422" fmla="*/ 6528211 w 7613003"/>
              <a:gd name="connsiteY1422" fmla="*/ 1690489 h 6367505"/>
              <a:gd name="connsiteX1423" fmla="*/ 6528211 w 7613003"/>
              <a:gd name="connsiteY1423" fmla="*/ 1704576 h 6367505"/>
              <a:gd name="connsiteX1424" fmla="*/ 6471858 w 7613003"/>
              <a:gd name="connsiteY1424" fmla="*/ 1648227 h 6367505"/>
              <a:gd name="connsiteX1425" fmla="*/ 6500034 w 7613003"/>
              <a:gd name="connsiteY1425" fmla="*/ 1690489 h 6367505"/>
              <a:gd name="connsiteX1426" fmla="*/ 6514123 w 7613003"/>
              <a:gd name="connsiteY1426" fmla="*/ 1704576 h 6367505"/>
              <a:gd name="connsiteX1427" fmla="*/ 6500034 w 7613003"/>
              <a:gd name="connsiteY1427" fmla="*/ 1704576 h 6367505"/>
              <a:gd name="connsiteX1428" fmla="*/ 6542298 w 7613003"/>
              <a:gd name="connsiteY1428" fmla="*/ 1732751 h 6367505"/>
              <a:gd name="connsiteX1429" fmla="*/ 6598651 w 7613003"/>
              <a:gd name="connsiteY1429" fmla="*/ 1803188 h 6367505"/>
              <a:gd name="connsiteX1430" fmla="*/ 6612740 w 7613003"/>
              <a:gd name="connsiteY1430" fmla="*/ 1803188 h 6367505"/>
              <a:gd name="connsiteX1431" fmla="*/ 6612740 w 7613003"/>
              <a:gd name="connsiteY1431" fmla="*/ 1817276 h 6367505"/>
              <a:gd name="connsiteX1432" fmla="*/ 6626829 w 7613003"/>
              <a:gd name="connsiteY1432" fmla="*/ 1817276 h 6367505"/>
              <a:gd name="connsiteX1433" fmla="*/ 6640916 w 7613003"/>
              <a:gd name="connsiteY1433" fmla="*/ 1859538 h 6367505"/>
              <a:gd name="connsiteX1434" fmla="*/ 6640916 w 7613003"/>
              <a:gd name="connsiteY1434" fmla="*/ 1873625 h 6367505"/>
              <a:gd name="connsiteX1435" fmla="*/ 6655004 w 7613003"/>
              <a:gd name="connsiteY1435" fmla="*/ 1915887 h 6367505"/>
              <a:gd name="connsiteX1436" fmla="*/ 6683181 w 7613003"/>
              <a:gd name="connsiteY1436" fmla="*/ 1958149 h 6367505"/>
              <a:gd name="connsiteX1437" fmla="*/ 6697269 w 7613003"/>
              <a:gd name="connsiteY1437" fmla="*/ 1972236 h 6367505"/>
              <a:gd name="connsiteX1438" fmla="*/ 6697269 w 7613003"/>
              <a:gd name="connsiteY1438" fmla="*/ 1986323 h 6367505"/>
              <a:gd name="connsiteX1439" fmla="*/ 6655004 w 7613003"/>
              <a:gd name="connsiteY1439" fmla="*/ 1944061 h 6367505"/>
              <a:gd name="connsiteX1440" fmla="*/ 6626829 w 7613003"/>
              <a:gd name="connsiteY1440" fmla="*/ 1929974 h 6367505"/>
              <a:gd name="connsiteX1441" fmla="*/ 6598651 w 7613003"/>
              <a:gd name="connsiteY1441" fmla="*/ 1887712 h 6367505"/>
              <a:gd name="connsiteX1442" fmla="*/ 6584563 w 7613003"/>
              <a:gd name="connsiteY1442" fmla="*/ 1873625 h 6367505"/>
              <a:gd name="connsiteX1443" fmla="*/ 6570476 w 7613003"/>
              <a:gd name="connsiteY1443" fmla="*/ 1859538 h 6367505"/>
              <a:gd name="connsiteX1444" fmla="*/ 6528211 w 7613003"/>
              <a:gd name="connsiteY1444" fmla="*/ 1831363 h 6367505"/>
              <a:gd name="connsiteX1445" fmla="*/ 6500034 w 7613003"/>
              <a:gd name="connsiteY1445" fmla="*/ 1803188 h 6367505"/>
              <a:gd name="connsiteX1446" fmla="*/ 6471858 w 7613003"/>
              <a:gd name="connsiteY1446" fmla="*/ 1775013 h 6367505"/>
              <a:gd name="connsiteX1447" fmla="*/ 6401417 w 7613003"/>
              <a:gd name="connsiteY1447" fmla="*/ 1704576 h 6367505"/>
              <a:gd name="connsiteX1448" fmla="*/ 6316888 w 7613003"/>
              <a:gd name="connsiteY1448" fmla="*/ 1634138 h 6367505"/>
              <a:gd name="connsiteX1449" fmla="*/ 6288711 w 7613003"/>
              <a:gd name="connsiteY1449" fmla="*/ 1620051 h 6367505"/>
              <a:gd name="connsiteX1450" fmla="*/ 6274622 w 7613003"/>
              <a:gd name="connsiteY1450" fmla="*/ 1605964 h 6367505"/>
              <a:gd name="connsiteX1451" fmla="*/ 6232358 w 7613003"/>
              <a:gd name="connsiteY1451" fmla="*/ 1577789 h 6367505"/>
              <a:gd name="connsiteX1452" fmla="*/ 6161916 w 7613003"/>
              <a:gd name="connsiteY1452" fmla="*/ 1535527 h 6367505"/>
              <a:gd name="connsiteX1453" fmla="*/ 6119652 w 7613003"/>
              <a:gd name="connsiteY1453" fmla="*/ 1507353 h 6367505"/>
              <a:gd name="connsiteX1454" fmla="*/ 6091476 w 7613003"/>
              <a:gd name="connsiteY1454" fmla="*/ 1493265 h 6367505"/>
              <a:gd name="connsiteX1455" fmla="*/ 6035123 w 7613003"/>
              <a:gd name="connsiteY1455" fmla="*/ 1465089 h 6367505"/>
              <a:gd name="connsiteX1456" fmla="*/ 6021035 w 7613003"/>
              <a:gd name="connsiteY1456" fmla="*/ 1451002 h 6367505"/>
              <a:gd name="connsiteX1457" fmla="*/ 5992859 w 7613003"/>
              <a:gd name="connsiteY1457" fmla="*/ 1436915 h 6367505"/>
              <a:gd name="connsiteX1458" fmla="*/ 6006946 w 7613003"/>
              <a:gd name="connsiteY1458" fmla="*/ 1451002 h 6367505"/>
              <a:gd name="connsiteX1459" fmla="*/ 5964682 w 7613003"/>
              <a:gd name="connsiteY1459" fmla="*/ 1436915 h 6367505"/>
              <a:gd name="connsiteX1460" fmla="*/ 5950593 w 7613003"/>
              <a:gd name="connsiteY1460" fmla="*/ 1422828 h 6367505"/>
              <a:gd name="connsiteX1461" fmla="*/ 5936506 w 7613003"/>
              <a:gd name="connsiteY1461" fmla="*/ 1408740 h 6367505"/>
              <a:gd name="connsiteX1462" fmla="*/ 5922417 w 7613003"/>
              <a:gd name="connsiteY1462" fmla="*/ 1408740 h 6367505"/>
              <a:gd name="connsiteX1463" fmla="*/ 5908329 w 7613003"/>
              <a:gd name="connsiteY1463" fmla="*/ 1394653 h 6367505"/>
              <a:gd name="connsiteX1464" fmla="*/ 5894240 w 7613003"/>
              <a:gd name="connsiteY1464" fmla="*/ 1394653 h 6367505"/>
              <a:gd name="connsiteX1465" fmla="*/ 5866064 w 7613003"/>
              <a:gd name="connsiteY1465" fmla="*/ 1380566 h 6367505"/>
              <a:gd name="connsiteX1466" fmla="*/ 5851976 w 7613003"/>
              <a:gd name="connsiteY1466" fmla="*/ 1366478 h 6367505"/>
              <a:gd name="connsiteX1467" fmla="*/ 5781535 w 7613003"/>
              <a:gd name="connsiteY1467" fmla="*/ 1352391 h 6367505"/>
              <a:gd name="connsiteX1468" fmla="*/ 5781535 w 7613003"/>
              <a:gd name="connsiteY1468" fmla="*/ 1338304 h 6367505"/>
              <a:gd name="connsiteX1469" fmla="*/ 5776252 w 7613003"/>
              <a:gd name="connsiteY1469" fmla="*/ 1338304 h 6367505"/>
              <a:gd name="connsiteX1470" fmla="*/ 5775592 w 7613003"/>
              <a:gd name="connsiteY1470" fmla="*/ 1338304 h 6367505"/>
              <a:gd name="connsiteX1471" fmla="*/ 5774492 w 7613003"/>
              <a:gd name="connsiteY1471" fmla="*/ 1338304 h 6367505"/>
              <a:gd name="connsiteX1472" fmla="*/ 5767447 w 7613003"/>
              <a:gd name="connsiteY1472" fmla="*/ 1338304 h 6367505"/>
              <a:gd name="connsiteX1473" fmla="*/ 5725182 w 7613003"/>
              <a:gd name="connsiteY1473" fmla="*/ 1324216 h 6367505"/>
              <a:gd name="connsiteX1474" fmla="*/ 5697005 w 7613003"/>
              <a:gd name="connsiteY1474" fmla="*/ 1324216 h 6367505"/>
              <a:gd name="connsiteX1475" fmla="*/ 5668829 w 7613003"/>
              <a:gd name="connsiteY1475" fmla="*/ 1310129 h 6367505"/>
              <a:gd name="connsiteX1476" fmla="*/ 5640652 w 7613003"/>
              <a:gd name="connsiteY1476" fmla="*/ 1296041 h 6367505"/>
              <a:gd name="connsiteX1477" fmla="*/ 5612477 w 7613003"/>
              <a:gd name="connsiteY1477" fmla="*/ 1296041 h 6367505"/>
              <a:gd name="connsiteX1478" fmla="*/ 5556124 w 7613003"/>
              <a:gd name="connsiteY1478" fmla="*/ 1267866 h 6367505"/>
              <a:gd name="connsiteX1479" fmla="*/ 5542035 w 7613003"/>
              <a:gd name="connsiteY1479" fmla="*/ 1267866 h 6367505"/>
              <a:gd name="connsiteX1480" fmla="*/ 5527947 w 7613003"/>
              <a:gd name="connsiteY1480" fmla="*/ 1253779 h 6367505"/>
              <a:gd name="connsiteX1481" fmla="*/ 5513859 w 7613003"/>
              <a:gd name="connsiteY1481" fmla="*/ 1267866 h 6367505"/>
              <a:gd name="connsiteX1482" fmla="*/ 5513859 w 7613003"/>
              <a:gd name="connsiteY1482" fmla="*/ 1281953 h 6367505"/>
              <a:gd name="connsiteX1483" fmla="*/ 5527947 w 7613003"/>
              <a:gd name="connsiteY1483" fmla="*/ 1281953 h 6367505"/>
              <a:gd name="connsiteX1484" fmla="*/ 5542035 w 7613003"/>
              <a:gd name="connsiteY1484" fmla="*/ 1281953 h 6367505"/>
              <a:gd name="connsiteX1485" fmla="*/ 5584299 w 7613003"/>
              <a:gd name="connsiteY1485" fmla="*/ 1310129 h 6367505"/>
              <a:gd name="connsiteX1486" fmla="*/ 5570212 w 7613003"/>
              <a:gd name="connsiteY1486" fmla="*/ 1296041 h 6367505"/>
              <a:gd name="connsiteX1487" fmla="*/ 5612477 w 7613003"/>
              <a:gd name="connsiteY1487" fmla="*/ 1310129 h 6367505"/>
              <a:gd name="connsiteX1488" fmla="*/ 5612477 w 7613003"/>
              <a:gd name="connsiteY1488" fmla="*/ 1324216 h 6367505"/>
              <a:gd name="connsiteX1489" fmla="*/ 5640652 w 7613003"/>
              <a:gd name="connsiteY1489" fmla="*/ 1338304 h 6367505"/>
              <a:gd name="connsiteX1490" fmla="*/ 5612477 w 7613003"/>
              <a:gd name="connsiteY1490" fmla="*/ 1338304 h 6367505"/>
              <a:gd name="connsiteX1491" fmla="*/ 5570212 w 7613003"/>
              <a:gd name="connsiteY1491" fmla="*/ 1324216 h 6367505"/>
              <a:gd name="connsiteX1492" fmla="*/ 5542035 w 7613003"/>
              <a:gd name="connsiteY1492" fmla="*/ 1310129 h 6367505"/>
              <a:gd name="connsiteX1493" fmla="*/ 5513859 w 7613003"/>
              <a:gd name="connsiteY1493" fmla="*/ 1310129 h 6367505"/>
              <a:gd name="connsiteX1494" fmla="*/ 5499771 w 7613003"/>
              <a:gd name="connsiteY1494" fmla="*/ 1310129 h 6367505"/>
              <a:gd name="connsiteX1495" fmla="*/ 5443418 w 7613003"/>
              <a:gd name="connsiteY1495" fmla="*/ 1296041 h 6367505"/>
              <a:gd name="connsiteX1496" fmla="*/ 5429329 w 7613003"/>
              <a:gd name="connsiteY1496" fmla="*/ 1310129 h 6367505"/>
              <a:gd name="connsiteX1497" fmla="*/ 5401153 w 7613003"/>
              <a:gd name="connsiteY1497" fmla="*/ 1310129 h 6367505"/>
              <a:gd name="connsiteX1498" fmla="*/ 5387065 w 7613003"/>
              <a:gd name="connsiteY1498" fmla="*/ 1310129 h 6367505"/>
              <a:gd name="connsiteX1499" fmla="*/ 5415242 w 7613003"/>
              <a:gd name="connsiteY1499" fmla="*/ 1324216 h 6367505"/>
              <a:gd name="connsiteX1500" fmla="*/ 5422004 w 7613003"/>
              <a:gd name="connsiteY1500" fmla="*/ 1336050 h 6367505"/>
              <a:gd name="connsiteX1501" fmla="*/ 5406437 w 7613003"/>
              <a:gd name="connsiteY1501" fmla="*/ 1331260 h 6367505"/>
              <a:gd name="connsiteX1502" fmla="*/ 5372976 w 7613003"/>
              <a:gd name="connsiteY1502" fmla="*/ 1324216 h 6367505"/>
              <a:gd name="connsiteX1503" fmla="*/ 5358889 w 7613003"/>
              <a:gd name="connsiteY1503" fmla="*/ 1310129 h 6367505"/>
              <a:gd name="connsiteX1504" fmla="*/ 5302536 w 7613003"/>
              <a:gd name="connsiteY1504" fmla="*/ 1310129 h 6367505"/>
              <a:gd name="connsiteX1505" fmla="*/ 5260270 w 7613003"/>
              <a:gd name="connsiteY1505" fmla="*/ 1310129 h 6367505"/>
              <a:gd name="connsiteX1506" fmla="*/ 5246183 w 7613003"/>
              <a:gd name="connsiteY1506" fmla="*/ 1310129 h 6367505"/>
              <a:gd name="connsiteX1507" fmla="*/ 5232094 w 7613003"/>
              <a:gd name="connsiteY1507" fmla="*/ 1310129 h 6367505"/>
              <a:gd name="connsiteX1508" fmla="*/ 5218006 w 7613003"/>
              <a:gd name="connsiteY1508" fmla="*/ 1310129 h 6367505"/>
              <a:gd name="connsiteX1509" fmla="*/ 5203919 w 7613003"/>
              <a:gd name="connsiteY1509" fmla="*/ 1310129 h 6367505"/>
              <a:gd name="connsiteX1510" fmla="*/ 5175742 w 7613003"/>
              <a:gd name="connsiteY1510" fmla="*/ 1310129 h 6367505"/>
              <a:gd name="connsiteX1511" fmla="*/ 5147566 w 7613003"/>
              <a:gd name="connsiteY1511" fmla="*/ 1310129 h 6367505"/>
              <a:gd name="connsiteX1512" fmla="*/ 5119389 w 7613003"/>
              <a:gd name="connsiteY1512" fmla="*/ 1310129 h 6367505"/>
              <a:gd name="connsiteX1513" fmla="*/ 5102500 w 7613003"/>
              <a:gd name="connsiteY1513" fmla="*/ 1311428 h 6367505"/>
              <a:gd name="connsiteX1514" fmla="*/ 5106196 w 7613003"/>
              <a:gd name="connsiteY1514" fmla="*/ 1311890 h 6367505"/>
              <a:gd name="connsiteX1515" fmla="*/ 5120284 w 7613003"/>
              <a:gd name="connsiteY1515" fmla="*/ 1324216 h 6367505"/>
              <a:gd name="connsiteX1516" fmla="*/ 5146039 w 7613003"/>
              <a:gd name="connsiteY1516" fmla="*/ 1369780 h 6367505"/>
              <a:gd name="connsiteX1517" fmla="*/ 5153198 w 7613003"/>
              <a:gd name="connsiteY1517" fmla="*/ 1380566 h 6367505"/>
              <a:gd name="connsiteX1518" fmla="*/ 5175742 w 7613003"/>
              <a:gd name="connsiteY1518" fmla="*/ 1380566 h 6367505"/>
              <a:gd name="connsiteX1519" fmla="*/ 5218006 w 7613003"/>
              <a:gd name="connsiteY1519" fmla="*/ 1394653 h 6367505"/>
              <a:gd name="connsiteX1520" fmla="*/ 5260270 w 7613003"/>
              <a:gd name="connsiteY1520" fmla="*/ 1408740 h 6367505"/>
              <a:gd name="connsiteX1521" fmla="*/ 5232094 w 7613003"/>
              <a:gd name="connsiteY1521" fmla="*/ 1422828 h 6367505"/>
              <a:gd name="connsiteX1522" fmla="*/ 5203919 w 7613003"/>
              <a:gd name="connsiteY1522" fmla="*/ 1422828 h 6367505"/>
              <a:gd name="connsiteX1523" fmla="*/ 5193573 w 7613003"/>
              <a:gd name="connsiteY1523" fmla="*/ 1416884 h 6367505"/>
              <a:gd name="connsiteX1524" fmla="*/ 5190611 w 7613003"/>
              <a:gd name="connsiteY1524" fmla="*/ 1417101 h 6367505"/>
              <a:gd name="connsiteX1525" fmla="*/ 5192266 w 7613003"/>
              <a:gd name="connsiteY1525" fmla="*/ 1418425 h 6367505"/>
              <a:gd name="connsiteX1526" fmla="*/ 5232990 w 7613003"/>
              <a:gd name="connsiteY1526" fmla="*/ 1451002 h 6367505"/>
              <a:gd name="connsiteX1527" fmla="*/ 5261166 w 7613003"/>
              <a:gd name="connsiteY1527" fmla="*/ 1493265 h 6367505"/>
              <a:gd name="connsiteX1528" fmla="*/ 5275255 w 7613003"/>
              <a:gd name="connsiteY1528" fmla="*/ 1507353 h 6367505"/>
              <a:gd name="connsiteX1529" fmla="*/ 5303431 w 7613003"/>
              <a:gd name="connsiteY1529" fmla="*/ 1535527 h 6367505"/>
              <a:gd name="connsiteX1530" fmla="*/ 5247078 w 7613003"/>
              <a:gd name="connsiteY1530" fmla="*/ 1493265 h 6367505"/>
              <a:gd name="connsiteX1531" fmla="*/ 5275255 w 7613003"/>
              <a:gd name="connsiteY1531" fmla="*/ 1535527 h 6367505"/>
              <a:gd name="connsiteX1532" fmla="*/ 5289343 w 7613003"/>
              <a:gd name="connsiteY1532" fmla="*/ 1549614 h 6367505"/>
              <a:gd name="connsiteX1533" fmla="*/ 5282298 w 7613003"/>
              <a:gd name="connsiteY1533" fmla="*/ 1549614 h 6367505"/>
              <a:gd name="connsiteX1534" fmla="*/ 5275255 w 7613003"/>
              <a:gd name="connsiteY1534" fmla="*/ 1549614 h 6367505"/>
              <a:gd name="connsiteX1535" fmla="*/ 5261166 w 7613003"/>
              <a:gd name="connsiteY1535" fmla="*/ 1535527 h 6367505"/>
              <a:gd name="connsiteX1536" fmla="*/ 5190725 w 7613003"/>
              <a:gd name="connsiteY1536" fmla="*/ 1451002 h 6367505"/>
              <a:gd name="connsiteX1537" fmla="*/ 5176637 w 7613003"/>
              <a:gd name="connsiteY1537" fmla="*/ 1451002 h 6367505"/>
              <a:gd name="connsiteX1538" fmla="*/ 5148460 w 7613003"/>
              <a:gd name="connsiteY1538" fmla="*/ 1422828 h 6367505"/>
              <a:gd name="connsiteX1539" fmla="*/ 5146699 w 7613003"/>
              <a:gd name="connsiteY1539" fmla="*/ 1421067 h 6367505"/>
              <a:gd name="connsiteX1540" fmla="*/ 5145312 w 7613003"/>
              <a:gd name="connsiteY1540" fmla="*/ 1419680 h 6367505"/>
              <a:gd name="connsiteX1541" fmla="*/ 5128139 w 7613003"/>
              <a:gd name="connsiteY1541" fmla="*/ 1417903 h 6367505"/>
              <a:gd name="connsiteX1542" fmla="*/ 5162549 w 7613003"/>
              <a:gd name="connsiteY1542" fmla="*/ 1458047 h 6367505"/>
              <a:gd name="connsiteX1543" fmla="*/ 5204813 w 7613003"/>
              <a:gd name="connsiteY1543" fmla="*/ 1507353 h 6367505"/>
              <a:gd name="connsiteX1544" fmla="*/ 5218902 w 7613003"/>
              <a:gd name="connsiteY1544" fmla="*/ 1521440 h 6367505"/>
              <a:gd name="connsiteX1545" fmla="*/ 5247078 w 7613003"/>
              <a:gd name="connsiteY1545" fmla="*/ 1535527 h 6367505"/>
              <a:gd name="connsiteX1546" fmla="*/ 5261166 w 7613003"/>
              <a:gd name="connsiteY1546" fmla="*/ 1563702 h 6367505"/>
              <a:gd name="connsiteX1547" fmla="*/ 5317519 w 7613003"/>
              <a:gd name="connsiteY1547" fmla="*/ 1605964 h 6367505"/>
              <a:gd name="connsiteX1548" fmla="*/ 5359784 w 7613003"/>
              <a:gd name="connsiteY1548" fmla="*/ 1676401 h 6367505"/>
              <a:gd name="connsiteX1549" fmla="*/ 5387961 w 7613003"/>
              <a:gd name="connsiteY1549" fmla="*/ 1704576 h 6367505"/>
              <a:gd name="connsiteX1550" fmla="*/ 5402048 w 7613003"/>
              <a:gd name="connsiteY1550" fmla="*/ 1718663 h 6367505"/>
              <a:gd name="connsiteX1551" fmla="*/ 5416136 w 7613003"/>
              <a:gd name="connsiteY1551" fmla="*/ 1732751 h 6367505"/>
              <a:gd name="connsiteX1552" fmla="*/ 5416136 w 7613003"/>
              <a:gd name="connsiteY1552" fmla="*/ 1746838 h 6367505"/>
              <a:gd name="connsiteX1553" fmla="*/ 5430225 w 7613003"/>
              <a:gd name="connsiteY1553" fmla="*/ 1760925 h 6367505"/>
              <a:gd name="connsiteX1554" fmla="*/ 5472489 w 7613003"/>
              <a:gd name="connsiteY1554" fmla="*/ 1817276 h 6367505"/>
              <a:gd name="connsiteX1555" fmla="*/ 5486578 w 7613003"/>
              <a:gd name="connsiteY1555" fmla="*/ 1845450 h 6367505"/>
              <a:gd name="connsiteX1556" fmla="*/ 5514754 w 7613003"/>
              <a:gd name="connsiteY1556" fmla="*/ 1887712 h 6367505"/>
              <a:gd name="connsiteX1557" fmla="*/ 5514754 w 7613003"/>
              <a:gd name="connsiteY1557" fmla="*/ 1901800 h 6367505"/>
              <a:gd name="connsiteX1558" fmla="*/ 5571107 w 7613003"/>
              <a:gd name="connsiteY1558" fmla="*/ 1986323 h 6367505"/>
              <a:gd name="connsiteX1559" fmla="*/ 5599284 w 7613003"/>
              <a:gd name="connsiteY1559" fmla="*/ 2042674 h 6367505"/>
              <a:gd name="connsiteX1560" fmla="*/ 5613371 w 7613003"/>
              <a:gd name="connsiteY1560" fmla="*/ 2056761 h 6367505"/>
              <a:gd name="connsiteX1561" fmla="*/ 5613371 w 7613003"/>
              <a:gd name="connsiteY1561" fmla="*/ 2070849 h 6367505"/>
              <a:gd name="connsiteX1562" fmla="*/ 5613371 w 7613003"/>
              <a:gd name="connsiteY1562" fmla="*/ 2084936 h 6367505"/>
              <a:gd name="connsiteX1563" fmla="*/ 5627460 w 7613003"/>
              <a:gd name="connsiteY1563" fmla="*/ 2099023 h 6367505"/>
              <a:gd name="connsiteX1564" fmla="*/ 5627460 w 7613003"/>
              <a:gd name="connsiteY1564" fmla="*/ 2113110 h 6367505"/>
              <a:gd name="connsiteX1565" fmla="*/ 5669724 w 7613003"/>
              <a:gd name="connsiteY1565" fmla="*/ 2169459 h 6367505"/>
              <a:gd name="connsiteX1566" fmla="*/ 5683813 w 7613003"/>
              <a:gd name="connsiteY1566" fmla="*/ 2225810 h 6367505"/>
              <a:gd name="connsiteX1567" fmla="*/ 5697901 w 7613003"/>
              <a:gd name="connsiteY1567" fmla="*/ 2225810 h 6367505"/>
              <a:gd name="connsiteX1568" fmla="*/ 5711990 w 7613003"/>
              <a:gd name="connsiteY1568" fmla="*/ 2268072 h 6367505"/>
              <a:gd name="connsiteX1569" fmla="*/ 5697901 w 7613003"/>
              <a:gd name="connsiteY1569" fmla="*/ 2282159 h 6367505"/>
              <a:gd name="connsiteX1570" fmla="*/ 5711990 w 7613003"/>
              <a:gd name="connsiteY1570" fmla="*/ 2296246 h 6367505"/>
              <a:gd name="connsiteX1571" fmla="*/ 5711990 w 7613003"/>
              <a:gd name="connsiteY1571" fmla="*/ 2310334 h 6367505"/>
              <a:gd name="connsiteX1572" fmla="*/ 5740166 w 7613003"/>
              <a:gd name="connsiteY1572" fmla="*/ 2408946 h 6367505"/>
              <a:gd name="connsiteX1573" fmla="*/ 5754254 w 7613003"/>
              <a:gd name="connsiteY1573" fmla="*/ 2408946 h 6367505"/>
              <a:gd name="connsiteX1574" fmla="*/ 5754254 w 7613003"/>
              <a:gd name="connsiteY1574" fmla="*/ 2437121 h 6367505"/>
              <a:gd name="connsiteX1575" fmla="*/ 5754254 w 7613003"/>
              <a:gd name="connsiteY1575" fmla="*/ 2465295 h 6367505"/>
              <a:gd name="connsiteX1576" fmla="*/ 5768341 w 7613003"/>
              <a:gd name="connsiteY1576" fmla="*/ 2521646 h 6367505"/>
              <a:gd name="connsiteX1577" fmla="*/ 5754254 w 7613003"/>
              <a:gd name="connsiteY1577" fmla="*/ 2479383 h 6367505"/>
              <a:gd name="connsiteX1578" fmla="*/ 5740166 w 7613003"/>
              <a:gd name="connsiteY1578" fmla="*/ 2451208 h 6367505"/>
              <a:gd name="connsiteX1579" fmla="*/ 5726077 w 7613003"/>
              <a:gd name="connsiteY1579" fmla="*/ 2423033 h 6367505"/>
              <a:gd name="connsiteX1580" fmla="*/ 5711990 w 7613003"/>
              <a:gd name="connsiteY1580" fmla="*/ 2380771 h 6367505"/>
              <a:gd name="connsiteX1581" fmla="*/ 5683813 w 7613003"/>
              <a:gd name="connsiteY1581" fmla="*/ 2310334 h 6367505"/>
              <a:gd name="connsiteX1582" fmla="*/ 5697901 w 7613003"/>
              <a:gd name="connsiteY1582" fmla="*/ 2352596 h 6367505"/>
              <a:gd name="connsiteX1583" fmla="*/ 5697901 w 7613003"/>
              <a:gd name="connsiteY1583" fmla="*/ 2366684 h 6367505"/>
              <a:gd name="connsiteX1584" fmla="*/ 5683813 w 7613003"/>
              <a:gd name="connsiteY1584" fmla="*/ 2352596 h 6367505"/>
              <a:gd name="connsiteX1585" fmla="*/ 5683813 w 7613003"/>
              <a:gd name="connsiteY1585" fmla="*/ 2338508 h 6367505"/>
              <a:gd name="connsiteX1586" fmla="*/ 5641548 w 7613003"/>
              <a:gd name="connsiteY1586" fmla="*/ 2225810 h 6367505"/>
              <a:gd name="connsiteX1587" fmla="*/ 5599284 w 7613003"/>
              <a:gd name="connsiteY1587" fmla="*/ 2155372 h 6367505"/>
              <a:gd name="connsiteX1588" fmla="*/ 5613371 w 7613003"/>
              <a:gd name="connsiteY1588" fmla="*/ 2211723 h 6367505"/>
              <a:gd name="connsiteX1589" fmla="*/ 5655637 w 7613003"/>
              <a:gd name="connsiteY1589" fmla="*/ 2296246 h 6367505"/>
              <a:gd name="connsiteX1590" fmla="*/ 5683813 w 7613003"/>
              <a:gd name="connsiteY1590" fmla="*/ 2352596 h 6367505"/>
              <a:gd name="connsiteX1591" fmla="*/ 5683813 w 7613003"/>
              <a:gd name="connsiteY1591" fmla="*/ 2380771 h 6367505"/>
              <a:gd name="connsiteX1592" fmla="*/ 5697901 w 7613003"/>
              <a:gd name="connsiteY1592" fmla="*/ 2394859 h 6367505"/>
              <a:gd name="connsiteX1593" fmla="*/ 5711990 w 7613003"/>
              <a:gd name="connsiteY1593" fmla="*/ 2451208 h 6367505"/>
              <a:gd name="connsiteX1594" fmla="*/ 5711990 w 7613003"/>
              <a:gd name="connsiteY1594" fmla="*/ 2465295 h 6367505"/>
              <a:gd name="connsiteX1595" fmla="*/ 5726077 w 7613003"/>
              <a:gd name="connsiteY1595" fmla="*/ 2479383 h 6367505"/>
              <a:gd name="connsiteX1596" fmla="*/ 5754254 w 7613003"/>
              <a:gd name="connsiteY1596" fmla="*/ 2549821 h 6367505"/>
              <a:gd name="connsiteX1597" fmla="*/ 5754254 w 7613003"/>
              <a:gd name="connsiteY1597" fmla="*/ 2563908 h 6367505"/>
              <a:gd name="connsiteX1598" fmla="*/ 5768341 w 7613003"/>
              <a:gd name="connsiteY1598" fmla="*/ 2563908 h 6367505"/>
              <a:gd name="connsiteX1599" fmla="*/ 5768341 w 7613003"/>
              <a:gd name="connsiteY1599" fmla="*/ 2577995 h 6367505"/>
              <a:gd name="connsiteX1600" fmla="*/ 5768341 w 7613003"/>
              <a:gd name="connsiteY1600" fmla="*/ 2592082 h 6367505"/>
              <a:gd name="connsiteX1601" fmla="*/ 5782430 w 7613003"/>
              <a:gd name="connsiteY1601" fmla="*/ 2620257 h 6367505"/>
              <a:gd name="connsiteX1602" fmla="*/ 5782430 w 7613003"/>
              <a:gd name="connsiteY1602" fmla="*/ 2634344 h 6367505"/>
              <a:gd name="connsiteX1603" fmla="*/ 5796519 w 7613003"/>
              <a:gd name="connsiteY1603" fmla="*/ 2676606 h 6367505"/>
              <a:gd name="connsiteX1604" fmla="*/ 5782430 w 7613003"/>
              <a:gd name="connsiteY1604" fmla="*/ 2662519 h 6367505"/>
              <a:gd name="connsiteX1605" fmla="*/ 5782430 w 7613003"/>
              <a:gd name="connsiteY1605" fmla="*/ 2690693 h 6367505"/>
              <a:gd name="connsiteX1606" fmla="*/ 5768341 w 7613003"/>
              <a:gd name="connsiteY1606" fmla="*/ 2662519 h 6367505"/>
              <a:gd name="connsiteX1607" fmla="*/ 5754254 w 7613003"/>
              <a:gd name="connsiteY1607" fmla="*/ 2620257 h 6367505"/>
              <a:gd name="connsiteX1608" fmla="*/ 5740166 w 7613003"/>
              <a:gd name="connsiteY1608" fmla="*/ 2577995 h 6367505"/>
              <a:gd name="connsiteX1609" fmla="*/ 5726077 w 7613003"/>
              <a:gd name="connsiteY1609" fmla="*/ 2535733 h 6367505"/>
              <a:gd name="connsiteX1610" fmla="*/ 5697901 w 7613003"/>
              <a:gd name="connsiteY1610" fmla="*/ 2451208 h 6367505"/>
              <a:gd name="connsiteX1611" fmla="*/ 5697901 w 7613003"/>
              <a:gd name="connsiteY1611" fmla="*/ 2423033 h 6367505"/>
              <a:gd name="connsiteX1612" fmla="*/ 5683813 w 7613003"/>
              <a:gd name="connsiteY1612" fmla="*/ 2423033 h 6367505"/>
              <a:gd name="connsiteX1613" fmla="*/ 5683813 w 7613003"/>
              <a:gd name="connsiteY1613" fmla="*/ 2394859 h 6367505"/>
              <a:gd name="connsiteX1614" fmla="*/ 5641548 w 7613003"/>
              <a:gd name="connsiteY1614" fmla="*/ 2324421 h 6367505"/>
              <a:gd name="connsiteX1615" fmla="*/ 5613371 w 7613003"/>
              <a:gd name="connsiteY1615" fmla="*/ 2239897 h 6367505"/>
              <a:gd name="connsiteX1616" fmla="*/ 5613371 w 7613003"/>
              <a:gd name="connsiteY1616" fmla="*/ 2253985 h 6367505"/>
              <a:gd name="connsiteX1617" fmla="*/ 5557018 w 7613003"/>
              <a:gd name="connsiteY1617" fmla="*/ 2169459 h 6367505"/>
              <a:gd name="connsiteX1618" fmla="*/ 5571107 w 7613003"/>
              <a:gd name="connsiteY1618" fmla="*/ 2197635 h 6367505"/>
              <a:gd name="connsiteX1619" fmla="*/ 5599284 w 7613003"/>
              <a:gd name="connsiteY1619" fmla="*/ 2253985 h 6367505"/>
              <a:gd name="connsiteX1620" fmla="*/ 5599284 w 7613003"/>
              <a:gd name="connsiteY1620" fmla="*/ 2268072 h 6367505"/>
              <a:gd name="connsiteX1621" fmla="*/ 5627460 w 7613003"/>
              <a:gd name="connsiteY1621" fmla="*/ 2324421 h 6367505"/>
              <a:gd name="connsiteX1622" fmla="*/ 5627460 w 7613003"/>
              <a:gd name="connsiteY1622" fmla="*/ 2352596 h 6367505"/>
              <a:gd name="connsiteX1623" fmla="*/ 5613371 w 7613003"/>
              <a:gd name="connsiteY1623" fmla="*/ 2324421 h 6367505"/>
              <a:gd name="connsiteX1624" fmla="*/ 5613371 w 7613003"/>
              <a:gd name="connsiteY1624" fmla="*/ 2338508 h 6367505"/>
              <a:gd name="connsiteX1625" fmla="*/ 5585195 w 7613003"/>
              <a:gd name="connsiteY1625" fmla="*/ 2282159 h 6367505"/>
              <a:gd name="connsiteX1626" fmla="*/ 5571107 w 7613003"/>
              <a:gd name="connsiteY1626" fmla="*/ 2239897 h 6367505"/>
              <a:gd name="connsiteX1627" fmla="*/ 5557018 w 7613003"/>
              <a:gd name="connsiteY1627" fmla="*/ 2197635 h 6367505"/>
              <a:gd name="connsiteX1628" fmla="*/ 5542931 w 7613003"/>
              <a:gd name="connsiteY1628" fmla="*/ 2183548 h 6367505"/>
              <a:gd name="connsiteX1629" fmla="*/ 5557018 w 7613003"/>
              <a:gd name="connsiteY1629" fmla="*/ 2225810 h 6367505"/>
              <a:gd name="connsiteX1630" fmla="*/ 5571107 w 7613003"/>
              <a:gd name="connsiteY1630" fmla="*/ 2296246 h 6367505"/>
              <a:gd name="connsiteX1631" fmla="*/ 5585195 w 7613003"/>
              <a:gd name="connsiteY1631" fmla="*/ 2310334 h 6367505"/>
              <a:gd name="connsiteX1632" fmla="*/ 5585195 w 7613003"/>
              <a:gd name="connsiteY1632" fmla="*/ 2324421 h 6367505"/>
              <a:gd name="connsiteX1633" fmla="*/ 5627460 w 7613003"/>
              <a:gd name="connsiteY1633" fmla="*/ 2408946 h 6367505"/>
              <a:gd name="connsiteX1634" fmla="*/ 5655637 w 7613003"/>
              <a:gd name="connsiteY1634" fmla="*/ 2479383 h 6367505"/>
              <a:gd name="connsiteX1635" fmla="*/ 5669724 w 7613003"/>
              <a:gd name="connsiteY1635" fmla="*/ 2493470 h 6367505"/>
              <a:gd name="connsiteX1636" fmla="*/ 5669724 w 7613003"/>
              <a:gd name="connsiteY1636" fmla="*/ 2521646 h 6367505"/>
              <a:gd name="connsiteX1637" fmla="*/ 5697901 w 7613003"/>
              <a:gd name="connsiteY1637" fmla="*/ 2606170 h 6367505"/>
              <a:gd name="connsiteX1638" fmla="*/ 5711990 w 7613003"/>
              <a:gd name="connsiteY1638" fmla="*/ 2648431 h 6367505"/>
              <a:gd name="connsiteX1639" fmla="*/ 5726077 w 7613003"/>
              <a:gd name="connsiteY1639" fmla="*/ 2690693 h 6367505"/>
              <a:gd name="connsiteX1640" fmla="*/ 5711990 w 7613003"/>
              <a:gd name="connsiteY1640" fmla="*/ 2662519 h 6367505"/>
              <a:gd name="connsiteX1641" fmla="*/ 5683813 w 7613003"/>
              <a:gd name="connsiteY1641" fmla="*/ 2620257 h 6367505"/>
              <a:gd name="connsiteX1642" fmla="*/ 5683813 w 7613003"/>
              <a:gd name="connsiteY1642" fmla="*/ 2606170 h 6367505"/>
              <a:gd name="connsiteX1643" fmla="*/ 5683813 w 7613003"/>
              <a:gd name="connsiteY1643" fmla="*/ 2592082 h 6367505"/>
              <a:gd name="connsiteX1644" fmla="*/ 5669724 w 7613003"/>
              <a:gd name="connsiteY1644" fmla="*/ 2577995 h 6367505"/>
              <a:gd name="connsiteX1645" fmla="*/ 5669724 w 7613003"/>
              <a:gd name="connsiteY1645" fmla="*/ 2563908 h 6367505"/>
              <a:gd name="connsiteX1646" fmla="*/ 5669724 w 7613003"/>
              <a:gd name="connsiteY1646" fmla="*/ 2549821 h 6367505"/>
              <a:gd name="connsiteX1647" fmla="*/ 5655637 w 7613003"/>
              <a:gd name="connsiteY1647" fmla="*/ 2549821 h 6367505"/>
              <a:gd name="connsiteX1648" fmla="*/ 5669724 w 7613003"/>
              <a:gd name="connsiteY1648" fmla="*/ 2606170 h 6367505"/>
              <a:gd name="connsiteX1649" fmla="*/ 5683813 w 7613003"/>
              <a:gd name="connsiteY1649" fmla="*/ 2634344 h 6367505"/>
              <a:gd name="connsiteX1650" fmla="*/ 5711990 w 7613003"/>
              <a:gd name="connsiteY1650" fmla="*/ 2704782 h 6367505"/>
              <a:gd name="connsiteX1651" fmla="*/ 5726077 w 7613003"/>
              <a:gd name="connsiteY1651" fmla="*/ 2761131 h 6367505"/>
              <a:gd name="connsiteX1652" fmla="*/ 5726077 w 7613003"/>
              <a:gd name="connsiteY1652" fmla="*/ 2775218 h 6367505"/>
              <a:gd name="connsiteX1653" fmla="*/ 5726077 w 7613003"/>
              <a:gd name="connsiteY1653" fmla="*/ 2789306 h 6367505"/>
              <a:gd name="connsiteX1654" fmla="*/ 5683813 w 7613003"/>
              <a:gd name="connsiteY1654" fmla="*/ 2690693 h 6367505"/>
              <a:gd name="connsiteX1655" fmla="*/ 5669724 w 7613003"/>
              <a:gd name="connsiteY1655" fmla="*/ 2648431 h 6367505"/>
              <a:gd name="connsiteX1656" fmla="*/ 5655637 w 7613003"/>
              <a:gd name="connsiteY1656" fmla="*/ 2592082 h 6367505"/>
              <a:gd name="connsiteX1657" fmla="*/ 5613371 w 7613003"/>
              <a:gd name="connsiteY1657" fmla="*/ 2479383 h 6367505"/>
              <a:gd name="connsiteX1658" fmla="*/ 5585195 w 7613003"/>
              <a:gd name="connsiteY1658" fmla="*/ 2408946 h 6367505"/>
              <a:gd name="connsiteX1659" fmla="*/ 5571107 w 7613003"/>
              <a:gd name="connsiteY1659" fmla="*/ 2394859 h 6367505"/>
              <a:gd name="connsiteX1660" fmla="*/ 5542931 w 7613003"/>
              <a:gd name="connsiteY1660" fmla="*/ 2352596 h 6367505"/>
              <a:gd name="connsiteX1661" fmla="*/ 5542931 w 7613003"/>
              <a:gd name="connsiteY1661" fmla="*/ 2324421 h 6367505"/>
              <a:gd name="connsiteX1662" fmla="*/ 5528842 w 7613003"/>
              <a:gd name="connsiteY1662" fmla="*/ 2324421 h 6367505"/>
              <a:gd name="connsiteX1663" fmla="*/ 5528842 w 7613003"/>
              <a:gd name="connsiteY1663" fmla="*/ 2310334 h 6367505"/>
              <a:gd name="connsiteX1664" fmla="*/ 5500667 w 7613003"/>
              <a:gd name="connsiteY1664" fmla="*/ 2253985 h 6367505"/>
              <a:gd name="connsiteX1665" fmla="*/ 5458401 w 7613003"/>
              <a:gd name="connsiteY1665" fmla="*/ 2183548 h 6367505"/>
              <a:gd name="connsiteX1666" fmla="*/ 5444314 w 7613003"/>
              <a:gd name="connsiteY1666" fmla="*/ 2169459 h 6367505"/>
              <a:gd name="connsiteX1667" fmla="*/ 5430225 w 7613003"/>
              <a:gd name="connsiteY1667" fmla="*/ 2127198 h 6367505"/>
              <a:gd name="connsiteX1668" fmla="*/ 5402048 w 7613003"/>
              <a:gd name="connsiteY1668" fmla="*/ 2099023 h 6367505"/>
              <a:gd name="connsiteX1669" fmla="*/ 5359784 w 7613003"/>
              <a:gd name="connsiteY1669" fmla="*/ 2042674 h 6367505"/>
              <a:gd name="connsiteX1670" fmla="*/ 5359784 w 7613003"/>
              <a:gd name="connsiteY1670" fmla="*/ 2028587 h 6367505"/>
              <a:gd name="connsiteX1671" fmla="*/ 5317519 w 7613003"/>
              <a:gd name="connsiteY1671" fmla="*/ 1986323 h 6367505"/>
              <a:gd name="connsiteX1672" fmla="*/ 5317519 w 7613003"/>
              <a:gd name="connsiteY1672" fmla="*/ 2000412 h 6367505"/>
              <a:gd name="connsiteX1673" fmla="*/ 5331608 w 7613003"/>
              <a:gd name="connsiteY1673" fmla="*/ 2014499 h 6367505"/>
              <a:gd name="connsiteX1674" fmla="*/ 5345695 w 7613003"/>
              <a:gd name="connsiteY1674" fmla="*/ 2042674 h 6367505"/>
              <a:gd name="connsiteX1675" fmla="*/ 5359784 w 7613003"/>
              <a:gd name="connsiteY1675" fmla="*/ 2056761 h 6367505"/>
              <a:gd name="connsiteX1676" fmla="*/ 5402048 w 7613003"/>
              <a:gd name="connsiteY1676" fmla="*/ 2127198 h 6367505"/>
              <a:gd name="connsiteX1677" fmla="*/ 5416136 w 7613003"/>
              <a:gd name="connsiteY1677" fmla="*/ 2155372 h 6367505"/>
              <a:gd name="connsiteX1678" fmla="*/ 5472489 w 7613003"/>
              <a:gd name="connsiteY1678" fmla="*/ 2253985 h 6367505"/>
              <a:gd name="connsiteX1679" fmla="*/ 5458401 w 7613003"/>
              <a:gd name="connsiteY1679" fmla="*/ 2239897 h 6367505"/>
              <a:gd name="connsiteX1680" fmla="*/ 5402048 w 7613003"/>
              <a:gd name="connsiteY1680" fmla="*/ 2155372 h 6367505"/>
              <a:gd name="connsiteX1681" fmla="*/ 5387961 w 7613003"/>
              <a:gd name="connsiteY1681" fmla="*/ 2141285 h 6367505"/>
              <a:gd name="connsiteX1682" fmla="*/ 5387961 w 7613003"/>
              <a:gd name="connsiteY1682" fmla="*/ 2127198 h 6367505"/>
              <a:gd name="connsiteX1683" fmla="*/ 5373872 w 7613003"/>
              <a:gd name="connsiteY1683" fmla="*/ 2099023 h 6367505"/>
              <a:gd name="connsiteX1684" fmla="*/ 5359784 w 7613003"/>
              <a:gd name="connsiteY1684" fmla="*/ 2084936 h 6367505"/>
              <a:gd name="connsiteX1685" fmla="*/ 5359784 w 7613003"/>
              <a:gd name="connsiteY1685" fmla="*/ 2070849 h 6367505"/>
              <a:gd name="connsiteX1686" fmla="*/ 5345695 w 7613003"/>
              <a:gd name="connsiteY1686" fmla="*/ 2056761 h 6367505"/>
              <a:gd name="connsiteX1687" fmla="*/ 5331608 w 7613003"/>
              <a:gd name="connsiteY1687" fmla="*/ 2042674 h 6367505"/>
              <a:gd name="connsiteX1688" fmla="*/ 5317519 w 7613003"/>
              <a:gd name="connsiteY1688" fmla="*/ 2028587 h 6367505"/>
              <a:gd name="connsiteX1689" fmla="*/ 5317519 w 7613003"/>
              <a:gd name="connsiteY1689" fmla="*/ 2014499 h 6367505"/>
              <a:gd name="connsiteX1690" fmla="*/ 5289343 w 7613003"/>
              <a:gd name="connsiteY1690" fmla="*/ 2000412 h 6367505"/>
              <a:gd name="connsiteX1691" fmla="*/ 5289343 w 7613003"/>
              <a:gd name="connsiteY1691" fmla="*/ 1986323 h 6367505"/>
              <a:gd name="connsiteX1692" fmla="*/ 5247078 w 7613003"/>
              <a:gd name="connsiteY1692" fmla="*/ 1944061 h 6367505"/>
              <a:gd name="connsiteX1693" fmla="*/ 5247078 w 7613003"/>
              <a:gd name="connsiteY1693" fmla="*/ 1929974 h 6367505"/>
              <a:gd name="connsiteX1694" fmla="*/ 5232990 w 7613003"/>
              <a:gd name="connsiteY1694" fmla="*/ 1915887 h 6367505"/>
              <a:gd name="connsiteX1695" fmla="*/ 5190725 w 7613003"/>
              <a:gd name="connsiteY1695" fmla="*/ 1873625 h 6367505"/>
              <a:gd name="connsiteX1696" fmla="*/ 5162549 w 7613003"/>
              <a:gd name="connsiteY1696" fmla="*/ 1831363 h 6367505"/>
              <a:gd name="connsiteX1697" fmla="*/ 5148460 w 7613003"/>
              <a:gd name="connsiteY1697" fmla="*/ 1831363 h 6367505"/>
              <a:gd name="connsiteX1698" fmla="*/ 5134372 w 7613003"/>
              <a:gd name="connsiteY1698" fmla="*/ 1803188 h 6367505"/>
              <a:gd name="connsiteX1699" fmla="*/ 5092107 w 7613003"/>
              <a:gd name="connsiteY1699" fmla="*/ 1760925 h 6367505"/>
              <a:gd name="connsiteX1700" fmla="*/ 5078019 w 7613003"/>
              <a:gd name="connsiteY1700" fmla="*/ 1760925 h 6367505"/>
              <a:gd name="connsiteX1701" fmla="*/ 5078019 w 7613003"/>
              <a:gd name="connsiteY1701" fmla="*/ 1746838 h 6367505"/>
              <a:gd name="connsiteX1702" fmla="*/ 5063931 w 7613003"/>
              <a:gd name="connsiteY1702" fmla="*/ 1732751 h 6367505"/>
              <a:gd name="connsiteX1703" fmla="*/ 5035754 w 7613003"/>
              <a:gd name="connsiteY1703" fmla="*/ 1704576 h 6367505"/>
              <a:gd name="connsiteX1704" fmla="*/ 5021666 w 7613003"/>
              <a:gd name="connsiteY1704" fmla="*/ 1690489 h 6367505"/>
              <a:gd name="connsiteX1705" fmla="*/ 4993490 w 7613003"/>
              <a:gd name="connsiteY1705" fmla="*/ 1676401 h 6367505"/>
              <a:gd name="connsiteX1706" fmla="*/ 4979401 w 7613003"/>
              <a:gd name="connsiteY1706" fmla="*/ 1662314 h 6367505"/>
              <a:gd name="connsiteX1707" fmla="*/ 4979401 w 7613003"/>
              <a:gd name="connsiteY1707" fmla="*/ 1648227 h 6367505"/>
              <a:gd name="connsiteX1708" fmla="*/ 4965313 w 7613003"/>
              <a:gd name="connsiteY1708" fmla="*/ 1648227 h 6367505"/>
              <a:gd name="connsiteX1709" fmla="*/ 4951226 w 7613003"/>
              <a:gd name="connsiteY1709" fmla="*/ 1634138 h 6367505"/>
              <a:gd name="connsiteX1710" fmla="*/ 4937137 w 7613003"/>
              <a:gd name="connsiteY1710" fmla="*/ 1620051 h 6367505"/>
              <a:gd name="connsiteX1711" fmla="*/ 4923048 w 7613003"/>
              <a:gd name="connsiteY1711" fmla="*/ 1605964 h 6367505"/>
              <a:gd name="connsiteX1712" fmla="*/ 4866696 w 7613003"/>
              <a:gd name="connsiteY1712" fmla="*/ 1563702 h 6367505"/>
              <a:gd name="connsiteX1713" fmla="*/ 4838520 w 7613003"/>
              <a:gd name="connsiteY1713" fmla="*/ 1535527 h 6367505"/>
              <a:gd name="connsiteX1714" fmla="*/ 4824431 w 7613003"/>
              <a:gd name="connsiteY1714" fmla="*/ 1535527 h 6367505"/>
              <a:gd name="connsiteX1715" fmla="*/ 4852608 w 7613003"/>
              <a:gd name="connsiteY1715" fmla="*/ 1563702 h 6367505"/>
              <a:gd name="connsiteX1716" fmla="*/ 4852608 w 7613003"/>
              <a:gd name="connsiteY1716" fmla="*/ 1577789 h 6367505"/>
              <a:gd name="connsiteX1717" fmla="*/ 4866696 w 7613003"/>
              <a:gd name="connsiteY1717" fmla="*/ 1591876 h 6367505"/>
              <a:gd name="connsiteX1718" fmla="*/ 4880784 w 7613003"/>
              <a:gd name="connsiteY1718" fmla="*/ 1605964 h 6367505"/>
              <a:gd name="connsiteX1719" fmla="*/ 4894873 w 7613003"/>
              <a:gd name="connsiteY1719" fmla="*/ 1620051 h 6367505"/>
              <a:gd name="connsiteX1720" fmla="*/ 4866696 w 7613003"/>
              <a:gd name="connsiteY1720" fmla="*/ 1605964 h 6367505"/>
              <a:gd name="connsiteX1721" fmla="*/ 4852608 w 7613003"/>
              <a:gd name="connsiteY1721" fmla="*/ 1591876 h 6367505"/>
              <a:gd name="connsiteX1722" fmla="*/ 4838520 w 7613003"/>
              <a:gd name="connsiteY1722" fmla="*/ 1591876 h 6367505"/>
              <a:gd name="connsiteX1723" fmla="*/ 4824431 w 7613003"/>
              <a:gd name="connsiteY1723" fmla="*/ 1563702 h 6367505"/>
              <a:gd name="connsiteX1724" fmla="*/ 4808582 w 7613003"/>
              <a:gd name="connsiteY1724" fmla="*/ 1542571 h 6367505"/>
              <a:gd name="connsiteX1725" fmla="*/ 4795374 w 7613003"/>
              <a:gd name="connsiteY1725" fmla="*/ 1532005 h 6367505"/>
              <a:gd name="connsiteX1726" fmla="*/ 4794494 w 7613003"/>
              <a:gd name="connsiteY1726" fmla="*/ 1528484 h 6367505"/>
              <a:gd name="connsiteX1727" fmla="*/ 4782167 w 7613003"/>
              <a:gd name="connsiteY1727" fmla="*/ 1521440 h 6367505"/>
              <a:gd name="connsiteX1728" fmla="*/ 4768078 w 7613003"/>
              <a:gd name="connsiteY1728" fmla="*/ 1507353 h 6367505"/>
              <a:gd name="connsiteX1729" fmla="*/ 4753990 w 7613003"/>
              <a:gd name="connsiteY1729" fmla="*/ 1507353 h 6367505"/>
              <a:gd name="connsiteX1730" fmla="*/ 4796255 w 7613003"/>
              <a:gd name="connsiteY1730" fmla="*/ 1549614 h 6367505"/>
              <a:gd name="connsiteX1731" fmla="*/ 4711725 w 7613003"/>
              <a:gd name="connsiteY1731" fmla="*/ 1479178 h 6367505"/>
              <a:gd name="connsiteX1732" fmla="*/ 4711725 w 7613003"/>
              <a:gd name="connsiteY1732" fmla="*/ 1465089 h 6367505"/>
              <a:gd name="connsiteX1733" fmla="*/ 4711725 w 7613003"/>
              <a:gd name="connsiteY1733" fmla="*/ 1465089 h 6367505"/>
              <a:gd name="connsiteX1734" fmla="*/ 4710831 w 7613003"/>
              <a:gd name="connsiteY1734" fmla="*/ 1465089 h 6367505"/>
              <a:gd name="connsiteX1735" fmla="*/ 4675611 w 7613003"/>
              <a:gd name="connsiteY1735" fmla="*/ 1466851 h 6367505"/>
              <a:gd name="connsiteX1736" fmla="*/ 4654834 w 7613003"/>
              <a:gd name="connsiteY1736" fmla="*/ 1474122 h 6367505"/>
              <a:gd name="connsiteX1737" fmla="*/ 4662417 w 7613003"/>
              <a:gd name="connsiteY1737" fmla="*/ 1479178 h 6367505"/>
              <a:gd name="connsiteX1738" fmla="*/ 4683549 w 7613003"/>
              <a:gd name="connsiteY1738" fmla="*/ 1493265 h 6367505"/>
              <a:gd name="connsiteX1739" fmla="*/ 4753990 w 7613003"/>
              <a:gd name="connsiteY1739" fmla="*/ 1535527 h 6367505"/>
              <a:gd name="connsiteX1740" fmla="*/ 4768078 w 7613003"/>
              <a:gd name="connsiteY1740" fmla="*/ 1549614 h 6367505"/>
              <a:gd name="connsiteX1741" fmla="*/ 4782167 w 7613003"/>
              <a:gd name="connsiteY1741" fmla="*/ 1563702 h 6367505"/>
              <a:gd name="connsiteX1742" fmla="*/ 4796255 w 7613003"/>
              <a:gd name="connsiteY1742" fmla="*/ 1577789 h 6367505"/>
              <a:gd name="connsiteX1743" fmla="*/ 4782167 w 7613003"/>
              <a:gd name="connsiteY1743" fmla="*/ 1577789 h 6367505"/>
              <a:gd name="connsiteX1744" fmla="*/ 4810343 w 7613003"/>
              <a:gd name="connsiteY1744" fmla="*/ 1605964 h 6367505"/>
              <a:gd name="connsiteX1745" fmla="*/ 4824431 w 7613003"/>
              <a:gd name="connsiteY1745" fmla="*/ 1620051 h 6367505"/>
              <a:gd name="connsiteX1746" fmla="*/ 4838520 w 7613003"/>
              <a:gd name="connsiteY1746" fmla="*/ 1620051 h 6367505"/>
              <a:gd name="connsiteX1747" fmla="*/ 4866696 w 7613003"/>
              <a:gd name="connsiteY1747" fmla="*/ 1648227 h 6367505"/>
              <a:gd name="connsiteX1748" fmla="*/ 4908961 w 7613003"/>
              <a:gd name="connsiteY1748" fmla="*/ 1690489 h 6367505"/>
              <a:gd name="connsiteX1749" fmla="*/ 4908961 w 7613003"/>
              <a:gd name="connsiteY1749" fmla="*/ 1704576 h 6367505"/>
              <a:gd name="connsiteX1750" fmla="*/ 4852608 w 7613003"/>
              <a:gd name="connsiteY1750" fmla="*/ 1648227 h 6367505"/>
              <a:gd name="connsiteX1751" fmla="*/ 4880784 w 7613003"/>
              <a:gd name="connsiteY1751" fmla="*/ 1690489 h 6367505"/>
              <a:gd name="connsiteX1752" fmla="*/ 4894873 w 7613003"/>
              <a:gd name="connsiteY1752" fmla="*/ 1704576 h 6367505"/>
              <a:gd name="connsiteX1753" fmla="*/ 4880784 w 7613003"/>
              <a:gd name="connsiteY1753" fmla="*/ 1704576 h 6367505"/>
              <a:gd name="connsiteX1754" fmla="*/ 4923048 w 7613003"/>
              <a:gd name="connsiteY1754" fmla="*/ 1732751 h 6367505"/>
              <a:gd name="connsiteX1755" fmla="*/ 4979401 w 7613003"/>
              <a:gd name="connsiteY1755" fmla="*/ 1803188 h 6367505"/>
              <a:gd name="connsiteX1756" fmla="*/ 4993490 w 7613003"/>
              <a:gd name="connsiteY1756" fmla="*/ 1803188 h 6367505"/>
              <a:gd name="connsiteX1757" fmla="*/ 4993490 w 7613003"/>
              <a:gd name="connsiteY1757" fmla="*/ 1817276 h 6367505"/>
              <a:gd name="connsiteX1758" fmla="*/ 5007579 w 7613003"/>
              <a:gd name="connsiteY1758" fmla="*/ 1817276 h 6367505"/>
              <a:gd name="connsiteX1759" fmla="*/ 5021666 w 7613003"/>
              <a:gd name="connsiteY1759" fmla="*/ 1859538 h 6367505"/>
              <a:gd name="connsiteX1760" fmla="*/ 5021666 w 7613003"/>
              <a:gd name="connsiteY1760" fmla="*/ 1873625 h 6367505"/>
              <a:gd name="connsiteX1761" fmla="*/ 5035754 w 7613003"/>
              <a:gd name="connsiteY1761" fmla="*/ 1915887 h 6367505"/>
              <a:gd name="connsiteX1762" fmla="*/ 5063931 w 7613003"/>
              <a:gd name="connsiteY1762" fmla="*/ 1958149 h 6367505"/>
              <a:gd name="connsiteX1763" fmla="*/ 5078019 w 7613003"/>
              <a:gd name="connsiteY1763" fmla="*/ 1972236 h 6367505"/>
              <a:gd name="connsiteX1764" fmla="*/ 5078019 w 7613003"/>
              <a:gd name="connsiteY1764" fmla="*/ 1986323 h 6367505"/>
              <a:gd name="connsiteX1765" fmla="*/ 5035754 w 7613003"/>
              <a:gd name="connsiteY1765" fmla="*/ 1944061 h 6367505"/>
              <a:gd name="connsiteX1766" fmla="*/ 5007579 w 7613003"/>
              <a:gd name="connsiteY1766" fmla="*/ 1929974 h 6367505"/>
              <a:gd name="connsiteX1767" fmla="*/ 4979401 w 7613003"/>
              <a:gd name="connsiteY1767" fmla="*/ 1887712 h 6367505"/>
              <a:gd name="connsiteX1768" fmla="*/ 4965313 w 7613003"/>
              <a:gd name="connsiteY1768" fmla="*/ 1873625 h 6367505"/>
              <a:gd name="connsiteX1769" fmla="*/ 4951226 w 7613003"/>
              <a:gd name="connsiteY1769" fmla="*/ 1859538 h 6367505"/>
              <a:gd name="connsiteX1770" fmla="*/ 4908961 w 7613003"/>
              <a:gd name="connsiteY1770" fmla="*/ 1831363 h 6367505"/>
              <a:gd name="connsiteX1771" fmla="*/ 4880784 w 7613003"/>
              <a:gd name="connsiteY1771" fmla="*/ 1803188 h 6367505"/>
              <a:gd name="connsiteX1772" fmla="*/ 4852608 w 7613003"/>
              <a:gd name="connsiteY1772" fmla="*/ 1775013 h 6367505"/>
              <a:gd name="connsiteX1773" fmla="*/ 4782167 w 7613003"/>
              <a:gd name="connsiteY1773" fmla="*/ 1704576 h 6367505"/>
              <a:gd name="connsiteX1774" fmla="*/ 4697638 w 7613003"/>
              <a:gd name="connsiteY1774" fmla="*/ 1634138 h 6367505"/>
              <a:gd name="connsiteX1775" fmla="*/ 4669461 w 7613003"/>
              <a:gd name="connsiteY1775" fmla="*/ 1620051 h 6367505"/>
              <a:gd name="connsiteX1776" fmla="*/ 4655372 w 7613003"/>
              <a:gd name="connsiteY1776" fmla="*/ 1605964 h 6367505"/>
              <a:gd name="connsiteX1777" fmla="*/ 4613108 w 7613003"/>
              <a:gd name="connsiteY1777" fmla="*/ 1577789 h 6367505"/>
              <a:gd name="connsiteX1778" fmla="*/ 4542666 w 7613003"/>
              <a:gd name="connsiteY1778" fmla="*/ 1535527 h 6367505"/>
              <a:gd name="connsiteX1779" fmla="*/ 4521535 w 7613003"/>
              <a:gd name="connsiteY1779" fmla="*/ 1521440 h 6367505"/>
              <a:gd name="connsiteX1780" fmla="*/ 4513274 w 7613003"/>
              <a:gd name="connsiteY1780" fmla="*/ 1515933 h 6367505"/>
              <a:gd name="connsiteX1781" fmla="*/ 4499507 w 7613003"/>
              <a:gd name="connsiteY1781" fmla="*/ 1521440 h 6367505"/>
              <a:gd name="connsiteX1782" fmla="*/ 4485419 w 7613003"/>
              <a:gd name="connsiteY1782" fmla="*/ 1521440 h 6367505"/>
              <a:gd name="connsiteX1783" fmla="*/ 4471330 w 7613003"/>
              <a:gd name="connsiteY1783" fmla="*/ 1535527 h 6367505"/>
              <a:gd name="connsiteX1784" fmla="*/ 4414979 w 7613003"/>
              <a:gd name="connsiteY1784" fmla="*/ 1549614 h 6367505"/>
              <a:gd name="connsiteX1785" fmla="*/ 4400890 w 7613003"/>
              <a:gd name="connsiteY1785" fmla="*/ 1563702 h 6367505"/>
              <a:gd name="connsiteX1786" fmla="*/ 4316360 w 7613003"/>
              <a:gd name="connsiteY1786" fmla="*/ 1605964 h 6367505"/>
              <a:gd name="connsiteX1787" fmla="*/ 4288184 w 7613003"/>
              <a:gd name="connsiteY1787" fmla="*/ 1620051 h 6367505"/>
              <a:gd name="connsiteX1788" fmla="*/ 4260008 w 7613003"/>
              <a:gd name="connsiteY1788" fmla="*/ 1634138 h 6367505"/>
              <a:gd name="connsiteX1789" fmla="*/ 4245920 w 7613003"/>
              <a:gd name="connsiteY1789" fmla="*/ 1648227 h 6367505"/>
              <a:gd name="connsiteX1790" fmla="*/ 4217743 w 7613003"/>
              <a:gd name="connsiteY1790" fmla="*/ 1676401 h 6367505"/>
              <a:gd name="connsiteX1791" fmla="*/ 4203655 w 7613003"/>
              <a:gd name="connsiteY1791" fmla="*/ 1676401 h 6367505"/>
              <a:gd name="connsiteX1792" fmla="*/ 4175478 w 7613003"/>
              <a:gd name="connsiteY1792" fmla="*/ 1704576 h 6367505"/>
              <a:gd name="connsiteX1793" fmla="*/ 4161390 w 7613003"/>
              <a:gd name="connsiteY1793" fmla="*/ 1704576 h 6367505"/>
              <a:gd name="connsiteX1794" fmla="*/ 4147302 w 7613003"/>
              <a:gd name="connsiteY1794" fmla="*/ 1718663 h 6367505"/>
              <a:gd name="connsiteX1795" fmla="*/ 4133214 w 7613003"/>
              <a:gd name="connsiteY1795" fmla="*/ 1732751 h 6367505"/>
              <a:gd name="connsiteX1796" fmla="*/ 4119125 w 7613003"/>
              <a:gd name="connsiteY1796" fmla="*/ 1746838 h 6367505"/>
              <a:gd name="connsiteX1797" fmla="*/ 4105037 w 7613003"/>
              <a:gd name="connsiteY1797" fmla="*/ 1760925 h 6367505"/>
              <a:gd name="connsiteX1798" fmla="*/ 4090949 w 7613003"/>
              <a:gd name="connsiteY1798" fmla="*/ 1760925 h 6367505"/>
              <a:gd name="connsiteX1799" fmla="*/ 4062772 w 7613003"/>
              <a:gd name="connsiteY1799" fmla="*/ 1789100 h 6367505"/>
              <a:gd name="connsiteX1800" fmla="*/ 4048684 w 7613003"/>
              <a:gd name="connsiteY1800" fmla="*/ 1789100 h 6367505"/>
              <a:gd name="connsiteX1801" fmla="*/ 4034596 w 7613003"/>
              <a:gd name="connsiteY1801" fmla="*/ 1817276 h 6367505"/>
              <a:gd name="connsiteX1802" fmla="*/ 4020508 w 7613003"/>
              <a:gd name="connsiteY1802" fmla="*/ 1817276 h 6367505"/>
              <a:gd name="connsiteX1803" fmla="*/ 4006419 w 7613003"/>
              <a:gd name="connsiteY1803" fmla="*/ 1831363 h 6367505"/>
              <a:gd name="connsiteX1804" fmla="*/ 3992331 w 7613003"/>
              <a:gd name="connsiteY1804" fmla="*/ 1845450 h 6367505"/>
              <a:gd name="connsiteX1805" fmla="*/ 3978244 w 7613003"/>
              <a:gd name="connsiteY1805" fmla="*/ 1859538 h 6367505"/>
              <a:gd name="connsiteX1806" fmla="*/ 3950066 w 7613003"/>
              <a:gd name="connsiteY1806" fmla="*/ 1887712 h 6367505"/>
              <a:gd name="connsiteX1807" fmla="*/ 3935979 w 7613003"/>
              <a:gd name="connsiteY1807" fmla="*/ 1915887 h 6367505"/>
              <a:gd name="connsiteX1808" fmla="*/ 3907802 w 7613003"/>
              <a:gd name="connsiteY1808" fmla="*/ 1929974 h 6367505"/>
              <a:gd name="connsiteX1809" fmla="*/ 3851449 w 7613003"/>
              <a:gd name="connsiteY1809" fmla="*/ 1986323 h 6367505"/>
              <a:gd name="connsiteX1810" fmla="*/ 3823273 w 7613003"/>
              <a:gd name="connsiteY1810" fmla="*/ 2014499 h 6367505"/>
              <a:gd name="connsiteX1811" fmla="*/ 3809185 w 7613003"/>
              <a:gd name="connsiteY1811" fmla="*/ 2028587 h 6367505"/>
              <a:gd name="connsiteX1812" fmla="*/ 3766920 w 7613003"/>
              <a:gd name="connsiteY1812" fmla="*/ 2070849 h 6367505"/>
              <a:gd name="connsiteX1813" fmla="*/ 3752832 w 7613003"/>
              <a:gd name="connsiteY1813" fmla="*/ 2084936 h 6367505"/>
              <a:gd name="connsiteX1814" fmla="*/ 3724655 w 7613003"/>
              <a:gd name="connsiteY1814" fmla="*/ 2127198 h 6367505"/>
              <a:gd name="connsiteX1815" fmla="*/ 3715851 w 7613003"/>
              <a:gd name="connsiteY1815" fmla="*/ 2141285 h 6367505"/>
              <a:gd name="connsiteX1816" fmla="*/ 3713698 w 7613003"/>
              <a:gd name="connsiteY1816" fmla="*/ 2142850 h 6367505"/>
              <a:gd name="connsiteX1817" fmla="*/ 3712328 w 7613003"/>
              <a:gd name="connsiteY1817" fmla="*/ 2143046 h 6367505"/>
              <a:gd name="connsiteX1818" fmla="*/ 3712200 w 7613003"/>
              <a:gd name="connsiteY1818" fmla="*/ 2143940 h 6367505"/>
              <a:gd name="connsiteX1819" fmla="*/ 3696479 w 7613003"/>
              <a:gd name="connsiteY1819" fmla="*/ 2155372 h 6367505"/>
              <a:gd name="connsiteX1820" fmla="*/ 3710567 w 7613003"/>
              <a:gd name="connsiteY1820" fmla="*/ 2155372 h 6367505"/>
              <a:gd name="connsiteX1821" fmla="*/ 3712200 w 7613003"/>
              <a:gd name="connsiteY1821" fmla="*/ 2143940 h 6367505"/>
              <a:gd name="connsiteX1822" fmla="*/ 3713698 w 7613003"/>
              <a:gd name="connsiteY1822" fmla="*/ 2142850 h 6367505"/>
              <a:gd name="connsiteX1823" fmla="*/ 3724655 w 7613003"/>
              <a:gd name="connsiteY1823" fmla="*/ 2141285 h 6367505"/>
              <a:gd name="connsiteX1824" fmla="*/ 3668303 w 7613003"/>
              <a:gd name="connsiteY1824" fmla="*/ 2211723 h 6367505"/>
              <a:gd name="connsiteX1825" fmla="*/ 3654214 w 7613003"/>
              <a:gd name="connsiteY1825" fmla="*/ 2225810 h 6367505"/>
              <a:gd name="connsiteX1826" fmla="*/ 3597862 w 7613003"/>
              <a:gd name="connsiteY1826" fmla="*/ 2296246 h 6367505"/>
              <a:gd name="connsiteX1827" fmla="*/ 3589056 w 7613003"/>
              <a:gd name="connsiteY1827" fmla="*/ 2317377 h 6367505"/>
              <a:gd name="connsiteX1828" fmla="*/ 3582600 w 7613003"/>
              <a:gd name="connsiteY1828" fmla="*/ 2324421 h 6367505"/>
              <a:gd name="connsiteX1829" fmla="*/ 3582013 w 7613003"/>
              <a:gd name="connsiteY1829" fmla="*/ 2324421 h 6367505"/>
              <a:gd name="connsiteX1830" fmla="*/ 3569684 w 7613003"/>
              <a:gd name="connsiteY1830" fmla="*/ 2324421 h 6367505"/>
              <a:gd name="connsiteX1831" fmla="*/ 3569684 w 7613003"/>
              <a:gd name="connsiteY1831" fmla="*/ 2338508 h 6367505"/>
              <a:gd name="connsiteX1832" fmla="*/ 3555597 w 7613003"/>
              <a:gd name="connsiteY1832" fmla="*/ 2352596 h 6367505"/>
              <a:gd name="connsiteX1833" fmla="*/ 3541509 w 7613003"/>
              <a:gd name="connsiteY1833" fmla="*/ 2373728 h 6367505"/>
              <a:gd name="connsiteX1834" fmla="*/ 3527420 w 7613003"/>
              <a:gd name="connsiteY1834" fmla="*/ 2380771 h 6367505"/>
              <a:gd name="connsiteX1835" fmla="*/ 3527420 w 7613003"/>
              <a:gd name="connsiteY1835" fmla="*/ 2394859 h 6367505"/>
              <a:gd name="connsiteX1836" fmla="*/ 3515093 w 7613003"/>
              <a:gd name="connsiteY1836" fmla="*/ 2408946 h 6367505"/>
              <a:gd name="connsiteX1837" fmla="*/ 3513333 w 7613003"/>
              <a:gd name="connsiteY1837" fmla="*/ 2408946 h 6367505"/>
              <a:gd name="connsiteX1838" fmla="*/ 3513333 w 7613003"/>
              <a:gd name="connsiteY1838" fmla="*/ 2423033 h 6367505"/>
              <a:gd name="connsiteX1839" fmla="*/ 3499244 w 7613003"/>
              <a:gd name="connsiteY1839" fmla="*/ 2437121 h 6367505"/>
              <a:gd name="connsiteX1840" fmla="*/ 3491417 w 7613003"/>
              <a:gd name="connsiteY1840" fmla="*/ 2455904 h 6367505"/>
              <a:gd name="connsiteX1841" fmla="*/ 3488287 w 7613003"/>
              <a:gd name="connsiteY1841" fmla="*/ 2460599 h 6367505"/>
              <a:gd name="connsiteX1842" fmla="*/ 3471067 w 7613003"/>
              <a:gd name="connsiteY1842" fmla="*/ 2479383 h 6367505"/>
              <a:gd name="connsiteX1843" fmla="*/ 3456980 w 7613003"/>
              <a:gd name="connsiteY1843" fmla="*/ 2507557 h 6367505"/>
              <a:gd name="connsiteX1844" fmla="*/ 3471067 w 7613003"/>
              <a:gd name="connsiteY1844" fmla="*/ 2493470 h 6367505"/>
              <a:gd name="connsiteX1845" fmla="*/ 3485156 w 7613003"/>
              <a:gd name="connsiteY1845" fmla="*/ 2479383 h 6367505"/>
              <a:gd name="connsiteX1846" fmla="*/ 3485156 w 7613003"/>
              <a:gd name="connsiteY1846" fmla="*/ 2493470 h 6367505"/>
              <a:gd name="connsiteX1847" fmla="*/ 3471067 w 7613003"/>
              <a:gd name="connsiteY1847" fmla="*/ 2521646 h 6367505"/>
              <a:gd name="connsiteX1848" fmla="*/ 3442891 w 7613003"/>
              <a:gd name="connsiteY1848" fmla="*/ 2563908 h 6367505"/>
              <a:gd name="connsiteX1849" fmla="*/ 3428803 w 7613003"/>
              <a:gd name="connsiteY1849" fmla="*/ 2577995 h 6367505"/>
              <a:gd name="connsiteX1850" fmla="*/ 3428803 w 7613003"/>
              <a:gd name="connsiteY1850" fmla="*/ 2606170 h 6367505"/>
              <a:gd name="connsiteX1851" fmla="*/ 3414714 w 7613003"/>
              <a:gd name="connsiteY1851" fmla="*/ 2634344 h 6367505"/>
              <a:gd name="connsiteX1852" fmla="*/ 3372450 w 7613003"/>
              <a:gd name="connsiteY1852" fmla="*/ 2718869 h 6367505"/>
              <a:gd name="connsiteX1853" fmla="*/ 3372450 w 7613003"/>
              <a:gd name="connsiteY1853" fmla="*/ 2732957 h 6367505"/>
              <a:gd name="connsiteX1854" fmla="*/ 3372450 w 7613003"/>
              <a:gd name="connsiteY1854" fmla="*/ 2747044 h 6367505"/>
              <a:gd name="connsiteX1855" fmla="*/ 3372450 w 7613003"/>
              <a:gd name="connsiteY1855" fmla="*/ 2789306 h 6367505"/>
              <a:gd name="connsiteX1856" fmla="*/ 3358361 w 7613003"/>
              <a:gd name="connsiteY1856" fmla="*/ 2831568 h 6367505"/>
              <a:gd name="connsiteX1857" fmla="*/ 3344274 w 7613003"/>
              <a:gd name="connsiteY1857" fmla="*/ 2916093 h 6367505"/>
              <a:gd name="connsiteX1858" fmla="*/ 3330185 w 7613003"/>
              <a:gd name="connsiteY1858" fmla="*/ 2944268 h 6367505"/>
              <a:gd name="connsiteX1859" fmla="*/ 3330185 w 7613003"/>
              <a:gd name="connsiteY1859" fmla="*/ 2986529 h 6367505"/>
              <a:gd name="connsiteX1860" fmla="*/ 3316097 w 7613003"/>
              <a:gd name="connsiteY1860" fmla="*/ 3056966 h 6367505"/>
              <a:gd name="connsiteX1861" fmla="*/ 3316097 w 7613003"/>
              <a:gd name="connsiteY1861" fmla="*/ 3071053 h 6367505"/>
              <a:gd name="connsiteX1862" fmla="*/ 3316097 w 7613003"/>
              <a:gd name="connsiteY1862" fmla="*/ 3099229 h 6367505"/>
              <a:gd name="connsiteX1863" fmla="*/ 3302008 w 7613003"/>
              <a:gd name="connsiteY1863" fmla="*/ 3183753 h 6367505"/>
              <a:gd name="connsiteX1864" fmla="*/ 3302008 w 7613003"/>
              <a:gd name="connsiteY1864" fmla="*/ 3282365 h 6367505"/>
              <a:gd name="connsiteX1865" fmla="*/ 3316097 w 7613003"/>
              <a:gd name="connsiteY1865" fmla="*/ 3352801 h 6367505"/>
              <a:gd name="connsiteX1866" fmla="*/ 3316097 w 7613003"/>
              <a:gd name="connsiteY1866" fmla="*/ 3380976 h 6367505"/>
              <a:gd name="connsiteX1867" fmla="*/ 3330185 w 7613003"/>
              <a:gd name="connsiteY1867" fmla="*/ 3423238 h 6367505"/>
              <a:gd name="connsiteX1868" fmla="*/ 3330185 w 7613003"/>
              <a:gd name="connsiteY1868" fmla="*/ 3437327 h 6367505"/>
              <a:gd name="connsiteX1869" fmla="*/ 3344274 w 7613003"/>
              <a:gd name="connsiteY1869" fmla="*/ 3521850 h 6367505"/>
              <a:gd name="connsiteX1870" fmla="*/ 3372450 w 7613003"/>
              <a:gd name="connsiteY1870" fmla="*/ 3592287 h 6367505"/>
              <a:gd name="connsiteX1871" fmla="*/ 3386538 w 7613003"/>
              <a:gd name="connsiteY1871" fmla="*/ 3634550 h 6367505"/>
              <a:gd name="connsiteX1872" fmla="*/ 3386538 w 7613003"/>
              <a:gd name="connsiteY1872" fmla="*/ 3648637 h 6367505"/>
              <a:gd name="connsiteX1873" fmla="*/ 3414714 w 7613003"/>
              <a:gd name="connsiteY1873" fmla="*/ 3690899 h 6367505"/>
              <a:gd name="connsiteX1874" fmla="*/ 3414714 w 7613003"/>
              <a:gd name="connsiteY1874" fmla="*/ 3704987 h 6367505"/>
              <a:gd name="connsiteX1875" fmla="*/ 3414714 w 7613003"/>
              <a:gd name="connsiteY1875" fmla="*/ 3719074 h 6367505"/>
              <a:gd name="connsiteX1876" fmla="*/ 3428803 w 7613003"/>
              <a:gd name="connsiteY1876" fmla="*/ 3733161 h 6367505"/>
              <a:gd name="connsiteX1877" fmla="*/ 3442891 w 7613003"/>
              <a:gd name="connsiteY1877" fmla="*/ 3789512 h 6367505"/>
              <a:gd name="connsiteX1878" fmla="*/ 3471067 w 7613003"/>
              <a:gd name="connsiteY1878" fmla="*/ 3831773 h 6367505"/>
              <a:gd name="connsiteX1879" fmla="*/ 3527420 w 7613003"/>
              <a:gd name="connsiteY1879" fmla="*/ 3958560 h 6367505"/>
              <a:gd name="connsiteX1880" fmla="*/ 3555597 w 7613003"/>
              <a:gd name="connsiteY1880" fmla="*/ 4028997 h 6367505"/>
              <a:gd name="connsiteX1881" fmla="*/ 3583773 w 7613003"/>
              <a:gd name="connsiteY1881" fmla="*/ 4071259 h 6367505"/>
              <a:gd name="connsiteX1882" fmla="*/ 3611950 w 7613003"/>
              <a:gd name="connsiteY1882" fmla="*/ 4113521 h 6367505"/>
              <a:gd name="connsiteX1883" fmla="*/ 3724655 w 7613003"/>
              <a:gd name="connsiteY1883" fmla="*/ 4254395 h 6367505"/>
              <a:gd name="connsiteX1884" fmla="*/ 3752832 w 7613003"/>
              <a:gd name="connsiteY1884" fmla="*/ 4282570 h 6367505"/>
              <a:gd name="connsiteX1885" fmla="*/ 3766920 w 7613003"/>
              <a:gd name="connsiteY1885" fmla="*/ 4282570 h 6367505"/>
              <a:gd name="connsiteX1886" fmla="*/ 3851449 w 7613003"/>
              <a:gd name="connsiteY1886" fmla="*/ 4381182 h 6367505"/>
              <a:gd name="connsiteX1887" fmla="*/ 3921891 w 7613003"/>
              <a:gd name="connsiteY1887" fmla="*/ 4437531 h 6367505"/>
              <a:gd name="connsiteX1888" fmla="*/ 3964155 w 7613003"/>
              <a:gd name="connsiteY1888" fmla="*/ 4465706 h 6367505"/>
              <a:gd name="connsiteX1889" fmla="*/ 4006419 w 7613003"/>
              <a:gd name="connsiteY1889" fmla="*/ 4507969 h 6367505"/>
              <a:gd name="connsiteX1890" fmla="*/ 4020508 w 7613003"/>
              <a:gd name="connsiteY1890" fmla="*/ 4507969 h 6367505"/>
              <a:gd name="connsiteX1891" fmla="*/ 4048684 w 7613003"/>
              <a:gd name="connsiteY1891" fmla="*/ 4536144 h 6367505"/>
              <a:gd name="connsiteX1892" fmla="*/ 4062772 w 7613003"/>
              <a:gd name="connsiteY1892" fmla="*/ 4536144 h 6367505"/>
              <a:gd name="connsiteX1893" fmla="*/ 4048684 w 7613003"/>
              <a:gd name="connsiteY1893" fmla="*/ 4550231 h 6367505"/>
              <a:gd name="connsiteX1894" fmla="*/ 4034596 w 7613003"/>
              <a:gd name="connsiteY1894" fmla="*/ 4550231 h 6367505"/>
              <a:gd name="connsiteX1895" fmla="*/ 4062772 w 7613003"/>
              <a:gd name="connsiteY1895" fmla="*/ 4578406 h 6367505"/>
              <a:gd name="connsiteX1896" fmla="*/ 4119125 w 7613003"/>
              <a:gd name="connsiteY1896" fmla="*/ 4606580 h 6367505"/>
              <a:gd name="connsiteX1897" fmla="*/ 4183518 w 7613003"/>
              <a:gd name="connsiteY1897" fmla="*/ 4638774 h 6367505"/>
              <a:gd name="connsiteX1898" fmla="*/ 4190461 w 7613003"/>
              <a:gd name="connsiteY1898" fmla="*/ 4634755 h 6367505"/>
              <a:gd name="connsiteX1899" fmla="*/ 4232726 w 7613003"/>
              <a:gd name="connsiteY1899" fmla="*/ 4634755 h 6367505"/>
              <a:gd name="connsiteX1900" fmla="*/ 4232726 w 7613003"/>
              <a:gd name="connsiteY1900" fmla="*/ 4648842 h 6367505"/>
              <a:gd name="connsiteX1901" fmla="*/ 4226826 w 7613003"/>
              <a:gd name="connsiteY1901" fmla="*/ 4658430 h 6367505"/>
              <a:gd name="connsiteX1902" fmla="*/ 4254724 w 7613003"/>
              <a:gd name="connsiteY1902" fmla="*/ 4669974 h 6367505"/>
              <a:gd name="connsiteX1903" fmla="*/ 4316360 w 7613003"/>
              <a:gd name="connsiteY1903" fmla="*/ 4691105 h 6367505"/>
              <a:gd name="connsiteX1904" fmla="*/ 4337493 w 7613003"/>
              <a:gd name="connsiteY1904" fmla="*/ 4692866 h 6367505"/>
              <a:gd name="connsiteX1905" fmla="*/ 4353845 w 7613003"/>
              <a:gd name="connsiteY1905" fmla="*/ 4702405 h 6367505"/>
              <a:gd name="connsiteX1906" fmla="*/ 4355117 w 7613003"/>
              <a:gd name="connsiteY1906" fmla="*/ 4701450 h 6367505"/>
              <a:gd name="connsiteX1907" fmla="*/ 4387696 w 7613003"/>
              <a:gd name="connsiteY1907" fmla="*/ 4677018 h 6367505"/>
              <a:gd name="connsiteX1908" fmla="*/ 4444049 w 7613003"/>
              <a:gd name="connsiteY1908" fmla="*/ 4648842 h 6367505"/>
              <a:gd name="connsiteX1909" fmla="*/ 4472226 w 7613003"/>
              <a:gd name="connsiteY1909" fmla="*/ 4634755 h 6367505"/>
              <a:gd name="connsiteX1910" fmla="*/ 4500402 w 7613003"/>
              <a:gd name="connsiteY1910" fmla="*/ 4620667 h 6367505"/>
              <a:gd name="connsiteX1911" fmla="*/ 4542666 w 7613003"/>
              <a:gd name="connsiteY1911" fmla="*/ 4592493 h 6367505"/>
              <a:gd name="connsiteX1912" fmla="*/ 4556755 w 7613003"/>
              <a:gd name="connsiteY1912" fmla="*/ 4578406 h 6367505"/>
              <a:gd name="connsiteX1913" fmla="*/ 4613108 w 7613003"/>
              <a:gd name="connsiteY1913" fmla="*/ 4522056 h 6367505"/>
              <a:gd name="connsiteX1914" fmla="*/ 4641285 w 7613003"/>
              <a:gd name="connsiteY1914" fmla="*/ 4493882 h 6367505"/>
              <a:gd name="connsiteX1915" fmla="*/ 4697638 w 7613003"/>
              <a:gd name="connsiteY1915" fmla="*/ 4451619 h 6367505"/>
              <a:gd name="connsiteX1916" fmla="*/ 4711725 w 7613003"/>
              <a:gd name="connsiteY1916" fmla="*/ 4437531 h 6367505"/>
              <a:gd name="connsiteX1917" fmla="*/ 4768078 w 7613003"/>
              <a:gd name="connsiteY1917" fmla="*/ 4353007 h 6367505"/>
              <a:gd name="connsiteX1918" fmla="*/ 4782167 w 7613003"/>
              <a:gd name="connsiteY1918" fmla="*/ 4338920 h 6367505"/>
              <a:gd name="connsiteX1919" fmla="*/ 4824431 w 7613003"/>
              <a:gd name="connsiteY1919" fmla="*/ 4296657 h 6367505"/>
              <a:gd name="connsiteX1920" fmla="*/ 4838520 w 7613003"/>
              <a:gd name="connsiteY1920" fmla="*/ 4282570 h 6367505"/>
              <a:gd name="connsiteX1921" fmla="*/ 4838520 w 7613003"/>
              <a:gd name="connsiteY1921" fmla="*/ 4268482 h 6367505"/>
              <a:gd name="connsiteX1922" fmla="*/ 4894873 w 7613003"/>
              <a:gd name="connsiteY1922" fmla="*/ 4226221 h 6367505"/>
              <a:gd name="connsiteX1923" fmla="*/ 4894873 w 7613003"/>
              <a:gd name="connsiteY1923" fmla="*/ 4212133 h 6367505"/>
              <a:gd name="connsiteX1924" fmla="*/ 4923048 w 7613003"/>
              <a:gd name="connsiteY1924" fmla="*/ 4183958 h 6367505"/>
              <a:gd name="connsiteX1925" fmla="*/ 4937137 w 7613003"/>
              <a:gd name="connsiteY1925" fmla="*/ 4169871 h 6367505"/>
              <a:gd name="connsiteX1926" fmla="*/ 4979401 w 7613003"/>
              <a:gd name="connsiteY1926" fmla="*/ 4113521 h 6367505"/>
              <a:gd name="connsiteX1927" fmla="*/ 4993490 w 7613003"/>
              <a:gd name="connsiteY1927" fmla="*/ 4099433 h 6367505"/>
              <a:gd name="connsiteX1928" fmla="*/ 5021666 w 7613003"/>
              <a:gd name="connsiteY1928" fmla="*/ 4028997 h 6367505"/>
              <a:gd name="connsiteX1929" fmla="*/ 5063931 w 7613003"/>
              <a:gd name="connsiteY1929" fmla="*/ 3958560 h 6367505"/>
              <a:gd name="connsiteX1930" fmla="*/ 5078019 w 7613003"/>
              <a:gd name="connsiteY1930" fmla="*/ 3986735 h 6367505"/>
              <a:gd name="connsiteX1931" fmla="*/ 5063931 w 7613003"/>
              <a:gd name="connsiteY1931" fmla="*/ 4043084 h 6367505"/>
              <a:gd name="connsiteX1932" fmla="*/ 5063931 w 7613003"/>
              <a:gd name="connsiteY1932" fmla="*/ 4085346 h 6367505"/>
              <a:gd name="connsiteX1933" fmla="*/ 5063931 w 7613003"/>
              <a:gd name="connsiteY1933" fmla="*/ 4113521 h 6367505"/>
              <a:gd name="connsiteX1934" fmla="*/ 5021666 w 7613003"/>
              <a:gd name="connsiteY1934" fmla="*/ 4198046 h 6367505"/>
              <a:gd name="connsiteX1935" fmla="*/ 5021666 w 7613003"/>
              <a:gd name="connsiteY1935" fmla="*/ 4212133 h 6367505"/>
              <a:gd name="connsiteX1936" fmla="*/ 4993490 w 7613003"/>
              <a:gd name="connsiteY1936" fmla="*/ 4268482 h 6367505"/>
              <a:gd name="connsiteX1937" fmla="*/ 4965313 w 7613003"/>
              <a:gd name="connsiteY1937" fmla="*/ 4353007 h 6367505"/>
              <a:gd name="connsiteX1938" fmla="*/ 4908961 w 7613003"/>
              <a:gd name="connsiteY1938" fmla="*/ 4423444 h 6367505"/>
              <a:gd name="connsiteX1939" fmla="*/ 4852608 w 7613003"/>
              <a:gd name="connsiteY1939" fmla="*/ 4522056 h 6367505"/>
              <a:gd name="connsiteX1940" fmla="*/ 4824431 w 7613003"/>
              <a:gd name="connsiteY1940" fmla="*/ 4564318 h 6367505"/>
              <a:gd name="connsiteX1941" fmla="*/ 4782167 w 7613003"/>
              <a:gd name="connsiteY1941" fmla="*/ 4634755 h 6367505"/>
              <a:gd name="connsiteX1942" fmla="*/ 4753990 w 7613003"/>
              <a:gd name="connsiteY1942" fmla="*/ 4705192 h 6367505"/>
              <a:gd name="connsiteX1943" fmla="*/ 4711725 w 7613003"/>
              <a:gd name="connsiteY1943" fmla="*/ 4775629 h 6367505"/>
              <a:gd name="connsiteX1944" fmla="*/ 4690593 w 7613003"/>
              <a:gd name="connsiteY1944" fmla="*/ 4809086 h 6367505"/>
              <a:gd name="connsiteX1945" fmla="*/ 4674017 w 7613003"/>
              <a:gd name="connsiteY1945" fmla="*/ 4827043 h 6367505"/>
              <a:gd name="connsiteX1946" fmla="*/ 4682655 w 7613003"/>
              <a:gd name="connsiteY1946" fmla="*/ 4831978 h 6367505"/>
              <a:gd name="connsiteX1947" fmla="*/ 4696742 w 7613003"/>
              <a:gd name="connsiteY1947" fmla="*/ 4831978 h 6367505"/>
              <a:gd name="connsiteX1948" fmla="*/ 4730202 w 7613003"/>
              <a:gd name="connsiteY1948" fmla="*/ 4844306 h 6367505"/>
              <a:gd name="connsiteX1949" fmla="*/ 4741867 w 7613003"/>
              <a:gd name="connsiteY1949" fmla="*/ 4845203 h 6367505"/>
              <a:gd name="connsiteX1950" fmla="*/ 4753990 w 7613003"/>
              <a:gd name="connsiteY1950" fmla="*/ 4831978 h 6367505"/>
              <a:gd name="connsiteX1951" fmla="*/ 4796255 w 7613003"/>
              <a:gd name="connsiteY1951" fmla="*/ 4789716 h 6367505"/>
              <a:gd name="connsiteX1952" fmla="*/ 4838520 w 7613003"/>
              <a:gd name="connsiteY1952" fmla="*/ 4747454 h 6367505"/>
              <a:gd name="connsiteX1953" fmla="*/ 4894873 w 7613003"/>
              <a:gd name="connsiteY1953" fmla="*/ 4691105 h 6367505"/>
              <a:gd name="connsiteX1954" fmla="*/ 4908961 w 7613003"/>
              <a:gd name="connsiteY1954" fmla="*/ 4691105 h 6367505"/>
              <a:gd name="connsiteX1955" fmla="*/ 4965313 w 7613003"/>
              <a:gd name="connsiteY1955" fmla="*/ 4634755 h 6367505"/>
              <a:gd name="connsiteX1956" fmla="*/ 5035754 w 7613003"/>
              <a:gd name="connsiteY1956" fmla="*/ 4550231 h 6367505"/>
              <a:gd name="connsiteX1957" fmla="*/ 5063931 w 7613003"/>
              <a:gd name="connsiteY1957" fmla="*/ 4522056 h 6367505"/>
              <a:gd name="connsiteX1958" fmla="*/ 5063931 w 7613003"/>
              <a:gd name="connsiteY1958" fmla="*/ 4536144 h 6367505"/>
              <a:gd name="connsiteX1959" fmla="*/ 5049843 w 7613003"/>
              <a:gd name="connsiteY1959" fmla="*/ 4592493 h 6367505"/>
              <a:gd name="connsiteX1960" fmla="*/ 5049843 w 7613003"/>
              <a:gd name="connsiteY1960" fmla="*/ 4606580 h 6367505"/>
              <a:gd name="connsiteX1961" fmla="*/ 5021666 w 7613003"/>
              <a:gd name="connsiteY1961" fmla="*/ 4677018 h 6367505"/>
              <a:gd name="connsiteX1962" fmla="*/ 4894873 w 7613003"/>
              <a:gd name="connsiteY1962" fmla="*/ 4860154 h 6367505"/>
              <a:gd name="connsiteX1963" fmla="*/ 4902783 w 7613003"/>
              <a:gd name="connsiteY1963" fmla="*/ 4860154 h 6367505"/>
              <a:gd name="connsiteX1964" fmla="*/ 4922154 w 7613003"/>
              <a:gd name="connsiteY1964" fmla="*/ 4860154 h 6367505"/>
              <a:gd name="connsiteX1965" fmla="*/ 4936242 w 7613003"/>
              <a:gd name="connsiteY1965" fmla="*/ 4860154 h 6367505"/>
              <a:gd name="connsiteX1966" fmla="*/ 4950331 w 7613003"/>
              <a:gd name="connsiteY1966" fmla="*/ 4860154 h 6367505"/>
              <a:gd name="connsiteX1967" fmla="*/ 4964418 w 7613003"/>
              <a:gd name="connsiteY1967" fmla="*/ 4846067 h 6367505"/>
              <a:gd name="connsiteX1968" fmla="*/ 5034860 w 7613003"/>
              <a:gd name="connsiteY1968" fmla="*/ 4846067 h 6367505"/>
              <a:gd name="connsiteX1969" fmla="*/ 5119389 w 7613003"/>
              <a:gd name="connsiteY1969" fmla="*/ 4846067 h 6367505"/>
              <a:gd name="connsiteX1970" fmla="*/ 5128194 w 7613003"/>
              <a:gd name="connsiteY1970" fmla="*/ 4846067 h 6367505"/>
              <a:gd name="connsiteX1971" fmla="*/ 5136626 w 7613003"/>
              <a:gd name="connsiteY1971" fmla="*/ 4846067 h 6367505"/>
              <a:gd name="connsiteX1972" fmla="*/ 5153743 w 7613003"/>
              <a:gd name="connsiteY1972" fmla="*/ 4830218 h 6367505"/>
              <a:gd name="connsiteX1973" fmla="*/ 5190725 w 7613003"/>
              <a:gd name="connsiteY1973" fmla="*/ 4775629 h 6367505"/>
              <a:gd name="connsiteX1974" fmla="*/ 5204813 w 7613003"/>
              <a:gd name="connsiteY1974" fmla="*/ 4761542 h 6367505"/>
              <a:gd name="connsiteX1975" fmla="*/ 5190725 w 7613003"/>
              <a:gd name="connsiteY1975" fmla="*/ 4761542 h 6367505"/>
              <a:gd name="connsiteX1976" fmla="*/ 5218902 w 7613003"/>
              <a:gd name="connsiteY1976" fmla="*/ 4747454 h 6367505"/>
              <a:gd name="connsiteX1977" fmla="*/ 5289343 w 7613003"/>
              <a:gd name="connsiteY1977" fmla="*/ 4634755 h 6367505"/>
              <a:gd name="connsiteX1978" fmla="*/ 5303431 w 7613003"/>
              <a:gd name="connsiteY1978" fmla="*/ 4620667 h 6367505"/>
              <a:gd name="connsiteX1979" fmla="*/ 5317519 w 7613003"/>
              <a:gd name="connsiteY1979" fmla="*/ 4606580 h 6367505"/>
              <a:gd name="connsiteX1980" fmla="*/ 5331608 w 7613003"/>
              <a:gd name="connsiteY1980" fmla="*/ 4592493 h 6367505"/>
              <a:gd name="connsiteX1981" fmla="*/ 5345695 w 7613003"/>
              <a:gd name="connsiteY1981" fmla="*/ 4564318 h 6367505"/>
              <a:gd name="connsiteX1982" fmla="*/ 5373872 w 7613003"/>
              <a:gd name="connsiteY1982" fmla="*/ 4536144 h 6367505"/>
              <a:gd name="connsiteX1983" fmla="*/ 5373872 w 7613003"/>
              <a:gd name="connsiteY1983" fmla="*/ 4522056 h 6367505"/>
              <a:gd name="connsiteX1984" fmla="*/ 5387961 w 7613003"/>
              <a:gd name="connsiteY1984" fmla="*/ 4507969 h 6367505"/>
              <a:gd name="connsiteX1985" fmla="*/ 5416136 w 7613003"/>
              <a:gd name="connsiteY1985" fmla="*/ 4479793 h 6367505"/>
              <a:gd name="connsiteX1986" fmla="*/ 5444314 w 7613003"/>
              <a:gd name="connsiteY1986" fmla="*/ 4437531 h 6367505"/>
              <a:gd name="connsiteX1987" fmla="*/ 5472489 w 7613003"/>
              <a:gd name="connsiteY1987" fmla="*/ 4381182 h 6367505"/>
              <a:gd name="connsiteX1988" fmla="*/ 5472489 w 7613003"/>
              <a:gd name="connsiteY1988" fmla="*/ 4367095 h 6367505"/>
              <a:gd name="connsiteX1989" fmla="*/ 5528842 w 7613003"/>
              <a:gd name="connsiteY1989" fmla="*/ 4268482 h 6367505"/>
              <a:gd name="connsiteX1990" fmla="*/ 5528842 w 7613003"/>
              <a:gd name="connsiteY1990" fmla="*/ 4254395 h 6367505"/>
              <a:gd name="connsiteX1991" fmla="*/ 5542931 w 7613003"/>
              <a:gd name="connsiteY1991" fmla="*/ 4226221 h 6367505"/>
              <a:gd name="connsiteX1992" fmla="*/ 5585195 w 7613003"/>
              <a:gd name="connsiteY1992" fmla="*/ 4141697 h 6367505"/>
              <a:gd name="connsiteX1993" fmla="*/ 5599284 w 7613003"/>
              <a:gd name="connsiteY1993" fmla="*/ 4099433 h 6367505"/>
              <a:gd name="connsiteX1994" fmla="*/ 5641548 w 7613003"/>
              <a:gd name="connsiteY1994" fmla="*/ 3958560 h 6367505"/>
              <a:gd name="connsiteX1995" fmla="*/ 5655637 w 7613003"/>
              <a:gd name="connsiteY1995" fmla="*/ 3916297 h 6367505"/>
              <a:gd name="connsiteX1996" fmla="*/ 5669724 w 7613003"/>
              <a:gd name="connsiteY1996" fmla="*/ 3888123 h 6367505"/>
              <a:gd name="connsiteX1997" fmla="*/ 5697901 w 7613003"/>
              <a:gd name="connsiteY1997" fmla="*/ 3775423 h 6367505"/>
              <a:gd name="connsiteX1998" fmla="*/ 5726077 w 7613003"/>
              <a:gd name="connsiteY1998" fmla="*/ 3690899 h 6367505"/>
              <a:gd name="connsiteX1999" fmla="*/ 5740166 w 7613003"/>
              <a:gd name="connsiteY1999" fmla="*/ 3592287 h 6367505"/>
              <a:gd name="connsiteX2000" fmla="*/ 5754254 w 7613003"/>
              <a:gd name="connsiteY2000" fmla="*/ 3564112 h 6367505"/>
              <a:gd name="connsiteX2001" fmla="*/ 5768341 w 7613003"/>
              <a:gd name="connsiteY2001" fmla="*/ 3521850 h 6367505"/>
              <a:gd name="connsiteX2002" fmla="*/ 5768341 w 7613003"/>
              <a:gd name="connsiteY2002" fmla="*/ 3479588 h 6367505"/>
              <a:gd name="connsiteX2003" fmla="*/ 5782430 w 7613003"/>
              <a:gd name="connsiteY2003" fmla="*/ 3366889 h 6367505"/>
              <a:gd name="connsiteX2004" fmla="*/ 5782430 w 7613003"/>
              <a:gd name="connsiteY2004" fmla="*/ 3310540 h 6367505"/>
              <a:gd name="connsiteX2005" fmla="*/ 5796519 w 7613003"/>
              <a:gd name="connsiteY2005" fmla="*/ 3240102 h 6367505"/>
              <a:gd name="connsiteX2006" fmla="*/ 5810607 w 7613003"/>
              <a:gd name="connsiteY2006" fmla="*/ 3211927 h 6367505"/>
              <a:gd name="connsiteX2007" fmla="*/ 5824694 w 7613003"/>
              <a:gd name="connsiteY2007" fmla="*/ 3226015 h 6367505"/>
              <a:gd name="connsiteX2008" fmla="*/ 5824694 w 7613003"/>
              <a:gd name="connsiteY2008" fmla="*/ 3282365 h 6367505"/>
              <a:gd name="connsiteX2009" fmla="*/ 5824694 w 7613003"/>
              <a:gd name="connsiteY2009" fmla="*/ 3324627 h 6367505"/>
              <a:gd name="connsiteX2010" fmla="*/ 5824694 w 7613003"/>
              <a:gd name="connsiteY2010" fmla="*/ 3352801 h 6367505"/>
              <a:gd name="connsiteX2011" fmla="*/ 5838783 w 7613003"/>
              <a:gd name="connsiteY2011" fmla="*/ 3352801 h 6367505"/>
              <a:gd name="connsiteX2012" fmla="*/ 5852872 w 7613003"/>
              <a:gd name="connsiteY2012" fmla="*/ 3338714 h 6367505"/>
              <a:gd name="connsiteX2013" fmla="*/ 5881047 w 7613003"/>
              <a:gd name="connsiteY2013" fmla="*/ 3282365 h 6367505"/>
              <a:gd name="connsiteX2014" fmla="*/ 5895136 w 7613003"/>
              <a:gd name="connsiteY2014" fmla="*/ 3254190 h 6367505"/>
              <a:gd name="connsiteX2015" fmla="*/ 5895136 w 7613003"/>
              <a:gd name="connsiteY2015" fmla="*/ 3268278 h 6367505"/>
              <a:gd name="connsiteX2016" fmla="*/ 5895136 w 7613003"/>
              <a:gd name="connsiteY2016" fmla="*/ 3282365 h 6367505"/>
              <a:gd name="connsiteX2017" fmla="*/ 5923313 w 7613003"/>
              <a:gd name="connsiteY2017" fmla="*/ 3296452 h 6367505"/>
              <a:gd name="connsiteX2018" fmla="*/ 5951489 w 7613003"/>
              <a:gd name="connsiteY2018" fmla="*/ 3395063 h 6367505"/>
              <a:gd name="connsiteX2019" fmla="*/ 5965577 w 7613003"/>
              <a:gd name="connsiteY2019" fmla="*/ 3395063 h 6367505"/>
              <a:gd name="connsiteX2020" fmla="*/ 5979666 w 7613003"/>
              <a:gd name="connsiteY2020" fmla="*/ 3409151 h 6367505"/>
              <a:gd name="connsiteX2021" fmla="*/ 5979666 w 7613003"/>
              <a:gd name="connsiteY2021" fmla="*/ 3465501 h 6367505"/>
              <a:gd name="connsiteX2022" fmla="*/ 5993753 w 7613003"/>
              <a:gd name="connsiteY2022" fmla="*/ 3493676 h 6367505"/>
              <a:gd name="connsiteX2023" fmla="*/ 5993753 w 7613003"/>
              <a:gd name="connsiteY2023" fmla="*/ 3578200 h 6367505"/>
              <a:gd name="connsiteX2024" fmla="*/ 5993753 w 7613003"/>
              <a:gd name="connsiteY2024" fmla="*/ 3690899 h 6367505"/>
              <a:gd name="connsiteX2025" fmla="*/ 5993753 w 7613003"/>
              <a:gd name="connsiteY2025" fmla="*/ 3775423 h 6367505"/>
              <a:gd name="connsiteX2026" fmla="*/ 5993753 w 7613003"/>
              <a:gd name="connsiteY2026" fmla="*/ 3817686 h 6367505"/>
              <a:gd name="connsiteX2027" fmla="*/ 5979666 w 7613003"/>
              <a:gd name="connsiteY2027" fmla="*/ 3859948 h 6367505"/>
              <a:gd name="connsiteX2028" fmla="*/ 5979666 w 7613003"/>
              <a:gd name="connsiteY2028" fmla="*/ 3902210 h 6367505"/>
              <a:gd name="connsiteX2029" fmla="*/ 5979666 w 7613003"/>
              <a:gd name="connsiteY2029" fmla="*/ 3916297 h 6367505"/>
              <a:gd name="connsiteX2030" fmla="*/ 5979666 w 7613003"/>
              <a:gd name="connsiteY2030" fmla="*/ 3944472 h 6367505"/>
              <a:gd name="connsiteX2031" fmla="*/ 5965577 w 7613003"/>
              <a:gd name="connsiteY2031" fmla="*/ 4000822 h 6367505"/>
              <a:gd name="connsiteX2032" fmla="*/ 5923313 w 7613003"/>
              <a:gd name="connsiteY2032" fmla="*/ 4155784 h 6367505"/>
              <a:gd name="connsiteX2033" fmla="*/ 5895136 w 7613003"/>
              <a:gd name="connsiteY2033" fmla="*/ 4254395 h 6367505"/>
              <a:gd name="connsiteX2034" fmla="*/ 5895136 w 7613003"/>
              <a:gd name="connsiteY2034" fmla="*/ 4310744 h 6367505"/>
              <a:gd name="connsiteX2035" fmla="*/ 5881047 w 7613003"/>
              <a:gd name="connsiteY2035" fmla="*/ 4324833 h 6367505"/>
              <a:gd name="connsiteX2036" fmla="*/ 5895136 w 7613003"/>
              <a:gd name="connsiteY2036" fmla="*/ 4338920 h 6367505"/>
              <a:gd name="connsiteX2037" fmla="*/ 5866960 w 7613003"/>
              <a:gd name="connsiteY2037" fmla="*/ 4423444 h 6367505"/>
              <a:gd name="connsiteX2038" fmla="*/ 5824694 w 7613003"/>
              <a:gd name="connsiteY2038" fmla="*/ 4507969 h 6367505"/>
              <a:gd name="connsiteX2039" fmla="*/ 5810607 w 7613003"/>
              <a:gd name="connsiteY2039" fmla="*/ 4564318 h 6367505"/>
              <a:gd name="connsiteX2040" fmla="*/ 5787714 w 7613003"/>
              <a:gd name="connsiteY2040" fmla="*/ 4615385 h 6367505"/>
              <a:gd name="connsiteX2041" fmla="*/ 5764157 w 7613003"/>
              <a:gd name="connsiteY2041" fmla="*/ 4658776 h 6367505"/>
              <a:gd name="connsiteX2042" fmla="*/ 5776252 w 7613003"/>
              <a:gd name="connsiteY2042" fmla="*/ 4654125 h 6367505"/>
              <a:gd name="connsiteX2043" fmla="*/ 5809711 w 7613003"/>
              <a:gd name="connsiteY2043" fmla="*/ 4634755 h 6367505"/>
              <a:gd name="connsiteX2044" fmla="*/ 5851976 w 7613003"/>
              <a:gd name="connsiteY2044" fmla="*/ 4634755 h 6367505"/>
              <a:gd name="connsiteX2045" fmla="*/ 5851976 w 7613003"/>
              <a:gd name="connsiteY2045" fmla="*/ 4648842 h 6367505"/>
              <a:gd name="connsiteX2046" fmla="*/ 5823800 w 7613003"/>
              <a:gd name="connsiteY2046" fmla="*/ 4705192 h 6367505"/>
              <a:gd name="connsiteX2047" fmla="*/ 5809711 w 7613003"/>
              <a:gd name="connsiteY2047" fmla="*/ 4719280 h 6367505"/>
              <a:gd name="connsiteX2048" fmla="*/ 5809711 w 7613003"/>
              <a:gd name="connsiteY2048" fmla="*/ 4733367 h 6367505"/>
              <a:gd name="connsiteX2049" fmla="*/ 5795623 w 7613003"/>
              <a:gd name="connsiteY2049" fmla="*/ 4761542 h 6367505"/>
              <a:gd name="connsiteX2050" fmla="*/ 5739270 w 7613003"/>
              <a:gd name="connsiteY2050" fmla="*/ 4789716 h 6367505"/>
              <a:gd name="connsiteX2051" fmla="*/ 5738497 w 7613003"/>
              <a:gd name="connsiteY2051" fmla="*/ 4795901 h 6367505"/>
              <a:gd name="connsiteX2052" fmla="*/ 5745449 w 7613003"/>
              <a:gd name="connsiteY2052" fmla="*/ 4791477 h 6367505"/>
              <a:gd name="connsiteX2053" fmla="*/ 5754254 w 7613003"/>
              <a:gd name="connsiteY2053" fmla="*/ 4789716 h 6367505"/>
              <a:gd name="connsiteX2054" fmla="*/ 5726077 w 7613003"/>
              <a:gd name="connsiteY2054" fmla="*/ 4831978 h 6367505"/>
              <a:gd name="connsiteX2055" fmla="*/ 5712487 w 7613003"/>
              <a:gd name="connsiteY2055" fmla="*/ 4850666 h 6367505"/>
              <a:gd name="connsiteX2056" fmla="*/ 5751597 w 7613003"/>
              <a:gd name="connsiteY2056" fmla="*/ 4826696 h 6367505"/>
              <a:gd name="connsiteX2057" fmla="*/ 5795623 w 7613003"/>
              <a:gd name="connsiteY2057" fmla="*/ 4803804 h 6367505"/>
              <a:gd name="connsiteX2058" fmla="*/ 5908329 w 7613003"/>
              <a:gd name="connsiteY2058" fmla="*/ 4747454 h 6367505"/>
              <a:gd name="connsiteX2059" fmla="*/ 5950593 w 7613003"/>
              <a:gd name="connsiteY2059" fmla="*/ 4719280 h 6367505"/>
              <a:gd name="connsiteX2060" fmla="*/ 6006946 w 7613003"/>
              <a:gd name="connsiteY2060" fmla="*/ 4677018 h 6367505"/>
              <a:gd name="connsiteX2061" fmla="*/ 6063299 w 7613003"/>
              <a:gd name="connsiteY2061" fmla="*/ 4648842 h 6367505"/>
              <a:gd name="connsiteX2062" fmla="*/ 6091476 w 7613003"/>
              <a:gd name="connsiteY2062" fmla="*/ 4634755 h 6367505"/>
              <a:gd name="connsiteX2063" fmla="*/ 6119652 w 7613003"/>
              <a:gd name="connsiteY2063" fmla="*/ 4620667 h 6367505"/>
              <a:gd name="connsiteX2064" fmla="*/ 6161916 w 7613003"/>
              <a:gd name="connsiteY2064" fmla="*/ 4592493 h 6367505"/>
              <a:gd name="connsiteX2065" fmla="*/ 6176005 w 7613003"/>
              <a:gd name="connsiteY2065" fmla="*/ 4578406 h 6367505"/>
              <a:gd name="connsiteX2066" fmla="*/ 6232358 w 7613003"/>
              <a:gd name="connsiteY2066" fmla="*/ 4522056 h 6367505"/>
              <a:gd name="connsiteX2067" fmla="*/ 6260535 w 7613003"/>
              <a:gd name="connsiteY2067" fmla="*/ 4493882 h 6367505"/>
              <a:gd name="connsiteX2068" fmla="*/ 6316888 w 7613003"/>
              <a:gd name="connsiteY2068" fmla="*/ 4451619 h 6367505"/>
              <a:gd name="connsiteX2069" fmla="*/ 6330975 w 7613003"/>
              <a:gd name="connsiteY2069" fmla="*/ 4437531 h 6367505"/>
              <a:gd name="connsiteX2070" fmla="*/ 6387328 w 7613003"/>
              <a:gd name="connsiteY2070" fmla="*/ 4353007 h 6367505"/>
              <a:gd name="connsiteX2071" fmla="*/ 6401417 w 7613003"/>
              <a:gd name="connsiteY2071" fmla="*/ 4338920 h 6367505"/>
              <a:gd name="connsiteX2072" fmla="*/ 6443681 w 7613003"/>
              <a:gd name="connsiteY2072" fmla="*/ 4296657 h 6367505"/>
              <a:gd name="connsiteX2073" fmla="*/ 6457770 w 7613003"/>
              <a:gd name="connsiteY2073" fmla="*/ 4282570 h 6367505"/>
              <a:gd name="connsiteX2074" fmla="*/ 6457770 w 7613003"/>
              <a:gd name="connsiteY2074" fmla="*/ 4268482 h 6367505"/>
              <a:gd name="connsiteX2075" fmla="*/ 6514123 w 7613003"/>
              <a:gd name="connsiteY2075" fmla="*/ 4226221 h 6367505"/>
              <a:gd name="connsiteX2076" fmla="*/ 6514123 w 7613003"/>
              <a:gd name="connsiteY2076" fmla="*/ 4212133 h 6367505"/>
              <a:gd name="connsiteX2077" fmla="*/ 6542298 w 7613003"/>
              <a:gd name="connsiteY2077" fmla="*/ 4183958 h 6367505"/>
              <a:gd name="connsiteX2078" fmla="*/ 6556387 w 7613003"/>
              <a:gd name="connsiteY2078" fmla="*/ 4169871 h 6367505"/>
              <a:gd name="connsiteX2079" fmla="*/ 6598651 w 7613003"/>
              <a:gd name="connsiteY2079" fmla="*/ 4113521 h 6367505"/>
              <a:gd name="connsiteX2080" fmla="*/ 6612740 w 7613003"/>
              <a:gd name="connsiteY2080" fmla="*/ 4099433 h 6367505"/>
              <a:gd name="connsiteX2081" fmla="*/ 6640916 w 7613003"/>
              <a:gd name="connsiteY2081" fmla="*/ 4028997 h 6367505"/>
              <a:gd name="connsiteX2082" fmla="*/ 6683181 w 7613003"/>
              <a:gd name="connsiteY2082" fmla="*/ 3958560 h 6367505"/>
              <a:gd name="connsiteX2083" fmla="*/ 6697269 w 7613003"/>
              <a:gd name="connsiteY2083" fmla="*/ 3986735 h 6367505"/>
              <a:gd name="connsiteX2084" fmla="*/ 6683181 w 7613003"/>
              <a:gd name="connsiteY2084" fmla="*/ 4043084 h 6367505"/>
              <a:gd name="connsiteX2085" fmla="*/ 6683181 w 7613003"/>
              <a:gd name="connsiteY2085" fmla="*/ 4085346 h 6367505"/>
              <a:gd name="connsiteX2086" fmla="*/ 6683181 w 7613003"/>
              <a:gd name="connsiteY2086" fmla="*/ 4113521 h 6367505"/>
              <a:gd name="connsiteX2087" fmla="*/ 6640916 w 7613003"/>
              <a:gd name="connsiteY2087" fmla="*/ 4198046 h 6367505"/>
              <a:gd name="connsiteX2088" fmla="*/ 6640916 w 7613003"/>
              <a:gd name="connsiteY2088" fmla="*/ 4212133 h 6367505"/>
              <a:gd name="connsiteX2089" fmla="*/ 6612740 w 7613003"/>
              <a:gd name="connsiteY2089" fmla="*/ 4268482 h 6367505"/>
              <a:gd name="connsiteX2090" fmla="*/ 6584563 w 7613003"/>
              <a:gd name="connsiteY2090" fmla="*/ 4353007 h 6367505"/>
              <a:gd name="connsiteX2091" fmla="*/ 6528211 w 7613003"/>
              <a:gd name="connsiteY2091" fmla="*/ 4423444 h 6367505"/>
              <a:gd name="connsiteX2092" fmla="*/ 6471858 w 7613003"/>
              <a:gd name="connsiteY2092" fmla="*/ 4522056 h 6367505"/>
              <a:gd name="connsiteX2093" fmla="*/ 6443681 w 7613003"/>
              <a:gd name="connsiteY2093" fmla="*/ 4564318 h 6367505"/>
              <a:gd name="connsiteX2094" fmla="*/ 6401417 w 7613003"/>
              <a:gd name="connsiteY2094" fmla="*/ 4634755 h 6367505"/>
              <a:gd name="connsiteX2095" fmla="*/ 6373240 w 7613003"/>
              <a:gd name="connsiteY2095" fmla="*/ 4705192 h 6367505"/>
              <a:gd name="connsiteX2096" fmla="*/ 6330975 w 7613003"/>
              <a:gd name="connsiteY2096" fmla="*/ 4775629 h 6367505"/>
              <a:gd name="connsiteX2097" fmla="*/ 6288711 w 7613003"/>
              <a:gd name="connsiteY2097" fmla="*/ 4831978 h 6367505"/>
              <a:gd name="connsiteX2098" fmla="*/ 6274622 w 7613003"/>
              <a:gd name="connsiteY2098" fmla="*/ 4846067 h 6367505"/>
              <a:gd name="connsiteX2099" fmla="*/ 6246446 w 7613003"/>
              <a:gd name="connsiteY2099" fmla="*/ 4888329 h 6367505"/>
              <a:gd name="connsiteX2100" fmla="*/ 6232358 w 7613003"/>
              <a:gd name="connsiteY2100" fmla="*/ 4888329 h 6367505"/>
              <a:gd name="connsiteX2101" fmla="*/ 6232358 w 7613003"/>
              <a:gd name="connsiteY2101" fmla="*/ 4902416 h 6367505"/>
              <a:gd name="connsiteX2102" fmla="*/ 6218269 w 7613003"/>
              <a:gd name="connsiteY2102" fmla="*/ 4902416 h 6367505"/>
              <a:gd name="connsiteX2103" fmla="*/ 6161916 w 7613003"/>
              <a:gd name="connsiteY2103" fmla="*/ 4958765 h 6367505"/>
              <a:gd name="connsiteX2104" fmla="*/ 6147829 w 7613003"/>
              <a:gd name="connsiteY2104" fmla="*/ 4972852 h 6367505"/>
              <a:gd name="connsiteX2105" fmla="*/ 6119652 w 7613003"/>
              <a:gd name="connsiteY2105" fmla="*/ 4986940 h 6367505"/>
              <a:gd name="connsiteX2106" fmla="*/ 6077388 w 7613003"/>
              <a:gd name="connsiteY2106" fmla="*/ 5029203 h 6367505"/>
              <a:gd name="connsiteX2107" fmla="*/ 6035123 w 7613003"/>
              <a:gd name="connsiteY2107" fmla="*/ 5071465 h 6367505"/>
              <a:gd name="connsiteX2108" fmla="*/ 6049212 w 7613003"/>
              <a:gd name="connsiteY2108" fmla="*/ 5057378 h 6367505"/>
              <a:gd name="connsiteX2109" fmla="*/ 6063299 w 7613003"/>
              <a:gd name="connsiteY2109" fmla="*/ 5057378 h 6367505"/>
              <a:gd name="connsiteX2110" fmla="*/ 6119652 w 7613003"/>
              <a:gd name="connsiteY2110" fmla="*/ 5029203 h 6367505"/>
              <a:gd name="connsiteX2111" fmla="*/ 6133741 w 7613003"/>
              <a:gd name="connsiteY2111" fmla="*/ 5015114 h 6367505"/>
              <a:gd name="connsiteX2112" fmla="*/ 6161916 w 7613003"/>
              <a:gd name="connsiteY2112" fmla="*/ 4986940 h 6367505"/>
              <a:gd name="connsiteX2113" fmla="*/ 6204182 w 7613003"/>
              <a:gd name="connsiteY2113" fmla="*/ 4958765 h 6367505"/>
              <a:gd name="connsiteX2114" fmla="*/ 6218266 w 7613003"/>
              <a:gd name="connsiteY2114" fmla="*/ 4944683 h 6367505"/>
              <a:gd name="connsiteX2115" fmla="*/ 6191855 w 7613003"/>
              <a:gd name="connsiteY2115" fmla="*/ 4972852 h 6367505"/>
              <a:gd name="connsiteX2116" fmla="*/ 6176005 w 7613003"/>
              <a:gd name="connsiteY2116" fmla="*/ 5001027 h 6367505"/>
              <a:gd name="connsiteX2117" fmla="*/ 6190093 w 7613003"/>
              <a:gd name="connsiteY2117" fmla="*/ 4986940 h 6367505"/>
              <a:gd name="connsiteX2118" fmla="*/ 6204182 w 7613003"/>
              <a:gd name="connsiteY2118" fmla="*/ 4986940 h 6367505"/>
              <a:gd name="connsiteX2119" fmla="*/ 6218269 w 7613003"/>
              <a:gd name="connsiteY2119" fmla="*/ 4958765 h 6367505"/>
              <a:gd name="connsiteX2120" fmla="*/ 6302799 w 7613003"/>
              <a:gd name="connsiteY2120" fmla="*/ 4902416 h 6367505"/>
              <a:gd name="connsiteX2121" fmla="*/ 6345064 w 7613003"/>
              <a:gd name="connsiteY2121" fmla="*/ 4874241 h 6367505"/>
              <a:gd name="connsiteX2122" fmla="*/ 6373240 w 7613003"/>
              <a:gd name="connsiteY2122" fmla="*/ 4831978 h 6367505"/>
              <a:gd name="connsiteX2123" fmla="*/ 6415505 w 7613003"/>
              <a:gd name="connsiteY2123" fmla="*/ 4789716 h 6367505"/>
              <a:gd name="connsiteX2124" fmla="*/ 6457770 w 7613003"/>
              <a:gd name="connsiteY2124" fmla="*/ 4747454 h 6367505"/>
              <a:gd name="connsiteX2125" fmla="*/ 6514123 w 7613003"/>
              <a:gd name="connsiteY2125" fmla="*/ 4691105 h 6367505"/>
              <a:gd name="connsiteX2126" fmla="*/ 6528211 w 7613003"/>
              <a:gd name="connsiteY2126" fmla="*/ 4691105 h 6367505"/>
              <a:gd name="connsiteX2127" fmla="*/ 6584563 w 7613003"/>
              <a:gd name="connsiteY2127" fmla="*/ 4634755 h 6367505"/>
              <a:gd name="connsiteX2128" fmla="*/ 6655004 w 7613003"/>
              <a:gd name="connsiteY2128" fmla="*/ 4550231 h 6367505"/>
              <a:gd name="connsiteX2129" fmla="*/ 6683181 w 7613003"/>
              <a:gd name="connsiteY2129" fmla="*/ 4522056 h 6367505"/>
              <a:gd name="connsiteX2130" fmla="*/ 6683181 w 7613003"/>
              <a:gd name="connsiteY2130" fmla="*/ 4536144 h 6367505"/>
              <a:gd name="connsiteX2131" fmla="*/ 6669093 w 7613003"/>
              <a:gd name="connsiteY2131" fmla="*/ 4592493 h 6367505"/>
              <a:gd name="connsiteX2132" fmla="*/ 6669093 w 7613003"/>
              <a:gd name="connsiteY2132" fmla="*/ 4606580 h 6367505"/>
              <a:gd name="connsiteX2133" fmla="*/ 6640916 w 7613003"/>
              <a:gd name="connsiteY2133" fmla="*/ 4677018 h 6367505"/>
              <a:gd name="connsiteX2134" fmla="*/ 6514123 w 7613003"/>
              <a:gd name="connsiteY2134" fmla="*/ 4860154 h 6367505"/>
              <a:gd name="connsiteX2135" fmla="*/ 6401417 w 7613003"/>
              <a:gd name="connsiteY2135" fmla="*/ 4986940 h 6367505"/>
              <a:gd name="connsiteX2136" fmla="*/ 6359152 w 7613003"/>
              <a:gd name="connsiteY2136" fmla="*/ 5015114 h 6367505"/>
              <a:gd name="connsiteX2137" fmla="*/ 6330975 w 7613003"/>
              <a:gd name="connsiteY2137" fmla="*/ 5057378 h 6367505"/>
              <a:gd name="connsiteX2138" fmla="*/ 6274622 w 7613003"/>
              <a:gd name="connsiteY2138" fmla="*/ 5113727 h 6367505"/>
              <a:gd name="connsiteX2139" fmla="*/ 6147829 w 7613003"/>
              <a:gd name="connsiteY2139" fmla="*/ 5212339 h 6367505"/>
              <a:gd name="connsiteX2140" fmla="*/ 6063299 w 7613003"/>
              <a:gd name="connsiteY2140" fmla="*/ 5282776 h 6367505"/>
              <a:gd name="connsiteX2141" fmla="*/ 6063299 w 7613003"/>
              <a:gd name="connsiteY2141" fmla="*/ 5296863 h 6367505"/>
              <a:gd name="connsiteX2142" fmla="*/ 6190093 w 7613003"/>
              <a:gd name="connsiteY2142" fmla="*/ 5226426 h 6367505"/>
              <a:gd name="connsiteX2143" fmla="*/ 6218269 w 7613003"/>
              <a:gd name="connsiteY2143" fmla="*/ 5198252 h 6367505"/>
              <a:gd name="connsiteX2144" fmla="*/ 6220031 w 7613003"/>
              <a:gd name="connsiteY2144" fmla="*/ 5198252 h 6367505"/>
              <a:gd name="connsiteX2145" fmla="*/ 6228836 w 7613003"/>
              <a:gd name="connsiteY2145" fmla="*/ 5198252 h 6367505"/>
              <a:gd name="connsiteX2146" fmla="*/ 6232358 w 7613003"/>
              <a:gd name="connsiteY2146" fmla="*/ 5198252 h 6367505"/>
              <a:gd name="connsiteX2147" fmla="*/ 6330975 w 7613003"/>
              <a:gd name="connsiteY2147" fmla="*/ 5127814 h 6367505"/>
              <a:gd name="connsiteX2148" fmla="*/ 6429593 w 7613003"/>
              <a:gd name="connsiteY2148" fmla="*/ 5071465 h 6367505"/>
              <a:gd name="connsiteX2149" fmla="*/ 6443681 w 7613003"/>
              <a:gd name="connsiteY2149" fmla="*/ 5057378 h 6367505"/>
              <a:gd name="connsiteX2150" fmla="*/ 6500034 w 7613003"/>
              <a:gd name="connsiteY2150" fmla="*/ 5015114 h 6367505"/>
              <a:gd name="connsiteX2151" fmla="*/ 6556387 w 7613003"/>
              <a:gd name="connsiteY2151" fmla="*/ 5001027 h 6367505"/>
              <a:gd name="connsiteX2152" fmla="*/ 6542298 w 7613003"/>
              <a:gd name="connsiteY2152" fmla="*/ 5043290 h 6367505"/>
              <a:gd name="connsiteX2153" fmla="*/ 6500034 w 7613003"/>
              <a:gd name="connsiteY2153" fmla="*/ 5099639 h 6367505"/>
              <a:gd name="connsiteX2154" fmla="*/ 6514123 w 7613003"/>
              <a:gd name="connsiteY2154" fmla="*/ 5099639 h 6367505"/>
              <a:gd name="connsiteX2155" fmla="*/ 6514123 w 7613003"/>
              <a:gd name="connsiteY2155" fmla="*/ 5085552 h 6367505"/>
              <a:gd name="connsiteX2156" fmla="*/ 6528211 w 7613003"/>
              <a:gd name="connsiteY2156" fmla="*/ 5085552 h 6367505"/>
              <a:gd name="connsiteX2157" fmla="*/ 6542298 w 7613003"/>
              <a:gd name="connsiteY2157" fmla="*/ 5071465 h 6367505"/>
              <a:gd name="connsiteX2158" fmla="*/ 6584563 w 7613003"/>
              <a:gd name="connsiteY2158" fmla="*/ 5015114 h 6367505"/>
              <a:gd name="connsiteX2159" fmla="*/ 6598651 w 7613003"/>
              <a:gd name="connsiteY2159" fmla="*/ 5001027 h 6367505"/>
              <a:gd name="connsiteX2160" fmla="*/ 6598651 w 7613003"/>
              <a:gd name="connsiteY2160" fmla="*/ 4986940 h 6367505"/>
              <a:gd name="connsiteX2161" fmla="*/ 6612740 w 7613003"/>
              <a:gd name="connsiteY2161" fmla="*/ 4986940 h 6367505"/>
              <a:gd name="connsiteX2162" fmla="*/ 6612740 w 7613003"/>
              <a:gd name="connsiteY2162" fmla="*/ 4972852 h 6367505"/>
              <a:gd name="connsiteX2163" fmla="*/ 6626829 w 7613003"/>
              <a:gd name="connsiteY2163" fmla="*/ 4972852 h 6367505"/>
              <a:gd name="connsiteX2164" fmla="*/ 6626829 w 7613003"/>
              <a:gd name="connsiteY2164" fmla="*/ 4958765 h 6367505"/>
              <a:gd name="connsiteX2165" fmla="*/ 6626829 w 7613003"/>
              <a:gd name="connsiteY2165" fmla="*/ 4944678 h 6367505"/>
              <a:gd name="connsiteX2166" fmla="*/ 6630350 w 7613003"/>
              <a:gd name="connsiteY2166" fmla="*/ 4944678 h 6367505"/>
              <a:gd name="connsiteX2167" fmla="*/ 6633872 w 7613003"/>
              <a:gd name="connsiteY2167" fmla="*/ 4944678 h 6367505"/>
              <a:gd name="connsiteX2168" fmla="*/ 6640916 w 7613003"/>
              <a:gd name="connsiteY2168" fmla="*/ 4944678 h 6367505"/>
              <a:gd name="connsiteX2169" fmla="*/ 6640916 w 7613003"/>
              <a:gd name="connsiteY2169" fmla="*/ 4930591 h 6367505"/>
              <a:gd name="connsiteX2170" fmla="*/ 6655004 w 7613003"/>
              <a:gd name="connsiteY2170" fmla="*/ 4902416 h 6367505"/>
              <a:gd name="connsiteX2171" fmla="*/ 6669093 w 7613003"/>
              <a:gd name="connsiteY2171" fmla="*/ 4902416 h 6367505"/>
              <a:gd name="connsiteX2172" fmla="*/ 6683181 w 7613003"/>
              <a:gd name="connsiteY2172" fmla="*/ 4902416 h 6367505"/>
              <a:gd name="connsiteX2173" fmla="*/ 6711357 w 7613003"/>
              <a:gd name="connsiteY2173" fmla="*/ 4902416 h 6367505"/>
              <a:gd name="connsiteX2174" fmla="*/ 6725446 w 7613003"/>
              <a:gd name="connsiteY2174" fmla="*/ 4874241 h 6367505"/>
              <a:gd name="connsiteX2175" fmla="*/ 6809975 w 7613003"/>
              <a:gd name="connsiteY2175" fmla="*/ 4775629 h 6367505"/>
              <a:gd name="connsiteX2176" fmla="*/ 6824063 w 7613003"/>
              <a:gd name="connsiteY2176" fmla="*/ 4761542 h 6367505"/>
              <a:gd name="connsiteX2177" fmla="*/ 6809975 w 7613003"/>
              <a:gd name="connsiteY2177" fmla="*/ 4761542 h 6367505"/>
              <a:gd name="connsiteX2178" fmla="*/ 6838152 w 7613003"/>
              <a:gd name="connsiteY2178" fmla="*/ 4747454 h 6367505"/>
              <a:gd name="connsiteX2179" fmla="*/ 6908593 w 7613003"/>
              <a:gd name="connsiteY2179" fmla="*/ 4634755 h 6367505"/>
              <a:gd name="connsiteX2180" fmla="*/ 6922681 w 7613003"/>
              <a:gd name="connsiteY2180" fmla="*/ 4620667 h 6367505"/>
              <a:gd name="connsiteX2181" fmla="*/ 6936769 w 7613003"/>
              <a:gd name="connsiteY2181" fmla="*/ 4606580 h 6367505"/>
              <a:gd name="connsiteX2182" fmla="*/ 6950858 w 7613003"/>
              <a:gd name="connsiteY2182" fmla="*/ 4592493 h 6367505"/>
              <a:gd name="connsiteX2183" fmla="*/ 6964945 w 7613003"/>
              <a:gd name="connsiteY2183" fmla="*/ 4564318 h 6367505"/>
              <a:gd name="connsiteX2184" fmla="*/ 6993122 w 7613003"/>
              <a:gd name="connsiteY2184" fmla="*/ 4536144 h 6367505"/>
              <a:gd name="connsiteX2185" fmla="*/ 6993122 w 7613003"/>
              <a:gd name="connsiteY2185" fmla="*/ 4522056 h 6367505"/>
              <a:gd name="connsiteX2186" fmla="*/ 7007211 w 7613003"/>
              <a:gd name="connsiteY2186" fmla="*/ 4507969 h 6367505"/>
              <a:gd name="connsiteX2187" fmla="*/ 7035386 w 7613003"/>
              <a:gd name="connsiteY2187" fmla="*/ 4479793 h 6367505"/>
              <a:gd name="connsiteX2188" fmla="*/ 7063564 w 7613003"/>
              <a:gd name="connsiteY2188" fmla="*/ 4437531 h 6367505"/>
              <a:gd name="connsiteX2189" fmla="*/ 7091739 w 7613003"/>
              <a:gd name="connsiteY2189" fmla="*/ 4381182 h 6367505"/>
              <a:gd name="connsiteX2190" fmla="*/ 7091739 w 7613003"/>
              <a:gd name="connsiteY2190" fmla="*/ 4367095 h 6367505"/>
              <a:gd name="connsiteX2191" fmla="*/ 7148092 w 7613003"/>
              <a:gd name="connsiteY2191" fmla="*/ 4268482 h 6367505"/>
              <a:gd name="connsiteX2192" fmla="*/ 7148092 w 7613003"/>
              <a:gd name="connsiteY2192" fmla="*/ 4254395 h 6367505"/>
              <a:gd name="connsiteX2193" fmla="*/ 7162181 w 7613003"/>
              <a:gd name="connsiteY2193" fmla="*/ 4226221 h 6367505"/>
              <a:gd name="connsiteX2194" fmla="*/ 7204445 w 7613003"/>
              <a:gd name="connsiteY2194" fmla="*/ 4141697 h 6367505"/>
              <a:gd name="connsiteX2195" fmla="*/ 7218534 w 7613003"/>
              <a:gd name="connsiteY2195" fmla="*/ 4099433 h 6367505"/>
              <a:gd name="connsiteX2196" fmla="*/ 7260798 w 7613003"/>
              <a:gd name="connsiteY2196" fmla="*/ 3958560 h 6367505"/>
              <a:gd name="connsiteX2197" fmla="*/ 7274887 w 7613003"/>
              <a:gd name="connsiteY2197" fmla="*/ 3916297 h 6367505"/>
              <a:gd name="connsiteX2198" fmla="*/ 7288974 w 7613003"/>
              <a:gd name="connsiteY2198" fmla="*/ 3888123 h 6367505"/>
              <a:gd name="connsiteX2199" fmla="*/ 7317151 w 7613003"/>
              <a:gd name="connsiteY2199" fmla="*/ 3775423 h 6367505"/>
              <a:gd name="connsiteX2200" fmla="*/ 7345327 w 7613003"/>
              <a:gd name="connsiteY2200" fmla="*/ 3690899 h 6367505"/>
              <a:gd name="connsiteX2201" fmla="*/ 7359416 w 7613003"/>
              <a:gd name="connsiteY2201" fmla="*/ 3592287 h 6367505"/>
              <a:gd name="connsiteX2202" fmla="*/ 7373504 w 7613003"/>
              <a:gd name="connsiteY2202" fmla="*/ 3564112 h 6367505"/>
              <a:gd name="connsiteX2203" fmla="*/ 7387591 w 7613003"/>
              <a:gd name="connsiteY2203" fmla="*/ 3521850 h 6367505"/>
              <a:gd name="connsiteX2204" fmla="*/ 7387591 w 7613003"/>
              <a:gd name="connsiteY2204" fmla="*/ 3479588 h 6367505"/>
              <a:gd name="connsiteX2205" fmla="*/ 7401680 w 7613003"/>
              <a:gd name="connsiteY2205" fmla="*/ 3366889 h 6367505"/>
              <a:gd name="connsiteX2206" fmla="*/ 7401680 w 7613003"/>
              <a:gd name="connsiteY2206" fmla="*/ 3310540 h 6367505"/>
              <a:gd name="connsiteX2207" fmla="*/ 7415769 w 7613003"/>
              <a:gd name="connsiteY2207" fmla="*/ 3240102 h 6367505"/>
              <a:gd name="connsiteX2208" fmla="*/ 7429857 w 7613003"/>
              <a:gd name="connsiteY2208" fmla="*/ 3211927 h 6367505"/>
              <a:gd name="connsiteX2209" fmla="*/ 7443944 w 7613003"/>
              <a:gd name="connsiteY2209" fmla="*/ 3226015 h 6367505"/>
              <a:gd name="connsiteX2210" fmla="*/ 7443944 w 7613003"/>
              <a:gd name="connsiteY2210" fmla="*/ 3282365 h 6367505"/>
              <a:gd name="connsiteX2211" fmla="*/ 7443944 w 7613003"/>
              <a:gd name="connsiteY2211" fmla="*/ 3324627 h 6367505"/>
              <a:gd name="connsiteX2212" fmla="*/ 7443944 w 7613003"/>
              <a:gd name="connsiteY2212" fmla="*/ 3352801 h 6367505"/>
              <a:gd name="connsiteX2213" fmla="*/ 7458033 w 7613003"/>
              <a:gd name="connsiteY2213" fmla="*/ 3352801 h 6367505"/>
              <a:gd name="connsiteX2214" fmla="*/ 7472122 w 7613003"/>
              <a:gd name="connsiteY2214" fmla="*/ 3338714 h 6367505"/>
              <a:gd name="connsiteX2215" fmla="*/ 7500297 w 7613003"/>
              <a:gd name="connsiteY2215" fmla="*/ 3282365 h 6367505"/>
              <a:gd name="connsiteX2216" fmla="*/ 7514386 w 7613003"/>
              <a:gd name="connsiteY2216" fmla="*/ 3254190 h 6367505"/>
              <a:gd name="connsiteX2217" fmla="*/ 7514386 w 7613003"/>
              <a:gd name="connsiteY2217" fmla="*/ 3268278 h 6367505"/>
              <a:gd name="connsiteX2218" fmla="*/ 7514386 w 7613003"/>
              <a:gd name="connsiteY2218" fmla="*/ 3282365 h 6367505"/>
              <a:gd name="connsiteX2219" fmla="*/ 7542563 w 7613003"/>
              <a:gd name="connsiteY2219" fmla="*/ 3296452 h 6367505"/>
              <a:gd name="connsiteX2220" fmla="*/ 7570739 w 7613003"/>
              <a:gd name="connsiteY2220" fmla="*/ 3395063 h 6367505"/>
              <a:gd name="connsiteX2221" fmla="*/ 7584827 w 7613003"/>
              <a:gd name="connsiteY2221" fmla="*/ 3395063 h 6367505"/>
              <a:gd name="connsiteX2222" fmla="*/ 7598916 w 7613003"/>
              <a:gd name="connsiteY2222" fmla="*/ 3409151 h 6367505"/>
              <a:gd name="connsiteX2223" fmla="*/ 7598916 w 7613003"/>
              <a:gd name="connsiteY2223" fmla="*/ 3465501 h 6367505"/>
              <a:gd name="connsiteX2224" fmla="*/ 7613003 w 7613003"/>
              <a:gd name="connsiteY2224" fmla="*/ 3493676 h 6367505"/>
              <a:gd name="connsiteX2225" fmla="*/ 7613003 w 7613003"/>
              <a:gd name="connsiteY2225" fmla="*/ 3578200 h 6367505"/>
              <a:gd name="connsiteX2226" fmla="*/ 7613003 w 7613003"/>
              <a:gd name="connsiteY2226" fmla="*/ 3690899 h 6367505"/>
              <a:gd name="connsiteX2227" fmla="*/ 7613003 w 7613003"/>
              <a:gd name="connsiteY2227" fmla="*/ 3775423 h 6367505"/>
              <a:gd name="connsiteX2228" fmla="*/ 7613003 w 7613003"/>
              <a:gd name="connsiteY2228" fmla="*/ 3817686 h 6367505"/>
              <a:gd name="connsiteX2229" fmla="*/ 7598916 w 7613003"/>
              <a:gd name="connsiteY2229" fmla="*/ 3859948 h 6367505"/>
              <a:gd name="connsiteX2230" fmla="*/ 7598916 w 7613003"/>
              <a:gd name="connsiteY2230" fmla="*/ 3902210 h 6367505"/>
              <a:gd name="connsiteX2231" fmla="*/ 7598916 w 7613003"/>
              <a:gd name="connsiteY2231" fmla="*/ 3916297 h 6367505"/>
              <a:gd name="connsiteX2232" fmla="*/ 7598916 w 7613003"/>
              <a:gd name="connsiteY2232" fmla="*/ 3944472 h 6367505"/>
              <a:gd name="connsiteX2233" fmla="*/ 7584827 w 7613003"/>
              <a:gd name="connsiteY2233" fmla="*/ 4000822 h 6367505"/>
              <a:gd name="connsiteX2234" fmla="*/ 7542563 w 7613003"/>
              <a:gd name="connsiteY2234" fmla="*/ 4155784 h 6367505"/>
              <a:gd name="connsiteX2235" fmla="*/ 7514386 w 7613003"/>
              <a:gd name="connsiteY2235" fmla="*/ 4254395 h 6367505"/>
              <a:gd name="connsiteX2236" fmla="*/ 7514386 w 7613003"/>
              <a:gd name="connsiteY2236" fmla="*/ 4310744 h 6367505"/>
              <a:gd name="connsiteX2237" fmla="*/ 7500297 w 7613003"/>
              <a:gd name="connsiteY2237" fmla="*/ 4324833 h 6367505"/>
              <a:gd name="connsiteX2238" fmla="*/ 7514386 w 7613003"/>
              <a:gd name="connsiteY2238" fmla="*/ 4338920 h 6367505"/>
              <a:gd name="connsiteX2239" fmla="*/ 7486210 w 7613003"/>
              <a:gd name="connsiteY2239" fmla="*/ 4423444 h 6367505"/>
              <a:gd name="connsiteX2240" fmla="*/ 7443944 w 7613003"/>
              <a:gd name="connsiteY2240" fmla="*/ 4507969 h 6367505"/>
              <a:gd name="connsiteX2241" fmla="*/ 7429857 w 7613003"/>
              <a:gd name="connsiteY2241" fmla="*/ 4564318 h 6367505"/>
              <a:gd name="connsiteX2242" fmla="*/ 7373504 w 7613003"/>
              <a:gd name="connsiteY2242" fmla="*/ 4677018 h 6367505"/>
              <a:gd name="connsiteX2243" fmla="*/ 7359416 w 7613003"/>
              <a:gd name="connsiteY2243" fmla="*/ 4733367 h 6367505"/>
              <a:gd name="connsiteX2244" fmla="*/ 7345327 w 7613003"/>
              <a:gd name="connsiteY2244" fmla="*/ 4761542 h 6367505"/>
              <a:gd name="connsiteX2245" fmla="*/ 7303063 w 7613003"/>
              <a:gd name="connsiteY2245" fmla="*/ 4846067 h 6367505"/>
              <a:gd name="connsiteX2246" fmla="*/ 7303063 w 7613003"/>
              <a:gd name="connsiteY2246" fmla="*/ 4846067 h 6367505"/>
              <a:gd name="connsiteX2247" fmla="*/ 7345327 w 7613003"/>
              <a:gd name="connsiteY2247" fmla="*/ 4803804 h 6367505"/>
              <a:gd name="connsiteX2248" fmla="*/ 7373504 w 7613003"/>
              <a:gd name="connsiteY2248" fmla="*/ 4789716 h 6367505"/>
              <a:gd name="connsiteX2249" fmla="*/ 7345327 w 7613003"/>
              <a:gd name="connsiteY2249" fmla="*/ 4831978 h 6367505"/>
              <a:gd name="connsiteX2250" fmla="*/ 7317151 w 7613003"/>
              <a:gd name="connsiteY2250" fmla="*/ 4860154 h 6367505"/>
              <a:gd name="connsiteX2251" fmla="*/ 7288974 w 7613003"/>
              <a:gd name="connsiteY2251" fmla="*/ 4902416 h 6367505"/>
              <a:gd name="connsiteX2252" fmla="*/ 7246710 w 7613003"/>
              <a:gd name="connsiteY2252" fmla="*/ 4972852 h 6367505"/>
              <a:gd name="connsiteX2253" fmla="*/ 7218534 w 7613003"/>
              <a:gd name="connsiteY2253" fmla="*/ 5015114 h 6367505"/>
              <a:gd name="connsiteX2254" fmla="*/ 7190357 w 7613003"/>
              <a:gd name="connsiteY2254" fmla="*/ 5071465 h 6367505"/>
              <a:gd name="connsiteX2255" fmla="*/ 7162181 w 7613003"/>
              <a:gd name="connsiteY2255" fmla="*/ 5099639 h 6367505"/>
              <a:gd name="connsiteX2256" fmla="*/ 7134004 w 7613003"/>
              <a:gd name="connsiteY2256" fmla="*/ 5127814 h 6367505"/>
              <a:gd name="connsiteX2257" fmla="*/ 7119917 w 7613003"/>
              <a:gd name="connsiteY2257" fmla="*/ 5170076 h 6367505"/>
              <a:gd name="connsiteX2258" fmla="*/ 7105828 w 7613003"/>
              <a:gd name="connsiteY2258" fmla="*/ 5184163 h 6367505"/>
              <a:gd name="connsiteX2259" fmla="*/ 7119917 w 7613003"/>
              <a:gd name="connsiteY2259" fmla="*/ 5198252 h 6367505"/>
              <a:gd name="connsiteX2260" fmla="*/ 7134004 w 7613003"/>
              <a:gd name="connsiteY2260" fmla="*/ 5184163 h 6367505"/>
              <a:gd name="connsiteX2261" fmla="*/ 7162181 w 7613003"/>
              <a:gd name="connsiteY2261" fmla="*/ 5170076 h 6367505"/>
              <a:gd name="connsiteX2262" fmla="*/ 7134004 w 7613003"/>
              <a:gd name="connsiteY2262" fmla="*/ 5198252 h 6367505"/>
              <a:gd name="connsiteX2263" fmla="*/ 7148092 w 7613003"/>
              <a:gd name="connsiteY2263" fmla="*/ 5212339 h 6367505"/>
              <a:gd name="connsiteX2264" fmla="*/ 7190357 w 7613003"/>
              <a:gd name="connsiteY2264" fmla="*/ 5184163 h 6367505"/>
              <a:gd name="connsiteX2265" fmla="*/ 7303063 w 7613003"/>
              <a:gd name="connsiteY2265" fmla="*/ 5099639 h 6367505"/>
              <a:gd name="connsiteX2266" fmla="*/ 7317151 w 7613003"/>
              <a:gd name="connsiteY2266" fmla="*/ 5085552 h 6367505"/>
              <a:gd name="connsiteX2267" fmla="*/ 7303063 w 7613003"/>
              <a:gd name="connsiteY2267" fmla="*/ 5113727 h 6367505"/>
              <a:gd name="connsiteX2268" fmla="*/ 7218534 w 7613003"/>
              <a:gd name="connsiteY2268" fmla="*/ 5198252 h 6367505"/>
              <a:gd name="connsiteX2269" fmla="*/ 7218534 w 7613003"/>
              <a:gd name="connsiteY2269" fmla="*/ 5212339 h 6367505"/>
              <a:gd name="connsiteX2270" fmla="*/ 7204445 w 7613003"/>
              <a:gd name="connsiteY2270" fmla="*/ 5226426 h 6367505"/>
              <a:gd name="connsiteX2271" fmla="*/ 7190357 w 7613003"/>
              <a:gd name="connsiteY2271" fmla="*/ 5240514 h 6367505"/>
              <a:gd name="connsiteX2272" fmla="*/ 7176268 w 7613003"/>
              <a:gd name="connsiteY2272" fmla="*/ 5254601 h 6367505"/>
              <a:gd name="connsiteX2273" fmla="*/ 7134004 w 7613003"/>
              <a:gd name="connsiteY2273" fmla="*/ 5296863 h 6367505"/>
              <a:gd name="connsiteX2274" fmla="*/ 7077651 w 7613003"/>
              <a:gd name="connsiteY2274" fmla="*/ 5367301 h 6367505"/>
              <a:gd name="connsiteX2275" fmla="*/ 6936769 w 7613003"/>
              <a:gd name="connsiteY2275" fmla="*/ 5494086 h 6367505"/>
              <a:gd name="connsiteX2276" fmla="*/ 6908593 w 7613003"/>
              <a:gd name="connsiteY2276" fmla="*/ 5508174 h 6367505"/>
              <a:gd name="connsiteX2277" fmla="*/ 6894505 w 7613003"/>
              <a:gd name="connsiteY2277" fmla="*/ 5536349 h 6367505"/>
              <a:gd name="connsiteX2278" fmla="*/ 6908593 w 7613003"/>
              <a:gd name="connsiteY2278" fmla="*/ 5536349 h 6367505"/>
              <a:gd name="connsiteX2279" fmla="*/ 6922681 w 7613003"/>
              <a:gd name="connsiteY2279" fmla="*/ 5536349 h 6367505"/>
              <a:gd name="connsiteX2280" fmla="*/ 6950858 w 7613003"/>
              <a:gd name="connsiteY2280" fmla="*/ 5522261 h 6367505"/>
              <a:gd name="connsiteX2281" fmla="*/ 6964945 w 7613003"/>
              <a:gd name="connsiteY2281" fmla="*/ 5522261 h 6367505"/>
              <a:gd name="connsiteX2282" fmla="*/ 6936769 w 7613003"/>
              <a:gd name="connsiteY2282" fmla="*/ 5550437 h 6367505"/>
              <a:gd name="connsiteX2283" fmla="*/ 6894505 w 7613003"/>
              <a:gd name="connsiteY2283" fmla="*/ 5592699 h 6367505"/>
              <a:gd name="connsiteX2284" fmla="*/ 6852240 w 7613003"/>
              <a:gd name="connsiteY2284" fmla="*/ 5620873 h 6367505"/>
              <a:gd name="connsiteX2285" fmla="*/ 6753622 w 7613003"/>
              <a:gd name="connsiteY2285" fmla="*/ 5691310 h 6367505"/>
              <a:gd name="connsiteX2286" fmla="*/ 6725446 w 7613003"/>
              <a:gd name="connsiteY2286" fmla="*/ 5719486 h 6367505"/>
              <a:gd name="connsiteX2287" fmla="*/ 6626829 w 7613003"/>
              <a:gd name="connsiteY2287" fmla="*/ 5775835 h 6367505"/>
              <a:gd name="connsiteX2288" fmla="*/ 6626829 w 7613003"/>
              <a:gd name="connsiteY2288" fmla="*/ 5789922 h 6367505"/>
              <a:gd name="connsiteX2289" fmla="*/ 6612740 w 7613003"/>
              <a:gd name="connsiteY2289" fmla="*/ 5789922 h 6367505"/>
              <a:gd name="connsiteX2290" fmla="*/ 6598651 w 7613003"/>
              <a:gd name="connsiteY2290" fmla="*/ 5804009 h 6367505"/>
              <a:gd name="connsiteX2291" fmla="*/ 6584563 w 7613003"/>
              <a:gd name="connsiteY2291" fmla="*/ 5818097 h 6367505"/>
              <a:gd name="connsiteX2292" fmla="*/ 6570476 w 7613003"/>
              <a:gd name="connsiteY2292" fmla="*/ 5818097 h 6367505"/>
              <a:gd name="connsiteX2293" fmla="*/ 6570476 w 7613003"/>
              <a:gd name="connsiteY2293" fmla="*/ 5832184 h 6367505"/>
              <a:gd name="connsiteX2294" fmla="*/ 6528211 w 7613003"/>
              <a:gd name="connsiteY2294" fmla="*/ 5846271 h 6367505"/>
              <a:gd name="connsiteX2295" fmla="*/ 6500034 w 7613003"/>
              <a:gd name="connsiteY2295" fmla="*/ 5860359 h 6367505"/>
              <a:gd name="connsiteX2296" fmla="*/ 6485946 w 7613003"/>
              <a:gd name="connsiteY2296" fmla="*/ 5874446 h 6367505"/>
              <a:gd name="connsiteX2297" fmla="*/ 6429593 w 7613003"/>
              <a:gd name="connsiteY2297" fmla="*/ 5902622 h 6367505"/>
              <a:gd name="connsiteX2298" fmla="*/ 6415505 w 7613003"/>
              <a:gd name="connsiteY2298" fmla="*/ 5916709 h 6367505"/>
              <a:gd name="connsiteX2299" fmla="*/ 6387328 w 7613003"/>
              <a:gd name="connsiteY2299" fmla="*/ 5930796 h 6367505"/>
              <a:gd name="connsiteX2300" fmla="*/ 6373240 w 7613003"/>
              <a:gd name="connsiteY2300" fmla="*/ 5930796 h 6367505"/>
              <a:gd name="connsiteX2301" fmla="*/ 6359152 w 7613003"/>
              <a:gd name="connsiteY2301" fmla="*/ 5944884 h 6367505"/>
              <a:gd name="connsiteX2302" fmla="*/ 6345064 w 7613003"/>
              <a:gd name="connsiteY2302" fmla="*/ 5944884 h 6367505"/>
              <a:gd name="connsiteX2303" fmla="*/ 6330975 w 7613003"/>
              <a:gd name="connsiteY2303" fmla="*/ 5958971 h 6367505"/>
              <a:gd name="connsiteX2304" fmla="*/ 6316888 w 7613003"/>
              <a:gd name="connsiteY2304" fmla="*/ 5973058 h 6367505"/>
              <a:gd name="connsiteX2305" fmla="*/ 6288711 w 7613003"/>
              <a:gd name="connsiteY2305" fmla="*/ 5973058 h 6367505"/>
              <a:gd name="connsiteX2306" fmla="*/ 6260535 w 7613003"/>
              <a:gd name="connsiteY2306" fmla="*/ 5987146 h 6367505"/>
              <a:gd name="connsiteX2307" fmla="*/ 6232358 w 7613003"/>
              <a:gd name="connsiteY2307" fmla="*/ 6001233 h 6367505"/>
              <a:gd name="connsiteX2308" fmla="*/ 6218269 w 7613003"/>
              <a:gd name="connsiteY2308" fmla="*/ 6015320 h 6367505"/>
              <a:gd name="connsiteX2309" fmla="*/ 6204182 w 7613003"/>
              <a:gd name="connsiteY2309" fmla="*/ 6015320 h 6367505"/>
              <a:gd name="connsiteX2310" fmla="*/ 6176005 w 7613003"/>
              <a:gd name="connsiteY2310" fmla="*/ 6029408 h 6367505"/>
              <a:gd name="connsiteX2311" fmla="*/ 6147829 w 7613003"/>
              <a:gd name="connsiteY2311" fmla="*/ 6043495 h 6367505"/>
              <a:gd name="connsiteX2312" fmla="*/ 6105565 w 7613003"/>
              <a:gd name="connsiteY2312" fmla="*/ 6071671 h 6367505"/>
              <a:gd name="connsiteX2313" fmla="*/ 6077388 w 7613003"/>
              <a:gd name="connsiteY2313" fmla="*/ 6085758 h 6367505"/>
              <a:gd name="connsiteX2314" fmla="*/ 6035123 w 7613003"/>
              <a:gd name="connsiteY2314" fmla="*/ 6113933 h 6367505"/>
              <a:gd name="connsiteX2315" fmla="*/ 6006946 w 7613003"/>
              <a:gd name="connsiteY2315" fmla="*/ 6128020 h 6367505"/>
              <a:gd name="connsiteX2316" fmla="*/ 5992859 w 7613003"/>
              <a:gd name="connsiteY2316" fmla="*/ 6128020 h 6367505"/>
              <a:gd name="connsiteX2317" fmla="*/ 5964682 w 7613003"/>
              <a:gd name="connsiteY2317" fmla="*/ 6142107 h 6367505"/>
              <a:gd name="connsiteX2318" fmla="*/ 5950593 w 7613003"/>
              <a:gd name="connsiteY2318" fmla="*/ 6156194 h 6367505"/>
              <a:gd name="connsiteX2319" fmla="*/ 5922417 w 7613003"/>
              <a:gd name="connsiteY2319" fmla="*/ 6156194 h 6367505"/>
              <a:gd name="connsiteX2320" fmla="*/ 5880153 w 7613003"/>
              <a:gd name="connsiteY2320" fmla="*/ 6184369 h 6367505"/>
              <a:gd name="connsiteX2321" fmla="*/ 5612477 w 7613003"/>
              <a:gd name="connsiteY2321" fmla="*/ 6254807 h 6367505"/>
              <a:gd name="connsiteX2322" fmla="*/ 5471594 w 7613003"/>
              <a:gd name="connsiteY2322" fmla="*/ 6282981 h 6367505"/>
              <a:gd name="connsiteX2323" fmla="*/ 5344800 w 7613003"/>
              <a:gd name="connsiteY2323" fmla="*/ 6311156 h 6367505"/>
              <a:gd name="connsiteX2324" fmla="*/ 5556124 w 7613003"/>
              <a:gd name="connsiteY2324" fmla="*/ 6297069 h 6367505"/>
              <a:gd name="connsiteX2325" fmla="*/ 5564929 w 7613003"/>
              <a:gd name="connsiteY2325" fmla="*/ 6297069 h 6367505"/>
              <a:gd name="connsiteX2326" fmla="*/ 5570212 w 7613003"/>
              <a:gd name="connsiteY2326" fmla="*/ 6297069 h 6367505"/>
              <a:gd name="connsiteX2327" fmla="*/ 5584299 w 7613003"/>
              <a:gd name="connsiteY2327" fmla="*/ 6297069 h 6367505"/>
              <a:gd name="connsiteX2328" fmla="*/ 5570212 w 7613003"/>
              <a:gd name="connsiteY2328" fmla="*/ 6311156 h 6367505"/>
              <a:gd name="connsiteX2329" fmla="*/ 5485682 w 7613003"/>
              <a:gd name="connsiteY2329" fmla="*/ 6325243 h 6367505"/>
              <a:gd name="connsiteX2330" fmla="*/ 5372976 w 7613003"/>
              <a:gd name="connsiteY2330" fmla="*/ 6339331 h 6367505"/>
              <a:gd name="connsiteX2331" fmla="*/ 5330712 w 7613003"/>
              <a:gd name="connsiteY2331" fmla="*/ 6353418 h 6367505"/>
              <a:gd name="connsiteX2332" fmla="*/ 5260270 w 7613003"/>
              <a:gd name="connsiteY2332" fmla="*/ 6353418 h 6367505"/>
              <a:gd name="connsiteX2333" fmla="*/ 5203919 w 7613003"/>
              <a:gd name="connsiteY2333" fmla="*/ 6367505 h 6367505"/>
              <a:gd name="connsiteX2334" fmla="*/ 5175742 w 7613003"/>
              <a:gd name="connsiteY2334" fmla="*/ 6367505 h 6367505"/>
              <a:gd name="connsiteX2335" fmla="*/ 5175742 w 7613003"/>
              <a:gd name="connsiteY2335" fmla="*/ 6353418 h 6367505"/>
              <a:gd name="connsiteX2336" fmla="*/ 5161654 w 7613003"/>
              <a:gd name="connsiteY2336" fmla="*/ 6353418 h 6367505"/>
              <a:gd name="connsiteX2337" fmla="*/ 5119389 w 7613003"/>
              <a:gd name="connsiteY2337" fmla="*/ 6353418 h 6367505"/>
              <a:gd name="connsiteX2338" fmla="*/ 5091213 w 7613003"/>
              <a:gd name="connsiteY2338" fmla="*/ 6353418 h 6367505"/>
              <a:gd name="connsiteX2339" fmla="*/ 5020771 w 7613003"/>
              <a:gd name="connsiteY2339" fmla="*/ 6367505 h 6367505"/>
              <a:gd name="connsiteX2340" fmla="*/ 4992595 w 7613003"/>
              <a:gd name="connsiteY2340" fmla="*/ 6367505 h 6367505"/>
              <a:gd name="connsiteX2341" fmla="*/ 4964418 w 7613003"/>
              <a:gd name="connsiteY2341" fmla="*/ 6367505 h 6367505"/>
              <a:gd name="connsiteX2342" fmla="*/ 4908065 w 7613003"/>
              <a:gd name="connsiteY2342" fmla="*/ 6367505 h 6367505"/>
              <a:gd name="connsiteX2343" fmla="*/ 4879889 w 7613003"/>
              <a:gd name="connsiteY2343" fmla="*/ 6353418 h 6367505"/>
              <a:gd name="connsiteX2344" fmla="*/ 4851712 w 7613003"/>
              <a:gd name="connsiteY2344" fmla="*/ 6353418 h 6367505"/>
              <a:gd name="connsiteX2345" fmla="*/ 4739006 w 7613003"/>
              <a:gd name="connsiteY2345" fmla="*/ 6367505 h 6367505"/>
              <a:gd name="connsiteX2346" fmla="*/ 4612213 w 7613003"/>
              <a:gd name="connsiteY2346" fmla="*/ 6353418 h 6367505"/>
              <a:gd name="connsiteX2347" fmla="*/ 4569949 w 7613003"/>
              <a:gd name="connsiteY2347" fmla="*/ 6353418 h 6367505"/>
              <a:gd name="connsiteX2348" fmla="*/ 4555860 w 7613003"/>
              <a:gd name="connsiteY2348" fmla="*/ 6353418 h 6367505"/>
              <a:gd name="connsiteX2349" fmla="*/ 4499507 w 7613003"/>
              <a:gd name="connsiteY2349" fmla="*/ 6339331 h 6367505"/>
              <a:gd name="connsiteX2350" fmla="*/ 4274096 w 7613003"/>
              <a:gd name="connsiteY2350" fmla="*/ 6311156 h 6367505"/>
              <a:gd name="connsiteX2351" fmla="*/ 4245920 w 7613003"/>
              <a:gd name="connsiteY2351" fmla="*/ 6297069 h 6367505"/>
              <a:gd name="connsiteX2352" fmla="*/ 4189567 w 7613003"/>
              <a:gd name="connsiteY2352" fmla="*/ 6282981 h 6367505"/>
              <a:gd name="connsiteX2353" fmla="*/ 4189567 w 7613003"/>
              <a:gd name="connsiteY2353" fmla="*/ 6297069 h 6367505"/>
              <a:gd name="connsiteX2354" fmla="*/ 4175478 w 7613003"/>
              <a:gd name="connsiteY2354" fmla="*/ 6297069 h 6367505"/>
              <a:gd name="connsiteX2355" fmla="*/ 4090949 w 7613003"/>
              <a:gd name="connsiteY2355" fmla="*/ 6268894 h 6367505"/>
              <a:gd name="connsiteX2356" fmla="*/ 4034596 w 7613003"/>
              <a:gd name="connsiteY2356" fmla="*/ 6268894 h 6367505"/>
              <a:gd name="connsiteX2357" fmla="*/ 3997912 w 7613003"/>
              <a:gd name="connsiteY2357" fmla="*/ 6253716 h 6367505"/>
              <a:gd name="connsiteX2358" fmla="*/ 3993227 w 7613003"/>
              <a:gd name="connsiteY2358" fmla="*/ 6254807 h 6367505"/>
              <a:gd name="connsiteX2359" fmla="*/ 3852344 w 7613003"/>
              <a:gd name="connsiteY2359" fmla="*/ 6282981 h 6367505"/>
              <a:gd name="connsiteX2360" fmla="*/ 3725550 w 7613003"/>
              <a:gd name="connsiteY2360" fmla="*/ 6311156 h 6367505"/>
              <a:gd name="connsiteX2361" fmla="*/ 3936874 w 7613003"/>
              <a:gd name="connsiteY2361" fmla="*/ 6297069 h 6367505"/>
              <a:gd name="connsiteX2362" fmla="*/ 3945679 w 7613003"/>
              <a:gd name="connsiteY2362" fmla="*/ 6297069 h 6367505"/>
              <a:gd name="connsiteX2363" fmla="*/ 3950962 w 7613003"/>
              <a:gd name="connsiteY2363" fmla="*/ 6297069 h 6367505"/>
              <a:gd name="connsiteX2364" fmla="*/ 3965049 w 7613003"/>
              <a:gd name="connsiteY2364" fmla="*/ 6297069 h 6367505"/>
              <a:gd name="connsiteX2365" fmla="*/ 3950962 w 7613003"/>
              <a:gd name="connsiteY2365" fmla="*/ 6311156 h 6367505"/>
              <a:gd name="connsiteX2366" fmla="*/ 3866432 w 7613003"/>
              <a:gd name="connsiteY2366" fmla="*/ 6325243 h 6367505"/>
              <a:gd name="connsiteX2367" fmla="*/ 3753726 w 7613003"/>
              <a:gd name="connsiteY2367" fmla="*/ 6339331 h 6367505"/>
              <a:gd name="connsiteX2368" fmla="*/ 3711462 w 7613003"/>
              <a:gd name="connsiteY2368" fmla="*/ 6353418 h 6367505"/>
              <a:gd name="connsiteX2369" fmla="*/ 3641020 w 7613003"/>
              <a:gd name="connsiteY2369" fmla="*/ 6353418 h 6367505"/>
              <a:gd name="connsiteX2370" fmla="*/ 3584669 w 7613003"/>
              <a:gd name="connsiteY2370" fmla="*/ 6367505 h 6367505"/>
              <a:gd name="connsiteX2371" fmla="*/ 3556492 w 7613003"/>
              <a:gd name="connsiteY2371" fmla="*/ 6367505 h 6367505"/>
              <a:gd name="connsiteX2372" fmla="*/ 3556492 w 7613003"/>
              <a:gd name="connsiteY2372" fmla="*/ 6353418 h 6367505"/>
              <a:gd name="connsiteX2373" fmla="*/ 3542404 w 7613003"/>
              <a:gd name="connsiteY2373" fmla="*/ 6353418 h 6367505"/>
              <a:gd name="connsiteX2374" fmla="*/ 3500139 w 7613003"/>
              <a:gd name="connsiteY2374" fmla="*/ 6353418 h 6367505"/>
              <a:gd name="connsiteX2375" fmla="*/ 3471963 w 7613003"/>
              <a:gd name="connsiteY2375" fmla="*/ 6353418 h 6367505"/>
              <a:gd name="connsiteX2376" fmla="*/ 3401521 w 7613003"/>
              <a:gd name="connsiteY2376" fmla="*/ 6367505 h 6367505"/>
              <a:gd name="connsiteX2377" fmla="*/ 3373345 w 7613003"/>
              <a:gd name="connsiteY2377" fmla="*/ 6367505 h 6367505"/>
              <a:gd name="connsiteX2378" fmla="*/ 3345168 w 7613003"/>
              <a:gd name="connsiteY2378" fmla="*/ 6367505 h 6367505"/>
              <a:gd name="connsiteX2379" fmla="*/ 3288816 w 7613003"/>
              <a:gd name="connsiteY2379" fmla="*/ 6367505 h 6367505"/>
              <a:gd name="connsiteX2380" fmla="*/ 3260639 w 7613003"/>
              <a:gd name="connsiteY2380" fmla="*/ 6353418 h 6367505"/>
              <a:gd name="connsiteX2381" fmla="*/ 3232462 w 7613003"/>
              <a:gd name="connsiteY2381" fmla="*/ 6353418 h 6367505"/>
              <a:gd name="connsiteX2382" fmla="*/ 3119756 w 7613003"/>
              <a:gd name="connsiteY2382" fmla="*/ 6367505 h 6367505"/>
              <a:gd name="connsiteX2383" fmla="*/ 2992963 w 7613003"/>
              <a:gd name="connsiteY2383" fmla="*/ 6353418 h 6367505"/>
              <a:gd name="connsiteX2384" fmla="*/ 2950699 w 7613003"/>
              <a:gd name="connsiteY2384" fmla="*/ 6353418 h 6367505"/>
              <a:gd name="connsiteX2385" fmla="*/ 2936611 w 7613003"/>
              <a:gd name="connsiteY2385" fmla="*/ 6353418 h 6367505"/>
              <a:gd name="connsiteX2386" fmla="*/ 2880257 w 7613003"/>
              <a:gd name="connsiteY2386" fmla="*/ 6339331 h 6367505"/>
              <a:gd name="connsiteX2387" fmla="*/ 2654846 w 7613003"/>
              <a:gd name="connsiteY2387" fmla="*/ 6311156 h 6367505"/>
              <a:gd name="connsiteX2388" fmla="*/ 2626670 w 7613003"/>
              <a:gd name="connsiteY2388" fmla="*/ 6297069 h 6367505"/>
              <a:gd name="connsiteX2389" fmla="*/ 2570317 w 7613003"/>
              <a:gd name="connsiteY2389" fmla="*/ 6282981 h 6367505"/>
              <a:gd name="connsiteX2390" fmla="*/ 2570317 w 7613003"/>
              <a:gd name="connsiteY2390" fmla="*/ 6297069 h 6367505"/>
              <a:gd name="connsiteX2391" fmla="*/ 2556228 w 7613003"/>
              <a:gd name="connsiteY2391" fmla="*/ 6297069 h 6367505"/>
              <a:gd name="connsiteX2392" fmla="*/ 2471699 w 7613003"/>
              <a:gd name="connsiteY2392" fmla="*/ 6268894 h 6367505"/>
              <a:gd name="connsiteX2393" fmla="*/ 2415347 w 7613003"/>
              <a:gd name="connsiteY2393" fmla="*/ 6268894 h 6367505"/>
              <a:gd name="connsiteX2394" fmla="*/ 2302641 w 7613003"/>
              <a:gd name="connsiteY2394" fmla="*/ 6226631 h 6367505"/>
              <a:gd name="connsiteX2395" fmla="*/ 2288552 w 7613003"/>
              <a:gd name="connsiteY2395" fmla="*/ 6226631 h 6367505"/>
              <a:gd name="connsiteX2396" fmla="*/ 2260376 w 7613003"/>
              <a:gd name="connsiteY2396" fmla="*/ 6212544 h 6367505"/>
              <a:gd name="connsiteX2397" fmla="*/ 2204023 w 7613003"/>
              <a:gd name="connsiteY2397" fmla="*/ 6198456 h 6367505"/>
              <a:gd name="connsiteX2398" fmla="*/ 2175846 w 7613003"/>
              <a:gd name="connsiteY2398" fmla="*/ 6184369 h 6367505"/>
              <a:gd name="connsiteX2399" fmla="*/ 2161758 w 7613003"/>
              <a:gd name="connsiteY2399" fmla="*/ 6184369 h 6367505"/>
              <a:gd name="connsiteX2400" fmla="*/ 2049053 w 7613003"/>
              <a:gd name="connsiteY2400" fmla="*/ 6142107 h 6367505"/>
              <a:gd name="connsiteX2401" fmla="*/ 2034965 w 7613003"/>
              <a:gd name="connsiteY2401" fmla="*/ 6142107 h 6367505"/>
              <a:gd name="connsiteX2402" fmla="*/ 1950434 w 7613003"/>
              <a:gd name="connsiteY2402" fmla="*/ 6099845 h 6367505"/>
              <a:gd name="connsiteX2403" fmla="*/ 1865906 w 7613003"/>
              <a:gd name="connsiteY2403" fmla="*/ 6057582 h 6367505"/>
              <a:gd name="connsiteX2404" fmla="*/ 1851817 w 7613003"/>
              <a:gd name="connsiteY2404" fmla="*/ 6057582 h 6367505"/>
              <a:gd name="connsiteX2405" fmla="*/ 1753200 w 7613003"/>
              <a:gd name="connsiteY2405" fmla="*/ 6015320 h 6367505"/>
              <a:gd name="connsiteX2406" fmla="*/ 1725024 w 7613003"/>
              <a:gd name="connsiteY2406" fmla="*/ 6001233 h 6367505"/>
              <a:gd name="connsiteX2407" fmla="*/ 1555965 w 7613003"/>
              <a:gd name="connsiteY2407" fmla="*/ 5902622 h 6367505"/>
              <a:gd name="connsiteX2408" fmla="*/ 1485523 w 7613003"/>
              <a:gd name="connsiteY2408" fmla="*/ 5874446 h 6367505"/>
              <a:gd name="connsiteX2409" fmla="*/ 1429170 w 7613003"/>
              <a:gd name="connsiteY2409" fmla="*/ 5832184 h 6367505"/>
              <a:gd name="connsiteX2410" fmla="*/ 1358729 w 7613003"/>
              <a:gd name="connsiteY2410" fmla="*/ 5775835 h 6367505"/>
              <a:gd name="connsiteX2411" fmla="*/ 1330553 w 7613003"/>
              <a:gd name="connsiteY2411" fmla="*/ 5761748 h 6367505"/>
              <a:gd name="connsiteX2412" fmla="*/ 1147407 w 7613003"/>
              <a:gd name="connsiteY2412" fmla="*/ 5606786 h 6367505"/>
              <a:gd name="connsiteX2413" fmla="*/ 1119230 w 7613003"/>
              <a:gd name="connsiteY2413" fmla="*/ 5578611 h 6367505"/>
              <a:gd name="connsiteX2414" fmla="*/ 1119230 w 7613003"/>
              <a:gd name="connsiteY2414" fmla="*/ 5564524 h 6367505"/>
              <a:gd name="connsiteX2415" fmla="*/ 1105141 w 7613003"/>
              <a:gd name="connsiteY2415" fmla="*/ 5564524 h 6367505"/>
              <a:gd name="connsiteX2416" fmla="*/ 1076965 w 7613003"/>
              <a:gd name="connsiteY2416" fmla="*/ 5536349 h 6367505"/>
              <a:gd name="connsiteX2417" fmla="*/ 1034701 w 7613003"/>
              <a:gd name="connsiteY2417" fmla="*/ 5494086 h 6367505"/>
              <a:gd name="connsiteX2418" fmla="*/ 978348 w 7613003"/>
              <a:gd name="connsiteY2418" fmla="*/ 5437737 h 6367505"/>
              <a:gd name="connsiteX2419" fmla="*/ 936082 w 7613003"/>
              <a:gd name="connsiteY2419" fmla="*/ 5395475 h 6367505"/>
              <a:gd name="connsiteX2420" fmla="*/ 865642 w 7613003"/>
              <a:gd name="connsiteY2420" fmla="*/ 5310950 h 6367505"/>
              <a:gd name="connsiteX2421" fmla="*/ 781112 w 7613003"/>
              <a:gd name="connsiteY2421" fmla="*/ 5198252 h 6367505"/>
              <a:gd name="connsiteX2422" fmla="*/ 767025 w 7613003"/>
              <a:gd name="connsiteY2422" fmla="*/ 5184163 h 6367505"/>
              <a:gd name="connsiteX2423" fmla="*/ 654319 w 7613003"/>
              <a:gd name="connsiteY2423" fmla="*/ 5057378 h 6367505"/>
              <a:gd name="connsiteX2424" fmla="*/ 640230 w 7613003"/>
              <a:gd name="connsiteY2424" fmla="*/ 5029203 h 6367505"/>
              <a:gd name="connsiteX2425" fmla="*/ 583877 w 7613003"/>
              <a:gd name="connsiteY2425" fmla="*/ 4958765 h 6367505"/>
              <a:gd name="connsiteX2426" fmla="*/ 569789 w 7613003"/>
              <a:gd name="connsiteY2426" fmla="*/ 4930591 h 6367505"/>
              <a:gd name="connsiteX2427" fmla="*/ 555702 w 7613003"/>
              <a:gd name="connsiteY2427" fmla="*/ 4902416 h 6367505"/>
              <a:gd name="connsiteX2428" fmla="*/ 485260 w 7613003"/>
              <a:gd name="connsiteY2428" fmla="*/ 4817891 h 6367505"/>
              <a:gd name="connsiteX2429" fmla="*/ 485260 w 7613003"/>
              <a:gd name="connsiteY2429" fmla="*/ 4803804 h 6367505"/>
              <a:gd name="connsiteX2430" fmla="*/ 457083 w 7613003"/>
              <a:gd name="connsiteY2430" fmla="*/ 4761542 h 6367505"/>
              <a:gd name="connsiteX2431" fmla="*/ 414819 w 7613003"/>
              <a:gd name="connsiteY2431" fmla="*/ 4705192 h 6367505"/>
              <a:gd name="connsiteX2432" fmla="*/ 400731 w 7613003"/>
              <a:gd name="connsiteY2432" fmla="*/ 4662929 h 6367505"/>
              <a:gd name="connsiteX2433" fmla="*/ 386643 w 7613003"/>
              <a:gd name="connsiteY2433" fmla="*/ 4662929 h 6367505"/>
              <a:gd name="connsiteX2434" fmla="*/ 386643 w 7613003"/>
              <a:gd name="connsiteY2434" fmla="*/ 4634755 h 6367505"/>
              <a:gd name="connsiteX2435" fmla="*/ 344378 w 7613003"/>
              <a:gd name="connsiteY2435" fmla="*/ 4564318 h 6367505"/>
              <a:gd name="connsiteX2436" fmla="*/ 316201 w 7613003"/>
              <a:gd name="connsiteY2436" fmla="*/ 4493882 h 6367505"/>
              <a:gd name="connsiteX2437" fmla="*/ 302113 w 7613003"/>
              <a:gd name="connsiteY2437" fmla="*/ 4493882 h 6367505"/>
              <a:gd name="connsiteX2438" fmla="*/ 302113 w 7613003"/>
              <a:gd name="connsiteY2438" fmla="*/ 4465706 h 6367505"/>
              <a:gd name="connsiteX2439" fmla="*/ 288025 w 7613003"/>
              <a:gd name="connsiteY2439" fmla="*/ 4423444 h 6367505"/>
              <a:gd name="connsiteX2440" fmla="*/ 330290 w 7613003"/>
              <a:gd name="connsiteY2440" fmla="*/ 4493882 h 6367505"/>
              <a:gd name="connsiteX2441" fmla="*/ 330290 w 7613003"/>
              <a:gd name="connsiteY2441" fmla="*/ 4507969 h 6367505"/>
              <a:gd name="connsiteX2442" fmla="*/ 344378 w 7613003"/>
              <a:gd name="connsiteY2442" fmla="*/ 4536144 h 6367505"/>
              <a:gd name="connsiteX2443" fmla="*/ 372554 w 7613003"/>
              <a:gd name="connsiteY2443" fmla="*/ 4578406 h 6367505"/>
              <a:gd name="connsiteX2444" fmla="*/ 372554 w 7613003"/>
              <a:gd name="connsiteY2444" fmla="*/ 4592493 h 6367505"/>
              <a:gd name="connsiteX2445" fmla="*/ 372554 w 7613003"/>
              <a:gd name="connsiteY2445" fmla="*/ 4564318 h 6367505"/>
              <a:gd name="connsiteX2446" fmla="*/ 366611 w 7613003"/>
              <a:gd name="connsiteY2446" fmla="*/ 4546489 h 6367505"/>
              <a:gd name="connsiteX2447" fmla="*/ 363538 w 7613003"/>
              <a:gd name="connsiteY2447" fmla="*/ 4537272 h 6367505"/>
              <a:gd name="connsiteX2448" fmla="*/ 372554 w 7613003"/>
              <a:gd name="connsiteY2448" fmla="*/ 4550231 h 6367505"/>
              <a:gd name="connsiteX2449" fmla="*/ 414819 w 7613003"/>
              <a:gd name="connsiteY2449" fmla="*/ 4634755 h 6367505"/>
              <a:gd name="connsiteX2450" fmla="*/ 428907 w 7613003"/>
              <a:gd name="connsiteY2450" fmla="*/ 4648842 h 6367505"/>
              <a:gd name="connsiteX2451" fmla="*/ 457083 w 7613003"/>
              <a:gd name="connsiteY2451" fmla="*/ 4705192 h 6367505"/>
              <a:gd name="connsiteX2452" fmla="*/ 457083 w 7613003"/>
              <a:gd name="connsiteY2452" fmla="*/ 4719280 h 6367505"/>
              <a:gd name="connsiteX2453" fmla="*/ 464128 w 7613003"/>
              <a:gd name="connsiteY2453" fmla="*/ 4712236 h 6367505"/>
              <a:gd name="connsiteX2454" fmla="*/ 467330 w 7613003"/>
              <a:gd name="connsiteY2454" fmla="*/ 4709034 h 6367505"/>
              <a:gd name="connsiteX2455" fmla="*/ 471171 w 7613003"/>
              <a:gd name="connsiteY2455" fmla="*/ 4719280 h 6367505"/>
              <a:gd name="connsiteX2456" fmla="*/ 471171 w 7613003"/>
              <a:gd name="connsiteY2456" fmla="*/ 4705192 h 6367505"/>
              <a:gd name="connsiteX2457" fmla="*/ 467330 w 7613003"/>
              <a:gd name="connsiteY2457" fmla="*/ 4709034 h 6367505"/>
              <a:gd name="connsiteX2458" fmla="*/ 450039 w 7613003"/>
              <a:gd name="connsiteY2458" fmla="*/ 4662931 h 6367505"/>
              <a:gd name="connsiteX2459" fmla="*/ 428907 w 7613003"/>
              <a:gd name="connsiteY2459" fmla="*/ 4606580 h 6367505"/>
              <a:gd name="connsiteX2460" fmla="*/ 414819 w 7613003"/>
              <a:gd name="connsiteY2460" fmla="*/ 4578406 h 6367505"/>
              <a:gd name="connsiteX2461" fmla="*/ 386643 w 7613003"/>
              <a:gd name="connsiteY2461" fmla="*/ 4522056 h 6367505"/>
              <a:gd name="connsiteX2462" fmla="*/ 358466 w 7613003"/>
              <a:gd name="connsiteY2462" fmla="*/ 4479793 h 6367505"/>
              <a:gd name="connsiteX2463" fmla="*/ 344378 w 7613003"/>
              <a:gd name="connsiteY2463" fmla="*/ 4451619 h 6367505"/>
              <a:gd name="connsiteX2464" fmla="*/ 316201 w 7613003"/>
              <a:gd name="connsiteY2464" fmla="*/ 4381182 h 6367505"/>
              <a:gd name="connsiteX2465" fmla="*/ 288025 w 7613003"/>
              <a:gd name="connsiteY2465" fmla="*/ 4338920 h 6367505"/>
              <a:gd name="connsiteX2466" fmla="*/ 288025 w 7613003"/>
              <a:gd name="connsiteY2466" fmla="*/ 4310744 h 6367505"/>
              <a:gd name="connsiteX2467" fmla="*/ 273937 w 7613003"/>
              <a:gd name="connsiteY2467" fmla="*/ 4296657 h 6367505"/>
              <a:gd name="connsiteX2468" fmla="*/ 259848 w 7613003"/>
              <a:gd name="connsiteY2468" fmla="*/ 4254395 h 6367505"/>
              <a:gd name="connsiteX2469" fmla="*/ 273937 w 7613003"/>
              <a:gd name="connsiteY2469" fmla="*/ 4310744 h 6367505"/>
              <a:gd name="connsiteX2470" fmla="*/ 259848 w 7613003"/>
              <a:gd name="connsiteY2470" fmla="*/ 4268482 h 6367505"/>
              <a:gd name="connsiteX2471" fmla="*/ 245761 w 7613003"/>
              <a:gd name="connsiteY2471" fmla="*/ 4254395 h 6367505"/>
              <a:gd name="connsiteX2472" fmla="*/ 245761 w 7613003"/>
              <a:gd name="connsiteY2472" fmla="*/ 4240308 h 6367505"/>
              <a:gd name="connsiteX2473" fmla="*/ 217584 w 7613003"/>
              <a:gd name="connsiteY2473" fmla="*/ 4198046 h 6367505"/>
              <a:gd name="connsiteX2474" fmla="*/ 203495 w 7613003"/>
              <a:gd name="connsiteY2474" fmla="*/ 4169871 h 6367505"/>
              <a:gd name="connsiteX2475" fmla="*/ 189407 w 7613003"/>
              <a:gd name="connsiteY2475" fmla="*/ 4141697 h 6367505"/>
              <a:gd name="connsiteX2476" fmla="*/ 189407 w 7613003"/>
              <a:gd name="connsiteY2476" fmla="*/ 4155784 h 6367505"/>
              <a:gd name="connsiteX2477" fmla="*/ 189407 w 7613003"/>
              <a:gd name="connsiteY2477" fmla="*/ 4175153 h 6367505"/>
              <a:gd name="connsiteX2478" fmla="*/ 189407 w 7613003"/>
              <a:gd name="connsiteY2478" fmla="*/ 4178235 h 6367505"/>
              <a:gd name="connsiteX2479" fmla="*/ 189407 w 7613003"/>
              <a:gd name="connsiteY2479" fmla="*/ 4180437 h 6367505"/>
              <a:gd name="connsiteX2480" fmla="*/ 189407 w 7613003"/>
              <a:gd name="connsiteY2480" fmla="*/ 4183958 h 6367505"/>
              <a:gd name="connsiteX2481" fmla="*/ 189407 w 7613003"/>
              <a:gd name="connsiteY2481" fmla="*/ 4198046 h 6367505"/>
              <a:gd name="connsiteX2482" fmla="*/ 189407 w 7613003"/>
              <a:gd name="connsiteY2482" fmla="*/ 4212133 h 6367505"/>
              <a:gd name="connsiteX2483" fmla="*/ 231672 w 7613003"/>
              <a:gd name="connsiteY2483" fmla="*/ 4296657 h 6367505"/>
              <a:gd name="connsiteX2484" fmla="*/ 217584 w 7613003"/>
              <a:gd name="connsiteY2484" fmla="*/ 4268482 h 6367505"/>
              <a:gd name="connsiteX2485" fmla="*/ 217584 w 7613003"/>
              <a:gd name="connsiteY2485" fmla="*/ 4310744 h 6367505"/>
              <a:gd name="connsiteX2486" fmla="*/ 217584 w 7613003"/>
              <a:gd name="connsiteY2486" fmla="*/ 4316687 h 6367505"/>
              <a:gd name="connsiteX2487" fmla="*/ 217584 w 7613003"/>
              <a:gd name="connsiteY2487" fmla="*/ 4324833 h 6367505"/>
              <a:gd name="connsiteX2488" fmla="*/ 217584 w 7613003"/>
              <a:gd name="connsiteY2488" fmla="*/ 4338920 h 6367505"/>
              <a:gd name="connsiteX2489" fmla="*/ 203495 w 7613003"/>
              <a:gd name="connsiteY2489" fmla="*/ 4338920 h 6367505"/>
              <a:gd name="connsiteX2490" fmla="*/ 189407 w 7613003"/>
              <a:gd name="connsiteY2490" fmla="*/ 4324833 h 6367505"/>
              <a:gd name="connsiteX2491" fmla="*/ 175319 w 7613003"/>
              <a:gd name="connsiteY2491" fmla="*/ 4254395 h 6367505"/>
              <a:gd name="connsiteX2492" fmla="*/ 147142 w 7613003"/>
              <a:gd name="connsiteY2492" fmla="*/ 4169871 h 6367505"/>
              <a:gd name="connsiteX2493" fmla="*/ 147142 w 7613003"/>
              <a:gd name="connsiteY2493" fmla="*/ 4155784 h 6367505"/>
              <a:gd name="connsiteX2494" fmla="*/ 133055 w 7613003"/>
              <a:gd name="connsiteY2494" fmla="*/ 4113521 h 6367505"/>
              <a:gd name="connsiteX2495" fmla="*/ 133055 w 7613003"/>
              <a:gd name="connsiteY2495" fmla="*/ 4141697 h 6367505"/>
              <a:gd name="connsiteX2496" fmla="*/ 133055 w 7613003"/>
              <a:gd name="connsiteY2496" fmla="*/ 4155784 h 6367505"/>
              <a:gd name="connsiteX2497" fmla="*/ 133055 w 7613003"/>
              <a:gd name="connsiteY2497" fmla="*/ 4183958 h 6367505"/>
              <a:gd name="connsiteX2498" fmla="*/ 104878 w 7613003"/>
              <a:gd name="connsiteY2498" fmla="*/ 4071259 h 6367505"/>
              <a:gd name="connsiteX2499" fmla="*/ 90789 w 7613003"/>
              <a:gd name="connsiteY2499" fmla="*/ 4057172 h 6367505"/>
              <a:gd name="connsiteX2500" fmla="*/ 76702 w 7613003"/>
              <a:gd name="connsiteY2500" fmla="*/ 3986735 h 6367505"/>
              <a:gd name="connsiteX2501" fmla="*/ 48525 w 7613003"/>
              <a:gd name="connsiteY2501" fmla="*/ 3859948 h 6367505"/>
              <a:gd name="connsiteX2502" fmla="*/ 62614 w 7613003"/>
              <a:gd name="connsiteY2502" fmla="*/ 3859948 h 6367505"/>
              <a:gd name="connsiteX2503" fmla="*/ 62614 w 7613003"/>
              <a:gd name="connsiteY2503" fmla="*/ 3845861 h 6367505"/>
              <a:gd name="connsiteX2504" fmla="*/ 62614 w 7613003"/>
              <a:gd name="connsiteY2504" fmla="*/ 3789512 h 6367505"/>
              <a:gd name="connsiteX2505" fmla="*/ 62614 w 7613003"/>
              <a:gd name="connsiteY2505" fmla="*/ 3784228 h 6367505"/>
              <a:gd name="connsiteX2506" fmla="*/ 62614 w 7613003"/>
              <a:gd name="connsiteY2506" fmla="*/ 3783567 h 6367505"/>
              <a:gd name="connsiteX2507" fmla="*/ 62614 w 7613003"/>
              <a:gd name="connsiteY2507" fmla="*/ 3759575 h 6367505"/>
              <a:gd name="connsiteX2508" fmla="*/ 62614 w 7613003"/>
              <a:gd name="connsiteY2508" fmla="*/ 3719074 h 6367505"/>
              <a:gd name="connsiteX2509" fmla="*/ 62614 w 7613003"/>
              <a:gd name="connsiteY2509" fmla="*/ 3676812 h 6367505"/>
              <a:gd name="connsiteX2510" fmla="*/ 62614 w 7613003"/>
              <a:gd name="connsiteY2510" fmla="*/ 3648637 h 6367505"/>
              <a:gd name="connsiteX2511" fmla="*/ 76702 w 7613003"/>
              <a:gd name="connsiteY2511" fmla="*/ 3690899 h 6367505"/>
              <a:gd name="connsiteX2512" fmla="*/ 76702 w 7613003"/>
              <a:gd name="connsiteY2512" fmla="*/ 3676812 h 6367505"/>
              <a:gd name="connsiteX2513" fmla="*/ 62614 w 7613003"/>
              <a:gd name="connsiteY2513" fmla="*/ 3564112 h 6367505"/>
              <a:gd name="connsiteX2514" fmla="*/ 62614 w 7613003"/>
              <a:gd name="connsiteY2514" fmla="*/ 3634550 h 6367505"/>
              <a:gd name="connsiteX2515" fmla="*/ 48525 w 7613003"/>
              <a:gd name="connsiteY2515" fmla="*/ 3620463 h 6367505"/>
              <a:gd name="connsiteX2516" fmla="*/ 48525 w 7613003"/>
              <a:gd name="connsiteY2516" fmla="*/ 3578200 h 6367505"/>
              <a:gd name="connsiteX2517" fmla="*/ 34436 w 7613003"/>
              <a:gd name="connsiteY2517" fmla="*/ 3550025 h 6367505"/>
              <a:gd name="connsiteX2518" fmla="*/ 34436 w 7613003"/>
              <a:gd name="connsiteY2518" fmla="*/ 3521850 h 6367505"/>
              <a:gd name="connsiteX2519" fmla="*/ 20349 w 7613003"/>
              <a:gd name="connsiteY2519" fmla="*/ 3366889 h 6367505"/>
              <a:gd name="connsiteX2520" fmla="*/ 6261 w 7613003"/>
              <a:gd name="connsiteY2520" fmla="*/ 3324627 h 6367505"/>
              <a:gd name="connsiteX2521" fmla="*/ 6261 w 7613003"/>
              <a:gd name="connsiteY2521" fmla="*/ 3226015 h 6367505"/>
              <a:gd name="connsiteX2522" fmla="*/ 6261 w 7613003"/>
              <a:gd name="connsiteY2522" fmla="*/ 3183753 h 6367505"/>
              <a:gd name="connsiteX2523" fmla="*/ 6261 w 7613003"/>
              <a:gd name="connsiteY2523" fmla="*/ 3155578 h 6367505"/>
              <a:gd name="connsiteX2524" fmla="*/ 6261 w 7613003"/>
              <a:gd name="connsiteY2524" fmla="*/ 3141491 h 6367505"/>
              <a:gd name="connsiteX2525" fmla="*/ 6261 w 7613003"/>
              <a:gd name="connsiteY2525" fmla="*/ 3056966 h 6367505"/>
              <a:gd name="connsiteX2526" fmla="*/ 6261 w 7613003"/>
              <a:gd name="connsiteY2526" fmla="*/ 2958355 h 6367505"/>
              <a:gd name="connsiteX2527" fmla="*/ 6261 w 7613003"/>
              <a:gd name="connsiteY2527" fmla="*/ 2873830 h 6367505"/>
              <a:gd name="connsiteX2528" fmla="*/ 6261 w 7613003"/>
              <a:gd name="connsiteY2528" fmla="*/ 2859742 h 6367505"/>
              <a:gd name="connsiteX2529" fmla="*/ 20349 w 7613003"/>
              <a:gd name="connsiteY2529" fmla="*/ 2845655 h 6367505"/>
              <a:gd name="connsiteX2530" fmla="*/ 20349 w 7613003"/>
              <a:gd name="connsiteY2530" fmla="*/ 2831568 h 6367505"/>
              <a:gd name="connsiteX2531" fmla="*/ 20349 w 7613003"/>
              <a:gd name="connsiteY2531" fmla="*/ 2761131 h 6367505"/>
              <a:gd name="connsiteX2532" fmla="*/ 34436 w 7613003"/>
              <a:gd name="connsiteY2532" fmla="*/ 2704782 h 6367505"/>
              <a:gd name="connsiteX2533" fmla="*/ 34436 w 7613003"/>
              <a:gd name="connsiteY2533" fmla="*/ 2676606 h 6367505"/>
              <a:gd name="connsiteX2534" fmla="*/ 62614 w 7613003"/>
              <a:gd name="connsiteY2534" fmla="*/ 2521646 h 6367505"/>
              <a:gd name="connsiteX2535" fmla="*/ 104878 w 7613003"/>
              <a:gd name="connsiteY2535" fmla="*/ 2437121 h 6367505"/>
              <a:gd name="connsiteX2536" fmla="*/ 118967 w 7613003"/>
              <a:gd name="connsiteY2536" fmla="*/ 2394859 h 6367505"/>
              <a:gd name="connsiteX2537" fmla="*/ 133055 w 7613003"/>
              <a:gd name="connsiteY2537" fmla="*/ 2310334 h 6367505"/>
              <a:gd name="connsiteX2538" fmla="*/ 161231 w 7613003"/>
              <a:gd name="connsiteY2538" fmla="*/ 2253985 h 6367505"/>
              <a:gd name="connsiteX2539" fmla="*/ 161231 w 7613003"/>
              <a:gd name="connsiteY2539" fmla="*/ 2239897 h 6367505"/>
              <a:gd name="connsiteX2540" fmla="*/ 161231 w 7613003"/>
              <a:gd name="connsiteY2540" fmla="*/ 2211723 h 6367505"/>
              <a:gd name="connsiteX2541" fmla="*/ 175319 w 7613003"/>
              <a:gd name="connsiteY2541" fmla="*/ 2197635 h 6367505"/>
              <a:gd name="connsiteX2542" fmla="*/ 175319 w 7613003"/>
              <a:gd name="connsiteY2542" fmla="*/ 2155372 h 6367505"/>
              <a:gd name="connsiteX2543" fmla="*/ 189407 w 7613003"/>
              <a:gd name="connsiteY2543" fmla="*/ 2141285 h 6367505"/>
              <a:gd name="connsiteX2544" fmla="*/ 189407 w 7613003"/>
              <a:gd name="connsiteY2544" fmla="*/ 2113110 h 6367505"/>
              <a:gd name="connsiteX2545" fmla="*/ 203495 w 7613003"/>
              <a:gd name="connsiteY2545" fmla="*/ 2099023 h 6367505"/>
              <a:gd name="connsiteX2546" fmla="*/ 217584 w 7613003"/>
              <a:gd name="connsiteY2546" fmla="*/ 2056761 h 6367505"/>
              <a:gd name="connsiteX2547" fmla="*/ 217584 w 7613003"/>
              <a:gd name="connsiteY2547" fmla="*/ 2028587 h 6367505"/>
              <a:gd name="connsiteX2548" fmla="*/ 231672 w 7613003"/>
              <a:gd name="connsiteY2548" fmla="*/ 2000412 h 6367505"/>
              <a:gd name="connsiteX2549" fmla="*/ 231672 w 7613003"/>
              <a:gd name="connsiteY2549" fmla="*/ 2000412 h 6367505"/>
              <a:gd name="connsiteX2550" fmla="*/ 245761 w 7613003"/>
              <a:gd name="connsiteY2550" fmla="*/ 1958149 h 6367505"/>
              <a:gd name="connsiteX2551" fmla="*/ 245761 w 7613003"/>
              <a:gd name="connsiteY2551" fmla="*/ 1901800 h 6367505"/>
              <a:gd name="connsiteX2552" fmla="*/ 259848 w 7613003"/>
              <a:gd name="connsiteY2552" fmla="*/ 1873625 h 6367505"/>
              <a:gd name="connsiteX2553" fmla="*/ 245761 w 7613003"/>
              <a:gd name="connsiteY2553" fmla="*/ 1887712 h 6367505"/>
              <a:gd name="connsiteX2554" fmla="*/ 217584 w 7613003"/>
              <a:gd name="connsiteY2554" fmla="*/ 1972236 h 6367505"/>
              <a:gd name="connsiteX2555" fmla="*/ 203495 w 7613003"/>
              <a:gd name="connsiteY2555" fmla="*/ 1986323 h 6367505"/>
              <a:gd name="connsiteX2556" fmla="*/ 203495 w 7613003"/>
              <a:gd name="connsiteY2556" fmla="*/ 2000412 h 6367505"/>
              <a:gd name="connsiteX2557" fmla="*/ 189407 w 7613003"/>
              <a:gd name="connsiteY2557" fmla="*/ 2000412 h 6367505"/>
              <a:gd name="connsiteX2558" fmla="*/ 203495 w 7613003"/>
              <a:gd name="connsiteY2558" fmla="*/ 1915887 h 6367505"/>
              <a:gd name="connsiteX2559" fmla="*/ 175319 w 7613003"/>
              <a:gd name="connsiteY2559" fmla="*/ 1972236 h 6367505"/>
              <a:gd name="connsiteX2560" fmla="*/ 181786 w 7613003"/>
              <a:gd name="connsiteY2560" fmla="*/ 1954455 h 6367505"/>
              <a:gd name="connsiteX2561" fmla="*/ 189407 w 7613003"/>
              <a:gd name="connsiteY2561" fmla="*/ 1944061 h 6367505"/>
              <a:gd name="connsiteX2562" fmla="*/ 182363 w 7613003"/>
              <a:gd name="connsiteY2562" fmla="*/ 1952867 h 6367505"/>
              <a:gd name="connsiteX2563" fmla="*/ 181786 w 7613003"/>
              <a:gd name="connsiteY2563" fmla="*/ 1954455 h 6367505"/>
              <a:gd name="connsiteX2564" fmla="*/ 170036 w 7613003"/>
              <a:gd name="connsiteY2564" fmla="*/ 1970476 h 6367505"/>
              <a:gd name="connsiteX2565" fmla="*/ 161231 w 7613003"/>
              <a:gd name="connsiteY2565" fmla="*/ 1986323 h 6367505"/>
              <a:gd name="connsiteX2566" fmla="*/ 147142 w 7613003"/>
              <a:gd name="connsiteY2566" fmla="*/ 2000412 h 6367505"/>
              <a:gd name="connsiteX2567" fmla="*/ 133055 w 7613003"/>
              <a:gd name="connsiteY2567" fmla="*/ 2014499 h 6367505"/>
              <a:gd name="connsiteX2568" fmla="*/ 76702 w 7613003"/>
              <a:gd name="connsiteY2568" fmla="*/ 2099023 h 6367505"/>
              <a:gd name="connsiteX2569" fmla="*/ 118967 w 7613003"/>
              <a:gd name="connsiteY2569" fmla="*/ 2028587 h 6367505"/>
              <a:gd name="connsiteX2570" fmla="*/ 130854 w 7613003"/>
              <a:gd name="connsiteY2570" fmla="*/ 2002833 h 6367505"/>
              <a:gd name="connsiteX2571" fmla="*/ 131021 w 7613003"/>
              <a:gd name="connsiteY2571" fmla="*/ 2001574 h 6367505"/>
              <a:gd name="connsiteX2572" fmla="*/ 133055 w 7613003"/>
              <a:gd name="connsiteY2572" fmla="*/ 2000412 h 6367505"/>
              <a:gd name="connsiteX2573" fmla="*/ 133055 w 7613003"/>
              <a:gd name="connsiteY2573" fmla="*/ 1986323 h 6367505"/>
              <a:gd name="connsiteX2574" fmla="*/ 131021 w 7613003"/>
              <a:gd name="connsiteY2574" fmla="*/ 2001574 h 6367505"/>
              <a:gd name="connsiteX2575" fmla="*/ 120727 w 7613003"/>
              <a:gd name="connsiteY2575" fmla="*/ 2007456 h 6367505"/>
              <a:gd name="connsiteX2576" fmla="*/ 118967 w 7613003"/>
              <a:gd name="connsiteY2576" fmla="*/ 2014499 h 6367505"/>
              <a:gd name="connsiteX2577" fmla="*/ 118967 w 7613003"/>
              <a:gd name="connsiteY2577" fmla="*/ 2000412 h 6367505"/>
              <a:gd name="connsiteX2578" fmla="*/ 118967 w 7613003"/>
              <a:gd name="connsiteY2578" fmla="*/ 1986323 h 6367505"/>
              <a:gd name="connsiteX2579" fmla="*/ 133055 w 7613003"/>
              <a:gd name="connsiteY2579" fmla="*/ 1972236 h 6367505"/>
              <a:gd name="connsiteX2580" fmla="*/ 147142 w 7613003"/>
              <a:gd name="connsiteY2580" fmla="*/ 1972236 h 6367505"/>
              <a:gd name="connsiteX2581" fmla="*/ 161231 w 7613003"/>
              <a:gd name="connsiteY2581" fmla="*/ 1944061 h 6367505"/>
              <a:gd name="connsiteX2582" fmla="*/ 175319 w 7613003"/>
              <a:gd name="connsiteY2582" fmla="*/ 1929974 h 6367505"/>
              <a:gd name="connsiteX2583" fmla="*/ 231672 w 7613003"/>
              <a:gd name="connsiteY2583" fmla="*/ 1845450 h 6367505"/>
              <a:gd name="connsiteX2584" fmla="*/ 259848 w 7613003"/>
              <a:gd name="connsiteY2584" fmla="*/ 1803188 h 6367505"/>
              <a:gd name="connsiteX2585" fmla="*/ 302113 w 7613003"/>
              <a:gd name="connsiteY2585" fmla="*/ 1775013 h 6367505"/>
              <a:gd name="connsiteX2586" fmla="*/ 358466 w 7613003"/>
              <a:gd name="connsiteY2586" fmla="*/ 1676401 h 6367505"/>
              <a:gd name="connsiteX2587" fmla="*/ 372554 w 7613003"/>
              <a:gd name="connsiteY2587" fmla="*/ 1648227 h 6367505"/>
              <a:gd name="connsiteX2588" fmla="*/ 372554 w 7613003"/>
              <a:gd name="connsiteY2588" fmla="*/ 1662314 h 6367505"/>
              <a:gd name="connsiteX2589" fmla="*/ 358466 w 7613003"/>
              <a:gd name="connsiteY2589" fmla="*/ 1746838 h 6367505"/>
              <a:gd name="connsiteX2590" fmla="*/ 330290 w 7613003"/>
              <a:gd name="connsiteY2590" fmla="*/ 1803188 h 6367505"/>
              <a:gd name="connsiteX2591" fmla="*/ 316201 w 7613003"/>
              <a:gd name="connsiteY2591" fmla="*/ 1845450 h 6367505"/>
              <a:gd name="connsiteX2592" fmla="*/ 259848 w 7613003"/>
              <a:gd name="connsiteY2592" fmla="*/ 1972236 h 6367505"/>
              <a:gd name="connsiteX2593" fmla="*/ 245761 w 7613003"/>
              <a:gd name="connsiteY2593" fmla="*/ 2000412 h 6367505"/>
              <a:gd name="connsiteX2594" fmla="*/ 217584 w 7613003"/>
              <a:gd name="connsiteY2594" fmla="*/ 2070849 h 6367505"/>
              <a:gd name="connsiteX2595" fmla="*/ 203495 w 7613003"/>
              <a:gd name="connsiteY2595" fmla="*/ 2169459 h 6367505"/>
              <a:gd name="connsiteX2596" fmla="*/ 189407 w 7613003"/>
              <a:gd name="connsiteY2596" fmla="*/ 2169459 h 6367505"/>
              <a:gd name="connsiteX2597" fmla="*/ 189407 w 7613003"/>
              <a:gd name="connsiteY2597" fmla="*/ 2225810 h 6367505"/>
              <a:gd name="connsiteX2598" fmla="*/ 175319 w 7613003"/>
              <a:gd name="connsiteY2598" fmla="*/ 2268072 h 6367505"/>
              <a:gd name="connsiteX2599" fmla="*/ 175319 w 7613003"/>
              <a:gd name="connsiteY2599" fmla="*/ 2282159 h 6367505"/>
              <a:gd name="connsiteX2600" fmla="*/ 161231 w 7613003"/>
              <a:gd name="connsiteY2600" fmla="*/ 2324421 h 6367505"/>
              <a:gd name="connsiteX2601" fmla="*/ 175319 w 7613003"/>
              <a:gd name="connsiteY2601" fmla="*/ 2338508 h 6367505"/>
              <a:gd name="connsiteX2602" fmla="*/ 189407 w 7613003"/>
              <a:gd name="connsiteY2602" fmla="*/ 2253985 h 6367505"/>
              <a:gd name="connsiteX2603" fmla="*/ 203495 w 7613003"/>
              <a:gd name="connsiteY2603" fmla="*/ 2211723 h 6367505"/>
              <a:gd name="connsiteX2604" fmla="*/ 203495 w 7613003"/>
              <a:gd name="connsiteY2604" fmla="*/ 2197635 h 6367505"/>
              <a:gd name="connsiteX2605" fmla="*/ 203495 w 7613003"/>
              <a:gd name="connsiteY2605" fmla="*/ 2183548 h 6367505"/>
              <a:gd name="connsiteX2606" fmla="*/ 217584 w 7613003"/>
              <a:gd name="connsiteY2606" fmla="*/ 2155372 h 6367505"/>
              <a:gd name="connsiteX2607" fmla="*/ 231672 w 7613003"/>
              <a:gd name="connsiteY2607" fmla="*/ 2127198 h 6367505"/>
              <a:gd name="connsiteX2608" fmla="*/ 231672 w 7613003"/>
              <a:gd name="connsiteY2608" fmla="*/ 2136003 h 6367505"/>
              <a:gd name="connsiteX2609" fmla="*/ 231672 w 7613003"/>
              <a:gd name="connsiteY2609" fmla="*/ 2149429 h 6367505"/>
              <a:gd name="connsiteX2610" fmla="*/ 231672 w 7613003"/>
              <a:gd name="connsiteY2610" fmla="*/ 2150090 h 6367505"/>
              <a:gd name="connsiteX2611" fmla="*/ 231672 w 7613003"/>
              <a:gd name="connsiteY2611" fmla="*/ 2155372 h 6367505"/>
              <a:gd name="connsiteX2612" fmla="*/ 259848 w 7613003"/>
              <a:gd name="connsiteY2612" fmla="*/ 2113110 h 6367505"/>
              <a:gd name="connsiteX2613" fmla="*/ 245761 w 7613003"/>
              <a:gd name="connsiteY2613" fmla="*/ 2113110 h 6367505"/>
              <a:gd name="connsiteX2614" fmla="*/ 245761 w 7613003"/>
              <a:gd name="connsiteY2614" fmla="*/ 2099023 h 6367505"/>
              <a:gd name="connsiteX2615" fmla="*/ 259848 w 7613003"/>
              <a:gd name="connsiteY2615" fmla="*/ 2084936 h 6367505"/>
              <a:gd name="connsiteX2616" fmla="*/ 273937 w 7613003"/>
              <a:gd name="connsiteY2616" fmla="*/ 2056761 h 6367505"/>
              <a:gd name="connsiteX2617" fmla="*/ 288025 w 7613003"/>
              <a:gd name="connsiteY2617" fmla="*/ 2028587 h 6367505"/>
              <a:gd name="connsiteX2618" fmla="*/ 288025 w 7613003"/>
              <a:gd name="connsiteY2618" fmla="*/ 2056761 h 6367505"/>
              <a:gd name="connsiteX2619" fmla="*/ 273937 w 7613003"/>
              <a:gd name="connsiteY2619" fmla="*/ 2084936 h 6367505"/>
              <a:gd name="connsiteX2620" fmla="*/ 288025 w 7613003"/>
              <a:gd name="connsiteY2620" fmla="*/ 2070849 h 6367505"/>
              <a:gd name="connsiteX2621" fmla="*/ 302113 w 7613003"/>
              <a:gd name="connsiteY2621" fmla="*/ 2028587 h 6367505"/>
              <a:gd name="connsiteX2622" fmla="*/ 302113 w 7613003"/>
              <a:gd name="connsiteY2622" fmla="*/ 2014499 h 6367505"/>
              <a:gd name="connsiteX2623" fmla="*/ 330290 w 7613003"/>
              <a:gd name="connsiteY2623" fmla="*/ 1972236 h 6367505"/>
              <a:gd name="connsiteX2624" fmla="*/ 344378 w 7613003"/>
              <a:gd name="connsiteY2624" fmla="*/ 1958149 h 6367505"/>
              <a:gd name="connsiteX2625" fmla="*/ 358466 w 7613003"/>
              <a:gd name="connsiteY2625" fmla="*/ 1944061 h 6367505"/>
              <a:gd name="connsiteX2626" fmla="*/ 372554 w 7613003"/>
              <a:gd name="connsiteY2626" fmla="*/ 1887712 h 6367505"/>
              <a:gd name="connsiteX2627" fmla="*/ 400731 w 7613003"/>
              <a:gd name="connsiteY2627" fmla="*/ 1845450 h 6367505"/>
              <a:gd name="connsiteX2628" fmla="*/ 386643 w 7613003"/>
              <a:gd name="connsiteY2628" fmla="*/ 1859538 h 6367505"/>
              <a:gd name="connsiteX2629" fmla="*/ 372554 w 7613003"/>
              <a:gd name="connsiteY2629" fmla="*/ 1859538 h 6367505"/>
              <a:gd name="connsiteX2630" fmla="*/ 372554 w 7613003"/>
              <a:gd name="connsiteY2630" fmla="*/ 1873625 h 6367505"/>
              <a:gd name="connsiteX2631" fmla="*/ 358466 w 7613003"/>
              <a:gd name="connsiteY2631" fmla="*/ 1845450 h 6367505"/>
              <a:gd name="connsiteX2632" fmla="*/ 428907 w 7613003"/>
              <a:gd name="connsiteY2632" fmla="*/ 1718663 h 6367505"/>
              <a:gd name="connsiteX2633" fmla="*/ 442996 w 7613003"/>
              <a:gd name="connsiteY2633" fmla="*/ 1676401 h 6367505"/>
              <a:gd name="connsiteX2634" fmla="*/ 471171 w 7613003"/>
              <a:gd name="connsiteY2634" fmla="*/ 1634138 h 6367505"/>
              <a:gd name="connsiteX2635" fmla="*/ 485260 w 7613003"/>
              <a:gd name="connsiteY2635" fmla="*/ 1591876 h 6367505"/>
              <a:gd name="connsiteX2636" fmla="*/ 499349 w 7613003"/>
              <a:gd name="connsiteY2636" fmla="*/ 1577789 h 6367505"/>
              <a:gd name="connsiteX2637" fmla="*/ 527524 w 7613003"/>
              <a:gd name="connsiteY2637" fmla="*/ 1521440 h 6367505"/>
              <a:gd name="connsiteX2638" fmla="*/ 555702 w 7613003"/>
              <a:gd name="connsiteY2638" fmla="*/ 1479178 h 6367505"/>
              <a:gd name="connsiteX2639" fmla="*/ 597966 w 7613003"/>
              <a:gd name="connsiteY2639" fmla="*/ 1451002 h 6367505"/>
              <a:gd name="connsiteX2640" fmla="*/ 527524 w 7613003"/>
              <a:gd name="connsiteY2640" fmla="*/ 1563702 h 6367505"/>
              <a:gd name="connsiteX2641" fmla="*/ 499349 w 7613003"/>
              <a:gd name="connsiteY2641" fmla="*/ 1620051 h 6367505"/>
              <a:gd name="connsiteX2642" fmla="*/ 527524 w 7613003"/>
              <a:gd name="connsiteY2642" fmla="*/ 1591876 h 6367505"/>
              <a:gd name="connsiteX2643" fmla="*/ 527524 w 7613003"/>
              <a:gd name="connsiteY2643" fmla="*/ 1577789 h 6367505"/>
              <a:gd name="connsiteX2644" fmla="*/ 612055 w 7613003"/>
              <a:gd name="connsiteY2644" fmla="*/ 1436915 h 6367505"/>
              <a:gd name="connsiteX2645" fmla="*/ 640230 w 7613003"/>
              <a:gd name="connsiteY2645" fmla="*/ 1394653 h 6367505"/>
              <a:gd name="connsiteX2646" fmla="*/ 668406 w 7613003"/>
              <a:gd name="connsiteY2646" fmla="*/ 1338304 h 6367505"/>
              <a:gd name="connsiteX2647" fmla="*/ 696583 w 7613003"/>
              <a:gd name="connsiteY2647" fmla="*/ 1310129 h 6367505"/>
              <a:gd name="connsiteX2648" fmla="*/ 738848 w 7613003"/>
              <a:gd name="connsiteY2648" fmla="*/ 1253779 h 6367505"/>
              <a:gd name="connsiteX2649" fmla="*/ 752936 w 7613003"/>
              <a:gd name="connsiteY2649" fmla="*/ 1239691 h 6367505"/>
              <a:gd name="connsiteX2650" fmla="*/ 865642 w 7613003"/>
              <a:gd name="connsiteY2650" fmla="*/ 1112904 h 6367505"/>
              <a:gd name="connsiteX2651" fmla="*/ 893818 w 7613003"/>
              <a:gd name="connsiteY2651" fmla="*/ 1070642 h 6367505"/>
              <a:gd name="connsiteX2652" fmla="*/ 921995 w 7613003"/>
              <a:gd name="connsiteY2652" fmla="*/ 1042468 h 6367505"/>
              <a:gd name="connsiteX2653" fmla="*/ 936082 w 7613003"/>
              <a:gd name="connsiteY2653" fmla="*/ 1028381 h 6367505"/>
              <a:gd name="connsiteX2654" fmla="*/ 950171 w 7613003"/>
              <a:gd name="connsiteY2654" fmla="*/ 1000206 h 6367505"/>
              <a:gd name="connsiteX2655" fmla="*/ 964260 w 7613003"/>
              <a:gd name="connsiteY2655" fmla="*/ 986119 h 6367505"/>
              <a:gd name="connsiteX2656" fmla="*/ 1048788 w 7613003"/>
              <a:gd name="connsiteY2656" fmla="*/ 887506 h 6367505"/>
              <a:gd name="connsiteX2657" fmla="*/ 1062877 w 7613003"/>
              <a:gd name="connsiteY2657" fmla="*/ 873419 h 6367505"/>
              <a:gd name="connsiteX2658" fmla="*/ 1076965 w 7613003"/>
              <a:gd name="connsiteY2658" fmla="*/ 873419 h 6367505"/>
              <a:gd name="connsiteX2659" fmla="*/ 1091053 w 7613003"/>
              <a:gd name="connsiteY2659" fmla="*/ 845244 h 6367505"/>
              <a:gd name="connsiteX2660" fmla="*/ 1105141 w 7613003"/>
              <a:gd name="connsiteY2660" fmla="*/ 831157 h 6367505"/>
              <a:gd name="connsiteX2661" fmla="*/ 1119230 w 7613003"/>
              <a:gd name="connsiteY2661" fmla="*/ 817070 h 6367505"/>
              <a:gd name="connsiteX2662" fmla="*/ 1161494 w 7613003"/>
              <a:gd name="connsiteY2662" fmla="*/ 774808 h 6367505"/>
              <a:gd name="connsiteX2663" fmla="*/ 1189671 w 7613003"/>
              <a:gd name="connsiteY2663" fmla="*/ 760719 h 6367505"/>
              <a:gd name="connsiteX2664" fmla="*/ 1203759 w 7613003"/>
              <a:gd name="connsiteY2664" fmla="*/ 746632 h 6367505"/>
              <a:gd name="connsiteX2665" fmla="*/ 1231936 w 7613003"/>
              <a:gd name="connsiteY2665" fmla="*/ 732545 h 6367505"/>
              <a:gd name="connsiteX2666" fmla="*/ 1288289 w 7613003"/>
              <a:gd name="connsiteY2666" fmla="*/ 704370 h 6367505"/>
              <a:gd name="connsiteX2667" fmla="*/ 1358729 w 7613003"/>
              <a:gd name="connsiteY2667" fmla="*/ 662108 h 6367505"/>
              <a:gd name="connsiteX2668" fmla="*/ 1429170 w 7613003"/>
              <a:gd name="connsiteY2668" fmla="*/ 591672 h 6367505"/>
              <a:gd name="connsiteX2669" fmla="*/ 1471435 w 7613003"/>
              <a:gd name="connsiteY2669" fmla="*/ 563496 h 6367505"/>
              <a:gd name="connsiteX2670" fmla="*/ 1527788 w 7613003"/>
              <a:gd name="connsiteY2670" fmla="*/ 521234 h 6367505"/>
              <a:gd name="connsiteX2671" fmla="*/ 1541876 w 7613003"/>
              <a:gd name="connsiteY2671" fmla="*/ 507147 h 6367505"/>
              <a:gd name="connsiteX2672" fmla="*/ 1584141 w 7613003"/>
              <a:gd name="connsiteY2672" fmla="*/ 493059 h 6367505"/>
              <a:gd name="connsiteX2673" fmla="*/ 1598229 w 7613003"/>
              <a:gd name="connsiteY2673" fmla="*/ 464885 h 6367505"/>
              <a:gd name="connsiteX2674" fmla="*/ 1626406 w 7613003"/>
              <a:gd name="connsiteY2674" fmla="*/ 464885 h 6367505"/>
              <a:gd name="connsiteX2675" fmla="*/ 1753200 w 7613003"/>
              <a:gd name="connsiteY2675" fmla="*/ 366272 h 6367505"/>
              <a:gd name="connsiteX2676" fmla="*/ 1795464 w 7613003"/>
              <a:gd name="connsiteY2676" fmla="*/ 338098 h 6367505"/>
              <a:gd name="connsiteX2677" fmla="*/ 1823641 w 7613003"/>
              <a:gd name="connsiteY2677" fmla="*/ 338098 h 6367505"/>
              <a:gd name="connsiteX2678" fmla="*/ 1865906 w 7613003"/>
              <a:gd name="connsiteY2678" fmla="*/ 324010 h 6367505"/>
              <a:gd name="connsiteX2679" fmla="*/ 1964523 w 7613003"/>
              <a:gd name="connsiteY2679" fmla="*/ 267661 h 6367505"/>
              <a:gd name="connsiteX2680" fmla="*/ 1992700 w 7613003"/>
              <a:gd name="connsiteY2680" fmla="*/ 253574 h 6367505"/>
              <a:gd name="connsiteX2681" fmla="*/ 2034965 w 7613003"/>
              <a:gd name="connsiteY2681" fmla="*/ 225398 h 6367505"/>
              <a:gd name="connsiteX2682" fmla="*/ 2091317 w 7613003"/>
              <a:gd name="connsiteY2682" fmla="*/ 197224 h 6367505"/>
              <a:gd name="connsiteX2683" fmla="*/ 2232199 w 7613003"/>
              <a:gd name="connsiteY2683" fmla="*/ 140874 h 6367505"/>
              <a:gd name="connsiteX2684" fmla="*/ 2316729 w 7613003"/>
              <a:gd name="connsiteY2684" fmla="*/ 112700 h 6367505"/>
              <a:gd name="connsiteX2685" fmla="*/ 2415347 w 7613003"/>
              <a:gd name="connsiteY2685" fmla="*/ 84525 h 6367505"/>
              <a:gd name="connsiteX2686" fmla="*/ 2429434 w 7613003"/>
              <a:gd name="connsiteY2686" fmla="*/ 70438 h 6367505"/>
              <a:gd name="connsiteX2687" fmla="*/ 2457611 w 7613003"/>
              <a:gd name="connsiteY2687" fmla="*/ 70438 h 6367505"/>
              <a:gd name="connsiteX2688" fmla="*/ 2668934 w 7613003"/>
              <a:gd name="connsiteY2688" fmla="*/ 14087 h 6367505"/>
              <a:gd name="connsiteX2689" fmla="*/ 2711199 w 7613003"/>
              <a:gd name="connsiteY2689" fmla="*/ 14087 h 6367505"/>
              <a:gd name="connsiteX2690" fmla="*/ 2781640 w 7613003"/>
              <a:gd name="connsiteY2690" fmla="*/ 0 h 6367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Lst>
            <a:rect l="l" t="t" r="r" b="b"/>
            <a:pathLst>
              <a:path w="7613003" h="6367505">
                <a:moveTo>
                  <a:pt x="6223992" y="4938955"/>
                </a:moveTo>
                <a:cubicBezTo>
                  <a:pt x="6224433" y="4938515"/>
                  <a:pt x="6223553" y="4939396"/>
                  <a:pt x="6221792" y="4941156"/>
                </a:cubicBezTo>
                <a:lnTo>
                  <a:pt x="6218266" y="4944683"/>
                </a:lnTo>
                <a:lnTo>
                  <a:pt x="6218269" y="4944678"/>
                </a:lnTo>
                <a:cubicBezTo>
                  <a:pt x="6221792" y="4941156"/>
                  <a:pt x="6223553" y="4939396"/>
                  <a:pt x="6223992" y="4938955"/>
                </a:cubicBezTo>
                <a:close/>
                <a:moveTo>
                  <a:pt x="5683813" y="4846067"/>
                </a:moveTo>
                <a:lnTo>
                  <a:pt x="5682917" y="4846962"/>
                </a:lnTo>
                <a:lnTo>
                  <a:pt x="5682917" y="4846962"/>
                </a:lnTo>
                <a:close/>
                <a:moveTo>
                  <a:pt x="5698414" y="4831466"/>
                </a:moveTo>
                <a:lnTo>
                  <a:pt x="5697005" y="4831978"/>
                </a:lnTo>
                <a:lnTo>
                  <a:pt x="5697005" y="4832875"/>
                </a:lnTo>
                <a:close/>
                <a:moveTo>
                  <a:pt x="353079" y="4516669"/>
                </a:moveTo>
                <a:lnTo>
                  <a:pt x="358466" y="4522056"/>
                </a:lnTo>
                <a:lnTo>
                  <a:pt x="363538" y="4537272"/>
                </a:lnTo>
                <a:lnTo>
                  <a:pt x="361989" y="4535043"/>
                </a:lnTo>
                <a:close/>
                <a:moveTo>
                  <a:pt x="302113" y="4409357"/>
                </a:moveTo>
                <a:cubicBezTo>
                  <a:pt x="316201" y="4423444"/>
                  <a:pt x="316201" y="4451619"/>
                  <a:pt x="330290" y="4465706"/>
                </a:cubicBezTo>
                <a:cubicBezTo>
                  <a:pt x="337333" y="4479794"/>
                  <a:pt x="344378" y="4497404"/>
                  <a:pt x="351422" y="4513251"/>
                </a:cubicBezTo>
                <a:lnTo>
                  <a:pt x="353079" y="4516669"/>
                </a:lnTo>
                <a:lnTo>
                  <a:pt x="344378" y="4507969"/>
                </a:lnTo>
                <a:cubicBezTo>
                  <a:pt x="340855" y="4504447"/>
                  <a:pt x="337333" y="4500925"/>
                  <a:pt x="330290" y="4493882"/>
                </a:cubicBezTo>
                <a:cubicBezTo>
                  <a:pt x="330290" y="4479793"/>
                  <a:pt x="330290" y="4465706"/>
                  <a:pt x="316201" y="4465706"/>
                </a:cubicBezTo>
                <a:cubicBezTo>
                  <a:pt x="316201" y="4451619"/>
                  <a:pt x="302113" y="4423444"/>
                  <a:pt x="302113" y="4409357"/>
                </a:cubicBezTo>
                <a:close/>
                <a:moveTo>
                  <a:pt x="288025" y="4395269"/>
                </a:moveTo>
                <a:cubicBezTo>
                  <a:pt x="288025" y="4395269"/>
                  <a:pt x="288025" y="4409357"/>
                  <a:pt x="288025" y="4423444"/>
                </a:cubicBezTo>
                <a:cubicBezTo>
                  <a:pt x="288025" y="4409357"/>
                  <a:pt x="273937" y="4395269"/>
                  <a:pt x="288025" y="4395269"/>
                </a:cubicBezTo>
                <a:close/>
                <a:moveTo>
                  <a:pt x="259848" y="4296657"/>
                </a:moveTo>
                <a:cubicBezTo>
                  <a:pt x="259848" y="4310744"/>
                  <a:pt x="273937" y="4324833"/>
                  <a:pt x="273937" y="4324833"/>
                </a:cubicBezTo>
                <a:cubicBezTo>
                  <a:pt x="273937" y="4338920"/>
                  <a:pt x="288025" y="4338920"/>
                  <a:pt x="288025" y="4353007"/>
                </a:cubicBezTo>
                <a:cubicBezTo>
                  <a:pt x="288025" y="4381182"/>
                  <a:pt x="302113" y="4381182"/>
                  <a:pt x="302113" y="4409357"/>
                </a:cubicBezTo>
                <a:cubicBezTo>
                  <a:pt x="288025" y="4395269"/>
                  <a:pt x="288025" y="4381182"/>
                  <a:pt x="273937" y="4367095"/>
                </a:cubicBezTo>
                <a:cubicBezTo>
                  <a:pt x="273937" y="4353007"/>
                  <a:pt x="259848" y="4338920"/>
                  <a:pt x="259848" y="4324833"/>
                </a:cubicBezTo>
                <a:cubicBezTo>
                  <a:pt x="259848" y="4310744"/>
                  <a:pt x="259848" y="4296657"/>
                  <a:pt x="259848" y="4296657"/>
                </a:cubicBezTo>
                <a:close/>
                <a:moveTo>
                  <a:pt x="133055" y="4183958"/>
                </a:moveTo>
                <a:cubicBezTo>
                  <a:pt x="147142" y="4212133"/>
                  <a:pt x="147142" y="4226221"/>
                  <a:pt x="147142" y="4240308"/>
                </a:cubicBezTo>
                <a:cubicBezTo>
                  <a:pt x="147142" y="4226221"/>
                  <a:pt x="133055" y="4212133"/>
                  <a:pt x="133055" y="4183958"/>
                </a:cubicBezTo>
                <a:close/>
                <a:moveTo>
                  <a:pt x="92039" y="4073399"/>
                </a:moveTo>
                <a:lnTo>
                  <a:pt x="103118" y="4092390"/>
                </a:lnTo>
                <a:cubicBezTo>
                  <a:pt x="104878" y="4099433"/>
                  <a:pt x="104878" y="4106477"/>
                  <a:pt x="104878" y="4113521"/>
                </a:cubicBezTo>
                <a:cubicBezTo>
                  <a:pt x="97834" y="4099433"/>
                  <a:pt x="94312" y="4088868"/>
                  <a:pt x="92551" y="4080064"/>
                </a:cubicBezTo>
                <a:close/>
                <a:moveTo>
                  <a:pt x="90789" y="4057172"/>
                </a:moveTo>
                <a:lnTo>
                  <a:pt x="92039" y="4073399"/>
                </a:lnTo>
                <a:lnTo>
                  <a:pt x="90789" y="4071259"/>
                </a:lnTo>
                <a:cubicBezTo>
                  <a:pt x="90789" y="4057172"/>
                  <a:pt x="90789" y="4057172"/>
                  <a:pt x="90789" y="4057172"/>
                </a:cubicBezTo>
                <a:close/>
                <a:moveTo>
                  <a:pt x="50726" y="3671089"/>
                </a:moveTo>
                <a:cubicBezTo>
                  <a:pt x="54689" y="3669768"/>
                  <a:pt x="62614" y="3680334"/>
                  <a:pt x="62614" y="3690899"/>
                </a:cubicBezTo>
                <a:cubicBezTo>
                  <a:pt x="62614" y="3704987"/>
                  <a:pt x="62614" y="3719074"/>
                  <a:pt x="62614" y="3719074"/>
                </a:cubicBezTo>
                <a:cubicBezTo>
                  <a:pt x="48525" y="3704987"/>
                  <a:pt x="48525" y="3690899"/>
                  <a:pt x="48525" y="3676812"/>
                </a:cubicBezTo>
                <a:cubicBezTo>
                  <a:pt x="48525" y="3673290"/>
                  <a:pt x="49406" y="3671529"/>
                  <a:pt x="50726" y="3671089"/>
                </a:cubicBezTo>
                <a:close/>
                <a:moveTo>
                  <a:pt x="7359416" y="2859742"/>
                </a:moveTo>
                <a:cubicBezTo>
                  <a:pt x="7359416" y="2873830"/>
                  <a:pt x="7373504" y="2887917"/>
                  <a:pt x="7359416" y="2887917"/>
                </a:cubicBezTo>
                <a:close/>
                <a:moveTo>
                  <a:pt x="5740166" y="2859742"/>
                </a:moveTo>
                <a:cubicBezTo>
                  <a:pt x="5740166" y="2873830"/>
                  <a:pt x="5754254" y="2887917"/>
                  <a:pt x="5740166" y="2887917"/>
                </a:cubicBezTo>
                <a:close/>
                <a:moveTo>
                  <a:pt x="7358520" y="2844503"/>
                </a:moveTo>
                <a:lnTo>
                  <a:pt x="7359416" y="2845655"/>
                </a:lnTo>
                <a:lnTo>
                  <a:pt x="7359416" y="2859742"/>
                </a:lnTo>
                <a:close/>
                <a:moveTo>
                  <a:pt x="5739270" y="2844503"/>
                </a:moveTo>
                <a:lnTo>
                  <a:pt x="5740166" y="2845655"/>
                </a:lnTo>
                <a:lnTo>
                  <a:pt x="5740166" y="2859742"/>
                </a:lnTo>
                <a:close/>
                <a:moveTo>
                  <a:pt x="7345327" y="2789306"/>
                </a:moveTo>
                <a:cubicBezTo>
                  <a:pt x="7352372" y="2803393"/>
                  <a:pt x="7355894" y="2817480"/>
                  <a:pt x="7357655" y="2829808"/>
                </a:cubicBezTo>
                <a:lnTo>
                  <a:pt x="7358520" y="2844503"/>
                </a:lnTo>
                <a:lnTo>
                  <a:pt x="7347089" y="2829808"/>
                </a:lnTo>
                <a:cubicBezTo>
                  <a:pt x="7345327" y="2824524"/>
                  <a:pt x="7345327" y="2817480"/>
                  <a:pt x="7345327" y="2803393"/>
                </a:cubicBezTo>
                <a:cubicBezTo>
                  <a:pt x="7345327" y="2803393"/>
                  <a:pt x="7345327" y="2803393"/>
                  <a:pt x="7345327" y="2789306"/>
                </a:cubicBezTo>
                <a:close/>
                <a:moveTo>
                  <a:pt x="5726077" y="2789306"/>
                </a:moveTo>
                <a:cubicBezTo>
                  <a:pt x="5733122" y="2803393"/>
                  <a:pt x="5736644" y="2817480"/>
                  <a:pt x="5738405" y="2829808"/>
                </a:cubicBezTo>
                <a:lnTo>
                  <a:pt x="5739270" y="2844503"/>
                </a:lnTo>
                <a:lnTo>
                  <a:pt x="5727839" y="2829808"/>
                </a:lnTo>
                <a:cubicBezTo>
                  <a:pt x="5726077" y="2824524"/>
                  <a:pt x="5726077" y="2817480"/>
                  <a:pt x="5726077" y="2803393"/>
                </a:cubicBezTo>
                <a:cubicBezTo>
                  <a:pt x="5726077" y="2803393"/>
                  <a:pt x="5726077" y="2803393"/>
                  <a:pt x="5726077" y="2789306"/>
                </a:cubicBezTo>
                <a:close/>
                <a:moveTo>
                  <a:pt x="7401680" y="2690693"/>
                </a:moveTo>
                <a:cubicBezTo>
                  <a:pt x="7415769" y="2704782"/>
                  <a:pt x="7415769" y="2718869"/>
                  <a:pt x="7415769" y="2747044"/>
                </a:cubicBezTo>
                <a:cubicBezTo>
                  <a:pt x="7415769" y="2747044"/>
                  <a:pt x="7415769" y="2761131"/>
                  <a:pt x="7415769" y="2761131"/>
                </a:cubicBezTo>
                <a:cubicBezTo>
                  <a:pt x="7415769" y="2732957"/>
                  <a:pt x="7401680" y="2704782"/>
                  <a:pt x="7401680" y="2690693"/>
                </a:cubicBezTo>
                <a:close/>
                <a:moveTo>
                  <a:pt x="5782430" y="2690693"/>
                </a:moveTo>
                <a:cubicBezTo>
                  <a:pt x="5796519" y="2704782"/>
                  <a:pt x="5796519" y="2718869"/>
                  <a:pt x="5796519" y="2747044"/>
                </a:cubicBezTo>
                <a:cubicBezTo>
                  <a:pt x="5796519" y="2747044"/>
                  <a:pt x="5796519" y="2761131"/>
                  <a:pt x="5796519" y="2761131"/>
                </a:cubicBezTo>
                <a:cubicBezTo>
                  <a:pt x="5796519" y="2732957"/>
                  <a:pt x="5782430" y="2704782"/>
                  <a:pt x="5782430" y="2690693"/>
                </a:cubicBezTo>
                <a:close/>
                <a:moveTo>
                  <a:pt x="7345327" y="2676606"/>
                </a:moveTo>
                <a:cubicBezTo>
                  <a:pt x="7359416" y="2704782"/>
                  <a:pt x="7359416" y="2747044"/>
                  <a:pt x="7373504" y="2789306"/>
                </a:cubicBezTo>
                <a:cubicBezTo>
                  <a:pt x="7373504" y="2817480"/>
                  <a:pt x="7387591" y="2859742"/>
                  <a:pt x="7387591" y="2887917"/>
                </a:cubicBezTo>
                <a:cubicBezTo>
                  <a:pt x="7387591" y="2902005"/>
                  <a:pt x="7401680" y="2916093"/>
                  <a:pt x="7401680" y="2930180"/>
                </a:cubicBezTo>
                <a:lnTo>
                  <a:pt x="7401680" y="2958355"/>
                </a:lnTo>
                <a:cubicBezTo>
                  <a:pt x="7387591" y="2902005"/>
                  <a:pt x="7373504" y="2845655"/>
                  <a:pt x="7359416" y="2775218"/>
                </a:cubicBezTo>
                <a:cubicBezTo>
                  <a:pt x="7345327" y="2761131"/>
                  <a:pt x="7345327" y="2747044"/>
                  <a:pt x="7345327" y="2732957"/>
                </a:cubicBezTo>
                <a:cubicBezTo>
                  <a:pt x="7345327" y="2732957"/>
                  <a:pt x="7345327" y="2729435"/>
                  <a:pt x="7345327" y="2724151"/>
                </a:cubicBezTo>
                <a:lnTo>
                  <a:pt x="7345327" y="2710725"/>
                </a:lnTo>
                <a:lnTo>
                  <a:pt x="7345327" y="2710064"/>
                </a:lnTo>
                <a:cubicBezTo>
                  <a:pt x="7345327" y="2708304"/>
                  <a:pt x="7345327" y="2704782"/>
                  <a:pt x="7345327" y="2704782"/>
                </a:cubicBezTo>
                <a:lnTo>
                  <a:pt x="7345327" y="2692455"/>
                </a:lnTo>
                <a:cubicBezTo>
                  <a:pt x="7345327" y="2690693"/>
                  <a:pt x="7345327" y="2690693"/>
                  <a:pt x="7345327" y="2690693"/>
                </a:cubicBezTo>
                <a:lnTo>
                  <a:pt x="7345327" y="2685411"/>
                </a:lnTo>
                <a:cubicBezTo>
                  <a:pt x="7345327" y="2680128"/>
                  <a:pt x="7345327" y="2676606"/>
                  <a:pt x="7345327" y="2676606"/>
                </a:cubicBezTo>
                <a:close/>
                <a:moveTo>
                  <a:pt x="5726077" y="2676606"/>
                </a:moveTo>
                <a:cubicBezTo>
                  <a:pt x="5740166" y="2704782"/>
                  <a:pt x="5740166" y="2747044"/>
                  <a:pt x="5754254" y="2789306"/>
                </a:cubicBezTo>
                <a:cubicBezTo>
                  <a:pt x="5754254" y="2817480"/>
                  <a:pt x="5768341" y="2859742"/>
                  <a:pt x="5768341" y="2887917"/>
                </a:cubicBezTo>
                <a:cubicBezTo>
                  <a:pt x="5768341" y="2902005"/>
                  <a:pt x="5782430" y="2916093"/>
                  <a:pt x="5782430" y="2930180"/>
                </a:cubicBezTo>
                <a:lnTo>
                  <a:pt x="5782430" y="2958355"/>
                </a:lnTo>
                <a:cubicBezTo>
                  <a:pt x="5768341" y="2902005"/>
                  <a:pt x="5754254" y="2845655"/>
                  <a:pt x="5740166" y="2775218"/>
                </a:cubicBezTo>
                <a:cubicBezTo>
                  <a:pt x="5726077" y="2761131"/>
                  <a:pt x="5726077" y="2747044"/>
                  <a:pt x="5726077" y="2732957"/>
                </a:cubicBezTo>
                <a:cubicBezTo>
                  <a:pt x="5726077" y="2732957"/>
                  <a:pt x="5726077" y="2729435"/>
                  <a:pt x="5726077" y="2724151"/>
                </a:cubicBezTo>
                <a:lnTo>
                  <a:pt x="5726077" y="2710725"/>
                </a:lnTo>
                <a:lnTo>
                  <a:pt x="5726077" y="2710064"/>
                </a:lnTo>
                <a:cubicBezTo>
                  <a:pt x="5726077" y="2708304"/>
                  <a:pt x="5726077" y="2704782"/>
                  <a:pt x="5726077" y="2704782"/>
                </a:cubicBezTo>
                <a:lnTo>
                  <a:pt x="5726077" y="2692455"/>
                </a:lnTo>
                <a:cubicBezTo>
                  <a:pt x="5726077" y="2690693"/>
                  <a:pt x="5726077" y="2690693"/>
                  <a:pt x="5726077" y="2690693"/>
                </a:cubicBezTo>
                <a:lnTo>
                  <a:pt x="5726077" y="2685411"/>
                </a:lnTo>
                <a:cubicBezTo>
                  <a:pt x="5726077" y="2680128"/>
                  <a:pt x="5726077" y="2676606"/>
                  <a:pt x="5726077" y="2676606"/>
                </a:cubicBezTo>
                <a:close/>
                <a:moveTo>
                  <a:pt x="7176268" y="2437121"/>
                </a:moveTo>
                <a:cubicBezTo>
                  <a:pt x="7176268" y="2437121"/>
                  <a:pt x="7190357" y="2437121"/>
                  <a:pt x="7176268" y="2451208"/>
                </a:cubicBezTo>
                <a:cubicBezTo>
                  <a:pt x="7176268" y="2437121"/>
                  <a:pt x="7176268" y="2437121"/>
                  <a:pt x="7176268" y="2437121"/>
                </a:cubicBezTo>
                <a:close/>
                <a:moveTo>
                  <a:pt x="5557018" y="2437121"/>
                </a:moveTo>
                <a:cubicBezTo>
                  <a:pt x="5557018" y="2437121"/>
                  <a:pt x="5571107" y="2437121"/>
                  <a:pt x="5557018" y="2451208"/>
                </a:cubicBezTo>
                <a:cubicBezTo>
                  <a:pt x="5557018" y="2437121"/>
                  <a:pt x="5557018" y="2437121"/>
                  <a:pt x="5557018" y="2437121"/>
                </a:cubicBezTo>
                <a:close/>
                <a:moveTo>
                  <a:pt x="7280169" y="2415990"/>
                </a:moveTo>
                <a:cubicBezTo>
                  <a:pt x="7285452" y="2430077"/>
                  <a:pt x="7288974" y="2444164"/>
                  <a:pt x="7288974" y="2451208"/>
                </a:cubicBezTo>
                <a:cubicBezTo>
                  <a:pt x="7288974" y="2437121"/>
                  <a:pt x="7285452" y="2426555"/>
                  <a:pt x="7280169" y="2415990"/>
                </a:cubicBezTo>
                <a:close/>
                <a:moveTo>
                  <a:pt x="5660919" y="2415990"/>
                </a:moveTo>
                <a:cubicBezTo>
                  <a:pt x="5666202" y="2430077"/>
                  <a:pt x="5669724" y="2444164"/>
                  <a:pt x="5669724" y="2451208"/>
                </a:cubicBezTo>
                <a:cubicBezTo>
                  <a:pt x="5669724" y="2437121"/>
                  <a:pt x="5666202" y="2426555"/>
                  <a:pt x="5660919" y="2415990"/>
                </a:cubicBezTo>
                <a:close/>
                <a:moveTo>
                  <a:pt x="3515093" y="2408946"/>
                </a:moveTo>
                <a:lnTo>
                  <a:pt x="3520376" y="2408946"/>
                </a:lnTo>
                <a:cubicBezTo>
                  <a:pt x="3523898" y="2408946"/>
                  <a:pt x="3527420" y="2408946"/>
                  <a:pt x="3527420" y="2408946"/>
                </a:cubicBezTo>
                <a:cubicBezTo>
                  <a:pt x="3527420" y="2423033"/>
                  <a:pt x="3513333" y="2423033"/>
                  <a:pt x="3513333" y="2437121"/>
                </a:cubicBezTo>
                <a:cubicBezTo>
                  <a:pt x="3499244" y="2451208"/>
                  <a:pt x="3499244" y="2465295"/>
                  <a:pt x="3485156" y="2479383"/>
                </a:cubicBezTo>
                <a:cubicBezTo>
                  <a:pt x="3485156" y="2479383"/>
                  <a:pt x="3485156" y="2465295"/>
                  <a:pt x="3485156" y="2465295"/>
                </a:cubicBezTo>
                <a:lnTo>
                  <a:pt x="3488287" y="2460599"/>
                </a:lnTo>
                <a:lnTo>
                  <a:pt x="3490439" y="2458252"/>
                </a:lnTo>
                <a:lnTo>
                  <a:pt x="3491417" y="2455904"/>
                </a:lnTo>
                <a:lnTo>
                  <a:pt x="3499244" y="2444164"/>
                </a:lnTo>
                <a:cubicBezTo>
                  <a:pt x="3502766" y="2437121"/>
                  <a:pt x="3506288" y="2430077"/>
                  <a:pt x="3513333" y="2423033"/>
                </a:cubicBezTo>
                <a:cubicBezTo>
                  <a:pt x="3513333" y="2415990"/>
                  <a:pt x="3513333" y="2412468"/>
                  <a:pt x="3515093" y="2408946"/>
                </a:cubicBezTo>
                <a:close/>
                <a:moveTo>
                  <a:pt x="7166821" y="2402814"/>
                </a:moveTo>
                <a:lnTo>
                  <a:pt x="7174508" y="2415990"/>
                </a:lnTo>
                <a:cubicBezTo>
                  <a:pt x="7176268" y="2423033"/>
                  <a:pt x="7176268" y="2430077"/>
                  <a:pt x="7176268" y="2437121"/>
                </a:cubicBezTo>
                <a:cubicBezTo>
                  <a:pt x="7176268" y="2430077"/>
                  <a:pt x="7172746" y="2423033"/>
                  <a:pt x="7169225" y="2414228"/>
                </a:cubicBezTo>
                <a:close/>
                <a:moveTo>
                  <a:pt x="5547571" y="2402814"/>
                </a:moveTo>
                <a:lnTo>
                  <a:pt x="5555258" y="2415990"/>
                </a:lnTo>
                <a:cubicBezTo>
                  <a:pt x="5557018" y="2423033"/>
                  <a:pt x="5557018" y="2430077"/>
                  <a:pt x="5557018" y="2437121"/>
                </a:cubicBezTo>
                <a:cubicBezTo>
                  <a:pt x="5557018" y="2430077"/>
                  <a:pt x="5553496" y="2423033"/>
                  <a:pt x="5549975" y="2414228"/>
                </a:cubicBezTo>
                <a:close/>
                <a:moveTo>
                  <a:pt x="7260798" y="2380771"/>
                </a:moveTo>
                <a:cubicBezTo>
                  <a:pt x="7267842" y="2387815"/>
                  <a:pt x="7274887" y="2401903"/>
                  <a:pt x="7280169" y="2415990"/>
                </a:cubicBezTo>
                <a:cubicBezTo>
                  <a:pt x="7274887" y="2405424"/>
                  <a:pt x="7267842" y="2394859"/>
                  <a:pt x="7260798" y="2380771"/>
                </a:cubicBezTo>
                <a:close/>
                <a:moveTo>
                  <a:pt x="7155418" y="2380771"/>
                </a:moveTo>
                <a:lnTo>
                  <a:pt x="7162181" y="2380771"/>
                </a:lnTo>
                <a:lnTo>
                  <a:pt x="7166821" y="2402814"/>
                </a:lnTo>
                <a:lnTo>
                  <a:pt x="7162181" y="2394859"/>
                </a:lnTo>
                <a:close/>
                <a:moveTo>
                  <a:pt x="5641548" y="2380771"/>
                </a:moveTo>
                <a:cubicBezTo>
                  <a:pt x="5648592" y="2387815"/>
                  <a:pt x="5655637" y="2401903"/>
                  <a:pt x="5660919" y="2415990"/>
                </a:cubicBezTo>
                <a:cubicBezTo>
                  <a:pt x="5655637" y="2405424"/>
                  <a:pt x="5648592" y="2394859"/>
                  <a:pt x="5641548" y="2380771"/>
                </a:cubicBezTo>
                <a:close/>
                <a:moveTo>
                  <a:pt x="5536168" y="2380771"/>
                </a:moveTo>
                <a:lnTo>
                  <a:pt x="5542931" y="2380771"/>
                </a:lnTo>
                <a:lnTo>
                  <a:pt x="5547571" y="2402814"/>
                </a:lnTo>
                <a:lnTo>
                  <a:pt x="5542931" y="2394859"/>
                </a:lnTo>
                <a:close/>
                <a:moveTo>
                  <a:pt x="7246710" y="2352596"/>
                </a:moveTo>
                <a:cubicBezTo>
                  <a:pt x="7246710" y="2352596"/>
                  <a:pt x="7246710" y="2352596"/>
                  <a:pt x="7260798" y="2366684"/>
                </a:cubicBezTo>
                <a:cubicBezTo>
                  <a:pt x="7260798" y="2366684"/>
                  <a:pt x="7260798" y="2380771"/>
                  <a:pt x="7260798" y="2380771"/>
                </a:cubicBezTo>
                <a:cubicBezTo>
                  <a:pt x="7260798" y="2380771"/>
                  <a:pt x="7260798" y="2380771"/>
                  <a:pt x="7260798" y="2394859"/>
                </a:cubicBezTo>
                <a:cubicBezTo>
                  <a:pt x="7246710" y="2380771"/>
                  <a:pt x="7246710" y="2366684"/>
                  <a:pt x="7246710" y="2352596"/>
                </a:cubicBezTo>
                <a:close/>
                <a:moveTo>
                  <a:pt x="5627460" y="2352596"/>
                </a:moveTo>
                <a:cubicBezTo>
                  <a:pt x="5627460" y="2352596"/>
                  <a:pt x="5627460" y="2352596"/>
                  <a:pt x="5641548" y="2366684"/>
                </a:cubicBezTo>
                <a:cubicBezTo>
                  <a:pt x="5641548" y="2366684"/>
                  <a:pt x="5641548" y="2380771"/>
                  <a:pt x="5641548" y="2380771"/>
                </a:cubicBezTo>
                <a:cubicBezTo>
                  <a:pt x="5641548" y="2380771"/>
                  <a:pt x="5641548" y="2380771"/>
                  <a:pt x="5641548" y="2394859"/>
                </a:cubicBezTo>
                <a:cubicBezTo>
                  <a:pt x="5627460" y="2380771"/>
                  <a:pt x="5627460" y="2366684"/>
                  <a:pt x="5627460" y="2352596"/>
                </a:cubicBezTo>
                <a:close/>
                <a:moveTo>
                  <a:pt x="3555597" y="2352596"/>
                </a:moveTo>
                <a:cubicBezTo>
                  <a:pt x="3569684" y="2352596"/>
                  <a:pt x="3569684" y="2352596"/>
                  <a:pt x="3569684" y="2352596"/>
                </a:cubicBezTo>
                <a:cubicBezTo>
                  <a:pt x="3555597" y="2366684"/>
                  <a:pt x="3541509" y="2394859"/>
                  <a:pt x="3527420" y="2408946"/>
                </a:cubicBezTo>
                <a:cubicBezTo>
                  <a:pt x="3527420" y="2394859"/>
                  <a:pt x="3527420" y="2394859"/>
                  <a:pt x="3527420" y="2394859"/>
                </a:cubicBezTo>
                <a:lnTo>
                  <a:pt x="3541509" y="2373728"/>
                </a:lnTo>
                <a:cubicBezTo>
                  <a:pt x="3545030" y="2370206"/>
                  <a:pt x="3548552" y="2366684"/>
                  <a:pt x="3555597" y="2366684"/>
                </a:cubicBezTo>
                <a:cubicBezTo>
                  <a:pt x="3555597" y="2352596"/>
                  <a:pt x="3555597" y="2352596"/>
                  <a:pt x="3555597" y="2352596"/>
                </a:cubicBezTo>
                <a:close/>
                <a:moveTo>
                  <a:pt x="3581308" y="2325830"/>
                </a:moveTo>
                <a:lnTo>
                  <a:pt x="3569684" y="2338508"/>
                </a:lnTo>
                <a:cubicBezTo>
                  <a:pt x="3569684" y="2338508"/>
                  <a:pt x="3569684" y="2334986"/>
                  <a:pt x="3571446" y="2331465"/>
                </a:cubicBezTo>
                <a:close/>
                <a:moveTo>
                  <a:pt x="3582600" y="2324421"/>
                </a:moveTo>
                <a:lnTo>
                  <a:pt x="3583773" y="2324421"/>
                </a:lnTo>
                <a:lnTo>
                  <a:pt x="3581308" y="2325830"/>
                </a:lnTo>
                <a:close/>
                <a:moveTo>
                  <a:pt x="7091739" y="2253985"/>
                </a:moveTo>
                <a:cubicBezTo>
                  <a:pt x="7091739" y="2253985"/>
                  <a:pt x="7105828" y="2268072"/>
                  <a:pt x="7105828" y="2268072"/>
                </a:cubicBezTo>
                <a:cubicBezTo>
                  <a:pt x="7119917" y="2282159"/>
                  <a:pt x="7119917" y="2282159"/>
                  <a:pt x="7119917" y="2296246"/>
                </a:cubicBezTo>
                <a:cubicBezTo>
                  <a:pt x="7126960" y="2317377"/>
                  <a:pt x="7134004" y="2334986"/>
                  <a:pt x="7141049" y="2350836"/>
                </a:cubicBezTo>
                <a:lnTo>
                  <a:pt x="7155418" y="2380771"/>
                </a:lnTo>
                <a:lnTo>
                  <a:pt x="7155136" y="2380771"/>
                </a:lnTo>
                <a:cubicBezTo>
                  <a:pt x="7151614" y="2380771"/>
                  <a:pt x="7148092" y="2380771"/>
                  <a:pt x="7148092" y="2380771"/>
                </a:cubicBezTo>
                <a:cubicBezTo>
                  <a:pt x="7148092" y="2380771"/>
                  <a:pt x="7148092" y="2366684"/>
                  <a:pt x="7134004" y="2366684"/>
                </a:cubicBezTo>
                <a:cubicBezTo>
                  <a:pt x="7134004" y="2366684"/>
                  <a:pt x="7134004" y="2352596"/>
                  <a:pt x="7134004" y="2352596"/>
                </a:cubicBezTo>
                <a:cubicBezTo>
                  <a:pt x="7134004" y="2352596"/>
                  <a:pt x="7134004" y="2338508"/>
                  <a:pt x="7134004" y="2338508"/>
                </a:cubicBezTo>
                <a:cubicBezTo>
                  <a:pt x="7119917" y="2324421"/>
                  <a:pt x="7105828" y="2296246"/>
                  <a:pt x="7091739" y="2268072"/>
                </a:cubicBezTo>
                <a:cubicBezTo>
                  <a:pt x="7091739" y="2268072"/>
                  <a:pt x="7091739" y="2268072"/>
                  <a:pt x="7091739" y="2253985"/>
                </a:cubicBezTo>
                <a:close/>
                <a:moveTo>
                  <a:pt x="5472489" y="2253985"/>
                </a:moveTo>
                <a:cubicBezTo>
                  <a:pt x="5472489" y="2253985"/>
                  <a:pt x="5486578" y="2268072"/>
                  <a:pt x="5486578" y="2268072"/>
                </a:cubicBezTo>
                <a:cubicBezTo>
                  <a:pt x="5500667" y="2282159"/>
                  <a:pt x="5500667" y="2282159"/>
                  <a:pt x="5500667" y="2296246"/>
                </a:cubicBezTo>
                <a:cubicBezTo>
                  <a:pt x="5507710" y="2317377"/>
                  <a:pt x="5514754" y="2334986"/>
                  <a:pt x="5521799" y="2350836"/>
                </a:cubicBezTo>
                <a:lnTo>
                  <a:pt x="5536168" y="2380771"/>
                </a:lnTo>
                <a:lnTo>
                  <a:pt x="5535886" y="2380771"/>
                </a:lnTo>
                <a:cubicBezTo>
                  <a:pt x="5532364" y="2380771"/>
                  <a:pt x="5528842" y="2380771"/>
                  <a:pt x="5528842" y="2380771"/>
                </a:cubicBezTo>
                <a:cubicBezTo>
                  <a:pt x="5528842" y="2380771"/>
                  <a:pt x="5528842" y="2366684"/>
                  <a:pt x="5514754" y="2366684"/>
                </a:cubicBezTo>
                <a:cubicBezTo>
                  <a:pt x="5514754" y="2366684"/>
                  <a:pt x="5514754" y="2352596"/>
                  <a:pt x="5514754" y="2352596"/>
                </a:cubicBezTo>
                <a:cubicBezTo>
                  <a:pt x="5514754" y="2352596"/>
                  <a:pt x="5514754" y="2338508"/>
                  <a:pt x="5514754" y="2338508"/>
                </a:cubicBezTo>
                <a:cubicBezTo>
                  <a:pt x="5500667" y="2324421"/>
                  <a:pt x="5486578" y="2296246"/>
                  <a:pt x="5472489" y="2268072"/>
                </a:cubicBezTo>
                <a:cubicBezTo>
                  <a:pt x="5472489" y="2268072"/>
                  <a:pt x="5472489" y="2268072"/>
                  <a:pt x="5472489" y="2253985"/>
                </a:cubicBezTo>
                <a:close/>
                <a:moveTo>
                  <a:pt x="101747" y="2036412"/>
                </a:moveTo>
                <a:lnTo>
                  <a:pt x="99595" y="2039152"/>
                </a:lnTo>
                <a:cubicBezTo>
                  <a:pt x="94312" y="2046196"/>
                  <a:pt x="90789" y="2049717"/>
                  <a:pt x="90789" y="2042674"/>
                </a:cubicBezTo>
                <a:close/>
                <a:moveTo>
                  <a:pt x="103469" y="2034221"/>
                </a:moveTo>
                <a:lnTo>
                  <a:pt x="103118" y="2035630"/>
                </a:lnTo>
                <a:lnTo>
                  <a:pt x="101747" y="2036412"/>
                </a:lnTo>
                <a:close/>
                <a:moveTo>
                  <a:pt x="104878" y="2014499"/>
                </a:moveTo>
                <a:cubicBezTo>
                  <a:pt x="104878" y="2014499"/>
                  <a:pt x="104878" y="2014499"/>
                  <a:pt x="118967" y="2014499"/>
                </a:cubicBezTo>
                <a:lnTo>
                  <a:pt x="103469" y="2034221"/>
                </a:lnTo>
                <a:lnTo>
                  <a:pt x="104878" y="2028587"/>
                </a:lnTo>
                <a:cubicBezTo>
                  <a:pt x="104878" y="2028587"/>
                  <a:pt x="104878" y="2028587"/>
                  <a:pt x="104878" y="2014499"/>
                </a:cubicBezTo>
                <a:close/>
                <a:moveTo>
                  <a:pt x="330290" y="1944061"/>
                </a:moveTo>
                <a:cubicBezTo>
                  <a:pt x="344378" y="1944061"/>
                  <a:pt x="330290" y="1958149"/>
                  <a:pt x="330290" y="1972236"/>
                </a:cubicBezTo>
                <a:cubicBezTo>
                  <a:pt x="330290" y="1958149"/>
                  <a:pt x="330290" y="1944061"/>
                  <a:pt x="330290" y="1944061"/>
                </a:cubicBezTo>
                <a:close/>
                <a:moveTo>
                  <a:pt x="6556388" y="1648227"/>
                </a:moveTo>
                <a:lnTo>
                  <a:pt x="6570476" y="1657031"/>
                </a:lnTo>
                <a:cubicBezTo>
                  <a:pt x="6573997" y="1662314"/>
                  <a:pt x="6577519" y="1669358"/>
                  <a:pt x="6584563" y="1676401"/>
                </a:cubicBezTo>
                <a:cubicBezTo>
                  <a:pt x="6577519" y="1669358"/>
                  <a:pt x="6570476" y="1662314"/>
                  <a:pt x="6561670" y="1653509"/>
                </a:cubicBezTo>
                <a:close/>
                <a:moveTo>
                  <a:pt x="4937138" y="1648227"/>
                </a:moveTo>
                <a:lnTo>
                  <a:pt x="4951226" y="1657031"/>
                </a:lnTo>
                <a:cubicBezTo>
                  <a:pt x="4954747" y="1662314"/>
                  <a:pt x="4958269" y="1669358"/>
                  <a:pt x="4965313" y="1676401"/>
                </a:cubicBezTo>
                <a:cubicBezTo>
                  <a:pt x="4958269" y="1669358"/>
                  <a:pt x="4951226" y="1662314"/>
                  <a:pt x="4942420" y="1653509"/>
                </a:cubicBezTo>
                <a:close/>
                <a:moveTo>
                  <a:pt x="6542300" y="1634140"/>
                </a:moveTo>
                <a:lnTo>
                  <a:pt x="6554627" y="1641183"/>
                </a:lnTo>
                <a:lnTo>
                  <a:pt x="6556387" y="1648227"/>
                </a:lnTo>
                <a:close/>
                <a:moveTo>
                  <a:pt x="4923050" y="1634140"/>
                </a:moveTo>
                <a:lnTo>
                  <a:pt x="4935377" y="1641183"/>
                </a:lnTo>
                <a:lnTo>
                  <a:pt x="4937137" y="1648227"/>
                </a:lnTo>
                <a:close/>
                <a:moveTo>
                  <a:pt x="6415505" y="1577789"/>
                </a:moveTo>
                <a:cubicBezTo>
                  <a:pt x="6429593" y="1591876"/>
                  <a:pt x="6443681" y="1591876"/>
                  <a:pt x="6457770" y="1605964"/>
                </a:cubicBezTo>
                <a:cubicBezTo>
                  <a:pt x="6485946" y="1620051"/>
                  <a:pt x="6500034" y="1648227"/>
                  <a:pt x="6528211" y="1676401"/>
                </a:cubicBezTo>
                <a:cubicBezTo>
                  <a:pt x="6528211" y="1676401"/>
                  <a:pt x="6542298" y="1690489"/>
                  <a:pt x="6542298" y="1690489"/>
                </a:cubicBezTo>
                <a:cubicBezTo>
                  <a:pt x="6514123" y="1662314"/>
                  <a:pt x="6500034" y="1648227"/>
                  <a:pt x="6485946" y="1634138"/>
                </a:cubicBezTo>
                <a:cubicBezTo>
                  <a:pt x="6471858" y="1634138"/>
                  <a:pt x="6471858" y="1634138"/>
                  <a:pt x="6457770" y="1620051"/>
                </a:cubicBezTo>
                <a:cubicBezTo>
                  <a:pt x="6443681" y="1605964"/>
                  <a:pt x="6429593" y="1605964"/>
                  <a:pt x="6429593" y="1605964"/>
                </a:cubicBezTo>
                <a:cubicBezTo>
                  <a:pt x="6429593" y="1591876"/>
                  <a:pt x="6415505" y="1591876"/>
                  <a:pt x="6415505" y="1577789"/>
                </a:cubicBezTo>
                <a:close/>
                <a:moveTo>
                  <a:pt x="4796255" y="1577789"/>
                </a:moveTo>
                <a:cubicBezTo>
                  <a:pt x="4810343" y="1591876"/>
                  <a:pt x="4824431" y="1591876"/>
                  <a:pt x="4838520" y="1605964"/>
                </a:cubicBezTo>
                <a:cubicBezTo>
                  <a:pt x="4866696" y="1620051"/>
                  <a:pt x="4880784" y="1648227"/>
                  <a:pt x="4908961" y="1676401"/>
                </a:cubicBezTo>
                <a:cubicBezTo>
                  <a:pt x="4908961" y="1676401"/>
                  <a:pt x="4923048" y="1690489"/>
                  <a:pt x="4923048" y="1690489"/>
                </a:cubicBezTo>
                <a:cubicBezTo>
                  <a:pt x="4894873" y="1662314"/>
                  <a:pt x="4880784" y="1648227"/>
                  <a:pt x="4866696" y="1634138"/>
                </a:cubicBezTo>
                <a:cubicBezTo>
                  <a:pt x="4852608" y="1634138"/>
                  <a:pt x="4852608" y="1634138"/>
                  <a:pt x="4838520" y="1620051"/>
                </a:cubicBezTo>
                <a:cubicBezTo>
                  <a:pt x="4824431" y="1605964"/>
                  <a:pt x="4810343" y="1605964"/>
                  <a:pt x="4810343" y="1605964"/>
                </a:cubicBezTo>
                <a:cubicBezTo>
                  <a:pt x="4810343" y="1591876"/>
                  <a:pt x="4796255" y="1591876"/>
                  <a:pt x="4796255" y="1577789"/>
                </a:cubicBezTo>
                <a:close/>
                <a:moveTo>
                  <a:pt x="6471858" y="1563702"/>
                </a:moveTo>
                <a:cubicBezTo>
                  <a:pt x="6471858" y="1563702"/>
                  <a:pt x="6485946" y="1577789"/>
                  <a:pt x="6485946" y="1577789"/>
                </a:cubicBezTo>
                <a:cubicBezTo>
                  <a:pt x="6500034" y="1591876"/>
                  <a:pt x="6500034" y="1591876"/>
                  <a:pt x="6514123" y="1591876"/>
                </a:cubicBezTo>
                <a:cubicBezTo>
                  <a:pt x="6521168" y="1598920"/>
                  <a:pt x="6528211" y="1605964"/>
                  <a:pt x="6533493" y="1613007"/>
                </a:cubicBezTo>
                <a:lnTo>
                  <a:pt x="6542298" y="1634138"/>
                </a:lnTo>
                <a:lnTo>
                  <a:pt x="6528211" y="1620051"/>
                </a:lnTo>
                <a:cubicBezTo>
                  <a:pt x="6528211" y="1620051"/>
                  <a:pt x="6528211" y="1620051"/>
                  <a:pt x="6514123" y="1620051"/>
                </a:cubicBezTo>
                <a:cubicBezTo>
                  <a:pt x="6514123" y="1620051"/>
                  <a:pt x="6514123" y="1620051"/>
                  <a:pt x="6514123" y="1605964"/>
                </a:cubicBezTo>
                <a:cubicBezTo>
                  <a:pt x="6500034" y="1605964"/>
                  <a:pt x="6500034" y="1591876"/>
                  <a:pt x="6485946" y="1591876"/>
                </a:cubicBezTo>
                <a:cubicBezTo>
                  <a:pt x="6485946" y="1577789"/>
                  <a:pt x="6471858" y="1577789"/>
                  <a:pt x="6471858" y="1563702"/>
                </a:cubicBezTo>
                <a:close/>
                <a:moveTo>
                  <a:pt x="4852608" y="1563702"/>
                </a:moveTo>
                <a:cubicBezTo>
                  <a:pt x="4852608" y="1563702"/>
                  <a:pt x="4866696" y="1577789"/>
                  <a:pt x="4866696" y="1577789"/>
                </a:cubicBezTo>
                <a:cubicBezTo>
                  <a:pt x="4880784" y="1591876"/>
                  <a:pt x="4880784" y="1591876"/>
                  <a:pt x="4894873" y="1591876"/>
                </a:cubicBezTo>
                <a:cubicBezTo>
                  <a:pt x="4901918" y="1598920"/>
                  <a:pt x="4908961" y="1605964"/>
                  <a:pt x="4914243" y="1613007"/>
                </a:cubicBezTo>
                <a:lnTo>
                  <a:pt x="4923048" y="1634138"/>
                </a:lnTo>
                <a:lnTo>
                  <a:pt x="4908961" y="1620051"/>
                </a:lnTo>
                <a:cubicBezTo>
                  <a:pt x="4908961" y="1620051"/>
                  <a:pt x="4908961" y="1620051"/>
                  <a:pt x="4894873" y="1620051"/>
                </a:cubicBezTo>
                <a:cubicBezTo>
                  <a:pt x="4894873" y="1620051"/>
                  <a:pt x="4894873" y="1620051"/>
                  <a:pt x="4894873" y="1605964"/>
                </a:cubicBezTo>
                <a:cubicBezTo>
                  <a:pt x="4880784" y="1605964"/>
                  <a:pt x="4880784" y="1591876"/>
                  <a:pt x="4866696" y="1591876"/>
                </a:cubicBezTo>
                <a:cubicBezTo>
                  <a:pt x="4866696" y="1577789"/>
                  <a:pt x="4852608" y="1577789"/>
                  <a:pt x="4852608" y="1563702"/>
                </a:cubicBezTo>
                <a:close/>
                <a:moveTo>
                  <a:pt x="6908593" y="1549616"/>
                </a:moveTo>
                <a:lnTo>
                  <a:pt x="6927964" y="1568985"/>
                </a:lnTo>
                <a:cubicBezTo>
                  <a:pt x="6936769" y="1577789"/>
                  <a:pt x="6943813" y="1584833"/>
                  <a:pt x="6950858" y="1591876"/>
                </a:cubicBezTo>
                <a:cubicBezTo>
                  <a:pt x="6950858" y="1591876"/>
                  <a:pt x="6964945" y="1605964"/>
                  <a:pt x="6964945" y="1605964"/>
                </a:cubicBezTo>
                <a:cubicBezTo>
                  <a:pt x="6950858" y="1598920"/>
                  <a:pt x="6940291" y="1591876"/>
                  <a:pt x="6931486" y="1583072"/>
                </a:cubicBezTo>
                <a:close/>
                <a:moveTo>
                  <a:pt x="5289343" y="1549616"/>
                </a:moveTo>
                <a:lnTo>
                  <a:pt x="5308714" y="1568985"/>
                </a:lnTo>
                <a:cubicBezTo>
                  <a:pt x="5317519" y="1577789"/>
                  <a:pt x="5324563" y="1584833"/>
                  <a:pt x="5331608" y="1591876"/>
                </a:cubicBezTo>
                <a:cubicBezTo>
                  <a:pt x="5331608" y="1591876"/>
                  <a:pt x="5345695" y="1605964"/>
                  <a:pt x="5345695" y="1605964"/>
                </a:cubicBezTo>
                <a:cubicBezTo>
                  <a:pt x="5331608" y="1598920"/>
                  <a:pt x="5321041" y="1591876"/>
                  <a:pt x="5312236" y="1583072"/>
                </a:cubicBezTo>
                <a:close/>
                <a:moveTo>
                  <a:pt x="6415505" y="1549614"/>
                </a:moveTo>
                <a:cubicBezTo>
                  <a:pt x="6429593" y="1549614"/>
                  <a:pt x="6429593" y="1563702"/>
                  <a:pt x="6429593" y="1563702"/>
                </a:cubicBezTo>
                <a:cubicBezTo>
                  <a:pt x="6429593" y="1563702"/>
                  <a:pt x="6429593" y="1563702"/>
                  <a:pt x="6415505" y="1549614"/>
                </a:cubicBezTo>
                <a:close/>
                <a:moveTo>
                  <a:pt x="4796255" y="1549614"/>
                </a:moveTo>
                <a:cubicBezTo>
                  <a:pt x="4810343" y="1549614"/>
                  <a:pt x="4810343" y="1563702"/>
                  <a:pt x="4810343" y="1563702"/>
                </a:cubicBezTo>
                <a:cubicBezTo>
                  <a:pt x="4810343" y="1563702"/>
                  <a:pt x="4810343" y="1563702"/>
                  <a:pt x="4796255" y="1549614"/>
                </a:cubicBezTo>
                <a:close/>
                <a:moveTo>
                  <a:pt x="6401417" y="1521440"/>
                </a:moveTo>
                <a:lnTo>
                  <a:pt x="6414624" y="1532005"/>
                </a:lnTo>
                <a:lnTo>
                  <a:pt x="6415505" y="1535527"/>
                </a:lnTo>
                <a:cubicBezTo>
                  <a:pt x="6401417" y="1535527"/>
                  <a:pt x="6401417" y="1521440"/>
                  <a:pt x="6401417" y="1521440"/>
                </a:cubicBezTo>
                <a:close/>
                <a:moveTo>
                  <a:pt x="4782167" y="1521440"/>
                </a:moveTo>
                <a:lnTo>
                  <a:pt x="4795374" y="1532005"/>
                </a:lnTo>
                <a:lnTo>
                  <a:pt x="4796255" y="1535527"/>
                </a:lnTo>
                <a:cubicBezTo>
                  <a:pt x="4782167" y="1535527"/>
                  <a:pt x="4782167" y="1521440"/>
                  <a:pt x="4782167" y="1521440"/>
                </a:cubicBezTo>
                <a:close/>
                <a:moveTo>
                  <a:pt x="6232358" y="1408740"/>
                </a:moveTo>
                <a:cubicBezTo>
                  <a:pt x="6232358" y="1408740"/>
                  <a:pt x="6232358" y="1408740"/>
                  <a:pt x="6246446" y="1422828"/>
                </a:cubicBezTo>
                <a:cubicBezTo>
                  <a:pt x="6260535" y="1422828"/>
                  <a:pt x="6260535" y="1436915"/>
                  <a:pt x="6260535" y="1436915"/>
                </a:cubicBezTo>
                <a:cubicBezTo>
                  <a:pt x="6274622" y="1436915"/>
                  <a:pt x="6288711" y="1451002"/>
                  <a:pt x="6288711" y="1451002"/>
                </a:cubicBezTo>
                <a:cubicBezTo>
                  <a:pt x="6302799" y="1465089"/>
                  <a:pt x="6302799" y="1465089"/>
                  <a:pt x="6302799" y="1465089"/>
                </a:cubicBezTo>
                <a:cubicBezTo>
                  <a:pt x="6288711" y="1465089"/>
                  <a:pt x="6274622" y="1451002"/>
                  <a:pt x="6260535" y="1451002"/>
                </a:cubicBezTo>
                <a:cubicBezTo>
                  <a:pt x="6246446" y="1436915"/>
                  <a:pt x="6232358" y="1436915"/>
                  <a:pt x="6232358" y="1422828"/>
                </a:cubicBezTo>
                <a:cubicBezTo>
                  <a:pt x="6232358" y="1422828"/>
                  <a:pt x="6232358" y="1422828"/>
                  <a:pt x="6232358" y="1408740"/>
                </a:cubicBezTo>
                <a:close/>
                <a:moveTo>
                  <a:pt x="6190093" y="1394653"/>
                </a:moveTo>
                <a:cubicBezTo>
                  <a:pt x="6204182" y="1394653"/>
                  <a:pt x="6204182" y="1394653"/>
                  <a:pt x="6204182" y="1408740"/>
                </a:cubicBezTo>
                <a:cubicBezTo>
                  <a:pt x="6218269" y="1408740"/>
                  <a:pt x="6232358" y="1408740"/>
                  <a:pt x="6232358" y="1422828"/>
                </a:cubicBezTo>
                <a:cubicBezTo>
                  <a:pt x="6204182" y="1422828"/>
                  <a:pt x="6204182" y="1422828"/>
                  <a:pt x="6190093" y="1408740"/>
                </a:cubicBezTo>
                <a:cubicBezTo>
                  <a:pt x="6190093" y="1394653"/>
                  <a:pt x="6190093" y="1394653"/>
                  <a:pt x="6190093" y="1394653"/>
                </a:cubicBezTo>
                <a:close/>
                <a:moveTo>
                  <a:pt x="6162613" y="1385447"/>
                </a:moveTo>
                <a:lnTo>
                  <a:pt x="6176005" y="1394653"/>
                </a:lnTo>
                <a:cubicBezTo>
                  <a:pt x="6168961" y="1394653"/>
                  <a:pt x="6165439" y="1394653"/>
                  <a:pt x="6163678" y="1392893"/>
                </a:cubicBezTo>
                <a:close/>
                <a:moveTo>
                  <a:pt x="6155514" y="1380566"/>
                </a:moveTo>
                <a:lnTo>
                  <a:pt x="6161916" y="1380566"/>
                </a:lnTo>
                <a:lnTo>
                  <a:pt x="6162613" y="1385447"/>
                </a:lnTo>
                <a:close/>
                <a:moveTo>
                  <a:pt x="5640652" y="1338304"/>
                </a:moveTo>
                <a:cubicBezTo>
                  <a:pt x="5654741" y="1338304"/>
                  <a:pt x="5654741" y="1352391"/>
                  <a:pt x="5654741" y="1352391"/>
                </a:cubicBezTo>
                <a:cubicBezTo>
                  <a:pt x="5654741" y="1352391"/>
                  <a:pt x="5640652" y="1352391"/>
                  <a:pt x="5640652" y="1352391"/>
                </a:cubicBezTo>
                <a:cubicBezTo>
                  <a:pt x="5640652" y="1352391"/>
                  <a:pt x="5640652" y="1352391"/>
                  <a:pt x="5640652" y="1338304"/>
                </a:cubicBezTo>
                <a:close/>
                <a:moveTo>
                  <a:pt x="5422004" y="1336050"/>
                </a:moveTo>
                <a:lnTo>
                  <a:pt x="5429329" y="1338304"/>
                </a:lnTo>
                <a:cubicBezTo>
                  <a:pt x="5429329" y="1338304"/>
                  <a:pt x="5425807" y="1338304"/>
                  <a:pt x="5422286" y="1336542"/>
                </a:cubicBezTo>
                <a:close/>
                <a:moveTo>
                  <a:pt x="5017218" y="1324216"/>
                </a:moveTo>
                <a:lnTo>
                  <a:pt x="5021666" y="1329499"/>
                </a:lnTo>
                <a:cubicBezTo>
                  <a:pt x="5032232" y="1338304"/>
                  <a:pt x="5042798" y="1345347"/>
                  <a:pt x="5049843" y="1352391"/>
                </a:cubicBezTo>
                <a:cubicBezTo>
                  <a:pt x="5056887" y="1359435"/>
                  <a:pt x="5063931" y="1366478"/>
                  <a:pt x="5072736" y="1373522"/>
                </a:cubicBezTo>
                <a:lnTo>
                  <a:pt x="5083889" y="1380566"/>
                </a:lnTo>
                <a:lnTo>
                  <a:pt x="5103065" y="1380566"/>
                </a:lnTo>
                <a:lnTo>
                  <a:pt x="5063931" y="1345347"/>
                </a:lnTo>
                <a:lnTo>
                  <a:pt x="5040451" y="1324216"/>
                </a:lnTo>
                <a:lnTo>
                  <a:pt x="5034860" y="1324216"/>
                </a:lnTo>
                <a:close/>
                <a:moveTo>
                  <a:pt x="5093358" y="1313046"/>
                </a:moveTo>
                <a:lnTo>
                  <a:pt x="5086586" y="1315541"/>
                </a:lnTo>
                <a:lnTo>
                  <a:pt x="5092107" y="1324216"/>
                </a:lnTo>
                <a:cubicBezTo>
                  <a:pt x="5099152" y="1324216"/>
                  <a:pt x="5099152" y="1324216"/>
                  <a:pt x="5097390" y="1322455"/>
                </a:cubicBezTo>
                <a:close/>
                <a:moveTo>
                  <a:pt x="5612477" y="1310129"/>
                </a:moveTo>
                <a:cubicBezTo>
                  <a:pt x="5612477" y="1310129"/>
                  <a:pt x="5626565" y="1310129"/>
                  <a:pt x="5626565" y="1310129"/>
                </a:cubicBezTo>
                <a:cubicBezTo>
                  <a:pt x="5626565" y="1310129"/>
                  <a:pt x="5626565" y="1310129"/>
                  <a:pt x="5640652" y="1324216"/>
                </a:cubicBezTo>
                <a:cubicBezTo>
                  <a:pt x="5626565" y="1324216"/>
                  <a:pt x="5626565" y="1324216"/>
                  <a:pt x="5626565" y="1324216"/>
                </a:cubicBezTo>
                <a:cubicBezTo>
                  <a:pt x="5626565" y="1324216"/>
                  <a:pt x="5626565" y="1310129"/>
                  <a:pt x="5612477" y="1310129"/>
                </a:cubicBezTo>
                <a:close/>
                <a:moveTo>
                  <a:pt x="6126036" y="740689"/>
                </a:moveTo>
                <a:lnTo>
                  <a:pt x="6127728" y="741995"/>
                </a:lnTo>
                <a:lnTo>
                  <a:pt x="6124935" y="741350"/>
                </a:lnTo>
                <a:cubicBezTo>
                  <a:pt x="6124055" y="740469"/>
                  <a:pt x="6124496" y="740029"/>
                  <a:pt x="6126036" y="740689"/>
                </a:cubicBezTo>
                <a:close/>
                <a:moveTo>
                  <a:pt x="5851976" y="633934"/>
                </a:moveTo>
                <a:cubicBezTo>
                  <a:pt x="5851976" y="633934"/>
                  <a:pt x="5866064" y="648021"/>
                  <a:pt x="5866064" y="648021"/>
                </a:cubicBezTo>
                <a:cubicBezTo>
                  <a:pt x="5866064" y="648021"/>
                  <a:pt x="5851976" y="648021"/>
                  <a:pt x="5851976" y="648021"/>
                </a:cubicBezTo>
                <a:cubicBezTo>
                  <a:pt x="5837888" y="633934"/>
                  <a:pt x="5823800" y="633934"/>
                  <a:pt x="5851976" y="633934"/>
                </a:cubicBezTo>
                <a:close/>
                <a:moveTo>
                  <a:pt x="3782948" y="616507"/>
                </a:moveTo>
                <a:lnTo>
                  <a:pt x="3766920" y="619846"/>
                </a:lnTo>
                <a:cubicBezTo>
                  <a:pt x="3752832" y="633934"/>
                  <a:pt x="3752832" y="633934"/>
                  <a:pt x="3752832" y="633934"/>
                </a:cubicBezTo>
                <a:lnTo>
                  <a:pt x="3799137" y="618500"/>
                </a:lnTo>
                <a:close/>
                <a:moveTo>
                  <a:pt x="3851449" y="591672"/>
                </a:moveTo>
                <a:cubicBezTo>
                  <a:pt x="3837361" y="591672"/>
                  <a:pt x="3823273" y="598715"/>
                  <a:pt x="3809185" y="605759"/>
                </a:cubicBezTo>
                <a:lnTo>
                  <a:pt x="3794263" y="612598"/>
                </a:lnTo>
                <a:lnTo>
                  <a:pt x="3801275" y="612803"/>
                </a:lnTo>
                <a:lnTo>
                  <a:pt x="3814919" y="613239"/>
                </a:lnTo>
                <a:lnTo>
                  <a:pt x="3862692" y="597316"/>
                </a:lnTo>
                <a:lnTo>
                  <a:pt x="3852344" y="591672"/>
                </a:lnTo>
                <a:close/>
                <a:moveTo>
                  <a:pt x="5725182" y="563496"/>
                </a:moveTo>
                <a:cubicBezTo>
                  <a:pt x="5725182" y="563496"/>
                  <a:pt x="5739270" y="563496"/>
                  <a:pt x="5739270" y="563496"/>
                </a:cubicBezTo>
                <a:cubicBezTo>
                  <a:pt x="5753358" y="563496"/>
                  <a:pt x="5767447" y="577583"/>
                  <a:pt x="5781535" y="577583"/>
                </a:cubicBezTo>
                <a:cubicBezTo>
                  <a:pt x="5795623" y="591672"/>
                  <a:pt x="5795623" y="591672"/>
                  <a:pt x="5781535" y="591672"/>
                </a:cubicBezTo>
                <a:cubicBezTo>
                  <a:pt x="5767447" y="591672"/>
                  <a:pt x="5767447" y="577583"/>
                  <a:pt x="5725182" y="563496"/>
                </a:cubicBezTo>
                <a:close/>
                <a:moveTo>
                  <a:pt x="3284877" y="436851"/>
                </a:moveTo>
                <a:lnTo>
                  <a:pt x="3282652" y="436930"/>
                </a:lnTo>
                <a:cubicBezTo>
                  <a:pt x="3275608" y="437371"/>
                  <a:pt x="3265042" y="438691"/>
                  <a:pt x="3265042" y="442653"/>
                </a:cubicBezTo>
                <a:lnTo>
                  <a:pt x="3270505" y="447246"/>
                </a:lnTo>
                <a:lnTo>
                  <a:pt x="3281317" y="439572"/>
                </a:lnTo>
                <a:close/>
                <a:moveTo>
                  <a:pt x="4922154" y="436710"/>
                </a:moveTo>
                <a:cubicBezTo>
                  <a:pt x="4922154" y="436710"/>
                  <a:pt x="4922154" y="436710"/>
                  <a:pt x="4936242" y="436710"/>
                </a:cubicBezTo>
                <a:cubicBezTo>
                  <a:pt x="4936242" y="436710"/>
                  <a:pt x="4950331" y="436710"/>
                  <a:pt x="4950331" y="436710"/>
                </a:cubicBezTo>
                <a:cubicBezTo>
                  <a:pt x="4950331" y="436710"/>
                  <a:pt x="4936242" y="450798"/>
                  <a:pt x="4922154" y="436710"/>
                </a:cubicBezTo>
                <a:close/>
                <a:moveTo>
                  <a:pt x="5989458" y="398334"/>
                </a:moveTo>
                <a:lnTo>
                  <a:pt x="5998141" y="401492"/>
                </a:lnTo>
                <a:cubicBezTo>
                  <a:pt x="6003424" y="405012"/>
                  <a:pt x="6006946" y="408534"/>
                  <a:pt x="6006946" y="408534"/>
                </a:cubicBezTo>
                <a:close/>
                <a:moveTo>
                  <a:pt x="4370208" y="398334"/>
                </a:moveTo>
                <a:lnTo>
                  <a:pt x="4378891" y="401492"/>
                </a:lnTo>
                <a:cubicBezTo>
                  <a:pt x="4384174" y="405012"/>
                  <a:pt x="4387696" y="408534"/>
                  <a:pt x="4387696" y="408534"/>
                </a:cubicBezTo>
                <a:close/>
                <a:moveTo>
                  <a:pt x="5982959" y="395971"/>
                </a:moveTo>
                <a:lnTo>
                  <a:pt x="5985815" y="396209"/>
                </a:lnTo>
                <a:lnTo>
                  <a:pt x="5989458" y="398334"/>
                </a:lnTo>
                <a:close/>
                <a:moveTo>
                  <a:pt x="4363709" y="395971"/>
                </a:moveTo>
                <a:lnTo>
                  <a:pt x="4366565" y="396209"/>
                </a:lnTo>
                <a:lnTo>
                  <a:pt x="4370208" y="398334"/>
                </a:lnTo>
                <a:close/>
                <a:moveTo>
                  <a:pt x="5880153" y="366272"/>
                </a:moveTo>
                <a:cubicBezTo>
                  <a:pt x="5908329" y="380360"/>
                  <a:pt x="5936506" y="380360"/>
                  <a:pt x="5978770" y="394447"/>
                </a:cubicBezTo>
                <a:lnTo>
                  <a:pt x="5982959" y="395971"/>
                </a:lnTo>
                <a:lnTo>
                  <a:pt x="5964682" y="394447"/>
                </a:lnTo>
                <a:close/>
                <a:moveTo>
                  <a:pt x="5837888" y="352185"/>
                </a:moveTo>
                <a:lnTo>
                  <a:pt x="5880153" y="366272"/>
                </a:lnTo>
                <a:lnTo>
                  <a:pt x="5867826" y="366272"/>
                </a:lnTo>
                <a:cubicBezTo>
                  <a:pt x="5866064" y="366272"/>
                  <a:pt x="5866064" y="366272"/>
                  <a:pt x="5866064" y="366272"/>
                </a:cubicBezTo>
                <a:cubicBezTo>
                  <a:pt x="5851976" y="366272"/>
                  <a:pt x="5837888" y="352185"/>
                  <a:pt x="5837888" y="352185"/>
                </a:cubicBezTo>
                <a:close/>
                <a:moveTo>
                  <a:pt x="4090949" y="338098"/>
                </a:moveTo>
                <a:cubicBezTo>
                  <a:pt x="4076861" y="352185"/>
                  <a:pt x="4062772" y="352185"/>
                  <a:pt x="4062772" y="352185"/>
                </a:cubicBezTo>
                <a:cubicBezTo>
                  <a:pt x="4062772" y="352185"/>
                  <a:pt x="4105037" y="352185"/>
                  <a:pt x="4105037" y="352185"/>
                </a:cubicBezTo>
                <a:cubicBezTo>
                  <a:pt x="4076861" y="366272"/>
                  <a:pt x="4034596" y="366272"/>
                  <a:pt x="4006419" y="380360"/>
                </a:cubicBezTo>
                <a:cubicBezTo>
                  <a:pt x="4006419" y="380360"/>
                  <a:pt x="3992331" y="380360"/>
                  <a:pt x="3992331" y="394447"/>
                </a:cubicBezTo>
                <a:cubicBezTo>
                  <a:pt x="3978244" y="394447"/>
                  <a:pt x="3978244" y="394447"/>
                  <a:pt x="3978244" y="394447"/>
                </a:cubicBezTo>
                <a:cubicBezTo>
                  <a:pt x="3978244" y="394447"/>
                  <a:pt x="3978244" y="394447"/>
                  <a:pt x="3964155" y="394447"/>
                </a:cubicBezTo>
                <a:cubicBezTo>
                  <a:pt x="3964155" y="408534"/>
                  <a:pt x="3950066" y="408534"/>
                  <a:pt x="3950066" y="408534"/>
                </a:cubicBezTo>
                <a:cubicBezTo>
                  <a:pt x="3950066" y="408534"/>
                  <a:pt x="3935979" y="422623"/>
                  <a:pt x="3907802" y="422623"/>
                </a:cubicBezTo>
                <a:cubicBezTo>
                  <a:pt x="3921891" y="436710"/>
                  <a:pt x="3921891" y="436710"/>
                  <a:pt x="3964155" y="408534"/>
                </a:cubicBezTo>
                <a:cubicBezTo>
                  <a:pt x="3992331" y="408534"/>
                  <a:pt x="4020508" y="394447"/>
                  <a:pt x="4034596" y="394447"/>
                </a:cubicBezTo>
                <a:cubicBezTo>
                  <a:pt x="4048684" y="394447"/>
                  <a:pt x="4076861" y="394447"/>
                  <a:pt x="4090949" y="380360"/>
                </a:cubicBezTo>
                <a:cubicBezTo>
                  <a:pt x="4090949" y="380360"/>
                  <a:pt x="4105037" y="380360"/>
                  <a:pt x="4105037" y="380360"/>
                </a:cubicBezTo>
                <a:cubicBezTo>
                  <a:pt x="4105037" y="380360"/>
                  <a:pt x="4133214" y="366272"/>
                  <a:pt x="4161390" y="352185"/>
                </a:cubicBezTo>
                <a:cubicBezTo>
                  <a:pt x="4168434" y="352185"/>
                  <a:pt x="4175478" y="352185"/>
                  <a:pt x="4184284" y="350424"/>
                </a:cubicBezTo>
                <a:lnTo>
                  <a:pt x="4185741" y="349887"/>
                </a:lnTo>
                <a:lnTo>
                  <a:pt x="4173732" y="344041"/>
                </a:lnTo>
                <a:cubicBezTo>
                  <a:pt x="4160524" y="338098"/>
                  <a:pt x="4155241" y="338098"/>
                  <a:pt x="4134108" y="338098"/>
                </a:cubicBezTo>
                <a:cubicBezTo>
                  <a:pt x="4134108" y="338098"/>
                  <a:pt x="4130586" y="338098"/>
                  <a:pt x="4125303" y="338098"/>
                </a:cubicBezTo>
                <a:lnTo>
                  <a:pt x="4119125" y="338098"/>
                </a:lnTo>
                <a:cubicBezTo>
                  <a:pt x="4119125" y="338098"/>
                  <a:pt x="4115603" y="338098"/>
                  <a:pt x="4110320" y="338098"/>
                </a:cubicBezTo>
                <a:lnTo>
                  <a:pt x="4105932" y="338098"/>
                </a:lnTo>
                <a:close/>
                <a:moveTo>
                  <a:pt x="5640652" y="309923"/>
                </a:moveTo>
                <a:cubicBezTo>
                  <a:pt x="5682917" y="309923"/>
                  <a:pt x="5739270" y="324010"/>
                  <a:pt x="5795623" y="338098"/>
                </a:cubicBezTo>
                <a:cubicBezTo>
                  <a:pt x="5809711" y="338098"/>
                  <a:pt x="5809711" y="338098"/>
                  <a:pt x="5837888" y="338098"/>
                </a:cubicBezTo>
                <a:cubicBezTo>
                  <a:pt x="5837888" y="352185"/>
                  <a:pt x="5837888" y="352185"/>
                  <a:pt x="5837888" y="352185"/>
                </a:cubicBezTo>
                <a:cubicBezTo>
                  <a:pt x="5823800" y="352185"/>
                  <a:pt x="5809711" y="352185"/>
                  <a:pt x="5809711" y="352185"/>
                </a:cubicBezTo>
                <a:cubicBezTo>
                  <a:pt x="5781535" y="338098"/>
                  <a:pt x="5781535" y="338098"/>
                  <a:pt x="5753358" y="338098"/>
                </a:cubicBezTo>
                <a:cubicBezTo>
                  <a:pt x="5753358" y="338098"/>
                  <a:pt x="5739270" y="338098"/>
                  <a:pt x="5725182" y="338098"/>
                </a:cubicBezTo>
                <a:cubicBezTo>
                  <a:pt x="5697005" y="324010"/>
                  <a:pt x="5668829" y="324010"/>
                  <a:pt x="5640652" y="309923"/>
                </a:cubicBezTo>
                <a:close/>
                <a:moveTo>
                  <a:pt x="3509384" y="303980"/>
                </a:moveTo>
                <a:cubicBezTo>
                  <a:pt x="3492214" y="301999"/>
                  <a:pt x="3479006" y="309923"/>
                  <a:pt x="3457874" y="309923"/>
                </a:cubicBezTo>
                <a:cubicBezTo>
                  <a:pt x="3443786" y="309923"/>
                  <a:pt x="3401521" y="309923"/>
                  <a:pt x="3373345" y="309923"/>
                </a:cubicBezTo>
                <a:cubicBezTo>
                  <a:pt x="3345168" y="309923"/>
                  <a:pt x="3331081" y="309923"/>
                  <a:pt x="3316993" y="309923"/>
                </a:cubicBezTo>
                <a:cubicBezTo>
                  <a:pt x="3316993" y="324010"/>
                  <a:pt x="3302904" y="324010"/>
                  <a:pt x="3288816" y="324010"/>
                </a:cubicBezTo>
                <a:cubicBezTo>
                  <a:pt x="3288816" y="324010"/>
                  <a:pt x="3274728" y="324010"/>
                  <a:pt x="3260639" y="324010"/>
                </a:cubicBezTo>
                <a:cubicBezTo>
                  <a:pt x="3260639" y="324010"/>
                  <a:pt x="3260639" y="324010"/>
                  <a:pt x="3246551" y="324010"/>
                </a:cubicBezTo>
                <a:cubicBezTo>
                  <a:pt x="3232462" y="324010"/>
                  <a:pt x="3232462" y="309923"/>
                  <a:pt x="3190198" y="324010"/>
                </a:cubicBezTo>
                <a:cubicBezTo>
                  <a:pt x="3176110" y="324010"/>
                  <a:pt x="3176110" y="324010"/>
                  <a:pt x="3176110" y="324010"/>
                </a:cubicBezTo>
                <a:cubicBezTo>
                  <a:pt x="3162022" y="324010"/>
                  <a:pt x="3162022" y="324010"/>
                  <a:pt x="3162022" y="324010"/>
                </a:cubicBezTo>
                <a:cubicBezTo>
                  <a:pt x="3147934" y="338098"/>
                  <a:pt x="3119756" y="338098"/>
                  <a:pt x="3105669" y="338098"/>
                </a:cubicBezTo>
                <a:cubicBezTo>
                  <a:pt x="3105669" y="338098"/>
                  <a:pt x="3091581" y="338098"/>
                  <a:pt x="3091581" y="338098"/>
                </a:cubicBezTo>
                <a:cubicBezTo>
                  <a:pt x="3077492" y="338098"/>
                  <a:pt x="3063405" y="338098"/>
                  <a:pt x="3035228" y="338098"/>
                </a:cubicBezTo>
                <a:cubicBezTo>
                  <a:pt x="3007052" y="338098"/>
                  <a:pt x="2992963" y="338098"/>
                  <a:pt x="2964786" y="352185"/>
                </a:cubicBezTo>
                <a:cubicBezTo>
                  <a:pt x="2950699" y="352185"/>
                  <a:pt x="2950699" y="352185"/>
                  <a:pt x="2950699" y="352185"/>
                </a:cubicBezTo>
                <a:cubicBezTo>
                  <a:pt x="2950699" y="352185"/>
                  <a:pt x="2936611" y="366272"/>
                  <a:pt x="2908433" y="366272"/>
                </a:cubicBezTo>
                <a:cubicBezTo>
                  <a:pt x="2908433" y="366272"/>
                  <a:pt x="2894345" y="366272"/>
                  <a:pt x="2894345" y="366272"/>
                </a:cubicBezTo>
                <a:cubicBezTo>
                  <a:pt x="2894345" y="366272"/>
                  <a:pt x="2880257" y="366272"/>
                  <a:pt x="2880257" y="366272"/>
                </a:cubicBezTo>
                <a:cubicBezTo>
                  <a:pt x="2866169" y="366272"/>
                  <a:pt x="2866169" y="366272"/>
                  <a:pt x="2866169" y="366272"/>
                </a:cubicBezTo>
                <a:cubicBezTo>
                  <a:pt x="2852080" y="366272"/>
                  <a:pt x="2837993" y="380360"/>
                  <a:pt x="2809816" y="380360"/>
                </a:cubicBezTo>
                <a:cubicBezTo>
                  <a:pt x="2809816" y="380360"/>
                  <a:pt x="2795729" y="380360"/>
                  <a:pt x="2781640" y="380360"/>
                </a:cubicBezTo>
                <a:cubicBezTo>
                  <a:pt x="2781640" y="380360"/>
                  <a:pt x="2781640" y="380360"/>
                  <a:pt x="2781640" y="394447"/>
                </a:cubicBezTo>
                <a:cubicBezTo>
                  <a:pt x="2767551" y="394447"/>
                  <a:pt x="2767551" y="394447"/>
                  <a:pt x="2767551" y="394447"/>
                </a:cubicBezTo>
                <a:cubicBezTo>
                  <a:pt x="2767551" y="394447"/>
                  <a:pt x="2753463" y="394447"/>
                  <a:pt x="2753463" y="394447"/>
                </a:cubicBezTo>
                <a:cubicBezTo>
                  <a:pt x="2753463" y="394447"/>
                  <a:pt x="2753463" y="394447"/>
                  <a:pt x="2739374" y="394447"/>
                </a:cubicBezTo>
                <a:cubicBezTo>
                  <a:pt x="2725287" y="408534"/>
                  <a:pt x="2697110" y="422623"/>
                  <a:pt x="2654846" y="422623"/>
                </a:cubicBezTo>
                <a:cubicBezTo>
                  <a:pt x="2640758" y="422623"/>
                  <a:pt x="2640758" y="422623"/>
                  <a:pt x="2640758" y="422623"/>
                </a:cubicBezTo>
                <a:cubicBezTo>
                  <a:pt x="2626670" y="422623"/>
                  <a:pt x="2612581" y="436710"/>
                  <a:pt x="2612581" y="436710"/>
                </a:cubicBezTo>
                <a:cubicBezTo>
                  <a:pt x="2598493" y="436710"/>
                  <a:pt x="2598493" y="436710"/>
                  <a:pt x="2598493" y="436710"/>
                </a:cubicBezTo>
                <a:cubicBezTo>
                  <a:pt x="2612581" y="436710"/>
                  <a:pt x="2584406" y="436710"/>
                  <a:pt x="2584406" y="450798"/>
                </a:cubicBezTo>
                <a:cubicBezTo>
                  <a:pt x="2584406" y="450798"/>
                  <a:pt x="2584406" y="450798"/>
                  <a:pt x="2570317" y="450798"/>
                </a:cubicBezTo>
                <a:cubicBezTo>
                  <a:pt x="2513964" y="464885"/>
                  <a:pt x="2485787" y="464885"/>
                  <a:pt x="2443523" y="493059"/>
                </a:cubicBezTo>
                <a:cubicBezTo>
                  <a:pt x="2429434" y="493059"/>
                  <a:pt x="2429434" y="493059"/>
                  <a:pt x="2415347" y="493059"/>
                </a:cubicBezTo>
                <a:cubicBezTo>
                  <a:pt x="2401258" y="507147"/>
                  <a:pt x="2401258" y="507147"/>
                  <a:pt x="2401258" y="507147"/>
                </a:cubicBezTo>
                <a:cubicBezTo>
                  <a:pt x="2387169" y="507147"/>
                  <a:pt x="2373081" y="521234"/>
                  <a:pt x="2358994" y="521234"/>
                </a:cubicBezTo>
                <a:cubicBezTo>
                  <a:pt x="2344905" y="535321"/>
                  <a:pt x="2330816" y="535321"/>
                  <a:pt x="2330816" y="535321"/>
                </a:cubicBezTo>
                <a:cubicBezTo>
                  <a:pt x="2316729" y="535321"/>
                  <a:pt x="2316729" y="535321"/>
                  <a:pt x="2316729" y="535321"/>
                </a:cubicBezTo>
                <a:cubicBezTo>
                  <a:pt x="2330816" y="535321"/>
                  <a:pt x="2302641" y="549409"/>
                  <a:pt x="2288552" y="563496"/>
                </a:cubicBezTo>
                <a:cubicBezTo>
                  <a:pt x="2288552" y="563496"/>
                  <a:pt x="2274464" y="563496"/>
                  <a:pt x="2274464" y="577583"/>
                </a:cubicBezTo>
                <a:cubicBezTo>
                  <a:pt x="2274464" y="577583"/>
                  <a:pt x="2260376" y="577583"/>
                  <a:pt x="2232199" y="591672"/>
                </a:cubicBezTo>
                <a:cubicBezTo>
                  <a:pt x="2204023" y="591672"/>
                  <a:pt x="2175846" y="619846"/>
                  <a:pt x="2147670" y="619846"/>
                </a:cubicBezTo>
                <a:cubicBezTo>
                  <a:pt x="2133582" y="633934"/>
                  <a:pt x="2133582" y="633934"/>
                  <a:pt x="2133582" y="633934"/>
                </a:cubicBezTo>
                <a:cubicBezTo>
                  <a:pt x="2175846" y="619846"/>
                  <a:pt x="2218111" y="605759"/>
                  <a:pt x="2260376" y="591672"/>
                </a:cubicBezTo>
                <a:cubicBezTo>
                  <a:pt x="2274464" y="577583"/>
                  <a:pt x="2288552" y="577583"/>
                  <a:pt x="2302641" y="577583"/>
                </a:cubicBezTo>
                <a:cubicBezTo>
                  <a:pt x="2302641" y="577583"/>
                  <a:pt x="2316729" y="577583"/>
                  <a:pt x="2316729" y="563496"/>
                </a:cubicBezTo>
                <a:cubicBezTo>
                  <a:pt x="2330816" y="563496"/>
                  <a:pt x="2330816" y="563496"/>
                  <a:pt x="2344905" y="563496"/>
                </a:cubicBezTo>
                <a:cubicBezTo>
                  <a:pt x="2344905" y="563496"/>
                  <a:pt x="2344905" y="549409"/>
                  <a:pt x="2344905" y="549409"/>
                </a:cubicBezTo>
                <a:cubicBezTo>
                  <a:pt x="2358994" y="549409"/>
                  <a:pt x="2373081" y="549409"/>
                  <a:pt x="2387169" y="549409"/>
                </a:cubicBezTo>
                <a:cubicBezTo>
                  <a:pt x="2387169" y="535321"/>
                  <a:pt x="2401258" y="535321"/>
                  <a:pt x="2401258" y="535321"/>
                </a:cubicBezTo>
                <a:cubicBezTo>
                  <a:pt x="2415347" y="535321"/>
                  <a:pt x="2415347" y="535321"/>
                  <a:pt x="2415347" y="535321"/>
                </a:cubicBezTo>
                <a:cubicBezTo>
                  <a:pt x="2415347" y="535321"/>
                  <a:pt x="2415347" y="535321"/>
                  <a:pt x="2429434" y="521234"/>
                </a:cubicBezTo>
                <a:cubicBezTo>
                  <a:pt x="2457611" y="521234"/>
                  <a:pt x="2471699" y="507147"/>
                  <a:pt x="2499875" y="507147"/>
                </a:cubicBezTo>
                <a:cubicBezTo>
                  <a:pt x="2542140" y="493059"/>
                  <a:pt x="2570317" y="493059"/>
                  <a:pt x="2598493" y="478972"/>
                </a:cubicBezTo>
                <a:cubicBezTo>
                  <a:pt x="2598493" y="478972"/>
                  <a:pt x="2626670" y="464885"/>
                  <a:pt x="2640758" y="464885"/>
                </a:cubicBezTo>
                <a:cubicBezTo>
                  <a:pt x="2612581" y="478972"/>
                  <a:pt x="2598493" y="478972"/>
                  <a:pt x="2626670" y="478972"/>
                </a:cubicBezTo>
                <a:cubicBezTo>
                  <a:pt x="2626670" y="478972"/>
                  <a:pt x="2640758" y="478972"/>
                  <a:pt x="2640758" y="493059"/>
                </a:cubicBezTo>
                <a:cubicBezTo>
                  <a:pt x="2640758" y="493059"/>
                  <a:pt x="2626670" y="493059"/>
                  <a:pt x="2612581" y="493059"/>
                </a:cubicBezTo>
                <a:cubicBezTo>
                  <a:pt x="2598493" y="493059"/>
                  <a:pt x="2612581" y="493059"/>
                  <a:pt x="2612581" y="507147"/>
                </a:cubicBezTo>
                <a:cubicBezTo>
                  <a:pt x="2626670" y="507147"/>
                  <a:pt x="2626670" y="493059"/>
                  <a:pt x="2640758" y="493059"/>
                </a:cubicBezTo>
                <a:cubicBezTo>
                  <a:pt x="2654846" y="493059"/>
                  <a:pt x="2654846" y="493059"/>
                  <a:pt x="2668934" y="493059"/>
                </a:cubicBezTo>
                <a:cubicBezTo>
                  <a:pt x="2697110" y="478972"/>
                  <a:pt x="2725287" y="478972"/>
                  <a:pt x="2753463" y="464885"/>
                </a:cubicBezTo>
                <a:cubicBezTo>
                  <a:pt x="2823905" y="450798"/>
                  <a:pt x="2894345" y="436710"/>
                  <a:pt x="2964786" y="436710"/>
                </a:cubicBezTo>
                <a:cubicBezTo>
                  <a:pt x="2992963" y="422623"/>
                  <a:pt x="3007052" y="422623"/>
                  <a:pt x="3021139" y="422623"/>
                </a:cubicBezTo>
                <a:lnTo>
                  <a:pt x="3049316" y="422623"/>
                </a:lnTo>
                <a:lnTo>
                  <a:pt x="3061643" y="422623"/>
                </a:lnTo>
                <a:cubicBezTo>
                  <a:pt x="3073970" y="422623"/>
                  <a:pt x="3084537" y="422623"/>
                  <a:pt x="3091581" y="422623"/>
                </a:cubicBezTo>
                <a:cubicBezTo>
                  <a:pt x="3091581" y="422623"/>
                  <a:pt x="3105669" y="422623"/>
                  <a:pt x="3105669" y="422623"/>
                </a:cubicBezTo>
                <a:cubicBezTo>
                  <a:pt x="3091581" y="408534"/>
                  <a:pt x="3077492" y="422623"/>
                  <a:pt x="3049316" y="422623"/>
                </a:cubicBezTo>
                <a:cubicBezTo>
                  <a:pt x="3063405" y="408534"/>
                  <a:pt x="3105669" y="408534"/>
                  <a:pt x="3119756" y="408534"/>
                </a:cubicBezTo>
                <a:lnTo>
                  <a:pt x="3133845" y="408534"/>
                </a:lnTo>
                <a:cubicBezTo>
                  <a:pt x="3133845" y="408534"/>
                  <a:pt x="3119756" y="408534"/>
                  <a:pt x="3133845" y="422623"/>
                </a:cubicBezTo>
                <a:cubicBezTo>
                  <a:pt x="3162022" y="422623"/>
                  <a:pt x="3147934" y="422623"/>
                  <a:pt x="3162022" y="436710"/>
                </a:cubicBezTo>
                <a:cubicBezTo>
                  <a:pt x="3176110" y="436710"/>
                  <a:pt x="3176110" y="436710"/>
                  <a:pt x="3190198" y="436710"/>
                </a:cubicBezTo>
                <a:cubicBezTo>
                  <a:pt x="3204287" y="436710"/>
                  <a:pt x="3218375" y="436710"/>
                  <a:pt x="3232462" y="436710"/>
                </a:cubicBezTo>
                <a:cubicBezTo>
                  <a:pt x="3246551" y="429667"/>
                  <a:pt x="3257117" y="426145"/>
                  <a:pt x="3265923" y="426145"/>
                </a:cubicBezTo>
                <a:lnTo>
                  <a:pt x="3286474" y="435630"/>
                </a:lnTo>
                <a:lnTo>
                  <a:pt x="3319619" y="410296"/>
                </a:lnTo>
                <a:cubicBezTo>
                  <a:pt x="3344273" y="390926"/>
                  <a:pt x="3365405" y="373316"/>
                  <a:pt x="3372450" y="366272"/>
                </a:cubicBezTo>
                <a:cubicBezTo>
                  <a:pt x="3386538" y="352185"/>
                  <a:pt x="3400627" y="352185"/>
                  <a:pt x="3414714" y="338098"/>
                </a:cubicBezTo>
                <a:cubicBezTo>
                  <a:pt x="3428803" y="338098"/>
                  <a:pt x="3442891" y="324010"/>
                  <a:pt x="3442891" y="338098"/>
                </a:cubicBezTo>
                <a:cubicBezTo>
                  <a:pt x="3456980" y="338098"/>
                  <a:pt x="3471067" y="324010"/>
                  <a:pt x="3485156" y="324010"/>
                </a:cubicBezTo>
                <a:lnTo>
                  <a:pt x="3513002" y="305116"/>
                </a:lnTo>
                <a:close/>
                <a:moveTo>
                  <a:pt x="3668303" y="267661"/>
                </a:moveTo>
                <a:lnTo>
                  <a:pt x="3611950" y="295836"/>
                </a:lnTo>
                <a:cubicBezTo>
                  <a:pt x="3597862" y="309923"/>
                  <a:pt x="3597862" y="309923"/>
                  <a:pt x="3583773" y="324010"/>
                </a:cubicBezTo>
                <a:cubicBezTo>
                  <a:pt x="3583773" y="324010"/>
                  <a:pt x="3555597" y="338098"/>
                  <a:pt x="3541509" y="338098"/>
                </a:cubicBezTo>
                <a:cubicBezTo>
                  <a:pt x="3513333" y="352185"/>
                  <a:pt x="3499244" y="352185"/>
                  <a:pt x="3471067" y="366272"/>
                </a:cubicBezTo>
                <a:cubicBezTo>
                  <a:pt x="3456980" y="380360"/>
                  <a:pt x="3442891" y="380360"/>
                  <a:pt x="3414714" y="394447"/>
                </a:cubicBezTo>
                <a:cubicBezTo>
                  <a:pt x="3414714" y="394447"/>
                  <a:pt x="3400627" y="408534"/>
                  <a:pt x="3386538" y="408534"/>
                </a:cubicBezTo>
                <a:cubicBezTo>
                  <a:pt x="3372450" y="422623"/>
                  <a:pt x="3358361" y="422623"/>
                  <a:pt x="3344274" y="436710"/>
                </a:cubicBezTo>
                <a:cubicBezTo>
                  <a:pt x="3344274" y="436710"/>
                  <a:pt x="3330185" y="450798"/>
                  <a:pt x="3330185" y="450798"/>
                </a:cubicBezTo>
                <a:lnTo>
                  <a:pt x="3326170" y="452257"/>
                </a:lnTo>
                <a:lnTo>
                  <a:pt x="3361765" y="457920"/>
                </a:lnTo>
                <a:lnTo>
                  <a:pt x="3414714" y="422623"/>
                </a:lnTo>
                <a:cubicBezTo>
                  <a:pt x="3414714" y="408534"/>
                  <a:pt x="3428803" y="408534"/>
                  <a:pt x="3456980" y="394447"/>
                </a:cubicBezTo>
                <a:cubicBezTo>
                  <a:pt x="3485156" y="380360"/>
                  <a:pt x="3513333" y="366272"/>
                  <a:pt x="3541509" y="352185"/>
                </a:cubicBezTo>
                <a:cubicBezTo>
                  <a:pt x="3541509" y="352185"/>
                  <a:pt x="3555597" y="352185"/>
                  <a:pt x="3555597" y="352185"/>
                </a:cubicBezTo>
                <a:cubicBezTo>
                  <a:pt x="3555597" y="352185"/>
                  <a:pt x="3569684" y="338098"/>
                  <a:pt x="3569684" y="338098"/>
                </a:cubicBezTo>
                <a:cubicBezTo>
                  <a:pt x="3583773" y="338098"/>
                  <a:pt x="3583773" y="338098"/>
                  <a:pt x="3597862" y="324010"/>
                </a:cubicBezTo>
                <a:cubicBezTo>
                  <a:pt x="3597862" y="324010"/>
                  <a:pt x="3611950" y="324010"/>
                  <a:pt x="3611950" y="309923"/>
                </a:cubicBezTo>
                <a:cubicBezTo>
                  <a:pt x="3626037" y="309923"/>
                  <a:pt x="3626037" y="309923"/>
                  <a:pt x="3611950" y="324010"/>
                </a:cubicBezTo>
                <a:cubicBezTo>
                  <a:pt x="3611950" y="324010"/>
                  <a:pt x="3626037" y="324010"/>
                  <a:pt x="3597862" y="338098"/>
                </a:cubicBezTo>
                <a:cubicBezTo>
                  <a:pt x="3611950" y="338098"/>
                  <a:pt x="3611950" y="352185"/>
                  <a:pt x="3569684" y="366272"/>
                </a:cubicBezTo>
                <a:cubicBezTo>
                  <a:pt x="3555597" y="373316"/>
                  <a:pt x="3541509" y="376838"/>
                  <a:pt x="3527421" y="380360"/>
                </a:cubicBezTo>
                <a:lnTo>
                  <a:pt x="3527420" y="380360"/>
                </a:lnTo>
                <a:lnTo>
                  <a:pt x="3527419" y="380360"/>
                </a:lnTo>
                <a:lnTo>
                  <a:pt x="3485156" y="394447"/>
                </a:lnTo>
                <a:cubicBezTo>
                  <a:pt x="3485156" y="408534"/>
                  <a:pt x="3456980" y="422623"/>
                  <a:pt x="3428803" y="422623"/>
                </a:cubicBezTo>
                <a:cubicBezTo>
                  <a:pt x="3428803" y="422623"/>
                  <a:pt x="3428803" y="422623"/>
                  <a:pt x="3428803" y="436710"/>
                </a:cubicBezTo>
                <a:cubicBezTo>
                  <a:pt x="3442891" y="422623"/>
                  <a:pt x="3471067" y="422623"/>
                  <a:pt x="3485156" y="408534"/>
                </a:cubicBezTo>
                <a:cubicBezTo>
                  <a:pt x="3492200" y="401491"/>
                  <a:pt x="3499244" y="397969"/>
                  <a:pt x="3506288" y="394447"/>
                </a:cubicBezTo>
                <a:lnTo>
                  <a:pt x="3527419" y="380360"/>
                </a:lnTo>
                <a:lnTo>
                  <a:pt x="3527421" y="380360"/>
                </a:lnTo>
                <a:lnTo>
                  <a:pt x="3534464" y="380360"/>
                </a:lnTo>
                <a:cubicBezTo>
                  <a:pt x="3537987" y="380360"/>
                  <a:pt x="3541509" y="380360"/>
                  <a:pt x="3541509" y="380360"/>
                </a:cubicBezTo>
                <a:cubicBezTo>
                  <a:pt x="3555597" y="380360"/>
                  <a:pt x="3569684" y="366272"/>
                  <a:pt x="3583773" y="366272"/>
                </a:cubicBezTo>
                <a:cubicBezTo>
                  <a:pt x="3541509" y="380360"/>
                  <a:pt x="3513333" y="394447"/>
                  <a:pt x="3485156" y="422623"/>
                </a:cubicBezTo>
                <a:cubicBezTo>
                  <a:pt x="3474589" y="433188"/>
                  <a:pt x="3456099" y="435830"/>
                  <a:pt x="3435627" y="448376"/>
                </a:cubicBezTo>
                <a:lnTo>
                  <a:pt x="3416316" y="463620"/>
                </a:lnTo>
                <a:lnTo>
                  <a:pt x="3471963" y="464885"/>
                </a:lnTo>
                <a:cubicBezTo>
                  <a:pt x="3486050" y="464885"/>
                  <a:pt x="3500139" y="464885"/>
                  <a:pt x="3500139" y="464885"/>
                </a:cubicBezTo>
                <a:cubicBezTo>
                  <a:pt x="3514227" y="464885"/>
                  <a:pt x="3514227" y="464885"/>
                  <a:pt x="3514227" y="464885"/>
                </a:cubicBezTo>
                <a:cubicBezTo>
                  <a:pt x="3528316" y="464885"/>
                  <a:pt x="3542404" y="464885"/>
                  <a:pt x="3554731" y="464885"/>
                </a:cubicBezTo>
                <a:lnTo>
                  <a:pt x="3555597" y="464885"/>
                </a:lnTo>
                <a:cubicBezTo>
                  <a:pt x="3555597" y="464885"/>
                  <a:pt x="3569684" y="450798"/>
                  <a:pt x="3583773" y="450798"/>
                </a:cubicBezTo>
                <a:cubicBezTo>
                  <a:pt x="3597862" y="450798"/>
                  <a:pt x="3611950" y="436710"/>
                  <a:pt x="3626037" y="436710"/>
                </a:cubicBezTo>
                <a:cubicBezTo>
                  <a:pt x="3654214" y="422623"/>
                  <a:pt x="3654214" y="422623"/>
                  <a:pt x="3682390" y="408534"/>
                </a:cubicBezTo>
                <a:cubicBezTo>
                  <a:pt x="3696479" y="394447"/>
                  <a:pt x="3696479" y="394447"/>
                  <a:pt x="3724655" y="380360"/>
                </a:cubicBezTo>
                <a:cubicBezTo>
                  <a:pt x="3738743" y="380360"/>
                  <a:pt x="3752832" y="366272"/>
                  <a:pt x="3766920" y="366272"/>
                </a:cubicBezTo>
                <a:cubicBezTo>
                  <a:pt x="3795096" y="352185"/>
                  <a:pt x="3795096" y="352185"/>
                  <a:pt x="3823273" y="338098"/>
                </a:cubicBezTo>
                <a:cubicBezTo>
                  <a:pt x="3823273" y="352185"/>
                  <a:pt x="3823273" y="352185"/>
                  <a:pt x="3823273" y="352185"/>
                </a:cubicBezTo>
                <a:cubicBezTo>
                  <a:pt x="3823273" y="352185"/>
                  <a:pt x="3809185" y="352185"/>
                  <a:pt x="3809185" y="352185"/>
                </a:cubicBezTo>
                <a:cubicBezTo>
                  <a:pt x="3809185" y="366272"/>
                  <a:pt x="3809185" y="366272"/>
                  <a:pt x="3809185" y="366272"/>
                </a:cubicBezTo>
                <a:cubicBezTo>
                  <a:pt x="3809185" y="366272"/>
                  <a:pt x="3795096" y="366272"/>
                  <a:pt x="3781008" y="380360"/>
                </a:cubicBezTo>
                <a:cubicBezTo>
                  <a:pt x="3781008" y="380360"/>
                  <a:pt x="3781008" y="380360"/>
                  <a:pt x="3795096" y="380360"/>
                </a:cubicBezTo>
                <a:cubicBezTo>
                  <a:pt x="3837361" y="366272"/>
                  <a:pt x="3879626" y="352185"/>
                  <a:pt x="3907802" y="338098"/>
                </a:cubicBezTo>
                <a:cubicBezTo>
                  <a:pt x="3935979" y="338098"/>
                  <a:pt x="3964155" y="324010"/>
                  <a:pt x="3978244" y="324010"/>
                </a:cubicBezTo>
                <a:lnTo>
                  <a:pt x="3999855" y="309154"/>
                </a:lnTo>
                <a:lnTo>
                  <a:pt x="3972094" y="308162"/>
                </a:lnTo>
                <a:cubicBezTo>
                  <a:pt x="3954484" y="306401"/>
                  <a:pt x="3936874" y="302880"/>
                  <a:pt x="3922785" y="295836"/>
                </a:cubicBezTo>
                <a:cubicBezTo>
                  <a:pt x="3922785" y="295836"/>
                  <a:pt x="3908697" y="295836"/>
                  <a:pt x="3908697" y="295836"/>
                </a:cubicBezTo>
                <a:cubicBezTo>
                  <a:pt x="3894609" y="295836"/>
                  <a:pt x="3880521" y="295836"/>
                  <a:pt x="3880521" y="295836"/>
                </a:cubicBezTo>
                <a:cubicBezTo>
                  <a:pt x="3866432" y="295836"/>
                  <a:pt x="3838256" y="281749"/>
                  <a:pt x="3824168" y="281749"/>
                </a:cubicBezTo>
                <a:cubicBezTo>
                  <a:pt x="3810079" y="281749"/>
                  <a:pt x="3810079" y="281749"/>
                  <a:pt x="3795992" y="281749"/>
                </a:cubicBezTo>
                <a:cubicBezTo>
                  <a:pt x="3767815" y="281749"/>
                  <a:pt x="3725550" y="281749"/>
                  <a:pt x="3697375" y="281749"/>
                </a:cubicBezTo>
                <a:cubicBezTo>
                  <a:pt x="3697375" y="267661"/>
                  <a:pt x="3683286" y="267661"/>
                  <a:pt x="3669198" y="267661"/>
                </a:cubicBezTo>
                <a:close/>
                <a:moveTo>
                  <a:pt x="3331081" y="267661"/>
                </a:moveTo>
                <a:cubicBezTo>
                  <a:pt x="3316993" y="267661"/>
                  <a:pt x="3288816" y="267661"/>
                  <a:pt x="3274728" y="281749"/>
                </a:cubicBezTo>
                <a:cubicBezTo>
                  <a:pt x="3260639" y="281749"/>
                  <a:pt x="3232462" y="281749"/>
                  <a:pt x="3218375" y="281749"/>
                </a:cubicBezTo>
                <a:cubicBezTo>
                  <a:pt x="3204287" y="281749"/>
                  <a:pt x="3204287" y="281749"/>
                  <a:pt x="3204287" y="281749"/>
                </a:cubicBezTo>
                <a:cubicBezTo>
                  <a:pt x="3204287" y="281749"/>
                  <a:pt x="3204287" y="281749"/>
                  <a:pt x="3190198" y="281749"/>
                </a:cubicBezTo>
                <a:cubicBezTo>
                  <a:pt x="3162022" y="281749"/>
                  <a:pt x="3176110" y="295836"/>
                  <a:pt x="3190198" y="295836"/>
                </a:cubicBezTo>
                <a:cubicBezTo>
                  <a:pt x="3190198" y="295836"/>
                  <a:pt x="3176110" y="295836"/>
                  <a:pt x="3162022" y="295836"/>
                </a:cubicBezTo>
                <a:cubicBezTo>
                  <a:pt x="3133845" y="295836"/>
                  <a:pt x="3119756" y="295836"/>
                  <a:pt x="3091581" y="295836"/>
                </a:cubicBezTo>
                <a:cubicBezTo>
                  <a:pt x="3063405" y="295836"/>
                  <a:pt x="3035228" y="295836"/>
                  <a:pt x="3007052" y="295836"/>
                </a:cubicBezTo>
                <a:cubicBezTo>
                  <a:pt x="3007052" y="295836"/>
                  <a:pt x="3007052" y="309923"/>
                  <a:pt x="3007052" y="309923"/>
                </a:cubicBezTo>
                <a:lnTo>
                  <a:pt x="3021139" y="309923"/>
                </a:lnTo>
                <a:cubicBezTo>
                  <a:pt x="3049316" y="309923"/>
                  <a:pt x="3063405" y="309923"/>
                  <a:pt x="3077492" y="309923"/>
                </a:cubicBezTo>
                <a:cubicBezTo>
                  <a:pt x="3105669" y="309923"/>
                  <a:pt x="3119756" y="309923"/>
                  <a:pt x="3133845" y="309923"/>
                </a:cubicBezTo>
                <a:cubicBezTo>
                  <a:pt x="3147934" y="309923"/>
                  <a:pt x="3147934" y="309923"/>
                  <a:pt x="3147934" y="309923"/>
                </a:cubicBezTo>
                <a:cubicBezTo>
                  <a:pt x="3176110" y="295836"/>
                  <a:pt x="3204287" y="309923"/>
                  <a:pt x="3232462" y="295836"/>
                </a:cubicBezTo>
                <a:cubicBezTo>
                  <a:pt x="3246551" y="295836"/>
                  <a:pt x="3260639" y="295836"/>
                  <a:pt x="3274728" y="295836"/>
                </a:cubicBezTo>
                <a:cubicBezTo>
                  <a:pt x="3288816" y="295836"/>
                  <a:pt x="3302904" y="295836"/>
                  <a:pt x="3302904" y="295836"/>
                </a:cubicBezTo>
                <a:cubicBezTo>
                  <a:pt x="3316993" y="295836"/>
                  <a:pt x="3316993" y="295836"/>
                  <a:pt x="3345168" y="295836"/>
                </a:cubicBezTo>
                <a:cubicBezTo>
                  <a:pt x="3359257" y="295836"/>
                  <a:pt x="3387433" y="295836"/>
                  <a:pt x="3415610" y="295836"/>
                </a:cubicBezTo>
                <a:cubicBezTo>
                  <a:pt x="3436742" y="295836"/>
                  <a:pt x="3457874" y="287912"/>
                  <a:pt x="3490894" y="289893"/>
                </a:cubicBezTo>
                <a:lnTo>
                  <a:pt x="3526990" y="295625"/>
                </a:lnTo>
                <a:lnTo>
                  <a:pt x="3534465" y="290553"/>
                </a:lnTo>
                <a:cubicBezTo>
                  <a:pt x="3552075" y="281749"/>
                  <a:pt x="3569685" y="274705"/>
                  <a:pt x="3583773" y="267661"/>
                </a:cubicBezTo>
                <a:lnTo>
                  <a:pt x="3579385" y="267661"/>
                </a:lnTo>
                <a:cubicBezTo>
                  <a:pt x="3574102" y="267661"/>
                  <a:pt x="3570580" y="267661"/>
                  <a:pt x="3570580" y="267661"/>
                </a:cubicBezTo>
                <a:cubicBezTo>
                  <a:pt x="3542404" y="267661"/>
                  <a:pt x="3514227" y="267661"/>
                  <a:pt x="3500139" y="267661"/>
                </a:cubicBezTo>
                <a:cubicBezTo>
                  <a:pt x="3500139" y="267661"/>
                  <a:pt x="3486050" y="267661"/>
                  <a:pt x="3471963" y="267661"/>
                </a:cubicBezTo>
                <a:cubicBezTo>
                  <a:pt x="3471963" y="267661"/>
                  <a:pt x="3471963" y="267661"/>
                  <a:pt x="3457874" y="267661"/>
                </a:cubicBezTo>
                <a:cubicBezTo>
                  <a:pt x="3429699" y="267661"/>
                  <a:pt x="3415610" y="267661"/>
                  <a:pt x="3387433" y="281749"/>
                </a:cubicBezTo>
                <a:cubicBezTo>
                  <a:pt x="3373345" y="281749"/>
                  <a:pt x="3359257" y="281749"/>
                  <a:pt x="3345168" y="267661"/>
                </a:cubicBezTo>
                <a:cubicBezTo>
                  <a:pt x="3345168" y="267661"/>
                  <a:pt x="3345168" y="267661"/>
                  <a:pt x="3331081" y="267661"/>
                </a:cubicBezTo>
                <a:close/>
                <a:moveTo>
                  <a:pt x="3686218" y="258704"/>
                </a:moveTo>
                <a:lnTo>
                  <a:pt x="3675744" y="263941"/>
                </a:lnTo>
                <a:lnTo>
                  <a:pt x="3683286" y="267661"/>
                </a:lnTo>
                <a:cubicBezTo>
                  <a:pt x="3697375" y="267661"/>
                  <a:pt x="3697375" y="267661"/>
                  <a:pt x="3697375" y="267661"/>
                </a:cubicBezTo>
                <a:cubicBezTo>
                  <a:pt x="3697375" y="267661"/>
                  <a:pt x="3693853" y="267661"/>
                  <a:pt x="3690330" y="265900"/>
                </a:cubicBezTo>
                <a:close/>
                <a:moveTo>
                  <a:pt x="2781640" y="0"/>
                </a:moveTo>
                <a:cubicBezTo>
                  <a:pt x="2781640" y="14087"/>
                  <a:pt x="2781640" y="14087"/>
                  <a:pt x="2781640" y="14087"/>
                </a:cubicBezTo>
                <a:cubicBezTo>
                  <a:pt x="2781640" y="14087"/>
                  <a:pt x="2781640" y="14087"/>
                  <a:pt x="2767551" y="14087"/>
                </a:cubicBezTo>
                <a:cubicBezTo>
                  <a:pt x="2767551" y="14087"/>
                  <a:pt x="2753463" y="28175"/>
                  <a:pt x="2739374" y="28175"/>
                </a:cubicBezTo>
                <a:cubicBezTo>
                  <a:pt x="2739374" y="28175"/>
                  <a:pt x="2725287" y="28175"/>
                  <a:pt x="2725287" y="28175"/>
                </a:cubicBezTo>
                <a:cubicBezTo>
                  <a:pt x="2711199" y="42262"/>
                  <a:pt x="2654846" y="56349"/>
                  <a:pt x="2612581" y="70438"/>
                </a:cubicBezTo>
                <a:cubicBezTo>
                  <a:pt x="2584406" y="70438"/>
                  <a:pt x="2570317" y="84525"/>
                  <a:pt x="2542140" y="84525"/>
                </a:cubicBezTo>
                <a:cubicBezTo>
                  <a:pt x="2528052" y="84525"/>
                  <a:pt x="2528052" y="84525"/>
                  <a:pt x="2513964" y="98612"/>
                </a:cubicBezTo>
                <a:cubicBezTo>
                  <a:pt x="2471699" y="112700"/>
                  <a:pt x="2429434" y="112700"/>
                  <a:pt x="2387169" y="126787"/>
                </a:cubicBezTo>
                <a:cubicBezTo>
                  <a:pt x="2387169" y="140874"/>
                  <a:pt x="2373081" y="140874"/>
                  <a:pt x="2358994" y="140874"/>
                </a:cubicBezTo>
                <a:cubicBezTo>
                  <a:pt x="2344905" y="140874"/>
                  <a:pt x="2344905" y="140874"/>
                  <a:pt x="2344905" y="140874"/>
                </a:cubicBezTo>
                <a:cubicBezTo>
                  <a:pt x="2330816" y="154962"/>
                  <a:pt x="2302641" y="169049"/>
                  <a:pt x="2302641" y="169049"/>
                </a:cubicBezTo>
                <a:cubicBezTo>
                  <a:pt x="2288552" y="169049"/>
                  <a:pt x="2274464" y="183136"/>
                  <a:pt x="2274464" y="183136"/>
                </a:cubicBezTo>
                <a:cubicBezTo>
                  <a:pt x="2260376" y="183136"/>
                  <a:pt x="2260376" y="183136"/>
                  <a:pt x="2260376" y="183136"/>
                </a:cubicBezTo>
                <a:cubicBezTo>
                  <a:pt x="2232199" y="197224"/>
                  <a:pt x="2218111" y="211311"/>
                  <a:pt x="2175846" y="225398"/>
                </a:cubicBezTo>
                <a:cubicBezTo>
                  <a:pt x="2147670" y="225398"/>
                  <a:pt x="2119493" y="239487"/>
                  <a:pt x="2091317" y="253574"/>
                </a:cubicBezTo>
                <a:cubicBezTo>
                  <a:pt x="2091317" y="253574"/>
                  <a:pt x="2091317" y="253574"/>
                  <a:pt x="2077229" y="253574"/>
                </a:cubicBezTo>
                <a:cubicBezTo>
                  <a:pt x="2049053" y="267661"/>
                  <a:pt x="2020876" y="281749"/>
                  <a:pt x="1992700" y="295836"/>
                </a:cubicBezTo>
                <a:cubicBezTo>
                  <a:pt x="1978611" y="309923"/>
                  <a:pt x="1978611" y="309923"/>
                  <a:pt x="1964523" y="324010"/>
                </a:cubicBezTo>
                <a:cubicBezTo>
                  <a:pt x="1964523" y="324010"/>
                  <a:pt x="1936347" y="338098"/>
                  <a:pt x="1922259" y="338098"/>
                </a:cubicBezTo>
                <a:cubicBezTo>
                  <a:pt x="1894083" y="352185"/>
                  <a:pt x="1879994" y="352185"/>
                  <a:pt x="1851817" y="366272"/>
                </a:cubicBezTo>
                <a:cubicBezTo>
                  <a:pt x="1837730" y="380360"/>
                  <a:pt x="1823641" y="380360"/>
                  <a:pt x="1795464" y="394447"/>
                </a:cubicBezTo>
                <a:cubicBezTo>
                  <a:pt x="1795464" y="394447"/>
                  <a:pt x="1781377" y="408534"/>
                  <a:pt x="1767288" y="408534"/>
                </a:cubicBezTo>
                <a:cubicBezTo>
                  <a:pt x="1753200" y="422623"/>
                  <a:pt x="1739111" y="422623"/>
                  <a:pt x="1725024" y="436710"/>
                </a:cubicBezTo>
                <a:cubicBezTo>
                  <a:pt x="1725024" y="436710"/>
                  <a:pt x="1710935" y="450798"/>
                  <a:pt x="1710935" y="450798"/>
                </a:cubicBezTo>
                <a:cubicBezTo>
                  <a:pt x="1696847" y="450798"/>
                  <a:pt x="1682758" y="464885"/>
                  <a:pt x="1682758" y="464885"/>
                </a:cubicBezTo>
                <a:cubicBezTo>
                  <a:pt x="1668671" y="478972"/>
                  <a:pt x="1668671" y="478972"/>
                  <a:pt x="1668671" y="478972"/>
                </a:cubicBezTo>
                <a:cubicBezTo>
                  <a:pt x="1668671" y="478972"/>
                  <a:pt x="1654582" y="478972"/>
                  <a:pt x="1654582" y="478972"/>
                </a:cubicBezTo>
                <a:cubicBezTo>
                  <a:pt x="1640494" y="493059"/>
                  <a:pt x="1626406" y="507147"/>
                  <a:pt x="1598229" y="535321"/>
                </a:cubicBezTo>
                <a:cubicBezTo>
                  <a:pt x="1555965" y="563496"/>
                  <a:pt x="1527788" y="577583"/>
                  <a:pt x="1485523" y="605759"/>
                </a:cubicBezTo>
                <a:cubicBezTo>
                  <a:pt x="1499612" y="605759"/>
                  <a:pt x="1499612" y="605759"/>
                  <a:pt x="1527788" y="591672"/>
                </a:cubicBezTo>
                <a:cubicBezTo>
                  <a:pt x="1541876" y="577583"/>
                  <a:pt x="1570053" y="549409"/>
                  <a:pt x="1598229" y="535321"/>
                </a:cubicBezTo>
                <a:cubicBezTo>
                  <a:pt x="1612318" y="521234"/>
                  <a:pt x="1640494" y="507147"/>
                  <a:pt x="1668671" y="507147"/>
                </a:cubicBezTo>
                <a:cubicBezTo>
                  <a:pt x="1710935" y="478972"/>
                  <a:pt x="1753200" y="450798"/>
                  <a:pt x="1795464" y="422623"/>
                </a:cubicBezTo>
                <a:cubicBezTo>
                  <a:pt x="1795464" y="408534"/>
                  <a:pt x="1809553" y="408534"/>
                  <a:pt x="1837730" y="394447"/>
                </a:cubicBezTo>
                <a:cubicBezTo>
                  <a:pt x="1865906" y="380360"/>
                  <a:pt x="1894083" y="366272"/>
                  <a:pt x="1922259" y="352185"/>
                </a:cubicBezTo>
                <a:cubicBezTo>
                  <a:pt x="1922259" y="352185"/>
                  <a:pt x="1936347" y="352185"/>
                  <a:pt x="1936347" y="352185"/>
                </a:cubicBezTo>
                <a:cubicBezTo>
                  <a:pt x="1936347" y="352185"/>
                  <a:pt x="1950434" y="338098"/>
                  <a:pt x="1950434" y="338098"/>
                </a:cubicBezTo>
                <a:cubicBezTo>
                  <a:pt x="1964523" y="338098"/>
                  <a:pt x="1964523" y="338098"/>
                  <a:pt x="1978611" y="324010"/>
                </a:cubicBezTo>
                <a:cubicBezTo>
                  <a:pt x="1978611" y="324010"/>
                  <a:pt x="1992700" y="324010"/>
                  <a:pt x="1992700" y="309923"/>
                </a:cubicBezTo>
                <a:cubicBezTo>
                  <a:pt x="2006787" y="309923"/>
                  <a:pt x="2006787" y="309923"/>
                  <a:pt x="1992700" y="324010"/>
                </a:cubicBezTo>
                <a:cubicBezTo>
                  <a:pt x="1992700" y="324010"/>
                  <a:pt x="2006787" y="324010"/>
                  <a:pt x="1978611" y="338098"/>
                </a:cubicBezTo>
                <a:cubicBezTo>
                  <a:pt x="1992700" y="338098"/>
                  <a:pt x="1992700" y="352185"/>
                  <a:pt x="1950434" y="366272"/>
                </a:cubicBezTo>
                <a:cubicBezTo>
                  <a:pt x="1936347" y="373316"/>
                  <a:pt x="1922259" y="376838"/>
                  <a:pt x="1908171" y="380360"/>
                </a:cubicBezTo>
                <a:lnTo>
                  <a:pt x="1908170" y="380360"/>
                </a:lnTo>
                <a:lnTo>
                  <a:pt x="1908169" y="380360"/>
                </a:lnTo>
                <a:lnTo>
                  <a:pt x="1865906" y="394447"/>
                </a:lnTo>
                <a:cubicBezTo>
                  <a:pt x="1865906" y="408534"/>
                  <a:pt x="1837730" y="422623"/>
                  <a:pt x="1809553" y="422623"/>
                </a:cubicBezTo>
                <a:cubicBezTo>
                  <a:pt x="1809553" y="422623"/>
                  <a:pt x="1809553" y="422623"/>
                  <a:pt x="1809553" y="436710"/>
                </a:cubicBezTo>
                <a:cubicBezTo>
                  <a:pt x="1823641" y="422623"/>
                  <a:pt x="1851817" y="422623"/>
                  <a:pt x="1865906" y="408534"/>
                </a:cubicBezTo>
                <a:cubicBezTo>
                  <a:pt x="1872950" y="401491"/>
                  <a:pt x="1879994" y="397969"/>
                  <a:pt x="1887038" y="394447"/>
                </a:cubicBezTo>
                <a:lnTo>
                  <a:pt x="1908169" y="380360"/>
                </a:lnTo>
                <a:lnTo>
                  <a:pt x="1908171" y="380360"/>
                </a:lnTo>
                <a:lnTo>
                  <a:pt x="1915214" y="380360"/>
                </a:lnTo>
                <a:cubicBezTo>
                  <a:pt x="1918737" y="380360"/>
                  <a:pt x="1922259" y="380360"/>
                  <a:pt x="1922259" y="380360"/>
                </a:cubicBezTo>
                <a:cubicBezTo>
                  <a:pt x="1936347" y="380360"/>
                  <a:pt x="1950434" y="366272"/>
                  <a:pt x="1964523" y="366272"/>
                </a:cubicBezTo>
                <a:cubicBezTo>
                  <a:pt x="1922259" y="380360"/>
                  <a:pt x="1894083" y="394447"/>
                  <a:pt x="1865906" y="422623"/>
                </a:cubicBezTo>
                <a:cubicBezTo>
                  <a:pt x="1851817" y="436710"/>
                  <a:pt x="1823641" y="436710"/>
                  <a:pt x="1795464" y="464885"/>
                </a:cubicBezTo>
                <a:cubicBezTo>
                  <a:pt x="1753200" y="478972"/>
                  <a:pt x="1725024" y="507147"/>
                  <a:pt x="1696847" y="535321"/>
                </a:cubicBezTo>
                <a:cubicBezTo>
                  <a:pt x="1654582" y="549409"/>
                  <a:pt x="1626406" y="577583"/>
                  <a:pt x="1626406" y="577583"/>
                </a:cubicBezTo>
                <a:cubicBezTo>
                  <a:pt x="1626406" y="591672"/>
                  <a:pt x="1612318" y="591672"/>
                  <a:pt x="1612318" y="591672"/>
                </a:cubicBezTo>
                <a:cubicBezTo>
                  <a:pt x="1598229" y="605759"/>
                  <a:pt x="1612318" y="591672"/>
                  <a:pt x="1598229" y="591672"/>
                </a:cubicBezTo>
                <a:cubicBezTo>
                  <a:pt x="1584141" y="605759"/>
                  <a:pt x="1570053" y="619846"/>
                  <a:pt x="1555965" y="633934"/>
                </a:cubicBezTo>
                <a:cubicBezTo>
                  <a:pt x="1541876" y="633934"/>
                  <a:pt x="1541876" y="633934"/>
                  <a:pt x="1527788" y="648021"/>
                </a:cubicBezTo>
                <a:cubicBezTo>
                  <a:pt x="1527788" y="648021"/>
                  <a:pt x="1527788" y="662108"/>
                  <a:pt x="1499612" y="676196"/>
                </a:cubicBezTo>
                <a:cubicBezTo>
                  <a:pt x="1485523" y="690283"/>
                  <a:pt x="1471435" y="704370"/>
                  <a:pt x="1457348" y="704370"/>
                </a:cubicBezTo>
                <a:cubicBezTo>
                  <a:pt x="1429170" y="732545"/>
                  <a:pt x="1429170" y="732545"/>
                  <a:pt x="1457348" y="732545"/>
                </a:cubicBezTo>
                <a:cubicBezTo>
                  <a:pt x="1450303" y="732545"/>
                  <a:pt x="1443259" y="736067"/>
                  <a:pt x="1437976" y="741350"/>
                </a:cubicBezTo>
                <a:lnTo>
                  <a:pt x="1432447" y="753512"/>
                </a:lnTo>
                <a:lnTo>
                  <a:pt x="1423888" y="758959"/>
                </a:lnTo>
                <a:cubicBezTo>
                  <a:pt x="1418605" y="760719"/>
                  <a:pt x="1415083" y="760719"/>
                  <a:pt x="1415083" y="760719"/>
                </a:cubicBezTo>
                <a:cubicBezTo>
                  <a:pt x="1415083" y="774808"/>
                  <a:pt x="1415083" y="760719"/>
                  <a:pt x="1429170" y="760719"/>
                </a:cubicBezTo>
                <a:lnTo>
                  <a:pt x="1432447" y="753512"/>
                </a:lnTo>
                <a:lnTo>
                  <a:pt x="1443259" y="746632"/>
                </a:lnTo>
                <a:cubicBezTo>
                  <a:pt x="1443259" y="746632"/>
                  <a:pt x="1457348" y="732545"/>
                  <a:pt x="1471435" y="732545"/>
                </a:cubicBezTo>
                <a:cubicBezTo>
                  <a:pt x="1471435" y="732545"/>
                  <a:pt x="1471435" y="732545"/>
                  <a:pt x="1485523" y="718457"/>
                </a:cubicBezTo>
                <a:cubicBezTo>
                  <a:pt x="1485523" y="704370"/>
                  <a:pt x="1513700" y="690283"/>
                  <a:pt x="1541876" y="676196"/>
                </a:cubicBezTo>
                <a:cubicBezTo>
                  <a:pt x="1555965" y="662108"/>
                  <a:pt x="1570053" y="662108"/>
                  <a:pt x="1570053" y="648021"/>
                </a:cubicBezTo>
                <a:cubicBezTo>
                  <a:pt x="1584141" y="648021"/>
                  <a:pt x="1584141" y="648021"/>
                  <a:pt x="1598229" y="633934"/>
                </a:cubicBezTo>
                <a:cubicBezTo>
                  <a:pt x="1598229" y="648021"/>
                  <a:pt x="1584141" y="648021"/>
                  <a:pt x="1570053" y="662108"/>
                </a:cubicBezTo>
                <a:cubicBezTo>
                  <a:pt x="1541876" y="676196"/>
                  <a:pt x="1541876" y="676196"/>
                  <a:pt x="1541876" y="690283"/>
                </a:cubicBezTo>
                <a:cubicBezTo>
                  <a:pt x="1541876" y="690283"/>
                  <a:pt x="1541876" y="690283"/>
                  <a:pt x="1555965" y="676196"/>
                </a:cubicBezTo>
                <a:cubicBezTo>
                  <a:pt x="1570053" y="676196"/>
                  <a:pt x="1570053" y="676196"/>
                  <a:pt x="1570053" y="676196"/>
                </a:cubicBezTo>
                <a:cubicBezTo>
                  <a:pt x="1570053" y="662108"/>
                  <a:pt x="1584141" y="662108"/>
                  <a:pt x="1598229" y="648021"/>
                </a:cubicBezTo>
                <a:cubicBezTo>
                  <a:pt x="1612318" y="633934"/>
                  <a:pt x="1640494" y="633934"/>
                  <a:pt x="1654582" y="619846"/>
                </a:cubicBezTo>
                <a:cubicBezTo>
                  <a:pt x="1654582" y="619846"/>
                  <a:pt x="1654582" y="605759"/>
                  <a:pt x="1668671" y="605759"/>
                </a:cubicBezTo>
                <a:cubicBezTo>
                  <a:pt x="1682758" y="591672"/>
                  <a:pt x="1682758" y="591672"/>
                  <a:pt x="1696847" y="577583"/>
                </a:cubicBezTo>
                <a:cubicBezTo>
                  <a:pt x="1725024" y="577583"/>
                  <a:pt x="1739111" y="577583"/>
                  <a:pt x="1753200" y="549409"/>
                </a:cubicBezTo>
                <a:cubicBezTo>
                  <a:pt x="1767288" y="549409"/>
                  <a:pt x="1767288" y="549409"/>
                  <a:pt x="1781377" y="535321"/>
                </a:cubicBezTo>
                <a:cubicBezTo>
                  <a:pt x="1823641" y="521234"/>
                  <a:pt x="1823641" y="507147"/>
                  <a:pt x="1837730" y="521234"/>
                </a:cubicBezTo>
                <a:cubicBezTo>
                  <a:pt x="1837730" y="521234"/>
                  <a:pt x="1865906" y="507147"/>
                  <a:pt x="1879994" y="507147"/>
                </a:cubicBezTo>
                <a:cubicBezTo>
                  <a:pt x="1894083" y="493059"/>
                  <a:pt x="1894083" y="493059"/>
                  <a:pt x="1908170" y="493059"/>
                </a:cubicBezTo>
                <a:cubicBezTo>
                  <a:pt x="1908170" y="478972"/>
                  <a:pt x="1922259" y="478972"/>
                  <a:pt x="1936347" y="464885"/>
                </a:cubicBezTo>
                <a:cubicBezTo>
                  <a:pt x="1936347" y="464885"/>
                  <a:pt x="1950434" y="450798"/>
                  <a:pt x="1964523" y="450798"/>
                </a:cubicBezTo>
                <a:cubicBezTo>
                  <a:pt x="1978611" y="450798"/>
                  <a:pt x="1992700" y="436710"/>
                  <a:pt x="2006787" y="436710"/>
                </a:cubicBezTo>
                <a:cubicBezTo>
                  <a:pt x="2034965" y="422623"/>
                  <a:pt x="2034965" y="422623"/>
                  <a:pt x="2063140" y="408534"/>
                </a:cubicBezTo>
                <a:cubicBezTo>
                  <a:pt x="2077229" y="394447"/>
                  <a:pt x="2077229" y="394447"/>
                  <a:pt x="2105405" y="380360"/>
                </a:cubicBezTo>
                <a:cubicBezTo>
                  <a:pt x="2119493" y="380360"/>
                  <a:pt x="2133582" y="366272"/>
                  <a:pt x="2147670" y="366272"/>
                </a:cubicBezTo>
                <a:cubicBezTo>
                  <a:pt x="2175846" y="352185"/>
                  <a:pt x="2175846" y="352185"/>
                  <a:pt x="2204023" y="338098"/>
                </a:cubicBezTo>
                <a:cubicBezTo>
                  <a:pt x="2204023" y="352185"/>
                  <a:pt x="2204023" y="352185"/>
                  <a:pt x="2204023" y="352185"/>
                </a:cubicBezTo>
                <a:cubicBezTo>
                  <a:pt x="2204023" y="352185"/>
                  <a:pt x="2189935" y="352185"/>
                  <a:pt x="2189935" y="352185"/>
                </a:cubicBezTo>
                <a:cubicBezTo>
                  <a:pt x="2189935" y="366272"/>
                  <a:pt x="2189935" y="366272"/>
                  <a:pt x="2189935" y="366272"/>
                </a:cubicBezTo>
                <a:cubicBezTo>
                  <a:pt x="2189935" y="366272"/>
                  <a:pt x="2175846" y="366272"/>
                  <a:pt x="2161758" y="380360"/>
                </a:cubicBezTo>
                <a:cubicBezTo>
                  <a:pt x="2161758" y="380360"/>
                  <a:pt x="2161758" y="380360"/>
                  <a:pt x="2175846" y="380360"/>
                </a:cubicBezTo>
                <a:cubicBezTo>
                  <a:pt x="2218111" y="366272"/>
                  <a:pt x="2260376" y="352185"/>
                  <a:pt x="2288552" y="338098"/>
                </a:cubicBezTo>
                <a:cubicBezTo>
                  <a:pt x="2316729" y="338098"/>
                  <a:pt x="2344905" y="324010"/>
                  <a:pt x="2358994" y="324010"/>
                </a:cubicBezTo>
                <a:cubicBezTo>
                  <a:pt x="2373081" y="309923"/>
                  <a:pt x="2401258" y="295836"/>
                  <a:pt x="2415347" y="295836"/>
                </a:cubicBezTo>
                <a:cubicBezTo>
                  <a:pt x="2443523" y="281749"/>
                  <a:pt x="2485787" y="267661"/>
                  <a:pt x="2528052" y="253574"/>
                </a:cubicBezTo>
                <a:cubicBezTo>
                  <a:pt x="2542140" y="253574"/>
                  <a:pt x="2556228" y="253574"/>
                  <a:pt x="2584406" y="239487"/>
                </a:cubicBezTo>
                <a:cubicBezTo>
                  <a:pt x="2598493" y="239487"/>
                  <a:pt x="2612581" y="239487"/>
                  <a:pt x="2612581" y="239487"/>
                </a:cubicBezTo>
                <a:cubicBezTo>
                  <a:pt x="2654846" y="239487"/>
                  <a:pt x="2640758" y="239487"/>
                  <a:pt x="2640758" y="253574"/>
                </a:cubicBezTo>
                <a:lnTo>
                  <a:pt x="2654846" y="253574"/>
                </a:lnTo>
                <a:cubicBezTo>
                  <a:pt x="2654846" y="267661"/>
                  <a:pt x="2654846" y="267661"/>
                  <a:pt x="2654846" y="281749"/>
                </a:cubicBezTo>
                <a:cubicBezTo>
                  <a:pt x="2626670" y="281749"/>
                  <a:pt x="2598493" y="295836"/>
                  <a:pt x="2598493" y="295836"/>
                </a:cubicBezTo>
                <a:cubicBezTo>
                  <a:pt x="2584406" y="309923"/>
                  <a:pt x="2556228" y="309923"/>
                  <a:pt x="2528052" y="324010"/>
                </a:cubicBezTo>
                <a:cubicBezTo>
                  <a:pt x="2528052" y="324010"/>
                  <a:pt x="2513964" y="324010"/>
                  <a:pt x="2499875" y="338098"/>
                </a:cubicBezTo>
                <a:cubicBezTo>
                  <a:pt x="2499875" y="338098"/>
                  <a:pt x="2485787" y="338098"/>
                  <a:pt x="2471699" y="338098"/>
                </a:cubicBezTo>
                <a:cubicBezTo>
                  <a:pt x="2457611" y="352185"/>
                  <a:pt x="2443523" y="352185"/>
                  <a:pt x="2443523" y="352185"/>
                </a:cubicBezTo>
                <a:cubicBezTo>
                  <a:pt x="2443523" y="352185"/>
                  <a:pt x="2485787" y="352185"/>
                  <a:pt x="2485787" y="352185"/>
                </a:cubicBezTo>
                <a:cubicBezTo>
                  <a:pt x="2457611" y="366272"/>
                  <a:pt x="2415347" y="366272"/>
                  <a:pt x="2387169" y="380360"/>
                </a:cubicBezTo>
                <a:cubicBezTo>
                  <a:pt x="2387169" y="380360"/>
                  <a:pt x="2373081" y="380360"/>
                  <a:pt x="2373081" y="394447"/>
                </a:cubicBezTo>
                <a:cubicBezTo>
                  <a:pt x="2358994" y="394447"/>
                  <a:pt x="2358994" y="394447"/>
                  <a:pt x="2358994" y="394447"/>
                </a:cubicBezTo>
                <a:cubicBezTo>
                  <a:pt x="2358994" y="394447"/>
                  <a:pt x="2358994" y="394447"/>
                  <a:pt x="2344905" y="394447"/>
                </a:cubicBezTo>
                <a:cubicBezTo>
                  <a:pt x="2344905" y="408534"/>
                  <a:pt x="2330816" y="408534"/>
                  <a:pt x="2330816" y="408534"/>
                </a:cubicBezTo>
                <a:cubicBezTo>
                  <a:pt x="2330816" y="408534"/>
                  <a:pt x="2316729" y="422623"/>
                  <a:pt x="2288552" y="422623"/>
                </a:cubicBezTo>
                <a:cubicBezTo>
                  <a:pt x="2302641" y="436710"/>
                  <a:pt x="2302641" y="436710"/>
                  <a:pt x="2344905" y="408534"/>
                </a:cubicBezTo>
                <a:cubicBezTo>
                  <a:pt x="2373081" y="408534"/>
                  <a:pt x="2401258" y="394447"/>
                  <a:pt x="2415347" y="394447"/>
                </a:cubicBezTo>
                <a:cubicBezTo>
                  <a:pt x="2429434" y="394447"/>
                  <a:pt x="2457611" y="394447"/>
                  <a:pt x="2471699" y="380360"/>
                </a:cubicBezTo>
                <a:cubicBezTo>
                  <a:pt x="2471699" y="380360"/>
                  <a:pt x="2485787" y="380360"/>
                  <a:pt x="2485787" y="380360"/>
                </a:cubicBezTo>
                <a:cubicBezTo>
                  <a:pt x="2485787" y="380360"/>
                  <a:pt x="2513964" y="366272"/>
                  <a:pt x="2542140" y="352185"/>
                </a:cubicBezTo>
                <a:cubicBezTo>
                  <a:pt x="2556228" y="352185"/>
                  <a:pt x="2570317" y="352185"/>
                  <a:pt x="2598493" y="338098"/>
                </a:cubicBezTo>
                <a:cubicBezTo>
                  <a:pt x="2612581" y="338098"/>
                  <a:pt x="2626670" y="338098"/>
                  <a:pt x="2654846" y="324010"/>
                </a:cubicBezTo>
                <a:cubicBezTo>
                  <a:pt x="2654846" y="324010"/>
                  <a:pt x="2654846" y="324010"/>
                  <a:pt x="2668934" y="324010"/>
                </a:cubicBezTo>
                <a:cubicBezTo>
                  <a:pt x="2683023" y="324010"/>
                  <a:pt x="2697110" y="324010"/>
                  <a:pt x="2711199" y="309923"/>
                </a:cubicBezTo>
                <a:cubicBezTo>
                  <a:pt x="2711199" y="309923"/>
                  <a:pt x="2711199" y="309923"/>
                  <a:pt x="2725287" y="309923"/>
                </a:cubicBezTo>
                <a:cubicBezTo>
                  <a:pt x="2725287" y="309923"/>
                  <a:pt x="2725287" y="309923"/>
                  <a:pt x="2739374" y="309923"/>
                </a:cubicBezTo>
                <a:cubicBezTo>
                  <a:pt x="2739374" y="309923"/>
                  <a:pt x="2739374" y="295836"/>
                  <a:pt x="2753463" y="295836"/>
                </a:cubicBezTo>
                <a:cubicBezTo>
                  <a:pt x="2795729" y="295836"/>
                  <a:pt x="2823905" y="281749"/>
                  <a:pt x="2866169" y="281749"/>
                </a:cubicBezTo>
                <a:cubicBezTo>
                  <a:pt x="2866169" y="281749"/>
                  <a:pt x="2866169" y="281749"/>
                  <a:pt x="2922522" y="281749"/>
                </a:cubicBezTo>
                <a:cubicBezTo>
                  <a:pt x="2922522" y="267661"/>
                  <a:pt x="2922522" y="267661"/>
                  <a:pt x="2922522" y="267661"/>
                </a:cubicBezTo>
                <a:cubicBezTo>
                  <a:pt x="2936611" y="267661"/>
                  <a:pt x="2936611" y="267661"/>
                  <a:pt x="2936611" y="267661"/>
                </a:cubicBezTo>
                <a:cubicBezTo>
                  <a:pt x="2950699" y="267661"/>
                  <a:pt x="2964786" y="267661"/>
                  <a:pt x="2964786" y="267661"/>
                </a:cubicBezTo>
                <a:cubicBezTo>
                  <a:pt x="2978875" y="267661"/>
                  <a:pt x="2992963" y="267661"/>
                  <a:pt x="3007052" y="267661"/>
                </a:cubicBezTo>
                <a:cubicBezTo>
                  <a:pt x="3021139" y="267661"/>
                  <a:pt x="3035228" y="267661"/>
                  <a:pt x="3035228" y="253574"/>
                </a:cubicBezTo>
                <a:cubicBezTo>
                  <a:pt x="3077492" y="253574"/>
                  <a:pt x="3105669" y="253574"/>
                  <a:pt x="3147934" y="253574"/>
                </a:cubicBezTo>
                <a:cubicBezTo>
                  <a:pt x="3147934" y="253574"/>
                  <a:pt x="3147934" y="239487"/>
                  <a:pt x="3147934" y="239487"/>
                </a:cubicBezTo>
                <a:cubicBezTo>
                  <a:pt x="3162022" y="239487"/>
                  <a:pt x="3176110" y="239487"/>
                  <a:pt x="3190198" y="239487"/>
                </a:cubicBezTo>
                <a:lnTo>
                  <a:pt x="3204287" y="239487"/>
                </a:lnTo>
                <a:cubicBezTo>
                  <a:pt x="3190198" y="253574"/>
                  <a:pt x="3190198" y="253574"/>
                  <a:pt x="3176110" y="253574"/>
                </a:cubicBezTo>
                <a:lnTo>
                  <a:pt x="3188437" y="253574"/>
                </a:lnTo>
                <a:cubicBezTo>
                  <a:pt x="3197242" y="253574"/>
                  <a:pt x="3204287" y="253574"/>
                  <a:pt x="3204287" y="253574"/>
                </a:cubicBezTo>
                <a:cubicBezTo>
                  <a:pt x="3204287" y="253574"/>
                  <a:pt x="3218375" y="253574"/>
                  <a:pt x="3218375" y="253574"/>
                </a:cubicBezTo>
                <a:lnTo>
                  <a:pt x="3232462" y="253574"/>
                </a:lnTo>
                <a:lnTo>
                  <a:pt x="3241268" y="253574"/>
                </a:lnTo>
                <a:cubicBezTo>
                  <a:pt x="3246551" y="253574"/>
                  <a:pt x="3253595" y="253574"/>
                  <a:pt x="3260639" y="253574"/>
                </a:cubicBezTo>
                <a:cubicBezTo>
                  <a:pt x="3288816" y="239487"/>
                  <a:pt x="3316993" y="239487"/>
                  <a:pt x="3331081" y="239487"/>
                </a:cubicBezTo>
                <a:cubicBezTo>
                  <a:pt x="3331081" y="239487"/>
                  <a:pt x="3334603" y="239487"/>
                  <a:pt x="3338125" y="239487"/>
                </a:cubicBezTo>
                <a:lnTo>
                  <a:pt x="3339445" y="239487"/>
                </a:lnTo>
                <a:lnTo>
                  <a:pt x="3341646" y="239487"/>
                </a:lnTo>
                <a:lnTo>
                  <a:pt x="3345168" y="239487"/>
                </a:lnTo>
                <a:lnTo>
                  <a:pt x="3359257" y="239487"/>
                </a:lnTo>
                <a:cubicBezTo>
                  <a:pt x="3373345" y="239487"/>
                  <a:pt x="3373345" y="239487"/>
                  <a:pt x="3373345" y="239487"/>
                </a:cubicBezTo>
                <a:cubicBezTo>
                  <a:pt x="3359257" y="253574"/>
                  <a:pt x="3359257" y="253574"/>
                  <a:pt x="3373345" y="253574"/>
                </a:cubicBezTo>
                <a:lnTo>
                  <a:pt x="3401521" y="253574"/>
                </a:lnTo>
                <a:lnTo>
                  <a:pt x="3406805" y="253574"/>
                </a:lnTo>
                <a:lnTo>
                  <a:pt x="3420893" y="253574"/>
                </a:lnTo>
                <a:lnTo>
                  <a:pt x="3429699" y="253574"/>
                </a:lnTo>
                <a:cubicBezTo>
                  <a:pt x="3433220" y="253574"/>
                  <a:pt x="3433220" y="253574"/>
                  <a:pt x="3431239" y="253574"/>
                </a:cubicBezTo>
                <a:lnTo>
                  <a:pt x="3457874" y="253574"/>
                </a:lnTo>
                <a:cubicBezTo>
                  <a:pt x="3464918" y="253574"/>
                  <a:pt x="3475485" y="253574"/>
                  <a:pt x="3486050" y="253574"/>
                </a:cubicBezTo>
                <a:cubicBezTo>
                  <a:pt x="3496617" y="253574"/>
                  <a:pt x="3507183" y="253574"/>
                  <a:pt x="3514227" y="253574"/>
                </a:cubicBezTo>
                <a:cubicBezTo>
                  <a:pt x="3528316" y="253574"/>
                  <a:pt x="3528316" y="253574"/>
                  <a:pt x="3542404" y="253574"/>
                </a:cubicBezTo>
                <a:cubicBezTo>
                  <a:pt x="3556492" y="253574"/>
                  <a:pt x="3542404" y="253574"/>
                  <a:pt x="3556492" y="239487"/>
                </a:cubicBezTo>
                <a:cubicBezTo>
                  <a:pt x="3570580" y="253574"/>
                  <a:pt x="3570580" y="253574"/>
                  <a:pt x="3584669" y="253574"/>
                </a:cubicBezTo>
                <a:cubicBezTo>
                  <a:pt x="3584669" y="253574"/>
                  <a:pt x="3584669" y="253574"/>
                  <a:pt x="3598756" y="253574"/>
                </a:cubicBezTo>
                <a:cubicBezTo>
                  <a:pt x="3598756" y="253574"/>
                  <a:pt x="3598756" y="253574"/>
                  <a:pt x="3600517" y="253574"/>
                </a:cubicBezTo>
                <a:lnTo>
                  <a:pt x="3611950" y="253574"/>
                </a:lnTo>
                <a:cubicBezTo>
                  <a:pt x="3611950" y="239487"/>
                  <a:pt x="3640126" y="239487"/>
                  <a:pt x="3654214" y="225398"/>
                </a:cubicBezTo>
                <a:cubicBezTo>
                  <a:pt x="3682390" y="225398"/>
                  <a:pt x="3696479" y="211311"/>
                  <a:pt x="3710567" y="197224"/>
                </a:cubicBezTo>
                <a:cubicBezTo>
                  <a:pt x="3752832" y="183136"/>
                  <a:pt x="3809185" y="169049"/>
                  <a:pt x="3851449" y="140874"/>
                </a:cubicBezTo>
                <a:cubicBezTo>
                  <a:pt x="3879626" y="126787"/>
                  <a:pt x="3907802" y="126787"/>
                  <a:pt x="3935979" y="112700"/>
                </a:cubicBezTo>
                <a:cubicBezTo>
                  <a:pt x="3964155" y="98612"/>
                  <a:pt x="3992331" y="84525"/>
                  <a:pt x="4034596" y="84525"/>
                </a:cubicBezTo>
                <a:cubicBezTo>
                  <a:pt x="4048684" y="84525"/>
                  <a:pt x="4048684" y="70438"/>
                  <a:pt x="4048684" y="70438"/>
                </a:cubicBezTo>
                <a:cubicBezTo>
                  <a:pt x="4062772" y="70438"/>
                  <a:pt x="4062772" y="70438"/>
                  <a:pt x="4076861" y="70438"/>
                </a:cubicBezTo>
                <a:cubicBezTo>
                  <a:pt x="4147302" y="56349"/>
                  <a:pt x="4217743" y="28175"/>
                  <a:pt x="4288184" y="14087"/>
                </a:cubicBezTo>
                <a:cubicBezTo>
                  <a:pt x="4302273" y="14087"/>
                  <a:pt x="4316360" y="14087"/>
                  <a:pt x="4330449" y="14087"/>
                </a:cubicBezTo>
                <a:cubicBezTo>
                  <a:pt x="4372713" y="0"/>
                  <a:pt x="4400890" y="0"/>
                  <a:pt x="4400890" y="0"/>
                </a:cubicBezTo>
                <a:cubicBezTo>
                  <a:pt x="4400890" y="14087"/>
                  <a:pt x="4400890" y="14087"/>
                  <a:pt x="4400890" y="14087"/>
                </a:cubicBezTo>
                <a:cubicBezTo>
                  <a:pt x="4400890" y="14087"/>
                  <a:pt x="4400890" y="14087"/>
                  <a:pt x="4386801" y="14087"/>
                </a:cubicBezTo>
                <a:cubicBezTo>
                  <a:pt x="4386801" y="14087"/>
                  <a:pt x="4372713" y="28175"/>
                  <a:pt x="4358624" y="28175"/>
                </a:cubicBezTo>
                <a:cubicBezTo>
                  <a:pt x="4358624" y="28175"/>
                  <a:pt x="4344537" y="28175"/>
                  <a:pt x="4344537" y="28175"/>
                </a:cubicBezTo>
                <a:cubicBezTo>
                  <a:pt x="4330449" y="42262"/>
                  <a:pt x="4274096" y="56349"/>
                  <a:pt x="4231831" y="70438"/>
                </a:cubicBezTo>
                <a:cubicBezTo>
                  <a:pt x="4203655" y="70438"/>
                  <a:pt x="4189567" y="84525"/>
                  <a:pt x="4161390" y="84525"/>
                </a:cubicBezTo>
                <a:cubicBezTo>
                  <a:pt x="4147302" y="84525"/>
                  <a:pt x="4147302" y="84525"/>
                  <a:pt x="4133214" y="98612"/>
                </a:cubicBezTo>
                <a:cubicBezTo>
                  <a:pt x="4090949" y="112700"/>
                  <a:pt x="4048684" y="112700"/>
                  <a:pt x="4006419" y="126787"/>
                </a:cubicBezTo>
                <a:cubicBezTo>
                  <a:pt x="4006419" y="140874"/>
                  <a:pt x="3992331" y="140874"/>
                  <a:pt x="3978244" y="140874"/>
                </a:cubicBezTo>
                <a:cubicBezTo>
                  <a:pt x="3964155" y="140874"/>
                  <a:pt x="3964155" y="140874"/>
                  <a:pt x="3964155" y="140874"/>
                </a:cubicBezTo>
                <a:cubicBezTo>
                  <a:pt x="3950066" y="154962"/>
                  <a:pt x="3921891" y="169049"/>
                  <a:pt x="3921891" y="169049"/>
                </a:cubicBezTo>
                <a:cubicBezTo>
                  <a:pt x="3907802" y="169049"/>
                  <a:pt x="3893713" y="183136"/>
                  <a:pt x="3893713" y="183136"/>
                </a:cubicBezTo>
                <a:cubicBezTo>
                  <a:pt x="3879626" y="183136"/>
                  <a:pt x="3879626" y="183136"/>
                  <a:pt x="3879626" y="183136"/>
                </a:cubicBezTo>
                <a:cubicBezTo>
                  <a:pt x="3851449" y="197224"/>
                  <a:pt x="3837361" y="211311"/>
                  <a:pt x="3795096" y="225398"/>
                </a:cubicBezTo>
                <a:cubicBezTo>
                  <a:pt x="3766920" y="225398"/>
                  <a:pt x="3738743" y="239487"/>
                  <a:pt x="3710567" y="253574"/>
                </a:cubicBezTo>
                <a:cubicBezTo>
                  <a:pt x="3710567" y="253574"/>
                  <a:pt x="3710567" y="253574"/>
                  <a:pt x="3696479" y="253574"/>
                </a:cubicBezTo>
                <a:lnTo>
                  <a:pt x="3691453" y="256087"/>
                </a:lnTo>
                <a:lnTo>
                  <a:pt x="3706180" y="260618"/>
                </a:lnTo>
                <a:cubicBezTo>
                  <a:pt x="3714985" y="264140"/>
                  <a:pt x="3725551" y="267661"/>
                  <a:pt x="3739639" y="267661"/>
                </a:cubicBezTo>
                <a:lnTo>
                  <a:pt x="3743161" y="267661"/>
                </a:lnTo>
                <a:cubicBezTo>
                  <a:pt x="3750205" y="267661"/>
                  <a:pt x="3760771" y="267661"/>
                  <a:pt x="3767815" y="267661"/>
                </a:cubicBezTo>
                <a:cubicBezTo>
                  <a:pt x="3810079" y="267661"/>
                  <a:pt x="3866432" y="281749"/>
                  <a:pt x="3908697" y="281749"/>
                </a:cubicBezTo>
                <a:cubicBezTo>
                  <a:pt x="3929829" y="288792"/>
                  <a:pt x="3947440" y="292314"/>
                  <a:pt x="3965050" y="295836"/>
                </a:cubicBezTo>
                <a:lnTo>
                  <a:pt x="4004780" y="305768"/>
                </a:lnTo>
                <a:lnTo>
                  <a:pt x="4006420" y="304641"/>
                </a:lnTo>
                <a:cubicBezTo>
                  <a:pt x="4016986" y="299358"/>
                  <a:pt x="4027552" y="295836"/>
                  <a:pt x="4034596" y="295836"/>
                </a:cubicBezTo>
                <a:cubicBezTo>
                  <a:pt x="4062772" y="281749"/>
                  <a:pt x="4105037" y="267661"/>
                  <a:pt x="4147302" y="253574"/>
                </a:cubicBezTo>
                <a:cubicBezTo>
                  <a:pt x="4161390" y="253574"/>
                  <a:pt x="4175478" y="253574"/>
                  <a:pt x="4203655" y="239487"/>
                </a:cubicBezTo>
                <a:cubicBezTo>
                  <a:pt x="4217743" y="239487"/>
                  <a:pt x="4231831" y="239487"/>
                  <a:pt x="4231831" y="239487"/>
                </a:cubicBezTo>
                <a:cubicBezTo>
                  <a:pt x="4274096" y="239487"/>
                  <a:pt x="4260008" y="239487"/>
                  <a:pt x="4260008" y="253574"/>
                </a:cubicBezTo>
                <a:lnTo>
                  <a:pt x="4274096" y="253574"/>
                </a:lnTo>
                <a:cubicBezTo>
                  <a:pt x="4274096" y="267661"/>
                  <a:pt x="4274096" y="267661"/>
                  <a:pt x="4274096" y="281749"/>
                </a:cubicBezTo>
                <a:cubicBezTo>
                  <a:pt x="4245920" y="281749"/>
                  <a:pt x="4217743" y="295836"/>
                  <a:pt x="4217743" y="295836"/>
                </a:cubicBezTo>
                <a:cubicBezTo>
                  <a:pt x="4203655" y="309923"/>
                  <a:pt x="4175478" y="309923"/>
                  <a:pt x="4147302" y="324010"/>
                </a:cubicBezTo>
                <a:cubicBezTo>
                  <a:pt x="4147302" y="324010"/>
                  <a:pt x="4143780" y="324010"/>
                  <a:pt x="4138497" y="325771"/>
                </a:cubicBezTo>
                <a:lnTo>
                  <a:pt x="4134519" y="328303"/>
                </a:lnTo>
                <a:lnTo>
                  <a:pt x="4176373" y="338098"/>
                </a:lnTo>
                <a:cubicBezTo>
                  <a:pt x="4186939" y="338098"/>
                  <a:pt x="4189581" y="338098"/>
                  <a:pt x="4202128" y="338098"/>
                </a:cubicBezTo>
                <a:lnTo>
                  <a:pt x="4217743" y="338098"/>
                </a:lnTo>
                <a:cubicBezTo>
                  <a:pt x="4231831" y="338098"/>
                  <a:pt x="4245920" y="338098"/>
                  <a:pt x="4274096" y="324010"/>
                </a:cubicBezTo>
                <a:cubicBezTo>
                  <a:pt x="4274096" y="324010"/>
                  <a:pt x="4274096" y="324010"/>
                  <a:pt x="4288184" y="324010"/>
                </a:cubicBezTo>
                <a:cubicBezTo>
                  <a:pt x="4302273" y="324010"/>
                  <a:pt x="4316360" y="324010"/>
                  <a:pt x="4330449" y="309923"/>
                </a:cubicBezTo>
                <a:cubicBezTo>
                  <a:pt x="4330449" y="309923"/>
                  <a:pt x="4330449" y="309923"/>
                  <a:pt x="4344537" y="309923"/>
                </a:cubicBezTo>
                <a:cubicBezTo>
                  <a:pt x="4344537" y="309923"/>
                  <a:pt x="4344537" y="309923"/>
                  <a:pt x="4358624" y="309923"/>
                </a:cubicBezTo>
                <a:cubicBezTo>
                  <a:pt x="4358624" y="309923"/>
                  <a:pt x="4358624" y="295836"/>
                  <a:pt x="4372713" y="295836"/>
                </a:cubicBezTo>
                <a:cubicBezTo>
                  <a:pt x="4414979" y="295836"/>
                  <a:pt x="4443154" y="281749"/>
                  <a:pt x="4485419" y="281749"/>
                </a:cubicBezTo>
                <a:cubicBezTo>
                  <a:pt x="4485419" y="281749"/>
                  <a:pt x="4485419" y="281749"/>
                  <a:pt x="4541772" y="281749"/>
                </a:cubicBezTo>
                <a:cubicBezTo>
                  <a:pt x="4541772" y="267661"/>
                  <a:pt x="4541772" y="267661"/>
                  <a:pt x="4541772" y="267661"/>
                </a:cubicBezTo>
                <a:cubicBezTo>
                  <a:pt x="4555860" y="267661"/>
                  <a:pt x="4555860" y="267661"/>
                  <a:pt x="4555860" y="267661"/>
                </a:cubicBezTo>
                <a:cubicBezTo>
                  <a:pt x="4569949" y="267661"/>
                  <a:pt x="4584036" y="267661"/>
                  <a:pt x="4584036" y="267661"/>
                </a:cubicBezTo>
                <a:cubicBezTo>
                  <a:pt x="4598125" y="267661"/>
                  <a:pt x="4612213" y="267661"/>
                  <a:pt x="4626302" y="267661"/>
                </a:cubicBezTo>
                <a:cubicBezTo>
                  <a:pt x="4640389" y="267661"/>
                  <a:pt x="4654478" y="267661"/>
                  <a:pt x="4654478" y="253574"/>
                </a:cubicBezTo>
                <a:cubicBezTo>
                  <a:pt x="4696742" y="253574"/>
                  <a:pt x="4724919" y="253574"/>
                  <a:pt x="4767184" y="253574"/>
                </a:cubicBezTo>
                <a:cubicBezTo>
                  <a:pt x="4767184" y="253574"/>
                  <a:pt x="4767184" y="239487"/>
                  <a:pt x="4767184" y="239487"/>
                </a:cubicBezTo>
                <a:cubicBezTo>
                  <a:pt x="4781272" y="239487"/>
                  <a:pt x="4795359" y="239487"/>
                  <a:pt x="4809448" y="239487"/>
                </a:cubicBezTo>
                <a:lnTo>
                  <a:pt x="4823537" y="239487"/>
                </a:lnTo>
                <a:cubicBezTo>
                  <a:pt x="4809448" y="253574"/>
                  <a:pt x="4809448" y="253574"/>
                  <a:pt x="4795359" y="253574"/>
                </a:cubicBezTo>
                <a:lnTo>
                  <a:pt x="4807686" y="253574"/>
                </a:lnTo>
                <a:cubicBezTo>
                  <a:pt x="4816492" y="253574"/>
                  <a:pt x="4823537" y="253574"/>
                  <a:pt x="4823537" y="253574"/>
                </a:cubicBezTo>
                <a:cubicBezTo>
                  <a:pt x="4823537" y="253574"/>
                  <a:pt x="4837625" y="253574"/>
                  <a:pt x="4837625" y="253574"/>
                </a:cubicBezTo>
                <a:lnTo>
                  <a:pt x="4851712" y="253574"/>
                </a:lnTo>
                <a:lnTo>
                  <a:pt x="4860518" y="253574"/>
                </a:lnTo>
                <a:cubicBezTo>
                  <a:pt x="4865801" y="253574"/>
                  <a:pt x="4872845" y="253574"/>
                  <a:pt x="4879889" y="253574"/>
                </a:cubicBezTo>
                <a:cubicBezTo>
                  <a:pt x="4908065" y="239487"/>
                  <a:pt x="4936242" y="239487"/>
                  <a:pt x="4950331" y="239487"/>
                </a:cubicBezTo>
                <a:cubicBezTo>
                  <a:pt x="4950331" y="239487"/>
                  <a:pt x="4953853" y="239487"/>
                  <a:pt x="4957375" y="239487"/>
                </a:cubicBezTo>
                <a:lnTo>
                  <a:pt x="4958695" y="239487"/>
                </a:lnTo>
                <a:lnTo>
                  <a:pt x="4960896" y="239487"/>
                </a:lnTo>
                <a:lnTo>
                  <a:pt x="4964418" y="239487"/>
                </a:lnTo>
                <a:lnTo>
                  <a:pt x="4978507" y="239487"/>
                </a:lnTo>
                <a:cubicBezTo>
                  <a:pt x="4992595" y="239487"/>
                  <a:pt x="4992595" y="239487"/>
                  <a:pt x="4992595" y="239487"/>
                </a:cubicBezTo>
                <a:cubicBezTo>
                  <a:pt x="4978507" y="253574"/>
                  <a:pt x="4978507" y="253574"/>
                  <a:pt x="4992595" y="253574"/>
                </a:cubicBezTo>
                <a:lnTo>
                  <a:pt x="5020771" y="253574"/>
                </a:lnTo>
                <a:lnTo>
                  <a:pt x="5026055" y="253574"/>
                </a:lnTo>
                <a:lnTo>
                  <a:pt x="5040143" y="253574"/>
                </a:lnTo>
                <a:lnTo>
                  <a:pt x="5048948" y="253574"/>
                </a:lnTo>
                <a:cubicBezTo>
                  <a:pt x="5052470" y="253574"/>
                  <a:pt x="5052470" y="253574"/>
                  <a:pt x="5050489" y="253574"/>
                </a:cubicBezTo>
                <a:lnTo>
                  <a:pt x="5077124" y="253574"/>
                </a:lnTo>
                <a:cubicBezTo>
                  <a:pt x="5084168" y="253574"/>
                  <a:pt x="5094735" y="253574"/>
                  <a:pt x="5105300" y="253574"/>
                </a:cubicBezTo>
                <a:cubicBezTo>
                  <a:pt x="5115867" y="253574"/>
                  <a:pt x="5126433" y="253574"/>
                  <a:pt x="5133477" y="253574"/>
                </a:cubicBezTo>
                <a:cubicBezTo>
                  <a:pt x="5147566" y="253574"/>
                  <a:pt x="5147566" y="253574"/>
                  <a:pt x="5161654" y="253574"/>
                </a:cubicBezTo>
                <a:cubicBezTo>
                  <a:pt x="5175742" y="253574"/>
                  <a:pt x="5161654" y="253574"/>
                  <a:pt x="5175742" y="239487"/>
                </a:cubicBezTo>
                <a:cubicBezTo>
                  <a:pt x="5189830" y="253574"/>
                  <a:pt x="5189830" y="253574"/>
                  <a:pt x="5203919" y="253574"/>
                </a:cubicBezTo>
                <a:cubicBezTo>
                  <a:pt x="5203919" y="253574"/>
                  <a:pt x="5203919" y="253574"/>
                  <a:pt x="5218006" y="253574"/>
                </a:cubicBezTo>
                <a:cubicBezTo>
                  <a:pt x="5218006" y="253574"/>
                  <a:pt x="5218006" y="253574"/>
                  <a:pt x="5232094" y="253574"/>
                </a:cubicBezTo>
                <a:cubicBezTo>
                  <a:pt x="5232094" y="253574"/>
                  <a:pt x="5232094" y="253574"/>
                  <a:pt x="5246183" y="253574"/>
                </a:cubicBezTo>
                <a:cubicBezTo>
                  <a:pt x="5246183" y="253574"/>
                  <a:pt x="5246183" y="253574"/>
                  <a:pt x="5260270" y="253574"/>
                </a:cubicBezTo>
                <a:cubicBezTo>
                  <a:pt x="5274359" y="253574"/>
                  <a:pt x="5274359" y="253574"/>
                  <a:pt x="5302536" y="267661"/>
                </a:cubicBezTo>
                <a:cubicBezTo>
                  <a:pt x="5316625" y="267661"/>
                  <a:pt x="5316625" y="267661"/>
                  <a:pt x="5316625" y="267661"/>
                </a:cubicBezTo>
                <a:cubicBezTo>
                  <a:pt x="5316625" y="267661"/>
                  <a:pt x="5302536" y="267661"/>
                  <a:pt x="5302536" y="253574"/>
                </a:cubicBezTo>
                <a:cubicBezTo>
                  <a:pt x="5316625" y="253574"/>
                  <a:pt x="5330712" y="267661"/>
                  <a:pt x="5358889" y="267661"/>
                </a:cubicBezTo>
                <a:lnTo>
                  <a:pt x="5362410" y="267661"/>
                </a:lnTo>
                <a:cubicBezTo>
                  <a:pt x="5369455" y="267661"/>
                  <a:pt x="5380021" y="267661"/>
                  <a:pt x="5387065" y="267661"/>
                </a:cubicBezTo>
                <a:cubicBezTo>
                  <a:pt x="5429329" y="267661"/>
                  <a:pt x="5485682" y="281749"/>
                  <a:pt x="5527947" y="281749"/>
                </a:cubicBezTo>
                <a:cubicBezTo>
                  <a:pt x="5570212" y="295836"/>
                  <a:pt x="5598388" y="295836"/>
                  <a:pt x="5640652" y="309923"/>
                </a:cubicBezTo>
                <a:cubicBezTo>
                  <a:pt x="5612477" y="309923"/>
                  <a:pt x="5570212" y="309923"/>
                  <a:pt x="5542035" y="295836"/>
                </a:cubicBezTo>
                <a:cubicBezTo>
                  <a:pt x="5542035" y="295836"/>
                  <a:pt x="5527947" y="295836"/>
                  <a:pt x="5527947" y="295836"/>
                </a:cubicBezTo>
                <a:cubicBezTo>
                  <a:pt x="5513859" y="295836"/>
                  <a:pt x="5499771" y="295836"/>
                  <a:pt x="5499771" y="295836"/>
                </a:cubicBezTo>
                <a:cubicBezTo>
                  <a:pt x="5485682" y="295836"/>
                  <a:pt x="5457506" y="281749"/>
                  <a:pt x="5443418" y="281749"/>
                </a:cubicBezTo>
                <a:cubicBezTo>
                  <a:pt x="5429329" y="281749"/>
                  <a:pt x="5429329" y="281749"/>
                  <a:pt x="5415242" y="281749"/>
                </a:cubicBezTo>
                <a:cubicBezTo>
                  <a:pt x="5387065" y="281749"/>
                  <a:pt x="5344800" y="281749"/>
                  <a:pt x="5316625" y="281749"/>
                </a:cubicBezTo>
                <a:cubicBezTo>
                  <a:pt x="5316625" y="267661"/>
                  <a:pt x="5302536" y="267661"/>
                  <a:pt x="5288447" y="267661"/>
                </a:cubicBezTo>
                <a:cubicBezTo>
                  <a:pt x="5274359" y="267661"/>
                  <a:pt x="5260270" y="267661"/>
                  <a:pt x="5232094" y="267661"/>
                </a:cubicBezTo>
                <a:cubicBezTo>
                  <a:pt x="5232094" y="267661"/>
                  <a:pt x="5232094" y="267661"/>
                  <a:pt x="5230333" y="267661"/>
                </a:cubicBezTo>
                <a:lnTo>
                  <a:pt x="5228573" y="267661"/>
                </a:lnTo>
                <a:cubicBezTo>
                  <a:pt x="5228573" y="267661"/>
                  <a:pt x="5225051" y="267661"/>
                  <a:pt x="5218006" y="267661"/>
                </a:cubicBezTo>
                <a:cubicBezTo>
                  <a:pt x="5203919" y="267661"/>
                  <a:pt x="5189830" y="267661"/>
                  <a:pt x="5189830" y="267661"/>
                </a:cubicBezTo>
                <a:cubicBezTo>
                  <a:pt x="5161654" y="267661"/>
                  <a:pt x="5133477" y="267661"/>
                  <a:pt x="5119389" y="267661"/>
                </a:cubicBezTo>
                <a:cubicBezTo>
                  <a:pt x="5119389" y="267661"/>
                  <a:pt x="5105300" y="267661"/>
                  <a:pt x="5091213" y="267661"/>
                </a:cubicBezTo>
                <a:cubicBezTo>
                  <a:pt x="5091213" y="267661"/>
                  <a:pt x="5091213" y="267661"/>
                  <a:pt x="5077124" y="267661"/>
                </a:cubicBezTo>
                <a:cubicBezTo>
                  <a:pt x="5048948" y="267661"/>
                  <a:pt x="5034860" y="267661"/>
                  <a:pt x="5006683" y="281749"/>
                </a:cubicBezTo>
                <a:cubicBezTo>
                  <a:pt x="4992595" y="281749"/>
                  <a:pt x="4978507" y="281749"/>
                  <a:pt x="4964418" y="267661"/>
                </a:cubicBezTo>
                <a:cubicBezTo>
                  <a:pt x="4964418" y="267661"/>
                  <a:pt x="4964418" y="267661"/>
                  <a:pt x="4950331" y="267661"/>
                </a:cubicBezTo>
                <a:cubicBezTo>
                  <a:pt x="4936242" y="267661"/>
                  <a:pt x="4908065" y="267661"/>
                  <a:pt x="4893978" y="281749"/>
                </a:cubicBezTo>
                <a:cubicBezTo>
                  <a:pt x="4879889" y="281749"/>
                  <a:pt x="4851712" y="281749"/>
                  <a:pt x="4837625" y="281749"/>
                </a:cubicBezTo>
                <a:cubicBezTo>
                  <a:pt x="4823537" y="281749"/>
                  <a:pt x="4823537" y="281749"/>
                  <a:pt x="4823537" y="281749"/>
                </a:cubicBezTo>
                <a:cubicBezTo>
                  <a:pt x="4823537" y="281749"/>
                  <a:pt x="4823537" y="281749"/>
                  <a:pt x="4809448" y="281749"/>
                </a:cubicBezTo>
                <a:cubicBezTo>
                  <a:pt x="4781272" y="281749"/>
                  <a:pt x="4795359" y="295836"/>
                  <a:pt x="4809448" y="295836"/>
                </a:cubicBezTo>
                <a:cubicBezTo>
                  <a:pt x="4809448" y="295836"/>
                  <a:pt x="4795359" y="295836"/>
                  <a:pt x="4781272" y="295836"/>
                </a:cubicBezTo>
                <a:cubicBezTo>
                  <a:pt x="4753095" y="295836"/>
                  <a:pt x="4739006" y="295836"/>
                  <a:pt x="4710831" y="295836"/>
                </a:cubicBezTo>
                <a:cubicBezTo>
                  <a:pt x="4682655" y="295836"/>
                  <a:pt x="4654478" y="295836"/>
                  <a:pt x="4626302" y="295836"/>
                </a:cubicBezTo>
                <a:cubicBezTo>
                  <a:pt x="4626302" y="295836"/>
                  <a:pt x="4626302" y="309923"/>
                  <a:pt x="4626302" y="309923"/>
                </a:cubicBezTo>
                <a:lnTo>
                  <a:pt x="4640389" y="309923"/>
                </a:lnTo>
                <a:cubicBezTo>
                  <a:pt x="4668566" y="309923"/>
                  <a:pt x="4682655" y="309923"/>
                  <a:pt x="4696742" y="309923"/>
                </a:cubicBezTo>
                <a:cubicBezTo>
                  <a:pt x="4724919" y="309923"/>
                  <a:pt x="4739006" y="309923"/>
                  <a:pt x="4753095" y="309923"/>
                </a:cubicBezTo>
                <a:cubicBezTo>
                  <a:pt x="4767184" y="309923"/>
                  <a:pt x="4767184" y="309923"/>
                  <a:pt x="4767184" y="309923"/>
                </a:cubicBezTo>
                <a:cubicBezTo>
                  <a:pt x="4795359" y="295836"/>
                  <a:pt x="4823537" y="309923"/>
                  <a:pt x="4851712" y="295836"/>
                </a:cubicBezTo>
                <a:cubicBezTo>
                  <a:pt x="4865801" y="295836"/>
                  <a:pt x="4879889" y="295836"/>
                  <a:pt x="4893978" y="295836"/>
                </a:cubicBezTo>
                <a:cubicBezTo>
                  <a:pt x="4908065" y="295836"/>
                  <a:pt x="4922154" y="295836"/>
                  <a:pt x="4922154" y="295836"/>
                </a:cubicBezTo>
                <a:cubicBezTo>
                  <a:pt x="4936242" y="295836"/>
                  <a:pt x="4936242" y="295836"/>
                  <a:pt x="4964418" y="295836"/>
                </a:cubicBezTo>
                <a:cubicBezTo>
                  <a:pt x="4978507" y="295836"/>
                  <a:pt x="5006683" y="295836"/>
                  <a:pt x="5034860" y="295836"/>
                </a:cubicBezTo>
                <a:cubicBezTo>
                  <a:pt x="5063036" y="295836"/>
                  <a:pt x="5091213" y="281749"/>
                  <a:pt x="5147566" y="295836"/>
                </a:cubicBezTo>
                <a:cubicBezTo>
                  <a:pt x="5161654" y="295836"/>
                  <a:pt x="5189830" y="295836"/>
                  <a:pt x="5189830" y="309923"/>
                </a:cubicBezTo>
                <a:cubicBezTo>
                  <a:pt x="5189830" y="309923"/>
                  <a:pt x="5189830" y="309923"/>
                  <a:pt x="5175742" y="309923"/>
                </a:cubicBezTo>
                <a:cubicBezTo>
                  <a:pt x="5175742" y="309923"/>
                  <a:pt x="5161654" y="309923"/>
                  <a:pt x="5147566" y="309923"/>
                </a:cubicBezTo>
                <a:cubicBezTo>
                  <a:pt x="5119389" y="295836"/>
                  <a:pt x="5105300" y="309923"/>
                  <a:pt x="5077124" y="309923"/>
                </a:cubicBezTo>
                <a:cubicBezTo>
                  <a:pt x="5063036" y="309923"/>
                  <a:pt x="5020771" y="309923"/>
                  <a:pt x="4992595" y="309923"/>
                </a:cubicBezTo>
                <a:cubicBezTo>
                  <a:pt x="4964418" y="309923"/>
                  <a:pt x="4950331" y="309923"/>
                  <a:pt x="4936242" y="309923"/>
                </a:cubicBezTo>
                <a:cubicBezTo>
                  <a:pt x="4936242" y="324010"/>
                  <a:pt x="4922154" y="324010"/>
                  <a:pt x="4908065" y="324010"/>
                </a:cubicBezTo>
                <a:cubicBezTo>
                  <a:pt x="4908065" y="324010"/>
                  <a:pt x="4893978" y="324010"/>
                  <a:pt x="4879889" y="324010"/>
                </a:cubicBezTo>
                <a:cubicBezTo>
                  <a:pt x="4879889" y="324010"/>
                  <a:pt x="4879889" y="324010"/>
                  <a:pt x="4865801" y="324010"/>
                </a:cubicBezTo>
                <a:cubicBezTo>
                  <a:pt x="4851712" y="324010"/>
                  <a:pt x="4851712" y="309923"/>
                  <a:pt x="4809448" y="324010"/>
                </a:cubicBezTo>
                <a:cubicBezTo>
                  <a:pt x="4795359" y="324010"/>
                  <a:pt x="4795359" y="324010"/>
                  <a:pt x="4795359" y="324010"/>
                </a:cubicBezTo>
                <a:cubicBezTo>
                  <a:pt x="4781272" y="324010"/>
                  <a:pt x="4781272" y="324010"/>
                  <a:pt x="4781272" y="324010"/>
                </a:cubicBezTo>
                <a:cubicBezTo>
                  <a:pt x="4767184" y="338098"/>
                  <a:pt x="4739006" y="338098"/>
                  <a:pt x="4724919" y="338098"/>
                </a:cubicBezTo>
                <a:cubicBezTo>
                  <a:pt x="4724919" y="338098"/>
                  <a:pt x="4710831" y="338098"/>
                  <a:pt x="4710831" y="338098"/>
                </a:cubicBezTo>
                <a:cubicBezTo>
                  <a:pt x="4696742" y="338098"/>
                  <a:pt x="4682655" y="338098"/>
                  <a:pt x="4654478" y="338098"/>
                </a:cubicBezTo>
                <a:cubicBezTo>
                  <a:pt x="4626302" y="338098"/>
                  <a:pt x="4612213" y="338098"/>
                  <a:pt x="4584036" y="352185"/>
                </a:cubicBezTo>
                <a:cubicBezTo>
                  <a:pt x="4569949" y="352185"/>
                  <a:pt x="4569949" y="352185"/>
                  <a:pt x="4569949" y="352185"/>
                </a:cubicBezTo>
                <a:cubicBezTo>
                  <a:pt x="4569949" y="352185"/>
                  <a:pt x="4555860" y="366272"/>
                  <a:pt x="4527683" y="366272"/>
                </a:cubicBezTo>
                <a:cubicBezTo>
                  <a:pt x="4527683" y="366272"/>
                  <a:pt x="4513595" y="366272"/>
                  <a:pt x="4513595" y="366272"/>
                </a:cubicBezTo>
                <a:cubicBezTo>
                  <a:pt x="4513595" y="366272"/>
                  <a:pt x="4499507" y="366272"/>
                  <a:pt x="4499507" y="366272"/>
                </a:cubicBezTo>
                <a:cubicBezTo>
                  <a:pt x="4485419" y="366272"/>
                  <a:pt x="4485419" y="366272"/>
                  <a:pt x="4485419" y="366272"/>
                </a:cubicBezTo>
                <a:cubicBezTo>
                  <a:pt x="4471330" y="366272"/>
                  <a:pt x="4457243" y="380360"/>
                  <a:pt x="4429066" y="380360"/>
                </a:cubicBezTo>
                <a:cubicBezTo>
                  <a:pt x="4429066" y="380360"/>
                  <a:pt x="4414979" y="380360"/>
                  <a:pt x="4400890" y="380360"/>
                </a:cubicBezTo>
                <a:cubicBezTo>
                  <a:pt x="4400890" y="380360"/>
                  <a:pt x="4400890" y="380360"/>
                  <a:pt x="4400890" y="394447"/>
                </a:cubicBezTo>
                <a:cubicBezTo>
                  <a:pt x="4386801" y="394447"/>
                  <a:pt x="4386801" y="394447"/>
                  <a:pt x="4386801" y="394447"/>
                </a:cubicBezTo>
                <a:cubicBezTo>
                  <a:pt x="4386801" y="394447"/>
                  <a:pt x="4372713" y="394447"/>
                  <a:pt x="4372713" y="394447"/>
                </a:cubicBezTo>
                <a:cubicBezTo>
                  <a:pt x="4372713" y="394447"/>
                  <a:pt x="4372713" y="394447"/>
                  <a:pt x="4370952" y="394447"/>
                </a:cubicBezTo>
                <a:lnTo>
                  <a:pt x="4359520" y="394447"/>
                </a:lnTo>
                <a:lnTo>
                  <a:pt x="4363709" y="395971"/>
                </a:lnTo>
                <a:lnTo>
                  <a:pt x="4357040" y="395415"/>
                </a:lnTo>
                <a:lnTo>
                  <a:pt x="4326927" y="413818"/>
                </a:lnTo>
                <a:cubicBezTo>
                  <a:pt x="4312838" y="419101"/>
                  <a:pt x="4295228" y="422623"/>
                  <a:pt x="4274096" y="422623"/>
                </a:cubicBezTo>
                <a:cubicBezTo>
                  <a:pt x="4260008" y="422623"/>
                  <a:pt x="4260008" y="422623"/>
                  <a:pt x="4260008" y="422623"/>
                </a:cubicBezTo>
                <a:cubicBezTo>
                  <a:pt x="4245920" y="422623"/>
                  <a:pt x="4231831" y="436710"/>
                  <a:pt x="4231831" y="436710"/>
                </a:cubicBezTo>
                <a:cubicBezTo>
                  <a:pt x="4217743" y="436710"/>
                  <a:pt x="4217743" y="436710"/>
                  <a:pt x="4217743" y="436710"/>
                </a:cubicBezTo>
                <a:cubicBezTo>
                  <a:pt x="4231831" y="436710"/>
                  <a:pt x="4203655" y="436710"/>
                  <a:pt x="4203655" y="450798"/>
                </a:cubicBezTo>
                <a:cubicBezTo>
                  <a:pt x="4203655" y="450798"/>
                  <a:pt x="4203655" y="450798"/>
                  <a:pt x="4189567" y="450798"/>
                </a:cubicBezTo>
                <a:cubicBezTo>
                  <a:pt x="4133214" y="464885"/>
                  <a:pt x="4105037" y="464885"/>
                  <a:pt x="4062772" y="493059"/>
                </a:cubicBezTo>
                <a:cubicBezTo>
                  <a:pt x="4048684" y="493059"/>
                  <a:pt x="4048684" y="493059"/>
                  <a:pt x="4034596" y="493059"/>
                </a:cubicBezTo>
                <a:cubicBezTo>
                  <a:pt x="4020508" y="507147"/>
                  <a:pt x="4020508" y="507147"/>
                  <a:pt x="4020508" y="507147"/>
                </a:cubicBezTo>
                <a:cubicBezTo>
                  <a:pt x="4006419" y="507147"/>
                  <a:pt x="3992331" y="521234"/>
                  <a:pt x="3978244" y="521234"/>
                </a:cubicBezTo>
                <a:lnTo>
                  <a:pt x="3967380" y="528146"/>
                </a:lnTo>
                <a:lnTo>
                  <a:pt x="3984422" y="535321"/>
                </a:lnTo>
                <a:lnTo>
                  <a:pt x="4006652" y="549001"/>
                </a:lnTo>
                <a:lnTo>
                  <a:pt x="4013464" y="537082"/>
                </a:lnTo>
                <a:cubicBezTo>
                  <a:pt x="4016986" y="535321"/>
                  <a:pt x="4020508" y="535321"/>
                  <a:pt x="4020508" y="535321"/>
                </a:cubicBezTo>
                <a:cubicBezTo>
                  <a:pt x="4034596" y="535321"/>
                  <a:pt x="4034596" y="535321"/>
                  <a:pt x="4034596" y="535321"/>
                </a:cubicBezTo>
                <a:cubicBezTo>
                  <a:pt x="4034596" y="535321"/>
                  <a:pt x="4034596" y="535321"/>
                  <a:pt x="4048684" y="521234"/>
                </a:cubicBezTo>
                <a:cubicBezTo>
                  <a:pt x="4076861" y="521234"/>
                  <a:pt x="4090949" y="507147"/>
                  <a:pt x="4119125" y="507147"/>
                </a:cubicBezTo>
                <a:cubicBezTo>
                  <a:pt x="4161390" y="493059"/>
                  <a:pt x="4189567" y="493059"/>
                  <a:pt x="4217743" y="478972"/>
                </a:cubicBezTo>
                <a:cubicBezTo>
                  <a:pt x="4217743" y="478972"/>
                  <a:pt x="4245920" y="464885"/>
                  <a:pt x="4260008" y="464885"/>
                </a:cubicBezTo>
                <a:cubicBezTo>
                  <a:pt x="4231831" y="478972"/>
                  <a:pt x="4217743" y="478972"/>
                  <a:pt x="4245920" y="478972"/>
                </a:cubicBezTo>
                <a:cubicBezTo>
                  <a:pt x="4245920" y="478972"/>
                  <a:pt x="4260008" y="478972"/>
                  <a:pt x="4260008" y="493059"/>
                </a:cubicBezTo>
                <a:cubicBezTo>
                  <a:pt x="4260008" y="493059"/>
                  <a:pt x="4245920" y="493059"/>
                  <a:pt x="4231831" y="493059"/>
                </a:cubicBezTo>
                <a:cubicBezTo>
                  <a:pt x="4217743" y="493059"/>
                  <a:pt x="4231831" y="493059"/>
                  <a:pt x="4231831" y="507147"/>
                </a:cubicBezTo>
                <a:cubicBezTo>
                  <a:pt x="4245920" y="507147"/>
                  <a:pt x="4245920" y="493059"/>
                  <a:pt x="4260008" y="493059"/>
                </a:cubicBezTo>
                <a:cubicBezTo>
                  <a:pt x="4274096" y="493059"/>
                  <a:pt x="4274096" y="493059"/>
                  <a:pt x="4288184" y="493059"/>
                </a:cubicBezTo>
                <a:cubicBezTo>
                  <a:pt x="4316360" y="478972"/>
                  <a:pt x="4344537" y="478972"/>
                  <a:pt x="4372713" y="464885"/>
                </a:cubicBezTo>
                <a:cubicBezTo>
                  <a:pt x="4443154" y="450798"/>
                  <a:pt x="4513595" y="436710"/>
                  <a:pt x="4584036" y="436710"/>
                </a:cubicBezTo>
                <a:cubicBezTo>
                  <a:pt x="4612213" y="422623"/>
                  <a:pt x="4626302" y="422623"/>
                  <a:pt x="4640389" y="422623"/>
                </a:cubicBezTo>
                <a:lnTo>
                  <a:pt x="4668566" y="422623"/>
                </a:lnTo>
                <a:lnTo>
                  <a:pt x="4680893" y="422623"/>
                </a:lnTo>
                <a:cubicBezTo>
                  <a:pt x="4693220" y="422623"/>
                  <a:pt x="4703787" y="422623"/>
                  <a:pt x="4710831" y="422623"/>
                </a:cubicBezTo>
                <a:cubicBezTo>
                  <a:pt x="4710831" y="422623"/>
                  <a:pt x="4724919" y="422623"/>
                  <a:pt x="4724919" y="422623"/>
                </a:cubicBezTo>
                <a:cubicBezTo>
                  <a:pt x="4710831" y="408534"/>
                  <a:pt x="4696742" y="422623"/>
                  <a:pt x="4668566" y="422623"/>
                </a:cubicBezTo>
                <a:cubicBezTo>
                  <a:pt x="4682655" y="408534"/>
                  <a:pt x="4724919" y="408534"/>
                  <a:pt x="4739006" y="408534"/>
                </a:cubicBezTo>
                <a:lnTo>
                  <a:pt x="4753095" y="408534"/>
                </a:lnTo>
                <a:cubicBezTo>
                  <a:pt x="4753095" y="408534"/>
                  <a:pt x="4739006" y="408534"/>
                  <a:pt x="4753095" y="422623"/>
                </a:cubicBezTo>
                <a:cubicBezTo>
                  <a:pt x="4781272" y="422623"/>
                  <a:pt x="4767184" y="422623"/>
                  <a:pt x="4781272" y="436710"/>
                </a:cubicBezTo>
                <a:cubicBezTo>
                  <a:pt x="4795359" y="436710"/>
                  <a:pt x="4795359" y="436710"/>
                  <a:pt x="4809448" y="436710"/>
                </a:cubicBezTo>
                <a:cubicBezTo>
                  <a:pt x="4823537" y="436710"/>
                  <a:pt x="4837625" y="436710"/>
                  <a:pt x="4851712" y="436710"/>
                </a:cubicBezTo>
                <a:cubicBezTo>
                  <a:pt x="4879889" y="422623"/>
                  <a:pt x="4893978" y="422623"/>
                  <a:pt x="4908065" y="436710"/>
                </a:cubicBezTo>
                <a:cubicBezTo>
                  <a:pt x="4908065" y="436710"/>
                  <a:pt x="4865801" y="436710"/>
                  <a:pt x="4893978" y="450798"/>
                </a:cubicBezTo>
                <a:cubicBezTo>
                  <a:pt x="4893978" y="450798"/>
                  <a:pt x="4908065" y="450798"/>
                  <a:pt x="4908065" y="450798"/>
                </a:cubicBezTo>
                <a:cubicBezTo>
                  <a:pt x="4908065" y="450798"/>
                  <a:pt x="4922154" y="450798"/>
                  <a:pt x="4936242" y="450798"/>
                </a:cubicBezTo>
                <a:cubicBezTo>
                  <a:pt x="4992595" y="464885"/>
                  <a:pt x="5034860" y="464885"/>
                  <a:pt x="5091213" y="464885"/>
                </a:cubicBezTo>
                <a:cubicBezTo>
                  <a:pt x="5105300" y="464885"/>
                  <a:pt x="5119389" y="464885"/>
                  <a:pt x="5119389" y="464885"/>
                </a:cubicBezTo>
                <a:cubicBezTo>
                  <a:pt x="5133477" y="464885"/>
                  <a:pt x="5133477" y="464885"/>
                  <a:pt x="5133477" y="464885"/>
                </a:cubicBezTo>
                <a:cubicBezTo>
                  <a:pt x="5161654" y="464885"/>
                  <a:pt x="5189830" y="464885"/>
                  <a:pt x="5203919" y="464885"/>
                </a:cubicBezTo>
                <a:cubicBezTo>
                  <a:pt x="5232094" y="478972"/>
                  <a:pt x="5260270" y="478972"/>
                  <a:pt x="5274359" y="478972"/>
                </a:cubicBezTo>
                <a:cubicBezTo>
                  <a:pt x="5288447" y="478972"/>
                  <a:pt x="5302536" y="478972"/>
                  <a:pt x="5316625" y="493059"/>
                </a:cubicBezTo>
                <a:cubicBezTo>
                  <a:pt x="5330712" y="493059"/>
                  <a:pt x="5344800" y="493059"/>
                  <a:pt x="5344800" y="493059"/>
                </a:cubicBezTo>
                <a:lnTo>
                  <a:pt x="5358889" y="493059"/>
                </a:lnTo>
                <a:lnTo>
                  <a:pt x="5362411" y="493059"/>
                </a:lnTo>
                <a:lnTo>
                  <a:pt x="5365933" y="493059"/>
                </a:lnTo>
                <a:lnTo>
                  <a:pt x="5367694" y="493059"/>
                </a:lnTo>
                <a:lnTo>
                  <a:pt x="5372976" y="493059"/>
                </a:lnTo>
                <a:cubicBezTo>
                  <a:pt x="5401153" y="493059"/>
                  <a:pt x="5429329" y="507147"/>
                  <a:pt x="5457506" y="507147"/>
                </a:cubicBezTo>
                <a:cubicBezTo>
                  <a:pt x="5471594" y="507147"/>
                  <a:pt x="5471594" y="507147"/>
                  <a:pt x="5513859" y="507147"/>
                </a:cubicBezTo>
                <a:cubicBezTo>
                  <a:pt x="5527947" y="521234"/>
                  <a:pt x="5542035" y="521234"/>
                  <a:pt x="5542035" y="521234"/>
                </a:cubicBezTo>
                <a:cubicBezTo>
                  <a:pt x="5556124" y="521234"/>
                  <a:pt x="5570212" y="521234"/>
                  <a:pt x="5570212" y="521234"/>
                </a:cubicBezTo>
                <a:cubicBezTo>
                  <a:pt x="5598388" y="535321"/>
                  <a:pt x="5612477" y="535321"/>
                  <a:pt x="5626565" y="549409"/>
                </a:cubicBezTo>
                <a:cubicBezTo>
                  <a:pt x="5640652" y="549409"/>
                  <a:pt x="5640652" y="549409"/>
                  <a:pt x="5654741" y="549409"/>
                </a:cubicBezTo>
                <a:cubicBezTo>
                  <a:pt x="5654741" y="549409"/>
                  <a:pt x="5682917" y="563496"/>
                  <a:pt x="5682917" y="549409"/>
                </a:cubicBezTo>
                <a:cubicBezTo>
                  <a:pt x="5697005" y="549409"/>
                  <a:pt x="5725182" y="563496"/>
                  <a:pt x="5725182" y="563496"/>
                </a:cubicBezTo>
                <a:cubicBezTo>
                  <a:pt x="5711094" y="563496"/>
                  <a:pt x="5711094" y="563496"/>
                  <a:pt x="5697005" y="563496"/>
                </a:cubicBezTo>
                <a:cubicBezTo>
                  <a:pt x="5725182" y="577583"/>
                  <a:pt x="5753358" y="577583"/>
                  <a:pt x="5781535" y="591672"/>
                </a:cubicBezTo>
                <a:cubicBezTo>
                  <a:pt x="5781535" y="605759"/>
                  <a:pt x="5795623" y="605759"/>
                  <a:pt x="5795623" y="605759"/>
                </a:cubicBezTo>
                <a:cubicBezTo>
                  <a:pt x="5795623" y="605759"/>
                  <a:pt x="5795623" y="605759"/>
                  <a:pt x="5781535" y="605759"/>
                </a:cubicBezTo>
                <a:cubicBezTo>
                  <a:pt x="5795623" y="619846"/>
                  <a:pt x="5795623" y="619846"/>
                  <a:pt x="5781535" y="619846"/>
                </a:cubicBezTo>
                <a:cubicBezTo>
                  <a:pt x="5774492" y="619846"/>
                  <a:pt x="5767447" y="616325"/>
                  <a:pt x="5760403" y="612803"/>
                </a:cubicBezTo>
                <a:lnTo>
                  <a:pt x="5729877" y="594489"/>
                </a:lnTo>
                <a:lnTo>
                  <a:pt x="5721661" y="584628"/>
                </a:lnTo>
                <a:cubicBezTo>
                  <a:pt x="5711094" y="577583"/>
                  <a:pt x="5697005" y="570540"/>
                  <a:pt x="5682917" y="563496"/>
                </a:cubicBezTo>
                <a:cubicBezTo>
                  <a:pt x="5682917" y="577583"/>
                  <a:pt x="5682917" y="577583"/>
                  <a:pt x="5682917" y="577583"/>
                </a:cubicBezTo>
                <a:cubicBezTo>
                  <a:pt x="5725182" y="591672"/>
                  <a:pt x="5682917" y="577583"/>
                  <a:pt x="5668829" y="577583"/>
                </a:cubicBezTo>
                <a:cubicBezTo>
                  <a:pt x="5668829" y="577583"/>
                  <a:pt x="5668829" y="577583"/>
                  <a:pt x="5654741" y="577583"/>
                </a:cubicBezTo>
                <a:lnTo>
                  <a:pt x="5635018" y="567722"/>
                </a:lnTo>
                <a:lnTo>
                  <a:pt x="5633609" y="565257"/>
                </a:lnTo>
                <a:cubicBezTo>
                  <a:pt x="5630087" y="563496"/>
                  <a:pt x="5626565" y="563496"/>
                  <a:pt x="5626565" y="563496"/>
                </a:cubicBezTo>
                <a:lnTo>
                  <a:pt x="5635018" y="567722"/>
                </a:lnTo>
                <a:lnTo>
                  <a:pt x="5640652" y="577583"/>
                </a:lnTo>
                <a:cubicBezTo>
                  <a:pt x="5640652" y="577583"/>
                  <a:pt x="5644174" y="577583"/>
                  <a:pt x="5647697" y="577583"/>
                </a:cubicBezTo>
                <a:lnTo>
                  <a:pt x="5654741" y="577583"/>
                </a:lnTo>
                <a:cubicBezTo>
                  <a:pt x="5665308" y="581105"/>
                  <a:pt x="5675873" y="584627"/>
                  <a:pt x="5682917" y="591672"/>
                </a:cubicBezTo>
                <a:cubicBezTo>
                  <a:pt x="5697005" y="591672"/>
                  <a:pt x="5725182" y="591672"/>
                  <a:pt x="5725182" y="591672"/>
                </a:cubicBezTo>
                <a:lnTo>
                  <a:pt x="5729877" y="594489"/>
                </a:lnTo>
                <a:lnTo>
                  <a:pt x="5739270" y="605759"/>
                </a:lnTo>
                <a:cubicBezTo>
                  <a:pt x="5746315" y="605759"/>
                  <a:pt x="5753358" y="609281"/>
                  <a:pt x="5760403" y="612803"/>
                </a:cubicBezTo>
                <a:cubicBezTo>
                  <a:pt x="5770969" y="619846"/>
                  <a:pt x="5781535" y="626890"/>
                  <a:pt x="5795623" y="633934"/>
                </a:cubicBezTo>
                <a:cubicBezTo>
                  <a:pt x="5795623" y="633934"/>
                  <a:pt x="5809711" y="633934"/>
                  <a:pt x="5823800" y="633934"/>
                </a:cubicBezTo>
                <a:cubicBezTo>
                  <a:pt x="5823800" y="633934"/>
                  <a:pt x="5823800" y="633934"/>
                  <a:pt x="5823800" y="648021"/>
                </a:cubicBezTo>
                <a:cubicBezTo>
                  <a:pt x="5837888" y="648021"/>
                  <a:pt x="5837888" y="648021"/>
                  <a:pt x="5851976" y="648021"/>
                </a:cubicBezTo>
                <a:lnTo>
                  <a:pt x="5866064" y="657882"/>
                </a:lnTo>
                <a:lnTo>
                  <a:pt x="5866064" y="662108"/>
                </a:lnTo>
                <a:cubicBezTo>
                  <a:pt x="5873109" y="662108"/>
                  <a:pt x="5873109" y="662108"/>
                  <a:pt x="5869587" y="660347"/>
                </a:cubicBezTo>
                <a:lnTo>
                  <a:pt x="5866064" y="657882"/>
                </a:lnTo>
                <a:lnTo>
                  <a:pt x="5866064" y="655065"/>
                </a:lnTo>
                <a:cubicBezTo>
                  <a:pt x="5866064" y="651543"/>
                  <a:pt x="5866064" y="648021"/>
                  <a:pt x="5866064" y="648021"/>
                </a:cubicBezTo>
                <a:cubicBezTo>
                  <a:pt x="5880153" y="648021"/>
                  <a:pt x="5894240" y="662108"/>
                  <a:pt x="5908329" y="662108"/>
                </a:cubicBezTo>
                <a:cubicBezTo>
                  <a:pt x="5936506" y="676196"/>
                  <a:pt x="5964682" y="690283"/>
                  <a:pt x="5992859" y="704370"/>
                </a:cubicBezTo>
                <a:cubicBezTo>
                  <a:pt x="6006946" y="718457"/>
                  <a:pt x="6021035" y="718457"/>
                  <a:pt x="6035123" y="732545"/>
                </a:cubicBezTo>
                <a:cubicBezTo>
                  <a:pt x="6035123" y="732545"/>
                  <a:pt x="6035123" y="732545"/>
                  <a:pt x="6049212" y="732545"/>
                </a:cubicBezTo>
                <a:cubicBezTo>
                  <a:pt x="6063299" y="732545"/>
                  <a:pt x="6063299" y="732545"/>
                  <a:pt x="6035123" y="718457"/>
                </a:cubicBezTo>
                <a:cubicBezTo>
                  <a:pt x="6021035" y="704370"/>
                  <a:pt x="6006946" y="704370"/>
                  <a:pt x="6006946" y="690283"/>
                </a:cubicBezTo>
                <a:cubicBezTo>
                  <a:pt x="6006946" y="690283"/>
                  <a:pt x="6049212" y="718457"/>
                  <a:pt x="6063299" y="718457"/>
                </a:cubicBezTo>
                <a:cubicBezTo>
                  <a:pt x="6063299" y="732545"/>
                  <a:pt x="6077388" y="732545"/>
                  <a:pt x="6105565" y="746632"/>
                </a:cubicBezTo>
                <a:cubicBezTo>
                  <a:pt x="6091476" y="746632"/>
                  <a:pt x="6091476" y="732545"/>
                  <a:pt x="6077388" y="732545"/>
                </a:cubicBezTo>
                <a:cubicBezTo>
                  <a:pt x="6091476" y="732545"/>
                  <a:pt x="6105565" y="746632"/>
                  <a:pt x="6119652" y="746632"/>
                </a:cubicBezTo>
                <a:cubicBezTo>
                  <a:pt x="6119652" y="746632"/>
                  <a:pt x="6119652" y="746632"/>
                  <a:pt x="6133741" y="760719"/>
                </a:cubicBezTo>
                <a:cubicBezTo>
                  <a:pt x="6133741" y="746632"/>
                  <a:pt x="6133741" y="746632"/>
                  <a:pt x="6133741" y="746632"/>
                </a:cubicBezTo>
                <a:lnTo>
                  <a:pt x="6127728" y="741995"/>
                </a:lnTo>
                <a:lnTo>
                  <a:pt x="6147829" y="746632"/>
                </a:lnTo>
                <a:cubicBezTo>
                  <a:pt x="6147829" y="746632"/>
                  <a:pt x="6147829" y="746632"/>
                  <a:pt x="6176005" y="760719"/>
                </a:cubicBezTo>
                <a:cubicBezTo>
                  <a:pt x="6190093" y="774808"/>
                  <a:pt x="6218269" y="788895"/>
                  <a:pt x="6246446" y="802983"/>
                </a:cubicBezTo>
                <a:cubicBezTo>
                  <a:pt x="6246446" y="802983"/>
                  <a:pt x="6246446" y="802983"/>
                  <a:pt x="6260535" y="802983"/>
                </a:cubicBezTo>
                <a:cubicBezTo>
                  <a:pt x="6274622" y="817070"/>
                  <a:pt x="6274622" y="817070"/>
                  <a:pt x="6274622" y="802983"/>
                </a:cubicBezTo>
                <a:cubicBezTo>
                  <a:pt x="6260535" y="788895"/>
                  <a:pt x="6274622" y="802983"/>
                  <a:pt x="6302799" y="817070"/>
                </a:cubicBezTo>
                <a:cubicBezTo>
                  <a:pt x="6316888" y="831157"/>
                  <a:pt x="6330975" y="831157"/>
                  <a:pt x="6330975" y="845244"/>
                </a:cubicBezTo>
                <a:cubicBezTo>
                  <a:pt x="6330975" y="845244"/>
                  <a:pt x="6345064" y="845244"/>
                  <a:pt x="6345064" y="845244"/>
                </a:cubicBezTo>
                <a:cubicBezTo>
                  <a:pt x="6359152" y="859332"/>
                  <a:pt x="6387328" y="873419"/>
                  <a:pt x="6387328" y="887506"/>
                </a:cubicBezTo>
                <a:cubicBezTo>
                  <a:pt x="6401417" y="901594"/>
                  <a:pt x="6429593" y="915681"/>
                  <a:pt x="6457770" y="929768"/>
                </a:cubicBezTo>
                <a:cubicBezTo>
                  <a:pt x="6471858" y="943856"/>
                  <a:pt x="6471858" y="943856"/>
                  <a:pt x="6471858" y="943856"/>
                </a:cubicBezTo>
                <a:cubicBezTo>
                  <a:pt x="6485946" y="943856"/>
                  <a:pt x="6514123" y="957944"/>
                  <a:pt x="6528211" y="972031"/>
                </a:cubicBezTo>
                <a:cubicBezTo>
                  <a:pt x="6528211" y="972031"/>
                  <a:pt x="6542298" y="986119"/>
                  <a:pt x="6556387" y="986119"/>
                </a:cubicBezTo>
                <a:cubicBezTo>
                  <a:pt x="6570476" y="1000206"/>
                  <a:pt x="6584563" y="1014293"/>
                  <a:pt x="6598651" y="1028381"/>
                </a:cubicBezTo>
                <a:cubicBezTo>
                  <a:pt x="6626829" y="1042468"/>
                  <a:pt x="6640916" y="1042468"/>
                  <a:pt x="6655004" y="1070642"/>
                </a:cubicBezTo>
                <a:cubicBezTo>
                  <a:pt x="6612740" y="1042468"/>
                  <a:pt x="6598651" y="1042468"/>
                  <a:pt x="6570476" y="1014293"/>
                </a:cubicBezTo>
                <a:cubicBezTo>
                  <a:pt x="6528211" y="986119"/>
                  <a:pt x="6485946" y="957944"/>
                  <a:pt x="6443681" y="943856"/>
                </a:cubicBezTo>
                <a:cubicBezTo>
                  <a:pt x="6429593" y="929768"/>
                  <a:pt x="6415505" y="929768"/>
                  <a:pt x="6401417" y="915681"/>
                </a:cubicBezTo>
                <a:cubicBezTo>
                  <a:pt x="6387328" y="901594"/>
                  <a:pt x="6373240" y="901594"/>
                  <a:pt x="6359152" y="887506"/>
                </a:cubicBezTo>
                <a:cubicBezTo>
                  <a:pt x="6345064" y="887506"/>
                  <a:pt x="6330975" y="887506"/>
                  <a:pt x="6316888" y="873419"/>
                </a:cubicBezTo>
                <a:cubicBezTo>
                  <a:pt x="6316888" y="873419"/>
                  <a:pt x="6302799" y="859332"/>
                  <a:pt x="6288711" y="859332"/>
                </a:cubicBezTo>
                <a:cubicBezTo>
                  <a:pt x="6274622" y="859332"/>
                  <a:pt x="6260535" y="845244"/>
                  <a:pt x="6246446" y="831157"/>
                </a:cubicBezTo>
                <a:cubicBezTo>
                  <a:pt x="6246446" y="831157"/>
                  <a:pt x="6246446" y="831157"/>
                  <a:pt x="6218269" y="831157"/>
                </a:cubicBezTo>
                <a:cubicBezTo>
                  <a:pt x="6218269" y="817070"/>
                  <a:pt x="6204182" y="817070"/>
                  <a:pt x="6204182" y="817070"/>
                </a:cubicBezTo>
                <a:cubicBezTo>
                  <a:pt x="6190093" y="817070"/>
                  <a:pt x="6190093" y="802983"/>
                  <a:pt x="6176005" y="802983"/>
                </a:cubicBezTo>
                <a:cubicBezTo>
                  <a:pt x="6147829" y="788895"/>
                  <a:pt x="6119652" y="788895"/>
                  <a:pt x="6091476" y="774808"/>
                </a:cubicBezTo>
                <a:cubicBezTo>
                  <a:pt x="6077388" y="760719"/>
                  <a:pt x="6063299" y="760719"/>
                  <a:pt x="6035123" y="746632"/>
                </a:cubicBezTo>
                <a:cubicBezTo>
                  <a:pt x="6035123" y="746632"/>
                  <a:pt x="6021035" y="746632"/>
                  <a:pt x="6006946" y="732545"/>
                </a:cubicBezTo>
                <a:cubicBezTo>
                  <a:pt x="5992859" y="732545"/>
                  <a:pt x="5992859" y="732545"/>
                  <a:pt x="5978770" y="718457"/>
                </a:cubicBezTo>
                <a:cubicBezTo>
                  <a:pt x="5964682" y="718457"/>
                  <a:pt x="5964682" y="718457"/>
                  <a:pt x="5950593" y="718457"/>
                </a:cubicBezTo>
                <a:cubicBezTo>
                  <a:pt x="5950593" y="718457"/>
                  <a:pt x="5936506" y="718457"/>
                  <a:pt x="5922417" y="718457"/>
                </a:cubicBezTo>
                <a:cubicBezTo>
                  <a:pt x="5894240" y="704370"/>
                  <a:pt x="5866064" y="690283"/>
                  <a:pt x="5837888" y="690283"/>
                </a:cubicBezTo>
                <a:cubicBezTo>
                  <a:pt x="5837888" y="690283"/>
                  <a:pt x="5837888" y="676196"/>
                  <a:pt x="5837888" y="676196"/>
                </a:cubicBezTo>
                <a:cubicBezTo>
                  <a:pt x="5837888" y="676196"/>
                  <a:pt x="5837888" y="676196"/>
                  <a:pt x="5823800" y="676196"/>
                </a:cubicBezTo>
                <a:cubicBezTo>
                  <a:pt x="5809711" y="676196"/>
                  <a:pt x="5809711" y="676196"/>
                  <a:pt x="5809711" y="676196"/>
                </a:cubicBezTo>
                <a:cubicBezTo>
                  <a:pt x="5809711" y="676196"/>
                  <a:pt x="5809711" y="676196"/>
                  <a:pt x="5795623" y="676196"/>
                </a:cubicBezTo>
                <a:cubicBezTo>
                  <a:pt x="5795623" y="676196"/>
                  <a:pt x="5795623" y="676196"/>
                  <a:pt x="5795623" y="662108"/>
                </a:cubicBezTo>
                <a:cubicBezTo>
                  <a:pt x="5767447" y="662108"/>
                  <a:pt x="5767447" y="662108"/>
                  <a:pt x="5753358" y="648021"/>
                </a:cubicBezTo>
                <a:cubicBezTo>
                  <a:pt x="5725182" y="648021"/>
                  <a:pt x="5697005" y="633934"/>
                  <a:pt x="5654741" y="633934"/>
                </a:cubicBezTo>
                <a:cubicBezTo>
                  <a:pt x="5640652" y="619846"/>
                  <a:pt x="5640652" y="633934"/>
                  <a:pt x="5626565" y="619846"/>
                </a:cubicBezTo>
                <a:cubicBezTo>
                  <a:pt x="5584299" y="619846"/>
                  <a:pt x="5542035" y="605759"/>
                  <a:pt x="5499771" y="591672"/>
                </a:cubicBezTo>
                <a:cubicBezTo>
                  <a:pt x="5499771" y="605759"/>
                  <a:pt x="5485682" y="605759"/>
                  <a:pt x="5471594" y="591672"/>
                </a:cubicBezTo>
                <a:cubicBezTo>
                  <a:pt x="5457506" y="591672"/>
                  <a:pt x="5457506" y="591672"/>
                  <a:pt x="5457506" y="591672"/>
                </a:cubicBezTo>
                <a:cubicBezTo>
                  <a:pt x="5415242" y="577583"/>
                  <a:pt x="5401153" y="577583"/>
                  <a:pt x="5372976" y="577583"/>
                </a:cubicBezTo>
                <a:cubicBezTo>
                  <a:pt x="5358889" y="577583"/>
                  <a:pt x="5344800" y="577583"/>
                  <a:pt x="5330712" y="577583"/>
                </a:cubicBezTo>
                <a:cubicBezTo>
                  <a:pt x="5330712" y="577583"/>
                  <a:pt x="5316625" y="577583"/>
                  <a:pt x="5302536" y="577583"/>
                </a:cubicBezTo>
                <a:cubicBezTo>
                  <a:pt x="5246183" y="577583"/>
                  <a:pt x="5175742" y="563496"/>
                  <a:pt x="5091213" y="577583"/>
                </a:cubicBezTo>
                <a:cubicBezTo>
                  <a:pt x="5063036" y="577583"/>
                  <a:pt x="5048948" y="563496"/>
                  <a:pt x="5034860" y="563496"/>
                </a:cubicBezTo>
                <a:cubicBezTo>
                  <a:pt x="5048948" y="577583"/>
                  <a:pt x="5048948" y="577583"/>
                  <a:pt x="5091213" y="577583"/>
                </a:cubicBezTo>
                <a:cubicBezTo>
                  <a:pt x="5105300" y="577583"/>
                  <a:pt x="5119389" y="577583"/>
                  <a:pt x="5133477" y="577583"/>
                </a:cubicBezTo>
                <a:cubicBezTo>
                  <a:pt x="5175742" y="577583"/>
                  <a:pt x="5203919" y="577583"/>
                  <a:pt x="5232094" y="591672"/>
                </a:cubicBezTo>
                <a:cubicBezTo>
                  <a:pt x="5232094" y="591672"/>
                  <a:pt x="5232094" y="591672"/>
                  <a:pt x="5246183" y="591672"/>
                </a:cubicBezTo>
                <a:cubicBezTo>
                  <a:pt x="5246183" y="591672"/>
                  <a:pt x="5260270" y="591672"/>
                  <a:pt x="5288447" y="591672"/>
                </a:cubicBezTo>
                <a:cubicBezTo>
                  <a:pt x="5288447" y="591672"/>
                  <a:pt x="5302536" y="591672"/>
                  <a:pt x="5302536" y="591672"/>
                </a:cubicBezTo>
                <a:cubicBezTo>
                  <a:pt x="5316625" y="591672"/>
                  <a:pt x="5330712" y="605759"/>
                  <a:pt x="5358889" y="605759"/>
                </a:cubicBezTo>
                <a:cubicBezTo>
                  <a:pt x="5401153" y="619846"/>
                  <a:pt x="5443418" y="605759"/>
                  <a:pt x="5471594" y="619846"/>
                </a:cubicBezTo>
                <a:cubicBezTo>
                  <a:pt x="5485682" y="619846"/>
                  <a:pt x="5485682" y="619846"/>
                  <a:pt x="5499771" y="619846"/>
                </a:cubicBezTo>
                <a:cubicBezTo>
                  <a:pt x="5499771" y="633934"/>
                  <a:pt x="5499771" y="633934"/>
                  <a:pt x="5485682" y="633934"/>
                </a:cubicBezTo>
                <a:cubicBezTo>
                  <a:pt x="5485682" y="633934"/>
                  <a:pt x="5457506" y="619846"/>
                  <a:pt x="5457506" y="619846"/>
                </a:cubicBezTo>
                <a:cubicBezTo>
                  <a:pt x="5443418" y="619846"/>
                  <a:pt x="5443418" y="619846"/>
                  <a:pt x="5429329" y="619846"/>
                </a:cubicBezTo>
                <a:cubicBezTo>
                  <a:pt x="5358889" y="605759"/>
                  <a:pt x="5274359" y="605759"/>
                  <a:pt x="5189830" y="591672"/>
                </a:cubicBezTo>
                <a:cubicBezTo>
                  <a:pt x="5189830" y="591672"/>
                  <a:pt x="5189830" y="591672"/>
                  <a:pt x="5175742" y="591672"/>
                </a:cubicBezTo>
                <a:cubicBezTo>
                  <a:pt x="5161654" y="591672"/>
                  <a:pt x="5161654" y="591672"/>
                  <a:pt x="5161654" y="591672"/>
                </a:cubicBezTo>
                <a:cubicBezTo>
                  <a:pt x="5147566" y="591672"/>
                  <a:pt x="5147566" y="591672"/>
                  <a:pt x="5133477" y="605759"/>
                </a:cubicBezTo>
                <a:cubicBezTo>
                  <a:pt x="5133477" y="605759"/>
                  <a:pt x="5119389" y="605759"/>
                  <a:pt x="5119389" y="605759"/>
                </a:cubicBezTo>
                <a:cubicBezTo>
                  <a:pt x="5105300" y="591672"/>
                  <a:pt x="5105300" y="591672"/>
                  <a:pt x="5091213" y="605759"/>
                </a:cubicBezTo>
                <a:cubicBezTo>
                  <a:pt x="5105300" y="605759"/>
                  <a:pt x="5119389" y="605759"/>
                  <a:pt x="5119389" y="605759"/>
                </a:cubicBezTo>
                <a:cubicBezTo>
                  <a:pt x="5119389" y="605759"/>
                  <a:pt x="5147566" y="619846"/>
                  <a:pt x="5175742" y="619846"/>
                </a:cubicBezTo>
                <a:cubicBezTo>
                  <a:pt x="5189830" y="619846"/>
                  <a:pt x="5189830" y="619846"/>
                  <a:pt x="5203919" y="619846"/>
                </a:cubicBezTo>
                <a:cubicBezTo>
                  <a:pt x="5210962" y="619846"/>
                  <a:pt x="5214484" y="619846"/>
                  <a:pt x="5218006" y="619846"/>
                </a:cubicBezTo>
                <a:lnTo>
                  <a:pt x="5221528" y="619846"/>
                </a:lnTo>
                <a:lnTo>
                  <a:pt x="5232094" y="619846"/>
                </a:lnTo>
                <a:cubicBezTo>
                  <a:pt x="5260270" y="633934"/>
                  <a:pt x="5274359" y="633934"/>
                  <a:pt x="5316625" y="633934"/>
                </a:cubicBezTo>
                <a:cubicBezTo>
                  <a:pt x="5302536" y="633934"/>
                  <a:pt x="5288447" y="633934"/>
                  <a:pt x="5274359" y="633934"/>
                </a:cubicBezTo>
                <a:cubicBezTo>
                  <a:pt x="5274359" y="633934"/>
                  <a:pt x="5288447" y="633934"/>
                  <a:pt x="5302536" y="648021"/>
                </a:cubicBezTo>
                <a:cubicBezTo>
                  <a:pt x="5302536" y="648021"/>
                  <a:pt x="5302536" y="648021"/>
                  <a:pt x="5316625" y="648021"/>
                </a:cubicBezTo>
                <a:cubicBezTo>
                  <a:pt x="5316625" y="648021"/>
                  <a:pt x="5330712" y="648021"/>
                  <a:pt x="5330712" y="648021"/>
                </a:cubicBezTo>
                <a:cubicBezTo>
                  <a:pt x="5344800" y="648021"/>
                  <a:pt x="5358889" y="648021"/>
                  <a:pt x="5372976" y="648021"/>
                </a:cubicBezTo>
                <a:cubicBezTo>
                  <a:pt x="5443418" y="648021"/>
                  <a:pt x="5499771" y="676196"/>
                  <a:pt x="5556124" y="676196"/>
                </a:cubicBezTo>
                <a:cubicBezTo>
                  <a:pt x="5556124" y="676196"/>
                  <a:pt x="5570212" y="690283"/>
                  <a:pt x="5584299" y="690283"/>
                </a:cubicBezTo>
                <a:cubicBezTo>
                  <a:pt x="5584299" y="690283"/>
                  <a:pt x="5598388" y="690283"/>
                  <a:pt x="5612477" y="690283"/>
                </a:cubicBezTo>
                <a:cubicBezTo>
                  <a:pt x="5612477" y="690283"/>
                  <a:pt x="5612477" y="690283"/>
                  <a:pt x="5626565" y="690283"/>
                </a:cubicBezTo>
                <a:cubicBezTo>
                  <a:pt x="5626565" y="690283"/>
                  <a:pt x="5626565" y="690283"/>
                  <a:pt x="5654741" y="704370"/>
                </a:cubicBezTo>
                <a:cubicBezTo>
                  <a:pt x="5654741" y="704370"/>
                  <a:pt x="5668829" y="704370"/>
                  <a:pt x="5668829" y="704370"/>
                </a:cubicBezTo>
                <a:cubicBezTo>
                  <a:pt x="5668829" y="704370"/>
                  <a:pt x="5682917" y="704370"/>
                  <a:pt x="5682917" y="704370"/>
                </a:cubicBezTo>
                <a:cubicBezTo>
                  <a:pt x="5711094" y="704370"/>
                  <a:pt x="5725182" y="718457"/>
                  <a:pt x="5739270" y="718457"/>
                </a:cubicBezTo>
                <a:cubicBezTo>
                  <a:pt x="5753358" y="732545"/>
                  <a:pt x="5753358" y="732545"/>
                  <a:pt x="5767447" y="746632"/>
                </a:cubicBezTo>
                <a:cubicBezTo>
                  <a:pt x="5781535" y="760719"/>
                  <a:pt x="5795623" y="760719"/>
                  <a:pt x="5809711" y="760719"/>
                </a:cubicBezTo>
                <a:cubicBezTo>
                  <a:pt x="5795623" y="760719"/>
                  <a:pt x="5795623" y="760719"/>
                  <a:pt x="5781535" y="760719"/>
                </a:cubicBezTo>
                <a:cubicBezTo>
                  <a:pt x="5767447" y="760719"/>
                  <a:pt x="5767447" y="760719"/>
                  <a:pt x="5767447" y="760719"/>
                </a:cubicBezTo>
                <a:cubicBezTo>
                  <a:pt x="5767447" y="760719"/>
                  <a:pt x="5781535" y="774808"/>
                  <a:pt x="5781535" y="774808"/>
                </a:cubicBezTo>
                <a:cubicBezTo>
                  <a:pt x="5795623" y="774808"/>
                  <a:pt x="5809711" y="774808"/>
                  <a:pt x="5809711" y="774808"/>
                </a:cubicBezTo>
                <a:cubicBezTo>
                  <a:pt x="5837888" y="788895"/>
                  <a:pt x="5851976" y="788895"/>
                  <a:pt x="5866064" y="802983"/>
                </a:cubicBezTo>
                <a:cubicBezTo>
                  <a:pt x="5880153" y="802983"/>
                  <a:pt x="5880153" y="802983"/>
                  <a:pt x="5880153" y="802983"/>
                </a:cubicBezTo>
                <a:cubicBezTo>
                  <a:pt x="5894240" y="802983"/>
                  <a:pt x="5894240" y="802983"/>
                  <a:pt x="5894240" y="802983"/>
                </a:cubicBezTo>
                <a:cubicBezTo>
                  <a:pt x="5922417" y="817070"/>
                  <a:pt x="5950593" y="831157"/>
                  <a:pt x="5978770" y="845244"/>
                </a:cubicBezTo>
                <a:cubicBezTo>
                  <a:pt x="6006946" y="859332"/>
                  <a:pt x="6035123" y="859332"/>
                  <a:pt x="6063299" y="887506"/>
                </a:cubicBezTo>
                <a:cubicBezTo>
                  <a:pt x="6063299" y="887506"/>
                  <a:pt x="6077388" y="901594"/>
                  <a:pt x="6077388" y="901594"/>
                </a:cubicBezTo>
                <a:cubicBezTo>
                  <a:pt x="6063299" y="887506"/>
                  <a:pt x="6105565" y="901594"/>
                  <a:pt x="6077388" y="887506"/>
                </a:cubicBezTo>
                <a:cubicBezTo>
                  <a:pt x="6063299" y="873419"/>
                  <a:pt x="6049212" y="873419"/>
                  <a:pt x="6063299" y="873419"/>
                </a:cubicBezTo>
                <a:cubicBezTo>
                  <a:pt x="6077388" y="873419"/>
                  <a:pt x="6091476" y="887506"/>
                  <a:pt x="6119652" y="901594"/>
                </a:cubicBezTo>
                <a:cubicBezTo>
                  <a:pt x="6133741" y="915681"/>
                  <a:pt x="6161916" y="929768"/>
                  <a:pt x="6190093" y="943856"/>
                </a:cubicBezTo>
                <a:cubicBezTo>
                  <a:pt x="6204182" y="957944"/>
                  <a:pt x="6232358" y="972031"/>
                  <a:pt x="6260535" y="986119"/>
                </a:cubicBezTo>
                <a:cubicBezTo>
                  <a:pt x="6260535" y="986119"/>
                  <a:pt x="6274622" y="1000206"/>
                  <a:pt x="6274622" y="986119"/>
                </a:cubicBezTo>
                <a:cubicBezTo>
                  <a:pt x="6274622" y="986119"/>
                  <a:pt x="6260535" y="986119"/>
                  <a:pt x="6260535" y="986119"/>
                </a:cubicBezTo>
                <a:cubicBezTo>
                  <a:pt x="6246446" y="972031"/>
                  <a:pt x="6218269" y="957944"/>
                  <a:pt x="6190093" y="943856"/>
                </a:cubicBezTo>
                <a:cubicBezTo>
                  <a:pt x="6190093" y="943856"/>
                  <a:pt x="6204182" y="943856"/>
                  <a:pt x="6232358" y="957944"/>
                </a:cubicBezTo>
                <a:cubicBezTo>
                  <a:pt x="6246446" y="972031"/>
                  <a:pt x="6274622" y="986119"/>
                  <a:pt x="6302799" y="1000206"/>
                </a:cubicBezTo>
                <a:cubicBezTo>
                  <a:pt x="6302799" y="1000206"/>
                  <a:pt x="6316888" y="1000206"/>
                  <a:pt x="6316888" y="1014293"/>
                </a:cubicBezTo>
                <a:cubicBezTo>
                  <a:pt x="6316888" y="1014293"/>
                  <a:pt x="6345064" y="1028381"/>
                  <a:pt x="6359152" y="1042468"/>
                </a:cubicBezTo>
                <a:cubicBezTo>
                  <a:pt x="6387328" y="1056555"/>
                  <a:pt x="6429593" y="1084730"/>
                  <a:pt x="6457770" y="1112904"/>
                </a:cubicBezTo>
                <a:cubicBezTo>
                  <a:pt x="6485946" y="1126993"/>
                  <a:pt x="6514123" y="1155168"/>
                  <a:pt x="6542298" y="1169255"/>
                </a:cubicBezTo>
                <a:cubicBezTo>
                  <a:pt x="6542298" y="1183342"/>
                  <a:pt x="6556387" y="1183342"/>
                  <a:pt x="6556387" y="1183342"/>
                </a:cubicBezTo>
                <a:cubicBezTo>
                  <a:pt x="6584563" y="1211517"/>
                  <a:pt x="6612740" y="1225604"/>
                  <a:pt x="6655004" y="1267866"/>
                </a:cubicBezTo>
                <a:cubicBezTo>
                  <a:pt x="6669093" y="1267866"/>
                  <a:pt x="6669093" y="1267866"/>
                  <a:pt x="6683181" y="1281953"/>
                </a:cubicBezTo>
                <a:cubicBezTo>
                  <a:pt x="6683181" y="1281953"/>
                  <a:pt x="6683181" y="1296041"/>
                  <a:pt x="6697269" y="1296041"/>
                </a:cubicBezTo>
                <a:cubicBezTo>
                  <a:pt x="6697269" y="1296041"/>
                  <a:pt x="6697269" y="1310129"/>
                  <a:pt x="6711357" y="1324216"/>
                </a:cubicBezTo>
                <a:cubicBezTo>
                  <a:pt x="6725446" y="1324216"/>
                  <a:pt x="6711357" y="1324216"/>
                  <a:pt x="6711357" y="1310129"/>
                </a:cubicBezTo>
                <a:cubicBezTo>
                  <a:pt x="6725446" y="1310129"/>
                  <a:pt x="6725446" y="1310129"/>
                  <a:pt x="6739534" y="1324216"/>
                </a:cubicBezTo>
                <a:cubicBezTo>
                  <a:pt x="6753622" y="1352391"/>
                  <a:pt x="6753622" y="1352391"/>
                  <a:pt x="6781799" y="1394653"/>
                </a:cubicBezTo>
                <a:cubicBezTo>
                  <a:pt x="6781799" y="1394653"/>
                  <a:pt x="6781799" y="1394653"/>
                  <a:pt x="6852240" y="1451002"/>
                </a:cubicBezTo>
                <a:cubicBezTo>
                  <a:pt x="6866328" y="1465089"/>
                  <a:pt x="6866328" y="1465089"/>
                  <a:pt x="6880416" y="1493265"/>
                </a:cubicBezTo>
                <a:cubicBezTo>
                  <a:pt x="6880416" y="1493265"/>
                  <a:pt x="6894505" y="1493265"/>
                  <a:pt x="6894505" y="1507353"/>
                </a:cubicBezTo>
                <a:cubicBezTo>
                  <a:pt x="6908593" y="1507353"/>
                  <a:pt x="6908593" y="1521440"/>
                  <a:pt x="6922681" y="1535527"/>
                </a:cubicBezTo>
                <a:cubicBezTo>
                  <a:pt x="6894505" y="1507353"/>
                  <a:pt x="6880416" y="1507353"/>
                  <a:pt x="6866328" y="1493265"/>
                </a:cubicBezTo>
                <a:cubicBezTo>
                  <a:pt x="6880416" y="1507353"/>
                  <a:pt x="6894505" y="1521440"/>
                  <a:pt x="6894505" y="1535527"/>
                </a:cubicBezTo>
                <a:lnTo>
                  <a:pt x="6908593" y="1549614"/>
                </a:lnTo>
                <a:lnTo>
                  <a:pt x="6901548" y="1549614"/>
                </a:lnTo>
                <a:cubicBezTo>
                  <a:pt x="6898027" y="1549614"/>
                  <a:pt x="6894505" y="1549614"/>
                  <a:pt x="6894505" y="1549614"/>
                </a:cubicBezTo>
                <a:cubicBezTo>
                  <a:pt x="6894505" y="1549614"/>
                  <a:pt x="6880416" y="1535527"/>
                  <a:pt x="6880416" y="1535527"/>
                </a:cubicBezTo>
                <a:cubicBezTo>
                  <a:pt x="6852240" y="1507353"/>
                  <a:pt x="6824063" y="1479178"/>
                  <a:pt x="6809975" y="1451002"/>
                </a:cubicBezTo>
                <a:cubicBezTo>
                  <a:pt x="6809975" y="1451002"/>
                  <a:pt x="6795887" y="1451002"/>
                  <a:pt x="6795887" y="1451002"/>
                </a:cubicBezTo>
                <a:cubicBezTo>
                  <a:pt x="6781799" y="1436915"/>
                  <a:pt x="6781799" y="1436915"/>
                  <a:pt x="6767710" y="1422828"/>
                </a:cubicBezTo>
                <a:cubicBezTo>
                  <a:pt x="6767710" y="1422828"/>
                  <a:pt x="6767710" y="1422828"/>
                  <a:pt x="6753622" y="1408740"/>
                </a:cubicBezTo>
                <a:cubicBezTo>
                  <a:pt x="6711357" y="1366478"/>
                  <a:pt x="6655004" y="1324216"/>
                  <a:pt x="6612740" y="1281953"/>
                </a:cubicBezTo>
                <a:cubicBezTo>
                  <a:pt x="6612740" y="1296041"/>
                  <a:pt x="6612740" y="1296041"/>
                  <a:pt x="6612740" y="1296041"/>
                </a:cubicBezTo>
                <a:cubicBezTo>
                  <a:pt x="6626829" y="1324216"/>
                  <a:pt x="6655004" y="1338304"/>
                  <a:pt x="6669093" y="1352391"/>
                </a:cubicBezTo>
                <a:cubicBezTo>
                  <a:pt x="6683181" y="1366478"/>
                  <a:pt x="6697269" y="1380566"/>
                  <a:pt x="6725446" y="1394653"/>
                </a:cubicBezTo>
                <a:cubicBezTo>
                  <a:pt x="6725446" y="1408740"/>
                  <a:pt x="6725446" y="1408740"/>
                  <a:pt x="6739534" y="1408740"/>
                </a:cubicBezTo>
                <a:cubicBezTo>
                  <a:pt x="6767710" y="1436915"/>
                  <a:pt x="6795887" y="1479178"/>
                  <a:pt x="6824063" y="1507353"/>
                </a:cubicBezTo>
                <a:cubicBezTo>
                  <a:pt x="6824063" y="1507353"/>
                  <a:pt x="6838152" y="1521440"/>
                  <a:pt x="6838152" y="1521440"/>
                </a:cubicBezTo>
                <a:cubicBezTo>
                  <a:pt x="6852240" y="1521440"/>
                  <a:pt x="6852240" y="1535527"/>
                  <a:pt x="6866328" y="1535527"/>
                </a:cubicBezTo>
                <a:cubicBezTo>
                  <a:pt x="6866328" y="1549614"/>
                  <a:pt x="6880416" y="1563702"/>
                  <a:pt x="6880416" y="1563702"/>
                </a:cubicBezTo>
                <a:cubicBezTo>
                  <a:pt x="6908593" y="1577789"/>
                  <a:pt x="6922681" y="1605964"/>
                  <a:pt x="6936769" y="1605964"/>
                </a:cubicBezTo>
                <a:cubicBezTo>
                  <a:pt x="6950858" y="1634138"/>
                  <a:pt x="6964945" y="1648227"/>
                  <a:pt x="6979034" y="1676401"/>
                </a:cubicBezTo>
                <a:cubicBezTo>
                  <a:pt x="6993122" y="1690489"/>
                  <a:pt x="6993122" y="1690489"/>
                  <a:pt x="7007211" y="1704576"/>
                </a:cubicBezTo>
                <a:cubicBezTo>
                  <a:pt x="7007211" y="1704576"/>
                  <a:pt x="7021298" y="1718663"/>
                  <a:pt x="7021298" y="1718663"/>
                </a:cubicBezTo>
                <a:cubicBezTo>
                  <a:pt x="7021298" y="1718663"/>
                  <a:pt x="7021298" y="1732751"/>
                  <a:pt x="7035386" y="1732751"/>
                </a:cubicBezTo>
                <a:cubicBezTo>
                  <a:pt x="7035386" y="1746838"/>
                  <a:pt x="7035386" y="1746838"/>
                  <a:pt x="7035386" y="1746838"/>
                </a:cubicBezTo>
                <a:cubicBezTo>
                  <a:pt x="7049475" y="1746838"/>
                  <a:pt x="7049475" y="1760925"/>
                  <a:pt x="7049475" y="1760925"/>
                </a:cubicBezTo>
                <a:cubicBezTo>
                  <a:pt x="7063564" y="1789100"/>
                  <a:pt x="7077651" y="1803188"/>
                  <a:pt x="7091739" y="1817276"/>
                </a:cubicBezTo>
                <a:cubicBezTo>
                  <a:pt x="7091739" y="1831363"/>
                  <a:pt x="7105828" y="1831363"/>
                  <a:pt x="7105828" y="1845450"/>
                </a:cubicBezTo>
                <a:cubicBezTo>
                  <a:pt x="7119917" y="1859538"/>
                  <a:pt x="7119917" y="1873625"/>
                  <a:pt x="7134004" y="1887712"/>
                </a:cubicBezTo>
                <a:cubicBezTo>
                  <a:pt x="7134004" y="1887712"/>
                  <a:pt x="7134004" y="1887712"/>
                  <a:pt x="7134004" y="1901800"/>
                </a:cubicBezTo>
                <a:cubicBezTo>
                  <a:pt x="7162181" y="1929974"/>
                  <a:pt x="7176268" y="1944061"/>
                  <a:pt x="7190357" y="1986323"/>
                </a:cubicBezTo>
                <a:cubicBezTo>
                  <a:pt x="7204445" y="2000412"/>
                  <a:pt x="7218534" y="2028587"/>
                  <a:pt x="7218534" y="2042674"/>
                </a:cubicBezTo>
                <a:cubicBezTo>
                  <a:pt x="7232621" y="2042674"/>
                  <a:pt x="7232621" y="2056761"/>
                  <a:pt x="7232621" y="2056761"/>
                </a:cubicBezTo>
                <a:cubicBezTo>
                  <a:pt x="7232621" y="2056761"/>
                  <a:pt x="7232621" y="2070849"/>
                  <a:pt x="7232621" y="2070849"/>
                </a:cubicBezTo>
                <a:cubicBezTo>
                  <a:pt x="7232621" y="2070849"/>
                  <a:pt x="7232621" y="2070849"/>
                  <a:pt x="7232621" y="2084936"/>
                </a:cubicBezTo>
                <a:cubicBezTo>
                  <a:pt x="7232621" y="2084936"/>
                  <a:pt x="7232621" y="2084936"/>
                  <a:pt x="7246710" y="2099023"/>
                </a:cubicBezTo>
                <a:cubicBezTo>
                  <a:pt x="7246710" y="2099023"/>
                  <a:pt x="7246710" y="2113110"/>
                  <a:pt x="7246710" y="2113110"/>
                </a:cubicBezTo>
                <a:cubicBezTo>
                  <a:pt x="7274887" y="2169459"/>
                  <a:pt x="7274887" y="2169459"/>
                  <a:pt x="7288974" y="2169459"/>
                </a:cubicBezTo>
                <a:cubicBezTo>
                  <a:pt x="7303063" y="2169459"/>
                  <a:pt x="7303063" y="2183548"/>
                  <a:pt x="7303063" y="2225810"/>
                </a:cubicBezTo>
                <a:cubicBezTo>
                  <a:pt x="7303063" y="2225810"/>
                  <a:pt x="7303063" y="2225810"/>
                  <a:pt x="7317151" y="2225810"/>
                </a:cubicBezTo>
                <a:cubicBezTo>
                  <a:pt x="7317151" y="2239897"/>
                  <a:pt x="7331240" y="2253985"/>
                  <a:pt x="7331240" y="2268072"/>
                </a:cubicBezTo>
                <a:cubicBezTo>
                  <a:pt x="7317151" y="2268072"/>
                  <a:pt x="7317151" y="2268072"/>
                  <a:pt x="7317151" y="2282159"/>
                </a:cubicBezTo>
                <a:cubicBezTo>
                  <a:pt x="7317151" y="2282159"/>
                  <a:pt x="7331240" y="2282159"/>
                  <a:pt x="7331240" y="2296246"/>
                </a:cubicBezTo>
                <a:cubicBezTo>
                  <a:pt x="7331240" y="2296246"/>
                  <a:pt x="7331240" y="2296246"/>
                  <a:pt x="7331240" y="2310334"/>
                </a:cubicBezTo>
                <a:cubicBezTo>
                  <a:pt x="7345327" y="2338508"/>
                  <a:pt x="7359416" y="2366684"/>
                  <a:pt x="7359416" y="2408946"/>
                </a:cubicBezTo>
                <a:cubicBezTo>
                  <a:pt x="7359416" y="2408946"/>
                  <a:pt x="7373504" y="2408946"/>
                  <a:pt x="7373504" y="2408946"/>
                </a:cubicBezTo>
                <a:cubicBezTo>
                  <a:pt x="7373504" y="2423033"/>
                  <a:pt x="7373504" y="2423033"/>
                  <a:pt x="7373504" y="2437121"/>
                </a:cubicBezTo>
                <a:cubicBezTo>
                  <a:pt x="7373504" y="2451208"/>
                  <a:pt x="7373504" y="2465295"/>
                  <a:pt x="7373504" y="2465295"/>
                </a:cubicBezTo>
                <a:cubicBezTo>
                  <a:pt x="7373504" y="2479383"/>
                  <a:pt x="7387591" y="2507557"/>
                  <a:pt x="7387591" y="2521646"/>
                </a:cubicBezTo>
                <a:cubicBezTo>
                  <a:pt x="7373504" y="2493470"/>
                  <a:pt x="7373504" y="2479383"/>
                  <a:pt x="7373504" y="2479383"/>
                </a:cubicBezTo>
                <a:cubicBezTo>
                  <a:pt x="7373504" y="2465295"/>
                  <a:pt x="7359416" y="2465295"/>
                  <a:pt x="7359416" y="2451208"/>
                </a:cubicBezTo>
                <a:cubicBezTo>
                  <a:pt x="7359416" y="2437121"/>
                  <a:pt x="7359416" y="2423033"/>
                  <a:pt x="7345327" y="2423033"/>
                </a:cubicBezTo>
                <a:cubicBezTo>
                  <a:pt x="7345327" y="2408946"/>
                  <a:pt x="7345327" y="2394859"/>
                  <a:pt x="7331240" y="2380771"/>
                </a:cubicBezTo>
                <a:cubicBezTo>
                  <a:pt x="7317151" y="2352596"/>
                  <a:pt x="7317151" y="2324421"/>
                  <a:pt x="7303063" y="2310334"/>
                </a:cubicBezTo>
                <a:cubicBezTo>
                  <a:pt x="7303063" y="2324421"/>
                  <a:pt x="7317151" y="2338508"/>
                  <a:pt x="7317151" y="2352596"/>
                </a:cubicBezTo>
                <a:cubicBezTo>
                  <a:pt x="7317151" y="2359641"/>
                  <a:pt x="7317151" y="2363162"/>
                  <a:pt x="7317151" y="2366684"/>
                </a:cubicBezTo>
                <a:cubicBezTo>
                  <a:pt x="7317151" y="2366684"/>
                  <a:pt x="7303063" y="2352596"/>
                  <a:pt x="7303063" y="2352596"/>
                </a:cubicBezTo>
                <a:cubicBezTo>
                  <a:pt x="7303063" y="2352596"/>
                  <a:pt x="7303063" y="2338508"/>
                  <a:pt x="7303063" y="2338508"/>
                </a:cubicBezTo>
                <a:cubicBezTo>
                  <a:pt x="7288974" y="2296246"/>
                  <a:pt x="7274887" y="2268072"/>
                  <a:pt x="7260798" y="2225810"/>
                </a:cubicBezTo>
                <a:cubicBezTo>
                  <a:pt x="7246710" y="2197635"/>
                  <a:pt x="7232621" y="2169459"/>
                  <a:pt x="7218534" y="2155372"/>
                </a:cubicBezTo>
                <a:cubicBezTo>
                  <a:pt x="7218534" y="2169459"/>
                  <a:pt x="7218534" y="2183548"/>
                  <a:pt x="7232621" y="2211723"/>
                </a:cubicBezTo>
                <a:cubicBezTo>
                  <a:pt x="7246710" y="2239897"/>
                  <a:pt x="7260798" y="2268072"/>
                  <a:pt x="7274887" y="2296246"/>
                </a:cubicBezTo>
                <a:cubicBezTo>
                  <a:pt x="7274887" y="2324421"/>
                  <a:pt x="7288974" y="2338508"/>
                  <a:pt x="7303063" y="2352596"/>
                </a:cubicBezTo>
                <a:cubicBezTo>
                  <a:pt x="7303063" y="2352596"/>
                  <a:pt x="7303063" y="2366684"/>
                  <a:pt x="7303063" y="2380771"/>
                </a:cubicBezTo>
                <a:cubicBezTo>
                  <a:pt x="7317151" y="2380771"/>
                  <a:pt x="7317151" y="2394859"/>
                  <a:pt x="7317151" y="2394859"/>
                </a:cubicBezTo>
                <a:cubicBezTo>
                  <a:pt x="7317151" y="2408946"/>
                  <a:pt x="7331240" y="2437121"/>
                  <a:pt x="7331240" y="2451208"/>
                </a:cubicBezTo>
                <a:cubicBezTo>
                  <a:pt x="7331240" y="2451208"/>
                  <a:pt x="7331240" y="2451208"/>
                  <a:pt x="7331240" y="2465295"/>
                </a:cubicBezTo>
                <a:cubicBezTo>
                  <a:pt x="7345327" y="2465295"/>
                  <a:pt x="7345327" y="2479383"/>
                  <a:pt x="7345327" y="2479383"/>
                </a:cubicBezTo>
                <a:cubicBezTo>
                  <a:pt x="7359416" y="2493470"/>
                  <a:pt x="7359416" y="2507557"/>
                  <a:pt x="7373504" y="2549821"/>
                </a:cubicBezTo>
                <a:cubicBezTo>
                  <a:pt x="7373504" y="2549821"/>
                  <a:pt x="7373504" y="2549821"/>
                  <a:pt x="7373504" y="2563908"/>
                </a:cubicBezTo>
                <a:cubicBezTo>
                  <a:pt x="7373504" y="2563908"/>
                  <a:pt x="7373504" y="2563908"/>
                  <a:pt x="7387591" y="2563908"/>
                </a:cubicBezTo>
                <a:cubicBezTo>
                  <a:pt x="7387591" y="2563908"/>
                  <a:pt x="7387591" y="2563908"/>
                  <a:pt x="7387591" y="2577995"/>
                </a:cubicBezTo>
                <a:cubicBezTo>
                  <a:pt x="7387591" y="2577995"/>
                  <a:pt x="7387591" y="2577995"/>
                  <a:pt x="7387591" y="2592082"/>
                </a:cubicBezTo>
                <a:cubicBezTo>
                  <a:pt x="7387591" y="2606170"/>
                  <a:pt x="7387591" y="2606170"/>
                  <a:pt x="7401680" y="2620257"/>
                </a:cubicBezTo>
                <a:cubicBezTo>
                  <a:pt x="7401680" y="2620257"/>
                  <a:pt x="7401680" y="2620257"/>
                  <a:pt x="7401680" y="2634344"/>
                </a:cubicBezTo>
                <a:cubicBezTo>
                  <a:pt x="7401680" y="2648431"/>
                  <a:pt x="7415769" y="2662519"/>
                  <a:pt x="7415769" y="2676606"/>
                </a:cubicBezTo>
                <a:cubicBezTo>
                  <a:pt x="7401680" y="2676606"/>
                  <a:pt x="7401680" y="2676606"/>
                  <a:pt x="7401680" y="2662519"/>
                </a:cubicBezTo>
                <a:cubicBezTo>
                  <a:pt x="7401680" y="2662519"/>
                  <a:pt x="7401680" y="2676606"/>
                  <a:pt x="7401680" y="2690693"/>
                </a:cubicBezTo>
                <a:cubicBezTo>
                  <a:pt x="7401680" y="2676606"/>
                  <a:pt x="7387591" y="2676606"/>
                  <a:pt x="7387591" y="2662519"/>
                </a:cubicBezTo>
                <a:cubicBezTo>
                  <a:pt x="7387591" y="2648431"/>
                  <a:pt x="7387591" y="2634344"/>
                  <a:pt x="7373504" y="2620257"/>
                </a:cubicBezTo>
                <a:cubicBezTo>
                  <a:pt x="7373504" y="2606170"/>
                  <a:pt x="7373504" y="2592082"/>
                  <a:pt x="7359416" y="2577995"/>
                </a:cubicBezTo>
                <a:cubicBezTo>
                  <a:pt x="7359416" y="2577995"/>
                  <a:pt x="7359416" y="2549821"/>
                  <a:pt x="7345327" y="2535733"/>
                </a:cubicBezTo>
                <a:cubicBezTo>
                  <a:pt x="7345327" y="2493470"/>
                  <a:pt x="7331240" y="2465295"/>
                  <a:pt x="7317151" y="2451208"/>
                </a:cubicBezTo>
                <a:cubicBezTo>
                  <a:pt x="7317151" y="2451208"/>
                  <a:pt x="7317151" y="2423033"/>
                  <a:pt x="7317151" y="2423033"/>
                </a:cubicBezTo>
                <a:cubicBezTo>
                  <a:pt x="7303063" y="2423033"/>
                  <a:pt x="7303063" y="2423033"/>
                  <a:pt x="7303063" y="2423033"/>
                </a:cubicBezTo>
                <a:cubicBezTo>
                  <a:pt x="7303063" y="2408946"/>
                  <a:pt x="7303063" y="2408946"/>
                  <a:pt x="7303063" y="2394859"/>
                </a:cubicBezTo>
                <a:cubicBezTo>
                  <a:pt x="7288974" y="2380771"/>
                  <a:pt x="7274887" y="2352596"/>
                  <a:pt x="7260798" y="2324421"/>
                </a:cubicBezTo>
                <a:cubicBezTo>
                  <a:pt x="7260798" y="2296246"/>
                  <a:pt x="7246710" y="2268072"/>
                  <a:pt x="7232621" y="2239897"/>
                </a:cubicBezTo>
                <a:lnTo>
                  <a:pt x="7232621" y="2253985"/>
                </a:lnTo>
                <a:cubicBezTo>
                  <a:pt x="7218534" y="2211723"/>
                  <a:pt x="7204445" y="2197635"/>
                  <a:pt x="7176268" y="2169459"/>
                </a:cubicBezTo>
                <a:cubicBezTo>
                  <a:pt x="7176268" y="2169459"/>
                  <a:pt x="7190357" y="2183548"/>
                  <a:pt x="7190357" y="2197635"/>
                </a:cubicBezTo>
                <a:cubicBezTo>
                  <a:pt x="7204445" y="2225810"/>
                  <a:pt x="7204445" y="2239897"/>
                  <a:pt x="7218534" y="2253985"/>
                </a:cubicBezTo>
                <a:cubicBezTo>
                  <a:pt x="7218534" y="2253985"/>
                  <a:pt x="7218534" y="2268072"/>
                  <a:pt x="7218534" y="2268072"/>
                </a:cubicBezTo>
                <a:cubicBezTo>
                  <a:pt x="7232621" y="2282159"/>
                  <a:pt x="7232621" y="2324421"/>
                  <a:pt x="7246710" y="2324421"/>
                </a:cubicBezTo>
                <a:cubicBezTo>
                  <a:pt x="7246710" y="2324421"/>
                  <a:pt x="7246710" y="2338508"/>
                  <a:pt x="7246710" y="2352596"/>
                </a:cubicBezTo>
                <a:cubicBezTo>
                  <a:pt x="7246710" y="2338508"/>
                  <a:pt x="7232621" y="2338508"/>
                  <a:pt x="7232621" y="2324421"/>
                </a:cubicBezTo>
                <a:cubicBezTo>
                  <a:pt x="7232621" y="2324421"/>
                  <a:pt x="7232621" y="2324421"/>
                  <a:pt x="7232621" y="2338508"/>
                </a:cubicBezTo>
                <a:cubicBezTo>
                  <a:pt x="7218534" y="2324421"/>
                  <a:pt x="7218534" y="2296246"/>
                  <a:pt x="7204445" y="2282159"/>
                </a:cubicBezTo>
                <a:cubicBezTo>
                  <a:pt x="7204445" y="2268072"/>
                  <a:pt x="7190357" y="2268072"/>
                  <a:pt x="7190357" y="2239897"/>
                </a:cubicBezTo>
                <a:cubicBezTo>
                  <a:pt x="7190357" y="2225810"/>
                  <a:pt x="7176268" y="2211723"/>
                  <a:pt x="7176268" y="2197635"/>
                </a:cubicBezTo>
                <a:cubicBezTo>
                  <a:pt x="7162181" y="2197635"/>
                  <a:pt x="7162181" y="2197635"/>
                  <a:pt x="7162181" y="2183548"/>
                </a:cubicBezTo>
                <a:cubicBezTo>
                  <a:pt x="7162181" y="2197635"/>
                  <a:pt x="7162181" y="2211723"/>
                  <a:pt x="7176268" y="2225810"/>
                </a:cubicBezTo>
                <a:cubicBezTo>
                  <a:pt x="7176268" y="2253985"/>
                  <a:pt x="7190357" y="2268072"/>
                  <a:pt x="7190357" y="2296246"/>
                </a:cubicBezTo>
                <a:cubicBezTo>
                  <a:pt x="7204445" y="2296246"/>
                  <a:pt x="7204445" y="2296246"/>
                  <a:pt x="7204445" y="2310334"/>
                </a:cubicBezTo>
                <a:cubicBezTo>
                  <a:pt x="7204445" y="2310334"/>
                  <a:pt x="7204445" y="2310334"/>
                  <a:pt x="7204445" y="2324421"/>
                </a:cubicBezTo>
                <a:cubicBezTo>
                  <a:pt x="7218534" y="2352596"/>
                  <a:pt x="7232621" y="2380771"/>
                  <a:pt x="7246710" y="2408946"/>
                </a:cubicBezTo>
                <a:cubicBezTo>
                  <a:pt x="7260798" y="2437121"/>
                  <a:pt x="7274887" y="2465295"/>
                  <a:pt x="7274887" y="2479383"/>
                </a:cubicBezTo>
                <a:cubicBezTo>
                  <a:pt x="7288974" y="2493470"/>
                  <a:pt x="7288974" y="2493470"/>
                  <a:pt x="7288974" y="2493470"/>
                </a:cubicBezTo>
                <a:cubicBezTo>
                  <a:pt x="7288974" y="2493470"/>
                  <a:pt x="7288974" y="2493470"/>
                  <a:pt x="7288974" y="2521646"/>
                </a:cubicBezTo>
                <a:cubicBezTo>
                  <a:pt x="7303063" y="2549821"/>
                  <a:pt x="7317151" y="2577995"/>
                  <a:pt x="7317151" y="2606170"/>
                </a:cubicBezTo>
                <a:cubicBezTo>
                  <a:pt x="7331240" y="2620257"/>
                  <a:pt x="7331240" y="2634344"/>
                  <a:pt x="7331240" y="2648431"/>
                </a:cubicBezTo>
                <a:cubicBezTo>
                  <a:pt x="7345327" y="2662519"/>
                  <a:pt x="7331240" y="2676606"/>
                  <a:pt x="7345327" y="2690693"/>
                </a:cubicBezTo>
                <a:cubicBezTo>
                  <a:pt x="7331240" y="2676606"/>
                  <a:pt x="7331240" y="2676606"/>
                  <a:pt x="7331240" y="2662519"/>
                </a:cubicBezTo>
                <a:cubicBezTo>
                  <a:pt x="7317151" y="2662519"/>
                  <a:pt x="7317151" y="2634344"/>
                  <a:pt x="7303063" y="2620257"/>
                </a:cubicBezTo>
                <a:cubicBezTo>
                  <a:pt x="7303063" y="2606170"/>
                  <a:pt x="7303063" y="2606170"/>
                  <a:pt x="7303063" y="2606170"/>
                </a:cubicBezTo>
                <a:cubicBezTo>
                  <a:pt x="7303063" y="2606170"/>
                  <a:pt x="7303063" y="2606170"/>
                  <a:pt x="7303063" y="2592082"/>
                </a:cubicBezTo>
                <a:cubicBezTo>
                  <a:pt x="7303063" y="2592082"/>
                  <a:pt x="7303063" y="2592082"/>
                  <a:pt x="7288974" y="2577995"/>
                </a:cubicBezTo>
                <a:cubicBezTo>
                  <a:pt x="7288974" y="2577995"/>
                  <a:pt x="7288974" y="2577995"/>
                  <a:pt x="7288974" y="2563908"/>
                </a:cubicBezTo>
                <a:cubicBezTo>
                  <a:pt x="7288974" y="2563908"/>
                  <a:pt x="7288974" y="2563908"/>
                  <a:pt x="7288974" y="2549821"/>
                </a:cubicBezTo>
                <a:cubicBezTo>
                  <a:pt x="7274887" y="2549821"/>
                  <a:pt x="7274887" y="2549821"/>
                  <a:pt x="7274887" y="2549821"/>
                </a:cubicBezTo>
                <a:cubicBezTo>
                  <a:pt x="7288974" y="2563908"/>
                  <a:pt x="7288974" y="2577995"/>
                  <a:pt x="7288974" y="2606170"/>
                </a:cubicBezTo>
                <a:cubicBezTo>
                  <a:pt x="7303063" y="2606170"/>
                  <a:pt x="7303063" y="2620257"/>
                  <a:pt x="7303063" y="2634344"/>
                </a:cubicBezTo>
                <a:cubicBezTo>
                  <a:pt x="7317151" y="2648431"/>
                  <a:pt x="7317151" y="2676606"/>
                  <a:pt x="7331240" y="2704782"/>
                </a:cubicBezTo>
                <a:cubicBezTo>
                  <a:pt x="7331240" y="2718869"/>
                  <a:pt x="7331240" y="2732957"/>
                  <a:pt x="7345327" y="2761131"/>
                </a:cubicBezTo>
                <a:cubicBezTo>
                  <a:pt x="7345327" y="2761131"/>
                  <a:pt x="7345327" y="2775218"/>
                  <a:pt x="7345327" y="2775218"/>
                </a:cubicBezTo>
                <a:cubicBezTo>
                  <a:pt x="7345327" y="2775218"/>
                  <a:pt x="7345327" y="2789306"/>
                  <a:pt x="7345327" y="2789306"/>
                </a:cubicBezTo>
                <a:cubicBezTo>
                  <a:pt x="7331240" y="2761131"/>
                  <a:pt x="7317151" y="2718869"/>
                  <a:pt x="7303063" y="2690693"/>
                </a:cubicBezTo>
                <a:cubicBezTo>
                  <a:pt x="7303063" y="2676606"/>
                  <a:pt x="7303063" y="2662519"/>
                  <a:pt x="7288974" y="2648431"/>
                </a:cubicBezTo>
                <a:cubicBezTo>
                  <a:pt x="7288974" y="2620257"/>
                  <a:pt x="7274887" y="2606170"/>
                  <a:pt x="7274887" y="2592082"/>
                </a:cubicBezTo>
                <a:cubicBezTo>
                  <a:pt x="7260798" y="2549821"/>
                  <a:pt x="7246710" y="2521646"/>
                  <a:pt x="7232621" y="2479383"/>
                </a:cubicBezTo>
                <a:cubicBezTo>
                  <a:pt x="7218534" y="2465295"/>
                  <a:pt x="7218534" y="2437121"/>
                  <a:pt x="7204445" y="2408946"/>
                </a:cubicBezTo>
                <a:cubicBezTo>
                  <a:pt x="7190357" y="2394859"/>
                  <a:pt x="7190357" y="2394859"/>
                  <a:pt x="7190357" y="2394859"/>
                </a:cubicBezTo>
                <a:cubicBezTo>
                  <a:pt x="7190357" y="2394859"/>
                  <a:pt x="7176268" y="2380771"/>
                  <a:pt x="7162181" y="2352596"/>
                </a:cubicBezTo>
                <a:cubicBezTo>
                  <a:pt x="7162181" y="2338508"/>
                  <a:pt x="7162181" y="2338508"/>
                  <a:pt x="7162181" y="2324421"/>
                </a:cubicBezTo>
                <a:cubicBezTo>
                  <a:pt x="7162181" y="2324421"/>
                  <a:pt x="7148092" y="2324421"/>
                  <a:pt x="7148092" y="2324421"/>
                </a:cubicBezTo>
                <a:cubicBezTo>
                  <a:pt x="7148092" y="2324421"/>
                  <a:pt x="7148092" y="2324421"/>
                  <a:pt x="7148092" y="2310334"/>
                </a:cubicBezTo>
                <a:cubicBezTo>
                  <a:pt x="7134004" y="2282159"/>
                  <a:pt x="7119917" y="2268072"/>
                  <a:pt x="7119917" y="2253985"/>
                </a:cubicBezTo>
                <a:cubicBezTo>
                  <a:pt x="7105828" y="2239897"/>
                  <a:pt x="7091739" y="2225810"/>
                  <a:pt x="7077651" y="2183548"/>
                </a:cubicBezTo>
                <a:cubicBezTo>
                  <a:pt x="7077651" y="2183548"/>
                  <a:pt x="7063564" y="2169459"/>
                  <a:pt x="7063564" y="2169459"/>
                </a:cubicBezTo>
                <a:cubicBezTo>
                  <a:pt x="7063564" y="2155372"/>
                  <a:pt x="7049475" y="2141285"/>
                  <a:pt x="7049475" y="2127198"/>
                </a:cubicBezTo>
                <a:cubicBezTo>
                  <a:pt x="7035386" y="2127198"/>
                  <a:pt x="7035386" y="2113110"/>
                  <a:pt x="7021298" y="2099023"/>
                </a:cubicBezTo>
                <a:cubicBezTo>
                  <a:pt x="7007211" y="2084936"/>
                  <a:pt x="7007211" y="2070849"/>
                  <a:pt x="6979034" y="2042674"/>
                </a:cubicBezTo>
                <a:cubicBezTo>
                  <a:pt x="6979034" y="2042674"/>
                  <a:pt x="6979034" y="2042674"/>
                  <a:pt x="6979034" y="2028587"/>
                </a:cubicBezTo>
                <a:cubicBezTo>
                  <a:pt x="6964945" y="2014499"/>
                  <a:pt x="6950858" y="2000412"/>
                  <a:pt x="6936769" y="1986323"/>
                </a:cubicBezTo>
                <a:cubicBezTo>
                  <a:pt x="6936769" y="1986323"/>
                  <a:pt x="6936769" y="1986323"/>
                  <a:pt x="6936769" y="2000412"/>
                </a:cubicBezTo>
                <a:cubicBezTo>
                  <a:pt x="6936769" y="2000412"/>
                  <a:pt x="6950858" y="2000412"/>
                  <a:pt x="6950858" y="2014499"/>
                </a:cubicBezTo>
                <a:cubicBezTo>
                  <a:pt x="6964945" y="2014499"/>
                  <a:pt x="6964945" y="2028587"/>
                  <a:pt x="6964945" y="2042674"/>
                </a:cubicBezTo>
                <a:cubicBezTo>
                  <a:pt x="6964945" y="2042674"/>
                  <a:pt x="6979034" y="2056761"/>
                  <a:pt x="6979034" y="2056761"/>
                </a:cubicBezTo>
                <a:cubicBezTo>
                  <a:pt x="6993122" y="2070849"/>
                  <a:pt x="7007211" y="2099023"/>
                  <a:pt x="7021298" y="2127198"/>
                </a:cubicBezTo>
                <a:cubicBezTo>
                  <a:pt x="7035386" y="2127198"/>
                  <a:pt x="7035386" y="2141285"/>
                  <a:pt x="7035386" y="2155372"/>
                </a:cubicBezTo>
                <a:cubicBezTo>
                  <a:pt x="7063564" y="2211723"/>
                  <a:pt x="7077651" y="2225810"/>
                  <a:pt x="7091739" y="2253985"/>
                </a:cubicBezTo>
                <a:cubicBezTo>
                  <a:pt x="7091739" y="2253985"/>
                  <a:pt x="7091739" y="2253985"/>
                  <a:pt x="7077651" y="2239897"/>
                </a:cubicBezTo>
                <a:cubicBezTo>
                  <a:pt x="7063564" y="2211723"/>
                  <a:pt x="7035386" y="2183548"/>
                  <a:pt x="7021298" y="2155372"/>
                </a:cubicBezTo>
                <a:cubicBezTo>
                  <a:pt x="7021298" y="2155372"/>
                  <a:pt x="7021298" y="2141285"/>
                  <a:pt x="7007211" y="2141285"/>
                </a:cubicBezTo>
                <a:cubicBezTo>
                  <a:pt x="7007211" y="2141285"/>
                  <a:pt x="7007211" y="2141285"/>
                  <a:pt x="7007211" y="2127198"/>
                </a:cubicBezTo>
                <a:cubicBezTo>
                  <a:pt x="7007211" y="2127198"/>
                  <a:pt x="6993122" y="2113110"/>
                  <a:pt x="6993122" y="2099023"/>
                </a:cubicBezTo>
                <a:cubicBezTo>
                  <a:pt x="6993122" y="2099023"/>
                  <a:pt x="6993122" y="2099023"/>
                  <a:pt x="6979034" y="2084936"/>
                </a:cubicBezTo>
                <a:cubicBezTo>
                  <a:pt x="6979034" y="2084936"/>
                  <a:pt x="6979034" y="2084936"/>
                  <a:pt x="6979034" y="2070849"/>
                </a:cubicBezTo>
                <a:cubicBezTo>
                  <a:pt x="6964945" y="2070849"/>
                  <a:pt x="6964945" y="2056761"/>
                  <a:pt x="6964945" y="2056761"/>
                </a:cubicBezTo>
                <a:cubicBezTo>
                  <a:pt x="6950858" y="2056761"/>
                  <a:pt x="6950858" y="2056761"/>
                  <a:pt x="6950858" y="2042674"/>
                </a:cubicBezTo>
                <a:cubicBezTo>
                  <a:pt x="6950858" y="2042674"/>
                  <a:pt x="6936769" y="2042674"/>
                  <a:pt x="6936769" y="2028587"/>
                </a:cubicBezTo>
                <a:cubicBezTo>
                  <a:pt x="6936769" y="2014499"/>
                  <a:pt x="6936769" y="2014499"/>
                  <a:pt x="6936769" y="2014499"/>
                </a:cubicBezTo>
                <a:cubicBezTo>
                  <a:pt x="6922681" y="2014499"/>
                  <a:pt x="6922681" y="2000412"/>
                  <a:pt x="6908593" y="2000412"/>
                </a:cubicBezTo>
                <a:cubicBezTo>
                  <a:pt x="6908593" y="2000412"/>
                  <a:pt x="6908593" y="2000412"/>
                  <a:pt x="6908593" y="1986323"/>
                </a:cubicBezTo>
                <a:cubicBezTo>
                  <a:pt x="6894505" y="1972236"/>
                  <a:pt x="6880416" y="1958149"/>
                  <a:pt x="6866328" y="1944061"/>
                </a:cubicBezTo>
                <a:cubicBezTo>
                  <a:pt x="6866328" y="1929974"/>
                  <a:pt x="6866328" y="1929974"/>
                  <a:pt x="6866328" y="1929974"/>
                </a:cubicBezTo>
                <a:cubicBezTo>
                  <a:pt x="6866328" y="1929974"/>
                  <a:pt x="6852240" y="1915887"/>
                  <a:pt x="6852240" y="1915887"/>
                </a:cubicBezTo>
                <a:cubicBezTo>
                  <a:pt x="6838152" y="1901800"/>
                  <a:pt x="6824063" y="1887712"/>
                  <a:pt x="6809975" y="1873625"/>
                </a:cubicBezTo>
                <a:cubicBezTo>
                  <a:pt x="6795887" y="1859538"/>
                  <a:pt x="6781799" y="1845450"/>
                  <a:pt x="6781799" y="1831363"/>
                </a:cubicBezTo>
                <a:cubicBezTo>
                  <a:pt x="6781799" y="1831363"/>
                  <a:pt x="6767710" y="1831363"/>
                  <a:pt x="6767710" y="1831363"/>
                </a:cubicBezTo>
                <a:cubicBezTo>
                  <a:pt x="6767710" y="1817276"/>
                  <a:pt x="6767710" y="1817276"/>
                  <a:pt x="6753622" y="1803188"/>
                </a:cubicBezTo>
                <a:cubicBezTo>
                  <a:pt x="6739534" y="1803188"/>
                  <a:pt x="6725446" y="1789100"/>
                  <a:pt x="6711357" y="1760925"/>
                </a:cubicBezTo>
                <a:cubicBezTo>
                  <a:pt x="6711357" y="1760925"/>
                  <a:pt x="6711357" y="1760925"/>
                  <a:pt x="6697269" y="1760925"/>
                </a:cubicBezTo>
                <a:cubicBezTo>
                  <a:pt x="6697269" y="1746838"/>
                  <a:pt x="6697269" y="1746838"/>
                  <a:pt x="6697269" y="1746838"/>
                </a:cubicBezTo>
                <a:cubicBezTo>
                  <a:pt x="6697269" y="1746838"/>
                  <a:pt x="6697269" y="1746838"/>
                  <a:pt x="6683181" y="1732751"/>
                </a:cubicBezTo>
                <a:cubicBezTo>
                  <a:pt x="6683181" y="1732751"/>
                  <a:pt x="6669093" y="1718663"/>
                  <a:pt x="6655004" y="1704576"/>
                </a:cubicBezTo>
                <a:cubicBezTo>
                  <a:pt x="6640916" y="1704576"/>
                  <a:pt x="6640916" y="1690489"/>
                  <a:pt x="6640916" y="1690489"/>
                </a:cubicBezTo>
                <a:cubicBezTo>
                  <a:pt x="6626829" y="1690489"/>
                  <a:pt x="6626829" y="1690489"/>
                  <a:pt x="6612740" y="1676401"/>
                </a:cubicBezTo>
                <a:cubicBezTo>
                  <a:pt x="6612740" y="1662314"/>
                  <a:pt x="6598651" y="1662314"/>
                  <a:pt x="6598651" y="1662314"/>
                </a:cubicBezTo>
                <a:cubicBezTo>
                  <a:pt x="6598651" y="1662314"/>
                  <a:pt x="6598651" y="1662314"/>
                  <a:pt x="6598651" y="1648227"/>
                </a:cubicBezTo>
                <a:cubicBezTo>
                  <a:pt x="6598651" y="1648227"/>
                  <a:pt x="6598651" y="1648227"/>
                  <a:pt x="6584563" y="1648227"/>
                </a:cubicBezTo>
                <a:cubicBezTo>
                  <a:pt x="6584563" y="1648227"/>
                  <a:pt x="6584563" y="1648227"/>
                  <a:pt x="6570476" y="1634138"/>
                </a:cubicBezTo>
                <a:cubicBezTo>
                  <a:pt x="6570476" y="1634138"/>
                  <a:pt x="6556387" y="1620051"/>
                  <a:pt x="6556387" y="1620051"/>
                </a:cubicBezTo>
                <a:cubicBezTo>
                  <a:pt x="6542298" y="1605964"/>
                  <a:pt x="6542298" y="1605964"/>
                  <a:pt x="6542298" y="1605964"/>
                </a:cubicBezTo>
                <a:cubicBezTo>
                  <a:pt x="6528211" y="1591876"/>
                  <a:pt x="6500034" y="1577789"/>
                  <a:pt x="6485946" y="1563702"/>
                </a:cubicBezTo>
                <a:cubicBezTo>
                  <a:pt x="6471858" y="1563702"/>
                  <a:pt x="6457770" y="1535527"/>
                  <a:pt x="6457770" y="1535527"/>
                </a:cubicBezTo>
                <a:cubicBezTo>
                  <a:pt x="6457770" y="1535527"/>
                  <a:pt x="6443681" y="1535527"/>
                  <a:pt x="6443681" y="1535527"/>
                </a:cubicBezTo>
                <a:cubicBezTo>
                  <a:pt x="6443681" y="1535527"/>
                  <a:pt x="6457770" y="1549614"/>
                  <a:pt x="6471858" y="1563702"/>
                </a:cubicBezTo>
                <a:cubicBezTo>
                  <a:pt x="6471858" y="1577789"/>
                  <a:pt x="6471858" y="1577789"/>
                  <a:pt x="6471858" y="1577789"/>
                </a:cubicBezTo>
                <a:cubicBezTo>
                  <a:pt x="6471858" y="1577789"/>
                  <a:pt x="6471858" y="1577789"/>
                  <a:pt x="6485946" y="1591876"/>
                </a:cubicBezTo>
                <a:cubicBezTo>
                  <a:pt x="6485946" y="1591876"/>
                  <a:pt x="6485946" y="1591876"/>
                  <a:pt x="6500034" y="1605964"/>
                </a:cubicBezTo>
                <a:cubicBezTo>
                  <a:pt x="6514123" y="1620051"/>
                  <a:pt x="6514123" y="1620051"/>
                  <a:pt x="6514123" y="1620051"/>
                </a:cubicBezTo>
                <a:cubicBezTo>
                  <a:pt x="6500034" y="1605964"/>
                  <a:pt x="6500034" y="1605964"/>
                  <a:pt x="6485946" y="1605964"/>
                </a:cubicBezTo>
                <a:cubicBezTo>
                  <a:pt x="6471858" y="1591876"/>
                  <a:pt x="6471858" y="1591876"/>
                  <a:pt x="6471858" y="1591876"/>
                </a:cubicBezTo>
                <a:cubicBezTo>
                  <a:pt x="6471858" y="1591876"/>
                  <a:pt x="6471858" y="1591876"/>
                  <a:pt x="6457770" y="1591876"/>
                </a:cubicBezTo>
                <a:cubicBezTo>
                  <a:pt x="6443681" y="1577789"/>
                  <a:pt x="6443681" y="1563702"/>
                  <a:pt x="6443681" y="1563702"/>
                </a:cubicBezTo>
                <a:cubicBezTo>
                  <a:pt x="6436637" y="1556658"/>
                  <a:pt x="6433114" y="1549614"/>
                  <a:pt x="6427832" y="1542571"/>
                </a:cubicBezTo>
                <a:lnTo>
                  <a:pt x="6414624" y="1532005"/>
                </a:lnTo>
                <a:lnTo>
                  <a:pt x="6413744" y="1528484"/>
                </a:lnTo>
                <a:cubicBezTo>
                  <a:pt x="6411983" y="1524962"/>
                  <a:pt x="6408462" y="1521440"/>
                  <a:pt x="6401417" y="1521440"/>
                </a:cubicBezTo>
                <a:cubicBezTo>
                  <a:pt x="6387328" y="1521440"/>
                  <a:pt x="6387328" y="1521440"/>
                  <a:pt x="6387328" y="1507353"/>
                </a:cubicBezTo>
                <a:cubicBezTo>
                  <a:pt x="6387328" y="1507353"/>
                  <a:pt x="6387328" y="1507353"/>
                  <a:pt x="6373240" y="1507353"/>
                </a:cubicBezTo>
                <a:cubicBezTo>
                  <a:pt x="6387328" y="1521440"/>
                  <a:pt x="6401417" y="1535527"/>
                  <a:pt x="6415505" y="1549614"/>
                </a:cubicBezTo>
                <a:cubicBezTo>
                  <a:pt x="6387328" y="1535527"/>
                  <a:pt x="6359152" y="1507353"/>
                  <a:pt x="6330975" y="1479178"/>
                </a:cubicBezTo>
                <a:cubicBezTo>
                  <a:pt x="6330975" y="1479178"/>
                  <a:pt x="6330975" y="1465089"/>
                  <a:pt x="6330975" y="1465089"/>
                </a:cubicBezTo>
                <a:cubicBezTo>
                  <a:pt x="6345064" y="1479178"/>
                  <a:pt x="6330975" y="1465089"/>
                  <a:pt x="6330975" y="1465089"/>
                </a:cubicBezTo>
                <a:cubicBezTo>
                  <a:pt x="6330975" y="1465089"/>
                  <a:pt x="6316888" y="1451002"/>
                  <a:pt x="6316888" y="1465089"/>
                </a:cubicBezTo>
                <a:cubicBezTo>
                  <a:pt x="6316888" y="1465089"/>
                  <a:pt x="6316888" y="1465089"/>
                  <a:pt x="6302799" y="1451002"/>
                </a:cubicBezTo>
                <a:cubicBezTo>
                  <a:pt x="6288711" y="1436915"/>
                  <a:pt x="6260535" y="1422828"/>
                  <a:pt x="6246446" y="1408740"/>
                </a:cubicBezTo>
                <a:cubicBezTo>
                  <a:pt x="6246446" y="1408740"/>
                  <a:pt x="6242925" y="1408740"/>
                  <a:pt x="6239403" y="1408740"/>
                </a:cubicBezTo>
                <a:lnTo>
                  <a:pt x="6237641" y="1408740"/>
                </a:lnTo>
                <a:cubicBezTo>
                  <a:pt x="6235880" y="1408740"/>
                  <a:pt x="6232358" y="1408740"/>
                  <a:pt x="6232358" y="1408740"/>
                </a:cubicBezTo>
                <a:cubicBezTo>
                  <a:pt x="6218269" y="1408740"/>
                  <a:pt x="6204182" y="1394653"/>
                  <a:pt x="6204182" y="1394653"/>
                </a:cubicBezTo>
                <a:cubicBezTo>
                  <a:pt x="6190093" y="1394653"/>
                  <a:pt x="6190093" y="1380566"/>
                  <a:pt x="6190093" y="1380566"/>
                </a:cubicBezTo>
                <a:cubicBezTo>
                  <a:pt x="6176005" y="1380566"/>
                  <a:pt x="6147829" y="1352391"/>
                  <a:pt x="6119652" y="1352391"/>
                </a:cubicBezTo>
                <a:cubicBezTo>
                  <a:pt x="6119652" y="1338304"/>
                  <a:pt x="6119652" y="1338304"/>
                  <a:pt x="6105565" y="1338304"/>
                </a:cubicBezTo>
                <a:cubicBezTo>
                  <a:pt x="6105565" y="1338304"/>
                  <a:pt x="6105565" y="1338304"/>
                  <a:pt x="6091476" y="1324216"/>
                </a:cubicBezTo>
                <a:cubicBezTo>
                  <a:pt x="6091476" y="1324216"/>
                  <a:pt x="6091476" y="1324216"/>
                  <a:pt x="6077388" y="1324216"/>
                </a:cubicBezTo>
                <a:cubicBezTo>
                  <a:pt x="6063299" y="1310129"/>
                  <a:pt x="6063299" y="1324216"/>
                  <a:pt x="6077388" y="1324216"/>
                </a:cubicBezTo>
                <a:cubicBezTo>
                  <a:pt x="6091476" y="1338304"/>
                  <a:pt x="6105565" y="1352391"/>
                  <a:pt x="6119652" y="1366478"/>
                </a:cubicBezTo>
                <a:cubicBezTo>
                  <a:pt x="6126697" y="1366478"/>
                  <a:pt x="6137262" y="1370000"/>
                  <a:pt x="6147829" y="1375282"/>
                </a:cubicBezTo>
                <a:lnTo>
                  <a:pt x="6155514" y="1380566"/>
                </a:lnTo>
                <a:lnTo>
                  <a:pt x="6154873" y="1380566"/>
                </a:lnTo>
                <a:cubicBezTo>
                  <a:pt x="6151351" y="1380566"/>
                  <a:pt x="6147829" y="1380566"/>
                  <a:pt x="6147829" y="1380566"/>
                </a:cubicBezTo>
                <a:cubicBezTo>
                  <a:pt x="6147829" y="1380566"/>
                  <a:pt x="6161916" y="1394653"/>
                  <a:pt x="6161916" y="1394653"/>
                </a:cubicBezTo>
                <a:cubicBezTo>
                  <a:pt x="6176005" y="1408740"/>
                  <a:pt x="6190093" y="1408740"/>
                  <a:pt x="6190093" y="1422828"/>
                </a:cubicBezTo>
                <a:cubicBezTo>
                  <a:pt x="6204182" y="1422828"/>
                  <a:pt x="6204182" y="1422828"/>
                  <a:pt x="6204182" y="1422828"/>
                </a:cubicBezTo>
                <a:cubicBezTo>
                  <a:pt x="6218269" y="1436915"/>
                  <a:pt x="6246446" y="1451002"/>
                  <a:pt x="6260535" y="1465089"/>
                </a:cubicBezTo>
                <a:cubicBezTo>
                  <a:pt x="6274622" y="1479178"/>
                  <a:pt x="6288711" y="1479178"/>
                  <a:pt x="6302799" y="1493265"/>
                </a:cubicBezTo>
                <a:cubicBezTo>
                  <a:pt x="6330975" y="1507353"/>
                  <a:pt x="6345064" y="1521440"/>
                  <a:pt x="6373240" y="1535527"/>
                </a:cubicBezTo>
                <a:cubicBezTo>
                  <a:pt x="6373240" y="1535527"/>
                  <a:pt x="6373240" y="1549614"/>
                  <a:pt x="6387328" y="1549614"/>
                </a:cubicBezTo>
                <a:cubicBezTo>
                  <a:pt x="6387328" y="1549614"/>
                  <a:pt x="6387328" y="1563702"/>
                  <a:pt x="6401417" y="1563702"/>
                </a:cubicBezTo>
                <a:cubicBezTo>
                  <a:pt x="6401417" y="1563702"/>
                  <a:pt x="6401417" y="1577789"/>
                  <a:pt x="6415505" y="1577789"/>
                </a:cubicBezTo>
                <a:cubicBezTo>
                  <a:pt x="6415505" y="1577789"/>
                  <a:pt x="6401417" y="1577789"/>
                  <a:pt x="6401417" y="1577789"/>
                </a:cubicBezTo>
                <a:cubicBezTo>
                  <a:pt x="6415505" y="1591876"/>
                  <a:pt x="6415505" y="1591876"/>
                  <a:pt x="6429593" y="1605964"/>
                </a:cubicBezTo>
                <a:cubicBezTo>
                  <a:pt x="6429593" y="1605964"/>
                  <a:pt x="6443681" y="1620051"/>
                  <a:pt x="6443681" y="1620051"/>
                </a:cubicBezTo>
                <a:cubicBezTo>
                  <a:pt x="6443681" y="1620051"/>
                  <a:pt x="6443681" y="1620051"/>
                  <a:pt x="6457770" y="1620051"/>
                </a:cubicBezTo>
                <a:cubicBezTo>
                  <a:pt x="6457770" y="1634138"/>
                  <a:pt x="6471858" y="1634138"/>
                  <a:pt x="6485946" y="1648227"/>
                </a:cubicBezTo>
                <a:cubicBezTo>
                  <a:pt x="6500034" y="1662314"/>
                  <a:pt x="6514123" y="1676401"/>
                  <a:pt x="6528211" y="1690489"/>
                </a:cubicBezTo>
                <a:cubicBezTo>
                  <a:pt x="6528211" y="1690489"/>
                  <a:pt x="6528211" y="1690489"/>
                  <a:pt x="6528211" y="1704576"/>
                </a:cubicBezTo>
                <a:cubicBezTo>
                  <a:pt x="6514123" y="1676401"/>
                  <a:pt x="6485946" y="1662314"/>
                  <a:pt x="6471858" y="1648227"/>
                </a:cubicBezTo>
                <a:cubicBezTo>
                  <a:pt x="6471858" y="1662314"/>
                  <a:pt x="6471858" y="1662314"/>
                  <a:pt x="6500034" y="1690489"/>
                </a:cubicBezTo>
                <a:cubicBezTo>
                  <a:pt x="6500034" y="1690489"/>
                  <a:pt x="6500034" y="1690489"/>
                  <a:pt x="6514123" y="1704576"/>
                </a:cubicBezTo>
                <a:cubicBezTo>
                  <a:pt x="6514123" y="1704576"/>
                  <a:pt x="6514123" y="1704576"/>
                  <a:pt x="6500034" y="1704576"/>
                </a:cubicBezTo>
                <a:cubicBezTo>
                  <a:pt x="6514123" y="1704576"/>
                  <a:pt x="6528211" y="1718663"/>
                  <a:pt x="6542298" y="1732751"/>
                </a:cubicBezTo>
                <a:cubicBezTo>
                  <a:pt x="6556387" y="1760925"/>
                  <a:pt x="6584563" y="1775013"/>
                  <a:pt x="6598651" y="1803188"/>
                </a:cubicBezTo>
                <a:cubicBezTo>
                  <a:pt x="6598651" y="1803188"/>
                  <a:pt x="6598651" y="1803188"/>
                  <a:pt x="6612740" y="1803188"/>
                </a:cubicBezTo>
                <a:cubicBezTo>
                  <a:pt x="6612740" y="1803188"/>
                  <a:pt x="6612740" y="1803188"/>
                  <a:pt x="6612740" y="1817276"/>
                </a:cubicBezTo>
                <a:cubicBezTo>
                  <a:pt x="6626829" y="1817276"/>
                  <a:pt x="6626829" y="1817276"/>
                  <a:pt x="6626829" y="1817276"/>
                </a:cubicBezTo>
                <a:cubicBezTo>
                  <a:pt x="6655004" y="1845450"/>
                  <a:pt x="6640916" y="1845450"/>
                  <a:pt x="6640916" y="1859538"/>
                </a:cubicBezTo>
                <a:cubicBezTo>
                  <a:pt x="6655004" y="1873625"/>
                  <a:pt x="6655004" y="1873625"/>
                  <a:pt x="6640916" y="1873625"/>
                </a:cubicBezTo>
                <a:cubicBezTo>
                  <a:pt x="6640916" y="1887712"/>
                  <a:pt x="6640916" y="1887712"/>
                  <a:pt x="6655004" y="1915887"/>
                </a:cubicBezTo>
                <a:cubicBezTo>
                  <a:pt x="6669093" y="1929974"/>
                  <a:pt x="6669093" y="1944061"/>
                  <a:pt x="6683181" y="1958149"/>
                </a:cubicBezTo>
                <a:cubicBezTo>
                  <a:pt x="6697269" y="1958149"/>
                  <a:pt x="6697269" y="1972236"/>
                  <a:pt x="6697269" y="1972236"/>
                </a:cubicBezTo>
                <a:cubicBezTo>
                  <a:pt x="6697269" y="1972236"/>
                  <a:pt x="6711357" y="1986323"/>
                  <a:pt x="6697269" y="1986323"/>
                </a:cubicBezTo>
                <a:cubicBezTo>
                  <a:pt x="6697269" y="1972236"/>
                  <a:pt x="6683181" y="1972236"/>
                  <a:pt x="6655004" y="1944061"/>
                </a:cubicBezTo>
                <a:cubicBezTo>
                  <a:pt x="6655004" y="1944061"/>
                  <a:pt x="6640916" y="1929974"/>
                  <a:pt x="6626829" y="1929974"/>
                </a:cubicBezTo>
                <a:cubicBezTo>
                  <a:pt x="6626829" y="1915887"/>
                  <a:pt x="6612740" y="1901800"/>
                  <a:pt x="6598651" y="1887712"/>
                </a:cubicBezTo>
                <a:cubicBezTo>
                  <a:pt x="6598651" y="1887712"/>
                  <a:pt x="6584563" y="1873625"/>
                  <a:pt x="6584563" y="1873625"/>
                </a:cubicBezTo>
                <a:cubicBezTo>
                  <a:pt x="6570476" y="1873625"/>
                  <a:pt x="6570476" y="1873625"/>
                  <a:pt x="6570476" y="1859538"/>
                </a:cubicBezTo>
                <a:cubicBezTo>
                  <a:pt x="6556387" y="1845450"/>
                  <a:pt x="6542298" y="1831363"/>
                  <a:pt x="6528211" y="1831363"/>
                </a:cubicBezTo>
                <a:cubicBezTo>
                  <a:pt x="6528211" y="1817276"/>
                  <a:pt x="6514123" y="1817276"/>
                  <a:pt x="6500034" y="1803188"/>
                </a:cubicBezTo>
                <a:cubicBezTo>
                  <a:pt x="6500034" y="1789100"/>
                  <a:pt x="6485946" y="1775013"/>
                  <a:pt x="6471858" y="1775013"/>
                </a:cubicBezTo>
                <a:cubicBezTo>
                  <a:pt x="6443681" y="1746838"/>
                  <a:pt x="6429593" y="1732751"/>
                  <a:pt x="6401417" y="1704576"/>
                </a:cubicBezTo>
                <a:cubicBezTo>
                  <a:pt x="6401417" y="1704576"/>
                  <a:pt x="6401417" y="1704576"/>
                  <a:pt x="6316888" y="1634138"/>
                </a:cubicBezTo>
                <a:cubicBezTo>
                  <a:pt x="6302799" y="1634138"/>
                  <a:pt x="6288711" y="1620051"/>
                  <a:pt x="6288711" y="1620051"/>
                </a:cubicBezTo>
                <a:cubicBezTo>
                  <a:pt x="6288711" y="1620051"/>
                  <a:pt x="6288711" y="1605964"/>
                  <a:pt x="6274622" y="1605964"/>
                </a:cubicBezTo>
                <a:cubicBezTo>
                  <a:pt x="6260535" y="1605964"/>
                  <a:pt x="6246446" y="1577789"/>
                  <a:pt x="6232358" y="1577789"/>
                </a:cubicBezTo>
                <a:cubicBezTo>
                  <a:pt x="6204182" y="1563702"/>
                  <a:pt x="6190093" y="1549614"/>
                  <a:pt x="6161916" y="1535527"/>
                </a:cubicBezTo>
                <a:cubicBezTo>
                  <a:pt x="6147829" y="1521440"/>
                  <a:pt x="6133741" y="1521440"/>
                  <a:pt x="6119652" y="1507353"/>
                </a:cubicBezTo>
                <a:cubicBezTo>
                  <a:pt x="6105565" y="1507353"/>
                  <a:pt x="6105565" y="1493265"/>
                  <a:pt x="6091476" y="1493265"/>
                </a:cubicBezTo>
                <a:cubicBezTo>
                  <a:pt x="6077388" y="1479178"/>
                  <a:pt x="6049212" y="1465089"/>
                  <a:pt x="6035123" y="1465089"/>
                </a:cubicBezTo>
                <a:cubicBezTo>
                  <a:pt x="6021035" y="1451002"/>
                  <a:pt x="6021035" y="1451002"/>
                  <a:pt x="6021035" y="1451002"/>
                </a:cubicBezTo>
                <a:cubicBezTo>
                  <a:pt x="6021035" y="1451002"/>
                  <a:pt x="6021035" y="1451002"/>
                  <a:pt x="5992859" y="1436915"/>
                </a:cubicBezTo>
                <a:cubicBezTo>
                  <a:pt x="5978770" y="1436915"/>
                  <a:pt x="5992859" y="1451002"/>
                  <a:pt x="6006946" y="1451002"/>
                </a:cubicBezTo>
                <a:cubicBezTo>
                  <a:pt x="5992859" y="1451002"/>
                  <a:pt x="5978770" y="1436915"/>
                  <a:pt x="5964682" y="1436915"/>
                </a:cubicBezTo>
                <a:cubicBezTo>
                  <a:pt x="5964682" y="1436915"/>
                  <a:pt x="5964682" y="1436915"/>
                  <a:pt x="5950593" y="1422828"/>
                </a:cubicBezTo>
                <a:cubicBezTo>
                  <a:pt x="5950593" y="1422828"/>
                  <a:pt x="5936506" y="1422828"/>
                  <a:pt x="5936506" y="1408740"/>
                </a:cubicBezTo>
                <a:cubicBezTo>
                  <a:pt x="5936506" y="1408740"/>
                  <a:pt x="5922417" y="1408740"/>
                  <a:pt x="5922417" y="1408740"/>
                </a:cubicBezTo>
                <a:cubicBezTo>
                  <a:pt x="5922417" y="1408740"/>
                  <a:pt x="5908329" y="1408740"/>
                  <a:pt x="5908329" y="1394653"/>
                </a:cubicBezTo>
                <a:cubicBezTo>
                  <a:pt x="5908329" y="1394653"/>
                  <a:pt x="5894240" y="1394653"/>
                  <a:pt x="5894240" y="1394653"/>
                </a:cubicBezTo>
                <a:cubicBezTo>
                  <a:pt x="5880153" y="1394653"/>
                  <a:pt x="5880153" y="1380566"/>
                  <a:pt x="5866064" y="1380566"/>
                </a:cubicBezTo>
                <a:cubicBezTo>
                  <a:pt x="5866064" y="1380566"/>
                  <a:pt x="5851976" y="1380566"/>
                  <a:pt x="5851976" y="1366478"/>
                </a:cubicBezTo>
                <a:cubicBezTo>
                  <a:pt x="5823800" y="1366478"/>
                  <a:pt x="5809711" y="1366478"/>
                  <a:pt x="5781535" y="1352391"/>
                </a:cubicBezTo>
                <a:cubicBezTo>
                  <a:pt x="5781535" y="1352391"/>
                  <a:pt x="5781535" y="1352391"/>
                  <a:pt x="5781535" y="1338304"/>
                </a:cubicBezTo>
                <a:lnTo>
                  <a:pt x="5776252" y="1338304"/>
                </a:lnTo>
                <a:lnTo>
                  <a:pt x="5775592" y="1338304"/>
                </a:lnTo>
                <a:lnTo>
                  <a:pt x="5774492" y="1338304"/>
                </a:lnTo>
                <a:cubicBezTo>
                  <a:pt x="5770969" y="1338304"/>
                  <a:pt x="5767447" y="1338304"/>
                  <a:pt x="5767447" y="1338304"/>
                </a:cubicBezTo>
                <a:cubicBezTo>
                  <a:pt x="5753358" y="1324216"/>
                  <a:pt x="5739270" y="1324216"/>
                  <a:pt x="5725182" y="1324216"/>
                </a:cubicBezTo>
                <a:cubicBezTo>
                  <a:pt x="5711094" y="1324216"/>
                  <a:pt x="5711094" y="1324216"/>
                  <a:pt x="5697005" y="1324216"/>
                </a:cubicBezTo>
                <a:cubicBezTo>
                  <a:pt x="5682917" y="1310129"/>
                  <a:pt x="5682917" y="1310129"/>
                  <a:pt x="5668829" y="1310129"/>
                </a:cubicBezTo>
                <a:cubicBezTo>
                  <a:pt x="5668829" y="1310129"/>
                  <a:pt x="5654741" y="1296041"/>
                  <a:pt x="5640652" y="1296041"/>
                </a:cubicBezTo>
                <a:cubicBezTo>
                  <a:pt x="5626565" y="1296041"/>
                  <a:pt x="5626565" y="1296041"/>
                  <a:pt x="5612477" y="1296041"/>
                </a:cubicBezTo>
                <a:cubicBezTo>
                  <a:pt x="5584299" y="1281953"/>
                  <a:pt x="5570212" y="1281953"/>
                  <a:pt x="5556124" y="1267866"/>
                </a:cubicBezTo>
                <a:cubicBezTo>
                  <a:pt x="5542035" y="1267866"/>
                  <a:pt x="5542035" y="1267866"/>
                  <a:pt x="5542035" y="1267866"/>
                </a:cubicBezTo>
                <a:cubicBezTo>
                  <a:pt x="5542035" y="1267866"/>
                  <a:pt x="5527947" y="1267866"/>
                  <a:pt x="5527947" y="1253779"/>
                </a:cubicBezTo>
                <a:cubicBezTo>
                  <a:pt x="5542035" y="1267866"/>
                  <a:pt x="5542035" y="1281953"/>
                  <a:pt x="5513859" y="1267866"/>
                </a:cubicBezTo>
                <a:cubicBezTo>
                  <a:pt x="5513859" y="1267866"/>
                  <a:pt x="5513859" y="1267866"/>
                  <a:pt x="5513859" y="1281953"/>
                </a:cubicBezTo>
                <a:cubicBezTo>
                  <a:pt x="5513859" y="1281953"/>
                  <a:pt x="5527947" y="1281953"/>
                  <a:pt x="5527947" y="1281953"/>
                </a:cubicBezTo>
                <a:cubicBezTo>
                  <a:pt x="5527947" y="1281953"/>
                  <a:pt x="5542035" y="1281953"/>
                  <a:pt x="5542035" y="1281953"/>
                </a:cubicBezTo>
                <a:cubicBezTo>
                  <a:pt x="5556124" y="1296041"/>
                  <a:pt x="5570212" y="1296041"/>
                  <a:pt x="5584299" y="1310129"/>
                </a:cubicBezTo>
                <a:cubicBezTo>
                  <a:pt x="5570212" y="1296041"/>
                  <a:pt x="5570212" y="1296041"/>
                  <a:pt x="5570212" y="1296041"/>
                </a:cubicBezTo>
                <a:cubicBezTo>
                  <a:pt x="5570212" y="1296041"/>
                  <a:pt x="5598388" y="1296041"/>
                  <a:pt x="5612477" y="1310129"/>
                </a:cubicBezTo>
                <a:cubicBezTo>
                  <a:pt x="5612477" y="1310129"/>
                  <a:pt x="5612477" y="1324216"/>
                  <a:pt x="5612477" y="1324216"/>
                </a:cubicBezTo>
                <a:cubicBezTo>
                  <a:pt x="5612477" y="1324216"/>
                  <a:pt x="5626565" y="1338304"/>
                  <a:pt x="5640652" y="1338304"/>
                </a:cubicBezTo>
                <a:cubicBezTo>
                  <a:pt x="5640652" y="1338304"/>
                  <a:pt x="5640652" y="1338304"/>
                  <a:pt x="5612477" y="1338304"/>
                </a:cubicBezTo>
                <a:cubicBezTo>
                  <a:pt x="5598388" y="1338304"/>
                  <a:pt x="5584299" y="1324216"/>
                  <a:pt x="5570212" y="1324216"/>
                </a:cubicBezTo>
                <a:cubicBezTo>
                  <a:pt x="5556124" y="1324216"/>
                  <a:pt x="5542035" y="1310129"/>
                  <a:pt x="5542035" y="1310129"/>
                </a:cubicBezTo>
                <a:cubicBezTo>
                  <a:pt x="5527947" y="1310129"/>
                  <a:pt x="5527947" y="1310129"/>
                  <a:pt x="5513859" y="1310129"/>
                </a:cubicBezTo>
                <a:cubicBezTo>
                  <a:pt x="5499771" y="1310129"/>
                  <a:pt x="5499771" y="1310129"/>
                  <a:pt x="5499771" y="1310129"/>
                </a:cubicBezTo>
                <a:cubicBezTo>
                  <a:pt x="5471594" y="1296041"/>
                  <a:pt x="5471594" y="1310129"/>
                  <a:pt x="5443418" y="1296041"/>
                </a:cubicBezTo>
                <a:cubicBezTo>
                  <a:pt x="5443418" y="1296041"/>
                  <a:pt x="5429329" y="1296041"/>
                  <a:pt x="5429329" y="1310129"/>
                </a:cubicBezTo>
                <a:lnTo>
                  <a:pt x="5401153" y="1310129"/>
                </a:lnTo>
                <a:cubicBezTo>
                  <a:pt x="5401153" y="1310129"/>
                  <a:pt x="5387065" y="1310129"/>
                  <a:pt x="5387065" y="1310129"/>
                </a:cubicBezTo>
                <a:cubicBezTo>
                  <a:pt x="5387065" y="1324216"/>
                  <a:pt x="5401153" y="1324216"/>
                  <a:pt x="5415242" y="1324216"/>
                </a:cubicBezTo>
                <a:lnTo>
                  <a:pt x="5422004" y="1336050"/>
                </a:lnTo>
                <a:lnTo>
                  <a:pt x="5406437" y="1331260"/>
                </a:lnTo>
                <a:cubicBezTo>
                  <a:pt x="5397631" y="1327738"/>
                  <a:pt x="5387065" y="1324216"/>
                  <a:pt x="5372976" y="1324216"/>
                </a:cubicBezTo>
                <a:cubicBezTo>
                  <a:pt x="5372976" y="1324216"/>
                  <a:pt x="5372976" y="1324216"/>
                  <a:pt x="5358889" y="1310129"/>
                </a:cubicBezTo>
                <a:cubicBezTo>
                  <a:pt x="5330712" y="1310129"/>
                  <a:pt x="5316625" y="1310129"/>
                  <a:pt x="5302536" y="1310129"/>
                </a:cubicBezTo>
                <a:cubicBezTo>
                  <a:pt x="5288447" y="1310129"/>
                  <a:pt x="5274359" y="1310129"/>
                  <a:pt x="5260270" y="1310129"/>
                </a:cubicBezTo>
                <a:cubicBezTo>
                  <a:pt x="5260270" y="1310129"/>
                  <a:pt x="5260270" y="1310129"/>
                  <a:pt x="5246183" y="1310129"/>
                </a:cubicBezTo>
                <a:cubicBezTo>
                  <a:pt x="5246183" y="1310129"/>
                  <a:pt x="5246183" y="1310129"/>
                  <a:pt x="5232094" y="1310129"/>
                </a:cubicBezTo>
                <a:cubicBezTo>
                  <a:pt x="5218006" y="1310129"/>
                  <a:pt x="5218006" y="1310129"/>
                  <a:pt x="5218006" y="1310129"/>
                </a:cubicBezTo>
                <a:cubicBezTo>
                  <a:pt x="5218006" y="1310129"/>
                  <a:pt x="5203919" y="1310129"/>
                  <a:pt x="5203919" y="1310129"/>
                </a:cubicBezTo>
                <a:cubicBezTo>
                  <a:pt x="5203919" y="1310129"/>
                  <a:pt x="5189830" y="1310129"/>
                  <a:pt x="5175742" y="1310129"/>
                </a:cubicBezTo>
                <a:cubicBezTo>
                  <a:pt x="5175742" y="1310129"/>
                  <a:pt x="5161654" y="1310129"/>
                  <a:pt x="5147566" y="1310129"/>
                </a:cubicBezTo>
                <a:cubicBezTo>
                  <a:pt x="5147566" y="1310129"/>
                  <a:pt x="5147566" y="1310129"/>
                  <a:pt x="5119389" y="1310129"/>
                </a:cubicBezTo>
                <a:lnTo>
                  <a:pt x="5102500" y="1311428"/>
                </a:lnTo>
                <a:lnTo>
                  <a:pt x="5106196" y="1311890"/>
                </a:lnTo>
                <a:cubicBezTo>
                  <a:pt x="5109718" y="1313651"/>
                  <a:pt x="5113240" y="1317173"/>
                  <a:pt x="5120284" y="1324216"/>
                </a:cubicBezTo>
                <a:cubicBezTo>
                  <a:pt x="5130850" y="1345347"/>
                  <a:pt x="5133491" y="1350630"/>
                  <a:pt x="5146039" y="1369780"/>
                </a:cubicBezTo>
                <a:lnTo>
                  <a:pt x="5153198" y="1380566"/>
                </a:lnTo>
                <a:lnTo>
                  <a:pt x="5175742" y="1380566"/>
                </a:lnTo>
                <a:cubicBezTo>
                  <a:pt x="5189830" y="1394653"/>
                  <a:pt x="5203919" y="1394653"/>
                  <a:pt x="5218006" y="1394653"/>
                </a:cubicBezTo>
                <a:cubicBezTo>
                  <a:pt x="5232094" y="1394653"/>
                  <a:pt x="5246183" y="1394653"/>
                  <a:pt x="5260270" y="1408740"/>
                </a:cubicBezTo>
                <a:cubicBezTo>
                  <a:pt x="5246183" y="1408740"/>
                  <a:pt x="5232094" y="1408740"/>
                  <a:pt x="5232094" y="1422828"/>
                </a:cubicBezTo>
                <a:cubicBezTo>
                  <a:pt x="5232094" y="1422828"/>
                  <a:pt x="5218006" y="1422828"/>
                  <a:pt x="5203919" y="1422828"/>
                </a:cubicBezTo>
                <a:cubicBezTo>
                  <a:pt x="5200397" y="1419306"/>
                  <a:pt x="5196875" y="1417545"/>
                  <a:pt x="5193573" y="1416884"/>
                </a:cubicBezTo>
                <a:lnTo>
                  <a:pt x="5190611" y="1417101"/>
                </a:lnTo>
                <a:lnTo>
                  <a:pt x="5192266" y="1418425"/>
                </a:lnTo>
                <a:cubicBezTo>
                  <a:pt x="5202172" y="1426349"/>
                  <a:pt x="5215380" y="1436915"/>
                  <a:pt x="5232990" y="1451002"/>
                </a:cubicBezTo>
                <a:cubicBezTo>
                  <a:pt x="5247078" y="1465089"/>
                  <a:pt x="5247078" y="1465089"/>
                  <a:pt x="5261166" y="1493265"/>
                </a:cubicBezTo>
                <a:cubicBezTo>
                  <a:pt x="5261166" y="1493265"/>
                  <a:pt x="5275255" y="1493265"/>
                  <a:pt x="5275255" y="1507353"/>
                </a:cubicBezTo>
                <a:cubicBezTo>
                  <a:pt x="5289343" y="1507353"/>
                  <a:pt x="5289343" y="1521440"/>
                  <a:pt x="5303431" y="1535527"/>
                </a:cubicBezTo>
                <a:cubicBezTo>
                  <a:pt x="5275255" y="1507353"/>
                  <a:pt x="5261166" y="1507353"/>
                  <a:pt x="5247078" y="1493265"/>
                </a:cubicBezTo>
                <a:cubicBezTo>
                  <a:pt x="5261166" y="1507353"/>
                  <a:pt x="5275255" y="1521440"/>
                  <a:pt x="5275255" y="1535527"/>
                </a:cubicBezTo>
                <a:lnTo>
                  <a:pt x="5289343" y="1549614"/>
                </a:lnTo>
                <a:lnTo>
                  <a:pt x="5282298" y="1549614"/>
                </a:lnTo>
                <a:cubicBezTo>
                  <a:pt x="5278777" y="1549614"/>
                  <a:pt x="5275255" y="1549614"/>
                  <a:pt x="5275255" y="1549614"/>
                </a:cubicBezTo>
                <a:cubicBezTo>
                  <a:pt x="5275255" y="1549614"/>
                  <a:pt x="5261166" y="1535527"/>
                  <a:pt x="5261166" y="1535527"/>
                </a:cubicBezTo>
                <a:cubicBezTo>
                  <a:pt x="5232990" y="1507353"/>
                  <a:pt x="5204813" y="1479178"/>
                  <a:pt x="5190725" y="1451002"/>
                </a:cubicBezTo>
                <a:cubicBezTo>
                  <a:pt x="5190725" y="1451002"/>
                  <a:pt x="5176637" y="1451002"/>
                  <a:pt x="5176637" y="1451002"/>
                </a:cubicBezTo>
                <a:cubicBezTo>
                  <a:pt x="5162549" y="1436915"/>
                  <a:pt x="5162549" y="1436915"/>
                  <a:pt x="5148460" y="1422828"/>
                </a:cubicBezTo>
                <a:cubicBezTo>
                  <a:pt x="5148460" y="1422828"/>
                  <a:pt x="5148460" y="1422828"/>
                  <a:pt x="5146699" y="1421067"/>
                </a:cubicBezTo>
                <a:lnTo>
                  <a:pt x="5145312" y="1419680"/>
                </a:lnTo>
                <a:lnTo>
                  <a:pt x="5128139" y="1417903"/>
                </a:lnTo>
                <a:lnTo>
                  <a:pt x="5162549" y="1458047"/>
                </a:lnTo>
                <a:cubicBezTo>
                  <a:pt x="5176637" y="1475656"/>
                  <a:pt x="5190725" y="1493265"/>
                  <a:pt x="5204813" y="1507353"/>
                </a:cubicBezTo>
                <a:cubicBezTo>
                  <a:pt x="5204813" y="1507353"/>
                  <a:pt x="5218902" y="1521440"/>
                  <a:pt x="5218902" y="1521440"/>
                </a:cubicBezTo>
                <a:cubicBezTo>
                  <a:pt x="5232990" y="1521440"/>
                  <a:pt x="5232990" y="1535527"/>
                  <a:pt x="5247078" y="1535527"/>
                </a:cubicBezTo>
                <a:cubicBezTo>
                  <a:pt x="5247078" y="1549614"/>
                  <a:pt x="5261166" y="1563702"/>
                  <a:pt x="5261166" y="1563702"/>
                </a:cubicBezTo>
                <a:cubicBezTo>
                  <a:pt x="5289343" y="1577789"/>
                  <a:pt x="5303431" y="1605964"/>
                  <a:pt x="5317519" y="1605964"/>
                </a:cubicBezTo>
                <a:cubicBezTo>
                  <a:pt x="5331608" y="1634138"/>
                  <a:pt x="5345695" y="1648227"/>
                  <a:pt x="5359784" y="1676401"/>
                </a:cubicBezTo>
                <a:cubicBezTo>
                  <a:pt x="5373872" y="1690489"/>
                  <a:pt x="5373872" y="1690489"/>
                  <a:pt x="5387961" y="1704576"/>
                </a:cubicBezTo>
                <a:cubicBezTo>
                  <a:pt x="5387961" y="1704576"/>
                  <a:pt x="5402048" y="1718663"/>
                  <a:pt x="5402048" y="1718663"/>
                </a:cubicBezTo>
                <a:cubicBezTo>
                  <a:pt x="5402048" y="1718663"/>
                  <a:pt x="5402048" y="1732751"/>
                  <a:pt x="5416136" y="1732751"/>
                </a:cubicBezTo>
                <a:cubicBezTo>
                  <a:pt x="5416136" y="1746838"/>
                  <a:pt x="5416136" y="1746838"/>
                  <a:pt x="5416136" y="1746838"/>
                </a:cubicBezTo>
                <a:cubicBezTo>
                  <a:pt x="5430225" y="1746838"/>
                  <a:pt x="5430225" y="1760925"/>
                  <a:pt x="5430225" y="1760925"/>
                </a:cubicBezTo>
                <a:cubicBezTo>
                  <a:pt x="5444314" y="1789100"/>
                  <a:pt x="5458401" y="1803188"/>
                  <a:pt x="5472489" y="1817276"/>
                </a:cubicBezTo>
                <a:cubicBezTo>
                  <a:pt x="5472489" y="1831363"/>
                  <a:pt x="5486578" y="1831363"/>
                  <a:pt x="5486578" y="1845450"/>
                </a:cubicBezTo>
                <a:cubicBezTo>
                  <a:pt x="5500667" y="1859538"/>
                  <a:pt x="5500667" y="1873625"/>
                  <a:pt x="5514754" y="1887712"/>
                </a:cubicBezTo>
                <a:cubicBezTo>
                  <a:pt x="5514754" y="1887712"/>
                  <a:pt x="5514754" y="1887712"/>
                  <a:pt x="5514754" y="1901800"/>
                </a:cubicBezTo>
                <a:cubicBezTo>
                  <a:pt x="5542931" y="1929974"/>
                  <a:pt x="5557018" y="1944061"/>
                  <a:pt x="5571107" y="1986323"/>
                </a:cubicBezTo>
                <a:cubicBezTo>
                  <a:pt x="5585195" y="2000412"/>
                  <a:pt x="5599284" y="2028587"/>
                  <a:pt x="5599284" y="2042674"/>
                </a:cubicBezTo>
                <a:cubicBezTo>
                  <a:pt x="5613371" y="2042674"/>
                  <a:pt x="5613371" y="2056761"/>
                  <a:pt x="5613371" y="2056761"/>
                </a:cubicBezTo>
                <a:cubicBezTo>
                  <a:pt x="5613371" y="2056761"/>
                  <a:pt x="5613371" y="2070849"/>
                  <a:pt x="5613371" y="2070849"/>
                </a:cubicBezTo>
                <a:cubicBezTo>
                  <a:pt x="5613371" y="2070849"/>
                  <a:pt x="5613371" y="2070849"/>
                  <a:pt x="5613371" y="2084936"/>
                </a:cubicBezTo>
                <a:cubicBezTo>
                  <a:pt x="5613371" y="2084936"/>
                  <a:pt x="5613371" y="2084936"/>
                  <a:pt x="5627460" y="2099023"/>
                </a:cubicBezTo>
                <a:cubicBezTo>
                  <a:pt x="5627460" y="2099023"/>
                  <a:pt x="5627460" y="2113110"/>
                  <a:pt x="5627460" y="2113110"/>
                </a:cubicBezTo>
                <a:cubicBezTo>
                  <a:pt x="5655637" y="2169459"/>
                  <a:pt x="5655637" y="2169459"/>
                  <a:pt x="5669724" y="2169459"/>
                </a:cubicBezTo>
                <a:cubicBezTo>
                  <a:pt x="5683813" y="2169459"/>
                  <a:pt x="5683813" y="2183548"/>
                  <a:pt x="5683813" y="2225810"/>
                </a:cubicBezTo>
                <a:cubicBezTo>
                  <a:pt x="5683813" y="2225810"/>
                  <a:pt x="5683813" y="2225810"/>
                  <a:pt x="5697901" y="2225810"/>
                </a:cubicBezTo>
                <a:cubicBezTo>
                  <a:pt x="5697901" y="2239897"/>
                  <a:pt x="5711990" y="2253985"/>
                  <a:pt x="5711990" y="2268072"/>
                </a:cubicBezTo>
                <a:cubicBezTo>
                  <a:pt x="5697901" y="2268072"/>
                  <a:pt x="5697901" y="2268072"/>
                  <a:pt x="5697901" y="2282159"/>
                </a:cubicBezTo>
                <a:cubicBezTo>
                  <a:pt x="5697901" y="2282159"/>
                  <a:pt x="5711990" y="2282159"/>
                  <a:pt x="5711990" y="2296246"/>
                </a:cubicBezTo>
                <a:cubicBezTo>
                  <a:pt x="5711990" y="2296246"/>
                  <a:pt x="5711990" y="2296246"/>
                  <a:pt x="5711990" y="2310334"/>
                </a:cubicBezTo>
                <a:cubicBezTo>
                  <a:pt x="5726077" y="2338508"/>
                  <a:pt x="5740166" y="2366684"/>
                  <a:pt x="5740166" y="2408946"/>
                </a:cubicBezTo>
                <a:cubicBezTo>
                  <a:pt x="5740166" y="2408946"/>
                  <a:pt x="5754254" y="2408946"/>
                  <a:pt x="5754254" y="2408946"/>
                </a:cubicBezTo>
                <a:cubicBezTo>
                  <a:pt x="5754254" y="2423033"/>
                  <a:pt x="5754254" y="2423033"/>
                  <a:pt x="5754254" y="2437121"/>
                </a:cubicBezTo>
                <a:cubicBezTo>
                  <a:pt x="5754254" y="2451208"/>
                  <a:pt x="5754254" y="2465295"/>
                  <a:pt x="5754254" y="2465295"/>
                </a:cubicBezTo>
                <a:cubicBezTo>
                  <a:pt x="5754254" y="2479383"/>
                  <a:pt x="5768341" y="2507557"/>
                  <a:pt x="5768341" y="2521646"/>
                </a:cubicBezTo>
                <a:cubicBezTo>
                  <a:pt x="5754254" y="2493470"/>
                  <a:pt x="5754254" y="2479383"/>
                  <a:pt x="5754254" y="2479383"/>
                </a:cubicBezTo>
                <a:cubicBezTo>
                  <a:pt x="5754254" y="2465295"/>
                  <a:pt x="5740166" y="2465295"/>
                  <a:pt x="5740166" y="2451208"/>
                </a:cubicBezTo>
                <a:cubicBezTo>
                  <a:pt x="5740166" y="2437121"/>
                  <a:pt x="5740166" y="2423033"/>
                  <a:pt x="5726077" y="2423033"/>
                </a:cubicBezTo>
                <a:cubicBezTo>
                  <a:pt x="5726077" y="2408946"/>
                  <a:pt x="5726077" y="2394859"/>
                  <a:pt x="5711990" y="2380771"/>
                </a:cubicBezTo>
                <a:cubicBezTo>
                  <a:pt x="5697901" y="2352596"/>
                  <a:pt x="5697901" y="2324421"/>
                  <a:pt x="5683813" y="2310334"/>
                </a:cubicBezTo>
                <a:cubicBezTo>
                  <a:pt x="5683813" y="2324421"/>
                  <a:pt x="5697901" y="2338508"/>
                  <a:pt x="5697901" y="2352596"/>
                </a:cubicBezTo>
                <a:cubicBezTo>
                  <a:pt x="5697901" y="2359641"/>
                  <a:pt x="5697901" y="2363162"/>
                  <a:pt x="5697901" y="2366684"/>
                </a:cubicBezTo>
                <a:cubicBezTo>
                  <a:pt x="5697901" y="2366684"/>
                  <a:pt x="5683813" y="2352596"/>
                  <a:pt x="5683813" y="2352596"/>
                </a:cubicBezTo>
                <a:cubicBezTo>
                  <a:pt x="5683813" y="2352596"/>
                  <a:pt x="5683813" y="2338508"/>
                  <a:pt x="5683813" y="2338508"/>
                </a:cubicBezTo>
                <a:cubicBezTo>
                  <a:pt x="5669724" y="2296246"/>
                  <a:pt x="5655637" y="2268072"/>
                  <a:pt x="5641548" y="2225810"/>
                </a:cubicBezTo>
                <a:cubicBezTo>
                  <a:pt x="5627460" y="2197635"/>
                  <a:pt x="5613371" y="2169459"/>
                  <a:pt x="5599284" y="2155372"/>
                </a:cubicBezTo>
                <a:cubicBezTo>
                  <a:pt x="5599284" y="2169459"/>
                  <a:pt x="5599284" y="2183548"/>
                  <a:pt x="5613371" y="2211723"/>
                </a:cubicBezTo>
                <a:cubicBezTo>
                  <a:pt x="5627460" y="2239897"/>
                  <a:pt x="5641548" y="2268072"/>
                  <a:pt x="5655637" y="2296246"/>
                </a:cubicBezTo>
                <a:cubicBezTo>
                  <a:pt x="5655637" y="2324421"/>
                  <a:pt x="5669724" y="2338508"/>
                  <a:pt x="5683813" y="2352596"/>
                </a:cubicBezTo>
                <a:cubicBezTo>
                  <a:pt x="5683813" y="2352596"/>
                  <a:pt x="5683813" y="2366684"/>
                  <a:pt x="5683813" y="2380771"/>
                </a:cubicBezTo>
                <a:cubicBezTo>
                  <a:pt x="5697901" y="2380771"/>
                  <a:pt x="5697901" y="2394859"/>
                  <a:pt x="5697901" y="2394859"/>
                </a:cubicBezTo>
                <a:cubicBezTo>
                  <a:pt x="5697901" y="2408946"/>
                  <a:pt x="5711990" y="2437121"/>
                  <a:pt x="5711990" y="2451208"/>
                </a:cubicBezTo>
                <a:cubicBezTo>
                  <a:pt x="5711990" y="2451208"/>
                  <a:pt x="5711990" y="2451208"/>
                  <a:pt x="5711990" y="2465295"/>
                </a:cubicBezTo>
                <a:cubicBezTo>
                  <a:pt x="5726077" y="2465295"/>
                  <a:pt x="5726077" y="2479383"/>
                  <a:pt x="5726077" y="2479383"/>
                </a:cubicBezTo>
                <a:cubicBezTo>
                  <a:pt x="5740166" y="2493470"/>
                  <a:pt x="5740166" y="2507557"/>
                  <a:pt x="5754254" y="2549821"/>
                </a:cubicBezTo>
                <a:cubicBezTo>
                  <a:pt x="5754254" y="2549821"/>
                  <a:pt x="5754254" y="2549821"/>
                  <a:pt x="5754254" y="2563908"/>
                </a:cubicBezTo>
                <a:cubicBezTo>
                  <a:pt x="5754254" y="2563908"/>
                  <a:pt x="5754254" y="2563908"/>
                  <a:pt x="5768341" y="2563908"/>
                </a:cubicBezTo>
                <a:cubicBezTo>
                  <a:pt x="5768341" y="2563908"/>
                  <a:pt x="5768341" y="2563908"/>
                  <a:pt x="5768341" y="2577995"/>
                </a:cubicBezTo>
                <a:cubicBezTo>
                  <a:pt x="5768341" y="2577995"/>
                  <a:pt x="5768341" y="2577995"/>
                  <a:pt x="5768341" y="2592082"/>
                </a:cubicBezTo>
                <a:cubicBezTo>
                  <a:pt x="5768341" y="2606170"/>
                  <a:pt x="5768341" y="2606170"/>
                  <a:pt x="5782430" y="2620257"/>
                </a:cubicBezTo>
                <a:cubicBezTo>
                  <a:pt x="5782430" y="2620257"/>
                  <a:pt x="5782430" y="2620257"/>
                  <a:pt x="5782430" y="2634344"/>
                </a:cubicBezTo>
                <a:cubicBezTo>
                  <a:pt x="5782430" y="2648431"/>
                  <a:pt x="5796519" y="2662519"/>
                  <a:pt x="5796519" y="2676606"/>
                </a:cubicBezTo>
                <a:cubicBezTo>
                  <a:pt x="5782430" y="2676606"/>
                  <a:pt x="5782430" y="2676606"/>
                  <a:pt x="5782430" y="2662519"/>
                </a:cubicBezTo>
                <a:cubicBezTo>
                  <a:pt x="5782430" y="2662519"/>
                  <a:pt x="5782430" y="2676606"/>
                  <a:pt x="5782430" y="2690693"/>
                </a:cubicBezTo>
                <a:cubicBezTo>
                  <a:pt x="5782430" y="2676606"/>
                  <a:pt x="5768341" y="2676606"/>
                  <a:pt x="5768341" y="2662519"/>
                </a:cubicBezTo>
                <a:cubicBezTo>
                  <a:pt x="5768341" y="2648431"/>
                  <a:pt x="5768341" y="2634344"/>
                  <a:pt x="5754254" y="2620257"/>
                </a:cubicBezTo>
                <a:cubicBezTo>
                  <a:pt x="5754254" y="2606170"/>
                  <a:pt x="5754254" y="2592082"/>
                  <a:pt x="5740166" y="2577995"/>
                </a:cubicBezTo>
                <a:cubicBezTo>
                  <a:pt x="5740166" y="2577995"/>
                  <a:pt x="5740166" y="2549821"/>
                  <a:pt x="5726077" y="2535733"/>
                </a:cubicBezTo>
                <a:cubicBezTo>
                  <a:pt x="5726077" y="2493470"/>
                  <a:pt x="5711990" y="2465295"/>
                  <a:pt x="5697901" y="2451208"/>
                </a:cubicBezTo>
                <a:cubicBezTo>
                  <a:pt x="5697901" y="2451208"/>
                  <a:pt x="5697901" y="2423033"/>
                  <a:pt x="5697901" y="2423033"/>
                </a:cubicBezTo>
                <a:cubicBezTo>
                  <a:pt x="5683813" y="2423033"/>
                  <a:pt x="5683813" y="2423033"/>
                  <a:pt x="5683813" y="2423033"/>
                </a:cubicBezTo>
                <a:cubicBezTo>
                  <a:pt x="5683813" y="2408946"/>
                  <a:pt x="5683813" y="2408946"/>
                  <a:pt x="5683813" y="2394859"/>
                </a:cubicBezTo>
                <a:cubicBezTo>
                  <a:pt x="5669724" y="2380771"/>
                  <a:pt x="5655637" y="2352596"/>
                  <a:pt x="5641548" y="2324421"/>
                </a:cubicBezTo>
                <a:cubicBezTo>
                  <a:pt x="5641548" y="2296246"/>
                  <a:pt x="5627460" y="2268072"/>
                  <a:pt x="5613371" y="2239897"/>
                </a:cubicBezTo>
                <a:lnTo>
                  <a:pt x="5613371" y="2253985"/>
                </a:lnTo>
                <a:cubicBezTo>
                  <a:pt x="5599284" y="2211723"/>
                  <a:pt x="5585195" y="2197635"/>
                  <a:pt x="5557018" y="2169459"/>
                </a:cubicBezTo>
                <a:cubicBezTo>
                  <a:pt x="5557018" y="2169459"/>
                  <a:pt x="5571107" y="2183548"/>
                  <a:pt x="5571107" y="2197635"/>
                </a:cubicBezTo>
                <a:cubicBezTo>
                  <a:pt x="5585195" y="2225810"/>
                  <a:pt x="5585195" y="2239897"/>
                  <a:pt x="5599284" y="2253985"/>
                </a:cubicBezTo>
                <a:cubicBezTo>
                  <a:pt x="5599284" y="2253985"/>
                  <a:pt x="5599284" y="2268072"/>
                  <a:pt x="5599284" y="2268072"/>
                </a:cubicBezTo>
                <a:cubicBezTo>
                  <a:pt x="5613371" y="2282159"/>
                  <a:pt x="5613371" y="2324421"/>
                  <a:pt x="5627460" y="2324421"/>
                </a:cubicBezTo>
                <a:cubicBezTo>
                  <a:pt x="5627460" y="2324421"/>
                  <a:pt x="5627460" y="2338508"/>
                  <a:pt x="5627460" y="2352596"/>
                </a:cubicBezTo>
                <a:cubicBezTo>
                  <a:pt x="5627460" y="2338508"/>
                  <a:pt x="5613371" y="2338508"/>
                  <a:pt x="5613371" y="2324421"/>
                </a:cubicBezTo>
                <a:cubicBezTo>
                  <a:pt x="5613371" y="2324421"/>
                  <a:pt x="5613371" y="2324421"/>
                  <a:pt x="5613371" y="2338508"/>
                </a:cubicBezTo>
                <a:cubicBezTo>
                  <a:pt x="5599284" y="2324421"/>
                  <a:pt x="5599284" y="2296246"/>
                  <a:pt x="5585195" y="2282159"/>
                </a:cubicBezTo>
                <a:cubicBezTo>
                  <a:pt x="5585195" y="2268072"/>
                  <a:pt x="5571107" y="2268072"/>
                  <a:pt x="5571107" y="2239897"/>
                </a:cubicBezTo>
                <a:cubicBezTo>
                  <a:pt x="5571107" y="2225810"/>
                  <a:pt x="5557018" y="2211723"/>
                  <a:pt x="5557018" y="2197635"/>
                </a:cubicBezTo>
                <a:cubicBezTo>
                  <a:pt x="5542931" y="2197635"/>
                  <a:pt x="5542931" y="2197635"/>
                  <a:pt x="5542931" y="2183548"/>
                </a:cubicBezTo>
                <a:cubicBezTo>
                  <a:pt x="5542931" y="2197635"/>
                  <a:pt x="5542931" y="2211723"/>
                  <a:pt x="5557018" y="2225810"/>
                </a:cubicBezTo>
                <a:cubicBezTo>
                  <a:pt x="5557018" y="2253985"/>
                  <a:pt x="5571107" y="2268072"/>
                  <a:pt x="5571107" y="2296246"/>
                </a:cubicBezTo>
                <a:cubicBezTo>
                  <a:pt x="5585195" y="2296246"/>
                  <a:pt x="5585195" y="2296246"/>
                  <a:pt x="5585195" y="2310334"/>
                </a:cubicBezTo>
                <a:cubicBezTo>
                  <a:pt x="5585195" y="2310334"/>
                  <a:pt x="5585195" y="2310334"/>
                  <a:pt x="5585195" y="2324421"/>
                </a:cubicBezTo>
                <a:cubicBezTo>
                  <a:pt x="5599284" y="2352596"/>
                  <a:pt x="5613371" y="2380771"/>
                  <a:pt x="5627460" y="2408946"/>
                </a:cubicBezTo>
                <a:cubicBezTo>
                  <a:pt x="5641548" y="2437121"/>
                  <a:pt x="5655637" y="2465295"/>
                  <a:pt x="5655637" y="2479383"/>
                </a:cubicBezTo>
                <a:cubicBezTo>
                  <a:pt x="5669724" y="2493470"/>
                  <a:pt x="5669724" y="2493470"/>
                  <a:pt x="5669724" y="2493470"/>
                </a:cubicBezTo>
                <a:cubicBezTo>
                  <a:pt x="5669724" y="2493470"/>
                  <a:pt x="5669724" y="2493470"/>
                  <a:pt x="5669724" y="2521646"/>
                </a:cubicBezTo>
                <a:cubicBezTo>
                  <a:pt x="5683813" y="2549821"/>
                  <a:pt x="5697901" y="2577995"/>
                  <a:pt x="5697901" y="2606170"/>
                </a:cubicBezTo>
                <a:cubicBezTo>
                  <a:pt x="5711990" y="2620257"/>
                  <a:pt x="5711990" y="2634344"/>
                  <a:pt x="5711990" y="2648431"/>
                </a:cubicBezTo>
                <a:cubicBezTo>
                  <a:pt x="5726077" y="2662519"/>
                  <a:pt x="5711990" y="2676606"/>
                  <a:pt x="5726077" y="2690693"/>
                </a:cubicBezTo>
                <a:cubicBezTo>
                  <a:pt x="5711990" y="2676606"/>
                  <a:pt x="5711990" y="2676606"/>
                  <a:pt x="5711990" y="2662519"/>
                </a:cubicBezTo>
                <a:cubicBezTo>
                  <a:pt x="5697901" y="2662519"/>
                  <a:pt x="5697901" y="2634344"/>
                  <a:pt x="5683813" y="2620257"/>
                </a:cubicBezTo>
                <a:cubicBezTo>
                  <a:pt x="5683813" y="2606170"/>
                  <a:pt x="5683813" y="2606170"/>
                  <a:pt x="5683813" y="2606170"/>
                </a:cubicBezTo>
                <a:cubicBezTo>
                  <a:pt x="5683813" y="2606170"/>
                  <a:pt x="5683813" y="2606170"/>
                  <a:pt x="5683813" y="2592082"/>
                </a:cubicBezTo>
                <a:cubicBezTo>
                  <a:pt x="5683813" y="2592082"/>
                  <a:pt x="5683813" y="2592082"/>
                  <a:pt x="5669724" y="2577995"/>
                </a:cubicBezTo>
                <a:cubicBezTo>
                  <a:pt x="5669724" y="2577995"/>
                  <a:pt x="5669724" y="2577995"/>
                  <a:pt x="5669724" y="2563908"/>
                </a:cubicBezTo>
                <a:cubicBezTo>
                  <a:pt x="5669724" y="2563908"/>
                  <a:pt x="5669724" y="2563908"/>
                  <a:pt x="5669724" y="2549821"/>
                </a:cubicBezTo>
                <a:cubicBezTo>
                  <a:pt x="5655637" y="2549821"/>
                  <a:pt x="5655637" y="2549821"/>
                  <a:pt x="5655637" y="2549821"/>
                </a:cubicBezTo>
                <a:cubicBezTo>
                  <a:pt x="5669724" y="2563908"/>
                  <a:pt x="5669724" y="2577995"/>
                  <a:pt x="5669724" y="2606170"/>
                </a:cubicBezTo>
                <a:cubicBezTo>
                  <a:pt x="5683813" y="2606170"/>
                  <a:pt x="5683813" y="2620257"/>
                  <a:pt x="5683813" y="2634344"/>
                </a:cubicBezTo>
                <a:cubicBezTo>
                  <a:pt x="5697901" y="2648431"/>
                  <a:pt x="5697901" y="2676606"/>
                  <a:pt x="5711990" y="2704782"/>
                </a:cubicBezTo>
                <a:cubicBezTo>
                  <a:pt x="5711990" y="2718869"/>
                  <a:pt x="5711990" y="2732957"/>
                  <a:pt x="5726077" y="2761131"/>
                </a:cubicBezTo>
                <a:cubicBezTo>
                  <a:pt x="5726077" y="2761131"/>
                  <a:pt x="5726077" y="2775218"/>
                  <a:pt x="5726077" y="2775218"/>
                </a:cubicBezTo>
                <a:cubicBezTo>
                  <a:pt x="5726077" y="2775218"/>
                  <a:pt x="5726077" y="2789306"/>
                  <a:pt x="5726077" y="2789306"/>
                </a:cubicBezTo>
                <a:cubicBezTo>
                  <a:pt x="5711990" y="2761131"/>
                  <a:pt x="5697901" y="2718869"/>
                  <a:pt x="5683813" y="2690693"/>
                </a:cubicBezTo>
                <a:cubicBezTo>
                  <a:pt x="5683813" y="2676606"/>
                  <a:pt x="5683813" y="2662519"/>
                  <a:pt x="5669724" y="2648431"/>
                </a:cubicBezTo>
                <a:cubicBezTo>
                  <a:pt x="5669724" y="2620257"/>
                  <a:pt x="5655637" y="2606170"/>
                  <a:pt x="5655637" y="2592082"/>
                </a:cubicBezTo>
                <a:cubicBezTo>
                  <a:pt x="5641548" y="2549821"/>
                  <a:pt x="5627460" y="2521646"/>
                  <a:pt x="5613371" y="2479383"/>
                </a:cubicBezTo>
                <a:cubicBezTo>
                  <a:pt x="5599284" y="2465295"/>
                  <a:pt x="5599284" y="2437121"/>
                  <a:pt x="5585195" y="2408946"/>
                </a:cubicBezTo>
                <a:cubicBezTo>
                  <a:pt x="5571107" y="2394859"/>
                  <a:pt x="5571107" y="2394859"/>
                  <a:pt x="5571107" y="2394859"/>
                </a:cubicBezTo>
                <a:cubicBezTo>
                  <a:pt x="5571107" y="2394859"/>
                  <a:pt x="5557018" y="2380771"/>
                  <a:pt x="5542931" y="2352596"/>
                </a:cubicBezTo>
                <a:cubicBezTo>
                  <a:pt x="5542931" y="2338508"/>
                  <a:pt x="5542931" y="2338508"/>
                  <a:pt x="5542931" y="2324421"/>
                </a:cubicBezTo>
                <a:cubicBezTo>
                  <a:pt x="5542931" y="2324421"/>
                  <a:pt x="5528842" y="2324421"/>
                  <a:pt x="5528842" y="2324421"/>
                </a:cubicBezTo>
                <a:cubicBezTo>
                  <a:pt x="5528842" y="2324421"/>
                  <a:pt x="5528842" y="2324421"/>
                  <a:pt x="5528842" y="2310334"/>
                </a:cubicBezTo>
                <a:cubicBezTo>
                  <a:pt x="5514754" y="2282159"/>
                  <a:pt x="5500667" y="2268072"/>
                  <a:pt x="5500667" y="2253985"/>
                </a:cubicBezTo>
                <a:cubicBezTo>
                  <a:pt x="5486578" y="2239897"/>
                  <a:pt x="5472489" y="2225810"/>
                  <a:pt x="5458401" y="2183548"/>
                </a:cubicBezTo>
                <a:cubicBezTo>
                  <a:pt x="5458401" y="2183548"/>
                  <a:pt x="5444314" y="2169459"/>
                  <a:pt x="5444314" y="2169459"/>
                </a:cubicBezTo>
                <a:cubicBezTo>
                  <a:pt x="5444314" y="2155372"/>
                  <a:pt x="5430225" y="2141285"/>
                  <a:pt x="5430225" y="2127198"/>
                </a:cubicBezTo>
                <a:cubicBezTo>
                  <a:pt x="5416136" y="2127198"/>
                  <a:pt x="5416136" y="2113110"/>
                  <a:pt x="5402048" y="2099023"/>
                </a:cubicBezTo>
                <a:cubicBezTo>
                  <a:pt x="5387961" y="2084936"/>
                  <a:pt x="5387961" y="2070849"/>
                  <a:pt x="5359784" y="2042674"/>
                </a:cubicBezTo>
                <a:cubicBezTo>
                  <a:pt x="5359784" y="2042674"/>
                  <a:pt x="5359784" y="2042674"/>
                  <a:pt x="5359784" y="2028587"/>
                </a:cubicBezTo>
                <a:cubicBezTo>
                  <a:pt x="5345695" y="2014499"/>
                  <a:pt x="5331608" y="2000412"/>
                  <a:pt x="5317519" y="1986323"/>
                </a:cubicBezTo>
                <a:cubicBezTo>
                  <a:pt x="5317519" y="1986323"/>
                  <a:pt x="5317519" y="1986323"/>
                  <a:pt x="5317519" y="2000412"/>
                </a:cubicBezTo>
                <a:cubicBezTo>
                  <a:pt x="5317519" y="2000412"/>
                  <a:pt x="5331608" y="2000412"/>
                  <a:pt x="5331608" y="2014499"/>
                </a:cubicBezTo>
                <a:cubicBezTo>
                  <a:pt x="5345695" y="2014499"/>
                  <a:pt x="5345695" y="2028587"/>
                  <a:pt x="5345695" y="2042674"/>
                </a:cubicBezTo>
                <a:cubicBezTo>
                  <a:pt x="5345695" y="2042674"/>
                  <a:pt x="5359784" y="2056761"/>
                  <a:pt x="5359784" y="2056761"/>
                </a:cubicBezTo>
                <a:cubicBezTo>
                  <a:pt x="5373872" y="2070849"/>
                  <a:pt x="5387961" y="2099023"/>
                  <a:pt x="5402048" y="2127198"/>
                </a:cubicBezTo>
                <a:cubicBezTo>
                  <a:pt x="5416136" y="2127198"/>
                  <a:pt x="5416136" y="2141285"/>
                  <a:pt x="5416136" y="2155372"/>
                </a:cubicBezTo>
                <a:cubicBezTo>
                  <a:pt x="5444314" y="2211723"/>
                  <a:pt x="5458401" y="2225810"/>
                  <a:pt x="5472489" y="2253985"/>
                </a:cubicBezTo>
                <a:cubicBezTo>
                  <a:pt x="5472489" y="2253985"/>
                  <a:pt x="5472489" y="2253985"/>
                  <a:pt x="5458401" y="2239897"/>
                </a:cubicBezTo>
                <a:cubicBezTo>
                  <a:pt x="5444314" y="2211723"/>
                  <a:pt x="5416136" y="2183548"/>
                  <a:pt x="5402048" y="2155372"/>
                </a:cubicBezTo>
                <a:cubicBezTo>
                  <a:pt x="5402048" y="2155372"/>
                  <a:pt x="5402048" y="2141285"/>
                  <a:pt x="5387961" y="2141285"/>
                </a:cubicBezTo>
                <a:cubicBezTo>
                  <a:pt x="5387961" y="2141285"/>
                  <a:pt x="5387961" y="2141285"/>
                  <a:pt x="5387961" y="2127198"/>
                </a:cubicBezTo>
                <a:cubicBezTo>
                  <a:pt x="5387961" y="2127198"/>
                  <a:pt x="5373872" y="2113110"/>
                  <a:pt x="5373872" y="2099023"/>
                </a:cubicBezTo>
                <a:cubicBezTo>
                  <a:pt x="5373872" y="2099023"/>
                  <a:pt x="5373872" y="2099023"/>
                  <a:pt x="5359784" y="2084936"/>
                </a:cubicBezTo>
                <a:cubicBezTo>
                  <a:pt x="5359784" y="2084936"/>
                  <a:pt x="5359784" y="2084936"/>
                  <a:pt x="5359784" y="2070849"/>
                </a:cubicBezTo>
                <a:cubicBezTo>
                  <a:pt x="5345695" y="2070849"/>
                  <a:pt x="5345695" y="2056761"/>
                  <a:pt x="5345695" y="2056761"/>
                </a:cubicBezTo>
                <a:cubicBezTo>
                  <a:pt x="5331608" y="2056761"/>
                  <a:pt x="5331608" y="2056761"/>
                  <a:pt x="5331608" y="2042674"/>
                </a:cubicBezTo>
                <a:cubicBezTo>
                  <a:pt x="5331608" y="2042674"/>
                  <a:pt x="5317519" y="2042674"/>
                  <a:pt x="5317519" y="2028587"/>
                </a:cubicBezTo>
                <a:cubicBezTo>
                  <a:pt x="5317519" y="2014499"/>
                  <a:pt x="5317519" y="2014499"/>
                  <a:pt x="5317519" y="2014499"/>
                </a:cubicBezTo>
                <a:cubicBezTo>
                  <a:pt x="5303431" y="2014499"/>
                  <a:pt x="5303431" y="2000412"/>
                  <a:pt x="5289343" y="2000412"/>
                </a:cubicBezTo>
                <a:cubicBezTo>
                  <a:pt x="5289343" y="2000412"/>
                  <a:pt x="5289343" y="2000412"/>
                  <a:pt x="5289343" y="1986323"/>
                </a:cubicBezTo>
                <a:cubicBezTo>
                  <a:pt x="5275255" y="1972236"/>
                  <a:pt x="5261166" y="1958149"/>
                  <a:pt x="5247078" y="1944061"/>
                </a:cubicBezTo>
                <a:cubicBezTo>
                  <a:pt x="5247078" y="1929974"/>
                  <a:pt x="5247078" y="1929974"/>
                  <a:pt x="5247078" y="1929974"/>
                </a:cubicBezTo>
                <a:cubicBezTo>
                  <a:pt x="5247078" y="1929974"/>
                  <a:pt x="5232990" y="1915887"/>
                  <a:pt x="5232990" y="1915887"/>
                </a:cubicBezTo>
                <a:cubicBezTo>
                  <a:pt x="5218902" y="1901800"/>
                  <a:pt x="5204813" y="1887712"/>
                  <a:pt x="5190725" y="1873625"/>
                </a:cubicBezTo>
                <a:cubicBezTo>
                  <a:pt x="5176637" y="1859538"/>
                  <a:pt x="5162549" y="1845450"/>
                  <a:pt x="5162549" y="1831363"/>
                </a:cubicBezTo>
                <a:cubicBezTo>
                  <a:pt x="5162549" y="1831363"/>
                  <a:pt x="5148460" y="1831363"/>
                  <a:pt x="5148460" y="1831363"/>
                </a:cubicBezTo>
                <a:cubicBezTo>
                  <a:pt x="5148460" y="1817276"/>
                  <a:pt x="5148460" y="1817276"/>
                  <a:pt x="5134372" y="1803188"/>
                </a:cubicBezTo>
                <a:cubicBezTo>
                  <a:pt x="5120284" y="1803188"/>
                  <a:pt x="5106196" y="1789100"/>
                  <a:pt x="5092107" y="1760925"/>
                </a:cubicBezTo>
                <a:cubicBezTo>
                  <a:pt x="5092107" y="1760925"/>
                  <a:pt x="5092107" y="1760925"/>
                  <a:pt x="5078019" y="1760925"/>
                </a:cubicBezTo>
                <a:cubicBezTo>
                  <a:pt x="5078019" y="1746838"/>
                  <a:pt x="5078019" y="1746838"/>
                  <a:pt x="5078019" y="1746838"/>
                </a:cubicBezTo>
                <a:cubicBezTo>
                  <a:pt x="5078019" y="1746838"/>
                  <a:pt x="5078019" y="1746838"/>
                  <a:pt x="5063931" y="1732751"/>
                </a:cubicBezTo>
                <a:cubicBezTo>
                  <a:pt x="5063931" y="1732751"/>
                  <a:pt x="5049843" y="1718663"/>
                  <a:pt x="5035754" y="1704576"/>
                </a:cubicBezTo>
                <a:cubicBezTo>
                  <a:pt x="5021666" y="1704576"/>
                  <a:pt x="5021666" y="1690489"/>
                  <a:pt x="5021666" y="1690489"/>
                </a:cubicBezTo>
                <a:cubicBezTo>
                  <a:pt x="5007579" y="1690489"/>
                  <a:pt x="5007579" y="1690489"/>
                  <a:pt x="4993490" y="1676401"/>
                </a:cubicBezTo>
                <a:cubicBezTo>
                  <a:pt x="4993490" y="1662314"/>
                  <a:pt x="4979401" y="1662314"/>
                  <a:pt x="4979401" y="1662314"/>
                </a:cubicBezTo>
                <a:cubicBezTo>
                  <a:pt x="4979401" y="1662314"/>
                  <a:pt x="4979401" y="1662314"/>
                  <a:pt x="4979401" y="1648227"/>
                </a:cubicBezTo>
                <a:cubicBezTo>
                  <a:pt x="4979401" y="1648227"/>
                  <a:pt x="4979401" y="1648227"/>
                  <a:pt x="4965313" y="1648227"/>
                </a:cubicBezTo>
                <a:cubicBezTo>
                  <a:pt x="4965313" y="1648227"/>
                  <a:pt x="4965313" y="1648227"/>
                  <a:pt x="4951226" y="1634138"/>
                </a:cubicBezTo>
                <a:cubicBezTo>
                  <a:pt x="4951226" y="1634138"/>
                  <a:pt x="4937137" y="1620051"/>
                  <a:pt x="4937137" y="1620051"/>
                </a:cubicBezTo>
                <a:cubicBezTo>
                  <a:pt x="4923048" y="1605964"/>
                  <a:pt x="4923048" y="1605964"/>
                  <a:pt x="4923048" y="1605964"/>
                </a:cubicBezTo>
                <a:cubicBezTo>
                  <a:pt x="4908961" y="1591876"/>
                  <a:pt x="4880784" y="1577789"/>
                  <a:pt x="4866696" y="1563702"/>
                </a:cubicBezTo>
                <a:cubicBezTo>
                  <a:pt x="4852608" y="1563702"/>
                  <a:pt x="4838520" y="1535527"/>
                  <a:pt x="4838520" y="1535527"/>
                </a:cubicBezTo>
                <a:cubicBezTo>
                  <a:pt x="4838520" y="1535527"/>
                  <a:pt x="4824431" y="1535527"/>
                  <a:pt x="4824431" y="1535527"/>
                </a:cubicBezTo>
                <a:cubicBezTo>
                  <a:pt x="4824431" y="1535527"/>
                  <a:pt x="4838520" y="1549614"/>
                  <a:pt x="4852608" y="1563702"/>
                </a:cubicBezTo>
                <a:cubicBezTo>
                  <a:pt x="4852608" y="1577789"/>
                  <a:pt x="4852608" y="1577789"/>
                  <a:pt x="4852608" y="1577789"/>
                </a:cubicBezTo>
                <a:cubicBezTo>
                  <a:pt x="4852608" y="1577789"/>
                  <a:pt x="4852608" y="1577789"/>
                  <a:pt x="4866696" y="1591876"/>
                </a:cubicBezTo>
                <a:cubicBezTo>
                  <a:pt x="4866696" y="1591876"/>
                  <a:pt x="4866696" y="1591876"/>
                  <a:pt x="4880784" y="1605964"/>
                </a:cubicBezTo>
                <a:cubicBezTo>
                  <a:pt x="4894873" y="1620051"/>
                  <a:pt x="4894873" y="1620051"/>
                  <a:pt x="4894873" y="1620051"/>
                </a:cubicBezTo>
                <a:cubicBezTo>
                  <a:pt x="4880784" y="1605964"/>
                  <a:pt x="4880784" y="1605964"/>
                  <a:pt x="4866696" y="1605964"/>
                </a:cubicBezTo>
                <a:cubicBezTo>
                  <a:pt x="4852608" y="1591876"/>
                  <a:pt x="4852608" y="1591876"/>
                  <a:pt x="4852608" y="1591876"/>
                </a:cubicBezTo>
                <a:cubicBezTo>
                  <a:pt x="4852608" y="1591876"/>
                  <a:pt x="4852608" y="1591876"/>
                  <a:pt x="4838520" y="1591876"/>
                </a:cubicBezTo>
                <a:cubicBezTo>
                  <a:pt x="4824431" y="1577789"/>
                  <a:pt x="4824431" y="1563702"/>
                  <a:pt x="4824431" y="1563702"/>
                </a:cubicBezTo>
                <a:cubicBezTo>
                  <a:pt x="4817387" y="1556658"/>
                  <a:pt x="4813864" y="1549614"/>
                  <a:pt x="4808582" y="1542571"/>
                </a:cubicBezTo>
                <a:lnTo>
                  <a:pt x="4795374" y="1532005"/>
                </a:lnTo>
                <a:lnTo>
                  <a:pt x="4794494" y="1528484"/>
                </a:lnTo>
                <a:cubicBezTo>
                  <a:pt x="4792733" y="1524962"/>
                  <a:pt x="4789212" y="1521440"/>
                  <a:pt x="4782167" y="1521440"/>
                </a:cubicBezTo>
                <a:cubicBezTo>
                  <a:pt x="4768078" y="1521440"/>
                  <a:pt x="4768078" y="1521440"/>
                  <a:pt x="4768078" y="1507353"/>
                </a:cubicBezTo>
                <a:cubicBezTo>
                  <a:pt x="4768078" y="1507353"/>
                  <a:pt x="4768078" y="1507353"/>
                  <a:pt x="4753990" y="1507353"/>
                </a:cubicBezTo>
                <a:cubicBezTo>
                  <a:pt x="4768078" y="1521440"/>
                  <a:pt x="4782167" y="1535527"/>
                  <a:pt x="4796255" y="1549614"/>
                </a:cubicBezTo>
                <a:cubicBezTo>
                  <a:pt x="4768078" y="1535527"/>
                  <a:pt x="4739902" y="1507353"/>
                  <a:pt x="4711725" y="1479178"/>
                </a:cubicBezTo>
                <a:cubicBezTo>
                  <a:pt x="4711725" y="1479178"/>
                  <a:pt x="4711725" y="1465089"/>
                  <a:pt x="4711725" y="1465089"/>
                </a:cubicBezTo>
                <a:cubicBezTo>
                  <a:pt x="4711725" y="1465089"/>
                  <a:pt x="4725814" y="1479178"/>
                  <a:pt x="4711725" y="1465089"/>
                </a:cubicBezTo>
                <a:lnTo>
                  <a:pt x="4710831" y="1465089"/>
                </a:lnTo>
                <a:cubicBezTo>
                  <a:pt x="4696743" y="1465089"/>
                  <a:pt x="4686177" y="1465089"/>
                  <a:pt x="4675611" y="1466851"/>
                </a:cubicBezTo>
                <a:lnTo>
                  <a:pt x="4654834" y="1474122"/>
                </a:lnTo>
                <a:lnTo>
                  <a:pt x="4662417" y="1479178"/>
                </a:lnTo>
                <a:cubicBezTo>
                  <a:pt x="4669461" y="1482700"/>
                  <a:pt x="4676505" y="1486222"/>
                  <a:pt x="4683549" y="1493265"/>
                </a:cubicBezTo>
                <a:cubicBezTo>
                  <a:pt x="4711725" y="1507353"/>
                  <a:pt x="4725814" y="1521440"/>
                  <a:pt x="4753990" y="1535527"/>
                </a:cubicBezTo>
                <a:cubicBezTo>
                  <a:pt x="4753990" y="1535527"/>
                  <a:pt x="4753990" y="1549614"/>
                  <a:pt x="4768078" y="1549614"/>
                </a:cubicBezTo>
                <a:cubicBezTo>
                  <a:pt x="4768078" y="1549614"/>
                  <a:pt x="4768078" y="1563702"/>
                  <a:pt x="4782167" y="1563702"/>
                </a:cubicBezTo>
                <a:cubicBezTo>
                  <a:pt x="4782167" y="1563702"/>
                  <a:pt x="4782167" y="1577789"/>
                  <a:pt x="4796255" y="1577789"/>
                </a:cubicBezTo>
                <a:cubicBezTo>
                  <a:pt x="4796255" y="1577789"/>
                  <a:pt x="4782167" y="1577789"/>
                  <a:pt x="4782167" y="1577789"/>
                </a:cubicBezTo>
                <a:cubicBezTo>
                  <a:pt x="4796255" y="1591876"/>
                  <a:pt x="4796255" y="1591876"/>
                  <a:pt x="4810343" y="1605964"/>
                </a:cubicBezTo>
                <a:cubicBezTo>
                  <a:pt x="4810343" y="1605964"/>
                  <a:pt x="4824431" y="1620051"/>
                  <a:pt x="4824431" y="1620051"/>
                </a:cubicBezTo>
                <a:cubicBezTo>
                  <a:pt x="4824431" y="1620051"/>
                  <a:pt x="4824431" y="1620051"/>
                  <a:pt x="4838520" y="1620051"/>
                </a:cubicBezTo>
                <a:cubicBezTo>
                  <a:pt x="4838520" y="1634138"/>
                  <a:pt x="4852608" y="1634138"/>
                  <a:pt x="4866696" y="1648227"/>
                </a:cubicBezTo>
                <a:cubicBezTo>
                  <a:pt x="4880784" y="1662314"/>
                  <a:pt x="4894873" y="1676401"/>
                  <a:pt x="4908961" y="1690489"/>
                </a:cubicBezTo>
                <a:cubicBezTo>
                  <a:pt x="4908961" y="1690489"/>
                  <a:pt x="4908961" y="1690489"/>
                  <a:pt x="4908961" y="1704576"/>
                </a:cubicBezTo>
                <a:cubicBezTo>
                  <a:pt x="4894873" y="1676401"/>
                  <a:pt x="4866696" y="1662314"/>
                  <a:pt x="4852608" y="1648227"/>
                </a:cubicBezTo>
                <a:cubicBezTo>
                  <a:pt x="4852608" y="1662314"/>
                  <a:pt x="4852608" y="1662314"/>
                  <a:pt x="4880784" y="1690489"/>
                </a:cubicBezTo>
                <a:cubicBezTo>
                  <a:pt x="4880784" y="1690489"/>
                  <a:pt x="4880784" y="1690489"/>
                  <a:pt x="4894873" y="1704576"/>
                </a:cubicBezTo>
                <a:cubicBezTo>
                  <a:pt x="4894873" y="1704576"/>
                  <a:pt x="4894873" y="1704576"/>
                  <a:pt x="4880784" y="1704576"/>
                </a:cubicBezTo>
                <a:cubicBezTo>
                  <a:pt x="4894873" y="1704576"/>
                  <a:pt x="4908961" y="1718663"/>
                  <a:pt x="4923048" y="1732751"/>
                </a:cubicBezTo>
                <a:cubicBezTo>
                  <a:pt x="4937137" y="1760925"/>
                  <a:pt x="4965313" y="1775013"/>
                  <a:pt x="4979401" y="1803188"/>
                </a:cubicBezTo>
                <a:cubicBezTo>
                  <a:pt x="4979401" y="1803188"/>
                  <a:pt x="4979401" y="1803188"/>
                  <a:pt x="4993490" y="1803188"/>
                </a:cubicBezTo>
                <a:cubicBezTo>
                  <a:pt x="4993490" y="1803188"/>
                  <a:pt x="4993490" y="1803188"/>
                  <a:pt x="4993490" y="1817276"/>
                </a:cubicBezTo>
                <a:cubicBezTo>
                  <a:pt x="5007579" y="1817276"/>
                  <a:pt x="5007579" y="1817276"/>
                  <a:pt x="5007579" y="1817276"/>
                </a:cubicBezTo>
                <a:cubicBezTo>
                  <a:pt x="5035754" y="1845450"/>
                  <a:pt x="5021666" y="1845450"/>
                  <a:pt x="5021666" y="1859538"/>
                </a:cubicBezTo>
                <a:cubicBezTo>
                  <a:pt x="5035754" y="1873625"/>
                  <a:pt x="5035754" y="1873625"/>
                  <a:pt x="5021666" y="1873625"/>
                </a:cubicBezTo>
                <a:cubicBezTo>
                  <a:pt x="5021666" y="1887712"/>
                  <a:pt x="5021666" y="1887712"/>
                  <a:pt x="5035754" y="1915887"/>
                </a:cubicBezTo>
                <a:cubicBezTo>
                  <a:pt x="5049843" y="1929974"/>
                  <a:pt x="5049843" y="1944061"/>
                  <a:pt x="5063931" y="1958149"/>
                </a:cubicBezTo>
                <a:cubicBezTo>
                  <a:pt x="5078019" y="1958149"/>
                  <a:pt x="5078019" y="1972236"/>
                  <a:pt x="5078019" y="1972236"/>
                </a:cubicBezTo>
                <a:cubicBezTo>
                  <a:pt x="5078019" y="1972236"/>
                  <a:pt x="5092107" y="1986323"/>
                  <a:pt x="5078019" y="1986323"/>
                </a:cubicBezTo>
                <a:cubicBezTo>
                  <a:pt x="5078019" y="1972236"/>
                  <a:pt x="5063931" y="1972236"/>
                  <a:pt x="5035754" y="1944061"/>
                </a:cubicBezTo>
                <a:cubicBezTo>
                  <a:pt x="5035754" y="1944061"/>
                  <a:pt x="5021666" y="1929974"/>
                  <a:pt x="5007579" y="1929974"/>
                </a:cubicBezTo>
                <a:cubicBezTo>
                  <a:pt x="5007579" y="1915887"/>
                  <a:pt x="4993490" y="1901800"/>
                  <a:pt x="4979401" y="1887712"/>
                </a:cubicBezTo>
                <a:cubicBezTo>
                  <a:pt x="4979401" y="1887712"/>
                  <a:pt x="4965313" y="1873625"/>
                  <a:pt x="4965313" y="1873625"/>
                </a:cubicBezTo>
                <a:cubicBezTo>
                  <a:pt x="4951226" y="1873625"/>
                  <a:pt x="4951226" y="1873625"/>
                  <a:pt x="4951226" y="1859538"/>
                </a:cubicBezTo>
                <a:cubicBezTo>
                  <a:pt x="4937137" y="1845450"/>
                  <a:pt x="4923048" y="1831363"/>
                  <a:pt x="4908961" y="1831363"/>
                </a:cubicBezTo>
                <a:cubicBezTo>
                  <a:pt x="4908961" y="1817276"/>
                  <a:pt x="4894873" y="1817276"/>
                  <a:pt x="4880784" y="1803188"/>
                </a:cubicBezTo>
                <a:cubicBezTo>
                  <a:pt x="4880784" y="1789100"/>
                  <a:pt x="4866696" y="1775013"/>
                  <a:pt x="4852608" y="1775013"/>
                </a:cubicBezTo>
                <a:cubicBezTo>
                  <a:pt x="4824431" y="1746838"/>
                  <a:pt x="4810343" y="1732751"/>
                  <a:pt x="4782167" y="1704576"/>
                </a:cubicBezTo>
                <a:cubicBezTo>
                  <a:pt x="4782167" y="1704576"/>
                  <a:pt x="4782167" y="1704576"/>
                  <a:pt x="4697638" y="1634138"/>
                </a:cubicBezTo>
                <a:cubicBezTo>
                  <a:pt x="4683549" y="1634138"/>
                  <a:pt x="4669461" y="1620051"/>
                  <a:pt x="4669461" y="1620051"/>
                </a:cubicBezTo>
                <a:cubicBezTo>
                  <a:pt x="4669461" y="1620051"/>
                  <a:pt x="4669461" y="1605964"/>
                  <a:pt x="4655372" y="1605964"/>
                </a:cubicBezTo>
                <a:cubicBezTo>
                  <a:pt x="4641285" y="1605964"/>
                  <a:pt x="4627196" y="1577789"/>
                  <a:pt x="4613108" y="1577789"/>
                </a:cubicBezTo>
                <a:cubicBezTo>
                  <a:pt x="4584932" y="1563702"/>
                  <a:pt x="4570843" y="1549614"/>
                  <a:pt x="4542666" y="1535527"/>
                </a:cubicBezTo>
                <a:cubicBezTo>
                  <a:pt x="4535623" y="1528484"/>
                  <a:pt x="4528579" y="1524962"/>
                  <a:pt x="4521535" y="1521440"/>
                </a:cubicBezTo>
                <a:lnTo>
                  <a:pt x="4513274" y="1515933"/>
                </a:lnTo>
                <a:lnTo>
                  <a:pt x="4499507" y="1521440"/>
                </a:lnTo>
                <a:cubicBezTo>
                  <a:pt x="4499507" y="1521440"/>
                  <a:pt x="4499507" y="1521440"/>
                  <a:pt x="4485419" y="1521440"/>
                </a:cubicBezTo>
                <a:cubicBezTo>
                  <a:pt x="4471330" y="1521440"/>
                  <a:pt x="4471330" y="1535527"/>
                  <a:pt x="4471330" y="1535527"/>
                </a:cubicBezTo>
                <a:cubicBezTo>
                  <a:pt x="4443154" y="1535527"/>
                  <a:pt x="4429066" y="1549614"/>
                  <a:pt x="4414979" y="1549614"/>
                </a:cubicBezTo>
                <a:cubicBezTo>
                  <a:pt x="4414979" y="1563702"/>
                  <a:pt x="4400890" y="1563702"/>
                  <a:pt x="4400890" y="1563702"/>
                </a:cubicBezTo>
                <a:cubicBezTo>
                  <a:pt x="4386801" y="1577789"/>
                  <a:pt x="4344537" y="1591876"/>
                  <a:pt x="4316360" y="1605964"/>
                </a:cubicBezTo>
                <a:cubicBezTo>
                  <a:pt x="4302273" y="1605964"/>
                  <a:pt x="4302273" y="1620051"/>
                  <a:pt x="4288184" y="1620051"/>
                </a:cubicBezTo>
                <a:cubicBezTo>
                  <a:pt x="4274096" y="1620051"/>
                  <a:pt x="4274096" y="1634138"/>
                  <a:pt x="4260008" y="1634138"/>
                </a:cubicBezTo>
                <a:cubicBezTo>
                  <a:pt x="4260008" y="1634138"/>
                  <a:pt x="4260008" y="1648227"/>
                  <a:pt x="4245920" y="1648227"/>
                </a:cubicBezTo>
                <a:cubicBezTo>
                  <a:pt x="4245920" y="1648227"/>
                  <a:pt x="4231831" y="1662314"/>
                  <a:pt x="4217743" y="1676401"/>
                </a:cubicBezTo>
                <a:cubicBezTo>
                  <a:pt x="4217743" y="1676401"/>
                  <a:pt x="4217743" y="1676401"/>
                  <a:pt x="4203655" y="1676401"/>
                </a:cubicBezTo>
                <a:cubicBezTo>
                  <a:pt x="4203655" y="1676401"/>
                  <a:pt x="4203655" y="1676401"/>
                  <a:pt x="4175478" y="1704576"/>
                </a:cubicBezTo>
                <a:cubicBezTo>
                  <a:pt x="4175478" y="1704576"/>
                  <a:pt x="4175478" y="1704576"/>
                  <a:pt x="4161390" y="1704576"/>
                </a:cubicBezTo>
                <a:cubicBezTo>
                  <a:pt x="4161390" y="1718663"/>
                  <a:pt x="4147302" y="1718663"/>
                  <a:pt x="4147302" y="1718663"/>
                </a:cubicBezTo>
                <a:cubicBezTo>
                  <a:pt x="4147302" y="1718663"/>
                  <a:pt x="4133214" y="1732751"/>
                  <a:pt x="4133214" y="1732751"/>
                </a:cubicBezTo>
                <a:cubicBezTo>
                  <a:pt x="4133214" y="1732751"/>
                  <a:pt x="4119125" y="1746838"/>
                  <a:pt x="4119125" y="1746838"/>
                </a:cubicBezTo>
                <a:cubicBezTo>
                  <a:pt x="4105037" y="1746838"/>
                  <a:pt x="4105037" y="1746838"/>
                  <a:pt x="4105037" y="1760925"/>
                </a:cubicBezTo>
                <a:cubicBezTo>
                  <a:pt x="4090949" y="1760925"/>
                  <a:pt x="4090949" y="1760925"/>
                  <a:pt x="4090949" y="1760925"/>
                </a:cubicBezTo>
                <a:cubicBezTo>
                  <a:pt x="4090949" y="1760925"/>
                  <a:pt x="4090949" y="1760925"/>
                  <a:pt x="4062772" y="1789100"/>
                </a:cubicBezTo>
                <a:cubicBezTo>
                  <a:pt x="4062772" y="1789100"/>
                  <a:pt x="4062772" y="1789100"/>
                  <a:pt x="4048684" y="1789100"/>
                </a:cubicBezTo>
                <a:cubicBezTo>
                  <a:pt x="4048684" y="1803188"/>
                  <a:pt x="4034596" y="1803188"/>
                  <a:pt x="4034596" y="1817276"/>
                </a:cubicBezTo>
                <a:cubicBezTo>
                  <a:pt x="4034596" y="1817276"/>
                  <a:pt x="4020508" y="1817276"/>
                  <a:pt x="4020508" y="1817276"/>
                </a:cubicBezTo>
                <a:cubicBezTo>
                  <a:pt x="4020508" y="1817276"/>
                  <a:pt x="4020508" y="1831363"/>
                  <a:pt x="4006419" y="1831363"/>
                </a:cubicBezTo>
                <a:cubicBezTo>
                  <a:pt x="4006419" y="1831363"/>
                  <a:pt x="4006419" y="1831363"/>
                  <a:pt x="3992331" y="1845450"/>
                </a:cubicBezTo>
                <a:cubicBezTo>
                  <a:pt x="4006419" y="1845450"/>
                  <a:pt x="3992331" y="1859538"/>
                  <a:pt x="3978244" y="1859538"/>
                </a:cubicBezTo>
                <a:cubicBezTo>
                  <a:pt x="3964155" y="1873625"/>
                  <a:pt x="3964155" y="1887712"/>
                  <a:pt x="3950066" y="1887712"/>
                </a:cubicBezTo>
                <a:cubicBezTo>
                  <a:pt x="3950066" y="1901800"/>
                  <a:pt x="3935979" y="1901800"/>
                  <a:pt x="3935979" y="1915887"/>
                </a:cubicBezTo>
                <a:cubicBezTo>
                  <a:pt x="3921891" y="1915887"/>
                  <a:pt x="3921891" y="1915887"/>
                  <a:pt x="3907802" y="1929974"/>
                </a:cubicBezTo>
                <a:cubicBezTo>
                  <a:pt x="3893713" y="1944061"/>
                  <a:pt x="3865538" y="1958149"/>
                  <a:pt x="3851449" y="1986323"/>
                </a:cubicBezTo>
                <a:cubicBezTo>
                  <a:pt x="3851449" y="1986323"/>
                  <a:pt x="3823273" y="2000412"/>
                  <a:pt x="3823273" y="2014499"/>
                </a:cubicBezTo>
                <a:cubicBezTo>
                  <a:pt x="3823273" y="2028587"/>
                  <a:pt x="3823273" y="2028587"/>
                  <a:pt x="3809185" y="2028587"/>
                </a:cubicBezTo>
                <a:cubicBezTo>
                  <a:pt x="3795096" y="2042674"/>
                  <a:pt x="3781008" y="2056761"/>
                  <a:pt x="3766920" y="2070849"/>
                </a:cubicBezTo>
                <a:cubicBezTo>
                  <a:pt x="3766920" y="2070849"/>
                  <a:pt x="3766920" y="2084936"/>
                  <a:pt x="3752832" y="2084936"/>
                </a:cubicBezTo>
                <a:cubicBezTo>
                  <a:pt x="3752832" y="2099023"/>
                  <a:pt x="3738743" y="2113110"/>
                  <a:pt x="3724655" y="2127198"/>
                </a:cubicBezTo>
                <a:cubicBezTo>
                  <a:pt x="3724655" y="2134241"/>
                  <a:pt x="3721133" y="2137763"/>
                  <a:pt x="3715851" y="2141285"/>
                </a:cubicBezTo>
                <a:lnTo>
                  <a:pt x="3713698" y="2142850"/>
                </a:lnTo>
                <a:lnTo>
                  <a:pt x="3712328" y="2143046"/>
                </a:lnTo>
                <a:lnTo>
                  <a:pt x="3712200" y="2143940"/>
                </a:lnTo>
                <a:lnTo>
                  <a:pt x="3696479" y="2155372"/>
                </a:lnTo>
                <a:cubicBezTo>
                  <a:pt x="3710567" y="2155372"/>
                  <a:pt x="3710567" y="2155372"/>
                  <a:pt x="3710567" y="2155372"/>
                </a:cubicBezTo>
                <a:lnTo>
                  <a:pt x="3712200" y="2143940"/>
                </a:lnTo>
                <a:lnTo>
                  <a:pt x="3713698" y="2142850"/>
                </a:lnTo>
                <a:lnTo>
                  <a:pt x="3724655" y="2141285"/>
                </a:lnTo>
                <a:cubicBezTo>
                  <a:pt x="3696479" y="2169459"/>
                  <a:pt x="3682390" y="2183548"/>
                  <a:pt x="3668303" y="2211723"/>
                </a:cubicBezTo>
                <a:cubicBezTo>
                  <a:pt x="3654214" y="2211723"/>
                  <a:pt x="3654214" y="2225810"/>
                  <a:pt x="3654214" y="2225810"/>
                </a:cubicBezTo>
                <a:cubicBezTo>
                  <a:pt x="3640126" y="2253985"/>
                  <a:pt x="3626037" y="2268072"/>
                  <a:pt x="3597862" y="2296246"/>
                </a:cubicBezTo>
                <a:cubicBezTo>
                  <a:pt x="3597862" y="2303290"/>
                  <a:pt x="3594340" y="2310334"/>
                  <a:pt x="3589056" y="2317377"/>
                </a:cubicBezTo>
                <a:lnTo>
                  <a:pt x="3582600" y="2324421"/>
                </a:lnTo>
                <a:lnTo>
                  <a:pt x="3582013" y="2324421"/>
                </a:lnTo>
                <a:cubicBezTo>
                  <a:pt x="3580251" y="2324421"/>
                  <a:pt x="3576729" y="2324421"/>
                  <a:pt x="3569684" y="2324421"/>
                </a:cubicBezTo>
                <a:cubicBezTo>
                  <a:pt x="3569684" y="2324421"/>
                  <a:pt x="3569684" y="2324421"/>
                  <a:pt x="3569684" y="2338508"/>
                </a:cubicBezTo>
                <a:cubicBezTo>
                  <a:pt x="3569684" y="2338508"/>
                  <a:pt x="3555597" y="2338508"/>
                  <a:pt x="3555597" y="2352596"/>
                </a:cubicBezTo>
                <a:cubicBezTo>
                  <a:pt x="3548552" y="2359641"/>
                  <a:pt x="3545030" y="2366684"/>
                  <a:pt x="3541509" y="2373728"/>
                </a:cubicBezTo>
                <a:lnTo>
                  <a:pt x="3527420" y="2380771"/>
                </a:lnTo>
                <a:cubicBezTo>
                  <a:pt x="3527420" y="2394859"/>
                  <a:pt x="3527420" y="2394859"/>
                  <a:pt x="3527420" y="2394859"/>
                </a:cubicBezTo>
                <a:cubicBezTo>
                  <a:pt x="3520376" y="2401903"/>
                  <a:pt x="3516855" y="2405424"/>
                  <a:pt x="3515093" y="2408946"/>
                </a:cubicBezTo>
                <a:lnTo>
                  <a:pt x="3513333" y="2408946"/>
                </a:lnTo>
                <a:cubicBezTo>
                  <a:pt x="3513333" y="2423033"/>
                  <a:pt x="3513333" y="2423033"/>
                  <a:pt x="3513333" y="2423033"/>
                </a:cubicBezTo>
                <a:cubicBezTo>
                  <a:pt x="3499244" y="2423033"/>
                  <a:pt x="3499244" y="2423033"/>
                  <a:pt x="3499244" y="2437121"/>
                </a:cubicBezTo>
                <a:lnTo>
                  <a:pt x="3491417" y="2455904"/>
                </a:lnTo>
                <a:lnTo>
                  <a:pt x="3488287" y="2460599"/>
                </a:lnTo>
                <a:lnTo>
                  <a:pt x="3471067" y="2479383"/>
                </a:lnTo>
                <a:cubicBezTo>
                  <a:pt x="3471067" y="2493470"/>
                  <a:pt x="3456980" y="2507557"/>
                  <a:pt x="3456980" y="2507557"/>
                </a:cubicBezTo>
                <a:cubicBezTo>
                  <a:pt x="3471067" y="2507557"/>
                  <a:pt x="3471067" y="2493470"/>
                  <a:pt x="3471067" y="2493470"/>
                </a:cubicBezTo>
                <a:cubicBezTo>
                  <a:pt x="3471067" y="2493470"/>
                  <a:pt x="3471067" y="2479383"/>
                  <a:pt x="3485156" y="2479383"/>
                </a:cubicBezTo>
                <a:cubicBezTo>
                  <a:pt x="3485156" y="2493470"/>
                  <a:pt x="3485156" y="2493470"/>
                  <a:pt x="3485156" y="2493470"/>
                </a:cubicBezTo>
                <a:cubicBezTo>
                  <a:pt x="3471067" y="2507557"/>
                  <a:pt x="3471067" y="2507557"/>
                  <a:pt x="3471067" y="2521646"/>
                </a:cubicBezTo>
                <a:cubicBezTo>
                  <a:pt x="3456980" y="2535733"/>
                  <a:pt x="3442891" y="2549821"/>
                  <a:pt x="3442891" y="2563908"/>
                </a:cubicBezTo>
                <a:cubicBezTo>
                  <a:pt x="3442891" y="2563908"/>
                  <a:pt x="3442891" y="2577995"/>
                  <a:pt x="3428803" y="2577995"/>
                </a:cubicBezTo>
                <a:cubicBezTo>
                  <a:pt x="3428803" y="2592082"/>
                  <a:pt x="3428803" y="2606170"/>
                  <a:pt x="3428803" y="2606170"/>
                </a:cubicBezTo>
                <a:cubicBezTo>
                  <a:pt x="3414714" y="2620257"/>
                  <a:pt x="3414714" y="2620257"/>
                  <a:pt x="3414714" y="2634344"/>
                </a:cubicBezTo>
                <a:cubicBezTo>
                  <a:pt x="3400627" y="2662519"/>
                  <a:pt x="3386538" y="2690693"/>
                  <a:pt x="3372450" y="2718869"/>
                </a:cubicBezTo>
                <a:cubicBezTo>
                  <a:pt x="3372450" y="2718869"/>
                  <a:pt x="3372450" y="2718869"/>
                  <a:pt x="3372450" y="2732957"/>
                </a:cubicBezTo>
                <a:cubicBezTo>
                  <a:pt x="3372450" y="2732957"/>
                  <a:pt x="3372450" y="2747044"/>
                  <a:pt x="3372450" y="2747044"/>
                </a:cubicBezTo>
                <a:cubicBezTo>
                  <a:pt x="3372450" y="2761131"/>
                  <a:pt x="3358361" y="2775218"/>
                  <a:pt x="3372450" y="2789306"/>
                </a:cubicBezTo>
                <a:cubicBezTo>
                  <a:pt x="3358361" y="2803393"/>
                  <a:pt x="3358361" y="2817480"/>
                  <a:pt x="3358361" y="2831568"/>
                </a:cubicBezTo>
                <a:cubicBezTo>
                  <a:pt x="3344274" y="2859742"/>
                  <a:pt x="3344274" y="2887917"/>
                  <a:pt x="3344274" y="2916093"/>
                </a:cubicBezTo>
                <a:cubicBezTo>
                  <a:pt x="3344274" y="2930180"/>
                  <a:pt x="3330185" y="2930180"/>
                  <a:pt x="3330185" y="2944268"/>
                </a:cubicBezTo>
                <a:cubicBezTo>
                  <a:pt x="3330185" y="2944268"/>
                  <a:pt x="3330185" y="2958355"/>
                  <a:pt x="3330185" y="2986529"/>
                </a:cubicBezTo>
                <a:cubicBezTo>
                  <a:pt x="3330185" y="3000616"/>
                  <a:pt x="3316097" y="3028791"/>
                  <a:pt x="3316097" y="3056966"/>
                </a:cubicBezTo>
                <a:cubicBezTo>
                  <a:pt x="3316097" y="3056966"/>
                  <a:pt x="3316097" y="3071053"/>
                  <a:pt x="3316097" y="3071053"/>
                </a:cubicBezTo>
                <a:cubicBezTo>
                  <a:pt x="3316097" y="3085142"/>
                  <a:pt x="3316097" y="3099229"/>
                  <a:pt x="3316097" y="3099229"/>
                </a:cubicBezTo>
                <a:cubicBezTo>
                  <a:pt x="3316097" y="3099229"/>
                  <a:pt x="3316097" y="3099229"/>
                  <a:pt x="3302008" y="3183753"/>
                </a:cubicBezTo>
                <a:cubicBezTo>
                  <a:pt x="3302008" y="3226015"/>
                  <a:pt x="3302008" y="3254190"/>
                  <a:pt x="3302008" y="3282365"/>
                </a:cubicBezTo>
                <a:cubicBezTo>
                  <a:pt x="3302008" y="3310540"/>
                  <a:pt x="3316097" y="3324627"/>
                  <a:pt x="3316097" y="3352801"/>
                </a:cubicBezTo>
                <a:cubicBezTo>
                  <a:pt x="3316097" y="3352801"/>
                  <a:pt x="3316097" y="3366889"/>
                  <a:pt x="3316097" y="3380976"/>
                </a:cubicBezTo>
                <a:cubicBezTo>
                  <a:pt x="3316097" y="3395063"/>
                  <a:pt x="3316097" y="3409151"/>
                  <a:pt x="3330185" y="3423238"/>
                </a:cubicBezTo>
                <a:cubicBezTo>
                  <a:pt x="3330185" y="3437327"/>
                  <a:pt x="3330185" y="3437327"/>
                  <a:pt x="3330185" y="3437327"/>
                </a:cubicBezTo>
                <a:cubicBezTo>
                  <a:pt x="3330185" y="3465501"/>
                  <a:pt x="3330185" y="3493676"/>
                  <a:pt x="3344274" y="3521850"/>
                </a:cubicBezTo>
                <a:cubicBezTo>
                  <a:pt x="3358361" y="3550025"/>
                  <a:pt x="3358361" y="3578200"/>
                  <a:pt x="3372450" y="3592287"/>
                </a:cubicBezTo>
                <a:cubicBezTo>
                  <a:pt x="3372450" y="3606375"/>
                  <a:pt x="3386538" y="3620463"/>
                  <a:pt x="3386538" y="3634550"/>
                </a:cubicBezTo>
                <a:cubicBezTo>
                  <a:pt x="3386538" y="3634550"/>
                  <a:pt x="3386538" y="3634550"/>
                  <a:pt x="3386538" y="3648637"/>
                </a:cubicBezTo>
                <a:cubicBezTo>
                  <a:pt x="3386538" y="3662725"/>
                  <a:pt x="3400627" y="3676812"/>
                  <a:pt x="3414714" y="3690899"/>
                </a:cubicBezTo>
                <a:cubicBezTo>
                  <a:pt x="3414714" y="3690899"/>
                  <a:pt x="3414714" y="3704987"/>
                  <a:pt x="3414714" y="3704987"/>
                </a:cubicBezTo>
                <a:cubicBezTo>
                  <a:pt x="3414714" y="3704987"/>
                  <a:pt x="3414714" y="3704987"/>
                  <a:pt x="3414714" y="3719074"/>
                </a:cubicBezTo>
                <a:cubicBezTo>
                  <a:pt x="3414714" y="3719074"/>
                  <a:pt x="3428803" y="3733161"/>
                  <a:pt x="3428803" y="3733161"/>
                </a:cubicBezTo>
                <a:cubicBezTo>
                  <a:pt x="3428803" y="3747248"/>
                  <a:pt x="3442891" y="3775423"/>
                  <a:pt x="3442891" y="3789512"/>
                </a:cubicBezTo>
                <a:cubicBezTo>
                  <a:pt x="3456980" y="3803599"/>
                  <a:pt x="3456980" y="3817686"/>
                  <a:pt x="3471067" y="3831773"/>
                </a:cubicBezTo>
                <a:cubicBezTo>
                  <a:pt x="3485156" y="3874035"/>
                  <a:pt x="3499244" y="3916297"/>
                  <a:pt x="3527420" y="3958560"/>
                </a:cubicBezTo>
                <a:cubicBezTo>
                  <a:pt x="3541509" y="3986735"/>
                  <a:pt x="3555597" y="4000822"/>
                  <a:pt x="3555597" y="4028997"/>
                </a:cubicBezTo>
                <a:cubicBezTo>
                  <a:pt x="3569684" y="4043084"/>
                  <a:pt x="3569684" y="4057172"/>
                  <a:pt x="3583773" y="4071259"/>
                </a:cubicBezTo>
                <a:cubicBezTo>
                  <a:pt x="3597862" y="4085346"/>
                  <a:pt x="3597862" y="4099433"/>
                  <a:pt x="3611950" y="4113521"/>
                </a:cubicBezTo>
                <a:cubicBezTo>
                  <a:pt x="3654214" y="4155784"/>
                  <a:pt x="3682390" y="4212133"/>
                  <a:pt x="3724655" y="4254395"/>
                </a:cubicBezTo>
                <a:cubicBezTo>
                  <a:pt x="3738743" y="4268482"/>
                  <a:pt x="3752832" y="4268482"/>
                  <a:pt x="3752832" y="4282570"/>
                </a:cubicBezTo>
                <a:cubicBezTo>
                  <a:pt x="3752832" y="4282570"/>
                  <a:pt x="3766920" y="4282570"/>
                  <a:pt x="3766920" y="4282570"/>
                </a:cubicBezTo>
                <a:cubicBezTo>
                  <a:pt x="3795096" y="4324833"/>
                  <a:pt x="3823273" y="4353007"/>
                  <a:pt x="3851449" y="4381182"/>
                </a:cubicBezTo>
                <a:cubicBezTo>
                  <a:pt x="3879626" y="4395269"/>
                  <a:pt x="3893713" y="4409357"/>
                  <a:pt x="3921891" y="4437531"/>
                </a:cubicBezTo>
                <a:cubicBezTo>
                  <a:pt x="3935979" y="4437531"/>
                  <a:pt x="3950066" y="4451619"/>
                  <a:pt x="3964155" y="4465706"/>
                </a:cubicBezTo>
                <a:cubicBezTo>
                  <a:pt x="3978244" y="4479793"/>
                  <a:pt x="3992331" y="4493882"/>
                  <a:pt x="4006419" y="4507969"/>
                </a:cubicBezTo>
                <a:cubicBezTo>
                  <a:pt x="4020508" y="4507969"/>
                  <a:pt x="4020508" y="4507969"/>
                  <a:pt x="4020508" y="4507969"/>
                </a:cubicBezTo>
                <a:cubicBezTo>
                  <a:pt x="4020508" y="4522056"/>
                  <a:pt x="4034596" y="4522056"/>
                  <a:pt x="4048684" y="4536144"/>
                </a:cubicBezTo>
                <a:cubicBezTo>
                  <a:pt x="4048684" y="4536144"/>
                  <a:pt x="4048684" y="4536144"/>
                  <a:pt x="4062772" y="4536144"/>
                </a:cubicBezTo>
                <a:cubicBezTo>
                  <a:pt x="4048684" y="4536144"/>
                  <a:pt x="4062772" y="4550231"/>
                  <a:pt x="4048684" y="4550231"/>
                </a:cubicBezTo>
                <a:cubicBezTo>
                  <a:pt x="4048684" y="4550231"/>
                  <a:pt x="4048684" y="4550231"/>
                  <a:pt x="4034596" y="4550231"/>
                </a:cubicBezTo>
                <a:cubicBezTo>
                  <a:pt x="4048684" y="4564318"/>
                  <a:pt x="4048684" y="4564318"/>
                  <a:pt x="4062772" y="4578406"/>
                </a:cubicBezTo>
                <a:cubicBezTo>
                  <a:pt x="4076861" y="4592493"/>
                  <a:pt x="4105037" y="4592493"/>
                  <a:pt x="4119125" y="4606580"/>
                </a:cubicBezTo>
                <a:lnTo>
                  <a:pt x="4183518" y="4638774"/>
                </a:lnTo>
                <a:lnTo>
                  <a:pt x="4190461" y="4634755"/>
                </a:lnTo>
                <a:cubicBezTo>
                  <a:pt x="4190461" y="4634755"/>
                  <a:pt x="4218638" y="4634755"/>
                  <a:pt x="4232726" y="4634755"/>
                </a:cubicBezTo>
                <a:cubicBezTo>
                  <a:pt x="4232726" y="4634755"/>
                  <a:pt x="4232726" y="4634755"/>
                  <a:pt x="4232726" y="4648842"/>
                </a:cubicBezTo>
                <a:lnTo>
                  <a:pt x="4226826" y="4658430"/>
                </a:lnTo>
                <a:lnTo>
                  <a:pt x="4254724" y="4669974"/>
                </a:lnTo>
                <a:cubicBezTo>
                  <a:pt x="4274096" y="4677017"/>
                  <a:pt x="4295228" y="4684062"/>
                  <a:pt x="4316360" y="4691105"/>
                </a:cubicBezTo>
                <a:cubicBezTo>
                  <a:pt x="4323405" y="4691105"/>
                  <a:pt x="4330449" y="4691105"/>
                  <a:pt x="4337493" y="4692866"/>
                </a:cubicBezTo>
                <a:lnTo>
                  <a:pt x="4353845" y="4702405"/>
                </a:lnTo>
                <a:lnTo>
                  <a:pt x="4355117" y="4701450"/>
                </a:lnTo>
                <a:cubicBezTo>
                  <a:pt x="4363042" y="4695507"/>
                  <a:pt x="4373608" y="4687583"/>
                  <a:pt x="4387696" y="4677018"/>
                </a:cubicBezTo>
                <a:cubicBezTo>
                  <a:pt x="4415873" y="4662929"/>
                  <a:pt x="4429962" y="4648842"/>
                  <a:pt x="4444049" y="4648842"/>
                </a:cubicBezTo>
                <a:cubicBezTo>
                  <a:pt x="4458138" y="4634755"/>
                  <a:pt x="4472226" y="4634755"/>
                  <a:pt x="4472226" y="4634755"/>
                </a:cubicBezTo>
                <a:cubicBezTo>
                  <a:pt x="4500402" y="4606580"/>
                  <a:pt x="4500402" y="4606580"/>
                  <a:pt x="4500402" y="4620667"/>
                </a:cubicBezTo>
                <a:cubicBezTo>
                  <a:pt x="4514491" y="4606580"/>
                  <a:pt x="4528579" y="4606580"/>
                  <a:pt x="4542666" y="4592493"/>
                </a:cubicBezTo>
                <a:cubicBezTo>
                  <a:pt x="4542666" y="4592493"/>
                  <a:pt x="4542666" y="4578406"/>
                  <a:pt x="4556755" y="4578406"/>
                </a:cubicBezTo>
                <a:cubicBezTo>
                  <a:pt x="4570843" y="4564318"/>
                  <a:pt x="4599019" y="4536144"/>
                  <a:pt x="4613108" y="4522056"/>
                </a:cubicBezTo>
                <a:cubicBezTo>
                  <a:pt x="4627196" y="4522056"/>
                  <a:pt x="4627196" y="4507969"/>
                  <a:pt x="4641285" y="4493882"/>
                </a:cubicBezTo>
                <a:cubicBezTo>
                  <a:pt x="4655372" y="4493882"/>
                  <a:pt x="4683549" y="4465706"/>
                  <a:pt x="4697638" y="4451619"/>
                </a:cubicBezTo>
                <a:cubicBezTo>
                  <a:pt x="4697638" y="4451619"/>
                  <a:pt x="4711725" y="4451619"/>
                  <a:pt x="4711725" y="4437531"/>
                </a:cubicBezTo>
                <a:cubicBezTo>
                  <a:pt x="4725814" y="4409357"/>
                  <a:pt x="4753990" y="4395269"/>
                  <a:pt x="4768078" y="4353007"/>
                </a:cubicBezTo>
                <a:cubicBezTo>
                  <a:pt x="4782167" y="4353007"/>
                  <a:pt x="4782167" y="4353007"/>
                  <a:pt x="4782167" y="4338920"/>
                </a:cubicBezTo>
                <a:cubicBezTo>
                  <a:pt x="4796255" y="4324833"/>
                  <a:pt x="4810343" y="4310744"/>
                  <a:pt x="4824431" y="4296657"/>
                </a:cubicBezTo>
                <a:cubicBezTo>
                  <a:pt x="4838520" y="4282570"/>
                  <a:pt x="4838520" y="4282570"/>
                  <a:pt x="4838520" y="4282570"/>
                </a:cubicBezTo>
                <a:cubicBezTo>
                  <a:pt x="4838520" y="4268482"/>
                  <a:pt x="4838520" y="4268482"/>
                  <a:pt x="4838520" y="4268482"/>
                </a:cubicBezTo>
                <a:cubicBezTo>
                  <a:pt x="4866696" y="4254395"/>
                  <a:pt x="4880784" y="4226221"/>
                  <a:pt x="4894873" y="4226221"/>
                </a:cubicBezTo>
                <a:cubicBezTo>
                  <a:pt x="4894873" y="4226221"/>
                  <a:pt x="4894873" y="4212133"/>
                  <a:pt x="4894873" y="4212133"/>
                </a:cubicBezTo>
                <a:cubicBezTo>
                  <a:pt x="4908961" y="4212133"/>
                  <a:pt x="4908961" y="4198046"/>
                  <a:pt x="4923048" y="4183958"/>
                </a:cubicBezTo>
                <a:cubicBezTo>
                  <a:pt x="4923048" y="4169871"/>
                  <a:pt x="4937137" y="4169871"/>
                  <a:pt x="4937137" y="4169871"/>
                </a:cubicBezTo>
                <a:cubicBezTo>
                  <a:pt x="4951226" y="4155784"/>
                  <a:pt x="4965313" y="4127608"/>
                  <a:pt x="4979401" y="4113521"/>
                </a:cubicBezTo>
                <a:cubicBezTo>
                  <a:pt x="4979401" y="4113521"/>
                  <a:pt x="4979401" y="4099433"/>
                  <a:pt x="4993490" y="4099433"/>
                </a:cubicBezTo>
                <a:cubicBezTo>
                  <a:pt x="4993490" y="4071259"/>
                  <a:pt x="5007579" y="4057172"/>
                  <a:pt x="5021666" y="4028997"/>
                </a:cubicBezTo>
                <a:cubicBezTo>
                  <a:pt x="5035754" y="4014910"/>
                  <a:pt x="5049843" y="3986735"/>
                  <a:pt x="5063931" y="3958560"/>
                </a:cubicBezTo>
                <a:cubicBezTo>
                  <a:pt x="5063931" y="3972648"/>
                  <a:pt x="5078019" y="3972648"/>
                  <a:pt x="5078019" y="3986735"/>
                </a:cubicBezTo>
                <a:cubicBezTo>
                  <a:pt x="5078019" y="4000822"/>
                  <a:pt x="5063931" y="4028997"/>
                  <a:pt x="5063931" y="4043084"/>
                </a:cubicBezTo>
                <a:cubicBezTo>
                  <a:pt x="5063931" y="4057172"/>
                  <a:pt x="5063931" y="4071259"/>
                  <a:pt x="5063931" y="4085346"/>
                </a:cubicBezTo>
                <a:cubicBezTo>
                  <a:pt x="5063931" y="4085346"/>
                  <a:pt x="5063931" y="4099433"/>
                  <a:pt x="5063931" y="4113521"/>
                </a:cubicBezTo>
                <a:cubicBezTo>
                  <a:pt x="5049843" y="4141697"/>
                  <a:pt x="5035754" y="4169871"/>
                  <a:pt x="5021666" y="4198046"/>
                </a:cubicBezTo>
                <a:cubicBezTo>
                  <a:pt x="5021666" y="4212133"/>
                  <a:pt x="5021666" y="4212133"/>
                  <a:pt x="5021666" y="4212133"/>
                </a:cubicBezTo>
                <a:cubicBezTo>
                  <a:pt x="5021666" y="4226221"/>
                  <a:pt x="5007579" y="4240308"/>
                  <a:pt x="4993490" y="4268482"/>
                </a:cubicBezTo>
                <a:cubicBezTo>
                  <a:pt x="4979401" y="4296657"/>
                  <a:pt x="4979401" y="4324833"/>
                  <a:pt x="4965313" y="4353007"/>
                </a:cubicBezTo>
                <a:cubicBezTo>
                  <a:pt x="4937137" y="4367095"/>
                  <a:pt x="4923048" y="4395269"/>
                  <a:pt x="4908961" y="4423444"/>
                </a:cubicBezTo>
                <a:cubicBezTo>
                  <a:pt x="4894873" y="4451619"/>
                  <a:pt x="4880784" y="4479793"/>
                  <a:pt x="4852608" y="4522056"/>
                </a:cubicBezTo>
                <a:cubicBezTo>
                  <a:pt x="4838520" y="4536144"/>
                  <a:pt x="4824431" y="4550231"/>
                  <a:pt x="4824431" y="4564318"/>
                </a:cubicBezTo>
                <a:cubicBezTo>
                  <a:pt x="4796255" y="4592493"/>
                  <a:pt x="4796255" y="4620667"/>
                  <a:pt x="4782167" y="4634755"/>
                </a:cubicBezTo>
                <a:cubicBezTo>
                  <a:pt x="4782167" y="4662929"/>
                  <a:pt x="4768078" y="4677018"/>
                  <a:pt x="4753990" y="4705192"/>
                </a:cubicBezTo>
                <a:cubicBezTo>
                  <a:pt x="4739902" y="4733367"/>
                  <a:pt x="4725814" y="4761542"/>
                  <a:pt x="4711725" y="4775629"/>
                </a:cubicBezTo>
                <a:cubicBezTo>
                  <a:pt x="4704682" y="4789716"/>
                  <a:pt x="4697638" y="4800282"/>
                  <a:pt x="4690593" y="4809086"/>
                </a:cubicBezTo>
                <a:lnTo>
                  <a:pt x="4674017" y="4827043"/>
                </a:lnTo>
                <a:lnTo>
                  <a:pt x="4682655" y="4831978"/>
                </a:lnTo>
                <a:cubicBezTo>
                  <a:pt x="4682655" y="4831978"/>
                  <a:pt x="4696742" y="4831978"/>
                  <a:pt x="4696742" y="4831978"/>
                </a:cubicBezTo>
                <a:cubicBezTo>
                  <a:pt x="4710831" y="4839022"/>
                  <a:pt x="4721397" y="4842545"/>
                  <a:pt x="4730202" y="4844306"/>
                </a:cubicBezTo>
                <a:lnTo>
                  <a:pt x="4741867" y="4845203"/>
                </a:lnTo>
                <a:lnTo>
                  <a:pt x="4753990" y="4831978"/>
                </a:lnTo>
                <a:cubicBezTo>
                  <a:pt x="4768078" y="4817891"/>
                  <a:pt x="4782167" y="4803804"/>
                  <a:pt x="4796255" y="4789716"/>
                </a:cubicBezTo>
                <a:cubicBezTo>
                  <a:pt x="4810343" y="4775629"/>
                  <a:pt x="4838520" y="4761542"/>
                  <a:pt x="4838520" y="4747454"/>
                </a:cubicBezTo>
                <a:cubicBezTo>
                  <a:pt x="4866696" y="4733367"/>
                  <a:pt x="4880784" y="4705192"/>
                  <a:pt x="4894873" y="4691105"/>
                </a:cubicBezTo>
                <a:cubicBezTo>
                  <a:pt x="4894873" y="4691105"/>
                  <a:pt x="4908961" y="4691105"/>
                  <a:pt x="4908961" y="4691105"/>
                </a:cubicBezTo>
                <a:cubicBezTo>
                  <a:pt x="4923048" y="4677018"/>
                  <a:pt x="4951226" y="4648842"/>
                  <a:pt x="4965313" y="4634755"/>
                </a:cubicBezTo>
                <a:cubicBezTo>
                  <a:pt x="4993490" y="4606580"/>
                  <a:pt x="5021666" y="4578406"/>
                  <a:pt x="5035754" y="4550231"/>
                </a:cubicBezTo>
                <a:cubicBezTo>
                  <a:pt x="5049843" y="4536144"/>
                  <a:pt x="5049843" y="4522056"/>
                  <a:pt x="5063931" y="4522056"/>
                </a:cubicBezTo>
                <a:cubicBezTo>
                  <a:pt x="5078019" y="4522056"/>
                  <a:pt x="5078019" y="4522056"/>
                  <a:pt x="5063931" y="4536144"/>
                </a:cubicBezTo>
                <a:cubicBezTo>
                  <a:pt x="5049843" y="4564318"/>
                  <a:pt x="5049843" y="4578406"/>
                  <a:pt x="5049843" y="4592493"/>
                </a:cubicBezTo>
                <a:cubicBezTo>
                  <a:pt x="5049843" y="4592493"/>
                  <a:pt x="5049843" y="4606580"/>
                  <a:pt x="5049843" y="4606580"/>
                </a:cubicBezTo>
                <a:cubicBezTo>
                  <a:pt x="5049843" y="4620667"/>
                  <a:pt x="5021666" y="4662929"/>
                  <a:pt x="5021666" y="4677018"/>
                </a:cubicBezTo>
                <a:cubicBezTo>
                  <a:pt x="4979401" y="4733367"/>
                  <a:pt x="4951226" y="4803804"/>
                  <a:pt x="4894873" y="4860154"/>
                </a:cubicBezTo>
                <a:lnTo>
                  <a:pt x="4902783" y="4860154"/>
                </a:lnTo>
                <a:cubicBezTo>
                  <a:pt x="4908066" y="4860154"/>
                  <a:pt x="4915110" y="4860154"/>
                  <a:pt x="4922154" y="4860154"/>
                </a:cubicBezTo>
                <a:cubicBezTo>
                  <a:pt x="4922154" y="4860154"/>
                  <a:pt x="4922154" y="4860154"/>
                  <a:pt x="4936242" y="4860154"/>
                </a:cubicBezTo>
                <a:cubicBezTo>
                  <a:pt x="4936242" y="4860154"/>
                  <a:pt x="4936242" y="4860154"/>
                  <a:pt x="4950331" y="4860154"/>
                </a:cubicBezTo>
                <a:cubicBezTo>
                  <a:pt x="4950331" y="4846067"/>
                  <a:pt x="4950331" y="4846067"/>
                  <a:pt x="4964418" y="4846067"/>
                </a:cubicBezTo>
                <a:cubicBezTo>
                  <a:pt x="4992595" y="4846067"/>
                  <a:pt x="5006683" y="4846067"/>
                  <a:pt x="5034860" y="4846067"/>
                </a:cubicBezTo>
                <a:cubicBezTo>
                  <a:pt x="5063036" y="4831978"/>
                  <a:pt x="5091213" y="4846067"/>
                  <a:pt x="5119389" y="4846067"/>
                </a:cubicBezTo>
                <a:cubicBezTo>
                  <a:pt x="5119389" y="4846067"/>
                  <a:pt x="5122911" y="4846067"/>
                  <a:pt x="5128194" y="4846067"/>
                </a:cubicBezTo>
                <a:lnTo>
                  <a:pt x="5136626" y="4846067"/>
                </a:lnTo>
                <a:lnTo>
                  <a:pt x="5153743" y="4830218"/>
                </a:lnTo>
                <a:cubicBezTo>
                  <a:pt x="5169593" y="4814369"/>
                  <a:pt x="5183681" y="4796760"/>
                  <a:pt x="5190725" y="4775629"/>
                </a:cubicBezTo>
                <a:cubicBezTo>
                  <a:pt x="5190725" y="4775629"/>
                  <a:pt x="5190725" y="4775629"/>
                  <a:pt x="5204813" y="4761542"/>
                </a:cubicBezTo>
                <a:cubicBezTo>
                  <a:pt x="5204813" y="4761542"/>
                  <a:pt x="5204813" y="4761542"/>
                  <a:pt x="5190725" y="4761542"/>
                </a:cubicBezTo>
                <a:cubicBezTo>
                  <a:pt x="5204813" y="4761542"/>
                  <a:pt x="5204813" y="4747454"/>
                  <a:pt x="5218902" y="4747454"/>
                </a:cubicBezTo>
                <a:cubicBezTo>
                  <a:pt x="5232990" y="4705192"/>
                  <a:pt x="5261166" y="4662929"/>
                  <a:pt x="5289343" y="4634755"/>
                </a:cubicBezTo>
                <a:cubicBezTo>
                  <a:pt x="5289343" y="4634755"/>
                  <a:pt x="5289343" y="4634755"/>
                  <a:pt x="5303431" y="4620667"/>
                </a:cubicBezTo>
                <a:cubicBezTo>
                  <a:pt x="5303431" y="4606580"/>
                  <a:pt x="5317519" y="4606580"/>
                  <a:pt x="5317519" y="4606580"/>
                </a:cubicBezTo>
                <a:cubicBezTo>
                  <a:pt x="5317519" y="4606580"/>
                  <a:pt x="5331608" y="4592493"/>
                  <a:pt x="5331608" y="4592493"/>
                </a:cubicBezTo>
                <a:cubicBezTo>
                  <a:pt x="5331608" y="4592493"/>
                  <a:pt x="5331608" y="4592493"/>
                  <a:pt x="5345695" y="4564318"/>
                </a:cubicBezTo>
                <a:cubicBezTo>
                  <a:pt x="5345695" y="4564318"/>
                  <a:pt x="5345695" y="4564318"/>
                  <a:pt x="5373872" y="4536144"/>
                </a:cubicBezTo>
                <a:cubicBezTo>
                  <a:pt x="5373872" y="4536144"/>
                  <a:pt x="5373872" y="4522056"/>
                  <a:pt x="5373872" y="4522056"/>
                </a:cubicBezTo>
                <a:cubicBezTo>
                  <a:pt x="5373872" y="4522056"/>
                  <a:pt x="5387961" y="4507969"/>
                  <a:pt x="5387961" y="4507969"/>
                </a:cubicBezTo>
                <a:cubicBezTo>
                  <a:pt x="5402048" y="4507969"/>
                  <a:pt x="5402048" y="4493882"/>
                  <a:pt x="5416136" y="4479793"/>
                </a:cubicBezTo>
                <a:cubicBezTo>
                  <a:pt x="5416136" y="4465706"/>
                  <a:pt x="5430225" y="4451619"/>
                  <a:pt x="5444314" y="4437531"/>
                </a:cubicBezTo>
                <a:cubicBezTo>
                  <a:pt x="5458401" y="4409357"/>
                  <a:pt x="5472489" y="4395269"/>
                  <a:pt x="5472489" y="4381182"/>
                </a:cubicBezTo>
                <a:cubicBezTo>
                  <a:pt x="5472489" y="4381182"/>
                  <a:pt x="5472489" y="4367095"/>
                  <a:pt x="5472489" y="4367095"/>
                </a:cubicBezTo>
                <a:cubicBezTo>
                  <a:pt x="5486578" y="4338920"/>
                  <a:pt x="5500667" y="4310744"/>
                  <a:pt x="5528842" y="4268482"/>
                </a:cubicBezTo>
                <a:cubicBezTo>
                  <a:pt x="5528842" y="4268482"/>
                  <a:pt x="5528842" y="4254395"/>
                  <a:pt x="5528842" y="4254395"/>
                </a:cubicBezTo>
                <a:cubicBezTo>
                  <a:pt x="5528842" y="4240308"/>
                  <a:pt x="5542931" y="4240308"/>
                  <a:pt x="5542931" y="4226221"/>
                </a:cubicBezTo>
                <a:cubicBezTo>
                  <a:pt x="5542931" y="4212133"/>
                  <a:pt x="5571107" y="4169871"/>
                  <a:pt x="5585195" y="4141697"/>
                </a:cubicBezTo>
                <a:cubicBezTo>
                  <a:pt x="5585195" y="4127608"/>
                  <a:pt x="5585195" y="4113521"/>
                  <a:pt x="5599284" y="4099433"/>
                </a:cubicBezTo>
                <a:cubicBezTo>
                  <a:pt x="5613371" y="4057172"/>
                  <a:pt x="5627460" y="4000822"/>
                  <a:pt x="5641548" y="3958560"/>
                </a:cubicBezTo>
                <a:cubicBezTo>
                  <a:pt x="5641548" y="3944472"/>
                  <a:pt x="5655637" y="3930385"/>
                  <a:pt x="5655637" y="3916297"/>
                </a:cubicBezTo>
                <a:cubicBezTo>
                  <a:pt x="5655637" y="3916297"/>
                  <a:pt x="5655637" y="3916297"/>
                  <a:pt x="5669724" y="3888123"/>
                </a:cubicBezTo>
                <a:cubicBezTo>
                  <a:pt x="5683813" y="3845861"/>
                  <a:pt x="5683813" y="3803599"/>
                  <a:pt x="5697901" y="3775423"/>
                </a:cubicBezTo>
                <a:cubicBezTo>
                  <a:pt x="5711990" y="3747248"/>
                  <a:pt x="5726077" y="3719074"/>
                  <a:pt x="5726077" y="3690899"/>
                </a:cubicBezTo>
                <a:cubicBezTo>
                  <a:pt x="5726077" y="3662725"/>
                  <a:pt x="5726077" y="3620463"/>
                  <a:pt x="5740166" y="3592287"/>
                </a:cubicBezTo>
                <a:cubicBezTo>
                  <a:pt x="5754254" y="3578200"/>
                  <a:pt x="5754254" y="3564112"/>
                  <a:pt x="5754254" y="3564112"/>
                </a:cubicBezTo>
                <a:cubicBezTo>
                  <a:pt x="5754254" y="3535938"/>
                  <a:pt x="5754254" y="3521850"/>
                  <a:pt x="5768341" y="3521850"/>
                </a:cubicBezTo>
                <a:cubicBezTo>
                  <a:pt x="5768341" y="3507763"/>
                  <a:pt x="5768341" y="3493676"/>
                  <a:pt x="5768341" y="3479588"/>
                </a:cubicBezTo>
                <a:cubicBezTo>
                  <a:pt x="5782430" y="3437327"/>
                  <a:pt x="5782430" y="3409151"/>
                  <a:pt x="5782430" y="3366889"/>
                </a:cubicBezTo>
                <a:cubicBezTo>
                  <a:pt x="5782430" y="3352801"/>
                  <a:pt x="5796519" y="3324627"/>
                  <a:pt x="5782430" y="3310540"/>
                </a:cubicBezTo>
                <a:cubicBezTo>
                  <a:pt x="5782430" y="3282365"/>
                  <a:pt x="5796519" y="3268278"/>
                  <a:pt x="5796519" y="3240102"/>
                </a:cubicBezTo>
                <a:cubicBezTo>
                  <a:pt x="5796519" y="3226015"/>
                  <a:pt x="5810607" y="3211927"/>
                  <a:pt x="5810607" y="3211927"/>
                </a:cubicBezTo>
                <a:cubicBezTo>
                  <a:pt x="5824694" y="3183753"/>
                  <a:pt x="5824694" y="3183753"/>
                  <a:pt x="5824694" y="3226015"/>
                </a:cubicBezTo>
                <a:cubicBezTo>
                  <a:pt x="5824694" y="3254190"/>
                  <a:pt x="5824694" y="3268278"/>
                  <a:pt x="5824694" y="3282365"/>
                </a:cubicBezTo>
                <a:cubicBezTo>
                  <a:pt x="5824694" y="3296452"/>
                  <a:pt x="5824694" y="3310540"/>
                  <a:pt x="5824694" y="3324627"/>
                </a:cubicBezTo>
                <a:lnTo>
                  <a:pt x="5824694" y="3352801"/>
                </a:lnTo>
                <a:cubicBezTo>
                  <a:pt x="5838783" y="3352801"/>
                  <a:pt x="5838783" y="3352801"/>
                  <a:pt x="5838783" y="3352801"/>
                </a:cubicBezTo>
                <a:cubicBezTo>
                  <a:pt x="5852872" y="3324627"/>
                  <a:pt x="5852872" y="3324627"/>
                  <a:pt x="5852872" y="3338714"/>
                </a:cubicBezTo>
                <a:cubicBezTo>
                  <a:pt x="5866960" y="3338714"/>
                  <a:pt x="5881047" y="3324627"/>
                  <a:pt x="5881047" y="3282365"/>
                </a:cubicBezTo>
                <a:cubicBezTo>
                  <a:pt x="5881047" y="3268278"/>
                  <a:pt x="5881047" y="3268278"/>
                  <a:pt x="5895136" y="3254190"/>
                </a:cubicBezTo>
                <a:cubicBezTo>
                  <a:pt x="5895136" y="3268278"/>
                  <a:pt x="5895136" y="3268278"/>
                  <a:pt x="5895136" y="3268278"/>
                </a:cubicBezTo>
                <a:cubicBezTo>
                  <a:pt x="5895136" y="3268278"/>
                  <a:pt x="5895136" y="3282365"/>
                  <a:pt x="5895136" y="3282365"/>
                </a:cubicBezTo>
                <a:cubicBezTo>
                  <a:pt x="5909224" y="3296452"/>
                  <a:pt x="5923313" y="3296452"/>
                  <a:pt x="5923313" y="3296452"/>
                </a:cubicBezTo>
                <a:cubicBezTo>
                  <a:pt x="5937400" y="3310540"/>
                  <a:pt x="5951489" y="3338714"/>
                  <a:pt x="5951489" y="3395063"/>
                </a:cubicBezTo>
                <a:cubicBezTo>
                  <a:pt x="5951489" y="3409151"/>
                  <a:pt x="5965577" y="3409151"/>
                  <a:pt x="5965577" y="3395063"/>
                </a:cubicBezTo>
                <a:cubicBezTo>
                  <a:pt x="5965577" y="3380976"/>
                  <a:pt x="5979666" y="3395063"/>
                  <a:pt x="5979666" y="3409151"/>
                </a:cubicBezTo>
                <a:cubicBezTo>
                  <a:pt x="5979666" y="3437327"/>
                  <a:pt x="5979666" y="3465501"/>
                  <a:pt x="5979666" y="3465501"/>
                </a:cubicBezTo>
                <a:cubicBezTo>
                  <a:pt x="5993753" y="3465501"/>
                  <a:pt x="5993753" y="3479588"/>
                  <a:pt x="5993753" y="3493676"/>
                </a:cubicBezTo>
                <a:cubicBezTo>
                  <a:pt x="5993753" y="3521850"/>
                  <a:pt x="5993753" y="3564112"/>
                  <a:pt x="5993753" y="3578200"/>
                </a:cubicBezTo>
                <a:cubicBezTo>
                  <a:pt x="5993753" y="3606375"/>
                  <a:pt x="5993753" y="3662725"/>
                  <a:pt x="5993753" y="3690899"/>
                </a:cubicBezTo>
                <a:cubicBezTo>
                  <a:pt x="5993753" y="3719074"/>
                  <a:pt x="5993753" y="3747248"/>
                  <a:pt x="5993753" y="3775423"/>
                </a:cubicBezTo>
                <a:cubicBezTo>
                  <a:pt x="5993753" y="3789512"/>
                  <a:pt x="5993753" y="3803599"/>
                  <a:pt x="5993753" y="3817686"/>
                </a:cubicBezTo>
                <a:cubicBezTo>
                  <a:pt x="5979666" y="3831773"/>
                  <a:pt x="5979666" y="3845861"/>
                  <a:pt x="5979666" y="3859948"/>
                </a:cubicBezTo>
                <a:cubicBezTo>
                  <a:pt x="5979666" y="3874035"/>
                  <a:pt x="5979666" y="3888123"/>
                  <a:pt x="5979666" y="3902210"/>
                </a:cubicBezTo>
                <a:cubicBezTo>
                  <a:pt x="5979666" y="3902210"/>
                  <a:pt x="5979666" y="3902210"/>
                  <a:pt x="5979666" y="3916297"/>
                </a:cubicBezTo>
                <a:cubicBezTo>
                  <a:pt x="5965577" y="3930385"/>
                  <a:pt x="5965577" y="3930385"/>
                  <a:pt x="5979666" y="3944472"/>
                </a:cubicBezTo>
                <a:cubicBezTo>
                  <a:pt x="5979666" y="3944472"/>
                  <a:pt x="5965577" y="3972648"/>
                  <a:pt x="5965577" y="4000822"/>
                </a:cubicBezTo>
                <a:cubicBezTo>
                  <a:pt x="5965577" y="4043084"/>
                  <a:pt x="5937400" y="4099433"/>
                  <a:pt x="5923313" y="4155784"/>
                </a:cubicBezTo>
                <a:cubicBezTo>
                  <a:pt x="5923313" y="4183958"/>
                  <a:pt x="5923313" y="4212133"/>
                  <a:pt x="5895136" y="4254395"/>
                </a:cubicBezTo>
                <a:cubicBezTo>
                  <a:pt x="5909224" y="4254395"/>
                  <a:pt x="5895136" y="4296657"/>
                  <a:pt x="5895136" y="4310744"/>
                </a:cubicBezTo>
                <a:cubicBezTo>
                  <a:pt x="5895136" y="4310744"/>
                  <a:pt x="5881047" y="4310744"/>
                  <a:pt x="5881047" y="4324833"/>
                </a:cubicBezTo>
                <a:cubicBezTo>
                  <a:pt x="5895136" y="4310744"/>
                  <a:pt x="5909224" y="4296657"/>
                  <a:pt x="5895136" y="4338920"/>
                </a:cubicBezTo>
                <a:cubicBezTo>
                  <a:pt x="5881047" y="4367095"/>
                  <a:pt x="5866960" y="4395269"/>
                  <a:pt x="5866960" y="4423444"/>
                </a:cubicBezTo>
                <a:cubicBezTo>
                  <a:pt x="5852872" y="4465706"/>
                  <a:pt x="5838783" y="4479793"/>
                  <a:pt x="5824694" y="4507969"/>
                </a:cubicBezTo>
                <a:cubicBezTo>
                  <a:pt x="5838783" y="4522056"/>
                  <a:pt x="5824694" y="4550231"/>
                  <a:pt x="5810607" y="4564318"/>
                </a:cubicBezTo>
                <a:cubicBezTo>
                  <a:pt x="5803563" y="4578405"/>
                  <a:pt x="5796519" y="4596015"/>
                  <a:pt x="5787714" y="4615385"/>
                </a:cubicBezTo>
                <a:lnTo>
                  <a:pt x="5764157" y="4658776"/>
                </a:lnTo>
                <a:lnTo>
                  <a:pt x="5776252" y="4654125"/>
                </a:lnTo>
                <a:cubicBezTo>
                  <a:pt x="5785057" y="4648842"/>
                  <a:pt x="5795623" y="4641799"/>
                  <a:pt x="5809711" y="4634755"/>
                </a:cubicBezTo>
                <a:cubicBezTo>
                  <a:pt x="5809711" y="4634755"/>
                  <a:pt x="5837888" y="4634755"/>
                  <a:pt x="5851976" y="4634755"/>
                </a:cubicBezTo>
                <a:cubicBezTo>
                  <a:pt x="5851976" y="4634755"/>
                  <a:pt x="5851976" y="4634755"/>
                  <a:pt x="5851976" y="4648842"/>
                </a:cubicBezTo>
                <a:cubicBezTo>
                  <a:pt x="5837888" y="4662929"/>
                  <a:pt x="5837888" y="4677018"/>
                  <a:pt x="5823800" y="4705192"/>
                </a:cubicBezTo>
                <a:cubicBezTo>
                  <a:pt x="5809711" y="4705192"/>
                  <a:pt x="5809711" y="4719280"/>
                  <a:pt x="5809711" y="4719280"/>
                </a:cubicBezTo>
                <a:cubicBezTo>
                  <a:pt x="5823800" y="4719280"/>
                  <a:pt x="5809711" y="4719280"/>
                  <a:pt x="5809711" y="4733367"/>
                </a:cubicBezTo>
                <a:cubicBezTo>
                  <a:pt x="5809711" y="4733367"/>
                  <a:pt x="5795623" y="4747454"/>
                  <a:pt x="5795623" y="4761542"/>
                </a:cubicBezTo>
                <a:cubicBezTo>
                  <a:pt x="5781535" y="4775629"/>
                  <a:pt x="5767447" y="4775629"/>
                  <a:pt x="5739270" y="4789716"/>
                </a:cubicBezTo>
                <a:lnTo>
                  <a:pt x="5738497" y="4795901"/>
                </a:lnTo>
                <a:lnTo>
                  <a:pt x="5745449" y="4791477"/>
                </a:lnTo>
                <a:cubicBezTo>
                  <a:pt x="5750732" y="4789716"/>
                  <a:pt x="5754254" y="4789716"/>
                  <a:pt x="5754254" y="4789716"/>
                </a:cubicBezTo>
                <a:cubicBezTo>
                  <a:pt x="5740166" y="4803804"/>
                  <a:pt x="5740166" y="4817891"/>
                  <a:pt x="5726077" y="4831978"/>
                </a:cubicBezTo>
                <a:lnTo>
                  <a:pt x="5712487" y="4850666"/>
                </a:lnTo>
                <a:lnTo>
                  <a:pt x="5751597" y="4826696"/>
                </a:lnTo>
                <a:cubicBezTo>
                  <a:pt x="5767447" y="4817891"/>
                  <a:pt x="5781535" y="4810847"/>
                  <a:pt x="5795623" y="4803804"/>
                </a:cubicBezTo>
                <a:cubicBezTo>
                  <a:pt x="5837888" y="4775629"/>
                  <a:pt x="5866064" y="4761542"/>
                  <a:pt x="5908329" y="4747454"/>
                </a:cubicBezTo>
                <a:cubicBezTo>
                  <a:pt x="5922417" y="4733367"/>
                  <a:pt x="5936506" y="4719280"/>
                  <a:pt x="5950593" y="4719280"/>
                </a:cubicBezTo>
                <a:cubicBezTo>
                  <a:pt x="5950593" y="4719280"/>
                  <a:pt x="5950593" y="4719280"/>
                  <a:pt x="6006946" y="4677018"/>
                </a:cubicBezTo>
                <a:cubicBezTo>
                  <a:pt x="6035123" y="4662929"/>
                  <a:pt x="6049212" y="4648842"/>
                  <a:pt x="6063299" y="4648842"/>
                </a:cubicBezTo>
                <a:cubicBezTo>
                  <a:pt x="6077388" y="4634755"/>
                  <a:pt x="6091476" y="4634755"/>
                  <a:pt x="6091476" y="4634755"/>
                </a:cubicBezTo>
                <a:cubicBezTo>
                  <a:pt x="6119652" y="4606580"/>
                  <a:pt x="6119652" y="4606580"/>
                  <a:pt x="6119652" y="4620667"/>
                </a:cubicBezTo>
                <a:cubicBezTo>
                  <a:pt x="6133741" y="4606580"/>
                  <a:pt x="6147829" y="4606580"/>
                  <a:pt x="6161916" y="4592493"/>
                </a:cubicBezTo>
                <a:cubicBezTo>
                  <a:pt x="6161916" y="4592493"/>
                  <a:pt x="6161916" y="4578406"/>
                  <a:pt x="6176005" y="4578406"/>
                </a:cubicBezTo>
                <a:cubicBezTo>
                  <a:pt x="6190093" y="4564318"/>
                  <a:pt x="6218269" y="4536144"/>
                  <a:pt x="6232358" y="4522056"/>
                </a:cubicBezTo>
                <a:cubicBezTo>
                  <a:pt x="6246446" y="4522056"/>
                  <a:pt x="6246446" y="4507969"/>
                  <a:pt x="6260535" y="4493882"/>
                </a:cubicBezTo>
                <a:cubicBezTo>
                  <a:pt x="6274622" y="4493882"/>
                  <a:pt x="6302799" y="4465706"/>
                  <a:pt x="6316888" y="4451619"/>
                </a:cubicBezTo>
                <a:cubicBezTo>
                  <a:pt x="6316888" y="4451619"/>
                  <a:pt x="6330975" y="4451619"/>
                  <a:pt x="6330975" y="4437531"/>
                </a:cubicBezTo>
                <a:cubicBezTo>
                  <a:pt x="6345064" y="4409357"/>
                  <a:pt x="6373240" y="4395269"/>
                  <a:pt x="6387328" y="4353007"/>
                </a:cubicBezTo>
                <a:cubicBezTo>
                  <a:pt x="6401417" y="4353007"/>
                  <a:pt x="6401417" y="4353007"/>
                  <a:pt x="6401417" y="4338920"/>
                </a:cubicBezTo>
                <a:cubicBezTo>
                  <a:pt x="6415505" y="4324833"/>
                  <a:pt x="6429593" y="4310744"/>
                  <a:pt x="6443681" y="4296657"/>
                </a:cubicBezTo>
                <a:cubicBezTo>
                  <a:pt x="6457770" y="4282570"/>
                  <a:pt x="6457770" y="4282570"/>
                  <a:pt x="6457770" y="4282570"/>
                </a:cubicBezTo>
                <a:cubicBezTo>
                  <a:pt x="6457770" y="4268482"/>
                  <a:pt x="6457770" y="4268482"/>
                  <a:pt x="6457770" y="4268482"/>
                </a:cubicBezTo>
                <a:cubicBezTo>
                  <a:pt x="6485946" y="4254395"/>
                  <a:pt x="6500034" y="4226221"/>
                  <a:pt x="6514123" y="4226221"/>
                </a:cubicBezTo>
                <a:cubicBezTo>
                  <a:pt x="6514123" y="4226221"/>
                  <a:pt x="6514123" y="4212133"/>
                  <a:pt x="6514123" y="4212133"/>
                </a:cubicBezTo>
                <a:cubicBezTo>
                  <a:pt x="6528211" y="4212133"/>
                  <a:pt x="6528211" y="4198046"/>
                  <a:pt x="6542298" y="4183958"/>
                </a:cubicBezTo>
                <a:cubicBezTo>
                  <a:pt x="6542298" y="4169871"/>
                  <a:pt x="6556387" y="4169871"/>
                  <a:pt x="6556387" y="4169871"/>
                </a:cubicBezTo>
                <a:cubicBezTo>
                  <a:pt x="6570476" y="4155784"/>
                  <a:pt x="6584563" y="4127608"/>
                  <a:pt x="6598651" y="4113521"/>
                </a:cubicBezTo>
                <a:cubicBezTo>
                  <a:pt x="6598651" y="4113521"/>
                  <a:pt x="6598651" y="4099433"/>
                  <a:pt x="6612740" y="4099433"/>
                </a:cubicBezTo>
                <a:cubicBezTo>
                  <a:pt x="6612740" y="4071259"/>
                  <a:pt x="6626829" y="4057172"/>
                  <a:pt x="6640916" y="4028997"/>
                </a:cubicBezTo>
                <a:cubicBezTo>
                  <a:pt x="6655004" y="4014910"/>
                  <a:pt x="6669093" y="3986735"/>
                  <a:pt x="6683181" y="3958560"/>
                </a:cubicBezTo>
                <a:cubicBezTo>
                  <a:pt x="6683181" y="3972648"/>
                  <a:pt x="6697269" y="3972648"/>
                  <a:pt x="6697269" y="3986735"/>
                </a:cubicBezTo>
                <a:cubicBezTo>
                  <a:pt x="6697269" y="4000822"/>
                  <a:pt x="6683181" y="4028997"/>
                  <a:pt x="6683181" y="4043084"/>
                </a:cubicBezTo>
                <a:cubicBezTo>
                  <a:pt x="6683181" y="4057172"/>
                  <a:pt x="6683181" y="4071259"/>
                  <a:pt x="6683181" y="4085346"/>
                </a:cubicBezTo>
                <a:cubicBezTo>
                  <a:pt x="6683181" y="4085346"/>
                  <a:pt x="6683181" y="4099433"/>
                  <a:pt x="6683181" y="4113521"/>
                </a:cubicBezTo>
                <a:cubicBezTo>
                  <a:pt x="6669093" y="4141697"/>
                  <a:pt x="6655004" y="4169871"/>
                  <a:pt x="6640916" y="4198046"/>
                </a:cubicBezTo>
                <a:cubicBezTo>
                  <a:pt x="6640916" y="4212133"/>
                  <a:pt x="6640916" y="4212133"/>
                  <a:pt x="6640916" y="4212133"/>
                </a:cubicBezTo>
                <a:cubicBezTo>
                  <a:pt x="6640916" y="4226221"/>
                  <a:pt x="6626829" y="4240308"/>
                  <a:pt x="6612740" y="4268482"/>
                </a:cubicBezTo>
                <a:cubicBezTo>
                  <a:pt x="6598651" y="4296657"/>
                  <a:pt x="6598651" y="4324833"/>
                  <a:pt x="6584563" y="4353007"/>
                </a:cubicBezTo>
                <a:cubicBezTo>
                  <a:pt x="6556387" y="4367095"/>
                  <a:pt x="6542298" y="4395269"/>
                  <a:pt x="6528211" y="4423444"/>
                </a:cubicBezTo>
                <a:cubicBezTo>
                  <a:pt x="6514123" y="4451619"/>
                  <a:pt x="6500034" y="4479793"/>
                  <a:pt x="6471858" y="4522056"/>
                </a:cubicBezTo>
                <a:cubicBezTo>
                  <a:pt x="6457770" y="4536144"/>
                  <a:pt x="6443681" y="4550231"/>
                  <a:pt x="6443681" y="4564318"/>
                </a:cubicBezTo>
                <a:cubicBezTo>
                  <a:pt x="6415505" y="4592493"/>
                  <a:pt x="6415505" y="4620667"/>
                  <a:pt x="6401417" y="4634755"/>
                </a:cubicBezTo>
                <a:cubicBezTo>
                  <a:pt x="6401417" y="4662929"/>
                  <a:pt x="6387328" y="4677018"/>
                  <a:pt x="6373240" y="4705192"/>
                </a:cubicBezTo>
                <a:cubicBezTo>
                  <a:pt x="6359152" y="4733367"/>
                  <a:pt x="6345064" y="4761542"/>
                  <a:pt x="6330975" y="4775629"/>
                </a:cubicBezTo>
                <a:cubicBezTo>
                  <a:pt x="6316888" y="4803804"/>
                  <a:pt x="6302799" y="4817891"/>
                  <a:pt x="6288711" y="4831978"/>
                </a:cubicBezTo>
                <a:cubicBezTo>
                  <a:pt x="6288711" y="4831978"/>
                  <a:pt x="6274622" y="4846067"/>
                  <a:pt x="6274622" y="4846067"/>
                </a:cubicBezTo>
                <a:cubicBezTo>
                  <a:pt x="6260535" y="4860154"/>
                  <a:pt x="6260535" y="4874241"/>
                  <a:pt x="6246446" y="4888329"/>
                </a:cubicBezTo>
                <a:cubicBezTo>
                  <a:pt x="6246446" y="4888329"/>
                  <a:pt x="6246446" y="4888329"/>
                  <a:pt x="6232358" y="4888329"/>
                </a:cubicBezTo>
                <a:cubicBezTo>
                  <a:pt x="6232358" y="4888329"/>
                  <a:pt x="6232358" y="4888329"/>
                  <a:pt x="6232358" y="4902416"/>
                </a:cubicBezTo>
                <a:cubicBezTo>
                  <a:pt x="6232358" y="4902416"/>
                  <a:pt x="6218269" y="4902416"/>
                  <a:pt x="6218269" y="4902416"/>
                </a:cubicBezTo>
                <a:cubicBezTo>
                  <a:pt x="6204182" y="4916503"/>
                  <a:pt x="6176005" y="4944678"/>
                  <a:pt x="6161916" y="4958765"/>
                </a:cubicBezTo>
                <a:cubicBezTo>
                  <a:pt x="6161916" y="4958765"/>
                  <a:pt x="6161916" y="4972852"/>
                  <a:pt x="6147829" y="4972852"/>
                </a:cubicBezTo>
                <a:cubicBezTo>
                  <a:pt x="6147829" y="4972852"/>
                  <a:pt x="6133741" y="4986940"/>
                  <a:pt x="6119652" y="4986940"/>
                </a:cubicBezTo>
                <a:cubicBezTo>
                  <a:pt x="6105565" y="5001027"/>
                  <a:pt x="6091476" y="5015114"/>
                  <a:pt x="6077388" y="5029203"/>
                </a:cubicBezTo>
                <a:cubicBezTo>
                  <a:pt x="6049212" y="5043290"/>
                  <a:pt x="6049212" y="5057378"/>
                  <a:pt x="6035123" y="5071465"/>
                </a:cubicBezTo>
                <a:cubicBezTo>
                  <a:pt x="6035123" y="5071465"/>
                  <a:pt x="6049212" y="5057378"/>
                  <a:pt x="6049212" y="5057378"/>
                </a:cubicBezTo>
                <a:cubicBezTo>
                  <a:pt x="6049212" y="5057378"/>
                  <a:pt x="6049212" y="5057378"/>
                  <a:pt x="6063299" y="5057378"/>
                </a:cubicBezTo>
                <a:cubicBezTo>
                  <a:pt x="6077388" y="5057378"/>
                  <a:pt x="6105565" y="5043290"/>
                  <a:pt x="6119652" y="5029203"/>
                </a:cubicBezTo>
                <a:cubicBezTo>
                  <a:pt x="6119652" y="5029203"/>
                  <a:pt x="6133741" y="5029203"/>
                  <a:pt x="6133741" y="5015114"/>
                </a:cubicBezTo>
                <a:cubicBezTo>
                  <a:pt x="6133741" y="5015114"/>
                  <a:pt x="6147829" y="5001027"/>
                  <a:pt x="6161916" y="4986940"/>
                </a:cubicBezTo>
                <a:cubicBezTo>
                  <a:pt x="6176005" y="4972852"/>
                  <a:pt x="6190093" y="4958765"/>
                  <a:pt x="6204182" y="4958765"/>
                </a:cubicBezTo>
                <a:lnTo>
                  <a:pt x="6218266" y="4944683"/>
                </a:lnTo>
                <a:lnTo>
                  <a:pt x="6191855" y="4972852"/>
                </a:lnTo>
                <a:cubicBezTo>
                  <a:pt x="6183050" y="4983418"/>
                  <a:pt x="6176005" y="4993983"/>
                  <a:pt x="6176005" y="5001027"/>
                </a:cubicBezTo>
                <a:cubicBezTo>
                  <a:pt x="6176005" y="5001027"/>
                  <a:pt x="6190093" y="4986940"/>
                  <a:pt x="6190093" y="4986940"/>
                </a:cubicBezTo>
                <a:cubicBezTo>
                  <a:pt x="6190093" y="4986940"/>
                  <a:pt x="6190093" y="4986940"/>
                  <a:pt x="6204182" y="4986940"/>
                </a:cubicBezTo>
                <a:cubicBezTo>
                  <a:pt x="6218269" y="4972852"/>
                  <a:pt x="6218269" y="4958765"/>
                  <a:pt x="6218269" y="4958765"/>
                </a:cubicBezTo>
                <a:cubicBezTo>
                  <a:pt x="6246446" y="4930591"/>
                  <a:pt x="6274622" y="4916503"/>
                  <a:pt x="6302799" y="4902416"/>
                </a:cubicBezTo>
                <a:cubicBezTo>
                  <a:pt x="6316888" y="4888329"/>
                  <a:pt x="6330975" y="4874241"/>
                  <a:pt x="6345064" y="4874241"/>
                </a:cubicBezTo>
                <a:cubicBezTo>
                  <a:pt x="6345064" y="4860154"/>
                  <a:pt x="6359152" y="4846067"/>
                  <a:pt x="6373240" y="4831978"/>
                </a:cubicBezTo>
                <a:cubicBezTo>
                  <a:pt x="6387328" y="4817891"/>
                  <a:pt x="6401417" y="4803804"/>
                  <a:pt x="6415505" y="4789716"/>
                </a:cubicBezTo>
                <a:cubicBezTo>
                  <a:pt x="6429593" y="4775629"/>
                  <a:pt x="6457770" y="4761542"/>
                  <a:pt x="6457770" y="4747454"/>
                </a:cubicBezTo>
                <a:cubicBezTo>
                  <a:pt x="6485946" y="4733367"/>
                  <a:pt x="6500034" y="4705192"/>
                  <a:pt x="6514123" y="4691105"/>
                </a:cubicBezTo>
                <a:cubicBezTo>
                  <a:pt x="6514123" y="4691105"/>
                  <a:pt x="6528211" y="4691105"/>
                  <a:pt x="6528211" y="4691105"/>
                </a:cubicBezTo>
                <a:cubicBezTo>
                  <a:pt x="6542298" y="4677018"/>
                  <a:pt x="6570476" y="4648842"/>
                  <a:pt x="6584563" y="4634755"/>
                </a:cubicBezTo>
                <a:cubicBezTo>
                  <a:pt x="6612740" y="4606580"/>
                  <a:pt x="6640916" y="4578406"/>
                  <a:pt x="6655004" y="4550231"/>
                </a:cubicBezTo>
                <a:cubicBezTo>
                  <a:pt x="6669093" y="4536144"/>
                  <a:pt x="6669093" y="4522056"/>
                  <a:pt x="6683181" y="4522056"/>
                </a:cubicBezTo>
                <a:cubicBezTo>
                  <a:pt x="6697269" y="4522056"/>
                  <a:pt x="6697269" y="4522056"/>
                  <a:pt x="6683181" y="4536144"/>
                </a:cubicBezTo>
                <a:cubicBezTo>
                  <a:pt x="6669093" y="4564318"/>
                  <a:pt x="6669093" y="4578406"/>
                  <a:pt x="6669093" y="4592493"/>
                </a:cubicBezTo>
                <a:cubicBezTo>
                  <a:pt x="6669093" y="4592493"/>
                  <a:pt x="6669093" y="4606580"/>
                  <a:pt x="6669093" y="4606580"/>
                </a:cubicBezTo>
                <a:cubicBezTo>
                  <a:pt x="6669093" y="4620667"/>
                  <a:pt x="6640916" y="4662929"/>
                  <a:pt x="6640916" y="4677018"/>
                </a:cubicBezTo>
                <a:cubicBezTo>
                  <a:pt x="6598651" y="4733367"/>
                  <a:pt x="6570476" y="4803804"/>
                  <a:pt x="6514123" y="4860154"/>
                </a:cubicBezTo>
                <a:cubicBezTo>
                  <a:pt x="6471858" y="4902416"/>
                  <a:pt x="6443681" y="4944678"/>
                  <a:pt x="6401417" y="4986940"/>
                </a:cubicBezTo>
                <a:cubicBezTo>
                  <a:pt x="6387328" y="5001027"/>
                  <a:pt x="6373240" y="5015114"/>
                  <a:pt x="6359152" y="5015114"/>
                </a:cubicBezTo>
                <a:cubicBezTo>
                  <a:pt x="6359152" y="5029203"/>
                  <a:pt x="6345064" y="5043290"/>
                  <a:pt x="6330975" y="5057378"/>
                </a:cubicBezTo>
                <a:cubicBezTo>
                  <a:pt x="6302799" y="5071465"/>
                  <a:pt x="6288711" y="5099639"/>
                  <a:pt x="6274622" y="5113727"/>
                </a:cubicBezTo>
                <a:cubicBezTo>
                  <a:pt x="6246446" y="5155989"/>
                  <a:pt x="6190093" y="5184163"/>
                  <a:pt x="6147829" y="5212339"/>
                </a:cubicBezTo>
                <a:cubicBezTo>
                  <a:pt x="6119652" y="5240514"/>
                  <a:pt x="6091476" y="5268688"/>
                  <a:pt x="6063299" y="5282776"/>
                </a:cubicBezTo>
                <a:cubicBezTo>
                  <a:pt x="6063299" y="5296863"/>
                  <a:pt x="6049212" y="5296863"/>
                  <a:pt x="6063299" y="5296863"/>
                </a:cubicBezTo>
                <a:cubicBezTo>
                  <a:pt x="6105565" y="5268688"/>
                  <a:pt x="6147829" y="5254601"/>
                  <a:pt x="6190093" y="5226426"/>
                </a:cubicBezTo>
                <a:cubicBezTo>
                  <a:pt x="6204182" y="5212339"/>
                  <a:pt x="6218269" y="5212339"/>
                  <a:pt x="6218269" y="5198252"/>
                </a:cubicBezTo>
                <a:cubicBezTo>
                  <a:pt x="6218269" y="5198252"/>
                  <a:pt x="6218269" y="5198252"/>
                  <a:pt x="6220031" y="5198252"/>
                </a:cubicBezTo>
                <a:lnTo>
                  <a:pt x="6228836" y="5198252"/>
                </a:lnTo>
                <a:lnTo>
                  <a:pt x="6232358" y="5198252"/>
                </a:lnTo>
                <a:cubicBezTo>
                  <a:pt x="6260535" y="5184163"/>
                  <a:pt x="6288711" y="5155989"/>
                  <a:pt x="6330975" y="5127814"/>
                </a:cubicBezTo>
                <a:cubicBezTo>
                  <a:pt x="6359152" y="5113727"/>
                  <a:pt x="6401417" y="5085552"/>
                  <a:pt x="6429593" y="5071465"/>
                </a:cubicBezTo>
                <a:cubicBezTo>
                  <a:pt x="6429593" y="5057378"/>
                  <a:pt x="6443681" y="5057378"/>
                  <a:pt x="6443681" y="5057378"/>
                </a:cubicBezTo>
                <a:cubicBezTo>
                  <a:pt x="6457770" y="5043290"/>
                  <a:pt x="6485946" y="5029203"/>
                  <a:pt x="6500034" y="5015114"/>
                </a:cubicBezTo>
                <a:cubicBezTo>
                  <a:pt x="6542298" y="4986940"/>
                  <a:pt x="6570476" y="4986940"/>
                  <a:pt x="6556387" y="5001027"/>
                </a:cubicBezTo>
                <a:cubicBezTo>
                  <a:pt x="6556387" y="5015114"/>
                  <a:pt x="6556387" y="5029203"/>
                  <a:pt x="6542298" y="5043290"/>
                </a:cubicBezTo>
                <a:cubicBezTo>
                  <a:pt x="6514123" y="5057378"/>
                  <a:pt x="6514123" y="5071465"/>
                  <a:pt x="6500034" y="5099639"/>
                </a:cubicBezTo>
                <a:cubicBezTo>
                  <a:pt x="6500034" y="5099639"/>
                  <a:pt x="6500034" y="5099639"/>
                  <a:pt x="6514123" y="5099639"/>
                </a:cubicBezTo>
                <a:cubicBezTo>
                  <a:pt x="6514123" y="5085552"/>
                  <a:pt x="6514123" y="5085552"/>
                  <a:pt x="6514123" y="5085552"/>
                </a:cubicBezTo>
                <a:cubicBezTo>
                  <a:pt x="6514123" y="5085552"/>
                  <a:pt x="6514123" y="5085552"/>
                  <a:pt x="6528211" y="5085552"/>
                </a:cubicBezTo>
                <a:cubicBezTo>
                  <a:pt x="6528211" y="5071465"/>
                  <a:pt x="6528211" y="5071465"/>
                  <a:pt x="6542298" y="5071465"/>
                </a:cubicBezTo>
                <a:cubicBezTo>
                  <a:pt x="6556387" y="5043290"/>
                  <a:pt x="6556387" y="5029203"/>
                  <a:pt x="6584563" y="5015114"/>
                </a:cubicBezTo>
                <a:cubicBezTo>
                  <a:pt x="6584563" y="5015114"/>
                  <a:pt x="6584563" y="5015114"/>
                  <a:pt x="6598651" y="5001027"/>
                </a:cubicBezTo>
                <a:cubicBezTo>
                  <a:pt x="6598651" y="4986940"/>
                  <a:pt x="6598651" y="4986940"/>
                  <a:pt x="6598651" y="4986940"/>
                </a:cubicBezTo>
                <a:cubicBezTo>
                  <a:pt x="6598651" y="4986940"/>
                  <a:pt x="6598651" y="4986940"/>
                  <a:pt x="6612740" y="4986940"/>
                </a:cubicBezTo>
                <a:cubicBezTo>
                  <a:pt x="6612740" y="4972852"/>
                  <a:pt x="6612740" y="4972852"/>
                  <a:pt x="6612740" y="4972852"/>
                </a:cubicBezTo>
                <a:cubicBezTo>
                  <a:pt x="6626829" y="4972852"/>
                  <a:pt x="6612740" y="4972852"/>
                  <a:pt x="6626829" y="4972852"/>
                </a:cubicBezTo>
                <a:cubicBezTo>
                  <a:pt x="6626829" y="4972852"/>
                  <a:pt x="6626829" y="4972852"/>
                  <a:pt x="6626829" y="4958765"/>
                </a:cubicBezTo>
                <a:cubicBezTo>
                  <a:pt x="6612740" y="4972852"/>
                  <a:pt x="6612740" y="4958765"/>
                  <a:pt x="6626829" y="4944678"/>
                </a:cubicBezTo>
                <a:lnTo>
                  <a:pt x="6630350" y="4944678"/>
                </a:lnTo>
                <a:lnTo>
                  <a:pt x="6633872" y="4944678"/>
                </a:lnTo>
                <a:cubicBezTo>
                  <a:pt x="6637394" y="4944678"/>
                  <a:pt x="6640916" y="4944678"/>
                  <a:pt x="6640916" y="4944678"/>
                </a:cubicBezTo>
                <a:cubicBezTo>
                  <a:pt x="6640916" y="4944678"/>
                  <a:pt x="6626829" y="4944678"/>
                  <a:pt x="6640916" y="4930591"/>
                </a:cubicBezTo>
                <a:cubicBezTo>
                  <a:pt x="6655004" y="4916503"/>
                  <a:pt x="6640916" y="4916503"/>
                  <a:pt x="6655004" y="4902416"/>
                </a:cubicBezTo>
                <a:cubicBezTo>
                  <a:pt x="6669093" y="4902416"/>
                  <a:pt x="6669093" y="4902416"/>
                  <a:pt x="6669093" y="4902416"/>
                </a:cubicBezTo>
                <a:cubicBezTo>
                  <a:pt x="6683181" y="4902416"/>
                  <a:pt x="6683181" y="4888329"/>
                  <a:pt x="6683181" y="4902416"/>
                </a:cubicBezTo>
                <a:cubicBezTo>
                  <a:pt x="6683181" y="4916503"/>
                  <a:pt x="6697269" y="4902416"/>
                  <a:pt x="6711357" y="4902416"/>
                </a:cubicBezTo>
                <a:cubicBezTo>
                  <a:pt x="6711357" y="4888329"/>
                  <a:pt x="6725446" y="4888329"/>
                  <a:pt x="6725446" y="4874241"/>
                </a:cubicBezTo>
                <a:cubicBezTo>
                  <a:pt x="6753622" y="4846067"/>
                  <a:pt x="6795887" y="4817891"/>
                  <a:pt x="6809975" y="4775629"/>
                </a:cubicBezTo>
                <a:cubicBezTo>
                  <a:pt x="6809975" y="4775629"/>
                  <a:pt x="6809975" y="4775629"/>
                  <a:pt x="6824063" y="4761542"/>
                </a:cubicBezTo>
                <a:cubicBezTo>
                  <a:pt x="6824063" y="4761542"/>
                  <a:pt x="6824063" y="4761542"/>
                  <a:pt x="6809975" y="4761542"/>
                </a:cubicBezTo>
                <a:cubicBezTo>
                  <a:pt x="6824063" y="4761542"/>
                  <a:pt x="6824063" y="4747454"/>
                  <a:pt x="6838152" y="4747454"/>
                </a:cubicBezTo>
                <a:cubicBezTo>
                  <a:pt x="6852240" y="4705192"/>
                  <a:pt x="6880416" y="4662929"/>
                  <a:pt x="6908593" y="4634755"/>
                </a:cubicBezTo>
                <a:cubicBezTo>
                  <a:pt x="6908593" y="4634755"/>
                  <a:pt x="6908593" y="4634755"/>
                  <a:pt x="6922681" y="4620667"/>
                </a:cubicBezTo>
                <a:cubicBezTo>
                  <a:pt x="6922681" y="4606580"/>
                  <a:pt x="6936769" y="4606580"/>
                  <a:pt x="6936769" y="4606580"/>
                </a:cubicBezTo>
                <a:cubicBezTo>
                  <a:pt x="6936769" y="4606580"/>
                  <a:pt x="6950858" y="4592493"/>
                  <a:pt x="6950858" y="4592493"/>
                </a:cubicBezTo>
                <a:cubicBezTo>
                  <a:pt x="6950858" y="4592493"/>
                  <a:pt x="6950858" y="4592493"/>
                  <a:pt x="6964945" y="4564318"/>
                </a:cubicBezTo>
                <a:cubicBezTo>
                  <a:pt x="6964945" y="4564318"/>
                  <a:pt x="6964945" y="4564318"/>
                  <a:pt x="6993122" y="4536144"/>
                </a:cubicBezTo>
                <a:cubicBezTo>
                  <a:pt x="6993122" y="4536144"/>
                  <a:pt x="6993122" y="4522056"/>
                  <a:pt x="6993122" y="4522056"/>
                </a:cubicBezTo>
                <a:cubicBezTo>
                  <a:pt x="6993122" y="4522056"/>
                  <a:pt x="7007211" y="4507969"/>
                  <a:pt x="7007211" y="4507969"/>
                </a:cubicBezTo>
                <a:cubicBezTo>
                  <a:pt x="7021298" y="4507969"/>
                  <a:pt x="7021298" y="4493882"/>
                  <a:pt x="7035386" y="4479793"/>
                </a:cubicBezTo>
                <a:cubicBezTo>
                  <a:pt x="7035386" y="4465706"/>
                  <a:pt x="7049475" y="4451619"/>
                  <a:pt x="7063564" y="4437531"/>
                </a:cubicBezTo>
                <a:cubicBezTo>
                  <a:pt x="7077651" y="4409357"/>
                  <a:pt x="7091739" y="4395269"/>
                  <a:pt x="7091739" y="4381182"/>
                </a:cubicBezTo>
                <a:cubicBezTo>
                  <a:pt x="7091739" y="4381182"/>
                  <a:pt x="7091739" y="4367095"/>
                  <a:pt x="7091739" y="4367095"/>
                </a:cubicBezTo>
                <a:cubicBezTo>
                  <a:pt x="7105828" y="4338920"/>
                  <a:pt x="7119917" y="4310744"/>
                  <a:pt x="7148092" y="4268482"/>
                </a:cubicBezTo>
                <a:cubicBezTo>
                  <a:pt x="7148092" y="4268482"/>
                  <a:pt x="7148092" y="4254395"/>
                  <a:pt x="7148092" y="4254395"/>
                </a:cubicBezTo>
                <a:cubicBezTo>
                  <a:pt x="7148092" y="4240308"/>
                  <a:pt x="7162181" y="4240308"/>
                  <a:pt x="7162181" y="4226221"/>
                </a:cubicBezTo>
                <a:cubicBezTo>
                  <a:pt x="7162181" y="4212133"/>
                  <a:pt x="7190357" y="4169871"/>
                  <a:pt x="7204445" y="4141697"/>
                </a:cubicBezTo>
                <a:cubicBezTo>
                  <a:pt x="7204445" y="4127608"/>
                  <a:pt x="7204445" y="4113521"/>
                  <a:pt x="7218534" y="4099433"/>
                </a:cubicBezTo>
                <a:cubicBezTo>
                  <a:pt x="7232621" y="4057172"/>
                  <a:pt x="7246710" y="4000822"/>
                  <a:pt x="7260798" y="3958560"/>
                </a:cubicBezTo>
                <a:cubicBezTo>
                  <a:pt x="7260798" y="3944472"/>
                  <a:pt x="7274887" y="3930385"/>
                  <a:pt x="7274887" y="3916297"/>
                </a:cubicBezTo>
                <a:cubicBezTo>
                  <a:pt x="7274887" y="3916297"/>
                  <a:pt x="7274887" y="3916297"/>
                  <a:pt x="7288974" y="3888123"/>
                </a:cubicBezTo>
                <a:cubicBezTo>
                  <a:pt x="7303063" y="3845861"/>
                  <a:pt x="7303063" y="3803599"/>
                  <a:pt x="7317151" y="3775423"/>
                </a:cubicBezTo>
                <a:cubicBezTo>
                  <a:pt x="7331240" y="3747248"/>
                  <a:pt x="7345327" y="3719074"/>
                  <a:pt x="7345327" y="3690899"/>
                </a:cubicBezTo>
                <a:cubicBezTo>
                  <a:pt x="7345327" y="3662725"/>
                  <a:pt x="7345327" y="3620463"/>
                  <a:pt x="7359416" y="3592287"/>
                </a:cubicBezTo>
                <a:cubicBezTo>
                  <a:pt x="7373504" y="3578200"/>
                  <a:pt x="7373504" y="3564112"/>
                  <a:pt x="7373504" y="3564112"/>
                </a:cubicBezTo>
                <a:cubicBezTo>
                  <a:pt x="7373504" y="3535938"/>
                  <a:pt x="7373504" y="3521850"/>
                  <a:pt x="7387591" y="3521850"/>
                </a:cubicBezTo>
                <a:cubicBezTo>
                  <a:pt x="7387591" y="3507763"/>
                  <a:pt x="7387591" y="3493676"/>
                  <a:pt x="7387591" y="3479588"/>
                </a:cubicBezTo>
                <a:cubicBezTo>
                  <a:pt x="7401680" y="3437327"/>
                  <a:pt x="7401680" y="3409151"/>
                  <a:pt x="7401680" y="3366889"/>
                </a:cubicBezTo>
                <a:cubicBezTo>
                  <a:pt x="7401680" y="3352801"/>
                  <a:pt x="7415769" y="3324627"/>
                  <a:pt x="7401680" y="3310540"/>
                </a:cubicBezTo>
                <a:cubicBezTo>
                  <a:pt x="7401680" y="3282365"/>
                  <a:pt x="7415769" y="3268278"/>
                  <a:pt x="7415769" y="3240102"/>
                </a:cubicBezTo>
                <a:cubicBezTo>
                  <a:pt x="7415769" y="3226015"/>
                  <a:pt x="7429857" y="3211927"/>
                  <a:pt x="7429857" y="3211927"/>
                </a:cubicBezTo>
                <a:cubicBezTo>
                  <a:pt x="7443944" y="3183753"/>
                  <a:pt x="7443944" y="3183753"/>
                  <a:pt x="7443944" y="3226015"/>
                </a:cubicBezTo>
                <a:cubicBezTo>
                  <a:pt x="7443944" y="3254190"/>
                  <a:pt x="7443944" y="3268278"/>
                  <a:pt x="7443944" y="3282365"/>
                </a:cubicBezTo>
                <a:cubicBezTo>
                  <a:pt x="7443944" y="3296452"/>
                  <a:pt x="7443944" y="3310540"/>
                  <a:pt x="7443944" y="3324627"/>
                </a:cubicBezTo>
                <a:lnTo>
                  <a:pt x="7443944" y="3352801"/>
                </a:lnTo>
                <a:cubicBezTo>
                  <a:pt x="7458033" y="3352801"/>
                  <a:pt x="7458033" y="3352801"/>
                  <a:pt x="7458033" y="3352801"/>
                </a:cubicBezTo>
                <a:cubicBezTo>
                  <a:pt x="7472122" y="3324627"/>
                  <a:pt x="7472122" y="3324627"/>
                  <a:pt x="7472122" y="3338714"/>
                </a:cubicBezTo>
                <a:cubicBezTo>
                  <a:pt x="7486210" y="3338714"/>
                  <a:pt x="7500297" y="3324627"/>
                  <a:pt x="7500297" y="3282365"/>
                </a:cubicBezTo>
                <a:cubicBezTo>
                  <a:pt x="7500297" y="3268278"/>
                  <a:pt x="7500297" y="3268278"/>
                  <a:pt x="7514386" y="3254190"/>
                </a:cubicBezTo>
                <a:cubicBezTo>
                  <a:pt x="7514386" y="3268278"/>
                  <a:pt x="7514386" y="3268278"/>
                  <a:pt x="7514386" y="3268278"/>
                </a:cubicBezTo>
                <a:cubicBezTo>
                  <a:pt x="7514386" y="3268278"/>
                  <a:pt x="7514386" y="3282365"/>
                  <a:pt x="7514386" y="3282365"/>
                </a:cubicBezTo>
                <a:cubicBezTo>
                  <a:pt x="7528474" y="3296452"/>
                  <a:pt x="7542563" y="3296452"/>
                  <a:pt x="7542563" y="3296452"/>
                </a:cubicBezTo>
                <a:cubicBezTo>
                  <a:pt x="7556650" y="3310540"/>
                  <a:pt x="7570739" y="3338714"/>
                  <a:pt x="7570739" y="3395063"/>
                </a:cubicBezTo>
                <a:cubicBezTo>
                  <a:pt x="7570739" y="3409151"/>
                  <a:pt x="7584827" y="3409151"/>
                  <a:pt x="7584827" y="3395063"/>
                </a:cubicBezTo>
                <a:cubicBezTo>
                  <a:pt x="7584827" y="3380976"/>
                  <a:pt x="7598916" y="3395063"/>
                  <a:pt x="7598916" y="3409151"/>
                </a:cubicBezTo>
                <a:cubicBezTo>
                  <a:pt x="7598916" y="3437327"/>
                  <a:pt x="7598916" y="3465501"/>
                  <a:pt x="7598916" y="3465501"/>
                </a:cubicBezTo>
                <a:cubicBezTo>
                  <a:pt x="7613003" y="3465501"/>
                  <a:pt x="7613003" y="3479588"/>
                  <a:pt x="7613003" y="3493676"/>
                </a:cubicBezTo>
                <a:cubicBezTo>
                  <a:pt x="7613003" y="3521850"/>
                  <a:pt x="7613003" y="3564112"/>
                  <a:pt x="7613003" y="3578200"/>
                </a:cubicBezTo>
                <a:cubicBezTo>
                  <a:pt x="7613003" y="3606375"/>
                  <a:pt x="7613003" y="3662725"/>
                  <a:pt x="7613003" y="3690899"/>
                </a:cubicBezTo>
                <a:cubicBezTo>
                  <a:pt x="7613003" y="3719074"/>
                  <a:pt x="7613003" y="3747248"/>
                  <a:pt x="7613003" y="3775423"/>
                </a:cubicBezTo>
                <a:cubicBezTo>
                  <a:pt x="7613003" y="3789512"/>
                  <a:pt x="7613003" y="3803599"/>
                  <a:pt x="7613003" y="3817686"/>
                </a:cubicBezTo>
                <a:cubicBezTo>
                  <a:pt x="7598916" y="3831773"/>
                  <a:pt x="7598916" y="3845861"/>
                  <a:pt x="7598916" y="3859948"/>
                </a:cubicBezTo>
                <a:cubicBezTo>
                  <a:pt x="7598916" y="3874035"/>
                  <a:pt x="7598916" y="3888123"/>
                  <a:pt x="7598916" y="3902210"/>
                </a:cubicBezTo>
                <a:cubicBezTo>
                  <a:pt x="7598916" y="3902210"/>
                  <a:pt x="7598916" y="3902210"/>
                  <a:pt x="7598916" y="3916297"/>
                </a:cubicBezTo>
                <a:cubicBezTo>
                  <a:pt x="7584827" y="3930385"/>
                  <a:pt x="7584827" y="3930385"/>
                  <a:pt x="7598916" y="3944472"/>
                </a:cubicBezTo>
                <a:cubicBezTo>
                  <a:pt x="7598916" y="3944472"/>
                  <a:pt x="7584827" y="3972648"/>
                  <a:pt x="7584827" y="4000822"/>
                </a:cubicBezTo>
                <a:cubicBezTo>
                  <a:pt x="7584827" y="4043084"/>
                  <a:pt x="7556650" y="4099433"/>
                  <a:pt x="7542563" y="4155784"/>
                </a:cubicBezTo>
                <a:cubicBezTo>
                  <a:pt x="7542563" y="4183958"/>
                  <a:pt x="7542563" y="4212133"/>
                  <a:pt x="7514386" y="4254395"/>
                </a:cubicBezTo>
                <a:cubicBezTo>
                  <a:pt x="7528474" y="4254395"/>
                  <a:pt x="7514386" y="4296657"/>
                  <a:pt x="7514386" y="4310744"/>
                </a:cubicBezTo>
                <a:cubicBezTo>
                  <a:pt x="7514386" y="4310744"/>
                  <a:pt x="7500297" y="4310744"/>
                  <a:pt x="7500297" y="4324833"/>
                </a:cubicBezTo>
                <a:cubicBezTo>
                  <a:pt x="7514386" y="4310744"/>
                  <a:pt x="7528474" y="4296657"/>
                  <a:pt x="7514386" y="4338920"/>
                </a:cubicBezTo>
                <a:cubicBezTo>
                  <a:pt x="7500297" y="4367095"/>
                  <a:pt x="7486210" y="4395269"/>
                  <a:pt x="7486210" y="4423444"/>
                </a:cubicBezTo>
                <a:cubicBezTo>
                  <a:pt x="7472122" y="4465706"/>
                  <a:pt x="7458033" y="4479793"/>
                  <a:pt x="7443944" y="4507969"/>
                </a:cubicBezTo>
                <a:cubicBezTo>
                  <a:pt x="7458033" y="4522056"/>
                  <a:pt x="7443944" y="4550231"/>
                  <a:pt x="7429857" y="4564318"/>
                </a:cubicBezTo>
                <a:cubicBezTo>
                  <a:pt x="7415769" y="4592493"/>
                  <a:pt x="7401680" y="4634755"/>
                  <a:pt x="7373504" y="4677018"/>
                </a:cubicBezTo>
                <a:cubicBezTo>
                  <a:pt x="7373504" y="4705192"/>
                  <a:pt x="7345327" y="4747454"/>
                  <a:pt x="7359416" y="4733367"/>
                </a:cubicBezTo>
                <a:cubicBezTo>
                  <a:pt x="7359416" y="4733367"/>
                  <a:pt x="7345327" y="4747454"/>
                  <a:pt x="7345327" y="4761542"/>
                </a:cubicBezTo>
                <a:cubicBezTo>
                  <a:pt x="7331240" y="4789716"/>
                  <a:pt x="7303063" y="4817891"/>
                  <a:pt x="7303063" y="4846067"/>
                </a:cubicBezTo>
                <a:cubicBezTo>
                  <a:pt x="7288974" y="4860154"/>
                  <a:pt x="7303063" y="4846067"/>
                  <a:pt x="7303063" y="4846067"/>
                </a:cubicBezTo>
                <a:cubicBezTo>
                  <a:pt x="7317151" y="4831978"/>
                  <a:pt x="7331240" y="4817891"/>
                  <a:pt x="7345327" y="4803804"/>
                </a:cubicBezTo>
                <a:cubicBezTo>
                  <a:pt x="7359416" y="4789716"/>
                  <a:pt x="7373504" y="4789716"/>
                  <a:pt x="7373504" y="4789716"/>
                </a:cubicBezTo>
                <a:cubicBezTo>
                  <a:pt x="7359416" y="4803804"/>
                  <a:pt x="7359416" y="4817891"/>
                  <a:pt x="7345327" y="4831978"/>
                </a:cubicBezTo>
                <a:cubicBezTo>
                  <a:pt x="7331240" y="4846067"/>
                  <a:pt x="7331240" y="4860154"/>
                  <a:pt x="7317151" y="4860154"/>
                </a:cubicBezTo>
                <a:cubicBezTo>
                  <a:pt x="7317151" y="4874241"/>
                  <a:pt x="7303063" y="4888329"/>
                  <a:pt x="7288974" y="4902416"/>
                </a:cubicBezTo>
                <a:cubicBezTo>
                  <a:pt x="7260798" y="4944678"/>
                  <a:pt x="7246710" y="4958765"/>
                  <a:pt x="7246710" y="4972852"/>
                </a:cubicBezTo>
                <a:cubicBezTo>
                  <a:pt x="7232621" y="4986940"/>
                  <a:pt x="7232621" y="5001027"/>
                  <a:pt x="7218534" y="5015114"/>
                </a:cubicBezTo>
                <a:cubicBezTo>
                  <a:pt x="7204445" y="5029203"/>
                  <a:pt x="7204445" y="5043290"/>
                  <a:pt x="7190357" y="5071465"/>
                </a:cubicBezTo>
                <a:cubicBezTo>
                  <a:pt x="7176268" y="5071465"/>
                  <a:pt x="7162181" y="5085552"/>
                  <a:pt x="7162181" y="5099639"/>
                </a:cubicBezTo>
                <a:cubicBezTo>
                  <a:pt x="7162181" y="5099639"/>
                  <a:pt x="7148092" y="5113727"/>
                  <a:pt x="7134004" y="5127814"/>
                </a:cubicBezTo>
                <a:cubicBezTo>
                  <a:pt x="7134004" y="5141901"/>
                  <a:pt x="7105828" y="5170076"/>
                  <a:pt x="7119917" y="5170076"/>
                </a:cubicBezTo>
                <a:cubicBezTo>
                  <a:pt x="7119917" y="5170076"/>
                  <a:pt x="7119917" y="5184163"/>
                  <a:pt x="7105828" y="5184163"/>
                </a:cubicBezTo>
                <a:cubicBezTo>
                  <a:pt x="7091739" y="5212339"/>
                  <a:pt x="7091739" y="5212339"/>
                  <a:pt x="7119917" y="5198252"/>
                </a:cubicBezTo>
                <a:cubicBezTo>
                  <a:pt x="7119917" y="5184163"/>
                  <a:pt x="7119917" y="5184163"/>
                  <a:pt x="7134004" y="5184163"/>
                </a:cubicBezTo>
                <a:cubicBezTo>
                  <a:pt x="7134004" y="5184163"/>
                  <a:pt x="7134004" y="5198252"/>
                  <a:pt x="7162181" y="5170076"/>
                </a:cubicBezTo>
                <a:cubicBezTo>
                  <a:pt x="7162181" y="5184163"/>
                  <a:pt x="7134004" y="5198252"/>
                  <a:pt x="7134004" y="5198252"/>
                </a:cubicBezTo>
                <a:cubicBezTo>
                  <a:pt x="7148092" y="5212339"/>
                  <a:pt x="7148092" y="5212339"/>
                  <a:pt x="7148092" y="5212339"/>
                </a:cubicBezTo>
                <a:cubicBezTo>
                  <a:pt x="7162181" y="5212339"/>
                  <a:pt x="7176268" y="5198252"/>
                  <a:pt x="7190357" y="5184163"/>
                </a:cubicBezTo>
                <a:cubicBezTo>
                  <a:pt x="7232621" y="5155989"/>
                  <a:pt x="7260798" y="5141901"/>
                  <a:pt x="7303063" y="5099639"/>
                </a:cubicBezTo>
                <a:cubicBezTo>
                  <a:pt x="7303063" y="5085552"/>
                  <a:pt x="7317151" y="5085552"/>
                  <a:pt x="7317151" y="5085552"/>
                </a:cubicBezTo>
                <a:cubicBezTo>
                  <a:pt x="7317151" y="5085552"/>
                  <a:pt x="7303063" y="5099639"/>
                  <a:pt x="7303063" y="5113727"/>
                </a:cubicBezTo>
                <a:cubicBezTo>
                  <a:pt x="7274887" y="5141901"/>
                  <a:pt x="7246710" y="5170076"/>
                  <a:pt x="7218534" y="5198252"/>
                </a:cubicBezTo>
                <a:cubicBezTo>
                  <a:pt x="7218534" y="5212339"/>
                  <a:pt x="7218534" y="5212339"/>
                  <a:pt x="7218534" y="5212339"/>
                </a:cubicBezTo>
                <a:cubicBezTo>
                  <a:pt x="7204445" y="5212339"/>
                  <a:pt x="7204445" y="5226426"/>
                  <a:pt x="7204445" y="5226426"/>
                </a:cubicBezTo>
                <a:cubicBezTo>
                  <a:pt x="7190357" y="5240514"/>
                  <a:pt x="7190357" y="5240514"/>
                  <a:pt x="7190357" y="5240514"/>
                </a:cubicBezTo>
                <a:cubicBezTo>
                  <a:pt x="7190357" y="5240514"/>
                  <a:pt x="7190357" y="5240514"/>
                  <a:pt x="7176268" y="5254601"/>
                </a:cubicBezTo>
                <a:cubicBezTo>
                  <a:pt x="7162181" y="5268688"/>
                  <a:pt x="7148092" y="5282776"/>
                  <a:pt x="7134004" y="5296863"/>
                </a:cubicBezTo>
                <a:cubicBezTo>
                  <a:pt x="7119917" y="5325037"/>
                  <a:pt x="7091739" y="5353213"/>
                  <a:pt x="7077651" y="5367301"/>
                </a:cubicBezTo>
                <a:cubicBezTo>
                  <a:pt x="7021298" y="5409563"/>
                  <a:pt x="6979034" y="5451824"/>
                  <a:pt x="6936769" y="5494086"/>
                </a:cubicBezTo>
                <a:cubicBezTo>
                  <a:pt x="6922681" y="5494086"/>
                  <a:pt x="6922681" y="5508174"/>
                  <a:pt x="6908593" y="5508174"/>
                </a:cubicBezTo>
                <a:cubicBezTo>
                  <a:pt x="6880416" y="5536349"/>
                  <a:pt x="6880416" y="5550437"/>
                  <a:pt x="6894505" y="5536349"/>
                </a:cubicBezTo>
                <a:cubicBezTo>
                  <a:pt x="6908593" y="5536349"/>
                  <a:pt x="6922681" y="5522261"/>
                  <a:pt x="6908593" y="5536349"/>
                </a:cubicBezTo>
                <a:cubicBezTo>
                  <a:pt x="6908593" y="5550437"/>
                  <a:pt x="6908593" y="5536349"/>
                  <a:pt x="6922681" y="5536349"/>
                </a:cubicBezTo>
                <a:cubicBezTo>
                  <a:pt x="6922681" y="5536349"/>
                  <a:pt x="6936769" y="5522261"/>
                  <a:pt x="6950858" y="5522261"/>
                </a:cubicBezTo>
                <a:cubicBezTo>
                  <a:pt x="6964945" y="5508174"/>
                  <a:pt x="6979034" y="5508174"/>
                  <a:pt x="6964945" y="5522261"/>
                </a:cubicBezTo>
                <a:cubicBezTo>
                  <a:pt x="6950858" y="5522261"/>
                  <a:pt x="6936769" y="5536349"/>
                  <a:pt x="6936769" y="5550437"/>
                </a:cubicBezTo>
                <a:cubicBezTo>
                  <a:pt x="6908593" y="5564524"/>
                  <a:pt x="6894505" y="5578611"/>
                  <a:pt x="6894505" y="5592699"/>
                </a:cubicBezTo>
                <a:cubicBezTo>
                  <a:pt x="6880416" y="5592699"/>
                  <a:pt x="6866328" y="5606786"/>
                  <a:pt x="6852240" y="5620873"/>
                </a:cubicBezTo>
                <a:cubicBezTo>
                  <a:pt x="6824063" y="5649048"/>
                  <a:pt x="6781799" y="5677223"/>
                  <a:pt x="6753622" y="5691310"/>
                </a:cubicBezTo>
                <a:cubicBezTo>
                  <a:pt x="6753622" y="5705398"/>
                  <a:pt x="6739534" y="5719486"/>
                  <a:pt x="6725446" y="5719486"/>
                </a:cubicBezTo>
                <a:cubicBezTo>
                  <a:pt x="6697269" y="5747660"/>
                  <a:pt x="6669093" y="5761748"/>
                  <a:pt x="6626829" y="5775835"/>
                </a:cubicBezTo>
                <a:cubicBezTo>
                  <a:pt x="6626829" y="5789922"/>
                  <a:pt x="6626829" y="5789922"/>
                  <a:pt x="6626829" y="5789922"/>
                </a:cubicBezTo>
                <a:cubicBezTo>
                  <a:pt x="6612740" y="5789922"/>
                  <a:pt x="6612740" y="5789922"/>
                  <a:pt x="6612740" y="5789922"/>
                </a:cubicBezTo>
                <a:cubicBezTo>
                  <a:pt x="6612740" y="5789922"/>
                  <a:pt x="6612740" y="5804009"/>
                  <a:pt x="6598651" y="5804009"/>
                </a:cubicBezTo>
                <a:cubicBezTo>
                  <a:pt x="6598651" y="5804009"/>
                  <a:pt x="6598651" y="5804009"/>
                  <a:pt x="6584563" y="5818097"/>
                </a:cubicBezTo>
                <a:cubicBezTo>
                  <a:pt x="6584563" y="5818097"/>
                  <a:pt x="6570476" y="5818097"/>
                  <a:pt x="6570476" y="5818097"/>
                </a:cubicBezTo>
                <a:cubicBezTo>
                  <a:pt x="6570476" y="5832184"/>
                  <a:pt x="6570476" y="5832184"/>
                  <a:pt x="6570476" y="5832184"/>
                </a:cubicBezTo>
                <a:cubicBezTo>
                  <a:pt x="6556387" y="5832184"/>
                  <a:pt x="6542298" y="5846271"/>
                  <a:pt x="6528211" y="5846271"/>
                </a:cubicBezTo>
                <a:cubicBezTo>
                  <a:pt x="6528211" y="5860359"/>
                  <a:pt x="6514123" y="5860359"/>
                  <a:pt x="6500034" y="5860359"/>
                </a:cubicBezTo>
                <a:cubicBezTo>
                  <a:pt x="6500034" y="5874446"/>
                  <a:pt x="6485946" y="5874446"/>
                  <a:pt x="6485946" y="5874446"/>
                </a:cubicBezTo>
                <a:cubicBezTo>
                  <a:pt x="6457770" y="5888535"/>
                  <a:pt x="6443681" y="5888535"/>
                  <a:pt x="6429593" y="5902622"/>
                </a:cubicBezTo>
                <a:cubicBezTo>
                  <a:pt x="6429593" y="5902622"/>
                  <a:pt x="6415505" y="5916709"/>
                  <a:pt x="6415505" y="5916709"/>
                </a:cubicBezTo>
                <a:cubicBezTo>
                  <a:pt x="6401417" y="5916709"/>
                  <a:pt x="6401417" y="5916709"/>
                  <a:pt x="6387328" y="5930796"/>
                </a:cubicBezTo>
                <a:cubicBezTo>
                  <a:pt x="6387328" y="5930796"/>
                  <a:pt x="6387328" y="5930796"/>
                  <a:pt x="6373240" y="5930796"/>
                </a:cubicBezTo>
                <a:cubicBezTo>
                  <a:pt x="6373240" y="5930796"/>
                  <a:pt x="6373240" y="5944884"/>
                  <a:pt x="6359152" y="5944884"/>
                </a:cubicBezTo>
                <a:cubicBezTo>
                  <a:pt x="6345064" y="5944884"/>
                  <a:pt x="6345064" y="5944884"/>
                  <a:pt x="6345064" y="5944884"/>
                </a:cubicBezTo>
                <a:cubicBezTo>
                  <a:pt x="6345064" y="5958971"/>
                  <a:pt x="6345064" y="5958971"/>
                  <a:pt x="6330975" y="5958971"/>
                </a:cubicBezTo>
                <a:cubicBezTo>
                  <a:pt x="6330975" y="5958971"/>
                  <a:pt x="6330975" y="5958971"/>
                  <a:pt x="6316888" y="5973058"/>
                </a:cubicBezTo>
                <a:cubicBezTo>
                  <a:pt x="6316888" y="5973058"/>
                  <a:pt x="6302799" y="5973058"/>
                  <a:pt x="6288711" y="5973058"/>
                </a:cubicBezTo>
                <a:cubicBezTo>
                  <a:pt x="6288711" y="5987146"/>
                  <a:pt x="6274622" y="5987146"/>
                  <a:pt x="6260535" y="5987146"/>
                </a:cubicBezTo>
                <a:cubicBezTo>
                  <a:pt x="6260535" y="6001233"/>
                  <a:pt x="6246446" y="6001233"/>
                  <a:pt x="6232358" y="6001233"/>
                </a:cubicBezTo>
                <a:cubicBezTo>
                  <a:pt x="6232358" y="6001233"/>
                  <a:pt x="6232358" y="6001233"/>
                  <a:pt x="6218269" y="6015320"/>
                </a:cubicBezTo>
                <a:cubicBezTo>
                  <a:pt x="6204182" y="6015320"/>
                  <a:pt x="6204182" y="6015320"/>
                  <a:pt x="6204182" y="6015320"/>
                </a:cubicBezTo>
                <a:cubicBezTo>
                  <a:pt x="6190093" y="6015320"/>
                  <a:pt x="6190093" y="6029408"/>
                  <a:pt x="6176005" y="6029408"/>
                </a:cubicBezTo>
                <a:cubicBezTo>
                  <a:pt x="6161916" y="6029408"/>
                  <a:pt x="6161916" y="6029408"/>
                  <a:pt x="6147829" y="6043495"/>
                </a:cubicBezTo>
                <a:cubicBezTo>
                  <a:pt x="6119652" y="6057582"/>
                  <a:pt x="6105565" y="6057582"/>
                  <a:pt x="6105565" y="6071671"/>
                </a:cubicBezTo>
                <a:cubicBezTo>
                  <a:pt x="6105565" y="6071671"/>
                  <a:pt x="6119652" y="6071671"/>
                  <a:pt x="6077388" y="6085758"/>
                </a:cubicBezTo>
                <a:cubicBezTo>
                  <a:pt x="6063299" y="6099845"/>
                  <a:pt x="6063299" y="6099845"/>
                  <a:pt x="6035123" y="6113933"/>
                </a:cubicBezTo>
                <a:cubicBezTo>
                  <a:pt x="6021035" y="6128020"/>
                  <a:pt x="6021035" y="6128020"/>
                  <a:pt x="6006946" y="6128020"/>
                </a:cubicBezTo>
                <a:cubicBezTo>
                  <a:pt x="6006946" y="6128020"/>
                  <a:pt x="6006946" y="6128020"/>
                  <a:pt x="5992859" y="6128020"/>
                </a:cubicBezTo>
                <a:cubicBezTo>
                  <a:pt x="5992859" y="6142107"/>
                  <a:pt x="5978770" y="6142107"/>
                  <a:pt x="5964682" y="6142107"/>
                </a:cubicBezTo>
                <a:cubicBezTo>
                  <a:pt x="5964682" y="6142107"/>
                  <a:pt x="5964682" y="6142107"/>
                  <a:pt x="5950593" y="6156194"/>
                </a:cubicBezTo>
                <a:cubicBezTo>
                  <a:pt x="5950593" y="6156194"/>
                  <a:pt x="5950593" y="6156194"/>
                  <a:pt x="5922417" y="6156194"/>
                </a:cubicBezTo>
                <a:cubicBezTo>
                  <a:pt x="5908329" y="6170282"/>
                  <a:pt x="5894240" y="6170282"/>
                  <a:pt x="5880153" y="6184369"/>
                </a:cubicBezTo>
                <a:cubicBezTo>
                  <a:pt x="5781535" y="6212544"/>
                  <a:pt x="5697005" y="6240720"/>
                  <a:pt x="5612477" y="6254807"/>
                </a:cubicBezTo>
                <a:cubicBezTo>
                  <a:pt x="5570212" y="6268894"/>
                  <a:pt x="5513859" y="6282981"/>
                  <a:pt x="5471594" y="6282981"/>
                </a:cubicBezTo>
                <a:cubicBezTo>
                  <a:pt x="5429329" y="6282981"/>
                  <a:pt x="5372976" y="6297069"/>
                  <a:pt x="5344800" y="6311156"/>
                </a:cubicBezTo>
                <a:cubicBezTo>
                  <a:pt x="5415242" y="6297069"/>
                  <a:pt x="5499771" y="6282981"/>
                  <a:pt x="5556124" y="6297069"/>
                </a:cubicBezTo>
                <a:lnTo>
                  <a:pt x="5564929" y="6297069"/>
                </a:lnTo>
                <a:lnTo>
                  <a:pt x="5570212" y="6297069"/>
                </a:lnTo>
                <a:cubicBezTo>
                  <a:pt x="5570212" y="6297069"/>
                  <a:pt x="5584299" y="6297069"/>
                  <a:pt x="5584299" y="6297069"/>
                </a:cubicBezTo>
                <a:cubicBezTo>
                  <a:pt x="5584299" y="6311156"/>
                  <a:pt x="5584299" y="6311156"/>
                  <a:pt x="5570212" y="6311156"/>
                </a:cubicBezTo>
                <a:cubicBezTo>
                  <a:pt x="5527947" y="6311156"/>
                  <a:pt x="5499771" y="6325243"/>
                  <a:pt x="5485682" y="6325243"/>
                </a:cubicBezTo>
                <a:cubicBezTo>
                  <a:pt x="5443418" y="6339331"/>
                  <a:pt x="5415242" y="6339331"/>
                  <a:pt x="5372976" y="6339331"/>
                </a:cubicBezTo>
                <a:cubicBezTo>
                  <a:pt x="5358889" y="6339331"/>
                  <a:pt x="5344800" y="6339331"/>
                  <a:pt x="5330712" y="6353418"/>
                </a:cubicBezTo>
                <a:cubicBezTo>
                  <a:pt x="5302536" y="6353418"/>
                  <a:pt x="5288447" y="6353418"/>
                  <a:pt x="5260270" y="6353418"/>
                </a:cubicBezTo>
                <a:cubicBezTo>
                  <a:pt x="5246183" y="6367505"/>
                  <a:pt x="5232094" y="6367505"/>
                  <a:pt x="5203919" y="6367505"/>
                </a:cubicBezTo>
                <a:lnTo>
                  <a:pt x="5175742" y="6367505"/>
                </a:lnTo>
                <a:cubicBezTo>
                  <a:pt x="5203919" y="6353418"/>
                  <a:pt x="5203919" y="6353418"/>
                  <a:pt x="5175742" y="6353418"/>
                </a:cubicBezTo>
                <a:cubicBezTo>
                  <a:pt x="5161654" y="6353418"/>
                  <a:pt x="5161654" y="6353418"/>
                  <a:pt x="5161654" y="6353418"/>
                </a:cubicBezTo>
                <a:cubicBezTo>
                  <a:pt x="5147566" y="6353418"/>
                  <a:pt x="5133477" y="6353418"/>
                  <a:pt x="5119389" y="6353418"/>
                </a:cubicBezTo>
                <a:cubicBezTo>
                  <a:pt x="5119389" y="6353418"/>
                  <a:pt x="5105300" y="6353418"/>
                  <a:pt x="5091213" y="6353418"/>
                </a:cubicBezTo>
                <a:cubicBezTo>
                  <a:pt x="5063036" y="6353418"/>
                  <a:pt x="5034860" y="6367505"/>
                  <a:pt x="5020771" y="6367505"/>
                </a:cubicBezTo>
                <a:lnTo>
                  <a:pt x="4992595" y="6367505"/>
                </a:lnTo>
                <a:lnTo>
                  <a:pt x="4964418" y="6367505"/>
                </a:lnTo>
                <a:cubicBezTo>
                  <a:pt x="4946808" y="6367505"/>
                  <a:pt x="4929198" y="6367505"/>
                  <a:pt x="4908065" y="6367505"/>
                </a:cubicBezTo>
                <a:cubicBezTo>
                  <a:pt x="4922154" y="6367505"/>
                  <a:pt x="4908065" y="6353418"/>
                  <a:pt x="4879889" y="6353418"/>
                </a:cubicBezTo>
                <a:cubicBezTo>
                  <a:pt x="4879889" y="6353418"/>
                  <a:pt x="4865801" y="6353418"/>
                  <a:pt x="4851712" y="6353418"/>
                </a:cubicBezTo>
                <a:cubicBezTo>
                  <a:pt x="4823537" y="6353418"/>
                  <a:pt x="4781272" y="6353418"/>
                  <a:pt x="4739006" y="6367505"/>
                </a:cubicBezTo>
                <a:cubicBezTo>
                  <a:pt x="4696742" y="6367505"/>
                  <a:pt x="4654478" y="6367505"/>
                  <a:pt x="4612213" y="6353418"/>
                </a:cubicBezTo>
                <a:cubicBezTo>
                  <a:pt x="4598125" y="6353418"/>
                  <a:pt x="4584036" y="6353418"/>
                  <a:pt x="4569949" y="6353418"/>
                </a:cubicBezTo>
                <a:cubicBezTo>
                  <a:pt x="4555860" y="6353418"/>
                  <a:pt x="4555860" y="6353418"/>
                  <a:pt x="4555860" y="6353418"/>
                </a:cubicBezTo>
                <a:cubicBezTo>
                  <a:pt x="4541772" y="6353418"/>
                  <a:pt x="4527683" y="6353418"/>
                  <a:pt x="4499507" y="6339331"/>
                </a:cubicBezTo>
                <a:cubicBezTo>
                  <a:pt x="4429066" y="6339331"/>
                  <a:pt x="4344537" y="6325243"/>
                  <a:pt x="4274096" y="6311156"/>
                </a:cubicBezTo>
                <a:cubicBezTo>
                  <a:pt x="4260008" y="6311156"/>
                  <a:pt x="4260008" y="6311156"/>
                  <a:pt x="4245920" y="6297069"/>
                </a:cubicBezTo>
                <a:cubicBezTo>
                  <a:pt x="4231831" y="6297069"/>
                  <a:pt x="4203655" y="6297069"/>
                  <a:pt x="4189567" y="6282981"/>
                </a:cubicBezTo>
                <a:cubicBezTo>
                  <a:pt x="4203655" y="6297069"/>
                  <a:pt x="4189567" y="6297069"/>
                  <a:pt x="4189567" y="6297069"/>
                </a:cubicBezTo>
                <a:cubicBezTo>
                  <a:pt x="4175478" y="6282981"/>
                  <a:pt x="4189567" y="6297069"/>
                  <a:pt x="4175478" y="6297069"/>
                </a:cubicBezTo>
                <a:cubicBezTo>
                  <a:pt x="4147302" y="6282981"/>
                  <a:pt x="4119125" y="6282981"/>
                  <a:pt x="4090949" y="6268894"/>
                </a:cubicBezTo>
                <a:cubicBezTo>
                  <a:pt x="4090949" y="6282981"/>
                  <a:pt x="4090949" y="6282981"/>
                  <a:pt x="4034596" y="6268894"/>
                </a:cubicBezTo>
                <a:lnTo>
                  <a:pt x="3997912" y="6253716"/>
                </a:lnTo>
                <a:lnTo>
                  <a:pt x="3993227" y="6254807"/>
                </a:lnTo>
                <a:cubicBezTo>
                  <a:pt x="3950962" y="6268894"/>
                  <a:pt x="3894609" y="6282981"/>
                  <a:pt x="3852344" y="6282981"/>
                </a:cubicBezTo>
                <a:cubicBezTo>
                  <a:pt x="3810079" y="6282981"/>
                  <a:pt x="3753726" y="6297069"/>
                  <a:pt x="3725550" y="6311156"/>
                </a:cubicBezTo>
                <a:cubicBezTo>
                  <a:pt x="3795992" y="6297069"/>
                  <a:pt x="3880521" y="6282981"/>
                  <a:pt x="3936874" y="6297069"/>
                </a:cubicBezTo>
                <a:lnTo>
                  <a:pt x="3945679" y="6297069"/>
                </a:lnTo>
                <a:lnTo>
                  <a:pt x="3950962" y="6297069"/>
                </a:lnTo>
                <a:cubicBezTo>
                  <a:pt x="3950962" y="6297069"/>
                  <a:pt x="3965049" y="6297069"/>
                  <a:pt x="3965049" y="6297069"/>
                </a:cubicBezTo>
                <a:cubicBezTo>
                  <a:pt x="3965049" y="6311156"/>
                  <a:pt x="3965049" y="6311156"/>
                  <a:pt x="3950962" y="6311156"/>
                </a:cubicBezTo>
                <a:cubicBezTo>
                  <a:pt x="3908697" y="6311156"/>
                  <a:pt x="3880521" y="6325243"/>
                  <a:pt x="3866432" y="6325243"/>
                </a:cubicBezTo>
                <a:cubicBezTo>
                  <a:pt x="3824168" y="6339331"/>
                  <a:pt x="3795992" y="6339331"/>
                  <a:pt x="3753726" y="6339331"/>
                </a:cubicBezTo>
                <a:cubicBezTo>
                  <a:pt x="3739639" y="6339331"/>
                  <a:pt x="3725550" y="6339331"/>
                  <a:pt x="3711462" y="6353418"/>
                </a:cubicBezTo>
                <a:cubicBezTo>
                  <a:pt x="3683286" y="6353418"/>
                  <a:pt x="3669198" y="6353418"/>
                  <a:pt x="3641020" y="6353418"/>
                </a:cubicBezTo>
                <a:cubicBezTo>
                  <a:pt x="3626933" y="6367505"/>
                  <a:pt x="3612844" y="6367505"/>
                  <a:pt x="3584669" y="6367505"/>
                </a:cubicBezTo>
                <a:lnTo>
                  <a:pt x="3556492" y="6367505"/>
                </a:lnTo>
                <a:cubicBezTo>
                  <a:pt x="3584669" y="6353418"/>
                  <a:pt x="3584669" y="6353418"/>
                  <a:pt x="3556492" y="6353418"/>
                </a:cubicBezTo>
                <a:cubicBezTo>
                  <a:pt x="3542404" y="6353418"/>
                  <a:pt x="3542404" y="6353418"/>
                  <a:pt x="3542404" y="6353418"/>
                </a:cubicBezTo>
                <a:cubicBezTo>
                  <a:pt x="3528316" y="6353418"/>
                  <a:pt x="3514227" y="6353418"/>
                  <a:pt x="3500139" y="6353418"/>
                </a:cubicBezTo>
                <a:cubicBezTo>
                  <a:pt x="3500139" y="6353418"/>
                  <a:pt x="3486050" y="6353418"/>
                  <a:pt x="3471963" y="6353418"/>
                </a:cubicBezTo>
                <a:cubicBezTo>
                  <a:pt x="3443786" y="6353418"/>
                  <a:pt x="3415610" y="6367505"/>
                  <a:pt x="3401521" y="6367505"/>
                </a:cubicBezTo>
                <a:lnTo>
                  <a:pt x="3373345" y="6367505"/>
                </a:lnTo>
                <a:lnTo>
                  <a:pt x="3345168" y="6367505"/>
                </a:lnTo>
                <a:cubicBezTo>
                  <a:pt x="3327558" y="6367505"/>
                  <a:pt x="3309948" y="6367505"/>
                  <a:pt x="3288816" y="6367505"/>
                </a:cubicBezTo>
                <a:cubicBezTo>
                  <a:pt x="3302904" y="6367505"/>
                  <a:pt x="3288816" y="6353418"/>
                  <a:pt x="3260639" y="6353418"/>
                </a:cubicBezTo>
                <a:cubicBezTo>
                  <a:pt x="3260639" y="6353418"/>
                  <a:pt x="3246551" y="6353418"/>
                  <a:pt x="3232462" y="6353418"/>
                </a:cubicBezTo>
                <a:cubicBezTo>
                  <a:pt x="3204287" y="6353418"/>
                  <a:pt x="3162022" y="6353418"/>
                  <a:pt x="3119756" y="6367505"/>
                </a:cubicBezTo>
                <a:cubicBezTo>
                  <a:pt x="3077492" y="6367505"/>
                  <a:pt x="3035228" y="6367505"/>
                  <a:pt x="2992963" y="6353418"/>
                </a:cubicBezTo>
                <a:cubicBezTo>
                  <a:pt x="2978875" y="6353418"/>
                  <a:pt x="2964786" y="6353418"/>
                  <a:pt x="2950699" y="6353418"/>
                </a:cubicBezTo>
                <a:cubicBezTo>
                  <a:pt x="2936611" y="6353418"/>
                  <a:pt x="2936611" y="6353418"/>
                  <a:pt x="2936611" y="6353418"/>
                </a:cubicBezTo>
                <a:cubicBezTo>
                  <a:pt x="2922522" y="6353418"/>
                  <a:pt x="2908433" y="6353418"/>
                  <a:pt x="2880257" y="6339331"/>
                </a:cubicBezTo>
                <a:cubicBezTo>
                  <a:pt x="2809816" y="6339331"/>
                  <a:pt x="2725287" y="6325243"/>
                  <a:pt x="2654846" y="6311156"/>
                </a:cubicBezTo>
                <a:cubicBezTo>
                  <a:pt x="2640758" y="6311156"/>
                  <a:pt x="2640758" y="6311156"/>
                  <a:pt x="2626670" y="6297069"/>
                </a:cubicBezTo>
                <a:cubicBezTo>
                  <a:pt x="2612581" y="6297069"/>
                  <a:pt x="2584406" y="6297069"/>
                  <a:pt x="2570317" y="6282981"/>
                </a:cubicBezTo>
                <a:cubicBezTo>
                  <a:pt x="2584406" y="6297069"/>
                  <a:pt x="2570317" y="6297069"/>
                  <a:pt x="2570317" y="6297069"/>
                </a:cubicBezTo>
                <a:cubicBezTo>
                  <a:pt x="2556228" y="6282981"/>
                  <a:pt x="2570317" y="6297069"/>
                  <a:pt x="2556228" y="6297069"/>
                </a:cubicBezTo>
                <a:cubicBezTo>
                  <a:pt x="2528052" y="6282981"/>
                  <a:pt x="2499875" y="6282981"/>
                  <a:pt x="2471699" y="6268894"/>
                </a:cubicBezTo>
                <a:cubicBezTo>
                  <a:pt x="2471699" y="6282981"/>
                  <a:pt x="2471699" y="6282981"/>
                  <a:pt x="2415347" y="6268894"/>
                </a:cubicBezTo>
                <a:cubicBezTo>
                  <a:pt x="2387169" y="6254807"/>
                  <a:pt x="2344905" y="6240720"/>
                  <a:pt x="2302641" y="6226631"/>
                </a:cubicBezTo>
                <a:cubicBezTo>
                  <a:pt x="2302641" y="6226631"/>
                  <a:pt x="2288552" y="6226631"/>
                  <a:pt x="2288552" y="6226631"/>
                </a:cubicBezTo>
                <a:cubicBezTo>
                  <a:pt x="2288552" y="6226631"/>
                  <a:pt x="2288552" y="6226631"/>
                  <a:pt x="2260376" y="6212544"/>
                </a:cubicBezTo>
                <a:cubicBezTo>
                  <a:pt x="2260376" y="6226631"/>
                  <a:pt x="2232199" y="6212544"/>
                  <a:pt x="2204023" y="6198456"/>
                </a:cubicBezTo>
                <a:cubicBezTo>
                  <a:pt x="2189935" y="6198456"/>
                  <a:pt x="2175846" y="6198456"/>
                  <a:pt x="2175846" y="6184369"/>
                </a:cubicBezTo>
                <a:cubicBezTo>
                  <a:pt x="2175846" y="6184369"/>
                  <a:pt x="2175846" y="6184369"/>
                  <a:pt x="2161758" y="6184369"/>
                </a:cubicBezTo>
                <a:cubicBezTo>
                  <a:pt x="2119493" y="6170282"/>
                  <a:pt x="2091317" y="6156194"/>
                  <a:pt x="2049053" y="6142107"/>
                </a:cubicBezTo>
                <a:cubicBezTo>
                  <a:pt x="2049053" y="6142107"/>
                  <a:pt x="2034965" y="6142107"/>
                  <a:pt x="2034965" y="6142107"/>
                </a:cubicBezTo>
                <a:cubicBezTo>
                  <a:pt x="2020876" y="6142107"/>
                  <a:pt x="1978611" y="6113933"/>
                  <a:pt x="1950434" y="6099845"/>
                </a:cubicBezTo>
                <a:cubicBezTo>
                  <a:pt x="1922259" y="6085758"/>
                  <a:pt x="1894083" y="6085758"/>
                  <a:pt x="1865906" y="6057582"/>
                </a:cubicBezTo>
                <a:cubicBezTo>
                  <a:pt x="1851817" y="6057582"/>
                  <a:pt x="1851817" y="6057582"/>
                  <a:pt x="1851817" y="6057582"/>
                </a:cubicBezTo>
                <a:cubicBezTo>
                  <a:pt x="1823641" y="6057582"/>
                  <a:pt x="1795464" y="6029408"/>
                  <a:pt x="1753200" y="6015320"/>
                </a:cubicBezTo>
                <a:cubicBezTo>
                  <a:pt x="1753200" y="6015320"/>
                  <a:pt x="1739111" y="6001233"/>
                  <a:pt x="1725024" y="6001233"/>
                </a:cubicBezTo>
                <a:cubicBezTo>
                  <a:pt x="1668671" y="5973058"/>
                  <a:pt x="1612318" y="5944884"/>
                  <a:pt x="1555965" y="5902622"/>
                </a:cubicBezTo>
                <a:cubicBezTo>
                  <a:pt x="1527788" y="5888535"/>
                  <a:pt x="1513700" y="5888535"/>
                  <a:pt x="1485523" y="5874446"/>
                </a:cubicBezTo>
                <a:cubicBezTo>
                  <a:pt x="1471435" y="5860359"/>
                  <a:pt x="1443259" y="5846271"/>
                  <a:pt x="1429170" y="5832184"/>
                </a:cubicBezTo>
                <a:cubicBezTo>
                  <a:pt x="1400995" y="5804009"/>
                  <a:pt x="1386906" y="5789922"/>
                  <a:pt x="1358729" y="5775835"/>
                </a:cubicBezTo>
                <a:cubicBezTo>
                  <a:pt x="1358729" y="5775835"/>
                  <a:pt x="1344642" y="5761748"/>
                  <a:pt x="1330553" y="5761748"/>
                </a:cubicBezTo>
                <a:cubicBezTo>
                  <a:pt x="1260112" y="5705398"/>
                  <a:pt x="1203759" y="5663135"/>
                  <a:pt x="1147407" y="5606786"/>
                </a:cubicBezTo>
                <a:cubicBezTo>
                  <a:pt x="1133318" y="5592699"/>
                  <a:pt x="1119230" y="5578611"/>
                  <a:pt x="1119230" y="5578611"/>
                </a:cubicBezTo>
                <a:cubicBezTo>
                  <a:pt x="1119230" y="5578611"/>
                  <a:pt x="1119230" y="5578611"/>
                  <a:pt x="1119230" y="5564524"/>
                </a:cubicBezTo>
                <a:cubicBezTo>
                  <a:pt x="1119230" y="5564524"/>
                  <a:pt x="1105141" y="5564524"/>
                  <a:pt x="1105141" y="5564524"/>
                </a:cubicBezTo>
                <a:cubicBezTo>
                  <a:pt x="1105141" y="5564524"/>
                  <a:pt x="1091053" y="5550437"/>
                  <a:pt x="1076965" y="5536349"/>
                </a:cubicBezTo>
                <a:cubicBezTo>
                  <a:pt x="1062877" y="5522261"/>
                  <a:pt x="1048788" y="5508174"/>
                  <a:pt x="1034701" y="5494086"/>
                </a:cubicBezTo>
                <a:cubicBezTo>
                  <a:pt x="1020613" y="5479999"/>
                  <a:pt x="992437" y="5451824"/>
                  <a:pt x="978348" y="5437737"/>
                </a:cubicBezTo>
                <a:cubicBezTo>
                  <a:pt x="964260" y="5423650"/>
                  <a:pt x="950171" y="5409563"/>
                  <a:pt x="936082" y="5395475"/>
                </a:cubicBezTo>
                <a:cubicBezTo>
                  <a:pt x="921995" y="5367301"/>
                  <a:pt x="893818" y="5339125"/>
                  <a:pt x="865642" y="5310950"/>
                </a:cubicBezTo>
                <a:cubicBezTo>
                  <a:pt x="837465" y="5268688"/>
                  <a:pt x="809289" y="5226426"/>
                  <a:pt x="781112" y="5198252"/>
                </a:cubicBezTo>
                <a:cubicBezTo>
                  <a:pt x="767025" y="5198252"/>
                  <a:pt x="767025" y="5184163"/>
                  <a:pt x="767025" y="5184163"/>
                </a:cubicBezTo>
                <a:cubicBezTo>
                  <a:pt x="724760" y="5141901"/>
                  <a:pt x="696583" y="5099639"/>
                  <a:pt x="654319" y="5057378"/>
                </a:cubicBezTo>
                <a:cubicBezTo>
                  <a:pt x="654319" y="5057378"/>
                  <a:pt x="654319" y="5057378"/>
                  <a:pt x="640230" y="5029203"/>
                </a:cubicBezTo>
                <a:cubicBezTo>
                  <a:pt x="626142" y="5015114"/>
                  <a:pt x="597966" y="4986940"/>
                  <a:pt x="583877" y="4958765"/>
                </a:cubicBezTo>
                <a:cubicBezTo>
                  <a:pt x="583877" y="4958765"/>
                  <a:pt x="569789" y="4944678"/>
                  <a:pt x="569789" y="4930591"/>
                </a:cubicBezTo>
                <a:cubicBezTo>
                  <a:pt x="569789" y="4930591"/>
                  <a:pt x="555702" y="4916503"/>
                  <a:pt x="555702" y="4902416"/>
                </a:cubicBezTo>
                <a:cubicBezTo>
                  <a:pt x="541613" y="4902416"/>
                  <a:pt x="527524" y="4874241"/>
                  <a:pt x="485260" y="4817891"/>
                </a:cubicBezTo>
                <a:cubicBezTo>
                  <a:pt x="485260" y="4817891"/>
                  <a:pt x="485260" y="4803804"/>
                  <a:pt x="485260" y="4803804"/>
                </a:cubicBezTo>
                <a:cubicBezTo>
                  <a:pt x="471171" y="4803804"/>
                  <a:pt x="471171" y="4803804"/>
                  <a:pt x="457083" y="4761542"/>
                </a:cubicBezTo>
                <a:cubicBezTo>
                  <a:pt x="442996" y="4733367"/>
                  <a:pt x="428907" y="4705192"/>
                  <a:pt x="414819" y="4705192"/>
                </a:cubicBezTo>
                <a:cubicBezTo>
                  <a:pt x="400731" y="4677018"/>
                  <a:pt x="414819" y="4677018"/>
                  <a:pt x="400731" y="4662929"/>
                </a:cubicBezTo>
                <a:cubicBezTo>
                  <a:pt x="400731" y="4648842"/>
                  <a:pt x="400731" y="4662929"/>
                  <a:pt x="386643" y="4662929"/>
                </a:cubicBezTo>
                <a:cubicBezTo>
                  <a:pt x="386643" y="4648842"/>
                  <a:pt x="386643" y="4634755"/>
                  <a:pt x="386643" y="4634755"/>
                </a:cubicBezTo>
                <a:cubicBezTo>
                  <a:pt x="372554" y="4606580"/>
                  <a:pt x="358466" y="4592493"/>
                  <a:pt x="344378" y="4564318"/>
                </a:cubicBezTo>
                <a:cubicBezTo>
                  <a:pt x="330290" y="4536144"/>
                  <a:pt x="330290" y="4507969"/>
                  <a:pt x="316201" y="4493882"/>
                </a:cubicBezTo>
                <a:cubicBezTo>
                  <a:pt x="316201" y="4493882"/>
                  <a:pt x="316201" y="4493882"/>
                  <a:pt x="302113" y="4493882"/>
                </a:cubicBezTo>
                <a:cubicBezTo>
                  <a:pt x="302113" y="4479793"/>
                  <a:pt x="302113" y="4465706"/>
                  <a:pt x="302113" y="4465706"/>
                </a:cubicBezTo>
                <a:cubicBezTo>
                  <a:pt x="302113" y="4451619"/>
                  <a:pt x="302113" y="4437531"/>
                  <a:pt x="288025" y="4423444"/>
                </a:cubicBezTo>
                <a:cubicBezTo>
                  <a:pt x="302113" y="4451619"/>
                  <a:pt x="316201" y="4465706"/>
                  <a:pt x="330290" y="4493882"/>
                </a:cubicBezTo>
                <a:cubicBezTo>
                  <a:pt x="330290" y="4493882"/>
                  <a:pt x="330290" y="4507969"/>
                  <a:pt x="330290" y="4507969"/>
                </a:cubicBezTo>
                <a:cubicBezTo>
                  <a:pt x="330290" y="4507969"/>
                  <a:pt x="344378" y="4536144"/>
                  <a:pt x="344378" y="4536144"/>
                </a:cubicBezTo>
                <a:cubicBezTo>
                  <a:pt x="358466" y="4550231"/>
                  <a:pt x="358466" y="4564318"/>
                  <a:pt x="372554" y="4578406"/>
                </a:cubicBezTo>
                <a:cubicBezTo>
                  <a:pt x="372554" y="4578406"/>
                  <a:pt x="372554" y="4592493"/>
                  <a:pt x="372554" y="4592493"/>
                </a:cubicBezTo>
                <a:cubicBezTo>
                  <a:pt x="386643" y="4592493"/>
                  <a:pt x="386643" y="4592493"/>
                  <a:pt x="372554" y="4564318"/>
                </a:cubicBezTo>
                <a:cubicBezTo>
                  <a:pt x="372554" y="4564318"/>
                  <a:pt x="372554" y="4564318"/>
                  <a:pt x="366611" y="4546489"/>
                </a:cubicBezTo>
                <a:lnTo>
                  <a:pt x="363538" y="4537272"/>
                </a:lnTo>
                <a:lnTo>
                  <a:pt x="372554" y="4550231"/>
                </a:lnTo>
                <a:cubicBezTo>
                  <a:pt x="400731" y="4578406"/>
                  <a:pt x="400731" y="4606580"/>
                  <a:pt x="414819" y="4634755"/>
                </a:cubicBezTo>
                <a:cubicBezTo>
                  <a:pt x="414819" y="4634755"/>
                  <a:pt x="414819" y="4606580"/>
                  <a:pt x="428907" y="4648842"/>
                </a:cubicBezTo>
                <a:cubicBezTo>
                  <a:pt x="428907" y="4677018"/>
                  <a:pt x="442996" y="4691105"/>
                  <a:pt x="457083" y="4705192"/>
                </a:cubicBezTo>
                <a:cubicBezTo>
                  <a:pt x="457083" y="4705192"/>
                  <a:pt x="457083" y="4719280"/>
                  <a:pt x="457083" y="4719280"/>
                </a:cubicBezTo>
                <a:cubicBezTo>
                  <a:pt x="464128" y="4719280"/>
                  <a:pt x="464128" y="4715758"/>
                  <a:pt x="464128" y="4712236"/>
                </a:cubicBezTo>
                <a:lnTo>
                  <a:pt x="467330" y="4709034"/>
                </a:lnTo>
                <a:lnTo>
                  <a:pt x="471171" y="4719280"/>
                </a:lnTo>
                <a:cubicBezTo>
                  <a:pt x="471171" y="4719280"/>
                  <a:pt x="471171" y="4705192"/>
                  <a:pt x="471171" y="4705192"/>
                </a:cubicBezTo>
                <a:lnTo>
                  <a:pt x="467330" y="4709034"/>
                </a:lnTo>
                <a:lnTo>
                  <a:pt x="450039" y="4662931"/>
                </a:lnTo>
                <a:cubicBezTo>
                  <a:pt x="442996" y="4645320"/>
                  <a:pt x="435951" y="4627711"/>
                  <a:pt x="428907" y="4606580"/>
                </a:cubicBezTo>
                <a:cubicBezTo>
                  <a:pt x="414819" y="4606580"/>
                  <a:pt x="414819" y="4592493"/>
                  <a:pt x="414819" y="4578406"/>
                </a:cubicBezTo>
                <a:cubicBezTo>
                  <a:pt x="400731" y="4578406"/>
                  <a:pt x="386643" y="4536144"/>
                  <a:pt x="386643" y="4522056"/>
                </a:cubicBezTo>
                <a:cubicBezTo>
                  <a:pt x="372554" y="4507969"/>
                  <a:pt x="358466" y="4493882"/>
                  <a:pt x="358466" y="4479793"/>
                </a:cubicBezTo>
                <a:cubicBezTo>
                  <a:pt x="344378" y="4465706"/>
                  <a:pt x="344378" y="4451619"/>
                  <a:pt x="344378" y="4451619"/>
                </a:cubicBezTo>
                <a:cubicBezTo>
                  <a:pt x="330290" y="4437531"/>
                  <a:pt x="316201" y="4409357"/>
                  <a:pt x="316201" y="4381182"/>
                </a:cubicBezTo>
                <a:cubicBezTo>
                  <a:pt x="302113" y="4367095"/>
                  <a:pt x="302113" y="4338920"/>
                  <a:pt x="288025" y="4338920"/>
                </a:cubicBezTo>
                <a:cubicBezTo>
                  <a:pt x="288025" y="4338920"/>
                  <a:pt x="288025" y="4324833"/>
                  <a:pt x="288025" y="4310744"/>
                </a:cubicBezTo>
                <a:cubicBezTo>
                  <a:pt x="288025" y="4310744"/>
                  <a:pt x="273937" y="4310744"/>
                  <a:pt x="273937" y="4296657"/>
                </a:cubicBezTo>
                <a:cubicBezTo>
                  <a:pt x="273937" y="4268482"/>
                  <a:pt x="259848" y="4268482"/>
                  <a:pt x="259848" y="4254395"/>
                </a:cubicBezTo>
                <a:cubicBezTo>
                  <a:pt x="259848" y="4254395"/>
                  <a:pt x="273937" y="4296657"/>
                  <a:pt x="273937" y="4310744"/>
                </a:cubicBezTo>
                <a:cubicBezTo>
                  <a:pt x="273937" y="4296657"/>
                  <a:pt x="259848" y="4282570"/>
                  <a:pt x="259848" y="4268482"/>
                </a:cubicBezTo>
                <a:cubicBezTo>
                  <a:pt x="259848" y="4268482"/>
                  <a:pt x="259848" y="4254395"/>
                  <a:pt x="245761" y="4254395"/>
                </a:cubicBezTo>
                <a:cubicBezTo>
                  <a:pt x="245761" y="4254395"/>
                  <a:pt x="245761" y="4254395"/>
                  <a:pt x="245761" y="4240308"/>
                </a:cubicBezTo>
                <a:cubicBezTo>
                  <a:pt x="231672" y="4268482"/>
                  <a:pt x="231672" y="4254395"/>
                  <a:pt x="217584" y="4198046"/>
                </a:cubicBezTo>
                <a:cubicBezTo>
                  <a:pt x="203495" y="4198046"/>
                  <a:pt x="203495" y="4183958"/>
                  <a:pt x="203495" y="4169871"/>
                </a:cubicBezTo>
                <a:cubicBezTo>
                  <a:pt x="203495" y="4155784"/>
                  <a:pt x="189407" y="4155784"/>
                  <a:pt x="189407" y="4141697"/>
                </a:cubicBezTo>
                <a:lnTo>
                  <a:pt x="189407" y="4155784"/>
                </a:lnTo>
                <a:cubicBezTo>
                  <a:pt x="189407" y="4162828"/>
                  <a:pt x="189407" y="4169871"/>
                  <a:pt x="189407" y="4175153"/>
                </a:cubicBezTo>
                <a:lnTo>
                  <a:pt x="189407" y="4178235"/>
                </a:lnTo>
                <a:cubicBezTo>
                  <a:pt x="189407" y="4177796"/>
                  <a:pt x="189407" y="4178676"/>
                  <a:pt x="189407" y="4180437"/>
                </a:cubicBezTo>
                <a:lnTo>
                  <a:pt x="189407" y="4183958"/>
                </a:lnTo>
                <a:lnTo>
                  <a:pt x="189407" y="4198046"/>
                </a:lnTo>
                <a:cubicBezTo>
                  <a:pt x="189407" y="4198046"/>
                  <a:pt x="189407" y="4212133"/>
                  <a:pt x="189407" y="4212133"/>
                </a:cubicBezTo>
                <a:cubicBezTo>
                  <a:pt x="203495" y="4240308"/>
                  <a:pt x="217584" y="4254395"/>
                  <a:pt x="231672" y="4296657"/>
                </a:cubicBezTo>
                <a:cubicBezTo>
                  <a:pt x="217584" y="4296657"/>
                  <a:pt x="217584" y="4268482"/>
                  <a:pt x="217584" y="4268482"/>
                </a:cubicBezTo>
                <a:cubicBezTo>
                  <a:pt x="217584" y="4282570"/>
                  <a:pt x="217584" y="4296657"/>
                  <a:pt x="217584" y="4310744"/>
                </a:cubicBezTo>
                <a:cubicBezTo>
                  <a:pt x="217584" y="4310744"/>
                  <a:pt x="217584" y="4318669"/>
                  <a:pt x="217584" y="4316687"/>
                </a:cubicBezTo>
                <a:lnTo>
                  <a:pt x="217584" y="4324833"/>
                </a:lnTo>
                <a:cubicBezTo>
                  <a:pt x="217584" y="4328355"/>
                  <a:pt x="217584" y="4331877"/>
                  <a:pt x="217584" y="4338920"/>
                </a:cubicBezTo>
                <a:cubicBezTo>
                  <a:pt x="231672" y="4381182"/>
                  <a:pt x="217584" y="4381182"/>
                  <a:pt x="203495" y="4338920"/>
                </a:cubicBezTo>
                <a:cubicBezTo>
                  <a:pt x="189407" y="4324833"/>
                  <a:pt x="189407" y="4338920"/>
                  <a:pt x="189407" y="4324833"/>
                </a:cubicBezTo>
                <a:cubicBezTo>
                  <a:pt x="175319" y="4296657"/>
                  <a:pt x="175319" y="4282570"/>
                  <a:pt x="175319" y="4254395"/>
                </a:cubicBezTo>
                <a:cubicBezTo>
                  <a:pt x="161231" y="4226221"/>
                  <a:pt x="147142" y="4198046"/>
                  <a:pt x="147142" y="4169871"/>
                </a:cubicBezTo>
                <a:cubicBezTo>
                  <a:pt x="147142" y="4169871"/>
                  <a:pt x="147142" y="4155784"/>
                  <a:pt x="147142" y="4155784"/>
                </a:cubicBezTo>
                <a:cubicBezTo>
                  <a:pt x="147142" y="4155784"/>
                  <a:pt x="147142" y="4155784"/>
                  <a:pt x="133055" y="4113521"/>
                </a:cubicBezTo>
                <a:cubicBezTo>
                  <a:pt x="133055" y="4099433"/>
                  <a:pt x="118967" y="4113521"/>
                  <a:pt x="133055" y="4141697"/>
                </a:cubicBezTo>
                <a:cubicBezTo>
                  <a:pt x="133055" y="4141697"/>
                  <a:pt x="133055" y="4155784"/>
                  <a:pt x="133055" y="4155784"/>
                </a:cubicBezTo>
                <a:cubicBezTo>
                  <a:pt x="133055" y="4169871"/>
                  <a:pt x="133055" y="4169871"/>
                  <a:pt x="133055" y="4183958"/>
                </a:cubicBezTo>
                <a:cubicBezTo>
                  <a:pt x="118967" y="4141697"/>
                  <a:pt x="104878" y="4113521"/>
                  <a:pt x="104878" y="4071259"/>
                </a:cubicBezTo>
                <a:cubicBezTo>
                  <a:pt x="104878" y="4071259"/>
                  <a:pt x="104878" y="4057172"/>
                  <a:pt x="90789" y="4057172"/>
                </a:cubicBezTo>
                <a:cubicBezTo>
                  <a:pt x="90789" y="4028997"/>
                  <a:pt x="90789" y="4014910"/>
                  <a:pt x="76702" y="3986735"/>
                </a:cubicBezTo>
                <a:cubicBezTo>
                  <a:pt x="62614" y="3944472"/>
                  <a:pt x="48525" y="3888123"/>
                  <a:pt x="48525" y="3859948"/>
                </a:cubicBezTo>
                <a:cubicBezTo>
                  <a:pt x="62614" y="3859948"/>
                  <a:pt x="62614" y="3859948"/>
                  <a:pt x="62614" y="3859948"/>
                </a:cubicBezTo>
                <a:cubicBezTo>
                  <a:pt x="62614" y="3859948"/>
                  <a:pt x="62614" y="3859948"/>
                  <a:pt x="62614" y="3845861"/>
                </a:cubicBezTo>
                <a:cubicBezTo>
                  <a:pt x="62614" y="3831773"/>
                  <a:pt x="62614" y="3817686"/>
                  <a:pt x="62614" y="3789512"/>
                </a:cubicBezTo>
                <a:lnTo>
                  <a:pt x="62614" y="3784228"/>
                </a:lnTo>
                <a:cubicBezTo>
                  <a:pt x="62614" y="3783347"/>
                  <a:pt x="62614" y="3782908"/>
                  <a:pt x="62614" y="3783567"/>
                </a:cubicBezTo>
                <a:lnTo>
                  <a:pt x="62614" y="3759575"/>
                </a:lnTo>
                <a:cubicBezTo>
                  <a:pt x="62614" y="3747248"/>
                  <a:pt x="62614" y="3733161"/>
                  <a:pt x="62614" y="3719074"/>
                </a:cubicBezTo>
                <a:cubicBezTo>
                  <a:pt x="62614" y="3704987"/>
                  <a:pt x="76702" y="3704987"/>
                  <a:pt x="62614" y="3676812"/>
                </a:cubicBezTo>
                <a:cubicBezTo>
                  <a:pt x="62614" y="3676812"/>
                  <a:pt x="62614" y="3662725"/>
                  <a:pt x="62614" y="3648637"/>
                </a:cubicBezTo>
                <a:cubicBezTo>
                  <a:pt x="62614" y="3648637"/>
                  <a:pt x="76702" y="3690899"/>
                  <a:pt x="76702" y="3690899"/>
                </a:cubicBezTo>
                <a:cubicBezTo>
                  <a:pt x="76702" y="3676812"/>
                  <a:pt x="76702" y="3676812"/>
                  <a:pt x="76702" y="3676812"/>
                </a:cubicBezTo>
                <a:cubicBezTo>
                  <a:pt x="76702" y="3634550"/>
                  <a:pt x="62614" y="3592287"/>
                  <a:pt x="62614" y="3564112"/>
                </a:cubicBezTo>
                <a:cubicBezTo>
                  <a:pt x="62614" y="3592287"/>
                  <a:pt x="62614" y="3620463"/>
                  <a:pt x="62614" y="3634550"/>
                </a:cubicBezTo>
                <a:cubicBezTo>
                  <a:pt x="62614" y="3634550"/>
                  <a:pt x="62614" y="3634550"/>
                  <a:pt x="48525" y="3620463"/>
                </a:cubicBezTo>
                <a:cubicBezTo>
                  <a:pt x="48525" y="3592287"/>
                  <a:pt x="48525" y="3592287"/>
                  <a:pt x="48525" y="3578200"/>
                </a:cubicBezTo>
                <a:cubicBezTo>
                  <a:pt x="48525" y="3564112"/>
                  <a:pt x="34436" y="3564112"/>
                  <a:pt x="34436" y="3550025"/>
                </a:cubicBezTo>
                <a:cubicBezTo>
                  <a:pt x="34436" y="3535938"/>
                  <a:pt x="34436" y="3535938"/>
                  <a:pt x="34436" y="3521850"/>
                </a:cubicBezTo>
                <a:cubicBezTo>
                  <a:pt x="34436" y="3451414"/>
                  <a:pt x="20349" y="3409151"/>
                  <a:pt x="20349" y="3366889"/>
                </a:cubicBezTo>
                <a:cubicBezTo>
                  <a:pt x="20349" y="3352801"/>
                  <a:pt x="6261" y="3338714"/>
                  <a:pt x="6261" y="3324627"/>
                </a:cubicBezTo>
                <a:cubicBezTo>
                  <a:pt x="6261" y="3282365"/>
                  <a:pt x="6261" y="3254190"/>
                  <a:pt x="6261" y="3226015"/>
                </a:cubicBezTo>
                <a:cubicBezTo>
                  <a:pt x="6261" y="3211927"/>
                  <a:pt x="6261" y="3197840"/>
                  <a:pt x="6261" y="3183753"/>
                </a:cubicBezTo>
                <a:cubicBezTo>
                  <a:pt x="6261" y="3169665"/>
                  <a:pt x="6261" y="3169665"/>
                  <a:pt x="6261" y="3155578"/>
                </a:cubicBezTo>
                <a:cubicBezTo>
                  <a:pt x="6261" y="3155578"/>
                  <a:pt x="6261" y="3155578"/>
                  <a:pt x="6261" y="3141491"/>
                </a:cubicBezTo>
                <a:cubicBezTo>
                  <a:pt x="-7828" y="3127404"/>
                  <a:pt x="6261" y="3085142"/>
                  <a:pt x="6261" y="3056966"/>
                </a:cubicBezTo>
                <a:cubicBezTo>
                  <a:pt x="6261" y="3028791"/>
                  <a:pt x="6261" y="3000616"/>
                  <a:pt x="6261" y="2958355"/>
                </a:cubicBezTo>
                <a:cubicBezTo>
                  <a:pt x="20349" y="2887917"/>
                  <a:pt x="20349" y="2887917"/>
                  <a:pt x="6261" y="2873830"/>
                </a:cubicBezTo>
                <a:cubicBezTo>
                  <a:pt x="6261" y="2873830"/>
                  <a:pt x="6261" y="2859742"/>
                  <a:pt x="6261" y="2859742"/>
                </a:cubicBezTo>
                <a:cubicBezTo>
                  <a:pt x="6261" y="2845655"/>
                  <a:pt x="6261" y="2845655"/>
                  <a:pt x="20349" y="2845655"/>
                </a:cubicBezTo>
                <a:cubicBezTo>
                  <a:pt x="20349" y="2845655"/>
                  <a:pt x="20349" y="2831568"/>
                  <a:pt x="20349" y="2831568"/>
                </a:cubicBezTo>
                <a:cubicBezTo>
                  <a:pt x="20349" y="2803393"/>
                  <a:pt x="20349" y="2789306"/>
                  <a:pt x="20349" y="2761131"/>
                </a:cubicBezTo>
                <a:cubicBezTo>
                  <a:pt x="20349" y="2747044"/>
                  <a:pt x="34436" y="2718869"/>
                  <a:pt x="34436" y="2704782"/>
                </a:cubicBezTo>
                <a:cubicBezTo>
                  <a:pt x="34436" y="2704782"/>
                  <a:pt x="34436" y="2704782"/>
                  <a:pt x="34436" y="2676606"/>
                </a:cubicBezTo>
                <a:cubicBezTo>
                  <a:pt x="34436" y="2634344"/>
                  <a:pt x="48525" y="2577995"/>
                  <a:pt x="62614" y="2521646"/>
                </a:cubicBezTo>
                <a:cubicBezTo>
                  <a:pt x="76702" y="2493470"/>
                  <a:pt x="90789" y="2451208"/>
                  <a:pt x="104878" y="2437121"/>
                </a:cubicBezTo>
                <a:cubicBezTo>
                  <a:pt x="104878" y="2437121"/>
                  <a:pt x="104878" y="2408946"/>
                  <a:pt x="118967" y="2394859"/>
                </a:cubicBezTo>
                <a:cubicBezTo>
                  <a:pt x="118967" y="2366684"/>
                  <a:pt x="118967" y="2338508"/>
                  <a:pt x="133055" y="2310334"/>
                </a:cubicBezTo>
                <a:cubicBezTo>
                  <a:pt x="147142" y="2296246"/>
                  <a:pt x="147142" y="2268072"/>
                  <a:pt x="161231" y="2253985"/>
                </a:cubicBezTo>
                <a:cubicBezTo>
                  <a:pt x="161231" y="2253985"/>
                  <a:pt x="161231" y="2253985"/>
                  <a:pt x="161231" y="2239897"/>
                </a:cubicBezTo>
                <a:cubicBezTo>
                  <a:pt x="161231" y="2225810"/>
                  <a:pt x="161231" y="2225810"/>
                  <a:pt x="161231" y="2211723"/>
                </a:cubicBezTo>
                <a:cubicBezTo>
                  <a:pt x="175319" y="2211723"/>
                  <a:pt x="175319" y="2211723"/>
                  <a:pt x="175319" y="2197635"/>
                </a:cubicBezTo>
                <a:cubicBezTo>
                  <a:pt x="175319" y="2197635"/>
                  <a:pt x="175319" y="2183548"/>
                  <a:pt x="175319" y="2155372"/>
                </a:cubicBezTo>
                <a:cubicBezTo>
                  <a:pt x="175319" y="2155372"/>
                  <a:pt x="175319" y="2155372"/>
                  <a:pt x="189407" y="2141285"/>
                </a:cubicBezTo>
                <a:cubicBezTo>
                  <a:pt x="189407" y="2141285"/>
                  <a:pt x="189407" y="2127198"/>
                  <a:pt x="189407" y="2113110"/>
                </a:cubicBezTo>
                <a:cubicBezTo>
                  <a:pt x="189407" y="2113110"/>
                  <a:pt x="189407" y="2113110"/>
                  <a:pt x="203495" y="2099023"/>
                </a:cubicBezTo>
                <a:cubicBezTo>
                  <a:pt x="203495" y="2084936"/>
                  <a:pt x="203495" y="2070849"/>
                  <a:pt x="217584" y="2056761"/>
                </a:cubicBezTo>
                <a:cubicBezTo>
                  <a:pt x="217584" y="2042674"/>
                  <a:pt x="217584" y="2042674"/>
                  <a:pt x="217584" y="2028587"/>
                </a:cubicBezTo>
                <a:cubicBezTo>
                  <a:pt x="217584" y="2014499"/>
                  <a:pt x="231672" y="2000412"/>
                  <a:pt x="231672" y="2000412"/>
                </a:cubicBezTo>
                <a:cubicBezTo>
                  <a:pt x="231672" y="2014499"/>
                  <a:pt x="245761" y="1986323"/>
                  <a:pt x="231672" y="2000412"/>
                </a:cubicBezTo>
                <a:cubicBezTo>
                  <a:pt x="259848" y="1958149"/>
                  <a:pt x="259848" y="1958149"/>
                  <a:pt x="245761" y="1958149"/>
                </a:cubicBezTo>
                <a:cubicBezTo>
                  <a:pt x="231672" y="1944061"/>
                  <a:pt x="245761" y="1929974"/>
                  <a:pt x="245761" y="1901800"/>
                </a:cubicBezTo>
                <a:cubicBezTo>
                  <a:pt x="273937" y="1873625"/>
                  <a:pt x="273937" y="1859538"/>
                  <a:pt x="259848" y="1873625"/>
                </a:cubicBezTo>
                <a:cubicBezTo>
                  <a:pt x="245761" y="1887712"/>
                  <a:pt x="245761" y="1887712"/>
                  <a:pt x="245761" y="1887712"/>
                </a:cubicBezTo>
                <a:cubicBezTo>
                  <a:pt x="231672" y="1915887"/>
                  <a:pt x="245761" y="1915887"/>
                  <a:pt x="217584" y="1972236"/>
                </a:cubicBezTo>
                <a:cubicBezTo>
                  <a:pt x="203495" y="1986323"/>
                  <a:pt x="203495" y="1986323"/>
                  <a:pt x="203495" y="1986323"/>
                </a:cubicBezTo>
                <a:cubicBezTo>
                  <a:pt x="203495" y="1986323"/>
                  <a:pt x="203495" y="2000412"/>
                  <a:pt x="203495" y="2000412"/>
                </a:cubicBezTo>
                <a:cubicBezTo>
                  <a:pt x="175319" y="2042674"/>
                  <a:pt x="189407" y="2014499"/>
                  <a:pt x="189407" y="2000412"/>
                </a:cubicBezTo>
                <a:cubicBezTo>
                  <a:pt x="189407" y="1972236"/>
                  <a:pt x="203495" y="1944061"/>
                  <a:pt x="203495" y="1915887"/>
                </a:cubicBezTo>
                <a:cubicBezTo>
                  <a:pt x="189407" y="1944061"/>
                  <a:pt x="189407" y="1958149"/>
                  <a:pt x="175319" y="1972236"/>
                </a:cubicBezTo>
                <a:lnTo>
                  <a:pt x="181786" y="1954455"/>
                </a:lnTo>
                <a:lnTo>
                  <a:pt x="189407" y="1944061"/>
                </a:lnTo>
                <a:cubicBezTo>
                  <a:pt x="189407" y="1944061"/>
                  <a:pt x="185885" y="1947583"/>
                  <a:pt x="182363" y="1952867"/>
                </a:cubicBezTo>
                <a:lnTo>
                  <a:pt x="181786" y="1954455"/>
                </a:lnTo>
                <a:lnTo>
                  <a:pt x="170036" y="1970476"/>
                </a:lnTo>
                <a:cubicBezTo>
                  <a:pt x="164753" y="1979280"/>
                  <a:pt x="161231" y="1986323"/>
                  <a:pt x="161231" y="1986323"/>
                </a:cubicBezTo>
                <a:cubicBezTo>
                  <a:pt x="161231" y="1972236"/>
                  <a:pt x="147142" y="2000412"/>
                  <a:pt x="147142" y="2000412"/>
                </a:cubicBezTo>
                <a:cubicBezTo>
                  <a:pt x="133055" y="2028587"/>
                  <a:pt x="133055" y="2028587"/>
                  <a:pt x="133055" y="2014499"/>
                </a:cubicBezTo>
                <a:cubicBezTo>
                  <a:pt x="118967" y="2042674"/>
                  <a:pt x="104878" y="2070849"/>
                  <a:pt x="76702" y="2099023"/>
                </a:cubicBezTo>
                <a:cubicBezTo>
                  <a:pt x="90789" y="2056761"/>
                  <a:pt x="104878" y="2042674"/>
                  <a:pt x="118967" y="2028587"/>
                </a:cubicBezTo>
                <a:cubicBezTo>
                  <a:pt x="118967" y="2018021"/>
                  <a:pt x="126891" y="2015379"/>
                  <a:pt x="130854" y="2002833"/>
                </a:cubicBezTo>
                <a:lnTo>
                  <a:pt x="131021" y="2001574"/>
                </a:lnTo>
                <a:lnTo>
                  <a:pt x="133055" y="2000412"/>
                </a:lnTo>
                <a:cubicBezTo>
                  <a:pt x="133055" y="1986323"/>
                  <a:pt x="133055" y="1986323"/>
                  <a:pt x="133055" y="1986323"/>
                </a:cubicBezTo>
                <a:lnTo>
                  <a:pt x="131021" y="2001574"/>
                </a:lnTo>
                <a:lnTo>
                  <a:pt x="120727" y="2007456"/>
                </a:lnTo>
                <a:cubicBezTo>
                  <a:pt x="118967" y="2010977"/>
                  <a:pt x="118967" y="2014499"/>
                  <a:pt x="118967" y="2014499"/>
                </a:cubicBezTo>
                <a:cubicBezTo>
                  <a:pt x="118967" y="2014499"/>
                  <a:pt x="118967" y="2014499"/>
                  <a:pt x="118967" y="2000412"/>
                </a:cubicBezTo>
                <a:cubicBezTo>
                  <a:pt x="118967" y="2000412"/>
                  <a:pt x="118967" y="2000412"/>
                  <a:pt x="118967" y="1986323"/>
                </a:cubicBezTo>
                <a:cubicBezTo>
                  <a:pt x="133055" y="1958149"/>
                  <a:pt x="133055" y="1958149"/>
                  <a:pt x="133055" y="1972236"/>
                </a:cubicBezTo>
                <a:cubicBezTo>
                  <a:pt x="133055" y="1972236"/>
                  <a:pt x="133055" y="1972236"/>
                  <a:pt x="147142" y="1972236"/>
                </a:cubicBezTo>
                <a:cubicBezTo>
                  <a:pt x="147142" y="1944061"/>
                  <a:pt x="161231" y="1944061"/>
                  <a:pt x="161231" y="1944061"/>
                </a:cubicBezTo>
                <a:cubicBezTo>
                  <a:pt x="161231" y="1944061"/>
                  <a:pt x="175319" y="1929974"/>
                  <a:pt x="175319" y="1929974"/>
                </a:cubicBezTo>
                <a:cubicBezTo>
                  <a:pt x="189407" y="1901800"/>
                  <a:pt x="217584" y="1859538"/>
                  <a:pt x="231672" y="1845450"/>
                </a:cubicBezTo>
                <a:cubicBezTo>
                  <a:pt x="231672" y="1845450"/>
                  <a:pt x="259848" y="1803188"/>
                  <a:pt x="259848" y="1803188"/>
                </a:cubicBezTo>
                <a:cubicBezTo>
                  <a:pt x="273937" y="1803188"/>
                  <a:pt x="288025" y="1775013"/>
                  <a:pt x="302113" y="1775013"/>
                </a:cubicBezTo>
                <a:cubicBezTo>
                  <a:pt x="316201" y="1746838"/>
                  <a:pt x="330290" y="1704576"/>
                  <a:pt x="358466" y="1676401"/>
                </a:cubicBezTo>
                <a:cubicBezTo>
                  <a:pt x="358466" y="1662314"/>
                  <a:pt x="358466" y="1648227"/>
                  <a:pt x="372554" y="1648227"/>
                </a:cubicBezTo>
                <a:cubicBezTo>
                  <a:pt x="372554" y="1648227"/>
                  <a:pt x="372554" y="1662314"/>
                  <a:pt x="372554" y="1662314"/>
                </a:cubicBezTo>
                <a:cubicBezTo>
                  <a:pt x="344378" y="1718663"/>
                  <a:pt x="344378" y="1746838"/>
                  <a:pt x="358466" y="1746838"/>
                </a:cubicBezTo>
                <a:cubicBezTo>
                  <a:pt x="358466" y="1746838"/>
                  <a:pt x="358466" y="1760925"/>
                  <a:pt x="330290" y="1803188"/>
                </a:cubicBezTo>
                <a:cubicBezTo>
                  <a:pt x="330290" y="1817276"/>
                  <a:pt x="316201" y="1831363"/>
                  <a:pt x="316201" y="1845450"/>
                </a:cubicBezTo>
                <a:cubicBezTo>
                  <a:pt x="288025" y="1887712"/>
                  <a:pt x="259848" y="1929974"/>
                  <a:pt x="259848" y="1972236"/>
                </a:cubicBezTo>
                <a:cubicBezTo>
                  <a:pt x="245761" y="1986323"/>
                  <a:pt x="245761" y="1986323"/>
                  <a:pt x="245761" y="2000412"/>
                </a:cubicBezTo>
                <a:cubicBezTo>
                  <a:pt x="245761" y="2028587"/>
                  <a:pt x="231672" y="2042674"/>
                  <a:pt x="217584" y="2070849"/>
                </a:cubicBezTo>
                <a:cubicBezTo>
                  <a:pt x="217584" y="2099023"/>
                  <a:pt x="217584" y="2127198"/>
                  <a:pt x="203495" y="2169459"/>
                </a:cubicBezTo>
                <a:cubicBezTo>
                  <a:pt x="203495" y="2169459"/>
                  <a:pt x="203495" y="2169459"/>
                  <a:pt x="189407" y="2169459"/>
                </a:cubicBezTo>
                <a:cubicBezTo>
                  <a:pt x="189407" y="2183548"/>
                  <a:pt x="189407" y="2197635"/>
                  <a:pt x="189407" y="2225810"/>
                </a:cubicBezTo>
                <a:cubicBezTo>
                  <a:pt x="175319" y="2225810"/>
                  <a:pt x="175319" y="2253985"/>
                  <a:pt x="175319" y="2268072"/>
                </a:cubicBezTo>
                <a:cubicBezTo>
                  <a:pt x="175319" y="2282159"/>
                  <a:pt x="175319" y="2282159"/>
                  <a:pt x="175319" y="2282159"/>
                </a:cubicBezTo>
                <a:cubicBezTo>
                  <a:pt x="161231" y="2296246"/>
                  <a:pt x="161231" y="2310334"/>
                  <a:pt x="161231" y="2324421"/>
                </a:cubicBezTo>
                <a:cubicBezTo>
                  <a:pt x="161231" y="2338508"/>
                  <a:pt x="161231" y="2352596"/>
                  <a:pt x="175319" y="2338508"/>
                </a:cubicBezTo>
                <a:cubicBezTo>
                  <a:pt x="175319" y="2324421"/>
                  <a:pt x="175319" y="2296246"/>
                  <a:pt x="189407" y="2253985"/>
                </a:cubicBezTo>
                <a:cubicBezTo>
                  <a:pt x="189407" y="2253985"/>
                  <a:pt x="189407" y="2225810"/>
                  <a:pt x="203495" y="2211723"/>
                </a:cubicBezTo>
                <a:cubicBezTo>
                  <a:pt x="203495" y="2211723"/>
                  <a:pt x="203495" y="2211723"/>
                  <a:pt x="203495" y="2197635"/>
                </a:cubicBezTo>
                <a:cubicBezTo>
                  <a:pt x="203495" y="2183548"/>
                  <a:pt x="203495" y="2183548"/>
                  <a:pt x="203495" y="2183548"/>
                </a:cubicBezTo>
                <a:cubicBezTo>
                  <a:pt x="217584" y="2169459"/>
                  <a:pt x="217584" y="2169459"/>
                  <a:pt x="217584" y="2155372"/>
                </a:cubicBezTo>
                <a:cubicBezTo>
                  <a:pt x="217584" y="2155372"/>
                  <a:pt x="217584" y="2141285"/>
                  <a:pt x="231672" y="2127198"/>
                </a:cubicBezTo>
                <a:cubicBezTo>
                  <a:pt x="231672" y="2127198"/>
                  <a:pt x="231672" y="2130719"/>
                  <a:pt x="231672" y="2136003"/>
                </a:cubicBezTo>
                <a:lnTo>
                  <a:pt x="231672" y="2149429"/>
                </a:lnTo>
                <a:cubicBezTo>
                  <a:pt x="231672" y="2148770"/>
                  <a:pt x="231672" y="2149210"/>
                  <a:pt x="231672" y="2150090"/>
                </a:cubicBezTo>
                <a:lnTo>
                  <a:pt x="231672" y="2155372"/>
                </a:lnTo>
                <a:cubicBezTo>
                  <a:pt x="245761" y="2141285"/>
                  <a:pt x="245761" y="2127198"/>
                  <a:pt x="259848" y="2113110"/>
                </a:cubicBezTo>
                <a:cubicBezTo>
                  <a:pt x="245761" y="2113110"/>
                  <a:pt x="245761" y="2127198"/>
                  <a:pt x="245761" y="2113110"/>
                </a:cubicBezTo>
                <a:cubicBezTo>
                  <a:pt x="245761" y="2113110"/>
                  <a:pt x="245761" y="2113110"/>
                  <a:pt x="245761" y="2099023"/>
                </a:cubicBezTo>
                <a:cubicBezTo>
                  <a:pt x="245761" y="2099023"/>
                  <a:pt x="259848" y="2084936"/>
                  <a:pt x="259848" y="2084936"/>
                </a:cubicBezTo>
                <a:cubicBezTo>
                  <a:pt x="259848" y="2084936"/>
                  <a:pt x="259848" y="2084936"/>
                  <a:pt x="273937" y="2056761"/>
                </a:cubicBezTo>
                <a:cubicBezTo>
                  <a:pt x="273937" y="2042674"/>
                  <a:pt x="288025" y="2028587"/>
                  <a:pt x="288025" y="2028587"/>
                </a:cubicBezTo>
                <a:cubicBezTo>
                  <a:pt x="288025" y="2028587"/>
                  <a:pt x="288025" y="2042674"/>
                  <a:pt x="288025" y="2056761"/>
                </a:cubicBezTo>
                <a:cubicBezTo>
                  <a:pt x="273937" y="2056761"/>
                  <a:pt x="273937" y="2070849"/>
                  <a:pt x="273937" y="2084936"/>
                </a:cubicBezTo>
                <a:cubicBezTo>
                  <a:pt x="273937" y="2099023"/>
                  <a:pt x="273937" y="2084936"/>
                  <a:pt x="288025" y="2070849"/>
                </a:cubicBezTo>
                <a:cubicBezTo>
                  <a:pt x="288025" y="2056761"/>
                  <a:pt x="302113" y="2042674"/>
                  <a:pt x="302113" y="2028587"/>
                </a:cubicBezTo>
                <a:cubicBezTo>
                  <a:pt x="302113" y="2014499"/>
                  <a:pt x="302113" y="2014499"/>
                  <a:pt x="302113" y="2014499"/>
                </a:cubicBezTo>
                <a:cubicBezTo>
                  <a:pt x="316201" y="2000412"/>
                  <a:pt x="316201" y="1986323"/>
                  <a:pt x="330290" y="1972236"/>
                </a:cubicBezTo>
                <a:cubicBezTo>
                  <a:pt x="344378" y="1958149"/>
                  <a:pt x="344378" y="1929974"/>
                  <a:pt x="344378" y="1958149"/>
                </a:cubicBezTo>
                <a:cubicBezTo>
                  <a:pt x="344378" y="1958149"/>
                  <a:pt x="344378" y="1958149"/>
                  <a:pt x="358466" y="1944061"/>
                </a:cubicBezTo>
                <a:cubicBezTo>
                  <a:pt x="344378" y="1944061"/>
                  <a:pt x="358466" y="1915887"/>
                  <a:pt x="372554" y="1887712"/>
                </a:cubicBezTo>
                <a:cubicBezTo>
                  <a:pt x="386643" y="1873625"/>
                  <a:pt x="386643" y="1859538"/>
                  <a:pt x="400731" y="1845450"/>
                </a:cubicBezTo>
                <a:cubicBezTo>
                  <a:pt x="386643" y="1845450"/>
                  <a:pt x="386643" y="1845450"/>
                  <a:pt x="386643" y="1859538"/>
                </a:cubicBezTo>
                <a:cubicBezTo>
                  <a:pt x="386643" y="1859538"/>
                  <a:pt x="386643" y="1859538"/>
                  <a:pt x="372554" y="1859538"/>
                </a:cubicBezTo>
                <a:cubicBezTo>
                  <a:pt x="372554" y="1873625"/>
                  <a:pt x="372554" y="1873625"/>
                  <a:pt x="372554" y="1873625"/>
                </a:cubicBezTo>
                <a:cubicBezTo>
                  <a:pt x="358466" y="1887712"/>
                  <a:pt x="344378" y="1887712"/>
                  <a:pt x="358466" y="1845450"/>
                </a:cubicBezTo>
                <a:cubicBezTo>
                  <a:pt x="400731" y="1789100"/>
                  <a:pt x="400731" y="1760925"/>
                  <a:pt x="428907" y="1718663"/>
                </a:cubicBezTo>
                <a:cubicBezTo>
                  <a:pt x="442996" y="1704576"/>
                  <a:pt x="442996" y="1690489"/>
                  <a:pt x="442996" y="1676401"/>
                </a:cubicBezTo>
                <a:cubicBezTo>
                  <a:pt x="457083" y="1648227"/>
                  <a:pt x="471171" y="1634138"/>
                  <a:pt x="471171" y="1634138"/>
                </a:cubicBezTo>
                <a:cubicBezTo>
                  <a:pt x="457083" y="1620051"/>
                  <a:pt x="471171" y="1605964"/>
                  <a:pt x="485260" y="1591876"/>
                </a:cubicBezTo>
                <a:cubicBezTo>
                  <a:pt x="485260" y="1577789"/>
                  <a:pt x="499349" y="1577789"/>
                  <a:pt x="499349" y="1577789"/>
                </a:cubicBezTo>
                <a:cubicBezTo>
                  <a:pt x="499349" y="1577789"/>
                  <a:pt x="513436" y="1549614"/>
                  <a:pt x="527524" y="1521440"/>
                </a:cubicBezTo>
                <a:cubicBezTo>
                  <a:pt x="541613" y="1507353"/>
                  <a:pt x="555702" y="1493265"/>
                  <a:pt x="555702" y="1479178"/>
                </a:cubicBezTo>
                <a:cubicBezTo>
                  <a:pt x="569789" y="1479178"/>
                  <a:pt x="597966" y="1436915"/>
                  <a:pt x="597966" y="1451002"/>
                </a:cubicBezTo>
                <a:cubicBezTo>
                  <a:pt x="569789" y="1479178"/>
                  <a:pt x="569789" y="1521440"/>
                  <a:pt x="527524" y="1563702"/>
                </a:cubicBezTo>
                <a:cubicBezTo>
                  <a:pt x="513436" y="1591876"/>
                  <a:pt x="499349" y="1605964"/>
                  <a:pt x="499349" y="1620051"/>
                </a:cubicBezTo>
                <a:cubicBezTo>
                  <a:pt x="499349" y="1634138"/>
                  <a:pt x="513436" y="1605964"/>
                  <a:pt x="527524" y="1591876"/>
                </a:cubicBezTo>
                <a:cubicBezTo>
                  <a:pt x="527524" y="1591876"/>
                  <a:pt x="527524" y="1577789"/>
                  <a:pt x="527524" y="1577789"/>
                </a:cubicBezTo>
                <a:cubicBezTo>
                  <a:pt x="555702" y="1535527"/>
                  <a:pt x="583877" y="1479178"/>
                  <a:pt x="612055" y="1436915"/>
                </a:cubicBezTo>
                <a:cubicBezTo>
                  <a:pt x="626142" y="1422828"/>
                  <a:pt x="626142" y="1408740"/>
                  <a:pt x="640230" y="1394653"/>
                </a:cubicBezTo>
                <a:cubicBezTo>
                  <a:pt x="654319" y="1366478"/>
                  <a:pt x="668406" y="1352391"/>
                  <a:pt x="668406" y="1338304"/>
                </a:cubicBezTo>
                <a:cubicBezTo>
                  <a:pt x="682495" y="1338304"/>
                  <a:pt x="696583" y="1324216"/>
                  <a:pt x="696583" y="1310129"/>
                </a:cubicBezTo>
                <a:cubicBezTo>
                  <a:pt x="724760" y="1281953"/>
                  <a:pt x="724760" y="1281953"/>
                  <a:pt x="738848" y="1253779"/>
                </a:cubicBezTo>
                <a:cubicBezTo>
                  <a:pt x="752936" y="1253779"/>
                  <a:pt x="752936" y="1239691"/>
                  <a:pt x="752936" y="1239691"/>
                </a:cubicBezTo>
                <a:cubicBezTo>
                  <a:pt x="795201" y="1197430"/>
                  <a:pt x="823378" y="1155168"/>
                  <a:pt x="865642" y="1112904"/>
                </a:cubicBezTo>
                <a:cubicBezTo>
                  <a:pt x="865642" y="1098817"/>
                  <a:pt x="879731" y="1084730"/>
                  <a:pt x="893818" y="1070642"/>
                </a:cubicBezTo>
                <a:cubicBezTo>
                  <a:pt x="907907" y="1056555"/>
                  <a:pt x="921995" y="1042468"/>
                  <a:pt x="921995" y="1042468"/>
                </a:cubicBezTo>
                <a:cubicBezTo>
                  <a:pt x="921995" y="1042468"/>
                  <a:pt x="936082" y="1028381"/>
                  <a:pt x="936082" y="1028381"/>
                </a:cubicBezTo>
                <a:cubicBezTo>
                  <a:pt x="907907" y="1042468"/>
                  <a:pt x="936082" y="1014293"/>
                  <a:pt x="950171" y="1000206"/>
                </a:cubicBezTo>
                <a:cubicBezTo>
                  <a:pt x="950171" y="1000206"/>
                  <a:pt x="964260" y="986119"/>
                  <a:pt x="964260" y="986119"/>
                </a:cubicBezTo>
                <a:cubicBezTo>
                  <a:pt x="978348" y="957944"/>
                  <a:pt x="1020613" y="915681"/>
                  <a:pt x="1048788" y="887506"/>
                </a:cubicBezTo>
                <a:cubicBezTo>
                  <a:pt x="1048788" y="887506"/>
                  <a:pt x="1062877" y="887506"/>
                  <a:pt x="1062877" y="873419"/>
                </a:cubicBezTo>
                <a:cubicBezTo>
                  <a:pt x="1062877" y="873419"/>
                  <a:pt x="1062877" y="873419"/>
                  <a:pt x="1076965" y="873419"/>
                </a:cubicBezTo>
                <a:cubicBezTo>
                  <a:pt x="1076965" y="859332"/>
                  <a:pt x="1091053" y="859332"/>
                  <a:pt x="1091053" y="845244"/>
                </a:cubicBezTo>
                <a:cubicBezTo>
                  <a:pt x="1091053" y="845244"/>
                  <a:pt x="1105141" y="845244"/>
                  <a:pt x="1105141" y="831157"/>
                </a:cubicBezTo>
                <a:cubicBezTo>
                  <a:pt x="1119230" y="817070"/>
                  <a:pt x="1119230" y="817070"/>
                  <a:pt x="1119230" y="817070"/>
                </a:cubicBezTo>
                <a:cubicBezTo>
                  <a:pt x="1133318" y="802983"/>
                  <a:pt x="1147407" y="788895"/>
                  <a:pt x="1161494" y="774808"/>
                </a:cubicBezTo>
                <a:cubicBezTo>
                  <a:pt x="1175583" y="774808"/>
                  <a:pt x="1189671" y="760719"/>
                  <a:pt x="1189671" y="760719"/>
                </a:cubicBezTo>
                <a:cubicBezTo>
                  <a:pt x="1189671" y="774808"/>
                  <a:pt x="1189671" y="760719"/>
                  <a:pt x="1203759" y="746632"/>
                </a:cubicBezTo>
                <a:cubicBezTo>
                  <a:pt x="1231936" y="732545"/>
                  <a:pt x="1231936" y="732545"/>
                  <a:pt x="1231936" y="732545"/>
                </a:cubicBezTo>
                <a:cubicBezTo>
                  <a:pt x="1246024" y="732545"/>
                  <a:pt x="1260112" y="718457"/>
                  <a:pt x="1288289" y="704370"/>
                </a:cubicBezTo>
                <a:cubicBezTo>
                  <a:pt x="1302377" y="690283"/>
                  <a:pt x="1330553" y="676196"/>
                  <a:pt x="1358729" y="662108"/>
                </a:cubicBezTo>
                <a:cubicBezTo>
                  <a:pt x="1386906" y="633934"/>
                  <a:pt x="1415083" y="605759"/>
                  <a:pt x="1429170" y="591672"/>
                </a:cubicBezTo>
                <a:cubicBezTo>
                  <a:pt x="1443259" y="577583"/>
                  <a:pt x="1457348" y="577583"/>
                  <a:pt x="1471435" y="563496"/>
                </a:cubicBezTo>
                <a:cubicBezTo>
                  <a:pt x="1485523" y="549409"/>
                  <a:pt x="1513700" y="535321"/>
                  <a:pt x="1527788" y="521234"/>
                </a:cubicBezTo>
                <a:cubicBezTo>
                  <a:pt x="1541876" y="521234"/>
                  <a:pt x="1541876" y="521234"/>
                  <a:pt x="1541876" y="507147"/>
                </a:cubicBezTo>
                <a:cubicBezTo>
                  <a:pt x="1555965" y="507147"/>
                  <a:pt x="1570053" y="493059"/>
                  <a:pt x="1584141" y="493059"/>
                </a:cubicBezTo>
                <a:cubicBezTo>
                  <a:pt x="1598229" y="478972"/>
                  <a:pt x="1598229" y="478972"/>
                  <a:pt x="1598229" y="464885"/>
                </a:cubicBezTo>
                <a:cubicBezTo>
                  <a:pt x="1612318" y="464885"/>
                  <a:pt x="1612318" y="464885"/>
                  <a:pt x="1626406" y="464885"/>
                </a:cubicBezTo>
                <a:cubicBezTo>
                  <a:pt x="1668671" y="436710"/>
                  <a:pt x="1739111" y="380360"/>
                  <a:pt x="1753200" y="366272"/>
                </a:cubicBezTo>
                <a:cubicBezTo>
                  <a:pt x="1767288" y="352185"/>
                  <a:pt x="1781377" y="352185"/>
                  <a:pt x="1795464" y="338098"/>
                </a:cubicBezTo>
                <a:cubicBezTo>
                  <a:pt x="1809553" y="338098"/>
                  <a:pt x="1823641" y="324010"/>
                  <a:pt x="1823641" y="338098"/>
                </a:cubicBezTo>
                <a:cubicBezTo>
                  <a:pt x="1837730" y="338098"/>
                  <a:pt x="1851817" y="324010"/>
                  <a:pt x="1865906" y="324010"/>
                </a:cubicBezTo>
                <a:cubicBezTo>
                  <a:pt x="1894083" y="295836"/>
                  <a:pt x="1936347" y="281749"/>
                  <a:pt x="1964523" y="267661"/>
                </a:cubicBezTo>
                <a:cubicBezTo>
                  <a:pt x="1978611" y="253574"/>
                  <a:pt x="1978611" y="253574"/>
                  <a:pt x="1992700" y="253574"/>
                </a:cubicBezTo>
                <a:cubicBezTo>
                  <a:pt x="1992700" y="239487"/>
                  <a:pt x="2020876" y="239487"/>
                  <a:pt x="2034965" y="225398"/>
                </a:cubicBezTo>
                <a:cubicBezTo>
                  <a:pt x="2063140" y="225398"/>
                  <a:pt x="2077229" y="211311"/>
                  <a:pt x="2091317" y="197224"/>
                </a:cubicBezTo>
                <a:cubicBezTo>
                  <a:pt x="2133582" y="183136"/>
                  <a:pt x="2189935" y="169049"/>
                  <a:pt x="2232199" y="140874"/>
                </a:cubicBezTo>
                <a:cubicBezTo>
                  <a:pt x="2260376" y="126787"/>
                  <a:pt x="2288552" y="126787"/>
                  <a:pt x="2316729" y="112700"/>
                </a:cubicBezTo>
                <a:cubicBezTo>
                  <a:pt x="2344905" y="98612"/>
                  <a:pt x="2373081" y="84525"/>
                  <a:pt x="2415347" y="84525"/>
                </a:cubicBezTo>
                <a:cubicBezTo>
                  <a:pt x="2429434" y="84525"/>
                  <a:pt x="2429434" y="70438"/>
                  <a:pt x="2429434" y="70438"/>
                </a:cubicBezTo>
                <a:cubicBezTo>
                  <a:pt x="2443523" y="70438"/>
                  <a:pt x="2443523" y="70438"/>
                  <a:pt x="2457611" y="70438"/>
                </a:cubicBezTo>
                <a:cubicBezTo>
                  <a:pt x="2528052" y="56349"/>
                  <a:pt x="2598493" y="28175"/>
                  <a:pt x="2668934" y="14087"/>
                </a:cubicBezTo>
                <a:cubicBezTo>
                  <a:pt x="2683023" y="14087"/>
                  <a:pt x="2697110" y="14087"/>
                  <a:pt x="2711199" y="14087"/>
                </a:cubicBezTo>
                <a:cubicBezTo>
                  <a:pt x="2753463" y="0"/>
                  <a:pt x="2781640" y="0"/>
                  <a:pt x="2781640" y="0"/>
                </a:cubicBezTo>
                <a:close/>
              </a:path>
            </a:pathLst>
          </a:custGeom>
          <a:solidFill>
            <a:schemeClr val="bg1">
              <a:lumMod val="95000"/>
            </a:schemeClr>
          </a:solidFill>
        </p:spPr>
        <p:txBody>
          <a:bodyPr wrap="square" anchor="ctr">
            <a:noAutofit/>
          </a:bodyPr>
          <a:lstStyle>
            <a:lvl1pPr marL="0" indent="0" algn="ctr">
              <a:buFontTx/>
              <a:buNone/>
              <a:defRPr sz="1200">
                <a:solidFill>
                  <a:schemeClr val="tx1"/>
                </a:solidFill>
              </a:defRPr>
            </a:lvl1pPr>
          </a:lstStyle>
          <a:p>
            <a:r>
              <a:rPr lang="en-US"/>
              <a:t>Image</a:t>
            </a:r>
          </a:p>
        </p:txBody>
      </p:sp>
    </p:spTree>
    <p:extLst>
      <p:ext uri="{BB962C8B-B14F-4D97-AF65-F5344CB8AC3E}">
        <p14:creationId xmlns:p14="http://schemas.microsoft.com/office/powerpoint/2010/main" val="1560239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9_Custom Layout">
    <p:spTree>
      <p:nvGrpSpPr>
        <p:cNvPr id="1" name=""/>
        <p:cNvGrpSpPr/>
        <p:nvPr/>
      </p:nvGrpSpPr>
      <p:grpSpPr>
        <a:xfrm>
          <a:off x="0" y="0"/>
          <a:ext cx="0" cy="0"/>
          <a:chOff x="0" y="0"/>
          <a:chExt cx="0" cy="0"/>
        </a:xfrm>
      </p:grpSpPr>
      <p:sp>
        <p:nvSpPr>
          <p:cNvPr id="6" name="Freeform 5"/>
          <p:cNvSpPr>
            <a:spLocks noGrp="1"/>
          </p:cNvSpPr>
          <p:nvPr>
            <p:ph type="pic" sz="quarter" idx="19" hasCustomPrompt="1"/>
          </p:nvPr>
        </p:nvSpPr>
        <p:spPr>
          <a:xfrm>
            <a:off x="4267200" y="0"/>
            <a:ext cx="7945998" cy="7437990"/>
          </a:xfrm>
          <a:custGeom>
            <a:avLst/>
            <a:gdLst>
              <a:gd name="connsiteX0" fmla="*/ 5904801 w 7945998"/>
              <a:gd name="connsiteY0" fmla="*/ 5437624 h 7437990"/>
              <a:gd name="connsiteX1" fmla="*/ 6117198 w 7945998"/>
              <a:gd name="connsiteY1" fmla="*/ 5634404 h 7437990"/>
              <a:gd name="connsiteX2" fmla="*/ 6117198 w 7945998"/>
              <a:gd name="connsiteY2" fmla="*/ 7150621 h 7437990"/>
              <a:gd name="connsiteX3" fmla="*/ 5904801 w 7945998"/>
              <a:gd name="connsiteY3" fmla="*/ 7347401 h 7437990"/>
              <a:gd name="connsiteX4" fmla="*/ 5695127 w 7945998"/>
              <a:gd name="connsiteY4" fmla="*/ 7150621 h 7437990"/>
              <a:gd name="connsiteX5" fmla="*/ 5695127 w 7945998"/>
              <a:gd name="connsiteY5" fmla="*/ 5634404 h 7437990"/>
              <a:gd name="connsiteX6" fmla="*/ 5904801 w 7945998"/>
              <a:gd name="connsiteY6" fmla="*/ 5437624 h 7437990"/>
              <a:gd name="connsiteX7" fmla="*/ 3069455 w 7945998"/>
              <a:gd name="connsiteY7" fmla="*/ 4014908 h 7437990"/>
              <a:gd name="connsiteX8" fmla="*/ 3100046 w 7945998"/>
              <a:gd name="connsiteY8" fmla="*/ 4057591 h 7437990"/>
              <a:gd name="connsiteX9" fmla="*/ 3201784 w 7945998"/>
              <a:gd name="connsiteY9" fmla="*/ 4108647 h 7437990"/>
              <a:gd name="connsiteX10" fmla="*/ 3204775 w 7945998"/>
              <a:gd name="connsiteY10" fmla="*/ 4108926 h 7437990"/>
              <a:gd name="connsiteX11" fmla="*/ 3173529 w 7945998"/>
              <a:gd name="connsiteY11" fmla="*/ 4065871 h 7437990"/>
              <a:gd name="connsiteX12" fmla="*/ 3071791 w 7945998"/>
              <a:gd name="connsiteY12" fmla="*/ 4015125 h 7437990"/>
              <a:gd name="connsiteX13" fmla="*/ 7733601 w 7945998"/>
              <a:gd name="connsiteY13" fmla="*/ 3579214 h 7437990"/>
              <a:gd name="connsiteX14" fmla="*/ 7945998 w 7945998"/>
              <a:gd name="connsiteY14" fmla="*/ 3775994 h 7437990"/>
              <a:gd name="connsiteX15" fmla="*/ 7945998 w 7945998"/>
              <a:gd name="connsiteY15" fmla="*/ 5292211 h 7437990"/>
              <a:gd name="connsiteX16" fmla="*/ 7733601 w 7945998"/>
              <a:gd name="connsiteY16" fmla="*/ 5488991 h 7437990"/>
              <a:gd name="connsiteX17" fmla="*/ 7523927 w 7945998"/>
              <a:gd name="connsiteY17" fmla="*/ 5292211 h 7437990"/>
              <a:gd name="connsiteX18" fmla="*/ 7523927 w 7945998"/>
              <a:gd name="connsiteY18" fmla="*/ 3775994 h 7437990"/>
              <a:gd name="connsiteX19" fmla="*/ 7733601 w 7945998"/>
              <a:gd name="connsiteY19" fmla="*/ 3579214 h 7437990"/>
              <a:gd name="connsiteX20" fmla="*/ 7733601 w 7945998"/>
              <a:gd name="connsiteY20" fmla="*/ 1519687 h 7437990"/>
              <a:gd name="connsiteX21" fmla="*/ 7945998 w 7945998"/>
              <a:gd name="connsiteY21" fmla="*/ 1716497 h 7437990"/>
              <a:gd name="connsiteX22" fmla="*/ 7945998 w 7945998"/>
              <a:gd name="connsiteY22" fmla="*/ 2498692 h 7437990"/>
              <a:gd name="connsiteX23" fmla="*/ 7733601 w 7945998"/>
              <a:gd name="connsiteY23" fmla="*/ 2695503 h 7437990"/>
              <a:gd name="connsiteX24" fmla="*/ 7523927 w 7945998"/>
              <a:gd name="connsiteY24" fmla="*/ 2498692 h 7437990"/>
              <a:gd name="connsiteX25" fmla="*/ 7523927 w 7945998"/>
              <a:gd name="connsiteY25" fmla="*/ 1716497 h 7437990"/>
              <a:gd name="connsiteX26" fmla="*/ 7733601 w 7945998"/>
              <a:gd name="connsiteY26" fmla="*/ 1519687 h 7437990"/>
              <a:gd name="connsiteX27" fmla="*/ 2626087 w 7945998"/>
              <a:gd name="connsiteY27" fmla="*/ 0 h 7437990"/>
              <a:gd name="connsiteX28" fmla="*/ 2829976 w 7945998"/>
              <a:gd name="connsiteY28" fmla="*/ 186574 h 7437990"/>
              <a:gd name="connsiteX29" fmla="*/ 2829976 w 7945998"/>
              <a:gd name="connsiteY29" fmla="*/ 801765 h 7437990"/>
              <a:gd name="connsiteX30" fmla="*/ 3031146 w 7945998"/>
              <a:gd name="connsiteY30" fmla="*/ 988339 h 7437990"/>
              <a:gd name="connsiteX31" fmla="*/ 3232316 w 7945998"/>
              <a:gd name="connsiteY31" fmla="*/ 801765 h 7437990"/>
              <a:gd name="connsiteX32" fmla="*/ 3232316 w 7945998"/>
              <a:gd name="connsiteY32" fmla="*/ 708478 h 7437990"/>
              <a:gd name="connsiteX33" fmla="*/ 3436204 w 7945998"/>
              <a:gd name="connsiteY33" fmla="*/ 519383 h 7437990"/>
              <a:gd name="connsiteX34" fmla="*/ 3637375 w 7945998"/>
              <a:gd name="connsiteY34" fmla="*/ 708478 h 7437990"/>
              <a:gd name="connsiteX35" fmla="*/ 3637375 w 7945998"/>
              <a:gd name="connsiteY35" fmla="*/ 3288758 h 7437990"/>
              <a:gd name="connsiteX36" fmla="*/ 3637375 w 7945998"/>
              <a:gd name="connsiteY36" fmla="*/ 3409933 h 7437990"/>
              <a:gd name="connsiteX37" fmla="*/ 3647487 w 7945998"/>
              <a:gd name="connsiteY37" fmla="*/ 3408993 h 7437990"/>
              <a:gd name="connsiteX38" fmla="*/ 3650206 w 7945998"/>
              <a:gd name="connsiteY38" fmla="*/ 3408993 h 7437990"/>
              <a:gd name="connsiteX39" fmla="*/ 3657600 w 7945998"/>
              <a:gd name="connsiteY39" fmla="*/ 3408928 h 7437990"/>
              <a:gd name="connsiteX40" fmla="*/ 3657600 w 7945998"/>
              <a:gd name="connsiteY40" fmla="*/ 3334116 h 7437990"/>
              <a:gd name="connsiteX41" fmla="*/ 3657600 w 7945998"/>
              <a:gd name="connsiteY41" fmla="*/ 847148 h 7437990"/>
              <a:gd name="connsiteX42" fmla="*/ 3858770 w 7945998"/>
              <a:gd name="connsiteY42" fmla="*/ 660574 h 7437990"/>
              <a:gd name="connsiteX43" fmla="*/ 3875081 w 7945998"/>
              <a:gd name="connsiteY43" fmla="*/ 660574 h 7437990"/>
              <a:gd name="connsiteX44" fmla="*/ 3964793 w 7945998"/>
              <a:gd name="connsiteY44" fmla="*/ 645446 h 7437990"/>
              <a:gd name="connsiteX45" fmla="*/ 4062659 w 7945998"/>
              <a:gd name="connsiteY45" fmla="*/ 496691 h 7437990"/>
              <a:gd name="connsiteX46" fmla="*/ 4062659 w 7945998"/>
              <a:gd name="connsiteY46" fmla="*/ 239521 h 7437990"/>
              <a:gd name="connsiteX47" fmla="*/ 4263829 w 7945998"/>
              <a:gd name="connsiteY47" fmla="*/ 50426 h 7437990"/>
              <a:gd name="connsiteX48" fmla="*/ 4464999 w 7945998"/>
              <a:gd name="connsiteY48" fmla="*/ 239521 h 7437990"/>
              <a:gd name="connsiteX49" fmla="*/ 4464999 w 7945998"/>
              <a:gd name="connsiteY49" fmla="*/ 635361 h 7437990"/>
              <a:gd name="connsiteX50" fmla="*/ 4562866 w 7945998"/>
              <a:gd name="connsiteY50" fmla="*/ 784116 h 7437990"/>
              <a:gd name="connsiteX51" fmla="*/ 4682480 w 7945998"/>
              <a:gd name="connsiteY51" fmla="*/ 801765 h 7437990"/>
              <a:gd name="connsiteX52" fmla="*/ 4870058 w 7945998"/>
              <a:gd name="connsiteY52" fmla="*/ 988339 h 7437990"/>
              <a:gd name="connsiteX53" fmla="*/ 4870058 w 7945998"/>
              <a:gd name="connsiteY53" fmla="*/ 2064923 h 7437990"/>
              <a:gd name="connsiteX54" fmla="*/ 5071229 w 7945998"/>
              <a:gd name="connsiteY54" fmla="*/ 2254019 h 7437990"/>
              <a:gd name="connsiteX55" fmla="*/ 5275117 w 7945998"/>
              <a:gd name="connsiteY55" fmla="*/ 2064923 h 7437990"/>
              <a:gd name="connsiteX56" fmla="*/ 5275117 w 7945998"/>
              <a:gd name="connsiteY56" fmla="*/ 1737158 h 7437990"/>
              <a:gd name="connsiteX57" fmla="*/ 5476287 w 7945998"/>
              <a:gd name="connsiteY57" fmla="*/ 1550583 h 7437990"/>
              <a:gd name="connsiteX58" fmla="*/ 5479006 w 7945998"/>
              <a:gd name="connsiteY58" fmla="*/ 1550583 h 7437990"/>
              <a:gd name="connsiteX59" fmla="*/ 5579591 w 7945998"/>
              <a:gd name="connsiteY59" fmla="*/ 1535456 h 7437990"/>
              <a:gd name="connsiteX60" fmla="*/ 5677458 w 7945998"/>
              <a:gd name="connsiteY60" fmla="*/ 1386701 h 7437990"/>
              <a:gd name="connsiteX61" fmla="*/ 5677458 w 7945998"/>
              <a:gd name="connsiteY61" fmla="*/ 544595 h 7437990"/>
              <a:gd name="connsiteX62" fmla="*/ 5881347 w 7945998"/>
              <a:gd name="connsiteY62" fmla="*/ 355500 h 7437990"/>
              <a:gd name="connsiteX63" fmla="*/ 5889502 w 7945998"/>
              <a:gd name="connsiteY63" fmla="*/ 355500 h 7437990"/>
              <a:gd name="connsiteX64" fmla="*/ 5987369 w 7945998"/>
              <a:gd name="connsiteY64" fmla="*/ 340372 h 7437990"/>
              <a:gd name="connsiteX65" fmla="*/ 6082516 w 7945998"/>
              <a:gd name="connsiteY65" fmla="*/ 216830 h 7437990"/>
              <a:gd name="connsiteX66" fmla="*/ 6082516 w 7945998"/>
              <a:gd name="connsiteY66" fmla="*/ 186574 h 7437990"/>
              <a:gd name="connsiteX67" fmla="*/ 6283687 w 7945998"/>
              <a:gd name="connsiteY67" fmla="*/ 0 h 7437990"/>
              <a:gd name="connsiteX68" fmla="*/ 6487576 w 7945998"/>
              <a:gd name="connsiteY68" fmla="*/ 186574 h 7437990"/>
              <a:gd name="connsiteX69" fmla="*/ 6487576 w 7945998"/>
              <a:gd name="connsiteY69" fmla="*/ 801765 h 7437990"/>
              <a:gd name="connsiteX70" fmla="*/ 6688746 w 7945998"/>
              <a:gd name="connsiteY70" fmla="*/ 988339 h 7437990"/>
              <a:gd name="connsiteX71" fmla="*/ 6889916 w 7945998"/>
              <a:gd name="connsiteY71" fmla="*/ 801765 h 7437990"/>
              <a:gd name="connsiteX72" fmla="*/ 6889916 w 7945998"/>
              <a:gd name="connsiteY72" fmla="*/ 708478 h 7437990"/>
              <a:gd name="connsiteX73" fmla="*/ 7093804 w 7945998"/>
              <a:gd name="connsiteY73" fmla="*/ 519383 h 7437990"/>
              <a:gd name="connsiteX74" fmla="*/ 7294975 w 7945998"/>
              <a:gd name="connsiteY74" fmla="*/ 708478 h 7437990"/>
              <a:gd name="connsiteX75" fmla="*/ 7294975 w 7945998"/>
              <a:gd name="connsiteY75" fmla="*/ 4175230 h 7437990"/>
              <a:gd name="connsiteX76" fmla="*/ 7093804 w 7945998"/>
              <a:gd name="connsiteY76" fmla="*/ 4361805 h 7437990"/>
              <a:gd name="connsiteX77" fmla="*/ 6889916 w 7945998"/>
              <a:gd name="connsiteY77" fmla="*/ 4175230 h 7437990"/>
              <a:gd name="connsiteX78" fmla="*/ 6889916 w 7945998"/>
              <a:gd name="connsiteY78" fmla="*/ 4197922 h 7437990"/>
              <a:gd name="connsiteX79" fmla="*/ 6688746 w 7945998"/>
              <a:gd name="connsiteY79" fmla="*/ 4011348 h 7437990"/>
              <a:gd name="connsiteX80" fmla="*/ 6487576 w 7945998"/>
              <a:gd name="connsiteY80" fmla="*/ 4197922 h 7437990"/>
              <a:gd name="connsiteX81" fmla="*/ 6487576 w 7945998"/>
              <a:gd name="connsiteY81" fmla="*/ 4273560 h 7437990"/>
              <a:gd name="connsiteX82" fmla="*/ 6283687 w 7945998"/>
              <a:gd name="connsiteY82" fmla="*/ 4460134 h 7437990"/>
              <a:gd name="connsiteX83" fmla="*/ 6141304 w 7945998"/>
              <a:gd name="connsiteY83" fmla="*/ 4405612 h 7437990"/>
              <a:gd name="connsiteX84" fmla="*/ 6115747 w 7945998"/>
              <a:gd name="connsiteY84" fmla="*/ 4370396 h 7437990"/>
              <a:gd name="connsiteX85" fmla="*/ 6112874 w 7945998"/>
              <a:gd name="connsiteY85" fmla="*/ 4396710 h 7437990"/>
              <a:gd name="connsiteX86" fmla="*/ 5904801 w 7945998"/>
              <a:gd name="connsiteY86" fmla="*/ 4553913 h 7437990"/>
              <a:gd name="connsiteX87" fmla="*/ 5695127 w 7945998"/>
              <a:gd name="connsiteY87" fmla="*/ 4357102 h 7437990"/>
              <a:gd name="connsiteX88" fmla="*/ 5695127 w 7945998"/>
              <a:gd name="connsiteY88" fmla="*/ 4239135 h 7437990"/>
              <a:gd name="connsiteX89" fmla="*/ 5693642 w 7945998"/>
              <a:gd name="connsiteY89" fmla="*/ 4241138 h 7437990"/>
              <a:gd name="connsiteX90" fmla="*/ 5677458 w 7945998"/>
              <a:gd name="connsiteY90" fmla="*/ 4313901 h 7437990"/>
              <a:gd name="connsiteX91" fmla="*/ 5677458 w 7945998"/>
              <a:gd name="connsiteY91" fmla="*/ 5393006 h 7437990"/>
              <a:gd name="connsiteX92" fmla="*/ 5476287 w 7945998"/>
              <a:gd name="connsiteY92" fmla="*/ 5579580 h 7437990"/>
              <a:gd name="connsiteX93" fmla="*/ 5466175 w 7945998"/>
              <a:gd name="connsiteY93" fmla="*/ 5578641 h 7437990"/>
              <a:gd name="connsiteX94" fmla="*/ 5466175 w 7945998"/>
              <a:gd name="connsiteY94" fmla="*/ 5718683 h 7437990"/>
              <a:gd name="connsiteX95" fmla="*/ 5466175 w 7945998"/>
              <a:gd name="connsiteY95" fmla="*/ 6033640 h 7437990"/>
              <a:gd name="connsiteX96" fmla="*/ 5265004 w 7945998"/>
              <a:gd name="connsiteY96" fmla="*/ 6220215 h 7437990"/>
              <a:gd name="connsiteX97" fmla="*/ 5061116 w 7945998"/>
              <a:gd name="connsiteY97" fmla="*/ 6033640 h 7437990"/>
              <a:gd name="connsiteX98" fmla="*/ 5061116 w 7945998"/>
              <a:gd name="connsiteY98" fmla="*/ 6056332 h 7437990"/>
              <a:gd name="connsiteX99" fmla="*/ 4859946 w 7945998"/>
              <a:gd name="connsiteY99" fmla="*/ 5869758 h 7437990"/>
              <a:gd name="connsiteX100" fmla="*/ 4658776 w 7945998"/>
              <a:gd name="connsiteY100" fmla="*/ 6056332 h 7437990"/>
              <a:gd name="connsiteX101" fmla="*/ 4658776 w 7945998"/>
              <a:gd name="connsiteY101" fmla="*/ 6131970 h 7437990"/>
              <a:gd name="connsiteX102" fmla="*/ 4454887 w 7945998"/>
              <a:gd name="connsiteY102" fmla="*/ 6318544 h 7437990"/>
              <a:gd name="connsiteX103" fmla="*/ 4253716 w 7945998"/>
              <a:gd name="connsiteY103" fmla="*/ 6131970 h 7437990"/>
              <a:gd name="connsiteX104" fmla="*/ 4253716 w 7945998"/>
              <a:gd name="connsiteY104" fmla="*/ 6172311 h 7437990"/>
              <a:gd name="connsiteX105" fmla="*/ 4052547 w 7945998"/>
              <a:gd name="connsiteY105" fmla="*/ 5985736 h 7437990"/>
              <a:gd name="connsiteX106" fmla="*/ 3848658 w 7945998"/>
              <a:gd name="connsiteY106" fmla="*/ 6172311 h 7437990"/>
              <a:gd name="connsiteX107" fmla="*/ 3848658 w 7945998"/>
              <a:gd name="connsiteY107" fmla="*/ 7251416 h 7437990"/>
              <a:gd name="connsiteX108" fmla="*/ 3647487 w 7945998"/>
              <a:gd name="connsiteY108" fmla="*/ 7437990 h 7437990"/>
              <a:gd name="connsiteX109" fmla="*/ 3446317 w 7945998"/>
              <a:gd name="connsiteY109" fmla="*/ 7251416 h 7437990"/>
              <a:gd name="connsiteX110" fmla="*/ 3446317 w 7945998"/>
              <a:gd name="connsiteY110" fmla="*/ 5940353 h 7437990"/>
              <a:gd name="connsiteX111" fmla="*/ 3242429 w 7945998"/>
              <a:gd name="connsiteY111" fmla="*/ 5751258 h 7437990"/>
              <a:gd name="connsiteX112" fmla="*/ 3041258 w 7945998"/>
              <a:gd name="connsiteY112" fmla="*/ 5940353 h 7437990"/>
              <a:gd name="connsiteX113" fmla="*/ 3041258 w 7945998"/>
              <a:gd name="connsiteY113" fmla="*/ 6502597 h 7437990"/>
              <a:gd name="connsiteX114" fmla="*/ 2840088 w 7945998"/>
              <a:gd name="connsiteY114" fmla="*/ 6689172 h 7437990"/>
              <a:gd name="connsiteX115" fmla="*/ 2636199 w 7945998"/>
              <a:gd name="connsiteY115" fmla="*/ 6502597 h 7437990"/>
              <a:gd name="connsiteX116" fmla="*/ 2636199 w 7945998"/>
              <a:gd name="connsiteY116" fmla="*/ 5869758 h 7437990"/>
              <a:gd name="connsiteX117" fmla="*/ 2435029 w 7945998"/>
              <a:gd name="connsiteY117" fmla="*/ 5680662 h 7437990"/>
              <a:gd name="connsiteX118" fmla="*/ 2233859 w 7945998"/>
              <a:gd name="connsiteY118" fmla="*/ 5869758 h 7437990"/>
              <a:gd name="connsiteX119" fmla="*/ 2233859 w 7945998"/>
              <a:gd name="connsiteY119" fmla="*/ 6172311 h 7437990"/>
              <a:gd name="connsiteX120" fmla="*/ 2029970 w 7945998"/>
              <a:gd name="connsiteY120" fmla="*/ 6361406 h 7437990"/>
              <a:gd name="connsiteX121" fmla="*/ 1828800 w 7945998"/>
              <a:gd name="connsiteY121" fmla="*/ 6172311 h 7437990"/>
              <a:gd name="connsiteX122" fmla="*/ 1828800 w 7945998"/>
              <a:gd name="connsiteY122" fmla="*/ 5652531 h 7437990"/>
              <a:gd name="connsiteX123" fmla="*/ 1828800 w 7945998"/>
              <a:gd name="connsiteY123" fmla="*/ 5578640 h 7437990"/>
              <a:gd name="connsiteX124" fmla="*/ 1818687 w 7945998"/>
              <a:gd name="connsiteY124" fmla="*/ 5579580 h 7437990"/>
              <a:gd name="connsiteX125" fmla="*/ 1617517 w 7945998"/>
              <a:gd name="connsiteY125" fmla="*/ 5393006 h 7437990"/>
              <a:gd name="connsiteX126" fmla="*/ 1617517 w 7945998"/>
              <a:gd name="connsiteY126" fmla="*/ 4081943 h 7437990"/>
              <a:gd name="connsiteX127" fmla="*/ 1413629 w 7945998"/>
              <a:gd name="connsiteY127" fmla="*/ 3892848 h 7437990"/>
              <a:gd name="connsiteX128" fmla="*/ 1212458 w 7945998"/>
              <a:gd name="connsiteY128" fmla="*/ 4081943 h 7437990"/>
              <a:gd name="connsiteX129" fmla="*/ 1212458 w 7945998"/>
              <a:gd name="connsiteY129" fmla="*/ 4644187 h 7437990"/>
              <a:gd name="connsiteX130" fmla="*/ 1011288 w 7945998"/>
              <a:gd name="connsiteY130" fmla="*/ 4830762 h 7437990"/>
              <a:gd name="connsiteX131" fmla="*/ 807399 w 7945998"/>
              <a:gd name="connsiteY131" fmla="*/ 4644187 h 7437990"/>
              <a:gd name="connsiteX132" fmla="*/ 807399 w 7945998"/>
              <a:gd name="connsiteY132" fmla="*/ 4011348 h 7437990"/>
              <a:gd name="connsiteX133" fmla="*/ 606229 w 7945998"/>
              <a:gd name="connsiteY133" fmla="*/ 3822252 h 7437990"/>
              <a:gd name="connsiteX134" fmla="*/ 405059 w 7945998"/>
              <a:gd name="connsiteY134" fmla="*/ 4011348 h 7437990"/>
              <a:gd name="connsiteX135" fmla="*/ 405059 w 7945998"/>
              <a:gd name="connsiteY135" fmla="*/ 4313901 h 7437990"/>
              <a:gd name="connsiteX136" fmla="*/ 201170 w 7945998"/>
              <a:gd name="connsiteY136" fmla="*/ 4502996 h 7437990"/>
              <a:gd name="connsiteX137" fmla="*/ 0 w 7945998"/>
              <a:gd name="connsiteY137" fmla="*/ 4313901 h 7437990"/>
              <a:gd name="connsiteX138" fmla="*/ 0 w 7945998"/>
              <a:gd name="connsiteY138" fmla="*/ 847148 h 7437990"/>
              <a:gd name="connsiteX139" fmla="*/ 201170 w 7945998"/>
              <a:gd name="connsiteY139" fmla="*/ 660574 h 7437990"/>
              <a:gd name="connsiteX140" fmla="*/ 217481 w 7945998"/>
              <a:gd name="connsiteY140" fmla="*/ 660574 h 7437990"/>
              <a:gd name="connsiteX141" fmla="*/ 307193 w 7945998"/>
              <a:gd name="connsiteY141" fmla="*/ 645446 h 7437990"/>
              <a:gd name="connsiteX142" fmla="*/ 405059 w 7945998"/>
              <a:gd name="connsiteY142" fmla="*/ 496691 h 7437990"/>
              <a:gd name="connsiteX143" fmla="*/ 405059 w 7945998"/>
              <a:gd name="connsiteY143" fmla="*/ 239521 h 7437990"/>
              <a:gd name="connsiteX144" fmla="*/ 606229 w 7945998"/>
              <a:gd name="connsiteY144" fmla="*/ 50426 h 7437990"/>
              <a:gd name="connsiteX145" fmla="*/ 807399 w 7945998"/>
              <a:gd name="connsiteY145" fmla="*/ 239521 h 7437990"/>
              <a:gd name="connsiteX146" fmla="*/ 807399 w 7945998"/>
              <a:gd name="connsiteY146" fmla="*/ 635361 h 7437990"/>
              <a:gd name="connsiteX147" fmla="*/ 905266 w 7945998"/>
              <a:gd name="connsiteY147" fmla="*/ 784116 h 7437990"/>
              <a:gd name="connsiteX148" fmla="*/ 1024880 w 7945998"/>
              <a:gd name="connsiteY148" fmla="*/ 801765 h 7437990"/>
              <a:gd name="connsiteX149" fmla="*/ 1212458 w 7945998"/>
              <a:gd name="connsiteY149" fmla="*/ 988339 h 7437990"/>
              <a:gd name="connsiteX150" fmla="*/ 1212458 w 7945998"/>
              <a:gd name="connsiteY150" fmla="*/ 2064923 h 7437990"/>
              <a:gd name="connsiteX151" fmla="*/ 1413629 w 7945998"/>
              <a:gd name="connsiteY151" fmla="*/ 2254019 h 7437990"/>
              <a:gd name="connsiteX152" fmla="*/ 1617517 w 7945998"/>
              <a:gd name="connsiteY152" fmla="*/ 2064923 h 7437990"/>
              <a:gd name="connsiteX153" fmla="*/ 1617517 w 7945998"/>
              <a:gd name="connsiteY153" fmla="*/ 1737158 h 7437990"/>
              <a:gd name="connsiteX154" fmla="*/ 1818687 w 7945998"/>
              <a:gd name="connsiteY154" fmla="*/ 1550583 h 7437990"/>
              <a:gd name="connsiteX155" fmla="*/ 1821406 w 7945998"/>
              <a:gd name="connsiteY155" fmla="*/ 1550583 h 7437990"/>
              <a:gd name="connsiteX156" fmla="*/ 1921991 w 7945998"/>
              <a:gd name="connsiteY156" fmla="*/ 1535456 h 7437990"/>
              <a:gd name="connsiteX157" fmla="*/ 2019858 w 7945998"/>
              <a:gd name="connsiteY157" fmla="*/ 1386701 h 7437990"/>
              <a:gd name="connsiteX158" fmla="*/ 2019858 w 7945998"/>
              <a:gd name="connsiteY158" fmla="*/ 544595 h 7437990"/>
              <a:gd name="connsiteX159" fmla="*/ 2223747 w 7945998"/>
              <a:gd name="connsiteY159" fmla="*/ 355500 h 7437990"/>
              <a:gd name="connsiteX160" fmla="*/ 2231902 w 7945998"/>
              <a:gd name="connsiteY160" fmla="*/ 355500 h 7437990"/>
              <a:gd name="connsiteX161" fmla="*/ 2329769 w 7945998"/>
              <a:gd name="connsiteY161" fmla="*/ 340372 h 7437990"/>
              <a:gd name="connsiteX162" fmla="*/ 2424916 w 7945998"/>
              <a:gd name="connsiteY162" fmla="*/ 216830 h 7437990"/>
              <a:gd name="connsiteX163" fmla="*/ 2424916 w 7945998"/>
              <a:gd name="connsiteY163" fmla="*/ 186574 h 7437990"/>
              <a:gd name="connsiteX164" fmla="*/ 2626087 w 7945998"/>
              <a:gd name="connsiteY164" fmla="*/ 0 h 7437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7945998" h="7437990">
                <a:moveTo>
                  <a:pt x="5904801" y="5437624"/>
                </a:moveTo>
                <a:cubicBezTo>
                  <a:pt x="6021892" y="5437624"/>
                  <a:pt x="6117198" y="5525923"/>
                  <a:pt x="6117198" y="5634404"/>
                </a:cubicBezTo>
                <a:cubicBezTo>
                  <a:pt x="6117198" y="7150621"/>
                  <a:pt x="6117198" y="7150621"/>
                  <a:pt x="6117198" y="7150621"/>
                </a:cubicBezTo>
                <a:cubicBezTo>
                  <a:pt x="6117198" y="7259102"/>
                  <a:pt x="6021892" y="7347401"/>
                  <a:pt x="5904801" y="7347401"/>
                </a:cubicBezTo>
                <a:cubicBezTo>
                  <a:pt x="5787711" y="7347401"/>
                  <a:pt x="5695127" y="7259102"/>
                  <a:pt x="5695127" y="7150621"/>
                </a:cubicBezTo>
                <a:cubicBezTo>
                  <a:pt x="5695127" y="5634404"/>
                  <a:pt x="5695127" y="5634404"/>
                  <a:pt x="5695127" y="5634404"/>
                </a:cubicBezTo>
                <a:cubicBezTo>
                  <a:pt x="5695127" y="5525923"/>
                  <a:pt x="5787711" y="5437624"/>
                  <a:pt x="5904801" y="5437624"/>
                </a:cubicBezTo>
                <a:close/>
                <a:moveTo>
                  <a:pt x="3069455" y="4014908"/>
                </a:moveTo>
                <a:lnTo>
                  <a:pt x="3100046" y="4057591"/>
                </a:lnTo>
                <a:cubicBezTo>
                  <a:pt x="3127317" y="4083119"/>
                  <a:pt x="3162424" y="4101202"/>
                  <a:pt x="3201784" y="4108647"/>
                </a:cubicBezTo>
                <a:lnTo>
                  <a:pt x="3204775" y="4108926"/>
                </a:lnTo>
                <a:lnTo>
                  <a:pt x="3173529" y="4065871"/>
                </a:lnTo>
                <a:cubicBezTo>
                  <a:pt x="3146258" y="4040579"/>
                  <a:pt x="3111151" y="4022556"/>
                  <a:pt x="3071791" y="4015125"/>
                </a:cubicBezTo>
                <a:close/>
                <a:moveTo>
                  <a:pt x="7733601" y="3579214"/>
                </a:moveTo>
                <a:cubicBezTo>
                  <a:pt x="7850692" y="3579214"/>
                  <a:pt x="7945998" y="3667513"/>
                  <a:pt x="7945998" y="3775994"/>
                </a:cubicBezTo>
                <a:cubicBezTo>
                  <a:pt x="7945998" y="5292211"/>
                  <a:pt x="7945998" y="5292211"/>
                  <a:pt x="7945998" y="5292211"/>
                </a:cubicBezTo>
                <a:cubicBezTo>
                  <a:pt x="7945998" y="5400692"/>
                  <a:pt x="7850692" y="5488991"/>
                  <a:pt x="7733601" y="5488991"/>
                </a:cubicBezTo>
                <a:cubicBezTo>
                  <a:pt x="7616511" y="5488991"/>
                  <a:pt x="7523927" y="5400692"/>
                  <a:pt x="7523927" y="5292211"/>
                </a:cubicBezTo>
                <a:cubicBezTo>
                  <a:pt x="7523927" y="3775994"/>
                  <a:pt x="7523927" y="3775994"/>
                  <a:pt x="7523927" y="3775994"/>
                </a:cubicBezTo>
                <a:cubicBezTo>
                  <a:pt x="7523927" y="3667513"/>
                  <a:pt x="7616511" y="3579214"/>
                  <a:pt x="7733601" y="3579214"/>
                </a:cubicBezTo>
                <a:close/>
                <a:moveTo>
                  <a:pt x="7733601" y="1519687"/>
                </a:moveTo>
                <a:cubicBezTo>
                  <a:pt x="7850692" y="1519687"/>
                  <a:pt x="7945998" y="1607999"/>
                  <a:pt x="7945998" y="1716497"/>
                </a:cubicBezTo>
                <a:cubicBezTo>
                  <a:pt x="7945998" y="2498692"/>
                  <a:pt x="7945998" y="2498692"/>
                  <a:pt x="7945998" y="2498692"/>
                </a:cubicBezTo>
                <a:cubicBezTo>
                  <a:pt x="7945998" y="2607190"/>
                  <a:pt x="7850692" y="2695503"/>
                  <a:pt x="7733601" y="2695503"/>
                </a:cubicBezTo>
                <a:cubicBezTo>
                  <a:pt x="7616511" y="2695503"/>
                  <a:pt x="7523927" y="2607190"/>
                  <a:pt x="7523927" y="2498692"/>
                </a:cubicBezTo>
                <a:cubicBezTo>
                  <a:pt x="7523927" y="1716497"/>
                  <a:pt x="7523927" y="1716497"/>
                  <a:pt x="7523927" y="1716497"/>
                </a:cubicBezTo>
                <a:cubicBezTo>
                  <a:pt x="7523927" y="1607999"/>
                  <a:pt x="7616511" y="1519687"/>
                  <a:pt x="7733601" y="1519687"/>
                </a:cubicBezTo>
                <a:close/>
                <a:moveTo>
                  <a:pt x="2626087" y="0"/>
                </a:moveTo>
                <a:cubicBezTo>
                  <a:pt x="2737546" y="0"/>
                  <a:pt x="2829976" y="83202"/>
                  <a:pt x="2829976" y="186574"/>
                </a:cubicBezTo>
                <a:cubicBezTo>
                  <a:pt x="2829976" y="186574"/>
                  <a:pt x="2829976" y="186574"/>
                  <a:pt x="2829976" y="801765"/>
                </a:cubicBezTo>
                <a:cubicBezTo>
                  <a:pt x="2829976" y="905137"/>
                  <a:pt x="2919686" y="988339"/>
                  <a:pt x="3031146" y="988339"/>
                </a:cubicBezTo>
                <a:cubicBezTo>
                  <a:pt x="3142605" y="988339"/>
                  <a:pt x="3232316" y="905137"/>
                  <a:pt x="3232316" y="801765"/>
                </a:cubicBezTo>
                <a:cubicBezTo>
                  <a:pt x="3232316" y="801765"/>
                  <a:pt x="3232316" y="801765"/>
                  <a:pt x="3232316" y="708478"/>
                </a:cubicBezTo>
                <a:cubicBezTo>
                  <a:pt x="3232316" y="602585"/>
                  <a:pt x="3324745" y="519383"/>
                  <a:pt x="3436204" y="519383"/>
                </a:cubicBezTo>
                <a:cubicBezTo>
                  <a:pt x="3547663" y="519383"/>
                  <a:pt x="3637375" y="602585"/>
                  <a:pt x="3637375" y="708478"/>
                </a:cubicBezTo>
                <a:cubicBezTo>
                  <a:pt x="3637375" y="708478"/>
                  <a:pt x="3637375" y="708478"/>
                  <a:pt x="3637375" y="3288758"/>
                </a:cubicBezTo>
                <a:lnTo>
                  <a:pt x="3637375" y="3409933"/>
                </a:lnTo>
                <a:lnTo>
                  <a:pt x="3647487" y="3408993"/>
                </a:lnTo>
                <a:cubicBezTo>
                  <a:pt x="3647487" y="3408993"/>
                  <a:pt x="3650206" y="3408993"/>
                  <a:pt x="3650206" y="3408993"/>
                </a:cubicBezTo>
                <a:lnTo>
                  <a:pt x="3657600" y="3408928"/>
                </a:lnTo>
                <a:lnTo>
                  <a:pt x="3657600" y="3334116"/>
                </a:lnTo>
                <a:cubicBezTo>
                  <a:pt x="3657600" y="2820895"/>
                  <a:pt x="3657600" y="2038845"/>
                  <a:pt x="3657600" y="847148"/>
                </a:cubicBezTo>
                <a:cubicBezTo>
                  <a:pt x="3657600" y="743776"/>
                  <a:pt x="3747312" y="660574"/>
                  <a:pt x="3858770" y="660574"/>
                </a:cubicBezTo>
                <a:cubicBezTo>
                  <a:pt x="3864207" y="660574"/>
                  <a:pt x="3869644" y="660574"/>
                  <a:pt x="3875081" y="660574"/>
                </a:cubicBezTo>
                <a:cubicBezTo>
                  <a:pt x="3907703" y="660574"/>
                  <a:pt x="3924015" y="658053"/>
                  <a:pt x="3964793" y="645446"/>
                </a:cubicBezTo>
                <a:cubicBezTo>
                  <a:pt x="3997415" y="632840"/>
                  <a:pt x="4057222" y="597542"/>
                  <a:pt x="4062659" y="496691"/>
                </a:cubicBezTo>
                <a:cubicBezTo>
                  <a:pt x="4062659" y="496691"/>
                  <a:pt x="4062659" y="496691"/>
                  <a:pt x="4062659" y="239521"/>
                </a:cubicBezTo>
                <a:cubicBezTo>
                  <a:pt x="4062659" y="136149"/>
                  <a:pt x="4152370" y="50426"/>
                  <a:pt x="4263829" y="50426"/>
                </a:cubicBezTo>
                <a:cubicBezTo>
                  <a:pt x="4375289" y="50426"/>
                  <a:pt x="4464999" y="136149"/>
                  <a:pt x="4464999" y="239521"/>
                </a:cubicBezTo>
                <a:cubicBezTo>
                  <a:pt x="4464999" y="239521"/>
                  <a:pt x="4464999" y="239521"/>
                  <a:pt x="4464999" y="635361"/>
                </a:cubicBezTo>
                <a:cubicBezTo>
                  <a:pt x="4470436" y="736212"/>
                  <a:pt x="4530244" y="771510"/>
                  <a:pt x="4562866" y="784116"/>
                </a:cubicBezTo>
                <a:cubicBezTo>
                  <a:pt x="4614517" y="801765"/>
                  <a:pt x="4628110" y="799244"/>
                  <a:pt x="4682480" y="801765"/>
                </a:cubicBezTo>
                <a:cubicBezTo>
                  <a:pt x="4785784" y="809329"/>
                  <a:pt x="4870058" y="890010"/>
                  <a:pt x="4870058" y="988339"/>
                </a:cubicBezTo>
                <a:cubicBezTo>
                  <a:pt x="4870058" y="988339"/>
                  <a:pt x="4870058" y="988339"/>
                  <a:pt x="4870058" y="2064923"/>
                </a:cubicBezTo>
                <a:cubicBezTo>
                  <a:pt x="4870058" y="2170817"/>
                  <a:pt x="4959769" y="2254019"/>
                  <a:pt x="5071229" y="2254019"/>
                </a:cubicBezTo>
                <a:cubicBezTo>
                  <a:pt x="5182688" y="2254019"/>
                  <a:pt x="5275117" y="2170817"/>
                  <a:pt x="5275117" y="2064923"/>
                </a:cubicBezTo>
                <a:cubicBezTo>
                  <a:pt x="5275117" y="2064923"/>
                  <a:pt x="5275117" y="2064923"/>
                  <a:pt x="5275117" y="1737158"/>
                </a:cubicBezTo>
                <a:cubicBezTo>
                  <a:pt x="5275117" y="1633786"/>
                  <a:pt x="5364828" y="1550583"/>
                  <a:pt x="5476287" y="1550583"/>
                </a:cubicBezTo>
                <a:cubicBezTo>
                  <a:pt x="5476287" y="1550583"/>
                  <a:pt x="5479006" y="1550583"/>
                  <a:pt x="5479006" y="1550583"/>
                </a:cubicBezTo>
                <a:cubicBezTo>
                  <a:pt x="5519783" y="1550583"/>
                  <a:pt x="5536095" y="1550583"/>
                  <a:pt x="5579591" y="1535456"/>
                </a:cubicBezTo>
                <a:cubicBezTo>
                  <a:pt x="5614932" y="1522849"/>
                  <a:pt x="5674739" y="1487552"/>
                  <a:pt x="5677458" y="1386701"/>
                </a:cubicBezTo>
                <a:lnTo>
                  <a:pt x="5677458" y="544595"/>
                </a:lnTo>
                <a:cubicBezTo>
                  <a:pt x="5677458" y="438702"/>
                  <a:pt x="5769887" y="355500"/>
                  <a:pt x="5881347" y="355500"/>
                </a:cubicBezTo>
                <a:cubicBezTo>
                  <a:pt x="5884065" y="355500"/>
                  <a:pt x="5886784" y="355500"/>
                  <a:pt x="5889502" y="355500"/>
                </a:cubicBezTo>
                <a:cubicBezTo>
                  <a:pt x="5927561" y="355500"/>
                  <a:pt x="5943872" y="355500"/>
                  <a:pt x="5987369" y="340372"/>
                </a:cubicBezTo>
                <a:cubicBezTo>
                  <a:pt x="6017272" y="330287"/>
                  <a:pt x="6071642" y="297510"/>
                  <a:pt x="6082516" y="216830"/>
                </a:cubicBezTo>
                <a:cubicBezTo>
                  <a:pt x="6082516" y="216830"/>
                  <a:pt x="6082516" y="216830"/>
                  <a:pt x="6082516" y="186574"/>
                </a:cubicBezTo>
                <a:cubicBezTo>
                  <a:pt x="6082516" y="83202"/>
                  <a:pt x="6172228" y="0"/>
                  <a:pt x="6283687" y="0"/>
                </a:cubicBezTo>
                <a:cubicBezTo>
                  <a:pt x="6395146" y="0"/>
                  <a:pt x="6487576" y="83202"/>
                  <a:pt x="6487576" y="186574"/>
                </a:cubicBezTo>
                <a:cubicBezTo>
                  <a:pt x="6487576" y="186574"/>
                  <a:pt x="6487576" y="186574"/>
                  <a:pt x="6487576" y="801765"/>
                </a:cubicBezTo>
                <a:cubicBezTo>
                  <a:pt x="6487576" y="905137"/>
                  <a:pt x="6577286" y="988339"/>
                  <a:pt x="6688746" y="988339"/>
                </a:cubicBezTo>
                <a:cubicBezTo>
                  <a:pt x="6800205" y="988339"/>
                  <a:pt x="6889916" y="905137"/>
                  <a:pt x="6889916" y="801765"/>
                </a:cubicBezTo>
                <a:cubicBezTo>
                  <a:pt x="6889916" y="801765"/>
                  <a:pt x="6889916" y="801765"/>
                  <a:pt x="6889916" y="708478"/>
                </a:cubicBezTo>
                <a:cubicBezTo>
                  <a:pt x="6889916" y="602585"/>
                  <a:pt x="6982345" y="519383"/>
                  <a:pt x="7093804" y="519383"/>
                </a:cubicBezTo>
                <a:cubicBezTo>
                  <a:pt x="7205263" y="519383"/>
                  <a:pt x="7294975" y="602585"/>
                  <a:pt x="7294975" y="708478"/>
                </a:cubicBezTo>
                <a:cubicBezTo>
                  <a:pt x="7294975" y="708478"/>
                  <a:pt x="7294975" y="708478"/>
                  <a:pt x="7294975" y="4175230"/>
                </a:cubicBezTo>
                <a:cubicBezTo>
                  <a:pt x="7294975" y="4278603"/>
                  <a:pt x="7205263" y="4361805"/>
                  <a:pt x="7093804" y="4361805"/>
                </a:cubicBezTo>
                <a:cubicBezTo>
                  <a:pt x="6982345" y="4361805"/>
                  <a:pt x="6889916" y="4278603"/>
                  <a:pt x="6889916" y="4175230"/>
                </a:cubicBezTo>
                <a:cubicBezTo>
                  <a:pt x="6889916" y="4175230"/>
                  <a:pt x="6889916" y="4175230"/>
                  <a:pt x="6889916" y="4197922"/>
                </a:cubicBezTo>
                <a:cubicBezTo>
                  <a:pt x="6889916" y="4094550"/>
                  <a:pt x="6800205" y="4011348"/>
                  <a:pt x="6688746" y="4011348"/>
                </a:cubicBezTo>
                <a:cubicBezTo>
                  <a:pt x="6577286" y="4011348"/>
                  <a:pt x="6487576" y="4094550"/>
                  <a:pt x="6487576" y="4197922"/>
                </a:cubicBezTo>
                <a:cubicBezTo>
                  <a:pt x="6487576" y="4197922"/>
                  <a:pt x="6487576" y="4197922"/>
                  <a:pt x="6487576" y="4273560"/>
                </a:cubicBezTo>
                <a:cubicBezTo>
                  <a:pt x="6487576" y="4376932"/>
                  <a:pt x="6395146" y="4460134"/>
                  <a:pt x="6283687" y="4460134"/>
                </a:cubicBezTo>
                <a:cubicBezTo>
                  <a:pt x="6227958" y="4460134"/>
                  <a:pt x="6177665" y="4439334"/>
                  <a:pt x="6141304" y="4405612"/>
                </a:cubicBezTo>
                <a:lnTo>
                  <a:pt x="6115747" y="4370396"/>
                </a:lnTo>
                <a:lnTo>
                  <a:pt x="6112874" y="4396710"/>
                </a:lnTo>
                <a:cubicBezTo>
                  <a:pt x="6093031" y="4486299"/>
                  <a:pt x="6007256" y="4553913"/>
                  <a:pt x="5904801" y="4553913"/>
                </a:cubicBezTo>
                <a:cubicBezTo>
                  <a:pt x="5787711" y="4553913"/>
                  <a:pt x="5695127" y="4465600"/>
                  <a:pt x="5695127" y="4357102"/>
                </a:cubicBezTo>
                <a:lnTo>
                  <a:pt x="5695127" y="4239135"/>
                </a:lnTo>
                <a:lnTo>
                  <a:pt x="5693642" y="4241138"/>
                </a:lnTo>
                <a:cubicBezTo>
                  <a:pt x="5683235" y="4263475"/>
                  <a:pt x="5677458" y="4288058"/>
                  <a:pt x="5677458" y="4313901"/>
                </a:cubicBezTo>
                <a:cubicBezTo>
                  <a:pt x="5677458" y="4313901"/>
                  <a:pt x="5677458" y="4313901"/>
                  <a:pt x="5677458" y="5393006"/>
                </a:cubicBezTo>
                <a:cubicBezTo>
                  <a:pt x="5677458" y="5496378"/>
                  <a:pt x="5587746" y="5579580"/>
                  <a:pt x="5476287" y="5579580"/>
                </a:cubicBezTo>
                <a:lnTo>
                  <a:pt x="5466175" y="5578641"/>
                </a:lnTo>
                <a:lnTo>
                  <a:pt x="5466175" y="5718683"/>
                </a:lnTo>
                <a:cubicBezTo>
                  <a:pt x="5466175" y="5820354"/>
                  <a:pt x="5466175" y="5925304"/>
                  <a:pt x="5466175" y="6033640"/>
                </a:cubicBezTo>
                <a:cubicBezTo>
                  <a:pt x="5466175" y="6137013"/>
                  <a:pt x="5376463" y="6220215"/>
                  <a:pt x="5265004" y="6220215"/>
                </a:cubicBezTo>
                <a:cubicBezTo>
                  <a:pt x="5153545" y="6220215"/>
                  <a:pt x="5061116" y="6137013"/>
                  <a:pt x="5061116" y="6033640"/>
                </a:cubicBezTo>
                <a:cubicBezTo>
                  <a:pt x="5061116" y="6033640"/>
                  <a:pt x="5061116" y="6033640"/>
                  <a:pt x="5061116" y="6056332"/>
                </a:cubicBezTo>
                <a:cubicBezTo>
                  <a:pt x="5061116" y="5952960"/>
                  <a:pt x="4971405" y="5869758"/>
                  <a:pt x="4859946" y="5869758"/>
                </a:cubicBezTo>
                <a:cubicBezTo>
                  <a:pt x="4748486" y="5869758"/>
                  <a:pt x="4658776" y="5952960"/>
                  <a:pt x="4658776" y="6056332"/>
                </a:cubicBezTo>
                <a:cubicBezTo>
                  <a:pt x="4658776" y="6056332"/>
                  <a:pt x="4658776" y="6056332"/>
                  <a:pt x="4658776" y="6131970"/>
                </a:cubicBezTo>
                <a:cubicBezTo>
                  <a:pt x="4658776" y="6235342"/>
                  <a:pt x="4566346" y="6318544"/>
                  <a:pt x="4454887" y="6318544"/>
                </a:cubicBezTo>
                <a:cubicBezTo>
                  <a:pt x="4343428" y="6318544"/>
                  <a:pt x="4253716" y="6235342"/>
                  <a:pt x="4253716" y="6131970"/>
                </a:cubicBezTo>
                <a:cubicBezTo>
                  <a:pt x="4253716" y="6131970"/>
                  <a:pt x="4253716" y="6131970"/>
                  <a:pt x="4253716" y="6172311"/>
                </a:cubicBezTo>
                <a:cubicBezTo>
                  <a:pt x="4253716" y="6068938"/>
                  <a:pt x="4164006" y="5985736"/>
                  <a:pt x="4052547" y="5985736"/>
                </a:cubicBezTo>
                <a:cubicBezTo>
                  <a:pt x="3941087" y="5985736"/>
                  <a:pt x="3848658" y="6068938"/>
                  <a:pt x="3848658" y="6172311"/>
                </a:cubicBezTo>
                <a:cubicBezTo>
                  <a:pt x="3848658" y="6172311"/>
                  <a:pt x="3848658" y="6172311"/>
                  <a:pt x="3848658" y="7251416"/>
                </a:cubicBezTo>
                <a:cubicBezTo>
                  <a:pt x="3848658" y="7354788"/>
                  <a:pt x="3758946" y="7437990"/>
                  <a:pt x="3647487" y="7437990"/>
                </a:cubicBezTo>
                <a:cubicBezTo>
                  <a:pt x="3536028" y="7437990"/>
                  <a:pt x="3446317" y="7354788"/>
                  <a:pt x="3446317" y="7251416"/>
                </a:cubicBezTo>
                <a:cubicBezTo>
                  <a:pt x="3446317" y="7251416"/>
                  <a:pt x="3446317" y="7251416"/>
                  <a:pt x="3446317" y="5940353"/>
                </a:cubicBezTo>
                <a:cubicBezTo>
                  <a:pt x="3446317" y="5836981"/>
                  <a:pt x="3353888" y="5751258"/>
                  <a:pt x="3242429" y="5751258"/>
                </a:cubicBezTo>
                <a:cubicBezTo>
                  <a:pt x="3130969" y="5751258"/>
                  <a:pt x="3041258" y="5836981"/>
                  <a:pt x="3041258" y="5940353"/>
                </a:cubicBezTo>
                <a:cubicBezTo>
                  <a:pt x="3041258" y="5940353"/>
                  <a:pt x="3041258" y="5940353"/>
                  <a:pt x="3041258" y="6502597"/>
                </a:cubicBezTo>
                <a:cubicBezTo>
                  <a:pt x="3041258" y="6605970"/>
                  <a:pt x="2951547" y="6689172"/>
                  <a:pt x="2840088" y="6689172"/>
                </a:cubicBezTo>
                <a:cubicBezTo>
                  <a:pt x="2728629" y="6689172"/>
                  <a:pt x="2636199" y="6605970"/>
                  <a:pt x="2636199" y="6502597"/>
                </a:cubicBezTo>
                <a:cubicBezTo>
                  <a:pt x="2636199" y="6502597"/>
                  <a:pt x="2636199" y="6502597"/>
                  <a:pt x="2636199" y="5869758"/>
                </a:cubicBezTo>
                <a:cubicBezTo>
                  <a:pt x="2636199" y="5766385"/>
                  <a:pt x="2546489" y="5680662"/>
                  <a:pt x="2435029" y="5680662"/>
                </a:cubicBezTo>
                <a:cubicBezTo>
                  <a:pt x="2323570" y="5680662"/>
                  <a:pt x="2233859" y="5766385"/>
                  <a:pt x="2233859" y="5869758"/>
                </a:cubicBezTo>
                <a:cubicBezTo>
                  <a:pt x="2233859" y="5869758"/>
                  <a:pt x="2233859" y="5869758"/>
                  <a:pt x="2233859" y="6172311"/>
                </a:cubicBezTo>
                <a:cubicBezTo>
                  <a:pt x="2233859" y="6278204"/>
                  <a:pt x="2141430" y="6361406"/>
                  <a:pt x="2029970" y="6361406"/>
                </a:cubicBezTo>
                <a:cubicBezTo>
                  <a:pt x="1918512" y="6361406"/>
                  <a:pt x="1828800" y="6278204"/>
                  <a:pt x="1828800" y="6172311"/>
                </a:cubicBezTo>
                <a:cubicBezTo>
                  <a:pt x="1828800" y="6172311"/>
                  <a:pt x="1828800" y="6172311"/>
                  <a:pt x="1828800" y="5652531"/>
                </a:cubicBezTo>
                <a:lnTo>
                  <a:pt x="1828800" y="5578640"/>
                </a:lnTo>
                <a:lnTo>
                  <a:pt x="1818687" y="5579580"/>
                </a:lnTo>
                <a:cubicBezTo>
                  <a:pt x="1707228" y="5579580"/>
                  <a:pt x="1617517" y="5496378"/>
                  <a:pt x="1617517" y="5393006"/>
                </a:cubicBezTo>
                <a:cubicBezTo>
                  <a:pt x="1617517" y="5393006"/>
                  <a:pt x="1617517" y="5393006"/>
                  <a:pt x="1617517" y="4081943"/>
                </a:cubicBezTo>
                <a:cubicBezTo>
                  <a:pt x="1617517" y="3978571"/>
                  <a:pt x="1525088" y="3892848"/>
                  <a:pt x="1413629" y="3892848"/>
                </a:cubicBezTo>
                <a:cubicBezTo>
                  <a:pt x="1302169" y="3892848"/>
                  <a:pt x="1212458" y="3978571"/>
                  <a:pt x="1212458" y="4081943"/>
                </a:cubicBezTo>
                <a:cubicBezTo>
                  <a:pt x="1212458" y="4081943"/>
                  <a:pt x="1212458" y="4081943"/>
                  <a:pt x="1212458" y="4644187"/>
                </a:cubicBezTo>
                <a:cubicBezTo>
                  <a:pt x="1212458" y="4747560"/>
                  <a:pt x="1122747" y="4830762"/>
                  <a:pt x="1011288" y="4830762"/>
                </a:cubicBezTo>
                <a:cubicBezTo>
                  <a:pt x="899829" y="4830762"/>
                  <a:pt x="807399" y="4747560"/>
                  <a:pt x="807399" y="4644187"/>
                </a:cubicBezTo>
                <a:cubicBezTo>
                  <a:pt x="807399" y="4644187"/>
                  <a:pt x="807399" y="4644187"/>
                  <a:pt x="807399" y="4011348"/>
                </a:cubicBezTo>
                <a:cubicBezTo>
                  <a:pt x="807399" y="3907975"/>
                  <a:pt x="717689" y="3822252"/>
                  <a:pt x="606229" y="3822252"/>
                </a:cubicBezTo>
                <a:cubicBezTo>
                  <a:pt x="494770" y="3822252"/>
                  <a:pt x="405059" y="3907975"/>
                  <a:pt x="405059" y="4011348"/>
                </a:cubicBezTo>
                <a:cubicBezTo>
                  <a:pt x="405059" y="4011348"/>
                  <a:pt x="405059" y="4011348"/>
                  <a:pt x="405059" y="4313901"/>
                </a:cubicBezTo>
                <a:cubicBezTo>
                  <a:pt x="405059" y="4419794"/>
                  <a:pt x="312630" y="4502996"/>
                  <a:pt x="201170" y="4502996"/>
                </a:cubicBezTo>
                <a:cubicBezTo>
                  <a:pt x="89712" y="4502996"/>
                  <a:pt x="0" y="4419794"/>
                  <a:pt x="0" y="4313901"/>
                </a:cubicBezTo>
                <a:cubicBezTo>
                  <a:pt x="0" y="4313901"/>
                  <a:pt x="0" y="4313901"/>
                  <a:pt x="0" y="847148"/>
                </a:cubicBezTo>
                <a:cubicBezTo>
                  <a:pt x="0" y="743776"/>
                  <a:pt x="89712" y="660574"/>
                  <a:pt x="201170" y="660574"/>
                </a:cubicBezTo>
                <a:cubicBezTo>
                  <a:pt x="206607" y="660574"/>
                  <a:pt x="212044" y="660574"/>
                  <a:pt x="217481" y="660574"/>
                </a:cubicBezTo>
                <a:cubicBezTo>
                  <a:pt x="250103" y="660574"/>
                  <a:pt x="266415" y="658053"/>
                  <a:pt x="307193" y="645446"/>
                </a:cubicBezTo>
                <a:cubicBezTo>
                  <a:pt x="339815" y="632840"/>
                  <a:pt x="399622" y="597542"/>
                  <a:pt x="405059" y="496691"/>
                </a:cubicBezTo>
                <a:cubicBezTo>
                  <a:pt x="405059" y="496691"/>
                  <a:pt x="405059" y="496691"/>
                  <a:pt x="405059" y="239521"/>
                </a:cubicBezTo>
                <a:cubicBezTo>
                  <a:pt x="405059" y="136149"/>
                  <a:pt x="494770" y="50426"/>
                  <a:pt x="606229" y="50426"/>
                </a:cubicBezTo>
                <a:cubicBezTo>
                  <a:pt x="717689" y="50426"/>
                  <a:pt x="807399" y="136149"/>
                  <a:pt x="807399" y="239521"/>
                </a:cubicBezTo>
                <a:cubicBezTo>
                  <a:pt x="807399" y="239521"/>
                  <a:pt x="807399" y="239521"/>
                  <a:pt x="807399" y="635361"/>
                </a:cubicBezTo>
                <a:cubicBezTo>
                  <a:pt x="812836" y="736212"/>
                  <a:pt x="872644" y="771510"/>
                  <a:pt x="905266" y="784116"/>
                </a:cubicBezTo>
                <a:cubicBezTo>
                  <a:pt x="956917" y="801765"/>
                  <a:pt x="970510" y="799244"/>
                  <a:pt x="1024880" y="801765"/>
                </a:cubicBezTo>
                <a:cubicBezTo>
                  <a:pt x="1128184" y="809329"/>
                  <a:pt x="1212458" y="890010"/>
                  <a:pt x="1212458" y="988339"/>
                </a:cubicBezTo>
                <a:cubicBezTo>
                  <a:pt x="1212458" y="988339"/>
                  <a:pt x="1212458" y="988339"/>
                  <a:pt x="1212458" y="2064923"/>
                </a:cubicBezTo>
                <a:cubicBezTo>
                  <a:pt x="1212458" y="2170817"/>
                  <a:pt x="1302169" y="2254019"/>
                  <a:pt x="1413629" y="2254019"/>
                </a:cubicBezTo>
                <a:cubicBezTo>
                  <a:pt x="1525088" y="2254019"/>
                  <a:pt x="1617517" y="2170817"/>
                  <a:pt x="1617517" y="2064923"/>
                </a:cubicBezTo>
                <a:cubicBezTo>
                  <a:pt x="1617517" y="2064923"/>
                  <a:pt x="1617517" y="2064923"/>
                  <a:pt x="1617517" y="1737158"/>
                </a:cubicBezTo>
                <a:cubicBezTo>
                  <a:pt x="1617517" y="1633786"/>
                  <a:pt x="1707228" y="1550583"/>
                  <a:pt x="1818687" y="1550583"/>
                </a:cubicBezTo>
                <a:cubicBezTo>
                  <a:pt x="1818687" y="1550583"/>
                  <a:pt x="1821406" y="1550583"/>
                  <a:pt x="1821406" y="1550583"/>
                </a:cubicBezTo>
                <a:cubicBezTo>
                  <a:pt x="1862183" y="1550583"/>
                  <a:pt x="1878495" y="1550583"/>
                  <a:pt x="1921991" y="1535456"/>
                </a:cubicBezTo>
                <a:cubicBezTo>
                  <a:pt x="1957332" y="1522849"/>
                  <a:pt x="2017139" y="1487552"/>
                  <a:pt x="2019858" y="1386701"/>
                </a:cubicBezTo>
                <a:lnTo>
                  <a:pt x="2019858" y="544595"/>
                </a:lnTo>
                <a:cubicBezTo>
                  <a:pt x="2019858" y="438702"/>
                  <a:pt x="2112287" y="355500"/>
                  <a:pt x="2223747" y="355500"/>
                </a:cubicBezTo>
                <a:cubicBezTo>
                  <a:pt x="2226465" y="355500"/>
                  <a:pt x="2229184" y="355500"/>
                  <a:pt x="2231902" y="355500"/>
                </a:cubicBezTo>
                <a:cubicBezTo>
                  <a:pt x="2269961" y="355500"/>
                  <a:pt x="2286272" y="355500"/>
                  <a:pt x="2329769" y="340372"/>
                </a:cubicBezTo>
                <a:cubicBezTo>
                  <a:pt x="2359672" y="330287"/>
                  <a:pt x="2414042" y="297510"/>
                  <a:pt x="2424916" y="216830"/>
                </a:cubicBezTo>
                <a:cubicBezTo>
                  <a:pt x="2424916" y="216830"/>
                  <a:pt x="2424916" y="216830"/>
                  <a:pt x="2424916" y="186574"/>
                </a:cubicBezTo>
                <a:cubicBezTo>
                  <a:pt x="2424916" y="83202"/>
                  <a:pt x="2514628" y="0"/>
                  <a:pt x="2626087" y="0"/>
                </a:cubicBezTo>
                <a:close/>
              </a:path>
            </a:pathLst>
          </a:custGeom>
          <a:solidFill>
            <a:schemeClr val="bg1">
              <a:lumMod val="95000"/>
            </a:schemeClr>
          </a:solidFill>
        </p:spPr>
        <p:txBody>
          <a:bodyPr wrap="square" anchor="ctr">
            <a:noAutofit/>
          </a:bodyPr>
          <a:lstStyle>
            <a:lvl1pPr marL="0" indent="0" algn="ctr">
              <a:buFontTx/>
              <a:buNone/>
              <a:defRPr sz="1200">
                <a:solidFill>
                  <a:schemeClr val="tx1"/>
                </a:solidFill>
              </a:defRPr>
            </a:lvl1pPr>
          </a:lstStyle>
          <a:p>
            <a:r>
              <a:rPr lang="en-US"/>
              <a:t>Image</a:t>
            </a:r>
          </a:p>
        </p:txBody>
      </p:sp>
    </p:spTree>
    <p:extLst>
      <p:ext uri="{BB962C8B-B14F-4D97-AF65-F5344CB8AC3E}">
        <p14:creationId xmlns:p14="http://schemas.microsoft.com/office/powerpoint/2010/main" val="1467624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0_Custom Layout">
    <p:spTree>
      <p:nvGrpSpPr>
        <p:cNvPr id="1" name=""/>
        <p:cNvGrpSpPr/>
        <p:nvPr/>
      </p:nvGrpSpPr>
      <p:grpSpPr>
        <a:xfrm>
          <a:off x="0" y="0"/>
          <a:ext cx="0" cy="0"/>
          <a:chOff x="0" y="0"/>
          <a:chExt cx="0" cy="0"/>
        </a:xfrm>
      </p:grpSpPr>
      <p:sp>
        <p:nvSpPr>
          <p:cNvPr id="9" name="Freeform 8"/>
          <p:cNvSpPr>
            <a:spLocks noGrp="1"/>
          </p:cNvSpPr>
          <p:nvPr>
            <p:ph type="pic" sz="quarter" idx="22" hasCustomPrompt="1"/>
          </p:nvPr>
        </p:nvSpPr>
        <p:spPr>
          <a:xfrm>
            <a:off x="120440" y="50375"/>
            <a:ext cx="11951120" cy="6757249"/>
          </a:xfrm>
          <a:custGeom>
            <a:avLst/>
            <a:gdLst>
              <a:gd name="connsiteX0" fmla="*/ 6672558 w 11951120"/>
              <a:gd name="connsiteY0" fmla="*/ 6700656 h 6757249"/>
              <a:gd name="connsiteX1" fmla="*/ 6676915 w 11951120"/>
              <a:gd name="connsiteY1" fmla="*/ 6726397 h 6757249"/>
              <a:gd name="connsiteX2" fmla="*/ 6650771 w 11951120"/>
              <a:gd name="connsiteY2" fmla="*/ 6756428 h 6757249"/>
              <a:gd name="connsiteX3" fmla="*/ 6642057 w 11951120"/>
              <a:gd name="connsiteY3" fmla="*/ 6726397 h 6757249"/>
              <a:gd name="connsiteX4" fmla="*/ 6672558 w 11951120"/>
              <a:gd name="connsiteY4" fmla="*/ 6700656 h 6757249"/>
              <a:gd name="connsiteX5" fmla="*/ 4374279 w 11951120"/>
              <a:gd name="connsiteY5" fmla="*/ 6700656 h 6757249"/>
              <a:gd name="connsiteX6" fmla="*/ 4378636 w 11951120"/>
              <a:gd name="connsiteY6" fmla="*/ 6726397 h 6757249"/>
              <a:gd name="connsiteX7" fmla="*/ 4352492 w 11951120"/>
              <a:gd name="connsiteY7" fmla="*/ 6756428 h 6757249"/>
              <a:gd name="connsiteX8" fmla="*/ 4343778 w 11951120"/>
              <a:gd name="connsiteY8" fmla="*/ 6726397 h 6757249"/>
              <a:gd name="connsiteX9" fmla="*/ 4374279 w 11951120"/>
              <a:gd name="connsiteY9" fmla="*/ 6700656 h 6757249"/>
              <a:gd name="connsiteX10" fmla="*/ 6822326 w 11951120"/>
              <a:gd name="connsiteY10" fmla="*/ 6699048 h 6757249"/>
              <a:gd name="connsiteX11" fmla="*/ 6869972 w 11951120"/>
              <a:gd name="connsiteY11" fmla="*/ 6720835 h 6757249"/>
              <a:gd name="connsiteX12" fmla="*/ 6822326 w 11951120"/>
              <a:gd name="connsiteY12" fmla="*/ 6751334 h 6757249"/>
              <a:gd name="connsiteX13" fmla="*/ 6822326 w 11951120"/>
              <a:gd name="connsiteY13" fmla="*/ 6699048 h 6757249"/>
              <a:gd name="connsiteX14" fmla="*/ 4524047 w 11951120"/>
              <a:gd name="connsiteY14" fmla="*/ 6699048 h 6757249"/>
              <a:gd name="connsiteX15" fmla="*/ 4571693 w 11951120"/>
              <a:gd name="connsiteY15" fmla="*/ 6720835 h 6757249"/>
              <a:gd name="connsiteX16" fmla="*/ 4524047 w 11951120"/>
              <a:gd name="connsiteY16" fmla="*/ 6751334 h 6757249"/>
              <a:gd name="connsiteX17" fmla="*/ 4524047 w 11951120"/>
              <a:gd name="connsiteY17" fmla="*/ 6699048 h 6757249"/>
              <a:gd name="connsiteX18" fmla="*/ 6580387 w 11951120"/>
              <a:gd name="connsiteY18" fmla="*/ 6620395 h 6757249"/>
              <a:gd name="connsiteX19" fmla="*/ 6601838 w 11951120"/>
              <a:gd name="connsiteY19" fmla="*/ 6651678 h 6757249"/>
              <a:gd name="connsiteX20" fmla="*/ 6584677 w 11951120"/>
              <a:gd name="connsiteY20" fmla="*/ 6678491 h 6757249"/>
              <a:gd name="connsiteX21" fmla="*/ 6563226 w 11951120"/>
              <a:gd name="connsiteY21" fmla="*/ 6642739 h 6757249"/>
              <a:gd name="connsiteX22" fmla="*/ 6580387 w 11951120"/>
              <a:gd name="connsiteY22" fmla="*/ 6620395 h 6757249"/>
              <a:gd name="connsiteX23" fmla="*/ 4282108 w 11951120"/>
              <a:gd name="connsiteY23" fmla="*/ 6620395 h 6757249"/>
              <a:gd name="connsiteX24" fmla="*/ 4303559 w 11951120"/>
              <a:gd name="connsiteY24" fmla="*/ 6651678 h 6757249"/>
              <a:gd name="connsiteX25" fmla="*/ 4286398 w 11951120"/>
              <a:gd name="connsiteY25" fmla="*/ 6678491 h 6757249"/>
              <a:gd name="connsiteX26" fmla="*/ 4264947 w 11951120"/>
              <a:gd name="connsiteY26" fmla="*/ 6642739 h 6757249"/>
              <a:gd name="connsiteX27" fmla="*/ 4282108 w 11951120"/>
              <a:gd name="connsiteY27" fmla="*/ 6620395 h 6757249"/>
              <a:gd name="connsiteX28" fmla="*/ 6958054 w 11951120"/>
              <a:gd name="connsiteY28" fmla="*/ 6576537 h 6757249"/>
              <a:gd name="connsiteX29" fmla="*/ 6984600 w 11951120"/>
              <a:gd name="connsiteY29" fmla="*/ 6674176 h 6757249"/>
              <a:gd name="connsiteX30" fmla="*/ 6944781 w 11951120"/>
              <a:gd name="connsiteY30" fmla="*/ 6651985 h 6757249"/>
              <a:gd name="connsiteX31" fmla="*/ 6918236 w 11951120"/>
              <a:gd name="connsiteY31" fmla="*/ 6625357 h 6757249"/>
              <a:gd name="connsiteX32" fmla="*/ 6958054 w 11951120"/>
              <a:gd name="connsiteY32" fmla="*/ 6576537 h 6757249"/>
              <a:gd name="connsiteX33" fmla="*/ 4659775 w 11951120"/>
              <a:gd name="connsiteY33" fmla="*/ 6576537 h 6757249"/>
              <a:gd name="connsiteX34" fmla="*/ 4686322 w 11951120"/>
              <a:gd name="connsiteY34" fmla="*/ 6674176 h 6757249"/>
              <a:gd name="connsiteX35" fmla="*/ 4646502 w 11951120"/>
              <a:gd name="connsiteY35" fmla="*/ 6651985 h 6757249"/>
              <a:gd name="connsiteX36" fmla="*/ 4619957 w 11951120"/>
              <a:gd name="connsiteY36" fmla="*/ 6625357 h 6757249"/>
              <a:gd name="connsiteX37" fmla="*/ 4659775 w 11951120"/>
              <a:gd name="connsiteY37" fmla="*/ 6576537 h 6757249"/>
              <a:gd name="connsiteX38" fmla="*/ 6440634 w 11951120"/>
              <a:gd name="connsiteY38" fmla="*/ 6475805 h 6757249"/>
              <a:gd name="connsiteX39" fmla="*/ 6438763 w 11951120"/>
              <a:gd name="connsiteY39" fmla="*/ 6479561 h 6757249"/>
              <a:gd name="connsiteX40" fmla="*/ 6438520 w 11951120"/>
              <a:gd name="connsiteY40" fmla="*/ 6480050 h 6757249"/>
              <a:gd name="connsiteX41" fmla="*/ 6441327 w 11951120"/>
              <a:gd name="connsiteY41" fmla="*/ 6475866 h 6757249"/>
              <a:gd name="connsiteX42" fmla="*/ 4142355 w 11951120"/>
              <a:gd name="connsiteY42" fmla="*/ 6475805 h 6757249"/>
              <a:gd name="connsiteX43" fmla="*/ 4140484 w 11951120"/>
              <a:gd name="connsiteY43" fmla="*/ 6479561 h 6757249"/>
              <a:gd name="connsiteX44" fmla="*/ 4140241 w 11951120"/>
              <a:gd name="connsiteY44" fmla="*/ 6480050 h 6757249"/>
              <a:gd name="connsiteX45" fmla="*/ 4143048 w 11951120"/>
              <a:gd name="connsiteY45" fmla="*/ 6475866 h 6757249"/>
              <a:gd name="connsiteX46" fmla="*/ 8984947 w 11951120"/>
              <a:gd name="connsiteY46" fmla="*/ 6474303 h 6757249"/>
              <a:gd name="connsiteX47" fmla="*/ 8983611 w 11951120"/>
              <a:gd name="connsiteY47" fmla="*/ 6475611 h 6757249"/>
              <a:gd name="connsiteX48" fmla="*/ 8993595 w 11951120"/>
              <a:gd name="connsiteY48" fmla="*/ 6485873 h 6757249"/>
              <a:gd name="connsiteX49" fmla="*/ 1687820 w 11951120"/>
              <a:gd name="connsiteY49" fmla="*/ 6430862 h 6757249"/>
              <a:gd name="connsiteX50" fmla="*/ 1681765 w 11951120"/>
              <a:gd name="connsiteY50" fmla="*/ 6432596 h 6757249"/>
              <a:gd name="connsiteX51" fmla="*/ 1683885 w 11951120"/>
              <a:gd name="connsiteY51" fmla="*/ 6435790 h 6757249"/>
              <a:gd name="connsiteX52" fmla="*/ 1683760 w 11951120"/>
              <a:gd name="connsiteY52" fmla="*/ 6436191 h 6757249"/>
              <a:gd name="connsiteX53" fmla="*/ 1688068 w 11951120"/>
              <a:gd name="connsiteY53" fmla="*/ 6431904 h 6757249"/>
              <a:gd name="connsiteX54" fmla="*/ 9351677 w 11951120"/>
              <a:gd name="connsiteY54" fmla="*/ 6409705 h 6757249"/>
              <a:gd name="connsiteX55" fmla="*/ 9347938 w 11951120"/>
              <a:gd name="connsiteY55" fmla="*/ 6412093 h 6757249"/>
              <a:gd name="connsiteX56" fmla="*/ 9355569 w 11951120"/>
              <a:gd name="connsiteY56" fmla="*/ 6425641 h 6757249"/>
              <a:gd name="connsiteX57" fmla="*/ 9356793 w 11951120"/>
              <a:gd name="connsiteY57" fmla="*/ 6425909 h 6757249"/>
              <a:gd name="connsiteX58" fmla="*/ 9351677 w 11951120"/>
              <a:gd name="connsiteY58" fmla="*/ 6410321 h 6757249"/>
              <a:gd name="connsiteX59" fmla="*/ 7053398 w 11951120"/>
              <a:gd name="connsiteY59" fmla="*/ 6409705 h 6757249"/>
              <a:gd name="connsiteX60" fmla="*/ 7049659 w 11951120"/>
              <a:gd name="connsiteY60" fmla="*/ 6412093 h 6757249"/>
              <a:gd name="connsiteX61" fmla="*/ 7057290 w 11951120"/>
              <a:gd name="connsiteY61" fmla="*/ 6425641 h 6757249"/>
              <a:gd name="connsiteX62" fmla="*/ 7058514 w 11951120"/>
              <a:gd name="connsiteY62" fmla="*/ 6425909 h 6757249"/>
              <a:gd name="connsiteX63" fmla="*/ 7053398 w 11951120"/>
              <a:gd name="connsiteY63" fmla="*/ 6410321 h 6757249"/>
              <a:gd name="connsiteX64" fmla="*/ 9906863 w 11951120"/>
              <a:gd name="connsiteY64" fmla="*/ 6387501 h 6757249"/>
              <a:gd name="connsiteX65" fmla="*/ 9907446 w 11951120"/>
              <a:gd name="connsiteY65" fmla="*/ 6391605 h 6757249"/>
              <a:gd name="connsiteX66" fmla="*/ 9907285 w 11951120"/>
              <a:gd name="connsiteY66" fmla="*/ 6392252 h 6757249"/>
              <a:gd name="connsiteX67" fmla="*/ 9907868 w 11951120"/>
              <a:gd name="connsiteY67" fmla="*/ 6391788 h 6757249"/>
              <a:gd name="connsiteX68" fmla="*/ 9918884 w 11951120"/>
              <a:gd name="connsiteY68" fmla="*/ 6388940 h 6757249"/>
              <a:gd name="connsiteX69" fmla="*/ 7608584 w 11951120"/>
              <a:gd name="connsiteY69" fmla="*/ 6387501 h 6757249"/>
              <a:gd name="connsiteX70" fmla="*/ 7609167 w 11951120"/>
              <a:gd name="connsiteY70" fmla="*/ 6391605 h 6757249"/>
              <a:gd name="connsiteX71" fmla="*/ 7609006 w 11951120"/>
              <a:gd name="connsiteY71" fmla="*/ 6392252 h 6757249"/>
              <a:gd name="connsiteX72" fmla="*/ 7609589 w 11951120"/>
              <a:gd name="connsiteY72" fmla="*/ 6391788 h 6757249"/>
              <a:gd name="connsiteX73" fmla="*/ 7620605 w 11951120"/>
              <a:gd name="connsiteY73" fmla="*/ 6388940 h 6757249"/>
              <a:gd name="connsiteX74" fmla="*/ 1614698 w 11951120"/>
              <a:gd name="connsiteY74" fmla="*/ 6360904 h 6757249"/>
              <a:gd name="connsiteX75" fmla="*/ 1614509 w 11951120"/>
              <a:gd name="connsiteY75" fmla="*/ 6360959 h 6757249"/>
              <a:gd name="connsiteX76" fmla="*/ 1614786 w 11951120"/>
              <a:gd name="connsiteY76" fmla="*/ 6361532 h 6757249"/>
              <a:gd name="connsiteX77" fmla="*/ 3911963 w 11951120"/>
              <a:gd name="connsiteY77" fmla="*/ 6358888 h 6757249"/>
              <a:gd name="connsiteX78" fmla="*/ 3911925 w 11951120"/>
              <a:gd name="connsiteY78" fmla="*/ 6359186 h 6757249"/>
              <a:gd name="connsiteX79" fmla="*/ 3911963 w 11951120"/>
              <a:gd name="connsiteY79" fmla="*/ 6359262 h 6757249"/>
              <a:gd name="connsiteX80" fmla="*/ 1613683 w 11951120"/>
              <a:gd name="connsiteY80" fmla="*/ 6358888 h 6757249"/>
              <a:gd name="connsiteX81" fmla="*/ 1613646 w 11951120"/>
              <a:gd name="connsiteY81" fmla="*/ 6359186 h 6757249"/>
              <a:gd name="connsiteX82" fmla="*/ 1613683 w 11951120"/>
              <a:gd name="connsiteY82" fmla="*/ 6359262 h 6757249"/>
              <a:gd name="connsiteX83" fmla="*/ 3911759 w 11951120"/>
              <a:gd name="connsiteY83" fmla="*/ 6356107 h 6757249"/>
              <a:gd name="connsiteX84" fmla="*/ 3910492 w 11951120"/>
              <a:gd name="connsiteY84" fmla="*/ 6356235 h 6757249"/>
              <a:gd name="connsiteX85" fmla="*/ 3911759 w 11951120"/>
              <a:gd name="connsiteY85" fmla="*/ 6358844 h 6757249"/>
              <a:gd name="connsiteX86" fmla="*/ 1613480 w 11951120"/>
              <a:gd name="connsiteY86" fmla="*/ 6356107 h 6757249"/>
              <a:gd name="connsiteX87" fmla="*/ 1612212 w 11951120"/>
              <a:gd name="connsiteY87" fmla="*/ 6356235 h 6757249"/>
              <a:gd name="connsiteX88" fmla="*/ 1613480 w 11951120"/>
              <a:gd name="connsiteY88" fmla="*/ 6358844 h 6757249"/>
              <a:gd name="connsiteX89" fmla="*/ 8512985 w 11951120"/>
              <a:gd name="connsiteY89" fmla="*/ 6350823 h 6757249"/>
              <a:gd name="connsiteX90" fmla="*/ 8510918 w 11951120"/>
              <a:gd name="connsiteY90" fmla="*/ 6356059 h 6757249"/>
              <a:gd name="connsiteX91" fmla="*/ 8513520 w 11951120"/>
              <a:gd name="connsiteY91" fmla="*/ 6355836 h 6757249"/>
              <a:gd name="connsiteX92" fmla="*/ 8514740 w 11951120"/>
              <a:gd name="connsiteY92" fmla="*/ 6356086 h 6757249"/>
              <a:gd name="connsiteX93" fmla="*/ 6214706 w 11951120"/>
              <a:gd name="connsiteY93" fmla="*/ 6350823 h 6757249"/>
              <a:gd name="connsiteX94" fmla="*/ 6212639 w 11951120"/>
              <a:gd name="connsiteY94" fmla="*/ 6356059 h 6757249"/>
              <a:gd name="connsiteX95" fmla="*/ 6215241 w 11951120"/>
              <a:gd name="connsiteY95" fmla="*/ 6355836 h 6757249"/>
              <a:gd name="connsiteX96" fmla="*/ 6216461 w 11951120"/>
              <a:gd name="connsiteY96" fmla="*/ 6356086 h 6757249"/>
              <a:gd name="connsiteX97" fmla="*/ 4165949 w 11951120"/>
              <a:gd name="connsiteY97" fmla="*/ 6338737 h 6757249"/>
              <a:gd name="connsiteX98" fmla="*/ 4164402 w 11951120"/>
              <a:gd name="connsiteY98" fmla="*/ 6342229 h 6757249"/>
              <a:gd name="connsiteX99" fmla="*/ 4168103 w 11951120"/>
              <a:gd name="connsiteY99" fmla="*/ 6339061 h 6757249"/>
              <a:gd name="connsiteX100" fmla="*/ 4167969 w 11951120"/>
              <a:gd name="connsiteY100" fmla="*/ 6338983 h 6757249"/>
              <a:gd name="connsiteX101" fmla="*/ 4475834 w 11951120"/>
              <a:gd name="connsiteY101" fmla="*/ 6334735 h 6757249"/>
              <a:gd name="connsiteX102" fmla="*/ 4475165 w 11951120"/>
              <a:gd name="connsiteY102" fmla="*/ 6335186 h 6757249"/>
              <a:gd name="connsiteX103" fmla="*/ 4475165 w 11951120"/>
              <a:gd name="connsiteY103" fmla="*/ 6355073 h 6757249"/>
              <a:gd name="connsiteX104" fmla="*/ 4475834 w 11951120"/>
              <a:gd name="connsiteY104" fmla="*/ 6355309 h 6757249"/>
              <a:gd name="connsiteX105" fmla="*/ 4185829 w 11951120"/>
              <a:gd name="connsiteY105" fmla="*/ 6334387 h 6757249"/>
              <a:gd name="connsiteX106" fmla="*/ 4185579 w 11951120"/>
              <a:gd name="connsiteY106" fmla="*/ 6334536 h 6757249"/>
              <a:gd name="connsiteX107" fmla="*/ 4185579 w 11951120"/>
              <a:gd name="connsiteY107" fmla="*/ 6337416 h 6757249"/>
              <a:gd name="connsiteX108" fmla="*/ 4190712 w 11951120"/>
              <a:gd name="connsiteY108" fmla="*/ 6334387 h 6757249"/>
              <a:gd name="connsiteX109" fmla="*/ 8012014 w 11951120"/>
              <a:gd name="connsiteY109" fmla="*/ 6323449 h 6757249"/>
              <a:gd name="connsiteX110" fmla="*/ 8001499 w 11951120"/>
              <a:gd name="connsiteY110" fmla="*/ 6324648 h 6757249"/>
              <a:gd name="connsiteX111" fmla="*/ 8001499 w 11951120"/>
              <a:gd name="connsiteY111" fmla="*/ 6325447 h 6757249"/>
              <a:gd name="connsiteX112" fmla="*/ 8001499 w 11951120"/>
              <a:gd name="connsiteY112" fmla="*/ 6329916 h 6757249"/>
              <a:gd name="connsiteX113" fmla="*/ 8001499 w 11951120"/>
              <a:gd name="connsiteY113" fmla="*/ 6332558 h 6757249"/>
              <a:gd name="connsiteX114" fmla="*/ 8002508 w 11951120"/>
              <a:gd name="connsiteY114" fmla="*/ 6333058 h 6757249"/>
              <a:gd name="connsiteX115" fmla="*/ 5713735 w 11951120"/>
              <a:gd name="connsiteY115" fmla="*/ 6323449 h 6757249"/>
              <a:gd name="connsiteX116" fmla="*/ 5703220 w 11951120"/>
              <a:gd name="connsiteY116" fmla="*/ 6324648 h 6757249"/>
              <a:gd name="connsiteX117" fmla="*/ 5703220 w 11951120"/>
              <a:gd name="connsiteY117" fmla="*/ 6325447 h 6757249"/>
              <a:gd name="connsiteX118" fmla="*/ 5703220 w 11951120"/>
              <a:gd name="connsiteY118" fmla="*/ 6329916 h 6757249"/>
              <a:gd name="connsiteX119" fmla="*/ 5703220 w 11951120"/>
              <a:gd name="connsiteY119" fmla="*/ 6332558 h 6757249"/>
              <a:gd name="connsiteX120" fmla="*/ 5704229 w 11951120"/>
              <a:gd name="connsiteY120" fmla="*/ 6333058 h 6757249"/>
              <a:gd name="connsiteX121" fmla="*/ 8848990 w 11951120"/>
              <a:gd name="connsiteY121" fmla="*/ 6285385 h 6757249"/>
              <a:gd name="connsiteX122" fmla="*/ 8848836 w 11951120"/>
              <a:gd name="connsiteY122" fmla="*/ 6285496 h 6757249"/>
              <a:gd name="connsiteX123" fmla="*/ 8848912 w 11951120"/>
              <a:gd name="connsiteY123" fmla="*/ 6285611 h 6757249"/>
              <a:gd name="connsiteX124" fmla="*/ 8654996 w 11951120"/>
              <a:gd name="connsiteY124" fmla="*/ 6260990 h 6757249"/>
              <a:gd name="connsiteX125" fmla="*/ 8654959 w 11951120"/>
              <a:gd name="connsiteY125" fmla="*/ 6261058 h 6757249"/>
              <a:gd name="connsiteX126" fmla="*/ 8654977 w 11951120"/>
              <a:gd name="connsiteY126" fmla="*/ 6261071 h 6757249"/>
              <a:gd name="connsiteX127" fmla="*/ 8821991 w 11951120"/>
              <a:gd name="connsiteY127" fmla="*/ 6188321 h 6757249"/>
              <a:gd name="connsiteX128" fmla="*/ 8820940 w 11951120"/>
              <a:gd name="connsiteY128" fmla="*/ 6190426 h 6757249"/>
              <a:gd name="connsiteX129" fmla="*/ 8819851 w 11951120"/>
              <a:gd name="connsiteY129" fmla="*/ 6191211 h 6757249"/>
              <a:gd name="connsiteX130" fmla="*/ 8822595 w 11951120"/>
              <a:gd name="connsiteY130" fmla="*/ 6193226 h 6757249"/>
              <a:gd name="connsiteX131" fmla="*/ 8821991 w 11951120"/>
              <a:gd name="connsiteY131" fmla="*/ 6189642 h 6757249"/>
              <a:gd name="connsiteX132" fmla="*/ 8269634 w 11951120"/>
              <a:gd name="connsiteY132" fmla="*/ 6184028 h 6757249"/>
              <a:gd name="connsiteX133" fmla="*/ 8269252 w 11951120"/>
              <a:gd name="connsiteY133" fmla="*/ 6186711 h 6757249"/>
              <a:gd name="connsiteX134" fmla="*/ 8269634 w 11951120"/>
              <a:gd name="connsiteY134" fmla="*/ 6186902 h 6757249"/>
              <a:gd name="connsiteX135" fmla="*/ 7315172 w 11951120"/>
              <a:gd name="connsiteY135" fmla="*/ 6121061 h 6757249"/>
              <a:gd name="connsiteX136" fmla="*/ 7312057 w 11951120"/>
              <a:gd name="connsiteY136" fmla="*/ 6124029 h 6757249"/>
              <a:gd name="connsiteX137" fmla="*/ 7316916 w 11951120"/>
              <a:gd name="connsiteY137" fmla="*/ 6130475 h 6757249"/>
              <a:gd name="connsiteX138" fmla="*/ 7317518 w 11951120"/>
              <a:gd name="connsiteY138" fmla="*/ 6129187 h 6757249"/>
              <a:gd name="connsiteX139" fmla="*/ 9624517 w 11951120"/>
              <a:gd name="connsiteY139" fmla="*/ 6110516 h 6757249"/>
              <a:gd name="connsiteX140" fmla="*/ 9610336 w 11951120"/>
              <a:gd name="connsiteY140" fmla="*/ 6124029 h 6757249"/>
              <a:gd name="connsiteX141" fmla="*/ 9615195 w 11951120"/>
              <a:gd name="connsiteY141" fmla="*/ 6130475 h 6757249"/>
              <a:gd name="connsiteX142" fmla="*/ 2784792 w 11951120"/>
              <a:gd name="connsiteY142" fmla="*/ 6106911 h 6757249"/>
              <a:gd name="connsiteX143" fmla="*/ 2779441 w 11951120"/>
              <a:gd name="connsiteY143" fmla="*/ 6111289 h 6757249"/>
              <a:gd name="connsiteX144" fmla="*/ 2779553 w 11951120"/>
              <a:gd name="connsiteY144" fmla="*/ 6111319 h 6757249"/>
              <a:gd name="connsiteX145" fmla="*/ 2780304 w 11951120"/>
              <a:gd name="connsiteY145" fmla="*/ 6111527 h 6757249"/>
              <a:gd name="connsiteX146" fmla="*/ 2782307 w 11951120"/>
              <a:gd name="connsiteY146" fmla="*/ 6114486 h 6757249"/>
              <a:gd name="connsiteX147" fmla="*/ 2784694 w 11951120"/>
              <a:gd name="connsiteY147" fmla="*/ 6107208 h 6757249"/>
              <a:gd name="connsiteX148" fmla="*/ 486512 w 11951120"/>
              <a:gd name="connsiteY148" fmla="*/ 6106911 h 6757249"/>
              <a:gd name="connsiteX149" fmla="*/ 481161 w 11951120"/>
              <a:gd name="connsiteY149" fmla="*/ 6111289 h 6757249"/>
              <a:gd name="connsiteX150" fmla="*/ 481274 w 11951120"/>
              <a:gd name="connsiteY150" fmla="*/ 6111319 h 6757249"/>
              <a:gd name="connsiteX151" fmla="*/ 482024 w 11951120"/>
              <a:gd name="connsiteY151" fmla="*/ 6111527 h 6757249"/>
              <a:gd name="connsiteX152" fmla="*/ 484027 w 11951120"/>
              <a:gd name="connsiteY152" fmla="*/ 6114486 h 6757249"/>
              <a:gd name="connsiteX153" fmla="*/ 486414 w 11951120"/>
              <a:gd name="connsiteY153" fmla="*/ 6107208 h 6757249"/>
              <a:gd name="connsiteX154" fmla="*/ 11178700 w 11951120"/>
              <a:gd name="connsiteY154" fmla="*/ 6092678 h 6757249"/>
              <a:gd name="connsiteX155" fmla="*/ 11176844 w 11951120"/>
              <a:gd name="connsiteY155" fmla="*/ 6093262 h 6757249"/>
              <a:gd name="connsiteX156" fmla="*/ 11178700 w 11951120"/>
              <a:gd name="connsiteY156" fmla="*/ 6096068 h 6757249"/>
              <a:gd name="connsiteX157" fmla="*/ 504441 w 11951120"/>
              <a:gd name="connsiteY157" fmla="*/ 6085325 h 6757249"/>
              <a:gd name="connsiteX158" fmla="*/ 504441 w 11951120"/>
              <a:gd name="connsiteY158" fmla="*/ 6087909 h 6757249"/>
              <a:gd name="connsiteX159" fmla="*/ 504441 w 11951120"/>
              <a:gd name="connsiteY159" fmla="*/ 6091235 h 6757249"/>
              <a:gd name="connsiteX160" fmla="*/ 507449 w 11951120"/>
              <a:gd name="connsiteY160" fmla="*/ 6088789 h 6757249"/>
              <a:gd name="connsiteX161" fmla="*/ 403025 w 11951120"/>
              <a:gd name="connsiteY161" fmla="*/ 6044800 h 6757249"/>
              <a:gd name="connsiteX162" fmla="*/ 410519 w 11951120"/>
              <a:gd name="connsiteY162" fmla="*/ 6115339 h 6757249"/>
              <a:gd name="connsiteX163" fmla="*/ 411071 w 11951120"/>
              <a:gd name="connsiteY163" fmla="*/ 6111527 h 6757249"/>
              <a:gd name="connsiteX164" fmla="*/ 411178 w 11951120"/>
              <a:gd name="connsiteY164" fmla="*/ 6111499 h 6757249"/>
              <a:gd name="connsiteX165" fmla="*/ 407404 w 11951120"/>
              <a:gd name="connsiteY165" fmla="*/ 6044800 h 6757249"/>
              <a:gd name="connsiteX166" fmla="*/ 10960051 w 11951120"/>
              <a:gd name="connsiteY166" fmla="*/ 6033899 h 6757249"/>
              <a:gd name="connsiteX167" fmla="*/ 10959722 w 11951120"/>
              <a:gd name="connsiteY167" fmla="*/ 6034203 h 6757249"/>
              <a:gd name="connsiteX168" fmla="*/ 10956781 w 11951120"/>
              <a:gd name="connsiteY168" fmla="*/ 6057954 h 6757249"/>
              <a:gd name="connsiteX169" fmla="*/ 10957046 w 11951120"/>
              <a:gd name="connsiteY169" fmla="*/ 6058105 h 6757249"/>
              <a:gd name="connsiteX170" fmla="*/ 1733395 w 11951120"/>
              <a:gd name="connsiteY170" fmla="*/ 6023351 h 6757249"/>
              <a:gd name="connsiteX171" fmla="*/ 1734834 w 11951120"/>
              <a:gd name="connsiteY171" fmla="*/ 6030492 h 6757249"/>
              <a:gd name="connsiteX172" fmla="*/ 1736236 w 11951120"/>
              <a:gd name="connsiteY172" fmla="*/ 6023351 h 6757249"/>
              <a:gd name="connsiteX173" fmla="*/ 1735974 w 11951120"/>
              <a:gd name="connsiteY173" fmla="*/ 6023351 h 6757249"/>
              <a:gd name="connsiteX174" fmla="*/ 10646103 w 11951120"/>
              <a:gd name="connsiteY174" fmla="*/ 6016482 h 6757249"/>
              <a:gd name="connsiteX175" fmla="*/ 10645480 w 11951120"/>
              <a:gd name="connsiteY175" fmla="*/ 6017070 h 6757249"/>
              <a:gd name="connsiteX176" fmla="*/ 10645808 w 11951120"/>
              <a:gd name="connsiteY176" fmla="*/ 6017287 h 6757249"/>
              <a:gd name="connsiteX177" fmla="*/ 10269636 w 11951120"/>
              <a:gd name="connsiteY177" fmla="*/ 5998367 h 6757249"/>
              <a:gd name="connsiteX178" fmla="*/ 10267993 w 11951120"/>
              <a:gd name="connsiteY178" fmla="*/ 6000416 h 6757249"/>
              <a:gd name="connsiteX179" fmla="*/ 10267028 w 11951120"/>
              <a:gd name="connsiteY179" fmla="*/ 6001419 h 6757249"/>
              <a:gd name="connsiteX180" fmla="*/ 10268859 w 11951120"/>
              <a:gd name="connsiteY180" fmla="*/ 6002030 h 6757249"/>
              <a:gd name="connsiteX181" fmla="*/ 10268905 w 11951120"/>
              <a:gd name="connsiteY181" fmla="*/ 6001284 h 6757249"/>
              <a:gd name="connsiteX182" fmla="*/ 1179966 w 11951120"/>
              <a:gd name="connsiteY182" fmla="*/ 5982779 h 6757249"/>
              <a:gd name="connsiteX183" fmla="*/ 1179802 w 11951120"/>
              <a:gd name="connsiteY183" fmla="*/ 5982789 h 6757249"/>
              <a:gd name="connsiteX184" fmla="*/ 1176338 w 11951120"/>
              <a:gd name="connsiteY184" fmla="*/ 5993238 h 6757249"/>
              <a:gd name="connsiteX185" fmla="*/ 1176361 w 11951120"/>
              <a:gd name="connsiteY185" fmla="*/ 5993242 h 6757249"/>
              <a:gd name="connsiteX186" fmla="*/ 386114 w 11951120"/>
              <a:gd name="connsiteY186" fmla="*/ 5953136 h 6757249"/>
              <a:gd name="connsiteX187" fmla="*/ 382692 w 11951120"/>
              <a:gd name="connsiteY187" fmla="*/ 5955987 h 6757249"/>
              <a:gd name="connsiteX188" fmla="*/ 386114 w 11951120"/>
              <a:gd name="connsiteY188" fmla="*/ 5957416 h 6757249"/>
              <a:gd name="connsiteX189" fmla="*/ 11275420 w 11951120"/>
              <a:gd name="connsiteY189" fmla="*/ 5949757 h 6757249"/>
              <a:gd name="connsiteX190" fmla="*/ 11275420 w 11951120"/>
              <a:gd name="connsiteY190" fmla="*/ 5952832 h 6757249"/>
              <a:gd name="connsiteX191" fmla="*/ 11275232 w 11951120"/>
              <a:gd name="connsiteY191" fmla="*/ 5953423 h 6757249"/>
              <a:gd name="connsiteX192" fmla="*/ 11275930 w 11951120"/>
              <a:gd name="connsiteY192" fmla="*/ 5952689 h 6757249"/>
              <a:gd name="connsiteX193" fmla="*/ 11277325 w 11951120"/>
              <a:gd name="connsiteY193" fmla="*/ 5952559 h 6757249"/>
              <a:gd name="connsiteX194" fmla="*/ 387783 w 11951120"/>
              <a:gd name="connsiteY194" fmla="*/ 5946486 h 6757249"/>
              <a:gd name="connsiteX195" fmla="*/ 387087 w 11951120"/>
              <a:gd name="connsiteY195" fmla="*/ 5947231 h 6757249"/>
              <a:gd name="connsiteX196" fmla="*/ 386273 w 11951120"/>
              <a:gd name="connsiteY196" fmla="*/ 5948588 h 6757249"/>
              <a:gd name="connsiteX197" fmla="*/ 386273 w 11951120"/>
              <a:gd name="connsiteY197" fmla="*/ 5951114 h 6757249"/>
              <a:gd name="connsiteX198" fmla="*/ 1323505 w 11951120"/>
              <a:gd name="connsiteY198" fmla="*/ 5926141 h 6757249"/>
              <a:gd name="connsiteX199" fmla="*/ 1320340 w 11951120"/>
              <a:gd name="connsiteY199" fmla="*/ 5926198 h 6757249"/>
              <a:gd name="connsiteX200" fmla="*/ 1323014 w 11951120"/>
              <a:gd name="connsiteY200" fmla="*/ 5932098 h 6757249"/>
              <a:gd name="connsiteX201" fmla="*/ 1324287 w 11951120"/>
              <a:gd name="connsiteY201" fmla="*/ 5926438 h 6757249"/>
              <a:gd name="connsiteX202" fmla="*/ 1323916 w 11951120"/>
              <a:gd name="connsiteY202" fmla="*/ 5926821 h 6757249"/>
              <a:gd name="connsiteX203" fmla="*/ 675701 w 11951120"/>
              <a:gd name="connsiteY203" fmla="*/ 5914425 h 6757249"/>
              <a:gd name="connsiteX204" fmla="*/ 674956 w 11951120"/>
              <a:gd name="connsiteY204" fmla="*/ 5917042 h 6757249"/>
              <a:gd name="connsiteX205" fmla="*/ 673818 w 11951120"/>
              <a:gd name="connsiteY205" fmla="*/ 5917818 h 6757249"/>
              <a:gd name="connsiteX206" fmla="*/ 675701 w 11951120"/>
              <a:gd name="connsiteY206" fmla="*/ 5917886 h 6757249"/>
              <a:gd name="connsiteX207" fmla="*/ 413855 w 11951120"/>
              <a:gd name="connsiteY207" fmla="*/ 5902303 h 6757249"/>
              <a:gd name="connsiteX208" fmla="*/ 412892 w 11951120"/>
              <a:gd name="connsiteY208" fmla="*/ 5902496 h 6757249"/>
              <a:gd name="connsiteX209" fmla="*/ 412696 w 11951120"/>
              <a:gd name="connsiteY209" fmla="*/ 5903279 h 6757249"/>
              <a:gd name="connsiteX210" fmla="*/ 382863 w 11951120"/>
              <a:gd name="connsiteY210" fmla="*/ 5900344 h 6757249"/>
              <a:gd name="connsiteX211" fmla="*/ 386116 w 11951120"/>
              <a:gd name="connsiteY211" fmla="*/ 5901428 h 6757249"/>
              <a:gd name="connsiteX212" fmla="*/ 386116 w 11951120"/>
              <a:gd name="connsiteY212" fmla="*/ 5901350 h 6757249"/>
              <a:gd name="connsiteX213" fmla="*/ 385109 w 11951120"/>
              <a:gd name="connsiteY213" fmla="*/ 5900344 h 6757249"/>
              <a:gd name="connsiteX214" fmla="*/ 440413 w 11951120"/>
              <a:gd name="connsiteY214" fmla="*/ 5886602 h 6757249"/>
              <a:gd name="connsiteX215" fmla="*/ 442425 w 11951120"/>
              <a:gd name="connsiteY215" fmla="*/ 5889618 h 6757249"/>
              <a:gd name="connsiteX216" fmla="*/ 433709 w 11951120"/>
              <a:gd name="connsiteY216" fmla="*/ 5898332 h 6757249"/>
              <a:gd name="connsiteX217" fmla="*/ 431194 w 11951120"/>
              <a:gd name="connsiteY217" fmla="*/ 5898835 h 6757249"/>
              <a:gd name="connsiteX218" fmla="*/ 432888 w 11951120"/>
              <a:gd name="connsiteY218" fmla="*/ 5899243 h 6757249"/>
              <a:gd name="connsiteX219" fmla="*/ 434380 w 11951120"/>
              <a:gd name="connsiteY219" fmla="*/ 5904170 h 6757249"/>
              <a:gd name="connsiteX220" fmla="*/ 434582 w 11951120"/>
              <a:gd name="connsiteY220" fmla="*/ 5904840 h 6757249"/>
              <a:gd name="connsiteX221" fmla="*/ 445105 w 11951120"/>
              <a:gd name="connsiteY221" fmla="*/ 5894687 h 6757249"/>
              <a:gd name="connsiteX222" fmla="*/ 455830 w 11951120"/>
              <a:gd name="connsiteY222" fmla="*/ 5900680 h 6757249"/>
              <a:gd name="connsiteX223" fmla="*/ 455830 w 11951120"/>
              <a:gd name="connsiteY223" fmla="*/ 5901683 h 6757249"/>
              <a:gd name="connsiteX224" fmla="*/ 456499 w 11951120"/>
              <a:gd name="connsiteY224" fmla="*/ 5900680 h 6757249"/>
              <a:gd name="connsiteX225" fmla="*/ 457842 w 11951120"/>
              <a:gd name="connsiteY225" fmla="*/ 5900008 h 6757249"/>
              <a:gd name="connsiteX226" fmla="*/ 455829 w 11951120"/>
              <a:gd name="connsiteY226" fmla="*/ 5900008 h 6757249"/>
              <a:gd name="connsiteX227" fmla="*/ 455829 w 11951120"/>
              <a:gd name="connsiteY227" fmla="*/ 5886602 h 6757249"/>
              <a:gd name="connsiteX228" fmla="*/ 11061478 w 11951120"/>
              <a:gd name="connsiteY228" fmla="*/ 5877265 h 6757249"/>
              <a:gd name="connsiteX229" fmla="*/ 11061064 w 11951120"/>
              <a:gd name="connsiteY229" fmla="*/ 5880197 h 6757249"/>
              <a:gd name="connsiteX230" fmla="*/ 11062253 w 11951120"/>
              <a:gd name="connsiteY230" fmla="*/ 5878557 h 6757249"/>
              <a:gd name="connsiteX231" fmla="*/ 11065388 w 11951120"/>
              <a:gd name="connsiteY231" fmla="*/ 5878815 h 6757249"/>
              <a:gd name="connsiteX232" fmla="*/ 11061986 w 11951120"/>
              <a:gd name="connsiteY232" fmla="*/ 5877265 h 6757249"/>
              <a:gd name="connsiteX233" fmla="*/ 503200 w 11951120"/>
              <a:gd name="connsiteY233" fmla="*/ 5854802 h 6757249"/>
              <a:gd name="connsiteX234" fmla="*/ 503085 w 11951120"/>
              <a:gd name="connsiteY234" fmla="*/ 5855150 h 6757249"/>
              <a:gd name="connsiteX235" fmla="*/ 503200 w 11951120"/>
              <a:gd name="connsiteY235" fmla="*/ 5855171 h 6757249"/>
              <a:gd name="connsiteX236" fmla="*/ 793506 w 11951120"/>
              <a:gd name="connsiteY236" fmla="*/ 5851309 h 6757249"/>
              <a:gd name="connsiteX237" fmla="*/ 790825 w 11951120"/>
              <a:gd name="connsiteY237" fmla="*/ 5853304 h 6757249"/>
              <a:gd name="connsiteX238" fmla="*/ 793506 w 11951120"/>
              <a:gd name="connsiteY238" fmla="*/ 5854167 h 6757249"/>
              <a:gd name="connsiteX239" fmla="*/ 526775 w 11951120"/>
              <a:gd name="connsiteY239" fmla="*/ 5845158 h 6757249"/>
              <a:gd name="connsiteX240" fmla="*/ 525544 w 11951120"/>
              <a:gd name="connsiteY240" fmla="*/ 5851125 h 6757249"/>
              <a:gd name="connsiteX241" fmla="*/ 525672 w 11951120"/>
              <a:gd name="connsiteY241" fmla="*/ 5851125 h 6757249"/>
              <a:gd name="connsiteX242" fmla="*/ 526870 w 11951120"/>
              <a:gd name="connsiteY242" fmla="*/ 5845377 h 6757249"/>
              <a:gd name="connsiteX243" fmla="*/ 985923 w 11951120"/>
              <a:gd name="connsiteY243" fmla="*/ 5830294 h 6757249"/>
              <a:gd name="connsiteX244" fmla="*/ 986010 w 11951120"/>
              <a:gd name="connsiteY244" fmla="*/ 5831673 h 6757249"/>
              <a:gd name="connsiteX245" fmla="*/ 986618 w 11951120"/>
              <a:gd name="connsiteY245" fmla="*/ 5830294 h 6757249"/>
              <a:gd name="connsiteX246" fmla="*/ 481159 w 11951120"/>
              <a:gd name="connsiteY246" fmla="*/ 5826915 h 6757249"/>
              <a:gd name="connsiteX247" fmla="*/ 478180 w 11951120"/>
              <a:gd name="connsiteY247" fmla="*/ 5830668 h 6757249"/>
              <a:gd name="connsiteX248" fmla="*/ 482107 w 11951120"/>
              <a:gd name="connsiteY248" fmla="*/ 5830293 h 6757249"/>
              <a:gd name="connsiteX249" fmla="*/ 482642 w 11951120"/>
              <a:gd name="connsiteY249" fmla="*/ 5833536 h 6757249"/>
              <a:gd name="connsiteX250" fmla="*/ 482642 w 11951120"/>
              <a:gd name="connsiteY250" fmla="*/ 5830293 h 6757249"/>
              <a:gd name="connsiteX251" fmla="*/ 483206 w 11951120"/>
              <a:gd name="connsiteY251" fmla="*/ 5830293 h 6757249"/>
              <a:gd name="connsiteX252" fmla="*/ 482080 w 11951120"/>
              <a:gd name="connsiteY252" fmla="*/ 5829538 h 6757249"/>
              <a:gd name="connsiteX253" fmla="*/ 10847305 w 11951120"/>
              <a:gd name="connsiteY253" fmla="*/ 5762498 h 6757249"/>
              <a:gd name="connsiteX254" fmla="*/ 10847308 w 11951120"/>
              <a:gd name="connsiteY254" fmla="*/ 5762562 h 6757249"/>
              <a:gd name="connsiteX255" fmla="*/ 10847382 w 11951120"/>
              <a:gd name="connsiteY255" fmla="*/ 5762535 h 6757249"/>
              <a:gd name="connsiteX256" fmla="*/ 11065417 w 11951120"/>
              <a:gd name="connsiteY256" fmla="*/ 5757394 h 6757249"/>
              <a:gd name="connsiteX257" fmla="*/ 11064864 w 11951120"/>
              <a:gd name="connsiteY257" fmla="*/ 5760872 h 6757249"/>
              <a:gd name="connsiteX258" fmla="*/ 11065940 w 11951120"/>
              <a:gd name="connsiteY258" fmla="*/ 5759377 h 6757249"/>
              <a:gd name="connsiteX259" fmla="*/ 11066707 w 11951120"/>
              <a:gd name="connsiteY259" fmla="*/ 5757620 h 6757249"/>
              <a:gd name="connsiteX260" fmla="*/ 11066428 w 11951120"/>
              <a:gd name="connsiteY260" fmla="*/ 5757895 h 6757249"/>
              <a:gd name="connsiteX261" fmla="*/ 440239 w 11951120"/>
              <a:gd name="connsiteY261" fmla="*/ 5756554 h 6757249"/>
              <a:gd name="connsiteX262" fmla="*/ 435062 w 11951120"/>
              <a:gd name="connsiteY262" fmla="*/ 5757573 h 6757249"/>
              <a:gd name="connsiteX263" fmla="*/ 435018 w 11951120"/>
              <a:gd name="connsiteY263" fmla="*/ 5757661 h 6757249"/>
              <a:gd name="connsiteX264" fmla="*/ 434702 w 11951120"/>
              <a:gd name="connsiteY264" fmla="*/ 5757644 h 6757249"/>
              <a:gd name="connsiteX265" fmla="*/ 433937 w 11951120"/>
              <a:gd name="connsiteY265" fmla="*/ 5757794 h 6757249"/>
              <a:gd name="connsiteX266" fmla="*/ 435378 w 11951120"/>
              <a:gd name="connsiteY266" fmla="*/ 5766276 h 6757249"/>
              <a:gd name="connsiteX267" fmla="*/ 438133 w 11951120"/>
              <a:gd name="connsiteY267" fmla="*/ 5758676 h 6757249"/>
              <a:gd name="connsiteX268" fmla="*/ 438905 w 11951120"/>
              <a:gd name="connsiteY268" fmla="*/ 5757897 h 6757249"/>
              <a:gd name="connsiteX269" fmla="*/ 434898 w 11951120"/>
              <a:gd name="connsiteY269" fmla="*/ 5757897 h 6757249"/>
              <a:gd name="connsiteX270" fmla="*/ 435018 w 11951120"/>
              <a:gd name="connsiteY270" fmla="*/ 5757661 h 6757249"/>
              <a:gd name="connsiteX271" fmla="*/ 438925 w 11951120"/>
              <a:gd name="connsiteY271" fmla="*/ 5757877 h 6757249"/>
              <a:gd name="connsiteX272" fmla="*/ 456435 w 11951120"/>
              <a:gd name="connsiteY272" fmla="*/ 5752247 h 6757249"/>
              <a:gd name="connsiteX273" fmla="*/ 456123 w 11951120"/>
              <a:gd name="connsiteY273" fmla="*/ 5752641 h 6757249"/>
              <a:gd name="connsiteX274" fmla="*/ 456325 w 11951120"/>
              <a:gd name="connsiteY274" fmla="*/ 5752703 h 6757249"/>
              <a:gd name="connsiteX275" fmla="*/ 11516742 w 11951120"/>
              <a:gd name="connsiteY275" fmla="*/ 5655347 h 6757249"/>
              <a:gd name="connsiteX276" fmla="*/ 11516742 w 11951120"/>
              <a:gd name="connsiteY276" fmla="*/ 5657013 h 6757249"/>
              <a:gd name="connsiteX277" fmla="*/ 11515329 w 11951120"/>
              <a:gd name="connsiteY277" fmla="*/ 5657790 h 6757249"/>
              <a:gd name="connsiteX278" fmla="*/ 11516788 w 11951120"/>
              <a:gd name="connsiteY278" fmla="*/ 5659166 h 6757249"/>
              <a:gd name="connsiteX279" fmla="*/ 11517075 w 11951120"/>
              <a:gd name="connsiteY279" fmla="*/ 5657883 h 6757249"/>
              <a:gd name="connsiteX280" fmla="*/ 10439906 w 11951120"/>
              <a:gd name="connsiteY280" fmla="*/ 5648132 h 6757249"/>
              <a:gd name="connsiteX281" fmla="*/ 10439166 w 11951120"/>
              <a:gd name="connsiteY281" fmla="*/ 5649044 h 6757249"/>
              <a:gd name="connsiteX282" fmla="*/ 10432795 w 11951120"/>
              <a:gd name="connsiteY282" fmla="*/ 5661826 h 6757249"/>
              <a:gd name="connsiteX283" fmla="*/ 10433479 w 11951120"/>
              <a:gd name="connsiteY283" fmla="*/ 5661369 h 6757249"/>
              <a:gd name="connsiteX284" fmla="*/ 10432812 w 11951120"/>
              <a:gd name="connsiteY284" fmla="*/ 5663402 h 6757249"/>
              <a:gd name="connsiteX285" fmla="*/ 10436193 w 11951120"/>
              <a:gd name="connsiteY285" fmla="*/ 5658881 h 6757249"/>
              <a:gd name="connsiteX286" fmla="*/ 10433479 w 11951120"/>
              <a:gd name="connsiteY286" fmla="*/ 5661369 h 6757249"/>
              <a:gd name="connsiteX287" fmla="*/ 11374235 w 11951120"/>
              <a:gd name="connsiteY287" fmla="*/ 5580423 h 6757249"/>
              <a:gd name="connsiteX288" fmla="*/ 11372843 w 11951120"/>
              <a:gd name="connsiteY288" fmla="*/ 5581920 h 6757249"/>
              <a:gd name="connsiteX289" fmla="*/ 11371681 w 11951120"/>
              <a:gd name="connsiteY289" fmla="*/ 5582148 h 6757249"/>
              <a:gd name="connsiteX290" fmla="*/ 11373775 w 11951120"/>
              <a:gd name="connsiteY290" fmla="*/ 5582884 h 6757249"/>
              <a:gd name="connsiteX291" fmla="*/ 1542350 w 11951120"/>
              <a:gd name="connsiteY291" fmla="*/ 5539696 h 6757249"/>
              <a:gd name="connsiteX292" fmla="*/ 1540212 w 11951120"/>
              <a:gd name="connsiteY292" fmla="*/ 5541658 h 6757249"/>
              <a:gd name="connsiteX293" fmla="*/ 1547285 w 11951120"/>
              <a:gd name="connsiteY293" fmla="*/ 5552362 h 6757249"/>
              <a:gd name="connsiteX294" fmla="*/ 580162 w 11951120"/>
              <a:gd name="connsiteY294" fmla="*/ 5511565 h 6757249"/>
              <a:gd name="connsiteX295" fmla="*/ 579520 w 11951120"/>
              <a:gd name="connsiteY295" fmla="*/ 5511702 h 6757249"/>
              <a:gd name="connsiteX296" fmla="*/ 579510 w 11951120"/>
              <a:gd name="connsiteY296" fmla="*/ 5511707 h 6757249"/>
              <a:gd name="connsiteX297" fmla="*/ 579880 w 11951120"/>
              <a:gd name="connsiteY297" fmla="*/ 5511972 h 6757249"/>
              <a:gd name="connsiteX298" fmla="*/ 11373929 w 11951120"/>
              <a:gd name="connsiteY298" fmla="*/ 5464554 h 6757249"/>
              <a:gd name="connsiteX299" fmla="*/ 11371948 w 11951120"/>
              <a:gd name="connsiteY299" fmla="*/ 5468525 h 6757249"/>
              <a:gd name="connsiteX300" fmla="*/ 11371723 w 11951120"/>
              <a:gd name="connsiteY300" fmla="*/ 5468751 h 6757249"/>
              <a:gd name="connsiteX301" fmla="*/ 11371370 w 11951120"/>
              <a:gd name="connsiteY301" fmla="*/ 5469440 h 6757249"/>
              <a:gd name="connsiteX302" fmla="*/ 11372843 w 11951120"/>
              <a:gd name="connsiteY302" fmla="*/ 5468310 h 6757249"/>
              <a:gd name="connsiteX303" fmla="*/ 11381628 w 11951120"/>
              <a:gd name="connsiteY303" fmla="*/ 5468310 h 6757249"/>
              <a:gd name="connsiteX304" fmla="*/ 262189 w 11951120"/>
              <a:gd name="connsiteY304" fmla="*/ 5464072 h 6757249"/>
              <a:gd name="connsiteX305" fmla="*/ 262189 w 11951120"/>
              <a:gd name="connsiteY305" fmla="*/ 5464768 h 6757249"/>
              <a:gd name="connsiteX306" fmla="*/ 263463 w 11951120"/>
              <a:gd name="connsiteY306" fmla="*/ 5467947 h 6757249"/>
              <a:gd name="connsiteX307" fmla="*/ 263463 w 11951120"/>
              <a:gd name="connsiteY307" fmla="*/ 5465437 h 6757249"/>
              <a:gd name="connsiteX308" fmla="*/ 265297 w 11951120"/>
              <a:gd name="connsiteY308" fmla="*/ 5464485 h 6757249"/>
              <a:gd name="connsiteX309" fmla="*/ 9832971 w 11951120"/>
              <a:gd name="connsiteY309" fmla="*/ 5463969 h 6757249"/>
              <a:gd name="connsiteX310" fmla="*/ 9825829 w 11951120"/>
              <a:gd name="connsiteY310" fmla="*/ 5470695 h 6757249"/>
              <a:gd name="connsiteX311" fmla="*/ 9831333 w 11951120"/>
              <a:gd name="connsiteY311" fmla="*/ 5468542 h 6757249"/>
              <a:gd name="connsiteX312" fmla="*/ 1421113 w 11951120"/>
              <a:gd name="connsiteY312" fmla="*/ 5366999 h 6757249"/>
              <a:gd name="connsiteX313" fmla="*/ 1413564 w 11951120"/>
              <a:gd name="connsiteY313" fmla="*/ 5374597 h 6757249"/>
              <a:gd name="connsiteX314" fmla="*/ 1415421 w 11951120"/>
              <a:gd name="connsiteY314" fmla="*/ 5373905 h 6757249"/>
              <a:gd name="connsiteX315" fmla="*/ 1421113 w 11951120"/>
              <a:gd name="connsiteY315" fmla="*/ 5370086 h 6757249"/>
              <a:gd name="connsiteX316" fmla="*/ 10125627 w 11951120"/>
              <a:gd name="connsiteY316" fmla="*/ 5342587 h 6757249"/>
              <a:gd name="connsiteX317" fmla="*/ 10123134 w 11951120"/>
              <a:gd name="connsiteY317" fmla="*/ 5344453 h 6757249"/>
              <a:gd name="connsiteX318" fmla="*/ 10119403 w 11951120"/>
              <a:gd name="connsiteY318" fmla="*/ 5350069 h 6757249"/>
              <a:gd name="connsiteX319" fmla="*/ 10116957 w 11951120"/>
              <a:gd name="connsiteY319" fmla="*/ 5352929 h 6757249"/>
              <a:gd name="connsiteX320" fmla="*/ 10113033 w 11951120"/>
              <a:gd name="connsiteY320" fmla="*/ 5358619 h 6757249"/>
              <a:gd name="connsiteX321" fmla="*/ 10123783 w 11951120"/>
              <a:gd name="connsiteY321" fmla="*/ 5345673 h 6757249"/>
              <a:gd name="connsiteX322" fmla="*/ 578477 w 11951120"/>
              <a:gd name="connsiteY322" fmla="*/ 5325100 h 6757249"/>
              <a:gd name="connsiteX323" fmla="*/ 574600 w 11951120"/>
              <a:gd name="connsiteY323" fmla="*/ 5327112 h 6757249"/>
              <a:gd name="connsiteX324" fmla="*/ 576911 w 11951120"/>
              <a:gd name="connsiteY324" fmla="*/ 5332723 h 6757249"/>
              <a:gd name="connsiteX325" fmla="*/ 1853244 w 11951120"/>
              <a:gd name="connsiteY325" fmla="*/ 5247996 h 6757249"/>
              <a:gd name="connsiteX326" fmla="*/ 1853244 w 11951120"/>
              <a:gd name="connsiteY326" fmla="*/ 5248739 h 6757249"/>
              <a:gd name="connsiteX327" fmla="*/ 1854163 w 11951120"/>
              <a:gd name="connsiteY327" fmla="*/ 5249614 h 6757249"/>
              <a:gd name="connsiteX328" fmla="*/ 11512844 w 11951120"/>
              <a:gd name="connsiteY328" fmla="*/ 5243760 h 6757249"/>
              <a:gd name="connsiteX329" fmla="*/ 11511827 w 11951120"/>
              <a:gd name="connsiteY329" fmla="*/ 5249171 h 6757249"/>
              <a:gd name="connsiteX330" fmla="*/ 11511744 w 11951120"/>
              <a:gd name="connsiteY330" fmla="*/ 5249458 h 6757249"/>
              <a:gd name="connsiteX331" fmla="*/ 11512354 w 11951120"/>
              <a:gd name="connsiteY331" fmla="*/ 5248930 h 6757249"/>
              <a:gd name="connsiteX332" fmla="*/ 11517599 w 11951120"/>
              <a:gd name="connsiteY332" fmla="*/ 5247737 h 6757249"/>
              <a:gd name="connsiteX333" fmla="*/ 11517607 w 11951120"/>
              <a:gd name="connsiteY333" fmla="*/ 5102588 h 6757249"/>
              <a:gd name="connsiteX334" fmla="*/ 11516536 w 11951120"/>
              <a:gd name="connsiteY334" fmla="*/ 5103649 h 6757249"/>
              <a:gd name="connsiteX335" fmla="*/ 11514915 w 11951120"/>
              <a:gd name="connsiteY335" fmla="*/ 5103649 h 6757249"/>
              <a:gd name="connsiteX336" fmla="*/ 11516220 w 11951120"/>
              <a:gd name="connsiteY336" fmla="*/ 5104379 h 6757249"/>
              <a:gd name="connsiteX337" fmla="*/ 11519619 w 11951120"/>
              <a:gd name="connsiteY337" fmla="*/ 5106075 h 6757249"/>
              <a:gd name="connsiteX338" fmla="*/ 11520394 w 11951120"/>
              <a:gd name="connsiteY338" fmla="*/ 5104475 h 6757249"/>
              <a:gd name="connsiteX339" fmla="*/ 11180501 w 11951120"/>
              <a:gd name="connsiteY339" fmla="*/ 5066210 h 6757249"/>
              <a:gd name="connsiteX340" fmla="*/ 11180354 w 11951120"/>
              <a:gd name="connsiteY340" fmla="*/ 5067835 h 6757249"/>
              <a:gd name="connsiteX341" fmla="*/ 11180501 w 11951120"/>
              <a:gd name="connsiteY341" fmla="*/ 5067835 h 6757249"/>
              <a:gd name="connsiteX342" fmla="*/ 864008 w 11951120"/>
              <a:gd name="connsiteY342" fmla="*/ 4958856 h 6757249"/>
              <a:gd name="connsiteX343" fmla="*/ 868756 w 11951120"/>
              <a:gd name="connsiteY343" fmla="*/ 4967163 h 6757249"/>
              <a:gd name="connsiteX344" fmla="*/ 868756 w 11951120"/>
              <a:gd name="connsiteY344" fmla="*/ 4958856 h 6757249"/>
              <a:gd name="connsiteX345" fmla="*/ 868666 w 11951120"/>
              <a:gd name="connsiteY345" fmla="*/ 4958856 h 6757249"/>
              <a:gd name="connsiteX346" fmla="*/ 1246333 w 11951120"/>
              <a:gd name="connsiteY346" fmla="*/ 4937404 h 6757249"/>
              <a:gd name="connsiteX347" fmla="*/ 1247534 w 11951120"/>
              <a:gd name="connsiteY347" fmla="*/ 4943936 h 6757249"/>
              <a:gd name="connsiteX348" fmla="*/ 1252608 w 11951120"/>
              <a:gd name="connsiteY348" fmla="*/ 4937404 h 6757249"/>
              <a:gd name="connsiteX349" fmla="*/ 573880 w 11951120"/>
              <a:gd name="connsiteY349" fmla="*/ 4884823 h 6757249"/>
              <a:gd name="connsiteX350" fmla="*/ 570705 w 11951120"/>
              <a:gd name="connsiteY350" fmla="*/ 4885466 h 6757249"/>
              <a:gd name="connsiteX351" fmla="*/ 574026 w 11951120"/>
              <a:gd name="connsiteY351" fmla="*/ 4886552 h 6757249"/>
              <a:gd name="connsiteX352" fmla="*/ 11447026 w 11951120"/>
              <a:gd name="connsiteY352" fmla="*/ 4813892 h 6757249"/>
              <a:gd name="connsiteX353" fmla="*/ 11446835 w 11951120"/>
              <a:gd name="connsiteY353" fmla="*/ 4814064 h 6757249"/>
              <a:gd name="connsiteX354" fmla="*/ 11445837 w 11951120"/>
              <a:gd name="connsiteY354" fmla="*/ 4814064 h 6757249"/>
              <a:gd name="connsiteX355" fmla="*/ 11447026 w 11951120"/>
              <a:gd name="connsiteY355" fmla="*/ 4816466 h 6757249"/>
              <a:gd name="connsiteX356" fmla="*/ 870457 w 11951120"/>
              <a:gd name="connsiteY356" fmla="*/ 4810340 h 6757249"/>
              <a:gd name="connsiteX357" fmla="*/ 867053 w 11951120"/>
              <a:gd name="connsiteY357" fmla="*/ 4813795 h 6757249"/>
              <a:gd name="connsiteX358" fmla="*/ 866830 w 11951120"/>
              <a:gd name="connsiteY358" fmla="*/ 4816457 h 6757249"/>
              <a:gd name="connsiteX359" fmla="*/ 868666 w 11951120"/>
              <a:gd name="connsiteY359" fmla="*/ 4813593 h 6757249"/>
              <a:gd name="connsiteX360" fmla="*/ 1061813 w 11951120"/>
              <a:gd name="connsiteY360" fmla="*/ 4764502 h 6757249"/>
              <a:gd name="connsiteX361" fmla="*/ 1061365 w 11951120"/>
              <a:gd name="connsiteY361" fmla="*/ 4764953 h 6757249"/>
              <a:gd name="connsiteX362" fmla="*/ 1053747 w 11951120"/>
              <a:gd name="connsiteY362" fmla="*/ 4767982 h 6757249"/>
              <a:gd name="connsiteX363" fmla="*/ 1054577 w 11951120"/>
              <a:gd name="connsiteY363" fmla="*/ 4773470 h 6757249"/>
              <a:gd name="connsiteX364" fmla="*/ 1060473 w 11951120"/>
              <a:gd name="connsiteY364" fmla="*/ 4766499 h 6757249"/>
              <a:gd name="connsiteX365" fmla="*/ 1061813 w 11951120"/>
              <a:gd name="connsiteY365" fmla="*/ 4765746 h 6757249"/>
              <a:gd name="connsiteX366" fmla="*/ 1063578 w 11951120"/>
              <a:gd name="connsiteY366" fmla="*/ 4693945 h 6757249"/>
              <a:gd name="connsiteX367" fmla="*/ 1062020 w 11951120"/>
              <a:gd name="connsiteY367" fmla="*/ 4694737 h 6757249"/>
              <a:gd name="connsiteX368" fmla="*/ 1062145 w 11951120"/>
              <a:gd name="connsiteY368" fmla="*/ 4695681 h 6757249"/>
              <a:gd name="connsiteX369" fmla="*/ 551905 w 11951120"/>
              <a:gd name="connsiteY369" fmla="*/ 4690180 h 6757249"/>
              <a:gd name="connsiteX370" fmla="*/ 550688 w 11951120"/>
              <a:gd name="connsiteY370" fmla="*/ 4690291 h 6757249"/>
              <a:gd name="connsiteX371" fmla="*/ 556367 w 11951120"/>
              <a:gd name="connsiteY371" fmla="*/ 4698294 h 6757249"/>
              <a:gd name="connsiteX372" fmla="*/ 556745 w 11951120"/>
              <a:gd name="connsiteY372" fmla="*/ 4696419 h 6757249"/>
              <a:gd name="connsiteX373" fmla="*/ 558509 w 11951120"/>
              <a:gd name="connsiteY373" fmla="*/ 4696002 h 6757249"/>
              <a:gd name="connsiteX374" fmla="*/ 557124 w 11951120"/>
              <a:gd name="connsiteY374" fmla="*/ 4695340 h 6757249"/>
              <a:gd name="connsiteX375" fmla="*/ 1777970 w 11951120"/>
              <a:gd name="connsiteY375" fmla="*/ 4650028 h 6757249"/>
              <a:gd name="connsiteX376" fmla="*/ 1777170 w 11951120"/>
              <a:gd name="connsiteY376" fmla="*/ 4650864 h 6757249"/>
              <a:gd name="connsiteX377" fmla="*/ 1778047 w 11951120"/>
              <a:gd name="connsiteY377" fmla="*/ 4650150 h 6757249"/>
              <a:gd name="connsiteX378" fmla="*/ 11495650 w 11951120"/>
              <a:gd name="connsiteY378" fmla="*/ 4554954 h 6757249"/>
              <a:gd name="connsiteX379" fmla="*/ 11496175 w 11951120"/>
              <a:gd name="connsiteY379" fmla="*/ 4556624 h 6757249"/>
              <a:gd name="connsiteX380" fmla="*/ 11496148 w 11951120"/>
              <a:gd name="connsiteY380" fmla="*/ 4554954 h 6757249"/>
              <a:gd name="connsiteX381" fmla="*/ 11709774 w 11951120"/>
              <a:gd name="connsiteY381" fmla="*/ 4550056 h 6757249"/>
              <a:gd name="connsiteX382" fmla="*/ 11709439 w 11951120"/>
              <a:gd name="connsiteY382" fmla="*/ 4551415 h 6757249"/>
              <a:gd name="connsiteX383" fmla="*/ 11709797 w 11951120"/>
              <a:gd name="connsiteY383" fmla="*/ 4551292 h 6757249"/>
              <a:gd name="connsiteX384" fmla="*/ 11709544 w 11951120"/>
              <a:gd name="connsiteY384" fmla="*/ 4552025 h 6757249"/>
              <a:gd name="connsiteX385" fmla="*/ 11710316 w 11951120"/>
              <a:gd name="connsiteY385" fmla="*/ 4551099 h 6757249"/>
              <a:gd name="connsiteX386" fmla="*/ 11711019 w 11951120"/>
              <a:gd name="connsiteY386" fmla="*/ 4550694 h 6757249"/>
              <a:gd name="connsiteX387" fmla="*/ 797528 w 11951120"/>
              <a:gd name="connsiteY387" fmla="*/ 4501923 h 6757249"/>
              <a:gd name="connsiteX388" fmla="*/ 797798 w 11951120"/>
              <a:gd name="connsiteY388" fmla="*/ 4502508 h 6757249"/>
              <a:gd name="connsiteX389" fmla="*/ 797935 w 11951120"/>
              <a:gd name="connsiteY389" fmla="*/ 4502335 h 6757249"/>
              <a:gd name="connsiteX390" fmla="*/ 11583001 w 11951120"/>
              <a:gd name="connsiteY390" fmla="*/ 4495768 h 6757249"/>
              <a:gd name="connsiteX391" fmla="*/ 11582652 w 11951120"/>
              <a:gd name="connsiteY391" fmla="*/ 4496672 h 6757249"/>
              <a:gd name="connsiteX392" fmla="*/ 11582909 w 11951120"/>
              <a:gd name="connsiteY392" fmla="*/ 4496719 h 6757249"/>
              <a:gd name="connsiteX393" fmla="*/ 11583106 w 11951120"/>
              <a:gd name="connsiteY393" fmla="*/ 4496748 h 6757249"/>
              <a:gd name="connsiteX394" fmla="*/ 11442720 w 11951120"/>
              <a:gd name="connsiteY394" fmla="*/ 4482344 h 6757249"/>
              <a:gd name="connsiteX395" fmla="*/ 11440315 w 11951120"/>
              <a:gd name="connsiteY395" fmla="*/ 4501378 h 6757249"/>
              <a:gd name="connsiteX396" fmla="*/ 11446083 w 11951120"/>
              <a:gd name="connsiteY396" fmla="*/ 4502334 h 6757249"/>
              <a:gd name="connsiteX397" fmla="*/ 888945 w 11951120"/>
              <a:gd name="connsiteY397" fmla="*/ 4453782 h 6757249"/>
              <a:gd name="connsiteX398" fmla="*/ 889252 w 11951120"/>
              <a:gd name="connsiteY398" fmla="*/ 4454235 h 6757249"/>
              <a:gd name="connsiteX399" fmla="*/ 889469 w 11951120"/>
              <a:gd name="connsiteY399" fmla="*/ 4453882 h 6757249"/>
              <a:gd name="connsiteX400" fmla="*/ 892853 w 11951120"/>
              <a:gd name="connsiteY400" fmla="*/ 4265588 h 6757249"/>
              <a:gd name="connsiteX401" fmla="*/ 892889 w 11951120"/>
              <a:gd name="connsiteY401" fmla="*/ 4265808 h 6757249"/>
              <a:gd name="connsiteX402" fmla="*/ 892554 w 11951120"/>
              <a:gd name="connsiteY402" fmla="*/ 4267510 h 6757249"/>
              <a:gd name="connsiteX403" fmla="*/ 893401 w 11951120"/>
              <a:gd name="connsiteY403" fmla="*/ 4266032 h 6757249"/>
              <a:gd name="connsiteX404" fmla="*/ 11490245 w 11951120"/>
              <a:gd name="connsiteY404" fmla="*/ 4209885 h 6757249"/>
              <a:gd name="connsiteX405" fmla="*/ 11487753 w 11951120"/>
              <a:gd name="connsiteY405" fmla="*/ 4217675 h 6757249"/>
              <a:gd name="connsiteX406" fmla="*/ 11490707 w 11951120"/>
              <a:gd name="connsiteY406" fmla="*/ 4218792 h 6757249"/>
              <a:gd name="connsiteX407" fmla="*/ 11490442 w 11951120"/>
              <a:gd name="connsiteY407" fmla="*/ 4213024 h 6757249"/>
              <a:gd name="connsiteX408" fmla="*/ 11492197 w 11951120"/>
              <a:gd name="connsiteY408" fmla="*/ 4212281 h 6757249"/>
              <a:gd name="connsiteX409" fmla="*/ 11490408 w 11951120"/>
              <a:gd name="connsiteY409" fmla="*/ 4212281 h 6757249"/>
              <a:gd name="connsiteX410" fmla="*/ 11490442 w 11951120"/>
              <a:gd name="connsiteY410" fmla="*/ 4213024 h 6757249"/>
              <a:gd name="connsiteX411" fmla="*/ 11490245 w 11951120"/>
              <a:gd name="connsiteY411" fmla="*/ 4213106 h 6757249"/>
              <a:gd name="connsiteX412" fmla="*/ 11490245 w 11951120"/>
              <a:gd name="connsiteY412" fmla="*/ 4212281 h 6757249"/>
              <a:gd name="connsiteX413" fmla="*/ 11489929 w 11951120"/>
              <a:gd name="connsiteY413" fmla="*/ 4212281 h 6757249"/>
              <a:gd name="connsiteX414" fmla="*/ 11490245 w 11951120"/>
              <a:gd name="connsiteY414" fmla="*/ 4210671 h 6757249"/>
              <a:gd name="connsiteX415" fmla="*/ 11490643 w 11951120"/>
              <a:gd name="connsiteY415" fmla="*/ 4208637 h 6757249"/>
              <a:gd name="connsiteX416" fmla="*/ 11490290 w 11951120"/>
              <a:gd name="connsiteY416" fmla="*/ 4209742 h 6757249"/>
              <a:gd name="connsiteX417" fmla="*/ 11490316 w 11951120"/>
              <a:gd name="connsiteY417" fmla="*/ 4210306 h 6757249"/>
              <a:gd name="connsiteX418" fmla="*/ 11065417 w 11951120"/>
              <a:gd name="connsiteY418" fmla="*/ 4195294 h 6757249"/>
              <a:gd name="connsiteX419" fmla="*/ 11064864 w 11951120"/>
              <a:gd name="connsiteY419" fmla="*/ 4198772 h 6757249"/>
              <a:gd name="connsiteX420" fmla="*/ 11065940 w 11951120"/>
              <a:gd name="connsiteY420" fmla="*/ 4197277 h 6757249"/>
              <a:gd name="connsiteX421" fmla="*/ 11066707 w 11951120"/>
              <a:gd name="connsiteY421" fmla="*/ 4195520 h 6757249"/>
              <a:gd name="connsiteX422" fmla="*/ 11066428 w 11951120"/>
              <a:gd name="connsiteY422" fmla="*/ 4195795 h 6757249"/>
              <a:gd name="connsiteX423" fmla="*/ 1013288 w 11951120"/>
              <a:gd name="connsiteY423" fmla="*/ 4183503 h 6757249"/>
              <a:gd name="connsiteX424" fmla="*/ 1013013 w 11951120"/>
              <a:gd name="connsiteY424" fmla="*/ 4185325 h 6757249"/>
              <a:gd name="connsiteX425" fmla="*/ 1012966 w 11951120"/>
              <a:gd name="connsiteY425" fmla="*/ 4185530 h 6757249"/>
              <a:gd name="connsiteX426" fmla="*/ 1014170 w 11951120"/>
              <a:gd name="connsiteY426" fmla="*/ 4184568 h 6757249"/>
              <a:gd name="connsiteX427" fmla="*/ 486513 w 11951120"/>
              <a:gd name="connsiteY427" fmla="*/ 4182861 h 6757249"/>
              <a:gd name="connsiteX428" fmla="*/ 481162 w 11951120"/>
              <a:gd name="connsiteY428" fmla="*/ 4187239 h 6757249"/>
              <a:gd name="connsiteX429" fmla="*/ 481275 w 11951120"/>
              <a:gd name="connsiteY429" fmla="*/ 4187269 h 6757249"/>
              <a:gd name="connsiteX430" fmla="*/ 482025 w 11951120"/>
              <a:gd name="connsiteY430" fmla="*/ 4187477 h 6757249"/>
              <a:gd name="connsiteX431" fmla="*/ 484028 w 11951120"/>
              <a:gd name="connsiteY431" fmla="*/ 4190436 h 6757249"/>
              <a:gd name="connsiteX432" fmla="*/ 486415 w 11951120"/>
              <a:gd name="connsiteY432" fmla="*/ 4183158 h 6757249"/>
              <a:gd name="connsiteX433" fmla="*/ 504442 w 11951120"/>
              <a:gd name="connsiteY433" fmla="*/ 4161275 h 6757249"/>
              <a:gd name="connsiteX434" fmla="*/ 504442 w 11951120"/>
              <a:gd name="connsiteY434" fmla="*/ 4163859 h 6757249"/>
              <a:gd name="connsiteX435" fmla="*/ 504442 w 11951120"/>
              <a:gd name="connsiteY435" fmla="*/ 4167185 h 6757249"/>
              <a:gd name="connsiteX436" fmla="*/ 507450 w 11951120"/>
              <a:gd name="connsiteY436" fmla="*/ 4164739 h 6757249"/>
              <a:gd name="connsiteX437" fmla="*/ 11584464 w 11951120"/>
              <a:gd name="connsiteY437" fmla="*/ 4139851 h 6757249"/>
              <a:gd name="connsiteX438" fmla="*/ 11587070 w 11951120"/>
              <a:gd name="connsiteY438" fmla="*/ 4141476 h 6757249"/>
              <a:gd name="connsiteX439" fmla="*/ 11587192 w 11951120"/>
              <a:gd name="connsiteY439" fmla="*/ 4140029 h 6757249"/>
              <a:gd name="connsiteX440" fmla="*/ 11688314 w 11951120"/>
              <a:gd name="connsiteY440" fmla="*/ 4136544 h 6757249"/>
              <a:gd name="connsiteX441" fmla="*/ 11687860 w 11951120"/>
              <a:gd name="connsiteY441" fmla="*/ 4137470 h 6757249"/>
              <a:gd name="connsiteX442" fmla="*/ 11687711 w 11951120"/>
              <a:gd name="connsiteY442" fmla="*/ 4138380 h 6757249"/>
              <a:gd name="connsiteX443" fmla="*/ 11688990 w 11951120"/>
              <a:gd name="connsiteY443" fmla="*/ 4138458 h 6757249"/>
              <a:gd name="connsiteX444" fmla="*/ 403026 w 11951120"/>
              <a:gd name="connsiteY444" fmla="*/ 4120750 h 6757249"/>
              <a:gd name="connsiteX445" fmla="*/ 410520 w 11951120"/>
              <a:gd name="connsiteY445" fmla="*/ 4191289 h 6757249"/>
              <a:gd name="connsiteX446" fmla="*/ 411072 w 11951120"/>
              <a:gd name="connsiteY446" fmla="*/ 4187477 h 6757249"/>
              <a:gd name="connsiteX447" fmla="*/ 411179 w 11951120"/>
              <a:gd name="connsiteY447" fmla="*/ 4187449 h 6757249"/>
              <a:gd name="connsiteX448" fmla="*/ 407405 w 11951120"/>
              <a:gd name="connsiteY448" fmla="*/ 4120750 h 6757249"/>
              <a:gd name="connsiteX449" fmla="*/ 386115 w 11951120"/>
              <a:gd name="connsiteY449" fmla="*/ 4029086 h 6757249"/>
              <a:gd name="connsiteX450" fmla="*/ 382693 w 11951120"/>
              <a:gd name="connsiteY450" fmla="*/ 4031937 h 6757249"/>
              <a:gd name="connsiteX451" fmla="*/ 386115 w 11951120"/>
              <a:gd name="connsiteY451" fmla="*/ 4033366 h 6757249"/>
              <a:gd name="connsiteX452" fmla="*/ 387784 w 11951120"/>
              <a:gd name="connsiteY452" fmla="*/ 4022436 h 6757249"/>
              <a:gd name="connsiteX453" fmla="*/ 387088 w 11951120"/>
              <a:gd name="connsiteY453" fmla="*/ 4023181 h 6757249"/>
              <a:gd name="connsiteX454" fmla="*/ 386274 w 11951120"/>
              <a:gd name="connsiteY454" fmla="*/ 4024538 h 6757249"/>
              <a:gd name="connsiteX455" fmla="*/ 386274 w 11951120"/>
              <a:gd name="connsiteY455" fmla="*/ 4027064 h 6757249"/>
              <a:gd name="connsiteX456" fmla="*/ 675702 w 11951120"/>
              <a:gd name="connsiteY456" fmla="*/ 3990375 h 6757249"/>
              <a:gd name="connsiteX457" fmla="*/ 674957 w 11951120"/>
              <a:gd name="connsiteY457" fmla="*/ 3992992 h 6757249"/>
              <a:gd name="connsiteX458" fmla="*/ 673819 w 11951120"/>
              <a:gd name="connsiteY458" fmla="*/ 3993768 h 6757249"/>
              <a:gd name="connsiteX459" fmla="*/ 675702 w 11951120"/>
              <a:gd name="connsiteY459" fmla="*/ 3993836 h 6757249"/>
              <a:gd name="connsiteX460" fmla="*/ 413856 w 11951120"/>
              <a:gd name="connsiteY460" fmla="*/ 3978253 h 6757249"/>
              <a:gd name="connsiteX461" fmla="*/ 412893 w 11951120"/>
              <a:gd name="connsiteY461" fmla="*/ 3978446 h 6757249"/>
              <a:gd name="connsiteX462" fmla="*/ 412697 w 11951120"/>
              <a:gd name="connsiteY462" fmla="*/ 3979229 h 6757249"/>
              <a:gd name="connsiteX463" fmla="*/ 382864 w 11951120"/>
              <a:gd name="connsiteY463" fmla="*/ 3976294 h 6757249"/>
              <a:gd name="connsiteX464" fmla="*/ 386117 w 11951120"/>
              <a:gd name="connsiteY464" fmla="*/ 3977378 h 6757249"/>
              <a:gd name="connsiteX465" fmla="*/ 386117 w 11951120"/>
              <a:gd name="connsiteY465" fmla="*/ 3977300 h 6757249"/>
              <a:gd name="connsiteX466" fmla="*/ 385110 w 11951120"/>
              <a:gd name="connsiteY466" fmla="*/ 3976294 h 6757249"/>
              <a:gd name="connsiteX467" fmla="*/ 440414 w 11951120"/>
              <a:gd name="connsiteY467" fmla="*/ 3962552 h 6757249"/>
              <a:gd name="connsiteX468" fmla="*/ 442426 w 11951120"/>
              <a:gd name="connsiteY468" fmla="*/ 3965568 h 6757249"/>
              <a:gd name="connsiteX469" fmla="*/ 433710 w 11951120"/>
              <a:gd name="connsiteY469" fmla="*/ 3974282 h 6757249"/>
              <a:gd name="connsiteX470" fmla="*/ 431195 w 11951120"/>
              <a:gd name="connsiteY470" fmla="*/ 3974785 h 6757249"/>
              <a:gd name="connsiteX471" fmla="*/ 432889 w 11951120"/>
              <a:gd name="connsiteY471" fmla="*/ 3975193 h 6757249"/>
              <a:gd name="connsiteX472" fmla="*/ 434381 w 11951120"/>
              <a:gd name="connsiteY472" fmla="*/ 3980120 h 6757249"/>
              <a:gd name="connsiteX473" fmla="*/ 434583 w 11951120"/>
              <a:gd name="connsiteY473" fmla="*/ 3980790 h 6757249"/>
              <a:gd name="connsiteX474" fmla="*/ 445106 w 11951120"/>
              <a:gd name="connsiteY474" fmla="*/ 3970637 h 6757249"/>
              <a:gd name="connsiteX475" fmla="*/ 455831 w 11951120"/>
              <a:gd name="connsiteY475" fmla="*/ 3976630 h 6757249"/>
              <a:gd name="connsiteX476" fmla="*/ 455831 w 11951120"/>
              <a:gd name="connsiteY476" fmla="*/ 3977633 h 6757249"/>
              <a:gd name="connsiteX477" fmla="*/ 456500 w 11951120"/>
              <a:gd name="connsiteY477" fmla="*/ 3976630 h 6757249"/>
              <a:gd name="connsiteX478" fmla="*/ 457843 w 11951120"/>
              <a:gd name="connsiteY478" fmla="*/ 3975958 h 6757249"/>
              <a:gd name="connsiteX479" fmla="*/ 455830 w 11951120"/>
              <a:gd name="connsiteY479" fmla="*/ 3975958 h 6757249"/>
              <a:gd name="connsiteX480" fmla="*/ 455830 w 11951120"/>
              <a:gd name="connsiteY480" fmla="*/ 3962552 h 6757249"/>
              <a:gd name="connsiteX481" fmla="*/ 503201 w 11951120"/>
              <a:gd name="connsiteY481" fmla="*/ 3930752 h 6757249"/>
              <a:gd name="connsiteX482" fmla="*/ 503086 w 11951120"/>
              <a:gd name="connsiteY482" fmla="*/ 3931100 h 6757249"/>
              <a:gd name="connsiteX483" fmla="*/ 503201 w 11951120"/>
              <a:gd name="connsiteY483" fmla="*/ 3931121 h 6757249"/>
              <a:gd name="connsiteX484" fmla="*/ 793507 w 11951120"/>
              <a:gd name="connsiteY484" fmla="*/ 3927259 h 6757249"/>
              <a:gd name="connsiteX485" fmla="*/ 790826 w 11951120"/>
              <a:gd name="connsiteY485" fmla="*/ 3929254 h 6757249"/>
              <a:gd name="connsiteX486" fmla="*/ 793507 w 11951120"/>
              <a:gd name="connsiteY486" fmla="*/ 3930117 h 6757249"/>
              <a:gd name="connsiteX487" fmla="*/ 526776 w 11951120"/>
              <a:gd name="connsiteY487" fmla="*/ 3921108 h 6757249"/>
              <a:gd name="connsiteX488" fmla="*/ 525545 w 11951120"/>
              <a:gd name="connsiteY488" fmla="*/ 3927075 h 6757249"/>
              <a:gd name="connsiteX489" fmla="*/ 525673 w 11951120"/>
              <a:gd name="connsiteY489" fmla="*/ 3927075 h 6757249"/>
              <a:gd name="connsiteX490" fmla="*/ 526871 w 11951120"/>
              <a:gd name="connsiteY490" fmla="*/ 3921327 h 6757249"/>
              <a:gd name="connsiteX491" fmla="*/ 985924 w 11951120"/>
              <a:gd name="connsiteY491" fmla="*/ 3906244 h 6757249"/>
              <a:gd name="connsiteX492" fmla="*/ 986011 w 11951120"/>
              <a:gd name="connsiteY492" fmla="*/ 3907623 h 6757249"/>
              <a:gd name="connsiteX493" fmla="*/ 986619 w 11951120"/>
              <a:gd name="connsiteY493" fmla="*/ 3906244 h 6757249"/>
              <a:gd name="connsiteX494" fmla="*/ 481160 w 11951120"/>
              <a:gd name="connsiteY494" fmla="*/ 3902865 h 6757249"/>
              <a:gd name="connsiteX495" fmla="*/ 478181 w 11951120"/>
              <a:gd name="connsiteY495" fmla="*/ 3906618 h 6757249"/>
              <a:gd name="connsiteX496" fmla="*/ 482108 w 11951120"/>
              <a:gd name="connsiteY496" fmla="*/ 3906243 h 6757249"/>
              <a:gd name="connsiteX497" fmla="*/ 482643 w 11951120"/>
              <a:gd name="connsiteY497" fmla="*/ 3909486 h 6757249"/>
              <a:gd name="connsiteX498" fmla="*/ 482643 w 11951120"/>
              <a:gd name="connsiteY498" fmla="*/ 3906243 h 6757249"/>
              <a:gd name="connsiteX499" fmla="*/ 483207 w 11951120"/>
              <a:gd name="connsiteY499" fmla="*/ 3906243 h 6757249"/>
              <a:gd name="connsiteX500" fmla="*/ 482081 w 11951120"/>
              <a:gd name="connsiteY500" fmla="*/ 3905488 h 6757249"/>
              <a:gd name="connsiteX501" fmla="*/ 11373929 w 11951120"/>
              <a:gd name="connsiteY501" fmla="*/ 3902454 h 6757249"/>
              <a:gd name="connsiteX502" fmla="*/ 11371948 w 11951120"/>
              <a:gd name="connsiteY502" fmla="*/ 3906425 h 6757249"/>
              <a:gd name="connsiteX503" fmla="*/ 11371723 w 11951120"/>
              <a:gd name="connsiteY503" fmla="*/ 3906651 h 6757249"/>
              <a:gd name="connsiteX504" fmla="*/ 11371370 w 11951120"/>
              <a:gd name="connsiteY504" fmla="*/ 3907340 h 6757249"/>
              <a:gd name="connsiteX505" fmla="*/ 11372843 w 11951120"/>
              <a:gd name="connsiteY505" fmla="*/ 3906210 h 6757249"/>
              <a:gd name="connsiteX506" fmla="*/ 11381628 w 11951120"/>
              <a:gd name="connsiteY506" fmla="*/ 3906210 h 6757249"/>
              <a:gd name="connsiteX507" fmla="*/ 440240 w 11951120"/>
              <a:gd name="connsiteY507" fmla="*/ 3832504 h 6757249"/>
              <a:gd name="connsiteX508" fmla="*/ 435063 w 11951120"/>
              <a:gd name="connsiteY508" fmla="*/ 3833523 h 6757249"/>
              <a:gd name="connsiteX509" fmla="*/ 435019 w 11951120"/>
              <a:gd name="connsiteY509" fmla="*/ 3833611 h 6757249"/>
              <a:gd name="connsiteX510" fmla="*/ 434703 w 11951120"/>
              <a:gd name="connsiteY510" fmla="*/ 3833594 h 6757249"/>
              <a:gd name="connsiteX511" fmla="*/ 433938 w 11951120"/>
              <a:gd name="connsiteY511" fmla="*/ 3833744 h 6757249"/>
              <a:gd name="connsiteX512" fmla="*/ 435379 w 11951120"/>
              <a:gd name="connsiteY512" fmla="*/ 3842226 h 6757249"/>
              <a:gd name="connsiteX513" fmla="*/ 438134 w 11951120"/>
              <a:gd name="connsiteY513" fmla="*/ 3834626 h 6757249"/>
              <a:gd name="connsiteX514" fmla="*/ 438906 w 11951120"/>
              <a:gd name="connsiteY514" fmla="*/ 3833847 h 6757249"/>
              <a:gd name="connsiteX515" fmla="*/ 434899 w 11951120"/>
              <a:gd name="connsiteY515" fmla="*/ 3833847 h 6757249"/>
              <a:gd name="connsiteX516" fmla="*/ 435019 w 11951120"/>
              <a:gd name="connsiteY516" fmla="*/ 3833611 h 6757249"/>
              <a:gd name="connsiteX517" fmla="*/ 438926 w 11951120"/>
              <a:gd name="connsiteY517" fmla="*/ 3833827 h 6757249"/>
              <a:gd name="connsiteX518" fmla="*/ 456436 w 11951120"/>
              <a:gd name="connsiteY518" fmla="*/ 3828197 h 6757249"/>
              <a:gd name="connsiteX519" fmla="*/ 456124 w 11951120"/>
              <a:gd name="connsiteY519" fmla="*/ 3828591 h 6757249"/>
              <a:gd name="connsiteX520" fmla="*/ 456326 w 11951120"/>
              <a:gd name="connsiteY520" fmla="*/ 3828653 h 6757249"/>
              <a:gd name="connsiteX521" fmla="*/ 10125627 w 11951120"/>
              <a:gd name="connsiteY521" fmla="*/ 3780487 h 6757249"/>
              <a:gd name="connsiteX522" fmla="*/ 10123134 w 11951120"/>
              <a:gd name="connsiteY522" fmla="*/ 3782353 h 6757249"/>
              <a:gd name="connsiteX523" fmla="*/ 10119403 w 11951120"/>
              <a:gd name="connsiteY523" fmla="*/ 3787969 h 6757249"/>
              <a:gd name="connsiteX524" fmla="*/ 10116957 w 11951120"/>
              <a:gd name="connsiteY524" fmla="*/ 3790829 h 6757249"/>
              <a:gd name="connsiteX525" fmla="*/ 10113033 w 11951120"/>
              <a:gd name="connsiteY525" fmla="*/ 3796519 h 6757249"/>
              <a:gd name="connsiteX526" fmla="*/ 10123783 w 11951120"/>
              <a:gd name="connsiteY526" fmla="*/ 3783573 h 6757249"/>
              <a:gd name="connsiteX527" fmla="*/ 11512844 w 11951120"/>
              <a:gd name="connsiteY527" fmla="*/ 3681660 h 6757249"/>
              <a:gd name="connsiteX528" fmla="*/ 11511827 w 11951120"/>
              <a:gd name="connsiteY528" fmla="*/ 3687071 h 6757249"/>
              <a:gd name="connsiteX529" fmla="*/ 11511744 w 11951120"/>
              <a:gd name="connsiteY529" fmla="*/ 3687358 h 6757249"/>
              <a:gd name="connsiteX530" fmla="*/ 11512354 w 11951120"/>
              <a:gd name="connsiteY530" fmla="*/ 3686830 h 6757249"/>
              <a:gd name="connsiteX531" fmla="*/ 11517599 w 11951120"/>
              <a:gd name="connsiteY531" fmla="*/ 3685637 h 6757249"/>
              <a:gd name="connsiteX532" fmla="*/ 1542351 w 11951120"/>
              <a:gd name="connsiteY532" fmla="*/ 3615646 h 6757249"/>
              <a:gd name="connsiteX533" fmla="*/ 1540213 w 11951120"/>
              <a:gd name="connsiteY533" fmla="*/ 3617608 h 6757249"/>
              <a:gd name="connsiteX534" fmla="*/ 1547286 w 11951120"/>
              <a:gd name="connsiteY534" fmla="*/ 3628312 h 6757249"/>
              <a:gd name="connsiteX535" fmla="*/ 580163 w 11951120"/>
              <a:gd name="connsiteY535" fmla="*/ 3587515 h 6757249"/>
              <a:gd name="connsiteX536" fmla="*/ 579521 w 11951120"/>
              <a:gd name="connsiteY536" fmla="*/ 3587652 h 6757249"/>
              <a:gd name="connsiteX537" fmla="*/ 579511 w 11951120"/>
              <a:gd name="connsiteY537" fmla="*/ 3587657 h 6757249"/>
              <a:gd name="connsiteX538" fmla="*/ 579881 w 11951120"/>
              <a:gd name="connsiteY538" fmla="*/ 3587922 h 6757249"/>
              <a:gd name="connsiteX539" fmla="*/ 11517607 w 11951120"/>
              <a:gd name="connsiteY539" fmla="*/ 3540488 h 6757249"/>
              <a:gd name="connsiteX540" fmla="*/ 11516536 w 11951120"/>
              <a:gd name="connsiteY540" fmla="*/ 3541549 h 6757249"/>
              <a:gd name="connsiteX541" fmla="*/ 11514915 w 11951120"/>
              <a:gd name="connsiteY541" fmla="*/ 3541549 h 6757249"/>
              <a:gd name="connsiteX542" fmla="*/ 11516220 w 11951120"/>
              <a:gd name="connsiteY542" fmla="*/ 3542279 h 6757249"/>
              <a:gd name="connsiteX543" fmla="*/ 11519619 w 11951120"/>
              <a:gd name="connsiteY543" fmla="*/ 3543975 h 6757249"/>
              <a:gd name="connsiteX544" fmla="*/ 11520394 w 11951120"/>
              <a:gd name="connsiteY544" fmla="*/ 3542375 h 6757249"/>
              <a:gd name="connsiteX545" fmla="*/ 262190 w 11951120"/>
              <a:gd name="connsiteY545" fmla="*/ 3540022 h 6757249"/>
              <a:gd name="connsiteX546" fmla="*/ 262190 w 11951120"/>
              <a:gd name="connsiteY546" fmla="*/ 3540718 h 6757249"/>
              <a:gd name="connsiteX547" fmla="*/ 263464 w 11951120"/>
              <a:gd name="connsiteY547" fmla="*/ 3543897 h 6757249"/>
              <a:gd name="connsiteX548" fmla="*/ 263464 w 11951120"/>
              <a:gd name="connsiteY548" fmla="*/ 3541387 h 6757249"/>
              <a:gd name="connsiteX549" fmla="*/ 265298 w 11951120"/>
              <a:gd name="connsiteY549" fmla="*/ 3540435 h 6757249"/>
              <a:gd name="connsiteX550" fmla="*/ 11180501 w 11951120"/>
              <a:gd name="connsiteY550" fmla="*/ 3504110 h 6757249"/>
              <a:gd name="connsiteX551" fmla="*/ 11180354 w 11951120"/>
              <a:gd name="connsiteY551" fmla="*/ 3505735 h 6757249"/>
              <a:gd name="connsiteX552" fmla="*/ 11180501 w 11951120"/>
              <a:gd name="connsiteY552" fmla="*/ 3505735 h 6757249"/>
              <a:gd name="connsiteX553" fmla="*/ 1421114 w 11951120"/>
              <a:gd name="connsiteY553" fmla="*/ 3442949 h 6757249"/>
              <a:gd name="connsiteX554" fmla="*/ 1413565 w 11951120"/>
              <a:gd name="connsiteY554" fmla="*/ 3450547 h 6757249"/>
              <a:gd name="connsiteX555" fmla="*/ 1415422 w 11951120"/>
              <a:gd name="connsiteY555" fmla="*/ 3449855 h 6757249"/>
              <a:gd name="connsiteX556" fmla="*/ 1421114 w 11951120"/>
              <a:gd name="connsiteY556" fmla="*/ 3446036 h 6757249"/>
              <a:gd name="connsiteX557" fmla="*/ 578478 w 11951120"/>
              <a:gd name="connsiteY557" fmla="*/ 3401050 h 6757249"/>
              <a:gd name="connsiteX558" fmla="*/ 574601 w 11951120"/>
              <a:gd name="connsiteY558" fmla="*/ 3403062 h 6757249"/>
              <a:gd name="connsiteX559" fmla="*/ 576912 w 11951120"/>
              <a:gd name="connsiteY559" fmla="*/ 3408673 h 6757249"/>
              <a:gd name="connsiteX560" fmla="*/ 1853245 w 11951120"/>
              <a:gd name="connsiteY560" fmla="*/ 3323946 h 6757249"/>
              <a:gd name="connsiteX561" fmla="*/ 1853245 w 11951120"/>
              <a:gd name="connsiteY561" fmla="*/ 3324689 h 6757249"/>
              <a:gd name="connsiteX562" fmla="*/ 1854164 w 11951120"/>
              <a:gd name="connsiteY562" fmla="*/ 3325564 h 6757249"/>
              <a:gd name="connsiteX563" fmla="*/ 11447026 w 11951120"/>
              <a:gd name="connsiteY563" fmla="*/ 3251792 h 6757249"/>
              <a:gd name="connsiteX564" fmla="*/ 11446835 w 11951120"/>
              <a:gd name="connsiteY564" fmla="*/ 3251964 h 6757249"/>
              <a:gd name="connsiteX565" fmla="*/ 11445837 w 11951120"/>
              <a:gd name="connsiteY565" fmla="*/ 3251964 h 6757249"/>
              <a:gd name="connsiteX566" fmla="*/ 11447026 w 11951120"/>
              <a:gd name="connsiteY566" fmla="*/ 3254366 h 6757249"/>
              <a:gd name="connsiteX567" fmla="*/ 864009 w 11951120"/>
              <a:gd name="connsiteY567" fmla="*/ 3034806 h 6757249"/>
              <a:gd name="connsiteX568" fmla="*/ 868757 w 11951120"/>
              <a:gd name="connsiteY568" fmla="*/ 3043113 h 6757249"/>
              <a:gd name="connsiteX569" fmla="*/ 868757 w 11951120"/>
              <a:gd name="connsiteY569" fmla="*/ 3034806 h 6757249"/>
              <a:gd name="connsiteX570" fmla="*/ 868667 w 11951120"/>
              <a:gd name="connsiteY570" fmla="*/ 3034806 h 6757249"/>
              <a:gd name="connsiteX571" fmla="*/ 1246334 w 11951120"/>
              <a:gd name="connsiteY571" fmla="*/ 3013354 h 6757249"/>
              <a:gd name="connsiteX572" fmla="*/ 1247535 w 11951120"/>
              <a:gd name="connsiteY572" fmla="*/ 3019886 h 6757249"/>
              <a:gd name="connsiteX573" fmla="*/ 1252609 w 11951120"/>
              <a:gd name="connsiteY573" fmla="*/ 3013354 h 6757249"/>
              <a:gd name="connsiteX574" fmla="*/ 10891872 w 11951120"/>
              <a:gd name="connsiteY574" fmla="*/ 3003900 h 6757249"/>
              <a:gd name="connsiteX575" fmla="*/ 10890350 w 11951120"/>
              <a:gd name="connsiteY575" fmla="*/ 3009152 h 6757249"/>
              <a:gd name="connsiteX576" fmla="*/ 10890698 w 11951120"/>
              <a:gd name="connsiteY576" fmla="*/ 3010563 h 6757249"/>
              <a:gd name="connsiteX577" fmla="*/ 10894679 w 11951120"/>
              <a:gd name="connsiteY577" fmla="*/ 3006582 h 6757249"/>
              <a:gd name="connsiteX578" fmla="*/ 11495650 w 11951120"/>
              <a:gd name="connsiteY578" fmla="*/ 2992854 h 6757249"/>
              <a:gd name="connsiteX579" fmla="*/ 11496175 w 11951120"/>
              <a:gd name="connsiteY579" fmla="*/ 2994524 h 6757249"/>
              <a:gd name="connsiteX580" fmla="*/ 11496148 w 11951120"/>
              <a:gd name="connsiteY580" fmla="*/ 2992854 h 6757249"/>
              <a:gd name="connsiteX581" fmla="*/ 11709774 w 11951120"/>
              <a:gd name="connsiteY581" fmla="*/ 2987956 h 6757249"/>
              <a:gd name="connsiteX582" fmla="*/ 11709439 w 11951120"/>
              <a:gd name="connsiteY582" fmla="*/ 2989315 h 6757249"/>
              <a:gd name="connsiteX583" fmla="*/ 11709797 w 11951120"/>
              <a:gd name="connsiteY583" fmla="*/ 2989192 h 6757249"/>
              <a:gd name="connsiteX584" fmla="*/ 11709544 w 11951120"/>
              <a:gd name="connsiteY584" fmla="*/ 2989925 h 6757249"/>
              <a:gd name="connsiteX585" fmla="*/ 11710316 w 11951120"/>
              <a:gd name="connsiteY585" fmla="*/ 2988999 h 6757249"/>
              <a:gd name="connsiteX586" fmla="*/ 11711019 w 11951120"/>
              <a:gd name="connsiteY586" fmla="*/ 2988594 h 6757249"/>
              <a:gd name="connsiteX587" fmla="*/ 573881 w 11951120"/>
              <a:gd name="connsiteY587" fmla="*/ 2960773 h 6757249"/>
              <a:gd name="connsiteX588" fmla="*/ 570706 w 11951120"/>
              <a:gd name="connsiteY588" fmla="*/ 2961416 h 6757249"/>
              <a:gd name="connsiteX589" fmla="*/ 574027 w 11951120"/>
              <a:gd name="connsiteY589" fmla="*/ 2962502 h 6757249"/>
              <a:gd name="connsiteX590" fmla="*/ 11583001 w 11951120"/>
              <a:gd name="connsiteY590" fmla="*/ 2933668 h 6757249"/>
              <a:gd name="connsiteX591" fmla="*/ 11582652 w 11951120"/>
              <a:gd name="connsiteY591" fmla="*/ 2934572 h 6757249"/>
              <a:gd name="connsiteX592" fmla="*/ 11582909 w 11951120"/>
              <a:gd name="connsiteY592" fmla="*/ 2934619 h 6757249"/>
              <a:gd name="connsiteX593" fmla="*/ 11583106 w 11951120"/>
              <a:gd name="connsiteY593" fmla="*/ 2934648 h 6757249"/>
              <a:gd name="connsiteX594" fmla="*/ 11442720 w 11951120"/>
              <a:gd name="connsiteY594" fmla="*/ 2920244 h 6757249"/>
              <a:gd name="connsiteX595" fmla="*/ 11440315 w 11951120"/>
              <a:gd name="connsiteY595" fmla="*/ 2939278 h 6757249"/>
              <a:gd name="connsiteX596" fmla="*/ 11446083 w 11951120"/>
              <a:gd name="connsiteY596" fmla="*/ 2940234 h 6757249"/>
              <a:gd name="connsiteX597" fmla="*/ 870458 w 11951120"/>
              <a:gd name="connsiteY597" fmla="*/ 2886290 h 6757249"/>
              <a:gd name="connsiteX598" fmla="*/ 867054 w 11951120"/>
              <a:gd name="connsiteY598" fmla="*/ 2889745 h 6757249"/>
              <a:gd name="connsiteX599" fmla="*/ 866831 w 11951120"/>
              <a:gd name="connsiteY599" fmla="*/ 2892407 h 6757249"/>
              <a:gd name="connsiteX600" fmla="*/ 868667 w 11951120"/>
              <a:gd name="connsiteY600" fmla="*/ 2889543 h 6757249"/>
              <a:gd name="connsiteX601" fmla="*/ 11269302 w 11951120"/>
              <a:gd name="connsiteY601" fmla="*/ 2880025 h 6757249"/>
              <a:gd name="connsiteX602" fmla="*/ 11276347 w 11951120"/>
              <a:gd name="connsiteY602" fmla="*/ 2896935 h 6757249"/>
              <a:gd name="connsiteX603" fmla="*/ 11276698 w 11951120"/>
              <a:gd name="connsiteY603" fmla="*/ 2896547 h 6757249"/>
              <a:gd name="connsiteX604" fmla="*/ 11280620 w 11951120"/>
              <a:gd name="connsiteY604" fmla="*/ 2888694 h 6757249"/>
              <a:gd name="connsiteX605" fmla="*/ 1061814 w 11951120"/>
              <a:gd name="connsiteY605" fmla="*/ 2840452 h 6757249"/>
              <a:gd name="connsiteX606" fmla="*/ 1061366 w 11951120"/>
              <a:gd name="connsiteY606" fmla="*/ 2840903 h 6757249"/>
              <a:gd name="connsiteX607" fmla="*/ 1053748 w 11951120"/>
              <a:gd name="connsiteY607" fmla="*/ 2843932 h 6757249"/>
              <a:gd name="connsiteX608" fmla="*/ 1054578 w 11951120"/>
              <a:gd name="connsiteY608" fmla="*/ 2849420 h 6757249"/>
              <a:gd name="connsiteX609" fmla="*/ 1060474 w 11951120"/>
              <a:gd name="connsiteY609" fmla="*/ 2842450 h 6757249"/>
              <a:gd name="connsiteX610" fmla="*/ 1061814 w 11951120"/>
              <a:gd name="connsiteY610" fmla="*/ 2841696 h 6757249"/>
              <a:gd name="connsiteX611" fmla="*/ 551906 w 11951120"/>
              <a:gd name="connsiteY611" fmla="*/ 2766130 h 6757249"/>
              <a:gd name="connsiteX612" fmla="*/ 550689 w 11951120"/>
              <a:gd name="connsiteY612" fmla="*/ 2766241 h 6757249"/>
              <a:gd name="connsiteX613" fmla="*/ 556368 w 11951120"/>
              <a:gd name="connsiteY613" fmla="*/ 2774244 h 6757249"/>
              <a:gd name="connsiteX614" fmla="*/ 556746 w 11951120"/>
              <a:gd name="connsiteY614" fmla="*/ 2772369 h 6757249"/>
              <a:gd name="connsiteX615" fmla="*/ 558510 w 11951120"/>
              <a:gd name="connsiteY615" fmla="*/ 2771952 h 6757249"/>
              <a:gd name="connsiteX616" fmla="*/ 557125 w 11951120"/>
              <a:gd name="connsiteY616" fmla="*/ 2771290 h 6757249"/>
              <a:gd name="connsiteX617" fmla="*/ 11160690 w 11951120"/>
              <a:gd name="connsiteY617" fmla="*/ 2747790 h 6757249"/>
              <a:gd name="connsiteX618" fmla="*/ 11160704 w 11951120"/>
              <a:gd name="connsiteY618" fmla="*/ 2747871 h 6757249"/>
              <a:gd name="connsiteX619" fmla="*/ 11161112 w 11951120"/>
              <a:gd name="connsiteY619" fmla="*/ 2747871 h 6757249"/>
              <a:gd name="connsiteX620" fmla="*/ 11181864 w 11951120"/>
              <a:gd name="connsiteY620" fmla="*/ 2730942 h 6757249"/>
              <a:gd name="connsiteX621" fmla="*/ 11175991 w 11951120"/>
              <a:gd name="connsiteY621" fmla="*/ 2747871 h 6757249"/>
              <a:gd name="connsiteX622" fmla="*/ 11178403 w 11951120"/>
              <a:gd name="connsiteY622" fmla="*/ 2747871 h 6757249"/>
              <a:gd name="connsiteX623" fmla="*/ 11186056 w 11951120"/>
              <a:gd name="connsiteY623" fmla="*/ 2755470 h 6757249"/>
              <a:gd name="connsiteX624" fmla="*/ 11188002 w 11951120"/>
              <a:gd name="connsiteY624" fmla="*/ 2751011 h 6757249"/>
              <a:gd name="connsiteX625" fmla="*/ 11187666 w 11951120"/>
              <a:gd name="connsiteY625" fmla="*/ 2750551 h 6757249"/>
              <a:gd name="connsiteX626" fmla="*/ 11178891 w 11951120"/>
              <a:gd name="connsiteY626" fmla="*/ 2746082 h 6757249"/>
              <a:gd name="connsiteX627" fmla="*/ 11156674 w 11951120"/>
              <a:gd name="connsiteY627" fmla="*/ 2688078 h 6757249"/>
              <a:gd name="connsiteX628" fmla="*/ 11118431 w 11951120"/>
              <a:gd name="connsiteY628" fmla="*/ 2723738 h 6757249"/>
              <a:gd name="connsiteX629" fmla="*/ 11156674 w 11951120"/>
              <a:gd name="connsiteY629" fmla="*/ 2723738 h 6757249"/>
              <a:gd name="connsiteX630" fmla="*/ 11490245 w 11951120"/>
              <a:gd name="connsiteY630" fmla="*/ 2647785 h 6757249"/>
              <a:gd name="connsiteX631" fmla="*/ 11487753 w 11951120"/>
              <a:gd name="connsiteY631" fmla="*/ 2655575 h 6757249"/>
              <a:gd name="connsiteX632" fmla="*/ 11490707 w 11951120"/>
              <a:gd name="connsiteY632" fmla="*/ 2656692 h 6757249"/>
              <a:gd name="connsiteX633" fmla="*/ 11490442 w 11951120"/>
              <a:gd name="connsiteY633" fmla="*/ 2650924 h 6757249"/>
              <a:gd name="connsiteX634" fmla="*/ 11492197 w 11951120"/>
              <a:gd name="connsiteY634" fmla="*/ 2650181 h 6757249"/>
              <a:gd name="connsiteX635" fmla="*/ 11490408 w 11951120"/>
              <a:gd name="connsiteY635" fmla="*/ 2650181 h 6757249"/>
              <a:gd name="connsiteX636" fmla="*/ 11490442 w 11951120"/>
              <a:gd name="connsiteY636" fmla="*/ 2650924 h 6757249"/>
              <a:gd name="connsiteX637" fmla="*/ 11490245 w 11951120"/>
              <a:gd name="connsiteY637" fmla="*/ 2651006 h 6757249"/>
              <a:gd name="connsiteX638" fmla="*/ 11490245 w 11951120"/>
              <a:gd name="connsiteY638" fmla="*/ 2650181 h 6757249"/>
              <a:gd name="connsiteX639" fmla="*/ 11489929 w 11951120"/>
              <a:gd name="connsiteY639" fmla="*/ 2650181 h 6757249"/>
              <a:gd name="connsiteX640" fmla="*/ 11490245 w 11951120"/>
              <a:gd name="connsiteY640" fmla="*/ 2648571 h 6757249"/>
              <a:gd name="connsiteX641" fmla="*/ 11490643 w 11951120"/>
              <a:gd name="connsiteY641" fmla="*/ 2646537 h 6757249"/>
              <a:gd name="connsiteX642" fmla="*/ 11490290 w 11951120"/>
              <a:gd name="connsiteY642" fmla="*/ 2647642 h 6757249"/>
              <a:gd name="connsiteX643" fmla="*/ 11490316 w 11951120"/>
              <a:gd name="connsiteY643" fmla="*/ 2648206 h 6757249"/>
              <a:gd name="connsiteX644" fmla="*/ 11584464 w 11951120"/>
              <a:gd name="connsiteY644" fmla="*/ 2577751 h 6757249"/>
              <a:gd name="connsiteX645" fmla="*/ 11587070 w 11951120"/>
              <a:gd name="connsiteY645" fmla="*/ 2579376 h 6757249"/>
              <a:gd name="connsiteX646" fmla="*/ 11587192 w 11951120"/>
              <a:gd name="connsiteY646" fmla="*/ 2577929 h 6757249"/>
              <a:gd name="connsiteX647" fmla="*/ 11688314 w 11951120"/>
              <a:gd name="connsiteY647" fmla="*/ 2574444 h 6757249"/>
              <a:gd name="connsiteX648" fmla="*/ 11687860 w 11951120"/>
              <a:gd name="connsiteY648" fmla="*/ 2575370 h 6757249"/>
              <a:gd name="connsiteX649" fmla="*/ 11687711 w 11951120"/>
              <a:gd name="connsiteY649" fmla="*/ 2576280 h 6757249"/>
              <a:gd name="connsiteX650" fmla="*/ 11688990 w 11951120"/>
              <a:gd name="connsiteY650" fmla="*/ 2576358 h 6757249"/>
              <a:gd name="connsiteX651" fmla="*/ 386116 w 11951120"/>
              <a:gd name="connsiteY651" fmla="*/ 2524136 h 6757249"/>
              <a:gd name="connsiteX652" fmla="*/ 382694 w 11951120"/>
              <a:gd name="connsiteY652" fmla="*/ 2526987 h 6757249"/>
              <a:gd name="connsiteX653" fmla="*/ 386116 w 11951120"/>
              <a:gd name="connsiteY653" fmla="*/ 2528416 h 6757249"/>
              <a:gd name="connsiteX654" fmla="*/ 387785 w 11951120"/>
              <a:gd name="connsiteY654" fmla="*/ 2517486 h 6757249"/>
              <a:gd name="connsiteX655" fmla="*/ 387089 w 11951120"/>
              <a:gd name="connsiteY655" fmla="*/ 2518231 h 6757249"/>
              <a:gd name="connsiteX656" fmla="*/ 386275 w 11951120"/>
              <a:gd name="connsiteY656" fmla="*/ 2519588 h 6757249"/>
              <a:gd name="connsiteX657" fmla="*/ 386275 w 11951120"/>
              <a:gd name="connsiteY657" fmla="*/ 2522114 h 6757249"/>
              <a:gd name="connsiteX658" fmla="*/ 413857 w 11951120"/>
              <a:gd name="connsiteY658" fmla="*/ 2473303 h 6757249"/>
              <a:gd name="connsiteX659" fmla="*/ 412894 w 11951120"/>
              <a:gd name="connsiteY659" fmla="*/ 2473496 h 6757249"/>
              <a:gd name="connsiteX660" fmla="*/ 412698 w 11951120"/>
              <a:gd name="connsiteY660" fmla="*/ 2474279 h 6757249"/>
              <a:gd name="connsiteX661" fmla="*/ 382865 w 11951120"/>
              <a:gd name="connsiteY661" fmla="*/ 2471344 h 6757249"/>
              <a:gd name="connsiteX662" fmla="*/ 386118 w 11951120"/>
              <a:gd name="connsiteY662" fmla="*/ 2472428 h 6757249"/>
              <a:gd name="connsiteX663" fmla="*/ 386118 w 11951120"/>
              <a:gd name="connsiteY663" fmla="*/ 2472350 h 6757249"/>
              <a:gd name="connsiteX664" fmla="*/ 385111 w 11951120"/>
              <a:gd name="connsiteY664" fmla="*/ 2471344 h 6757249"/>
              <a:gd name="connsiteX665" fmla="*/ 440415 w 11951120"/>
              <a:gd name="connsiteY665" fmla="*/ 2457602 h 6757249"/>
              <a:gd name="connsiteX666" fmla="*/ 442427 w 11951120"/>
              <a:gd name="connsiteY666" fmla="*/ 2460618 h 6757249"/>
              <a:gd name="connsiteX667" fmla="*/ 433711 w 11951120"/>
              <a:gd name="connsiteY667" fmla="*/ 2469332 h 6757249"/>
              <a:gd name="connsiteX668" fmla="*/ 431196 w 11951120"/>
              <a:gd name="connsiteY668" fmla="*/ 2469835 h 6757249"/>
              <a:gd name="connsiteX669" fmla="*/ 432890 w 11951120"/>
              <a:gd name="connsiteY669" fmla="*/ 2470243 h 6757249"/>
              <a:gd name="connsiteX670" fmla="*/ 434382 w 11951120"/>
              <a:gd name="connsiteY670" fmla="*/ 2475170 h 6757249"/>
              <a:gd name="connsiteX671" fmla="*/ 434584 w 11951120"/>
              <a:gd name="connsiteY671" fmla="*/ 2475840 h 6757249"/>
              <a:gd name="connsiteX672" fmla="*/ 445107 w 11951120"/>
              <a:gd name="connsiteY672" fmla="*/ 2465687 h 6757249"/>
              <a:gd name="connsiteX673" fmla="*/ 455832 w 11951120"/>
              <a:gd name="connsiteY673" fmla="*/ 2471680 h 6757249"/>
              <a:gd name="connsiteX674" fmla="*/ 455832 w 11951120"/>
              <a:gd name="connsiteY674" fmla="*/ 2472683 h 6757249"/>
              <a:gd name="connsiteX675" fmla="*/ 456501 w 11951120"/>
              <a:gd name="connsiteY675" fmla="*/ 2471680 h 6757249"/>
              <a:gd name="connsiteX676" fmla="*/ 457844 w 11951120"/>
              <a:gd name="connsiteY676" fmla="*/ 2471008 h 6757249"/>
              <a:gd name="connsiteX677" fmla="*/ 455831 w 11951120"/>
              <a:gd name="connsiteY677" fmla="*/ 2471008 h 6757249"/>
              <a:gd name="connsiteX678" fmla="*/ 455831 w 11951120"/>
              <a:gd name="connsiteY678" fmla="*/ 2457602 h 6757249"/>
              <a:gd name="connsiteX679" fmla="*/ 11061478 w 11951120"/>
              <a:gd name="connsiteY679" fmla="*/ 2448265 h 6757249"/>
              <a:gd name="connsiteX680" fmla="*/ 11061064 w 11951120"/>
              <a:gd name="connsiteY680" fmla="*/ 2451197 h 6757249"/>
              <a:gd name="connsiteX681" fmla="*/ 11062253 w 11951120"/>
              <a:gd name="connsiteY681" fmla="*/ 2449557 h 6757249"/>
              <a:gd name="connsiteX682" fmla="*/ 11065388 w 11951120"/>
              <a:gd name="connsiteY682" fmla="*/ 2449815 h 6757249"/>
              <a:gd name="connsiteX683" fmla="*/ 11061986 w 11951120"/>
              <a:gd name="connsiteY683" fmla="*/ 2448265 h 6757249"/>
              <a:gd name="connsiteX684" fmla="*/ 503202 w 11951120"/>
              <a:gd name="connsiteY684" fmla="*/ 2425802 h 6757249"/>
              <a:gd name="connsiteX685" fmla="*/ 503087 w 11951120"/>
              <a:gd name="connsiteY685" fmla="*/ 2426150 h 6757249"/>
              <a:gd name="connsiteX686" fmla="*/ 503202 w 11951120"/>
              <a:gd name="connsiteY686" fmla="*/ 2426171 h 6757249"/>
              <a:gd name="connsiteX687" fmla="*/ 526777 w 11951120"/>
              <a:gd name="connsiteY687" fmla="*/ 2416158 h 6757249"/>
              <a:gd name="connsiteX688" fmla="*/ 525546 w 11951120"/>
              <a:gd name="connsiteY688" fmla="*/ 2422125 h 6757249"/>
              <a:gd name="connsiteX689" fmla="*/ 525674 w 11951120"/>
              <a:gd name="connsiteY689" fmla="*/ 2422125 h 6757249"/>
              <a:gd name="connsiteX690" fmla="*/ 526872 w 11951120"/>
              <a:gd name="connsiteY690" fmla="*/ 2416377 h 6757249"/>
              <a:gd name="connsiteX691" fmla="*/ 481161 w 11951120"/>
              <a:gd name="connsiteY691" fmla="*/ 2397915 h 6757249"/>
              <a:gd name="connsiteX692" fmla="*/ 478182 w 11951120"/>
              <a:gd name="connsiteY692" fmla="*/ 2401668 h 6757249"/>
              <a:gd name="connsiteX693" fmla="*/ 482109 w 11951120"/>
              <a:gd name="connsiteY693" fmla="*/ 2401293 h 6757249"/>
              <a:gd name="connsiteX694" fmla="*/ 482644 w 11951120"/>
              <a:gd name="connsiteY694" fmla="*/ 2404536 h 6757249"/>
              <a:gd name="connsiteX695" fmla="*/ 482644 w 11951120"/>
              <a:gd name="connsiteY695" fmla="*/ 2401293 h 6757249"/>
              <a:gd name="connsiteX696" fmla="*/ 483208 w 11951120"/>
              <a:gd name="connsiteY696" fmla="*/ 2401293 h 6757249"/>
              <a:gd name="connsiteX697" fmla="*/ 482082 w 11951120"/>
              <a:gd name="connsiteY697" fmla="*/ 2400538 h 6757249"/>
              <a:gd name="connsiteX698" fmla="*/ 10847305 w 11951120"/>
              <a:gd name="connsiteY698" fmla="*/ 2333498 h 6757249"/>
              <a:gd name="connsiteX699" fmla="*/ 10847308 w 11951120"/>
              <a:gd name="connsiteY699" fmla="*/ 2333562 h 6757249"/>
              <a:gd name="connsiteX700" fmla="*/ 10847382 w 11951120"/>
              <a:gd name="connsiteY700" fmla="*/ 2333535 h 6757249"/>
              <a:gd name="connsiteX701" fmla="*/ 11065417 w 11951120"/>
              <a:gd name="connsiteY701" fmla="*/ 2328394 h 6757249"/>
              <a:gd name="connsiteX702" fmla="*/ 11064864 w 11951120"/>
              <a:gd name="connsiteY702" fmla="*/ 2331872 h 6757249"/>
              <a:gd name="connsiteX703" fmla="*/ 11065940 w 11951120"/>
              <a:gd name="connsiteY703" fmla="*/ 2330377 h 6757249"/>
              <a:gd name="connsiteX704" fmla="*/ 11066707 w 11951120"/>
              <a:gd name="connsiteY704" fmla="*/ 2328620 h 6757249"/>
              <a:gd name="connsiteX705" fmla="*/ 11066428 w 11951120"/>
              <a:gd name="connsiteY705" fmla="*/ 2328895 h 6757249"/>
              <a:gd name="connsiteX706" fmla="*/ 440241 w 11951120"/>
              <a:gd name="connsiteY706" fmla="*/ 2327554 h 6757249"/>
              <a:gd name="connsiteX707" fmla="*/ 435064 w 11951120"/>
              <a:gd name="connsiteY707" fmla="*/ 2328573 h 6757249"/>
              <a:gd name="connsiteX708" fmla="*/ 435020 w 11951120"/>
              <a:gd name="connsiteY708" fmla="*/ 2328661 h 6757249"/>
              <a:gd name="connsiteX709" fmla="*/ 434704 w 11951120"/>
              <a:gd name="connsiteY709" fmla="*/ 2328644 h 6757249"/>
              <a:gd name="connsiteX710" fmla="*/ 433939 w 11951120"/>
              <a:gd name="connsiteY710" fmla="*/ 2328794 h 6757249"/>
              <a:gd name="connsiteX711" fmla="*/ 435380 w 11951120"/>
              <a:gd name="connsiteY711" fmla="*/ 2337276 h 6757249"/>
              <a:gd name="connsiteX712" fmla="*/ 438135 w 11951120"/>
              <a:gd name="connsiteY712" fmla="*/ 2329676 h 6757249"/>
              <a:gd name="connsiteX713" fmla="*/ 438907 w 11951120"/>
              <a:gd name="connsiteY713" fmla="*/ 2328897 h 6757249"/>
              <a:gd name="connsiteX714" fmla="*/ 434900 w 11951120"/>
              <a:gd name="connsiteY714" fmla="*/ 2328897 h 6757249"/>
              <a:gd name="connsiteX715" fmla="*/ 435020 w 11951120"/>
              <a:gd name="connsiteY715" fmla="*/ 2328661 h 6757249"/>
              <a:gd name="connsiteX716" fmla="*/ 438927 w 11951120"/>
              <a:gd name="connsiteY716" fmla="*/ 2328877 h 6757249"/>
              <a:gd name="connsiteX717" fmla="*/ 456437 w 11951120"/>
              <a:gd name="connsiteY717" fmla="*/ 2323247 h 6757249"/>
              <a:gd name="connsiteX718" fmla="*/ 456125 w 11951120"/>
              <a:gd name="connsiteY718" fmla="*/ 2323641 h 6757249"/>
              <a:gd name="connsiteX719" fmla="*/ 456327 w 11951120"/>
              <a:gd name="connsiteY719" fmla="*/ 2323703 h 6757249"/>
              <a:gd name="connsiteX720" fmla="*/ 11516742 w 11951120"/>
              <a:gd name="connsiteY720" fmla="*/ 2226347 h 6757249"/>
              <a:gd name="connsiteX721" fmla="*/ 11516742 w 11951120"/>
              <a:gd name="connsiteY721" fmla="*/ 2228013 h 6757249"/>
              <a:gd name="connsiteX722" fmla="*/ 11515329 w 11951120"/>
              <a:gd name="connsiteY722" fmla="*/ 2228790 h 6757249"/>
              <a:gd name="connsiteX723" fmla="*/ 11516788 w 11951120"/>
              <a:gd name="connsiteY723" fmla="*/ 2230166 h 6757249"/>
              <a:gd name="connsiteX724" fmla="*/ 11517075 w 11951120"/>
              <a:gd name="connsiteY724" fmla="*/ 2228883 h 6757249"/>
              <a:gd name="connsiteX725" fmla="*/ 10439906 w 11951120"/>
              <a:gd name="connsiteY725" fmla="*/ 2219132 h 6757249"/>
              <a:gd name="connsiteX726" fmla="*/ 10439166 w 11951120"/>
              <a:gd name="connsiteY726" fmla="*/ 2220044 h 6757249"/>
              <a:gd name="connsiteX727" fmla="*/ 10432795 w 11951120"/>
              <a:gd name="connsiteY727" fmla="*/ 2232826 h 6757249"/>
              <a:gd name="connsiteX728" fmla="*/ 10433479 w 11951120"/>
              <a:gd name="connsiteY728" fmla="*/ 2232369 h 6757249"/>
              <a:gd name="connsiteX729" fmla="*/ 10432812 w 11951120"/>
              <a:gd name="connsiteY729" fmla="*/ 2234402 h 6757249"/>
              <a:gd name="connsiteX730" fmla="*/ 10436193 w 11951120"/>
              <a:gd name="connsiteY730" fmla="*/ 2229881 h 6757249"/>
              <a:gd name="connsiteX731" fmla="*/ 10433479 w 11951120"/>
              <a:gd name="connsiteY731" fmla="*/ 2232369 h 6757249"/>
              <a:gd name="connsiteX732" fmla="*/ 11374235 w 11951120"/>
              <a:gd name="connsiteY732" fmla="*/ 2151423 h 6757249"/>
              <a:gd name="connsiteX733" fmla="*/ 11372843 w 11951120"/>
              <a:gd name="connsiteY733" fmla="*/ 2152920 h 6757249"/>
              <a:gd name="connsiteX734" fmla="*/ 11371681 w 11951120"/>
              <a:gd name="connsiteY734" fmla="*/ 2153148 h 6757249"/>
              <a:gd name="connsiteX735" fmla="*/ 11373775 w 11951120"/>
              <a:gd name="connsiteY735" fmla="*/ 2153884 h 6757249"/>
              <a:gd name="connsiteX736" fmla="*/ 580164 w 11951120"/>
              <a:gd name="connsiteY736" fmla="*/ 2082565 h 6757249"/>
              <a:gd name="connsiteX737" fmla="*/ 579522 w 11951120"/>
              <a:gd name="connsiteY737" fmla="*/ 2082702 h 6757249"/>
              <a:gd name="connsiteX738" fmla="*/ 579512 w 11951120"/>
              <a:gd name="connsiteY738" fmla="*/ 2082707 h 6757249"/>
              <a:gd name="connsiteX739" fmla="*/ 579882 w 11951120"/>
              <a:gd name="connsiteY739" fmla="*/ 2082972 h 6757249"/>
              <a:gd name="connsiteX740" fmla="*/ 11373929 w 11951120"/>
              <a:gd name="connsiteY740" fmla="*/ 2035554 h 6757249"/>
              <a:gd name="connsiteX741" fmla="*/ 11371948 w 11951120"/>
              <a:gd name="connsiteY741" fmla="*/ 2039525 h 6757249"/>
              <a:gd name="connsiteX742" fmla="*/ 11371723 w 11951120"/>
              <a:gd name="connsiteY742" fmla="*/ 2039751 h 6757249"/>
              <a:gd name="connsiteX743" fmla="*/ 11371370 w 11951120"/>
              <a:gd name="connsiteY743" fmla="*/ 2040440 h 6757249"/>
              <a:gd name="connsiteX744" fmla="*/ 11372843 w 11951120"/>
              <a:gd name="connsiteY744" fmla="*/ 2039310 h 6757249"/>
              <a:gd name="connsiteX745" fmla="*/ 11381628 w 11951120"/>
              <a:gd name="connsiteY745" fmla="*/ 2039310 h 6757249"/>
              <a:gd name="connsiteX746" fmla="*/ 262191 w 11951120"/>
              <a:gd name="connsiteY746" fmla="*/ 2035072 h 6757249"/>
              <a:gd name="connsiteX747" fmla="*/ 262191 w 11951120"/>
              <a:gd name="connsiteY747" fmla="*/ 2035768 h 6757249"/>
              <a:gd name="connsiteX748" fmla="*/ 263465 w 11951120"/>
              <a:gd name="connsiteY748" fmla="*/ 2038947 h 6757249"/>
              <a:gd name="connsiteX749" fmla="*/ 263465 w 11951120"/>
              <a:gd name="connsiteY749" fmla="*/ 2036437 h 6757249"/>
              <a:gd name="connsiteX750" fmla="*/ 265299 w 11951120"/>
              <a:gd name="connsiteY750" fmla="*/ 2035485 h 6757249"/>
              <a:gd name="connsiteX751" fmla="*/ 9832971 w 11951120"/>
              <a:gd name="connsiteY751" fmla="*/ 2034969 h 6757249"/>
              <a:gd name="connsiteX752" fmla="*/ 9825829 w 11951120"/>
              <a:gd name="connsiteY752" fmla="*/ 2041695 h 6757249"/>
              <a:gd name="connsiteX753" fmla="*/ 9831333 w 11951120"/>
              <a:gd name="connsiteY753" fmla="*/ 2039542 h 6757249"/>
              <a:gd name="connsiteX754" fmla="*/ 10125627 w 11951120"/>
              <a:gd name="connsiteY754" fmla="*/ 1913587 h 6757249"/>
              <a:gd name="connsiteX755" fmla="*/ 10123134 w 11951120"/>
              <a:gd name="connsiteY755" fmla="*/ 1915454 h 6757249"/>
              <a:gd name="connsiteX756" fmla="*/ 10119403 w 11951120"/>
              <a:gd name="connsiteY756" fmla="*/ 1921070 h 6757249"/>
              <a:gd name="connsiteX757" fmla="*/ 10116957 w 11951120"/>
              <a:gd name="connsiteY757" fmla="*/ 1923930 h 6757249"/>
              <a:gd name="connsiteX758" fmla="*/ 10113033 w 11951120"/>
              <a:gd name="connsiteY758" fmla="*/ 1929619 h 6757249"/>
              <a:gd name="connsiteX759" fmla="*/ 10123783 w 11951120"/>
              <a:gd name="connsiteY759" fmla="*/ 1916673 h 6757249"/>
              <a:gd name="connsiteX760" fmla="*/ 578479 w 11951120"/>
              <a:gd name="connsiteY760" fmla="*/ 1896101 h 6757249"/>
              <a:gd name="connsiteX761" fmla="*/ 574602 w 11951120"/>
              <a:gd name="connsiteY761" fmla="*/ 1898112 h 6757249"/>
              <a:gd name="connsiteX762" fmla="*/ 576913 w 11951120"/>
              <a:gd name="connsiteY762" fmla="*/ 1903723 h 6757249"/>
              <a:gd name="connsiteX763" fmla="*/ 1853246 w 11951120"/>
              <a:gd name="connsiteY763" fmla="*/ 1818997 h 6757249"/>
              <a:gd name="connsiteX764" fmla="*/ 1853246 w 11951120"/>
              <a:gd name="connsiteY764" fmla="*/ 1819739 h 6757249"/>
              <a:gd name="connsiteX765" fmla="*/ 1854165 w 11951120"/>
              <a:gd name="connsiteY765" fmla="*/ 1820615 h 6757249"/>
              <a:gd name="connsiteX766" fmla="*/ 11512844 w 11951120"/>
              <a:gd name="connsiteY766" fmla="*/ 1814760 h 6757249"/>
              <a:gd name="connsiteX767" fmla="*/ 11511827 w 11951120"/>
              <a:gd name="connsiteY767" fmla="*/ 1820172 h 6757249"/>
              <a:gd name="connsiteX768" fmla="*/ 11511744 w 11951120"/>
              <a:gd name="connsiteY768" fmla="*/ 1820458 h 6757249"/>
              <a:gd name="connsiteX769" fmla="*/ 11512354 w 11951120"/>
              <a:gd name="connsiteY769" fmla="*/ 1819930 h 6757249"/>
              <a:gd name="connsiteX770" fmla="*/ 11517599 w 11951120"/>
              <a:gd name="connsiteY770" fmla="*/ 1818738 h 6757249"/>
              <a:gd name="connsiteX771" fmla="*/ 11517607 w 11951120"/>
              <a:gd name="connsiteY771" fmla="*/ 1673589 h 6757249"/>
              <a:gd name="connsiteX772" fmla="*/ 11516536 w 11951120"/>
              <a:gd name="connsiteY772" fmla="*/ 1674649 h 6757249"/>
              <a:gd name="connsiteX773" fmla="*/ 11514915 w 11951120"/>
              <a:gd name="connsiteY773" fmla="*/ 1674649 h 6757249"/>
              <a:gd name="connsiteX774" fmla="*/ 11516220 w 11951120"/>
              <a:gd name="connsiteY774" fmla="*/ 1675379 h 6757249"/>
              <a:gd name="connsiteX775" fmla="*/ 11519619 w 11951120"/>
              <a:gd name="connsiteY775" fmla="*/ 1677075 h 6757249"/>
              <a:gd name="connsiteX776" fmla="*/ 11520394 w 11951120"/>
              <a:gd name="connsiteY776" fmla="*/ 1675475 h 6757249"/>
              <a:gd name="connsiteX777" fmla="*/ 11180501 w 11951120"/>
              <a:gd name="connsiteY777" fmla="*/ 1637210 h 6757249"/>
              <a:gd name="connsiteX778" fmla="*/ 11180354 w 11951120"/>
              <a:gd name="connsiteY778" fmla="*/ 1638835 h 6757249"/>
              <a:gd name="connsiteX779" fmla="*/ 11180501 w 11951120"/>
              <a:gd name="connsiteY779" fmla="*/ 1638835 h 6757249"/>
              <a:gd name="connsiteX780" fmla="*/ 864010 w 11951120"/>
              <a:gd name="connsiteY780" fmla="*/ 1529856 h 6757249"/>
              <a:gd name="connsiteX781" fmla="*/ 868758 w 11951120"/>
              <a:gd name="connsiteY781" fmla="*/ 1538164 h 6757249"/>
              <a:gd name="connsiteX782" fmla="*/ 868758 w 11951120"/>
              <a:gd name="connsiteY782" fmla="*/ 1529856 h 6757249"/>
              <a:gd name="connsiteX783" fmla="*/ 868668 w 11951120"/>
              <a:gd name="connsiteY783" fmla="*/ 1529856 h 6757249"/>
              <a:gd name="connsiteX784" fmla="*/ 1246335 w 11951120"/>
              <a:gd name="connsiteY784" fmla="*/ 1508405 h 6757249"/>
              <a:gd name="connsiteX785" fmla="*/ 1247536 w 11951120"/>
              <a:gd name="connsiteY785" fmla="*/ 1514937 h 6757249"/>
              <a:gd name="connsiteX786" fmla="*/ 1252610 w 11951120"/>
              <a:gd name="connsiteY786" fmla="*/ 1508405 h 6757249"/>
              <a:gd name="connsiteX787" fmla="*/ 573882 w 11951120"/>
              <a:gd name="connsiteY787" fmla="*/ 1455824 h 6757249"/>
              <a:gd name="connsiteX788" fmla="*/ 570707 w 11951120"/>
              <a:gd name="connsiteY788" fmla="*/ 1456466 h 6757249"/>
              <a:gd name="connsiteX789" fmla="*/ 574028 w 11951120"/>
              <a:gd name="connsiteY789" fmla="*/ 1457552 h 6757249"/>
              <a:gd name="connsiteX790" fmla="*/ 11447026 w 11951120"/>
              <a:gd name="connsiteY790" fmla="*/ 1384892 h 6757249"/>
              <a:gd name="connsiteX791" fmla="*/ 11446835 w 11951120"/>
              <a:gd name="connsiteY791" fmla="*/ 1385064 h 6757249"/>
              <a:gd name="connsiteX792" fmla="*/ 11445837 w 11951120"/>
              <a:gd name="connsiteY792" fmla="*/ 1385064 h 6757249"/>
              <a:gd name="connsiteX793" fmla="*/ 11447026 w 11951120"/>
              <a:gd name="connsiteY793" fmla="*/ 1387466 h 6757249"/>
              <a:gd name="connsiteX794" fmla="*/ 870459 w 11951120"/>
              <a:gd name="connsiteY794" fmla="*/ 1381340 h 6757249"/>
              <a:gd name="connsiteX795" fmla="*/ 867055 w 11951120"/>
              <a:gd name="connsiteY795" fmla="*/ 1384795 h 6757249"/>
              <a:gd name="connsiteX796" fmla="*/ 866832 w 11951120"/>
              <a:gd name="connsiteY796" fmla="*/ 1387458 h 6757249"/>
              <a:gd name="connsiteX797" fmla="*/ 868668 w 11951120"/>
              <a:gd name="connsiteY797" fmla="*/ 1384593 h 6757249"/>
              <a:gd name="connsiteX798" fmla="*/ 1061815 w 11951120"/>
              <a:gd name="connsiteY798" fmla="*/ 1335502 h 6757249"/>
              <a:gd name="connsiteX799" fmla="*/ 1061367 w 11951120"/>
              <a:gd name="connsiteY799" fmla="*/ 1335953 h 6757249"/>
              <a:gd name="connsiteX800" fmla="*/ 1053749 w 11951120"/>
              <a:gd name="connsiteY800" fmla="*/ 1338982 h 6757249"/>
              <a:gd name="connsiteX801" fmla="*/ 1054579 w 11951120"/>
              <a:gd name="connsiteY801" fmla="*/ 1344470 h 6757249"/>
              <a:gd name="connsiteX802" fmla="*/ 1060475 w 11951120"/>
              <a:gd name="connsiteY802" fmla="*/ 1337499 h 6757249"/>
              <a:gd name="connsiteX803" fmla="*/ 1061815 w 11951120"/>
              <a:gd name="connsiteY803" fmla="*/ 1336746 h 6757249"/>
              <a:gd name="connsiteX804" fmla="*/ 1063580 w 11951120"/>
              <a:gd name="connsiteY804" fmla="*/ 1264945 h 6757249"/>
              <a:gd name="connsiteX805" fmla="*/ 1062022 w 11951120"/>
              <a:gd name="connsiteY805" fmla="*/ 1265738 h 6757249"/>
              <a:gd name="connsiteX806" fmla="*/ 1062147 w 11951120"/>
              <a:gd name="connsiteY806" fmla="*/ 1266681 h 6757249"/>
              <a:gd name="connsiteX807" fmla="*/ 551907 w 11951120"/>
              <a:gd name="connsiteY807" fmla="*/ 1261181 h 6757249"/>
              <a:gd name="connsiteX808" fmla="*/ 550690 w 11951120"/>
              <a:gd name="connsiteY808" fmla="*/ 1261291 h 6757249"/>
              <a:gd name="connsiteX809" fmla="*/ 556369 w 11951120"/>
              <a:gd name="connsiteY809" fmla="*/ 1269294 h 6757249"/>
              <a:gd name="connsiteX810" fmla="*/ 556747 w 11951120"/>
              <a:gd name="connsiteY810" fmla="*/ 1267419 h 6757249"/>
              <a:gd name="connsiteX811" fmla="*/ 558511 w 11951120"/>
              <a:gd name="connsiteY811" fmla="*/ 1267002 h 6757249"/>
              <a:gd name="connsiteX812" fmla="*/ 557126 w 11951120"/>
              <a:gd name="connsiteY812" fmla="*/ 1266340 h 6757249"/>
              <a:gd name="connsiteX813" fmla="*/ 1777972 w 11951120"/>
              <a:gd name="connsiteY813" fmla="*/ 1221028 h 6757249"/>
              <a:gd name="connsiteX814" fmla="*/ 1777172 w 11951120"/>
              <a:gd name="connsiteY814" fmla="*/ 1221864 h 6757249"/>
              <a:gd name="connsiteX815" fmla="*/ 1778049 w 11951120"/>
              <a:gd name="connsiteY815" fmla="*/ 1221150 h 6757249"/>
              <a:gd name="connsiteX816" fmla="*/ 10891872 w 11951120"/>
              <a:gd name="connsiteY816" fmla="*/ 1137000 h 6757249"/>
              <a:gd name="connsiteX817" fmla="*/ 10890350 w 11951120"/>
              <a:gd name="connsiteY817" fmla="*/ 1142251 h 6757249"/>
              <a:gd name="connsiteX818" fmla="*/ 10890698 w 11951120"/>
              <a:gd name="connsiteY818" fmla="*/ 1143663 h 6757249"/>
              <a:gd name="connsiteX819" fmla="*/ 10894679 w 11951120"/>
              <a:gd name="connsiteY819" fmla="*/ 1139682 h 6757249"/>
              <a:gd name="connsiteX820" fmla="*/ 11495650 w 11951120"/>
              <a:gd name="connsiteY820" fmla="*/ 1125954 h 6757249"/>
              <a:gd name="connsiteX821" fmla="*/ 11496175 w 11951120"/>
              <a:gd name="connsiteY821" fmla="*/ 1127624 h 6757249"/>
              <a:gd name="connsiteX822" fmla="*/ 11496148 w 11951120"/>
              <a:gd name="connsiteY822" fmla="*/ 1125954 h 6757249"/>
              <a:gd name="connsiteX823" fmla="*/ 11709774 w 11951120"/>
              <a:gd name="connsiteY823" fmla="*/ 1121056 h 6757249"/>
              <a:gd name="connsiteX824" fmla="*/ 11709439 w 11951120"/>
              <a:gd name="connsiteY824" fmla="*/ 1122415 h 6757249"/>
              <a:gd name="connsiteX825" fmla="*/ 11709797 w 11951120"/>
              <a:gd name="connsiteY825" fmla="*/ 1122292 h 6757249"/>
              <a:gd name="connsiteX826" fmla="*/ 11709544 w 11951120"/>
              <a:gd name="connsiteY826" fmla="*/ 1123025 h 6757249"/>
              <a:gd name="connsiteX827" fmla="*/ 11710316 w 11951120"/>
              <a:gd name="connsiteY827" fmla="*/ 1122099 h 6757249"/>
              <a:gd name="connsiteX828" fmla="*/ 11711019 w 11951120"/>
              <a:gd name="connsiteY828" fmla="*/ 1121694 h 6757249"/>
              <a:gd name="connsiteX829" fmla="*/ 1536207 w 11951120"/>
              <a:gd name="connsiteY829" fmla="*/ 1096166 h 6757249"/>
              <a:gd name="connsiteX830" fmla="*/ 1536033 w 11951120"/>
              <a:gd name="connsiteY830" fmla="*/ 1096267 h 6757249"/>
              <a:gd name="connsiteX831" fmla="*/ 1536295 w 11951120"/>
              <a:gd name="connsiteY831" fmla="*/ 1096256 h 6757249"/>
              <a:gd name="connsiteX832" fmla="*/ 797530 w 11951120"/>
              <a:gd name="connsiteY832" fmla="*/ 1072923 h 6757249"/>
              <a:gd name="connsiteX833" fmla="*/ 797800 w 11951120"/>
              <a:gd name="connsiteY833" fmla="*/ 1073508 h 6757249"/>
              <a:gd name="connsiteX834" fmla="*/ 797937 w 11951120"/>
              <a:gd name="connsiteY834" fmla="*/ 1073335 h 6757249"/>
              <a:gd name="connsiteX835" fmla="*/ 11583001 w 11951120"/>
              <a:gd name="connsiteY835" fmla="*/ 1066768 h 6757249"/>
              <a:gd name="connsiteX836" fmla="*/ 11582652 w 11951120"/>
              <a:gd name="connsiteY836" fmla="*/ 1067672 h 6757249"/>
              <a:gd name="connsiteX837" fmla="*/ 11582909 w 11951120"/>
              <a:gd name="connsiteY837" fmla="*/ 1067719 h 6757249"/>
              <a:gd name="connsiteX838" fmla="*/ 11583106 w 11951120"/>
              <a:gd name="connsiteY838" fmla="*/ 1067748 h 6757249"/>
              <a:gd name="connsiteX839" fmla="*/ 11442720 w 11951120"/>
              <a:gd name="connsiteY839" fmla="*/ 1053344 h 6757249"/>
              <a:gd name="connsiteX840" fmla="*/ 11440315 w 11951120"/>
              <a:gd name="connsiteY840" fmla="*/ 1072378 h 6757249"/>
              <a:gd name="connsiteX841" fmla="*/ 11446083 w 11951120"/>
              <a:gd name="connsiteY841" fmla="*/ 1073334 h 6757249"/>
              <a:gd name="connsiteX842" fmla="*/ 888947 w 11951120"/>
              <a:gd name="connsiteY842" fmla="*/ 1024783 h 6757249"/>
              <a:gd name="connsiteX843" fmla="*/ 889254 w 11951120"/>
              <a:gd name="connsiteY843" fmla="*/ 1025236 h 6757249"/>
              <a:gd name="connsiteX844" fmla="*/ 889471 w 11951120"/>
              <a:gd name="connsiteY844" fmla="*/ 1024882 h 6757249"/>
              <a:gd name="connsiteX845" fmla="*/ 11269302 w 11951120"/>
              <a:gd name="connsiteY845" fmla="*/ 1013125 h 6757249"/>
              <a:gd name="connsiteX846" fmla="*/ 11276347 w 11951120"/>
              <a:gd name="connsiteY846" fmla="*/ 1030035 h 6757249"/>
              <a:gd name="connsiteX847" fmla="*/ 11276698 w 11951120"/>
              <a:gd name="connsiteY847" fmla="*/ 1029647 h 6757249"/>
              <a:gd name="connsiteX848" fmla="*/ 11280620 w 11951120"/>
              <a:gd name="connsiteY848" fmla="*/ 1021794 h 6757249"/>
              <a:gd name="connsiteX849" fmla="*/ 1517452 w 11951120"/>
              <a:gd name="connsiteY849" fmla="*/ 998261 h 6757249"/>
              <a:gd name="connsiteX850" fmla="*/ 1517140 w 11951120"/>
              <a:gd name="connsiteY850" fmla="*/ 998950 h 6757249"/>
              <a:gd name="connsiteX851" fmla="*/ 1515907 w 11951120"/>
              <a:gd name="connsiteY851" fmla="*/ 1000391 h 6757249"/>
              <a:gd name="connsiteX852" fmla="*/ 1516045 w 11951120"/>
              <a:gd name="connsiteY852" fmla="*/ 1000898 h 6757249"/>
              <a:gd name="connsiteX853" fmla="*/ 1517432 w 11951120"/>
              <a:gd name="connsiteY853" fmla="*/ 998831 h 6757249"/>
              <a:gd name="connsiteX854" fmla="*/ 11160690 w 11951120"/>
              <a:gd name="connsiteY854" fmla="*/ 880890 h 6757249"/>
              <a:gd name="connsiteX855" fmla="*/ 11160704 w 11951120"/>
              <a:gd name="connsiteY855" fmla="*/ 880971 h 6757249"/>
              <a:gd name="connsiteX856" fmla="*/ 11161112 w 11951120"/>
              <a:gd name="connsiteY856" fmla="*/ 880971 h 6757249"/>
              <a:gd name="connsiteX857" fmla="*/ 11181864 w 11951120"/>
              <a:gd name="connsiteY857" fmla="*/ 864042 h 6757249"/>
              <a:gd name="connsiteX858" fmla="*/ 11175991 w 11951120"/>
              <a:gd name="connsiteY858" fmla="*/ 880971 h 6757249"/>
              <a:gd name="connsiteX859" fmla="*/ 11178403 w 11951120"/>
              <a:gd name="connsiteY859" fmla="*/ 880971 h 6757249"/>
              <a:gd name="connsiteX860" fmla="*/ 11186056 w 11951120"/>
              <a:gd name="connsiteY860" fmla="*/ 888570 h 6757249"/>
              <a:gd name="connsiteX861" fmla="*/ 11188002 w 11951120"/>
              <a:gd name="connsiteY861" fmla="*/ 884111 h 6757249"/>
              <a:gd name="connsiteX862" fmla="*/ 11187666 w 11951120"/>
              <a:gd name="connsiteY862" fmla="*/ 883651 h 6757249"/>
              <a:gd name="connsiteX863" fmla="*/ 11178891 w 11951120"/>
              <a:gd name="connsiteY863" fmla="*/ 879182 h 6757249"/>
              <a:gd name="connsiteX864" fmla="*/ 892855 w 11951120"/>
              <a:gd name="connsiteY864" fmla="*/ 836588 h 6757249"/>
              <a:gd name="connsiteX865" fmla="*/ 892891 w 11951120"/>
              <a:gd name="connsiteY865" fmla="*/ 836808 h 6757249"/>
              <a:gd name="connsiteX866" fmla="*/ 892556 w 11951120"/>
              <a:gd name="connsiteY866" fmla="*/ 838510 h 6757249"/>
              <a:gd name="connsiteX867" fmla="*/ 893403 w 11951120"/>
              <a:gd name="connsiteY867" fmla="*/ 837032 h 6757249"/>
              <a:gd name="connsiteX868" fmla="*/ 11490245 w 11951120"/>
              <a:gd name="connsiteY868" fmla="*/ 780885 h 6757249"/>
              <a:gd name="connsiteX869" fmla="*/ 11487753 w 11951120"/>
              <a:gd name="connsiteY869" fmla="*/ 788675 h 6757249"/>
              <a:gd name="connsiteX870" fmla="*/ 11490707 w 11951120"/>
              <a:gd name="connsiteY870" fmla="*/ 789792 h 6757249"/>
              <a:gd name="connsiteX871" fmla="*/ 11490442 w 11951120"/>
              <a:gd name="connsiteY871" fmla="*/ 784024 h 6757249"/>
              <a:gd name="connsiteX872" fmla="*/ 11492197 w 11951120"/>
              <a:gd name="connsiteY872" fmla="*/ 783281 h 6757249"/>
              <a:gd name="connsiteX873" fmla="*/ 11490408 w 11951120"/>
              <a:gd name="connsiteY873" fmla="*/ 783281 h 6757249"/>
              <a:gd name="connsiteX874" fmla="*/ 11490442 w 11951120"/>
              <a:gd name="connsiteY874" fmla="*/ 784024 h 6757249"/>
              <a:gd name="connsiteX875" fmla="*/ 11490245 w 11951120"/>
              <a:gd name="connsiteY875" fmla="*/ 784106 h 6757249"/>
              <a:gd name="connsiteX876" fmla="*/ 11490245 w 11951120"/>
              <a:gd name="connsiteY876" fmla="*/ 783281 h 6757249"/>
              <a:gd name="connsiteX877" fmla="*/ 11489929 w 11951120"/>
              <a:gd name="connsiteY877" fmla="*/ 783281 h 6757249"/>
              <a:gd name="connsiteX878" fmla="*/ 11490245 w 11951120"/>
              <a:gd name="connsiteY878" fmla="*/ 781671 h 6757249"/>
              <a:gd name="connsiteX879" fmla="*/ 11490643 w 11951120"/>
              <a:gd name="connsiteY879" fmla="*/ 779637 h 6757249"/>
              <a:gd name="connsiteX880" fmla="*/ 11490290 w 11951120"/>
              <a:gd name="connsiteY880" fmla="*/ 780742 h 6757249"/>
              <a:gd name="connsiteX881" fmla="*/ 11490316 w 11951120"/>
              <a:gd name="connsiteY881" fmla="*/ 781306 h 6757249"/>
              <a:gd name="connsiteX882" fmla="*/ 1013290 w 11951120"/>
              <a:gd name="connsiteY882" fmla="*/ 754503 h 6757249"/>
              <a:gd name="connsiteX883" fmla="*/ 1013015 w 11951120"/>
              <a:gd name="connsiteY883" fmla="*/ 756325 h 6757249"/>
              <a:gd name="connsiteX884" fmla="*/ 1012968 w 11951120"/>
              <a:gd name="connsiteY884" fmla="*/ 756530 h 6757249"/>
              <a:gd name="connsiteX885" fmla="*/ 1014172 w 11951120"/>
              <a:gd name="connsiteY885" fmla="*/ 755568 h 6757249"/>
              <a:gd name="connsiteX886" fmla="*/ 11584464 w 11951120"/>
              <a:gd name="connsiteY886" fmla="*/ 710851 h 6757249"/>
              <a:gd name="connsiteX887" fmla="*/ 11587070 w 11951120"/>
              <a:gd name="connsiteY887" fmla="*/ 712476 h 6757249"/>
              <a:gd name="connsiteX888" fmla="*/ 11587192 w 11951120"/>
              <a:gd name="connsiteY888" fmla="*/ 711029 h 6757249"/>
              <a:gd name="connsiteX889" fmla="*/ 11688314 w 11951120"/>
              <a:gd name="connsiteY889" fmla="*/ 707544 h 6757249"/>
              <a:gd name="connsiteX890" fmla="*/ 11687860 w 11951120"/>
              <a:gd name="connsiteY890" fmla="*/ 708470 h 6757249"/>
              <a:gd name="connsiteX891" fmla="*/ 11687711 w 11951120"/>
              <a:gd name="connsiteY891" fmla="*/ 709380 h 6757249"/>
              <a:gd name="connsiteX892" fmla="*/ 11688990 w 11951120"/>
              <a:gd name="connsiteY892" fmla="*/ 709458 h 6757249"/>
              <a:gd name="connsiteX893" fmla="*/ 1999412 w 11951120"/>
              <a:gd name="connsiteY893" fmla="*/ 692378 h 6757249"/>
              <a:gd name="connsiteX894" fmla="*/ 1999626 w 11951120"/>
              <a:gd name="connsiteY894" fmla="*/ 694089 h 6757249"/>
              <a:gd name="connsiteX895" fmla="*/ 2002074 w 11951120"/>
              <a:gd name="connsiteY895" fmla="*/ 692912 h 6757249"/>
              <a:gd name="connsiteX896" fmla="*/ 1448682 w 11951120"/>
              <a:gd name="connsiteY896" fmla="*/ 615753 h 6757249"/>
              <a:gd name="connsiteX897" fmla="*/ 1448874 w 11951120"/>
              <a:gd name="connsiteY897" fmla="*/ 616166 h 6757249"/>
              <a:gd name="connsiteX898" fmla="*/ 1449428 w 11951120"/>
              <a:gd name="connsiteY898" fmla="*/ 616166 h 6757249"/>
              <a:gd name="connsiteX899" fmla="*/ 1494262 w 11951120"/>
              <a:gd name="connsiteY899" fmla="*/ 615652 h 6757249"/>
              <a:gd name="connsiteX900" fmla="*/ 1496444 w 11951120"/>
              <a:gd name="connsiteY900" fmla="*/ 616861 h 6757249"/>
              <a:gd name="connsiteX901" fmla="*/ 1497935 w 11951120"/>
              <a:gd name="connsiteY901" fmla="*/ 616718 h 6757249"/>
              <a:gd name="connsiteX902" fmla="*/ 1495763 w 11951120"/>
              <a:gd name="connsiteY902" fmla="*/ 615652 h 6757249"/>
              <a:gd name="connsiteX903" fmla="*/ 2192448 w 11951120"/>
              <a:gd name="connsiteY903" fmla="*/ 541683 h 6757249"/>
              <a:gd name="connsiteX904" fmla="*/ 2192448 w 11951120"/>
              <a:gd name="connsiteY904" fmla="*/ 544863 h 6757249"/>
              <a:gd name="connsiteX905" fmla="*/ 2192535 w 11951120"/>
              <a:gd name="connsiteY905" fmla="*/ 545235 h 6757249"/>
              <a:gd name="connsiteX906" fmla="*/ 2195083 w 11951120"/>
              <a:gd name="connsiteY906" fmla="*/ 544316 h 6757249"/>
              <a:gd name="connsiteX907" fmla="*/ 5932207 w 11951120"/>
              <a:gd name="connsiteY907" fmla="*/ 526076 h 6757249"/>
              <a:gd name="connsiteX908" fmla="*/ 5931838 w 11951120"/>
              <a:gd name="connsiteY908" fmla="*/ 526420 h 6757249"/>
              <a:gd name="connsiteX909" fmla="*/ 5931838 w 11951120"/>
              <a:gd name="connsiteY909" fmla="*/ 540439 h 6757249"/>
              <a:gd name="connsiteX910" fmla="*/ 5932207 w 11951120"/>
              <a:gd name="connsiteY910" fmla="*/ 540439 h 6757249"/>
              <a:gd name="connsiteX911" fmla="*/ 9745508 w 11951120"/>
              <a:gd name="connsiteY911" fmla="*/ 522164 h 6757249"/>
              <a:gd name="connsiteX912" fmla="*/ 9741647 w 11951120"/>
              <a:gd name="connsiteY912" fmla="*/ 522814 h 6757249"/>
              <a:gd name="connsiteX913" fmla="*/ 9741691 w 11951120"/>
              <a:gd name="connsiteY913" fmla="*/ 523113 h 6757249"/>
              <a:gd name="connsiteX914" fmla="*/ 9741685 w 11951120"/>
              <a:gd name="connsiteY914" fmla="*/ 523117 h 6757249"/>
              <a:gd name="connsiteX915" fmla="*/ 9304253 w 11951120"/>
              <a:gd name="connsiteY915" fmla="*/ 520125 h 6757249"/>
              <a:gd name="connsiteX916" fmla="*/ 9301000 w 11951120"/>
              <a:gd name="connsiteY916" fmla="*/ 522351 h 6757249"/>
              <a:gd name="connsiteX917" fmla="*/ 9307186 w 11951120"/>
              <a:gd name="connsiteY917" fmla="*/ 523400 h 6757249"/>
              <a:gd name="connsiteX918" fmla="*/ 9308163 w 11951120"/>
              <a:gd name="connsiteY918" fmla="*/ 524394 h 6757249"/>
              <a:gd name="connsiteX919" fmla="*/ 9308080 w 11951120"/>
              <a:gd name="connsiteY919" fmla="*/ 523981 h 6757249"/>
              <a:gd name="connsiteX920" fmla="*/ 9544722 w 11951120"/>
              <a:gd name="connsiteY920" fmla="*/ 496953 h 6757249"/>
              <a:gd name="connsiteX921" fmla="*/ 9545149 w 11951120"/>
              <a:gd name="connsiteY921" fmla="*/ 497952 h 6757249"/>
              <a:gd name="connsiteX922" fmla="*/ 9545143 w 11951120"/>
              <a:gd name="connsiteY922" fmla="*/ 498056 h 6757249"/>
              <a:gd name="connsiteX923" fmla="*/ 9545357 w 11951120"/>
              <a:gd name="connsiteY923" fmla="*/ 497697 h 6757249"/>
              <a:gd name="connsiteX924" fmla="*/ 9545906 w 11951120"/>
              <a:gd name="connsiteY924" fmla="*/ 496975 h 6757249"/>
              <a:gd name="connsiteX925" fmla="*/ 1951575 w 11951120"/>
              <a:gd name="connsiteY925" fmla="*/ 469023 h 6757249"/>
              <a:gd name="connsiteX926" fmla="*/ 1945498 w 11951120"/>
              <a:gd name="connsiteY926" fmla="*/ 472065 h 6757249"/>
              <a:gd name="connsiteX927" fmla="*/ 1951425 w 11951120"/>
              <a:gd name="connsiteY927" fmla="*/ 472065 h 6757249"/>
              <a:gd name="connsiteX928" fmla="*/ 1951575 w 11951120"/>
              <a:gd name="connsiteY928" fmla="*/ 470312 h 6757249"/>
              <a:gd name="connsiteX929" fmla="*/ 1639882 w 11951120"/>
              <a:gd name="connsiteY929" fmla="*/ 464002 h 6757249"/>
              <a:gd name="connsiteX930" fmla="*/ 1634702 w 11951120"/>
              <a:gd name="connsiteY930" fmla="*/ 470839 h 6757249"/>
              <a:gd name="connsiteX931" fmla="*/ 1632009 w 11951120"/>
              <a:gd name="connsiteY931" fmla="*/ 478899 h 6757249"/>
              <a:gd name="connsiteX932" fmla="*/ 1638304 w 11951120"/>
              <a:gd name="connsiteY932" fmla="*/ 476087 h 6757249"/>
              <a:gd name="connsiteX933" fmla="*/ 1638304 w 11951120"/>
              <a:gd name="connsiteY933" fmla="*/ 478842 h 6757249"/>
              <a:gd name="connsiteX934" fmla="*/ 1639684 w 11951120"/>
              <a:gd name="connsiteY934" fmla="*/ 476310 h 6757249"/>
              <a:gd name="connsiteX935" fmla="*/ 1638762 w 11951120"/>
              <a:gd name="connsiteY935" fmla="*/ 475776 h 6757249"/>
              <a:gd name="connsiteX936" fmla="*/ 1638977 w 11951120"/>
              <a:gd name="connsiteY936" fmla="*/ 473513 h 6757249"/>
              <a:gd name="connsiteX937" fmla="*/ 1636046 w 11951120"/>
              <a:gd name="connsiteY937" fmla="*/ 470583 h 6757249"/>
              <a:gd name="connsiteX938" fmla="*/ 1639194 w 11951120"/>
              <a:gd name="connsiteY938" fmla="*/ 471233 h 6757249"/>
              <a:gd name="connsiteX939" fmla="*/ 8906130 w 11951120"/>
              <a:gd name="connsiteY939" fmla="*/ 451199 h 6757249"/>
              <a:gd name="connsiteX940" fmla="*/ 8899536 w 11951120"/>
              <a:gd name="connsiteY940" fmla="*/ 457671 h 6757249"/>
              <a:gd name="connsiteX941" fmla="*/ 8899495 w 11951120"/>
              <a:gd name="connsiteY941" fmla="*/ 458582 h 6757249"/>
              <a:gd name="connsiteX942" fmla="*/ 8903223 w 11951120"/>
              <a:gd name="connsiteY942" fmla="*/ 454339 h 6757249"/>
              <a:gd name="connsiteX943" fmla="*/ 8906657 w 11951120"/>
              <a:gd name="connsiteY943" fmla="*/ 451299 h 6757249"/>
              <a:gd name="connsiteX944" fmla="*/ 2501951 w 11951120"/>
              <a:gd name="connsiteY944" fmla="*/ 422681 h 6757249"/>
              <a:gd name="connsiteX945" fmla="*/ 2501804 w 11951120"/>
              <a:gd name="connsiteY945" fmla="*/ 423823 h 6757249"/>
              <a:gd name="connsiteX946" fmla="*/ 2502241 w 11951120"/>
              <a:gd name="connsiteY946" fmla="*/ 423382 h 6757249"/>
              <a:gd name="connsiteX947" fmla="*/ 2769832 w 11951120"/>
              <a:gd name="connsiteY947" fmla="*/ 421860 h 6757249"/>
              <a:gd name="connsiteX948" fmla="*/ 2769832 w 11951120"/>
              <a:gd name="connsiteY948" fmla="*/ 422078 h 6757249"/>
              <a:gd name="connsiteX949" fmla="*/ 2769457 w 11951120"/>
              <a:gd name="connsiteY949" fmla="*/ 422703 h 6757249"/>
              <a:gd name="connsiteX950" fmla="*/ 2769474 w 11951120"/>
              <a:gd name="connsiteY950" fmla="*/ 422698 h 6757249"/>
              <a:gd name="connsiteX951" fmla="*/ 2770453 w 11951120"/>
              <a:gd name="connsiteY951" fmla="*/ 422217 h 6757249"/>
              <a:gd name="connsiteX952" fmla="*/ 7208837 w 11951120"/>
              <a:gd name="connsiteY952" fmla="*/ 419290 h 6757249"/>
              <a:gd name="connsiteX953" fmla="*/ 7208019 w 11951120"/>
              <a:gd name="connsiteY953" fmla="*/ 419530 h 6757249"/>
              <a:gd name="connsiteX954" fmla="*/ 7211299 w 11951120"/>
              <a:gd name="connsiteY954" fmla="*/ 426193 h 6757249"/>
              <a:gd name="connsiteX955" fmla="*/ 7212024 w 11951120"/>
              <a:gd name="connsiteY955" fmla="*/ 422507 h 6757249"/>
              <a:gd name="connsiteX956" fmla="*/ 4260661 w 11951120"/>
              <a:gd name="connsiteY956" fmla="*/ 396172 h 6757249"/>
              <a:gd name="connsiteX957" fmla="*/ 4260661 w 11951120"/>
              <a:gd name="connsiteY957" fmla="*/ 404681 h 6757249"/>
              <a:gd name="connsiteX958" fmla="*/ 4272748 w 11951120"/>
              <a:gd name="connsiteY958" fmla="*/ 396973 h 6757249"/>
              <a:gd name="connsiteX959" fmla="*/ 2674514 w 11951120"/>
              <a:gd name="connsiteY959" fmla="*/ 391911 h 6757249"/>
              <a:gd name="connsiteX960" fmla="*/ 2673303 w 11951120"/>
              <a:gd name="connsiteY960" fmla="*/ 392733 h 6757249"/>
              <a:gd name="connsiteX961" fmla="*/ 2673303 w 11951120"/>
              <a:gd name="connsiteY961" fmla="*/ 398059 h 6757249"/>
              <a:gd name="connsiteX962" fmla="*/ 2674514 w 11951120"/>
              <a:gd name="connsiteY962" fmla="*/ 396942 h 6757249"/>
              <a:gd name="connsiteX963" fmla="*/ 6315958 w 11951120"/>
              <a:gd name="connsiteY963" fmla="*/ 375089 h 6757249"/>
              <a:gd name="connsiteX964" fmla="*/ 6315735 w 11951120"/>
              <a:gd name="connsiteY964" fmla="*/ 376471 h 6757249"/>
              <a:gd name="connsiteX965" fmla="*/ 6317034 w 11951120"/>
              <a:gd name="connsiteY965" fmla="*/ 375089 h 6757249"/>
              <a:gd name="connsiteX966" fmla="*/ 4311805 w 11951120"/>
              <a:gd name="connsiteY966" fmla="*/ 369570 h 6757249"/>
              <a:gd name="connsiteX967" fmla="*/ 4309189 w 11951120"/>
              <a:gd name="connsiteY967" fmla="*/ 373899 h 6757249"/>
              <a:gd name="connsiteX968" fmla="*/ 4308944 w 11951120"/>
              <a:gd name="connsiteY968" fmla="*/ 374196 h 6757249"/>
              <a:gd name="connsiteX969" fmla="*/ 4312742 w 11951120"/>
              <a:gd name="connsiteY969" fmla="*/ 374196 h 6757249"/>
              <a:gd name="connsiteX970" fmla="*/ 3007558 w 11951120"/>
              <a:gd name="connsiteY970" fmla="*/ 351560 h 6757249"/>
              <a:gd name="connsiteX971" fmla="*/ 3007104 w 11951120"/>
              <a:gd name="connsiteY971" fmla="*/ 352899 h 6757249"/>
              <a:gd name="connsiteX972" fmla="*/ 3009722 w 11951120"/>
              <a:gd name="connsiteY972" fmla="*/ 353558 h 6757249"/>
              <a:gd name="connsiteX973" fmla="*/ 5305835 w 11951120"/>
              <a:gd name="connsiteY973" fmla="*/ 351560 h 6757249"/>
              <a:gd name="connsiteX974" fmla="*/ 5305381 w 11951120"/>
              <a:gd name="connsiteY974" fmla="*/ 352899 h 6757249"/>
              <a:gd name="connsiteX975" fmla="*/ 5307999 w 11951120"/>
              <a:gd name="connsiteY975" fmla="*/ 353558 h 6757249"/>
              <a:gd name="connsiteX976" fmla="*/ 5752296 w 11951120"/>
              <a:gd name="connsiteY976" fmla="*/ 350600 h 6757249"/>
              <a:gd name="connsiteX977" fmla="*/ 5722911 w 11951120"/>
              <a:gd name="connsiteY977" fmla="*/ 355834 h 6757249"/>
              <a:gd name="connsiteX978" fmla="*/ 5692272 w 11951120"/>
              <a:gd name="connsiteY978" fmla="*/ 368872 h 6757249"/>
              <a:gd name="connsiteX979" fmla="*/ 5692255 w 11951120"/>
              <a:gd name="connsiteY979" fmla="*/ 368906 h 6757249"/>
              <a:gd name="connsiteX980" fmla="*/ 5665788 w 11951120"/>
              <a:gd name="connsiteY980" fmla="*/ 395353 h 6757249"/>
              <a:gd name="connsiteX981" fmla="*/ 5665511 w 11951120"/>
              <a:gd name="connsiteY981" fmla="*/ 396343 h 6757249"/>
              <a:gd name="connsiteX982" fmla="*/ 5672046 w 11951120"/>
              <a:gd name="connsiteY982" fmla="*/ 409139 h 6757249"/>
              <a:gd name="connsiteX983" fmla="*/ 5750479 w 11951120"/>
              <a:gd name="connsiteY983" fmla="*/ 373576 h 6757249"/>
              <a:gd name="connsiteX984" fmla="*/ 5750479 w 11951120"/>
              <a:gd name="connsiteY984" fmla="*/ 351575 h 6757249"/>
              <a:gd name="connsiteX985" fmla="*/ 3153124 w 11951120"/>
              <a:gd name="connsiteY985" fmla="*/ 342577 h 6757249"/>
              <a:gd name="connsiteX986" fmla="*/ 3152929 w 11951120"/>
              <a:gd name="connsiteY986" fmla="*/ 342726 h 6757249"/>
              <a:gd name="connsiteX987" fmla="*/ 3153091 w 11951120"/>
              <a:gd name="connsiteY987" fmla="*/ 342739 h 6757249"/>
              <a:gd name="connsiteX988" fmla="*/ 5451401 w 11951120"/>
              <a:gd name="connsiteY988" fmla="*/ 342577 h 6757249"/>
              <a:gd name="connsiteX989" fmla="*/ 5451206 w 11951120"/>
              <a:gd name="connsiteY989" fmla="*/ 342726 h 6757249"/>
              <a:gd name="connsiteX990" fmla="*/ 5451369 w 11951120"/>
              <a:gd name="connsiteY990" fmla="*/ 342739 h 6757249"/>
              <a:gd name="connsiteX991" fmla="*/ 4335495 w 11951120"/>
              <a:gd name="connsiteY991" fmla="*/ 325648 h 6757249"/>
              <a:gd name="connsiteX992" fmla="*/ 4335736 w 11951120"/>
              <a:gd name="connsiteY992" fmla="*/ 329953 h 6757249"/>
              <a:gd name="connsiteX993" fmla="*/ 4335259 w 11951120"/>
              <a:gd name="connsiteY993" fmla="*/ 330740 h 6757249"/>
              <a:gd name="connsiteX994" fmla="*/ 4336290 w 11951120"/>
              <a:gd name="connsiteY994" fmla="*/ 330088 h 6757249"/>
              <a:gd name="connsiteX995" fmla="*/ 4340427 w 11951120"/>
              <a:gd name="connsiteY995" fmla="*/ 327141 h 6757249"/>
              <a:gd name="connsiteX996" fmla="*/ 3084284 w 11951120"/>
              <a:gd name="connsiteY996" fmla="*/ 268278 h 6757249"/>
              <a:gd name="connsiteX997" fmla="*/ 3080467 w 11951120"/>
              <a:gd name="connsiteY997" fmla="*/ 276708 h 6757249"/>
              <a:gd name="connsiteX998" fmla="*/ 3082082 w 11951120"/>
              <a:gd name="connsiteY998" fmla="*/ 277742 h 6757249"/>
              <a:gd name="connsiteX999" fmla="*/ 3087164 w 11951120"/>
              <a:gd name="connsiteY999" fmla="*/ 277044 h 6757249"/>
              <a:gd name="connsiteX1000" fmla="*/ 5382561 w 11951120"/>
              <a:gd name="connsiteY1000" fmla="*/ 268278 h 6757249"/>
              <a:gd name="connsiteX1001" fmla="*/ 5378745 w 11951120"/>
              <a:gd name="connsiteY1001" fmla="*/ 276708 h 6757249"/>
              <a:gd name="connsiteX1002" fmla="*/ 5380359 w 11951120"/>
              <a:gd name="connsiteY1002" fmla="*/ 277742 h 6757249"/>
              <a:gd name="connsiteX1003" fmla="*/ 5385441 w 11951120"/>
              <a:gd name="connsiteY1003" fmla="*/ 277044 h 6757249"/>
              <a:gd name="connsiteX1004" fmla="*/ 2598226 w 11951120"/>
              <a:gd name="connsiteY1004" fmla="*/ 132875 h 6757249"/>
              <a:gd name="connsiteX1005" fmla="*/ 2646490 w 11951120"/>
              <a:gd name="connsiteY1005" fmla="*/ 132875 h 6757249"/>
              <a:gd name="connsiteX1006" fmla="*/ 2604808 w 11951120"/>
              <a:gd name="connsiteY1006" fmla="*/ 177536 h 6757249"/>
              <a:gd name="connsiteX1007" fmla="*/ 2558000 w 11951120"/>
              <a:gd name="connsiteY1007" fmla="*/ 198918 h 6757249"/>
              <a:gd name="connsiteX1008" fmla="*/ 2556218 w 11951120"/>
              <a:gd name="connsiteY1008" fmla="*/ 201980 h 6757249"/>
              <a:gd name="connsiteX1009" fmla="*/ 2551749 w 11951120"/>
              <a:gd name="connsiteY1009" fmla="*/ 203078 h 6757249"/>
              <a:gd name="connsiteX1010" fmla="*/ 2453433 w 11951120"/>
              <a:gd name="connsiteY1010" fmla="*/ 277667 h 6757249"/>
              <a:gd name="connsiteX1011" fmla="*/ 2453433 w 11951120"/>
              <a:gd name="connsiteY1011" fmla="*/ 229403 h 6757249"/>
              <a:gd name="connsiteX1012" fmla="*/ 2480247 w 11951120"/>
              <a:gd name="connsiteY1012" fmla="*/ 225015 h 6757249"/>
              <a:gd name="connsiteX1013" fmla="*/ 2549962 w 11951120"/>
              <a:gd name="connsiteY1013" fmla="*/ 182235 h 6757249"/>
              <a:gd name="connsiteX1014" fmla="*/ 2549962 w 11951120"/>
              <a:gd name="connsiteY1014" fmla="*/ 180803 h 6757249"/>
              <a:gd name="connsiteX1015" fmla="*/ 2598226 w 11951120"/>
              <a:gd name="connsiteY1015" fmla="*/ 132875 h 6757249"/>
              <a:gd name="connsiteX1016" fmla="*/ 4896503 w 11951120"/>
              <a:gd name="connsiteY1016" fmla="*/ 132875 h 6757249"/>
              <a:gd name="connsiteX1017" fmla="*/ 4944767 w 11951120"/>
              <a:gd name="connsiteY1017" fmla="*/ 132875 h 6757249"/>
              <a:gd name="connsiteX1018" fmla="*/ 4903085 w 11951120"/>
              <a:gd name="connsiteY1018" fmla="*/ 177536 h 6757249"/>
              <a:gd name="connsiteX1019" fmla="*/ 4856278 w 11951120"/>
              <a:gd name="connsiteY1019" fmla="*/ 198918 h 6757249"/>
              <a:gd name="connsiteX1020" fmla="*/ 4854496 w 11951120"/>
              <a:gd name="connsiteY1020" fmla="*/ 201980 h 6757249"/>
              <a:gd name="connsiteX1021" fmla="*/ 4850026 w 11951120"/>
              <a:gd name="connsiteY1021" fmla="*/ 203078 h 6757249"/>
              <a:gd name="connsiteX1022" fmla="*/ 4751710 w 11951120"/>
              <a:gd name="connsiteY1022" fmla="*/ 277667 h 6757249"/>
              <a:gd name="connsiteX1023" fmla="*/ 4751710 w 11951120"/>
              <a:gd name="connsiteY1023" fmla="*/ 229403 h 6757249"/>
              <a:gd name="connsiteX1024" fmla="*/ 4778524 w 11951120"/>
              <a:gd name="connsiteY1024" fmla="*/ 225015 h 6757249"/>
              <a:gd name="connsiteX1025" fmla="*/ 4848239 w 11951120"/>
              <a:gd name="connsiteY1025" fmla="*/ 182235 h 6757249"/>
              <a:gd name="connsiteX1026" fmla="*/ 4848239 w 11951120"/>
              <a:gd name="connsiteY1026" fmla="*/ 180803 h 6757249"/>
              <a:gd name="connsiteX1027" fmla="*/ 4896503 w 11951120"/>
              <a:gd name="connsiteY1027" fmla="*/ 132875 h 6757249"/>
              <a:gd name="connsiteX1028" fmla="*/ 5353337 w 11951120"/>
              <a:gd name="connsiteY1028" fmla="*/ 559 h 6757249"/>
              <a:gd name="connsiteX1029" fmla="*/ 5427409 w 11951120"/>
              <a:gd name="connsiteY1029" fmla="*/ 58209 h 6757249"/>
              <a:gd name="connsiteX1030" fmla="*/ 5427403 w 11951120"/>
              <a:gd name="connsiteY1030" fmla="*/ 58216 h 6757249"/>
              <a:gd name="connsiteX1031" fmla="*/ 5428481 w 11951120"/>
              <a:gd name="connsiteY1031" fmla="*/ 57797 h 6757249"/>
              <a:gd name="connsiteX1032" fmla="*/ 5357386 w 11951120"/>
              <a:gd name="connsiteY1032" fmla="*/ 133768 h 6757249"/>
              <a:gd name="connsiteX1033" fmla="*/ 5356690 w 11951120"/>
              <a:gd name="connsiteY1033" fmla="*/ 133069 h 6757249"/>
              <a:gd name="connsiteX1034" fmla="*/ 5350514 w 11951120"/>
              <a:gd name="connsiteY1034" fmla="*/ 159280 h 6757249"/>
              <a:gd name="connsiteX1035" fmla="*/ 5330939 w 11951120"/>
              <a:gd name="connsiteY1035" fmla="*/ 180322 h 6757249"/>
              <a:gd name="connsiteX1036" fmla="*/ 5329956 w 11951120"/>
              <a:gd name="connsiteY1036" fmla="*/ 181757 h 6757249"/>
              <a:gd name="connsiteX1037" fmla="*/ 5331552 w 11951120"/>
              <a:gd name="connsiteY1037" fmla="*/ 181139 h 6757249"/>
              <a:gd name="connsiteX1038" fmla="*/ 5357218 w 11951120"/>
              <a:gd name="connsiteY1038" fmla="*/ 224091 h 6757249"/>
              <a:gd name="connsiteX1039" fmla="*/ 5400595 w 11951120"/>
              <a:gd name="connsiteY1039" fmla="*/ 228446 h 6757249"/>
              <a:gd name="connsiteX1040" fmla="*/ 5399490 w 11951120"/>
              <a:gd name="connsiteY1040" fmla="*/ 230888 h 6757249"/>
              <a:gd name="connsiteX1041" fmla="*/ 5401532 w 11951120"/>
              <a:gd name="connsiteY1041" fmla="*/ 229074 h 6757249"/>
              <a:gd name="connsiteX1042" fmla="*/ 5633874 w 11951120"/>
              <a:gd name="connsiteY1042" fmla="*/ 84611 h 6757249"/>
              <a:gd name="connsiteX1043" fmla="*/ 5476057 w 11951120"/>
              <a:gd name="connsiteY1043" fmla="*/ 229074 h 6757249"/>
              <a:gd name="connsiteX1044" fmla="*/ 5475966 w 11951120"/>
              <a:gd name="connsiteY1044" fmla="*/ 229576 h 6757249"/>
              <a:gd name="connsiteX1045" fmla="*/ 5476078 w 11951120"/>
              <a:gd name="connsiteY1045" fmla="*/ 229403 h 6757249"/>
              <a:gd name="connsiteX1046" fmla="*/ 5497833 w 11951120"/>
              <a:gd name="connsiteY1046" fmla="*/ 229403 h 6757249"/>
              <a:gd name="connsiteX1047" fmla="*/ 5498885 w 11951120"/>
              <a:gd name="connsiteY1047" fmla="*/ 231871 h 6757249"/>
              <a:gd name="connsiteX1048" fmla="*/ 5499268 w 11951120"/>
              <a:gd name="connsiteY1048" fmla="*/ 229594 h 6757249"/>
              <a:gd name="connsiteX1049" fmla="*/ 5595789 w 11951120"/>
              <a:gd name="connsiteY1049" fmla="*/ 247964 h 6757249"/>
              <a:gd name="connsiteX1050" fmla="*/ 5595628 w 11951120"/>
              <a:gd name="connsiteY1050" fmla="*/ 276646 h 6757249"/>
              <a:gd name="connsiteX1051" fmla="*/ 5617197 w 11951120"/>
              <a:gd name="connsiteY1051" fmla="*/ 292185 h 6757249"/>
              <a:gd name="connsiteX1052" fmla="*/ 5654958 w 11951120"/>
              <a:gd name="connsiteY1052" fmla="*/ 297608 h 6757249"/>
              <a:gd name="connsiteX1053" fmla="*/ 5690806 w 11951120"/>
              <a:gd name="connsiteY1053" fmla="*/ 298353 h 6757249"/>
              <a:gd name="connsiteX1054" fmla="*/ 5712927 w 11951120"/>
              <a:gd name="connsiteY1054" fmla="*/ 282248 h 6757249"/>
              <a:gd name="connsiteX1055" fmla="*/ 5787820 w 11951120"/>
              <a:gd name="connsiteY1055" fmla="*/ 276636 h 6757249"/>
              <a:gd name="connsiteX1056" fmla="*/ 5793007 w 11951120"/>
              <a:gd name="connsiteY1056" fmla="*/ 318798 h 6757249"/>
              <a:gd name="connsiteX1057" fmla="*/ 5779707 w 11951120"/>
              <a:gd name="connsiteY1057" fmla="*/ 339343 h 6757249"/>
              <a:gd name="connsiteX1058" fmla="*/ 5798409 w 11951120"/>
              <a:gd name="connsiteY1058" fmla="*/ 347175 h 6757249"/>
              <a:gd name="connsiteX1059" fmla="*/ 5798409 w 11951120"/>
              <a:gd name="connsiteY1059" fmla="*/ 395577 h 6757249"/>
              <a:gd name="connsiteX1060" fmla="*/ 5799751 w 11951120"/>
              <a:gd name="connsiteY1060" fmla="*/ 400543 h 6757249"/>
              <a:gd name="connsiteX1061" fmla="*/ 5799751 w 11951120"/>
              <a:gd name="connsiteY1061" fmla="*/ 395263 h 6757249"/>
              <a:gd name="connsiteX1062" fmla="*/ 5896662 w 11951120"/>
              <a:gd name="connsiteY1062" fmla="*/ 368833 h 6757249"/>
              <a:gd name="connsiteX1063" fmla="*/ 5896846 w 11951120"/>
              <a:gd name="connsiteY1063" fmla="*/ 369355 h 6757249"/>
              <a:gd name="connsiteX1064" fmla="*/ 5932028 w 11951120"/>
              <a:gd name="connsiteY1064" fmla="*/ 339339 h 6757249"/>
              <a:gd name="connsiteX1065" fmla="*/ 5939291 w 11951120"/>
              <a:gd name="connsiteY1065" fmla="*/ 393261 h 6757249"/>
              <a:gd name="connsiteX1066" fmla="*/ 5923950 w 11951120"/>
              <a:gd name="connsiteY1066" fmla="*/ 441230 h 6757249"/>
              <a:gd name="connsiteX1067" fmla="*/ 5926783 w 11951120"/>
              <a:gd name="connsiteY1067" fmla="*/ 441230 h 6757249"/>
              <a:gd name="connsiteX1068" fmla="*/ 5931129 w 11951120"/>
              <a:gd name="connsiteY1068" fmla="*/ 445470 h 6757249"/>
              <a:gd name="connsiteX1069" fmla="*/ 5928820 w 11951120"/>
              <a:gd name="connsiteY1069" fmla="*/ 439523 h 6757249"/>
              <a:gd name="connsiteX1070" fmla="*/ 5946947 w 11951120"/>
              <a:gd name="connsiteY1070" fmla="*/ 409358 h 6757249"/>
              <a:gd name="connsiteX1071" fmla="*/ 5979842 w 11951120"/>
              <a:gd name="connsiteY1071" fmla="*/ 396324 h 6757249"/>
              <a:gd name="connsiteX1072" fmla="*/ 5979766 w 11951120"/>
              <a:gd name="connsiteY1072" fmla="*/ 396071 h 6757249"/>
              <a:gd name="connsiteX1073" fmla="*/ 6005983 w 11951120"/>
              <a:gd name="connsiteY1073" fmla="*/ 374196 h 6757249"/>
              <a:gd name="connsiteX1074" fmla="*/ 6097745 w 11951120"/>
              <a:gd name="connsiteY1074" fmla="*/ 396071 h 6757249"/>
              <a:gd name="connsiteX1075" fmla="*/ 6097745 w 11951120"/>
              <a:gd name="connsiteY1075" fmla="*/ 407260 h 6757249"/>
              <a:gd name="connsiteX1076" fmla="*/ 6098559 w 11951120"/>
              <a:gd name="connsiteY1076" fmla="*/ 406000 h 6757249"/>
              <a:gd name="connsiteX1077" fmla="*/ 6098559 w 11951120"/>
              <a:gd name="connsiteY1077" fmla="*/ 395539 h 6757249"/>
              <a:gd name="connsiteX1078" fmla="*/ 6124709 w 11951120"/>
              <a:gd name="connsiteY1078" fmla="*/ 347952 h 6757249"/>
              <a:gd name="connsiteX1079" fmla="*/ 6124559 w 11951120"/>
              <a:gd name="connsiteY1079" fmla="*/ 347871 h 6757249"/>
              <a:gd name="connsiteX1080" fmla="*/ 6124987 w 11951120"/>
              <a:gd name="connsiteY1080" fmla="*/ 347443 h 6757249"/>
              <a:gd name="connsiteX1081" fmla="*/ 6125139 w 11951120"/>
              <a:gd name="connsiteY1081" fmla="*/ 347166 h 6757249"/>
              <a:gd name="connsiteX1082" fmla="*/ 6125269 w 11951120"/>
              <a:gd name="connsiteY1082" fmla="*/ 347165 h 6757249"/>
              <a:gd name="connsiteX1083" fmla="*/ 6146680 w 11951120"/>
              <a:gd name="connsiteY1083" fmla="*/ 325932 h 6757249"/>
              <a:gd name="connsiteX1084" fmla="*/ 6146999 w 11951120"/>
              <a:gd name="connsiteY1084" fmla="*/ 325932 h 6757249"/>
              <a:gd name="connsiteX1085" fmla="*/ 6146009 w 11951120"/>
              <a:gd name="connsiteY1085" fmla="*/ 325232 h 6757249"/>
              <a:gd name="connsiteX1086" fmla="*/ 6269351 w 11951120"/>
              <a:gd name="connsiteY1086" fmla="*/ 254352 h 6757249"/>
              <a:gd name="connsiteX1087" fmla="*/ 6269351 w 11951120"/>
              <a:gd name="connsiteY1087" fmla="*/ 260531 h 6757249"/>
              <a:gd name="connsiteX1088" fmla="*/ 6270080 w 11951120"/>
              <a:gd name="connsiteY1088" fmla="*/ 255323 h 6757249"/>
              <a:gd name="connsiteX1089" fmla="*/ 6340284 w 11951120"/>
              <a:gd name="connsiteY1089" fmla="*/ 197227 h 6757249"/>
              <a:gd name="connsiteX1090" fmla="*/ 6340409 w 11951120"/>
              <a:gd name="connsiteY1090" fmla="*/ 197322 h 6757249"/>
              <a:gd name="connsiteX1091" fmla="*/ 6365315 w 11951120"/>
              <a:gd name="connsiteY1091" fmla="*/ 176506 h 6757249"/>
              <a:gd name="connsiteX1092" fmla="*/ 6366459 w 11951120"/>
              <a:gd name="connsiteY1092" fmla="*/ 176645 h 6757249"/>
              <a:gd name="connsiteX1093" fmla="*/ 6414250 w 11951120"/>
              <a:gd name="connsiteY1093" fmla="*/ 132875 h 6757249"/>
              <a:gd name="connsiteX1094" fmla="*/ 6436238 w 11951120"/>
              <a:gd name="connsiteY1094" fmla="*/ 203755 h 6757249"/>
              <a:gd name="connsiteX1095" fmla="*/ 6436263 w 11951120"/>
              <a:gd name="connsiteY1095" fmla="*/ 204809 h 6757249"/>
              <a:gd name="connsiteX1096" fmla="*/ 6437543 w 11951120"/>
              <a:gd name="connsiteY1096" fmla="*/ 203260 h 6757249"/>
              <a:gd name="connsiteX1097" fmla="*/ 6529452 w 11951120"/>
              <a:gd name="connsiteY1097" fmla="*/ 181195 h 6757249"/>
              <a:gd name="connsiteX1098" fmla="*/ 6529440 w 11951120"/>
              <a:gd name="connsiteY1098" fmla="*/ 181139 h 6757249"/>
              <a:gd name="connsiteX1099" fmla="*/ 6563459 w 11951120"/>
              <a:gd name="connsiteY1099" fmla="*/ 150036 h 6757249"/>
              <a:gd name="connsiteX1100" fmla="*/ 6606136 w 11951120"/>
              <a:gd name="connsiteY1100" fmla="*/ 151081 h 6757249"/>
              <a:gd name="connsiteX1101" fmla="*/ 6607288 w 11951120"/>
              <a:gd name="connsiteY1101" fmla="*/ 150353 h 6757249"/>
              <a:gd name="connsiteX1102" fmla="*/ 6655465 w 11951120"/>
              <a:gd name="connsiteY1102" fmla="*/ 180940 h 6757249"/>
              <a:gd name="connsiteX1103" fmla="*/ 6655196 w 11951120"/>
              <a:gd name="connsiteY1103" fmla="*/ 181208 h 6757249"/>
              <a:gd name="connsiteX1104" fmla="*/ 6655799 w 11951120"/>
              <a:gd name="connsiteY1104" fmla="*/ 181197 h 6757249"/>
              <a:gd name="connsiteX1105" fmla="*/ 6725514 w 11951120"/>
              <a:gd name="connsiteY1105" fmla="*/ 132875 h 6757249"/>
              <a:gd name="connsiteX1106" fmla="*/ 6799585 w 11951120"/>
              <a:gd name="connsiteY1106" fmla="*/ 229518 h 6757249"/>
              <a:gd name="connsiteX1107" fmla="*/ 6799293 w 11951120"/>
              <a:gd name="connsiteY1107" fmla="*/ 230405 h 6757249"/>
              <a:gd name="connsiteX1108" fmla="*/ 6800592 w 11951120"/>
              <a:gd name="connsiteY1108" fmla="*/ 229087 h 6757249"/>
              <a:gd name="connsiteX1109" fmla="*/ 6861593 w 11951120"/>
              <a:gd name="connsiteY1109" fmla="*/ 277667 h 6757249"/>
              <a:gd name="connsiteX1110" fmla="*/ 6918236 w 11951120"/>
              <a:gd name="connsiteY1110" fmla="*/ 326248 h 6757249"/>
              <a:gd name="connsiteX1111" fmla="*/ 6917922 w 11951120"/>
              <a:gd name="connsiteY1111" fmla="*/ 326536 h 6757249"/>
              <a:gd name="connsiteX1112" fmla="*/ 6918846 w 11951120"/>
              <a:gd name="connsiteY1112" fmla="*/ 326170 h 6757249"/>
              <a:gd name="connsiteX1113" fmla="*/ 6971387 w 11951120"/>
              <a:gd name="connsiteY1113" fmla="*/ 282076 h 6757249"/>
              <a:gd name="connsiteX1114" fmla="*/ 7076058 w 11951120"/>
              <a:gd name="connsiteY1114" fmla="*/ 295718 h 6757249"/>
              <a:gd name="connsiteX1115" fmla="*/ 7111332 w 11951120"/>
              <a:gd name="connsiteY1115" fmla="*/ 277750 h 6757249"/>
              <a:gd name="connsiteX1116" fmla="*/ 7111293 w 11951120"/>
              <a:gd name="connsiteY1116" fmla="*/ 277725 h 6757249"/>
              <a:gd name="connsiteX1117" fmla="*/ 7207821 w 11951120"/>
              <a:gd name="connsiteY1117" fmla="*/ 229403 h 6757249"/>
              <a:gd name="connsiteX1118" fmla="*/ 7209115 w 11951120"/>
              <a:gd name="connsiteY1118" fmla="*/ 231570 h 6757249"/>
              <a:gd name="connsiteX1119" fmla="*/ 7209250 w 11951120"/>
              <a:gd name="connsiteY1119" fmla="*/ 229224 h 6757249"/>
              <a:gd name="connsiteX1120" fmla="*/ 7269415 w 11951120"/>
              <a:gd name="connsiteY1120" fmla="*/ 284593 h 6757249"/>
              <a:gd name="connsiteX1121" fmla="*/ 7266779 w 11951120"/>
              <a:gd name="connsiteY1121" fmla="*/ 308716 h 6757249"/>
              <a:gd name="connsiteX1122" fmla="*/ 7274524 w 11951120"/>
              <a:gd name="connsiteY1122" fmla="*/ 305763 h 6757249"/>
              <a:gd name="connsiteX1123" fmla="*/ 7319256 w 11951120"/>
              <a:gd name="connsiteY1123" fmla="*/ 299949 h 6757249"/>
              <a:gd name="connsiteX1124" fmla="*/ 7348573 w 11951120"/>
              <a:gd name="connsiteY1124" fmla="*/ 299424 h 6757249"/>
              <a:gd name="connsiteX1125" fmla="*/ 7369038 w 11951120"/>
              <a:gd name="connsiteY1125" fmla="*/ 285711 h 6757249"/>
              <a:gd name="connsiteX1126" fmla="*/ 7371216 w 11951120"/>
              <a:gd name="connsiteY1126" fmla="*/ 332791 h 6757249"/>
              <a:gd name="connsiteX1127" fmla="*/ 7373278 w 11951120"/>
              <a:gd name="connsiteY1127" fmla="*/ 371133 h 6757249"/>
              <a:gd name="connsiteX1128" fmla="*/ 7382262 w 11951120"/>
              <a:gd name="connsiteY1128" fmla="*/ 367839 h 6757249"/>
              <a:gd name="connsiteX1129" fmla="*/ 7400108 w 11951120"/>
              <a:gd name="connsiteY1129" fmla="*/ 353123 h 6757249"/>
              <a:gd name="connsiteX1130" fmla="*/ 7399804 w 11951120"/>
              <a:gd name="connsiteY1130" fmla="*/ 351566 h 6757249"/>
              <a:gd name="connsiteX1131" fmla="*/ 7465285 w 11951120"/>
              <a:gd name="connsiteY1131" fmla="*/ 309996 h 6757249"/>
              <a:gd name="connsiteX1132" fmla="*/ 7479974 w 11951120"/>
              <a:gd name="connsiteY1132" fmla="*/ 322345 h 6757249"/>
              <a:gd name="connsiteX1133" fmla="*/ 7481203 w 11951120"/>
              <a:gd name="connsiteY1133" fmla="*/ 327908 h 6757249"/>
              <a:gd name="connsiteX1134" fmla="*/ 7489079 w 11951120"/>
              <a:gd name="connsiteY1134" fmla="*/ 332213 h 6757249"/>
              <a:gd name="connsiteX1135" fmla="*/ 7509343 w 11951120"/>
              <a:gd name="connsiteY1135" fmla="*/ 348870 h 6757249"/>
              <a:gd name="connsiteX1136" fmla="*/ 7515578 w 11951120"/>
              <a:gd name="connsiteY1136" fmla="*/ 381507 h 6757249"/>
              <a:gd name="connsiteX1137" fmla="*/ 7532307 w 11951120"/>
              <a:gd name="connsiteY1137" fmla="*/ 408600 h 6757249"/>
              <a:gd name="connsiteX1138" fmla="*/ 7540308 w 11951120"/>
              <a:gd name="connsiteY1138" fmla="*/ 402744 h 6757249"/>
              <a:gd name="connsiteX1139" fmla="*/ 7620748 w 11951120"/>
              <a:gd name="connsiteY1139" fmla="*/ 418021 h 6757249"/>
              <a:gd name="connsiteX1140" fmla="*/ 7620228 w 11951120"/>
              <a:gd name="connsiteY1140" fmla="*/ 418780 h 6757249"/>
              <a:gd name="connsiteX1141" fmla="*/ 7667482 w 11951120"/>
              <a:gd name="connsiteY1141" fmla="*/ 418780 h 6757249"/>
              <a:gd name="connsiteX1142" fmla="*/ 7668025 w 11951120"/>
              <a:gd name="connsiteY1142" fmla="*/ 418231 h 6757249"/>
              <a:gd name="connsiteX1143" fmla="*/ 7707398 w 11951120"/>
              <a:gd name="connsiteY1143" fmla="*/ 338409 h 6757249"/>
              <a:gd name="connsiteX1144" fmla="*/ 7735834 w 11951120"/>
              <a:gd name="connsiteY1144" fmla="*/ 357257 h 6757249"/>
              <a:gd name="connsiteX1145" fmla="*/ 7738018 w 11951120"/>
              <a:gd name="connsiteY1145" fmla="*/ 395976 h 6757249"/>
              <a:gd name="connsiteX1146" fmla="*/ 7738961 w 11951120"/>
              <a:gd name="connsiteY1146" fmla="*/ 395647 h 6757249"/>
              <a:gd name="connsiteX1147" fmla="*/ 7765541 w 11951120"/>
              <a:gd name="connsiteY1147" fmla="*/ 448201 h 6757249"/>
              <a:gd name="connsiteX1148" fmla="*/ 7763702 w 11951120"/>
              <a:gd name="connsiteY1148" fmla="*/ 449503 h 6757249"/>
              <a:gd name="connsiteX1149" fmla="*/ 7764725 w 11951120"/>
              <a:gd name="connsiteY1149" fmla="*/ 449334 h 6757249"/>
              <a:gd name="connsiteX1150" fmla="*/ 7786681 w 11951120"/>
              <a:gd name="connsiteY1150" fmla="*/ 449334 h 6757249"/>
              <a:gd name="connsiteX1151" fmla="*/ 7843767 w 11951120"/>
              <a:gd name="connsiteY1151" fmla="*/ 462430 h 6757249"/>
              <a:gd name="connsiteX1152" fmla="*/ 7846066 w 11951120"/>
              <a:gd name="connsiteY1152" fmla="*/ 465478 h 6757249"/>
              <a:gd name="connsiteX1153" fmla="*/ 8048757 w 11951120"/>
              <a:gd name="connsiteY1153" fmla="*/ 373576 h 6757249"/>
              <a:gd name="connsiteX1154" fmla="*/ 8048757 w 11951120"/>
              <a:gd name="connsiteY1154" fmla="*/ 351575 h 6757249"/>
              <a:gd name="connsiteX1155" fmla="*/ 8074356 w 11951120"/>
              <a:gd name="connsiteY1155" fmla="*/ 337824 h 6757249"/>
              <a:gd name="connsiteX1156" fmla="*/ 8096687 w 11951120"/>
              <a:gd name="connsiteY1156" fmla="*/ 347175 h 6757249"/>
              <a:gd name="connsiteX1157" fmla="*/ 8096687 w 11951120"/>
              <a:gd name="connsiteY1157" fmla="*/ 395577 h 6757249"/>
              <a:gd name="connsiteX1158" fmla="*/ 8098028 w 11951120"/>
              <a:gd name="connsiteY1158" fmla="*/ 400543 h 6757249"/>
              <a:gd name="connsiteX1159" fmla="*/ 8098028 w 11951120"/>
              <a:gd name="connsiteY1159" fmla="*/ 395263 h 6757249"/>
              <a:gd name="connsiteX1160" fmla="*/ 8178991 w 11951120"/>
              <a:gd name="connsiteY1160" fmla="*/ 373183 h 6757249"/>
              <a:gd name="connsiteX1161" fmla="*/ 8183265 w 11951120"/>
              <a:gd name="connsiteY1161" fmla="*/ 368833 h 6757249"/>
              <a:gd name="connsiteX1162" fmla="*/ 8186459 w 11951120"/>
              <a:gd name="connsiteY1162" fmla="*/ 371146 h 6757249"/>
              <a:gd name="connsiteX1163" fmla="*/ 8194940 w 11951120"/>
              <a:gd name="connsiteY1163" fmla="*/ 368833 h 6757249"/>
              <a:gd name="connsiteX1164" fmla="*/ 8195124 w 11951120"/>
              <a:gd name="connsiteY1164" fmla="*/ 369355 h 6757249"/>
              <a:gd name="connsiteX1165" fmla="*/ 8230306 w 11951120"/>
              <a:gd name="connsiteY1165" fmla="*/ 339339 h 6757249"/>
              <a:gd name="connsiteX1166" fmla="*/ 8237569 w 11951120"/>
              <a:gd name="connsiteY1166" fmla="*/ 393261 h 6757249"/>
              <a:gd name="connsiteX1167" fmla="*/ 8231321 w 11951120"/>
              <a:gd name="connsiteY1167" fmla="*/ 412796 h 6757249"/>
              <a:gd name="connsiteX1168" fmla="*/ 8242801 w 11951120"/>
              <a:gd name="connsiteY1168" fmla="*/ 432204 h 6757249"/>
              <a:gd name="connsiteX1169" fmla="*/ 8253081 w 11951120"/>
              <a:gd name="connsiteY1169" fmla="*/ 514806 h 6757249"/>
              <a:gd name="connsiteX1170" fmla="*/ 8254011 w 11951120"/>
              <a:gd name="connsiteY1170" fmla="*/ 514997 h 6757249"/>
              <a:gd name="connsiteX1171" fmla="*/ 8268851 w 11951120"/>
              <a:gd name="connsiteY1171" fmla="*/ 535156 h 6757249"/>
              <a:gd name="connsiteX1172" fmla="*/ 8279822 w 11951120"/>
              <a:gd name="connsiteY1172" fmla="*/ 518120 h 6757249"/>
              <a:gd name="connsiteX1173" fmla="*/ 8316235 w 11951120"/>
              <a:gd name="connsiteY1173" fmla="*/ 500678 h 6757249"/>
              <a:gd name="connsiteX1174" fmla="*/ 8324574 w 11951120"/>
              <a:gd name="connsiteY1174" fmla="*/ 483696 h 6757249"/>
              <a:gd name="connsiteX1175" fmla="*/ 8344435 w 11951120"/>
              <a:gd name="connsiteY1175" fmla="*/ 468929 h 6757249"/>
              <a:gd name="connsiteX1176" fmla="*/ 8353809 w 11951120"/>
              <a:gd name="connsiteY1176" fmla="*/ 448033 h 6757249"/>
              <a:gd name="connsiteX1177" fmla="*/ 8386846 w 11951120"/>
              <a:gd name="connsiteY1177" fmla="*/ 417098 h 6757249"/>
              <a:gd name="connsiteX1178" fmla="*/ 8388694 w 11951120"/>
              <a:gd name="connsiteY1178" fmla="*/ 418604 h 6757249"/>
              <a:gd name="connsiteX1179" fmla="*/ 8421292 w 11951120"/>
              <a:gd name="connsiteY1179" fmla="*/ 368147 h 6757249"/>
              <a:gd name="connsiteX1180" fmla="*/ 8468550 w 11951120"/>
              <a:gd name="connsiteY1180" fmla="*/ 351838 h 6757249"/>
              <a:gd name="connsiteX1181" fmla="*/ 8505926 w 11951120"/>
              <a:gd name="connsiteY1181" fmla="*/ 366474 h 6757249"/>
              <a:gd name="connsiteX1182" fmla="*/ 8501569 w 11951120"/>
              <a:gd name="connsiteY1182" fmla="*/ 485203 h 6757249"/>
              <a:gd name="connsiteX1183" fmla="*/ 8462500 w 11951120"/>
              <a:gd name="connsiteY1183" fmla="*/ 542160 h 6757249"/>
              <a:gd name="connsiteX1184" fmla="*/ 8487019 w 11951120"/>
              <a:gd name="connsiteY1184" fmla="*/ 567033 h 6757249"/>
              <a:gd name="connsiteX1185" fmla="*/ 8488254 w 11951120"/>
              <a:gd name="connsiteY1185" fmla="*/ 568156 h 6757249"/>
              <a:gd name="connsiteX1186" fmla="*/ 8488251 w 11951120"/>
              <a:gd name="connsiteY1186" fmla="*/ 568148 h 6757249"/>
              <a:gd name="connsiteX1187" fmla="*/ 8522741 w 11951120"/>
              <a:gd name="connsiteY1187" fmla="*/ 515712 h 6757249"/>
              <a:gd name="connsiteX1188" fmla="*/ 8579540 w 11951120"/>
              <a:gd name="connsiteY1188" fmla="*/ 489805 h 6757249"/>
              <a:gd name="connsiteX1189" fmla="*/ 8579774 w 11951120"/>
              <a:gd name="connsiteY1189" fmla="*/ 488275 h 6757249"/>
              <a:gd name="connsiteX1190" fmla="*/ 8606588 w 11951120"/>
              <a:gd name="connsiteY1190" fmla="*/ 470724 h 6757249"/>
              <a:gd name="connsiteX1191" fmla="*/ 8606699 w 11951120"/>
              <a:gd name="connsiteY1191" fmla="*/ 471184 h 6757249"/>
              <a:gd name="connsiteX1192" fmla="*/ 8606995 w 11951120"/>
              <a:gd name="connsiteY1192" fmla="*/ 470409 h 6757249"/>
              <a:gd name="connsiteX1193" fmla="*/ 8606995 w 11951120"/>
              <a:gd name="connsiteY1193" fmla="*/ 444497 h 6757249"/>
              <a:gd name="connsiteX1194" fmla="*/ 8580670 w 11951120"/>
              <a:gd name="connsiteY1194" fmla="*/ 444497 h 6757249"/>
              <a:gd name="connsiteX1195" fmla="*/ 8642097 w 11951120"/>
              <a:gd name="connsiteY1195" fmla="*/ 422293 h 6757249"/>
              <a:gd name="connsiteX1196" fmla="*/ 8685424 w 11951120"/>
              <a:gd name="connsiteY1196" fmla="*/ 437281 h 6757249"/>
              <a:gd name="connsiteX1197" fmla="*/ 8723665 w 11951120"/>
              <a:gd name="connsiteY1197" fmla="*/ 422965 h 6757249"/>
              <a:gd name="connsiteX1198" fmla="*/ 8723518 w 11951120"/>
              <a:gd name="connsiteY1198" fmla="*/ 421889 h 6757249"/>
              <a:gd name="connsiteX1199" fmla="*/ 8723518 w 11951120"/>
              <a:gd name="connsiteY1199" fmla="*/ 395532 h 6757249"/>
              <a:gd name="connsiteX1200" fmla="*/ 8850863 w 11951120"/>
              <a:gd name="connsiteY1200" fmla="*/ 364781 h 6757249"/>
              <a:gd name="connsiteX1201" fmla="*/ 8951861 w 11951120"/>
              <a:gd name="connsiteY1201" fmla="*/ 314813 h 6757249"/>
              <a:gd name="connsiteX1202" fmla="*/ 9013338 w 11951120"/>
              <a:gd name="connsiteY1202" fmla="*/ 399925 h 6757249"/>
              <a:gd name="connsiteX1203" fmla="*/ 9013117 w 11951120"/>
              <a:gd name="connsiteY1203" fmla="*/ 401692 h 6757249"/>
              <a:gd name="connsiteX1204" fmla="*/ 9013833 w 11951120"/>
              <a:gd name="connsiteY1204" fmla="*/ 401269 h 6757249"/>
              <a:gd name="connsiteX1205" fmla="*/ 9084257 w 11951120"/>
              <a:gd name="connsiteY1205" fmla="*/ 352745 h 6757249"/>
              <a:gd name="connsiteX1206" fmla="*/ 9086169 w 11951120"/>
              <a:gd name="connsiteY1206" fmla="*/ 354108 h 6757249"/>
              <a:gd name="connsiteX1207" fmla="*/ 9084762 w 11951120"/>
              <a:gd name="connsiteY1207" fmla="*/ 351404 h 6757249"/>
              <a:gd name="connsiteX1208" fmla="*/ 9154759 w 11951120"/>
              <a:gd name="connsiteY1208" fmla="*/ 360214 h 6757249"/>
              <a:gd name="connsiteX1209" fmla="*/ 9160229 w 11951120"/>
              <a:gd name="connsiteY1209" fmla="*/ 403715 h 6757249"/>
              <a:gd name="connsiteX1210" fmla="*/ 9133353 w 11951120"/>
              <a:gd name="connsiteY1210" fmla="*/ 443224 h 6757249"/>
              <a:gd name="connsiteX1211" fmla="*/ 9133109 w 11951120"/>
              <a:gd name="connsiteY1211" fmla="*/ 443999 h 6757249"/>
              <a:gd name="connsiteX1212" fmla="*/ 9133270 w 11951120"/>
              <a:gd name="connsiteY1212" fmla="*/ 443911 h 6757249"/>
              <a:gd name="connsiteX1213" fmla="*/ 9159595 w 11951120"/>
              <a:gd name="connsiteY1213" fmla="*/ 492312 h 6757249"/>
              <a:gd name="connsiteX1214" fmla="*/ 9160791 w 11951120"/>
              <a:gd name="connsiteY1214" fmla="*/ 491913 h 6757249"/>
              <a:gd name="connsiteX1215" fmla="*/ 9189405 w 11951120"/>
              <a:gd name="connsiteY1215" fmla="*/ 449934 h 6757249"/>
              <a:gd name="connsiteX1216" fmla="*/ 9302398 w 11951120"/>
              <a:gd name="connsiteY1216" fmla="*/ 471137 h 6757249"/>
              <a:gd name="connsiteX1217" fmla="*/ 9303161 w 11951120"/>
              <a:gd name="connsiteY1217" fmla="*/ 475062 h 6757249"/>
              <a:gd name="connsiteX1218" fmla="*/ 9303685 w 11951120"/>
              <a:gd name="connsiteY1218" fmla="*/ 469876 h 6757249"/>
              <a:gd name="connsiteX1219" fmla="*/ 9374348 w 11951120"/>
              <a:gd name="connsiteY1219" fmla="*/ 469876 h 6757249"/>
              <a:gd name="connsiteX1220" fmla="*/ 9372594 w 11951120"/>
              <a:gd name="connsiteY1220" fmla="*/ 471319 h 6757249"/>
              <a:gd name="connsiteX1221" fmla="*/ 9374155 w 11951120"/>
              <a:gd name="connsiteY1221" fmla="*/ 470724 h 6757249"/>
              <a:gd name="connsiteX1222" fmla="*/ 9400070 w 11951120"/>
              <a:gd name="connsiteY1222" fmla="*/ 470724 h 6757249"/>
              <a:gd name="connsiteX1223" fmla="*/ 9400110 w 11951120"/>
              <a:gd name="connsiteY1223" fmla="*/ 470265 h 6757249"/>
              <a:gd name="connsiteX1224" fmla="*/ 9422260 w 11951120"/>
              <a:gd name="connsiteY1224" fmla="*/ 374196 h 6757249"/>
              <a:gd name="connsiteX1225" fmla="*/ 9470991 w 11951120"/>
              <a:gd name="connsiteY1225" fmla="*/ 448431 h 6757249"/>
              <a:gd name="connsiteX1226" fmla="*/ 9471308 w 11951120"/>
              <a:gd name="connsiteY1226" fmla="*/ 448796 h 6757249"/>
              <a:gd name="connsiteX1227" fmla="*/ 9516963 w 11951120"/>
              <a:gd name="connsiteY1227" fmla="*/ 436317 h 6757249"/>
              <a:gd name="connsiteX1228" fmla="*/ 9517179 w 11951120"/>
              <a:gd name="connsiteY1228" fmla="*/ 435101 h 6757249"/>
              <a:gd name="connsiteX1229" fmla="*/ 9512745 w 11951120"/>
              <a:gd name="connsiteY1229" fmla="*/ 430696 h 6757249"/>
              <a:gd name="connsiteX1230" fmla="*/ 9513609 w 11951120"/>
              <a:gd name="connsiteY1230" fmla="*/ 429392 h 6757249"/>
              <a:gd name="connsiteX1231" fmla="*/ 9497228 w 11951120"/>
              <a:gd name="connsiteY1231" fmla="*/ 393245 h 6757249"/>
              <a:gd name="connsiteX1232" fmla="*/ 9496701 w 11951120"/>
              <a:gd name="connsiteY1232" fmla="*/ 354079 h 6757249"/>
              <a:gd name="connsiteX1233" fmla="*/ 9495007 w 11951120"/>
              <a:gd name="connsiteY1233" fmla="*/ 352279 h 6757249"/>
              <a:gd name="connsiteX1234" fmla="*/ 9663933 w 11951120"/>
              <a:gd name="connsiteY1234" fmla="*/ 299118 h 6757249"/>
              <a:gd name="connsiteX1235" fmla="*/ 9663933 w 11951120"/>
              <a:gd name="connsiteY1235" fmla="*/ 373777 h 6757249"/>
              <a:gd name="connsiteX1236" fmla="*/ 9664159 w 11951120"/>
              <a:gd name="connsiteY1236" fmla="*/ 373845 h 6757249"/>
              <a:gd name="connsiteX1237" fmla="*/ 9720199 w 11951120"/>
              <a:gd name="connsiteY1237" fmla="*/ 353296 h 6757249"/>
              <a:gd name="connsiteX1238" fmla="*/ 9720871 w 11951120"/>
              <a:gd name="connsiteY1238" fmla="*/ 344501 h 6757249"/>
              <a:gd name="connsiteX1239" fmla="*/ 9765873 w 11951120"/>
              <a:gd name="connsiteY1239" fmla="*/ 320469 h 6757249"/>
              <a:gd name="connsiteX1240" fmla="*/ 9807621 w 11951120"/>
              <a:gd name="connsiteY1240" fmla="*/ 348870 h 6757249"/>
              <a:gd name="connsiteX1241" fmla="*/ 9831478 w 11951120"/>
              <a:gd name="connsiteY1241" fmla="*/ 410046 h 6757249"/>
              <a:gd name="connsiteX1242" fmla="*/ 9854817 w 11951120"/>
              <a:gd name="connsiteY1242" fmla="*/ 469898 h 6757249"/>
              <a:gd name="connsiteX1243" fmla="*/ 9855648 w 11951120"/>
              <a:gd name="connsiteY1243" fmla="*/ 469767 h 6757249"/>
              <a:gd name="connsiteX1244" fmla="*/ 9855648 w 11951120"/>
              <a:gd name="connsiteY1244" fmla="*/ 491792 h 6757249"/>
              <a:gd name="connsiteX1245" fmla="*/ 9857683 w 11951120"/>
              <a:gd name="connsiteY1245" fmla="*/ 492640 h 6757249"/>
              <a:gd name="connsiteX1246" fmla="*/ 9880411 w 11951120"/>
              <a:gd name="connsiteY1246" fmla="*/ 489390 h 6757249"/>
              <a:gd name="connsiteX1247" fmla="*/ 9917469 w 11951120"/>
              <a:gd name="connsiteY1247" fmla="*/ 435866 h 6757249"/>
              <a:gd name="connsiteX1248" fmla="*/ 9908829 w 11951120"/>
              <a:gd name="connsiteY1248" fmla="*/ 518989 h 6757249"/>
              <a:gd name="connsiteX1249" fmla="*/ 9907816 w 11951120"/>
              <a:gd name="connsiteY1249" fmla="*/ 518818 h 6757249"/>
              <a:gd name="connsiteX1250" fmla="*/ 9903588 w 11951120"/>
              <a:gd name="connsiteY1250" fmla="*/ 540191 h 6757249"/>
              <a:gd name="connsiteX1251" fmla="*/ 9903633 w 11951120"/>
              <a:gd name="connsiteY1251" fmla="*/ 540194 h 6757249"/>
              <a:gd name="connsiteX1252" fmla="*/ 9991665 w 11951120"/>
              <a:gd name="connsiteY1252" fmla="*/ 566520 h 6757249"/>
              <a:gd name="connsiteX1253" fmla="*/ 10022475 w 11951120"/>
              <a:gd name="connsiteY1253" fmla="*/ 601621 h 6757249"/>
              <a:gd name="connsiteX1254" fmla="*/ 10020207 w 11951120"/>
              <a:gd name="connsiteY1254" fmla="*/ 604030 h 6757249"/>
              <a:gd name="connsiteX1255" fmla="*/ 10022713 w 11951120"/>
              <a:gd name="connsiteY1255" fmla="*/ 603934 h 6757249"/>
              <a:gd name="connsiteX1256" fmla="*/ 10077922 w 11951120"/>
              <a:gd name="connsiteY1256" fmla="*/ 572396 h 6757249"/>
              <a:gd name="connsiteX1257" fmla="*/ 10093294 w 11951120"/>
              <a:gd name="connsiteY1257" fmla="*/ 586344 h 6757249"/>
              <a:gd name="connsiteX1258" fmla="*/ 10027124 w 11951120"/>
              <a:gd name="connsiteY1258" fmla="*/ 691882 h 6757249"/>
              <a:gd name="connsiteX1259" fmla="*/ 10026908 w 11951120"/>
              <a:gd name="connsiteY1259" fmla="*/ 691750 h 6757249"/>
              <a:gd name="connsiteX1260" fmla="*/ 10026908 w 11951120"/>
              <a:gd name="connsiteY1260" fmla="*/ 707681 h 6757249"/>
              <a:gd name="connsiteX1261" fmla="*/ 10027298 w 11951120"/>
              <a:gd name="connsiteY1261" fmla="*/ 708270 h 6757249"/>
              <a:gd name="connsiteX1262" fmla="*/ 10081084 w 11951120"/>
              <a:gd name="connsiteY1262" fmla="*/ 699035 h 6757249"/>
              <a:gd name="connsiteX1263" fmla="*/ 10215941 w 11951120"/>
              <a:gd name="connsiteY1263" fmla="*/ 616257 h 6757249"/>
              <a:gd name="connsiteX1264" fmla="*/ 10218318 w 11951120"/>
              <a:gd name="connsiteY1264" fmla="*/ 616715 h 6757249"/>
              <a:gd name="connsiteX1265" fmla="*/ 10216289 w 11951120"/>
              <a:gd name="connsiteY1265" fmla="*/ 614892 h 6757249"/>
              <a:gd name="connsiteX1266" fmla="*/ 10264411 w 11951120"/>
              <a:gd name="connsiteY1266" fmla="*/ 540439 h 6757249"/>
              <a:gd name="connsiteX1267" fmla="*/ 10264559 w 11951120"/>
              <a:gd name="connsiteY1267" fmla="*/ 540534 h 6757249"/>
              <a:gd name="connsiteX1268" fmla="*/ 10276465 w 11951120"/>
              <a:gd name="connsiteY1268" fmla="*/ 512994 h 6757249"/>
              <a:gd name="connsiteX1269" fmla="*/ 10336951 w 11951120"/>
              <a:gd name="connsiteY1269" fmla="*/ 518559 h 6757249"/>
              <a:gd name="connsiteX1270" fmla="*/ 10336921 w 11951120"/>
              <a:gd name="connsiteY1270" fmla="*/ 518664 h 6757249"/>
              <a:gd name="connsiteX1271" fmla="*/ 10337743 w 11951120"/>
              <a:gd name="connsiteY1271" fmla="*/ 518022 h 6757249"/>
              <a:gd name="connsiteX1272" fmla="*/ 10381439 w 11951120"/>
              <a:gd name="connsiteY1272" fmla="*/ 513626 h 6757249"/>
              <a:gd name="connsiteX1273" fmla="*/ 10382938 w 11951120"/>
              <a:gd name="connsiteY1273" fmla="*/ 514703 h 6757249"/>
              <a:gd name="connsiteX1274" fmla="*/ 10400459 w 11951120"/>
              <a:gd name="connsiteY1274" fmla="*/ 464043 h 6757249"/>
              <a:gd name="connsiteX1275" fmla="*/ 10434679 w 11951120"/>
              <a:gd name="connsiteY1275" fmla="*/ 418829 h 6757249"/>
              <a:gd name="connsiteX1276" fmla="*/ 10433477 w 11951120"/>
              <a:gd name="connsiteY1276" fmla="*/ 417751 h 6757249"/>
              <a:gd name="connsiteX1277" fmla="*/ 10481543 w 11951120"/>
              <a:gd name="connsiteY1277" fmla="*/ 368833 h 6757249"/>
              <a:gd name="connsiteX1278" fmla="*/ 10541079 w 11951120"/>
              <a:gd name="connsiteY1278" fmla="*/ 432204 h 6757249"/>
              <a:gd name="connsiteX1279" fmla="*/ 10551359 w 11951120"/>
              <a:gd name="connsiteY1279" fmla="*/ 514806 h 6757249"/>
              <a:gd name="connsiteX1280" fmla="*/ 10552289 w 11951120"/>
              <a:gd name="connsiteY1280" fmla="*/ 514997 h 6757249"/>
              <a:gd name="connsiteX1281" fmla="*/ 10578363 w 11951120"/>
              <a:gd name="connsiteY1281" fmla="*/ 550416 h 6757249"/>
              <a:gd name="connsiteX1282" fmla="*/ 10578589 w 11951120"/>
              <a:gd name="connsiteY1282" fmla="*/ 550552 h 6757249"/>
              <a:gd name="connsiteX1283" fmla="*/ 10578270 w 11951120"/>
              <a:gd name="connsiteY1283" fmla="*/ 549927 h 6757249"/>
              <a:gd name="connsiteX1284" fmla="*/ 10604897 w 11951120"/>
              <a:gd name="connsiteY1284" fmla="*/ 519607 h 6757249"/>
              <a:gd name="connsiteX1285" fmla="*/ 10605215 w 11951120"/>
              <a:gd name="connsiteY1285" fmla="*/ 519614 h 6757249"/>
              <a:gd name="connsiteX1286" fmla="*/ 10622852 w 11951120"/>
              <a:gd name="connsiteY1286" fmla="*/ 483696 h 6757249"/>
              <a:gd name="connsiteX1287" fmla="*/ 10722727 w 11951120"/>
              <a:gd name="connsiteY1287" fmla="*/ 445598 h 6757249"/>
              <a:gd name="connsiteX1288" fmla="*/ 10744513 w 11951120"/>
              <a:gd name="connsiteY1288" fmla="*/ 471815 h 6757249"/>
              <a:gd name="connsiteX1289" fmla="*/ 10727084 w 11951120"/>
              <a:gd name="connsiteY1289" fmla="*/ 537360 h 6757249"/>
              <a:gd name="connsiteX1290" fmla="*/ 10722727 w 11951120"/>
              <a:gd name="connsiteY1290" fmla="*/ 541730 h 6757249"/>
              <a:gd name="connsiteX1291" fmla="*/ 10718749 w 11951120"/>
              <a:gd name="connsiteY1291" fmla="*/ 545719 h 6757249"/>
              <a:gd name="connsiteX1292" fmla="*/ 10718827 w 11951120"/>
              <a:gd name="connsiteY1292" fmla="*/ 548217 h 6757249"/>
              <a:gd name="connsiteX1293" fmla="*/ 10729219 w 11951120"/>
              <a:gd name="connsiteY1293" fmla="*/ 537757 h 6757249"/>
              <a:gd name="connsiteX1294" fmla="*/ 10774007 w 11951120"/>
              <a:gd name="connsiteY1294" fmla="*/ 597672 h 6757249"/>
              <a:gd name="connsiteX1295" fmla="*/ 10772948 w 11951120"/>
              <a:gd name="connsiteY1295" fmla="*/ 671784 h 6757249"/>
              <a:gd name="connsiteX1296" fmla="*/ 10792778 w 11951120"/>
              <a:gd name="connsiteY1296" fmla="*/ 663781 h 6757249"/>
              <a:gd name="connsiteX1297" fmla="*/ 10793984 w 11951120"/>
              <a:gd name="connsiteY1297" fmla="*/ 664757 h 6757249"/>
              <a:gd name="connsiteX1298" fmla="*/ 10824261 w 11951120"/>
              <a:gd name="connsiteY1298" fmla="*/ 630914 h 6757249"/>
              <a:gd name="connsiteX1299" fmla="*/ 10868374 w 11951120"/>
              <a:gd name="connsiteY1299" fmla="*/ 612835 h 6757249"/>
              <a:gd name="connsiteX1300" fmla="*/ 10884632 w 11951120"/>
              <a:gd name="connsiteY1300" fmla="*/ 637064 h 6757249"/>
              <a:gd name="connsiteX1301" fmla="*/ 10885256 w 11951120"/>
              <a:gd name="connsiteY1301" fmla="*/ 636573 h 6757249"/>
              <a:gd name="connsiteX1302" fmla="*/ 10867855 w 11951120"/>
              <a:gd name="connsiteY1302" fmla="*/ 610718 h 6757249"/>
              <a:gd name="connsiteX1303" fmla="*/ 10942933 w 11951120"/>
              <a:gd name="connsiteY1303" fmla="*/ 610718 h 6757249"/>
              <a:gd name="connsiteX1304" fmla="*/ 10939909 w 11951120"/>
              <a:gd name="connsiteY1304" fmla="*/ 613257 h 6757249"/>
              <a:gd name="connsiteX1305" fmla="*/ 10942788 w 11951120"/>
              <a:gd name="connsiteY1305" fmla="*/ 612835 h 6757249"/>
              <a:gd name="connsiteX1306" fmla="*/ 10983755 w 11951120"/>
              <a:gd name="connsiteY1306" fmla="*/ 742644 h 6757249"/>
              <a:gd name="connsiteX1307" fmla="*/ 11032943 w 11951120"/>
              <a:gd name="connsiteY1307" fmla="*/ 761835 h 6757249"/>
              <a:gd name="connsiteX1308" fmla="*/ 11035232 w 11951120"/>
              <a:gd name="connsiteY1308" fmla="*/ 760310 h 6757249"/>
              <a:gd name="connsiteX1309" fmla="*/ 11086886 w 11951120"/>
              <a:gd name="connsiteY1309" fmla="*/ 797100 h 6757249"/>
              <a:gd name="connsiteX1310" fmla="*/ 11109136 w 11951120"/>
              <a:gd name="connsiteY1310" fmla="*/ 856838 h 6757249"/>
              <a:gd name="connsiteX1311" fmla="*/ 11156674 w 11951120"/>
              <a:gd name="connsiteY1311" fmla="*/ 856838 h 6757249"/>
              <a:gd name="connsiteX1312" fmla="*/ 11156674 w 11951120"/>
              <a:gd name="connsiteY1312" fmla="*/ 808574 h 6757249"/>
              <a:gd name="connsiteX1313" fmla="*/ 11157907 w 11951120"/>
              <a:gd name="connsiteY1313" fmla="*/ 810748 h 6757249"/>
              <a:gd name="connsiteX1314" fmla="*/ 11157440 w 11951120"/>
              <a:gd name="connsiteY1314" fmla="*/ 809702 h 6757249"/>
              <a:gd name="connsiteX1315" fmla="*/ 11172524 w 11951120"/>
              <a:gd name="connsiteY1315" fmla="*/ 787827 h 6757249"/>
              <a:gd name="connsiteX1316" fmla="*/ 11197248 w 11951120"/>
              <a:gd name="connsiteY1316" fmla="*/ 779222 h 6757249"/>
              <a:gd name="connsiteX1317" fmla="*/ 11197248 w 11951120"/>
              <a:gd name="connsiteY1317" fmla="*/ 761997 h 6757249"/>
              <a:gd name="connsiteX1318" fmla="*/ 11198123 w 11951120"/>
              <a:gd name="connsiteY1318" fmla="*/ 762019 h 6757249"/>
              <a:gd name="connsiteX1319" fmla="*/ 11196601 w 11951120"/>
              <a:gd name="connsiteY1319" fmla="*/ 761039 h 6757249"/>
              <a:gd name="connsiteX1320" fmla="*/ 11178891 w 11951120"/>
              <a:gd name="connsiteY1320" fmla="*/ 739102 h 6757249"/>
              <a:gd name="connsiteX1321" fmla="*/ 11179335 w 11951120"/>
              <a:gd name="connsiteY1321" fmla="*/ 738786 h 6757249"/>
              <a:gd name="connsiteX1322" fmla="*/ 11178891 w 11951120"/>
              <a:gd name="connsiteY1322" fmla="*/ 738859 h 6757249"/>
              <a:gd name="connsiteX1323" fmla="*/ 11248606 w 11951120"/>
              <a:gd name="connsiteY1323" fmla="*/ 687019 h 6757249"/>
              <a:gd name="connsiteX1324" fmla="*/ 11248537 w 11951120"/>
              <a:gd name="connsiteY1324" fmla="*/ 687379 h 6757249"/>
              <a:gd name="connsiteX1325" fmla="*/ 11249729 w 11951120"/>
              <a:gd name="connsiteY1325" fmla="*/ 686450 h 6757249"/>
              <a:gd name="connsiteX1326" fmla="*/ 11250753 w 11951120"/>
              <a:gd name="connsiteY1326" fmla="*/ 686029 h 6757249"/>
              <a:gd name="connsiteX1327" fmla="*/ 11248606 w 11951120"/>
              <a:gd name="connsiteY1327" fmla="*/ 685066 h 6757249"/>
              <a:gd name="connsiteX1328" fmla="*/ 11323268 w 11951120"/>
              <a:gd name="connsiteY1328" fmla="*/ 588758 h 6757249"/>
              <a:gd name="connsiteX1329" fmla="*/ 11380363 w 11951120"/>
              <a:gd name="connsiteY1329" fmla="*/ 553735 h 6757249"/>
              <a:gd name="connsiteX1330" fmla="*/ 11464906 w 11951120"/>
              <a:gd name="connsiteY1330" fmla="*/ 530205 h 6757249"/>
              <a:gd name="connsiteX1331" fmla="*/ 11490158 w 11951120"/>
              <a:gd name="connsiteY1331" fmla="*/ 615024 h 6757249"/>
              <a:gd name="connsiteX1332" fmla="*/ 11487380 w 11951120"/>
              <a:gd name="connsiteY1332" fmla="*/ 615946 h 6757249"/>
              <a:gd name="connsiteX1333" fmla="*/ 11491091 w 11951120"/>
              <a:gd name="connsiteY1333" fmla="*/ 615946 h 6757249"/>
              <a:gd name="connsiteX1334" fmla="*/ 11582459 w 11951120"/>
              <a:gd name="connsiteY1334" fmla="*/ 563177 h 6757249"/>
              <a:gd name="connsiteX1335" fmla="*/ 11582914 w 11951120"/>
              <a:gd name="connsiteY1335" fmla="*/ 563868 h 6757249"/>
              <a:gd name="connsiteX1336" fmla="*/ 11582670 w 11951120"/>
              <a:gd name="connsiteY1336" fmla="*/ 562412 h 6757249"/>
              <a:gd name="connsiteX1337" fmla="*/ 11613585 w 11951120"/>
              <a:gd name="connsiteY1337" fmla="*/ 562412 h 6757249"/>
              <a:gd name="connsiteX1338" fmla="*/ 11613923 w 11951120"/>
              <a:gd name="connsiteY1338" fmla="*/ 562422 h 6757249"/>
              <a:gd name="connsiteX1339" fmla="*/ 11648600 w 11951120"/>
              <a:gd name="connsiteY1339" fmla="*/ 543233 h 6757249"/>
              <a:gd name="connsiteX1340" fmla="*/ 11683930 w 11951120"/>
              <a:gd name="connsiteY1340" fmla="*/ 540439 h 6757249"/>
              <a:gd name="connsiteX1341" fmla="*/ 11688238 w 11951120"/>
              <a:gd name="connsiteY1341" fmla="*/ 562233 h 6757249"/>
              <a:gd name="connsiteX1342" fmla="*/ 11688662 w 11951120"/>
              <a:gd name="connsiteY1342" fmla="*/ 562412 h 6757249"/>
              <a:gd name="connsiteX1343" fmla="*/ 11688336 w 11951120"/>
              <a:gd name="connsiteY1343" fmla="*/ 562735 h 6757249"/>
              <a:gd name="connsiteX1344" fmla="*/ 11688347 w 11951120"/>
              <a:gd name="connsiteY1344" fmla="*/ 562784 h 6757249"/>
              <a:gd name="connsiteX1345" fmla="*/ 11688279 w 11951120"/>
              <a:gd name="connsiteY1345" fmla="*/ 562792 h 6757249"/>
              <a:gd name="connsiteX1346" fmla="*/ 11684246 w 11951120"/>
              <a:gd name="connsiteY1346" fmla="*/ 566805 h 6757249"/>
              <a:gd name="connsiteX1347" fmla="*/ 11684335 w 11951120"/>
              <a:gd name="connsiteY1347" fmla="*/ 567253 h 6757249"/>
              <a:gd name="connsiteX1348" fmla="*/ 11731767 w 11951120"/>
              <a:gd name="connsiteY1348" fmla="*/ 567253 h 6757249"/>
              <a:gd name="connsiteX1349" fmla="*/ 11732143 w 11951120"/>
              <a:gd name="connsiteY1349" fmla="*/ 567253 h 6757249"/>
              <a:gd name="connsiteX1350" fmla="*/ 11732040 w 11951120"/>
              <a:gd name="connsiteY1350" fmla="*/ 567695 h 6757249"/>
              <a:gd name="connsiteX1351" fmla="*/ 11772312 w 11951120"/>
              <a:gd name="connsiteY1351" fmla="*/ 632875 h 6757249"/>
              <a:gd name="connsiteX1352" fmla="*/ 11757715 w 11951120"/>
              <a:gd name="connsiteY1352" fmla="*/ 711621 h 6757249"/>
              <a:gd name="connsiteX1353" fmla="*/ 11754270 w 11951120"/>
              <a:gd name="connsiteY1353" fmla="*/ 713395 h 6757249"/>
              <a:gd name="connsiteX1354" fmla="*/ 11758957 w 11951120"/>
              <a:gd name="connsiteY1354" fmla="*/ 713679 h 6757249"/>
              <a:gd name="connsiteX1355" fmla="*/ 11732143 w 11951120"/>
              <a:gd name="connsiteY1355" fmla="*/ 808576 h 6757249"/>
              <a:gd name="connsiteX1356" fmla="*/ 11729436 w 11951120"/>
              <a:gd name="connsiteY1356" fmla="*/ 808576 h 6757249"/>
              <a:gd name="connsiteX1357" fmla="*/ 11730927 w 11951120"/>
              <a:gd name="connsiteY1357" fmla="*/ 809352 h 6757249"/>
              <a:gd name="connsiteX1358" fmla="*/ 11752913 w 11951120"/>
              <a:gd name="connsiteY1358" fmla="*/ 831410 h 6757249"/>
              <a:gd name="connsiteX1359" fmla="*/ 11752331 w 11951120"/>
              <a:gd name="connsiteY1359" fmla="*/ 834144 h 6757249"/>
              <a:gd name="connsiteX1360" fmla="*/ 11754406 w 11951120"/>
              <a:gd name="connsiteY1360" fmla="*/ 831825 h 6757249"/>
              <a:gd name="connsiteX1361" fmla="*/ 11780732 w 11951120"/>
              <a:gd name="connsiteY1361" fmla="*/ 805598 h 6757249"/>
              <a:gd name="connsiteX1362" fmla="*/ 11782909 w 11951120"/>
              <a:gd name="connsiteY1362" fmla="*/ 805564 h 6757249"/>
              <a:gd name="connsiteX1363" fmla="*/ 11779514 w 11951120"/>
              <a:gd name="connsiteY1363" fmla="*/ 803699 h 6757249"/>
              <a:gd name="connsiteX1364" fmla="*/ 11792585 w 11951120"/>
              <a:gd name="connsiteY1364" fmla="*/ 751047 h 6757249"/>
              <a:gd name="connsiteX1365" fmla="*/ 11849229 w 11951120"/>
              <a:gd name="connsiteY1365" fmla="*/ 781760 h 6757249"/>
              <a:gd name="connsiteX1366" fmla="*/ 11848200 w 11951120"/>
              <a:gd name="connsiteY1366" fmla="*/ 784041 h 6757249"/>
              <a:gd name="connsiteX1367" fmla="*/ 11850234 w 11951120"/>
              <a:gd name="connsiteY1367" fmla="*/ 782311 h 6757249"/>
              <a:gd name="connsiteX1368" fmla="*/ 11854590 w 11951120"/>
              <a:gd name="connsiteY1368" fmla="*/ 760310 h 6757249"/>
              <a:gd name="connsiteX1369" fmla="*/ 11855980 w 11951120"/>
              <a:gd name="connsiteY1369" fmla="*/ 762961 h 6757249"/>
              <a:gd name="connsiteX1370" fmla="*/ 11855867 w 11951120"/>
              <a:gd name="connsiteY1370" fmla="*/ 761179 h 6757249"/>
              <a:gd name="connsiteX1371" fmla="*/ 11877573 w 11951120"/>
              <a:gd name="connsiteY1371" fmla="*/ 704654 h 6757249"/>
              <a:gd name="connsiteX1372" fmla="*/ 11925327 w 11951120"/>
              <a:gd name="connsiteY1372" fmla="*/ 756830 h 6757249"/>
              <a:gd name="connsiteX1373" fmla="*/ 11925004 w 11951120"/>
              <a:gd name="connsiteY1373" fmla="*/ 759004 h 6757249"/>
              <a:gd name="connsiteX1374" fmla="*/ 11948328 w 11951120"/>
              <a:gd name="connsiteY1374" fmla="*/ 805007 h 6757249"/>
              <a:gd name="connsiteX1375" fmla="*/ 11943790 w 11951120"/>
              <a:gd name="connsiteY1375" fmla="*/ 822907 h 6757249"/>
              <a:gd name="connsiteX1376" fmla="*/ 11904131 w 11951120"/>
              <a:gd name="connsiteY1376" fmla="*/ 829656 h 6757249"/>
              <a:gd name="connsiteX1377" fmla="*/ 11903621 w 11951120"/>
              <a:gd name="connsiteY1377" fmla="*/ 830749 h 6757249"/>
              <a:gd name="connsiteX1378" fmla="*/ 11881913 w 11951120"/>
              <a:gd name="connsiteY1378" fmla="*/ 856838 h 6757249"/>
              <a:gd name="connsiteX1379" fmla="*/ 11880645 w 11951120"/>
              <a:gd name="connsiteY1379" fmla="*/ 854357 h 6757249"/>
              <a:gd name="connsiteX1380" fmla="*/ 11880735 w 11951120"/>
              <a:gd name="connsiteY1380" fmla="*/ 857113 h 6757249"/>
              <a:gd name="connsiteX1381" fmla="*/ 11876389 w 11951120"/>
              <a:gd name="connsiteY1381" fmla="*/ 927330 h 6757249"/>
              <a:gd name="connsiteX1382" fmla="*/ 11876414 w 11951120"/>
              <a:gd name="connsiteY1382" fmla="*/ 927342 h 6757249"/>
              <a:gd name="connsiteX1383" fmla="*/ 11951120 w 11951120"/>
              <a:gd name="connsiteY1383" fmla="*/ 953841 h 6757249"/>
              <a:gd name="connsiteX1384" fmla="*/ 11854441 w 11951120"/>
              <a:gd name="connsiteY1384" fmla="*/ 1143743 h 6757249"/>
              <a:gd name="connsiteX1385" fmla="*/ 11854088 w 11951120"/>
              <a:gd name="connsiteY1385" fmla="*/ 1143663 h 6757249"/>
              <a:gd name="connsiteX1386" fmla="*/ 11828486 w 11951120"/>
              <a:gd name="connsiteY1386" fmla="*/ 1217111 h 6757249"/>
              <a:gd name="connsiteX1387" fmla="*/ 11827146 w 11951120"/>
              <a:gd name="connsiteY1387" fmla="*/ 1216638 h 6757249"/>
              <a:gd name="connsiteX1388" fmla="*/ 11827776 w 11951120"/>
              <a:gd name="connsiteY1388" fmla="*/ 1217525 h 6757249"/>
              <a:gd name="connsiteX1389" fmla="*/ 11805900 w 11951120"/>
              <a:gd name="connsiteY1389" fmla="*/ 1288336 h 6757249"/>
              <a:gd name="connsiteX1390" fmla="*/ 11806326 w 11951120"/>
              <a:gd name="connsiteY1390" fmla="*/ 1288723 h 6757249"/>
              <a:gd name="connsiteX1391" fmla="*/ 11640753 w 11951120"/>
              <a:gd name="connsiteY1391" fmla="*/ 1555953 h 6757249"/>
              <a:gd name="connsiteX1392" fmla="*/ 11639711 w 11951120"/>
              <a:gd name="connsiteY1392" fmla="*/ 1556496 h 6757249"/>
              <a:gd name="connsiteX1393" fmla="*/ 11640084 w 11951120"/>
              <a:gd name="connsiteY1393" fmla="*/ 1556496 h 6757249"/>
              <a:gd name="connsiteX1394" fmla="*/ 11592283 w 11951120"/>
              <a:gd name="connsiteY1394" fmla="*/ 1680012 h 6757249"/>
              <a:gd name="connsiteX1395" fmla="*/ 11590715 w 11951120"/>
              <a:gd name="connsiteY1395" fmla="*/ 1680012 h 6757249"/>
              <a:gd name="connsiteX1396" fmla="*/ 11590985 w 11951120"/>
              <a:gd name="connsiteY1396" fmla="*/ 1708877 h 6757249"/>
              <a:gd name="connsiteX1397" fmla="*/ 11647805 w 11951120"/>
              <a:gd name="connsiteY1397" fmla="*/ 1710109 h 6757249"/>
              <a:gd name="connsiteX1398" fmla="*/ 11731250 w 11951120"/>
              <a:gd name="connsiteY1398" fmla="*/ 1749508 h 6757249"/>
              <a:gd name="connsiteX1399" fmla="*/ 11682940 w 11951120"/>
              <a:gd name="connsiteY1399" fmla="*/ 1867707 h 6757249"/>
              <a:gd name="connsiteX1400" fmla="*/ 11682908 w 11951120"/>
              <a:gd name="connsiteY1400" fmla="*/ 1867686 h 6757249"/>
              <a:gd name="connsiteX1401" fmla="*/ 11639535 w 11951120"/>
              <a:gd name="connsiteY1401" fmla="*/ 1915936 h 6757249"/>
              <a:gd name="connsiteX1402" fmla="*/ 11640084 w 11951120"/>
              <a:gd name="connsiteY1402" fmla="*/ 1916624 h 6757249"/>
              <a:gd name="connsiteX1403" fmla="*/ 11635671 w 11951120"/>
              <a:gd name="connsiteY1403" fmla="*/ 1964822 h 6757249"/>
              <a:gd name="connsiteX1404" fmla="*/ 11635578 w 11951120"/>
              <a:gd name="connsiteY1404" fmla="*/ 1965107 h 6757249"/>
              <a:gd name="connsiteX1405" fmla="*/ 11655046 w 11951120"/>
              <a:gd name="connsiteY1405" fmla="*/ 2018326 h 6757249"/>
              <a:gd name="connsiteX1406" fmla="*/ 11565390 w 11951120"/>
              <a:gd name="connsiteY1406" fmla="*/ 2109027 h 6757249"/>
              <a:gd name="connsiteX1407" fmla="*/ 11565006 w 11951120"/>
              <a:gd name="connsiteY1407" fmla="*/ 2108562 h 6757249"/>
              <a:gd name="connsiteX1408" fmla="*/ 11565006 w 11951120"/>
              <a:gd name="connsiteY1408" fmla="*/ 2110535 h 6757249"/>
              <a:gd name="connsiteX1409" fmla="*/ 11539266 w 11951120"/>
              <a:gd name="connsiteY1409" fmla="*/ 2133160 h 6757249"/>
              <a:gd name="connsiteX1410" fmla="*/ 11539029 w 11951120"/>
              <a:gd name="connsiteY1410" fmla="*/ 2132219 h 6757249"/>
              <a:gd name="connsiteX1411" fmla="*/ 11538789 w 11951120"/>
              <a:gd name="connsiteY1411" fmla="*/ 2132861 h 6757249"/>
              <a:gd name="connsiteX1412" fmla="*/ 11538789 w 11951120"/>
              <a:gd name="connsiteY1412" fmla="*/ 2158073 h 6757249"/>
              <a:gd name="connsiteX1413" fmla="*/ 11538862 w 11951120"/>
              <a:gd name="connsiteY1413" fmla="*/ 2158095 h 6757249"/>
              <a:gd name="connsiteX1414" fmla="*/ 11565005 w 11951120"/>
              <a:gd name="connsiteY1414" fmla="*/ 2277549 h 6757249"/>
              <a:gd name="connsiteX1415" fmla="*/ 11495290 w 11951120"/>
              <a:gd name="connsiteY1415" fmla="*/ 2326215 h 6757249"/>
              <a:gd name="connsiteX1416" fmla="*/ 11495916 w 11951120"/>
              <a:gd name="connsiteY1416" fmla="*/ 2323418 h 6757249"/>
              <a:gd name="connsiteX1417" fmla="*/ 11494423 w 11951120"/>
              <a:gd name="connsiteY1417" fmla="*/ 2325727 h 6757249"/>
              <a:gd name="connsiteX1418" fmla="*/ 11446277 w 11951120"/>
              <a:gd name="connsiteY1418" fmla="*/ 2373991 h 6757249"/>
              <a:gd name="connsiteX1419" fmla="*/ 11424393 w 11951120"/>
              <a:gd name="connsiteY1419" fmla="*/ 2400318 h 6757249"/>
              <a:gd name="connsiteX1420" fmla="*/ 11418907 w 11951120"/>
              <a:gd name="connsiteY1420" fmla="*/ 2403679 h 6757249"/>
              <a:gd name="connsiteX1421" fmla="*/ 11427163 w 11951120"/>
              <a:gd name="connsiteY1421" fmla="*/ 2400047 h 6757249"/>
              <a:gd name="connsiteX1422" fmla="*/ 11464906 w 11951120"/>
              <a:gd name="connsiteY1422" fmla="*/ 2397105 h 6757249"/>
              <a:gd name="connsiteX1423" fmla="*/ 11490158 w 11951120"/>
              <a:gd name="connsiteY1423" fmla="*/ 2481924 h 6757249"/>
              <a:gd name="connsiteX1424" fmla="*/ 11487380 w 11951120"/>
              <a:gd name="connsiteY1424" fmla="*/ 2482846 h 6757249"/>
              <a:gd name="connsiteX1425" fmla="*/ 11491091 w 11951120"/>
              <a:gd name="connsiteY1425" fmla="*/ 2482846 h 6757249"/>
              <a:gd name="connsiteX1426" fmla="*/ 11582459 w 11951120"/>
              <a:gd name="connsiteY1426" fmla="*/ 2430077 h 6757249"/>
              <a:gd name="connsiteX1427" fmla="*/ 11582914 w 11951120"/>
              <a:gd name="connsiteY1427" fmla="*/ 2430768 h 6757249"/>
              <a:gd name="connsiteX1428" fmla="*/ 11582670 w 11951120"/>
              <a:gd name="connsiteY1428" fmla="*/ 2429312 h 6757249"/>
              <a:gd name="connsiteX1429" fmla="*/ 11613585 w 11951120"/>
              <a:gd name="connsiteY1429" fmla="*/ 2429312 h 6757249"/>
              <a:gd name="connsiteX1430" fmla="*/ 11613923 w 11951120"/>
              <a:gd name="connsiteY1430" fmla="*/ 2429322 h 6757249"/>
              <a:gd name="connsiteX1431" fmla="*/ 11648600 w 11951120"/>
              <a:gd name="connsiteY1431" fmla="*/ 2410133 h 6757249"/>
              <a:gd name="connsiteX1432" fmla="*/ 11683930 w 11951120"/>
              <a:gd name="connsiteY1432" fmla="*/ 2407339 h 6757249"/>
              <a:gd name="connsiteX1433" fmla="*/ 11688238 w 11951120"/>
              <a:gd name="connsiteY1433" fmla="*/ 2429133 h 6757249"/>
              <a:gd name="connsiteX1434" fmla="*/ 11688662 w 11951120"/>
              <a:gd name="connsiteY1434" fmla="*/ 2429312 h 6757249"/>
              <a:gd name="connsiteX1435" fmla="*/ 11688336 w 11951120"/>
              <a:gd name="connsiteY1435" fmla="*/ 2429635 h 6757249"/>
              <a:gd name="connsiteX1436" fmla="*/ 11688347 w 11951120"/>
              <a:gd name="connsiteY1436" fmla="*/ 2429684 h 6757249"/>
              <a:gd name="connsiteX1437" fmla="*/ 11688279 w 11951120"/>
              <a:gd name="connsiteY1437" fmla="*/ 2429692 h 6757249"/>
              <a:gd name="connsiteX1438" fmla="*/ 11684246 w 11951120"/>
              <a:gd name="connsiteY1438" fmla="*/ 2433705 h 6757249"/>
              <a:gd name="connsiteX1439" fmla="*/ 11684335 w 11951120"/>
              <a:gd name="connsiteY1439" fmla="*/ 2434153 h 6757249"/>
              <a:gd name="connsiteX1440" fmla="*/ 11731767 w 11951120"/>
              <a:gd name="connsiteY1440" fmla="*/ 2434153 h 6757249"/>
              <a:gd name="connsiteX1441" fmla="*/ 11732143 w 11951120"/>
              <a:gd name="connsiteY1441" fmla="*/ 2434153 h 6757249"/>
              <a:gd name="connsiteX1442" fmla="*/ 11732040 w 11951120"/>
              <a:gd name="connsiteY1442" fmla="*/ 2434595 h 6757249"/>
              <a:gd name="connsiteX1443" fmla="*/ 11772312 w 11951120"/>
              <a:gd name="connsiteY1443" fmla="*/ 2499775 h 6757249"/>
              <a:gd name="connsiteX1444" fmla="*/ 11757715 w 11951120"/>
              <a:gd name="connsiteY1444" fmla="*/ 2578521 h 6757249"/>
              <a:gd name="connsiteX1445" fmla="*/ 11754270 w 11951120"/>
              <a:gd name="connsiteY1445" fmla="*/ 2580295 h 6757249"/>
              <a:gd name="connsiteX1446" fmla="*/ 11758957 w 11951120"/>
              <a:gd name="connsiteY1446" fmla="*/ 2580579 h 6757249"/>
              <a:gd name="connsiteX1447" fmla="*/ 11732143 w 11951120"/>
              <a:gd name="connsiteY1447" fmla="*/ 2675476 h 6757249"/>
              <a:gd name="connsiteX1448" fmla="*/ 11729436 w 11951120"/>
              <a:gd name="connsiteY1448" fmla="*/ 2675476 h 6757249"/>
              <a:gd name="connsiteX1449" fmla="*/ 11730927 w 11951120"/>
              <a:gd name="connsiteY1449" fmla="*/ 2676252 h 6757249"/>
              <a:gd name="connsiteX1450" fmla="*/ 11752913 w 11951120"/>
              <a:gd name="connsiteY1450" fmla="*/ 2698310 h 6757249"/>
              <a:gd name="connsiteX1451" fmla="*/ 11752331 w 11951120"/>
              <a:gd name="connsiteY1451" fmla="*/ 2701044 h 6757249"/>
              <a:gd name="connsiteX1452" fmla="*/ 11754406 w 11951120"/>
              <a:gd name="connsiteY1452" fmla="*/ 2698725 h 6757249"/>
              <a:gd name="connsiteX1453" fmla="*/ 11780732 w 11951120"/>
              <a:gd name="connsiteY1453" fmla="*/ 2672498 h 6757249"/>
              <a:gd name="connsiteX1454" fmla="*/ 11782909 w 11951120"/>
              <a:gd name="connsiteY1454" fmla="*/ 2672464 h 6757249"/>
              <a:gd name="connsiteX1455" fmla="*/ 11779514 w 11951120"/>
              <a:gd name="connsiteY1455" fmla="*/ 2670599 h 6757249"/>
              <a:gd name="connsiteX1456" fmla="*/ 11792585 w 11951120"/>
              <a:gd name="connsiteY1456" fmla="*/ 2617947 h 6757249"/>
              <a:gd name="connsiteX1457" fmla="*/ 11849229 w 11951120"/>
              <a:gd name="connsiteY1457" fmla="*/ 2648660 h 6757249"/>
              <a:gd name="connsiteX1458" fmla="*/ 11848200 w 11951120"/>
              <a:gd name="connsiteY1458" fmla="*/ 2650941 h 6757249"/>
              <a:gd name="connsiteX1459" fmla="*/ 11850234 w 11951120"/>
              <a:gd name="connsiteY1459" fmla="*/ 2649211 h 6757249"/>
              <a:gd name="connsiteX1460" fmla="*/ 11854590 w 11951120"/>
              <a:gd name="connsiteY1460" fmla="*/ 2627210 h 6757249"/>
              <a:gd name="connsiteX1461" fmla="*/ 11855980 w 11951120"/>
              <a:gd name="connsiteY1461" fmla="*/ 2629861 h 6757249"/>
              <a:gd name="connsiteX1462" fmla="*/ 11855867 w 11951120"/>
              <a:gd name="connsiteY1462" fmla="*/ 2628079 h 6757249"/>
              <a:gd name="connsiteX1463" fmla="*/ 11877573 w 11951120"/>
              <a:gd name="connsiteY1463" fmla="*/ 2571554 h 6757249"/>
              <a:gd name="connsiteX1464" fmla="*/ 11925327 w 11951120"/>
              <a:gd name="connsiteY1464" fmla="*/ 2623730 h 6757249"/>
              <a:gd name="connsiteX1465" fmla="*/ 11925004 w 11951120"/>
              <a:gd name="connsiteY1465" fmla="*/ 2625904 h 6757249"/>
              <a:gd name="connsiteX1466" fmla="*/ 11948328 w 11951120"/>
              <a:gd name="connsiteY1466" fmla="*/ 2671907 h 6757249"/>
              <a:gd name="connsiteX1467" fmla="*/ 11943790 w 11951120"/>
              <a:gd name="connsiteY1467" fmla="*/ 2689807 h 6757249"/>
              <a:gd name="connsiteX1468" fmla="*/ 11904131 w 11951120"/>
              <a:gd name="connsiteY1468" fmla="*/ 2696556 h 6757249"/>
              <a:gd name="connsiteX1469" fmla="*/ 11903621 w 11951120"/>
              <a:gd name="connsiteY1469" fmla="*/ 2697649 h 6757249"/>
              <a:gd name="connsiteX1470" fmla="*/ 11881913 w 11951120"/>
              <a:gd name="connsiteY1470" fmla="*/ 2723738 h 6757249"/>
              <a:gd name="connsiteX1471" fmla="*/ 11880645 w 11951120"/>
              <a:gd name="connsiteY1471" fmla="*/ 2721257 h 6757249"/>
              <a:gd name="connsiteX1472" fmla="*/ 11880735 w 11951120"/>
              <a:gd name="connsiteY1472" fmla="*/ 2724013 h 6757249"/>
              <a:gd name="connsiteX1473" fmla="*/ 11876389 w 11951120"/>
              <a:gd name="connsiteY1473" fmla="*/ 2794230 h 6757249"/>
              <a:gd name="connsiteX1474" fmla="*/ 11876414 w 11951120"/>
              <a:gd name="connsiteY1474" fmla="*/ 2794242 h 6757249"/>
              <a:gd name="connsiteX1475" fmla="*/ 11951120 w 11951120"/>
              <a:gd name="connsiteY1475" fmla="*/ 2820741 h 6757249"/>
              <a:gd name="connsiteX1476" fmla="*/ 11854441 w 11951120"/>
              <a:gd name="connsiteY1476" fmla="*/ 3010643 h 6757249"/>
              <a:gd name="connsiteX1477" fmla="*/ 11854088 w 11951120"/>
              <a:gd name="connsiteY1477" fmla="*/ 3010563 h 6757249"/>
              <a:gd name="connsiteX1478" fmla="*/ 11828486 w 11951120"/>
              <a:gd name="connsiteY1478" fmla="*/ 3084011 h 6757249"/>
              <a:gd name="connsiteX1479" fmla="*/ 11827146 w 11951120"/>
              <a:gd name="connsiteY1479" fmla="*/ 3083538 h 6757249"/>
              <a:gd name="connsiteX1480" fmla="*/ 11827776 w 11951120"/>
              <a:gd name="connsiteY1480" fmla="*/ 3084425 h 6757249"/>
              <a:gd name="connsiteX1481" fmla="*/ 11805900 w 11951120"/>
              <a:gd name="connsiteY1481" fmla="*/ 3155236 h 6757249"/>
              <a:gd name="connsiteX1482" fmla="*/ 11806326 w 11951120"/>
              <a:gd name="connsiteY1482" fmla="*/ 3155623 h 6757249"/>
              <a:gd name="connsiteX1483" fmla="*/ 11640753 w 11951120"/>
              <a:gd name="connsiteY1483" fmla="*/ 3422852 h 6757249"/>
              <a:gd name="connsiteX1484" fmla="*/ 11639711 w 11951120"/>
              <a:gd name="connsiteY1484" fmla="*/ 3423396 h 6757249"/>
              <a:gd name="connsiteX1485" fmla="*/ 11640084 w 11951120"/>
              <a:gd name="connsiteY1485" fmla="*/ 3423396 h 6757249"/>
              <a:gd name="connsiteX1486" fmla="*/ 11592283 w 11951120"/>
              <a:gd name="connsiteY1486" fmla="*/ 3546912 h 6757249"/>
              <a:gd name="connsiteX1487" fmla="*/ 11590715 w 11951120"/>
              <a:gd name="connsiteY1487" fmla="*/ 3546912 h 6757249"/>
              <a:gd name="connsiteX1488" fmla="*/ 11590985 w 11951120"/>
              <a:gd name="connsiteY1488" fmla="*/ 3575777 h 6757249"/>
              <a:gd name="connsiteX1489" fmla="*/ 11647805 w 11951120"/>
              <a:gd name="connsiteY1489" fmla="*/ 3577009 h 6757249"/>
              <a:gd name="connsiteX1490" fmla="*/ 11731250 w 11951120"/>
              <a:gd name="connsiteY1490" fmla="*/ 3616407 h 6757249"/>
              <a:gd name="connsiteX1491" fmla="*/ 11682940 w 11951120"/>
              <a:gd name="connsiteY1491" fmla="*/ 3734606 h 6757249"/>
              <a:gd name="connsiteX1492" fmla="*/ 11682908 w 11951120"/>
              <a:gd name="connsiteY1492" fmla="*/ 3734586 h 6757249"/>
              <a:gd name="connsiteX1493" fmla="*/ 11639535 w 11951120"/>
              <a:gd name="connsiteY1493" fmla="*/ 3782836 h 6757249"/>
              <a:gd name="connsiteX1494" fmla="*/ 11640084 w 11951120"/>
              <a:gd name="connsiteY1494" fmla="*/ 3783524 h 6757249"/>
              <a:gd name="connsiteX1495" fmla="*/ 11635671 w 11951120"/>
              <a:gd name="connsiteY1495" fmla="*/ 3831722 h 6757249"/>
              <a:gd name="connsiteX1496" fmla="*/ 11635578 w 11951120"/>
              <a:gd name="connsiteY1496" fmla="*/ 3832006 h 6757249"/>
              <a:gd name="connsiteX1497" fmla="*/ 11655046 w 11951120"/>
              <a:gd name="connsiteY1497" fmla="*/ 3885226 h 6757249"/>
              <a:gd name="connsiteX1498" fmla="*/ 11565390 w 11951120"/>
              <a:gd name="connsiteY1498" fmla="*/ 3975927 h 6757249"/>
              <a:gd name="connsiteX1499" fmla="*/ 11565006 w 11951120"/>
              <a:gd name="connsiteY1499" fmla="*/ 3975462 h 6757249"/>
              <a:gd name="connsiteX1500" fmla="*/ 11565006 w 11951120"/>
              <a:gd name="connsiteY1500" fmla="*/ 3977435 h 6757249"/>
              <a:gd name="connsiteX1501" fmla="*/ 11554287 w 11951120"/>
              <a:gd name="connsiteY1501" fmla="*/ 3986857 h 6757249"/>
              <a:gd name="connsiteX1502" fmla="*/ 11563900 w 11951120"/>
              <a:gd name="connsiteY1502" fmla="*/ 3985607 h 6757249"/>
              <a:gd name="connsiteX1503" fmla="*/ 11582459 w 11951120"/>
              <a:gd name="connsiteY1503" fmla="*/ 3992177 h 6757249"/>
              <a:gd name="connsiteX1504" fmla="*/ 11582914 w 11951120"/>
              <a:gd name="connsiteY1504" fmla="*/ 3992868 h 6757249"/>
              <a:gd name="connsiteX1505" fmla="*/ 11582670 w 11951120"/>
              <a:gd name="connsiteY1505" fmla="*/ 3991412 h 6757249"/>
              <a:gd name="connsiteX1506" fmla="*/ 11613585 w 11951120"/>
              <a:gd name="connsiteY1506" fmla="*/ 3991412 h 6757249"/>
              <a:gd name="connsiteX1507" fmla="*/ 11613923 w 11951120"/>
              <a:gd name="connsiteY1507" fmla="*/ 3991422 h 6757249"/>
              <a:gd name="connsiteX1508" fmla="*/ 11648600 w 11951120"/>
              <a:gd name="connsiteY1508" fmla="*/ 3972233 h 6757249"/>
              <a:gd name="connsiteX1509" fmla="*/ 11683930 w 11951120"/>
              <a:gd name="connsiteY1509" fmla="*/ 3969439 h 6757249"/>
              <a:gd name="connsiteX1510" fmla="*/ 11688238 w 11951120"/>
              <a:gd name="connsiteY1510" fmla="*/ 3991233 h 6757249"/>
              <a:gd name="connsiteX1511" fmla="*/ 11688662 w 11951120"/>
              <a:gd name="connsiteY1511" fmla="*/ 3991412 h 6757249"/>
              <a:gd name="connsiteX1512" fmla="*/ 11688336 w 11951120"/>
              <a:gd name="connsiteY1512" fmla="*/ 3991735 h 6757249"/>
              <a:gd name="connsiteX1513" fmla="*/ 11688347 w 11951120"/>
              <a:gd name="connsiteY1513" fmla="*/ 3991784 h 6757249"/>
              <a:gd name="connsiteX1514" fmla="*/ 11688279 w 11951120"/>
              <a:gd name="connsiteY1514" fmla="*/ 3991792 h 6757249"/>
              <a:gd name="connsiteX1515" fmla="*/ 11684246 w 11951120"/>
              <a:gd name="connsiteY1515" fmla="*/ 3995805 h 6757249"/>
              <a:gd name="connsiteX1516" fmla="*/ 11684335 w 11951120"/>
              <a:gd name="connsiteY1516" fmla="*/ 3996253 h 6757249"/>
              <a:gd name="connsiteX1517" fmla="*/ 11731767 w 11951120"/>
              <a:gd name="connsiteY1517" fmla="*/ 3996253 h 6757249"/>
              <a:gd name="connsiteX1518" fmla="*/ 11732143 w 11951120"/>
              <a:gd name="connsiteY1518" fmla="*/ 3996253 h 6757249"/>
              <a:gd name="connsiteX1519" fmla="*/ 11732040 w 11951120"/>
              <a:gd name="connsiteY1519" fmla="*/ 3996695 h 6757249"/>
              <a:gd name="connsiteX1520" fmla="*/ 11772312 w 11951120"/>
              <a:gd name="connsiteY1520" fmla="*/ 4061875 h 6757249"/>
              <a:gd name="connsiteX1521" fmla="*/ 11757715 w 11951120"/>
              <a:gd name="connsiteY1521" fmla="*/ 4140621 h 6757249"/>
              <a:gd name="connsiteX1522" fmla="*/ 11754270 w 11951120"/>
              <a:gd name="connsiteY1522" fmla="*/ 4142395 h 6757249"/>
              <a:gd name="connsiteX1523" fmla="*/ 11758957 w 11951120"/>
              <a:gd name="connsiteY1523" fmla="*/ 4142679 h 6757249"/>
              <a:gd name="connsiteX1524" fmla="*/ 11732143 w 11951120"/>
              <a:gd name="connsiteY1524" fmla="*/ 4237576 h 6757249"/>
              <a:gd name="connsiteX1525" fmla="*/ 11729436 w 11951120"/>
              <a:gd name="connsiteY1525" fmla="*/ 4237576 h 6757249"/>
              <a:gd name="connsiteX1526" fmla="*/ 11730927 w 11951120"/>
              <a:gd name="connsiteY1526" fmla="*/ 4238352 h 6757249"/>
              <a:gd name="connsiteX1527" fmla="*/ 11752913 w 11951120"/>
              <a:gd name="connsiteY1527" fmla="*/ 4260410 h 6757249"/>
              <a:gd name="connsiteX1528" fmla="*/ 11752331 w 11951120"/>
              <a:gd name="connsiteY1528" fmla="*/ 4263144 h 6757249"/>
              <a:gd name="connsiteX1529" fmla="*/ 11754406 w 11951120"/>
              <a:gd name="connsiteY1529" fmla="*/ 4260825 h 6757249"/>
              <a:gd name="connsiteX1530" fmla="*/ 11780732 w 11951120"/>
              <a:gd name="connsiteY1530" fmla="*/ 4234598 h 6757249"/>
              <a:gd name="connsiteX1531" fmla="*/ 11782909 w 11951120"/>
              <a:gd name="connsiteY1531" fmla="*/ 4234564 h 6757249"/>
              <a:gd name="connsiteX1532" fmla="*/ 11779514 w 11951120"/>
              <a:gd name="connsiteY1532" fmla="*/ 4232699 h 6757249"/>
              <a:gd name="connsiteX1533" fmla="*/ 11792585 w 11951120"/>
              <a:gd name="connsiteY1533" fmla="*/ 4180047 h 6757249"/>
              <a:gd name="connsiteX1534" fmla="*/ 11849229 w 11951120"/>
              <a:gd name="connsiteY1534" fmla="*/ 4210760 h 6757249"/>
              <a:gd name="connsiteX1535" fmla="*/ 11848200 w 11951120"/>
              <a:gd name="connsiteY1535" fmla="*/ 4213041 h 6757249"/>
              <a:gd name="connsiteX1536" fmla="*/ 11850234 w 11951120"/>
              <a:gd name="connsiteY1536" fmla="*/ 4211311 h 6757249"/>
              <a:gd name="connsiteX1537" fmla="*/ 11854590 w 11951120"/>
              <a:gd name="connsiteY1537" fmla="*/ 4189310 h 6757249"/>
              <a:gd name="connsiteX1538" fmla="*/ 11855980 w 11951120"/>
              <a:gd name="connsiteY1538" fmla="*/ 4191961 h 6757249"/>
              <a:gd name="connsiteX1539" fmla="*/ 11855867 w 11951120"/>
              <a:gd name="connsiteY1539" fmla="*/ 4190179 h 6757249"/>
              <a:gd name="connsiteX1540" fmla="*/ 11877573 w 11951120"/>
              <a:gd name="connsiteY1540" fmla="*/ 4133654 h 6757249"/>
              <a:gd name="connsiteX1541" fmla="*/ 11925327 w 11951120"/>
              <a:gd name="connsiteY1541" fmla="*/ 4185830 h 6757249"/>
              <a:gd name="connsiteX1542" fmla="*/ 11925004 w 11951120"/>
              <a:gd name="connsiteY1542" fmla="*/ 4188004 h 6757249"/>
              <a:gd name="connsiteX1543" fmla="*/ 11948328 w 11951120"/>
              <a:gd name="connsiteY1543" fmla="*/ 4234007 h 6757249"/>
              <a:gd name="connsiteX1544" fmla="*/ 11943790 w 11951120"/>
              <a:gd name="connsiteY1544" fmla="*/ 4251907 h 6757249"/>
              <a:gd name="connsiteX1545" fmla="*/ 11904131 w 11951120"/>
              <a:gd name="connsiteY1545" fmla="*/ 4258656 h 6757249"/>
              <a:gd name="connsiteX1546" fmla="*/ 11903621 w 11951120"/>
              <a:gd name="connsiteY1546" fmla="*/ 4259749 h 6757249"/>
              <a:gd name="connsiteX1547" fmla="*/ 11881913 w 11951120"/>
              <a:gd name="connsiteY1547" fmla="*/ 4285838 h 6757249"/>
              <a:gd name="connsiteX1548" fmla="*/ 11880645 w 11951120"/>
              <a:gd name="connsiteY1548" fmla="*/ 4283357 h 6757249"/>
              <a:gd name="connsiteX1549" fmla="*/ 11880735 w 11951120"/>
              <a:gd name="connsiteY1549" fmla="*/ 4286113 h 6757249"/>
              <a:gd name="connsiteX1550" fmla="*/ 11876389 w 11951120"/>
              <a:gd name="connsiteY1550" fmla="*/ 4356330 h 6757249"/>
              <a:gd name="connsiteX1551" fmla="*/ 11876414 w 11951120"/>
              <a:gd name="connsiteY1551" fmla="*/ 4356342 h 6757249"/>
              <a:gd name="connsiteX1552" fmla="*/ 11951120 w 11951120"/>
              <a:gd name="connsiteY1552" fmla="*/ 4382841 h 6757249"/>
              <a:gd name="connsiteX1553" fmla="*/ 11854441 w 11951120"/>
              <a:gd name="connsiteY1553" fmla="*/ 4572743 h 6757249"/>
              <a:gd name="connsiteX1554" fmla="*/ 11854088 w 11951120"/>
              <a:gd name="connsiteY1554" fmla="*/ 4572663 h 6757249"/>
              <a:gd name="connsiteX1555" fmla="*/ 11828486 w 11951120"/>
              <a:gd name="connsiteY1555" fmla="*/ 4646111 h 6757249"/>
              <a:gd name="connsiteX1556" fmla="*/ 11827146 w 11951120"/>
              <a:gd name="connsiteY1556" fmla="*/ 4645638 h 6757249"/>
              <a:gd name="connsiteX1557" fmla="*/ 11827776 w 11951120"/>
              <a:gd name="connsiteY1557" fmla="*/ 4646525 h 6757249"/>
              <a:gd name="connsiteX1558" fmla="*/ 11805900 w 11951120"/>
              <a:gd name="connsiteY1558" fmla="*/ 4717336 h 6757249"/>
              <a:gd name="connsiteX1559" fmla="*/ 11806326 w 11951120"/>
              <a:gd name="connsiteY1559" fmla="*/ 4717723 h 6757249"/>
              <a:gd name="connsiteX1560" fmla="*/ 11640753 w 11951120"/>
              <a:gd name="connsiteY1560" fmla="*/ 4984952 h 6757249"/>
              <a:gd name="connsiteX1561" fmla="*/ 11639711 w 11951120"/>
              <a:gd name="connsiteY1561" fmla="*/ 4985496 h 6757249"/>
              <a:gd name="connsiteX1562" fmla="*/ 11640084 w 11951120"/>
              <a:gd name="connsiteY1562" fmla="*/ 4985496 h 6757249"/>
              <a:gd name="connsiteX1563" fmla="*/ 11592283 w 11951120"/>
              <a:gd name="connsiteY1563" fmla="*/ 5109012 h 6757249"/>
              <a:gd name="connsiteX1564" fmla="*/ 11590715 w 11951120"/>
              <a:gd name="connsiteY1564" fmla="*/ 5109012 h 6757249"/>
              <a:gd name="connsiteX1565" fmla="*/ 11590985 w 11951120"/>
              <a:gd name="connsiteY1565" fmla="*/ 5137877 h 6757249"/>
              <a:gd name="connsiteX1566" fmla="*/ 11647805 w 11951120"/>
              <a:gd name="connsiteY1566" fmla="*/ 5139109 h 6757249"/>
              <a:gd name="connsiteX1567" fmla="*/ 11731250 w 11951120"/>
              <a:gd name="connsiteY1567" fmla="*/ 5178507 h 6757249"/>
              <a:gd name="connsiteX1568" fmla="*/ 11682940 w 11951120"/>
              <a:gd name="connsiteY1568" fmla="*/ 5296706 h 6757249"/>
              <a:gd name="connsiteX1569" fmla="*/ 11682908 w 11951120"/>
              <a:gd name="connsiteY1569" fmla="*/ 5296686 h 6757249"/>
              <a:gd name="connsiteX1570" fmla="*/ 11639535 w 11951120"/>
              <a:gd name="connsiteY1570" fmla="*/ 5344936 h 6757249"/>
              <a:gd name="connsiteX1571" fmla="*/ 11640084 w 11951120"/>
              <a:gd name="connsiteY1571" fmla="*/ 5345624 h 6757249"/>
              <a:gd name="connsiteX1572" fmla="*/ 11635671 w 11951120"/>
              <a:gd name="connsiteY1572" fmla="*/ 5393822 h 6757249"/>
              <a:gd name="connsiteX1573" fmla="*/ 11635578 w 11951120"/>
              <a:gd name="connsiteY1573" fmla="*/ 5394106 h 6757249"/>
              <a:gd name="connsiteX1574" fmla="*/ 11655046 w 11951120"/>
              <a:gd name="connsiteY1574" fmla="*/ 5447326 h 6757249"/>
              <a:gd name="connsiteX1575" fmla="*/ 11565390 w 11951120"/>
              <a:gd name="connsiteY1575" fmla="*/ 5538027 h 6757249"/>
              <a:gd name="connsiteX1576" fmla="*/ 11565006 w 11951120"/>
              <a:gd name="connsiteY1576" fmla="*/ 5537562 h 6757249"/>
              <a:gd name="connsiteX1577" fmla="*/ 11565006 w 11951120"/>
              <a:gd name="connsiteY1577" fmla="*/ 5539535 h 6757249"/>
              <a:gd name="connsiteX1578" fmla="*/ 11539266 w 11951120"/>
              <a:gd name="connsiteY1578" fmla="*/ 5562160 h 6757249"/>
              <a:gd name="connsiteX1579" fmla="*/ 11539029 w 11951120"/>
              <a:gd name="connsiteY1579" fmla="*/ 5561219 h 6757249"/>
              <a:gd name="connsiteX1580" fmla="*/ 11538789 w 11951120"/>
              <a:gd name="connsiteY1580" fmla="*/ 5561861 h 6757249"/>
              <a:gd name="connsiteX1581" fmla="*/ 11538789 w 11951120"/>
              <a:gd name="connsiteY1581" fmla="*/ 5587073 h 6757249"/>
              <a:gd name="connsiteX1582" fmla="*/ 11538862 w 11951120"/>
              <a:gd name="connsiteY1582" fmla="*/ 5587095 h 6757249"/>
              <a:gd name="connsiteX1583" fmla="*/ 11565005 w 11951120"/>
              <a:gd name="connsiteY1583" fmla="*/ 5706549 h 6757249"/>
              <a:gd name="connsiteX1584" fmla="*/ 11495290 w 11951120"/>
              <a:gd name="connsiteY1584" fmla="*/ 5755215 h 6757249"/>
              <a:gd name="connsiteX1585" fmla="*/ 11495916 w 11951120"/>
              <a:gd name="connsiteY1585" fmla="*/ 5752418 h 6757249"/>
              <a:gd name="connsiteX1586" fmla="*/ 11494423 w 11951120"/>
              <a:gd name="connsiteY1586" fmla="*/ 5754727 h 6757249"/>
              <a:gd name="connsiteX1587" fmla="*/ 11446277 w 11951120"/>
              <a:gd name="connsiteY1587" fmla="*/ 5802991 h 6757249"/>
              <a:gd name="connsiteX1588" fmla="*/ 11424393 w 11951120"/>
              <a:gd name="connsiteY1588" fmla="*/ 5829318 h 6757249"/>
              <a:gd name="connsiteX1589" fmla="*/ 11345609 w 11951120"/>
              <a:gd name="connsiteY1589" fmla="*/ 5877582 h 6757249"/>
              <a:gd name="connsiteX1590" fmla="*/ 11344055 w 11951120"/>
              <a:gd name="connsiteY1590" fmla="*/ 5878981 h 6757249"/>
              <a:gd name="connsiteX1591" fmla="*/ 11345136 w 11951120"/>
              <a:gd name="connsiteY1591" fmla="*/ 5878557 h 6757249"/>
              <a:gd name="connsiteX1592" fmla="*/ 11323261 w 11951120"/>
              <a:gd name="connsiteY1592" fmla="*/ 5947199 h 6757249"/>
              <a:gd name="connsiteX1593" fmla="*/ 11321398 w 11951120"/>
              <a:gd name="connsiteY1593" fmla="*/ 5948483 h 6757249"/>
              <a:gd name="connsiteX1594" fmla="*/ 11323684 w 11951120"/>
              <a:gd name="connsiteY1594" fmla="*/ 5948272 h 6757249"/>
              <a:gd name="connsiteX1595" fmla="*/ 11323684 w 11951120"/>
              <a:gd name="connsiteY1595" fmla="*/ 5973831 h 6757249"/>
              <a:gd name="connsiteX1596" fmla="*/ 11324069 w 11951120"/>
              <a:gd name="connsiteY1596" fmla="*/ 5973905 h 6757249"/>
              <a:gd name="connsiteX1597" fmla="*/ 11350499 w 11951120"/>
              <a:gd name="connsiteY1597" fmla="*/ 5995892 h 6757249"/>
              <a:gd name="connsiteX1598" fmla="*/ 11271207 w 11951120"/>
              <a:gd name="connsiteY1598" fmla="*/ 6105827 h 6757249"/>
              <a:gd name="connsiteX1599" fmla="*/ 11178700 w 11951120"/>
              <a:gd name="connsiteY1599" fmla="*/ 6097032 h 6757249"/>
              <a:gd name="connsiteX1600" fmla="*/ 11178700 w 11951120"/>
              <a:gd name="connsiteY1600" fmla="*/ 6096539 h 6757249"/>
              <a:gd name="connsiteX1601" fmla="*/ 11111747 w 11951120"/>
              <a:gd name="connsiteY1601" fmla="*/ 6158971 h 6757249"/>
              <a:gd name="connsiteX1602" fmla="*/ 10859432 w 11951120"/>
              <a:gd name="connsiteY1602" fmla="*/ 6211099 h 6757249"/>
              <a:gd name="connsiteX1603" fmla="*/ 10723772 w 11951120"/>
              <a:gd name="connsiteY1603" fmla="*/ 6237578 h 6757249"/>
              <a:gd name="connsiteX1604" fmla="*/ 10724152 w 11951120"/>
              <a:gd name="connsiteY1604" fmla="*/ 6234315 h 6757249"/>
              <a:gd name="connsiteX1605" fmla="*/ 10723063 w 11951120"/>
              <a:gd name="connsiteY1605" fmla="*/ 6237857 h 6757249"/>
              <a:gd name="connsiteX1606" fmla="*/ 10650130 w 11951120"/>
              <a:gd name="connsiteY1606" fmla="*/ 6189927 h 6757249"/>
              <a:gd name="connsiteX1607" fmla="*/ 10693032 w 11951120"/>
              <a:gd name="connsiteY1607" fmla="*/ 6133284 h 6757249"/>
              <a:gd name="connsiteX1608" fmla="*/ 10708956 w 11951120"/>
              <a:gd name="connsiteY1608" fmla="*/ 6138108 h 6757249"/>
              <a:gd name="connsiteX1609" fmla="*/ 10742909 w 11951120"/>
              <a:gd name="connsiteY1609" fmla="*/ 6100682 h 6757249"/>
              <a:gd name="connsiteX1610" fmla="*/ 10793296 w 11951120"/>
              <a:gd name="connsiteY1610" fmla="*/ 6072080 h 6757249"/>
              <a:gd name="connsiteX1611" fmla="*/ 10793408 w 11951120"/>
              <a:gd name="connsiteY1611" fmla="*/ 6071701 h 6757249"/>
              <a:gd name="connsiteX1612" fmla="*/ 10793544 w 11951120"/>
              <a:gd name="connsiteY1612" fmla="*/ 6071452 h 6757249"/>
              <a:gd name="connsiteX1613" fmla="*/ 10793544 w 11951120"/>
              <a:gd name="connsiteY1613" fmla="*/ 6050156 h 6757249"/>
              <a:gd name="connsiteX1614" fmla="*/ 10723628 w 11951120"/>
              <a:gd name="connsiteY1614" fmla="*/ 6045797 h 6757249"/>
              <a:gd name="connsiteX1615" fmla="*/ 10706508 w 11951120"/>
              <a:gd name="connsiteY1615" fmla="*/ 6071923 h 6757249"/>
              <a:gd name="connsiteX1616" fmla="*/ 10654079 w 11951120"/>
              <a:gd name="connsiteY1616" fmla="*/ 6023015 h 6757249"/>
              <a:gd name="connsiteX1617" fmla="*/ 10653226 w 11951120"/>
              <a:gd name="connsiteY1617" fmla="*/ 6022591 h 6757249"/>
              <a:gd name="connsiteX1618" fmla="*/ 10627321 w 11951120"/>
              <a:gd name="connsiteY1618" fmla="*/ 6081078 h 6757249"/>
              <a:gd name="connsiteX1619" fmla="*/ 10578037 w 11951120"/>
              <a:gd name="connsiteY1619" fmla="*/ 6119880 h 6757249"/>
              <a:gd name="connsiteX1620" fmla="*/ 10556183 w 11951120"/>
              <a:gd name="connsiteY1620" fmla="*/ 6098003 h 6757249"/>
              <a:gd name="connsiteX1621" fmla="*/ 10524423 w 11951120"/>
              <a:gd name="connsiteY1621" fmla="*/ 6110217 h 6757249"/>
              <a:gd name="connsiteX1622" fmla="*/ 10420643 w 11951120"/>
              <a:gd name="connsiteY1622" fmla="*/ 6150044 h 6757249"/>
              <a:gd name="connsiteX1623" fmla="*/ 10359141 w 11951120"/>
              <a:gd name="connsiteY1623" fmla="*/ 6119543 h 6757249"/>
              <a:gd name="connsiteX1624" fmla="*/ 10358791 w 11951120"/>
              <a:gd name="connsiteY1624" fmla="*/ 6118851 h 6757249"/>
              <a:gd name="connsiteX1625" fmla="*/ 10331132 w 11951120"/>
              <a:gd name="connsiteY1625" fmla="*/ 6100192 h 6757249"/>
              <a:gd name="connsiteX1626" fmla="*/ 10311860 w 11951120"/>
              <a:gd name="connsiteY1626" fmla="*/ 6067381 h 6757249"/>
              <a:gd name="connsiteX1627" fmla="*/ 10311905 w 11951120"/>
              <a:gd name="connsiteY1627" fmla="*/ 6067266 h 6757249"/>
              <a:gd name="connsiteX1628" fmla="*/ 10264553 w 11951120"/>
              <a:gd name="connsiteY1628" fmla="*/ 6071614 h 6757249"/>
              <a:gd name="connsiteX1629" fmla="*/ 10264883 w 11951120"/>
              <a:gd name="connsiteY1629" fmla="*/ 6066293 h 6757249"/>
              <a:gd name="connsiteX1630" fmla="*/ 10264011 w 11951120"/>
              <a:gd name="connsiteY1630" fmla="*/ 6070639 h 6757249"/>
              <a:gd name="connsiteX1631" fmla="*/ 10264011 w 11951120"/>
              <a:gd name="connsiteY1631" fmla="*/ 6088190 h 6757249"/>
              <a:gd name="connsiteX1632" fmla="*/ 10261693 w 11951120"/>
              <a:gd name="connsiteY1632" fmla="*/ 6090435 h 6757249"/>
              <a:gd name="connsiteX1633" fmla="*/ 10272874 w 11951120"/>
              <a:gd name="connsiteY1633" fmla="*/ 6091906 h 6757249"/>
              <a:gd name="connsiteX1634" fmla="*/ 10281628 w 11951120"/>
              <a:gd name="connsiteY1634" fmla="*/ 6127131 h 6757249"/>
              <a:gd name="connsiteX1635" fmla="*/ 9988405 w 11951120"/>
              <a:gd name="connsiteY1635" fmla="*/ 6492584 h 6757249"/>
              <a:gd name="connsiteX1636" fmla="*/ 9953395 w 11951120"/>
              <a:gd name="connsiteY1636" fmla="*/ 6479376 h 6757249"/>
              <a:gd name="connsiteX1637" fmla="*/ 9931511 w 11951120"/>
              <a:gd name="connsiteY1637" fmla="*/ 6479376 h 6757249"/>
              <a:gd name="connsiteX1638" fmla="*/ 9930071 w 11951120"/>
              <a:gd name="connsiteY1638" fmla="*/ 6477927 h 6757249"/>
              <a:gd name="connsiteX1639" fmla="*/ 9929777 w 11951120"/>
              <a:gd name="connsiteY1639" fmla="*/ 6479178 h 6757249"/>
              <a:gd name="connsiteX1640" fmla="*/ 9883207 w 11951120"/>
              <a:gd name="connsiteY1640" fmla="*/ 6479178 h 6757249"/>
              <a:gd name="connsiteX1641" fmla="*/ 9883036 w 11951120"/>
              <a:gd name="connsiteY1641" fmla="*/ 6479715 h 6757249"/>
              <a:gd name="connsiteX1642" fmla="*/ 9785281 w 11951120"/>
              <a:gd name="connsiteY1642" fmla="*/ 6527750 h 6757249"/>
              <a:gd name="connsiteX1643" fmla="*/ 9785035 w 11951120"/>
              <a:gd name="connsiteY1643" fmla="*/ 6527142 h 6757249"/>
              <a:gd name="connsiteX1644" fmla="*/ 9734024 w 11951120"/>
              <a:gd name="connsiteY1644" fmla="*/ 6501137 h 6757249"/>
              <a:gd name="connsiteX1645" fmla="*/ 9733916 w 11951120"/>
              <a:gd name="connsiteY1645" fmla="*/ 6501794 h 6757249"/>
              <a:gd name="connsiteX1646" fmla="*/ 9690121 w 11951120"/>
              <a:gd name="connsiteY1646" fmla="*/ 6532805 h 6757249"/>
              <a:gd name="connsiteX1647" fmla="*/ 9687768 w 11951120"/>
              <a:gd name="connsiteY1647" fmla="*/ 6531966 h 6757249"/>
              <a:gd name="connsiteX1648" fmla="*/ 9662535 w 11951120"/>
              <a:gd name="connsiteY1648" fmla="*/ 6574823 h 6757249"/>
              <a:gd name="connsiteX1649" fmla="*/ 9663933 w 11951120"/>
              <a:gd name="connsiteY1649" fmla="*/ 6576195 h 6757249"/>
              <a:gd name="connsiteX1650" fmla="*/ 9663933 w 11951120"/>
              <a:gd name="connsiteY1650" fmla="*/ 6624459 h 6757249"/>
              <a:gd name="connsiteX1651" fmla="*/ 9641587 w 11951120"/>
              <a:gd name="connsiteY1651" fmla="*/ 6650784 h 6757249"/>
              <a:gd name="connsiteX1652" fmla="*/ 9626505 w 11951120"/>
              <a:gd name="connsiteY1652" fmla="*/ 6600875 h 6757249"/>
              <a:gd name="connsiteX1653" fmla="*/ 9641237 w 11951120"/>
              <a:gd name="connsiteY1653" fmla="*/ 6555338 h 6757249"/>
              <a:gd name="connsiteX1654" fmla="*/ 9640309 w 11951120"/>
              <a:gd name="connsiteY1654" fmla="*/ 6553585 h 6757249"/>
              <a:gd name="connsiteX1655" fmla="*/ 9597942 w 11951120"/>
              <a:gd name="connsiteY1655" fmla="*/ 6553585 h 6757249"/>
              <a:gd name="connsiteX1656" fmla="*/ 9596898 w 11951120"/>
              <a:gd name="connsiteY1656" fmla="*/ 6554639 h 6757249"/>
              <a:gd name="connsiteX1657" fmla="*/ 9543271 w 11951120"/>
              <a:gd name="connsiteY1657" fmla="*/ 6554639 h 6757249"/>
              <a:gd name="connsiteX1658" fmla="*/ 9543499 w 11951120"/>
              <a:gd name="connsiteY1658" fmla="*/ 6554173 h 6757249"/>
              <a:gd name="connsiteX1659" fmla="*/ 9517890 w 11951120"/>
              <a:gd name="connsiteY1659" fmla="*/ 6549927 h 6757249"/>
              <a:gd name="connsiteX1660" fmla="*/ 9521291 w 11951120"/>
              <a:gd name="connsiteY1660" fmla="*/ 6556985 h 6757249"/>
              <a:gd name="connsiteX1661" fmla="*/ 9521822 w 11951120"/>
              <a:gd name="connsiteY1661" fmla="*/ 6558086 h 6757249"/>
              <a:gd name="connsiteX1662" fmla="*/ 9470875 w 11951120"/>
              <a:gd name="connsiteY1662" fmla="*/ 6575707 h 6757249"/>
              <a:gd name="connsiteX1663" fmla="*/ 9470875 w 11951120"/>
              <a:gd name="connsiteY1663" fmla="*/ 6529577 h 6757249"/>
              <a:gd name="connsiteX1664" fmla="*/ 9470387 w 11951120"/>
              <a:gd name="connsiteY1664" fmla="*/ 6529373 h 6757249"/>
              <a:gd name="connsiteX1665" fmla="*/ 9444063 w 11951120"/>
              <a:gd name="connsiteY1665" fmla="*/ 6454616 h 6757249"/>
              <a:gd name="connsiteX1666" fmla="*/ 9445093 w 11951120"/>
              <a:gd name="connsiteY1666" fmla="*/ 6454013 h 6757249"/>
              <a:gd name="connsiteX1667" fmla="*/ 9443817 w 11951120"/>
              <a:gd name="connsiteY1667" fmla="*/ 6454295 h 6757249"/>
              <a:gd name="connsiteX1668" fmla="*/ 9435041 w 11951120"/>
              <a:gd name="connsiteY1668" fmla="*/ 6454295 h 6757249"/>
              <a:gd name="connsiteX1669" fmla="*/ 9426267 w 11951120"/>
              <a:gd name="connsiteY1669" fmla="*/ 6458693 h 6757249"/>
              <a:gd name="connsiteX1670" fmla="*/ 9425267 w 11951120"/>
              <a:gd name="connsiteY1670" fmla="*/ 6458155 h 6757249"/>
              <a:gd name="connsiteX1671" fmla="*/ 9425292 w 11951120"/>
              <a:gd name="connsiteY1671" fmla="*/ 6458187 h 6757249"/>
              <a:gd name="connsiteX1672" fmla="*/ 9377028 w 11951120"/>
              <a:gd name="connsiteY1672" fmla="*/ 6554256 h 6757249"/>
              <a:gd name="connsiteX1673" fmla="*/ 9376471 w 11951120"/>
              <a:gd name="connsiteY1673" fmla="*/ 6553616 h 6757249"/>
              <a:gd name="connsiteX1674" fmla="*/ 9377028 w 11951120"/>
              <a:gd name="connsiteY1674" fmla="*/ 6555374 h 6757249"/>
              <a:gd name="connsiteX1675" fmla="*/ 9276112 w 11951120"/>
              <a:gd name="connsiteY1675" fmla="*/ 6572952 h 6757249"/>
              <a:gd name="connsiteX1676" fmla="*/ 9227847 w 11951120"/>
              <a:gd name="connsiteY1676" fmla="*/ 6485063 h 6757249"/>
              <a:gd name="connsiteX1677" fmla="*/ 9231972 w 11951120"/>
              <a:gd name="connsiteY1677" fmla="*/ 6483401 h 6757249"/>
              <a:gd name="connsiteX1678" fmla="*/ 9229818 w 11951120"/>
              <a:gd name="connsiteY1678" fmla="*/ 6483163 h 6757249"/>
              <a:gd name="connsiteX1679" fmla="*/ 9084762 w 11951120"/>
              <a:gd name="connsiteY1679" fmla="*/ 6500629 h 6757249"/>
              <a:gd name="connsiteX1680" fmla="*/ 9084801 w 11951120"/>
              <a:gd name="connsiteY1680" fmla="*/ 6500511 h 6757249"/>
              <a:gd name="connsiteX1681" fmla="*/ 9083306 w 11951120"/>
              <a:gd name="connsiteY1681" fmla="*/ 6502198 h 6757249"/>
              <a:gd name="connsiteX1682" fmla="*/ 9083306 w 11951120"/>
              <a:gd name="connsiteY1682" fmla="*/ 6550398 h 6757249"/>
              <a:gd name="connsiteX1683" fmla="*/ 9030906 w 11951120"/>
              <a:gd name="connsiteY1683" fmla="*/ 6528489 h 6757249"/>
              <a:gd name="connsiteX1684" fmla="*/ 8995971 w 11951120"/>
              <a:gd name="connsiteY1684" fmla="*/ 6489054 h 6757249"/>
              <a:gd name="connsiteX1685" fmla="*/ 8995819 w 11951120"/>
              <a:gd name="connsiteY1685" fmla="*/ 6488850 h 6757249"/>
              <a:gd name="connsiteX1686" fmla="*/ 8952693 w 11951120"/>
              <a:gd name="connsiteY1686" fmla="*/ 6509167 h 6757249"/>
              <a:gd name="connsiteX1687" fmla="*/ 8816172 w 11951120"/>
              <a:gd name="connsiteY1687" fmla="*/ 6502181 h 6757249"/>
              <a:gd name="connsiteX1688" fmla="*/ 8804090 w 11951120"/>
              <a:gd name="connsiteY1688" fmla="*/ 6479601 h 6757249"/>
              <a:gd name="connsiteX1689" fmla="*/ 8824739 w 11951120"/>
              <a:gd name="connsiteY1689" fmla="*/ 6457256 h 6757249"/>
              <a:gd name="connsiteX1690" fmla="*/ 8824671 w 11951120"/>
              <a:gd name="connsiteY1690" fmla="*/ 6457190 h 6757249"/>
              <a:gd name="connsiteX1691" fmla="*/ 8864374 w 11951120"/>
              <a:gd name="connsiteY1691" fmla="*/ 6402138 h 6757249"/>
              <a:gd name="connsiteX1692" fmla="*/ 8864556 w 11951120"/>
              <a:gd name="connsiteY1692" fmla="*/ 6400444 h 6757249"/>
              <a:gd name="connsiteX1693" fmla="*/ 8868905 w 11951120"/>
              <a:gd name="connsiteY1693" fmla="*/ 6361027 h 6757249"/>
              <a:gd name="connsiteX1694" fmla="*/ 8839685 w 11951120"/>
              <a:gd name="connsiteY1694" fmla="*/ 6382102 h 6757249"/>
              <a:gd name="connsiteX1695" fmla="*/ 8746227 w 11951120"/>
              <a:gd name="connsiteY1695" fmla="*/ 6372254 h 6757249"/>
              <a:gd name="connsiteX1696" fmla="*/ 8703844 w 11951120"/>
              <a:gd name="connsiteY1696" fmla="*/ 6364943 h 6757249"/>
              <a:gd name="connsiteX1697" fmla="*/ 8629420 w 11951120"/>
              <a:gd name="connsiteY1697" fmla="*/ 6440746 h 6757249"/>
              <a:gd name="connsiteX1698" fmla="*/ 8572382 w 11951120"/>
              <a:gd name="connsiteY1698" fmla="*/ 6440746 h 6757249"/>
              <a:gd name="connsiteX1699" fmla="*/ 8603095 w 11951120"/>
              <a:gd name="connsiteY1699" fmla="*/ 6382650 h 6757249"/>
              <a:gd name="connsiteX1700" fmla="*/ 8603293 w 11951120"/>
              <a:gd name="connsiteY1700" fmla="*/ 6382420 h 6757249"/>
              <a:gd name="connsiteX1701" fmla="*/ 8602607 w 11951120"/>
              <a:gd name="connsiteY1701" fmla="*/ 6382650 h 6757249"/>
              <a:gd name="connsiteX1702" fmla="*/ 8580847 w 11951120"/>
              <a:gd name="connsiteY1702" fmla="*/ 6334521 h 6757249"/>
              <a:gd name="connsiteX1703" fmla="*/ 8536809 w 11951120"/>
              <a:gd name="connsiteY1703" fmla="*/ 6360560 h 6757249"/>
              <a:gd name="connsiteX1704" fmla="*/ 8534191 w 11951120"/>
              <a:gd name="connsiteY1704" fmla="*/ 6361794 h 6757249"/>
              <a:gd name="connsiteX1705" fmla="*/ 8506511 w 11951120"/>
              <a:gd name="connsiteY1705" fmla="*/ 6409386 h 6757249"/>
              <a:gd name="connsiteX1706" fmla="*/ 8461758 w 11951120"/>
              <a:gd name="connsiteY1706" fmla="*/ 6422082 h 6757249"/>
              <a:gd name="connsiteX1707" fmla="*/ 8453669 w 11951120"/>
              <a:gd name="connsiteY1707" fmla="*/ 6397792 h 6757249"/>
              <a:gd name="connsiteX1708" fmla="*/ 8461530 w 11951120"/>
              <a:gd name="connsiteY1708" fmla="*/ 6361307 h 6757249"/>
              <a:gd name="connsiteX1709" fmla="*/ 8461471 w 11951120"/>
              <a:gd name="connsiteY1709" fmla="*/ 6361275 h 6757249"/>
              <a:gd name="connsiteX1710" fmla="*/ 8447211 w 11951120"/>
              <a:gd name="connsiteY1710" fmla="*/ 6325172 h 6757249"/>
              <a:gd name="connsiteX1711" fmla="*/ 8413538 w 11951120"/>
              <a:gd name="connsiteY1711" fmla="*/ 6312523 h 6757249"/>
              <a:gd name="connsiteX1712" fmla="*/ 8387302 w 11951120"/>
              <a:gd name="connsiteY1712" fmla="*/ 6334385 h 6757249"/>
              <a:gd name="connsiteX1713" fmla="*/ 8386902 w 11951120"/>
              <a:gd name="connsiteY1713" fmla="*/ 6333985 h 6757249"/>
              <a:gd name="connsiteX1714" fmla="*/ 8386914 w 11951120"/>
              <a:gd name="connsiteY1714" fmla="*/ 6334521 h 6757249"/>
              <a:gd name="connsiteX1715" fmla="*/ 8194556 w 11951120"/>
              <a:gd name="connsiteY1715" fmla="*/ 6312399 h 6757249"/>
              <a:gd name="connsiteX1716" fmla="*/ 8194556 w 11951120"/>
              <a:gd name="connsiteY1716" fmla="*/ 6311002 h 6757249"/>
              <a:gd name="connsiteX1717" fmla="*/ 8193318 w 11951120"/>
              <a:gd name="connsiteY1717" fmla="*/ 6312876 h 6757249"/>
              <a:gd name="connsiteX1718" fmla="*/ 8076369 w 11951120"/>
              <a:gd name="connsiteY1718" fmla="*/ 6430914 h 6757249"/>
              <a:gd name="connsiteX1719" fmla="*/ 8076270 w 11951120"/>
              <a:gd name="connsiteY1719" fmla="*/ 6430856 h 6757249"/>
              <a:gd name="connsiteX1720" fmla="*/ 8076577 w 11951120"/>
              <a:gd name="connsiteY1720" fmla="*/ 6431110 h 6757249"/>
              <a:gd name="connsiteX1721" fmla="*/ 7953235 w 11951120"/>
              <a:gd name="connsiteY1721" fmla="*/ 6479308 h 6757249"/>
              <a:gd name="connsiteX1722" fmla="*/ 7953598 w 11951120"/>
              <a:gd name="connsiteY1722" fmla="*/ 6478947 h 6757249"/>
              <a:gd name="connsiteX1723" fmla="*/ 7883596 w 11951120"/>
              <a:gd name="connsiteY1723" fmla="*/ 6409386 h 6757249"/>
              <a:gd name="connsiteX1724" fmla="*/ 7862129 w 11951120"/>
              <a:gd name="connsiteY1724" fmla="*/ 6405082 h 6757249"/>
              <a:gd name="connsiteX1725" fmla="*/ 7861527 w 11951120"/>
              <a:gd name="connsiteY1725" fmla="*/ 6404938 h 6757249"/>
              <a:gd name="connsiteX1726" fmla="*/ 7862069 w 11951120"/>
              <a:gd name="connsiteY1726" fmla="*/ 6405318 h 6757249"/>
              <a:gd name="connsiteX1727" fmla="*/ 7817906 w 11951120"/>
              <a:gd name="connsiteY1727" fmla="*/ 6414094 h 6757249"/>
              <a:gd name="connsiteX1728" fmla="*/ 7815195 w 11951120"/>
              <a:gd name="connsiteY1728" fmla="*/ 6412622 h 6757249"/>
              <a:gd name="connsiteX1729" fmla="*/ 7816487 w 11951120"/>
              <a:gd name="connsiteY1729" fmla="*/ 6414316 h 6757249"/>
              <a:gd name="connsiteX1730" fmla="*/ 7756305 w 11951120"/>
              <a:gd name="connsiteY1730" fmla="*/ 6449045 h 6757249"/>
              <a:gd name="connsiteX1731" fmla="*/ 7738879 w 11951120"/>
              <a:gd name="connsiteY1731" fmla="*/ 6451209 h 6757249"/>
              <a:gd name="connsiteX1732" fmla="*/ 7690126 w 11951120"/>
              <a:gd name="connsiteY1732" fmla="*/ 6492584 h 6757249"/>
              <a:gd name="connsiteX1733" fmla="*/ 7655116 w 11951120"/>
              <a:gd name="connsiteY1733" fmla="*/ 6479376 h 6757249"/>
              <a:gd name="connsiteX1734" fmla="*/ 7633232 w 11951120"/>
              <a:gd name="connsiteY1734" fmla="*/ 6479376 h 6757249"/>
              <a:gd name="connsiteX1735" fmla="*/ 7631792 w 11951120"/>
              <a:gd name="connsiteY1735" fmla="*/ 6477927 h 6757249"/>
              <a:gd name="connsiteX1736" fmla="*/ 7631498 w 11951120"/>
              <a:gd name="connsiteY1736" fmla="*/ 6479178 h 6757249"/>
              <a:gd name="connsiteX1737" fmla="*/ 7584928 w 11951120"/>
              <a:gd name="connsiteY1737" fmla="*/ 6479178 h 6757249"/>
              <a:gd name="connsiteX1738" fmla="*/ 7584757 w 11951120"/>
              <a:gd name="connsiteY1738" fmla="*/ 6479715 h 6757249"/>
              <a:gd name="connsiteX1739" fmla="*/ 7487002 w 11951120"/>
              <a:gd name="connsiteY1739" fmla="*/ 6527750 h 6757249"/>
              <a:gd name="connsiteX1740" fmla="*/ 7486756 w 11951120"/>
              <a:gd name="connsiteY1740" fmla="*/ 6527142 h 6757249"/>
              <a:gd name="connsiteX1741" fmla="*/ 7435745 w 11951120"/>
              <a:gd name="connsiteY1741" fmla="*/ 6501137 h 6757249"/>
              <a:gd name="connsiteX1742" fmla="*/ 7435637 w 11951120"/>
              <a:gd name="connsiteY1742" fmla="*/ 6501794 h 6757249"/>
              <a:gd name="connsiteX1743" fmla="*/ 7391842 w 11951120"/>
              <a:gd name="connsiteY1743" fmla="*/ 6532805 h 6757249"/>
              <a:gd name="connsiteX1744" fmla="*/ 7389489 w 11951120"/>
              <a:gd name="connsiteY1744" fmla="*/ 6531966 h 6757249"/>
              <a:gd name="connsiteX1745" fmla="*/ 7364256 w 11951120"/>
              <a:gd name="connsiteY1745" fmla="*/ 6574823 h 6757249"/>
              <a:gd name="connsiteX1746" fmla="*/ 7365654 w 11951120"/>
              <a:gd name="connsiteY1746" fmla="*/ 6576195 h 6757249"/>
              <a:gd name="connsiteX1747" fmla="*/ 7365654 w 11951120"/>
              <a:gd name="connsiteY1747" fmla="*/ 6624459 h 6757249"/>
              <a:gd name="connsiteX1748" fmla="*/ 7343308 w 11951120"/>
              <a:gd name="connsiteY1748" fmla="*/ 6650784 h 6757249"/>
              <a:gd name="connsiteX1749" fmla="*/ 7328226 w 11951120"/>
              <a:gd name="connsiteY1749" fmla="*/ 6600875 h 6757249"/>
              <a:gd name="connsiteX1750" fmla="*/ 7342958 w 11951120"/>
              <a:gd name="connsiteY1750" fmla="*/ 6555338 h 6757249"/>
              <a:gd name="connsiteX1751" fmla="*/ 7342030 w 11951120"/>
              <a:gd name="connsiteY1751" fmla="*/ 6553585 h 6757249"/>
              <a:gd name="connsiteX1752" fmla="*/ 7299663 w 11951120"/>
              <a:gd name="connsiteY1752" fmla="*/ 6553585 h 6757249"/>
              <a:gd name="connsiteX1753" fmla="*/ 7298619 w 11951120"/>
              <a:gd name="connsiteY1753" fmla="*/ 6554639 h 6757249"/>
              <a:gd name="connsiteX1754" fmla="*/ 7244992 w 11951120"/>
              <a:gd name="connsiteY1754" fmla="*/ 6554639 h 6757249"/>
              <a:gd name="connsiteX1755" fmla="*/ 7245220 w 11951120"/>
              <a:gd name="connsiteY1755" fmla="*/ 6554173 h 6757249"/>
              <a:gd name="connsiteX1756" fmla="*/ 7219611 w 11951120"/>
              <a:gd name="connsiteY1756" fmla="*/ 6549927 h 6757249"/>
              <a:gd name="connsiteX1757" fmla="*/ 7223012 w 11951120"/>
              <a:gd name="connsiteY1757" fmla="*/ 6556985 h 6757249"/>
              <a:gd name="connsiteX1758" fmla="*/ 7223543 w 11951120"/>
              <a:gd name="connsiteY1758" fmla="*/ 6558086 h 6757249"/>
              <a:gd name="connsiteX1759" fmla="*/ 7172596 w 11951120"/>
              <a:gd name="connsiteY1759" fmla="*/ 6575707 h 6757249"/>
              <a:gd name="connsiteX1760" fmla="*/ 7172596 w 11951120"/>
              <a:gd name="connsiteY1760" fmla="*/ 6529577 h 6757249"/>
              <a:gd name="connsiteX1761" fmla="*/ 7172108 w 11951120"/>
              <a:gd name="connsiteY1761" fmla="*/ 6529373 h 6757249"/>
              <a:gd name="connsiteX1762" fmla="*/ 7145784 w 11951120"/>
              <a:gd name="connsiteY1762" fmla="*/ 6454616 h 6757249"/>
              <a:gd name="connsiteX1763" fmla="*/ 7146814 w 11951120"/>
              <a:gd name="connsiteY1763" fmla="*/ 6454013 h 6757249"/>
              <a:gd name="connsiteX1764" fmla="*/ 7145538 w 11951120"/>
              <a:gd name="connsiteY1764" fmla="*/ 6454295 h 6757249"/>
              <a:gd name="connsiteX1765" fmla="*/ 7136762 w 11951120"/>
              <a:gd name="connsiteY1765" fmla="*/ 6454295 h 6757249"/>
              <a:gd name="connsiteX1766" fmla="*/ 7127988 w 11951120"/>
              <a:gd name="connsiteY1766" fmla="*/ 6458693 h 6757249"/>
              <a:gd name="connsiteX1767" fmla="*/ 7126988 w 11951120"/>
              <a:gd name="connsiteY1767" fmla="*/ 6458155 h 6757249"/>
              <a:gd name="connsiteX1768" fmla="*/ 7127013 w 11951120"/>
              <a:gd name="connsiteY1768" fmla="*/ 6458187 h 6757249"/>
              <a:gd name="connsiteX1769" fmla="*/ 7078749 w 11951120"/>
              <a:gd name="connsiteY1769" fmla="*/ 6554256 h 6757249"/>
              <a:gd name="connsiteX1770" fmla="*/ 7078192 w 11951120"/>
              <a:gd name="connsiteY1770" fmla="*/ 6553616 h 6757249"/>
              <a:gd name="connsiteX1771" fmla="*/ 7078749 w 11951120"/>
              <a:gd name="connsiteY1771" fmla="*/ 6555374 h 6757249"/>
              <a:gd name="connsiteX1772" fmla="*/ 6977833 w 11951120"/>
              <a:gd name="connsiteY1772" fmla="*/ 6572952 h 6757249"/>
              <a:gd name="connsiteX1773" fmla="*/ 6929568 w 11951120"/>
              <a:gd name="connsiteY1773" fmla="*/ 6485063 h 6757249"/>
              <a:gd name="connsiteX1774" fmla="*/ 6933693 w 11951120"/>
              <a:gd name="connsiteY1774" fmla="*/ 6483401 h 6757249"/>
              <a:gd name="connsiteX1775" fmla="*/ 6931539 w 11951120"/>
              <a:gd name="connsiteY1775" fmla="*/ 6483163 h 6757249"/>
              <a:gd name="connsiteX1776" fmla="*/ 6786483 w 11951120"/>
              <a:gd name="connsiteY1776" fmla="*/ 6500629 h 6757249"/>
              <a:gd name="connsiteX1777" fmla="*/ 6786522 w 11951120"/>
              <a:gd name="connsiteY1777" fmla="*/ 6500511 h 6757249"/>
              <a:gd name="connsiteX1778" fmla="*/ 6785027 w 11951120"/>
              <a:gd name="connsiteY1778" fmla="*/ 6502198 h 6757249"/>
              <a:gd name="connsiteX1779" fmla="*/ 6785027 w 11951120"/>
              <a:gd name="connsiteY1779" fmla="*/ 6550398 h 6757249"/>
              <a:gd name="connsiteX1780" fmla="*/ 6732627 w 11951120"/>
              <a:gd name="connsiteY1780" fmla="*/ 6528489 h 6757249"/>
              <a:gd name="connsiteX1781" fmla="*/ 6732675 w 11951120"/>
              <a:gd name="connsiteY1781" fmla="*/ 6513808 h 6757249"/>
              <a:gd name="connsiteX1782" fmla="*/ 6723529 w 11951120"/>
              <a:gd name="connsiteY1782" fmla="*/ 6517592 h 6757249"/>
              <a:gd name="connsiteX1783" fmla="*/ 6674302 w 11951120"/>
              <a:gd name="connsiteY1783" fmla="*/ 6508759 h 6757249"/>
              <a:gd name="connsiteX1784" fmla="*/ 6669289 w 11951120"/>
              <a:gd name="connsiteY1784" fmla="*/ 6502160 h 6757249"/>
              <a:gd name="connsiteX1785" fmla="*/ 6654414 w 11951120"/>
              <a:gd name="connsiteY1785" fmla="*/ 6509167 h 6757249"/>
              <a:gd name="connsiteX1786" fmla="*/ 6586849 w 11951120"/>
              <a:gd name="connsiteY1786" fmla="*/ 6517343 h 6757249"/>
              <a:gd name="connsiteX1787" fmla="*/ 6540846 w 11951120"/>
              <a:gd name="connsiteY1787" fmla="*/ 6507228 h 6757249"/>
              <a:gd name="connsiteX1788" fmla="*/ 6490780 w 11951120"/>
              <a:gd name="connsiteY1788" fmla="*/ 6529871 h 6757249"/>
              <a:gd name="connsiteX1789" fmla="*/ 6440003 w 11951120"/>
              <a:gd name="connsiteY1789" fmla="*/ 6567663 h 6757249"/>
              <a:gd name="connsiteX1790" fmla="*/ 6437798 w 11951120"/>
              <a:gd name="connsiteY1790" fmla="*/ 6519465 h 6757249"/>
              <a:gd name="connsiteX1791" fmla="*/ 6435625 w 11951120"/>
              <a:gd name="connsiteY1791" fmla="*/ 6484914 h 6757249"/>
              <a:gd name="connsiteX1792" fmla="*/ 6414630 w 11951120"/>
              <a:gd name="connsiteY1792" fmla="*/ 6505991 h 6757249"/>
              <a:gd name="connsiteX1793" fmla="*/ 6411735 w 11951120"/>
              <a:gd name="connsiteY1793" fmla="*/ 6474018 h 6757249"/>
              <a:gd name="connsiteX1794" fmla="*/ 6411542 w 11951120"/>
              <a:gd name="connsiteY1794" fmla="*/ 6474486 h 6757249"/>
              <a:gd name="connsiteX1795" fmla="*/ 6413670 w 11951120"/>
              <a:gd name="connsiteY1795" fmla="*/ 6506885 h 6757249"/>
              <a:gd name="connsiteX1796" fmla="*/ 6392576 w 11951120"/>
              <a:gd name="connsiteY1796" fmla="*/ 6529022 h 6757249"/>
              <a:gd name="connsiteX1797" fmla="*/ 6392576 w 11951120"/>
              <a:gd name="connsiteY1797" fmla="*/ 6574826 h 6757249"/>
              <a:gd name="connsiteX1798" fmla="*/ 6353754 w 11951120"/>
              <a:gd name="connsiteY1798" fmla="*/ 6592801 h 6757249"/>
              <a:gd name="connsiteX1799" fmla="*/ 6332725 w 11951120"/>
              <a:gd name="connsiteY1799" fmla="*/ 6579728 h 6757249"/>
              <a:gd name="connsiteX1800" fmla="*/ 6340811 w 11951120"/>
              <a:gd name="connsiteY1800" fmla="*/ 6553594 h 6757249"/>
              <a:gd name="connsiteX1801" fmla="*/ 6340442 w 11951120"/>
              <a:gd name="connsiteY1801" fmla="*/ 6553569 h 6757249"/>
              <a:gd name="connsiteX1802" fmla="*/ 6269712 w 11951120"/>
              <a:gd name="connsiteY1802" fmla="*/ 6431297 h 6757249"/>
              <a:gd name="connsiteX1803" fmla="*/ 6270376 w 11951120"/>
              <a:gd name="connsiteY1803" fmla="*/ 6430914 h 6757249"/>
              <a:gd name="connsiteX1804" fmla="*/ 6269351 w 11951120"/>
              <a:gd name="connsiteY1804" fmla="*/ 6430914 h 6757249"/>
              <a:gd name="connsiteX1805" fmla="*/ 6269351 w 11951120"/>
              <a:gd name="connsiteY1805" fmla="*/ 6409365 h 6757249"/>
              <a:gd name="connsiteX1806" fmla="*/ 6268863 w 11951120"/>
              <a:gd name="connsiteY1806" fmla="*/ 6409465 h 6757249"/>
              <a:gd name="connsiteX1807" fmla="*/ 6230471 w 11951120"/>
              <a:gd name="connsiteY1807" fmla="*/ 6412257 h 6757249"/>
              <a:gd name="connsiteX1808" fmla="*/ 6199582 w 11951120"/>
              <a:gd name="connsiteY1808" fmla="*/ 6431242 h 6757249"/>
              <a:gd name="connsiteX1809" fmla="*/ 6199636 w 11951120"/>
              <a:gd name="connsiteY1809" fmla="*/ 6431250 h 6757249"/>
              <a:gd name="connsiteX1810" fmla="*/ 6095063 w 11951120"/>
              <a:gd name="connsiteY1810" fmla="*/ 6479178 h 6757249"/>
              <a:gd name="connsiteX1811" fmla="*/ 6114669 w 11951120"/>
              <a:gd name="connsiteY1811" fmla="*/ 6432883 h 6757249"/>
              <a:gd name="connsiteX1812" fmla="*/ 6146155 w 11951120"/>
              <a:gd name="connsiteY1812" fmla="*/ 6410319 h 6757249"/>
              <a:gd name="connsiteX1813" fmla="*/ 6146009 w 11951120"/>
              <a:gd name="connsiteY1813" fmla="*/ 6409465 h 6757249"/>
              <a:gd name="connsiteX1814" fmla="*/ 6155566 w 11951120"/>
              <a:gd name="connsiteY1814" fmla="*/ 6396976 h 6757249"/>
              <a:gd name="connsiteX1815" fmla="*/ 6163251 w 11951120"/>
              <a:gd name="connsiteY1815" fmla="*/ 6361307 h 6757249"/>
              <a:gd name="connsiteX1816" fmla="*/ 6163192 w 11951120"/>
              <a:gd name="connsiteY1816" fmla="*/ 6361275 h 6757249"/>
              <a:gd name="connsiteX1817" fmla="*/ 6150099 w 11951120"/>
              <a:gd name="connsiteY1817" fmla="*/ 6328126 h 6757249"/>
              <a:gd name="connsiteX1818" fmla="*/ 6138298 w 11951120"/>
              <a:gd name="connsiteY1818" fmla="*/ 6340350 h 6757249"/>
              <a:gd name="connsiteX1819" fmla="*/ 6085956 w 11951120"/>
              <a:gd name="connsiteY1819" fmla="*/ 6355836 h 6757249"/>
              <a:gd name="connsiteX1820" fmla="*/ 6086108 w 11951120"/>
              <a:gd name="connsiteY1820" fmla="*/ 6337310 h 6757249"/>
              <a:gd name="connsiteX1821" fmla="*/ 6061542 w 11951120"/>
              <a:gd name="connsiteY1821" fmla="*/ 6364419 h 6757249"/>
              <a:gd name="connsiteX1822" fmla="*/ 5896277 w 11951120"/>
              <a:gd name="connsiteY1822" fmla="*/ 6312399 h 6757249"/>
              <a:gd name="connsiteX1823" fmla="*/ 5896277 w 11951120"/>
              <a:gd name="connsiteY1823" fmla="*/ 6311002 h 6757249"/>
              <a:gd name="connsiteX1824" fmla="*/ 5895039 w 11951120"/>
              <a:gd name="connsiteY1824" fmla="*/ 6312876 h 6757249"/>
              <a:gd name="connsiteX1825" fmla="*/ 5886696 w 11951120"/>
              <a:gd name="connsiteY1825" fmla="*/ 6323084 h 6757249"/>
              <a:gd name="connsiteX1826" fmla="*/ 5884195 w 11951120"/>
              <a:gd name="connsiteY1826" fmla="*/ 6338039 h 6757249"/>
              <a:gd name="connsiteX1827" fmla="*/ 5875851 w 11951120"/>
              <a:gd name="connsiteY1827" fmla="*/ 6336351 h 6757249"/>
              <a:gd name="connsiteX1828" fmla="*/ 5841438 w 11951120"/>
              <a:gd name="connsiteY1828" fmla="*/ 6378453 h 6757249"/>
              <a:gd name="connsiteX1829" fmla="*/ 5778090 w 11951120"/>
              <a:gd name="connsiteY1829" fmla="*/ 6430914 h 6757249"/>
              <a:gd name="connsiteX1830" fmla="*/ 5777991 w 11951120"/>
              <a:gd name="connsiteY1830" fmla="*/ 6430856 h 6757249"/>
              <a:gd name="connsiteX1831" fmla="*/ 5778298 w 11951120"/>
              <a:gd name="connsiteY1831" fmla="*/ 6431110 h 6757249"/>
              <a:gd name="connsiteX1832" fmla="*/ 5654957 w 11951120"/>
              <a:gd name="connsiteY1832" fmla="*/ 6479308 h 6757249"/>
              <a:gd name="connsiteX1833" fmla="*/ 5655319 w 11951120"/>
              <a:gd name="connsiteY1833" fmla="*/ 6478947 h 6757249"/>
              <a:gd name="connsiteX1834" fmla="*/ 5585317 w 11951120"/>
              <a:gd name="connsiteY1834" fmla="*/ 6409386 h 6757249"/>
              <a:gd name="connsiteX1835" fmla="*/ 5563850 w 11951120"/>
              <a:gd name="connsiteY1835" fmla="*/ 6405082 h 6757249"/>
              <a:gd name="connsiteX1836" fmla="*/ 5563248 w 11951120"/>
              <a:gd name="connsiteY1836" fmla="*/ 6404938 h 6757249"/>
              <a:gd name="connsiteX1837" fmla="*/ 5563790 w 11951120"/>
              <a:gd name="connsiteY1837" fmla="*/ 6405318 h 6757249"/>
              <a:gd name="connsiteX1838" fmla="*/ 5519628 w 11951120"/>
              <a:gd name="connsiteY1838" fmla="*/ 6414094 h 6757249"/>
              <a:gd name="connsiteX1839" fmla="*/ 5516917 w 11951120"/>
              <a:gd name="connsiteY1839" fmla="*/ 6412622 h 6757249"/>
              <a:gd name="connsiteX1840" fmla="*/ 5518208 w 11951120"/>
              <a:gd name="connsiteY1840" fmla="*/ 6414316 h 6757249"/>
              <a:gd name="connsiteX1841" fmla="*/ 5388083 w 11951120"/>
              <a:gd name="connsiteY1841" fmla="*/ 6457728 h 6757249"/>
              <a:gd name="connsiteX1842" fmla="*/ 5414108 w 11951120"/>
              <a:gd name="connsiteY1842" fmla="*/ 6383927 h 6757249"/>
              <a:gd name="connsiteX1843" fmla="*/ 5414370 w 11951120"/>
              <a:gd name="connsiteY1843" fmla="*/ 6383900 h 6757249"/>
              <a:gd name="connsiteX1844" fmla="*/ 5413635 w 11951120"/>
              <a:gd name="connsiteY1844" fmla="*/ 6383381 h 6757249"/>
              <a:gd name="connsiteX1845" fmla="*/ 5413635 w 11951120"/>
              <a:gd name="connsiteY1845" fmla="*/ 6361442 h 6757249"/>
              <a:gd name="connsiteX1846" fmla="*/ 5414436 w 11951120"/>
              <a:gd name="connsiteY1846" fmla="*/ 6360434 h 6757249"/>
              <a:gd name="connsiteX1847" fmla="*/ 5413328 w 11951120"/>
              <a:gd name="connsiteY1847" fmla="*/ 6361199 h 6757249"/>
              <a:gd name="connsiteX1848" fmla="*/ 5380863 w 11951120"/>
              <a:gd name="connsiteY1848" fmla="*/ 6313199 h 6757249"/>
              <a:gd name="connsiteX1849" fmla="*/ 5331774 w 11951120"/>
              <a:gd name="connsiteY1849" fmla="*/ 6335318 h 6757249"/>
              <a:gd name="connsiteX1850" fmla="*/ 5330808 w 11951120"/>
              <a:gd name="connsiteY1850" fmla="*/ 6335228 h 6757249"/>
              <a:gd name="connsiteX1851" fmla="*/ 5319169 w 11951120"/>
              <a:gd name="connsiteY1851" fmla="*/ 6369244 h 6757249"/>
              <a:gd name="connsiteX1852" fmla="*/ 5288293 w 11951120"/>
              <a:gd name="connsiteY1852" fmla="*/ 6370347 h 6757249"/>
              <a:gd name="connsiteX1853" fmla="*/ 5276879 w 11951120"/>
              <a:gd name="connsiteY1853" fmla="*/ 6355846 h 6757249"/>
              <a:gd name="connsiteX1854" fmla="*/ 5247392 w 11951120"/>
              <a:gd name="connsiteY1854" fmla="*/ 6388281 h 6757249"/>
              <a:gd name="connsiteX1855" fmla="*/ 5243597 w 11951120"/>
              <a:gd name="connsiteY1855" fmla="*/ 6388658 h 6757249"/>
              <a:gd name="connsiteX1856" fmla="*/ 5204379 w 11951120"/>
              <a:gd name="connsiteY1856" fmla="*/ 6410370 h 6757249"/>
              <a:gd name="connsiteX1857" fmla="*/ 5129413 w 11951120"/>
              <a:gd name="connsiteY1857" fmla="*/ 6338524 h 6757249"/>
              <a:gd name="connsiteX1858" fmla="*/ 5129413 w 11951120"/>
              <a:gd name="connsiteY1858" fmla="*/ 6337929 h 6757249"/>
              <a:gd name="connsiteX1859" fmla="*/ 5128632 w 11951120"/>
              <a:gd name="connsiteY1859" fmla="*/ 6339197 h 6757249"/>
              <a:gd name="connsiteX1860" fmla="*/ 5102684 w 11951120"/>
              <a:gd name="connsiteY1860" fmla="*/ 6361199 h 6757249"/>
              <a:gd name="connsiteX1861" fmla="*/ 5101991 w 11951120"/>
              <a:gd name="connsiteY1861" fmla="*/ 6360802 h 6757249"/>
              <a:gd name="connsiteX1862" fmla="*/ 5085860 w 11951120"/>
              <a:gd name="connsiteY1862" fmla="*/ 6378685 h 6757249"/>
              <a:gd name="connsiteX1863" fmla="*/ 5072359 w 11951120"/>
              <a:gd name="connsiteY1863" fmla="*/ 6390695 h 6757249"/>
              <a:gd name="connsiteX1864" fmla="*/ 5036807 w 11951120"/>
              <a:gd name="connsiteY1864" fmla="*/ 6347135 h 6757249"/>
              <a:gd name="connsiteX1865" fmla="*/ 4994442 w 11951120"/>
              <a:gd name="connsiteY1865" fmla="*/ 6361199 h 6757249"/>
              <a:gd name="connsiteX1866" fmla="*/ 4987237 w 11951120"/>
              <a:gd name="connsiteY1866" fmla="*/ 6319158 h 6757249"/>
              <a:gd name="connsiteX1867" fmla="*/ 4984463 w 11951120"/>
              <a:gd name="connsiteY1867" fmla="*/ 6320980 h 6757249"/>
              <a:gd name="connsiteX1868" fmla="*/ 5001497 w 11951120"/>
              <a:gd name="connsiteY1868" fmla="*/ 6211044 h 6757249"/>
              <a:gd name="connsiteX1869" fmla="*/ 5001672 w 11951120"/>
              <a:gd name="connsiteY1869" fmla="*/ 6211440 h 6757249"/>
              <a:gd name="connsiteX1870" fmla="*/ 5026495 w 11951120"/>
              <a:gd name="connsiteY1870" fmla="*/ 6165780 h 6757249"/>
              <a:gd name="connsiteX1871" fmla="*/ 5014373 w 11951120"/>
              <a:gd name="connsiteY1871" fmla="*/ 6183172 h 6757249"/>
              <a:gd name="connsiteX1872" fmla="*/ 4943117 w 11951120"/>
              <a:gd name="connsiteY1872" fmla="*/ 6190555 h 6757249"/>
              <a:gd name="connsiteX1873" fmla="*/ 4934533 w 11951120"/>
              <a:gd name="connsiteY1873" fmla="*/ 6186162 h 6757249"/>
              <a:gd name="connsiteX1874" fmla="*/ 4910113 w 11951120"/>
              <a:gd name="connsiteY1874" fmla="*/ 6194955 h 6757249"/>
              <a:gd name="connsiteX1875" fmla="*/ 4910049 w 11951120"/>
              <a:gd name="connsiteY1875" fmla="*/ 6194915 h 6757249"/>
              <a:gd name="connsiteX1876" fmla="*/ 4899263 w 11951120"/>
              <a:gd name="connsiteY1876" fmla="*/ 6231197 h 6757249"/>
              <a:gd name="connsiteX1877" fmla="*/ 4861278 w 11951120"/>
              <a:gd name="connsiteY1877" fmla="*/ 6245902 h 6757249"/>
              <a:gd name="connsiteX1878" fmla="*/ 4859861 w 11951120"/>
              <a:gd name="connsiteY1878" fmla="*/ 6243250 h 6757249"/>
              <a:gd name="connsiteX1879" fmla="*/ 4860564 w 11951120"/>
              <a:gd name="connsiteY1879" fmla="*/ 6246726 h 6757249"/>
              <a:gd name="connsiteX1880" fmla="*/ 4860564 w 11951120"/>
              <a:gd name="connsiteY1880" fmla="*/ 6285709 h 6757249"/>
              <a:gd name="connsiteX1881" fmla="*/ 4812389 w 11951120"/>
              <a:gd name="connsiteY1881" fmla="*/ 6285709 h 6757249"/>
              <a:gd name="connsiteX1882" fmla="*/ 4768592 w 11951120"/>
              <a:gd name="connsiteY1882" fmla="*/ 6255389 h 6757249"/>
              <a:gd name="connsiteX1883" fmla="*/ 4772426 w 11951120"/>
              <a:gd name="connsiteY1883" fmla="*/ 6229400 h 6757249"/>
              <a:gd name="connsiteX1884" fmla="*/ 4768873 w 11951120"/>
              <a:gd name="connsiteY1884" fmla="*/ 6227606 h 6757249"/>
              <a:gd name="connsiteX1885" fmla="*/ 4753460 w 11951120"/>
              <a:gd name="connsiteY1885" fmla="*/ 6237859 h 6757249"/>
              <a:gd name="connsiteX1886" fmla="*/ 4731893 w 11951120"/>
              <a:gd name="connsiteY1886" fmla="*/ 6237859 h 6757249"/>
              <a:gd name="connsiteX1887" fmla="*/ 4732304 w 11951120"/>
              <a:gd name="connsiteY1887" fmla="*/ 6227582 h 6757249"/>
              <a:gd name="connsiteX1888" fmla="*/ 4727210 w 11951120"/>
              <a:gd name="connsiteY1888" fmla="*/ 6231864 h 6757249"/>
              <a:gd name="connsiteX1889" fmla="*/ 4668179 w 11951120"/>
              <a:gd name="connsiteY1889" fmla="*/ 6285608 h 6757249"/>
              <a:gd name="connsiteX1890" fmla="*/ 4628825 w 11951120"/>
              <a:gd name="connsiteY1890" fmla="*/ 6307572 h 6757249"/>
              <a:gd name="connsiteX1891" fmla="*/ 4623761 w 11951120"/>
              <a:gd name="connsiteY1891" fmla="*/ 6306119 h 6757249"/>
              <a:gd name="connsiteX1892" fmla="*/ 4620908 w 11951120"/>
              <a:gd name="connsiteY1892" fmla="*/ 6334798 h 6757249"/>
              <a:gd name="connsiteX1893" fmla="*/ 4555152 w 11951120"/>
              <a:gd name="connsiteY1893" fmla="*/ 6381569 h 6757249"/>
              <a:gd name="connsiteX1894" fmla="*/ 4528390 w 11951120"/>
              <a:gd name="connsiteY1894" fmla="*/ 6387985 h 6757249"/>
              <a:gd name="connsiteX1895" fmla="*/ 4528792 w 11951120"/>
              <a:gd name="connsiteY1895" fmla="*/ 6388303 h 6757249"/>
              <a:gd name="connsiteX1896" fmla="*/ 4453989 w 11951120"/>
              <a:gd name="connsiteY1896" fmla="*/ 6505703 h 6757249"/>
              <a:gd name="connsiteX1897" fmla="*/ 4357186 w 11951120"/>
              <a:gd name="connsiteY1897" fmla="*/ 6483961 h 6757249"/>
              <a:gd name="connsiteX1898" fmla="*/ 4379119 w 11951120"/>
              <a:gd name="connsiteY1898" fmla="*/ 6436277 h 6757249"/>
              <a:gd name="connsiteX1899" fmla="*/ 4357903 w 11951120"/>
              <a:gd name="connsiteY1899" fmla="*/ 6431868 h 6757249"/>
              <a:gd name="connsiteX1900" fmla="*/ 4336010 w 11951120"/>
              <a:gd name="connsiteY1900" fmla="*/ 6436277 h 6757249"/>
              <a:gd name="connsiteX1901" fmla="*/ 4335705 w 11951120"/>
              <a:gd name="connsiteY1901" fmla="*/ 6436168 h 6757249"/>
              <a:gd name="connsiteX1902" fmla="*/ 4335736 w 11951120"/>
              <a:gd name="connsiteY1902" fmla="*/ 6436212 h 6757249"/>
              <a:gd name="connsiteX1903" fmla="*/ 4141724 w 11951120"/>
              <a:gd name="connsiteY1903" fmla="*/ 6567663 h 6757249"/>
              <a:gd name="connsiteX1904" fmla="*/ 4139519 w 11951120"/>
              <a:gd name="connsiteY1904" fmla="*/ 6519465 h 6757249"/>
              <a:gd name="connsiteX1905" fmla="*/ 4137346 w 11951120"/>
              <a:gd name="connsiteY1905" fmla="*/ 6484914 h 6757249"/>
              <a:gd name="connsiteX1906" fmla="*/ 4116351 w 11951120"/>
              <a:gd name="connsiteY1906" fmla="*/ 6505991 h 6757249"/>
              <a:gd name="connsiteX1907" fmla="*/ 4113456 w 11951120"/>
              <a:gd name="connsiteY1907" fmla="*/ 6474018 h 6757249"/>
              <a:gd name="connsiteX1908" fmla="*/ 4113263 w 11951120"/>
              <a:gd name="connsiteY1908" fmla="*/ 6474486 h 6757249"/>
              <a:gd name="connsiteX1909" fmla="*/ 4115391 w 11951120"/>
              <a:gd name="connsiteY1909" fmla="*/ 6506885 h 6757249"/>
              <a:gd name="connsiteX1910" fmla="*/ 4094297 w 11951120"/>
              <a:gd name="connsiteY1910" fmla="*/ 6529022 h 6757249"/>
              <a:gd name="connsiteX1911" fmla="*/ 4094297 w 11951120"/>
              <a:gd name="connsiteY1911" fmla="*/ 6574826 h 6757249"/>
              <a:gd name="connsiteX1912" fmla="*/ 4055475 w 11951120"/>
              <a:gd name="connsiteY1912" fmla="*/ 6592801 h 6757249"/>
              <a:gd name="connsiteX1913" fmla="*/ 4034446 w 11951120"/>
              <a:gd name="connsiteY1913" fmla="*/ 6579728 h 6757249"/>
              <a:gd name="connsiteX1914" fmla="*/ 4042532 w 11951120"/>
              <a:gd name="connsiteY1914" fmla="*/ 6553594 h 6757249"/>
              <a:gd name="connsiteX1915" fmla="*/ 4042163 w 11951120"/>
              <a:gd name="connsiteY1915" fmla="*/ 6553569 h 6757249"/>
              <a:gd name="connsiteX1916" fmla="*/ 3971987 w 11951120"/>
              <a:gd name="connsiteY1916" fmla="*/ 6513720 h 6757249"/>
              <a:gd name="connsiteX1917" fmla="*/ 3963263 w 11951120"/>
              <a:gd name="connsiteY1917" fmla="*/ 6496522 h 6757249"/>
              <a:gd name="connsiteX1918" fmla="*/ 3960316 w 11951120"/>
              <a:gd name="connsiteY1918" fmla="*/ 6505991 h 6757249"/>
              <a:gd name="connsiteX1919" fmla="*/ 3864184 w 11951120"/>
              <a:gd name="connsiteY1919" fmla="*/ 6457728 h 6757249"/>
              <a:gd name="connsiteX1920" fmla="*/ 3865552 w 11951120"/>
              <a:gd name="connsiteY1920" fmla="*/ 6455668 h 6757249"/>
              <a:gd name="connsiteX1921" fmla="*/ 3862846 w 11951120"/>
              <a:gd name="connsiteY1921" fmla="*/ 6456878 h 6757249"/>
              <a:gd name="connsiteX1922" fmla="*/ 3862846 w 11951120"/>
              <a:gd name="connsiteY1922" fmla="*/ 6457728 h 6757249"/>
              <a:gd name="connsiteX1923" fmla="*/ 3860945 w 11951120"/>
              <a:gd name="connsiteY1923" fmla="*/ 6457728 h 6757249"/>
              <a:gd name="connsiteX1924" fmla="*/ 3855607 w 11951120"/>
              <a:gd name="connsiteY1924" fmla="*/ 6460116 h 6757249"/>
              <a:gd name="connsiteX1925" fmla="*/ 3835763 w 11951120"/>
              <a:gd name="connsiteY1925" fmla="*/ 6466546 h 6757249"/>
              <a:gd name="connsiteX1926" fmla="*/ 3809814 w 11951120"/>
              <a:gd name="connsiteY1926" fmla="*/ 6521510 h 6757249"/>
              <a:gd name="connsiteX1927" fmla="*/ 3766615 w 11951120"/>
              <a:gd name="connsiteY1927" fmla="*/ 6575707 h 6757249"/>
              <a:gd name="connsiteX1928" fmla="*/ 3770935 w 11951120"/>
              <a:gd name="connsiteY1928" fmla="*/ 6479357 h 6757249"/>
              <a:gd name="connsiteX1929" fmla="*/ 3771155 w 11951120"/>
              <a:gd name="connsiteY1929" fmla="*/ 6478957 h 6757249"/>
              <a:gd name="connsiteX1930" fmla="*/ 3741730 w 11951120"/>
              <a:gd name="connsiteY1930" fmla="*/ 6458023 h 6757249"/>
              <a:gd name="connsiteX1931" fmla="*/ 3739663 w 11951120"/>
              <a:gd name="connsiteY1931" fmla="*/ 6457935 h 6757249"/>
              <a:gd name="connsiteX1932" fmla="*/ 3673703 w 11951120"/>
              <a:gd name="connsiteY1932" fmla="*/ 6466735 h 6757249"/>
              <a:gd name="connsiteX1933" fmla="*/ 3616535 w 11951120"/>
              <a:gd name="connsiteY1933" fmla="*/ 6444734 h 6757249"/>
              <a:gd name="connsiteX1934" fmla="*/ 3642919 w 11951120"/>
              <a:gd name="connsiteY1934" fmla="*/ 6409532 h 6757249"/>
              <a:gd name="connsiteX1935" fmla="*/ 3642919 w 11951120"/>
              <a:gd name="connsiteY1935" fmla="*/ 6408943 h 6757249"/>
              <a:gd name="connsiteX1936" fmla="*/ 3611687 w 11951120"/>
              <a:gd name="connsiteY1936" fmla="*/ 6380831 h 6757249"/>
              <a:gd name="connsiteX1937" fmla="*/ 3596106 w 11951120"/>
              <a:gd name="connsiteY1937" fmla="*/ 6339134 h 6757249"/>
              <a:gd name="connsiteX1938" fmla="*/ 3587104 w 11951120"/>
              <a:gd name="connsiteY1938" fmla="*/ 6330936 h 6757249"/>
              <a:gd name="connsiteX1939" fmla="*/ 3585916 w 11951120"/>
              <a:gd name="connsiteY1939" fmla="*/ 6338039 h 6757249"/>
              <a:gd name="connsiteX1940" fmla="*/ 3489004 w 11951120"/>
              <a:gd name="connsiteY1940" fmla="*/ 6289728 h 6757249"/>
              <a:gd name="connsiteX1941" fmla="*/ 3475149 w 11951120"/>
              <a:gd name="connsiteY1941" fmla="*/ 6278570 h 6757249"/>
              <a:gd name="connsiteX1942" fmla="*/ 3472833 w 11951120"/>
              <a:gd name="connsiteY1942" fmla="*/ 6280164 h 6757249"/>
              <a:gd name="connsiteX1943" fmla="*/ 3488430 w 11951120"/>
              <a:gd name="connsiteY1943" fmla="*/ 6291484 h 6757249"/>
              <a:gd name="connsiteX1944" fmla="*/ 3458306 w 11951120"/>
              <a:gd name="connsiteY1944" fmla="*/ 6290166 h 6757249"/>
              <a:gd name="connsiteX1945" fmla="*/ 3447663 w 11951120"/>
              <a:gd name="connsiteY1945" fmla="*/ 6297494 h 6757249"/>
              <a:gd name="connsiteX1946" fmla="*/ 3407398 w 11951120"/>
              <a:gd name="connsiteY1946" fmla="*/ 6307572 h 6757249"/>
              <a:gd name="connsiteX1947" fmla="*/ 3407006 w 11951120"/>
              <a:gd name="connsiteY1947" fmla="*/ 6301316 h 6757249"/>
              <a:gd name="connsiteX1948" fmla="*/ 3392825 w 11951120"/>
              <a:gd name="connsiteY1948" fmla="*/ 6313828 h 6757249"/>
              <a:gd name="connsiteX1949" fmla="*/ 3392258 w 11951120"/>
              <a:gd name="connsiteY1949" fmla="*/ 6313786 h 6757249"/>
              <a:gd name="connsiteX1950" fmla="*/ 3392780 w 11951120"/>
              <a:gd name="connsiteY1950" fmla="*/ 6346276 h 6757249"/>
              <a:gd name="connsiteX1951" fmla="*/ 3370449 w 11951120"/>
              <a:gd name="connsiteY1951" fmla="*/ 6360495 h 6757249"/>
              <a:gd name="connsiteX1952" fmla="*/ 3370449 w 11951120"/>
              <a:gd name="connsiteY1952" fmla="*/ 6286121 h 6757249"/>
              <a:gd name="connsiteX1953" fmla="*/ 3371145 w 11951120"/>
              <a:gd name="connsiteY1953" fmla="*/ 6286961 h 6757249"/>
              <a:gd name="connsiteX1954" fmla="*/ 3403789 w 11951120"/>
              <a:gd name="connsiteY1954" fmla="*/ 6250035 h 6757249"/>
              <a:gd name="connsiteX1955" fmla="*/ 3403069 w 11951120"/>
              <a:gd name="connsiteY1955" fmla="*/ 6238573 h 6757249"/>
              <a:gd name="connsiteX1956" fmla="*/ 3342861 w 11951120"/>
              <a:gd name="connsiteY1956" fmla="*/ 6211064 h 6757249"/>
              <a:gd name="connsiteX1957" fmla="*/ 3318583 w 11951120"/>
              <a:gd name="connsiteY1957" fmla="*/ 6178495 h 6757249"/>
              <a:gd name="connsiteX1958" fmla="*/ 3334413 w 11951120"/>
              <a:gd name="connsiteY1958" fmla="*/ 6144566 h 6757249"/>
              <a:gd name="connsiteX1959" fmla="*/ 3332611 w 11951120"/>
              <a:gd name="connsiteY1959" fmla="*/ 6143410 h 6757249"/>
              <a:gd name="connsiteX1960" fmla="*/ 3301041 w 11951120"/>
              <a:gd name="connsiteY1960" fmla="*/ 6141974 h 6757249"/>
              <a:gd name="connsiteX1961" fmla="*/ 3230969 w 11951120"/>
              <a:gd name="connsiteY1961" fmla="*/ 6168351 h 6757249"/>
              <a:gd name="connsiteX1962" fmla="*/ 3230590 w 11951120"/>
              <a:gd name="connsiteY1962" fmla="*/ 6168419 h 6757249"/>
              <a:gd name="connsiteX1963" fmla="*/ 3231021 w 11951120"/>
              <a:gd name="connsiteY1963" fmla="*/ 6168767 h 6757249"/>
              <a:gd name="connsiteX1964" fmla="*/ 3178159 w 11951120"/>
              <a:gd name="connsiteY1964" fmla="*/ 6221322 h 6757249"/>
              <a:gd name="connsiteX1965" fmla="*/ 3177219 w 11951120"/>
              <a:gd name="connsiteY1965" fmla="*/ 6221747 h 6757249"/>
              <a:gd name="connsiteX1966" fmla="*/ 3166093 w 11951120"/>
              <a:gd name="connsiteY1966" fmla="*/ 6258247 h 6757249"/>
              <a:gd name="connsiteX1967" fmla="*/ 3142536 w 11951120"/>
              <a:gd name="connsiteY1967" fmla="*/ 6281801 h 6757249"/>
              <a:gd name="connsiteX1968" fmla="*/ 3082578 w 11951120"/>
              <a:gd name="connsiteY1968" fmla="*/ 6312403 h 6757249"/>
              <a:gd name="connsiteX1969" fmla="*/ 3082653 w 11951120"/>
              <a:gd name="connsiteY1969" fmla="*/ 6313168 h 6757249"/>
              <a:gd name="connsiteX1970" fmla="*/ 3033495 w 11951120"/>
              <a:gd name="connsiteY1970" fmla="*/ 6335318 h 6757249"/>
              <a:gd name="connsiteX1971" fmla="*/ 3032529 w 11951120"/>
              <a:gd name="connsiteY1971" fmla="*/ 6335228 h 6757249"/>
              <a:gd name="connsiteX1972" fmla="*/ 3020890 w 11951120"/>
              <a:gd name="connsiteY1972" fmla="*/ 6369244 h 6757249"/>
              <a:gd name="connsiteX1973" fmla="*/ 2990014 w 11951120"/>
              <a:gd name="connsiteY1973" fmla="*/ 6370347 h 6757249"/>
              <a:gd name="connsiteX1974" fmla="*/ 2968722 w 11951120"/>
              <a:gd name="connsiteY1974" fmla="*/ 6343297 h 6757249"/>
              <a:gd name="connsiteX1975" fmla="*/ 2985165 w 11951120"/>
              <a:gd name="connsiteY1975" fmla="*/ 6313989 h 6757249"/>
              <a:gd name="connsiteX1976" fmla="*/ 2984337 w 11951120"/>
              <a:gd name="connsiteY1976" fmla="*/ 6313168 h 6757249"/>
              <a:gd name="connsiteX1977" fmla="*/ 3033289 w 11951120"/>
              <a:gd name="connsiteY1977" fmla="*/ 6264642 h 6757249"/>
              <a:gd name="connsiteX1978" fmla="*/ 3003106 w 11951120"/>
              <a:gd name="connsiteY1978" fmla="*/ 6243022 h 6757249"/>
              <a:gd name="connsiteX1979" fmla="*/ 3011820 w 11951120"/>
              <a:gd name="connsiteY1979" fmla="*/ 6234282 h 6757249"/>
              <a:gd name="connsiteX1980" fmla="*/ 3014108 w 11951120"/>
              <a:gd name="connsiteY1980" fmla="*/ 6231748 h 6757249"/>
              <a:gd name="connsiteX1981" fmla="*/ 3013211 w 11951120"/>
              <a:gd name="connsiteY1981" fmla="*/ 6231966 h 6757249"/>
              <a:gd name="connsiteX1982" fmla="*/ 3003379 w 11951120"/>
              <a:gd name="connsiteY1982" fmla="*/ 6241950 h 6757249"/>
              <a:gd name="connsiteX1983" fmla="*/ 2819516 w 11951120"/>
              <a:gd name="connsiteY1983" fmla="*/ 6339748 h 6757249"/>
              <a:gd name="connsiteX1984" fmla="*/ 2815138 w 11951120"/>
              <a:gd name="connsiteY1984" fmla="*/ 6330857 h 6757249"/>
              <a:gd name="connsiteX1985" fmla="*/ 2815187 w 11951120"/>
              <a:gd name="connsiteY1985" fmla="*/ 6330295 h 6757249"/>
              <a:gd name="connsiteX1986" fmla="*/ 2814552 w 11951120"/>
              <a:gd name="connsiteY1986" fmla="*/ 6331352 h 6757249"/>
              <a:gd name="connsiteX1987" fmla="*/ 2761734 w 11951120"/>
              <a:gd name="connsiteY1987" fmla="*/ 6340155 h 6757249"/>
              <a:gd name="connsiteX1988" fmla="*/ 2761307 w 11951120"/>
              <a:gd name="connsiteY1988" fmla="*/ 6339572 h 6757249"/>
              <a:gd name="connsiteX1989" fmla="*/ 2696163 w 11951120"/>
              <a:gd name="connsiteY1989" fmla="*/ 6361199 h 6757249"/>
              <a:gd name="connsiteX1990" fmla="*/ 2688508 w 11951120"/>
              <a:gd name="connsiteY1990" fmla="*/ 6316538 h 6757249"/>
              <a:gd name="connsiteX1991" fmla="*/ 2726398 w 11951120"/>
              <a:gd name="connsiteY1991" fmla="*/ 6291739 h 6757249"/>
              <a:gd name="connsiteX1992" fmla="*/ 2722121 w 11951120"/>
              <a:gd name="connsiteY1992" fmla="*/ 6291739 h 6757249"/>
              <a:gd name="connsiteX1993" fmla="*/ 2723104 w 11951120"/>
              <a:gd name="connsiteY1993" fmla="*/ 6290293 h 6757249"/>
              <a:gd name="connsiteX1994" fmla="*/ 2724510 w 11951120"/>
              <a:gd name="connsiteY1994" fmla="*/ 6245576 h 6757249"/>
              <a:gd name="connsiteX1995" fmla="*/ 2734073 w 11951120"/>
              <a:gd name="connsiteY1995" fmla="*/ 6233002 h 6757249"/>
              <a:gd name="connsiteX1996" fmla="*/ 2724247 w 11951120"/>
              <a:gd name="connsiteY1996" fmla="*/ 6226838 h 6757249"/>
              <a:gd name="connsiteX1997" fmla="*/ 2712122 w 11951120"/>
              <a:gd name="connsiteY1997" fmla="*/ 6202138 h 6757249"/>
              <a:gd name="connsiteX1998" fmla="*/ 2710263 w 11951120"/>
              <a:gd name="connsiteY1998" fmla="*/ 6186647 h 6757249"/>
              <a:gd name="connsiteX1999" fmla="*/ 2697282 w 11951120"/>
              <a:gd name="connsiteY1999" fmla="*/ 6194383 h 6757249"/>
              <a:gd name="connsiteX2000" fmla="*/ 2673891 w 11951120"/>
              <a:gd name="connsiteY2000" fmla="*/ 6197390 h 6757249"/>
              <a:gd name="connsiteX2001" fmla="*/ 2645346 w 11951120"/>
              <a:gd name="connsiteY2001" fmla="*/ 6190674 h 6757249"/>
              <a:gd name="connsiteX2002" fmla="*/ 2643430 w 11951120"/>
              <a:gd name="connsiteY2002" fmla="*/ 6193128 h 6757249"/>
              <a:gd name="connsiteX2003" fmla="*/ 2561803 w 11951120"/>
              <a:gd name="connsiteY2003" fmla="*/ 6237857 h 6757249"/>
              <a:gd name="connsiteX2004" fmla="*/ 2561803 w 11951120"/>
              <a:gd name="connsiteY2004" fmla="*/ 6236089 h 6757249"/>
              <a:gd name="connsiteX2005" fmla="*/ 2561333 w 11951120"/>
              <a:gd name="connsiteY2005" fmla="*/ 6237972 h 6757249"/>
              <a:gd name="connsiteX2006" fmla="*/ 2561333 w 11951120"/>
              <a:gd name="connsiteY2006" fmla="*/ 6286294 h 6757249"/>
              <a:gd name="connsiteX2007" fmla="*/ 2453058 w 11951120"/>
              <a:gd name="connsiteY2007" fmla="*/ 6241198 h 6757249"/>
              <a:gd name="connsiteX2008" fmla="*/ 2450065 w 11951120"/>
              <a:gd name="connsiteY2008" fmla="*/ 6237859 h 6757249"/>
              <a:gd name="connsiteX2009" fmla="*/ 2433614 w 11951120"/>
              <a:gd name="connsiteY2009" fmla="*/ 6237859 h 6757249"/>
              <a:gd name="connsiteX2010" fmla="*/ 2434213 w 11951120"/>
              <a:gd name="connsiteY2010" fmla="*/ 6222869 h 6757249"/>
              <a:gd name="connsiteX2011" fmla="*/ 2421340 w 11951120"/>
              <a:gd name="connsiteY2011" fmla="*/ 6216008 h 6757249"/>
              <a:gd name="connsiteX2012" fmla="*/ 2434464 w 11951120"/>
              <a:gd name="connsiteY2012" fmla="*/ 6162195 h 6757249"/>
              <a:gd name="connsiteX2013" fmla="*/ 2454910 w 11951120"/>
              <a:gd name="connsiteY2013" fmla="*/ 6152166 h 6757249"/>
              <a:gd name="connsiteX2014" fmla="*/ 2453799 w 11951120"/>
              <a:gd name="connsiteY2014" fmla="*/ 6146692 h 6757249"/>
              <a:gd name="connsiteX2015" fmla="*/ 2384968 w 11951120"/>
              <a:gd name="connsiteY2015" fmla="*/ 6146692 h 6757249"/>
              <a:gd name="connsiteX2016" fmla="*/ 2383625 w 11951120"/>
              <a:gd name="connsiteY2016" fmla="*/ 6146477 h 6757249"/>
              <a:gd name="connsiteX2017" fmla="*/ 2374628 w 11951120"/>
              <a:gd name="connsiteY2017" fmla="*/ 6173216 h 6757249"/>
              <a:gd name="connsiteX2018" fmla="*/ 2356584 w 11951120"/>
              <a:gd name="connsiteY2018" fmla="*/ 6191177 h 6757249"/>
              <a:gd name="connsiteX2019" fmla="*/ 2310394 w 11951120"/>
              <a:gd name="connsiteY2019" fmla="*/ 6216148 h 6757249"/>
              <a:gd name="connsiteX2020" fmla="*/ 2310392 w 11951120"/>
              <a:gd name="connsiteY2020" fmla="*/ 6216157 h 6757249"/>
              <a:gd name="connsiteX2021" fmla="*/ 2213966 w 11951120"/>
              <a:gd name="connsiteY2021" fmla="*/ 6312936 h 6757249"/>
              <a:gd name="connsiteX2022" fmla="*/ 2165753 w 11951120"/>
              <a:gd name="connsiteY2022" fmla="*/ 6312936 h 6757249"/>
              <a:gd name="connsiteX2023" fmla="*/ 2192051 w 11951120"/>
              <a:gd name="connsiteY2023" fmla="*/ 6167767 h 6757249"/>
              <a:gd name="connsiteX2024" fmla="*/ 2191994 w 11951120"/>
              <a:gd name="connsiteY2024" fmla="*/ 6167588 h 6757249"/>
              <a:gd name="connsiteX2025" fmla="*/ 2191732 w 11951120"/>
              <a:gd name="connsiteY2025" fmla="*/ 6168375 h 6757249"/>
              <a:gd name="connsiteX2026" fmla="*/ 2122436 w 11951120"/>
              <a:gd name="connsiteY2026" fmla="*/ 6194396 h 6757249"/>
              <a:gd name="connsiteX2027" fmla="*/ 2122255 w 11951120"/>
              <a:gd name="connsiteY2027" fmla="*/ 6194640 h 6757249"/>
              <a:gd name="connsiteX2028" fmla="*/ 2016432 w 11951120"/>
              <a:gd name="connsiteY2028" fmla="*/ 6282966 h 6757249"/>
              <a:gd name="connsiteX2029" fmla="*/ 1972338 w 11951120"/>
              <a:gd name="connsiteY2029" fmla="*/ 6238803 h 6757249"/>
              <a:gd name="connsiteX2030" fmla="*/ 1972221 w 11951120"/>
              <a:gd name="connsiteY2030" fmla="*/ 6237972 h 6757249"/>
              <a:gd name="connsiteX2031" fmla="*/ 1936828 w 11951120"/>
              <a:gd name="connsiteY2031" fmla="*/ 6263171 h 6757249"/>
              <a:gd name="connsiteX2032" fmla="*/ 1832077 w 11951120"/>
              <a:gd name="connsiteY2032" fmla="*/ 6339750 h 6757249"/>
              <a:gd name="connsiteX2033" fmla="*/ 1828204 w 11951120"/>
              <a:gd name="connsiteY2033" fmla="*/ 6333880 h 6757249"/>
              <a:gd name="connsiteX2034" fmla="*/ 1827904 w 11951120"/>
              <a:gd name="connsiteY2034" fmla="*/ 6334385 h 6757249"/>
              <a:gd name="connsiteX2035" fmla="*/ 1825324 w 11951120"/>
              <a:gd name="connsiteY2035" fmla="*/ 6334385 h 6757249"/>
              <a:gd name="connsiteX2036" fmla="*/ 1826985 w 11951120"/>
              <a:gd name="connsiteY2036" fmla="*/ 6335458 h 6757249"/>
              <a:gd name="connsiteX2037" fmla="*/ 1831359 w 11951120"/>
              <a:gd name="connsiteY2037" fmla="*/ 6339748 h 6757249"/>
              <a:gd name="connsiteX2038" fmla="*/ 1779575 w 11951120"/>
              <a:gd name="connsiteY2038" fmla="*/ 6382065 h 6757249"/>
              <a:gd name="connsiteX2039" fmla="*/ 1780415 w 11951120"/>
              <a:gd name="connsiteY2039" fmla="*/ 6383780 h 6757249"/>
              <a:gd name="connsiteX2040" fmla="*/ 1741937 w 11951120"/>
              <a:gd name="connsiteY2040" fmla="*/ 6426435 h 6757249"/>
              <a:gd name="connsiteX2041" fmla="*/ 1683736 w 11951120"/>
              <a:gd name="connsiteY2041" fmla="*/ 6436268 h 6757249"/>
              <a:gd name="connsiteX2042" fmla="*/ 1662037 w 11951120"/>
              <a:gd name="connsiteY2042" fmla="*/ 6505991 h 6757249"/>
              <a:gd name="connsiteX2043" fmla="*/ 1565905 w 11951120"/>
              <a:gd name="connsiteY2043" fmla="*/ 6457728 h 6757249"/>
              <a:gd name="connsiteX2044" fmla="*/ 1569136 w 11951120"/>
              <a:gd name="connsiteY2044" fmla="*/ 6452861 h 6757249"/>
              <a:gd name="connsiteX2045" fmla="*/ 1565905 w 11951120"/>
              <a:gd name="connsiteY2045" fmla="*/ 6452581 h 6757249"/>
              <a:gd name="connsiteX2046" fmla="*/ 1566140 w 11951120"/>
              <a:gd name="connsiteY2046" fmla="*/ 6452287 h 6757249"/>
              <a:gd name="connsiteX2047" fmla="*/ 1564566 w 11951120"/>
              <a:gd name="connsiteY2047" fmla="*/ 6453294 h 6757249"/>
              <a:gd name="connsiteX2048" fmla="*/ 1564566 w 11951120"/>
              <a:gd name="connsiteY2048" fmla="*/ 6457728 h 6757249"/>
              <a:gd name="connsiteX2049" fmla="*/ 1555947 w 11951120"/>
              <a:gd name="connsiteY2049" fmla="*/ 6457728 h 6757249"/>
              <a:gd name="connsiteX2050" fmla="*/ 1543019 w 11951120"/>
              <a:gd name="connsiteY2050" fmla="*/ 6457728 h 6757249"/>
              <a:gd name="connsiteX2051" fmla="*/ 1541647 w 11951120"/>
              <a:gd name="connsiteY2051" fmla="*/ 6457728 h 6757249"/>
              <a:gd name="connsiteX2052" fmla="*/ 1511534 w 11951120"/>
              <a:gd name="connsiteY2052" fmla="*/ 6521510 h 6757249"/>
              <a:gd name="connsiteX2053" fmla="*/ 1468335 w 11951120"/>
              <a:gd name="connsiteY2053" fmla="*/ 6575707 h 6757249"/>
              <a:gd name="connsiteX2054" fmla="*/ 1472655 w 11951120"/>
              <a:gd name="connsiteY2054" fmla="*/ 6479357 h 6757249"/>
              <a:gd name="connsiteX2055" fmla="*/ 1472875 w 11951120"/>
              <a:gd name="connsiteY2055" fmla="*/ 6478957 h 6757249"/>
              <a:gd name="connsiteX2056" fmla="*/ 1443450 w 11951120"/>
              <a:gd name="connsiteY2056" fmla="*/ 6458023 h 6757249"/>
              <a:gd name="connsiteX2057" fmla="*/ 1441383 w 11951120"/>
              <a:gd name="connsiteY2057" fmla="*/ 6457935 h 6757249"/>
              <a:gd name="connsiteX2058" fmla="*/ 1375423 w 11951120"/>
              <a:gd name="connsiteY2058" fmla="*/ 6466735 h 6757249"/>
              <a:gd name="connsiteX2059" fmla="*/ 1318255 w 11951120"/>
              <a:gd name="connsiteY2059" fmla="*/ 6444734 h 6757249"/>
              <a:gd name="connsiteX2060" fmla="*/ 1344640 w 11951120"/>
              <a:gd name="connsiteY2060" fmla="*/ 6409532 h 6757249"/>
              <a:gd name="connsiteX2061" fmla="*/ 1344640 w 11951120"/>
              <a:gd name="connsiteY2061" fmla="*/ 6408943 h 6757249"/>
              <a:gd name="connsiteX2062" fmla="*/ 1313408 w 11951120"/>
              <a:gd name="connsiteY2062" fmla="*/ 6380831 h 6757249"/>
              <a:gd name="connsiteX2063" fmla="*/ 1297827 w 11951120"/>
              <a:gd name="connsiteY2063" fmla="*/ 6339134 h 6757249"/>
              <a:gd name="connsiteX2064" fmla="*/ 1253804 w 11951120"/>
              <a:gd name="connsiteY2064" fmla="*/ 6299043 h 6757249"/>
              <a:gd name="connsiteX2065" fmla="*/ 1260112 w 11951120"/>
              <a:gd name="connsiteY2065" fmla="*/ 6267074 h 6757249"/>
              <a:gd name="connsiteX2066" fmla="*/ 1318384 w 11951120"/>
              <a:gd name="connsiteY2066" fmla="*/ 6212954 h 6757249"/>
              <a:gd name="connsiteX2067" fmla="*/ 1318264 w 11951120"/>
              <a:gd name="connsiteY2067" fmla="*/ 6211989 h 6757249"/>
              <a:gd name="connsiteX2068" fmla="*/ 1322669 w 11951120"/>
              <a:gd name="connsiteY2068" fmla="*/ 6189909 h 6757249"/>
              <a:gd name="connsiteX2069" fmla="*/ 1323588 w 11951120"/>
              <a:gd name="connsiteY2069" fmla="*/ 6188804 h 6757249"/>
              <a:gd name="connsiteX2070" fmla="*/ 1323512 w 11951120"/>
              <a:gd name="connsiteY2070" fmla="*/ 6188838 h 6757249"/>
              <a:gd name="connsiteX2071" fmla="*/ 1273491 w 11951120"/>
              <a:gd name="connsiteY2071" fmla="*/ 6192113 h 6757249"/>
              <a:gd name="connsiteX2072" fmla="*/ 1227059 w 11951120"/>
              <a:gd name="connsiteY2072" fmla="*/ 6214891 h 6757249"/>
              <a:gd name="connsiteX2073" fmla="*/ 1228056 w 11951120"/>
              <a:gd name="connsiteY2073" fmla="*/ 6215432 h 6757249"/>
              <a:gd name="connsiteX2074" fmla="*/ 1109119 w 11951120"/>
              <a:gd name="connsiteY2074" fmla="*/ 6307572 h 6757249"/>
              <a:gd name="connsiteX2075" fmla="*/ 1104790 w 11951120"/>
              <a:gd name="connsiteY2075" fmla="*/ 6238573 h 6757249"/>
              <a:gd name="connsiteX2076" fmla="*/ 1044581 w 11951120"/>
              <a:gd name="connsiteY2076" fmla="*/ 6211064 h 6757249"/>
              <a:gd name="connsiteX2077" fmla="*/ 1040938 w 11951120"/>
              <a:gd name="connsiteY2077" fmla="*/ 6134267 h 6757249"/>
              <a:gd name="connsiteX2078" fmla="*/ 1078595 w 11951120"/>
              <a:gd name="connsiteY2078" fmla="*/ 6093257 h 6757249"/>
              <a:gd name="connsiteX2079" fmla="*/ 1082929 w 11951120"/>
              <a:gd name="connsiteY2079" fmla="*/ 6075566 h 6757249"/>
              <a:gd name="connsiteX2080" fmla="*/ 1082583 w 11951120"/>
              <a:gd name="connsiteY2080" fmla="*/ 6073804 h 6757249"/>
              <a:gd name="connsiteX2081" fmla="*/ 1053217 w 11951120"/>
              <a:gd name="connsiteY2081" fmla="*/ 6059280 h 6757249"/>
              <a:gd name="connsiteX2082" fmla="*/ 968754 w 11951120"/>
              <a:gd name="connsiteY2082" fmla="*/ 6005346 h 6757249"/>
              <a:gd name="connsiteX2083" fmla="*/ 968287 w 11951120"/>
              <a:gd name="connsiteY2083" fmla="*/ 6004662 h 6757249"/>
              <a:gd name="connsiteX2084" fmla="*/ 908401 w 11951120"/>
              <a:gd name="connsiteY2084" fmla="*/ 6044096 h 6757249"/>
              <a:gd name="connsiteX2085" fmla="*/ 844160 w 11951120"/>
              <a:gd name="connsiteY2085" fmla="*/ 6072830 h 6757249"/>
              <a:gd name="connsiteX2086" fmla="*/ 842365 w 11951120"/>
              <a:gd name="connsiteY2086" fmla="*/ 6075615 h 6757249"/>
              <a:gd name="connsiteX2087" fmla="*/ 772123 w 11951120"/>
              <a:gd name="connsiteY2087" fmla="*/ 6167439 h 6757249"/>
              <a:gd name="connsiteX2088" fmla="*/ 754564 w 11951120"/>
              <a:gd name="connsiteY2088" fmla="*/ 6045006 h 6757249"/>
              <a:gd name="connsiteX2089" fmla="*/ 552621 w 11951120"/>
              <a:gd name="connsiteY2089" fmla="*/ 6167439 h 6757249"/>
              <a:gd name="connsiteX2090" fmla="*/ 552351 w 11951120"/>
              <a:gd name="connsiteY2090" fmla="*/ 6167448 h 6757249"/>
              <a:gd name="connsiteX2091" fmla="*/ 533295 w 11951120"/>
              <a:gd name="connsiteY2091" fmla="*/ 6185162 h 6757249"/>
              <a:gd name="connsiteX2092" fmla="*/ 504427 w 11951120"/>
              <a:gd name="connsiteY2092" fmla="*/ 6189593 h 6757249"/>
              <a:gd name="connsiteX2093" fmla="*/ 504253 w 11951120"/>
              <a:gd name="connsiteY2093" fmla="*/ 6189027 h 6757249"/>
              <a:gd name="connsiteX2094" fmla="*/ 504196 w 11951120"/>
              <a:gd name="connsiteY2094" fmla="*/ 6190130 h 6757249"/>
              <a:gd name="connsiteX2095" fmla="*/ 450981 w 11951120"/>
              <a:gd name="connsiteY2095" fmla="*/ 6242531 h 6757249"/>
              <a:gd name="connsiteX2096" fmla="*/ 406636 w 11951120"/>
              <a:gd name="connsiteY2096" fmla="*/ 6142096 h 6757249"/>
              <a:gd name="connsiteX2097" fmla="*/ 406722 w 11951120"/>
              <a:gd name="connsiteY2097" fmla="*/ 6141511 h 6757249"/>
              <a:gd name="connsiteX2098" fmla="*/ 363536 w 11951120"/>
              <a:gd name="connsiteY2098" fmla="*/ 6167185 h 6757249"/>
              <a:gd name="connsiteX2099" fmla="*/ 364665 w 11951120"/>
              <a:gd name="connsiteY2099" fmla="*/ 6168142 h 6757249"/>
              <a:gd name="connsiteX2100" fmla="*/ 263524 w 11951120"/>
              <a:gd name="connsiteY2100" fmla="*/ 6237857 h 6757249"/>
              <a:gd name="connsiteX2101" fmla="*/ 263524 w 11951120"/>
              <a:gd name="connsiteY2101" fmla="*/ 6236089 h 6757249"/>
              <a:gd name="connsiteX2102" fmla="*/ 263054 w 11951120"/>
              <a:gd name="connsiteY2102" fmla="*/ 6237972 h 6757249"/>
              <a:gd name="connsiteX2103" fmla="*/ 263054 w 11951120"/>
              <a:gd name="connsiteY2103" fmla="*/ 6286294 h 6757249"/>
              <a:gd name="connsiteX2104" fmla="*/ 123060 w 11951120"/>
              <a:gd name="connsiteY2104" fmla="*/ 6216008 h 6757249"/>
              <a:gd name="connsiteX2105" fmla="*/ 188683 w 11951120"/>
              <a:gd name="connsiteY2105" fmla="*/ 6141329 h 6757249"/>
              <a:gd name="connsiteX2106" fmla="*/ 197366 w 11951120"/>
              <a:gd name="connsiteY2106" fmla="*/ 6143935 h 6757249"/>
              <a:gd name="connsiteX2107" fmla="*/ 198416 w 11951120"/>
              <a:gd name="connsiteY2107" fmla="*/ 6138079 h 6757249"/>
              <a:gd name="connsiteX2108" fmla="*/ 262517 w 11951120"/>
              <a:gd name="connsiteY2108" fmla="*/ 6119494 h 6757249"/>
              <a:gd name="connsiteX2109" fmla="*/ 262824 w 11951120"/>
              <a:gd name="connsiteY2109" fmla="*/ 6120207 h 6757249"/>
              <a:gd name="connsiteX2110" fmla="*/ 262772 w 11951120"/>
              <a:gd name="connsiteY2110" fmla="*/ 6119390 h 6757249"/>
              <a:gd name="connsiteX2111" fmla="*/ 289352 w 11951120"/>
              <a:gd name="connsiteY2111" fmla="*/ 6071126 h 6757249"/>
              <a:gd name="connsiteX2112" fmla="*/ 290207 w 11951120"/>
              <a:gd name="connsiteY2112" fmla="*/ 6070740 h 6757249"/>
              <a:gd name="connsiteX2113" fmla="*/ 358773 w 11951120"/>
              <a:gd name="connsiteY2113" fmla="*/ 5974457 h 6757249"/>
              <a:gd name="connsiteX2114" fmla="*/ 336037 w 11951120"/>
              <a:gd name="connsiteY2114" fmla="*/ 5960179 h 6757249"/>
              <a:gd name="connsiteX2115" fmla="*/ 328860 w 11951120"/>
              <a:gd name="connsiteY2115" fmla="*/ 5935339 h 6757249"/>
              <a:gd name="connsiteX2116" fmla="*/ 348734 w 11951120"/>
              <a:gd name="connsiteY2116" fmla="*/ 5909392 h 6757249"/>
              <a:gd name="connsiteX2117" fmla="*/ 380756 w 11951120"/>
              <a:gd name="connsiteY2117" fmla="*/ 5900320 h 6757249"/>
              <a:gd name="connsiteX2118" fmla="*/ 385109 w 11951120"/>
              <a:gd name="connsiteY2118" fmla="*/ 5878557 h 6757249"/>
              <a:gd name="connsiteX2119" fmla="*/ 386901 w 11951120"/>
              <a:gd name="connsiteY2119" fmla="*/ 5878557 h 6757249"/>
              <a:gd name="connsiteX2120" fmla="*/ 385577 w 11951120"/>
              <a:gd name="connsiteY2120" fmla="*/ 5877780 h 6757249"/>
              <a:gd name="connsiteX2121" fmla="*/ 359300 w 11951120"/>
              <a:gd name="connsiteY2121" fmla="*/ 5851311 h 6757249"/>
              <a:gd name="connsiteX2122" fmla="*/ 360334 w 11951120"/>
              <a:gd name="connsiteY2122" fmla="*/ 5849656 h 6757249"/>
              <a:gd name="connsiteX2123" fmla="*/ 359300 w 11951120"/>
              <a:gd name="connsiteY2123" fmla="*/ 5850080 h 6757249"/>
              <a:gd name="connsiteX2124" fmla="*/ 315728 w 11951120"/>
              <a:gd name="connsiteY2124" fmla="*/ 5854426 h 6757249"/>
              <a:gd name="connsiteX2125" fmla="*/ 315026 w 11951120"/>
              <a:gd name="connsiteY2125" fmla="*/ 5853725 h 6757249"/>
              <a:gd name="connsiteX2126" fmla="*/ 314509 w 11951120"/>
              <a:gd name="connsiteY2126" fmla="*/ 5855667 h 6757249"/>
              <a:gd name="connsiteX2127" fmla="*/ 313126 w 11951120"/>
              <a:gd name="connsiteY2127" fmla="*/ 5855981 h 6757249"/>
              <a:gd name="connsiteX2128" fmla="*/ 315695 w 11951120"/>
              <a:gd name="connsiteY2128" fmla="*/ 5856618 h 6757249"/>
              <a:gd name="connsiteX2129" fmla="*/ 304756 w 11951120"/>
              <a:gd name="connsiteY2129" fmla="*/ 5901592 h 6757249"/>
              <a:gd name="connsiteX2130" fmla="*/ 267962 w 11951120"/>
              <a:gd name="connsiteY2130" fmla="*/ 5926556 h 6757249"/>
              <a:gd name="connsiteX2131" fmla="*/ 268135 w 11951120"/>
              <a:gd name="connsiteY2131" fmla="*/ 5926899 h 6757249"/>
              <a:gd name="connsiteX2132" fmla="*/ 140530 w 11951120"/>
              <a:gd name="connsiteY2132" fmla="*/ 6040436 h 6757249"/>
              <a:gd name="connsiteX2133" fmla="*/ 139878 w 11951120"/>
              <a:gd name="connsiteY2133" fmla="*/ 6040223 h 6757249"/>
              <a:gd name="connsiteX2134" fmla="*/ 140388 w 11951120"/>
              <a:gd name="connsiteY2134" fmla="*/ 6041081 h 6757249"/>
              <a:gd name="connsiteX2135" fmla="*/ 144793 w 11951120"/>
              <a:gd name="connsiteY2135" fmla="*/ 6071960 h 6757249"/>
              <a:gd name="connsiteX2136" fmla="*/ 25856 w 11951120"/>
              <a:gd name="connsiteY2136" fmla="*/ 6094015 h 6757249"/>
              <a:gd name="connsiteX2137" fmla="*/ 25856 w 11951120"/>
              <a:gd name="connsiteY2137" fmla="*/ 6045493 h 6757249"/>
              <a:gd name="connsiteX2138" fmla="*/ 58688 w 11951120"/>
              <a:gd name="connsiteY2138" fmla="*/ 5982218 h 6757249"/>
              <a:gd name="connsiteX2139" fmla="*/ 96336 w 11951120"/>
              <a:gd name="connsiteY2139" fmla="*/ 5996968 h 6757249"/>
              <a:gd name="connsiteX2140" fmla="*/ 96670 w 11951120"/>
              <a:gd name="connsiteY2140" fmla="*/ 5997159 h 6757249"/>
              <a:gd name="connsiteX2141" fmla="*/ 96529 w 11951120"/>
              <a:gd name="connsiteY2141" fmla="*/ 5996767 h 6757249"/>
              <a:gd name="connsiteX2142" fmla="*/ 153731 w 11951120"/>
              <a:gd name="connsiteY2142" fmla="*/ 5926899 h 6757249"/>
              <a:gd name="connsiteX2143" fmla="*/ 158352 w 11951120"/>
              <a:gd name="connsiteY2143" fmla="*/ 5924350 h 6757249"/>
              <a:gd name="connsiteX2144" fmla="*/ 153220 w 11951120"/>
              <a:gd name="connsiteY2144" fmla="*/ 5925156 h 6757249"/>
              <a:gd name="connsiteX2145" fmla="*/ 0 w 11951120"/>
              <a:gd name="connsiteY2145" fmla="*/ 5803408 h 6757249"/>
              <a:gd name="connsiteX2146" fmla="*/ 48155 w 11951120"/>
              <a:gd name="connsiteY2146" fmla="*/ 5772970 h 6757249"/>
              <a:gd name="connsiteX2147" fmla="*/ 54521 w 11951120"/>
              <a:gd name="connsiteY2147" fmla="*/ 5775296 h 6757249"/>
              <a:gd name="connsiteX2148" fmla="*/ 77954 w 11951120"/>
              <a:gd name="connsiteY2148" fmla="*/ 5746407 h 6757249"/>
              <a:gd name="connsiteX2149" fmla="*/ 123344 w 11951120"/>
              <a:gd name="connsiteY2149" fmla="*/ 5733764 h 6757249"/>
              <a:gd name="connsiteX2150" fmla="*/ 123344 w 11951120"/>
              <a:gd name="connsiteY2150" fmla="*/ 5790497 h 6757249"/>
              <a:gd name="connsiteX2151" fmla="*/ 123548 w 11951120"/>
              <a:gd name="connsiteY2151" fmla="*/ 5790533 h 6757249"/>
              <a:gd name="connsiteX2152" fmla="*/ 123548 w 11951120"/>
              <a:gd name="connsiteY2152" fmla="*/ 5733381 h 6757249"/>
              <a:gd name="connsiteX2153" fmla="*/ 119218 w 11951120"/>
              <a:gd name="connsiteY2153" fmla="*/ 5733381 h 6757249"/>
              <a:gd name="connsiteX2154" fmla="*/ 187740 w 11951120"/>
              <a:gd name="connsiteY2154" fmla="*/ 5707248 h 6757249"/>
              <a:gd name="connsiteX2155" fmla="*/ 214161 w 11951120"/>
              <a:gd name="connsiteY2155" fmla="*/ 5685500 h 6757249"/>
              <a:gd name="connsiteX2156" fmla="*/ 216048 w 11951120"/>
              <a:gd name="connsiteY2156" fmla="*/ 5686615 h 6757249"/>
              <a:gd name="connsiteX2157" fmla="*/ 214508 w 11951120"/>
              <a:gd name="connsiteY2157" fmla="*/ 5684427 h 6757249"/>
              <a:gd name="connsiteX2158" fmla="*/ 238343 w 11951120"/>
              <a:gd name="connsiteY2158" fmla="*/ 5623041 h 6757249"/>
              <a:gd name="connsiteX2159" fmla="*/ 284354 w 11951120"/>
              <a:gd name="connsiteY2159" fmla="*/ 5579299 h 6757249"/>
              <a:gd name="connsiteX2160" fmla="*/ 284223 w 11951120"/>
              <a:gd name="connsiteY2160" fmla="*/ 5577604 h 6757249"/>
              <a:gd name="connsiteX2161" fmla="*/ 337850 w 11951120"/>
              <a:gd name="connsiteY2161" fmla="*/ 5538027 h 6757249"/>
              <a:gd name="connsiteX2162" fmla="*/ 337850 w 11951120"/>
              <a:gd name="connsiteY2162" fmla="*/ 5538130 h 6757249"/>
              <a:gd name="connsiteX2163" fmla="*/ 362771 w 11951120"/>
              <a:gd name="connsiteY2163" fmla="*/ 5517042 h 6757249"/>
              <a:gd name="connsiteX2164" fmla="*/ 362759 w 11951120"/>
              <a:gd name="connsiteY2164" fmla="*/ 5516848 h 6757249"/>
              <a:gd name="connsiteX2165" fmla="*/ 481487 w 11951120"/>
              <a:gd name="connsiteY2165" fmla="*/ 5368980 h 6757249"/>
              <a:gd name="connsiteX2166" fmla="*/ 445593 w 11951120"/>
              <a:gd name="connsiteY2166" fmla="*/ 5365695 h 6757249"/>
              <a:gd name="connsiteX2167" fmla="*/ 446097 w 11951120"/>
              <a:gd name="connsiteY2167" fmla="*/ 5371724 h 6757249"/>
              <a:gd name="connsiteX2168" fmla="*/ 411122 w 11951120"/>
              <a:gd name="connsiteY2168" fmla="*/ 5411071 h 6757249"/>
              <a:gd name="connsiteX2169" fmla="*/ 387837 w 11951120"/>
              <a:gd name="connsiteY2169" fmla="*/ 5425829 h 6757249"/>
              <a:gd name="connsiteX2170" fmla="*/ 383276 w 11951120"/>
              <a:gd name="connsiteY2170" fmla="*/ 5433982 h 6757249"/>
              <a:gd name="connsiteX2171" fmla="*/ 267829 w 11951120"/>
              <a:gd name="connsiteY2171" fmla="*/ 5513894 h 6757249"/>
              <a:gd name="connsiteX2172" fmla="*/ 267826 w 11951120"/>
              <a:gd name="connsiteY2172" fmla="*/ 5513889 h 6757249"/>
              <a:gd name="connsiteX2173" fmla="*/ 242189 w 11951120"/>
              <a:gd name="connsiteY2173" fmla="*/ 5553992 h 6757249"/>
              <a:gd name="connsiteX2174" fmla="*/ 193057 w 11951120"/>
              <a:gd name="connsiteY2174" fmla="*/ 5561670 h 6757249"/>
              <a:gd name="connsiteX2175" fmla="*/ 193057 w 11951120"/>
              <a:gd name="connsiteY2175" fmla="*/ 5560204 h 6757249"/>
              <a:gd name="connsiteX2176" fmla="*/ 96529 w 11951120"/>
              <a:gd name="connsiteY2176" fmla="*/ 5586289 h 6757249"/>
              <a:gd name="connsiteX2177" fmla="*/ 171285 w 11951120"/>
              <a:gd name="connsiteY2177" fmla="*/ 5516575 h 6757249"/>
              <a:gd name="connsiteX2178" fmla="*/ 171748 w 11951120"/>
              <a:gd name="connsiteY2178" fmla="*/ 5516575 h 6757249"/>
              <a:gd name="connsiteX2179" fmla="*/ 171606 w 11951120"/>
              <a:gd name="connsiteY2179" fmla="*/ 5516480 h 6757249"/>
              <a:gd name="connsiteX2180" fmla="*/ 193174 w 11951120"/>
              <a:gd name="connsiteY2180" fmla="*/ 5469077 h 6757249"/>
              <a:gd name="connsiteX2181" fmla="*/ 262189 w 11951120"/>
              <a:gd name="connsiteY2181" fmla="*/ 5417366 h 6757249"/>
              <a:gd name="connsiteX2182" fmla="*/ 262189 w 11951120"/>
              <a:gd name="connsiteY2182" fmla="*/ 5418653 h 6757249"/>
              <a:gd name="connsiteX2183" fmla="*/ 262481 w 11951120"/>
              <a:gd name="connsiteY2183" fmla="*/ 5415442 h 6757249"/>
              <a:gd name="connsiteX2184" fmla="*/ 288712 w 11951120"/>
              <a:gd name="connsiteY2184" fmla="*/ 5371724 h 6757249"/>
              <a:gd name="connsiteX2185" fmla="*/ 290035 w 11951120"/>
              <a:gd name="connsiteY2185" fmla="*/ 5370159 h 6757249"/>
              <a:gd name="connsiteX2186" fmla="*/ 302282 w 11951120"/>
              <a:gd name="connsiteY2186" fmla="*/ 5325962 h 6757249"/>
              <a:gd name="connsiteX2187" fmla="*/ 337049 w 11951120"/>
              <a:gd name="connsiteY2187" fmla="*/ 5297615 h 6757249"/>
              <a:gd name="connsiteX2188" fmla="*/ 316399 w 11951120"/>
              <a:gd name="connsiteY2188" fmla="*/ 5276552 h 6757249"/>
              <a:gd name="connsiteX2189" fmla="*/ 317639 w 11951120"/>
              <a:gd name="connsiteY2189" fmla="*/ 5274046 h 6757249"/>
              <a:gd name="connsiteX2190" fmla="*/ 315987 w 11951120"/>
              <a:gd name="connsiteY2190" fmla="*/ 5275253 h 6757249"/>
              <a:gd name="connsiteX2191" fmla="*/ 170328 w 11951120"/>
              <a:gd name="connsiteY2191" fmla="*/ 5200451 h 6757249"/>
              <a:gd name="connsiteX2192" fmla="*/ 214467 w 11951120"/>
              <a:gd name="connsiteY2192" fmla="*/ 5103647 h 6757249"/>
              <a:gd name="connsiteX2193" fmla="*/ 214893 w 11951120"/>
              <a:gd name="connsiteY2193" fmla="*/ 5103717 h 6757249"/>
              <a:gd name="connsiteX2194" fmla="*/ 262937 w 11951120"/>
              <a:gd name="connsiteY2194" fmla="*/ 5055214 h 6757249"/>
              <a:gd name="connsiteX2195" fmla="*/ 262772 w 11951120"/>
              <a:gd name="connsiteY2195" fmla="*/ 5055049 h 6757249"/>
              <a:gd name="connsiteX2196" fmla="*/ 305721 w 11951120"/>
              <a:gd name="connsiteY2196" fmla="*/ 4978253 h 6757249"/>
              <a:gd name="connsiteX2197" fmla="*/ 380760 w 11951120"/>
              <a:gd name="connsiteY2197" fmla="*/ 4937916 h 6757249"/>
              <a:gd name="connsiteX2198" fmla="*/ 381134 w 11951120"/>
              <a:gd name="connsiteY2198" fmla="*/ 4937255 h 6757249"/>
              <a:gd name="connsiteX2199" fmla="*/ 385492 w 11951120"/>
              <a:gd name="connsiteY2199" fmla="*/ 4915327 h 6757249"/>
              <a:gd name="connsiteX2200" fmla="*/ 359971 w 11951120"/>
              <a:gd name="connsiteY2200" fmla="*/ 4889525 h 6757249"/>
              <a:gd name="connsiteX2201" fmla="*/ 359300 w 11951120"/>
              <a:gd name="connsiteY2201" fmla="*/ 4887148 h 6757249"/>
              <a:gd name="connsiteX2202" fmla="*/ 359300 w 11951120"/>
              <a:gd name="connsiteY2202" fmla="*/ 4889408 h 6757249"/>
              <a:gd name="connsiteX2203" fmla="*/ 262772 w 11951120"/>
              <a:gd name="connsiteY2203" fmla="*/ 4862863 h 6757249"/>
              <a:gd name="connsiteX2204" fmla="*/ 263335 w 11951120"/>
              <a:gd name="connsiteY2204" fmla="*/ 4862605 h 6757249"/>
              <a:gd name="connsiteX2205" fmla="*/ 262772 w 11951120"/>
              <a:gd name="connsiteY2205" fmla="*/ 4862524 h 6757249"/>
              <a:gd name="connsiteX2206" fmla="*/ 341826 w 11951120"/>
              <a:gd name="connsiteY2206" fmla="*/ 4589505 h 6757249"/>
              <a:gd name="connsiteX2207" fmla="*/ 412095 w 11951120"/>
              <a:gd name="connsiteY2207" fmla="*/ 4514647 h 6757249"/>
              <a:gd name="connsiteX2208" fmla="*/ 504324 w 11951120"/>
              <a:gd name="connsiteY2208" fmla="*/ 4404559 h 6757249"/>
              <a:gd name="connsiteX2209" fmla="*/ 658038 w 11951120"/>
              <a:gd name="connsiteY2209" fmla="*/ 4338506 h 6757249"/>
              <a:gd name="connsiteX2210" fmla="*/ 662167 w 11951120"/>
              <a:gd name="connsiteY2210" fmla="*/ 4339178 h 6757249"/>
              <a:gd name="connsiteX2211" fmla="*/ 714133 w 11951120"/>
              <a:gd name="connsiteY2211" fmla="*/ 4276884 h 6757249"/>
              <a:gd name="connsiteX2212" fmla="*/ 761734 w 11951120"/>
              <a:gd name="connsiteY2212" fmla="*/ 4237260 h 6757249"/>
              <a:gd name="connsiteX2213" fmla="*/ 749222 w 11951120"/>
              <a:gd name="connsiteY2213" fmla="*/ 4229879 h 6757249"/>
              <a:gd name="connsiteX2214" fmla="*/ 748528 w 11951120"/>
              <a:gd name="connsiteY2214" fmla="*/ 4185453 h 6757249"/>
              <a:gd name="connsiteX2215" fmla="*/ 760611 w 11951120"/>
              <a:gd name="connsiteY2215" fmla="*/ 4160747 h 6757249"/>
              <a:gd name="connsiteX2216" fmla="*/ 748125 w 11951120"/>
              <a:gd name="connsiteY2216" fmla="*/ 4123975 h 6757249"/>
              <a:gd name="connsiteX2217" fmla="*/ 703256 w 11951120"/>
              <a:gd name="connsiteY2217" fmla="*/ 4145005 h 6757249"/>
              <a:gd name="connsiteX2218" fmla="*/ 552622 w 11951120"/>
              <a:gd name="connsiteY2218" fmla="*/ 4243389 h 6757249"/>
              <a:gd name="connsiteX2219" fmla="*/ 552352 w 11951120"/>
              <a:gd name="connsiteY2219" fmla="*/ 4243398 h 6757249"/>
              <a:gd name="connsiteX2220" fmla="*/ 533296 w 11951120"/>
              <a:gd name="connsiteY2220" fmla="*/ 4261112 h 6757249"/>
              <a:gd name="connsiteX2221" fmla="*/ 504428 w 11951120"/>
              <a:gd name="connsiteY2221" fmla="*/ 4265543 h 6757249"/>
              <a:gd name="connsiteX2222" fmla="*/ 504254 w 11951120"/>
              <a:gd name="connsiteY2222" fmla="*/ 4264977 h 6757249"/>
              <a:gd name="connsiteX2223" fmla="*/ 504197 w 11951120"/>
              <a:gd name="connsiteY2223" fmla="*/ 4266080 h 6757249"/>
              <a:gd name="connsiteX2224" fmla="*/ 450982 w 11951120"/>
              <a:gd name="connsiteY2224" fmla="*/ 4318481 h 6757249"/>
              <a:gd name="connsiteX2225" fmla="*/ 406637 w 11951120"/>
              <a:gd name="connsiteY2225" fmla="*/ 4218046 h 6757249"/>
              <a:gd name="connsiteX2226" fmla="*/ 406723 w 11951120"/>
              <a:gd name="connsiteY2226" fmla="*/ 4217461 h 6757249"/>
              <a:gd name="connsiteX2227" fmla="*/ 363537 w 11951120"/>
              <a:gd name="connsiteY2227" fmla="*/ 4243135 h 6757249"/>
              <a:gd name="connsiteX2228" fmla="*/ 364666 w 11951120"/>
              <a:gd name="connsiteY2228" fmla="*/ 4244092 h 6757249"/>
              <a:gd name="connsiteX2229" fmla="*/ 263525 w 11951120"/>
              <a:gd name="connsiteY2229" fmla="*/ 4313807 h 6757249"/>
              <a:gd name="connsiteX2230" fmla="*/ 263525 w 11951120"/>
              <a:gd name="connsiteY2230" fmla="*/ 4312039 h 6757249"/>
              <a:gd name="connsiteX2231" fmla="*/ 263055 w 11951120"/>
              <a:gd name="connsiteY2231" fmla="*/ 4313922 h 6757249"/>
              <a:gd name="connsiteX2232" fmla="*/ 263055 w 11951120"/>
              <a:gd name="connsiteY2232" fmla="*/ 4362244 h 6757249"/>
              <a:gd name="connsiteX2233" fmla="*/ 123061 w 11951120"/>
              <a:gd name="connsiteY2233" fmla="*/ 4291958 h 6757249"/>
              <a:gd name="connsiteX2234" fmla="*/ 188684 w 11951120"/>
              <a:gd name="connsiteY2234" fmla="*/ 4217279 h 6757249"/>
              <a:gd name="connsiteX2235" fmla="*/ 197367 w 11951120"/>
              <a:gd name="connsiteY2235" fmla="*/ 4219885 h 6757249"/>
              <a:gd name="connsiteX2236" fmla="*/ 198417 w 11951120"/>
              <a:gd name="connsiteY2236" fmla="*/ 4214029 h 6757249"/>
              <a:gd name="connsiteX2237" fmla="*/ 262518 w 11951120"/>
              <a:gd name="connsiteY2237" fmla="*/ 4195444 h 6757249"/>
              <a:gd name="connsiteX2238" fmla="*/ 262825 w 11951120"/>
              <a:gd name="connsiteY2238" fmla="*/ 4196157 h 6757249"/>
              <a:gd name="connsiteX2239" fmla="*/ 262773 w 11951120"/>
              <a:gd name="connsiteY2239" fmla="*/ 4195340 h 6757249"/>
              <a:gd name="connsiteX2240" fmla="*/ 289353 w 11951120"/>
              <a:gd name="connsiteY2240" fmla="*/ 4147076 h 6757249"/>
              <a:gd name="connsiteX2241" fmla="*/ 290208 w 11951120"/>
              <a:gd name="connsiteY2241" fmla="*/ 4146690 h 6757249"/>
              <a:gd name="connsiteX2242" fmla="*/ 358774 w 11951120"/>
              <a:gd name="connsiteY2242" fmla="*/ 4050407 h 6757249"/>
              <a:gd name="connsiteX2243" fmla="*/ 336038 w 11951120"/>
              <a:gd name="connsiteY2243" fmla="*/ 4036129 h 6757249"/>
              <a:gd name="connsiteX2244" fmla="*/ 328861 w 11951120"/>
              <a:gd name="connsiteY2244" fmla="*/ 4011289 h 6757249"/>
              <a:gd name="connsiteX2245" fmla="*/ 348735 w 11951120"/>
              <a:gd name="connsiteY2245" fmla="*/ 3985342 h 6757249"/>
              <a:gd name="connsiteX2246" fmla="*/ 380757 w 11951120"/>
              <a:gd name="connsiteY2246" fmla="*/ 3976270 h 6757249"/>
              <a:gd name="connsiteX2247" fmla="*/ 385110 w 11951120"/>
              <a:gd name="connsiteY2247" fmla="*/ 3954507 h 6757249"/>
              <a:gd name="connsiteX2248" fmla="*/ 386902 w 11951120"/>
              <a:gd name="connsiteY2248" fmla="*/ 3954507 h 6757249"/>
              <a:gd name="connsiteX2249" fmla="*/ 385578 w 11951120"/>
              <a:gd name="connsiteY2249" fmla="*/ 3953730 h 6757249"/>
              <a:gd name="connsiteX2250" fmla="*/ 359301 w 11951120"/>
              <a:gd name="connsiteY2250" fmla="*/ 3927261 h 6757249"/>
              <a:gd name="connsiteX2251" fmla="*/ 360335 w 11951120"/>
              <a:gd name="connsiteY2251" fmla="*/ 3925606 h 6757249"/>
              <a:gd name="connsiteX2252" fmla="*/ 359301 w 11951120"/>
              <a:gd name="connsiteY2252" fmla="*/ 3926030 h 6757249"/>
              <a:gd name="connsiteX2253" fmla="*/ 315729 w 11951120"/>
              <a:gd name="connsiteY2253" fmla="*/ 3930376 h 6757249"/>
              <a:gd name="connsiteX2254" fmla="*/ 315027 w 11951120"/>
              <a:gd name="connsiteY2254" fmla="*/ 3929675 h 6757249"/>
              <a:gd name="connsiteX2255" fmla="*/ 314510 w 11951120"/>
              <a:gd name="connsiteY2255" fmla="*/ 3931617 h 6757249"/>
              <a:gd name="connsiteX2256" fmla="*/ 313127 w 11951120"/>
              <a:gd name="connsiteY2256" fmla="*/ 3931931 h 6757249"/>
              <a:gd name="connsiteX2257" fmla="*/ 315696 w 11951120"/>
              <a:gd name="connsiteY2257" fmla="*/ 3932568 h 6757249"/>
              <a:gd name="connsiteX2258" fmla="*/ 304757 w 11951120"/>
              <a:gd name="connsiteY2258" fmla="*/ 3977542 h 6757249"/>
              <a:gd name="connsiteX2259" fmla="*/ 267963 w 11951120"/>
              <a:gd name="connsiteY2259" fmla="*/ 4002506 h 6757249"/>
              <a:gd name="connsiteX2260" fmla="*/ 268136 w 11951120"/>
              <a:gd name="connsiteY2260" fmla="*/ 4002849 h 6757249"/>
              <a:gd name="connsiteX2261" fmla="*/ 140531 w 11951120"/>
              <a:gd name="connsiteY2261" fmla="*/ 4116386 h 6757249"/>
              <a:gd name="connsiteX2262" fmla="*/ 139879 w 11951120"/>
              <a:gd name="connsiteY2262" fmla="*/ 4116173 h 6757249"/>
              <a:gd name="connsiteX2263" fmla="*/ 140389 w 11951120"/>
              <a:gd name="connsiteY2263" fmla="*/ 4117031 h 6757249"/>
              <a:gd name="connsiteX2264" fmla="*/ 144794 w 11951120"/>
              <a:gd name="connsiteY2264" fmla="*/ 4147910 h 6757249"/>
              <a:gd name="connsiteX2265" fmla="*/ 25857 w 11951120"/>
              <a:gd name="connsiteY2265" fmla="*/ 4169965 h 6757249"/>
              <a:gd name="connsiteX2266" fmla="*/ 25857 w 11951120"/>
              <a:gd name="connsiteY2266" fmla="*/ 4121443 h 6757249"/>
              <a:gd name="connsiteX2267" fmla="*/ 58689 w 11951120"/>
              <a:gd name="connsiteY2267" fmla="*/ 4058168 h 6757249"/>
              <a:gd name="connsiteX2268" fmla="*/ 96337 w 11951120"/>
              <a:gd name="connsiteY2268" fmla="*/ 4072918 h 6757249"/>
              <a:gd name="connsiteX2269" fmla="*/ 96671 w 11951120"/>
              <a:gd name="connsiteY2269" fmla="*/ 4073109 h 6757249"/>
              <a:gd name="connsiteX2270" fmla="*/ 96530 w 11951120"/>
              <a:gd name="connsiteY2270" fmla="*/ 4072717 h 6757249"/>
              <a:gd name="connsiteX2271" fmla="*/ 153732 w 11951120"/>
              <a:gd name="connsiteY2271" fmla="*/ 4002849 h 6757249"/>
              <a:gd name="connsiteX2272" fmla="*/ 158353 w 11951120"/>
              <a:gd name="connsiteY2272" fmla="*/ 4000300 h 6757249"/>
              <a:gd name="connsiteX2273" fmla="*/ 153221 w 11951120"/>
              <a:gd name="connsiteY2273" fmla="*/ 4001106 h 6757249"/>
              <a:gd name="connsiteX2274" fmla="*/ 1 w 11951120"/>
              <a:gd name="connsiteY2274" fmla="*/ 3879358 h 6757249"/>
              <a:gd name="connsiteX2275" fmla="*/ 48156 w 11951120"/>
              <a:gd name="connsiteY2275" fmla="*/ 3848920 h 6757249"/>
              <a:gd name="connsiteX2276" fmla="*/ 54522 w 11951120"/>
              <a:gd name="connsiteY2276" fmla="*/ 3851246 h 6757249"/>
              <a:gd name="connsiteX2277" fmla="*/ 77955 w 11951120"/>
              <a:gd name="connsiteY2277" fmla="*/ 3822357 h 6757249"/>
              <a:gd name="connsiteX2278" fmla="*/ 123345 w 11951120"/>
              <a:gd name="connsiteY2278" fmla="*/ 3809714 h 6757249"/>
              <a:gd name="connsiteX2279" fmla="*/ 123345 w 11951120"/>
              <a:gd name="connsiteY2279" fmla="*/ 3866447 h 6757249"/>
              <a:gd name="connsiteX2280" fmla="*/ 123549 w 11951120"/>
              <a:gd name="connsiteY2280" fmla="*/ 3866483 h 6757249"/>
              <a:gd name="connsiteX2281" fmla="*/ 123549 w 11951120"/>
              <a:gd name="connsiteY2281" fmla="*/ 3809331 h 6757249"/>
              <a:gd name="connsiteX2282" fmla="*/ 119219 w 11951120"/>
              <a:gd name="connsiteY2282" fmla="*/ 3809331 h 6757249"/>
              <a:gd name="connsiteX2283" fmla="*/ 187741 w 11951120"/>
              <a:gd name="connsiteY2283" fmla="*/ 3783198 h 6757249"/>
              <a:gd name="connsiteX2284" fmla="*/ 214162 w 11951120"/>
              <a:gd name="connsiteY2284" fmla="*/ 3761450 h 6757249"/>
              <a:gd name="connsiteX2285" fmla="*/ 216049 w 11951120"/>
              <a:gd name="connsiteY2285" fmla="*/ 3762565 h 6757249"/>
              <a:gd name="connsiteX2286" fmla="*/ 214509 w 11951120"/>
              <a:gd name="connsiteY2286" fmla="*/ 3760377 h 6757249"/>
              <a:gd name="connsiteX2287" fmla="*/ 238344 w 11951120"/>
              <a:gd name="connsiteY2287" fmla="*/ 3698991 h 6757249"/>
              <a:gd name="connsiteX2288" fmla="*/ 284355 w 11951120"/>
              <a:gd name="connsiteY2288" fmla="*/ 3655249 h 6757249"/>
              <a:gd name="connsiteX2289" fmla="*/ 284224 w 11951120"/>
              <a:gd name="connsiteY2289" fmla="*/ 3653554 h 6757249"/>
              <a:gd name="connsiteX2290" fmla="*/ 337851 w 11951120"/>
              <a:gd name="connsiteY2290" fmla="*/ 3613977 h 6757249"/>
              <a:gd name="connsiteX2291" fmla="*/ 337851 w 11951120"/>
              <a:gd name="connsiteY2291" fmla="*/ 3614080 h 6757249"/>
              <a:gd name="connsiteX2292" fmla="*/ 362772 w 11951120"/>
              <a:gd name="connsiteY2292" fmla="*/ 3592992 h 6757249"/>
              <a:gd name="connsiteX2293" fmla="*/ 362760 w 11951120"/>
              <a:gd name="connsiteY2293" fmla="*/ 3592798 h 6757249"/>
              <a:gd name="connsiteX2294" fmla="*/ 481488 w 11951120"/>
              <a:gd name="connsiteY2294" fmla="*/ 3444930 h 6757249"/>
              <a:gd name="connsiteX2295" fmla="*/ 445594 w 11951120"/>
              <a:gd name="connsiteY2295" fmla="*/ 3441645 h 6757249"/>
              <a:gd name="connsiteX2296" fmla="*/ 446098 w 11951120"/>
              <a:gd name="connsiteY2296" fmla="*/ 3447674 h 6757249"/>
              <a:gd name="connsiteX2297" fmla="*/ 411123 w 11951120"/>
              <a:gd name="connsiteY2297" fmla="*/ 3487021 h 6757249"/>
              <a:gd name="connsiteX2298" fmla="*/ 387838 w 11951120"/>
              <a:gd name="connsiteY2298" fmla="*/ 3501779 h 6757249"/>
              <a:gd name="connsiteX2299" fmla="*/ 383277 w 11951120"/>
              <a:gd name="connsiteY2299" fmla="*/ 3509932 h 6757249"/>
              <a:gd name="connsiteX2300" fmla="*/ 267830 w 11951120"/>
              <a:gd name="connsiteY2300" fmla="*/ 3589844 h 6757249"/>
              <a:gd name="connsiteX2301" fmla="*/ 267827 w 11951120"/>
              <a:gd name="connsiteY2301" fmla="*/ 3589839 h 6757249"/>
              <a:gd name="connsiteX2302" fmla="*/ 242190 w 11951120"/>
              <a:gd name="connsiteY2302" fmla="*/ 3629942 h 6757249"/>
              <a:gd name="connsiteX2303" fmla="*/ 193058 w 11951120"/>
              <a:gd name="connsiteY2303" fmla="*/ 3637620 h 6757249"/>
              <a:gd name="connsiteX2304" fmla="*/ 193058 w 11951120"/>
              <a:gd name="connsiteY2304" fmla="*/ 3636154 h 6757249"/>
              <a:gd name="connsiteX2305" fmla="*/ 96530 w 11951120"/>
              <a:gd name="connsiteY2305" fmla="*/ 3662239 h 6757249"/>
              <a:gd name="connsiteX2306" fmla="*/ 171286 w 11951120"/>
              <a:gd name="connsiteY2306" fmla="*/ 3592525 h 6757249"/>
              <a:gd name="connsiteX2307" fmla="*/ 171749 w 11951120"/>
              <a:gd name="connsiteY2307" fmla="*/ 3592525 h 6757249"/>
              <a:gd name="connsiteX2308" fmla="*/ 171607 w 11951120"/>
              <a:gd name="connsiteY2308" fmla="*/ 3592430 h 6757249"/>
              <a:gd name="connsiteX2309" fmla="*/ 193175 w 11951120"/>
              <a:gd name="connsiteY2309" fmla="*/ 3545027 h 6757249"/>
              <a:gd name="connsiteX2310" fmla="*/ 262190 w 11951120"/>
              <a:gd name="connsiteY2310" fmla="*/ 3493316 h 6757249"/>
              <a:gd name="connsiteX2311" fmla="*/ 262190 w 11951120"/>
              <a:gd name="connsiteY2311" fmla="*/ 3494603 h 6757249"/>
              <a:gd name="connsiteX2312" fmla="*/ 262482 w 11951120"/>
              <a:gd name="connsiteY2312" fmla="*/ 3491392 h 6757249"/>
              <a:gd name="connsiteX2313" fmla="*/ 288713 w 11951120"/>
              <a:gd name="connsiteY2313" fmla="*/ 3447674 h 6757249"/>
              <a:gd name="connsiteX2314" fmla="*/ 290036 w 11951120"/>
              <a:gd name="connsiteY2314" fmla="*/ 3446109 h 6757249"/>
              <a:gd name="connsiteX2315" fmla="*/ 302283 w 11951120"/>
              <a:gd name="connsiteY2315" fmla="*/ 3401912 h 6757249"/>
              <a:gd name="connsiteX2316" fmla="*/ 337050 w 11951120"/>
              <a:gd name="connsiteY2316" fmla="*/ 3373565 h 6757249"/>
              <a:gd name="connsiteX2317" fmla="*/ 316400 w 11951120"/>
              <a:gd name="connsiteY2317" fmla="*/ 3352502 h 6757249"/>
              <a:gd name="connsiteX2318" fmla="*/ 317640 w 11951120"/>
              <a:gd name="connsiteY2318" fmla="*/ 3349996 h 6757249"/>
              <a:gd name="connsiteX2319" fmla="*/ 315988 w 11951120"/>
              <a:gd name="connsiteY2319" fmla="*/ 3351203 h 6757249"/>
              <a:gd name="connsiteX2320" fmla="*/ 170329 w 11951120"/>
              <a:gd name="connsiteY2320" fmla="*/ 3276401 h 6757249"/>
              <a:gd name="connsiteX2321" fmla="*/ 214468 w 11951120"/>
              <a:gd name="connsiteY2321" fmla="*/ 3179597 h 6757249"/>
              <a:gd name="connsiteX2322" fmla="*/ 214894 w 11951120"/>
              <a:gd name="connsiteY2322" fmla="*/ 3179667 h 6757249"/>
              <a:gd name="connsiteX2323" fmla="*/ 262938 w 11951120"/>
              <a:gd name="connsiteY2323" fmla="*/ 3131164 h 6757249"/>
              <a:gd name="connsiteX2324" fmla="*/ 262773 w 11951120"/>
              <a:gd name="connsiteY2324" fmla="*/ 3130999 h 6757249"/>
              <a:gd name="connsiteX2325" fmla="*/ 305722 w 11951120"/>
              <a:gd name="connsiteY2325" fmla="*/ 3054203 h 6757249"/>
              <a:gd name="connsiteX2326" fmla="*/ 380761 w 11951120"/>
              <a:gd name="connsiteY2326" fmla="*/ 3013866 h 6757249"/>
              <a:gd name="connsiteX2327" fmla="*/ 381135 w 11951120"/>
              <a:gd name="connsiteY2327" fmla="*/ 3013205 h 6757249"/>
              <a:gd name="connsiteX2328" fmla="*/ 385493 w 11951120"/>
              <a:gd name="connsiteY2328" fmla="*/ 2991277 h 6757249"/>
              <a:gd name="connsiteX2329" fmla="*/ 359972 w 11951120"/>
              <a:gd name="connsiteY2329" fmla="*/ 2965475 h 6757249"/>
              <a:gd name="connsiteX2330" fmla="*/ 359301 w 11951120"/>
              <a:gd name="connsiteY2330" fmla="*/ 2963098 h 6757249"/>
              <a:gd name="connsiteX2331" fmla="*/ 359301 w 11951120"/>
              <a:gd name="connsiteY2331" fmla="*/ 2965358 h 6757249"/>
              <a:gd name="connsiteX2332" fmla="*/ 262773 w 11951120"/>
              <a:gd name="connsiteY2332" fmla="*/ 2938813 h 6757249"/>
              <a:gd name="connsiteX2333" fmla="*/ 263336 w 11951120"/>
              <a:gd name="connsiteY2333" fmla="*/ 2938555 h 6757249"/>
              <a:gd name="connsiteX2334" fmla="*/ 262773 w 11951120"/>
              <a:gd name="connsiteY2334" fmla="*/ 2938474 h 6757249"/>
              <a:gd name="connsiteX2335" fmla="*/ 318769 w 11951120"/>
              <a:gd name="connsiteY2335" fmla="*/ 2808570 h 6757249"/>
              <a:gd name="connsiteX2336" fmla="*/ 329221 w 11951120"/>
              <a:gd name="connsiteY2336" fmla="*/ 2775879 h 6757249"/>
              <a:gd name="connsiteX2337" fmla="*/ 320692 w 11951120"/>
              <a:gd name="connsiteY2337" fmla="*/ 2782169 h 6757249"/>
              <a:gd name="connsiteX2338" fmla="*/ 263526 w 11951120"/>
              <a:gd name="connsiteY2338" fmla="*/ 2808857 h 6757249"/>
              <a:gd name="connsiteX2339" fmla="*/ 263526 w 11951120"/>
              <a:gd name="connsiteY2339" fmla="*/ 2807089 h 6757249"/>
              <a:gd name="connsiteX2340" fmla="*/ 263056 w 11951120"/>
              <a:gd name="connsiteY2340" fmla="*/ 2808972 h 6757249"/>
              <a:gd name="connsiteX2341" fmla="*/ 263056 w 11951120"/>
              <a:gd name="connsiteY2341" fmla="*/ 2857294 h 6757249"/>
              <a:gd name="connsiteX2342" fmla="*/ 123062 w 11951120"/>
              <a:gd name="connsiteY2342" fmla="*/ 2787009 h 6757249"/>
              <a:gd name="connsiteX2343" fmla="*/ 188685 w 11951120"/>
              <a:gd name="connsiteY2343" fmla="*/ 2712329 h 6757249"/>
              <a:gd name="connsiteX2344" fmla="*/ 197368 w 11951120"/>
              <a:gd name="connsiteY2344" fmla="*/ 2714935 h 6757249"/>
              <a:gd name="connsiteX2345" fmla="*/ 198418 w 11951120"/>
              <a:gd name="connsiteY2345" fmla="*/ 2709079 h 6757249"/>
              <a:gd name="connsiteX2346" fmla="*/ 262519 w 11951120"/>
              <a:gd name="connsiteY2346" fmla="*/ 2690494 h 6757249"/>
              <a:gd name="connsiteX2347" fmla="*/ 262826 w 11951120"/>
              <a:gd name="connsiteY2347" fmla="*/ 2691207 h 6757249"/>
              <a:gd name="connsiteX2348" fmla="*/ 262774 w 11951120"/>
              <a:gd name="connsiteY2348" fmla="*/ 2690390 h 6757249"/>
              <a:gd name="connsiteX2349" fmla="*/ 289354 w 11951120"/>
              <a:gd name="connsiteY2349" fmla="*/ 2642126 h 6757249"/>
              <a:gd name="connsiteX2350" fmla="*/ 290209 w 11951120"/>
              <a:gd name="connsiteY2350" fmla="*/ 2641740 h 6757249"/>
              <a:gd name="connsiteX2351" fmla="*/ 358775 w 11951120"/>
              <a:gd name="connsiteY2351" fmla="*/ 2545457 h 6757249"/>
              <a:gd name="connsiteX2352" fmla="*/ 336039 w 11951120"/>
              <a:gd name="connsiteY2352" fmla="*/ 2531179 h 6757249"/>
              <a:gd name="connsiteX2353" fmla="*/ 328862 w 11951120"/>
              <a:gd name="connsiteY2353" fmla="*/ 2506339 h 6757249"/>
              <a:gd name="connsiteX2354" fmla="*/ 348736 w 11951120"/>
              <a:gd name="connsiteY2354" fmla="*/ 2480392 h 6757249"/>
              <a:gd name="connsiteX2355" fmla="*/ 380758 w 11951120"/>
              <a:gd name="connsiteY2355" fmla="*/ 2471320 h 6757249"/>
              <a:gd name="connsiteX2356" fmla="*/ 385111 w 11951120"/>
              <a:gd name="connsiteY2356" fmla="*/ 2449557 h 6757249"/>
              <a:gd name="connsiteX2357" fmla="*/ 386903 w 11951120"/>
              <a:gd name="connsiteY2357" fmla="*/ 2449557 h 6757249"/>
              <a:gd name="connsiteX2358" fmla="*/ 385579 w 11951120"/>
              <a:gd name="connsiteY2358" fmla="*/ 2448780 h 6757249"/>
              <a:gd name="connsiteX2359" fmla="*/ 359302 w 11951120"/>
              <a:gd name="connsiteY2359" fmla="*/ 2422311 h 6757249"/>
              <a:gd name="connsiteX2360" fmla="*/ 360336 w 11951120"/>
              <a:gd name="connsiteY2360" fmla="*/ 2420656 h 6757249"/>
              <a:gd name="connsiteX2361" fmla="*/ 359302 w 11951120"/>
              <a:gd name="connsiteY2361" fmla="*/ 2421080 h 6757249"/>
              <a:gd name="connsiteX2362" fmla="*/ 315730 w 11951120"/>
              <a:gd name="connsiteY2362" fmla="*/ 2425426 h 6757249"/>
              <a:gd name="connsiteX2363" fmla="*/ 315028 w 11951120"/>
              <a:gd name="connsiteY2363" fmla="*/ 2424725 h 6757249"/>
              <a:gd name="connsiteX2364" fmla="*/ 314511 w 11951120"/>
              <a:gd name="connsiteY2364" fmla="*/ 2426667 h 6757249"/>
              <a:gd name="connsiteX2365" fmla="*/ 313128 w 11951120"/>
              <a:gd name="connsiteY2365" fmla="*/ 2426981 h 6757249"/>
              <a:gd name="connsiteX2366" fmla="*/ 315697 w 11951120"/>
              <a:gd name="connsiteY2366" fmla="*/ 2427618 h 6757249"/>
              <a:gd name="connsiteX2367" fmla="*/ 304758 w 11951120"/>
              <a:gd name="connsiteY2367" fmla="*/ 2472592 h 6757249"/>
              <a:gd name="connsiteX2368" fmla="*/ 267964 w 11951120"/>
              <a:gd name="connsiteY2368" fmla="*/ 2497556 h 6757249"/>
              <a:gd name="connsiteX2369" fmla="*/ 268137 w 11951120"/>
              <a:gd name="connsiteY2369" fmla="*/ 2497899 h 6757249"/>
              <a:gd name="connsiteX2370" fmla="*/ 140532 w 11951120"/>
              <a:gd name="connsiteY2370" fmla="*/ 2611436 h 6757249"/>
              <a:gd name="connsiteX2371" fmla="*/ 139880 w 11951120"/>
              <a:gd name="connsiteY2371" fmla="*/ 2611223 h 6757249"/>
              <a:gd name="connsiteX2372" fmla="*/ 140390 w 11951120"/>
              <a:gd name="connsiteY2372" fmla="*/ 2612081 h 6757249"/>
              <a:gd name="connsiteX2373" fmla="*/ 144795 w 11951120"/>
              <a:gd name="connsiteY2373" fmla="*/ 2642960 h 6757249"/>
              <a:gd name="connsiteX2374" fmla="*/ 25858 w 11951120"/>
              <a:gd name="connsiteY2374" fmla="*/ 2665015 h 6757249"/>
              <a:gd name="connsiteX2375" fmla="*/ 25858 w 11951120"/>
              <a:gd name="connsiteY2375" fmla="*/ 2616493 h 6757249"/>
              <a:gd name="connsiteX2376" fmla="*/ 58690 w 11951120"/>
              <a:gd name="connsiteY2376" fmla="*/ 2553218 h 6757249"/>
              <a:gd name="connsiteX2377" fmla="*/ 96338 w 11951120"/>
              <a:gd name="connsiteY2377" fmla="*/ 2567968 h 6757249"/>
              <a:gd name="connsiteX2378" fmla="*/ 96672 w 11951120"/>
              <a:gd name="connsiteY2378" fmla="*/ 2568159 h 6757249"/>
              <a:gd name="connsiteX2379" fmla="*/ 96531 w 11951120"/>
              <a:gd name="connsiteY2379" fmla="*/ 2567767 h 6757249"/>
              <a:gd name="connsiteX2380" fmla="*/ 153733 w 11951120"/>
              <a:gd name="connsiteY2380" fmla="*/ 2497899 h 6757249"/>
              <a:gd name="connsiteX2381" fmla="*/ 158354 w 11951120"/>
              <a:gd name="connsiteY2381" fmla="*/ 2495350 h 6757249"/>
              <a:gd name="connsiteX2382" fmla="*/ 153222 w 11951120"/>
              <a:gd name="connsiteY2382" fmla="*/ 2496156 h 6757249"/>
              <a:gd name="connsiteX2383" fmla="*/ 2 w 11951120"/>
              <a:gd name="connsiteY2383" fmla="*/ 2374408 h 6757249"/>
              <a:gd name="connsiteX2384" fmla="*/ 48157 w 11951120"/>
              <a:gd name="connsiteY2384" fmla="*/ 2343970 h 6757249"/>
              <a:gd name="connsiteX2385" fmla="*/ 54523 w 11951120"/>
              <a:gd name="connsiteY2385" fmla="*/ 2346296 h 6757249"/>
              <a:gd name="connsiteX2386" fmla="*/ 77956 w 11951120"/>
              <a:gd name="connsiteY2386" fmla="*/ 2317407 h 6757249"/>
              <a:gd name="connsiteX2387" fmla="*/ 123346 w 11951120"/>
              <a:gd name="connsiteY2387" fmla="*/ 2304764 h 6757249"/>
              <a:gd name="connsiteX2388" fmla="*/ 123346 w 11951120"/>
              <a:gd name="connsiteY2388" fmla="*/ 2361497 h 6757249"/>
              <a:gd name="connsiteX2389" fmla="*/ 123550 w 11951120"/>
              <a:gd name="connsiteY2389" fmla="*/ 2361533 h 6757249"/>
              <a:gd name="connsiteX2390" fmla="*/ 123550 w 11951120"/>
              <a:gd name="connsiteY2390" fmla="*/ 2304381 h 6757249"/>
              <a:gd name="connsiteX2391" fmla="*/ 119220 w 11951120"/>
              <a:gd name="connsiteY2391" fmla="*/ 2304381 h 6757249"/>
              <a:gd name="connsiteX2392" fmla="*/ 187742 w 11951120"/>
              <a:gd name="connsiteY2392" fmla="*/ 2278248 h 6757249"/>
              <a:gd name="connsiteX2393" fmla="*/ 214163 w 11951120"/>
              <a:gd name="connsiteY2393" fmla="*/ 2256500 h 6757249"/>
              <a:gd name="connsiteX2394" fmla="*/ 216050 w 11951120"/>
              <a:gd name="connsiteY2394" fmla="*/ 2257615 h 6757249"/>
              <a:gd name="connsiteX2395" fmla="*/ 214510 w 11951120"/>
              <a:gd name="connsiteY2395" fmla="*/ 2255427 h 6757249"/>
              <a:gd name="connsiteX2396" fmla="*/ 238345 w 11951120"/>
              <a:gd name="connsiteY2396" fmla="*/ 2194041 h 6757249"/>
              <a:gd name="connsiteX2397" fmla="*/ 284356 w 11951120"/>
              <a:gd name="connsiteY2397" fmla="*/ 2150299 h 6757249"/>
              <a:gd name="connsiteX2398" fmla="*/ 284225 w 11951120"/>
              <a:gd name="connsiteY2398" fmla="*/ 2148604 h 6757249"/>
              <a:gd name="connsiteX2399" fmla="*/ 337852 w 11951120"/>
              <a:gd name="connsiteY2399" fmla="*/ 2109027 h 6757249"/>
              <a:gd name="connsiteX2400" fmla="*/ 337852 w 11951120"/>
              <a:gd name="connsiteY2400" fmla="*/ 2109130 h 6757249"/>
              <a:gd name="connsiteX2401" fmla="*/ 362773 w 11951120"/>
              <a:gd name="connsiteY2401" fmla="*/ 2088042 h 6757249"/>
              <a:gd name="connsiteX2402" fmla="*/ 362761 w 11951120"/>
              <a:gd name="connsiteY2402" fmla="*/ 2087848 h 6757249"/>
              <a:gd name="connsiteX2403" fmla="*/ 481489 w 11951120"/>
              <a:gd name="connsiteY2403" fmla="*/ 1939980 h 6757249"/>
              <a:gd name="connsiteX2404" fmla="*/ 445595 w 11951120"/>
              <a:gd name="connsiteY2404" fmla="*/ 1936696 h 6757249"/>
              <a:gd name="connsiteX2405" fmla="*/ 446099 w 11951120"/>
              <a:gd name="connsiteY2405" fmla="*/ 1942725 h 6757249"/>
              <a:gd name="connsiteX2406" fmla="*/ 411124 w 11951120"/>
              <a:gd name="connsiteY2406" fmla="*/ 1982072 h 6757249"/>
              <a:gd name="connsiteX2407" fmla="*/ 387839 w 11951120"/>
              <a:gd name="connsiteY2407" fmla="*/ 1996829 h 6757249"/>
              <a:gd name="connsiteX2408" fmla="*/ 383278 w 11951120"/>
              <a:gd name="connsiteY2408" fmla="*/ 2004982 h 6757249"/>
              <a:gd name="connsiteX2409" fmla="*/ 267831 w 11951120"/>
              <a:gd name="connsiteY2409" fmla="*/ 2084894 h 6757249"/>
              <a:gd name="connsiteX2410" fmla="*/ 267828 w 11951120"/>
              <a:gd name="connsiteY2410" fmla="*/ 2084889 h 6757249"/>
              <a:gd name="connsiteX2411" fmla="*/ 242191 w 11951120"/>
              <a:gd name="connsiteY2411" fmla="*/ 2124992 h 6757249"/>
              <a:gd name="connsiteX2412" fmla="*/ 193059 w 11951120"/>
              <a:gd name="connsiteY2412" fmla="*/ 2132670 h 6757249"/>
              <a:gd name="connsiteX2413" fmla="*/ 193059 w 11951120"/>
              <a:gd name="connsiteY2413" fmla="*/ 2131204 h 6757249"/>
              <a:gd name="connsiteX2414" fmla="*/ 96531 w 11951120"/>
              <a:gd name="connsiteY2414" fmla="*/ 2157289 h 6757249"/>
              <a:gd name="connsiteX2415" fmla="*/ 171287 w 11951120"/>
              <a:gd name="connsiteY2415" fmla="*/ 2087575 h 6757249"/>
              <a:gd name="connsiteX2416" fmla="*/ 171750 w 11951120"/>
              <a:gd name="connsiteY2416" fmla="*/ 2087575 h 6757249"/>
              <a:gd name="connsiteX2417" fmla="*/ 171608 w 11951120"/>
              <a:gd name="connsiteY2417" fmla="*/ 2087480 h 6757249"/>
              <a:gd name="connsiteX2418" fmla="*/ 193176 w 11951120"/>
              <a:gd name="connsiteY2418" fmla="*/ 2040077 h 6757249"/>
              <a:gd name="connsiteX2419" fmla="*/ 262191 w 11951120"/>
              <a:gd name="connsiteY2419" fmla="*/ 1988367 h 6757249"/>
              <a:gd name="connsiteX2420" fmla="*/ 262191 w 11951120"/>
              <a:gd name="connsiteY2420" fmla="*/ 1989654 h 6757249"/>
              <a:gd name="connsiteX2421" fmla="*/ 262483 w 11951120"/>
              <a:gd name="connsiteY2421" fmla="*/ 1986442 h 6757249"/>
              <a:gd name="connsiteX2422" fmla="*/ 288714 w 11951120"/>
              <a:gd name="connsiteY2422" fmla="*/ 1942725 h 6757249"/>
              <a:gd name="connsiteX2423" fmla="*/ 290037 w 11951120"/>
              <a:gd name="connsiteY2423" fmla="*/ 1941160 h 6757249"/>
              <a:gd name="connsiteX2424" fmla="*/ 302284 w 11951120"/>
              <a:gd name="connsiteY2424" fmla="*/ 1896963 h 6757249"/>
              <a:gd name="connsiteX2425" fmla="*/ 337051 w 11951120"/>
              <a:gd name="connsiteY2425" fmla="*/ 1868615 h 6757249"/>
              <a:gd name="connsiteX2426" fmla="*/ 316401 w 11951120"/>
              <a:gd name="connsiteY2426" fmla="*/ 1847552 h 6757249"/>
              <a:gd name="connsiteX2427" fmla="*/ 317641 w 11951120"/>
              <a:gd name="connsiteY2427" fmla="*/ 1845046 h 6757249"/>
              <a:gd name="connsiteX2428" fmla="*/ 315989 w 11951120"/>
              <a:gd name="connsiteY2428" fmla="*/ 1846254 h 6757249"/>
              <a:gd name="connsiteX2429" fmla="*/ 170330 w 11951120"/>
              <a:gd name="connsiteY2429" fmla="*/ 1771452 h 6757249"/>
              <a:gd name="connsiteX2430" fmla="*/ 214469 w 11951120"/>
              <a:gd name="connsiteY2430" fmla="*/ 1674647 h 6757249"/>
              <a:gd name="connsiteX2431" fmla="*/ 214895 w 11951120"/>
              <a:gd name="connsiteY2431" fmla="*/ 1674717 h 6757249"/>
              <a:gd name="connsiteX2432" fmla="*/ 262939 w 11951120"/>
              <a:gd name="connsiteY2432" fmla="*/ 1626215 h 6757249"/>
              <a:gd name="connsiteX2433" fmla="*/ 262774 w 11951120"/>
              <a:gd name="connsiteY2433" fmla="*/ 1626050 h 6757249"/>
              <a:gd name="connsiteX2434" fmla="*/ 305723 w 11951120"/>
              <a:gd name="connsiteY2434" fmla="*/ 1549253 h 6757249"/>
              <a:gd name="connsiteX2435" fmla="*/ 380762 w 11951120"/>
              <a:gd name="connsiteY2435" fmla="*/ 1508917 h 6757249"/>
              <a:gd name="connsiteX2436" fmla="*/ 381136 w 11951120"/>
              <a:gd name="connsiteY2436" fmla="*/ 1508256 h 6757249"/>
              <a:gd name="connsiteX2437" fmla="*/ 385494 w 11951120"/>
              <a:gd name="connsiteY2437" fmla="*/ 1486327 h 6757249"/>
              <a:gd name="connsiteX2438" fmla="*/ 359973 w 11951120"/>
              <a:gd name="connsiteY2438" fmla="*/ 1460525 h 6757249"/>
              <a:gd name="connsiteX2439" fmla="*/ 359302 w 11951120"/>
              <a:gd name="connsiteY2439" fmla="*/ 1458148 h 6757249"/>
              <a:gd name="connsiteX2440" fmla="*/ 359302 w 11951120"/>
              <a:gd name="connsiteY2440" fmla="*/ 1460408 h 6757249"/>
              <a:gd name="connsiteX2441" fmla="*/ 262774 w 11951120"/>
              <a:gd name="connsiteY2441" fmla="*/ 1433863 h 6757249"/>
              <a:gd name="connsiteX2442" fmla="*/ 263337 w 11951120"/>
              <a:gd name="connsiteY2442" fmla="*/ 1433605 h 6757249"/>
              <a:gd name="connsiteX2443" fmla="*/ 262774 w 11951120"/>
              <a:gd name="connsiteY2443" fmla="*/ 1433525 h 6757249"/>
              <a:gd name="connsiteX2444" fmla="*/ 341828 w 11951120"/>
              <a:gd name="connsiteY2444" fmla="*/ 1160505 h 6757249"/>
              <a:gd name="connsiteX2445" fmla="*/ 412097 w 11951120"/>
              <a:gd name="connsiteY2445" fmla="*/ 1085648 h 6757249"/>
              <a:gd name="connsiteX2446" fmla="*/ 504326 w 11951120"/>
              <a:gd name="connsiteY2446" fmla="*/ 975559 h 6757249"/>
              <a:gd name="connsiteX2447" fmla="*/ 658040 w 11951120"/>
              <a:gd name="connsiteY2447" fmla="*/ 909506 h 6757249"/>
              <a:gd name="connsiteX2448" fmla="*/ 662169 w 11951120"/>
              <a:gd name="connsiteY2448" fmla="*/ 910178 h 6757249"/>
              <a:gd name="connsiteX2449" fmla="*/ 714135 w 11951120"/>
              <a:gd name="connsiteY2449" fmla="*/ 847884 h 6757249"/>
              <a:gd name="connsiteX2450" fmla="*/ 792777 w 11951120"/>
              <a:gd name="connsiteY2450" fmla="*/ 782421 h 6757249"/>
              <a:gd name="connsiteX2451" fmla="*/ 762953 w 11951120"/>
              <a:gd name="connsiteY2451" fmla="*/ 738639 h 6757249"/>
              <a:gd name="connsiteX2452" fmla="*/ 745416 w 11951120"/>
              <a:gd name="connsiteY2452" fmla="*/ 686990 h 6757249"/>
              <a:gd name="connsiteX2453" fmla="*/ 793643 w 11951120"/>
              <a:gd name="connsiteY2453" fmla="*/ 638638 h 6757249"/>
              <a:gd name="connsiteX2454" fmla="*/ 890101 w 11951120"/>
              <a:gd name="connsiteY2454" fmla="*/ 616660 h 6757249"/>
              <a:gd name="connsiteX2455" fmla="*/ 981226 w 11951120"/>
              <a:gd name="connsiteY2455" fmla="*/ 557232 h 6757249"/>
              <a:gd name="connsiteX2456" fmla="*/ 1014027 w 11951120"/>
              <a:gd name="connsiteY2456" fmla="*/ 557936 h 6757249"/>
              <a:gd name="connsiteX2457" fmla="*/ 1059447 w 11951120"/>
              <a:gd name="connsiteY2457" fmla="*/ 584913 h 6757249"/>
              <a:gd name="connsiteX2458" fmla="*/ 1104909 w 11951120"/>
              <a:gd name="connsiteY2458" fmla="*/ 519168 h 6757249"/>
              <a:gd name="connsiteX2459" fmla="*/ 1157770 w 11951120"/>
              <a:gd name="connsiteY2459" fmla="*/ 492891 h 6757249"/>
              <a:gd name="connsiteX2460" fmla="*/ 1167131 w 11951120"/>
              <a:gd name="connsiteY2460" fmla="*/ 486321 h 6757249"/>
              <a:gd name="connsiteX2461" fmla="*/ 1174904 w 11951120"/>
              <a:gd name="connsiteY2461" fmla="*/ 490353 h 6757249"/>
              <a:gd name="connsiteX2462" fmla="*/ 1187261 w 11951120"/>
              <a:gd name="connsiteY2462" fmla="*/ 475339 h 6757249"/>
              <a:gd name="connsiteX2463" fmla="*/ 1190018 w 11951120"/>
              <a:gd name="connsiteY2463" fmla="*/ 473971 h 6757249"/>
              <a:gd name="connsiteX2464" fmla="*/ 1205783 w 11951120"/>
              <a:gd name="connsiteY2464" fmla="*/ 444448 h 6757249"/>
              <a:gd name="connsiteX2465" fmla="*/ 1249098 w 11951120"/>
              <a:gd name="connsiteY2465" fmla="*/ 422327 h 6757249"/>
              <a:gd name="connsiteX2466" fmla="*/ 1249537 w 11951120"/>
              <a:gd name="connsiteY2466" fmla="*/ 422317 h 6757249"/>
              <a:gd name="connsiteX2467" fmla="*/ 1253866 w 11951120"/>
              <a:gd name="connsiteY2467" fmla="*/ 400116 h 6757249"/>
              <a:gd name="connsiteX2468" fmla="*/ 1301795 w 11951120"/>
              <a:gd name="connsiteY2468" fmla="*/ 373302 h 6757249"/>
              <a:gd name="connsiteX2469" fmla="*/ 1345367 w 11951120"/>
              <a:gd name="connsiteY2469" fmla="*/ 368833 h 6757249"/>
              <a:gd name="connsiteX2470" fmla="*/ 1345579 w 11951120"/>
              <a:gd name="connsiteY2470" fmla="*/ 371444 h 6757249"/>
              <a:gd name="connsiteX2471" fmla="*/ 1345703 w 11951120"/>
              <a:gd name="connsiteY2471" fmla="*/ 370821 h 6757249"/>
              <a:gd name="connsiteX2472" fmla="*/ 1371846 w 11951120"/>
              <a:gd name="connsiteY2472" fmla="*/ 326709 h 6757249"/>
              <a:gd name="connsiteX2473" fmla="*/ 1441561 w 11951120"/>
              <a:gd name="connsiteY2473" fmla="*/ 326709 h 6757249"/>
              <a:gd name="connsiteX2474" fmla="*/ 1442273 w 11951120"/>
              <a:gd name="connsiteY2474" fmla="*/ 327719 h 6757249"/>
              <a:gd name="connsiteX2475" fmla="*/ 1441971 w 11951120"/>
              <a:gd name="connsiteY2475" fmla="*/ 326119 h 6757249"/>
              <a:gd name="connsiteX2476" fmla="*/ 1402346 w 11951120"/>
              <a:gd name="connsiteY2476" fmla="*/ 189042 h 6757249"/>
              <a:gd name="connsiteX2477" fmla="*/ 1516817 w 11951120"/>
              <a:gd name="connsiteY2477" fmla="*/ 277478 h 6757249"/>
              <a:gd name="connsiteX2478" fmla="*/ 1635690 w 11951120"/>
              <a:gd name="connsiteY2478" fmla="*/ 250949 h 6757249"/>
              <a:gd name="connsiteX2479" fmla="*/ 1758966 w 11951120"/>
              <a:gd name="connsiteY2479" fmla="*/ 277478 h 6757249"/>
              <a:gd name="connsiteX2480" fmla="*/ 1758966 w 11951120"/>
              <a:gd name="connsiteY2480" fmla="*/ 304010 h 6757249"/>
              <a:gd name="connsiteX2481" fmla="*/ 1758545 w 11951120"/>
              <a:gd name="connsiteY2481" fmla="*/ 305802 h 6757249"/>
              <a:gd name="connsiteX2482" fmla="*/ 1782553 w 11951120"/>
              <a:gd name="connsiteY2482" fmla="*/ 325736 h 6757249"/>
              <a:gd name="connsiteX2483" fmla="*/ 1783259 w 11951120"/>
              <a:gd name="connsiteY2483" fmla="*/ 325408 h 6757249"/>
              <a:gd name="connsiteX2484" fmla="*/ 1806244 w 11951120"/>
              <a:gd name="connsiteY2484" fmla="*/ 314318 h 6757249"/>
              <a:gd name="connsiteX2485" fmla="*/ 1875192 w 11951120"/>
              <a:gd name="connsiteY2485" fmla="*/ 325408 h 6757249"/>
              <a:gd name="connsiteX2486" fmla="*/ 1878420 w 11951120"/>
              <a:gd name="connsiteY2486" fmla="*/ 327715 h 6757249"/>
              <a:gd name="connsiteX2487" fmla="*/ 1876943 w 11951120"/>
              <a:gd name="connsiteY2487" fmla="*/ 324986 h 6757249"/>
              <a:gd name="connsiteX2488" fmla="*/ 1950383 w 11951120"/>
              <a:gd name="connsiteY2488" fmla="*/ 395647 h 6757249"/>
              <a:gd name="connsiteX2489" fmla="*/ 1949567 w 11951120"/>
              <a:gd name="connsiteY2489" fmla="*/ 395459 h 6757249"/>
              <a:gd name="connsiteX2490" fmla="*/ 1949612 w 11951120"/>
              <a:gd name="connsiteY2490" fmla="*/ 395517 h 6757249"/>
              <a:gd name="connsiteX2491" fmla="*/ 1949612 w 11951120"/>
              <a:gd name="connsiteY2491" fmla="*/ 421807 h 6757249"/>
              <a:gd name="connsiteX2492" fmla="*/ 1951575 w 11951120"/>
              <a:gd name="connsiteY2492" fmla="*/ 431625 h 6757249"/>
              <a:gd name="connsiteX2493" fmla="*/ 1951575 w 11951120"/>
              <a:gd name="connsiteY2493" fmla="*/ 421531 h 6757249"/>
              <a:gd name="connsiteX2494" fmla="*/ 2094133 w 11951120"/>
              <a:gd name="connsiteY2494" fmla="*/ 465877 h 6757249"/>
              <a:gd name="connsiteX2495" fmla="*/ 2091356 w 11951120"/>
              <a:gd name="connsiteY2495" fmla="*/ 466341 h 6757249"/>
              <a:gd name="connsiteX2496" fmla="*/ 2095217 w 11951120"/>
              <a:gd name="connsiteY2496" fmla="*/ 466836 h 6757249"/>
              <a:gd name="connsiteX2497" fmla="*/ 2165503 w 11951120"/>
              <a:gd name="connsiteY2497" fmla="*/ 444717 h 6757249"/>
              <a:gd name="connsiteX2498" fmla="*/ 2167586 w 11951120"/>
              <a:gd name="connsiteY2498" fmla="*/ 444950 h 6757249"/>
              <a:gd name="connsiteX2499" fmla="*/ 2166529 w 11951120"/>
              <a:gd name="connsiteY2499" fmla="*/ 443911 h 6757249"/>
              <a:gd name="connsiteX2500" fmla="*/ 2247639 w 11951120"/>
              <a:gd name="connsiteY2500" fmla="*/ 391424 h 6757249"/>
              <a:gd name="connsiteX2501" fmla="*/ 2282405 w 11951120"/>
              <a:gd name="connsiteY2501" fmla="*/ 400462 h 6757249"/>
              <a:gd name="connsiteX2502" fmla="*/ 2284001 w 11951120"/>
              <a:gd name="connsiteY2502" fmla="*/ 399962 h 6757249"/>
              <a:gd name="connsiteX2503" fmla="*/ 2310259 w 11951120"/>
              <a:gd name="connsiteY2503" fmla="*/ 369144 h 6757249"/>
              <a:gd name="connsiteX2504" fmla="*/ 2310259 w 11951120"/>
              <a:gd name="connsiteY2504" fmla="*/ 347168 h 6757249"/>
              <a:gd name="connsiteX2505" fmla="*/ 2312731 w 11951120"/>
              <a:gd name="connsiteY2505" fmla="*/ 346682 h 6757249"/>
              <a:gd name="connsiteX2506" fmla="*/ 2358724 w 11951120"/>
              <a:gd name="connsiteY2506" fmla="*/ 294651 h 6757249"/>
              <a:gd name="connsiteX2507" fmla="*/ 2431982 w 11951120"/>
              <a:gd name="connsiteY2507" fmla="*/ 299118 h 6757249"/>
              <a:gd name="connsiteX2508" fmla="*/ 2385181 w 11951120"/>
              <a:gd name="connsiteY2508" fmla="*/ 352064 h 6757249"/>
              <a:gd name="connsiteX2509" fmla="*/ 2390035 w 11951120"/>
              <a:gd name="connsiteY2509" fmla="*/ 376851 h 6757249"/>
              <a:gd name="connsiteX2510" fmla="*/ 2411493 w 11951120"/>
              <a:gd name="connsiteY2510" fmla="*/ 395540 h 6757249"/>
              <a:gd name="connsiteX2511" fmla="*/ 2411440 w 11951120"/>
              <a:gd name="connsiteY2511" fmla="*/ 395730 h 6757249"/>
              <a:gd name="connsiteX2512" fmla="*/ 2480068 w 11951120"/>
              <a:gd name="connsiteY2512" fmla="*/ 374196 h 6757249"/>
              <a:gd name="connsiteX2513" fmla="*/ 2483309 w 11951120"/>
              <a:gd name="connsiteY2513" fmla="*/ 377755 h 6757249"/>
              <a:gd name="connsiteX2514" fmla="*/ 2481934 w 11951120"/>
              <a:gd name="connsiteY2514" fmla="*/ 374441 h 6757249"/>
              <a:gd name="connsiteX2515" fmla="*/ 2534368 w 11951120"/>
              <a:gd name="connsiteY2515" fmla="*/ 330563 h 6757249"/>
              <a:gd name="connsiteX2516" fmla="*/ 2536573 w 11951120"/>
              <a:gd name="connsiteY2516" fmla="*/ 329801 h 6757249"/>
              <a:gd name="connsiteX2517" fmla="*/ 2533874 w 11951120"/>
              <a:gd name="connsiteY2517" fmla="*/ 329149 h 6757249"/>
              <a:gd name="connsiteX2518" fmla="*/ 2621876 w 11951120"/>
              <a:gd name="connsiteY2518" fmla="*/ 276595 h 6757249"/>
              <a:gd name="connsiteX2519" fmla="*/ 2624625 w 11951120"/>
              <a:gd name="connsiteY2519" fmla="*/ 274573 h 6757249"/>
              <a:gd name="connsiteX2520" fmla="*/ 2649669 w 11951120"/>
              <a:gd name="connsiteY2520" fmla="*/ 238031 h 6757249"/>
              <a:gd name="connsiteX2521" fmla="*/ 2769832 w 11951120"/>
              <a:gd name="connsiteY2521" fmla="*/ 181139 h 6757249"/>
              <a:gd name="connsiteX2522" fmla="*/ 2766802 w 11951120"/>
              <a:gd name="connsiteY2522" fmla="*/ 214937 h 6757249"/>
              <a:gd name="connsiteX2523" fmla="*/ 2768128 w 11951120"/>
              <a:gd name="connsiteY2523" fmla="*/ 213667 h 6757249"/>
              <a:gd name="connsiteX2524" fmla="*/ 2771043 w 11951120"/>
              <a:gd name="connsiteY2524" fmla="*/ 181139 h 6757249"/>
              <a:gd name="connsiteX2525" fmla="*/ 2817941 w 11951120"/>
              <a:gd name="connsiteY2525" fmla="*/ 133559 h 6757249"/>
              <a:gd name="connsiteX2526" fmla="*/ 2818373 w 11951120"/>
              <a:gd name="connsiteY2526" fmla="*/ 103180 h 6757249"/>
              <a:gd name="connsiteX2527" fmla="*/ 2888316 w 11951120"/>
              <a:gd name="connsiteY2527" fmla="*/ 84866 h 6757249"/>
              <a:gd name="connsiteX2528" fmla="*/ 2958738 w 11951120"/>
              <a:gd name="connsiteY2528" fmla="*/ 63160 h 6757249"/>
              <a:gd name="connsiteX2529" fmla="*/ 2981297 w 11951120"/>
              <a:gd name="connsiteY2529" fmla="*/ 80525 h 6757249"/>
              <a:gd name="connsiteX2530" fmla="*/ 3005829 w 11951120"/>
              <a:gd name="connsiteY2530" fmla="*/ 84643 h 6757249"/>
              <a:gd name="connsiteX2531" fmla="*/ 3005791 w 11951120"/>
              <a:gd name="connsiteY2531" fmla="*/ 84611 h 6757249"/>
              <a:gd name="connsiteX2532" fmla="*/ 3032450 w 11951120"/>
              <a:gd name="connsiteY2532" fmla="*/ 57797 h 6757249"/>
              <a:gd name="connsiteX2533" fmla="*/ 3033280 w 11951120"/>
              <a:gd name="connsiteY2533" fmla="*/ 57973 h 6757249"/>
              <a:gd name="connsiteX2534" fmla="*/ 3034362 w 11951120"/>
              <a:gd name="connsiteY2534" fmla="*/ 21069 h 6757249"/>
              <a:gd name="connsiteX2535" fmla="*/ 3055059 w 11951120"/>
              <a:gd name="connsiteY2535" fmla="*/ 559 h 6757249"/>
              <a:gd name="connsiteX2536" fmla="*/ 3129132 w 11951120"/>
              <a:gd name="connsiteY2536" fmla="*/ 58209 h 6757249"/>
              <a:gd name="connsiteX2537" fmla="*/ 3129125 w 11951120"/>
              <a:gd name="connsiteY2537" fmla="*/ 58216 h 6757249"/>
              <a:gd name="connsiteX2538" fmla="*/ 3130204 w 11951120"/>
              <a:gd name="connsiteY2538" fmla="*/ 57797 h 6757249"/>
              <a:gd name="connsiteX2539" fmla="*/ 3059109 w 11951120"/>
              <a:gd name="connsiteY2539" fmla="*/ 133768 h 6757249"/>
              <a:gd name="connsiteX2540" fmla="*/ 3058413 w 11951120"/>
              <a:gd name="connsiteY2540" fmla="*/ 133069 h 6757249"/>
              <a:gd name="connsiteX2541" fmla="*/ 3052237 w 11951120"/>
              <a:gd name="connsiteY2541" fmla="*/ 159280 h 6757249"/>
              <a:gd name="connsiteX2542" fmla="*/ 3032662 w 11951120"/>
              <a:gd name="connsiteY2542" fmla="*/ 180322 h 6757249"/>
              <a:gd name="connsiteX2543" fmla="*/ 3031678 w 11951120"/>
              <a:gd name="connsiteY2543" fmla="*/ 181757 h 6757249"/>
              <a:gd name="connsiteX2544" fmla="*/ 3033274 w 11951120"/>
              <a:gd name="connsiteY2544" fmla="*/ 181139 h 6757249"/>
              <a:gd name="connsiteX2545" fmla="*/ 3058941 w 11951120"/>
              <a:gd name="connsiteY2545" fmla="*/ 224091 h 6757249"/>
              <a:gd name="connsiteX2546" fmla="*/ 3102318 w 11951120"/>
              <a:gd name="connsiteY2546" fmla="*/ 228446 h 6757249"/>
              <a:gd name="connsiteX2547" fmla="*/ 3101212 w 11951120"/>
              <a:gd name="connsiteY2547" fmla="*/ 230888 h 6757249"/>
              <a:gd name="connsiteX2548" fmla="*/ 3103254 w 11951120"/>
              <a:gd name="connsiteY2548" fmla="*/ 229074 h 6757249"/>
              <a:gd name="connsiteX2549" fmla="*/ 3335596 w 11951120"/>
              <a:gd name="connsiteY2549" fmla="*/ 84611 h 6757249"/>
              <a:gd name="connsiteX2550" fmla="*/ 3177779 w 11951120"/>
              <a:gd name="connsiteY2550" fmla="*/ 229074 h 6757249"/>
              <a:gd name="connsiteX2551" fmla="*/ 3177688 w 11951120"/>
              <a:gd name="connsiteY2551" fmla="*/ 229576 h 6757249"/>
              <a:gd name="connsiteX2552" fmla="*/ 3177800 w 11951120"/>
              <a:gd name="connsiteY2552" fmla="*/ 229403 h 6757249"/>
              <a:gd name="connsiteX2553" fmla="*/ 3199555 w 11951120"/>
              <a:gd name="connsiteY2553" fmla="*/ 229403 h 6757249"/>
              <a:gd name="connsiteX2554" fmla="*/ 3200608 w 11951120"/>
              <a:gd name="connsiteY2554" fmla="*/ 231871 h 6757249"/>
              <a:gd name="connsiteX2555" fmla="*/ 3200990 w 11951120"/>
              <a:gd name="connsiteY2555" fmla="*/ 229594 h 6757249"/>
              <a:gd name="connsiteX2556" fmla="*/ 3297512 w 11951120"/>
              <a:gd name="connsiteY2556" fmla="*/ 247964 h 6757249"/>
              <a:gd name="connsiteX2557" fmla="*/ 3297350 w 11951120"/>
              <a:gd name="connsiteY2557" fmla="*/ 276646 h 6757249"/>
              <a:gd name="connsiteX2558" fmla="*/ 3318919 w 11951120"/>
              <a:gd name="connsiteY2558" fmla="*/ 292185 h 6757249"/>
              <a:gd name="connsiteX2559" fmla="*/ 3356680 w 11951120"/>
              <a:gd name="connsiteY2559" fmla="*/ 297608 h 6757249"/>
              <a:gd name="connsiteX2560" fmla="*/ 3392528 w 11951120"/>
              <a:gd name="connsiteY2560" fmla="*/ 298353 h 6757249"/>
              <a:gd name="connsiteX2561" fmla="*/ 3414649 w 11951120"/>
              <a:gd name="connsiteY2561" fmla="*/ 282248 h 6757249"/>
              <a:gd name="connsiteX2562" fmla="*/ 3489542 w 11951120"/>
              <a:gd name="connsiteY2562" fmla="*/ 276636 h 6757249"/>
              <a:gd name="connsiteX2563" fmla="*/ 3424634 w 11951120"/>
              <a:gd name="connsiteY2563" fmla="*/ 355834 h 6757249"/>
              <a:gd name="connsiteX2564" fmla="*/ 3393994 w 11951120"/>
              <a:gd name="connsiteY2564" fmla="*/ 368872 h 6757249"/>
              <a:gd name="connsiteX2565" fmla="*/ 3393978 w 11951120"/>
              <a:gd name="connsiteY2565" fmla="*/ 368906 h 6757249"/>
              <a:gd name="connsiteX2566" fmla="*/ 3367510 w 11951120"/>
              <a:gd name="connsiteY2566" fmla="*/ 395353 h 6757249"/>
              <a:gd name="connsiteX2567" fmla="*/ 3367233 w 11951120"/>
              <a:gd name="connsiteY2567" fmla="*/ 396343 h 6757249"/>
              <a:gd name="connsiteX2568" fmla="*/ 3389221 w 11951120"/>
              <a:gd name="connsiteY2568" fmla="*/ 439394 h 6757249"/>
              <a:gd name="connsiteX2569" fmla="*/ 3389605 w 11951120"/>
              <a:gd name="connsiteY2569" fmla="*/ 439769 h 6757249"/>
              <a:gd name="connsiteX2570" fmla="*/ 3438156 w 11951120"/>
              <a:gd name="connsiteY2570" fmla="*/ 418716 h 6757249"/>
              <a:gd name="connsiteX2571" fmla="*/ 3487091 w 11951120"/>
              <a:gd name="connsiteY2571" fmla="*/ 406651 h 6757249"/>
              <a:gd name="connsiteX2572" fmla="*/ 3536026 w 11951120"/>
              <a:gd name="connsiteY2572" fmla="*/ 411227 h 6757249"/>
              <a:gd name="connsiteX2573" fmla="*/ 3548865 w 11951120"/>
              <a:gd name="connsiteY2573" fmla="*/ 416931 h 6757249"/>
              <a:gd name="connsiteX2574" fmla="*/ 3552144 w 11951120"/>
              <a:gd name="connsiteY2574" fmla="*/ 400116 h 6757249"/>
              <a:gd name="connsiteX2575" fmla="*/ 3600073 w 11951120"/>
              <a:gd name="connsiteY2575" fmla="*/ 373302 h 6757249"/>
              <a:gd name="connsiteX2576" fmla="*/ 3643645 w 11951120"/>
              <a:gd name="connsiteY2576" fmla="*/ 368833 h 6757249"/>
              <a:gd name="connsiteX2577" fmla="*/ 3643857 w 11951120"/>
              <a:gd name="connsiteY2577" fmla="*/ 371444 h 6757249"/>
              <a:gd name="connsiteX2578" fmla="*/ 3643981 w 11951120"/>
              <a:gd name="connsiteY2578" fmla="*/ 370821 h 6757249"/>
              <a:gd name="connsiteX2579" fmla="*/ 3670124 w 11951120"/>
              <a:gd name="connsiteY2579" fmla="*/ 326709 h 6757249"/>
              <a:gd name="connsiteX2580" fmla="*/ 3739839 w 11951120"/>
              <a:gd name="connsiteY2580" fmla="*/ 326709 h 6757249"/>
              <a:gd name="connsiteX2581" fmla="*/ 3740551 w 11951120"/>
              <a:gd name="connsiteY2581" fmla="*/ 327719 h 6757249"/>
              <a:gd name="connsiteX2582" fmla="*/ 3740249 w 11951120"/>
              <a:gd name="connsiteY2582" fmla="*/ 326119 h 6757249"/>
              <a:gd name="connsiteX2583" fmla="*/ 3700624 w 11951120"/>
              <a:gd name="connsiteY2583" fmla="*/ 189042 h 6757249"/>
              <a:gd name="connsiteX2584" fmla="*/ 3815095 w 11951120"/>
              <a:gd name="connsiteY2584" fmla="*/ 277478 h 6757249"/>
              <a:gd name="connsiteX2585" fmla="*/ 3933968 w 11951120"/>
              <a:gd name="connsiteY2585" fmla="*/ 250949 h 6757249"/>
              <a:gd name="connsiteX2586" fmla="*/ 3987677 w 11951120"/>
              <a:gd name="connsiteY2586" fmla="*/ 230584 h 6757249"/>
              <a:gd name="connsiteX2587" fmla="*/ 3996493 w 11951120"/>
              <a:gd name="connsiteY2587" fmla="*/ 234891 h 6757249"/>
              <a:gd name="connsiteX2588" fmla="*/ 4042007 w 11951120"/>
              <a:gd name="connsiteY2588" fmla="*/ 197227 h 6757249"/>
              <a:gd name="connsiteX2589" fmla="*/ 4042131 w 11951120"/>
              <a:gd name="connsiteY2589" fmla="*/ 197322 h 6757249"/>
              <a:gd name="connsiteX2590" fmla="*/ 4067038 w 11951120"/>
              <a:gd name="connsiteY2590" fmla="*/ 176506 h 6757249"/>
              <a:gd name="connsiteX2591" fmla="*/ 4068181 w 11951120"/>
              <a:gd name="connsiteY2591" fmla="*/ 176645 h 6757249"/>
              <a:gd name="connsiteX2592" fmla="*/ 4115972 w 11951120"/>
              <a:gd name="connsiteY2592" fmla="*/ 132875 h 6757249"/>
              <a:gd name="connsiteX2593" fmla="*/ 4137961 w 11951120"/>
              <a:gd name="connsiteY2593" fmla="*/ 203755 h 6757249"/>
              <a:gd name="connsiteX2594" fmla="*/ 4137986 w 11951120"/>
              <a:gd name="connsiteY2594" fmla="*/ 204809 h 6757249"/>
              <a:gd name="connsiteX2595" fmla="*/ 4139266 w 11951120"/>
              <a:gd name="connsiteY2595" fmla="*/ 203260 h 6757249"/>
              <a:gd name="connsiteX2596" fmla="*/ 4231175 w 11951120"/>
              <a:gd name="connsiteY2596" fmla="*/ 181195 h 6757249"/>
              <a:gd name="connsiteX2597" fmla="*/ 4231162 w 11951120"/>
              <a:gd name="connsiteY2597" fmla="*/ 181139 h 6757249"/>
              <a:gd name="connsiteX2598" fmla="*/ 4265181 w 11951120"/>
              <a:gd name="connsiteY2598" fmla="*/ 150036 h 6757249"/>
              <a:gd name="connsiteX2599" fmla="*/ 4307859 w 11951120"/>
              <a:gd name="connsiteY2599" fmla="*/ 151081 h 6757249"/>
              <a:gd name="connsiteX2600" fmla="*/ 4309010 w 11951120"/>
              <a:gd name="connsiteY2600" fmla="*/ 150353 h 6757249"/>
              <a:gd name="connsiteX2601" fmla="*/ 4357188 w 11951120"/>
              <a:gd name="connsiteY2601" fmla="*/ 180940 h 6757249"/>
              <a:gd name="connsiteX2602" fmla="*/ 4356918 w 11951120"/>
              <a:gd name="connsiteY2602" fmla="*/ 181208 h 6757249"/>
              <a:gd name="connsiteX2603" fmla="*/ 4357521 w 11951120"/>
              <a:gd name="connsiteY2603" fmla="*/ 181197 h 6757249"/>
              <a:gd name="connsiteX2604" fmla="*/ 4427236 w 11951120"/>
              <a:gd name="connsiteY2604" fmla="*/ 132875 h 6757249"/>
              <a:gd name="connsiteX2605" fmla="*/ 4501308 w 11951120"/>
              <a:gd name="connsiteY2605" fmla="*/ 229518 h 6757249"/>
              <a:gd name="connsiteX2606" fmla="*/ 4501015 w 11951120"/>
              <a:gd name="connsiteY2606" fmla="*/ 230405 h 6757249"/>
              <a:gd name="connsiteX2607" fmla="*/ 4502314 w 11951120"/>
              <a:gd name="connsiteY2607" fmla="*/ 229087 h 6757249"/>
              <a:gd name="connsiteX2608" fmla="*/ 4563315 w 11951120"/>
              <a:gd name="connsiteY2608" fmla="*/ 277667 h 6757249"/>
              <a:gd name="connsiteX2609" fmla="*/ 4619959 w 11951120"/>
              <a:gd name="connsiteY2609" fmla="*/ 326248 h 6757249"/>
              <a:gd name="connsiteX2610" fmla="*/ 4619644 w 11951120"/>
              <a:gd name="connsiteY2610" fmla="*/ 326536 h 6757249"/>
              <a:gd name="connsiteX2611" fmla="*/ 4620568 w 11951120"/>
              <a:gd name="connsiteY2611" fmla="*/ 326170 h 6757249"/>
              <a:gd name="connsiteX2612" fmla="*/ 4653771 w 11951120"/>
              <a:gd name="connsiteY2612" fmla="*/ 298305 h 6757249"/>
              <a:gd name="connsiteX2613" fmla="*/ 4657002 w 11951120"/>
              <a:gd name="connsiteY2613" fmla="*/ 294651 h 6757249"/>
              <a:gd name="connsiteX2614" fmla="*/ 4658406 w 11951120"/>
              <a:gd name="connsiteY2614" fmla="*/ 294415 h 6757249"/>
              <a:gd name="connsiteX2615" fmla="*/ 4673110 w 11951120"/>
              <a:gd name="connsiteY2615" fmla="*/ 282076 h 6757249"/>
              <a:gd name="connsiteX2616" fmla="*/ 4682779 w 11951120"/>
              <a:gd name="connsiteY2616" fmla="*/ 290326 h 6757249"/>
              <a:gd name="connsiteX2617" fmla="*/ 4693631 w 11951120"/>
              <a:gd name="connsiteY2617" fmla="*/ 288505 h 6757249"/>
              <a:gd name="connsiteX2618" fmla="*/ 4730259 w 11951120"/>
              <a:gd name="connsiteY2618" fmla="*/ 299118 h 6757249"/>
              <a:gd name="connsiteX2619" fmla="*/ 4720422 w 11951120"/>
              <a:gd name="connsiteY2619" fmla="*/ 310248 h 6757249"/>
              <a:gd name="connsiteX2620" fmla="*/ 4725907 w 11951120"/>
              <a:gd name="connsiteY2620" fmla="*/ 311685 h 6757249"/>
              <a:gd name="connsiteX2621" fmla="*/ 4777780 w 11951120"/>
              <a:gd name="connsiteY2621" fmla="*/ 295718 h 6757249"/>
              <a:gd name="connsiteX2622" fmla="*/ 4813055 w 11951120"/>
              <a:gd name="connsiteY2622" fmla="*/ 277750 h 6757249"/>
              <a:gd name="connsiteX2623" fmla="*/ 4813016 w 11951120"/>
              <a:gd name="connsiteY2623" fmla="*/ 277725 h 6757249"/>
              <a:gd name="connsiteX2624" fmla="*/ 4909543 w 11951120"/>
              <a:gd name="connsiteY2624" fmla="*/ 229403 h 6757249"/>
              <a:gd name="connsiteX2625" fmla="*/ 4910838 w 11951120"/>
              <a:gd name="connsiteY2625" fmla="*/ 231570 h 6757249"/>
              <a:gd name="connsiteX2626" fmla="*/ 4910973 w 11951120"/>
              <a:gd name="connsiteY2626" fmla="*/ 229224 h 6757249"/>
              <a:gd name="connsiteX2627" fmla="*/ 4955971 w 11951120"/>
              <a:gd name="connsiteY2627" fmla="*/ 233032 h 6757249"/>
              <a:gd name="connsiteX2628" fmla="*/ 4955990 w 11951120"/>
              <a:gd name="connsiteY2628" fmla="*/ 233058 h 6757249"/>
              <a:gd name="connsiteX2629" fmla="*/ 4976014 w 11951120"/>
              <a:gd name="connsiteY2629" fmla="*/ 220677 h 6757249"/>
              <a:gd name="connsiteX2630" fmla="*/ 5068110 w 11951120"/>
              <a:gd name="connsiteY2630" fmla="*/ 181139 h 6757249"/>
              <a:gd name="connsiteX2631" fmla="*/ 5065079 w 11951120"/>
              <a:gd name="connsiteY2631" fmla="*/ 214937 h 6757249"/>
              <a:gd name="connsiteX2632" fmla="*/ 5066405 w 11951120"/>
              <a:gd name="connsiteY2632" fmla="*/ 213667 h 6757249"/>
              <a:gd name="connsiteX2633" fmla="*/ 5069320 w 11951120"/>
              <a:gd name="connsiteY2633" fmla="*/ 181139 h 6757249"/>
              <a:gd name="connsiteX2634" fmla="*/ 5116219 w 11951120"/>
              <a:gd name="connsiteY2634" fmla="*/ 133559 h 6757249"/>
              <a:gd name="connsiteX2635" fmla="*/ 5116651 w 11951120"/>
              <a:gd name="connsiteY2635" fmla="*/ 103180 h 6757249"/>
              <a:gd name="connsiteX2636" fmla="*/ 5186593 w 11951120"/>
              <a:gd name="connsiteY2636" fmla="*/ 84866 h 6757249"/>
              <a:gd name="connsiteX2637" fmla="*/ 5257015 w 11951120"/>
              <a:gd name="connsiteY2637" fmla="*/ 63160 h 6757249"/>
              <a:gd name="connsiteX2638" fmla="*/ 5279574 w 11951120"/>
              <a:gd name="connsiteY2638" fmla="*/ 80525 h 6757249"/>
              <a:gd name="connsiteX2639" fmla="*/ 5304106 w 11951120"/>
              <a:gd name="connsiteY2639" fmla="*/ 84643 h 6757249"/>
              <a:gd name="connsiteX2640" fmla="*/ 5304068 w 11951120"/>
              <a:gd name="connsiteY2640" fmla="*/ 84611 h 6757249"/>
              <a:gd name="connsiteX2641" fmla="*/ 5330728 w 11951120"/>
              <a:gd name="connsiteY2641" fmla="*/ 57797 h 6757249"/>
              <a:gd name="connsiteX2642" fmla="*/ 5331557 w 11951120"/>
              <a:gd name="connsiteY2642" fmla="*/ 57973 h 6757249"/>
              <a:gd name="connsiteX2643" fmla="*/ 5332639 w 11951120"/>
              <a:gd name="connsiteY2643" fmla="*/ 21069 h 6757249"/>
              <a:gd name="connsiteX2644" fmla="*/ 5353337 w 11951120"/>
              <a:gd name="connsiteY2644" fmla="*/ 559 h 675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Lst>
            <a:rect l="l" t="t" r="r" b="b"/>
            <a:pathLst>
              <a:path w="11951120" h="6757249">
                <a:moveTo>
                  <a:pt x="6672558" y="6700656"/>
                </a:moveTo>
                <a:cubicBezTo>
                  <a:pt x="6676915" y="6700656"/>
                  <a:pt x="6676915" y="6722107"/>
                  <a:pt x="6676915" y="6726397"/>
                </a:cubicBezTo>
                <a:cubicBezTo>
                  <a:pt x="6672558" y="6747848"/>
                  <a:pt x="6668200" y="6760718"/>
                  <a:pt x="6650771" y="6756428"/>
                </a:cubicBezTo>
                <a:cubicBezTo>
                  <a:pt x="6642057" y="6752138"/>
                  <a:pt x="6642057" y="6734977"/>
                  <a:pt x="6642057" y="6726397"/>
                </a:cubicBezTo>
                <a:cubicBezTo>
                  <a:pt x="6646415" y="6713527"/>
                  <a:pt x="6650771" y="6696366"/>
                  <a:pt x="6672558" y="6700656"/>
                </a:cubicBezTo>
                <a:close/>
                <a:moveTo>
                  <a:pt x="4374279" y="6700656"/>
                </a:moveTo>
                <a:cubicBezTo>
                  <a:pt x="4378636" y="6700656"/>
                  <a:pt x="4378636" y="6722107"/>
                  <a:pt x="4378636" y="6726397"/>
                </a:cubicBezTo>
                <a:cubicBezTo>
                  <a:pt x="4374279" y="6747848"/>
                  <a:pt x="4369921" y="6760718"/>
                  <a:pt x="4352492" y="6756428"/>
                </a:cubicBezTo>
                <a:cubicBezTo>
                  <a:pt x="4343778" y="6752138"/>
                  <a:pt x="4343778" y="6734977"/>
                  <a:pt x="4343778" y="6726397"/>
                </a:cubicBezTo>
                <a:cubicBezTo>
                  <a:pt x="4348136" y="6713527"/>
                  <a:pt x="4352492" y="6696366"/>
                  <a:pt x="4374279" y="6700656"/>
                </a:cubicBezTo>
                <a:close/>
                <a:moveTo>
                  <a:pt x="6822326" y="6699048"/>
                </a:moveTo>
                <a:cubicBezTo>
                  <a:pt x="6843983" y="6699048"/>
                  <a:pt x="6861309" y="6703406"/>
                  <a:pt x="6869972" y="6720835"/>
                </a:cubicBezTo>
                <a:cubicBezTo>
                  <a:pt x="6848314" y="6725191"/>
                  <a:pt x="6848314" y="6768763"/>
                  <a:pt x="6822326" y="6751334"/>
                </a:cubicBezTo>
                <a:cubicBezTo>
                  <a:pt x="6813663" y="6746978"/>
                  <a:pt x="6822326" y="6716477"/>
                  <a:pt x="6822326" y="6699048"/>
                </a:cubicBezTo>
                <a:close/>
                <a:moveTo>
                  <a:pt x="4524047" y="6699048"/>
                </a:moveTo>
                <a:cubicBezTo>
                  <a:pt x="4545704" y="6699048"/>
                  <a:pt x="4563030" y="6703406"/>
                  <a:pt x="4571693" y="6720835"/>
                </a:cubicBezTo>
                <a:cubicBezTo>
                  <a:pt x="4550035" y="6725191"/>
                  <a:pt x="4550035" y="6768763"/>
                  <a:pt x="4524047" y="6751334"/>
                </a:cubicBezTo>
                <a:cubicBezTo>
                  <a:pt x="4515384" y="6746978"/>
                  <a:pt x="4524047" y="6716477"/>
                  <a:pt x="4524047" y="6699048"/>
                </a:cubicBezTo>
                <a:close/>
                <a:moveTo>
                  <a:pt x="6580387" y="6620395"/>
                </a:moveTo>
                <a:cubicBezTo>
                  <a:pt x="6588967" y="6629333"/>
                  <a:pt x="6597547" y="6642739"/>
                  <a:pt x="6601838" y="6651678"/>
                </a:cubicBezTo>
                <a:cubicBezTo>
                  <a:pt x="6601838" y="6669554"/>
                  <a:pt x="6597547" y="6682960"/>
                  <a:pt x="6584677" y="6678491"/>
                </a:cubicBezTo>
                <a:cubicBezTo>
                  <a:pt x="6576097" y="6669554"/>
                  <a:pt x="6567516" y="6656147"/>
                  <a:pt x="6563226" y="6642739"/>
                </a:cubicBezTo>
                <a:cubicBezTo>
                  <a:pt x="6558936" y="6629333"/>
                  <a:pt x="6567516" y="6615926"/>
                  <a:pt x="6580387" y="6620395"/>
                </a:cubicBezTo>
                <a:close/>
                <a:moveTo>
                  <a:pt x="4282108" y="6620395"/>
                </a:moveTo>
                <a:cubicBezTo>
                  <a:pt x="4290688" y="6629333"/>
                  <a:pt x="4299268" y="6642739"/>
                  <a:pt x="4303559" y="6651678"/>
                </a:cubicBezTo>
                <a:cubicBezTo>
                  <a:pt x="4303559" y="6669554"/>
                  <a:pt x="4299268" y="6682960"/>
                  <a:pt x="4286398" y="6678491"/>
                </a:cubicBezTo>
                <a:cubicBezTo>
                  <a:pt x="4277819" y="6669554"/>
                  <a:pt x="4269237" y="6656147"/>
                  <a:pt x="4264947" y="6642739"/>
                </a:cubicBezTo>
                <a:cubicBezTo>
                  <a:pt x="4260657" y="6629333"/>
                  <a:pt x="4269237" y="6615926"/>
                  <a:pt x="4282108" y="6620395"/>
                </a:cubicBezTo>
                <a:close/>
                <a:moveTo>
                  <a:pt x="6958054" y="6576537"/>
                </a:moveTo>
                <a:cubicBezTo>
                  <a:pt x="6989024" y="6594291"/>
                  <a:pt x="7006721" y="6638672"/>
                  <a:pt x="6984600" y="6674176"/>
                </a:cubicBezTo>
                <a:cubicBezTo>
                  <a:pt x="6971328" y="6696366"/>
                  <a:pt x="6953630" y="6665300"/>
                  <a:pt x="6944781" y="6651985"/>
                </a:cubicBezTo>
                <a:cubicBezTo>
                  <a:pt x="6931509" y="6643109"/>
                  <a:pt x="6922660" y="6638672"/>
                  <a:pt x="6918236" y="6625357"/>
                </a:cubicBezTo>
                <a:cubicBezTo>
                  <a:pt x="6931509" y="6607606"/>
                  <a:pt x="6940358" y="6567662"/>
                  <a:pt x="6958054" y="6576537"/>
                </a:cubicBezTo>
                <a:close/>
                <a:moveTo>
                  <a:pt x="4659775" y="6576537"/>
                </a:moveTo>
                <a:cubicBezTo>
                  <a:pt x="4690746" y="6594291"/>
                  <a:pt x="4708442" y="6638672"/>
                  <a:pt x="4686322" y="6674176"/>
                </a:cubicBezTo>
                <a:cubicBezTo>
                  <a:pt x="4673050" y="6696366"/>
                  <a:pt x="4655351" y="6665300"/>
                  <a:pt x="4646502" y="6651985"/>
                </a:cubicBezTo>
                <a:cubicBezTo>
                  <a:pt x="4633230" y="6643109"/>
                  <a:pt x="4624381" y="6638672"/>
                  <a:pt x="4619957" y="6625357"/>
                </a:cubicBezTo>
                <a:cubicBezTo>
                  <a:pt x="4633230" y="6607606"/>
                  <a:pt x="4642079" y="6567662"/>
                  <a:pt x="4659775" y="6576537"/>
                </a:cubicBezTo>
                <a:close/>
                <a:moveTo>
                  <a:pt x="6440634" y="6475805"/>
                </a:moveTo>
                <a:lnTo>
                  <a:pt x="6438763" y="6479561"/>
                </a:lnTo>
                <a:lnTo>
                  <a:pt x="6438520" y="6480050"/>
                </a:lnTo>
                <a:lnTo>
                  <a:pt x="6441327" y="6475866"/>
                </a:lnTo>
                <a:close/>
                <a:moveTo>
                  <a:pt x="4142355" y="6475805"/>
                </a:moveTo>
                <a:lnTo>
                  <a:pt x="4140484" y="6479561"/>
                </a:lnTo>
                <a:lnTo>
                  <a:pt x="4140241" y="6480050"/>
                </a:lnTo>
                <a:lnTo>
                  <a:pt x="4143048" y="6475866"/>
                </a:lnTo>
                <a:close/>
                <a:moveTo>
                  <a:pt x="8984947" y="6474303"/>
                </a:moveTo>
                <a:lnTo>
                  <a:pt x="8983611" y="6475611"/>
                </a:lnTo>
                <a:lnTo>
                  <a:pt x="8993595" y="6485873"/>
                </a:lnTo>
                <a:close/>
                <a:moveTo>
                  <a:pt x="1687820" y="6430862"/>
                </a:moveTo>
                <a:lnTo>
                  <a:pt x="1681765" y="6432596"/>
                </a:lnTo>
                <a:lnTo>
                  <a:pt x="1683885" y="6435790"/>
                </a:lnTo>
                <a:lnTo>
                  <a:pt x="1683760" y="6436191"/>
                </a:lnTo>
                <a:lnTo>
                  <a:pt x="1688068" y="6431904"/>
                </a:lnTo>
                <a:close/>
                <a:moveTo>
                  <a:pt x="9351677" y="6409705"/>
                </a:moveTo>
                <a:lnTo>
                  <a:pt x="9347938" y="6412093"/>
                </a:lnTo>
                <a:lnTo>
                  <a:pt x="9355569" y="6425641"/>
                </a:lnTo>
                <a:lnTo>
                  <a:pt x="9356793" y="6425909"/>
                </a:lnTo>
                <a:lnTo>
                  <a:pt x="9351677" y="6410321"/>
                </a:lnTo>
                <a:close/>
                <a:moveTo>
                  <a:pt x="7053398" y="6409705"/>
                </a:moveTo>
                <a:lnTo>
                  <a:pt x="7049659" y="6412093"/>
                </a:lnTo>
                <a:lnTo>
                  <a:pt x="7057290" y="6425641"/>
                </a:lnTo>
                <a:lnTo>
                  <a:pt x="7058514" y="6425909"/>
                </a:lnTo>
                <a:lnTo>
                  <a:pt x="7053398" y="6410321"/>
                </a:lnTo>
                <a:close/>
                <a:moveTo>
                  <a:pt x="9906863" y="6387501"/>
                </a:moveTo>
                <a:lnTo>
                  <a:pt x="9907446" y="6391605"/>
                </a:lnTo>
                <a:lnTo>
                  <a:pt x="9907285" y="6392252"/>
                </a:lnTo>
                <a:lnTo>
                  <a:pt x="9907868" y="6391788"/>
                </a:lnTo>
                <a:lnTo>
                  <a:pt x="9918884" y="6388940"/>
                </a:lnTo>
                <a:close/>
                <a:moveTo>
                  <a:pt x="7608584" y="6387501"/>
                </a:moveTo>
                <a:lnTo>
                  <a:pt x="7609167" y="6391605"/>
                </a:lnTo>
                <a:lnTo>
                  <a:pt x="7609006" y="6392252"/>
                </a:lnTo>
                <a:lnTo>
                  <a:pt x="7609589" y="6391788"/>
                </a:lnTo>
                <a:lnTo>
                  <a:pt x="7620605" y="6388940"/>
                </a:lnTo>
                <a:close/>
                <a:moveTo>
                  <a:pt x="1614698" y="6360904"/>
                </a:moveTo>
                <a:lnTo>
                  <a:pt x="1614509" y="6360959"/>
                </a:lnTo>
                <a:lnTo>
                  <a:pt x="1614786" y="6361532"/>
                </a:lnTo>
                <a:close/>
                <a:moveTo>
                  <a:pt x="3911963" y="6358888"/>
                </a:moveTo>
                <a:lnTo>
                  <a:pt x="3911925" y="6359186"/>
                </a:lnTo>
                <a:lnTo>
                  <a:pt x="3911963" y="6359262"/>
                </a:lnTo>
                <a:close/>
                <a:moveTo>
                  <a:pt x="1613683" y="6358888"/>
                </a:moveTo>
                <a:lnTo>
                  <a:pt x="1613646" y="6359186"/>
                </a:lnTo>
                <a:lnTo>
                  <a:pt x="1613683" y="6359262"/>
                </a:lnTo>
                <a:close/>
                <a:moveTo>
                  <a:pt x="3911759" y="6356107"/>
                </a:moveTo>
                <a:lnTo>
                  <a:pt x="3910492" y="6356235"/>
                </a:lnTo>
                <a:lnTo>
                  <a:pt x="3911759" y="6358844"/>
                </a:lnTo>
                <a:close/>
                <a:moveTo>
                  <a:pt x="1613480" y="6356107"/>
                </a:moveTo>
                <a:lnTo>
                  <a:pt x="1612212" y="6356235"/>
                </a:lnTo>
                <a:lnTo>
                  <a:pt x="1613480" y="6358844"/>
                </a:lnTo>
                <a:close/>
                <a:moveTo>
                  <a:pt x="8512985" y="6350823"/>
                </a:moveTo>
                <a:lnTo>
                  <a:pt x="8510918" y="6356059"/>
                </a:lnTo>
                <a:lnTo>
                  <a:pt x="8513520" y="6355836"/>
                </a:lnTo>
                <a:lnTo>
                  <a:pt x="8514740" y="6356086"/>
                </a:lnTo>
                <a:close/>
                <a:moveTo>
                  <a:pt x="6214706" y="6350823"/>
                </a:moveTo>
                <a:lnTo>
                  <a:pt x="6212639" y="6356059"/>
                </a:lnTo>
                <a:lnTo>
                  <a:pt x="6215241" y="6355836"/>
                </a:lnTo>
                <a:lnTo>
                  <a:pt x="6216461" y="6356086"/>
                </a:lnTo>
                <a:close/>
                <a:moveTo>
                  <a:pt x="4165949" y="6338737"/>
                </a:moveTo>
                <a:lnTo>
                  <a:pt x="4164402" y="6342229"/>
                </a:lnTo>
                <a:lnTo>
                  <a:pt x="4168103" y="6339061"/>
                </a:lnTo>
                <a:lnTo>
                  <a:pt x="4167969" y="6338983"/>
                </a:lnTo>
                <a:close/>
                <a:moveTo>
                  <a:pt x="4475834" y="6334735"/>
                </a:moveTo>
                <a:lnTo>
                  <a:pt x="4475165" y="6335186"/>
                </a:lnTo>
                <a:lnTo>
                  <a:pt x="4475165" y="6355073"/>
                </a:lnTo>
                <a:lnTo>
                  <a:pt x="4475834" y="6355309"/>
                </a:lnTo>
                <a:close/>
                <a:moveTo>
                  <a:pt x="4185829" y="6334387"/>
                </a:moveTo>
                <a:lnTo>
                  <a:pt x="4185579" y="6334536"/>
                </a:lnTo>
                <a:lnTo>
                  <a:pt x="4185579" y="6337416"/>
                </a:lnTo>
                <a:lnTo>
                  <a:pt x="4190712" y="6334387"/>
                </a:lnTo>
                <a:close/>
                <a:moveTo>
                  <a:pt x="8012014" y="6323449"/>
                </a:moveTo>
                <a:lnTo>
                  <a:pt x="8001499" y="6324648"/>
                </a:lnTo>
                <a:lnTo>
                  <a:pt x="8001499" y="6325447"/>
                </a:lnTo>
                <a:cubicBezTo>
                  <a:pt x="8001499" y="6325447"/>
                  <a:pt x="8001499" y="6327682"/>
                  <a:pt x="8001499" y="6329916"/>
                </a:cubicBezTo>
                <a:lnTo>
                  <a:pt x="8001499" y="6332558"/>
                </a:lnTo>
                <a:lnTo>
                  <a:pt x="8002508" y="6333058"/>
                </a:lnTo>
                <a:close/>
                <a:moveTo>
                  <a:pt x="5713735" y="6323449"/>
                </a:moveTo>
                <a:lnTo>
                  <a:pt x="5703220" y="6324648"/>
                </a:lnTo>
                <a:lnTo>
                  <a:pt x="5703220" y="6325447"/>
                </a:lnTo>
                <a:cubicBezTo>
                  <a:pt x="5703220" y="6325447"/>
                  <a:pt x="5703220" y="6327682"/>
                  <a:pt x="5703220" y="6329916"/>
                </a:cubicBezTo>
                <a:lnTo>
                  <a:pt x="5703220" y="6332558"/>
                </a:lnTo>
                <a:lnTo>
                  <a:pt x="5704229" y="6333058"/>
                </a:lnTo>
                <a:close/>
                <a:moveTo>
                  <a:pt x="8848990" y="6285385"/>
                </a:moveTo>
                <a:lnTo>
                  <a:pt x="8848836" y="6285496"/>
                </a:lnTo>
                <a:lnTo>
                  <a:pt x="8848912" y="6285611"/>
                </a:lnTo>
                <a:close/>
                <a:moveTo>
                  <a:pt x="8654996" y="6260990"/>
                </a:moveTo>
                <a:lnTo>
                  <a:pt x="8654959" y="6261058"/>
                </a:lnTo>
                <a:lnTo>
                  <a:pt x="8654977" y="6261071"/>
                </a:lnTo>
                <a:close/>
                <a:moveTo>
                  <a:pt x="8821991" y="6188321"/>
                </a:moveTo>
                <a:lnTo>
                  <a:pt x="8820940" y="6190426"/>
                </a:lnTo>
                <a:lnTo>
                  <a:pt x="8819851" y="6191211"/>
                </a:lnTo>
                <a:lnTo>
                  <a:pt x="8822595" y="6193226"/>
                </a:lnTo>
                <a:lnTo>
                  <a:pt x="8821991" y="6189642"/>
                </a:lnTo>
                <a:close/>
                <a:moveTo>
                  <a:pt x="8269634" y="6184028"/>
                </a:moveTo>
                <a:lnTo>
                  <a:pt x="8269252" y="6186711"/>
                </a:lnTo>
                <a:lnTo>
                  <a:pt x="8269634" y="6186902"/>
                </a:lnTo>
                <a:close/>
                <a:moveTo>
                  <a:pt x="7315172" y="6121061"/>
                </a:moveTo>
                <a:lnTo>
                  <a:pt x="7312057" y="6124029"/>
                </a:lnTo>
                <a:lnTo>
                  <a:pt x="7316916" y="6130475"/>
                </a:lnTo>
                <a:lnTo>
                  <a:pt x="7317518" y="6129187"/>
                </a:lnTo>
                <a:close/>
                <a:moveTo>
                  <a:pt x="9624517" y="6110516"/>
                </a:moveTo>
                <a:lnTo>
                  <a:pt x="9610336" y="6124029"/>
                </a:lnTo>
                <a:lnTo>
                  <a:pt x="9615195" y="6130475"/>
                </a:lnTo>
                <a:close/>
                <a:moveTo>
                  <a:pt x="2784792" y="6106911"/>
                </a:moveTo>
                <a:lnTo>
                  <a:pt x="2779441" y="6111289"/>
                </a:lnTo>
                <a:lnTo>
                  <a:pt x="2779553" y="6111319"/>
                </a:lnTo>
                <a:lnTo>
                  <a:pt x="2780304" y="6111527"/>
                </a:lnTo>
                <a:lnTo>
                  <a:pt x="2782307" y="6114486"/>
                </a:lnTo>
                <a:lnTo>
                  <a:pt x="2784694" y="6107208"/>
                </a:lnTo>
                <a:close/>
                <a:moveTo>
                  <a:pt x="486512" y="6106911"/>
                </a:moveTo>
                <a:lnTo>
                  <a:pt x="481161" y="6111289"/>
                </a:lnTo>
                <a:lnTo>
                  <a:pt x="481274" y="6111319"/>
                </a:lnTo>
                <a:lnTo>
                  <a:pt x="482024" y="6111527"/>
                </a:lnTo>
                <a:lnTo>
                  <a:pt x="484027" y="6114486"/>
                </a:lnTo>
                <a:lnTo>
                  <a:pt x="486414" y="6107208"/>
                </a:lnTo>
                <a:close/>
                <a:moveTo>
                  <a:pt x="11178700" y="6092678"/>
                </a:moveTo>
                <a:lnTo>
                  <a:pt x="11176844" y="6093262"/>
                </a:lnTo>
                <a:lnTo>
                  <a:pt x="11178700" y="6096068"/>
                </a:lnTo>
                <a:close/>
                <a:moveTo>
                  <a:pt x="504441" y="6085325"/>
                </a:moveTo>
                <a:lnTo>
                  <a:pt x="504441" y="6087909"/>
                </a:lnTo>
                <a:lnTo>
                  <a:pt x="504441" y="6091235"/>
                </a:lnTo>
                <a:lnTo>
                  <a:pt x="507449" y="6088789"/>
                </a:lnTo>
                <a:close/>
                <a:moveTo>
                  <a:pt x="403025" y="6044800"/>
                </a:moveTo>
                <a:lnTo>
                  <a:pt x="410519" y="6115339"/>
                </a:lnTo>
                <a:lnTo>
                  <a:pt x="411071" y="6111527"/>
                </a:lnTo>
                <a:lnTo>
                  <a:pt x="411178" y="6111499"/>
                </a:lnTo>
                <a:lnTo>
                  <a:pt x="407404" y="6044800"/>
                </a:lnTo>
                <a:close/>
                <a:moveTo>
                  <a:pt x="10960051" y="6033899"/>
                </a:moveTo>
                <a:lnTo>
                  <a:pt x="10959722" y="6034203"/>
                </a:lnTo>
                <a:lnTo>
                  <a:pt x="10956781" y="6057954"/>
                </a:lnTo>
                <a:lnTo>
                  <a:pt x="10957046" y="6058105"/>
                </a:lnTo>
                <a:close/>
                <a:moveTo>
                  <a:pt x="1733395" y="6023351"/>
                </a:moveTo>
                <a:lnTo>
                  <a:pt x="1734834" y="6030492"/>
                </a:lnTo>
                <a:lnTo>
                  <a:pt x="1736236" y="6023351"/>
                </a:lnTo>
                <a:lnTo>
                  <a:pt x="1735974" y="6023351"/>
                </a:lnTo>
                <a:close/>
                <a:moveTo>
                  <a:pt x="10646103" y="6016482"/>
                </a:moveTo>
                <a:lnTo>
                  <a:pt x="10645480" y="6017070"/>
                </a:lnTo>
                <a:lnTo>
                  <a:pt x="10645808" y="6017287"/>
                </a:lnTo>
                <a:close/>
                <a:moveTo>
                  <a:pt x="10269636" y="5998367"/>
                </a:moveTo>
                <a:lnTo>
                  <a:pt x="10267993" y="6000416"/>
                </a:lnTo>
                <a:lnTo>
                  <a:pt x="10267028" y="6001419"/>
                </a:lnTo>
                <a:lnTo>
                  <a:pt x="10268859" y="6002030"/>
                </a:lnTo>
                <a:lnTo>
                  <a:pt x="10268905" y="6001284"/>
                </a:lnTo>
                <a:close/>
                <a:moveTo>
                  <a:pt x="1179966" y="5982779"/>
                </a:moveTo>
                <a:lnTo>
                  <a:pt x="1179802" y="5982789"/>
                </a:lnTo>
                <a:lnTo>
                  <a:pt x="1176338" y="5993238"/>
                </a:lnTo>
                <a:lnTo>
                  <a:pt x="1176361" y="5993242"/>
                </a:lnTo>
                <a:close/>
                <a:moveTo>
                  <a:pt x="386114" y="5953136"/>
                </a:moveTo>
                <a:lnTo>
                  <a:pt x="382692" y="5955987"/>
                </a:lnTo>
                <a:lnTo>
                  <a:pt x="386114" y="5957416"/>
                </a:lnTo>
                <a:close/>
                <a:moveTo>
                  <a:pt x="11275420" y="5949757"/>
                </a:moveTo>
                <a:lnTo>
                  <a:pt x="11275420" y="5952832"/>
                </a:lnTo>
                <a:lnTo>
                  <a:pt x="11275232" y="5953423"/>
                </a:lnTo>
                <a:lnTo>
                  <a:pt x="11275930" y="5952689"/>
                </a:lnTo>
                <a:lnTo>
                  <a:pt x="11277325" y="5952559"/>
                </a:lnTo>
                <a:close/>
                <a:moveTo>
                  <a:pt x="387783" y="5946486"/>
                </a:moveTo>
                <a:lnTo>
                  <a:pt x="387087" y="5947231"/>
                </a:lnTo>
                <a:lnTo>
                  <a:pt x="386273" y="5948588"/>
                </a:lnTo>
                <a:lnTo>
                  <a:pt x="386273" y="5951114"/>
                </a:lnTo>
                <a:close/>
                <a:moveTo>
                  <a:pt x="1323505" y="5926141"/>
                </a:moveTo>
                <a:lnTo>
                  <a:pt x="1320340" y="5926198"/>
                </a:lnTo>
                <a:lnTo>
                  <a:pt x="1323014" y="5932098"/>
                </a:lnTo>
                <a:lnTo>
                  <a:pt x="1324287" y="5926438"/>
                </a:lnTo>
                <a:lnTo>
                  <a:pt x="1323916" y="5926821"/>
                </a:lnTo>
                <a:close/>
                <a:moveTo>
                  <a:pt x="675701" y="5914425"/>
                </a:moveTo>
                <a:lnTo>
                  <a:pt x="674956" y="5917042"/>
                </a:lnTo>
                <a:lnTo>
                  <a:pt x="673818" y="5917818"/>
                </a:lnTo>
                <a:lnTo>
                  <a:pt x="675701" y="5917886"/>
                </a:lnTo>
                <a:close/>
                <a:moveTo>
                  <a:pt x="413855" y="5902303"/>
                </a:moveTo>
                <a:lnTo>
                  <a:pt x="412892" y="5902496"/>
                </a:lnTo>
                <a:lnTo>
                  <a:pt x="412696" y="5903279"/>
                </a:lnTo>
                <a:close/>
                <a:moveTo>
                  <a:pt x="382863" y="5900344"/>
                </a:moveTo>
                <a:lnTo>
                  <a:pt x="386116" y="5901428"/>
                </a:lnTo>
                <a:lnTo>
                  <a:pt x="386116" y="5901350"/>
                </a:lnTo>
                <a:lnTo>
                  <a:pt x="385109" y="5900344"/>
                </a:lnTo>
                <a:close/>
                <a:moveTo>
                  <a:pt x="440413" y="5886602"/>
                </a:moveTo>
                <a:lnTo>
                  <a:pt x="442425" y="5889618"/>
                </a:lnTo>
                <a:cubicBezTo>
                  <a:pt x="438067" y="5893976"/>
                  <a:pt x="438067" y="5898332"/>
                  <a:pt x="433709" y="5898332"/>
                </a:cubicBezTo>
                <a:lnTo>
                  <a:pt x="431194" y="5898835"/>
                </a:lnTo>
                <a:lnTo>
                  <a:pt x="432888" y="5899243"/>
                </a:lnTo>
                <a:lnTo>
                  <a:pt x="434380" y="5904170"/>
                </a:lnTo>
                <a:lnTo>
                  <a:pt x="434582" y="5904840"/>
                </a:lnTo>
                <a:lnTo>
                  <a:pt x="445105" y="5894687"/>
                </a:lnTo>
                <a:cubicBezTo>
                  <a:pt x="448323" y="5894143"/>
                  <a:pt x="451540" y="5896322"/>
                  <a:pt x="455830" y="5900680"/>
                </a:cubicBezTo>
                <a:lnTo>
                  <a:pt x="455830" y="5901683"/>
                </a:lnTo>
                <a:lnTo>
                  <a:pt x="456499" y="5900680"/>
                </a:lnTo>
                <a:lnTo>
                  <a:pt x="457842" y="5900008"/>
                </a:lnTo>
                <a:lnTo>
                  <a:pt x="455829" y="5900008"/>
                </a:lnTo>
                <a:lnTo>
                  <a:pt x="455829" y="5886602"/>
                </a:lnTo>
                <a:close/>
                <a:moveTo>
                  <a:pt x="11061478" y="5877265"/>
                </a:moveTo>
                <a:lnTo>
                  <a:pt x="11061064" y="5880197"/>
                </a:lnTo>
                <a:lnTo>
                  <a:pt x="11062253" y="5878557"/>
                </a:lnTo>
                <a:lnTo>
                  <a:pt x="11065388" y="5878815"/>
                </a:lnTo>
                <a:lnTo>
                  <a:pt x="11061986" y="5877265"/>
                </a:lnTo>
                <a:close/>
                <a:moveTo>
                  <a:pt x="503200" y="5854802"/>
                </a:moveTo>
                <a:lnTo>
                  <a:pt x="503085" y="5855150"/>
                </a:lnTo>
                <a:lnTo>
                  <a:pt x="503200" y="5855171"/>
                </a:lnTo>
                <a:close/>
                <a:moveTo>
                  <a:pt x="793506" y="5851309"/>
                </a:moveTo>
                <a:lnTo>
                  <a:pt x="790825" y="5853304"/>
                </a:lnTo>
                <a:lnTo>
                  <a:pt x="793506" y="5854167"/>
                </a:lnTo>
                <a:close/>
                <a:moveTo>
                  <a:pt x="526775" y="5845158"/>
                </a:moveTo>
                <a:lnTo>
                  <a:pt x="525544" y="5851125"/>
                </a:lnTo>
                <a:lnTo>
                  <a:pt x="525672" y="5851125"/>
                </a:lnTo>
                <a:lnTo>
                  <a:pt x="526870" y="5845377"/>
                </a:lnTo>
                <a:close/>
                <a:moveTo>
                  <a:pt x="985923" y="5830294"/>
                </a:moveTo>
                <a:lnTo>
                  <a:pt x="986010" y="5831673"/>
                </a:lnTo>
                <a:lnTo>
                  <a:pt x="986618" y="5830294"/>
                </a:lnTo>
                <a:close/>
                <a:moveTo>
                  <a:pt x="481159" y="5826915"/>
                </a:moveTo>
                <a:lnTo>
                  <a:pt x="478180" y="5830668"/>
                </a:lnTo>
                <a:lnTo>
                  <a:pt x="482107" y="5830293"/>
                </a:lnTo>
                <a:lnTo>
                  <a:pt x="482642" y="5833536"/>
                </a:lnTo>
                <a:lnTo>
                  <a:pt x="482642" y="5830293"/>
                </a:lnTo>
                <a:lnTo>
                  <a:pt x="483206" y="5830293"/>
                </a:lnTo>
                <a:lnTo>
                  <a:pt x="482080" y="5829538"/>
                </a:lnTo>
                <a:close/>
                <a:moveTo>
                  <a:pt x="10847305" y="5762498"/>
                </a:moveTo>
                <a:lnTo>
                  <a:pt x="10847308" y="5762562"/>
                </a:lnTo>
                <a:lnTo>
                  <a:pt x="10847382" y="5762535"/>
                </a:lnTo>
                <a:close/>
                <a:moveTo>
                  <a:pt x="11065417" y="5757394"/>
                </a:moveTo>
                <a:lnTo>
                  <a:pt x="11064864" y="5760872"/>
                </a:lnTo>
                <a:lnTo>
                  <a:pt x="11065940" y="5759377"/>
                </a:lnTo>
                <a:lnTo>
                  <a:pt x="11066707" y="5757620"/>
                </a:lnTo>
                <a:lnTo>
                  <a:pt x="11066428" y="5757895"/>
                </a:lnTo>
                <a:close/>
                <a:moveTo>
                  <a:pt x="440239" y="5756554"/>
                </a:moveTo>
                <a:lnTo>
                  <a:pt x="435062" y="5757573"/>
                </a:lnTo>
                <a:lnTo>
                  <a:pt x="435018" y="5757661"/>
                </a:lnTo>
                <a:lnTo>
                  <a:pt x="434702" y="5757644"/>
                </a:lnTo>
                <a:lnTo>
                  <a:pt x="433937" y="5757794"/>
                </a:lnTo>
                <a:lnTo>
                  <a:pt x="435378" y="5766276"/>
                </a:lnTo>
                <a:lnTo>
                  <a:pt x="438133" y="5758676"/>
                </a:lnTo>
                <a:lnTo>
                  <a:pt x="438905" y="5757897"/>
                </a:lnTo>
                <a:lnTo>
                  <a:pt x="434898" y="5757897"/>
                </a:lnTo>
                <a:lnTo>
                  <a:pt x="435018" y="5757661"/>
                </a:lnTo>
                <a:lnTo>
                  <a:pt x="438925" y="5757877"/>
                </a:lnTo>
                <a:close/>
                <a:moveTo>
                  <a:pt x="456435" y="5752247"/>
                </a:moveTo>
                <a:lnTo>
                  <a:pt x="456123" y="5752641"/>
                </a:lnTo>
                <a:lnTo>
                  <a:pt x="456325" y="5752703"/>
                </a:lnTo>
                <a:close/>
                <a:moveTo>
                  <a:pt x="11516742" y="5655347"/>
                </a:moveTo>
                <a:lnTo>
                  <a:pt x="11516742" y="5657013"/>
                </a:lnTo>
                <a:lnTo>
                  <a:pt x="11515329" y="5657790"/>
                </a:lnTo>
                <a:lnTo>
                  <a:pt x="11516788" y="5659166"/>
                </a:lnTo>
                <a:lnTo>
                  <a:pt x="11517075" y="5657883"/>
                </a:lnTo>
                <a:close/>
                <a:moveTo>
                  <a:pt x="10439906" y="5648132"/>
                </a:moveTo>
                <a:lnTo>
                  <a:pt x="10439166" y="5649044"/>
                </a:lnTo>
                <a:lnTo>
                  <a:pt x="10432795" y="5661826"/>
                </a:lnTo>
                <a:lnTo>
                  <a:pt x="10433479" y="5661369"/>
                </a:lnTo>
                <a:lnTo>
                  <a:pt x="10432812" y="5663402"/>
                </a:lnTo>
                <a:lnTo>
                  <a:pt x="10436193" y="5658881"/>
                </a:lnTo>
                <a:lnTo>
                  <a:pt x="10433479" y="5661369"/>
                </a:lnTo>
                <a:close/>
                <a:moveTo>
                  <a:pt x="11374235" y="5580423"/>
                </a:moveTo>
                <a:lnTo>
                  <a:pt x="11372843" y="5581920"/>
                </a:lnTo>
                <a:lnTo>
                  <a:pt x="11371681" y="5582148"/>
                </a:lnTo>
                <a:lnTo>
                  <a:pt x="11373775" y="5582884"/>
                </a:lnTo>
                <a:close/>
                <a:moveTo>
                  <a:pt x="1542350" y="5539696"/>
                </a:moveTo>
                <a:lnTo>
                  <a:pt x="1540212" y="5541658"/>
                </a:lnTo>
                <a:lnTo>
                  <a:pt x="1547285" y="5552362"/>
                </a:lnTo>
                <a:close/>
                <a:moveTo>
                  <a:pt x="580162" y="5511565"/>
                </a:moveTo>
                <a:lnTo>
                  <a:pt x="579520" y="5511702"/>
                </a:lnTo>
                <a:lnTo>
                  <a:pt x="579510" y="5511707"/>
                </a:lnTo>
                <a:lnTo>
                  <a:pt x="579880" y="5511972"/>
                </a:lnTo>
                <a:close/>
                <a:moveTo>
                  <a:pt x="11373929" y="5464554"/>
                </a:moveTo>
                <a:lnTo>
                  <a:pt x="11371948" y="5468525"/>
                </a:lnTo>
                <a:lnTo>
                  <a:pt x="11371723" y="5468751"/>
                </a:lnTo>
                <a:lnTo>
                  <a:pt x="11371370" y="5469440"/>
                </a:lnTo>
                <a:lnTo>
                  <a:pt x="11372843" y="5468310"/>
                </a:lnTo>
                <a:lnTo>
                  <a:pt x="11381628" y="5468310"/>
                </a:lnTo>
                <a:close/>
                <a:moveTo>
                  <a:pt x="262189" y="5464072"/>
                </a:moveTo>
                <a:lnTo>
                  <a:pt x="262189" y="5464768"/>
                </a:lnTo>
                <a:lnTo>
                  <a:pt x="263463" y="5467947"/>
                </a:lnTo>
                <a:lnTo>
                  <a:pt x="263463" y="5465437"/>
                </a:lnTo>
                <a:lnTo>
                  <a:pt x="265297" y="5464485"/>
                </a:lnTo>
                <a:close/>
                <a:moveTo>
                  <a:pt x="9832971" y="5463969"/>
                </a:moveTo>
                <a:lnTo>
                  <a:pt x="9825829" y="5470695"/>
                </a:lnTo>
                <a:lnTo>
                  <a:pt x="9831333" y="5468542"/>
                </a:lnTo>
                <a:close/>
                <a:moveTo>
                  <a:pt x="1421113" y="5366999"/>
                </a:moveTo>
                <a:lnTo>
                  <a:pt x="1413564" y="5374597"/>
                </a:lnTo>
                <a:lnTo>
                  <a:pt x="1415421" y="5373905"/>
                </a:lnTo>
                <a:lnTo>
                  <a:pt x="1421113" y="5370086"/>
                </a:lnTo>
                <a:close/>
                <a:moveTo>
                  <a:pt x="10125627" y="5342587"/>
                </a:moveTo>
                <a:lnTo>
                  <a:pt x="10123134" y="5344453"/>
                </a:lnTo>
                <a:lnTo>
                  <a:pt x="10119403" y="5350069"/>
                </a:lnTo>
                <a:lnTo>
                  <a:pt x="10116957" y="5352929"/>
                </a:lnTo>
                <a:lnTo>
                  <a:pt x="10113033" y="5358619"/>
                </a:lnTo>
                <a:lnTo>
                  <a:pt x="10123783" y="5345673"/>
                </a:lnTo>
                <a:close/>
                <a:moveTo>
                  <a:pt x="578477" y="5325100"/>
                </a:moveTo>
                <a:lnTo>
                  <a:pt x="574600" y="5327112"/>
                </a:lnTo>
                <a:lnTo>
                  <a:pt x="576911" y="5332723"/>
                </a:lnTo>
                <a:close/>
                <a:moveTo>
                  <a:pt x="1853244" y="5247996"/>
                </a:moveTo>
                <a:lnTo>
                  <a:pt x="1853244" y="5248739"/>
                </a:lnTo>
                <a:lnTo>
                  <a:pt x="1854163" y="5249614"/>
                </a:lnTo>
                <a:close/>
                <a:moveTo>
                  <a:pt x="11512844" y="5243760"/>
                </a:moveTo>
                <a:lnTo>
                  <a:pt x="11511827" y="5249171"/>
                </a:lnTo>
                <a:lnTo>
                  <a:pt x="11511744" y="5249458"/>
                </a:lnTo>
                <a:lnTo>
                  <a:pt x="11512354" y="5248930"/>
                </a:lnTo>
                <a:lnTo>
                  <a:pt x="11517599" y="5247737"/>
                </a:lnTo>
                <a:close/>
                <a:moveTo>
                  <a:pt x="11517607" y="5102588"/>
                </a:moveTo>
                <a:lnTo>
                  <a:pt x="11516536" y="5103649"/>
                </a:lnTo>
                <a:lnTo>
                  <a:pt x="11514915" y="5103649"/>
                </a:lnTo>
                <a:lnTo>
                  <a:pt x="11516220" y="5104379"/>
                </a:lnTo>
                <a:lnTo>
                  <a:pt x="11519619" y="5106075"/>
                </a:lnTo>
                <a:lnTo>
                  <a:pt x="11520394" y="5104475"/>
                </a:lnTo>
                <a:close/>
                <a:moveTo>
                  <a:pt x="11180501" y="5066210"/>
                </a:moveTo>
                <a:lnTo>
                  <a:pt x="11180354" y="5067835"/>
                </a:lnTo>
                <a:lnTo>
                  <a:pt x="11180501" y="5067835"/>
                </a:lnTo>
                <a:close/>
                <a:moveTo>
                  <a:pt x="864008" y="4958856"/>
                </a:moveTo>
                <a:lnTo>
                  <a:pt x="868756" y="4967163"/>
                </a:lnTo>
                <a:lnTo>
                  <a:pt x="868756" y="4958856"/>
                </a:lnTo>
                <a:lnTo>
                  <a:pt x="868666" y="4958856"/>
                </a:lnTo>
                <a:close/>
                <a:moveTo>
                  <a:pt x="1246333" y="4937404"/>
                </a:moveTo>
                <a:lnTo>
                  <a:pt x="1247534" y="4943936"/>
                </a:lnTo>
                <a:lnTo>
                  <a:pt x="1252608" y="4937404"/>
                </a:lnTo>
                <a:close/>
                <a:moveTo>
                  <a:pt x="573880" y="4884823"/>
                </a:moveTo>
                <a:lnTo>
                  <a:pt x="570705" y="4885466"/>
                </a:lnTo>
                <a:lnTo>
                  <a:pt x="574026" y="4886552"/>
                </a:lnTo>
                <a:close/>
                <a:moveTo>
                  <a:pt x="11447026" y="4813892"/>
                </a:moveTo>
                <a:lnTo>
                  <a:pt x="11446835" y="4814064"/>
                </a:lnTo>
                <a:lnTo>
                  <a:pt x="11445837" y="4814064"/>
                </a:lnTo>
                <a:lnTo>
                  <a:pt x="11447026" y="4816466"/>
                </a:lnTo>
                <a:close/>
                <a:moveTo>
                  <a:pt x="870457" y="4810340"/>
                </a:moveTo>
                <a:lnTo>
                  <a:pt x="867053" y="4813795"/>
                </a:lnTo>
                <a:lnTo>
                  <a:pt x="866830" y="4816457"/>
                </a:lnTo>
                <a:lnTo>
                  <a:pt x="868666" y="4813593"/>
                </a:lnTo>
                <a:close/>
                <a:moveTo>
                  <a:pt x="1061813" y="4764502"/>
                </a:moveTo>
                <a:lnTo>
                  <a:pt x="1061365" y="4764953"/>
                </a:lnTo>
                <a:lnTo>
                  <a:pt x="1053747" y="4767982"/>
                </a:lnTo>
                <a:lnTo>
                  <a:pt x="1054577" y="4773470"/>
                </a:lnTo>
                <a:lnTo>
                  <a:pt x="1060473" y="4766499"/>
                </a:lnTo>
                <a:lnTo>
                  <a:pt x="1061813" y="4765746"/>
                </a:lnTo>
                <a:close/>
                <a:moveTo>
                  <a:pt x="1063578" y="4693945"/>
                </a:moveTo>
                <a:lnTo>
                  <a:pt x="1062020" y="4694737"/>
                </a:lnTo>
                <a:lnTo>
                  <a:pt x="1062145" y="4695681"/>
                </a:lnTo>
                <a:close/>
                <a:moveTo>
                  <a:pt x="551905" y="4690180"/>
                </a:moveTo>
                <a:lnTo>
                  <a:pt x="550688" y="4690291"/>
                </a:lnTo>
                <a:lnTo>
                  <a:pt x="556367" y="4698294"/>
                </a:lnTo>
                <a:lnTo>
                  <a:pt x="556745" y="4696419"/>
                </a:lnTo>
                <a:lnTo>
                  <a:pt x="558509" y="4696002"/>
                </a:lnTo>
                <a:lnTo>
                  <a:pt x="557124" y="4695340"/>
                </a:lnTo>
                <a:close/>
                <a:moveTo>
                  <a:pt x="1777970" y="4650028"/>
                </a:moveTo>
                <a:lnTo>
                  <a:pt x="1777170" y="4650864"/>
                </a:lnTo>
                <a:lnTo>
                  <a:pt x="1778047" y="4650150"/>
                </a:lnTo>
                <a:close/>
                <a:moveTo>
                  <a:pt x="11495650" y="4554954"/>
                </a:moveTo>
                <a:lnTo>
                  <a:pt x="11496175" y="4556624"/>
                </a:lnTo>
                <a:lnTo>
                  <a:pt x="11496148" y="4554954"/>
                </a:lnTo>
                <a:close/>
                <a:moveTo>
                  <a:pt x="11709774" y="4550056"/>
                </a:moveTo>
                <a:lnTo>
                  <a:pt x="11709439" y="4551415"/>
                </a:lnTo>
                <a:lnTo>
                  <a:pt x="11709797" y="4551292"/>
                </a:lnTo>
                <a:lnTo>
                  <a:pt x="11709544" y="4552025"/>
                </a:lnTo>
                <a:lnTo>
                  <a:pt x="11710316" y="4551099"/>
                </a:lnTo>
                <a:lnTo>
                  <a:pt x="11711019" y="4550694"/>
                </a:lnTo>
                <a:close/>
                <a:moveTo>
                  <a:pt x="797528" y="4501923"/>
                </a:moveTo>
                <a:lnTo>
                  <a:pt x="797798" y="4502508"/>
                </a:lnTo>
                <a:lnTo>
                  <a:pt x="797935" y="4502335"/>
                </a:lnTo>
                <a:close/>
                <a:moveTo>
                  <a:pt x="11583001" y="4495768"/>
                </a:moveTo>
                <a:lnTo>
                  <a:pt x="11582652" y="4496672"/>
                </a:lnTo>
                <a:lnTo>
                  <a:pt x="11582909" y="4496719"/>
                </a:lnTo>
                <a:lnTo>
                  <a:pt x="11583106" y="4496748"/>
                </a:lnTo>
                <a:close/>
                <a:moveTo>
                  <a:pt x="11442720" y="4482344"/>
                </a:moveTo>
                <a:lnTo>
                  <a:pt x="11440315" y="4501378"/>
                </a:lnTo>
                <a:lnTo>
                  <a:pt x="11446083" y="4502334"/>
                </a:lnTo>
                <a:close/>
                <a:moveTo>
                  <a:pt x="888945" y="4453782"/>
                </a:moveTo>
                <a:lnTo>
                  <a:pt x="889252" y="4454235"/>
                </a:lnTo>
                <a:lnTo>
                  <a:pt x="889469" y="4453882"/>
                </a:lnTo>
                <a:close/>
                <a:moveTo>
                  <a:pt x="892853" y="4265588"/>
                </a:moveTo>
                <a:lnTo>
                  <a:pt x="892889" y="4265808"/>
                </a:lnTo>
                <a:lnTo>
                  <a:pt x="892554" y="4267510"/>
                </a:lnTo>
                <a:lnTo>
                  <a:pt x="893401" y="4266032"/>
                </a:lnTo>
                <a:close/>
                <a:moveTo>
                  <a:pt x="11490245" y="4209885"/>
                </a:moveTo>
                <a:lnTo>
                  <a:pt x="11487753" y="4217675"/>
                </a:lnTo>
                <a:lnTo>
                  <a:pt x="11490707" y="4218792"/>
                </a:lnTo>
                <a:lnTo>
                  <a:pt x="11490442" y="4213024"/>
                </a:lnTo>
                <a:lnTo>
                  <a:pt x="11492197" y="4212281"/>
                </a:lnTo>
                <a:lnTo>
                  <a:pt x="11490408" y="4212281"/>
                </a:lnTo>
                <a:lnTo>
                  <a:pt x="11490442" y="4213024"/>
                </a:lnTo>
                <a:lnTo>
                  <a:pt x="11490245" y="4213106"/>
                </a:lnTo>
                <a:lnTo>
                  <a:pt x="11490245" y="4212281"/>
                </a:lnTo>
                <a:lnTo>
                  <a:pt x="11489929" y="4212281"/>
                </a:lnTo>
                <a:lnTo>
                  <a:pt x="11490245" y="4210671"/>
                </a:lnTo>
                <a:close/>
                <a:moveTo>
                  <a:pt x="11490643" y="4208637"/>
                </a:moveTo>
                <a:lnTo>
                  <a:pt x="11490290" y="4209742"/>
                </a:lnTo>
                <a:lnTo>
                  <a:pt x="11490316" y="4210306"/>
                </a:lnTo>
                <a:close/>
                <a:moveTo>
                  <a:pt x="11065417" y="4195294"/>
                </a:moveTo>
                <a:lnTo>
                  <a:pt x="11064864" y="4198772"/>
                </a:lnTo>
                <a:lnTo>
                  <a:pt x="11065940" y="4197277"/>
                </a:lnTo>
                <a:lnTo>
                  <a:pt x="11066707" y="4195520"/>
                </a:lnTo>
                <a:lnTo>
                  <a:pt x="11066428" y="4195795"/>
                </a:lnTo>
                <a:close/>
                <a:moveTo>
                  <a:pt x="1013288" y="4183503"/>
                </a:moveTo>
                <a:lnTo>
                  <a:pt x="1013013" y="4185325"/>
                </a:lnTo>
                <a:lnTo>
                  <a:pt x="1012966" y="4185530"/>
                </a:lnTo>
                <a:lnTo>
                  <a:pt x="1014170" y="4184568"/>
                </a:lnTo>
                <a:close/>
                <a:moveTo>
                  <a:pt x="486513" y="4182861"/>
                </a:moveTo>
                <a:lnTo>
                  <a:pt x="481162" y="4187239"/>
                </a:lnTo>
                <a:lnTo>
                  <a:pt x="481275" y="4187269"/>
                </a:lnTo>
                <a:lnTo>
                  <a:pt x="482025" y="4187477"/>
                </a:lnTo>
                <a:lnTo>
                  <a:pt x="484028" y="4190436"/>
                </a:lnTo>
                <a:lnTo>
                  <a:pt x="486415" y="4183158"/>
                </a:lnTo>
                <a:close/>
                <a:moveTo>
                  <a:pt x="504442" y="4161275"/>
                </a:moveTo>
                <a:lnTo>
                  <a:pt x="504442" y="4163859"/>
                </a:lnTo>
                <a:lnTo>
                  <a:pt x="504442" y="4167185"/>
                </a:lnTo>
                <a:lnTo>
                  <a:pt x="507450" y="4164739"/>
                </a:lnTo>
                <a:close/>
                <a:moveTo>
                  <a:pt x="11584464" y="4139851"/>
                </a:moveTo>
                <a:lnTo>
                  <a:pt x="11587070" y="4141476"/>
                </a:lnTo>
                <a:lnTo>
                  <a:pt x="11587192" y="4140029"/>
                </a:lnTo>
                <a:close/>
                <a:moveTo>
                  <a:pt x="11688314" y="4136544"/>
                </a:moveTo>
                <a:lnTo>
                  <a:pt x="11687860" y="4137470"/>
                </a:lnTo>
                <a:lnTo>
                  <a:pt x="11687711" y="4138380"/>
                </a:lnTo>
                <a:lnTo>
                  <a:pt x="11688990" y="4138458"/>
                </a:lnTo>
                <a:close/>
                <a:moveTo>
                  <a:pt x="403026" y="4120750"/>
                </a:moveTo>
                <a:lnTo>
                  <a:pt x="410520" y="4191289"/>
                </a:lnTo>
                <a:lnTo>
                  <a:pt x="411072" y="4187477"/>
                </a:lnTo>
                <a:lnTo>
                  <a:pt x="411179" y="4187449"/>
                </a:lnTo>
                <a:lnTo>
                  <a:pt x="407405" y="4120750"/>
                </a:lnTo>
                <a:close/>
                <a:moveTo>
                  <a:pt x="386115" y="4029086"/>
                </a:moveTo>
                <a:lnTo>
                  <a:pt x="382693" y="4031937"/>
                </a:lnTo>
                <a:lnTo>
                  <a:pt x="386115" y="4033366"/>
                </a:lnTo>
                <a:close/>
                <a:moveTo>
                  <a:pt x="387784" y="4022436"/>
                </a:moveTo>
                <a:lnTo>
                  <a:pt x="387088" y="4023181"/>
                </a:lnTo>
                <a:lnTo>
                  <a:pt x="386274" y="4024538"/>
                </a:lnTo>
                <a:lnTo>
                  <a:pt x="386274" y="4027064"/>
                </a:lnTo>
                <a:close/>
                <a:moveTo>
                  <a:pt x="675702" y="3990375"/>
                </a:moveTo>
                <a:lnTo>
                  <a:pt x="674957" y="3992992"/>
                </a:lnTo>
                <a:lnTo>
                  <a:pt x="673819" y="3993768"/>
                </a:lnTo>
                <a:lnTo>
                  <a:pt x="675702" y="3993836"/>
                </a:lnTo>
                <a:close/>
                <a:moveTo>
                  <a:pt x="413856" y="3978253"/>
                </a:moveTo>
                <a:lnTo>
                  <a:pt x="412893" y="3978446"/>
                </a:lnTo>
                <a:lnTo>
                  <a:pt x="412697" y="3979229"/>
                </a:lnTo>
                <a:close/>
                <a:moveTo>
                  <a:pt x="382864" y="3976294"/>
                </a:moveTo>
                <a:lnTo>
                  <a:pt x="386117" y="3977378"/>
                </a:lnTo>
                <a:lnTo>
                  <a:pt x="386117" y="3977300"/>
                </a:lnTo>
                <a:lnTo>
                  <a:pt x="385110" y="3976294"/>
                </a:lnTo>
                <a:close/>
                <a:moveTo>
                  <a:pt x="440414" y="3962552"/>
                </a:moveTo>
                <a:lnTo>
                  <a:pt x="442426" y="3965568"/>
                </a:lnTo>
                <a:cubicBezTo>
                  <a:pt x="438068" y="3969926"/>
                  <a:pt x="438068" y="3974282"/>
                  <a:pt x="433710" y="3974282"/>
                </a:cubicBezTo>
                <a:lnTo>
                  <a:pt x="431195" y="3974785"/>
                </a:lnTo>
                <a:lnTo>
                  <a:pt x="432889" y="3975193"/>
                </a:lnTo>
                <a:lnTo>
                  <a:pt x="434381" y="3980120"/>
                </a:lnTo>
                <a:lnTo>
                  <a:pt x="434583" y="3980790"/>
                </a:lnTo>
                <a:lnTo>
                  <a:pt x="445106" y="3970637"/>
                </a:lnTo>
                <a:cubicBezTo>
                  <a:pt x="448324" y="3970093"/>
                  <a:pt x="451541" y="3972272"/>
                  <a:pt x="455831" y="3976630"/>
                </a:cubicBezTo>
                <a:lnTo>
                  <a:pt x="455831" y="3977633"/>
                </a:lnTo>
                <a:lnTo>
                  <a:pt x="456500" y="3976630"/>
                </a:lnTo>
                <a:lnTo>
                  <a:pt x="457843" y="3975958"/>
                </a:lnTo>
                <a:lnTo>
                  <a:pt x="455830" y="3975958"/>
                </a:lnTo>
                <a:lnTo>
                  <a:pt x="455830" y="3962552"/>
                </a:lnTo>
                <a:close/>
                <a:moveTo>
                  <a:pt x="503201" y="3930752"/>
                </a:moveTo>
                <a:lnTo>
                  <a:pt x="503086" y="3931100"/>
                </a:lnTo>
                <a:lnTo>
                  <a:pt x="503201" y="3931121"/>
                </a:lnTo>
                <a:close/>
                <a:moveTo>
                  <a:pt x="793507" y="3927259"/>
                </a:moveTo>
                <a:lnTo>
                  <a:pt x="790826" y="3929254"/>
                </a:lnTo>
                <a:lnTo>
                  <a:pt x="793507" y="3930117"/>
                </a:lnTo>
                <a:close/>
                <a:moveTo>
                  <a:pt x="526776" y="3921108"/>
                </a:moveTo>
                <a:lnTo>
                  <a:pt x="525545" y="3927075"/>
                </a:lnTo>
                <a:lnTo>
                  <a:pt x="525673" y="3927075"/>
                </a:lnTo>
                <a:lnTo>
                  <a:pt x="526871" y="3921327"/>
                </a:lnTo>
                <a:close/>
                <a:moveTo>
                  <a:pt x="985924" y="3906244"/>
                </a:moveTo>
                <a:lnTo>
                  <a:pt x="986011" y="3907623"/>
                </a:lnTo>
                <a:lnTo>
                  <a:pt x="986619" y="3906244"/>
                </a:lnTo>
                <a:close/>
                <a:moveTo>
                  <a:pt x="481160" y="3902865"/>
                </a:moveTo>
                <a:lnTo>
                  <a:pt x="478181" y="3906618"/>
                </a:lnTo>
                <a:lnTo>
                  <a:pt x="482108" y="3906243"/>
                </a:lnTo>
                <a:lnTo>
                  <a:pt x="482643" y="3909486"/>
                </a:lnTo>
                <a:lnTo>
                  <a:pt x="482643" y="3906243"/>
                </a:lnTo>
                <a:lnTo>
                  <a:pt x="483207" y="3906243"/>
                </a:lnTo>
                <a:lnTo>
                  <a:pt x="482081" y="3905488"/>
                </a:lnTo>
                <a:close/>
                <a:moveTo>
                  <a:pt x="11373929" y="3902454"/>
                </a:moveTo>
                <a:lnTo>
                  <a:pt x="11371948" y="3906425"/>
                </a:lnTo>
                <a:lnTo>
                  <a:pt x="11371723" y="3906651"/>
                </a:lnTo>
                <a:lnTo>
                  <a:pt x="11371370" y="3907340"/>
                </a:lnTo>
                <a:lnTo>
                  <a:pt x="11372843" y="3906210"/>
                </a:lnTo>
                <a:lnTo>
                  <a:pt x="11381628" y="3906210"/>
                </a:lnTo>
                <a:close/>
                <a:moveTo>
                  <a:pt x="440240" y="3832504"/>
                </a:moveTo>
                <a:lnTo>
                  <a:pt x="435063" y="3833523"/>
                </a:lnTo>
                <a:lnTo>
                  <a:pt x="435019" y="3833611"/>
                </a:lnTo>
                <a:lnTo>
                  <a:pt x="434703" y="3833594"/>
                </a:lnTo>
                <a:lnTo>
                  <a:pt x="433938" y="3833744"/>
                </a:lnTo>
                <a:lnTo>
                  <a:pt x="435379" y="3842226"/>
                </a:lnTo>
                <a:lnTo>
                  <a:pt x="438134" y="3834626"/>
                </a:lnTo>
                <a:lnTo>
                  <a:pt x="438906" y="3833847"/>
                </a:lnTo>
                <a:lnTo>
                  <a:pt x="434899" y="3833847"/>
                </a:lnTo>
                <a:lnTo>
                  <a:pt x="435019" y="3833611"/>
                </a:lnTo>
                <a:lnTo>
                  <a:pt x="438926" y="3833827"/>
                </a:lnTo>
                <a:close/>
                <a:moveTo>
                  <a:pt x="456436" y="3828197"/>
                </a:moveTo>
                <a:lnTo>
                  <a:pt x="456124" y="3828591"/>
                </a:lnTo>
                <a:lnTo>
                  <a:pt x="456326" y="3828653"/>
                </a:lnTo>
                <a:close/>
                <a:moveTo>
                  <a:pt x="10125627" y="3780487"/>
                </a:moveTo>
                <a:lnTo>
                  <a:pt x="10123134" y="3782353"/>
                </a:lnTo>
                <a:lnTo>
                  <a:pt x="10119403" y="3787969"/>
                </a:lnTo>
                <a:lnTo>
                  <a:pt x="10116957" y="3790829"/>
                </a:lnTo>
                <a:lnTo>
                  <a:pt x="10113033" y="3796519"/>
                </a:lnTo>
                <a:lnTo>
                  <a:pt x="10123783" y="3783573"/>
                </a:lnTo>
                <a:close/>
                <a:moveTo>
                  <a:pt x="11512844" y="3681660"/>
                </a:moveTo>
                <a:lnTo>
                  <a:pt x="11511827" y="3687071"/>
                </a:lnTo>
                <a:lnTo>
                  <a:pt x="11511744" y="3687358"/>
                </a:lnTo>
                <a:lnTo>
                  <a:pt x="11512354" y="3686830"/>
                </a:lnTo>
                <a:lnTo>
                  <a:pt x="11517599" y="3685637"/>
                </a:lnTo>
                <a:close/>
                <a:moveTo>
                  <a:pt x="1542351" y="3615646"/>
                </a:moveTo>
                <a:lnTo>
                  <a:pt x="1540213" y="3617608"/>
                </a:lnTo>
                <a:lnTo>
                  <a:pt x="1547286" y="3628312"/>
                </a:lnTo>
                <a:close/>
                <a:moveTo>
                  <a:pt x="580163" y="3587515"/>
                </a:moveTo>
                <a:lnTo>
                  <a:pt x="579521" y="3587652"/>
                </a:lnTo>
                <a:lnTo>
                  <a:pt x="579511" y="3587657"/>
                </a:lnTo>
                <a:lnTo>
                  <a:pt x="579881" y="3587922"/>
                </a:lnTo>
                <a:close/>
                <a:moveTo>
                  <a:pt x="11517607" y="3540488"/>
                </a:moveTo>
                <a:lnTo>
                  <a:pt x="11516536" y="3541549"/>
                </a:lnTo>
                <a:lnTo>
                  <a:pt x="11514915" y="3541549"/>
                </a:lnTo>
                <a:lnTo>
                  <a:pt x="11516220" y="3542279"/>
                </a:lnTo>
                <a:lnTo>
                  <a:pt x="11519619" y="3543975"/>
                </a:lnTo>
                <a:lnTo>
                  <a:pt x="11520394" y="3542375"/>
                </a:lnTo>
                <a:close/>
                <a:moveTo>
                  <a:pt x="262190" y="3540022"/>
                </a:moveTo>
                <a:lnTo>
                  <a:pt x="262190" y="3540718"/>
                </a:lnTo>
                <a:lnTo>
                  <a:pt x="263464" y="3543897"/>
                </a:lnTo>
                <a:lnTo>
                  <a:pt x="263464" y="3541387"/>
                </a:lnTo>
                <a:lnTo>
                  <a:pt x="265298" y="3540435"/>
                </a:lnTo>
                <a:close/>
                <a:moveTo>
                  <a:pt x="11180501" y="3504110"/>
                </a:moveTo>
                <a:lnTo>
                  <a:pt x="11180354" y="3505735"/>
                </a:lnTo>
                <a:lnTo>
                  <a:pt x="11180501" y="3505735"/>
                </a:lnTo>
                <a:close/>
                <a:moveTo>
                  <a:pt x="1421114" y="3442949"/>
                </a:moveTo>
                <a:lnTo>
                  <a:pt x="1413565" y="3450547"/>
                </a:lnTo>
                <a:lnTo>
                  <a:pt x="1415422" y="3449855"/>
                </a:lnTo>
                <a:lnTo>
                  <a:pt x="1421114" y="3446036"/>
                </a:lnTo>
                <a:close/>
                <a:moveTo>
                  <a:pt x="578478" y="3401050"/>
                </a:moveTo>
                <a:lnTo>
                  <a:pt x="574601" y="3403062"/>
                </a:lnTo>
                <a:lnTo>
                  <a:pt x="576912" y="3408673"/>
                </a:lnTo>
                <a:close/>
                <a:moveTo>
                  <a:pt x="1853245" y="3323946"/>
                </a:moveTo>
                <a:lnTo>
                  <a:pt x="1853245" y="3324689"/>
                </a:lnTo>
                <a:lnTo>
                  <a:pt x="1854164" y="3325564"/>
                </a:lnTo>
                <a:close/>
                <a:moveTo>
                  <a:pt x="11447026" y="3251792"/>
                </a:moveTo>
                <a:lnTo>
                  <a:pt x="11446835" y="3251964"/>
                </a:lnTo>
                <a:lnTo>
                  <a:pt x="11445837" y="3251964"/>
                </a:lnTo>
                <a:lnTo>
                  <a:pt x="11447026" y="3254366"/>
                </a:lnTo>
                <a:close/>
                <a:moveTo>
                  <a:pt x="864009" y="3034806"/>
                </a:moveTo>
                <a:lnTo>
                  <a:pt x="868757" y="3043113"/>
                </a:lnTo>
                <a:lnTo>
                  <a:pt x="868757" y="3034806"/>
                </a:lnTo>
                <a:lnTo>
                  <a:pt x="868667" y="3034806"/>
                </a:lnTo>
                <a:close/>
                <a:moveTo>
                  <a:pt x="1246334" y="3013354"/>
                </a:moveTo>
                <a:lnTo>
                  <a:pt x="1247535" y="3019886"/>
                </a:lnTo>
                <a:lnTo>
                  <a:pt x="1252609" y="3013354"/>
                </a:lnTo>
                <a:close/>
                <a:moveTo>
                  <a:pt x="10891872" y="3003900"/>
                </a:moveTo>
                <a:lnTo>
                  <a:pt x="10890350" y="3009152"/>
                </a:lnTo>
                <a:lnTo>
                  <a:pt x="10890698" y="3010563"/>
                </a:lnTo>
                <a:lnTo>
                  <a:pt x="10894679" y="3006582"/>
                </a:lnTo>
                <a:close/>
                <a:moveTo>
                  <a:pt x="11495650" y="2992854"/>
                </a:moveTo>
                <a:lnTo>
                  <a:pt x="11496175" y="2994524"/>
                </a:lnTo>
                <a:lnTo>
                  <a:pt x="11496148" y="2992854"/>
                </a:lnTo>
                <a:close/>
                <a:moveTo>
                  <a:pt x="11709774" y="2987956"/>
                </a:moveTo>
                <a:lnTo>
                  <a:pt x="11709439" y="2989315"/>
                </a:lnTo>
                <a:lnTo>
                  <a:pt x="11709797" y="2989192"/>
                </a:lnTo>
                <a:lnTo>
                  <a:pt x="11709544" y="2989925"/>
                </a:lnTo>
                <a:lnTo>
                  <a:pt x="11710316" y="2988999"/>
                </a:lnTo>
                <a:lnTo>
                  <a:pt x="11711019" y="2988594"/>
                </a:lnTo>
                <a:close/>
                <a:moveTo>
                  <a:pt x="573881" y="2960773"/>
                </a:moveTo>
                <a:lnTo>
                  <a:pt x="570706" y="2961416"/>
                </a:lnTo>
                <a:lnTo>
                  <a:pt x="574027" y="2962502"/>
                </a:lnTo>
                <a:close/>
                <a:moveTo>
                  <a:pt x="11583001" y="2933668"/>
                </a:moveTo>
                <a:lnTo>
                  <a:pt x="11582652" y="2934572"/>
                </a:lnTo>
                <a:lnTo>
                  <a:pt x="11582909" y="2934619"/>
                </a:lnTo>
                <a:lnTo>
                  <a:pt x="11583106" y="2934648"/>
                </a:lnTo>
                <a:close/>
                <a:moveTo>
                  <a:pt x="11442720" y="2920244"/>
                </a:moveTo>
                <a:lnTo>
                  <a:pt x="11440315" y="2939278"/>
                </a:lnTo>
                <a:lnTo>
                  <a:pt x="11446083" y="2940234"/>
                </a:lnTo>
                <a:close/>
                <a:moveTo>
                  <a:pt x="870458" y="2886290"/>
                </a:moveTo>
                <a:lnTo>
                  <a:pt x="867054" y="2889745"/>
                </a:lnTo>
                <a:lnTo>
                  <a:pt x="866831" y="2892407"/>
                </a:lnTo>
                <a:lnTo>
                  <a:pt x="868667" y="2889543"/>
                </a:lnTo>
                <a:close/>
                <a:moveTo>
                  <a:pt x="11269302" y="2880025"/>
                </a:moveTo>
                <a:lnTo>
                  <a:pt x="11276347" y="2896935"/>
                </a:lnTo>
                <a:lnTo>
                  <a:pt x="11276698" y="2896547"/>
                </a:lnTo>
                <a:lnTo>
                  <a:pt x="11280620" y="2888694"/>
                </a:lnTo>
                <a:close/>
                <a:moveTo>
                  <a:pt x="1061814" y="2840452"/>
                </a:moveTo>
                <a:lnTo>
                  <a:pt x="1061366" y="2840903"/>
                </a:lnTo>
                <a:lnTo>
                  <a:pt x="1053748" y="2843932"/>
                </a:lnTo>
                <a:lnTo>
                  <a:pt x="1054578" y="2849420"/>
                </a:lnTo>
                <a:lnTo>
                  <a:pt x="1060474" y="2842450"/>
                </a:lnTo>
                <a:lnTo>
                  <a:pt x="1061814" y="2841696"/>
                </a:lnTo>
                <a:close/>
                <a:moveTo>
                  <a:pt x="551906" y="2766130"/>
                </a:moveTo>
                <a:lnTo>
                  <a:pt x="550689" y="2766241"/>
                </a:lnTo>
                <a:lnTo>
                  <a:pt x="556368" y="2774244"/>
                </a:lnTo>
                <a:lnTo>
                  <a:pt x="556746" y="2772369"/>
                </a:lnTo>
                <a:lnTo>
                  <a:pt x="558510" y="2771952"/>
                </a:lnTo>
                <a:lnTo>
                  <a:pt x="557125" y="2771290"/>
                </a:lnTo>
                <a:close/>
                <a:moveTo>
                  <a:pt x="11160690" y="2747790"/>
                </a:moveTo>
                <a:lnTo>
                  <a:pt x="11160704" y="2747871"/>
                </a:lnTo>
                <a:lnTo>
                  <a:pt x="11161112" y="2747871"/>
                </a:lnTo>
                <a:close/>
                <a:moveTo>
                  <a:pt x="11181864" y="2730942"/>
                </a:moveTo>
                <a:lnTo>
                  <a:pt x="11175991" y="2747871"/>
                </a:lnTo>
                <a:lnTo>
                  <a:pt x="11178403" y="2747871"/>
                </a:lnTo>
                <a:lnTo>
                  <a:pt x="11186056" y="2755470"/>
                </a:lnTo>
                <a:lnTo>
                  <a:pt x="11188002" y="2751011"/>
                </a:lnTo>
                <a:lnTo>
                  <a:pt x="11187666" y="2750551"/>
                </a:lnTo>
                <a:cubicBezTo>
                  <a:pt x="11187666" y="2750551"/>
                  <a:pt x="11178891" y="2746082"/>
                  <a:pt x="11178891" y="2746082"/>
                </a:cubicBezTo>
                <a:close/>
                <a:moveTo>
                  <a:pt x="11156674" y="2688078"/>
                </a:moveTo>
                <a:lnTo>
                  <a:pt x="11118431" y="2723738"/>
                </a:lnTo>
                <a:lnTo>
                  <a:pt x="11156674" y="2723738"/>
                </a:lnTo>
                <a:close/>
                <a:moveTo>
                  <a:pt x="11490245" y="2647785"/>
                </a:moveTo>
                <a:lnTo>
                  <a:pt x="11487753" y="2655575"/>
                </a:lnTo>
                <a:lnTo>
                  <a:pt x="11490707" y="2656692"/>
                </a:lnTo>
                <a:lnTo>
                  <a:pt x="11490442" y="2650924"/>
                </a:lnTo>
                <a:lnTo>
                  <a:pt x="11492197" y="2650181"/>
                </a:lnTo>
                <a:lnTo>
                  <a:pt x="11490408" y="2650181"/>
                </a:lnTo>
                <a:lnTo>
                  <a:pt x="11490442" y="2650924"/>
                </a:lnTo>
                <a:lnTo>
                  <a:pt x="11490245" y="2651006"/>
                </a:lnTo>
                <a:lnTo>
                  <a:pt x="11490245" y="2650181"/>
                </a:lnTo>
                <a:lnTo>
                  <a:pt x="11489929" y="2650181"/>
                </a:lnTo>
                <a:lnTo>
                  <a:pt x="11490245" y="2648571"/>
                </a:lnTo>
                <a:close/>
                <a:moveTo>
                  <a:pt x="11490643" y="2646537"/>
                </a:moveTo>
                <a:lnTo>
                  <a:pt x="11490290" y="2647642"/>
                </a:lnTo>
                <a:lnTo>
                  <a:pt x="11490316" y="2648206"/>
                </a:lnTo>
                <a:close/>
                <a:moveTo>
                  <a:pt x="11584464" y="2577751"/>
                </a:moveTo>
                <a:lnTo>
                  <a:pt x="11587070" y="2579376"/>
                </a:lnTo>
                <a:lnTo>
                  <a:pt x="11587192" y="2577929"/>
                </a:lnTo>
                <a:close/>
                <a:moveTo>
                  <a:pt x="11688314" y="2574444"/>
                </a:moveTo>
                <a:lnTo>
                  <a:pt x="11687860" y="2575370"/>
                </a:lnTo>
                <a:lnTo>
                  <a:pt x="11687711" y="2576280"/>
                </a:lnTo>
                <a:lnTo>
                  <a:pt x="11688990" y="2576358"/>
                </a:lnTo>
                <a:close/>
                <a:moveTo>
                  <a:pt x="386116" y="2524136"/>
                </a:moveTo>
                <a:lnTo>
                  <a:pt x="382694" y="2526987"/>
                </a:lnTo>
                <a:lnTo>
                  <a:pt x="386116" y="2528416"/>
                </a:lnTo>
                <a:close/>
                <a:moveTo>
                  <a:pt x="387785" y="2517486"/>
                </a:moveTo>
                <a:lnTo>
                  <a:pt x="387089" y="2518231"/>
                </a:lnTo>
                <a:lnTo>
                  <a:pt x="386275" y="2519588"/>
                </a:lnTo>
                <a:lnTo>
                  <a:pt x="386275" y="2522114"/>
                </a:lnTo>
                <a:close/>
                <a:moveTo>
                  <a:pt x="413857" y="2473303"/>
                </a:moveTo>
                <a:lnTo>
                  <a:pt x="412894" y="2473496"/>
                </a:lnTo>
                <a:lnTo>
                  <a:pt x="412698" y="2474279"/>
                </a:lnTo>
                <a:close/>
                <a:moveTo>
                  <a:pt x="382865" y="2471344"/>
                </a:moveTo>
                <a:lnTo>
                  <a:pt x="386118" y="2472428"/>
                </a:lnTo>
                <a:lnTo>
                  <a:pt x="386118" y="2472350"/>
                </a:lnTo>
                <a:lnTo>
                  <a:pt x="385111" y="2471344"/>
                </a:lnTo>
                <a:close/>
                <a:moveTo>
                  <a:pt x="440415" y="2457602"/>
                </a:moveTo>
                <a:lnTo>
                  <a:pt x="442427" y="2460618"/>
                </a:lnTo>
                <a:cubicBezTo>
                  <a:pt x="438069" y="2464976"/>
                  <a:pt x="438069" y="2469332"/>
                  <a:pt x="433711" y="2469332"/>
                </a:cubicBezTo>
                <a:lnTo>
                  <a:pt x="431196" y="2469835"/>
                </a:lnTo>
                <a:lnTo>
                  <a:pt x="432890" y="2470243"/>
                </a:lnTo>
                <a:lnTo>
                  <a:pt x="434382" y="2475170"/>
                </a:lnTo>
                <a:lnTo>
                  <a:pt x="434584" y="2475840"/>
                </a:lnTo>
                <a:lnTo>
                  <a:pt x="445107" y="2465687"/>
                </a:lnTo>
                <a:cubicBezTo>
                  <a:pt x="448325" y="2465143"/>
                  <a:pt x="451542" y="2467322"/>
                  <a:pt x="455832" y="2471680"/>
                </a:cubicBezTo>
                <a:lnTo>
                  <a:pt x="455832" y="2472683"/>
                </a:lnTo>
                <a:lnTo>
                  <a:pt x="456501" y="2471680"/>
                </a:lnTo>
                <a:lnTo>
                  <a:pt x="457844" y="2471008"/>
                </a:lnTo>
                <a:lnTo>
                  <a:pt x="455831" y="2471008"/>
                </a:lnTo>
                <a:lnTo>
                  <a:pt x="455831" y="2457602"/>
                </a:lnTo>
                <a:close/>
                <a:moveTo>
                  <a:pt x="11061478" y="2448265"/>
                </a:moveTo>
                <a:lnTo>
                  <a:pt x="11061064" y="2451197"/>
                </a:lnTo>
                <a:lnTo>
                  <a:pt x="11062253" y="2449557"/>
                </a:lnTo>
                <a:lnTo>
                  <a:pt x="11065388" y="2449815"/>
                </a:lnTo>
                <a:lnTo>
                  <a:pt x="11061986" y="2448265"/>
                </a:lnTo>
                <a:close/>
                <a:moveTo>
                  <a:pt x="503202" y="2425802"/>
                </a:moveTo>
                <a:lnTo>
                  <a:pt x="503087" y="2426150"/>
                </a:lnTo>
                <a:lnTo>
                  <a:pt x="503202" y="2426171"/>
                </a:lnTo>
                <a:close/>
                <a:moveTo>
                  <a:pt x="526777" y="2416158"/>
                </a:moveTo>
                <a:lnTo>
                  <a:pt x="525546" y="2422125"/>
                </a:lnTo>
                <a:lnTo>
                  <a:pt x="525674" y="2422125"/>
                </a:lnTo>
                <a:lnTo>
                  <a:pt x="526872" y="2416377"/>
                </a:lnTo>
                <a:close/>
                <a:moveTo>
                  <a:pt x="481161" y="2397915"/>
                </a:moveTo>
                <a:lnTo>
                  <a:pt x="478182" y="2401668"/>
                </a:lnTo>
                <a:lnTo>
                  <a:pt x="482109" y="2401293"/>
                </a:lnTo>
                <a:lnTo>
                  <a:pt x="482644" y="2404536"/>
                </a:lnTo>
                <a:lnTo>
                  <a:pt x="482644" y="2401293"/>
                </a:lnTo>
                <a:lnTo>
                  <a:pt x="483208" y="2401293"/>
                </a:lnTo>
                <a:lnTo>
                  <a:pt x="482082" y="2400538"/>
                </a:lnTo>
                <a:close/>
                <a:moveTo>
                  <a:pt x="10847305" y="2333498"/>
                </a:moveTo>
                <a:lnTo>
                  <a:pt x="10847308" y="2333562"/>
                </a:lnTo>
                <a:lnTo>
                  <a:pt x="10847382" y="2333535"/>
                </a:lnTo>
                <a:close/>
                <a:moveTo>
                  <a:pt x="11065417" y="2328394"/>
                </a:moveTo>
                <a:lnTo>
                  <a:pt x="11064864" y="2331872"/>
                </a:lnTo>
                <a:lnTo>
                  <a:pt x="11065940" y="2330377"/>
                </a:lnTo>
                <a:lnTo>
                  <a:pt x="11066707" y="2328620"/>
                </a:lnTo>
                <a:lnTo>
                  <a:pt x="11066428" y="2328895"/>
                </a:lnTo>
                <a:close/>
                <a:moveTo>
                  <a:pt x="440241" y="2327554"/>
                </a:moveTo>
                <a:lnTo>
                  <a:pt x="435064" y="2328573"/>
                </a:lnTo>
                <a:lnTo>
                  <a:pt x="435020" y="2328661"/>
                </a:lnTo>
                <a:lnTo>
                  <a:pt x="434704" y="2328644"/>
                </a:lnTo>
                <a:lnTo>
                  <a:pt x="433939" y="2328794"/>
                </a:lnTo>
                <a:lnTo>
                  <a:pt x="435380" y="2337276"/>
                </a:lnTo>
                <a:lnTo>
                  <a:pt x="438135" y="2329676"/>
                </a:lnTo>
                <a:lnTo>
                  <a:pt x="438907" y="2328897"/>
                </a:lnTo>
                <a:lnTo>
                  <a:pt x="434900" y="2328897"/>
                </a:lnTo>
                <a:lnTo>
                  <a:pt x="435020" y="2328661"/>
                </a:lnTo>
                <a:lnTo>
                  <a:pt x="438927" y="2328877"/>
                </a:lnTo>
                <a:close/>
                <a:moveTo>
                  <a:pt x="456437" y="2323247"/>
                </a:moveTo>
                <a:lnTo>
                  <a:pt x="456125" y="2323641"/>
                </a:lnTo>
                <a:lnTo>
                  <a:pt x="456327" y="2323703"/>
                </a:lnTo>
                <a:close/>
                <a:moveTo>
                  <a:pt x="11516742" y="2226347"/>
                </a:moveTo>
                <a:lnTo>
                  <a:pt x="11516742" y="2228013"/>
                </a:lnTo>
                <a:lnTo>
                  <a:pt x="11515329" y="2228790"/>
                </a:lnTo>
                <a:lnTo>
                  <a:pt x="11516788" y="2230166"/>
                </a:lnTo>
                <a:lnTo>
                  <a:pt x="11517075" y="2228883"/>
                </a:lnTo>
                <a:close/>
                <a:moveTo>
                  <a:pt x="10439906" y="2219132"/>
                </a:moveTo>
                <a:lnTo>
                  <a:pt x="10439166" y="2220044"/>
                </a:lnTo>
                <a:lnTo>
                  <a:pt x="10432795" y="2232826"/>
                </a:lnTo>
                <a:lnTo>
                  <a:pt x="10433479" y="2232369"/>
                </a:lnTo>
                <a:lnTo>
                  <a:pt x="10432812" y="2234402"/>
                </a:lnTo>
                <a:lnTo>
                  <a:pt x="10436193" y="2229881"/>
                </a:lnTo>
                <a:lnTo>
                  <a:pt x="10433479" y="2232369"/>
                </a:lnTo>
                <a:close/>
                <a:moveTo>
                  <a:pt x="11374235" y="2151423"/>
                </a:moveTo>
                <a:lnTo>
                  <a:pt x="11372843" y="2152920"/>
                </a:lnTo>
                <a:lnTo>
                  <a:pt x="11371681" y="2153148"/>
                </a:lnTo>
                <a:lnTo>
                  <a:pt x="11373775" y="2153884"/>
                </a:lnTo>
                <a:close/>
                <a:moveTo>
                  <a:pt x="580164" y="2082565"/>
                </a:moveTo>
                <a:lnTo>
                  <a:pt x="579522" y="2082702"/>
                </a:lnTo>
                <a:lnTo>
                  <a:pt x="579512" y="2082707"/>
                </a:lnTo>
                <a:lnTo>
                  <a:pt x="579882" y="2082972"/>
                </a:lnTo>
                <a:close/>
                <a:moveTo>
                  <a:pt x="11373929" y="2035554"/>
                </a:moveTo>
                <a:lnTo>
                  <a:pt x="11371948" y="2039525"/>
                </a:lnTo>
                <a:lnTo>
                  <a:pt x="11371723" y="2039751"/>
                </a:lnTo>
                <a:lnTo>
                  <a:pt x="11371370" y="2040440"/>
                </a:lnTo>
                <a:lnTo>
                  <a:pt x="11372843" y="2039310"/>
                </a:lnTo>
                <a:lnTo>
                  <a:pt x="11381628" y="2039310"/>
                </a:lnTo>
                <a:close/>
                <a:moveTo>
                  <a:pt x="262191" y="2035072"/>
                </a:moveTo>
                <a:lnTo>
                  <a:pt x="262191" y="2035768"/>
                </a:lnTo>
                <a:lnTo>
                  <a:pt x="263465" y="2038947"/>
                </a:lnTo>
                <a:lnTo>
                  <a:pt x="263465" y="2036437"/>
                </a:lnTo>
                <a:lnTo>
                  <a:pt x="265299" y="2035485"/>
                </a:lnTo>
                <a:close/>
                <a:moveTo>
                  <a:pt x="9832971" y="2034969"/>
                </a:moveTo>
                <a:lnTo>
                  <a:pt x="9825829" y="2041695"/>
                </a:lnTo>
                <a:lnTo>
                  <a:pt x="9831333" y="2039542"/>
                </a:lnTo>
                <a:close/>
                <a:moveTo>
                  <a:pt x="10125627" y="1913587"/>
                </a:moveTo>
                <a:lnTo>
                  <a:pt x="10123134" y="1915454"/>
                </a:lnTo>
                <a:lnTo>
                  <a:pt x="10119403" y="1921070"/>
                </a:lnTo>
                <a:lnTo>
                  <a:pt x="10116957" y="1923930"/>
                </a:lnTo>
                <a:lnTo>
                  <a:pt x="10113033" y="1929619"/>
                </a:lnTo>
                <a:lnTo>
                  <a:pt x="10123783" y="1916673"/>
                </a:lnTo>
                <a:close/>
                <a:moveTo>
                  <a:pt x="578479" y="1896101"/>
                </a:moveTo>
                <a:lnTo>
                  <a:pt x="574602" y="1898112"/>
                </a:lnTo>
                <a:lnTo>
                  <a:pt x="576913" y="1903723"/>
                </a:lnTo>
                <a:close/>
                <a:moveTo>
                  <a:pt x="1853246" y="1818997"/>
                </a:moveTo>
                <a:lnTo>
                  <a:pt x="1853246" y="1819739"/>
                </a:lnTo>
                <a:lnTo>
                  <a:pt x="1854165" y="1820615"/>
                </a:lnTo>
                <a:close/>
                <a:moveTo>
                  <a:pt x="11512844" y="1814760"/>
                </a:moveTo>
                <a:lnTo>
                  <a:pt x="11511827" y="1820172"/>
                </a:lnTo>
                <a:lnTo>
                  <a:pt x="11511744" y="1820458"/>
                </a:lnTo>
                <a:lnTo>
                  <a:pt x="11512354" y="1819930"/>
                </a:lnTo>
                <a:lnTo>
                  <a:pt x="11517599" y="1818738"/>
                </a:lnTo>
                <a:close/>
                <a:moveTo>
                  <a:pt x="11517607" y="1673589"/>
                </a:moveTo>
                <a:lnTo>
                  <a:pt x="11516536" y="1674649"/>
                </a:lnTo>
                <a:lnTo>
                  <a:pt x="11514915" y="1674649"/>
                </a:lnTo>
                <a:lnTo>
                  <a:pt x="11516220" y="1675379"/>
                </a:lnTo>
                <a:lnTo>
                  <a:pt x="11519619" y="1677075"/>
                </a:lnTo>
                <a:lnTo>
                  <a:pt x="11520394" y="1675475"/>
                </a:lnTo>
                <a:close/>
                <a:moveTo>
                  <a:pt x="11180501" y="1637210"/>
                </a:moveTo>
                <a:lnTo>
                  <a:pt x="11180354" y="1638835"/>
                </a:lnTo>
                <a:lnTo>
                  <a:pt x="11180501" y="1638835"/>
                </a:lnTo>
                <a:close/>
                <a:moveTo>
                  <a:pt x="864010" y="1529856"/>
                </a:moveTo>
                <a:lnTo>
                  <a:pt x="868758" y="1538164"/>
                </a:lnTo>
                <a:lnTo>
                  <a:pt x="868758" y="1529856"/>
                </a:lnTo>
                <a:lnTo>
                  <a:pt x="868668" y="1529856"/>
                </a:lnTo>
                <a:close/>
                <a:moveTo>
                  <a:pt x="1246335" y="1508405"/>
                </a:moveTo>
                <a:lnTo>
                  <a:pt x="1247536" y="1514937"/>
                </a:lnTo>
                <a:lnTo>
                  <a:pt x="1252610" y="1508405"/>
                </a:lnTo>
                <a:close/>
                <a:moveTo>
                  <a:pt x="573882" y="1455824"/>
                </a:moveTo>
                <a:lnTo>
                  <a:pt x="570707" y="1456466"/>
                </a:lnTo>
                <a:lnTo>
                  <a:pt x="574028" y="1457552"/>
                </a:lnTo>
                <a:close/>
                <a:moveTo>
                  <a:pt x="11447026" y="1384892"/>
                </a:moveTo>
                <a:lnTo>
                  <a:pt x="11446835" y="1385064"/>
                </a:lnTo>
                <a:lnTo>
                  <a:pt x="11445837" y="1385064"/>
                </a:lnTo>
                <a:lnTo>
                  <a:pt x="11447026" y="1387466"/>
                </a:lnTo>
                <a:close/>
                <a:moveTo>
                  <a:pt x="870459" y="1381340"/>
                </a:moveTo>
                <a:lnTo>
                  <a:pt x="867055" y="1384795"/>
                </a:lnTo>
                <a:lnTo>
                  <a:pt x="866832" y="1387458"/>
                </a:lnTo>
                <a:lnTo>
                  <a:pt x="868668" y="1384593"/>
                </a:lnTo>
                <a:close/>
                <a:moveTo>
                  <a:pt x="1061815" y="1335502"/>
                </a:moveTo>
                <a:lnTo>
                  <a:pt x="1061367" y="1335953"/>
                </a:lnTo>
                <a:lnTo>
                  <a:pt x="1053749" y="1338982"/>
                </a:lnTo>
                <a:lnTo>
                  <a:pt x="1054579" y="1344470"/>
                </a:lnTo>
                <a:lnTo>
                  <a:pt x="1060475" y="1337499"/>
                </a:lnTo>
                <a:lnTo>
                  <a:pt x="1061815" y="1336746"/>
                </a:lnTo>
                <a:close/>
                <a:moveTo>
                  <a:pt x="1063580" y="1264945"/>
                </a:moveTo>
                <a:lnTo>
                  <a:pt x="1062022" y="1265738"/>
                </a:lnTo>
                <a:lnTo>
                  <a:pt x="1062147" y="1266681"/>
                </a:lnTo>
                <a:close/>
                <a:moveTo>
                  <a:pt x="551907" y="1261181"/>
                </a:moveTo>
                <a:lnTo>
                  <a:pt x="550690" y="1261291"/>
                </a:lnTo>
                <a:lnTo>
                  <a:pt x="556369" y="1269294"/>
                </a:lnTo>
                <a:lnTo>
                  <a:pt x="556747" y="1267419"/>
                </a:lnTo>
                <a:lnTo>
                  <a:pt x="558511" y="1267002"/>
                </a:lnTo>
                <a:lnTo>
                  <a:pt x="557126" y="1266340"/>
                </a:lnTo>
                <a:close/>
                <a:moveTo>
                  <a:pt x="1777972" y="1221028"/>
                </a:moveTo>
                <a:lnTo>
                  <a:pt x="1777172" y="1221864"/>
                </a:lnTo>
                <a:lnTo>
                  <a:pt x="1778049" y="1221150"/>
                </a:lnTo>
                <a:close/>
                <a:moveTo>
                  <a:pt x="10891872" y="1137000"/>
                </a:moveTo>
                <a:lnTo>
                  <a:pt x="10890350" y="1142251"/>
                </a:lnTo>
                <a:lnTo>
                  <a:pt x="10890698" y="1143663"/>
                </a:lnTo>
                <a:lnTo>
                  <a:pt x="10894679" y="1139682"/>
                </a:lnTo>
                <a:close/>
                <a:moveTo>
                  <a:pt x="11495650" y="1125954"/>
                </a:moveTo>
                <a:lnTo>
                  <a:pt x="11496175" y="1127624"/>
                </a:lnTo>
                <a:lnTo>
                  <a:pt x="11496148" y="1125954"/>
                </a:lnTo>
                <a:close/>
                <a:moveTo>
                  <a:pt x="11709774" y="1121056"/>
                </a:moveTo>
                <a:lnTo>
                  <a:pt x="11709439" y="1122415"/>
                </a:lnTo>
                <a:lnTo>
                  <a:pt x="11709797" y="1122292"/>
                </a:lnTo>
                <a:lnTo>
                  <a:pt x="11709544" y="1123025"/>
                </a:lnTo>
                <a:lnTo>
                  <a:pt x="11710316" y="1122099"/>
                </a:lnTo>
                <a:lnTo>
                  <a:pt x="11711019" y="1121694"/>
                </a:lnTo>
                <a:close/>
                <a:moveTo>
                  <a:pt x="1536207" y="1096166"/>
                </a:moveTo>
                <a:lnTo>
                  <a:pt x="1536033" y="1096267"/>
                </a:lnTo>
                <a:lnTo>
                  <a:pt x="1536295" y="1096256"/>
                </a:lnTo>
                <a:close/>
                <a:moveTo>
                  <a:pt x="797530" y="1072923"/>
                </a:moveTo>
                <a:lnTo>
                  <a:pt x="797800" y="1073508"/>
                </a:lnTo>
                <a:lnTo>
                  <a:pt x="797937" y="1073335"/>
                </a:lnTo>
                <a:close/>
                <a:moveTo>
                  <a:pt x="11583001" y="1066768"/>
                </a:moveTo>
                <a:lnTo>
                  <a:pt x="11582652" y="1067672"/>
                </a:lnTo>
                <a:lnTo>
                  <a:pt x="11582909" y="1067719"/>
                </a:lnTo>
                <a:lnTo>
                  <a:pt x="11583106" y="1067748"/>
                </a:lnTo>
                <a:close/>
                <a:moveTo>
                  <a:pt x="11442720" y="1053344"/>
                </a:moveTo>
                <a:lnTo>
                  <a:pt x="11440315" y="1072378"/>
                </a:lnTo>
                <a:lnTo>
                  <a:pt x="11446083" y="1073334"/>
                </a:lnTo>
                <a:close/>
                <a:moveTo>
                  <a:pt x="888947" y="1024783"/>
                </a:moveTo>
                <a:lnTo>
                  <a:pt x="889254" y="1025236"/>
                </a:lnTo>
                <a:lnTo>
                  <a:pt x="889471" y="1024882"/>
                </a:lnTo>
                <a:close/>
                <a:moveTo>
                  <a:pt x="11269302" y="1013125"/>
                </a:moveTo>
                <a:lnTo>
                  <a:pt x="11276347" y="1030035"/>
                </a:lnTo>
                <a:lnTo>
                  <a:pt x="11276698" y="1029647"/>
                </a:lnTo>
                <a:lnTo>
                  <a:pt x="11280620" y="1021794"/>
                </a:lnTo>
                <a:close/>
                <a:moveTo>
                  <a:pt x="1517452" y="998261"/>
                </a:moveTo>
                <a:lnTo>
                  <a:pt x="1517140" y="998950"/>
                </a:lnTo>
                <a:lnTo>
                  <a:pt x="1515907" y="1000391"/>
                </a:lnTo>
                <a:lnTo>
                  <a:pt x="1516045" y="1000898"/>
                </a:lnTo>
                <a:lnTo>
                  <a:pt x="1517432" y="998831"/>
                </a:lnTo>
                <a:close/>
                <a:moveTo>
                  <a:pt x="11160690" y="880890"/>
                </a:moveTo>
                <a:lnTo>
                  <a:pt x="11160704" y="880971"/>
                </a:lnTo>
                <a:lnTo>
                  <a:pt x="11161112" y="880971"/>
                </a:lnTo>
                <a:close/>
                <a:moveTo>
                  <a:pt x="11181864" y="864042"/>
                </a:moveTo>
                <a:lnTo>
                  <a:pt x="11175991" y="880971"/>
                </a:lnTo>
                <a:lnTo>
                  <a:pt x="11178403" y="880971"/>
                </a:lnTo>
                <a:lnTo>
                  <a:pt x="11186056" y="888570"/>
                </a:lnTo>
                <a:lnTo>
                  <a:pt x="11188002" y="884111"/>
                </a:lnTo>
                <a:lnTo>
                  <a:pt x="11187666" y="883651"/>
                </a:lnTo>
                <a:cubicBezTo>
                  <a:pt x="11187666" y="883651"/>
                  <a:pt x="11178891" y="879182"/>
                  <a:pt x="11178891" y="879182"/>
                </a:cubicBezTo>
                <a:close/>
                <a:moveTo>
                  <a:pt x="892855" y="836588"/>
                </a:moveTo>
                <a:lnTo>
                  <a:pt x="892891" y="836808"/>
                </a:lnTo>
                <a:lnTo>
                  <a:pt x="892556" y="838510"/>
                </a:lnTo>
                <a:lnTo>
                  <a:pt x="893403" y="837032"/>
                </a:lnTo>
                <a:close/>
                <a:moveTo>
                  <a:pt x="11490245" y="780885"/>
                </a:moveTo>
                <a:lnTo>
                  <a:pt x="11487753" y="788675"/>
                </a:lnTo>
                <a:lnTo>
                  <a:pt x="11490707" y="789792"/>
                </a:lnTo>
                <a:lnTo>
                  <a:pt x="11490442" y="784024"/>
                </a:lnTo>
                <a:lnTo>
                  <a:pt x="11492197" y="783281"/>
                </a:lnTo>
                <a:lnTo>
                  <a:pt x="11490408" y="783281"/>
                </a:lnTo>
                <a:lnTo>
                  <a:pt x="11490442" y="784024"/>
                </a:lnTo>
                <a:lnTo>
                  <a:pt x="11490245" y="784106"/>
                </a:lnTo>
                <a:lnTo>
                  <a:pt x="11490245" y="783281"/>
                </a:lnTo>
                <a:lnTo>
                  <a:pt x="11489929" y="783281"/>
                </a:lnTo>
                <a:lnTo>
                  <a:pt x="11490245" y="781671"/>
                </a:lnTo>
                <a:close/>
                <a:moveTo>
                  <a:pt x="11490643" y="779637"/>
                </a:moveTo>
                <a:lnTo>
                  <a:pt x="11490290" y="780742"/>
                </a:lnTo>
                <a:lnTo>
                  <a:pt x="11490316" y="781306"/>
                </a:lnTo>
                <a:close/>
                <a:moveTo>
                  <a:pt x="1013290" y="754503"/>
                </a:moveTo>
                <a:lnTo>
                  <a:pt x="1013015" y="756325"/>
                </a:lnTo>
                <a:lnTo>
                  <a:pt x="1012968" y="756530"/>
                </a:lnTo>
                <a:lnTo>
                  <a:pt x="1014172" y="755568"/>
                </a:lnTo>
                <a:close/>
                <a:moveTo>
                  <a:pt x="11584464" y="710851"/>
                </a:moveTo>
                <a:lnTo>
                  <a:pt x="11587070" y="712476"/>
                </a:lnTo>
                <a:lnTo>
                  <a:pt x="11587192" y="711029"/>
                </a:lnTo>
                <a:close/>
                <a:moveTo>
                  <a:pt x="11688314" y="707544"/>
                </a:moveTo>
                <a:lnTo>
                  <a:pt x="11687860" y="708470"/>
                </a:lnTo>
                <a:lnTo>
                  <a:pt x="11687711" y="709380"/>
                </a:lnTo>
                <a:lnTo>
                  <a:pt x="11688990" y="709458"/>
                </a:lnTo>
                <a:close/>
                <a:moveTo>
                  <a:pt x="1999412" y="692378"/>
                </a:moveTo>
                <a:lnTo>
                  <a:pt x="1999626" y="694089"/>
                </a:lnTo>
                <a:lnTo>
                  <a:pt x="2002074" y="692912"/>
                </a:lnTo>
                <a:close/>
                <a:moveTo>
                  <a:pt x="1448682" y="615753"/>
                </a:moveTo>
                <a:lnTo>
                  <a:pt x="1448874" y="616166"/>
                </a:lnTo>
                <a:lnTo>
                  <a:pt x="1449428" y="616166"/>
                </a:lnTo>
                <a:close/>
                <a:moveTo>
                  <a:pt x="1494262" y="615652"/>
                </a:moveTo>
                <a:lnTo>
                  <a:pt x="1496444" y="616861"/>
                </a:lnTo>
                <a:lnTo>
                  <a:pt x="1497935" y="616718"/>
                </a:lnTo>
                <a:lnTo>
                  <a:pt x="1495763" y="615652"/>
                </a:lnTo>
                <a:close/>
                <a:moveTo>
                  <a:pt x="2192448" y="541683"/>
                </a:moveTo>
                <a:lnTo>
                  <a:pt x="2192448" y="544863"/>
                </a:lnTo>
                <a:lnTo>
                  <a:pt x="2192535" y="545235"/>
                </a:lnTo>
                <a:lnTo>
                  <a:pt x="2195083" y="544316"/>
                </a:lnTo>
                <a:close/>
                <a:moveTo>
                  <a:pt x="5932207" y="526076"/>
                </a:moveTo>
                <a:lnTo>
                  <a:pt x="5931838" y="526420"/>
                </a:lnTo>
                <a:lnTo>
                  <a:pt x="5931838" y="540439"/>
                </a:lnTo>
                <a:lnTo>
                  <a:pt x="5932207" y="540439"/>
                </a:lnTo>
                <a:close/>
                <a:moveTo>
                  <a:pt x="9745508" y="522164"/>
                </a:moveTo>
                <a:lnTo>
                  <a:pt x="9741647" y="522814"/>
                </a:lnTo>
                <a:lnTo>
                  <a:pt x="9741691" y="523113"/>
                </a:lnTo>
                <a:lnTo>
                  <a:pt x="9741685" y="523117"/>
                </a:lnTo>
                <a:close/>
                <a:moveTo>
                  <a:pt x="9304253" y="520125"/>
                </a:moveTo>
                <a:lnTo>
                  <a:pt x="9301000" y="522351"/>
                </a:lnTo>
                <a:lnTo>
                  <a:pt x="9307186" y="523400"/>
                </a:lnTo>
                <a:lnTo>
                  <a:pt x="9308163" y="524394"/>
                </a:lnTo>
                <a:lnTo>
                  <a:pt x="9308080" y="523981"/>
                </a:lnTo>
                <a:close/>
                <a:moveTo>
                  <a:pt x="9544722" y="496953"/>
                </a:moveTo>
                <a:lnTo>
                  <a:pt x="9545149" y="497952"/>
                </a:lnTo>
                <a:lnTo>
                  <a:pt x="9545143" y="498056"/>
                </a:lnTo>
                <a:lnTo>
                  <a:pt x="9545357" y="497697"/>
                </a:lnTo>
                <a:lnTo>
                  <a:pt x="9545906" y="496975"/>
                </a:lnTo>
                <a:close/>
                <a:moveTo>
                  <a:pt x="1951575" y="469023"/>
                </a:moveTo>
                <a:lnTo>
                  <a:pt x="1945498" y="472065"/>
                </a:lnTo>
                <a:lnTo>
                  <a:pt x="1951425" y="472065"/>
                </a:lnTo>
                <a:lnTo>
                  <a:pt x="1951575" y="470312"/>
                </a:lnTo>
                <a:close/>
                <a:moveTo>
                  <a:pt x="1639882" y="464002"/>
                </a:moveTo>
                <a:lnTo>
                  <a:pt x="1634702" y="470839"/>
                </a:lnTo>
                <a:lnTo>
                  <a:pt x="1632009" y="478899"/>
                </a:lnTo>
                <a:lnTo>
                  <a:pt x="1638304" y="476087"/>
                </a:lnTo>
                <a:lnTo>
                  <a:pt x="1638304" y="478842"/>
                </a:lnTo>
                <a:lnTo>
                  <a:pt x="1639684" y="476310"/>
                </a:lnTo>
                <a:lnTo>
                  <a:pt x="1638762" y="475776"/>
                </a:lnTo>
                <a:lnTo>
                  <a:pt x="1638977" y="473513"/>
                </a:lnTo>
                <a:lnTo>
                  <a:pt x="1636046" y="470583"/>
                </a:lnTo>
                <a:lnTo>
                  <a:pt x="1639194" y="471233"/>
                </a:lnTo>
                <a:close/>
                <a:moveTo>
                  <a:pt x="8906130" y="451199"/>
                </a:moveTo>
                <a:lnTo>
                  <a:pt x="8899536" y="457671"/>
                </a:lnTo>
                <a:lnTo>
                  <a:pt x="8899495" y="458582"/>
                </a:lnTo>
                <a:lnTo>
                  <a:pt x="8903223" y="454339"/>
                </a:lnTo>
                <a:lnTo>
                  <a:pt x="8906657" y="451299"/>
                </a:lnTo>
                <a:close/>
                <a:moveTo>
                  <a:pt x="2501951" y="422681"/>
                </a:moveTo>
                <a:lnTo>
                  <a:pt x="2501804" y="423823"/>
                </a:lnTo>
                <a:lnTo>
                  <a:pt x="2502241" y="423382"/>
                </a:lnTo>
                <a:close/>
                <a:moveTo>
                  <a:pt x="2769832" y="421860"/>
                </a:moveTo>
                <a:lnTo>
                  <a:pt x="2769832" y="422078"/>
                </a:lnTo>
                <a:lnTo>
                  <a:pt x="2769457" y="422703"/>
                </a:lnTo>
                <a:lnTo>
                  <a:pt x="2769474" y="422698"/>
                </a:lnTo>
                <a:lnTo>
                  <a:pt x="2770453" y="422217"/>
                </a:lnTo>
                <a:close/>
                <a:moveTo>
                  <a:pt x="7208837" y="419290"/>
                </a:moveTo>
                <a:lnTo>
                  <a:pt x="7208019" y="419530"/>
                </a:lnTo>
                <a:lnTo>
                  <a:pt x="7211299" y="426193"/>
                </a:lnTo>
                <a:lnTo>
                  <a:pt x="7212024" y="422507"/>
                </a:lnTo>
                <a:close/>
                <a:moveTo>
                  <a:pt x="4260661" y="396172"/>
                </a:moveTo>
                <a:lnTo>
                  <a:pt x="4260661" y="404681"/>
                </a:lnTo>
                <a:lnTo>
                  <a:pt x="4272748" y="396973"/>
                </a:lnTo>
                <a:close/>
                <a:moveTo>
                  <a:pt x="2674514" y="391911"/>
                </a:moveTo>
                <a:lnTo>
                  <a:pt x="2673303" y="392733"/>
                </a:lnTo>
                <a:lnTo>
                  <a:pt x="2673303" y="398059"/>
                </a:lnTo>
                <a:lnTo>
                  <a:pt x="2674514" y="396942"/>
                </a:lnTo>
                <a:close/>
                <a:moveTo>
                  <a:pt x="6315958" y="375089"/>
                </a:moveTo>
                <a:lnTo>
                  <a:pt x="6315735" y="376471"/>
                </a:lnTo>
                <a:lnTo>
                  <a:pt x="6317034" y="375089"/>
                </a:lnTo>
                <a:close/>
                <a:moveTo>
                  <a:pt x="4311805" y="369570"/>
                </a:moveTo>
                <a:lnTo>
                  <a:pt x="4309189" y="373899"/>
                </a:lnTo>
                <a:lnTo>
                  <a:pt x="4308944" y="374196"/>
                </a:lnTo>
                <a:lnTo>
                  <a:pt x="4312742" y="374196"/>
                </a:lnTo>
                <a:close/>
                <a:moveTo>
                  <a:pt x="3007558" y="351560"/>
                </a:moveTo>
                <a:lnTo>
                  <a:pt x="3007104" y="352899"/>
                </a:lnTo>
                <a:lnTo>
                  <a:pt x="3009722" y="353558"/>
                </a:lnTo>
                <a:close/>
                <a:moveTo>
                  <a:pt x="5305835" y="351560"/>
                </a:moveTo>
                <a:lnTo>
                  <a:pt x="5305381" y="352899"/>
                </a:lnTo>
                <a:lnTo>
                  <a:pt x="5307999" y="353558"/>
                </a:lnTo>
                <a:close/>
                <a:moveTo>
                  <a:pt x="5752296" y="350600"/>
                </a:moveTo>
                <a:lnTo>
                  <a:pt x="5722911" y="355834"/>
                </a:lnTo>
                <a:lnTo>
                  <a:pt x="5692272" y="368872"/>
                </a:lnTo>
                <a:lnTo>
                  <a:pt x="5692255" y="368906"/>
                </a:lnTo>
                <a:cubicBezTo>
                  <a:pt x="5683433" y="377723"/>
                  <a:pt x="5674612" y="386538"/>
                  <a:pt x="5665788" y="395353"/>
                </a:cubicBezTo>
                <a:lnTo>
                  <a:pt x="5665511" y="396343"/>
                </a:lnTo>
                <a:lnTo>
                  <a:pt x="5672046" y="409139"/>
                </a:lnTo>
                <a:lnTo>
                  <a:pt x="5750479" y="373576"/>
                </a:lnTo>
                <a:cubicBezTo>
                  <a:pt x="5750479" y="364776"/>
                  <a:pt x="5754838" y="355976"/>
                  <a:pt x="5750479" y="351575"/>
                </a:cubicBezTo>
                <a:close/>
                <a:moveTo>
                  <a:pt x="3153124" y="342577"/>
                </a:moveTo>
                <a:lnTo>
                  <a:pt x="3152929" y="342726"/>
                </a:lnTo>
                <a:lnTo>
                  <a:pt x="3153091" y="342739"/>
                </a:lnTo>
                <a:close/>
                <a:moveTo>
                  <a:pt x="5451401" y="342577"/>
                </a:moveTo>
                <a:lnTo>
                  <a:pt x="5451206" y="342726"/>
                </a:lnTo>
                <a:lnTo>
                  <a:pt x="5451369" y="342739"/>
                </a:lnTo>
                <a:close/>
                <a:moveTo>
                  <a:pt x="4335495" y="325648"/>
                </a:moveTo>
                <a:lnTo>
                  <a:pt x="4335736" y="329953"/>
                </a:lnTo>
                <a:lnTo>
                  <a:pt x="4335259" y="330740"/>
                </a:lnTo>
                <a:lnTo>
                  <a:pt x="4336290" y="330088"/>
                </a:lnTo>
                <a:lnTo>
                  <a:pt x="4340427" y="327141"/>
                </a:lnTo>
                <a:close/>
                <a:moveTo>
                  <a:pt x="3084284" y="268278"/>
                </a:moveTo>
                <a:lnTo>
                  <a:pt x="3080467" y="276708"/>
                </a:lnTo>
                <a:lnTo>
                  <a:pt x="3082082" y="277742"/>
                </a:lnTo>
                <a:lnTo>
                  <a:pt x="3087164" y="277044"/>
                </a:lnTo>
                <a:close/>
                <a:moveTo>
                  <a:pt x="5382561" y="268278"/>
                </a:moveTo>
                <a:lnTo>
                  <a:pt x="5378745" y="276708"/>
                </a:lnTo>
                <a:lnTo>
                  <a:pt x="5380359" y="277742"/>
                </a:lnTo>
                <a:lnTo>
                  <a:pt x="5385441" y="277044"/>
                </a:lnTo>
                <a:close/>
                <a:moveTo>
                  <a:pt x="2598226" y="132875"/>
                </a:moveTo>
                <a:cubicBezTo>
                  <a:pt x="2615777" y="132875"/>
                  <a:pt x="2628939" y="132875"/>
                  <a:pt x="2646490" y="132875"/>
                </a:cubicBezTo>
                <a:cubicBezTo>
                  <a:pt x="2637714" y="154660"/>
                  <a:pt x="2622357" y="167732"/>
                  <a:pt x="2604808" y="177536"/>
                </a:cubicBezTo>
                <a:lnTo>
                  <a:pt x="2558000" y="198918"/>
                </a:lnTo>
                <a:lnTo>
                  <a:pt x="2556218" y="201980"/>
                </a:lnTo>
                <a:cubicBezTo>
                  <a:pt x="2555100" y="203078"/>
                  <a:pt x="2553983" y="203078"/>
                  <a:pt x="2551749" y="203078"/>
                </a:cubicBezTo>
                <a:cubicBezTo>
                  <a:pt x="2533874" y="246954"/>
                  <a:pt x="2489183" y="255729"/>
                  <a:pt x="2453433" y="277667"/>
                </a:cubicBezTo>
                <a:cubicBezTo>
                  <a:pt x="2453433" y="260117"/>
                  <a:pt x="2453433" y="242566"/>
                  <a:pt x="2453433" y="229403"/>
                </a:cubicBezTo>
                <a:cubicBezTo>
                  <a:pt x="2462370" y="229403"/>
                  <a:pt x="2471308" y="229403"/>
                  <a:pt x="2480247" y="225015"/>
                </a:cubicBezTo>
                <a:lnTo>
                  <a:pt x="2549962" y="182235"/>
                </a:lnTo>
                <a:lnTo>
                  <a:pt x="2549962" y="180803"/>
                </a:lnTo>
                <a:cubicBezTo>
                  <a:pt x="2567512" y="163375"/>
                  <a:pt x="2580675" y="145946"/>
                  <a:pt x="2598226" y="132875"/>
                </a:cubicBezTo>
                <a:close/>
                <a:moveTo>
                  <a:pt x="4896503" y="132875"/>
                </a:moveTo>
                <a:cubicBezTo>
                  <a:pt x="4914054" y="132875"/>
                  <a:pt x="4927216" y="132875"/>
                  <a:pt x="4944767" y="132875"/>
                </a:cubicBezTo>
                <a:cubicBezTo>
                  <a:pt x="4935991" y="154660"/>
                  <a:pt x="4920634" y="167732"/>
                  <a:pt x="4903085" y="177536"/>
                </a:cubicBezTo>
                <a:lnTo>
                  <a:pt x="4856278" y="198918"/>
                </a:lnTo>
                <a:lnTo>
                  <a:pt x="4854496" y="201980"/>
                </a:lnTo>
                <a:cubicBezTo>
                  <a:pt x="4853377" y="203078"/>
                  <a:pt x="4852260" y="203078"/>
                  <a:pt x="4850026" y="203078"/>
                </a:cubicBezTo>
                <a:cubicBezTo>
                  <a:pt x="4832152" y="246954"/>
                  <a:pt x="4787460" y="255729"/>
                  <a:pt x="4751710" y="277667"/>
                </a:cubicBezTo>
                <a:cubicBezTo>
                  <a:pt x="4751710" y="260117"/>
                  <a:pt x="4751710" y="242566"/>
                  <a:pt x="4751710" y="229403"/>
                </a:cubicBezTo>
                <a:cubicBezTo>
                  <a:pt x="4760647" y="229403"/>
                  <a:pt x="4769585" y="229403"/>
                  <a:pt x="4778524" y="225015"/>
                </a:cubicBezTo>
                <a:lnTo>
                  <a:pt x="4848239" y="182235"/>
                </a:lnTo>
                <a:lnTo>
                  <a:pt x="4848239" y="180803"/>
                </a:lnTo>
                <a:cubicBezTo>
                  <a:pt x="4865790" y="163375"/>
                  <a:pt x="4878952" y="145946"/>
                  <a:pt x="4896503" y="132875"/>
                </a:cubicBezTo>
                <a:close/>
                <a:moveTo>
                  <a:pt x="5353337" y="559"/>
                </a:moveTo>
                <a:cubicBezTo>
                  <a:pt x="5392550" y="-3875"/>
                  <a:pt x="5423051" y="18297"/>
                  <a:pt x="5427409" y="58209"/>
                </a:cubicBezTo>
                <a:lnTo>
                  <a:pt x="5427403" y="58216"/>
                </a:lnTo>
                <a:lnTo>
                  <a:pt x="5428481" y="57797"/>
                </a:lnTo>
                <a:cubicBezTo>
                  <a:pt x="5459585" y="138238"/>
                  <a:pt x="5370716" y="98017"/>
                  <a:pt x="5357386" y="133768"/>
                </a:cubicBezTo>
                <a:lnTo>
                  <a:pt x="5356690" y="133069"/>
                </a:lnTo>
                <a:lnTo>
                  <a:pt x="5350514" y="159280"/>
                </a:lnTo>
                <a:cubicBezTo>
                  <a:pt x="5347252" y="168139"/>
                  <a:pt x="5341816" y="175891"/>
                  <a:pt x="5330939" y="180322"/>
                </a:cubicBezTo>
                <a:lnTo>
                  <a:pt x="5329956" y="181757"/>
                </a:lnTo>
                <a:lnTo>
                  <a:pt x="5331552" y="181139"/>
                </a:lnTo>
                <a:lnTo>
                  <a:pt x="5357218" y="224091"/>
                </a:lnTo>
                <a:lnTo>
                  <a:pt x="5400595" y="228446"/>
                </a:lnTo>
                <a:lnTo>
                  <a:pt x="5399490" y="230888"/>
                </a:lnTo>
                <a:lnTo>
                  <a:pt x="5401532" y="229074"/>
                </a:lnTo>
                <a:cubicBezTo>
                  <a:pt x="5467289" y="172165"/>
                  <a:pt x="5515511" y="88989"/>
                  <a:pt x="5633874" y="84611"/>
                </a:cubicBezTo>
                <a:cubicBezTo>
                  <a:pt x="5572501" y="141521"/>
                  <a:pt x="5524279" y="185298"/>
                  <a:pt x="5476057" y="229074"/>
                </a:cubicBezTo>
                <a:lnTo>
                  <a:pt x="5475966" y="229576"/>
                </a:lnTo>
                <a:lnTo>
                  <a:pt x="5476078" y="229403"/>
                </a:lnTo>
                <a:cubicBezTo>
                  <a:pt x="5484779" y="229403"/>
                  <a:pt x="5489130" y="229403"/>
                  <a:pt x="5497833" y="229403"/>
                </a:cubicBezTo>
                <a:lnTo>
                  <a:pt x="5498885" y="231871"/>
                </a:lnTo>
                <a:lnTo>
                  <a:pt x="5499268" y="229594"/>
                </a:lnTo>
                <a:cubicBezTo>
                  <a:pt x="5537590" y="225740"/>
                  <a:pt x="5589323" y="191532"/>
                  <a:pt x="5595789" y="247964"/>
                </a:cubicBezTo>
                <a:lnTo>
                  <a:pt x="5595628" y="276646"/>
                </a:lnTo>
                <a:lnTo>
                  <a:pt x="5617197" y="292185"/>
                </a:lnTo>
                <a:cubicBezTo>
                  <a:pt x="5629086" y="296938"/>
                  <a:pt x="5642060" y="297661"/>
                  <a:pt x="5654958" y="297608"/>
                </a:cubicBezTo>
                <a:lnTo>
                  <a:pt x="5690806" y="298353"/>
                </a:lnTo>
                <a:lnTo>
                  <a:pt x="5712927" y="282248"/>
                </a:lnTo>
                <a:cubicBezTo>
                  <a:pt x="5737890" y="276636"/>
                  <a:pt x="5767847" y="296592"/>
                  <a:pt x="5787820" y="276636"/>
                </a:cubicBezTo>
                <a:cubicBezTo>
                  <a:pt x="5793645" y="294929"/>
                  <a:pt x="5794945" y="308544"/>
                  <a:pt x="5793007" y="318798"/>
                </a:cubicBezTo>
                <a:lnTo>
                  <a:pt x="5779707" y="339343"/>
                </a:lnTo>
                <a:lnTo>
                  <a:pt x="5798409" y="347175"/>
                </a:lnTo>
                <a:cubicBezTo>
                  <a:pt x="5798409" y="364776"/>
                  <a:pt x="5798409" y="382376"/>
                  <a:pt x="5798409" y="395577"/>
                </a:cubicBezTo>
                <a:lnTo>
                  <a:pt x="5799751" y="400543"/>
                </a:lnTo>
                <a:lnTo>
                  <a:pt x="5799751" y="395263"/>
                </a:lnTo>
                <a:cubicBezTo>
                  <a:pt x="5834991" y="386453"/>
                  <a:pt x="5865826" y="377643"/>
                  <a:pt x="5896662" y="368833"/>
                </a:cubicBezTo>
                <a:lnTo>
                  <a:pt x="5896846" y="369355"/>
                </a:lnTo>
                <a:lnTo>
                  <a:pt x="5932028" y="339339"/>
                </a:lnTo>
                <a:cubicBezTo>
                  <a:pt x="5934263" y="356769"/>
                  <a:pt x="5938732" y="375287"/>
                  <a:pt x="5939291" y="393261"/>
                </a:cubicBezTo>
                <a:lnTo>
                  <a:pt x="5923950" y="441230"/>
                </a:lnTo>
                <a:lnTo>
                  <a:pt x="5926783" y="441230"/>
                </a:lnTo>
                <a:lnTo>
                  <a:pt x="5931129" y="445470"/>
                </a:lnTo>
                <a:lnTo>
                  <a:pt x="5928820" y="439523"/>
                </a:lnTo>
                <a:cubicBezTo>
                  <a:pt x="5931017" y="426360"/>
                  <a:pt x="5937609" y="416488"/>
                  <a:pt x="5946947" y="409358"/>
                </a:cubicBezTo>
                <a:lnTo>
                  <a:pt x="5979842" y="396324"/>
                </a:lnTo>
                <a:lnTo>
                  <a:pt x="5979766" y="396071"/>
                </a:lnTo>
                <a:cubicBezTo>
                  <a:pt x="5988505" y="387320"/>
                  <a:pt x="5997244" y="382945"/>
                  <a:pt x="6005983" y="374196"/>
                </a:cubicBezTo>
                <a:cubicBezTo>
                  <a:pt x="6036570" y="382945"/>
                  <a:pt x="6067156" y="387320"/>
                  <a:pt x="6097745" y="396071"/>
                </a:cubicBezTo>
                <a:lnTo>
                  <a:pt x="6097745" y="407260"/>
                </a:lnTo>
                <a:lnTo>
                  <a:pt x="6098559" y="406000"/>
                </a:lnTo>
                <a:lnTo>
                  <a:pt x="6098559" y="395539"/>
                </a:lnTo>
                <a:lnTo>
                  <a:pt x="6124709" y="347952"/>
                </a:lnTo>
                <a:lnTo>
                  <a:pt x="6124559" y="347871"/>
                </a:lnTo>
                <a:lnTo>
                  <a:pt x="6124987" y="347443"/>
                </a:lnTo>
                <a:lnTo>
                  <a:pt x="6125139" y="347166"/>
                </a:lnTo>
                <a:lnTo>
                  <a:pt x="6125269" y="347165"/>
                </a:lnTo>
                <a:lnTo>
                  <a:pt x="6146680" y="325932"/>
                </a:lnTo>
                <a:lnTo>
                  <a:pt x="6146999" y="325932"/>
                </a:lnTo>
                <a:lnTo>
                  <a:pt x="6146009" y="325232"/>
                </a:lnTo>
                <a:cubicBezTo>
                  <a:pt x="6176844" y="276502"/>
                  <a:pt x="6212084" y="245491"/>
                  <a:pt x="6269351" y="254352"/>
                </a:cubicBezTo>
                <a:lnTo>
                  <a:pt x="6269351" y="260531"/>
                </a:lnTo>
                <a:lnTo>
                  <a:pt x="6270080" y="255323"/>
                </a:lnTo>
                <a:cubicBezTo>
                  <a:pt x="6292019" y="232979"/>
                  <a:pt x="6318345" y="215102"/>
                  <a:pt x="6340284" y="197227"/>
                </a:cubicBezTo>
                <a:lnTo>
                  <a:pt x="6340409" y="197322"/>
                </a:lnTo>
                <a:lnTo>
                  <a:pt x="6365315" y="176506"/>
                </a:lnTo>
                <a:lnTo>
                  <a:pt x="6366459" y="176645"/>
                </a:lnTo>
                <a:lnTo>
                  <a:pt x="6414250" y="132875"/>
                </a:lnTo>
                <a:cubicBezTo>
                  <a:pt x="6475815" y="137305"/>
                  <a:pt x="6431841" y="181605"/>
                  <a:pt x="6436238" y="203755"/>
                </a:cubicBezTo>
                <a:lnTo>
                  <a:pt x="6436263" y="204809"/>
                </a:lnTo>
                <a:lnTo>
                  <a:pt x="6437543" y="203260"/>
                </a:lnTo>
                <a:lnTo>
                  <a:pt x="6529452" y="181195"/>
                </a:lnTo>
                <a:lnTo>
                  <a:pt x="6529440" y="181139"/>
                </a:lnTo>
                <a:cubicBezTo>
                  <a:pt x="6540240" y="166124"/>
                  <a:pt x="6551040" y="155398"/>
                  <a:pt x="6563459" y="150036"/>
                </a:cubicBezTo>
                <a:lnTo>
                  <a:pt x="6606136" y="151081"/>
                </a:lnTo>
                <a:lnTo>
                  <a:pt x="6607288" y="150353"/>
                </a:lnTo>
                <a:cubicBezTo>
                  <a:pt x="6642325" y="132875"/>
                  <a:pt x="6642325" y="163462"/>
                  <a:pt x="6655465" y="180940"/>
                </a:cubicBezTo>
                <a:lnTo>
                  <a:pt x="6655196" y="181208"/>
                </a:lnTo>
                <a:lnTo>
                  <a:pt x="6655799" y="181197"/>
                </a:lnTo>
                <a:cubicBezTo>
                  <a:pt x="6681942" y="163626"/>
                  <a:pt x="6703727" y="146053"/>
                  <a:pt x="6725514" y="132875"/>
                </a:cubicBezTo>
                <a:cubicBezTo>
                  <a:pt x="6764728" y="154839"/>
                  <a:pt x="6795229" y="181197"/>
                  <a:pt x="6799585" y="229518"/>
                </a:cubicBezTo>
                <a:lnTo>
                  <a:pt x="6799293" y="230405"/>
                </a:lnTo>
                <a:lnTo>
                  <a:pt x="6800592" y="229087"/>
                </a:lnTo>
                <a:cubicBezTo>
                  <a:pt x="6852877" y="202590"/>
                  <a:pt x="6865949" y="246753"/>
                  <a:pt x="6861593" y="277667"/>
                </a:cubicBezTo>
                <a:cubicBezTo>
                  <a:pt x="6861593" y="326248"/>
                  <a:pt x="6883378" y="326248"/>
                  <a:pt x="6918236" y="326248"/>
                </a:cubicBezTo>
                <a:lnTo>
                  <a:pt x="6917922" y="326536"/>
                </a:lnTo>
                <a:lnTo>
                  <a:pt x="6918846" y="326170"/>
                </a:lnTo>
                <a:cubicBezTo>
                  <a:pt x="6936360" y="308533"/>
                  <a:pt x="6953873" y="295304"/>
                  <a:pt x="6971387" y="282076"/>
                </a:cubicBezTo>
                <a:cubicBezTo>
                  <a:pt x="7007509" y="325067"/>
                  <a:pt x="7041168" y="313494"/>
                  <a:pt x="7076058" y="295718"/>
                </a:cubicBezTo>
                <a:lnTo>
                  <a:pt x="7111332" y="277750"/>
                </a:lnTo>
                <a:lnTo>
                  <a:pt x="7111293" y="277725"/>
                </a:lnTo>
                <a:cubicBezTo>
                  <a:pt x="7137618" y="246974"/>
                  <a:pt x="7168332" y="233796"/>
                  <a:pt x="7207821" y="229403"/>
                </a:cubicBezTo>
                <a:lnTo>
                  <a:pt x="7209115" y="231570"/>
                </a:lnTo>
                <a:lnTo>
                  <a:pt x="7209250" y="229224"/>
                </a:lnTo>
                <a:cubicBezTo>
                  <a:pt x="7273303" y="221784"/>
                  <a:pt x="7273611" y="252011"/>
                  <a:pt x="7269415" y="284593"/>
                </a:cubicBezTo>
                <a:lnTo>
                  <a:pt x="7266779" y="308716"/>
                </a:lnTo>
                <a:lnTo>
                  <a:pt x="7274524" y="305763"/>
                </a:lnTo>
                <a:cubicBezTo>
                  <a:pt x="7288972" y="302441"/>
                  <a:pt x="7303975" y="300780"/>
                  <a:pt x="7319256" y="299949"/>
                </a:cubicBezTo>
                <a:lnTo>
                  <a:pt x="7348573" y="299424"/>
                </a:lnTo>
                <a:lnTo>
                  <a:pt x="7369038" y="285711"/>
                </a:lnTo>
                <a:cubicBezTo>
                  <a:pt x="7369038" y="303229"/>
                  <a:pt x="7370127" y="318557"/>
                  <a:pt x="7371216" y="332791"/>
                </a:cubicBezTo>
                <a:lnTo>
                  <a:pt x="7373278" y="371133"/>
                </a:lnTo>
                <a:lnTo>
                  <a:pt x="7382262" y="367839"/>
                </a:lnTo>
                <a:lnTo>
                  <a:pt x="7400108" y="353123"/>
                </a:lnTo>
                <a:lnTo>
                  <a:pt x="7399804" y="351566"/>
                </a:lnTo>
                <a:cubicBezTo>
                  <a:pt x="7432786" y="319684"/>
                  <a:pt x="7452848" y="308690"/>
                  <a:pt x="7465285" y="309996"/>
                </a:cubicBezTo>
                <a:cubicBezTo>
                  <a:pt x="7472281" y="310731"/>
                  <a:pt x="7476863" y="315356"/>
                  <a:pt x="7479974" y="322345"/>
                </a:cubicBezTo>
                <a:lnTo>
                  <a:pt x="7481203" y="327908"/>
                </a:lnTo>
                <a:lnTo>
                  <a:pt x="7489079" y="332213"/>
                </a:lnTo>
                <a:cubicBezTo>
                  <a:pt x="7496059" y="337402"/>
                  <a:pt x="7502837" y="343409"/>
                  <a:pt x="7509343" y="348870"/>
                </a:cubicBezTo>
                <a:cubicBezTo>
                  <a:pt x="7508258" y="360887"/>
                  <a:pt x="7510969" y="371539"/>
                  <a:pt x="7515578" y="381507"/>
                </a:cubicBezTo>
                <a:lnTo>
                  <a:pt x="7532307" y="408600"/>
                </a:lnTo>
                <a:lnTo>
                  <a:pt x="7540308" y="402744"/>
                </a:lnTo>
                <a:cubicBezTo>
                  <a:pt x="7567122" y="389504"/>
                  <a:pt x="7593935" y="395206"/>
                  <a:pt x="7620748" y="418021"/>
                </a:cubicBezTo>
                <a:lnTo>
                  <a:pt x="7620228" y="418780"/>
                </a:lnTo>
                <a:lnTo>
                  <a:pt x="7667482" y="418780"/>
                </a:lnTo>
                <a:lnTo>
                  <a:pt x="7668025" y="418231"/>
                </a:lnTo>
                <a:cubicBezTo>
                  <a:pt x="7668025" y="387190"/>
                  <a:pt x="7663650" y="342844"/>
                  <a:pt x="7707398" y="338409"/>
                </a:cubicBezTo>
                <a:cubicBezTo>
                  <a:pt x="7727085" y="336193"/>
                  <a:pt x="7733647" y="345062"/>
                  <a:pt x="7735834" y="357257"/>
                </a:cubicBezTo>
                <a:lnTo>
                  <a:pt x="7738018" y="395976"/>
                </a:lnTo>
                <a:lnTo>
                  <a:pt x="7738961" y="395647"/>
                </a:lnTo>
                <a:cubicBezTo>
                  <a:pt x="7747820" y="413165"/>
                  <a:pt x="7756680" y="430682"/>
                  <a:pt x="7765541" y="448201"/>
                </a:cubicBezTo>
                <a:lnTo>
                  <a:pt x="7763702" y="449503"/>
                </a:lnTo>
                <a:lnTo>
                  <a:pt x="7764725" y="449334"/>
                </a:lnTo>
                <a:cubicBezTo>
                  <a:pt x="7769117" y="449334"/>
                  <a:pt x="7777898" y="449334"/>
                  <a:pt x="7786681" y="449334"/>
                </a:cubicBezTo>
                <a:cubicBezTo>
                  <a:pt x="7808637" y="444970"/>
                  <a:pt x="7826201" y="449334"/>
                  <a:pt x="7843767" y="462430"/>
                </a:cubicBezTo>
                <a:lnTo>
                  <a:pt x="7846066" y="465478"/>
                </a:lnTo>
                <a:lnTo>
                  <a:pt x="8048757" y="373576"/>
                </a:lnTo>
                <a:cubicBezTo>
                  <a:pt x="8048757" y="364776"/>
                  <a:pt x="8053115" y="355976"/>
                  <a:pt x="8048757" y="351575"/>
                </a:cubicBezTo>
                <a:cubicBezTo>
                  <a:pt x="8057472" y="342775"/>
                  <a:pt x="8066186" y="338375"/>
                  <a:pt x="8074356" y="337824"/>
                </a:cubicBezTo>
                <a:cubicBezTo>
                  <a:pt x="8082526" y="337275"/>
                  <a:pt x="8090150" y="340576"/>
                  <a:pt x="8096687" y="347175"/>
                </a:cubicBezTo>
                <a:cubicBezTo>
                  <a:pt x="8096687" y="364776"/>
                  <a:pt x="8096687" y="382376"/>
                  <a:pt x="8096687" y="395577"/>
                </a:cubicBezTo>
                <a:lnTo>
                  <a:pt x="8098028" y="400543"/>
                </a:lnTo>
                <a:lnTo>
                  <a:pt x="8098028" y="395263"/>
                </a:lnTo>
                <a:lnTo>
                  <a:pt x="8178991" y="373183"/>
                </a:lnTo>
                <a:lnTo>
                  <a:pt x="8183265" y="368833"/>
                </a:lnTo>
                <a:lnTo>
                  <a:pt x="8186459" y="371146"/>
                </a:lnTo>
                <a:lnTo>
                  <a:pt x="8194940" y="368833"/>
                </a:lnTo>
                <a:lnTo>
                  <a:pt x="8195124" y="369355"/>
                </a:lnTo>
                <a:lnTo>
                  <a:pt x="8230306" y="339339"/>
                </a:lnTo>
                <a:cubicBezTo>
                  <a:pt x="8232540" y="356769"/>
                  <a:pt x="8237010" y="375287"/>
                  <a:pt x="8237569" y="393261"/>
                </a:cubicBezTo>
                <a:lnTo>
                  <a:pt x="8231321" y="412796"/>
                </a:lnTo>
                <a:lnTo>
                  <a:pt x="8242801" y="432204"/>
                </a:lnTo>
                <a:lnTo>
                  <a:pt x="8253081" y="514806"/>
                </a:lnTo>
                <a:lnTo>
                  <a:pt x="8254011" y="514997"/>
                </a:lnTo>
                <a:lnTo>
                  <a:pt x="8268851" y="535156"/>
                </a:lnTo>
                <a:lnTo>
                  <a:pt x="8279822" y="518120"/>
                </a:lnTo>
                <a:lnTo>
                  <a:pt x="8316235" y="500678"/>
                </a:lnTo>
                <a:lnTo>
                  <a:pt x="8324574" y="483696"/>
                </a:lnTo>
                <a:lnTo>
                  <a:pt x="8344435" y="468929"/>
                </a:lnTo>
                <a:lnTo>
                  <a:pt x="8353809" y="448033"/>
                </a:lnTo>
                <a:cubicBezTo>
                  <a:pt x="8362619" y="435880"/>
                  <a:pt x="8373631" y="425937"/>
                  <a:pt x="8386846" y="417098"/>
                </a:cubicBezTo>
                <a:lnTo>
                  <a:pt x="8388694" y="418604"/>
                </a:lnTo>
                <a:lnTo>
                  <a:pt x="8421292" y="368147"/>
                </a:lnTo>
                <a:cubicBezTo>
                  <a:pt x="8434901" y="356218"/>
                  <a:pt x="8450882" y="350087"/>
                  <a:pt x="8468550" y="351838"/>
                </a:cubicBezTo>
                <a:cubicBezTo>
                  <a:pt x="8480327" y="353007"/>
                  <a:pt x="8492855" y="357679"/>
                  <a:pt x="8505926" y="366474"/>
                </a:cubicBezTo>
                <a:cubicBezTo>
                  <a:pt x="8553856" y="401653"/>
                  <a:pt x="8523356" y="445627"/>
                  <a:pt x="8501569" y="485203"/>
                </a:cubicBezTo>
                <a:lnTo>
                  <a:pt x="8462500" y="542160"/>
                </a:lnTo>
                <a:lnTo>
                  <a:pt x="8487019" y="567033"/>
                </a:lnTo>
                <a:lnTo>
                  <a:pt x="8488254" y="568156"/>
                </a:lnTo>
                <a:lnTo>
                  <a:pt x="8488251" y="568148"/>
                </a:lnTo>
                <a:cubicBezTo>
                  <a:pt x="8494821" y="544115"/>
                  <a:pt x="8506864" y="527728"/>
                  <a:pt x="8522741" y="515712"/>
                </a:cubicBezTo>
                <a:lnTo>
                  <a:pt x="8579540" y="489805"/>
                </a:lnTo>
                <a:lnTo>
                  <a:pt x="8579774" y="488275"/>
                </a:lnTo>
                <a:cubicBezTo>
                  <a:pt x="8588713" y="483887"/>
                  <a:pt x="8597650" y="475113"/>
                  <a:pt x="8606588" y="470724"/>
                </a:cubicBezTo>
                <a:lnTo>
                  <a:pt x="8606699" y="471184"/>
                </a:lnTo>
                <a:lnTo>
                  <a:pt x="8606995" y="470409"/>
                </a:lnTo>
                <a:lnTo>
                  <a:pt x="8606995" y="444497"/>
                </a:lnTo>
                <a:cubicBezTo>
                  <a:pt x="8598220" y="444497"/>
                  <a:pt x="8589444" y="444497"/>
                  <a:pt x="8580670" y="444497"/>
                </a:cubicBezTo>
                <a:cubicBezTo>
                  <a:pt x="8593832" y="417851"/>
                  <a:pt x="8611383" y="395647"/>
                  <a:pt x="8642097" y="422293"/>
                </a:cubicBezTo>
                <a:cubicBezTo>
                  <a:pt x="8657453" y="435616"/>
                  <a:pt x="8671714" y="438947"/>
                  <a:pt x="8685424" y="437281"/>
                </a:cubicBezTo>
                <a:lnTo>
                  <a:pt x="8723665" y="422965"/>
                </a:lnTo>
                <a:lnTo>
                  <a:pt x="8723518" y="421889"/>
                </a:lnTo>
                <a:cubicBezTo>
                  <a:pt x="8723518" y="413103"/>
                  <a:pt x="8723518" y="404318"/>
                  <a:pt x="8723518" y="395532"/>
                </a:cubicBezTo>
                <a:cubicBezTo>
                  <a:pt x="8776213" y="417496"/>
                  <a:pt x="8811343" y="399925"/>
                  <a:pt x="8850863" y="364781"/>
                </a:cubicBezTo>
                <a:cubicBezTo>
                  <a:pt x="8890385" y="325246"/>
                  <a:pt x="8924415" y="308773"/>
                  <a:pt x="8951861" y="314813"/>
                </a:cubicBezTo>
                <a:cubicBezTo>
                  <a:pt x="8979306" y="320853"/>
                  <a:pt x="9000164" y="349408"/>
                  <a:pt x="9013338" y="399925"/>
                </a:cubicBezTo>
                <a:lnTo>
                  <a:pt x="9013117" y="401692"/>
                </a:lnTo>
                <a:lnTo>
                  <a:pt x="9013833" y="401269"/>
                </a:lnTo>
                <a:cubicBezTo>
                  <a:pt x="9035841" y="383624"/>
                  <a:pt x="9057848" y="370390"/>
                  <a:pt x="9084257" y="352745"/>
                </a:cubicBezTo>
                <a:lnTo>
                  <a:pt x="9086169" y="354108"/>
                </a:lnTo>
                <a:lnTo>
                  <a:pt x="9084762" y="351404"/>
                </a:lnTo>
                <a:cubicBezTo>
                  <a:pt x="9106637" y="355809"/>
                  <a:pt x="9141636" y="320569"/>
                  <a:pt x="9154759" y="360214"/>
                </a:cubicBezTo>
                <a:cubicBezTo>
                  <a:pt x="9161323" y="373429"/>
                  <a:pt x="9163510" y="388847"/>
                  <a:pt x="9160229" y="403715"/>
                </a:cubicBezTo>
                <a:lnTo>
                  <a:pt x="9133353" y="443224"/>
                </a:lnTo>
                <a:lnTo>
                  <a:pt x="9133109" y="443999"/>
                </a:lnTo>
                <a:lnTo>
                  <a:pt x="9133270" y="443911"/>
                </a:lnTo>
                <a:cubicBezTo>
                  <a:pt x="9142044" y="461511"/>
                  <a:pt x="9150819" y="474712"/>
                  <a:pt x="9159595" y="492312"/>
                </a:cubicBezTo>
                <a:lnTo>
                  <a:pt x="9160791" y="491913"/>
                </a:lnTo>
                <a:lnTo>
                  <a:pt x="9189405" y="449934"/>
                </a:lnTo>
                <a:cubicBezTo>
                  <a:pt x="9222209" y="424573"/>
                  <a:pt x="9263518" y="447855"/>
                  <a:pt x="9302398" y="471137"/>
                </a:cubicBezTo>
                <a:lnTo>
                  <a:pt x="9303161" y="475062"/>
                </a:lnTo>
                <a:lnTo>
                  <a:pt x="9303685" y="469876"/>
                </a:lnTo>
                <a:cubicBezTo>
                  <a:pt x="9330184" y="430503"/>
                  <a:pt x="9352265" y="434878"/>
                  <a:pt x="9374348" y="469876"/>
                </a:cubicBezTo>
                <a:lnTo>
                  <a:pt x="9372594" y="471319"/>
                </a:lnTo>
                <a:lnTo>
                  <a:pt x="9374155" y="470724"/>
                </a:lnTo>
                <a:lnTo>
                  <a:pt x="9400070" y="470724"/>
                </a:lnTo>
                <a:lnTo>
                  <a:pt x="9400110" y="470265"/>
                </a:lnTo>
                <a:cubicBezTo>
                  <a:pt x="9400110" y="435331"/>
                  <a:pt x="9382391" y="396030"/>
                  <a:pt x="9422260" y="374196"/>
                </a:cubicBezTo>
                <a:cubicBezTo>
                  <a:pt x="9439980" y="400396"/>
                  <a:pt x="9439980" y="430964"/>
                  <a:pt x="9470991" y="448431"/>
                </a:cubicBezTo>
                <a:lnTo>
                  <a:pt x="9471308" y="448796"/>
                </a:lnTo>
                <a:lnTo>
                  <a:pt x="9516963" y="436317"/>
                </a:lnTo>
                <a:lnTo>
                  <a:pt x="9517179" y="435101"/>
                </a:lnTo>
                <a:cubicBezTo>
                  <a:pt x="9512745" y="430696"/>
                  <a:pt x="9512745" y="430696"/>
                  <a:pt x="9512745" y="430696"/>
                </a:cubicBezTo>
                <a:lnTo>
                  <a:pt x="9513609" y="429392"/>
                </a:lnTo>
                <a:lnTo>
                  <a:pt x="9497228" y="393245"/>
                </a:lnTo>
                <a:lnTo>
                  <a:pt x="9496701" y="354079"/>
                </a:lnTo>
                <a:lnTo>
                  <a:pt x="9495007" y="352279"/>
                </a:lnTo>
                <a:cubicBezTo>
                  <a:pt x="9539461" y="299118"/>
                  <a:pt x="9601697" y="299118"/>
                  <a:pt x="9663933" y="299118"/>
                </a:cubicBezTo>
                <a:lnTo>
                  <a:pt x="9663933" y="373777"/>
                </a:lnTo>
                <a:lnTo>
                  <a:pt x="9664159" y="373845"/>
                </a:lnTo>
                <a:lnTo>
                  <a:pt x="9720199" y="353296"/>
                </a:lnTo>
                <a:lnTo>
                  <a:pt x="9720871" y="344501"/>
                </a:lnTo>
                <a:cubicBezTo>
                  <a:pt x="9736053" y="320469"/>
                  <a:pt x="9751233" y="316100"/>
                  <a:pt x="9765873" y="320469"/>
                </a:cubicBezTo>
                <a:cubicBezTo>
                  <a:pt x="9780511" y="324839"/>
                  <a:pt x="9794608" y="337948"/>
                  <a:pt x="9807621" y="348870"/>
                </a:cubicBezTo>
                <a:cubicBezTo>
                  <a:pt x="9805451" y="372904"/>
                  <a:pt x="9818464" y="391475"/>
                  <a:pt x="9831478" y="410046"/>
                </a:cubicBezTo>
                <a:lnTo>
                  <a:pt x="9854817" y="469898"/>
                </a:lnTo>
                <a:lnTo>
                  <a:pt x="9855648" y="469767"/>
                </a:lnTo>
                <a:cubicBezTo>
                  <a:pt x="9855648" y="478577"/>
                  <a:pt x="9855648" y="482982"/>
                  <a:pt x="9855648" y="491792"/>
                </a:cubicBezTo>
                <a:lnTo>
                  <a:pt x="9857683" y="492640"/>
                </a:lnTo>
                <a:lnTo>
                  <a:pt x="9880411" y="489390"/>
                </a:lnTo>
                <a:cubicBezTo>
                  <a:pt x="9898839" y="480161"/>
                  <a:pt x="9904509" y="455553"/>
                  <a:pt x="9917469" y="435866"/>
                </a:cubicBezTo>
                <a:cubicBezTo>
                  <a:pt x="9934749" y="470864"/>
                  <a:pt x="9930429" y="497114"/>
                  <a:pt x="9908829" y="518989"/>
                </a:cubicBezTo>
                <a:lnTo>
                  <a:pt x="9907816" y="518818"/>
                </a:lnTo>
                <a:lnTo>
                  <a:pt x="9903588" y="540191"/>
                </a:lnTo>
                <a:lnTo>
                  <a:pt x="9903633" y="540194"/>
                </a:lnTo>
                <a:cubicBezTo>
                  <a:pt x="9925642" y="570908"/>
                  <a:pt x="9952050" y="584070"/>
                  <a:pt x="9991665" y="566520"/>
                </a:cubicBezTo>
                <a:cubicBezTo>
                  <a:pt x="10031277" y="548971"/>
                  <a:pt x="10022475" y="579684"/>
                  <a:pt x="10022475" y="601621"/>
                </a:cubicBezTo>
                <a:lnTo>
                  <a:pt x="10020207" y="604030"/>
                </a:lnTo>
                <a:lnTo>
                  <a:pt x="10022713" y="603934"/>
                </a:lnTo>
                <a:cubicBezTo>
                  <a:pt x="10039255" y="594039"/>
                  <a:pt x="10060759" y="569303"/>
                  <a:pt x="10077922" y="572396"/>
                </a:cubicBezTo>
                <a:cubicBezTo>
                  <a:pt x="10083645" y="573426"/>
                  <a:pt x="10088882" y="577549"/>
                  <a:pt x="10093294" y="586344"/>
                </a:cubicBezTo>
                <a:cubicBezTo>
                  <a:pt x="10119761" y="639113"/>
                  <a:pt x="10066825" y="665497"/>
                  <a:pt x="10027124" y="691882"/>
                </a:cubicBezTo>
                <a:lnTo>
                  <a:pt x="10026908" y="691750"/>
                </a:lnTo>
                <a:lnTo>
                  <a:pt x="10026908" y="707681"/>
                </a:lnTo>
                <a:lnTo>
                  <a:pt x="10027298" y="708270"/>
                </a:lnTo>
                <a:lnTo>
                  <a:pt x="10081084" y="699035"/>
                </a:lnTo>
                <a:cubicBezTo>
                  <a:pt x="10132251" y="681327"/>
                  <a:pt x="10172854" y="642614"/>
                  <a:pt x="10215941" y="616257"/>
                </a:cubicBezTo>
                <a:lnTo>
                  <a:pt x="10218318" y="616715"/>
                </a:lnTo>
                <a:lnTo>
                  <a:pt x="10216289" y="614892"/>
                </a:lnTo>
                <a:cubicBezTo>
                  <a:pt x="10220664" y="579855"/>
                  <a:pt x="10233788" y="553578"/>
                  <a:pt x="10264411" y="540439"/>
                </a:cubicBezTo>
                <a:lnTo>
                  <a:pt x="10264559" y="540534"/>
                </a:lnTo>
                <a:lnTo>
                  <a:pt x="10276465" y="512994"/>
                </a:lnTo>
                <a:cubicBezTo>
                  <a:pt x="10290637" y="493824"/>
                  <a:pt x="10311397" y="498771"/>
                  <a:pt x="10336951" y="518559"/>
                </a:cubicBezTo>
                <a:lnTo>
                  <a:pt x="10336921" y="518664"/>
                </a:lnTo>
                <a:lnTo>
                  <a:pt x="10337743" y="518022"/>
                </a:lnTo>
                <a:cubicBezTo>
                  <a:pt x="10350851" y="518022"/>
                  <a:pt x="10368329" y="513626"/>
                  <a:pt x="10381439" y="513626"/>
                </a:cubicBezTo>
                <a:lnTo>
                  <a:pt x="10382938" y="514703"/>
                </a:lnTo>
                <a:lnTo>
                  <a:pt x="10400459" y="464043"/>
                </a:lnTo>
                <a:lnTo>
                  <a:pt x="10434679" y="418829"/>
                </a:lnTo>
                <a:lnTo>
                  <a:pt x="10433477" y="417751"/>
                </a:lnTo>
                <a:cubicBezTo>
                  <a:pt x="10446586" y="404409"/>
                  <a:pt x="10464064" y="386622"/>
                  <a:pt x="10481543" y="368833"/>
                </a:cubicBezTo>
                <a:cubicBezTo>
                  <a:pt x="10514315" y="384398"/>
                  <a:pt x="10531793" y="406634"/>
                  <a:pt x="10541079" y="432204"/>
                </a:cubicBezTo>
                <a:lnTo>
                  <a:pt x="10551359" y="514806"/>
                </a:lnTo>
                <a:lnTo>
                  <a:pt x="10552289" y="514997"/>
                </a:lnTo>
                <a:cubicBezTo>
                  <a:pt x="10560981" y="528280"/>
                  <a:pt x="10569671" y="537134"/>
                  <a:pt x="10578363" y="550416"/>
                </a:cubicBezTo>
                <a:lnTo>
                  <a:pt x="10578589" y="550552"/>
                </a:lnTo>
                <a:lnTo>
                  <a:pt x="10578270" y="549927"/>
                </a:lnTo>
                <a:cubicBezTo>
                  <a:pt x="10587146" y="541264"/>
                  <a:pt x="10596022" y="532600"/>
                  <a:pt x="10604897" y="519607"/>
                </a:cubicBezTo>
                <a:lnTo>
                  <a:pt x="10605215" y="519614"/>
                </a:lnTo>
                <a:lnTo>
                  <a:pt x="10622852" y="483696"/>
                </a:lnTo>
                <a:cubicBezTo>
                  <a:pt x="10645115" y="453792"/>
                  <a:pt x="10680244" y="442321"/>
                  <a:pt x="10722727" y="445598"/>
                </a:cubicBezTo>
                <a:cubicBezTo>
                  <a:pt x="10731442" y="454337"/>
                  <a:pt x="10735798" y="463076"/>
                  <a:pt x="10744513" y="471815"/>
                </a:cubicBezTo>
                <a:cubicBezTo>
                  <a:pt x="10740156" y="493663"/>
                  <a:pt x="10731442" y="515513"/>
                  <a:pt x="10727084" y="537360"/>
                </a:cubicBezTo>
                <a:cubicBezTo>
                  <a:pt x="10727084" y="537360"/>
                  <a:pt x="10724905" y="539544"/>
                  <a:pt x="10722727" y="541730"/>
                </a:cubicBezTo>
                <a:lnTo>
                  <a:pt x="10718749" y="545719"/>
                </a:lnTo>
                <a:lnTo>
                  <a:pt x="10718827" y="548217"/>
                </a:lnTo>
                <a:lnTo>
                  <a:pt x="10729219" y="537757"/>
                </a:lnTo>
                <a:cubicBezTo>
                  <a:pt x="10766361" y="550948"/>
                  <a:pt x="10774007" y="572936"/>
                  <a:pt x="10774007" y="597672"/>
                </a:cubicBezTo>
                <a:lnTo>
                  <a:pt x="10772948" y="671784"/>
                </a:lnTo>
                <a:lnTo>
                  <a:pt x="10792778" y="663781"/>
                </a:lnTo>
                <a:lnTo>
                  <a:pt x="10793984" y="664757"/>
                </a:lnTo>
                <a:lnTo>
                  <a:pt x="10824261" y="630914"/>
                </a:lnTo>
                <a:cubicBezTo>
                  <a:pt x="10836394" y="621601"/>
                  <a:pt x="10850728" y="615025"/>
                  <a:pt x="10868374" y="612835"/>
                </a:cubicBezTo>
                <a:lnTo>
                  <a:pt x="10884632" y="637064"/>
                </a:lnTo>
                <a:lnTo>
                  <a:pt x="10885256" y="636573"/>
                </a:lnTo>
                <a:lnTo>
                  <a:pt x="10867855" y="610718"/>
                </a:lnTo>
                <a:cubicBezTo>
                  <a:pt x="10889936" y="553845"/>
                  <a:pt x="10916435" y="571345"/>
                  <a:pt x="10942933" y="610718"/>
                </a:cubicBezTo>
                <a:lnTo>
                  <a:pt x="10939909" y="613257"/>
                </a:lnTo>
                <a:lnTo>
                  <a:pt x="10942788" y="612835"/>
                </a:lnTo>
                <a:cubicBezTo>
                  <a:pt x="10975398" y="642506"/>
                  <a:pt x="10954202" y="709264"/>
                  <a:pt x="10983755" y="742644"/>
                </a:cubicBezTo>
                <a:lnTo>
                  <a:pt x="11032943" y="761835"/>
                </a:lnTo>
                <a:lnTo>
                  <a:pt x="11035232" y="760310"/>
                </a:lnTo>
                <a:cubicBezTo>
                  <a:pt x="11056982" y="769096"/>
                  <a:pt x="11074380" y="781176"/>
                  <a:pt x="11086886" y="797100"/>
                </a:cubicBezTo>
                <a:lnTo>
                  <a:pt x="11109136" y="856838"/>
                </a:lnTo>
                <a:lnTo>
                  <a:pt x="11156674" y="856838"/>
                </a:lnTo>
                <a:lnTo>
                  <a:pt x="11156674" y="808574"/>
                </a:lnTo>
                <a:lnTo>
                  <a:pt x="11157907" y="810748"/>
                </a:lnTo>
                <a:lnTo>
                  <a:pt x="11157440" y="809702"/>
                </a:lnTo>
                <a:cubicBezTo>
                  <a:pt x="11159675" y="798766"/>
                  <a:pt x="11165261" y="792202"/>
                  <a:pt x="11172524" y="787827"/>
                </a:cubicBezTo>
                <a:lnTo>
                  <a:pt x="11197248" y="779222"/>
                </a:lnTo>
                <a:lnTo>
                  <a:pt x="11197248" y="761997"/>
                </a:lnTo>
                <a:lnTo>
                  <a:pt x="11198123" y="762019"/>
                </a:lnTo>
                <a:lnTo>
                  <a:pt x="11196601" y="761039"/>
                </a:lnTo>
                <a:cubicBezTo>
                  <a:pt x="11192174" y="752265"/>
                  <a:pt x="11187745" y="743489"/>
                  <a:pt x="11178891" y="739102"/>
                </a:cubicBezTo>
                <a:lnTo>
                  <a:pt x="11179335" y="738786"/>
                </a:lnTo>
                <a:lnTo>
                  <a:pt x="11178891" y="738859"/>
                </a:lnTo>
                <a:cubicBezTo>
                  <a:pt x="11196320" y="712939"/>
                  <a:pt x="11191963" y="661099"/>
                  <a:pt x="11248606" y="687019"/>
                </a:cubicBezTo>
                <a:lnTo>
                  <a:pt x="11248537" y="687379"/>
                </a:lnTo>
                <a:lnTo>
                  <a:pt x="11249729" y="686450"/>
                </a:lnTo>
                <a:lnTo>
                  <a:pt x="11250753" y="686029"/>
                </a:lnTo>
                <a:lnTo>
                  <a:pt x="11248606" y="685066"/>
                </a:lnTo>
                <a:cubicBezTo>
                  <a:pt x="11248606" y="632534"/>
                  <a:pt x="11314484" y="632534"/>
                  <a:pt x="11323268" y="588758"/>
                </a:cubicBezTo>
                <a:cubicBezTo>
                  <a:pt x="11349619" y="588758"/>
                  <a:pt x="11362795" y="562491"/>
                  <a:pt x="11380363" y="553735"/>
                </a:cubicBezTo>
                <a:cubicBezTo>
                  <a:pt x="11413302" y="536225"/>
                  <a:pt x="11444044" y="524186"/>
                  <a:pt x="11464906" y="530205"/>
                </a:cubicBezTo>
                <a:cubicBezTo>
                  <a:pt x="11485767" y="536225"/>
                  <a:pt x="11496746" y="560302"/>
                  <a:pt x="11490158" y="615024"/>
                </a:cubicBezTo>
                <a:lnTo>
                  <a:pt x="11487380" y="615946"/>
                </a:lnTo>
                <a:lnTo>
                  <a:pt x="11491091" y="615946"/>
                </a:lnTo>
                <a:cubicBezTo>
                  <a:pt x="11530249" y="615946"/>
                  <a:pt x="11525898" y="532396"/>
                  <a:pt x="11582459" y="563177"/>
                </a:cubicBezTo>
                <a:lnTo>
                  <a:pt x="11582914" y="563868"/>
                </a:lnTo>
                <a:lnTo>
                  <a:pt x="11582670" y="562412"/>
                </a:lnTo>
                <a:cubicBezTo>
                  <a:pt x="11591502" y="562412"/>
                  <a:pt x="11604751" y="562412"/>
                  <a:pt x="11613585" y="562412"/>
                </a:cubicBezTo>
                <a:lnTo>
                  <a:pt x="11613923" y="562422"/>
                </a:lnTo>
                <a:lnTo>
                  <a:pt x="11648600" y="543233"/>
                </a:lnTo>
                <a:cubicBezTo>
                  <a:pt x="11660744" y="540439"/>
                  <a:pt x="11672890" y="540439"/>
                  <a:pt x="11683930" y="540439"/>
                </a:cubicBezTo>
                <a:lnTo>
                  <a:pt x="11688238" y="562233"/>
                </a:lnTo>
                <a:lnTo>
                  <a:pt x="11688662" y="562412"/>
                </a:lnTo>
                <a:lnTo>
                  <a:pt x="11688336" y="562735"/>
                </a:lnTo>
                <a:lnTo>
                  <a:pt x="11688347" y="562784"/>
                </a:lnTo>
                <a:lnTo>
                  <a:pt x="11688279" y="562792"/>
                </a:lnTo>
                <a:lnTo>
                  <a:pt x="11684246" y="566805"/>
                </a:lnTo>
                <a:lnTo>
                  <a:pt x="11684335" y="567253"/>
                </a:lnTo>
                <a:lnTo>
                  <a:pt x="11731767" y="567253"/>
                </a:lnTo>
                <a:lnTo>
                  <a:pt x="11732143" y="567253"/>
                </a:lnTo>
                <a:lnTo>
                  <a:pt x="11732040" y="567695"/>
                </a:lnTo>
                <a:lnTo>
                  <a:pt x="11772312" y="632875"/>
                </a:lnTo>
                <a:cubicBezTo>
                  <a:pt x="11780421" y="655843"/>
                  <a:pt x="11779340" y="680998"/>
                  <a:pt x="11757715" y="711621"/>
                </a:cubicBezTo>
                <a:lnTo>
                  <a:pt x="11754270" y="713395"/>
                </a:lnTo>
                <a:lnTo>
                  <a:pt x="11758957" y="713679"/>
                </a:lnTo>
                <a:cubicBezTo>
                  <a:pt x="11763426" y="748186"/>
                  <a:pt x="11750018" y="778381"/>
                  <a:pt x="11732143" y="808576"/>
                </a:cubicBezTo>
                <a:lnTo>
                  <a:pt x="11729436" y="808576"/>
                </a:lnTo>
                <a:lnTo>
                  <a:pt x="11730927" y="809352"/>
                </a:lnTo>
                <a:cubicBezTo>
                  <a:pt x="11739722" y="813764"/>
                  <a:pt x="11748517" y="822586"/>
                  <a:pt x="11752913" y="831410"/>
                </a:cubicBezTo>
                <a:lnTo>
                  <a:pt x="11752331" y="834144"/>
                </a:lnTo>
                <a:lnTo>
                  <a:pt x="11754406" y="831825"/>
                </a:lnTo>
                <a:cubicBezTo>
                  <a:pt x="11763181" y="823083"/>
                  <a:pt x="11771957" y="814340"/>
                  <a:pt x="11780732" y="805598"/>
                </a:cubicBezTo>
                <a:lnTo>
                  <a:pt x="11782909" y="805564"/>
                </a:lnTo>
                <a:lnTo>
                  <a:pt x="11779514" y="803699"/>
                </a:lnTo>
                <a:cubicBezTo>
                  <a:pt x="11783872" y="786148"/>
                  <a:pt x="11783872" y="759821"/>
                  <a:pt x="11792585" y="751047"/>
                </a:cubicBezTo>
                <a:cubicBezTo>
                  <a:pt x="11823086" y="733496"/>
                  <a:pt x="11831800" y="772984"/>
                  <a:pt x="11849229" y="781760"/>
                </a:cubicBezTo>
                <a:lnTo>
                  <a:pt x="11848200" y="784041"/>
                </a:lnTo>
                <a:lnTo>
                  <a:pt x="11850234" y="782311"/>
                </a:lnTo>
                <a:cubicBezTo>
                  <a:pt x="11854590" y="773509"/>
                  <a:pt x="11854590" y="769109"/>
                  <a:pt x="11854590" y="760310"/>
                </a:cubicBezTo>
                <a:lnTo>
                  <a:pt x="11855980" y="762961"/>
                </a:lnTo>
                <a:lnTo>
                  <a:pt x="11855867" y="761179"/>
                </a:lnTo>
                <a:cubicBezTo>
                  <a:pt x="11860208" y="739438"/>
                  <a:pt x="11847183" y="709002"/>
                  <a:pt x="11877573" y="704654"/>
                </a:cubicBezTo>
                <a:cubicBezTo>
                  <a:pt x="11912303" y="695957"/>
                  <a:pt x="11912303" y="735091"/>
                  <a:pt x="11925327" y="756830"/>
                </a:cubicBezTo>
                <a:lnTo>
                  <a:pt x="11925004" y="759004"/>
                </a:lnTo>
                <a:lnTo>
                  <a:pt x="11948328" y="805007"/>
                </a:lnTo>
                <a:cubicBezTo>
                  <a:pt x="11950841" y="812193"/>
                  <a:pt x="11950422" y="818448"/>
                  <a:pt x="11943790" y="822907"/>
                </a:cubicBezTo>
                <a:lnTo>
                  <a:pt x="11904131" y="829656"/>
                </a:lnTo>
                <a:lnTo>
                  <a:pt x="11903621" y="830749"/>
                </a:lnTo>
                <a:cubicBezTo>
                  <a:pt x="11894938" y="839446"/>
                  <a:pt x="11890597" y="848141"/>
                  <a:pt x="11881913" y="856838"/>
                </a:cubicBezTo>
                <a:lnTo>
                  <a:pt x="11880645" y="854357"/>
                </a:lnTo>
                <a:lnTo>
                  <a:pt x="11880735" y="857113"/>
                </a:lnTo>
                <a:lnTo>
                  <a:pt x="11876389" y="927330"/>
                </a:lnTo>
                <a:lnTo>
                  <a:pt x="11876414" y="927342"/>
                </a:lnTo>
                <a:cubicBezTo>
                  <a:pt x="11898387" y="940591"/>
                  <a:pt x="11915964" y="975922"/>
                  <a:pt x="11951120" y="953841"/>
                </a:cubicBezTo>
                <a:cubicBezTo>
                  <a:pt x="11915964" y="1015668"/>
                  <a:pt x="11951120" y="1112828"/>
                  <a:pt x="11854441" y="1143743"/>
                </a:cubicBezTo>
                <a:lnTo>
                  <a:pt x="11854088" y="1143663"/>
                </a:lnTo>
                <a:lnTo>
                  <a:pt x="11828486" y="1217111"/>
                </a:lnTo>
                <a:lnTo>
                  <a:pt x="11827146" y="1216638"/>
                </a:lnTo>
                <a:lnTo>
                  <a:pt x="11827776" y="1217525"/>
                </a:lnTo>
                <a:lnTo>
                  <a:pt x="11805900" y="1288336"/>
                </a:lnTo>
                <a:lnTo>
                  <a:pt x="11806326" y="1288723"/>
                </a:lnTo>
                <a:cubicBezTo>
                  <a:pt x="11767111" y="1385101"/>
                  <a:pt x="11740968" y="1494620"/>
                  <a:pt x="11640753" y="1555953"/>
                </a:cubicBezTo>
                <a:lnTo>
                  <a:pt x="11639711" y="1556496"/>
                </a:lnTo>
                <a:lnTo>
                  <a:pt x="11640084" y="1556496"/>
                </a:lnTo>
                <a:cubicBezTo>
                  <a:pt x="11622702" y="1596198"/>
                  <a:pt x="11609665" y="1635899"/>
                  <a:pt x="11592283" y="1680012"/>
                </a:cubicBezTo>
                <a:lnTo>
                  <a:pt x="11590715" y="1680012"/>
                </a:lnTo>
                <a:lnTo>
                  <a:pt x="11590985" y="1708877"/>
                </a:lnTo>
                <a:cubicBezTo>
                  <a:pt x="11592632" y="1736375"/>
                  <a:pt x="11601691" y="1752791"/>
                  <a:pt x="11647805" y="1710109"/>
                </a:cubicBezTo>
                <a:cubicBezTo>
                  <a:pt x="11696114" y="1670709"/>
                  <a:pt x="11726858" y="1688221"/>
                  <a:pt x="11731250" y="1749508"/>
                </a:cubicBezTo>
                <a:cubicBezTo>
                  <a:pt x="11709291" y="1784530"/>
                  <a:pt x="11726858" y="1837063"/>
                  <a:pt x="11682940" y="1867707"/>
                </a:cubicBezTo>
                <a:lnTo>
                  <a:pt x="11682908" y="1867686"/>
                </a:lnTo>
                <a:lnTo>
                  <a:pt x="11639535" y="1915936"/>
                </a:lnTo>
                <a:lnTo>
                  <a:pt x="11640084" y="1916624"/>
                </a:lnTo>
                <a:cubicBezTo>
                  <a:pt x="11640084" y="1934151"/>
                  <a:pt x="11635671" y="1951676"/>
                  <a:pt x="11635671" y="1964822"/>
                </a:cubicBezTo>
                <a:lnTo>
                  <a:pt x="11635578" y="1965107"/>
                </a:lnTo>
                <a:lnTo>
                  <a:pt x="11655046" y="2018326"/>
                </a:lnTo>
                <a:cubicBezTo>
                  <a:pt x="11652179" y="2062134"/>
                  <a:pt x="11591590" y="2079410"/>
                  <a:pt x="11565390" y="2109027"/>
                </a:cubicBezTo>
                <a:lnTo>
                  <a:pt x="11565006" y="2108562"/>
                </a:lnTo>
                <a:lnTo>
                  <a:pt x="11565006" y="2110535"/>
                </a:lnTo>
                <a:cubicBezTo>
                  <a:pt x="11556426" y="2119585"/>
                  <a:pt x="11547846" y="2128635"/>
                  <a:pt x="11539266" y="2133160"/>
                </a:cubicBezTo>
                <a:lnTo>
                  <a:pt x="11539029" y="2132219"/>
                </a:lnTo>
                <a:lnTo>
                  <a:pt x="11538789" y="2132861"/>
                </a:lnTo>
                <a:lnTo>
                  <a:pt x="11538789" y="2158073"/>
                </a:lnTo>
                <a:lnTo>
                  <a:pt x="11538862" y="2158095"/>
                </a:lnTo>
                <a:cubicBezTo>
                  <a:pt x="11565005" y="2193489"/>
                  <a:pt x="11534504" y="2242155"/>
                  <a:pt x="11565005" y="2277549"/>
                </a:cubicBezTo>
                <a:cubicBezTo>
                  <a:pt x="11538862" y="2295246"/>
                  <a:pt x="11517075" y="2312943"/>
                  <a:pt x="11495290" y="2326215"/>
                </a:cubicBezTo>
                <a:lnTo>
                  <a:pt x="11495916" y="2323418"/>
                </a:lnTo>
                <a:lnTo>
                  <a:pt x="11494423" y="2325727"/>
                </a:lnTo>
                <a:cubicBezTo>
                  <a:pt x="11476916" y="2343278"/>
                  <a:pt x="11459408" y="2360828"/>
                  <a:pt x="11446277" y="2373991"/>
                </a:cubicBezTo>
                <a:cubicBezTo>
                  <a:pt x="11437525" y="2382767"/>
                  <a:pt x="11428770" y="2391542"/>
                  <a:pt x="11424393" y="2400318"/>
                </a:cubicBezTo>
                <a:lnTo>
                  <a:pt x="11418907" y="2403679"/>
                </a:lnTo>
                <a:lnTo>
                  <a:pt x="11427163" y="2400047"/>
                </a:lnTo>
                <a:cubicBezTo>
                  <a:pt x="11441574" y="2395601"/>
                  <a:pt x="11454475" y="2394096"/>
                  <a:pt x="11464906" y="2397105"/>
                </a:cubicBezTo>
                <a:cubicBezTo>
                  <a:pt x="11485767" y="2403125"/>
                  <a:pt x="11496746" y="2427202"/>
                  <a:pt x="11490158" y="2481924"/>
                </a:cubicBezTo>
                <a:lnTo>
                  <a:pt x="11487380" y="2482846"/>
                </a:lnTo>
                <a:lnTo>
                  <a:pt x="11491091" y="2482846"/>
                </a:lnTo>
                <a:cubicBezTo>
                  <a:pt x="11530249" y="2482846"/>
                  <a:pt x="11525898" y="2399296"/>
                  <a:pt x="11582459" y="2430077"/>
                </a:cubicBezTo>
                <a:lnTo>
                  <a:pt x="11582914" y="2430768"/>
                </a:lnTo>
                <a:lnTo>
                  <a:pt x="11582670" y="2429312"/>
                </a:lnTo>
                <a:cubicBezTo>
                  <a:pt x="11591502" y="2429312"/>
                  <a:pt x="11604751" y="2429312"/>
                  <a:pt x="11613585" y="2429312"/>
                </a:cubicBezTo>
                <a:lnTo>
                  <a:pt x="11613923" y="2429322"/>
                </a:lnTo>
                <a:lnTo>
                  <a:pt x="11648600" y="2410133"/>
                </a:lnTo>
                <a:cubicBezTo>
                  <a:pt x="11660744" y="2407339"/>
                  <a:pt x="11672890" y="2407339"/>
                  <a:pt x="11683930" y="2407339"/>
                </a:cubicBezTo>
                <a:lnTo>
                  <a:pt x="11688238" y="2429133"/>
                </a:lnTo>
                <a:lnTo>
                  <a:pt x="11688662" y="2429312"/>
                </a:lnTo>
                <a:lnTo>
                  <a:pt x="11688336" y="2429635"/>
                </a:lnTo>
                <a:lnTo>
                  <a:pt x="11688347" y="2429684"/>
                </a:lnTo>
                <a:lnTo>
                  <a:pt x="11688279" y="2429692"/>
                </a:lnTo>
                <a:lnTo>
                  <a:pt x="11684246" y="2433705"/>
                </a:lnTo>
                <a:lnTo>
                  <a:pt x="11684335" y="2434153"/>
                </a:lnTo>
                <a:lnTo>
                  <a:pt x="11731767" y="2434153"/>
                </a:lnTo>
                <a:lnTo>
                  <a:pt x="11732143" y="2434153"/>
                </a:lnTo>
                <a:lnTo>
                  <a:pt x="11732040" y="2434595"/>
                </a:lnTo>
                <a:lnTo>
                  <a:pt x="11772312" y="2499775"/>
                </a:lnTo>
                <a:cubicBezTo>
                  <a:pt x="11780421" y="2522743"/>
                  <a:pt x="11779340" y="2547898"/>
                  <a:pt x="11757715" y="2578521"/>
                </a:cubicBezTo>
                <a:lnTo>
                  <a:pt x="11754270" y="2580295"/>
                </a:lnTo>
                <a:lnTo>
                  <a:pt x="11758957" y="2580579"/>
                </a:lnTo>
                <a:cubicBezTo>
                  <a:pt x="11763426" y="2615086"/>
                  <a:pt x="11750018" y="2645281"/>
                  <a:pt x="11732143" y="2675476"/>
                </a:cubicBezTo>
                <a:lnTo>
                  <a:pt x="11729436" y="2675476"/>
                </a:lnTo>
                <a:lnTo>
                  <a:pt x="11730927" y="2676252"/>
                </a:lnTo>
                <a:cubicBezTo>
                  <a:pt x="11739722" y="2680664"/>
                  <a:pt x="11748517" y="2689486"/>
                  <a:pt x="11752913" y="2698310"/>
                </a:cubicBezTo>
                <a:lnTo>
                  <a:pt x="11752331" y="2701044"/>
                </a:lnTo>
                <a:lnTo>
                  <a:pt x="11754406" y="2698725"/>
                </a:lnTo>
                <a:cubicBezTo>
                  <a:pt x="11763181" y="2689983"/>
                  <a:pt x="11771957" y="2681240"/>
                  <a:pt x="11780732" y="2672498"/>
                </a:cubicBezTo>
                <a:lnTo>
                  <a:pt x="11782909" y="2672464"/>
                </a:lnTo>
                <a:lnTo>
                  <a:pt x="11779514" y="2670599"/>
                </a:lnTo>
                <a:cubicBezTo>
                  <a:pt x="11783872" y="2653048"/>
                  <a:pt x="11783872" y="2626721"/>
                  <a:pt x="11792585" y="2617947"/>
                </a:cubicBezTo>
                <a:cubicBezTo>
                  <a:pt x="11823086" y="2600396"/>
                  <a:pt x="11831800" y="2639884"/>
                  <a:pt x="11849229" y="2648660"/>
                </a:cubicBezTo>
                <a:lnTo>
                  <a:pt x="11848200" y="2650941"/>
                </a:lnTo>
                <a:lnTo>
                  <a:pt x="11850234" y="2649211"/>
                </a:lnTo>
                <a:cubicBezTo>
                  <a:pt x="11854590" y="2640409"/>
                  <a:pt x="11854590" y="2636009"/>
                  <a:pt x="11854590" y="2627210"/>
                </a:cubicBezTo>
                <a:lnTo>
                  <a:pt x="11855980" y="2629861"/>
                </a:lnTo>
                <a:lnTo>
                  <a:pt x="11855867" y="2628079"/>
                </a:lnTo>
                <a:cubicBezTo>
                  <a:pt x="11860208" y="2606338"/>
                  <a:pt x="11847183" y="2575902"/>
                  <a:pt x="11877573" y="2571554"/>
                </a:cubicBezTo>
                <a:cubicBezTo>
                  <a:pt x="11912303" y="2562857"/>
                  <a:pt x="11912303" y="2601991"/>
                  <a:pt x="11925327" y="2623730"/>
                </a:cubicBezTo>
                <a:lnTo>
                  <a:pt x="11925004" y="2625904"/>
                </a:lnTo>
                <a:lnTo>
                  <a:pt x="11948328" y="2671907"/>
                </a:lnTo>
                <a:cubicBezTo>
                  <a:pt x="11950841" y="2679093"/>
                  <a:pt x="11950422" y="2685348"/>
                  <a:pt x="11943790" y="2689807"/>
                </a:cubicBezTo>
                <a:lnTo>
                  <a:pt x="11904131" y="2696556"/>
                </a:lnTo>
                <a:lnTo>
                  <a:pt x="11903621" y="2697649"/>
                </a:lnTo>
                <a:cubicBezTo>
                  <a:pt x="11894938" y="2706346"/>
                  <a:pt x="11890597" y="2715041"/>
                  <a:pt x="11881913" y="2723738"/>
                </a:cubicBezTo>
                <a:lnTo>
                  <a:pt x="11880645" y="2721257"/>
                </a:lnTo>
                <a:lnTo>
                  <a:pt x="11880735" y="2724013"/>
                </a:lnTo>
                <a:lnTo>
                  <a:pt x="11876389" y="2794230"/>
                </a:lnTo>
                <a:lnTo>
                  <a:pt x="11876414" y="2794242"/>
                </a:lnTo>
                <a:cubicBezTo>
                  <a:pt x="11898387" y="2807491"/>
                  <a:pt x="11915964" y="2842822"/>
                  <a:pt x="11951120" y="2820741"/>
                </a:cubicBezTo>
                <a:cubicBezTo>
                  <a:pt x="11915964" y="2882568"/>
                  <a:pt x="11951120" y="2979728"/>
                  <a:pt x="11854441" y="3010643"/>
                </a:cubicBezTo>
                <a:lnTo>
                  <a:pt x="11854088" y="3010563"/>
                </a:lnTo>
                <a:lnTo>
                  <a:pt x="11828486" y="3084011"/>
                </a:lnTo>
                <a:lnTo>
                  <a:pt x="11827146" y="3083538"/>
                </a:lnTo>
                <a:lnTo>
                  <a:pt x="11827776" y="3084425"/>
                </a:lnTo>
                <a:lnTo>
                  <a:pt x="11805900" y="3155236"/>
                </a:lnTo>
                <a:lnTo>
                  <a:pt x="11806326" y="3155623"/>
                </a:lnTo>
                <a:cubicBezTo>
                  <a:pt x="11767111" y="3252001"/>
                  <a:pt x="11740968" y="3361520"/>
                  <a:pt x="11640753" y="3422852"/>
                </a:cubicBezTo>
                <a:lnTo>
                  <a:pt x="11639711" y="3423396"/>
                </a:lnTo>
                <a:lnTo>
                  <a:pt x="11640084" y="3423396"/>
                </a:lnTo>
                <a:cubicBezTo>
                  <a:pt x="11622702" y="3463097"/>
                  <a:pt x="11609665" y="3502799"/>
                  <a:pt x="11592283" y="3546912"/>
                </a:cubicBezTo>
                <a:lnTo>
                  <a:pt x="11590715" y="3546912"/>
                </a:lnTo>
                <a:lnTo>
                  <a:pt x="11590985" y="3575777"/>
                </a:lnTo>
                <a:cubicBezTo>
                  <a:pt x="11592632" y="3603275"/>
                  <a:pt x="11601691" y="3619691"/>
                  <a:pt x="11647805" y="3577009"/>
                </a:cubicBezTo>
                <a:cubicBezTo>
                  <a:pt x="11696114" y="3537609"/>
                  <a:pt x="11726858" y="3555120"/>
                  <a:pt x="11731250" y="3616407"/>
                </a:cubicBezTo>
                <a:cubicBezTo>
                  <a:pt x="11709291" y="3651429"/>
                  <a:pt x="11726858" y="3703962"/>
                  <a:pt x="11682940" y="3734606"/>
                </a:cubicBezTo>
                <a:lnTo>
                  <a:pt x="11682908" y="3734586"/>
                </a:lnTo>
                <a:lnTo>
                  <a:pt x="11639535" y="3782836"/>
                </a:lnTo>
                <a:lnTo>
                  <a:pt x="11640084" y="3783524"/>
                </a:lnTo>
                <a:cubicBezTo>
                  <a:pt x="11640084" y="3801051"/>
                  <a:pt x="11635671" y="3818576"/>
                  <a:pt x="11635671" y="3831722"/>
                </a:cubicBezTo>
                <a:lnTo>
                  <a:pt x="11635578" y="3832006"/>
                </a:lnTo>
                <a:lnTo>
                  <a:pt x="11655046" y="3885226"/>
                </a:lnTo>
                <a:cubicBezTo>
                  <a:pt x="11652179" y="3929034"/>
                  <a:pt x="11591590" y="3946310"/>
                  <a:pt x="11565390" y="3975927"/>
                </a:cubicBezTo>
                <a:lnTo>
                  <a:pt x="11565006" y="3975462"/>
                </a:lnTo>
                <a:lnTo>
                  <a:pt x="11565006" y="3977435"/>
                </a:lnTo>
                <a:lnTo>
                  <a:pt x="11554287" y="3986857"/>
                </a:lnTo>
                <a:lnTo>
                  <a:pt x="11563900" y="3985607"/>
                </a:lnTo>
                <a:cubicBezTo>
                  <a:pt x="11569271" y="3986268"/>
                  <a:pt x="11575389" y="3988330"/>
                  <a:pt x="11582459" y="3992177"/>
                </a:cubicBezTo>
                <a:lnTo>
                  <a:pt x="11582914" y="3992868"/>
                </a:lnTo>
                <a:lnTo>
                  <a:pt x="11582670" y="3991412"/>
                </a:lnTo>
                <a:cubicBezTo>
                  <a:pt x="11591502" y="3991412"/>
                  <a:pt x="11604751" y="3991412"/>
                  <a:pt x="11613585" y="3991412"/>
                </a:cubicBezTo>
                <a:lnTo>
                  <a:pt x="11613923" y="3991422"/>
                </a:lnTo>
                <a:lnTo>
                  <a:pt x="11648600" y="3972233"/>
                </a:lnTo>
                <a:cubicBezTo>
                  <a:pt x="11660744" y="3969439"/>
                  <a:pt x="11672890" y="3969439"/>
                  <a:pt x="11683930" y="3969439"/>
                </a:cubicBezTo>
                <a:lnTo>
                  <a:pt x="11688238" y="3991233"/>
                </a:lnTo>
                <a:lnTo>
                  <a:pt x="11688662" y="3991412"/>
                </a:lnTo>
                <a:lnTo>
                  <a:pt x="11688336" y="3991735"/>
                </a:lnTo>
                <a:lnTo>
                  <a:pt x="11688347" y="3991784"/>
                </a:lnTo>
                <a:lnTo>
                  <a:pt x="11688279" y="3991792"/>
                </a:lnTo>
                <a:lnTo>
                  <a:pt x="11684246" y="3995805"/>
                </a:lnTo>
                <a:lnTo>
                  <a:pt x="11684335" y="3996253"/>
                </a:lnTo>
                <a:lnTo>
                  <a:pt x="11731767" y="3996253"/>
                </a:lnTo>
                <a:lnTo>
                  <a:pt x="11732143" y="3996253"/>
                </a:lnTo>
                <a:lnTo>
                  <a:pt x="11732040" y="3996695"/>
                </a:lnTo>
                <a:lnTo>
                  <a:pt x="11772312" y="4061875"/>
                </a:lnTo>
                <a:cubicBezTo>
                  <a:pt x="11780421" y="4084843"/>
                  <a:pt x="11779340" y="4109998"/>
                  <a:pt x="11757715" y="4140621"/>
                </a:cubicBezTo>
                <a:lnTo>
                  <a:pt x="11754270" y="4142395"/>
                </a:lnTo>
                <a:lnTo>
                  <a:pt x="11758957" y="4142679"/>
                </a:lnTo>
                <a:cubicBezTo>
                  <a:pt x="11763426" y="4177186"/>
                  <a:pt x="11750018" y="4207381"/>
                  <a:pt x="11732143" y="4237576"/>
                </a:cubicBezTo>
                <a:lnTo>
                  <a:pt x="11729436" y="4237576"/>
                </a:lnTo>
                <a:lnTo>
                  <a:pt x="11730927" y="4238352"/>
                </a:lnTo>
                <a:cubicBezTo>
                  <a:pt x="11739722" y="4242764"/>
                  <a:pt x="11748517" y="4251586"/>
                  <a:pt x="11752913" y="4260410"/>
                </a:cubicBezTo>
                <a:lnTo>
                  <a:pt x="11752331" y="4263144"/>
                </a:lnTo>
                <a:lnTo>
                  <a:pt x="11754406" y="4260825"/>
                </a:lnTo>
                <a:cubicBezTo>
                  <a:pt x="11763181" y="4252083"/>
                  <a:pt x="11771957" y="4243340"/>
                  <a:pt x="11780732" y="4234598"/>
                </a:cubicBezTo>
                <a:lnTo>
                  <a:pt x="11782909" y="4234564"/>
                </a:lnTo>
                <a:lnTo>
                  <a:pt x="11779514" y="4232699"/>
                </a:lnTo>
                <a:cubicBezTo>
                  <a:pt x="11783872" y="4215148"/>
                  <a:pt x="11783872" y="4188821"/>
                  <a:pt x="11792585" y="4180047"/>
                </a:cubicBezTo>
                <a:cubicBezTo>
                  <a:pt x="11823086" y="4162496"/>
                  <a:pt x="11831800" y="4201984"/>
                  <a:pt x="11849229" y="4210760"/>
                </a:cubicBezTo>
                <a:lnTo>
                  <a:pt x="11848200" y="4213041"/>
                </a:lnTo>
                <a:lnTo>
                  <a:pt x="11850234" y="4211311"/>
                </a:lnTo>
                <a:cubicBezTo>
                  <a:pt x="11854590" y="4202509"/>
                  <a:pt x="11854590" y="4198109"/>
                  <a:pt x="11854590" y="4189310"/>
                </a:cubicBezTo>
                <a:lnTo>
                  <a:pt x="11855980" y="4191961"/>
                </a:lnTo>
                <a:lnTo>
                  <a:pt x="11855867" y="4190179"/>
                </a:lnTo>
                <a:cubicBezTo>
                  <a:pt x="11860208" y="4168438"/>
                  <a:pt x="11847183" y="4138002"/>
                  <a:pt x="11877573" y="4133654"/>
                </a:cubicBezTo>
                <a:cubicBezTo>
                  <a:pt x="11912303" y="4124957"/>
                  <a:pt x="11912303" y="4164091"/>
                  <a:pt x="11925327" y="4185830"/>
                </a:cubicBezTo>
                <a:lnTo>
                  <a:pt x="11925004" y="4188004"/>
                </a:lnTo>
                <a:lnTo>
                  <a:pt x="11948328" y="4234007"/>
                </a:lnTo>
                <a:cubicBezTo>
                  <a:pt x="11950841" y="4241193"/>
                  <a:pt x="11950422" y="4247448"/>
                  <a:pt x="11943790" y="4251907"/>
                </a:cubicBezTo>
                <a:lnTo>
                  <a:pt x="11904131" y="4258656"/>
                </a:lnTo>
                <a:lnTo>
                  <a:pt x="11903621" y="4259749"/>
                </a:lnTo>
                <a:cubicBezTo>
                  <a:pt x="11894938" y="4268446"/>
                  <a:pt x="11890597" y="4277141"/>
                  <a:pt x="11881913" y="4285838"/>
                </a:cubicBezTo>
                <a:lnTo>
                  <a:pt x="11880645" y="4283357"/>
                </a:lnTo>
                <a:lnTo>
                  <a:pt x="11880735" y="4286113"/>
                </a:lnTo>
                <a:lnTo>
                  <a:pt x="11876389" y="4356330"/>
                </a:lnTo>
                <a:lnTo>
                  <a:pt x="11876414" y="4356342"/>
                </a:lnTo>
                <a:cubicBezTo>
                  <a:pt x="11898387" y="4369591"/>
                  <a:pt x="11915964" y="4404922"/>
                  <a:pt x="11951120" y="4382841"/>
                </a:cubicBezTo>
                <a:cubicBezTo>
                  <a:pt x="11915964" y="4444668"/>
                  <a:pt x="11951120" y="4541828"/>
                  <a:pt x="11854441" y="4572743"/>
                </a:cubicBezTo>
                <a:lnTo>
                  <a:pt x="11854088" y="4572663"/>
                </a:lnTo>
                <a:lnTo>
                  <a:pt x="11828486" y="4646111"/>
                </a:lnTo>
                <a:lnTo>
                  <a:pt x="11827146" y="4645638"/>
                </a:lnTo>
                <a:lnTo>
                  <a:pt x="11827776" y="4646525"/>
                </a:lnTo>
                <a:lnTo>
                  <a:pt x="11805900" y="4717336"/>
                </a:lnTo>
                <a:lnTo>
                  <a:pt x="11806326" y="4717723"/>
                </a:lnTo>
                <a:cubicBezTo>
                  <a:pt x="11767111" y="4814101"/>
                  <a:pt x="11740968" y="4923620"/>
                  <a:pt x="11640753" y="4984952"/>
                </a:cubicBezTo>
                <a:lnTo>
                  <a:pt x="11639711" y="4985496"/>
                </a:lnTo>
                <a:lnTo>
                  <a:pt x="11640084" y="4985496"/>
                </a:lnTo>
                <a:cubicBezTo>
                  <a:pt x="11622702" y="5025197"/>
                  <a:pt x="11609665" y="5064899"/>
                  <a:pt x="11592283" y="5109012"/>
                </a:cubicBezTo>
                <a:lnTo>
                  <a:pt x="11590715" y="5109012"/>
                </a:lnTo>
                <a:lnTo>
                  <a:pt x="11590985" y="5137877"/>
                </a:lnTo>
                <a:cubicBezTo>
                  <a:pt x="11592632" y="5165375"/>
                  <a:pt x="11601691" y="5181791"/>
                  <a:pt x="11647805" y="5139109"/>
                </a:cubicBezTo>
                <a:cubicBezTo>
                  <a:pt x="11696114" y="5099709"/>
                  <a:pt x="11726858" y="5117220"/>
                  <a:pt x="11731250" y="5178507"/>
                </a:cubicBezTo>
                <a:cubicBezTo>
                  <a:pt x="11709291" y="5213529"/>
                  <a:pt x="11726858" y="5266062"/>
                  <a:pt x="11682940" y="5296706"/>
                </a:cubicBezTo>
                <a:lnTo>
                  <a:pt x="11682908" y="5296686"/>
                </a:lnTo>
                <a:lnTo>
                  <a:pt x="11639535" y="5344936"/>
                </a:lnTo>
                <a:lnTo>
                  <a:pt x="11640084" y="5345624"/>
                </a:lnTo>
                <a:cubicBezTo>
                  <a:pt x="11640084" y="5363151"/>
                  <a:pt x="11635671" y="5380676"/>
                  <a:pt x="11635671" y="5393822"/>
                </a:cubicBezTo>
                <a:lnTo>
                  <a:pt x="11635578" y="5394106"/>
                </a:lnTo>
                <a:lnTo>
                  <a:pt x="11655046" y="5447326"/>
                </a:lnTo>
                <a:cubicBezTo>
                  <a:pt x="11652179" y="5491134"/>
                  <a:pt x="11591590" y="5508410"/>
                  <a:pt x="11565390" y="5538027"/>
                </a:cubicBezTo>
                <a:lnTo>
                  <a:pt x="11565006" y="5537562"/>
                </a:lnTo>
                <a:lnTo>
                  <a:pt x="11565006" y="5539535"/>
                </a:lnTo>
                <a:cubicBezTo>
                  <a:pt x="11556426" y="5548585"/>
                  <a:pt x="11547846" y="5557635"/>
                  <a:pt x="11539266" y="5562160"/>
                </a:cubicBezTo>
                <a:lnTo>
                  <a:pt x="11539029" y="5561219"/>
                </a:lnTo>
                <a:lnTo>
                  <a:pt x="11538789" y="5561861"/>
                </a:lnTo>
                <a:lnTo>
                  <a:pt x="11538789" y="5587073"/>
                </a:lnTo>
                <a:lnTo>
                  <a:pt x="11538862" y="5587095"/>
                </a:lnTo>
                <a:cubicBezTo>
                  <a:pt x="11565005" y="5622489"/>
                  <a:pt x="11534504" y="5671155"/>
                  <a:pt x="11565005" y="5706549"/>
                </a:cubicBezTo>
                <a:cubicBezTo>
                  <a:pt x="11538862" y="5724246"/>
                  <a:pt x="11517075" y="5741943"/>
                  <a:pt x="11495290" y="5755215"/>
                </a:cubicBezTo>
                <a:lnTo>
                  <a:pt x="11495916" y="5752418"/>
                </a:lnTo>
                <a:lnTo>
                  <a:pt x="11494423" y="5754727"/>
                </a:lnTo>
                <a:cubicBezTo>
                  <a:pt x="11476916" y="5772278"/>
                  <a:pt x="11459408" y="5789828"/>
                  <a:pt x="11446277" y="5802991"/>
                </a:cubicBezTo>
                <a:cubicBezTo>
                  <a:pt x="11437525" y="5811767"/>
                  <a:pt x="11428770" y="5820542"/>
                  <a:pt x="11424393" y="5829318"/>
                </a:cubicBezTo>
                <a:cubicBezTo>
                  <a:pt x="11398131" y="5842481"/>
                  <a:pt x="11371870" y="5860031"/>
                  <a:pt x="11345609" y="5877582"/>
                </a:cubicBezTo>
                <a:lnTo>
                  <a:pt x="11344055" y="5878981"/>
                </a:lnTo>
                <a:lnTo>
                  <a:pt x="11345136" y="5878557"/>
                </a:lnTo>
                <a:cubicBezTo>
                  <a:pt x="11336387" y="5904298"/>
                  <a:pt x="11332012" y="5925749"/>
                  <a:pt x="11323261" y="5947199"/>
                </a:cubicBezTo>
                <a:lnTo>
                  <a:pt x="11321398" y="5948483"/>
                </a:lnTo>
                <a:lnTo>
                  <a:pt x="11323684" y="5948272"/>
                </a:lnTo>
                <a:lnTo>
                  <a:pt x="11323684" y="5973831"/>
                </a:lnTo>
                <a:lnTo>
                  <a:pt x="11324069" y="5973905"/>
                </a:lnTo>
                <a:cubicBezTo>
                  <a:pt x="11332879" y="5982699"/>
                  <a:pt x="11341689" y="5991494"/>
                  <a:pt x="11350499" y="5995892"/>
                </a:cubicBezTo>
                <a:cubicBezTo>
                  <a:pt x="11332879" y="6039867"/>
                  <a:pt x="11284422" y="6057456"/>
                  <a:pt x="11271207" y="6105827"/>
                </a:cubicBezTo>
                <a:cubicBezTo>
                  <a:pt x="11244777" y="6176185"/>
                  <a:pt x="11213942" y="6092635"/>
                  <a:pt x="11178700" y="6097032"/>
                </a:cubicBezTo>
                <a:lnTo>
                  <a:pt x="11178700" y="6096539"/>
                </a:lnTo>
                <a:lnTo>
                  <a:pt x="11111747" y="6158971"/>
                </a:lnTo>
                <a:cubicBezTo>
                  <a:pt x="11042412" y="6218546"/>
                  <a:pt x="10964460" y="6260747"/>
                  <a:pt x="10859432" y="6211099"/>
                </a:cubicBezTo>
                <a:cubicBezTo>
                  <a:pt x="10802542" y="6184620"/>
                  <a:pt x="10780662" y="6286121"/>
                  <a:pt x="10723772" y="6237578"/>
                </a:cubicBezTo>
                <a:lnTo>
                  <a:pt x="10724152" y="6234315"/>
                </a:lnTo>
                <a:lnTo>
                  <a:pt x="10723063" y="6237857"/>
                </a:lnTo>
                <a:cubicBezTo>
                  <a:pt x="10697322" y="6220428"/>
                  <a:pt x="10684451" y="6189927"/>
                  <a:pt x="10650130" y="6189927"/>
                </a:cubicBezTo>
                <a:cubicBezTo>
                  <a:pt x="10637259" y="6150713"/>
                  <a:pt x="10663001" y="6141999"/>
                  <a:pt x="10693032" y="6133284"/>
                </a:cubicBezTo>
                <a:lnTo>
                  <a:pt x="10708956" y="6138108"/>
                </a:lnTo>
                <a:lnTo>
                  <a:pt x="10742909" y="6100682"/>
                </a:lnTo>
                <a:lnTo>
                  <a:pt x="10793296" y="6072080"/>
                </a:lnTo>
                <a:lnTo>
                  <a:pt x="10793408" y="6071701"/>
                </a:lnTo>
                <a:lnTo>
                  <a:pt x="10793544" y="6071452"/>
                </a:lnTo>
                <a:lnTo>
                  <a:pt x="10793544" y="6050156"/>
                </a:lnTo>
                <a:lnTo>
                  <a:pt x="10723628" y="6045797"/>
                </a:lnTo>
                <a:lnTo>
                  <a:pt x="10706508" y="6071923"/>
                </a:lnTo>
                <a:cubicBezTo>
                  <a:pt x="10672795" y="6109274"/>
                  <a:pt x="10688632" y="5981078"/>
                  <a:pt x="10654079" y="6023015"/>
                </a:cubicBezTo>
                <a:lnTo>
                  <a:pt x="10653226" y="6022591"/>
                </a:lnTo>
                <a:lnTo>
                  <a:pt x="10627321" y="6081078"/>
                </a:lnTo>
                <a:cubicBezTo>
                  <a:pt x="10614585" y="6096598"/>
                  <a:pt x="10597971" y="6108793"/>
                  <a:pt x="10578037" y="6119880"/>
                </a:cubicBezTo>
                <a:lnTo>
                  <a:pt x="10556183" y="6098003"/>
                </a:lnTo>
                <a:lnTo>
                  <a:pt x="10524423" y="6110217"/>
                </a:lnTo>
                <a:cubicBezTo>
                  <a:pt x="10489829" y="6117365"/>
                  <a:pt x="10450293" y="6114097"/>
                  <a:pt x="10420643" y="6150044"/>
                </a:cubicBezTo>
                <a:cubicBezTo>
                  <a:pt x="10398679" y="6176187"/>
                  <a:pt x="10376714" y="6141331"/>
                  <a:pt x="10359141" y="6119543"/>
                </a:cubicBezTo>
                <a:lnTo>
                  <a:pt x="10358791" y="6118851"/>
                </a:lnTo>
                <a:lnTo>
                  <a:pt x="10331132" y="6100192"/>
                </a:lnTo>
                <a:cubicBezTo>
                  <a:pt x="10322873" y="6091441"/>
                  <a:pt x="10316265" y="6080505"/>
                  <a:pt x="10311860" y="6067381"/>
                </a:cubicBezTo>
                <a:lnTo>
                  <a:pt x="10311905" y="6067266"/>
                </a:lnTo>
                <a:lnTo>
                  <a:pt x="10264553" y="6071614"/>
                </a:lnTo>
                <a:lnTo>
                  <a:pt x="10264883" y="6066293"/>
                </a:lnTo>
                <a:lnTo>
                  <a:pt x="10264011" y="6070639"/>
                </a:lnTo>
                <a:cubicBezTo>
                  <a:pt x="10264011" y="6075027"/>
                  <a:pt x="10264011" y="6083802"/>
                  <a:pt x="10264011" y="6088190"/>
                </a:cubicBezTo>
                <a:lnTo>
                  <a:pt x="10261693" y="6090435"/>
                </a:lnTo>
                <a:lnTo>
                  <a:pt x="10272874" y="6091906"/>
                </a:lnTo>
                <a:cubicBezTo>
                  <a:pt x="10277252" y="6105116"/>
                  <a:pt x="10286005" y="6118326"/>
                  <a:pt x="10281628" y="6127131"/>
                </a:cubicBezTo>
                <a:cubicBezTo>
                  <a:pt x="10198475" y="6259222"/>
                  <a:pt x="10124075" y="6400121"/>
                  <a:pt x="9988405" y="6492584"/>
                </a:cubicBezTo>
                <a:cubicBezTo>
                  <a:pt x="9975276" y="6492584"/>
                  <a:pt x="9962147" y="6488181"/>
                  <a:pt x="9953395" y="6479376"/>
                </a:cubicBezTo>
                <a:cubicBezTo>
                  <a:pt x="9944642" y="6479376"/>
                  <a:pt x="9935887" y="6479376"/>
                  <a:pt x="9931511" y="6479376"/>
                </a:cubicBezTo>
                <a:lnTo>
                  <a:pt x="9930071" y="6477927"/>
                </a:lnTo>
                <a:lnTo>
                  <a:pt x="9929777" y="6479178"/>
                </a:lnTo>
                <a:lnTo>
                  <a:pt x="9883207" y="6479178"/>
                </a:lnTo>
                <a:lnTo>
                  <a:pt x="9883036" y="6479715"/>
                </a:lnTo>
                <a:cubicBezTo>
                  <a:pt x="9847489" y="6492815"/>
                  <a:pt x="9829717" y="6540850"/>
                  <a:pt x="9785281" y="6527750"/>
                </a:cubicBezTo>
                <a:lnTo>
                  <a:pt x="9785035" y="6527142"/>
                </a:lnTo>
                <a:lnTo>
                  <a:pt x="9734024" y="6501137"/>
                </a:lnTo>
                <a:lnTo>
                  <a:pt x="9733916" y="6501794"/>
                </a:lnTo>
                <a:cubicBezTo>
                  <a:pt x="9716397" y="6510655"/>
                  <a:pt x="9703259" y="6523946"/>
                  <a:pt x="9690121" y="6532805"/>
                </a:cubicBezTo>
                <a:lnTo>
                  <a:pt x="9687768" y="6531966"/>
                </a:lnTo>
                <a:lnTo>
                  <a:pt x="9662535" y="6574823"/>
                </a:lnTo>
                <a:lnTo>
                  <a:pt x="9663933" y="6576195"/>
                </a:lnTo>
                <a:cubicBezTo>
                  <a:pt x="9663933" y="6593745"/>
                  <a:pt x="9663933" y="6611296"/>
                  <a:pt x="9663933" y="6624459"/>
                </a:cubicBezTo>
                <a:cubicBezTo>
                  <a:pt x="9654994" y="6633233"/>
                  <a:pt x="9650525" y="6642010"/>
                  <a:pt x="9641587" y="6650784"/>
                </a:cubicBezTo>
                <a:cubicBezTo>
                  <a:pt x="9619243" y="6633233"/>
                  <a:pt x="9620359" y="6616780"/>
                  <a:pt x="9626505" y="6600875"/>
                </a:cubicBezTo>
                <a:lnTo>
                  <a:pt x="9641237" y="6555338"/>
                </a:lnTo>
                <a:lnTo>
                  <a:pt x="9640309" y="6553585"/>
                </a:lnTo>
                <a:lnTo>
                  <a:pt x="9597942" y="6553585"/>
                </a:lnTo>
                <a:lnTo>
                  <a:pt x="9596898" y="6554639"/>
                </a:lnTo>
                <a:cubicBezTo>
                  <a:pt x="9579023" y="6576664"/>
                  <a:pt x="9561146" y="6581069"/>
                  <a:pt x="9543271" y="6554639"/>
                </a:cubicBezTo>
                <a:lnTo>
                  <a:pt x="9543499" y="6554173"/>
                </a:lnTo>
                <a:lnTo>
                  <a:pt x="9517890" y="6549927"/>
                </a:lnTo>
                <a:lnTo>
                  <a:pt x="9521291" y="6556985"/>
                </a:lnTo>
                <a:cubicBezTo>
                  <a:pt x="9521822" y="6558086"/>
                  <a:pt x="9521822" y="6558086"/>
                  <a:pt x="9521822" y="6558086"/>
                </a:cubicBezTo>
                <a:cubicBezTo>
                  <a:pt x="9504839" y="6562491"/>
                  <a:pt x="9487857" y="6571302"/>
                  <a:pt x="9470875" y="6575707"/>
                </a:cubicBezTo>
                <a:lnTo>
                  <a:pt x="9470875" y="6529577"/>
                </a:lnTo>
                <a:lnTo>
                  <a:pt x="9470387" y="6529373"/>
                </a:lnTo>
                <a:cubicBezTo>
                  <a:pt x="9470387" y="6502989"/>
                  <a:pt x="9474775" y="6472206"/>
                  <a:pt x="9444063" y="6454616"/>
                </a:cubicBezTo>
                <a:lnTo>
                  <a:pt x="9445093" y="6454013"/>
                </a:lnTo>
                <a:lnTo>
                  <a:pt x="9443817" y="6454295"/>
                </a:lnTo>
                <a:cubicBezTo>
                  <a:pt x="9435041" y="6454295"/>
                  <a:pt x="9435041" y="6454295"/>
                  <a:pt x="9435041" y="6454295"/>
                </a:cubicBezTo>
                <a:lnTo>
                  <a:pt x="9426267" y="6458693"/>
                </a:lnTo>
                <a:lnTo>
                  <a:pt x="9425267" y="6458155"/>
                </a:lnTo>
                <a:lnTo>
                  <a:pt x="9425292" y="6458187"/>
                </a:lnTo>
                <a:cubicBezTo>
                  <a:pt x="9420904" y="6497487"/>
                  <a:pt x="9398965" y="6528055"/>
                  <a:pt x="9377028" y="6554256"/>
                </a:cubicBezTo>
                <a:lnTo>
                  <a:pt x="9376471" y="6553616"/>
                </a:lnTo>
                <a:lnTo>
                  <a:pt x="9377028" y="6555374"/>
                </a:lnTo>
                <a:cubicBezTo>
                  <a:pt x="9355089" y="6621290"/>
                  <a:pt x="9293662" y="6498246"/>
                  <a:pt x="9276112" y="6572952"/>
                </a:cubicBezTo>
                <a:cubicBezTo>
                  <a:pt x="9232235" y="6555374"/>
                  <a:pt x="9183971" y="6546584"/>
                  <a:pt x="9227847" y="6485063"/>
                </a:cubicBezTo>
                <a:lnTo>
                  <a:pt x="9231972" y="6483401"/>
                </a:lnTo>
                <a:lnTo>
                  <a:pt x="9229818" y="6483163"/>
                </a:lnTo>
                <a:cubicBezTo>
                  <a:pt x="9181466" y="6487529"/>
                  <a:pt x="9133114" y="6496263"/>
                  <a:pt x="9084762" y="6500629"/>
                </a:cubicBezTo>
                <a:lnTo>
                  <a:pt x="9084801" y="6500511"/>
                </a:lnTo>
                <a:lnTo>
                  <a:pt x="9083306" y="6502198"/>
                </a:lnTo>
                <a:cubicBezTo>
                  <a:pt x="9083306" y="6519725"/>
                  <a:pt x="9083306" y="6537252"/>
                  <a:pt x="9083306" y="6550398"/>
                </a:cubicBezTo>
                <a:cubicBezTo>
                  <a:pt x="9052740" y="6567925"/>
                  <a:pt x="9022172" y="6581069"/>
                  <a:pt x="9030906" y="6528489"/>
                </a:cubicBezTo>
                <a:cubicBezTo>
                  <a:pt x="9035272" y="6493435"/>
                  <a:pt x="9022172" y="6489054"/>
                  <a:pt x="8995971" y="6489054"/>
                </a:cubicBezTo>
                <a:lnTo>
                  <a:pt x="8995819" y="6488850"/>
                </a:lnTo>
                <a:lnTo>
                  <a:pt x="8952693" y="6509167"/>
                </a:lnTo>
                <a:cubicBezTo>
                  <a:pt x="8908422" y="6523350"/>
                  <a:pt x="8862296" y="6519115"/>
                  <a:pt x="8816172" y="6502181"/>
                </a:cubicBezTo>
                <a:cubicBezTo>
                  <a:pt x="8802992" y="6495406"/>
                  <a:pt x="8800797" y="6487503"/>
                  <a:pt x="8804090" y="6479601"/>
                </a:cubicBezTo>
                <a:lnTo>
                  <a:pt x="8824739" y="6457256"/>
                </a:lnTo>
                <a:lnTo>
                  <a:pt x="8824671" y="6457190"/>
                </a:lnTo>
                <a:lnTo>
                  <a:pt x="8864374" y="6402138"/>
                </a:lnTo>
                <a:lnTo>
                  <a:pt x="8864556" y="6400444"/>
                </a:lnTo>
                <a:lnTo>
                  <a:pt x="8868905" y="6361027"/>
                </a:lnTo>
                <a:lnTo>
                  <a:pt x="8839685" y="6382102"/>
                </a:lnTo>
                <a:cubicBezTo>
                  <a:pt x="8809396" y="6394243"/>
                  <a:pt x="8777985" y="6381342"/>
                  <a:pt x="8746227" y="6372254"/>
                </a:cubicBezTo>
                <a:lnTo>
                  <a:pt x="8703844" y="6364943"/>
                </a:lnTo>
                <a:lnTo>
                  <a:pt x="8629420" y="6440746"/>
                </a:lnTo>
                <a:cubicBezTo>
                  <a:pt x="8611870" y="6454153"/>
                  <a:pt x="8585544" y="6463090"/>
                  <a:pt x="8572382" y="6440746"/>
                </a:cubicBezTo>
                <a:cubicBezTo>
                  <a:pt x="8559219" y="6413932"/>
                  <a:pt x="8598707" y="6404994"/>
                  <a:pt x="8603095" y="6382650"/>
                </a:cubicBezTo>
                <a:lnTo>
                  <a:pt x="8603293" y="6382420"/>
                </a:lnTo>
                <a:lnTo>
                  <a:pt x="8602607" y="6382650"/>
                </a:lnTo>
                <a:lnTo>
                  <a:pt x="8580847" y="6334521"/>
                </a:lnTo>
                <a:lnTo>
                  <a:pt x="8536809" y="6360560"/>
                </a:lnTo>
                <a:lnTo>
                  <a:pt x="8534191" y="6361794"/>
                </a:lnTo>
                <a:lnTo>
                  <a:pt x="8506511" y="6409386"/>
                </a:lnTo>
                <a:cubicBezTo>
                  <a:pt x="8494108" y="6420977"/>
                  <a:pt x="8479012" y="6426497"/>
                  <a:pt x="8461758" y="6422082"/>
                </a:cubicBezTo>
                <a:cubicBezTo>
                  <a:pt x="8448817" y="6419875"/>
                  <a:pt x="8449896" y="6409936"/>
                  <a:pt x="8453669" y="6397792"/>
                </a:cubicBezTo>
                <a:lnTo>
                  <a:pt x="8461530" y="6361307"/>
                </a:lnTo>
                <a:lnTo>
                  <a:pt x="8461471" y="6361275"/>
                </a:lnTo>
                <a:cubicBezTo>
                  <a:pt x="8459277" y="6345722"/>
                  <a:pt x="8454889" y="6333504"/>
                  <a:pt x="8447211" y="6325172"/>
                </a:cubicBezTo>
                <a:lnTo>
                  <a:pt x="8413538" y="6312523"/>
                </a:lnTo>
                <a:lnTo>
                  <a:pt x="8387302" y="6334385"/>
                </a:lnTo>
                <a:lnTo>
                  <a:pt x="8386902" y="6333985"/>
                </a:lnTo>
                <a:lnTo>
                  <a:pt x="8386914" y="6334521"/>
                </a:lnTo>
                <a:cubicBezTo>
                  <a:pt x="8312594" y="6436277"/>
                  <a:pt x="8255760" y="6352217"/>
                  <a:pt x="8194556" y="6312399"/>
                </a:cubicBezTo>
                <a:lnTo>
                  <a:pt x="8194556" y="6311002"/>
                </a:lnTo>
                <a:lnTo>
                  <a:pt x="8193318" y="6312876"/>
                </a:lnTo>
                <a:cubicBezTo>
                  <a:pt x="8154335" y="6356595"/>
                  <a:pt x="8128346" y="6404683"/>
                  <a:pt x="8076369" y="6430914"/>
                </a:cubicBezTo>
                <a:lnTo>
                  <a:pt x="8076270" y="6430856"/>
                </a:lnTo>
                <a:lnTo>
                  <a:pt x="8076577" y="6431110"/>
                </a:lnTo>
                <a:cubicBezTo>
                  <a:pt x="8032525" y="6444256"/>
                  <a:pt x="8036930" y="6575707"/>
                  <a:pt x="7953235" y="6479308"/>
                </a:cubicBezTo>
                <a:lnTo>
                  <a:pt x="7953598" y="6478947"/>
                </a:lnTo>
                <a:lnTo>
                  <a:pt x="7883596" y="6409386"/>
                </a:lnTo>
                <a:lnTo>
                  <a:pt x="7862129" y="6405082"/>
                </a:lnTo>
                <a:lnTo>
                  <a:pt x="7861527" y="6404938"/>
                </a:lnTo>
                <a:lnTo>
                  <a:pt x="7862069" y="6405318"/>
                </a:lnTo>
                <a:cubicBezTo>
                  <a:pt x="7844404" y="6405318"/>
                  <a:pt x="7831155" y="6409707"/>
                  <a:pt x="7817906" y="6414094"/>
                </a:cubicBezTo>
                <a:lnTo>
                  <a:pt x="7815195" y="6412622"/>
                </a:lnTo>
                <a:lnTo>
                  <a:pt x="7816487" y="6414316"/>
                </a:lnTo>
                <a:cubicBezTo>
                  <a:pt x="7799138" y="6433851"/>
                  <a:pt x="7778535" y="6443619"/>
                  <a:pt x="7756305" y="6449045"/>
                </a:cubicBezTo>
                <a:lnTo>
                  <a:pt x="7738879" y="6451209"/>
                </a:lnTo>
                <a:lnTo>
                  <a:pt x="7690126" y="6492584"/>
                </a:lnTo>
                <a:cubicBezTo>
                  <a:pt x="7676997" y="6492584"/>
                  <a:pt x="7663868" y="6488181"/>
                  <a:pt x="7655116" y="6479376"/>
                </a:cubicBezTo>
                <a:cubicBezTo>
                  <a:pt x="7646363" y="6479376"/>
                  <a:pt x="7637608" y="6479376"/>
                  <a:pt x="7633232" y="6479376"/>
                </a:cubicBezTo>
                <a:lnTo>
                  <a:pt x="7631792" y="6477927"/>
                </a:lnTo>
                <a:lnTo>
                  <a:pt x="7631498" y="6479178"/>
                </a:lnTo>
                <a:lnTo>
                  <a:pt x="7584928" y="6479178"/>
                </a:lnTo>
                <a:lnTo>
                  <a:pt x="7584757" y="6479715"/>
                </a:lnTo>
                <a:cubicBezTo>
                  <a:pt x="7549210" y="6492815"/>
                  <a:pt x="7531438" y="6540850"/>
                  <a:pt x="7487002" y="6527750"/>
                </a:cubicBezTo>
                <a:lnTo>
                  <a:pt x="7486756" y="6527142"/>
                </a:lnTo>
                <a:lnTo>
                  <a:pt x="7435745" y="6501137"/>
                </a:lnTo>
                <a:lnTo>
                  <a:pt x="7435637" y="6501794"/>
                </a:lnTo>
                <a:cubicBezTo>
                  <a:pt x="7418118" y="6510655"/>
                  <a:pt x="7404980" y="6523946"/>
                  <a:pt x="7391842" y="6532805"/>
                </a:cubicBezTo>
                <a:lnTo>
                  <a:pt x="7389489" y="6531966"/>
                </a:lnTo>
                <a:lnTo>
                  <a:pt x="7364256" y="6574823"/>
                </a:lnTo>
                <a:lnTo>
                  <a:pt x="7365654" y="6576195"/>
                </a:lnTo>
                <a:cubicBezTo>
                  <a:pt x="7365654" y="6593745"/>
                  <a:pt x="7365654" y="6611296"/>
                  <a:pt x="7365654" y="6624459"/>
                </a:cubicBezTo>
                <a:cubicBezTo>
                  <a:pt x="7356715" y="6633233"/>
                  <a:pt x="7352246" y="6642010"/>
                  <a:pt x="7343308" y="6650784"/>
                </a:cubicBezTo>
                <a:cubicBezTo>
                  <a:pt x="7320964" y="6633233"/>
                  <a:pt x="7322080" y="6616780"/>
                  <a:pt x="7328226" y="6600875"/>
                </a:cubicBezTo>
                <a:lnTo>
                  <a:pt x="7342958" y="6555338"/>
                </a:lnTo>
                <a:lnTo>
                  <a:pt x="7342030" y="6553585"/>
                </a:lnTo>
                <a:lnTo>
                  <a:pt x="7299663" y="6553585"/>
                </a:lnTo>
                <a:lnTo>
                  <a:pt x="7298619" y="6554639"/>
                </a:lnTo>
                <a:cubicBezTo>
                  <a:pt x="7280744" y="6576664"/>
                  <a:pt x="7262867" y="6581069"/>
                  <a:pt x="7244992" y="6554639"/>
                </a:cubicBezTo>
                <a:lnTo>
                  <a:pt x="7245220" y="6554173"/>
                </a:lnTo>
                <a:lnTo>
                  <a:pt x="7219611" y="6549927"/>
                </a:lnTo>
                <a:lnTo>
                  <a:pt x="7223012" y="6556985"/>
                </a:lnTo>
                <a:cubicBezTo>
                  <a:pt x="7223543" y="6558086"/>
                  <a:pt x="7223543" y="6558086"/>
                  <a:pt x="7223543" y="6558086"/>
                </a:cubicBezTo>
                <a:cubicBezTo>
                  <a:pt x="7206560" y="6562491"/>
                  <a:pt x="7189578" y="6571302"/>
                  <a:pt x="7172596" y="6575707"/>
                </a:cubicBezTo>
                <a:lnTo>
                  <a:pt x="7172596" y="6529577"/>
                </a:lnTo>
                <a:lnTo>
                  <a:pt x="7172108" y="6529373"/>
                </a:lnTo>
                <a:cubicBezTo>
                  <a:pt x="7172108" y="6502989"/>
                  <a:pt x="7176496" y="6472206"/>
                  <a:pt x="7145784" y="6454616"/>
                </a:cubicBezTo>
                <a:lnTo>
                  <a:pt x="7146814" y="6454013"/>
                </a:lnTo>
                <a:lnTo>
                  <a:pt x="7145538" y="6454295"/>
                </a:lnTo>
                <a:cubicBezTo>
                  <a:pt x="7136762" y="6454295"/>
                  <a:pt x="7136762" y="6454295"/>
                  <a:pt x="7136762" y="6454295"/>
                </a:cubicBezTo>
                <a:lnTo>
                  <a:pt x="7127988" y="6458693"/>
                </a:lnTo>
                <a:lnTo>
                  <a:pt x="7126988" y="6458155"/>
                </a:lnTo>
                <a:lnTo>
                  <a:pt x="7127013" y="6458187"/>
                </a:lnTo>
                <a:cubicBezTo>
                  <a:pt x="7122625" y="6497487"/>
                  <a:pt x="7100686" y="6528055"/>
                  <a:pt x="7078749" y="6554256"/>
                </a:cubicBezTo>
                <a:lnTo>
                  <a:pt x="7078192" y="6553616"/>
                </a:lnTo>
                <a:lnTo>
                  <a:pt x="7078749" y="6555374"/>
                </a:lnTo>
                <a:cubicBezTo>
                  <a:pt x="7056810" y="6621290"/>
                  <a:pt x="6995383" y="6498246"/>
                  <a:pt x="6977833" y="6572952"/>
                </a:cubicBezTo>
                <a:cubicBezTo>
                  <a:pt x="6933956" y="6555374"/>
                  <a:pt x="6885692" y="6546584"/>
                  <a:pt x="6929568" y="6485063"/>
                </a:cubicBezTo>
                <a:lnTo>
                  <a:pt x="6933693" y="6483401"/>
                </a:lnTo>
                <a:lnTo>
                  <a:pt x="6931539" y="6483163"/>
                </a:lnTo>
                <a:cubicBezTo>
                  <a:pt x="6883187" y="6487529"/>
                  <a:pt x="6834835" y="6496263"/>
                  <a:pt x="6786483" y="6500629"/>
                </a:cubicBezTo>
                <a:lnTo>
                  <a:pt x="6786522" y="6500511"/>
                </a:lnTo>
                <a:lnTo>
                  <a:pt x="6785027" y="6502198"/>
                </a:lnTo>
                <a:cubicBezTo>
                  <a:pt x="6785027" y="6519725"/>
                  <a:pt x="6785027" y="6537252"/>
                  <a:pt x="6785027" y="6550398"/>
                </a:cubicBezTo>
                <a:cubicBezTo>
                  <a:pt x="6754461" y="6567925"/>
                  <a:pt x="6723893" y="6581069"/>
                  <a:pt x="6732627" y="6528489"/>
                </a:cubicBezTo>
                <a:lnTo>
                  <a:pt x="6732675" y="6513808"/>
                </a:lnTo>
                <a:lnTo>
                  <a:pt x="6723529" y="6517592"/>
                </a:lnTo>
                <a:cubicBezTo>
                  <a:pt x="6705103" y="6522347"/>
                  <a:pt x="6688327" y="6520309"/>
                  <a:pt x="6674302" y="6508759"/>
                </a:cubicBezTo>
                <a:lnTo>
                  <a:pt x="6669289" y="6502160"/>
                </a:lnTo>
                <a:lnTo>
                  <a:pt x="6654414" y="6509167"/>
                </a:lnTo>
                <a:cubicBezTo>
                  <a:pt x="6632279" y="6516259"/>
                  <a:pt x="6609679" y="6518746"/>
                  <a:pt x="6586849" y="6517343"/>
                </a:cubicBezTo>
                <a:lnTo>
                  <a:pt x="6540846" y="6507228"/>
                </a:lnTo>
                <a:lnTo>
                  <a:pt x="6490780" y="6529871"/>
                </a:lnTo>
                <a:cubicBezTo>
                  <a:pt x="6472798" y="6539456"/>
                  <a:pt x="6455436" y="6551232"/>
                  <a:pt x="6440003" y="6567663"/>
                </a:cubicBezTo>
                <a:cubicBezTo>
                  <a:pt x="6440003" y="6547946"/>
                  <a:pt x="6438901" y="6532609"/>
                  <a:pt x="6437798" y="6519465"/>
                </a:cubicBezTo>
                <a:lnTo>
                  <a:pt x="6435625" y="6484914"/>
                </a:lnTo>
                <a:lnTo>
                  <a:pt x="6414630" y="6505991"/>
                </a:lnTo>
                <a:lnTo>
                  <a:pt x="6411735" y="6474018"/>
                </a:lnTo>
                <a:lnTo>
                  <a:pt x="6411542" y="6474486"/>
                </a:lnTo>
                <a:cubicBezTo>
                  <a:pt x="6407283" y="6483424"/>
                  <a:pt x="6405154" y="6493479"/>
                  <a:pt x="6413670" y="6506885"/>
                </a:cubicBezTo>
                <a:lnTo>
                  <a:pt x="6392576" y="6529022"/>
                </a:lnTo>
                <a:lnTo>
                  <a:pt x="6392576" y="6574826"/>
                </a:lnTo>
                <a:cubicBezTo>
                  <a:pt x="6383949" y="6585175"/>
                  <a:pt x="6368852" y="6590622"/>
                  <a:pt x="6353754" y="6592801"/>
                </a:cubicBezTo>
                <a:cubicBezTo>
                  <a:pt x="6334343" y="6594980"/>
                  <a:pt x="6331109" y="6588443"/>
                  <a:pt x="6332725" y="6579728"/>
                </a:cubicBezTo>
                <a:lnTo>
                  <a:pt x="6340811" y="6553594"/>
                </a:lnTo>
                <a:lnTo>
                  <a:pt x="6340442" y="6553569"/>
                </a:lnTo>
                <a:cubicBezTo>
                  <a:pt x="6296237" y="6527366"/>
                  <a:pt x="6221087" y="6514266"/>
                  <a:pt x="6269712" y="6431297"/>
                </a:cubicBezTo>
                <a:lnTo>
                  <a:pt x="6270376" y="6430914"/>
                </a:lnTo>
                <a:lnTo>
                  <a:pt x="6269351" y="6430914"/>
                </a:lnTo>
                <a:lnTo>
                  <a:pt x="6269351" y="6409365"/>
                </a:lnTo>
                <a:lnTo>
                  <a:pt x="6268863" y="6409465"/>
                </a:lnTo>
                <a:cubicBezTo>
                  <a:pt x="6255700" y="6409465"/>
                  <a:pt x="6242537" y="6409465"/>
                  <a:pt x="6230471" y="6412257"/>
                </a:cubicBezTo>
                <a:lnTo>
                  <a:pt x="6199582" y="6431242"/>
                </a:lnTo>
                <a:lnTo>
                  <a:pt x="6199636" y="6431250"/>
                </a:lnTo>
                <a:cubicBezTo>
                  <a:pt x="6173493" y="6461749"/>
                  <a:pt x="6138635" y="6461749"/>
                  <a:pt x="6095063" y="6479178"/>
                </a:cubicBezTo>
                <a:cubicBezTo>
                  <a:pt x="6097242" y="6457393"/>
                  <a:pt x="6104866" y="6443232"/>
                  <a:pt x="6114669" y="6432883"/>
                </a:cubicBezTo>
                <a:lnTo>
                  <a:pt x="6146155" y="6410319"/>
                </a:lnTo>
                <a:lnTo>
                  <a:pt x="6146009" y="6409465"/>
                </a:lnTo>
                <a:lnTo>
                  <a:pt x="6155566" y="6396976"/>
                </a:lnTo>
                <a:lnTo>
                  <a:pt x="6163251" y="6361307"/>
                </a:lnTo>
                <a:lnTo>
                  <a:pt x="6163192" y="6361275"/>
                </a:lnTo>
                <a:lnTo>
                  <a:pt x="6150099" y="6328126"/>
                </a:lnTo>
                <a:lnTo>
                  <a:pt x="6138298" y="6340350"/>
                </a:lnTo>
                <a:cubicBezTo>
                  <a:pt x="6123630" y="6347990"/>
                  <a:pt x="6105720" y="6352533"/>
                  <a:pt x="6085956" y="6355836"/>
                </a:cubicBezTo>
                <a:lnTo>
                  <a:pt x="6086108" y="6337310"/>
                </a:lnTo>
                <a:lnTo>
                  <a:pt x="6061542" y="6364419"/>
                </a:lnTo>
                <a:cubicBezTo>
                  <a:pt x="6000038" y="6415954"/>
                  <a:pt x="5949831" y="6347240"/>
                  <a:pt x="5896277" y="6312399"/>
                </a:cubicBezTo>
                <a:lnTo>
                  <a:pt x="5896277" y="6311002"/>
                </a:lnTo>
                <a:lnTo>
                  <a:pt x="5895039" y="6312876"/>
                </a:lnTo>
                <a:lnTo>
                  <a:pt x="5886696" y="6323084"/>
                </a:lnTo>
                <a:lnTo>
                  <a:pt x="5884195" y="6338039"/>
                </a:lnTo>
                <a:lnTo>
                  <a:pt x="5875851" y="6336351"/>
                </a:lnTo>
                <a:lnTo>
                  <a:pt x="5841438" y="6378453"/>
                </a:lnTo>
                <a:cubicBezTo>
                  <a:pt x="5823570" y="6399219"/>
                  <a:pt x="5804079" y="6417799"/>
                  <a:pt x="5778090" y="6430914"/>
                </a:cubicBezTo>
                <a:lnTo>
                  <a:pt x="5777991" y="6430856"/>
                </a:lnTo>
                <a:lnTo>
                  <a:pt x="5778298" y="6431110"/>
                </a:lnTo>
                <a:cubicBezTo>
                  <a:pt x="5734246" y="6444256"/>
                  <a:pt x="5738651" y="6575707"/>
                  <a:pt x="5654957" y="6479308"/>
                </a:cubicBezTo>
                <a:lnTo>
                  <a:pt x="5655319" y="6478947"/>
                </a:lnTo>
                <a:lnTo>
                  <a:pt x="5585317" y="6409386"/>
                </a:lnTo>
                <a:lnTo>
                  <a:pt x="5563850" y="6405082"/>
                </a:lnTo>
                <a:lnTo>
                  <a:pt x="5563248" y="6404938"/>
                </a:lnTo>
                <a:lnTo>
                  <a:pt x="5563790" y="6405318"/>
                </a:lnTo>
                <a:cubicBezTo>
                  <a:pt x="5546125" y="6405318"/>
                  <a:pt x="5532876" y="6409707"/>
                  <a:pt x="5519628" y="6414094"/>
                </a:cubicBezTo>
                <a:lnTo>
                  <a:pt x="5516917" y="6412622"/>
                </a:lnTo>
                <a:lnTo>
                  <a:pt x="5518208" y="6414316"/>
                </a:lnTo>
                <a:cubicBezTo>
                  <a:pt x="5483509" y="6453386"/>
                  <a:pt x="5435796" y="6453386"/>
                  <a:pt x="5388083" y="6457728"/>
                </a:cubicBezTo>
                <a:cubicBezTo>
                  <a:pt x="5370734" y="6422998"/>
                  <a:pt x="5379409" y="6396951"/>
                  <a:pt x="5414108" y="6383927"/>
                </a:cubicBezTo>
                <a:lnTo>
                  <a:pt x="5414370" y="6383900"/>
                </a:lnTo>
                <a:lnTo>
                  <a:pt x="5413635" y="6383381"/>
                </a:lnTo>
                <a:cubicBezTo>
                  <a:pt x="5413635" y="6374605"/>
                  <a:pt x="5413635" y="6365830"/>
                  <a:pt x="5413635" y="6361442"/>
                </a:cubicBezTo>
                <a:lnTo>
                  <a:pt x="5414436" y="6360434"/>
                </a:lnTo>
                <a:lnTo>
                  <a:pt x="5413328" y="6361199"/>
                </a:lnTo>
                <a:lnTo>
                  <a:pt x="5380863" y="6313199"/>
                </a:lnTo>
                <a:lnTo>
                  <a:pt x="5331774" y="6335318"/>
                </a:lnTo>
                <a:lnTo>
                  <a:pt x="5330808" y="6335228"/>
                </a:lnTo>
                <a:lnTo>
                  <a:pt x="5319169" y="6369244"/>
                </a:lnTo>
                <a:cubicBezTo>
                  <a:pt x="5312781" y="6376971"/>
                  <a:pt x="5303199" y="6379180"/>
                  <a:pt x="5288293" y="6370347"/>
                </a:cubicBezTo>
                <a:lnTo>
                  <a:pt x="5276879" y="6355846"/>
                </a:lnTo>
                <a:lnTo>
                  <a:pt x="5247392" y="6388281"/>
                </a:lnTo>
                <a:lnTo>
                  <a:pt x="5243597" y="6388658"/>
                </a:lnTo>
                <a:lnTo>
                  <a:pt x="5204379" y="6410370"/>
                </a:lnTo>
                <a:cubicBezTo>
                  <a:pt x="5167100" y="6419582"/>
                  <a:pt x="5145798" y="6387649"/>
                  <a:pt x="5129413" y="6338524"/>
                </a:cubicBezTo>
                <a:lnTo>
                  <a:pt x="5129413" y="6337929"/>
                </a:lnTo>
                <a:lnTo>
                  <a:pt x="5128632" y="6339197"/>
                </a:lnTo>
                <a:cubicBezTo>
                  <a:pt x="5119983" y="6343599"/>
                  <a:pt x="5111333" y="6352399"/>
                  <a:pt x="5102684" y="6361199"/>
                </a:cubicBezTo>
                <a:lnTo>
                  <a:pt x="5101991" y="6360802"/>
                </a:lnTo>
                <a:lnTo>
                  <a:pt x="5085860" y="6378685"/>
                </a:lnTo>
                <a:cubicBezTo>
                  <a:pt x="5079919" y="6385236"/>
                  <a:pt x="5074519" y="6390695"/>
                  <a:pt x="5072359" y="6390695"/>
                </a:cubicBezTo>
                <a:lnTo>
                  <a:pt x="5036807" y="6347135"/>
                </a:lnTo>
                <a:lnTo>
                  <a:pt x="4994442" y="6361199"/>
                </a:lnTo>
                <a:lnTo>
                  <a:pt x="4987237" y="6319158"/>
                </a:lnTo>
                <a:lnTo>
                  <a:pt x="4984463" y="6320980"/>
                </a:lnTo>
                <a:cubicBezTo>
                  <a:pt x="4963169" y="6277006"/>
                  <a:pt x="4975945" y="6241826"/>
                  <a:pt x="5001497" y="6211044"/>
                </a:cubicBezTo>
                <a:lnTo>
                  <a:pt x="5001672" y="6211440"/>
                </a:lnTo>
                <a:lnTo>
                  <a:pt x="5026495" y="6165780"/>
                </a:lnTo>
                <a:lnTo>
                  <a:pt x="5014373" y="6183172"/>
                </a:lnTo>
                <a:cubicBezTo>
                  <a:pt x="4997492" y="6197937"/>
                  <a:pt x="4975361" y="6202859"/>
                  <a:pt x="4943117" y="6190555"/>
                </a:cubicBezTo>
                <a:lnTo>
                  <a:pt x="4934533" y="6186162"/>
                </a:lnTo>
                <a:lnTo>
                  <a:pt x="4910113" y="6194955"/>
                </a:lnTo>
                <a:lnTo>
                  <a:pt x="4910049" y="6194915"/>
                </a:lnTo>
                <a:lnTo>
                  <a:pt x="4899263" y="6231197"/>
                </a:lnTo>
                <a:cubicBezTo>
                  <a:pt x="4890326" y="6239367"/>
                  <a:pt x="4876919" y="6243723"/>
                  <a:pt x="4861278" y="6245902"/>
                </a:cubicBezTo>
                <a:lnTo>
                  <a:pt x="4859861" y="6243250"/>
                </a:lnTo>
                <a:lnTo>
                  <a:pt x="4860564" y="6246726"/>
                </a:lnTo>
                <a:cubicBezTo>
                  <a:pt x="4860564" y="6259720"/>
                  <a:pt x="4860564" y="6272714"/>
                  <a:pt x="4860564" y="6285709"/>
                </a:cubicBezTo>
                <a:cubicBezTo>
                  <a:pt x="4843045" y="6285709"/>
                  <a:pt x="4829906" y="6285709"/>
                  <a:pt x="4812389" y="6285709"/>
                </a:cubicBezTo>
                <a:cubicBezTo>
                  <a:pt x="4781731" y="6298703"/>
                  <a:pt x="4737936" y="6329023"/>
                  <a:pt x="4768592" y="6255389"/>
                </a:cubicBezTo>
                <a:cubicBezTo>
                  <a:pt x="4772972" y="6244561"/>
                  <a:pt x="4775162" y="6235898"/>
                  <a:pt x="4772426" y="6229400"/>
                </a:cubicBezTo>
                <a:lnTo>
                  <a:pt x="4768873" y="6227606"/>
                </a:lnTo>
                <a:lnTo>
                  <a:pt x="4753460" y="6237859"/>
                </a:lnTo>
                <a:cubicBezTo>
                  <a:pt x="4744832" y="6237859"/>
                  <a:pt x="4736205" y="6237859"/>
                  <a:pt x="4731893" y="6237859"/>
                </a:cubicBezTo>
                <a:lnTo>
                  <a:pt x="4732304" y="6227582"/>
                </a:lnTo>
                <a:lnTo>
                  <a:pt x="4727210" y="6231864"/>
                </a:lnTo>
                <a:cubicBezTo>
                  <a:pt x="4705074" y="6246073"/>
                  <a:pt x="4678017" y="6255956"/>
                  <a:pt x="4668179" y="6285608"/>
                </a:cubicBezTo>
                <a:cubicBezTo>
                  <a:pt x="4659433" y="6298787"/>
                  <a:pt x="4646316" y="6303179"/>
                  <a:pt x="4628825" y="6307572"/>
                </a:cubicBezTo>
                <a:lnTo>
                  <a:pt x="4623761" y="6306119"/>
                </a:lnTo>
                <a:lnTo>
                  <a:pt x="4620908" y="6334798"/>
                </a:lnTo>
                <a:cubicBezTo>
                  <a:pt x="4597750" y="6344775"/>
                  <a:pt x="4579554" y="6369720"/>
                  <a:pt x="4555152" y="6381569"/>
                </a:cubicBezTo>
                <a:lnTo>
                  <a:pt x="4528390" y="6387985"/>
                </a:lnTo>
                <a:lnTo>
                  <a:pt x="4528792" y="6388303"/>
                </a:lnTo>
                <a:cubicBezTo>
                  <a:pt x="4524392" y="6440481"/>
                  <a:pt x="4471589" y="6462220"/>
                  <a:pt x="4453989" y="6505703"/>
                </a:cubicBezTo>
                <a:cubicBezTo>
                  <a:pt x="4414386" y="6527442"/>
                  <a:pt x="4379185" y="6527442"/>
                  <a:pt x="4357186" y="6483961"/>
                </a:cubicBezTo>
                <a:lnTo>
                  <a:pt x="4379119" y="6436277"/>
                </a:lnTo>
                <a:lnTo>
                  <a:pt x="4357903" y="6431868"/>
                </a:lnTo>
                <a:lnTo>
                  <a:pt x="4336010" y="6436277"/>
                </a:lnTo>
                <a:lnTo>
                  <a:pt x="4335705" y="6436168"/>
                </a:lnTo>
                <a:lnTo>
                  <a:pt x="4335736" y="6436212"/>
                </a:lnTo>
                <a:cubicBezTo>
                  <a:pt x="4296051" y="6510701"/>
                  <a:pt x="4203456" y="6501938"/>
                  <a:pt x="4141724" y="6567663"/>
                </a:cubicBezTo>
                <a:cubicBezTo>
                  <a:pt x="4141724" y="6547946"/>
                  <a:pt x="4140622" y="6532609"/>
                  <a:pt x="4139519" y="6519465"/>
                </a:cubicBezTo>
                <a:lnTo>
                  <a:pt x="4137346" y="6484914"/>
                </a:lnTo>
                <a:lnTo>
                  <a:pt x="4116351" y="6505991"/>
                </a:lnTo>
                <a:lnTo>
                  <a:pt x="4113456" y="6474018"/>
                </a:lnTo>
                <a:lnTo>
                  <a:pt x="4113263" y="6474486"/>
                </a:lnTo>
                <a:cubicBezTo>
                  <a:pt x="4109004" y="6483424"/>
                  <a:pt x="4106875" y="6493479"/>
                  <a:pt x="4115391" y="6506885"/>
                </a:cubicBezTo>
                <a:lnTo>
                  <a:pt x="4094297" y="6529022"/>
                </a:lnTo>
                <a:lnTo>
                  <a:pt x="4094297" y="6574826"/>
                </a:lnTo>
                <a:cubicBezTo>
                  <a:pt x="4085670" y="6585175"/>
                  <a:pt x="4070573" y="6590622"/>
                  <a:pt x="4055475" y="6592801"/>
                </a:cubicBezTo>
                <a:cubicBezTo>
                  <a:pt x="4036065" y="6594980"/>
                  <a:pt x="4032830" y="6588443"/>
                  <a:pt x="4034446" y="6579728"/>
                </a:cubicBezTo>
                <a:lnTo>
                  <a:pt x="4042532" y="6553594"/>
                </a:lnTo>
                <a:lnTo>
                  <a:pt x="4042163" y="6553569"/>
                </a:lnTo>
                <a:cubicBezTo>
                  <a:pt x="4020061" y="6540468"/>
                  <a:pt x="3990222" y="6530642"/>
                  <a:pt x="3971987" y="6513720"/>
                </a:cubicBezTo>
                <a:lnTo>
                  <a:pt x="3963263" y="6496522"/>
                </a:lnTo>
                <a:lnTo>
                  <a:pt x="3960316" y="6505991"/>
                </a:lnTo>
                <a:cubicBezTo>
                  <a:pt x="3925359" y="6501605"/>
                  <a:pt x="3890402" y="6488441"/>
                  <a:pt x="3864184" y="6457728"/>
                </a:cubicBezTo>
                <a:lnTo>
                  <a:pt x="3865552" y="6455668"/>
                </a:lnTo>
                <a:lnTo>
                  <a:pt x="3862846" y="6456878"/>
                </a:lnTo>
                <a:lnTo>
                  <a:pt x="3862846" y="6457728"/>
                </a:lnTo>
                <a:lnTo>
                  <a:pt x="3860945" y="6457728"/>
                </a:lnTo>
                <a:lnTo>
                  <a:pt x="3855607" y="6460116"/>
                </a:lnTo>
                <a:lnTo>
                  <a:pt x="3835763" y="6466546"/>
                </a:lnTo>
                <a:lnTo>
                  <a:pt x="3809814" y="6521510"/>
                </a:lnTo>
                <a:cubicBezTo>
                  <a:pt x="3794695" y="6539575"/>
                  <a:pt x="3777415" y="6555999"/>
                  <a:pt x="3766615" y="6575707"/>
                </a:cubicBezTo>
                <a:cubicBezTo>
                  <a:pt x="3684535" y="6540671"/>
                  <a:pt x="3792535" y="6514393"/>
                  <a:pt x="3770935" y="6479357"/>
                </a:cubicBezTo>
                <a:lnTo>
                  <a:pt x="3771155" y="6478957"/>
                </a:lnTo>
                <a:lnTo>
                  <a:pt x="3741730" y="6458023"/>
                </a:lnTo>
                <a:lnTo>
                  <a:pt x="3739663" y="6457935"/>
                </a:lnTo>
                <a:cubicBezTo>
                  <a:pt x="3713278" y="6387533"/>
                  <a:pt x="3695689" y="6462335"/>
                  <a:pt x="3673703" y="6466735"/>
                </a:cubicBezTo>
                <a:cubicBezTo>
                  <a:pt x="3647317" y="6466735"/>
                  <a:pt x="3625330" y="6466735"/>
                  <a:pt x="3616535" y="6444734"/>
                </a:cubicBezTo>
                <a:cubicBezTo>
                  <a:pt x="3612139" y="6440334"/>
                  <a:pt x="3634124" y="6422734"/>
                  <a:pt x="3642919" y="6409532"/>
                </a:cubicBezTo>
                <a:lnTo>
                  <a:pt x="3642919" y="6408943"/>
                </a:lnTo>
                <a:lnTo>
                  <a:pt x="3611687" y="6380831"/>
                </a:lnTo>
                <a:lnTo>
                  <a:pt x="3596106" y="6339134"/>
                </a:lnTo>
                <a:lnTo>
                  <a:pt x="3587104" y="6330936"/>
                </a:lnTo>
                <a:lnTo>
                  <a:pt x="3585916" y="6338039"/>
                </a:lnTo>
                <a:cubicBezTo>
                  <a:pt x="3550674" y="6324863"/>
                  <a:pt x="3502219" y="6342430"/>
                  <a:pt x="3489004" y="6289728"/>
                </a:cubicBezTo>
                <a:lnTo>
                  <a:pt x="3475149" y="6278570"/>
                </a:lnTo>
                <a:lnTo>
                  <a:pt x="3472833" y="6280164"/>
                </a:lnTo>
                <a:lnTo>
                  <a:pt x="3488430" y="6291484"/>
                </a:lnTo>
                <a:lnTo>
                  <a:pt x="3458306" y="6290166"/>
                </a:lnTo>
                <a:lnTo>
                  <a:pt x="3447663" y="6297494"/>
                </a:lnTo>
                <a:cubicBezTo>
                  <a:pt x="3436031" y="6302910"/>
                  <a:pt x="3422816" y="6306475"/>
                  <a:pt x="3407398" y="6307572"/>
                </a:cubicBezTo>
                <a:lnTo>
                  <a:pt x="3407006" y="6301316"/>
                </a:lnTo>
                <a:lnTo>
                  <a:pt x="3392825" y="6313828"/>
                </a:lnTo>
                <a:lnTo>
                  <a:pt x="3392258" y="6313786"/>
                </a:lnTo>
                <a:lnTo>
                  <a:pt x="3392780" y="6346276"/>
                </a:lnTo>
                <a:cubicBezTo>
                  <a:pt x="3392236" y="6357213"/>
                  <a:pt x="3387878" y="6364869"/>
                  <a:pt x="3370449" y="6360495"/>
                </a:cubicBezTo>
                <a:cubicBezTo>
                  <a:pt x="3335592" y="6347369"/>
                  <a:pt x="3339948" y="6312371"/>
                  <a:pt x="3370449" y="6286121"/>
                </a:cubicBezTo>
                <a:lnTo>
                  <a:pt x="3371145" y="6286961"/>
                </a:lnTo>
                <a:lnTo>
                  <a:pt x="3403789" y="6250035"/>
                </a:lnTo>
                <a:lnTo>
                  <a:pt x="3403069" y="6238573"/>
                </a:lnTo>
                <a:lnTo>
                  <a:pt x="3342861" y="6211064"/>
                </a:lnTo>
                <a:cubicBezTo>
                  <a:pt x="3327086" y="6200972"/>
                  <a:pt x="3319092" y="6190706"/>
                  <a:pt x="3318583" y="6178495"/>
                </a:cubicBezTo>
                <a:lnTo>
                  <a:pt x="3334413" y="6144566"/>
                </a:lnTo>
                <a:lnTo>
                  <a:pt x="3332611" y="6143410"/>
                </a:lnTo>
                <a:lnTo>
                  <a:pt x="3301041" y="6141974"/>
                </a:lnTo>
                <a:lnTo>
                  <a:pt x="3230969" y="6168351"/>
                </a:lnTo>
                <a:lnTo>
                  <a:pt x="3230590" y="6168419"/>
                </a:lnTo>
                <a:lnTo>
                  <a:pt x="3231021" y="6168767"/>
                </a:lnTo>
                <a:cubicBezTo>
                  <a:pt x="3213401" y="6186286"/>
                  <a:pt x="3195780" y="6203804"/>
                  <a:pt x="3178159" y="6221322"/>
                </a:cubicBezTo>
                <a:lnTo>
                  <a:pt x="3177219" y="6221747"/>
                </a:lnTo>
                <a:lnTo>
                  <a:pt x="3166093" y="6258247"/>
                </a:lnTo>
                <a:cubicBezTo>
                  <a:pt x="3159965" y="6268010"/>
                  <a:pt x="3151796" y="6275521"/>
                  <a:pt x="3142536" y="6281801"/>
                </a:cubicBezTo>
                <a:lnTo>
                  <a:pt x="3082578" y="6312403"/>
                </a:lnTo>
                <a:lnTo>
                  <a:pt x="3082653" y="6313168"/>
                </a:lnTo>
                <a:cubicBezTo>
                  <a:pt x="3064777" y="6322029"/>
                  <a:pt x="3051370" y="6330887"/>
                  <a:pt x="3033495" y="6335318"/>
                </a:cubicBezTo>
                <a:lnTo>
                  <a:pt x="3032529" y="6335228"/>
                </a:lnTo>
                <a:lnTo>
                  <a:pt x="3020890" y="6369244"/>
                </a:lnTo>
                <a:cubicBezTo>
                  <a:pt x="3014502" y="6376971"/>
                  <a:pt x="3004920" y="6379180"/>
                  <a:pt x="2990014" y="6370347"/>
                </a:cubicBezTo>
                <a:cubicBezTo>
                  <a:pt x="2977238" y="6363722"/>
                  <a:pt x="2969786" y="6353786"/>
                  <a:pt x="2968722" y="6343297"/>
                </a:cubicBezTo>
                <a:lnTo>
                  <a:pt x="2985165" y="6313989"/>
                </a:lnTo>
                <a:lnTo>
                  <a:pt x="2984337" y="6313168"/>
                </a:lnTo>
                <a:lnTo>
                  <a:pt x="3033289" y="6264642"/>
                </a:lnTo>
                <a:lnTo>
                  <a:pt x="3003106" y="6243022"/>
                </a:lnTo>
                <a:cubicBezTo>
                  <a:pt x="3003106" y="6243022"/>
                  <a:pt x="3011820" y="6234282"/>
                  <a:pt x="3011820" y="6234282"/>
                </a:cubicBezTo>
                <a:lnTo>
                  <a:pt x="3014108" y="6231748"/>
                </a:lnTo>
                <a:lnTo>
                  <a:pt x="3013211" y="6231966"/>
                </a:lnTo>
                <a:lnTo>
                  <a:pt x="3003379" y="6241950"/>
                </a:lnTo>
                <a:cubicBezTo>
                  <a:pt x="2924581" y="6241950"/>
                  <a:pt x="2889559" y="6326412"/>
                  <a:pt x="2819516" y="6339748"/>
                </a:cubicBezTo>
                <a:cubicBezTo>
                  <a:pt x="2819516" y="6339748"/>
                  <a:pt x="2815138" y="6330857"/>
                  <a:pt x="2815138" y="6330857"/>
                </a:cubicBezTo>
                <a:lnTo>
                  <a:pt x="2815187" y="6330295"/>
                </a:lnTo>
                <a:lnTo>
                  <a:pt x="2814552" y="6331352"/>
                </a:lnTo>
                <a:cubicBezTo>
                  <a:pt x="2796947" y="6335754"/>
                  <a:pt x="2783742" y="6366563"/>
                  <a:pt x="2761734" y="6340155"/>
                </a:cubicBezTo>
                <a:lnTo>
                  <a:pt x="2761307" y="6339572"/>
                </a:lnTo>
                <a:lnTo>
                  <a:pt x="2696163" y="6361199"/>
                </a:lnTo>
                <a:cubicBezTo>
                  <a:pt x="2687413" y="6343770"/>
                  <a:pt x="2684131" y="6328519"/>
                  <a:pt x="2688508" y="6316538"/>
                </a:cubicBezTo>
                <a:lnTo>
                  <a:pt x="2726398" y="6291739"/>
                </a:lnTo>
                <a:lnTo>
                  <a:pt x="2722121" y="6291739"/>
                </a:lnTo>
                <a:lnTo>
                  <a:pt x="2723104" y="6290293"/>
                </a:lnTo>
                <a:lnTo>
                  <a:pt x="2724510" y="6245576"/>
                </a:lnTo>
                <a:lnTo>
                  <a:pt x="2734073" y="6233002"/>
                </a:lnTo>
                <a:lnTo>
                  <a:pt x="2724247" y="6226838"/>
                </a:lnTo>
                <a:cubicBezTo>
                  <a:pt x="2718358" y="6219878"/>
                  <a:pt x="2714616" y="6211418"/>
                  <a:pt x="2712122" y="6202138"/>
                </a:cubicBezTo>
                <a:lnTo>
                  <a:pt x="2710263" y="6186647"/>
                </a:lnTo>
                <a:lnTo>
                  <a:pt x="2697282" y="6194383"/>
                </a:lnTo>
                <a:cubicBezTo>
                  <a:pt x="2690309" y="6196843"/>
                  <a:pt x="2682571" y="6197937"/>
                  <a:pt x="2673891" y="6197390"/>
                </a:cubicBezTo>
                <a:lnTo>
                  <a:pt x="2645346" y="6190674"/>
                </a:lnTo>
                <a:lnTo>
                  <a:pt x="2643430" y="6193128"/>
                </a:lnTo>
                <a:cubicBezTo>
                  <a:pt x="2621168" y="6214165"/>
                  <a:pt x="2591486" y="6224785"/>
                  <a:pt x="2561803" y="6237857"/>
                </a:cubicBezTo>
                <a:lnTo>
                  <a:pt x="2561803" y="6236089"/>
                </a:lnTo>
                <a:lnTo>
                  <a:pt x="2561333" y="6237972"/>
                </a:lnTo>
                <a:cubicBezTo>
                  <a:pt x="2561333" y="6255543"/>
                  <a:pt x="2561333" y="6273114"/>
                  <a:pt x="2561333" y="6286294"/>
                </a:cubicBezTo>
                <a:cubicBezTo>
                  <a:pt x="2495712" y="6332418"/>
                  <a:pt x="2479307" y="6277233"/>
                  <a:pt x="2453058" y="6241198"/>
                </a:cubicBezTo>
                <a:lnTo>
                  <a:pt x="2450065" y="6237859"/>
                </a:lnTo>
                <a:lnTo>
                  <a:pt x="2433614" y="6237859"/>
                </a:lnTo>
                <a:lnTo>
                  <a:pt x="2434213" y="6222869"/>
                </a:lnTo>
                <a:lnTo>
                  <a:pt x="2421340" y="6216008"/>
                </a:lnTo>
                <a:cubicBezTo>
                  <a:pt x="2414778" y="6187454"/>
                  <a:pt x="2421340" y="6172079"/>
                  <a:pt x="2434464" y="6162195"/>
                </a:cubicBezTo>
                <a:lnTo>
                  <a:pt x="2454910" y="6152166"/>
                </a:lnTo>
                <a:lnTo>
                  <a:pt x="2453799" y="6146692"/>
                </a:lnTo>
                <a:lnTo>
                  <a:pt x="2384968" y="6146692"/>
                </a:lnTo>
                <a:lnTo>
                  <a:pt x="2383625" y="6146477"/>
                </a:lnTo>
                <a:lnTo>
                  <a:pt x="2374628" y="6173216"/>
                </a:lnTo>
                <a:cubicBezTo>
                  <a:pt x="2369878" y="6180482"/>
                  <a:pt x="2363639" y="6186242"/>
                  <a:pt x="2356584" y="6191177"/>
                </a:cubicBezTo>
                <a:lnTo>
                  <a:pt x="2310394" y="6216148"/>
                </a:lnTo>
                <a:lnTo>
                  <a:pt x="2310392" y="6216157"/>
                </a:lnTo>
                <a:cubicBezTo>
                  <a:pt x="2310392" y="6277744"/>
                  <a:pt x="2257797" y="6290942"/>
                  <a:pt x="2213966" y="6312936"/>
                </a:cubicBezTo>
                <a:cubicBezTo>
                  <a:pt x="2200817" y="6286542"/>
                  <a:pt x="2183285" y="6308538"/>
                  <a:pt x="2165753" y="6312936"/>
                </a:cubicBezTo>
                <a:cubicBezTo>
                  <a:pt x="2126307" y="6255749"/>
                  <a:pt x="2231499" y="6224954"/>
                  <a:pt x="2192051" y="6167767"/>
                </a:cubicBezTo>
                <a:lnTo>
                  <a:pt x="2191994" y="6167588"/>
                </a:lnTo>
                <a:lnTo>
                  <a:pt x="2191732" y="6168375"/>
                </a:lnTo>
                <a:lnTo>
                  <a:pt x="2122436" y="6194396"/>
                </a:lnTo>
                <a:lnTo>
                  <a:pt x="2122255" y="6194640"/>
                </a:lnTo>
                <a:cubicBezTo>
                  <a:pt x="2086980" y="6225554"/>
                  <a:pt x="2056116" y="6260886"/>
                  <a:pt x="2016432" y="6282966"/>
                </a:cubicBezTo>
                <a:cubicBezTo>
                  <a:pt x="1959110" y="6318297"/>
                  <a:pt x="1981156" y="6265302"/>
                  <a:pt x="1972338" y="6238803"/>
                </a:cubicBezTo>
                <a:lnTo>
                  <a:pt x="1972221" y="6237972"/>
                </a:lnTo>
                <a:lnTo>
                  <a:pt x="1936828" y="6263171"/>
                </a:lnTo>
                <a:cubicBezTo>
                  <a:pt x="1904376" y="6292433"/>
                  <a:pt x="1878086" y="6329788"/>
                  <a:pt x="1832077" y="6339750"/>
                </a:cubicBezTo>
                <a:lnTo>
                  <a:pt x="1828204" y="6333880"/>
                </a:lnTo>
                <a:lnTo>
                  <a:pt x="1827904" y="6334385"/>
                </a:lnTo>
                <a:lnTo>
                  <a:pt x="1825324" y="6334385"/>
                </a:lnTo>
                <a:lnTo>
                  <a:pt x="1826985" y="6335458"/>
                </a:lnTo>
                <a:cubicBezTo>
                  <a:pt x="1831359" y="6339748"/>
                  <a:pt x="1831359" y="6339748"/>
                  <a:pt x="1831359" y="6339748"/>
                </a:cubicBezTo>
                <a:lnTo>
                  <a:pt x="1779575" y="6382065"/>
                </a:lnTo>
                <a:lnTo>
                  <a:pt x="1780415" y="6383780"/>
                </a:lnTo>
                <a:cubicBezTo>
                  <a:pt x="1771620" y="6405654"/>
                  <a:pt x="1758427" y="6418780"/>
                  <a:pt x="1741937" y="6426435"/>
                </a:cubicBezTo>
                <a:lnTo>
                  <a:pt x="1683736" y="6436268"/>
                </a:lnTo>
                <a:lnTo>
                  <a:pt x="1662037" y="6505991"/>
                </a:lnTo>
                <a:cubicBezTo>
                  <a:pt x="1627079" y="6501605"/>
                  <a:pt x="1592122" y="6488441"/>
                  <a:pt x="1565905" y="6457728"/>
                </a:cubicBezTo>
                <a:lnTo>
                  <a:pt x="1569136" y="6452861"/>
                </a:lnTo>
                <a:lnTo>
                  <a:pt x="1565905" y="6452581"/>
                </a:lnTo>
                <a:lnTo>
                  <a:pt x="1566140" y="6452287"/>
                </a:lnTo>
                <a:lnTo>
                  <a:pt x="1564566" y="6453294"/>
                </a:lnTo>
                <a:cubicBezTo>
                  <a:pt x="1564566" y="6457728"/>
                  <a:pt x="1564566" y="6457728"/>
                  <a:pt x="1564566" y="6457728"/>
                </a:cubicBezTo>
                <a:cubicBezTo>
                  <a:pt x="1555947" y="6457728"/>
                  <a:pt x="1555947" y="6457728"/>
                  <a:pt x="1555947" y="6457728"/>
                </a:cubicBezTo>
                <a:lnTo>
                  <a:pt x="1543019" y="6457728"/>
                </a:lnTo>
                <a:lnTo>
                  <a:pt x="1541647" y="6457728"/>
                </a:lnTo>
                <a:lnTo>
                  <a:pt x="1511534" y="6521510"/>
                </a:lnTo>
                <a:cubicBezTo>
                  <a:pt x="1496415" y="6539575"/>
                  <a:pt x="1479135" y="6555999"/>
                  <a:pt x="1468335" y="6575707"/>
                </a:cubicBezTo>
                <a:cubicBezTo>
                  <a:pt x="1386256" y="6540671"/>
                  <a:pt x="1494255" y="6514393"/>
                  <a:pt x="1472655" y="6479357"/>
                </a:cubicBezTo>
                <a:lnTo>
                  <a:pt x="1472875" y="6478957"/>
                </a:lnTo>
                <a:lnTo>
                  <a:pt x="1443450" y="6458023"/>
                </a:lnTo>
                <a:lnTo>
                  <a:pt x="1441383" y="6457935"/>
                </a:lnTo>
                <a:cubicBezTo>
                  <a:pt x="1414998" y="6387533"/>
                  <a:pt x="1397409" y="6462335"/>
                  <a:pt x="1375423" y="6466735"/>
                </a:cubicBezTo>
                <a:cubicBezTo>
                  <a:pt x="1349038" y="6466735"/>
                  <a:pt x="1327050" y="6466735"/>
                  <a:pt x="1318255" y="6444734"/>
                </a:cubicBezTo>
                <a:cubicBezTo>
                  <a:pt x="1313859" y="6440334"/>
                  <a:pt x="1335845" y="6422734"/>
                  <a:pt x="1344640" y="6409532"/>
                </a:cubicBezTo>
                <a:lnTo>
                  <a:pt x="1344640" y="6408943"/>
                </a:lnTo>
                <a:lnTo>
                  <a:pt x="1313408" y="6380831"/>
                </a:lnTo>
                <a:lnTo>
                  <a:pt x="1297827" y="6339134"/>
                </a:lnTo>
                <a:lnTo>
                  <a:pt x="1253804" y="6299043"/>
                </a:lnTo>
                <a:cubicBezTo>
                  <a:pt x="1248868" y="6287185"/>
                  <a:pt x="1252432" y="6276783"/>
                  <a:pt x="1260112" y="6267074"/>
                </a:cubicBezTo>
                <a:lnTo>
                  <a:pt x="1318384" y="6212954"/>
                </a:lnTo>
                <a:lnTo>
                  <a:pt x="1318264" y="6211989"/>
                </a:lnTo>
                <a:cubicBezTo>
                  <a:pt x="1322669" y="6207575"/>
                  <a:pt x="1322669" y="6198741"/>
                  <a:pt x="1322669" y="6189909"/>
                </a:cubicBezTo>
                <a:lnTo>
                  <a:pt x="1323588" y="6188804"/>
                </a:lnTo>
                <a:lnTo>
                  <a:pt x="1323512" y="6188838"/>
                </a:lnTo>
                <a:cubicBezTo>
                  <a:pt x="1305922" y="6186656"/>
                  <a:pt x="1289432" y="6187747"/>
                  <a:pt x="1273491" y="6192113"/>
                </a:cubicBezTo>
                <a:lnTo>
                  <a:pt x="1227059" y="6214891"/>
                </a:lnTo>
                <a:lnTo>
                  <a:pt x="1228056" y="6215432"/>
                </a:lnTo>
                <a:cubicBezTo>
                  <a:pt x="1197221" y="6259308"/>
                  <a:pt x="1170789" y="6303184"/>
                  <a:pt x="1109119" y="6307572"/>
                </a:cubicBezTo>
                <a:lnTo>
                  <a:pt x="1104790" y="6238573"/>
                </a:lnTo>
                <a:lnTo>
                  <a:pt x="1044581" y="6211064"/>
                </a:lnTo>
                <a:cubicBezTo>
                  <a:pt x="1013032" y="6190880"/>
                  <a:pt x="1012604" y="6169997"/>
                  <a:pt x="1040938" y="6134267"/>
                </a:cubicBezTo>
                <a:lnTo>
                  <a:pt x="1078595" y="6093257"/>
                </a:lnTo>
                <a:lnTo>
                  <a:pt x="1082929" y="6075566"/>
                </a:lnTo>
                <a:lnTo>
                  <a:pt x="1082583" y="6073804"/>
                </a:lnTo>
                <a:lnTo>
                  <a:pt x="1053217" y="6059280"/>
                </a:lnTo>
                <a:cubicBezTo>
                  <a:pt x="1030030" y="6032818"/>
                  <a:pt x="1021750" y="5982723"/>
                  <a:pt x="968754" y="6005346"/>
                </a:cubicBezTo>
                <a:lnTo>
                  <a:pt x="968287" y="6004662"/>
                </a:lnTo>
                <a:lnTo>
                  <a:pt x="908401" y="6044096"/>
                </a:lnTo>
                <a:lnTo>
                  <a:pt x="844160" y="6072830"/>
                </a:lnTo>
                <a:lnTo>
                  <a:pt x="842365" y="6075615"/>
                </a:lnTo>
                <a:cubicBezTo>
                  <a:pt x="820414" y="6106224"/>
                  <a:pt x="794073" y="6136833"/>
                  <a:pt x="772123" y="6167439"/>
                </a:cubicBezTo>
                <a:cubicBezTo>
                  <a:pt x="688713" y="6132460"/>
                  <a:pt x="798463" y="6088732"/>
                  <a:pt x="754564" y="6045006"/>
                </a:cubicBezTo>
                <a:cubicBezTo>
                  <a:pt x="679932" y="6062496"/>
                  <a:pt x="636032" y="6149949"/>
                  <a:pt x="552621" y="6167439"/>
                </a:cubicBezTo>
                <a:lnTo>
                  <a:pt x="552351" y="6167448"/>
                </a:lnTo>
                <a:lnTo>
                  <a:pt x="533295" y="6185162"/>
                </a:lnTo>
                <a:cubicBezTo>
                  <a:pt x="525125" y="6188485"/>
                  <a:pt x="515322" y="6189593"/>
                  <a:pt x="504427" y="6189593"/>
                </a:cubicBezTo>
                <a:lnTo>
                  <a:pt x="504253" y="6189027"/>
                </a:lnTo>
                <a:lnTo>
                  <a:pt x="504196" y="6190130"/>
                </a:lnTo>
                <a:cubicBezTo>
                  <a:pt x="490893" y="6216330"/>
                  <a:pt x="477589" y="6251265"/>
                  <a:pt x="450981" y="6242531"/>
                </a:cubicBezTo>
                <a:cubicBezTo>
                  <a:pt x="406636" y="6229430"/>
                  <a:pt x="411071" y="6181396"/>
                  <a:pt x="406636" y="6142096"/>
                </a:cubicBezTo>
                <a:lnTo>
                  <a:pt x="406722" y="6141511"/>
                </a:lnTo>
                <a:lnTo>
                  <a:pt x="363536" y="6167185"/>
                </a:lnTo>
                <a:lnTo>
                  <a:pt x="364665" y="6168142"/>
                </a:lnTo>
                <a:cubicBezTo>
                  <a:pt x="342677" y="6207356"/>
                  <a:pt x="303101" y="6220428"/>
                  <a:pt x="263524" y="6237857"/>
                </a:cubicBezTo>
                <a:lnTo>
                  <a:pt x="263524" y="6236089"/>
                </a:lnTo>
                <a:lnTo>
                  <a:pt x="263054" y="6237972"/>
                </a:lnTo>
                <a:cubicBezTo>
                  <a:pt x="263054" y="6255543"/>
                  <a:pt x="263054" y="6273114"/>
                  <a:pt x="263054" y="6286294"/>
                </a:cubicBezTo>
                <a:cubicBezTo>
                  <a:pt x="175559" y="6347793"/>
                  <a:pt x="175559" y="6229186"/>
                  <a:pt x="123060" y="6216008"/>
                </a:cubicBezTo>
                <a:cubicBezTo>
                  <a:pt x="109936" y="6158900"/>
                  <a:pt x="149309" y="6154508"/>
                  <a:pt x="188683" y="6141329"/>
                </a:cubicBezTo>
                <a:lnTo>
                  <a:pt x="197366" y="6143935"/>
                </a:lnTo>
                <a:lnTo>
                  <a:pt x="198416" y="6138079"/>
                </a:lnTo>
                <a:cubicBezTo>
                  <a:pt x="206352" y="6112061"/>
                  <a:pt x="223446" y="6099672"/>
                  <a:pt x="262517" y="6119494"/>
                </a:cubicBezTo>
                <a:lnTo>
                  <a:pt x="262824" y="6120207"/>
                </a:lnTo>
                <a:lnTo>
                  <a:pt x="262772" y="6119390"/>
                </a:lnTo>
                <a:cubicBezTo>
                  <a:pt x="284922" y="6106227"/>
                  <a:pt x="289352" y="6088677"/>
                  <a:pt x="289352" y="6071126"/>
                </a:cubicBezTo>
                <a:lnTo>
                  <a:pt x="290207" y="6070740"/>
                </a:lnTo>
                <a:lnTo>
                  <a:pt x="358773" y="5974457"/>
                </a:lnTo>
                <a:lnTo>
                  <a:pt x="336037" y="5960179"/>
                </a:lnTo>
                <a:cubicBezTo>
                  <a:pt x="329963" y="5954107"/>
                  <a:pt x="326651" y="5946380"/>
                  <a:pt x="328860" y="5935339"/>
                </a:cubicBezTo>
                <a:cubicBezTo>
                  <a:pt x="331068" y="5922090"/>
                  <a:pt x="338797" y="5914361"/>
                  <a:pt x="348734" y="5909392"/>
                </a:cubicBezTo>
                <a:lnTo>
                  <a:pt x="380756" y="5900320"/>
                </a:lnTo>
                <a:lnTo>
                  <a:pt x="385109" y="5878557"/>
                </a:lnTo>
                <a:lnTo>
                  <a:pt x="386901" y="5878557"/>
                </a:lnTo>
                <a:lnTo>
                  <a:pt x="385577" y="5877780"/>
                </a:lnTo>
                <a:cubicBezTo>
                  <a:pt x="376819" y="5868956"/>
                  <a:pt x="368060" y="5860135"/>
                  <a:pt x="359300" y="5851311"/>
                </a:cubicBezTo>
                <a:lnTo>
                  <a:pt x="360334" y="5849656"/>
                </a:lnTo>
                <a:lnTo>
                  <a:pt x="359300" y="5850080"/>
                </a:lnTo>
                <a:cubicBezTo>
                  <a:pt x="346229" y="5850080"/>
                  <a:pt x="328800" y="5854426"/>
                  <a:pt x="315728" y="5854426"/>
                </a:cubicBezTo>
                <a:lnTo>
                  <a:pt x="315026" y="5853725"/>
                </a:lnTo>
                <a:lnTo>
                  <a:pt x="314509" y="5855667"/>
                </a:lnTo>
                <a:lnTo>
                  <a:pt x="313126" y="5855981"/>
                </a:lnTo>
                <a:lnTo>
                  <a:pt x="315695" y="5856618"/>
                </a:lnTo>
                <a:cubicBezTo>
                  <a:pt x="320069" y="5876363"/>
                  <a:pt x="314600" y="5890623"/>
                  <a:pt x="304756" y="5901592"/>
                </a:cubicBezTo>
                <a:lnTo>
                  <a:pt x="267962" y="5926556"/>
                </a:lnTo>
                <a:lnTo>
                  <a:pt x="268135" y="5926899"/>
                </a:lnTo>
                <a:cubicBezTo>
                  <a:pt x="224134" y="5966199"/>
                  <a:pt x="184531" y="6001134"/>
                  <a:pt x="140530" y="6040436"/>
                </a:cubicBezTo>
                <a:lnTo>
                  <a:pt x="139878" y="6040223"/>
                </a:lnTo>
                <a:lnTo>
                  <a:pt x="140388" y="6041081"/>
                </a:lnTo>
                <a:cubicBezTo>
                  <a:pt x="144793" y="6049903"/>
                  <a:pt x="144793" y="6058726"/>
                  <a:pt x="144793" y="6071960"/>
                </a:cubicBezTo>
                <a:cubicBezTo>
                  <a:pt x="109553" y="6094015"/>
                  <a:pt x="65501" y="6098427"/>
                  <a:pt x="25856" y="6094015"/>
                </a:cubicBezTo>
                <a:cubicBezTo>
                  <a:pt x="25856" y="6080782"/>
                  <a:pt x="25856" y="6063136"/>
                  <a:pt x="25856" y="6045493"/>
                </a:cubicBezTo>
                <a:cubicBezTo>
                  <a:pt x="22552" y="6005790"/>
                  <a:pt x="29160" y="5978495"/>
                  <a:pt x="58688" y="5982218"/>
                </a:cubicBezTo>
                <a:cubicBezTo>
                  <a:pt x="68529" y="5983458"/>
                  <a:pt x="80919" y="5988145"/>
                  <a:pt x="96336" y="5996968"/>
                </a:cubicBezTo>
                <a:lnTo>
                  <a:pt x="96670" y="5997159"/>
                </a:lnTo>
                <a:lnTo>
                  <a:pt x="96529" y="5996767"/>
                </a:lnTo>
                <a:cubicBezTo>
                  <a:pt x="114128" y="5974933"/>
                  <a:pt x="131730" y="5953099"/>
                  <a:pt x="153731" y="5926899"/>
                </a:cubicBezTo>
                <a:lnTo>
                  <a:pt x="158352" y="5924350"/>
                </a:lnTo>
                <a:lnTo>
                  <a:pt x="153220" y="5925156"/>
                </a:lnTo>
                <a:cubicBezTo>
                  <a:pt x="96309" y="5890370"/>
                  <a:pt x="13133" y="5894719"/>
                  <a:pt x="0" y="5803408"/>
                </a:cubicBezTo>
                <a:cubicBezTo>
                  <a:pt x="13133" y="5786015"/>
                  <a:pt x="21889" y="5768623"/>
                  <a:pt x="48155" y="5772970"/>
                </a:cubicBezTo>
                <a:lnTo>
                  <a:pt x="54521" y="5775296"/>
                </a:lnTo>
                <a:lnTo>
                  <a:pt x="77954" y="5746407"/>
                </a:lnTo>
                <a:cubicBezTo>
                  <a:pt x="90533" y="5738162"/>
                  <a:pt x="105844" y="5733764"/>
                  <a:pt x="123344" y="5733764"/>
                </a:cubicBezTo>
                <a:lnTo>
                  <a:pt x="123344" y="5790497"/>
                </a:lnTo>
                <a:lnTo>
                  <a:pt x="123548" y="5790533"/>
                </a:lnTo>
                <a:lnTo>
                  <a:pt x="123548" y="5733381"/>
                </a:lnTo>
                <a:cubicBezTo>
                  <a:pt x="119218" y="5733381"/>
                  <a:pt x="119218" y="5733381"/>
                  <a:pt x="119218" y="5733381"/>
                </a:cubicBezTo>
                <a:lnTo>
                  <a:pt x="187740" y="5707248"/>
                </a:lnTo>
                <a:lnTo>
                  <a:pt x="214161" y="5685500"/>
                </a:lnTo>
                <a:lnTo>
                  <a:pt x="216048" y="5686615"/>
                </a:lnTo>
                <a:lnTo>
                  <a:pt x="214508" y="5684427"/>
                </a:lnTo>
                <a:cubicBezTo>
                  <a:pt x="216726" y="5660095"/>
                  <a:pt x="225595" y="5640185"/>
                  <a:pt x="238343" y="5623041"/>
                </a:cubicBezTo>
                <a:lnTo>
                  <a:pt x="284354" y="5579299"/>
                </a:lnTo>
                <a:lnTo>
                  <a:pt x="284223" y="5577604"/>
                </a:lnTo>
                <a:cubicBezTo>
                  <a:pt x="302098" y="5564411"/>
                  <a:pt x="319975" y="5551218"/>
                  <a:pt x="337850" y="5538027"/>
                </a:cubicBezTo>
                <a:lnTo>
                  <a:pt x="337850" y="5538130"/>
                </a:lnTo>
                <a:lnTo>
                  <a:pt x="362771" y="5517042"/>
                </a:lnTo>
                <a:lnTo>
                  <a:pt x="362759" y="5516848"/>
                </a:lnTo>
                <a:lnTo>
                  <a:pt x="481487" y="5368980"/>
                </a:lnTo>
                <a:lnTo>
                  <a:pt x="445593" y="5365695"/>
                </a:lnTo>
                <a:lnTo>
                  <a:pt x="446097" y="5371724"/>
                </a:lnTo>
                <a:cubicBezTo>
                  <a:pt x="437352" y="5389211"/>
                  <a:pt x="428608" y="5402326"/>
                  <a:pt x="411122" y="5411071"/>
                </a:cubicBezTo>
                <a:lnTo>
                  <a:pt x="387837" y="5425829"/>
                </a:lnTo>
                <a:lnTo>
                  <a:pt x="383276" y="5433982"/>
                </a:lnTo>
                <a:cubicBezTo>
                  <a:pt x="352162" y="5469293"/>
                  <a:pt x="303854" y="5484160"/>
                  <a:pt x="267829" y="5513894"/>
                </a:cubicBezTo>
                <a:lnTo>
                  <a:pt x="267826" y="5513889"/>
                </a:lnTo>
                <a:lnTo>
                  <a:pt x="242189" y="5553992"/>
                </a:lnTo>
                <a:cubicBezTo>
                  <a:pt x="232803" y="5566058"/>
                  <a:pt x="219555" y="5572640"/>
                  <a:pt x="193057" y="5561670"/>
                </a:cubicBezTo>
                <a:lnTo>
                  <a:pt x="193057" y="5560204"/>
                </a:lnTo>
                <a:lnTo>
                  <a:pt x="96529" y="5586289"/>
                </a:lnTo>
                <a:cubicBezTo>
                  <a:pt x="100925" y="5542718"/>
                  <a:pt x="122913" y="5516575"/>
                  <a:pt x="171285" y="5516575"/>
                </a:cubicBezTo>
                <a:lnTo>
                  <a:pt x="171748" y="5516575"/>
                </a:lnTo>
                <a:lnTo>
                  <a:pt x="171606" y="5516480"/>
                </a:lnTo>
                <a:cubicBezTo>
                  <a:pt x="175920" y="5499243"/>
                  <a:pt x="184546" y="5486316"/>
                  <a:pt x="193174" y="5469077"/>
                </a:cubicBezTo>
                <a:cubicBezTo>
                  <a:pt x="214741" y="5451840"/>
                  <a:pt x="240622" y="5434602"/>
                  <a:pt x="262189" y="5417366"/>
                </a:cubicBezTo>
                <a:lnTo>
                  <a:pt x="262189" y="5418653"/>
                </a:lnTo>
                <a:lnTo>
                  <a:pt x="262481" y="5415442"/>
                </a:lnTo>
                <a:cubicBezTo>
                  <a:pt x="271226" y="5397955"/>
                  <a:pt x="279968" y="5384840"/>
                  <a:pt x="288712" y="5371724"/>
                </a:cubicBezTo>
                <a:lnTo>
                  <a:pt x="290035" y="5370159"/>
                </a:lnTo>
                <a:lnTo>
                  <a:pt x="302282" y="5325962"/>
                </a:lnTo>
                <a:lnTo>
                  <a:pt x="337049" y="5297615"/>
                </a:lnTo>
                <a:lnTo>
                  <a:pt x="316399" y="5276552"/>
                </a:lnTo>
                <a:lnTo>
                  <a:pt x="317639" y="5274046"/>
                </a:lnTo>
                <a:lnTo>
                  <a:pt x="315987" y="5275253"/>
                </a:lnTo>
                <a:cubicBezTo>
                  <a:pt x="285089" y="5213651"/>
                  <a:pt x="249778" y="5160850"/>
                  <a:pt x="170328" y="5200451"/>
                </a:cubicBezTo>
                <a:cubicBezTo>
                  <a:pt x="139430" y="5147648"/>
                  <a:pt x="179155" y="5125649"/>
                  <a:pt x="214467" y="5103647"/>
                </a:cubicBezTo>
                <a:lnTo>
                  <a:pt x="214893" y="5103717"/>
                </a:lnTo>
                <a:lnTo>
                  <a:pt x="262937" y="5055214"/>
                </a:lnTo>
                <a:lnTo>
                  <a:pt x="262772" y="5055049"/>
                </a:lnTo>
                <a:cubicBezTo>
                  <a:pt x="271582" y="5024550"/>
                  <a:pt x="285898" y="4998407"/>
                  <a:pt x="305721" y="4978253"/>
                </a:cubicBezTo>
                <a:lnTo>
                  <a:pt x="380760" y="4937916"/>
                </a:lnTo>
                <a:lnTo>
                  <a:pt x="381134" y="4937255"/>
                </a:lnTo>
                <a:lnTo>
                  <a:pt x="385492" y="4915327"/>
                </a:lnTo>
                <a:lnTo>
                  <a:pt x="359971" y="4889525"/>
                </a:lnTo>
                <a:lnTo>
                  <a:pt x="359300" y="4887148"/>
                </a:lnTo>
                <a:lnTo>
                  <a:pt x="359300" y="4889408"/>
                </a:lnTo>
                <a:cubicBezTo>
                  <a:pt x="328587" y="4876136"/>
                  <a:pt x="284711" y="4915955"/>
                  <a:pt x="262772" y="4862863"/>
                </a:cubicBezTo>
                <a:lnTo>
                  <a:pt x="263335" y="4862605"/>
                </a:lnTo>
                <a:lnTo>
                  <a:pt x="262772" y="4862524"/>
                </a:lnTo>
                <a:cubicBezTo>
                  <a:pt x="289123" y="4774453"/>
                  <a:pt x="359393" y="4695189"/>
                  <a:pt x="341826" y="4589505"/>
                </a:cubicBezTo>
                <a:cubicBezTo>
                  <a:pt x="333041" y="4554278"/>
                  <a:pt x="363785" y="4514647"/>
                  <a:pt x="412095" y="4514647"/>
                </a:cubicBezTo>
                <a:cubicBezTo>
                  <a:pt x="491148" y="4514647"/>
                  <a:pt x="504324" y="4466207"/>
                  <a:pt x="504324" y="4404559"/>
                </a:cubicBezTo>
                <a:cubicBezTo>
                  <a:pt x="552634" y="4373734"/>
                  <a:pt x="609729" y="4360524"/>
                  <a:pt x="658038" y="4338506"/>
                </a:cubicBezTo>
                <a:lnTo>
                  <a:pt x="662167" y="4339178"/>
                </a:lnTo>
                <a:lnTo>
                  <a:pt x="714133" y="4276884"/>
                </a:lnTo>
                <a:lnTo>
                  <a:pt x="761734" y="4237260"/>
                </a:lnTo>
                <a:lnTo>
                  <a:pt x="749222" y="4229879"/>
                </a:lnTo>
                <a:cubicBezTo>
                  <a:pt x="734020" y="4215993"/>
                  <a:pt x="739885" y="4201030"/>
                  <a:pt x="748528" y="4185453"/>
                </a:cubicBezTo>
                <a:lnTo>
                  <a:pt x="760611" y="4160747"/>
                </a:lnTo>
                <a:lnTo>
                  <a:pt x="748125" y="4123975"/>
                </a:lnTo>
                <a:lnTo>
                  <a:pt x="703256" y="4145005"/>
                </a:lnTo>
                <a:cubicBezTo>
                  <a:pt x="655513" y="4177800"/>
                  <a:pt x="615180" y="4230272"/>
                  <a:pt x="552622" y="4243389"/>
                </a:cubicBezTo>
                <a:lnTo>
                  <a:pt x="552352" y="4243398"/>
                </a:lnTo>
                <a:lnTo>
                  <a:pt x="533296" y="4261112"/>
                </a:lnTo>
                <a:cubicBezTo>
                  <a:pt x="525126" y="4264435"/>
                  <a:pt x="515323" y="4265543"/>
                  <a:pt x="504428" y="4265543"/>
                </a:cubicBezTo>
                <a:lnTo>
                  <a:pt x="504254" y="4264977"/>
                </a:lnTo>
                <a:lnTo>
                  <a:pt x="504197" y="4266080"/>
                </a:lnTo>
                <a:cubicBezTo>
                  <a:pt x="490894" y="4292280"/>
                  <a:pt x="477590" y="4327215"/>
                  <a:pt x="450982" y="4318481"/>
                </a:cubicBezTo>
                <a:cubicBezTo>
                  <a:pt x="406637" y="4305380"/>
                  <a:pt x="411072" y="4257346"/>
                  <a:pt x="406637" y="4218046"/>
                </a:cubicBezTo>
                <a:lnTo>
                  <a:pt x="406723" y="4217461"/>
                </a:lnTo>
                <a:lnTo>
                  <a:pt x="363537" y="4243135"/>
                </a:lnTo>
                <a:lnTo>
                  <a:pt x="364666" y="4244092"/>
                </a:lnTo>
                <a:cubicBezTo>
                  <a:pt x="342678" y="4283306"/>
                  <a:pt x="303102" y="4296378"/>
                  <a:pt x="263525" y="4313807"/>
                </a:cubicBezTo>
                <a:lnTo>
                  <a:pt x="263525" y="4312039"/>
                </a:lnTo>
                <a:lnTo>
                  <a:pt x="263055" y="4313922"/>
                </a:lnTo>
                <a:cubicBezTo>
                  <a:pt x="263055" y="4331493"/>
                  <a:pt x="263055" y="4349064"/>
                  <a:pt x="263055" y="4362244"/>
                </a:cubicBezTo>
                <a:cubicBezTo>
                  <a:pt x="175560" y="4423743"/>
                  <a:pt x="175560" y="4305136"/>
                  <a:pt x="123061" y="4291958"/>
                </a:cubicBezTo>
                <a:cubicBezTo>
                  <a:pt x="109937" y="4234850"/>
                  <a:pt x="149310" y="4230458"/>
                  <a:pt x="188684" y="4217279"/>
                </a:cubicBezTo>
                <a:lnTo>
                  <a:pt x="197367" y="4219885"/>
                </a:lnTo>
                <a:lnTo>
                  <a:pt x="198417" y="4214029"/>
                </a:lnTo>
                <a:cubicBezTo>
                  <a:pt x="206353" y="4188011"/>
                  <a:pt x="223447" y="4175622"/>
                  <a:pt x="262518" y="4195444"/>
                </a:cubicBezTo>
                <a:lnTo>
                  <a:pt x="262825" y="4196157"/>
                </a:lnTo>
                <a:lnTo>
                  <a:pt x="262773" y="4195340"/>
                </a:lnTo>
                <a:cubicBezTo>
                  <a:pt x="284923" y="4182177"/>
                  <a:pt x="289353" y="4164627"/>
                  <a:pt x="289353" y="4147076"/>
                </a:cubicBezTo>
                <a:lnTo>
                  <a:pt x="290208" y="4146690"/>
                </a:lnTo>
                <a:lnTo>
                  <a:pt x="358774" y="4050407"/>
                </a:lnTo>
                <a:lnTo>
                  <a:pt x="336038" y="4036129"/>
                </a:lnTo>
                <a:cubicBezTo>
                  <a:pt x="329964" y="4030057"/>
                  <a:pt x="326652" y="4022330"/>
                  <a:pt x="328861" y="4011289"/>
                </a:cubicBezTo>
                <a:cubicBezTo>
                  <a:pt x="331069" y="3998040"/>
                  <a:pt x="338798" y="3990311"/>
                  <a:pt x="348735" y="3985342"/>
                </a:cubicBezTo>
                <a:lnTo>
                  <a:pt x="380757" y="3976270"/>
                </a:lnTo>
                <a:lnTo>
                  <a:pt x="385110" y="3954507"/>
                </a:lnTo>
                <a:lnTo>
                  <a:pt x="386902" y="3954507"/>
                </a:lnTo>
                <a:lnTo>
                  <a:pt x="385578" y="3953730"/>
                </a:lnTo>
                <a:cubicBezTo>
                  <a:pt x="376820" y="3944906"/>
                  <a:pt x="368061" y="3936085"/>
                  <a:pt x="359301" y="3927261"/>
                </a:cubicBezTo>
                <a:lnTo>
                  <a:pt x="360335" y="3925606"/>
                </a:lnTo>
                <a:lnTo>
                  <a:pt x="359301" y="3926030"/>
                </a:lnTo>
                <a:cubicBezTo>
                  <a:pt x="346230" y="3926030"/>
                  <a:pt x="328801" y="3930376"/>
                  <a:pt x="315729" y="3930376"/>
                </a:cubicBezTo>
                <a:lnTo>
                  <a:pt x="315027" y="3929675"/>
                </a:lnTo>
                <a:lnTo>
                  <a:pt x="314510" y="3931617"/>
                </a:lnTo>
                <a:lnTo>
                  <a:pt x="313127" y="3931931"/>
                </a:lnTo>
                <a:lnTo>
                  <a:pt x="315696" y="3932568"/>
                </a:lnTo>
                <a:cubicBezTo>
                  <a:pt x="320070" y="3952313"/>
                  <a:pt x="314601" y="3966573"/>
                  <a:pt x="304757" y="3977542"/>
                </a:cubicBezTo>
                <a:lnTo>
                  <a:pt x="267963" y="4002506"/>
                </a:lnTo>
                <a:lnTo>
                  <a:pt x="268136" y="4002849"/>
                </a:lnTo>
                <a:cubicBezTo>
                  <a:pt x="224135" y="4042149"/>
                  <a:pt x="184532" y="4077084"/>
                  <a:pt x="140531" y="4116386"/>
                </a:cubicBezTo>
                <a:lnTo>
                  <a:pt x="139879" y="4116173"/>
                </a:lnTo>
                <a:lnTo>
                  <a:pt x="140389" y="4117031"/>
                </a:lnTo>
                <a:cubicBezTo>
                  <a:pt x="144794" y="4125853"/>
                  <a:pt x="144794" y="4134676"/>
                  <a:pt x="144794" y="4147910"/>
                </a:cubicBezTo>
                <a:cubicBezTo>
                  <a:pt x="109554" y="4169965"/>
                  <a:pt x="65502" y="4174377"/>
                  <a:pt x="25857" y="4169965"/>
                </a:cubicBezTo>
                <a:cubicBezTo>
                  <a:pt x="25857" y="4156732"/>
                  <a:pt x="25857" y="4139086"/>
                  <a:pt x="25857" y="4121443"/>
                </a:cubicBezTo>
                <a:cubicBezTo>
                  <a:pt x="22553" y="4081740"/>
                  <a:pt x="29161" y="4054445"/>
                  <a:pt x="58689" y="4058168"/>
                </a:cubicBezTo>
                <a:cubicBezTo>
                  <a:pt x="68530" y="4059408"/>
                  <a:pt x="80920" y="4064095"/>
                  <a:pt x="96337" y="4072918"/>
                </a:cubicBezTo>
                <a:lnTo>
                  <a:pt x="96671" y="4073109"/>
                </a:lnTo>
                <a:lnTo>
                  <a:pt x="96530" y="4072717"/>
                </a:lnTo>
                <a:cubicBezTo>
                  <a:pt x="114129" y="4050883"/>
                  <a:pt x="131731" y="4029049"/>
                  <a:pt x="153732" y="4002849"/>
                </a:cubicBezTo>
                <a:lnTo>
                  <a:pt x="158353" y="4000300"/>
                </a:lnTo>
                <a:lnTo>
                  <a:pt x="153221" y="4001106"/>
                </a:lnTo>
                <a:cubicBezTo>
                  <a:pt x="96310" y="3966320"/>
                  <a:pt x="13134" y="3970669"/>
                  <a:pt x="1" y="3879358"/>
                </a:cubicBezTo>
                <a:cubicBezTo>
                  <a:pt x="13134" y="3861965"/>
                  <a:pt x="21890" y="3844573"/>
                  <a:pt x="48156" y="3848920"/>
                </a:cubicBezTo>
                <a:lnTo>
                  <a:pt x="54522" y="3851246"/>
                </a:lnTo>
                <a:lnTo>
                  <a:pt x="77955" y="3822357"/>
                </a:lnTo>
                <a:cubicBezTo>
                  <a:pt x="90534" y="3814112"/>
                  <a:pt x="105845" y="3809714"/>
                  <a:pt x="123345" y="3809714"/>
                </a:cubicBezTo>
                <a:lnTo>
                  <a:pt x="123345" y="3866447"/>
                </a:lnTo>
                <a:lnTo>
                  <a:pt x="123549" y="3866483"/>
                </a:lnTo>
                <a:lnTo>
                  <a:pt x="123549" y="3809331"/>
                </a:lnTo>
                <a:cubicBezTo>
                  <a:pt x="119219" y="3809331"/>
                  <a:pt x="119219" y="3809331"/>
                  <a:pt x="119219" y="3809331"/>
                </a:cubicBezTo>
                <a:lnTo>
                  <a:pt x="187741" y="3783198"/>
                </a:lnTo>
                <a:lnTo>
                  <a:pt x="214162" y="3761450"/>
                </a:lnTo>
                <a:lnTo>
                  <a:pt x="216049" y="3762565"/>
                </a:lnTo>
                <a:lnTo>
                  <a:pt x="214509" y="3760377"/>
                </a:lnTo>
                <a:cubicBezTo>
                  <a:pt x="216727" y="3736045"/>
                  <a:pt x="225596" y="3716135"/>
                  <a:pt x="238344" y="3698991"/>
                </a:cubicBezTo>
                <a:lnTo>
                  <a:pt x="284355" y="3655249"/>
                </a:lnTo>
                <a:lnTo>
                  <a:pt x="284224" y="3653554"/>
                </a:lnTo>
                <a:cubicBezTo>
                  <a:pt x="302099" y="3640361"/>
                  <a:pt x="319976" y="3627168"/>
                  <a:pt x="337851" y="3613977"/>
                </a:cubicBezTo>
                <a:lnTo>
                  <a:pt x="337851" y="3614080"/>
                </a:lnTo>
                <a:lnTo>
                  <a:pt x="362772" y="3592992"/>
                </a:lnTo>
                <a:lnTo>
                  <a:pt x="362760" y="3592798"/>
                </a:lnTo>
                <a:lnTo>
                  <a:pt x="481488" y="3444930"/>
                </a:lnTo>
                <a:lnTo>
                  <a:pt x="445594" y="3441645"/>
                </a:lnTo>
                <a:lnTo>
                  <a:pt x="446098" y="3447674"/>
                </a:lnTo>
                <a:cubicBezTo>
                  <a:pt x="437353" y="3465161"/>
                  <a:pt x="428609" y="3478276"/>
                  <a:pt x="411123" y="3487021"/>
                </a:cubicBezTo>
                <a:lnTo>
                  <a:pt x="387838" y="3501779"/>
                </a:lnTo>
                <a:lnTo>
                  <a:pt x="383277" y="3509932"/>
                </a:lnTo>
                <a:cubicBezTo>
                  <a:pt x="352163" y="3545243"/>
                  <a:pt x="303855" y="3560110"/>
                  <a:pt x="267830" y="3589844"/>
                </a:cubicBezTo>
                <a:lnTo>
                  <a:pt x="267827" y="3589839"/>
                </a:lnTo>
                <a:lnTo>
                  <a:pt x="242190" y="3629942"/>
                </a:lnTo>
                <a:cubicBezTo>
                  <a:pt x="232804" y="3642008"/>
                  <a:pt x="219556" y="3648590"/>
                  <a:pt x="193058" y="3637620"/>
                </a:cubicBezTo>
                <a:lnTo>
                  <a:pt x="193058" y="3636154"/>
                </a:lnTo>
                <a:lnTo>
                  <a:pt x="96530" y="3662239"/>
                </a:lnTo>
                <a:cubicBezTo>
                  <a:pt x="100926" y="3618668"/>
                  <a:pt x="122914" y="3592525"/>
                  <a:pt x="171286" y="3592525"/>
                </a:cubicBezTo>
                <a:lnTo>
                  <a:pt x="171749" y="3592525"/>
                </a:lnTo>
                <a:lnTo>
                  <a:pt x="171607" y="3592430"/>
                </a:lnTo>
                <a:cubicBezTo>
                  <a:pt x="175921" y="3575193"/>
                  <a:pt x="184547" y="3562266"/>
                  <a:pt x="193175" y="3545027"/>
                </a:cubicBezTo>
                <a:cubicBezTo>
                  <a:pt x="214742" y="3527790"/>
                  <a:pt x="240623" y="3510552"/>
                  <a:pt x="262190" y="3493316"/>
                </a:cubicBezTo>
                <a:lnTo>
                  <a:pt x="262190" y="3494603"/>
                </a:lnTo>
                <a:lnTo>
                  <a:pt x="262482" y="3491392"/>
                </a:lnTo>
                <a:cubicBezTo>
                  <a:pt x="271227" y="3473905"/>
                  <a:pt x="279969" y="3460790"/>
                  <a:pt x="288713" y="3447674"/>
                </a:cubicBezTo>
                <a:lnTo>
                  <a:pt x="290036" y="3446109"/>
                </a:lnTo>
                <a:lnTo>
                  <a:pt x="302283" y="3401912"/>
                </a:lnTo>
                <a:lnTo>
                  <a:pt x="337050" y="3373565"/>
                </a:lnTo>
                <a:lnTo>
                  <a:pt x="316400" y="3352502"/>
                </a:lnTo>
                <a:lnTo>
                  <a:pt x="317640" y="3349996"/>
                </a:lnTo>
                <a:lnTo>
                  <a:pt x="315988" y="3351203"/>
                </a:lnTo>
                <a:cubicBezTo>
                  <a:pt x="285090" y="3289601"/>
                  <a:pt x="249779" y="3236800"/>
                  <a:pt x="170329" y="3276401"/>
                </a:cubicBezTo>
                <a:cubicBezTo>
                  <a:pt x="139431" y="3223598"/>
                  <a:pt x="179156" y="3201599"/>
                  <a:pt x="214468" y="3179597"/>
                </a:cubicBezTo>
                <a:lnTo>
                  <a:pt x="214894" y="3179667"/>
                </a:lnTo>
                <a:lnTo>
                  <a:pt x="262938" y="3131164"/>
                </a:lnTo>
                <a:lnTo>
                  <a:pt x="262773" y="3130999"/>
                </a:lnTo>
                <a:cubicBezTo>
                  <a:pt x="271583" y="3100500"/>
                  <a:pt x="285899" y="3074358"/>
                  <a:pt x="305722" y="3054203"/>
                </a:cubicBezTo>
                <a:lnTo>
                  <a:pt x="380761" y="3013866"/>
                </a:lnTo>
                <a:lnTo>
                  <a:pt x="381135" y="3013205"/>
                </a:lnTo>
                <a:lnTo>
                  <a:pt x="385493" y="2991277"/>
                </a:lnTo>
                <a:lnTo>
                  <a:pt x="359972" y="2965475"/>
                </a:lnTo>
                <a:lnTo>
                  <a:pt x="359301" y="2963098"/>
                </a:lnTo>
                <a:lnTo>
                  <a:pt x="359301" y="2965358"/>
                </a:lnTo>
                <a:cubicBezTo>
                  <a:pt x="328588" y="2952086"/>
                  <a:pt x="284712" y="2991905"/>
                  <a:pt x="262773" y="2938813"/>
                </a:cubicBezTo>
                <a:lnTo>
                  <a:pt x="263336" y="2938555"/>
                </a:lnTo>
                <a:lnTo>
                  <a:pt x="262773" y="2938474"/>
                </a:lnTo>
                <a:cubicBezTo>
                  <a:pt x="275948" y="2894439"/>
                  <a:pt x="300104" y="2852605"/>
                  <a:pt x="318769" y="2808570"/>
                </a:cubicBezTo>
                <a:lnTo>
                  <a:pt x="329221" y="2775879"/>
                </a:lnTo>
                <a:lnTo>
                  <a:pt x="320692" y="2782169"/>
                </a:lnTo>
                <a:cubicBezTo>
                  <a:pt x="303103" y="2792518"/>
                  <a:pt x="283314" y="2800143"/>
                  <a:pt x="263526" y="2808857"/>
                </a:cubicBezTo>
                <a:lnTo>
                  <a:pt x="263526" y="2807089"/>
                </a:lnTo>
                <a:lnTo>
                  <a:pt x="263056" y="2808972"/>
                </a:lnTo>
                <a:cubicBezTo>
                  <a:pt x="263056" y="2826543"/>
                  <a:pt x="263056" y="2844114"/>
                  <a:pt x="263056" y="2857294"/>
                </a:cubicBezTo>
                <a:cubicBezTo>
                  <a:pt x="175561" y="2918793"/>
                  <a:pt x="175561" y="2800186"/>
                  <a:pt x="123062" y="2787009"/>
                </a:cubicBezTo>
                <a:cubicBezTo>
                  <a:pt x="109938" y="2729900"/>
                  <a:pt x="149311" y="2725508"/>
                  <a:pt x="188685" y="2712329"/>
                </a:cubicBezTo>
                <a:lnTo>
                  <a:pt x="197368" y="2714935"/>
                </a:lnTo>
                <a:lnTo>
                  <a:pt x="198418" y="2709079"/>
                </a:lnTo>
                <a:cubicBezTo>
                  <a:pt x="206354" y="2683061"/>
                  <a:pt x="223448" y="2670672"/>
                  <a:pt x="262519" y="2690494"/>
                </a:cubicBezTo>
                <a:lnTo>
                  <a:pt x="262826" y="2691207"/>
                </a:lnTo>
                <a:lnTo>
                  <a:pt x="262774" y="2690390"/>
                </a:lnTo>
                <a:cubicBezTo>
                  <a:pt x="284924" y="2677227"/>
                  <a:pt x="289354" y="2659677"/>
                  <a:pt x="289354" y="2642126"/>
                </a:cubicBezTo>
                <a:lnTo>
                  <a:pt x="290209" y="2641740"/>
                </a:lnTo>
                <a:lnTo>
                  <a:pt x="358775" y="2545457"/>
                </a:lnTo>
                <a:lnTo>
                  <a:pt x="336039" y="2531179"/>
                </a:lnTo>
                <a:cubicBezTo>
                  <a:pt x="329965" y="2525107"/>
                  <a:pt x="326653" y="2517380"/>
                  <a:pt x="328862" y="2506339"/>
                </a:cubicBezTo>
                <a:cubicBezTo>
                  <a:pt x="331070" y="2493090"/>
                  <a:pt x="338799" y="2485361"/>
                  <a:pt x="348736" y="2480392"/>
                </a:cubicBezTo>
                <a:lnTo>
                  <a:pt x="380758" y="2471320"/>
                </a:lnTo>
                <a:lnTo>
                  <a:pt x="385111" y="2449557"/>
                </a:lnTo>
                <a:lnTo>
                  <a:pt x="386903" y="2449557"/>
                </a:lnTo>
                <a:lnTo>
                  <a:pt x="385579" y="2448780"/>
                </a:lnTo>
                <a:cubicBezTo>
                  <a:pt x="376821" y="2439956"/>
                  <a:pt x="368062" y="2431135"/>
                  <a:pt x="359302" y="2422311"/>
                </a:cubicBezTo>
                <a:lnTo>
                  <a:pt x="360336" y="2420656"/>
                </a:lnTo>
                <a:lnTo>
                  <a:pt x="359302" y="2421080"/>
                </a:lnTo>
                <a:cubicBezTo>
                  <a:pt x="346231" y="2421080"/>
                  <a:pt x="328802" y="2425426"/>
                  <a:pt x="315730" y="2425426"/>
                </a:cubicBezTo>
                <a:lnTo>
                  <a:pt x="315028" y="2424725"/>
                </a:lnTo>
                <a:lnTo>
                  <a:pt x="314511" y="2426667"/>
                </a:lnTo>
                <a:lnTo>
                  <a:pt x="313128" y="2426981"/>
                </a:lnTo>
                <a:lnTo>
                  <a:pt x="315697" y="2427618"/>
                </a:lnTo>
                <a:cubicBezTo>
                  <a:pt x="320071" y="2447363"/>
                  <a:pt x="314602" y="2461623"/>
                  <a:pt x="304758" y="2472592"/>
                </a:cubicBezTo>
                <a:lnTo>
                  <a:pt x="267964" y="2497556"/>
                </a:lnTo>
                <a:lnTo>
                  <a:pt x="268137" y="2497899"/>
                </a:lnTo>
                <a:cubicBezTo>
                  <a:pt x="224136" y="2537199"/>
                  <a:pt x="184533" y="2572134"/>
                  <a:pt x="140532" y="2611436"/>
                </a:cubicBezTo>
                <a:lnTo>
                  <a:pt x="139880" y="2611223"/>
                </a:lnTo>
                <a:lnTo>
                  <a:pt x="140390" y="2612081"/>
                </a:lnTo>
                <a:cubicBezTo>
                  <a:pt x="144795" y="2620903"/>
                  <a:pt x="144795" y="2629726"/>
                  <a:pt x="144795" y="2642960"/>
                </a:cubicBezTo>
                <a:cubicBezTo>
                  <a:pt x="109555" y="2665015"/>
                  <a:pt x="65503" y="2669427"/>
                  <a:pt x="25858" y="2665015"/>
                </a:cubicBezTo>
                <a:cubicBezTo>
                  <a:pt x="25858" y="2651782"/>
                  <a:pt x="25858" y="2634136"/>
                  <a:pt x="25858" y="2616493"/>
                </a:cubicBezTo>
                <a:cubicBezTo>
                  <a:pt x="22554" y="2576790"/>
                  <a:pt x="29162" y="2549495"/>
                  <a:pt x="58690" y="2553218"/>
                </a:cubicBezTo>
                <a:cubicBezTo>
                  <a:pt x="68531" y="2554458"/>
                  <a:pt x="80921" y="2559145"/>
                  <a:pt x="96338" y="2567968"/>
                </a:cubicBezTo>
                <a:lnTo>
                  <a:pt x="96672" y="2568159"/>
                </a:lnTo>
                <a:lnTo>
                  <a:pt x="96531" y="2567767"/>
                </a:lnTo>
                <a:cubicBezTo>
                  <a:pt x="114130" y="2545933"/>
                  <a:pt x="131732" y="2524099"/>
                  <a:pt x="153733" y="2497899"/>
                </a:cubicBezTo>
                <a:lnTo>
                  <a:pt x="158354" y="2495350"/>
                </a:lnTo>
                <a:lnTo>
                  <a:pt x="153222" y="2496156"/>
                </a:lnTo>
                <a:cubicBezTo>
                  <a:pt x="96311" y="2461370"/>
                  <a:pt x="13135" y="2465719"/>
                  <a:pt x="2" y="2374408"/>
                </a:cubicBezTo>
                <a:cubicBezTo>
                  <a:pt x="13135" y="2357015"/>
                  <a:pt x="21891" y="2339623"/>
                  <a:pt x="48157" y="2343970"/>
                </a:cubicBezTo>
                <a:lnTo>
                  <a:pt x="54523" y="2346296"/>
                </a:lnTo>
                <a:lnTo>
                  <a:pt x="77956" y="2317407"/>
                </a:lnTo>
                <a:cubicBezTo>
                  <a:pt x="90535" y="2309162"/>
                  <a:pt x="105846" y="2304764"/>
                  <a:pt x="123346" y="2304764"/>
                </a:cubicBezTo>
                <a:lnTo>
                  <a:pt x="123346" y="2361497"/>
                </a:lnTo>
                <a:lnTo>
                  <a:pt x="123550" y="2361533"/>
                </a:lnTo>
                <a:lnTo>
                  <a:pt x="123550" y="2304381"/>
                </a:lnTo>
                <a:cubicBezTo>
                  <a:pt x="119220" y="2304381"/>
                  <a:pt x="119220" y="2304381"/>
                  <a:pt x="119220" y="2304381"/>
                </a:cubicBezTo>
                <a:lnTo>
                  <a:pt x="187742" y="2278248"/>
                </a:lnTo>
                <a:lnTo>
                  <a:pt x="214163" y="2256500"/>
                </a:lnTo>
                <a:lnTo>
                  <a:pt x="216050" y="2257615"/>
                </a:lnTo>
                <a:lnTo>
                  <a:pt x="214510" y="2255427"/>
                </a:lnTo>
                <a:cubicBezTo>
                  <a:pt x="216728" y="2231095"/>
                  <a:pt x="225597" y="2211185"/>
                  <a:pt x="238345" y="2194041"/>
                </a:cubicBezTo>
                <a:lnTo>
                  <a:pt x="284356" y="2150299"/>
                </a:lnTo>
                <a:lnTo>
                  <a:pt x="284225" y="2148604"/>
                </a:lnTo>
                <a:cubicBezTo>
                  <a:pt x="302100" y="2135411"/>
                  <a:pt x="319977" y="2122218"/>
                  <a:pt x="337852" y="2109027"/>
                </a:cubicBezTo>
                <a:lnTo>
                  <a:pt x="337852" y="2109130"/>
                </a:lnTo>
                <a:lnTo>
                  <a:pt x="362773" y="2088042"/>
                </a:lnTo>
                <a:lnTo>
                  <a:pt x="362761" y="2087848"/>
                </a:lnTo>
                <a:lnTo>
                  <a:pt x="481489" y="1939980"/>
                </a:lnTo>
                <a:lnTo>
                  <a:pt x="445595" y="1936696"/>
                </a:lnTo>
                <a:lnTo>
                  <a:pt x="446099" y="1942725"/>
                </a:lnTo>
                <a:cubicBezTo>
                  <a:pt x="437354" y="1960211"/>
                  <a:pt x="428610" y="1973327"/>
                  <a:pt x="411124" y="1982072"/>
                </a:cubicBezTo>
                <a:lnTo>
                  <a:pt x="387839" y="1996829"/>
                </a:lnTo>
                <a:lnTo>
                  <a:pt x="383278" y="2004982"/>
                </a:lnTo>
                <a:cubicBezTo>
                  <a:pt x="352164" y="2040293"/>
                  <a:pt x="303856" y="2055160"/>
                  <a:pt x="267831" y="2084894"/>
                </a:cubicBezTo>
                <a:lnTo>
                  <a:pt x="267828" y="2084889"/>
                </a:lnTo>
                <a:lnTo>
                  <a:pt x="242191" y="2124992"/>
                </a:lnTo>
                <a:cubicBezTo>
                  <a:pt x="232805" y="2137058"/>
                  <a:pt x="219557" y="2143640"/>
                  <a:pt x="193059" y="2132670"/>
                </a:cubicBezTo>
                <a:lnTo>
                  <a:pt x="193059" y="2131204"/>
                </a:lnTo>
                <a:lnTo>
                  <a:pt x="96531" y="2157289"/>
                </a:lnTo>
                <a:cubicBezTo>
                  <a:pt x="100927" y="2113718"/>
                  <a:pt x="122915" y="2087575"/>
                  <a:pt x="171287" y="2087575"/>
                </a:cubicBezTo>
                <a:lnTo>
                  <a:pt x="171750" y="2087575"/>
                </a:lnTo>
                <a:lnTo>
                  <a:pt x="171608" y="2087480"/>
                </a:lnTo>
                <a:cubicBezTo>
                  <a:pt x="175922" y="2070243"/>
                  <a:pt x="184548" y="2057316"/>
                  <a:pt x="193176" y="2040077"/>
                </a:cubicBezTo>
                <a:cubicBezTo>
                  <a:pt x="214743" y="2022840"/>
                  <a:pt x="240624" y="2005602"/>
                  <a:pt x="262191" y="1988367"/>
                </a:cubicBezTo>
                <a:lnTo>
                  <a:pt x="262191" y="1989654"/>
                </a:lnTo>
                <a:lnTo>
                  <a:pt x="262483" y="1986442"/>
                </a:lnTo>
                <a:cubicBezTo>
                  <a:pt x="271228" y="1968956"/>
                  <a:pt x="279970" y="1955840"/>
                  <a:pt x="288714" y="1942725"/>
                </a:cubicBezTo>
                <a:lnTo>
                  <a:pt x="290037" y="1941160"/>
                </a:lnTo>
                <a:lnTo>
                  <a:pt x="302284" y="1896963"/>
                </a:lnTo>
                <a:lnTo>
                  <a:pt x="337051" y="1868615"/>
                </a:lnTo>
                <a:lnTo>
                  <a:pt x="316401" y="1847552"/>
                </a:lnTo>
                <a:lnTo>
                  <a:pt x="317641" y="1845046"/>
                </a:lnTo>
                <a:lnTo>
                  <a:pt x="315989" y="1846254"/>
                </a:lnTo>
                <a:cubicBezTo>
                  <a:pt x="285091" y="1784651"/>
                  <a:pt x="249780" y="1731851"/>
                  <a:pt x="170330" y="1771452"/>
                </a:cubicBezTo>
                <a:cubicBezTo>
                  <a:pt x="139432" y="1718649"/>
                  <a:pt x="179157" y="1696650"/>
                  <a:pt x="214469" y="1674647"/>
                </a:cubicBezTo>
                <a:lnTo>
                  <a:pt x="214895" y="1674717"/>
                </a:lnTo>
                <a:lnTo>
                  <a:pt x="262939" y="1626215"/>
                </a:lnTo>
                <a:lnTo>
                  <a:pt x="262774" y="1626050"/>
                </a:lnTo>
                <a:cubicBezTo>
                  <a:pt x="271584" y="1595551"/>
                  <a:pt x="285900" y="1569408"/>
                  <a:pt x="305723" y="1549253"/>
                </a:cubicBezTo>
                <a:lnTo>
                  <a:pt x="380762" y="1508917"/>
                </a:lnTo>
                <a:lnTo>
                  <a:pt x="381136" y="1508256"/>
                </a:lnTo>
                <a:lnTo>
                  <a:pt x="385494" y="1486327"/>
                </a:lnTo>
                <a:lnTo>
                  <a:pt x="359973" y="1460525"/>
                </a:lnTo>
                <a:lnTo>
                  <a:pt x="359302" y="1458148"/>
                </a:lnTo>
                <a:lnTo>
                  <a:pt x="359302" y="1460408"/>
                </a:lnTo>
                <a:cubicBezTo>
                  <a:pt x="328589" y="1447136"/>
                  <a:pt x="284713" y="1486955"/>
                  <a:pt x="262774" y="1433863"/>
                </a:cubicBezTo>
                <a:lnTo>
                  <a:pt x="263337" y="1433605"/>
                </a:lnTo>
                <a:lnTo>
                  <a:pt x="262774" y="1433525"/>
                </a:lnTo>
                <a:cubicBezTo>
                  <a:pt x="289125" y="1345453"/>
                  <a:pt x="359395" y="1266190"/>
                  <a:pt x="341828" y="1160505"/>
                </a:cubicBezTo>
                <a:cubicBezTo>
                  <a:pt x="333043" y="1125278"/>
                  <a:pt x="363787" y="1085648"/>
                  <a:pt x="412097" y="1085648"/>
                </a:cubicBezTo>
                <a:cubicBezTo>
                  <a:pt x="491150" y="1085648"/>
                  <a:pt x="504326" y="1037207"/>
                  <a:pt x="504326" y="975559"/>
                </a:cubicBezTo>
                <a:cubicBezTo>
                  <a:pt x="552636" y="944734"/>
                  <a:pt x="609731" y="931524"/>
                  <a:pt x="658040" y="909506"/>
                </a:cubicBezTo>
                <a:lnTo>
                  <a:pt x="662169" y="910178"/>
                </a:lnTo>
                <a:lnTo>
                  <a:pt x="714135" y="847884"/>
                </a:lnTo>
                <a:lnTo>
                  <a:pt x="792777" y="782421"/>
                </a:lnTo>
                <a:lnTo>
                  <a:pt x="762953" y="738639"/>
                </a:lnTo>
                <a:cubicBezTo>
                  <a:pt x="757472" y="721056"/>
                  <a:pt x="754186" y="702376"/>
                  <a:pt x="745416" y="686990"/>
                </a:cubicBezTo>
                <a:cubicBezTo>
                  <a:pt x="762953" y="669407"/>
                  <a:pt x="780491" y="656221"/>
                  <a:pt x="793643" y="638638"/>
                </a:cubicBezTo>
                <a:cubicBezTo>
                  <a:pt x="828719" y="629847"/>
                  <a:pt x="859409" y="621055"/>
                  <a:pt x="890101" y="616660"/>
                </a:cubicBezTo>
                <a:cubicBezTo>
                  <a:pt x="919694" y="589462"/>
                  <a:pt x="949289" y="563655"/>
                  <a:pt x="981226" y="557232"/>
                </a:cubicBezTo>
                <a:cubicBezTo>
                  <a:pt x="991870" y="555090"/>
                  <a:pt x="1002776" y="555104"/>
                  <a:pt x="1014027" y="557936"/>
                </a:cubicBezTo>
                <a:lnTo>
                  <a:pt x="1059447" y="584913"/>
                </a:lnTo>
                <a:lnTo>
                  <a:pt x="1104909" y="519168"/>
                </a:lnTo>
                <a:cubicBezTo>
                  <a:pt x="1122529" y="510408"/>
                  <a:pt x="1140150" y="501651"/>
                  <a:pt x="1157770" y="492891"/>
                </a:cubicBezTo>
                <a:cubicBezTo>
                  <a:pt x="1159973" y="488512"/>
                  <a:pt x="1163277" y="486321"/>
                  <a:pt x="1167131" y="486321"/>
                </a:cubicBezTo>
                <a:lnTo>
                  <a:pt x="1174904" y="490353"/>
                </a:lnTo>
                <a:lnTo>
                  <a:pt x="1187261" y="475339"/>
                </a:lnTo>
                <a:lnTo>
                  <a:pt x="1190018" y="473971"/>
                </a:lnTo>
                <a:lnTo>
                  <a:pt x="1205783" y="444448"/>
                </a:lnTo>
                <a:cubicBezTo>
                  <a:pt x="1218778" y="435599"/>
                  <a:pt x="1236103" y="431176"/>
                  <a:pt x="1249098" y="422327"/>
                </a:cubicBezTo>
                <a:lnTo>
                  <a:pt x="1249537" y="422317"/>
                </a:lnTo>
                <a:lnTo>
                  <a:pt x="1253866" y="400116"/>
                </a:lnTo>
                <a:cubicBezTo>
                  <a:pt x="1266938" y="382239"/>
                  <a:pt x="1280009" y="368833"/>
                  <a:pt x="1301795" y="373302"/>
                </a:cubicBezTo>
                <a:cubicBezTo>
                  <a:pt x="1314866" y="373302"/>
                  <a:pt x="1332295" y="373302"/>
                  <a:pt x="1345367" y="368833"/>
                </a:cubicBezTo>
                <a:lnTo>
                  <a:pt x="1345579" y="371444"/>
                </a:lnTo>
                <a:lnTo>
                  <a:pt x="1345703" y="370821"/>
                </a:lnTo>
                <a:cubicBezTo>
                  <a:pt x="1354416" y="357588"/>
                  <a:pt x="1363132" y="339942"/>
                  <a:pt x="1371846" y="326709"/>
                </a:cubicBezTo>
                <a:cubicBezTo>
                  <a:pt x="1397988" y="317887"/>
                  <a:pt x="1419775" y="348766"/>
                  <a:pt x="1441561" y="326709"/>
                </a:cubicBezTo>
                <a:lnTo>
                  <a:pt x="1442273" y="327719"/>
                </a:lnTo>
                <a:lnTo>
                  <a:pt x="1441971" y="326119"/>
                </a:lnTo>
                <a:cubicBezTo>
                  <a:pt x="1450776" y="277478"/>
                  <a:pt x="1441971" y="233261"/>
                  <a:pt x="1402346" y="189042"/>
                </a:cubicBezTo>
                <a:cubicBezTo>
                  <a:pt x="1490401" y="175776"/>
                  <a:pt x="1450776" y="286322"/>
                  <a:pt x="1516817" y="277478"/>
                </a:cubicBezTo>
                <a:cubicBezTo>
                  <a:pt x="1556440" y="259792"/>
                  <a:pt x="1600468" y="273057"/>
                  <a:pt x="1635690" y="250949"/>
                </a:cubicBezTo>
                <a:cubicBezTo>
                  <a:pt x="1692925" y="193464"/>
                  <a:pt x="1719341" y="264214"/>
                  <a:pt x="1758966" y="277478"/>
                </a:cubicBezTo>
                <a:cubicBezTo>
                  <a:pt x="1758966" y="286322"/>
                  <a:pt x="1758966" y="295166"/>
                  <a:pt x="1758966" y="304010"/>
                </a:cubicBezTo>
                <a:lnTo>
                  <a:pt x="1758545" y="305802"/>
                </a:lnTo>
                <a:lnTo>
                  <a:pt x="1782553" y="325736"/>
                </a:lnTo>
                <a:lnTo>
                  <a:pt x="1783259" y="325408"/>
                </a:lnTo>
                <a:cubicBezTo>
                  <a:pt x="1790921" y="318836"/>
                  <a:pt x="1798582" y="315549"/>
                  <a:pt x="1806244" y="314318"/>
                </a:cubicBezTo>
                <a:cubicBezTo>
                  <a:pt x="1829226" y="310621"/>
                  <a:pt x="1852209" y="325408"/>
                  <a:pt x="1875192" y="325408"/>
                </a:cubicBezTo>
                <a:lnTo>
                  <a:pt x="1878420" y="327715"/>
                </a:lnTo>
                <a:lnTo>
                  <a:pt x="1876943" y="324986"/>
                </a:lnTo>
                <a:cubicBezTo>
                  <a:pt x="1933102" y="320569"/>
                  <a:pt x="1954703" y="342650"/>
                  <a:pt x="1950383" y="395647"/>
                </a:cubicBezTo>
                <a:lnTo>
                  <a:pt x="1949567" y="395459"/>
                </a:lnTo>
                <a:lnTo>
                  <a:pt x="1949612" y="395517"/>
                </a:lnTo>
                <a:cubicBezTo>
                  <a:pt x="1949612" y="404279"/>
                  <a:pt x="1949612" y="413044"/>
                  <a:pt x="1949612" y="421807"/>
                </a:cubicBezTo>
                <a:lnTo>
                  <a:pt x="1951575" y="431625"/>
                </a:lnTo>
                <a:lnTo>
                  <a:pt x="1951575" y="421531"/>
                </a:lnTo>
                <a:cubicBezTo>
                  <a:pt x="2003413" y="417098"/>
                  <a:pt x="2055253" y="425967"/>
                  <a:pt x="2094133" y="465877"/>
                </a:cubicBezTo>
                <a:lnTo>
                  <a:pt x="2091356" y="466341"/>
                </a:lnTo>
                <a:lnTo>
                  <a:pt x="2095217" y="466836"/>
                </a:lnTo>
                <a:cubicBezTo>
                  <a:pt x="2121575" y="475685"/>
                  <a:pt x="2143539" y="457989"/>
                  <a:pt x="2165503" y="444717"/>
                </a:cubicBezTo>
                <a:lnTo>
                  <a:pt x="2167586" y="444950"/>
                </a:lnTo>
                <a:lnTo>
                  <a:pt x="2166529" y="443911"/>
                </a:lnTo>
                <a:cubicBezTo>
                  <a:pt x="2186190" y="405300"/>
                  <a:pt x="2213228" y="388407"/>
                  <a:pt x="2247639" y="391424"/>
                </a:cubicBezTo>
                <a:lnTo>
                  <a:pt x="2282405" y="400462"/>
                </a:lnTo>
                <a:lnTo>
                  <a:pt x="2284001" y="399962"/>
                </a:lnTo>
                <a:lnTo>
                  <a:pt x="2310259" y="369144"/>
                </a:lnTo>
                <a:lnTo>
                  <a:pt x="2310259" y="347168"/>
                </a:lnTo>
                <a:lnTo>
                  <a:pt x="2312731" y="346682"/>
                </a:lnTo>
                <a:lnTo>
                  <a:pt x="2358724" y="294651"/>
                </a:lnTo>
                <a:cubicBezTo>
                  <a:pt x="2384580" y="285712"/>
                  <a:pt x="2406126" y="285712"/>
                  <a:pt x="2431982" y="299118"/>
                </a:cubicBezTo>
                <a:lnTo>
                  <a:pt x="2385181" y="352064"/>
                </a:lnTo>
                <a:lnTo>
                  <a:pt x="2390035" y="376851"/>
                </a:lnTo>
                <a:cubicBezTo>
                  <a:pt x="2393886" y="384546"/>
                  <a:pt x="2400489" y="391142"/>
                  <a:pt x="2411493" y="395540"/>
                </a:cubicBezTo>
                <a:lnTo>
                  <a:pt x="2411440" y="395730"/>
                </a:lnTo>
                <a:lnTo>
                  <a:pt x="2480068" y="374196"/>
                </a:lnTo>
                <a:lnTo>
                  <a:pt x="2483309" y="377755"/>
                </a:lnTo>
                <a:lnTo>
                  <a:pt x="2481934" y="374441"/>
                </a:lnTo>
                <a:cubicBezTo>
                  <a:pt x="2499412" y="356890"/>
                  <a:pt x="2516890" y="343727"/>
                  <a:pt x="2534368" y="330563"/>
                </a:cubicBezTo>
                <a:lnTo>
                  <a:pt x="2536573" y="329801"/>
                </a:lnTo>
                <a:lnTo>
                  <a:pt x="2533874" y="329149"/>
                </a:lnTo>
                <a:cubicBezTo>
                  <a:pt x="2547073" y="285354"/>
                  <a:pt x="2586674" y="285354"/>
                  <a:pt x="2621876" y="276595"/>
                </a:cubicBezTo>
                <a:lnTo>
                  <a:pt x="2624625" y="274573"/>
                </a:lnTo>
                <a:lnTo>
                  <a:pt x="2649669" y="238031"/>
                </a:lnTo>
                <a:cubicBezTo>
                  <a:pt x="2683623" y="209172"/>
                  <a:pt x="2734046" y="207524"/>
                  <a:pt x="2769832" y="181139"/>
                </a:cubicBezTo>
                <a:lnTo>
                  <a:pt x="2766802" y="214937"/>
                </a:lnTo>
                <a:lnTo>
                  <a:pt x="2768128" y="213667"/>
                </a:lnTo>
                <a:lnTo>
                  <a:pt x="2771043" y="181139"/>
                </a:lnTo>
                <a:lnTo>
                  <a:pt x="2817941" y="133559"/>
                </a:lnTo>
                <a:lnTo>
                  <a:pt x="2818373" y="103180"/>
                </a:lnTo>
                <a:cubicBezTo>
                  <a:pt x="2828071" y="79983"/>
                  <a:pt x="2861908" y="84866"/>
                  <a:pt x="2888316" y="84866"/>
                </a:cubicBezTo>
                <a:cubicBezTo>
                  <a:pt x="2910322" y="76184"/>
                  <a:pt x="2936732" y="71842"/>
                  <a:pt x="2958738" y="63160"/>
                </a:cubicBezTo>
                <a:cubicBezTo>
                  <a:pt x="2965342" y="71842"/>
                  <a:pt x="2973045" y="77268"/>
                  <a:pt x="2981297" y="80525"/>
                </a:cubicBezTo>
                <a:lnTo>
                  <a:pt x="3005829" y="84643"/>
                </a:lnTo>
                <a:lnTo>
                  <a:pt x="3005791" y="84611"/>
                </a:lnTo>
                <a:cubicBezTo>
                  <a:pt x="3014677" y="75672"/>
                  <a:pt x="3023564" y="66736"/>
                  <a:pt x="3032450" y="57797"/>
                </a:cubicBezTo>
                <a:lnTo>
                  <a:pt x="3033280" y="57973"/>
                </a:lnTo>
                <a:lnTo>
                  <a:pt x="3034362" y="21069"/>
                </a:lnTo>
                <a:cubicBezTo>
                  <a:pt x="3035452" y="9428"/>
                  <a:pt x="3039809" y="559"/>
                  <a:pt x="3055059" y="559"/>
                </a:cubicBezTo>
                <a:cubicBezTo>
                  <a:pt x="3094273" y="-3875"/>
                  <a:pt x="3124774" y="18297"/>
                  <a:pt x="3129132" y="58209"/>
                </a:cubicBezTo>
                <a:lnTo>
                  <a:pt x="3129125" y="58216"/>
                </a:lnTo>
                <a:lnTo>
                  <a:pt x="3130204" y="57797"/>
                </a:lnTo>
                <a:cubicBezTo>
                  <a:pt x="3161308" y="138238"/>
                  <a:pt x="3072439" y="98017"/>
                  <a:pt x="3059109" y="133768"/>
                </a:cubicBezTo>
                <a:lnTo>
                  <a:pt x="3058413" y="133069"/>
                </a:lnTo>
                <a:lnTo>
                  <a:pt x="3052237" y="159280"/>
                </a:lnTo>
                <a:cubicBezTo>
                  <a:pt x="3048975" y="168139"/>
                  <a:pt x="3043538" y="175891"/>
                  <a:pt x="3032662" y="180322"/>
                </a:cubicBezTo>
                <a:lnTo>
                  <a:pt x="3031678" y="181757"/>
                </a:lnTo>
                <a:lnTo>
                  <a:pt x="3033274" y="181139"/>
                </a:lnTo>
                <a:lnTo>
                  <a:pt x="3058941" y="224091"/>
                </a:lnTo>
                <a:lnTo>
                  <a:pt x="3102318" y="228446"/>
                </a:lnTo>
                <a:lnTo>
                  <a:pt x="3101212" y="230888"/>
                </a:lnTo>
                <a:lnTo>
                  <a:pt x="3103254" y="229074"/>
                </a:lnTo>
                <a:cubicBezTo>
                  <a:pt x="3169012" y="172165"/>
                  <a:pt x="3217234" y="88989"/>
                  <a:pt x="3335596" y="84611"/>
                </a:cubicBezTo>
                <a:cubicBezTo>
                  <a:pt x="3274224" y="141521"/>
                  <a:pt x="3226001" y="185298"/>
                  <a:pt x="3177779" y="229074"/>
                </a:cubicBezTo>
                <a:lnTo>
                  <a:pt x="3177688" y="229576"/>
                </a:lnTo>
                <a:lnTo>
                  <a:pt x="3177800" y="229403"/>
                </a:lnTo>
                <a:cubicBezTo>
                  <a:pt x="3186502" y="229403"/>
                  <a:pt x="3190853" y="229403"/>
                  <a:pt x="3199555" y="229403"/>
                </a:cubicBezTo>
                <a:lnTo>
                  <a:pt x="3200608" y="231871"/>
                </a:lnTo>
                <a:lnTo>
                  <a:pt x="3200990" y="229594"/>
                </a:lnTo>
                <a:cubicBezTo>
                  <a:pt x="3239313" y="225740"/>
                  <a:pt x="3291046" y="191532"/>
                  <a:pt x="3297512" y="247964"/>
                </a:cubicBezTo>
                <a:lnTo>
                  <a:pt x="3297350" y="276646"/>
                </a:lnTo>
                <a:lnTo>
                  <a:pt x="3318919" y="292185"/>
                </a:lnTo>
                <a:cubicBezTo>
                  <a:pt x="3330808" y="296938"/>
                  <a:pt x="3343783" y="297661"/>
                  <a:pt x="3356680" y="297608"/>
                </a:cubicBezTo>
                <a:lnTo>
                  <a:pt x="3392528" y="298353"/>
                </a:lnTo>
                <a:lnTo>
                  <a:pt x="3414649" y="282248"/>
                </a:lnTo>
                <a:cubicBezTo>
                  <a:pt x="3439613" y="276636"/>
                  <a:pt x="3469570" y="296592"/>
                  <a:pt x="3489542" y="276636"/>
                </a:cubicBezTo>
                <a:cubicBezTo>
                  <a:pt x="3512842" y="349806"/>
                  <a:pt x="3463746" y="348143"/>
                  <a:pt x="3424634" y="355834"/>
                </a:cubicBezTo>
                <a:lnTo>
                  <a:pt x="3393994" y="368872"/>
                </a:lnTo>
                <a:lnTo>
                  <a:pt x="3393978" y="368906"/>
                </a:lnTo>
                <a:cubicBezTo>
                  <a:pt x="3385156" y="377723"/>
                  <a:pt x="3376335" y="386538"/>
                  <a:pt x="3367510" y="395353"/>
                </a:cubicBezTo>
                <a:lnTo>
                  <a:pt x="3367233" y="396343"/>
                </a:lnTo>
                <a:lnTo>
                  <a:pt x="3389221" y="439394"/>
                </a:lnTo>
                <a:lnTo>
                  <a:pt x="3389605" y="439769"/>
                </a:lnTo>
                <a:lnTo>
                  <a:pt x="3438156" y="418716"/>
                </a:lnTo>
                <a:cubicBezTo>
                  <a:pt x="3454467" y="412753"/>
                  <a:pt x="3470780" y="408315"/>
                  <a:pt x="3487091" y="406651"/>
                </a:cubicBezTo>
                <a:cubicBezTo>
                  <a:pt x="3503402" y="404987"/>
                  <a:pt x="3519714" y="406096"/>
                  <a:pt x="3536026" y="411227"/>
                </a:cubicBezTo>
                <a:lnTo>
                  <a:pt x="3548865" y="416931"/>
                </a:lnTo>
                <a:lnTo>
                  <a:pt x="3552144" y="400116"/>
                </a:lnTo>
                <a:cubicBezTo>
                  <a:pt x="3565216" y="382239"/>
                  <a:pt x="3578287" y="368833"/>
                  <a:pt x="3600073" y="373302"/>
                </a:cubicBezTo>
                <a:cubicBezTo>
                  <a:pt x="3613144" y="373302"/>
                  <a:pt x="3630573" y="373302"/>
                  <a:pt x="3643645" y="368833"/>
                </a:cubicBezTo>
                <a:lnTo>
                  <a:pt x="3643857" y="371444"/>
                </a:lnTo>
                <a:lnTo>
                  <a:pt x="3643981" y="370821"/>
                </a:lnTo>
                <a:cubicBezTo>
                  <a:pt x="3652694" y="357588"/>
                  <a:pt x="3661410" y="339942"/>
                  <a:pt x="3670124" y="326709"/>
                </a:cubicBezTo>
                <a:cubicBezTo>
                  <a:pt x="3696266" y="317887"/>
                  <a:pt x="3718053" y="348766"/>
                  <a:pt x="3739839" y="326709"/>
                </a:cubicBezTo>
                <a:lnTo>
                  <a:pt x="3740551" y="327719"/>
                </a:lnTo>
                <a:lnTo>
                  <a:pt x="3740249" y="326119"/>
                </a:lnTo>
                <a:cubicBezTo>
                  <a:pt x="3749054" y="277478"/>
                  <a:pt x="3740249" y="233261"/>
                  <a:pt x="3700624" y="189042"/>
                </a:cubicBezTo>
                <a:cubicBezTo>
                  <a:pt x="3788679" y="175776"/>
                  <a:pt x="3749054" y="286322"/>
                  <a:pt x="3815095" y="277478"/>
                </a:cubicBezTo>
                <a:cubicBezTo>
                  <a:pt x="3854718" y="259792"/>
                  <a:pt x="3898746" y="273057"/>
                  <a:pt x="3933968" y="250949"/>
                </a:cubicBezTo>
                <a:cubicBezTo>
                  <a:pt x="3955431" y="229392"/>
                  <a:pt x="3972560" y="225869"/>
                  <a:pt x="3987677" y="230584"/>
                </a:cubicBezTo>
                <a:lnTo>
                  <a:pt x="3996493" y="234891"/>
                </a:lnTo>
                <a:lnTo>
                  <a:pt x="4042007" y="197227"/>
                </a:lnTo>
                <a:lnTo>
                  <a:pt x="4042131" y="197322"/>
                </a:lnTo>
                <a:lnTo>
                  <a:pt x="4067038" y="176506"/>
                </a:lnTo>
                <a:lnTo>
                  <a:pt x="4068181" y="176645"/>
                </a:lnTo>
                <a:lnTo>
                  <a:pt x="4115972" y="132875"/>
                </a:lnTo>
                <a:cubicBezTo>
                  <a:pt x="4177537" y="137305"/>
                  <a:pt x="4133564" y="181605"/>
                  <a:pt x="4137961" y="203755"/>
                </a:cubicBezTo>
                <a:lnTo>
                  <a:pt x="4137986" y="204809"/>
                </a:lnTo>
                <a:lnTo>
                  <a:pt x="4139266" y="203260"/>
                </a:lnTo>
                <a:lnTo>
                  <a:pt x="4231175" y="181195"/>
                </a:lnTo>
                <a:lnTo>
                  <a:pt x="4231162" y="181139"/>
                </a:lnTo>
                <a:cubicBezTo>
                  <a:pt x="4241962" y="166124"/>
                  <a:pt x="4252762" y="155398"/>
                  <a:pt x="4265181" y="150036"/>
                </a:cubicBezTo>
                <a:lnTo>
                  <a:pt x="4307859" y="151081"/>
                </a:lnTo>
                <a:lnTo>
                  <a:pt x="4309010" y="150353"/>
                </a:lnTo>
                <a:cubicBezTo>
                  <a:pt x="4344047" y="132875"/>
                  <a:pt x="4344047" y="163462"/>
                  <a:pt x="4357188" y="180940"/>
                </a:cubicBezTo>
                <a:lnTo>
                  <a:pt x="4356918" y="181208"/>
                </a:lnTo>
                <a:lnTo>
                  <a:pt x="4357521" y="181197"/>
                </a:lnTo>
                <a:cubicBezTo>
                  <a:pt x="4383664" y="163626"/>
                  <a:pt x="4405449" y="146053"/>
                  <a:pt x="4427236" y="132875"/>
                </a:cubicBezTo>
                <a:cubicBezTo>
                  <a:pt x="4466450" y="154839"/>
                  <a:pt x="4496951" y="181197"/>
                  <a:pt x="4501308" y="229518"/>
                </a:cubicBezTo>
                <a:lnTo>
                  <a:pt x="4501015" y="230405"/>
                </a:lnTo>
                <a:lnTo>
                  <a:pt x="4502314" y="229087"/>
                </a:lnTo>
                <a:cubicBezTo>
                  <a:pt x="4554600" y="202590"/>
                  <a:pt x="4567671" y="246753"/>
                  <a:pt x="4563315" y="277667"/>
                </a:cubicBezTo>
                <a:cubicBezTo>
                  <a:pt x="4563315" y="326248"/>
                  <a:pt x="4585101" y="326248"/>
                  <a:pt x="4619959" y="326248"/>
                </a:cubicBezTo>
                <a:lnTo>
                  <a:pt x="4619644" y="326536"/>
                </a:lnTo>
                <a:lnTo>
                  <a:pt x="4620568" y="326170"/>
                </a:lnTo>
                <a:lnTo>
                  <a:pt x="4653771" y="298305"/>
                </a:lnTo>
                <a:lnTo>
                  <a:pt x="4657002" y="294651"/>
                </a:lnTo>
                <a:lnTo>
                  <a:pt x="4658406" y="294415"/>
                </a:lnTo>
                <a:lnTo>
                  <a:pt x="4673110" y="282076"/>
                </a:lnTo>
                <a:lnTo>
                  <a:pt x="4682779" y="290326"/>
                </a:lnTo>
                <a:lnTo>
                  <a:pt x="4693631" y="288505"/>
                </a:lnTo>
                <a:cubicBezTo>
                  <a:pt x="4705481" y="289064"/>
                  <a:pt x="4717331" y="292415"/>
                  <a:pt x="4730259" y="299118"/>
                </a:cubicBezTo>
                <a:lnTo>
                  <a:pt x="4720422" y="310248"/>
                </a:lnTo>
                <a:lnTo>
                  <a:pt x="4725907" y="311685"/>
                </a:lnTo>
                <a:cubicBezTo>
                  <a:pt x="4743198" y="311944"/>
                  <a:pt x="4760335" y="304606"/>
                  <a:pt x="4777780" y="295718"/>
                </a:cubicBezTo>
                <a:lnTo>
                  <a:pt x="4813055" y="277750"/>
                </a:lnTo>
                <a:lnTo>
                  <a:pt x="4813016" y="277725"/>
                </a:lnTo>
                <a:cubicBezTo>
                  <a:pt x="4839341" y="246974"/>
                  <a:pt x="4870054" y="233796"/>
                  <a:pt x="4909543" y="229403"/>
                </a:cubicBezTo>
                <a:lnTo>
                  <a:pt x="4910838" y="231570"/>
                </a:lnTo>
                <a:lnTo>
                  <a:pt x="4910973" y="229224"/>
                </a:lnTo>
                <a:cubicBezTo>
                  <a:pt x="4932323" y="226744"/>
                  <a:pt x="4946591" y="228449"/>
                  <a:pt x="4955971" y="233032"/>
                </a:cubicBezTo>
                <a:lnTo>
                  <a:pt x="4955990" y="233058"/>
                </a:lnTo>
                <a:lnTo>
                  <a:pt x="4976014" y="220677"/>
                </a:lnTo>
                <a:cubicBezTo>
                  <a:pt x="5006197" y="206802"/>
                  <a:pt x="5041270" y="200928"/>
                  <a:pt x="5068110" y="181139"/>
                </a:cubicBezTo>
                <a:lnTo>
                  <a:pt x="5065079" y="214937"/>
                </a:lnTo>
                <a:lnTo>
                  <a:pt x="5066405" y="213667"/>
                </a:lnTo>
                <a:lnTo>
                  <a:pt x="5069320" y="181139"/>
                </a:lnTo>
                <a:lnTo>
                  <a:pt x="5116219" y="133559"/>
                </a:lnTo>
                <a:lnTo>
                  <a:pt x="5116651" y="103180"/>
                </a:lnTo>
                <a:cubicBezTo>
                  <a:pt x="5126349" y="79983"/>
                  <a:pt x="5160186" y="84866"/>
                  <a:pt x="5186593" y="84866"/>
                </a:cubicBezTo>
                <a:cubicBezTo>
                  <a:pt x="5208599" y="76184"/>
                  <a:pt x="5235010" y="71842"/>
                  <a:pt x="5257015" y="63160"/>
                </a:cubicBezTo>
                <a:cubicBezTo>
                  <a:pt x="5263619" y="71842"/>
                  <a:pt x="5271322" y="77268"/>
                  <a:pt x="5279574" y="80525"/>
                </a:cubicBezTo>
                <a:lnTo>
                  <a:pt x="5304106" y="84643"/>
                </a:lnTo>
                <a:lnTo>
                  <a:pt x="5304068" y="84611"/>
                </a:lnTo>
                <a:cubicBezTo>
                  <a:pt x="5312954" y="75672"/>
                  <a:pt x="5321841" y="66736"/>
                  <a:pt x="5330728" y="57797"/>
                </a:cubicBezTo>
                <a:lnTo>
                  <a:pt x="5331557" y="57973"/>
                </a:lnTo>
                <a:lnTo>
                  <a:pt x="5332639" y="21069"/>
                </a:lnTo>
                <a:cubicBezTo>
                  <a:pt x="5333730" y="9428"/>
                  <a:pt x="5338087" y="559"/>
                  <a:pt x="5353337" y="559"/>
                </a:cubicBezTo>
                <a:close/>
              </a:path>
            </a:pathLst>
          </a:custGeom>
          <a:solidFill>
            <a:schemeClr val="bg1">
              <a:lumMod val="95000"/>
            </a:schemeClr>
          </a:solidFill>
        </p:spPr>
        <p:txBody>
          <a:bodyPr wrap="square" anchor="ctr">
            <a:noAutofit/>
          </a:bodyPr>
          <a:lstStyle>
            <a:lvl1pPr marL="0" indent="0" algn="ctr">
              <a:buFontTx/>
              <a:buNone/>
              <a:defRPr sz="1200">
                <a:solidFill>
                  <a:schemeClr val="tx1"/>
                </a:solidFill>
              </a:defRPr>
            </a:lvl1pPr>
          </a:lstStyle>
          <a:p>
            <a:r>
              <a:rPr lang="en-US"/>
              <a:t>Image</a:t>
            </a:r>
          </a:p>
        </p:txBody>
      </p:sp>
    </p:spTree>
    <p:extLst>
      <p:ext uri="{BB962C8B-B14F-4D97-AF65-F5344CB8AC3E}">
        <p14:creationId xmlns:p14="http://schemas.microsoft.com/office/powerpoint/2010/main" val="456249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1" y="0"/>
            <a:ext cx="12182475" cy="6091238"/>
          </a:xfrm>
          <a:custGeom>
            <a:avLst/>
            <a:gdLst>
              <a:gd name="connsiteX0" fmla="*/ 0 w 12182475"/>
              <a:gd name="connsiteY0" fmla="*/ 0 h 6091238"/>
              <a:gd name="connsiteX1" fmla="*/ 12182475 w 12182475"/>
              <a:gd name="connsiteY1" fmla="*/ 0 h 6091238"/>
              <a:gd name="connsiteX2" fmla="*/ 6091239 w 12182475"/>
              <a:gd name="connsiteY2" fmla="*/ 6091238 h 6091238"/>
            </a:gdLst>
            <a:ahLst/>
            <a:cxnLst>
              <a:cxn ang="0">
                <a:pos x="connsiteX0" y="connsiteY0"/>
              </a:cxn>
              <a:cxn ang="0">
                <a:pos x="connsiteX1" y="connsiteY1"/>
              </a:cxn>
              <a:cxn ang="0">
                <a:pos x="connsiteX2" y="connsiteY2"/>
              </a:cxn>
            </a:cxnLst>
            <a:rect l="l" t="t" r="r" b="b"/>
            <a:pathLst>
              <a:path w="12182475" h="6091238">
                <a:moveTo>
                  <a:pt x="0" y="0"/>
                </a:moveTo>
                <a:lnTo>
                  <a:pt x="12182475" y="0"/>
                </a:lnTo>
                <a:lnTo>
                  <a:pt x="6091239" y="6091238"/>
                </a:lnTo>
                <a:close/>
              </a:path>
            </a:pathLst>
          </a:custGeom>
          <a:solidFill>
            <a:schemeClr val="bg1">
              <a:lumMod val="95000"/>
            </a:schemeClr>
          </a:solidFill>
        </p:spPr>
      </p:sp>
    </p:spTree>
    <p:extLst>
      <p:ext uri="{BB962C8B-B14F-4D97-AF65-F5344CB8AC3E}">
        <p14:creationId xmlns:p14="http://schemas.microsoft.com/office/powerpoint/2010/main" val="563380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3_Custom Layout">
    <p:spTree>
      <p:nvGrpSpPr>
        <p:cNvPr id="1" name=""/>
        <p:cNvGrpSpPr/>
        <p:nvPr/>
      </p:nvGrpSpPr>
      <p:grpSpPr>
        <a:xfrm>
          <a:off x="0" y="0"/>
          <a:ext cx="0" cy="0"/>
          <a:chOff x="0" y="0"/>
          <a:chExt cx="0" cy="0"/>
        </a:xfrm>
      </p:grpSpPr>
      <p:sp>
        <p:nvSpPr>
          <p:cNvPr id="5" name="Freeform 4"/>
          <p:cNvSpPr>
            <a:spLocks noGrp="1"/>
          </p:cNvSpPr>
          <p:nvPr>
            <p:ph type="pic" sz="quarter" idx="11"/>
          </p:nvPr>
        </p:nvSpPr>
        <p:spPr>
          <a:xfrm>
            <a:off x="0" y="397844"/>
            <a:ext cx="6786042" cy="6062312"/>
          </a:xfrm>
          <a:custGeom>
            <a:avLst/>
            <a:gdLst>
              <a:gd name="connsiteX0" fmla="*/ 6333006 w 6786042"/>
              <a:gd name="connsiteY0" fmla="*/ 0 h 6062312"/>
              <a:gd name="connsiteX1" fmla="*/ 6450226 w 6786042"/>
              <a:gd name="connsiteY1" fmla="*/ 141500 h 6062312"/>
              <a:gd name="connsiteX2" fmla="*/ 6516755 w 6786042"/>
              <a:gd name="connsiteY2" fmla="*/ 428323 h 6062312"/>
              <a:gd name="connsiteX3" fmla="*/ 6557940 w 6786042"/>
              <a:gd name="connsiteY3" fmla="*/ 543051 h 6062312"/>
              <a:gd name="connsiteX4" fmla="*/ 6564277 w 6786042"/>
              <a:gd name="connsiteY4" fmla="*/ 753389 h 6062312"/>
              <a:gd name="connsiteX5" fmla="*/ 6491410 w 6786042"/>
              <a:gd name="connsiteY5" fmla="*/ 971374 h 6062312"/>
              <a:gd name="connsiteX6" fmla="*/ 6488242 w 6786042"/>
              <a:gd name="connsiteY6" fmla="*/ 1105226 h 6062312"/>
              <a:gd name="connsiteX7" fmla="*/ 6618134 w 6786042"/>
              <a:gd name="connsiteY7" fmla="*/ 1089928 h 6062312"/>
              <a:gd name="connsiteX8" fmla="*/ 6557940 w 6786042"/>
              <a:gd name="connsiteY8" fmla="*/ 1304089 h 6062312"/>
              <a:gd name="connsiteX9" fmla="*/ 6462898 w 6786042"/>
              <a:gd name="connsiteY9" fmla="*/ 1407346 h 6062312"/>
              <a:gd name="connsiteX10" fmla="*/ 6548435 w 6786042"/>
              <a:gd name="connsiteY10" fmla="*/ 1476183 h 6062312"/>
              <a:gd name="connsiteX11" fmla="*/ 6773369 w 6786042"/>
              <a:gd name="connsiteY11" fmla="*/ 1418819 h 6062312"/>
              <a:gd name="connsiteX12" fmla="*/ 6786042 w 6786042"/>
              <a:gd name="connsiteY12" fmla="*/ 1430291 h 6062312"/>
              <a:gd name="connsiteX13" fmla="*/ 6630807 w 6786042"/>
              <a:gd name="connsiteY13" fmla="*/ 1606209 h 6062312"/>
              <a:gd name="connsiteX14" fmla="*/ 6722681 w 6786042"/>
              <a:gd name="connsiteY14" fmla="*/ 1594737 h 6062312"/>
              <a:gd name="connsiteX15" fmla="*/ 6567444 w 6786042"/>
              <a:gd name="connsiteY15" fmla="*/ 1740060 h 6062312"/>
              <a:gd name="connsiteX16" fmla="*/ 6209451 w 6786042"/>
              <a:gd name="connsiteY16" fmla="*/ 2061302 h 6062312"/>
              <a:gd name="connsiteX17" fmla="*/ 6139752 w 6786042"/>
              <a:gd name="connsiteY17" fmla="*/ 2168382 h 6062312"/>
              <a:gd name="connsiteX18" fmla="*/ 5870465 w 6786042"/>
              <a:gd name="connsiteY18" fmla="*/ 2638773 h 6062312"/>
              <a:gd name="connsiteX19" fmla="*/ 6092232 w 6786042"/>
              <a:gd name="connsiteY19" fmla="*/ 2585231 h 6062312"/>
              <a:gd name="connsiteX20" fmla="*/ 6250636 w 6786042"/>
              <a:gd name="connsiteY20" fmla="*/ 2631123 h 6062312"/>
              <a:gd name="connsiteX21" fmla="*/ 6523091 w 6786042"/>
              <a:gd name="connsiteY21" fmla="*/ 2573759 h 6062312"/>
              <a:gd name="connsiteX22" fmla="*/ 6291821 w 6786042"/>
              <a:gd name="connsiteY22" fmla="*/ 2749678 h 6062312"/>
              <a:gd name="connsiteX23" fmla="*/ 6298157 w 6786042"/>
              <a:gd name="connsiteY23" fmla="*/ 2776448 h 6062312"/>
              <a:gd name="connsiteX24" fmla="*/ 6399536 w 6786042"/>
              <a:gd name="connsiteY24" fmla="*/ 2791745 h 6062312"/>
              <a:gd name="connsiteX25" fmla="*/ 6415376 w 6786042"/>
              <a:gd name="connsiteY25" fmla="*/ 2826163 h 6062312"/>
              <a:gd name="connsiteX26" fmla="*/ 6377360 w 6786042"/>
              <a:gd name="connsiteY26" fmla="*/ 2875880 h 6062312"/>
              <a:gd name="connsiteX27" fmla="*/ 6142921 w 6786042"/>
              <a:gd name="connsiteY27" fmla="*/ 3128284 h 6062312"/>
              <a:gd name="connsiteX28" fmla="*/ 6016197 w 6786042"/>
              <a:gd name="connsiteY28" fmla="*/ 3231540 h 6062312"/>
              <a:gd name="connsiteX29" fmla="*/ 5984517 w 6786042"/>
              <a:gd name="connsiteY29" fmla="*/ 3300378 h 6062312"/>
              <a:gd name="connsiteX30" fmla="*/ 5952836 w 6786042"/>
              <a:gd name="connsiteY30" fmla="*/ 3338621 h 6062312"/>
              <a:gd name="connsiteX31" fmla="*/ 5765919 w 6786042"/>
              <a:gd name="connsiteY31" fmla="*/ 3464823 h 6062312"/>
              <a:gd name="connsiteX32" fmla="*/ 5745547 w 6786042"/>
              <a:gd name="connsiteY32" fmla="*/ 3480697 h 6062312"/>
              <a:gd name="connsiteX33" fmla="*/ 5823335 w 6786042"/>
              <a:gd name="connsiteY33" fmla="*/ 3471535 h 6062312"/>
              <a:gd name="connsiteX34" fmla="*/ 5777975 w 6786042"/>
              <a:gd name="connsiteY34" fmla="*/ 3632919 h 6062312"/>
              <a:gd name="connsiteX35" fmla="*/ 5706356 w 6786042"/>
              <a:gd name="connsiteY35" fmla="*/ 3710729 h 6062312"/>
              <a:gd name="connsiteX36" fmla="*/ 5770813 w 6786042"/>
              <a:gd name="connsiteY36" fmla="*/ 3762602 h 6062312"/>
              <a:gd name="connsiteX37" fmla="*/ 5940314 w 6786042"/>
              <a:gd name="connsiteY37" fmla="*/ 3719374 h 6062312"/>
              <a:gd name="connsiteX38" fmla="*/ 5949864 w 6786042"/>
              <a:gd name="connsiteY38" fmla="*/ 3728019 h 6062312"/>
              <a:gd name="connsiteX39" fmla="*/ 5832885 w 6786042"/>
              <a:gd name="connsiteY39" fmla="*/ 3860584 h 6062312"/>
              <a:gd name="connsiteX40" fmla="*/ 5902118 w 6786042"/>
              <a:gd name="connsiteY40" fmla="*/ 3851939 h 6062312"/>
              <a:gd name="connsiteX41" fmla="*/ 5785138 w 6786042"/>
              <a:gd name="connsiteY41" fmla="*/ 3961449 h 6062312"/>
              <a:gd name="connsiteX42" fmla="*/ 5515368 w 6786042"/>
              <a:gd name="connsiteY42" fmla="*/ 4203524 h 6062312"/>
              <a:gd name="connsiteX43" fmla="*/ 5462847 w 6786042"/>
              <a:gd name="connsiteY43" fmla="*/ 4284215 h 6062312"/>
              <a:gd name="connsiteX44" fmla="*/ 5259922 w 6786042"/>
              <a:gd name="connsiteY44" fmla="*/ 4638682 h 6062312"/>
              <a:gd name="connsiteX45" fmla="*/ 5427037 w 6786042"/>
              <a:gd name="connsiteY45" fmla="*/ 4598336 h 6062312"/>
              <a:gd name="connsiteX46" fmla="*/ 5546404 w 6786042"/>
              <a:gd name="connsiteY46" fmla="*/ 4632918 h 6062312"/>
              <a:gd name="connsiteX47" fmla="*/ 5751715 w 6786042"/>
              <a:gd name="connsiteY47" fmla="*/ 4589691 h 6062312"/>
              <a:gd name="connsiteX48" fmla="*/ 5577439 w 6786042"/>
              <a:gd name="connsiteY48" fmla="*/ 4722256 h 6062312"/>
              <a:gd name="connsiteX49" fmla="*/ 5582213 w 6786042"/>
              <a:gd name="connsiteY49" fmla="*/ 4742428 h 6062312"/>
              <a:gd name="connsiteX50" fmla="*/ 5658609 w 6786042"/>
              <a:gd name="connsiteY50" fmla="*/ 4753956 h 6062312"/>
              <a:gd name="connsiteX51" fmla="*/ 5670545 w 6786042"/>
              <a:gd name="connsiteY51" fmla="*/ 4779892 h 6062312"/>
              <a:gd name="connsiteX52" fmla="*/ 5641898 w 6786042"/>
              <a:gd name="connsiteY52" fmla="*/ 4817356 h 6062312"/>
              <a:gd name="connsiteX53" fmla="*/ 5465234 w 6786042"/>
              <a:gd name="connsiteY53" fmla="*/ 5007558 h 6062312"/>
              <a:gd name="connsiteX54" fmla="*/ 5369740 w 6786042"/>
              <a:gd name="connsiteY54" fmla="*/ 5085367 h 6062312"/>
              <a:gd name="connsiteX55" fmla="*/ 5345867 w 6786042"/>
              <a:gd name="connsiteY55" fmla="*/ 5137241 h 6062312"/>
              <a:gd name="connsiteX56" fmla="*/ 5321993 w 6786042"/>
              <a:gd name="connsiteY56" fmla="*/ 5166059 h 6062312"/>
              <a:gd name="connsiteX57" fmla="*/ 5181140 w 6786042"/>
              <a:gd name="connsiteY57" fmla="*/ 5261160 h 6062312"/>
              <a:gd name="connsiteX58" fmla="*/ 5104746 w 6786042"/>
              <a:gd name="connsiteY58" fmla="*/ 5364906 h 6062312"/>
              <a:gd name="connsiteX59" fmla="*/ 5121457 w 6786042"/>
              <a:gd name="connsiteY59" fmla="*/ 5321678 h 6062312"/>
              <a:gd name="connsiteX60" fmla="*/ 4973442 w 6786042"/>
              <a:gd name="connsiteY60" fmla="*/ 5428307 h 6062312"/>
              <a:gd name="connsiteX61" fmla="*/ 4961505 w 6786042"/>
              <a:gd name="connsiteY61" fmla="*/ 5416780 h 6062312"/>
              <a:gd name="connsiteX62" fmla="*/ 4887497 w 6786042"/>
              <a:gd name="connsiteY62" fmla="*/ 5457125 h 6062312"/>
              <a:gd name="connsiteX63" fmla="*/ 4653538 w 6786042"/>
              <a:gd name="connsiteY63" fmla="*/ 5494589 h 6062312"/>
              <a:gd name="connsiteX64" fmla="*/ 4371832 w 6786042"/>
              <a:gd name="connsiteY64" fmla="*/ 5540699 h 6062312"/>
              <a:gd name="connsiteX65" fmla="*/ 4324085 w 6786042"/>
              <a:gd name="connsiteY65" fmla="*/ 5566635 h 6062312"/>
              <a:gd name="connsiteX66" fmla="*/ 4230979 w 6786042"/>
              <a:gd name="connsiteY66" fmla="*/ 5572399 h 6062312"/>
              <a:gd name="connsiteX67" fmla="*/ 4209492 w 6786042"/>
              <a:gd name="connsiteY67" fmla="*/ 5586808 h 6062312"/>
              <a:gd name="connsiteX68" fmla="*/ 3937335 w 6786042"/>
              <a:gd name="connsiteY68" fmla="*/ 5641564 h 6062312"/>
              <a:gd name="connsiteX69" fmla="*/ 3851391 w 6786042"/>
              <a:gd name="connsiteY69" fmla="*/ 5670381 h 6062312"/>
              <a:gd name="connsiteX70" fmla="*/ 3464642 w 6786042"/>
              <a:gd name="connsiteY70" fmla="*/ 5768364 h 6062312"/>
              <a:gd name="connsiteX71" fmla="*/ 3424057 w 6786042"/>
              <a:gd name="connsiteY71" fmla="*/ 5802946 h 6062312"/>
              <a:gd name="connsiteX72" fmla="*/ 3400183 w 6786042"/>
              <a:gd name="connsiteY72" fmla="*/ 5800065 h 6062312"/>
              <a:gd name="connsiteX73" fmla="*/ 3390634 w 6786042"/>
              <a:gd name="connsiteY73" fmla="*/ 5771246 h 6062312"/>
              <a:gd name="connsiteX74" fmla="*/ 3063568 w 6786042"/>
              <a:gd name="connsiteY74" fmla="*/ 5912457 h 6062312"/>
              <a:gd name="connsiteX75" fmla="*/ 2848707 w 6786042"/>
              <a:gd name="connsiteY75" fmla="*/ 6016203 h 6062312"/>
              <a:gd name="connsiteX76" fmla="*/ 2779475 w 6786042"/>
              <a:gd name="connsiteY76" fmla="*/ 5996030 h 6062312"/>
              <a:gd name="connsiteX77" fmla="*/ 2738889 w 6786042"/>
              <a:gd name="connsiteY77" fmla="*/ 6059431 h 6062312"/>
              <a:gd name="connsiteX78" fmla="*/ 2624297 w 6786042"/>
              <a:gd name="connsiteY78" fmla="*/ 6062312 h 6062312"/>
              <a:gd name="connsiteX79" fmla="*/ 2593262 w 6786042"/>
              <a:gd name="connsiteY79" fmla="*/ 6039258 h 6062312"/>
              <a:gd name="connsiteX80" fmla="*/ 2617136 w 6786042"/>
              <a:gd name="connsiteY80" fmla="*/ 5972975 h 6062312"/>
              <a:gd name="connsiteX81" fmla="*/ 2452409 w 6786042"/>
              <a:gd name="connsiteY81" fmla="*/ 5923984 h 6062312"/>
              <a:gd name="connsiteX82" fmla="*/ 2407049 w 6786042"/>
              <a:gd name="connsiteY82" fmla="*/ 5921102 h 6062312"/>
              <a:gd name="connsiteX83" fmla="*/ 2287682 w 6786042"/>
              <a:gd name="connsiteY83" fmla="*/ 5967212 h 6062312"/>
              <a:gd name="connsiteX84" fmla="*/ 2072821 w 6786042"/>
              <a:gd name="connsiteY84" fmla="*/ 6039258 h 6062312"/>
              <a:gd name="connsiteX85" fmla="*/ 2051335 w 6786042"/>
              <a:gd name="connsiteY85" fmla="*/ 6027730 h 6062312"/>
              <a:gd name="connsiteX86" fmla="*/ 2027462 w 6786042"/>
              <a:gd name="connsiteY86" fmla="*/ 6010439 h 6062312"/>
              <a:gd name="connsiteX87" fmla="*/ 2065659 w 6786042"/>
              <a:gd name="connsiteY87" fmla="*/ 5929747 h 6062312"/>
              <a:gd name="connsiteX88" fmla="*/ 1963004 w 6786042"/>
              <a:gd name="connsiteY88" fmla="*/ 5932629 h 6062312"/>
              <a:gd name="connsiteX89" fmla="*/ 1900933 w 6786042"/>
              <a:gd name="connsiteY89" fmla="*/ 5900929 h 6062312"/>
              <a:gd name="connsiteX90" fmla="*/ 1948680 w 6786042"/>
              <a:gd name="connsiteY90" fmla="*/ 5857702 h 6062312"/>
              <a:gd name="connsiteX91" fmla="*/ 2077596 w 6786042"/>
              <a:gd name="connsiteY91" fmla="*/ 5762600 h 6062312"/>
              <a:gd name="connsiteX92" fmla="*/ 1786341 w 6786042"/>
              <a:gd name="connsiteY92" fmla="*/ 5823119 h 6062312"/>
              <a:gd name="connsiteX93" fmla="*/ 1731432 w 6786042"/>
              <a:gd name="connsiteY93" fmla="*/ 5854820 h 6062312"/>
              <a:gd name="connsiteX94" fmla="*/ 1614452 w 6786042"/>
              <a:gd name="connsiteY94" fmla="*/ 5794301 h 6062312"/>
              <a:gd name="connsiteX95" fmla="*/ 1612064 w 6786042"/>
              <a:gd name="connsiteY95" fmla="*/ 5863465 h 6062312"/>
              <a:gd name="connsiteX96" fmla="*/ 1559543 w 6786042"/>
              <a:gd name="connsiteY96" fmla="*/ 5857702 h 6062312"/>
              <a:gd name="connsiteX97" fmla="*/ 1552381 w 6786042"/>
              <a:gd name="connsiteY97" fmla="*/ 5791419 h 6062312"/>
              <a:gd name="connsiteX98" fmla="*/ 1616839 w 6786042"/>
              <a:gd name="connsiteY98" fmla="*/ 5756837 h 6062312"/>
              <a:gd name="connsiteX99" fmla="*/ 1430626 w 6786042"/>
              <a:gd name="connsiteY99" fmla="*/ 5710728 h 6062312"/>
              <a:gd name="connsiteX100" fmla="*/ 1428239 w 6786042"/>
              <a:gd name="connsiteY100" fmla="*/ 5687673 h 6062312"/>
              <a:gd name="connsiteX101" fmla="*/ 1521345 w 6786042"/>
              <a:gd name="connsiteY101" fmla="*/ 5624272 h 6062312"/>
              <a:gd name="connsiteX102" fmla="*/ 1151308 w 6786042"/>
              <a:gd name="connsiteY102" fmla="*/ 5673263 h 6062312"/>
              <a:gd name="connsiteX103" fmla="*/ 1003292 w 6786042"/>
              <a:gd name="connsiteY103" fmla="*/ 5673263 h 6062312"/>
              <a:gd name="connsiteX104" fmla="*/ 1027165 w 6786042"/>
              <a:gd name="connsiteY104" fmla="*/ 5592572 h 6062312"/>
              <a:gd name="connsiteX105" fmla="*/ 862439 w 6786042"/>
              <a:gd name="connsiteY105" fmla="*/ 5552226 h 6062312"/>
              <a:gd name="connsiteX106" fmla="*/ 1120272 w 6786042"/>
              <a:gd name="connsiteY106" fmla="*/ 5373552 h 6062312"/>
              <a:gd name="connsiteX107" fmla="*/ 1375718 w 6786042"/>
              <a:gd name="connsiteY107" fmla="*/ 5166059 h 6062312"/>
              <a:gd name="connsiteX108" fmla="*/ 1664586 w 6786042"/>
              <a:gd name="connsiteY108" fmla="*/ 4987384 h 6062312"/>
              <a:gd name="connsiteX109" fmla="*/ 1502246 w 6786042"/>
              <a:gd name="connsiteY109" fmla="*/ 4955685 h 6062312"/>
              <a:gd name="connsiteX110" fmla="*/ 1359006 w 6786042"/>
              <a:gd name="connsiteY110" fmla="*/ 5019085 h 6062312"/>
              <a:gd name="connsiteX111" fmla="*/ 1175181 w 6786042"/>
              <a:gd name="connsiteY111" fmla="*/ 5073840 h 6062312"/>
              <a:gd name="connsiteX112" fmla="*/ 1086849 w 6786042"/>
              <a:gd name="connsiteY112" fmla="*/ 5076722 h 6062312"/>
              <a:gd name="connsiteX113" fmla="*/ 1060588 w 6786042"/>
              <a:gd name="connsiteY113" fmla="*/ 5114186 h 6062312"/>
              <a:gd name="connsiteX114" fmla="*/ 965095 w 6786042"/>
              <a:gd name="connsiteY114" fmla="*/ 5177586 h 6062312"/>
              <a:gd name="connsiteX115" fmla="*/ 931672 w 6786042"/>
              <a:gd name="connsiteY115" fmla="*/ 5154531 h 6062312"/>
              <a:gd name="connsiteX116" fmla="*/ 945996 w 6786042"/>
              <a:gd name="connsiteY116" fmla="*/ 5099776 h 6062312"/>
              <a:gd name="connsiteX117" fmla="*/ 1022391 w 6786042"/>
              <a:gd name="connsiteY117" fmla="*/ 5050785 h 6062312"/>
              <a:gd name="connsiteX118" fmla="*/ 1015229 w 6786042"/>
              <a:gd name="connsiteY118" fmla="*/ 5027731 h 6062312"/>
              <a:gd name="connsiteX119" fmla="*/ 852890 w 6786042"/>
              <a:gd name="connsiteY119" fmla="*/ 5053667 h 6062312"/>
              <a:gd name="connsiteX120" fmla="*/ 848115 w 6786042"/>
              <a:gd name="connsiteY120" fmla="*/ 5039258 h 6062312"/>
              <a:gd name="connsiteX121" fmla="*/ 898249 w 6786042"/>
              <a:gd name="connsiteY121" fmla="*/ 4990267 h 6062312"/>
              <a:gd name="connsiteX122" fmla="*/ 836178 w 6786042"/>
              <a:gd name="connsiteY122" fmla="*/ 4996030 h 6062312"/>
              <a:gd name="connsiteX123" fmla="*/ 1058201 w 6786042"/>
              <a:gd name="connsiteY123" fmla="*/ 4826002 h 6062312"/>
              <a:gd name="connsiteX124" fmla="*/ 1270675 w 6786042"/>
              <a:gd name="connsiteY124" fmla="*/ 4673264 h 6062312"/>
              <a:gd name="connsiteX125" fmla="*/ 1378105 w 6786042"/>
              <a:gd name="connsiteY125" fmla="*/ 4609864 h 6062312"/>
              <a:gd name="connsiteX126" fmla="*/ 1421077 w 6786042"/>
              <a:gd name="connsiteY126" fmla="*/ 4563754 h 6062312"/>
              <a:gd name="connsiteX127" fmla="*/ 1606295 w 6786042"/>
              <a:gd name="connsiteY127" fmla="*/ 4477554 h 6062312"/>
              <a:gd name="connsiteX128" fmla="*/ 1580875 w 6786042"/>
              <a:gd name="connsiteY128" fmla="*/ 4459143 h 6062312"/>
              <a:gd name="connsiteX129" fmla="*/ 1631565 w 6786042"/>
              <a:gd name="connsiteY129" fmla="*/ 4352062 h 6062312"/>
              <a:gd name="connsiteX130" fmla="*/ 1495337 w 6786042"/>
              <a:gd name="connsiteY130" fmla="*/ 4355887 h 6062312"/>
              <a:gd name="connsiteX131" fmla="*/ 1412967 w 6786042"/>
              <a:gd name="connsiteY131" fmla="*/ 4313819 h 6062312"/>
              <a:gd name="connsiteX132" fmla="*/ 1476329 w 6786042"/>
              <a:gd name="connsiteY132" fmla="*/ 4256455 h 6062312"/>
              <a:gd name="connsiteX133" fmla="*/ 1563055 w 6786042"/>
              <a:gd name="connsiteY133" fmla="*/ 4199090 h 6062312"/>
              <a:gd name="connsiteX134" fmla="*/ 1566528 w 6786042"/>
              <a:gd name="connsiteY134" fmla="*/ 4196256 h 6062312"/>
              <a:gd name="connsiteX135" fmla="*/ 1554768 w 6786042"/>
              <a:gd name="connsiteY135" fmla="*/ 4180469 h 6062312"/>
              <a:gd name="connsiteX136" fmla="*/ 1563273 w 6786042"/>
              <a:gd name="connsiteY136" fmla="*/ 4159351 h 6062312"/>
              <a:gd name="connsiteX137" fmla="*/ 1576199 w 6786042"/>
              <a:gd name="connsiteY137" fmla="*/ 4145048 h 6062312"/>
              <a:gd name="connsiteX138" fmla="*/ 1260899 w 6786042"/>
              <a:gd name="connsiteY138" fmla="*/ 4210562 h 6062312"/>
              <a:gd name="connsiteX139" fmla="*/ 1188033 w 6786042"/>
              <a:gd name="connsiteY139" fmla="*/ 4252630 h 6062312"/>
              <a:gd name="connsiteX140" fmla="*/ 1032797 w 6786042"/>
              <a:gd name="connsiteY140" fmla="*/ 4172320 h 6062312"/>
              <a:gd name="connsiteX141" fmla="*/ 1029628 w 6786042"/>
              <a:gd name="connsiteY141" fmla="*/ 4264103 h 6062312"/>
              <a:gd name="connsiteX142" fmla="*/ 959931 w 6786042"/>
              <a:gd name="connsiteY142" fmla="*/ 4256455 h 6062312"/>
              <a:gd name="connsiteX143" fmla="*/ 950426 w 6786042"/>
              <a:gd name="connsiteY143" fmla="*/ 4168495 h 6062312"/>
              <a:gd name="connsiteX144" fmla="*/ 1035964 w 6786042"/>
              <a:gd name="connsiteY144" fmla="*/ 4122604 h 6062312"/>
              <a:gd name="connsiteX145" fmla="*/ 788853 w 6786042"/>
              <a:gd name="connsiteY145" fmla="*/ 4061415 h 6062312"/>
              <a:gd name="connsiteX146" fmla="*/ 785686 w 6786042"/>
              <a:gd name="connsiteY146" fmla="*/ 4030820 h 6062312"/>
              <a:gd name="connsiteX147" fmla="*/ 909241 w 6786042"/>
              <a:gd name="connsiteY147" fmla="*/ 3946685 h 6062312"/>
              <a:gd name="connsiteX148" fmla="*/ 418188 w 6786042"/>
              <a:gd name="connsiteY148" fmla="*/ 4011699 h 6062312"/>
              <a:gd name="connsiteX149" fmla="*/ 221767 w 6786042"/>
              <a:gd name="connsiteY149" fmla="*/ 4011699 h 6062312"/>
              <a:gd name="connsiteX150" fmla="*/ 253447 w 6786042"/>
              <a:gd name="connsiteY150" fmla="*/ 3904619 h 6062312"/>
              <a:gd name="connsiteX151" fmla="*/ 34849 w 6786042"/>
              <a:gd name="connsiteY151" fmla="*/ 3851077 h 6062312"/>
              <a:gd name="connsiteX152" fmla="*/ 377002 w 6786042"/>
              <a:gd name="connsiteY152" fmla="*/ 3613971 h 6062312"/>
              <a:gd name="connsiteX153" fmla="*/ 715988 w 6786042"/>
              <a:gd name="connsiteY153" fmla="*/ 3338621 h 6062312"/>
              <a:gd name="connsiteX154" fmla="*/ 1099327 w 6786042"/>
              <a:gd name="connsiteY154" fmla="*/ 3101513 h 6062312"/>
              <a:gd name="connsiteX155" fmla="*/ 883896 w 6786042"/>
              <a:gd name="connsiteY155" fmla="*/ 3059446 h 6062312"/>
              <a:gd name="connsiteX156" fmla="*/ 693812 w 6786042"/>
              <a:gd name="connsiteY156" fmla="*/ 3143581 h 6062312"/>
              <a:gd name="connsiteX157" fmla="*/ 449868 w 6786042"/>
              <a:gd name="connsiteY157" fmla="*/ 3216243 h 6062312"/>
              <a:gd name="connsiteX158" fmla="*/ 332649 w 6786042"/>
              <a:gd name="connsiteY158" fmla="*/ 3220067 h 6062312"/>
              <a:gd name="connsiteX159" fmla="*/ 297800 w 6786042"/>
              <a:gd name="connsiteY159" fmla="*/ 3269783 h 6062312"/>
              <a:gd name="connsiteX160" fmla="*/ 171077 w 6786042"/>
              <a:gd name="connsiteY160" fmla="*/ 3353918 h 6062312"/>
              <a:gd name="connsiteX161" fmla="*/ 126724 w 6786042"/>
              <a:gd name="connsiteY161" fmla="*/ 3323323 h 6062312"/>
              <a:gd name="connsiteX162" fmla="*/ 145732 w 6786042"/>
              <a:gd name="connsiteY162" fmla="*/ 3250661 h 6062312"/>
              <a:gd name="connsiteX163" fmla="*/ 247111 w 6786042"/>
              <a:gd name="connsiteY163" fmla="*/ 3185648 h 6062312"/>
              <a:gd name="connsiteX164" fmla="*/ 237606 w 6786042"/>
              <a:gd name="connsiteY164" fmla="*/ 3155054 h 6062312"/>
              <a:gd name="connsiteX165" fmla="*/ 22177 w 6786042"/>
              <a:gd name="connsiteY165" fmla="*/ 3189473 h 6062312"/>
              <a:gd name="connsiteX166" fmla="*/ 15841 w 6786042"/>
              <a:gd name="connsiteY166" fmla="*/ 3170351 h 6062312"/>
              <a:gd name="connsiteX167" fmla="*/ 82371 w 6786042"/>
              <a:gd name="connsiteY167" fmla="*/ 3105338 h 6062312"/>
              <a:gd name="connsiteX168" fmla="*/ 0 w 6786042"/>
              <a:gd name="connsiteY168" fmla="*/ 3112986 h 6062312"/>
              <a:gd name="connsiteX169" fmla="*/ 294633 w 6786042"/>
              <a:gd name="connsiteY169" fmla="*/ 2887353 h 6062312"/>
              <a:gd name="connsiteX170" fmla="*/ 576592 w 6786042"/>
              <a:gd name="connsiteY170" fmla="*/ 2684664 h 6062312"/>
              <a:gd name="connsiteX171" fmla="*/ 719156 w 6786042"/>
              <a:gd name="connsiteY171" fmla="*/ 2600529 h 6062312"/>
              <a:gd name="connsiteX172" fmla="*/ 776181 w 6786042"/>
              <a:gd name="connsiteY172" fmla="*/ 2539340 h 6062312"/>
              <a:gd name="connsiteX173" fmla="*/ 1039133 w 6786042"/>
              <a:gd name="connsiteY173" fmla="*/ 2416963 h 6062312"/>
              <a:gd name="connsiteX174" fmla="*/ 1077150 w 6786042"/>
              <a:gd name="connsiteY174" fmla="*/ 2317530 h 6062312"/>
              <a:gd name="connsiteX175" fmla="*/ 1026461 w 6786042"/>
              <a:gd name="connsiteY175" fmla="*/ 2153085 h 6062312"/>
              <a:gd name="connsiteX176" fmla="*/ 953595 w 6786042"/>
              <a:gd name="connsiteY176" fmla="*/ 2030708 h 6062312"/>
              <a:gd name="connsiteX177" fmla="*/ 991612 w 6786042"/>
              <a:gd name="connsiteY177" fmla="*/ 1889209 h 6062312"/>
              <a:gd name="connsiteX178" fmla="*/ 1048637 w 6786042"/>
              <a:gd name="connsiteY178" fmla="*/ 1808898 h 6062312"/>
              <a:gd name="connsiteX179" fmla="*/ 1454152 w 6786042"/>
              <a:gd name="connsiteY179" fmla="*/ 1629155 h 6062312"/>
              <a:gd name="connsiteX180" fmla="*/ 2071929 w 6786042"/>
              <a:gd name="connsiteY180" fmla="*/ 1323211 h 6062312"/>
              <a:gd name="connsiteX181" fmla="*/ 2933649 w 6786042"/>
              <a:gd name="connsiteY181" fmla="*/ 871943 h 6062312"/>
              <a:gd name="connsiteX182" fmla="*/ 3234617 w 6786042"/>
              <a:gd name="connsiteY182" fmla="*/ 761038 h 6062312"/>
              <a:gd name="connsiteX183" fmla="*/ 3427870 w 6786042"/>
              <a:gd name="connsiteY183" fmla="*/ 684551 h 6062312"/>
              <a:gd name="connsiteX184" fmla="*/ 3101557 w 6786042"/>
              <a:gd name="connsiteY184" fmla="*/ 967550 h 6062312"/>
              <a:gd name="connsiteX185" fmla="*/ 3120566 w 6786042"/>
              <a:gd name="connsiteY185" fmla="*/ 1005793 h 6062312"/>
              <a:gd name="connsiteX186" fmla="*/ 3633796 w 6786042"/>
              <a:gd name="connsiteY186" fmla="*/ 676903 h 6062312"/>
              <a:gd name="connsiteX187" fmla="*/ 3963277 w 6786042"/>
              <a:gd name="connsiteY187" fmla="*/ 527754 h 6062312"/>
              <a:gd name="connsiteX188" fmla="*/ 4280086 w 6786042"/>
              <a:gd name="connsiteY188" fmla="*/ 447444 h 6062312"/>
              <a:gd name="connsiteX189" fmla="*/ 3972781 w 6786042"/>
              <a:gd name="connsiteY189" fmla="*/ 783983 h 6062312"/>
              <a:gd name="connsiteX190" fmla="*/ 4267413 w 6786042"/>
              <a:gd name="connsiteY190" fmla="*/ 592768 h 6062312"/>
              <a:gd name="connsiteX191" fmla="*/ 4562046 w 6786042"/>
              <a:gd name="connsiteY191" fmla="*/ 370958 h 6062312"/>
              <a:gd name="connsiteX192" fmla="*/ 4723618 w 6786042"/>
              <a:gd name="connsiteY192" fmla="*/ 367133 h 6062312"/>
              <a:gd name="connsiteX193" fmla="*/ 4758467 w 6786042"/>
              <a:gd name="connsiteY193" fmla="*/ 363309 h 6062312"/>
              <a:gd name="connsiteX194" fmla="*/ 4844005 w 6786042"/>
              <a:gd name="connsiteY194" fmla="*/ 378606 h 6062312"/>
              <a:gd name="connsiteX195" fmla="*/ 4913703 w 6786042"/>
              <a:gd name="connsiteY195" fmla="*/ 359485 h 6062312"/>
              <a:gd name="connsiteX196" fmla="*/ 5084780 w 6786042"/>
              <a:gd name="connsiteY196" fmla="*/ 263878 h 6062312"/>
              <a:gd name="connsiteX197" fmla="*/ 5094284 w 6786042"/>
              <a:gd name="connsiteY197" fmla="*/ 290648 h 6062312"/>
              <a:gd name="connsiteX198" fmla="*/ 4783811 w 6786042"/>
              <a:gd name="connsiteY198" fmla="*/ 523930 h 6062312"/>
              <a:gd name="connsiteX199" fmla="*/ 4793316 w 6786042"/>
              <a:gd name="connsiteY199" fmla="*/ 627186 h 6062312"/>
              <a:gd name="connsiteX200" fmla="*/ 5341395 w 6786042"/>
              <a:gd name="connsiteY200" fmla="*/ 240931 h 6062312"/>
              <a:gd name="connsiteX201" fmla="*/ 5512472 w 6786042"/>
              <a:gd name="connsiteY201" fmla="*/ 156797 h 6062312"/>
              <a:gd name="connsiteX202" fmla="*/ 5534648 w 6786042"/>
              <a:gd name="connsiteY202" fmla="*/ 156797 h 6062312"/>
              <a:gd name="connsiteX203" fmla="*/ 5674044 w 6786042"/>
              <a:gd name="connsiteY203" fmla="*/ 175918 h 6062312"/>
              <a:gd name="connsiteX204" fmla="*/ 5686717 w 6786042"/>
              <a:gd name="connsiteY204" fmla="*/ 248580 h 6062312"/>
              <a:gd name="connsiteX205" fmla="*/ 5936995 w 6786042"/>
              <a:gd name="connsiteY205" fmla="*/ 107081 h 6062312"/>
              <a:gd name="connsiteX206" fmla="*/ 5610682 w 6786042"/>
              <a:gd name="connsiteY206" fmla="*/ 443620 h 6062312"/>
              <a:gd name="connsiteX207" fmla="*/ 5632859 w 6786042"/>
              <a:gd name="connsiteY207" fmla="*/ 474214 h 6062312"/>
              <a:gd name="connsiteX208" fmla="*/ 6333006 w 6786042"/>
              <a:gd name="connsiteY208" fmla="*/ 0 h 606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Lst>
            <a:rect l="l" t="t" r="r" b="b"/>
            <a:pathLst>
              <a:path w="6786042" h="6062312">
                <a:moveTo>
                  <a:pt x="6333006" y="0"/>
                </a:moveTo>
                <a:cubicBezTo>
                  <a:pt x="6380527" y="57365"/>
                  <a:pt x="6415376" y="99432"/>
                  <a:pt x="6450226" y="141500"/>
                </a:cubicBezTo>
                <a:cubicBezTo>
                  <a:pt x="6393199" y="294471"/>
                  <a:pt x="6415376" y="313593"/>
                  <a:pt x="6516755" y="428323"/>
                </a:cubicBezTo>
                <a:cubicBezTo>
                  <a:pt x="6548435" y="462741"/>
                  <a:pt x="6561108" y="489511"/>
                  <a:pt x="6557940" y="543051"/>
                </a:cubicBezTo>
                <a:cubicBezTo>
                  <a:pt x="6551604" y="611889"/>
                  <a:pt x="6567444" y="684551"/>
                  <a:pt x="6564277" y="753389"/>
                </a:cubicBezTo>
                <a:cubicBezTo>
                  <a:pt x="6561108" y="833699"/>
                  <a:pt x="6561108" y="914009"/>
                  <a:pt x="6491410" y="971374"/>
                </a:cubicBezTo>
                <a:cubicBezTo>
                  <a:pt x="6475570" y="986671"/>
                  <a:pt x="6488242" y="1055509"/>
                  <a:pt x="6488242" y="1105226"/>
                </a:cubicBezTo>
                <a:cubicBezTo>
                  <a:pt x="6529428" y="1101401"/>
                  <a:pt x="6573780" y="1097576"/>
                  <a:pt x="6618134" y="1089928"/>
                </a:cubicBezTo>
                <a:cubicBezTo>
                  <a:pt x="6589621" y="1177887"/>
                  <a:pt x="6466065" y="1200833"/>
                  <a:pt x="6557940" y="1304089"/>
                </a:cubicBezTo>
                <a:cubicBezTo>
                  <a:pt x="6526259" y="1338508"/>
                  <a:pt x="6494578" y="1372927"/>
                  <a:pt x="6462898" y="1407346"/>
                </a:cubicBezTo>
                <a:cubicBezTo>
                  <a:pt x="6497747" y="1434116"/>
                  <a:pt x="6532595" y="1464710"/>
                  <a:pt x="6548435" y="1476183"/>
                </a:cubicBezTo>
                <a:cubicBezTo>
                  <a:pt x="6633974" y="1453237"/>
                  <a:pt x="6703672" y="1434116"/>
                  <a:pt x="6773369" y="1418819"/>
                </a:cubicBezTo>
                <a:cubicBezTo>
                  <a:pt x="6776539" y="1422642"/>
                  <a:pt x="6782874" y="1426467"/>
                  <a:pt x="6786042" y="1430291"/>
                </a:cubicBezTo>
                <a:cubicBezTo>
                  <a:pt x="6735353" y="1487656"/>
                  <a:pt x="6684663" y="1548845"/>
                  <a:pt x="6630807" y="1606209"/>
                </a:cubicBezTo>
                <a:cubicBezTo>
                  <a:pt x="6649815" y="1606209"/>
                  <a:pt x="6675160" y="1602385"/>
                  <a:pt x="6722681" y="1594737"/>
                </a:cubicBezTo>
                <a:cubicBezTo>
                  <a:pt x="6662487" y="1652101"/>
                  <a:pt x="6614965" y="1694169"/>
                  <a:pt x="6567444" y="1740060"/>
                </a:cubicBezTo>
                <a:cubicBezTo>
                  <a:pt x="6447057" y="1847140"/>
                  <a:pt x="6326670" y="1950397"/>
                  <a:pt x="6209451" y="2061302"/>
                </a:cubicBezTo>
                <a:cubicBezTo>
                  <a:pt x="6180938" y="2088072"/>
                  <a:pt x="6142921" y="2126315"/>
                  <a:pt x="6139752" y="2168382"/>
                </a:cubicBezTo>
                <a:cubicBezTo>
                  <a:pt x="6108072" y="2371071"/>
                  <a:pt x="5997189" y="2501097"/>
                  <a:pt x="5870465" y="2638773"/>
                </a:cubicBezTo>
                <a:cubicBezTo>
                  <a:pt x="5943331" y="2619651"/>
                  <a:pt x="6016197" y="2604353"/>
                  <a:pt x="6092232" y="2585231"/>
                </a:cubicBezTo>
                <a:cubicBezTo>
                  <a:pt x="6136585" y="2631123"/>
                  <a:pt x="6174601" y="2673191"/>
                  <a:pt x="6250636" y="2631123"/>
                </a:cubicBezTo>
                <a:cubicBezTo>
                  <a:pt x="6329838" y="2592881"/>
                  <a:pt x="6421712" y="2592881"/>
                  <a:pt x="6523091" y="2573759"/>
                </a:cubicBezTo>
                <a:cubicBezTo>
                  <a:pt x="6437553" y="2638773"/>
                  <a:pt x="6364687" y="2696137"/>
                  <a:pt x="6291821" y="2749678"/>
                </a:cubicBezTo>
                <a:cubicBezTo>
                  <a:pt x="6294989" y="2757326"/>
                  <a:pt x="6298157" y="2764975"/>
                  <a:pt x="6298157" y="2776448"/>
                </a:cubicBezTo>
                <a:cubicBezTo>
                  <a:pt x="6339342" y="2753501"/>
                  <a:pt x="6352015" y="2849110"/>
                  <a:pt x="6399536" y="2791745"/>
                </a:cubicBezTo>
                <a:cubicBezTo>
                  <a:pt x="6405872" y="2803218"/>
                  <a:pt x="6418544" y="2822339"/>
                  <a:pt x="6415376" y="2826163"/>
                </a:cubicBezTo>
                <a:cubicBezTo>
                  <a:pt x="6405872" y="2845285"/>
                  <a:pt x="6390032" y="2872055"/>
                  <a:pt x="6377360" y="2875880"/>
                </a:cubicBezTo>
                <a:cubicBezTo>
                  <a:pt x="6241131" y="2883528"/>
                  <a:pt x="6203115" y="3017379"/>
                  <a:pt x="6142921" y="3128284"/>
                </a:cubicBezTo>
                <a:cubicBezTo>
                  <a:pt x="6117576" y="3174176"/>
                  <a:pt x="6060550" y="3197121"/>
                  <a:pt x="6016197" y="3231540"/>
                </a:cubicBezTo>
                <a:cubicBezTo>
                  <a:pt x="6000357" y="3246838"/>
                  <a:pt x="5940163" y="3235364"/>
                  <a:pt x="5984517" y="3300378"/>
                </a:cubicBezTo>
                <a:cubicBezTo>
                  <a:pt x="5984517" y="3300378"/>
                  <a:pt x="5965508" y="3327148"/>
                  <a:pt x="5952836" y="3338621"/>
                </a:cubicBezTo>
                <a:cubicBezTo>
                  <a:pt x="5889474" y="3384512"/>
                  <a:pt x="5832449" y="3441877"/>
                  <a:pt x="5765919" y="3464823"/>
                </a:cubicBezTo>
                <a:lnTo>
                  <a:pt x="5745547" y="3480697"/>
                </a:lnTo>
                <a:lnTo>
                  <a:pt x="5823335" y="3471535"/>
                </a:lnTo>
                <a:cubicBezTo>
                  <a:pt x="5801849" y="3537818"/>
                  <a:pt x="5708743" y="3555109"/>
                  <a:pt x="5777975" y="3632919"/>
                </a:cubicBezTo>
                <a:cubicBezTo>
                  <a:pt x="5754102" y="3658855"/>
                  <a:pt x="5730229" y="3684792"/>
                  <a:pt x="5706356" y="3710729"/>
                </a:cubicBezTo>
                <a:cubicBezTo>
                  <a:pt x="5732616" y="3730901"/>
                  <a:pt x="5758877" y="3753956"/>
                  <a:pt x="5770813" y="3762602"/>
                </a:cubicBezTo>
                <a:cubicBezTo>
                  <a:pt x="5835272" y="3745311"/>
                  <a:pt x="5887793" y="3730901"/>
                  <a:pt x="5940314" y="3719374"/>
                </a:cubicBezTo>
                <a:cubicBezTo>
                  <a:pt x="5942703" y="3722256"/>
                  <a:pt x="5947477" y="3725138"/>
                  <a:pt x="5949864" y="3728019"/>
                </a:cubicBezTo>
                <a:cubicBezTo>
                  <a:pt x="5911667" y="3771247"/>
                  <a:pt x="5873469" y="3817357"/>
                  <a:pt x="5832885" y="3860584"/>
                </a:cubicBezTo>
                <a:cubicBezTo>
                  <a:pt x="5847209" y="3860584"/>
                  <a:pt x="5866308" y="3857703"/>
                  <a:pt x="5902118" y="3851939"/>
                </a:cubicBezTo>
                <a:cubicBezTo>
                  <a:pt x="5856758" y="3895166"/>
                  <a:pt x="5820947" y="3926867"/>
                  <a:pt x="5785138" y="3961449"/>
                </a:cubicBezTo>
                <a:cubicBezTo>
                  <a:pt x="5694419" y="4042140"/>
                  <a:pt x="5603700" y="4119950"/>
                  <a:pt x="5515368" y="4203524"/>
                </a:cubicBezTo>
                <a:cubicBezTo>
                  <a:pt x="5493882" y="4223696"/>
                  <a:pt x="5465234" y="4252515"/>
                  <a:pt x="5462847" y="4284215"/>
                </a:cubicBezTo>
                <a:cubicBezTo>
                  <a:pt x="5438973" y="4436953"/>
                  <a:pt x="5355416" y="4534935"/>
                  <a:pt x="5259922" y="4638682"/>
                </a:cubicBezTo>
                <a:cubicBezTo>
                  <a:pt x="5314831" y="4624273"/>
                  <a:pt x="5369740" y="4612745"/>
                  <a:pt x="5427037" y="4598336"/>
                </a:cubicBezTo>
                <a:cubicBezTo>
                  <a:pt x="5460460" y="4632918"/>
                  <a:pt x="5489107" y="4664619"/>
                  <a:pt x="5546404" y="4632918"/>
                </a:cubicBezTo>
                <a:cubicBezTo>
                  <a:pt x="5606087" y="4604100"/>
                  <a:pt x="5675320" y="4604100"/>
                  <a:pt x="5751715" y="4589691"/>
                </a:cubicBezTo>
                <a:cubicBezTo>
                  <a:pt x="5687257" y="4638682"/>
                  <a:pt x="5632348" y="4681909"/>
                  <a:pt x="5577439" y="4722256"/>
                </a:cubicBezTo>
                <a:cubicBezTo>
                  <a:pt x="5579826" y="4728019"/>
                  <a:pt x="5582213" y="4733783"/>
                  <a:pt x="5582213" y="4742428"/>
                </a:cubicBezTo>
                <a:cubicBezTo>
                  <a:pt x="5613249" y="4725137"/>
                  <a:pt x="5622799" y="4797183"/>
                  <a:pt x="5658609" y="4753956"/>
                </a:cubicBezTo>
                <a:cubicBezTo>
                  <a:pt x="5663384" y="4762601"/>
                  <a:pt x="5672933" y="4777011"/>
                  <a:pt x="5670545" y="4779892"/>
                </a:cubicBezTo>
                <a:cubicBezTo>
                  <a:pt x="5663384" y="4794301"/>
                  <a:pt x="5651447" y="4814474"/>
                  <a:pt x="5641898" y="4817356"/>
                </a:cubicBezTo>
                <a:cubicBezTo>
                  <a:pt x="5539241" y="4823120"/>
                  <a:pt x="5510594" y="4923985"/>
                  <a:pt x="5465234" y="5007558"/>
                </a:cubicBezTo>
                <a:cubicBezTo>
                  <a:pt x="5446135" y="5042140"/>
                  <a:pt x="5403163" y="5059431"/>
                  <a:pt x="5369740" y="5085367"/>
                </a:cubicBezTo>
                <a:cubicBezTo>
                  <a:pt x="5357804" y="5096895"/>
                  <a:pt x="5312444" y="5088249"/>
                  <a:pt x="5345867" y="5137241"/>
                </a:cubicBezTo>
                <a:cubicBezTo>
                  <a:pt x="5345867" y="5137241"/>
                  <a:pt x="5331543" y="5157413"/>
                  <a:pt x="5321993" y="5166059"/>
                </a:cubicBezTo>
                <a:cubicBezTo>
                  <a:pt x="5274247" y="5200641"/>
                  <a:pt x="5231275" y="5243869"/>
                  <a:pt x="5181140" y="5261160"/>
                </a:cubicBezTo>
                <a:cubicBezTo>
                  <a:pt x="5133394" y="5281333"/>
                  <a:pt x="5140555" y="5338970"/>
                  <a:pt x="5104746" y="5364906"/>
                </a:cubicBezTo>
                <a:cubicBezTo>
                  <a:pt x="5109520" y="5356261"/>
                  <a:pt x="5114295" y="5344733"/>
                  <a:pt x="5121457" y="5321678"/>
                </a:cubicBezTo>
                <a:cubicBezTo>
                  <a:pt x="5068935" y="5359142"/>
                  <a:pt x="5023576" y="5393725"/>
                  <a:pt x="4973442" y="5428307"/>
                </a:cubicBezTo>
                <a:cubicBezTo>
                  <a:pt x="4968667" y="5422543"/>
                  <a:pt x="4959117" y="5413897"/>
                  <a:pt x="4961505" y="5416780"/>
                </a:cubicBezTo>
                <a:cubicBezTo>
                  <a:pt x="4928082" y="5434070"/>
                  <a:pt x="4906596" y="5457125"/>
                  <a:pt x="4887497" y="5457125"/>
                </a:cubicBezTo>
                <a:cubicBezTo>
                  <a:pt x="4806327" y="5448479"/>
                  <a:pt x="4732320" y="5465771"/>
                  <a:pt x="4653538" y="5494589"/>
                </a:cubicBezTo>
                <a:cubicBezTo>
                  <a:pt x="4562819" y="5529172"/>
                  <a:pt x="4464938" y="5532053"/>
                  <a:pt x="4371832" y="5540699"/>
                </a:cubicBezTo>
                <a:cubicBezTo>
                  <a:pt x="4326472" y="5546462"/>
                  <a:pt x="4324085" y="5540699"/>
                  <a:pt x="4324085" y="5566635"/>
                </a:cubicBezTo>
                <a:cubicBezTo>
                  <a:pt x="4293049" y="5566635"/>
                  <a:pt x="4262014" y="5569517"/>
                  <a:pt x="4230979" y="5572399"/>
                </a:cubicBezTo>
                <a:cubicBezTo>
                  <a:pt x="4223816" y="5572399"/>
                  <a:pt x="4216654" y="5589690"/>
                  <a:pt x="4209492" y="5586808"/>
                </a:cubicBezTo>
                <a:cubicBezTo>
                  <a:pt x="4111611" y="5555108"/>
                  <a:pt x="4030441" y="5638681"/>
                  <a:pt x="3937335" y="5641564"/>
                </a:cubicBezTo>
                <a:cubicBezTo>
                  <a:pt x="3908687" y="5641564"/>
                  <a:pt x="3880039" y="5661736"/>
                  <a:pt x="3851391" y="5670381"/>
                </a:cubicBezTo>
                <a:cubicBezTo>
                  <a:pt x="3722475" y="5702082"/>
                  <a:pt x="3593558" y="5733782"/>
                  <a:pt x="3464642" y="5768364"/>
                </a:cubicBezTo>
                <a:cubicBezTo>
                  <a:pt x="3450317" y="5774128"/>
                  <a:pt x="3438380" y="5794301"/>
                  <a:pt x="3424057" y="5802946"/>
                </a:cubicBezTo>
                <a:cubicBezTo>
                  <a:pt x="3416894" y="5805828"/>
                  <a:pt x="3407345" y="5802946"/>
                  <a:pt x="3400183" y="5800065"/>
                </a:cubicBezTo>
                <a:cubicBezTo>
                  <a:pt x="3397796" y="5791419"/>
                  <a:pt x="3393021" y="5782773"/>
                  <a:pt x="3390634" y="5771246"/>
                </a:cubicBezTo>
                <a:cubicBezTo>
                  <a:pt x="3280816" y="5820238"/>
                  <a:pt x="3170999" y="5863465"/>
                  <a:pt x="3063568" y="5912457"/>
                </a:cubicBezTo>
                <a:cubicBezTo>
                  <a:pt x="2991948" y="5944157"/>
                  <a:pt x="2922715" y="5984502"/>
                  <a:pt x="2848707" y="6016203"/>
                </a:cubicBezTo>
                <a:cubicBezTo>
                  <a:pt x="2829609" y="6021966"/>
                  <a:pt x="2803348" y="6004676"/>
                  <a:pt x="2779475" y="5996030"/>
                </a:cubicBezTo>
                <a:cubicBezTo>
                  <a:pt x="2765151" y="6019084"/>
                  <a:pt x="2753214" y="6039258"/>
                  <a:pt x="2738889" y="6059431"/>
                </a:cubicBezTo>
                <a:cubicBezTo>
                  <a:pt x="2700692" y="5998912"/>
                  <a:pt x="2662495" y="6027730"/>
                  <a:pt x="2624297" y="6062312"/>
                </a:cubicBezTo>
                <a:cubicBezTo>
                  <a:pt x="2614748" y="6053666"/>
                  <a:pt x="2602811" y="6047903"/>
                  <a:pt x="2593262" y="6039258"/>
                </a:cubicBezTo>
                <a:cubicBezTo>
                  <a:pt x="2598036" y="6024849"/>
                  <a:pt x="2602811" y="6013321"/>
                  <a:pt x="2617136" y="5972975"/>
                </a:cubicBezTo>
                <a:cubicBezTo>
                  <a:pt x="2531191" y="6045021"/>
                  <a:pt x="2500156" y="5955684"/>
                  <a:pt x="2452409" y="5923984"/>
                </a:cubicBezTo>
                <a:cubicBezTo>
                  <a:pt x="2435697" y="5912457"/>
                  <a:pt x="2423761" y="5892284"/>
                  <a:pt x="2407049" y="5921102"/>
                </a:cubicBezTo>
                <a:cubicBezTo>
                  <a:pt x="2378401" y="5972975"/>
                  <a:pt x="2325880" y="5964329"/>
                  <a:pt x="2287682" y="5967212"/>
                </a:cubicBezTo>
                <a:cubicBezTo>
                  <a:pt x="2211287" y="5975857"/>
                  <a:pt x="2144442" y="6010439"/>
                  <a:pt x="2072821" y="6039258"/>
                </a:cubicBezTo>
                <a:cubicBezTo>
                  <a:pt x="2068047" y="6042139"/>
                  <a:pt x="2058497" y="6030612"/>
                  <a:pt x="2051335" y="6027730"/>
                </a:cubicBezTo>
                <a:cubicBezTo>
                  <a:pt x="2044173" y="6021966"/>
                  <a:pt x="2034624" y="6016203"/>
                  <a:pt x="2027462" y="6010439"/>
                </a:cubicBezTo>
                <a:cubicBezTo>
                  <a:pt x="2037011" y="5990267"/>
                  <a:pt x="2046561" y="5970093"/>
                  <a:pt x="2065659" y="5929747"/>
                </a:cubicBezTo>
                <a:cubicBezTo>
                  <a:pt x="2022687" y="5929747"/>
                  <a:pt x="1986877" y="5918220"/>
                  <a:pt x="1963004" y="5932629"/>
                </a:cubicBezTo>
                <a:cubicBezTo>
                  <a:pt x="1924806" y="5955684"/>
                  <a:pt x="1924806" y="5900929"/>
                  <a:pt x="1900933" y="5900929"/>
                </a:cubicBezTo>
                <a:cubicBezTo>
                  <a:pt x="1917644" y="5886520"/>
                  <a:pt x="1931968" y="5869229"/>
                  <a:pt x="1948680" y="5857702"/>
                </a:cubicBezTo>
                <a:cubicBezTo>
                  <a:pt x="1991652" y="5828883"/>
                  <a:pt x="2037011" y="5802946"/>
                  <a:pt x="2077596" y="5762600"/>
                </a:cubicBezTo>
                <a:cubicBezTo>
                  <a:pt x="1979715" y="5782773"/>
                  <a:pt x="1884222" y="5802946"/>
                  <a:pt x="1786341" y="5823119"/>
                </a:cubicBezTo>
                <a:cubicBezTo>
                  <a:pt x="1767242" y="5828883"/>
                  <a:pt x="1745756" y="5857702"/>
                  <a:pt x="1731432" y="5854820"/>
                </a:cubicBezTo>
                <a:cubicBezTo>
                  <a:pt x="1690847" y="5840410"/>
                  <a:pt x="1655036" y="5814474"/>
                  <a:pt x="1614452" y="5794301"/>
                </a:cubicBezTo>
                <a:cubicBezTo>
                  <a:pt x="1612064" y="5811592"/>
                  <a:pt x="1612064" y="5837528"/>
                  <a:pt x="1612064" y="5863465"/>
                </a:cubicBezTo>
                <a:cubicBezTo>
                  <a:pt x="1592966" y="5860583"/>
                  <a:pt x="1578641" y="5857702"/>
                  <a:pt x="1559543" y="5857702"/>
                </a:cubicBezTo>
                <a:cubicBezTo>
                  <a:pt x="1557155" y="5837528"/>
                  <a:pt x="1554768" y="5817355"/>
                  <a:pt x="1552381" y="5791419"/>
                </a:cubicBezTo>
                <a:cubicBezTo>
                  <a:pt x="1573867" y="5779892"/>
                  <a:pt x="1595353" y="5768364"/>
                  <a:pt x="1616839" y="5756837"/>
                </a:cubicBezTo>
                <a:cubicBezTo>
                  <a:pt x="1552381" y="5739545"/>
                  <a:pt x="1492697" y="5725137"/>
                  <a:pt x="1430626" y="5710728"/>
                </a:cubicBezTo>
                <a:cubicBezTo>
                  <a:pt x="1430626" y="5702082"/>
                  <a:pt x="1430626" y="5696318"/>
                  <a:pt x="1428239" y="5687673"/>
                </a:cubicBezTo>
                <a:cubicBezTo>
                  <a:pt x="1459274" y="5664618"/>
                  <a:pt x="1492697" y="5644445"/>
                  <a:pt x="1521345" y="5624272"/>
                </a:cubicBezTo>
                <a:cubicBezTo>
                  <a:pt x="1480760" y="5572399"/>
                  <a:pt x="1170406" y="5618509"/>
                  <a:pt x="1151308" y="5673263"/>
                </a:cubicBezTo>
                <a:cubicBezTo>
                  <a:pt x="1101173" y="5673263"/>
                  <a:pt x="1053427" y="5673263"/>
                  <a:pt x="1003292" y="5673263"/>
                </a:cubicBezTo>
                <a:cubicBezTo>
                  <a:pt x="1012842" y="5638681"/>
                  <a:pt x="1020004" y="5615626"/>
                  <a:pt x="1027165" y="5592572"/>
                </a:cubicBezTo>
                <a:cubicBezTo>
                  <a:pt x="957933" y="5650208"/>
                  <a:pt x="912573" y="5575281"/>
                  <a:pt x="862439" y="5552226"/>
                </a:cubicBezTo>
                <a:cubicBezTo>
                  <a:pt x="945996" y="5494589"/>
                  <a:pt x="1034328" y="5436952"/>
                  <a:pt x="1120272" y="5373552"/>
                </a:cubicBezTo>
                <a:cubicBezTo>
                  <a:pt x="1206217" y="5307270"/>
                  <a:pt x="1289773" y="5235223"/>
                  <a:pt x="1375718" y="5166059"/>
                </a:cubicBezTo>
                <a:cubicBezTo>
                  <a:pt x="1461662" y="5091131"/>
                  <a:pt x="1576254" y="5079604"/>
                  <a:pt x="1664586" y="4987384"/>
                </a:cubicBezTo>
                <a:cubicBezTo>
                  <a:pt x="1602515" y="4952802"/>
                  <a:pt x="1538057" y="5079604"/>
                  <a:pt x="1502246" y="4955685"/>
                </a:cubicBezTo>
                <a:cubicBezTo>
                  <a:pt x="1452113" y="4975857"/>
                  <a:pt x="1404365" y="4990267"/>
                  <a:pt x="1359006" y="5019085"/>
                </a:cubicBezTo>
                <a:cubicBezTo>
                  <a:pt x="1301710" y="5053667"/>
                  <a:pt x="1244414" y="5082486"/>
                  <a:pt x="1175181" y="5073840"/>
                </a:cubicBezTo>
                <a:cubicBezTo>
                  <a:pt x="1148920" y="5070958"/>
                  <a:pt x="1117885" y="5131477"/>
                  <a:pt x="1086849" y="5076722"/>
                </a:cubicBezTo>
                <a:cubicBezTo>
                  <a:pt x="1077300" y="5091131"/>
                  <a:pt x="1070138" y="5105541"/>
                  <a:pt x="1060588" y="5114186"/>
                </a:cubicBezTo>
                <a:cubicBezTo>
                  <a:pt x="1031940" y="5143004"/>
                  <a:pt x="979419" y="5117068"/>
                  <a:pt x="965095" y="5177586"/>
                </a:cubicBezTo>
                <a:cubicBezTo>
                  <a:pt x="953158" y="5168941"/>
                  <a:pt x="934059" y="5163177"/>
                  <a:pt x="931672" y="5154531"/>
                </a:cubicBezTo>
                <a:cubicBezTo>
                  <a:pt x="931672" y="5134359"/>
                  <a:pt x="936447" y="5108422"/>
                  <a:pt x="945996" y="5099776"/>
                </a:cubicBezTo>
                <a:cubicBezTo>
                  <a:pt x="967482" y="5076722"/>
                  <a:pt x="996130" y="5065194"/>
                  <a:pt x="1022391" y="5050785"/>
                </a:cubicBezTo>
                <a:cubicBezTo>
                  <a:pt x="1020004" y="5042140"/>
                  <a:pt x="1017616" y="5036376"/>
                  <a:pt x="1015229" y="5027731"/>
                </a:cubicBezTo>
                <a:cubicBezTo>
                  <a:pt x="960320" y="5036376"/>
                  <a:pt x="905411" y="5045022"/>
                  <a:pt x="852890" y="5053667"/>
                </a:cubicBezTo>
                <a:cubicBezTo>
                  <a:pt x="850503" y="5047904"/>
                  <a:pt x="848115" y="5042140"/>
                  <a:pt x="848115" y="5039258"/>
                </a:cubicBezTo>
                <a:cubicBezTo>
                  <a:pt x="860052" y="5027731"/>
                  <a:pt x="874376" y="5013322"/>
                  <a:pt x="898249" y="4990267"/>
                </a:cubicBezTo>
                <a:cubicBezTo>
                  <a:pt x="871989" y="4993149"/>
                  <a:pt x="857664" y="4993149"/>
                  <a:pt x="836178" y="4996030"/>
                </a:cubicBezTo>
                <a:cubicBezTo>
                  <a:pt x="903024" y="4918220"/>
                  <a:pt x="1005679" y="4926866"/>
                  <a:pt x="1058201" y="4826002"/>
                </a:cubicBezTo>
                <a:cubicBezTo>
                  <a:pt x="1101173" y="4742428"/>
                  <a:pt x="1220540" y="4777011"/>
                  <a:pt x="1270675" y="4673264"/>
                </a:cubicBezTo>
                <a:cubicBezTo>
                  <a:pt x="1304098" y="4693437"/>
                  <a:pt x="1361393" y="4664619"/>
                  <a:pt x="1378105" y="4609864"/>
                </a:cubicBezTo>
                <a:cubicBezTo>
                  <a:pt x="1382879" y="4592572"/>
                  <a:pt x="1404365" y="4572399"/>
                  <a:pt x="1421077" y="4563754"/>
                </a:cubicBezTo>
                <a:lnTo>
                  <a:pt x="1606295" y="4477554"/>
                </a:lnTo>
                <a:lnTo>
                  <a:pt x="1580875" y="4459143"/>
                </a:lnTo>
                <a:cubicBezTo>
                  <a:pt x="1593548" y="4432373"/>
                  <a:pt x="1606220" y="4405602"/>
                  <a:pt x="1631565" y="4352062"/>
                </a:cubicBezTo>
                <a:cubicBezTo>
                  <a:pt x="1574539" y="4352062"/>
                  <a:pt x="1527018" y="4336765"/>
                  <a:pt x="1495337" y="4355887"/>
                </a:cubicBezTo>
                <a:cubicBezTo>
                  <a:pt x="1444648" y="4386482"/>
                  <a:pt x="1444648" y="4313819"/>
                  <a:pt x="1412967" y="4313819"/>
                </a:cubicBezTo>
                <a:cubicBezTo>
                  <a:pt x="1435143" y="4294697"/>
                  <a:pt x="1454152" y="4271752"/>
                  <a:pt x="1476329" y="4256455"/>
                </a:cubicBezTo>
                <a:cubicBezTo>
                  <a:pt x="1504842" y="4237334"/>
                  <a:pt x="1534147" y="4219168"/>
                  <a:pt x="1563055" y="4199090"/>
                </a:cubicBezTo>
                <a:lnTo>
                  <a:pt x="1566528" y="4196256"/>
                </a:lnTo>
                <a:lnTo>
                  <a:pt x="1554768" y="4180469"/>
                </a:lnTo>
                <a:cubicBezTo>
                  <a:pt x="1554171" y="4172544"/>
                  <a:pt x="1557902" y="4165880"/>
                  <a:pt x="1563273" y="4159351"/>
                </a:cubicBezTo>
                <a:lnTo>
                  <a:pt x="1576199" y="4145048"/>
                </a:lnTo>
                <a:lnTo>
                  <a:pt x="1260899" y="4210562"/>
                </a:lnTo>
                <a:cubicBezTo>
                  <a:pt x="1235554" y="4218212"/>
                  <a:pt x="1207042" y="4256455"/>
                  <a:pt x="1188033" y="4252630"/>
                </a:cubicBezTo>
                <a:cubicBezTo>
                  <a:pt x="1134176" y="4233509"/>
                  <a:pt x="1086654" y="4199090"/>
                  <a:pt x="1032797" y="4172320"/>
                </a:cubicBezTo>
                <a:cubicBezTo>
                  <a:pt x="1029628" y="4195265"/>
                  <a:pt x="1029628" y="4229684"/>
                  <a:pt x="1029628" y="4264103"/>
                </a:cubicBezTo>
                <a:cubicBezTo>
                  <a:pt x="1004284" y="4260279"/>
                  <a:pt x="985275" y="4256455"/>
                  <a:pt x="959931" y="4256455"/>
                </a:cubicBezTo>
                <a:cubicBezTo>
                  <a:pt x="956762" y="4229684"/>
                  <a:pt x="953595" y="4202914"/>
                  <a:pt x="950426" y="4168495"/>
                </a:cubicBezTo>
                <a:cubicBezTo>
                  <a:pt x="978939" y="4153198"/>
                  <a:pt x="1007452" y="4137901"/>
                  <a:pt x="1035964" y="4122604"/>
                </a:cubicBezTo>
                <a:cubicBezTo>
                  <a:pt x="950426" y="4099657"/>
                  <a:pt x="871224" y="4080537"/>
                  <a:pt x="788853" y="4061415"/>
                </a:cubicBezTo>
                <a:cubicBezTo>
                  <a:pt x="788853" y="4049942"/>
                  <a:pt x="788853" y="4042294"/>
                  <a:pt x="785686" y="4030820"/>
                </a:cubicBezTo>
                <a:cubicBezTo>
                  <a:pt x="826871" y="4000226"/>
                  <a:pt x="871224" y="3973456"/>
                  <a:pt x="909241" y="3946685"/>
                </a:cubicBezTo>
                <a:cubicBezTo>
                  <a:pt x="855383" y="3877848"/>
                  <a:pt x="443532" y="3939037"/>
                  <a:pt x="418188" y="4011699"/>
                </a:cubicBezTo>
                <a:cubicBezTo>
                  <a:pt x="351658" y="4011699"/>
                  <a:pt x="288297" y="4011699"/>
                  <a:pt x="221767" y="4011699"/>
                </a:cubicBezTo>
                <a:cubicBezTo>
                  <a:pt x="234439" y="3965807"/>
                  <a:pt x="243943" y="3935212"/>
                  <a:pt x="253447" y="3904619"/>
                </a:cubicBezTo>
                <a:cubicBezTo>
                  <a:pt x="161573" y="3981104"/>
                  <a:pt x="101379" y="3881672"/>
                  <a:pt x="34849" y="3851077"/>
                </a:cubicBezTo>
                <a:cubicBezTo>
                  <a:pt x="145732" y="3774592"/>
                  <a:pt x="262951" y="3698106"/>
                  <a:pt x="377002" y="3613971"/>
                </a:cubicBezTo>
                <a:cubicBezTo>
                  <a:pt x="491054" y="3526012"/>
                  <a:pt x="601937" y="3430404"/>
                  <a:pt x="715988" y="3338621"/>
                </a:cubicBezTo>
                <a:cubicBezTo>
                  <a:pt x="830039" y="3239189"/>
                  <a:pt x="982107" y="3223891"/>
                  <a:pt x="1099327" y="3101513"/>
                </a:cubicBezTo>
                <a:cubicBezTo>
                  <a:pt x="1016956" y="3055621"/>
                  <a:pt x="931418" y="3223891"/>
                  <a:pt x="883896" y="3059446"/>
                </a:cubicBezTo>
                <a:cubicBezTo>
                  <a:pt x="817367" y="3086216"/>
                  <a:pt x="754005" y="3105338"/>
                  <a:pt x="693812" y="3143581"/>
                </a:cubicBezTo>
                <a:cubicBezTo>
                  <a:pt x="617777" y="3189473"/>
                  <a:pt x="541743" y="3227716"/>
                  <a:pt x="449868" y="3216243"/>
                </a:cubicBezTo>
                <a:cubicBezTo>
                  <a:pt x="415020" y="3212418"/>
                  <a:pt x="373835" y="3292729"/>
                  <a:pt x="332649" y="3220067"/>
                </a:cubicBezTo>
                <a:cubicBezTo>
                  <a:pt x="319977" y="3239189"/>
                  <a:pt x="310473" y="3258311"/>
                  <a:pt x="297800" y="3269783"/>
                </a:cubicBezTo>
                <a:cubicBezTo>
                  <a:pt x="259783" y="3308026"/>
                  <a:pt x="190085" y="3273608"/>
                  <a:pt x="171077" y="3353918"/>
                </a:cubicBezTo>
                <a:cubicBezTo>
                  <a:pt x="155237" y="3342445"/>
                  <a:pt x="129892" y="3334796"/>
                  <a:pt x="126724" y="3323323"/>
                </a:cubicBezTo>
                <a:cubicBezTo>
                  <a:pt x="126724" y="3296553"/>
                  <a:pt x="133060" y="3262134"/>
                  <a:pt x="145732" y="3250661"/>
                </a:cubicBezTo>
                <a:cubicBezTo>
                  <a:pt x="174245" y="3220067"/>
                  <a:pt x="212262" y="3204770"/>
                  <a:pt x="247111" y="3185648"/>
                </a:cubicBezTo>
                <a:cubicBezTo>
                  <a:pt x="243943" y="3174176"/>
                  <a:pt x="240775" y="3166526"/>
                  <a:pt x="237606" y="3155054"/>
                </a:cubicBezTo>
                <a:cubicBezTo>
                  <a:pt x="164741" y="3166526"/>
                  <a:pt x="91874" y="3178000"/>
                  <a:pt x="22177" y="3189473"/>
                </a:cubicBezTo>
                <a:cubicBezTo>
                  <a:pt x="19009" y="3181824"/>
                  <a:pt x="15841" y="3174176"/>
                  <a:pt x="15841" y="3170351"/>
                </a:cubicBezTo>
                <a:cubicBezTo>
                  <a:pt x="31681" y="3155054"/>
                  <a:pt x="50689" y="3135933"/>
                  <a:pt x="82371" y="3105338"/>
                </a:cubicBezTo>
                <a:cubicBezTo>
                  <a:pt x="47522" y="3109163"/>
                  <a:pt x="28513" y="3109163"/>
                  <a:pt x="0" y="3112986"/>
                </a:cubicBezTo>
                <a:cubicBezTo>
                  <a:pt x="88707" y="3009730"/>
                  <a:pt x="224934" y="3021203"/>
                  <a:pt x="294633" y="2887353"/>
                </a:cubicBezTo>
                <a:cubicBezTo>
                  <a:pt x="351658" y="2776448"/>
                  <a:pt x="510062" y="2822339"/>
                  <a:pt x="576592" y="2684664"/>
                </a:cubicBezTo>
                <a:cubicBezTo>
                  <a:pt x="620946" y="2711435"/>
                  <a:pt x="696979" y="2673191"/>
                  <a:pt x="719156" y="2600529"/>
                </a:cubicBezTo>
                <a:cubicBezTo>
                  <a:pt x="725492" y="2577583"/>
                  <a:pt x="754005" y="2550813"/>
                  <a:pt x="776181" y="2539340"/>
                </a:cubicBezTo>
                <a:cubicBezTo>
                  <a:pt x="861719" y="2497273"/>
                  <a:pt x="953595" y="2459030"/>
                  <a:pt x="1039133" y="2416963"/>
                </a:cubicBezTo>
                <a:cubicBezTo>
                  <a:pt x="1083486" y="2397841"/>
                  <a:pt x="1096158" y="2367246"/>
                  <a:pt x="1077150" y="2317530"/>
                </a:cubicBezTo>
                <a:cubicBezTo>
                  <a:pt x="1058141" y="2263990"/>
                  <a:pt x="1048637" y="2206625"/>
                  <a:pt x="1026461" y="2153085"/>
                </a:cubicBezTo>
                <a:cubicBezTo>
                  <a:pt x="1010620" y="2107193"/>
                  <a:pt x="985275" y="2065126"/>
                  <a:pt x="953595" y="2030708"/>
                </a:cubicBezTo>
                <a:cubicBezTo>
                  <a:pt x="950426" y="1988640"/>
                  <a:pt x="1039133" y="1973343"/>
                  <a:pt x="991612" y="1889209"/>
                </a:cubicBezTo>
                <a:cubicBezTo>
                  <a:pt x="985275" y="1881560"/>
                  <a:pt x="1023292" y="1824195"/>
                  <a:pt x="1048637" y="1808898"/>
                </a:cubicBezTo>
                <a:cubicBezTo>
                  <a:pt x="1181696" y="1747709"/>
                  <a:pt x="1321092" y="1694169"/>
                  <a:pt x="1454152" y="1629155"/>
                </a:cubicBezTo>
                <a:cubicBezTo>
                  <a:pt x="1663246" y="1529724"/>
                  <a:pt x="1869172" y="1426467"/>
                  <a:pt x="2071929" y="1323211"/>
                </a:cubicBezTo>
                <a:cubicBezTo>
                  <a:pt x="2360225" y="1174062"/>
                  <a:pt x="2648521" y="1024914"/>
                  <a:pt x="2933649" y="871943"/>
                </a:cubicBezTo>
                <a:cubicBezTo>
                  <a:pt x="3031860" y="818402"/>
                  <a:pt x="3117398" y="757213"/>
                  <a:pt x="3234617" y="761038"/>
                </a:cubicBezTo>
                <a:cubicBezTo>
                  <a:pt x="3294810" y="764861"/>
                  <a:pt x="3358172" y="699848"/>
                  <a:pt x="3427870" y="684551"/>
                </a:cubicBezTo>
                <a:cubicBezTo>
                  <a:pt x="3320156" y="780159"/>
                  <a:pt x="3209272" y="871943"/>
                  <a:pt x="3101557" y="967550"/>
                </a:cubicBezTo>
                <a:cubicBezTo>
                  <a:pt x="3107893" y="979023"/>
                  <a:pt x="3114230" y="994321"/>
                  <a:pt x="3120566" y="1005793"/>
                </a:cubicBezTo>
                <a:cubicBezTo>
                  <a:pt x="3291643" y="898713"/>
                  <a:pt x="3472224" y="803105"/>
                  <a:pt x="3633796" y="676903"/>
                </a:cubicBezTo>
                <a:cubicBezTo>
                  <a:pt x="3738343" y="592768"/>
                  <a:pt x="3861898" y="508633"/>
                  <a:pt x="3963277" y="527754"/>
                </a:cubicBezTo>
                <a:cubicBezTo>
                  <a:pt x="4096337" y="558349"/>
                  <a:pt x="4169203" y="428323"/>
                  <a:pt x="4280086" y="447444"/>
                </a:cubicBezTo>
                <a:cubicBezTo>
                  <a:pt x="4178706" y="554525"/>
                  <a:pt x="4017135" y="585119"/>
                  <a:pt x="3972781" y="783983"/>
                </a:cubicBezTo>
                <a:cubicBezTo>
                  <a:pt x="4070992" y="718970"/>
                  <a:pt x="4172370" y="661606"/>
                  <a:pt x="4267413" y="592768"/>
                </a:cubicBezTo>
                <a:cubicBezTo>
                  <a:pt x="4368792" y="520106"/>
                  <a:pt x="4457499" y="432146"/>
                  <a:pt x="4562046" y="370958"/>
                </a:cubicBezTo>
                <a:cubicBezTo>
                  <a:pt x="4606399" y="344188"/>
                  <a:pt x="4669761" y="286823"/>
                  <a:pt x="4723618" y="367133"/>
                </a:cubicBezTo>
                <a:cubicBezTo>
                  <a:pt x="4726786" y="374783"/>
                  <a:pt x="4748963" y="359485"/>
                  <a:pt x="4758467" y="363309"/>
                </a:cubicBezTo>
                <a:cubicBezTo>
                  <a:pt x="4790148" y="363309"/>
                  <a:pt x="4828165" y="290648"/>
                  <a:pt x="4844005" y="378606"/>
                </a:cubicBezTo>
                <a:cubicBezTo>
                  <a:pt x="4869350" y="370958"/>
                  <a:pt x="4891526" y="370958"/>
                  <a:pt x="4913703" y="359485"/>
                </a:cubicBezTo>
                <a:cubicBezTo>
                  <a:pt x="4970728" y="328891"/>
                  <a:pt x="5027755" y="298296"/>
                  <a:pt x="5084780" y="263878"/>
                </a:cubicBezTo>
                <a:cubicBezTo>
                  <a:pt x="5087948" y="271526"/>
                  <a:pt x="5091116" y="282999"/>
                  <a:pt x="5094284" y="290648"/>
                </a:cubicBezTo>
                <a:cubicBezTo>
                  <a:pt x="4989737" y="367133"/>
                  <a:pt x="4885190" y="443620"/>
                  <a:pt x="4783811" y="523930"/>
                </a:cubicBezTo>
                <a:cubicBezTo>
                  <a:pt x="4774307" y="531579"/>
                  <a:pt x="4786980" y="581295"/>
                  <a:pt x="4793316" y="627186"/>
                </a:cubicBezTo>
                <a:cubicBezTo>
                  <a:pt x="4983401" y="493336"/>
                  <a:pt x="5160814" y="363309"/>
                  <a:pt x="5341395" y="240931"/>
                </a:cubicBezTo>
                <a:cubicBezTo>
                  <a:pt x="5395252" y="202688"/>
                  <a:pt x="5455446" y="183567"/>
                  <a:pt x="5512472" y="156797"/>
                </a:cubicBezTo>
                <a:cubicBezTo>
                  <a:pt x="5518808" y="152973"/>
                  <a:pt x="5534648" y="152973"/>
                  <a:pt x="5534648" y="156797"/>
                </a:cubicBezTo>
                <a:cubicBezTo>
                  <a:pt x="5572665" y="260053"/>
                  <a:pt x="5626523" y="202688"/>
                  <a:pt x="5674044" y="175918"/>
                </a:cubicBezTo>
                <a:cubicBezTo>
                  <a:pt x="5680381" y="198864"/>
                  <a:pt x="5683548" y="221810"/>
                  <a:pt x="5686717" y="248580"/>
                </a:cubicBezTo>
                <a:cubicBezTo>
                  <a:pt x="5769086" y="202688"/>
                  <a:pt x="5845121" y="160621"/>
                  <a:pt x="5936995" y="107081"/>
                </a:cubicBezTo>
                <a:cubicBezTo>
                  <a:pt x="5845121" y="260053"/>
                  <a:pt x="5661371" y="263878"/>
                  <a:pt x="5610682" y="443620"/>
                </a:cubicBezTo>
                <a:cubicBezTo>
                  <a:pt x="5617018" y="455093"/>
                  <a:pt x="5623354" y="466566"/>
                  <a:pt x="5632859" y="474214"/>
                </a:cubicBezTo>
                <a:cubicBezTo>
                  <a:pt x="5867297" y="317418"/>
                  <a:pt x="6098568" y="156797"/>
                  <a:pt x="6333006" y="0"/>
                </a:cubicBezTo>
                <a:close/>
              </a:path>
            </a:pathLst>
          </a:custGeom>
        </p:spPr>
      </p:sp>
    </p:spTree>
    <p:extLst>
      <p:ext uri="{BB962C8B-B14F-4D97-AF65-F5344CB8AC3E}">
        <p14:creationId xmlns:p14="http://schemas.microsoft.com/office/powerpoint/2010/main" val="311087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801260" y="0"/>
            <a:ext cx="9390741" cy="6858000"/>
          </a:xfrm>
          <a:custGeom>
            <a:avLst/>
            <a:gdLst>
              <a:gd name="connsiteX0" fmla="*/ 9390741 w 9390741"/>
              <a:gd name="connsiteY0" fmla="*/ 2744432 h 6858000"/>
              <a:gd name="connsiteX1" fmla="*/ 9390741 w 9390741"/>
              <a:gd name="connsiteY1" fmla="*/ 5258113 h 6858000"/>
              <a:gd name="connsiteX2" fmla="*/ 7810132 w 9390741"/>
              <a:gd name="connsiteY2" fmla="*/ 6858000 h 6858000"/>
              <a:gd name="connsiteX3" fmla="*/ 5326741 w 9390741"/>
              <a:gd name="connsiteY3" fmla="*/ 6858000 h 6858000"/>
              <a:gd name="connsiteX4" fmla="*/ 9390741 w 9390741"/>
              <a:gd name="connsiteY4" fmla="*/ 48575 h 6858000"/>
              <a:gd name="connsiteX5" fmla="*/ 9390741 w 9390741"/>
              <a:gd name="connsiteY5" fmla="*/ 2562256 h 6858000"/>
              <a:gd name="connsiteX6" fmla="*/ 5146761 w 9390741"/>
              <a:gd name="connsiteY6" fmla="*/ 6858000 h 6858000"/>
              <a:gd name="connsiteX7" fmla="*/ 2663371 w 9390741"/>
              <a:gd name="connsiteY7" fmla="*/ 6858000 h 6858000"/>
              <a:gd name="connsiteX8" fmla="*/ 6775360 w 9390741"/>
              <a:gd name="connsiteY8" fmla="*/ 0 h 6858000"/>
              <a:gd name="connsiteX9" fmla="*/ 9258751 w 9390741"/>
              <a:gd name="connsiteY9" fmla="*/ 0 h 6858000"/>
              <a:gd name="connsiteX10" fmla="*/ 2483391 w 9390741"/>
              <a:gd name="connsiteY10" fmla="*/ 6858000 h 6858000"/>
              <a:gd name="connsiteX11" fmla="*/ 0 w 939074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90741" h="6858000">
                <a:moveTo>
                  <a:pt x="9390741" y="2744432"/>
                </a:moveTo>
                <a:lnTo>
                  <a:pt x="9390741" y="5258113"/>
                </a:lnTo>
                <a:lnTo>
                  <a:pt x="7810132" y="6858000"/>
                </a:lnTo>
                <a:lnTo>
                  <a:pt x="5326741" y="6858000"/>
                </a:lnTo>
                <a:close/>
                <a:moveTo>
                  <a:pt x="9390741" y="48575"/>
                </a:moveTo>
                <a:lnTo>
                  <a:pt x="9390741" y="2562256"/>
                </a:lnTo>
                <a:lnTo>
                  <a:pt x="5146761" y="6858000"/>
                </a:lnTo>
                <a:lnTo>
                  <a:pt x="2663371" y="6858000"/>
                </a:lnTo>
                <a:close/>
                <a:moveTo>
                  <a:pt x="6775360" y="0"/>
                </a:moveTo>
                <a:lnTo>
                  <a:pt x="9258751" y="0"/>
                </a:lnTo>
                <a:lnTo>
                  <a:pt x="2483391" y="6858000"/>
                </a:lnTo>
                <a:lnTo>
                  <a:pt x="0" y="6858000"/>
                </a:lnTo>
                <a:close/>
              </a:path>
            </a:pathLst>
          </a:custGeom>
        </p:spPr>
      </p:sp>
    </p:spTree>
    <p:extLst>
      <p:ext uri="{BB962C8B-B14F-4D97-AF65-F5344CB8AC3E}">
        <p14:creationId xmlns:p14="http://schemas.microsoft.com/office/powerpoint/2010/main" val="1971864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Picture Placeholder 2"/>
          <p:cNvSpPr>
            <a:spLocks noGrp="1"/>
          </p:cNvSpPr>
          <p:nvPr>
            <p:ph type="pic" sz="quarter" idx="27"/>
          </p:nvPr>
        </p:nvSpPr>
        <p:spPr>
          <a:xfrm>
            <a:off x="0" y="0"/>
            <a:ext cx="10840357" cy="5924740"/>
          </a:xfrm>
          <a:custGeom>
            <a:avLst/>
            <a:gdLst>
              <a:gd name="connsiteX0" fmla="*/ 0 w 10840357"/>
              <a:gd name="connsiteY0" fmla="*/ 3740338 h 5924740"/>
              <a:gd name="connsiteX1" fmla="*/ 1028701 w 10840357"/>
              <a:gd name="connsiteY1" fmla="*/ 4769040 h 5924740"/>
              <a:gd name="connsiteX2" fmla="*/ 0 w 10840357"/>
              <a:gd name="connsiteY2" fmla="*/ 5797742 h 5924740"/>
              <a:gd name="connsiteX3" fmla="*/ 2349501 w 10840357"/>
              <a:gd name="connsiteY3" fmla="*/ 3613340 h 5924740"/>
              <a:gd name="connsiteX4" fmla="*/ 3505201 w 10840357"/>
              <a:gd name="connsiteY4" fmla="*/ 4769040 h 5924740"/>
              <a:gd name="connsiteX5" fmla="*/ 2349501 w 10840357"/>
              <a:gd name="connsiteY5" fmla="*/ 5924740 h 5924740"/>
              <a:gd name="connsiteX6" fmla="*/ 1193801 w 10840357"/>
              <a:gd name="connsiteY6" fmla="*/ 4769040 h 5924740"/>
              <a:gd name="connsiteX7" fmla="*/ 6072414 w 10840357"/>
              <a:gd name="connsiteY7" fmla="*/ 2389330 h 5924740"/>
              <a:gd name="connsiteX8" fmla="*/ 7228114 w 10840357"/>
              <a:gd name="connsiteY8" fmla="*/ 3545030 h 5924740"/>
              <a:gd name="connsiteX9" fmla="*/ 6072414 w 10840357"/>
              <a:gd name="connsiteY9" fmla="*/ 4700730 h 5924740"/>
              <a:gd name="connsiteX10" fmla="*/ 4916714 w 10840357"/>
              <a:gd name="connsiteY10" fmla="*/ 3545030 h 5924740"/>
              <a:gd name="connsiteX11" fmla="*/ 3595916 w 10840357"/>
              <a:gd name="connsiteY11" fmla="*/ 2389330 h 5924740"/>
              <a:gd name="connsiteX12" fmla="*/ 4751615 w 10840357"/>
              <a:gd name="connsiteY12" fmla="*/ 3545030 h 5924740"/>
              <a:gd name="connsiteX13" fmla="*/ 3595916 w 10840357"/>
              <a:gd name="connsiteY13" fmla="*/ 4700730 h 5924740"/>
              <a:gd name="connsiteX14" fmla="*/ 2440216 w 10840357"/>
              <a:gd name="connsiteY14" fmla="*/ 3545030 h 5924740"/>
              <a:gd name="connsiteX15" fmla="*/ 1111252 w 10840357"/>
              <a:gd name="connsiteY15" fmla="*/ 2389330 h 5924740"/>
              <a:gd name="connsiteX16" fmla="*/ 2266952 w 10840357"/>
              <a:gd name="connsiteY16" fmla="*/ 3545030 h 5924740"/>
              <a:gd name="connsiteX17" fmla="*/ 1111252 w 10840357"/>
              <a:gd name="connsiteY17" fmla="*/ 4700730 h 5924740"/>
              <a:gd name="connsiteX18" fmla="*/ 0 w 10840357"/>
              <a:gd name="connsiteY18" fmla="*/ 3589478 h 5924740"/>
              <a:gd name="connsiteX19" fmla="*/ 0 w 10840357"/>
              <a:gd name="connsiteY19" fmla="*/ 3500582 h 5924740"/>
              <a:gd name="connsiteX20" fmla="*/ 0 w 10840357"/>
              <a:gd name="connsiteY20" fmla="*/ 1292320 h 5924740"/>
              <a:gd name="connsiteX21" fmla="*/ 1028701 w 10840357"/>
              <a:gd name="connsiteY21" fmla="*/ 2321020 h 5924740"/>
              <a:gd name="connsiteX22" fmla="*/ 0 w 10840357"/>
              <a:gd name="connsiteY22" fmla="*/ 3349721 h 5924740"/>
              <a:gd name="connsiteX23" fmla="*/ 4834164 w 10840357"/>
              <a:gd name="connsiteY23" fmla="*/ 1165321 h 5924740"/>
              <a:gd name="connsiteX24" fmla="*/ 5989864 w 10840357"/>
              <a:gd name="connsiteY24" fmla="*/ 2321020 h 5924740"/>
              <a:gd name="connsiteX25" fmla="*/ 4834164 w 10840357"/>
              <a:gd name="connsiteY25" fmla="*/ 3476720 h 5924740"/>
              <a:gd name="connsiteX26" fmla="*/ 3678466 w 10840357"/>
              <a:gd name="connsiteY26" fmla="*/ 2321020 h 5924740"/>
              <a:gd name="connsiteX27" fmla="*/ 2357666 w 10840357"/>
              <a:gd name="connsiteY27" fmla="*/ 1165321 h 5924740"/>
              <a:gd name="connsiteX28" fmla="*/ 3513367 w 10840357"/>
              <a:gd name="connsiteY28" fmla="*/ 2321020 h 5924740"/>
              <a:gd name="connsiteX29" fmla="*/ 2357666 w 10840357"/>
              <a:gd name="connsiteY29" fmla="*/ 3476720 h 5924740"/>
              <a:gd name="connsiteX30" fmla="*/ 1201966 w 10840357"/>
              <a:gd name="connsiteY30" fmla="*/ 2321020 h 5924740"/>
              <a:gd name="connsiteX31" fmla="*/ 7310664 w 10840357"/>
              <a:gd name="connsiteY31" fmla="*/ 1165320 h 5924740"/>
              <a:gd name="connsiteX32" fmla="*/ 8466364 w 10840357"/>
              <a:gd name="connsiteY32" fmla="*/ 2321020 h 5924740"/>
              <a:gd name="connsiteX33" fmla="*/ 7310664 w 10840357"/>
              <a:gd name="connsiteY33" fmla="*/ 3476720 h 5924740"/>
              <a:gd name="connsiteX34" fmla="*/ 6154964 w 10840357"/>
              <a:gd name="connsiteY34" fmla="*/ 2321020 h 5924740"/>
              <a:gd name="connsiteX35" fmla="*/ 8782955 w 10840357"/>
              <a:gd name="connsiteY35" fmla="*/ 0 h 5924740"/>
              <a:gd name="connsiteX36" fmla="*/ 10840357 w 10840357"/>
              <a:gd name="connsiteY36" fmla="*/ 0 h 5924740"/>
              <a:gd name="connsiteX37" fmla="*/ 9811656 w 10840357"/>
              <a:gd name="connsiteY37" fmla="*/ 1028701 h 5924740"/>
              <a:gd name="connsiteX38" fmla="*/ 8498388 w 10840357"/>
              <a:gd name="connsiteY38" fmla="*/ 0 h 5924740"/>
              <a:gd name="connsiteX39" fmla="*/ 8615768 w 10840357"/>
              <a:gd name="connsiteY39" fmla="*/ 0 h 5924740"/>
              <a:gd name="connsiteX40" fmla="*/ 9712778 w 10840357"/>
              <a:gd name="connsiteY40" fmla="*/ 1097010 h 5924740"/>
              <a:gd name="connsiteX41" fmla="*/ 8557078 w 10840357"/>
              <a:gd name="connsiteY41" fmla="*/ 2252710 h 5924740"/>
              <a:gd name="connsiteX42" fmla="*/ 7401378 w 10840357"/>
              <a:gd name="connsiteY42" fmla="*/ 1097010 h 5924740"/>
              <a:gd name="connsiteX43" fmla="*/ 6298292 w 10840357"/>
              <a:gd name="connsiteY43" fmla="*/ 0 h 5924740"/>
              <a:gd name="connsiteX44" fmla="*/ 8355692 w 10840357"/>
              <a:gd name="connsiteY44" fmla="*/ 0 h 5924740"/>
              <a:gd name="connsiteX45" fmla="*/ 7326992 w 10840357"/>
              <a:gd name="connsiteY45" fmla="*/ 1028700 h 5924740"/>
              <a:gd name="connsiteX46" fmla="*/ 6013725 w 10840357"/>
              <a:gd name="connsiteY46" fmla="*/ 0 h 5924740"/>
              <a:gd name="connsiteX47" fmla="*/ 6131103 w 10840357"/>
              <a:gd name="connsiteY47" fmla="*/ 0 h 5924740"/>
              <a:gd name="connsiteX48" fmla="*/ 7228114 w 10840357"/>
              <a:gd name="connsiteY48" fmla="*/ 1097011 h 5924740"/>
              <a:gd name="connsiteX49" fmla="*/ 6072414 w 10840357"/>
              <a:gd name="connsiteY49" fmla="*/ 2252710 h 5924740"/>
              <a:gd name="connsiteX50" fmla="*/ 4916714 w 10840357"/>
              <a:gd name="connsiteY50" fmla="*/ 1097011 h 5924740"/>
              <a:gd name="connsiteX51" fmla="*/ 3813628 w 10840357"/>
              <a:gd name="connsiteY51" fmla="*/ 0 h 5924740"/>
              <a:gd name="connsiteX52" fmla="*/ 5871029 w 10840357"/>
              <a:gd name="connsiteY52" fmla="*/ 0 h 5924740"/>
              <a:gd name="connsiteX53" fmla="*/ 4842329 w 10840357"/>
              <a:gd name="connsiteY53" fmla="*/ 1028701 h 5924740"/>
              <a:gd name="connsiteX54" fmla="*/ 3537228 w 10840357"/>
              <a:gd name="connsiteY54" fmla="*/ 0 h 5924740"/>
              <a:gd name="connsiteX55" fmla="*/ 3654606 w 10840357"/>
              <a:gd name="connsiteY55" fmla="*/ 0 h 5924740"/>
              <a:gd name="connsiteX56" fmla="*/ 4751615 w 10840357"/>
              <a:gd name="connsiteY56" fmla="*/ 1097011 h 5924740"/>
              <a:gd name="connsiteX57" fmla="*/ 3595917 w 10840357"/>
              <a:gd name="connsiteY57" fmla="*/ 2252711 h 5924740"/>
              <a:gd name="connsiteX58" fmla="*/ 2440217 w 10840357"/>
              <a:gd name="connsiteY58" fmla="*/ 1097011 h 5924740"/>
              <a:gd name="connsiteX59" fmla="*/ 1328965 w 10840357"/>
              <a:gd name="connsiteY59" fmla="*/ 0 h 5924740"/>
              <a:gd name="connsiteX60" fmla="*/ 3386368 w 10840357"/>
              <a:gd name="connsiteY60" fmla="*/ 0 h 5924740"/>
              <a:gd name="connsiteX61" fmla="*/ 2357667 w 10840357"/>
              <a:gd name="connsiteY61" fmla="*/ 1028701 h 5924740"/>
              <a:gd name="connsiteX62" fmla="*/ 1052564 w 10840357"/>
              <a:gd name="connsiteY62" fmla="*/ 0 h 5924740"/>
              <a:gd name="connsiteX63" fmla="*/ 1169942 w 10840357"/>
              <a:gd name="connsiteY63" fmla="*/ 0 h 5924740"/>
              <a:gd name="connsiteX64" fmla="*/ 2266953 w 10840357"/>
              <a:gd name="connsiteY64" fmla="*/ 1097011 h 5924740"/>
              <a:gd name="connsiteX65" fmla="*/ 1111253 w 10840357"/>
              <a:gd name="connsiteY65" fmla="*/ 2252711 h 5924740"/>
              <a:gd name="connsiteX66" fmla="*/ 0 w 10840357"/>
              <a:gd name="connsiteY66" fmla="*/ 1141458 h 5924740"/>
              <a:gd name="connsiteX67" fmla="*/ 0 w 10840357"/>
              <a:gd name="connsiteY67" fmla="*/ 1052564 h 5924740"/>
              <a:gd name="connsiteX68" fmla="*/ 0 w 10840357"/>
              <a:gd name="connsiteY68" fmla="*/ 0 h 5924740"/>
              <a:gd name="connsiteX69" fmla="*/ 901704 w 10840357"/>
              <a:gd name="connsiteY69" fmla="*/ 0 h 5924740"/>
              <a:gd name="connsiteX70" fmla="*/ 0 w 10840357"/>
              <a:gd name="connsiteY70" fmla="*/ 901704 h 5924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0840357" h="5924740">
                <a:moveTo>
                  <a:pt x="0" y="3740338"/>
                </a:moveTo>
                <a:lnTo>
                  <a:pt x="1028701" y="4769040"/>
                </a:lnTo>
                <a:lnTo>
                  <a:pt x="0" y="5797742"/>
                </a:lnTo>
                <a:close/>
                <a:moveTo>
                  <a:pt x="2349501" y="3613340"/>
                </a:moveTo>
                <a:lnTo>
                  <a:pt x="3505201" y="4769040"/>
                </a:lnTo>
                <a:lnTo>
                  <a:pt x="2349501" y="5924740"/>
                </a:lnTo>
                <a:lnTo>
                  <a:pt x="1193801" y="4769040"/>
                </a:lnTo>
                <a:close/>
                <a:moveTo>
                  <a:pt x="6072414" y="2389330"/>
                </a:moveTo>
                <a:lnTo>
                  <a:pt x="7228114" y="3545030"/>
                </a:lnTo>
                <a:lnTo>
                  <a:pt x="6072414" y="4700730"/>
                </a:lnTo>
                <a:lnTo>
                  <a:pt x="4916714" y="3545030"/>
                </a:lnTo>
                <a:close/>
                <a:moveTo>
                  <a:pt x="3595916" y="2389330"/>
                </a:moveTo>
                <a:lnTo>
                  <a:pt x="4751615" y="3545030"/>
                </a:lnTo>
                <a:lnTo>
                  <a:pt x="3595916" y="4700730"/>
                </a:lnTo>
                <a:lnTo>
                  <a:pt x="2440216" y="3545030"/>
                </a:lnTo>
                <a:close/>
                <a:moveTo>
                  <a:pt x="1111252" y="2389330"/>
                </a:moveTo>
                <a:lnTo>
                  <a:pt x="2266952" y="3545030"/>
                </a:lnTo>
                <a:lnTo>
                  <a:pt x="1111252" y="4700730"/>
                </a:lnTo>
                <a:lnTo>
                  <a:pt x="0" y="3589478"/>
                </a:lnTo>
                <a:lnTo>
                  <a:pt x="0" y="3500582"/>
                </a:lnTo>
                <a:close/>
                <a:moveTo>
                  <a:pt x="0" y="1292320"/>
                </a:moveTo>
                <a:lnTo>
                  <a:pt x="1028701" y="2321020"/>
                </a:lnTo>
                <a:lnTo>
                  <a:pt x="0" y="3349721"/>
                </a:lnTo>
                <a:close/>
                <a:moveTo>
                  <a:pt x="4834164" y="1165321"/>
                </a:moveTo>
                <a:lnTo>
                  <a:pt x="5989864" y="2321020"/>
                </a:lnTo>
                <a:lnTo>
                  <a:pt x="4834164" y="3476720"/>
                </a:lnTo>
                <a:lnTo>
                  <a:pt x="3678466" y="2321020"/>
                </a:lnTo>
                <a:close/>
                <a:moveTo>
                  <a:pt x="2357666" y="1165321"/>
                </a:moveTo>
                <a:lnTo>
                  <a:pt x="3513367" y="2321020"/>
                </a:lnTo>
                <a:lnTo>
                  <a:pt x="2357666" y="3476720"/>
                </a:lnTo>
                <a:lnTo>
                  <a:pt x="1201966" y="2321020"/>
                </a:lnTo>
                <a:close/>
                <a:moveTo>
                  <a:pt x="7310664" y="1165320"/>
                </a:moveTo>
                <a:lnTo>
                  <a:pt x="8466364" y="2321020"/>
                </a:lnTo>
                <a:lnTo>
                  <a:pt x="7310664" y="3476720"/>
                </a:lnTo>
                <a:lnTo>
                  <a:pt x="6154964" y="2321020"/>
                </a:lnTo>
                <a:close/>
                <a:moveTo>
                  <a:pt x="8782955" y="0"/>
                </a:moveTo>
                <a:lnTo>
                  <a:pt x="10840357" y="0"/>
                </a:lnTo>
                <a:lnTo>
                  <a:pt x="9811656" y="1028701"/>
                </a:lnTo>
                <a:close/>
                <a:moveTo>
                  <a:pt x="8498388" y="0"/>
                </a:moveTo>
                <a:lnTo>
                  <a:pt x="8615768" y="0"/>
                </a:lnTo>
                <a:lnTo>
                  <a:pt x="9712778" y="1097010"/>
                </a:lnTo>
                <a:lnTo>
                  <a:pt x="8557078" y="2252710"/>
                </a:lnTo>
                <a:lnTo>
                  <a:pt x="7401378" y="1097010"/>
                </a:lnTo>
                <a:close/>
                <a:moveTo>
                  <a:pt x="6298292" y="0"/>
                </a:moveTo>
                <a:lnTo>
                  <a:pt x="8355692" y="0"/>
                </a:lnTo>
                <a:lnTo>
                  <a:pt x="7326992" y="1028700"/>
                </a:lnTo>
                <a:close/>
                <a:moveTo>
                  <a:pt x="6013725" y="0"/>
                </a:moveTo>
                <a:lnTo>
                  <a:pt x="6131103" y="0"/>
                </a:lnTo>
                <a:lnTo>
                  <a:pt x="7228114" y="1097011"/>
                </a:lnTo>
                <a:lnTo>
                  <a:pt x="6072414" y="2252710"/>
                </a:lnTo>
                <a:lnTo>
                  <a:pt x="4916714" y="1097011"/>
                </a:lnTo>
                <a:close/>
                <a:moveTo>
                  <a:pt x="3813628" y="0"/>
                </a:moveTo>
                <a:lnTo>
                  <a:pt x="5871029" y="0"/>
                </a:lnTo>
                <a:lnTo>
                  <a:pt x="4842329" y="1028701"/>
                </a:lnTo>
                <a:close/>
                <a:moveTo>
                  <a:pt x="3537228" y="0"/>
                </a:moveTo>
                <a:lnTo>
                  <a:pt x="3654606" y="0"/>
                </a:lnTo>
                <a:lnTo>
                  <a:pt x="4751615" y="1097011"/>
                </a:lnTo>
                <a:lnTo>
                  <a:pt x="3595917" y="2252711"/>
                </a:lnTo>
                <a:lnTo>
                  <a:pt x="2440217" y="1097011"/>
                </a:lnTo>
                <a:close/>
                <a:moveTo>
                  <a:pt x="1328965" y="0"/>
                </a:moveTo>
                <a:lnTo>
                  <a:pt x="3386368" y="0"/>
                </a:lnTo>
                <a:lnTo>
                  <a:pt x="2357667" y="1028701"/>
                </a:lnTo>
                <a:close/>
                <a:moveTo>
                  <a:pt x="1052564" y="0"/>
                </a:moveTo>
                <a:lnTo>
                  <a:pt x="1169942" y="0"/>
                </a:lnTo>
                <a:lnTo>
                  <a:pt x="2266953" y="1097011"/>
                </a:lnTo>
                <a:lnTo>
                  <a:pt x="1111253" y="2252711"/>
                </a:lnTo>
                <a:lnTo>
                  <a:pt x="0" y="1141458"/>
                </a:lnTo>
                <a:lnTo>
                  <a:pt x="0" y="1052564"/>
                </a:lnTo>
                <a:close/>
                <a:moveTo>
                  <a:pt x="0" y="0"/>
                </a:moveTo>
                <a:lnTo>
                  <a:pt x="901704" y="0"/>
                </a:lnTo>
                <a:lnTo>
                  <a:pt x="0" y="901704"/>
                </a:lnTo>
                <a:close/>
              </a:path>
            </a:pathLst>
          </a:custGeom>
        </p:spPr>
      </p:sp>
    </p:spTree>
    <p:extLst>
      <p:ext uri="{BB962C8B-B14F-4D97-AF65-F5344CB8AC3E}">
        <p14:creationId xmlns:p14="http://schemas.microsoft.com/office/powerpoint/2010/main" val="138369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8336371" cy="6858000"/>
          </a:xfrm>
          <a:custGeom>
            <a:avLst/>
            <a:gdLst>
              <a:gd name="connsiteX0" fmla="*/ 0 w 7734300"/>
              <a:gd name="connsiteY0" fmla="*/ 0 h 6362700"/>
              <a:gd name="connsiteX1" fmla="*/ 4622749 w 7734300"/>
              <a:gd name="connsiteY1" fmla="*/ 0 h 6362700"/>
              <a:gd name="connsiteX2" fmla="*/ 7734300 w 7734300"/>
              <a:gd name="connsiteY2" fmla="*/ 3181350 h 6362700"/>
              <a:gd name="connsiteX3" fmla="*/ 4622749 w 7734300"/>
              <a:gd name="connsiteY3" fmla="*/ 6362700 h 6362700"/>
              <a:gd name="connsiteX4" fmla="*/ 0 w 7734300"/>
              <a:gd name="connsiteY4" fmla="*/ 6362700 h 6362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34300" h="6362700">
                <a:moveTo>
                  <a:pt x="0" y="0"/>
                </a:moveTo>
                <a:lnTo>
                  <a:pt x="4622749" y="0"/>
                </a:lnTo>
                <a:lnTo>
                  <a:pt x="7734300" y="3181350"/>
                </a:lnTo>
                <a:lnTo>
                  <a:pt x="4622749" y="6362700"/>
                </a:lnTo>
                <a:lnTo>
                  <a:pt x="0" y="6362700"/>
                </a:lnTo>
                <a:close/>
              </a:path>
            </a:pathLst>
          </a:custGeom>
        </p:spPr>
      </p:sp>
    </p:spTree>
    <p:extLst>
      <p:ext uri="{BB962C8B-B14F-4D97-AF65-F5344CB8AC3E}">
        <p14:creationId xmlns:p14="http://schemas.microsoft.com/office/powerpoint/2010/main" val="3015433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3" name="Picture Placeholder 4"/>
          <p:cNvSpPr>
            <a:spLocks noGrp="1"/>
          </p:cNvSpPr>
          <p:nvPr>
            <p:ph type="pic" sz="quarter" idx="21"/>
          </p:nvPr>
        </p:nvSpPr>
        <p:spPr>
          <a:xfrm>
            <a:off x="971323" y="0"/>
            <a:ext cx="10249355" cy="6858000"/>
          </a:xfrm>
          <a:custGeom>
            <a:avLst/>
            <a:gdLst>
              <a:gd name="connsiteX0" fmla="*/ 5124677 w 10249354"/>
              <a:gd name="connsiteY0" fmla="*/ 6088739 h 6858000"/>
              <a:gd name="connsiteX1" fmla="*/ 5893938 w 10249354"/>
              <a:gd name="connsiteY1" fmla="*/ 6858000 h 6858000"/>
              <a:gd name="connsiteX2" fmla="*/ 4355416 w 10249354"/>
              <a:gd name="connsiteY2" fmla="*/ 6858000 h 6858000"/>
              <a:gd name="connsiteX3" fmla="*/ 6395357 w 10249354"/>
              <a:gd name="connsiteY3" fmla="*/ 4785630 h 6858000"/>
              <a:gd name="connsiteX4" fmla="*/ 7624082 w 10249354"/>
              <a:gd name="connsiteY4" fmla="*/ 6014355 h 6858000"/>
              <a:gd name="connsiteX5" fmla="*/ 6780437 w 10249354"/>
              <a:gd name="connsiteY5" fmla="*/ 6858000 h 6858000"/>
              <a:gd name="connsiteX6" fmla="*/ 6010277 w 10249354"/>
              <a:gd name="connsiteY6" fmla="*/ 6858000 h 6858000"/>
              <a:gd name="connsiteX7" fmla="*/ 5166632 w 10249354"/>
              <a:gd name="connsiteY7" fmla="*/ 6014355 h 6858000"/>
              <a:gd name="connsiteX8" fmla="*/ 3853996 w 10249354"/>
              <a:gd name="connsiteY8" fmla="*/ 4785630 h 6858000"/>
              <a:gd name="connsiteX9" fmla="*/ 5082721 w 10249354"/>
              <a:gd name="connsiteY9" fmla="*/ 6014355 h 6858000"/>
              <a:gd name="connsiteX10" fmla="*/ 4239076 w 10249354"/>
              <a:gd name="connsiteY10" fmla="*/ 6858000 h 6858000"/>
              <a:gd name="connsiteX11" fmla="*/ 3468917 w 10249354"/>
              <a:gd name="connsiteY11" fmla="*/ 6858000 h 6858000"/>
              <a:gd name="connsiteX12" fmla="*/ 2625272 w 10249354"/>
              <a:gd name="connsiteY12" fmla="*/ 6014355 h 6858000"/>
              <a:gd name="connsiteX13" fmla="*/ 2541361 w 10249354"/>
              <a:gd name="connsiteY13" fmla="*/ 3482521 h 6858000"/>
              <a:gd name="connsiteX14" fmla="*/ 3770085 w 10249354"/>
              <a:gd name="connsiteY14" fmla="*/ 4711246 h 6858000"/>
              <a:gd name="connsiteX15" fmla="*/ 2541361 w 10249354"/>
              <a:gd name="connsiteY15" fmla="*/ 5939971 h 6858000"/>
              <a:gd name="connsiteX16" fmla="*/ 1312636 w 10249354"/>
              <a:gd name="connsiteY16" fmla="*/ 4711246 h 6858000"/>
              <a:gd name="connsiteX17" fmla="*/ 7707993 w 10249354"/>
              <a:gd name="connsiteY17" fmla="*/ 3482067 h 6858000"/>
              <a:gd name="connsiteX18" fmla="*/ 8936718 w 10249354"/>
              <a:gd name="connsiteY18" fmla="*/ 4710792 h 6858000"/>
              <a:gd name="connsiteX19" fmla="*/ 7707993 w 10249354"/>
              <a:gd name="connsiteY19" fmla="*/ 5939517 h 6858000"/>
              <a:gd name="connsiteX20" fmla="*/ 6479268 w 10249354"/>
              <a:gd name="connsiteY20" fmla="*/ 4710792 h 6858000"/>
              <a:gd name="connsiteX21" fmla="*/ 9020629 w 10249354"/>
              <a:gd name="connsiteY21" fmla="*/ 2168526 h 6858000"/>
              <a:gd name="connsiteX22" fmla="*/ 10249354 w 10249354"/>
              <a:gd name="connsiteY22" fmla="*/ 3397250 h 6858000"/>
              <a:gd name="connsiteX23" fmla="*/ 9020629 w 10249354"/>
              <a:gd name="connsiteY23" fmla="*/ 4625975 h 6858000"/>
              <a:gd name="connsiteX24" fmla="*/ 7791904 w 10249354"/>
              <a:gd name="connsiteY24" fmla="*/ 3397250 h 6858000"/>
              <a:gd name="connsiteX25" fmla="*/ 1228725 w 10249354"/>
              <a:gd name="connsiteY25" fmla="*/ 2168526 h 6858000"/>
              <a:gd name="connsiteX26" fmla="*/ 2457450 w 10249354"/>
              <a:gd name="connsiteY26" fmla="*/ 3397250 h 6858000"/>
              <a:gd name="connsiteX27" fmla="*/ 1228725 w 10249354"/>
              <a:gd name="connsiteY27" fmla="*/ 4625975 h 6858000"/>
              <a:gd name="connsiteX28" fmla="*/ 0 w 10249354"/>
              <a:gd name="connsiteY28" fmla="*/ 3397250 h 6858000"/>
              <a:gd name="connsiteX29" fmla="*/ 7707993 w 10249354"/>
              <a:gd name="connsiteY29" fmla="*/ 854984 h 6858000"/>
              <a:gd name="connsiteX30" fmla="*/ 8936718 w 10249354"/>
              <a:gd name="connsiteY30" fmla="*/ 2083709 h 6858000"/>
              <a:gd name="connsiteX31" fmla="*/ 7707993 w 10249354"/>
              <a:gd name="connsiteY31" fmla="*/ 3312433 h 6858000"/>
              <a:gd name="connsiteX32" fmla="*/ 6479268 w 10249354"/>
              <a:gd name="connsiteY32" fmla="*/ 2083709 h 6858000"/>
              <a:gd name="connsiteX33" fmla="*/ 2541361 w 10249354"/>
              <a:gd name="connsiteY33" fmla="*/ 854984 h 6858000"/>
              <a:gd name="connsiteX34" fmla="*/ 3770085 w 10249354"/>
              <a:gd name="connsiteY34" fmla="*/ 2083709 h 6858000"/>
              <a:gd name="connsiteX35" fmla="*/ 2541361 w 10249354"/>
              <a:gd name="connsiteY35" fmla="*/ 3312433 h 6858000"/>
              <a:gd name="connsiteX36" fmla="*/ 1312636 w 10249354"/>
              <a:gd name="connsiteY36" fmla="*/ 2083709 h 6858000"/>
              <a:gd name="connsiteX37" fmla="*/ 5945416 w 10249354"/>
              <a:gd name="connsiteY37" fmla="*/ 0 h 6858000"/>
              <a:gd name="connsiteX38" fmla="*/ 6845298 w 10249354"/>
              <a:gd name="connsiteY38" fmla="*/ 0 h 6858000"/>
              <a:gd name="connsiteX39" fmla="*/ 7624082 w 10249354"/>
              <a:gd name="connsiteY39" fmla="*/ 778784 h 6858000"/>
              <a:gd name="connsiteX40" fmla="*/ 6395357 w 10249354"/>
              <a:gd name="connsiteY40" fmla="*/ 2007509 h 6858000"/>
              <a:gd name="connsiteX41" fmla="*/ 5166632 w 10249354"/>
              <a:gd name="connsiteY41" fmla="*/ 778784 h 6858000"/>
              <a:gd name="connsiteX42" fmla="*/ 4420960 w 10249354"/>
              <a:gd name="connsiteY42" fmla="*/ 0 h 6858000"/>
              <a:gd name="connsiteX43" fmla="*/ 5826129 w 10249354"/>
              <a:gd name="connsiteY43" fmla="*/ 0 h 6858000"/>
              <a:gd name="connsiteX44" fmla="*/ 5123544 w 10249354"/>
              <a:gd name="connsiteY44" fmla="*/ 702584 h 6858000"/>
              <a:gd name="connsiteX45" fmla="*/ 3404056 w 10249354"/>
              <a:gd name="connsiteY45" fmla="*/ 0 h 6858000"/>
              <a:gd name="connsiteX46" fmla="*/ 4303937 w 10249354"/>
              <a:gd name="connsiteY46" fmla="*/ 0 h 6858000"/>
              <a:gd name="connsiteX47" fmla="*/ 5082721 w 10249354"/>
              <a:gd name="connsiteY47" fmla="*/ 778784 h 6858000"/>
              <a:gd name="connsiteX48" fmla="*/ 3853996 w 10249354"/>
              <a:gd name="connsiteY48" fmla="*/ 2007509 h 6858000"/>
              <a:gd name="connsiteX49" fmla="*/ 2625272 w 10249354"/>
              <a:gd name="connsiteY49" fmla="*/ 77878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249354" h="6858000">
                <a:moveTo>
                  <a:pt x="5124677" y="6088739"/>
                </a:moveTo>
                <a:lnTo>
                  <a:pt x="5893938" y="6858000"/>
                </a:lnTo>
                <a:lnTo>
                  <a:pt x="4355416" y="6858000"/>
                </a:lnTo>
                <a:close/>
                <a:moveTo>
                  <a:pt x="6395357" y="4785630"/>
                </a:moveTo>
                <a:lnTo>
                  <a:pt x="7624082" y="6014355"/>
                </a:lnTo>
                <a:lnTo>
                  <a:pt x="6780437" y="6858000"/>
                </a:lnTo>
                <a:lnTo>
                  <a:pt x="6010277" y="6858000"/>
                </a:lnTo>
                <a:lnTo>
                  <a:pt x="5166632" y="6014355"/>
                </a:lnTo>
                <a:close/>
                <a:moveTo>
                  <a:pt x="3853996" y="4785630"/>
                </a:moveTo>
                <a:lnTo>
                  <a:pt x="5082721" y="6014355"/>
                </a:lnTo>
                <a:lnTo>
                  <a:pt x="4239076" y="6858000"/>
                </a:lnTo>
                <a:lnTo>
                  <a:pt x="3468917" y="6858000"/>
                </a:lnTo>
                <a:lnTo>
                  <a:pt x="2625272" y="6014355"/>
                </a:lnTo>
                <a:close/>
                <a:moveTo>
                  <a:pt x="2541361" y="3482521"/>
                </a:moveTo>
                <a:lnTo>
                  <a:pt x="3770085" y="4711246"/>
                </a:lnTo>
                <a:lnTo>
                  <a:pt x="2541361" y="5939971"/>
                </a:lnTo>
                <a:lnTo>
                  <a:pt x="1312636" y="4711246"/>
                </a:lnTo>
                <a:close/>
                <a:moveTo>
                  <a:pt x="7707993" y="3482067"/>
                </a:moveTo>
                <a:lnTo>
                  <a:pt x="8936718" y="4710792"/>
                </a:lnTo>
                <a:lnTo>
                  <a:pt x="7707993" y="5939517"/>
                </a:lnTo>
                <a:lnTo>
                  <a:pt x="6479268" y="4710792"/>
                </a:lnTo>
                <a:close/>
                <a:moveTo>
                  <a:pt x="9020629" y="2168526"/>
                </a:moveTo>
                <a:lnTo>
                  <a:pt x="10249354" y="3397250"/>
                </a:lnTo>
                <a:lnTo>
                  <a:pt x="9020629" y="4625975"/>
                </a:lnTo>
                <a:lnTo>
                  <a:pt x="7791904" y="3397250"/>
                </a:lnTo>
                <a:close/>
                <a:moveTo>
                  <a:pt x="1228725" y="2168526"/>
                </a:moveTo>
                <a:lnTo>
                  <a:pt x="2457450" y="3397250"/>
                </a:lnTo>
                <a:lnTo>
                  <a:pt x="1228725" y="4625975"/>
                </a:lnTo>
                <a:lnTo>
                  <a:pt x="0" y="3397250"/>
                </a:lnTo>
                <a:close/>
                <a:moveTo>
                  <a:pt x="7707993" y="854984"/>
                </a:moveTo>
                <a:lnTo>
                  <a:pt x="8936718" y="2083709"/>
                </a:lnTo>
                <a:lnTo>
                  <a:pt x="7707993" y="3312433"/>
                </a:lnTo>
                <a:lnTo>
                  <a:pt x="6479268" y="2083709"/>
                </a:lnTo>
                <a:close/>
                <a:moveTo>
                  <a:pt x="2541361" y="854984"/>
                </a:moveTo>
                <a:lnTo>
                  <a:pt x="3770085" y="2083709"/>
                </a:lnTo>
                <a:lnTo>
                  <a:pt x="2541361" y="3312433"/>
                </a:lnTo>
                <a:lnTo>
                  <a:pt x="1312636" y="2083709"/>
                </a:lnTo>
                <a:close/>
                <a:moveTo>
                  <a:pt x="5945416" y="0"/>
                </a:moveTo>
                <a:lnTo>
                  <a:pt x="6845298" y="0"/>
                </a:lnTo>
                <a:lnTo>
                  <a:pt x="7624082" y="778784"/>
                </a:lnTo>
                <a:lnTo>
                  <a:pt x="6395357" y="2007509"/>
                </a:lnTo>
                <a:lnTo>
                  <a:pt x="5166632" y="778784"/>
                </a:lnTo>
                <a:close/>
                <a:moveTo>
                  <a:pt x="4420960" y="0"/>
                </a:moveTo>
                <a:lnTo>
                  <a:pt x="5826129" y="0"/>
                </a:lnTo>
                <a:lnTo>
                  <a:pt x="5123544" y="702584"/>
                </a:lnTo>
                <a:close/>
                <a:moveTo>
                  <a:pt x="3404056" y="0"/>
                </a:moveTo>
                <a:lnTo>
                  <a:pt x="4303937" y="0"/>
                </a:lnTo>
                <a:lnTo>
                  <a:pt x="5082721" y="778784"/>
                </a:lnTo>
                <a:lnTo>
                  <a:pt x="3853996" y="2007509"/>
                </a:lnTo>
                <a:lnTo>
                  <a:pt x="2625272" y="778784"/>
                </a:lnTo>
                <a:close/>
              </a:path>
            </a:pathLst>
          </a:custGeom>
        </p:spPr>
      </p:sp>
    </p:spTree>
    <p:extLst>
      <p:ext uri="{BB962C8B-B14F-4D97-AF65-F5344CB8AC3E}">
        <p14:creationId xmlns:p14="http://schemas.microsoft.com/office/powerpoint/2010/main" val="1234262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Blank with Footer &amp; Header">
    <p:spTree>
      <p:nvGrpSpPr>
        <p:cNvPr id="1" name=""/>
        <p:cNvGrpSpPr/>
        <p:nvPr/>
      </p:nvGrpSpPr>
      <p:grpSpPr>
        <a:xfrm>
          <a:off x="0" y="0"/>
          <a:ext cx="0" cy="0"/>
          <a:chOff x="0" y="0"/>
          <a:chExt cx="0" cy="0"/>
        </a:xfrm>
      </p:grpSpPr>
      <p:sp>
        <p:nvSpPr>
          <p:cNvPr id="10" name="Picture Placeholder 2"/>
          <p:cNvSpPr>
            <a:spLocks noGrp="1"/>
          </p:cNvSpPr>
          <p:nvPr>
            <p:ph type="pic" sz="quarter" idx="10"/>
          </p:nvPr>
        </p:nvSpPr>
        <p:spPr>
          <a:xfrm>
            <a:off x="2909347" y="1"/>
            <a:ext cx="9282655" cy="6787244"/>
          </a:xfrm>
          <a:custGeom>
            <a:avLst/>
            <a:gdLst>
              <a:gd name="connsiteX0" fmla="*/ 0 w 9282655"/>
              <a:gd name="connsiteY0" fmla="*/ 0 h 6787244"/>
              <a:gd name="connsiteX1" fmla="*/ 9282655 w 9282655"/>
              <a:gd name="connsiteY1" fmla="*/ 0 h 6787244"/>
              <a:gd name="connsiteX2" fmla="*/ 9282655 w 9282655"/>
              <a:gd name="connsiteY2" fmla="*/ 4291831 h 6787244"/>
              <a:gd name="connsiteX3" fmla="*/ 6787243 w 9282655"/>
              <a:gd name="connsiteY3" fmla="*/ 6787244 h 6787244"/>
            </a:gdLst>
            <a:ahLst/>
            <a:cxnLst>
              <a:cxn ang="0">
                <a:pos x="connsiteX0" y="connsiteY0"/>
              </a:cxn>
              <a:cxn ang="0">
                <a:pos x="connsiteX1" y="connsiteY1"/>
              </a:cxn>
              <a:cxn ang="0">
                <a:pos x="connsiteX2" y="connsiteY2"/>
              </a:cxn>
              <a:cxn ang="0">
                <a:pos x="connsiteX3" y="connsiteY3"/>
              </a:cxn>
            </a:cxnLst>
            <a:rect l="l" t="t" r="r" b="b"/>
            <a:pathLst>
              <a:path w="9282655" h="6787244">
                <a:moveTo>
                  <a:pt x="0" y="0"/>
                </a:moveTo>
                <a:lnTo>
                  <a:pt x="9282655" y="0"/>
                </a:lnTo>
                <a:lnTo>
                  <a:pt x="9282655" y="4291831"/>
                </a:lnTo>
                <a:lnTo>
                  <a:pt x="6787243" y="6787244"/>
                </a:lnTo>
                <a:close/>
              </a:path>
            </a:pathLst>
          </a:custGeom>
        </p:spPr>
      </p:sp>
    </p:spTree>
    <p:extLst>
      <p:ext uri="{BB962C8B-B14F-4D97-AF65-F5344CB8AC3E}">
        <p14:creationId xmlns:p14="http://schemas.microsoft.com/office/powerpoint/2010/main" val="1455549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10_Custom Layout">
    <p:spTree>
      <p:nvGrpSpPr>
        <p:cNvPr id="1" name=""/>
        <p:cNvGrpSpPr/>
        <p:nvPr/>
      </p:nvGrpSpPr>
      <p:grpSpPr>
        <a:xfrm>
          <a:off x="0" y="0"/>
          <a:ext cx="0" cy="0"/>
          <a:chOff x="0" y="0"/>
          <a:chExt cx="0" cy="0"/>
        </a:xfrm>
      </p:grpSpPr>
      <p:sp>
        <p:nvSpPr>
          <p:cNvPr id="2" name="Picture Placeholder 2"/>
          <p:cNvSpPr>
            <a:spLocks noGrp="1"/>
          </p:cNvSpPr>
          <p:nvPr>
            <p:ph type="pic" sz="quarter" idx="10"/>
          </p:nvPr>
        </p:nvSpPr>
        <p:spPr>
          <a:xfrm>
            <a:off x="1" y="3"/>
            <a:ext cx="6743348" cy="6857999"/>
          </a:xfrm>
          <a:custGeom>
            <a:avLst/>
            <a:gdLst>
              <a:gd name="connsiteX0" fmla="*/ 1867233 w 6743348"/>
              <a:gd name="connsiteY0" fmla="*/ 0 h 6857999"/>
              <a:gd name="connsiteX1" fmla="*/ 6743348 w 6743348"/>
              <a:gd name="connsiteY1" fmla="*/ 0 h 6857999"/>
              <a:gd name="connsiteX2" fmla="*/ 0 w 6743348"/>
              <a:gd name="connsiteY2" fmla="*/ 6857999 h 6857999"/>
              <a:gd name="connsiteX3" fmla="*/ 0 w 6743348"/>
              <a:gd name="connsiteY3" fmla="*/ 1898980 h 6857999"/>
            </a:gdLst>
            <a:ahLst/>
            <a:cxnLst>
              <a:cxn ang="0">
                <a:pos x="connsiteX0" y="connsiteY0"/>
              </a:cxn>
              <a:cxn ang="0">
                <a:pos x="connsiteX1" y="connsiteY1"/>
              </a:cxn>
              <a:cxn ang="0">
                <a:pos x="connsiteX2" y="connsiteY2"/>
              </a:cxn>
              <a:cxn ang="0">
                <a:pos x="connsiteX3" y="connsiteY3"/>
              </a:cxn>
            </a:cxnLst>
            <a:rect l="l" t="t" r="r" b="b"/>
            <a:pathLst>
              <a:path w="6743348" h="6857999">
                <a:moveTo>
                  <a:pt x="1867233" y="0"/>
                </a:moveTo>
                <a:lnTo>
                  <a:pt x="6743348" y="0"/>
                </a:lnTo>
                <a:lnTo>
                  <a:pt x="0" y="6857999"/>
                </a:lnTo>
                <a:lnTo>
                  <a:pt x="0" y="1898980"/>
                </a:lnTo>
                <a:close/>
              </a:path>
            </a:pathLst>
          </a:custGeom>
        </p:spPr>
      </p:sp>
    </p:spTree>
    <p:extLst>
      <p:ext uri="{BB962C8B-B14F-4D97-AF65-F5344CB8AC3E}">
        <p14:creationId xmlns:p14="http://schemas.microsoft.com/office/powerpoint/2010/main" val="1628553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4" name="Picture Placeholder 1"/>
          <p:cNvSpPr>
            <a:spLocks noGrp="1"/>
          </p:cNvSpPr>
          <p:nvPr>
            <p:ph type="pic" sz="quarter" idx="34"/>
          </p:nvPr>
        </p:nvSpPr>
        <p:spPr>
          <a:xfrm>
            <a:off x="5242715" y="0"/>
            <a:ext cx="7078587" cy="6858000"/>
          </a:xfrm>
          <a:custGeom>
            <a:avLst/>
            <a:gdLst>
              <a:gd name="connsiteX0" fmla="*/ 4027003 w 10732631"/>
              <a:gd name="connsiteY0" fmla="*/ 6026314 h 6858000"/>
              <a:gd name="connsiteX1" fmla="*/ 4283530 w 10732631"/>
              <a:gd name="connsiteY1" fmla="*/ 6132571 h 6858000"/>
              <a:gd name="connsiteX2" fmla="*/ 5008959 w 10732631"/>
              <a:gd name="connsiteY2" fmla="*/ 6858000 h 6858000"/>
              <a:gd name="connsiteX3" fmla="*/ 3982847 w 10732631"/>
              <a:gd name="connsiteY3" fmla="*/ 6858000 h 6858000"/>
              <a:gd name="connsiteX4" fmla="*/ 3770474 w 10732631"/>
              <a:gd name="connsiteY4" fmla="*/ 6645627 h 6858000"/>
              <a:gd name="connsiteX5" fmla="*/ 3770474 w 10732631"/>
              <a:gd name="connsiteY5" fmla="*/ 6132571 h 6858000"/>
              <a:gd name="connsiteX6" fmla="*/ 4027003 w 10732631"/>
              <a:gd name="connsiteY6" fmla="*/ 6026314 h 6858000"/>
              <a:gd name="connsiteX7" fmla="*/ 5226044 w 10732631"/>
              <a:gd name="connsiteY7" fmla="*/ 4810762 h 6858000"/>
              <a:gd name="connsiteX8" fmla="*/ 5482571 w 10732631"/>
              <a:gd name="connsiteY8" fmla="*/ 4917019 h 6858000"/>
              <a:gd name="connsiteX9" fmla="*/ 7423552 w 10732631"/>
              <a:gd name="connsiteY9" fmla="*/ 6858000 h 6858000"/>
              <a:gd name="connsiteX10" fmla="*/ 6397442 w 10732631"/>
              <a:gd name="connsiteY10" fmla="*/ 6858000 h 6858000"/>
              <a:gd name="connsiteX11" fmla="*/ 4969516 w 10732631"/>
              <a:gd name="connsiteY11" fmla="*/ 5430074 h 6858000"/>
              <a:gd name="connsiteX12" fmla="*/ 4969516 w 10732631"/>
              <a:gd name="connsiteY12" fmla="*/ 4917019 h 6858000"/>
              <a:gd name="connsiteX13" fmla="*/ 5226044 w 10732631"/>
              <a:gd name="connsiteY13" fmla="*/ 4810762 h 6858000"/>
              <a:gd name="connsiteX14" fmla="*/ 4016831 w 10732631"/>
              <a:gd name="connsiteY14" fmla="*/ 4808883 h 6858000"/>
              <a:gd name="connsiteX15" fmla="*/ 4273358 w 10732631"/>
              <a:gd name="connsiteY15" fmla="*/ 4915140 h 6858000"/>
              <a:gd name="connsiteX16" fmla="*/ 6216216 w 10732631"/>
              <a:gd name="connsiteY16" fmla="*/ 6858000 h 6858000"/>
              <a:gd name="connsiteX17" fmla="*/ 5190107 w 10732631"/>
              <a:gd name="connsiteY17" fmla="*/ 6858000 h 6858000"/>
              <a:gd name="connsiteX18" fmla="*/ 3760302 w 10732631"/>
              <a:gd name="connsiteY18" fmla="*/ 5428196 h 6858000"/>
              <a:gd name="connsiteX19" fmla="*/ 3760302 w 10732631"/>
              <a:gd name="connsiteY19" fmla="*/ 4915140 h 6858000"/>
              <a:gd name="connsiteX20" fmla="*/ 4016831 w 10732631"/>
              <a:gd name="connsiteY20" fmla="*/ 4808883 h 6858000"/>
              <a:gd name="connsiteX21" fmla="*/ 4983334 w 10732631"/>
              <a:gd name="connsiteY21" fmla="*/ 3358111 h 6858000"/>
              <a:gd name="connsiteX22" fmla="*/ 5239861 w 10732631"/>
              <a:gd name="connsiteY22" fmla="*/ 3464368 h 6858000"/>
              <a:gd name="connsiteX23" fmla="*/ 8633493 w 10732631"/>
              <a:gd name="connsiteY23" fmla="*/ 6858000 h 6858000"/>
              <a:gd name="connsiteX24" fmla="*/ 7607384 w 10732631"/>
              <a:gd name="connsiteY24" fmla="*/ 6858000 h 6858000"/>
              <a:gd name="connsiteX25" fmla="*/ 4726806 w 10732631"/>
              <a:gd name="connsiteY25" fmla="*/ 3977423 h 6858000"/>
              <a:gd name="connsiteX26" fmla="*/ 4726806 w 10732631"/>
              <a:gd name="connsiteY26" fmla="*/ 3464368 h 6858000"/>
              <a:gd name="connsiteX27" fmla="*/ 4983334 w 10732631"/>
              <a:gd name="connsiteY27" fmla="*/ 3358111 h 6858000"/>
              <a:gd name="connsiteX28" fmla="*/ 4411835 w 10732631"/>
              <a:gd name="connsiteY28" fmla="*/ 1580111 h 6858000"/>
              <a:gd name="connsiteX29" fmla="*/ 4668361 w 10732631"/>
              <a:gd name="connsiteY29" fmla="*/ 1686369 h 6858000"/>
              <a:gd name="connsiteX30" fmla="*/ 9305884 w 10732631"/>
              <a:gd name="connsiteY30" fmla="*/ 6323892 h 6858000"/>
              <a:gd name="connsiteX31" fmla="*/ 9305884 w 10732631"/>
              <a:gd name="connsiteY31" fmla="*/ 6836948 h 6858000"/>
              <a:gd name="connsiteX32" fmla="*/ 9305884 w 10732631"/>
              <a:gd name="connsiteY32" fmla="*/ 6836946 h 6858000"/>
              <a:gd name="connsiteX33" fmla="*/ 9280109 w 10732631"/>
              <a:gd name="connsiteY33" fmla="*/ 6858000 h 6858000"/>
              <a:gd name="connsiteX34" fmla="*/ 8818604 w 10732631"/>
              <a:gd name="connsiteY34" fmla="*/ 6858000 h 6858000"/>
              <a:gd name="connsiteX35" fmla="*/ 8792829 w 10732631"/>
              <a:gd name="connsiteY35" fmla="*/ 6836946 h 6858000"/>
              <a:gd name="connsiteX36" fmla="*/ 4155306 w 10732631"/>
              <a:gd name="connsiteY36" fmla="*/ 2199424 h 6858000"/>
              <a:gd name="connsiteX37" fmla="*/ 4155306 w 10732631"/>
              <a:gd name="connsiteY37" fmla="*/ 1686369 h 6858000"/>
              <a:gd name="connsiteX38" fmla="*/ 4411835 w 10732631"/>
              <a:gd name="connsiteY38" fmla="*/ 1580111 h 6858000"/>
              <a:gd name="connsiteX39" fmla="*/ 5620152 w 10732631"/>
              <a:gd name="connsiteY39" fmla="*/ 1580110 h 6858000"/>
              <a:gd name="connsiteX40" fmla="*/ 5876680 w 10732631"/>
              <a:gd name="connsiteY40" fmla="*/ 1686368 h 6858000"/>
              <a:gd name="connsiteX41" fmla="*/ 10732631 w 10732631"/>
              <a:gd name="connsiteY41" fmla="*/ 6542320 h 6858000"/>
              <a:gd name="connsiteX42" fmla="*/ 10732631 w 10732631"/>
              <a:gd name="connsiteY42" fmla="*/ 6858000 h 6858000"/>
              <a:gd name="connsiteX43" fmla="*/ 10022202 w 10732631"/>
              <a:gd name="connsiteY43" fmla="*/ 6858000 h 6858000"/>
              <a:gd name="connsiteX44" fmla="*/ 5363625 w 10732631"/>
              <a:gd name="connsiteY44" fmla="*/ 2199423 h 6858000"/>
              <a:gd name="connsiteX45" fmla="*/ 5363625 w 10732631"/>
              <a:gd name="connsiteY45" fmla="*/ 1686368 h 6858000"/>
              <a:gd name="connsiteX46" fmla="*/ 5620152 w 10732631"/>
              <a:gd name="connsiteY46" fmla="*/ 1580110 h 6858000"/>
              <a:gd name="connsiteX47" fmla="*/ 1008756 w 10732631"/>
              <a:gd name="connsiteY47" fmla="*/ 1525191 h 6858000"/>
              <a:gd name="connsiteX48" fmla="*/ 2017511 w 10732631"/>
              <a:gd name="connsiteY48" fmla="*/ 2533946 h 6858000"/>
              <a:gd name="connsiteX49" fmla="*/ 2017511 w 10732631"/>
              <a:gd name="connsiteY49" fmla="*/ 2953645 h 6858000"/>
              <a:gd name="connsiteX50" fmla="*/ 1008756 w 10732631"/>
              <a:gd name="connsiteY50" fmla="*/ 3962400 h 6858000"/>
              <a:gd name="connsiteX51" fmla="*/ 0 w 10732631"/>
              <a:gd name="connsiteY51" fmla="*/ 2953645 h 6858000"/>
              <a:gd name="connsiteX52" fmla="*/ 0 w 10732631"/>
              <a:gd name="connsiteY52" fmla="*/ 2533946 h 6858000"/>
              <a:gd name="connsiteX53" fmla="*/ 1008756 w 10732631"/>
              <a:gd name="connsiteY53" fmla="*/ 1525191 h 6858000"/>
              <a:gd name="connsiteX54" fmla="*/ 8378524 w 10732631"/>
              <a:gd name="connsiteY54" fmla="*/ 743773 h 6858000"/>
              <a:gd name="connsiteX55" fmla="*/ 8635051 w 10732631"/>
              <a:gd name="connsiteY55" fmla="*/ 850031 h 6858000"/>
              <a:gd name="connsiteX56" fmla="*/ 10340228 w 10732631"/>
              <a:gd name="connsiteY56" fmla="*/ 2555209 h 6858000"/>
              <a:gd name="connsiteX57" fmla="*/ 10340228 w 10732631"/>
              <a:gd name="connsiteY57" fmla="*/ 3068265 h 6858000"/>
              <a:gd name="connsiteX58" fmla="*/ 10340228 w 10732631"/>
              <a:gd name="connsiteY58" fmla="*/ 3068263 h 6858000"/>
              <a:gd name="connsiteX59" fmla="*/ 9827172 w 10732631"/>
              <a:gd name="connsiteY59" fmla="*/ 3068263 h 6858000"/>
              <a:gd name="connsiteX60" fmla="*/ 8121996 w 10732631"/>
              <a:gd name="connsiteY60" fmla="*/ 1363086 h 6858000"/>
              <a:gd name="connsiteX61" fmla="*/ 8121996 w 10732631"/>
              <a:gd name="connsiteY61" fmla="*/ 850031 h 6858000"/>
              <a:gd name="connsiteX62" fmla="*/ 8378524 w 10732631"/>
              <a:gd name="connsiteY62" fmla="*/ 743773 h 6858000"/>
              <a:gd name="connsiteX63" fmla="*/ 7062200 w 10732631"/>
              <a:gd name="connsiteY63" fmla="*/ 612697 h 6858000"/>
              <a:gd name="connsiteX64" fmla="*/ 7318728 w 10732631"/>
              <a:gd name="connsiteY64" fmla="*/ 718955 h 6858000"/>
              <a:gd name="connsiteX65" fmla="*/ 10488805 w 10732631"/>
              <a:gd name="connsiteY65" fmla="*/ 3889033 h 6858000"/>
              <a:gd name="connsiteX66" fmla="*/ 10488805 w 10732631"/>
              <a:gd name="connsiteY66" fmla="*/ 4402089 h 6858000"/>
              <a:gd name="connsiteX67" fmla="*/ 10488805 w 10732631"/>
              <a:gd name="connsiteY67" fmla="*/ 4402087 h 6858000"/>
              <a:gd name="connsiteX68" fmla="*/ 9975750 w 10732631"/>
              <a:gd name="connsiteY68" fmla="*/ 4402087 h 6858000"/>
              <a:gd name="connsiteX69" fmla="*/ 6805673 w 10732631"/>
              <a:gd name="connsiteY69" fmla="*/ 1232010 h 6858000"/>
              <a:gd name="connsiteX70" fmla="*/ 6805673 w 10732631"/>
              <a:gd name="connsiteY70" fmla="*/ 718955 h 6858000"/>
              <a:gd name="connsiteX71" fmla="*/ 7062200 w 10732631"/>
              <a:gd name="connsiteY71" fmla="*/ 612697 h 6858000"/>
              <a:gd name="connsiteX72" fmla="*/ 4371995 w 10732631"/>
              <a:gd name="connsiteY72" fmla="*/ 0 h 6858000"/>
              <a:gd name="connsiteX73" fmla="*/ 5398106 w 10732631"/>
              <a:gd name="connsiteY73" fmla="*/ 0 h 6858000"/>
              <a:gd name="connsiteX74" fmla="*/ 10678822 w 10732631"/>
              <a:gd name="connsiteY74" fmla="*/ 5280718 h 6858000"/>
              <a:gd name="connsiteX75" fmla="*/ 10725310 w 10732631"/>
              <a:gd name="connsiteY75" fmla="*/ 5337629 h 6858000"/>
              <a:gd name="connsiteX76" fmla="*/ 10732631 w 10732631"/>
              <a:gd name="connsiteY76" fmla="*/ 5351542 h 6858000"/>
              <a:gd name="connsiteX77" fmla="*/ 10732631 w 10732631"/>
              <a:gd name="connsiteY77" fmla="*/ 5722950 h 6858000"/>
              <a:gd name="connsiteX78" fmla="*/ 10725310 w 10732631"/>
              <a:gd name="connsiteY78" fmla="*/ 5736863 h 6858000"/>
              <a:gd name="connsiteX79" fmla="*/ 10678822 w 10732631"/>
              <a:gd name="connsiteY79" fmla="*/ 5793774 h 6858000"/>
              <a:gd name="connsiteX80" fmla="*/ 10678822 w 10732631"/>
              <a:gd name="connsiteY80" fmla="*/ 5793772 h 6858000"/>
              <a:gd name="connsiteX81" fmla="*/ 10165767 w 10732631"/>
              <a:gd name="connsiteY81" fmla="*/ 5793772 h 6858000"/>
              <a:gd name="connsiteX0" fmla="*/ 4027003 w 10732631"/>
              <a:gd name="connsiteY0" fmla="*/ 6026314 h 6858000"/>
              <a:gd name="connsiteX1" fmla="*/ 4283530 w 10732631"/>
              <a:gd name="connsiteY1" fmla="*/ 6132571 h 6858000"/>
              <a:gd name="connsiteX2" fmla="*/ 5008959 w 10732631"/>
              <a:gd name="connsiteY2" fmla="*/ 6858000 h 6858000"/>
              <a:gd name="connsiteX3" fmla="*/ 3982847 w 10732631"/>
              <a:gd name="connsiteY3" fmla="*/ 6858000 h 6858000"/>
              <a:gd name="connsiteX4" fmla="*/ 3770474 w 10732631"/>
              <a:gd name="connsiteY4" fmla="*/ 6645627 h 6858000"/>
              <a:gd name="connsiteX5" fmla="*/ 3770474 w 10732631"/>
              <a:gd name="connsiteY5" fmla="*/ 6132571 h 6858000"/>
              <a:gd name="connsiteX6" fmla="*/ 4027003 w 10732631"/>
              <a:gd name="connsiteY6" fmla="*/ 6026314 h 6858000"/>
              <a:gd name="connsiteX7" fmla="*/ 5226044 w 10732631"/>
              <a:gd name="connsiteY7" fmla="*/ 4810762 h 6858000"/>
              <a:gd name="connsiteX8" fmla="*/ 5482571 w 10732631"/>
              <a:gd name="connsiteY8" fmla="*/ 4917019 h 6858000"/>
              <a:gd name="connsiteX9" fmla="*/ 7423552 w 10732631"/>
              <a:gd name="connsiteY9" fmla="*/ 6858000 h 6858000"/>
              <a:gd name="connsiteX10" fmla="*/ 6397442 w 10732631"/>
              <a:gd name="connsiteY10" fmla="*/ 6858000 h 6858000"/>
              <a:gd name="connsiteX11" fmla="*/ 4969516 w 10732631"/>
              <a:gd name="connsiteY11" fmla="*/ 5430074 h 6858000"/>
              <a:gd name="connsiteX12" fmla="*/ 4969516 w 10732631"/>
              <a:gd name="connsiteY12" fmla="*/ 4917019 h 6858000"/>
              <a:gd name="connsiteX13" fmla="*/ 5226044 w 10732631"/>
              <a:gd name="connsiteY13" fmla="*/ 4810762 h 6858000"/>
              <a:gd name="connsiteX14" fmla="*/ 4016831 w 10732631"/>
              <a:gd name="connsiteY14" fmla="*/ 4808883 h 6858000"/>
              <a:gd name="connsiteX15" fmla="*/ 4273358 w 10732631"/>
              <a:gd name="connsiteY15" fmla="*/ 4915140 h 6858000"/>
              <a:gd name="connsiteX16" fmla="*/ 6216216 w 10732631"/>
              <a:gd name="connsiteY16" fmla="*/ 6858000 h 6858000"/>
              <a:gd name="connsiteX17" fmla="*/ 5190107 w 10732631"/>
              <a:gd name="connsiteY17" fmla="*/ 6858000 h 6858000"/>
              <a:gd name="connsiteX18" fmla="*/ 3760302 w 10732631"/>
              <a:gd name="connsiteY18" fmla="*/ 5428196 h 6858000"/>
              <a:gd name="connsiteX19" fmla="*/ 3760302 w 10732631"/>
              <a:gd name="connsiteY19" fmla="*/ 4915140 h 6858000"/>
              <a:gd name="connsiteX20" fmla="*/ 4016831 w 10732631"/>
              <a:gd name="connsiteY20" fmla="*/ 4808883 h 6858000"/>
              <a:gd name="connsiteX21" fmla="*/ 4983334 w 10732631"/>
              <a:gd name="connsiteY21" fmla="*/ 3358111 h 6858000"/>
              <a:gd name="connsiteX22" fmla="*/ 5239861 w 10732631"/>
              <a:gd name="connsiteY22" fmla="*/ 3464368 h 6858000"/>
              <a:gd name="connsiteX23" fmla="*/ 8633493 w 10732631"/>
              <a:gd name="connsiteY23" fmla="*/ 6858000 h 6858000"/>
              <a:gd name="connsiteX24" fmla="*/ 7607384 w 10732631"/>
              <a:gd name="connsiteY24" fmla="*/ 6858000 h 6858000"/>
              <a:gd name="connsiteX25" fmla="*/ 4726806 w 10732631"/>
              <a:gd name="connsiteY25" fmla="*/ 3977423 h 6858000"/>
              <a:gd name="connsiteX26" fmla="*/ 4726806 w 10732631"/>
              <a:gd name="connsiteY26" fmla="*/ 3464368 h 6858000"/>
              <a:gd name="connsiteX27" fmla="*/ 4983334 w 10732631"/>
              <a:gd name="connsiteY27" fmla="*/ 3358111 h 6858000"/>
              <a:gd name="connsiteX28" fmla="*/ 4411835 w 10732631"/>
              <a:gd name="connsiteY28" fmla="*/ 1580111 h 6858000"/>
              <a:gd name="connsiteX29" fmla="*/ 4668361 w 10732631"/>
              <a:gd name="connsiteY29" fmla="*/ 1686369 h 6858000"/>
              <a:gd name="connsiteX30" fmla="*/ 9305884 w 10732631"/>
              <a:gd name="connsiteY30" fmla="*/ 6323892 h 6858000"/>
              <a:gd name="connsiteX31" fmla="*/ 9305884 w 10732631"/>
              <a:gd name="connsiteY31" fmla="*/ 6836948 h 6858000"/>
              <a:gd name="connsiteX32" fmla="*/ 9305884 w 10732631"/>
              <a:gd name="connsiteY32" fmla="*/ 6836946 h 6858000"/>
              <a:gd name="connsiteX33" fmla="*/ 9280109 w 10732631"/>
              <a:gd name="connsiteY33" fmla="*/ 6858000 h 6858000"/>
              <a:gd name="connsiteX34" fmla="*/ 8818604 w 10732631"/>
              <a:gd name="connsiteY34" fmla="*/ 6858000 h 6858000"/>
              <a:gd name="connsiteX35" fmla="*/ 8792829 w 10732631"/>
              <a:gd name="connsiteY35" fmla="*/ 6836946 h 6858000"/>
              <a:gd name="connsiteX36" fmla="*/ 4155306 w 10732631"/>
              <a:gd name="connsiteY36" fmla="*/ 2199424 h 6858000"/>
              <a:gd name="connsiteX37" fmla="*/ 4155306 w 10732631"/>
              <a:gd name="connsiteY37" fmla="*/ 1686369 h 6858000"/>
              <a:gd name="connsiteX38" fmla="*/ 4411835 w 10732631"/>
              <a:gd name="connsiteY38" fmla="*/ 1580111 h 6858000"/>
              <a:gd name="connsiteX39" fmla="*/ 5620152 w 10732631"/>
              <a:gd name="connsiteY39" fmla="*/ 1580110 h 6858000"/>
              <a:gd name="connsiteX40" fmla="*/ 5876680 w 10732631"/>
              <a:gd name="connsiteY40" fmla="*/ 1686368 h 6858000"/>
              <a:gd name="connsiteX41" fmla="*/ 10732631 w 10732631"/>
              <a:gd name="connsiteY41" fmla="*/ 6542320 h 6858000"/>
              <a:gd name="connsiteX42" fmla="*/ 10732631 w 10732631"/>
              <a:gd name="connsiteY42" fmla="*/ 6858000 h 6858000"/>
              <a:gd name="connsiteX43" fmla="*/ 10022202 w 10732631"/>
              <a:gd name="connsiteY43" fmla="*/ 6858000 h 6858000"/>
              <a:gd name="connsiteX44" fmla="*/ 5363625 w 10732631"/>
              <a:gd name="connsiteY44" fmla="*/ 2199423 h 6858000"/>
              <a:gd name="connsiteX45" fmla="*/ 5363625 w 10732631"/>
              <a:gd name="connsiteY45" fmla="*/ 1686368 h 6858000"/>
              <a:gd name="connsiteX46" fmla="*/ 5620152 w 10732631"/>
              <a:gd name="connsiteY46" fmla="*/ 1580110 h 6858000"/>
              <a:gd name="connsiteX47" fmla="*/ 0 w 10732631"/>
              <a:gd name="connsiteY47" fmla="*/ 2533946 h 6858000"/>
              <a:gd name="connsiteX48" fmla="*/ 2017511 w 10732631"/>
              <a:gd name="connsiteY48" fmla="*/ 2533946 h 6858000"/>
              <a:gd name="connsiteX49" fmla="*/ 2017511 w 10732631"/>
              <a:gd name="connsiteY49" fmla="*/ 2953645 h 6858000"/>
              <a:gd name="connsiteX50" fmla="*/ 1008756 w 10732631"/>
              <a:gd name="connsiteY50" fmla="*/ 3962400 h 6858000"/>
              <a:gd name="connsiteX51" fmla="*/ 0 w 10732631"/>
              <a:gd name="connsiteY51" fmla="*/ 2953645 h 6858000"/>
              <a:gd name="connsiteX52" fmla="*/ 0 w 10732631"/>
              <a:gd name="connsiteY52" fmla="*/ 2533946 h 6858000"/>
              <a:gd name="connsiteX53" fmla="*/ 8378524 w 10732631"/>
              <a:gd name="connsiteY53" fmla="*/ 743773 h 6858000"/>
              <a:gd name="connsiteX54" fmla="*/ 8635051 w 10732631"/>
              <a:gd name="connsiteY54" fmla="*/ 850031 h 6858000"/>
              <a:gd name="connsiteX55" fmla="*/ 10340228 w 10732631"/>
              <a:gd name="connsiteY55" fmla="*/ 2555209 h 6858000"/>
              <a:gd name="connsiteX56" fmla="*/ 10340228 w 10732631"/>
              <a:gd name="connsiteY56" fmla="*/ 3068265 h 6858000"/>
              <a:gd name="connsiteX57" fmla="*/ 10340228 w 10732631"/>
              <a:gd name="connsiteY57" fmla="*/ 3068263 h 6858000"/>
              <a:gd name="connsiteX58" fmla="*/ 9827172 w 10732631"/>
              <a:gd name="connsiteY58" fmla="*/ 3068263 h 6858000"/>
              <a:gd name="connsiteX59" fmla="*/ 8121996 w 10732631"/>
              <a:gd name="connsiteY59" fmla="*/ 1363086 h 6858000"/>
              <a:gd name="connsiteX60" fmla="*/ 8121996 w 10732631"/>
              <a:gd name="connsiteY60" fmla="*/ 850031 h 6858000"/>
              <a:gd name="connsiteX61" fmla="*/ 8378524 w 10732631"/>
              <a:gd name="connsiteY61" fmla="*/ 743773 h 6858000"/>
              <a:gd name="connsiteX62" fmla="*/ 7062200 w 10732631"/>
              <a:gd name="connsiteY62" fmla="*/ 612697 h 6858000"/>
              <a:gd name="connsiteX63" fmla="*/ 7318728 w 10732631"/>
              <a:gd name="connsiteY63" fmla="*/ 718955 h 6858000"/>
              <a:gd name="connsiteX64" fmla="*/ 10488805 w 10732631"/>
              <a:gd name="connsiteY64" fmla="*/ 3889033 h 6858000"/>
              <a:gd name="connsiteX65" fmla="*/ 10488805 w 10732631"/>
              <a:gd name="connsiteY65" fmla="*/ 4402089 h 6858000"/>
              <a:gd name="connsiteX66" fmla="*/ 10488805 w 10732631"/>
              <a:gd name="connsiteY66" fmla="*/ 4402087 h 6858000"/>
              <a:gd name="connsiteX67" fmla="*/ 9975750 w 10732631"/>
              <a:gd name="connsiteY67" fmla="*/ 4402087 h 6858000"/>
              <a:gd name="connsiteX68" fmla="*/ 6805673 w 10732631"/>
              <a:gd name="connsiteY68" fmla="*/ 1232010 h 6858000"/>
              <a:gd name="connsiteX69" fmla="*/ 6805673 w 10732631"/>
              <a:gd name="connsiteY69" fmla="*/ 718955 h 6858000"/>
              <a:gd name="connsiteX70" fmla="*/ 7062200 w 10732631"/>
              <a:gd name="connsiteY70" fmla="*/ 612697 h 6858000"/>
              <a:gd name="connsiteX71" fmla="*/ 4371995 w 10732631"/>
              <a:gd name="connsiteY71" fmla="*/ 0 h 6858000"/>
              <a:gd name="connsiteX72" fmla="*/ 5398106 w 10732631"/>
              <a:gd name="connsiteY72" fmla="*/ 0 h 6858000"/>
              <a:gd name="connsiteX73" fmla="*/ 10678822 w 10732631"/>
              <a:gd name="connsiteY73" fmla="*/ 5280718 h 6858000"/>
              <a:gd name="connsiteX74" fmla="*/ 10725310 w 10732631"/>
              <a:gd name="connsiteY74" fmla="*/ 5337629 h 6858000"/>
              <a:gd name="connsiteX75" fmla="*/ 10732631 w 10732631"/>
              <a:gd name="connsiteY75" fmla="*/ 5351542 h 6858000"/>
              <a:gd name="connsiteX76" fmla="*/ 10732631 w 10732631"/>
              <a:gd name="connsiteY76" fmla="*/ 5722950 h 6858000"/>
              <a:gd name="connsiteX77" fmla="*/ 10725310 w 10732631"/>
              <a:gd name="connsiteY77" fmla="*/ 5736863 h 6858000"/>
              <a:gd name="connsiteX78" fmla="*/ 10678822 w 10732631"/>
              <a:gd name="connsiteY78" fmla="*/ 5793774 h 6858000"/>
              <a:gd name="connsiteX79" fmla="*/ 10678822 w 10732631"/>
              <a:gd name="connsiteY79" fmla="*/ 5793772 h 6858000"/>
              <a:gd name="connsiteX80" fmla="*/ 10165767 w 10732631"/>
              <a:gd name="connsiteY80" fmla="*/ 5793772 h 6858000"/>
              <a:gd name="connsiteX81" fmla="*/ 4371995 w 10732631"/>
              <a:gd name="connsiteY81" fmla="*/ 0 h 6858000"/>
              <a:gd name="connsiteX0" fmla="*/ 4027003 w 10732631"/>
              <a:gd name="connsiteY0" fmla="*/ 6026314 h 6858000"/>
              <a:gd name="connsiteX1" fmla="*/ 4283530 w 10732631"/>
              <a:gd name="connsiteY1" fmla="*/ 6132571 h 6858000"/>
              <a:gd name="connsiteX2" fmla="*/ 5008959 w 10732631"/>
              <a:gd name="connsiteY2" fmla="*/ 6858000 h 6858000"/>
              <a:gd name="connsiteX3" fmla="*/ 3982847 w 10732631"/>
              <a:gd name="connsiteY3" fmla="*/ 6858000 h 6858000"/>
              <a:gd name="connsiteX4" fmla="*/ 3770474 w 10732631"/>
              <a:gd name="connsiteY4" fmla="*/ 6645627 h 6858000"/>
              <a:gd name="connsiteX5" fmla="*/ 3770474 w 10732631"/>
              <a:gd name="connsiteY5" fmla="*/ 6132571 h 6858000"/>
              <a:gd name="connsiteX6" fmla="*/ 4027003 w 10732631"/>
              <a:gd name="connsiteY6" fmla="*/ 6026314 h 6858000"/>
              <a:gd name="connsiteX7" fmla="*/ 5226044 w 10732631"/>
              <a:gd name="connsiteY7" fmla="*/ 4810762 h 6858000"/>
              <a:gd name="connsiteX8" fmla="*/ 5482571 w 10732631"/>
              <a:gd name="connsiteY8" fmla="*/ 4917019 h 6858000"/>
              <a:gd name="connsiteX9" fmla="*/ 7423552 w 10732631"/>
              <a:gd name="connsiteY9" fmla="*/ 6858000 h 6858000"/>
              <a:gd name="connsiteX10" fmla="*/ 6397442 w 10732631"/>
              <a:gd name="connsiteY10" fmla="*/ 6858000 h 6858000"/>
              <a:gd name="connsiteX11" fmla="*/ 4969516 w 10732631"/>
              <a:gd name="connsiteY11" fmla="*/ 5430074 h 6858000"/>
              <a:gd name="connsiteX12" fmla="*/ 4969516 w 10732631"/>
              <a:gd name="connsiteY12" fmla="*/ 4917019 h 6858000"/>
              <a:gd name="connsiteX13" fmla="*/ 5226044 w 10732631"/>
              <a:gd name="connsiteY13" fmla="*/ 4810762 h 6858000"/>
              <a:gd name="connsiteX14" fmla="*/ 4016831 w 10732631"/>
              <a:gd name="connsiteY14" fmla="*/ 4808883 h 6858000"/>
              <a:gd name="connsiteX15" fmla="*/ 4273358 w 10732631"/>
              <a:gd name="connsiteY15" fmla="*/ 4915140 h 6858000"/>
              <a:gd name="connsiteX16" fmla="*/ 6216216 w 10732631"/>
              <a:gd name="connsiteY16" fmla="*/ 6858000 h 6858000"/>
              <a:gd name="connsiteX17" fmla="*/ 5190107 w 10732631"/>
              <a:gd name="connsiteY17" fmla="*/ 6858000 h 6858000"/>
              <a:gd name="connsiteX18" fmla="*/ 3760302 w 10732631"/>
              <a:gd name="connsiteY18" fmla="*/ 5428196 h 6858000"/>
              <a:gd name="connsiteX19" fmla="*/ 3760302 w 10732631"/>
              <a:gd name="connsiteY19" fmla="*/ 4915140 h 6858000"/>
              <a:gd name="connsiteX20" fmla="*/ 4016831 w 10732631"/>
              <a:gd name="connsiteY20" fmla="*/ 4808883 h 6858000"/>
              <a:gd name="connsiteX21" fmla="*/ 4983334 w 10732631"/>
              <a:gd name="connsiteY21" fmla="*/ 3358111 h 6858000"/>
              <a:gd name="connsiteX22" fmla="*/ 5239861 w 10732631"/>
              <a:gd name="connsiteY22" fmla="*/ 3464368 h 6858000"/>
              <a:gd name="connsiteX23" fmla="*/ 8633493 w 10732631"/>
              <a:gd name="connsiteY23" fmla="*/ 6858000 h 6858000"/>
              <a:gd name="connsiteX24" fmla="*/ 7607384 w 10732631"/>
              <a:gd name="connsiteY24" fmla="*/ 6858000 h 6858000"/>
              <a:gd name="connsiteX25" fmla="*/ 4726806 w 10732631"/>
              <a:gd name="connsiteY25" fmla="*/ 3977423 h 6858000"/>
              <a:gd name="connsiteX26" fmla="*/ 4726806 w 10732631"/>
              <a:gd name="connsiteY26" fmla="*/ 3464368 h 6858000"/>
              <a:gd name="connsiteX27" fmla="*/ 4983334 w 10732631"/>
              <a:gd name="connsiteY27" fmla="*/ 3358111 h 6858000"/>
              <a:gd name="connsiteX28" fmla="*/ 4411835 w 10732631"/>
              <a:gd name="connsiteY28" fmla="*/ 1580111 h 6858000"/>
              <a:gd name="connsiteX29" fmla="*/ 4668361 w 10732631"/>
              <a:gd name="connsiteY29" fmla="*/ 1686369 h 6858000"/>
              <a:gd name="connsiteX30" fmla="*/ 9305884 w 10732631"/>
              <a:gd name="connsiteY30" fmla="*/ 6323892 h 6858000"/>
              <a:gd name="connsiteX31" fmla="*/ 9305884 w 10732631"/>
              <a:gd name="connsiteY31" fmla="*/ 6836948 h 6858000"/>
              <a:gd name="connsiteX32" fmla="*/ 9305884 w 10732631"/>
              <a:gd name="connsiteY32" fmla="*/ 6836946 h 6858000"/>
              <a:gd name="connsiteX33" fmla="*/ 9280109 w 10732631"/>
              <a:gd name="connsiteY33" fmla="*/ 6858000 h 6858000"/>
              <a:gd name="connsiteX34" fmla="*/ 8818604 w 10732631"/>
              <a:gd name="connsiteY34" fmla="*/ 6858000 h 6858000"/>
              <a:gd name="connsiteX35" fmla="*/ 8792829 w 10732631"/>
              <a:gd name="connsiteY35" fmla="*/ 6836946 h 6858000"/>
              <a:gd name="connsiteX36" fmla="*/ 4155306 w 10732631"/>
              <a:gd name="connsiteY36" fmla="*/ 2199424 h 6858000"/>
              <a:gd name="connsiteX37" fmla="*/ 4155306 w 10732631"/>
              <a:gd name="connsiteY37" fmla="*/ 1686369 h 6858000"/>
              <a:gd name="connsiteX38" fmla="*/ 4411835 w 10732631"/>
              <a:gd name="connsiteY38" fmla="*/ 1580111 h 6858000"/>
              <a:gd name="connsiteX39" fmla="*/ 5620152 w 10732631"/>
              <a:gd name="connsiteY39" fmla="*/ 1580110 h 6858000"/>
              <a:gd name="connsiteX40" fmla="*/ 5876680 w 10732631"/>
              <a:gd name="connsiteY40" fmla="*/ 1686368 h 6858000"/>
              <a:gd name="connsiteX41" fmla="*/ 10732631 w 10732631"/>
              <a:gd name="connsiteY41" fmla="*/ 6542320 h 6858000"/>
              <a:gd name="connsiteX42" fmla="*/ 10732631 w 10732631"/>
              <a:gd name="connsiteY42" fmla="*/ 6858000 h 6858000"/>
              <a:gd name="connsiteX43" fmla="*/ 10022202 w 10732631"/>
              <a:gd name="connsiteY43" fmla="*/ 6858000 h 6858000"/>
              <a:gd name="connsiteX44" fmla="*/ 5363625 w 10732631"/>
              <a:gd name="connsiteY44" fmla="*/ 2199423 h 6858000"/>
              <a:gd name="connsiteX45" fmla="*/ 5363625 w 10732631"/>
              <a:gd name="connsiteY45" fmla="*/ 1686368 h 6858000"/>
              <a:gd name="connsiteX46" fmla="*/ 5620152 w 10732631"/>
              <a:gd name="connsiteY46" fmla="*/ 1580110 h 6858000"/>
              <a:gd name="connsiteX47" fmla="*/ 0 w 10732631"/>
              <a:gd name="connsiteY47" fmla="*/ 2533946 h 6858000"/>
              <a:gd name="connsiteX48" fmla="*/ 2017511 w 10732631"/>
              <a:gd name="connsiteY48" fmla="*/ 2953645 h 6858000"/>
              <a:gd name="connsiteX49" fmla="*/ 1008756 w 10732631"/>
              <a:gd name="connsiteY49" fmla="*/ 3962400 h 6858000"/>
              <a:gd name="connsiteX50" fmla="*/ 0 w 10732631"/>
              <a:gd name="connsiteY50" fmla="*/ 2953645 h 6858000"/>
              <a:gd name="connsiteX51" fmla="*/ 0 w 10732631"/>
              <a:gd name="connsiteY51" fmla="*/ 2533946 h 6858000"/>
              <a:gd name="connsiteX52" fmla="*/ 8378524 w 10732631"/>
              <a:gd name="connsiteY52" fmla="*/ 743773 h 6858000"/>
              <a:gd name="connsiteX53" fmla="*/ 8635051 w 10732631"/>
              <a:gd name="connsiteY53" fmla="*/ 850031 h 6858000"/>
              <a:gd name="connsiteX54" fmla="*/ 10340228 w 10732631"/>
              <a:gd name="connsiteY54" fmla="*/ 2555209 h 6858000"/>
              <a:gd name="connsiteX55" fmla="*/ 10340228 w 10732631"/>
              <a:gd name="connsiteY55" fmla="*/ 3068265 h 6858000"/>
              <a:gd name="connsiteX56" fmla="*/ 10340228 w 10732631"/>
              <a:gd name="connsiteY56" fmla="*/ 3068263 h 6858000"/>
              <a:gd name="connsiteX57" fmla="*/ 9827172 w 10732631"/>
              <a:gd name="connsiteY57" fmla="*/ 3068263 h 6858000"/>
              <a:gd name="connsiteX58" fmla="*/ 8121996 w 10732631"/>
              <a:gd name="connsiteY58" fmla="*/ 1363086 h 6858000"/>
              <a:gd name="connsiteX59" fmla="*/ 8121996 w 10732631"/>
              <a:gd name="connsiteY59" fmla="*/ 850031 h 6858000"/>
              <a:gd name="connsiteX60" fmla="*/ 8378524 w 10732631"/>
              <a:gd name="connsiteY60" fmla="*/ 743773 h 6858000"/>
              <a:gd name="connsiteX61" fmla="*/ 7062200 w 10732631"/>
              <a:gd name="connsiteY61" fmla="*/ 612697 h 6858000"/>
              <a:gd name="connsiteX62" fmla="*/ 7318728 w 10732631"/>
              <a:gd name="connsiteY62" fmla="*/ 718955 h 6858000"/>
              <a:gd name="connsiteX63" fmla="*/ 10488805 w 10732631"/>
              <a:gd name="connsiteY63" fmla="*/ 3889033 h 6858000"/>
              <a:gd name="connsiteX64" fmla="*/ 10488805 w 10732631"/>
              <a:gd name="connsiteY64" fmla="*/ 4402089 h 6858000"/>
              <a:gd name="connsiteX65" fmla="*/ 10488805 w 10732631"/>
              <a:gd name="connsiteY65" fmla="*/ 4402087 h 6858000"/>
              <a:gd name="connsiteX66" fmla="*/ 9975750 w 10732631"/>
              <a:gd name="connsiteY66" fmla="*/ 4402087 h 6858000"/>
              <a:gd name="connsiteX67" fmla="*/ 6805673 w 10732631"/>
              <a:gd name="connsiteY67" fmla="*/ 1232010 h 6858000"/>
              <a:gd name="connsiteX68" fmla="*/ 6805673 w 10732631"/>
              <a:gd name="connsiteY68" fmla="*/ 718955 h 6858000"/>
              <a:gd name="connsiteX69" fmla="*/ 7062200 w 10732631"/>
              <a:gd name="connsiteY69" fmla="*/ 612697 h 6858000"/>
              <a:gd name="connsiteX70" fmla="*/ 4371995 w 10732631"/>
              <a:gd name="connsiteY70" fmla="*/ 0 h 6858000"/>
              <a:gd name="connsiteX71" fmla="*/ 5398106 w 10732631"/>
              <a:gd name="connsiteY71" fmla="*/ 0 h 6858000"/>
              <a:gd name="connsiteX72" fmla="*/ 10678822 w 10732631"/>
              <a:gd name="connsiteY72" fmla="*/ 5280718 h 6858000"/>
              <a:gd name="connsiteX73" fmla="*/ 10725310 w 10732631"/>
              <a:gd name="connsiteY73" fmla="*/ 5337629 h 6858000"/>
              <a:gd name="connsiteX74" fmla="*/ 10732631 w 10732631"/>
              <a:gd name="connsiteY74" fmla="*/ 5351542 h 6858000"/>
              <a:gd name="connsiteX75" fmla="*/ 10732631 w 10732631"/>
              <a:gd name="connsiteY75" fmla="*/ 5722950 h 6858000"/>
              <a:gd name="connsiteX76" fmla="*/ 10725310 w 10732631"/>
              <a:gd name="connsiteY76" fmla="*/ 5736863 h 6858000"/>
              <a:gd name="connsiteX77" fmla="*/ 10678822 w 10732631"/>
              <a:gd name="connsiteY77" fmla="*/ 5793774 h 6858000"/>
              <a:gd name="connsiteX78" fmla="*/ 10678822 w 10732631"/>
              <a:gd name="connsiteY78" fmla="*/ 5793772 h 6858000"/>
              <a:gd name="connsiteX79" fmla="*/ 10165767 w 10732631"/>
              <a:gd name="connsiteY79" fmla="*/ 5793772 h 6858000"/>
              <a:gd name="connsiteX80" fmla="*/ 4371995 w 10732631"/>
              <a:gd name="connsiteY80" fmla="*/ 0 h 6858000"/>
              <a:gd name="connsiteX0" fmla="*/ 4027003 w 10732631"/>
              <a:gd name="connsiteY0" fmla="*/ 6026314 h 6858000"/>
              <a:gd name="connsiteX1" fmla="*/ 4283530 w 10732631"/>
              <a:gd name="connsiteY1" fmla="*/ 6132571 h 6858000"/>
              <a:gd name="connsiteX2" fmla="*/ 5008959 w 10732631"/>
              <a:gd name="connsiteY2" fmla="*/ 6858000 h 6858000"/>
              <a:gd name="connsiteX3" fmla="*/ 3982847 w 10732631"/>
              <a:gd name="connsiteY3" fmla="*/ 6858000 h 6858000"/>
              <a:gd name="connsiteX4" fmla="*/ 3770474 w 10732631"/>
              <a:gd name="connsiteY4" fmla="*/ 6645627 h 6858000"/>
              <a:gd name="connsiteX5" fmla="*/ 3770474 w 10732631"/>
              <a:gd name="connsiteY5" fmla="*/ 6132571 h 6858000"/>
              <a:gd name="connsiteX6" fmla="*/ 4027003 w 10732631"/>
              <a:gd name="connsiteY6" fmla="*/ 6026314 h 6858000"/>
              <a:gd name="connsiteX7" fmla="*/ 5226044 w 10732631"/>
              <a:gd name="connsiteY7" fmla="*/ 4810762 h 6858000"/>
              <a:gd name="connsiteX8" fmla="*/ 5482571 w 10732631"/>
              <a:gd name="connsiteY8" fmla="*/ 4917019 h 6858000"/>
              <a:gd name="connsiteX9" fmla="*/ 7423552 w 10732631"/>
              <a:gd name="connsiteY9" fmla="*/ 6858000 h 6858000"/>
              <a:gd name="connsiteX10" fmla="*/ 6397442 w 10732631"/>
              <a:gd name="connsiteY10" fmla="*/ 6858000 h 6858000"/>
              <a:gd name="connsiteX11" fmla="*/ 4969516 w 10732631"/>
              <a:gd name="connsiteY11" fmla="*/ 5430074 h 6858000"/>
              <a:gd name="connsiteX12" fmla="*/ 4969516 w 10732631"/>
              <a:gd name="connsiteY12" fmla="*/ 4917019 h 6858000"/>
              <a:gd name="connsiteX13" fmla="*/ 5226044 w 10732631"/>
              <a:gd name="connsiteY13" fmla="*/ 4810762 h 6858000"/>
              <a:gd name="connsiteX14" fmla="*/ 4016831 w 10732631"/>
              <a:gd name="connsiteY14" fmla="*/ 4808883 h 6858000"/>
              <a:gd name="connsiteX15" fmla="*/ 4273358 w 10732631"/>
              <a:gd name="connsiteY15" fmla="*/ 4915140 h 6858000"/>
              <a:gd name="connsiteX16" fmla="*/ 6216216 w 10732631"/>
              <a:gd name="connsiteY16" fmla="*/ 6858000 h 6858000"/>
              <a:gd name="connsiteX17" fmla="*/ 5190107 w 10732631"/>
              <a:gd name="connsiteY17" fmla="*/ 6858000 h 6858000"/>
              <a:gd name="connsiteX18" fmla="*/ 3760302 w 10732631"/>
              <a:gd name="connsiteY18" fmla="*/ 5428196 h 6858000"/>
              <a:gd name="connsiteX19" fmla="*/ 3760302 w 10732631"/>
              <a:gd name="connsiteY19" fmla="*/ 4915140 h 6858000"/>
              <a:gd name="connsiteX20" fmla="*/ 4016831 w 10732631"/>
              <a:gd name="connsiteY20" fmla="*/ 4808883 h 6858000"/>
              <a:gd name="connsiteX21" fmla="*/ 4983334 w 10732631"/>
              <a:gd name="connsiteY21" fmla="*/ 3358111 h 6858000"/>
              <a:gd name="connsiteX22" fmla="*/ 5239861 w 10732631"/>
              <a:gd name="connsiteY22" fmla="*/ 3464368 h 6858000"/>
              <a:gd name="connsiteX23" fmla="*/ 8633493 w 10732631"/>
              <a:gd name="connsiteY23" fmla="*/ 6858000 h 6858000"/>
              <a:gd name="connsiteX24" fmla="*/ 7607384 w 10732631"/>
              <a:gd name="connsiteY24" fmla="*/ 6858000 h 6858000"/>
              <a:gd name="connsiteX25" fmla="*/ 4726806 w 10732631"/>
              <a:gd name="connsiteY25" fmla="*/ 3977423 h 6858000"/>
              <a:gd name="connsiteX26" fmla="*/ 4726806 w 10732631"/>
              <a:gd name="connsiteY26" fmla="*/ 3464368 h 6858000"/>
              <a:gd name="connsiteX27" fmla="*/ 4983334 w 10732631"/>
              <a:gd name="connsiteY27" fmla="*/ 3358111 h 6858000"/>
              <a:gd name="connsiteX28" fmla="*/ 4411835 w 10732631"/>
              <a:gd name="connsiteY28" fmla="*/ 1580111 h 6858000"/>
              <a:gd name="connsiteX29" fmla="*/ 4668361 w 10732631"/>
              <a:gd name="connsiteY29" fmla="*/ 1686369 h 6858000"/>
              <a:gd name="connsiteX30" fmla="*/ 9305884 w 10732631"/>
              <a:gd name="connsiteY30" fmla="*/ 6323892 h 6858000"/>
              <a:gd name="connsiteX31" fmla="*/ 9305884 w 10732631"/>
              <a:gd name="connsiteY31" fmla="*/ 6836948 h 6858000"/>
              <a:gd name="connsiteX32" fmla="*/ 9305884 w 10732631"/>
              <a:gd name="connsiteY32" fmla="*/ 6836946 h 6858000"/>
              <a:gd name="connsiteX33" fmla="*/ 9280109 w 10732631"/>
              <a:gd name="connsiteY33" fmla="*/ 6858000 h 6858000"/>
              <a:gd name="connsiteX34" fmla="*/ 8818604 w 10732631"/>
              <a:gd name="connsiteY34" fmla="*/ 6858000 h 6858000"/>
              <a:gd name="connsiteX35" fmla="*/ 8792829 w 10732631"/>
              <a:gd name="connsiteY35" fmla="*/ 6836946 h 6858000"/>
              <a:gd name="connsiteX36" fmla="*/ 4155306 w 10732631"/>
              <a:gd name="connsiteY36" fmla="*/ 2199424 h 6858000"/>
              <a:gd name="connsiteX37" fmla="*/ 4155306 w 10732631"/>
              <a:gd name="connsiteY37" fmla="*/ 1686369 h 6858000"/>
              <a:gd name="connsiteX38" fmla="*/ 4411835 w 10732631"/>
              <a:gd name="connsiteY38" fmla="*/ 1580111 h 6858000"/>
              <a:gd name="connsiteX39" fmla="*/ 5620152 w 10732631"/>
              <a:gd name="connsiteY39" fmla="*/ 1580110 h 6858000"/>
              <a:gd name="connsiteX40" fmla="*/ 5876680 w 10732631"/>
              <a:gd name="connsiteY40" fmla="*/ 1686368 h 6858000"/>
              <a:gd name="connsiteX41" fmla="*/ 10732631 w 10732631"/>
              <a:gd name="connsiteY41" fmla="*/ 6542320 h 6858000"/>
              <a:gd name="connsiteX42" fmla="*/ 10732631 w 10732631"/>
              <a:gd name="connsiteY42" fmla="*/ 6858000 h 6858000"/>
              <a:gd name="connsiteX43" fmla="*/ 10022202 w 10732631"/>
              <a:gd name="connsiteY43" fmla="*/ 6858000 h 6858000"/>
              <a:gd name="connsiteX44" fmla="*/ 5363625 w 10732631"/>
              <a:gd name="connsiteY44" fmla="*/ 2199423 h 6858000"/>
              <a:gd name="connsiteX45" fmla="*/ 5363625 w 10732631"/>
              <a:gd name="connsiteY45" fmla="*/ 1686368 h 6858000"/>
              <a:gd name="connsiteX46" fmla="*/ 5620152 w 10732631"/>
              <a:gd name="connsiteY46" fmla="*/ 1580110 h 6858000"/>
              <a:gd name="connsiteX47" fmla="*/ 0 w 10732631"/>
              <a:gd name="connsiteY47" fmla="*/ 2533946 h 6858000"/>
              <a:gd name="connsiteX48" fmla="*/ 1008756 w 10732631"/>
              <a:gd name="connsiteY48" fmla="*/ 3962400 h 6858000"/>
              <a:gd name="connsiteX49" fmla="*/ 0 w 10732631"/>
              <a:gd name="connsiteY49" fmla="*/ 2953645 h 6858000"/>
              <a:gd name="connsiteX50" fmla="*/ 0 w 10732631"/>
              <a:gd name="connsiteY50" fmla="*/ 2533946 h 6858000"/>
              <a:gd name="connsiteX51" fmla="*/ 8378524 w 10732631"/>
              <a:gd name="connsiteY51" fmla="*/ 743773 h 6858000"/>
              <a:gd name="connsiteX52" fmla="*/ 8635051 w 10732631"/>
              <a:gd name="connsiteY52" fmla="*/ 850031 h 6858000"/>
              <a:gd name="connsiteX53" fmla="*/ 10340228 w 10732631"/>
              <a:gd name="connsiteY53" fmla="*/ 2555209 h 6858000"/>
              <a:gd name="connsiteX54" fmla="*/ 10340228 w 10732631"/>
              <a:gd name="connsiteY54" fmla="*/ 3068265 h 6858000"/>
              <a:gd name="connsiteX55" fmla="*/ 10340228 w 10732631"/>
              <a:gd name="connsiteY55" fmla="*/ 3068263 h 6858000"/>
              <a:gd name="connsiteX56" fmla="*/ 9827172 w 10732631"/>
              <a:gd name="connsiteY56" fmla="*/ 3068263 h 6858000"/>
              <a:gd name="connsiteX57" fmla="*/ 8121996 w 10732631"/>
              <a:gd name="connsiteY57" fmla="*/ 1363086 h 6858000"/>
              <a:gd name="connsiteX58" fmla="*/ 8121996 w 10732631"/>
              <a:gd name="connsiteY58" fmla="*/ 850031 h 6858000"/>
              <a:gd name="connsiteX59" fmla="*/ 8378524 w 10732631"/>
              <a:gd name="connsiteY59" fmla="*/ 743773 h 6858000"/>
              <a:gd name="connsiteX60" fmla="*/ 7062200 w 10732631"/>
              <a:gd name="connsiteY60" fmla="*/ 612697 h 6858000"/>
              <a:gd name="connsiteX61" fmla="*/ 7318728 w 10732631"/>
              <a:gd name="connsiteY61" fmla="*/ 718955 h 6858000"/>
              <a:gd name="connsiteX62" fmla="*/ 10488805 w 10732631"/>
              <a:gd name="connsiteY62" fmla="*/ 3889033 h 6858000"/>
              <a:gd name="connsiteX63" fmla="*/ 10488805 w 10732631"/>
              <a:gd name="connsiteY63" fmla="*/ 4402089 h 6858000"/>
              <a:gd name="connsiteX64" fmla="*/ 10488805 w 10732631"/>
              <a:gd name="connsiteY64" fmla="*/ 4402087 h 6858000"/>
              <a:gd name="connsiteX65" fmla="*/ 9975750 w 10732631"/>
              <a:gd name="connsiteY65" fmla="*/ 4402087 h 6858000"/>
              <a:gd name="connsiteX66" fmla="*/ 6805673 w 10732631"/>
              <a:gd name="connsiteY66" fmla="*/ 1232010 h 6858000"/>
              <a:gd name="connsiteX67" fmla="*/ 6805673 w 10732631"/>
              <a:gd name="connsiteY67" fmla="*/ 718955 h 6858000"/>
              <a:gd name="connsiteX68" fmla="*/ 7062200 w 10732631"/>
              <a:gd name="connsiteY68" fmla="*/ 612697 h 6858000"/>
              <a:gd name="connsiteX69" fmla="*/ 4371995 w 10732631"/>
              <a:gd name="connsiteY69" fmla="*/ 0 h 6858000"/>
              <a:gd name="connsiteX70" fmla="*/ 5398106 w 10732631"/>
              <a:gd name="connsiteY70" fmla="*/ 0 h 6858000"/>
              <a:gd name="connsiteX71" fmla="*/ 10678822 w 10732631"/>
              <a:gd name="connsiteY71" fmla="*/ 5280718 h 6858000"/>
              <a:gd name="connsiteX72" fmla="*/ 10725310 w 10732631"/>
              <a:gd name="connsiteY72" fmla="*/ 5337629 h 6858000"/>
              <a:gd name="connsiteX73" fmla="*/ 10732631 w 10732631"/>
              <a:gd name="connsiteY73" fmla="*/ 5351542 h 6858000"/>
              <a:gd name="connsiteX74" fmla="*/ 10732631 w 10732631"/>
              <a:gd name="connsiteY74" fmla="*/ 5722950 h 6858000"/>
              <a:gd name="connsiteX75" fmla="*/ 10725310 w 10732631"/>
              <a:gd name="connsiteY75" fmla="*/ 5736863 h 6858000"/>
              <a:gd name="connsiteX76" fmla="*/ 10678822 w 10732631"/>
              <a:gd name="connsiteY76" fmla="*/ 5793774 h 6858000"/>
              <a:gd name="connsiteX77" fmla="*/ 10678822 w 10732631"/>
              <a:gd name="connsiteY77" fmla="*/ 5793772 h 6858000"/>
              <a:gd name="connsiteX78" fmla="*/ 10165767 w 10732631"/>
              <a:gd name="connsiteY78" fmla="*/ 5793772 h 6858000"/>
              <a:gd name="connsiteX79" fmla="*/ 4371995 w 10732631"/>
              <a:gd name="connsiteY79" fmla="*/ 0 h 6858000"/>
              <a:gd name="connsiteX0" fmla="*/ 4027003 w 10732631"/>
              <a:gd name="connsiteY0" fmla="*/ 6026314 h 6858000"/>
              <a:gd name="connsiteX1" fmla="*/ 4283530 w 10732631"/>
              <a:gd name="connsiteY1" fmla="*/ 6132571 h 6858000"/>
              <a:gd name="connsiteX2" fmla="*/ 5008959 w 10732631"/>
              <a:gd name="connsiteY2" fmla="*/ 6858000 h 6858000"/>
              <a:gd name="connsiteX3" fmla="*/ 3982847 w 10732631"/>
              <a:gd name="connsiteY3" fmla="*/ 6858000 h 6858000"/>
              <a:gd name="connsiteX4" fmla="*/ 3770474 w 10732631"/>
              <a:gd name="connsiteY4" fmla="*/ 6645627 h 6858000"/>
              <a:gd name="connsiteX5" fmla="*/ 3770474 w 10732631"/>
              <a:gd name="connsiteY5" fmla="*/ 6132571 h 6858000"/>
              <a:gd name="connsiteX6" fmla="*/ 4027003 w 10732631"/>
              <a:gd name="connsiteY6" fmla="*/ 6026314 h 6858000"/>
              <a:gd name="connsiteX7" fmla="*/ 5226044 w 10732631"/>
              <a:gd name="connsiteY7" fmla="*/ 4810762 h 6858000"/>
              <a:gd name="connsiteX8" fmla="*/ 5482571 w 10732631"/>
              <a:gd name="connsiteY8" fmla="*/ 4917019 h 6858000"/>
              <a:gd name="connsiteX9" fmla="*/ 7423552 w 10732631"/>
              <a:gd name="connsiteY9" fmla="*/ 6858000 h 6858000"/>
              <a:gd name="connsiteX10" fmla="*/ 6397442 w 10732631"/>
              <a:gd name="connsiteY10" fmla="*/ 6858000 h 6858000"/>
              <a:gd name="connsiteX11" fmla="*/ 4969516 w 10732631"/>
              <a:gd name="connsiteY11" fmla="*/ 5430074 h 6858000"/>
              <a:gd name="connsiteX12" fmla="*/ 4969516 w 10732631"/>
              <a:gd name="connsiteY12" fmla="*/ 4917019 h 6858000"/>
              <a:gd name="connsiteX13" fmla="*/ 5226044 w 10732631"/>
              <a:gd name="connsiteY13" fmla="*/ 4810762 h 6858000"/>
              <a:gd name="connsiteX14" fmla="*/ 4016831 w 10732631"/>
              <a:gd name="connsiteY14" fmla="*/ 4808883 h 6858000"/>
              <a:gd name="connsiteX15" fmla="*/ 4273358 w 10732631"/>
              <a:gd name="connsiteY15" fmla="*/ 4915140 h 6858000"/>
              <a:gd name="connsiteX16" fmla="*/ 6216216 w 10732631"/>
              <a:gd name="connsiteY16" fmla="*/ 6858000 h 6858000"/>
              <a:gd name="connsiteX17" fmla="*/ 5190107 w 10732631"/>
              <a:gd name="connsiteY17" fmla="*/ 6858000 h 6858000"/>
              <a:gd name="connsiteX18" fmla="*/ 3760302 w 10732631"/>
              <a:gd name="connsiteY18" fmla="*/ 5428196 h 6858000"/>
              <a:gd name="connsiteX19" fmla="*/ 3760302 w 10732631"/>
              <a:gd name="connsiteY19" fmla="*/ 4915140 h 6858000"/>
              <a:gd name="connsiteX20" fmla="*/ 4016831 w 10732631"/>
              <a:gd name="connsiteY20" fmla="*/ 4808883 h 6858000"/>
              <a:gd name="connsiteX21" fmla="*/ 4983334 w 10732631"/>
              <a:gd name="connsiteY21" fmla="*/ 3358111 h 6858000"/>
              <a:gd name="connsiteX22" fmla="*/ 5239861 w 10732631"/>
              <a:gd name="connsiteY22" fmla="*/ 3464368 h 6858000"/>
              <a:gd name="connsiteX23" fmla="*/ 8633493 w 10732631"/>
              <a:gd name="connsiteY23" fmla="*/ 6858000 h 6858000"/>
              <a:gd name="connsiteX24" fmla="*/ 7607384 w 10732631"/>
              <a:gd name="connsiteY24" fmla="*/ 6858000 h 6858000"/>
              <a:gd name="connsiteX25" fmla="*/ 4726806 w 10732631"/>
              <a:gd name="connsiteY25" fmla="*/ 3977423 h 6858000"/>
              <a:gd name="connsiteX26" fmla="*/ 4726806 w 10732631"/>
              <a:gd name="connsiteY26" fmla="*/ 3464368 h 6858000"/>
              <a:gd name="connsiteX27" fmla="*/ 4983334 w 10732631"/>
              <a:gd name="connsiteY27" fmla="*/ 3358111 h 6858000"/>
              <a:gd name="connsiteX28" fmla="*/ 4411835 w 10732631"/>
              <a:gd name="connsiteY28" fmla="*/ 1580111 h 6858000"/>
              <a:gd name="connsiteX29" fmla="*/ 4668361 w 10732631"/>
              <a:gd name="connsiteY29" fmla="*/ 1686369 h 6858000"/>
              <a:gd name="connsiteX30" fmla="*/ 9305884 w 10732631"/>
              <a:gd name="connsiteY30" fmla="*/ 6323892 h 6858000"/>
              <a:gd name="connsiteX31" fmla="*/ 9305884 w 10732631"/>
              <a:gd name="connsiteY31" fmla="*/ 6836948 h 6858000"/>
              <a:gd name="connsiteX32" fmla="*/ 9305884 w 10732631"/>
              <a:gd name="connsiteY32" fmla="*/ 6836946 h 6858000"/>
              <a:gd name="connsiteX33" fmla="*/ 9280109 w 10732631"/>
              <a:gd name="connsiteY33" fmla="*/ 6858000 h 6858000"/>
              <a:gd name="connsiteX34" fmla="*/ 8818604 w 10732631"/>
              <a:gd name="connsiteY34" fmla="*/ 6858000 h 6858000"/>
              <a:gd name="connsiteX35" fmla="*/ 8792829 w 10732631"/>
              <a:gd name="connsiteY35" fmla="*/ 6836946 h 6858000"/>
              <a:gd name="connsiteX36" fmla="*/ 4155306 w 10732631"/>
              <a:gd name="connsiteY36" fmla="*/ 2199424 h 6858000"/>
              <a:gd name="connsiteX37" fmla="*/ 4155306 w 10732631"/>
              <a:gd name="connsiteY37" fmla="*/ 1686369 h 6858000"/>
              <a:gd name="connsiteX38" fmla="*/ 4411835 w 10732631"/>
              <a:gd name="connsiteY38" fmla="*/ 1580111 h 6858000"/>
              <a:gd name="connsiteX39" fmla="*/ 5620152 w 10732631"/>
              <a:gd name="connsiteY39" fmla="*/ 1580110 h 6858000"/>
              <a:gd name="connsiteX40" fmla="*/ 5876680 w 10732631"/>
              <a:gd name="connsiteY40" fmla="*/ 1686368 h 6858000"/>
              <a:gd name="connsiteX41" fmla="*/ 10732631 w 10732631"/>
              <a:gd name="connsiteY41" fmla="*/ 6542320 h 6858000"/>
              <a:gd name="connsiteX42" fmla="*/ 10732631 w 10732631"/>
              <a:gd name="connsiteY42" fmla="*/ 6858000 h 6858000"/>
              <a:gd name="connsiteX43" fmla="*/ 10022202 w 10732631"/>
              <a:gd name="connsiteY43" fmla="*/ 6858000 h 6858000"/>
              <a:gd name="connsiteX44" fmla="*/ 5363625 w 10732631"/>
              <a:gd name="connsiteY44" fmla="*/ 2199423 h 6858000"/>
              <a:gd name="connsiteX45" fmla="*/ 5363625 w 10732631"/>
              <a:gd name="connsiteY45" fmla="*/ 1686368 h 6858000"/>
              <a:gd name="connsiteX46" fmla="*/ 5620152 w 10732631"/>
              <a:gd name="connsiteY46" fmla="*/ 1580110 h 6858000"/>
              <a:gd name="connsiteX47" fmla="*/ 0 w 10732631"/>
              <a:gd name="connsiteY47" fmla="*/ 2533946 h 6858000"/>
              <a:gd name="connsiteX48" fmla="*/ 0 w 10732631"/>
              <a:gd name="connsiteY48" fmla="*/ 2953645 h 6858000"/>
              <a:gd name="connsiteX49" fmla="*/ 0 w 10732631"/>
              <a:gd name="connsiteY49" fmla="*/ 2533946 h 6858000"/>
              <a:gd name="connsiteX50" fmla="*/ 8378524 w 10732631"/>
              <a:gd name="connsiteY50" fmla="*/ 743773 h 6858000"/>
              <a:gd name="connsiteX51" fmla="*/ 8635051 w 10732631"/>
              <a:gd name="connsiteY51" fmla="*/ 850031 h 6858000"/>
              <a:gd name="connsiteX52" fmla="*/ 10340228 w 10732631"/>
              <a:gd name="connsiteY52" fmla="*/ 2555209 h 6858000"/>
              <a:gd name="connsiteX53" fmla="*/ 10340228 w 10732631"/>
              <a:gd name="connsiteY53" fmla="*/ 3068265 h 6858000"/>
              <a:gd name="connsiteX54" fmla="*/ 10340228 w 10732631"/>
              <a:gd name="connsiteY54" fmla="*/ 3068263 h 6858000"/>
              <a:gd name="connsiteX55" fmla="*/ 9827172 w 10732631"/>
              <a:gd name="connsiteY55" fmla="*/ 3068263 h 6858000"/>
              <a:gd name="connsiteX56" fmla="*/ 8121996 w 10732631"/>
              <a:gd name="connsiteY56" fmla="*/ 1363086 h 6858000"/>
              <a:gd name="connsiteX57" fmla="*/ 8121996 w 10732631"/>
              <a:gd name="connsiteY57" fmla="*/ 850031 h 6858000"/>
              <a:gd name="connsiteX58" fmla="*/ 8378524 w 10732631"/>
              <a:gd name="connsiteY58" fmla="*/ 743773 h 6858000"/>
              <a:gd name="connsiteX59" fmla="*/ 7062200 w 10732631"/>
              <a:gd name="connsiteY59" fmla="*/ 612697 h 6858000"/>
              <a:gd name="connsiteX60" fmla="*/ 7318728 w 10732631"/>
              <a:gd name="connsiteY60" fmla="*/ 718955 h 6858000"/>
              <a:gd name="connsiteX61" fmla="*/ 10488805 w 10732631"/>
              <a:gd name="connsiteY61" fmla="*/ 3889033 h 6858000"/>
              <a:gd name="connsiteX62" fmla="*/ 10488805 w 10732631"/>
              <a:gd name="connsiteY62" fmla="*/ 4402089 h 6858000"/>
              <a:gd name="connsiteX63" fmla="*/ 10488805 w 10732631"/>
              <a:gd name="connsiteY63" fmla="*/ 4402087 h 6858000"/>
              <a:gd name="connsiteX64" fmla="*/ 9975750 w 10732631"/>
              <a:gd name="connsiteY64" fmla="*/ 4402087 h 6858000"/>
              <a:gd name="connsiteX65" fmla="*/ 6805673 w 10732631"/>
              <a:gd name="connsiteY65" fmla="*/ 1232010 h 6858000"/>
              <a:gd name="connsiteX66" fmla="*/ 6805673 w 10732631"/>
              <a:gd name="connsiteY66" fmla="*/ 718955 h 6858000"/>
              <a:gd name="connsiteX67" fmla="*/ 7062200 w 10732631"/>
              <a:gd name="connsiteY67" fmla="*/ 612697 h 6858000"/>
              <a:gd name="connsiteX68" fmla="*/ 4371995 w 10732631"/>
              <a:gd name="connsiteY68" fmla="*/ 0 h 6858000"/>
              <a:gd name="connsiteX69" fmla="*/ 5398106 w 10732631"/>
              <a:gd name="connsiteY69" fmla="*/ 0 h 6858000"/>
              <a:gd name="connsiteX70" fmla="*/ 10678822 w 10732631"/>
              <a:gd name="connsiteY70" fmla="*/ 5280718 h 6858000"/>
              <a:gd name="connsiteX71" fmla="*/ 10725310 w 10732631"/>
              <a:gd name="connsiteY71" fmla="*/ 5337629 h 6858000"/>
              <a:gd name="connsiteX72" fmla="*/ 10732631 w 10732631"/>
              <a:gd name="connsiteY72" fmla="*/ 5351542 h 6858000"/>
              <a:gd name="connsiteX73" fmla="*/ 10732631 w 10732631"/>
              <a:gd name="connsiteY73" fmla="*/ 5722950 h 6858000"/>
              <a:gd name="connsiteX74" fmla="*/ 10725310 w 10732631"/>
              <a:gd name="connsiteY74" fmla="*/ 5736863 h 6858000"/>
              <a:gd name="connsiteX75" fmla="*/ 10678822 w 10732631"/>
              <a:gd name="connsiteY75" fmla="*/ 5793774 h 6858000"/>
              <a:gd name="connsiteX76" fmla="*/ 10678822 w 10732631"/>
              <a:gd name="connsiteY76" fmla="*/ 5793772 h 6858000"/>
              <a:gd name="connsiteX77" fmla="*/ 10165767 w 10732631"/>
              <a:gd name="connsiteY77" fmla="*/ 5793772 h 6858000"/>
              <a:gd name="connsiteX78" fmla="*/ 4371995 w 10732631"/>
              <a:gd name="connsiteY78" fmla="*/ 0 h 6858000"/>
              <a:gd name="connsiteX0" fmla="*/ 372959 w 7078587"/>
              <a:gd name="connsiteY0" fmla="*/ 6026314 h 6858000"/>
              <a:gd name="connsiteX1" fmla="*/ 629486 w 7078587"/>
              <a:gd name="connsiteY1" fmla="*/ 6132571 h 6858000"/>
              <a:gd name="connsiteX2" fmla="*/ 1354915 w 7078587"/>
              <a:gd name="connsiteY2" fmla="*/ 6858000 h 6858000"/>
              <a:gd name="connsiteX3" fmla="*/ 328803 w 7078587"/>
              <a:gd name="connsiteY3" fmla="*/ 6858000 h 6858000"/>
              <a:gd name="connsiteX4" fmla="*/ 116430 w 7078587"/>
              <a:gd name="connsiteY4" fmla="*/ 6645627 h 6858000"/>
              <a:gd name="connsiteX5" fmla="*/ 116430 w 7078587"/>
              <a:gd name="connsiteY5" fmla="*/ 6132571 h 6858000"/>
              <a:gd name="connsiteX6" fmla="*/ 372959 w 7078587"/>
              <a:gd name="connsiteY6" fmla="*/ 6026314 h 6858000"/>
              <a:gd name="connsiteX7" fmla="*/ 1572000 w 7078587"/>
              <a:gd name="connsiteY7" fmla="*/ 4810762 h 6858000"/>
              <a:gd name="connsiteX8" fmla="*/ 1828527 w 7078587"/>
              <a:gd name="connsiteY8" fmla="*/ 4917019 h 6858000"/>
              <a:gd name="connsiteX9" fmla="*/ 3769508 w 7078587"/>
              <a:gd name="connsiteY9" fmla="*/ 6858000 h 6858000"/>
              <a:gd name="connsiteX10" fmla="*/ 2743398 w 7078587"/>
              <a:gd name="connsiteY10" fmla="*/ 6858000 h 6858000"/>
              <a:gd name="connsiteX11" fmla="*/ 1315472 w 7078587"/>
              <a:gd name="connsiteY11" fmla="*/ 5430074 h 6858000"/>
              <a:gd name="connsiteX12" fmla="*/ 1315472 w 7078587"/>
              <a:gd name="connsiteY12" fmla="*/ 4917019 h 6858000"/>
              <a:gd name="connsiteX13" fmla="*/ 1572000 w 7078587"/>
              <a:gd name="connsiteY13" fmla="*/ 4810762 h 6858000"/>
              <a:gd name="connsiteX14" fmla="*/ 362787 w 7078587"/>
              <a:gd name="connsiteY14" fmla="*/ 4808883 h 6858000"/>
              <a:gd name="connsiteX15" fmla="*/ 619314 w 7078587"/>
              <a:gd name="connsiteY15" fmla="*/ 4915140 h 6858000"/>
              <a:gd name="connsiteX16" fmla="*/ 2562172 w 7078587"/>
              <a:gd name="connsiteY16" fmla="*/ 6858000 h 6858000"/>
              <a:gd name="connsiteX17" fmla="*/ 1536063 w 7078587"/>
              <a:gd name="connsiteY17" fmla="*/ 6858000 h 6858000"/>
              <a:gd name="connsiteX18" fmla="*/ 106258 w 7078587"/>
              <a:gd name="connsiteY18" fmla="*/ 5428196 h 6858000"/>
              <a:gd name="connsiteX19" fmla="*/ 106258 w 7078587"/>
              <a:gd name="connsiteY19" fmla="*/ 4915140 h 6858000"/>
              <a:gd name="connsiteX20" fmla="*/ 362787 w 7078587"/>
              <a:gd name="connsiteY20" fmla="*/ 4808883 h 6858000"/>
              <a:gd name="connsiteX21" fmla="*/ 1329290 w 7078587"/>
              <a:gd name="connsiteY21" fmla="*/ 3358111 h 6858000"/>
              <a:gd name="connsiteX22" fmla="*/ 1585817 w 7078587"/>
              <a:gd name="connsiteY22" fmla="*/ 3464368 h 6858000"/>
              <a:gd name="connsiteX23" fmla="*/ 4979449 w 7078587"/>
              <a:gd name="connsiteY23" fmla="*/ 6858000 h 6858000"/>
              <a:gd name="connsiteX24" fmla="*/ 3953340 w 7078587"/>
              <a:gd name="connsiteY24" fmla="*/ 6858000 h 6858000"/>
              <a:gd name="connsiteX25" fmla="*/ 1072762 w 7078587"/>
              <a:gd name="connsiteY25" fmla="*/ 3977423 h 6858000"/>
              <a:gd name="connsiteX26" fmla="*/ 1072762 w 7078587"/>
              <a:gd name="connsiteY26" fmla="*/ 3464368 h 6858000"/>
              <a:gd name="connsiteX27" fmla="*/ 1329290 w 7078587"/>
              <a:gd name="connsiteY27" fmla="*/ 3358111 h 6858000"/>
              <a:gd name="connsiteX28" fmla="*/ 757791 w 7078587"/>
              <a:gd name="connsiteY28" fmla="*/ 1580111 h 6858000"/>
              <a:gd name="connsiteX29" fmla="*/ 1014317 w 7078587"/>
              <a:gd name="connsiteY29" fmla="*/ 1686369 h 6858000"/>
              <a:gd name="connsiteX30" fmla="*/ 5651840 w 7078587"/>
              <a:gd name="connsiteY30" fmla="*/ 6323892 h 6858000"/>
              <a:gd name="connsiteX31" fmla="*/ 5651840 w 7078587"/>
              <a:gd name="connsiteY31" fmla="*/ 6836948 h 6858000"/>
              <a:gd name="connsiteX32" fmla="*/ 5651840 w 7078587"/>
              <a:gd name="connsiteY32" fmla="*/ 6836946 h 6858000"/>
              <a:gd name="connsiteX33" fmla="*/ 5626065 w 7078587"/>
              <a:gd name="connsiteY33" fmla="*/ 6858000 h 6858000"/>
              <a:gd name="connsiteX34" fmla="*/ 5164560 w 7078587"/>
              <a:gd name="connsiteY34" fmla="*/ 6858000 h 6858000"/>
              <a:gd name="connsiteX35" fmla="*/ 5138785 w 7078587"/>
              <a:gd name="connsiteY35" fmla="*/ 6836946 h 6858000"/>
              <a:gd name="connsiteX36" fmla="*/ 501262 w 7078587"/>
              <a:gd name="connsiteY36" fmla="*/ 2199424 h 6858000"/>
              <a:gd name="connsiteX37" fmla="*/ 501262 w 7078587"/>
              <a:gd name="connsiteY37" fmla="*/ 1686369 h 6858000"/>
              <a:gd name="connsiteX38" fmla="*/ 757791 w 7078587"/>
              <a:gd name="connsiteY38" fmla="*/ 1580111 h 6858000"/>
              <a:gd name="connsiteX39" fmla="*/ 1966108 w 7078587"/>
              <a:gd name="connsiteY39" fmla="*/ 1580110 h 6858000"/>
              <a:gd name="connsiteX40" fmla="*/ 2222636 w 7078587"/>
              <a:gd name="connsiteY40" fmla="*/ 1686368 h 6858000"/>
              <a:gd name="connsiteX41" fmla="*/ 7078587 w 7078587"/>
              <a:gd name="connsiteY41" fmla="*/ 6542320 h 6858000"/>
              <a:gd name="connsiteX42" fmla="*/ 7078587 w 7078587"/>
              <a:gd name="connsiteY42" fmla="*/ 6858000 h 6858000"/>
              <a:gd name="connsiteX43" fmla="*/ 6368158 w 7078587"/>
              <a:gd name="connsiteY43" fmla="*/ 6858000 h 6858000"/>
              <a:gd name="connsiteX44" fmla="*/ 1709581 w 7078587"/>
              <a:gd name="connsiteY44" fmla="*/ 2199423 h 6858000"/>
              <a:gd name="connsiteX45" fmla="*/ 1709581 w 7078587"/>
              <a:gd name="connsiteY45" fmla="*/ 1686368 h 6858000"/>
              <a:gd name="connsiteX46" fmla="*/ 1966108 w 7078587"/>
              <a:gd name="connsiteY46" fmla="*/ 1580110 h 6858000"/>
              <a:gd name="connsiteX47" fmla="*/ 4724480 w 7078587"/>
              <a:gd name="connsiteY47" fmla="*/ 743773 h 6858000"/>
              <a:gd name="connsiteX48" fmla="*/ 4981007 w 7078587"/>
              <a:gd name="connsiteY48" fmla="*/ 850031 h 6858000"/>
              <a:gd name="connsiteX49" fmla="*/ 6686184 w 7078587"/>
              <a:gd name="connsiteY49" fmla="*/ 2555209 h 6858000"/>
              <a:gd name="connsiteX50" fmla="*/ 6686184 w 7078587"/>
              <a:gd name="connsiteY50" fmla="*/ 3068265 h 6858000"/>
              <a:gd name="connsiteX51" fmla="*/ 6686184 w 7078587"/>
              <a:gd name="connsiteY51" fmla="*/ 3068263 h 6858000"/>
              <a:gd name="connsiteX52" fmla="*/ 6173128 w 7078587"/>
              <a:gd name="connsiteY52" fmla="*/ 3068263 h 6858000"/>
              <a:gd name="connsiteX53" fmla="*/ 4467952 w 7078587"/>
              <a:gd name="connsiteY53" fmla="*/ 1363086 h 6858000"/>
              <a:gd name="connsiteX54" fmla="*/ 4467952 w 7078587"/>
              <a:gd name="connsiteY54" fmla="*/ 850031 h 6858000"/>
              <a:gd name="connsiteX55" fmla="*/ 4724480 w 7078587"/>
              <a:gd name="connsiteY55" fmla="*/ 743773 h 6858000"/>
              <a:gd name="connsiteX56" fmla="*/ 3408156 w 7078587"/>
              <a:gd name="connsiteY56" fmla="*/ 612697 h 6858000"/>
              <a:gd name="connsiteX57" fmla="*/ 3664684 w 7078587"/>
              <a:gd name="connsiteY57" fmla="*/ 718955 h 6858000"/>
              <a:gd name="connsiteX58" fmla="*/ 6834761 w 7078587"/>
              <a:gd name="connsiteY58" fmla="*/ 3889033 h 6858000"/>
              <a:gd name="connsiteX59" fmla="*/ 6834761 w 7078587"/>
              <a:gd name="connsiteY59" fmla="*/ 4402089 h 6858000"/>
              <a:gd name="connsiteX60" fmla="*/ 6834761 w 7078587"/>
              <a:gd name="connsiteY60" fmla="*/ 4402087 h 6858000"/>
              <a:gd name="connsiteX61" fmla="*/ 6321706 w 7078587"/>
              <a:gd name="connsiteY61" fmla="*/ 4402087 h 6858000"/>
              <a:gd name="connsiteX62" fmla="*/ 3151629 w 7078587"/>
              <a:gd name="connsiteY62" fmla="*/ 1232010 h 6858000"/>
              <a:gd name="connsiteX63" fmla="*/ 3151629 w 7078587"/>
              <a:gd name="connsiteY63" fmla="*/ 718955 h 6858000"/>
              <a:gd name="connsiteX64" fmla="*/ 3408156 w 7078587"/>
              <a:gd name="connsiteY64" fmla="*/ 612697 h 6858000"/>
              <a:gd name="connsiteX65" fmla="*/ 717951 w 7078587"/>
              <a:gd name="connsiteY65" fmla="*/ 0 h 6858000"/>
              <a:gd name="connsiteX66" fmla="*/ 1744062 w 7078587"/>
              <a:gd name="connsiteY66" fmla="*/ 0 h 6858000"/>
              <a:gd name="connsiteX67" fmla="*/ 7024778 w 7078587"/>
              <a:gd name="connsiteY67" fmla="*/ 5280718 h 6858000"/>
              <a:gd name="connsiteX68" fmla="*/ 7071266 w 7078587"/>
              <a:gd name="connsiteY68" fmla="*/ 5337629 h 6858000"/>
              <a:gd name="connsiteX69" fmla="*/ 7078587 w 7078587"/>
              <a:gd name="connsiteY69" fmla="*/ 5351542 h 6858000"/>
              <a:gd name="connsiteX70" fmla="*/ 7078587 w 7078587"/>
              <a:gd name="connsiteY70" fmla="*/ 5722950 h 6858000"/>
              <a:gd name="connsiteX71" fmla="*/ 7071266 w 7078587"/>
              <a:gd name="connsiteY71" fmla="*/ 5736863 h 6858000"/>
              <a:gd name="connsiteX72" fmla="*/ 7024778 w 7078587"/>
              <a:gd name="connsiteY72" fmla="*/ 5793774 h 6858000"/>
              <a:gd name="connsiteX73" fmla="*/ 7024778 w 7078587"/>
              <a:gd name="connsiteY73" fmla="*/ 5793772 h 6858000"/>
              <a:gd name="connsiteX74" fmla="*/ 6511723 w 7078587"/>
              <a:gd name="connsiteY74" fmla="*/ 5793772 h 6858000"/>
              <a:gd name="connsiteX75" fmla="*/ 717951 w 7078587"/>
              <a:gd name="connsiteY7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7078587" h="6858000">
                <a:moveTo>
                  <a:pt x="372959" y="6026314"/>
                </a:moveTo>
                <a:cubicBezTo>
                  <a:pt x="465804" y="6026314"/>
                  <a:pt x="558647" y="6061733"/>
                  <a:pt x="629486" y="6132571"/>
                </a:cubicBezTo>
                <a:lnTo>
                  <a:pt x="1354915" y="6858000"/>
                </a:lnTo>
                <a:lnTo>
                  <a:pt x="328803" y="6858000"/>
                </a:lnTo>
                <a:lnTo>
                  <a:pt x="116430" y="6645627"/>
                </a:lnTo>
                <a:cubicBezTo>
                  <a:pt x="-25247" y="6503950"/>
                  <a:pt x="-25247" y="6274248"/>
                  <a:pt x="116430" y="6132571"/>
                </a:cubicBezTo>
                <a:cubicBezTo>
                  <a:pt x="187269" y="6061733"/>
                  <a:pt x="280113" y="6026314"/>
                  <a:pt x="372959" y="6026314"/>
                </a:cubicBezTo>
                <a:close/>
                <a:moveTo>
                  <a:pt x="1572000" y="4810762"/>
                </a:moveTo>
                <a:cubicBezTo>
                  <a:pt x="1664844" y="4810762"/>
                  <a:pt x="1757689" y="4846181"/>
                  <a:pt x="1828527" y="4917019"/>
                </a:cubicBezTo>
                <a:lnTo>
                  <a:pt x="3769508" y="6858000"/>
                </a:lnTo>
                <a:lnTo>
                  <a:pt x="2743398" y="6858000"/>
                </a:lnTo>
                <a:lnTo>
                  <a:pt x="1315472" y="5430074"/>
                </a:lnTo>
                <a:cubicBezTo>
                  <a:pt x="1173795" y="5288397"/>
                  <a:pt x="1173795" y="5058695"/>
                  <a:pt x="1315472" y="4917019"/>
                </a:cubicBezTo>
                <a:cubicBezTo>
                  <a:pt x="1386310" y="4846181"/>
                  <a:pt x="1479155" y="4810762"/>
                  <a:pt x="1572000" y="4810762"/>
                </a:cubicBezTo>
                <a:close/>
                <a:moveTo>
                  <a:pt x="362787" y="4808883"/>
                </a:moveTo>
                <a:cubicBezTo>
                  <a:pt x="455632" y="4808883"/>
                  <a:pt x="548477" y="4844302"/>
                  <a:pt x="619314" y="4915140"/>
                </a:cubicBezTo>
                <a:lnTo>
                  <a:pt x="2562172" y="6858000"/>
                </a:lnTo>
                <a:lnTo>
                  <a:pt x="1536063" y="6858000"/>
                </a:lnTo>
                <a:lnTo>
                  <a:pt x="106258" y="5428196"/>
                </a:lnTo>
                <a:cubicBezTo>
                  <a:pt x="-35419" y="5286519"/>
                  <a:pt x="-35419" y="5056817"/>
                  <a:pt x="106258" y="4915140"/>
                </a:cubicBezTo>
                <a:cubicBezTo>
                  <a:pt x="177097" y="4844302"/>
                  <a:pt x="269941" y="4808883"/>
                  <a:pt x="362787" y="4808883"/>
                </a:cubicBezTo>
                <a:close/>
                <a:moveTo>
                  <a:pt x="1329290" y="3358111"/>
                </a:moveTo>
                <a:cubicBezTo>
                  <a:pt x="1422134" y="3358111"/>
                  <a:pt x="1514979" y="3393529"/>
                  <a:pt x="1585817" y="3464368"/>
                </a:cubicBezTo>
                <a:lnTo>
                  <a:pt x="4979449" y="6858000"/>
                </a:lnTo>
                <a:lnTo>
                  <a:pt x="3953340" y="6858000"/>
                </a:lnTo>
                <a:lnTo>
                  <a:pt x="1072762" y="3977423"/>
                </a:lnTo>
                <a:cubicBezTo>
                  <a:pt x="931085" y="3835747"/>
                  <a:pt x="931085" y="3606045"/>
                  <a:pt x="1072762" y="3464368"/>
                </a:cubicBezTo>
                <a:cubicBezTo>
                  <a:pt x="1143600" y="3393529"/>
                  <a:pt x="1236445" y="3358111"/>
                  <a:pt x="1329290" y="3358111"/>
                </a:cubicBezTo>
                <a:close/>
                <a:moveTo>
                  <a:pt x="757791" y="1580111"/>
                </a:moveTo>
                <a:cubicBezTo>
                  <a:pt x="850634" y="1580111"/>
                  <a:pt x="943479" y="1615530"/>
                  <a:pt x="1014317" y="1686369"/>
                </a:cubicBezTo>
                <a:lnTo>
                  <a:pt x="5651840" y="6323892"/>
                </a:lnTo>
                <a:cubicBezTo>
                  <a:pt x="5793517" y="6465569"/>
                  <a:pt x="5793517" y="6695271"/>
                  <a:pt x="5651840" y="6836948"/>
                </a:cubicBezTo>
                <a:lnTo>
                  <a:pt x="5651840" y="6836946"/>
                </a:lnTo>
                <a:lnTo>
                  <a:pt x="5626065" y="6858000"/>
                </a:lnTo>
                <a:lnTo>
                  <a:pt x="5164560" y="6858000"/>
                </a:lnTo>
                <a:lnTo>
                  <a:pt x="5138785" y="6836946"/>
                </a:lnTo>
                <a:lnTo>
                  <a:pt x="501262" y="2199424"/>
                </a:lnTo>
                <a:cubicBezTo>
                  <a:pt x="359585" y="2057747"/>
                  <a:pt x="359585" y="1828045"/>
                  <a:pt x="501262" y="1686369"/>
                </a:cubicBezTo>
                <a:cubicBezTo>
                  <a:pt x="572100" y="1615530"/>
                  <a:pt x="664946" y="1580111"/>
                  <a:pt x="757791" y="1580111"/>
                </a:cubicBezTo>
                <a:close/>
                <a:moveTo>
                  <a:pt x="1966108" y="1580110"/>
                </a:moveTo>
                <a:cubicBezTo>
                  <a:pt x="2058953" y="1580110"/>
                  <a:pt x="2151798" y="1615529"/>
                  <a:pt x="2222636" y="1686368"/>
                </a:cubicBezTo>
                <a:lnTo>
                  <a:pt x="7078587" y="6542320"/>
                </a:lnTo>
                <a:lnTo>
                  <a:pt x="7078587" y="6858000"/>
                </a:lnTo>
                <a:lnTo>
                  <a:pt x="6368158" y="6858000"/>
                </a:lnTo>
                <a:lnTo>
                  <a:pt x="1709581" y="2199423"/>
                </a:lnTo>
                <a:cubicBezTo>
                  <a:pt x="1567904" y="2057746"/>
                  <a:pt x="1567904" y="1828044"/>
                  <a:pt x="1709581" y="1686368"/>
                </a:cubicBezTo>
                <a:cubicBezTo>
                  <a:pt x="1780419" y="1615529"/>
                  <a:pt x="1873264" y="1580110"/>
                  <a:pt x="1966108" y="1580110"/>
                </a:cubicBezTo>
                <a:close/>
                <a:moveTo>
                  <a:pt x="4724480" y="743773"/>
                </a:moveTo>
                <a:cubicBezTo>
                  <a:pt x="4817324" y="743773"/>
                  <a:pt x="4910169" y="779192"/>
                  <a:pt x="4981007" y="850031"/>
                </a:cubicBezTo>
                <a:lnTo>
                  <a:pt x="6686184" y="2555209"/>
                </a:lnTo>
                <a:cubicBezTo>
                  <a:pt x="6827861" y="2696885"/>
                  <a:pt x="6827861" y="2926588"/>
                  <a:pt x="6686184" y="3068265"/>
                </a:cubicBezTo>
                <a:lnTo>
                  <a:pt x="6686184" y="3068263"/>
                </a:lnTo>
                <a:cubicBezTo>
                  <a:pt x="6544507" y="3209940"/>
                  <a:pt x="6314805" y="3209940"/>
                  <a:pt x="6173128" y="3068263"/>
                </a:cubicBezTo>
                <a:lnTo>
                  <a:pt x="4467952" y="1363086"/>
                </a:lnTo>
                <a:cubicBezTo>
                  <a:pt x="4326275" y="1221409"/>
                  <a:pt x="4326275" y="991707"/>
                  <a:pt x="4467952" y="850031"/>
                </a:cubicBezTo>
                <a:cubicBezTo>
                  <a:pt x="4538790" y="779192"/>
                  <a:pt x="4631635" y="743773"/>
                  <a:pt x="4724480" y="743773"/>
                </a:cubicBezTo>
                <a:close/>
                <a:moveTo>
                  <a:pt x="3408156" y="612697"/>
                </a:moveTo>
                <a:cubicBezTo>
                  <a:pt x="3501001" y="612697"/>
                  <a:pt x="3593846" y="648116"/>
                  <a:pt x="3664684" y="718955"/>
                </a:cubicBezTo>
                <a:lnTo>
                  <a:pt x="6834761" y="3889033"/>
                </a:lnTo>
                <a:cubicBezTo>
                  <a:pt x="6976438" y="4030710"/>
                  <a:pt x="6976438" y="4260412"/>
                  <a:pt x="6834761" y="4402089"/>
                </a:cubicBezTo>
                <a:lnTo>
                  <a:pt x="6834761" y="4402087"/>
                </a:lnTo>
                <a:cubicBezTo>
                  <a:pt x="6693085" y="4543764"/>
                  <a:pt x="6463382" y="4543764"/>
                  <a:pt x="6321706" y="4402087"/>
                </a:cubicBezTo>
                <a:lnTo>
                  <a:pt x="3151629" y="1232010"/>
                </a:lnTo>
                <a:cubicBezTo>
                  <a:pt x="3009952" y="1090334"/>
                  <a:pt x="3009952" y="860631"/>
                  <a:pt x="3151629" y="718955"/>
                </a:cubicBezTo>
                <a:cubicBezTo>
                  <a:pt x="3222467" y="648116"/>
                  <a:pt x="3315311" y="612697"/>
                  <a:pt x="3408156" y="612697"/>
                </a:cubicBezTo>
                <a:close/>
                <a:moveTo>
                  <a:pt x="717951" y="0"/>
                </a:moveTo>
                <a:lnTo>
                  <a:pt x="1744062" y="0"/>
                </a:lnTo>
                <a:lnTo>
                  <a:pt x="7024778" y="5280718"/>
                </a:lnTo>
                <a:cubicBezTo>
                  <a:pt x="7042488" y="5298428"/>
                  <a:pt x="7057984" y="5317513"/>
                  <a:pt x="7071266" y="5337629"/>
                </a:cubicBezTo>
                <a:lnTo>
                  <a:pt x="7078587" y="5351542"/>
                </a:lnTo>
                <a:lnTo>
                  <a:pt x="7078587" y="5722950"/>
                </a:lnTo>
                <a:lnTo>
                  <a:pt x="7071266" y="5736863"/>
                </a:lnTo>
                <a:cubicBezTo>
                  <a:pt x="7057984" y="5756980"/>
                  <a:pt x="7042488" y="5776065"/>
                  <a:pt x="7024778" y="5793774"/>
                </a:cubicBezTo>
                <a:lnTo>
                  <a:pt x="7024778" y="5793772"/>
                </a:lnTo>
                <a:cubicBezTo>
                  <a:pt x="6883102" y="5935449"/>
                  <a:pt x="6653400" y="5935449"/>
                  <a:pt x="6511723" y="5793772"/>
                </a:cubicBezTo>
                <a:lnTo>
                  <a:pt x="717951" y="0"/>
                </a:lnTo>
                <a:close/>
              </a:path>
            </a:pathLst>
          </a:custGeom>
        </p:spPr>
      </p:sp>
    </p:spTree>
    <p:extLst>
      <p:ext uri="{BB962C8B-B14F-4D97-AF65-F5344CB8AC3E}">
        <p14:creationId xmlns:p14="http://schemas.microsoft.com/office/powerpoint/2010/main" val="4272933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3_Custom Layout">
    <p:spTree>
      <p:nvGrpSpPr>
        <p:cNvPr id="1" name=""/>
        <p:cNvGrpSpPr/>
        <p:nvPr/>
      </p:nvGrpSpPr>
      <p:grpSpPr>
        <a:xfrm>
          <a:off x="0" y="0"/>
          <a:ext cx="0" cy="0"/>
          <a:chOff x="0" y="0"/>
          <a:chExt cx="0" cy="0"/>
        </a:xfrm>
      </p:grpSpPr>
      <p:sp>
        <p:nvSpPr>
          <p:cNvPr id="4" name="Picture Placeholder 11"/>
          <p:cNvSpPr>
            <a:spLocks noGrp="1"/>
          </p:cNvSpPr>
          <p:nvPr>
            <p:ph type="pic" sz="quarter" idx="10"/>
          </p:nvPr>
        </p:nvSpPr>
        <p:spPr>
          <a:xfrm>
            <a:off x="2560366" y="433387"/>
            <a:ext cx="9498284" cy="5991225"/>
          </a:xfrm>
          <a:custGeom>
            <a:avLst/>
            <a:gdLst>
              <a:gd name="connsiteX0" fmla="*/ 1123950 w 8667750"/>
              <a:gd name="connsiteY0" fmla="*/ 3867150 h 5467350"/>
              <a:gd name="connsiteX1" fmla="*/ 4933950 w 8667750"/>
              <a:gd name="connsiteY1" fmla="*/ 3867150 h 5467350"/>
              <a:gd name="connsiteX2" fmla="*/ 4933950 w 8667750"/>
              <a:gd name="connsiteY2" fmla="*/ 5467350 h 5467350"/>
              <a:gd name="connsiteX3" fmla="*/ 1123950 w 8667750"/>
              <a:gd name="connsiteY3" fmla="*/ 5467350 h 5467350"/>
              <a:gd name="connsiteX4" fmla="*/ 5181600 w 8667750"/>
              <a:gd name="connsiteY4" fmla="*/ 2038350 h 5467350"/>
              <a:gd name="connsiteX5" fmla="*/ 7524750 w 8667750"/>
              <a:gd name="connsiteY5" fmla="*/ 2038350 h 5467350"/>
              <a:gd name="connsiteX6" fmla="*/ 7524750 w 8667750"/>
              <a:gd name="connsiteY6" fmla="*/ 5467350 h 5467350"/>
              <a:gd name="connsiteX7" fmla="*/ 5181600 w 8667750"/>
              <a:gd name="connsiteY7" fmla="*/ 5467350 h 5467350"/>
              <a:gd name="connsiteX8" fmla="*/ 0 w 8667750"/>
              <a:gd name="connsiteY8" fmla="*/ 1409700 h 5467350"/>
              <a:gd name="connsiteX9" fmla="*/ 2343150 w 8667750"/>
              <a:gd name="connsiteY9" fmla="*/ 1409700 h 5467350"/>
              <a:gd name="connsiteX10" fmla="*/ 2343150 w 8667750"/>
              <a:gd name="connsiteY10" fmla="*/ 3695700 h 5467350"/>
              <a:gd name="connsiteX11" fmla="*/ 0 w 8667750"/>
              <a:gd name="connsiteY11" fmla="*/ 3695700 h 5467350"/>
              <a:gd name="connsiteX12" fmla="*/ 5181600 w 8667750"/>
              <a:gd name="connsiteY12" fmla="*/ 19050 h 5467350"/>
              <a:gd name="connsiteX13" fmla="*/ 8667750 w 8667750"/>
              <a:gd name="connsiteY13" fmla="*/ 19050 h 5467350"/>
              <a:gd name="connsiteX14" fmla="*/ 8667750 w 8667750"/>
              <a:gd name="connsiteY14" fmla="*/ 1828800 h 5467350"/>
              <a:gd name="connsiteX15" fmla="*/ 5181600 w 8667750"/>
              <a:gd name="connsiteY15" fmla="*/ 1828800 h 5467350"/>
              <a:gd name="connsiteX16" fmla="*/ 2590800 w 8667750"/>
              <a:gd name="connsiteY16" fmla="*/ 0 h 5467350"/>
              <a:gd name="connsiteX17" fmla="*/ 4933950 w 8667750"/>
              <a:gd name="connsiteY17" fmla="*/ 0 h 5467350"/>
              <a:gd name="connsiteX18" fmla="*/ 4933950 w 8667750"/>
              <a:gd name="connsiteY18" fmla="*/ 3695700 h 5467350"/>
              <a:gd name="connsiteX19" fmla="*/ 2590800 w 8667750"/>
              <a:gd name="connsiteY19" fmla="*/ 3695700 h 546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667750" h="5467350">
                <a:moveTo>
                  <a:pt x="1123950" y="3867150"/>
                </a:moveTo>
                <a:lnTo>
                  <a:pt x="4933950" y="3867150"/>
                </a:lnTo>
                <a:lnTo>
                  <a:pt x="4933950" y="5467350"/>
                </a:lnTo>
                <a:lnTo>
                  <a:pt x="1123950" y="5467350"/>
                </a:lnTo>
                <a:close/>
                <a:moveTo>
                  <a:pt x="5181600" y="2038350"/>
                </a:moveTo>
                <a:lnTo>
                  <a:pt x="7524750" y="2038350"/>
                </a:lnTo>
                <a:lnTo>
                  <a:pt x="7524750" y="5467350"/>
                </a:lnTo>
                <a:lnTo>
                  <a:pt x="5181600" y="5467350"/>
                </a:lnTo>
                <a:close/>
                <a:moveTo>
                  <a:pt x="0" y="1409700"/>
                </a:moveTo>
                <a:lnTo>
                  <a:pt x="2343150" y="1409700"/>
                </a:lnTo>
                <a:lnTo>
                  <a:pt x="2343150" y="3695700"/>
                </a:lnTo>
                <a:lnTo>
                  <a:pt x="0" y="3695700"/>
                </a:lnTo>
                <a:close/>
                <a:moveTo>
                  <a:pt x="5181600" y="19050"/>
                </a:moveTo>
                <a:lnTo>
                  <a:pt x="8667750" y="19050"/>
                </a:lnTo>
                <a:lnTo>
                  <a:pt x="8667750" y="1828800"/>
                </a:lnTo>
                <a:lnTo>
                  <a:pt x="5181600" y="1828800"/>
                </a:lnTo>
                <a:close/>
                <a:moveTo>
                  <a:pt x="2590800" y="0"/>
                </a:moveTo>
                <a:lnTo>
                  <a:pt x="4933950" y="0"/>
                </a:lnTo>
                <a:lnTo>
                  <a:pt x="4933950" y="3695700"/>
                </a:lnTo>
                <a:lnTo>
                  <a:pt x="2590800" y="3695700"/>
                </a:lnTo>
                <a:close/>
              </a:path>
            </a:pathLst>
          </a:custGeom>
        </p:spPr>
        <p:txBody>
          <a:bodyPr wrap="square">
            <a:noAutofit/>
          </a:bodyPr>
          <a:lstStyle/>
          <a:p>
            <a:endParaRPr lang="en-US"/>
          </a:p>
        </p:txBody>
      </p:sp>
    </p:spTree>
    <p:extLst>
      <p:ext uri="{BB962C8B-B14F-4D97-AF65-F5344CB8AC3E}">
        <p14:creationId xmlns:p14="http://schemas.microsoft.com/office/powerpoint/2010/main" val="3118920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2_Custom Layout">
    <p:spTree>
      <p:nvGrpSpPr>
        <p:cNvPr id="1" name=""/>
        <p:cNvGrpSpPr/>
        <p:nvPr/>
      </p:nvGrpSpPr>
      <p:grpSpPr>
        <a:xfrm>
          <a:off x="0" y="0"/>
          <a:ext cx="0" cy="0"/>
          <a:chOff x="0" y="0"/>
          <a:chExt cx="0" cy="0"/>
        </a:xfrm>
      </p:grpSpPr>
      <p:sp>
        <p:nvSpPr>
          <p:cNvPr id="3" name="Picture Placeholder 20"/>
          <p:cNvSpPr>
            <a:spLocks noGrp="1"/>
          </p:cNvSpPr>
          <p:nvPr>
            <p:ph type="pic" sz="quarter" idx="10"/>
          </p:nvPr>
        </p:nvSpPr>
        <p:spPr>
          <a:xfrm>
            <a:off x="114300" y="95252"/>
            <a:ext cx="8915400" cy="6667499"/>
          </a:xfrm>
          <a:custGeom>
            <a:avLst/>
            <a:gdLst>
              <a:gd name="connsiteX0" fmla="*/ 6743700 w 8915400"/>
              <a:gd name="connsiteY0" fmla="*/ 4495799 h 6667499"/>
              <a:gd name="connsiteX1" fmla="*/ 8915400 w 8915400"/>
              <a:gd name="connsiteY1" fmla="*/ 4495799 h 6667499"/>
              <a:gd name="connsiteX2" fmla="*/ 8915400 w 8915400"/>
              <a:gd name="connsiteY2" fmla="*/ 6667499 h 6667499"/>
              <a:gd name="connsiteX3" fmla="*/ 6743700 w 8915400"/>
              <a:gd name="connsiteY3" fmla="*/ 6667499 h 6667499"/>
              <a:gd name="connsiteX4" fmla="*/ 2247900 w 8915400"/>
              <a:gd name="connsiteY4" fmla="*/ 4495799 h 6667499"/>
              <a:gd name="connsiteX5" fmla="*/ 4419600 w 8915400"/>
              <a:gd name="connsiteY5" fmla="*/ 4495799 h 6667499"/>
              <a:gd name="connsiteX6" fmla="*/ 4419600 w 8915400"/>
              <a:gd name="connsiteY6" fmla="*/ 6667499 h 6667499"/>
              <a:gd name="connsiteX7" fmla="*/ 2247900 w 8915400"/>
              <a:gd name="connsiteY7" fmla="*/ 6667499 h 6667499"/>
              <a:gd name="connsiteX8" fmla="*/ 0 w 8915400"/>
              <a:gd name="connsiteY8" fmla="*/ 4495799 h 6667499"/>
              <a:gd name="connsiteX9" fmla="*/ 2171700 w 8915400"/>
              <a:gd name="connsiteY9" fmla="*/ 4495799 h 6667499"/>
              <a:gd name="connsiteX10" fmla="*/ 2171700 w 8915400"/>
              <a:gd name="connsiteY10" fmla="*/ 6667499 h 6667499"/>
              <a:gd name="connsiteX11" fmla="*/ 0 w 8915400"/>
              <a:gd name="connsiteY11" fmla="*/ 6667499 h 6667499"/>
              <a:gd name="connsiteX12" fmla="*/ 4495800 w 8915400"/>
              <a:gd name="connsiteY12" fmla="*/ 4476749 h 6667499"/>
              <a:gd name="connsiteX13" fmla="*/ 6667500 w 8915400"/>
              <a:gd name="connsiteY13" fmla="*/ 4476749 h 6667499"/>
              <a:gd name="connsiteX14" fmla="*/ 6667500 w 8915400"/>
              <a:gd name="connsiteY14" fmla="*/ 6648449 h 6667499"/>
              <a:gd name="connsiteX15" fmla="*/ 4495800 w 8915400"/>
              <a:gd name="connsiteY15" fmla="*/ 6648449 h 6667499"/>
              <a:gd name="connsiteX16" fmla="*/ 6743700 w 8915400"/>
              <a:gd name="connsiteY16" fmla="*/ 2257424 h 6667499"/>
              <a:gd name="connsiteX17" fmla="*/ 8915400 w 8915400"/>
              <a:gd name="connsiteY17" fmla="*/ 2257424 h 6667499"/>
              <a:gd name="connsiteX18" fmla="*/ 8915400 w 8915400"/>
              <a:gd name="connsiteY18" fmla="*/ 4429124 h 6667499"/>
              <a:gd name="connsiteX19" fmla="*/ 6743700 w 8915400"/>
              <a:gd name="connsiteY19" fmla="*/ 4429124 h 6667499"/>
              <a:gd name="connsiteX20" fmla="*/ 2247900 w 8915400"/>
              <a:gd name="connsiteY20" fmla="*/ 2257424 h 6667499"/>
              <a:gd name="connsiteX21" fmla="*/ 4419600 w 8915400"/>
              <a:gd name="connsiteY21" fmla="*/ 2257424 h 6667499"/>
              <a:gd name="connsiteX22" fmla="*/ 4419600 w 8915400"/>
              <a:gd name="connsiteY22" fmla="*/ 4429124 h 6667499"/>
              <a:gd name="connsiteX23" fmla="*/ 2247900 w 8915400"/>
              <a:gd name="connsiteY23" fmla="*/ 4429124 h 6667499"/>
              <a:gd name="connsiteX24" fmla="*/ 0 w 8915400"/>
              <a:gd name="connsiteY24" fmla="*/ 2257424 h 6667499"/>
              <a:gd name="connsiteX25" fmla="*/ 2171700 w 8915400"/>
              <a:gd name="connsiteY25" fmla="*/ 2257424 h 6667499"/>
              <a:gd name="connsiteX26" fmla="*/ 2171700 w 8915400"/>
              <a:gd name="connsiteY26" fmla="*/ 4429124 h 6667499"/>
              <a:gd name="connsiteX27" fmla="*/ 0 w 8915400"/>
              <a:gd name="connsiteY27" fmla="*/ 4429124 h 6667499"/>
              <a:gd name="connsiteX28" fmla="*/ 4495800 w 8915400"/>
              <a:gd name="connsiteY28" fmla="*/ 2238374 h 6667499"/>
              <a:gd name="connsiteX29" fmla="*/ 6667500 w 8915400"/>
              <a:gd name="connsiteY29" fmla="*/ 2238374 h 6667499"/>
              <a:gd name="connsiteX30" fmla="*/ 6667500 w 8915400"/>
              <a:gd name="connsiteY30" fmla="*/ 4410074 h 6667499"/>
              <a:gd name="connsiteX31" fmla="*/ 4495800 w 8915400"/>
              <a:gd name="connsiteY31" fmla="*/ 4410074 h 6667499"/>
              <a:gd name="connsiteX32" fmla="*/ 6743700 w 8915400"/>
              <a:gd name="connsiteY32" fmla="*/ 19050 h 6667499"/>
              <a:gd name="connsiteX33" fmla="*/ 8915400 w 8915400"/>
              <a:gd name="connsiteY33" fmla="*/ 19050 h 6667499"/>
              <a:gd name="connsiteX34" fmla="*/ 8915400 w 8915400"/>
              <a:gd name="connsiteY34" fmla="*/ 2190749 h 6667499"/>
              <a:gd name="connsiteX35" fmla="*/ 6743700 w 8915400"/>
              <a:gd name="connsiteY35" fmla="*/ 2190749 h 6667499"/>
              <a:gd name="connsiteX36" fmla="*/ 2247900 w 8915400"/>
              <a:gd name="connsiteY36" fmla="*/ 19050 h 6667499"/>
              <a:gd name="connsiteX37" fmla="*/ 4419600 w 8915400"/>
              <a:gd name="connsiteY37" fmla="*/ 19050 h 6667499"/>
              <a:gd name="connsiteX38" fmla="*/ 4419600 w 8915400"/>
              <a:gd name="connsiteY38" fmla="*/ 2190749 h 6667499"/>
              <a:gd name="connsiteX39" fmla="*/ 2247900 w 8915400"/>
              <a:gd name="connsiteY39" fmla="*/ 2190749 h 6667499"/>
              <a:gd name="connsiteX40" fmla="*/ 0 w 8915400"/>
              <a:gd name="connsiteY40" fmla="*/ 19050 h 6667499"/>
              <a:gd name="connsiteX41" fmla="*/ 2171700 w 8915400"/>
              <a:gd name="connsiteY41" fmla="*/ 19050 h 6667499"/>
              <a:gd name="connsiteX42" fmla="*/ 2171700 w 8915400"/>
              <a:gd name="connsiteY42" fmla="*/ 2190749 h 6667499"/>
              <a:gd name="connsiteX43" fmla="*/ 0 w 8915400"/>
              <a:gd name="connsiteY43" fmla="*/ 2190749 h 6667499"/>
              <a:gd name="connsiteX44" fmla="*/ 4495800 w 8915400"/>
              <a:gd name="connsiteY44" fmla="*/ 0 h 6667499"/>
              <a:gd name="connsiteX45" fmla="*/ 6667500 w 8915400"/>
              <a:gd name="connsiteY45" fmla="*/ 0 h 6667499"/>
              <a:gd name="connsiteX46" fmla="*/ 6667500 w 8915400"/>
              <a:gd name="connsiteY46" fmla="*/ 2171699 h 6667499"/>
              <a:gd name="connsiteX47" fmla="*/ 4495800 w 8915400"/>
              <a:gd name="connsiteY47" fmla="*/ 2171699 h 666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8915400" h="6667499">
                <a:moveTo>
                  <a:pt x="6743700" y="4495799"/>
                </a:moveTo>
                <a:lnTo>
                  <a:pt x="8915400" y="4495799"/>
                </a:lnTo>
                <a:lnTo>
                  <a:pt x="8915400" y="6667499"/>
                </a:lnTo>
                <a:lnTo>
                  <a:pt x="6743700" y="6667499"/>
                </a:lnTo>
                <a:close/>
                <a:moveTo>
                  <a:pt x="2247900" y="4495799"/>
                </a:moveTo>
                <a:lnTo>
                  <a:pt x="4419600" y="4495799"/>
                </a:lnTo>
                <a:lnTo>
                  <a:pt x="4419600" y="6667499"/>
                </a:lnTo>
                <a:lnTo>
                  <a:pt x="2247900" y="6667499"/>
                </a:lnTo>
                <a:close/>
                <a:moveTo>
                  <a:pt x="0" y="4495799"/>
                </a:moveTo>
                <a:lnTo>
                  <a:pt x="2171700" y="4495799"/>
                </a:lnTo>
                <a:lnTo>
                  <a:pt x="2171700" y="6667499"/>
                </a:lnTo>
                <a:lnTo>
                  <a:pt x="0" y="6667499"/>
                </a:lnTo>
                <a:close/>
                <a:moveTo>
                  <a:pt x="4495800" y="4476749"/>
                </a:moveTo>
                <a:lnTo>
                  <a:pt x="6667500" y="4476749"/>
                </a:lnTo>
                <a:lnTo>
                  <a:pt x="6667500" y="6648449"/>
                </a:lnTo>
                <a:lnTo>
                  <a:pt x="4495800" y="6648449"/>
                </a:lnTo>
                <a:close/>
                <a:moveTo>
                  <a:pt x="6743700" y="2257424"/>
                </a:moveTo>
                <a:lnTo>
                  <a:pt x="8915400" y="2257424"/>
                </a:lnTo>
                <a:lnTo>
                  <a:pt x="8915400" y="4429124"/>
                </a:lnTo>
                <a:lnTo>
                  <a:pt x="6743700" y="4429124"/>
                </a:lnTo>
                <a:close/>
                <a:moveTo>
                  <a:pt x="2247900" y="2257424"/>
                </a:moveTo>
                <a:lnTo>
                  <a:pt x="4419600" y="2257424"/>
                </a:lnTo>
                <a:lnTo>
                  <a:pt x="4419600" y="4429124"/>
                </a:lnTo>
                <a:lnTo>
                  <a:pt x="2247900" y="4429124"/>
                </a:lnTo>
                <a:close/>
                <a:moveTo>
                  <a:pt x="0" y="2257424"/>
                </a:moveTo>
                <a:lnTo>
                  <a:pt x="2171700" y="2257424"/>
                </a:lnTo>
                <a:lnTo>
                  <a:pt x="2171700" y="4429124"/>
                </a:lnTo>
                <a:lnTo>
                  <a:pt x="0" y="4429124"/>
                </a:lnTo>
                <a:close/>
                <a:moveTo>
                  <a:pt x="4495800" y="2238374"/>
                </a:moveTo>
                <a:lnTo>
                  <a:pt x="6667500" y="2238374"/>
                </a:lnTo>
                <a:lnTo>
                  <a:pt x="6667500" y="4410074"/>
                </a:lnTo>
                <a:lnTo>
                  <a:pt x="4495800" y="4410074"/>
                </a:lnTo>
                <a:close/>
                <a:moveTo>
                  <a:pt x="6743700" y="19050"/>
                </a:moveTo>
                <a:lnTo>
                  <a:pt x="8915400" y="19050"/>
                </a:lnTo>
                <a:lnTo>
                  <a:pt x="8915400" y="2190749"/>
                </a:lnTo>
                <a:lnTo>
                  <a:pt x="6743700" y="2190749"/>
                </a:lnTo>
                <a:close/>
                <a:moveTo>
                  <a:pt x="2247900" y="19050"/>
                </a:moveTo>
                <a:lnTo>
                  <a:pt x="4419600" y="19050"/>
                </a:lnTo>
                <a:lnTo>
                  <a:pt x="4419600" y="2190749"/>
                </a:lnTo>
                <a:lnTo>
                  <a:pt x="2247900" y="2190749"/>
                </a:lnTo>
                <a:close/>
                <a:moveTo>
                  <a:pt x="0" y="19050"/>
                </a:moveTo>
                <a:lnTo>
                  <a:pt x="2171700" y="19050"/>
                </a:lnTo>
                <a:lnTo>
                  <a:pt x="2171700" y="2190749"/>
                </a:lnTo>
                <a:lnTo>
                  <a:pt x="0" y="2190749"/>
                </a:lnTo>
                <a:close/>
                <a:moveTo>
                  <a:pt x="4495800" y="0"/>
                </a:moveTo>
                <a:lnTo>
                  <a:pt x="6667500" y="0"/>
                </a:lnTo>
                <a:lnTo>
                  <a:pt x="6667500" y="2171699"/>
                </a:lnTo>
                <a:lnTo>
                  <a:pt x="4495800" y="2171699"/>
                </a:lnTo>
                <a:close/>
              </a:path>
            </a:pathLst>
          </a:custGeom>
        </p:spPr>
        <p:txBody>
          <a:bodyPr wrap="square">
            <a:noAutofit/>
          </a:bodyPr>
          <a:lstStyle/>
          <a:p>
            <a:endParaRPr lang="en-US"/>
          </a:p>
        </p:txBody>
      </p:sp>
    </p:spTree>
    <p:extLst>
      <p:ext uri="{BB962C8B-B14F-4D97-AF65-F5344CB8AC3E}">
        <p14:creationId xmlns:p14="http://schemas.microsoft.com/office/powerpoint/2010/main" val="153502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1_Custom Layout">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0" y="652463"/>
            <a:ext cx="5675313" cy="5530850"/>
          </a:xfrm>
          <a:prstGeom prst="rect">
            <a:avLst/>
          </a:prstGeom>
        </p:spPr>
        <p:txBody>
          <a:bodyPr/>
          <a:lstStyle/>
          <a:p>
            <a:endParaRPr lang="en-US"/>
          </a:p>
        </p:txBody>
      </p:sp>
      <p:sp>
        <p:nvSpPr>
          <p:cNvPr id="4" name="Picture Placeholder 5"/>
          <p:cNvSpPr>
            <a:spLocks noGrp="1"/>
          </p:cNvSpPr>
          <p:nvPr>
            <p:ph type="pic" sz="quarter" idx="11"/>
          </p:nvPr>
        </p:nvSpPr>
        <p:spPr>
          <a:xfrm>
            <a:off x="5675313" y="668338"/>
            <a:ext cx="2684462" cy="2760662"/>
          </a:xfrm>
          <a:prstGeom prst="rect">
            <a:avLst/>
          </a:prstGeom>
        </p:spPr>
        <p:txBody>
          <a:bodyPr/>
          <a:lstStyle/>
          <a:p>
            <a:endParaRPr lang="en-US"/>
          </a:p>
        </p:txBody>
      </p:sp>
      <p:sp>
        <p:nvSpPr>
          <p:cNvPr id="5" name="Picture Placeholder 5"/>
          <p:cNvSpPr>
            <a:spLocks noGrp="1"/>
          </p:cNvSpPr>
          <p:nvPr>
            <p:ph type="pic" sz="quarter" idx="12"/>
          </p:nvPr>
        </p:nvSpPr>
        <p:spPr>
          <a:xfrm>
            <a:off x="5675313" y="3444875"/>
            <a:ext cx="2684462" cy="2760662"/>
          </a:xfrm>
          <a:prstGeom prst="rect">
            <a:avLst/>
          </a:prstGeom>
        </p:spPr>
        <p:txBody>
          <a:bodyPr/>
          <a:lstStyle/>
          <a:p>
            <a:endParaRPr lang="en-US"/>
          </a:p>
        </p:txBody>
      </p:sp>
      <p:sp>
        <p:nvSpPr>
          <p:cNvPr id="6" name="Picture Placeholder 8"/>
          <p:cNvSpPr>
            <a:spLocks noGrp="1"/>
          </p:cNvSpPr>
          <p:nvPr>
            <p:ph type="pic" sz="quarter" idx="13"/>
          </p:nvPr>
        </p:nvSpPr>
        <p:spPr>
          <a:xfrm>
            <a:off x="8359775" y="668338"/>
            <a:ext cx="3832225" cy="5553075"/>
          </a:xfrm>
          <a:prstGeom prst="rect">
            <a:avLst/>
          </a:prstGeom>
        </p:spPr>
        <p:txBody>
          <a:bodyPr/>
          <a:lstStyle/>
          <a:p>
            <a:endParaRPr lang="en-US"/>
          </a:p>
        </p:txBody>
      </p:sp>
    </p:spTree>
    <p:extLst>
      <p:ext uri="{BB962C8B-B14F-4D97-AF65-F5344CB8AC3E}">
        <p14:creationId xmlns:p14="http://schemas.microsoft.com/office/powerpoint/2010/main" val="4197504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4_Custom Layout">
    <p:spTree>
      <p:nvGrpSpPr>
        <p:cNvPr id="1" name=""/>
        <p:cNvGrpSpPr/>
        <p:nvPr/>
      </p:nvGrpSpPr>
      <p:grpSpPr>
        <a:xfrm>
          <a:off x="0" y="0"/>
          <a:ext cx="0" cy="0"/>
          <a:chOff x="0" y="0"/>
          <a:chExt cx="0" cy="0"/>
        </a:xfrm>
      </p:grpSpPr>
      <p:sp>
        <p:nvSpPr>
          <p:cNvPr id="3" name="Freeform 2"/>
          <p:cNvSpPr>
            <a:spLocks noGrp="1"/>
          </p:cNvSpPr>
          <p:nvPr>
            <p:ph type="pic" sz="quarter" idx="10"/>
          </p:nvPr>
        </p:nvSpPr>
        <p:spPr>
          <a:xfrm>
            <a:off x="1968285" y="1197243"/>
            <a:ext cx="1813302" cy="1813302"/>
          </a:xfrm>
          <a:custGeom>
            <a:avLst/>
            <a:gdLst>
              <a:gd name="connsiteX0" fmla="*/ 906651 w 1813302"/>
              <a:gd name="connsiteY0" fmla="*/ 0 h 1813302"/>
              <a:gd name="connsiteX1" fmla="*/ 1813302 w 1813302"/>
              <a:gd name="connsiteY1" fmla="*/ 906651 h 1813302"/>
              <a:gd name="connsiteX2" fmla="*/ 906651 w 1813302"/>
              <a:gd name="connsiteY2" fmla="*/ 1813302 h 1813302"/>
              <a:gd name="connsiteX3" fmla="*/ 0 w 1813302"/>
              <a:gd name="connsiteY3" fmla="*/ 906651 h 1813302"/>
              <a:gd name="connsiteX4" fmla="*/ 906651 w 1813302"/>
              <a:gd name="connsiteY4" fmla="*/ 0 h 1813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3302" h="1813302">
                <a:moveTo>
                  <a:pt x="906651" y="0"/>
                </a:moveTo>
                <a:cubicBezTo>
                  <a:pt x="1407381" y="0"/>
                  <a:pt x="1813302" y="405921"/>
                  <a:pt x="1813302" y="906651"/>
                </a:cubicBezTo>
                <a:cubicBezTo>
                  <a:pt x="1813302" y="1407381"/>
                  <a:pt x="1407381" y="1813302"/>
                  <a:pt x="906651" y="1813302"/>
                </a:cubicBezTo>
                <a:cubicBezTo>
                  <a:pt x="405921" y="1813302"/>
                  <a:pt x="0" y="1407381"/>
                  <a:pt x="0" y="906651"/>
                </a:cubicBezTo>
                <a:cubicBezTo>
                  <a:pt x="0" y="405921"/>
                  <a:pt x="405921" y="0"/>
                  <a:pt x="906651" y="0"/>
                </a:cubicBezTo>
                <a:close/>
              </a:path>
            </a:pathLst>
          </a:custGeom>
        </p:spPr>
        <p:txBody>
          <a:bodyPr wrap="square">
            <a:noAutofit/>
          </a:bodyPr>
          <a:lstStyle/>
          <a:p>
            <a:endParaRPr lang="en-US"/>
          </a:p>
        </p:txBody>
      </p:sp>
      <p:sp>
        <p:nvSpPr>
          <p:cNvPr id="4" name="Freeform 3"/>
          <p:cNvSpPr>
            <a:spLocks noGrp="1"/>
          </p:cNvSpPr>
          <p:nvPr>
            <p:ph type="pic" sz="quarter" idx="11"/>
          </p:nvPr>
        </p:nvSpPr>
        <p:spPr>
          <a:xfrm>
            <a:off x="8400081" y="1197243"/>
            <a:ext cx="1813302" cy="1813302"/>
          </a:xfrm>
          <a:custGeom>
            <a:avLst/>
            <a:gdLst>
              <a:gd name="connsiteX0" fmla="*/ 906651 w 1813302"/>
              <a:gd name="connsiteY0" fmla="*/ 0 h 1813302"/>
              <a:gd name="connsiteX1" fmla="*/ 1813302 w 1813302"/>
              <a:gd name="connsiteY1" fmla="*/ 906651 h 1813302"/>
              <a:gd name="connsiteX2" fmla="*/ 906651 w 1813302"/>
              <a:gd name="connsiteY2" fmla="*/ 1813302 h 1813302"/>
              <a:gd name="connsiteX3" fmla="*/ 0 w 1813302"/>
              <a:gd name="connsiteY3" fmla="*/ 906651 h 1813302"/>
              <a:gd name="connsiteX4" fmla="*/ 906651 w 1813302"/>
              <a:gd name="connsiteY4" fmla="*/ 0 h 1813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3302" h="1813302">
                <a:moveTo>
                  <a:pt x="906651" y="0"/>
                </a:moveTo>
                <a:cubicBezTo>
                  <a:pt x="1407381" y="0"/>
                  <a:pt x="1813302" y="405921"/>
                  <a:pt x="1813302" y="906651"/>
                </a:cubicBezTo>
                <a:cubicBezTo>
                  <a:pt x="1813302" y="1407381"/>
                  <a:pt x="1407381" y="1813302"/>
                  <a:pt x="906651" y="1813302"/>
                </a:cubicBezTo>
                <a:cubicBezTo>
                  <a:pt x="405921" y="1813302"/>
                  <a:pt x="0" y="1407381"/>
                  <a:pt x="0" y="906651"/>
                </a:cubicBezTo>
                <a:cubicBezTo>
                  <a:pt x="0" y="405921"/>
                  <a:pt x="405921" y="0"/>
                  <a:pt x="906651"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980613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4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581150"/>
            <a:ext cx="12192000" cy="3714750"/>
          </a:xfrm>
          <a:prstGeom prst="rect">
            <a:avLst/>
          </a:prstGeom>
        </p:spPr>
        <p:txBody>
          <a:bodyPr/>
          <a:lstStyle/>
          <a:p>
            <a:endParaRPr lang="en-US"/>
          </a:p>
        </p:txBody>
      </p:sp>
    </p:spTree>
    <p:extLst>
      <p:ext uri="{BB962C8B-B14F-4D97-AF65-F5344CB8AC3E}">
        <p14:creationId xmlns:p14="http://schemas.microsoft.com/office/powerpoint/2010/main" val="1882992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5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590550" y="704850"/>
            <a:ext cx="3714750" cy="5467350"/>
          </a:xfrm>
          <a:prstGeom prst="rect">
            <a:avLst/>
          </a:prstGeom>
        </p:spPr>
        <p:txBody>
          <a:bodyPr/>
          <a:lstStyle/>
          <a:p>
            <a:endParaRPr lang="en-US"/>
          </a:p>
        </p:txBody>
      </p:sp>
      <p:sp>
        <p:nvSpPr>
          <p:cNvPr id="6" name="Picture Placeholder 5"/>
          <p:cNvSpPr>
            <a:spLocks noGrp="1"/>
          </p:cNvSpPr>
          <p:nvPr>
            <p:ph type="pic" sz="quarter" idx="11"/>
          </p:nvPr>
        </p:nvSpPr>
        <p:spPr>
          <a:xfrm>
            <a:off x="4476750" y="685800"/>
            <a:ext cx="7162800" cy="1828800"/>
          </a:xfrm>
          <a:prstGeom prst="rect">
            <a:avLst/>
          </a:prstGeom>
        </p:spPr>
        <p:txBody>
          <a:bodyPr/>
          <a:lstStyle/>
          <a:p>
            <a:endParaRPr lang="en-US"/>
          </a:p>
        </p:txBody>
      </p:sp>
      <p:sp>
        <p:nvSpPr>
          <p:cNvPr id="8" name="Picture Placeholder 7"/>
          <p:cNvSpPr>
            <a:spLocks noGrp="1"/>
          </p:cNvSpPr>
          <p:nvPr>
            <p:ph type="pic" sz="quarter" idx="12"/>
          </p:nvPr>
        </p:nvSpPr>
        <p:spPr>
          <a:xfrm>
            <a:off x="4476750" y="2667000"/>
            <a:ext cx="3486150" cy="2247900"/>
          </a:xfrm>
          <a:prstGeom prst="rect">
            <a:avLst/>
          </a:prstGeom>
        </p:spPr>
        <p:txBody>
          <a:bodyPr/>
          <a:lstStyle/>
          <a:p>
            <a:endParaRPr lang="en-US"/>
          </a:p>
        </p:txBody>
      </p:sp>
      <p:sp>
        <p:nvSpPr>
          <p:cNvPr id="11" name="Picture Placeholder 7"/>
          <p:cNvSpPr>
            <a:spLocks noGrp="1"/>
          </p:cNvSpPr>
          <p:nvPr>
            <p:ph type="pic" sz="quarter" idx="13"/>
          </p:nvPr>
        </p:nvSpPr>
        <p:spPr>
          <a:xfrm>
            <a:off x="8153400" y="2667000"/>
            <a:ext cx="3486150" cy="2247900"/>
          </a:xfrm>
          <a:prstGeom prst="rect">
            <a:avLst/>
          </a:prstGeom>
        </p:spPr>
        <p:txBody>
          <a:bodyPr/>
          <a:lstStyle/>
          <a:p>
            <a:endParaRPr lang="en-US"/>
          </a:p>
        </p:txBody>
      </p:sp>
    </p:spTree>
    <p:extLst>
      <p:ext uri="{BB962C8B-B14F-4D97-AF65-F5344CB8AC3E}">
        <p14:creationId xmlns:p14="http://schemas.microsoft.com/office/powerpoint/2010/main" val="224165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6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524000" y="666750"/>
            <a:ext cx="4572000" cy="6191250"/>
          </a:xfrm>
          <a:prstGeom prst="rect">
            <a:avLst/>
          </a:prstGeom>
        </p:spPr>
        <p:txBody>
          <a:bodyPr/>
          <a:lstStyle/>
          <a:p>
            <a:endParaRPr lang="en-US"/>
          </a:p>
        </p:txBody>
      </p:sp>
      <p:sp>
        <p:nvSpPr>
          <p:cNvPr id="6" name="Picture Placeholder 5"/>
          <p:cNvSpPr>
            <a:spLocks noGrp="1"/>
          </p:cNvSpPr>
          <p:nvPr>
            <p:ph type="pic" sz="quarter" idx="11"/>
          </p:nvPr>
        </p:nvSpPr>
        <p:spPr>
          <a:xfrm>
            <a:off x="6553200" y="666750"/>
            <a:ext cx="1866900" cy="1866900"/>
          </a:xfrm>
          <a:prstGeom prst="rect">
            <a:avLst/>
          </a:prstGeom>
        </p:spPr>
        <p:txBody>
          <a:bodyPr/>
          <a:lstStyle/>
          <a:p>
            <a:endParaRPr lang="en-US"/>
          </a:p>
        </p:txBody>
      </p:sp>
    </p:spTree>
    <p:extLst>
      <p:ext uri="{BB962C8B-B14F-4D97-AF65-F5344CB8AC3E}">
        <p14:creationId xmlns:p14="http://schemas.microsoft.com/office/powerpoint/2010/main" val="1606007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8_Custom Layout">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0" y="3429000"/>
            <a:ext cx="4305300" cy="3429000"/>
          </a:xfrm>
          <a:prstGeom prst="rect">
            <a:avLst/>
          </a:prstGeom>
        </p:spPr>
        <p:txBody>
          <a:bodyPr/>
          <a:lstStyle/>
          <a:p>
            <a:endParaRPr lang="en-US"/>
          </a:p>
        </p:txBody>
      </p:sp>
      <p:sp>
        <p:nvSpPr>
          <p:cNvPr id="4" name="Picture Placeholder 5"/>
          <p:cNvSpPr>
            <a:spLocks noGrp="1"/>
          </p:cNvSpPr>
          <p:nvPr>
            <p:ph type="pic" sz="quarter" idx="11"/>
          </p:nvPr>
        </p:nvSpPr>
        <p:spPr>
          <a:xfrm>
            <a:off x="4305300" y="0"/>
            <a:ext cx="7886700" cy="6858000"/>
          </a:xfrm>
          <a:prstGeom prst="rect">
            <a:avLst/>
          </a:prstGeom>
        </p:spPr>
        <p:txBody>
          <a:bodyPr/>
          <a:lstStyle/>
          <a:p>
            <a:endParaRPr lang="en-US"/>
          </a:p>
        </p:txBody>
      </p:sp>
    </p:spTree>
    <p:extLst>
      <p:ext uri="{BB962C8B-B14F-4D97-AF65-F5344CB8AC3E}">
        <p14:creationId xmlns:p14="http://schemas.microsoft.com/office/powerpoint/2010/main" val="2770847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0_Custom Layout">
    <p:spTree>
      <p:nvGrpSpPr>
        <p:cNvPr id="1" name=""/>
        <p:cNvGrpSpPr/>
        <p:nvPr/>
      </p:nvGrpSpPr>
      <p:grpSpPr>
        <a:xfrm>
          <a:off x="0" y="0"/>
          <a:ext cx="0" cy="0"/>
          <a:chOff x="0" y="0"/>
          <a:chExt cx="0" cy="0"/>
        </a:xfrm>
      </p:grpSpPr>
      <p:sp>
        <p:nvSpPr>
          <p:cNvPr id="3" name="Picture Placeholder 3"/>
          <p:cNvSpPr>
            <a:spLocks noGrp="1"/>
          </p:cNvSpPr>
          <p:nvPr>
            <p:ph type="pic" sz="quarter" idx="11"/>
          </p:nvPr>
        </p:nvSpPr>
        <p:spPr>
          <a:xfrm>
            <a:off x="8943473" y="419100"/>
            <a:ext cx="2610853" cy="3200400"/>
          </a:xfrm>
          <a:prstGeom prst="rect">
            <a:avLst/>
          </a:prstGeom>
        </p:spPr>
        <p:txBody>
          <a:bodyPr/>
          <a:lstStyle/>
          <a:p>
            <a:endParaRPr lang="en-US"/>
          </a:p>
        </p:txBody>
      </p:sp>
      <p:sp>
        <p:nvSpPr>
          <p:cNvPr id="4" name="Picture Placeholder 3"/>
          <p:cNvSpPr>
            <a:spLocks noGrp="1"/>
          </p:cNvSpPr>
          <p:nvPr>
            <p:ph type="pic" sz="quarter" idx="12"/>
          </p:nvPr>
        </p:nvSpPr>
        <p:spPr>
          <a:xfrm>
            <a:off x="4550944" y="3238500"/>
            <a:ext cx="2610853" cy="3200400"/>
          </a:xfrm>
          <a:prstGeom prst="rect">
            <a:avLst/>
          </a:prstGeom>
        </p:spPr>
        <p:txBody>
          <a:bodyPr/>
          <a:lstStyle/>
          <a:p>
            <a:endParaRPr lang="en-US"/>
          </a:p>
        </p:txBody>
      </p:sp>
      <p:sp>
        <p:nvSpPr>
          <p:cNvPr id="5" name="Picture Placeholder 3"/>
          <p:cNvSpPr>
            <a:spLocks noGrp="1"/>
          </p:cNvSpPr>
          <p:nvPr>
            <p:ph type="pic" sz="quarter" idx="10"/>
          </p:nvPr>
        </p:nvSpPr>
        <p:spPr>
          <a:xfrm>
            <a:off x="6229350" y="1257300"/>
            <a:ext cx="3543300" cy="4343400"/>
          </a:xfrm>
          <a:prstGeom prst="rect">
            <a:avLst/>
          </a:prstGeom>
        </p:spPr>
        <p:txBody>
          <a:bodyPr/>
          <a:lstStyle/>
          <a:p>
            <a:endParaRPr lang="en-US"/>
          </a:p>
        </p:txBody>
      </p:sp>
    </p:spTree>
    <p:extLst>
      <p:ext uri="{BB962C8B-B14F-4D97-AF65-F5344CB8AC3E}">
        <p14:creationId xmlns:p14="http://schemas.microsoft.com/office/powerpoint/2010/main" val="814262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1_Custom Layout">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0" y="3429000"/>
            <a:ext cx="6096000" cy="3429000"/>
          </a:xfrm>
          <a:prstGeom prst="rect">
            <a:avLst/>
          </a:prstGeom>
        </p:spPr>
        <p:txBody>
          <a:bodyPr/>
          <a:lstStyle/>
          <a:p>
            <a:endParaRPr lang="en-US"/>
          </a:p>
        </p:txBody>
      </p:sp>
      <p:sp>
        <p:nvSpPr>
          <p:cNvPr id="4" name="Picture Placeholder 3"/>
          <p:cNvSpPr>
            <a:spLocks noGrp="1"/>
          </p:cNvSpPr>
          <p:nvPr>
            <p:ph type="pic" sz="quarter" idx="11"/>
          </p:nvPr>
        </p:nvSpPr>
        <p:spPr>
          <a:xfrm>
            <a:off x="0" y="0"/>
            <a:ext cx="6096000" cy="3429000"/>
          </a:xfrm>
          <a:prstGeom prst="rect">
            <a:avLst/>
          </a:prstGeom>
        </p:spPr>
        <p:txBody>
          <a:bodyPr/>
          <a:lstStyle/>
          <a:p>
            <a:endParaRPr lang="en-US"/>
          </a:p>
        </p:txBody>
      </p:sp>
    </p:spTree>
    <p:extLst>
      <p:ext uri="{BB962C8B-B14F-4D97-AF65-F5344CB8AC3E}">
        <p14:creationId xmlns:p14="http://schemas.microsoft.com/office/powerpoint/2010/main" val="1286583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2" name="Picture Placeholder 3"/>
          <p:cNvSpPr>
            <a:spLocks noGrp="1"/>
          </p:cNvSpPr>
          <p:nvPr>
            <p:ph type="pic" sz="quarter" idx="10"/>
          </p:nvPr>
        </p:nvSpPr>
        <p:spPr>
          <a:xfrm>
            <a:off x="0" y="0"/>
            <a:ext cx="3429000" cy="6858000"/>
          </a:xfrm>
          <a:prstGeom prst="rect">
            <a:avLst/>
          </a:prstGeom>
        </p:spPr>
        <p:txBody>
          <a:bodyPr/>
          <a:lstStyle/>
          <a:p>
            <a:endParaRPr lang="en-US"/>
          </a:p>
        </p:txBody>
      </p:sp>
      <p:sp>
        <p:nvSpPr>
          <p:cNvPr id="13" name="Picture Placeholder 5"/>
          <p:cNvSpPr>
            <a:spLocks noGrp="1"/>
          </p:cNvSpPr>
          <p:nvPr>
            <p:ph type="pic" sz="quarter" idx="11"/>
          </p:nvPr>
        </p:nvSpPr>
        <p:spPr>
          <a:xfrm>
            <a:off x="3429000" y="3429000"/>
            <a:ext cx="3619500" cy="3429000"/>
          </a:xfrm>
          <a:prstGeom prst="rect">
            <a:avLst/>
          </a:prstGeom>
        </p:spPr>
        <p:txBody>
          <a:bodyPr/>
          <a:lstStyle/>
          <a:p>
            <a:endParaRPr lang="en-US"/>
          </a:p>
        </p:txBody>
      </p:sp>
      <p:sp>
        <p:nvSpPr>
          <p:cNvPr id="14" name="Picture Placeholder 5"/>
          <p:cNvSpPr>
            <a:spLocks noGrp="1"/>
          </p:cNvSpPr>
          <p:nvPr>
            <p:ph type="pic" sz="quarter" idx="12"/>
          </p:nvPr>
        </p:nvSpPr>
        <p:spPr>
          <a:xfrm>
            <a:off x="7048500" y="3429000"/>
            <a:ext cx="5143500" cy="3429000"/>
          </a:xfrm>
          <a:prstGeom prst="rect">
            <a:avLst/>
          </a:prstGeom>
        </p:spPr>
        <p:txBody>
          <a:bodyPr/>
          <a:lstStyle/>
          <a:p>
            <a:endParaRPr lang="en-US"/>
          </a:p>
        </p:txBody>
      </p:sp>
    </p:spTree>
    <p:extLst>
      <p:ext uri="{BB962C8B-B14F-4D97-AF65-F5344CB8AC3E}">
        <p14:creationId xmlns:p14="http://schemas.microsoft.com/office/powerpoint/2010/main" val="2851115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2_Custom Layout">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1524000" y="685800"/>
            <a:ext cx="4076700" cy="4591050"/>
          </a:xfrm>
          <a:prstGeom prst="rect">
            <a:avLst/>
          </a:prstGeom>
        </p:spPr>
        <p:txBody>
          <a:bodyPr/>
          <a:lstStyle/>
          <a:p>
            <a:endParaRPr lang="en-US"/>
          </a:p>
        </p:txBody>
      </p:sp>
      <p:sp>
        <p:nvSpPr>
          <p:cNvPr id="4" name="Picture Placeholder 3"/>
          <p:cNvSpPr>
            <a:spLocks noGrp="1"/>
          </p:cNvSpPr>
          <p:nvPr>
            <p:ph type="pic" sz="quarter" idx="11"/>
          </p:nvPr>
        </p:nvSpPr>
        <p:spPr>
          <a:xfrm>
            <a:off x="6610350" y="685800"/>
            <a:ext cx="4057650" cy="4591050"/>
          </a:xfrm>
          <a:prstGeom prst="rect">
            <a:avLst/>
          </a:prstGeom>
        </p:spPr>
        <p:txBody>
          <a:bodyPr/>
          <a:lstStyle/>
          <a:p>
            <a:endParaRPr lang="en-US"/>
          </a:p>
        </p:txBody>
      </p:sp>
    </p:spTree>
    <p:extLst>
      <p:ext uri="{BB962C8B-B14F-4D97-AF65-F5344CB8AC3E}">
        <p14:creationId xmlns:p14="http://schemas.microsoft.com/office/powerpoint/2010/main" val="3775002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3_Custom Layout">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0" y="1600200"/>
            <a:ext cx="2457450" cy="2362200"/>
          </a:xfrm>
          <a:prstGeom prst="rect">
            <a:avLst/>
          </a:prstGeom>
        </p:spPr>
        <p:txBody>
          <a:bodyPr/>
          <a:lstStyle/>
          <a:p>
            <a:endParaRPr lang="en-US"/>
          </a:p>
        </p:txBody>
      </p:sp>
      <p:sp>
        <p:nvSpPr>
          <p:cNvPr id="4" name="Picture Placeholder 3"/>
          <p:cNvSpPr>
            <a:spLocks noGrp="1"/>
          </p:cNvSpPr>
          <p:nvPr>
            <p:ph type="pic" sz="quarter" idx="11"/>
          </p:nvPr>
        </p:nvSpPr>
        <p:spPr>
          <a:xfrm>
            <a:off x="2628900" y="1600200"/>
            <a:ext cx="3733800" cy="2362200"/>
          </a:xfrm>
          <a:prstGeom prst="rect">
            <a:avLst/>
          </a:prstGeom>
        </p:spPr>
        <p:txBody>
          <a:bodyPr/>
          <a:lstStyle/>
          <a:p>
            <a:endParaRPr lang="en-US"/>
          </a:p>
        </p:txBody>
      </p:sp>
      <p:sp>
        <p:nvSpPr>
          <p:cNvPr id="5" name="Picture Placeholder 3"/>
          <p:cNvSpPr>
            <a:spLocks noGrp="1"/>
          </p:cNvSpPr>
          <p:nvPr>
            <p:ph type="pic" sz="quarter" idx="12"/>
          </p:nvPr>
        </p:nvSpPr>
        <p:spPr>
          <a:xfrm>
            <a:off x="6534150" y="1600200"/>
            <a:ext cx="4191000" cy="2362200"/>
          </a:xfrm>
          <a:prstGeom prst="rect">
            <a:avLst/>
          </a:prstGeom>
        </p:spPr>
        <p:txBody>
          <a:bodyPr/>
          <a:lstStyle/>
          <a:p>
            <a:endParaRPr lang="en-US"/>
          </a:p>
        </p:txBody>
      </p:sp>
      <p:sp>
        <p:nvSpPr>
          <p:cNvPr id="6" name="Picture Placeholder 3"/>
          <p:cNvSpPr>
            <a:spLocks noGrp="1"/>
          </p:cNvSpPr>
          <p:nvPr>
            <p:ph type="pic" sz="quarter" idx="13"/>
          </p:nvPr>
        </p:nvSpPr>
        <p:spPr>
          <a:xfrm>
            <a:off x="8629650" y="4114800"/>
            <a:ext cx="3562350" cy="2362200"/>
          </a:xfrm>
          <a:prstGeom prst="rect">
            <a:avLst/>
          </a:prstGeom>
        </p:spPr>
        <p:txBody>
          <a:bodyPr/>
          <a:lstStyle/>
          <a:p>
            <a:endParaRPr lang="en-US"/>
          </a:p>
        </p:txBody>
      </p:sp>
      <p:sp>
        <p:nvSpPr>
          <p:cNvPr id="7" name="Picture Placeholder 3"/>
          <p:cNvSpPr>
            <a:spLocks noGrp="1"/>
          </p:cNvSpPr>
          <p:nvPr>
            <p:ph type="pic" sz="quarter" idx="14"/>
          </p:nvPr>
        </p:nvSpPr>
        <p:spPr>
          <a:xfrm>
            <a:off x="4286250" y="4114800"/>
            <a:ext cx="4191000" cy="2362200"/>
          </a:xfrm>
          <a:prstGeom prst="rect">
            <a:avLst/>
          </a:prstGeom>
        </p:spPr>
        <p:txBody>
          <a:bodyPr/>
          <a:lstStyle/>
          <a:p>
            <a:endParaRPr lang="en-US"/>
          </a:p>
        </p:txBody>
      </p:sp>
      <p:sp>
        <p:nvSpPr>
          <p:cNvPr id="8" name="Picture Placeholder 3"/>
          <p:cNvSpPr>
            <a:spLocks noGrp="1"/>
          </p:cNvSpPr>
          <p:nvPr>
            <p:ph type="pic" sz="quarter" idx="15"/>
          </p:nvPr>
        </p:nvSpPr>
        <p:spPr>
          <a:xfrm>
            <a:off x="914400" y="4114800"/>
            <a:ext cx="3219450" cy="2362200"/>
          </a:xfrm>
          <a:prstGeom prst="rect">
            <a:avLst/>
          </a:prstGeom>
        </p:spPr>
        <p:txBody>
          <a:bodyPr/>
          <a:lstStyle/>
          <a:p>
            <a:endParaRPr lang="en-US"/>
          </a:p>
        </p:txBody>
      </p:sp>
    </p:spTree>
    <p:extLst>
      <p:ext uri="{BB962C8B-B14F-4D97-AF65-F5344CB8AC3E}">
        <p14:creationId xmlns:p14="http://schemas.microsoft.com/office/powerpoint/2010/main" val="311153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4_Custom Layout">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6096000" y="0"/>
            <a:ext cx="6096000" cy="6858000"/>
          </a:xfrm>
          <a:prstGeom prst="rect">
            <a:avLst/>
          </a:prstGeom>
        </p:spPr>
        <p:txBody>
          <a:bodyPr/>
          <a:lstStyle/>
          <a:p>
            <a:endParaRPr lang="en-US"/>
          </a:p>
        </p:txBody>
      </p:sp>
      <p:sp>
        <p:nvSpPr>
          <p:cNvPr id="4" name="Picture Placeholder 5"/>
          <p:cNvSpPr>
            <a:spLocks noGrp="1"/>
          </p:cNvSpPr>
          <p:nvPr>
            <p:ph type="pic" sz="quarter" idx="11"/>
          </p:nvPr>
        </p:nvSpPr>
        <p:spPr>
          <a:xfrm>
            <a:off x="4057650" y="2533650"/>
            <a:ext cx="1504950" cy="1504950"/>
          </a:xfrm>
          <a:prstGeom prst="rect">
            <a:avLst/>
          </a:prstGeom>
        </p:spPr>
        <p:txBody>
          <a:bodyPr/>
          <a:lstStyle/>
          <a:p>
            <a:endParaRPr lang="en-US"/>
          </a:p>
        </p:txBody>
      </p:sp>
      <p:sp>
        <p:nvSpPr>
          <p:cNvPr id="5" name="Picture Placeholder 5"/>
          <p:cNvSpPr>
            <a:spLocks noGrp="1"/>
          </p:cNvSpPr>
          <p:nvPr>
            <p:ph type="pic" sz="quarter" idx="12"/>
          </p:nvPr>
        </p:nvSpPr>
        <p:spPr>
          <a:xfrm>
            <a:off x="609600" y="4686300"/>
            <a:ext cx="1504950" cy="1504950"/>
          </a:xfrm>
          <a:prstGeom prst="rect">
            <a:avLst/>
          </a:prstGeom>
        </p:spPr>
        <p:txBody>
          <a:bodyPr/>
          <a:lstStyle/>
          <a:p>
            <a:endParaRPr lang="en-US"/>
          </a:p>
        </p:txBody>
      </p:sp>
    </p:spTree>
    <p:extLst>
      <p:ext uri="{BB962C8B-B14F-4D97-AF65-F5344CB8AC3E}">
        <p14:creationId xmlns:p14="http://schemas.microsoft.com/office/powerpoint/2010/main" val="3733826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975673" y="1022350"/>
            <a:ext cx="2200306" cy="3301677"/>
          </a:xfrm>
          <a:prstGeom prst="rect">
            <a:avLst/>
          </a:prstGeom>
        </p:spPr>
        <p:txBody>
          <a:bodyPr/>
          <a:lstStyle/>
          <a:p>
            <a:endParaRPr lang="en-US"/>
          </a:p>
        </p:txBody>
      </p:sp>
      <p:sp>
        <p:nvSpPr>
          <p:cNvPr id="5" name="Picture Placeholder 3"/>
          <p:cNvSpPr>
            <a:spLocks noGrp="1"/>
          </p:cNvSpPr>
          <p:nvPr>
            <p:ph type="pic" sz="quarter" idx="11"/>
          </p:nvPr>
        </p:nvSpPr>
        <p:spPr>
          <a:xfrm>
            <a:off x="6137328" y="1022350"/>
            <a:ext cx="2200306" cy="3301677"/>
          </a:xfrm>
          <a:prstGeom prst="rect">
            <a:avLst/>
          </a:prstGeom>
        </p:spPr>
        <p:txBody>
          <a:bodyPr/>
          <a:lstStyle/>
          <a:p>
            <a:endParaRPr lang="en-US"/>
          </a:p>
        </p:txBody>
      </p:sp>
      <p:sp>
        <p:nvSpPr>
          <p:cNvPr id="6" name="Picture Placeholder 3"/>
          <p:cNvSpPr>
            <a:spLocks noGrp="1"/>
          </p:cNvSpPr>
          <p:nvPr>
            <p:ph type="pic" sz="quarter" idx="12"/>
          </p:nvPr>
        </p:nvSpPr>
        <p:spPr>
          <a:xfrm>
            <a:off x="9298983" y="1022350"/>
            <a:ext cx="2200306" cy="3301677"/>
          </a:xfrm>
          <a:prstGeom prst="rect">
            <a:avLst/>
          </a:prstGeom>
        </p:spPr>
        <p:txBody>
          <a:bodyPr/>
          <a:lstStyle/>
          <a:p>
            <a:endParaRPr lang="en-US"/>
          </a:p>
        </p:txBody>
      </p:sp>
    </p:spTree>
    <p:extLst>
      <p:ext uri="{BB962C8B-B14F-4D97-AF65-F5344CB8AC3E}">
        <p14:creationId xmlns:p14="http://schemas.microsoft.com/office/powerpoint/2010/main" val="1336143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5_Custom Layout">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381000" y="609600"/>
            <a:ext cx="3657600" cy="2743200"/>
          </a:xfrm>
          <a:prstGeom prst="rect">
            <a:avLst/>
          </a:prstGeom>
          <a:effectLst>
            <a:outerShdw blurRad="406400" dist="38100" dir="2700000" algn="tl" rotWithShape="0">
              <a:prstClr val="black">
                <a:alpha val="40000"/>
              </a:prstClr>
            </a:outerShdw>
          </a:effectLst>
        </p:spPr>
        <p:txBody>
          <a:bodyPr/>
          <a:lstStyle/>
          <a:p>
            <a:endParaRPr lang="en-US"/>
          </a:p>
        </p:txBody>
      </p:sp>
      <p:sp>
        <p:nvSpPr>
          <p:cNvPr id="4" name="Picture Placeholder 3"/>
          <p:cNvSpPr>
            <a:spLocks noGrp="1"/>
          </p:cNvSpPr>
          <p:nvPr>
            <p:ph type="pic" sz="quarter" idx="11"/>
          </p:nvPr>
        </p:nvSpPr>
        <p:spPr>
          <a:xfrm>
            <a:off x="4267200" y="609600"/>
            <a:ext cx="3657600" cy="2743200"/>
          </a:xfrm>
          <a:prstGeom prst="rect">
            <a:avLst/>
          </a:prstGeom>
        </p:spPr>
        <p:txBody>
          <a:bodyPr/>
          <a:lstStyle/>
          <a:p>
            <a:endParaRPr lang="en-US"/>
          </a:p>
        </p:txBody>
      </p:sp>
      <p:sp>
        <p:nvSpPr>
          <p:cNvPr id="5" name="Picture Placeholder 3"/>
          <p:cNvSpPr>
            <a:spLocks noGrp="1"/>
          </p:cNvSpPr>
          <p:nvPr>
            <p:ph type="pic" sz="quarter" idx="12"/>
          </p:nvPr>
        </p:nvSpPr>
        <p:spPr>
          <a:xfrm>
            <a:off x="8153400" y="609600"/>
            <a:ext cx="3657600" cy="2743200"/>
          </a:xfrm>
          <a:prstGeom prst="rect">
            <a:avLst/>
          </a:prstGeom>
        </p:spPr>
        <p:txBody>
          <a:bodyPr/>
          <a:lstStyle/>
          <a:p>
            <a:endParaRPr lang="en-US"/>
          </a:p>
        </p:txBody>
      </p:sp>
      <p:sp>
        <p:nvSpPr>
          <p:cNvPr id="6" name="Picture Placeholder 3"/>
          <p:cNvSpPr>
            <a:spLocks noGrp="1"/>
          </p:cNvSpPr>
          <p:nvPr>
            <p:ph type="pic" sz="quarter" idx="13"/>
          </p:nvPr>
        </p:nvSpPr>
        <p:spPr>
          <a:xfrm>
            <a:off x="381000" y="3524250"/>
            <a:ext cx="3657600" cy="2743200"/>
          </a:xfrm>
          <a:prstGeom prst="rect">
            <a:avLst/>
          </a:prstGeom>
        </p:spPr>
        <p:txBody>
          <a:bodyPr/>
          <a:lstStyle/>
          <a:p>
            <a:endParaRPr lang="en-US"/>
          </a:p>
        </p:txBody>
      </p:sp>
      <p:sp>
        <p:nvSpPr>
          <p:cNvPr id="7" name="Picture Placeholder 3"/>
          <p:cNvSpPr>
            <a:spLocks noGrp="1"/>
          </p:cNvSpPr>
          <p:nvPr>
            <p:ph type="pic" sz="quarter" idx="14"/>
          </p:nvPr>
        </p:nvSpPr>
        <p:spPr>
          <a:xfrm>
            <a:off x="4267200" y="3524250"/>
            <a:ext cx="3657600" cy="2743200"/>
          </a:xfrm>
          <a:prstGeom prst="rect">
            <a:avLst/>
          </a:prstGeom>
        </p:spPr>
        <p:txBody>
          <a:bodyPr/>
          <a:lstStyle/>
          <a:p>
            <a:endParaRPr lang="en-US"/>
          </a:p>
        </p:txBody>
      </p:sp>
      <p:sp>
        <p:nvSpPr>
          <p:cNvPr id="8" name="Picture Placeholder 3"/>
          <p:cNvSpPr>
            <a:spLocks noGrp="1"/>
          </p:cNvSpPr>
          <p:nvPr>
            <p:ph type="pic" sz="quarter" idx="15"/>
          </p:nvPr>
        </p:nvSpPr>
        <p:spPr>
          <a:xfrm>
            <a:off x="8153400" y="3524250"/>
            <a:ext cx="3657600" cy="2743200"/>
          </a:xfrm>
          <a:prstGeom prst="rect">
            <a:avLst/>
          </a:prstGeom>
        </p:spPr>
        <p:txBody>
          <a:bodyPr/>
          <a:lstStyle/>
          <a:p>
            <a:endParaRPr lang="en-US"/>
          </a:p>
        </p:txBody>
      </p:sp>
    </p:spTree>
    <p:extLst>
      <p:ext uri="{BB962C8B-B14F-4D97-AF65-F5344CB8AC3E}">
        <p14:creationId xmlns:p14="http://schemas.microsoft.com/office/powerpoint/2010/main" val="4275075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877050" y="1352550"/>
            <a:ext cx="4457700" cy="5505450"/>
          </a:xfrm>
          <a:prstGeom prst="rect">
            <a:avLst/>
          </a:prstGeom>
          <a:solidFill>
            <a:schemeClr val="bg1">
              <a:lumMod val="85000"/>
            </a:schemeClr>
          </a:solidFill>
        </p:spPr>
        <p:txBody>
          <a:bodyPr/>
          <a:lstStyle/>
          <a:p>
            <a:endParaRPr lang="en-US"/>
          </a:p>
        </p:txBody>
      </p:sp>
      <p:sp>
        <p:nvSpPr>
          <p:cNvPr id="8" name="Picture Placeholder 7"/>
          <p:cNvSpPr>
            <a:spLocks noGrp="1"/>
          </p:cNvSpPr>
          <p:nvPr>
            <p:ph type="pic" sz="quarter" idx="11"/>
          </p:nvPr>
        </p:nvSpPr>
        <p:spPr>
          <a:xfrm>
            <a:off x="5172075" y="3495675"/>
            <a:ext cx="1400175" cy="3362325"/>
          </a:xfrm>
          <a:prstGeom prst="rect">
            <a:avLst/>
          </a:prstGeom>
          <a:solidFill>
            <a:schemeClr val="bg1">
              <a:lumMod val="85000"/>
            </a:schemeClr>
          </a:solidFill>
        </p:spPr>
        <p:txBody>
          <a:bodyPr/>
          <a:lstStyle/>
          <a:p>
            <a:endParaRPr lang="en-US"/>
          </a:p>
        </p:txBody>
      </p:sp>
    </p:spTree>
    <p:extLst>
      <p:ext uri="{BB962C8B-B14F-4D97-AF65-F5344CB8AC3E}">
        <p14:creationId xmlns:p14="http://schemas.microsoft.com/office/powerpoint/2010/main" val="38645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4741863" y="2960688"/>
            <a:ext cx="2836862" cy="3897312"/>
          </a:xfrm>
          <a:prstGeom prst="rect">
            <a:avLst/>
          </a:prstGeom>
          <a:solidFill>
            <a:schemeClr val="bg1">
              <a:lumMod val="75000"/>
            </a:schemeClr>
          </a:solidFill>
        </p:spPr>
        <p:txBody>
          <a:bodyPr/>
          <a:lstStyle/>
          <a:p>
            <a:endParaRPr lang="en-US"/>
          </a:p>
        </p:txBody>
      </p:sp>
      <p:sp>
        <p:nvSpPr>
          <p:cNvPr id="9" name="Picture Placeholder 8"/>
          <p:cNvSpPr>
            <a:spLocks noGrp="1"/>
          </p:cNvSpPr>
          <p:nvPr>
            <p:ph type="pic" sz="quarter" idx="11"/>
          </p:nvPr>
        </p:nvSpPr>
        <p:spPr>
          <a:xfrm>
            <a:off x="1490853" y="3162300"/>
            <a:ext cx="1813033" cy="3695700"/>
          </a:xfrm>
          <a:custGeom>
            <a:avLst/>
            <a:gdLst>
              <a:gd name="connsiteX0" fmla="*/ 0 w 1782036"/>
              <a:gd name="connsiteY0" fmla="*/ 0 h 3695700"/>
              <a:gd name="connsiteX1" fmla="*/ 1782036 w 1782036"/>
              <a:gd name="connsiteY1" fmla="*/ 0 h 3695700"/>
              <a:gd name="connsiteX2" fmla="*/ 1782036 w 1782036"/>
              <a:gd name="connsiteY2" fmla="*/ 3695700 h 3695700"/>
              <a:gd name="connsiteX3" fmla="*/ 0 w 1782036"/>
              <a:gd name="connsiteY3" fmla="*/ 3695700 h 3695700"/>
              <a:gd name="connsiteX4" fmla="*/ 0 w 1782036"/>
              <a:gd name="connsiteY4" fmla="*/ 0 h 3695700"/>
              <a:gd name="connsiteX0" fmla="*/ 0 w 1813033"/>
              <a:gd name="connsiteY0" fmla="*/ 418454 h 3695700"/>
              <a:gd name="connsiteX1" fmla="*/ 1813033 w 1813033"/>
              <a:gd name="connsiteY1" fmla="*/ 0 h 3695700"/>
              <a:gd name="connsiteX2" fmla="*/ 1813033 w 1813033"/>
              <a:gd name="connsiteY2" fmla="*/ 3695700 h 3695700"/>
              <a:gd name="connsiteX3" fmla="*/ 30997 w 1813033"/>
              <a:gd name="connsiteY3" fmla="*/ 3695700 h 3695700"/>
              <a:gd name="connsiteX4" fmla="*/ 0 w 1813033"/>
              <a:gd name="connsiteY4" fmla="*/ 418454 h 3695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3033" h="3695700">
                <a:moveTo>
                  <a:pt x="0" y="418454"/>
                </a:moveTo>
                <a:lnTo>
                  <a:pt x="1813033" y="0"/>
                </a:lnTo>
                <a:lnTo>
                  <a:pt x="1813033" y="3695700"/>
                </a:lnTo>
                <a:lnTo>
                  <a:pt x="30997" y="3695700"/>
                </a:lnTo>
                <a:lnTo>
                  <a:pt x="0" y="418454"/>
                </a:lnTo>
                <a:close/>
              </a:path>
            </a:pathLst>
          </a:custGeom>
          <a:solidFill>
            <a:schemeClr val="bg1">
              <a:lumMod val="75000"/>
            </a:schemeClr>
          </a:solidFill>
        </p:spPr>
        <p:txBody>
          <a:bodyPr/>
          <a:lstStyle/>
          <a:p>
            <a:endParaRPr lang="en-US"/>
          </a:p>
        </p:txBody>
      </p:sp>
      <p:sp>
        <p:nvSpPr>
          <p:cNvPr id="11" name="Picture Placeholder 10"/>
          <p:cNvSpPr>
            <a:spLocks noGrp="1"/>
          </p:cNvSpPr>
          <p:nvPr>
            <p:ph type="pic" sz="quarter" idx="12"/>
          </p:nvPr>
        </p:nvSpPr>
        <p:spPr>
          <a:xfrm>
            <a:off x="9048452" y="3162300"/>
            <a:ext cx="1796674" cy="3695700"/>
          </a:xfrm>
          <a:custGeom>
            <a:avLst/>
            <a:gdLst>
              <a:gd name="connsiteX0" fmla="*/ 0 w 1781175"/>
              <a:gd name="connsiteY0" fmla="*/ 0 h 3695700"/>
              <a:gd name="connsiteX1" fmla="*/ 1781175 w 1781175"/>
              <a:gd name="connsiteY1" fmla="*/ 0 h 3695700"/>
              <a:gd name="connsiteX2" fmla="*/ 1781175 w 1781175"/>
              <a:gd name="connsiteY2" fmla="*/ 3695700 h 3695700"/>
              <a:gd name="connsiteX3" fmla="*/ 0 w 1781175"/>
              <a:gd name="connsiteY3" fmla="*/ 3695700 h 3695700"/>
              <a:gd name="connsiteX4" fmla="*/ 0 w 1781175"/>
              <a:gd name="connsiteY4" fmla="*/ 0 h 3695700"/>
              <a:gd name="connsiteX0" fmla="*/ 0 w 1796674"/>
              <a:gd name="connsiteY0" fmla="*/ 0 h 3695700"/>
              <a:gd name="connsiteX1" fmla="*/ 1796674 w 1796674"/>
              <a:gd name="connsiteY1" fmla="*/ 418455 h 3695700"/>
              <a:gd name="connsiteX2" fmla="*/ 1781175 w 1796674"/>
              <a:gd name="connsiteY2" fmla="*/ 3695700 h 3695700"/>
              <a:gd name="connsiteX3" fmla="*/ 0 w 1796674"/>
              <a:gd name="connsiteY3" fmla="*/ 3695700 h 3695700"/>
              <a:gd name="connsiteX4" fmla="*/ 0 w 1796674"/>
              <a:gd name="connsiteY4" fmla="*/ 0 h 3695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6674" h="3695700">
                <a:moveTo>
                  <a:pt x="0" y="0"/>
                </a:moveTo>
                <a:lnTo>
                  <a:pt x="1796674" y="418455"/>
                </a:lnTo>
                <a:cubicBezTo>
                  <a:pt x="1791508" y="1510870"/>
                  <a:pt x="1786341" y="2603285"/>
                  <a:pt x="1781175" y="3695700"/>
                </a:cubicBezTo>
                <a:lnTo>
                  <a:pt x="0" y="3695700"/>
                </a:lnTo>
                <a:lnTo>
                  <a:pt x="0" y="0"/>
                </a:lnTo>
                <a:close/>
              </a:path>
            </a:pathLst>
          </a:custGeom>
          <a:solidFill>
            <a:schemeClr val="bg1">
              <a:lumMod val="75000"/>
            </a:schemeClr>
          </a:solidFill>
        </p:spPr>
        <p:txBody>
          <a:bodyPr/>
          <a:lstStyle/>
          <a:p>
            <a:endParaRPr lang="en-US"/>
          </a:p>
        </p:txBody>
      </p:sp>
    </p:spTree>
    <p:extLst>
      <p:ext uri="{BB962C8B-B14F-4D97-AF65-F5344CB8AC3E}">
        <p14:creationId xmlns:p14="http://schemas.microsoft.com/office/powerpoint/2010/main" val="3242514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438150" y="819150"/>
            <a:ext cx="6629400" cy="3790950"/>
          </a:xfrm>
          <a:prstGeom prst="rect">
            <a:avLst/>
          </a:prstGeom>
        </p:spPr>
        <p:txBody>
          <a:bodyPr/>
          <a:lstStyle/>
          <a:p>
            <a:endParaRPr lang="en-US"/>
          </a:p>
        </p:txBody>
      </p:sp>
    </p:spTree>
    <p:extLst>
      <p:ext uri="{BB962C8B-B14F-4D97-AF65-F5344CB8AC3E}">
        <p14:creationId xmlns:p14="http://schemas.microsoft.com/office/powerpoint/2010/main" val="2066825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3409950" y="3276600"/>
            <a:ext cx="5029200" cy="1905000"/>
          </a:xfrm>
          <a:prstGeom prst="rect">
            <a:avLst/>
          </a:prstGeom>
        </p:spPr>
        <p:txBody>
          <a:bodyPr/>
          <a:lstStyle/>
          <a:p>
            <a:endParaRPr lang="en-US"/>
          </a:p>
        </p:txBody>
      </p:sp>
    </p:spTree>
    <p:extLst>
      <p:ext uri="{BB962C8B-B14F-4D97-AF65-F5344CB8AC3E}">
        <p14:creationId xmlns:p14="http://schemas.microsoft.com/office/powerpoint/2010/main" val="444545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229100" y="762000"/>
            <a:ext cx="3695700" cy="4914900"/>
          </a:xfrm>
          <a:prstGeom prst="rect">
            <a:avLst/>
          </a:prstGeom>
        </p:spPr>
        <p:txBody>
          <a:bodyPr/>
          <a:lstStyle/>
          <a:p>
            <a:endParaRPr lang="en-US"/>
          </a:p>
        </p:txBody>
      </p:sp>
    </p:spTree>
    <p:extLst>
      <p:ext uri="{BB962C8B-B14F-4D97-AF65-F5344CB8AC3E}">
        <p14:creationId xmlns:p14="http://schemas.microsoft.com/office/powerpoint/2010/main" val="3169354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8401050" y="1905000"/>
            <a:ext cx="2552700" cy="3028950"/>
          </a:xfrm>
          <a:prstGeom prst="rect">
            <a:avLst/>
          </a:prstGeom>
          <a:solidFill>
            <a:schemeClr val="bg1">
              <a:lumMod val="85000"/>
            </a:schemeClr>
          </a:solidFill>
        </p:spPr>
        <p:txBody>
          <a:bodyPr/>
          <a:lstStyle/>
          <a:p>
            <a:endParaRPr lang="en-US"/>
          </a:p>
        </p:txBody>
      </p:sp>
    </p:spTree>
    <p:extLst>
      <p:ext uri="{BB962C8B-B14F-4D97-AF65-F5344CB8AC3E}">
        <p14:creationId xmlns:p14="http://schemas.microsoft.com/office/powerpoint/2010/main" val="214559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6496050" y="2800350"/>
            <a:ext cx="4800600" cy="3162300"/>
          </a:xfrm>
          <a:prstGeom prst="rect">
            <a:avLst/>
          </a:prstGeom>
        </p:spPr>
        <p:txBody>
          <a:bodyPr/>
          <a:lstStyle/>
          <a:p>
            <a:endParaRPr lang="en-US"/>
          </a:p>
        </p:txBody>
      </p:sp>
      <p:sp>
        <p:nvSpPr>
          <p:cNvPr id="11" name="Picture Placeholder 9"/>
          <p:cNvSpPr>
            <a:spLocks noGrp="1"/>
          </p:cNvSpPr>
          <p:nvPr>
            <p:ph type="pic" sz="quarter" idx="11"/>
          </p:nvPr>
        </p:nvSpPr>
        <p:spPr>
          <a:xfrm>
            <a:off x="4315782" y="1562100"/>
            <a:ext cx="4800600" cy="3162300"/>
          </a:xfrm>
          <a:prstGeom prst="rect">
            <a:avLst/>
          </a:prstGeom>
          <a:effectLst>
            <a:outerShdw blurRad="482600" dist="38100" dir="2700000" algn="tl" rotWithShape="0">
              <a:prstClr val="black">
                <a:alpha val="40000"/>
              </a:prstClr>
            </a:outerShdw>
          </a:effectLst>
        </p:spPr>
        <p:txBody>
          <a:bodyPr/>
          <a:lstStyle/>
          <a:p>
            <a:endParaRPr lang="en-US"/>
          </a:p>
        </p:txBody>
      </p:sp>
      <p:sp>
        <p:nvSpPr>
          <p:cNvPr id="12" name="Picture Placeholder 9"/>
          <p:cNvSpPr>
            <a:spLocks noGrp="1"/>
          </p:cNvSpPr>
          <p:nvPr>
            <p:ph type="pic" sz="quarter" idx="12"/>
          </p:nvPr>
        </p:nvSpPr>
        <p:spPr>
          <a:xfrm>
            <a:off x="2045505" y="419100"/>
            <a:ext cx="4800600" cy="3162300"/>
          </a:xfrm>
          <a:prstGeom prst="rect">
            <a:avLst/>
          </a:prstGeom>
          <a:effectLst>
            <a:outerShdw blurRad="482600" dist="38100" dir="2700000" algn="tl" rotWithShape="0">
              <a:prstClr val="black">
                <a:alpha val="40000"/>
              </a:prstClr>
            </a:outerShdw>
          </a:effectLst>
        </p:spPr>
        <p:txBody>
          <a:bodyPr/>
          <a:lstStyle/>
          <a:p>
            <a:endParaRPr lang="en-US"/>
          </a:p>
        </p:txBody>
      </p:sp>
    </p:spTree>
    <p:extLst>
      <p:ext uri="{BB962C8B-B14F-4D97-AF65-F5344CB8AC3E}">
        <p14:creationId xmlns:p14="http://schemas.microsoft.com/office/powerpoint/2010/main" val="1913796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1085850" y="2857500"/>
            <a:ext cx="4667250" cy="3086100"/>
          </a:xfrm>
          <a:prstGeom prst="rect">
            <a:avLst/>
          </a:prstGeom>
        </p:spPr>
        <p:txBody>
          <a:bodyPr/>
          <a:lstStyle/>
          <a:p>
            <a:endParaRPr lang="en-US"/>
          </a:p>
        </p:txBody>
      </p:sp>
      <p:sp>
        <p:nvSpPr>
          <p:cNvPr id="11" name="Picture Placeholder 9"/>
          <p:cNvSpPr>
            <a:spLocks noGrp="1"/>
          </p:cNvSpPr>
          <p:nvPr>
            <p:ph type="pic" sz="quarter" idx="11"/>
          </p:nvPr>
        </p:nvSpPr>
        <p:spPr>
          <a:xfrm>
            <a:off x="6751027" y="590549"/>
            <a:ext cx="4667250" cy="3086100"/>
          </a:xfrm>
          <a:prstGeom prst="rect">
            <a:avLst/>
          </a:prstGeom>
        </p:spPr>
        <p:txBody>
          <a:bodyPr/>
          <a:lstStyle/>
          <a:p>
            <a:endParaRPr lang="en-US"/>
          </a:p>
        </p:txBody>
      </p:sp>
    </p:spTree>
    <p:extLst>
      <p:ext uri="{BB962C8B-B14F-4D97-AF65-F5344CB8AC3E}">
        <p14:creationId xmlns:p14="http://schemas.microsoft.com/office/powerpoint/2010/main" val="67506185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22520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6_Custom Layout">
    <p:spTree>
      <p:nvGrpSpPr>
        <p:cNvPr id="1" name=""/>
        <p:cNvGrpSpPr/>
        <p:nvPr/>
      </p:nvGrpSpPr>
      <p:grpSpPr>
        <a:xfrm>
          <a:off x="0" y="0"/>
          <a:ext cx="0" cy="0"/>
          <a:chOff x="0" y="0"/>
          <a:chExt cx="0" cy="0"/>
        </a:xfrm>
      </p:grpSpPr>
      <p:sp>
        <p:nvSpPr>
          <p:cNvPr id="16" name="Freeform 15"/>
          <p:cNvSpPr>
            <a:spLocks noGrp="1"/>
          </p:cNvSpPr>
          <p:nvPr>
            <p:ph type="pic" sz="quarter" idx="12"/>
          </p:nvPr>
        </p:nvSpPr>
        <p:spPr>
          <a:xfrm>
            <a:off x="6236890" y="2778112"/>
            <a:ext cx="2644262" cy="2644262"/>
          </a:xfrm>
          <a:custGeom>
            <a:avLst/>
            <a:gdLst>
              <a:gd name="connsiteX0" fmla="*/ 1322131 w 2644262"/>
              <a:gd name="connsiteY0" fmla="*/ 0 h 2644262"/>
              <a:gd name="connsiteX1" fmla="*/ 2644262 w 2644262"/>
              <a:gd name="connsiteY1" fmla="*/ 1322131 h 2644262"/>
              <a:gd name="connsiteX2" fmla="*/ 1322131 w 2644262"/>
              <a:gd name="connsiteY2" fmla="*/ 2644262 h 2644262"/>
              <a:gd name="connsiteX3" fmla="*/ 0 w 2644262"/>
              <a:gd name="connsiteY3" fmla="*/ 1322131 h 2644262"/>
            </a:gdLst>
            <a:ahLst/>
            <a:cxnLst>
              <a:cxn ang="0">
                <a:pos x="connsiteX0" y="connsiteY0"/>
              </a:cxn>
              <a:cxn ang="0">
                <a:pos x="connsiteX1" y="connsiteY1"/>
              </a:cxn>
              <a:cxn ang="0">
                <a:pos x="connsiteX2" y="connsiteY2"/>
              </a:cxn>
              <a:cxn ang="0">
                <a:pos x="connsiteX3" y="connsiteY3"/>
              </a:cxn>
            </a:cxnLst>
            <a:rect l="l" t="t" r="r" b="b"/>
            <a:pathLst>
              <a:path w="2644262" h="2644262">
                <a:moveTo>
                  <a:pt x="1322131" y="0"/>
                </a:moveTo>
                <a:lnTo>
                  <a:pt x="2644262" y="1322131"/>
                </a:lnTo>
                <a:lnTo>
                  <a:pt x="1322131" y="2644262"/>
                </a:lnTo>
                <a:lnTo>
                  <a:pt x="0" y="1322131"/>
                </a:lnTo>
                <a:close/>
              </a:path>
            </a:pathLst>
          </a:custGeom>
        </p:spPr>
        <p:txBody>
          <a:bodyPr wrap="square">
            <a:noAutofit/>
          </a:bodyPr>
          <a:lstStyle/>
          <a:p>
            <a:endParaRPr lang="en-US"/>
          </a:p>
        </p:txBody>
      </p:sp>
      <p:sp>
        <p:nvSpPr>
          <p:cNvPr id="13" name="Freeform 12"/>
          <p:cNvSpPr>
            <a:spLocks noGrp="1"/>
          </p:cNvSpPr>
          <p:nvPr>
            <p:ph type="pic" sz="quarter" idx="11"/>
          </p:nvPr>
        </p:nvSpPr>
        <p:spPr>
          <a:xfrm>
            <a:off x="3310846" y="2745236"/>
            <a:ext cx="2644262" cy="2644262"/>
          </a:xfrm>
          <a:custGeom>
            <a:avLst/>
            <a:gdLst>
              <a:gd name="connsiteX0" fmla="*/ 1322131 w 2644262"/>
              <a:gd name="connsiteY0" fmla="*/ 0 h 2644262"/>
              <a:gd name="connsiteX1" fmla="*/ 2644262 w 2644262"/>
              <a:gd name="connsiteY1" fmla="*/ 1322131 h 2644262"/>
              <a:gd name="connsiteX2" fmla="*/ 1322131 w 2644262"/>
              <a:gd name="connsiteY2" fmla="*/ 2644262 h 2644262"/>
              <a:gd name="connsiteX3" fmla="*/ 0 w 2644262"/>
              <a:gd name="connsiteY3" fmla="*/ 1322131 h 2644262"/>
            </a:gdLst>
            <a:ahLst/>
            <a:cxnLst>
              <a:cxn ang="0">
                <a:pos x="connsiteX0" y="connsiteY0"/>
              </a:cxn>
              <a:cxn ang="0">
                <a:pos x="connsiteX1" y="connsiteY1"/>
              </a:cxn>
              <a:cxn ang="0">
                <a:pos x="connsiteX2" y="connsiteY2"/>
              </a:cxn>
              <a:cxn ang="0">
                <a:pos x="connsiteX3" y="connsiteY3"/>
              </a:cxn>
            </a:cxnLst>
            <a:rect l="l" t="t" r="r" b="b"/>
            <a:pathLst>
              <a:path w="2644262" h="2644262">
                <a:moveTo>
                  <a:pt x="1322131" y="0"/>
                </a:moveTo>
                <a:lnTo>
                  <a:pt x="2644262" y="1322131"/>
                </a:lnTo>
                <a:lnTo>
                  <a:pt x="1322131" y="2644262"/>
                </a:lnTo>
                <a:lnTo>
                  <a:pt x="0" y="1322131"/>
                </a:lnTo>
                <a:close/>
              </a:path>
            </a:pathLst>
          </a:custGeom>
        </p:spPr>
        <p:txBody>
          <a:bodyPr wrap="square">
            <a:noAutofit/>
          </a:bodyPr>
          <a:lstStyle/>
          <a:p>
            <a:endParaRPr lang="en-US"/>
          </a:p>
        </p:txBody>
      </p:sp>
      <p:sp>
        <p:nvSpPr>
          <p:cNvPr id="10" name="Freeform 9"/>
          <p:cNvSpPr>
            <a:spLocks noGrp="1"/>
          </p:cNvSpPr>
          <p:nvPr>
            <p:ph type="pic" sz="quarter" idx="10"/>
          </p:nvPr>
        </p:nvSpPr>
        <p:spPr>
          <a:xfrm>
            <a:off x="4757431" y="1298653"/>
            <a:ext cx="2644262" cy="2644262"/>
          </a:xfrm>
          <a:custGeom>
            <a:avLst/>
            <a:gdLst>
              <a:gd name="connsiteX0" fmla="*/ 1322131 w 2644262"/>
              <a:gd name="connsiteY0" fmla="*/ 0 h 2644262"/>
              <a:gd name="connsiteX1" fmla="*/ 2644262 w 2644262"/>
              <a:gd name="connsiteY1" fmla="*/ 1322131 h 2644262"/>
              <a:gd name="connsiteX2" fmla="*/ 1322131 w 2644262"/>
              <a:gd name="connsiteY2" fmla="*/ 2644262 h 2644262"/>
              <a:gd name="connsiteX3" fmla="*/ 0 w 2644262"/>
              <a:gd name="connsiteY3" fmla="*/ 1322131 h 2644262"/>
            </a:gdLst>
            <a:ahLst/>
            <a:cxnLst>
              <a:cxn ang="0">
                <a:pos x="connsiteX0" y="connsiteY0"/>
              </a:cxn>
              <a:cxn ang="0">
                <a:pos x="connsiteX1" y="connsiteY1"/>
              </a:cxn>
              <a:cxn ang="0">
                <a:pos x="connsiteX2" y="connsiteY2"/>
              </a:cxn>
              <a:cxn ang="0">
                <a:pos x="connsiteX3" y="connsiteY3"/>
              </a:cxn>
            </a:cxnLst>
            <a:rect l="l" t="t" r="r" b="b"/>
            <a:pathLst>
              <a:path w="2644262" h="2644262">
                <a:moveTo>
                  <a:pt x="1322131" y="0"/>
                </a:moveTo>
                <a:lnTo>
                  <a:pt x="2644262" y="1322131"/>
                </a:lnTo>
                <a:lnTo>
                  <a:pt x="1322131" y="2644262"/>
                </a:lnTo>
                <a:lnTo>
                  <a:pt x="0" y="1322131"/>
                </a:lnTo>
                <a:close/>
              </a:path>
            </a:pathLst>
          </a:custGeom>
        </p:spPr>
        <p:txBody>
          <a:bodyPr wrap="square">
            <a:noAutofit/>
          </a:bodyPr>
          <a:lstStyle/>
          <a:p>
            <a:endParaRPr lang="en-US"/>
          </a:p>
        </p:txBody>
      </p:sp>
    </p:spTree>
    <p:extLst>
      <p:ext uri="{BB962C8B-B14F-4D97-AF65-F5344CB8AC3E}">
        <p14:creationId xmlns:p14="http://schemas.microsoft.com/office/powerpoint/2010/main" val="371451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17605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37510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35035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349316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261196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67937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110234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54326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71628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4301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7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0416" y="1674060"/>
            <a:ext cx="1936750" cy="1936750"/>
          </a:xfrm>
          <a:prstGeom prst="rect">
            <a:avLst/>
          </a:prstGeom>
        </p:spPr>
        <p:txBody>
          <a:bodyPr/>
          <a:lstStyle/>
          <a:p>
            <a:endParaRPr lang="en-US"/>
          </a:p>
        </p:txBody>
      </p:sp>
      <p:sp>
        <p:nvSpPr>
          <p:cNvPr id="5" name="Picture Placeholder 3"/>
          <p:cNvSpPr>
            <a:spLocks noGrp="1"/>
          </p:cNvSpPr>
          <p:nvPr>
            <p:ph type="pic" sz="quarter" idx="11"/>
          </p:nvPr>
        </p:nvSpPr>
        <p:spPr>
          <a:xfrm>
            <a:off x="620416" y="4215782"/>
            <a:ext cx="1936750" cy="1936750"/>
          </a:xfrm>
          <a:prstGeom prst="rect">
            <a:avLst/>
          </a:prstGeom>
        </p:spPr>
        <p:txBody>
          <a:bodyPr/>
          <a:lstStyle/>
          <a:p>
            <a:endParaRPr lang="en-US"/>
          </a:p>
        </p:txBody>
      </p:sp>
      <p:sp>
        <p:nvSpPr>
          <p:cNvPr id="6" name="Picture Placeholder 3"/>
          <p:cNvSpPr>
            <a:spLocks noGrp="1"/>
          </p:cNvSpPr>
          <p:nvPr>
            <p:ph type="pic" sz="quarter" idx="12"/>
          </p:nvPr>
        </p:nvSpPr>
        <p:spPr>
          <a:xfrm>
            <a:off x="9640429" y="1674060"/>
            <a:ext cx="1936750" cy="1936750"/>
          </a:xfrm>
          <a:prstGeom prst="rect">
            <a:avLst/>
          </a:prstGeom>
        </p:spPr>
        <p:txBody>
          <a:bodyPr/>
          <a:lstStyle/>
          <a:p>
            <a:endParaRPr lang="en-US"/>
          </a:p>
        </p:txBody>
      </p:sp>
      <p:sp>
        <p:nvSpPr>
          <p:cNvPr id="7" name="Picture Placeholder 3"/>
          <p:cNvSpPr>
            <a:spLocks noGrp="1"/>
          </p:cNvSpPr>
          <p:nvPr>
            <p:ph type="pic" sz="quarter" idx="13"/>
          </p:nvPr>
        </p:nvSpPr>
        <p:spPr>
          <a:xfrm>
            <a:off x="9640429" y="4215782"/>
            <a:ext cx="1936750" cy="1936750"/>
          </a:xfrm>
          <a:prstGeom prst="rect">
            <a:avLst/>
          </a:prstGeom>
        </p:spPr>
        <p:txBody>
          <a:bodyPr/>
          <a:lstStyle/>
          <a:p>
            <a:endParaRPr lang="en-US"/>
          </a:p>
        </p:txBody>
      </p:sp>
    </p:spTree>
    <p:extLst>
      <p:ext uri="{BB962C8B-B14F-4D97-AF65-F5344CB8AC3E}">
        <p14:creationId xmlns:p14="http://schemas.microsoft.com/office/powerpoint/2010/main" val="252643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5551407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18132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9892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662121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95073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07140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861536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455910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335611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18627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8_Custom Layout">
    <p:spTree>
      <p:nvGrpSpPr>
        <p:cNvPr id="1" name=""/>
        <p:cNvGrpSpPr/>
        <p:nvPr/>
      </p:nvGrpSpPr>
      <p:grpSpPr>
        <a:xfrm>
          <a:off x="0" y="0"/>
          <a:ext cx="0" cy="0"/>
          <a:chOff x="0" y="0"/>
          <a:chExt cx="0" cy="0"/>
        </a:xfrm>
      </p:grpSpPr>
      <p:sp>
        <p:nvSpPr>
          <p:cNvPr id="6" name="Freeform 5"/>
          <p:cNvSpPr>
            <a:spLocks noGrp="1"/>
          </p:cNvSpPr>
          <p:nvPr>
            <p:ph type="pic" sz="quarter" idx="10"/>
          </p:nvPr>
        </p:nvSpPr>
        <p:spPr>
          <a:xfrm>
            <a:off x="0" y="1"/>
            <a:ext cx="12192000" cy="5018652"/>
          </a:xfrm>
          <a:custGeom>
            <a:avLst/>
            <a:gdLst>
              <a:gd name="connsiteX0" fmla="*/ 0 w 12192000"/>
              <a:gd name="connsiteY0" fmla="*/ 0 h 5018652"/>
              <a:gd name="connsiteX1" fmla="*/ 12192000 w 12192000"/>
              <a:gd name="connsiteY1" fmla="*/ 0 h 5018652"/>
              <a:gd name="connsiteX2" fmla="*/ 12192000 w 12192000"/>
              <a:gd name="connsiteY2" fmla="*/ 4076640 h 5018652"/>
              <a:gd name="connsiteX3" fmla="*/ 0 w 12192000"/>
              <a:gd name="connsiteY3" fmla="*/ 4747372 h 5018652"/>
            </a:gdLst>
            <a:ahLst/>
            <a:cxnLst>
              <a:cxn ang="0">
                <a:pos x="connsiteX0" y="connsiteY0"/>
              </a:cxn>
              <a:cxn ang="0">
                <a:pos x="connsiteX1" y="connsiteY1"/>
              </a:cxn>
              <a:cxn ang="0">
                <a:pos x="connsiteX2" y="connsiteY2"/>
              </a:cxn>
              <a:cxn ang="0">
                <a:pos x="connsiteX3" y="connsiteY3"/>
              </a:cxn>
            </a:cxnLst>
            <a:rect l="l" t="t" r="r" b="b"/>
            <a:pathLst>
              <a:path w="12192000" h="5018652">
                <a:moveTo>
                  <a:pt x="0" y="0"/>
                </a:moveTo>
                <a:lnTo>
                  <a:pt x="12192000" y="0"/>
                </a:lnTo>
                <a:lnTo>
                  <a:pt x="12192000" y="4076640"/>
                </a:lnTo>
                <a:cubicBezTo>
                  <a:pt x="6096000" y="4076640"/>
                  <a:pt x="6096000" y="5629914"/>
                  <a:pt x="0" y="4747372"/>
                </a:cubicBezTo>
                <a:close/>
              </a:path>
            </a:pathLst>
          </a:custGeom>
        </p:spPr>
        <p:txBody>
          <a:bodyPr wrap="square">
            <a:noAutofit/>
          </a:bodyPr>
          <a:lstStyle/>
          <a:p>
            <a:endParaRPr lang="en-US"/>
          </a:p>
        </p:txBody>
      </p:sp>
      <p:sp>
        <p:nvSpPr>
          <p:cNvPr id="7" name="Freeform 6"/>
          <p:cNvSpPr>
            <a:spLocks noGrp="1"/>
          </p:cNvSpPr>
          <p:nvPr>
            <p:ph type="pic" sz="quarter" idx="11"/>
          </p:nvPr>
        </p:nvSpPr>
        <p:spPr>
          <a:xfrm>
            <a:off x="1997990" y="4112002"/>
            <a:ext cx="1813302" cy="1813302"/>
          </a:xfrm>
          <a:custGeom>
            <a:avLst/>
            <a:gdLst>
              <a:gd name="connsiteX0" fmla="*/ 906651 w 1813302"/>
              <a:gd name="connsiteY0" fmla="*/ 0 h 1813302"/>
              <a:gd name="connsiteX1" fmla="*/ 1813302 w 1813302"/>
              <a:gd name="connsiteY1" fmla="*/ 906651 h 1813302"/>
              <a:gd name="connsiteX2" fmla="*/ 906651 w 1813302"/>
              <a:gd name="connsiteY2" fmla="*/ 1813302 h 1813302"/>
              <a:gd name="connsiteX3" fmla="*/ 0 w 1813302"/>
              <a:gd name="connsiteY3" fmla="*/ 906651 h 1813302"/>
              <a:gd name="connsiteX4" fmla="*/ 906651 w 1813302"/>
              <a:gd name="connsiteY4" fmla="*/ 0 h 1813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3302" h="1813302">
                <a:moveTo>
                  <a:pt x="906651" y="0"/>
                </a:moveTo>
                <a:cubicBezTo>
                  <a:pt x="1407381" y="0"/>
                  <a:pt x="1813302" y="405921"/>
                  <a:pt x="1813302" y="906651"/>
                </a:cubicBezTo>
                <a:cubicBezTo>
                  <a:pt x="1813302" y="1407381"/>
                  <a:pt x="1407381" y="1813302"/>
                  <a:pt x="906651" y="1813302"/>
                </a:cubicBezTo>
                <a:cubicBezTo>
                  <a:pt x="405921" y="1813302"/>
                  <a:pt x="0" y="1407381"/>
                  <a:pt x="0" y="906651"/>
                </a:cubicBezTo>
                <a:cubicBezTo>
                  <a:pt x="0" y="405921"/>
                  <a:pt x="405921" y="0"/>
                  <a:pt x="906651" y="0"/>
                </a:cubicBezTo>
                <a:close/>
              </a:path>
            </a:pathLst>
          </a:custGeom>
        </p:spPr>
        <p:txBody>
          <a:bodyPr wrap="square">
            <a:noAutofit/>
          </a:bodyPr>
          <a:lstStyle/>
          <a:p>
            <a:endParaRPr lang="en-US"/>
          </a:p>
        </p:txBody>
      </p:sp>
      <p:sp>
        <p:nvSpPr>
          <p:cNvPr id="8" name="Freeform 7"/>
          <p:cNvSpPr>
            <a:spLocks noGrp="1"/>
          </p:cNvSpPr>
          <p:nvPr>
            <p:ph type="pic" sz="quarter" idx="12"/>
          </p:nvPr>
        </p:nvSpPr>
        <p:spPr>
          <a:xfrm>
            <a:off x="5189349" y="3817534"/>
            <a:ext cx="1813302" cy="1813302"/>
          </a:xfrm>
          <a:custGeom>
            <a:avLst/>
            <a:gdLst>
              <a:gd name="connsiteX0" fmla="*/ 906651 w 1813302"/>
              <a:gd name="connsiteY0" fmla="*/ 0 h 1813302"/>
              <a:gd name="connsiteX1" fmla="*/ 1813302 w 1813302"/>
              <a:gd name="connsiteY1" fmla="*/ 906651 h 1813302"/>
              <a:gd name="connsiteX2" fmla="*/ 906651 w 1813302"/>
              <a:gd name="connsiteY2" fmla="*/ 1813302 h 1813302"/>
              <a:gd name="connsiteX3" fmla="*/ 0 w 1813302"/>
              <a:gd name="connsiteY3" fmla="*/ 906651 h 1813302"/>
              <a:gd name="connsiteX4" fmla="*/ 906651 w 1813302"/>
              <a:gd name="connsiteY4" fmla="*/ 0 h 1813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3302" h="1813302">
                <a:moveTo>
                  <a:pt x="906651" y="0"/>
                </a:moveTo>
                <a:cubicBezTo>
                  <a:pt x="1407381" y="0"/>
                  <a:pt x="1813302" y="405921"/>
                  <a:pt x="1813302" y="906651"/>
                </a:cubicBezTo>
                <a:cubicBezTo>
                  <a:pt x="1813302" y="1407381"/>
                  <a:pt x="1407381" y="1813302"/>
                  <a:pt x="906651" y="1813302"/>
                </a:cubicBezTo>
                <a:cubicBezTo>
                  <a:pt x="405921" y="1813302"/>
                  <a:pt x="0" y="1407381"/>
                  <a:pt x="0" y="906651"/>
                </a:cubicBezTo>
                <a:cubicBezTo>
                  <a:pt x="0" y="405921"/>
                  <a:pt x="405921" y="0"/>
                  <a:pt x="906651" y="0"/>
                </a:cubicBezTo>
                <a:close/>
              </a:path>
            </a:pathLst>
          </a:custGeom>
        </p:spPr>
        <p:txBody>
          <a:bodyPr wrap="square">
            <a:noAutofit/>
          </a:bodyPr>
          <a:lstStyle/>
          <a:p>
            <a:endParaRPr lang="en-US"/>
          </a:p>
        </p:txBody>
      </p:sp>
      <p:sp>
        <p:nvSpPr>
          <p:cNvPr id="9" name="Freeform 8"/>
          <p:cNvSpPr>
            <a:spLocks noGrp="1"/>
          </p:cNvSpPr>
          <p:nvPr>
            <p:ph type="pic" sz="quarter" idx="13"/>
          </p:nvPr>
        </p:nvSpPr>
        <p:spPr>
          <a:xfrm>
            <a:off x="8380708" y="3429000"/>
            <a:ext cx="1813302" cy="1813302"/>
          </a:xfrm>
          <a:custGeom>
            <a:avLst/>
            <a:gdLst>
              <a:gd name="connsiteX0" fmla="*/ 906651 w 1813302"/>
              <a:gd name="connsiteY0" fmla="*/ 0 h 1813302"/>
              <a:gd name="connsiteX1" fmla="*/ 1813302 w 1813302"/>
              <a:gd name="connsiteY1" fmla="*/ 906651 h 1813302"/>
              <a:gd name="connsiteX2" fmla="*/ 906651 w 1813302"/>
              <a:gd name="connsiteY2" fmla="*/ 1813302 h 1813302"/>
              <a:gd name="connsiteX3" fmla="*/ 0 w 1813302"/>
              <a:gd name="connsiteY3" fmla="*/ 906651 h 1813302"/>
              <a:gd name="connsiteX4" fmla="*/ 906651 w 1813302"/>
              <a:gd name="connsiteY4" fmla="*/ 0 h 1813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3302" h="1813302">
                <a:moveTo>
                  <a:pt x="906651" y="0"/>
                </a:moveTo>
                <a:cubicBezTo>
                  <a:pt x="1407381" y="0"/>
                  <a:pt x="1813302" y="405921"/>
                  <a:pt x="1813302" y="906651"/>
                </a:cubicBezTo>
                <a:cubicBezTo>
                  <a:pt x="1813302" y="1407381"/>
                  <a:pt x="1407381" y="1813302"/>
                  <a:pt x="906651" y="1813302"/>
                </a:cubicBezTo>
                <a:cubicBezTo>
                  <a:pt x="405921" y="1813302"/>
                  <a:pt x="0" y="1407381"/>
                  <a:pt x="0" y="906651"/>
                </a:cubicBezTo>
                <a:cubicBezTo>
                  <a:pt x="0" y="405921"/>
                  <a:pt x="405921" y="0"/>
                  <a:pt x="906651"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301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456870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453656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865109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351157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47_Custom Layout">
    <p:spTree>
      <p:nvGrpSpPr>
        <p:cNvPr id="1" name=""/>
        <p:cNvGrpSpPr/>
        <p:nvPr/>
      </p:nvGrpSpPr>
      <p:grpSpPr>
        <a:xfrm>
          <a:off x="0" y="0"/>
          <a:ext cx="0" cy="0"/>
          <a:chOff x="0" y="0"/>
          <a:chExt cx="0" cy="0"/>
        </a:xfrm>
      </p:grpSpPr>
      <p:sp>
        <p:nvSpPr>
          <p:cNvPr id="2" name="Rectangle 1"/>
          <p:cNvSpPr/>
          <p:nvPr userDrawn="1"/>
        </p:nvSpPr>
        <p:spPr>
          <a:xfrm>
            <a:off x="0" y="2148114"/>
            <a:ext cx="711200" cy="26270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d-ID" sz="1800"/>
          </a:p>
        </p:txBody>
      </p:sp>
    </p:spTree>
    <p:extLst>
      <p:ext uri="{BB962C8B-B14F-4D97-AF65-F5344CB8AC3E}">
        <p14:creationId xmlns:p14="http://schemas.microsoft.com/office/powerpoint/2010/main" val="241217343"/>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2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356692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49_Custom Layout">
    <p:spTree>
      <p:nvGrpSpPr>
        <p:cNvPr id="1" name=""/>
        <p:cNvGrpSpPr/>
        <p:nvPr/>
      </p:nvGrpSpPr>
      <p:grpSpPr>
        <a:xfrm>
          <a:off x="0" y="0"/>
          <a:ext cx="0" cy="0"/>
          <a:chOff x="0" y="0"/>
          <a:chExt cx="0" cy="0"/>
        </a:xfrm>
      </p:grpSpPr>
      <p:sp>
        <p:nvSpPr>
          <p:cNvPr id="4" name="Rectangle 3"/>
          <p:cNvSpPr/>
          <p:nvPr userDrawn="1"/>
        </p:nvSpPr>
        <p:spPr>
          <a:xfrm>
            <a:off x="8186057" y="0"/>
            <a:ext cx="4005943" cy="2293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Tree>
    <p:extLst>
      <p:ext uri="{BB962C8B-B14F-4D97-AF65-F5344CB8AC3E}">
        <p14:creationId xmlns:p14="http://schemas.microsoft.com/office/powerpoint/2010/main" val="357837209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106981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Титульны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49351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6915951"/>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07" Type="http://schemas.openxmlformats.org/officeDocument/2006/relationships/tags" Target="../tags/tag2.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oleObject" Target="../embeddings/oleObject1.bin"/><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vmlDrawing" Target="../drawings/vmlDrawing1.v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image" Target="../media/image1.emf"/><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oleObject" Target="../embeddings/oleObject2.bin"/><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tags" Target="../tags/tag3.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vmlDrawing" Target="../drawings/vmlDrawing2.vml"/><Relationship Id="rId5" Type="http://schemas.openxmlformats.org/officeDocument/2006/relationships/slideLayout" Target="../slideLayouts/slideLayout109.xml"/><Relationship Id="rId10" Type="http://schemas.openxmlformats.org/officeDocument/2006/relationships/theme" Target="../theme/theme2.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39.xml"/><Relationship Id="rId21" Type="http://schemas.openxmlformats.org/officeDocument/2006/relationships/slideLayout" Target="../slideLayouts/slideLayout134.xml"/><Relationship Id="rId42" Type="http://schemas.openxmlformats.org/officeDocument/2006/relationships/slideLayout" Target="../slideLayouts/slideLayout155.xml"/><Relationship Id="rId47" Type="http://schemas.openxmlformats.org/officeDocument/2006/relationships/slideLayout" Target="../slideLayouts/slideLayout160.xml"/><Relationship Id="rId63" Type="http://schemas.openxmlformats.org/officeDocument/2006/relationships/slideLayout" Target="../slideLayouts/slideLayout176.xml"/><Relationship Id="rId68" Type="http://schemas.openxmlformats.org/officeDocument/2006/relationships/slideLayout" Target="../slideLayouts/slideLayout181.xml"/><Relationship Id="rId84" Type="http://schemas.openxmlformats.org/officeDocument/2006/relationships/slideLayout" Target="../slideLayouts/slideLayout197.xml"/><Relationship Id="rId89" Type="http://schemas.openxmlformats.org/officeDocument/2006/relationships/slideLayout" Target="../slideLayouts/slideLayout202.xml"/><Relationship Id="rId16" Type="http://schemas.openxmlformats.org/officeDocument/2006/relationships/slideLayout" Target="../slideLayouts/slideLayout129.xml"/><Relationship Id="rId11" Type="http://schemas.openxmlformats.org/officeDocument/2006/relationships/slideLayout" Target="../slideLayouts/slideLayout124.xml"/><Relationship Id="rId32" Type="http://schemas.openxmlformats.org/officeDocument/2006/relationships/slideLayout" Target="../slideLayouts/slideLayout145.xml"/><Relationship Id="rId37" Type="http://schemas.openxmlformats.org/officeDocument/2006/relationships/slideLayout" Target="../slideLayouts/slideLayout150.xml"/><Relationship Id="rId53" Type="http://schemas.openxmlformats.org/officeDocument/2006/relationships/slideLayout" Target="../slideLayouts/slideLayout166.xml"/><Relationship Id="rId58" Type="http://schemas.openxmlformats.org/officeDocument/2006/relationships/slideLayout" Target="../slideLayouts/slideLayout171.xml"/><Relationship Id="rId74" Type="http://schemas.openxmlformats.org/officeDocument/2006/relationships/slideLayout" Target="../slideLayouts/slideLayout187.xml"/><Relationship Id="rId79" Type="http://schemas.openxmlformats.org/officeDocument/2006/relationships/slideLayout" Target="../slideLayouts/slideLayout192.xml"/><Relationship Id="rId102" Type="http://schemas.openxmlformats.org/officeDocument/2006/relationships/slideLayout" Target="../slideLayouts/slideLayout215.xml"/><Relationship Id="rId5" Type="http://schemas.openxmlformats.org/officeDocument/2006/relationships/slideLayout" Target="../slideLayouts/slideLayout118.xml"/><Relationship Id="rId90" Type="http://schemas.openxmlformats.org/officeDocument/2006/relationships/slideLayout" Target="../slideLayouts/slideLayout203.xml"/><Relationship Id="rId95" Type="http://schemas.openxmlformats.org/officeDocument/2006/relationships/slideLayout" Target="../slideLayouts/slideLayout208.xml"/><Relationship Id="rId22" Type="http://schemas.openxmlformats.org/officeDocument/2006/relationships/slideLayout" Target="../slideLayouts/slideLayout135.xml"/><Relationship Id="rId27" Type="http://schemas.openxmlformats.org/officeDocument/2006/relationships/slideLayout" Target="../slideLayouts/slideLayout140.xml"/><Relationship Id="rId43" Type="http://schemas.openxmlformats.org/officeDocument/2006/relationships/slideLayout" Target="../slideLayouts/slideLayout156.xml"/><Relationship Id="rId48" Type="http://schemas.openxmlformats.org/officeDocument/2006/relationships/slideLayout" Target="../slideLayouts/slideLayout161.xml"/><Relationship Id="rId64" Type="http://schemas.openxmlformats.org/officeDocument/2006/relationships/slideLayout" Target="../slideLayouts/slideLayout177.xml"/><Relationship Id="rId69" Type="http://schemas.openxmlformats.org/officeDocument/2006/relationships/slideLayout" Target="../slideLayouts/slideLayout182.xml"/><Relationship Id="rId80" Type="http://schemas.openxmlformats.org/officeDocument/2006/relationships/slideLayout" Target="../slideLayouts/slideLayout193.xml"/><Relationship Id="rId85" Type="http://schemas.openxmlformats.org/officeDocument/2006/relationships/slideLayout" Target="../slideLayouts/slideLayout198.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33" Type="http://schemas.openxmlformats.org/officeDocument/2006/relationships/slideLayout" Target="../slideLayouts/slideLayout146.xml"/><Relationship Id="rId38" Type="http://schemas.openxmlformats.org/officeDocument/2006/relationships/slideLayout" Target="../slideLayouts/slideLayout151.xml"/><Relationship Id="rId59" Type="http://schemas.openxmlformats.org/officeDocument/2006/relationships/slideLayout" Target="../slideLayouts/slideLayout172.xml"/><Relationship Id="rId103" Type="http://schemas.openxmlformats.org/officeDocument/2006/relationships/slideLayout" Target="../slideLayouts/slideLayout216.xml"/><Relationship Id="rId20" Type="http://schemas.openxmlformats.org/officeDocument/2006/relationships/slideLayout" Target="../slideLayouts/slideLayout133.xml"/><Relationship Id="rId41" Type="http://schemas.openxmlformats.org/officeDocument/2006/relationships/slideLayout" Target="../slideLayouts/slideLayout154.xml"/><Relationship Id="rId54" Type="http://schemas.openxmlformats.org/officeDocument/2006/relationships/slideLayout" Target="../slideLayouts/slideLayout167.xml"/><Relationship Id="rId62" Type="http://schemas.openxmlformats.org/officeDocument/2006/relationships/slideLayout" Target="../slideLayouts/slideLayout175.xml"/><Relationship Id="rId70" Type="http://schemas.openxmlformats.org/officeDocument/2006/relationships/slideLayout" Target="../slideLayouts/slideLayout183.xml"/><Relationship Id="rId75" Type="http://schemas.openxmlformats.org/officeDocument/2006/relationships/slideLayout" Target="../slideLayouts/slideLayout188.xml"/><Relationship Id="rId83" Type="http://schemas.openxmlformats.org/officeDocument/2006/relationships/slideLayout" Target="../slideLayouts/slideLayout196.xml"/><Relationship Id="rId88" Type="http://schemas.openxmlformats.org/officeDocument/2006/relationships/slideLayout" Target="../slideLayouts/slideLayout201.xml"/><Relationship Id="rId91" Type="http://schemas.openxmlformats.org/officeDocument/2006/relationships/slideLayout" Target="../slideLayouts/slideLayout204.xml"/><Relationship Id="rId96" Type="http://schemas.openxmlformats.org/officeDocument/2006/relationships/slideLayout" Target="../slideLayouts/slideLayout209.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slideLayout" Target="../slideLayouts/slideLayout141.xml"/><Relationship Id="rId36" Type="http://schemas.openxmlformats.org/officeDocument/2006/relationships/slideLayout" Target="../slideLayouts/slideLayout149.xml"/><Relationship Id="rId49" Type="http://schemas.openxmlformats.org/officeDocument/2006/relationships/slideLayout" Target="../slideLayouts/slideLayout162.xml"/><Relationship Id="rId57" Type="http://schemas.openxmlformats.org/officeDocument/2006/relationships/slideLayout" Target="../slideLayouts/slideLayout170.xml"/><Relationship Id="rId106" Type="http://schemas.openxmlformats.org/officeDocument/2006/relationships/theme" Target="../theme/theme3.xml"/><Relationship Id="rId10" Type="http://schemas.openxmlformats.org/officeDocument/2006/relationships/slideLayout" Target="../slideLayouts/slideLayout123.xml"/><Relationship Id="rId31" Type="http://schemas.openxmlformats.org/officeDocument/2006/relationships/slideLayout" Target="../slideLayouts/slideLayout144.xml"/><Relationship Id="rId44" Type="http://schemas.openxmlformats.org/officeDocument/2006/relationships/slideLayout" Target="../slideLayouts/slideLayout157.xml"/><Relationship Id="rId52" Type="http://schemas.openxmlformats.org/officeDocument/2006/relationships/slideLayout" Target="../slideLayouts/slideLayout165.xml"/><Relationship Id="rId60" Type="http://schemas.openxmlformats.org/officeDocument/2006/relationships/slideLayout" Target="../slideLayouts/slideLayout173.xml"/><Relationship Id="rId65" Type="http://schemas.openxmlformats.org/officeDocument/2006/relationships/slideLayout" Target="../slideLayouts/slideLayout178.xml"/><Relationship Id="rId73" Type="http://schemas.openxmlformats.org/officeDocument/2006/relationships/slideLayout" Target="../slideLayouts/slideLayout186.xml"/><Relationship Id="rId78" Type="http://schemas.openxmlformats.org/officeDocument/2006/relationships/slideLayout" Target="../slideLayouts/slideLayout191.xml"/><Relationship Id="rId81" Type="http://schemas.openxmlformats.org/officeDocument/2006/relationships/slideLayout" Target="../slideLayouts/slideLayout194.xml"/><Relationship Id="rId86" Type="http://schemas.openxmlformats.org/officeDocument/2006/relationships/slideLayout" Target="../slideLayouts/slideLayout199.xml"/><Relationship Id="rId94" Type="http://schemas.openxmlformats.org/officeDocument/2006/relationships/slideLayout" Target="../slideLayouts/slideLayout207.xml"/><Relationship Id="rId99" Type="http://schemas.openxmlformats.org/officeDocument/2006/relationships/slideLayout" Target="../slideLayouts/slideLayout212.xml"/><Relationship Id="rId101" Type="http://schemas.openxmlformats.org/officeDocument/2006/relationships/slideLayout" Target="../slideLayouts/slideLayout214.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9" Type="http://schemas.openxmlformats.org/officeDocument/2006/relationships/slideLayout" Target="../slideLayouts/slideLayout152.xml"/><Relationship Id="rId34" Type="http://schemas.openxmlformats.org/officeDocument/2006/relationships/slideLayout" Target="../slideLayouts/slideLayout147.xml"/><Relationship Id="rId50" Type="http://schemas.openxmlformats.org/officeDocument/2006/relationships/slideLayout" Target="../slideLayouts/slideLayout163.xml"/><Relationship Id="rId55" Type="http://schemas.openxmlformats.org/officeDocument/2006/relationships/slideLayout" Target="../slideLayouts/slideLayout168.xml"/><Relationship Id="rId76" Type="http://schemas.openxmlformats.org/officeDocument/2006/relationships/slideLayout" Target="../slideLayouts/slideLayout189.xml"/><Relationship Id="rId97" Type="http://schemas.openxmlformats.org/officeDocument/2006/relationships/slideLayout" Target="../slideLayouts/slideLayout210.xml"/><Relationship Id="rId104" Type="http://schemas.openxmlformats.org/officeDocument/2006/relationships/slideLayout" Target="../slideLayouts/slideLayout217.xml"/><Relationship Id="rId7" Type="http://schemas.openxmlformats.org/officeDocument/2006/relationships/slideLayout" Target="../slideLayouts/slideLayout120.xml"/><Relationship Id="rId71" Type="http://schemas.openxmlformats.org/officeDocument/2006/relationships/slideLayout" Target="../slideLayouts/slideLayout184.xml"/><Relationship Id="rId92" Type="http://schemas.openxmlformats.org/officeDocument/2006/relationships/slideLayout" Target="../slideLayouts/slideLayout205.xml"/><Relationship Id="rId2" Type="http://schemas.openxmlformats.org/officeDocument/2006/relationships/slideLayout" Target="../slideLayouts/slideLayout115.xml"/><Relationship Id="rId29" Type="http://schemas.openxmlformats.org/officeDocument/2006/relationships/slideLayout" Target="../slideLayouts/slideLayout142.xml"/><Relationship Id="rId24" Type="http://schemas.openxmlformats.org/officeDocument/2006/relationships/slideLayout" Target="../slideLayouts/slideLayout137.xml"/><Relationship Id="rId40" Type="http://schemas.openxmlformats.org/officeDocument/2006/relationships/slideLayout" Target="../slideLayouts/slideLayout153.xml"/><Relationship Id="rId45" Type="http://schemas.openxmlformats.org/officeDocument/2006/relationships/slideLayout" Target="../slideLayouts/slideLayout158.xml"/><Relationship Id="rId66" Type="http://schemas.openxmlformats.org/officeDocument/2006/relationships/slideLayout" Target="../slideLayouts/slideLayout179.xml"/><Relationship Id="rId87" Type="http://schemas.openxmlformats.org/officeDocument/2006/relationships/slideLayout" Target="../slideLayouts/slideLayout200.xml"/><Relationship Id="rId61" Type="http://schemas.openxmlformats.org/officeDocument/2006/relationships/slideLayout" Target="../slideLayouts/slideLayout174.xml"/><Relationship Id="rId82" Type="http://schemas.openxmlformats.org/officeDocument/2006/relationships/slideLayout" Target="../slideLayouts/slideLayout195.xml"/><Relationship Id="rId19" Type="http://schemas.openxmlformats.org/officeDocument/2006/relationships/slideLayout" Target="../slideLayouts/slideLayout132.xml"/><Relationship Id="rId14" Type="http://schemas.openxmlformats.org/officeDocument/2006/relationships/slideLayout" Target="../slideLayouts/slideLayout127.xml"/><Relationship Id="rId30" Type="http://schemas.openxmlformats.org/officeDocument/2006/relationships/slideLayout" Target="../slideLayouts/slideLayout143.xml"/><Relationship Id="rId35" Type="http://schemas.openxmlformats.org/officeDocument/2006/relationships/slideLayout" Target="../slideLayouts/slideLayout148.xml"/><Relationship Id="rId56" Type="http://schemas.openxmlformats.org/officeDocument/2006/relationships/slideLayout" Target="../slideLayouts/slideLayout169.xml"/><Relationship Id="rId77" Type="http://schemas.openxmlformats.org/officeDocument/2006/relationships/slideLayout" Target="../slideLayouts/slideLayout190.xml"/><Relationship Id="rId100" Type="http://schemas.openxmlformats.org/officeDocument/2006/relationships/slideLayout" Target="../slideLayouts/slideLayout213.xml"/><Relationship Id="rId105" Type="http://schemas.openxmlformats.org/officeDocument/2006/relationships/slideLayout" Target="../slideLayouts/slideLayout218.xml"/><Relationship Id="rId8" Type="http://schemas.openxmlformats.org/officeDocument/2006/relationships/slideLayout" Target="../slideLayouts/slideLayout121.xml"/><Relationship Id="rId51" Type="http://schemas.openxmlformats.org/officeDocument/2006/relationships/slideLayout" Target="../slideLayouts/slideLayout164.xml"/><Relationship Id="rId72" Type="http://schemas.openxmlformats.org/officeDocument/2006/relationships/slideLayout" Target="../slideLayouts/slideLayout185.xml"/><Relationship Id="rId93" Type="http://schemas.openxmlformats.org/officeDocument/2006/relationships/slideLayout" Target="../slideLayouts/slideLayout206.xml"/><Relationship Id="rId98" Type="http://schemas.openxmlformats.org/officeDocument/2006/relationships/slideLayout" Target="../slideLayouts/slideLayout211.xml"/><Relationship Id="rId3" Type="http://schemas.openxmlformats.org/officeDocument/2006/relationships/slideLayout" Target="../slideLayouts/slideLayout116.xml"/><Relationship Id="rId25" Type="http://schemas.openxmlformats.org/officeDocument/2006/relationships/slideLayout" Target="../slideLayouts/slideLayout138.xml"/><Relationship Id="rId46" Type="http://schemas.openxmlformats.org/officeDocument/2006/relationships/slideLayout" Target="../slideLayouts/slideLayout159.xml"/><Relationship Id="rId67" Type="http://schemas.openxmlformats.org/officeDocument/2006/relationships/slideLayout" Target="../slideLayouts/slideLayout18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107"/>
            </p:custDataLst>
            <p:extLst>
              <p:ext uri="{D42A27DB-BD31-4B8C-83A1-F6EECF244321}">
                <p14:modId xmlns:p14="http://schemas.microsoft.com/office/powerpoint/2010/main" val="1755159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9" name="Слайд think-cell" r:id="rId108" imgW="425" imgH="426" progId="TCLayout.ActiveDocument.1">
                  <p:embed/>
                </p:oleObj>
              </mc:Choice>
              <mc:Fallback>
                <p:oleObj name="Слайд think-cell" r:id="rId108" imgW="425" imgH="426" progId="TCLayout.ActiveDocument.1">
                  <p:embed/>
                  <p:pic>
                    <p:nvPicPr>
                      <p:cNvPr id="0" name=""/>
                      <p:cNvPicPr/>
                      <p:nvPr/>
                    </p:nvPicPr>
                    <p:blipFill>
                      <a:blip r:embed="rId10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95112358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 id="2147483747" r:id="rId87"/>
    <p:sldLayoutId id="2147483748" r:id="rId88"/>
    <p:sldLayoutId id="2147483749" r:id="rId89"/>
    <p:sldLayoutId id="2147483750" r:id="rId90"/>
    <p:sldLayoutId id="2147483751" r:id="rId91"/>
    <p:sldLayoutId id="2147483752" r:id="rId92"/>
    <p:sldLayoutId id="2147483753" r:id="rId93"/>
    <p:sldLayoutId id="2147483754" r:id="rId94"/>
    <p:sldLayoutId id="2147483755" r:id="rId95"/>
    <p:sldLayoutId id="2147483756" r:id="rId96"/>
    <p:sldLayoutId id="2147483757" r:id="rId97"/>
    <p:sldLayoutId id="2147483758" r:id="rId98"/>
    <p:sldLayoutId id="2147483759" r:id="rId99"/>
    <p:sldLayoutId id="2147483760" r:id="rId100"/>
    <p:sldLayoutId id="2147483761" r:id="rId101"/>
    <p:sldLayoutId id="2147483762" r:id="rId102"/>
    <p:sldLayoutId id="2147483774" r:id="rId103"/>
    <p:sldLayoutId id="2147483879" r:id="rId10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orient="horz" pos="21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12"/>
            </p:custDataLst>
            <p:extLst>
              <p:ext uri="{D42A27DB-BD31-4B8C-83A1-F6EECF244321}">
                <p14:modId xmlns:p14="http://schemas.microsoft.com/office/powerpoint/2010/main" val="1571361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3" name="Слайд think-cell" r:id="rId13" imgW="425" imgH="426" progId="TCLayout.ActiveDocument.1">
                  <p:embed/>
                </p:oleObj>
              </mc:Choice>
              <mc:Fallback>
                <p:oleObj name="Слайд think-cell" r:id="rId13" imgW="425" imgH="426"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150151954"/>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2" r:id="rId8"/>
    <p:sldLayoutId id="2147483773" r:id="rId9"/>
  </p:sldLayoutIdLst>
  <p:timing>
    <p:tnLst>
      <p:par>
        <p:cTn id="1" dur="indefinite" restart="never" nodeType="tmRoot"/>
      </p:par>
    </p:tnLst>
  </p:timing>
  <p:hf hdr="0" ftr="0" dt="0"/>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651525"/>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 id="2147483800" r:id="rId25"/>
    <p:sldLayoutId id="2147483801" r:id="rId26"/>
    <p:sldLayoutId id="2147483802" r:id="rId27"/>
    <p:sldLayoutId id="2147483803" r:id="rId28"/>
    <p:sldLayoutId id="2147483804" r:id="rId29"/>
    <p:sldLayoutId id="2147483805" r:id="rId30"/>
    <p:sldLayoutId id="2147483806" r:id="rId31"/>
    <p:sldLayoutId id="2147483807" r:id="rId32"/>
    <p:sldLayoutId id="2147483808" r:id="rId33"/>
    <p:sldLayoutId id="2147483809" r:id="rId34"/>
    <p:sldLayoutId id="2147483810" r:id="rId35"/>
    <p:sldLayoutId id="2147483811" r:id="rId36"/>
    <p:sldLayoutId id="2147483812" r:id="rId37"/>
    <p:sldLayoutId id="2147483813" r:id="rId38"/>
    <p:sldLayoutId id="2147483814" r:id="rId39"/>
    <p:sldLayoutId id="2147483815" r:id="rId40"/>
    <p:sldLayoutId id="2147483816" r:id="rId41"/>
    <p:sldLayoutId id="2147483817" r:id="rId42"/>
    <p:sldLayoutId id="2147483818" r:id="rId43"/>
    <p:sldLayoutId id="2147483819" r:id="rId44"/>
    <p:sldLayoutId id="2147483820" r:id="rId45"/>
    <p:sldLayoutId id="2147483821" r:id="rId46"/>
    <p:sldLayoutId id="2147483822" r:id="rId47"/>
    <p:sldLayoutId id="2147483823" r:id="rId48"/>
    <p:sldLayoutId id="2147483824" r:id="rId49"/>
    <p:sldLayoutId id="2147483825" r:id="rId50"/>
    <p:sldLayoutId id="2147483826" r:id="rId51"/>
    <p:sldLayoutId id="2147483827" r:id="rId52"/>
    <p:sldLayoutId id="2147483828" r:id="rId53"/>
    <p:sldLayoutId id="2147483829" r:id="rId54"/>
    <p:sldLayoutId id="2147483830" r:id="rId55"/>
    <p:sldLayoutId id="2147483831" r:id="rId56"/>
    <p:sldLayoutId id="2147483832" r:id="rId57"/>
    <p:sldLayoutId id="2147483833" r:id="rId58"/>
    <p:sldLayoutId id="2147483834" r:id="rId59"/>
    <p:sldLayoutId id="2147483835" r:id="rId60"/>
    <p:sldLayoutId id="2147483836" r:id="rId61"/>
    <p:sldLayoutId id="2147483837" r:id="rId62"/>
    <p:sldLayoutId id="2147483838" r:id="rId63"/>
    <p:sldLayoutId id="2147483839" r:id="rId64"/>
    <p:sldLayoutId id="2147483840" r:id="rId65"/>
    <p:sldLayoutId id="2147483841" r:id="rId66"/>
    <p:sldLayoutId id="2147483842" r:id="rId67"/>
    <p:sldLayoutId id="2147483843" r:id="rId68"/>
    <p:sldLayoutId id="2147483844" r:id="rId69"/>
    <p:sldLayoutId id="2147483845" r:id="rId70"/>
    <p:sldLayoutId id="2147483846" r:id="rId71"/>
    <p:sldLayoutId id="2147483847" r:id="rId72"/>
    <p:sldLayoutId id="2147483848" r:id="rId73"/>
    <p:sldLayoutId id="2147483849" r:id="rId74"/>
    <p:sldLayoutId id="2147483850" r:id="rId75"/>
    <p:sldLayoutId id="2147483851" r:id="rId76"/>
    <p:sldLayoutId id="2147483852" r:id="rId77"/>
    <p:sldLayoutId id="2147483853" r:id="rId78"/>
    <p:sldLayoutId id="2147483854" r:id="rId79"/>
    <p:sldLayoutId id="2147483855" r:id="rId80"/>
    <p:sldLayoutId id="2147483856" r:id="rId81"/>
    <p:sldLayoutId id="2147483857" r:id="rId82"/>
    <p:sldLayoutId id="2147483858" r:id="rId83"/>
    <p:sldLayoutId id="2147483859" r:id="rId84"/>
    <p:sldLayoutId id="2147483860" r:id="rId85"/>
    <p:sldLayoutId id="2147483861" r:id="rId86"/>
    <p:sldLayoutId id="2147483862" r:id="rId87"/>
    <p:sldLayoutId id="2147483863" r:id="rId88"/>
    <p:sldLayoutId id="2147483864" r:id="rId89"/>
    <p:sldLayoutId id="2147483865" r:id="rId90"/>
    <p:sldLayoutId id="2147483866" r:id="rId91"/>
    <p:sldLayoutId id="2147483867" r:id="rId92"/>
    <p:sldLayoutId id="2147483868" r:id="rId93"/>
    <p:sldLayoutId id="2147483869" r:id="rId94"/>
    <p:sldLayoutId id="2147483870" r:id="rId95"/>
    <p:sldLayoutId id="2147483871" r:id="rId96"/>
    <p:sldLayoutId id="2147483872" r:id="rId97"/>
    <p:sldLayoutId id="2147483873" r:id="rId98"/>
    <p:sldLayoutId id="2147483874" r:id="rId99"/>
    <p:sldLayoutId id="2147483875" r:id="rId100"/>
    <p:sldLayoutId id="2147483876" r:id="rId101"/>
    <p:sldLayoutId id="2147483877" r:id="rId102"/>
    <p:sldLayoutId id="2147483878" r:id="rId103"/>
    <p:sldLayoutId id="2147483880" r:id="rId104"/>
    <p:sldLayoutId id="2147483881" r:id="rId10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orient="horz" pos="216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11.jpeg"/></Relationships>
</file>

<file path=ppt/slides/_rels/slide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43.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17.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17.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17.xml"/></Relationships>
</file>

<file path=ppt/slides/_rels/slide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17.xml"/></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17.xml"/></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17.xml"/></Relationships>
</file>

<file path=ppt/slides/_rels/slide2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1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1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17.xml"/></Relationships>
</file>

<file path=ppt/slides/_rels/slide24.xml.rels><?xml version="1.0" encoding="UTF-8" standalone="yes"?>
<Relationships xmlns="http://schemas.openxmlformats.org/package/2006/relationships"><Relationship Id="rId2" Type="http://schemas.openxmlformats.org/officeDocument/2006/relationships/image" Target="../media/image26.gif"/><Relationship Id="rId1" Type="http://schemas.openxmlformats.org/officeDocument/2006/relationships/slideLayout" Target="../slideLayouts/slideLayout21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1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27.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143.xml"/></Relationships>
</file>

<file path=ppt/slides/_rels/slide2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1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1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17.xml"/></Relationships>
</file>

<file path=ppt/slides/_rels/slide32.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14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37.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oleObject" Target="../embeddings/oleObject3.bin"/><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slideLayout" Target="../slideLayouts/slideLayout103.xml"/><Relationship Id="rId2" Type="http://schemas.openxmlformats.org/officeDocument/2006/relationships/tags" Target="../tags/tag4.xml"/><Relationship Id="rId16" Type="http://schemas.openxmlformats.org/officeDocument/2006/relationships/hyperlink" Target="https://files.scienceforum.ru/pdf/2020/5e049647b67c9.pdf" TargetMode="External"/><Relationship Id="rId1" Type="http://schemas.openxmlformats.org/officeDocument/2006/relationships/vmlDrawing" Target="../drawings/vmlDrawing3.v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chart" Target="../charts/chart1.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30.gif"/><Relationship Id="rId2" Type="http://schemas.openxmlformats.org/officeDocument/2006/relationships/tags" Target="../tags/tag1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103.xml"/></Relationships>
</file>

<file path=ppt/slides/_rels/slide39.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10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hyperlink" Target="https://filearchive.cnews.ru/img/files/2019/04/17/4._polyakov_anatolij.pdf" TargetMode="External"/><Relationship Id="rId2" Type="http://schemas.openxmlformats.org/officeDocument/2006/relationships/image" Target="../media/image31.PNG"/><Relationship Id="rId1" Type="http://schemas.openxmlformats.org/officeDocument/2006/relationships/slideLayout" Target="../slideLayouts/slideLayout103.xml"/><Relationship Id="rId5" Type="http://schemas.openxmlformats.org/officeDocument/2006/relationships/image" Target="../media/image33.PNG"/><Relationship Id="rId4" Type="http://schemas.openxmlformats.org/officeDocument/2006/relationships/image" Target="../media/image32.PNG"/></Relationships>
</file>

<file path=ppt/slides/_rels/slide4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03.xml"/></Relationships>
</file>

<file path=ppt/slides/_rels/slide42.xml.rels><?xml version="1.0" encoding="UTF-8" standalone="yes"?>
<Relationships xmlns="http://schemas.openxmlformats.org/package/2006/relationships"><Relationship Id="rId3" Type="http://schemas.openxmlformats.org/officeDocument/2006/relationships/hyperlink" Target="https://filearchive.cnews.ru/img/files/2019/04/17/4._polyakov_anatolij.pdf" TargetMode="External"/><Relationship Id="rId2" Type="http://schemas.openxmlformats.org/officeDocument/2006/relationships/image" Target="../media/image35.PNG"/><Relationship Id="rId1" Type="http://schemas.openxmlformats.org/officeDocument/2006/relationships/slideLayout" Target="../slideLayouts/slideLayout103.xml"/></Relationships>
</file>

<file path=ppt/slides/_rels/slide4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03.xml"/></Relationships>
</file>

<file path=ppt/slides/_rels/slide44.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149.xml"/></Relationships>
</file>

<file path=ppt/slides/_rels/slide45.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38.PNG"/><Relationship Id="rId2" Type="http://schemas.openxmlformats.org/officeDocument/2006/relationships/tags" Target="../tags/tag18.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216.xml"/></Relationships>
</file>

<file path=ppt/slides/_rels/slide46.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39.PNG"/><Relationship Id="rId2" Type="http://schemas.openxmlformats.org/officeDocument/2006/relationships/tags" Target="../tags/tag20.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216.xml"/></Relationships>
</file>

<file path=ppt/slides/_rels/slide47.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40.PNG"/><Relationship Id="rId2" Type="http://schemas.openxmlformats.org/officeDocument/2006/relationships/tags" Target="../tags/tag22.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216.xml"/></Relationships>
</file>

<file path=ppt/slides/_rels/slide48.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41.PNG"/><Relationship Id="rId2" Type="http://schemas.openxmlformats.org/officeDocument/2006/relationships/tags" Target="../tags/tag24.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216.xml"/></Relationships>
</file>

<file path=ppt/slides/_rels/slide49.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42.PNG"/><Relationship Id="rId2" Type="http://schemas.openxmlformats.org/officeDocument/2006/relationships/tags" Target="../tags/tag26.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216.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0.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43.PNG"/><Relationship Id="rId2" Type="http://schemas.openxmlformats.org/officeDocument/2006/relationships/tags" Target="../tags/tag28.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216.xml"/></Relationships>
</file>

<file path=ppt/slides/_rels/slide5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04.xml"/><Relationship Id="rId4" Type="http://schemas.openxmlformats.org/officeDocument/2006/relationships/image" Target="../media/image46.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microsoft.com/office/2007/relationships/diagramDrawing" Target="../diagrams/drawing2.xml"/><Relationship Id="rId3" Type="http://schemas.microsoft.com/office/2007/relationships/hdphoto" Target="../media/hdphoto1.wdp"/><Relationship Id="rId7" Type="http://schemas.openxmlformats.org/officeDocument/2006/relationships/diagramColors" Target="../diagrams/colors2.xml"/><Relationship Id="rId2" Type="http://schemas.openxmlformats.org/officeDocument/2006/relationships/image" Target="../media/image3.png"/><Relationship Id="rId1" Type="http://schemas.openxmlformats.org/officeDocument/2006/relationships/slideLayout" Target="../slideLayouts/slideLayout6.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5.png"/><Relationship Id="rId4" Type="http://schemas.microsoft.com/office/2007/relationships/hdphoto" Target="../media/hdphoto2.wdp"/></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iamond 3"/>
          <p:cNvSpPr/>
          <p:nvPr/>
        </p:nvSpPr>
        <p:spPr>
          <a:xfrm>
            <a:off x="-742950" y="-1089444"/>
            <a:ext cx="4076700" cy="4076700"/>
          </a:xfrm>
          <a:prstGeom prst="diamond">
            <a:avLst/>
          </a:prstGeom>
          <a:noFill/>
          <a:ln w="409575">
            <a:solidFill>
              <a:schemeClr val="bg1">
                <a:alpha val="51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33255" y="0"/>
            <a:ext cx="9525489" cy="6858000"/>
          </a:xfrm>
          <a:prstGeom prst="rect">
            <a:avLst/>
          </a:prstGeom>
        </p:spPr>
      </p:pic>
      <p:sp>
        <p:nvSpPr>
          <p:cNvPr id="7" name="TextBox 6"/>
          <p:cNvSpPr txBox="1"/>
          <p:nvPr/>
        </p:nvSpPr>
        <p:spPr>
          <a:xfrm>
            <a:off x="1137371" y="2058496"/>
            <a:ext cx="9917267" cy="2554545"/>
          </a:xfrm>
          <a:prstGeom prst="rect">
            <a:avLst/>
          </a:prstGeom>
          <a:noFill/>
          <a:effectLst/>
        </p:spPr>
        <p:txBody>
          <a:bodyPr wrap="none" lIns="0" tIns="0" rIns="0" bIns="0" rtlCol="0">
            <a:spAutoFit/>
          </a:bodyPr>
          <a:lstStyle/>
          <a:p>
            <a:pPr algn="ctr"/>
            <a:r>
              <a:rPr lang="en-US" sz="16600" dirty="0" smtClean="0">
                <a:gradFill>
                  <a:gsLst>
                    <a:gs pos="0">
                      <a:schemeClr val="accent1"/>
                    </a:gs>
                    <a:gs pos="73000">
                      <a:schemeClr val="accent2">
                        <a:alpha val="73000"/>
                      </a:schemeClr>
                    </a:gs>
                  </a:gsLst>
                  <a:lin ang="3000000" scaled="0"/>
                </a:gradFill>
                <a:effectLst>
                  <a:outerShdw blurRad="228600" dist="38100" dir="2700000" algn="tl" rotWithShape="0">
                    <a:prstClr val="black"/>
                  </a:outerShdw>
                </a:effectLst>
                <a:latin typeface="Open Sans BOLD" panose="020B0806030504020204" pitchFamily="34" charset="0"/>
                <a:ea typeface="Open Sans BOLD" panose="020B0806030504020204" pitchFamily="34" charset="0"/>
                <a:cs typeface="Open Sans BOLD" panose="020B0806030504020204" pitchFamily="34" charset="0"/>
              </a:rPr>
              <a:t>Data Mining</a:t>
            </a:r>
            <a:endParaRPr lang="en-US" sz="16600" dirty="0">
              <a:gradFill>
                <a:gsLst>
                  <a:gs pos="0">
                    <a:schemeClr val="accent1"/>
                  </a:gs>
                  <a:gs pos="73000">
                    <a:schemeClr val="accent2">
                      <a:alpha val="73000"/>
                    </a:schemeClr>
                  </a:gs>
                </a:gsLst>
                <a:lin ang="3000000" scaled="0"/>
              </a:gradFill>
              <a:effectLst>
                <a:outerShdw blurRad="228600" dist="38100" dir="2700000" algn="tl" rotWithShape="0">
                  <a:prstClr val="black"/>
                </a:outerShdw>
              </a:effectLst>
              <a:latin typeface="Open Sans BOLD" panose="020B0806030504020204" pitchFamily="34" charset="0"/>
              <a:ea typeface="Open Sans BOLD" panose="020B0806030504020204" pitchFamily="34" charset="0"/>
              <a:cs typeface="Open Sans BOLD" panose="020B0806030504020204" pitchFamily="34" charset="0"/>
            </a:endParaRPr>
          </a:p>
        </p:txBody>
      </p:sp>
      <p:sp>
        <p:nvSpPr>
          <p:cNvPr id="8" name="TextBox 7"/>
          <p:cNvSpPr txBox="1"/>
          <p:nvPr/>
        </p:nvSpPr>
        <p:spPr>
          <a:xfrm>
            <a:off x="2949626" y="4307074"/>
            <a:ext cx="6467476" cy="615553"/>
          </a:xfrm>
          <a:prstGeom prst="rect">
            <a:avLst/>
          </a:prstGeom>
          <a:noFill/>
        </p:spPr>
        <p:txBody>
          <a:bodyPr wrap="none" lIns="0" tIns="0" rIns="0" bIns="0" rtlCol="0">
            <a:spAutoFit/>
          </a:bodyPr>
          <a:lstStyle/>
          <a:p>
            <a:r>
              <a:rPr lang="ru-RU" sz="4000" spc="300" dirty="0" smtClean="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Аналитика больших данных</a:t>
            </a:r>
            <a:endParaRPr lang="en-US" sz="4000" spc="300"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12" name="Freeform 11"/>
          <p:cNvSpPr/>
          <p:nvPr/>
        </p:nvSpPr>
        <p:spPr>
          <a:xfrm>
            <a:off x="9791700" y="4400550"/>
            <a:ext cx="2400300" cy="2457450"/>
          </a:xfrm>
          <a:custGeom>
            <a:avLst/>
            <a:gdLst>
              <a:gd name="connsiteX0" fmla="*/ 1524000 w 2400300"/>
              <a:gd name="connsiteY0" fmla="*/ 0 h 2457450"/>
              <a:gd name="connsiteX1" fmla="*/ 2400300 w 2400300"/>
              <a:gd name="connsiteY1" fmla="*/ 876300 h 2457450"/>
              <a:gd name="connsiteX2" fmla="*/ 2400300 w 2400300"/>
              <a:gd name="connsiteY2" fmla="*/ 2171700 h 2457450"/>
              <a:gd name="connsiteX3" fmla="*/ 2114550 w 2400300"/>
              <a:gd name="connsiteY3" fmla="*/ 2457450 h 2457450"/>
              <a:gd name="connsiteX4" fmla="*/ 933450 w 2400300"/>
              <a:gd name="connsiteY4" fmla="*/ 2457450 h 2457450"/>
              <a:gd name="connsiteX5" fmla="*/ 0 w 2400300"/>
              <a:gd name="connsiteY5" fmla="*/ 1524000 h 245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0300" h="2457450">
                <a:moveTo>
                  <a:pt x="1524000" y="0"/>
                </a:moveTo>
                <a:lnTo>
                  <a:pt x="2400300" y="876300"/>
                </a:lnTo>
                <a:lnTo>
                  <a:pt x="2400300" y="2171700"/>
                </a:lnTo>
                <a:lnTo>
                  <a:pt x="2114550" y="2457450"/>
                </a:lnTo>
                <a:lnTo>
                  <a:pt x="933450" y="2457450"/>
                </a:lnTo>
                <a:lnTo>
                  <a:pt x="0" y="1524000"/>
                </a:lnTo>
                <a:close/>
              </a:path>
            </a:pathLst>
          </a:custGeom>
          <a:gradFill>
            <a:gsLst>
              <a:gs pos="0">
                <a:schemeClr val="accent1">
                  <a:alpha val="50000"/>
                </a:schemeClr>
              </a:gs>
              <a:gs pos="100000">
                <a:schemeClr val="accent4">
                  <a:lumMod val="100000"/>
                  <a:alpha val="81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4284962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229595" y="422031"/>
            <a:ext cx="5657902" cy="5657902"/>
          </a:xfrm>
          <a:prstGeom prst="rect">
            <a:avLst/>
          </a:prstGeom>
        </p:spPr>
      </p:pic>
      <p:sp>
        <p:nvSpPr>
          <p:cNvPr id="3" name="Прямоугольник 2"/>
          <p:cNvSpPr/>
          <p:nvPr/>
        </p:nvSpPr>
        <p:spPr>
          <a:xfrm>
            <a:off x="5610330" y="2219930"/>
            <a:ext cx="6096000" cy="2062103"/>
          </a:xfrm>
          <a:prstGeom prst="rect">
            <a:avLst/>
          </a:prstGeom>
        </p:spPr>
        <p:txBody>
          <a:bodyPr>
            <a:spAutoFit/>
          </a:bodyPr>
          <a:lstStyle/>
          <a:p>
            <a:pPr algn="just"/>
            <a:r>
              <a:rPr lang="ru-RU" sz="1600" dirty="0">
                <a:latin typeface="Open Sans"/>
              </a:rPr>
              <a:t>Weka - комплекс алгоритмов и инструментов для анализа данных и построения прогностических моделей. Он характеризуется удобством интерфейса, возможностью предварительной очистки данных, поддерживает различные алгоритмы машинного обучения, выводит результаты работы в удобной форме и позволяет сравнивать их точность, представляет ход обработки данных в виде схем взаимосвязей</a:t>
            </a:r>
            <a:endParaRPr lang="ru-RU" dirty="0"/>
          </a:p>
        </p:txBody>
      </p:sp>
    </p:spTree>
    <p:extLst>
      <p:ext uri="{BB962C8B-B14F-4D97-AF65-F5344CB8AC3E}">
        <p14:creationId xmlns:p14="http://schemas.microsoft.com/office/powerpoint/2010/main" val="4075789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14338" name="Picture 2" descr="http://houseofbots.com/images/news/3615/2img.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2969" y="178985"/>
            <a:ext cx="6217880" cy="1554470"/>
          </a:xfrm>
          <a:prstGeom prst="rect">
            <a:avLst/>
          </a:prstGeom>
          <a:noFill/>
          <a:extLst>
            <a:ext uri="{909E8E84-426E-40DD-AFC4-6F175D3DCCD1}">
              <a14:hiddenFill xmlns:a14="http://schemas.microsoft.com/office/drawing/2010/main">
                <a:solidFill>
                  <a:srgbClr val="FFFFFF"/>
                </a:solidFill>
              </a14:hiddenFill>
            </a:ext>
          </a:extLst>
        </p:spPr>
      </p:pic>
      <p:sp>
        <p:nvSpPr>
          <p:cNvPr id="2" name="Прямоугольник 1"/>
          <p:cNvSpPr/>
          <p:nvPr/>
        </p:nvSpPr>
        <p:spPr>
          <a:xfrm>
            <a:off x="0" y="1769155"/>
            <a:ext cx="11836959" cy="1077218"/>
          </a:xfrm>
          <a:prstGeom prst="rect">
            <a:avLst/>
          </a:prstGeom>
        </p:spPr>
        <p:txBody>
          <a:bodyPr wrap="square">
            <a:spAutoFit/>
          </a:bodyPr>
          <a:lstStyle/>
          <a:p>
            <a:pPr algn="just"/>
            <a:r>
              <a:rPr lang="ru-RU" sz="1600" dirty="0" smtClean="0">
                <a:latin typeface="Open Sans"/>
              </a:rPr>
              <a:t>Rapidminer</a:t>
            </a:r>
            <a:r>
              <a:rPr lang="ru-RU" sz="1600" dirty="0">
                <a:latin typeface="Open Sans"/>
              </a:rPr>
              <a:t> </a:t>
            </a:r>
            <a:r>
              <a:rPr lang="ru-RU" sz="1600" dirty="0" smtClean="0">
                <a:latin typeface="Open Sans"/>
              </a:rPr>
              <a:t>(аналог </a:t>
            </a:r>
            <a:r>
              <a:rPr lang="en-US" sz="1600" dirty="0" err="1" smtClean="0">
                <a:latin typeface="Open Sans"/>
              </a:rPr>
              <a:t>Knime</a:t>
            </a:r>
            <a:r>
              <a:rPr lang="ru-RU" sz="1600" dirty="0" smtClean="0">
                <a:latin typeface="Open Sans"/>
              </a:rPr>
              <a:t>) </a:t>
            </a:r>
            <a:r>
              <a:rPr lang="ru-RU" sz="1600" dirty="0">
                <a:latin typeface="Open Sans"/>
              </a:rPr>
              <a:t>- </a:t>
            </a:r>
            <a:r>
              <a:rPr lang="ru-RU" sz="1600" dirty="0" smtClean="0">
                <a:latin typeface="Open Sans"/>
              </a:rPr>
              <a:t>инструмент </a:t>
            </a:r>
            <a:r>
              <a:rPr lang="ru-RU" sz="1600" dirty="0">
                <a:latin typeface="Open Sans"/>
              </a:rPr>
              <a:t>для решения задач, связанных с преобразованиями данных, статистическим анализом, машинным обучением и визуализацией результатов. Основная особенность этой платформы - отсутствие необходимости в написании рабочих кодов, что существенно повышает скорость обработки данных и уменьшает количество ошибок. </a:t>
            </a:r>
            <a:r>
              <a:rPr lang="ru-RU" sz="1600" dirty="0" smtClean="0">
                <a:latin typeface="Open Sans"/>
              </a:rPr>
              <a:t>Пример использования на рисунке.</a:t>
            </a:r>
            <a:endParaRPr lang="ru-RU" sz="1600" dirty="0">
              <a:latin typeface="Open Sans"/>
            </a:endParaRPr>
          </a:p>
        </p:txBody>
      </p:sp>
      <p:pic>
        <p:nvPicPr>
          <p:cNvPr id="3" name="Рисунок 2"/>
          <p:cNvPicPr>
            <a:picLocks noChangeAspect="1"/>
          </p:cNvPicPr>
          <p:nvPr/>
        </p:nvPicPr>
        <p:blipFill rotWithShape="1">
          <a:blip r:embed="rId3"/>
          <a:srcRect l="10533" r="688"/>
          <a:stretch/>
        </p:blipFill>
        <p:spPr>
          <a:xfrm>
            <a:off x="4618005" y="3293777"/>
            <a:ext cx="7573995" cy="3208463"/>
          </a:xfrm>
          <a:prstGeom prst="rect">
            <a:avLst/>
          </a:prstGeom>
        </p:spPr>
      </p:pic>
      <p:sp>
        <p:nvSpPr>
          <p:cNvPr id="4" name="Прямоугольник 3"/>
          <p:cNvSpPr/>
          <p:nvPr/>
        </p:nvSpPr>
        <p:spPr>
          <a:xfrm>
            <a:off x="0" y="2882073"/>
            <a:ext cx="4702629" cy="4031873"/>
          </a:xfrm>
          <a:prstGeom prst="rect">
            <a:avLst/>
          </a:prstGeom>
        </p:spPr>
        <p:txBody>
          <a:bodyPr wrap="square">
            <a:spAutoFit/>
          </a:bodyPr>
          <a:lstStyle/>
          <a:p>
            <a:pPr algn="just"/>
            <a:r>
              <a:rPr lang="ru-RU" sz="1600" dirty="0">
                <a:latin typeface="Open Sans"/>
              </a:rPr>
              <a:t>Действия </a:t>
            </a:r>
            <a:r>
              <a:rPr lang="ru-RU" sz="1600" dirty="0" smtClean="0">
                <a:latin typeface="Open Sans"/>
              </a:rPr>
              <a:t>на рисунке (схеме) </a:t>
            </a:r>
            <a:r>
              <a:rPr lang="ru-RU" sz="1600" dirty="0">
                <a:latin typeface="Open Sans"/>
              </a:rPr>
              <a:t>описывается 4 </a:t>
            </a:r>
            <a:r>
              <a:rPr lang="ru-RU" sz="1600" dirty="0" smtClean="0">
                <a:latin typeface="Open Sans"/>
              </a:rPr>
              <a:t>этапами:</a:t>
            </a:r>
            <a:endParaRPr lang="ru-RU" sz="1600" dirty="0">
              <a:latin typeface="Open Sans"/>
            </a:endParaRPr>
          </a:p>
          <a:p>
            <a:pPr marL="342900" indent="-342900" algn="just">
              <a:buFont typeface="+mj-lt"/>
              <a:buAutoNum type="arabicPeriod"/>
            </a:pPr>
            <a:r>
              <a:rPr lang="ru-RU" sz="1600" dirty="0" smtClean="0">
                <a:latin typeface="Open Sans"/>
              </a:rPr>
              <a:t>Импортируем </a:t>
            </a:r>
            <a:r>
              <a:rPr lang="ru-RU" sz="1600" dirty="0">
                <a:latin typeface="Open Sans"/>
              </a:rPr>
              <a:t>данные, получаем исходную выборку для дальнейшего </a:t>
            </a:r>
            <a:r>
              <a:rPr lang="ru-RU" sz="1600" dirty="0" smtClean="0">
                <a:latin typeface="Open Sans"/>
              </a:rPr>
              <a:t>обучения;</a:t>
            </a:r>
          </a:p>
          <a:p>
            <a:pPr marL="342900" indent="-342900" algn="just">
              <a:buFont typeface="+mj-lt"/>
              <a:buAutoNum type="arabicPeriod"/>
            </a:pPr>
            <a:r>
              <a:rPr lang="ru-RU" sz="1600" dirty="0" smtClean="0">
                <a:latin typeface="Open Sans"/>
              </a:rPr>
              <a:t>На </a:t>
            </a:r>
            <a:r>
              <a:rPr lang="ru-RU" sz="1600" dirty="0">
                <a:latin typeface="Open Sans"/>
              </a:rPr>
              <a:t>основе полученной исходной выборки получаем обученную модель (в </a:t>
            </a:r>
            <a:r>
              <a:rPr lang="ru-RU" sz="1600" dirty="0" smtClean="0">
                <a:latin typeface="Open Sans"/>
              </a:rPr>
              <a:t>данном случае </a:t>
            </a:r>
            <a:r>
              <a:rPr lang="ru-RU" sz="1600" dirty="0">
                <a:latin typeface="Open Sans"/>
              </a:rPr>
              <a:t>дерево решений</a:t>
            </a:r>
            <a:r>
              <a:rPr lang="ru-RU" sz="1600" dirty="0" smtClean="0">
                <a:latin typeface="Open Sans"/>
              </a:rPr>
              <a:t>);</a:t>
            </a:r>
          </a:p>
          <a:p>
            <a:pPr marL="342900" indent="-342900" algn="just">
              <a:buFont typeface="+mj-lt"/>
              <a:buAutoNum type="arabicPeriod"/>
            </a:pPr>
            <a:r>
              <a:rPr lang="ru-RU" sz="1600" dirty="0" smtClean="0">
                <a:latin typeface="Open Sans"/>
              </a:rPr>
              <a:t>Импортируем </a:t>
            </a:r>
            <a:r>
              <a:rPr lang="ru-RU" sz="1600" dirty="0">
                <a:latin typeface="Open Sans"/>
              </a:rPr>
              <a:t>проверочные данные идентичные по структуре данным, </a:t>
            </a:r>
            <a:r>
              <a:rPr lang="ru-RU" sz="1600" dirty="0" smtClean="0">
                <a:latin typeface="Open Sans"/>
              </a:rPr>
              <a:t>которые были </a:t>
            </a:r>
            <a:r>
              <a:rPr lang="ru-RU" sz="1600" dirty="0">
                <a:latin typeface="Open Sans"/>
              </a:rPr>
              <a:t>импортированы на этапе 1. Стоит отметить, что эти данные не </a:t>
            </a:r>
            <a:r>
              <a:rPr lang="ru-RU" sz="1600" dirty="0" smtClean="0">
                <a:latin typeface="Open Sans"/>
              </a:rPr>
              <a:t>должны участвовать </a:t>
            </a:r>
            <a:r>
              <a:rPr lang="ru-RU" sz="1600" dirty="0">
                <a:latin typeface="Open Sans"/>
              </a:rPr>
              <a:t>на этапе обучения (этап 2</a:t>
            </a:r>
            <a:r>
              <a:rPr lang="ru-RU" sz="1600" dirty="0" smtClean="0">
                <a:latin typeface="Open Sans"/>
              </a:rPr>
              <a:t>);</a:t>
            </a:r>
          </a:p>
          <a:p>
            <a:pPr marL="342900" indent="-342900" algn="just">
              <a:buFont typeface="+mj-lt"/>
              <a:buAutoNum type="arabicPeriod"/>
            </a:pPr>
            <a:r>
              <a:rPr lang="ru-RU" sz="1600" dirty="0" smtClean="0">
                <a:latin typeface="Open Sans"/>
              </a:rPr>
              <a:t>Применяем </a:t>
            </a:r>
            <a:r>
              <a:rPr lang="ru-RU" sz="1600" dirty="0">
                <a:latin typeface="Open Sans"/>
              </a:rPr>
              <a:t>модель, полученную на этапе 2, к проверочным данным, </a:t>
            </a:r>
            <a:r>
              <a:rPr lang="ru-RU" sz="1600" dirty="0" smtClean="0">
                <a:latin typeface="Open Sans"/>
              </a:rPr>
              <a:t>полученным на </a:t>
            </a:r>
            <a:r>
              <a:rPr lang="ru-RU" sz="1600" dirty="0">
                <a:latin typeface="Open Sans"/>
              </a:rPr>
              <a:t>этапе 3. В результате получаем так называемый вектор </a:t>
            </a:r>
            <a:r>
              <a:rPr lang="ru-RU" sz="1600" dirty="0" smtClean="0">
                <a:latin typeface="Open Sans"/>
              </a:rPr>
              <a:t>производительности.</a:t>
            </a:r>
            <a:endParaRPr lang="ru-RU" sz="1600" dirty="0">
              <a:latin typeface="Open Sans"/>
            </a:endParaRPr>
          </a:p>
        </p:txBody>
      </p:sp>
      <p:pic>
        <p:nvPicPr>
          <p:cNvPr id="14340" name="Picture 4" descr="http://www.garciareal.com/wp-content/uploads/2018/08/knime.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27978" r="2225" b="17671"/>
          <a:stretch/>
        </p:blipFill>
        <p:spPr bwMode="auto">
          <a:xfrm>
            <a:off x="7189421" y="178985"/>
            <a:ext cx="4228437" cy="12029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6675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p:cNvSpPr txBox="1"/>
          <p:nvPr/>
        </p:nvSpPr>
        <p:spPr>
          <a:xfrm>
            <a:off x="3432147" y="5392530"/>
            <a:ext cx="5734104"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3200" dirty="0" smtClean="0">
                <a:solidFill>
                  <a:srgbClr val="02BBF8"/>
                </a:solidFill>
                <a:latin typeface="Open Sans Semibold" panose="020B0706030804020204" pitchFamily="34" charset="0"/>
                <a:ea typeface="Open Sans Semibold" panose="020B0706030804020204" pitchFamily="34" charset="0"/>
                <a:cs typeface="Open Sans Semibold" panose="020B0706030804020204" pitchFamily="34" charset="0"/>
              </a:rPr>
              <a:t>Этапы ре</a:t>
            </a:r>
            <a:r>
              <a:rPr lang="ru-RU" sz="3200" dirty="0">
                <a:solidFill>
                  <a:srgbClr val="02BBF8"/>
                </a:solidFill>
                <a:latin typeface="Open Sans Semibold" panose="020B0706030804020204" pitchFamily="34" charset="0"/>
                <a:ea typeface="Open Sans Semibold" panose="020B0706030804020204" pitchFamily="34" charset="0"/>
                <a:cs typeface="Open Sans Semibold" panose="020B0706030804020204" pitchFamily="34" charset="0"/>
              </a:rPr>
              <a:t>а</a:t>
            </a:r>
            <a:r>
              <a:rPr lang="ru-RU" sz="3200" dirty="0" smtClean="0">
                <a:solidFill>
                  <a:srgbClr val="02BBF8"/>
                </a:solidFill>
                <a:latin typeface="Open Sans Semibold" panose="020B0706030804020204" pitchFamily="34" charset="0"/>
                <a:ea typeface="Open Sans Semibold" panose="020B0706030804020204" pitchFamily="34" charset="0"/>
                <a:cs typeface="Open Sans Semibold" panose="020B0706030804020204" pitchFamily="34" charset="0"/>
              </a:rPr>
              <a:t>лизации </a:t>
            </a:r>
            <a:r>
              <a:rPr lang="ru-RU" sz="3200" dirty="0" smtClean="0">
                <a:solidFill>
                  <a:schemeClr val="tx1">
                    <a:lumMod val="95000"/>
                    <a:lumOff val="5000"/>
                  </a:schemeClr>
                </a:solidFill>
                <a:latin typeface="Open Sans Semibold" panose="020B0706030804020204" pitchFamily="34" charset="0"/>
                <a:ea typeface="Open Sans Semibold" panose="020B0706030804020204" pitchFamily="34" charset="0"/>
                <a:cs typeface="Open Sans Semibold" panose="020B0706030804020204" pitchFamily="34" charset="0"/>
              </a:rPr>
              <a:t> </a:t>
            </a:r>
            <a:r>
              <a:rPr lang="en-US" sz="3200" dirty="0" smtClean="0">
                <a:solidFill>
                  <a:schemeClr val="tx1">
                    <a:lumMod val="95000"/>
                    <a:lumOff val="5000"/>
                  </a:schemeClr>
                </a:solidFill>
                <a:latin typeface="Open Sans Semibold" panose="020B0706030804020204" pitchFamily="34" charset="0"/>
                <a:ea typeface="Open Sans Semibold" panose="020B0706030804020204" pitchFamily="34" charset="0"/>
                <a:cs typeface="Open Sans Semibold" panose="020B0706030804020204" pitchFamily="34" charset="0"/>
              </a:rPr>
              <a:t>Data Mining</a:t>
            </a:r>
            <a:endParaRPr kumimoji="0" lang="ru-RU" sz="3200" b="0" i="0" u="none" strike="noStrike" kern="1200" cap="none" spc="0" normalizeH="0" baseline="0" noProof="0" dirty="0">
              <a:ln>
                <a:noFill/>
              </a:ln>
              <a:solidFill>
                <a:prstClr val="black"/>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pic>
        <p:nvPicPr>
          <p:cNvPr id="6" name="Рисунок 5"/>
          <p:cNvPicPr>
            <a:picLocks noGrp="1" noChangeAspect="1"/>
          </p:cNvPicPr>
          <p:nvPr>
            <p:ph type="pic" sz="quarter" idx="4294967295"/>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t="20166" b="20166"/>
          <a:stretch>
            <a:fillRect/>
          </a:stretch>
        </p:blipFill>
        <p:spPr>
          <a:xfrm>
            <a:off x="880533" y="596337"/>
            <a:ext cx="10837333" cy="4041516"/>
          </a:xfrm>
          <a:custGeom>
            <a:avLst/>
            <a:gdLst>
              <a:gd name="connsiteX0" fmla="*/ 5860062 w 12243467"/>
              <a:gd name="connsiteY0" fmla="*/ 4555770 h 4565177"/>
              <a:gd name="connsiteX1" fmla="*/ 5873616 w 12243467"/>
              <a:gd name="connsiteY1" fmla="*/ 4563559 h 4565177"/>
              <a:gd name="connsiteX2" fmla="*/ 5846510 w 12243467"/>
              <a:gd name="connsiteY2" fmla="*/ 4565177 h 4565177"/>
              <a:gd name="connsiteX3" fmla="*/ 5860062 w 12243467"/>
              <a:gd name="connsiteY3" fmla="*/ 4555770 h 4565177"/>
              <a:gd name="connsiteX4" fmla="*/ 5696044 w 12243467"/>
              <a:gd name="connsiteY4" fmla="*/ 4545958 h 4565177"/>
              <a:gd name="connsiteX5" fmla="*/ 5684980 w 12243467"/>
              <a:gd name="connsiteY5" fmla="*/ 4551623 h 4565177"/>
              <a:gd name="connsiteX6" fmla="*/ 5696044 w 12243467"/>
              <a:gd name="connsiteY6" fmla="*/ 4545958 h 4565177"/>
              <a:gd name="connsiteX7" fmla="*/ 5749426 w 12243467"/>
              <a:gd name="connsiteY7" fmla="*/ 4545351 h 4565177"/>
              <a:gd name="connsiteX8" fmla="*/ 5755787 w 12243467"/>
              <a:gd name="connsiteY8" fmla="*/ 4550510 h 4565177"/>
              <a:gd name="connsiteX9" fmla="*/ 5730341 w 12243467"/>
              <a:gd name="connsiteY9" fmla="*/ 4545554 h 4565177"/>
              <a:gd name="connsiteX10" fmla="*/ 5749426 w 12243467"/>
              <a:gd name="connsiteY10" fmla="*/ 4545351 h 4565177"/>
              <a:gd name="connsiteX11" fmla="*/ 5796170 w 12243467"/>
              <a:gd name="connsiteY11" fmla="*/ 4543935 h 4565177"/>
              <a:gd name="connsiteX12" fmla="*/ 5802531 w 12243467"/>
              <a:gd name="connsiteY12" fmla="*/ 4546363 h 4565177"/>
              <a:gd name="connsiteX13" fmla="*/ 5799489 w 12243467"/>
              <a:gd name="connsiteY13" fmla="*/ 4548386 h 4565177"/>
              <a:gd name="connsiteX14" fmla="*/ 5801148 w 12243467"/>
              <a:gd name="connsiteY14" fmla="*/ 4564469 h 4565177"/>
              <a:gd name="connsiteX15" fmla="*/ 5704895 w 12243467"/>
              <a:gd name="connsiteY15" fmla="*/ 4562851 h 4565177"/>
              <a:gd name="connsiteX16" fmla="*/ 5783724 w 12243467"/>
              <a:gd name="connsiteY16" fmla="*/ 4555669 h 4565177"/>
              <a:gd name="connsiteX17" fmla="*/ 5796170 w 12243467"/>
              <a:gd name="connsiteY17" fmla="*/ 4543935 h 4565177"/>
              <a:gd name="connsiteX18" fmla="*/ 5559686 w 12243467"/>
              <a:gd name="connsiteY18" fmla="*/ 4542519 h 4565177"/>
              <a:gd name="connsiteX19" fmla="*/ 5573238 w 12243467"/>
              <a:gd name="connsiteY19" fmla="*/ 4548184 h 4565177"/>
              <a:gd name="connsiteX20" fmla="*/ 5542537 w 12243467"/>
              <a:gd name="connsiteY20" fmla="*/ 4542822 h 4565177"/>
              <a:gd name="connsiteX21" fmla="*/ 5559686 w 12243467"/>
              <a:gd name="connsiteY21" fmla="*/ 4542519 h 4565177"/>
              <a:gd name="connsiteX22" fmla="*/ 6011910 w 12243467"/>
              <a:gd name="connsiteY22" fmla="*/ 4533112 h 4565177"/>
              <a:gd name="connsiteX23" fmla="*/ 6021314 w 12243467"/>
              <a:gd name="connsiteY23" fmla="*/ 4545452 h 4565177"/>
              <a:gd name="connsiteX24" fmla="*/ 6017165 w 12243467"/>
              <a:gd name="connsiteY24" fmla="*/ 4553949 h 4565177"/>
              <a:gd name="connsiteX25" fmla="*/ 5885232 w 12243467"/>
              <a:gd name="connsiteY25" fmla="*/ 4561940 h 4565177"/>
              <a:gd name="connsiteX26" fmla="*/ 5915656 w 12243467"/>
              <a:gd name="connsiteY26" fmla="*/ 4542822 h 4565177"/>
              <a:gd name="connsiteX27" fmla="*/ 5932805 w 12243467"/>
              <a:gd name="connsiteY27" fmla="*/ 4542418 h 4565177"/>
              <a:gd name="connsiteX28" fmla="*/ 5924231 w 12243467"/>
              <a:gd name="connsiteY28" fmla="*/ 4548184 h 4565177"/>
              <a:gd name="connsiteX29" fmla="*/ 5952721 w 12243467"/>
              <a:gd name="connsiteY29" fmla="*/ 4551319 h 4565177"/>
              <a:gd name="connsiteX30" fmla="*/ 5982038 w 12243467"/>
              <a:gd name="connsiteY30" fmla="*/ 4536551 h 4565177"/>
              <a:gd name="connsiteX31" fmla="*/ 5982868 w 12243467"/>
              <a:gd name="connsiteY31" fmla="*/ 4545655 h 4565177"/>
              <a:gd name="connsiteX32" fmla="*/ 5998633 w 12243467"/>
              <a:gd name="connsiteY32" fmla="*/ 4538372 h 4565177"/>
              <a:gd name="connsiteX33" fmla="*/ 6002230 w 12243467"/>
              <a:gd name="connsiteY33" fmla="*/ 4545554 h 4565177"/>
              <a:gd name="connsiteX34" fmla="*/ 6011910 w 12243467"/>
              <a:gd name="connsiteY34" fmla="*/ 4533112 h 4565177"/>
              <a:gd name="connsiteX35" fmla="*/ 5997251 w 12243467"/>
              <a:gd name="connsiteY35" fmla="*/ 4522592 h 4565177"/>
              <a:gd name="connsiteX36" fmla="*/ 5998633 w 12243467"/>
              <a:gd name="connsiteY36" fmla="*/ 4522693 h 4565177"/>
              <a:gd name="connsiteX37" fmla="*/ 6003889 w 12243467"/>
              <a:gd name="connsiteY37" fmla="*/ 4522997 h 4565177"/>
              <a:gd name="connsiteX38" fmla="*/ 6002506 w 12243467"/>
              <a:gd name="connsiteY38" fmla="*/ 4529875 h 4565177"/>
              <a:gd name="connsiteX39" fmla="*/ 5993655 w 12243467"/>
              <a:gd name="connsiteY39" fmla="*/ 4526537 h 4565177"/>
              <a:gd name="connsiteX40" fmla="*/ 5998358 w 12243467"/>
              <a:gd name="connsiteY40" fmla="*/ 4527043 h 4565177"/>
              <a:gd name="connsiteX41" fmla="*/ 5996421 w 12243467"/>
              <a:gd name="connsiteY41" fmla="*/ 4524514 h 4565177"/>
              <a:gd name="connsiteX42" fmla="*/ 5997251 w 12243467"/>
              <a:gd name="connsiteY42" fmla="*/ 4522592 h 4565177"/>
              <a:gd name="connsiteX43" fmla="*/ 5970421 w 12243467"/>
              <a:gd name="connsiteY43" fmla="*/ 4521075 h 4565177"/>
              <a:gd name="connsiteX44" fmla="*/ 5991166 w 12243467"/>
              <a:gd name="connsiteY44" fmla="*/ 4525930 h 4565177"/>
              <a:gd name="connsiteX45" fmla="*/ 5991166 w 12243467"/>
              <a:gd name="connsiteY45" fmla="*/ 4529571 h 4565177"/>
              <a:gd name="connsiteX46" fmla="*/ 5988400 w 12243467"/>
              <a:gd name="connsiteY46" fmla="*/ 4527953 h 4565177"/>
              <a:gd name="connsiteX47" fmla="*/ 5900167 w 12243467"/>
              <a:gd name="connsiteY47" fmla="*/ 4536349 h 4565177"/>
              <a:gd name="connsiteX48" fmla="*/ 5948847 w 12243467"/>
              <a:gd name="connsiteY48" fmla="*/ 4521176 h 4565177"/>
              <a:gd name="connsiteX49" fmla="*/ 5970421 w 12243467"/>
              <a:gd name="connsiteY49" fmla="*/ 4521075 h 4565177"/>
              <a:gd name="connsiteX50" fmla="*/ 6032377 w 12243467"/>
              <a:gd name="connsiteY50" fmla="*/ 4517231 h 4565177"/>
              <a:gd name="connsiteX51" fmla="*/ 6013017 w 12243467"/>
              <a:gd name="connsiteY51" fmla="*/ 4526031 h 4565177"/>
              <a:gd name="connsiteX52" fmla="*/ 6032377 w 12243467"/>
              <a:gd name="connsiteY52" fmla="*/ 4517231 h 4565177"/>
              <a:gd name="connsiteX53" fmla="*/ 7176354 w 12243467"/>
              <a:gd name="connsiteY53" fmla="*/ 4482536 h 4565177"/>
              <a:gd name="connsiteX54" fmla="*/ 7191843 w 12243467"/>
              <a:gd name="connsiteY54" fmla="*/ 4483648 h 4565177"/>
              <a:gd name="connsiteX55" fmla="*/ 7161141 w 12243467"/>
              <a:gd name="connsiteY55" fmla="*/ 4488200 h 4565177"/>
              <a:gd name="connsiteX56" fmla="*/ 7176354 w 12243467"/>
              <a:gd name="connsiteY56" fmla="*/ 4482536 h 4565177"/>
              <a:gd name="connsiteX57" fmla="*/ 5925337 w 12243467"/>
              <a:gd name="connsiteY57" fmla="*/ 4443895 h 4565177"/>
              <a:gd name="connsiteX58" fmla="*/ 5931146 w 12243467"/>
              <a:gd name="connsiteY58" fmla="*/ 4444300 h 4565177"/>
              <a:gd name="connsiteX59" fmla="*/ 5922848 w 12243467"/>
              <a:gd name="connsiteY59" fmla="*/ 4450066 h 4565177"/>
              <a:gd name="connsiteX60" fmla="*/ 5930869 w 12243467"/>
              <a:gd name="connsiteY60" fmla="*/ 4457753 h 4565177"/>
              <a:gd name="connsiteX61" fmla="*/ 5897126 w 12243467"/>
              <a:gd name="connsiteY61" fmla="*/ 4458664 h 4565177"/>
              <a:gd name="connsiteX62" fmla="*/ 5910954 w 12243467"/>
              <a:gd name="connsiteY62" fmla="*/ 4448852 h 4565177"/>
              <a:gd name="connsiteX63" fmla="*/ 5910125 w 12243467"/>
              <a:gd name="connsiteY63" fmla="*/ 4453303 h 4565177"/>
              <a:gd name="connsiteX64" fmla="*/ 5918976 w 12243467"/>
              <a:gd name="connsiteY64" fmla="*/ 4445109 h 4565177"/>
              <a:gd name="connsiteX65" fmla="*/ 5925337 w 12243467"/>
              <a:gd name="connsiteY65" fmla="*/ 4443895 h 4565177"/>
              <a:gd name="connsiteX66" fmla="*/ 5972634 w 12243467"/>
              <a:gd name="connsiteY66" fmla="*/ 4443289 h 4565177"/>
              <a:gd name="connsiteX67" fmla="*/ 5978442 w 12243467"/>
              <a:gd name="connsiteY67" fmla="*/ 4443794 h 4565177"/>
              <a:gd name="connsiteX68" fmla="*/ 5988123 w 12243467"/>
              <a:gd name="connsiteY68" fmla="*/ 4448548 h 4565177"/>
              <a:gd name="connsiteX69" fmla="*/ 5955209 w 12243467"/>
              <a:gd name="connsiteY69" fmla="*/ 4456540 h 4565177"/>
              <a:gd name="connsiteX70" fmla="*/ 5934466 w 12243467"/>
              <a:gd name="connsiteY70" fmla="*/ 4451886 h 4565177"/>
              <a:gd name="connsiteX71" fmla="*/ 5969868 w 12243467"/>
              <a:gd name="connsiteY71" fmla="*/ 4444199 h 4565177"/>
              <a:gd name="connsiteX72" fmla="*/ 5972634 w 12243467"/>
              <a:gd name="connsiteY72" fmla="*/ 4443289 h 4565177"/>
              <a:gd name="connsiteX73" fmla="*/ 7301926 w 12243467"/>
              <a:gd name="connsiteY73" fmla="*/ 4442985 h 4565177"/>
              <a:gd name="connsiteX74" fmla="*/ 7295011 w 12243467"/>
              <a:gd name="connsiteY74" fmla="*/ 4451482 h 4565177"/>
              <a:gd name="connsiteX75" fmla="*/ 7301926 w 12243467"/>
              <a:gd name="connsiteY75" fmla="*/ 4442985 h 4565177"/>
              <a:gd name="connsiteX76" fmla="*/ 7350052 w 12243467"/>
              <a:gd name="connsiteY76" fmla="*/ 4425587 h 4565177"/>
              <a:gd name="connsiteX77" fmla="*/ 7358350 w 12243467"/>
              <a:gd name="connsiteY77" fmla="*/ 4428318 h 4565177"/>
              <a:gd name="connsiteX78" fmla="*/ 7332627 w 12243467"/>
              <a:gd name="connsiteY78" fmla="*/ 4431757 h 4565177"/>
              <a:gd name="connsiteX79" fmla="*/ 7350052 w 12243467"/>
              <a:gd name="connsiteY79" fmla="*/ 4425587 h 4565177"/>
              <a:gd name="connsiteX80" fmla="*/ 5965444 w 12243467"/>
              <a:gd name="connsiteY80" fmla="*/ 4422552 h 4565177"/>
              <a:gd name="connsiteX81" fmla="*/ 5973741 w 12243467"/>
              <a:gd name="connsiteY81" fmla="*/ 4424070 h 4565177"/>
              <a:gd name="connsiteX82" fmla="*/ 5962677 w 12243467"/>
              <a:gd name="connsiteY82" fmla="*/ 4429633 h 4565177"/>
              <a:gd name="connsiteX83" fmla="*/ 5958529 w 12243467"/>
              <a:gd name="connsiteY83" fmla="*/ 4424677 h 4565177"/>
              <a:gd name="connsiteX84" fmla="*/ 5965444 w 12243467"/>
              <a:gd name="connsiteY84" fmla="*/ 4422552 h 4565177"/>
              <a:gd name="connsiteX85" fmla="*/ 5870573 w 12243467"/>
              <a:gd name="connsiteY85" fmla="*/ 4415472 h 4565177"/>
              <a:gd name="connsiteX86" fmla="*/ 5881360 w 12243467"/>
              <a:gd name="connsiteY86" fmla="*/ 4416382 h 4565177"/>
              <a:gd name="connsiteX87" fmla="*/ 5885785 w 12243467"/>
              <a:gd name="connsiteY87" fmla="*/ 4419113 h 4565177"/>
              <a:gd name="connsiteX88" fmla="*/ 5844296 w 12243467"/>
              <a:gd name="connsiteY88" fmla="*/ 4419214 h 4565177"/>
              <a:gd name="connsiteX89" fmla="*/ 5831851 w 12243467"/>
              <a:gd name="connsiteY89" fmla="*/ 4420023 h 4565177"/>
              <a:gd name="connsiteX90" fmla="*/ 5840148 w 12243467"/>
              <a:gd name="connsiteY90" fmla="*/ 4416382 h 4565177"/>
              <a:gd name="connsiteX91" fmla="*/ 5861722 w 12243467"/>
              <a:gd name="connsiteY91" fmla="*/ 4415573 h 4565177"/>
              <a:gd name="connsiteX92" fmla="*/ 5870573 w 12243467"/>
              <a:gd name="connsiteY92" fmla="*/ 4415472 h 4565177"/>
              <a:gd name="connsiteX93" fmla="*/ 5722873 w 12243467"/>
              <a:gd name="connsiteY93" fmla="*/ 4415168 h 4565177"/>
              <a:gd name="connsiteX94" fmla="*/ 5746383 w 12243467"/>
              <a:gd name="connsiteY94" fmla="*/ 4417090 h 4565177"/>
              <a:gd name="connsiteX95" fmla="*/ 5717618 w 12243467"/>
              <a:gd name="connsiteY95" fmla="*/ 4416180 h 4565177"/>
              <a:gd name="connsiteX96" fmla="*/ 5722873 w 12243467"/>
              <a:gd name="connsiteY96" fmla="*/ 4415168 h 4565177"/>
              <a:gd name="connsiteX97" fmla="*/ 5782617 w 12243467"/>
              <a:gd name="connsiteY97" fmla="*/ 4414662 h 4565177"/>
              <a:gd name="connsiteX98" fmla="*/ 5786212 w 12243467"/>
              <a:gd name="connsiteY98" fmla="*/ 4419720 h 4565177"/>
              <a:gd name="connsiteX99" fmla="*/ 5772384 w 12243467"/>
              <a:gd name="connsiteY99" fmla="*/ 4418102 h 4565177"/>
              <a:gd name="connsiteX100" fmla="*/ 5782617 w 12243467"/>
              <a:gd name="connsiteY100" fmla="*/ 4414662 h 4565177"/>
              <a:gd name="connsiteX101" fmla="*/ 5811659 w 12243467"/>
              <a:gd name="connsiteY101" fmla="*/ 4413550 h 4565177"/>
              <a:gd name="connsiteX102" fmla="*/ 5813318 w 12243467"/>
              <a:gd name="connsiteY102" fmla="*/ 4415067 h 4565177"/>
              <a:gd name="connsiteX103" fmla="*/ 5815531 w 12243467"/>
              <a:gd name="connsiteY103" fmla="*/ 4420125 h 4565177"/>
              <a:gd name="connsiteX104" fmla="*/ 5795893 w 12243467"/>
              <a:gd name="connsiteY104" fmla="*/ 4420327 h 4565177"/>
              <a:gd name="connsiteX105" fmla="*/ 5811659 w 12243467"/>
              <a:gd name="connsiteY105" fmla="*/ 4415168 h 4565177"/>
              <a:gd name="connsiteX106" fmla="*/ 5811659 w 12243467"/>
              <a:gd name="connsiteY106" fmla="*/ 4413550 h 4565177"/>
              <a:gd name="connsiteX107" fmla="*/ 5915933 w 12243467"/>
              <a:gd name="connsiteY107" fmla="*/ 4413347 h 4565177"/>
              <a:gd name="connsiteX108" fmla="*/ 5931422 w 12243467"/>
              <a:gd name="connsiteY108" fmla="*/ 4419619 h 4565177"/>
              <a:gd name="connsiteX109" fmla="*/ 5902105 w 12243467"/>
              <a:gd name="connsiteY109" fmla="*/ 4420732 h 4565177"/>
              <a:gd name="connsiteX110" fmla="*/ 5904593 w 12243467"/>
              <a:gd name="connsiteY110" fmla="*/ 4432263 h 4565177"/>
              <a:gd name="connsiteX111" fmla="*/ 5915933 w 12243467"/>
              <a:gd name="connsiteY111" fmla="*/ 4413347 h 4565177"/>
              <a:gd name="connsiteX112" fmla="*/ 5944699 w 12243467"/>
              <a:gd name="connsiteY112" fmla="*/ 4411931 h 4565177"/>
              <a:gd name="connsiteX113" fmla="*/ 5944422 w 12243467"/>
              <a:gd name="connsiteY113" fmla="*/ 4417394 h 4565177"/>
              <a:gd name="connsiteX114" fmla="*/ 5942763 w 12243467"/>
              <a:gd name="connsiteY114" fmla="*/ 4420833 h 4565177"/>
              <a:gd name="connsiteX115" fmla="*/ 5936955 w 12243467"/>
              <a:gd name="connsiteY115" fmla="*/ 4413347 h 4565177"/>
              <a:gd name="connsiteX116" fmla="*/ 5944699 w 12243467"/>
              <a:gd name="connsiteY116" fmla="*/ 4411931 h 4565177"/>
              <a:gd name="connsiteX117" fmla="*/ 7391541 w 12243467"/>
              <a:gd name="connsiteY117" fmla="*/ 4409706 h 4565177"/>
              <a:gd name="connsiteX118" fmla="*/ 7398732 w 12243467"/>
              <a:gd name="connsiteY118" fmla="*/ 4410009 h 4565177"/>
              <a:gd name="connsiteX119" fmla="*/ 7397073 w 12243467"/>
              <a:gd name="connsiteY119" fmla="*/ 4412639 h 4565177"/>
              <a:gd name="connsiteX120" fmla="*/ 7407860 w 12243467"/>
              <a:gd name="connsiteY120" fmla="*/ 4426700 h 4565177"/>
              <a:gd name="connsiteX121" fmla="*/ 7319351 w 12243467"/>
              <a:gd name="connsiteY121" fmla="*/ 4455427 h 4565177"/>
              <a:gd name="connsiteX122" fmla="*/ 7386839 w 12243467"/>
              <a:gd name="connsiteY122" fmla="*/ 4424272 h 4565177"/>
              <a:gd name="connsiteX123" fmla="*/ 7391541 w 12243467"/>
              <a:gd name="connsiteY123" fmla="*/ 4409706 h 4565177"/>
              <a:gd name="connsiteX124" fmla="*/ 5962953 w 12243467"/>
              <a:gd name="connsiteY124" fmla="*/ 4408391 h 4565177"/>
              <a:gd name="connsiteX125" fmla="*/ 5966272 w 12243467"/>
              <a:gd name="connsiteY125" fmla="*/ 4408492 h 4565177"/>
              <a:gd name="connsiteX126" fmla="*/ 5968485 w 12243467"/>
              <a:gd name="connsiteY126" fmla="*/ 4414764 h 4565177"/>
              <a:gd name="connsiteX127" fmla="*/ 5963230 w 12243467"/>
              <a:gd name="connsiteY127" fmla="*/ 4416483 h 4565177"/>
              <a:gd name="connsiteX128" fmla="*/ 5962953 w 12243467"/>
              <a:gd name="connsiteY128" fmla="*/ 4408391 h 4565177"/>
              <a:gd name="connsiteX129" fmla="*/ 7465114 w 12243467"/>
              <a:gd name="connsiteY129" fmla="*/ 4398276 h 4565177"/>
              <a:gd name="connsiteX130" fmla="*/ 7472858 w 12243467"/>
              <a:gd name="connsiteY130" fmla="*/ 4403131 h 4565177"/>
              <a:gd name="connsiteX131" fmla="*/ 7449348 w 12243467"/>
              <a:gd name="connsiteY131" fmla="*/ 4412943 h 4565177"/>
              <a:gd name="connsiteX132" fmla="*/ 7465114 w 12243467"/>
              <a:gd name="connsiteY132" fmla="*/ 4398276 h 4565177"/>
              <a:gd name="connsiteX133" fmla="*/ 6067504 w 12243467"/>
              <a:gd name="connsiteY133" fmla="*/ 4386744 h 4565177"/>
              <a:gd name="connsiteX134" fmla="*/ 6049249 w 12243467"/>
              <a:gd name="connsiteY134" fmla="*/ 4393825 h 4565177"/>
              <a:gd name="connsiteX135" fmla="*/ 6067504 w 12243467"/>
              <a:gd name="connsiteY135" fmla="*/ 4386744 h 4565177"/>
              <a:gd name="connsiteX136" fmla="*/ 5900998 w 12243467"/>
              <a:gd name="connsiteY136" fmla="*/ 4377236 h 4565177"/>
              <a:gd name="connsiteX137" fmla="*/ 5908742 w 12243467"/>
              <a:gd name="connsiteY137" fmla="*/ 4387149 h 4565177"/>
              <a:gd name="connsiteX138" fmla="*/ 5909571 w 12243467"/>
              <a:gd name="connsiteY138" fmla="*/ 4388970 h 4565177"/>
              <a:gd name="connsiteX139" fmla="*/ 5899891 w 12243467"/>
              <a:gd name="connsiteY139" fmla="*/ 4395342 h 4565177"/>
              <a:gd name="connsiteX140" fmla="*/ 5860892 w 12243467"/>
              <a:gd name="connsiteY140" fmla="*/ 4395443 h 4565177"/>
              <a:gd name="connsiteX141" fmla="*/ 5863381 w 12243467"/>
              <a:gd name="connsiteY141" fmla="*/ 4384418 h 4565177"/>
              <a:gd name="connsiteX142" fmla="*/ 5900998 w 12243467"/>
              <a:gd name="connsiteY142" fmla="*/ 4377236 h 4565177"/>
              <a:gd name="connsiteX143" fmla="*/ 5976783 w 12243467"/>
              <a:gd name="connsiteY143" fmla="*/ 4370155 h 4565177"/>
              <a:gd name="connsiteX144" fmla="*/ 5978996 w 12243467"/>
              <a:gd name="connsiteY144" fmla="*/ 4383609 h 4565177"/>
              <a:gd name="connsiteX145" fmla="*/ 5968762 w 12243467"/>
              <a:gd name="connsiteY145" fmla="*/ 4373696 h 4565177"/>
              <a:gd name="connsiteX146" fmla="*/ 5976783 w 12243467"/>
              <a:gd name="connsiteY146" fmla="*/ 4370155 h 4565177"/>
              <a:gd name="connsiteX147" fmla="*/ 6011081 w 12243467"/>
              <a:gd name="connsiteY147" fmla="*/ 4369043 h 4565177"/>
              <a:gd name="connsiteX148" fmla="*/ 6017442 w 12243467"/>
              <a:gd name="connsiteY148" fmla="*/ 4373595 h 4565177"/>
              <a:gd name="connsiteX149" fmla="*/ 6016060 w 12243467"/>
              <a:gd name="connsiteY149" fmla="*/ 4380675 h 4565177"/>
              <a:gd name="connsiteX150" fmla="*/ 6003889 w 12243467"/>
              <a:gd name="connsiteY150" fmla="*/ 4381586 h 4565177"/>
              <a:gd name="connsiteX151" fmla="*/ 5994485 w 12243467"/>
              <a:gd name="connsiteY151" fmla="*/ 4380675 h 4565177"/>
              <a:gd name="connsiteX152" fmla="*/ 5987018 w 12243467"/>
              <a:gd name="connsiteY152" fmla="*/ 4370863 h 4565177"/>
              <a:gd name="connsiteX153" fmla="*/ 6011081 w 12243467"/>
              <a:gd name="connsiteY153" fmla="*/ 4369043 h 4565177"/>
              <a:gd name="connsiteX154" fmla="*/ 5953550 w 12243467"/>
              <a:gd name="connsiteY154" fmla="*/ 4367627 h 4565177"/>
              <a:gd name="connsiteX155" fmla="*/ 5959911 w 12243467"/>
              <a:gd name="connsiteY155" fmla="*/ 4381889 h 4565177"/>
              <a:gd name="connsiteX156" fmla="*/ 5939167 w 12243467"/>
              <a:gd name="connsiteY156" fmla="*/ 4390892 h 4565177"/>
              <a:gd name="connsiteX157" fmla="*/ 5944422 w 12243467"/>
              <a:gd name="connsiteY157" fmla="*/ 4400501 h 4565177"/>
              <a:gd name="connsiteX158" fmla="*/ 5915933 w 12243467"/>
              <a:gd name="connsiteY158" fmla="*/ 4399793 h 4565177"/>
              <a:gd name="connsiteX159" fmla="*/ 5919805 w 12243467"/>
              <a:gd name="connsiteY159" fmla="*/ 4393319 h 4565177"/>
              <a:gd name="connsiteX160" fmla="*/ 5934188 w 12243467"/>
              <a:gd name="connsiteY160" fmla="*/ 4392712 h 4565177"/>
              <a:gd name="connsiteX161" fmla="*/ 5920635 w 12243467"/>
              <a:gd name="connsiteY161" fmla="*/ 4388869 h 4565177"/>
              <a:gd name="connsiteX162" fmla="*/ 5931699 w 12243467"/>
              <a:gd name="connsiteY162" fmla="*/ 4380979 h 4565177"/>
              <a:gd name="connsiteX163" fmla="*/ 5953550 w 12243467"/>
              <a:gd name="connsiteY163" fmla="*/ 4367627 h 4565177"/>
              <a:gd name="connsiteX164" fmla="*/ 5908742 w 12243467"/>
              <a:gd name="connsiteY164" fmla="*/ 4353566 h 4565177"/>
              <a:gd name="connsiteX165" fmla="*/ 5902933 w 12243467"/>
              <a:gd name="connsiteY165" fmla="*/ 4357208 h 4565177"/>
              <a:gd name="connsiteX166" fmla="*/ 5906529 w 12243467"/>
              <a:gd name="connsiteY166" fmla="*/ 4363985 h 4565177"/>
              <a:gd name="connsiteX167" fmla="*/ 5899891 w 12243467"/>
              <a:gd name="connsiteY167" fmla="*/ 4359029 h 4565177"/>
              <a:gd name="connsiteX168" fmla="*/ 5891870 w 12243467"/>
              <a:gd name="connsiteY168" fmla="*/ 4362468 h 4565177"/>
              <a:gd name="connsiteX169" fmla="*/ 5908742 w 12243467"/>
              <a:gd name="connsiteY169" fmla="*/ 4353566 h 4565177"/>
              <a:gd name="connsiteX170" fmla="*/ 5947464 w 12243467"/>
              <a:gd name="connsiteY170" fmla="*/ 4351543 h 4565177"/>
              <a:gd name="connsiteX171" fmla="*/ 5977889 w 12243467"/>
              <a:gd name="connsiteY171" fmla="*/ 4354376 h 4565177"/>
              <a:gd name="connsiteX172" fmla="*/ 5963508 w 12243467"/>
              <a:gd name="connsiteY172" fmla="*/ 4366210 h 4565177"/>
              <a:gd name="connsiteX173" fmla="*/ 5918976 w 12243467"/>
              <a:gd name="connsiteY173" fmla="*/ 4359029 h 4565177"/>
              <a:gd name="connsiteX174" fmla="*/ 5947464 w 12243467"/>
              <a:gd name="connsiteY174" fmla="*/ 4351543 h 4565177"/>
              <a:gd name="connsiteX175" fmla="*/ 7580728 w 12243467"/>
              <a:gd name="connsiteY175" fmla="*/ 4332122 h 4565177"/>
              <a:gd name="connsiteX176" fmla="*/ 7596494 w 12243467"/>
              <a:gd name="connsiteY176" fmla="*/ 4340315 h 4565177"/>
              <a:gd name="connsiteX177" fmla="*/ 7597600 w 12243467"/>
              <a:gd name="connsiteY177" fmla="*/ 4349318 h 4565177"/>
              <a:gd name="connsiteX178" fmla="*/ 7482539 w 12243467"/>
              <a:gd name="connsiteY178" fmla="*/ 4397972 h 4565177"/>
              <a:gd name="connsiteX179" fmla="*/ 7499134 w 12243467"/>
              <a:gd name="connsiteY179" fmla="*/ 4371066 h 4565177"/>
              <a:gd name="connsiteX180" fmla="*/ 7514347 w 12243467"/>
              <a:gd name="connsiteY180" fmla="*/ 4365401 h 4565177"/>
              <a:gd name="connsiteX181" fmla="*/ 7509921 w 12243467"/>
              <a:gd name="connsiteY181" fmla="*/ 4373291 h 4565177"/>
              <a:gd name="connsiteX182" fmla="*/ 7537580 w 12243467"/>
              <a:gd name="connsiteY182" fmla="*/ 4367323 h 4565177"/>
              <a:gd name="connsiteX183" fmla="*/ 7555835 w 12243467"/>
              <a:gd name="connsiteY183" fmla="*/ 4344564 h 4565177"/>
              <a:gd name="connsiteX184" fmla="*/ 7561644 w 12243467"/>
              <a:gd name="connsiteY184" fmla="*/ 4352656 h 4565177"/>
              <a:gd name="connsiteX185" fmla="*/ 7571878 w 12243467"/>
              <a:gd name="connsiteY185" fmla="*/ 4341125 h 4565177"/>
              <a:gd name="connsiteX186" fmla="*/ 7579069 w 12243467"/>
              <a:gd name="connsiteY186" fmla="*/ 4346486 h 4565177"/>
              <a:gd name="connsiteX187" fmla="*/ 7580728 w 12243467"/>
              <a:gd name="connsiteY187" fmla="*/ 4332122 h 4565177"/>
              <a:gd name="connsiteX188" fmla="*/ 7545601 w 12243467"/>
              <a:gd name="connsiteY188" fmla="*/ 4331212 h 4565177"/>
              <a:gd name="connsiteX189" fmla="*/ 7558048 w 12243467"/>
              <a:gd name="connsiteY189" fmla="*/ 4332122 h 4565177"/>
              <a:gd name="connsiteX190" fmla="*/ 7559984 w 12243467"/>
              <a:gd name="connsiteY190" fmla="*/ 4335561 h 4565177"/>
              <a:gd name="connsiteX191" fmla="*/ 7556665 w 12243467"/>
              <a:gd name="connsiteY191" fmla="*/ 4334752 h 4565177"/>
              <a:gd name="connsiteX192" fmla="*/ 7481433 w 12243467"/>
              <a:gd name="connsiteY192" fmla="*/ 4370257 h 4565177"/>
              <a:gd name="connsiteX193" fmla="*/ 7516836 w 12243467"/>
              <a:gd name="connsiteY193" fmla="*/ 4341226 h 4565177"/>
              <a:gd name="connsiteX194" fmla="*/ 7545601 w 12243467"/>
              <a:gd name="connsiteY194" fmla="*/ 4331212 h 4565177"/>
              <a:gd name="connsiteX195" fmla="*/ 5984804 w 12243467"/>
              <a:gd name="connsiteY195" fmla="*/ 4329897 h 4565177"/>
              <a:gd name="connsiteX196" fmla="*/ 5985357 w 12243467"/>
              <a:gd name="connsiteY196" fmla="*/ 4338899 h 4565177"/>
              <a:gd name="connsiteX197" fmla="*/ 5964613 w 12243467"/>
              <a:gd name="connsiteY197" fmla="*/ 4336674 h 4565177"/>
              <a:gd name="connsiteX198" fmla="*/ 5984804 w 12243467"/>
              <a:gd name="connsiteY198" fmla="*/ 4329897 h 4565177"/>
              <a:gd name="connsiteX199" fmla="*/ 7567729 w 12243467"/>
              <a:gd name="connsiteY199" fmla="*/ 4325446 h 4565177"/>
              <a:gd name="connsiteX200" fmla="*/ 7570495 w 12243467"/>
              <a:gd name="connsiteY200" fmla="*/ 4332122 h 4565177"/>
              <a:gd name="connsiteX201" fmla="*/ 7560261 w 12243467"/>
              <a:gd name="connsiteY201" fmla="*/ 4331920 h 4565177"/>
              <a:gd name="connsiteX202" fmla="*/ 7564963 w 12243467"/>
              <a:gd name="connsiteY202" fmla="*/ 4330908 h 4565177"/>
              <a:gd name="connsiteX203" fmla="*/ 7561920 w 12243467"/>
              <a:gd name="connsiteY203" fmla="*/ 4329189 h 4565177"/>
              <a:gd name="connsiteX204" fmla="*/ 7567729 w 12243467"/>
              <a:gd name="connsiteY204" fmla="*/ 4325446 h 4565177"/>
              <a:gd name="connsiteX205" fmla="*/ 6015505 w 12243467"/>
              <a:gd name="connsiteY205" fmla="*/ 4324131 h 4565177"/>
              <a:gd name="connsiteX206" fmla="*/ 6022420 w 12243467"/>
              <a:gd name="connsiteY206" fmla="*/ 4324940 h 4565177"/>
              <a:gd name="connsiteX207" fmla="*/ 6024633 w 12243467"/>
              <a:gd name="connsiteY207" fmla="*/ 4327267 h 4565177"/>
              <a:gd name="connsiteX208" fmla="*/ 6018548 w 12243467"/>
              <a:gd name="connsiteY208" fmla="*/ 4333639 h 4565177"/>
              <a:gd name="connsiteX209" fmla="*/ 6015505 w 12243467"/>
              <a:gd name="connsiteY209" fmla="*/ 4324131 h 4565177"/>
              <a:gd name="connsiteX210" fmla="*/ 7590409 w 12243467"/>
              <a:gd name="connsiteY210" fmla="*/ 4311386 h 4565177"/>
              <a:gd name="connsiteX211" fmla="*/ 7577686 w 12243467"/>
              <a:gd name="connsiteY211" fmla="*/ 4325446 h 4565177"/>
              <a:gd name="connsiteX212" fmla="*/ 7590409 w 12243467"/>
              <a:gd name="connsiteY212" fmla="*/ 4311386 h 4565177"/>
              <a:gd name="connsiteX213" fmla="*/ 7273990 w 12243467"/>
              <a:gd name="connsiteY213" fmla="*/ 4310374 h 4565177"/>
              <a:gd name="connsiteX214" fmla="*/ 7247437 w 12243467"/>
              <a:gd name="connsiteY214" fmla="*/ 4318669 h 4565177"/>
              <a:gd name="connsiteX215" fmla="*/ 7273990 w 12243467"/>
              <a:gd name="connsiteY215" fmla="*/ 4310374 h 4565177"/>
              <a:gd name="connsiteX216" fmla="*/ 7305521 w 12243467"/>
              <a:gd name="connsiteY216" fmla="*/ 4296820 h 4565177"/>
              <a:gd name="connsiteX217" fmla="*/ 7311606 w 12243467"/>
              <a:gd name="connsiteY217" fmla="*/ 4300158 h 4565177"/>
              <a:gd name="connsiteX218" fmla="*/ 7298330 w 12243467"/>
              <a:gd name="connsiteY218" fmla="*/ 4303091 h 4565177"/>
              <a:gd name="connsiteX219" fmla="*/ 7305521 w 12243467"/>
              <a:gd name="connsiteY219" fmla="*/ 4296820 h 4565177"/>
              <a:gd name="connsiteX220" fmla="*/ 7331244 w 12243467"/>
              <a:gd name="connsiteY220" fmla="*/ 4286705 h 4565177"/>
              <a:gd name="connsiteX221" fmla="*/ 7333457 w 12243467"/>
              <a:gd name="connsiteY221" fmla="*/ 4287413 h 4565177"/>
              <a:gd name="connsiteX222" fmla="*/ 7338435 w 12243467"/>
              <a:gd name="connsiteY222" fmla="*/ 4291459 h 4565177"/>
              <a:gd name="connsiteX223" fmla="*/ 7320734 w 12243467"/>
              <a:gd name="connsiteY223" fmla="*/ 4297831 h 4565177"/>
              <a:gd name="connsiteX224" fmla="*/ 7332074 w 12243467"/>
              <a:gd name="connsiteY224" fmla="*/ 4288020 h 4565177"/>
              <a:gd name="connsiteX225" fmla="*/ 7331244 w 12243467"/>
              <a:gd name="connsiteY225" fmla="*/ 4286705 h 4565177"/>
              <a:gd name="connsiteX226" fmla="*/ 5867806 w 12243467"/>
              <a:gd name="connsiteY226" fmla="*/ 4280332 h 4565177"/>
              <a:gd name="connsiteX227" fmla="*/ 5884125 w 12243467"/>
              <a:gd name="connsiteY227" fmla="*/ 4282254 h 4565177"/>
              <a:gd name="connsiteX228" fmla="*/ 5851764 w 12243467"/>
              <a:gd name="connsiteY228" fmla="*/ 4285592 h 4565177"/>
              <a:gd name="connsiteX229" fmla="*/ 5867806 w 12243467"/>
              <a:gd name="connsiteY229" fmla="*/ 4280332 h 4565177"/>
              <a:gd name="connsiteX230" fmla="*/ 7457093 w 12243467"/>
              <a:gd name="connsiteY230" fmla="*/ 4276994 h 4565177"/>
              <a:gd name="connsiteX231" fmla="*/ 7452667 w 12243467"/>
              <a:gd name="connsiteY231" fmla="*/ 4284884 h 4565177"/>
              <a:gd name="connsiteX232" fmla="*/ 7464284 w 12243467"/>
              <a:gd name="connsiteY232" fmla="*/ 4289436 h 4565177"/>
              <a:gd name="connsiteX233" fmla="*/ 7434412 w 12243467"/>
              <a:gd name="connsiteY233" fmla="*/ 4300664 h 4565177"/>
              <a:gd name="connsiteX234" fmla="*/ 7441327 w 12243467"/>
              <a:gd name="connsiteY234" fmla="*/ 4287413 h 4565177"/>
              <a:gd name="connsiteX235" fmla="*/ 7443263 w 12243467"/>
              <a:gd name="connsiteY235" fmla="*/ 4291762 h 4565177"/>
              <a:gd name="connsiteX236" fmla="*/ 7446582 w 12243467"/>
              <a:gd name="connsiteY236" fmla="*/ 4281647 h 4565177"/>
              <a:gd name="connsiteX237" fmla="*/ 7457093 w 12243467"/>
              <a:gd name="connsiteY237" fmla="*/ 4276994 h 4565177"/>
              <a:gd name="connsiteX238" fmla="*/ 5921741 w 12243467"/>
              <a:gd name="connsiteY238" fmla="*/ 4276691 h 4565177"/>
              <a:gd name="connsiteX239" fmla="*/ 5925615 w 12243467"/>
              <a:gd name="connsiteY239" fmla="*/ 4277196 h 4565177"/>
              <a:gd name="connsiteX240" fmla="*/ 5932528 w 12243467"/>
              <a:gd name="connsiteY240" fmla="*/ 4278511 h 4565177"/>
              <a:gd name="connsiteX241" fmla="*/ 5933635 w 12243467"/>
              <a:gd name="connsiteY241" fmla="*/ 4285693 h 4565177"/>
              <a:gd name="connsiteX242" fmla="*/ 5923401 w 12243467"/>
              <a:gd name="connsiteY242" fmla="*/ 4289335 h 4565177"/>
              <a:gd name="connsiteX243" fmla="*/ 5918146 w 12243467"/>
              <a:gd name="connsiteY243" fmla="*/ 4279321 h 4565177"/>
              <a:gd name="connsiteX244" fmla="*/ 5921741 w 12243467"/>
              <a:gd name="connsiteY244" fmla="*/ 4276691 h 4565177"/>
              <a:gd name="connsiteX245" fmla="*/ 7399009 w 12243467"/>
              <a:gd name="connsiteY245" fmla="*/ 4266070 h 4565177"/>
              <a:gd name="connsiteX246" fmla="*/ 7401498 w 12243467"/>
              <a:gd name="connsiteY246" fmla="*/ 4268396 h 4565177"/>
              <a:gd name="connsiteX247" fmla="*/ 7363882 w 12243467"/>
              <a:gd name="connsiteY247" fmla="*/ 4281546 h 4565177"/>
              <a:gd name="connsiteX248" fmla="*/ 7353371 w 12243467"/>
              <a:gd name="connsiteY248" fmla="*/ 4286199 h 4565177"/>
              <a:gd name="connsiteX249" fmla="*/ 7358350 w 12243467"/>
              <a:gd name="connsiteY249" fmla="*/ 4280332 h 4565177"/>
              <a:gd name="connsiteX250" fmla="*/ 7395966 w 12243467"/>
              <a:gd name="connsiteY250" fmla="*/ 4267283 h 4565177"/>
              <a:gd name="connsiteX251" fmla="*/ 7399009 w 12243467"/>
              <a:gd name="connsiteY251" fmla="*/ 4266070 h 4565177"/>
              <a:gd name="connsiteX252" fmla="*/ 6006378 w 12243467"/>
              <a:gd name="connsiteY252" fmla="*/ 4265968 h 4565177"/>
              <a:gd name="connsiteX253" fmla="*/ 6019101 w 12243467"/>
              <a:gd name="connsiteY253" fmla="*/ 4266070 h 4565177"/>
              <a:gd name="connsiteX254" fmla="*/ 6035420 w 12243467"/>
              <a:gd name="connsiteY254" fmla="*/ 4274162 h 4565177"/>
              <a:gd name="connsiteX255" fmla="*/ 5976783 w 12243467"/>
              <a:gd name="connsiteY255" fmla="*/ 4276893 h 4565177"/>
              <a:gd name="connsiteX256" fmla="*/ 5980655 w 12243467"/>
              <a:gd name="connsiteY256" fmla="*/ 4281950 h 4565177"/>
              <a:gd name="connsiteX257" fmla="*/ 5966826 w 12243467"/>
              <a:gd name="connsiteY257" fmla="*/ 4278107 h 4565177"/>
              <a:gd name="connsiteX258" fmla="*/ 6006378 w 12243467"/>
              <a:gd name="connsiteY258" fmla="*/ 4265968 h 4565177"/>
              <a:gd name="connsiteX259" fmla="*/ 7506049 w 12243467"/>
              <a:gd name="connsiteY259" fmla="*/ 4261315 h 4565177"/>
              <a:gd name="connsiteX260" fmla="*/ 7511028 w 12243467"/>
              <a:gd name="connsiteY260" fmla="*/ 4262934 h 4565177"/>
              <a:gd name="connsiteX261" fmla="*/ 7485858 w 12243467"/>
              <a:gd name="connsiteY261" fmla="*/ 4280433 h 4565177"/>
              <a:gd name="connsiteX262" fmla="*/ 7464561 w 12243467"/>
              <a:gd name="connsiteY262" fmla="*/ 4282760 h 4565177"/>
              <a:gd name="connsiteX263" fmla="*/ 7491943 w 12243467"/>
              <a:gd name="connsiteY263" fmla="*/ 4264856 h 4565177"/>
              <a:gd name="connsiteX264" fmla="*/ 7499688 w 12243467"/>
              <a:gd name="connsiteY264" fmla="*/ 4261619 h 4565177"/>
              <a:gd name="connsiteX265" fmla="*/ 7506049 w 12243467"/>
              <a:gd name="connsiteY265" fmla="*/ 4261315 h 4565177"/>
              <a:gd name="connsiteX266" fmla="*/ 5749426 w 12243467"/>
              <a:gd name="connsiteY266" fmla="*/ 4259697 h 4565177"/>
              <a:gd name="connsiteX267" fmla="*/ 5759661 w 12243467"/>
              <a:gd name="connsiteY267" fmla="*/ 4260102 h 4565177"/>
              <a:gd name="connsiteX268" fmla="*/ 5777638 w 12243467"/>
              <a:gd name="connsiteY268" fmla="*/ 4261518 h 4565177"/>
              <a:gd name="connsiteX269" fmla="*/ 5741405 w 12243467"/>
              <a:gd name="connsiteY269" fmla="*/ 4262125 h 4565177"/>
              <a:gd name="connsiteX270" fmla="*/ 5749426 w 12243467"/>
              <a:gd name="connsiteY270" fmla="*/ 4259697 h 4565177"/>
              <a:gd name="connsiteX271" fmla="*/ 7884805 w 12243467"/>
              <a:gd name="connsiteY271" fmla="*/ 4255324 h 4565177"/>
              <a:gd name="connsiteX272" fmla="*/ 7898358 w 12243467"/>
              <a:gd name="connsiteY272" fmla="*/ 4263113 h 4565177"/>
              <a:gd name="connsiteX273" fmla="*/ 7871252 w 12243467"/>
              <a:gd name="connsiteY273" fmla="*/ 4264731 h 4565177"/>
              <a:gd name="connsiteX274" fmla="*/ 7884805 w 12243467"/>
              <a:gd name="connsiteY274" fmla="*/ 4255324 h 4565177"/>
              <a:gd name="connsiteX275" fmla="*/ 5918699 w 12243467"/>
              <a:gd name="connsiteY275" fmla="*/ 4254235 h 4565177"/>
              <a:gd name="connsiteX276" fmla="*/ 5892976 w 12243467"/>
              <a:gd name="connsiteY276" fmla="*/ 4262934 h 4565177"/>
              <a:gd name="connsiteX277" fmla="*/ 5896295 w 12243467"/>
              <a:gd name="connsiteY277" fmla="*/ 4270217 h 4565177"/>
              <a:gd name="connsiteX278" fmla="*/ 5876381 w 12243467"/>
              <a:gd name="connsiteY278" fmla="*/ 4272644 h 4565177"/>
              <a:gd name="connsiteX279" fmla="*/ 5855360 w 12243467"/>
              <a:gd name="connsiteY279" fmla="*/ 4270318 h 4565177"/>
              <a:gd name="connsiteX280" fmla="*/ 5821893 w 12243467"/>
              <a:gd name="connsiteY280" fmla="*/ 4269003 h 4565177"/>
              <a:gd name="connsiteX281" fmla="*/ 5813318 w 12243467"/>
              <a:gd name="connsiteY281" fmla="*/ 4263440 h 4565177"/>
              <a:gd name="connsiteX282" fmla="*/ 5918699 w 12243467"/>
              <a:gd name="connsiteY282" fmla="*/ 4254235 h 4565177"/>
              <a:gd name="connsiteX283" fmla="*/ 7536751 w 12243467"/>
              <a:gd name="connsiteY283" fmla="*/ 4253425 h 4565177"/>
              <a:gd name="connsiteX284" fmla="*/ 7535091 w 12243467"/>
              <a:gd name="connsiteY284" fmla="*/ 4257168 h 4565177"/>
              <a:gd name="connsiteX285" fmla="*/ 7532325 w 12243467"/>
              <a:gd name="connsiteY285" fmla="*/ 4260405 h 4565177"/>
              <a:gd name="connsiteX286" fmla="*/ 7434136 w 12243467"/>
              <a:gd name="connsiteY286" fmla="*/ 4252515 h 4565177"/>
              <a:gd name="connsiteX287" fmla="*/ 7443263 w 12243467"/>
              <a:gd name="connsiteY287" fmla="*/ 4254538 h 4565177"/>
              <a:gd name="connsiteX288" fmla="*/ 7417264 w 12243467"/>
              <a:gd name="connsiteY288" fmla="*/ 4264856 h 4565177"/>
              <a:gd name="connsiteX289" fmla="*/ 7426115 w 12243467"/>
              <a:gd name="connsiteY289" fmla="*/ 4274465 h 4565177"/>
              <a:gd name="connsiteX290" fmla="*/ 7425561 w 12243467"/>
              <a:gd name="connsiteY290" fmla="*/ 4253729 h 4565177"/>
              <a:gd name="connsiteX291" fmla="*/ 7434136 w 12243467"/>
              <a:gd name="connsiteY291" fmla="*/ 4252515 h 4565177"/>
              <a:gd name="connsiteX292" fmla="*/ 6280479 w 12243467"/>
              <a:gd name="connsiteY292" fmla="*/ 4248772 h 4565177"/>
              <a:gd name="connsiteX293" fmla="*/ 6263883 w 12243467"/>
              <a:gd name="connsiteY293" fmla="*/ 4260911 h 4565177"/>
              <a:gd name="connsiteX294" fmla="*/ 6280479 w 12243467"/>
              <a:gd name="connsiteY294" fmla="*/ 4248772 h 4565177"/>
              <a:gd name="connsiteX295" fmla="*/ 6003612 w 12243467"/>
              <a:gd name="connsiteY295" fmla="*/ 4247862 h 4565177"/>
              <a:gd name="connsiteX296" fmla="*/ 5934741 w 12243467"/>
              <a:gd name="connsiteY296" fmla="*/ 4258382 h 4565177"/>
              <a:gd name="connsiteX297" fmla="*/ 6003612 w 12243467"/>
              <a:gd name="connsiteY297" fmla="*/ 4247862 h 4565177"/>
              <a:gd name="connsiteX298" fmla="*/ 7484198 w 12243467"/>
              <a:gd name="connsiteY298" fmla="*/ 4245333 h 4565177"/>
              <a:gd name="connsiteX299" fmla="*/ 7477007 w 12243467"/>
              <a:gd name="connsiteY299" fmla="*/ 4253830 h 4565177"/>
              <a:gd name="connsiteX300" fmla="*/ 7470646 w 12243467"/>
              <a:gd name="connsiteY300" fmla="*/ 4250492 h 4565177"/>
              <a:gd name="connsiteX301" fmla="*/ 7484198 w 12243467"/>
              <a:gd name="connsiteY301" fmla="*/ 4245333 h 4565177"/>
              <a:gd name="connsiteX302" fmla="*/ 7450731 w 12243467"/>
              <a:gd name="connsiteY302" fmla="*/ 4243411 h 4565177"/>
              <a:gd name="connsiteX303" fmla="*/ 7453774 w 12243467"/>
              <a:gd name="connsiteY303" fmla="*/ 4248368 h 4565177"/>
              <a:gd name="connsiteX304" fmla="*/ 7454050 w 12243467"/>
              <a:gd name="connsiteY304" fmla="*/ 4252111 h 4565177"/>
              <a:gd name="connsiteX305" fmla="*/ 7444646 w 12243467"/>
              <a:gd name="connsiteY305" fmla="*/ 4247154 h 4565177"/>
              <a:gd name="connsiteX306" fmla="*/ 7450731 w 12243467"/>
              <a:gd name="connsiteY306" fmla="*/ 4243411 h 4565177"/>
              <a:gd name="connsiteX307" fmla="*/ 7584428 w 12243467"/>
              <a:gd name="connsiteY307" fmla="*/ 4242073 h 4565177"/>
              <a:gd name="connsiteX308" fmla="*/ 7597981 w 12243467"/>
              <a:gd name="connsiteY308" fmla="*/ 4247738 h 4565177"/>
              <a:gd name="connsiteX309" fmla="*/ 7567280 w 12243467"/>
              <a:gd name="connsiteY309" fmla="*/ 4242376 h 4565177"/>
              <a:gd name="connsiteX310" fmla="*/ 7584428 w 12243467"/>
              <a:gd name="connsiteY310" fmla="*/ 4242073 h 4565177"/>
              <a:gd name="connsiteX311" fmla="*/ 7468433 w 12243467"/>
              <a:gd name="connsiteY311" fmla="*/ 4233498 h 4565177"/>
              <a:gd name="connsiteX312" fmla="*/ 7473965 w 12243467"/>
              <a:gd name="connsiteY312" fmla="*/ 4238455 h 4565177"/>
              <a:gd name="connsiteX313" fmla="*/ 7470369 w 12243467"/>
              <a:gd name="connsiteY313" fmla="*/ 4241692 h 4565177"/>
              <a:gd name="connsiteX314" fmla="*/ 7468433 w 12243467"/>
              <a:gd name="connsiteY314" fmla="*/ 4233498 h 4565177"/>
              <a:gd name="connsiteX315" fmla="*/ 8036653 w 12243467"/>
              <a:gd name="connsiteY315" fmla="*/ 4232666 h 4565177"/>
              <a:gd name="connsiteX316" fmla="*/ 8046057 w 12243467"/>
              <a:gd name="connsiteY316" fmla="*/ 4245006 h 4565177"/>
              <a:gd name="connsiteX317" fmla="*/ 8041908 w 12243467"/>
              <a:gd name="connsiteY317" fmla="*/ 4253503 h 4565177"/>
              <a:gd name="connsiteX318" fmla="*/ 7909975 w 12243467"/>
              <a:gd name="connsiteY318" fmla="*/ 4261494 h 4565177"/>
              <a:gd name="connsiteX319" fmla="*/ 7940399 w 12243467"/>
              <a:gd name="connsiteY319" fmla="*/ 4242376 h 4565177"/>
              <a:gd name="connsiteX320" fmla="*/ 7957548 w 12243467"/>
              <a:gd name="connsiteY320" fmla="*/ 4241972 h 4565177"/>
              <a:gd name="connsiteX321" fmla="*/ 7948974 w 12243467"/>
              <a:gd name="connsiteY321" fmla="*/ 4247738 h 4565177"/>
              <a:gd name="connsiteX322" fmla="*/ 7977463 w 12243467"/>
              <a:gd name="connsiteY322" fmla="*/ 4250873 h 4565177"/>
              <a:gd name="connsiteX323" fmla="*/ 8006781 w 12243467"/>
              <a:gd name="connsiteY323" fmla="*/ 4236105 h 4565177"/>
              <a:gd name="connsiteX324" fmla="*/ 8007611 w 12243467"/>
              <a:gd name="connsiteY324" fmla="*/ 4245209 h 4565177"/>
              <a:gd name="connsiteX325" fmla="*/ 8023376 w 12243467"/>
              <a:gd name="connsiteY325" fmla="*/ 4237926 h 4565177"/>
              <a:gd name="connsiteX326" fmla="*/ 8026972 w 12243467"/>
              <a:gd name="connsiteY326" fmla="*/ 4245108 h 4565177"/>
              <a:gd name="connsiteX327" fmla="*/ 8036653 w 12243467"/>
              <a:gd name="connsiteY327" fmla="*/ 4232666 h 4565177"/>
              <a:gd name="connsiteX328" fmla="*/ 7392924 w 12243467"/>
              <a:gd name="connsiteY328" fmla="*/ 4225609 h 4565177"/>
              <a:gd name="connsiteX329" fmla="*/ 7404264 w 12243467"/>
              <a:gd name="connsiteY329" fmla="*/ 4232285 h 4565177"/>
              <a:gd name="connsiteX330" fmla="*/ 7405924 w 12243467"/>
              <a:gd name="connsiteY330" fmla="*/ 4233701 h 4565177"/>
              <a:gd name="connsiteX331" fmla="*/ 7400668 w 12243467"/>
              <a:gd name="connsiteY331" fmla="*/ 4242400 h 4565177"/>
              <a:gd name="connsiteX332" fmla="*/ 7365541 w 12243467"/>
              <a:gd name="connsiteY332" fmla="*/ 4254842 h 4565177"/>
              <a:gd name="connsiteX333" fmla="*/ 7361392 w 12243467"/>
              <a:gd name="connsiteY333" fmla="*/ 4244018 h 4565177"/>
              <a:gd name="connsiteX334" fmla="*/ 7391541 w 12243467"/>
              <a:gd name="connsiteY334" fmla="*/ 4225710 h 4565177"/>
              <a:gd name="connsiteX335" fmla="*/ 7392924 w 12243467"/>
              <a:gd name="connsiteY335" fmla="*/ 4225609 h 4565177"/>
              <a:gd name="connsiteX336" fmla="*/ 8021994 w 12243467"/>
              <a:gd name="connsiteY336" fmla="*/ 4222146 h 4565177"/>
              <a:gd name="connsiteX337" fmla="*/ 8023376 w 12243467"/>
              <a:gd name="connsiteY337" fmla="*/ 4222247 h 4565177"/>
              <a:gd name="connsiteX338" fmla="*/ 8028632 w 12243467"/>
              <a:gd name="connsiteY338" fmla="*/ 4222551 h 4565177"/>
              <a:gd name="connsiteX339" fmla="*/ 8027249 w 12243467"/>
              <a:gd name="connsiteY339" fmla="*/ 4229429 h 4565177"/>
              <a:gd name="connsiteX340" fmla="*/ 8018398 w 12243467"/>
              <a:gd name="connsiteY340" fmla="*/ 4226091 h 4565177"/>
              <a:gd name="connsiteX341" fmla="*/ 8023100 w 12243467"/>
              <a:gd name="connsiteY341" fmla="*/ 4226597 h 4565177"/>
              <a:gd name="connsiteX342" fmla="*/ 8021164 w 12243467"/>
              <a:gd name="connsiteY342" fmla="*/ 4224068 h 4565177"/>
              <a:gd name="connsiteX343" fmla="*/ 8021994 w 12243467"/>
              <a:gd name="connsiteY343" fmla="*/ 4222146 h 4565177"/>
              <a:gd name="connsiteX344" fmla="*/ 7995164 w 12243467"/>
              <a:gd name="connsiteY344" fmla="*/ 4220629 h 4565177"/>
              <a:gd name="connsiteX345" fmla="*/ 8015909 w 12243467"/>
              <a:gd name="connsiteY345" fmla="*/ 4225484 h 4565177"/>
              <a:gd name="connsiteX346" fmla="*/ 8015909 w 12243467"/>
              <a:gd name="connsiteY346" fmla="*/ 4229125 h 4565177"/>
              <a:gd name="connsiteX347" fmla="*/ 8013143 w 12243467"/>
              <a:gd name="connsiteY347" fmla="*/ 4227507 h 4565177"/>
              <a:gd name="connsiteX348" fmla="*/ 7924910 w 12243467"/>
              <a:gd name="connsiteY348" fmla="*/ 4235903 h 4565177"/>
              <a:gd name="connsiteX349" fmla="*/ 7973590 w 12243467"/>
              <a:gd name="connsiteY349" fmla="*/ 4220730 h 4565177"/>
              <a:gd name="connsiteX350" fmla="*/ 7995164 w 12243467"/>
              <a:gd name="connsiteY350" fmla="*/ 4220629 h 4565177"/>
              <a:gd name="connsiteX351" fmla="*/ 8057120 w 12243467"/>
              <a:gd name="connsiteY351" fmla="*/ 4216785 h 4565177"/>
              <a:gd name="connsiteX352" fmla="*/ 8037759 w 12243467"/>
              <a:gd name="connsiteY352" fmla="*/ 4225585 h 4565177"/>
              <a:gd name="connsiteX353" fmla="*/ 8057120 w 12243467"/>
              <a:gd name="connsiteY353" fmla="*/ 4216785 h 4565177"/>
              <a:gd name="connsiteX354" fmla="*/ 7384903 w 12243467"/>
              <a:gd name="connsiteY354" fmla="*/ 4201838 h 4565177"/>
              <a:gd name="connsiteX355" fmla="*/ 7381860 w 12243467"/>
              <a:gd name="connsiteY355" fmla="*/ 4206997 h 4565177"/>
              <a:gd name="connsiteX356" fmla="*/ 7389051 w 12243467"/>
              <a:gd name="connsiteY356" fmla="*/ 4212054 h 4565177"/>
              <a:gd name="connsiteX357" fmla="*/ 7380201 w 12243467"/>
              <a:gd name="connsiteY357" fmla="*/ 4209525 h 4565177"/>
              <a:gd name="connsiteX358" fmla="*/ 7374669 w 12243467"/>
              <a:gd name="connsiteY358" fmla="*/ 4215190 h 4565177"/>
              <a:gd name="connsiteX359" fmla="*/ 7384903 w 12243467"/>
              <a:gd name="connsiteY359" fmla="*/ 4201838 h 4565177"/>
              <a:gd name="connsiteX360" fmla="*/ 7433583 w 12243467"/>
              <a:gd name="connsiteY360" fmla="*/ 4200523 h 4565177"/>
              <a:gd name="connsiteX361" fmla="*/ 7447689 w 12243467"/>
              <a:gd name="connsiteY361" fmla="*/ 4211346 h 4565177"/>
              <a:gd name="connsiteX362" fmla="*/ 7433859 w 12243467"/>
              <a:gd name="connsiteY362" fmla="*/ 4226114 h 4565177"/>
              <a:gd name="connsiteX363" fmla="*/ 7444093 w 12243467"/>
              <a:gd name="connsiteY363" fmla="*/ 4233195 h 4565177"/>
              <a:gd name="connsiteX364" fmla="*/ 7417817 w 12243467"/>
              <a:gd name="connsiteY364" fmla="*/ 4241388 h 4565177"/>
              <a:gd name="connsiteX365" fmla="*/ 7417540 w 12243467"/>
              <a:gd name="connsiteY365" fmla="*/ 4234409 h 4565177"/>
              <a:gd name="connsiteX366" fmla="*/ 7430263 w 12243467"/>
              <a:gd name="connsiteY366" fmla="*/ 4229250 h 4565177"/>
              <a:gd name="connsiteX367" fmla="*/ 7415881 w 12243467"/>
              <a:gd name="connsiteY367" fmla="*/ 4230160 h 4565177"/>
              <a:gd name="connsiteX368" fmla="*/ 7421413 w 12243467"/>
              <a:gd name="connsiteY368" fmla="*/ 4219539 h 4565177"/>
              <a:gd name="connsiteX369" fmla="*/ 7433583 w 12243467"/>
              <a:gd name="connsiteY369" fmla="*/ 4200523 h 4565177"/>
              <a:gd name="connsiteX370" fmla="*/ 7456263 w 12243467"/>
              <a:gd name="connsiteY370" fmla="*/ 4195566 h 4565177"/>
              <a:gd name="connsiteX371" fmla="*/ 7465944 w 12243467"/>
              <a:gd name="connsiteY371" fmla="*/ 4206997 h 4565177"/>
              <a:gd name="connsiteX372" fmla="*/ 7451008 w 12243467"/>
              <a:gd name="connsiteY372" fmla="*/ 4201130 h 4565177"/>
              <a:gd name="connsiteX373" fmla="*/ 7456263 w 12243467"/>
              <a:gd name="connsiteY373" fmla="*/ 4195566 h 4565177"/>
              <a:gd name="connsiteX374" fmla="*/ 6446709 w 12243467"/>
              <a:gd name="connsiteY374" fmla="*/ 4189699 h 4565177"/>
              <a:gd name="connsiteX375" fmla="*/ 6446433 w 12243467"/>
              <a:gd name="connsiteY375" fmla="*/ 4195465 h 4565177"/>
              <a:gd name="connsiteX376" fmla="*/ 6444220 w 12243467"/>
              <a:gd name="connsiteY376" fmla="*/ 4201029 h 4565177"/>
              <a:gd name="connsiteX377" fmla="*/ 6434263 w 12243467"/>
              <a:gd name="connsiteY377" fmla="*/ 4193038 h 4565177"/>
              <a:gd name="connsiteX378" fmla="*/ 6446709 w 12243467"/>
              <a:gd name="connsiteY378" fmla="*/ 4189699 h 4565177"/>
              <a:gd name="connsiteX379" fmla="*/ 7486688 w 12243467"/>
              <a:gd name="connsiteY379" fmla="*/ 4183731 h 4565177"/>
              <a:gd name="connsiteX380" fmla="*/ 7494986 w 12243467"/>
              <a:gd name="connsiteY380" fmla="*/ 4185957 h 4565177"/>
              <a:gd name="connsiteX381" fmla="*/ 7497751 w 12243467"/>
              <a:gd name="connsiteY381" fmla="*/ 4192835 h 4565177"/>
              <a:gd name="connsiteX382" fmla="*/ 7487241 w 12243467"/>
              <a:gd name="connsiteY382" fmla="*/ 4197387 h 4565177"/>
              <a:gd name="connsiteX383" fmla="*/ 7478114 w 12243467"/>
              <a:gd name="connsiteY383" fmla="*/ 4199410 h 4565177"/>
              <a:gd name="connsiteX384" fmla="*/ 7465667 w 12243467"/>
              <a:gd name="connsiteY384" fmla="*/ 4192936 h 4565177"/>
              <a:gd name="connsiteX385" fmla="*/ 7486688 w 12243467"/>
              <a:gd name="connsiteY385" fmla="*/ 4183731 h 4565177"/>
              <a:gd name="connsiteX386" fmla="*/ 7547814 w 12243467"/>
              <a:gd name="connsiteY386" fmla="*/ 4182113 h 4565177"/>
              <a:gd name="connsiteX387" fmla="*/ 7535091 w 12243467"/>
              <a:gd name="connsiteY387" fmla="*/ 4194251 h 4565177"/>
              <a:gd name="connsiteX388" fmla="*/ 7547814 w 12243467"/>
              <a:gd name="connsiteY388" fmla="*/ 4182113 h 4565177"/>
              <a:gd name="connsiteX389" fmla="*/ 9201097 w 12243467"/>
              <a:gd name="connsiteY389" fmla="*/ 4182090 h 4565177"/>
              <a:gd name="connsiteX390" fmla="*/ 9216586 w 12243467"/>
              <a:gd name="connsiteY390" fmla="*/ 4183202 h 4565177"/>
              <a:gd name="connsiteX391" fmla="*/ 9185884 w 12243467"/>
              <a:gd name="connsiteY391" fmla="*/ 4187754 h 4565177"/>
              <a:gd name="connsiteX392" fmla="*/ 9201097 w 12243467"/>
              <a:gd name="connsiteY392" fmla="*/ 4182090 h 4565177"/>
              <a:gd name="connsiteX393" fmla="*/ 7448242 w 12243467"/>
              <a:gd name="connsiteY393" fmla="*/ 4180899 h 4565177"/>
              <a:gd name="connsiteX394" fmla="*/ 7441880 w 12243467"/>
              <a:gd name="connsiteY394" fmla="*/ 4196072 h 4565177"/>
              <a:gd name="connsiteX395" fmla="*/ 7397349 w 12243467"/>
              <a:gd name="connsiteY395" fmla="*/ 4203557 h 4565177"/>
              <a:gd name="connsiteX396" fmla="*/ 7448242 w 12243467"/>
              <a:gd name="connsiteY396" fmla="*/ 4180899 h 4565177"/>
              <a:gd name="connsiteX397" fmla="*/ 6472156 w 12243467"/>
              <a:gd name="connsiteY397" fmla="*/ 4179281 h 4565177"/>
              <a:gd name="connsiteX398" fmla="*/ 6484602 w 12243467"/>
              <a:gd name="connsiteY398" fmla="*/ 4182720 h 4565177"/>
              <a:gd name="connsiteX399" fmla="*/ 6465517 w 12243467"/>
              <a:gd name="connsiteY399" fmla="*/ 4191723 h 4565177"/>
              <a:gd name="connsiteX400" fmla="*/ 6459709 w 12243467"/>
              <a:gd name="connsiteY400" fmla="*/ 4184338 h 4565177"/>
              <a:gd name="connsiteX401" fmla="*/ 6472156 w 12243467"/>
              <a:gd name="connsiteY401" fmla="*/ 4179281 h 4565177"/>
              <a:gd name="connsiteX402" fmla="*/ 6147715 w 12243467"/>
              <a:gd name="connsiteY402" fmla="*/ 4165726 h 4565177"/>
              <a:gd name="connsiteX403" fmla="*/ 6149928 w 12243467"/>
              <a:gd name="connsiteY403" fmla="*/ 4166738 h 4565177"/>
              <a:gd name="connsiteX404" fmla="*/ 6157396 w 12243467"/>
              <a:gd name="connsiteY404" fmla="*/ 4169267 h 4565177"/>
              <a:gd name="connsiteX405" fmla="*/ 6151311 w 12243467"/>
              <a:gd name="connsiteY405" fmla="*/ 4175235 h 4565177"/>
              <a:gd name="connsiteX406" fmla="*/ 6145503 w 12243467"/>
              <a:gd name="connsiteY406" fmla="*/ 4167952 h 4565177"/>
              <a:gd name="connsiteX407" fmla="*/ 6147715 w 12243467"/>
              <a:gd name="connsiteY407" fmla="*/ 4165726 h 4565177"/>
              <a:gd name="connsiteX408" fmla="*/ 3325868 w 12243467"/>
              <a:gd name="connsiteY408" fmla="*/ 4163884 h 4565177"/>
              <a:gd name="connsiteX409" fmla="*/ 3339421 w 12243467"/>
              <a:gd name="connsiteY409" fmla="*/ 4171673 h 4565177"/>
              <a:gd name="connsiteX410" fmla="*/ 3312315 w 12243467"/>
              <a:gd name="connsiteY410" fmla="*/ 4173291 h 4565177"/>
              <a:gd name="connsiteX411" fmla="*/ 3325868 w 12243467"/>
              <a:gd name="connsiteY411" fmla="*/ 4163884 h 4565177"/>
              <a:gd name="connsiteX412" fmla="*/ 7213693 w 12243467"/>
              <a:gd name="connsiteY412" fmla="*/ 4159556 h 4565177"/>
              <a:gd name="connsiteX413" fmla="*/ 7181332 w 12243467"/>
              <a:gd name="connsiteY413" fmla="*/ 4171492 h 4565177"/>
              <a:gd name="connsiteX414" fmla="*/ 7213693 w 12243467"/>
              <a:gd name="connsiteY414" fmla="*/ 4159556 h 4565177"/>
              <a:gd name="connsiteX415" fmla="*/ 5561345 w 12243467"/>
              <a:gd name="connsiteY415" fmla="*/ 4157331 h 4565177"/>
              <a:gd name="connsiteX416" fmla="*/ 5565217 w 12243467"/>
              <a:gd name="connsiteY416" fmla="*/ 4159758 h 4565177"/>
              <a:gd name="connsiteX417" fmla="*/ 5551664 w 12243467"/>
              <a:gd name="connsiteY417" fmla="*/ 4159151 h 4565177"/>
              <a:gd name="connsiteX418" fmla="*/ 5561345 w 12243467"/>
              <a:gd name="connsiteY418" fmla="*/ 4157331 h 4565177"/>
              <a:gd name="connsiteX419" fmla="*/ 7440497 w 12243467"/>
              <a:gd name="connsiteY419" fmla="*/ 4156521 h 4565177"/>
              <a:gd name="connsiteX420" fmla="*/ 7446306 w 12243467"/>
              <a:gd name="connsiteY420" fmla="*/ 4164513 h 4565177"/>
              <a:gd name="connsiteX421" fmla="*/ 7426115 w 12243467"/>
              <a:gd name="connsiteY421" fmla="*/ 4169064 h 4565177"/>
              <a:gd name="connsiteX422" fmla="*/ 7440497 w 12243467"/>
              <a:gd name="connsiteY422" fmla="*/ 4156521 h 4565177"/>
              <a:gd name="connsiteX423" fmla="*/ 3161850 w 12243467"/>
              <a:gd name="connsiteY423" fmla="*/ 4154072 h 4565177"/>
              <a:gd name="connsiteX424" fmla="*/ 3150786 w 12243467"/>
              <a:gd name="connsiteY424" fmla="*/ 4159737 h 4565177"/>
              <a:gd name="connsiteX425" fmla="*/ 3161850 w 12243467"/>
              <a:gd name="connsiteY425" fmla="*/ 4154072 h 4565177"/>
              <a:gd name="connsiteX426" fmla="*/ 3215232 w 12243467"/>
              <a:gd name="connsiteY426" fmla="*/ 4153465 h 4565177"/>
              <a:gd name="connsiteX427" fmla="*/ 3221593 w 12243467"/>
              <a:gd name="connsiteY427" fmla="*/ 4158624 h 4565177"/>
              <a:gd name="connsiteX428" fmla="*/ 3196147 w 12243467"/>
              <a:gd name="connsiteY428" fmla="*/ 4153668 h 4565177"/>
              <a:gd name="connsiteX429" fmla="*/ 3215232 w 12243467"/>
              <a:gd name="connsiteY429" fmla="*/ 4153465 h 4565177"/>
              <a:gd name="connsiteX430" fmla="*/ 3261976 w 12243467"/>
              <a:gd name="connsiteY430" fmla="*/ 4152049 h 4565177"/>
              <a:gd name="connsiteX431" fmla="*/ 3268337 w 12243467"/>
              <a:gd name="connsiteY431" fmla="*/ 4154477 h 4565177"/>
              <a:gd name="connsiteX432" fmla="*/ 3265295 w 12243467"/>
              <a:gd name="connsiteY432" fmla="*/ 4156500 h 4565177"/>
              <a:gd name="connsiteX433" fmla="*/ 3266954 w 12243467"/>
              <a:gd name="connsiteY433" fmla="*/ 4172583 h 4565177"/>
              <a:gd name="connsiteX434" fmla="*/ 3170701 w 12243467"/>
              <a:gd name="connsiteY434" fmla="*/ 4170965 h 4565177"/>
              <a:gd name="connsiteX435" fmla="*/ 3249529 w 12243467"/>
              <a:gd name="connsiteY435" fmla="*/ 4163783 h 4565177"/>
              <a:gd name="connsiteX436" fmla="*/ 3261976 w 12243467"/>
              <a:gd name="connsiteY436" fmla="*/ 4152049 h 4565177"/>
              <a:gd name="connsiteX437" fmla="*/ 3025491 w 12243467"/>
              <a:gd name="connsiteY437" fmla="*/ 4150633 h 4565177"/>
              <a:gd name="connsiteX438" fmla="*/ 3039044 w 12243467"/>
              <a:gd name="connsiteY438" fmla="*/ 4156298 h 4565177"/>
              <a:gd name="connsiteX439" fmla="*/ 3008343 w 12243467"/>
              <a:gd name="connsiteY439" fmla="*/ 4150936 h 4565177"/>
              <a:gd name="connsiteX440" fmla="*/ 3025491 w 12243467"/>
              <a:gd name="connsiteY440" fmla="*/ 4150633 h 4565177"/>
              <a:gd name="connsiteX441" fmla="*/ 7322117 w 12243467"/>
              <a:gd name="connsiteY441" fmla="*/ 4144889 h 4565177"/>
              <a:gd name="connsiteX442" fmla="*/ 7294734 w 12243467"/>
              <a:gd name="connsiteY442" fmla="*/ 4158140 h 4565177"/>
              <a:gd name="connsiteX443" fmla="*/ 7322117 w 12243467"/>
              <a:gd name="connsiteY443" fmla="*/ 4144889 h 4565177"/>
              <a:gd name="connsiteX444" fmla="*/ 7950080 w 12243467"/>
              <a:gd name="connsiteY444" fmla="*/ 4143449 h 4565177"/>
              <a:gd name="connsiteX445" fmla="*/ 7955889 w 12243467"/>
              <a:gd name="connsiteY445" fmla="*/ 4143854 h 4565177"/>
              <a:gd name="connsiteX446" fmla="*/ 7947591 w 12243467"/>
              <a:gd name="connsiteY446" fmla="*/ 4149620 h 4565177"/>
              <a:gd name="connsiteX447" fmla="*/ 7955612 w 12243467"/>
              <a:gd name="connsiteY447" fmla="*/ 4157307 h 4565177"/>
              <a:gd name="connsiteX448" fmla="*/ 7921868 w 12243467"/>
              <a:gd name="connsiteY448" fmla="*/ 4158218 h 4565177"/>
              <a:gd name="connsiteX449" fmla="*/ 7935697 w 12243467"/>
              <a:gd name="connsiteY449" fmla="*/ 4148406 h 4565177"/>
              <a:gd name="connsiteX450" fmla="*/ 7934868 w 12243467"/>
              <a:gd name="connsiteY450" fmla="*/ 4152857 h 4565177"/>
              <a:gd name="connsiteX451" fmla="*/ 7943719 w 12243467"/>
              <a:gd name="connsiteY451" fmla="*/ 4144663 h 4565177"/>
              <a:gd name="connsiteX452" fmla="*/ 7950080 w 12243467"/>
              <a:gd name="connsiteY452" fmla="*/ 4143449 h 4565177"/>
              <a:gd name="connsiteX453" fmla="*/ 7997377 w 12243467"/>
              <a:gd name="connsiteY453" fmla="*/ 4142843 h 4565177"/>
              <a:gd name="connsiteX454" fmla="*/ 8003185 w 12243467"/>
              <a:gd name="connsiteY454" fmla="*/ 4143348 h 4565177"/>
              <a:gd name="connsiteX455" fmla="*/ 8012866 w 12243467"/>
              <a:gd name="connsiteY455" fmla="*/ 4148102 h 4565177"/>
              <a:gd name="connsiteX456" fmla="*/ 7979952 w 12243467"/>
              <a:gd name="connsiteY456" fmla="*/ 4156094 h 4565177"/>
              <a:gd name="connsiteX457" fmla="*/ 7959208 w 12243467"/>
              <a:gd name="connsiteY457" fmla="*/ 4151440 h 4565177"/>
              <a:gd name="connsiteX458" fmla="*/ 7994611 w 12243467"/>
              <a:gd name="connsiteY458" fmla="*/ 4143753 h 4565177"/>
              <a:gd name="connsiteX459" fmla="*/ 7997377 w 12243467"/>
              <a:gd name="connsiteY459" fmla="*/ 4142843 h 4565177"/>
              <a:gd name="connsiteX460" fmla="*/ 9326669 w 12243467"/>
              <a:gd name="connsiteY460" fmla="*/ 4142539 h 4565177"/>
              <a:gd name="connsiteX461" fmla="*/ 9319754 w 12243467"/>
              <a:gd name="connsiteY461" fmla="*/ 4151036 h 4565177"/>
              <a:gd name="connsiteX462" fmla="*/ 9326669 w 12243467"/>
              <a:gd name="connsiteY462" fmla="*/ 4142539 h 4565177"/>
              <a:gd name="connsiteX463" fmla="*/ 3477716 w 12243467"/>
              <a:gd name="connsiteY463" fmla="*/ 4141226 h 4565177"/>
              <a:gd name="connsiteX464" fmla="*/ 3487120 w 12243467"/>
              <a:gd name="connsiteY464" fmla="*/ 4153566 h 4565177"/>
              <a:gd name="connsiteX465" fmla="*/ 3482971 w 12243467"/>
              <a:gd name="connsiteY465" fmla="*/ 4162063 h 4565177"/>
              <a:gd name="connsiteX466" fmla="*/ 3351038 w 12243467"/>
              <a:gd name="connsiteY466" fmla="*/ 4170054 h 4565177"/>
              <a:gd name="connsiteX467" fmla="*/ 3381462 w 12243467"/>
              <a:gd name="connsiteY467" fmla="*/ 4150936 h 4565177"/>
              <a:gd name="connsiteX468" fmla="*/ 3398611 w 12243467"/>
              <a:gd name="connsiteY468" fmla="*/ 4150532 h 4565177"/>
              <a:gd name="connsiteX469" fmla="*/ 3390037 w 12243467"/>
              <a:gd name="connsiteY469" fmla="*/ 4156298 h 4565177"/>
              <a:gd name="connsiteX470" fmla="*/ 3418526 w 12243467"/>
              <a:gd name="connsiteY470" fmla="*/ 4159433 h 4565177"/>
              <a:gd name="connsiteX471" fmla="*/ 3447844 w 12243467"/>
              <a:gd name="connsiteY471" fmla="*/ 4144665 h 4565177"/>
              <a:gd name="connsiteX472" fmla="*/ 3448674 w 12243467"/>
              <a:gd name="connsiteY472" fmla="*/ 4153769 h 4565177"/>
              <a:gd name="connsiteX473" fmla="*/ 3464439 w 12243467"/>
              <a:gd name="connsiteY473" fmla="*/ 4146486 h 4565177"/>
              <a:gd name="connsiteX474" fmla="*/ 3468035 w 12243467"/>
              <a:gd name="connsiteY474" fmla="*/ 4153668 h 4565177"/>
              <a:gd name="connsiteX475" fmla="*/ 3477716 w 12243467"/>
              <a:gd name="connsiteY475" fmla="*/ 4141226 h 4565177"/>
              <a:gd name="connsiteX476" fmla="*/ 7471752 w 12243467"/>
              <a:gd name="connsiteY476" fmla="*/ 4140135 h 4565177"/>
              <a:gd name="connsiteX477" fmla="*/ 7475071 w 12243467"/>
              <a:gd name="connsiteY477" fmla="*/ 4141652 h 4565177"/>
              <a:gd name="connsiteX478" fmla="*/ 7473135 w 12243467"/>
              <a:gd name="connsiteY478" fmla="*/ 4149340 h 4565177"/>
              <a:gd name="connsiteX479" fmla="*/ 7465114 w 12243467"/>
              <a:gd name="connsiteY479" fmla="*/ 4141753 h 4565177"/>
              <a:gd name="connsiteX480" fmla="*/ 7471752 w 12243467"/>
              <a:gd name="connsiteY480" fmla="*/ 4140135 h 4565177"/>
              <a:gd name="connsiteX481" fmla="*/ 6958401 w 12243467"/>
              <a:gd name="connsiteY481" fmla="*/ 4133054 h 4565177"/>
              <a:gd name="connsiteX482" fmla="*/ 6963379 w 12243467"/>
              <a:gd name="connsiteY482" fmla="*/ 4134066 h 4565177"/>
              <a:gd name="connsiteX483" fmla="*/ 6950656 w 12243467"/>
              <a:gd name="connsiteY483" fmla="*/ 4137707 h 4565177"/>
              <a:gd name="connsiteX484" fmla="*/ 6958401 w 12243467"/>
              <a:gd name="connsiteY484" fmla="*/ 4133054 h 4565177"/>
              <a:gd name="connsiteX485" fmla="*/ 3463057 w 12243467"/>
              <a:gd name="connsiteY485" fmla="*/ 4130706 h 4565177"/>
              <a:gd name="connsiteX486" fmla="*/ 3464439 w 12243467"/>
              <a:gd name="connsiteY486" fmla="*/ 4130807 h 4565177"/>
              <a:gd name="connsiteX487" fmla="*/ 3469695 w 12243467"/>
              <a:gd name="connsiteY487" fmla="*/ 4131111 h 4565177"/>
              <a:gd name="connsiteX488" fmla="*/ 3468312 w 12243467"/>
              <a:gd name="connsiteY488" fmla="*/ 4137989 h 4565177"/>
              <a:gd name="connsiteX489" fmla="*/ 3459461 w 12243467"/>
              <a:gd name="connsiteY489" fmla="*/ 4134651 h 4565177"/>
              <a:gd name="connsiteX490" fmla="*/ 3464163 w 12243467"/>
              <a:gd name="connsiteY490" fmla="*/ 4135157 h 4565177"/>
              <a:gd name="connsiteX491" fmla="*/ 3462227 w 12243467"/>
              <a:gd name="connsiteY491" fmla="*/ 4132628 h 4565177"/>
              <a:gd name="connsiteX492" fmla="*/ 3463057 w 12243467"/>
              <a:gd name="connsiteY492" fmla="*/ 4130706 h 4565177"/>
              <a:gd name="connsiteX493" fmla="*/ 3436227 w 12243467"/>
              <a:gd name="connsiteY493" fmla="*/ 4129189 h 4565177"/>
              <a:gd name="connsiteX494" fmla="*/ 3456972 w 12243467"/>
              <a:gd name="connsiteY494" fmla="*/ 4134044 h 4565177"/>
              <a:gd name="connsiteX495" fmla="*/ 3456972 w 12243467"/>
              <a:gd name="connsiteY495" fmla="*/ 4137685 h 4565177"/>
              <a:gd name="connsiteX496" fmla="*/ 3454206 w 12243467"/>
              <a:gd name="connsiteY496" fmla="*/ 4136067 h 4565177"/>
              <a:gd name="connsiteX497" fmla="*/ 3365973 w 12243467"/>
              <a:gd name="connsiteY497" fmla="*/ 4144463 h 4565177"/>
              <a:gd name="connsiteX498" fmla="*/ 3414653 w 12243467"/>
              <a:gd name="connsiteY498" fmla="*/ 4129290 h 4565177"/>
              <a:gd name="connsiteX499" fmla="*/ 3436227 w 12243467"/>
              <a:gd name="connsiteY499" fmla="*/ 4129189 h 4565177"/>
              <a:gd name="connsiteX500" fmla="*/ 7363882 w 12243467"/>
              <a:gd name="connsiteY500" fmla="*/ 4126378 h 4565177"/>
              <a:gd name="connsiteX501" fmla="*/ 7368860 w 12243467"/>
              <a:gd name="connsiteY501" fmla="*/ 4132548 h 4565177"/>
              <a:gd name="connsiteX502" fmla="*/ 7361669 w 12243467"/>
              <a:gd name="connsiteY502" fmla="*/ 4139022 h 4565177"/>
              <a:gd name="connsiteX503" fmla="*/ 7351159 w 12243467"/>
              <a:gd name="connsiteY503" fmla="*/ 4131638 h 4565177"/>
              <a:gd name="connsiteX504" fmla="*/ 7363882 w 12243467"/>
              <a:gd name="connsiteY504" fmla="*/ 4126378 h 4565177"/>
              <a:gd name="connsiteX505" fmla="*/ 3498183 w 12243467"/>
              <a:gd name="connsiteY505" fmla="*/ 4125345 h 4565177"/>
              <a:gd name="connsiteX506" fmla="*/ 3478822 w 12243467"/>
              <a:gd name="connsiteY506" fmla="*/ 4134145 h 4565177"/>
              <a:gd name="connsiteX507" fmla="*/ 3498183 w 12243467"/>
              <a:gd name="connsiteY507" fmla="*/ 4125345 h 4565177"/>
              <a:gd name="connsiteX508" fmla="*/ 9374795 w 12243467"/>
              <a:gd name="connsiteY508" fmla="*/ 4125141 h 4565177"/>
              <a:gd name="connsiteX509" fmla="*/ 9383093 w 12243467"/>
              <a:gd name="connsiteY509" fmla="*/ 4127872 h 4565177"/>
              <a:gd name="connsiteX510" fmla="*/ 9357370 w 12243467"/>
              <a:gd name="connsiteY510" fmla="*/ 4131311 h 4565177"/>
              <a:gd name="connsiteX511" fmla="*/ 9374795 w 12243467"/>
              <a:gd name="connsiteY511" fmla="*/ 4125141 h 4565177"/>
              <a:gd name="connsiteX512" fmla="*/ 7990186 w 12243467"/>
              <a:gd name="connsiteY512" fmla="*/ 4122106 h 4565177"/>
              <a:gd name="connsiteX513" fmla="*/ 7998483 w 12243467"/>
              <a:gd name="connsiteY513" fmla="*/ 4123624 h 4565177"/>
              <a:gd name="connsiteX514" fmla="*/ 7987420 w 12243467"/>
              <a:gd name="connsiteY514" fmla="*/ 4129187 h 4565177"/>
              <a:gd name="connsiteX515" fmla="*/ 7983271 w 12243467"/>
              <a:gd name="connsiteY515" fmla="*/ 4124231 h 4565177"/>
              <a:gd name="connsiteX516" fmla="*/ 7990186 w 12243467"/>
              <a:gd name="connsiteY516" fmla="*/ 4122106 h 4565177"/>
              <a:gd name="connsiteX517" fmla="*/ 5926168 w 12243467"/>
              <a:gd name="connsiteY517" fmla="*/ 4120916 h 4565177"/>
              <a:gd name="connsiteX518" fmla="*/ 5928933 w 12243467"/>
              <a:gd name="connsiteY518" fmla="*/ 4122737 h 4565177"/>
              <a:gd name="connsiteX519" fmla="*/ 5931146 w 12243467"/>
              <a:gd name="connsiteY519" fmla="*/ 4130728 h 4565177"/>
              <a:gd name="connsiteX520" fmla="*/ 5923125 w 12243467"/>
              <a:gd name="connsiteY520" fmla="*/ 4123040 h 4565177"/>
              <a:gd name="connsiteX521" fmla="*/ 5926168 w 12243467"/>
              <a:gd name="connsiteY521" fmla="*/ 4120916 h 4565177"/>
              <a:gd name="connsiteX522" fmla="*/ 7807360 w 12243467"/>
              <a:gd name="connsiteY522" fmla="*/ 4114216 h 4565177"/>
              <a:gd name="connsiteX523" fmla="*/ 7810955 w 12243467"/>
              <a:gd name="connsiteY523" fmla="*/ 4119274 h 4565177"/>
              <a:gd name="connsiteX524" fmla="*/ 7797126 w 12243467"/>
              <a:gd name="connsiteY524" fmla="*/ 4117656 h 4565177"/>
              <a:gd name="connsiteX525" fmla="*/ 7807360 w 12243467"/>
              <a:gd name="connsiteY525" fmla="*/ 4114216 h 4565177"/>
              <a:gd name="connsiteX526" fmla="*/ 7836402 w 12243467"/>
              <a:gd name="connsiteY526" fmla="*/ 4113104 h 4565177"/>
              <a:gd name="connsiteX527" fmla="*/ 7838061 w 12243467"/>
              <a:gd name="connsiteY527" fmla="*/ 4114621 h 4565177"/>
              <a:gd name="connsiteX528" fmla="*/ 7840274 w 12243467"/>
              <a:gd name="connsiteY528" fmla="*/ 4119679 h 4565177"/>
              <a:gd name="connsiteX529" fmla="*/ 7820636 w 12243467"/>
              <a:gd name="connsiteY529" fmla="*/ 4119881 h 4565177"/>
              <a:gd name="connsiteX530" fmla="*/ 7836402 w 12243467"/>
              <a:gd name="connsiteY530" fmla="*/ 4114722 h 4565177"/>
              <a:gd name="connsiteX531" fmla="*/ 7836402 w 12243467"/>
              <a:gd name="connsiteY531" fmla="*/ 4113104 h 4565177"/>
              <a:gd name="connsiteX532" fmla="*/ 9416284 w 12243467"/>
              <a:gd name="connsiteY532" fmla="*/ 4109260 h 4565177"/>
              <a:gd name="connsiteX533" fmla="*/ 9423475 w 12243467"/>
              <a:gd name="connsiteY533" fmla="*/ 4109563 h 4565177"/>
              <a:gd name="connsiteX534" fmla="*/ 9421816 w 12243467"/>
              <a:gd name="connsiteY534" fmla="*/ 4112193 h 4565177"/>
              <a:gd name="connsiteX535" fmla="*/ 9432603 w 12243467"/>
              <a:gd name="connsiteY535" fmla="*/ 4126254 h 4565177"/>
              <a:gd name="connsiteX536" fmla="*/ 9344094 w 12243467"/>
              <a:gd name="connsiteY536" fmla="*/ 4154981 h 4565177"/>
              <a:gd name="connsiteX537" fmla="*/ 9411582 w 12243467"/>
              <a:gd name="connsiteY537" fmla="*/ 4123826 h 4565177"/>
              <a:gd name="connsiteX538" fmla="*/ 9416284 w 12243467"/>
              <a:gd name="connsiteY538" fmla="*/ 4109260 h 4565177"/>
              <a:gd name="connsiteX539" fmla="*/ 7337606 w 12243467"/>
              <a:gd name="connsiteY539" fmla="*/ 4108575 h 4565177"/>
              <a:gd name="connsiteX540" fmla="*/ 7319074 w 12243467"/>
              <a:gd name="connsiteY540" fmla="*/ 4124658 h 4565177"/>
              <a:gd name="connsiteX541" fmla="*/ 7326265 w 12243467"/>
              <a:gd name="connsiteY541" fmla="*/ 4130222 h 4565177"/>
              <a:gd name="connsiteX542" fmla="*/ 7309670 w 12243467"/>
              <a:gd name="connsiteY542" fmla="*/ 4138719 h 4565177"/>
              <a:gd name="connsiteX543" fmla="*/ 7289202 w 12243467"/>
              <a:gd name="connsiteY543" fmla="*/ 4143271 h 4565177"/>
              <a:gd name="connsiteX544" fmla="*/ 7257948 w 12243467"/>
              <a:gd name="connsiteY544" fmla="*/ 4152475 h 4565177"/>
              <a:gd name="connsiteX545" fmla="*/ 7247161 w 12243467"/>
              <a:gd name="connsiteY545" fmla="*/ 4150149 h 4565177"/>
              <a:gd name="connsiteX546" fmla="*/ 7337606 w 12243467"/>
              <a:gd name="connsiteY546" fmla="*/ 4108575 h 4565177"/>
              <a:gd name="connsiteX547" fmla="*/ 7987696 w 12243467"/>
              <a:gd name="connsiteY547" fmla="*/ 4107945 h 4565177"/>
              <a:gd name="connsiteX548" fmla="*/ 7991015 w 12243467"/>
              <a:gd name="connsiteY548" fmla="*/ 4108046 h 4565177"/>
              <a:gd name="connsiteX549" fmla="*/ 7993228 w 12243467"/>
              <a:gd name="connsiteY549" fmla="*/ 4114318 h 4565177"/>
              <a:gd name="connsiteX550" fmla="*/ 7987973 w 12243467"/>
              <a:gd name="connsiteY550" fmla="*/ 4116037 h 4565177"/>
              <a:gd name="connsiteX551" fmla="*/ 7987696 w 12243467"/>
              <a:gd name="connsiteY551" fmla="*/ 4107945 h 4565177"/>
              <a:gd name="connsiteX552" fmla="*/ 5667555 w 12243467"/>
              <a:gd name="connsiteY552" fmla="*/ 4101191 h 4565177"/>
              <a:gd name="connsiteX553" fmla="*/ 5668938 w 12243467"/>
              <a:gd name="connsiteY553" fmla="*/ 4105945 h 4565177"/>
              <a:gd name="connsiteX554" fmla="*/ 5654557 w 12243467"/>
              <a:gd name="connsiteY554" fmla="*/ 4106653 h 4565177"/>
              <a:gd name="connsiteX555" fmla="*/ 5667555 w 12243467"/>
              <a:gd name="connsiteY555" fmla="*/ 4101191 h 4565177"/>
              <a:gd name="connsiteX556" fmla="*/ 9489857 w 12243467"/>
              <a:gd name="connsiteY556" fmla="*/ 4097830 h 4565177"/>
              <a:gd name="connsiteX557" fmla="*/ 9497601 w 12243467"/>
              <a:gd name="connsiteY557" fmla="*/ 4102685 h 4565177"/>
              <a:gd name="connsiteX558" fmla="*/ 9474091 w 12243467"/>
              <a:gd name="connsiteY558" fmla="*/ 4112497 h 4565177"/>
              <a:gd name="connsiteX559" fmla="*/ 9489857 w 12243467"/>
              <a:gd name="connsiteY559" fmla="*/ 4097830 h 4565177"/>
              <a:gd name="connsiteX560" fmla="*/ 4642160 w 12243467"/>
              <a:gd name="connsiteY560" fmla="*/ 4090650 h 4565177"/>
              <a:gd name="connsiteX561" fmla="*/ 4657649 w 12243467"/>
              <a:gd name="connsiteY561" fmla="*/ 4091762 h 4565177"/>
              <a:gd name="connsiteX562" fmla="*/ 4626947 w 12243467"/>
              <a:gd name="connsiteY562" fmla="*/ 4096314 h 4565177"/>
              <a:gd name="connsiteX563" fmla="*/ 4642160 w 12243467"/>
              <a:gd name="connsiteY563" fmla="*/ 4090650 h 4565177"/>
              <a:gd name="connsiteX564" fmla="*/ 7444370 w 12243467"/>
              <a:gd name="connsiteY564" fmla="*/ 4087738 h 4565177"/>
              <a:gd name="connsiteX565" fmla="*/ 7454603 w 12243467"/>
              <a:gd name="connsiteY565" fmla="*/ 4090166 h 4565177"/>
              <a:gd name="connsiteX566" fmla="*/ 7402881 w 12243467"/>
              <a:gd name="connsiteY566" fmla="*/ 4111003 h 4565177"/>
              <a:gd name="connsiteX567" fmla="*/ 7409243 w 12243467"/>
              <a:gd name="connsiteY567" fmla="*/ 4114442 h 4565177"/>
              <a:gd name="connsiteX568" fmla="*/ 7394583 w 12243467"/>
              <a:gd name="connsiteY568" fmla="*/ 4115150 h 4565177"/>
              <a:gd name="connsiteX569" fmla="*/ 7435242 w 12243467"/>
              <a:gd name="connsiteY569" fmla="*/ 4087839 h 4565177"/>
              <a:gd name="connsiteX570" fmla="*/ 7444370 w 12243467"/>
              <a:gd name="connsiteY570" fmla="*/ 4087738 h 4565177"/>
              <a:gd name="connsiteX571" fmla="*/ 8092247 w 12243467"/>
              <a:gd name="connsiteY571" fmla="*/ 4086298 h 4565177"/>
              <a:gd name="connsiteX572" fmla="*/ 8073992 w 12243467"/>
              <a:gd name="connsiteY572" fmla="*/ 4093379 h 4565177"/>
              <a:gd name="connsiteX573" fmla="*/ 8092247 w 12243467"/>
              <a:gd name="connsiteY573" fmla="*/ 4086298 h 4565177"/>
              <a:gd name="connsiteX574" fmla="*/ 7410902 w 12243467"/>
              <a:gd name="connsiteY574" fmla="*/ 4076206 h 4565177"/>
              <a:gd name="connsiteX575" fmla="*/ 7354201 w 12243467"/>
              <a:gd name="connsiteY575" fmla="*/ 4107463 h 4565177"/>
              <a:gd name="connsiteX576" fmla="*/ 7410902 w 12243467"/>
              <a:gd name="connsiteY576" fmla="*/ 4076206 h 4565177"/>
              <a:gd name="connsiteX577" fmla="*/ 5492197 w 12243467"/>
              <a:gd name="connsiteY577" fmla="*/ 4075296 h 4565177"/>
              <a:gd name="connsiteX578" fmla="*/ 5626620 w 12243467"/>
              <a:gd name="connsiteY578" fmla="*/ 4101292 h 4565177"/>
              <a:gd name="connsiteX579" fmla="*/ 5559686 w 12243467"/>
              <a:gd name="connsiteY579" fmla="*/ 4098460 h 4565177"/>
              <a:gd name="connsiteX580" fmla="*/ 5484453 w 12243467"/>
              <a:gd name="connsiteY580" fmla="*/ 4078836 h 4565177"/>
              <a:gd name="connsiteX581" fmla="*/ 5492197 w 12243467"/>
              <a:gd name="connsiteY581" fmla="*/ 4075296 h 4565177"/>
              <a:gd name="connsiteX582" fmla="*/ 3391143 w 12243467"/>
              <a:gd name="connsiteY582" fmla="*/ 4052009 h 4565177"/>
              <a:gd name="connsiteX583" fmla="*/ 3396952 w 12243467"/>
              <a:gd name="connsiteY583" fmla="*/ 4052414 h 4565177"/>
              <a:gd name="connsiteX584" fmla="*/ 3388654 w 12243467"/>
              <a:gd name="connsiteY584" fmla="*/ 4058180 h 4565177"/>
              <a:gd name="connsiteX585" fmla="*/ 3396675 w 12243467"/>
              <a:gd name="connsiteY585" fmla="*/ 4065867 h 4565177"/>
              <a:gd name="connsiteX586" fmla="*/ 3362931 w 12243467"/>
              <a:gd name="connsiteY586" fmla="*/ 4066778 h 4565177"/>
              <a:gd name="connsiteX587" fmla="*/ 3376760 w 12243467"/>
              <a:gd name="connsiteY587" fmla="*/ 4056966 h 4565177"/>
              <a:gd name="connsiteX588" fmla="*/ 3375931 w 12243467"/>
              <a:gd name="connsiteY588" fmla="*/ 4061417 h 4565177"/>
              <a:gd name="connsiteX589" fmla="*/ 3384782 w 12243467"/>
              <a:gd name="connsiteY589" fmla="*/ 4053223 h 4565177"/>
              <a:gd name="connsiteX590" fmla="*/ 3391143 w 12243467"/>
              <a:gd name="connsiteY590" fmla="*/ 4052009 h 4565177"/>
              <a:gd name="connsiteX591" fmla="*/ 3438440 w 12243467"/>
              <a:gd name="connsiteY591" fmla="*/ 4051403 h 4565177"/>
              <a:gd name="connsiteX592" fmla="*/ 3444248 w 12243467"/>
              <a:gd name="connsiteY592" fmla="*/ 4051908 h 4565177"/>
              <a:gd name="connsiteX593" fmla="*/ 3453929 w 12243467"/>
              <a:gd name="connsiteY593" fmla="*/ 4056662 h 4565177"/>
              <a:gd name="connsiteX594" fmla="*/ 3421015 w 12243467"/>
              <a:gd name="connsiteY594" fmla="*/ 4064654 h 4565177"/>
              <a:gd name="connsiteX595" fmla="*/ 3400271 w 12243467"/>
              <a:gd name="connsiteY595" fmla="*/ 4060000 h 4565177"/>
              <a:gd name="connsiteX596" fmla="*/ 3435674 w 12243467"/>
              <a:gd name="connsiteY596" fmla="*/ 4052313 h 4565177"/>
              <a:gd name="connsiteX597" fmla="*/ 3438440 w 12243467"/>
              <a:gd name="connsiteY597" fmla="*/ 4051403 h 4565177"/>
              <a:gd name="connsiteX598" fmla="*/ 4815858 w 12243467"/>
              <a:gd name="connsiteY598" fmla="*/ 4033701 h 4565177"/>
              <a:gd name="connsiteX599" fmla="*/ 4824156 w 12243467"/>
              <a:gd name="connsiteY599" fmla="*/ 4036432 h 4565177"/>
              <a:gd name="connsiteX600" fmla="*/ 4798433 w 12243467"/>
              <a:gd name="connsiteY600" fmla="*/ 4039871 h 4565177"/>
              <a:gd name="connsiteX601" fmla="*/ 4815858 w 12243467"/>
              <a:gd name="connsiteY601" fmla="*/ 4033701 h 4565177"/>
              <a:gd name="connsiteX602" fmla="*/ 9605471 w 12243467"/>
              <a:gd name="connsiteY602" fmla="*/ 4031676 h 4565177"/>
              <a:gd name="connsiteX603" fmla="*/ 9621237 w 12243467"/>
              <a:gd name="connsiteY603" fmla="*/ 4039869 h 4565177"/>
              <a:gd name="connsiteX604" fmla="*/ 9622343 w 12243467"/>
              <a:gd name="connsiteY604" fmla="*/ 4048872 h 4565177"/>
              <a:gd name="connsiteX605" fmla="*/ 9507282 w 12243467"/>
              <a:gd name="connsiteY605" fmla="*/ 4097526 h 4565177"/>
              <a:gd name="connsiteX606" fmla="*/ 9523877 w 12243467"/>
              <a:gd name="connsiteY606" fmla="*/ 4070620 h 4565177"/>
              <a:gd name="connsiteX607" fmla="*/ 9539090 w 12243467"/>
              <a:gd name="connsiteY607" fmla="*/ 4064955 h 4565177"/>
              <a:gd name="connsiteX608" fmla="*/ 9534664 w 12243467"/>
              <a:gd name="connsiteY608" fmla="*/ 4072845 h 4565177"/>
              <a:gd name="connsiteX609" fmla="*/ 9562323 w 12243467"/>
              <a:gd name="connsiteY609" fmla="*/ 4066877 h 4565177"/>
              <a:gd name="connsiteX610" fmla="*/ 9580578 w 12243467"/>
              <a:gd name="connsiteY610" fmla="*/ 4044118 h 4565177"/>
              <a:gd name="connsiteX611" fmla="*/ 9586387 w 12243467"/>
              <a:gd name="connsiteY611" fmla="*/ 4052210 h 4565177"/>
              <a:gd name="connsiteX612" fmla="*/ 9596621 w 12243467"/>
              <a:gd name="connsiteY612" fmla="*/ 4040679 h 4565177"/>
              <a:gd name="connsiteX613" fmla="*/ 9603812 w 12243467"/>
              <a:gd name="connsiteY613" fmla="*/ 4046040 h 4565177"/>
              <a:gd name="connsiteX614" fmla="*/ 9605471 w 12243467"/>
              <a:gd name="connsiteY614" fmla="*/ 4031676 h 4565177"/>
              <a:gd name="connsiteX615" fmla="*/ 9570344 w 12243467"/>
              <a:gd name="connsiteY615" fmla="*/ 4030766 h 4565177"/>
              <a:gd name="connsiteX616" fmla="*/ 9582791 w 12243467"/>
              <a:gd name="connsiteY616" fmla="*/ 4031676 h 4565177"/>
              <a:gd name="connsiteX617" fmla="*/ 9584727 w 12243467"/>
              <a:gd name="connsiteY617" fmla="*/ 4035115 h 4565177"/>
              <a:gd name="connsiteX618" fmla="*/ 9581408 w 12243467"/>
              <a:gd name="connsiteY618" fmla="*/ 4034306 h 4565177"/>
              <a:gd name="connsiteX619" fmla="*/ 9506176 w 12243467"/>
              <a:gd name="connsiteY619" fmla="*/ 4069811 h 4565177"/>
              <a:gd name="connsiteX620" fmla="*/ 9541579 w 12243467"/>
              <a:gd name="connsiteY620" fmla="*/ 4040780 h 4565177"/>
              <a:gd name="connsiteX621" fmla="*/ 9570344 w 12243467"/>
              <a:gd name="connsiteY621" fmla="*/ 4030766 h 4565177"/>
              <a:gd name="connsiteX622" fmla="*/ 3431249 w 12243467"/>
              <a:gd name="connsiteY622" fmla="*/ 4030666 h 4565177"/>
              <a:gd name="connsiteX623" fmla="*/ 3439546 w 12243467"/>
              <a:gd name="connsiteY623" fmla="*/ 4032184 h 4565177"/>
              <a:gd name="connsiteX624" fmla="*/ 3428483 w 12243467"/>
              <a:gd name="connsiteY624" fmla="*/ 4037747 h 4565177"/>
              <a:gd name="connsiteX625" fmla="*/ 3424334 w 12243467"/>
              <a:gd name="connsiteY625" fmla="*/ 4032791 h 4565177"/>
              <a:gd name="connsiteX626" fmla="*/ 3431249 w 12243467"/>
              <a:gd name="connsiteY626" fmla="*/ 4030666 h 4565177"/>
              <a:gd name="connsiteX627" fmla="*/ 9592472 w 12243467"/>
              <a:gd name="connsiteY627" fmla="*/ 4025000 h 4565177"/>
              <a:gd name="connsiteX628" fmla="*/ 9595238 w 12243467"/>
              <a:gd name="connsiteY628" fmla="*/ 4031676 h 4565177"/>
              <a:gd name="connsiteX629" fmla="*/ 9585004 w 12243467"/>
              <a:gd name="connsiteY629" fmla="*/ 4031474 h 4565177"/>
              <a:gd name="connsiteX630" fmla="*/ 9589706 w 12243467"/>
              <a:gd name="connsiteY630" fmla="*/ 4030462 h 4565177"/>
              <a:gd name="connsiteX631" fmla="*/ 9586663 w 12243467"/>
              <a:gd name="connsiteY631" fmla="*/ 4028743 h 4565177"/>
              <a:gd name="connsiteX632" fmla="*/ 9592472 w 12243467"/>
              <a:gd name="connsiteY632" fmla="*/ 4025000 h 4565177"/>
              <a:gd name="connsiteX633" fmla="*/ 3336378 w 12243467"/>
              <a:gd name="connsiteY633" fmla="*/ 4023586 h 4565177"/>
              <a:gd name="connsiteX634" fmla="*/ 3347165 w 12243467"/>
              <a:gd name="connsiteY634" fmla="*/ 4024496 h 4565177"/>
              <a:gd name="connsiteX635" fmla="*/ 3351591 w 12243467"/>
              <a:gd name="connsiteY635" fmla="*/ 4027227 h 4565177"/>
              <a:gd name="connsiteX636" fmla="*/ 3310102 w 12243467"/>
              <a:gd name="connsiteY636" fmla="*/ 4027328 h 4565177"/>
              <a:gd name="connsiteX637" fmla="*/ 3297656 w 12243467"/>
              <a:gd name="connsiteY637" fmla="*/ 4028137 h 4565177"/>
              <a:gd name="connsiteX638" fmla="*/ 3305953 w 12243467"/>
              <a:gd name="connsiteY638" fmla="*/ 4024496 h 4565177"/>
              <a:gd name="connsiteX639" fmla="*/ 3327527 w 12243467"/>
              <a:gd name="connsiteY639" fmla="*/ 4023687 h 4565177"/>
              <a:gd name="connsiteX640" fmla="*/ 3336378 w 12243467"/>
              <a:gd name="connsiteY640" fmla="*/ 4023586 h 4565177"/>
              <a:gd name="connsiteX641" fmla="*/ 3188679 w 12243467"/>
              <a:gd name="connsiteY641" fmla="*/ 4023282 h 4565177"/>
              <a:gd name="connsiteX642" fmla="*/ 3212189 w 12243467"/>
              <a:gd name="connsiteY642" fmla="*/ 4025204 h 4565177"/>
              <a:gd name="connsiteX643" fmla="*/ 3183424 w 12243467"/>
              <a:gd name="connsiteY643" fmla="*/ 4024294 h 4565177"/>
              <a:gd name="connsiteX644" fmla="*/ 3188679 w 12243467"/>
              <a:gd name="connsiteY644" fmla="*/ 4023282 h 4565177"/>
              <a:gd name="connsiteX645" fmla="*/ 3248423 w 12243467"/>
              <a:gd name="connsiteY645" fmla="*/ 4022776 h 4565177"/>
              <a:gd name="connsiteX646" fmla="*/ 3252018 w 12243467"/>
              <a:gd name="connsiteY646" fmla="*/ 4027834 h 4565177"/>
              <a:gd name="connsiteX647" fmla="*/ 3238189 w 12243467"/>
              <a:gd name="connsiteY647" fmla="*/ 4026216 h 4565177"/>
              <a:gd name="connsiteX648" fmla="*/ 3248423 w 12243467"/>
              <a:gd name="connsiteY648" fmla="*/ 4022776 h 4565177"/>
              <a:gd name="connsiteX649" fmla="*/ 3277465 w 12243467"/>
              <a:gd name="connsiteY649" fmla="*/ 4021664 h 4565177"/>
              <a:gd name="connsiteX650" fmla="*/ 3279124 w 12243467"/>
              <a:gd name="connsiteY650" fmla="*/ 4023181 h 4565177"/>
              <a:gd name="connsiteX651" fmla="*/ 3281337 w 12243467"/>
              <a:gd name="connsiteY651" fmla="*/ 4028239 h 4565177"/>
              <a:gd name="connsiteX652" fmla="*/ 3261699 w 12243467"/>
              <a:gd name="connsiteY652" fmla="*/ 4028441 h 4565177"/>
              <a:gd name="connsiteX653" fmla="*/ 3277465 w 12243467"/>
              <a:gd name="connsiteY653" fmla="*/ 4023282 h 4565177"/>
              <a:gd name="connsiteX654" fmla="*/ 3277465 w 12243467"/>
              <a:gd name="connsiteY654" fmla="*/ 4021664 h 4565177"/>
              <a:gd name="connsiteX655" fmla="*/ 3381739 w 12243467"/>
              <a:gd name="connsiteY655" fmla="*/ 4021461 h 4565177"/>
              <a:gd name="connsiteX656" fmla="*/ 3397228 w 12243467"/>
              <a:gd name="connsiteY656" fmla="*/ 4027733 h 4565177"/>
              <a:gd name="connsiteX657" fmla="*/ 3367910 w 12243467"/>
              <a:gd name="connsiteY657" fmla="*/ 4028846 h 4565177"/>
              <a:gd name="connsiteX658" fmla="*/ 3370399 w 12243467"/>
              <a:gd name="connsiteY658" fmla="*/ 4040377 h 4565177"/>
              <a:gd name="connsiteX659" fmla="*/ 3381739 w 12243467"/>
              <a:gd name="connsiteY659" fmla="*/ 4021461 h 4565177"/>
              <a:gd name="connsiteX660" fmla="*/ 3410504 w 12243467"/>
              <a:gd name="connsiteY660" fmla="*/ 4020045 h 4565177"/>
              <a:gd name="connsiteX661" fmla="*/ 3410228 w 12243467"/>
              <a:gd name="connsiteY661" fmla="*/ 4025508 h 4565177"/>
              <a:gd name="connsiteX662" fmla="*/ 3408568 w 12243467"/>
              <a:gd name="connsiteY662" fmla="*/ 4028947 h 4565177"/>
              <a:gd name="connsiteX663" fmla="*/ 3402760 w 12243467"/>
              <a:gd name="connsiteY663" fmla="*/ 4021461 h 4565177"/>
              <a:gd name="connsiteX664" fmla="*/ 3410504 w 12243467"/>
              <a:gd name="connsiteY664" fmla="*/ 4020045 h 4565177"/>
              <a:gd name="connsiteX665" fmla="*/ 3428759 w 12243467"/>
              <a:gd name="connsiteY665" fmla="*/ 4016505 h 4565177"/>
              <a:gd name="connsiteX666" fmla="*/ 3432078 w 12243467"/>
              <a:gd name="connsiteY666" fmla="*/ 4016606 h 4565177"/>
              <a:gd name="connsiteX667" fmla="*/ 3434291 w 12243467"/>
              <a:gd name="connsiteY667" fmla="*/ 4022878 h 4565177"/>
              <a:gd name="connsiteX668" fmla="*/ 3429036 w 12243467"/>
              <a:gd name="connsiteY668" fmla="*/ 4024597 h 4565177"/>
              <a:gd name="connsiteX669" fmla="*/ 3428759 w 12243467"/>
              <a:gd name="connsiteY669" fmla="*/ 4016505 h 4565177"/>
              <a:gd name="connsiteX670" fmla="*/ 9615152 w 12243467"/>
              <a:gd name="connsiteY670" fmla="*/ 4010940 h 4565177"/>
              <a:gd name="connsiteX671" fmla="*/ 9602429 w 12243467"/>
              <a:gd name="connsiteY671" fmla="*/ 4025000 h 4565177"/>
              <a:gd name="connsiteX672" fmla="*/ 9615152 w 12243467"/>
              <a:gd name="connsiteY672" fmla="*/ 4010940 h 4565177"/>
              <a:gd name="connsiteX673" fmla="*/ 9298733 w 12243467"/>
              <a:gd name="connsiteY673" fmla="*/ 4009928 h 4565177"/>
              <a:gd name="connsiteX674" fmla="*/ 9272180 w 12243467"/>
              <a:gd name="connsiteY674" fmla="*/ 4018223 h 4565177"/>
              <a:gd name="connsiteX675" fmla="*/ 9298733 w 12243467"/>
              <a:gd name="connsiteY675" fmla="*/ 4009928 h 4565177"/>
              <a:gd name="connsiteX676" fmla="*/ 9330264 w 12243467"/>
              <a:gd name="connsiteY676" fmla="*/ 3996374 h 4565177"/>
              <a:gd name="connsiteX677" fmla="*/ 9336349 w 12243467"/>
              <a:gd name="connsiteY677" fmla="*/ 3999712 h 4565177"/>
              <a:gd name="connsiteX678" fmla="*/ 9323073 w 12243467"/>
              <a:gd name="connsiteY678" fmla="*/ 4002645 h 4565177"/>
              <a:gd name="connsiteX679" fmla="*/ 9330264 w 12243467"/>
              <a:gd name="connsiteY679" fmla="*/ 3996374 h 4565177"/>
              <a:gd name="connsiteX680" fmla="*/ 3533310 w 12243467"/>
              <a:gd name="connsiteY680" fmla="*/ 3994858 h 4565177"/>
              <a:gd name="connsiteX681" fmla="*/ 3515055 w 12243467"/>
              <a:gd name="connsiteY681" fmla="*/ 4001939 h 4565177"/>
              <a:gd name="connsiteX682" fmla="*/ 3533310 w 12243467"/>
              <a:gd name="connsiteY682" fmla="*/ 3994858 h 4565177"/>
              <a:gd name="connsiteX683" fmla="*/ 6024356 w 12243467"/>
              <a:gd name="connsiteY683" fmla="*/ 3990429 h 4565177"/>
              <a:gd name="connsiteX684" fmla="*/ 6049526 w 12243467"/>
              <a:gd name="connsiteY684" fmla="*/ 3997712 h 4565177"/>
              <a:gd name="connsiteX685" fmla="*/ 5983698 w 12243467"/>
              <a:gd name="connsiteY685" fmla="*/ 4013391 h 4565177"/>
              <a:gd name="connsiteX686" fmla="*/ 6001953 w 12243467"/>
              <a:gd name="connsiteY686" fmla="*/ 4006209 h 4565177"/>
              <a:gd name="connsiteX687" fmla="*/ 6024356 w 12243467"/>
              <a:gd name="connsiteY687" fmla="*/ 3990429 h 4565177"/>
              <a:gd name="connsiteX688" fmla="*/ 7662322 w 12243467"/>
              <a:gd name="connsiteY688" fmla="*/ 3990126 h 4565177"/>
              <a:gd name="connsiteX689" fmla="*/ 7654025 w 12243467"/>
              <a:gd name="connsiteY689" fmla="*/ 4006512 h 4565177"/>
              <a:gd name="connsiteX690" fmla="*/ 7662322 w 12243467"/>
              <a:gd name="connsiteY690" fmla="*/ 3990126 h 4565177"/>
              <a:gd name="connsiteX691" fmla="*/ 4369796 w 12243467"/>
              <a:gd name="connsiteY691" fmla="*/ 3989418 h 4565177"/>
              <a:gd name="connsiteX692" fmla="*/ 4382795 w 12243467"/>
              <a:gd name="connsiteY692" fmla="*/ 3990834 h 4565177"/>
              <a:gd name="connsiteX693" fmla="*/ 4360114 w 12243467"/>
              <a:gd name="connsiteY693" fmla="*/ 3991744 h 4565177"/>
              <a:gd name="connsiteX694" fmla="*/ 4369796 w 12243467"/>
              <a:gd name="connsiteY694" fmla="*/ 3989418 h 4565177"/>
              <a:gd name="connsiteX695" fmla="*/ 9355987 w 12243467"/>
              <a:gd name="connsiteY695" fmla="*/ 3986259 h 4565177"/>
              <a:gd name="connsiteX696" fmla="*/ 9358200 w 12243467"/>
              <a:gd name="connsiteY696" fmla="*/ 3986967 h 4565177"/>
              <a:gd name="connsiteX697" fmla="*/ 9363178 w 12243467"/>
              <a:gd name="connsiteY697" fmla="*/ 3991013 h 4565177"/>
              <a:gd name="connsiteX698" fmla="*/ 9345477 w 12243467"/>
              <a:gd name="connsiteY698" fmla="*/ 3997385 h 4565177"/>
              <a:gd name="connsiteX699" fmla="*/ 9356817 w 12243467"/>
              <a:gd name="connsiteY699" fmla="*/ 3987574 h 4565177"/>
              <a:gd name="connsiteX700" fmla="*/ 9355987 w 12243467"/>
              <a:gd name="connsiteY700" fmla="*/ 3986259 h 4565177"/>
              <a:gd name="connsiteX701" fmla="*/ 6100142 w 12243467"/>
              <a:gd name="connsiteY701" fmla="*/ 3985776 h 4565177"/>
              <a:gd name="connsiteX702" fmla="*/ 6063079 w 12243467"/>
              <a:gd name="connsiteY702" fmla="*/ 3999836 h 4565177"/>
              <a:gd name="connsiteX703" fmla="*/ 6100142 w 12243467"/>
              <a:gd name="connsiteY703" fmla="*/ 3985776 h 4565177"/>
              <a:gd name="connsiteX704" fmla="*/ 3366803 w 12243467"/>
              <a:gd name="connsiteY704" fmla="*/ 3985350 h 4565177"/>
              <a:gd name="connsiteX705" fmla="*/ 3374548 w 12243467"/>
              <a:gd name="connsiteY705" fmla="*/ 3995263 h 4565177"/>
              <a:gd name="connsiteX706" fmla="*/ 3375377 w 12243467"/>
              <a:gd name="connsiteY706" fmla="*/ 3997084 h 4565177"/>
              <a:gd name="connsiteX707" fmla="*/ 3365697 w 12243467"/>
              <a:gd name="connsiteY707" fmla="*/ 4003456 h 4565177"/>
              <a:gd name="connsiteX708" fmla="*/ 3326698 w 12243467"/>
              <a:gd name="connsiteY708" fmla="*/ 4003557 h 4565177"/>
              <a:gd name="connsiteX709" fmla="*/ 3329187 w 12243467"/>
              <a:gd name="connsiteY709" fmla="*/ 3992532 h 4565177"/>
              <a:gd name="connsiteX710" fmla="*/ 3366803 w 12243467"/>
              <a:gd name="connsiteY710" fmla="*/ 3985350 h 4565177"/>
              <a:gd name="connsiteX711" fmla="*/ 5943870 w 12243467"/>
              <a:gd name="connsiteY711" fmla="*/ 3983955 h 4565177"/>
              <a:gd name="connsiteX712" fmla="*/ 5960187 w 12243467"/>
              <a:gd name="connsiteY712" fmla="*/ 3985776 h 4565177"/>
              <a:gd name="connsiteX713" fmla="*/ 5955486 w 12243467"/>
              <a:gd name="connsiteY713" fmla="*/ 3998724 h 4565177"/>
              <a:gd name="connsiteX714" fmla="*/ 5948294 w 12243467"/>
              <a:gd name="connsiteY714" fmla="*/ 3997915 h 4565177"/>
              <a:gd name="connsiteX715" fmla="*/ 5943870 w 12243467"/>
              <a:gd name="connsiteY715" fmla="*/ 3983955 h 4565177"/>
              <a:gd name="connsiteX716" fmla="*/ 4348498 w 12243467"/>
              <a:gd name="connsiteY716" fmla="*/ 3983045 h 4565177"/>
              <a:gd name="connsiteX717" fmla="*/ 4349604 w 12243467"/>
              <a:gd name="connsiteY717" fmla="*/ 3983652 h 4565177"/>
              <a:gd name="connsiteX718" fmla="*/ 4354030 w 12243467"/>
              <a:gd name="connsiteY718" fmla="*/ 3985776 h 4565177"/>
              <a:gd name="connsiteX719" fmla="*/ 4348498 w 12243467"/>
              <a:gd name="connsiteY719" fmla="*/ 3991340 h 4565177"/>
              <a:gd name="connsiteX720" fmla="*/ 4342689 w 12243467"/>
              <a:gd name="connsiteY720" fmla="*/ 3985169 h 4565177"/>
              <a:gd name="connsiteX721" fmla="*/ 4346561 w 12243467"/>
              <a:gd name="connsiteY721" fmla="*/ 3987294 h 4565177"/>
              <a:gd name="connsiteX722" fmla="*/ 4346561 w 12243467"/>
              <a:gd name="connsiteY722" fmla="*/ 3984461 h 4565177"/>
              <a:gd name="connsiteX723" fmla="*/ 4348498 w 12243467"/>
              <a:gd name="connsiteY723" fmla="*/ 3983045 h 4565177"/>
              <a:gd name="connsiteX724" fmla="*/ 8024743 w 12243467"/>
              <a:gd name="connsiteY724" fmla="*/ 3978748 h 4565177"/>
              <a:gd name="connsiteX725" fmla="*/ 8024932 w 12243467"/>
              <a:gd name="connsiteY725" fmla="*/ 3982742 h 4565177"/>
              <a:gd name="connsiteX726" fmla="*/ 8029726 w 12243467"/>
              <a:gd name="connsiteY726" fmla="*/ 3979065 h 4565177"/>
              <a:gd name="connsiteX727" fmla="*/ 8029081 w 12243467"/>
              <a:gd name="connsiteY727" fmla="*/ 3979178 h 4565177"/>
              <a:gd name="connsiteX728" fmla="*/ 3442589 w 12243467"/>
              <a:gd name="connsiteY728" fmla="*/ 3978269 h 4565177"/>
              <a:gd name="connsiteX729" fmla="*/ 3444802 w 12243467"/>
              <a:gd name="connsiteY729" fmla="*/ 3991723 h 4565177"/>
              <a:gd name="connsiteX730" fmla="*/ 3434568 w 12243467"/>
              <a:gd name="connsiteY730" fmla="*/ 3981810 h 4565177"/>
              <a:gd name="connsiteX731" fmla="*/ 3442589 w 12243467"/>
              <a:gd name="connsiteY731" fmla="*/ 3978269 h 4565177"/>
              <a:gd name="connsiteX732" fmla="*/ 3476886 w 12243467"/>
              <a:gd name="connsiteY732" fmla="*/ 3977157 h 4565177"/>
              <a:gd name="connsiteX733" fmla="*/ 3483248 w 12243467"/>
              <a:gd name="connsiteY733" fmla="*/ 3981709 h 4565177"/>
              <a:gd name="connsiteX734" fmla="*/ 3481865 w 12243467"/>
              <a:gd name="connsiteY734" fmla="*/ 3988789 h 4565177"/>
              <a:gd name="connsiteX735" fmla="*/ 3469695 w 12243467"/>
              <a:gd name="connsiteY735" fmla="*/ 3989700 h 4565177"/>
              <a:gd name="connsiteX736" fmla="*/ 3460291 w 12243467"/>
              <a:gd name="connsiteY736" fmla="*/ 3988789 h 4565177"/>
              <a:gd name="connsiteX737" fmla="*/ 3452823 w 12243467"/>
              <a:gd name="connsiteY737" fmla="*/ 3978977 h 4565177"/>
              <a:gd name="connsiteX738" fmla="*/ 3476886 w 12243467"/>
              <a:gd name="connsiteY738" fmla="*/ 3977157 h 4565177"/>
              <a:gd name="connsiteX739" fmla="*/ 9481836 w 12243467"/>
              <a:gd name="connsiteY739" fmla="*/ 3976548 h 4565177"/>
              <a:gd name="connsiteX740" fmla="*/ 9477410 w 12243467"/>
              <a:gd name="connsiteY740" fmla="*/ 3984438 h 4565177"/>
              <a:gd name="connsiteX741" fmla="*/ 9489027 w 12243467"/>
              <a:gd name="connsiteY741" fmla="*/ 3988990 h 4565177"/>
              <a:gd name="connsiteX742" fmla="*/ 9459155 w 12243467"/>
              <a:gd name="connsiteY742" fmla="*/ 4000218 h 4565177"/>
              <a:gd name="connsiteX743" fmla="*/ 9466070 w 12243467"/>
              <a:gd name="connsiteY743" fmla="*/ 3986967 h 4565177"/>
              <a:gd name="connsiteX744" fmla="*/ 9468006 w 12243467"/>
              <a:gd name="connsiteY744" fmla="*/ 3991316 h 4565177"/>
              <a:gd name="connsiteX745" fmla="*/ 9471325 w 12243467"/>
              <a:gd name="connsiteY745" fmla="*/ 3981201 h 4565177"/>
              <a:gd name="connsiteX746" fmla="*/ 9481836 w 12243467"/>
              <a:gd name="connsiteY746" fmla="*/ 3976548 h 4565177"/>
              <a:gd name="connsiteX747" fmla="*/ 3419355 w 12243467"/>
              <a:gd name="connsiteY747" fmla="*/ 3975741 h 4565177"/>
              <a:gd name="connsiteX748" fmla="*/ 3425717 w 12243467"/>
              <a:gd name="connsiteY748" fmla="*/ 3990003 h 4565177"/>
              <a:gd name="connsiteX749" fmla="*/ 3404973 w 12243467"/>
              <a:gd name="connsiteY749" fmla="*/ 3999006 h 4565177"/>
              <a:gd name="connsiteX750" fmla="*/ 3410228 w 12243467"/>
              <a:gd name="connsiteY750" fmla="*/ 4008615 h 4565177"/>
              <a:gd name="connsiteX751" fmla="*/ 3381739 w 12243467"/>
              <a:gd name="connsiteY751" fmla="*/ 4007907 h 4565177"/>
              <a:gd name="connsiteX752" fmla="*/ 3385611 w 12243467"/>
              <a:gd name="connsiteY752" fmla="*/ 4001433 h 4565177"/>
              <a:gd name="connsiteX753" fmla="*/ 3399994 w 12243467"/>
              <a:gd name="connsiteY753" fmla="*/ 4000826 h 4565177"/>
              <a:gd name="connsiteX754" fmla="*/ 3386441 w 12243467"/>
              <a:gd name="connsiteY754" fmla="*/ 3996983 h 4565177"/>
              <a:gd name="connsiteX755" fmla="*/ 3397505 w 12243467"/>
              <a:gd name="connsiteY755" fmla="*/ 3989093 h 4565177"/>
              <a:gd name="connsiteX756" fmla="*/ 3419355 w 12243467"/>
              <a:gd name="connsiteY756" fmla="*/ 3975741 h 4565177"/>
              <a:gd name="connsiteX757" fmla="*/ 4263861 w 12243467"/>
              <a:gd name="connsiteY757" fmla="*/ 3971716 h 4565177"/>
              <a:gd name="connsiteX758" fmla="*/ 4279074 w 12243467"/>
              <a:gd name="connsiteY758" fmla="*/ 3977381 h 4565177"/>
              <a:gd name="connsiteX759" fmla="*/ 4268010 w 12243467"/>
              <a:gd name="connsiteY759" fmla="*/ 3979505 h 4565177"/>
              <a:gd name="connsiteX760" fmla="*/ 4290691 w 12243467"/>
              <a:gd name="connsiteY760" fmla="*/ 3992351 h 4565177"/>
              <a:gd name="connsiteX761" fmla="*/ 4326371 w 12243467"/>
              <a:gd name="connsiteY761" fmla="*/ 3989923 h 4565177"/>
              <a:gd name="connsiteX762" fmla="*/ 4320839 w 12243467"/>
              <a:gd name="connsiteY762" fmla="*/ 3998117 h 4565177"/>
              <a:gd name="connsiteX763" fmla="*/ 4339647 w 12243467"/>
              <a:gd name="connsiteY763" fmla="*/ 3997409 h 4565177"/>
              <a:gd name="connsiteX764" fmla="*/ 4337987 w 12243467"/>
              <a:gd name="connsiteY764" fmla="*/ 4004894 h 4565177"/>
              <a:gd name="connsiteX765" fmla="*/ 4354584 w 12243467"/>
              <a:gd name="connsiteY765" fmla="*/ 3997409 h 4565177"/>
              <a:gd name="connsiteX766" fmla="*/ 4355137 w 12243467"/>
              <a:gd name="connsiteY766" fmla="*/ 4011671 h 4565177"/>
              <a:gd name="connsiteX767" fmla="*/ 4345733 w 12243467"/>
              <a:gd name="connsiteY767" fmla="*/ 4017740 h 4565177"/>
              <a:gd name="connsiteX768" fmla="*/ 4224862 w 12243467"/>
              <a:gd name="connsiteY768" fmla="*/ 3977684 h 4565177"/>
              <a:gd name="connsiteX769" fmla="*/ 4263861 w 12243467"/>
              <a:gd name="connsiteY769" fmla="*/ 3971716 h 4565177"/>
              <a:gd name="connsiteX770" fmla="*/ 9423752 w 12243467"/>
              <a:gd name="connsiteY770" fmla="*/ 3965624 h 4565177"/>
              <a:gd name="connsiteX771" fmla="*/ 9426241 w 12243467"/>
              <a:gd name="connsiteY771" fmla="*/ 3967950 h 4565177"/>
              <a:gd name="connsiteX772" fmla="*/ 9388625 w 12243467"/>
              <a:gd name="connsiteY772" fmla="*/ 3981100 h 4565177"/>
              <a:gd name="connsiteX773" fmla="*/ 9378114 w 12243467"/>
              <a:gd name="connsiteY773" fmla="*/ 3985753 h 4565177"/>
              <a:gd name="connsiteX774" fmla="*/ 9383093 w 12243467"/>
              <a:gd name="connsiteY774" fmla="*/ 3979886 h 4565177"/>
              <a:gd name="connsiteX775" fmla="*/ 9420709 w 12243467"/>
              <a:gd name="connsiteY775" fmla="*/ 3966837 h 4565177"/>
              <a:gd name="connsiteX776" fmla="*/ 9423752 w 12243467"/>
              <a:gd name="connsiteY776" fmla="*/ 3965624 h 4565177"/>
              <a:gd name="connsiteX777" fmla="*/ 3374548 w 12243467"/>
              <a:gd name="connsiteY777" fmla="*/ 3961680 h 4565177"/>
              <a:gd name="connsiteX778" fmla="*/ 3368739 w 12243467"/>
              <a:gd name="connsiteY778" fmla="*/ 3965322 h 4565177"/>
              <a:gd name="connsiteX779" fmla="*/ 3372335 w 12243467"/>
              <a:gd name="connsiteY779" fmla="*/ 3972099 h 4565177"/>
              <a:gd name="connsiteX780" fmla="*/ 3365697 w 12243467"/>
              <a:gd name="connsiteY780" fmla="*/ 3967143 h 4565177"/>
              <a:gd name="connsiteX781" fmla="*/ 3357676 w 12243467"/>
              <a:gd name="connsiteY781" fmla="*/ 3970582 h 4565177"/>
              <a:gd name="connsiteX782" fmla="*/ 3374548 w 12243467"/>
              <a:gd name="connsiteY782" fmla="*/ 3961680 h 4565177"/>
              <a:gd name="connsiteX783" fmla="*/ 9530792 w 12243467"/>
              <a:gd name="connsiteY783" fmla="*/ 3960869 h 4565177"/>
              <a:gd name="connsiteX784" fmla="*/ 9535771 w 12243467"/>
              <a:gd name="connsiteY784" fmla="*/ 3962488 h 4565177"/>
              <a:gd name="connsiteX785" fmla="*/ 9510601 w 12243467"/>
              <a:gd name="connsiteY785" fmla="*/ 3979987 h 4565177"/>
              <a:gd name="connsiteX786" fmla="*/ 9489304 w 12243467"/>
              <a:gd name="connsiteY786" fmla="*/ 3982314 h 4565177"/>
              <a:gd name="connsiteX787" fmla="*/ 9516686 w 12243467"/>
              <a:gd name="connsiteY787" fmla="*/ 3964410 h 4565177"/>
              <a:gd name="connsiteX788" fmla="*/ 9524431 w 12243467"/>
              <a:gd name="connsiteY788" fmla="*/ 3961173 h 4565177"/>
              <a:gd name="connsiteX789" fmla="*/ 9530792 w 12243467"/>
              <a:gd name="connsiteY789" fmla="*/ 3960869 h 4565177"/>
              <a:gd name="connsiteX790" fmla="*/ 3413270 w 12243467"/>
              <a:gd name="connsiteY790" fmla="*/ 3959657 h 4565177"/>
              <a:gd name="connsiteX791" fmla="*/ 3443695 w 12243467"/>
              <a:gd name="connsiteY791" fmla="*/ 3962490 h 4565177"/>
              <a:gd name="connsiteX792" fmla="*/ 3429313 w 12243467"/>
              <a:gd name="connsiteY792" fmla="*/ 3974324 h 4565177"/>
              <a:gd name="connsiteX793" fmla="*/ 3384782 w 12243467"/>
              <a:gd name="connsiteY793" fmla="*/ 3967143 h 4565177"/>
              <a:gd name="connsiteX794" fmla="*/ 3413270 w 12243467"/>
              <a:gd name="connsiteY794" fmla="*/ 3959657 h 4565177"/>
              <a:gd name="connsiteX795" fmla="*/ 4260820 w 12243467"/>
              <a:gd name="connsiteY795" fmla="*/ 3958971 h 4565177"/>
              <a:gd name="connsiteX796" fmla="*/ 4267181 w 12243467"/>
              <a:gd name="connsiteY796" fmla="*/ 3959477 h 4565177"/>
              <a:gd name="connsiteX797" fmla="*/ 4307009 w 12243467"/>
              <a:gd name="connsiteY797" fmla="*/ 3964635 h 4565177"/>
              <a:gd name="connsiteX798" fmla="*/ 4341030 w 12243467"/>
              <a:gd name="connsiteY798" fmla="*/ 3983854 h 4565177"/>
              <a:gd name="connsiteX799" fmla="*/ 4338540 w 12243467"/>
              <a:gd name="connsiteY799" fmla="*/ 3986990 h 4565177"/>
              <a:gd name="connsiteX800" fmla="*/ 4337434 w 12243467"/>
              <a:gd name="connsiteY800" fmla="*/ 3984461 h 4565177"/>
              <a:gd name="connsiteX801" fmla="*/ 4254457 w 12243467"/>
              <a:gd name="connsiteY801" fmla="*/ 3960488 h 4565177"/>
              <a:gd name="connsiteX802" fmla="*/ 4260820 w 12243467"/>
              <a:gd name="connsiteY802" fmla="*/ 3958971 h 4565177"/>
              <a:gd name="connsiteX803" fmla="*/ 7494709 w 12243467"/>
              <a:gd name="connsiteY803" fmla="*/ 3956644 h 4565177"/>
              <a:gd name="connsiteX804" fmla="*/ 7505496 w 12243467"/>
              <a:gd name="connsiteY804" fmla="*/ 3956745 h 4565177"/>
              <a:gd name="connsiteX805" fmla="*/ 7503283 w 12243467"/>
              <a:gd name="connsiteY805" fmla="*/ 3964028 h 4565177"/>
              <a:gd name="connsiteX806" fmla="*/ 7493603 w 12243467"/>
              <a:gd name="connsiteY806" fmla="*/ 3959375 h 4565177"/>
              <a:gd name="connsiteX807" fmla="*/ 7494709 w 12243467"/>
              <a:gd name="connsiteY807" fmla="*/ 3956644 h 4565177"/>
              <a:gd name="connsiteX808" fmla="*/ 9561494 w 12243467"/>
              <a:gd name="connsiteY808" fmla="*/ 3952979 h 4565177"/>
              <a:gd name="connsiteX809" fmla="*/ 9559834 w 12243467"/>
              <a:gd name="connsiteY809" fmla="*/ 3956722 h 4565177"/>
              <a:gd name="connsiteX810" fmla="*/ 9557068 w 12243467"/>
              <a:gd name="connsiteY810" fmla="*/ 3959959 h 4565177"/>
              <a:gd name="connsiteX811" fmla="*/ 9458879 w 12243467"/>
              <a:gd name="connsiteY811" fmla="*/ 3952069 h 4565177"/>
              <a:gd name="connsiteX812" fmla="*/ 9468006 w 12243467"/>
              <a:gd name="connsiteY812" fmla="*/ 3954092 h 4565177"/>
              <a:gd name="connsiteX813" fmla="*/ 9442007 w 12243467"/>
              <a:gd name="connsiteY813" fmla="*/ 3964410 h 4565177"/>
              <a:gd name="connsiteX814" fmla="*/ 9450858 w 12243467"/>
              <a:gd name="connsiteY814" fmla="*/ 3974019 h 4565177"/>
              <a:gd name="connsiteX815" fmla="*/ 9450304 w 12243467"/>
              <a:gd name="connsiteY815" fmla="*/ 3953283 h 4565177"/>
              <a:gd name="connsiteX816" fmla="*/ 9458879 w 12243467"/>
              <a:gd name="connsiteY816" fmla="*/ 3952069 h 4565177"/>
              <a:gd name="connsiteX817" fmla="*/ 8305222 w 12243467"/>
              <a:gd name="connsiteY817" fmla="*/ 3948326 h 4565177"/>
              <a:gd name="connsiteX818" fmla="*/ 8288626 w 12243467"/>
              <a:gd name="connsiteY818" fmla="*/ 3960465 h 4565177"/>
              <a:gd name="connsiteX819" fmla="*/ 8305222 w 12243467"/>
              <a:gd name="connsiteY819" fmla="*/ 3948326 h 4565177"/>
              <a:gd name="connsiteX820" fmla="*/ 9508941 w 12243467"/>
              <a:gd name="connsiteY820" fmla="*/ 3944887 h 4565177"/>
              <a:gd name="connsiteX821" fmla="*/ 9501750 w 12243467"/>
              <a:gd name="connsiteY821" fmla="*/ 3953384 h 4565177"/>
              <a:gd name="connsiteX822" fmla="*/ 9495389 w 12243467"/>
              <a:gd name="connsiteY822" fmla="*/ 3950046 h 4565177"/>
              <a:gd name="connsiteX823" fmla="*/ 9508941 w 12243467"/>
              <a:gd name="connsiteY823" fmla="*/ 3944887 h 4565177"/>
              <a:gd name="connsiteX824" fmla="*/ 9475474 w 12243467"/>
              <a:gd name="connsiteY824" fmla="*/ 3942965 h 4565177"/>
              <a:gd name="connsiteX825" fmla="*/ 9478517 w 12243467"/>
              <a:gd name="connsiteY825" fmla="*/ 3947922 h 4565177"/>
              <a:gd name="connsiteX826" fmla="*/ 9478793 w 12243467"/>
              <a:gd name="connsiteY826" fmla="*/ 3951665 h 4565177"/>
              <a:gd name="connsiteX827" fmla="*/ 9469389 w 12243467"/>
              <a:gd name="connsiteY827" fmla="*/ 3946708 h 4565177"/>
              <a:gd name="connsiteX828" fmla="*/ 9475474 w 12243467"/>
              <a:gd name="connsiteY828" fmla="*/ 3942965 h 4565177"/>
              <a:gd name="connsiteX829" fmla="*/ 3450610 w 12243467"/>
              <a:gd name="connsiteY829" fmla="*/ 3938011 h 4565177"/>
              <a:gd name="connsiteX830" fmla="*/ 3451163 w 12243467"/>
              <a:gd name="connsiteY830" fmla="*/ 3947013 h 4565177"/>
              <a:gd name="connsiteX831" fmla="*/ 3430419 w 12243467"/>
              <a:gd name="connsiteY831" fmla="*/ 3944788 h 4565177"/>
              <a:gd name="connsiteX832" fmla="*/ 3450610 w 12243467"/>
              <a:gd name="connsiteY832" fmla="*/ 3938011 h 4565177"/>
              <a:gd name="connsiteX833" fmla="*/ 9493176 w 12243467"/>
              <a:gd name="connsiteY833" fmla="*/ 3933052 h 4565177"/>
              <a:gd name="connsiteX834" fmla="*/ 9498708 w 12243467"/>
              <a:gd name="connsiteY834" fmla="*/ 3938009 h 4565177"/>
              <a:gd name="connsiteX835" fmla="*/ 9495112 w 12243467"/>
              <a:gd name="connsiteY835" fmla="*/ 3941246 h 4565177"/>
              <a:gd name="connsiteX836" fmla="*/ 9493176 w 12243467"/>
              <a:gd name="connsiteY836" fmla="*/ 3933052 h 4565177"/>
              <a:gd name="connsiteX837" fmla="*/ 3481311 w 12243467"/>
              <a:gd name="connsiteY837" fmla="*/ 3932245 h 4565177"/>
              <a:gd name="connsiteX838" fmla="*/ 3488226 w 12243467"/>
              <a:gd name="connsiteY838" fmla="*/ 3933054 h 4565177"/>
              <a:gd name="connsiteX839" fmla="*/ 3490439 w 12243467"/>
              <a:gd name="connsiteY839" fmla="*/ 3935381 h 4565177"/>
              <a:gd name="connsiteX840" fmla="*/ 3484354 w 12243467"/>
              <a:gd name="connsiteY840" fmla="*/ 3941753 h 4565177"/>
              <a:gd name="connsiteX841" fmla="*/ 3481311 w 12243467"/>
              <a:gd name="connsiteY841" fmla="*/ 3932245 h 4565177"/>
              <a:gd name="connsiteX842" fmla="*/ 9417667 w 12243467"/>
              <a:gd name="connsiteY842" fmla="*/ 3925163 h 4565177"/>
              <a:gd name="connsiteX843" fmla="*/ 9429007 w 12243467"/>
              <a:gd name="connsiteY843" fmla="*/ 3931839 h 4565177"/>
              <a:gd name="connsiteX844" fmla="*/ 9430667 w 12243467"/>
              <a:gd name="connsiteY844" fmla="*/ 3933255 h 4565177"/>
              <a:gd name="connsiteX845" fmla="*/ 9425411 w 12243467"/>
              <a:gd name="connsiteY845" fmla="*/ 3941954 h 4565177"/>
              <a:gd name="connsiteX846" fmla="*/ 9390284 w 12243467"/>
              <a:gd name="connsiteY846" fmla="*/ 3954396 h 4565177"/>
              <a:gd name="connsiteX847" fmla="*/ 9386135 w 12243467"/>
              <a:gd name="connsiteY847" fmla="*/ 3943572 h 4565177"/>
              <a:gd name="connsiteX848" fmla="*/ 9416284 w 12243467"/>
              <a:gd name="connsiteY848" fmla="*/ 3925264 h 4565177"/>
              <a:gd name="connsiteX849" fmla="*/ 9417667 w 12243467"/>
              <a:gd name="connsiteY849" fmla="*/ 3925163 h 4565177"/>
              <a:gd name="connsiteX850" fmla="*/ 4099567 w 12243467"/>
              <a:gd name="connsiteY850" fmla="*/ 3907990 h 4565177"/>
              <a:gd name="connsiteX851" fmla="*/ 4116440 w 12243467"/>
              <a:gd name="connsiteY851" fmla="*/ 3914666 h 4565177"/>
              <a:gd name="connsiteX852" fmla="*/ 4118375 w 12243467"/>
              <a:gd name="connsiteY852" fmla="*/ 3921443 h 4565177"/>
              <a:gd name="connsiteX853" fmla="*/ 4099567 w 12243467"/>
              <a:gd name="connsiteY853" fmla="*/ 3907990 h 4565177"/>
              <a:gd name="connsiteX854" fmla="*/ 6058930 w 12243467"/>
              <a:gd name="connsiteY854" fmla="*/ 3902932 h 4565177"/>
              <a:gd name="connsiteX855" fmla="*/ 6051186 w 12243467"/>
              <a:gd name="connsiteY855" fmla="*/ 3907383 h 4565177"/>
              <a:gd name="connsiteX856" fmla="*/ 6047037 w 12243467"/>
              <a:gd name="connsiteY856" fmla="*/ 3913958 h 4565177"/>
              <a:gd name="connsiteX857" fmla="*/ 6054505 w 12243467"/>
              <a:gd name="connsiteY857" fmla="*/ 3910418 h 4565177"/>
              <a:gd name="connsiteX858" fmla="*/ 6061973 w 12243467"/>
              <a:gd name="connsiteY858" fmla="*/ 3904955 h 4565177"/>
              <a:gd name="connsiteX859" fmla="*/ 9409646 w 12243467"/>
              <a:gd name="connsiteY859" fmla="*/ 3901392 h 4565177"/>
              <a:gd name="connsiteX860" fmla="*/ 9406603 w 12243467"/>
              <a:gd name="connsiteY860" fmla="*/ 3906551 h 4565177"/>
              <a:gd name="connsiteX861" fmla="*/ 9413794 w 12243467"/>
              <a:gd name="connsiteY861" fmla="*/ 3911608 h 4565177"/>
              <a:gd name="connsiteX862" fmla="*/ 9404944 w 12243467"/>
              <a:gd name="connsiteY862" fmla="*/ 3909079 h 4565177"/>
              <a:gd name="connsiteX863" fmla="*/ 9399412 w 12243467"/>
              <a:gd name="connsiteY863" fmla="*/ 3914744 h 4565177"/>
              <a:gd name="connsiteX864" fmla="*/ 9409646 w 12243467"/>
              <a:gd name="connsiteY864" fmla="*/ 3901392 h 4565177"/>
              <a:gd name="connsiteX865" fmla="*/ 9458326 w 12243467"/>
              <a:gd name="connsiteY865" fmla="*/ 3900077 h 4565177"/>
              <a:gd name="connsiteX866" fmla="*/ 9472432 w 12243467"/>
              <a:gd name="connsiteY866" fmla="*/ 3910900 h 4565177"/>
              <a:gd name="connsiteX867" fmla="*/ 9458602 w 12243467"/>
              <a:gd name="connsiteY867" fmla="*/ 3925668 h 4565177"/>
              <a:gd name="connsiteX868" fmla="*/ 9468836 w 12243467"/>
              <a:gd name="connsiteY868" fmla="*/ 3932749 h 4565177"/>
              <a:gd name="connsiteX869" fmla="*/ 9442560 w 12243467"/>
              <a:gd name="connsiteY869" fmla="*/ 3940942 h 4565177"/>
              <a:gd name="connsiteX870" fmla="*/ 9442283 w 12243467"/>
              <a:gd name="connsiteY870" fmla="*/ 3933963 h 4565177"/>
              <a:gd name="connsiteX871" fmla="*/ 9455006 w 12243467"/>
              <a:gd name="connsiteY871" fmla="*/ 3928804 h 4565177"/>
              <a:gd name="connsiteX872" fmla="*/ 9440624 w 12243467"/>
              <a:gd name="connsiteY872" fmla="*/ 3929714 h 4565177"/>
              <a:gd name="connsiteX873" fmla="*/ 9446156 w 12243467"/>
              <a:gd name="connsiteY873" fmla="*/ 3919093 h 4565177"/>
              <a:gd name="connsiteX874" fmla="*/ 9458326 w 12243467"/>
              <a:gd name="connsiteY874" fmla="*/ 3900077 h 4565177"/>
              <a:gd name="connsiteX875" fmla="*/ 4339371 w 12243467"/>
              <a:gd name="connsiteY875" fmla="*/ 3898684 h 4565177"/>
              <a:gd name="connsiteX876" fmla="*/ 4375050 w 12243467"/>
              <a:gd name="connsiteY876" fmla="*/ 3904450 h 4565177"/>
              <a:gd name="connsiteX877" fmla="*/ 4388327 w 12243467"/>
              <a:gd name="connsiteY877" fmla="*/ 3914868 h 4565177"/>
              <a:gd name="connsiteX878" fmla="*/ 4354584 w 12243467"/>
              <a:gd name="connsiteY878" fmla="*/ 3910114 h 4565177"/>
              <a:gd name="connsiteX879" fmla="*/ 4339371 w 12243467"/>
              <a:gd name="connsiteY879" fmla="*/ 3898684 h 4565177"/>
              <a:gd name="connsiteX880" fmla="*/ 9481006 w 12243467"/>
              <a:gd name="connsiteY880" fmla="*/ 3895120 h 4565177"/>
              <a:gd name="connsiteX881" fmla="*/ 9490687 w 12243467"/>
              <a:gd name="connsiteY881" fmla="*/ 3906551 h 4565177"/>
              <a:gd name="connsiteX882" fmla="*/ 9475751 w 12243467"/>
              <a:gd name="connsiteY882" fmla="*/ 3900684 h 4565177"/>
              <a:gd name="connsiteX883" fmla="*/ 9481006 w 12243467"/>
              <a:gd name="connsiteY883" fmla="*/ 3895120 h 4565177"/>
              <a:gd name="connsiteX884" fmla="*/ 8471452 w 12243467"/>
              <a:gd name="connsiteY884" fmla="*/ 3889253 h 4565177"/>
              <a:gd name="connsiteX885" fmla="*/ 8471176 w 12243467"/>
              <a:gd name="connsiteY885" fmla="*/ 3895019 h 4565177"/>
              <a:gd name="connsiteX886" fmla="*/ 8468963 w 12243467"/>
              <a:gd name="connsiteY886" fmla="*/ 3900583 h 4565177"/>
              <a:gd name="connsiteX887" fmla="*/ 8459006 w 12243467"/>
              <a:gd name="connsiteY887" fmla="*/ 3892592 h 4565177"/>
              <a:gd name="connsiteX888" fmla="*/ 8471452 w 12243467"/>
              <a:gd name="connsiteY888" fmla="*/ 3889253 h 4565177"/>
              <a:gd name="connsiteX889" fmla="*/ 3333612 w 12243467"/>
              <a:gd name="connsiteY889" fmla="*/ 3888446 h 4565177"/>
              <a:gd name="connsiteX890" fmla="*/ 3349931 w 12243467"/>
              <a:gd name="connsiteY890" fmla="*/ 3890368 h 4565177"/>
              <a:gd name="connsiteX891" fmla="*/ 3317570 w 12243467"/>
              <a:gd name="connsiteY891" fmla="*/ 3893706 h 4565177"/>
              <a:gd name="connsiteX892" fmla="*/ 3333612 w 12243467"/>
              <a:gd name="connsiteY892" fmla="*/ 3888446 h 4565177"/>
              <a:gd name="connsiteX893" fmla="*/ 4481815 w 12243467"/>
              <a:gd name="connsiteY893" fmla="*/ 3886141 h 4565177"/>
              <a:gd name="connsiteX894" fmla="*/ 4486793 w 12243467"/>
              <a:gd name="connsiteY894" fmla="*/ 3886141 h 4565177"/>
              <a:gd name="connsiteX895" fmla="*/ 4498133 w 12243467"/>
              <a:gd name="connsiteY895" fmla="*/ 3888872 h 4565177"/>
              <a:gd name="connsiteX896" fmla="*/ 4477390 w 12243467"/>
              <a:gd name="connsiteY896" fmla="*/ 3888569 h 4565177"/>
              <a:gd name="connsiteX897" fmla="*/ 4481815 w 12243467"/>
              <a:gd name="connsiteY897" fmla="*/ 3886141 h 4565177"/>
              <a:gd name="connsiteX898" fmla="*/ 3387547 w 12243467"/>
              <a:gd name="connsiteY898" fmla="*/ 3884805 h 4565177"/>
              <a:gd name="connsiteX899" fmla="*/ 3391420 w 12243467"/>
              <a:gd name="connsiteY899" fmla="*/ 3885310 h 4565177"/>
              <a:gd name="connsiteX900" fmla="*/ 3398334 w 12243467"/>
              <a:gd name="connsiteY900" fmla="*/ 3886625 h 4565177"/>
              <a:gd name="connsiteX901" fmla="*/ 3399441 w 12243467"/>
              <a:gd name="connsiteY901" fmla="*/ 3893807 h 4565177"/>
              <a:gd name="connsiteX902" fmla="*/ 3389207 w 12243467"/>
              <a:gd name="connsiteY902" fmla="*/ 3897449 h 4565177"/>
              <a:gd name="connsiteX903" fmla="*/ 3383952 w 12243467"/>
              <a:gd name="connsiteY903" fmla="*/ 3887435 h 4565177"/>
              <a:gd name="connsiteX904" fmla="*/ 3387547 w 12243467"/>
              <a:gd name="connsiteY904" fmla="*/ 3884805 h 4565177"/>
              <a:gd name="connsiteX905" fmla="*/ 7779043 w 12243467"/>
              <a:gd name="connsiteY905" fmla="*/ 3884422 h 4565177"/>
              <a:gd name="connsiteX906" fmla="*/ 7782086 w 12243467"/>
              <a:gd name="connsiteY906" fmla="*/ 3889884 h 4565177"/>
              <a:gd name="connsiteX907" fmla="*/ 7783469 w 12243467"/>
              <a:gd name="connsiteY907" fmla="*/ 3895548 h 4565177"/>
              <a:gd name="connsiteX908" fmla="*/ 7769639 w 12243467"/>
              <a:gd name="connsiteY908" fmla="*/ 3891300 h 4565177"/>
              <a:gd name="connsiteX909" fmla="*/ 7779043 w 12243467"/>
              <a:gd name="connsiteY909" fmla="*/ 3884422 h 4565177"/>
              <a:gd name="connsiteX910" fmla="*/ 9511431 w 12243467"/>
              <a:gd name="connsiteY910" fmla="*/ 3883285 h 4565177"/>
              <a:gd name="connsiteX911" fmla="*/ 9519729 w 12243467"/>
              <a:gd name="connsiteY911" fmla="*/ 3885511 h 4565177"/>
              <a:gd name="connsiteX912" fmla="*/ 9522494 w 12243467"/>
              <a:gd name="connsiteY912" fmla="*/ 3892389 h 4565177"/>
              <a:gd name="connsiteX913" fmla="*/ 9511984 w 12243467"/>
              <a:gd name="connsiteY913" fmla="*/ 3896941 h 4565177"/>
              <a:gd name="connsiteX914" fmla="*/ 9502857 w 12243467"/>
              <a:gd name="connsiteY914" fmla="*/ 3898964 h 4565177"/>
              <a:gd name="connsiteX915" fmla="*/ 9490410 w 12243467"/>
              <a:gd name="connsiteY915" fmla="*/ 3892490 h 4565177"/>
              <a:gd name="connsiteX916" fmla="*/ 9511431 w 12243467"/>
              <a:gd name="connsiteY916" fmla="*/ 3883285 h 4565177"/>
              <a:gd name="connsiteX917" fmla="*/ 9572557 w 12243467"/>
              <a:gd name="connsiteY917" fmla="*/ 3881667 h 4565177"/>
              <a:gd name="connsiteX918" fmla="*/ 9559834 w 12243467"/>
              <a:gd name="connsiteY918" fmla="*/ 3893805 h 4565177"/>
              <a:gd name="connsiteX919" fmla="*/ 9572557 w 12243467"/>
              <a:gd name="connsiteY919" fmla="*/ 3881667 h 4565177"/>
              <a:gd name="connsiteX920" fmla="*/ 9472985 w 12243467"/>
              <a:gd name="connsiteY920" fmla="*/ 3880453 h 4565177"/>
              <a:gd name="connsiteX921" fmla="*/ 9466623 w 12243467"/>
              <a:gd name="connsiteY921" fmla="*/ 3895626 h 4565177"/>
              <a:gd name="connsiteX922" fmla="*/ 9422092 w 12243467"/>
              <a:gd name="connsiteY922" fmla="*/ 3903111 h 4565177"/>
              <a:gd name="connsiteX923" fmla="*/ 9472985 w 12243467"/>
              <a:gd name="connsiteY923" fmla="*/ 3880453 h 4565177"/>
              <a:gd name="connsiteX924" fmla="*/ 8496899 w 12243467"/>
              <a:gd name="connsiteY924" fmla="*/ 3878835 h 4565177"/>
              <a:gd name="connsiteX925" fmla="*/ 8509345 w 12243467"/>
              <a:gd name="connsiteY925" fmla="*/ 3882274 h 4565177"/>
              <a:gd name="connsiteX926" fmla="*/ 8490260 w 12243467"/>
              <a:gd name="connsiteY926" fmla="*/ 3891277 h 4565177"/>
              <a:gd name="connsiteX927" fmla="*/ 8484452 w 12243467"/>
              <a:gd name="connsiteY927" fmla="*/ 3883892 h 4565177"/>
              <a:gd name="connsiteX928" fmla="*/ 8496899 w 12243467"/>
              <a:gd name="connsiteY928" fmla="*/ 3878835 h 4565177"/>
              <a:gd name="connsiteX929" fmla="*/ 3472184 w 12243467"/>
              <a:gd name="connsiteY929" fmla="*/ 3874082 h 4565177"/>
              <a:gd name="connsiteX930" fmla="*/ 3484907 w 12243467"/>
              <a:gd name="connsiteY930" fmla="*/ 3874184 h 4565177"/>
              <a:gd name="connsiteX931" fmla="*/ 3501226 w 12243467"/>
              <a:gd name="connsiteY931" fmla="*/ 3882276 h 4565177"/>
              <a:gd name="connsiteX932" fmla="*/ 3442589 w 12243467"/>
              <a:gd name="connsiteY932" fmla="*/ 3885007 h 4565177"/>
              <a:gd name="connsiteX933" fmla="*/ 3446461 w 12243467"/>
              <a:gd name="connsiteY933" fmla="*/ 3890064 h 4565177"/>
              <a:gd name="connsiteX934" fmla="*/ 3432632 w 12243467"/>
              <a:gd name="connsiteY934" fmla="*/ 3886221 h 4565177"/>
              <a:gd name="connsiteX935" fmla="*/ 3472184 w 12243467"/>
              <a:gd name="connsiteY935" fmla="*/ 3874082 h 4565177"/>
              <a:gd name="connsiteX936" fmla="*/ 8511834 w 12243467"/>
              <a:gd name="connsiteY936" fmla="*/ 3868618 h 4565177"/>
              <a:gd name="connsiteX937" fmla="*/ 8467857 w 12243467"/>
              <a:gd name="connsiteY937" fmla="*/ 3884196 h 4565177"/>
              <a:gd name="connsiteX938" fmla="*/ 8436325 w 12243467"/>
              <a:gd name="connsiteY938" fmla="*/ 3896638 h 4565177"/>
              <a:gd name="connsiteX939" fmla="*/ 8378241 w 12243467"/>
              <a:gd name="connsiteY939" fmla="*/ 3910698 h 4565177"/>
              <a:gd name="connsiteX940" fmla="*/ 8315732 w 12243467"/>
              <a:gd name="connsiteY940" fmla="*/ 3922027 h 4565177"/>
              <a:gd name="connsiteX941" fmla="*/ 8304392 w 12243467"/>
              <a:gd name="connsiteY941" fmla="*/ 3929917 h 4565177"/>
              <a:gd name="connsiteX942" fmla="*/ 8295541 w 12243467"/>
              <a:gd name="connsiteY942" fmla="*/ 3926579 h 4565177"/>
              <a:gd name="connsiteX943" fmla="*/ 8252393 w 12243467"/>
              <a:gd name="connsiteY943" fmla="*/ 3949136 h 4565177"/>
              <a:gd name="connsiteX944" fmla="*/ 8137457 w 12243467"/>
              <a:gd name="connsiteY944" fmla="*/ 3968453 h 4565177"/>
              <a:gd name="connsiteX945" fmla="*/ 8112753 w 12243467"/>
              <a:gd name="connsiteY945" fmla="*/ 3968585 h 4565177"/>
              <a:gd name="connsiteX946" fmla="*/ 8109983 w 12243467"/>
              <a:gd name="connsiteY946" fmla="*/ 3971261 h 4565177"/>
              <a:gd name="connsiteX947" fmla="*/ 8055357 w 12243467"/>
              <a:gd name="connsiteY947" fmla="*/ 4027653 h 4565177"/>
              <a:gd name="connsiteX948" fmla="*/ 8064208 w 12243467"/>
              <a:gd name="connsiteY948" fmla="*/ 4037465 h 4565177"/>
              <a:gd name="connsiteX949" fmla="*/ 8054927 w 12243467"/>
              <a:gd name="connsiteY949" fmla="*/ 4040792 h 4565177"/>
              <a:gd name="connsiteX950" fmla="*/ 8060197 w 12243467"/>
              <a:gd name="connsiteY950" fmla="*/ 4044485 h 4565177"/>
              <a:gd name="connsiteX951" fmla="*/ 8065695 w 12243467"/>
              <a:gd name="connsiteY951" fmla="*/ 4039971 h 4565177"/>
              <a:gd name="connsiteX952" fmla="*/ 8072886 w 12243467"/>
              <a:gd name="connsiteY952" fmla="*/ 4052109 h 4565177"/>
              <a:gd name="connsiteX953" fmla="*/ 8074269 w 12243467"/>
              <a:gd name="connsiteY953" fmla="*/ 4045534 h 4565177"/>
              <a:gd name="connsiteX954" fmla="*/ 8089758 w 12243467"/>
              <a:gd name="connsiteY954" fmla="*/ 4051704 h 4565177"/>
              <a:gd name="connsiteX955" fmla="*/ 8085056 w 12243467"/>
              <a:gd name="connsiteY955" fmla="*/ 4039869 h 4565177"/>
              <a:gd name="connsiteX956" fmla="*/ 8103034 w 12243467"/>
              <a:gd name="connsiteY956" fmla="*/ 4021359 h 4565177"/>
              <a:gd name="connsiteX957" fmla="*/ 8124885 w 12243467"/>
              <a:gd name="connsiteY957" fmla="*/ 4032890 h 4565177"/>
              <a:gd name="connsiteX958" fmla="*/ 8181586 w 12243467"/>
              <a:gd name="connsiteY958" fmla="*/ 4025506 h 4565177"/>
              <a:gd name="connsiteX959" fmla="*/ 8195692 w 12243467"/>
              <a:gd name="connsiteY959" fmla="*/ 4015694 h 4565177"/>
              <a:gd name="connsiteX960" fmla="*/ 8189330 w 12243467"/>
              <a:gd name="connsiteY960" fmla="*/ 4023988 h 4565177"/>
              <a:gd name="connsiteX961" fmla="*/ 8216160 w 12243467"/>
              <a:gd name="connsiteY961" fmla="*/ 4022471 h 4565177"/>
              <a:gd name="connsiteX962" fmla="*/ 8214500 w 12243467"/>
              <a:gd name="connsiteY962" fmla="*/ 4006388 h 4565177"/>
              <a:gd name="connsiteX963" fmla="*/ 8224457 w 12243467"/>
              <a:gd name="connsiteY963" fmla="*/ 4005174 h 4565177"/>
              <a:gd name="connsiteX964" fmla="*/ 8219755 w 12243467"/>
              <a:gd name="connsiteY964" fmla="*/ 4016099 h 4565177"/>
              <a:gd name="connsiteX965" fmla="*/ 8227223 w 12243467"/>
              <a:gd name="connsiteY965" fmla="*/ 4014581 h 4565177"/>
              <a:gd name="connsiteX966" fmla="*/ 8226117 w 12243467"/>
              <a:gd name="connsiteY966" fmla="*/ 4007703 h 4565177"/>
              <a:gd name="connsiteX967" fmla="*/ 8289733 w 12243467"/>
              <a:gd name="connsiteY967" fmla="*/ 3991923 h 4565177"/>
              <a:gd name="connsiteX968" fmla="*/ 8309647 w 12243467"/>
              <a:gd name="connsiteY968" fmla="*/ 3987270 h 4565177"/>
              <a:gd name="connsiteX969" fmla="*/ 8308817 w 12243467"/>
              <a:gd name="connsiteY969" fmla="*/ 3980392 h 4565177"/>
              <a:gd name="connsiteX970" fmla="*/ 8359433 w 12243467"/>
              <a:gd name="connsiteY970" fmla="*/ 3967748 h 4565177"/>
              <a:gd name="connsiteX971" fmla="*/ 8365242 w 12243467"/>
              <a:gd name="connsiteY971" fmla="*/ 3975233 h 4565177"/>
              <a:gd name="connsiteX972" fmla="*/ 8442687 w 12243467"/>
              <a:gd name="connsiteY972" fmla="*/ 3949743 h 4565177"/>
              <a:gd name="connsiteX973" fmla="*/ 8444070 w 12243467"/>
              <a:gd name="connsiteY973" fmla="*/ 3942965 h 4565177"/>
              <a:gd name="connsiteX974" fmla="*/ 8442410 w 12243467"/>
              <a:gd name="connsiteY974" fmla="*/ 3938211 h 4565177"/>
              <a:gd name="connsiteX975" fmla="*/ 8431347 w 12243467"/>
              <a:gd name="connsiteY975" fmla="*/ 3946101 h 4565177"/>
              <a:gd name="connsiteX976" fmla="*/ 8422219 w 12243467"/>
              <a:gd name="connsiteY976" fmla="*/ 3942864 h 4565177"/>
              <a:gd name="connsiteX977" fmla="*/ 8475601 w 12243467"/>
              <a:gd name="connsiteY977" fmla="*/ 3916969 h 4565177"/>
              <a:gd name="connsiteX978" fmla="*/ 8469793 w 12243467"/>
              <a:gd name="connsiteY978" fmla="*/ 3909484 h 4565177"/>
              <a:gd name="connsiteX979" fmla="*/ 8523728 w 12243467"/>
              <a:gd name="connsiteY979" fmla="*/ 3881262 h 4565177"/>
              <a:gd name="connsiteX980" fmla="*/ 8511834 w 12243467"/>
              <a:gd name="connsiteY980" fmla="*/ 3868618 h 4565177"/>
              <a:gd name="connsiteX981" fmla="*/ 3215232 w 12243467"/>
              <a:gd name="connsiteY981" fmla="*/ 3867811 h 4565177"/>
              <a:gd name="connsiteX982" fmla="*/ 3225466 w 12243467"/>
              <a:gd name="connsiteY982" fmla="*/ 3868216 h 4565177"/>
              <a:gd name="connsiteX983" fmla="*/ 3243444 w 12243467"/>
              <a:gd name="connsiteY983" fmla="*/ 3869632 h 4565177"/>
              <a:gd name="connsiteX984" fmla="*/ 3207211 w 12243467"/>
              <a:gd name="connsiteY984" fmla="*/ 3870239 h 4565177"/>
              <a:gd name="connsiteX985" fmla="*/ 3215232 w 12243467"/>
              <a:gd name="connsiteY985" fmla="*/ 3867811 h 4565177"/>
              <a:gd name="connsiteX986" fmla="*/ 7803383 w 12243467"/>
              <a:gd name="connsiteY986" fmla="*/ 3865405 h 4565177"/>
              <a:gd name="connsiteX987" fmla="*/ 7809468 w 12243467"/>
              <a:gd name="connsiteY987" fmla="*/ 3866214 h 4565177"/>
              <a:gd name="connsiteX988" fmla="*/ 7797575 w 12243467"/>
              <a:gd name="connsiteY988" fmla="*/ 3880477 h 4565177"/>
              <a:gd name="connsiteX989" fmla="*/ 7787894 w 12243467"/>
              <a:gd name="connsiteY989" fmla="*/ 3875621 h 4565177"/>
              <a:gd name="connsiteX990" fmla="*/ 7803383 w 12243467"/>
              <a:gd name="connsiteY990" fmla="*/ 3865405 h 4565177"/>
              <a:gd name="connsiteX991" fmla="*/ 3384505 w 12243467"/>
              <a:gd name="connsiteY991" fmla="*/ 3862349 h 4565177"/>
              <a:gd name="connsiteX992" fmla="*/ 3358782 w 12243467"/>
              <a:gd name="connsiteY992" fmla="*/ 3871048 h 4565177"/>
              <a:gd name="connsiteX993" fmla="*/ 3362101 w 12243467"/>
              <a:gd name="connsiteY993" fmla="*/ 3878331 h 4565177"/>
              <a:gd name="connsiteX994" fmla="*/ 3342187 w 12243467"/>
              <a:gd name="connsiteY994" fmla="*/ 3880758 h 4565177"/>
              <a:gd name="connsiteX995" fmla="*/ 3321166 w 12243467"/>
              <a:gd name="connsiteY995" fmla="*/ 3878432 h 4565177"/>
              <a:gd name="connsiteX996" fmla="*/ 3287698 w 12243467"/>
              <a:gd name="connsiteY996" fmla="*/ 3877117 h 4565177"/>
              <a:gd name="connsiteX997" fmla="*/ 3279124 w 12243467"/>
              <a:gd name="connsiteY997" fmla="*/ 3871554 h 4565177"/>
              <a:gd name="connsiteX998" fmla="*/ 3384505 w 12243467"/>
              <a:gd name="connsiteY998" fmla="*/ 3862349 h 4565177"/>
              <a:gd name="connsiteX999" fmla="*/ 9238436 w 12243467"/>
              <a:gd name="connsiteY999" fmla="*/ 3859110 h 4565177"/>
              <a:gd name="connsiteX1000" fmla="*/ 9206075 w 12243467"/>
              <a:gd name="connsiteY1000" fmla="*/ 3871046 h 4565177"/>
              <a:gd name="connsiteX1001" fmla="*/ 9238436 w 12243467"/>
              <a:gd name="connsiteY1001" fmla="*/ 3859110 h 4565177"/>
              <a:gd name="connsiteX1002" fmla="*/ 3746285 w 12243467"/>
              <a:gd name="connsiteY1002" fmla="*/ 3856886 h 4565177"/>
              <a:gd name="connsiteX1003" fmla="*/ 3729689 w 12243467"/>
              <a:gd name="connsiteY1003" fmla="*/ 3869025 h 4565177"/>
              <a:gd name="connsiteX1004" fmla="*/ 3746285 w 12243467"/>
              <a:gd name="connsiteY1004" fmla="*/ 3856886 h 4565177"/>
              <a:gd name="connsiteX1005" fmla="*/ 9465240 w 12243467"/>
              <a:gd name="connsiteY1005" fmla="*/ 3856075 h 4565177"/>
              <a:gd name="connsiteX1006" fmla="*/ 9471049 w 12243467"/>
              <a:gd name="connsiteY1006" fmla="*/ 3864067 h 4565177"/>
              <a:gd name="connsiteX1007" fmla="*/ 9450858 w 12243467"/>
              <a:gd name="connsiteY1007" fmla="*/ 3868618 h 4565177"/>
              <a:gd name="connsiteX1008" fmla="*/ 9465240 w 12243467"/>
              <a:gd name="connsiteY1008" fmla="*/ 3856075 h 4565177"/>
              <a:gd name="connsiteX1009" fmla="*/ 3469418 w 12243467"/>
              <a:gd name="connsiteY1009" fmla="*/ 3855976 h 4565177"/>
              <a:gd name="connsiteX1010" fmla="*/ 3400547 w 12243467"/>
              <a:gd name="connsiteY1010" fmla="*/ 3866496 h 4565177"/>
              <a:gd name="connsiteX1011" fmla="*/ 3469418 w 12243467"/>
              <a:gd name="connsiteY1011" fmla="*/ 3855976 h 4565177"/>
              <a:gd name="connsiteX1012" fmla="*/ 4916537 w 12243467"/>
              <a:gd name="connsiteY1012" fmla="*/ 3851525 h 4565177"/>
              <a:gd name="connsiteX1013" fmla="*/ 4919580 w 12243467"/>
              <a:gd name="connsiteY1013" fmla="*/ 3856482 h 4565177"/>
              <a:gd name="connsiteX1014" fmla="*/ 4919856 w 12243467"/>
              <a:gd name="connsiteY1014" fmla="*/ 3860225 h 4565177"/>
              <a:gd name="connsiteX1015" fmla="*/ 4910453 w 12243467"/>
              <a:gd name="connsiteY1015" fmla="*/ 3855268 h 4565177"/>
              <a:gd name="connsiteX1016" fmla="*/ 4916537 w 12243467"/>
              <a:gd name="connsiteY1016" fmla="*/ 3851525 h 4565177"/>
              <a:gd name="connsiteX1017" fmla="*/ 4979676 w 12243467"/>
              <a:gd name="connsiteY1017" fmla="*/ 3849726 h 4565177"/>
              <a:gd name="connsiteX1018" fmla="*/ 4987145 w 12243467"/>
              <a:gd name="connsiteY1018" fmla="*/ 3851142 h 4565177"/>
              <a:gd name="connsiteX1019" fmla="*/ 4995996 w 12243467"/>
              <a:gd name="connsiteY1019" fmla="*/ 3858628 h 4565177"/>
              <a:gd name="connsiteX1020" fmla="*/ 4973315 w 12243467"/>
              <a:gd name="connsiteY1020" fmla="*/ 3859740 h 4565177"/>
              <a:gd name="connsiteX1021" fmla="*/ 4972761 w 12243467"/>
              <a:gd name="connsiteY1021" fmla="*/ 3851244 h 4565177"/>
              <a:gd name="connsiteX1022" fmla="*/ 4979676 w 12243467"/>
              <a:gd name="connsiteY1022" fmla="*/ 3849726 h 4565177"/>
              <a:gd name="connsiteX1023" fmla="*/ 4945102 w 12243467"/>
              <a:gd name="connsiteY1023" fmla="*/ 3849524 h 4565177"/>
              <a:gd name="connsiteX1024" fmla="*/ 4958103 w 12243467"/>
              <a:gd name="connsiteY1024" fmla="*/ 3851142 h 4565177"/>
              <a:gd name="connsiteX1025" fmla="*/ 4953953 w 12243467"/>
              <a:gd name="connsiteY1025" fmla="*/ 3856099 h 4565177"/>
              <a:gd name="connsiteX1026" fmla="*/ 4948698 w 12243467"/>
              <a:gd name="connsiteY1026" fmla="*/ 3860347 h 4565177"/>
              <a:gd name="connsiteX1027" fmla="*/ 4946909 w 12243467"/>
              <a:gd name="connsiteY1027" fmla="*/ 3858356 h 4565177"/>
              <a:gd name="connsiteX1028" fmla="*/ 4946824 w 12243467"/>
              <a:gd name="connsiteY1028" fmla="*/ 3858492 h 4565177"/>
              <a:gd name="connsiteX1029" fmla="*/ 4942813 w 12243467"/>
              <a:gd name="connsiteY1029" fmla="*/ 3861944 h 4565177"/>
              <a:gd name="connsiteX1030" fmla="*/ 4936452 w 12243467"/>
              <a:gd name="connsiteY1030" fmla="*/ 3858606 h 4565177"/>
              <a:gd name="connsiteX1031" fmla="*/ 4941569 w 12243467"/>
              <a:gd name="connsiteY1031" fmla="*/ 3854623 h 4565177"/>
              <a:gd name="connsiteX1032" fmla="*/ 4944826 w 12243467"/>
              <a:gd name="connsiteY1032" fmla="*/ 3854169 h 4565177"/>
              <a:gd name="connsiteX1033" fmla="*/ 8460596 w 12243467"/>
              <a:gd name="connsiteY1033" fmla="*/ 3846441 h 4565177"/>
              <a:gd name="connsiteX1034" fmla="*/ 8446283 w 12243467"/>
              <a:gd name="connsiteY1034" fmla="*/ 3847680 h 4565177"/>
              <a:gd name="connsiteX1035" fmla="*/ 8400645 w 12243467"/>
              <a:gd name="connsiteY1035" fmla="*/ 3870035 h 4565177"/>
              <a:gd name="connsiteX1036" fmla="*/ 8341732 w 12243467"/>
              <a:gd name="connsiteY1036" fmla="*/ 3888444 h 4565177"/>
              <a:gd name="connsiteX1037" fmla="*/ 8298860 w 12243467"/>
              <a:gd name="connsiteY1037" fmla="*/ 3897447 h 4565177"/>
              <a:gd name="connsiteX1038" fmla="*/ 8213947 w 12243467"/>
              <a:gd name="connsiteY1038" fmla="*/ 3924455 h 4565177"/>
              <a:gd name="connsiteX1039" fmla="*/ 8149706 w 12243467"/>
              <a:gd name="connsiteY1039" fmla="*/ 3932885 h 4565177"/>
              <a:gd name="connsiteX1040" fmla="*/ 8134588 w 12243467"/>
              <a:gd name="connsiteY1040" fmla="*/ 3947490 h 4565177"/>
              <a:gd name="connsiteX1041" fmla="*/ 8149778 w 12243467"/>
              <a:gd name="connsiteY1041" fmla="*/ 3944685 h 4565177"/>
              <a:gd name="connsiteX1042" fmla="*/ 8143140 w 12243467"/>
              <a:gd name="connsiteY1042" fmla="*/ 3941650 h 4565177"/>
              <a:gd name="connsiteX1043" fmla="*/ 8211734 w 12243467"/>
              <a:gd name="connsiteY1043" fmla="*/ 3935480 h 4565177"/>
              <a:gd name="connsiteX1044" fmla="*/ 8290839 w 12243467"/>
              <a:gd name="connsiteY1044" fmla="*/ 3926073 h 4565177"/>
              <a:gd name="connsiteX1045" fmla="*/ 8321817 w 12243467"/>
              <a:gd name="connsiteY1045" fmla="*/ 3915857 h 4565177"/>
              <a:gd name="connsiteX1046" fmla="*/ 8315456 w 12243467"/>
              <a:gd name="connsiteY1046" fmla="*/ 3910597 h 4565177"/>
              <a:gd name="connsiteX1047" fmla="*/ 8471176 w 12243467"/>
              <a:gd name="connsiteY1047" fmla="*/ 3855064 h 4565177"/>
              <a:gd name="connsiteX1048" fmla="*/ 8460596 w 12243467"/>
              <a:gd name="connsiteY1048" fmla="*/ 3846441 h 4565177"/>
              <a:gd name="connsiteX1049" fmla="*/ 4437560 w 12243467"/>
              <a:gd name="connsiteY1049" fmla="*/ 3846287 h 4565177"/>
              <a:gd name="connsiteX1050" fmla="*/ 4459963 w 12243467"/>
              <a:gd name="connsiteY1050" fmla="*/ 3853267 h 4565177"/>
              <a:gd name="connsiteX1051" fmla="*/ 4462453 w 12243467"/>
              <a:gd name="connsiteY1051" fmla="*/ 3859538 h 4565177"/>
              <a:gd name="connsiteX1052" fmla="*/ 4456645 w 12243467"/>
              <a:gd name="connsiteY1052" fmla="*/ 3865304 h 4565177"/>
              <a:gd name="connsiteX1053" fmla="*/ 4445581 w 12243467"/>
              <a:gd name="connsiteY1053" fmla="*/ 3861662 h 4565177"/>
              <a:gd name="connsiteX1054" fmla="*/ 4438114 w 12243467"/>
              <a:gd name="connsiteY1054" fmla="*/ 3857515 h 4565177"/>
              <a:gd name="connsiteX1055" fmla="*/ 4437560 w 12243467"/>
              <a:gd name="connsiteY1055" fmla="*/ 3846287 h 4565177"/>
              <a:gd name="connsiteX1056" fmla="*/ 9346860 w 12243467"/>
              <a:gd name="connsiteY1056" fmla="*/ 3844443 h 4565177"/>
              <a:gd name="connsiteX1057" fmla="*/ 9319477 w 12243467"/>
              <a:gd name="connsiteY1057" fmla="*/ 3857694 h 4565177"/>
              <a:gd name="connsiteX1058" fmla="*/ 9346860 w 12243467"/>
              <a:gd name="connsiteY1058" fmla="*/ 3844443 h 4565177"/>
              <a:gd name="connsiteX1059" fmla="*/ 7446029 w 12243467"/>
              <a:gd name="connsiteY1059" fmla="*/ 3842747 h 4565177"/>
              <a:gd name="connsiteX1060" fmla="*/ 7441880 w 12243467"/>
              <a:gd name="connsiteY1060" fmla="*/ 3849423 h 4565177"/>
              <a:gd name="connsiteX1061" fmla="*/ 7449072 w 12243467"/>
              <a:gd name="connsiteY1061" fmla="*/ 3843455 h 4565177"/>
              <a:gd name="connsiteX1062" fmla="*/ 4762000 w 12243467"/>
              <a:gd name="connsiteY1062" fmla="*/ 3842443 h 4565177"/>
              <a:gd name="connsiteX1063" fmla="*/ 4774170 w 12243467"/>
              <a:gd name="connsiteY1063" fmla="*/ 3843859 h 4565177"/>
              <a:gd name="connsiteX1064" fmla="*/ 4751489 w 12243467"/>
              <a:gd name="connsiteY1064" fmla="*/ 3848512 h 4565177"/>
              <a:gd name="connsiteX1065" fmla="*/ 4762000 w 12243467"/>
              <a:gd name="connsiteY1065" fmla="*/ 3842443 h 4565177"/>
              <a:gd name="connsiteX1066" fmla="*/ 9496495 w 12243467"/>
              <a:gd name="connsiteY1066" fmla="*/ 3839689 h 4565177"/>
              <a:gd name="connsiteX1067" fmla="*/ 9499814 w 12243467"/>
              <a:gd name="connsiteY1067" fmla="*/ 3841206 h 4565177"/>
              <a:gd name="connsiteX1068" fmla="*/ 9497878 w 12243467"/>
              <a:gd name="connsiteY1068" fmla="*/ 3848894 h 4565177"/>
              <a:gd name="connsiteX1069" fmla="*/ 9489857 w 12243467"/>
              <a:gd name="connsiteY1069" fmla="*/ 3841307 h 4565177"/>
              <a:gd name="connsiteX1070" fmla="*/ 9496495 w 12243467"/>
              <a:gd name="connsiteY1070" fmla="*/ 3839689 h 4565177"/>
              <a:gd name="connsiteX1071" fmla="*/ 8983144 w 12243467"/>
              <a:gd name="connsiteY1071" fmla="*/ 3832608 h 4565177"/>
              <a:gd name="connsiteX1072" fmla="*/ 8988122 w 12243467"/>
              <a:gd name="connsiteY1072" fmla="*/ 3833620 h 4565177"/>
              <a:gd name="connsiteX1073" fmla="*/ 8975399 w 12243467"/>
              <a:gd name="connsiteY1073" fmla="*/ 3837261 h 4565177"/>
              <a:gd name="connsiteX1074" fmla="*/ 8983144 w 12243467"/>
              <a:gd name="connsiteY1074" fmla="*/ 3832608 h 4565177"/>
              <a:gd name="connsiteX1075" fmla="*/ 7462624 w 12243467"/>
              <a:gd name="connsiteY1075" fmla="*/ 3832126 h 4565177"/>
              <a:gd name="connsiteX1076" fmla="*/ 7454050 w 12243467"/>
              <a:gd name="connsiteY1076" fmla="*/ 3835666 h 4565177"/>
              <a:gd name="connsiteX1077" fmla="*/ 7456263 w 12243467"/>
              <a:gd name="connsiteY1077" fmla="*/ 3837386 h 4565177"/>
              <a:gd name="connsiteX1078" fmla="*/ 8155774 w 12243467"/>
              <a:gd name="connsiteY1078" fmla="*/ 3826757 h 4565177"/>
              <a:gd name="connsiteX1079" fmla="*/ 8130451 w 12243467"/>
              <a:gd name="connsiteY1079" fmla="*/ 3829068 h 4565177"/>
              <a:gd name="connsiteX1080" fmla="*/ 8093574 w 12243467"/>
              <a:gd name="connsiteY1080" fmla="*/ 3832760 h 4565177"/>
              <a:gd name="connsiteX1081" fmla="*/ 8075211 w 12243467"/>
              <a:gd name="connsiteY1081" fmla="*/ 3838599 h 4565177"/>
              <a:gd name="connsiteX1082" fmla="*/ 8065867 w 12243467"/>
              <a:gd name="connsiteY1082" fmla="*/ 3849220 h 4565177"/>
              <a:gd name="connsiteX1083" fmla="*/ 8056750 w 12243467"/>
              <a:gd name="connsiteY1083" fmla="*/ 3843368 h 4565177"/>
              <a:gd name="connsiteX1084" fmla="*/ 8053152 w 12243467"/>
              <a:gd name="connsiteY1084" fmla="*/ 3842796 h 4565177"/>
              <a:gd name="connsiteX1085" fmla="*/ 8055115 w 12243467"/>
              <a:gd name="connsiteY1085" fmla="*/ 3848120 h 4565177"/>
              <a:gd name="connsiteX1086" fmla="*/ 8063101 w 12243467"/>
              <a:gd name="connsiteY1086" fmla="*/ 3854582 h 4565177"/>
              <a:gd name="connsiteX1087" fmla="*/ 8061763 w 12243467"/>
              <a:gd name="connsiteY1087" fmla="*/ 3855334 h 4565177"/>
              <a:gd name="connsiteX1088" fmla="*/ 8072506 w 12243467"/>
              <a:gd name="connsiteY1088" fmla="*/ 3853977 h 4565177"/>
              <a:gd name="connsiteX1089" fmla="*/ 8144799 w 12243467"/>
              <a:gd name="connsiteY1089" fmla="*/ 3837160 h 4565177"/>
              <a:gd name="connsiteX1090" fmla="*/ 8148884 w 12243467"/>
              <a:gd name="connsiteY1090" fmla="*/ 3836556 h 4565177"/>
              <a:gd name="connsiteX1091" fmla="*/ 9388625 w 12243467"/>
              <a:gd name="connsiteY1091" fmla="*/ 3825932 h 4565177"/>
              <a:gd name="connsiteX1092" fmla="*/ 9393603 w 12243467"/>
              <a:gd name="connsiteY1092" fmla="*/ 3832102 h 4565177"/>
              <a:gd name="connsiteX1093" fmla="*/ 9386412 w 12243467"/>
              <a:gd name="connsiteY1093" fmla="*/ 3838576 h 4565177"/>
              <a:gd name="connsiteX1094" fmla="*/ 9375902 w 12243467"/>
              <a:gd name="connsiteY1094" fmla="*/ 3831192 h 4565177"/>
              <a:gd name="connsiteX1095" fmla="*/ 9388625 w 12243467"/>
              <a:gd name="connsiteY1095" fmla="*/ 3825932 h 4565177"/>
              <a:gd name="connsiteX1096" fmla="*/ 4492878 w 12243467"/>
              <a:gd name="connsiteY1096" fmla="*/ 3815537 h 4565177"/>
              <a:gd name="connsiteX1097" fmla="*/ 4498410 w 12243467"/>
              <a:gd name="connsiteY1097" fmla="*/ 3818672 h 4565177"/>
              <a:gd name="connsiteX1098" fmla="*/ 4498963 w 12243467"/>
              <a:gd name="connsiteY1098" fmla="*/ 3821505 h 4565177"/>
              <a:gd name="connsiteX1099" fmla="*/ 4489282 w 12243467"/>
              <a:gd name="connsiteY1099" fmla="*/ 3824742 h 4565177"/>
              <a:gd name="connsiteX1100" fmla="*/ 4492878 w 12243467"/>
              <a:gd name="connsiteY1100" fmla="*/ 3815537 h 4565177"/>
              <a:gd name="connsiteX1101" fmla="*/ 5049246 w 12243467"/>
              <a:gd name="connsiteY1101" fmla="*/ 3811873 h 4565177"/>
              <a:gd name="connsiteX1102" fmla="*/ 5032471 w 12243467"/>
              <a:gd name="connsiteY1102" fmla="*/ 3812490 h 4565177"/>
              <a:gd name="connsiteX1103" fmla="*/ 5005288 w 12243467"/>
              <a:gd name="connsiteY1103" fmla="*/ 3814198 h 4565177"/>
              <a:gd name="connsiteX1104" fmla="*/ 5003001 w 12243467"/>
              <a:gd name="connsiteY1104" fmla="*/ 3815087 h 4565177"/>
              <a:gd name="connsiteX1105" fmla="*/ 5042531 w 12243467"/>
              <a:gd name="connsiteY1105" fmla="*/ 3819115 h 4565177"/>
              <a:gd name="connsiteX1106" fmla="*/ 5047368 w 12243467"/>
              <a:gd name="connsiteY1106" fmla="*/ 3818733 h 4565177"/>
              <a:gd name="connsiteX1107" fmla="*/ 5049577 w 12243467"/>
              <a:gd name="connsiteY1107" fmla="*/ 3817235 h 4565177"/>
              <a:gd name="connsiteX1108" fmla="*/ 7788828 w 12243467"/>
              <a:gd name="connsiteY1108" fmla="*/ 3811568 h 4565177"/>
              <a:gd name="connsiteX1109" fmla="*/ 7783564 w 12243467"/>
              <a:gd name="connsiteY1109" fmla="*/ 3815120 h 4565177"/>
              <a:gd name="connsiteX1110" fmla="*/ 7783040 w 12243467"/>
              <a:gd name="connsiteY1110" fmla="*/ 3814878 h 4565177"/>
              <a:gd name="connsiteX1111" fmla="*/ 7781117 w 12243467"/>
              <a:gd name="connsiteY1111" fmla="*/ 3817041 h 4565177"/>
              <a:gd name="connsiteX1112" fmla="*/ 7763278 w 12243467"/>
              <a:gd name="connsiteY1112" fmla="*/ 3838599 h 4565177"/>
              <a:gd name="connsiteX1113" fmla="*/ 7793784 w 12243467"/>
              <a:gd name="connsiteY1113" fmla="*/ 3815389 h 4565177"/>
              <a:gd name="connsiteX1114" fmla="*/ 8114375 w 12243467"/>
              <a:gd name="connsiteY1114" fmla="*/ 3808837 h 4565177"/>
              <a:gd name="connsiteX1115" fmla="*/ 8108393 w 12243467"/>
              <a:gd name="connsiteY1115" fmla="*/ 3811556 h 4565177"/>
              <a:gd name="connsiteX1116" fmla="*/ 8105264 w 12243467"/>
              <a:gd name="connsiteY1116" fmla="*/ 3812326 h 4565177"/>
              <a:gd name="connsiteX1117" fmla="*/ 8103760 w 12243467"/>
              <a:gd name="connsiteY1117" fmla="*/ 3819785 h 4565177"/>
              <a:gd name="connsiteX1118" fmla="*/ 8100193 w 12243467"/>
              <a:gd name="connsiteY1118" fmla="*/ 3821048 h 4565177"/>
              <a:gd name="connsiteX1119" fmla="*/ 8104612 w 12243467"/>
              <a:gd name="connsiteY1119" fmla="*/ 3824862 h 4565177"/>
              <a:gd name="connsiteX1120" fmla="*/ 8126821 w 12243467"/>
              <a:gd name="connsiteY1120" fmla="*/ 3819357 h 4565177"/>
              <a:gd name="connsiteX1121" fmla="*/ 8114375 w 12243467"/>
              <a:gd name="connsiteY1121" fmla="*/ 3808837 h 4565177"/>
              <a:gd name="connsiteX1122" fmla="*/ 9362349 w 12243467"/>
              <a:gd name="connsiteY1122" fmla="*/ 3808129 h 4565177"/>
              <a:gd name="connsiteX1123" fmla="*/ 9343817 w 12243467"/>
              <a:gd name="connsiteY1123" fmla="*/ 3824212 h 4565177"/>
              <a:gd name="connsiteX1124" fmla="*/ 9351008 w 12243467"/>
              <a:gd name="connsiteY1124" fmla="*/ 3829776 h 4565177"/>
              <a:gd name="connsiteX1125" fmla="*/ 9334413 w 12243467"/>
              <a:gd name="connsiteY1125" fmla="*/ 3838273 h 4565177"/>
              <a:gd name="connsiteX1126" fmla="*/ 9313945 w 12243467"/>
              <a:gd name="connsiteY1126" fmla="*/ 3842825 h 4565177"/>
              <a:gd name="connsiteX1127" fmla="*/ 9282691 w 12243467"/>
              <a:gd name="connsiteY1127" fmla="*/ 3852029 h 4565177"/>
              <a:gd name="connsiteX1128" fmla="*/ 9271904 w 12243467"/>
              <a:gd name="connsiteY1128" fmla="*/ 3849703 h 4565177"/>
              <a:gd name="connsiteX1129" fmla="*/ 9362349 w 12243467"/>
              <a:gd name="connsiteY1129" fmla="*/ 3808129 h 4565177"/>
              <a:gd name="connsiteX1130" fmla="*/ 4946616 w 12243467"/>
              <a:gd name="connsiteY1130" fmla="*/ 3801733 h 4565177"/>
              <a:gd name="connsiteX1131" fmla="*/ 4945741 w 12243467"/>
              <a:gd name="connsiteY1131" fmla="*/ 3803612 h 4565177"/>
              <a:gd name="connsiteX1132" fmla="*/ 4949528 w 12243467"/>
              <a:gd name="connsiteY1132" fmla="*/ 3804005 h 4565177"/>
              <a:gd name="connsiteX1133" fmla="*/ 4950130 w 12243467"/>
              <a:gd name="connsiteY1133" fmla="*/ 3803792 h 4565177"/>
              <a:gd name="connsiteX1134" fmla="*/ 4368136 w 12243467"/>
              <a:gd name="connsiteY1134" fmla="*/ 3801173 h 4565177"/>
              <a:gd name="connsiteX1135" fmla="*/ 4380029 w 12243467"/>
              <a:gd name="connsiteY1135" fmla="*/ 3803196 h 4565177"/>
              <a:gd name="connsiteX1136" fmla="*/ 4372561 w 12243467"/>
              <a:gd name="connsiteY1136" fmla="*/ 3804410 h 4565177"/>
              <a:gd name="connsiteX1137" fmla="*/ 4371455 w 12243467"/>
              <a:gd name="connsiteY1137" fmla="*/ 3811693 h 4565177"/>
              <a:gd name="connsiteX1138" fmla="*/ 4368965 w 12243467"/>
              <a:gd name="connsiteY1138" fmla="*/ 3804916 h 4565177"/>
              <a:gd name="connsiteX1139" fmla="*/ 4359563 w 12243467"/>
              <a:gd name="connsiteY1139" fmla="*/ 3804916 h 4565177"/>
              <a:gd name="connsiteX1140" fmla="*/ 4368136 w 12243467"/>
              <a:gd name="connsiteY1140" fmla="*/ 3801173 h 4565177"/>
              <a:gd name="connsiteX1141" fmla="*/ 5040449 w 12243467"/>
              <a:gd name="connsiteY1141" fmla="*/ 3800545 h 4565177"/>
              <a:gd name="connsiteX1142" fmla="*/ 5030357 w 12243467"/>
              <a:gd name="connsiteY1142" fmla="*/ 3804464 h 4565177"/>
              <a:gd name="connsiteX1143" fmla="*/ 5038085 w 12243467"/>
              <a:gd name="connsiteY1143" fmla="*/ 3804764 h 4565177"/>
              <a:gd name="connsiteX1144" fmla="*/ 5048884 w 12243467"/>
              <a:gd name="connsiteY1144" fmla="*/ 3807090 h 4565177"/>
              <a:gd name="connsiteX1145" fmla="*/ 3912515 w 12243467"/>
              <a:gd name="connsiteY1145" fmla="*/ 3797813 h 4565177"/>
              <a:gd name="connsiteX1146" fmla="*/ 3912239 w 12243467"/>
              <a:gd name="connsiteY1146" fmla="*/ 3803579 h 4565177"/>
              <a:gd name="connsiteX1147" fmla="*/ 3910026 w 12243467"/>
              <a:gd name="connsiteY1147" fmla="*/ 3809143 h 4565177"/>
              <a:gd name="connsiteX1148" fmla="*/ 3900069 w 12243467"/>
              <a:gd name="connsiteY1148" fmla="*/ 3801152 h 4565177"/>
              <a:gd name="connsiteX1149" fmla="*/ 3912515 w 12243467"/>
              <a:gd name="connsiteY1149" fmla="*/ 3797813 h 4565177"/>
              <a:gd name="connsiteX1150" fmla="*/ 5013621 w 12243467"/>
              <a:gd name="connsiteY1150" fmla="*/ 3790227 h 4565177"/>
              <a:gd name="connsiteX1151" fmla="*/ 5000897 w 12243467"/>
              <a:gd name="connsiteY1151" fmla="*/ 3802365 h 4565177"/>
              <a:gd name="connsiteX1152" fmla="*/ 5013621 w 12243467"/>
              <a:gd name="connsiteY1152" fmla="*/ 3790227 h 4565177"/>
              <a:gd name="connsiteX1153" fmla="*/ 5402583 w 12243467"/>
              <a:gd name="connsiteY1153" fmla="*/ 3787720 h 4565177"/>
              <a:gd name="connsiteX1154" fmla="*/ 5327355 w 12243467"/>
              <a:gd name="connsiteY1154" fmla="*/ 3797468 h 4565177"/>
              <a:gd name="connsiteX1155" fmla="*/ 5325337 w 12243467"/>
              <a:gd name="connsiteY1155" fmla="*/ 3798623 h 4565177"/>
              <a:gd name="connsiteX1156" fmla="*/ 5316630 w 12243467"/>
              <a:gd name="connsiteY1156" fmla="*/ 3805216 h 4565177"/>
              <a:gd name="connsiteX1157" fmla="*/ 5337308 w 12243467"/>
              <a:gd name="connsiteY1157" fmla="*/ 3801881 h 4565177"/>
              <a:gd name="connsiteX1158" fmla="*/ 5430794 w 12243467"/>
              <a:gd name="connsiteY1158" fmla="*/ 3792373 h 4565177"/>
              <a:gd name="connsiteX1159" fmla="*/ 5402583 w 12243467"/>
              <a:gd name="connsiteY1159" fmla="*/ 3787720 h 4565177"/>
              <a:gd name="connsiteX1160" fmla="*/ 3937962 w 12243467"/>
              <a:gd name="connsiteY1160" fmla="*/ 3787395 h 4565177"/>
              <a:gd name="connsiteX1161" fmla="*/ 3950408 w 12243467"/>
              <a:gd name="connsiteY1161" fmla="*/ 3790834 h 4565177"/>
              <a:gd name="connsiteX1162" fmla="*/ 3931323 w 12243467"/>
              <a:gd name="connsiteY1162" fmla="*/ 3799837 h 4565177"/>
              <a:gd name="connsiteX1163" fmla="*/ 3925515 w 12243467"/>
              <a:gd name="connsiteY1163" fmla="*/ 3792452 h 4565177"/>
              <a:gd name="connsiteX1164" fmla="*/ 3937962 w 12243467"/>
              <a:gd name="connsiteY1164" fmla="*/ 3787395 h 4565177"/>
              <a:gd name="connsiteX1165" fmla="*/ 9469113 w 12243467"/>
              <a:gd name="connsiteY1165" fmla="*/ 3787292 h 4565177"/>
              <a:gd name="connsiteX1166" fmla="*/ 9479346 w 12243467"/>
              <a:gd name="connsiteY1166" fmla="*/ 3789720 h 4565177"/>
              <a:gd name="connsiteX1167" fmla="*/ 9427624 w 12243467"/>
              <a:gd name="connsiteY1167" fmla="*/ 3810557 h 4565177"/>
              <a:gd name="connsiteX1168" fmla="*/ 9433986 w 12243467"/>
              <a:gd name="connsiteY1168" fmla="*/ 3813996 h 4565177"/>
              <a:gd name="connsiteX1169" fmla="*/ 9419326 w 12243467"/>
              <a:gd name="connsiteY1169" fmla="*/ 3814704 h 4565177"/>
              <a:gd name="connsiteX1170" fmla="*/ 9459985 w 12243467"/>
              <a:gd name="connsiteY1170" fmla="*/ 3787393 h 4565177"/>
              <a:gd name="connsiteX1171" fmla="*/ 9469113 w 12243467"/>
              <a:gd name="connsiteY1171" fmla="*/ 3787292 h 4565177"/>
              <a:gd name="connsiteX1172" fmla="*/ 7380201 w 12243467"/>
              <a:gd name="connsiteY1172" fmla="*/ 3786911 h 4565177"/>
              <a:gd name="connsiteX1173" fmla="*/ 7378818 w 12243467"/>
              <a:gd name="connsiteY1173" fmla="*/ 3788731 h 4565177"/>
              <a:gd name="connsiteX1174" fmla="*/ 7354201 w 12243467"/>
              <a:gd name="connsiteY1174" fmla="*/ 3807546 h 4565177"/>
              <a:gd name="connsiteX1175" fmla="*/ 7343414 w 12243467"/>
              <a:gd name="connsiteY1175" fmla="*/ 3820493 h 4565177"/>
              <a:gd name="connsiteX1176" fmla="*/ 7341478 w 12243467"/>
              <a:gd name="connsiteY1176" fmla="*/ 3824640 h 4565177"/>
              <a:gd name="connsiteX1177" fmla="*/ 7338989 w 12243467"/>
              <a:gd name="connsiteY1177" fmla="*/ 3825854 h 4565177"/>
              <a:gd name="connsiteX1178" fmla="*/ 7334010 w 12243467"/>
              <a:gd name="connsiteY1178" fmla="*/ 3831822 h 4565177"/>
              <a:gd name="connsiteX1179" fmla="*/ 7315202 w 12243467"/>
              <a:gd name="connsiteY1179" fmla="*/ 3857920 h 4565177"/>
              <a:gd name="connsiteX1180" fmla="*/ 7270947 w 12243467"/>
              <a:gd name="connsiteY1180" fmla="*/ 3898482 h 4565177"/>
              <a:gd name="connsiteX1181" fmla="*/ 7240799 w 12243467"/>
              <a:gd name="connsiteY1181" fmla="*/ 3929333 h 4565177"/>
              <a:gd name="connsiteX1182" fmla="*/ 7208438 w 12243467"/>
              <a:gd name="connsiteY1182" fmla="*/ 3957555 h 4565177"/>
              <a:gd name="connsiteX1183" fmla="*/ 7141227 w 12243467"/>
              <a:gd name="connsiteY1183" fmla="*/ 4002669 h 4565177"/>
              <a:gd name="connsiteX1184" fmla="*/ 7122142 w 12243467"/>
              <a:gd name="connsiteY1184" fmla="*/ 4016729 h 4565177"/>
              <a:gd name="connsiteX1185" fmla="*/ 7124355 w 12243467"/>
              <a:gd name="connsiteY1185" fmla="*/ 4015920 h 4565177"/>
              <a:gd name="connsiteX1186" fmla="*/ 7153950 w 12243467"/>
              <a:gd name="connsiteY1186" fmla="*/ 4010660 h 4565177"/>
              <a:gd name="connsiteX1187" fmla="*/ 7165014 w 12243467"/>
              <a:gd name="connsiteY1187" fmla="*/ 4001151 h 4565177"/>
              <a:gd name="connsiteX1188" fmla="*/ 7205119 w 12243467"/>
              <a:gd name="connsiteY1188" fmla="*/ 3990126 h 4565177"/>
              <a:gd name="connsiteX1189" fmla="*/ 7230842 w 12243467"/>
              <a:gd name="connsiteY1189" fmla="*/ 3977785 h 4565177"/>
              <a:gd name="connsiteX1190" fmla="*/ 7247161 w 12243467"/>
              <a:gd name="connsiteY1190" fmla="*/ 3964433 h 4565177"/>
              <a:gd name="connsiteX1191" fmla="*/ 7309670 w 12243467"/>
              <a:gd name="connsiteY1191" fmla="*/ 3909608 h 4565177"/>
              <a:gd name="connsiteX1192" fmla="*/ 7333180 w 12243467"/>
              <a:gd name="connsiteY1192" fmla="*/ 3900808 h 4565177"/>
              <a:gd name="connsiteX1193" fmla="*/ 7325159 w 12243467"/>
              <a:gd name="connsiteY1193" fmla="*/ 3893121 h 4565177"/>
              <a:gd name="connsiteX1194" fmla="*/ 7361392 w 12243467"/>
              <a:gd name="connsiteY1194" fmla="*/ 3867529 h 4565177"/>
              <a:gd name="connsiteX1195" fmla="*/ 7362222 w 12243467"/>
              <a:gd name="connsiteY1195" fmla="*/ 3851648 h 4565177"/>
              <a:gd name="connsiteX1196" fmla="*/ 7369690 w 12243467"/>
              <a:gd name="connsiteY1196" fmla="*/ 3850232 h 4565177"/>
              <a:gd name="connsiteX1197" fmla="*/ 7398732 w 12243467"/>
              <a:gd name="connsiteY1197" fmla="*/ 3814424 h 4565177"/>
              <a:gd name="connsiteX1198" fmla="*/ 7388222 w 12243467"/>
              <a:gd name="connsiteY1198" fmla="*/ 3820392 h 4565177"/>
              <a:gd name="connsiteX1199" fmla="*/ 7381030 w 12243467"/>
              <a:gd name="connsiteY1199" fmla="*/ 3814930 h 4565177"/>
              <a:gd name="connsiteX1200" fmla="*/ 7400115 w 12243467"/>
              <a:gd name="connsiteY1200" fmla="*/ 3794295 h 4565177"/>
              <a:gd name="connsiteX1201" fmla="*/ 7397626 w 12243467"/>
              <a:gd name="connsiteY1201" fmla="*/ 3787821 h 4565177"/>
              <a:gd name="connsiteX1202" fmla="*/ 7386562 w 12243467"/>
              <a:gd name="connsiteY1202" fmla="*/ 3789439 h 4565177"/>
              <a:gd name="connsiteX1203" fmla="*/ 9435645 w 12243467"/>
              <a:gd name="connsiteY1203" fmla="*/ 3775760 h 4565177"/>
              <a:gd name="connsiteX1204" fmla="*/ 9378944 w 12243467"/>
              <a:gd name="connsiteY1204" fmla="*/ 3807017 h 4565177"/>
              <a:gd name="connsiteX1205" fmla="*/ 9435645 w 12243467"/>
              <a:gd name="connsiteY1205" fmla="*/ 3775760 h 4565177"/>
              <a:gd name="connsiteX1206" fmla="*/ 5363780 w 12243467"/>
              <a:gd name="connsiteY1206" fmla="*/ 3774817 h 4565177"/>
              <a:gd name="connsiteX1207" fmla="*/ 5352967 w 12243467"/>
              <a:gd name="connsiteY1207" fmla="*/ 3782364 h 4565177"/>
              <a:gd name="connsiteX1208" fmla="*/ 5357498 w 12243467"/>
              <a:gd name="connsiteY1208" fmla="*/ 3782156 h 4565177"/>
              <a:gd name="connsiteX1209" fmla="*/ 5364689 w 12243467"/>
              <a:gd name="connsiteY1209" fmla="*/ 3774975 h 4565177"/>
              <a:gd name="connsiteX1210" fmla="*/ 3613521 w 12243467"/>
              <a:gd name="connsiteY1210" fmla="*/ 3773840 h 4565177"/>
              <a:gd name="connsiteX1211" fmla="*/ 3615734 w 12243467"/>
              <a:gd name="connsiteY1211" fmla="*/ 3774852 h 4565177"/>
              <a:gd name="connsiteX1212" fmla="*/ 3623202 w 12243467"/>
              <a:gd name="connsiteY1212" fmla="*/ 3777381 h 4565177"/>
              <a:gd name="connsiteX1213" fmla="*/ 3617117 w 12243467"/>
              <a:gd name="connsiteY1213" fmla="*/ 3783349 h 4565177"/>
              <a:gd name="connsiteX1214" fmla="*/ 3611309 w 12243467"/>
              <a:gd name="connsiteY1214" fmla="*/ 3776066 h 4565177"/>
              <a:gd name="connsiteX1215" fmla="*/ 3613521 w 12243467"/>
              <a:gd name="connsiteY1215" fmla="*/ 3773840 h 4565177"/>
              <a:gd name="connsiteX1216" fmla="*/ 8540580 w 12243467"/>
              <a:gd name="connsiteY1216" fmla="*/ 3772444 h 4565177"/>
              <a:gd name="connsiteX1217" fmla="*/ 8538110 w 12243467"/>
              <a:gd name="connsiteY1217" fmla="*/ 3773636 h 4565177"/>
              <a:gd name="connsiteX1218" fmla="*/ 8540196 w 12243467"/>
              <a:gd name="connsiteY1218" fmla="*/ 3774112 h 4565177"/>
              <a:gd name="connsiteX1219" fmla="*/ 5250458 w 12243467"/>
              <a:gd name="connsiteY1219" fmla="*/ 3769917 h 4565177"/>
              <a:gd name="connsiteX1220" fmla="*/ 5254331 w 12243467"/>
              <a:gd name="connsiteY1220" fmla="*/ 3780639 h 4565177"/>
              <a:gd name="connsiteX1221" fmla="*/ 5239671 w 12243467"/>
              <a:gd name="connsiteY1221" fmla="*/ 3789237 h 4565177"/>
              <a:gd name="connsiteX1222" fmla="*/ 5202054 w 12243467"/>
              <a:gd name="connsiteY1222" fmla="*/ 3785090 h 4565177"/>
              <a:gd name="connsiteX1223" fmla="*/ 5211182 w 12243467"/>
              <a:gd name="connsiteY1223" fmla="*/ 3776087 h 4565177"/>
              <a:gd name="connsiteX1224" fmla="*/ 5168240 w 12243467"/>
              <a:gd name="connsiteY1224" fmla="*/ 3771528 h 4565177"/>
              <a:gd name="connsiteX1225" fmla="*/ 5148596 w 12243467"/>
              <a:gd name="connsiteY1225" fmla="*/ 3797712 h 4565177"/>
              <a:gd name="connsiteX1226" fmla="*/ 5113633 w 12243467"/>
              <a:gd name="connsiteY1226" fmla="*/ 3807583 h 4565177"/>
              <a:gd name="connsiteX1227" fmla="*/ 5098398 w 12243467"/>
              <a:gd name="connsiteY1227" fmla="*/ 3816044 h 4565177"/>
              <a:gd name="connsiteX1228" fmla="*/ 5140894 w 12243467"/>
              <a:gd name="connsiteY1228" fmla="*/ 3819773 h 4565177"/>
              <a:gd name="connsiteX1229" fmla="*/ 5189608 w 12243467"/>
              <a:gd name="connsiteY1229" fmla="*/ 3814728 h 4565177"/>
              <a:gd name="connsiteX1230" fmla="*/ 5216921 w 12243467"/>
              <a:gd name="connsiteY1230" fmla="*/ 3818445 h 4565177"/>
              <a:gd name="connsiteX1231" fmla="*/ 5237090 w 12243467"/>
              <a:gd name="connsiteY1231" fmla="*/ 3813154 h 4565177"/>
              <a:gd name="connsiteX1232" fmla="*/ 5237389 w 12243467"/>
              <a:gd name="connsiteY1232" fmla="*/ 3804557 h 4565177"/>
              <a:gd name="connsiteX1233" fmla="*/ 5146184 w 12243467"/>
              <a:gd name="connsiteY1233" fmla="*/ 3804511 h 4565177"/>
              <a:gd name="connsiteX1234" fmla="*/ 5263928 w 12243467"/>
              <a:gd name="connsiteY1234" fmla="*/ 3793087 h 4565177"/>
              <a:gd name="connsiteX1235" fmla="*/ 5266908 w 12243467"/>
              <a:gd name="connsiteY1235" fmla="*/ 3791555 h 4565177"/>
              <a:gd name="connsiteX1236" fmla="*/ 5272232 w 12243467"/>
              <a:gd name="connsiteY1236" fmla="*/ 3777482 h 4565177"/>
              <a:gd name="connsiteX1237" fmla="*/ 5275066 w 12243467"/>
              <a:gd name="connsiteY1237" fmla="*/ 3776930 h 4565177"/>
              <a:gd name="connsiteX1238" fmla="*/ 3027151 w 12243467"/>
              <a:gd name="connsiteY1238" fmla="*/ 3765445 h 4565177"/>
              <a:gd name="connsiteX1239" fmla="*/ 3031023 w 12243467"/>
              <a:gd name="connsiteY1239" fmla="*/ 3767872 h 4565177"/>
              <a:gd name="connsiteX1240" fmla="*/ 3017470 w 12243467"/>
              <a:gd name="connsiteY1240" fmla="*/ 3767265 h 4565177"/>
              <a:gd name="connsiteX1241" fmla="*/ 3027151 w 12243467"/>
              <a:gd name="connsiteY1241" fmla="*/ 3765445 h 4565177"/>
              <a:gd name="connsiteX1242" fmla="*/ 4906303 w 12243467"/>
              <a:gd name="connsiteY1242" fmla="*/ 3764635 h 4565177"/>
              <a:gd name="connsiteX1243" fmla="*/ 4912112 w 12243467"/>
              <a:gd name="connsiteY1243" fmla="*/ 3772627 h 4565177"/>
              <a:gd name="connsiteX1244" fmla="*/ 4891921 w 12243467"/>
              <a:gd name="connsiteY1244" fmla="*/ 3777178 h 4565177"/>
              <a:gd name="connsiteX1245" fmla="*/ 4906303 w 12243467"/>
              <a:gd name="connsiteY1245" fmla="*/ 3764635 h 4565177"/>
              <a:gd name="connsiteX1246" fmla="*/ 4787923 w 12243467"/>
              <a:gd name="connsiteY1246" fmla="*/ 3753003 h 4565177"/>
              <a:gd name="connsiteX1247" fmla="*/ 4760540 w 12243467"/>
              <a:gd name="connsiteY1247" fmla="*/ 3766254 h 4565177"/>
              <a:gd name="connsiteX1248" fmla="*/ 4787923 w 12243467"/>
              <a:gd name="connsiteY1248" fmla="*/ 3753003 h 4565177"/>
              <a:gd name="connsiteX1249" fmla="*/ 8213505 w 12243467"/>
              <a:gd name="connsiteY1249" fmla="*/ 3742520 h 4565177"/>
              <a:gd name="connsiteX1250" fmla="*/ 8182969 w 12243467"/>
              <a:gd name="connsiteY1250" fmla="*/ 3744163 h 4565177"/>
              <a:gd name="connsiteX1251" fmla="*/ 8158352 w 12243467"/>
              <a:gd name="connsiteY1251" fmla="*/ 3756845 h 4565177"/>
              <a:gd name="connsiteX1252" fmla="*/ 8150734 w 12243467"/>
              <a:gd name="connsiteY1252" fmla="*/ 3755227 h 4565177"/>
              <a:gd name="connsiteX1253" fmla="*/ 8142527 w 12243467"/>
              <a:gd name="connsiteY1253" fmla="*/ 3765432 h 4565177"/>
              <a:gd name="connsiteX1254" fmla="*/ 8213300 w 12243467"/>
              <a:gd name="connsiteY1254" fmla="*/ 3742777 h 4565177"/>
              <a:gd name="connsiteX1255" fmla="*/ 4424207 w 12243467"/>
              <a:gd name="connsiteY1255" fmla="*/ 3741168 h 4565177"/>
              <a:gd name="connsiteX1256" fmla="*/ 4429185 w 12243467"/>
              <a:gd name="connsiteY1256" fmla="*/ 3742180 h 4565177"/>
              <a:gd name="connsiteX1257" fmla="*/ 4416462 w 12243467"/>
              <a:gd name="connsiteY1257" fmla="*/ 3745821 h 4565177"/>
              <a:gd name="connsiteX1258" fmla="*/ 4424207 w 12243467"/>
              <a:gd name="connsiteY1258" fmla="*/ 3741168 h 4565177"/>
              <a:gd name="connsiteX1259" fmla="*/ 4441155 w 12243467"/>
              <a:gd name="connsiteY1259" fmla="*/ 3740381 h 4565177"/>
              <a:gd name="connsiteX1260" fmla="*/ 4449730 w 12243467"/>
              <a:gd name="connsiteY1260" fmla="*/ 3745944 h 4565177"/>
              <a:gd name="connsiteX1261" fmla="*/ 4445858 w 12243467"/>
              <a:gd name="connsiteY1261" fmla="*/ 3752620 h 4565177"/>
              <a:gd name="connsiteX1262" fmla="*/ 4434517 w 12243467"/>
              <a:gd name="connsiteY1262" fmla="*/ 3752013 h 4565177"/>
              <a:gd name="connsiteX1263" fmla="*/ 4436453 w 12243467"/>
              <a:gd name="connsiteY1263" fmla="*/ 3741392 h 4565177"/>
              <a:gd name="connsiteX1264" fmla="*/ 4441155 w 12243467"/>
              <a:gd name="connsiteY1264" fmla="*/ 3740381 h 4565177"/>
              <a:gd name="connsiteX1265" fmla="*/ 6459085 w 12243467"/>
              <a:gd name="connsiteY1265" fmla="*/ 3739258 h 4565177"/>
              <a:gd name="connsiteX1266" fmla="*/ 6444220 w 12243467"/>
              <a:gd name="connsiteY1266" fmla="*/ 3745742 h 4565177"/>
              <a:gd name="connsiteX1267" fmla="*/ 6357647 w 12243467"/>
              <a:gd name="connsiteY1267" fmla="*/ 3793081 h 4565177"/>
              <a:gd name="connsiteX1268" fmla="*/ 6349073 w 12243467"/>
              <a:gd name="connsiteY1268" fmla="*/ 3787619 h 4565177"/>
              <a:gd name="connsiteX1269" fmla="*/ 6325563 w 12243467"/>
              <a:gd name="connsiteY1269" fmla="*/ 3800667 h 4565177"/>
              <a:gd name="connsiteX1270" fmla="*/ 6323074 w 12243467"/>
              <a:gd name="connsiteY1270" fmla="*/ 3801578 h 4565177"/>
              <a:gd name="connsiteX1271" fmla="*/ 6322520 w 12243467"/>
              <a:gd name="connsiteY1271" fmla="*/ 3802792 h 4565177"/>
              <a:gd name="connsiteX1272" fmla="*/ 6312840 w 12243467"/>
              <a:gd name="connsiteY1272" fmla="*/ 3805927 h 4565177"/>
              <a:gd name="connsiteX1273" fmla="*/ 6305648 w 12243467"/>
              <a:gd name="connsiteY1273" fmla="*/ 3812300 h 4565177"/>
              <a:gd name="connsiteX1274" fmla="*/ 6298734 w 12243467"/>
              <a:gd name="connsiteY1274" fmla="*/ 3811592 h 4565177"/>
              <a:gd name="connsiteX1275" fmla="*/ 6272458 w 12243467"/>
              <a:gd name="connsiteY1275" fmla="*/ 3819684 h 4565177"/>
              <a:gd name="connsiteX1276" fmla="*/ 6264713 w 12243467"/>
              <a:gd name="connsiteY1276" fmla="*/ 3824438 h 4565177"/>
              <a:gd name="connsiteX1277" fmla="*/ 6238990 w 12243467"/>
              <a:gd name="connsiteY1277" fmla="*/ 3831923 h 4565177"/>
              <a:gd name="connsiteX1278" fmla="*/ 6161268 w 12243467"/>
              <a:gd name="connsiteY1278" fmla="*/ 3867226 h 4565177"/>
              <a:gd name="connsiteX1279" fmla="*/ 6103738 w 12243467"/>
              <a:gd name="connsiteY1279" fmla="*/ 3891300 h 4565177"/>
              <a:gd name="connsiteX1280" fmla="*/ 6073589 w 12243467"/>
              <a:gd name="connsiteY1280" fmla="*/ 3891401 h 4565177"/>
              <a:gd name="connsiteX1281" fmla="*/ 6069994 w 12243467"/>
              <a:gd name="connsiteY1281" fmla="*/ 3897875 h 4565177"/>
              <a:gd name="connsiteX1282" fmla="*/ 6073313 w 12243467"/>
              <a:gd name="connsiteY1282" fmla="*/ 3903236 h 4565177"/>
              <a:gd name="connsiteX1283" fmla="*/ 6071100 w 12243467"/>
              <a:gd name="connsiteY1283" fmla="*/ 3905765 h 4565177"/>
              <a:gd name="connsiteX1284" fmla="*/ 6074696 w 12243467"/>
              <a:gd name="connsiteY1284" fmla="*/ 3907484 h 4565177"/>
              <a:gd name="connsiteX1285" fmla="*/ 6093504 w 12243467"/>
              <a:gd name="connsiteY1285" fmla="*/ 3898178 h 4565177"/>
              <a:gd name="connsiteX1286" fmla="*/ 6092121 w 12243467"/>
              <a:gd name="connsiteY1286" fmla="*/ 3904854 h 4565177"/>
              <a:gd name="connsiteX1287" fmla="*/ 6135269 w 12243467"/>
              <a:gd name="connsiteY1287" fmla="*/ 3893626 h 4565177"/>
              <a:gd name="connsiteX1288" fmla="*/ 6178417 w 12243467"/>
              <a:gd name="connsiteY1288" fmla="*/ 3871171 h 4565177"/>
              <a:gd name="connsiteX1289" fmla="*/ 6179247 w 12243467"/>
              <a:gd name="connsiteY1289" fmla="*/ 3878049 h 4565177"/>
              <a:gd name="connsiteX1290" fmla="*/ 6186715 w 12243467"/>
              <a:gd name="connsiteY1290" fmla="*/ 3876532 h 4565177"/>
              <a:gd name="connsiteX1291" fmla="*/ 6188651 w 12243467"/>
              <a:gd name="connsiteY1291" fmla="*/ 3867731 h 4565177"/>
              <a:gd name="connsiteX1292" fmla="*/ 6197502 w 12243467"/>
              <a:gd name="connsiteY1292" fmla="*/ 3870968 h 4565177"/>
              <a:gd name="connsiteX1293" fmla="*/ 6335520 w 12243467"/>
              <a:gd name="connsiteY1293" fmla="*/ 3820190 h 4565177"/>
              <a:gd name="connsiteX1294" fmla="*/ 6368711 w 12243467"/>
              <a:gd name="connsiteY1294" fmla="*/ 3798847 h 4565177"/>
              <a:gd name="connsiteX1295" fmla="*/ 6439587 w 12243467"/>
              <a:gd name="connsiteY1295" fmla="*/ 3773685 h 4565177"/>
              <a:gd name="connsiteX1296" fmla="*/ 6487715 w 12243467"/>
              <a:gd name="connsiteY1296" fmla="*/ 3745069 h 4565177"/>
              <a:gd name="connsiteX1297" fmla="*/ 3391973 w 12243467"/>
              <a:gd name="connsiteY1297" fmla="*/ 3729030 h 4565177"/>
              <a:gd name="connsiteX1298" fmla="*/ 3394739 w 12243467"/>
              <a:gd name="connsiteY1298" fmla="*/ 3730851 h 4565177"/>
              <a:gd name="connsiteX1299" fmla="*/ 3396952 w 12243467"/>
              <a:gd name="connsiteY1299" fmla="*/ 3738842 h 4565177"/>
              <a:gd name="connsiteX1300" fmla="*/ 3388930 w 12243467"/>
              <a:gd name="connsiteY1300" fmla="*/ 3731154 h 4565177"/>
              <a:gd name="connsiteX1301" fmla="*/ 3391973 w 12243467"/>
              <a:gd name="connsiteY1301" fmla="*/ 3729030 h 4565177"/>
              <a:gd name="connsiteX1302" fmla="*/ 4711384 w 12243467"/>
              <a:gd name="connsiteY1302" fmla="*/ 3723589 h 4565177"/>
              <a:gd name="connsiteX1303" fmla="*/ 4717745 w 12243467"/>
              <a:gd name="connsiteY1303" fmla="*/ 3730265 h 4565177"/>
              <a:gd name="connsiteX1304" fmla="*/ 4708341 w 12243467"/>
              <a:gd name="connsiteY1304" fmla="*/ 3733300 h 4565177"/>
              <a:gd name="connsiteX1305" fmla="*/ 4707788 w 12243467"/>
              <a:gd name="connsiteY1305" fmla="*/ 3724803 h 4565177"/>
              <a:gd name="connsiteX1306" fmla="*/ 4711384 w 12243467"/>
              <a:gd name="connsiteY1306" fmla="*/ 3723589 h 4565177"/>
              <a:gd name="connsiteX1307" fmla="*/ 3133361 w 12243467"/>
              <a:gd name="connsiteY1307" fmla="*/ 3709305 h 4565177"/>
              <a:gd name="connsiteX1308" fmla="*/ 3134744 w 12243467"/>
              <a:gd name="connsiteY1308" fmla="*/ 3714059 h 4565177"/>
              <a:gd name="connsiteX1309" fmla="*/ 3120362 w 12243467"/>
              <a:gd name="connsiteY1309" fmla="*/ 3714767 h 4565177"/>
              <a:gd name="connsiteX1310" fmla="*/ 3133361 w 12243467"/>
              <a:gd name="connsiteY1310" fmla="*/ 3709305 h 4565177"/>
              <a:gd name="connsiteX1311" fmla="*/ 8190298 w 12243467"/>
              <a:gd name="connsiteY1311" fmla="*/ 3707308 h 4565177"/>
              <a:gd name="connsiteX1312" fmla="*/ 8191163 w 12243467"/>
              <a:gd name="connsiteY1312" fmla="*/ 3708922 h 4565177"/>
              <a:gd name="connsiteX1313" fmla="*/ 8175639 w 12243467"/>
              <a:gd name="connsiteY1313" fmla="*/ 3719391 h 4565177"/>
              <a:gd name="connsiteX1314" fmla="*/ 8172630 w 12243467"/>
              <a:gd name="connsiteY1314" fmla="*/ 3730377 h 4565177"/>
              <a:gd name="connsiteX1315" fmla="*/ 8178820 w 12243467"/>
              <a:gd name="connsiteY1315" fmla="*/ 3729471 h 4565177"/>
              <a:gd name="connsiteX1316" fmla="*/ 8198181 w 12243467"/>
              <a:gd name="connsiteY1316" fmla="*/ 3727106 h 4565177"/>
              <a:gd name="connsiteX1317" fmla="*/ 8197075 w 12243467"/>
              <a:gd name="connsiteY1317" fmla="*/ 3708696 h 4565177"/>
              <a:gd name="connsiteX1318" fmla="*/ 7468986 w 12243467"/>
              <a:gd name="connsiteY1318" fmla="*/ 3690512 h 4565177"/>
              <a:gd name="connsiteX1319" fmla="*/ 7462348 w 12243467"/>
              <a:gd name="connsiteY1319" fmla="*/ 3694457 h 4565177"/>
              <a:gd name="connsiteX1320" fmla="*/ 7452944 w 12243467"/>
              <a:gd name="connsiteY1320" fmla="*/ 3700223 h 4565177"/>
              <a:gd name="connsiteX1321" fmla="*/ 7449625 w 12243467"/>
              <a:gd name="connsiteY1321" fmla="*/ 3706596 h 4565177"/>
              <a:gd name="connsiteX1322" fmla="*/ 7464837 w 12243467"/>
              <a:gd name="connsiteY1322" fmla="*/ 3694356 h 4565177"/>
              <a:gd name="connsiteX1323" fmla="*/ 9687065 w 12243467"/>
              <a:gd name="connsiteY1323" fmla="*/ 3689680 h 4565177"/>
              <a:gd name="connsiteX1324" fmla="*/ 9678768 w 12243467"/>
              <a:gd name="connsiteY1324" fmla="*/ 3706066 h 4565177"/>
              <a:gd name="connsiteX1325" fmla="*/ 9687065 w 12243467"/>
              <a:gd name="connsiteY1325" fmla="*/ 3689680 h 4565177"/>
              <a:gd name="connsiteX1326" fmla="*/ 2958003 w 12243467"/>
              <a:gd name="connsiteY1326" fmla="*/ 3683410 h 4565177"/>
              <a:gd name="connsiteX1327" fmla="*/ 3092426 w 12243467"/>
              <a:gd name="connsiteY1327" fmla="*/ 3709406 h 4565177"/>
              <a:gd name="connsiteX1328" fmla="*/ 3025491 w 12243467"/>
              <a:gd name="connsiteY1328" fmla="*/ 3706574 h 4565177"/>
              <a:gd name="connsiteX1329" fmla="*/ 2950259 w 12243467"/>
              <a:gd name="connsiteY1329" fmla="*/ 3686950 h 4565177"/>
              <a:gd name="connsiteX1330" fmla="*/ 2958003 w 12243467"/>
              <a:gd name="connsiteY1330" fmla="*/ 3683410 h 4565177"/>
              <a:gd name="connsiteX1331" fmla="*/ 7481193 w 12243467"/>
              <a:gd name="connsiteY1331" fmla="*/ 3678930 h 4565177"/>
              <a:gd name="connsiteX1332" fmla="*/ 7478736 w 12243467"/>
              <a:gd name="connsiteY1332" fmla="*/ 3679437 h 4565177"/>
              <a:gd name="connsiteX1333" fmla="*/ 7474518 w 12243467"/>
              <a:gd name="connsiteY1333" fmla="*/ 3685252 h 4565177"/>
              <a:gd name="connsiteX1334" fmla="*/ 4681328 w 12243467"/>
              <a:gd name="connsiteY1334" fmla="*/ 3672126 h 4565177"/>
              <a:gd name="connsiteX1335" fmla="*/ 4667035 w 12243467"/>
              <a:gd name="connsiteY1335" fmla="*/ 3686695 h 4565177"/>
              <a:gd name="connsiteX1336" fmla="*/ 4705300 w 12243467"/>
              <a:gd name="connsiteY1336" fmla="*/ 3689096 h 4565177"/>
              <a:gd name="connsiteX1337" fmla="*/ 4808467 w 12243467"/>
              <a:gd name="connsiteY1337" fmla="*/ 3699211 h 4565177"/>
              <a:gd name="connsiteX1338" fmla="*/ 4766978 w 12243467"/>
              <a:gd name="connsiteY1338" fmla="*/ 3690007 h 4565177"/>
              <a:gd name="connsiteX1339" fmla="*/ 4698005 w 12243467"/>
              <a:gd name="connsiteY1339" fmla="*/ 3676895 h 4565177"/>
              <a:gd name="connsiteX1340" fmla="*/ 6588813 w 12243467"/>
              <a:gd name="connsiteY1340" fmla="*/ 3670959 h 4565177"/>
              <a:gd name="connsiteX1341" fmla="*/ 6544345 w 12243467"/>
              <a:gd name="connsiteY1341" fmla="*/ 3695709 h 4565177"/>
              <a:gd name="connsiteX1342" fmla="*/ 6516798 w 12243467"/>
              <a:gd name="connsiteY1342" fmla="*/ 3711291 h 4565177"/>
              <a:gd name="connsiteX1343" fmla="*/ 6529065 w 12243467"/>
              <a:gd name="connsiteY1343" fmla="*/ 3714353 h 4565177"/>
              <a:gd name="connsiteX1344" fmla="*/ 6543815 w 12243467"/>
              <a:gd name="connsiteY1344" fmla="*/ 3713214 h 4565177"/>
              <a:gd name="connsiteX1345" fmla="*/ 6547941 w 12243467"/>
              <a:gd name="connsiteY1345" fmla="*/ 3709428 h 4565177"/>
              <a:gd name="connsiteX1346" fmla="*/ 6600770 w 12243467"/>
              <a:gd name="connsiteY1346" fmla="*/ 3681459 h 4565177"/>
              <a:gd name="connsiteX1347" fmla="*/ 6608539 w 12243467"/>
              <a:gd name="connsiteY1347" fmla="*/ 3674026 h 4565177"/>
              <a:gd name="connsiteX1348" fmla="*/ 6594513 w 12243467"/>
              <a:gd name="connsiteY1348" fmla="*/ 3673698 h 4565177"/>
              <a:gd name="connsiteX1349" fmla="*/ 8839680 w 12243467"/>
              <a:gd name="connsiteY1349" fmla="*/ 3667804 h 4565177"/>
              <a:gd name="connsiteX1350" fmla="*/ 8820232 w 12243467"/>
              <a:gd name="connsiteY1350" fmla="*/ 3675215 h 4565177"/>
              <a:gd name="connsiteX1351" fmla="*/ 8606428 w 12243467"/>
              <a:gd name="connsiteY1351" fmla="*/ 3781223 h 4565177"/>
              <a:gd name="connsiteX1352" fmla="*/ 8738638 w 12243467"/>
              <a:gd name="connsiteY1352" fmla="*/ 3709405 h 4565177"/>
              <a:gd name="connsiteX1353" fmla="*/ 8732553 w 12243467"/>
              <a:gd name="connsiteY1353" fmla="*/ 3704145 h 4565177"/>
              <a:gd name="connsiteX1354" fmla="*/ 8777084 w 12243467"/>
              <a:gd name="connsiteY1354" fmla="*/ 3686443 h 4565177"/>
              <a:gd name="connsiteX1355" fmla="*/ 8778744 w 12243467"/>
              <a:gd name="connsiteY1355" fmla="*/ 3677440 h 4565177"/>
              <a:gd name="connsiteX1356" fmla="*/ 8675299 w 12243467"/>
              <a:gd name="connsiteY1356" fmla="*/ 3713754 h 4565177"/>
              <a:gd name="connsiteX1357" fmla="*/ 8685810 w 12243467"/>
              <a:gd name="connsiteY1357" fmla="*/ 3721745 h 4565177"/>
              <a:gd name="connsiteX1358" fmla="*/ 8678342 w 12243467"/>
              <a:gd name="connsiteY1358" fmla="*/ 3734591 h 4565177"/>
              <a:gd name="connsiteX1359" fmla="*/ 8642661 w 12243467"/>
              <a:gd name="connsiteY1359" fmla="*/ 3744302 h 4565177"/>
              <a:gd name="connsiteX1360" fmla="*/ 8644874 w 12243467"/>
              <a:gd name="connsiteY1360" fmla="*/ 3733276 h 4565177"/>
              <a:gd name="connsiteX1361" fmla="*/ 8601340 w 12243467"/>
              <a:gd name="connsiteY1361" fmla="*/ 3745301 h 4565177"/>
              <a:gd name="connsiteX1362" fmla="*/ 8598199 w 12243467"/>
              <a:gd name="connsiteY1362" fmla="*/ 3747992 h 4565177"/>
              <a:gd name="connsiteX1363" fmla="*/ 8563729 w 12243467"/>
              <a:gd name="connsiteY1363" fmla="*/ 3776492 h 4565177"/>
              <a:gd name="connsiteX1364" fmla="*/ 8585640 w 12243467"/>
              <a:gd name="connsiteY1364" fmla="*/ 3750696 h 4565177"/>
              <a:gd name="connsiteX1365" fmla="*/ 8542396 w 12243467"/>
              <a:gd name="connsiteY1365" fmla="*/ 3771568 h 4565177"/>
              <a:gd name="connsiteX1366" fmla="*/ 8543822 w 12243467"/>
              <a:gd name="connsiteY1366" fmla="*/ 3774707 h 4565177"/>
              <a:gd name="connsiteX1367" fmla="*/ 8552770 w 12243467"/>
              <a:gd name="connsiteY1367" fmla="*/ 3773029 h 4565177"/>
              <a:gd name="connsiteX1368" fmla="*/ 8529536 w 12243467"/>
              <a:gd name="connsiteY1368" fmla="*/ 3779604 h 4565177"/>
              <a:gd name="connsiteX1369" fmla="*/ 8535345 w 12243467"/>
              <a:gd name="connsiteY1369" fmla="*/ 3775659 h 4565177"/>
              <a:gd name="connsiteX1370" fmla="*/ 8478920 w 12243467"/>
              <a:gd name="connsiteY1370" fmla="*/ 3792248 h 4565177"/>
              <a:gd name="connsiteX1371" fmla="*/ 8489431 w 12243467"/>
              <a:gd name="connsiteY1371" fmla="*/ 3800138 h 4565177"/>
              <a:gd name="connsiteX1372" fmla="*/ 8344774 w 12243467"/>
              <a:gd name="connsiteY1372" fmla="*/ 3836553 h 4565177"/>
              <a:gd name="connsiteX1373" fmla="*/ 8332051 w 12243467"/>
              <a:gd name="connsiteY1373" fmla="*/ 3828259 h 4565177"/>
              <a:gd name="connsiteX1374" fmla="*/ 8311860 w 12243467"/>
              <a:gd name="connsiteY1374" fmla="*/ 3832912 h 4565177"/>
              <a:gd name="connsiteX1375" fmla="*/ 8291392 w 12243467"/>
              <a:gd name="connsiteY1375" fmla="*/ 3851119 h 4565177"/>
              <a:gd name="connsiteX1376" fmla="*/ 8217266 w 12243467"/>
              <a:gd name="connsiteY1376" fmla="*/ 3847478 h 4565177"/>
              <a:gd name="connsiteX1377" fmla="*/ 8233861 w 12243467"/>
              <a:gd name="connsiteY1377" fmla="*/ 3837868 h 4565177"/>
              <a:gd name="connsiteX1378" fmla="*/ 8228364 w 12243467"/>
              <a:gd name="connsiteY1378" fmla="*/ 3834380 h 4565177"/>
              <a:gd name="connsiteX1379" fmla="*/ 8224877 w 12243467"/>
              <a:gd name="connsiteY1379" fmla="*/ 3835187 h 4565177"/>
              <a:gd name="connsiteX1380" fmla="*/ 8206098 w 12243467"/>
              <a:gd name="connsiteY1380" fmla="*/ 3858223 h 4565177"/>
              <a:gd name="connsiteX1381" fmla="*/ 8211077 w 12243467"/>
              <a:gd name="connsiteY1381" fmla="*/ 3864191 h 4565177"/>
              <a:gd name="connsiteX1382" fmla="*/ 8167099 w 12243467"/>
              <a:gd name="connsiteY1382" fmla="*/ 3916082 h 4565177"/>
              <a:gd name="connsiteX1383" fmla="*/ 8155618 w 12243467"/>
              <a:gd name="connsiteY1383" fmla="*/ 3927174 h 4565177"/>
              <a:gd name="connsiteX1384" fmla="*/ 8183669 w 12243467"/>
              <a:gd name="connsiteY1384" fmla="*/ 3919617 h 4565177"/>
              <a:gd name="connsiteX1385" fmla="*/ 8369667 w 12243467"/>
              <a:gd name="connsiteY1385" fmla="*/ 3868821 h 4565177"/>
              <a:gd name="connsiteX1386" fmla="*/ 8433559 w 12243467"/>
              <a:gd name="connsiteY1386" fmla="*/ 3850917 h 4565177"/>
              <a:gd name="connsiteX1387" fmla="*/ 8438111 w 12243467"/>
              <a:gd name="connsiteY1387" fmla="*/ 3846002 h 4565177"/>
              <a:gd name="connsiteX1388" fmla="*/ 8429583 w 12243467"/>
              <a:gd name="connsiteY1388" fmla="*/ 3847096 h 4565177"/>
              <a:gd name="connsiteX1389" fmla="*/ 8441476 w 12243467"/>
              <a:gd name="connsiteY1389" fmla="*/ 3837993 h 4565177"/>
              <a:gd name="connsiteX1390" fmla="*/ 8456412 w 12243467"/>
              <a:gd name="connsiteY1390" fmla="*/ 3834958 h 4565177"/>
              <a:gd name="connsiteX1391" fmla="*/ 8450656 w 12243467"/>
              <a:gd name="connsiteY1391" fmla="*/ 3840867 h 4565177"/>
              <a:gd name="connsiteX1392" fmla="*/ 8489085 w 12243467"/>
              <a:gd name="connsiteY1392" fmla="*/ 3828006 h 4565177"/>
              <a:gd name="connsiteX1393" fmla="*/ 8541706 w 12243467"/>
              <a:gd name="connsiteY1393" fmla="*/ 3815008 h 4565177"/>
              <a:gd name="connsiteX1394" fmla="*/ 8483346 w 12243467"/>
              <a:gd name="connsiteY1394" fmla="*/ 3842723 h 4565177"/>
              <a:gd name="connsiteX1395" fmla="*/ 8564387 w 12243467"/>
              <a:gd name="connsiteY1395" fmla="*/ 3810759 h 4565177"/>
              <a:gd name="connsiteX1396" fmla="*/ 8650959 w 12243467"/>
              <a:gd name="connsiteY1396" fmla="*/ 3774850 h 4565177"/>
              <a:gd name="connsiteX1397" fmla="*/ 8696320 w 12243467"/>
              <a:gd name="connsiteY1397" fmla="*/ 3752597 h 4565177"/>
              <a:gd name="connsiteX1398" fmla="*/ 8772106 w 12243467"/>
              <a:gd name="connsiteY1398" fmla="*/ 3710922 h 4565177"/>
              <a:gd name="connsiteX1399" fmla="*/ 8847891 w 12243467"/>
              <a:gd name="connsiteY1399" fmla="*/ 3669247 h 4565177"/>
              <a:gd name="connsiteX1400" fmla="*/ 8839680 w 12243467"/>
              <a:gd name="connsiteY1400" fmla="*/ 3667804 h 4565177"/>
              <a:gd name="connsiteX1401" fmla="*/ 7925419 w 12243467"/>
              <a:gd name="connsiteY1401" fmla="*/ 3667346 h 4565177"/>
              <a:gd name="connsiteX1402" fmla="*/ 7913596 w 12243467"/>
              <a:gd name="connsiteY1402" fmla="*/ 3669833 h 4565177"/>
              <a:gd name="connsiteX1403" fmla="*/ 7839893 w 12243467"/>
              <a:gd name="connsiteY1403" fmla="*/ 3744224 h 4565177"/>
              <a:gd name="connsiteX1404" fmla="*/ 7877682 w 12243467"/>
              <a:gd name="connsiteY1404" fmla="*/ 3691246 h 4565177"/>
              <a:gd name="connsiteX1405" fmla="*/ 7884175 w 12243467"/>
              <a:gd name="connsiteY1405" fmla="*/ 3682801 h 4565177"/>
              <a:gd name="connsiteX1406" fmla="*/ 7871020 w 12243467"/>
              <a:gd name="connsiteY1406" fmla="*/ 3684955 h 4565177"/>
              <a:gd name="connsiteX1407" fmla="*/ 7851787 w 12243467"/>
              <a:gd name="connsiteY1407" fmla="*/ 3699313 h 4565177"/>
              <a:gd name="connsiteX1408" fmla="*/ 7847707 w 12243467"/>
              <a:gd name="connsiteY1408" fmla="*/ 3696113 h 4565177"/>
              <a:gd name="connsiteX1409" fmla="*/ 7847410 w 12243467"/>
              <a:gd name="connsiteY1409" fmla="*/ 3689660 h 4565177"/>
              <a:gd name="connsiteX1410" fmla="*/ 7845051 w 12243467"/>
              <a:gd name="connsiteY1410" fmla="*/ 3690339 h 4565177"/>
              <a:gd name="connsiteX1411" fmla="*/ 7806910 w 12243467"/>
              <a:gd name="connsiteY1411" fmla="*/ 3719215 h 4565177"/>
              <a:gd name="connsiteX1412" fmla="*/ 7773512 w 12243467"/>
              <a:gd name="connsiteY1412" fmla="*/ 3758790 h 4565177"/>
              <a:gd name="connsiteX1413" fmla="*/ 7786511 w 12243467"/>
              <a:gd name="connsiteY1413" fmla="*/ 3753631 h 4565177"/>
              <a:gd name="connsiteX1414" fmla="*/ 7769363 w 12243467"/>
              <a:gd name="connsiteY1414" fmla="*/ 3766781 h 4565177"/>
              <a:gd name="connsiteX1415" fmla="*/ 7772129 w 12243467"/>
              <a:gd name="connsiteY1415" fmla="*/ 3761521 h 4565177"/>
              <a:gd name="connsiteX1416" fmla="*/ 7730640 w 12243467"/>
              <a:gd name="connsiteY1416" fmla="*/ 3794194 h 4565177"/>
              <a:gd name="connsiteX1417" fmla="*/ 7744746 w 12243467"/>
              <a:gd name="connsiteY1417" fmla="*/ 3798037 h 4565177"/>
              <a:gd name="connsiteX1418" fmla="*/ 7739867 w 12243467"/>
              <a:gd name="connsiteY1418" fmla="*/ 3803541 h 4565177"/>
              <a:gd name="connsiteX1419" fmla="*/ 7770538 w 12243467"/>
              <a:gd name="connsiteY1419" fmla="*/ 3802908 h 4565177"/>
              <a:gd name="connsiteX1420" fmla="*/ 7789648 w 12243467"/>
              <a:gd name="connsiteY1420" fmla="*/ 3802823 h 4565177"/>
              <a:gd name="connsiteX1421" fmla="*/ 7800617 w 12243467"/>
              <a:gd name="connsiteY1421" fmla="*/ 3795104 h 4565177"/>
              <a:gd name="connsiteX1422" fmla="*/ 7793772 w 12243467"/>
              <a:gd name="connsiteY1422" fmla="*/ 3802805 h 4565177"/>
              <a:gd name="connsiteX1423" fmla="*/ 7803059 w 12243467"/>
              <a:gd name="connsiteY1423" fmla="*/ 3802764 h 4565177"/>
              <a:gd name="connsiteX1424" fmla="*/ 7803841 w 12243467"/>
              <a:gd name="connsiteY1424" fmla="*/ 3802881 h 4565177"/>
              <a:gd name="connsiteX1425" fmla="*/ 7818596 w 12243467"/>
              <a:gd name="connsiteY1425" fmla="*/ 3784179 h 4565177"/>
              <a:gd name="connsiteX1426" fmla="*/ 7876680 w 12243467"/>
              <a:gd name="connsiteY1426" fmla="*/ 3724398 h 4565177"/>
              <a:gd name="connsiteX1427" fmla="*/ 7905168 w 12243467"/>
              <a:gd name="connsiteY1427" fmla="*/ 3689905 h 4565177"/>
              <a:gd name="connsiteX1428" fmla="*/ 4699277 w 12243467"/>
              <a:gd name="connsiteY1428" fmla="*/ 3661356 h 4565177"/>
              <a:gd name="connsiteX1429" fmla="*/ 4694773 w 12243467"/>
              <a:gd name="connsiteY1429" fmla="*/ 3663954 h 4565177"/>
              <a:gd name="connsiteX1430" fmla="*/ 4700873 w 12243467"/>
              <a:gd name="connsiteY1430" fmla="*/ 3666944 h 4565177"/>
              <a:gd name="connsiteX1431" fmla="*/ 9519452 w 12243467"/>
              <a:gd name="connsiteY1431" fmla="*/ 3656198 h 4565177"/>
              <a:gd name="connsiteX1432" fmla="*/ 9530239 w 12243467"/>
              <a:gd name="connsiteY1432" fmla="*/ 3656299 h 4565177"/>
              <a:gd name="connsiteX1433" fmla="*/ 9528026 w 12243467"/>
              <a:gd name="connsiteY1433" fmla="*/ 3663582 h 4565177"/>
              <a:gd name="connsiteX1434" fmla="*/ 9518346 w 12243467"/>
              <a:gd name="connsiteY1434" fmla="*/ 3658929 h 4565177"/>
              <a:gd name="connsiteX1435" fmla="*/ 9519452 w 12243467"/>
              <a:gd name="connsiteY1435" fmla="*/ 3656198 h 4565177"/>
              <a:gd name="connsiteX1436" fmla="*/ 4566927 w 12243467"/>
              <a:gd name="connsiteY1436" fmla="*/ 3640117 h 4565177"/>
              <a:gd name="connsiteX1437" fmla="*/ 4542588 w 12243467"/>
              <a:gd name="connsiteY1437" fmla="*/ 3658021 h 4565177"/>
              <a:gd name="connsiteX1438" fmla="*/ 4545631 w 12243467"/>
              <a:gd name="connsiteY1438" fmla="*/ 3667428 h 4565177"/>
              <a:gd name="connsiteX1439" fmla="*/ 4524609 w 12243467"/>
              <a:gd name="connsiteY1439" fmla="*/ 3676431 h 4565177"/>
              <a:gd name="connsiteX1440" fmla="*/ 4456845 w 12243467"/>
              <a:gd name="connsiteY1440" fmla="*/ 3715071 h 4565177"/>
              <a:gd name="connsiteX1441" fmla="*/ 4451413 w 12243467"/>
              <a:gd name="connsiteY1441" fmla="*/ 3718988 h 4565177"/>
              <a:gd name="connsiteX1442" fmla="*/ 4453326 w 12243467"/>
              <a:gd name="connsiteY1442" fmla="*/ 3719644 h 4565177"/>
              <a:gd name="connsiteX1443" fmla="*/ 4449582 w 12243467"/>
              <a:gd name="connsiteY1443" fmla="*/ 3720309 h 4565177"/>
              <a:gd name="connsiteX1444" fmla="*/ 4397378 w 12243467"/>
              <a:gd name="connsiteY1444" fmla="*/ 3757959 h 4565177"/>
              <a:gd name="connsiteX1445" fmla="*/ 4389911 w 12243467"/>
              <a:gd name="connsiteY1445" fmla="*/ 3759477 h 4565177"/>
              <a:gd name="connsiteX1446" fmla="*/ 4385761 w 12243467"/>
              <a:gd name="connsiteY1446" fmla="*/ 3768075 h 4565177"/>
              <a:gd name="connsiteX1447" fmla="*/ 4353400 w 12243467"/>
              <a:gd name="connsiteY1447" fmla="*/ 3784967 h 4565177"/>
              <a:gd name="connsiteX1448" fmla="*/ 4252721 w 12243467"/>
              <a:gd name="connsiteY1448" fmla="*/ 3830789 h 4565177"/>
              <a:gd name="connsiteX1449" fmla="*/ 4243317 w 12243467"/>
              <a:gd name="connsiteY1449" fmla="*/ 3841107 h 4565177"/>
              <a:gd name="connsiteX1450" fmla="*/ 4224233 w 12243467"/>
              <a:gd name="connsiteY1450" fmla="*/ 3841208 h 4565177"/>
              <a:gd name="connsiteX1451" fmla="*/ 4192424 w 12243467"/>
              <a:gd name="connsiteY1451" fmla="*/ 3855875 h 4565177"/>
              <a:gd name="connsiteX1452" fmla="*/ 4185233 w 12243467"/>
              <a:gd name="connsiteY1452" fmla="*/ 3843737 h 4565177"/>
              <a:gd name="connsiteX1453" fmla="*/ 4186616 w 12243467"/>
              <a:gd name="connsiteY1453" fmla="*/ 3859820 h 4565177"/>
              <a:gd name="connsiteX1454" fmla="*/ 4163106 w 12243467"/>
              <a:gd name="connsiteY1454" fmla="*/ 3857291 h 4565177"/>
              <a:gd name="connsiteX1455" fmla="*/ 4132681 w 12243467"/>
              <a:gd name="connsiteY1455" fmla="*/ 3876611 h 4565177"/>
              <a:gd name="connsiteX1456" fmla="*/ 4116086 w 12243467"/>
              <a:gd name="connsiteY1456" fmla="*/ 3888446 h 4565177"/>
              <a:gd name="connsiteX1457" fmla="*/ 4119405 w 12243467"/>
              <a:gd name="connsiteY1457" fmla="*/ 3895628 h 4565177"/>
              <a:gd name="connsiteX1458" fmla="*/ 4105299 w 12243467"/>
              <a:gd name="connsiteY1458" fmla="*/ 3905440 h 4565177"/>
              <a:gd name="connsiteX1459" fmla="*/ 4088462 w 12243467"/>
              <a:gd name="connsiteY1459" fmla="*/ 3906186 h 4565177"/>
              <a:gd name="connsiteX1460" fmla="*/ 4077678 w 12243467"/>
              <a:gd name="connsiteY1460" fmla="*/ 3915231 h 4565177"/>
              <a:gd name="connsiteX1461" fmla="*/ 4085803 w 12243467"/>
              <a:gd name="connsiteY1461" fmla="*/ 3915965 h 4565177"/>
              <a:gd name="connsiteX1462" fmla="*/ 4105549 w 12243467"/>
              <a:gd name="connsiteY1462" fmla="*/ 3922379 h 4565177"/>
              <a:gd name="connsiteX1463" fmla="*/ 4133553 w 12243467"/>
              <a:gd name="connsiteY1463" fmla="*/ 3933482 h 4565177"/>
              <a:gd name="connsiteX1464" fmla="*/ 4143745 w 12243467"/>
              <a:gd name="connsiteY1464" fmla="*/ 3930121 h 4565177"/>
              <a:gd name="connsiteX1465" fmla="*/ 4141261 w 12243467"/>
              <a:gd name="connsiteY1465" fmla="*/ 3935330 h 4565177"/>
              <a:gd name="connsiteX1466" fmla="*/ 4152983 w 12243467"/>
              <a:gd name="connsiteY1466" fmla="*/ 3931066 h 4565177"/>
              <a:gd name="connsiteX1467" fmla="*/ 4158381 w 12243467"/>
              <a:gd name="connsiteY1467" fmla="*/ 3930147 h 4565177"/>
              <a:gd name="connsiteX1468" fmla="*/ 4160733 w 12243467"/>
              <a:gd name="connsiteY1468" fmla="*/ 3932720 h 4565177"/>
              <a:gd name="connsiteX1469" fmla="*/ 4165319 w 12243467"/>
              <a:gd name="connsiteY1469" fmla="*/ 3930222 h 4565177"/>
              <a:gd name="connsiteX1470" fmla="*/ 4154532 w 12243467"/>
              <a:gd name="connsiteY1470" fmla="*/ 3924557 h 4565177"/>
              <a:gd name="connsiteX1471" fmla="*/ 4185786 w 12243467"/>
              <a:gd name="connsiteY1471" fmla="*/ 3912116 h 4565177"/>
              <a:gd name="connsiteX1472" fmla="*/ 4170021 w 12243467"/>
              <a:gd name="connsiteY1472" fmla="*/ 3919399 h 4565177"/>
              <a:gd name="connsiteX1473" fmla="*/ 4175829 w 12243467"/>
              <a:gd name="connsiteY1473" fmla="*/ 3926884 h 4565177"/>
              <a:gd name="connsiteX1474" fmla="*/ 4194637 w 12243467"/>
              <a:gd name="connsiteY1474" fmla="*/ 3903922 h 4565177"/>
              <a:gd name="connsiteX1475" fmla="*/ 4199892 w 12243467"/>
              <a:gd name="connsiteY1475" fmla="*/ 3913633 h 4565177"/>
              <a:gd name="connsiteX1476" fmla="*/ 4263647 w 12243467"/>
              <a:gd name="connsiteY1476" fmla="*/ 3876864 h 4565177"/>
              <a:gd name="connsiteX1477" fmla="*/ 4309628 w 12243467"/>
              <a:gd name="connsiteY1477" fmla="*/ 3850754 h 4565177"/>
              <a:gd name="connsiteX1478" fmla="*/ 4296741 w 12243467"/>
              <a:gd name="connsiteY1478" fmla="*/ 3847906 h 4565177"/>
              <a:gd name="connsiteX1479" fmla="*/ 4281286 w 12243467"/>
              <a:gd name="connsiteY1479" fmla="*/ 3837790 h 4565177"/>
              <a:gd name="connsiteX1480" fmla="*/ 4269671 w 12243467"/>
              <a:gd name="connsiteY1480" fmla="*/ 3834250 h 4565177"/>
              <a:gd name="connsiteX1481" fmla="*/ 4273818 w 12243467"/>
              <a:gd name="connsiteY1481" fmla="*/ 3833643 h 4565177"/>
              <a:gd name="connsiteX1482" fmla="*/ 4279350 w 12243467"/>
              <a:gd name="connsiteY1482" fmla="*/ 3833845 h 4565177"/>
              <a:gd name="connsiteX1483" fmla="*/ 4298919 w 12243467"/>
              <a:gd name="connsiteY1483" fmla="*/ 3840926 h 4565177"/>
              <a:gd name="connsiteX1484" fmla="*/ 4314377 w 12243467"/>
              <a:gd name="connsiteY1484" fmla="*/ 3848058 h 4565177"/>
              <a:gd name="connsiteX1485" fmla="*/ 4333209 w 12243467"/>
              <a:gd name="connsiteY1485" fmla="*/ 3837364 h 4565177"/>
              <a:gd name="connsiteX1486" fmla="*/ 4348974 w 12243467"/>
              <a:gd name="connsiteY1486" fmla="*/ 3843636 h 4565177"/>
              <a:gd name="connsiteX1487" fmla="*/ 4357758 w 12243467"/>
              <a:gd name="connsiteY1487" fmla="*/ 3834546 h 4565177"/>
              <a:gd name="connsiteX1488" fmla="*/ 4350434 w 12243467"/>
              <a:gd name="connsiteY1488" fmla="*/ 3834174 h 4565177"/>
              <a:gd name="connsiteX1489" fmla="*/ 4345455 w 12243467"/>
              <a:gd name="connsiteY1489" fmla="*/ 3836678 h 4565177"/>
              <a:gd name="connsiteX1490" fmla="*/ 4311158 w 12243467"/>
              <a:gd name="connsiteY1490" fmla="*/ 3823022 h 4565177"/>
              <a:gd name="connsiteX1491" fmla="*/ 4320287 w 12243467"/>
              <a:gd name="connsiteY1491" fmla="*/ 3814121 h 4565177"/>
              <a:gd name="connsiteX1492" fmla="*/ 4358178 w 12243467"/>
              <a:gd name="connsiteY1492" fmla="*/ 3821302 h 4565177"/>
              <a:gd name="connsiteX1493" fmla="*/ 4358455 w 12243467"/>
              <a:gd name="connsiteY1493" fmla="*/ 3832631 h 4565177"/>
              <a:gd name="connsiteX1494" fmla="*/ 4357966 w 12243467"/>
              <a:gd name="connsiteY1494" fmla="*/ 3834331 h 4565177"/>
              <a:gd name="connsiteX1495" fmla="*/ 4361144 w 12243467"/>
              <a:gd name="connsiteY1495" fmla="*/ 3831042 h 4565177"/>
              <a:gd name="connsiteX1496" fmla="*/ 4366676 w 12243467"/>
              <a:gd name="connsiteY1496" fmla="*/ 3816021 h 4565177"/>
              <a:gd name="connsiteX1497" fmla="*/ 4438313 w 12243467"/>
              <a:gd name="connsiteY1497" fmla="*/ 3769390 h 4565177"/>
              <a:gd name="connsiteX1498" fmla="*/ 4496074 w 12243467"/>
              <a:gd name="connsiteY1498" fmla="*/ 3739329 h 4565177"/>
              <a:gd name="connsiteX1499" fmla="*/ 4464389 w 12243467"/>
              <a:gd name="connsiteY1499" fmla="*/ 3728950 h 4565177"/>
              <a:gd name="connsiteX1500" fmla="*/ 4472686 w 12243467"/>
              <a:gd name="connsiteY1500" fmla="*/ 3727433 h 4565177"/>
              <a:gd name="connsiteX1501" fmla="*/ 4480431 w 12243467"/>
              <a:gd name="connsiteY1501" fmla="*/ 3727736 h 4565177"/>
              <a:gd name="connsiteX1502" fmla="*/ 4502565 w 12243467"/>
              <a:gd name="connsiteY1502" fmla="*/ 3735109 h 4565177"/>
              <a:gd name="connsiteX1503" fmla="*/ 4549779 w 12243467"/>
              <a:gd name="connsiteY1503" fmla="*/ 3703198 h 4565177"/>
              <a:gd name="connsiteX1504" fmla="*/ 4591248 w 12243467"/>
              <a:gd name="connsiteY1504" fmla="*/ 3673210 h 4565177"/>
              <a:gd name="connsiteX1505" fmla="*/ 4556770 w 12243467"/>
              <a:gd name="connsiteY1505" fmla="*/ 3664820 h 4565177"/>
              <a:gd name="connsiteX1506" fmla="*/ 4595226 w 12243467"/>
              <a:gd name="connsiteY1506" fmla="*/ 3668883 h 4565177"/>
              <a:gd name="connsiteX1507" fmla="*/ 4596706 w 12243467"/>
              <a:gd name="connsiteY1507" fmla="*/ 3669263 h 4565177"/>
              <a:gd name="connsiteX1508" fmla="*/ 4614019 w 12243467"/>
              <a:gd name="connsiteY1508" fmla="*/ 3656742 h 4565177"/>
              <a:gd name="connsiteX1509" fmla="*/ 4611016 w 12243467"/>
              <a:gd name="connsiteY1509" fmla="*/ 3654831 h 4565177"/>
              <a:gd name="connsiteX1510" fmla="*/ 4592173 w 12243467"/>
              <a:gd name="connsiteY1510" fmla="*/ 3653693 h 4565177"/>
              <a:gd name="connsiteX1511" fmla="*/ 4584705 w 12243467"/>
              <a:gd name="connsiteY1511" fmla="*/ 3647017 h 4565177"/>
              <a:gd name="connsiteX1512" fmla="*/ 4574448 w 12243467"/>
              <a:gd name="connsiteY1512" fmla="*/ 3640854 h 4565177"/>
              <a:gd name="connsiteX1513" fmla="*/ 4573013 w 12243467"/>
              <a:gd name="connsiteY1513" fmla="*/ 3640724 h 4565177"/>
              <a:gd name="connsiteX1514" fmla="*/ 4590710 w 12243467"/>
              <a:gd name="connsiteY1514" fmla="*/ 3622808 h 4565177"/>
              <a:gd name="connsiteX1515" fmla="*/ 4587948 w 12243467"/>
              <a:gd name="connsiteY1515" fmla="*/ 3624843 h 4565177"/>
              <a:gd name="connsiteX1516" fmla="*/ 4590161 w 12243467"/>
              <a:gd name="connsiteY1516" fmla="*/ 3624034 h 4565177"/>
              <a:gd name="connsiteX1517" fmla="*/ 4590413 w 12243467"/>
              <a:gd name="connsiteY1517" fmla="*/ 3623989 h 4565177"/>
              <a:gd name="connsiteX1518" fmla="*/ 4645693 w 12243467"/>
              <a:gd name="connsiteY1518" fmla="*/ 3620058 h 4565177"/>
              <a:gd name="connsiteX1519" fmla="*/ 4631332 w 12243467"/>
              <a:gd name="connsiteY1519" fmla="*/ 3624703 h 4565177"/>
              <a:gd name="connsiteX1520" fmla="*/ 4631829 w 12243467"/>
              <a:gd name="connsiteY1520" fmla="*/ 3625257 h 4565177"/>
              <a:gd name="connsiteX1521" fmla="*/ 4638364 w 12243467"/>
              <a:gd name="connsiteY1521" fmla="*/ 3631743 h 4565177"/>
              <a:gd name="connsiteX1522" fmla="*/ 4629236 w 12243467"/>
              <a:gd name="connsiteY1522" fmla="*/ 3640644 h 4565177"/>
              <a:gd name="connsiteX1523" fmla="*/ 4610835 w 12243467"/>
              <a:gd name="connsiteY1523" fmla="*/ 3633181 h 4565177"/>
              <a:gd name="connsiteX1524" fmla="*/ 4595969 w 12243467"/>
              <a:gd name="connsiteY1524" fmla="*/ 3640420 h 4565177"/>
              <a:gd name="connsiteX1525" fmla="*/ 4581864 w 12243467"/>
              <a:gd name="connsiteY1525" fmla="*/ 3636475 h 4565177"/>
              <a:gd name="connsiteX1526" fmla="*/ 4579305 w 12243467"/>
              <a:gd name="connsiteY1526" fmla="*/ 3641293 h 4565177"/>
              <a:gd name="connsiteX1527" fmla="*/ 4578364 w 12243467"/>
              <a:gd name="connsiteY1527" fmla="*/ 3641208 h 4565177"/>
              <a:gd name="connsiteX1528" fmla="*/ 4622085 w 12243467"/>
              <a:gd name="connsiteY1528" fmla="*/ 3650911 h 4565177"/>
              <a:gd name="connsiteX1529" fmla="*/ 4651064 w 12243467"/>
              <a:gd name="connsiteY1529" fmla="*/ 3629954 h 4565177"/>
              <a:gd name="connsiteX1530" fmla="*/ 4650292 w 12243467"/>
              <a:gd name="connsiteY1530" fmla="*/ 3621463 h 4565177"/>
              <a:gd name="connsiteX1531" fmla="*/ 4762000 w 12243467"/>
              <a:gd name="connsiteY1531" fmla="*/ 3619503 h 4565177"/>
              <a:gd name="connsiteX1532" fmla="*/ 4751010 w 12243467"/>
              <a:gd name="connsiteY1532" fmla="*/ 3620087 h 4565177"/>
              <a:gd name="connsiteX1533" fmla="*/ 4745298 w 12243467"/>
              <a:gd name="connsiteY1533" fmla="*/ 3625124 h 4565177"/>
              <a:gd name="connsiteX1534" fmla="*/ 4787170 w 12243467"/>
              <a:gd name="connsiteY1534" fmla="*/ 3628000 h 4565177"/>
              <a:gd name="connsiteX1535" fmla="*/ 4771957 w 12243467"/>
              <a:gd name="connsiteY1535" fmla="*/ 3622841 h 4565177"/>
              <a:gd name="connsiteX1536" fmla="*/ 4769191 w 12243467"/>
              <a:gd name="connsiteY1536" fmla="*/ 3623448 h 4565177"/>
              <a:gd name="connsiteX1537" fmla="*/ 4765319 w 12243467"/>
              <a:gd name="connsiteY1537" fmla="*/ 3620616 h 4565177"/>
              <a:gd name="connsiteX1538" fmla="*/ 3490162 w 12243467"/>
              <a:gd name="connsiteY1538" fmla="*/ 3598543 h 4565177"/>
              <a:gd name="connsiteX1539" fmla="*/ 3515332 w 12243467"/>
              <a:gd name="connsiteY1539" fmla="*/ 3605826 h 4565177"/>
              <a:gd name="connsiteX1540" fmla="*/ 3449504 w 12243467"/>
              <a:gd name="connsiteY1540" fmla="*/ 3621505 h 4565177"/>
              <a:gd name="connsiteX1541" fmla="*/ 3467759 w 12243467"/>
              <a:gd name="connsiteY1541" fmla="*/ 3614323 h 4565177"/>
              <a:gd name="connsiteX1542" fmla="*/ 3490162 w 12243467"/>
              <a:gd name="connsiteY1542" fmla="*/ 3598543 h 4565177"/>
              <a:gd name="connsiteX1543" fmla="*/ 1835601 w 12243467"/>
              <a:gd name="connsiteY1543" fmla="*/ 3597532 h 4565177"/>
              <a:gd name="connsiteX1544" fmla="*/ 1848601 w 12243467"/>
              <a:gd name="connsiteY1544" fmla="*/ 3598948 h 4565177"/>
              <a:gd name="connsiteX1545" fmla="*/ 1825920 w 12243467"/>
              <a:gd name="connsiteY1545" fmla="*/ 3599858 h 4565177"/>
              <a:gd name="connsiteX1546" fmla="*/ 1835601 w 12243467"/>
              <a:gd name="connsiteY1546" fmla="*/ 3597532 h 4565177"/>
              <a:gd name="connsiteX1547" fmla="*/ 7936976 w 12243467"/>
              <a:gd name="connsiteY1547" fmla="*/ 3596036 h 4565177"/>
              <a:gd name="connsiteX1548" fmla="*/ 7917749 w 12243467"/>
              <a:gd name="connsiteY1548" fmla="*/ 3608339 h 4565177"/>
              <a:gd name="connsiteX1549" fmla="*/ 7913560 w 12243467"/>
              <a:gd name="connsiteY1549" fmla="*/ 3615069 h 4565177"/>
              <a:gd name="connsiteX1550" fmla="*/ 7921038 w 12243467"/>
              <a:gd name="connsiteY1550" fmla="*/ 3612602 h 4565177"/>
              <a:gd name="connsiteX1551" fmla="*/ 7932957 w 12243467"/>
              <a:gd name="connsiteY1551" fmla="*/ 3612273 h 4565177"/>
              <a:gd name="connsiteX1552" fmla="*/ 7940572 w 12243467"/>
              <a:gd name="connsiteY1552" fmla="*/ 3604634 h 4565177"/>
              <a:gd name="connsiteX1553" fmla="*/ 7936976 w 12243467"/>
              <a:gd name="connsiteY1553" fmla="*/ 3596036 h 4565177"/>
              <a:gd name="connsiteX1554" fmla="*/ 3565948 w 12243467"/>
              <a:gd name="connsiteY1554" fmla="*/ 3593890 h 4565177"/>
              <a:gd name="connsiteX1555" fmla="*/ 3528885 w 12243467"/>
              <a:gd name="connsiteY1555" fmla="*/ 3607950 h 4565177"/>
              <a:gd name="connsiteX1556" fmla="*/ 3565948 w 12243467"/>
              <a:gd name="connsiteY1556" fmla="*/ 3593890 h 4565177"/>
              <a:gd name="connsiteX1557" fmla="*/ 3409675 w 12243467"/>
              <a:gd name="connsiteY1557" fmla="*/ 3592069 h 4565177"/>
              <a:gd name="connsiteX1558" fmla="*/ 3425993 w 12243467"/>
              <a:gd name="connsiteY1558" fmla="*/ 3593890 h 4565177"/>
              <a:gd name="connsiteX1559" fmla="*/ 3421291 w 12243467"/>
              <a:gd name="connsiteY1559" fmla="*/ 3606838 h 4565177"/>
              <a:gd name="connsiteX1560" fmla="*/ 3414100 w 12243467"/>
              <a:gd name="connsiteY1560" fmla="*/ 3606029 h 4565177"/>
              <a:gd name="connsiteX1561" fmla="*/ 3409675 w 12243467"/>
              <a:gd name="connsiteY1561" fmla="*/ 3592069 h 4565177"/>
              <a:gd name="connsiteX1562" fmla="*/ 1814304 w 12243467"/>
              <a:gd name="connsiteY1562" fmla="*/ 3591159 h 4565177"/>
              <a:gd name="connsiteX1563" fmla="*/ 1815410 w 12243467"/>
              <a:gd name="connsiteY1563" fmla="*/ 3591766 h 4565177"/>
              <a:gd name="connsiteX1564" fmla="*/ 1819836 w 12243467"/>
              <a:gd name="connsiteY1564" fmla="*/ 3593890 h 4565177"/>
              <a:gd name="connsiteX1565" fmla="*/ 1814304 w 12243467"/>
              <a:gd name="connsiteY1565" fmla="*/ 3599454 h 4565177"/>
              <a:gd name="connsiteX1566" fmla="*/ 1808495 w 12243467"/>
              <a:gd name="connsiteY1566" fmla="*/ 3593283 h 4565177"/>
              <a:gd name="connsiteX1567" fmla="*/ 1812367 w 12243467"/>
              <a:gd name="connsiteY1567" fmla="*/ 3595408 h 4565177"/>
              <a:gd name="connsiteX1568" fmla="*/ 1812367 w 12243467"/>
              <a:gd name="connsiteY1568" fmla="*/ 3592575 h 4565177"/>
              <a:gd name="connsiteX1569" fmla="*/ 1814304 w 12243467"/>
              <a:gd name="connsiteY1569" fmla="*/ 3591159 h 4565177"/>
              <a:gd name="connsiteX1570" fmla="*/ 4646005 w 12243467"/>
              <a:gd name="connsiteY1570" fmla="*/ 3590194 h 4565177"/>
              <a:gd name="connsiteX1571" fmla="*/ 4634768 w 12243467"/>
              <a:gd name="connsiteY1571" fmla="*/ 3593305 h 4565177"/>
              <a:gd name="connsiteX1572" fmla="*/ 4633904 w 12243467"/>
              <a:gd name="connsiteY1572" fmla="*/ 3592746 h 4565177"/>
              <a:gd name="connsiteX1573" fmla="*/ 4619253 w 12243467"/>
              <a:gd name="connsiteY1573" fmla="*/ 3602581 h 4565177"/>
              <a:gd name="connsiteX1574" fmla="*/ 4635450 w 12243467"/>
              <a:gd name="connsiteY1574" fmla="*/ 3607992 h 4565177"/>
              <a:gd name="connsiteX1575" fmla="*/ 4642703 w 12243467"/>
              <a:gd name="connsiteY1575" fmla="*/ 3605998 h 4565177"/>
              <a:gd name="connsiteX1576" fmla="*/ 4645279 w 12243467"/>
              <a:gd name="connsiteY1576" fmla="*/ 3604533 h 4565177"/>
              <a:gd name="connsiteX1577" fmla="*/ 4646815 w 12243467"/>
              <a:gd name="connsiteY1577" fmla="*/ 3604868 h 4565177"/>
              <a:gd name="connsiteX1578" fmla="*/ 4670925 w 12243467"/>
              <a:gd name="connsiteY1578" fmla="*/ 3598240 h 4565177"/>
              <a:gd name="connsiteX1579" fmla="*/ 4680696 w 12243467"/>
              <a:gd name="connsiteY1579" fmla="*/ 3593552 h 4565177"/>
              <a:gd name="connsiteX1580" fmla="*/ 4677087 w 12243467"/>
              <a:gd name="connsiteY1580" fmla="*/ 3590675 h 4565177"/>
              <a:gd name="connsiteX1581" fmla="*/ 4668236 w 12243467"/>
              <a:gd name="connsiteY1581" fmla="*/ 3593406 h 4565177"/>
              <a:gd name="connsiteX1582" fmla="*/ 4660492 w 12243467"/>
              <a:gd name="connsiteY1582" fmla="*/ 3599678 h 4565177"/>
              <a:gd name="connsiteX1583" fmla="*/ 4655789 w 12243467"/>
              <a:gd name="connsiteY1583" fmla="*/ 3591181 h 4565177"/>
              <a:gd name="connsiteX1584" fmla="*/ 4646005 w 12243467"/>
              <a:gd name="connsiteY1584" fmla="*/ 3590194 h 4565177"/>
              <a:gd name="connsiteX1585" fmla="*/ 8309057 w 12243467"/>
              <a:gd name="connsiteY1585" fmla="*/ 3586444 h 4565177"/>
              <a:gd name="connsiteX1586" fmla="*/ 8299690 w 12243467"/>
              <a:gd name="connsiteY1586" fmla="*/ 3592776 h 4565177"/>
              <a:gd name="connsiteX1587" fmla="*/ 8249627 w 12243467"/>
              <a:gd name="connsiteY1587" fmla="*/ 3607089 h 4565177"/>
              <a:gd name="connsiteX1588" fmla="*/ 8247169 w 12243467"/>
              <a:gd name="connsiteY1588" fmla="*/ 3607513 h 4565177"/>
              <a:gd name="connsiteX1589" fmla="*/ 8225321 w 12243467"/>
              <a:gd name="connsiteY1589" fmla="*/ 3638647 h 4565177"/>
              <a:gd name="connsiteX1590" fmla="*/ 8224857 w 12243467"/>
              <a:gd name="connsiteY1590" fmla="*/ 3639552 h 4565177"/>
              <a:gd name="connsiteX1591" fmla="*/ 8288444 w 12243467"/>
              <a:gd name="connsiteY1591" fmla="*/ 3620281 h 4565177"/>
              <a:gd name="connsiteX1592" fmla="*/ 8302836 w 12243467"/>
              <a:gd name="connsiteY1592" fmla="*/ 3598679 h 4565177"/>
              <a:gd name="connsiteX1593" fmla="*/ 9803786 w 12243467"/>
              <a:gd name="connsiteY1593" fmla="*/ 3583976 h 4565177"/>
              <a:gd name="connsiteX1594" fmla="*/ 9806829 w 12243467"/>
              <a:gd name="connsiteY1594" fmla="*/ 3589438 h 4565177"/>
              <a:gd name="connsiteX1595" fmla="*/ 9808212 w 12243467"/>
              <a:gd name="connsiteY1595" fmla="*/ 3595102 h 4565177"/>
              <a:gd name="connsiteX1596" fmla="*/ 9794382 w 12243467"/>
              <a:gd name="connsiteY1596" fmla="*/ 3590854 h 4565177"/>
              <a:gd name="connsiteX1597" fmla="*/ 9803786 w 12243467"/>
              <a:gd name="connsiteY1597" fmla="*/ 3583976 h 4565177"/>
              <a:gd name="connsiteX1598" fmla="*/ 1729667 w 12243467"/>
              <a:gd name="connsiteY1598" fmla="*/ 3579830 h 4565177"/>
              <a:gd name="connsiteX1599" fmla="*/ 1744879 w 12243467"/>
              <a:gd name="connsiteY1599" fmla="*/ 3585495 h 4565177"/>
              <a:gd name="connsiteX1600" fmla="*/ 1733816 w 12243467"/>
              <a:gd name="connsiteY1600" fmla="*/ 3587619 h 4565177"/>
              <a:gd name="connsiteX1601" fmla="*/ 1756496 w 12243467"/>
              <a:gd name="connsiteY1601" fmla="*/ 3600465 h 4565177"/>
              <a:gd name="connsiteX1602" fmla="*/ 1792177 w 12243467"/>
              <a:gd name="connsiteY1602" fmla="*/ 3598037 h 4565177"/>
              <a:gd name="connsiteX1603" fmla="*/ 1786645 w 12243467"/>
              <a:gd name="connsiteY1603" fmla="*/ 3606231 h 4565177"/>
              <a:gd name="connsiteX1604" fmla="*/ 1805453 w 12243467"/>
              <a:gd name="connsiteY1604" fmla="*/ 3605523 h 4565177"/>
              <a:gd name="connsiteX1605" fmla="*/ 1803793 w 12243467"/>
              <a:gd name="connsiteY1605" fmla="*/ 3613008 h 4565177"/>
              <a:gd name="connsiteX1606" fmla="*/ 1820389 w 12243467"/>
              <a:gd name="connsiteY1606" fmla="*/ 3605523 h 4565177"/>
              <a:gd name="connsiteX1607" fmla="*/ 1820942 w 12243467"/>
              <a:gd name="connsiteY1607" fmla="*/ 3619785 h 4565177"/>
              <a:gd name="connsiteX1608" fmla="*/ 1811538 w 12243467"/>
              <a:gd name="connsiteY1608" fmla="*/ 3625854 h 4565177"/>
              <a:gd name="connsiteX1609" fmla="*/ 1690668 w 12243467"/>
              <a:gd name="connsiteY1609" fmla="*/ 3585798 h 4565177"/>
              <a:gd name="connsiteX1610" fmla="*/ 1729667 w 12243467"/>
              <a:gd name="connsiteY1610" fmla="*/ 3579830 h 4565177"/>
              <a:gd name="connsiteX1611" fmla="*/ 4797666 w 12243467"/>
              <a:gd name="connsiteY1611" fmla="*/ 3576754 h 4565177"/>
              <a:gd name="connsiteX1612" fmla="*/ 4797327 w 12243467"/>
              <a:gd name="connsiteY1612" fmla="*/ 3576998 h 4565177"/>
              <a:gd name="connsiteX1613" fmla="*/ 4797243 w 12243467"/>
              <a:gd name="connsiteY1613" fmla="*/ 3577419 h 4565177"/>
              <a:gd name="connsiteX1614" fmla="*/ 4797403 w 12243467"/>
              <a:gd name="connsiteY1614" fmla="*/ 3577424 h 4565177"/>
              <a:gd name="connsiteX1615" fmla="*/ 1662179 w 12243467"/>
              <a:gd name="connsiteY1615" fmla="*/ 3570929 h 4565177"/>
              <a:gd name="connsiteX1616" fmla="*/ 1672413 w 12243467"/>
              <a:gd name="connsiteY1616" fmla="*/ 3571333 h 4565177"/>
              <a:gd name="connsiteX1617" fmla="*/ 1679328 w 12243467"/>
              <a:gd name="connsiteY1617" fmla="*/ 3582966 h 4565177"/>
              <a:gd name="connsiteX1618" fmla="*/ 1654711 w 12243467"/>
              <a:gd name="connsiteY1618" fmla="*/ 3574772 h 4565177"/>
              <a:gd name="connsiteX1619" fmla="*/ 1662179 w 12243467"/>
              <a:gd name="connsiteY1619" fmla="*/ 3570929 h 4565177"/>
              <a:gd name="connsiteX1620" fmla="*/ 1726625 w 12243467"/>
              <a:gd name="connsiteY1620" fmla="*/ 3567085 h 4565177"/>
              <a:gd name="connsiteX1621" fmla="*/ 1732986 w 12243467"/>
              <a:gd name="connsiteY1621" fmla="*/ 3567591 h 4565177"/>
              <a:gd name="connsiteX1622" fmla="*/ 1772815 w 12243467"/>
              <a:gd name="connsiteY1622" fmla="*/ 3572749 h 4565177"/>
              <a:gd name="connsiteX1623" fmla="*/ 1806836 w 12243467"/>
              <a:gd name="connsiteY1623" fmla="*/ 3591968 h 4565177"/>
              <a:gd name="connsiteX1624" fmla="*/ 1804346 w 12243467"/>
              <a:gd name="connsiteY1624" fmla="*/ 3595104 h 4565177"/>
              <a:gd name="connsiteX1625" fmla="*/ 1803240 w 12243467"/>
              <a:gd name="connsiteY1625" fmla="*/ 3592575 h 4565177"/>
              <a:gd name="connsiteX1626" fmla="*/ 1720263 w 12243467"/>
              <a:gd name="connsiteY1626" fmla="*/ 3568602 h 4565177"/>
              <a:gd name="connsiteX1627" fmla="*/ 1726625 w 12243467"/>
              <a:gd name="connsiteY1627" fmla="*/ 3567085 h 4565177"/>
              <a:gd name="connsiteX1628" fmla="*/ 7995060 w 12243467"/>
              <a:gd name="connsiteY1628" fmla="*/ 3566803 h 4565177"/>
              <a:gd name="connsiteX1629" fmla="*/ 7973210 w 12243467"/>
              <a:gd name="connsiteY1629" fmla="*/ 3580964 h 4565177"/>
              <a:gd name="connsiteX1630" fmla="*/ 7960948 w 12243467"/>
              <a:gd name="connsiteY1630" fmla="*/ 3599349 h 4565177"/>
              <a:gd name="connsiteX1631" fmla="*/ 7968715 w 12243467"/>
              <a:gd name="connsiteY1631" fmla="*/ 3597315 h 4565177"/>
              <a:gd name="connsiteX1632" fmla="*/ 7976502 w 12243467"/>
              <a:gd name="connsiteY1632" fmla="*/ 3596314 h 4565177"/>
              <a:gd name="connsiteX1633" fmla="*/ 9828126 w 12243467"/>
              <a:gd name="connsiteY1633" fmla="*/ 3564959 h 4565177"/>
              <a:gd name="connsiteX1634" fmla="*/ 9834211 w 12243467"/>
              <a:gd name="connsiteY1634" fmla="*/ 3565768 h 4565177"/>
              <a:gd name="connsiteX1635" fmla="*/ 9822318 w 12243467"/>
              <a:gd name="connsiteY1635" fmla="*/ 3580031 h 4565177"/>
              <a:gd name="connsiteX1636" fmla="*/ 9812637 w 12243467"/>
              <a:gd name="connsiteY1636" fmla="*/ 3575175 h 4565177"/>
              <a:gd name="connsiteX1637" fmla="*/ 9828126 w 12243467"/>
              <a:gd name="connsiteY1637" fmla="*/ 3564959 h 4565177"/>
              <a:gd name="connsiteX1638" fmla="*/ 4826169 w 12243467"/>
              <a:gd name="connsiteY1638" fmla="*/ 3555069 h 4565177"/>
              <a:gd name="connsiteX1639" fmla="*/ 4824736 w 12243467"/>
              <a:gd name="connsiteY1639" fmla="*/ 3555134 h 4565177"/>
              <a:gd name="connsiteX1640" fmla="*/ 4820007 w 12243467"/>
              <a:gd name="connsiteY1640" fmla="*/ 3560409 h 4565177"/>
              <a:gd name="connsiteX1641" fmla="*/ 4820007 w 12243467"/>
              <a:gd name="connsiteY1641" fmla="*/ 3560510 h 4565177"/>
              <a:gd name="connsiteX1642" fmla="*/ 4821668 w 12243467"/>
              <a:gd name="connsiteY1642" fmla="*/ 3564758 h 4565177"/>
              <a:gd name="connsiteX1643" fmla="*/ 4810698 w 12243467"/>
              <a:gd name="connsiteY1643" fmla="*/ 3568616 h 4565177"/>
              <a:gd name="connsiteX1644" fmla="*/ 4812650 w 12243467"/>
              <a:gd name="connsiteY1644" fmla="*/ 3568118 h 4565177"/>
              <a:gd name="connsiteX1645" fmla="*/ 4831700 w 12243467"/>
              <a:gd name="connsiteY1645" fmla="*/ 3571051 h 4565177"/>
              <a:gd name="connsiteX1646" fmla="*/ 4837232 w 12243467"/>
              <a:gd name="connsiteY1646" fmla="*/ 3565791 h 4565177"/>
              <a:gd name="connsiteX1647" fmla="*/ 4828935 w 12243467"/>
              <a:gd name="connsiteY1647" fmla="*/ 3560026 h 4565177"/>
              <a:gd name="connsiteX1648" fmla="*/ 4828105 w 12243467"/>
              <a:gd name="connsiteY1648" fmla="*/ 3555272 h 4565177"/>
              <a:gd name="connsiteX1649" fmla="*/ 9470772 w 12243467"/>
              <a:gd name="connsiteY1649" fmla="*/ 3542301 h 4565177"/>
              <a:gd name="connsiteX1650" fmla="*/ 9466623 w 12243467"/>
              <a:gd name="connsiteY1650" fmla="*/ 3548977 h 4565177"/>
              <a:gd name="connsiteX1651" fmla="*/ 9473815 w 12243467"/>
              <a:gd name="connsiteY1651" fmla="*/ 3543009 h 4565177"/>
              <a:gd name="connsiteX1652" fmla="*/ 10481155 w 12243467"/>
              <a:gd name="connsiteY1652" fmla="*/ 3534512 h 4565177"/>
              <a:gd name="connsiteX1653" fmla="*/ 10454326 w 12243467"/>
              <a:gd name="connsiteY1653" fmla="*/ 3546650 h 4565177"/>
              <a:gd name="connsiteX1654" fmla="*/ 10466219 w 12243467"/>
              <a:gd name="connsiteY1654" fmla="*/ 3537547 h 4565177"/>
              <a:gd name="connsiteX1655" fmla="*/ 10481155 w 12243467"/>
              <a:gd name="connsiteY1655" fmla="*/ 3534512 h 4565177"/>
              <a:gd name="connsiteX1656" fmla="*/ 4727426 w 12243467"/>
              <a:gd name="connsiteY1656" fmla="*/ 3532715 h 4565177"/>
              <a:gd name="connsiteX1657" fmla="*/ 4733789 w 12243467"/>
              <a:gd name="connsiteY1657" fmla="*/ 3541211 h 4565177"/>
              <a:gd name="connsiteX1658" fmla="*/ 4703920 w 12243467"/>
              <a:gd name="connsiteY1658" fmla="*/ 3538794 h 4565177"/>
              <a:gd name="connsiteX1659" fmla="*/ 4684823 w 12243467"/>
              <a:gd name="connsiteY1659" fmla="*/ 3548372 h 4565177"/>
              <a:gd name="connsiteX1660" fmla="*/ 4683550 w 12243467"/>
              <a:gd name="connsiteY1660" fmla="*/ 3550454 h 4565177"/>
              <a:gd name="connsiteX1661" fmla="*/ 4684140 w 12243467"/>
              <a:gd name="connsiteY1661" fmla="*/ 3550568 h 4565177"/>
              <a:gd name="connsiteX1662" fmla="*/ 4731639 w 12243467"/>
              <a:gd name="connsiteY1662" fmla="*/ 3557840 h 4565177"/>
              <a:gd name="connsiteX1663" fmla="*/ 4745362 w 12243467"/>
              <a:gd name="connsiteY1663" fmla="*/ 3547031 h 4565177"/>
              <a:gd name="connsiteX1664" fmla="*/ 4753580 w 12243467"/>
              <a:gd name="connsiteY1664" fmla="*/ 3539033 h 4565177"/>
              <a:gd name="connsiteX1665" fmla="*/ 4753149 w 12243467"/>
              <a:gd name="connsiteY1665" fmla="*/ 3538986 h 4565177"/>
              <a:gd name="connsiteX1666" fmla="*/ 4750660 w 12243467"/>
              <a:gd name="connsiteY1666" fmla="*/ 3537873 h 4565177"/>
              <a:gd name="connsiteX1667" fmla="*/ 4741809 w 12243467"/>
              <a:gd name="connsiteY1667" fmla="*/ 3535952 h 4565177"/>
              <a:gd name="connsiteX1668" fmla="*/ 9487367 w 12243467"/>
              <a:gd name="connsiteY1668" fmla="*/ 3531680 h 4565177"/>
              <a:gd name="connsiteX1669" fmla="*/ 9478793 w 12243467"/>
              <a:gd name="connsiteY1669" fmla="*/ 3535220 h 4565177"/>
              <a:gd name="connsiteX1670" fmla="*/ 9481006 w 12243467"/>
              <a:gd name="connsiteY1670" fmla="*/ 3536940 h 4565177"/>
              <a:gd name="connsiteX1671" fmla="*/ 1531629 w 12243467"/>
              <a:gd name="connsiteY1671" fmla="*/ 3522274 h 4565177"/>
              <a:gd name="connsiteX1672" fmla="*/ 1605478 w 12243467"/>
              <a:gd name="connsiteY1672" fmla="*/ 3544022 h 4565177"/>
              <a:gd name="connsiteX1673" fmla="*/ 1628158 w 12243467"/>
              <a:gd name="connsiteY1673" fmla="*/ 3542606 h 4565177"/>
              <a:gd name="connsiteX1674" fmla="*/ 1624286 w 12243467"/>
              <a:gd name="connsiteY1674" fmla="*/ 3543314 h 4565177"/>
              <a:gd name="connsiteX1675" fmla="*/ 1615435 w 12243467"/>
              <a:gd name="connsiteY1675" fmla="*/ 3558082 h 4565177"/>
              <a:gd name="connsiteX1676" fmla="*/ 1531629 w 12243467"/>
              <a:gd name="connsiteY1676" fmla="*/ 3522274 h 4565177"/>
              <a:gd name="connsiteX1677" fmla="*/ 1565373 w 12243467"/>
              <a:gd name="connsiteY1677" fmla="*/ 3516104 h 4565177"/>
              <a:gd name="connsiteX1678" fmla="*/ 1582245 w 12243467"/>
              <a:gd name="connsiteY1678" fmla="*/ 3522780 h 4565177"/>
              <a:gd name="connsiteX1679" fmla="*/ 1584181 w 12243467"/>
              <a:gd name="connsiteY1679" fmla="*/ 3529557 h 4565177"/>
              <a:gd name="connsiteX1680" fmla="*/ 1565373 w 12243467"/>
              <a:gd name="connsiteY1680" fmla="*/ 3516104 h 4565177"/>
              <a:gd name="connsiteX1681" fmla="*/ 3524736 w 12243467"/>
              <a:gd name="connsiteY1681" fmla="*/ 3511046 h 4565177"/>
              <a:gd name="connsiteX1682" fmla="*/ 3516992 w 12243467"/>
              <a:gd name="connsiteY1682" fmla="*/ 3515497 h 4565177"/>
              <a:gd name="connsiteX1683" fmla="*/ 3512843 w 12243467"/>
              <a:gd name="connsiteY1683" fmla="*/ 3522072 h 4565177"/>
              <a:gd name="connsiteX1684" fmla="*/ 3520311 w 12243467"/>
              <a:gd name="connsiteY1684" fmla="*/ 3518532 h 4565177"/>
              <a:gd name="connsiteX1685" fmla="*/ 3527779 w 12243467"/>
              <a:gd name="connsiteY1685" fmla="*/ 3513069 h 4565177"/>
              <a:gd name="connsiteX1686" fmla="*/ 1805176 w 12243467"/>
              <a:gd name="connsiteY1686" fmla="*/ 3506798 h 4565177"/>
              <a:gd name="connsiteX1687" fmla="*/ 1840856 w 12243467"/>
              <a:gd name="connsiteY1687" fmla="*/ 3512564 h 4565177"/>
              <a:gd name="connsiteX1688" fmla="*/ 1854133 w 12243467"/>
              <a:gd name="connsiteY1688" fmla="*/ 3522982 h 4565177"/>
              <a:gd name="connsiteX1689" fmla="*/ 1820389 w 12243467"/>
              <a:gd name="connsiteY1689" fmla="*/ 3518228 h 4565177"/>
              <a:gd name="connsiteX1690" fmla="*/ 1805176 w 12243467"/>
              <a:gd name="connsiteY1690" fmla="*/ 3506798 h 4565177"/>
              <a:gd name="connsiteX1691" fmla="*/ 1528310 w 12243467"/>
              <a:gd name="connsiteY1691" fmla="*/ 3502651 h 4565177"/>
              <a:gd name="connsiteX1692" fmla="*/ 1534948 w 12243467"/>
              <a:gd name="connsiteY1692" fmla="*/ 3504269 h 4565177"/>
              <a:gd name="connsiteX1693" fmla="*/ 1521672 w 12243467"/>
              <a:gd name="connsiteY1693" fmla="*/ 3505382 h 4565177"/>
              <a:gd name="connsiteX1694" fmla="*/ 1528310 w 12243467"/>
              <a:gd name="connsiteY1694" fmla="*/ 3502651 h 4565177"/>
              <a:gd name="connsiteX1695" fmla="*/ 8353620 w 12243467"/>
              <a:gd name="connsiteY1695" fmla="*/ 3498382 h 4565177"/>
              <a:gd name="connsiteX1696" fmla="*/ 8350306 w 12243467"/>
              <a:gd name="connsiteY1696" fmla="*/ 3500221 h 4565177"/>
              <a:gd name="connsiteX1697" fmla="*/ 8347817 w 12243467"/>
              <a:gd name="connsiteY1697" fmla="*/ 3501132 h 4565177"/>
              <a:gd name="connsiteX1698" fmla="*/ 8347263 w 12243467"/>
              <a:gd name="connsiteY1698" fmla="*/ 3502346 h 4565177"/>
              <a:gd name="connsiteX1699" fmla="*/ 8337583 w 12243467"/>
              <a:gd name="connsiteY1699" fmla="*/ 3505481 h 4565177"/>
              <a:gd name="connsiteX1700" fmla="*/ 8330391 w 12243467"/>
              <a:gd name="connsiteY1700" fmla="*/ 3511854 h 4565177"/>
              <a:gd name="connsiteX1701" fmla="*/ 8323477 w 12243467"/>
              <a:gd name="connsiteY1701" fmla="*/ 3511146 h 4565177"/>
              <a:gd name="connsiteX1702" fmla="*/ 8297201 w 12243467"/>
              <a:gd name="connsiteY1702" fmla="*/ 3519238 h 4565177"/>
              <a:gd name="connsiteX1703" fmla="*/ 8289456 w 12243467"/>
              <a:gd name="connsiteY1703" fmla="*/ 3523992 h 4565177"/>
              <a:gd name="connsiteX1704" fmla="*/ 8288257 w 12243467"/>
              <a:gd name="connsiteY1704" fmla="*/ 3524341 h 4565177"/>
              <a:gd name="connsiteX1705" fmla="*/ 8275416 w 12243467"/>
              <a:gd name="connsiteY1705" fmla="*/ 3550212 h 4565177"/>
              <a:gd name="connsiteX1706" fmla="*/ 8287520 w 12243467"/>
              <a:gd name="connsiteY1706" fmla="*/ 3545588 h 4565177"/>
              <a:gd name="connsiteX1707" fmla="*/ 8310878 w 12243467"/>
              <a:gd name="connsiteY1707" fmla="*/ 3537290 h 4565177"/>
              <a:gd name="connsiteX1708" fmla="*/ 8315352 w 12243467"/>
              <a:gd name="connsiteY1708" fmla="*/ 3532955 h 4565177"/>
              <a:gd name="connsiteX1709" fmla="*/ 8329181 w 12243467"/>
              <a:gd name="connsiteY1709" fmla="*/ 3524622 h 4565177"/>
              <a:gd name="connsiteX1710" fmla="*/ 8323697 w 12243467"/>
              <a:gd name="connsiteY1710" fmla="*/ 3532735 h 4565177"/>
              <a:gd name="connsiteX1711" fmla="*/ 8339158 w 12243467"/>
              <a:gd name="connsiteY1711" fmla="*/ 3527243 h 4565177"/>
              <a:gd name="connsiteX1712" fmla="*/ 8353244 w 12243467"/>
              <a:gd name="connsiteY1712" fmla="*/ 3499537 h 4565177"/>
              <a:gd name="connsiteX1713" fmla="*/ 8540600 w 12243467"/>
              <a:gd name="connsiteY1713" fmla="*/ 3496479 h 4565177"/>
              <a:gd name="connsiteX1714" fmla="*/ 8496622 w 12243467"/>
              <a:gd name="connsiteY1714" fmla="*/ 3523486 h 4565177"/>
              <a:gd name="connsiteX1715" fmla="*/ 8418900 w 12243467"/>
              <a:gd name="connsiteY1715" fmla="*/ 3551202 h 4565177"/>
              <a:gd name="connsiteX1716" fmla="*/ 8397129 w 12243467"/>
              <a:gd name="connsiteY1716" fmla="*/ 3556534 h 4565177"/>
              <a:gd name="connsiteX1717" fmla="*/ 8396427 w 12243467"/>
              <a:gd name="connsiteY1717" fmla="*/ 3559268 h 4565177"/>
              <a:gd name="connsiteX1718" fmla="*/ 8375371 w 12243467"/>
              <a:gd name="connsiteY1718" fmla="*/ 3586123 h 4565177"/>
              <a:gd name="connsiteX1719" fmla="*/ 8374214 w 12243467"/>
              <a:gd name="connsiteY1719" fmla="*/ 3588458 h 4565177"/>
              <a:gd name="connsiteX1720" fmla="*/ 8409220 w 12243467"/>
              <a:gd name="connsiteY1720" fmla="*/ 3575276 h 4565177"/>
              <a:gd name="connsiteX1721" fmla="*/ 8419730 w 12243467"/>
              <a:gd name="connsiteY1721" fmla="*/ 3558283 h 4565177"/>
              <a:gd name="connsiteX1722" fmla="*/ 8467857 w 12243467"/>
              <a:gd name="connsiteY1722" fmla="*/ 3547561 h 4565177"/>
              <a:gd name="connsiteX1723" fmla="*/ 8465644 w 12243467"/>
              <a:gd name="connsiteY1723" fmla="*/ 3533703 h 4565177"/>
              <a:gd name="connsiteX1724" fmla="*/ 8504539 w 12243467"/>
              <a:gd name="connsiteY1724" fmla="*/ 3532262 h 4565177"/>
              <a:gd name="connsiteX1725" fmla="*/ 8507558 w 12243467"/>
              <a:gd name="connsiteY1725" fmla="*/ 3530386 h 4565177"/>
              <a:gd name="connsiteX1726" fmla="*/ 8509518 w 12243467"/>
              <a:gd name="connsiteY1726" fmla="*/ 3521487 h 4565177"/>
              <a:gd name="connsiteX1727" fmla="*/ 8508964 w 12243467"/>
              <a:gd name="connsiteY1727" fmla="*/ 3527050 h 4565177"/>
              <a:gd name="connsiteX1728" fmla="*/ 8511577 w 12243467"/>
              <a:gd name="connsiteY1728" fmla="*/ 3527890 h 4565177"/>
              <a:gd name="connsiteX1729" fmla="*/ 8540323 w 12243467"/>
              <a:gd name="connsiteY1729" fmla="*/ 3510033 h 4565177"/>
              <a:gd name="connsiteX1730" fmla="*/ 8540336 w 12243467"/>
              <a:gd name="connsiteY1730" fmla="*/ 3509407 h 4565177"/>
              <a:gd name="connsiteX1731" fmla="*/ 8522241 w 12243467"/>
              <a:gd name="connsiteY1731" fmla="*/ 3519969 h 4565177"/>
              <a:gd name="connsiteX1732" fmla="*/ 8535517 w 12243467"/>
              <a:gd name="connsiteY1732" fmla="*/ 3499650 h 4565177"/>
              <a:gd name="connsiteX1733" fmla="*/ 8540595 w 12243467"/>
              <a:gd name="connsiteY1733" fmla="*/ 3496723 h 4565177"/>
              <a:gd name="connsiteX1734" fmla="*/ 3611105 w 12243467"/>
              <a:gd name="connsiteY1734" fmla="*/ 3495765 h 4565177"/>
              <a:gd name="connsiteX1735" fmla="*/ 3577129 w 12243467"/>
              <a:gd name="connsiteY1735" fmla="*/ 3496982 h 4565177"/>
              <a:gd name="connsiteX1736" fmla="*/ 3569544 w 12243467"/>
              <a:gd name="connsiteY1736" fmla="*/ 3499414 h 4565177"/>
              <a:gd name="connsiteX1737" fmla="*/ 3539395 w 12243467"/>
              <a:gd name="connsiteY1737" fmla="*/ 3499515 h 4565177"/>
              <a:gd name="connsiteX1738" fmla="*/ 3535800 w 12243467"/>
              <a:gd name="connsiteY1738" fmla="*/ 3505989 h 4565177"/>
              <a:gd name="connsiteX1739" fmla="*/ 3539119 w 12243467"/>
              <a:gd name="connsiteY1739" fmla="*/ 3511350 h 4565177"/>
              <a:gd name="connsiteX1740" fmla="*/ 3536906 w 12243467"/>
              <a:gd name="connsiteY1740" fmla="*/ 3513879 h 4565177"/>
              <a:gd name="connsiteX1741" fmla="*/ 3540502 w 12243467"/>
              <a:gd name="connsiteY1741" fmla="*/ 3515598 h 4565177"/>
              <a:gd name="connsiteX1742" fmla="*/ 3559310 w 12243467"/>
              <a:gd name="connsiteY1742" fmla="*/ 3506292 h 4565177"/>
              <a:gd name="connsiteX1743" fmla="*/ 3557927 w 12243467"/>
              <a:gd name="connsiteY1743" fmla="*/ 3512968 h 4565177"/>
              <a:gd name="connsiteX1744" fmla="*/ 3601075 w 12243467"/>
              <a:gd name="connsiteY1744" fmla="*/ 3501740 h 4565177"/>
              <a:gd name="connsiteX1745" fmla="*/ 1795772 w 12243467"/>
              <a:gd name="connsiteY1745" fmla="*/ 3495368 h 4565177"/>
              <a:gd name="connsiteX1746" fmla="*/ 1807112 w 12243467"/>
              <a:gd name="connsiteY1746" fmla="*/ 3498908 h 4565177"/>
              <a:gd name="connsiteX1747" fmla="*/ 1795772 w 12243467"/>
              <a:gd name="connsiteY1747" fmla="*/ 3501032 h 4565177"/>
              <a:gd name="connsiteX1748" fmla="*/ 1797985 w 12243467"/>
              <a:gd name="connsiteY1748" fmla="*/ 3510642 h 4565177"/>
              <a:gd name="connsiteX1749" fmla="*/ 1767836 w 12243467"/>
              <a:gd name="connsiteY1749" fmla="*/ 3499313 h 4565177"/>
              <a:gd name="connsiteX1750" fmla="*/ 1786645 w 12243467"/>
              <a:gd name="connsiteY1750" fmla="*/ 3495772 h 4565177"/>
              <a:gd name="connsiteX1751" fmla="*/ 1782772 w 12243467"/>
              <a:gd name="connsiteY1751" fmla="*/ 3499313 h 4565177"/>
              <a:gd name="connsiteX1752" fmla="*/ 1795772 w 12243467"/>
              <a:gd name="connsiteY1752" fmla="*/ 3495368 h 4565177"/>
              <a:gd name="connsiteX1753" fmla="*/ 1947620 w 12243467"/>
              <a:gd name="connsiteY1753" fmla="*/ 3494255 h 4565177"/>
              <a:gd name="connsiteX1754" fmla="*/ 1952599 w 12243467"/>
              <a:gd name="connsiteY1754" fmla="*/ 3494255 h 4565177"/>
              <a:gd name="connsiteX1755" fmla="*/ 1963939 w 12243467"/>
              <a:gd name="connsiteY1755" fmla="*/ 3496986 h 4565177"/>
              <a:gd name="connsiteX1756" fmla="*/ 1943195 w 12243467"/>
              <a:gd name="connsiteY1756" fmla="*/ 3496683 h 4565177"/>
              <a:gd name="connsiteX1757" fmla="*/ 1947620 w 12243467"/>
              <a:gd name="connsiteY1757" fmla="*/ 3494255 h 4565177"/>
              <a:gd name="connsiteX1758" fmla="*/ 1847771 w 12243467"/>
              <a:gd name="connsiteY1758" fmla="*/ 3490816 h 4565177"/>
              <a:gd name="connsiteX1759" fmla="*/ 1857452 w 12243467"/>
              <a:gd name="connsiteY1759" fmla="*/ 3496379 h 4565177"/>
              <a:gd name="connsiteX1760" fmla="*/ 1843899 w 12243467"/>
              <a:gd name="connsiteY1760" fmla="*/ 3497189 h 4565177"/>
              <a:gd name="connsiteX1761" fmla="*/ 1843622 w 12243467"/>
              <a:gd name="connsiteY1761" fmla="*/ 3491423 h 4565177"/>
              <a:gd name="connsiteX1762" fmla="*/ 1847771 w 12243467"/>
              <a:gd name="connsiteY1762" fmla="*/ 3490816 h 4565177"/>
              <a:gd name="connsiteX1763" fmla="*/ 9404944 w 12243467"/>
              <a:gd name="connsiteY1763" fmla="*/ 3486465 h 4565177"/>
              <a:gd name="connsiteX1764" fmla="*/ 9403561 w 12243467"/>
              <a:gd name="connsiteY1764" fmla="*/ 3488285 h 4565177"/>
              <a:gd name="connsiteX1765" fmla="*/ 9378944 w 12243467"/>
              <a:gd name="connsiteY1765" fmla="*/ 3507100 h 4565177"/>
              <a:gd name="connsiteX1766" fmla="*/ 9368157 w 12243467"/>
              <a:gd name="connsiteY1766" fmla="*/ 3520047 h 4565177"/>
              <a:gd name="connsiteX1767" fmla="*/ 9366221 w 12243467"/>
              <a:gd name="connsiteY1767" fmla="*/ 3524194 h 4565177"/>
              <a:gd name="connsiteX1768" fmla="*/ 9363732 w 12243467"/>
              <a:gd name="connsiteY1768" fmla="*/ 3525408 h 4565177"/>
              <a:gd name="connsiteX1769" fmla="*/ 9358753 w 12243467"/>
              <a:gd name="connsiteY1769" fmla="*/ 3531376 h 4565177"/>
              <a:gd name="connsiteX1770" fmla="*/ 9339945 w 12243467"/>
              <a:gd name="connsiteY1770" fmla="*/ 3557474 h 4565177"/>
              <a:gd name="connsiteX1771" fmla="*/ 9295690 w 12243467"/>
              <a:gd name="connsiteY1771" fmla="*/ 3598036 h 4565177"/>
              <a:gd name="connsiteX1772" fmla="*/ 9265542 w 12243467"/>
              <a:gd name="connsiteY1772" fmla="*/ 3628887 h 4565177"/>
              <a:gd name="connsiteX1773" fmla="*/ 9233181 w 12243467"/>
              <a:gd name="connsiteY1773" fmla="*/ 3657109 h 4565177"/>
              <a:gd name="connsiteX1774" fmla="*/ 9165970 w 12243467"/>
              <a:gd name="connsiteY1774" fmla="*/ 3702223 h 4565177"/>
              <a:gd name="connsiteX1775" fmla="*/ 9146885 w 12243467"/>
              <a:gd name="connsiteY1775" fmla="*/ 3716283 h 4565177"/>
              <a:gd name="connsiteX1776" fmla="*/ 9149098 w 12243467"/>
              <a:gd name="connsiteY1776" fmla="*/ 3715474 h 4565177"/>
              <a:gd name="connsiteX1777" fmla="*/ 9178693 w 12243467"/>
              <a:gd name="connsiteY1777" fmla="*/ 3710214 h 4565177"/>
              <a:gd name="connsiteX1778" fmla="*/ 9189757 w 12243467"/>
              <a:gd name="connsiteY1778" fmla="*/ 3700705 h 4565177"/>
              <a:gd name="connsiteX1779" fmla="*/ 9229862 w 12243467"/>
              <a:gd name="connsiteY1779" fmla="*/ 3689680 h 4565177"/>
              <a:gd name="connsiteX1780" fmla="*/ 9255585 w 12243467"/>
              <a:gd name="connsiteY1780" fmla="*/ 3677339 h 4565177"/>
              <a:gd name="connsiteX1781" fmla="*/ 9271904 w 12243467"/>
              <a:gd name="connsiteY1781" fmla="*/ 3663987 h 4565177"/>
              <a:gd name="connsiteX1782" fmla="*/ 9334413 w 12243467"/>
              <a:gd name="connsiteY1782" fmla="*/ 3609162 h 4565177"/>
              <a:gd name="connsiteX1783" fmla="*/ 9357923 w 12243467"/>
              <a:gd name="connsiteY1783" fmla="*/ 3600362 h 4565177"/>
              <a:gd name="connsiteX1784" fmla="*/ 9349902 w 12243467"/>
              <a:gd name="connsiteY1784" fmla="*/ 3592675 h 4565177"/>
              <a:gd name="connsiteX1785" fmla="*/ 9386135 w 12243467"/>
              <a:gd name="connsiteY1785" fmla="*/ 3567083 h 4565177"/>
              <a:gd name="connsiteX1786" fmla="*/ 9386965 w 12243467"/>
              <a:gd name="connsiteY1786" fmla="*/ 3551202 h 4565177"/>
              <a:gd name="connsiteX1787" fmla="*/ 9394433 w 12243467"/>
              <a:gd name="connsiteY1787" fmla="*/ 3549786 h 4565177"/>
              <a:gd name="connsiteX1788" fmla="*/ 9423475 w 12243467"/>
              <a:gd name="connsiteY1788" fmla="*/ 3513978 h 4565177"/>
              <a:gd name="connsiteX1789" fmla="*/ 9412965 w 12243467"/>
              <a:gd name="connsiteY1789" fmla="*/ 3519946 h 4565177"/>
              <a:gd name="connsiteX1790" fmla="*/ 9405773 w 12243467"/>
              <a:gd name="connsiteY1790" fmla="*/ 3514484 h 4565177"/>
              <a:gd name="connsiteX1791" fmla="*/ 9424858 w 12243467"/>
              <a:gd name="connsiteY1791" fmla="*/ 3493849 h 4565177"/>
              <a:gd name="connsiteX1792" fmla="*/ 9422369 w 12243467"/>
              <a:gd name="connsiteY1792" fmla="*/ 3487375 h 4565177"/>
              <a:gd name="connsiteX1793" fmla="*/ 9411305 w 12243467"/>
              <a:gd name="connsiteY1793" fmla="*/ 3488993 h 4565177"/>
              <a:gd name="connsiteX1794" fmla="*/ 1856898 w 12243467"/>
              <a:gd name="connsiteY1794" fmla="*/ 3478880 h 4565177"/>
              <a:gd name="connsiteX1795" fmla="*/ 1858835 w 12243467"/>
              <a:gd name="connsiteY1795" fmla="*/ 3486264 h 4565177"/>
              <a:gd name="connsiteX1796" fmla="*/ 1853303 w 12243467"/>
              <a:gd name="connsiteY1796" fmla="*/ 3485961 h 4565177"/>
              <a:gd name="connsiteX1797" fmla="*/ 1856898 w 12243467"/>
              <a:gd name="connsiteY1797" fmla="*/ 3478880 h 4565177"/>
              <a:gd name="connsiteX1798" fmla="*/ 1832282 w 12243467"/>
              <a:gd name="connsiteY1798" fmla="*/ 3473923 h 4565177"/>
              <a:gd name="connsiteX1799" fmla="*/ 1839750 w 12243467"/>
              <a:gd name="connsiteY1799" fmla="*/ 3475340 h 4565177"/>
              <a:gd name="connsiteX1800" fmla="*/ 1836154 w 12243467"/>
              <a:gd name="connsiteY1800" fmla="*/ 3479993 h 4565177"/>
              <a:gd name="connsiteX1801" fmla="*/ 1832282 w 12243467"/>
              <a:gd name="connsiteY1801" fmla="*/ 3482420 h 4565177"/>
              <a:gd name="connsiteX1802" fmla="*/ 1832282 w 12243467"/>
              <a:gd name="connsiteY1802" fmla="*/ 3473923 h 4565177"/>
              <a:gd name="connsiteX1803" fmla="*/ 10566068 w 12243467"/>
              <a:gd name="connsiteY1803" fmla="*/ 3468763 h 4565177"/>
              <a:gd name="connsiteX1804" fmla="*/ 10563856 w 12243467"/>
              <a:gd name="connsiteY1804" fmla="*/ 3478372 h 4565177"/>
              <a:gd name="connsiteX1805" fmla="*/ 10566068 w 12243467"/>
              <a:gd name="connsiteY1805" fmla="*/ 3468763 h 4565177"/>
              <a:gd name="connsiteX1806" fmla="*/ 1797155 w 12243467"/>
              <a:gd name="connsiteY1806" fmla="*/ 3464011 h 4565177"/>
              <a:gd name="connsiteX1807" fmla="*/ 1823154 w 12243467"/>
              <a:gd name="connsiteY1807" fmla="*/ 3477262 h 4565177"/>
              <a:gd name="connsiteX1808" fmla="*/ 1796602 w 12243467"/>
              <a:gd name="connsiteY1808" fmla="*/ 3467955 h 4565177"/>
              <a:gd name="connsiteX1809" fmla="*/ 1791623 w 12243467"/>
              <a:gd name="connsiteY1809" fmla="*/ 3478981 h 4565177"/>
              <a:gd name="connsiteX1810" fmla="*/ 1797155 w 12243467"/>
              <a:gd name="connsiteY1810" fmla="*/ 3464011 h 4565177"/>
              <a:gd name="connsiteX1811" fmla="*/ 2445482 w 12243467"/>
              <a:gd name="connsiteY1811" fmla="*/ 3457840 h 4565177"/>
              <a:gd name="connsiteX1812" fmla="*/ 2452950 w 12243467"/>
              <a:gd name="connsiteY1812" fmla="*/ 3459256 h 4565177"/>
              <a:gd name="connsiteX1813" fmla="*/ 2461801 w 12243467"/>
              <a:gd name="connsiteY1813" fmla="*/ 3466742 h 4565177"/>
              <a:gd name="connsiteX1814" fmla="*/ 2439120 w 12243467"/>
              <a:gd name="connsiteY1814" fmla="*/ 3467854 h 4565177"/>
              <a:gd name="connsiteX1815" fmla="*/ 2438567 w 12243467"/>
              <a:gd name="connsiteY1815" fmla="*/ 3459358 h 4565177"/>
              <a:gd name="connsiteX1816" fmla="*/ 2445482 w 12243467"/>
              <a:gd name="connsiteY1816" fmla="*/ 3457840 h 4565177"/>
              <a:gd name="connsiteX1817" fmla="*/ 2410908 w 12243467"/>
              <a:gd name="connsiteY1817" fmla="*/ 3457638 h 4565177"/>
              <a:gd name="connsiteX1818" fmla="*/ 2423908 w 12243467"/>
              <a:gd name="connsiteY1818" fmla="*/ 3459256 h 4565177"/>
              <a:gd name="connsiteX1819" fmla="*/ 2419759 w 12243467"/>
              <a:gd name="connsiteY1819" fmla="*/ 3464213 h 4565177"/>
              <a:gd name="connsiteX1820" fmla="*/ 2414504 w 12243467"/>
              <a:gd name="connsiteY1820" fmla="*/ 3468461 h 4565177"/>
              <a:gd name="connsiteX1821" fmla="*/ 2410908 w 12243467"/>
              <a:gd name="connsiteY1821" fmla="*/ 3457638 h 4565177"/>
              <a:gd name="connsiteX1822" fmla="*/ 8455583 w 12243467"/>
              <a:gd name="connsiteY1822" fmla="*/ 3455535 h 4565177"/>
              <a:gd name="connsiteX1823" fmla="*/ 8463051 w 12243467"/>
              <a:gd name="connsiteY1823" fmla="*/ 3460290 h 4565177"/>
              <a:gd name="connsiteX1824" fmla="*/ 8459178 w 12243467"/>
              <a:gd name="connsiteY1824" fmla="*/ 3468078 h 4565177"/>
              <a:gd name="connsiteX1825" fmla="*/ 8445902 w 12243467"/>
              <a:gd name="connsiteY1825" fmla="*/ 3463729 h 4565177"/>
              <a:gd name="connsiteX1826" fmla="*/ 8455583 w 12243467"/>
              <a:gd name="connsiteY1826" fmla="*/ 3455535 h 4565177"/>
              <a:gd name="connsiteX1827" fmla="*/ 1903366 w 12243467"/>
              <a:gd name="connsiteY1827" fmla="*/ 3454401 h 4565177"/>
              <a:gd name="connsiteX1828" fmla="*/ 1925769 w 12243467"/>
              <a:gd name="connsiteY1828" fmla="*/ 3461381 h 4565177"/>
              <a:gd name="connsiteX1829" fmla="*/ 1928259 w 12243467"/>
              <a:gd name="connsiteY1829" fmla="*/ 3467652 h 4565177"/>
              <a:gd name="connsiteX1830" fmla="*/ 1922450 w 12243467"/>
              <a:gd name="connsiteY1830" fmla="*/ 3473418 h 4565177"/>
              <a:gd name="connsiteX1831" fmla="*/ 1911387 w 12243467"/>
              <a:gd name="connsiteY1831" fmla="*/ 3469776 h 4565177"/>
              <a:gd name="connsiteX1832" fmla="*/ 1903919 w 12243467"/>
              <a:gd name="connsiteY1832" fmla="*/ 3465629 h 4565177"/>
              <a:gd name="connsiteX1833" fmla="*/ 1903366 w 12243467"/>
              <a:gd name="connsiteY1833" fmla="*/ 3454401 h 4565177"/>
              <a:gd name="connsiteX1834" fmla="*/ 2227806 w 12243467"/>
              <a:gd name="connsiteY1834" fmla="*/ 3450557 h 4565177"/>
              <a:gd name="connsiteX1835" fmla="*/ 2239976 w 12243467"/>
              <a:gd name="connsiteY1835" fmla="*/ 3451973 h 4565177"/>
              <a:gd name="connsiteX1836" fmla="*/ 2217295 w 12243467"/>
              <a:gd name="connsiteY1836" fmla="*/ 3456626 h 4565177"/>
              <a:gd name="connsiteX1837" fmla="*/ 2227806 w 12243467"/>
              <a:gd name="connsiteY1837" fmla="*/ 3450557 h 4565177"/>
              <a:gd name="connsiteX1838" fmla="*/ 1895068 w 12243467"/>
              <a:gd name="connsiteY1838" fmla="*/ 3450153 h 4565177"/>
              <a:gd name="connsiteX1839" fmla="*/ 1888153 w 12243467"/>
              <a:gd name="connsiteY1839" fmla="*/ 3462696 h 4565177"/>
              <a:gd name="connsiteX1840" fmla="*/ 1885664 w 12243467"/>
              <a:gd name="connsiteY1840" fmla="*/ 3450355 h 4565177"/>
              <a:gd name="connsiteX1841" fmla="*/ 1895068 w 12243467"/>
              <a:gd name="connsiteY1841" fmla="*/ 3450153 h 4565177"/>
              <a:gd name="connsiteX1842" fmla="*/ 1402461 w 12243467"/>
              <a:gd name="connsiteY1842" fmla="*/ 3446815 h 4565177"/>
              <a:gd name="connsiteX1843" fmla="*/ 1417674 w 12243467"/>
              <a:gd name="connsiteY1843" fmla="*/ 3452681 h 4565177"/>
              <a:gd name="connsiteX1844" fmla="*/ 1425695 w 12243467"/>
              <a:gd name="connsiteY1844" fmla="*/ 3462493 h 4565177"/>
              <a:gd name="connsiteX1845" fmla="*/ 1402461 w 12243467"/>
              <a:gd name="connsiteY1845" fmla="*/ 3446815 h 4565177"/>
              <a:gd name="connsiteX1846" fmla="*/ 1739624 w 12243467"/>
              <a:gd name="connsiteY1846" fmla="*/ 3441757 h 4565177"/>
              <a:gd name="connsiteX1847" fmla="*/ 1745156 w 12243467"/>
              <a:gd name="connsiteY1847" fmla="*/ 3441959 h 4565177"/>
              <a:gd name="connsiteX1848" fmla="*/ 1781389 w 12243467"/>
              <a:gd name="connsiteY1848" fmla="*/ 3456728 h 4565177"/>
              <a:gd name="connsiteX1849" fmla="*/ 1783602 w 12243467"/>
              <a:gd name="connsiteY1849" fmla="*/ 3460673 h 4565177"/>
              <a:gd name="connsiteX1850" fmla="*/ 1747092 w 12243467"/>
              <a:gd name="connsiteY1850" fmla="*/ 3445904 h 4565177"/>
              <a:gd name="connsiteX1851" fmla="*/ 1735476 w 12243467"/>
              <a:gd name="connsiteY1851" fmla="*/ 3442364 h 4565177"/>
              <a:gd name="connsiteX1852" fmla="*/ 1739624 w 12243467"/>
              <a:gd name="connsiteY1852" fmla="*/ 3441757 h 4565177"/>
              <a:gd name="connsiteX1853" fmla="*/ 10603408 w 12243467"/>
              <a:gd name="connsiteY1853" fmla="*/ 3440339 h 4565177"/>
              <a:gd name="connsiteX1854" fmla="*/ 10612812 w 12243467"/>
              <a:gd name="connsiteY1854" fmla="*/ 3440744 h 4565177"/>
              <a:gd name="connsiteX1855" fmla="*/ 10589855 w 12243467"/>
              <a:gd name="connsiteY1855" fmla="*/ 3450353 h 4565177"/>
              <a:gd name="connsiteX1856" fmla="*/ 10603408 w 12243467"/>
              <a:gd name="connsiteY1856" fmla="*/ 3440339 h 4565177"/>
              <a:gd name="connsiteX1857" fmla="*/ 1875983 w 12243467"/>
              <a:gd name="connsiteY1857" fmla="*/ 3439633 h 4565177"/>
              <a:gd name="connsiteX1858" fmla="*/ 1872664 w 12243467"/>
              <a:gd name="connsiteY1858" fmla="*/ 3454502 h 4565177"/>
              <a:gd name="connsiteX1859" fmla="*/ 1848601 w 12243467"/>
              <a:gd name="connsiteY1859" fmla="*/ 3454907 h 4565177"/>
              <a:gd name="connsiteX1860" fmla="*/ 1846941 w 12243467"/>
              <a:gd name="connsiteY1860" fmla="*/ 3465326 h 4565177"/>
              <a:gd name="connsiteX1861" fmla="*/ 1822601 w 12243467"/>
              <a:gd name="connsiteY1861" fmla="*/ 3454502 h 4565177"/>
              <a:gd name="connsiteX1862" fmla="*/ 1830069 w 12243467"/>
              <a:gd name="connsiteY1862" fmla="*/ 3450052 h 4565177"/>
              <a:gd name="connsiteX1863" fmla="*/ 1843069 w 12243467"/>
              <a:gd name="connsiteY1863" fmla="*/ 3454705 h 4565177"/>
              <a:gd name="connsiteX1864" fmla="*/ 1833665 w 12243467"/>
              <a:gd name="connsiteY1864" fmla="*/ 3446612 h 4565177"/>
              <a:gd name="connsiteX1865" fmla="*/ 1848324 w 12243467"/>
              <a:gd name="connsiteY1865" fmla="*/ 3443578 h 4565177"/>
              <a:gd name="connsiteX1866" fmla="*/ 1875983 w 12243467"/>
              <a:gd name="connsiteY1866" fmla="*/ 3439633 h 4565177"/>
              <a:gd name="connsiteX1867" fmla="*/ 8341732 w 12243467"/>
              <a:gd name="connsiteY1867" fmla="*/ 3428808 h 4565177"/>
              <a:gd name="connsiteX1868" fmla="*/ 8337122 w 12243467"/>
              <a:gd name="connsiteY1868" fmla="*/ 3430569 h 4565177"/>
              <a:gd name="connsiteX1869" fmla="*/ 8337131 w 12243467"/>
              <a:gd name="connsiteY1869" fmla="*/ 3431080 h 4565177"/>
              <a:gd name="connsiteX1870" fmla="*/ 1707263 w 12243467"/>
              <a:gd name="connsiteY1870" fmla="*/ 3428405 h 4565177"/>
              <a:gd name="connsiteX1871" fmla="*/ 1710306 w 12243467"/>
              <a:gd name="connsiteY1871" fmla="*/ 3428810 h 4565177"/>
              <a:gd name="connsiteX1872" fmla="*/ 1721093 w 12243467"/>
              <a:gd name="connsiteY1872" fmla="*/ 3430731 h 4565177"/>
              <a:gd name="connsiteX1873" fmla="*/ 1721093 w 12243467"/>
              <a:gd name="connsiteY1873" fmla="*/ 3436598 h 4565177"/>
              <a:gd name="connsiteX1874" fmla="*/ 1703668 w 12243467"/>
              <a:gd name="connsiteY1874" fmla="*/ 3429720 h 4565177"/>
              <a:gd name="connsiteX1875" fmla="*/ 1707263 w 12243467"/>
              <a:gd name="connsiteY1875" fmla="*/ 3428405 h 4565177"/>
              <a:gd name="connsiteX1876" fmla="*/ 1958684 w 12243467"/>
              <a:gd name="connsiteY1876" fmla="*/ 3423651 h 4565177"/>
              <a:gd name="connsiteX1877" fmla="*/ 1964215 w 12243467"/>
              <a:gd name="connsiteY1877" fmla="*/ 3426786 h 4565177"/>
              <a:gd name="connsiteX1878" fmla="*/ 1964769 w 12243467"/>
              <a:gd name="connsiteY1878" fmla="*/ 3429619 h 4565177"/>
              <a:gd name="connsiteX1879" fmla="*/ 1955088 w 12243467"/>
              <a:gd name="connsiteY1879" fmla="*/ 3432856 h 4565177"/>
              <a:gd name="connsiteX1880" fmla="*/ 1958684 w 12243467"/>
              <a:gd name="connsiteY1880" fmla="*/ 3423651 h 4565177"/>
              <a:gd name="connsiteX1881" fmla="*/ 1786092 w 12243467"/>
              <a:gd name="connsiteY1881" fmla="*/ 3422235 h 4565177"/>
              <a:gd name="connsiteX1882" fmla="*/ 1823984 w 12243467"/>
              <a:gd name="connsiteY1882" fmla="*/ 3429416 h 4565177"/>
              <a:gd name="connsiteX1883" fmla="*/ 1824261 w 12243467"/>
              <a:gd name="connsiteY1883" fmla="*/ 3440745 h 4565177"/>
              <a:gd name="connsiteX1884" fmla="*/ 1823708 w 12243467"/>
              <a:gd name="connsiteY1884" fmla="*/ 3442667 h 4565177"/>
              <a:gd name="connsiteX1885" fmla="*/ 1811261 w 12243467"/>
              <a:gd name="connsiteY1885" fmla="*/ 3444792 h 4565177"/>
              <a:gd name="connsiteX1886" fmla="*/ 1776964 w 12243467"/>
              <a:gd name="connsiteY1886" fmla="*/ 3431136 h 4565177"/>
              <a:gd name="connsiteX1887" fmla="*/ 1786092 w 12243467"/>
              <a:gd name="connsiteY1887" fmla="*/ 3422235 h 4565177"/>
              <a:gd name="connsiteX1888" fmla="*/ 1866026 w 12243467"/>
              <a:gd name="connsiteY1888" fmla="*/ 3419706 h 4565177"/>
              <a:gd name="connsiteX1889" fmla="*/ 1906132 w 12243467"/>
              <a:gd name="connsiteY1889" fmla="*/ 3436699 h 4565177"/>
              <a:gd name="connsiteX1890" fmla="*/ 1885940 w 12243467"/>
              <a:gd name="connsiteY1890" fmla="*/ 3441959 h 4565177"/>
              <a:gd name="connsiteX1891" fmla="*/ 1851367 w 12243467"/>
              <a:gd name="connsiteY1891" fmla="*/ 3419807 h 4565177"/>
              <a:gd name="connsiteX1892" fmla="*/ 1866026 w 12243467"/>
              <a:gd name="connsiteY1892" fmla="*/ 3419706 h 4565177"/>
              <a:gd name="connsiteX1893" fmla="*/ 1690391 w 12243467"/>
              <a:gd name="connsiteY1893" fmla="*/ 3418593 h 4565177"/>
              <a:gd name="connsiteX1894" fmla="*/ 1695923 w 12243467"/>
              <a:gd name="connsiteY1894" fmla="*/ 3420009 h 4565177"/>
              <a:gd name="connsiteX1895" fmla="*/ 1695923 w 12243467"/>
              <a:gd name="connsiteY1895" fmla="*/ 3425674 h 4565177"/>
              <a:gd name="connsiteX1896" fmla="*/ 1684583 w 12243467"/>
              <a:gd name="connsiteY1896" fmla="*/ 3419503 h 4565177"/>
              <a:gd name="connsiteX1897" fmla="*/ 1690391 w 12243467"/>
              <a:gd name="connsiteY1897" fmla="*/ 3418593 h 4565177"/>
              <a:gd name="connsiteX1898" fmla="*/ 1906132 w 12243467"/>
              <a:gd name="connsiteY1898" fmla="*/ 3416469 h 4565177"/>
              <a:gd name="connsiteX1899" fmla="*/ 1927982 w 12243467"/>
              <a:gd name="connsiteY1899" fmla="*/ 3417683 h 4565177"/>
              <a:gd name="connsiteX1900" fmla="*/ 1922727 w 12243467"/>
              <a:gd name="connsiteY1900" fmla="*/ 3425876 h 4565177"/>
              <a:gd name="connsiteX1901" fmla="*/ 1906132 w 12243467"/>
              <a:gd name="connsiteY1901" fmla="*/ 3416469 h 4565177"/>
              <a:gd name="connsiteX1902" fmla="*/ 10642131 w 12243467"/>
              <a:gd name="connsiteY1902" fmla="*/ 3413331 h 4565177"/>
              <a:gd name="connsiteX1903" fmla="*/ 10641854 w 12243467"/>
              <a:gd name="connsiteY1903" fmla="*/ 3416164 h 4565177"/>
              <a:gd name="connsiteX1904" fmla="*/ 10658450 w 12243467"/>
              <a:gd name="connsiteY1904" fmla="*/ 3426785 h 4565177"/>
              <a:gd name="connsiteX1905" fmla="*/ 10588472 w 12243467"/>
              <a:gd name="connsiteY1905" fmla="*/ 3476046 h 4565177"/>
              <a:gd name="connsiteX1906" fmla="*/ 10637705 w 12243467"/>
              <a:gd name="connsiteY1906" fmla="*/ 3429819 h 4565177"/>
              <a:gd name="connsiteX1907" fmla="*/ 10642131 w 12243467"/>
              <a:gd name="connsiteY1907" fmla="*/ 3413331 h 4565177"/>
              <a:gd name="connsiteX1908" fmla="*/ 1833942 w 12243467"/>
              <a:gd name="connsiteY1908" fmla="*/ 3409287 h 4565177"/>
              <a:gd name="connsiteX1909" fmla="*/ 1845835 w 12243467"/>
              <a:gd name="connsiteY1909" fmla="*/ 3411310 h 4565177"/>
              <a:gd name="connsiteX1910" fmla="*/ 1838367 w 12243467"/>
              <a:gd name="connsiteY1910" fmla="*/ 3412524 h 4565177"/>
              <a:gd name="connsiteX1911" fmla="*/ 1837261 w 12243467"/>
              <a:gd name="connsiteY1911" fmla="*/ 3419807 h 4565177"/>
              <a:gd name="connsiteX1912" fmla="*/ 1834771 w 12243467"/>
              <a:gd name="connsiteY1912" fmla="*/ 3413030 h 4565177"/>
              <a:gd name="connsiteX1913" fmla="*/ 1825367 w 12243467"/>
              <a:gd name="connsiteY1913" fmla="*/ 3413030 h 4565177"/>
              <a:gd name="connsiteX1914" fmla="*/ 1833942 w 12243467"/>
              <a:gd name="connsiteY1914" fmla="*/ 3409287 h 4565177"/>
              <a:gd name="connsiteX1915" fmla="*/ 1637839 w 12243467"/>
              <a:gd name="connsiteY1915" fmla="*/ 3398160 h 4565177"/>
              <a:gd name="connsiteX1916" fmla="*/ 1662456 w 12243467"/>
              <a:gd name="connsiteY1916" fmla="*/ 3409186 h 4565177"/>
              <a:gd name="connsiteX1917" fmla="*/ 1637839 w 12243467"/>
              <a:gd name="connsiteY1917" fmla="*/ 3398160 h 4565177"/>
              <a:gd name="connsiteX1918" fmla="*/ 9493729 w 12243467"/>
              <a:gd name="connsiteY1918" fmla="*/ 3390066 h 4565177"/>
              <a:gd name="connsiteX1919" fmla="*/ 9487091 w 12243467"/>
              <a:gd name="connsiteY1919" fmla="*/ 3394011 h 4565177"/>
              <a:gd name="connsiteX1920" fmla="*/ 9477687 w 12243467"/>
              <a:gd name="connsiteY1920" fmla="*/ 3399777 h 4565177"/>
              <a:gd name="connsiteX1921" fmla="*/ 9474368 w 12243467"/>
              <a:gd name="connsiteY1921" fmla="*/ 3406150 h 4565177"/>
              <a:gd name="connsiteX1922" fmla="*/ 9489580 w 12243467"/>
              <a:gd name="connsiteY1922" fmla="*/ 3393910 h 4565177"/>
              <a:gd name="connsiteX1923" fmla="*/ 10699385 w 12243467"/>
              <a:gd name="connsiteY1923" fmla="*/ 3385717 h 4565177"/>
              <a:gd name="connsiteX1924" fmla="*/ 10708789 w 12243467"/>
              <a:gd name="connsiteY1924" fmla="*/ 3388347 h 4565177"/>
              <a:gd name="connsiteX1925" fmla="*/ 10691087 w 12243467"/>
              <a:gd name="connsiteY1925" fmla="*/ 3403520 h 4565177"/>
              <a:gd name="connsiteX1926" fmla="*/ 10699385 w 12243467"/>
              <a:gd name="connsiteY1926" fmla="*/ 3385717 h 4565177"/>
              <a:gd name="connsiteX1927" fmla="*/ 1945684 w 12243467"/>
              <a:gd name="connsiteY1927" fmla="*/ 3365893 h 4565177"/>
              <a:gd name="connsiteX1928" fmla="*/ 2008470 w 12243467"/>
              <a:gd name="connsiteY1928" fmla="*/ 3386730 h 4565177"/>
              <a:gd name="connsiteX1929" fmla="*/ 1955364 w 12243467"/>
              <a:gd name="connsiteY1929" fmla="*/ 3368320 h 4565177"/>
              <a:gd name="connsiteX1930" fmla="*/ 1955364 w 12243467"/>
              <a:gd name="connsiteY1930" fmla="*/ 3374086 h 4565177"/>
              <a:gd name="connsiteX1931" fmla="*/ 1945684 w 12243467"/>
              <a:gd name="connsiteY1931" fmla="*/ 3365893 h 4565177"/>
              <a:gd name="connsiteX1932" fmla="*/ 10479496 w 12243467"/>
              <a:gd name="connsiteY1932" fmla="*/ 3350920 h 4565177"/>
              <a:gd name="connsiteX1933" fmla="*/ 10458198 w 12243467"/>
              <a:gd name="connsiteY1933" fmla="*/ 3365385 h 4565177"/>
              <a:gd name="connsiteX1934" fmla="*/ 10479496 w 12243467"/>
              <a:gd name="connsiteY1934" fmla="*/ 3350920 h 4565177"/>
              <a:gd name="connsiteX1935" fmla="*/ 1906961 w 12243467"/>
              <a:gd name="connsiteY1935" fmla="*/ 3348495 h 4565177"/>
              <a:gd name="connsiteX1936" fmla="*/ 1915536 w 12243467"/>
              <a:gd name="connsiteY1936" fmla="*/ 3354058 h 4565177"/>
              <a:gd name="connsiteX1937" fmla="*/ 1911663 w 12243467"/>
              <a:gd name="connsiteY1937" fmla="*/ 3360734 h 4565177"/>
              <a:gd name="connsiteX1938" fmla="*/ 1900323 w 12243467"/>
              <a:gd name="connsiteY1938" fmla="*/ 3360127 h 4565177"/>
              <a:gd name="connsiteX1939" fmla="*/ 1902259 w 12243467"/>
              <a:gd name="connsiteY1939" fmla="*/ 3349506 h 4565177"/>
              <a:gd name="connsiteX1940" fmla="*/ 1906961 w 12243467"/>
              <a:gd name="connsiteY1940" fmla="*/ 3348495 h 4565177"/>
              <a:gd name="connsiteX1941" fmla="*/ 8665409 w 12243467"/>
              <a:gd name="connsiteY1941" fmla="*/ 3341652 h 4565177"/>
              <a:gd name="connsiteX1942" fmla="*/ 8569088 w 12243467"/>
              <a:gd name="connsiteY1942" fmla="*/ 3395263 h 4565177"/>
              <a:gd name="connsiteX1943" fmla="*/ 8468963 w 12243467"/>
              <a:gd name="connsiteY1943" fmla="*/ 3445296 h 4565177"/>
              <a:gd name="connsiteX1944" fmla="*/ 8437329 w 12243467"/>
              <a:gd name="connsiteY1944" fmla="*/ 3461298 h 4565177"/>
              <a:gd name="connsiteX1945" fmla="*/ 8428557 w 12243467"/>
              <a:gd name="connsiteY1945" fmla="*/ 3485939 h 4565177"/>
              <a:gd name="connsiteX1946" fmla="*/ 8464330 w 12243467"/>
              <a:gd name="connsiteY1946" fmla="*/ 3473239 h 4565177"/>
              <a:gd name="connsiteX1947" fmla="*/ 8520685 w 12243467"/>
              <a:gd name="connsiteY1947" fmla="*/ 3439732 h 4565177"/>
              <a:gd name="connsiteX1948" fmla="*/ 8535068 w 12243467"/>
              <a:gd name="connsiteY1948" fmla="*/ 3427695 h 4565177"/>
              <a:gd name="connsiteX1949" fmla="*/ 8572684 w 12243467"/>
              <a:gd name="connsiteY1949" fmla="*/ 3408982 h 4565177"/>
              <a:gd name="connsiteX1950" fmla="*/ 8625513 w 12243467"/>
              <a:gd name="connsiteY1950" fmla="*/ 3381013 h 4565177"/>
              <a:gd name="connsiteX1951" fmla="*/ 8666185 w 12243467"/>
              <a:gd name="connsiteY1951" fmla="*/ 3342100 h 4565177"/>
              <a:gd name="connsiteX1952" fmla="*/ 1938492 w 12243467"/>
              <a:gd name="connsiteY1952" fmla="*/ 3335547 h 4565177"/>
              <a:gd name="connsiteX1953" fmla="*/ 1946237 w 12243467"/>
              <a:gd name="connsiteY1953" fmla="*/ 3335850 h 4565177"/>
              <a:gd name="connsiteX1954" fmla="*/ 1997683 w 12243467"/>
              <a:gd name="connsiteY1954" fmla="*/ 3352439 h 4565177"/>
              <a:gd name="connsiteX1955" fmla="*/ 1930195 w 12243467"/>
              <a:gd name="connsiteY1955" fmla="*/ 3337064 h 4565177"/>
              <a:gd name="connsiteX1956" fmla="*/ 1938492 w 12243467"/>
              <a:gd name="connsiteY1956" fmla="*/ 3335547 h 4565177"/>
              <a:gd name="connsiteX1957" fmla="*/ 2177190 w 12243467"/>
              <a:gd name="connsiteY1957" fmla="*/ 3331703 h 4565177"/>
              <a:gd name="connsiteX1958" fmla="*/ 2183551 w 12243467"/>
              <a:gd name="connsiteY1958" fmla="*/ 3338379 h 4565177"/>
              <a:gd name="connsiteX1959" fmla="*/ 2174147 w 12243467"/>
              <a:gd name="connsiteY1959" fmla="*/ 3341414 h 4565177"/>
              <a:gd name="connsiteX1960" fmla="*/ 2173594 w 12243467"/>
              <a:gd name="connsiteY1960" fmla="*/ 3332917 h 4565177"/>
              <a:gd name="connsiteX1961" fmla="*/ 2177190 w 12243467"/>
              <a:gd name="connsiteY1961" fmla="*/ 3331703 h 4565177"/>
              <a:gd name="connsiteX1962" fmla="*/ 10503006 w 12243467"/>
              <a:gd name="connsiteY1962" fmla="*/ 3330184 h 4565177"/>
              <a:gd name="connsiteX1963" fmla="*/ 10510197 w 12243467"/>
              <a:gd name="connsiteY1963" fmla="*/ 3331904 h 4565177"/>
              <a:gd name="connsiteX1964" fmla="*/ 10499134 w 12243467"/>
              <a:gd name="connsiteY1964" fmla="*/ 3337973 h 4565177"/>
              <a:gd name="connsiteX1965" fmla="*/ 10503006 w 12243467"/>
              <a:gd name="connsiteY1965" fmla="*/ 3330184 h 4565177"/>
              <a:gd name="connsiteX1966" fmla="*/ 1849984 w 12243467"/>
              <a:gd name="connsiteY1966" fmla="*/ 3329882 h 4565177"/>
              <a:gd name="connsiteX1967" fmla="*/ 1870728 w 12243467"/>
              <a:gd name="connsiteY1967" fmla="*/ 3339998 h 4565177"/>
              <a:gd name="connsiteX1968" fmla="*/ 1840026 w 12243467"/>
              <a:gd name="connsiteY1968" fmla="*/ 3331501 h 4565177"/>
              <a:gd name="connsiteX1969" fmla="*/ 1849984 w 12243467"/>
              <a:gd name="connsiteY1969" fmla="*/ 3329882 h 4565177"/>
              <a:gd name="connsiteX1970" fmla="*/ 10522644 w 12243467"/>
              <a:gd name="connsiteY1970" fmla="*/ 3314303 h 4565177"/>
              <a:gd name="connsiteX1971" fmla="*/ 10524857 w 12243467"/>
              <a:gd name="connsiteY1971" fmla="*/ 3314506 h 4565177"/>
              <a:gd name="connsiteX1972" fmla="*/ 10531495 w 12243467"/>
              <a:gd name="connsiteY1972" fmla="*/ 3317034 h 4565177"/>
              <a:gd name="connsiteX1973" fmla="*/ 10517665 w 12243467"/>
              <a:gd name="connsiteY1973" fmla="*/ 3327352 h 4565177"/>
              <a:gd name="connsiteX1974" fmla="*/ 10524027 w 12243467"/>
              <a:gd name="connsiteY1974" fmla="*/ 3315315 h 4565177"/>
              <a:gd name="connsiteX1975" fmla="*/ 10522644 w 12243467"/>
              <a:gd name="connsiteY1975" fmla="*/ 3314303 h 4565177"/>
              <a:gd name="connsiteX1976" fmla="*/ 10756639 w 12243467"/>
              <a:gd name="connsiteY1976" fmla="*/ 3300041 h 4565177"/>
              <a:gd name="connsiteX1977" fmla="*/ 10759958 w 12243467"/>
              <a:gd name="connsiteY1977" fmla="*/ 3302772 h 4565177"/>
              <a:gd name="connsiteX1978" fmla="*/ 10756362 w 12243467"/>
              <a:gd name="connsiteY1978" fmla="*/ 3302974 h 4565177"/>
              <a:gd name="connsiteX1979" fmla="*/ 10701874 w 12243467"/>
              <a:gd name="connsiteY1979" fmla="*/ 3355169 h 4565177"/>
              <a:gd name="connsiteX1980" fmla="*/ 10722065 w 12243467"/>
              <a:gd name="connsiteY1980" fmla="*/ 3318956 h 4565177"/>
              <a:gd name="connsiteX1981" fmla="*/ 10756639 w 12243467"/>
              <a:gd name="connsiteY1981" fmla="*/ 3300041 h 4565177"/>
              <a:gd name="connsiteX1982" fmla="*/ 1820389 w 12243467"/>
              <a:gd name="connsiteY1982" fmla="*/ 3298222 h 4565177"/>
              <a:gd name="connsiteX1983" fmla="*/ 1919131 w 12243467"/>
              <a:gd name="connsiteY1983" fmla="*/ 3327758 h 4565177"/>
              <a:gd name="connsiteX1984" fmla="*/ 1890642 w 12243467"/>
              <a:gd name="connsiteY1984" fmla="*/ 3326241 h 4565177"/>
              <a:gd name="connsiteX1985" fmla="*/ 1888983 w 12243467"/>
              <a:gd name="connsiteY1985" fmla="*/ 3333827 h 4565177"/>
              <a:gd name="connsiteX1986" fmla="*/ 1869898 w 12243467"/>
              <a:gd name="connsiteY1986" fmla="*/ 3328972 h 4565177"/>
              <a:gd name="connsiteX1987" fmla="*/ 1852750 w 12243467"/>
              <a:gd name="connsiteY1987" fmla="*/ 3319363 h 4565177"/>
              <a:gd name="connsiteX1988" fmla="*/ 1824537 w 12243467"/>
              <a:gd name="connsiteY1988" fmla="*/ 3306112 h 4565177"/>
              <a:gd name="connsiteX1989" fmla="*/ 1820389 w 12243467"/>
              <a:gd name="connsiteY1989" fmla="*/ 3298222 h 4565177"/>
              <a:gd name="connsiteX1990" fmla="*/ 10777936 w 12243467"/>
              <a:gd name="connsiteY1990" fmla="*/ 3294477 h 4565177"/>
              <a:gd name="connsiteX1991" fmla="*/ 10796468 w 12243467"/>
              <a:gd name="connsiteY1991" fmla="*/ 3298119 h 4565177"/>
              <a:gd name="connsiteX1992" fmla="*/ 10801723 w 12243467"/>
              <a:gd name="connsiteY1992" fmla="*/ 3306413 h 4565177"/>
              <a:gd name="connsiteX1993" fmla="*/ 10715704 w 12243467"/>
              <a:gd name="connsiteY1993" fmla="*/ 3381165 h 4565177"/>
              <a:gd name="connsiteX1994" fmla="*/ 10719023 w 12243467"/>
              <a:gd name="connsiteY1994" fmla="*/ 3351628 h 4565177"/>
              <a:gd name="connsiteX1995" fmla="*/ 10730640 w 12243467"/>
              <a:gd name="connsiteY1995" fmla="*/ 3342424 h 4565177"/>
              <a:gd name="connsiteX1996" fmla="*/ 10730363 w 12243467"/>
              <a:gd name="connsiteY1996" fmla="*/ 3350920 h 4565177"/>
              <a:gd name="connsiteX1997" fmla="*/ 10753320 w 12243467"/>
              <a:gd name="connsiteY1997" fmla="*/ 3338377 h 4565177"/>
              <a:gd name="connsiteX1998" fmla="*/ 10760235 w 12243467"/>
              <a:gd name="connsiteY1998" fmla="*/ 3312381 h 4565177"/>
              <a:gd name="connsiteX1999" fmla="*/ 10769362 w 12243467"/>
              <a:gd name="connsiteY1999" fmla="*/ 3318552 h 4565177"/>
              <a:gd name="connsiteX2000" fmla="*/ 10773788 w 12243467"/>
              <a:gd name="connsiteY2000" fmla="*/ 3304997 h 4565177"/>
              <a:gd name="connsiteX2001" fmla="*/ 10782915 w 12243467"/>
              <a:gd name="connsiteY2001" fmla="*/ 3308335 h 4565177"/>
              <a:gd name="connsiteX2002" fmla="*/ 10777936 w 12243467"/>
              <a:gd name="connsiteY2002" fmla="*/ 3294477 h 4565177"/>
              <a:gd name="connsiteX2003" fmla="*/ 10762724 w 12243467"/>
              <a:gd name="connsiteY2003" fmla="*/ 3291443 h 4565177"/>
              <a:gd name="connsiteX2004" fmla="*/ 10768256 w 12243467"/>
              <a:gd name="connsiteY2004" fmla="*/ 3297006 h 4565177"/>
              <a:gd name="connsiteX2005" fmla="*/ 10758852 w 12243467"/>
              <a:gd name="connsiteY2005" fmla="*/ 3299333 h 4565177"/>
              <a:gd name="connsiteX2006" fmla="*/ 10762724 w 12243467"/>
              <a:gd name="connsiteY2006" fmla="*/ 3297310 h 4565177"/>
              <a:gd name="connsiteX2007" fmla="*/ 10758852 w 12243467"/>
              <a:gd name="connsiteY2007" fmla="*/ 3296399 h 4565177"/>
              <a:gd name="connsiteX2008" fmla="*/ 10762724 w 12243467"/>
              <a:gd name="connsiteY2008" fmla="*/ 3291443 h 4565177"/>
              <a:gd name="connsiteX2009" fmla="*/ 10576855 w 12243467"/>
              <a:gd name="connsiteY2009" fmla="*/ 3277888 h 4565177"/>
              <a:gd name="connsiteX2010" fmla="*/ 10580451 w 12243467"/>
              <a:gd name="connsiteY2010" fmla="*/ 3279507 h 4565177"/>
              <a:gd name="connsiteX2011" fmla="*/ 10551133 w 12243467"/>
              <a:gd name="connsiteY2011" fmla="*/ 3301153 h 4565177"/>
              <a:gd name="connsiteX2012" fmla="*/ 10543112 w 12243467"/>
              <a:gd name="connsiteY2012" fmla="*/ 3308335 h 4565177"/>
              <a:gd name="connsiteX2013" fmla="*/ 10545324 w 12243467"/>
              <a:gd name="connsiteY2013" fmla="*/ 3301457 h 4565177"/>
              <a:gd name="connsiteX2014" fmla="*/ 10574643 w 12243467"/>
              <a:gd name="connsiteY2014" fmla="*/ 3279810 h 4565177"/>
              <a:gd name="connsiteX2015" fmla="*/ 10576855 w 12243467"/>
              <a:gd name="connsiteY2015" fmla="*/ 3277888 h 4565177"/>
              <a:gd name="connsiteX2016" fmla="*/ 10636322 w 12243467"/>
              <a:gd name="connsiteY2016" fmla="*/ 3273539 h 4565177"/>
              <a:gd name="connsiteX2017" fmla="*/ 10636046 w 12243467"/>
              <a:gd name="connsiteY2017" fmla="*/ 3282137 h 4565177"/>
              <a:gd name="connsiteX2018" fmla="*/ 10649045 w 12243467"/>
              <a:gd name="connsiteY2018" fmla="*/ 3283351 h 4565177"/>
              <a:gd name="connsiteX2019" fmla="*/ 10626089 w 12243467"/>
              <a:gd name="connsiteY2019" fmla="*/ 3301558 h 4565177"/>
              <a:gd name="connsiteX2020" fmla="*/ 10626642 w 12243467"/>
              <a:gd name="connsiteY2020" fmla="*/ 3287296 h 4565177"/>
              <a:gd name="connsiteX2021" fmla="*/ 10630237 w 12243467"/>
              <a:gd name="connsiteY2021" fmla="*/ 3290836 h 4565177"/>
              <a:gd name="connsiteX2022" fmla="*/ 10628854 w 12243467"/>
              <a:gd name="connsiteY2022" fmla="*/ 3280518 h 4565177"/>
              <a:gd name="connsiteX2023" fmla="*/ 10636322 w 12243467"/>
              <a:gd name="connsiteY2023" fmla="*/ 3273539 h 4565177"/>
              <a:gd name="connsiteX2024" fmla="*/ 10777660 w 12243467"/>
              <a:gd name="connsiteY2024" fmla="*/ 3272426 h 4565177"/>
              <a:gd name="connsiteX2025" fmla="*/ 10772128 w 12243467"/>
              <a:gd name="connsiteY2025" fmla="*/ 3288813 h 4565177"/>
              <a:gd name="connsiteX2026" fmla="*/ 10777660 w 12243467"/>
              <a:gd name="connsiteY2026" fmla="*/ 3272426 h 4565177"/>
              <a:gd name="connsiteX2027" fmla="*/ 1758433 w 12243467"/>
              <a:gd name="connsiteY2027" fmla="*/ 3271416 h 4565177"/>
              <a:gd name="connsiteX2028" fmla="*/ 1790517 w 12243467"/>
              <a:gd name="connsiteY2028" fmla="*/ 3283757 h 4565177"/>
              <a:gd name="connsiteX2029" fmla="*/ 1758433 w 12243467"/>
              <a:gd name="connsiteY2029" fmla="*/ 3271416 h 4565177"/>
              <a:gd name="connsiteX2030" fmla="*/ 10613089 w 12243467"/>
              <a:gd name="connsiteY2030" fmla="*/ 3255837 h 4565177"/>
              <a:gd name="connsiteX2031" fmla="*/ 10593727 w 12243467"/>
              <a:gd name="connsiteY2031" fmla="*/ 3272123 h 4565177"/>
              <a:gd name="connsiteX2032" fmla="*/ 10606174 w 12243467"/>
              <a:gd name="connsiteY2032" fmla="*/ 3278900 h 4565177"/>
              <a:gd name="connsiteX2033" fmla="*/ 10613089 w 12243467"/>
              <a:gd name="connsiteY2033" fmla="*/ 3255837 h 4565177"/>
              <a:gd name="connsiteX2034" fmla="*/ 10675598 w 12243467"/>
              <a:gd name="connsiteY2034" fmla="*/ 3246430 h 4565177"/>
              <a:gd name="connsiteX2035" fmla="*/ 10680853 w 12243467"/>
              <a:gd name="connsiteY2035" fmla="*/ 3246835 h 4565177"/>
              <a:gd name="connsiteX2036" fmla="*/ 10665088 w 12243467"/>
              <a:gd name="connsiteY2036" fmla="*/ 3269594 h 4565177"/>
              <a:gd name="connsiteX2037" fmla="*/ 10646003 w 12243467"/>
              <a:gd name="connsiteY2037" fmla="*/ 3277180 h 4565177"/>
              <a:gd name="connsiteX2038" fmla="*/ 10663705 w 12243467"/>
              <a:gd name="connsiteY2038" fmla="*/ 3253308 h 4565177"/>
              <a:gd name="connsiteX2039" fmla="*/ 10675598 w 12243467"/>
              <a:gd name="connsiteY2039" fmla="*/ 3246430 h 4565177"/>
              <a:gd name="connsiteX2040" fmla="*/ 10615301 w 12243467"/>
              <a:gd name="connsiteY2040" fmla="*/ 3243598 h 4565177"/>
              <a:gd name="connsiteX2041" fmla="*/ 10620280 w 12243467"/>
              <a:gd name="connsiteY2041" fmla="*/ 3247543 h 4565177"/>
              <a:gd name="connsiteX2042" fmla="*/ 10622493 w 12243467"/>
              <a:gd name="connsiteY2042" fmla="*/ 3250881 h 4565177"/>
              <a:gd name="connsiteX2043" fmla="*/ 10611429 w 12243467"/>
              <a:gd name="connsiteY2043" fmla="*/ 3248554 h 4565177"/>
              <a:gd name="connsiteX2044" fmla="*/ 10615301 w 12243467"/>
              <a:gd name="connsiteY2044" fmla="*/ 3243598 h 4565177"/>
              <a:gd name="connsiteX2045" fmla="*/ 10551409 w 12243467"/>
              <a:gd name="connsiteY2045" fmla="*/ 3241777 h 4565177"/>
              <a:gd name="connsiteX2046" fmla="*/ 10566345 w 12243467"/>
              <a:gd name="connsiteY2046" fmla="*/ 3244812 h 4565177"/>
              <a:gd name="connsiteX2047" fmla="*/ 10568558 w 12243467"/>
              <a:gd name="connsiteY2047" fmla="*/ 3245722 h 4565177"/>
              <a:gd name="connsiteX2048" fmla="*/ 10567728 w 12243467"/>
              <a:gd name="connsiteY2048" fmla="*/ 3255230 h 4565177"/>
              <a:gd name="connsiteX2049" fmla="*/ 10540346 w 12243467"/>
              <a:gd name="connsiteY2049" fmla="*/ 3275562 h 4565177"/>
              <a:gd name="connsiteX2050" fmla="*/ 10531495 w 12243467"/>
              <a:gd name="connsiteY2050" fmla="*/ 3266559 h 4565177"/>
              <a:gd name="connsiteX2051" fmla="*/ 10551409 w 12243467"/>
              <a:gd name="connsiteY2051" fmla="*/ 3241777 h 4565177"/>
              <a:gd name="connsiteX2052" fmla="*/ 10647386 w 12243467"/>
              <a:gd name="connsiteY2052" fmla="*/ 3236922 h 4565177"/>
              <a:gd name="connsiteX2053" fmla="*/ 10644897 w 12243467"/>
              <a:gd name="connsiteY2053" fmla="*/ 3246733 h 4565177"/>
              <a:gd name="connsiteX2054" fmla="*/ 10637152 w 12243467"/>
              <a:gd name="connsiteY2054" fmla="*/ 3245317 h 4565177"/>
              <a:gd name="connsiteX2055" fmla="*/ 10647386 w 12243467"/>
              <a:gd name="connsiteY2055" fmla="*/ 3236922 h 4565177"/>
              <a:gd name="connsiteX2056" fmla="*/ 10700768 w 12243467"/>
              <a:gd name="connsiteY2056" fmla="*/ 3231358 h 4565177"/>
              <a:gd name="connsiteX2057" fmla="*/ 10701044 w 12243467"/>
              <a:gd name="connsiteY2057" fmla="*/ 3235202 h 4565177"/>
              <a:gd name="connsiteX2058" fmla="*/ 10699661 w 12243467"/>
              <a:gd name="connsiteY2058" fmla="*/ 3239046 h 4565177"/>
              <a:gd name="connsiteX2059" fmla="*/ 10701044 w 12243467"/>
              <a:gd name="connsiteY2059" fmla="*/ 3230954 h 4565177"/>
              <a:gd name="connsiteX2060" fmla="*/ 10700768 w 12243467"/>
              <a:gd name="connsiteY2060" fmla="*/ 3231358 h 4565177"/>
              <a:gd name="connsiteX2061" fmla="*/ 10700768 w 12243467"/>
              <a:gd name="connsiteY2061" fmla="*/ 3231055 h 4565177"/>
              <a:gd name="connsiteX2062" fmla="*/ 10627471 w 12243467"/>
              <a:gd name="connsiteY2062" fmla="*/ 3229841 h 4565177"/>
              <a:gd name="connsiteX2063" fmla="*/ 10634939 w 12243467"/>
              <a:gd name="connsiteY2063" fmla="*/ 3233078 h 4565177"/>
              <a:gd name="connsiteX2064" fmla="*/ 10633003 w 12243467"/>
              <a:gd name="connsiteY2064" fmla="*/ 3237023 h 4565177"/>
              <a:gd name="connsiteX2065" fmla="*/ 10627471 w 12243467"/>
              <a:gd name="connsiteY2065" fmla="*/ 3229841 h 4565177"/>
              <a:gd name="connsiteX2066" fmla="*/ 10353924 w 12243467"/>
              <a:gd name="connsiteY2066" fmla="*/ 3224176 h 4565177"/>
              <a:gd name="connsiteX2067" fmla="*/ 10328754 w 12243467"/>
              <a:gd name="connsiteY2067" fmla="*/ 3243497 h 4565177"/>
              <a:gd name="connsiteX2068" fmla="*/ 10353924 w 12243467"/>
              <a:gd name="connsiteY2068" fmla="*/ 3224176 h 4565177"/>
              <a:gd name="connsiteX2069" fmla="*/ 10534261 w 12243467"/>
              <a:gd name="connsiteY2069" fmla="*/ 3221041 h 4565177"/>
              <a:gd name="connsiteX2070" fmla="*/ 10533707 w 12243467"/>
              <a:gd name="connsiteY2070" fmla="*/ 3226604 h 4565177"/>
              <a:gd name="connsiteX2071" fmla="*/ 10542835 w 12243467"/>
              <a:gd name="connsiteY2071" fmla="*/ 3229538 h 4565177"/>
              <a:gd name="connsiteX2072" fmla="*/ 10533431 w 12243467"/>
              <a:gd name="connsiteY2072" fmla="*/ 3229335 h 4565177"/>
              <a:gd name="connsiteX2073" fmla="*/ 10530942 w 12243467"/>
              <a:gd name="connsiteY2073" fmla="*/ 3236112 h 4565177"/>
              <a:gd name="connsiteX2074" fmla="*/ 10534261 w 12243467"/>
              <a:gd name="connsiteY2074" fmla="*/ 3221041 h 4565177"/>
              <a:gd name="connsiteX2075" fmla="*/ 2011789 w 12243467"/>
              <a:gd name="connsiteY2075" fmla="*/ 3213456 h 4565177"/>
              <a:gd name="connsiteX2076" fmla="*/ 2009853 w 12243467"/>
              <a:gd name="connsiteY2076" fmla="*/ 3223875 h 4565177"/>
              <a:gd name="connsiteX2077" fmla="*/ 2007640 w 12243467"/>
              <a:gd name="connsiteY2077" fmla="*/ 3214164 h 4565177"/>
              <a:gd name="connsiteX2078" fmla="*/ 2011789 w 12243467"/>
              <a:gd name="connsiteY2078" fmla="*/ 3213456 h 4565177"/>
              <a:gd name="connsiteX2079" fmla="*/ 10584600 w 12243467"/>
              <a:gd name="connsiteY2079" fmla="*/ 3207385 h 4565177"/>
              <a:gd name="connsiteX2080" fmla="*/ 10597876 w 12243467"/>
              <a:gd name="connsiteY2080" fmla="*/ 3214162 h 4565177"/>
              <a:gd name="connsiteX2081" fmla="*/ 10591515 w 12243467"/>
              <a:gd name="connsiteY2081" fmla="*/ 3231459 h 4565177"/>
              <a:gd name="connsiteX2082" fmla="*/ 10604514 w 12243467"/>
              <a:gd name="connsiteY2082" fmla="*/ 3235708 h 4565177"/>
              <a:gd name="connsiteX2083" fmla="*/ 10583494 w 12243467"/>
              <a:gd name="connsiteY2083" fmla="*/ 3249869 h 4565177"/>
              <a:gd name="connsiteX2084" fmla="*/ 10580175 w 12243467"/>
              <a:gd name="connsiteY2084" fmla="*/ 3243497 h 4565177"/>
              <a:gd name="connsiteX2085" fmla="*/ 10589579 w 12243467"/>
              <a:gd name="connsiteY2085" fmla="*/ 3235404 h 4565177"/>
              <a:gd name="connsiteX2086" fmla="*/ 10576579 w 12243467"/>
              <a:gd name="connsiteY2086" fmla="*/ 3239754 h 4565177"/>
              <a:gd name="connsiteX2087" fmla="*/ 10576855 w 12243467"/>
              <a:gd name="connsiteY2087" fmla="*/ 3228425 h 4565177"/>
              <a:gd name="connsiteX2088" fmla="*/ 10579621 w 12243467"/>
              <a:gd name="connsiteY2088" fmla="*/ 3207486 h 4565177"/>
              <a:gd name="connsiteX2089" fmla="*/ 10584600 w 12243467"/>
              <a:gd name="connsiteY2089" fmla="*/ 3207385 h 4565177"/>
              <a:gd name="connsiteX2090" fmla="*/ 9642811 w 12243467"/>
              <a:gd name="connsiteY2090" fmla="*/ 3206475 h 4565177"/>
              <a:gd name="connsiteX2091" fmla="*/ 9618471 w 12243467"/>
              <a:gd name="connsiteY2091" fmla="*/ 3244609 h 4565177"/>
              <a:gd name="connsiteX2092" fmla="*/ 9588599 w 12243467"/>
              <a:gd name="connsiteY2092" fmla="*/ 3259681 h 4565177"/>
              <a:gd name="connsiteX2093" fmla="*/ 9563983 w 12243467"/>
              <a:gd name="connsiteY2093" fmla="*/ 3295590 h 4565177"/>
              <a:gd name="connsiteX2094" fmla="*/ 9499261 w 12243467"/>
              <a:gd name="connsiteY2094" fmla="*/ 3384806 h 4565177"/>
              <a:gd name="connsiteX2095" fmla="*/ 9568685 w 12243467"/>
              <a:gd name="connsiteY2095" fmla="*/ 3319057 h 4565177"/>
              <a:gd name="connsiteX2096" fmla="*/ 9568408 w 12243467"/>
              <a:gd name="connsiteY2096" fmla="*/ 3300142 h 4565177"/>
              <a:gd name="connsiteX2097" fmla="*/ 9585834 w 12243467"/>
              <a:gd name="connsiteY2097" fmla="*/ 3289116 h 4565177"/>
              <a:gd name="connsiteX2098" fmla="*/ 9590259 w 12243467"/>
              <a:gd name="connsiteY2098" fmla="*/ 3286082 h 4565177"/>
              <a:gd name="connsiteX2099" fmla="*/ 9596621 w 12243467"/>
              <a:gd name="connsiteY2099" fmla="*/ 3274146 h 4565177"/>
              <a:gd name="connsiteX2100" fmla="*/ 9600493 w 12243467"/>
              <a:gd name="connsiteY2100" fmla="*/ 3269088 h 4565177"/>
              <a:gd name="connsiteX2101" fmla="*/ 9596067 w 12243467"/>
              <a:gd name="connsiteY2101" fmla="*/ 3263626 h 4565177"/>
              <a:gd name="connsiteX2102" fmla="*/ 9605471 w 12243467"/>
              <a:gd name="connsiteY2102" fmla="*/ 3262817 h 4565177"/>
              <a:gd name="connsiteX2103" fmla="*/ 9631471 w 12243467"/>
              <a:gd name="connsiteY2103" fmla="*/ 3229639 h 4565177"/>
              <a:gd name="connsiteX2104" fmla="*/ 9644747 w 12243467"/>
              <a:gd name="connsiteY2104" fmla="*/ 3209610 h 4565177"/>
              <a:gd name="connsiteX2105" fmla="*/ 10598706 w 12243467"/>
              <a:gd name="connsiteY2105" fmla="*/ 3197068 h 4565177"/>
              <a:gd name="connsiteX2106" fmla="*/ 10612812 w 12243467"/>
              <a:gd name="connsiteY2106" fmla="*/ 3205463 h 4565177"/>
              <a:gd name="connsiteX2107" fmla="*/ 10596217 w 12243467"/>
              <a:gd name="connsiteY2107" fmla="*/ 3203845 h 4565177"/>
              <a:gd name="connsiteX2108" fmla="*/ 10598706 w 12243467"/>
              <a:gd name="connsiteY2108" fmla="*/ 3197068 h 4565177"/>
              <a:gd name="connsiteX2109" fmla="*/ 10584323 w 12243467"/>
              <a:gd name="connsiteY2109" fmla="*/ 3185334 h 4565177"/>
              <a:gd name="connsiteX2110" fmla="*/ 10585430 w 12243467"/>
              <a:gd name="connsiteY2110" fmla="*/ 3201316 h 4565177"/>
              <a:gd name="connsiteX2111" fmla="*/ 10546984 w 12243467"/>
              <a:gd name="connsiteY2111" fmla="*/ 3219523 h 4565177"/>
              <a:gd name="connsiteX2112" fmla="*/ 10584323 w 12243467"/>
              <a:gd name="connsiteY2112" fmla="*/ 3185334 h 4565177"/>
              <a:gd name="connsiteX2113" fmla="*/ 10621940 w 12243467"/>
              <a:gd name="connsiteY2113" fmla="*/ 3178354 h 4565177"/>
              <a:gd name="connsiteX2114" fmla="*/ 10630791 w 12243467"/>
              <a:gd name="connsiteY2114" fmla="*/ 3178354 h 4565177"/>
              <a:gd name="connsiteX2115" fmla="*/ 10636322 w 12243467"/>
              <a:gd name="connsiteY2115" fmla="*/ 3184221 h 4565177"/>
              <a:gd name="connsiteX2116" fmla="*/ 10628578 w 12243467"/>
              <a:gd name="connsiteY2116" fmla="*/ 3191100 h 4565177"/>
              <a:gd name="connsiteX2117" fmla="*/ 10621110 w 12243467"/>
              <a:gd name="connsiteY2117" fmla="*/ 3195247 h 4565177"/>
              <a:gd name="connsiteX2118" fmla="*/ 10606451 w 12243467"/>
              <a:gd name="connsiteY2118" fmla="*/ 3192212 h 4565177"/>
              <a:gd name="connsiteX2119" fmla="*/ 10621940 w 12243467"/>
              <a:gd name="connsiteY2119" fmla="*/ 3178354 h 4565177"/>
              <a:gd name="connsiteX2120" fmla="*/ 10566068 w 12243467"/>
              <a:gd name="connsiteY2120" fmla="*/ 3164294 h 4565177"/>
              <a:gd name="connsiteX2121" fmla="*/ 10575196 w 12243467"/>
              <a:gd name="connsiteY2121" fmla="*/ 3170465 h 4565177"/>
              <a:gd name="connsiteX2122" fmla="*/ 10558324 w 12243467"/>
              <a:gd name="connsiteY2122" fmla="*/ 3179669 h 4565177"/>
              <a:gd name="connsiteX2123" fmla="*/ 10566068 w 12243467"/>
              <a:gd name="connsiteY2123" fmla="*/ 3164294 h 4565177"/>
              <a:gd name="connsiteX2124" fmla="*/ 10678641 w 12243467"/>
              <a:gd name="connsiteY2124" fmla="*/ 3161462 h 4565177"/>
              <a:gd name="connsiteX2125" fmla="*/ 10672279 w 12243467"/>
              <a:gd name="connsiteY2125" fmla="*/ 3176028 h 4565177"/>
              <a:gd name="connsiteX2126" fmla="*/ 10678641 w 12243467"/>
              <a:gd name="connsiteY2126" fmla="*/ 3161462 h 4565177"/>
              <a:gd name="connsiteX2127" fmla="*/ 10480326 w 12243467"/>
              <a:gd name="connsiteY2127" fmla="*/ 3155089 h 4565177"/>
              <a:gd name="connsiteX2128" fmla="*/ 10487794 w 12243467"/>
              <a:gd name="connsiteY2128" fmla="*/ 3159844 h 4565177"/>
              <a:gd name="connsiteX2129" fmla="*/ 10483921 w 12243467"/>
              <a:gd name="connsiteY2129" fmla="*/ 3167632 h 4565177"/>
              <a:gd name="connsiteX2130" fmla="*/ 10470645 w 12243467"/>
              <a:gd name="connsiteY2130" fmla="*/ 3163283 h 4565177"/>
              <a:gd name="connsiteX2131" fmla="*/ 10480326 w 12243467"/>
              <a:gd name="connsiteY2131" fmla="*/ 3155089 h 4565177"/>
              <a:gd name="connsiteX2132" fmla="*/ 2231401 w 12243467"/>
              <a:gd name="connsiteY2132" fmla="*/ 3152562 h 4565177"/>
              <a:gd name="connsiteX2133" fmla="*/ 2251869 w 12243467"/>
              <a:gd name="connsiteY2133" fmla="*/ 3156912 h 4565177"/>
              <a:gd name="connsiteX2134" fmla="*/ 2210104 w 12243467"/>
              <a:gd name="connsiteY2134" fmla="*/ 3156001 h 4565177"/>
              <a:gd name="connsiteX2135" fmla="*/ 2231401 w 12243467"/>
              <a:gd name="connsiteY2135" fmla="*/ 3152562 h 4565177"/>
              <a:gd name="connsiteX2136" fmla="*/ 1901706 w 12243467"/>
              <a:gd name="connsiteY2136" fmla="*/ 3150438 h 4565177"/>
              <a:gd name="connsiteX2137" fmla="*/ 1916919 w 12243467"/>
              <a:gd name="connsiteY2137" fmla="*/ 3159845 h 4565177"/>
              <a:gd name="connsiteX2138" fmla="*/ 1933791 w 12243467"/>
              <a:gd name="connsiteY2138" fmla="*/ 3160857 h 4565177"/>
              <a:gd name="connsiteX2139" fmla="*/ 2103617 w 12243467"/>
              <a:gd name="connsiteY2139" fmla="*/ 3216895 h 4565177"/>
              <a:gd name="connsiteX2140" fmla="*/ 2111085 w 12243467"/>
              <a:gd name="connsiteY2140" fmla="*/ 3212647 h 4565177"/>
              <a:gd name="connsiteX2141" fmla="*/ 2202913 w 12243467"/>
              <a:gd name="connsiteY2141" fmla="*/ 3232675 h 4565177"/>
              <a:gd name="connsiteX2142" fmla="*/ 2252975 w 12243467"/>
              <a:gd name="connsiteY2142" fmla="*/ 3236114 h 4565177"/>
              <a:gd name="connsiteX2143" fmla="*/ 2237763 w 12243467"/>
              <a:gd name="connsiteY2143" fmla="*/ 3230955 h 4565177"/>
              <a:gd name="connsiteX2144" fmla="*/ 2234997 w 12243467"/>
              <a:gd name="connsiteY2144" fmla="*/ 3231562 h 4565177"/>
              <a:gd name="connsiteX2145" fmla="*/ 2231125 w 12243467"/>
              <a:gd name="connsiteY2145" fmla="*/ 3228730 h 4565177"/>
              <a:gd name="connsiteX2146" fmla="*/ 2227806 w 12243467"/>
              <a:gd name="connsiteY2146" fmla="*/ 3227617 h 4565177"/>
              <a:gd name="connsiteX2147" fmla="*/ 2164190 w 12243467"/>
              <a:gd name="connsiteY2147" fmla="*/ 3214569 h 4565177"/>
              <a:gd name="connsiteX2148" fmla="*/ 2142893 w 12243467"/>
              <a:gd name="connsiteY2148" fmla="*/ 3198789 h 4565177"/>
              <a:gd name="connsiteX2149" fmla="*/ 2134042 w 12243467"/>
              <a:gd name="connsiteY2149" fmla="*/ 3201520 h 4565177"/>
              <a:gd name="connsiteX2150" fmla="*/ 2126297 w 12243467"/>
              <a:gd name="connsiteY2150" fmla="*/ 3207792 h 4565177"/>
              <a:gd name="connsiteX2151" fmla="*/ 2121595 w 12243467"/>
              <a:gd name="connsiteY2151" fmla="*/ 3199295 h 4565177"/>
              <a:gd name="connsiteX2152" fmla="*/ 2100574 w 12243467"/>
              <a:gd name="connsiteY2152" fmla="*/ 3201419 h 4565177"/>
              <a:gd name="connsiteX2153" fmla="*/ 2086468 w 12243467"/>
              <a:gd name="connsiteY2153" fmla="*/ 3192214 h 4565177"/>
              <a:gd name="connsiteX2154" fmla="*/ 2067383 w 12243467"/>
              <a:gd name="connsiteY2154" fmla="*/ 3188876 h 4565177"/>
              <a:gd name="connsiteX2155" fmla="*/ 2053554 w 12243467"/>
              <a:gd name="connsiteY2155" fmla="*/ 3195653 h 4565177"/>
              <a:gd name="connsiteX2156" fmla="*/ 2037788 w 12243467"/>
              <a:gd name="connsiteY2156" fmla="*/ 3193731 h 4565177"/>
              <a:gd name="connsiteX2157" fmla="*/ 1926323 w 12243467"/>
              <a:gd name="connsiteY2157" fmla="*/ 3153372 h 4565177"/>
              <a:gd name="connsiteX2158" fmla="*/ 1911387 w 12243467"/>
              <a:gd name="connsiteY2158" fmla="*/ 3154889 h 4565177"/>
              <a:gd name="connsiteX2159" fmla="*/ 10588196 w 12243467"/>
              <a:gd name="connsiteY2159" fmla="*/ 3141130 h 4565177"/>
              <a:gd name="connsiteX2160" fmla="*/ 10591791 w 12243467"/>
              <a:gd name="connsiteY2160" fmla="*/ 3141636 h 4565177"/>
              <a:gd name="connsiteX2161" fmla="*/ 10593451 w 12243467"/>
              <a:gd name="connsiteY2161" fmla="*/ 3149425 h 4565177"/>
              <a:gd name="connsiteX2162" fmla="*/ 10582387 w 12243467"/>
              <a:gd name="connsiteY2162" fmla="*/ 3144165 h 4565177"/>
              <a:gd name="connsiteX2163" fmla="*/ 10588196 w 12243467"/>
              <a:gd name="connsiteY2163" fmla="*/ 3141130 h 4565177"/>
              <a:gd name="connsiteX2164" fmla="*/ 1658583 w 12243467"/>
              <a:gd name="connsiteY2164" fmla="*/ 3113517 h 4565177"/>
              <a:gd name="connsiteX2165" fmla="*/ 1670200 w 12243467"/>
              <a:gd name="connsiteY2165" fmla="*/ 3118980 h 4565177"/>
              <a:gd name="connsiteX2166" fmla="*/ 1658583 w 12243467"/>
              <a:gd name="connsiteY2166" fmla="*/ 3113517 h 4565177"/>
              <a:gd name="connsiteX2167" fmla="*/ 10548920 w 12243467"/>
              <a:gd name="connsiteY2167" fmla="*/ 3098343 h 4565177"/>
              <a:gd name="connsiteX2168" fmla="*/ 10509921 w 12243467"/>
              <a:gd name="connsiteY2168" fmla="*/ 3130914 h 4565177"/>
              <a:gd name="connsiteX2169" fmla="*/ 10517389 w 12243467"/>
              <a:gd name="connsiteY2169" fmla="*/ 3132532 h 4565177"/>
              <a:gd name="connsiteX2170" fmla="*/ 10504112 w 12243467"/>
              <a:gd name="connsiteY2170" fmla="*/ 3136983 h 4565177"/>
              <a:gd name="connsiteX2171" fmla="*/ 10548920 w 12243467"/>
              <a:gd name="connsiteY2171" fmla="*/ 3098343 h 4565177"/>
              <a:gd name="connsiteX2172" fmla="*/ 10536197 w 12243467"/>
              <a:gd name="connsiteY2172" fmla="*/ 2960067 h 4565177"/>
              <a:gd name="connsiteX2173" fmla="*/ 10537303 w 12243467"/>
              <a:gd name="connsiteY2173" fmla="*/ 2967452 h 4565177"/>
              <a:gd name="connsiteX2174" fmla="*/ 10526240 w 12243467"/>
              <a:gd name="connsiteY2174" fmla="*/ 2965327 h 4565177"/>
              <a:gd name="connsiteX2175" fmla="*/ 10536197 w 12243467"/>
              <a:gd name="connsiteY2175" fmla="*/ 2960067 h 4565177"/>
              <a:gd name="connsiteX2176" fmla="*/ 10698832 w 12243467"/>
              <a:gd name="connsiteY2176" fmla="*/ 2952178 h 4565177"/>
              <a:gd name="connsiteX2177" fmla="*/ 10698555 w 12243467"/>
              <a:gd name="connsiteY2177" fmla="*/ 2969576 h 4565177"/>
              <a:gd name="connsiteX2178" fmla="*/ 10698832 w 12243467"/>
              <a:gd name="connsiteY2178" fmla="*/ 2952178 h 4565177"/>
              <a:gd name="connsiteX2179" fmla="*/ 10439667 w 12243467"/>
              <a:gd name="connsiteY2179" fmla="*/ 2951672 h 4565177"/>
              <a:gd name="connsiteX2180" fmla="*/ 10431093 w 12243467"/>
              <a:gd name="connsiteY2180" fmla="*/ 2952987 h 4565177"/>
              <a:gd name="connsiteX2181" fmla="*/ 10425008 w 12243467"/>
              <a:gd name="connsiteY2181" fmla="*/ 2964619 h 4565177"/>
              <a:gd name="connsiteX2182" fmla="*/ 10411455 w 12243467"/>
              <a:gd name="connsiteY2182" fmla="*/ 2969070 h 4565177"/>
              <a:gd name="connsiteX2183" fmla="*/ 10407029 w 12243467"/>
              <a:gd name="connsiteY2183" fmla="*/ 2962394 h 4565177"/>
              <a:gd name="connsiteX2184" fmla="*/ 10405923 w 12243467"/>
              <a:gd name="connsiteY2184" fmla="*/ 2968868 h 4565177"/>
              <a:gd name="connsiteX2185" fmla="*/ 10407582 w 12243467"/>
              <a:gd name="connsiteY2185" fmla="*/ 2971194 h 4565177"/>
              <a:gd name="connsiteX2186" fmla="*/ 10405370 w 12243467"/>
              <a:gd name="connsiteY2186" fmla="*/ 2972206 h 4565177"/>
              <a:gd name="connsiteX2187" fmla="*/ 10403987 w 12243467"/>
              <a:gd name="connsiteY2187" fmla="*/ 2981208 h 4565177"/>
              <a:gd name="connsiteX2188" fmla="*/ 10402051 w 12243467"/>
              <a:gd name="connsiteY2188" fmla="*/ 3009632 h 4565177"/>
              <a:gd name="connsiteX2189" fmla="*/ 10409519 w 12243467"/>
              <a:gd name="connsiteY2189" fmla="*/ 3001945 h 4565177"/>
              <a:gd name="connsiteX2190" fmla="*/ 10432199 w 12243467"/>
              <a:gd name="connsiteY2190" fmla="*/ 2969070 h 4565177"/>
              <a:gd name="connsiteX2191" fmla="*/ 10449624 w 12243467"/>
              <a:gd name="connsiteY2191" fmla="*/ 2953897 h 4565177"/>
              <a:gd name="connsiteX2192" fmla="*/ 10439667 w 12243467"/>
              <a:gd name="connsiteY2192" fmla="*/ 2951672 h 4565177"/>
              <a:gd name="connsiteX2193" fmla="*/ 10760788 w 12243467"/>
              <a:gd name="connsiteY2193" fmla="*/ 2823309 h 4565177"/>
              <a:gd name="connsiteX2194" fmla="*/ 10766043 w 12243467"/>
              <a:gd name="connsiteY2194" fmla="*/ 2827558 h 4565177"/>
              <a:gd name="connsiteX2195" fmla="*/ 10769915 w 12243467"/>
              <a:gd name="connsiteY2195" fmla="*/ 2832615 h 4565177"/>
              <a:gd name="connsiteX2196" fmla="*/ 10754979 w 12243467"/>
              <a:gd name="connsiteY2196" fmla="*/ 2832211 h 4565177"/>
              <a:gd name="connsiteX2197" fmla="*/ 10760788 w 12243467"/>
              <a:gd name="connsiteY2197" fmla="*/ 2823309 h 4565177"/>
              <a:gd name="connsiteX2198" fmla="*/ 10780979 w 12243467"/>
              <a:gd name="connsiteY2198" fmla="*/ 2798527 h 4565177"/>
              <a:gd name="connsiteX2199" fmla="*/ 10776000 w 12243467"/>
              <a:gd name="connsiteY2199" fmla="*/ 2814914 h 4565177"/>
              <a:gd name="connsiteX2200" fmla="*/ 10764937 w 12243467"/>
              <a:gd name="connsiteY2200" fmla="*/ 2812790 h 4565177"/>
              <a:gd name="connsiteX2201" fmla="*/ 10780979 w 12243467"/>
              <a:gd name="connsiteY2201" fmla="*/ 2798527 h 4565177"/>
              <a:gd name="connsiteX2202" fmla="*/ 1401908 w 12243467"/>
              <a:gd name="connsiteY2202" fmla="*/ 2593189 h 4565177"/>
              <a:gd name="connsiteX2203" fmla="*/ 1411312 w 12243467"/>
              <a:gd name="connsiteY2203" fmla="*/ 2610487 h 4565177"/>
              <a:gd name="connsiteX2204" fmla="*/ 1394163 w 12243467"/>
              <a:gd name="connsiteY2204" fmla="*/ 2599461 h 4565177"/>
              <a:gd name="connsiteX2205" fmla="*/ 1401908 w 12243467"/>
              <a:gd name="connsiteY2205" fmla="*/ 2593189 h 4565177"/>
              <a:gd name="connsiteX2206" fmla="*/ 1383653 w 12243467"/>
              <a:gd name="connsiteY2206" fmla="*/ 2577410 h 4565177"/>
              <a:gd name="connsiteX2207" fmla="*/ 1391397 w 12243467"/>
              <a:gd name="connsiteY2207" fmla="*/ 2585401 h 4565177"/>
              <a:gd name="connsiteX2208" fmla="*/ 1383930 w 12243467"/>
              <a:gd name="connsiteY2208" fmla="*/ 2586716 h 4565177"/>
              <a:gd name="connsiteX2209" fmla="*/ 1376185 w 12243467"/>
              <a:gd name="connsiteY2209" fmla="*/ 2586918 h 4565177"/>
              <a:gd name="connsiteX2210" fmla="*/ 1383653 w 12243467"/>
              <a:gd name="connsiteY2210" fmla="*/ 2577410 h 4565177"/>
              <a:gd name="connsiteX2211" fmla="*/ 1255592 w 12243467"/>
              <a:gd name="connsiteY2211" fmla="*/ 2474639 h 4565177"/>
              <a:gd name="connsiteX2212" fmla="*/ 1268315 w 12243467"/>
              <a:gd name="connsiteY2212" fmla="*/ 2483743 h 4565177"/>
              <a:gd name="connsiteX2213" fmla="*/ 1247847 w 12243467"/>
              <a:gd name="connsiteY2213" fmla="*/ 2475246 h 4565177"/>
              <a:gd name="connsiteX2214" fmla="*/ 1255592 w 12243467"/>
              <a:gd name="connsiteY2214" fmla="*/ 2474639 h 4565177"/>
              <a:gd name="connsiteX2215" fmla="*/ 941258 w 12243467"/>
              <a:gd name="connsiteY2215" fmla="*/ 2362177 h 4565177"/>
              <a:gd name="connsiteX2216" fmla="*/ 940937 w 12243467"/>
              <a:gd name="connsiteY2216" fmla="*/ 2362222 h 4565177"/>
              <a:gd name="connsiteX2217" fmla="*/ 846684 w 12243467"/>
              <a:gd name="connsiteY2217" fmla="*/ 2379389 h 4565177"/>
              <a:gd name="connsiteX2218" fmla="*/ 851494 w 12243467"/>
              <a:gd name="connsiteY2218" fmla="*/ 2382590 h 4565177"/>
              <a:gd name="connsiteX2219" fmla="*/ 846046 w 12243467"/>
              <a:gd name="connsiteY2219" fmla="*/ 2379505 h 4565177"/>
              <a:gd name="connsiteX2220" fmla="*/ 810844 w 12243467"/>
              <a:gd name="connsiteY2220" fmla="*/ 2385916 h 4565177"/>
              <a:gd name="connsiteX2221" fmla="*/ 819721 w 12243467"/>
              <a:gd name="connsiteY2221" fmla="*/ 2392933 h 4565177"/>
              <a:gd name="connsiteX2222" fmla="*/ 835175 w 12243467"/>
              <a:gd name="connsiteY2222" fmla="*/ 2391188 h 4565177"/>
              <a:gd name="connsiteX2223" fmla="*/ 843749 w 12243467"/>
              <a:gd name="connsiteY2223" fmla="*/ 2404540 h 4565177"/>
              <a:gd name="connsiteX2224" fmla="*/ 869196 w 12243467"/>
              <a:gd name="connsiteY2224" fmla="*/ 2393009 h 4565177"/>
              <a:gd name="connsiteX2225" fmla="*/ 883302 w 12243467"/>
              <a:gd name="connsiteY2225" fmla="*/ 2420118 h 4565177"/>
              <a:gd name="connsiteX2226" fmla="*/ 929769 w 12243467"/>
              <a:gd name="connsiteY2226" fmla="*/ 2472515 h 4565177"/>
              <a:gd name="connsiteX2227" fmla="*/ 949683 w 12243467"/>
              <a:gd name="connsiteY2227" fmla="*/ 2497196 h 4565177"/>
              <a:gd name="connsiteX2228" fmla="*/ 987300 w 12243467"/>
              <a:gd name="connsiteY2228" fmla="*/ 2534319 h 4565177"/>
              <a:gd name="connsiteX2229" fmla="*/ 979279 w 12243467"/>
              <a:gd name="connsiteY2229" fmla="*/ 2540489 h 4565177"/>
              <a:gd name="connsiteX2230" fmla="*/ 1007767 w 12243467"/>
              <a:gd name="connsiteY2230" fmla="*/ 2562540 h 4565177"/>
              <a:gd name="connsiteX2231" fmla="*/ 1034597 w 12243467"/>
              <a:gd name="connsiteY2231" fmla="*/ 2590155 h 4565177"/>
              <a:gd name="connsiteX2232" fmla="*/ 1138318 w 12243467"/>
              <a:gd name="connsiteY2232" fmla="*/ 2670470 h 4565177"/>
              <a:gd name="connsiteX2233" fmla="*/ 1137211 w 12243467"/>
              <a:gd name="connsiteY2233" fmla="*/ 2681394 h 4565177"/>
              <a:gd name="connsiteX2234" fmla="*/ 1144956 w 12243467"/>
              <a:gd name="connsiteY2234" fmla="*/ 2673403 h 4565177"/>
              <a:gd name="connsiteX2235" fmla="*/ 1238997 w 12243467"/>
              <a:gd name="connsiteY2235" fmla="*/ 2751088 h 4565177"/>
              <a:gd name="connsiteX2236" fmla="*/ 1223784 w 12243467"/>
              <a:gd name="connsiteY2236" fmla="*/ 2750886 h 4565177"/>
              <a:gd name="connsiteX2237" fmla="*/ 1263613 w 12243467"/>
              <a:gd name="connsiteY2237" fmla="*/ 2768183 h 4565177"/>
              <a:gd name="connsiteX2238" fmla="*/ 1285464 w 12243467"/>
              <a:gd name="connsiteY2238" fmla="*/ 2787503 h 4565177"/>
              <a:gd name="connsiteX2239" fmla="*/ 1273294 w 12243467"/>
              <a:gd name="connsiteY2239" fmla="*/ 2786896 h 4565177"/>
              <a:gd name="connsiteX2240" fmla="*/ 1291549 w 12243467"/>
              <a:gd name="connsiteY2240" fmla="*/ 2802878 h 4565177"/>
              <a:gd name="connsiteX2241" fmla="*/ 1295974 w 12243467"/>
              <a:gd name="connsiteY2241" fmla="*/ 2793471 h 4565177"/>
              <a:gd name="connsiteX2242" fmla="*/ 1320867 w 12243467"/>
              <a:gd name="connsiteY2242" fmla="*/ 2812387 h 4565177"/>
              <a:gd name="connsiteX2243" fmla="*/ 1306761 w 12243467"/>
              <a:gd name="connsiteY2243" fmla="*/ 2803081 h 4565177"/>
              <a:gd name="connsiteX2244" fmla="*/ 1298740 w 12243467"/>
              <a:gd name="connsiteY2244" fmla="*/ 2809251 h 4565177"/>
              <a:gd name="connsiteX2245" fmla="*/ 1333867 w 12243467"/>
              <a:gd name="connsiteY2245" fmla="*/ 2816332 h 4565177"/>
              <a:gd name="connsiteX2246" fmla="*/ 1322803 w 12243467"/>
              <a:gd name="connsiteY2246" fmla="*/ 2822805 h 4565177"/>
              <a:gd name="connsiteX2247" fmla="*/ 1458886 w 12243467"/>
              <a:gd name="connsiteY2247" fmla="*/ 2896242 h 4565177"/>
              <a:gd name="connsiteX2248" fmla="*/ 1455290 w 12243467"/>
              <a:gd name="connsiteY2248" fmla="*/ 2909190 h 4565177"/>
              <a:gd name="connsiteX2249" fmla="*/ 1495949 w 12243467"/>
              <a:gd name="connsiteY2249" fmla="*/ 2913843 h 4565177"/>
              <a:gd name="connsiteX2250" fmla="*/ 1576436 w 12243467"/>
              <a:gd name="connsiteY2250" fmla="*/ 2952078 h 4565177"/>
              <a:gd name="connsiteX2251" fmla="*/ 1817899 w 12243467"/>
              <a:gd name="connsiteY2251" fmla="*/ 3064560 h 4565177"/>
              <a:gd name="connsiteX2252" fmla="*/ 1996853 w 12243467"/>
              <a:gd name="connsiteY2252" fmla="*/ 3121104 h 4565177"/>
              <a:gd name="connsiteX2253" fmla="*/ 2014555 w 12243467"/>
              <a:gd name="connsiteY2253" fmla="*/ 3135265 h 4565177"/>
              <a:gd name="connsiteX2254" fmla="*/ 2022299 w 12243467"/>
              <a:gd name="connsiteY2254" fmla="*/ 3127375 h 4565177"/>
              <a:gd name="connsiteX2255" fmla="*/ 2065724 w 12243467"/>
              <a:gd name="connsiteY2255" fmla="*/ 3146190 h 4565177"/>
              <a:gd name="connsiteX2256" fmla="*/ 2086468 w 12243467"/>
              <a:gd name="connsiteY2256" fmla="*/ 3142144 h 4565177"/>
              <a:gd name="connsiteX2257" fmla="*/ 2090341 w 12243467"/>
              <a:gd name="connsiteY2257" fmla="*/ 3147100 h 4565177"/>
              <a:gd name="connsiteX2258" fmla="*/ 2213700 w 12243467"/>
              <a:gd name="connsiteY2258" fmla="*/ 3168443 h 4565177"/>
              <a:gd name="connsiteX2259" fmla="*/ 2256571 w 12243467"/>
              <a:gd name="connsiteY2259" fmla="*/ 3185336 h 4565177"/>
              <a:gd name="connsiteX2260" fmla="*/ 2263209 w 12243467"/>
              <a:gd name="connsiteY2260" fmla="*/ 3185538 h 4565177"/>
              <a:gd name="connsiteX2261" fmla="*/ 2263762 w 12243467"/>
              <a:gd name="connsiteY2261" fmla="*/ 3184122 h 4565177"/>
              <a:gd name="connsiteX2262" fmla="*/ 2263762 w 12243467"/>
              <a:gd name="connsiteY2262" fmla="*/ 3179975 h 4565177"/>
              <a:gd name="connsiteX2263" fmla="*/ 2297506 w 12243467"/>
              <a:gd name="connsiteY2263" fmla="*/ 3179165 h 4565177"/>
              <a:gd name="connsiteX2264" fmla="*/ 2303038 w 12243467"/>
              <a:gd name="connsiteY2264" fmla="*/ 3173905 h 4565177"/>
              <a:gd name="connsiteX2265" fmla="*/ 2294741 w 12243467"/>
              <a:gd name="connsiteY2265" fmla="*/ 3168140 h 4565177"/>
              <a:gd name="connsiteX2266" fmla="*/ 2293911 w 12243467"/>
              <a:gd name="connsiteY2266" fmla="*/ 3163386 h 4565177"/>
              <a:gd name="connsiteX2267" fmla="*/ 2291975 w 12243467"/>
              <a:gd name="connsiteY2267" fmla="*/ 3163183 h 4565177"/>
              <a:gd name="connsiteX2268" fmla="*/ 2273996 w 12243467"/>
              <a:gd name="connsiteY2268" fmla="*/ 3163993 h 4565177"/>
              <a:gd name="connsiteX2269" fmla="*/ 2242741 w 12243467"/>
              <a:gd name="connsiteY2269" fmla="*/ 3151854 h 4565177"/>
              <a:gd name="connsiteX2270" fmla="*/ 2224487 w 12243467"/>
              <a:gd name="connsiteY2270" fmla="*/ 3147707 h 4565177"/>
              <a:gd name="connsiteX2271" fmla="*/ 2218955 w 12243467"/>
              <a:gd name="connsiteY2271" fmla="*/ 3147100 h 4565177"/>
              <a:gd name="connsiteX2272" fmla="*/ 2216466 w 12243467"/>
              <a:gd name="connsiteY2272" fmla="*/ 3145987 h 4565177"/>
              <a:gd name="connsiteX2273" fmla="*/ 2207615 w 12243467"/>
              <a:gd name="connsiteY2273" fmla="*/ 3144066 h 4565177"/>
              <a:gd name="connsiteX2274" fmla="*/ 2193232 w 12243467"/>
              <a:gd name="connsiteY2274" fmla="*/ 3140829 h 4565177"/>
              <a:gd name="connsiteX2275" fmla="*/ 2199594 w 12243467"/>
              <a:gd name="connsiteY2275" fmla="*/ 3149325 h 4565177"/>
              <a:gd name="connsiteX2276" fmla="*/ 2131829 w 12243467"/>
              <a:gd name="connsiteY2276" fmla="*/ 3139716 h 4565177"/>
              <a:gd name="connsiteX2277" fmla="*/ 2152573 w 12243467"/>
              <a:gd name="connsiteY2277" fmla="*/ 3139817 h 4565177"/>
              <a:gd name="connsiteX2278" fmla="*/ 2171935 w 12243467"/>
              <a:gd name="connsiteY2278" fmla="*/ 3136074 h 4565177"/>
              <a:gd name="connsiteX2279" fmla="*/ 2141233 w 12243467"/>
              <a:gd name="connsiteY2279" fmla="*/ 3124138 h 4565177"/>
              <a:gd name="connsiteX2280" fmla="*/ 2065171 w 12243467"/>
              <a:gd name="connsiteY2280" fmla="*/ 3110483 h 4565177"/>
              <a:gd name="connsiteX2281" fmla="*/ 2000172 w 12243467"/>
              <a:gd name="connsiteY2281" fmla="*/ 3090455 h 4565177"/>
              <a:gd name="connsiteX2282" fmla="*/ 1951769 w 12243467"/>
              <a:gd name="connsiteY2282" fmla="*/ 3077608 h 4565177"/>
              <a:gd name="connsiteX2283" fmla="*/ 1906132 w 12243467"/>
              <a:gd name="connsiteY2283" fmla="*/ 3062638 h 4565177"/>
              <a:gd name="connsiteX2284" fmla="*/ 1749582 w 12243467"/>
              <a:gd name="connsiteY2284" fmla="*/ 2994765 h 4565177"/>
              <a:gd name="connsiteX2285" fmla="*/ 1738241 w 12243467"/>
              <a:gd name="connsiteY2285" fmla="*/ 2999519 h 4565177"/>
              <a:gd name="connsiteX2286" fmla="*/ 1720816 w 12243467"/>
              <a:gd name="connsiteY2286" fmla="*/ 2987178 h 4565177"/>
              <a:gd name="connsiteX2287" fmla="*/ 1579479 w 12243467"/>
              <a:gd name="connsiteY2287" fmla="*/ 2919608 h 4565177"/>
              <a:gd name="connsiteX2288" fmla="*/ 1575606 w 12243467"/>
              <a:gd name="connsiteY2288" fmla="*/ 2914652 h 4565177"/>
              <a:gd name="connsiteX2289" fmla="*/ 1563160 w 12243467"/>
              <a:gd name="connsiteY2289" fmla="*/ 2914045 h 4565177"/>
              <a:gd name="connsiteX2290" fmla="*/ 1532459 w 12243467"/>
              <a:gd name="connsiteY2290" fmla="*/ 2895939 h 4565177"/>
              <a:gd name="connsiteX2291" fmla="*/ 1444779 w 12243467"/>
              <a:gd name="connsiteY2291" fmla="*/ 2837068 h 4565177"/>
              <a:gd name="connsiteX2292" fmla="*/ 1428737 w 12243467"/>
              <a:gd name="connsiteY2292" fmla="*/ 2833325 h 4565177"/>
              <a:gd name="connsiteX2293" fmla="*/ 1423205 w 12243467"/>
              <a:gd name="connsiteY2293" fmla="*/ 2819670 h 4565177"/>
              <a:gd name="connsiteX2294" fmla="*/ 1395270 w 12243467"/>
              <a:gd name="connsiteY2294" fmla="*/ 2801058 h 4565177"/>
              <a:gd name="connsiteX2295" fmla="*/ 1408823 w 12243467"/>
              <a:gd name="connsiteY2295" fmla="*/ 2792561 h 4565177"/>
              <a:gd name="connsiteX2296" fmla="*/ 1388632 w 12243467"/>
              <a:gd name="connsiteY2296" fmla="*/ 2798225 h 4565177"/>
              <a:gd name="connsiteX2297" fmla="*/ 1385312 w 12243467"/>
              <a:gd name="connsiteY2297" fmla="*/ 2780726 h 4565177"/>
              <a:gd name="connsiteX2298" fmla="*/ 1351845 w 12243467"/>
              <a:gd name="connsiteY2298" fmla="*/ 2764542 h 4565177"/>
              <a:gd name="connsiteX2299" fmla="*/ 1331654 w 12243467"/>
              <a:gd name="connsiteY2299" fmla="*/ 2755843 h 4565177"/>
              <a:gd name="connsiteX2300" fmla="*/ 1323356 w 12243467"/>
              <a:gd name="connsiteY2300" fmla="*/ 2760394 h 4565177"/>
              <a:gd name="connsiteX2301" fmla="*/ 1306761 w 12243467"/>
              <a:gd name="connsiteY2301" fmla="*/ 2753111 h 4565177"/>
              <a:gd name="connsiteX2302" fmla="*/ 1285187 w 12243467"/>
              <a:gd name="connsiteY2302" fmla="*/ 2735713 h 4565177"/>
              <a:gd name="connsiteX2303" fmla="*/ 1292655 w 12243467"/>
              <a:gd name="connsiteY2303" fmla="*/ 2727823 h 4565177"/>
              <a:gd name="connsiteX2304" fmla="*/ 1264166 w 12243467"/>
              <a:gd name="connsiteY2304" fmla="*/ 2721754 h 4565177"/>
              <a:gd name="connsiteX2305" fmla="*/ 1255869 w 12243467"/>
              <a:gd name="connsiteY2305" fmla="*/ 2710122 h 4565177"/>
              <a:gd name="connsiteX2306" fmla="*/ 1186997 w 12243467"/>
              <a:gd name="connsiteY2306" fmla="*/ 2652971 h 4565177"/>
              <a:gd name="connsiteX2307" fmla="*/ 1170679 w 12243467"/>
              <a:gd name="connsiteY2307" fmla="*/ 2647508 h 4565177"/>
              <a:gd name="connsiteX2308" fmla="*/ 1112318 w 12243467"/>
              <a:gd name="connsiteY2308" fmla="*/ 2580444 h 4565177"/>
              <a:gd name="connsiteX2309" fmla="*/ 1096276 w 12243467"/>
              <a:gd name="connsiteY2309" fmla="*/ 2576600 h 4565177"/>
              <a:gd name="connsiteX2310" fmla="*/ 1105404 w 12243467"/>
              <a:gd name="connsiteY2310" fmla="*/ 2559607 h 4565177"/>
              <a:gd name="connsiteX2311" fmla="*/ 1076362 w 12243467"/>
              <a:gd name="connsiteY2311" fmla="*/ 2535937 h 4565177"/>
              <a:gd name="connsiteX2312" fmla="*/ 1047043 w 12243467"/>
              <a:gd name="connsiteY2312" fmla="*/ 2526429 h 4565177"/>
              <a:gd name="connsiteX2313" fmla="*/ 1051469 w 12243467"/>
              <a:gd name="connsiteY2313" fmla="*/ 2517123 h 4565177"/>
              <a:gd name="connsiteX2314" fmla="*/ 1033767 w 12243467"/>
              <a:gd name="connsiteY2314" fmla="*/ 2488497 h 4565177"/>
              <a:gd name="connsiteX2315" fmla="*/ 999469 w 12243467"/>
              <a:gd name="connsiteY2315" fmla="*/ 2468772 h 4565177"/>
              <a:gd name="connsiteX2316" fmla="*/ 950345 w 12243467"/>
              <a:gd name="connsiteY2316" fmla="*/ 2385245 h 4565177"/>
              <a:gd name="connsiteX2317" fmla="*/ 1015512 w 12243467"/>
              <a:gd name="connsiteY2317" fmla="*/ 2359831 h 4565177"/>
              <a:gd name="connsiteX2318" fmla="*/ 1029895 w 12243467"/>
              <a:gd name="connsiteY2318" fmla="*/ 2370958 h 4565177"/>
              <a:gd name="connsiteX2319" fmla="*/ 1015512 w 12243467"/>
              <a:gd name="connsiteY2319" fmla="*/ 2359831 h 4565177"/>
              <a:gd name="connsiteX2320" fmla="*/ 996056 w 12243467"/>
              <a:gd name="connsiteY2320" fmla="*/ 2354493 h 4565177"/>
              <a:gd name="connsiteX2321" fmla="*/ 952744 w 12243467"/>
              <a:gd name="connsiteY2321" fmla="*/ 2360566 h 4565177"/>
              <a:gd name="connsiteX2322" fmla="*/ 964239 w 12243467"/>
              <a:gd name="connsiteY2322" fmla="*/ 2366507 h 4565177"/>
              <a:gd name="connsiteX2323" fmla="*/ 988406 w 12243467"/>
              <a:gd name="connsiteY2323" fmla="*/ 2393211 h 4565177"/>
              <a:gd name="connsiteX2324" fmla="*/ 1012193 w 12243467"/>
              <a:gd name="connsiteY2324" fmla="*/ 2389064 h 4565177"/>
              <a:gd name="connsiteX2325" fmla="*/ 996082 w 12243467"/>
              <a:gd name="connsiteY2325" fmla="*/ 2354533 h 4565177"/>
              <a:gd name="connsiteX2326" fmla="*/ 1040442 w 12243467"/>
              <a:gd name="connsiteY2326" fmla="*/ 2348269 h 4565177"/>
              <a:gd name="connsiteX2327" fmla="*/ 1004862 w 12243467"/>
              <a:gd name="connsiteY2327" fmla="*/ 2353258 h 4565177"/>
              <a:gd name="connsiteX2328" fmla="*/ 1018554 w 12243467"/>
              <a:gd name="connsiteY2328" fmla="*/ 2374093 h 4565177"/>
              <a:gd name="connsiteX2329" fmla="*/ 1043171 w 12243467"/>
              <a:gd name="connsiteY2329" fmla="*/ 2375004 h 4565177"/>
              <a:gd name="connsiteX2330" fmla="*/ 1041511 w 12243467"/>
              <a:gd name="connsiteY2330" fmla="*/ 2366305 h 4565177"/>
              <a:gd name="connsiteX2331" fmla="*/ 1051192 w 12243467"/>
              <a:gd name="connsiteY2331" fmla="*/ 2368935 h 4565177"/>
              <a:gd name="connsiteX2332" fmla="*/ 1059213 w 12243467"/>
              <a:gd name="connsiteY2332" fmla="*/ 2362663 h 4565177"/>
              <a:gd name="connsiteX2333" fmla="*/ 1047700 w 12243467"/>
              <a:gd name="connsiteY2333" fmla="*/ 2356050 h 4565177"/>
              <a:gd name="connsiteX2334" fmla="*/ 1170411 w 12243467"/>
              <a:gd name="connsiteY2334" fmla="*/ 2330079 h 4565177"/>
              <a:gd name="connsiteX2335" fmla="*/ 1108748 w 12243467"/>
              <a:gd name="connsiteY2335" fmla="*/ 2338691 h 4565177"/>
              <a:gd name="connsiteX2336" fmla="*/ 1072892 w 12243467"/>
              <a:gd name="connsiteY2336" fmla="*/ 2343718 h 4565177"/>
              <a:gd name="connsiteX2337" fmla="*/ 1068617 w 12243467"/>
              <a:gd name="connsiteY2337" fmla="*/ 2347389 h 4565177"/>
              <a:gd name="connsiteX2338" fmla="*/ 1077744 w 12243467"/>
              <a:gd name="connsiteY2338" fmla="*/ 2346580 h 4565177"/>
              <a:gd name="connsiteX2339" fmla="*/ 1073872 w 12243467"/>
              <a:gd name="connsiteY2339" fmla="*/ 2359426 h 4565177"/>
              <a:gd name="connsiteX2340" fmla="*/ 1087978 w 12243467"/>
              <a:gd name="connsiteY2340" fmla="*/ 2352548 h 4565177"/>
              <a:gd name="connsiteX2341" fmla="*/ 1117020 w 12243467"/>
              <a:gd name="connsiteY2341" fmla="*/ 2360337 h 4565177"/>
              <a:gd name="connsiteX2342" fmla="*/ 1108169 w 12243467"/>
              <a:gd name="connsiteY2342" fmla="*/ 2379151 h 4565177"/>
              <a:gd name="connsiteX2343" fmla="*/ 1133892 w 12243467"/>
              <a:gd name="connsiteY2343" fmla="*/ 2417488 h 4565177"/>
              <a:gd name="connsiteX2344" fmla="*/ 1150488 w 12243467"/>
              <a:gd name="connsiteY2344" fmla="*/ 2424670 h 4565177"/>
              <a:gd name="connsiteX2345" fmla="*/ 1137765 w 12243467"/>
              <a:gd name="connsiteY2345" fmla="*/ 2422444 h 4565177"/>
              <a:gd name="connsiteX2346" fmla="*/ 1147445 w 12243467"/>
              <a:gd name="connsiteY2346" fmla="*/ 2441056 h 4565177"/>
              <a:gd name="connsiteX2347" fmla="*/ 1167636 w 12243467"/>
              <a:gd name="connsiteY2347" fmla="*/ 2435493 h 4565177"/>
              <a:gd name="connsiteX2348" fmla="*/ 1172062 w 12243467"/>
              <a:gd name="connsiteY2348" fmla="*/ 2442169 h 4565177"/>
              <a:gd name="connsiteX2349" fmla="*/ 1156573 w 12243467"/>
              <a:gd name="connsiteY2349" fmla="*/ 2441865 h 4565177"/>
              <a:gd name="connsiteX2350" fmla="*/ 1160722 w 12243467"/>
              <a:gd name="connsiteY2350" fmla="*/ 2446822 h 4565177"/>
              <a:gd name="connsiteX2351" fmla="*/ 1169296 w 12243467"/>
              <a:gd name="connsiteY2351" fmla="*/ 2444192 h 4565177"/>
              <a:gd name="connsiteX2352" fmla="*/ 1207465 w 12243467"/>
              <a:gd name="connsiteY2352" fmla="*/ 2484956 h 4565177"/>
              <a:gd name="connsiteX2353" fmla="*/ 1219082 w 12243467"/>
              <a:gd name="connsiteY2353" fmla="*/ 2497904 h 4565177"/>
              <a:gd name="connsiteX2354" fmla="*/ 1227933 w 12243467"/>
              <a:gd name="connsiteY2354" fmla="*/ 2495274 h 4565177"/>
              <a:gd name="connsiteX2355" fmla="*/ 1258358 w 12243467"/>
              <a:gd name="connsiteY2355" fmla="*/ 2527845 h 4565177"/>
              <a:gd name="connsiteX2356" fmla="*/ 1250337 w 12243467"/>
              <a:gd name="connsiteY2356" fmla="*/ 2534015 h 4565177"/>
              <a:gd name="connsiteX2357" fmla="*/ 1305378 w 12243467"/>
              <a:gd name="connsiteY2357" fmla="*/ 2581860 h 4565177"/>
              <a:gd name="connsiteX2358" fmla="*/ 1314229 w 12243467"/>
              <a:gd name="connsiteY2358" fmla="*/ 2581051 h 4565177"/>
              <a:gd name="connsiteX2359" fmla="*/ 1320037 w 12243467"/>
              <a:gd name="connsiteY2359" fmla="*/ 2578624 h 4565177"/>
              <a:gd name="connsiteX2360" fmla="*/ 1306761 w 12243467"/>
              <a:gd name="connsiteY2360" fmla="*/ 2572858 h 4565177"/>
              <a:gd name="connsiteX2361" fmla="*/ 1308421 w 12243467"/>
              <a:gd name="connsiteY2361" fmla="*/ 2565575 h 4565177"/>
              <a:gd name="connsiteX2362" fmla="*/ 1356824 w 12243467"/>
              <a:gd name="connsiteY2362" fmla="*/ 2596224 h 4565177"/>
              <a:gd name="connsiteX2363" fmla="*/ 1364845 w 12243467"/>
              <a:gd name="connsiteY2363" fmla="*/ 2590054 h 4565177"/>
              <a:gd name="connsiteX2364" fmla="*/ 1416567 w 12243467"/>
              <a:gd name="connsiteY2364" fmla="*/ 2620399 h 4565177"/>
              <a:gd name="connsiteX2365" fmla="*/ 1429567 w 12243467"/>
              <a:gd name="connsiteY2365" fmla="*/ 2608362 h 4565177"/>
              <a:gd name="connsiteX2366" fmla="*/ 1396929 w 12243467"/>
              <a:gd name="connsiteY2366" fmla="*/ 2581355 h 4565177"/>
              <a:gd name="connsiteX2367" fmla="*/ 1372036 w 12243467"/>
              <a:gd name="connsiteY2367" fmla="*/ 2562540 h 4565177"/>
              <a:gd name="connsiteX2368" fmla="*/ 1337462 w 12243467"/>
              <a:gd name="connsiteY2368" fmla="*/ 2525013 h 4565177"/>
              <a:gd name="connsiteX2369" fmla="*/ 1305378 w 12243467"/>
              <a:gd name="connsiteY2369" fmla="*/ 2483743 h 4565177"/>
              <a:gd name="connsiteX2370" fmla="*/ 1291825 w 12243467"/>
              <a:gd name="connsiteY2370" fmla="*/ 2477876 h 4565177"/>
              <a:gd name="connsiteX2371" fmla="*/ 1293485 w 12243467"/>
              <a:gd name="connsiteY2371" fmla="*/ 2470593 h 4565177"/>
              <a:gd name="connsiteX2372" fmla="*/ 1252549 w 12243467"/>
              <a:gd name="connsiteY2372" fmla="*/ 2446316 h 4565177"/>
              <a:gd name="connsiteX2373" fmla="*/ 1183955 w 12243467"/>
              <a:gd name="connsiteY2373" fmla="*/ 2342635 h 4565177"/>
              <a:gd name="connsiteX2374" fmla="*/ 1166807 w 12243467"/>
              <a:gd name="connsiteY2374" fmla="*/ 2332014 h 4565177"/>
              <a:gd name="connsiteX2375" fmla="*/ 1227234 w 12243467"/>
              <a:gd name="connsiteY2375" fmla="*/ 2322143 h 4565177"/>
              <a:gd name="connsiteX2376" fmla="*/ 1191654 w 12243467"/>
              <a:gd name="connsiteY2376" fmla="*/ 2327112 h 4565177"/>
              <a:gd name="connsiteX2377" fmla="*/ 1203732 w 12243467"/>
              <a:gd name="connsiteY2377" fmla="*/ 2339524 h 4565177"/>
              <a:gd name="connsiteX2378" fmla="*/ 1229316 w 12243467"/>
              <a:gd name="connsiteY2378" fmla="*/ 2371868 h 4565177"/>
              <a:gd name="connsiteX2379" fmla="*/ 1231252 w 12243467"/>
              <a:gd name="connsiteY2379" fmla="*/ 2366406 h 4565177"/>
              <a:gd name="connsiteX2380" fmla="*/ 1258634 w 12243467"/>
              <a:gd name="connsiteY2380" fmla="*/ 2413644 h 4565177"/>
              <a:gd name="connsiteX2381" fmla="*/ 1292931 w 12243467"/>
              <a:gd name="connsiteY2381" fmla="*/ 2467154 h 4565177"/>
              <a:gd name="connsiteX2382" fmla="*/ 1314782 w 12243467"/>
              <a:gd name="connsiteY2382" fmla="*/ 2486271 h 4565177"/>
              <a:gd name="connsiteX2383" fmla="*/ 1320037 w 12243467"/>
              <a:gd name="connsiteY2383" fmla="*/ 2480405 h 4565177"/>
              <a:gd name="connsiteX2384" fmla="*/ 1435652 w 12243467"/>
              <a:gd name="connsiteY2384" fmla="*/ 2575589 h 4565177"/>
              <a:gd name="connsiteX2385" fmla="*/ 1438141 w 12243467"/>
              <a:gd name="connsiteY2385" fmla="*/ 2555763 h 4565177"/>
              <a:gd name="connsiteX2386" fmla="*/ 1396376 w 12243467"/>
              <a:gd name="connsiteY2386" fmla="*/ 2529666 h 4565177"/>
              <a:gd name="connsiteX2387" fmla="*/ 1355994 w 12243467"/>
              <a:gd name="connsiteY2387" fmla="*/ 2492745 h 4565177"/>
              <a:gd name="connsiteX2388" fmla="*/ 1332484 w 12243467"/>
              <a:gd name="connsiteY2388" fmla="*/ 2464928 h 4565177"/>
              <a:gd name="connsiteX2389" fmla="*/ 1273570 w 12243467"/>
              <a:gd name="connsiteY2389" fmla="*/ 2412026 h 4565177"/>
              <a:gd name="connsiteX2390" fmla="*/ 1230975 w 12243467"/>
              <a:gd name="connsiteY2390" fmla="*/ 2348603 h 4565177"/>
              <a:gd name="connsiteX2391" fmla="*/ 1389185 w 12243467"/>
              <a:gd name="connsiteY2391" fmla="*/ 2507210 h 4565177"/>
              <a:gd name="connsiteX2392" fmla="*/ 1430397 w 12243467"/>
              <a:gd name="connsiteY2392" fmla="*/ 2547570 h 4565177"/>
              <a:gd name="connsiteX2393" fmla="*/ 1440077 w 12243467"/>
              <a:gd name="connsiteY2393" fmla="*/ 2550200 h 4565177"/>
              <a:gd name="connsiteX2394" fmla="*/ 1507289 w 12243467"/>
              <a:gd name="connsiteY2394" fmla="*/ 2614634 h 4565177"/>
              <a:gd name="connsiteX2395" fmla="*/ 1455013 w 12243467"/>
              <a:gd name="connsiteY2395" fmla="*/ 2580748 h 4565177"/>
              <a:gd name="connsiteX2396" fmla="*/ 1519182 w 12243467"/>
              <a:gd name="connsiteY2396" fmla="*/ 2629503 h 4565177"/>
              <a:gd name="connsiteX2397" fmla="*/ 1589989 w 12243467"/>
              <a:gd name="connsiteY2397" fmla="*/ 2681091 h 4565177"/>
              <a:gd name="connsiteX2398" fmla="*/ 1631754 w 12243467"/>
              <a:gd name="connsiteY2398" fmla="*/ 2707087 h 4565177"/>
              <a:gd name="connsiteX2399" fmla="*/ 1706710 w 12243467"/>
              <a:gd name="connsiteY2399" fmla="*/ 2749369 h 4565177"/>
              <a:gd name="connsiteX2400" fmla="*/ 1781943 w 12243467"/>
              <a:gd name="connsiteY2400" fmla="*/ 2791549 h 4565177"/>
              <a:gd name="connsiteX2401" fmla="*/ 1766454 w 12243467"/>
              <a:gd name="connsiteY2401" fmla="*/ 2773544 h 4565177"/>
              <a:gd name="connsiteX2402" fmla="*/ 1569245 w 12243467"/>
              <a:gd name="connsiteY2402" fmla="*/ 2651049 h 4565177"/>
              <a:gd name="connsiteX2403" fmla="*/ 1699242 w 12243467"/>
              <a:gd name="connsiteY2403" fmla="*/ 2725193 h 4565177"/>
              <a:gd name="connsiteX2404" fmla="*/ 1704221 w 12243467"/>
              <a:gd name="connsiteY2404" fmla="*/ 2719225 h 4565177"/>
              <a:gd name="connsiteX2405" fmla="*/ 1739901 w 12243467"/>
              <a:gd name="connsiteY2405" fmla="*/ 2745930 h 4565177"/>
              <a:gd name="connsiteX2406" fmla="*/ 1751794 w 12243467"/>
              <a:gd name="connsiteY2406" fmla="*/ 2744716 h 4565177"/>
              <a:gd name="connsiteX2407" fmla="*/ 1675732 w 12243467"/>
              <a:gd name="connsiteY2407" fmla="*/ 2681192 h 4565177"/>
              <a:gd name="connsiteX2408" fmla="*/ 1668264 w 12243467"/>
              <a:gd name="connsiteY2408" fmla="*/ 2690903 h 4565177"/>
              <a:gd name="connsiteX2409" fmla="*/ 1649733 w 12243467"/>
              <a:gd name="connsiteY2409" fmla="*/ 2689284 h 4565177"/>
              <a:gd name="connsiteX2410" fmla="*/ 1627052 w 12243467"/>
              <a:gd name="connsiteY2410" fmla="*/ 2666525 h 4565177"/>
              <a:gd name="connsiteX2411" fmla="*/ 1642265 w 12243467"/>
              <a:gd name="connsiteY2411" fmla="*/ 2665008 h 4565177"/>
              <a:gd name="connsiteX2412" fmla="*/ 1559564 w 12243467"/>
              <a:gd name="connsiteY2412" fmla="*/ 2600371 h 4565177"/>
              <a:gd name="connsiteX2413" fmla="*/ 1564543 w 12243467"/>
              <a:gd name="connsiteY2413" fmla="*/ 2610588 h 4565177"/>
              <a:gd name="connsiteX2414" fmla="*/ 1549607 w 12243467"/>
              <a:gd name="connsiteY2414" fmla="*/ 2595921 h 4565177"/>
              <a:gd name="connsiteX2415" fmla="*/ 1556245 w 12243467"/>
              <a:gd name="connsiteY2415" fmla="*/ 2598854 h 4565177"/>
              <a:gd name="connsiteX2416" fmla="*/ 1519182 w 12243467"/>
              <a:gd name="connsiteY2416" fmla="*/ 2563451 h 4565177"/>
              <a:gd name="connsiteX2417" fmla="*/ 1511714 w 12243467"/>
              <a:gd name="connsiteY2417" fmla="*/ 2573161 h 4565177"/>
              <a:gd name="connsiteX2418" fmla="*/ 1424035 w 12243467"/>
              <a:gd name="connsiteY2418" fmla="*/ 2480405 h 4565177"/>
              <a:gd name="connsiteX2419" fmla="*/ 1430950 w 12243467"/>
              <a:gd name="connsiteY2419" fmla="*/ 2468974 h 4565177"/>
              <a:gd name="connsiteX2420" fmla="*/ 1419333 w 12243467"/>
              <a:gd name="connsiteY2420" fmla="*/ 2455825 h 4565177"/>
              <a:gd name="connsiteX2421" fmla="*/ 1390014 w 12243467"/>
              <a:gd name="connsiteY2421" fmla="*/ 2446417 h 4565177"/>
              <a:gd name="connsiteX2422" fmla="*/ 1386972 w 12243467"/>
              <a:gd name="connsiteY2422" fmla="*/ 2422242 h 4565177"/>
              <a:gd name="connsiteX2423" fmla="*/ 1373972 w 12243467"/>
              <a:gd name="connsiteY2423" fmla="*/ 2419410 h 4565177"/>
              <a:gd name="connsiteX2424" fmla="*/ 1359590 w 12243467"/>
              <a:gd name="connsiteY2424" fmla="*/ 2400292 h 4565177"/>
              <a:gd name="connsiteX2425" fmla="*/ 1294038 w 12243467"/>
              <a:gd name="connsiteY2425" fmla="*/ 2359325 h 4565177"/>
              <a:gd name="connsiteX2426" fmla="*/ 1277996 w 12243467"/>
              <a:gd name="connsiteY2426" fmla="*/ 2358314 h 4565177"/>
              <a:gd name="connsiteX2427" fmla="*/ 1282421 w 12243467"/>
              <a:gd name="connsiteY2427" fmla="*/ 2350120 h 4565177"/>
              <a:gd name="connsiteX2428" fmla="*/ 1265826 w 12243467"/>
              <a:gd name="connsiteY2428" fmla="*/ 2350727 h 4565177"/>
              <a:gd name="connsiteX2429" fmla="*/ 1238720 w 12243467"/>
              <a:gd name="connsiteY2429" fmla="*/ 2334846 h 4565177"/>
              <a:gd name="connsiteX2430" fmla="*/ 1240379 w 12243467"/>
              <a:gd name="connsiteY2430" fmla="*/ 2331609 h 4565177"/>
              <a:gd name="connsiteX2431" fmla="*/ 1328593 w 12243467"/>
              <a:gd name="connsiteY2431" fmla="*/ 2307616 h 4565177"/>
              <a:gd name="connsiteX2432" fmla="*/ 1327326 w 12243467"/>
              <a:gd name="connsiteY2432" fmla="*/ 2307802 h 4565177"/>
              <a:gd name="connsiteX2433" fmla="*/ 1329995 w 12243467"/>
              <a:gd name="connsiteY2433" fmla="*/ 2309457 h 4565177"/>
              <a:gd name="connsiteX2434" fmla="*/ 1349168 w 12243467"/>
              <a:gd name="connsiteY2434" fmla="*/ 2304588 h 4565177"/>
              <a:gd name="connsiteX2435" fmla="*/ 1335271 w 12243467"/>
              <a:gd name="connsiteY2435" fmla="*/ 2306633 h 4565177"/>
              <a:gd name="connsiteX2436" fmla="*/ 1341888 w 12243467"/>
              <a:gd name="connsiteY2436" fmla="*/ 2316234 h 4565177"/>
              <a:gd name="connsiteX2437" fmla="*/ 1344654 w 12243467"/>
              <a:gd name="connsiteY2437" fmla="*/ 2318561 h 4565177"/>
              <a:gd name="connsiteX2438" fmla="*/ 1352675 w 12243467"/>
              <a:gd name="connsiteY2438" fmla="*/ 2323719 h 4565177"/>
              <a:gd name="connsiteX2439" fmla="*/ 1373419 w 12243467"/>
              <a:gd name="connsiteY2439" fmla="*/ 2328069 h 4565177"/>
              <a:gd name="connsiteX2440" fmla="*/ 1375909 w 12243467"/>
              <a:gd name="connsiteY2440" fmla="*/ 2330294 h 4565177"/>
              <a:gd name="connsiteX2441" fmla="*/ 1373419 w 12243467"/>
              <a:gd name="connsiteY2441" fmla="*/ 2325641 h 4565177"/>
              <a:gd name="connsiteX2442" fmla="*/ 1368717 w 12243467"/>
              <a:gd name="connsiteY2442" fmla="*/ 2318257 h 4565177"/>
              <a:gd name="connsiteX2443" fmla="*/ 1362355 w 12243467"/>
              <a:gd name="connsiteY2443" fmla="*/ 2314515 h 4565177"/>
              <a:gd name="connsiteX2444" fmla="*/ 1715296 w 12243467"/>
              <a:gd name="connsiteY2444" fmla="*/ 1449817 h 4565177"/>
              <a:gd name="connsiteX2445" fmla="*/ 1726359 w 12243467"/>
              <a:gd name="connsiteY2445" fmla="*/ 1451941 h 4565177"/>
              <a:gd name="connsiteX2446" fmla="*/ 1710317 w 12243467"/>
              <a:gd name="connsiteY2446" fmla="*/ 1466204 h 4565177"/>
              <a:gd name="connsiteX2447" fmla="*/ 1715296 w 12243467"/>
              <a:gd name="connsiteY2447" fmla="*/ 1449817 h 4565177"/>
              <a:gd name="connsiteX2448" fmla="*/ 1728122 w 12243467"/>
              <a:gd name="connsiteY2448" fmla="*/ 1430536 h 4565177"/>
              <a:gd name="connsiteX2449" fmla="*/ 1736317 w 12243467"/>
              <a:gd name="connsiteY2449" fmla="*/ 1432520 h 4565177"/>
              <a:gd name="connsiteX2450" fmla="*/ 1730508 w 12243467"/>
              <a:gd name="connsiteY2450" fmla="*/ 1441422 h 4565177"/>
              <a:gd name="connsiteX2451" fmla="*/ 1725253 w 12243467"/>
              <a:gd name="connsiteY2451" fmla="*/ 1437173 h 4565177"/>
              <a:gd name="connsiteX2452" fmla="*/ 1721381 w 12243467"/>
              <a:gd name="connsiteY2452" fmla="*/ 1432116 h 4565177"/>
              <a:gd name="connsiteX2453" fmla="*/ 1728122 w 12243467"/>
              <a:gd name="connsiteY2453" fmla="*/ 1430536 h 4565177"/>
              <a:gd name="connsiteX2454" fmla="*/ 1953993 w 12243467"/>
              <a:gd name="connsiteY2454" fmla="*/ 1297279 h 4565177"/>
              <a:gd name="connsiteX2455" fmla="*/ 1965055 w 12243467"/>
              <a:gd name="connsiteY2455" fmla="*/ 1299404 h 4565177"/>
              <a:gd name="connsiteX2456" fmla="*/ 1955099 w 12243467"/>
              <a:gd name="connsiteY2456" fmla="*/ 1304664 h 4565177"/>
              <a:gd name="connsiteX2457" fmla="*/ 1953993 w 12243467"/>
              <a:gd name="connsiteY2457" fmla="*/ 1297279 h 4565177"/>
              <a:gd name="connsiteX2458" fmla="*/ 1792741 w 12243467"/>
              <a:gd name="connsiteY2458" fmla="*/ 1295155 h 4565177"/>
              <a:gd name="connsiteX2459" fmla="*/ 1792464 w 12243467"/>
              <a:gd name="connsiteY2459" fmla="*/ 1312553 h 4565177"/>
              <a:gd name="connsiteX2460" fmla="*/ 1792741 w 12243467"/>
              <a:gd name="connsiteY2460" fmla="*/ 1295155 h 4565177"/>
              <a:gd name="connsiteX2461" fmla="*/ 2089245 w 12243467"/>
              <a:gd name="connsiteY2461" fmla="*/ 1255099 h 4565177"/>
              <a:gd name="connsiteX2462" fmla="*/ 2081777 w 12243467"/>
              <a:gd name="connsiteY2462" fmla="*/ 1262786 h 4565177"/>
              <a:gd name="connsiteX2463" fmla="*/ 2059097 w 12243467"/>
              <a:gd name="connsiteY2463" fmla="*/ 1295661 h 4565177"/>
              <a:gd name="connsiteX2464" fmla="*/ 2041672 w 12243467"/>
              <a:gd name="connsiteY2464" fmla="*/ 1310834 h 4565177"/>
              <a:gd name="connsiteX2465" fmla="*/ 2051629 w 12243467"/>
              <a:gd name="connsiteY2465" fmla="*/ 1313059 h 4565177"/>
              <a:gd name="connsiteX2466" fmla="*/ 2060202 w 12243467"/>
              <a:gd name="connsiteY2466" fmla="*/ 1311744 h 4565177"/>
              <a:gd name="connsiteX2467" fmla="*/ 2066287 w 12243467"/>
              <a:gd name="connsiteY2467" fmla="*/ 1300112 h 4565177"/>
              <a:gd name="connsiteX2468" fmla="*/ 2079841 w 12243467"/>
              <a:gd name="connsiteY2468" fmla="*/ 1295661 h 4565177"/>
              <a:gd name="connsiteX2469" fmla="*/ 2084266 w 12243467"/>
              <a:gd name="connsiteY2469" fmla="*/ 1302337 h 4565177"/>
              <a:gd name="connsiteX2470" fmla="*/ 2085373 w 12243467"/>
              <a:gd name="connsiteY2470" fmla="*/ 1295863 h 4565177"/>
              <a:gd name="connsiteX2471" fmla="*/ 2083714 w 12243467"/>
              <a:gd name="connsiteY2471" fmla="*/ 1293537 h 4565177"/>
              <a:gd name="connsiteX2472" fmla="*/ 2085926 w 12243467"/>
              <a:gd name="connsiteY2472" fmla="*/ 1292525 h 4565177"/>
              <a:gd name="connsiteX2473" fmla="*/ 2087309 w 12243467"/>
              <a:gd name="connsiteY2473" fmla="*/ 1283523 h 4565177"/>
              <a:gd name="connsiteX2474" fmla="*/ 1987183 w 12243467"/>
              <a:gd name="connsiteY2474" fmla="*/ 1127748 h 4565177"/>
              <a:gd name="connsiteX2475" fmla="*/ 1942376 w 12243467"/>
              <a:gd name="connsiteY2475" fmla="*/ 1166388 h 4565177"/>
              <a:gd name="connsiteX2476" fmla="*/ 1981375 w 12243467"/>
              <a:gd name="connsiteY2476" fmla="*/ 1133817 h 4565177"/>
              <a:gd name="connsiteX2477" fmla="*/ 1973907 w 12243467"/>
              <a:gd name="connsiteY2477" fmla="*/ 1132199 h 4565177"/>
              <a:gd name="connsiteX2478" fmla="*/ 1987183 w 12243467"/>
              <a:gd name="connsiteY2478" fmla="*/ 1127748 h 4565177"/>
              <a:gd name="connsiteX2479" fmla="*/ 1897845 w 12243467"/>
              <a:gd name="connsiteY2479" fmla="*/ 1115306 h 4565177"/>
              <a:gd name="connsiteX2480" fmla="*/ 1908909 w 12243467"/>
              <a:gd name="connsiteY2480" fmla="*/ 1120566 h 4565177"/>
              <a:gd name="connsiteX2481" fmla="*/ 1903099 w 12243467"/>
              <a:gd name="connsiteY2481" fmla="*/ 1123601 h 4565177"/>
              <a:gd name="connsiteX2482" fmla="*/ 1899505 w 12243467"/>
              <a:gd name="connsiteY2482" fmla="*/ 1123095 h 4565177"/>
              <a:gd name="connsiteX2483" fmla="*/ 1897845 w 12243467"/>
              <a:gd name="connsiteY2483" fmla="*/ 1115306 h 4565177"/>
              <a:gd name="connsiteX2484" fmla="*/ 2007374 w 12243467"/>
              <a:gd name="connsiteY2484" fmla="*/ 1097099 h 4565177"/>
              <a:gd name="connsiteX2485" fmla="*/ 2020651 w 12243467"/>
              <a:gd name="connsiteY2485" fmla="*/ 1101448 h 4565177"/>
              <a:gd name="connsiteX2486" fmla="*/ 2010970 w 12243467"/>
              <a:gd name="connsiteY2486" fmla="*/ 1109642 h 4565177"/>
              <a:gd name="connsiteX2487" fmla="*/ 2003502 w 12243467"/>
              <a:gd name="connsiteY2487" fmla="*/ 1104887 h 4565177"/>
              <a:gd name="connsiteX2488" fmla="*/ 2007374 w 12243467"/>
              <a:gd name="connsiteY2488" fmla="*/ 1097099 h 4565177"/>
              <a:gd name="connsiteX2489" fmla="*/ 1819017 w 12243467"/>
              <a:gd name="connsiteY2489" fmla="*/ 1088703 h 4565177"/>
              <a:gd name="connsiteX2490" fmla="*/ 1812655 w 12243467"/>
              <a:gd name="connsiteY2490" fmla="*/ 1103269 h 4565177"/>
              <a:gd name="connsiteX2491" fmla="*/ 1819017 w 12243467"/>
              <a:gd name="connsiteY2491" fmla="*/ 1088703 h 4565177"/>
              <a:gd name="connsiteX2492" fmla="*/ 1927379 w 12243467"/>
              <a:gd name="connsiteY2492" fmla="*/ 1083826 h 4565177"/>
              <a:gd name="connsiteX2493" fmla="*/ 1932972 w 12243467"/>
              <a:gd name="connsiteY2493" fmla="*/ 1085062 h 4565177"/>
              <a:gd name="connsiteX2494" fmla="*/ 1925227 w 12243467"/>
              <a:gd name="connsiteY2494" fmla="*/ 1100437 h 4565177"/>
              <a:gd name="connsiteX2495" fmla="*/ 1916100 w 12243467"/>
              <a:gd name="connsiteY2495" fmla="*/ 1094266 h 4565177"/>
              <a:gd name="connsiteX2496" fmla="*/ 1927379 w 12243467"/>
              <a:gd name="connsiteY2496" fmla="*/ 1083826 h 4565177"/>
              <a:gd name="connsiteX2497" fmla="*/ 1876893 w 12243467"/>
              <a:gd name="connsiteY2497" fmla="*/ 1069257 h 4565177"/>
              <a:gd name="connsiteX2498" fmla="*/ 1884845 w 12243467"/>
              <a:gd name="connsiteY2498" fmla="*/ 1072519 h 4565177"/>
              <a:gd name="connsiteX2499" fmla="*/ 1869356 w 12243467"/>
              <a:gd name="connsiteY2499" fmla="*/ 1086377 h 4565177"/>
              <a:gd name="connsiteX2500" fmla="*/ 1860505 w 12243467"/>
              <a:gd name="connsiteY2500" fmla="*/ 1086377 h 4565177"/>
              <a:gd name="connsiteX2501" fmla="*/ 1854973 w 12243467"/>
              <a:gd name="connsiteY2501" fmla="*/ 1080510 h 4565177"/>
              <a:gd name="connsiteX2502" fmla="*/ 1862718 w 12243467"/>
              <a:gd name="connsiteY2502" fmla="*/ 1073631 h 4565177"/>
              <a:gd name="connsiteX2503" fmla="*/ 1870186 w 12243467"/>
              <a:gd name="connsiteY2503" fmla="*/ 1069484 h 4565177"/>
              <a:gd name="connsiteX2504" fmla="*/ 1876893 w 12243467"/>
              <a:gd name="connsiteY2504" fmla="*/ 1069257 h 4565177"/>
              <a:gd name="connsiteX2505" fmla="*/ 1887507 w 12243467"/>
              <a:gd name="connsiteY2505" fmla="*/ 1058598 h 4565177"/>
              <a:gd name="connsiteX2506" fmla="*/ 1895079 w 12243467"/>
              <a:gd name="connsiteY2506" fmla="*/ 1060886 h 4565177"/>
              <a:gd name="connsiteX2507" fmla="*/ 1892590 w 12243467"/>
              <a:gd name="connsiteY2507" fmla="*/ 1067663 h 4565177"/>
              <a:gd name="connsiteX2508" fmla="*/ 1878484 w 12243467"/>
              <a:gd name="connsiteY2508" fmla="*/ 1059268 h 4565177"/>
              <a:gd name="connsiteX2509" fmla="*/ 1887507 w 12243467"/>
              <a:gd name="connsiteY2509" fmla="*/ 1058598 h 4565177"/>
              <a:gd name="connsiteX2510" fmla="*/ 1944312 w 12243467"/>
              <a:gd name="connsiteY2510" fmla="*/ 1045208 h 4565177"/>
              <a:gd name="connsiteX2511" fmla="*/ 1906973 w 12243467"/>
              <a:gd name="connsiteY2511" fmla="*/ 1079397 h 4565177"/>
              <a:gd name="connsiteX2512" fmla="*/ 1905865 w 12243467"/>
              <a:gd name="connsiteY2512" fmla="*/ 1063415 h 4565177"/>
              <a:gd name="connsiteX2513" fmla="*/ 1944312 w 12243467"/>
              <a:gd name="connsiteY2513" fmla="*/ 1045208 h 4565177"/>
              <a:gd name="connsiteX2514" fmla="*/ 1790528 w 12243467"/>
              <a:gd name="connsiteY2514" fmla="*/ 1033373 h 4565177"/>
              <a:gd name="connsiteX2515" fmla="*/ 1790528 w 12243467"/>
              <a:gd name="connsiteY2515" fmla="*/ 1033676 h 4565177"/>
              <a:gd name="connsiteX2516" fmla="*/ 1790252 w 12243467"/>
              <a:gd name="connsiteY2516" fmla="*/ 1033777 h 4565177"/>
              <a:gd name="connsiteX2517" fmla="*/ 1960354 w 12243467"/>
              <a:gd name="connsiteY2517" fmla="*/ 1028619 h 4565177"/>
              <a:gd name="connsiteX2518" fmla="*/ 1957035 w 12243467"/>
              <a:gd name="connsiteY2518" fmla="*/ 1043690 h 4565177"/>
              <a:gd name="connsiteX2519" fmla="*/ 1957588 w 12243467"/>
              <a:gd name="connsiteY2519" fmla="*/ 1038127 h 4565177"/>
              <a:gd name="connsiteX2520" fmla="*/ 1948461 w 12243467"/>
              <a:gd name="connsiteY2520" fmla="*/ 1035193 h 4565177"/>
              <a:gd name="connsiteX2521" fmla="*/ 1957865 w 12243467"/>
              <a:gd name="connsiteY2521" fmla="*/ 1035396 h 4565177"/>
              <a:gd name="connsiteX2522" fmla="*/ 1960354 w 12243467"/>
              <a:gd name="connsiteY2522" fmla="*/ 1028619 h 4565177"/>
              <a:gd name="connsiteX2523" fmla="*/ 1858292 w 12243467"/>
              <a:gd name="connsiteY2523" fmla="*/ 1027708 h 4565177"/>
              <a:gd name="connsiteX2524" fmla="*/ 1863824 w 12243467"/>
              <a:gd name="connsiteY2524" fmla="*/ 1034890 h 4565177"/>
              <a:gd name="connsiteX2525" fmla="*/ 1856357 w 12243467"/>
              <a:gd name="connsiteY2525" fmla="*/ 1031653 h 4565177"/>
              <a:gd name="connsiteX2526" fmla="*/ 1858292 w 12243467"/>
              <a:gd name="connsiteY2526" fmla="*/ 1027708 h 4565177"/>
              <a:gd name="connsiteX2527" fmla="*/ 1791635 w 12243467"/>
              <a:gd name="connsiteY2527" fmla="*/ 1025685 h 4565177"/>
              <a:gd name="connsiteX2528" fmla="*/ 1790528 w 12243467"/>
              <a:gd name="connsiteY2528" fmla="*/ 1033373 h 4565177"/>
              <a:gd name="connsiteX2529" fmla="*/ 1790252 w 12243467"/>
              <a:gd name="connsiteY2529" fmla="*/ 1029529 h 4565177"/>
              <a:gd name="connsiteX2530" fmla="*/ 1791635 w 12243467"/>
              <a:gd name="connsiteY2530" fmla="*/ 1025685 h 4565177"/>
              <a:gd name="connsiteX2531" fmla="*/ 2162542 w 12243467"/>
              <a:gd name="connsiteY2531" fmla="*/ 1021234 h 4565177"/>
              <a:gd name="connsiteX2532" fmla="*/ 2137372 w 12243467"/>
              <a:gd name="connsiteY2532" fmla="*/ 1040555 h 4565177"/>
              <a:gd name="connsiteX2533" fmla="*/ 2162542 w 12243467"/>
              <a:gd name="connsiteY2533" fmla="*/ 1021234 h 4565177"/>
              <a:gd name="connsiteX2534" fmla="*/ 1846399 w 12243467"/>
              <a:gd name="connsiteY2534" fmla="*/ 1017998 h 4565177"/>
              <a:gd name="connsiteX2535" fmla="*/ 1854144 w 12243467"/>
              <a:gd name="connsiteY2535" fmla="*/ 1019414 h 4565177"/>
              <a:gd name="connsiteX2536" fmla="*/ 1843909 w 12243467"/>
              <a:gd name="connsiteY2536" fmla="*/ 1027809 h 4565177"/>
              <a:gd name="connsiteX2537" fmla="*/ 1846399 w 12243467"/>
              <a:gd name="connsiteY2537" fmla="*/ 1017998 h 4565177"/>
              <a:gd name="connsiteX2538" fmla="*/ 1907802 w 12243467"/>
              <a:gd name="connsiteY2538" fmla="*/ 1014862 h 4565177"/>
              <a:gd name="connsiteX2539" fmla="*/ 1911121 w 12243467"/>
              <a:gd name="connsiteY2539" fmla="*/ 1021234 h 4565177"/>
              <a:gd name="connsiteX2540" fmla="*/ 1901717 w 12243467"/>
              <a:gd name="connsiteY2540" fmla="*/ 1029327 h 4565177"/>
              <a:gd name="connsiteX2541" fmla="*/ 1914716 w 12243467"/>
              <a:gd name="connsiteY2541" fmla="*/ 1024977 h 4565177"/>
              <a:gd name="connsiteX2542" fmla="*/ 1914441 w 12243467"/>
              <a:gd name="connsiteY2542" fmla="*/ 1036306 h 4565177"/>
              <a:gd name="connsiteX2543" fmla="*/ 1911675 w 12243467"/>
              <a:gd name="connsiteY2543" fmla="*/ 1057245 h 4565177"/>
              <a:gd name="connsiteX2544" fmla="*/ 1906696 w 12243467"/>
              <a:gd name="connsiteY2544" fmla="*/ 1057346 h 4565177"/>
              <a:gd name="connsiteX2545" fmla="*/ 1893419 w 12243467"/>
              <a:gd name="connsiteY2545" fmla="*/ 1050569 h 4565177"/>
              <a:gd name="connsiteX2546" fmla="*/ 1899780 w 12243467"/>
              <a:gd name="connsiteY2546" fmla="*/ 1033272 h 4565177"/>
              <a:gd name="connsiteX2547" fmla="*/ 1886782 w 12243467"/>
              <a:gd name="connsiteY2547" fmla="*/ 1029023 h 4565177"/>
              <a:gd name="connsiteX2548" fmla="*/ 1907802 w 12243467"/>
              <a:gd name="connsiteY2548" fmla="*/ 1014862 h 4565177"/>
              <a:gd name="connsiteX2549" fmla="*/ 1868803 w 12243467"/>
              <a:gd name="connsiteY2549" fmla="*/ 1013850 h 4565177"/>
              <a:gd name="connsiteX2550" fmla="*/ 1879867 w 12243467"/>
              <a:gd name="connsiteY2550" fmla="*/ 1016177 h 4565177"/>
              <a:gd name="connsiteX2551" fmla="*/ 1875995 w 12243467"/>
              <a:gd name="connsiteY2551" fmla="*/ 1021133 h 4565177"/>
              <a:gd name="connsiteX2552" fmla="*/ 1871016 w 12243467"/>
              <a:gd name="connsiteY2552" fmla="*/ 1017188 h 4565177"/>
              <a:gd name="connsiteX2553" fmla="*/ 1868803 w 12243467"/>
              <a:gd name="connsiteY2553" fmla="*/ 1013850 h 4565177"/>
              <a:gd name="connsiteX2554" fmla="*/ 5702616 w 12243467"/>
              <a:gd name="connsiteY2554" fmla="*/ 1011183 h 4565177"/>
              <a:gd name="connsiteX2555" fmla="*/ 5722254 w 12243467"/>
              <a:gd name="connsiteY2555" fmla="*/ 1017290 h 4565177"/>
              <a:gd name="connsiteX2556" fmla="*/ 5700958 w 12243467"/>
              <a:gd name="connsiteY2556" fmla="*/ 1020729 h 4565177"/>
              <a:gd name="connsiteX2557" fmla="*/ 5680489 w 12243467"/>
              <a:gd name="connsiteY2557" fmla="*/ 1016379 h 4565177"/>
              <a:gd name="connsiteX2558" fmla="*/ 5702616 w 12243467"/>
              <a:gd name="connsiteY2558" fmla="*/ 1011183 h 4565177"/>
              <a:gd name="connsiteX2559" fmla="*/ 1950950 w 12243467"/>
              <a:gd name="connsiteY2559" fmla="*/ 989169 h 4565177"/>
              <a:gd name="connsiteX2560" fmla="*/ 1959801 w 12243467"/>
              <a:gd name="connsiteY2560" fmla="*/ 998172 h 4565177"/>
              <a:gd name="connsiteX2561" fmla="*/ 1939887 w 12243467"/>
              <a:gd name="connsiteY2561" fmla="*/ 1022954 h 4565177"/>
              <a:gd name="connsiteX2562" fmla="*/ 1924951 w 12243467"/>
              <a:gd name="connsiteY2562" fmla="*/ 1019919 h 4565177"/>
              <a:gd name="connsiteX2563" fmla="*/ 1922738 w 12243467"/>
              <a:gd name="connsiteY2563" fmla="*/ 1019009 h 4565177"/>
              <a:gd name="connsiteX2564" fmla="*/ 1923568 w 12243467"/>
              <a:gd name="connsiteY2564" fmla="*/ 1009501 h 4565177"/>
              <a:gd name="connsiteX2565" fmla="*/ 1950950 w 12243467"/>
              <a:gd name="connsiteY2565" fmla="*/ 989169 h 4565177"/>
              <a:gd name="connsiteX2566" fmla="*/ 5669149 w 12243467"/>
              <a:gd name="connsiteY2566" fmla="*/ 987753 h 4565177"/>
              <a:gd name="connsiteX2567" fmla="*/ 5668597 w 12243467"/>
              <a:gd name="connsiteY2567" fmla="*/ 989169 h 4565177"/>
              <a:gd name="connsiteX2568" fmla="*/ 5668597 w 12243467"/>
              <a:gd name="connsiteY2568" fmla="*/ 993317 h 4565177"/>
              <a:gd name="connsiteX2569" fmla="*/ 5634852 w 12243467"/>
              <a:gd name="connsiteY2569" fmla="*/ 994126 h 4565177"/>
              <a:gd name="connsiteX2570" fmla="*/ 5629320 w 12243467"/>
              <a:gd name="connsiteY2570" fmla="*/ 999387 h 4565177"/>
              <a:gd name="connsiteX2571" fmla="*/ 5637617 w 12243467"/>
              <a:gd name="connsiteY2571" fmla="*/ 1005151 h 4565177"/>
              <a:gd name="connsiteX2572" fmla="*/ 5638447 w 12243467"/>
              <a:gd name="connsiteY2572" fmla="*/ 1009906 h 4565177"/>
              <a:gd name="connsiteX2573" fmla="*/ 5640383 w 12243467"/>
              <a:gd name="connsiteY2573" fmla="*/ 1010108 h 4565177"/>
              <a:gd name="connsiteX2574" fmla="*/ 5658362 w 12243467"/>
              <a:gd name="connsiteY2574" fmla="*/ 1009299 h 4565177"/>
              <a:gd name="connsiteX2575" fmla="*/ 5689617 w 12243467"/>
              <a:gd name="connsiteY2575" fmla="*/ 1021437 h 4565177"/>
              <a:gd name="connsiteX2576" fmla="*/ 5707871 w 12243467"/>
              <a:gd name="connsiteY2576" fmla="*/ 1025585 h 4565177"/>
              <a:gd name="connsiteX2577" fmla="*/ 5713403 w 12243467"/>
              <a:gd name="connsiteY2577" fmla="*/ 1026192 h 4565177"/>
              <a:gd name="connsiteX2578" fmla="*/ 5715892 w 12243467"/>
              <a:gd name="connsiteY2578" fmla="*/ 1027304 h 4565177"/>
              <a:gd name="connsiteX2579" fmla="*/ 5720790 w 12243467"/>
              <a:gd name="connsiteY2579" fmla="*/ 1028367 h 4565177"/>
              <a:gd name="connsiteX2580" fmla="*/ 5724427 w 12243467"/>
              <a:gd name="connsiteY2580" fmla="*/ 1028287 h 4565177"/>
              <a:gd name="connsiteX2581" fmla="*/ 5735906 w 12243467"/>
              <a:gd name="connsiteY2581" fmla="*/ 1028162 h 4565177"/>
              <a:gd name="connsiteX2582" fmla="*/ 5732764 w 12243467"/>
              <a:gd name="connsiteY2582" fmla="*/ 1023966 h 4565177"/>
              <a:gd name="connsiteX2583" fmla="*/ 5764469 w 12243467"/>
              <a:gd name="connsiteY2583" fmla="*/ 1026533 h 4565177"/>
              <a:gd name="connsiteX2584" fmla="*/ 5770856 w 12243467"/>
              <a:gd name="connsiteY2584" fmla="*/ 1027780 h 4565177"/>
              <a:gd name="connsiteX2585" fmla="*/ 5842646 w 12243467"/>
              <a:gd name="connsiteY2585" fmla="*/ 1026996 h 4565177"/>
              <a:gd name="connsiteX2586" fmla="*/ 5842017 w 12243467"/>
              <a:gd name="connsiteY2586" fmla="*/ 1026192 h 4565177"/>
              <a:gd name="connsiteX2587" fmla="*/ 5718658 w 12243467"/>
              <a:gd name="connsiteY2587" fmla="*/ 1004848 h 4565177"/>
              <a:gd name="connsiteX2588" fmla="*/ 5675787 w 12243467"/>
              <a:gd name="connsiteY2588" fmla="*/ 987955 h 4565177"/>
              <a:gd name="connsiteX2589" fmla="*/ 1837021 w 12243467"/>
              <a:gd name="connsiteY2589" fmla="*/ 985991 h 4565177"/>
              <a:gd name="connsiteX2590" fmla="*/ 1845293 w 12243467"/>
              <a:gd name="connsiteY2590" fmla="*/ 987551 h 4565177"/>
              <a:gd name="connsiteX2591" fmla="*/ 1827591 w 12243467"/>
              <a:gd name="connsiteY2591" fmla="*/ 1011423 h 4565177"/>
              <a:gd name="connsiteX2592" fmla="*/ 1815698 w 12243467"/>
              <a:gd name="connsiteY2592" fmla="*/ 1018301 h 4565177"/>
              <a:gd name="connsiteX2593" fmla="*/ 1810443 w 12243467"/>
              <a:gd name="connsiteY2593" fmla="*/ 1017896 h 4565177"/>
              <a:gd name="connsiteX2594" fmla="*/ 1826208 w 12243467"/>
              <a:gd name="connsiteY2594" fmla="*/ 995137 h 4565177"/>
              <a:gd name="connsiteX2595" fmla="*/ 1837021 w 12243467"/>
              <a:gd name="connsiteY2595" fmla="*/ 985991 h 4565177"/>
              <a:gd name="connsiteX2596" fmla="*/ 1900066 w 12243467"/>
              <a:gd name="connsiteY2596" fmla="*/ 984542 h 4565177"/>
              <a:gd name="connsiteX2597" fmla="*/ 1878207 w 12243467"/>
              <a:gd name="connsiteY2597" fmla="*/ 1008894 h 4565177"/>
              <a:gd name="connsiteX2598" fmla="*/ 1897569 w 12243467"/>
              <a:gd name="connsiteY2598" fmla="*/ 992608 h 4565177"/>
              <a:gd name="connsiteX2599" fmla="*/ 1885121 w 12243467"/>
              <a:gd name="connsiteY2599" fmla="*/ 985831 h 4565177"/>
              <a:gd name="connsiteX2600" fmla="*/ 1900066 w 12243467"/>
              <a:gd name="connsiteY2600" fmla="*/ 984542 h 4565177"/>
              <a:gd name="connsiteX2601" fmla="*/ 1719168 w 12243467"/>
              <a:gd name="connsiteY2601" fmla="*/ 975918 h 4565177"/>
              <a:gd name="connsiteX2602" fmla="*/ 1713636 w 12243467"/>
              <a:gd name="connsiteY2602" fmla="*/ 992305 h 4565177"/>
              <a:gd name="connsiteX2603" fmla="*/ 1719168 w 12243467"/>
              <a:gd name="connsiteY2603" fmla="*/ 975918 h 4565177"/>
              <a:gd name="connsiteX2604" fmla="*/ 1727119 w 12243467"/>
              <a:gd name="connsiteY2604" fmla="*/ 963679 h 4565177"/>
              <a:gd name="connsiteX2605" fmla="*/ 1732444 w 12243467"/>
              <a:gd name="connsiteY2605" fmla="*/ 965398 h 4565177"/>
              <a:gd name="connsiteX2606" fmla="*/ 1728572 w 12243467"/>
              <a:gd name="connsiteY2606" fmla="*/ 967421 h 4565177"/>
              <a:gd name="connsiteX2607" fmla="*/ 1732444 w 12243467"/>
              <a:gd name="connsiteY2607" fmla="*/ 968332 h 4565177"/>
              <a:gd name="connsiteX2608" fmla="*/ 1728572 w 12243467"/>
              <a:gd name="connsiteY2608" fmla="*/ 973288 h 4565177"/>
              <a:gd name="connsiteX2609" fmla="*/ 1723040 w 12243467"/>
              <a:gd name="connsiteY2609" fmla="*/ 967725 h 4565177"/>
              <a:gd name="connsiteX2610" fmla="*/ 1727119 w 12243467"/>
              <a:gd name="connsiteY2610" fmla="*/ 963679 h 4565177"/>
              <a:gd name="connsiteX2611" fmla="*/ 1865206 w 12243467"/>
              <a:gd name="connsiteY2611" fmla="*/ 963173 h 4565177"/>
              <a:gd name="connsiteX2612" fmla="*/ 1864653 w 12243467"/>
              <a:gd name="connsiteY2612" fmla="*/ 977435 h 4565177"/>
              <a:gd name="connsiteX2613" fmla="*/ 1861058 w 12243467"/>
              <a:gd name="connsiteY2613" fmla="*/ 973895 h 4565177"/>
              <a:gd name="connsiteX2614" fmla="*/ 1862442 w 12243467"/>
              <a:gd name="connsiteY2614" fmla="*/ 984213 h 4565177"/>
              <a:gd name="connsiteX2615" fmla="*/ 1854973 w 12243467"/>
              <a:gd name="connsiteY2615" fmla="*/ 991192 h 4565177"/>
              <a:gd name="connsiteX2616" fmla="*/ 1855250 w 12243467"/>
              <a:gd name="connsiteY2616" fmla="*/ 982594 h 4565177"/>
              <a:gd name="connsiteX2617" fmla="*/ 1842251 w 12243467"/>
              <a:gd name="connsiteY2617" fmla="*/ 981380 h 4565177"/>
              <a:gd name="connsiteX2618" fmla="*/ 1865206 w 12243467"/>
              <a:gd name="connsiteY2618" fmla="*/ 963173 h 4565177"/>
              <a:gd name="connsiteX2619" fmla="*/ 1948184 w 12243467"/>
              <a:gd name="connsiteY2619" fmla="*/ 956396 h 4565177"/>
              <a:gd name="connsiteX2620" fmla="*/ 1945971 w 12243467"/>
              <a:gd name="connsiteY2620" fmla="*/ 963274 h 4565177"/>
              <a:gd name="connsiteX2621" fmla="*/ 1916653 w 12243467"/>
              <a:gd name="connsiteY2621" fmla="*/ 984921 h 4565177"/>
              <a:gd name="connsiteX2622" fmla="*/ 1914441 w 12243467"/>
              <a:gd name="connsiteY2622" fmla="*/ 986843 h 4565177"/>
              <a:gd name="connsiteX2623" fmla="*/ 1910844 w 12243467"/>
              <a:gd name="connsiteY2623" fmla="*/ 985224 h 4565177"/>
              <a:gd name="connsiteX2624" fmla="*/ 1940163 w 12243467"/>
              <a:gd name="connsiteY2624" fmla="*/ 963578 h 4565177"/>
              <a:gd name="connsiteX2625" fmla="*/ 1948184 w 12243467"/>
              <a:gd name="connsiteY2625" fmla="*/ 956396 h 4565177"/>
              <a:gd name="connsiteX2626" fmla="*/ 5922505 w 12243467"/>
              <a:gd name="connsiteY2626" fmla="*/ 949416 h 4565177"/>
              <a:gd name="connsiteX2627" fmla="*/ 5924718 w 12243467"/>
              <a:gd name="connsiteY2627" fmla="*/ 959128 h 4565177"/>
              <a:gd name="connsiteX2628" fmla="*/ 5920569 w 12243467"/>
              <a:gd name="connsiteY2628" fmla="*/ 959835 h 4565177"/>
              <a:gd name="connsiteX2629" fmla="*/ 5922505 w 12243467"/>
              <a:gd name="connsiteY2629" fmla="*/ 949416 h 4565177"/>
              <a:gd name="connsiteX2630" fmla="*/ 1973631 w 12243467"/>
              <a:gd name="connsiteY2630" fmla="*/ 937379 h 4565177"/>
              <a:gd name="connsiteX2631" fmla="*/ 1967268 w 12243467"/>
              <a:gd name="connsiteY2631" fmla="*/ 949416 h 4565177"/>
              <a:gd name="connsiteX2632" fmla="*/ 1968652 w 12243467"/>
              <a:gd name="connsiteY2632" fmla="*/ 950428 h 4565177"/>
              <a:gd name="connsiteX2633" fmla="*/ 1966439 w 12243467"/>
              <a:gd name="connsiteY2633" fmla="*/ 950225 h 4565177"/>
              <a:gd name="connsiteX2634" fmla="*/ 1959801 w 12243467"/>
              <a:gd name="connsiteY2634" fmla="*/ 947697 h 4565177"/>
              <a:gd name="connsiteX2635" fmla="*/ 1973631 w 12243467"/>
              <a:gd name="connsiteY2635" fmla="*/ 937379 h 4565177"/>
              <a:gd name="connsiteX2636" fmla="*/ 5679384 w 12243467"/>
              <a:gd name="connsiteY2636" fmla="*/ 937177 h 4565177"/>
              <a:gd name="connsiteX2637" fmla="*/ 5694596 w 12243467"/>
              <a:gd name="connsiteY2637" fmla="*/ 942336 h 4565177"/>
              <a:gd name="connsiteX2638" fmla="*/ 5697361 w 12243467"/>
              <a:gd name="connsiteY2638" fmla="*/ 941729 h 4565177"/>
              <a:gd name="connsiteX2639" fmla="*/ 5701233 w 12243467"/>
              <a:gd name="connsiteY2639" fmla="*/ 944561 h 4565177"/>
              <a:gd name="connsiteX2640" fmla="*/ 5704552 w 12243467"/>
              <a:gd name="connsiteY2640" fmla="*/ 945674 h 4565177"/>
              <a:gd name="connsiteX2641" fmla="*/ 5768168 w 12243467"/>
              <a:gd name="connsiteY2641" fmla="*/ 958722 h 4565177"/>
              <a:gd name="connsiteX2642" fmla="*/ 5789465 w 12243467"/>
              <a:gd name="connsiteY2642" fmla="*/ 974503 h 4565177"/>
              <a:gd name="connsiteX2643" fmla="*/ 5798316 w 12243467"/>
              <a:gd name="connsiteY2643" fmla="*/ 971771 h 4565177"/>
              <a:gd name="connsiteX2644" fmla="*/ 5806062 w 12243467"/>
              <a:gd name="connsiteY2644" fmla="*/ 965499 h 4565177"/>
              <a:gd name="connsiteX2645" fmla="*/ 5810763 w 12243467"/>
              <a:gd name="connsiteY2645" fmla="*/ 973996 h 4565177"/>
              <a:gd name="connsiteX2646" fmla="*/ 5831784 w 12243467"/>
              <a:gd name="connsiteY2646" fmla="*/ 971872 h 4565177"/>
              <a:gd name="connsiteX2647" fmla="*/ 5845891 w 12243467"/>
              <a:gd name="connsiteY2647" fmla="*/ 981077 h 4565177"/>
              <a:gd name="connsiteX2648" fmla="*/ 5864975 w 12243467"/>
              <a:gd name="connsiteY2648" fmla="*/ 984415 h 4565177"/>
              <a:gd name="connsiteX2649" fmla="*/ 5878804 w 12243467"/>
              <a:gd name="connsiteY2649" fmla="*/ 977638 h 4565177"/>
              <a:gd name="connsiteX2650" fmla="*/ 5894570 w 12243467"/>
              <a:gd name="connsiteY2650" fmla="*/ 979560 h 4565177"/>
              <a:gd name="connsiteX2651" fmla="*/ 6006035 w 12243467"/>
              <a:gd name="connsiteY2651" fmla="*/ 1019919 h 4565177"/>
              <a:gd name="connsiteX2652" fmla="*/ 6020971 w 12243467"/>
              <a:gd name="connsiteY2652" fmla="*/ 1018402 h 4565177"/>
              <a:gd name="connsiteX2653" fmla="*/ 6030652 w 12243467"/>
              <a:gd name="connsiteY2653" fmla="*/ 1022853 h 4565177"/>
              <a:gd name="connsiteX2654" fmla="*/ 6015439 w 12243467"/>
              <a:gd name="connsiteY2654" fmla="*/ 1013446 h 4565177"/>
              <a:gd name="connsiteX2655" fmla="*/ 5998567 w 12243467"/>
              <a:gd name="connsiteY2655" fmla="*/ 1012434 h 4565177"/>
              <a:gd name="connsiteX2656" fmla="*/ 5828741 w 12243467"/>
              <a:gd name="connsiteY2656" fmla="*/ 956396 h 4565177"/>
              <a:gd name="connsiteX2657" fmla="*/ 5821274 w 12243467"/>
              <a:gd name="connsiteY2657" fmla="*/ 960644 h 4565177"/>
              <a:gd name="connsiteX2658" fmla="*/ 5729445 w 12243467"/>
              <a:gd name="connsiteY2658" fmla="*/ 940616 h 4565177"/>
              <a:gd name="connsiteX2659" fmla="*/ 1992162 w 12243467"/>
              <a:gd name="connsiteY2659" fmla="*/ 926758 h 4565177"/>
              <a:gd name="connsiteX2660" fmla="*/ 1988290 w 12243467"/>
              <a:gd name="connsiteY2660" fmla="*/ 934547 h 4565177"/>
              <a:gd name="connsiteX2661" fmla="*/ 1981098 w 12243467"/>
              <a:gd name="connsiteY2661" fmla="*/ 932827 h 4565177"/>
              <a:gd name="connsiteX2662" fmla="*/ 1992162 w 12243467"/>
              <a:gd name="connsiteY2662" fmla="*/ 926758 h 4565177"/>
              <a:gd name="connsiteX2663" fmla="*/ 1789422 w 12243467"/>
              <a:gd name="connsiteY2663" fmla="*/ 909562 h 4565177"/>
              <a:gd name="connsiteX2664" fmla="*/ 1769231 w 12243467"/>
              <a:gd name="connsiteY2664" fmla="*/ 945775 h 4565177"/>
              <a:gd name="connsiteX2665" fmla="*/ 1734657 w 12243467"/>
              <a:gd name="connsiteY2665" fmla="*/ 964690 h 4565177"/>
              <a:gd name="connsiteX2666" fmla="*/ 1731338 w 12243467"/>
              <a:gd name="connsiteY2666" fmla="*/ 961959 h 4565177"/>
              <a:gd name="connsiteX2667" fmla="*/ 1734933 w 12243467"/>
              <a:gd name="connsiteY2667" fmla="*/ 961757 h 4565177"/>
              <a:gd name="connsiteX2668" fmla="*/ 1789422 w 12243467"/>
              <a:gd name="connsiteY2668" fmla="*/ 909562 h 4565177"/>
              <a:gd name="connsiteX2669" fmla="*/ 2033098 w 12243467"/>
              <a:gd name="connsiteY2669" fmla="*/ 899346 h 4565177"/>
              <a:gd name="connsiteX2670" fmla="*/ 2011800 w 12243467"/>
              <a:gd name="connsiteY2670" fmla="*/ 913811 h 4565177"/>
              <a:gd name="connsiteX2671" fmla="*/ 2033098 w 12243467"/>
              <a:gd name="connsiteY2671" fmla="*/ 899346 h 4565177"/>
              <a:gd name="connsiteX2672" fmla="*/ 6141841 w 12243467"/>
              <a:gd name="connsiteY2672" fmla="*/ 889534 h 4565177"/>
              <a:gd name="connsiteX2673" fmla="*/ 6173925 w 12243467"/>
              <a:gd name="connsiteY2673" fmla="*/ 901876 h 4565177"/>
              <a:gd name="connsiteX2674" fmla="*/ 6141841 w 12243467"/>
              <a:gd name="connsiteY2674" fmla="*/ 889534 h 4565177"/>
              <a:gd name="connsiteX2675" fmla="*/ 1775592 w 12243467"/>
              <a:gd name="connsiteY2675" fmla="*/ 883566 h 4565177"/>
              <a:gd name="connsiteX2676" fmla="*/ 1772273 w 12243467"/>
              <a:gd name="connsiteY2676" fmla="*/ 913103 h 4565177"/>
              <a:gd name="connsiteX2677" fmla="*/ 1760656 w 12243467"/>
              <a:gd name="connsiteY2677" fmla="*/ 922307 h 4565177"/>
              <a:gd name="connsiteX2678" fmla="*/ 1760933 w 12243467"/>
              <a:gd name="connsiteY2678" fmla="*/ 913811 h 4565177"/>
              <a:gd name="connsiteX2679" fmla="*/ 1737975 w 12243467"/>
              <a:gd name="connsiteY2679" fmla="*/ 926354 h 4565177"/>
              <a:gd name="connsiteX2680" fmla="*/ 1731061 w 12243467"/>
              <a:gd name="connsiteY2680" fmla="*/ 952350 h 4565177"/>
              <a:gd name="connsiteX2681" fmla="*/ 1721934 w 12243467"/>
              <a:gd name="connsiteY2681" fmla="*/ 946179 h 4565177"/>
              <a:gd name="connsiteX2682" fmla="*/ 1717508 w 12243467"/>
              <a:gd name="connsiteY2682" fmla="*/ 959734 h 4565177"/>
              <a:gd name="connsiteX2683" fmla="*/ 1708381 w 12243467"/>
              <a:gd name="connsiteY2683" fmla="*/ 956396 h 4565177"/>
              <a:gd name="connsiteX2684" fmla="*/ 1713360 w 12243467"/>
              <a:gd name="connsiteY2684" fmla="*/ 970254 h 4565177"/>
              <a:gd name="connsiteX2685" fmla="*/ 1694827 w 12243467"/>
              <a:gd name="connsiteY2685" fmla="*/ 966612 h 4565177"/>
              <a:gd name="connsiteX2686" fmla="*/ 1689573 w 12243467"/>
              <a:gd name="connsiteY2686" fmla="*/ 958318 h 4565177"/>
              <a:gd name="connsiteX2687" fmla="*/ 1775592 w 12243467"/>
              <a:gd name="connsiteY2687" fmla="*/ 883566 h 4565177"/>
              <a:gd name="connsiteX2688" fmla="*/ 2992035 w 12243467"/>
              <a:gd name="connsiteY2688" fmla="*/ 879925 h 4565177"/>
              <a:gd name="connsiteX2689" fmla="*/ 2922611 w 12243467"/>
              <a:gd name="connsiteY2689" fmla="*/ 945674 h 4565177"/>
              <a:gd name="connsiteX2690" fmla="*/ 2922887 w 12243467"/>
              <a:gd name="connsiteY2690" fmla="*/ 964589 h 4565177"/>
              <a:gd name="connsiteX2691" fmla="*/ 2905461 w 12243467"/>
              <a:gd name="connsiteY2691" fmla="*/ 975615 h 4565177"/>
              <a:gd name="connsiteX2692" fmla="*/ 2901037 w 12243467"/>
              <a:gd name="connsiteY2692" fmla="*/ 978649 h 4565177"/>
              <a:gd name="connsiteX2693" fmla="*/ 2894675 w 12243467"/>
              <a:gd name="connsiteY2693" fmla="*/ 990585 h 4565177"/>
              <a:gd name="connsiteX2694" fmla="*/ 2890803 w 12243467"/>
              <a:gd name="connsiteY2694" fmla="*/ 995643 h 4565177"/>
              <a:gd name="connsiteX2695" fmla="*/ 2895229 w 12243467"/>
              <a:gd name="connsiteY2695" fmla="*/ 1001105 h 4565177"/>
              <a:gd name="connsiteX2696" fmla="*/ 2885825 w 12243467"/>
              <a:gd name="connsiteY2696" fmla="*/ 1001914 h 4565177"/>
              <a:gd name="connsiteX2697" fmla="*/ 2859825 w 12243467"/>
              <a:gd name="connsiteY2697" fmla="*/ 1035092 h 4565177"/>
              <a:gd name="connsiteX2698" fmla="*/ 2846549 w 12243467"/>
              <a:gd name="connsiteY2698" fmla="*/ 1055121 h 4565177"/>
              <a:gd name="connsiteX2699" fmla="*/ 2848485 w 12243467"/>
              <a:gd name="connsiteY2699" fmla="*/ 1058256 h 4565177"/>
              <a:gd name="connsiteX2700" fmla="*/ 2872825 w 12243467"/>
              <a:gd name="connsiteY2700" fmla="*/ 1020122 h 4565177"/>
              <a:gd name="connsiteX2701" fmla="*/ 2902697 w 12243467"/>
              <a:gd name="connsiteY2701" fmla="*/ 1005050 h 4565177"/>
              <a:gd name="connsiteX2702" fmla="*/ 2927313 w 12243467"/>
              <a:gd name="connsiteY2702" fmla="*/ 969141 h 4565177"/>
              <a:gd name="connsiteX2703" fmla="*/ 1800209 w 12243467"/>
              <a:gd name="connsiteY2703" fmla="*/ 861211 h 4565177"/>
              <a:gd name="connsiteX2704" fmla="*/ 1791911 w 12243467"/>
              <a:gd name="connsiteY2704" fmla="*/ 879014 h 4565177"/>
              <a:gd name="connsiteX2705" fmla="*/ 1782506 w 12243467"/>
              <a:gd name="connsiteY2705" fmla="*/ 876384 h 4565177"/>
              <a:gd name="connsiteX2706" fmla="*/ 1800209 w 12243467"/>
              <a:gd name="connsiteY2706" fmla="*/ 861211 h 4565177"/>
              <a:gd name="connsiteX2707" fmla="*/ 3016928 w 12243467"/>
              <a:gd name="connsiteY2707" fmla="*/ 858581 h 4565177"/>
              <a:gd name="connsiteX2708" fmla="*/ 3001716 w 12243467"/>
              <a:gd name="connsiteY2708" fmla="*/ 870821 h 4565177"/>
              <a:gd name="connsiteX2709" fmla="*/ 2997567 w 12243467"/>
              <a:gd name="connsiteY2709" fmla="*/ 874665 h 4565177"/>
              <a:gd name="connsiteX2710" fmla="*/ 3004204 w 12243467"/>
              <a:gd name="connsiteY2710" fmla="*/ 870720 h 4565177"/>
              <a:gd name="connsiteX2711" fmla="*/ 3013609 w 12243467"/>
              <a:gd name="connsiteY2711" fmla="*/ 864954 h 4565177"/>
              <a:gd name="connsiteX2712" fmla="*/ 3974205 w 12243467"/>
              <a:gd name="connsiteY2712" fmla="*/ 858379 h 4565177"/>
              <a:gd name="connsiteX2713" fmla="*/ 3973100 w 12243467"/>
              <a:gd name="connsiteY2713" fmla="*/ 858784 h 4565177"/>
              <a:gd name="connsiteX2714" fmla="*/ 3973929 w 12243467"/>
              <a:gd name="connsiteY2714" fmla="*/ 858784 h 4565177"/>
              <a:gd name="connsiteX2715" fmla="*/ 3989694 w 12243467"/>
              <a:gd name="connsiteY2715" fmla="*/ 849478 h 4565177"/>
              <a:gd name="connsiteX2716" fmla="*/ 3986100 w 12243467"/>
              <a:gd name="connsiteY2716" fmla="*/ 851400 h 4565177"/>
              <a:gd name="connsiteX2717" fmla="*/ 3988866 w 12243467"/>
              <a:gd name="connsiteY2717" fmla="*/ 852917 h 4565177"/>
              <a:gd name="connsiteX2718" fmla="*/ 6043375 w 12243467"/>
              <a:gd name="connsiteY2718" fmla="*/ 839464 h 4565177"/>
              <a:gd name="connsiteX2719" fmla="*/ 6062460 w 12243467"/>
              <a:gd name="connsiteY2719" fmla="*/ 844319 h 4565177"/>
              <a:gd name="connsiteX2720" fmla="*/ 6079608 w 12243467"/>
              <a:gd name="connsiteY2720" fmla="*/ 853929 h 4565177"/>
              <a:gd name="connsiteX2721" fmla="*/ 6107821 w 12243467"/>
              <a:gd name="connsiteY2721" fmla="*/ 867180 h 4565177"/>
              <a:gd name="connsiteX2722" fmla="*/ 6111969 w 12243467"/>
              <a:gd name="connsiteY2722" fmla="*/ 875069 h 4565177"/>
              <a:gd name="connsiteX2723" fmla="*/ 6013227 w 12243467"/>
              <a:gd name="connsiteY2723" fmla="*/ 845533 h 4565177"/>
              <a:gd name="connsiteX2724" fmla="*/ 6041716 w 12243467"/>
              <a:gd name="connsiteY2724" fmla="*/ 847050 h 4565177"/>
              <a:gd name="connsiteX2725" fmla="*/ 6043375 w 12243467"/>
              <a:gd name="connsiteY2725" fmla="*/ 839464 h 4565177"/>
              <a:gd name="connsiteX2726" fmla="*/ 6061630 w 12243467"/>
              <a:gd name="connsiteY2726" fmla="*/ 833294 h 4565177"/>
              <a:gd name="connsiteX2727" fmla="*/ 6092332 w 12243467"/>
              <a:gd name="connsiteY2727" fmla="*/ 841790 h 4565177"/>
              <a:gd name="connsiteX2728" fmla="*/ 6082374 w 12243467"/>
              <a:gd name="connsiteY2728" fmla="*/ 843410 h 4565177"/>
              <a:gd name="connsiteX2729" fmla="*/ 6061630 w 12243467"/>
              <a:gd name="connsiteY2729" fmla="*/ 833294 h 4565177"/>
              <a:gd name="connsiteX2730" fmla="*/ 5758211 w 12243467"/>
              <a:gd name="connsiteY2730" fmla="*/ 831877 h 4565177"/>
              <a:gd name="connsiteX2731" fmla="*/ 5758764 w 12243467"/>
              <a:gd name="connsiteY2731" fmla="*/ 840375 h 4565177"/>
              <a:gd name="connsiteX2732" fmla="*/ 5755168 w 12243467"/>
              <a:gd name="connsiteY2732" fmla="*/ 841589 h 4565177"/>
              <a:gd name="connsiteX2733" fmla="*/ 5748807 w 12243467"/>
              <a:gd name="connsiteY2733" fmla="*/ 834912 h 4565177"/>
              <a:gd name="connsiteX2734" fmla="*/ 5758211 w 12243467"/>
              <a:gd name="connsiteY2734" fmla="*/ 831877 h 4565177"/>
              <a:gd name="connsiteX2735" fmla="*/ 5934676 w 12243467"/>
              <a:gd name="connsiteY2735" fmla="*/ 820852 h 4565177"/>
              <a:gd name="connsiteX2736" fmla="*/ 6002163 w 12243467"/>
              <a:gd name="connsiteY2736" fmla="*/ 836227 h 4565177"/>
              <a:gd name="connsiteX2737" fmla="*/ 5993866 w 12243467"/>
              <a:gd name="connsiteY2737" fmla="*/ 837744 h 4565177"/>
              <a:gd name="connsiteX2738" fmla="*/ 5986121 w 12243467"/>
              <a:gd name="connsiteY2738" fmla="*/ 837441 h 4565177"/>
              <a:gd name="connsiteX2739" fmla="*/ 5934676 w 12243467"/>
              <a:gd name="connsiteY2739" fmla="*/ 820852 h 4565177"/>
              <a:gd name="connsiteX2740" fmla="*/ 1901441 w 12243467"/>
              <a:gd name="connsiteY2740" fmla="*/ 814378 h 4565177"/>
              <a:gd name="connsiteX2741" fmla="*/ 1887887 w 12243467"/>
              <a:gd name="connsiteY2741" fmla="*/ 824392 h 4565177"/>
              <a:gd name="connsiteX2742" fmla="*/ 1878484 w 12243467"/>
              <a:gd name="connsiteY2742" fmla="*/ 823987 h 4565177"/>
              <a:gd name="connsiteX2743" fmla="*/ 1901441 w 12243467"/>
              <a:gd name="connsiteY2743" fmla="*/ 814378 h 4565177"/>
              <a:gd name="connsiteX2744" fmla="*/ 6026261 w 12243467"/>
              <a:gd name="connsiteY2744" fmla="*/ 810699 h 4565177"/>
              <a:gd name="connsiteX2745" fmla="*/ 6032035 w 12243467"/>
              <a:gd name="connsiteY2745" fmla="*/ 813164 h 4565177"/>
              <a:gd name="connsiteX2746" fmla="*/ 6030099 w 12243467"/>
              <a:gd name="connsiteY2746" fmla="*/ 823786 h 4565177"/>
              <a:gd name="connsiteX2747" fmla="*/ 6025397 w 12243467"/>
              <a:gd name="connsiteY2747" fmla="*/ 824796 h 4565177"/>
              <a:gd name="connsiteX2748" fmla="*/ 6016822 w 12243467"/>
              <a:gd name="connsiteY2748" fmla="*/ 819233 h 4565177"/>
              <a:gd name="connsiteX2749" fmla="*/ 6020696 w 12243467"/>
              <a:gd name="connsiteY2749" fmla="*/ 812557 h 4565177"/>
              <a:gd name="connsiteX2750" fmla="*/ 6026261 w 12243467"/>
              <a:gd name="connsiteY2750" fmla="*/ 810699 h 4565177"/>
              <a:gd name="connsiteX2751" fmla="*/ 1902824 w 12243467"/>
              <a:gd name="connsiteY2751" fmla="*/ 788685 h 4565177"/>
              <a:gd name="connsiteX2752" fmla="*/ 1853591 w 12243467"/>
              <a:gd name="connsiteY2752" fmla="*/ 834912 h 4565177"/>
              <a:gd name="connsiteX2753" fmla="*/ 1849165 w 12243467"/>
              <a:gd name="connsiteY2753" fmla="*/ 851400 h 4565177"/>
              <a:gd name="connsiteX2754" fmla="*/ 1849441 w 12243467"/>
              <a:gd name="connsiteY2754" fmla="*/ 848567 h 4565177"/>
              <a:gd name="connsiteX2755" fmla="*/ 1832845 w 12243467"/>
              <a:gd name="connsiteY2755" fmla="*/ 837946 h 4565177"/>
              <a:gd name="connsiteX2756" fmla="*/ 1902824 w 12243467"/>
              <a:gd name="connsiteY2756" fmla="*/ 788685 h 4565177"/>
              <a:gd name="connsiteX2757" fmla="*/ 5923889 w 12243467"/>
              <a:gd name="connsiteY2757" fmla="*/ 786561 h 4565177"/>
              <a:gd name="connsiteX2758" fmla="*/ 5976995 w 12243467"/>
              <a:gd name="connsiteY2758" fmla="*/ 804971 h 4565177"/>
              <a:gd name="connsiteX2759" fmla="*/ 5976995 w 12243467"/>
              <a:gd name="connsiteY2759" fmla="*/ 799205 h 4565177"/>
              <a:gd name="connsiteX2760" fmla="*/ 5986674 w 12243467"/>
              <a:gd name="connsiteY2760" fmla="*/ 807398 h 4565177"/>
              <a:gd name="connsiteX2761" fmla="*/ 5923889 w 12243467"/>
              <a:gd name="connsiteY2761" fmla="*/ 786561 h 4565177"/>
              <a:gd name="connsiteX2762" fmla="*/ 1927440 w 12243467"/>
              <a:gd name="connsiteY2762" fmla="*/ 786359 h 4565177"/>
              <a:gd name="connsiteX2763" fmla="*/ 1925227 w 12243467"/>
              <a:gd name="connsiteY2763" fmla="*/ 795968 h 4565177"/>
              <a:gd name="connsiteX2764" fmla="*/ 1927440 w 12243467"/>
              <a:gd name="connsiteY2764" fmla="*/ 786359 h 4565177"/>
              <a:gd name="connsiteX2765" fmla="*/ 6269902 w 12243467"/>
              <a:gd name="connsiteY2765" fmla="*/ 764105 h 4565177"/>
              <a:gd name="connsiteX2766" fmla="*/ 6294519 w 12243467"/>
              <a:gd name="connsiteY2766" fmla="*/ 775131 h 4565177"/>
              <a:gd name="connsiteX2767" fmla="*/ 6269902 w 12243467"/>
              <a:gd name="connsiteY2767" fmla="*/ 764105 h 4565177"/>
              <a:gd name="connsiteX2768" fmla="*/ 6095097 w 12243467"/>
              <a:gd name="connsiteY2768" fmla="*/ 753484 h 4565177"/>
              <a:gd name="connsiteX2769" fmla="*/ 6097587 w 12243467"/>
              <a:gd name="connsiteY2769" fmla="*/ 760261 h 4565177"/>
              <a:gd name="connsiteX2770" fmla="*/ 6106991 w 12243467"/>
              <a:gd name="connsiteY2770" fmla="*/ 760261 h 4565177"/>
              <a:gd name="connsiteX2771" fmla="*/ 6098416 w 12243467"/>
              <a:gd name="connsiteY2771" fmla="*/ 764004 h 4565177"/>
              <a:gd name="connsiteX2772" fmla="*/ 6086523 w 12243467"/>
              <a:gd name="connsiteY2772" fmla="*/ 761981 h 4565177"/>
              <a:gd name="connsiteX2773" fmla="*/ 6093991 w 12243467"/>
              <a:gd name="connsiteY2773" fmla="*/ 760767 h 4565177"/>
              <a:gd name="connsiteX2774" fmla="*/ 6095097 w 12243467"/>
              <a:gd name="connsiteY2774" fmla="*/ 753484 h 4565177"/>
              <a:gd name="connsiteX2775" fmla="*/ 6236435 w 12243467"/>
              <a:gd name="connsiteY2775" fmla="*/ 747617 h 4565177"/>
              <a:gd name="connsiteX2776" fmla="*/ 6247775 w 12243467"/>
              <a:gd name="connsiteY2776" fmla="*/ 753788 h 4565177"/>
              <a:gd name="connsiteX2777" fmla="*/ 6241967 w 12243467"/>
              <a:gd name="connsiteY2777" fmla="*/ 754698 h 4565177"/>
              <a:gd name="connsiteX2778" fmla="*/ 6236435 w 12243467"/>
              <a:gd name="connsiteY2778" fmla="*/ 753282 h 4565177"/>
              <a:gd name="connsiteX2779" fmla="*/ 6236435 w 12243467"/>
              <a:gd name="connsiteY2779" fmla="*/ 747617 h 4565177"/>
              <a:gd name="connsiteX2780" fmla="*/ 6009631 w 12243467"/>
              <a:gd name="connsiteY2780" fmla="*/ 747415 h 4565177"/>
              <a:gd name="connsiteX2781" fmla="*/ 6026226 w 12243467"/>
              <a:gd name="connsiteY2781" fmla="*/ 756822 h 4565177"/>
              <a:gd name="connsiteX2782" fmla="*/ 6004376 w 12243467"/>
              <a:gd name="connsiteY2782" fmla="*/ 755608 h 4565177"/>
              <a:gd name="connsiteX2783" fmla="*/ 6009631 w 12243467"/>
              <a:gd name="connsiteY2783" fmla="*/ 747415 h 4565177"/>
              <a:gd name="connsiteX2784" fmla="*/ 5977270 w 12243467"/>
              <a:gd name="connsiteY2784" fmla="*/ 740435 h 4565177"/>
              <a:gd name="connsiteX2785" fmla="*/ 5973674 w 12243467"/>
              <a:gd name="connsiteY2785" fmla="*/ 749640 h 4565177"/>
              <a:gd name="connsiteX2786" fmla="*/ 5968144 w 12243467"/>
              <a:gd name="connsiteY2786" fmla="*/ 746505 h 4565177"/>
              <a:gd name="connsiteX2787" fmla="*/ 5967590 w 12243467"/>
              <a:gd name="connsiteY2787" fmla="*/ 743672 h 4565177"/>
              <a:gd name="connsiteX2788" fmla="*/ 5977270 w 12243467"/>
              <a:gd name="connsiteY2788" fmla="*/ 740435 h 4565177"/>
              <a:gd name="connsiteX2789" fmla="*/ 6211265 w 12243467"/>
              <a:gd name="connsiteY2789" fmla="*/ 736693 h 4565177"/>
              <a:gd name="connsiteX2790" fmla="*/ 6228690 w 12243467"/>
              <a:gd name="connsiteY2790" fmla="*/ 743571 h 4565177"/>
              <a:gd name="connsiteX2791" fmla="*/ 6225095 w 12243467"/>
              <a:gd name="connsiteY2791" fmla="*/ 744886 h 4565177"/>
              <a:gd name="connsiteX2792" fmla="*/ 6222052 w 12243467"/>
              <a:gd name="connsiteY2792" fmla="*/ 744481 h 4565177"/>
              <a:gd name="connsiteX2793" fmla="*/ 6211265 w 12243467"/>
              <a:gd name="connsiteY2793" fmla="*/ 742560 h 4565177"/>
              <a:gd name="connsiteX2794" fmla="*/ 6211265 w 12243467"/>
              <a:gd name="connsiteY2794" fmla="*/ 736693 h 4565177"/>
              <a:gd name="connsiteX2795" fmla="*/ 6046418 w 12243467"/>
              <a:gd name="connsiteY2795" fmla="*/ 731332 h 4565177"/>
              <a:gd name="connsiteX2796" fmla="*/ 6080991 w 12243467"/>
              <a:gd name="connsiteY2796" fmla="*/ 753484 h 4565177"/>
              <a:gd name="connsiteX2797" fmla="*/ 6066332 w 12243467"/>
              <a:gd name="connsiteY2797" fmla="*/ 753585 h 4565177"/>
              <a:gd name="connsiteX2798" fmla="*/ 6026226 w 12243467"/>
              <a:gd name="connsiteY2798" fmla="*/ 736592 h 4565177"/>
              <a:gd name="connsiteX2799" fmla="*/ 6046418 w 12243467"/>
              <a:gd name="connsiteY2799" fmla="*/ 731332 h 4565177"/>
              <a:gd name="connsiteX2800" fmla="*/ 6121097 w 12243467"/>
              <a:gd name="connsiteY2800" fmla="*/ 728499 h 4565177"/>
              <a:gd name="connsiteX2801" fmla="*/ 6155394 w 12243467"/>
              <a:gd name="connsiteY2801" fmla="*/ 742155 h 4565177"/>
              <a:gd name="connsiteX2802" fmla="*/ 6146266 w 12243467"/>
              <a:gd name="connsiteY2802" fmla="*/ 751056 h 4565177"/>
              <a:gd name="connsiteX2803" fmla="*/ 6108374 w 12243467"/>
              <a:gd name="connsiteY2803" fmla="*/ 743875 h 4565177"/>
              <a:gd name="connsiteX2804" fmla="*/ 6108097 w 12243467"/>
              <a:gd name="connsiteY2804" fmla="*/ 732546 h 4565177"/>
              <a:gd name="connsiteX2805" fmla="*/ 6108650 w 12243467"/>
              <a:gd name="connsiteY2805" fmla="*/ 730624 h 4565177"/>
              <a:gd name="connsiteX2806" fmla="*/ 6121097 w 12243467"/>
              <a:gd name="connsiteY2806" fmla="*/ 728499 h 4565177"/>
              <a:gd name="connsiteX2807" fmla="*/ 3010289 w 12243467"/>
              <a:gd name="connsiteY2807" fmla="*/ 727791 h 4565177"/>
              <a:gd name="connsiteX2808" fmla="*/ 3003929 w 12243467"/>
              <a:gd name="connsiteY2808" fmla="*/ 733051 h 4565177"/>
              <a:gd name="connsiteX2809" fmla="*/ 3012503 w 12243467"/>
              <a:gd name="connsiteY2809" fmla="*/ 729511 h 4565177"/>
              <a:gd name="connsiteX2810" fmla="*/ 2036969 w 12243467"/>
              <a:gd name="connsiteY2810" fmla="*/ 718081 h 4565177"/>
              <a:gd name="connsiteX2811" fmla="*/ 2025076 w 12243467"/>
              <a:gd name="connsiteY2811" fmla="*/ 727184 h 4565177"/>
              <a:gd name="connsiteX2812" fmla="*/ 2010140 w 12243467"/>
              <a:gd name="connsiteY2812" fmla="*/ 730219 h 4565177"/>
              <a:gd name="connsiteX2813" fmla="*/ 2036969 w 12243467"/>
              <a:gd name="connsiteY2813" fmla="*/ 718081 h 4565177"/>
              <a:gd name="connsiteX2814" fmla="*/ 3024672 w 12243467"/>
              <a:gd name="connsiteY2814" fmla="*/ 715754 h 4565177"/>
              <a:gd name="connsiteX2815" fmla="*/ 3017480 w 12243467"/>
              <a:gd name="connsiteY2815" fmla="*/ 721722 h 4565177"/>
              <a:gd name="connsiteX2816" fmla="*/ 3020523 w 12243467"/>
              <a:gd name="connsiteY2816" fmla="*/ 722430 h 4565177"/>
              <a:gd name="connsiteX2817" fmla="*/ 3024672 w 12243467"/>
              <a:gd name="connsiteY2817" fmla="*/ 715754 h 4565177"/>
              <a:gd name="connsiteX2818" fmla="*/ 5703100 w 12243467"/>
              <a:gd name="connsiteY2818" fmla="*/ 715388 h 4565177"/>
              <a:gd name="connsiteX2819" fmla="*/ 5715063 w 12243467"/>
              <a:gd name="connsiteY2819" fmla="*/ 716665 h 4565177"/>
              <a:gd name="connsiteX2820" fmla="*/ 5704552 w 12243467"/>
              <a:gd name="connsiteY2820" fmla="*/ 722734 h 4565177"/>
              <a:gd name="connsiteX2821" fmla="*/ 5692382 w 12243467"/>
              <a:gd name="connsiteY2821" fmla="*/ 721318 h 4565177"/>
              <a:gd name="connsiteX2822" fmla="*/ 5703100 w 12243467"/>
              <a:gd name="connsiteY2822" fmla="*/ 715388 h 4565177"/>
              <a:gd name="connsiteX2823" fmla="*/ 6148756 w 12243467"/>
              <a:gd name="connsiteY2823" fmla="*/ 712618 h 4565177"/>
              <a:gd name="connsiteX2824" fmla="*/ 6185266 w 12243467"/>
              <a:gd name="connsiteY2824" fmla="*/ 727387 h 4565177"/>
              <a:gd name="connsiteX2825" fmla="*/ 6196882 w 12243467"/>
              <a:gd name="connsiteY2825" fmla="*/ 730927 h 4565177"/>
              <a:gd name="connsiteX2826" fmla="*/ 6192734 w 12243467"/>
              <a:gd name="connsiteY2826" fmla="*/ 731534 h 4565177"/>
              <a:gd name="connsiteX2827" fmla="*/ 6187202 w 12243467"/>
              <a:gd name="connsiteY2827" fmla="*/ 731332 h 4565177"/>
              <a:gd name="connsiteX2828" fmla="*/ 6150969 w 12243467"/>
              <a:gd name="connsiteY2828" fmla="*/ 716563 h 4565177"/>
              <a:gd name="connsiteX2829" fmla="*/ 6148756 w 12243467"/>
              <a:gd name="connsiteY2829" fmla="*/ 712618 h 4565177"/>
              <a:gd name="connsiteX2830" fmla="*/ 6506663 w 12243467"/>
              <a:gd name="connsiteY2830" fmla="*/ 710798 h 4565177"/>
              <a:gd name="connsiteX2831" fmla="*/ 6529897 w 12243467"/>
              <a:gd name="connsiteY2831" fmla="*/ 726476 h 4565177"/>
              <a:gd name="connsiteX2832" fmla="*/ 6514684 w 12243467"/>
              <a:gd name="connsiteY2832" fmla="*/ 720610 h 4565177"/>
              <a:gd name="connsiteX2833" fmla="*/ 6506663 w 12243467"/>
              <a:gd name="connsiteY2833" fmla="*/ 710798 h 4565177"/>
              <a:gd name="connsiteX2834" fmla="*/ 6044205 w 12243467"/>
              <a:gd name="connsiteY2834" fmla="*/ 710595 h 4565177"/>
              <a:gd name="connsiteX2835" fmla="*/ 6046695 w 12243467"/>
              <a:gd name="connsiteY2835" fmla="*/ 722936 h 4565177"/>
              <a:gd name="connsiteX2836" fmla="*/ 6037290 w 12243467"/>
              <a:gd name="connsiteY2836" fmla="*/ 723138 h 4565177"/>
              <a:gd name="connsiteX2837" fmla="*/ 6044205 w 12243467"/>
              <a:gd name="connsiteY2837" fmla="*/ 710595 h 4565177"/>
              <a:gd name="connsiteX2838" fmla="*/ 6085417 w 12243467"/>
              <a:gd name="connsiteY2838" fmla="*/ 707965 h 4565177"/>
              <a:gd name="connsiteX2839" fmla="*/ 6109757 w 12243467"/>
              <a:gd name="connsiteY2839" fmla="*/ 718789 h 4565177"/>
              <a:gd name="connsiteX2840" fmla="*/ 6102289 w 12243467"/>
              <a:gd name="connsiteY2840" fmla="*/ 723239 h 4565177"/>
              <a:gd name="connsiteX2841" fmla="*/ 6089289 w 12243467"/>
              <a:gd name="connsiteY2841" fmla="*/ 718586 h 4565177"/>
              <a:gd name="connsiteX2842" fmla="*/ 6098693 w 12243467"/>
              <a:gd name="connsiteY2842" fmla="*/ 726679 h 4565177"/>
              <a:gd name="connsiteX2843" fmla="*/ 6084034 w 12243467"/>
              <a:gd name="connsiteY2843" fmla="*/ 729713 h 4565177"/>
              <a:gd name="connsiteX2844" fmla="*/ 6056375 w 12243467"/>
              <a:gd name="connsiteY2844" fmla="*/ 733658 h 4565177"/>
              <a:gd name="connsiteX2845" fmla="*/ 6059694 w 12243467"/>
              <a:gd name="connsiteY2845" fmla="*/ 718789 h 4565177"/>
              <a:gd name="connsiteX2846" fmla="*/ 6083757 w 12243467"/>
              <a:gd name="connsiteY2846" fmla="*/ 718384 h 4565177"/>
              <a:gd name="connsiteX2847" fmla="*/ 6085417 w 12243467"/>
              <a:gd name="connsiteY2847" fmla="*/ 707965 h 4565177"/>
              <a:gd name="connsiteX2848" fmla="*/ 5493239 w 12243467"/>
              <a:gd name="connsiteY2848" fmla="*/ 705437 h 4565177"/>
              <a:gd name="connsiteX2849" fmla="*/ 5493791 w 12243467"/>
              <a:gd name="connsiteY2849" fmla="*/ 713933 h 4565177"/>
              <a:gd name="connsiteX2850" fmla="*/ 5486877 w 12243467"/>
              <a:gd name="connsiteY2850" fmla="*/ 715451 h 4565177"/>
              <a:gd name="connsiteX2851" fmla="*/ 5479408 w 12243467"/>
              <a:gd name="connsiteY2851" fmla="*/ 714035 h 4565177"/>
              <a:gd name="connsiteX2852" fmla="*/ 5470558 w 12243467"/>
              <a:gd name="connsiteY2852" fmla="*/ 706549 h 4565177"/>
              <a:gd name="connsiteX2853" fmla="*/ 5493239 w 12243467"/>
              <a:gd name="connsiteY2853" fmla="*/ 705437 h 4565177"/>
              <a:gd name="connsiteX2854" fmla="*/ 5517854 w 12243467"/>
              <a:gd name="connsiteY2854" fmla="*/ 704830 h 4565177"/>
              <a:gd name="connsiteX2855" fmla="*/ 5521450 w 12243467"/>
              <a:gd name="connsiteY2855" fmla="*/ 715653 h 4565177"/>
              <a:gd name="connsiteX2856" fmla="*/ 5508451 w 12243467"/>
              <a:gd name="connsiteY2856" fmla="*/ 714035 h 4565177"/>
              <a:gd name="connsiteX2857" fmla="*/ 5512599 w 12243467"/>
              <a:gd name="connsiteY2857" fmla="*/ 709078 h 4565177"/>
              <a:gd name="connsiteX2858" fmla="*/ 5517854 w 12243467"/>
              <a:gd name="connsiteY2858" fmla="*/ 704830 h 4565177"/>
              <a:gd name="connsiteX2859" fmla="*/ 6009909 w 12243467"/>
              <a:gd name="connsiteY2859" fmla="*/ 699873 h 4565177"/>
              <a:gd name="connsiteX2860" fmla="*/ 6020971 w 12243467"/>
              <a:gd name="connsiteY2860" fmla="*/ 703515 h 4565177"/>
              <a:gd name="connsiteX2861" fmla="*/ 6028439 w 12243467"/>
              <a:gd name="connsiteY2861" fmla="*/ 707662 h 4565177"/>
              <a:gd name="connsiteX2862" fmla="*/ 6028993 w 12243467"/>
              <a:gd name="connsiteY2862" fmla="*/ 718890 h 4565177"/>
              <a:gd name="connsiteX2863" fmla="*/ 6006589 w 12243467"/>
              <a:gd name="connsiteY2863" fmla="*/ 711910 h 4565177"/>
              <a:gd name="connsiteX2864" fmla="*/ 6004099 w 12243467"/>
              <a:gd name="connsiteY2864" fmla="*/ 705639 h 4565177"/>
              <a:gd name="connsiteX2865" fmla="*/ 6009909 w 12243467"/>
              <a:gd name="connsiteY2865" fmla="*/ 699873 h 4565177"/>
              <a:gd name="connsiteX2866" fmla="*/ 6140735 w 12243467"/>
              <a:gd name="connsiteY2866" fmla="*/ 694310 h 4565177"/>
              <a:gd name="connsiteX2867" fmla="*/ 6135203 w 12243467"/>
              <a:gd name="connsiteY2867" fmla="*/ 709280 h 4565177"/>
              <a:gd name="connsiteX2868" fmla="*/ 6109204 w 12243467"/>
              <a:gd name="connsiteY2868" fmla="*/ 696029 h 4565177"/>
              <a:gd name="connsiteX2869" fmla="*/ 6135756 w 12243467"/>
              <a:gd name="connsiteY2869" fmla="*/ 705336 h 4565177"/>
              <a:gd name="connsiteX2870" fmla="*/ 6140735 w 12243467"/>
              <a:gd name="connsiteY2870" fmla="*/ 694310 h 4565177"/>
              <a:gd name="connsiteX2871" fmla="*/ 6100076 w 12243467"/>
              <a:gd name="connsiteY2871" fmla="*/ 690871 h 4565177"/>
              <a:gd name="connsiteX2872" fmla="*/ 6100076 w 12243467"/>
              <a:gd name="connsiteY2872" fmla="*/ 699368 h 4565177"/>
              <a:gd name="connsiteX2873" fmla="*/ 6092608 w 12243467"/>
              <a:gd name="connsiteY2873" fmla="*/ 697951 h 4565177"/>
              <a:gd name="connsiteX2874" fmla="*/ 6096204 w 12243467"/>
              <a:gd name="connsiteY2874" fmla="*/ 693298 h 4565177"/>
              <a:gd name="connsiteX2875" fmla="*/ 6100076 w 12243467"/>
              <a:gd name="connsiteY2875" fmla="*/ 690871 h 4565177"/>
              <a:gd name="connsiteX2876" fmla="*/ 6073523 w 12243467"/>
              <a:gd name="connsiteY2876" fmla="*/ 687027 h 4565177"/>
              <a:gd name="connsiteX2877" fmla="*/ 6079055 w 12243467"/>
              <a:gd name="connsiteY2877" fmla="*/ 687330 h 4565177"/>
              <a:gd name="connsiteX2878" fmla="*/ 6075460 w 12243467"/>
              <a:gd name="connsiteY2878" fmla="*/ 694411 h 4565177"/>
              <a:gd name="connsiteX2879" fmla="*/ 6073523 w 12243467"/>
              <a:gd name="connsiteY2879" fmla="*/ 687027 h 4565177"/>
              <a:gd name="connsiteX2880" fmla="*/ 2668978 w 12243467"/>
              <a:gd name="connsiteY2880" fmla="*/ 684700 h 4565177"/>
              <a:gd name="connsiteX2881" fmla="*/ 2678659 w 12243467"/>
              <a:gd name="connsiteY2881" fmla="*/ 689556 h 4565177"/>
              <a:gd name="connsiteX2882" fmla="*/ 2663170 w 12243467"/>
              <a:gd name="connsiteY2882" fmla="*/ 699772 h 4565177"/>
              <a:gd name="connsiteX2883" fmla="*/ 2657084 w 12243467"/>
              <a:gd name="connsiteY2883" fmla="*/ 698963 h 4565177"/>
              <a:gd name="connsiteX2884" fmla="*/ 2668978 w 12243467"/>
              <a:gd name="connsiteY2884" fmla="*/ 684700 h 4565177"/>
              <a:gd name="connsiteX2885" fmla="*/ 6082305 w 12243467"/>
              <a:gd name="connsiteY2885" fmla="*/ 675824 h 4565177"/>
              <a:gd name="connsiteX2886" fmla="*/ 6088459 w 12243467"/>
              <a:gd name="connsiteY2886" fmla="*/ 676102 h 4565177"/>
              <a:gd name="connsiteX2887" fmla="*/ 6088736 w 12243467"/>
              <a:gd name="connsiteY2887" fmla="*/ 681868 h 4565177"/>
              <a:gd name="connsiteX2888" fmla="*/ 6084587 w 12243467"/>
              <a:gd name="connsiteY2888" fmla="*/ 682475 h 4565177"/>
              <a:gd name="connsiteX2889" fmla="*/ 6074906 w 12243467"/>
              <a:gd name="connsiteY2889" fmla="*/ 676912 h 4565177"/>
              <a:gd name="connsiteX2890" fmla="*/ 6082305 w 12243467"/>
              <a:gd name="connsiteY2890" fmla="*/ 675824 h 4565177"/>
              <a:gd name="connsiteX2891" fmla="*/ 5977339 w 12243467"/>
              <a:gd name="connsiteY2891" fmla="*/ 673460 h 4565177"/>
              <a:gd name="connsiteX2892" fmla="*/ 5989164 w 12243467"/>
              <a:gd name="connsiteY2892" fmla="*/ 676608 h 4565177"/>
              <a:gd name="connsiteX2893" fmla="*/ 5984738 w 12243467"/>
              <a:gd name="connsiteY2893" fmla="*/ 679036 h 4565177"/>
              <a:gd name="connsiteX2894" fmla="*/ 5979759 w 12243467"/>
              <a:gd name="connsiteY2894" fmla="*/ 679036 h 4565177"/>
              <a:gd name="connsiteX2895" fmla="*/ 5968419 w 12243467"/>
              <a:gd name="connsiteY2895" fmla="*/ 676305 h 4565177"/>
              <a:gd name="connsiteX2896" fmla="*/ 5977339 w 12243467"/>
              <a:gd name="connsiteY2896" fmla="*/ 673460 h 4565177"/>
              <a:gd name="connsiteX2897" fmla="*/ 2683084 w 12243467"/>
              <a:gd name="connsiteY2897" fmla="*/ 669629 h 4565177"/>
              <a:gd name="connsiteX2898" fmla="*/ 2696914 w 12243467"/>
              <a:gd name="connsiteY2898" fmla="*/ 673877 h 4565177"/>
              <a:gd name="connsiteX2899" fmla="*/ 2687510 w 12243467"/>
              <a:gd name="connsiteY2899" fmla="*/ 680755 h 4565177"/>
              <a:gd name="connsiteX2900" fmla="*/ 2684467 w 12243467"/>
              <a:gd name="connsiteY2900" fmla="*/ 675293 h 4565177"/>
              <a:gd name="connsiteX2901" fmla="*/ 2683084 w 12243467"/>
              <a:gd name="connsiteY2901" fmla="*/ 669629 h 4565177"/>
              <a:gd name="connsiteX2902" fmla="*/ 6405293 w 12243467"/>
              <a:gd name="connsiteY2902" fmla="*/ 664976 h 4565177"/>
              <a:gd name="connsiteX2903" fmla="*/ 6410686 w 12243467"/>
              <a:gd name="connsiteY2903" fmla="*/ 667909 h 4565177"/>
              <a:gd name="connsiteX2904" fmla="*/ 6404048 w 12243467"/>
              <a:gd name="connsiteY2904" fmla="*/ 670640 h 4565177"/>
              <a:gd name="connsiteX2905" fmla="*/ 6397410 w 12243467"/>
              <a:gd name="connsiteY2905" fmla="*/ 669022 h 4565177"/>
              <a:gd name="connsiteX2906" fmla="*/ 6405293 w 12243467"/>
              <a:gd name="connsiteY2906" fmla="*/ 664976 h 4565177"/>
              <a:gd name="connsiteX2907" fmla="*/ 6134373 w 12243467"/>
              <a:gd name="connsiteY2907" fmla="*/ 662649 h 4565177"/>
              <a:gd name="connsiteX2908" fmla="*/ 6164522 w 12243467"/>
              <a:gd name="connsiteY2908" fmla="*/ 673978 h 4565177"/>
              <a:gd name="connsiteX2909" fmla="*/ 6145713 w 12243467"/>
              <a:gd name="connsiteY2909" fmla="*/ 677519 h 4565177"/>
              <a:gd name="connsiteX2910" fmla="*/ 6149586 w 12243467"/>
              <a:gd name="connsiteY2910" fmla="*/ 673978 h 4565177"/>
              <a:gd name="connsiteX2911" fmla="*/ 6136586 w 12243467"/>
              <a:gd name="connsiteY2911" fmla="*/ 677923 h 4565177"/>
              <a:gd name="connsiteX2912" fmla="*/ 6125246 w 12243467"/>
              <a:gd name="connsiteY2912" fmla="*/ 674383 h 4565177"/>
              <a:gd name="connsiteX2913" fmla="*/ 6136586 w 12243467"/>
              <a:gd name="connsiteY2913" fmla="*/ 672259 h 4565177"/>
              <a:gd name="connsiteX2914" fmla="*/ 6134373 w 12243467"/>
              <a:gd name="connsiteY2914" fmla="*/ 662649 h 4565177"/>
              <a:gd name="connsiteX2915" fmla="*/ 4391856 w 12243467"/>
              <a:gd name="connsiteY2915" fmla="*/ 657693 h 4565177"/>
              <a:gd name="connsiteX2916" fmla="*/ 4373048 w 12243467"/>
              <a:gd name="connsiteY2916" fmla="*/ 666999 h 4565177"/>
              <a:gd name="connsiteX2917" fmla="*/ 4374432 w 12243467"/>
              <a:gd name="connsiteY2917" fmla="*/ 660323 h 4565177"/>
              <a:gd name="connsiteX2918" fmla="*/ 4331284 w 12243467"/>
              <a:gd name="connsiteY2918" fmla="*/ 671551 h 4565177"/>
              <a:gd name="connsiteX2919" fmla="*/ 4288135 w 12243467"/>
              <a:gd name="connsiteY2919" fmla="*/ 694006 h 4565177"/>
              <a:gd name="connsiteX2920" fmla="*/ 4287305 w 12243467"/>
              <a:gd name="connsiteY2920" fmla="*/ 687128 h 4565177"/>
              <a:gd name="connsiteX2921" fmla="*/ 4279838 w 12243467"/>
              <a:gd name="connsiteY2921" fmla="*/ 688645 h 4565177"/>
              <a:gd name="connsiteX2922" fmla="*/ 4277901 w 12243467"/>
              <a:gd name="connsiteY2922" fmla="*/ 697446 h 4565177"/>
              <a:gd name="connsiteX2923" fmla="*/ 4269050 w 12243467"/>
              <a:gd name="connsiteY2923" fmla="*/ 694209 h 4565177"/>
              <a:gd name="connsiteX2924" fmla="*/ 4131033 w 12243467"/>
              <a:gd name="connsiteY2924" fmla="*/ 744987 h 4565177"/>
              <a:gd name="connsiteX2925" fmla="*/ 4097842 w 12243467"/>
              <a:gd name="connsiteY2925" fmla="*/ 766330 h 4565177"/>
              <a:gd name="connsiteX2926" fmla="*/ 3970611 w 12243467"/>
              <a:gd name="connsiteY2926" fmla="*/ 824999 h 4565177"/>
              <a:gd name="connsiteX2927" fmla="*/ 3956228 w 12243467"/>
              <a:gd name="connsiteY2927" fmla="*/ 837036 h 4565177"/>
              <a:gd name="connsiteX2928" fmla="*/ 3918611 w 12243467"/>
              <a:gd name="connsiteY2928" fmla="*/ 855749 h 4565177"/>
              <a:gd name="connsiteX2929" fmla="*/ 3822912 w 12243467"/>
              <a:gd name="connsiteY2929" fmla="*/ 924735 h 4565177"/>
              <a:gd name="connsiteX2930" fmla="*/ 4022332 w 12243467"/>
              <a:gd name="connsiteY2930" fmla="*/ 819435 h 4565177"/>
              <a:gd name="connsiteX2931" fmla="*/ 4108906 w 12243467"/>
              <a:gd name="connsiteY2931" fmla="*/ 772096 h 4565177"/>
              <a:gd name="connsiteX2932" fmla="*/ 4117480 w 12243467"/>
              <a:gd name="connsiteY2932" fmla="*/ 777558 h 4565177"/>
              <a:gd name="connsiteX2933" fmla="*/ 4140990 w 12243467"/>
              <a:gd name="connsiteY2933" fmla="*/ 764510 h 4565177"/>
              <a:gd name="connsiteX2934" fmla="*/ 4143479 w 12243467"/>
              <a:gd name="connsiteY2934" fmla="*/ 763599 h 4565177"/>
              <a:gd name="connsiteX2935" fmla="*/ 4144033 w 12243467"/>
              <a:gd name="connsiteY2935" fmla="*/ 762385 h 4565177"/>
              <a:gd name="connsiteX2936" fmla="*/ 4153712 w 12243467"/>
              <a:gd name="connsiteY2936" fmla="*/ 759250 h 4565177"/>
              <a:gd name="connsiteX2937" fmla="*/ 4160904 w 12243467"/>
              <a:gd name="connsiteY2937" fmla="*/ 752877 h 4565177"/>
              <a:gd name="connsiteX2938" fmla="*/ 4167818 w 12243467"/>
              <a:gd name="connsiteY2938" fmla="*/ 753585 h 4565177"/>
              <a:gd name="connsiteX2939" fmla="*/ 4194094 w 12243467"/>
              <a:gd name="connsiteY2939" fmla="*/ 745493 h 4565177"/>
              <a:gd name="connsiteX2940" fmla="*/ 4201839 w 12243467"/>
              <a:gd name="connsiteY2940" fmla="*/ 740739 h 4565177"/>
              <a:gd name="connsiteX2941" fmla="*/ 4227562 w 12243467"/>
              <a:gd name="connsiteY2941" fmla="*/ 733254 h 4565177"/>
              <a:gd name="connsiteX2942" fmla="*/ 4305285 w 12243467"/>
              <a:gd name="connsiteY2942" fmla="*/ 697951 h 4565177"/>
              <a:gd name="connsiteX2943" fmla="*/ 4362814 w 12243467"/>
              <a:gd name="connsiteY2943" fmla="*/ 673877 h 4565177"/>
              <a:gd name="connsiteX2944" fmla="*/ 4392963 w 12243467"/>
              <a:gd name="connsiteY2944" fmla="*/ 673776 h 4565177"/>
              <a:gd name="connsiteX2945" fmla="*/ 4396559 w 12243467"/>
              <a:gd name="connsiteY2945" fmla="*/ 667302 h 4565177"/>
              <a:gd name="connsiteX2946" fmla="*/ 4393239 w 12243467"/>
              <a:gd name="connsiteY2946" fmla="*/ 661941 h 4565177"/>
              <a:gd name="connsiteX2947" fmla="*/ 4395452 w 12243467"/>
              <a:gd name="connsiteY2947" fmla="*/ 659412 h 4565177"/>
              <a:gd name="connsiteX2948" fmla="*/ 4419515 w 12243467"/>
              <a:gd name="connsiteY2948" fmla="*/ 651219 h 4565177"/>
              <a:gd name="connsiteX2949" fmla="*/ 4412047 w 12243467"/>
              <a:gd name="connsiteY2949" fmla="*/ 654759 h 4565177"/>
              <a:gd name="connsiteX2950" fmla="*/ 4404579 w 12243467"/>
              <a:gd name="connsiteY2950" fmla="*/ 660222 h 4565177"/>
              <a:gd name="connsiteX2951" fmla="*/ 4407622 w 12243467"/>
              <a:gd name="connsiteY2951" fmla="*/ 662245 h 4565177"/>
              <a:gd name="connsiteX2952" fmla="*/ 4415366 w 12243467"/>
              <a:gd name="connsiteY2952" fmla="*/ 657794 h 4565177"/>
              <a:gd name="connsiteX2953" fmla="*/ 6096549 w 12243467"/>
              <a:gd name="connsiteY2953" fmla="*/ 649158 h 4565177"/>
              <a:gd name="connsiteX2954" fmla="*/ 6111969 w 12243467"/>
              <a:gd name="connsiteY2954" fmla="*/ 655063 h 4565177"/>
              <a:gd name="connsiteX2955" fmla="*/ 6127182 w 12243467"/>
              <a:gd name="connsiteY2955" fmla="*/ 666493 h 4565177"/>
              <a:gd name="connsiteX2956" fmla="*/ 6091502 w 12243467"/>
              <a:gd name="connsiteY2956" fmla="*/ 660727 h 4565177"/>
              <a:gd name="connsiteX2957" fmla="*/ 6078225 w 12243467"/>
              <a:gd name="connsiteY2957" fmla="*/ 650309 h 4565177"/>
              <a:gd name="connsiteX2958" fmla="*/ 6096549 w 12243467"/>
              <a:gd name="connsiteY2958" fmla="*/ 649158 h 4565177"/>
              <a:gd name="connsiteX2959" fmla="*/ 6348177 w 12243467"/>
              <a:gd name="connsiteY2959" fmla="*/ 643734 h 4565177"/>
              <a:gd name="connsiteX2960" fmla="*/ 6366985 w 12243467"/>
              <a:gd name="connsiteY2960" fmla="*/ 657187 h 4565177"/>
              <a:gd name="connsiteX2961" fmla="*/ 6350113 w 12243467"/>
              <a:gd name="connsiteY2961" fmla="*/ 650511 h 4565177"/>
              <a:gd name="connsiteX2962" fmla="*/ 6348177 w 12243467"/>
              <a:gd name="connsiteY2962" fmla="*/ 643734 h 4565177"/>
              <a:gd name="connsiteX2963" fmla="*/ 6316923 w 12243467"/>
              <a:gd name="connsiteY2963" fmla="*/ 615209 h 4565177"/>
              <a:gd name="connsiteX2964" fmla="*/ 6400729 w 12243467"/>
              <a:gd name="connsiteY2964" fmla="*/ 651017 h 4565177"/>
              <a:gd name="connsiteX2965" fmla="*/ 6326880 w 12243467"/>
              <a:gd name="connsiteY2965" fmla="*/ 629269 h 4565177"/>
              <a:gd name="connsiteX2966" fmla="*/ 6304200 w 12243467"/>
              <a:gd name="connsiteY2966" fmla="*/ 630685 h 4565177"/>
              <a:gd name="connsiteX2967" fmla="*/ 6308072 w 12243467"/>
              <a:gd name="connsiteY2967" fmla="*/ 629977 h 4565177"/>
              <a:gd name="connsiteX2968" fmla="*/ 6316923 w 12243467"/>
              <a:gd name="connsiteY2968" fmla="*/ 615209 h 4565177"/>
              <a:gd name="connsiteX2969" fmla="*/ 2963270 w 12243467"/>
              <a:gd name="connsiteY2969" fmla="*/ 601149 h 4565177"/>
              <a:gd name="connsiteX2970" fmla="*/ 2972950 w 12243467"/>
              <a:gd name="connsiteY2970" fmla="*/ 605802 h 4565177"/>
              <a:gd name="connsiteX2971" fmla="*/ 2971844 w 12243467"/>
              <a:gd name="connsiteY2971" fmla="*/ 608533 h 4565177"/>
              <a:gd name="connsiteX2972" fmla="*/ 2961057 w 12243467"/>
              <a:gd name="connsiteY2972" fmla="*/ 608432 h 4565177"/>
              <a:gd name="connsiteX2973" fmla="*/ 2963270 w 12243467"/>
              <a:gd name="connsiteY2973" fmla="*/ 601149 h 4565177"/>
              <a:gd name="connsiteX2974" fmla="*/ 6253030 w 12243467"/>
              <a:gd name="connsiteY2974" fmla="*/ 590325 h 4565177"/>
              <a:gd name="connsiteX2975" fmla="*/ 6277647 w 12243467"/>
              <a:gd name="connsiteY2975" fmla="*/ 598519 h 4565177"/>
              <a:gd name="connsiteX2976" fmla="*/ 6270179 w 12243467"/>
              <a:gd name="connsiteY2976" fmla="*/ 602362 h 4565177"/>
              <a:gd name="connsiteX2977" fmla="*/ 6259945 w 12243467"/>
              <a:gd name="connsiteY2977" fmla="*/ 601958 h 4565177"/>
              <a:gd name="connsiteX2978" fmla="*/ 6253030 w 12243467"/>
              <a:gd name="connsiteY2978" fmla="*/ 590325 h 4565177"/>
              <a:gd name="connsiteX2979" fmla="*/ 6128012 w 12243467"/>
              <a:gd name="connsiteY2979" fmla="*/ 578187 h 4565177"/>
              <a:gd name="connsiteX2980" fmla="*/ 6129118 w 12243467"/>
              <a:gd name="connsiteY2980" fmla="*/ 580716 h 4565177"/>
              <a:gd name="connsiteX2981" fmla="*/ 6212095 w 12243467"/>
              <a:gd name="connsiteY2981" fmla="*/ 604689 h 4565177"/>
              <a:gd name="connsiteX2982" fmla="*/ 6205733 w 12243467"/>
              <a:gd name="connsiteY2982" fmla="*/ 606206 h 4565177"/>
              <a:gd name="connsiteX2983" fmla="*/ 6199372 w 12243467"/>
              <a:gd name="connsiteY2983" fmla="*/ 605700 h 4565177"/>
              <a:gd name="connsiteX2984" fmla="*/ 6159543 w 12243467"/>
              <a:gd name="connsiteY2984" fmla="*/ 600542 h 4565177"/>
              <a:gd name="connsiteX2985" fmla="*/ 6125522 w 12243467"/>
              <a:gd name="connsiteY2985" fmla="*/ 581323 h 4565177"/>
              <a:gd name="connsiteX2986" fmla="*/ 6128012 w 12243467"/>
              <a:gd name="connsiteY2986" fmla="*/ 578187 h 4565177"/>
              <a:gd name="connsiteX2987" fmla="*/ 6118054 w 12243467"/>
              <a:gd name="connsiteY2987" fmla="*/ 573837 h 4565177"/>
              <a:gd name="connsiteX2988" fmla="*/ 6123863 w 12243467"/>
              <a:gd name="connsiteY2988" fmla="*/ 580008 h 4565177"/>
              <a:gd name="connsiteX2989" fmla="*/ 6119991 w 12243467"/>
              <a:gd name="connsiteY2989" fmla="*/ 577883 h 4565177"/>
              <a:gd name="connsiteX2990" fmla="*/ 6119991 w 12243467"/>
              <a:gd name="connsiteY2990" fmla="*/ 580716 h 4565177"/>
              <a:gd name="connsiteX2991" fmla="*/ 6118054 w 12243467"/>
              <a:gd name="connsiteY2991" fmla="*/ 582132 h 4565177"/>
              <a:gd name="connsiteX2992" fmla="*/ 6116948 w 12243467"/>
              <a:gd name="connsiteY2992" fmla="*/ 581525 h 4565177"/>
              <a:gd name="connsiteX2993" fmla="*/ 6112522 w 12243467"/>
              <a:gd name="connsiteY2993" fmla="*/ 579401 h 4565177"/>
              <a:gd name="connsiteX2994" fmla="*/ 6118054 w 12243467"/>
              <a:gd name="connsiteY2994" fmla="*/ 573837 h 4565177"/>
              <a:gd name="connsiteX2995" fmla="*/ 6097172 w 12243467"/>
              <a:gd name="connsiteY2995" fmla="*/ 573016 h 4565177"/>
              <a:gd name="connsiteX2996" fmla="*/ 6106438 w 12243467"/>
              <a:gd name="connsiteY2996" fmla="*/ 573433 h 4565177"/>
              <a:gd name="connsiteX2997" fmla="*/ 6096757 w 12243467"/>
              <a:gd name="connsiteY2997" fmla="*/ 575759 h 4565177"/>
              <a:gd name="connsiteX2998" fmla="*/ 6083757 w 12243467"/>
              <a:gd name="connsiteY2998" fmla="*/ 574343 h 4565177"/>
              <a:gd name="connsiteX2999" fmla="*/ 6097172 w 12243467"/>
              <a:gd name="connsiteY2999" fmla="*/ 573016 h 4565177"/>
              <a:gd name="connsiteX3000" fmla="*/ 4511068 w 12243467"/>
              <a:gd name="connsiteY3000" fmla="*/ 566453 h 4565177"/>
              <a:gd name="connsiteX3001" fmla="*/ 4518258 w 12243467"/>
              <a:gd name="connsiteY3001" fmla="*/ 567262 h 4565177"/>
              <a:gd name="connsiteX3002" fmla="*/ 4522683 w 12243467"/>
              <a:gd name="connsiteY3002" fmla="*/ 581222 h 4565177"/>
              <a:gd name="connsiteX3003" fmla="*/ 4506365 w 12243467"/>
              <a:gd name="connsiteY3003" fmla="*/ 579401 h 4565177"/>
              <a:gd name="connsiteX3004" fmla="*/ 4511068 w 12243467"/>
              <a:gd name="connsiteY3004" fmla="*/ 566453 h 4565177"/>
              <a:gd name="connsiteX3005" fmla="*/ 4403474 w 12243467"/>
              <a:gd name="connsiteY3005" fmla="*/ 565341 h 4565177"/>
              <a:gd name="connsiteX3006" fmla="*/ 4366410 w 12243467"/>
              <a:gd name="connsiteY3006" fmla="*/ 579401 h 4565177"/>
              <a:gd name="connsiteX3007" fmla="*/ 4403474 w 12243467"/>
              <a:gd name="connsiteY3007" fmla="*/ 565341 h 4565177"/>
              <a:gd name="connsiteX3008" fmla="*/ 2812527 w 12243467"/>
              <a:gd name="connsiteY3008" fmla="*/ 558665 h 4565177"/>
              <a:gd name="connsiteX3009" fmla="*/ 2804230 w 12243467"/>
              <a:gd name="connsiteY3009" fmla="*/ 575051 h 4565177"/>
              <a:gd name="connsiteX3010" fmla="*/ 2812527 w 12243467"/>
              <a:gd name="connsiteY3010" fmla="*/ 558665 h 4565177"/>
              <a:gd name="connsiteX3011" fmla="*/ 4482854 w 12243467"/>
              <a:gd name="connsiteY3011" fmla="*/ 551786 h 4565177"/>
              <a:gd name="connsiteX3012" fmla="*/ 4464599 w 12243467"/>
              <a:gd name="connsiteY3012" fmla="*/ 558968 h 4565177"/>
              <a:gd name="connsiteX3013" fmla="*/ 4442196 w 12243467"/>
              <a:gd name="connsiteY3013" fmla="*/ 574748 h 4565177"/>
              <a:gd name="connsiteX3014" fmla="*/ 4417027 w 12243467"/>
              <a:gd name="connsiteY3014" fmla="*/ 567465 h 4565177"/>
              <a:gd name="connsiteX3015" fmla="*/ 4482854 w 12243467"/>
              <a:gd name="connsiteY3015" fmla="*/ 551786 h 4565177"/>
              <a:gd name="connsiteX3016" fmla="*/ 3344411 w 12243467"/>
              <a:gd name="connsiteY3016" fmla="*/ 548448 h 4565177"/>
              <a:gd name="connsiteX3017" fmla="*/ 3342197 w 12243467"/>
              <a:gd name="connsiteY3017" fmla="*/ 549257 h 4565177"/>
              <a:gd name="connsiteX3018" fmla="*/ 3312602 w 12243467"/>
              <a:gd name="connsiteY3018" fmla="*/ 554517 h 4565177"/>
              <a:gd name="connsiteX3019" fmla="*/ 3301538 w 12243467"/>
              <a:gd name="connsiteY3019" fmla="*/ 564026 h 4565177"/>
              <a:gd name="connsiteX3020" fmla="*/ 3261434 w 12243467"/>
              <a:gd name="connsiteY3020" fmla="*/ 575051 h 4565177"/>
              <a:gd name="connsiteX3021" fmla="*/ 3235710 w 12243467"/>
              <a:gd name="connsiteY3021" fmla="*/ 587392 h 4565177"/>
              <a:gd name="connsiteX3022" fmla="*/ 3219391 w 12243467"/>
              <a:gd name="connsiteY3022" fmla="*/ 600744 h 4565177"/>
              <a:gd name="connsiteX3023" fmla="*/ 3156883 w 12243467"/>
              <a:gd name="connsiteY3023" fmla="*/ 655569 h 4565177"/>
              <a:gd name="connsiteX3024" fmla="*/ 3133373 w 12243467"/>
              <a:gd name="connsiteY3024" fmla="*/ 664369 h 4565177"/>
              <a:gd name="connsiteX3025" fmla="*/ 3141394 w 12243467"/>
              <a:gd name="connsiteY3025" fmla="*/ 672056 h 4565177"/>
              <a:gd name="connsiteX3026" fmla="*/ 3105161 w 12243467"/>
              <a:gd name="connsiteY3026" fmla="*/ 697648 h 4565177"/>
              <a:gd name="connsiteX3027" fmla="*/ 3104330 w 12243467"/>
              <a:gd name="connsiteY3027" fmla="*/ 713529 h 4565177"/>
              <a:gd name="connsiteX3028" fmla="*/ 3096863 w 12243467"/>
              <a:gd name="connsiteY3028" fmla="*/ 714945 h 4565177"/>
              <a:gd name="connsiteX3029" fmla="*/ 3067821 w 12243467"/>
              <a:gd name="connsiteY3029" fmla="*/ 750753 h 4565177"/>
              <a:gd name="connsiteX3030" fmla="*/ 3078331 w 12243467"/>
              <a:gd name="connsiteY3030" fmla="*/ 744785 h 4565177"/>
              <a:gd name="connsiteX3031" fmla="*/ 3085522 w 12243467"/>
              <a:gd name="connsiteY3031" fmla="*/ 750247 h 4565177"/>
              <a:gd name="connsiteX3032" fmla="*/ 3066437 w 12243467"/>
              <a:gd name="connsiteY3032" fmla="*/ 770882 h 4565177"/>
              <a:gd name="connsiteX3033" fmla="*/ 3068926 w 12243467"/>
              <a:gd name="connsiteY3033" fmla="*/ 777356 h 4565177"/>
              <a:gd name="connsiteX3034" fmla="*/ 3079991 w 12243467"/>
              <a:gd name="connsiteY3034" fmla="*/ 775738 h 4565177"/>
              <a:gd name="connsiteX3035" fmla="*/ 3086352 w 12243467"/>
              <a:gd name="connsiteY3035" fmla="*/ 778266 h 4565177"/>
              <a:gd name="connsiteX3036" fmla="*/ 3087734 w 12243467"/>
              <a:gd name="connsiteY3036" fmla="*/ 776446 h 4565177"/>
              <a:gd name="connsiteX3037" fmla="*/ 3112352 w 12243467"/>
              <a:gd name="connsiteY3037" fmla="*/ 757631 h 4565177"/>
              <a:gd name="connsiteX3038" fmla="*/ 3123138 w 12243467"/>
              <a:gd name="connsiteY3038" fmla="*/ 744684 h 4565177"/>
              <a:gd name="connsiteX3039" fmla="*/ 3125074 w 12243467"/>
              <a:gd name="connsiteY3039" fmla="*/ 740537 h 4565177"/>
              <a:gd name="connsiteX3040" fmla="*/ 3127563 w 12243467"/>
              <a:gd name="connsiteY3040" fmla="*/ 739323 h 4565177"/>
              <a:gd name="connsiteX3041" fmla="*/ 3132543 w 12243467"/>
              <a:gd name="connsiteY3041" fmla="*/ 733355 h 4565177"/>
              <a:gd name="connsiteX3042" fmla="*/ 3151351 w 12243467"/>
              <a:gd name="connsiteY3042" fmla="*/ 707257 h 4565177"/>
              <a:gd name="connsiteX3043" fmla="*/ 3195605 w 12243467"/>
              <a:gd name="connsiteY3043" fmla="*/ 666695 h 4565177"/>
              <a:gd name="connsiteX3044" fmla="*/ 3225754 w 12243467"/>
              <a:gd name="connsiteY3044" fmla="*/ 635844 h 4565177"/>
              <a:gd name="connsiteX3045" fmla="*/ 3258115 w 12243467"/>
              <a:gd name="connsiteY3045" fmla="*/ 607622 h 4565177"/>
              <a:gd name="connsiteX3046" fmla="*/ 3325325 w 12243467"/>
              <a:gd name="connsiteY3046" fmla="*/ 562508 h 4565177"/>
              <a:gd name="connsiteX3047" fmla="*/ 6120820 w 12243467"/>
              <a:gd name="connsiteY3047" fmla="*/ 547437 h 4565177"/>
              <a:gd name="connsiteX3048" fmla="*/ 6241690 w 12243467"/>
              <a:gd name="connsiteY3048" fmla="*/ 587493 h 4565177"/>
              <a:gd name="connsiteX3049" fmla="*/ 6202691 w 12243467"/>
              <a:gd name="connsiteY3049" fmla="*/ 593461 h 4565177"/>
              <a:gd name="connsiteX3050" fmla="*/ 6187479 w 12243467"/>
              <a:gd name="connsiteY3050" fmla="*/ 587796 h 4565177"/>
              <a:gd name="connsiteX3051" fmla="*/ 6198542 w 12243467"/>
              <a:gd name="connsiteY3051" fmla="*/ 585672 h 4565177"/>
              <a:gd name="connsiteX3052" fmla="*/ 6175862 w 12243467"/>
              <a:gd name="connsiteY3052" fmla="*/ 572826 h 4565177"/>
              <a:gd name="connsiteX3053" fmla="*/ 6140181 w 12243467"/>
              <a:gd name="connsiteY3053" fmla="*/ 575254 h 4565177"/>
              <a:gd name="connsiteX3054" fmla="*/ 6145713 w 12243467"/>
              <a:gd name="connsiteY3054" fmla="*/ 567060 h 4565177"/>
              <a:gd name="connsiteX3055" fmla="*/ 6126905 w 12243467"/>
              <a:gd name="connsiteY3055" fmla="*/ 567768 h 4565177"/>
              <a:gd name="connsiteX3056" fmla="*/ 6128565 w 12243467"/>
              <a:gd name="connsiteY3056" fmla="*/ 560283 h 4565177"/>
              <a:gd name="connsiteX3057" fmla="*/ 6111969 w 12243467"/>
              <a:gd name="connsiteY3057" fmla="*/ 567768 h 4565177"/>
              <a:gd name="connsiteX3058" fmla="*/ 6111416 w 12243467"/>
              <a:gd name="connsiteY3058" fmla="*/ 553506 h 4565177"/>
              <a:gd name="connsiteX3059" fmla="*/ 6120820 w 12243467"/>
              <a:gd name="connsiteY3059" fmla="*/ 547437 h 4565177"/>
              <a:gd name="connsiteX3060" fmla="*/ 4856770 w 12243467"/>
              <a:gd name="connsiteY3060" fmla="*/ 460942 h 4565177"/>
              <a:gd name="connsiteX3061" fmla="*/ 4906868 w 12243467"/>
              <a:gd name="connsiteY3061" fmla="*/ 466717 h 4565177"/>
              <a:gd name="connsiteX3062" fmla="*/ 4982099 w 12243467"/>
              <a:gd name="connsiteY3062" fmla="*/ 486341 h 4565177"/>
              <a:gd name="connsiteX3063" fmla="*/ 4974355 w 12243467"/>
              <a:gd name="connsiteY3063" fmla="*/ 489881 h 4565177"/>
              <a:gd name="connsiteX3064" fmla="*/ 4839932 w 12243467"/>
              <a:gd name="connsiteY3064" fmla="*/ 463885 h 4565177"/>
              <a:gd name="connsiteX3065" fmla="*/ 4856770 w 12243467"/>
              <a:gd name="connsiteY3065" fmla="*/ 460942 h 4565177"/>
              <a:gd name="connsiteX3066" fmla="*/ 3112352 w 12243467"/>
              <a:gd name="connsiteY3066" fmla="*/ 457714 h 4565177"/>
              <a:gd name="connsiteX3067" fmla="*/ 3055650 w 12243467"/>
              <a:gd name="connsiteY3067" fmla="*/ 488971 h 4565177"/>
              <a:gd name="connsiteX3068" fmla="*/ 3112352 w 12243467"/>
              <a:gd name="connsiteY3068" fmla="*/ 457714 h 4565177"/>
              <a:gd name="connsiteX3069" fmla="*/ 4802523 w 12243467"/>
              <a:gd name="connsiteY3069" fmla="*/ 456906 h 4565177"/>
              <a:gd name="connsiteX3070" fmla="*/ 4811997 w 12243467"/>
              <a:gd name="connsiteY3070" fmla="*/ 458524 h 4565177"/>
              <a:gd name="connsiteX3071" fmla="*/ 4798997 w 12243467"/>
              <a:gd name="connsiteY3071" fmla="*/ 463986 h 4565177"/>
              <a:gd name="connsiteX3072" fmla="*/ 4797614 w 12243467"/>
              <a:gd name="connsiteY3072" fmla="*/ 459232 h 4565177"/>
              <a:gd name="connsiteX3073" fmla="*/ 4802523 w 12243467"/>
              <a:gd name="connsiteY3073" fmla="*/ 456906 h 4565177"/>
              <a:gd name="connsiteX3074" fmla="*/ 3064225 w 12243467"/>
              <a:gd name="connsiteY3074" fmla="*/ 449547 h 4565177"/>
              <a:gd name="connsiteX3075" fmla="*/ 3071969 w 12243467"/>
              <a:gd name="connsiteY3075" fmla="*/ 450027 h 4565177"/>
              <a:gd name="connsiteX3076" fmla="*/ 3031311 w 12243467"/>
              <a:gd name="connsiteY3076" fmla="*/ 477338 h 4565177"/>
              <a:gd name="connsiteX3077" fmla="*/ 3022183 w 12243467"/>
              <a:gd name="connsiteY3077" fmla="*/ 477439 h 4565177"/>
              <a:gd name="connsiteX3078" fmla="*/ 3011950 w 12243467"/>
              <a:gd name="connsiteY3078" fmla="*/ 475011 h 4565177"/>
              <a:gd name="connsiteX3079" fmla="*/ 3063671 w 12243467"/>
              <a:gd name="connsiteY3079" fmla="*/ 454174 h 4565177"/>
              <a:gd name="connsiteX3080" fmla="*/ 3057310 w 12243467"/>
              <a:gd name="connsiteY3080" fmla="*/ 450735 h 4565177"/>
              <a:gd name="connsiteX3081" fmla="*/ 3064225 w 12243467"/>
              <a:gd name="connsiteY3081" fmla="*/ 449547 h 4565177"/>
              <a:gd name="connsiteX3082" fmla="*/ 4535406 w 12243467"/>
              <a:gd name="connsiteY3082" fmla="*/ 434449 h 4565177"/>
              <a:gd name="connsiteX3083" fmla="*/ 4543428 w 12243467"/>
              <a:gd name="connsiteY3083" fmla="*/ 442137 h 4565177"/>
              <a:gd name="connsiteX3084" fmla="*/ 4540385 w 12243467"/>
              <a:gd name="connsiteY3084" fmla="*/ 444261 h 4565177"/>
              <a:gd name="connsiteX3085" fmla="*/ 4537619 w 12243467"/>
              <a:gd name="connsiteY3085" fmla="*/ 442440 h 4565177"/>
              <a:gd name="connsiteX3086" fmla="*/ 4535406 w 12243467"/>
              <a:gd name="connsiteY3086" fmla="*/ 434449 h 4565177"/>
              <a:gd name="connsiteX3087" fmla="*/ 3515897 w 12243467"/>
              <a:gd name="connsiteY3087" fmla="*/ 427470 h 4565177"/>
              <a:gd name="connsiteX3088" fmla="*/ 3508151 w 12243467"/>
              <a:gd name="connsiteY3088" fmla="*/ 432123 h 4565177"/>
              <a:gd name="connsiteX3089" fmla="*/ 3503173 w 12243467"/>
              <a:gd name="connsiteY3089" fmla="*/ 431111 h 4565177"/>
              <a:gd name="connsiteX3090" fmla="*/ 3515897 w 12243467"/>
              <a:gd name="connsiteY3090" fmla="*/ 427470 h 4565177"/>
              <a:gd name="connsiteX3091" fmla="*/ 3104884 w 12243467"/>
              <a:gd name="connsiteY3091" fmla="*/ 426155 h 4565177"/>
              <a:gd name="connsiteX3092" fmla="*/ 3115394 w 12243467"/>
              <a:gd name="connsiteY3092" fmla="*/ 433539 h 4565177"/>
              <a:gd name="connsiteX3093" fmla="*/ 3102671 w 12243467"/>
              <a:gd name="connsiteY3093" fmla="*/ 438799 h 4565177"/>
              <a:gd name="connsiteX3094" fmla="*/ 3097693 w 12243467"/>
              <a:gd name="connsiteY3094" fmla="*/ 432629 h 4565177"/>
              <a:gd name="connsiteX3095" fmla="*/ 3104884 w 12243467"/>
              <a:gd name="connsiteY3095" fmla="*/ 426155 h 4565177"/>
              <a:gd name="connsiteX3096" fmla="*/ 2993418 w 12243467"/>
              <a:gd name="connsiteY3096" fmla="*/ 415837 h 4565177"/>
              <a:gd name="connsiteX3097" fmla="*/ 3001438 w 12243467"/>
              <a:gd name="connsiteY3097" fmla="*/ 423424 h 4565177"/>
              <a:gd name="connsiteX3098" fmla="*/ 2994801 w 12243467"/>
              <a:gd name="connsiteY3098" fmla="*/ 425042 h 4565177"/>
              <a:gd name="connsiteX3099" fmla="*/ 2991481 w 12243467"/>
              <a:gd name="connsiteY3099" fmla="*/ 423525 h 4565177"/>
              <a:gd name="connsiteX3100" fmla="*/ 2993418 w 12243467"/>
              <a:gd name="connsiteY3100" fmla="*/ 415837 h 4565177"/>
              <a:gd name="connsiteX3101" fmla="*/ 3208605 w 12243467"/>
              <a:gd name="connsiteY3101" fmla="*/ 412702 h 4565177"/>
              <a:gd name="connsiteX3102" fmla="*/ 3219391 w 12243467"/>
              <a:gd name="connsiteY3102" fmla="*/ 415028 h 4565177"/>
              <a:gd name="connsiteX3103" fmla="*/ 3128947 w 12243467"/>
              <a:gd name="connsiteY3103" fmla="*/ 456602 h 4565177"/>
              <a:gd name="connsiteX3104" fmla="*/ 3147479 w 12243467"/>
              <a:gd name="connsiteY3104" fmla="*/ 440519 h 4565177"/>
              <a:gd name="connsiteX3105" fmla="*/ 3140288 w 12243467"/>
              <a:gd name="connsiteY3105" fmla="*/ 434955 h 4565177"/>
              <a:gd name="connsiteX3106" fmla="*/ 3156883 w 12243467"/>
              <a:gd name="connsiteY3106" fmla="*/ 426458 h 4565177"/>
              <a:gd name="connsiteX3107" fmla="*/ 3177350 w 12243467"/>
              <a:gd name="connsiteY3107" fmla="*/ 421906 h 4565177"/>
              <a:gd name="connsiteX3108" fmla="*/ 3208605 w 12243467"/>
              <a:gd name="connsiteY3108" fmla="*/ 412702 h 4565177"/>
              <a:gd name="connsiteX3109" fmla="*/ 3171818 w 12243467"/>
              <a:gd name="connsiteY3109" fmla="*/ 407037 h 4565177"/>
              <a:gd name="connsiteX3110" fmla="*/ 3144436 w 12243467"/>
              <a:gd name="connsiteY3110" fmla="*/ 420288 h 4565177"/>
              <a:gd name="connsiteX3111" fmla="*/ 3171818 w 12243467"/>
              <a:gd name="connsiteY3111" fmla="*/ 407037 h 4565177"/>
              <a:gd name="connsiteX3112" fmla="*/ 4904067 w 12243467"/>
              <a:gd name="connsiteY3112" fmla="*/ 403295 h 4565177"/>
              <a:gd name="connsiteX3113" fmla="*/ 4914888 w 12243467"/>
              <a:gd name="connsiteY3113" fmla="*/ 406026 h 4565177"/>
              <a:gd name="connsiteX3114" fmla="*/ 4905207 w 12243467"/>
              <a:gd name="connsiteY3114" fmla="*/ 407846 h 4565177"/>
              <a:gd name="connsiteX3115" fmla="*/ 4901335 w 12243467"/>
              <a:gd name="connsiteY3115" fmla="*/ 405419 h 4565177"/>
              <a:gd name="connsiteX3116" fmla="*/ 4904067 w 12243467"/>
              <a:gd name="connsiteY3116" fmla="*/ 403295 h 4565177"/>
              <a:gd name="connsiteX3117" fmla="*/ 3285221 w 12243467"/>
              <a:gd name="connsiteY3117" fmla="*/ 393685 h 4565177"/>
              <a:gd name="connsiteX3118" fmla="*/ 3252860 w 12243467"/>
              <a:gd name="connsiteY3118" fmla="*/ 405621 h 4565177"/>
              <a:gd name="connsiteX3119" fmla="*/ 3285221 w 12243467"/>
              <a:gd name="connsiteY3119" fmla="*/ 393685 h 4565177"/>
              <a:gd name="connsiteX3120" fmla="*/ 3035610 w 12243467"/>
              <a:gd name="connsiteY3120" fmla="*/ 393567 h 4565177"/>
              <a:gd name="connsiteX3121" fmla="*/ 3040438 w 12243467"/>
              <a:gd name="connsiteY3121" fmla="*/ 396113 h 4565177"/>
              <a:gd name="connsiteX3122" fmla="*/ 3026056 w 12243467"/>
              <a:gd name="connsiteY3122" fmla="*/ 408656 h 4565177"/>
              <a:gd name="connsiteX3123" fmla="*/ 3020246 w 12243467"/>
              <a:gd name="connsiteY3123" fmla="*/ 400664 h 4565177"/>
              <a:gd name="connsiteX3124" fmla="*/ 3035610 w 12243467"/>
              <a:gd name="connsiteY3124" fmla="*/ 393567 h 4565177"/>
              <a:gd name="connsiteX3125" fmla="*/ 4315241 w 12243467"/>
              <a:gd name="connsiteY3125" fmla="*/ 389942 h 4565177"/>
              <a:gd name="connsiteX3126" fmla="*/ 4321049 w 12243467"/>
              <a:gd name="connsiteY3126" fmla="*/ 397225 h 4565177"/>
              <a:gd name="connsiteX3127" fmla="*/ 4318837 w 12243467"/>
              <a:gd name="connsiteY3127" fmla="*/ 399451 h 4565177"/>
              <a:gd name="connsiteX3128" fmla="*/ 4316624 w 12243467"/>
              <a:gd name="connsiteY3128" fmla="*/ 398439 h 4565177"/>
              <a:gd name="connsiteX3129" fmla="*/ 4309157 w 12243467"/>
              <a:gd name="connsiteY3129" fmla="*/ 395910 h 4565177"/>
              <a:gd name="connsiteX3130" fmla="*/ 4315241 w 12243467"/>
              <a:gd name="connsiteY3130" fmla="*/ 389942 h 4565177"/>
              <a:gd name="connsiteX3131" fmla="*/ 4001036 w 12243467"/>
              <a:gd name="connsiteY3131" fmla="*/ 373454 h 4565177"/>
              <a:gd name="connsiteX3132" fmla="*/ 4006844 w 12243467"/>
              <a:gd name="connsiteY3132" fmla="*/ 380839 h 4565177"/>
              <a:gd name="connsiteX3133" fmla="*/ 3994396 w 12243467"/>
              <a:gd name="connsiteY3133" fmla="*/ 385896 h 4565177"/>
              <a:gd name="connsiteX3134" fmla="*/ 3981950 w 12243467"/>
              <a:gd name="connsiteY3134" fmla="*/ 382457 h 4565177"/>
              <a:gd name="connsiteX3135" fmla="*/ 4001036 w 12243467"/>
              <a:gd name="connsiteY3135" fmla="*/ 373454 h 4565177"/>
              <a:gd name="connsiteX3136" fmla="*/ 2931462 w 12243467"/>
              <a:gd name="connsiteY3136" fmla="*/ 370926 h 4565177"/>
              <a:gd name="connsiteX3137" fmla="*/ 2918739 w 12243467"/>
              <a:gd name="connsiteY3137" fmla="*/ 383064 h 4565177"/>
              <a:gd name="connsiteX3138" fmla="*/ 2931462 w 12243467"/>
              <a:gd name="connsiteY3138" fmla="*/ 370926 h 4565177"/>
              <a:gd name="connsiteX3139" fmla="*/ 2988439 w 12243467"/>
              <a:gd name="connsiteY3139" fmla="*/ 365767 h 4565177"/>
              <a:gd name="connsiteX3140" fmla="*/ 3000886 w 12243467"/>
              <a:gd name="connsiteY3140" fmla="*/ 372241 h 4565177"/>
              <a:gd name="connsiteX3141" fmla="*/ 2979865 w 12243467"/>
              <a:gd name="connsiteY3141" fmla="*/ 381446 h 4565177"/>
              <a:gd name="connsiteX3142" fmla="*/ 2971566 w 12243467"/>
              <a:gd name="connsiteY3142" fmla="*/ 379220 h 4565177"/>
              <a:gd name="connsiteX3143" fmla="*/ 2968802 w 12243467"/>
              <a:gd name="connsiteY3143" fmla="*/ 372342 h 4565177"/>
              <a:gd name="connsiteX3144" fmla="*/ 2979312 w 12243467"/>
              <a:gd name="connsiteY3144" fmla="*/ 367790 h 4565177"/>
              <a:gd name="connsiteX3145" fmla="*/ 2988439 w 12243467"/>
              <a:gd name="connsiteY3145" fmla="*/ 365767 h 4565177"/>
              <a:gd name="connsiteX3146" fmla="*/ 4022332 w 12243467"/>
              <a:gd name="connsiteY3146" fmla="*/ 364148 h 4565177"/>
              <a:gd name="connsiteX3147" fmla="*/ 4032290 w 12243467"/>
              <a:gd name="connsiteY3147" fmla="*/ 372139 h 4565177"/>
              <a:gd name="connsiteX3148" fmla="*/ 4019843 w 12243467"/>
              <a:gd name="connsiteY3148" fmla="*/ 375478 h 4565177"/>
              <a:gd name="connsiteX3149" fmla="*/ 4020120 w 12243467"/>
              <a:gd name="connsiteY3149" fmla="*/ 369712 h 4565177"/>
              <a:gd name="connsiteX3150" fmla="*/ 4022332 w 12243467"/>
              <a:gd name="connsiteY3150" fmla="*/ 364148 h 4565177"/>
              <a:gd name="connsiteX3151" fmla="*/ 3069203 w 12243467"/>
              <a:gd name="connsiteY3151" fmla="*/ 361620 h 4565177"/>
              <a:gd name="connsiteX3152" fmla="*/ 3018311 w 12243467"/>
              <a:gd name="connsiteY3152" fmla="*/ 384278 h 4565177"/>
              <a:gd name="connsiteX3153" fmla="*/ 3024672 w 12243467"/>
              <a:gd name="connsiteY3153" fmla="*/ 369105 h 4565177"/>
              <a:gd name="connsiteX3154" fmla="*/ 3069203 w 12243467"/>
              <a:gd name="connsiteY3154" fmla="*/ 361620 h 4565177"/>
              <a:gd name="connsiteX3155" fmla="*/ 3000609 w 12243467"/>
              <a:gd name="connsiteY3155" fmla="*/ 358180 h 4565177"/>
              <a:gd name="connsiteX3156" fmla="*/ 3015544 w 12243467"/>
              <a:gd name="connsiteY3156" fmla="*/ 364047 h 4565177"/>
              <a:gd name="connsiteX3157" fmla="*/ 3010289 w 12243467"/>
              <a:gd name="connsiteY3157" fmla="*/ 369611 h 4565177"/>
              <a:gd name="connsiteX3158" fmla="*/ 3000609 w 12243467"/>
              <a:gd name="connsiteY3158" fmla="*/ 358180 h 4565177"/>
              <a:gd name="connsiteX3159" fmla="*/ 3091884 w 12243467"/>
              <a:gd name="connsiteY3159" fmla="*/ 349987 h 4565177"/>
              <a:gd name="connsiteX3160" fmla="*/ 3081650 w 12243467"/>
              <a:gd name="connsiteY3160" fmla="*/ 363339 h 4565177"/>
              <a:gd name="connsiteX3161" fmla="*/ 3084692 w 12243467"/>
              <a:gd name="connsiteY3161" fmla="*/ 358180 h 4565177"/>
              <a:gd name="connsiteX3162" fmla="*/ 3077502 w 12243467"/>
              <a:gd name="connsiteY3162" fmla="*/ 353123 h 4565177"/>
              <a:gd name="connsiteX3163" fmla="*/ 3086352 w 12243467"/>
              <a:gd name="connsiteY3163" fmla="*/ 355652 h 4565177"/>
              <a:gd name="connsiteX3164" fmla="*/ 3091884 w 12243467"/>
              <a:gd name="connsiteY3164" fmla="*/ 349987 h 4565177"/>
              <a:gd name="connsiteX3165" fmla="*/ 3048736 w 12243467"/>
              <a:gd name="connsiteY3165" fmla="*/ 323789 h 4565177"/>
              <a:gd name="connsiteX3166" fmla="*/ 3049013 w 12243467"/>
              <a:gd name="connsiteY3166" fmla="*/ 330768 h 4565177"/>
              <a:gd name="connsiteX3167" fmla="*/ 3036290 w 12243467"/>
              <a:gd name="connsiteY3167" fmla="*/ 335927 h 4565177"/>
              <a:gd name="connsiteX3168" fmla="*/ 3050672 w 12243467"/>
              <a:gd name="connsiteY3168" fmla="*/ 335017 h 4565177"/>
              <a:gd name="connsiteX3169" fmla="*/ 3045140 w 12243467"/>
              <a:gd name="connsiteY3169" fmla="*/ 345638 h 4565177"/>
              <a:gd name="connsiteX3170" fmla="*/ 3032969 w 12243467"/>
              <a:gd name="connsiteY3170" fmla="*/ 364654 h 4565177"/>
              <a:gd name="connsiteX3171" fmla="*/ 3018864 w 12243467"/>
              <a:gd name="connsiteY3171" fmla="*/ 353831 h 4565177"/>
              <a:gd name="connsiteX3172" fmla="*/ 3032694 w 12243467"/>
              <a:gd name="connsiteY3172" fmla="*/ 339063 h 4565177"/>
              <a:gd name="connsiteX3173" fmla="*/ 3022460 w 12243467"/>
              <a:gd name="connsiteY3173" fmla="*/ 331982 h 4565177"/>
              <a:gd name="connsiteX3174" fmla="*/ 3048736 w 12243467"/>
              <a:gd name="connsiteY3174" fmla="*/ 323789 h 4565177"/>
              <a:gd name="connsiteX3175" fmla="*/ 2996184 w 12243467"/>
              <a:gd name="connsiteY3175" fmla="*/ 323485 h 4565177"/>
              <a:gd name="connsiteX3176" fmla="*/ 2998120 w 12243467"/>
              <a:gd name="connsiteY3176" fmla="*/ 331679 h 4565177"/>
              <a:gd name="connsiteX3177" fmla="*/ 2992588 w 12243467"/>
              <a:gd name="connsiteY3177" fmla="*/ 326722 h 4565177"/>
              <a:gd name="connsiteX3178" fmla="*/ 2996184 w 12243467"/>
              <a:gd name="connsiteY3178" fmla="*/ 323485 h 4565177"/>
              <a:gd name="connsiteX3179" fmla="*/ 3012503 w 12243467"/>
              <a:gd name="connsiteY3179" fmla="*/ 313066 h 4565177"/>
              <a:gd name="connsiteX3180" fmla="*/ 3021907 w 12243467"/>
              <a:gd name="connsiteY3180" fmla="*/ 318023 h 4565177"/>
              <a:gd name="connsiteX3181" fmla="*/ 3015821 w 12243467"/>
              <a:gd name="connsiteY3181" fmla="*/ 321766 h 4565177"/>
              <a:gd name="connsiteX3182" fmla="*/ 3012778 w 12243467"/>
              <a:gd name="connsiteY3182" fmla="*/ 316809 h 4565177"/>
              <a:gd name="connsiteX3183" fmla="*/ 3012503 w 12243467"/>
              <a:gd name="connsiteY3183" fmla="*/ 313066 h 4565177"/>
              <a:gd name="connsiteX3184" fmla="*/ 2989545 w 12243467"/>
              <a:gd name="connsiteY3184" fmla="*/ 311347 h 4565177"/>
              <a:gd name="connsiteX3185" fmla="*/ 2995907 w 12243467"/>
              <a:gd name="connsiteY3185" fmla="*/ 314685 h 4565177"/>
              <a:gd name="connsiteX3186" fmla="*/ 2982355 w 12243467"/>
              <a:gd name="connsiteY3186" fmla="*/ 319844 h 4565177"/>
              <a:gd name="connsiteX3187" fmla="*/ 2989545 w 12243467"/>
              <a:gd name="connsiteY3187" fmla="*/ 311347 h 4565177"/>
              <a:gd name="connsiteX3188" fmla="*/ 3101012 w 12243467"/>
              <a:gd name="connsiteY3188" fmla="*/ 310335 h 4565177"/>
              <a:gd name="connsiteX3189" fmla="*/ 3105161 w 12243467"/>
              <a:gd name="connsiteY3189" fmla="*/ 321159 h 4565177"/>
              <a:gd name="connsiteX3190" fmla="*/ 3075012 w 12243467"/>
              <a:gd name="connsiteY3190" fmla="*/ 339467 h 4565177"/>
              <a:gd name="connsiteX3191" fmla="*/ 3073629 w 12243467"/>
              <a:gd name="connsiteY3191" fmla="*/ 339568 h 4565177"/>
              <a:gd name="connsiteX3192" fmla="*/ 3062289 w 12243467"/>
              <a:gd name="connsiteY3192" fmla="*/ 332892 h 4565177"/>
              <a:gd name="connsiteX3193" fmla="*/ 3060629 w 12243467"/>
              <a:gd name="connsiteY3193" fmla="*/ 331476 h 4565177"/>
              <a:gd name="connsiteX3194" fmla="*/ 3065885 w 12243467"/>
              <a:gd name="connsiteY3194" fmla="*/ 322777 h 4565177"/>
              <a:gd name="connsiteX3195" fmla="*/ 3101012 w 12243467"/>
              <a:gd name="connsiteY3195" fmla="*/ 310335 h 4565177"/>
              <a:gd name="connsiteX3196" fmla="*/ 4531811 w 12243467"/>
              <a:gd name="connsiteY3196" fmla="*/ 306795 h 4565177"/>
              <a:gd name="connsiteX3197" fmla="*/ 4462941 w 12243467"/>
              <a:gd name="connsiteY3197" fmla="*/ 317315 h 4565177"/>
              <a:gd name="connsiteX3198" fmla="*/ 4531811 w 12243467"/>
              <a:gd name="connsiteY3198" fmla="*/ 306795 h 4565177"/>
              <a:gd name="connsiteX3199" fmla="*/ 2934228 w 12243467"/>
              <a:gd name="connsiteY3199" fmla="*/ 304772 h 4565177"/>
              <a:gd name="connsiteX3200" fmla="*/ 2929802 w 12243467"/>
              <a:gd name="connsiteY3200" fmla="*/ 311752 h 4565177"/>
              <a:gd name="connsiteX3201" fmla="*/ 2931462 w 12243467"/>
              <a:gd name="connsiteY3201" fmla="*/ 308009 h 4565177"/>
              <a:gd name="connsiteX3202" fmla="*/ 2934228 w 12243467"/>
              <a:gd name="connsiteY3202" fmla="*/ 304772 h 4565177"/>
              <a:gd name="connsiteX3203" fmla="*/ 4202670 w 12243467"/>
              <a:gd name="connsiteY3203" fmla="*/ 304266 h 4565177"/>
              <a:gd name="connsiteX3204" fmla="*/ 4186073 w 12243467"/>
              <a:gd name="connsiteY3204" fmla="*/ 316405 h 4565177"/>
              <a:gd name="connsiteX3205" fmla="*/ 4202670 w 12243467"/>
              <a:gd name="connsiteY3205" fmla="*/ 304266 h 4565177"/>
              <a:gd name="connsiteX3206" fmla="*/ 4705060 w 12243467"/>
              <a:gd name="connsiteY3206" fmla="*/ 299714 h 4565177"/>
              <a:gd name="connsiteX3207" fmla="*/ 4725148 w 12243467"/>
              <a:gd name="connsiteY3207" fmla="*/ 303052 h 4565177"/>
              <a:gd name="connsiteX3208" fmla="*/ 4717126 w 12243467"/>
              <a:gd name="connsiteY3208" fmla="*/ 305480 h 4565177"/>
              <a:gd name="connsiteX3209" fmla="*/ 4706893 w 12243467"/>
              <a:gd name="connsiteY3209" fmla="*/ 305075 h 4565177"/>
              <a:gd name="connsiteX3210" fmla="*/ 4688914 w 12243467"/>
              <a:gd name="connsiteY3210" fmla="*/ 303659 h 4565177"/>
              <a:gd name="connsiteX3211" fmla="*/ 4705060 w 12243467"/>
              <a:gd name="connsiteY3211" fmla="*/ 299714 h 4565177"/>
              <a:gd name="connsiteX3212" fmla="*/ 4590171 w 12243467"/>
              <a:gd name="connsiteY3212" fmla="*/ 292533 h 4565177"/>
              <a:gd name="connsiteX3213" fmla="*/ 4611193 w 12243467"/>
              <a:gd name="connsiteY3213" fmla="*/ 294859 h 4565177"/>
              <a:gd name="connsiteX3214" fmla="*/ 4644661 w 12243467"/>
              <a:gd name="connsiteY3214" fmla="*/ 296174 h 4565177"/>
              <a:gd name="connsiteX3215" fmla="*/ 4653234 w 12243467"/>
              <a:gd name="connsiteY3215" fmla="*/ 301737 h 4565177"/>
              <a:gd name="connsiteX3216" fmla="*/ 4547854 w 12243467"/>
              <a:gd name="connsiteY3216" fmla="*/ 310942 h 4565177"/>
              <a:gd name="connsiteX3217" fmla="*/ 4573576 w 12243467"/>
              <a:gd name="connsiteY3217" fmla="*/ 302243 h 4565177"/>
              <a:gd name="connsiteX3218" fmla="*/ 4570257 w 12243467"/>
              <a:gd name="connsiteY3218" fmla="*/ 294960 h 4565177"/>
              <a:gd name="connsiteX3219" fmla="*/ 4590171 w 12243467"/>
              <a:gd name="connsiteY3219" fmla="*/ 292533 h 4565177"/>
              <a:gd name="connsiteX3220" fmla="*/ 3040438 w 12243467"/>
              <a:gd name="connsiteY3220" fmla="*/ 290712 h 4565177"/>
              <a:gd name="connsiteX3221" fmla="*/ 3040992 w 12243467"/>
              <a:gd name="connsiteY3221" fmla="*/ 311448 h 4565177"/>
              <a:gd name="connsiteX3222" fmla="*/ 3032417 w 12243467"/>
              <a:gd name="connsiteY3222" fmla="*/ 312662 h 4565177"/>
              <a:gd name="connsiteX3223" fmla="*/ 3023289 w 12243467"/>
              <a:gd name="connsiteY3223" fmla="*/ 310639 h 4565177"/>
              <a:gd name="connsiteX3224" fmla="*/ 3049289 w 12243467"/>
              <a:gd name="connsiteY3224" fmla="*/ 300321 h 4565177"/>
              <a:gd name="connsiteX3225" fmla="*/ 3040438 w 12243467"/>
              <a:gd name="connsiteY3225" fmla="*/ 290712 h 4565177"/>
              <a:gd name="connsiteX3226" fmla="*/ 4485897 w 12243467"/>
              <a:gd name="connsiteY3226" fmla="*/ 283227 h 4565177"/>
              <a:gd name="connsiteX3227" fmla="*/ 4499726 w 12243467"/>
              <a:gd name="connsiteY3227" fmla="*/ 287070 h 4565177"/>
              <a:gd name="connsiteX3228" fmla="*/ 4460174 w 12243467"/>
              <a:gd name="connsiteY3228" fmla="*/ 299209 h 4565177"/>
              <a:gd name="connsiteX3229" fmla="*/ 4447451 w 12243467"/>
              <a:gd name="connsiteY3229" fmla="*/ 299107 h 4565177"/>
              <a:gd name="connsiteX3230" fmla="*/ 4431132 w 12243467"/>
              <a:gd name="connsiteY3230" fmla="*/ 291015 h 4565177"/>
              <a:gd name="connsiteX3231" fmla="*/ 4489769 w 12243467"/>
              <a:gd name="connsiteY3231" fmla="*/ 288284 h 4565177"/>
              <a:gd name="connsiteX3232" fmla="*/ 4485897 w 12243467"/>
              <a:gd name="connsiteY3232" fmla="*/ 283227 h 4565177"/>
              <a:gd name="connsiteX3233" fmla="*/ 2984290 w 12243467"/>
              <a:gd name="connsiteY3233" fmla="*/ 279750 h 4565177"/>
              <a:gd name="connsiteX3234" fmla="*/ 3001992 w 12243467"/>
              <a:gd name="connsiteY3234" fmla="*/ 282417 h 4565177"/>
              <a:gd name="connsiteX3235" fmla="*/ 2974610 w 12243467"/>
              <a:gd name="connsiteY3235" fmla="*/ 300321 h 4565177"/>
              <a:gd name="connsiteX3236" fmla="*/ 2966865 w 12243467"/>
              <a:gd name="connsiteY3236" fmla="*/ 303558 h 4565177"/>
              <a:gd name="connsiteX3237" fmla="*/ 2960504 w 12243467"/>
              <a:gd name="connsiteY3237" fmla="*/ 303862 h 4565177"/>
              <a:gd name="connsiteX3238" fmla="*/ 2955525 w 12243467"/>
              <a:gd name="connsiteY3238" fmla="*/ 302243 h 4565177"/>
              <a:gd name="connsiteX3239" fmla="*/ 2980694 w 12243467"/>
              <a:gd name="connsiteY3239" fmla="*/ 284744 h 4565177"/>
              <a:gd name="connsiteX3240" fmla="*/ 2984290 w 12243467"/>
              <a:gd name="connsiteY3240" fmla="*/ 279750 h 4565177"/>
              <a:gd name="connsiteX3241" fmla="*/ 3113181 w 12243467"/>
              <a:gd name="connsiteY3241" fmla="*/ 278978 h 4565177"/>
              <a:gd name="connsiteX3242" fmla="*/ 3108203 w 12243467"/>
              <a:gd name="connsiteY3242" fmla="*/ 284845 h 4565177"/>
              <a:gd name="connsiteX3243" fmla="*/ 3070587 w 12243467"/>
              <a:gd name="connsiteY3243" fmla="*/ 297894 h 4565177"/>
              <a:gd name="connsiteX3244" fmla="*/ 3067544 w 12243467"/>
              <a:gd name="connsiteY3244" fmla="*/ 299107 h 4565177"/>
              <a:gd name="connsiteX3245" fmla="*/ 3065055 w 12243467"/>
              <a:gd name="connsiteY3245" fmla="*/ 296781 h 4565177"/>
              <a:gd name="connsiteX3246" fmla="*/ 3102671 w 12243467"/>
              <a:gd name="connsiteY3246" fmla="*/ 283631 h 4565177"/>
              <a:gd name="connsiteX3247" fmla="*/ 3113181 w 12243467"/>
              <a:gd name="connsiteY3247" fmla="*/ 278978 h 4565177"/>
              <a:gd name="connsiteX3248" fmla="*/ 4598400 w 12243467"/>
              <a:gd name="connsiteY3248" fmla="*/ 277727 h 4565177"/>
              <a:gd name="connsiteX3249" fmla="*/ 4614788 w 12243467"/>
              <a:gd name="connsiteY3249" fmla="*/ 279585 h 4565177"/>
              <a:gd name="connsiteX3250" fmla="*/ 4598746 w 12243467"/>
              <a:gd name="connsiteY3250" fmla="*/ 284845 h 4565177"/>
              <a:gd name="connsiteX3251" fmla="*/ 4582427 w 12243467"/>
              <a:gd name="connsiteY3251" fmla="*/ 282923 h 4565177"/>
              <a:gd name="connsiteX3252" fmla="*/ 4598400 w 12243467"/>
              <a:gd name="connsiteY3252" fmla="*/ 277727 h 4565177"/>
              <a:gd name="connsiteX3253" fmla="*/ 4536582 w 12243467"/>
              <a:gd name="connsiteY3253" fmla="*/ 275729 h 4565177"/>
              <a:gd name="connsiteX3254" fmla="*/ 4543151 w 12243467"/>
              <a:gd name="connsiteY3254" fmla="*/ 275842 h 4565177"/>
              <a:gd name="connsiteX3255" fmla="*/ 4548406 w 12243467"/>
              <a:gd name="connsiteY3255" fmla="*/ 285856 h 4565177"/>
              <a:gd name="connsiteX3256" fmla="*/ 4544811 w 12243467"/>
              <a:gd name="connsiteY3256" fmla="*/ 288486 h 4565177"/>
              <a:gd name="connsiteX3257" fmla="*/ 4540939 w 12243467"/>
              <a:gd name="connsiteY3257" fmla="*/ 287981 h 4565177"/>
              <a:gd name="connsiteX3258" fmla="*/ 4534024 w 12243467"/>
              <a:gd name="connsiteY3258" fmla="*/ 286666 h 4565177"/>
              <a:gd name="connsiteX3259" fmla="*/ 4532917 w 12243467"/>
              <a:gd name="connsiteY3259" fmla="*/ 279484 h 4565177"/>
              <a:gd name="connsiteX3260" fmla="*/ 4536582 w 12243467"/>
              <a:gd name="connsiteY3260" fmla="*/ 275729 h 4565177"/>
              <a:gd name="connsiteX3261" fmla="*/ 3145819 w 12243467"/>
              <a:gd name="connsiteY3261" fmla="*/ 267346 h 4565177"/>
              <a:gd name="connsiteX3262" fmla="*/ 3134479 w 12243467"/>
              <a:gd name="connsiteY3262" fmla="*/ 277157 h 4565177"/>
              <a:gd name="connsiteX3263" fmla="*/ 3135309 w 12243467"/>
              <a:gd name="connsiteY3263" fmla="*/ 278472 h 4565177"/>
              <a:gd name="connsiteX3264" fmla="*/ 3133095 w 12243467"/>
              <a:gd name="connsiteY3264" fmla="*/ 277764 h 4565177"/>
              <a:gd name="connsiteX3265" fmla="*/ 3128117 w 12243467"/>
              <a:gd name="connsiteY3265" fmla="*/ 273718 h 4565177"/>
              <a:gd name="connsiteX3266" fmla="*/ 3145819 w 12243467"/>
              <a:gd name="connsiteY3266" fmla="*/ 267346 h 4565177"/>
              <a:gd name="connsiteX3267" fmla="*/ 3032140 w 12243467"/>
              <a:gd name="connsiteY3267" fmla="*/ 264513 h 4565177"/>
              <a:gd name="connsiteX3268" fmla="*/ 3025226 w 12243467"/>
              <a:gd name="connsiteY3268" fmla="*/ 277764 h 4565177"/>
              <a:gd name="connsiteX3269" fmla="*/ 3023289 w 12243467"/>
              <a:gd name="connsiteY3269" fmla="*/ 273415 h 4565177"/>
              <a:gd name="connsiteX3270" fmla="*/ 3019971 w 12243467"/>
              <a:gd name="connsiteY3270" fmla="*/ 283530 h 4565177"/>
              <a:gd name="connsiteX3271" fmla="*/ 3009460 w 12243467"/>
              <a:gd name="connsiteY3271" fmla="*/ 288183 h 4565177"/>
              <a:gd name="connsiteX3272" fmla="*/ 3013886 w 12243467"/>
              <a:gd name="connsiteY3272" fmla="*/ 280293 h 4565177"/>
              <a:gd name="connsiteX3273" fmla="*/ 3002268 w 12243467"/>
              <a:gd name="connsiteY3273" fmla="*/ 275741 h 4565177"/>
              <a:gd name="connsiteX3274" fmla="*/ 3032140 w 12243467"/>
              <a:gd name="connsiteY3274" fmla="*/ 264513 h 4565177"/>
              <a:gd name="connsiteX3275" fmla="*/ 3168222 w 12243467"/>
              <a:gd name="connsiteY3275" fmla="*/ 262086 h 4565177"/>
              <a:gd name="connsiteX3276" fmla="*/ 3161031 w 12243467"/>
              <a:gd name="connsiteY3276" fmla="*/ 268357 h 4565177"/>
              <a:gd name="connsiteX3277" fmla="*/ 3154947 w 12243467"/>
              <a:gd name="connsiteY3277" fmla="*/ 265019 h 4565177"/>
              <a:gd name="connsiteX3278" fmla="*/ 3168222 w 12243467"/>
              <a:gd name="connsiteY3278" fmla="*/ 262086 h 4565177"/>
              <a:gd name="connsiteX3279" fmla="*/ 3205009 w 12243467"/>
              <a:gd name="connsiteY3279" fmla="*/ 246369 h 4565177"/>
              <a:gd name="connsiteX3280" fmla="*/ 3219116 w 12243467"/>
              <a:gd name="connsiteY3280" fmla="*/ 246508 h 4565177"/>
              <a:gd name="connsiteX3281" fmla="*/ 3192562 w 12243467"/>
              <a:gd name="connsiteY3281" fmla="*/ 254803 h 4565177"/>
              <a:gd name="connsiteX3282" fmla="*/ 3205009 w 12243467"/>
              <a:gd name="connsiteY3282" fmla="*/ 246369 h 4565177"/>
              <a:gd name="connsiteX3283" fmla="*/ 2888866 w 12243467"/>
              <a:gd name="connsiteY3283" fmla="*/ 239731 h 4565177"/>
              <a:gd name="connsiteX3284" fmla="*/ 2876144 w 12243467"/>
              <a:gd name="connsiteY3284" fmla="*/ 253791 h 4565177"/>
              <a:gd name="connsiteX3285" fmla="*/ 2888866 w 12243467"/>
              <a:gd name="connsiteY3285" fmla="*/ 239731 h 4565177"/>
              <a:gd name="connsiteX3286" fmla="*/ 4448004 w 12243467"/>
              <a:gd name="connsiteY3286" fmla="*/ 231538 h 4565177"/>
              <a:gd name="connsiteX3287" fmla="*/ 4451047 w 12243467"/>
              <a:gd name="connsiteY3287" fmla="*/ 241046 h 4565177"/>
              <a:gd name="connsiteX3288" fmla="*/ 4444132 w 12243467"/>
              <a:gd name="connsiteY3288" fmla="*/ 240237 h 4565177"/>
              <a:gd name="connsiteX3289" fmla="*/ 4441919 w 12243467"/>
              <a:gd name="connsiteY3289" fmla="*/ 237910 h 4565177"/>
              <a:gd name="connsiteX3290" fmla="*/ 4448004 w 12243467"/>
              <a:gd name="connsiteY3290" fmla="*/ 231538 h 4565177"/>
              <a:gd name="connsiteX3291" fmla="*/ 2901901 w 12243467"/>
              <a:gd name="connsiteY3291" fmla="*/ 230273 h 4565177"/>
              <a:gd name="connsiteX3292" fmla="*/ 2906291 w 12243467"/>
              <a:gd name="connsiteY3292" fmla="*/ 233257 h 4565177"/>
              <a:gd name="connsiteX3293" fmla="*/ 2901590 w 12243467"/>
              <a:gd name="connsiteY3293" fmla="*/ 234269 h 4565177"/>
              <a:gd name="connsiteX3294" fmla="*/ 2904633 w 12243467"/>
              <a:gd name="connsiteY3294" fmla="*/ 235988 h 4565177"/>
              <a:gd name="connsiteX3295" fmla="*/ 2898824 w 12243467"/>
              <a:gd name="connsiteY3295" fmla="*/ 239731 h 4565177"/>
              <a:gd name="connsiteX3296" fmla="*/ 2896058 w 12243467"/>
              <a:gd name="connsiteY3296" fmla="*/ 233055 h 4565177"/>
              <a:gd name="connsiteX3297" fmla="*/ 2901901 w 12243467"/>
              <a:gd name="connsiteY3297" fmla="*/ 230273 h 4565177"/>
              <a:gd name="connsiteX3298" fmla="*/ 4492915 w 12243467"/>
              <a:gd name="connsiteY3298" fmla="*/ 224925 h 4565177"/>
              <a:gd name="connsiteX3299" fmla="*/ 4501939 w 12243467"/>
              <a:gd name="connsiteY3299" fmla="*/ 228503 h 4565177"/>
              <a:gd name="connsiteX3300" fmla="*/ 4481748 w 12243467"/>
              <a:gd name="connsiteY3300" fmla="*/ 235280 h 4565177"/>
              <a:gd name="connsiteX3301" fmla="*/ 4481195 w 12243467"/>
              <a:gd name="connsiteY3301" fmla="*/ 226278 h 4565177"/>
              <a:gd name="connsiteX3302" fmla="*/ 4492915 w 12243467"/>
              <a:gd name="connsiteY3302" fmla="*/ 224925 h 4565177"/>
              <a:gd name="connsiteX3303" fmla="*/ 4560023 w 12243467"/>
              <a:gd name="connsiteY3303" fmla="*/ 201192 h 4565177"/>
              <a:gd name="connsiteX3304" fmla="*/ 4566661 w 12243467"/>
              <a:gd name="connsiteY3304" fmla="*/ 206148 h 4565177"/>
              <a:gd name="connsiteX3305" fmla="*/ 4574682 w 12243467"/>
              <a:gd name="connsiteY3305" fmla="*/ 202709 h 4565177"/>
              <a:gd name="connsiteX3306" fmla="*/ 4557810 w 12243467"/>
              <a:gd name="connsiteY3306" fmla="*/ 211611 h 4565177"/>
              <a:gd name="connsiteX3307" fmla="*/ 4563620 w 12243467"/>
              <a:gd name="connsiteY3307" fmla="*/ 207969 h 4565177"/>
              <a:gd name="connsiteX3308" fmla="*/ 4560023 w 12243467"/>
              <a:gd name="connsiteY3308" fmla="*/ 201192 h 4565177"/>
              <a:gd name="connsiteX3309" fmla="*/ 4503045 w 12243467"/>
              <a:gd name="connsiteY3309" fmla="*/ 198967 h 4565177"/>
              <a:gd name="connsiteX3310" fmla="*/ 4547576 w 12243467"/>
              <a:gd name="connsiteY3310" fmla="*/ 206148 h 4565177"/>
              <a:gd name="connsiteX3311" fmla="*/ 4519089 w 12243467"/>
              <a:gd name="connsiteY3311" fmla="*/ 213634 h 4565177"/>
              <a:gd name="connsiteX3312" fmla="*/ 4488663 w 12243467"/>
              <a:gd name="connsiteY3312" fmla="*/ 210801 h 4565177"/>
              <a:gd name="connsiteX3313" fmla="*/ 4503045 w 12243467"/>
              <a:gd name="connsiteY3313" fmla="*/ 198967 h 4565177"/>
              <a:gd name="connsiteX3314" fmla="*/ 2985120 w 12243467"/>
              <a:gd name="connsiteY3314" fmla="*/ 194920 h 4565177"/>
              <a:gd name="connsiteX3315" fmla="*/ 2949717 w 12243467"/>
              <a:gd name="connsiteY3315" fmla="*/ 223951 h 4565177"/>
              <a:gd name="connsiteX3316" fmla="*/ 2920952 w 12243467"/>
              <a:gd name="connsiteY3316" fmla="*/ 233965 h 4565177"/>
              <a:gd name="connsiteX3317" fmla="*/ 2908504 w 12243467"/>
              <a:gd name="connsiteY3317" fmla="*/ 233055 h 4565177"/>
              <a:gd name="connsiteX3318" fmla="*/ 2906569 w 12243467"/>
              <a:gd name="connsiteY3318" fmla="*/ 229616 h 4565177"/>
              <a:gd name="connsiteX3319" fmla="*/ 2909888 w 12243467"/>
              <a:gd name="connsiteY3319" fmla="*/ 230425 h 4565177"/>
              <a:gd name="connsiteX3320" fmla="*/ 2985120 w 12243467"/>
              <a:gd name="connsiteY3320" fmla="*/ 194920 h 4565177"/>
              <a:gd name="connsiteX3321" fmla="*/ 4462663 w 12243467"/>
              <a:gd name="connsiteY3321" fmla="*/ 183591 h 4565177"/>
              <a:gd name="connsiteX3322" fmla="*/ 4472067 w 12243467"/>
              <a:gd name="connsiteY3322" fmla="*/ 184502 h 4565177"/>
              <a:gd name="connsiteX3323" fmla="*/ 4479536 w 12243467"/>
              <a:gd name="connsiteY3323" fmla="*/ 194314 h 4565177"/>
              <a:gd name="connsiteX3324" fmla="*/ 4455472 w 12243467"/>
              <a:gd name="connsiteY3324" fmla="*/ 196134 h 4565177"/>
              <a:gd name="connsiteX3325" fmla="*/ 4449111 w 12243467"/>
              <a:gd name="connsiteY3325" fmla="*/ 191582 h 4565177"/>
              <a:gd name="connsiteX3326" fmla="*/ 4450493 w 12243467"/>
              <a:gd name="connsiteY3326" fmla="*/ 184502 h 4565177"/>
              <a:gd name="connsiteX3327" fmla="*/ 4462663 w 12243467"/>
              <a:gd name="connsiteY3327" fmla="*/ 183591 h 4565177"/>
              <a:gd name="connsiteX3328" fmla="*/ 4487556 w 12243467"/>
              <a:gd name="connsiteY3328" fmla="*/ 181568 h 4565177"/>
              <a:gd name="connsiteX3329" fmla="*/ 4497790 w 12243467"/>
              <a:gd name="connsiteY3329" fmla="*/ 191481 h 4565177"/>
              <a:gd name="connsiteX3330" fmla="*/ 4489769 w 12243467"/>
              <a:gd name="connsiteY3330" fmla="*/ 195022 h 4565177"/>
              <a:gd name="connsiteX3331" fmla="*/ 4487556 w 12243467"/>
              <a:gd name="connsiteY3331" fmla="*/ 181568 h 4565177"/>
              <a:gd name="connsiteX3332" fmla="*/ 4417304 w 12243467"/>
              <a:gd name="connsiteY3332" fmla="*/ 171352 h 4565177"/>
              <a:gd name="connsiteX3333" fmla="*/ 4399049 w 12243467"/>
              <a:gd name="connsiteY3333" fmla="*/ 178433 h 4565177"/>
              <a:gd name="connsiteX3334" fmla="*/ 4417304 w 12243467"/>
              <a:gd name="connsiteY3334" fmla="*/ 171352 h 4565177"/>
              <a:gd name="connsiteX3335" fmla="*/ 4605660 w 12243467"/>
              <a:gd name="connsiteY3335" fmla="*/ 169734 h 4565177"/>
              <a:gd name="connsiteX3336" fmla="*/ 4603171 w 12243467"/>
              <a:gd name="connsiteY3336" fmla="*/ 180759 h 4565177"/>
              <a:gd name="connsiteX3337" fmla="*/ 4565556 w 12243467"/>
              <a:gd name="connsiteY3337" fmla="*/ 187941 h 4565177"/>
              <a:gd name="connsiteX3338" fmla="*/ 4557810 w 12243467"/>
              <a:gd name="connsiteY3338" fmla="*/ 178028 h 4565177"/>
              <a:gd name="connsiteX3339" fmla="*/ 4556981 w 12243467"/>
              <a:gd name="connsiteY3339" fmla="*/ 176207 h 4565177"/>
              <a:gd name="connsiteX3340" fmla="*/ 4566661 w 12243467"/>
              <a:gd name="connsiteY3340" fmla="*/ 169835 h 4565177"/>
              <a:gd name="connsiteX3341" fmla="*/ 4605660 w 12243467"/>
              <a:gd name="connsiteY3341" fmla="*/ 169734 h 4565177"/>
              <a:gd name="connsiteX3342" fmla="*/ 2984013 w 12243467"/>
              <a:gd name="connsiteY3342" fmla="*/ 167205 h 4565177"/>
              <a:gd name="connsiteX3343" fmla="*/ 2967419 w 12243467"/>
              <a:gd name="connsiteY3343" fmla="*/ 194111 h 4565177"/>
              <a:gd name="connsiteX3344" fmla="*/ 2952206 w 12243467"/>
              <a:gd name="connsiteY3344" fmla="*/ 199776 h 4565177"/>
              <a:gd name="connsiteX3345" fmla="*/ 2956631 w 12243467"/>
              <a:gd name="connsiteY3345" fmla="*/ 191886 h 4565177"/>
              <a:gd name="connsiteX3346" fmla="*/ 2928973 w 12243467"/>
              <a:gd name="connsiteY3346" fmla="*/ 197854 h 4565177"/>
              <a:gd name="connsiteX3347" fmla="*/ 2910718 w 12243467"/>
              <a:gd name="connsiteY3347" fmla="*/ 220613 h 4565177"/>
              <a:gd name="connsiteX3348" fmla="*/ 2904909 w 12243467"/>
              <a:gd name="connsiteY3348" fmla="*/ 212521 h 4565177"/>
              <a:gd name="connsiteX3349" fmla="*/ 2894675 w 12243467"/>
              <a:gd name="connsiteY3349" fmla="*/ 224052 h 4565177"/>
              <a:gd name="connsiteX3350" fmla="*/ 2887484 w 12243467"/>
              <a:gd name="connsiteY3350" fmla="*/ 218691 h 4565177"/>
              <a:gd name="connsiteX3351" fmla="*/ 2885825 w 12243467"/>
              <a:gd name="connsiteY3351" fmla="*/ 233055 h 4565177"/>
              <a:gd name="connsiteX3352" fmla="*/ 2870059 w 12243467"/>
              <a:gd name="connsiteY3352" fmla="*/ 224862 h 4565177"/>
              <a:gd name="connsiteX3353" fmla="*/ 2868953 w 12243467"/>
              <a:gd name="connsiteY3353" fmla="*/ 215859 h 4565177"/>
              <a:gd name="connsiteX3354" fmla="*/ 2984013 w 12243467"/>
              <a:gd name="connsiteY3354" fmla="*/ 167205 h 4565177"/>
              <a:gd name="connsiteX3355" fmla="*/ 4522130 w 12243467"/>
              <a:gd name="connsiteY3355" fmla="*/ 164676 h 4565177"/>
              <a:gd name="connsiteX3356" fmla="*/ 4550619 w 12243467"/>
              <a:gd name="connsiteY3356" fmla="*/ 165384 h 4565177"/>
              <a:gd name="connsiteX3357" fmla="*/ 4546747 w 12243467"/>
              <a:gd name="connsiteY3357" fmla="*/ 171858 h 4565177"/>
              <a:gd name="connsiteX3358" fmla="*/ 4532364 w 12243467"/>
              <a:gd name="connsiteY3358" fmla="*/ 172465 h 4565177"/>
              <a:gd name="connsiteX3359" fmla="*/ 4545918 w 12243467"/>
              <a:gd name="connsiteY3359" fmla="*/ 176308 h 4565177"/>
              <a:gd name="connsiteX3360" fmla="*/ 4534853 w 12243467"/>
              <a:gd name="connsiteY3360" fmla="*/ 184198 h 4565177"/>
              <a:gd name="connsiteX3361" fmla="*/ 4513004 w 12243467"/>
              <a:gd name="connsiteY3361" fmla="*/ 197550 h 4565177"/>
              <a:gd name="connsiteX3362" fmla="*/ 4506641 w 12243467"/>
              <a:gd name="connsiteY3362" fmla="*/ 183288 h 4565177"/>
              <a:gd name="connsiteX3363" fmla="*/ 4527385 w 12243467"/>
              <a:gd name="connsiteY3363" fmla="*/ 174285 h 4565177"/>
              <a:gd name="connsiteX3364" fmla="*/ 4522130 w 12243467"/>
              <a:gd name="connsiteY3364" fmla="*/ 164676 h 4565177"/>
              <a:gd name="connsiteX3365" fmla="*/ 3017205 w 12243467"/>
              <a:gd name="connsiteY3365" fmla="*/ 152234 h 4565177"/>
              <a:gd name="connsiteX3366" fmla="*/ 3001438 w 12243467"/>
              <a:gd name="connsiteY3366" fmla="*/ 166901 h 4565177"/>
              <a:gd name="connsiteX3367" fmla="*/ 2993695 w 12243467"/>
              <a:gd name="connsiteY3367" fmla="*/ 162046 h 4565177"/>
              <a:gd name="connsiteX3368" fmla="*/ 3017205 w 12243467"/>
              <a:gd name="connsiteY3368" fmla="*/ 152234 h 4565177"/>
              <a:gd name="connsiteX3369" fmla="*/ 4503322 w 12243467"/>
              <a:gd name="connsiteY3369" fmla="*/ 148694 h 4565177"/>
              <a:gd name="connsiteX3370" fmla="*/ 4503599 w 12243467"/>
              <a:gd name="connsiteY3370" fmla="*/ 156786 h 4565177"/>
              <a:gd name="connsiteX3371" fmla="*/ 4500281 w 12243467"/>
              <a:gd name="connsiteY3371" fmla="*/ 156685 h 4565177"/>
              <a:gd name="connsiteX3372" fmla="*/ 4498067 w 12243467"/>
              <a:gd name="connsiteY3372" fmla="*/ 150413 h 4565177"/>
              <a:gd name="connsiteX3373" fmla="*/ 4503322 w 12243467"/>
              <a:gd name="connsiteY3373" fmla="*/ 148694 h 4565177"/>
              <a:gd name="connsiteX3374" fmla="*/ 4736420 w 12243467"/>
              <a:gd name="connsiteY3374" fmla="*/ 144408 h 4565177"/>
              <a:gd name="connsiteX3375" fmla="*/ 4748934 w 12243467"/>
              <a:gd name="connsiteY3375" fmla="*/ 148997 h 4565177"/>
              <a:gd name="connsiteX3376" fmla="*/ 4743679 w 12243467"/>
              <a:gd name="connsiteY3376" fmla="*/ 150009 h 4565177"/>
              <a:gd name="connsiteX3377" fmla="*/ 4720169 w 12243467"/>
              <a:gd name="connsiteY3377" fmla="*/ 148087 h 4565177"/>
              <a:gd name="connsiteX3378" fmla="*/ 4736420 w 12243467"/>
              <a:gd name="connsiteY3378" fmla="*/ 144408 h 4565177"/>
              <a:gd name="connsiteX3379" fmla="*/ 4685804 w 12243467"/>
              <a:gd name="connsiteY3379" fmla="*/ 144408 h 4565177"/>
              <a:gd name="connsiteX3380" fmla="*/ 4694170 w 12243467"/>
              <a:gd name="connsiteY3380" fmla="*/ 147075 h 4565177"/>
              <a:gd name="connsiteX3381" fmla="*/ 4683935 w 12243467"/>
              <a:gd name="connsiteY3381" fmla="*/ 150515 h 4565177"/>
              <a:gd name="connsiteX3382" fmla="*/ 4680340 w 12243467"/>
              <a:gd name="connsiteY3382" fmla="*/ 145457 h 4565177"/>
              <a:gd name="connsiteX3383" fmla="*/ 4685804 w 12243467"/>
              <a:gd name="connsiteY3383" fmla="*/ 144408 h 4565177"/>
              <a:gd name="connsiteX3384" fmla="*/ 4523791 w 12243467"/>
              <a:gd name="connsiteY3384" fmla="*/ 144344 h 4565177"/>
              <a:gd name="connsiteX3385" fmla="*/ 4529598 w 12243467"/>
              <a:gd name="connsiteY3385" fmla="*/ 151830 h 4565177"/>
              <a:gd name="connsiteX3386" fmla="*/ 4521855 w 12243467"/>
              <a:gd name="connsiteY3386" fmla="*/ 153246 h 4565177"/>
              <a:gd name="connsiteX3387" fmla="*/ 4522130 w 12243467"/>
              <a:gd name="connsiteY3387" fmla="*/ 147783 h 4565177"/>
              <a:gd name="connsiteX3388" fmla="*/ 4523791 w 12243467"/>
              <a:gd name="connsiteY3388" fmla="*/ 144344 h 4565177"/>
              <a:gd name="connsiteX3389" fmla="*/ 4661152 w 12243467"/>
              <a:gd name="connsiteY3389" fmla="*/ 143207 h 4565177"/>
              <a:gd name="connsiteX3390" fmla="*/ 4670660 w 12243467"/>
              <a:gd name="connsiteY3390" fmla="*/ 144850 h 4565177"/>
              <a:gd name="connsiteX3391" fmla="*/ 4654894 w 12243467"/>
              <a:gd name="connsiteY3391" fmla="*/ 150009 h 4565177"/>
              <a:gd name="connsiteX3392" fmla="*/ 4654894 w 12243467"/>
              <a:gd name="connsiteY3392" fmla="*/ 151627 h 4565177"/>
              <a:gd name="connsiteX3393" fmla="*/ 4653234 w 12243467"/>
              <a:gd name="connsiteY3393" fmla="*/ 150110 h 4565177"/>
              <a:gd name="connsiteX3394" fmla="*/ 4651021 w 12243467"/>
              <a:gd name="connsiteY3394" fmla="*/ 145052 h 4565177"/>
              <a:gd name="connsiteX3395" fmla="*/ 4661152 w 12243467"/>
              <a:gd name="connsiteY3395" fmla="*/ 143207 h 4565177"/>
              <a:gd name="connsiteX3396" fmla="*/ 4602134 w 12243467"/>
              <a:gd name="connsiteY3396" fmla="*/ 142638 h 4565177"/>
              <a:gd name="connsiteX3397" fmla="*/ 4622256 w 12243467"/>
              <a:gd name="connsiteY3397" fmla="*/ 145963 h 4565177"/>
              <a:gd name="connsiteX3398" fmla="*/ 4634703 w 12243467"/>
              <a:gd name="connsiteY3398" fmla="*/ 145154 h 4565177"/>
              <a:gd name="connsiteX3399" fmla="*/ 4626405 w 12243467"/>
              <a:gd name="connsiteY3399" fmla="*/ 148795 h 4565177"/>
              <a:gd name="connsiteX3400" fmla="*/ 4604832 w 12243467"/>
              <a:gd name="connsiteY3400" fmla="*/ 149604 h 4565177"/>
              <a:gd name="connsiteX3401" fmla="*/ 4595981 w 12243467"/>
              <a:gd name="connsiteY3401" fmla="*/ 149705 h 4565177"/>
              <a:gd name="connsiteX3402" fmla="*/ 4585194 w 12243467"/>
              <a:gd name="connsiteY3402" fmla="*/ 148795 h 4565177"/>
              <a:gd name="connsiteX3403" fmla="*/ 4580767 w 12243467"/>
              <a:gd name="connsiteY3403" fmla="*/ 146064 h 4565177"/>
              <a:gd name="connsiteX3404" fmla="*/ 4602134 w 12243467"/>
              <a:gd name="connsiteY3404" fmla="*/ 142638 h 4565177"/>
              <a:gd name="connsiteX3405" fmla="*/ 4503875 w 12243467"/>
              <a:gd name="connsiteY3405" fmla="*/ 135544 h 4565177"/>
              <a:gd name="connsiteX3406" fmla="*/ 4508025 w 12243467"/>
              <a:gd name="connsiteY3406" fmla="*/ 140500 h 4565177"/>
              <a:gd name="connsiteX3407" fmla="*/ 4501110 w 12243467"/>
              <a:gd name="connsiteY3407" fmla="*/ 142625 h 4565177"/>
              <a:gd name="connsiteX3408" fmla="*/ 4492812 w 12243467"/>
              <a:gd name="connsiteY3408" fmla="*/ 141107 h 4565177"/>
              <a:gd name="connsiteX3409" fmla="*/ 4503875 w 12243467"/>
              <a:gd name="connsiteY3409" fmla="*/ 135544 h 4565177"/>
              <a:gd name="connsiteX3410" fmla="*/ 4561959 w 12243467"/>
              <a:gd name="connsiteY3410" fmla="*/ 132914 h 4565177"/>
              <a:gd name="connsiteX3411" fmla="*/ 4550619 w 12243467"/>
              <a:gd name="connsiteY3411" fmla="*/ 151830 h 4565177"/>
              <a:gd name="connsiteX3412" fmla="*/ 4535131 w 12243467"/>
              <a:gd name="connsiteY3412" fmla="*/ 145558 h 4565177"/>
              <a:gd name="connsiteX3413" fmla="*/ 4564449 w 12243467"/>
              <a:gd name="connsiteY3413" fmla="*/ 144445 h 4565177"/>
              <a:gd name="connsiteX3414" fmla="*/ 4561959 w 12243467"/>
              <a:gd name="connsiteY3414" fmla="*/ 132914 h 4565177"/>
              <a:gd name="connsiteX3415" fmla="*/ 3121064 w 12243467"/>
              <a:gd name="connsiteY3415" fmla="*/ 130702 h 4565177"/>
              <a:gd name="connsiteX3416" fmla="*/ 3133926 w 12243467"/>
              <a:gd name="connsiteY3416" fmla="*/ 133420 h 4565177"/>
              <a:gd name="connsiteX3417" fmla="*/ 3116501 w 12243467"/>
              <a:gd name="connsiteY3417" fmla="*/ 139590 h 4565177"/>
              <a:gd name="connsiteX3418" fmla="*/ 3108203 w 12243467"/>
              <a:gd name="connsiteY3418" fmla="*/ 136859 h 4565177"/>
              <a:gd name="connsiteX3419" fmla="*/ 3121064 w 12243467"/>
              <a:gd name="connsiteY3419" fmla="*/ 130702 h 4565177"/>
              <a:gd name="connsiteX3420" fmla="*/ 3171542 w 12243467"/>
              <a:gd name="connsiteY3420" fmla="*/ 113695 h 4565177"/>
              <a:gd name="connsiteX3421" fmla="*/ 3164627 w 12243467"/>
              <a:gd name="connsiteY3421" fmla="*/ 122192 h 4565177"/>
              <a:gd name="connsiteX3422" fmla="*/ 3171542 w 12243467"/>
              <a:gd name="connsiteY3422" fmla="*/ 113695 h 4565177"/>
              <a:gd name="connsiteX3423" fmla="*/ 3147202 w 12243467"/>
              <a:gd name="connsiteY3423" fmla="*/ 109750 h 4565177"/>
              <a:gd name="connsiteX3424" fmla="*/ 3079714 w 12243467"/>
              <a:gd name="connsiteY3424" fmla="*/ 140905 h 4565177"/>
              <a:gd name="connsiteX3425" fmla="*/ 3075012 w 12243467"/>
              <a:gd name="connsiteY3425" fmla="*/ 155471 h 4565177"/>
              <a:gd name="connsiteX3426" fmla="*/ 3067821 w 12243467"/>
              <a:gd name="connsiteY3426" fmla="*/ 155168 h 4565177"/>
              <a:gd name="connsiteX3427" fmla="*/ 3069480 w 12243467"/>
              <a:gd name="connsiteY3427" fmla="*/ 152538 h 4565177"/>
              <a:gd name="connsiteX3428" fmla="*/ 3058693 w 12243467"/>
              <a:gd name="connsiteY3428" fmla="*/ 138477 h 4565177"/>
              <a:gd name="connsiteX3429" fmla="*/ 3147202 w 12243467"/>
              <a:gd name="connsiteY3429" fmla="*/ 109750 h 4565177"/>
              <a:gd name="connsiteX3430" fmla="*/ 4552762 w 12243467"/>
              <a:gd name="connsiteY3430" fmla="*/ 106134 h 4565177"/>
              <a:gd name="connsiteX3431" fmla="*/ 4569428 w 12243467"/>
              <a:gd name="connsiteY3431" fmla="*/ 106513 h 4565177"/>
              <a:gd name="connsiteX3432" fmla="*/ 4555598 w 12243467"/>
              <a:gd name="connsiteY3432" fmla="*/ 116325 h 4565177"/>
              <a:gd name="connsiteX3433" fmla="*/ 4556427 w 12243467"/>
              <a:gd name="connsiteY3433" fmla="*/ 111874 h 4565177"/>
              <a:gd name="connsiteX3434" fmla="*/ 4547576 w 12243467"/>
              <a:gd name="connsiteY3434" fmla="*/ 120068 h 4565177"/>
              <a:gd name="connsiteX3435" fmla="*/ 4541215 w 12243467"/>
              <a:gd name="connsiteY3435" fmla="*/ 121282 h 4565177"/>
              <a:gd name="connsiteX3436" fmla="*/ 4535406 w 12243467"/>
              <a:gd name="connsiteY3436" fmla="*/ 120877 h 4565177"/>
              <a:gd name="connsiteX3437" fmla="*/ 4543704 w 12243467"/>
              <a:gd name="connsiteY3437" fmla="*/ 115111 h 4565177"/>
              <a:gd name="connsiteX3438" fmla="*/ 4535683 w 12243467"/>
              <a:gd name="connsiteY3438" fmla="*/ 107424 h 4565177"/>
              <a:gd name="connsiteX3439" fmla="*/ 4552762 w 12243467"/>
              <a:gd name="connsiteY3439" fmla="*/ 106134 h 4565177"/>
              <a:gd name="connsiteX3440" fmla="*/ 4517361 w 12243467"/>
              <a:gd name="connsiteY3440" fmla="*/ 105312 h 4565177"/>
              <a:gd name="connsiteX3441" fmla="*/ 4532088 w 12243467"/>
              <a:gd name="connsiteY3441" fmla="*/ 113291 h 4565177"/>
              <a:gd name="connsiteX3442" fmla="*/ 4496684 w 12243467"/>
              <a:gd name="connsiteY3442" fmla="*/ 120978 h 4565177"/>
              <a:gd name="connsiteX3443" fmla="*/ 4493918 w 12243467"/>
              <a:gd name="connsiteY3443" fmla="*/ 121888 h 4565177"/>
              <a:gd name="connsiteX3444" fmla="*/ 4488110 w 12243467"/>
              <a:gd name="connsiteY3444" fmla="*/ 121383 h 4565177"/>
              <a:gd name="connsiteX3445" fmla="*/ 4478429 w 12243467"/>
              <a:gd name="connsiteY3445" fmla="*/ 116629 h 4565177"/>
              <a:gd name="connsiteX3446" fmla="*/ 4511343 w 12243467"/>
              <a:gd name="connsiteY3446" fmla="*/ 108637 h 4565177"/>
              <a:gd name="connsiteX3447" fmla="*/ 4517361 w 12243467"/>
              <a:gd name="connsiteY3447" fmla="*/ 105312 h 4565177"/>
              <a:gd name="connsiteX3448" fmla="*/ 3288297 w 12243467"/>
              <a:gd name="connsiteY3448" fmla="*/ 74701 h 4565177"/>
              <a:gd name="connsiteX3449" fmla="*/ 3305412 w 12243467"/>
              <a:gd name="connsiteY3449" fmla="*/ 76977 h 4565177"/>
              <a:gd name="connsiteX3450" fmla="*/ 3290199 w 12243467"/>
              <a:gd name="connsiteY3450" fmla="*/ 82641 h 4565177"/>
              <a:gd name="connsiteX3451" fmla="*/ 3274709 w 12243467"/>
              <a:gd name="connsiteY3451" fmla="*/ 81529 h 4565177"/>
              <a:gd name="connsiteX3452" fmla="*/ 3288297 w 12243467"/>
              <a:gd name="connsiteY3452" fmla="*/ 74701 h 4565177"/>
              <a:gd name="connsiteX3453" fmla="*/ 4453537 w 12243467"/>
              <a:gd name="connsiteY3453" fmla="*/ 39146 h 4565177"/>
              <a:gd name="connsiteX3454" fmla="*/ 4434175 w 12243467"/>
              <a:gd name="connsiteY3454" fmla="*/ 47946 h 4565177"/>
              <a:gd name="connsiteX3455" fmla="*/ 4453537 w 12243467"/>
              <a:gd name="connsiteY3455" fmla="*/ 39146 h 4565177"/>
              <a:gd name="connsiteX3456" fmla="*/ 4470754 w 12243467"/>
              <a:gd name="connsiteY3456" fmla="*/ 34582 h 4565177"/>
              <a:gd name="connsiteX3457" fmla="*/ 4472898 w 12243467"/>
              <a:gd name="connsiteY3457" fmla="*/ 38640 h 4565177"/>
              <a:gd name="connsiteX3458" fmla="*/ 4468195 w 12243467"/>
              <a:gd name="connsiteY3458" fmla="*/ 38134 h 4565177"/>
              <a:gd name="connsiteX3459" fmla="*/ 4470132 w 12243467"/>
              <a:gd name="connsiteY3459" fmla="*/ 40663 h 4565177"/>
              <a:gd name="connsiteX3460" fmla="*/ 4469301 w 12243467"/>
              <a:gd name="connsiteY3460" fmla="*/ 42585 h 4565177"/>
              <a:gd name="connsiteX3461" fmla="*/ 4467919 w 12243467"/>
              <a:gd name="connsiteY3461" fmla="*/ 42484 h 4565177"/>
              <a:gd name="connsiteX3462" fmla="*/ 4462663 w 12243467"/>
              <a:gd name="connsiteY3462" fmla="*/ 42180 h 4565177"/>
              <a:gd name="connsiteX3463" fmla="*/ 4464046 w 12243467"/>
              <a:gd name="connsiteY3463" fmla="*/ 35302 h 4565177"/>
              <a:gd name="connsiteX3464" fmla="*/ 4470754 w 12243467"/>
              <a:gd name="connsiteY3464" fmla="*/ 34582 h 4565177"/>
              <a:gd name="connsiteX3465" fmla="*/ 4566385 w 12243467"/>
              <a:gd name="connsiteY3465" fmla="*/ 28828 h 4565177"/>
              <a:gd name="connsiteX3466" fmla="*/ 4517705 w 12243467"/>
              <a:gd name="connsiteY3466" fmla="*/ 44001 h 4565177"/>
              <a:gd name="connsiteX3467" fmla="*/ 4496131 w 12243467"/>
              <a:gd name="connsiteY3467" fmla="*/ 44102 h 4565177"/>
              <a:gd name="connsiteX3468" fmla="*/ 4475386 w 12243467"/>
              <a:gd name="connsiteY3468" fmla="*/ 39247 h 4565177"/>
              <a:gd name="connsiteX3469" fmla="*/ 4475386 w 12243467"/>
              <a:gd name="connsiteY3469" fmla="*/ 35606 h 4565177"/>
              <a:gd name="connsiteX3470" fmla="*/ 4478152 w 12243467"/>
              <a:gd name="connsiteY3470" fmla="*/ 37224 h 4565177"/>
              <a:gd name="connsiteX3471" fmla="*/ 4566385 w 12243467"/>
              <a:gd name="connsiteY3471" fmla="*/ 28828 h 4565177"/>
              <a:gd name="connsiteX3472" fmla="*/ 4443025 w 12243467"/>
              <a:gd name="connsiteY3472" fmla="*/ 17398 h 4565177"/>
              <a:gd name="connsiteX3473" fmla="*/ 4427813 w 12243467"/>
              <a:gd name="connsiteY3473" fmla="*/ 33987 h 4565177"/>
              <a:gd name="connsiteX3474" fmla="*/ 4407900 w 12243467"/>
              <a:gd name="connsiteY3474" fmla="*/ 36314 h 4565177"/>
              <a:gd name="connsiteX3475" fmla="*/ 4415920 w 12243467"/>
              <a:gd name="connsiteY3475" fmla="*/ 57657 h 4565177"/>
              <a:gd name="connsiteX3476" fmla="*/ 4376644 w 12243467"/>
              <a:gd name="connsiteY3476" fmla="*/ 60186 h 4565177"/>
              <a:gd name="connsiteX3477" fmla="*/ 4295880 w 12243467"/>
              <a:gd name="connsiteY3477" fmla="*/ 78595 h 4565177"/>
              <a:gd name="connsiteX3478" fmla="*/ 4258540 w 12243467"/>
              <a:gd name="connsiteY3478" fmla="*/ 85777 h 4565177"/>
              <a:gd name="connsiteX3479" fmla="*/ 4199903 w 12243467"/>
              <a:gd name="connsiteY3479" fmla="*/ 102063 h 4565177"/>
              <a:gd name="connsiteX3480" fmla="*/ 4194094 w 12243467"/>
              <a:gd name="connsiteY3480" fmla="*/ 94577 h 4565177"/>
              <a:gd name="connsiteX3481" fmla="*/ 4157585 w 12243467"/>
              <a:gd name="connsiteY3481" fmla="*/ 108739 h 4565177"/>
              <a:gd name="connsiteX3482" fmla="*/ 4114161 w 12243467"/>
              <a:gd name="connsiteY3482" fmla="*/ 119865 h 4565177"/>
              <a:gd name="connsiteX3483" fmla="*/ 3981398 w 12243467"/>
              <a:gd name="connsiteY3483" fmla="*/ 171150 h 4565177"/>
              <a:gd name="connsiteX3484" fmla="*/ 3967568 w 12243467"/>
              <a:gd name="connsiteY3484" fmla="*/ 167306 h 4565177"/>
              <a:gd name="connsiteX3485" fmla="*/ 3975589 w 12243467"/>
              <a:gd name="connsiteY3485" fmla="*/ 174993 h 4565177"/>
              <a:gd name="connsiteX3486" fmla="*/ 3848634 w 12243467"/>
              <a:gd name="connsiteY3486" fmla="*/ 220209 h 4565177"/>
              <a:gd name="connsiteX3487" fmla="*/ 3853337 w 12243467"/>
              <a:gd name="connsiteY3487" fmla="*/ 209284 h 4565177"/>
              <a:gd name="connsiteX3488" fmla="*/ 3819592 w 12243467"/>
              <a:gd name="connsiteY3488" fmla="*/ 232954 h 4565177"/>
              <a:gd name="connsiteX3489" fmla="*/ 3788614 w 12243467"/>
              <a:gd name="connsiteY3489" fmla="*/ 243170 h 4565177"/>
              <a:gd name="connsiteX3490" fmla="*/ 3792763 w 12243467"/>
              <a:gd name="connsiteY3490" fmla="*/ 234471 h 4565177"/>
              <a:gd name="connsiteX3491" fmla="*/ 3767039 w 12243467"/>
              <a:gd name="connsiteY3491" fmla="*/ 243069 h 4565177"/>
              <a:gd name="connsiteX3492" fmla="*/ 3777826 w 12243467"/>
              <a:gd name="connsiteY3492" fmla="*/ 248734 h 4565177"/>
              <a:gd name="connsiteX3493" fmla="*/ 3746573 w 12243467"/>
              <a:gd name="connsiteY3493" fmla="*/ 261175 h 4565177"/>
              <a:gd name="connsiteX3494" fmla="*/ 3762338 w 12243467"/>
              <a:gd name="connsiteY3494" fmla="*/ 253892 h 4565177"/>
              <a:gd name="connsiteX3495" fmla="*/ 3756530 w 12243467"/>
              <a:gd name="connsiteY3495" fmla="*/ 246407 h 4565177"/>
              <a:gd name="connsiteX3496" fmla="*/ 3737722 w 12243467"/>
              <a:gd name="connsiteY3496" fmla="*/ 269369 h 4565177"/>
              <a:gd name="connsiteX3497" fmla="*/ 3732467 w 12243467"/>
              <a:gd name="connsiteY3497" fmla="*/ 259658 h 4565177"/>
              <a:gd name="connsiteX3498" fmla="*/ 3599149 w 12243467"/>
              <a:gd name="connsiteY3498" fmla="*/ 335927 h 4565177"/>
              <a:gd name="connsiteX3499" fmla="*/ 3583384 w 12243467"/>
              <a:gd name="connsiteY3499" fmla="*/ 329655 h 4565177"/>
              <a:gd name="connsiteX3500" fmla="*/ 3565683 w 12243467"/>
              <a:gd name="connsiteY3500" fmla="*/ 357270 h 4565177"/>
              <a:gd name="connsiteX3501" fmla="*/ 3494046 w 12243467"/>
              <a:gd name="connsiteY3501" fmla="*/ 403901 h 4565177"/>
              <a:gd name="connsiteX3502" fmla="*/ 3280241 w 12243467"/>
              <a:gd name="connsiteY3502" fmla="*/ 544099 h 4565177"/>
              <a:gd name="connsiteX3503" fmla="*/ 3265029 w 12243467"/>
              <a:gd name="connsiteY3503" fmla="*/ 560485 h 4565177"/>
              <a:gd name="connsiteX3504" fmla="*/ 3283008 w 12243467"/>
              <a:gd name="connsiteY3504" fmla="*/ 554416 h 4565177"/>
              <a:gd name="connsiteX3505" fmla="*/ 3336390 w 12243467"/>
              <a:gd name="connsiteY3505" fmla="*/ 532871 h 4565177"/>
              <a:gd name="connsiteX3506" fmla="*/ 3350495 w 12243467"/>
              <a:gd name="connsiteY3506" fmla="*/ 536816 h 4565177"/>
              <a:gd name="connsiteX3507" fmla="*/ 3359346 w 12243467"/>
              <a:gd name="connsiteY3507" fmla="*/ 532567 h 4565177"/>
              <a:gd name="connsiteX3508" fmla="*/ 3365432 w 12243467"/>
              <a:gd name="connsiteY3508" fmla="*/ 533174 h 4565177"/>
              <a:gd name="connsiteX3509" fmla="*/ 3389772 w 12243467"/>
              <a:gd name="connsiteY3509" fmla="*/ 515270 h 4565177"/>
              <a:gd name="connsiteX3510" fmla="*/ 3386729 w 12243467"/>
              <a:gd name="connsiteY3510" fmla="*/ 505863 h 4565177"/>
              <a:gd name="connsiteX3511" fmla="*/ 3407750 w 12243467"/>
              <a:gd name="connsiteY3511" fmla="*/ 496860 h 4565177"/>
              <a:gd name="connsiteX3512" fmla="*/ 3534981 w 12243467"/>
              <a:gd name="connsiteY3512" fmla="*/ 415332 h 4565177"/>
              <a:gd name="connsiteX3513" fmla="*/ 3542449 w 12243467"/>
              <a:gd name="connsiteY3513" fmla="*/ 413814 h 4565177"/>
              <a:gd name="connsiteX3514" fmla="*/ 3546598 w 12243467"/>
              <a:gd name="connsiteY3514" fmla="*/ 405216 h 4565177"/>
              <a:gd name="connsiteX3515" fmla="*/ 3578959 w 12243467"/>
              <a:gd name="connsiteY3515" fmla="*/ 388324 h 4565177"/>
              <a:gd name="connsiteX3516" fmla="*/ 3679637 w 12243467"/>
              <a:gd name="connsiteY3516" fmla="*/ 342502 h 4565177"/>
              <a:gd name="connsiteX3517" fmla="*/ 3689042 w 12243467"/>
              <a:gd name="connsiteY3517" fmla="*/ 332184 h 4565177"/>
              <a:gd name="connsiteX3518" fmla="*/ 3708127 w 12243467"/>
              <a:gd name="connsiteY3518" fmla="*/ 332083 h 4565177"/>
              <a:gd name="connsiteX3519" fmla="*/ 3739935 w 12243467"/>
              <a:gd name="connsiteY3519" fmla="*/ 317416 h 4565177"/>
              <a:gd name="connsiteX3520" fmla="*/ 3747125 w 12243467"/>
              <a:gd name="connsiteY3520" fmla="*/ 329554 h 4565177"/>
              <a:gd name="connsiteX3521" fmla="*/ 3745742 w 12243467"/>
              <a:gd name="connsiteY3521" fmla="*/ 313471 h 4565177"/>
              <a:gd name="connsiteX3522" fmla="*/ 3769253 w 12243467"/>
              <a:gd name="connsiteY3522" fmla="*/ 316000 h 4565177"/>
              <a:gd name="connsiteX3523" fmla="*/ 3799677 w 12243467"/>
              <a:gd name="connsiteY3523" fmla="*/ 296680 h 4565177"/>
              <a:gd name="connsiteX3524" fmla="*/ 3816273 w 12243467"/>
              <a:gd name="connsiteY3524" fmla="*/ 284845 h 4565177"/>
              <a:gd name="connsiteX3525" fmla="*/ 3812953 w 12243467"/>
              <a:gd name="connsiteY3525" fmla="*/ 277663 h 4565177"/>
              <a:gd name="connsiteX3526" fmla="*/ 3827059 w 12243467"/>
              <a:gd name="connsiteY3526" fmla="*/ 267851 h 4565177"/>
              <a:gd name="connsiteX3527" fmla="*/ 3855548 w 12243467"/>
              <a:gd name="connsiteY3527" fmla="*/ 257332 h 4565177"/>
              <a:gd name="connsiteX3528" fmla="*/ 3863847 w 12243467"/>
              <a:gd name="connsiteY3528" fmla="*/ 265120 h 4565177"/>
              <a:gd name="connsiteX3529" fmla="*/ 3879336 w 12243467"/>
              <a:gd name="connsiteY3529" fmla="*/ 246306 h 4565177"/>
              <a:gd name="connsiteX3530" fmla="*/ 3896760 w 12243467"/>
              <a:gd name="connsiteY3530" fmla="*/ 243676 h 4565177"/>
              <a:gd name="connsiteX3531" fmla="*/ 3990249 w 12243467"/>
              <a:gd name="connsiteY3531" fmla="*/ 210801 h 4565177"/>
              <a:gd name="connsiteX3532" fmla="*/ 4001865 w 12243467"/>
              <a:gd name="connsiteY3532" fmla="*/ 200686 h 4565177"/>
              <a:gd name="connsiteX3533" fmla="*/ 4105033 w 12243467"/>
              <a:gd name="connsiteY3533" fmla="*/ 178028 h 4565177"/>
              <a:gd name="connsiteX3534" fmla="*/ 4114437 w 12243467"/>
              <a:gd name="connsiteY3534" fmla="*/ 167609 h 4565177"/>
              <a:gd name="connsiteX3535" fmla="*/ 4133799 w 12243467"/>
              <a:gd name="connsiteY3535" fmla="*/ 178938 h 4565177"/>
              <a:gd name="connsiteX3536" fmla="*/ 4172797 w 12243467"/>
              <a:gd name="connsiteY3536" fmla="*/ 164979 h 4565177"/>
              <a:gd name="connsiteX3537" fmla="*/ 4193265 w 12243467"/>
              <a:gd name="connsiteY3537" fmla="*/ 146772 h 4565177"/>
              <a:gd name="connsiteX3538" fmla="*/ 4204052 w 12243467"/>
              <a:gd name="connsiteY3538" fmla="*/ 152538 h 4565177"/>
              <a:gd name="connsiteX3539" fmla="*/ 4245818 w 12243467"/>
              <a:gd name="connsiteY3539" fmla="*/ 147986 h 4565177"/>
              <a:gd name="connsiteX3540" fmla="*/ 4280944 w 12243467"/>
              <a:gd name="connsiteY3540" fmla="*/ 129171 h 4565177"/>
              <a:gd name="connsiteX3541" fmla="*/ 4444686 w 12243467"/>
              <a:gd name="connsiteY3541" fmla="*/ 117741 h 4565177"/>
              <a:gd name="connsiteX3542" fmla="*/ 4457962 w 12243467"/>
              <a:gd name="connsiteY3542" fmla="*/ 112380 h 4565177"/>
              <a:gd name="connsiteX3543" fmla="*/ 4381899 w 12243467"/>
              <a:gd name="connsiteY3543" fmla="*/ 142625 h 4565177"/>
              <a:gd name="connsiteX3544" fmla="*/ 4380793 w 12243467"/>
              <a:gd name="connsiteY3544" fmla="*/ 160630 h 4565177"/>
              <a:gd name="connsiteX3545" fmla="*/ 4462941 w 12243467"/>
              <a:gd name="connsiteY3545" fmla="*/ 146974 h 4565177"/>
              <a:gd name="connsiteX3546" fmla="*/ 4492259 w 12243467"/>
              <a:gd name="connsiteY3546" fmla="*/ 157089 h 4565177"/>
              <a:gd name="connsiteX3547" fmla="*/ 4398218 w 12243467"/>
              <a:gd name="connsiteY3547" fmla="*/ 169430 h 4565177"/>
              <a:gd name="connsiteX3548" fmla="*/ 4389920 w 12243467"/>
              <a:gd name="connsiteY3548" fmla="*/ 186727 h 4565177"/>
              <a:gd name="connsiteX3549" fmla="*/ 4401814 w 12243467"/>
              <a:gd name="connsiteY3549" fmla="*/ 188042 h 4565177"/>
              <a:gd name="connsiteX3550" fmla="*/ 4395729 w 12243467"/>
              <a:gd name="connsiteY3550" fmla="*/ 194212 h 4565177"/>
              <a:gd name="connsiteX3551" fmla="*/ 4401538 w 12243467"/>
              <a:gd name="connsiteY3551" fmla="*/ 201698 h 4565177"/>
              <a:gd name="connsiteX3552" fmla="*/ 4430027 w 12243467"/>
              <a:gd name="connsiteY3552" fmla="*/ 191178 h 4565177"/>
              <a:gd name="connsiteX3553" fmla="*/ 4423664 w 12243467"/>
              <a:gd name="connsiteY3553" fmla="*/ 210903 h 4565177"/>
              <a:gd name="connsiteX3554" fmla="*/ 4439706 w 12243467"/>
              <a:gd name="connsiteY3554" fmla="*/ 226278 h 4565177"/>
              <a:gd name="connsiteX3555" fmla="*/ 4425600 w 12243467"/>
              <a:gd name="connsiteY3555" fmla="*/ 224760 h 4565177"/>
              <a:gd name="connsiteX3556" fmla="*/ 4418409 w 12243467"/>
              <a:gd name="connsiteY3556" fmla="*/ 212622 h 4565177"/>
              <a:gd name="connsiteX3557" fmla="*/ 4417027 w 12243467"/>
              <a:gd name="connsiteY3557" fmla="*/ 219197 h 4565177"/>
              <a:gd name="connsiteX3558" fmla="*/ 4401538 w 12243467"/>
              <a:gd name="connsiteY3558" fmla="*/ 213027 h 4565177"/>
              <a:gd name="connsiteX3559" fmla="*/ 4406239 w 12243467"/>
              <a:gd name="connsiteY3559" fmla="*/ 224862 h 4565177"/>
              <a:gd name="connsiteX3560" fmla="*/ 4388262 w 12243467"/>
              <a:gd name="connsiteY3560" fmla="*/ 243372 h 4565177"/>
              <a:gd name="connsiteX3561" fmla="*/ 4366410 w 12243467"/>
              <a:gd name="connsiteY3561" fmla="*/ 231841 h 4565177"/>
              <a:gd name="connsiteX3562" fmla="*/ 4309709 w 12243467"/>
              <a:gd name="connsiteY3562" fmla="*/ 239225 h 4565177"/>
              <a:gd name="connsiteX3563" fmla="*/ 4295603 w 12243467"/>
              <a:gd name="connsiteY3563" fmla="*/ 249037 h 4565177"/>
              <a:gd name="connsiteX3564" fmla="*/ 4301965 w 12243467"/>
              <a:gd name="connsiteY3564" fmla="*/ 240743 h 4565177"/>
              <a:gd name="connsiteX3565" fmla="*/ 4275135 w 12243467"/>
              <a:gd name="connsiteY3565" fmla="*/ 242260 h 4565177"/>
              <a:gd name="connsiteX3566" fmla="*/ 4276796 w 12243467"/>
              <a:gd name="connsiteY3566" fmla="*/ 258343 h 4565177"/>
              <a:gd name="connsiteX3567" fmla="*/ 4266838 w 12243467"/>
              <a:gd name="connsiteY3567" fmla="*/ 259557 h 4565177"/>
              <a:gd name="connsiteX3568" fmla="*/ 4271540 w 12243467"/>
              <a:gd name="connsiteY3568" fmla="*/ 248632 h 4565177"/>
              <a:gd name="connsiteX3569" fmla="*/ 4264072 w 12243467"/>
              <a:gd name="connsiteY3569" fmla="*/ 250150 h 4565177"/>
              <a:gd name="connsiteX3570" fmla="*/ 4265178 w 12243467"/>
              <a:gd name="connsiteY3570" fmla="*/ 257028 h 4565177"/>
              <a:gd name="connsiteX3571" fmla="*/ 4201563 w 12243467"/>
              <a:gd name="connsiteY3571" fmla="*/ 272808 h 4565177"/>
              <a:gd name="connsiteX3572" fmla="*/ 4181648 w 12243467"/>
              <a:gd name="connsiteY3572" fmla="*/ 277461 h 4565177"/>
              <a:gd name="connsiteX3573" fmla="*/ 4182478 w 12243467"/>
              <a:gd name="connsiteY3573" fmla="*/ 284339 h 4565177"/>
              <a:gd name="connsiteX3574" fmla="*/ 4131863 w 12243467"/>
              <a:gd name="connsiteY3574" fmla="*/ 296983 h 4565177"/>
              <a:gd name="connsiteX3575" fmla="*/ 4126054 w 12243467"/>
              <a:gd name="connsiteY3575" fmla="*/ 289498 h 4565177"/>
              <a:gd name="connsiteX3576" fmla="*/ 4048608 w 12243467"/>
              <a:gd name="connsiteY3576" fmla="*/ 314988 h 4565177"/>
              <a:gd name="connsiteX3577" fmla="*/ 4047226 w 12243467"/>
              <a:gd name="connsiteY3577" fmla="*/ 321766 h 4565177"/>
              <a:gd name="connsiteX3578" fmla="*/ 4048885 w 12243467"/>
              <a:gd name="connsiteY3578" fmla="*/ 326520 h 4565177"/>
              <a:gd name="connsiteX3579" fmla="*/ 4059949 w 12243467"/>
              <a:gd name="connsiteY3579" fmla="*/ 318630 h 4565177"/>
              <a:gd name="connsiteX3580" fmla="*/ 4069077 w 12243467"/>
              <a:gd name="connsiteY3580" fmla="*/ 321867 h 4565177"/>
              <a:gd name="connsiteX3581" fmla="*/ 4015695 w 12243467"/>
              <a:gd name="connsiteY3581" fmla="*/ 347762 h 4565177"/>
              <a:gd name="connsiteX3582" fmla="*/ 4021502 w 12243467"/>
              <a:gd name="connsiteY3582" fmla="*/ 355247 h 4565177"/>
              <a:gd name="connsiteX3583" fmla="*/ 3967568 w 12243467"/>
              <a:gd name="connsiteY3583" fmla="*/ 383469 h 4565177"/>
              <a:gd name="connsiteX3584" fmla="*/ 3979461 w 12243467"/>
              <a:gd name="connsiteY3584" fmla="*/ 396113 h 4565177"/>
              <a:gd name="connsiteX3585" fmla="*/ 4023439 w 12243467"/>
              <a:gd name="connsiteY3585" fmla="*/ 380535 h 4565177"/>
              <a:gd name="connsiteX3586" fmla="*/ 4054970 w 12243467"/>
              <a:gd name="connsiteY3586" fmla="*/ 368093 h 4565177"/>
              <a:gd name="connsiteX3587" fmla="*/ 4113055 w 12243467"/>
              <a:gd name="connsiteY3587" fmla="*/ 354033 h 4565177"/>
              <a:gd name="connsiteX3588" fmla="*/ 4175563 w 12243467"/>
              <a:gd name="connsiteY3588" fmla="*/ 342704 h 4565177"/>
              <a:gd name="connsiteX3589" fmla="*/ 4186904 w 12243467"/>
              <a:gd name="connsiteY3589" fmla="*/ 334814 h 4565177"/>
              <a:gd name="connsiteX3590" fmla="*/ 4195755 w 12243467"/>
              <a:gd name="connsiteY3590" fmla="*/ 338152 h 4565177"/>
              <a:gd name="connsiteX3591" fmla="*/ 4238903 w 12243467"/>
              <a:gd name="connsiteY3591" fmla="*/ 315595 h 4565177"/>
              <a:gd name="connsiteX3592" fmla="*/ 4392133 w 12243467"/>
              <a:gd name="connsiteY3592" fmla="*/ 296073 h 4565177"/>
              <a:gd name="connsiteX3593" fmla="*/ 4410941 w 12243467"/>
              <a:gd name="connsiteY3593" fmla="*/ 286868 h 4565177"/>
              <a:gd name="connsiteX3594" fmla="*/ 4428366 w 12243467"/>
              <a:gd name="connsiteY3594" fmla="*/ 295567 h 4565177"/>
              <a:gd name="connsiteX3595" fmla="*/ 4341517 w 12243467"/>
              <a:gd name="connsiteY3595" fmla="*/ 320046 h 4565177"/>
              <a:gd name="connsiteX3596" fmla="*/ 4348155 w 12243467"/>
              <a:gd name="connsiteY3596" fmla="*/ 323081 h 4565177"/>
              <a:gd name="connsiteX3597" fmla="*/ 4279561 w 12243467"/>
              <a:gd name="connsiteY3597" fmla="*/ 329251 h 4565177"/>
              <a:gd name="connsiteX3598" fmla="*/ 4200456 w 12243467"/>
              <a:gd name="connsiteY3598" fmla="*/ 338658 h 4565177"/>
              <a:gd name="connsiteX3599" fmla="*/ 4169478 w 12243467"/>
              <a:gd name="connsiteY3599" fmla="*/ 348874 h 4565177"/>
              <a:gd name="connsiteX3600" fmla="*/ 4175839 w 12243467"/>
              <a:gd name="connsiteY3600" fmla="*/ 354134 h 4565177"/>
              <a:gd name="connsiteX3601" fmla="*/ 4020120 w 12243467"/>
              <a:gd name="connsiteY3601" fmla="*/ 409667 h 4565177"/>
              <a:gd name="connsiteX3602" fmla="*/ 4045013 w 12243467"/>
              <a:gd name="connsiteY3602" fmla="*/ 417051 h 4565177"/>
              <a:gd name="connsiteX3603" fmla="*/ 4090651 w 12243467"/>
              <a:gd name="connsiteY3603" fmla="*/ 394696 h 4565177"/>
              <a:gd name="connsiteX3604" fmla="*/ 4149563 w 12243467"/>
              <a:gd name="connsiteY3604" fmla="*/ 376287 h 4565177"/>
              <a:gd name="connsiteX3605" fmla="*/ 4192436 w 12243467"/>
              <a:gd name="connsiteY3605" fmla="*/ 367284 h 4565177"/>
              <a:gd name="connsiteX3606" fmla="*/ 4277348 w 12243467"/>
              <a:gd name="connsiteY3606" fmla="*/ 340276 h 4565177"/>
              <a:gd name="connsiteX3607" fmla="*/ 4371389 w 12243467"/>
              <a:gd name="connsiteY3607" fmla="*/ 327936 h 4565177"/>
              <a:gd name="connsiteX3608" fmla="*/ 4121629 w 12243467"/>
              <a:gd name="connsiteY3608" fmla="*/ 395910 h 4565177"/>
              <a:gd name="connsiteX3609" fmla="*/ 4057737 w 12243467"/>
              <a:gd name="connsiteY3609" fmla="*/ 413814 h 4565177"/>
              <a:gd name="connsiteX3610" fmla="*/ 4051927 w 12243467"/>
              <a:gd name="connsiteY3610" fmla="*/ 420086 h 4565177"/>
              <a:gd name="connsiteX3611" fmla="*/ 3949589 w 12243467"/>
              <a:gd name="connsiteY3611" fmla="*/ 449723 h 4565177"/>
              <a:gd name="connsiteX3612" fmla="*/ 4007950 w 12243467"/>
              <a:gd name="connsiteY3612" fmla="*/ 422008 h 4565177"/>
              <a:gd name="connsiteX3613" fmla="*/ 3926909 w 12243467"/>
              <a:gd name="connsiteY3613" fmla="*/ 453972 h 4565177"/>
              <a:gd name="connsiteX3614" fmla="*/ 3840337 w 12243467"/>
              <a:gd name="connsiteY3614" fmla="*/ 489881 h 4565177"/>
              <a:gd name="connsiteX3615" fmla="*/ 3794976 w 12243467"/>
              <a:gd name="connsiteY3615" fmla="*/ 512134 h 4565177"/>
              <a:gd name="connsiteX3616" fmla="*/ 3719189 w 12243467"/>
              <a:gd name="connsiteY3616" fmla="*/ 553809 h 4565177"/>
              <a:gd name="connsiteX3617" fmla="*/ 3643405 w 12243467"/>
              <a:gd name="connsiteY3617" fmla="*/ 595484 h 4565177"/>
              <a:gd name="connsiteX3618" fmla="*/ 3671064 w 12243467"/>
              <a:gd name="connsiteY3618" fmla="*/ 589516 h 4565177"/>
              <a:gd name="connsiteX3619" fmla="*/ 3884868 w 12243467"/>
              <a:gd name="connsiteY3619" fmla="*/ 483508 h 4565177"/>
              <a:gd name="connsiteX3620" fmla="*/ 3752658 w 12243467"/>
              <a:gd name="connsiteY3620" fmla="*/ 555326 h 4565177"/>
              <a:gd name="connsiteX3621" fmla="*/ 3758743 w 12243467"/>
              <a:gd name="connsiteY3621" fmla="*/ 560586 h 4565177"/>
              <a:gd name="connsiteX3622" fmla="*/ 3714212 w 12243467"/>
              <a:gd name="connsiteY3622" fmla="*/ 578288 h 4565177"/>
              <a:gd name="connsiteX3623" fmla="*/ 3712552 w 12243467"/>
              <a:gd name="connsiteY3623" fmla="*/ 587291 h 4565177"/>
              <a:gd name="connsiteX3624" fmla="*/ 3815996 w 12243467"/>
              <a:gd name="connsiteY3624" fmla="*/ 550977 h 4565177"/>
              <a:gd name="connsiteX3625" fmla="*/ 3805486 w 12243467"/>
              <a:gd name="connsiteY3625" fmla="*/ 542986 h 4565177"/>
              <a:gd name="connsiteX3626" fmla="*/ 3812953 w 12243467"/>
              <a:gd name="connsiteY3626" fmla="*/ 530140 h 4565177"/>
              <a:gd name="connsiteX3627" fmla="*/ 3848634 w 12243467"/>
              <a:gd name="connsiteY3627" fmla="*/ 520429 h 4565177"/>
              <a:gd name="connsiteX3628" fmla="*/ 3846422 w 12243467"/>
              <a:gd name="connsiteY3628" fmla="*/ 531455 h 4565177"/>
              <a:gd name="connsiteX3629" fmla="*/ 3953185 w 12243467"/>
              <a:gd name="connsiteY3629" fmla="*/ 491095 h 4565177"/>
              <a:gd name="connsiteX3630" fmla="*/ 3938526 w 12243467"/>
              <a:gd name="connsiteY3630" fmla="*/ 491702 h 4565177"/>
              <a:gd name="connsiteX3631" fmla="*/ 3961760 w 12243467"/>
              <a:gd name="connsiteY3631" fmla="*/ 485127 h 4565177"/>
              <a:gd name="connsiteX3632" fmla="*/ 3955951 w 12243467"/>
              <a:gd name="connsiteY3632" fmla="*/ 489072 h 4565177"/>
              <a:gd name="connsiteX3633" fmla="*/ 4012376 w 12243467"/>
              <a:gd name="connsiteY3633" fmla="*/ 472483 h 4565177"/>
              <a:gd name="connsiteX3634" fmla="*/ 4001865 w 12243467"/>
              <a:gd name="connsiteY3634" fmla="*/ 464593 h 4565177"/>
              <a:gd name="connsiteX3635" fmla="*/ 4146522 w 12243467"/>
              <a:gd name="connsiteY3635" fmla="*/ 428178 h 4565177"/>
              <a:gd name="connsiteX3636" fmla="*/ 4159244 w 12243467"/>
              <a:gd name="connsiteY3636" fmla="*/ 436472 h 4565177"/>
              <a:gd name="connsiteX3637" fmla="*/ 4179435 w 12243467"/>
              <a:gd name="connsiteY3637" fmla="*/ 431819 h 4565177"/>
              <a:gd name="connsiteX3638" fmla="*/ 4199903 w 12243467"/>
              <a:gd name="connsiteY3638" fmla="*/ 413612 h 4565177"/>
              <a:gd name="connsiteX3639" fmla="*/ 4274029 w 12243467"/>
              <a:gd name="connsiteY3639" fmla="*/ 417253 h 4565177"/>
              <a:gd name="connsiteX3640" fmla="*/ 4257434 w 12243467"/>
              <a:gd name="connsiteY3640" fmla="*/ 426863 h 4565177"/>
              <a:gd name="connsiteX3641" fmla="*/ 4280668 w 12243467"/>
              <a:gd name="connsiteY3641" fmla="*/ 431617 h 4565177"/>
              <a:gd name="connsiteX3642" fmla="*/ 4279561 w 12243467"/>
              <a:gd name="connsiteY3642" fmla="*/ 424739 h 4565177"/>
              <a:gd name="connsiteX3643" fmla="*/ 4492535 w 12243467"/>
              <a:gd name="connsiteY3643" fmla="*/ 395910 h 4565177"/>
              <a:gd name="connsiteX3644" fmla="*/ 4346496 w 12243467"/>
              <a:gd name="connsiteY3644" fmla="*/ 427571 h 4565177"/>
              <a:gd name="connsiteX3645" fmla="*/ 4249412 w 12243467"/>
              <a:gd name="connsiteY3645" fmla="*/ 455489 h 4565177"/>
              <a:gd name="connsiteX3646" fmla="*/ 4291731 w 12243467"/>
              <a:gd name="connsiteY3646" fmla="*/ 448813 h 4565177"/>
              <a:gd name="connsiteX3647" fmla="*/ 4432239 w 12243467"/>
              <a:gd name="connsiteY3647" fmla="*/ 420996 h 4565177"/>
              <a:gd name="connsiteX3648" fmla="*/ 4468749 w 12243467"/>
              <a:gd name="connsiteY3648" fmla="*/ 418265 h 4565177"/>
              <a:gd name="connsiteX3649" fmla="*/ 4494195 w 12243467"/>
              <a:gd name="connsiteY3649" fmla="*/ 423323 h 4565177"/>
              <a:gd name="connsiteX3650" fmla="*/ 4391303 w 12243467"/>
              <a:gd name="connsiteY3650" fmla="*/ 443857 h 4565177"/>
              <a:gd name="connsiteX3651" fmla="*/ 4364474 w 12243467"/>
              <a:gd name="connsiteY3651" fmla="*/ 445374 h 4565177"/>
              <a:gd name="connsiteX3652" fmla="*/ 4376921 w 12243467"/>
              <a:gd name="connsiteY3652" fmla="*/ 455894 h 4565177"/>
              <a:gd name="connsiteX3653" fmla="*/ 4392410 w 12243467"/>
              <a:gd name="connsiteY3653" fmla="*/ 450836 h 4565177"/>
              <a:gd name="connsiteX3654" fmla="*/ 4405962 w 12243467"/>
              <a:gd name="connsiteY3654" fmla="*/ 454680 h 4565177"/>
              <a:gd name="connsiteX3655" fmla="*/ 4396282 w 12243467"/>
              <a:gd name="connsiteY3655" fmla="*/ 467223 h 4565177"/>
              <a:gd name="connsiteX3656" fmla="*/ 4405686 w 12243467"/>
              <a:gd name="connsiteY3656" fmla="*/ 468234 h 4565177"/>
              <a:gd name="connsiteX3657" fmla="*/ 4410941 w 12243467"/>
              <a:gd name="connsiteY3657" fmla="*/ 455186 h 4565177"/>
              <a:gd name="connsiteX3658" fmla="*/ 4427813 w 12243467"/>
              <a:gd name="connsiteY3658" fmla="*/ 454781 h 4565177"/>
              <a:gd name="connsiteX3659" fmla="*/ 4460174 w 12243467"/>
              <a:gd name="connsiteY3659" fmla="*/ 460547 h 4565177"/>
              <a:gd name="connsiteX3660" fmla="*/ 4442196 w 12243467"/>
              <a:gd name="connsiteY3660" fmla="*/ 454073 h 4565177"/>
              <a:gd name="connsiteX3661" fmla="*/ 4444408 w 12243467"/>
              <a:gd name="connsiteY3661" fmla="*/ 442946 h 4565177"/>
              <a:gd name="connsiteX3662" fmla="*/ 4488387 w 12243467"/>
              <a:gd name="connsiteY3662" fmla="*/ 440923 h 4565177"/>
              <a:gd name="connsiteX3663" fmla="*/ 4512726 w 12243467"/>
              <a:gd name="connsiteY3663" fmla="*/ 450431 h 4565177"/>
              <a:gd name="connsiteX3664" fmla="*/ 4501663 w 12243467"/>
              <a:gd name="connsiteY3664" fmla="*/ 446992 h 4565177"/>
              <a:gd name="connsiteX3665" fmla="*/ 4528770 w 12243467"/>
              <a:gd name="connsiteY3665" fmla="*/ 443047 h 4565177"/>
              <a:gd name="connsiteX3666" fmla="*/ 4554215 w 12243467"/>
              <a:gd name="connsiteY3666" fmla="*/ 448206 h 4565177"/>
              <a:gd name="connsiteX3667" fmla="*/ 4570257 w 12243467"/>
              <a:gd name="connsiteY3667" fmla="*/ 452252 h 4565177"/>
              <a:gd name="connsiteX3668" fmla="*/ 4692234 w 12243467"/>
              <a:gd name="connsiteY3668" fmla="*/ 445273 h 4565177"/>
              <a:gd name="connsiteX3669" fmla="*/ 4702467 w 12243467"/>
              <a:gd name="connsiteY3669" fmla="*/ 453163 h 4565177"/>
              <a:gd name="connsiteX3670" fmla="*/ 4725700 w 12243467"/>
              <a:gd name="connsiteY3670" fmla="*/ 458018 h 4565177"/>
              <a:gd name="connsiteX3671" fmla="*/ 4748658 w 12243467"/>
              <a:gd name="connsiteY3671" fmla="*/ 451443 h 4565177"/>
              <a:gd name="connsiteX3672" fmla="*/ 4788210 w 12243467"/>
              <a:gd name="connsiteY3672" fmla="*/ 458119 h 4565177"/>
              <a:gd name="connsiteX3673" fmla="*/ 4779912 w 12243467"/>
              <a:gd name="connsiteY3673" fmla="*/ 464087 h 4565177"/>
              <a:gd name="connsiteX3674" fmla="*/ 4658489 w 12243467"/>
              <a:gd name="connsiteY3674" fmla="*/ 457512 h 4565177"/>
              <a:gd name="connsiteX3675" fmla="*/ 4642723 w 12243467"/>
              <a:gd name="connsiteY3675" fmla="*/ 462570 h 4565177"/>
              <a:gd name="connsiteX3676" fmla="*/ 4457685 w 12243467"/>
              <a:gd name="connsiteY3676" fmla="*/ 474000 h 4565177"/>
              <a:gd name="connsiteX3677" fmla="*/ 4453812 w 12243467"/>
              <a:gd name="connsiteY3677" fmla="*/ 480373 h 4565177"/>
              <a:gd name="connsiteX3678" fmla="*/ 4277072 w 12243467"/>
              <a:gd name="connsiteY3678" fmla="*/ 522250 h 4565177"/>
              <a:gd name="connsiteX3679" fmla="*/ 4332943 w 12243467"/>
              <a:gd name="connsiteY3679" fmla="*/ 507886 h 4565177"/>
              <a:gd name="connsiteX3680" fmla="*/ 4368070 w 12243467"/>
              <a:gd name="connsiteY3680" fmla="*/ 511831 h 4565177"/>
              <a:gd name="connsiteX3681" fmla="*/ 4337921 w 12243467"/>
              <a:gd name="connsiteY3681" fmla="*/ 517597 h 4565177"/>
              <a:gd name="connsiteX3682" fmla="*/ 4345114 w 12243467"/>
              <a:gd name="connsiteY3682" fmla="*/ 529735 h 4565177"/>
              <a:gd name="connsiteX3683" fmla="*/ 4332943 w 12243467"/>
              <a:gd name="connsiteY3683" fmla="*/ 519215 h 4565177"/>
              <a:gd name="connsiteX3684" fmla="*/ 4330177 w 12243467"/>
              <a:gd name="connsiteY3684" fmla="*/ 532668 h 4565177"/>
              <a:gd name="connsiteX3685" fmla="*/ 4293114 w 12243467"/>
              <a:gd name="connsiteY3685" fmla="*/ 537625 h 4565177"/>
              <a:gd name="connsiteX3686" fmla="*/ 4294220 w 12243467"/>
              <a:gd name="connsiteY3686" fmla="*/ 556035 h 4565177"/>
              <a:gd name="connsiteX3687" fmla="*/ 4337645 w 12243467"/>
              <a:gd name="connsiteY3687" fmla="*/ 556136 h 4565177"/>
              <a:gd name="connsiteX3688" fmla="*/ 4340964 w 12243467"/>
              <a:gd name="connsiteY3688" fmla="*/ 563419 h 4565177"/>
              <a:gd name="connsiteX3689" fmla="*/ 4311922 w 12243467"/>
              <a:gd name="connsiteY3689" fmla="*/ 576063 h 4565177"/>
              <a:gd name="connsiteX3690" fmla="*/ 4310539 w 12243467"/>
              <a:gd name="connsiteY3690" fmla="*/ 582840 h 4565177"/>
              <a:gd name="connsiteX3691" fmla="*/ 4327964 w 12243467"/>
              <a:gd name="connsiteY3691" fmla="*/ 591539 h 4565177"/>
              <a:gd name="connsiteX3692" fmla="*/ 4422559 w 12243467"/>
              <a:gd name="connsiteY3692" fmla="*/ 576973 h 4565177"/>
              <a:gd name="connsiteX3693" fmla="*/ 4361156 w 12243467"/>
              <a:gd name="connsiteY3693" fmla="*/ 606611 h 4565177"/>
              <a:gd name="connsiteX3694" fmla="*/ 4363368 w 12243467"/>
              <a:gd name="connsiteY3694" fmla="*/ 595484 h 4565177"/>
              <a:gd name="connsiteX3695" fmla="*/ 4330177 w 12243467"/>
              <a:gd name="connsiteY3695" fmla="*/ 605397 h 4565177"/>
              <a:gd name="connsiteX3696" fmla="*/ 4324923 w 12243467"/>
              <a:gd name="connsiteY3696" fmla="*/ 618547 h 4565177"/>
              <a:gd name="connsiteX3697" fmla="*/ 4314688 w 12243467"/>
              <a:gd name="connsiteY3697" fmla="*/ 610556 h 4565177"/>
              <a:gd name="connsiteX3698" fmla="*/ 4082076 w 12243467"/>
              <a:gd name="connsiteY3698" fmla="*/ 689455 h 4565177"/>
              <a:gd name="connsiteX3699" fmla="*/ 4071566 w 12243467"/>
              <a:gd name="connsiteY3699" fmla="*/ 706448 h 4565177"/>
              <a:gd name="connsiteX3700" fmla="*/ 4023439 w 12243467"/>
              <a:gd name="connsiteY3700" fmla="*/ 717170 h 4565177"/>
              <a:gd name="connsiteX3701" fmla="*/ 4025651 w 12243467"/>
              <a:gd name="connsiteY3701" fmla="*/ 731028 h 4565177"/>
              <a:gd name="connsiteX3702" fmla="*/ 3950973 w 12243467"/>
              <a:gd name="connsiteY3702" fmla="*/ 754698 h 4565177"/>
              <a:gd name="connsiteX3703" fmla="*/ 3950696 w 12243467"/>
              <a:gd name="connsiteY3703" fmla="*/ 768252 h 4565177"/>
              <a:gd name="connsiteX3704" fmla="*/ 3994673 w 12243467"/>
              <a:gd name="connsiteY3704" fmla="*/ 741245 h 4565177"/>
              <a:gd name="connsiteX3705" fmla="*/ 4072396 w 12243467"/>
              <a:gd name="connsiteY3705" fmla="*/ 713529 h 4565177"/>
              <a:gd name="connsiteX3706" fmla="*/ 4147352 w 12243467"/>
              <a:gd name="connsiteY3706" fmla="*/ 687634 h 4565177"/>
              <a:gd name="connsiteX3707" fmla="*/ 4191605 w 12243467"/>
              <a:gd name="connsiteY3707" fmla="*/ 671955 h 4565177"/>
              <a:gd name="connsiteX3708" fmla="*/ 4300028 w 12243467"/>
              <a:gd name="connsiteY3708" fmla="*/ 647577 h 4565177"/>
              <a:gd name="connsiteX3709" fmla="*/ 4296156 w 12243467"/>
              <a:gd name="connsiteY3709" fmla="*/ 654051 h 4565177"/>
              <a:gd name="connsiteX3710" fmla="*/ 4355070 w 12243467"/>
              <a:gd name="connsiteY3710" fmla="*/ 649196 h 4565177"/>
              <a:gd name="connsiteX3711" fmla="*/ 4357837 w 12243467"/>
              <a:gd name="connsiteY3711" fmla="*/ 658603 h 4565177"/>
              <a:gd name="connsiteX3712" fmla="*/ 4386048 w 12243467"/>
              <a:gd name="connsiteY3712" fmla="*/ 650309 h 4565177"/>
              <a:gd name="connsiteX3713" fmla="*/ 4436387 w 12243467"/>
              <a:gd name="connsiteY3713" fmla="*/ 639890 h 4565177"/>
              <a:gd name="connsiteX3714" fmla="*/ 4424770 w 12243467"/>
              <a:gd name="connsiteY3714" fmla="*/ 648589 h 4565177"/>
              <a:gd name="connsiteX3715" fmla="*/ 4422559 w 12243467"/>
              <a:gd name="connsiteY3715" fmla="*/ 649601 h 4565177"/>
              <a:gd name="connsiteX3716" fmla="*/ 4429749 w 12243467"/>
              <a:gd name="connsiteY3716" fmla="*/ 649398 h 4565177"/>
              <a:gd name="connsiteX3717" fmla="*/ 4439153 w 12243467"/>
              <a:gd name="connsiteY3717" fmla="*/ 648994 h 4565177"/>
              <a:gd name="connsiteX3718" fmla="*/ 4455749 w 12243467"/>
              <a:gd name="connsiteY3718" fmla="*/ 641407 h 4565177"/>
              <a:gd name="connsiteX3719" fmla="*/ 4459344 w 12243467"/>
              <a:gd name="connsiteY3719" fmla="*/ 629269 h 4565177"/>
              <a:gd name="connsiteX3720" fmla="*/ 4472067 w 12243467"/>
              <a:gd name="connsiteY3720" fmla="*/ 622391 h 4565177"/>
              <a:gd name="connsiteX3721" fmla="*/ 4589342 w 12243467"/>
              <a:gd name="connsiteY3721" fmla="*/ 592449 h 4565177"/>
              <a:gd name="connsiteX3722" fmla="*/ 4598470 w 12243467"/>
              <a:gd name="connsiteY3722" fmla="*/ 583346 h 4565177"/>
              <a:gd name="connsiteX3723" fmla="*/ 4751423 w 12243467"/>
              <a:gd name="connsiteY3723" fmla="*/ 550876 h 4565177"/>
              <a:gd name="connsiteX3724" fmla="*/ 4831635 w 12243467"/>
              <a:gd name="connsiteY3724" fmla="*/ 533882 h 4565177"/>
              <a:gd name="connsiteX3725" fmla="*/ 5003121 w 12243467"/>
              <a:gd name="connsiteY3725" fmla="*/ 500401 h 4565177"/>
              <a:gd name="connsiteX3726" fmla="*/ 4999248 w 12243467"/>
              <a:gd name="connsiteY3726" fmla="*/ 492511 h 4565177"/>
              <a:gd name="connsiteX3727" fmla="*/ 5032992 w 12243467"/>
              <a:gd name="connsiteY3727" fmla="*/ 497467 h 4565177"/>
              <a:gd name="connsiteX3728" fmla="*/ 5088863 w 12243467"/>
              <a:gd name="connsiteY3728" fmla="*/ 486644 h 4565177"/>
              <a:gd name="connsiteX3729" fmla="*/ 5100480 w 12243467"/>
              <a:gd name="connsiteY3729" fmla="*/ 495849 h 4565177"/>
              <a:gd name="connsiteX3730" fmla="*/ 5114863 w 12243467"/>
              <a:gd name="connsiteY3730" fmla="*/ 478653 h 4565177"/>
              <a:gd name="connsiteX3731" fmla="*/ 5126203 w 12243467"/>
              <a:gd name="connsiteY3731" fmla="*/ 476529 h 4565177"/>
              <a:gd name="connsiteX3732" fmla="*/ 5150543 w 12243467"/>
              <a:gd name="connsiteY3732" fmla="*/ 481789 h 4565177"/>
              <a:gd name="connsiteX3733" fmla="*/ 5148607 w 12243467"/>
              <a:gd name="connsiteY3733" fmla="*/ 474910 h 4565177"/>
              <a:gd name="connsiteX3734" fmla="*/ 5152202 w 12243467"/>
              <a:gd name="connsiteY3734" fmla="*/ 471471 h 4565177"/>
              <a:gd name="connsiteX3735" fmla="*/ 5227158 w 12243467"/>
              <a:gd name="connsiteY3735" fmla="*/ 474101 h 4565177"/>
              <a:gd name="connsiteX3736" fmla="*/ 5230754 w 12243467"/>
              <a:gd name="connsiteY3736" fmla="*/ 467627 h 4565177"/>
              <a:gd name="connsiteX3737" fmla="*/ 5313178 w 12243467"/>
              <a:gd name="connsiteY3737" fmla="*/ 463076 h 4565177"/>
              <a:gd name="connsiteX3738" fmla="*/ 5500429 w 12243467"/>
              <a:gd name="connsiteY3738" fmla="*/ 464087 h 4565177"/>
              <a:gd name="connsiteX3739" fmla="*/ 5505961 w 12243467"/>
              <a:gd name="connsiteY3739" fmla="*/ 452859 h 4565177"/>
              <a:gd name="connsiteX3740" fmla="*/ 5521174 w 12243467"/>
              <a:gd name="connsiteY3740" fmla="*/ 464390 h 4565177"/>
              <a:gd name="connsiteX3741" fmla="*/ 5578980 w 12243467"/>
              <a:gd name="connsiteY3741" fmla="*/ 463076 h 4565177"/>
              <a:gd name="connsiteX3742" fmla="*/ 5590597 w 12243467"/>
              <a:gd name="connsiteY3742" fmla="*/ 466717 h 4565177"/>
              <a:gd name="connsiteX3743" fmla="*/ 5597789 w 12243467"/>
              <a:gd name="connsiteY3743" fmla="*/ 459535 h 4565177"/>
              <a:gd name="connsiteX3744" fmla="*/ 5580917 w 12243467"/>
              <a:gd name="connsiteY3744" fmla="*/ 455590 h 4565177"/>
              <a:gd name="connsiteX3745" fmla="*/ 5607194 w 12243467"/>
              <a:gd name="connsiteY3745" fmla="*/ 456197 h 4565177"/>
              <a:gd name="connsiteX3746" fmla="*/ 5603597 w 12243467"/>
              <a:gd name="connsiteY3746" fmla="*/ 465503 h 4565177"/>
              <a:gd name="connsiteX3747" fmla="*/ 5627937 w 12243467"/>
              <a:gd name="connsiteY3747" fmla="*/ 467931 h 4565177"/>
              <a:gd name="connsiteX3748" fmla="*/ 5622129 w 12243467"/>
              <a:gd name="connsiteY3748" fmla="*/ 459029 h 4565177"/>
              <a:gd name="connsiteX3749" fmla="*/ 5633469 w 12243467"/>
              <a:gd name="connsiteY3749" fmla="*/ 465402 h 4565177"/>
              <a:gd name="connsiteX3750" fmla="*/ 5697361 w 12243467"/>
              <a:gd name="connsiteY3750" fmla="*/ 467526 h 4565177"/>
              <a:gd name="connsiteX3751" fmla="*/ 5734977 w 12243467"/>
              <a:gd name="connsiteY3751" fmla="*/ 474506 h 4565177"/>
              <a:gd name="connsiteX3752" fmla="*/ 5793061 w 12243467"/>
              <a:gd name="connsiteY3752" fmla="*/ 484722 h 4565177"/>
              <a:gd name="connsiteX3753" fmla="*/ 5845613 w 12243467"/>
              <a:gd name="connsiteY3753" fmla="*/ 480271 h 4565177"/>
              <a:gd name="connsiteX3754" fmla="*/ 5936058 w 12243467"/>
              <a:gd name="connsiteY3754" fmla="*/ 508695 h 4565177"/>
              <a:gd name="connsiteX3755" fmla="*/ 5950994 w 12243467"/>
              <a:gd name="connsiteY3755" fmla="*/ 502930 h 4565177"/>
              <a:gd name="connsiteX3756" fmla="*/ 6062183 w 12243467"/>
              <a:gd name="connsiteY3756" fmla="*/ 531556 h 4565177"/>
              <a:gd name="connsiteX3757" fmla="*/ 6053056 w 12243467"/>
              <a:gd name="connsiteY3757" fmla="*/ 543391 h 4565177"/>
              <a:gd name="connsiteX3758" fmla="*/ 6073523 w 12243467"/>
              <a:gd name="connsiteY3758" fmla="*/ 538029 h 4565177"/>
              <a:gd name="connsiteX3759" fmla="*/ 6111416 w 12243467"/>
              <a:gd name="connsiteY3759" fmla="*/ 550775 h 4565177"/>
              <a:gd name="connsiteX3760" fmla="*/ 6087076 w 12243467"/>
              <a:gd name="connsiteY3760" fmla="*/ 559777 h 4565177"/>
              <a:gd name="connsiteX3761" fmla="*/ 6068268 w 12243467"/>
              <a:gd name="connsiteY3761" fmla="*/ 554821 h 4565177"/>
              <a:gd name="connsiteX3762" fmla="*/ 6061353 w 12243467"/>
              <a:gd name="connsiteY3762" fmla="*/ 576265 h 4565177"/>
              <a:gd name="connsiteX3763" fmla="*/ 6025397 w 12243467"/>
              <a:gd name="connsiteY3763" fmla="*/ 564531 h 4565177"/>
              <a:gd name="connsiteX3764" fmla="*/ 5942696 w 12243467"/>
              <a:gd name="connsiteY3764" fmla="*/ 551887 h 4565177"/>
              <a:gd name="connsiteX3765" fmla="*/ 5905080 w 12243467"/>
              <a:gd name="connsiteY3765" fmla="*/ 544807 h 4565177"/>
              <a:gd name="connsiteX3766" fmla="*/ 5843124 w 12243467"/>
              <a:gd name="connsiteY3766" fmla="*/ 538232 h 4565177"/>
              <a:gd name="connsiteX3767" fmla="*/ 5843124 w 12243467"/>
              <a:gd name="connsiteY3767" fmla="*/ 529634 h 4565177"/>
              <a:gd name="connsiteX3768" fmla="*/ 5801635 w 12243467"/>
              <a:gd name="connsiteY3768" fmla="*/ 529027 h 4565177"/>
              <a:gd name="connsiteX3769" fmla="*/ 5756551 w 12243467"/>
              <a:gd name="connsiteY3769" fmla="*/ 523463 h 4565177"/>
              <a:gd name="connsiteX3770" fmla="*/ 5606640 w 12243467"/>
              <a:gd name="connsiteY3770" fmla="*/ 521036 h 4565177"/>
              <a:gd name="connsiteX3771" fmla="*/ 5597235 w 12243467"/>
              <a:gd name="connsiteY3771" fmla="*/ 512741 h 4565177"/>
              <a:gd name="connsiteX3772" fmla="*/ 5599448 w 12243467"/>
              <a:gd name="connsiteY3772" fmla="*/ 522452 h 4565177"/>
              <a:gd name="connsiteX3773" fmla="*/ 5458664 w 12243467"/>
              <a:gd name="connsiteY3773" fmla="*/ 516686 h 4565177"/>
              <a:gd name="connsiteX3774" fmla="*/ 5469727 w 12243467"/>
              <a:gd name="connsiteY3774" fmla="*/ 508898 h 4565177"/>
              <a:gd name="connsiteX3775" fmla="*/ 5424920 w 12243467"/>
              <a:gd name="connsiteY3775" fmla="*/ 517495 h 4565177"/>
              <a:gd name="connsiteX3776" fmla="*/ 5391176 w 12243467"/>
              <a:gd name="connsiteY3776" fmla="*/ 515472 h 4565177"/>
              <a:gd name="connsiteX3777" fmla="*/ 5400303 w 12243467"/>
              <a:gd name="connsiteY3777" fmla="*/ 509302 h 4565177"/>
              <a:gd name="connsiteX3778" fmla="*/ 5372368 w 12243467"/>
              <a:gd name="connsiteY3778" fmla="*/ 507684 h 4565177"/>
              <a:gd name="connsiteX3779" fmla="*/ 5378176 w 12243467"/>
              <a:gd name="connsiteY3779" fmla="*/ 516686 h 4565177"/>
              <a:gd name="connsiteX3780" fmla="*/ 5342496 w 12243467"/>
              <a:gd name="connsiteY3780" fmla="*/ 516383 h 4565177"/>
              <a:gd name="connsiteX3781" fmla="*/ 5361304 w 12243467"/>
              <a:gd name="connsiteY3781" fmla="*/ 515574 h 4565177"/>
              <a:gd name="connsiteX3782" fmla="*/ 5361028 w 12243467"/>
              <a:gd name="connsiteY3782" fmla="*/ 506976 h 4565177"/>
              <a:gd name="connsiteX3783" fmla="*/ 5329496 w 12243467"/>
              <a:gd name="connsiteY3783" fmla="*/ 520328 h 4565177"/>
              <a:gd name="connsiteX3784" fmla="*/ 5331157 w 12243467"/>
              <a:gd name="connsiteY3784" fmla="*/ 509909 h 4565177"/>
              <a:gd name="connsiteX3785" fmla="*/ 5164925 w 12243467"/>
              <a:gd name="connsiteY3785" fmla="*/ 529330 h 4565177"/>
              <a:gd name="connsiteX3786" fmla="*/ 5155245 w 12243467"/>
              <a:gd name="connsiteY3786" fmla="*/ 518305 h 4565177"/>
              <a:gd name="connsiteX3787" fmla="*/ 5122054 w 12243467"/>
              <a:gd name="connsiteY3787" fmla="*/ 536310 h 4565177"/>
              <a:gd name="connsiteX3788" fmla="*/ 5028567 w 12243467"/>
              <a:gd name="connsiteY3788" fmla="*/ 551483 h 4565177"/>
              <a:gd name="connsiteX3789" fmla="*/ 4750594 w 12243467"/>
              <a:gd name="connsiteY3789" fmla="*/ 598316 h 4565177"/>
              <a:gd name="connsiteX3790" fmla="*/ 4570257 w 12243467"/>
              <a:gd name="connsiteY3790" fmla="*/ 652129 h 4565177"/>
              <a:gd name="connsiteX3791" fmla="*/ 4543982 w 12243467"/>
              <a:gd name="connsiteY3791" fmla="*/ 651522 h 4565177"/>
              <a:gd name="connsiteX3792" fmla="*/ 4546194 w 12243467"/>
              <a:gd name="connsiteY3792" fmla="*/ 661233 h 4565177"/>
              <a:gd name="connsiteX3793" fmla="*/ 4497514 w 12243467"/>
              <a:gd name="connsiteY3793" fmla="*/ 670640 h 4565177"/>
              <a:gd name="connsiteX3794" fmla="*/ 4486727 w 12243467"/>
              <a:gd name="connsiteY3794" fmla="*/ 684195 h 4565177"/>
              <a:gd name="connsiteX3795" fmla="*/ 4479259 w 12243467"/>
              <a:gd name="connsiteY3795" fmla="*/ 682779 h 4565177"/>
              <a:gd name="connsiteX3796" fmla="*/ 4371665 w 12243467"/>
              <a:gd name="connsiteY3796" fmla="*/ 732444 h 4565177"/>
              <a:gd name="connsiteX3797" fmla="*/ 4325198 w 12243467"/>
              <a:gd name="connsiteY3797" fmla="*/ 742964 h 4565177"/>
              <a:gd name="connsiteX3798" fmla="*/ 4311369 w 12243467"/>
              <a:gd name="connsiteY3798" fmla="*/ 752473 h 4565177"/>
              <a:gd name="connsiteX3799" fmla="*/ 4310815 w 12243467"/>
              <a:gd name="connsiteY3799" fmla="*/ 752877 h 4565177"/>
              <a:gd name="connsiteX3800" fmla="*/ 4324369 w 12243467"/>
              <a:gd name="connsiteY3800" fmla="*/ 754394 h 4565177"/>
              <a:gd name="connsiteX3801" fmla="*/ 4318283 w 12243467"/>
              <a:gd name="connsiteY3801" fmla="*/ 761070 h 4565177"/>
              <a:gd name="connsiteX3802" fmla="*/ 4310539 w 12243467"/>
              <a:gd name="connsiteY3802" fmla="*/ 752978 h 4565177"/>
              <a:gd name="connsiteX3803" fmla="*/ 4297539 w 12243467"/>
              <a:gd name="connsiteY3803" fmla="*/ 764105 h 4565177"/>
              <a:gd name="connsiteX3804" fmla="*/ 4266009 w 12243467"/>
              <a:gd name="connsiteY3804" fmla="*/ 773006 h 4565177"/>
              <a:gd name="connsiteX3805" fmla="*/ 4252455 w 12243467"/>
              <a:gd name="connsiteY3805" fmla="*/ 781706 h 4565177"/>
              <a:gd name="connsiteX3806" fmla="*/ 4256051 w 12243467"/>
              <a:gd name="connsiteY3806" fmla="*/ 783931 h 4565177"/>
              <a:gd name="connsiteX3807" fmla="*/ 4246093 w 12243467"/>
              <a:gd name="connsiteY3807" fmla="*/ 785651 h 4565177"/>
              <a:gd name="connsiteX3808" fmla="*/ 4240562 w 12243467"/>
              <a:gd name="connsiteY3808" fmla="*/ 789191 h 4565177"/>
              <a:gd name="connsiteX3809" fmla="*/ 4239179 w 12243467"/>
              <a:gd name="connsiteY3809" fmla="*/ 790101 h 4565177"/>
              <a:gd name="connsiteX3810" fmla="*/ 4236136 w 12243467"/>
              <a:gd name="connsiteY3810" fmla="*/ 797586 h 4565177"/>
              <a:gd name="connsiteX3811" fmla="*/ 4226180 w 12243467"/>
              <a:gd name="connsiteY3811" fmla="*/ 798800 h 4565177"/>
              <a:gd name="connsiteX3812" fmla="*/ 4225902 w 12243467"/>
              <a:gd name="connsiteY3812" fmla="*/ 798295 h 4565177"/>
              <a:gd name="connsiteX3813" fmla="*/ 4215945 w 12243467"/>
              <a:gd name="connsiteY3813" fmla="*/ 804667 h 4565177"/>
              <a:gd name="connsiteX3814" fmla="*/ 4186350 w 12243467"/>
              <a:gd name="connsiteY3814" fmla="*/ 811647 h 4565177"/>
              <a:gd name="connsiteX3815" fmla="*/ 4155095 w 12243467"/>
              <a:gd name="connsiteY3815" fmla="*/ 833192 h 4565177"/>
              <a:gd name="connsiteX3816" fmla="*/ 4149563 w 12243467"/>
              <a:gd name="connsiteY3816" fmla="*/ 835923 h 4565177"/>
              <a:gd name="connsiteX3817" fmla="*/ 4237242 w 12243467"/>
              <a:gd name="connsiteY3817" fmla="*/ 802442 h 4565177"/>
              <a:gd name="connsiteX3818" fmla="*/ 4288412 w 12243467"/>
              <a:gd name="connsiteY3818" fmla="*/ 784639 h 4565177"/>
              <a:gd name="connsiteX3819" fmla="*/ 4320497 w 12243467"/>
              <a:gd name="connsiteY3819" fmla="*/ 777558 h 4565177"/>
              <a:gd name="connsiteX3820" fmla="*/ 4321326 w 12243467"/>
              <a:gd name="connsiteY3820" fmla="*/ 777154 h 4565177"/>
              <a:gd name="connsiteX3821" fmla="*/ 4333220 w 12243467"/>
              <a:gd name="connsiteY3821" fmla="*/ 767241 h 4565177"/>
              <a:gd name="connsiteX3822" fmla="*/ 4465153 w 12243467"/>
              <a:gd name="connsiteY3822" fmla="*/ 725768 h 4565177"/>
              <a:gd name="connsiteX3823" fmla="*/ 4532088 w 12243467"/>
              <a:gd name="connsiteY3823" fmla="*/ 695524 h 4565177"/>
              <a:gd name="connsiteX3824" fmla="*/ 4597086 w 12243467"/>
              <a:gd name="connsiteY3824" fmla="*/ 675698 h 4565177"/>
              <a:gd name="connsiteX3825" fmla="*/ 4643554 w 12243467"/>
              <a:gd name="connsiteY3825" fmla="*/ 659513 h 4565177"/>
              <a:gd name="connsiteX3826" fmla="*/ 4690020 w 12243467"/>
              <a:gd name="connsiteY3826" fmla="*/ 646161 h 4565177"/>
              <a:gd name="connsiteX3827" fmla="*/ 4865378 w 12243467"/>
              <a:gd name="connsiteY3827" fmla="*/ 612073 h 4565177"/>
              <a:gd name="connsiteX3828" fmla="*/ 4868697 w 12243467"/>
              <a:gd name="connsiteY3828" fmla="*/ 602767 h 4565177"/>
              <a:gd name="connsiteX3829" fmla="*/ 4893038 w 12243467"/>
              <a:gd name="connsiteY3829" fmla="*/ 602362 h 4565177"/>
              <a:gd name="connsiteX3830" fmla="*/ 5057332 w 12243467"/>
              <a:gd name="connsiteY3830" fmla="*/ 576063 h 4565177"/>
              <a:gd name="connsiteX3831" fmla="*/ 5064800 w 12243467"/>
              <a:gd name="connsiteY3831" fmla="*/ 577580 h 4565177"/>
              <a:gd name="connsiteX3832" fmla="*/ 5073927 w 12243467"/>
              <a:gd name="connsiteY3832" fmla="*/ 571410 h 4565177"/>
              <a:gd name="connsiteX3833" fmla="*/ 5113203 w 12243467"/>
              <a:gd name="connsiteY3833" fmla="*/ 568173 h 4565177"/>
              <a:gd name="connsiteX3834" fmla="*/ 5231307 w 12243467"/>
              <a:gd name="connsiteY3834" fmla="*/ 563823 h 4565177"/>
              <a:gd name="connsiteX3835" fmla="*/ 5246244 w 12243467"/>
              <a:gd name="connsiteY3835" fmla="*/ 558058 h 4565177"/>
              <a:gd name="connsiteX3836" fmla="*/ 5263115 w 12243467"/>
              <a:gd name="connsiteY3836" fmla="*/ 564835 h 4565177"/>
              <a:gd name="connsiteX3837" fmla="*/ 5300454 w 12243467"/>
              <a:gd name="connsiteY3837" fmla="*/ 563318 h 4565177"/>
              <a:gd name="connsiteX3838" fmla="*/ 5299071 w 12243467"/>
              <a:gd name="connsiteY3838" fmla="*/ 576467 h 4565177"/>
              <a:gd name="connsiteX3839" fmla="*/ 5307922 w 12243467"/>
              <a:gd name="connsiteY3839" fmla="*/ 561800 h 4565177"/>
              <a:gd name="connsiteX3840" fmla="*/ 5327007 w 12243467"/>
              <a:gd name="connsiteY3840" fmla="*/ 572522 h 4565177"/>
              <a:gd name="connsiteX3841" fmla="*/ 5366283 w 12243467"/>
              <a:gd name="connsiteY3841" fmla="*/ 566251 h 4565177"/>
              <a:gd name="connsiteX3842" fmla="*/ 5388688 w 12243467"/>
              <a:gd name="connsiteY3842" fmla="*/ 562003 h 4565177"/>
              <a:gd name="connsiteX3843" fmla="*/ 5390346 w 12243467"/>
              <a:gd name="connsiteY3843" fmla="*/ 554416 h 4565177"/>
              <a:gd name="connsiteX3844" fmla="*/ 5408878 w 12243467"/>
              <a:gd name="connsiteY3844" fmla="*/ 550876 h 4565177"/>
              <a:gd name="connsiteX3845" fmla="*/ 5440686 w 12243467"/>
              <a:gd name="connsiteY3845" fmla="*/ 551786 h 4565177"/>
              <a:gd name="connsiteX3846" fmla="*/ 5442898 w 12243467"/>
              <a:gd name="connsiteY3846" fmla="*/ 561497 h 4565177"/>
              <a:gd name="connsiteX3847" fmla="*/ 5468898 w 12243467"/>
              <a:gd name="connsiteY3847" fmla="*/ 550673 h 4565177"/>
              <a:gd name="connsiteX3848" fmla="*/ 5485770 w 12243467"/>
              <a:gd name="connsiteY3848" fmla="*/ 554517 h 4565177"/>
              <a:gd name="connsiteX3849" fmla="*/ 5588938 w 12243467"/>
              <a:gd name="connsiteY3849" fmla="*/ 558867 h 4565177"/>
              <a:gd name="connsiteX3850" fmla="*/ 5605533 w 12243467"/>
              <a:gd name="connsiteY3850" fmla="*/ 554214 h 4565177"/>
              <a:gd name="connsiteX3851" fmla="*/ 5710914 w 12243467"/>
              <a:gd name="connsiteY3851" fmla="*/ 571106 h 4565177"/>
              <a:gd name="connsiteX3852" fmla="*/ 5725850 w 12243467"/>
              <a:gd name="connsiteY3852" fmla="*/ 565442 h 4565177"/>
              <a:gd name="connsiteX3853" fmla="*/ 5735530 w 12243467"/>
              <a:gd name="connsiteY3853" fmla="*/ 582132 h 4565177"/>
              <a:gd name="connsiteX3854" fmla="*/ 5778678 w 12243467"/>
              <a:gd name="connsiteY3854" fmla="*/ 583750 h 4565177"/>
              <a:gd name="connsiteX3855" fmla="*/ 5808550 w 12243467"/>
              <a:gd name="connsiteY3855" fmla="*/ 575152 h 4565177"/>
              <a:gd name="connsiteX3856" fmla="*/ 5814359 w 12243467"/>
              <a:gd name="connsiteY3856" fmla="*/ 584054 h 4565177"/>
              <a:gd name="connsiteX3857" fmla="*/ 5853911 w 12243467"/>
              <a:gd name="connsiteY3857" fmla="*/ 595079 h 4565177"/>
              <a:gd name="connsiteX3858" fmla="*/ 5896782 w 12243467"/>
              <a:gd name="connsiteY3858" fmla="*/ 591033 h 4565177"/>
              <a:gd name="connsiteX3859" fmla="*/ 6047800 w 12243467"/>
              <a:gd name="connsiteY3859" fmla="*/ 639283 h 4565177"/>
              <a:gd name="connsiteX3860" fmla="*/ 6062736 w 12243467"/>
              <a:gd name="connsiteY3860" fmla="*/ 639283 h 4565177"/>
              <a:gd name="connsiteX3861" fmla="*/ 5976717 w 12243467"/>
              <a:gd name="connsiteY3861" fmla="*/ 638777 h 4565177"/>
              <a:gd name="connsiteX3862" fmla="*/ 5963994 w 12243467"/>
              <a:gd name="connsiteY3862" fmla="*/ 654152 h 4565177"/>
              <a:gd name="connsiteX3863" fmla="*/ 6044759 w 12243467"/>
              <a:gd name="connsiteY3863" fmla="*/ 671449 h 4565177"/>
              <a:gd name="connsiteX3864" fmla="*/ 6064119 w 12243467"/>
              <a:gd name="connsiteY3864" fmla="*/ 690770 h 4565177"/>
              <a:gd name="connsiteX3865" fmla="*/ 5973674 w 12243467"/>
              <a:gd name="connsiteY3865" fmla="*/ 668010 h 4565177"/>
              <a:gd name="connsiteX3866" fmla="*/ 5955143 w 12243467"/>
              <a:gd name="connsiteY3866" fmla="*/ 680250 h 4565177"/>
              <a:gd name="connsiteX3867" fmla="*/ 5964547 w 12243467"/>
              <a:gd name="connsiteY3867" fmla="*/ 685611 h 4565177"/>
              <a:gd name="connsiteX3868" fmla="*/ 5955419 w 12243467"/>
              <a:gd name="connsiteY3868" fmla="*/ 688848 h 4565177"/>
              <a:gd name="connsiteX3869" fmla="*/ 5955696 w 12243467"/>
              <a:gd name="connsiteY3869" fmla="*/ 697446 h 4565177"/>
              <a:gd name="connsiteX3870" fmla="*/ 5987504 w 12243467"/>
              <a:gd name="connsiteY3870" fmla="*/ 698457 h 4565177"/>
              <a:gd name="connsiteX3871" fmla="*/ 5968972 w 12243467"/>
              <a:gd name="connsiteY3871" fmla="*/ 713529 h 4565177"/>
              <a:gd name="connsiteX3872" fmla="*/ 5973398 w 12243467"/>
              <a:gd name="connsiteY3872" fmla="*/ 732849 h 4565177"/>
              <a:gd name="connsiteX3873" fmla="*/ 5961781 w 12243467"/>
              <a:gd name="connsiteY3873" fmla="*/ 726375 h 4565177"/>
              <a:gd name="connsiteX3874" fmla="*/ 5963441 w 12243467"/>
              <a:gd name="connsiteY3874" fmla="*/ 713225 h 4565177"/>
              <a:gd name="connsiteX3875" fmla="*/ 5957909 w 12243467"/>
              <a:gd name="connsiteY3875" fmla="*/ 718586 h 4565177"/>
              <a:gd name="connsiteX3876" fmla="*/ 5948228 w 12243467"/>
              <a:gd name="connsiteY3876" fmla="*/ 707460 h 4565177"/>
              <a:gd name="connsiteX3877" fmla="*/ 5944909 w 12243467"/>
              <a:gd name="connsiteY3877" fmla="*/ 719598 h 4565177"/>
              <a:gd name="connsiteX3878" fmla="*/ 5916974 w 12243467"/>
              <a:gd name="connsiteY3878" fmla="*/ 729410 h 4565177"/>
              <a:gd name="connsiteX3879" fmla="*/ 5905357 w 12243467"/>
              <a:gd name="connsiteY3879" fmla="*/ 711506 h 4565177"/>
              <a:gd name="connsiteX3880" fmla="*/ 5850592 w 12243467"/>
              <a:gd name="connsiteY3880" fmla="*/ 697749 h 4565177"/>
              <a:gd name="connsiteX3881" fmla="*/ 5832061 w 12243467"/>
              <a:gd name="connsiteY3881" fmla="*/ 701289 h 4565177"/>
              <a:gd name="connsiteX3882" fmla="*/ 5843124 w 12243467"/>
              <a:gd name="connsiteY3882" fmla="*/ 696333 h 4565177"/>
              <a:gd name="connsiteX3883" fmla="*/ 5818507 w 12243467"/>
              <a:gd name="connsiteY3883" fmla="*/ 688140 h 4565177"/>
              <a:gd name="connsiteX3884" fmla="*/ 5809657 w 12243467"/>
              <a:gd name="connsiteY3884" fmla="*/ 702807 h 4565177"/>
              <a:gd name="connsiteX3885" fmla="*/ 5800252 w 12243467"/>
              <a:gd name="connsiteY3885" fmla="*/ 700379 h 4565177"/>
              <a:gd name="connsiteX3886" fmla="*/ 5811316 w 12243467"/>
              <a:gd name="connsiteY3886" fmla="*/ 692489 h 4565177"/>
              <a:gd name="connsiteX3887" fmla="*/ 5803848 w 12243467"/>
              <a:gd name="connsiteY3887" fmla="*/ 691073 h 4565177"/>
              <a:gd name="connsiteX3888" fmla="*/ 5800252 w 12243467"/>
              <a:gd name="connsiteY3888" fmla="*/ 697446 h 4565177"/>
              <a:gd name="connsiteX3889" fmla="*/ 5734424 w 12243467"/>
              <a:gd name="connsiteY3889" fmla="*/ 688747 h 4565177"/>
              <a:gd name="connsiteX3890" fmla="*/ 5713680 w 12243467"/>
              <a:gd name="connsiteY3890" fmla="*/ 685611 h 4565177"/>
              <a:gd name="connsiteX3891" fmla="*/ 5710084 w 12243467"/>
              <a:gd name="connsiteY3891" fmla="*/ 691983 h 4565177"/>
              <a:gd name="connsiteX3892" fmla="*/ 5657532 w 12243467"/>
              <a:gd name="connsiteY3892" fmla="*/ 685004 h 4565177"/>
              <a:gd name="connsiteX3893" fmla="*/ 5657255 w 12243467"/>
              <a:gd name="connsiteY3893" fmla="*/ 676507 h 4565177"/>
              <a:gd name="connsiteX3894" fmla="*/ 5572896 w 12243467"/>
              <a:gd name="connsiteY3894" fmla="*/ 671348 h 4565177"/>
              <a:gd name="connsiteX3895" fmla="*/ 5567364 w 12243467"/>
              <a:gd name="connsiteY3895" fmla="*/ 676709 h 4565177"/>
              <a:gd name="connsiteX3896" fmla="*/ 5565704 w 12243467"/>
              <a:gd name="connsiteY3896" fmla="*/ 681362 h 4565177"/>
              <a:gd name="connsiteX3897" fmla="*/ 5580363 w 12243467"/>
              <a:gd name="connsiteY3897" fmla="*/ 678429 h 4565177"/>
              <a:gd name="connsiteX3898" fmla="*/ 5586172 w 12243467"/>
              <a:gd name="connsiteY3898" fmla="*/ 684397 h 4565177"/>
              <a:gd name="connsiteX3899" fmla="*/ 5522556 w 12243467"/>
              <a:gd name="connsiteY3899" fmla="*/ 688241 h 4565177"/>
              <a:gd name="connsiteX3900" fmla="*/ 5522833 w 12243467"/>
              <a:gd name="connsiteY3900" fmla="*/ 696738 h 4565177"/>
              <a:gd name="connsiteX3901" fmla="*/ 5457557 w 12243467"/>
              <a:gd name="connsiteY3901" fmla="*/ 702301 h 4565177"/>
              <a:gd name="connsiteX3902" fmla="*/ 5459771 w 12243467"/>
              <a:gd name="connsiteY3902" fmla="*/ 717777 h 4565177"/>
              <a:gd name="connsiteX3903" fmla="*/ 5508451 w 12243467"/>
              <a:gd name="connsiteY3903" fmla="*/ 719699 h 4565177"/>
              <a:gd name="connsiteX3904" fmla="*/ 5544130 w 12243467"/>
              <a:gd name="connsiteY3904" fmla="*/ 720003 h 4565177"/>
              <a:gd name="connsiteX3905" fmla="*/ 5604151 w 12243467"/>
              <a:gd name="connsiteY3905" fmla="*/ 728398 h 4565177"/>
              <a:gd name="connsiteX3906" fmla="*/ 5666383 w 12243467"/>
              <a:gd name="connsiteY3906" fmla="*/ 740739 h 4565177"/>
              <a:gd name="connsiteX3907" fmla="*/ 5681320 w 12243467"/>
              <a:gd name="connsiteY3907" fmla="*/ 737907 h 4565177"/>
              <a:gd name="connsiteX3908" fmla="*/ 5686851 w 12243467"/>
              <a:gd name="connsiteY3908" fmla="*/ 743875 h 4565177"/>
              <a:gd name="connsiteX3909" fmla="*/ 5739403 w 12243467"/>
              <a:gd name="connsiteY3909" fmla="*/ 739525 h 4565177"/>
              <a:gd name="connsiteX3910" fmla="*/ 5886272 w 12243467"/>
              <a:gd name="connsiteY3910" fmla="*/ 777053 h 4565177"/>
              <a:gd name="connsiteX3911" fmla="*/ 5908676 w 12243467"/>
              <a:gd name="connsiteY3911" fmla="*/ 775535 h 4565177"/>
              <a:gd name="connsiteX3912" fmla="*/ 5918356 w 12243467"/>
              <a:gd name="connsiteY3912" fmla="*/ 789494 h 4565177"/>
              <a:gd name="connsiteX3913" fmla="*/ 5826529 w 12243467"/>
              <a:gd name="connsiteY3913" fmla="*/ 780087 h 4565177"/>
              <a:gd name="connsiteX3914" fmla="*/ 5830401 w 12243467"/>
              <a:gd name="connsiteY3914" fmla="*/ 784942 h 4565177"/>
              <a:gd name="connsiteX3915" fmla="*/ 5766232 w 12243467"/>
              <a:gd name="connsiteY3915" fmla="*/ 765825 h 4565177"/>
              <a:gd name="connsiteX3916" fmla="*/ 5690723 w 12243467"/>
              <a:gd name="connsiteY3916" fmla="*/ 745999 h 4565177"/>
              <a:gd name="connsiteX3917" fmla="*/ 5656979 w 12243467"/>
              <a:gd name="connsiteY3917" fmla="*/ 743976 h 4565177"/>
              <a:gd name="connsiteX3918" fmla="*/ 5659191 w 12243467"/>
              <a:gd name="connsiteY3918" fmla="*/ 750753 h 4565177"/>
              <a:gd name="connsiteX3919" fmla="*/ 5486599 w 12243467"/>
              <a:gd name="connsiteY3919" fmla="*/ 744077 h 4565177"/>
              <a:gd name="connsiteX3920" fmla="*/ 5503748 w 12243467"/>
              <a:gd name="connsiteY3920" fmla="*/ 759452 h 4565177"/>
              <a:gd name="connsiteX3921" fmla="*/ 5557960 w 12243467"/>
              <a:gd name="connsiteY3921" fmla="*/ 756013 h 4565177"/>
              <a:gd name="connsiteX3922" fmla="*/ 5621853 w 12243467"/>
              <a:gd name="connsiteY3922" fmla="*/ 760868 h 4565177"/>
              <a:gd name="connsiteX3923" fmla="*/ 5665000 w 12243467"/>
              <a:gd name="connsiteY3923" fmla="*/ 768252 h 4565177"/>
              <a:gd name="connsiteX3924" fmla="*/ 5757104 w 12243467"/>
              <a:gd name="connsiteY3924" fmla="*/ 774928 h 4565177"/>
              <a:gd name="connsiteX3925" fmla="*/ 5847549 w 12243467"/>
              <a:gd name="connsiteY3925" fmla="*/ 797485 h 4565177"/>
              <a:gd name="connsiteX3926" fmla="*/ 5584513 w 12243467"/>
              <a:gd name="connsiteY3926" fmla="*/ 768151 h 4565177"/>
              <a:gd name="connsiteX3927" fmla="*/ 5517024 w 12243467"/>
              <a:gd name="connsiteY3927" fmla="*/ 761172 h 4565177"/>
              <a:gd name="connsiteX3928" fmla="*/ 5507620 w 12243467"/>
              <a:gd name="connsiteY3928" fmla="*/ 764510 h 4565177"/>
              <a:gd name="connsiteX3929" fmla="*/ 5398644 w 12243467"/>
              <a:gd name="connsiteY3929" fmla="*/ 753990 h 4565177"/>
              <a:gd name="connsiteX3930" fmla="*/ 5468068 w 12243467"/>
              <a:gd name="connsiteY3930" fmla="*/ 750551 h 4565177"/>
              <a:gd name="connsiteX3931" fmla="*/ 5376240 w 12243467"/>
              <a:gd name="connsiteY3931" fmla="*/ 749843 h 4565177"/>
              <a:gd name="connsiteX3932" fmla="*/ 5276944 w 12243467"/>
              <a:gd name="connsiteY3932" fmla="*/ 750449 h 4565177"/>
              <a:gd name="connsiteX3933" fmla="*/ 5222733 w 12243467"/>
              <a:gd name="connsiteY3933" fmla="*/ 753788 h 4565177"/>
              <a:gd name="connsiteX3934" fmla="*/ 5129246 w 12243467"/>
              <a:gd name="connsiteY3934" fmla="*/ 763296 h 4565177"/>
              <a:gd name="connsiteX3935" fmla="*/ 5035758 w 12243467"/>
              <a:gd name="connsiteY3935" fmla="*/ 772804 h 4565177"/>
              <a:gd name="connsiteX3936" fmla="*/ 5063971 w 12243467"/>
              <a:gd name="connsiteY3936" fmla="*/ 777457 h 4565177"/>
              <a:gd name="connsiteX3937" fmla="*/ 5320370 w 12243467"/>
              <a:gd name="connsiteY3937" fmla="*/ 760666 h 4565177"/>
              <a:gd name="connsiteX3938" fmla="*/ 5157734 w 12243467"/>
              <a:gd name="connsiteY3938" fmla="*/ 776446 h 4565177"/>
              <a:gd name="connsiteX3939" fmla="*/ 5159670 w 12243467"/>
              <a:gd name="connsiteY3939" fmla="*/ 783223 h 4565177"/>
              <a:gd name="connsiteX3940" fmla="*/ 5109054 w 12243467"/>
              <a:gd name="connsiteY3940" fmla="*/ 783021 h 4565177"/>
              <a:gd name="connsiteX3941" fmla="*/ 5101864 w 12243467"/>
              <a:gd name="connsiteY3941" fmla="*/ 790202 h 4565177"/>
              <a:gd name="connsiteX3942" fmla="*/ 5216094 w 12243467"/>
              <a:gd name="connsiteY3942" fmla="*/ 795260 h 4565177"/>
              <a:gd name="connsiteX3943" fmla="*/ 5212222 w 12243467"/>
              <a:gd name="connsiteY3943" fmla="*/ 784538 h 4565177"/>
              <a:gd name="connsiteX3944" fmla="*/ 5226881 w 12243467"/>
              <a:gd name="connsiteY3944" fmla="*/ 775940 h 4565177"/>
              <a:gd name="connsiteX3945" fmla="*/ 5264498 w 12243467"/>
              <a:gd name="connsiteY3945" fmla="*/ 780087 h 4565177"/>
              <a:gd name="connsiteX3946" fmla="*/ 5255370 w 12243467"/>
              <a:gd name="connsiteY3946" fmla="*/ 789090 h 4565177"/>
              <a:gd name="connsiteX3947" fmla="*/ 5375134 w 12243467"/>
              <a:gd name="connsiteY3947" fmla="*/ 791619 h 4565177"/>
              <a:gd name="connsiteX3948" fmla="*/ 5362135 w 12243467"/>
              <a:gd name="connsiteY3948" fmla="*/ 787067 h 4565177"/>
              <a:gd name="connsiteX3949" fmla="*/ 5386474 w 12243467"/>
              <a:gd name="connsiteY3949" fmla="*/ 789494 h 4565177"/>
              <a:gd name="connsiteX3950" fmla="*/ 5379006 w 12243467"/>
              <a:gd name="connsiteY3950" fmla="*/ 790910 h 4565177"/>
              <a:gd name="connsiteX3951" fmla="*/ 5439026 w 12243467"/>
              <a:gd name="connsiteY3951" fmla="*/ 796474 h 4565177"/>
              <a:gd name="connsiteX3952" fmla="*/ 5435154 w 12243467"/>
              <a:gd name="connsiteY3952" fmla="*/ 785752 h 4565177"/>
              <a:gd name="connsiteX3953" fmla="*/ 5585342 w 12243467"/>
              <a:gd name="connsiteY3953" fmla="*/ 805375 h 4565177"/>
              <a:gd name="connsiteX3954" fmla="*/ 5591150 w 12243467"/>
              <a:gd name="connsiteY3954" fmla="*/ 817109 h 4565177"/>
              <a:gd name="connsiteX3955" fmla="*/ 5611895 w 12243467"/>
              <a:gd name="connsiteY3955" fmla="*/ 820347 h 4565177"/>
              <a:gd name="connsiteX3956" fmla="*/ 5641766 w 12243467"/>
              <a:gd name="connsiteY3956" fmla="*/ 811647 h 4565177"/>
              <a:gd name="connsiteX3957" fmla="*/ 5704276 w 12243467"/>
              <a:gd name="connsiteY3957" fmla="*/ 841183 h 4565177"/>
              <a:gd name="connsiteX3958" fmla="*/ 5683808 w 12243467"/>
              <a:gd name="connsiteY3958" fmla="*/ 843813 h 4565177"/>
              <a:gd name="connsiteX3959" fmla="*/ 5700958 w 12243467"/>
              <a:gd name="connsiteY3959" fmla="*/ 856255 h 4565177"/>
              <a:gd name="connsiteX3960" fmla="*/ 5704552 w 12243467"/>
              <a:gd name="connsiteY3960" fmla="*/ 849781 h 4565177"/>
              <a:gd name="connsiteX3961" fmla="*/ 5909782 w 12243467"/>
              <a:gd name="connsiteY3961" fmla="*/ 900357 h 4565177"/>
              <a:gd name="connsiteX3962" fmla="*/ 5761253 w 12243467"/>
              <a:gd name="connsiteY3962" fmla="*/ 876081 h 4565177"/>
              <a:gd name="connsiteX3963" fmla="*/ 5658085 w 12243467"/>
              <a:gd name="connsiteY3963" fmla="*/ 865966 h 4565177"/>
              <a:gd name="connsiteX3964" fmla="*/ 5699574 w 12243467"/>
              <a:gd name="connsiteY3964" fmla="*/ 875171 h 4565177"/>
              <a:gd name="connsiteX3965" fmla="*/ 5840635 w 12243467"/>
              <a:gd name="connsiteY3965" fmla="*/ 900863 h 4565177"/>
              <a:gd name="connsiteX3966" fmla="*/ 5874380 w 12243467"/>
              <a:gd name="connsiteY3966" fmla="*/ 911484 h 4565177"/>
              <a:gd name="connsiteX3967" fmla="*/ 5893464 w 12243467"/>
              <a:gd name="connsiteY3967" fmla="*/ 925140 h 4565177"/>
              <a:gd name="connsiteX3968" fmla="*/ 5790019 w 12243467"/>
              <a:gd name="connsiteY3968" fmla="*/ 906325 h 4565177"/>
              <a:gd name="connsiteX3969" fmla="*/ 5765679 w 12243467"/>
              <a:gd name="connsiteY3969" fmla="*/ 898234 h 4565177"/>
              <a:gd name="connsiteX3970" fmla="*/ 5769551 w 12243467"/>
              <a:gd name="connsiteY3970" fmla="*/ 911788 h 4565177"/>
              <a:gd name="connsiteX3971" fmla="*/ 5786424 w 12243467"/>
              <a:gd name="connsiteY3971" fmla="*/ 912900 h 4565177"/>
              <a:gd name="connsiteX3972" fmla="*/ 5796104 w 12243467"/>
              <a:gd name="connsiteY3972" fmla="*/ 920993 h 4565177"/>
              <a:gd name="connsiteX3973" fmla="*/ 5779232 w 12243467"/>
              <a:gd name="connsiteY3973" fmla="*/ 928579 h 4565177"/>
              <a:gd name="connsiteX3974" fmla="*/ 5786976 w 12243467"/>
              <a:gd name="connsiteY3974" fmla="*/ 932827 h 4565177"/>
              <a:gd name="connsiteX3975" fmla="*/ 5799976 w 12243467"/>
              <a:gd name="connsiteY3975" fmla="*/ 923118 h 4565177"/>
              <a:gd name="connsiteX3976" fmla="*/ 5814913 w 12243467"/>
              <a:gd name="connsiteY3976" fmla="*/ 928882 h 4565177"/>
              <a:gd name="connsiteX3977" fmla="*/ 5839805 w 12243467"/>
              <a:gd name="connsiteY3977" fmla="*/ 945572 h 4565177"/>
              <a:gd name="connsiteX3978" fmla="*/ 5828189 w 12243467"/>
              <a:gd name="connsiteY3978" fmla="*/ 933434 h 4565177"/>
              <a:gd name="connsiteX3979" fmla="*/ 5837316 w 12243467"/>
              <a:gd name="connsiteY3979" fmla="*/ 924533 h 4565177"/>
              <a:gd name="connsiteX3980" fmla="*/ 5876868 w 12243467"/>
              <a:gd name="connsiteY3980" fmla="*/ 938289 h 4565177"/>
              <a:gd name="connsiteX3981" fmla="*/ 5892357 w 12243467"/>
              <a:gd name="connsiteY3981" fmla="*/ 955486 h 4565177"/>
              <a:gd name="connsiteX3982" fmla="*/ 5884889 w 12243467"/>
              <a:gd name="connsiteY3982" fmla="*/ 948305 h 4565177"/>
              <a:gd name="connsiteX3983" fmla="*/ 5911166 w 12243467"/>
              <a:gd name="connsiteY3983" fmla="*/ 954777 h 4565177"/>
              <a:gd name="connsiteX3984" fmla="*/ 5930250 w 12243467"/>
              <a:gd name="connsiteY3984" fmla="*/ 968231 h 4565177"/>
              <a:gd name="connsiteX3985" fmla="*/ 5941591 w 12243467"/>
              <a:gd name="connsiteY3985" fmla="*/ 977435 h 4565177"/>
              <a:gd name="connsiteX3986" fmla="*/ 6053056 w 12243467"/>
              <a:gd name="connsiteY3986" fmla="*/ 1014762 h 4565177"/>
              <a:gd name="connsiteX3987" fmla="*/ 6056630 w 12243467"/>
              <a:gd name="connsiteY3987" fmla="*/ 1024657 h 4565177"/>
              <a:gd name="connsiteX3988" fmla="*/ 6061599 w 12243467"/>
              <a:gd name="connsiteY3988" fmla="*/ 1024603 h 4565177"/>
              <a:gd name="connsiteX3989" fmla="*/ 6063813 w 12243467"/>
              <a:gd name="connsiteY3989" fmla="*/ 1024185 h 4565177"/>
              <a:gd name="connsiteX3990" fmla="*/ 6064119 w 12243467"/>
              <a:gd name="connsiteY3990" fmla="*/ 1024575 h 4565177"/>
              <a:gd name="connsiteX3991" fmla="*/ 6559382 w 12243467"/>
              <a:gd name="connsiteY3991" fmla="*/ 1019163 h 4565177"/>
              <a:gd name="connsiteX3992" fmla="*/ 6761434 w 12243467"/>
              <a:gd name="connsiteY3992" fmla="*/ 1022171 h 4565177"/>
              <a:gd name="connsiteX3993" fmla="*/ 6930623 w 12243467"/>
              <a:gd name="connsiteY3993" fmla="*/ 988926 h 4565177"/>
              <a:gd name="connsiteX3994" fmla="*/ 7421000 w 12243467"/>
              <a:gd name="connsiteY3994" fmla="*/ 943537 h 4565177"/>
              <a:gd name="connsiteX3995" fmla="*/ 7994126 w 12243467"/>
              <a:gd name="connsiteY3995" fmla="*/ 1036915 h 4565177"/>
              <a:gd name="connsiteX3996" fmla="*/ 8101314 w 12243467"/>
              <a:gd name="connsiteY3996" fmla="*/ 1080451 h 4565177"/>
              <a:gd name="connsiteX3997" fmla="*/ 8198946 w 12243467"/>
              <a:gd name="connsiteY3997" fmla="*/ 1087156 h 4565177"/>
              <a:gd name="connsiteX3998" fmla="*/ 8288576 w 12243467"/>
              <a:gd name="connsiteY3998" fmla="*/ 1094982 h 4565177"/>
              <a:gd name="connsiteX3999" fmla="*/ 8411432 w 12243467"/>
              <a:gd name="connsiteY3999" fmla="*/ 1048209 h 4565177"/>
              <a:gd name="connsiteX4000" fmla="*/ 9081512 w 12243467"/>
              <a:gd name="connsiteY4000" fmla="*/ 794508 h 4565177"/>
              <a:gd name="connsiteX4001" fmla="*/ 9798615 w 12243467"/>
              <a:gd name="connsiteY4001" fmla="*/ 893515 h 4565177"/>
              <a:gd name="connsiteX4002" fmla="*/ 10112881 w 12243467"/>
              <a:gd name="connsiteY4002" fmla="*/ 1136986 h 4565177"/>
              <a:gd name="connsiteX4003" fmla="*/ 10140185 w 12243467"/>
              <a:gd name="connsiteY4003" fmla="*/ 1160103 h 4565177"/>
              <a:gd name="connsiteX4004" fmla="*/ 10065878 w 12243467"/>
              <a:gd name="connsiteY4004" fmla="*/ 1217822 h 4565177"/>
              <a:gd name="connsiteX4005" fmla="*/ 10383830 w 12243467"/>
              <a:gd name="connsiteY4005" fmla="*/ 1387511 h 4565177"/>
              <a:gd name="connsiteX4006" fmla="*/ 10232259 w 12243467"/>
              <a:gd name="connsiteY4006" fmla="*/ 1372267 h 4565177"/>
              <a:gd name="connsiteX4007" fmla="*/ 10257959 w 12243467"/>
              <a:gd name="connsiteY4007" fmla="*/ 1449821 h 4565177"/>
              <a:gd name="connsiteX4008" fmla="*/ 9948088 w 12243467"/>
              <a:gd name="connsiteY4008" fmla="*/ 1442291 h 4565177"/>
              <a:gd name="connsiteX4009" fmla="*/ 10061465 w 12243467"/>
              <a:gd name="connsiteY4009" fmla="*/ 1496066 h 4565177"/>
              <a:gd name="connsiteX4010" fmla="*/ 10103660 w 12243467"/>
              <a:gd name="connsiteY4010" fmla="*/ 1578537 h 4565177"/>
              <a:gd name="connsiteX4011" fmla="*/ 10064425 w 12243467"/>
              <a:gd name="connsiteY4011" fmla="*/ 1626744 h 4565177"/>
              <a:gd name="connsiteX4012" fmla="*/ 9828300 w 12243467"/>
              <a:gd name="connsiteY4012" fmla="*/ 1606257 h 4565177"/>
              <a:gd name="connsiteX4013" fmla="*/ 9899880 w 12243467"/>
              <a:gd name="connsiteY4013" fmla="*/ 1692499 h 4565177"/>
              <a:gd name="connsiteX4014" fmla="*/ 9612617 w 12243467"/>
              <a:gd name="connsiteY4014" fmla="*/ 1761601 h 4565177"/>
              <a:gd name="connsiteX4015" fmla="*/ 9575008 w 12243467"/>
              <a:gd name="connsiteY4015" fmla="*/ 1770454 h 4565177"/>
              <a:gd name="connsiteX4016" fmla="*/ 9506499 w 12243467"/>
              <a:gd name="connsiteY4016" fmla="*/ 1835712 h 4565177"/>
              <a:gd name="connsiteX4017" fmla="*/ 9233671 w 12243467"/>
              <a:gd name="connsiteY4017" fmla="*/ 2010761 h 4565177"/>
              <a:gd name="connsiteX4018" fmla="*/ 9211021 w 12243467"/>
              <a:gd name="connsiteY4018" fmla="*/ 2021135 h 4565177"/>
              <a:gd name="connsiteX4019" fmla="*/ 9223104 w 12243467"/>
              <a:gd name="connsiteY4019" fmla="*/ 2040399 h 4565177"/>
              <a:gd name="connsiteX4020" fmla="*/ 9264816 w 12243467"/>
              <a:gd name="connsiteY4020" fmla="*/ 2037295 h 4565177"/>
              <a:gd name="connsiteX4021" fmla="*/ 9629874 w 12243467"/>
              <a:gd name="connsiteY4021" fmla="*/ 2026338 h 4565177"/>
              <a:gd name="connsiteX4022" fmla="*/ 10482302 w 12243467"/>
              <a:gd name="connsiteY4022" fmla="*/ 1896119 h 4565177"/>
              <a:gd name="connsiteX4023" fmla="*/ 11300863 w 12243467"/>
              <a:gd name="connsiteY4023" fmla="*/ 1606039 h 4565177"/>
              <a:gd name="connsiteX4024" fmla="*/ 11723317 w 12243467"/>
              <a:gd name="connsiteY4024" fmla="*/ 1437467 h 4565177"/>
              <a:gd name="connsiteX4025" fmla="*/ 12014693 w 12243467"/>
              <a:gd name="connsiteY4025" fmla="*/ 1379578 h 4565177"/>
              <a:gd name="connsiteX4026" fmla="*/ 12155373 w 12243467"/>
              <a:gd name="connsiteY4026" fmla="*/ 1456472 h 4565177"/>
              <a:gd name="connsiteX4027" fmla="*/ 11955195 w 12243467"/>
              <a:gd name="connsiteY4027" fmla="*/ 1576499 h 4565177"/>
              <a:gd name="connsiteX4028" fmla="*/ 12238241 w 12243467"/>
              <a:gd name="connsiteY4028" fmla="*/ 1596000 h 4565177"/>
              <a:gd name="connsiteX4029" fmla="*/ 12243364 w 12243467"/>
              <a:gd name="connsiteY4029" fmla="*/ 1627481 h 4565177"/>
              <a:gd name="connsiteX4030" fmla="*/ 11699602 w 12243467"/>
              <a:gd name="connsiteY4030" fmla="*/ 1934603 h 4565177"/>
              <a:gd name="connsiteX4031" fmla="*/ 11621691 w 12243467"/>
              <a:gd name="connsiteY4031" fmla="*/ 1986254 h 4565177"/>
              <a:gd name="connsiteX4032" fmla="*/ 11546906 w 12243467"/>
              <a:gd name="connsiteY4032" fmla="*/ 2008884 h 4565177"/>
              <a:gd name="connsiteX4033" fmla="*/ 11289879 w 12243467"/>
              <a:gd name="connsiteY4033" fmla="*/ 2132835 h 4565177"/>
              <a:gd name="connsiteX4034" fmla="*/ 11176078 w 12243467"/>
              <a:gd name="connsiteY4034" fmla="*/ 2179701 h 4565177"/>
              <a:gd name="connsiteX4035" fmla="*/ 11179269 w 12243467"/>
              <a:gd name="connsiteY4035" fmla="*/ 2203953 h 4565177"/>
              <a:gd name="connsiteX4036" fmla="*/ 11188119 w 12243467"/>
              <a:gd name="connsiteY4036" fmla="*/ 2212956 h 4565177"/>
              <a:gd name="connsiteX4037" fmla="*/ 11186736 w 12243467"/>
              <a:gd name="connsiteY4037" fmla="*/ 2331001 h 4565177"/>
              <a:gd name="connsiteX4038" fmla="*/ 11185907 w 12243467"/>
              <a:gd name="connsiteY4038" fmla="*/ 2392805 h 4565177"/>
              <a:gd name="connsiteX4039" fmla="*/ 11180375 w 12243467"/>
              <a:gd name="connsiteY4039" fmla="*/ 2524404 h 4565177"/>
              <a:gd name="connsiteX4040" fmla="*/ 11191715 w 12243467"/>
              <a:gd name="connsiteY4040" fmla="*/ 2523898 h 4565177"/>
              <a:gd name="connsiteX4041" fmla="*/ 11175673 w 12243467"/>
              <a:gd name="connsiteY4041" fmla="*/ 2546556 h 4565177"/>
              <a:gd name="connsiteX4042" fmla="*/ 11173737 w 12243467"/>
              <a:gd name="connsiteY4042" fmla="*/ 2589445 h 4565177"/>
              <a:gd name="connsiteX4043" fmla="*/ 11158524 w 12243467"/>
              <a:gd name="connsiteY4043" fmla="*/ 2594907 h 4565177"/>
              <a:gd name="connsiteX4044" fmla="*/ 11176503 w 12243467"/>
              <a:gd name="connsiteY4044" fmla="*/ 2610282 h 4565177"/>
              <a:gd name="connsiteX4045" fmla="*/ 11176226 w 12243467"/>
              <a:gd name="connsiteY4045" fmla="*/ 2618779 h 4565177"/>
              <a:gd name="connsiteX4046" fmla="*/ 11162397 w 12243467"/>
              <a:gd name="connsiteY4046" fmla="*/ 2634761 h 4565177"/>
              <a:gd name="connsiteX4047" fmla="*/ 11171801 w 12243467"/>
              <a:gd name="connsiteY4047" fmla="*/ 2635267 h 4565177"/>
              <a:gd name="connsiteX4048" fmla="*/ 11175396 w 12243467"/>
              <a:gd name="connsiteY4048" fmla="*/ 2638807 h 4565177"/>
              <a:gd name="connsiteX4049" fmla="*/ 11150503 w 12243467"/>
              <a:gd name="connsiteY4049" fmla="*/ 2691407 h 4565177"/>
              <a:gd name="connsiteX4050" fmla="*/ 11157971 w 12243467"/>
              <a:gd name="connsiteY4050" fmla="*/ 2695857 h 4565177"/>
              <a:gd name="connsiteX4051" fmla="*/ 11140269 w 12243467"/>
              <a:gd name="connsiteY4051" fmla="*/ 2755740 h 4565177"/>
              <a:gd name="connsiteX4052" fmla="*/ 11085781 w 12243467"/>
              <a:gd name="connsiteY4052" fmla="*/ 2888755 h 4565177"/>
              <a:gd name="connsiteX4053" fmla="*/ 11098781 w 12243467"/>
              <a:gd name="connsiteY4053" fmla="*/ 2895735 h 4565177"/>
              <a:gd name="connsiteX4054" fmla="*/ 11079696 w 12243467"/>
              <a:gd name="connsiteY4054" fmla="*/ 2903321 h 4565177"/>
              <a:gd name="connsiteX4055" fmla="*/ 11064760 w 12243467"/>
              <a:gd name="connsiteY4055" fmla="*/ 2944996 h 4565177"/>
              <a:gd name="connsiteX4056" fmla="*/ 11057016 w 12243467"/>
              <a:gd name="connsiteY4056" fmla="*/ 2951975 h 4565177"/>
              <a:gd name="connsiteX4057" fmla="*/ 11064207 w 12243467"/>
              <a:gd name="connsiteY4057" fmla="*/ 2959258 h 4565177"/>
              <a:gd name="connsiteX4058" fmla="*/ 11073888 w 12243467"/>
              <a:gd name="connsiteY4058" fmla="*/ 2948233 h 4565177"/>
              <a:gd name="connsiteX4059" fmla="*/ 11065590 w 12243467"/>
              <a:gd name="connsiteY4059" fmla="*/ 2966744 h 4565177"/>
              <a:gd name="connsiteX4060" fmla="*/ 11054526 w 12243467"/>
              <a:gd name="connsiteY4060" fmla="*/ 2961585 h 4565177"/>
              <a:gd name="connsiteX4061" fmla="*/ 11044569 w 12243467"/>
              <a:gd name="connsiteY4061" fmla="*/ 2978275 h 4565177"/>
              <a:gd name="connsiteX4062" fmla="*/ 11057569 w 12243467"/>
              <a:gd name="connsiteY4062" fmla="*/ 2976656 h 4565177"/>
              <a:gd name="connsiteX4063" fmla="*/ 11046229 w 12243467"/>
              <a:gd name="connsiteY4063" fmla="*/ 2982928 h 4565177"/>
              <a:gd name="connsiteX4064" fmla="*/ 11025484 w 12243467"/>
              <a:gd name="connsiteY4064" fmla="*/ 3027738 h 4565177"/>
              <a:gd name="connsiteX4065" fmla="*/ 11005847 w 12243467"/>
              <a:gd name="connsiteY4065" fmla="*/ 3052521 h 4565177"/>
              <a:gd name="connsiteX4066" fmla="*/ 10975975 w 12243467"/>
              <a:gd name="connsiteY4066" fmla="*/ 3091060 h 4565177"/>
              <a:gd name="connsiteX4067" fmla="*/ 10966847 w 12243467"/>
              <a:gd name="connsiteY4067" fmla="*/ 3129700 h 4565177"/>
              <a:gd name="connsiteX4068" fmla="*/ 10904338 w 12243467"/>
              <a:gd name="connsiteY4068" fmla="*/ 3186042 h 4565177"/>
              <a:gd name="connsiteX4069" fmla="*/ 10907657 w 12243467"/>
              <a:gd name="connsiteY4069" fmla="*/ 3198281 h 4565177"/>
              <a:gd name="connsiteX4070" fmla="*/ 10839063 w 12243467"/>
              <a:gd name="connsiteY4070" fmla="*/ 3269189 h 4565177"/>
              <a:gd name="connsiteX4071" fmla="*/ 10826340 w 12243467"/>
              <a:gd name="connsiteY4071" fmla="*/ 3259377 h 4565177"/>
              <a:gd name="connsiteX4072" fmla="*/ 10827446 w 12243467"/>
              <a:gd name="connsiteY4072" fmla="*/ 3275461 h 4565177"/>
              <a:gd name="connsiteX4073" fmla="*/ 10800340 w 12243467"/>
              <a:gd name="connsiteY4073" fmla="*/ 3298726 h 4565177"/>
              <a:gd name="connsiteX4074" fmla="*/ 10795362 w 12243467"/>
              <a:gd name="connsiteY4074" fmla="*/ 3279001 h 4565177"/>
              <a:gd name="connsiteX4075" fmla="*/ 10807255 w 12243467"/>
              <a:gd name="connsiteY4075" fmla="*/ 3266964 h 4565177"/>
              <a:gd name="connsiteX4076" fmla="*/ 10781532 w 12243467"/>
              <a:gd name="connsiteY4076" fmla="*/ 3255837 h 4565177"/>
              <a:gd name="connsiteX4077" fmla="*/ 10806702 w 12243467"/>
              <a:gd name="connsiteY4077" fmla="*/ 3233685 h 4565177"/>
              <a:gd name="connsiteX4078" fmla="*/ 10846531 w 12243467"/>
              <a:gd name="connsiteY4078" fmla="*/ 3178456 h 4565177"/>
              <a:gd name="connsiteX4079" fmla="*/ 10866445 w 12243467"/>
              <a:gd name="connsiteY4079" fmla="*/ 3153673 h 4565177"/>
              <a:gd name="connsiteX4080" fmla="*/ 10892721 w 12243467"/>
              <a:gd name="connsiteY4080" fmla="*/ 3111493 h 4565177"/>
              <a:gd name="connsiteX4081" fmla="*/ 10903785 w 12243467"/>
              <a:gd name="connsiteY4081" fmla="*/ 3113718 h 4565177"/>
              <a:gd name="connsiteX4082" fmla="*/ 10916231 w 12243467"/>
              <a:gd name="connsiteY4082" fmla="*/ 3084586 h 4565177"/>
              <a:gd name="connsiteX4083" fmla="*/ 10936422 w 12243467"/>
              <a:gd name="connsiteY4083" fmla="*/ 3054038 h 4565177"/>
              <a:gd name="connsiteX4084" fmla="*/ 10982060 w 12243467"/>
              <a:gd name="connsiteY4084" fmla="*/ 2948131 h 4565177"/>
              <a:gd name="connsiteX4085" fmla="*/ 10995336 w 12243467"/>
              <a:gd name="connsiteY4085" fmla="*/ 2943681 h 4565177"/>
              <a:gd name="connsiteX4086" fmla="*/ 10982336 w 12243467"/>
              <a:gd name="connsiteY4086" fmla="*/ 2942467 h 4565177"/>
              <a:gd name="connsiteX4087" fmla="*/ 11029633 w 12243467"/>
              <a:gd name="connsiteY4087" fmla="*/ 2843945 h 4565177"/>
              <a:gd name="connsiteX4088" fmla="*/ 11036825 w 12243467"/>
              <a:gd name="connsiteY4088" fmla="*/ 2854060 h 4565177"/>
              <a:gd name="connsiteX4089" fmla="*/ 11038208 w 12243467"/>
              <a:gd name="connsiteY4089" fmla="*/ 2819769 h 4565177"/>
              <a:gd name="connsiteX4090" fmla="*/ 11050378 w 12243467"/>
              <a:gd name="connsiteY4090" fmla="*/ 2796302 h 4565177"/>
              <a:gd name="connsiteX4091" fmla="*/ 11055633 w 12243467"/>
              <a:gd name="connsiteY4091" fmla="*/ 2804596 h 4565177"/>
              <a:gd name="connsiteX4092" fmla="*/ 11065867 w 12243467"/>
              <a:gd name="connsiteY4092" fmla="*/ 2785074 h 4565177"/>
              <a:gd name="connsiteX4093" fmla="*/ 11052867 w 12243467"/>
              <a:gd name="connsiteY4093" fmla="*/ 2786692 h 4565177"/>
              <a:gd name="connsiteX4094" fmla="*/ 11063377 w 12243467"/>
              <a:gd name="connsiteY4094" fmla="*/ 2761404 h 4565177"/>
              <a:gd name="connsiteX4095" fmla="*/ 11058952 w 12243467"/>
              <a:gd name="connsiteY4095" fmla="*/ 2774959 h 4565177"/>
              <a:gd name="connsiteX4096" fmla="*/ 11070015 w 12243467"/>
              <a:gd name="connsiteY4096" fmla="*/ 2777285 h 4565177"/>
              <a:gd name="connsiteX4097" fmla="*/ 11061718 w 12243467"/>
              <a:gd name="connsiteY4097" fmla="*/ 2751087 h 4565177"/>
              <a:gd name="connsiteX4098" fmla="*/ 11074717 w 12243467"/>
              <a:gd name="connsiteY4098" fmla="*/ 2755133 h 4565177"/>
              <a:gd name="connsiteX4099" fmla="*/ 11096845 w 12243467"/>
              <a:gd name="connsiteY4099" fmla="*/ 2631322 h 4565177"/>
              <a:gd name="connsiteX4100" fmla="*/ 11113993 w 12243467"/>
              <a:gd name="connsiteY4100" fmla="*/ 2627681 h 4565177"/>
              <a:gd name="connsiteX4101" fmla="*/ 11100164 w 12243467"/>
              <a:gd name="connsiteY4101" fmla="*/ 2598751 h 4565177"/>
              <a:gd name="connsiteX4102" fmla="*/ 11107079 w 12243467"/>
              <a:gd name="connsiteY4102" fmla="*/ 2528046 h 4565177"/>
              <a:gd name="connsiteX4103" fmla="*/ 11125610 w 12243467"/>
              <a:gd name="connsiteY4103" fmla="*/ 2316940 h 4565177"/>
              <a:gd name="connsiteX4104" fmla="*/ 11113993 w 12243467"/>
              <a:gd name="connsiteY4104" fmla="*/ 2209820 h 4565177"/>
              <a:gd name="connsiteX4105" fmla="*/ 11113231 w 12243467"/>
              <a:gd name="connsiteY4105" fmla="*/ 2205583 h 4565177"/>
              <a:gd name="connsiteX4106" fmla="*/ 11093199 w 12243467"/>
              <a:gd name="connsiteY4106" fmla="*/ 2213832 h 4565177"/>
              <a:gd name="connsiteX4107" fmla="*/ 11088547 w 12243467"/>
              <a:gd name="connsiteY4107" fmla="*/ 2227319 h 4565177"/>
              <a:gd name="connsiteX4108" fmla="*/ 11078037 w 12243467"/>
              <a:gd name="connsiteY4108" fmla="*/ 2253821 h 4565177"/>
              <a:gd name="connsiteX4109" fmla="*/ 11081079 w 12243467"/>
              <a:gd name="connsiteY4109" fmla="*/ 2260194 h 4565177"/>
              <a:gd name="connsiteX4110" fmla="*/ 11075271 w 12243467"/>
              <a:gd name="connsiteY4110" fmla="*/ 2394524 h 4565177"/>
              <a:gd name="connsiteX4111" fmla="*/ 11086334 w 12243467"/>
              <a:gd name="connsiteY4111" fmla="*/ 2399683 h 4565177"/>
              <a:gd name="connsiteX4112" fmla="*/ 11079973 w 12243467"/>
              <a:gd name="connsiteY4112" fmla="*/ 2417183 h 4565177"/>
              <a:gd name="connsiteX4113" fmla="*/ 11067250 w 12243467"/>
              <a:gd name="connsiteY4113" fmla="*/ 2541499 h 4565177"/>
              <a:gd name="connsiteX4114" fmla="*/ 11063101 w 12243467"/>
              <a:gd name="connsiteY4114" fmla="*/ 2546455 h 4565177"/>
              <a:gd name="connsiteX4115" fmla="*/ 11068356 w 12243467"/>
              <a:gd name="connsiteY4115" fmla="*/ 2554750 h 4565177"/>
              <a:gd name="connsiteX4116" fmla="*/ 11061718 w 12243467"/>
              <a:gd name="connsiteY4116" fmla="*/ 2583679 h 4565177"/>
              <a:gd name="connsiteX4117" fmla="*/ 11033506 w 12243467"/>
              <a:gd name="connsiteY4117" fmla="*/ 2668749 h 4565177"/>
              <a:gd name="connsiteX4118" fmla="*/ 11036825 w 12243467"/>
              <a:gd name="connsiteY4118" fmla="*/ 2680988 h 4565177"/>
              <a:gd name="connsiteX4119" fmla="*/ 11023272 w 12243467"/>
              <a:gd name="connsiteY4119" fmla="*/ 2691204 h 4565177"/>
              <a:gd name="connsiteX4120" fmla="*/ 11014697 w 12243467"/>
              <a:gd name="connsiteY4120" fmla="*/ 2718212 h 4565177"/>
              <a:gd name="connsiteX4121" fmla="*/ 10997825 w 12243467"/>
              <a:gd name="connsiteY4121" fmla="*/ 2713357 h 4565177"/>
              <a:gd name="connsiteX4122" fmla="*/ 11014144 w 12243467"/>
              <a:gd name="connsiteY4122" fmla="*/ 2723978 h 4565177"/>
              <a:gd name="connsiteX4123" fmla="*/ 10995060 w 12243467"/>
              <a:gd name="connsiteY4123" fmla="*/ 2734396 h 4565177"/>
              <a:gd name="connsiteX4124" fmla="*/ 10992017 w 12243467"/>
              <a:gd name="connsiteY4124" fmla="*/ 2764034 h 4565177"/>
              <a:gd name="connsiteX4125" fmla="*/ 10991187 w 12243467"/>
              <a:gd name="connsiteY4125" fmla="*/ 2781230 h 4565177"/>
              <a:gd name="connsiteX4126" fmla="*/ 11000315 w 12243467"/>
              <a:gd name="connsiteY4126" fmla="*/ 2784568 h 4565177"/>
              <a:gd name="connsiteX4127" fmla="*/ 10999762 w 12243467"/>
              <a:gd name="connsiteY4127" fmla="*/ 2798831 h 4565177"/>
              <a:gd name="connsiteX4128" fmla="*/ 10989528 w 12243467"/>
              <a:gd name="connsiteY4128" fmla="*/ 2821286 h 4565177"/>
              <a:gd name="connsiteX4129" fmla="*/ 10976251 w 12243467"/>
              <a:gd name="connsiteY4129" fmla="*/ 2820073 h 4565177"/>
              <a:gd name="connsiteX4130" fmla="*/ 10982890 w 12243467"/>
              <a:gd name="connsiteY4130" fmla="*/ 2841618 h 4565177"/>
              <a:gd name="connsiteX4131" fmla="*/ 10973209 w 12243467"/>
              <a:gd name="connsiteY4131" fmla="*/ 2852441 h 4565177"/>
              <a:gd name="connsiteX4132" fmla="*/ 10938082 w 12243467"/>
              <a:gd name="connsiteY4132" fmla="*/ 2924664 h 4565177"/>
              <a:gd name="connsiteX4133" fmla="*/ 10939465 w 12243467"/>
              <a:gd name="connsiteY4133" fmla="*/ 2937915 h 4565177"/>
              <a:gd name="connsiteX4134" fmla="*/ 10887743 w 12243467"/>
              <a:gd name="connsiteY4134" fmla="*/ 3008014 h 4565177"/>
              <a:gd name="connsiteX4135" fmla="*/ 10891062 w 12243467"/>
              <a:gd name="connsiteY4135" fmla="*/ 3020253 h 4565177"/>
              <a:gd name="connsiteX4136" fmla="*/ 10866445 w 12243467"/>
              <a:gd name="connsiteY4136" fmla="*/ 3022377 h 4565177"/>
              <a:gd name="connsiteX4137" fmla="*/ 10852063 w 12243467"/>
              <a:gd name="connsiteY4137" fmla="*/ 3052622 h 4565177"/>
              <a:gd name="connsiteX4138" fmla="*/ 10854828 w 12243467"/>
              <a:gd name="connsiteY4138" fmla="*/ 3076190 h 4565177"/>
              <a:gd name="connsiteX4139" fmla="*/ 10841552 w 12243467"/>
              <a:gd name="connsiteY4139" fmla="*/ 3077910 h 4565177"/>
              <a:gd name="connsiteX4140" fmla="*/ 10816106 w 12243467"/>
              <a:gd name="connsiteY4140" fmla="*/ 3102996 h 4565177"/>
              <a:gd name="connsiteX4141" fmla="*/ 10809191 w 12243467"/>
              <a:gd name="connsiteY4141" fmla="*/ 3134758 h 4565177"/>
              <a:gd name="connsiteX4142" fmla="*/ 10703810 w 12243467"/>
              <a:gd name="connsiteY4142" fmla="*/ 3228425 h 4565177"/>
              <a:gd name="connsiteX4143" fmla="*/ 10701044 w 12243467"/>
              <a:gd name="connsiteY4143" fmla="*/ 3230954 h 4565177"/>
              <a:gd name="connsiteX4144" fmla="*/ 10704640 w 12243467"/>
              <a:gd name="connsiteY4144" fmla="*/ 3206475 h 4565177"/>
              <a:gd name="connsiteX4145" fmla="*/ 10724831 w 12243467"/>
              <a:gd name="connsiteY4145" fmla="*/ 3177849 h 4565177"/>
              <a:gd name="connsiteX4146" fmla="*/ 10708512 w 12243467"/>
              <a:gd name="connsiteY4146" fmla="*/ 3164497 h 4565177"/>
              <a:gd name="connsiteX4147" fmla="*/ 10663152 w 12243467"/>
              <a:gd name="connsiteY4147" fmla="*/ 3217096 h 4565177"/>
              <a:gd name="connsiteX4148" fmla="*/ 10632727 w 12243467"/>
              <a:gd name="connsiteY4148" fmla="*/ 3225289 h 4565177"/>
              <a:gd name="connsiteX4149" fmla="*/ 10687768 w 12243467"/>
              <a:gd name="connsiteY4149" fmla="*/ 3167329 h 4565177"/>
              <a:gd name="connsiteX4150" fmla="*/ 10677258 w 12243467"/>
              <a:gd name="connsiteY4150" fmla="*/ 3150740 h 4565177"/>
              <a:gd name="connsiteX4151" fmla="*/ 10667577 w 12243467"/>
              <a:gd name="connsiteY4151" fmla="*/ 3156000 h 4565177"/>
              <a:gd name="connsiteX4152" fmla="*/ 10666194 w 12243467"/>
              <a:gd name="connsiteY4152" fmla="*/ 3148514 h 4565177"/>
              <a:gd name="connsiteX4153" fmla="*/ 10654854 w 12243467"/>
              <a:gd name="connsiteY4153" fmla="*/ 3146188 h 4565177"/>
              <a:gd name="connsiteX4154" fmla="*/ 10644620 w 12243467"/>
              <a:gd name="connsiteY4154" fmla="*/ 3168644 h 4565177"/>
              <a:gd name="connsiteX4155" fmla="*/ 10630514 w 12243467"/>
              <a:gd name="connsiteY4155" fmla="*/ 3151246 h 4565177"/>
              <a:gd name="connsiteX4156" fmla="*/ 10604238 w 12243467"/>
              <a:gd name="connsiteY4156" fmla="*/ 3148717 h 4565177"/>
              <a:gd name="connsiteX4157" fmla="*/ 10615855 w 12243467"/>
              <a:gd name="connsiteY4157" fmla="*/ 3142546 h 4565177"/>
              <a:gd name="connsiteX4158" fmla="*/ 10632450 w 12243467"/>
              <a:gd name="connsiteY4158" fmla="*/ 3147402 h 4565177"/>
              <a:gd name="connsiteX4159" fmla="*/ 10627195 w 12243467"/>
              <a:gd name="connsiteY4159" fmla="*/ 3141940 h 4565177"/>
              <a:gd name="connsiteX4160" fmla="*/ 10644067 w 12243467"/>
              <a:gd name="connsiteY4160" fmla="*/ 3138197 h 4565177"/>
              <a:gd name="connsiteX4161" fmla="*/ 10629408 w 12243467"/>
              <a:gd name="connsiteY4161" fmla="*/ 3132330 h 4565177"/>
              <a:gd name="connsiteX4162" fmla="*/ 10624706 w 12243467"/>
              <a:gd name="connsiteY4162" fmla="*/ 3109672 h 4565177"/>
              <a:gd name="connsiteX4163" fmla="*/ 10650982 w 12243467"/>
              <a:gd name="connsiteY4163" fmla="*/ 3106435 h 4565177"/>
              <a:gd name="connsiteX4164" fmla="*/ 10684449 w 12243467"/>
              <a:gd name="connsiteY4164" fmla="*/ 3071436 h 4565177"/>
              <a:gd name="connsiteX4165" fmla="*/ 10685002 w 12243467"/>
              <a:gd name="connsiteY4165" fmla="*/ 3057174 h 4565177"/>
              <a:gd name="connsiteX4166" fmla="*/ 10688321 w 12243467"/>
              <a:gd name="connsiteY4166" fmla="*/ 3066480 h 4565177"/>
              <a:gd name="connsiteX4167" fmla="*/ 10706023 w 12243467"/>
              <a:gd name="connsiteY4167" fmla="*/ 3051408 h 4565177"/>
              <a:gd name="connsiteX4168" fmla="*/ 10689428 w 12243467"/>
              <a:gd name="connsiteY4168" fmla="*/ 3040787 h 4565177"/>
              <a:gd name="connsiteX4169" fmla="*/ 10695513 w 12243467"/>
              <a:gd name="connsiteY4169" fmla="*/ 3034718 h 4565177"/>
              <a:gd name="connsiteX4170" fmla="*/ 10702427 w 12243467"/>
              <a:gd name="connsiteY4170" fmla="*/ 3044934 h 4565177"/>
              <a:gd name="connsiteX4171" fmla="*/ 10706576 w 12243467"/>
              <a:gd name="connsiteY4171" fmla="*/ 3039978 h 4565177"/>
              <a:gd name="connsiteX4172" fmla="*/ 10699108 w 12243467"/>
              <a:gd name="connsiteY4172" fmla="*/ 3035527 h 4565177"/>
              <a:gd name="connsiteX4173" fmla="*/ 10729257 w 12243467"/>
              <a:gd name="connsiteY4173" fmla="*/ 2991222 h 4565177"/>
              <a:gd name="connsiteX4174" fmla="*/ 10739214 w 12243467"/>
              <a:gd name="connsiteY4174" fmla="*/ 2977466 h 4565177"/>
              <a:gd name="connsiteX4175" fmla="*/ 10731746 w 12243467"/>
              <a:gd name="connsiteY4175" fmla="*/ 2973015 h 4565177"/>
              <a:gd name="connsiteX4176" fmla="*/ 10755809 w 12243467"/>
              <a:gd name="connsiteY4176" fmla="*/ 2937612 h 4565177"/>
              <a:gd name="connsiteX4177" fmla="*/ 10766873 w 12243467"/>
              <a:gd name="connsiteY4177" fmla="*/ 2939938 h 4565177"/>
              <a:gd name="connsiteX4178" fmla="*/ 10797574 w 12243467"/>
              <a:gd name="connsiteY4178" fmla="*/ 2881270 h 4565177"/>
              <a:gd name="connsiteX4179" fmla="*/ 10792319 w 12243467"/>
              <a:gd name="connsiteY4179" fmla="*/ 2875808 h 4565177"/>
              <a:gd name="connsiteX4180" fmla="*/ 10786787 w 12243467"/>
              <a:gd name="connsiteY4180" fmla="*/ 2873279 h 4565177"/>
              <a:gd name="connsiteX4181" fmla="*/ 10786234 w 12243467"/>
              <a:gd name="connsiteY4181" fmla="*/ 2884709 h 4565177"/>
              <a:gd name="connsiteX4182" fmla="*/ 10776830 w 12243467"/>
              <a:gd name="connsiteY4182" fmla="*/ 2887035 h 4565177"/>
              <a:gd name="connsiteX4183" fmla="*/ 10790106 w 12243467"/>
              <a:gd name="connsiteY4183" fmla="*/ 2840708 h 4565177"/>
              <a:gd name="connsiteX4184" fmla="*/ 10778766 w 12243467"/>
              <a:gd name="connsiteY4184" fmla="*/ 2838482 h 4565177"/>
              <a:gd name="connsiteX4185" fmla="*/ 10790383 w 12243467"/>
              <a:gd name="connsiteY4185" fmla="*/ 2790334 h 4565177"/>
              <a:gd name="connsiteX4186" fmla="*/ 10769915 w 12243467"/>
              <a:gd name="connsiteY4186" fmla="*/ 2787603 h 4565177"/>
              <a:gd name="connsiteX4187" fmla="*/ 10753320 w 12243467"/>
              <a:gd name="connsiteY4187" fmla="*/ 2821691 h 4565177"/>
              <a:gd name="connsiteX4188" fmla="*/ 10742809 w 12243467"/>
              <a:gd name="connsiteY4188" fmla="*/ 2846979 h 4565177"/>
              <a:gd name="connsiteX4189" fmla="*/ 10714874 w 12243467"/>
              <a:gd name="connsiteY4189" fmla="*/ 2887339 h 4565177"/>
              <a:gd name="connsiteX4190" fmla="*/ 10681407 w 12243467"/>
              <a:gd name="connsiteY4190" fmla="*/ 2928002 h 4565177"/>
              <a:gd name="connsiteX4191" fmla="*/ 10680853 w 12243467"/>
              <a:gd name="connsiteY4191" fmla="*/ 2939432 h 4565177"/>
              <a:gd name="connsiteX4192" fmla="*/ 10671173 w 12243467"/>
              <a:gd name="connsiteY4192" fmla="*/ 2941860 h 4565177"/>
              <a:gd name="connsiteX4193" fmla="*/ 10662045 w 12243467"/>
              <a:gd name="connsiteY4193" fmla="*/ 2980298 h 4565177"/>
              <a:gd name="connsiteX4194" fmla="*/ 10571877 w 12243467"/>
              <a:gd name="connsiteY4194" fmla="*/ 3074269 h 4565177"/>
              <a:gd name="connsiteX4195" fmla="*/ 10567451 w 12243467"/>
              <a:gd name="connsiteY4195" fmla="*/ 3090756 h 4565177"/>
              <a:gd name="connsiteX4196" fmla="*/ 10546707 w 12243467"/>
              <a:gd name="connsiteY4196" fmla="*/ 3093589 h 4565177"/>
              <a:gd name="connsiteX4197" fmla="*/ 10584877 w 12243467"/>
              <a:gd name="connsiteY4197" fmla="*/ 3030773 h 4565177"/>
              <a:gd name="connsiteX4198" fmla="*/ 10577409 w 12243467"/>
              <a:gd name="connsiteY4198" fmla="*/ 3032088 h 4565177"/>
              <a:gd name="connsiteX4199" fmla="*/ 10620557 w 12243467"/>
              <a:gd name="connsiteY4199" fmla="*/ 2991930 h 4565177"/>
              <a:gd name="connsiteX4200" fmla="*/ 10667577 w 12243467"/>
              <a:gd name="connsiteY4200" fmla="*/ 2943883 h 4565177"/>
              <a:gd name="connsiteX4201" fmla="*/ 10679747 w 12243467"/>
              <a:gd name="connsiteY4201" fmla="*/ 2920517 h 4565177"/>
              <a:gd name="connsiteX4202" fmla="*/ 10670343 w 12243467"/>
              <a:gd name="connsiteY4202" fmla="*/ 2920011 h 4565177"/>
              <a:gd name="connsiteX4203" fmla="*/ 10728150 w 12243467"/>
              <a:gd name="connsiteY4203" fmla="*/ 2799134 h 4565177"/>
              <a:gd name="connsiteX4204" fmla="*/ 10703257 w 12243467"/>
              <a:gd name="connsiteY4204" fmla="*/ 2807024 h 4565177"/>
              <a:gd name="connsiteX4205" fmla="*/ 10692194 w 12243467"/>
              <a:gd name="connsiteY4205" fmla="*/ 2846676 h 4565177"/>
              <a:gd name="connsiteX4206" fmla="*/ 10667854 w 12243467"/>
              <a:gd name="connsiteY4206" fmla="*/ 2890677 h 4565177"/>
              <a:gd name="connsiteX4207" fmla="*/ 10646003 w 12243467"/>
              <a:gd name="connsiteY4207" fmla="*/ 2919303 h 4565177"/>
              <a:gd name="connsiteX4208" fmla="*/ 10611429 w 12243467"/>
              <a:gd name="connsiteY4208" fmla="*/ 2982827 h 4565177"/>
              <a:gd name="connsiteX4209" fmla="*/ 10556664 w 12243467"/>
              <a:gd name="connsiteY4209" fmla="*/ 3040787 h 4565177"/>
              <a:gd name="connsiteX4210" fmla="*/ 10669237 w 12243467"/>
              <a:gd name="connsiteY4210" fmla="*/ 2862051 h 4565177"/>
              <a:gd name="connsiteX4211" fmla="*/ 10697449 w 12243467"/>
              <a:gd name="connsiteY4211" fmla="*/ 2815925 h 4565177"/>
              <a:gd name="connsiteX4212" fmla="*/ 10695789 w 12243467"/>
              <a:gd name="connsiteY4212" fmla="*/ 2808339 h 4565177"/>
              <a:gd name="connsiteX4213" fmla="*/ 10740320 w 12243467"/>
              <a:gd name="connsiteY4213" fmla="*/ 2733891 h 4565177"/>
              <a:gd name="connsiteX4214" fmla="*/ 10725108 w 12243467"/>
              <a:gd name="connsiteY4214" fmla="*/ 2784062 h 4565177"/>
              <a:gd name="connsiteX4215" fmla="*/ 10752214 w 12243467"/>
              <a:gd name="connsiteY4215" fmla="*/ 2719021 h 4565177"/>
              <a:gd name="connsiteX4216" fmla="*/ 10779596 w 12243467"/>
              <a:gd name="connsiteY4216" fmla="*/ 2648113 h 4565177"/>
              <a:gd name="connsiteX4217" fmla="*/ 10790660 w 12243467"/>
              <a:gd name="connsiteY4217" fmla="*/ 2608563 h 4565177"/>
              <a:gd name="connsiteX4218" fmla="*/ 10804766 w 12243467"/>
              <a:gd name="connsiteY4218" fmla="*/ 2539476 h 4565177"/>
              <a:gd name="connsiteX4219" fmla="*/ 10819148 w 12243467"/>
              <a:gd name="connsiteY4219" fmla="*/ 2470288 h 4565177"/>
              <a:gd name="connsiteX4220" fmla="*/ 10805042 w 12243467"/>
              <a:gd name="connsiteY4220" fmla="*/ 2489001 h 4565177"/>
              <a:gd name="connsiteX4221" fmla="*/ 10753873 w 12243467"/>
              <a:gd name="connsiteY4221" fmla="*/ 2676133 h 4565177"/>
              <a:gd name="connsiteX4222" fmla="*/ 10779873 w 12243467"/>
              <a:gd name="connsiteY4222" fmla="*/ 2555862 h 4565177"/>
              <a:gd name="connsiteX4223" fmla="*/ 10770468 w 12243467"/>
              <a:gd name="connsiteY4223" fmla="*/ 2555357 h 4565177"/>
              <a:gd name="connsiteX4224" fmla="*/ 10785128 w 12243467"/>
              <a:gd name="connsiteY4224" fmla="*/ 2519549 h 4565177"/>
              <a:gd name="connsiteX4225" fmla="*/ 10777936 w 12243467"/>
              <a:gd name="connsiteY4225" fmla="*/ 2512266 h 4565177"/>
              <a:gd name="connsiteX4226" fmla="*/ 10738937 w 12243467"/>
              <a:gd name="connsiteY4226" fmla="*/ 2592176 h 4565177"/>
              <a:gd name="connsiteX4227" fmla="*/ 10753873 w 12243467"/>
              <a:gd name="connsiteY4227" fmla="*/ 2592378 h 4565177"/>
              <a:gd name="connsiteX4228" fmla="*/ 10760788 w 12243467"/>
              <a:gd name="connsiteY4228" fmla="*/ 2605427 h 4565177"/>
              <a:gd name="connsiteX4229" fmla="*/ 10744746 w 12243467"/>
              <a:gd name="connsiteY4229" fmla="*/ 2630816 h 4565177"/>
              <a:gd name="connsiteX4230" fmla="*/ 10735618 w 12243467"/>
              <a:gd name="connsiteY4230" fmla="*/ 2621814 h 4565177"/>
              <a:gd name="connsiteX4231" fmla="*/ 10698278 w 12243467"/>
              <a:gd name="connsiteY4231" fmla="*/ 2706478 h 4565177"/>
              <a:gd name="connsiteX4232" fmla="*/ 10708236 w 12243467"/>
              <a:gd name="connsiteY4232" fmla="*/ 2698386 h 4565177"/>
              <a:gd name="connsiteX4233" fmla="*/ 10698002 w 12243467"/>
              <a:gd name="connsiteY4233" fmla="*/ 2715076 h 4565177"/>
              <a:gd name="connsiteX4234" fmla="*/ 10698278 w 12243467"/>
              <a:gd name="connsiteY4234" fmla="*/ 2709412 h 4565177"/>
              <a:gd name="connsiteX4235" fmla="*/ 10673939 w 12243467"/>
              <a:gd name="connsiteY4235" fmla="*/ 2750480 h 4565177"/>
              <a:gd name="connsiteX4236" fmla="*/ 10688874 w 12243467"/>
              <a:gd name="connsiteY4236" fmla="*/ 2750682 h 4565177"/>
              <a:gd name="connsiteX4237" fmla="*/ 10620833 w 12243467"/>
              <a:gd name="connsiteY4237" fmla="*/ 2852138 h 4565177"/>
              <a:gd name="connsiteX4238" fmla="*/ 10603961 w 12243467"/>
              <a:gd name="connsiteY4238" fmla="*/ 2852947 h 4565177"/>
              <a:gd name="connsiteX4239" fmla="*/ 10594004 w 12243467"/>
              <a:gd name="connsiteY4239" fmla="*/ 2866805 h 4565177"/>
              <a:gd name="connsiteX4240" fmla="*/ 10596770 w 12243467"/>
              <a:gd name="connsiteY4240" fmla="*/ 2890373 h 4565177"/>
              <a:gd name="connsiteX4241" fmla="*/ 10540899 w 12243467"/>
              <a:gd name="connsiteY4241" fmla="*/ 2926485 h 4565177"/>
              <a:gd name="connsiteX4242" fmla="*/ 10543388 w 12243467"/>
              <a:gd name="connsiteY4242" fmla="*/ 2911211 h 4565177"/>
              <a:gd name="connsiteX4243" fmla="*/ 10530665 w 12243467"/>
              <a:gd name="connsiteY4243" fmla="*/ 2918797 h 4565177"/>
              <a:gd name="connsiteX4244" fmla="*/ 10525963 w 12243467"/>
              <a:gd name="connsiteY4244" fmla="*/ 2919404 h 4565177"/>
              <a:gd name="connsiteX4245" fmla="*/ 10525410 w 12243467"/>
              <a:gd name="connsiteY4245" fmla="*/ 2922439 h 4565177"/>
              <a:gd name="connsiteX4246" fmla="*/ 10524580 w 12243467"/>
              <a:gd name="connsiteY4246" fmla="*/ 2923349 h 4565177"/>
              <a:gd name="connsiteX4247" fmla="*/ 10529835 w 12243467"/>
              <a:gd name="connsiteY4247" fmla="*/ 2924158 h 4565177"/>
              <a:gd name="connsiteX4248" fmla="*/ 10511304 w 12243467"/>
              <a:gd name="connsiteY4248" fmla="*/ 2943478 h 4565177"/>
              <a:gd name="connsiteX4249" fmla="*/ 10512687 w 12243467"/>
              <a:gd name="connsiteY4249" fmla="*/ 2946311 h 4565177"/>
              <a:gd name="connsiteX4250" fmla="*/ 10522367 w 12243467"/>
              <a:gd name="connsiteY4250" fmla="*/ 2951267 h 4565177"/>
              <a:gd name="connsiteX4251" fmla="*/ 10511580 w 12243467"/>
              <a:gd name="connsiteY4251" fmla="*/ 2955920 h 4565177"/>
              <a:gd name="connsiteX4252" fmla="*/ 10517665 w 12243467"/>
              <a:gd name="connsiteY4252" fmla="*/ 2971093 h 4565177"/>
              <a:gd name="connsiteX4253" fmla="*/ 10507431 w 12243467"/>
              <a:gd name="connsiteY4253" fmla="*/ 2982726 h 4565177"/>
              <a:gd name="connsiteX4254" fmla="*/ 10505772 w 12243467"/>
              <a:gd name="connsiteY4254" fmla="*/ 2997190 h 4565177"/>
              <a:gd name="connsiteX4255" fmla="*/ 10517112 w 12243467"/>
              <a:gd name="connsiteY4255" fmla="*/ 3006496 h 4565177"/>
              <a:gd name="connsiteX4256" fmla="*/ 10516835 w 12243467"/>
              <a:gd name="connsiteY4256" fmla="*/ 3018230 h 4565177"/>
              <a:gd name="connsiteX4257" fmla="*/ 10479772 w 12243467"/>
              <a:gd name="connsiteY4257" fmla="*/ 3106132 h 4565177"/>
              <a:gd name="connsiteX4258" fmla="*/ 10482538 w 12243467"/>
              <a:gd name="connsiteY4258" fmla="*/ 3112706 h 4565177"/>
              <a:gd name="connsiteX4259" fmla="*/ 10501623 w 12243467"/>
              <a:gd name="connsiteY4259" fmla="*/ 3096219 h 4565177"/>
              <a:gd name="connsiteX4260" fmla="*/ 10486964 w 12243467"/>
              <a:gd name="connsiteY4260" fmla="*/ 3118472 h 4565177"/>
              <a:gd name="connsiteX4261" fmla="*/ 10479219 w 12243467"/>
              <a:gd name="connsiteY4261" fmla="*/ 3125249 h 4565177"/>
              <a:gd name="connsiteX4262" fmla="*/ 10468156 w 12243467"/>
              <a:gd name="connsiteY4262" fmla="*/ 3143760 h 4565177"/>
              <a:gd name="connsiteX4263" fmla="*/ 10429156 w 12243467"/>
              <a:gd name="connsiteY4263" fmla="*/ 3227717 h 4565177"/>
              <a:gd name="connsiteX4264" fmla="*/ 10400114 w 12243467"/>
              <a:gd name="connsiteY4264" fmla="*/ 3285677 h 4565177"/>
              <a:gd name="connsiteX4265" fmla="*/ 10334839 w 12243467"/>
              <a:gd name="connsiteY4265" fmla="*/ 3408071 h 4565177"/>
              <a:gd name="connsiteX4266" fmla="*/ 10345903 w 12243467"/>
              <a:gd name="connsiteY4266" fmla="*/ 3410398 h 4565177"/>
              <a:gd name="connsiteX4267" fmla="*/ 10320457 w 12243467"/>
              <a:gd name="connsiteY4267" fmla="*/ 3427695 h 4565177"/>
              <a:gd name="connsiteX4268" fmla="*/ 10299159 w 12243467"/>
              <a:gd name="connsiteY4268" fmla="*/ 3467549 h 4565177"/>
              <a:gd name="connsiteX4269" fmla="*/ 10282287 w 12243467"/>
              <a:gd name="connsiteY4269" fmla="*/ 3468965 h 4565177"/>
              <a:gd name="connsiteX4270" fmla="*/ 10292244 w 12243467"/>
              <a:gd name="connsiteY4270" fmla="*/ 3487881 h 4565177"/>
              <a:gd name="connsiteX4271" fmla="*/ 10288096 w 12243467"/>
              <a:gd name="connsiteY4271" fmla="*/ 3495872 h 4565177"/>
              <a:gd name="connsiteX4272" fmla="*/ 10267904 w 12243467"/>
              <a:gd name="connsiteY4272" fmla="*/ 3507302 h 4565177"/>
              <a:gd name="connsiteX4273" fmla="*/ 10276479 w 12243467"/>
              <a:gd name="connsiteY4273" fmla="*/ 3510134 h 4565177"/>
              <a:gd name="connsiteX4274" fmla="*/ 10278138 w 12243467"/>
              <a:gd name="connsiteY4274" fmla="*/ 3514484 h 4565177"/>
              <a:gd name="connsiteX4275" fmla="*/ 10230841 w 12243467"/>
              <a:gd name="connsiteY4275" fmla="*/ 3557777 h 4565177"/>
              <a:gd name="connsiteX4276" fmla="*/ 10235820 w 12243467"/>
              <a:gd name="connsiteY4276" fmla="*/ 3563745 h 4565177"/>
              <a:gd name="connsiteX4277" fmla="*/ 10191842 w 12243467"/>
              <a:gd name="connsiteY4277" fmla="*/ 3615636 h 4565177"/>
              <a:gd name="connsiteX4278" fmla="*/ 10080100 w 12243467"/>
              <a:gd name="connsiteY4278" fmla="*/ 3727207 h 4565177"/>
              <a:gd name="connsiteX4279" fmla="*/ 10088951 w 12243467"/>
              <a:gd name="connsiteY4279" fmla="*/ 3737019 h 4565177"/>
              <a:gd name="connsiteX4280" fmla="*/ 10067653 w 12243467"/>
              <a:gd name="connsiteY4280" fmla="*/ 3739346 h 4565177"/>
              <a:gd name="connsiteX4281" fmla="*/ 10034462 w 12243467"/>
              <a:gd name="connsiteY4281" fmla="*/ 3774850 h 4565177"/>
              <a:gd name="connsiteX4282" fmla="*/ 10023952 w 12243467"/>
              <a:gd name="connsiteY4282" fmla="*/ 3779503 h 4565177"/>
              <a:gd name="connsiteX4283" fmla="*/ 10027271 w 12243467"/>
              <a:gd name="connsiteY4283" fmla="*/ 3788101 h 4565177"/>
              <a:gd name="connsiteX4284" fmla="*/ 10041654 w 12243467"/>
              <a:gd name="connsiteY4284" fmla="*/ 3780211 h 4565177"/>
              <a:gd name="connsiteX4285" fmla="*/ 10025335 w 12243467"/>
              <a:gd name="connsiteY4285" fmla="*/ 3795586 h 4565177"/>
              <a:gd name="connsiteX4286" fmla="*/ 10017314 w 12243467"/>
              <a:gd name="connsiteY4286" fmla="*/ 3787899 h 4565177"/>
              <a:gd name="connsiteX4287" fmla="*/ 10000165 w 12243467"/>
              <a:gd name="connsiteY4287" fmla="*/ 3801150 h 4565177"/>
              <a:gd name="connsiteX4288" fmla="*/ 10013442 w 12243467"/>
              <a:gd name="connsiteY4288" fmla="*/ 3802869 h 4565177"/>
              <a:gd name="connsiteX4289" fmla="*/ 9999612 w 12243467"/>
              <a:gd name="connsiteY4289" fmla="*/ 3805904 h 4565177"/>
              <a:gd name="connsiteX4290" fmla="*/ 9959783 w 12243467"/>
              <a:gd name="connsiteY4290" fmla="*/ 3842926 h 4565177"/>
              <a:gd name="connsiteX4291" fmla="*/ 9929911 w 12243467"/>
              <a:gd name="connsiteY4291" fmla="*/ 3861234 h 4565177"/>
              <a:gd name="connsiteX4292" fmla="*/ 9884274 w 12243467"/>
              <a:gd name="connsiteY4292" fmla="*/ 3890063 h 4565177"/>
              <a:gd name="connsiteX4293" fmla="*/ 9858275 w 12243467"/>
              <a:gd name="connsiteY4293" fmla="*/ 3924050 h 4565177"/>
              <a:gd name="connsiteX4294" fmla="*/ 9773638 w 12243467"/>
              <a:gd name="connsiteY4294" fmla="*/ 3961476 h 4565177"/>
              <a:gd name="connsiteX4295" fmla="*/ 9771149 w 12243467"/>
              <a:gd name="connsiteY4295" fmla="*/ 3973716 h 4565177"/>
              <a:gd name="connsiteX4296" fmla="*/ 9674342 w 12243467"/>
              <a:gd name="connsiteY4296" fmla="*/ 4023280 h 4565177"/>
              <a:gd name="connsiteX4297" fmla="*/ 9666874 w 12243467"/>
              <a:gd name="connsiteY4297" fmla="*/ 4010839 h 4565177"/>
              <a:gd name="connsiteX4298" fmla="*/ 9660513 w 12243467"/>
              <a:gd name="connsiteY4298" fmla="*/ 4026214 h 4565177"/>
              <a:gd name="connsiteX4299" fmla="*/ 9624280 w 12243467"/>
              <a:gd name="connsiteY4299" fmla="*/ 4041286 h 4565177"/>
              <a:gd name="connsiteX4300" fmla="*/ 9628705 w 12243467"/>
              <a:gd name="connsiteY4300" fmla="*/ 4021561 h 4565177"/>
              <a:gd name="connsiteX4301" fmla="*/ 9645300 w 12243467"/>
              <a:gd name="connsiteY4301" fmla="*/ 4013266 h 4565177"/>
              <a:gd name="connsiteX4302" fmla="*/ 9626216 w 12243467"/>
              <a:gd name="connsiteY4302" fmla="*/ 3996374 h 4565177"/>
              <a:gd name="connsiteX4303" fmla="*/ 9660236 w 12243467"/>
              <a:gd name="connsiteY4303" fmla="*/ 3981808 h 4565177"/>
              <a:gd name="connsiteX4304" fmla="*/ 9722746 w 12243467"/>
              <a:gd name="connsiteY4304" fmla="*/ 3939830 h 4565177"/>
              <a:gd name="connsiteX4305" fmla="*/ 9752617 w 12243467"/>
              <a:gd name="connsiteY4305" fmla="*/ 3921420 h 4565177"/>
              <a:gd name="connsiteX4306" fmla="*/ 9796595 w 12243467"/>
              <a:gd name="connsiteY4306" fmla="*/ 3888242 h 4565177"/>
              <a:gd name="connsiteX4307" fmla="*/ 9805999 w 12243467"/>
              <a:gd name="connsiteY4307" fmla="*/ 3893198 h 4565177"/>
              <a:gd name="connsiteX4308" fmla="*/ 9831169 w 12243467"/>
              <a:gd name="connsiteY4308" fmla="*/ 3868922 h 4565177"/>
              <a:gd name="connsiteX4309" fmla="*/ 9863806 w 12243467"/>
              <a:gd name="connsiteY4309" fmla="*/ 3845252 h 4565177"/>
              <a:gd name="connsiteX4310" fmla="*/ 9955358 w 12243467"/>
              <a:gd name="connsiteY4310" fmla="*/ 3757047 h 4565177"/>
              <a:gd name="connsiteX4311" fmla="*/ 9969740 w 12243467"/>
              <a:gd name="connsiteY4311" fmla="*/ 3756137 h 4565177"/>
              <a:gd name="connsiteX4312" fmla="*/ 9958124 w 12243467"/>
              <a:gd name="connsiteY4312" fmla="*/ 3751787 h 4565177"/>
              <a:gd name="connsiteX4313" fmla="*/ 10047462 w 12243467"/>
              <a:gd name="connsiteY4313" fmla="*/ 3670967 h 4565177"/>
              <a:gd name="connsiteX4314" fmla="*/ 10049675 w 12243467"/>
              <a:gd name="connsiteY4314" fmla="*/ 3682296 h 4565177"/>
              <a:gd name="connsiteX4315" fmla="*/ 10066547 w 12243467"/>
              <a:gd name="connsiteY4315" fmla="*/ 3650331 h 4565177"/>
              <a:gd name="connsiteX4316" fmla="*/ 10088674 w 12243467"/>
              <a:gd name="connsiteY4316" fmla="*/ 3631416 h 4565177"/>
              <a:gd name="connsiteX4317" fmla="*/ 10090057 w 12243467"/>
              <a:gd name="connsiteY4317" fmla="*/ 3640520 h 4565177"/>
              <a:gd name="connsiteX4318" fmla="*/ 10108589 w 12243467"/>
              <a:gd name="connsiteY4318" fmla="*/ 3624740 h 4565177"/>
              <a:gd name="connsiteX4319" fmla="*/ 10095312 w 12243467"/>
              <a:gd name="connsiteY4319" fmla="*/ 3622818 h 4565177"/>
              <a:gd name="connsiteX4320" fmla="*/ 10116610 w 12243467"/>
              <a:gd name="connsiteY4320" fmla="*/ 3601778 h 4565177"/>
              <a:gd name="connsiteX4321" fmla="*/ 10106376 w 12243467"/>
              <a:gd name="connsiteY4321" fmla="*/ 3613411 h 4565177"/>
              <a:gd name="connsiteX4322" fmla="*/ 10115780 w 12243467"/>
              <a:gd name="connsiteY4322" fmla="*/ 3618367 h 4565177"/>
              <a:gd name="connsiteX4323" fmla="*/ 10120205 w 12243467"/>
              <a:gd name="connsiteY4323" fmla="*/ 3591562 h 4565177"/>
              <a:gd name="connsiteX4324" fmla="*/ 10130439 w 12243467"/>
              <a:gd name="connsiteY4324" fmla="*/ 3598744 h 4565177"/>
              <a:gd name="connsiteX4325" fmla="*/ 10207608 w 12243467"/>
              <a:gd name="connsiteY4325" fmla="*/ 3487780 h 4565177"/>
              <a:gd name="connsiteX4326" fmla="*/ 10225586 w 12243467"/>
              <a:gd name="connsiteY4326" fmla="*/ 3488589 h 4565177"/>
              <a:gd name="connsiteX4327" fmla="*/ 10225586 w 12243467"/>
              <a:gd name="connsiteY4327" fmla="*/ 3457940 h 4565177"/>
              <a:gd name="connsiteX4328" fmla="*/ 10264309 w 12243467"/>
              <a:gd name="connsiteY4328" fmla="*/ 3393202 h 4565177"/>
              <a:gd name="connsiteX4329" fmla="*/ 10377987 w 12243467"/>
              <a:gd name="connsiteY4329" fmla="*/ 3199091 h 4565177"/>
              <a:gd name="connsiteX4330" fmla="*/ 10426391 w 12243467"/>
              <a:gd name="connsiteY4330" fmla="*/ 3059298 h 4565177"/>
              <a:gd name="connsiteX4331" fmla="*/ 10442433 w 12243467"/>
              <a:gd name="connsiteY4331" fmla="*/ 3044024 h 4565177"/>
              <a:gd name="connsiteX4332" fmla="*/ 10430816 w 12243467"/>
              <a:gd name="connsiteY4332" fmla="*/ 3039472 h 4565177"/>
              <a:gd name="connsiteX4333" fmla="*/ 10436071 w 12243467"/>
              <a:gd name="connsiteY4333" fmla="*/ 3026929 h 4565177"/>
              <a:gd name="connsiteX4334" fmla="*/ 10405923 w 12243467"/>
              <a:gd name="connsiteY4334" fmla="*/ 3055960 h 4565177"/>
              <a:gd name="connsiteX4335" fmla="*/ 10444092 w 12243467"/>
              <a:gd name="connsiteY4335" fmla="*/ 3006901 h 4565177"/>
              <a:gd name="connsiteX4336" fmla="*/ 10447411 w 12243467"/>
              <a:gd name="connsiteY4336" fmla="*/ 3003158 h 4565177"/>
              <a:gd name="connsiteX4337" fmla="*/ 10444092 w 12243467"/>
              <a:gd name="connsiteY4337" fmla="*/ 2999719 h 4565177"/>
              <a:gd name="connsiteX4338" fmla="*/ 10441050 w 12243467"/>
              <a:gd name="connsiteY4338" fmla="*/ 2990312 h 4565177"/>
              <a:gd name="connsiteX4339" fmla="*/ 10446858 w 12243467"/>
              <a:gd name="connsiteY4339" fmla="*/ 2986671 h 4565177"/>
              <a:gd name="connsiteX4340" fmla="*/ 10449071 w 12243467"/>
              <a:gd name="connsiteY4340" fmla="*/ 2970891 h 4565177"/>
              <a:gd name="connsiteX4341" fmla="*/ 10438837 w 12243467"/>
              <a:gd name="connsiteY4341" fmla="*/ 2980703 h 4565177"/>
              <a:gd name="connsiteX4342" fmla="*/ 10425008 w 12243467"/>
              <a:gd name="connsiteY4342" fmla="*/ 3006496 h 4565177"/>
              <a:gd name="connsiteX4343" fmla="*/ 10401497 w 12243467"/>
              <a:gd name="connsiteY4343" fmla="*/ 3027637 h 4565177"/>
              <a:gd name="connsiteX4344" fmla="*/ 10391540 w 12243467"/>
              <a:gd name="connsiteY4344" fmla="*/ 3030773 h 4565177"/>
              <a:gd name="connsiteX4345" fmla="*/ 10390987 w 12243467"/>
              <a:gd name="connsiteY4345" fmla="*/ 3032189 h 4565177"/>
              <a:gd name="connsiteX4346" fmla="*/ 10384902 w 12243467"/>
              <a:gd name="connsiteY4346" fmla="*/ 3061321 h 4565177"/>
              <a:gd name="connsiteX4347" fmla="*/ 10374945 w 12243467"/>
              <a:gd name="connsiteY4347" fmla="*/ 3098747 h 4565177"/>
              <a:gd name="connsiteX4348" fmla="*/ 10361945 w 12243467"/>
              <a:gd name="connsiteY4348" fmla="*/ 3134555 h 4565177"/>
              <a:gd name="connsiteX4349" fmla="*/ 10295287 w 12243467"/>
              <a:gd name="connsiteY4349" fmla="*/ 3259580 h 4565177"/>
              <a:gd name="connsiteX4350" fmla="*/ 10303308 w 12243467"/>
              <a:gd name="connsiteY4350" fmla="*/ 3267166 h 4565177"/>
              <a:gd name="connsiteX4351" fmla="*/ 10289478 w 12243467"/>
              <a:gd name="connsiteY4351" fmla="*/ 3282036 h 4565177"/>
              <a:gd name="connsiteX4352" fmla="*/ 10220608 w 12243467"/>
              <a:gd name="connsiteY4352" fmla="*/ 3395731 h 4565177"/>
              <a:gd name="connsiteX4353" fmla="*/ 10214523 w 12243467"/>
              <a:gd name="connsiteY4353" fmla="*/ 3399372 h 4565177"/>
              <a:gd name="connsiteX4354" fmla="*/ 10215906 w 12243467"/>
              <a:gd name="connsiteY4354" fmla="*/ 3408476 h 4565177"/>
              <a:gd name="connsiteX4355" fmla="*/ 10196268 w 12243467"/>
              <a:gd name="connsiteY4355" fmla="*/ 3433967 h 4565177"/>
              <a:gd name="connsiteX4356" fmla="*/ 10130992 w 12243467"/>
              <a:gd name="connsiteY4356" fmla="*/ 3506999 h 4565177"/>
              <a:gd name="connsiteX4357" fmla="*/ 10128503 w 12243467"/>
              <a:gd name="connsiteY4357" fmla="*/ 3519339 h 4565177"/>
              <a:gd name="connsiteX4358" fmla="*/ 10111078 w 12243467"/>
              <a:gd name="connsiteY4358" fmla="*/ 3525509 h 4565177"/>
              <a:gd name="connsiteX4359" fmla="*/ 10090610 w 12243467"/>
              <a:gd name="connsiteY4359" fmla="*/ 3548774 h 4565177"/>
              <a:gd name="connsiteX4360" fmla="*/ 10077057 w 12243467"/>
              <a:gd name="connsiteY4360" fmla="*/ 3540075 h 4565177"/>
              <a:gd name="connsiteX4361" fmla="*/ 10087844 w 12243467"/>
              <a:gd name="connsiteY4361" fmla="*/ 3554136 h 4565177"/>
              <a:gd name="connsiteX4362" fmla="*/ 10064887 w 12243467"/>
              <a:gd name="connsiteY4362" fmla="*/ 3559193 h 4565177"/>
              <a:gd name="connsiteX4363" fmla="*/ 10048292 w 12243467"/>
              <a:gd name="connsiteY4363" fmla="*/ 3586302 h 4565177"/>
              <a:gd name="connsiteX4364" fmla="*/ 10039994 w 12243467"/>
              <a:gd name="connsiteY4364" fmla="*/ 3602284 h 4565177"/>
              <a:gd name="connsiteX4365" fmla="*/ 10046909 w 12243467"/>
              <a:gd name="connsiteY4365" fmla="*/ 3607746 h 4565177"/>
              <a:gd name="connsiteX4366" fmla="*/ 10039994 w 12243467"/>
              <a:gd name="connsiteY4366" fmla="*/ 3620997 h 4565177"/>
              <a:gd name="connsiteX4367" fmla="*/ 10020080 w 12243467"/>
              <a:gd name="connsiteY4367" fmla="*/ 3639508 h 4565177"/>
              <a:gd name="connsiteX4368" fmla="*/ 10008463 w 12243467"/>
              <a:gd name="connsiteY4368" fmla="*/ 3634956 h 4565177"/>
              <a:gd name="connsiteX4369" fmla="*/ 10004591 w 12243467"/>
              <a:gd name="connsiteY4369" fmla="*/ 3656906 h 4565177"/>
              <a:gd name="connsiteX4370" fmla="*/ 9990485 w 12243467"/>
              <a:gd name="connsiteY4370" fmla="*/ 3664796 h 4565177"/>
              <a:gd name="connsiteX4371" fmla="*/ 9924656 w 12243467"/>
              <a:gd name="connsiteY4371" fmla="*/ 3723869 h 4565177"/>
              <a:gd name="connsiteX4372" fmla="*/ 9919954 w 12243467"/>
              <a:gd name="connsiteY4372" fmla="*/ 3736716 h 4565177"/>
              <a:gd name="connsiteX4373" fmla="*/ 9839190 w 12243467"/>
              <a:gd name="connsiteY4373" fmla="*/ 3789821 h 4565177"/>
              <a:gd name="connsiteX4374" fmla="*/ 9836701 w 12243467"/>
              <a:gd name="connsiteY4374" fmla="*/ 3802060 h 4565177"/>
              <a:gd name="connsiteX4375" fmla="*/ 9812637 w 12243467"/>
              <a:gd name="connsiteY4375" fmla="*/ 3797913 h 4565177"/>
              <a:gd name="connsiteX4376" fmla="*/ 9785255 w 12243467"/>
              <a:gd name="connsiteY4376" fmla="*/ 3822695 h 4565177"/>
              <a:gd name="connsiteX4377" fmla="*/ 9777234 w 12243467"/>
              <a:gd name="connsiteY4377" fmla="*/ 3845657 h 4565177"/>
              <a:gd name="connsiteX4378" fmla="*/ 9763957 w 12243467"/>
              <a:gd name="connsiteY4378" fmla="*/ 3843937 h 4565177"/>
              <a:gd name="connsiteX4379" fmla="*/ 9728554 w 12243467"/>
              <a:gd name="connsiteY4379" fmla="*/ 3861133 h 4565177"/>
              <a:gd name="connsiteX4380" fmla="*/ 9707533 w 12243467"/>
              <a:gd name="connsiteY4380" fmla="*/ 3889152 h 4565177"/>
              <a:gd name="connsiteX4381" fmla="*/ 9565919 w 12243467"/>
              <a:gd name="connsiteY4381" fmla="*/ 3950956 h 4565177"/>
              <a:gd name="connsiteX4382" fmla="*/ 9561770 w 12243467"/>
              <a:gd name="connsiteY4382" fmla="*/ 3952575 h 4565177"/>
              <a:gd name="connsiteX4383" fmla="*/ 9576429 w 12243467"/>
              <a:gd name="connsiteY4383" fmla="*/ 3930422 h 4565177"/>
              <a:gd name="connsiteX4384" fmla="*/ 9608514 w 12243467"/>
              <a:gd name="connsiteY4384" fmla="*/ 3908675 h 4565177"/>
              <a:gd name="connsiteX4385" fmla="*/ 9599386 w 12243467"/>
              <a:gd name="connsiteY4385" fmla="*/ 3891985 h 4565177"/>
              <a:gd name="connsiteX4386" fmla="*/ 9532452 w 12243467"/>
              <a:gd name="connsiteY4386" fmla="*/ 3930119 h 4565177"/>
              <a:gd name="connsiteX4387" fmla="*/ 9500367 w 12243467"/>
              <a:gd name="connsiteY4387" fmla="*/ 3930220 h 4565177"/>
              <a:gd name="connsiteX4388" fmla="*/ 9578366 w 12243467"/>
              <a:gd name="connsiteY4388" fmla="*/ 3889557 h 4565177"/>
              <a:gd name="connsiteX4389" fmla="*/ 9576153 w 12243467"/>
              <a:gd name="connsiteY4389" fmla="*/ 3871248 h 4565177"/>
              <a:gd name="connsiteX4390" fmla="*/ 9564813 w 12243467"/>
              <a:gd name="connsiteY4390" fmla="*/ 3873777 h 4565177"/>
              <a:gd name="connsiteX4391" fmla="*/ 9566749 w 12243467"/>
              <a:gd name="connsiteY4391" fmla="*/ 3866292 h 4565177"/>
              <a:gd name="connsiteX4392" fmla="*/ 9557345 w 12243467"/>
              <a:gd name="connsiteY4392" fmla="*/ 3861335 h 4565177"/>
              <a:gd name="connsiteX4393" fmla="*/ 9537430 w 12243467"/>
              <a:gd name="connsiteY4393" fmla="*/ 3879846 h 4565177"/>
              <a:gd name="connsiteX4394" fmla="*/ 9531898 w 12243467"/>
              <a:gd name="connsiteY4394" fmla="*/ 3859919 h 4565177"/>
              <a:gd name="connsiteX4395" fmla="*/ 9508388 w 12243467"/>
              <a:gd name="connsiteY4395" fmla="*/ 3851018 h 4565177"/>
              <a:gd name="connsiteX4396" fmla="*/ 9521941 w 12243467"/>
              <a:gd name="connsiteY4396" fmla="*/ 3847983 h 4565177"/>
              <a:gd name="connsiteX4397" fmla="*/ 9535494 w 12243467"/>
              <a:gd name="connsiteY4397" fmla="*/ 3856682 h 4565177"/>
              <a:gd name="connsiteX4398" fmla="*/ 9533005 w 12243467"/>
              <a:gd name="connsiteY4398" fmla="*/ 3850310 h 4565177"/>
              <a:gd name="connsiteX4399" fmla="*/ 9550707 w 12243467"/>
              <a:gd name="connsiteY4399" fmla="*/ 3851119 h 4565177"/>
              <a:gd name="connsiteX4400" fmla="*/ 9539366 w 12243467"/>
              <a:gd name="connsiteY4400" fmla="*/ 3841712 h 4565177"/>
              <a:gd name="connsiteX4401" fmla="*/ 9545451 w 12243467"/>
              <a:gd name="connsiteY4401" fmla="*/ 3819357 h 4565177"/>
              <a:gd name="connsiteX4402" fmla="*/ 9571727 w 12243467"/>
              <a:gd name="connsiteY4402" fmla="*/ 3822897 h 4565177"/>
              <a:gd name="connsiteX4403" fmla="*/ 9619024 w 12243467"/>
              <a:gd name="connsiteY4403" fmla="*/ 3798419 h 4565177"/>
              <a:gd name="connsiteX4404" fmla="*/ 9626216 w 12243467"/>
              <a:gd name="connsiteY4404" fmla="*/ 3785066 h 4565177"/>
              <a:gd name="connsiteX4405" fmla="*/ 9624833 w 12243467"/>
              <a:gd name="connsiteY4405" fmla="*/ 3794777 h 4565177"/>
              <a:gd name="connsiteX4406" fmla="*/ 9648343 w 12243467"/>
              <a:gd name="connsiteY4406" fmla="*/ 3784864 h 4565177"/>
              <a:gd name="connsiteX4407" fmla="*/ 9637832 w 12243467"/>
              <a:gd name="connsiteY4407" fmla="*/ 3770804 h 4565177"/>
              <a:gd name="connsiteX4408" fmla="*/ 9646130 w 12243467"/>
              <a:gd name="connsiteY4408" fmla="*/ 3766657 h 4565177"/>
              <a:gd name="connsiteX4409" fmla="*/ 9648066 w 12243467"/>
              <a:gd name="connsiteY4409" fmla="*/ 3777885 h 4565177"/>
              <a:gd name="connsiteX4410" fmla="*/ 9653875 w 12243467"/>
              <a:gd name="connsiteY4410" fmla="*/ 3774243 h 4565177"/>
              <a:gd name="connsiteX4411" fmla="*/ 9649173 w 12243467"/>
              <a:gd name="connsiteY4411" fmla="*/ 3768275 h 4565177"/>
              <a:gd name="connsiteX4412" fmla="*/ 9697576 w 12243467"/>
              <a:gd name="connsiteY4412" fmla="*/ 3734086 h 4565177"/>
              <a:gd name="connsiteX4413" fmla="*/ 9713342 w 12243467"/>
              <a:gd name="connsiteY4413" fmla="*/ 3723566 h 4565177"/>
              <a:gd name="connsiteX4414" fmla="*/ 9708363 w 12243467"/>
              <a:gd name="connsiteY4414" fmla="*/ 3717699 h 4565177"/>
              <a:gd name="connsiteX4415" fmla="*/ 9747085 w 12243467"/>
              <a:gd name="connsiteY4415" fmla="*/ 3690287 h 4565177"/>
              <a:gd name="connsiteX4416" fmla="*/ 9756490 w 12243467"/>
              <a:gd name="connsiteY4416" fmla="*/ 3695344 h 4565177"/>
              <a:gd name="connsiteX4417" fmla="*/ 9812084 w 12243467"/>
              <a:gd name="connsiteY4417" fmla="*/ 3647803 h 4565177"/>
              <a:gd name="connsiteX4418" fmla="*/ 9809595 w 12243467"/>
              <a:gd name="connsiteY4418" fmla="*/ 3641329 h 4565177"/>
              <a:gd name="connsiteX4419" fmla="*/ 9805446 w 12243467"/>
              <a:gd name="connsiteY4419" fmla="*/ 3637485 h 4565177"/>
              <a:gd name="connsiteX4420" fmla="*/ 9799914 w 12243467"/>
              <a:gd name="connsiteY4420" fmla="*/ 3648207 h 4565177"/>
              <a:gd name="connsiteX4421" fmla="*/ 9789957 w 12243467"/>
              <a:gd name="connsiteY4421" fmla="*/ 3648005 h 4565177"/>
              <a:gd name="connsiteX4422" fmla="*/ 9823424 w 12243467"/>
              <a:gd name="connsiteY4422" fmla="*/ 3607746 h 4565177"/>
              <a:gd name="connsiteX4423" fmla="*/ 9814020 w 12243467"/>
              <a:gd name="connsiteY4423" fmla="*/ 3602790 h 4565177"/>
              <a:gd name="connsiteX4424" fmla="*/ 9846658 w 12243467"/>
              <a:gd name="connsiteY4424" fmla="*/ 3560407 h 4565177"/>
              <a:gd name="connsiteX4425" fmla="*/ 9828680 w 12243467"/>
              <a:gd name="connsiteY4425" fmla="*/ 3552618 h 4565177"/>
              <a:gd name="connsiteX4426" fmla="*/ 9797701 w 12243467"/>
              <a:gd name="connsiteY4426" fmla="*/ 3580637 h 4565177"/>
              <a:gd name="connsiteX4427" fmla="*/ 9776404 w 12243467"/>
              <a:gd name="connsiteY4427" fmla="*/ 3601778 h 4565177"/>
              <a:gd name="connsiteX4428" fmla="*/ 9731596 w 12243467"/>
              <a:gd name="connsiteY4428" fmla="*/ 3632731 h 4565177"/>
              <a:gd name="connsiteX4429" fmla="*/ 9681534 w 12243467"/>
              <a:gd name="connsiteY4429" fmla="*/ 3662571 h 4565177"/>
              <a:gd name="connsiteX4430" fmla="*/ 9675725 w 12243467"/>
              <a:gd name="connsiteY4430" fmla="*/ 3673293 h 4565177"/>
              <a:gd name="connsiteX4431" fmla="*/ 9665768 w 12243467"/>
              <a:gd name="connsiteY4431" fmla="*/ 3673091 h 4565177"/>
              <a:gd name="connsiteX4432" fmla="*/ 9639492 w 12243467"/>
              <a:gd name="connsiteY4432" fmla="*/ 3706977 h 4565177"/>
              <a:gd name="connsiteX4433" fmla="*/ 9511707 w 12243467"/>
              <a:gd name="connsiteY4433" fmla="*/ 3772726 h 4565177"/>
              <a:gd name="connsiteX4434" fmla="*/ 9500091 w 12243467"/>
              <a:gd name="connsiteY4434" fmla="*/ 3787090 h 4565177"/>
              <a:gd name="connsiteX4435" fmla="*/ 9479346 w 12243467"/>
              <a:gd name="connsiteY4435" fmla="*/ 3784662 h 4565177"/>
              <a:gd name="connsiteX4436" fmla="*/ 9543792 w 12243467"/>
              <a:gd name="connsiteY4436" fmla="*/ 3735198 h 4565177"/>
              <a:gd name="connsiteX4437" fmla="*/ 9536324 w 12243467"/>
              <a:gd name="connsiteY4437" fmla="*/ 3734490 h 4565177"/>
              <a:gd name="connsiteX4438" fmla="*/ 9594961 w 12243467"/>
              <a:gd name="connsiteY4438" fmla="*/ 3707483 h 4565177"/>
              <a:gd name="connsiteX4439" fmla="*/ 9661066 w 12243467"/>
              <a:gd name="connsiteY4439" fmla="*/ 3674102 h 4565177"/>
              <a:gd name="connsiteX4440" fmla="*/ 9683470 w 12243467"/>
              <a:gd name="connsiteY4440" fmla="*/ 3655086 h 4565177"/>
              <a:gd name="connsiteX4441" fmla="*/ 9674895 w 12243467"/>
              <a:gd name="connsiteY4441" fmla="*/ 3652253 h 4565177"/>
              <a:gd name="connsiteX4442" fmla="*/ 9784149 w 12243467"/>
              <a:gd name="connsiteY4442" fmla="*/ 3553124 h 4565177"/>
              <a:gd name="connsiteX4443" fmla="*/ 9757319 w 12243467"/>
              <a:gd name="connsiteY4443" fmla="*/ 3554338 h 4565177"/>
              <a:gd name="connsiteX4444" fmla="*/ 9728831 w 12243467"/>
              <a:gd name="connsiteY4444" fmla="*/ 3588730 h 4565177"/>
              <a:gd name="connsiteX4445" fmla="*/ 9685959 w 12243467"/>
              <a:gd name="connsiteY4445" fmla="*/ 3624032 h 4565177"/>
              <a:gd name="connsiteX4446" fmla="*/ 9652215 w 12243467"/>
              <a:gd name="connsiteY4446" fmla="*/ 3645577 h 4565177"/>
              <a:gd name="connsiteX4447" fmla="*/ 9590536 w 12243467"/>
              <a:gd name="connsiteY4447" fmla="*/ 3696659 h 4565177"/>
              <a:gd name="connsiteX4448" fmla="*/ 9512537 w 12243467"/>
              <a:gd name="connsiteY4448" fmla="*/ 3737424 h 4565177"/>
              <a:gd name="connsiteX4449" fmla="*/ 9700065 w 12243467"/>
              <a:gd name="connsiteY4449" fmla="*/ 3597530 h 4565177"/>
              <a:gd name="connsiteX4450" fmla="*/ 9747639 w 12243467"/>
              <a:gd name="connsiteY4450" fmla="*/ 3561115 h 4565177"/>
              <a:gd name="connsiteX4451" fmla="*/ 9749575 w 12243467"/>
              <a:gd name="connsiteY4451" fmla="*/ 3553630 h 4565177"/>
              <a:gd name="connsiteX4452" fmla="*/ 9825360 w 12243467"/>
              <a:gd name="connsiteY4452" fmla="*/ 3494658 h 4565177"/>
              <a:gd name="connsiteX4453" fmla="*/ 9788021 w 12243467"/>
              <a:gd name="connsiteY4453" fmla="*/ 3538153 h 4565177"/>
              <a:gd name="connsiteX4454" fmla="*/ 9843339 w 12243467"/>
              <a:gd name="connsiteY4454" fmla="*/ 3483733 h 4565177"/>
              <a:gd name="connsiteX4455" fmla="*/ 9901423 w 12243467"/>
              <a:gd name="connsiteY4455" fmla="*/ 3423952 h 4565177"/>
              <a:gd name="connsiteX4456" fmla="*/ 9929911 w 12243467"/>
              <a:gd name="connsiteY4456" fmla="*/ 3389459 h 4565177"/>
              <a:gd name="connsiteX4457" fmla="*/ 9974719 w 12243467"/>
              <a:gd name="connsiteY4457" fmla="*/ 3327959 h 4565177"/>
              <a:gd name="connsiteX4458" fmla="*/ 10019803 w 12243467"/>
              <a:gd name="connsiteY4458" fmla="*/ 3266357 h 4565177"/>
              <a:gd name="connsiteX4459" fmla="*/ 9997953 w 12243467"/>
              <a:gd name="connsiteY4459" fmla="*/ 3280518 h 4565177"/>
              <a:gd name="connsiteX4460" fmla="*/ 9864636 w 12243467"/>
              <a:gd name="connsiteY4460" fmla="*/ 3443778 h 4565177"/>
              <a:gd name="connsiteX4461" fmla="*/ 9943741 w 12243467"/>
              <a:gd name="connsiteY4461" fmla="*/ 3337063 h 4565177"/>
              <a:gd name="connsiteX4462" fmla="*/ 9935167 w 12243467"/>
              <a:gd name="connsiteY4462" fmla="*/ 3334433 h 4565177"/>
              <a:gd name="connsiteX4463" fmla="*/ 9965315 w 12243467"/>
              <a:gd name="connsiteY4463" fmla="*/ 3304188 h 4565177"/>
              <a:gd name="connsiteX4464" fmla="*/ 9961719 w 12243467"/>
              <a:gd name="connsiteY4464" fmla="*/ 3295590 h 4565177"/>
              <a:gd name="connsiteX4465" fmla="*/ 9888700 w 12243467"/>
              <a:gd name="connsiteY4465" fmla="*/ 3361036 h 4565177"/>
              <a:gd name="connsiteX4466" fmla="*/ 9902529 w 12243467"/>
              <a:gd name="connsiteY4466" fmla="*/ 3364981 h 4565177"/>
              <a:gd name="connsiteX4467" fmla="*/ 9903359 w 12243467"/>
              <a:gd name="connsiteY4467" fmla="*/ 3378838 h 4565177"/>
              <a:gd name="connsiteX4468" fmla="*/ 9876530 w 12243467"/>
              <a:gd name="connsiteY4468" fmla="*/ 3398867 h 4565177"/>
              <a:gd name="connsiteX4469" fmla="*/ 9872104 w 12243467"/>
              <a:gd name="connsiteY4469" fmla="*/ 3388144 h 4565177"/>
              <a:gd name="connsiteX4470" fmla="*/ 9798255 w 12243467"/>
              <a:gd name="connsiteY4470" fmla="*/ 3458344 h 4565177"/>
              <a:gd name="connsiteX4471" fmla="*/ 9811254 w 12243467"/>
              <a:gd name="connsiteY4471" fmla="*/ 3453185 h 4565177"/>
              <a:gd name="connsiteX4472" fmla="*/ 9794106 w 12243467"/>
              <a:gd name="connsiteY4472" fmla="*/ 3466335 h 4565177"/>
              <a:gd name="connsiteX4473" fmla="*/ 9796872 w 12243467"/>
              <a:gd name="connsiteY4473" fmla="*/ 3461075 h 4565177"/>
              <a:gd name="connsiteX4474" fmla="*/ 9755383 w 12243467"/>
              <a:gd name="connsiteY4474" fmla="*/ 3493748 h 4565177"/>
              <a:gd name="connsiteX4475" fmla="*/ 9769489 w 12243467"/>
              <a:gd name="connsiteY4475" fmla="*/ 3497591 h 4565177"/>
              <a:gd name="connsiteX4476" fmla="*/ 9659130 w 12243467"/>
              <a:gd name="connsiteY4476" fmla="*/ 3575984 h 4565177"/>
              <a:gd name="connsiteX4477" fmla="*/ 9642811 w 12243467"/>
              <a:gd name="connsiteY4477" fmla="*/ 3572545 h 4565177"/>
              <a:gd name="connsiteX4478" fmla="*/ 9627322 w 12243467"/>
              <a:gd name="connsiteY4478" fmla="*/ 3583065 h 4565177"/>
              <a:gd name="connsiteX4479" fmla="*/ 9619024 w 12243467"/>
              <a:gd name="connsiteY4479" fmla="*/ 3605926 h 4565177"/>
              <a:gd name="connsiteX4480" fmla="*/ 9549877 w 12243467"/>
              <a:gd name="connsiteY4480" fmla="*/ 3625853 h 4565177"/>
              <a:gd name="connsiteX4481" fmla="*/ 9559281 w 12243467"/>
              <a:gd name="connsiteY4481" fmla="*/ 3612096 h 4565177"/>
              <a:gd name="connsiteX4482" fmla="*/ 9535494 w 12243467"/>
              <a:gd name="connsiteY4482" fmla="*/ 3615029 h 4565177"/>
              <a:gd name="connsiteX4483" fmla="*/ 9540473 w 12243467"/>
              <a:gd name="connsiteY4483" fmla="*/ 3620896 h 4565177"/>
              <a:gd name="connsiteX4484" fmla="*/ 9364008 w 12243467"/>
              <a:gd name="connsiteY4484" fmla="*/ 3713855 h 4565177"/>
              <a:gd name="connsiteX4485" fmla="*/ 9478240 w 12243467"/>
              <a:gd name="connsiteY4485" fmla="*/ 3639407 h 4565177"/>
              <a:gd name="connsiteX4486" fmla="*/ 9550430 w 12243467"/>
              <a:gd name="connsiteY4486" fmla="*/ 3583470 h 4565177"/>
              <a:gd name="connsiteX4487" fmla="*/ 9515856 w 12243467"/>
              <a:gd name="connsiteY4487" fmla="*/ 3602891 h 4565177"/>
              <a:gd name="connsiteX4488" fmla="*/ 9404390 w 12243467"/>
              <a:gd name="connsiteY4488" fmla="*/ 3672079 h 4565177"/>
              <a:gd name="connsiteX4489" fmla="*/ 9372582 w 12243467"/>
              <a:gd name="connsiteY4489" fmla="*/ 3686139 h 4565177"/>
              <a:gd name="connsiteX4490" fmla="*/ 9346860 w 12243467"/>
              <a:gd name="connsiteY4490" fmla="*/ 3689477 h 4565177"/>
              <a:gd name="connsiteX4491" fmla="*/ 9428177 w 12243467"/>
              <a:gd name="connsiteY4491" fmla="*/ 3638699 h 4565177"/>
              <a:gd name="connsiteX4492" fmla="*/ 9451687 w 12243467"/>
              <a:gd name="connsiteY4492" fmla="*/ 3628786 h 4565177"/>
              <a:gd name="connsiteX4493" fmla="*/ 9434539 w 12243467"/>
              <a:gd name="connsiteY4493" fmla="*/ 3623223 h 4565177"/>
              <a:gd name="connsiteX4494" fmla="*/ 9423475 w 12243467"/>
              <a:gd name="connsiteY4494" fmla="*/ 3632630 h 4565177"/>
              <a:gd name="connsiteX4495" fmla="*/ 9408816 w 12243467"/>
              <a:gd name="connsiteY4495" fmla="*/ 3633540 h 4565177"/>
              <a:gd name="connsiteX4496" fmla="*/ 9410475 w 12243467"/>
              <a:gd name="connsiteY4496" fmla="*/ 3619075 h 4565177"/>
              <a:gd name="connsiteX4497" fmla="*/ 9409092 w 12243467"/>
              <a:gd name="connsiteY4497" fmla="*/ 3619379 h 4565177"/>
              <a:gd name="connsiteX4498" fmla="*/ 9402454 w 12243467"/>
              <a:gd name="connsiteY4498" fmla="*/ 3626257 h 4565177"/>
              <a:gd name="connsiteX4499" fmla="*/ 9402731 w 12243467"/>
              <a:gd name="connsiteY4499" fmla="*/ 3627775 h 4565177"/>
              <a:gd name="connsiteX4500" fmla="*/ 9404390 w 12243467"/>
              <a:gd name="connsiteY4500" fmla="*/ 3634653 h 4565177"/>
              <a:gd name="connsiteX4501" fmla="*/ 9396093 w 12243467"/>
              <a:gd name="connsiteY4501" fmla="*/ 3635766 h 4565177"/>
              <a:gd name="connsiteX4502" fmla="*/ 9389731 w 12243467"/>
              <a:gd name="connsiteY4502" fmla="*/ 3639812 h 4565177"/>
              <a:gd name="connsiteX4503" fmla="*/ 9378944 w 12243467"/>
              <a:gd name="connsiteY4503" fmla="*/ 3651849 h 4565177"/>
              <a:gd name="connsiteX4504" fmla="*/ 9378944 w 12243467"/>
              <a:gd name="connsiteY4504" fmla="*/ 3651950 h 4565177"/>
              <a:gd name="connsiteX4505" fmla="*/ 9380604 w 12243467"/>
              <a:gd name="connsiteY4505" fmla="*/ 3656198 h 4565177"/>
              <a:gd name="connsiteX4506" fmla="*/ 9366221 w 12243467"/>
              <a:gd name="connsiteY4506" fmla="*/ 3661256 h 4565177"/>
              <a:gd name="connsiteX4507" fmla="*/ 9356264 w 12243467"/>
              <a:gd name="connsiteY4507" fmla="*/ 3668438 h 4565177"/>
              <a:gd name="connsiteX4508" fmla="*/ 9354051 w 12243467"/>
              <a:gd name="connsiteY4508" fmla="*/ 3679565 h 4565177"/>
              <a:gd name="connsiteX4509" fmla="*/ 9241202 w 12243467"/>
              <a:gd name="connsiteY4509" fmla="*/ 3762611 h 4565177"/>
              <a:gd name="connsiteX4510" fmla="*/ 9181735 w 12243467"/>
              <a:gd name="connsiteY4510" fmla="*/ 3806106 h 4565177"/>
              <a:gd name="connsiteX4511" fmla="*/ 9052844 w 12243467"/>
              <a:gd name="connsiteY4511" fmla="*/ 3896435 h 4565177"/>
              <a:gd name="connsiteX4512" fmla="*/ 9061419 w 12243467"/>
              <a:gd name="connsiteY4512" fmla="*/ 3901999 h 4565177"/>
              <a:gd name="connsiteX4513" fmla="*/ 9028505 w 12243467"/>
              <a:gd name="connsiteY4513" fmla="*/ 3909787 h 4565177"/>
              <a:gd name="connsiteX4514" fmla="*/ 8986463 w 12243467"/>
              <a:gd name="connsiteY4514" fmla="*/ 3939223 h 4565177"/>
              <a:gd name="connsiteX4515" fmla="*/ 8970421 w 12243467"/>
              <a:gd name="connsiteY4515" fmla="*/ 3935076 h 4565177"/>
              <a:gd name="connsiteX4516" fmla="*/ 8968761 w 12243467"/>
              <a:gd name="connsiteY4516" fmla="*/ 3955407 h 4565177"/>
              <a:gd name="connsiteX4517" fmla="*/ 8960463 w 12243467"/>
              <a:gd name="connsiteY4517" fmla="*/ 3961375 h 4565177"/>
              <a:gd name="connsiteX4518" fmla="*/ 8935570 w 12243467"/>
              <a:gd name="connsiteY4518" fmla="*/ 3965421 h 4565177"/>
              <a:gd name="connsiteX4519" fmla="*/ 8941655 w 12243467"/>
              <a:gd name="connsiteY4519" fmla="*/ 3970681 h 4565177"/>
              <a:gd name="connsiteX4520" fmla="*/ 8940826 w 12243467"/>
              <a:gd name="connsiteY4520" fmla="*/ 3975132 h 4565177"/>
              <a:gd name="connsiteX4521" fmla="*/ 8873338 w 12243467"/>
              <a:gd name="connsiteY4521" fmla="*/ 3999510 h 4565177"/>
              <a:gd name="connsiteX4522" fmla="*/ 8874167 w 12243467"/>
              <a:gd name="connsiteY4522" fmla="*/ 4006388 h 4565177"/>
              <a:gd name="connsiteX4523" fmla="*/ 8805020 w 12243467"/>
              <a:gd name="connsiteY4523" fmla="*/ 4039768 h 4565177"/>
              <a:gd name="connsiteX4524" fmla="*/ 8640172 w 12243467"/>
              <a:gd name="connsiteY4524" fmla="*/ 4105618 h 4565177"/>
              <a:gd name="connsiteX4525" fmla="*/ 8642661 w 12243467"/>
              <a:gd name="connsiteY4525" fmla="*/ 4117251 h 4565177"/>
              <a:gd name="connsiteX4526" fmla="*/ 8621917 w 12243467"/>
              <a:gd name="connsiteY4526" fmla="*/ 4112699 h 4565177"/>
              <a:gd name="connsiteX4527" fmla="*/ 8571854 w 12243467"/>
              <a:gd name="connsiteY4527" fmla="*/ 4134447 h 4565177"/>
              <a:gd name="connsiteX4528" fmla="*/ 8559408 w 12243467"/>
              <a:gd name="connsiteY4528" fmla="*/ 4135458 h 4565177"/>
              <a:gd name="connsiteX4529" fmla="*/ 8557748 w 12243467"/>
              <a:gd name="connsiteY4529" fmla="*/ 4144259 h 4565177"/>
              <a:gd name="connsiteX4530" fmla="*/ 8574897 w 12243467"/>
              <a:gd name="connsiteY4530" fmla="*/ 4141730 h 4565177"/>
              <a:gd name="connsiteX4531" fmla="*/ 8551663 w 12243467"/>
              <a:gd name="connsiteY4531" fmla="*/ 4150530 h 4565177"/>
              <a:gd name="connsiteX4532" fmla="*/ 8548621 w 12243467"/>
              <a:gd name="connsiteY4532" fmla="*/ 4141123 h 4565177"/>
              <a:gd name="connsiteX4533" fmla="*/ 8525664 w 12243467"/>
              <a:gd name="connsiteY4533" fmla="*/ 4147597 h 4565177"/>
              <a:gd name="connsiteX4534" fmla="*/ 8536728 w 12243467"/>
              <a:gd name="connsiteY4534" fmla="*/ 4153362 h 4565177"/>
              <a:gd name="connsiteX4535" fmla="*/ 8522345 w 12243467"/>
              <a:gd name="connsiteY4535" fmla="*/ 4151744 h 4565177"/>
              <a:gd name="connsiteX4536" fmla="*/ 8465367 w 12243467"/>
              <a:gd name="connsiteY4536" fmla="*/ 4172784 h 4565177"/>
              <a:gd name="connsiteX4537" fmla="*/ 8427751 w 12243467"/>
              <a:gd name="connsiteY4537" fmla="*/ 4180067 h 4565177"/>
              <a:gd name="connsiteX4538" fmla="*/ 8369944 w 12243467"/>
              <a:gd name="connsiteY4538" fmla="*/ 4191800 h 4565177"/>
              <a:gd name="connsiteX4539" fmla="*/ 8326796 w 12243467"/>
              <a:gd name="connsiteY4539" fmla="*/ 4214357 h 4565177"/>
              <a:gd name="connsiteX4540" fmla="*/ 8229159 w 12243467"/>
              <a:gd name="connsiteY4540" fmla="*/ 4221741 h 4565177"/>
              <a:gd name="connsiteX4541" fmla="*/ 8219755 w 12243467"/>
              <a:gd name="connsiteY4541" fmla="*/ 4232160 h 4565177"/>
              <a:gd name="connsiteX4542" fmla="*/ 8103588 w 12243467"/>
              <a:gd name="connsiteY4542" fmla="*/ 4246625 h 4565177"/>
              <a:gd name="connsiteX4543" fmla="*/ 8103864 w 12243467"/>
              <a:gd name="connsiteY4543" fmla="*/ 4232969 h 4565177"/>
              <a:gd name="connsiteX4544" fmla="*/ 8089481 w 12243467"/>
              <a:gd name="connsiteY4544" fmla="*/ 4245108 h 4565177"/>
              <a:gd name="connsiteX4545" fmla="*/ 8048270 w 12243467"/>
              <a:gd name="connsiteY4545" fmla="*/ 4247333 h 4565177"/>
              <a:gd name="connsiteX4546" fmla="*/ 8063482 w 12243467"/>
              <a:gd name="connsiteY4546" fmla="*/ 4230744 h 4565177"/>
              <a:gd name="connsiteX4547" fmla="*/ 8083396 w 12243467"/>
              <a:gd name="connsiteY4547" fmla="*/ 4228417 h 4565177"/>
              <a:gd name="connsiteX4548" fmla="*/ 8075375 w 12243467"/>
              <a:gd name="connsiteY4548" fmla="*/ 4207074 h 4565177"/>
              <a:gd name="connsiteX4549" fmla="*/ 8114651 w 12243467"/>
              <a:gd name="connsiteY4549" fmla="*/ 4204545 h 4565177"/>
              <a:gd name="connsiteX4550" fmla="*/ 8195415 w 12243467"/>
              <a:gd name="connsiteY4550" fmla="*/ 4186136 h 4565177"/>
              <a:gd name="connsiteX4551" fmla="*/ 8232755 w 12243467"/>
              <a:gd name="connsiteY4551" fmla="*/ 4178954 h 4565177"/>
              <a:gd name="connsiteX4552" fmla="*/ 8291392 w 12243467"/>
              <a:gd name="connsiteY4552" fmla="*/ 4162668 h 4565177"/>
              <a:gd name="connsiteX4553" fmla="*/ 8297201 w 12243467"/>
              <a:gd name="connsiteY4553" fmla="*/ 4170154 h 4565177"/>
              <a:gd name="connsiteX4554" fmla="*/ 8333710 w 12243467"/>
              <a:gd name="connsiteY4554" fmla="*/ 4155992 h 4565177"/>
              <a:gd name="connsiteX4555" fmla="*/ 8377135 w 12243467"/>
              <a:gd name="connsiteY4555" fmla="*/ 4144866 h 4565177"/>
              <a:gd name="connsiteX4556" fmla="*/ 8509898 w 12243467"/>
              <a:gd name="connsiteY4556" fmla="*/ 4093581 h 4565177"/>
              <a:gd name="connsiteX4557" fmla="*/ 8523728 w 12243467"/>
              <a:gd name="connsiteY4557" fmla="*/ 4097425 h 4565177"/>
              <a:gd name="connsiteX4558" fmla="*/ 8515707 w 12243467"/>
              <a:gd name="connsiteY4558" fmla="*/ 4089738 h 4565177"/>
              <a:gd name="connsiteX4559" fmla="*/ 8642661 w 12243467"/>
              <a:gd name="connsiteY4559" fmla="*/ 4044522 h 4565177"/>
              <a:gd name="connsiteX4560" fmla="*/ 8637959 w 12243467"/>
              <a:gd name="connsiteY4560" fmla="*/ 4055447 h 4565177"/>
              <a:gd name="connsiteX4561" fmla="*/ 8671703 w 12243467"/>
              <a:gd name="connsiteY4561" fmla="*/ 4031777 h 4565177"/>
              <a:gd name="connsiteX4562" fmla="*/ 8702682 w 12243467"/>
              <a:gd name="connsiteY4562" fmla="*/ 4021561 h 4565177"/>
              <a:gd name="connsiteX4563" fmla="*/ 8698533 w 12243467"/>
              <a:gd name="connsiteY4563" fmla="*/ 4030260 h 4565177"/>
              <a:gd name="connsiteX4564" fmla="*/ 8724256 w 12243467"/>
              <a:gd name="connsiteY4564" fmla="*/ 4021662 h 4565177"/>
              <a:gd name="connsiteX4565" fmla="*/ 8713469 w 12243467"/>
              <a:gd name="connsiteY4565" fmla="*/ 4015997 h 4565177"/>
              <a:gd name="connsiteX4566" fmla="*/ 8744723 w 12243467"/>
              <a:gd name="connsiteY4566" fmla="*/ 4003556 h 4565177"/>
              <a:gd name="connsiteX4567" fmla="*/ 8728958 w 12243467"/>
              <a:gd name="connsiteY4567" fmla="*/ 4010839 h 4565177"/>
              <a:gd name="connsiteX4568" fmla="*/ 8734766 w 12243467"/>
              <a:gd name="connsiteY4568" fmla="*/ 4018324 h 4565177"/>
              <a:gd name="connsiteX4569" fmla="*/ 8753574 w 12243467"/>
              <a:gd name="connsiteY4569" fmla="*/ 3995362 h 4565177"/>
              <a:gd name="connsiteX4570" fmla="*/ 8758829 w 12243467"/>
              <a:gd name="connsiteY4570" fmla="*/ 4005073 h 4565177"/>
              <a:gd name="connsiteX4571" fmla="*/ 8892146 w 12243467"/>
              <a:gd name="connsiteY4571" fmla="*/ 3928804 h 4565177"/>
              <a:gd name="connsiteX4572" fmla="*/ 8907911 w 12243467"/>
              <a:gd name="connsiteY4572" fmla="*/ 3935076 h 4565177"/>
              <a:gd name="connsiteX4573" fmla="*/ 8925613 w 12243467"/>
              <a:gd name="connsiteY4573" fmla="*/ 3907461 h 4565177"/>
              <a:gd name="connsiteX4574" fmla="*/ 8997250 w 12243467"/>
              <a:gd name="connsiteY4574" fmla="*/ 3860830 h 4565177"/>
              <a:gd name="connsiteX4575" fmla="*/ 9211054 w 12243467"/>
              <a:gd name="connsiteY4575" fmla="*/ 3720632 h 4565177"/>
              <a:gd name="connsiteX4576" fmla="*/ 9226266 w 12243467"/>
              <a:gd name="connsiteY4576" fmla="*/ 3704246 h 4565177"/>
              <a:gd name="connsiteX4577" fmla="*/ 9208288 w 12243467"/>
              <a:gd name="connsiteY4577" fmla="*/ 3710315 h 4565177"/>
              <a:gd name="connsiteX4578" fmla="*/ 9154906 w 12243467"/>
              <a:gd name="connsiteY4578" fmla="*/ 3731860 h 4565177"/>
              <a:gd name="connsiteX4579" fmla="*/ 9140800 w 12243467"/>
              <a:gd name="connsiteY4579" fmla="*/ 3727915 h 4565177"/>
              <a:gd name="connsiteX4580" fmla="*/ 9131949 w 12243467"/>
              <a:gd name="connsiteY4580" fmla="*/ 3732164 h 4565177"/>
              <a:gd name="connsiteX4581" fmla="*/ 9125864 w 12243467"/>
              <a:gd name="connsiteY4581" fmla="*/ 3731557 h 4565177"/>
              <a:gd name="connsiteX4582" fmla="*/ 9101524 w 12243467"/>
              <a:gd name="connsiteY4582" fmla="*/ 3749461 h 4565177"/>
              <a:gd name="connsiteX4583" fmla="*/ 9104567 w 12243467"/>
              <a:gd name="connsiteY4583" fmla="*/ 3758868 h 4565177"/>
              <a:gd name="connsiteX4584" fmla="*/ 9083546 w 12243467"/>
              <a:gd name="connsiteY4584" fmla="*/ 3767871 h 4565177"/>
              <a:gd name="connsiteX4585" fmla="*/ 8956315 w 12243467"/>
              <a:gd name="connsiteY4585" fmla="*/ 3849399 h 4565177"/>
              <a:gd name="connsiteX4586" fmla="*/ 8948847 w 12243467"/>
              <a:gd name="connsiteY4586" fmla="*/ 3850917 h 4565177"/>
              <a:gd name="connsiteX4587" fmla="*/ 8944698 w 12243467"/>
              <a:gd name="connsiteY4587" fmla="*/ 3859515 h 4565177"/>
              <a:gd name="connsiteX4588" fmla="*/ 8912337 w 12243467"/>
              <a:gd name="connsiteY4588" fmla="*/ 3876407 h 4565177"/>
              <a:gd name="connsiteX4589" fmla="*/ 8811658 w 12243467"/>
              <a:gd name="connsiteY4589" fmla="*/ 3922229 h 4565177"/>
              <a:gd name="connsiteX4590" fmla="*/ 8802254 w 12243467"/>
              <a:gd name="connsiteY4590" fmla="*/ 3932547 h 4565177"/>
              <a:gd name="connsiteX4591" fmla="*/ 8783169 w 12243467"/>
              <a:gd name="connsiteY4591" fmla="*/ 3932648 h 4565177"/>
              <a:gd name="connsiteX4592" fmla="*/ 8751361 w 12243467"/>
              <a:gd name="connsiteY4592" fmla="*/ 3947315 h 4565177"/>
              <a:gd name="connsiteX4593" fmla="*/ 8744170 w 12243467"/>
              <a:gd name="connsiteY4593" fmla="*/ 3935177 h 4565177"/>
              <a:gd name="connsiteX4594" fmla="*/ 8745553 w 12243467"/>
              <a:gd name="connsiteY4594" fmla="*/ 3951260 h 4565177"/>
              <a:gd name="connsiteX4595" fmla="*/ 8722043 w 12243467"/>
              <a:gd name="connsiteY4595" fmla="*/ 3948731 h 4565177"/>
              <a:gd name="connsiteX4596" fmla="*/ 8691618 w 12243467"/>
              <a:gd name="connsiteY4596" fmla="*/ 3968051 h 4565177"/>
              <a:gd name="connsiteX4597" fmla="*/ 8675023 w 12243467"/>
              <a:gd name="connsiteY4597" fmla="*/ 3979886 h 4565177"/>
              <a:gd name="connsiteX4598" fmla="*/ 8678342 w 12243467"/>
              <a:gd name="connsiteY4598" fmla="*/ 3987068 h 4565177"/>
              <a:gd name="connsiteX4599" fmla="*/ 8664236 w 12243467"/>
              <a:gd name="connsiteY4599" fmla="*/ 3996880 h 4565177"/>
              <a:gd name="connsiteX4600" fmla="*/ 8635747 w 12243467"/>
              <a:gd name="connsiteY4600" fmla="*/ 4007399 h 4565177"/>
              <a:gd name="connsiteX4601" fmla="*/ 8627449 w 12243467"/>
              <a:gd name="connsiteY4601" fmla="*/ 3999611 h 4565177"/>
              <a:gd name="connsiteX4602" fmla="*/ 8611960 w 12243467"/>
              <a:gd name="connsiteY4602" fmla="*/ 4018425 h 4565177"/>
              <a:gd name="connsiteX4603" fmla="*/ 8594535 w 12243467"/>
              <a:gd name="connsiteY4603" fmla="*/ 4021055 h 4565177"/>
              <a:gd name="connsiteX4604" fmla="*/ 8501047 w 12243467"/>
              <a:gd name="connsiteY4604" fmla="*/ 4053930 h 4565177"/>
              <a:gd name="connsiteX4605" fmla="*/ 8489431 w 12243467"/>
              <a:gd name="connsiteY4605" fmla="*/ 4064045 h 4565177"/>
              <a:gd name="connsiteX4606" fmla="*/ 8386263 w 12243467"/>
              <a:gd name="connsiteY4606" fmla="*/ 4086703 h 4565177"/>
              <a:gd name="connsiteX4607" fmla="*/ 8376858 w 12243467"/>
              <a:gd name="connsiteY4607" fmla="*/ 4097122 h 4565177"/>
              <a:gd name="connsiteX4608" fmla="*/ 8357497 w 12243467"/>
              <a:gd name="connsiteY4608" fmla="*/ 4085793 h 4565177"/>
              <a:gd name="connsiteX4609" fmla="*/ 8318498 w 12243467"/>
              <a:gd name="connsiteY4609" fmla="*/ 4099752 h 4565177"/>
              <a:gd name="connsiteX4610" fmla="*/ 8298030 w 12243467"/>
              <a:gd name="connsiteY4610" fmla="*/ 4117959 h 4565177"/>
              <a:gd name="connsiteX4611" fmla="*/ 8287243 w 12243467"/>
              <a:gd name="connsiteY4611" fmla="*/ 4112193 h 4565177"/>
              <a:gd name="connsiteX4612" fmla="*/ 8245478 w 12243467"/>
              <a:gd name="connsiteY4612" fmla="*/ 4116745 h 4565177"/>
              <a:gd name="connsiteX4613" fmla="*/ 8210351 w 12243467"/>
              <a:gd name="connsiteY4613" fmla="*/ 4135560 h 4565177"/>
              <a:gd name="connsiteX4614" fmla="*/ 8046610 w 12243467"/>
              <a:gd name="connsiteY4614" fmla="*/ 4146990 h 4565177"/>
              <a:gd name="connsiteX4615" fmla="*/ 8033334 w 12243467"/>
              <a:gd name="connsiteY4615" fmla="*/ 4152351 h 4565177"/>
              <a:gd name="connsiteX4616" fmla="*/ 8109396 w 12243467"/>
              <a:gd name="connsiteY4616" fmla="*/ 4122106 h 4565177"/>
              <a:gd name="connsiteX4617" fmla="*/ 8110502 w 12243467"/>
              <a:gd name="connsiteY4617" fmla="*/ 4104101 h 4565177"/>
              <a:gd name="connsiteX4618" fmla="*/ 8028355 w 12243467"/>
              <a:gd name="connsiteY4618" fmla="*/ 4117757 h 4565177"/>
              <a:gd name="connsiteX4619" fmla="*/ 7999037 w 12243467"/>
              <a:gd name="connsiteY4619" fmla="*/ 4107642 h 4565177"/>
              <a:gd name="connsiteX4620" fmla="*/ 8093077 w 12243467"/>
              <a:gd name="connsiteY4620" fmla="*/ 4095301 h 4565177"/>
              <a:gd name="connsiteX4621" fmla="*/ 8101375 w 12243467"/>
              <a:gd name="connsiteY4621" fmla="*/ 4078004 h 4565177"/>
              <a:gd name="connsiteX4622" fmla="*/ 8089481 w 12243467"/>
              <a:gd name="connsiteY4622" fmla="*/ 4076689 h 4565177"/>
              <a:gd name="connsiteX4623" fmla="*/ 8095566 w 12243467"/>
              <a:gd name="connsiteY4623" fmla="*/ 4070519 h 4565177"/>
              <a:gd name="connsiteX4624" fmla="*/ 8089758 w 12243467"/>
              <a:gd name="connsiteY4624" fmla="*/ 4063033 h 4565177"/>
              <a:gd name="connsiteX4625" fmla="*/ 8061269 w 12243467"/>
              <a:gd name="connsiteY4625" fmla="*/ 4073553 h 4565177"/>
              <a:gd name="connsiteX4626" fmla="*/ 8067631 w 12243467"/>
              <a:gd name="connsiteY4626" fmla="*/ 4053828 h 4565177"/>
              <a:gd name="connsiteX4627" fmla="*/ 8056083 w 12243467"/>
              <a:gd name="connsiteY4627" fmla="*/ 4050048 h 4565177"/>
              <a:gd name="connsiteX4628" fmla="*/ 8052616 w 12243467"/>
              <a:gd name="connsiteY4628" fmla="*/ 4041104 h 4565177"/>
              <a:gd name="connsiteX4629" fmla="*/ 8042910 w 12243467"/>
              <a:gd name="connsiteY4629" fmla="*/ 4039792 h 4565177"/>
              <a:gd name="connsiteX4630" fmla="*/ 8022788 w 12243467"/>
              <a:gd name="connsiteY4630" fmla="*/ 4058303 h 4565177"/>
              <a:gd name="connsiteX4631" fmla="*/ 8013480 w 12243467"/>
              <a:gd name="connsiteY4631" fmla="*/ 4070406 h 4565177"/>
              <a:gd name="connsiteX4632" fmla="*/ 8023584 w 12243467"/>
              <a:gd name="connsiteY4632" fmla="*/ 4070342 h 4565177"/>
              <a:gd name="connsiteX4633" fmla="*/ 8035823 w 12243467"/>
              <a:gd name="connsiteY4633" fmla="*/ 4068597 h 4565177"/>
              <a:gd name="connsiteX4634" fmla="*/ 8042185 w 12243467"/>
              <a:gd name="connsiteY4634" fmla="*/ 4073149 h 4565177"/>
              <a:gd name="connsiteX4635" fmla="*/ 8040802 w 12243467"/>
              <a:gd name="connsiteY4635" fmla="*/ 4080229 h 4565177"/>
              <a:gd name="connsiteX4636" fmla="*/ 8028632 w 12243467"/>
              <a:gd name="connsiteY4636" fmla="*/ 4081140 h 4565177"/>
              <a:gd name="connsiteX4637" fmla="*/ 8019228 w 12243467"/>
              <a:gd name="connsiteY4637" fmla="*/ 4080229 h 4565177"/>
              <a:gd name="connsiteX4638" fmla="*/ 8014249 w 12243467"/>
              <a:gd name="connsiteY4638" fmla="*/ 4076841 h 4565177"/>
              <a:gd name="connsiteX4639" fmla="*/ 8012333 w 12243467"/>
              <a:gd name="connsiteY4639" fmla="*/ 4071897 h 4565177"/>
              <a:gd name="connsiteX4640" fmla="*/ 8009719 w 12243467"/>
              <a:gd name="connsiteY4640" fmla="*/ 4075296 h 4565177"/>
              <a:gd name="connsiteX4641" fmla="*/ 8005605 w 12243467"/>
              <a:gd name="connsiteY4641" fmla="*/ 4078230 h 4565177"/>
              <a:gd name="connsiteX4642" fmla="*/ 8002927 w 12243467"/>
              <a:gd name="connsiteY4642" fmla="*/ 4078950 h 4565177"/>
              <a:gd name="connsiteX4643" fmla="*/ 8003739 w 12243467"/>
              <a:gd name="connsiteY4643" fmla="*/ 4083163 h 4565177"/>
              <a:gd name="connsiteX4644" fmla="*/ 7999439 w 12243467"/>
              <a:gd name="connsiteY4644" fmla="*/ 4080547 h 4565177"/>
              <a:gd name="connsiteX4645" fmla="*/ 8000557 w 12243467"/>
              <a:gd name="connsiteY4645" fmla="*/ 4083452 h 4565177"/>
              <a:gd name="connsiteX4646" fmla="*/ 8002528 w 12243467"/>
              <a:gd name="connsiteY4646" fmla="*/ 4088547 h 4565177"/>
              <a:gd name="connsiteX4647" fmla="*/ 8016911 w 12243467"/>
              <a:gd name="connsiteY4647" fmla="*/ 4080657 h 4565177"/>
              <a:gd name="connsiteX4648" fmla="*/ 8000592 w 12243467"/>
              <a:gd name="connsiteY4648" fmla="*/ 4096032 h 4565177"/>
              <a:gd name="connsiteX4649" fmla="*/ 7992571 w 12243467"/>
              <a:gd name="connsiteY4649" fmla="*/ 4088345 h 4565177"/>
              <a:gd name="connsiteX4650" fmla="*/ 7975422 w 12243467"/>
              <a:gd name="connsiteY4650" fmla="*/ 4101596 h 4565177"/>
              <a:gd name="connsiteX4651" fmla="*/ 7988699 w 12243467"/>
              <a:gd name="connsiteY4651" fmla="*/ 4103315 h 4565177"/>
              <a:gd name="connsiteX4652" fmla="*/ 7974869 w 12243467"/>
              <a:gd name="connsiteY4652" fmla="*/ 4106350 h 4565177"/>
              <a:gd name="connsiteX4653" fmla="*/ 7967271 w 12243467"/>
              <a:gd name="connsiteY4653" fmla="*/ 4111882 h 4565177"/>
              <a:gd name="connsiteX4654" fmla="*/ 7969441 w 12243467"/>
              <a:gd name="connsiteY4654" fmla="*/ 4111485 h 4565177"/>
              <a:gd name="connsiteX4655" fmla="*/ 7969165 w 12243467"/>
              <a:gd name="connsiteY4655" fmla="*/ 4116948 h 4565177"/>
              <a:gd name="connsiteX4656" fmla="*/ 7967505 w 12243467"/>
              <a:gd name="connsiteY4656" fmla="*/ 4120387 h 4565177"/>
              <a:gd name="connsiteX4657" fmla="*/ 7963203 w 12243467"/>
              <a:gd name="connsiteY4657" fmla="*/ 4114843 h 4565177"/>
              <a:gd name="connsiteX4658" fmla="*/ 7952258 w 12243467"/>
              <a:gd name="connsiteY4658" fmla="*/ 4122813 h 4565177"/>
              <a:gd name="connsiteX4659" fmla="*/ 7935040 w 12243467"/>
              <a:gd name="connsiteY4659" fmla="*/ 4143372 h 4565177"/>
              <a:gd name="connsiteX4660" fmla="*/ 7905168 w 12243467"/>
              <a:gd name="connsiteY4660" fmla="*/ 4161680 h 4565177"/>
              <a:gd name="connsiteX4661" fmla="*/ 7859531 w 12243467"/>
              <a:gd name="connsiteY4661" fmla="*/ 4190509 h 4565177"/>
              <a:gd name="connsiteX4662" fmla="*/ 7833532 w 12243467"/>
              <a:gd name="connsiteY4662" fmla="*/ 4224496 h 4565177"/>
              <a:gd name="connsiteX4663" fmla="*/ 7792561 w 12243467"/>
              <a:gd name="connsiteY4663" fmla="*/ 4242034 h 4565177"/>
              <a:gd name="connsiteX4664" fmla="*/ 7780094 w 12243467"/>
              <a:gd name="connsiteY4664" fmla="*/ 4249711 h 4565177"/>
              <a:gd name="connsiteX4665" fmla="*/ 7780530 w 12243467"/>
              <a:gd name="connsiteY4665" fmla="*/ 4250064 h 4565177"/>
              <a:gd name="connsiteX4666" fmla="*/ 7779331 w 12243467"/>
              <a:gd name="connsiteY4666" fmla="*/ 4250181 h 4565177"/>
              <a:gd name="connsiteX4667" fmla="*/ 7771493 w 12243467"/>
              <a:gd name="connsiteY4667" fmla="*/ 4255008 h 4565177"/>
              <a:gd name="connsiteX4668" fmla="*/ 7769843 w 12243467"/>
              <a:gd name="connsiteY4668" fmla="*/ 4255513 h 4565177"/>
              <a:gd name="connsiteX4669" fmla="*/ 7808466 w 12243467"/>
              <a:gd name="connsiteY4669" fmla="*/ 4255223 h 4565177"/>
              <a:gd name="connsiteX4670" fmla="*/ 7820913 w 12243467"/>
              <a:gd name="connsiteY4670" fmla="*/ 4243489 h 4565177"/>
              <a:gd name="connsiteX4671" fmla="*/ 7827274 w 12243467"/>
              <a:gd name="connsiteY4671" fmla="*/ 4245917 h 4565177"/>
              <a:gd name="connsiteX4672" fmla="*/ 7824232 w 12243467"/>
              <a:gd name="connsiteY4672" fmla="*/ 4247940 h 4565177"/>
              <a:gd name="connsiteX4673" fmla="*/ 7825891 w 12243467"/>
              <a:gd name="connsiteY4673" fmla="*/ 4264023 h 4565177"/>
              <a:gd name="connsiteX4674" fmla="*/ 7754401 w 12243467"/>
              <a:gd name="connsiteY4674" fmla="*/ 4263070 h 4565177"/>
              <a:gd name="connsiteX4675" fmla="*/ 7748693 w 12243467"/>
              <a:gd name="connsiteY4675" fmla="*/ 4262917 h 4565177"/>
              <a:gd name="connsiteX4676" fmla="*/ 7746406 w 12243467"/>
              <a:gd name="connsiteY4676" fmla="*/ 4274162 h 4565177"/>
              <a:gd name="connsiteX4677" fmla="*/ 7649599 w 12243467"/>
              <a:gd name="connsiteY4677" fmla="*/ 4323726 h 4565177"/>
              <a:gd name="connsiteX4678" fmla="*/ 7642131 w 12243467"/>
              <a:gd name="connsiteY4678" fmla="*/ 4311285 h 4565177"/>
              <a:gd name="connsiteX4679" fmla="*/ 7635770 w 12243467"/>
              <a:gd name="connsiteY4679" fmla="*/ 4326660 h 4565177"/>
              <a:gd name="connsiteX4680" fmla="*/ 7599537 w 12243467"/>
              <a:gd name="connsiteY4680" fmla="*/ 4341732 h 4565177"/>
              <a:gd name="connsiteX4681" fmla="*/ 7603962 w 12243467"/>
              <a:gd name="connsiteY4681" fmla="*/ 4322007 h 4565177"/>
              <a:gd name="connsiteX4682" fmla="*/ 7620557 w 12243467"/>
              <a:gd name="connsiteY4682" fmla="*/ 4313712 h 4565177"/>
              <a:gd name="connsiteX4683" fmla="*/ 7601473 w 12243467"/>
              <a:gd name="connsiteY4683" fmla="*/ 4296820 h 4565177"/>
              <a:gd name="connsiteX4684" fmla="*/ 7635493 w 12243467"/>
              <a:gd name="connsiteY4684" fmla="*/ 4282254 h 4565177"/>
              <a:gd name="connsiteX4685" fmla="*/ 7698003 w 12243467"/>
              <a:gd name="connsiteY4685" fmla="*/ 4240276 h 4565177"/>
              <a:gd name="connsiteX4686" fmla="*/ 7727874 w 12243467"/>
              <a:gd name="connsiteY4686" fmla="*/ 4221866 h 4565177"/>
              <a:gd name="connsiteX4687" fmla="*/ 7771852 w 12243467"/>
              <a:gd name="connsiteY4687" fmla="*/ 4188688 h 4565177"/>
              <a:gd name="connsiteX4688" fmla="*/ 7781256 w 12243467"/>
              <a:gd name="connsiteY4688" fmla="*/ 4193644 h 4565177"/>
              <a:gd name="connsiteX4689" fmla="*/ 7806426 w 12243467"/>
              <a:gd name="connsiteY4689" fmla="*/ 4169368 h 4565177"/>
              <a:gd name="connsiteX4690" fmla="*/ 7839063 w 12243467"/>
              <a:gd name="connsiteY4690" fmla="*/ 4145698 h 4565177"/>
              <a:gd name="connsiteX4691" fmla="*/ 7867565 w 12243467"/>
              <a:gd name="connsiteY4691" fmla="*/ 4135074 h 4565177"/>
              <a:gd name="connsiteX4692" fmla="*/ 7886034 w 12243467"/>
              <a:gd name="connsiteY4692" fmla="*/ 4121577 h 4565177"/>
              <a:gd name="connsiteX4693" fmla="*/ 7869039 w 12243467"/>
              <a:gd name="connsiteY4693" fmla="*/ 4118768 h 4565177"/>
              <a:gd name="connsiteX4694" fmla="*/ 7856593 w 12243467"/>
              <a:gd name="connsiteY4694" fmla="*/ 4119577 h 4565177"/>
              <a:gd name="connsiteX4695" fmla="*/ 7864890 w 12243467"/>
              <a:gd name="connsiteY4695" fmla="*/ 4115936 h 4565177"/>
              <a:gd name="connsiteX4696" fmla="*/ 7886464 w 12243467"/>
              <a:gd name="connsiteY4696" fmla="*/ 4115127 h 4565177"/>
              <a:gd name="connsiteX4697" fmla="*/ 7894994 w 12243467"/>
              <a:gd name="connsiteY4697" fmla="*/ 4115030 h 4565177"/>
              <a:gd name="connsiteX4698" fmla="*/ 7896352 w 12243467"/>
              <a:gd name="connsiteY4698" fmla="*/ 4114037 h 4565177"/>
              <a:gd name="connsiteX4699" fmla="*/ 7907924 w 12243467"/>
              <a:gd name="connsiteY4699" fmla="*/ 4094940 h 4565177"/>
              <a:gd name="connsiteX4700" fmla="*/ 7885635 w 12243467"/>
              <a:gd name="connsiteY4700" fmla="*/ 4094997 h 4565177"/>
              <a:gd name="connsiteX4701" fmla="*/ 7888124 w 12243467"/>
              <a:gd name="connsiteY4701" fmla="*/ 4083972 h 4565177"/>
              <a:gd name="connsiteX4702" fmla="*/ 7907658 w 12243467"/>
              <a:gd name="connsiteY4702" fmla="*/ 4089826 h 4565177"/>
              <a:gd name="connsiteX4703" fmla="*/ 7913633 w 12243467"/>
              <a:gd name="connsiteY4703" fmla="*/ 4085518 h 4565177"/>
              <a:gd name="connsiteX4704" fmla="*/ 7928297 w 12243467"/>
              <a:gd name="connsiteY4704" fmla="*/ 4061318 h 4565177"/>
              <a:gd name="connsiteX4705" fmla="*/ 7924634 w 12243467"/>
              <a:gd name="connsiteY4705" fmla="*/ 4058583 h 4565177"/>
              <a:gd name="connsiteX4706" fmla="*/ 7916613 w 12243467"/>
              <a:gd name="connsiteY4706" fmla="*/ 4062022 h 4565177"/>
              <a:gd name="connsiteX4707" fmla="*/ 7933485 w 12243467"/>
              <a:gd name="connsiteY4707" fmla="*/ 4053120 h 4565177"/>
              <a:gd name="connsiteX4708" fmla="*/ 7927676 w 12243467"/>
              <a:gd name="connsiteY4708" fmla="*/ 4056762 h 4565177"/>
              <a:gd name="connsiteX4709" fmla="*/ 7929255 w 12243467"/>
              <a:gd name="connsiteY4709" fmla="*/ 4059738 h 4565177"/>
              <a:gd name="connsiteX4710" fmla="*/ 7930615 w 12243467"/>
              <a:gd name="connsiteY4710" fmla="*/ 4057493 h 4565177"/>
              <a:gd name="connsiteX4711" fmla="*/ 7944997 w 12243467"/>
              <a:gd name="connsiteY4711" fmla="*/ 4056583 h 4565177"/>
              <a:gd name="connsiteX4712" fmla="*/ 7933381 w 12243467"/>
              <a:gd name="connsiteY4712" fmla="*/ 4052233 h 4565177"/>
              <a:gd name="connsiteX4713" fmla="*/ 7999619 w 12243467"/>
              <a:gd name="connsiteY4713" fmla="*/ 3989020 h 4565177"/>
              <a:gd name="connsiteX4714" fmla="*/ 8014436 w 12243467"/>
              <a:gd name="connsiteY4714" fmla="*/ 3977727 h 4565177"/>
              <a:gd name="connsiteX4715" fmla="*/ 8001526 w 12243467"/>
              <a:gd name="connsiteY4715" fmla="*/ 3976447 h 4565177"/>
              <a:gd name="connsiteX4716" fmla="*/ 8005398 w 12243467"/>
              <a:gd name="connsiteY4716" fmla="*/ 3981504 h 4565177"/>
              <a:gd name="connsiteX4717" fmla="*/ 7991569 w 12243467"/>
              <a:gd name="connsiteY4717" fmla="*/ 3977661 h 4565177"/>
              <a:gd name="connsiteX4718" fmla="*/ 8031121 w 12243467"/>
              <a:gd name="connsiteY4718" fmla="*/ 3965522 h 4565177"/>
              <a:gd name="connsiteX4719" fmla="*/ 8042531 w 12243467"/>
              <a:gd name="connsiteY4719" fmla="*/ 3965614 h 4565177"/>
              <a:gd name="connsiteX4720" fmla="*/ 8041804 w 12243467"/>
              <a:gd name="connsiteY4720" fmla="*/ 3950777 h 4565177"/>
              <a:gd name="connsiteX4721" fmla="*/ 8063931 w 12243467"/>
              <a:gd name="connsiteY4721" fmla="*/ 3931862 h 4565177"/>
              <a:gd name="connsiteX4722" fmla="*/ 8065314 w 12243467"/>
              <a:gd name="connsiteY4722" fmla="*/ 3940966 h 4565177"/>
              <a:gd name="connsiteX4723" fmla="*/ 8083846 w 12243467"/>
              <a:gd name="connsiteY4723" fmla="*/ 3925186 h 4565177"/>
              <a:gd name="connsiteX4724" fmla="*/ 8070569 w 12243467"/>
              <a:gd name="connsiteY4724" fmla="*/ 3923264 h 4565177"/>
              <a:gd name="connsiteX4725" fmla="*/ 8091867 w 12243467"/>
              <a:gd name="connsiteY4725" fmla="*/ 3902224 h 4565177"/>
              <a:gd name="connsiteX4726" fmla="*/ 8081633 w 12243467"/>
              <a:gd name="connsiteY4726" fmla="*/ 3913857 h 4565177"/>
              <a:gd name="connsiteX4727" fmla="*/ 8091037 w 12243467"/>
              <a:gd name="connsiteY4727" fmla="*/ 3918813 h 4565177"/>
              <a:gd name="connsiteX4728" fmla="*/ 8095462 w 12243467"/>
              <a:gd name="connsiteY4728" fmla="*/ 3892008 h 4565177"/>
              <a:gd name="connsiteX4729" fmla="*/ 8105696 w 12243467"/>
              <a:gd name="connsiteY4729" fmla="*/ 3899190 h 4565177"/>
              <a:gd name="connsiteX4730" fmla="*/ 8140901 w 12243467"/>
              <a:gd name="connsiteY4730" fmla="*/ 3847958 h 4565177"/>
              <a:gd name="connsiteX4731" fmla="*/ 8100683 w 12243467"/>
              <a:gd name="connsiteY4731" fmla="*/ 3854748 h 4565177"/>
              <a:gd name="connsiteX4732" fmla="*/ 8048062 w 12243467"/>
              <a:gd name="connsiteY4732" fmla="*/ 3863847 h 4565177"/>
              <a:gd name="connsiteX4733" fmla="*/ 8041908 w 12243467"/>
              <a:gd name="connsiteY4733" fmla="*/ 3864468 h 4565177"/>
              <a:gd name="connsiteX4734" fmla="*/ 8047093 w 12243467"/>
              <a:gd name="connsiteY4734" fmla="*/ 3878656 h 4565177"/>
              <a:gd name="connsiteX4735" fmla="*/ 8023549 w 12243467"/>
              <a:gd name="connsiteY4735" fmla="*/ 3886748 h 4565177"/>
              <a:gd name="connsiteX4736" fmla="*/ 8015251 w 12243467"/>
              <a:gd name="connsiteY4736" fmla="*/ 3902730 h 4565177"/>
              <a:gd name="connsiteX4737" fmla="*/ 8022166 w 12243467"/>
              <a:gd name="connsiteY4737" fmla="*/ 3908192 h 4565177"/>
              <a:gd name="connsiteX4738" fmla="*/ 8015251 w 12243467"/>
              <a:gd name="connsiteY4738" fmla="*/ 3921443 h 4565177"/>
              <a:gd name="connsiteX4739" fmla="*/ 7995337 w 12243467"/>
              <a:gd name="connsiteY4739" fmla="*/ 3939954 h 4565177"/>
              <a:gd name="connsiteX4740" fmla="*/ 7983720 w 12243467"/>
              <a:gd name="connsiteY4740" fmla="*/ 3935402 h 4565177"/>
              <a:gd name="connsiteX4741" fmla="*/ 7979709 w 12243467"/>
              <a:gd name="connsiteY4741" fmla="*/ 3945998 h 4565177"/>
              <a:gd name="connsiteX4742" fmla="*/ 7979764 w 12243467"/>
              <a:gd name="connsiteY4742" fmla="*/ 3950508 h 4565177"/>
              <a:gd name="connsiteX4743" fmla="*/ 7989148 w 12243467"/>
              <a:gd name="connsiteY4743" fmla="*/ 3949642 h 4565177"/>
              <a:gd name="connsiteX4744" fmla="*/ 8028355 w 12243467"/>
              <a:gd name="connsiteY4744" fmla="*/ 3947416 h 4565177"/>
              <a:gd name="connsiteX4745" fmla="*/ 7996927 w 12243467"/>
              <a:gd name="connsiteY4745" fmla="*/ 3955597 h 4565177"/>
              <a:gd name="connsiteX4746" fmla="*/ 7979839 w 12243467"/>
              <a:gd name="connsiteY4746" fmla="*/ 3956665 h 4565177"/>
              <a:gd name="connsiteX4747" fmla="*/ 7979848 w 12243467"/>
              <a:gd name="connsiteY4747" fmla="*/ 3957352 h 4565177"/>
              <a:gd name="connsiteX4748" fmla="*/ 7965742 w 12243467"/>
              <a:gd name="connsiteY4748" fmla="*/ 3965242 h 4565177"/>
              <a:gd name="connsiteX4749" fmla="*/ 7954381 w 12243467"/>
              <a:gd name="connsiteY4749" fmla="*/ 3977516 h 4565177"/>
              <a:gd name="connsiteX4750" fmla="*/ 7957271 w 12243467"/>
              <a:gd name="connsiteY4750" fmla="*/ 3978065 h 4565177"/>
              <a:gd name="connsiteX4751" fmla="*/ 7958378 w 12243467"/>
              <a:gd name="connsiteY4751" fmla="*/ 3985247 h 4565177"/>
              <a:gd name="connsiteX4752" fmla="*/ 7948144 w 12243467"/>
              <a:gd name="connsiteY4752" fmla="*/ 3988889 h 4565177"/>
              <a:gd name="connsiteX4753" fmla="*/ 7950359 w 12243467"/>
              <a:gd name="connsiteY4753" fmla="*/ 3981861 h 4565177"/>
              <a:gd name="connsiteX4754" fmla="*/ 7935732 w 12243467"/>
              <a:gd name="connsiteY4754" fmla="*/ 3997662 h 4565177"/>
              <a:gd name="connsiteX4755" fmla="*/ 7899913 w 12243467"/>
              <a:gd name="connsiteY4755" fmla="*/ 4024315 h 4565177"/>
              <a:gd name="connsiteX4756" fmla="*/ 7895211 w 12243467"/>
              <a:gd name="connsiteY4756" fmla="*/ 4037162 h 4565177"/>
              <a:gd name="connsiteX4757" fmla="*/ 7814447 w 12243467"/>
              <a:gd name="connsiteY4757" fmla="*/ 4090267 h 4565177"/>
              <a:gd name="connsiteX4758" fmla="*/ 7811958 w 12243467"/>
              <a:gd name="connsiteY4758" fmla="*/ 4102506 h 4565177"/>
              <a:gd name="connsiteX4759" fmla="*/ 7787894 w 12243467"/>
              <a:gd name="connsiteY4759" fmla="*/ 4098359 h 4565177"/>
              <a:gd name="connsiteX4760" fmla="*/ 7760512 w 12243467"/>
              <a:gd name="connsiteY4760" fmla="*/ 4123141 h 4565177"/>
              <a:gd name="connsiteX4761" fmla="*/ 7752491 w 12243467"/>
              <a:gd name="connsiteY4761" fmla="*/ 4146103 h 4565177"/>
              <a:gd name="connsiteX4762" fmla="*/ 7739214 w 12243467"/>
              <a:gd name="connsiteY4762" fmla="*/ 4144383 h 4565177"/>
              <a:gd name="connsiteX4763" fmla="*/ 7703811 w 12243467"/>
              <a:gd name="connsiteY4763" fmla="*/ 4161579 h 4565177"/>
              <a:gd name="connsiteX4764" fmla="*/ 7682790 w 12243467"/>
              <a:gd name="connsiteY4764" fmla="*/ 4189598 h 4565177"/>
              <a:gd name="connsiteX4765" fmla="*/ 7541176 w 12243467"/>
              <a:gd name="connsiteY4765" fmla="*/ 4251402 h 4565177"/>
              <a:gd name="connsiteX4766" fmla="*/ 7537027 w 12243467"/>
              <a:gd name="connsiteY4766" fmla="*/ 4253021 h 4565177"/>
              <a:gd name="connsiteX4767" fmla="*/ 7551686 w 12243467"/>
              <a:gd name="connsiteY4767" fmla="*/ 4230868 h 4565177"/>
              <a:gd name="connsiteX4768" fmla="*/ 7583771 w 12243467"/>
              <a:gd name="connsiteY4768" fmla="*/ 4209121 h 4565177"/>
              <a:gd name="connsiteX4769" fmla="*/ 7574643 w 12243467"/>
              <a:gd name="connsiteY4769" fmla="*/ 4192431 h 4565177"/>
              <a:gd name="connsiteX4770" fmla="*/ 7507709 w 12243467"/>
              <a:gd name="connsiteY4770" fmla="*/ 4230565 h 4565177"/>
              <a:gd name="connsiteX4771" fmla="*/ 7475624 w 12243467"/>
              <a:gd name="connsiteY4771" fmla="*/ 4230666 h 4565177"/>
              <a:gd name="connsiteX4772" fmla="*/ 7553623 w 12243467"/>
              <a:gd name="connsiteY4772" fmla="*/ 4190003 h 4565177"/>
              <a:gd name="connsiteX4773" fmla="*/ 7551410 w 12243467"/>
              <a:gd name="connsiteY4773" fmla="*/ 4171694 h 4565177"/>
              <a:gd name="connsiteX4774" fmla="*/ 7540070 w 12243467"/>
              <a:gd name="connsiteY4774" fmla="*/ 4174223 h 4565177"/>
              <a:gd name="connsiteX4775" fmla="*/ 7542006 w 12243467"/>
              <a:gd name="connsiteY4775" fmla="*/ 4166738 h 4565177"/>
              <a:gd name="connsiteX4776" fmla="*/ 7532602 w 12243467"/>
              <a:gd name="connsiteY4776" fmla="*/ 4161781 h 4565177"/>
              <a:gd name="connsiteX4777" fmla="*/ 7512687 w 12243467"/>
              <a:gd name="connsiteY4777" fmla="*/ 4180292 h 4565177"/>
              <a:gd name="connsiteX4778" fmla="*/ 7507155 w 12243467"/>
              <a:gd name="connsiteY4778" fmla="*/ 4160365 h 4565177"/>
              <a:gd name="connsiteX4779" fmla="*/ 7483645 w 12243467"/>
              <a:gd name="connsiteY4779" fmla="*/ 4151464 h 4565177"/>
              <a:gd name="connsiteX4780" fmla="*/ 7497198 w 12243467"/>
              <a:gd name="connsiteY4780" fmla="*/ 4148429 h 4565177"/>
              <a:gd name="connsiteX4781" fmla="*/ 7510751 w 12243467"/>
              <a:gd name="connsiteY4781" fmla="*/ 4157128 h 4565177"/>
              <a:gd name="connsiteX4782" fmla="*/ 7508262 w 12243467"/>
              <a:gd name="connsiteY4782" fmla="*/ 4150756 h 4565177"/>
              <a:gd name="connsiteX4783" fmla="*/ 7525964 w 12243467"/>
              <a:gd name="connsiteY4783" fmla="*/ 4151565 h 4565177"/>
              <a:gd name="connsiteX4784" fmla="*/ 7514623 w 12243467"/>
              <a:gd name="connsiteY4784" fmla="*/ 4142158 h 4565177"/>
              <a:gd name="connsiteX4785" fmla="*/ 7520708 w 12243467"/>
              <a:gd name="connsiteY4785" fmla="*/ 4119803 h 4565177"/>
              <a:gd name="connsiteX4786" fmla="*/ 7546984 w 12243467"/>
              <a:gd name="connsiteY4786" fmla="*/ 4123343 h 4565177"/>
              <a:gd name="connsiteX4787" fmla="*/ 7594281 w 12243467"/>
              <a:gd name="connsiteY4787" fmla="*/ 4098865 h 4565177"/>
              <a:gd name="connsiteX4788" fmla="*/ 7601473 w 12243467"/>
              <a:gd name="connsiteY4788" fmla="*/ 4085512 h 4565177"/>
              <a:gd name="connsiteX4789" fmla="*/ 7600090 w 12243467"/>
              <a:gd name="connsiteY4789" fmla="*/ 4095223 h 4565177"/>
              <a:gd name="connsiteX4790" fmla="*/ 7623600 w 12243467"/>
              <a:gd name="connsiteY4790" fmla="*/ 4085310 h 4565177"/>
              <a:gd name="connsiteX4791" fmla="*/ 7613089 w 12243467"/>
              <a:gd name="connsiteY4791" fmla="*/ 4071250 h 4565177"/>
              <a:gd name="connsiteX4792" fmla="*/ 7621387 w 12243467"/>
              <a:gd name="connsiteY4792" fmla="*/ 4067103 h 4565177"/>
              <a:gd name="connsiteX4793" fmla="*/ 7623323 w 12243467"/>
              <a:gd name="connsiteY4793" fmla="*/ 4078331 h 4565177"/>
              <a:gd name="connsiteX4794" fmla="*/ 7629132 w 12243467"/>
              <a:gd name="connsiteY4794" fmla="*/ 4074689 h 4565177"/>
              <a:gd name="connsiteX4795" fmla="*/ 7624430 w 12243467"/>
              <a:gd name="connsiteY4795" fmla="*/ 4068721 h 4565177"/>
              <a:gd name="connsiteX4796" fmla="*/ 7672833 w 12243467"/>
              <a:gd name="connsiteY4796" fmla="*/ 4034532 h 4565177"/>
              <a:gd name="connsiteX4797" fmla="*/ 7688599 w 12243467"/>
              <a:gd name="connsiteY4797" fmla="*/ 4024012 h 4565177"/>
              <a:gd name="connsiteX4798" fmla="*/ 7683620 w 12243467"/>
              <a:gd name="connsiteY4798" fmla="*/ 4018145 h 4565177"/>
              <a:gd name="connsiteX4799" fmla="*/ 7722342 w 12243467"/>
              <a:gd name="connsiteY4799" fmla="*/ 3990733 h 4565177"/>
              <a:gd name="connsiteX4800" fmla="*/ 7731747 w 12243467"/>
              <a:gd name="connsiteY4800" fmla="*/ 3995790 h 4565177"/>
              <a:gd name="connsiteX4801" fmla="*/ 7756951 w 12243467"/>
              <a:gd name="connsiteY4801" fmla="*/ 3969972 h 4565177"/>
              <a:gd name="connsiteX4802" fmla="*/ 7768098 w 12243467"/>
              <a:gd name="connsiteY4802" fmla="*/ 3962003 h 4565177"/>
              <a:gd name="connsiteX4803" fmla="*/ 7766148 w 12243467"/>
              <a:gd name="connsiteY4803" fmla="*/ 3961679 h 4565177"/>
              <a:gd name="connsiteX4804" fmla="*/ 7770318 w 12243467"/>
              <a:gd name="connsiteY4804" fmla="*/ 3960417 h 4565177"/>
              <a:gd name="connsiteX4805" fmla="*/ 7787341 w 12243467"/>
              <a:gd name="connsiteY4805" fmla="*/ 3948249 h 4565177"/>
              <a:gd name="connsiteX4806" fmla="*/ 7784852 w 12243467"/>
              <a:gd name="connsiteY4806" fmla="*/ 3941775 h 4565177"/>
              <a:gd name="connsiteX4807" fmla="*/ 7780703 w 12243467"/>
              <a:gd name="connsiteY4807" fmla="*/ 3937931 h 4565177"/>
              <a:gd name="connsiteX4808" fmla="*/ 7775171 w 12243467"/>
              <a:gd name="connsiteY4808" fmla="*/ 3948653 h 4565177"/>
              <a:gd name="connsiteX4809" fmla="*/ 7765214 w 12243467"/>
              <a:gd name="connsiteY4809" fmla="*/ 3948451 h 4565177"/>
              <a:gd name="connsiteX4810" fmla="*/ 7798681 w 12243467"/>
              <a:gd name="connsiteY4810" fmla="*/ 3908192 h 4565177"/>
              <a:gd name="connsiteX4811" fmla="*/ 7789277 w 12243467"/>
              <a:gd name="connsiteY4811" fmla="*/ 3903236 h 4565177"/>
              <a:gd name="connsiteX4812" fmla="*/ 7821915 w 12243467"/>
              <a:gd name="connsiteY4812" fmla="*/ 3860853 h 4565177"/>
              <a:gd name="connsiteX4813" fmla="*/ 7803937 w 12243467"/>
              <a:gd name="connsiteY4813" fmla="*/ 3853064 h 4565177"/>
              <a:gd name="connsiteX4814" fmla="*/ 7772958 w 12243467"/>
              <a:gd name="connsiteY4814" fmla="*/ 3881083 h 4565177"/>
              <a:gd name="connsiteX4815" fmla="*/ 7751661 w 12243467"/>
              <a:gd name="connsiteY4815" fmla="*/ 3902224 h 4565177"/>
              <a:gd name="connsiteX4816" fmla="*/ 7706853 w 12243467"/>
              <a:gd name="connsiteY4816" fmla="*/ 3933177 h 4565177"/>
              <a:gd name="connsiteX4817" fmla="*/ 7656791 w 12243467"/>
              <a:gd name="connsiteY4817" fmla="*/ 3963017 h 4565177"/>
              <a:gd name="connsiteX4818" fmla="*/ 7650982 w 12243467"/>
              <a:gd name="connsiteY4818" fmla="*/ 3973739 h 4565177"/>
              <a:gd name="connsiteX4819" fmla="*/ 7641025 w 12243467"/>
              <a:gd name="connsiteY4819" fmla="*/ 3973537 h 4565177"/>
              <a:gd name="connsiteX4820" fmla="*/ 7614749 w 12243467"/>
              <a:gd name="connsiteY4820" fmla="*/ 4007423 h 4565177"/>
              <a:gd name="connsiteX4821" fmla="*/ 7486964 w 12243467"/>
              <a:gd name="connsiteY4821" fmla="*/ 4073172 h 4565177"/>
              <a:gd name="connsiteX4822" fmla="*/ 7475348 w 12243467"/>
              <a:gd name="connsiteY4822" fmla="*/ 4087536 h 4565177"/>
              <a:gd name="connsiteX4823" fmla="*/ 7454603 w 12243467"/>
              <a:gd name="connsiteY4823" fmla="*/ 4085108 h 4565177"/>
              <a:gd name="connsiteX4824" fmla="*/ 7519049 w 12243467"/>
              <a:gd name="connsiteY4824" fmla="*/ 4035644 h 4565177"/>
              <a:gd name="connsiteX4825" fmla="*/ 7511581 w 12243467"/>
              <a:gd name="connsiteY4825" fmla="*/ 4034936 h 4565177"/>
              <a:gd name="connsiteX4826" fmla="*/ 7570218 w 12243467"/>
              <a:gd name="connsiteY4826" fmla="*/ 4007929 h 4565177"/>
              <a:gd name="connsiteX4827" fmla="*/ 7636323 w 12243467"/>
              <a:gd name="connsiteY4827" fmla="*/ 3974548 h 4565177"/>
              <a:gd name="connsiteX4828" fmla="*/ 7658727 w 12243467"/>
              <a:gd name="connsiteY4828" fmla="*/ 3955532 h 4565177"/>
              <a:gd name="connsiteX4829" fmla="*/ 7650152 w 12243467"/>
              <a:gd name="connsiteY4829" fmla="*/ 3952699 h 4565177"/>
              <a:gd name="connsiteX4830" fmla="*/ 7759406 w 12243467"/>
              <a:gd name="connsiteY4830" fmla="*/ 3853570 h 4565177"/>
              <a:gd name="connsiteX4831" fmla="*/ 7732576 w 12243467"/>
              <a:gd name="connsiteY4831" fmla="*/ 3854784 h 4565177"/>
              <a:gd name="connsiteX4832" fmla="*/ 7704088 w 12243467"/>
              <a:gd name="connsiteY4832" fmla="*/ 3889176 h 4565177"/>
              <a:gd name="connsiteX4833" fmla="*/ 7661216 w 12243467"/>
              <a:gd name="connsiteY4833" fmla="*/ 3924478 h 4565177"/>
              <a:gd name="connsiteX4834" fmla="*/ 7627472 w 12243467"/>
              <a:gd name="connsiteY4834" fmla="*/ 3946023 h 4565177"/>
              <a:gd name="connsiteX4835" fmla="*/ 7565793 w 12243467"/>
              <a:gd name="connsiteY4835" fmla="*/ 3997105 h 4565177"/>
              <a:gd name="connsiteX4836" fmla="*/ 7487794 w 12243467"/>
              <a:gd name="connsiteY4836" fmla="*/ 4037870 h 4565177"/>
              <a:gd name="connsiteX4837" fmla="*/ 7675322 w 12243467"/>
              <a:gd name="connsiteY4837" fmla="*/ 3897976 h 4565177"/>
              <a:gd name="connsiteX4838" fmla="*/ 7722896 w 12243467"/>
              <a:gd name="connsiteY4838" fmla="*/ 3861561 h 4565177"/>
              <a:gd name="connsiteX4839" fmla="*/ 7724832 w 12243467"/>
              <a:gd name="connsiteY4839" fmla="*/ 3854076 h 4565177"/>
              <a:gd name="connsiteX4840" fmla="*/ 7760442 w 12243467"/>
              <a:gd name="connsiteY4840" fmla="*/ 3823376 h 4565177"/>
              <a:gd name="connsiteX4841" fmla="*/ 7776696 w 12243467"/>
              <a:gd name="connsiteY4841" fmla="*/ 3811938 h 4565177"/>
              <a:gd name="connsiteX4842" fmla="*/ 7765595 w 12243467"/>
              <a:gd name="connsiteY4842" fmla="*/ 3806713 h 4565177"/>
              <a:gd name="connsiteX4843" fmla="*/ 7742638 w 12243467"/>
              <a:gd name="connsiteY4843" fmla="*/ 3813288 h 4565177"/>
              <a:gd name="connsiteX4844" fmla="*/ 7732713 w 12243467"/>
              <a:gd name="connsiteY4844" fmla="*/ 3811613 h 4565177"/>
              <a:gd name="connsiteX4845" fmla="*/ 7722718 w 12243467"/>
              <a:gd name="connsiteY4845" fmla="*/ 3822889 h 4565177"/>
              <a:gd name="connsiteX4846" fmla="*/ 7634387 w 12243467"/>
              <a:gd name="connsiteY4846" fmla="*/ 3876430 h 4565177"/>
              <a:gd name="connsiteX4847" fmla="*/ 7618068 w 12243467"/>
              <a:gd name="connsiteY4847" fmla="*/ 3872991 h 4565177"/>
              <a:gd name="connsiteX4848" fmla="*/ 7602579 w 12243467"/>
              <a:gd name="connsiteY4848" fmla="*/ 3883511 h 4565177"/>
              <a:gd name="connsiteX4849" fmla="*/ 7594281 w 12243467"/>
              <a:gd name="connsiteY4849" fmla="*/ 3906372 h 4565177"/>
              <a:gd name="connsiteX4850" fmla="*/ 7525134 w 12243467"/>
              <a:gd name="connsiteY4850" fmla="*/ 3926299 h 4565177"/>
              <a:gd name="connsiteX4851" fmla="*/ 7534538 w 12243467"/>
              <a:gd name="connsiteY4851" fmla="*/ 3912542 h 4565177"/>
              <a:gd name="connsiteX4852" fmla="*/ 7510751 w 12243467"/>
              <a:gd name="connsiteY4852" fmla="*/ 3915475 h 4565177"/>
              <a:gd name="connsiteX4853" fmla="*/ 7515730 w 12243467"/>
              <a:gd name="connsiteY4853" fmla="*/ 3921342 h 4565177"/>
              <a:gd name="connsiteX4854" fmla="*/ 7339265 w 12243467"/>
              <a:gd name="connsiteY4854" fmla="*/ 4014301 h 4565177"/>
              <a:gd name="connsiteX4855" fmla="*/ 7453497 w 12243467"/>
              <a:gd name="connsiteY4855" fmla="*/ 3939853 h 4565177"/>
              <a:gd name="connsiteX4856" fmla="*/ 7525687 w 12243467"/>
              <a:gd name="connsiteY4856" fmla="*/ 3883916 h 4565177"/>
              <a:gd name="connsiteX4857" fmla="*/ 7491113 w 12243467"/>
              <a:gd name="connsiteY4857" fmla="*/ 3903337 h 4565177"/>
              <a:gd name="connsiteX4858" fmla="*/ 7379647 w 12243467"/>
              <a:gd name="connsiteY4858" fmla="*/ 3972525 h 4565177"/>
              <a:gd name="connsiteX4859" fmla="*/ 7347839 w 12243467"/>
              <a:gd name="connsiteY4859" fmla="*/ 3986585 h 4565177"/>
              <a:gd name="connsiteX4860" fmla="*/ 7322117 w 12243467"/>
              <a:gd name="connsiteY4860" fmla="*/ 3989923 h 4565177"/>
              <a:gd name="connsiteX4861" fmla="*/ 7403434 w 12243467"/>
              <a:gd name="connsiteY4861" fmla="*/ 3939145 h 4565177"/>
              <a:gd name="connsiteX4862" fmla="*/ 7426944 w 12243467"/>
              <a:gd name="connsiteY4862" fmla="*/ 3929232 h 4565177"/>
              <a:gd name="connsiteX4863" fmla="*/ 7409796 w 12243467"/>
              <a:gd name="connsiteY4863" fmla="*/ 3923669 h 4565177"/>
              <a:gd name="connsiteX4864" fmla="*/ 7398732 w 12243467"/>
              <a:gd name="connsiteY4864" fmla="*/ 3933076 h 4565177"/>
              <a:gd name="connsiteX4865" fmla="*/ 7384073 w 12243467"/>
              <a:gd name="connsiteY4865" fmla="*/ 3933986 h 4565177"/>
              <a:gd name="connsiteX4866" fmla="*/ 7385732 w 12243467"/>
              <a:gd name="connsiteY4866" fmla="*/ 3919521 h 4565177"/>
              <a:gd name="connsiteX4867" fmla="*/ 7384349 w 12243467"/>
              <a:gd name="connsiteY4867" fmla="*/ 3919825 h 4565177"/>
              <a:gd name="connsiteX4868" fmla="*/ 7377711 w 12243467"/>
              <a:gd name="connsiteY4868" fmla="*/ 3926703 h 4565177"/>
              <a:gd name="connsiteX4869" fmla="*/ 7377988 w 12243467"/>
              <a:gd name="connsiteY4869" fmla="*/ 3928221 h 4565177"/>
              <a:gd name="connsiteX4870" fmla="*/ 7379647 w 12243467"/>
              <a:gd name="connsiteY4870" fmla="*/ 3935099 h 4565177"/>
              <a:gd name="connsiteX4871" fmla="*/ 7371350 w 12243467"/>
              <a:gd name="connsiteY4871" fmla="*/ 3936212 h 4565177"/>
              <a:gd name="connsiteX4872" fmla="*/ 7364988 w 12243467"/>
              <a:gd name="connsiteY4872" fmla="*/ 3940258 h 4565177"/>
              <a:gd name="connsiteX4873" fmla="*/ 7354201 w 12243467"/>
              <a:gd name="connsiteY4873" fmla="*/ 3952295 h 4565177"/>
              <a:gd name="connsiteX4874" fmla="*/ 7354201 w 12243467"/>
              <a:gd name="connsiteY4874" fmla="*/ 3952396 h 4565177"/>
              <a:gd name="connsiteX4875" fmla="*/ 7355861 w 12243467"/>
              <a:gd name="connsiteY4875" fmla="*/ 3956644 h 4565177"/>
              <a:gd name="connsiteX4876" fmla="*/ 7341478 w 12243467"/>
              <a:gd name="connsiteY4876" fmla="*/ 3961702 h 4565177"/>
              <a:gd name="connsiteX4877" fmla="*/ 7331521 w 12243467"/>
              <a:gd name="connsiteY4877" fmla="*/ 3968884 h 4565177"/>
              <a:gd name="connsiteX4878" fmla="*/ 7329308 w 12243467"/>
              <a:gd name="connsiteY4878" fmla="*/ 3980011 h 4565177"/>
              <a:gd name="connsiteX4879" fmla="*/ 7216459 w 12243467"/>
              <a:gd name="connsiteY4879" fmla="*/ 4063057 h 4565177"/>
              <a:gd name="connsiteX4880" fmla="*/ 7156992 w 12243467"/>
              <a:gd name="connsiteY4880" fmla="*/ 4106552 h 4565177"/>
              <a:gd name="connsiteX4881" fmla="*/ 7028101 w 12243467"/>
              <a:gd name="connsiteY4881" fmla="*/ 4196881 h 4565177"/>
              <a:gd name="connsiteX4882" fmla="*/ 7036676 w 12243467"/>
              <a:gd name="connsiteY4882" fmla="*/ 4202445 h 4565177"/>
              <a:gd name="connsiteX4883" fmla="*/ 7003762 w 12243467"/>
              <a:gd name="connsiteY4883" fmla="*/ 4210233 h 4565177"/>
              <a:gd name="connsiteX4884" fmla="*/ 6961720 w 12243467"/>
              <a:gd name="connsiteY4884" fmla="*/ 4239669 h 4565177"/>
              <a:gd name="connsiteX4885" fmla="*/ 6945678 w 12243467"/>
              <a:gd name="connsiteY4885" fmla="*/ 4235522 h 4565177"/>
              <a:gd name="connsiteX4886" fmla="*/ 6944018 w 12243467"/>
              <a:gd name="connsiteY4886" fmla="*/ 4255853 h 4565177"/>
              <a:gd name="connsiteX4887" fmla="*/ 6935720 w 12243467"/>
              <a:gd name="connsiteY4887" fmla="*/ 4261821 h 4565177"/>
              <a:gd name="connsiteX4888" fmla="*/ 6910827 w 12243467"/>
              <a:gd name="connsiteY4888" fmla="*/ 4265867 h 4565177"/>
              <a:gd name="connsiteX4889" fmla="*/ 6916912 w 12243467"/>
              <a:gd name="connsiteY4889" fmla="*/ 4271127 h 4565177"/>
              <a:gd name="connsiteX4890" fmla="*/ 6916083 w 12243467"/>
              <a:gd name="connsiteY4890" fmla="*/ 4275578 h 4565177"/>
              <a:gd name="connsiteX4891" fmla="*/ 6848595 w 12243467"/>
              <a:gd name="connsiteY4891" fmla="*/ 4299956 h 4565177"/>
              <a:gd name="connsiteX4892" fmla="*/ 6849424 w 12243467"/>
              <a:gd name="connsiteY4892" fmla="*/ 4306834 h 4565177"/>
              <a:gd name="connsiteX4893" fmla="*/ 6780277 w 12243467"/>
              <a:gd name="connsiteY4893" fmla="*/ 4340214 h 4565177"/>
              <a:gd name="connsiteX4894" fmla="*/ 6615429 w 12243467"/>
              <a:gd name="connsiteY4894" fmla="*/ 4406064 h 4565177"/>
              <a:gd name="connsiteX4895" fmla="*/ 6617918 w 12243467"/>
              <a:gd name="connsiteY4895" fmla="*/ 4417697 h 4565177"/>
              <a:gd name="connsiteX4896" fmla="*/ 6597174 w 12243467"/>
              <a:gd name="connsiteY4896" fmla="*/ 4413145 h 4565177"/>
              <a:gd name="connsiteX4897" fmla="*/ 6547111 w 12243467"/>
              <a:gd name="connsiteY4897" fmla="*/ 4434893 h 4565177"/>
              <a:gd name="connsiteX4898" fmla="*/ 6534665 w 12243467"/>
              <a:gd name="connsiteY4898" fmla="*/ 4435904 h 4565177"/>
              <a:gd name="connsiteX4899" fmla="*/ 6533005 w 12243467"/>
              <a:gd name="connsiteY4899" fmla="*/ 4444705 h 4565177"/>
              <a:gd name="connsiteX4900" fmla="*/ 6550154 w 12243467"/>
              <a:gd name="connsiteY4900" fmla="*/ 4442176 h 4565177"/>
              <a:gd name="connsiteX4901" fmla="*/ 6526920 w 12243467"/>
              <a:gd name="connsiteY4901" fmla="*/ 4450976 h 4565177"/>
              <a:gd name="connsiteX4902" fmla="*/ 6523878 w 12243467"/>
              <a:gd name="connsiteY4902" fmla="*/ 4441569 h 4565177"/>
              <a:gd name="connsiteX4903" fmla="*/ 6500921 w 12243467"/>
              <a:gd name="connsiteY4903" fmla="*/ 4448043 h 4565177"/>
              <a:gd name="connsiteX4904" fmla="*/ 6511985 w 12243467"/>
              <a:gd name="connsiteY4904" fmla="*/ 4453808 h 4565177"/>
              <a:gd name="connsiteX4905" fmla="*/ 6497602 w 12243467"/>
              <a:gd name="connsiteY4905" fmla="*/ 4452190 h 4565177"/>
              <a:gd name="connsiteX4906" fmla="*/ 6440624 w 12243467"/>
              <a:gd name="connsiteY4906" fmla="*/ 4473230 h 4565177"/>
              <a:gd name="connsiteX4907" fmla="*/ 6403008 w 12243467"/>
              <a:gd name="connsiteY4907" fmla="*/ 4480513 h 4565177"/>
              <a:gd name="connsiteX4908" fmla="*/ 6345201 w 12243467"/>
              <a:gd name="connsiteY4908" fmla="*/ 4492246 h 4565177"/>
              <a:gd name="connsiteX4909" fmla="*/ 6302053 w 12243467"/>
              <a:gd name="connsiteY4909" fmla="*/ 4514803 h 4565177"/>
              <a:gd name="connsiteX4910" fmla="*/ 6204416 w 12243467"/>
              <a:gd name="connsiteY4910" fmla="*/ 4522187 h 4565177"/>
              <a:gd name="connsiteX4911" fmla="*/ 6195012 w 12243467"/>
              <a:gd name="connsiteY4911" fmla="*/ 4532606 h 4565177"/>
              <a:gd name="connsiteX4912" fmla="*/ 6078845 w 12243467"/>
              <a:gd name="connsiteY4912" fmla="*/ 4547071 h 4565177"/>
              <a:gd name="connsiteX4913" fmla="*/ 6079121 w 12243467"/>
              <a:gd name="connsiteY4913" fmla="*/ 4533415 h 4565177"/>
              <a:gd name="connsiteX4914" fmla="*/ 6064738 w 12243467"/>
              <a:gd name="connsiteY4914" fmla="*/ 4545554 h 4565177"/>
              <a:gd name="connsiteX4915" fmla="*/ 6023527 w 12243467"/>
              <a:gd name="connsiteY4915" fmla="*/ 4547779 h 4565177"/>
              <a:gd name="connsiteX4916" fmla="*/ 6038739 w 12243467"/>
              <a:gd name="connsiteY4916" fmla="*/ 4531190 h 4565177"/>
              <a:gd name="connsiteX4917" fmla="*/ 6058653 w 12243467"/>
              <a:gd name="connsiteY4917" fmla="*/ 4528863 h 4565177"/>
              <a:gd name="connsiteX4918" fmla="*/ 6050632 w 12243467"/>
              <a:gd name="connsiteY4918" fmla="*/ 4507520 h 4565177"/>
              <a:gd name="connsiteX4919" fmla="*/ 6089908 w 12243467"/>
              <a:gd name="connsiteY4919" fmla="*/ 4504991 h 4565177"/>
              <a:gd name="connsiteX4920" fmla="*/ 6170672 w 12243467"/>
              <a:gd name="connsiteY4920" fmla="*/ 4486582 h 4565177"/>
              <a:gd name="connsiteX4921" fmla="*/ 6208012 w 12243467"/>
              <a:gd name="connsiteY4921" fmla="*/ 4479400 h 4565177"/>
              <a:gd name="connsiteX4922" fmla="*/ 6266649 w 12243467"/>
              <a:gd name="connsiteY4922" fmla="*/ 4463114 h 4565177"/>
              <a:gd name="connsiteX4923" fmla="*/ 6272458 w 12243467"/>
              <a:gd name="connsiteY4923" fmla="*/ 4470600 h 4565177"/>
              <a:gd name="connsiteX4924" fmla="*/ 6308967 w 12243467"/>
              <a:gd name="connsiteY4924" fmla="*/ 4456438 h 4565177"/>
              <a:gd name="connsiteX4925" fmla="*/ 6352392 w 12243467"/>
              <a:gd name="connsiteY4925" fmla="*/ 4445312 h 4565177"/>
              <a:gd name="connsiteX4926" fmla="*/ 6485155 w 12243467"/>
              <a:gd name="connsiteY4926" fmla="*/ 4394027 h 4565177"/>
              <a:gd name="connsiteX4927" fmla="*/ 6498985 w 12243467"/>
              <a:gd name="connsiteY4927" fmla="*/ 4397871 h 4565177"/>
              <a:gd name="connsiteX4928" fmla="*/ 6490964 w 12243467"/>
              <a:gd name="connsiteY4928" fmla="*/ 4390184 h 4565177"/>
              <a:gd name="connsiteX4929" fmla="*/ 6617918 w 12243467"/>
              <a:gd name="connsiteY4929" fmla="*/ 4344968 h 4565177"/>
              <a:gd name="connsiteX4930" fmla="*/ 6613216 w 12243467"/>
              <a:gd name="connsiteY4930" fmla="*/ 4355893 h 4565177"/>
              <a:gd name="connsiteX4931" fmla="*/ 6646960 w 12243467"/>
              <a:gd name="connsiteY4931" fmla="*/ 4332223 h 4565177"/>
              <a:gd name="connsiteX4932" fmla="*/ 6677939 w 12243467"/>
              <a:gd name="connsiteY4932" fmla="*/ 4322007 h 4565177"/>
              <a:gd name="connsiteX4933" fmla="*/ 6673790 w 12243467"/>
              <a:gd name="connsiteY4933" fmla="*/ 4330706 h 4565177"/>
              <a:gd name="connsiteX4934" fmla="*/ 6699513 w 12243467"/>
              <a:gd name="connsiteY4934" fmla="*/ 4322108 h 4565177"/>
              <a:gd name="connsiteX4935" fmla="*/ 6688726 w 12243467"/>
              <a:gd name="connsiteY4935" fmla="*/ 4316443 h 4565177"/>
              <a:gd name="connsiteX4936" fmla="*/ 6719980 w 12243467"/>
              <a:gd name="connsiteY4936" fmla="*/ 4304002 h 4565177"/>
              <a:gd name="connsiteX4937" fmla="*/ 6704215 w 12243467"/>
              <a:gd name="connsiteY4937" fmla="*/ 4311285 h 4565177"/>
              <a:gd name="connsiteX4938" fmla="*/ 6710023 w 12243467"/>
              <a:gd name="connsiteY4938" fmla="*/ 4318770 h 4565177"/>
              <a:gd name="connsiteX4939" fmla="*/ 6728831 w 12243467"/>
              <a:gd name="connsiteY4939" fmla="*/ 4295808 h 4565177"/>
              <a:gd name="connsiteX4940" fmla="*/ 6734086 w 12243467"/>
              <a:gd name="connsiteY4940" fmla="*/ 4305519 h 4565177"/>
              <a:gd name="connsiteX4941" fmla="*/ 6867403 w 12243467"/>
              <a:gd name="connsiteY4941" fmla="*/ 4229250 h 4565177"/>
              <a:gd name="connsiteX4942" fmla="*/ 6883168 w 12243467"/>
              <a:gd name="connsiteY4942" fmla="*/ 4235522 h 4565177"/>
              <a:gd name="connsiteX4943" fmla="*/ 6900870 w 12243467"/>
              <a:gd name="connsiteY4943" fmla="*/ 4207907 h 4565177"/>
              <a:gd name="connsiteX4944" fmla="*/ 6972507 w 12243467"/>
              <a:gd name="connsiteY4944" fmla="*/ 4161276 h 4565177"/>
              <a:gd name="connsiteX4945" fmla="*/ 7186311 w 12243467"/>
              <a:gd name="connsiteY4945" fmla="*/ 4021078 h 4565177"/>
              <a:gd name="connsiteX4946" fmla="*/ 7201523 w 12243467"/>
              <a:gd name="connsiteY4946" fmla="*/ 4004692 h 4565177"/>
              <a:gd name="connsiteX4947" fmla="*/ 7183545 w 12243467"/>
              <a:gd name="connsiteY4947" fmla="*/ 4010761 h 4565177"/>
              <a:gd name="connsiteX4948" fmla="*/ 7130163 w 12243467"/>
              <a:gd name="connsiteY4948" fmla="*/ 4032306 h 4565177"/>
              <a:gd name="connsiteX4949" fmla="*/ 7116057 w 12243467"/>
              <a:gd name="connsiteY4949" fmla="*/ 4028361 h 4565177"/>
              <a:gd name="connsiteX4950" fmla="*/ 7107206 w 12243467"/>
              <a:gd name="connsiteY4950" fmla="*/ 4032610 h 4565177"/>
              <a:gd name="connsiteX4951" fmla="*/ 7101121 w 12243467"/>
              <a:gd name="connsiteY4951" fmla="*/ 4032003 h 4565177"/>
              <a:gd name="connsiteX4952" fmla="*/ 7076781 w 12243467"/>
              <a:gd name="connsiteY4952" fmla="*/ 4049907 h 4565177"/>
              <a:gd name="connsiteX4953" fmla="*/ 7079824 w 12243467"/>
              <a:gd name="connsiteY4953" fmla="*/ 4059314 h 4565177"/>
              <a:gd name="connsiteX4954" fmla="*/ 7058803 w 12243467"/>
              <a:gd name="connsiteY4954" fmla="*/ 4068317 h 4565177"/>
              <a:gd name="connsiteX4955" fmla="*/ 6931572 w 12243467"/>
              <a:gd name="connsiteY4955" fmla="*/ 4149845 h 4565177"/>
              <a:gd name="connsiteX4956" fmla="*/ 6924104 w 12243467"/>
              <a:gd name="connsiteY4956" fmla="*/ 4151363 h 4565177"/>
              <a:gd name="connsiteX4957" fmla="*/ 6919955 w 12243467"/>
              <a:gd name="connsiteY4957" fmla="*/ 4159961 h 4565177"/>
              <a:gd name="connsiteX4958" fmla="*/ 6887594 w 12243467"/>
              <a:gd name="connsiteY4958" fmla="*/ 4176853 h 4565177"/>
              <a:gd name="connsiteX4959" fmla="*/ 6786915 w 12243467"/>
              <a:gd name="connsiteY4959" fmla="*/ 4222675 h 4565177"/>
              <a:gd name="connsiteX4960" fmla="*/ 6777511 w 12243467"/>
              <a:gd name="connsiteY4960" fmla="*/ 4232993 h 4565177"/>
              <a:gd name="connsiteX4961" fmla="*/ 6758426 w 12243467"/>
              <a:gd name="connsiteY4961" fmla="*/ 4233094 h 4565177"/>
              <a:gd name="connsiteX4962" fmla="*/ 6726618 w 12243467"/>
              <a:gd name="connsiteY4962" fmla="*/ 4247761 h 4565177"/>
              <a:gd name="connsiteX4963" fmla="*/ 6719427 w 12243467"/>
              <a:gd name="connsiteY4963" fmla="*/ 4235623 h 4565177"/>
              <a:gd name="connsiteX4964" fmla="*/ 6720810 w 12243467"/>
              <a:gd name="connsiteY4964" fmla="*/ 4251706 h 4565177"/>
              <a:gd name="connsiteX4965" fmla="*/ 6697300 w 12243467"/>
              <a:gd name="connsiteY4965" fmla="*/ 4249177 h 4565177"/>
              <a:gd name="connsiteX4966" fmla="*/ 6666875 w 12243467"/>
              <a:gd name="connsiteY4966" fmla="*/ 4268497 h 4565177"/>
              <a:gd name="connsiteX4967" fmla="*/ 6650280 w 12243467"/>
              <a:gd name="connsiteY4967" fmla="*/ 4280332 h 4565177"/>
              <a:gd name="connsiteX4968" fmla="*/ 6653599 w 12243467"/>
              <a:gd name="connsiteY4968" fmla="*/ 4287514 h 4565177"/>
              <a:gd name="connsiteX4969" fmla="*/ 6639493 w 12243467"/>
              <a:gd name="connsiteY4969" fmla="*/ 4297326 h 4565177"/>
              <a:gd name="connsiteX4970" fmla="*/ 6611004 w 12243467"/>
              <a:gd name="connsiteY4970" fmla="*/ 4307845 h 4565177"/>
              <a:gd name="connsiteX4971" fmla="*/ 6602706 w 12243467"/>
              <a:gd name="connsiteY4971" fmla="*/ 4300057 h 4565177"/>
              <a:gd name="connsiteX4972" fmla="*/ 6587217 w 12243467"/>
              <a:gd name="connsiteY4972" fmla="*/ 4318871 h 4565177"/>
              <a:gd name="connsiteX4973" fmla="*/ 6569792 w 12243467"/>
              <a:gd name="connsiteY4973" fmla="*/ 4321501 h 4565177"/>
              <a:gd name="connsiteX4974" fmla="*/ 6476304 w 12243467"/>
              <a:gd name="connsiteY4974" fmla="*/ 4354376 h 4565177"/>
              <a:gd name="connsiteX4975" fmla="*/ 6464688 w 12243467"/>
              <a:gd name="connsiteY4975" fmla="*/ 4364491 h 4565177"/>
              <a:gd name="connsiteX4976" fmla="*/ 6361520 w 12243467"/>
              <a:gd name="connsiteY4976" fmla="*/ 4387149 h 4565177"/>
              <a:gd name="connsiteX4977" fmla="*/ 6352115 w 12243467"/>
              <a:gd name="connsiteY4977" fmla="*/ 4397568 h 4565177"/>
              <a:gd name="connsiteX4978" fmla="*/ 6332754 w 12243467"/>
              <a:gd name="connsiteY4978" fmla="*/ 4386239 h 4565177"/>
              <a:gd name="connsiteX4979" fmla="*/ 6293755 w 12243467"/>
              <a:gd name="connsiteY4979" fmla="*/ 4400198 h 4565177"/>
              <a:gd name="connsiteX4980" fmla="*/ 6273287 w 12243467"/>
              <a:gd name="connsiteY4980" fmla="*/ 4418405 h 4565177"/>
              <a:gd name="connsiteX4981" fmla="*/ 6262500 w 12243467"/>
              <a:gd name="connsiteY4981" fmla="*/ 4412639 h 4565177"/>
              <a:gd name="connsiteX4982" fmla="*/ 6220735 w 12243467"/>
              <a:gd name="connsiteY4982" fmla="*/ 4417191 h 4565177"/>
              <a:gd name="connsiteX4983" fmla="*/ 6185608 w 12243467"/>
              <a:gd name="connsiteY4983" fmla="*/ 4436006 h 4565177"/>
              <a:gd name="connsiteX4984" fmla="*/ 6021868 w 12243467"/>
              <a:gd name="connsiteY4984" fmla="*/ 4447436 h 4565177"/>
              <a:gd name="connsiteX4985" fmla="*/ 6008591 w 12243467"/>
              <a:gd name="connsiteY4985" fmla="*/ 4452797 h 4565177"/>
              <a:gd name="connsiteX4986" fmla="*/ 6084653 w 12243467"/>
              <a:gd name="connsiteY4986" fmla="*/ 4422552 h 4565177"/>
              <a:gd name="connsiteX4987" fmla="*/ 6085759 w 12243467"/>
              <a:gd name="connsiteY4987" fmla="*/ 4404547 h 4565177"/>
              <a:gd name="connsiteX4988" fmla="*/ 6003612 w 12243467"/>
              <a:gd name="connsiteY4988" fmla="*/ 4418203 h 4565177"/>
              <a:gd name="connsiteX4989" fmla="*/ 5974295 w 12243467"/>
              <a:gd name="connsiteY4989" fmla="*/ 4408088 h 4565177"/>
              <a:gd name="connsiteX4990" fmla="*/ 6068334 w 12243467"/>
              <a:gd name="connsiteY4990" fmla="*/ 4395747 h 4565177"/>
              <a:gd name="connsiteX4991" fmla="*/ 6076632 w 12243467"/>
              <a:gd name="connsiteY4991" fmla="*/ 4378450 h 4565177"/>
              <a:gd name="connsiteX4992" fmla="*/ 6064738 w 12243467"/>
              <a:gd name="connsiteY4992" fmla="*/ 4377135 h 4565177"/>
              <a:gd name="connsiteX4993" fmla="*/ 6070823 w 12243467"/>
              <a:gd name="connsiteY4993" fmla="*/ 4370965 h 4565177"/>
              <a:gd name="connsiteX4994" fmla="*/ 6065015 w 12243467"/>
              <a:gd name="connsiteY4994" fmla="*/ 4363479 h 4565177"/>
              <a:gd name="connsiteX4995" fmla="*/ 6036527 w 12243467"/>
              <a:gd name="connsiteY4995" fmla="*/ 4373999 h 4565177"/>
              <a:gd name="connsiteX4996" fmla="*/ 6042888 w 12243467"/>
              <a:gd name="connsiteY4996" fmla="*/ 4354274 h 4565177"/>
              <a:gd name="connsiteX4997" fmla="*/ 6026847 w 12243467"/>
              <a:gd name="connsiteY4997" fmla="*/ 4338899 h 4565177"/>
              <a:gd name="connsiteX4998" fmla="*/ 6040952 w 12243467"/>
              <a:gd name="connsiteY4998" fmla="*/ 4340417 h 4565177"/>
              <a:gd name="connsiteX4999" fmla="*/ 6048143 w 12243467"/>
              <a:gd name="connsiteY4999" fmla="*/ 4352555 h 4565177"/>
              <a:gd name="connsiteX5000" fmla="*/ 6049526 w 12243467"/>
              <a:gd name="connsiteY5000" fmla="*/ 4345980 h 4565177"/>
              <a:gd name="connsiteX5001" fmla="*/ 6065015 w 12243467"/>
              <a:gd name="connsiteY5001" fmla="*/ 4352150 h 4565177"/>
              <a:gd name="connsiteX5002" fmla="*/ 6060313 w 12243467"/>
              <a:gd name="connsiteY5002" fmla="*/ 4340315 h 4565177"/>
              <a:gd name="connsiteX5003" fmla="*/ 6078291 w 12243467"/>
              <a:gd name="connsiteY5003" fmla="*/ 4321805 h 4565177"/>
              <a:gd name="connsiteX5004" fmla="*/ 6100142 w 12243467"/>
              <a:gd name="connsiteY5004" fmla="*/ 4333336 h 4565177"/>
              <a:gd name="connsiteX5005" fmla="*/ 6156843 w 12243467"/>
              <a:gd name="connsiteY5005" fmla="*/ 4325952 h 4565177"/>
              <a:gd name="connsiteX5006" fmla="*/ 6170949 w 12243467"/>
              <a:gd name="connsiteY5006" fmla="*/ 4316140 h 4565177"/>
              <a:gd name="connsiteX5007" fmla="*/ 6164587 w 12243467"/>
              <a:gd name="connsiteY5007" fmla="*/ 4324434 h 4565177"/>
              <a:gd name="connsiteX5008" fmla="*/ 6191417 w 12243467"/>
              <a:gd name="connsiteY5008" fmla="*/ 4322917 h 4565177"/>
              <a:gd name="connsiteX5009" fmla="*/ 6189757 w 12243467"/>
              <a:gd name="connsiteY5009" fmla="*/ 4306834 h 4565177"/>
              <a:gd name="connsiteX5010" fmla="*/ 6199714 w 12243467"/>
              <a:gd name="connsiteY5010" fmla="*/ 4305620 h 4565177"/>
              <a:gd name="connsiteX5011" fmla="*/ 6195012 w 12243467"/>
              <a:gd name="connsiteY5011" fmla="*/ 4316545 h 4565177"/>
              <a:gd name="connsiteX5012" fmla="*/ 6202480 w 12243467"/>
              <a:gd name="connsiteY5012" fmla="*/ 4315027 h 4565177"/>
              <a:gd name="connsiteX5013" fmla="*/ 6201374 w 12243467"/>
              <a:gd name="connsiteY5013" fmla="*/ 4308149 h 4565177"/>
              <a:gd name="connsiteX5014" fmla="*/ 6264990 w 12243467"/>
              <a:gd name="connsiteY5014" fmla="*/ 4292369 h 4565177"/>
              <a:gd name="connsiteX5015" fmla="*/ 6284904 w 12243467"/>
              <a:gd name="connsiteY5015" fmla="*/ 4287716 h 4565177"/>
              <a:gd name="connsiteX5016" fmla="*/ 6284074 w 12243467"/>
              <a:gd name="connsiteY5016" fmla="*/ 4280838 h 4565177"/>
              <a:gd name="connsiteX5017" fmla="*/ 6334690 w 12243467"/>
              <a:gd name="connsiteY5017" fmla="*/ 4268194 h 4565177"/>
              <a:gd name="connsiteX5018" fmla="*/ 6340499 w 12243467"/>
              <a:gd name="connsiteY5018" fmla="*/ 4275679 h 4565177"/>
              <a:gd name="connsiteX5019" fmla="*/ 6417944 w 12243467"/>
              <a:gd name="connsiteY5019" fmla="*/ 4250189 h 4565177"/>
              <a:gd name="connsiteX5020" fmla="*/ 6419327 w 12243467"/>
              <a:gd name="connsiteY5020" fmla="*/ 4243411 h 4565177"/>
              <a:gd name="connsiteX5021" fmla="*/ 6417667 w 12243467"/>
              <a:gd name="connsiteY5021" fmla="*/ 4238657 h 4565177"/>
              <a:gd name="connsiteX5022" fmla="*/ 6406604 w 12243467"/>
              <a:gd name="connsiteY5022" fmla="*/ 4246547 h 4565177"/>
              <a:gd name="connsiteX5023" fmla="*/ 6397476 w 12243467"/>
              <a:gd name="connsiteY5023" fmla="*/ 4243310 h 4565177"/>
              <a:gd name="connsiteX5024" fmla="*/ 6450858 w 12243467"/>
              <a:gd name="connsiteY5024" fmla="*/ 4217415 h 4565177"/>
              <a:gd name="connsiteX5025" fmla="*/ 6445050 w 12243467"/>
              <a:gd name="connsiteY5025" fmla="*/ 4209930 h 4565177"/>
              <a:gd name="connsiteX5026" fmla="*/ 6498985 w 12243467"/>
              <a:gd name="connsiteY5026" fmla="*/ 4181708 h 4565177"/>
              <a:gd name="connsiteX5027" fmla="*/ 6487091 w 12243467"/>
              <a:gd name="connsiteY5027" fmla="*/ 4169064 h 4565177"/>
              <a:gd name="connsiteX5028" fmla="*/ 6443114 w 12243467"/>
              <a:gd name="connsiteY5028" fmla="*/ 4184642 h 4565177"/>
              <a:gd name="connsiteX5029" fmla="*/ 6411582 w 12243467"/>
              <a:gd name="connsiteY5029" fmla="*/ 4197084 h 4565177"/>
              <a:gd name="connsiteX5030" fmla="*/ 6353498 w 12243467"/>
              <a:gd name="connsiteY5030" fmla="*/ 4211144 h 4565177"/>
              <a:gd name="connsiteX5031" fmla="*/ 6290989 w 12243467"/>
              <a:gd name="connsiteY5031" fmla="*/ 4222473 h 4565177"/>
              <a:gd name="connsiteX5032" fmla="*/ 6279649 w 12243467"/>
              <a:gd name="connsiteY5032" fmla="*/ 4230363 h 4565177"/>
              <a:gd name="connsiteX5033" fmla="*/ 6270798 w 12243467"/>
              <a:gd name="connsiteY5033" fmla="*/ 4227025 h 4565177"/>
              <a:gd name="connsiteX5034" fmla="*/ 6227650 w 12243467"/>
              <a:gd name="connsiteY5034" fmla="*/ 4249582 h 4565177"/>
              <a:gd name="connsiteX5035" fmla="*/ 6074419 w 12243467"/>
              <a:gd name="connsiteY5035" fmla="*/ 4269104 h 4565177"/>
              <a:gd name="connsiteX5036" fmla="*/ 6055611 w 12243467"/>
              <a:gd name="connsiteY5036" fmla="*/ 4278309 h 4565177"/>
              <a:gd name="connsiteX5037" fmla="*/ 6038186 w 12243467"/>
              <a:gd name="connsiteY5037" fmla="*/ 4269610 h 4565177"/>
              <a:gd name="connsiteX5038" fmla="*/ 6125035 w 12243467"/>
              <a:gd name="connsiteY5038" fmla="*/ 4245131 h 4565177"/>
              <a:gd name="connsiteX5039" fmla="*/ 6118397 w 12243467"/>
              <a:gd name="connsiteY5039" fmla="*/ 4242096 h 4565177"/>
              <a:gd name="connsiteX5040" fmla="*/ 6186991 w 12243467"/>
              <a:gd name="connsiteY5040" fmla="*/ 4235926 h 4565177"/>
              <a:gd name="connsiteX5041" fmla="*/ 6266096 w 12243467"/>
              <a:gd name="connsiteY5041" fmla="*/ 4226519 h 4565177"/>
              <a:gd name="connsiteX5042" fmla="*/ 6297074 w 12243467"/>
              <a:gd name="connsiteY5042" fmla="*/ 4216303 h 4565177"/>
              <a:gd name="connsiteX5043" fmla="*/ 6290713 w 12243467"/>
              <a:gd name="connsiteY5043" fmla="*/ 4211043 h 4565177"/>
              <a:gd name="connsiteX5044" fmla="*/ 6446433 w 12243467"/>
              <a:gd name="connsiteY5044" fmla="*/ 4155510 h 4565177"/>
              <a:gd name="connsiteX5045" fmla="*/ 6421540 w 12243467"/>
              <a:gd name="connsiteY5045" fmla="*/ 4148126 h 4565177"/>
              <a:gd name="connsiteX5046" fmla="*/ 6375902 w 12243467"/>
              <a:gd name="connsiteY5046" fmla="*/ 4170481 h 4565177"/>
              <a:gd name="connsiteX5047" fmla="*/ 6316989 w 12243467"/>
              <a:gd name="connsiteY5047" fmla="*/ 4188890 h 4565177"/>
              <a:gd name="connsiteX5048" fmla="*/ 6274117 w 12243467"/>
              <a:gd name="connsiteY5048" fmla="*/ 4197893 h 4565177"/>
              <a:gd name="connsiteX5049" fmla="*/ 6189204 w 12243467"/>
              <a:gd name="connsiteY5049" fmla="*/ 4224901 h 4565177"/>
              <a:gd name="connsiteX5050" fmla="*/ 6095163 w 12243467"/>
              <a:gd name="connsiteY5050" fmla="*/ 4237241 h 4565177"/>
              <a:gd name="connsiteX5051" fmla="*/ 6344924 w 12243467"/>
              <a:gd name="connsiteY5051" fmla="*/ 4169267 h 4565177"/>
              <a:gd name="connsiteX5052" fmla="*/ 6408816 w 12243467"/>
              <a:gd name="connsiteY5052" fmla="*/ 4151363 h 4565177"/>
              <a:gd name="connsiteX5053" fmla="*/ 6414625 w 12243467"/>
              <a:gd name="connsiteY5053" fmla="*/ 4145091 h 4565177"/>
              <a:gd name="connsiteX5054" fmla="*/ 6516963 w 12243467"/>
              <a:gd name="connsiteY5054" fmla="*/ 4115454 h 4565177"/>
              <a:gd name="connsiteX5055" fmla="*/ 6458603 w 12243467"/>
              <a:gd name="connsiteY5055" fmla="*/ 4143169 h 4565177"/>
              <a:gd name="connsiteX5056" fmla="*/ 6539644 w 12243467"/>
              <a:gd name="connsiteY5056" fmla="*/ 4111205 h 4565177"/>
              <a:gd name="connsiteX5057" fmla="*/ 6626216 w 12243467"/>
              <a:gd name="connsiteY5057" fmla="*/ 4075296 h 4565177"/>
              <a:gd name="connsiteX5058" fmla="*/ 6671577 w 12243467"/>
              <a:gd name="connsiteY5058" fmla="*/ 4053043 h 4565177"/>
              <a:gd name="connsiteX5059" fmla="*/ 6747363 w 12243467"/>
              <a:gd name="connsiteY5059" fmla="*/ 4011368 h 4565177"/>
              <a:gd name="connsiteX5060" fmla="*/ 6823148 w 12243467"/>
              <a:gd name="connsiteY5060" fmla="*/ 3969693 h 4565177"/>
              <a:gd name="connsiteX5061" fmla="*/ 6795489 w 12243467"/>
              <a:gd name="connsiteY5061" fmla="*/ 3975661 h 4565177"/>
              <a:gd name="connsiteX5062" fmla="*/ 6581685 w 12243467"/>
              <a:gd name="connsiteY5062" fmla="*/ 4081669 h 4565177"/>
              <a:gd name="connsiteX5063" fmla="*/ 6713895 w 12243467"/>
              <a:gd name="connsiteY5063" fmla="*/ 4009851 h 4565177"/>
              <a:gd name="connsiteX5064" fmla="*/ 6707810 w 12243467"/>
              <a:gd name="connsiteY5064" fmla="*/ 4004591 h 4565177"/>
              <a:gd name="connsiteX5065" fmla="*/ 6752341 w 12243467"/>
              <a:gd name="connsiteY5065" fmla="*/ 3986889 h 4565177"/>
              <a:gd name="connsiteX5066" fmla="*/ 6754001 w 12243467"/>
              <a:gd name="connsiteY5066" fmla="*/ 3977886 h 4565177"/>
              <a:gd name="connsiteX5067" fmla="*/ 6650556 w 12243467"/>
              <a:gd name="connsiteY5067" fmla="*/ 4014200 h 4565177"/>
              <a:gd name="connsiteX5068" fmla="*/ 6661067 w 12243467"/>
              <a:gd name="connsiteY5068" fmla="*/ 4022191 h 4565177"/>
              <a:gd name="connsiteX5069" fmla="*/ 6653599 w 12243467"/>
              <a:gd name="connsiteY5069" fmla="*/ 4035037 h 4565177"/>
              <a:gd name="connsiteX5070" fmla="*/ 6617918 w 12243467"/>
              <a:gd name="connsiteY5070" fmla="*/ 4044748 h 4565177"/>
              <a:gd name="connsiteX5071" fmla="*/ 6620131 w 12243467"/>
              <a:gd name="connsiteY5071" fmla="*/ 4033722 h 4565177"/>
              <a:gd name="connsiteX5072" fmla="*/ 6513367 w 12243467"/>
              <a:gd name="connsiteY5072" fmla="*/ 4074082 h 4565177"/>
              <a:gd name="connsiteX5073" fmla="*/ 6528027 w 12243467"/>
              <a:gd name="connsiteY5073" fmla="*/ 4073475 h 4565177"/>
              <a:gd name="connsiteX5074" fmla="*/ 6504793 w 12243467"/>
              <a:gd name="connsiteY5074" fmla="*/ 4080050 h 4565177"/>
              <a:gd name="connsiteX5075" fmla="*/ 6510602 w 12243467"/>
              <a:gd name="connsiteY5075" fmla="*/ 4076105 h 4565177"/>
              <a:gd name="connsiteX5076" fmla="*/ 6454177 w 12243467"/>
              <a:gd name="connsiteY5076" fmla="*/ 4092694 h 4565177"/>
              <a:gd name="connsiteX5077" fmla="*/ 6464688 w 12243467"/>
              <a:gd name="connsiteY5077" fmla="*/ 4100584 h 4565177"/>
              <a:gd name="connsiteX5078" fmla="*/ 6320031 w 12243467"/>
              <a:gd name="connsiteY5078" fmla="*/ 4136999 h 4565177"/>
              <a:gd name="connsiteX5079" fmla="*/ 6307308 w 12243467"/>
              <a:gd name="connsiteY5079" fmla="*/ 4128705 h 4565177"/>
              <a:gd name="connsiteX5080" fmla="*/ 6287117 w 12243467"/>
              <a:gd name="connsiteY5080" fmla="*/ 4133358 h 4565177"/>
              <a:gd name="connsiteX5081" fmla="*/ 6266649 w 12243467"/>
              <a:gd name="connsiteY5081" fmla="*/ 4151565 h 4565177"/>
              <a:gd name="connsiteX5082" fmla="*/ 6192523 w 12243467"/>
              <a:gd name="connsiteY5082" fmla="*/ 4147924 h 4565177"/>
              <a:gd name="connsiteX5083" fmla="*/ 6209118 w 12243467"/>
              <a:gd name="connsiteY5083" fmla="*/ 4138314 h 4565177"/>
              <a:gd name="connsiteX5084" fmla="*/ 6185885 w 12243467"/>
              <a:gd name="connsiteY5084" fmla="*/ 4133560 h 4565177"/>
              <a:gd name="connsiteX5085" fmla="*/ 6186991 w 12243467"/>
              <a:gd name="connsiteY5085" fmla="*/ 4140438 h 4565177"/>
              <a:gd name="connsiteX5086" fmla="*/ 5974017 w 12243467"/>
              <a:gd name="connsiteY5086" fmla="*/ 4169267 h 4565177"/>
              <a:gd name="connsiteX5087" fmla="*/ 6120056 w 12243467"/>
              <a:gd name="connsiteY5087" fmla="*/ 4137606 h 4565177"/>
              <a:gd name="connsiteX5088" fmla="*/ 6217140 w 12243467"/>
              <a:gd name="connsiteY5088" fmla="*/ 4109688 h 4565177"/>
              <a:gd name="connsiteX5089" fmla="*/ 6174821 w 12243467"/>
              <a:gd name="connsiteY5089" fmla="*/ 4116364 h 4565177"/>
              <a:gd name="connsiteX5090" fmla="*/ 6034314 w 12243467"/>
              <a:gd name="connsiteY5090" fmla="*/ 4144181 h 4565177"/>
              <a:gd name="connsiteX5091" fmla="*/ 5997805 w 12243467"/>
              <a:gd name="connsiteY5091" fmla="*/ 4146912 h 4565177"/>
              <a:gd name="connsiteX5092" fmla="*/ 5972357 w 12243467"/>
              <a:gd name="connsiteY5092" fmla="*/ 4141854 h 4565177"/>
              <a:gd name="connsiteX5093" fmla="*/ 6075249 w 12243467"/>
              <a:gd name="connsiteY5093" fmla="*/ 4121320 h 4565177"/>
              <a:gd name="connsiteX5094" fmla="*/ 6102078 w 12243467"/>
              <a:gd name="connsiteY5094" fmla="*/ 4119803 h 4565177"/>
              <a:gd name="connsiteX5095" fmla="*/ 6089632 w 12243467"/>
              <a:gd name="connsiteY5095" fmla="*/ 4109283 h 4565177"/>
              <a:gd name="connsiteX5096" fmla="*/ 6074143 w 12243467"/>
              <a:gd name="connsiteY5096" fmla="*/ 4114341 h 4565177"/>
              <a:gd name="connsiteX5097" fmla="*/ 6060590 w 12243467"/>
              <a:gd name="connsiteY5097" fmla="*/ 4110497 h 4565177"/>
              <a:gd name="connsiteX5098" fmla="*/ 6070270 w 12243467"/>
              <a:gd name="connsiteY5098" fmla="*/ 4097954 h 4565177"/>
              <a:gd name="connsiteX5099" fmla="*/ 6060866 w 12243467"/>
              <a:gd name="connsiteY5099" fmla="*/ 4096943 h 4565177"/>
              <a:gd name="connsiteX5100" fmla="*/ 6055611 w 12243467"/>
              <a:gd name="connsiteY5100" fmla="*/ 4109991 h 4565177"/>
              <a:gd name="connsiteX5101" fmla="*/ 6038739 w 12243467"/>
              <a:gd name="connsiteY5101" fmla="*/ 4110396 h 4565177"/>
              <a:gd name="connsiteX5102" fmla="*/ 6006378 w 12243467"/>
              <a:gd name="connsiteY5102" fmla="*/ 4104630 h 4565177"/>
              <a:gd name="connsiteX5103" fmla="*/ 6024356 w 12243467"/>
              <a:gd name="connsiteY5103" fmla="*/ 4111104 h 4565177"/>
              <a:gd name="connsiteX5104" fmla="*/ 6022144 w 12243467"/>
              <a:gd name="connsiteY5104" fmla="*/ 4122231 h 4565177"/>
              <a:gd name="connsiteX5105" fmla="*/ 5978167 w 12243467"/>
              <a:gd name="connsiteY5105" fmla="*/ 4124254 h 4565177"/>
              <a:gd name="connsiteX5106" fmla="*/ 5953826 w 12243467"/>
              <a:gd name="connsiteY5106" fmla="*/ 4114746 h 4565177"/>
              <a:gd name="connsiteX5107" fmla="*/ 5964890 w 12243467"/>
              <a:gd name="connsiteY5107" fmla="*/ 4118185 h 4565177"/>
              <a:gd name="connsiteX5108" fmla="*/ 5937784 w 12243467"/>
              <a:gd name="connsiteY5108" fmla="*/ 4122130 h 4565177"/>
              <a:gd name="connsiteX5109" fmla="*/ 5912338 w 12243467"/>
              <a:gd name="connsiteY5109" fmla="*/ 4116971 h 4565177"/>
              <a:gd name="connsiteX5110" fmla="*/ 5896295 w 12243467"/>
              <a:gd name="connsiteY5110" fmla="*/ 4112925 h 4565177"/>
              <a:gd name="connsiteX5111" fmla="*/ 5774320 w 12243467"/>
              <a:gd name="connsiteY5111" fmla="*/ 4119904 h 4565177"/>
              <a:gd name="connsiteX5112" fmla="*/ 5764085 w 12243467"/>
              <a:gd name="connsiteY5112" fmla="*/ 4112014 h 4565177"/>
              <a:gd name="connsiteX5113" fmla="*/ 5740852 w 12243467"/>
              <a:gd name="connsiteY5113" fmla="*/ 4107159 h 4565177"/>
              <a:gd name="connsiteX5114" fmla="*/ 5717896 w 12243467"/>
              <a:gd name="connsiteY5114" fmla="*/ 4113734 h 4565177"/>
              <a:gd name="connsiteX5115" fmla="*/ 5678342 w 12243467"/>
              <a:gd name="connsiteY5115" fmla="*/ 4107058 h 4565177"/>
              <a:gd name="connsiteX5116" fmla="*/ 5686640 w 12243467"/>
              <a:gd name="connsiteY5116" fmla="*/ 4101090 h 4565177"/>
              <a:gd name="connsiteX5117" fmla="*/ 5808063 w 12243467"/>
              <a:gd name="connsiteY5117" fmla="*/ 4107665 h 4565177"/>
              <a:gd name="connsiteX5118" fmla="*/ 5823829 w 12243467"/>
              <a:gd name="connsiteY5118" fmla="*/ 4102607 h 4565177"/>
              <a:gd name="connsiteX5119" fmla="*/ 6008867 w 12243467"/>
              <a:gd name="connsiteY5119" fmla="*/ 4091177 h 4565177"/>
              <a:gd name="connsiteX5120" fmla="*/ 6012740 w 12243467"/>
              <a:gd name="connsiteY5120" fmla="*/ 4084804 h 4565177"/>
              <a:gd name="connsiteX5121" fmla="*/ 6189481 w 12243467"/>
              <a:gd name="connsiteY5121" fmla="*/ 4042927 h 4565177"/>
              <a:gd name="connsiteX5122" fmla="*/ 6133609 w 12243467"/>
              <a:gd name="connsiteY5122" fmla="*/ 4057291 h 4565177"/>
              <a:gd name="connsiteX5123" fmla="*/ 6098482 w 12243467"/>
              <a:gd name="connsiteY5123" fmla="*/ 4053346 h 4565177"/>
              <a:gd name="connsiteX5124" fmla="*/ 6128631 w 12243467"/>
              <a:gd name="connsiteY5124" fmla="*/ 4047580 h 4565177"/>
              <a:gd name="connsiteX5125" fmla="*/ 6121439 w 12243467"/>
              <a:gd name="connsiteY5125" fmla="*/ 4035442 h 4565177"/>
              <a:gd name="connsiteX5126" fmla="*/ 6133609 w 12243467"/>
              <a:gd name="connsiteY5126" fmla="*/ 4045962 h 4565177"/>
              <a:gd name="connsiteX5127" fmla="*/ 6136375 w 12243467"/>
              <a:gd name="connsiteY5127" fmla="*/ 4032509 h 4565177"/>
              <a:gd name="connsiteX5128" fmla="*/ 6173438 w 12243467"/>
              <a:gd name="connsiteY5128" fmla="*/ 4027552 h 4565177"/>
              <a:gd name="connsiteX5129" fmla="*/ 6172332 w 12243467"/>
              <a:gd name="connsiteY5129" fmla="*/ 4009142 h 4565177"/>
              <a:gd name="connsiteX5130" fmla="*/ 6128907 w 12243467"/>
              <a:gd name="connsiteY5130" fmla="*/ 4009041 h 4565177"/>
              <a:gd name="connsiteX5131" fmla="*/ 6125588 w 12243467"/>
              <a:gd name="connsiteY5131" fmla="*/ 4001758 h 4565177"/>
              <a:gd name="connsiteX5132" fmla="*/ 6154630 w 12243467"/>
              <a:gd name="connsiteY5132" fmla="*/ 3989114 h 4565177"/>
              <a:gd name="connsiteX5133" fmla="*/ 6156013 w 12243467"/>
              <a:gd name="connsiteY5133" fmla="*/ 3982337 h 4565177"/>
              <a:gd name="connsiteX5134" fmla="*/ 6138588 w 12243467"/>
              <a:gd name="connsiteY5134" fmla="*/ 3973638 h 4565177"/>
              <a:gd name="connsiteX5135" fmla="*/ 6043994 w 12243467"/>
              <a:gd name="connsiteY5135" fmla="*/ 3988204 h 4565177"/>
              <a:gd name="connsiteX5136" fmla="*/ 6105397 w 12243467"/>
              <a:gd name="connsiteY5136" fmla="*/ 3958566 h 4565177"/>
              <a:gd name="connsiteX5137" fmla="*/ 6103184 w 12243467"/>
              <a:gd name="connsiteY5137" fmla="*/ 3969693 h 4565177"/>
              <a:gd name="connsiteX5138" fmla="*/ 6136375 w 12243467"/>
              <a:gd name="connsiteY5138" fmla="*/ 3959780 h 4565177"/>
              <a:gd name="connsiteX5139" fmla="*/ 6141630 w 12243467"/>
              <a:gd name="connsiteY5139" fmla="*/ 3946630 h 4565177"/>
              <a:gd name="connsiteX5140" fmla="*/ 6151864 w 12243467"/>
              <a:gd name="connsiteY5140" fmla="*/ 3954621 h 4565177"/>
              <a:gd name="connsiteX5141" fmla="*/ 6384477 w 12243467"/>
              <a:gd name="connsiteY5141" fmla="*/ 3875722 h 4565177"/>
              <a:gd name="connsiteX5142" fmla="*/ 6394987 w 12243467"/>
              <a:gd name="connsiteY5142" fmla="*/ 3858729 h 4565177"/>
              <a:gd name="connsiteX5143" fmla="*/ 6443114 w 12243467"/>
              <a:gd name="connsiteY5143" fmla="*/ 3848007 h 4565177"/>
              <a:gd name="connsiteX5144" fmla="*/ 6440901 w 12243467"/>
              <a:gd name="connsiteY5144" fmla="*/ 3834149 h 4565177"/>
              <a:gd name="connsiteX5145" fmla="*/ 6515580 w 12243467"/>
              <a:gd name="connsiteY5145" fmla="*/ 3810479 h 4565177"/>
              <a:gd name="connsiteX5146" fmla="*/ 6515857 w 12243467"/>
              <a:gd name="connsiteY5146" fmla="*/ 3796925 h 4565177"/>
              <a:gd name="connsiteX5147" fmla="*/ 6471879 w 12243467"/>
              <a:gd name="connsiteY5147" fmla="*/ 3823932 h 4565177"/>
              <a:gd name="connsiteX5148" fmla="*/ 6394157 w 12243467"/>
              <a:gd name="connsiteY5148" fmla="*/ 3851648 h 4565177"/>
              <a:gd name="connsiteX5149" fmla="*/ 6319201 w 12243467"/>
              <a:gd name="connsiteY5149" fmla="*/ 3877543 h 4565177"/>
              <a:gd name="connsiteX5150" fmla="*/ 6274947 w 12243467"/>
              <a:gd name="connsiteY5150" fmla="*/ 3893222 h 4565177"/>
              <a:gd name="connsiteX5151" fmla="*/ 6166524 w 12243467"/>
              <a:gd name="connsiteY5151" fmla="*/ 3917600 h 4565177"/>
              <a:gd name="connsiteX5152" fmla="*/ 6170396 w 12243467"/>
              <a:gd name="connsiteY5152" fmla="*/ 3911126 h 4565177"/>
              <a:gd name="connsiteX5153" fmla="*/ 6111482 w 12243467"/>
              <a:gd name="connsiteY5153" fmla="*/ 3915981 h 4565177"/>
              <a:gd name="connsiteX5154" fmla="*/ 6108716 w 12243467"/>
              <a:gd name="connsiteY5154" fmla="*/ 3906574 h 4565177"/>
              <a:gd name="connsiteX5155" fmla="*/ 6080504 w 12243467"/>
              <a:gd name="connsiteY5155" fmla="*/ 3914868 h 4565177"/>
              <a:gd name="connsiteX5156" fmla="*/ 6030165 w 12243467"/>
              <a:gd name="connsiteY5156" fmla="*/ 3925287 h 4565177"/>
              <a:gd name="connsiteX5157" fmla="*/ 6041782 w 12243467"/>
              <a:gd name="connsiteY5157" fmla="*/ 3916588 h 4565177"/>
              <a:gd name="connsiteX5158" fmla="*/ 6043994 w 12243467"/>
              <a:gd name="connsiteY5158" fmla="*/ 3915576 h 4565177"/>
              <a:gd name="connsiteX5159" fmla="*/ 6036803 w 12243467"/>
              <a:gd name="connsiteY5159" fmla="*/ 3915779 h 4565177"/>
              <a:gd name="connsiteX5160" fmla="*/ 6027399 w 12243467"/>
              <a:gd name="connsiteY5160" fmla="*/ 3916183 h 4565177"/>
              <a:gd name="connsiteX5161" fmla="*/ 6010803 w 12243467"/>
              <a:gd name="connsiteY5161" fmla="*/ 3923770 h 4565177"/>
              <a:gd name="connsiteX5162" fmla="*/ 6007209 w 12243467"/>
              <a:gd name="connsiteY5162" fmla="*/ 3935908 h 4565177"/>
              <a:gd name="connsiteX5163" fmla="*/ 5994485 w 12243467"/>
              <a:gd name="connsiteY5163" fmla="*/ 3942786 h 4565177"/>
              <a:gd name="connsiteX5164" fmla="*/ 5877210 w 12243467"/>
              <a:gd name="connsiteY5164" fmla="*/ 3972728 h 4565177"/>
              <a:gd name="connsiteX5165" fmla="*/ 5868083 w 12243467"/>
              <a:gd name="connsiteY5165" fmla="*/ 3981831 h 4565177"/>
              <a:gd name="connsiteX5166" fmla="*/ 5715129 w 12243467"/>
              <a:gd name="connsiteY5166" fmla="*/ 4014301 h 4565177"/>
              <a:gd name="connsiteX5167" fmla="*/ 5634919 w 12243467"/>
              <a:gd name="connsiteY5167" fmla="*/ 4031295 h 4565177"/>
              <a:gd name="connsiteX5168" fmla="*/ 5463432 w 12243467"/>
              <a:gd name="connsiteY5168" fmla="*/ 4064776 h 4565177"/>
              <a:gd name="connsiteX5169" fmla="*/ 5467304 w 12243467"/>
              <a:gd name="connsiteY5169" fmla="*/ 4072666 h 4565177"/>
              <a:gd name="connsiteX5170" fmla="*/ 5433561 w 12243467"/>
              <a:gd name="connsiteY5170" fmla="*/ 4067710 h 4565177"/>
              <a:gd name="connsiteX5171" fmla="*/ 5377689 w 12243467"/>
              <a:gd name="connsiteY5171" fmla="*/ 4078533 h 4565177"/>
              <a:gd name="connsiteX5172" fmla="*/ 5366072 w 12243467"/>
              <a:gd name="connsiteY5172" fmla="*/ 4069328 h 4565177"/>
              <a:gd name="connsiteX5173" fmla="*/ 5351689 w 12243467"/>
              <a:gd name="connsiteY5173" fmla="*/ 4086524 h 4565177"/>
              <a:gd name="connsiteX5174" fmla="*/ 5340349 w 12243467"/>
              <a:gd name="connsiteY5174" fmla="*/ 4088648 h 4565177"/>
              <a:gd name="connsiteX5175" fmla="*/ 5316009 w 12243467"/>
              <a:gd name="connsiteY5175" fmla="*/ 4083388 h 4565177"/>
              <a:gd name="connsiteX5176" fmla="*/ 5317945 w 12243467"/>
              <a:gd name="connsiteY5176" fmla="*/ 4090267 h 4565177"/>
              <a:gd name="connsiteX5177" fmla="*/ 5314350 w 12243467"/>
              <a:gd name="connsiteY5177" fmla="*/ 4093706 h 4565177"/>
              <a:gd name="connsiteX5178" fmla="*/ 5239394 w 12243467"/>
              <a:gd name="connsiteY5178" fmla="*/ 4091076 h 4565177"/>
              <a:gd name="connsiteX5179" fmla="*/ 5235798 w 12243467"/>
              <a:gd name="connsiteY5179" fmla="*/ 4097550 h 4565177"/>
              <a:gd name="connsiteX5180" fmla="*/ 5153374 w 12243467"/>
              <a:gd name="connsiteY5180" fmla="*/ 4102101 h 4565177"/>
              <a:gd name="connsiteX5181" fmla="*/ 4966123 w 12243467"/>
              <a:gd name="connsiteY5181" fmla="*/ 4101090 h 4565177"/>
              <a:gd name="connsiteX5182" fmla="*/ 4960592 w 12243467"/>
              <a:gd name="connsiteY5182" fmla="*/ 4112318 h 4565177"/>
              <a:gd name="connsiteX5183" fmla="*/ 4945380 w 12243467"/>
              <a:gd name="connsiteY5183" fmla="*/ 4100787 h 4565177"/>
              <a:gd name="connsiteX5184" fmla="*/ 4887572 w 12243467"/>
              <a:gd name="connsiteY5184" fmla="*/ 4102101 h 4565177"/>
              <a:gd name="connsiteX5185" fmla="*/ 4875955 w 12243467"/>
              <a:gd name="connsiteY5185" fmla="*/ 4098460 h 4565177"/>
              <a:gd name="connsiteX5186" fmla="*/ 4868764 w 12243467"/>
              <a:gd name="connsiteY5186" fmla="*/ 4105642 h 4565177"/>
              <a:gd name="connsiteX5187" fmla="*/ 4885635 w 12243467"/>
              <a:gd name="connsiteY5187" fmla="*/ 4109587 h 4565177"/>
              <a:gd name="connsiteX5188" fmla="*/ 4859360 w 12243467"/>
              <a:gd name="connsiteY5188" fmla="*/ 4108980 h 4565177"/>
              <a:gd name="connsiteX5189" fmla="*/ 4862955 w 12243467"/>
              <a:gd name="connsiteY5189" fmla="*/ 4099674 h 4565177"/>
              <a:gd name="connsiteX5190" fmla="*/ 4838615 w 12243467"/>
              <a:gd name="connsiteY5190" fmla="*/ 4097246 h 4565177"/>
              <a:gd name="connsiteX5191" fmla="*/ 4844423 w 12243467"/>
              <a:gd name="connsiteY5191" fmla="*/ 4106148 h 4565177"/>
              <a:gd name="connsiteX5192" fmla="*/ 4833083 w 12243467"/>
              <a:gd name="connsiteY5192" fmla="*/ 4099775 h 4565177"/>
              <a:gd name="connsiteX5193" fmla="*/ 4769191 w 12243467"/>
              <a:gd name="connsiteY5193" fmla="*/ 4097651 h 4565177"/>
              <a:gd name="connsiteX5194" fmla="*/ 4731575 w 12243467"/>
              <a:gd name="connsiteY5194" fmla="*/ 4090671 h 4565177"/>
              <a:gd name="connsiteX5195" fmla="*/ 4673491 w 12243467"/>
              <a:gd name="connsiteY5195" fmla="*/ 4080455 h 4565177"/>
              <a:gd name="connsiteX5196" fmla="*/ 4620939 w 12243467"/>
              <a:gd name="connsiteY5196" fmla="*/ 4084906 h 4565177"/>
              <a:gd name="connsiteX5197" fmla="*/ 4530494 w 12243467"/>
              <a:gd name="connsiteY5197" fmla="*/ 4056482 h 4565177"/>
              <a:gd name="connsiteX5198" fmla="*/ 4515558 w 12243467"/>
              <a:gd name="connsiteY5198" fmla="*/ 4062247 h 4565177"/>
              <a:gd name="connsiteX5199" fmla="*/ 4404369 w 12243467"/>
              <a:gd name="connsiteY5199" fmla="*/ 4033621 h 4565177"/>
              <a:gd name="connsiteX5200" fmla="*/ 4413497 w 12243467"/>
              <a:gd name="connsiteY5200" fmla="*/ 4021786 h 4565177"/>
              <a:gd name="connsiteX5201" fmla="*/ 4393029 w 12243467"/>
              <a:gd name="connsiteY5201" fmla="*/ 4027148 h 4565177"/>
              <a:gd name="connsiteX5202" fmla="*/ 4355137 w 12243467"/>
              <a:gd name="connsiteY5202" fmla="*/ 4014402 h 4565177"/>
              <a:gd name="connsiteX5203" fmla="*/ 4379476 w 12243467"/>
              <a:gd name="connsiteY5203" fmla="*/ 4005400 h 4565177"/>
              <a:gd name="connsiteX5204" fmla="*/ 4398285 w 12243467"/>
              <a:gd name="connsiteY5204" fmla="*/ 4010356 h 4565177"/>
              <a:gd name="connsiteX5205" fmla="*/ 4405200 w 12243467"/>
              <a:gd name="connsiteY5205" fmla="*/ 3988912 h 4565177"/>
              <a:gd name="connsiteX5206" fmla="*/ 4441155 w 12243467"/>
              <a:gd name="connsiteY5206" fmla="*/ 4000646 h 4565177"/>
              <a:gd name="connsiteX5207" fmla="*/ 4523856 w 12243467"/>
              <a:gd name="connsiteY5207" fmla="*/ 4013290 h 4565177"/>
              <a:gd name="connsiteX5208" fmla="*/ 4561472 w 12243467"/>
              <a:gd name="connsiteY5208" fmla="*/ 4020370 h 4565177"/>
              <a:gd name="connsiteX5209" fmla="*/ 4623428 w 12243467"/>
              <a:gd name="connsiteY5209" fmla="*/ 4026945 h 4565177"/>
              <a:gd name="connsiteX5210" fmla="*/ 4623428 w 12243467"/>
              <a:gd name="connsiteY5210" fmla="*/ 4035543 h 4565177"/>
              <a:gd name="connsiteX5211" fmla="*/ 4664917 w 12243467"/>
              <a:gd name="connsiteY5211" fmla="*/ 4036150 h 4565177"/>
              <a:gd name="connsiteX5212" fmla="*/ 4710001 w 12243467"/>
              <a:gd name="connsiteY5212" fmla="*/ 4041714 h 4565177"/>
              <a:gd name="connsiteX5213" fmla="*/ 4765204 w 12243467"/>
              <a:gd name="connsiteY5213" fmla="*/ 4054207 h 4565177"/>
              <a:gd name="connsiteX5214" fmla="*/ 4767732 w 12243467"/>
              <a:gd name="connsiteY5214" fmla="*/ 4051099 h 4565177"/>
              <a:gd name="connsiteX5215" fmla="*/ 4767554 w 12243467"/>
              <a:gd name="connsiteY5215" fmla="*/ 4054739 h 4565177"/>
              <a:gd name="connsiteX5216" fmla="*/ 4778215 w 12243467"/>
              <a:gd name="connsiteY5216" fmla="*/ 4057152 h 4565177"/>
              <a:gd name="connsiteX5217" fmla="*/ 4798106 w 12243467"/>
              <a:gd name="connsiteY5217" fmla="*/ 4056050 h 4565177"/>
              <a:gd name="connsiteX5218" fmla="*/ 4817656 w 12243467"/>
              <a:gd name="connsiteY5218" fmla="*/ 4044739 h 4565177"/>
              <a:gd name="connsiteX5219" fmla="*/ 4852645 w 12243467"/>
              <a:gd name="connsiteY5219" fmla="*/ 4032386 h 4565177"/>
              <a:gd name="connsiteX5220" fmla="*/ 4857347 w 12243467"/>
              <a:gd name="connsiteY5220" fmla="*/ 4017820 h 4565177"/>
              <a:gd name="connsiteX5221" fmla="*/ 4864538 w 12243467"/>
              <a:gd name="connsiteY5221" fmla="*/ 4018123 h 4565177"/>
              <a:gd name="connsiteX5222" fmla="*/ 4862880 w 12243467"/>
              <a:gd name="connsiteY5222" fmla="*/ 4020753 h 4565177"/>
              <a:gd name="connsiteX5223" fmla="*/ 4873667 w 12243467"/>
              <a:gd name="connsiteY5223" fmla="*/ 4034814 h 4565177"/>
              <a:gd name="connsiteX5224" fmla="*/ 4830657 w 12243467"/>
              <a:gd name="connsiteY5224" fmla="*/ 4045384 h 4565177"/>
              <a:gd name="connsiteX5225" fmla="*/ 4810130 w 12243467"/>
              <a:gd name="connsiteY5225" fmla="*/ 4055384 h 4565177"/>
              <a:gd name="connsiteX5226" fmla="*/ 4821438 w 12243467"/>
              <a:gd name="connsiteY5226" fmla="*/ 4054757 h 4565177"/>
              <a:gd name="connsiteX5227" fmla="*/ 4859913 w 12243467"/>
              <a:gd name="connsiteY5227" fmla="*/ 4044141 h 4565177"/>
              <a:gd name="connsiteX5228" fmla="*/ 4869318 w 12243467"/>
              <a:gd name="connsiteY5228" fmla="*/ 4052436 h 4565177"/>
              <a:gd name="connsiteX5229" fmla="*/ 4867104 w 12243467"/>
              <a:gd name="connsiteY5229" fmla="*/ 4042725 h 4565177"/>
              <a:gd name="connsiteX5230" fmla="*/ 5007888 w 12243467"/>
              <a:gd name="connsiteY5230" fmla="*/ 4048491 h 4565177"/>
              <a:gd name="connsiteX5231" fmla="*/ 4996825 w 12243467"/>
              <a:gd name="connsiteY5231" fmla="*/ 4056279 h 4565177"/>
              <a:gd name="connsiteX5232" fmla="*/ 5041633 w 12243467"/>
              <a:gd name="connsiteY5232" fmla="*/ 4047682 h 4565177"/>
              <a:gd name="connsiteX5233" fmla="*/ 5075376 w 12243467"/>
              <a:gd name="connsiteY5233" fmla="*/ 4049705 h 4565177"/>
              <a:gd name="connsiteX5234" fmla="*/ 5066250 w 12243467"/>
              <a:gd name="connsiteY5234" fmla="*/ 4055875 h 4565177"/>
              <a:gd name="connsiteX5235" fmla="*/ 5094185 w 12243467"/>
              <a:gd name="connsiteY5235" fmla="*/ 4057493 h 4565177"/>
              <a:gd name="connsiteX5236" fmla="*/ 5088376 w 12243467"/>
              <a:gd name="connsiteY5236" fmla="*/ 4048491 h 4565177"/>
              <a:gd name="connsiteX5237" fmla="*/ 5124056 w 12243467"/>
              <a:gd name="connsiteY5237" fmla="*/ 4048794 h 4565177"/>
              <a:gd name="connsiteX5238" fmla="*/ 5105248 w 12243467"/>
              <a:gd name="connsiteY5238" fmla="*/ 4049603 h 4565177"/>
              <a:gd name="connsiteX5239" fmla="*/ 5105524 w 12243467"/>
              <a:gd name="connsiteY5239" fmla="*/ 4058201 h 4565177"/>
              <a:gd name="connsiteX5240" fmla="*/ 5137056 w 12243467"/>
              <a:gd name="connsiteY5240" fmla="*/ 4044849 h 4565177"/>
              <a:gd name="connsiteX5241" fmla="*/ 5135397 w 12243467"/>
              <a:gd name="connsiteY5241" fmla="*/ 4055268 h 4565177"/>
              <a:gd name="connsiteX5242" fmla="*/ 5301627 w 12243467"/>
              <a:gd name="connsiteY5242" fmla="*/ 4035847 h 4565177"/>
              <a:gd name="connsiteX5243" fmla="*/ 5311307 w 12243467"/>
              <a:gd name="connsiteY5243" fmla="*/ 4046872 h 4565177"/>
              <a:gd name="connsiteX5244" fmla="*/ 5344498 w 12243467"/>
              <a:gd name="connsiteY5244" fmla="*/ 4028867 h 4565177"/>
              <a:gd name="connsiteX5245" fmla="*/ 5437987 w 12243467"/>
              <a:gd name="connsiteY5245" fmla="*/ 4013694 h 4565177"/>
              <a:gd name="connsiteX5246" fmla="*/ 5715958 w 12243467"/>
              <a:gd name="connsiteY5246" fmla="*/ 3966861 h 4565177"/>
              <a:gd name="connsiteX5247" fmla="*/ 5896295 w 12243467"/>
              <a:gd name="connsiteY5247" fmla="*/ 3913048 h 4565177"/>
              <a:gd name="connsiteX5248" fmla="*/ 5922571 w 12243467"/>
              <a:gd name="connsiteY5248" fmla="*/ 3913655 h 4565177"/>
              <a:gd name="connsiteX5249" fmla="*/ 5920358 w 12243467"/>
              <a:gd name="connsiteY5249" fmla="*/ 3903944 h 4565177"/>
              <a:gd name="connsiteX5250" fmla="*/ 5969038 w 12243467"/>
              <a:gd name="connsiteY5250" fmla="*/ 3894537 h 4565177"/>
              <a:gd name="connsiteX5251" fmla="*/ 5979825 w 12243467"/>
              <a:gd name="connsiteY5251" fmla="*/ 3880982 h 4565177"/>
              <a:gd name="connsiteX5252" fmla="*/ 5987293 w 12243467"/>
              <a:gd name="connsiteY5252" fmla="*/ 3882398 h 4565177"/>
              <a:gd name="connsiteX5253" fmla="*/ 6094887 w 12243467"/>
              <a:gd name="connsiteY5253" fmla="*/ 3832733 h 4565177"/>
              <a:gd name="connsiteX5254" fmla="*/ 6141354 w 12243467"/>
              <a:gd name="connsiteY5254" fmla="*/ 3822213 h 4565177"/>
              <a:gd name="connsiteX5255" fmla="*/ 6155183 w 12243467"/>
              <a:gd name="connsiteY5255" fmla="*/ 3812704 h 4565177"/>
              <a:gd name="connsiteX5256" fmla="*/ 6155737 w 12243467"/>
              <a:gd name="connsiteY5256" fmla="*/ 3812300 h 4565177"/>
              <a:gd name="connsiteX5257" fmla="*/ 6142184 w 12243467"/>
              <a:gd name="connsiteY5257" fmla="*/ 3810783 h 4565177"/>
              <a:gd name="connsiteX5258" fmla="*/ 6148269 w 12243467"/>
              <a:gd name="connsiteY5258" fmla="*/ 3804107 h 4565177"/>
              <a:gd name="connsiteX5259" fmla="*/ 6156013 w 12243467"/>
              <a:gd name="connsiteY5259" fmla="*/ 3812199 h 4565177"/>
              <a:gd name="connsiteX5260" fmla="*/ 6169013 w 12243467"/>
              <a:gd name="connsiteY5260" fmla="*/ 3801072 h 4565177"/>
              <a:gd name="connsiteX5261" fmla="*/ 6200544 w 12243467"/>
              <a:gd name="connsiteY5261" fmla="*/ 3792171 h 4565177"/>
              <a:gd name="connsiteX5262" fmla="*/ 6214097 w 12243467"/>
              <a:gd name="connsiteY5262" fmla="*/ 3783471 h 4565177"/>
              <a:gd name="connsiteX5263" fmla="*/ 6210501 w 12243467"/>
              <a:gd name="connsiteY5263" fmla="*/ 3781246 h 4565177"/>
              <a:gd name="connsiteX5264" fmla="*/ 6220459 w 12243467"/>
              <a:gd name="connsiteY5264" fmla="*/ 3779526 h 4565177"/>
              <a:gd name="connsiteX5265" fmla="*/ 6225990 w 12243467"/>
              <a:gd name="connsiteY5265" fmla="*/ 3775986 h 4565177"/>
              <a:gd name="connsiteX5266" fmla="*/ 6227373 w 12243467"/>
              <a:gd name="connsiteY5266" fmla="*/ 3775076 h 4565177"/>
              <a:gd name="connsiteX5267" fmla="*/ 6230416 w 12243467"/>
              <a:gd name="connsiteY5267" fmla="*/ 3767591 h 4565177"/>
              <a:gd name="connsiteX5268" fmla="*/ 6240373 w 12243467"/>
              <a:gd name="connsiteY5268" fmla="*/ 3766377 h 4565177"/>
              <a:gd name="connsiteX5269" fmla="*/ 6240650 w 12243467"/>
              <a:gd name="connsiteY5269" fmla="*/ 3766882 h 4565177"/>
              <a:gd name="connsiteX5270" fmla="*/ 6250607 w 12243467"/>
              <a:gd name="connsiteY5270" fmla="*/ 3760510 h 4565177"/>
              <a:gd name="connsiteX5271" fmla="*/ 6280202 w 12243467"/>
              <a:gd name="connsiteY5271" fmla="*/ 3753530 h 4565177"/>
              <a:gd name="connsiteX5272" fmla="*/ 6311457 w 12243467"/>
              <a:gd name="connsiteY5272" fmla="*/ 3731985 h 4565177"/>
              <a:gd name="connsiteX5273" fmla="*/ 6316989 w 12243467"/>
              <a:gd name="connsiteY5273" fmla="*/ 3729254 h 4565177"/>
              <a:gd name="connsiteX5274" fmla="*/ 6229310 w 12243467"/>
              <a:gd name="connsiteY5274" fmla="*/ 3762735 h 4565177"/>
              <a:gd name="connsiteX5275" fmla="*/ 6178140 w 12243467"/>
              <a:gd name="connsiteY5275" fmla="*/ 3780538 h 4565177"/>
              <a:gd name="connsiteX5276" fmla="*/ 6146056 w 12243467"/>
              <a:gd name="connsiteY5276" fmla="*/ 3787619 h 4565177"/>
              <a:gd name="connsiteX5277" fmla="*/ 6145226 w 12243467"/>
              <a:gd name="connsiteY5277" fmla="*/ 3788023 h 4565177"/>
              <a:gd name="connsiteX5278" fmla="*/ 6133333 w 12243467"/>
              <a:gd name="connsiteY5278" fmla="*/ 3797936 h 4565177"/>
              <a:gd name="connsiteX5279" fmla="*/ 6001399 w 12243467"/>
              <a:gd name="connsiteY5279" fmla="*/ 3839409 h 4565177"/>
              <a:gd name="connsiteX5280" fmla="*/ 5934466 w 12243467"/>
              <a:gd name="connsiteY5280" fmla="*/ 3869653 h 4565177"/>
              <a:gd name="connsiteX5281" fmla="*/ 5869466 w 12243467"/>
              <a:gd name="connsiteY5281" fmla="*/ 3889479 h 4565177"/>
              <a:gd name="connsiteX5282" fmla="*/ 5823000 w 12243467"/>
              <a:gd name="connsiteY5282" fmla="*/ 3905664 h 4565177"/>
              <a:gd name="connsiteX5283" fmla="*/ 5776532 w 12243467"/>
              <a:gd name="connsiteY5283" fmla="*/ 3919016 h 4565177"/>
              <a:gd name="connsiteX5284" fmla="*/ 5601174 w 12243467"/>
              <a:gd name="connsiteY5284" fmla="*/ 3953104 h 4565177"/>
              <a:gd name="connsiteX5285" fmla="*/ 5597855 w 12243467"/>
              <a:gd name="connsiteY5285" fmla="*/ 3962410 h 4565177"/>
              <a:gd name="connsiteX5286" fmla="*/ 5573516 w 12243467"/>
              <a:gd name="connsiteY5286" fmla="*/ 3962815 h 4565177"/>
              <a:gd name="connsiteX5287" fmla="*/ 5409220 w 12243467"/>
              <a:gd name="connsiteY5287" fmla="*/ 3989114 h 4565177"/>
              <a:gd name="connsiteX5288" fmla="*/ 5401752 w 12243467"/>
              <a:gd name="connsiteY5288" fmla="*/ 3987597 h 4565177"/>
              <a:gd name="connsiteX5289" fmla="*/ 5392625 w 12243467"/>
              <a:gd name="connsiteY5289" fmla="*/ 3993767 h 4565177"/>
              <a:gd name="connsiteX5290" fmla="*/ 5353349 w 12243467"/>
              <a:gd name="connsiteY5290" fmla="*/ 3997004 h 4565177"/>
              <a:gd name="connsiteX5291" fmla="*/ 5235245 w 12243467"/>
              <a:gd name="connsiteY5291" fmla="*/ 4001354 h 4565177"/>
              <a:gd name="connsiteX5292" fmla="*/ 5220309 w 12243467"/>
              <a:gd name="connsiteY5292" fmla="*/ 4007119 h 4565177"/>
              <a:gd name="connsiteX5293" fmla="*/ 5203437 w 12243467"/>
              <a:gd name="connsiteY5293" fmla="*/ 4000342 h 4565177"/>
              <a:gd name="connsiteX5294" fmla="*/ 5166098 w 12243467"/>
              <a:gd name="connsiteY5294" fmla="*/ 4001859 h 4565177"/>
              <a:gd name="connsiteX5295" fmla="*/ 5167481 w 12243467"/>
              <a:gd name="connsiteY5295" fmla="*/ 3988710 h 4565177"/>
              <a:gd name="connsiteX5296" fmla="*/ 5158630 w 12243467"/>
              <a:gd name="connsiteY5296" fmla="*/ 4003377 h 4565177"/>
              <a:gd name="connsiteX5297" fmla="*/ 5139545 w 12243467"/>
              <a:gd name="connsiteY5297" fmla="*/ 3992655 h 4565177"/>
              <a:gd name="connsiteX5298" fmla="*/ 5100269 w 12243467"/>
              <a:gd name="connsiteY5298" fmla="*/ 3998926 h 4565177"/>
              <a:gd name="connsiteX5299" fmla="*/ 5077865 w 12243467"/>
              <a:gd name="connsiteY5299" fmla="*/ 4003174 h 4565177"/>
              <a:gd name="connsiteX5300" fmla="*/ 5076206 w 12243467"/>
              <a:gd name="connsiteY5300" fmla="*/ 4010761 h 4565177"/>
              <a:gd name="connsiteX5301" fmla="*/ 5057674 w 12243467"/>
              <a:gd name="connsiteY5301" fmla="*/ 4014301 h 4565177"/>
              <a:gd name="connsiteX5302" fmla="*/ 5025867 w 12243467"/>
              <a:gd name="connsiteY5302" fmla="*/ 4013391 h 4565177"/>
              <a:gd name="connsiteX5303" fmla="*/ 5023654 w 12243467"/>
              <a:gd name="connsiteY5303" fmla="*/ 4003680 h 4565177"/>
              <a:gd name="connsiteX5304" fmla="*/ 4997654 w 12243467"/>
              <a:gd name="connsiteY5304" fmla="*/ 4014504 h 4565177"/>
              <a:gd name="connsiteX5305" fmla="*/ 4980782 w 12243467"/>
              <a:gd name="connsiteY5305" fmla="*/ 4010660 h 4565177"/>
              <a:gd name="connsiteX5306" fmla="*/ 4937489 w 12243467"/>
              <a:gd name="connsiteY5306" fmla="*/ 4011736 h 4565177"/>
              <a:gd name="connsiteX5307" fmla="*/ 4915154 w 12243467"/>
              <a:gd name="connsiteY5307" fmla="*/ 4021057 h 4565177"/>
              <a:gd name="connsiteX5308" fmla="*/ 4917870 w 12243467"/>
              <a:gd name="connsiteY5308" fmla="*/ 4011788 h 4565177"/>
              <a:gd name="connsiteX5309" fmla="*/ 4901708 w 12243467"/>
              <a:gd name="connsiteY5309" fmla="*/ 4011485 h 4565177"/>
              <a:gd name="connsiteX5310" fmla="*/ 4877615 w 12243467"/>
              <a:gd name="connsiteY5310" fmla="*/ 4006310 h 4565177"/>
              <a:gd name="connsiteX5311" fmla="*/ 4861019 w 12243467"/>
              <a:gd name="connsiteY5311" fmla="*/ 4010963 h 4565177"/>
              <a:gd name="connsiteX5312" fmla="*/ 4755638 w 12243467"/>
              <a:gd name="connsiteY5312" fmla="*/ 3994071 h 4565177"/>
              <a:gd name="connsiteX5313" fmla="*/ 4740702 w 12243467"/>
              <a:gd name="connsiteY5313" fmla="*/ 3999735 h 4565177"/>
              <a:gd name="connsiteX5314" fmla="*/ 4731022 w 12243467"/>
              <a:gd name="connsiteY5314" fmla="*/ 3983045 h 4565177"/>
              <a:gd name="connsiteX5315" fmla="*/ 4687874 w 12243467"/>
              <a:gd name="connsiteY5315" fmla="*/ 3981427 h 4565177"/>
              <a:gd name="connsiteX5316" fmla="*/ 4658002 w 12243467"/>
              <a:gd name="connsiteY5316" fmla="*/ 3990025 h 4565177"/>
              <a:gd name="connsiteX5317" fmla="*/ 4652193 w 12243467"/>
              <a:gd name="connsiteY5317" fmla="*/ 3981123 h 4565177"/>
              <a:gd name="connsiteX5318" fmla="*/ 4612641 w 12243467"/>
              <a:gd name="connsiteY5318" fmla="*/ 3970098 h 4565177"/>
              <a:gd name="connsiteX5319" fmla="*/ 4569771 w 12243467"/>
              <a:gd name="connsiteY5319" fmla="*/ 3974144 h 4565177"/>
              <a:gd name="connsiteX5320" fmla="*/ 4418752 w 12243467"/>
              <a:gd name="connsiteY5320" fmla="*/ 3925894 h 4565177"/>
              <a:gd name="connsiteX5321" fmla="*/ 4403816 w 12243467"/>
              <a:gd name="connsiteY5321" fmla="*/ 3925894 h 4565177"/>
              <a:gd name="connsiteX5322" fmla="*/ 4489835 w 12243467"/>
              <a:gd name="connsiteY5322" fmla="*/ 3926400 h 4565177"/>
              <a:gd name="connsiteX5323" fmla="*/ 4502558 w 12243467"/>
              <a:gd name="connsiteY5323" fmla="*/ 3911025 h 4565177"/>
              <a:gd name="connsiteX5324" fmla="*/ 4421794 w 12243467"/>
              <a:gd name="connsiteY5324" fmla="*/ 3893728 h 4565177"/>
              <a:gd name="connsiteX5325" fmla="*/ 4402433 w 12243467"/>
              <a:gd name="connsiteY5325" fmla="*/ 3874407 h 4565177"/>
              <a:gd name="connsiteX5326" fmla="*/ 4492878 w 12243467"/>
              <a:gd name="connsiteY5326" fmla="*/ 3897167 h 4565177"/>
              <a:gd name="connsiteX5327" fmla="*/ 4511409 w 12243467"/>
              <a:gd name="connsiteY5327" fmla="*/ 3884927 h 4565177"/>
              <a:gd name="connsiteX5328" fmla="*/ 4502005 w 12243467"/>
              <a:gd name="connsiteY5328" fmla="*/ 3879566 h 4565177"/>
              <a:gd name="connsiteX5329" fmla="*/ 4511133 w 12243467"/>
              <a:gd name="connsiteY5329" fmla="*/ 3876329 h 4565177"/>
              <a:gd name="connsiteX5330" fmla="*/ 4510856 w 12243467"/>
              <a:gd name="connsiteY5330" fmla="*/ 3867731 h 4565177"/>
              <a:gd name="connsiteX5331" fmla="*/ 4479048 w 12243467"/>
              <a:gd name="connsiteY5331" fmla="*/ 3866720 h 4565177"/>
              <a:gd name="connsiteX5332" fmla="*/ 4497580 w 12243467"/>
              <a:gd name="connsiteY5332" fmla="*/ 3851648 h 4565177"/>
              <a:gd name="connsiteX5333" fmla="*/ 4493154 w 12243467"/>
              <a:gd name="connsiteY5333" fmla="*/ 3832328 h 4565177"/>
              <a:gd name="connsiteX5334" fmla="*/ 4504771 w 12243467"/>
              <a:gd name="connsiteY5334" fmla="*/ 3838802 h 4565177"/>
              <a:gd name="connsiteX5335" fmla="*/ 4503111 w 12243467"/>
              <a:gd name="connsiteY5335" fmla="*/ 3851952 h 4565177"/>
              <a:gd name="connsiteX5336" fmla="*/ 4508643 w 12243467"/>
              <a:gd name="connsiteY5336" fmla="*/ 3846591 h 4565177"/>
              <a:gd name="connsiteX5337" fmla="*/ 4518324 w 12243467"/>
              <a:gd name="connsiteY5337" fmla="*/ 3857717 h 4565177"/>
              <a:gd name="connsiteX5338" fmla="*/ 4521643 w 12243467"/>
              <a:gd name="connsiteY5338" fmla="*/ 3845579 h 4565177"/>
              <a:gd name="connsiteX5339" fmla="*/ 4549580 w 12243467"/>
              <a:gd name="connsiteY5339" fmla="*/ 3835767 h 4565177"/>
              <a:gd name="connsiteX5340" fmla="*/ 4561195 w 12243467"/>
              <a:gd name="connsiteY5340" fmla="*/ 3853671 h 4565177"/>
              <a:gd name="connsiteX5341" fmla="*/ 4615960 w 12243467"/>
              <a:gd name="connsiteY5341" fmla="*/ 3867428 h 4565177"/>
              <a:gd name="connsiteX5342" fmla="*/ 4634492 w 12243467"/>
              <a:gd name="connsiteY5342" fmla="*/ 3863888 h 4565177"/>
              <a:gd name="connsiteX5343" fmla="*/ 4623428 w 12243467"/>
              <a:gd name="connsiteY5343" fmla="*/ 3868844 h 4565177"/>
              <a:gd name="connsiteX5344" fmla="*/ 4648045 w 12243467"/>
              <a:gd name="connsiteY5344" fmla="*/ 3877037 h 4565177"/>
              <a:gd name="connsiteX5345" fmla="*/ 4656895 w 12243467"/>
              <a:gd name="connsiteY5345" fmla="*/ 3862370 h 4565177"/>
              <a:gd name="connsiteX5346" fmla="*/ 4666300 w 12243467"/>
              <a:gd name="connsiteY5346" fmla="*/ 3864798 h 4565177"/>
              <a:gd name="connsiteX5347" fmla="*/ 4655236 w 12243467"/>
              <a:gd name="connsiteY5347" fmla="*/ 3872688 h 4565177"/>
              <a:gd name="connsiteX5348" fmla="*/ 4662704 w 12243467"/>
              <a:gd name="connsiteY5348" fmla="*/ 3874104 h 4565177"/>
              <a:gd name="connsiteX5349" fmla="*/ 4666300 w 12243467"/>
              <a:gd name="connsiteY5349" fmla="*/ 3867731 h 4565177"/>
              <a:gd name="connsiteX5350" fmla="*/ 4732128 w 12243467"/>
              <a:gd name="connsiteY5350" fmla="*/ 3876430 h 4565177"/>
              <a:gd name="connsiteX5351" fmla="*/ 4752873 w 12243467"/>
              <a:gd name="connsiteY5351" fmla="*/ 3879566 h 4565177"/>
              <a:gd name="connsiteX5352" fmla="*/ 4756468 w 12243467"/>
              <a:gd name="connsiteY5352" fmla="*/ 3873194 h 4565177"/>
              <a:gd name="connsiteX5353" fmla="*/ 4809020 w 12243467"/>
              <a:gd name="connsiteY5353" fmla="*/ 3880173 h 4565177"/>
              <a:gd name="connsiteX5354" fmla="*/ 4809297 w 12243467"/>
              <a:gd name="connsiteY5354" fmla="*/ 3888670 h 4565177"/>
              <a:gd name="connsiteX5355" fmla="*/ 4823242 w 12243467"/>
              <a:gd name="connsiteY5355" fmla="*/ 3889523 h 4565177"/>
              <a:gd name="connsiteX5356" fmla="*/ 4824156 w 12243467"/>
              <a:gd name="connsiteY5356" fmla="*/ 3888446 h 4565177"/>
              <a:gd name="connsiteX5357" fmla="*/ 4861772 w 12243467"/>
              <a:gd name="connsiteY5357" fmla="*/ 3875397 h 4565177"/>
              <a:gd name="connsiteX5358" fmla="*/ 4864816 w 12243467"/>
              <a:gd name="connsiteY5358" fmla="*/ 3874184 h 4565177"/>
              <a:gd name="connsiteX5359" fmla="*/ 4867304 w 12243467"/>
              <a:gd name="connsiteY5359" fmla="*/ 3876510 h 4565177"/>
              <a:gd name="connsiteX5360" fmla="*/ 4829688 w 12243467"/>
              <a:gd name="connsiteY5360" fmla="*/ 3889660 h 4565177"/>
              <a:gd name="connsiteX5361" fmla="*/ 4829178 w 12243467"/>
              <a:gd name="connsiteY5361" fmla="*/ 3889886 h 4565177"/>
              <a:gd name="connsiteX5362" fmla="*/ 4893656 w 12243467"/>
              <a:gd name="connsiteY5362" fmla="*/ 3893829 h 4565177"/>
              <a:gd name="connsiteX5363" fmla="*/ 4899189 w 12243467"/>
              <a:gd name="connsiteY5363" fmla="*/ 3888468 h 4565177"/>
              <a:gd name="connsiteX5364" fmla="*/ 4900848 w 12243467"/>
              <a:gd name="connsiteY5364" fmla="*/ 3883815 h 4565177"/>
              <a:gd name="connsiteX5365" fmla="*/ 4886189 w 12243467"/>
              <a:gd name="connsiteY5365" fmla="*/ 3886748 h 4565177"/>
              <a:gd name="connsiteX5366" fmla="*/ 4881350 w 12243467"/>
              <a:gd name="connsiteY5366" fmla="*/ 3881776 h 4565177"/>
              <a:gd name="connsiteX5367" fmla="*/ 4879232 w 12243467"/>
              <a:gd name="connsiteY5367" fmla="*/ 3881615 h 4565177"/>
              <a:gd name="connsiteX5368" fmla="*/ 4891367 w 12243467"/>
              <a:gd name="connsiteY5368" fmla="*/ 3861843 h 4565177"/>
              <a:gd name="connsiteX5369" fmla="*/ 4899942 w 12243467"/>
              <a:gd name="connsiteY5369" fmla="*/ 3860629 h 4565177"/>
              <a:gd name="connsiteX5370" fmla="*/ 4909069 w 12243467"/>
              <a:gd name="connsiteY5370" fmla="*/ 3862652 h 4565177"/>
              <a:gd name="connsiteX5371" fmla="*/ 4883070 w 12243467"/>
              <a:gd name="connsiteY5371" fmla="*/ 3872970 h 4565177"/>
              <a:gd name="connsiteX5372" fmla="*/ 4887599 w 12243467"/>
              <a:gd name="connsiteY5372" fmla="*/ 3877737 h 4565177"/>
              <a:gd name="connsiteX5373" fmla="*/ 4889183 w 12243467"/>
              <a:gd name="connsiteY5373" fmla="*/ 3879512 h 4565177"/>
              <a:gd name="connsiteX5374" fmla="*/ 4911358 w 12243467"/>
              <a:gd name="connsiteY5374" fmla="*/ 3876317 h 4565177"/>
              <a:gd name="connsiteX5375" fmla="*/ 4943996 w 12243467"/>
              <a:gd name="connsiteY5375" fmla="*/ 3876936 h 4565177"/>
              <a:gd name="connsiteX5376" fmla="*/ 4943719 w 12243467"/>
              <a:gd name="connsiteY5376" fmla="*/ 3868439 h 4565177"/>
              <a:gd name="connsiteX5377" fmla="*/ 4966183 w 12243467"/>
              <a:gd name="connsiteY5377" fmla="*/ 3869700 h 4565177"/>
              <a:gd name="connsiteX5378" fmla="*/ 4971856 w 12243467"/>
              <a:gd name="connsiteY5378" fmla="*/ 3869429 h 4565177"/>
              <a:gd name="connsiteX5379" fmla="*/ 4974046 w 12243467"/>
              <a:gd name="connsiteY5379" fmla="*/ 3870142 h 4565177"/>
              <a:gd name="connsiteX5380" fmla="*/ 4977292 w 12243467"/>
              <a:gd name="connsiteY5380" fmla="*/ 3870324 h 4565177"/>
              <a:gd name="connsiteX5381" fmla="*/ 5000434 w 12243467"/>
              <a:gd name="connsiteY5381" fmla="*/ 3864887 h 4565177"/>
              <a:gd name="connsiteX5382" fmla="*/ 5002557 w 12243467"/>
              <a:gd name="connsiteY5382" fmla="*/ 3861539 h 4565177"/>
              <a:gd name="connsiteX5383" fmla="*/ 5001146 w 12243467"/>
              <a:gd name="connsiteY5383" fmla="*/ 3864720 h 4565177"/>
              <a:gd name="connsiteX5384" fmla="*/ 5008995 w 12243467"/>
              <a:gd name="connsiteY5384" fmla="*/ 3862876 h 4565177"/>
              <a:gd name="connsiteX5385" fmla="*/ 5008078 w 12243467"/>
              <a:gd name="connsiteY5385" fmla="*/ 3859135 h 4565177"/>
              <a:gd name="connsiteX5386" fmla="*/ 5006982 w 12243467"/>
              <a:gd name="connsiteY5386" fmla="*/ 3859516 h 4565177"/>
              <a:gd name="connsiteX5387" fmla="*/ 5002834 w 12243467"/>
              <a:gd name="connsiteY5387" fmla="*/ 3861135 h 4565177"/>
              <a:gd name="connsiteX5388" fmla="*/ 5007193 w 12243467"/>
              <a:gd name="connsiteY5388" fmla="*/ 3854546 h 4565177"/>
              <a:gd name="connsiteX5389" fmla="*/ 5006783 w 12243467"/>
              <a:gd name="connsiteY5389" fmla="*/ 3847400 h 4565177"/>
              <a:gd name="connsiteX5390" fmla="*/ 4958103 w 12243467"/>
              <a:gd name="connsiteY5390" fmla="*/ 3845478 h 4565177"/>
              <a:gd name="connsiteX5391" fmla="*/ 4953724 w 12243467"/>
              <a:gd name="connsiteY5391" fmla="*/ 3840155 h 4565177"/>
              <a:gd name="connsiteX5392" fmla="*/ 4948061 w 12243467"/>
              <a:gd name="connsiteY5392" fmla="*/ 3839522 h 4565177"/>
              <a:gd name="connsiteX5393" fmla="*/ 4945033 w 12243467"/>
              <a:gd name="connsiteY5393" fmla="*/ 3839560 h 4565177"/>
              <a:gd name="connsiteX5394" fmla="*/ 4934788 w 12243467"/>
              <a:gd name="connsiteY5394" fmla="*/ 3842104 h 4565177"/>
              <a:gd name="connsiteX5395" fmla="*/ 4939771 w 12243467"/>
              <a:gd name="connsiteY5395" fmla="*/ 3846569 h 4565177"/>
              <a:gd name="connsiteX5396" fmla="*/ 4936175 w 12243467"/>
              <a:gd name="connsiteY5396" fmla="*/ 3849806 h 4565177"/>
              <a:gd name="connsiteX5397" fmla="*/ 4929918 w 12243467"/>
              <a:gd name="connsiteY5397" fmla="*/ 3845482 h 4565177"/>
              <a:gd name="connsiteX5398" fmla="*/ 4933268 w 12243467"/>
              <a:gd name="connsiteY5398" fmla="*/ 3842481 h 4565177"/>
              <a:gd name="connsiteX5399" fmla="*/ 4922422 w 12243467"/>
              <a:gd name="connsiteY5399" fmla="*/ 3845174 h 4565177"/>
              <a:gd name="connsiteX5400" fmla="*/ 4905803 w 12243467"/>
              <a:gd name="connsiteY5400" fmla="*/ 3842586 h 4565177"/>
              <a:gd name="connsiteX5401" fmla="*/ 4883623 w 12243467"/>
              <a:gd name="connsiteY5401" fmla="*/ 3849502 h 4565177"/>
              <a:gd name="connsiteX5402" fmla="*/ 4883346 w 12243467"/>
              <a:gd name="connsiteY5402" fmla="*/ 3842523 h 4565177"/>
              <a:gd name="connsiteX5403" fmla="*/ 4888249 w 12243467"/>
              <a:gd name="connsiteY5403" fmla="*/ 3840020 h 4565177"/>
              <a:gd name="connsiteX5404" fmla="*/ 4862403 w 12243467"/>
              <a:gd name="connsiteY5404" fmla="*/ 3836779 h 4565177"/>
              <a:gd name="connsiteX5405" fmla="*/ 4861110 w 12243467"/>
              <a:gd name="connsiteY5405" fmla="*/ 3836641 h 4565177"/>
              <a:gd name="connsiteX5406" fmla="*/ 4864607 w 12243467"/>
              <a:gd name="connsiteY5406" fmla="*/ 3840930 h 4565177"/>
              <a:gd name="connsiteX5407" fmla="*/ 4870070 w 12243467"/>
              <a:gd name="connsiteY5407" fmla="*/ 3840399 h 4565177"/>
              <a:gd name="connsiteX5408" fmla="*/ 4871731 w 12243467"/>
              <a:gd name="connsiteY5408" fmla="*/ 3841815 h 4565177"/>
              <a:gd name="connsiteX5409" fmla="*/ 4866474 w 12243467"/>
              <a:gd name="connsiteY5409" fmla="*/ 3850514 h 4565177"/>
              <a:gd name="connsiteX5410" fmla="*/ 4831348 w 12243467"/>
              <a:gd name="connsiteY5410" fmla="*/ 3862956 h 4565177"/>
              <a:gd name="connsiteX5411" fmla="*/ 4827198 w 12243467"/>
              <a:gd name="connsiteY5411" fmla="*/ 3852132 h 4565177"/>
              <a:gd name="connsiteX5412" fmla="*/ 4848392 w 12243467"/>
              <a:gd name="connsiteY5412" fmla="*/ 3851286 h 4565177"/>
              <a:gd name="connsiteX5413" fmla="*/ 4856175 w 12243467"/>
              <a:gd name="connsiteY5413" fmla="*/ 3836112 h 4565177"/>
              <a:gd name="connsiteX5414" fmla="*/ 4830665 w 12243467"/>
              <a:gd name="connsiteY5414" fmla="*/ 3833378 h 4565177"/>
              <a:gd name="connsiteX5415" fmla="*/ 4800169 w 12243467"/>
              <a:gd name="connsiteY5415" fmla="*/ 3824438 h 4565177"/>
              <a:gd name="connsiteX5416" fmla="*/ 4785234 w 12243467"/>
              <a:gd name="connsiteY5416" fmla="*/ 3827270 h 4565177"/>
              <a:gd name="connsiteX5417" fmla="*/ 4779701 w 12243467"/>
              <a:gd name="connsiteY5417" fmla="*/ 3821302 h 4565177"/>
              <a:gd name="connsiteX5418" fmla="*/ 4727149 w 12243467"/>
              <a:gd name="connsiteY5418" fmla="*/ 3825652 h 4565177"/>
              <a:gd name="connsiteX5419" fmla="*/ 4580280 w 12243467"/>
              <a:gd name="connsiteY5419" fmla="*/ 3788124 h 4565177"/>
              <a:gd name="connsiteX5420" fmla="*/ 4557877 w 12243467"/>
              <a:gd name="connsiteY5420" fmla="*/ 3789642 h 4565177"/>
              <a:gd name="connsiteX5421" fmla="*/ 4548196 w 12243467"/>
              <a:gd name="connsiteY5421" fmla="*/ 3775683 h 4565177"/>
              <a:gd name="connsiteX5422" fmla="*/ 4640023 w 12243467"/>
              <a:gd name="connsiteY5422" fmla="*/ 3785090 h 4565177"/>
              <a:gd name="connsiteX5423" fmla="*/ 4636151 w 12243467"/>
              <a:gd name="connsiteY5423" fmla="*/ 3780235 h 4565177"/>
              <a:gd name="connsiteX5424" fmla="*/ 4700321 w 12243467"/>
              <a:gd name="connsiteY5424" fmla="*/ 3799352 h 4565177"/>
              <a:gd name="connsiteX5425" fmla="*/ 4775829 w 12243467"/>
              <a:gd name="connsiteY5425" fmla="*/ 3819178 h 4565177"/>
              <a:gd name="connsiteX5426" fmla="*/ 4809573 w 12243467"/>
              <a:gd name="connsiteY5426" fmla="*/ 3821201 h 4565177"/>
              <a:gd name="connsiteX5427" fmla="*/ 4807361 w 12243467"/>
              <a:gd name="connsiteY5427" fmla="*/ 3814424 h 4565177"/>
              <a:gd name="connsiteX5428" fmla="*/ 4846132 w 12243467"/>
              <a:gd name="connsiteY5428" fmla="*/ 3815924 h 4565177"/>
              <a:gd name="connsiteX5429" fmla="*/ 4850709 w 12243467"/>
              <a:gd name="connsiteY5429" fmla="*/ 3809952 h 4565177"/>
              <a:gd name="connsiteX5430" fmla="*/ 4847666 w 12243467"/>
              <a:gd name="connsiteY5430" fmla="*/ 3815111 h 4565177"/>
              <a:gd name="connsiteX5431" fmla="*/ 4848978 w 12243467"/>
              <a:gd name="connsiteY5431" fmla="*/ 3816034 h 4565177"/>
              <a:gd name="connsiteX5432" fmla="*/ 4898843 w 12243467"/>
              <a:gd name="connsiteY5432" fmla="*/ 3817963 h 4565177"/>
              <a:gd name="connsiteX5433" fmla="*/ 4899389 w 12243467"/>
              <a:gd name="connsiteY5433" fmla="*/ 3808637 h 4565177"/>
              <a:gd name="connsiteX5434" fmla="*/ 4912219 w 12243467"/>
              <a:gd name="connsiteY5434" fmla="*/ 3818480 h 4565177"/>
              <a:gd name="connsiteX5435" fmla="*/ 4975337 w 12243467"/>
              <a:gd name="connsiteY5435" fmla="*/ 3820922 h 4565177"/>
              <a:gd name="connsiteX5436" fmla="*/ 4979226 w 12243467"/>
              <a:gd name="connsiteY5436" fmla="*/ 3818873 h 4565177"/>
              <a:gd name="connsiteX5437" fmla="*/ 4976253 w 12243467"/>
              <a:gd name="connsiteY5437" fmla="*/ 3809771 h 4565177"/>
              <a:gd name="connsiteX5438" fmla="*/ 4962804 w 12243467"/>
              <a:gd name="connsiteY5438" fmla="*/ 3805725 h 4565177"/>
              <a:gd name="connsiteX5439" fmla="*/ 4943959 w 12243467"/>
              <a:gd name="connsiteY5439" fmla="*/ 3807441 h 4565177"/>
              <a:gd name="connsiteX5440" fmla="*/ 4943921 w 12243467"/>
              <a:gd name="connsiteY5440" fmla="*/ 3807524 h 4565177"/>
              <a:gd name="connsiteX5441" fmla="*/ 4943671 w 12243467"/>
              <a:gd name="connsiteY5441" fmla="*/ 3807467 h 4565177"/>
              <a:gd name="connsiteX5442" fmla="*/ 4938498 w 12243467"/>
              <a:gd name="connsiteY5442" fmla="*/ 3807938 h 4565177"/>
              <a:gd name="connsiteX5443" fmla="*/ 4925743 w 12243467"/>
              <a:gd name="connsiteY5443" fmla="*/ 3808461 h 4565177"/>
              <a:gd name="connsiteX5444" fmla="*/ 4931750 w 12243467"/>
              <a:gd name="connsiteY5444" fmla="*/ 3815111 h 4565177"/>
              <a:gd name="connsiteX5445" fmla="*/ 4916814 w 12243467"/>
              <a:gd name="connsiteY5445" fmla="*/ 3809244 h 4565177"/>
              <a:gd name="connsiteX5446" fmla="*/ 4917224 w 12243467"/>
              <a:gd name="connsiteY5446" fmla="*/ 3808810 h 4565177"/>
              <a:gd name="connsiteX5447" fmla="*/ 4908592 w 12243467"/>
              <a:gd name="connsiteY5447" fmla="*/ 3809164 h 4565177"/>
              <a:gd name="connsiteX5448" fmla="*/ 4881833 w 12243467"/>
              <a:gd name="connsiteY5448" fmla="*/ 3807131 h 4565177"/>
              <a:gd name="connsiteX5449" fmla="*/ 4863155 w 12243467"/>
              <a:gd name="connsiteY5449" fmla="*/ 3811671 h 4565177"/>
              <a:gd name="connsiteX5450" fmla="*/ 4870649 w 12243467"/>
              <a:gd name="connsiteY5450" fmla="*/ 3806281 h 4565177"/>
              <a:gd name="connsiteX5451" fmla="*/ 4844701 w 12243467"/>
              <a:gd name="connsiteY5451" fmla="*/ 3804309 h 4565177"/>
              <a:gd name="connsiteX5452" fmla="*/ 4801552 w 12243467"/>
              <a:gd name="connsiteY5452" fmla="*/ 3796925 h 4565177"/>
              <a:gd name="connsiteX5453" fmla="*/ 4709448 w 12243467"/>
              <a:gd name="connsiteY5453" fmla="*/ 3790249 h 4565177"/>
              <a:gd name="connsiteX5454" fmla="*/ 4659106 w 12243467"/>
              <a:gd name="connsiteY5454" fmla="*/ 3777694 h 4565177"/>
              <a:gd name="connsiteX5455" fmla="*/ 4647138 w 12243467"/>
              <a:gd name="connsiteY5455" fmla="*/ 3779606 h 4565177"/>
              <a:gd name="connsiteX5456" fmla="*/ 4653768 w 12243467"/>
              <a:gd name="connsiteY5456" fmla="*/ 3776363 h 4565177"/>
              <a:gd name="connsiteX5457" fmla="*/ 4619003 w 12243467"/>
              <a:gd name="connsiteY5457" fmla="*/ 3767692 h 4565177"/>
              <a:gd name="connsiteX5458" fmla="*/ 4661603 w 12243467"/>
              <a:gd name="connsiteY5458" fmla="*/ 3772530 h 4565177"/>
              <a:gd name="connsiteX5459" fmla="*/ 4662592 w 12243467"/>
              <a:gd name="connsiteY5459" fmla="*/ 3772045 h 4565177"/>
              <a:gd name="connsiteX5460" fmla="*/ 4679499 w 12243467"/>
              <a:gd name="connsiteY5460" fmla="*/ 3767670 h 4565177"/>
              <a:gd name="connsiteX5461" fmla="*/ 4671109 w 12243467"/>
              <a:gd name="connsiteY5461" fmla="*/ 3773609 h 4565177"/>
              <a:gd name="connsiteX5462" fmla="*/ 4686046 w 12243467"/>
              <a:gd name="connsiteY5462" fmla="*/ 3775305 h 4565177"/>
              <a:gd name="connsiteX5463" fmla="*/ 4882041 w 12243467"/>
              <a:gd name="connsiteY5463" fmla="*/ 3797026 h 4565177"/>
              <a:gd name="connsiteX5464" fmla="*/ 4883332 w 12243467"/>
              <a:gd name="connsiteY5464" fmla="*/ 3797159 h 4565177"/>
              <a:gd name="connsiteX5465" fmla="*/ 4884971 w 12243467"/>
              <a:gd name="connsiteY5465" fmla="*/ 3795980 h 4565177"/>
              <a:gd name="connsiteX5466" fmla="*/ 4914048 w 12243467"/>
              <a:gd name="connsiteY5466" fmla="*/ 3789013 h 4565177"/>
              <a:gd name="connsiteX5467" fmla="*/ 4909501 w 12243467"/>
              <a:gd name="connsiteY5467" fmla="*/ 3799857 h 4565177"/>
              <a:gd name="connsiteX5468" fmla="*/ 4915887 w 12243467"/>
              <a:gd name="connsiteY5468" fmla="*/ 3800516 h 4565177"/>
              <a:gd name="connsiteX5469" fmla="*/ 4932983 w 12243467"/>
              <a:gd name="connsiteY5469" fmla="*/ 3802289 h 4565177"/>
              <a:gd name="connsiteX5470" fmla="*/ 4931473 w 12243467"/>
              <a:gd name="connsiteY5470" fmla="*/ 3801050 h 4565177"/>
              <a:gd name="connsiteX5471" fmla="*/ 4952494 w 12243467"/>
              <a:gd name="connsiteY5471" fmla="*/ 3791845 h 4565177"/>
              <a:gd name="connsiteX5472" fmla="*/ 4960792 w 12243467"/>
              <a:gd name="connsiteY5472" fmla="*/ 3794071 h 4565177"/>
              <a:gd name="connsiteX5473" fmla="*/ 4963557 w 12243467"/>
              <a:gd name="connsiteY5473" fmla="*/ 3800949 h 4565177"/>
              <a:gd name="connsiteX5474" fmla="*/ 4963146 w 12243467"/>
              <a:gd name="connsiteY5474" fmla="*/ 3801127 h 4565177"/>
              <a:gd name="connsiteX5475" fmla="*/ 4988600 w 12243467"/>
              <a:gd name="connsiteY5475" fmla="*/ 3803904 h 4565177"/>
              <a:gd name="connsiteX5476" fmla="*/ 5008375 w 12243467"/>
              <a:gd name="connsiteY5476" fmla="*/ 3803823 h 4565177"/>
              <a:gd name="connsiteX5477" fmla="*/ 5019429 w 12243467"/>
              <a:gd name="connsiteY5477" fmla="*/ 3798117 h 4565177"/>
              <a:gd name="connsiteX5478" fmla="*/ 5017235 w 12243467"/>
              <a:gd name="connsiteY5478" fmla="*/ 3779968 h 4565177"/>
              <a:gd name="connsiteX5479" fmla="*/ 5011708 w 12243467"/>
              <a:gd name="connsiteY5479" fmla="*/ 3780180 h 4565177"/>
              <a:gd name="connsiteX5480" fmla="*/ 5005876 w 12243467"/>
              <a:gd name="connsiteY5480" fmla="*/ 3782337 h 4565177"/>
              <a:gd name="connsiteX5481" fmla="*/ 5006381 w 12243467"/>
              <a:gd name="connsiteY5481" fmla="*/ 3780384 h 4565177"/>
              <a:gd name="connsiteX5482" fmla="*/ 4991518 w 12243467"/>
              <a:gd name="connsiteY5482" fmla="*/ 3780954 h 4565177"/>
              <a:gd name="connsiteX5483" fmla="*/ 4989798 w 12243467"/>
              <a:gd name="connsiteY5483" fmla="*/ 3780441 h 4565177"/>
              <a:gd name="connsiteX5484" fmla="*/ 4978493 w 12243467"/>
              <a:gd name="connsiteY5484" fmla="*/ 3788406 h 4565177"/>
              <a:gd name="connsiteX5485" fmla="*/ 4974483 w 12243467"/>
              <a:gd name="connsiteY5485" fmla="*/ 3777836 h 4565177"/>
              <a:gd name="connsiteX5486" fmla="*/ 4974147 w 12243467"/>
              <a:gd name="connsiteY5486" fmla="*/ 3775769 h 4565177"/>
              <a:gd name="connsiteX5487" fmla="*/ 4955682 w 12243467"/>
              <a:gd name="connsiteY5487" fmla="*/ 3770259 h 4565177"/>
              <a:gd name="connsiteX5488" fmla="*/ 4881210 w 12243467"/>
              <a:gd name="connsiteY5488" fmla="*/ 3759802 h 4565177"/>
              <a:gd name="connsiteX5489" fmla="*/ 4875402 w 12243467"/>
              <a:gd name="connsiteY5489" fmla="*/ 3748068 h 4565177"/>
              <a:gd name="connsiteX5490" fmla="*/ 4854657 w 12243467"/>
              <a:gd name="connsiteY5490" fmla="*/ 3744831 h 4565177"/>
              <a:gd name="connsiteX5491" fmla="*/ 4824786 w 12243467"/>
              <a:gd name="connsiteY5491" fmla="*/ 3753530 h 4565177"/>
              <a:gd name="connsiteX5492" fmla="*/ 4795606 w 12243467"/>
              <a:gd name="connsiteY5492" fmla="*/ 3735690 h 4565177"/>
              <a:gd name="connsiteX5493" fmla="*/ 4785977 w 12243467"/>
              <a:gd name="connsiteY5493" fmla="*/ 3732311 h 4565177"/>
              <a:gd name="connsiteX5494" fmla="*/ 4784880 w 12243467"/>
              <a:gd name="connsiteY5494" fmla="*/ 3732772 h 4565177"/>
              <a:gd name="connsiteX5495" fmla="*/ 4792072 w 12243467"/>
              <a:gd name="connsiteY5495" fmla="*/ 3738336 h 4565177"/>
              <a:gd name="connsiteX5496" fmla="*/ 4775476 w 12243467"/>
              <a:gd name="connsiteY5496" fmla="*/ 3746833 h 4565177"/>
              <a:gd name="connsiteX5497" fmla="*/ 4755008 w 12243467"/>
              <a:gd name="connsiteY5497" fmla="*/ 3751385 h 4565177"/>
              <a:gd name="connsiteX5498" fmla="*/ 4723754 w 12243467"/>
              <a:gd name="connsiteY5498" fmla="*/ 3760589 h 4565177"/>
              <a:gd name="connsiteX5499" fmla="*/ 4712967 w 12243467"/>
              <a:gd name="connsiteY5499" fmla="*/ 3758263 h 4565177"/>
              <a:gd name="connsiteX5500" fmla="*/ 4755700 w 12243467"/>
              <a:gd name="connsiteY5500" fmla="*/ 3736224 h 4565177"/>
              <a:gd name="connsiteX5501" fmla="*/ 4774820 w 12243467"/>
              <a:gd name="connsiteY5501" fmla="*/ 3728396 h 4565177"/>
              <a:gd name="connsiteX5502" fmla="*/ 4762276 w 12243467"/>
              <a:gd name="connsiteY5502" fmla="*/ 3723994 h 4565177"/>
              <a:gd name="connsiteX5503" fmla="*/ 4782744 w 12243467"/>
              <a:gd name="connsiteY5503" fmla="*/ 3721364 h 4565177"/>
              <a:gd name="connsiteX5504" fmla="*/ 4765596 w 12243467"/>
              <a:gd name="connsiteY5504" fmla="*/ 3708922 h 4565177"/>
              <a:gd name="connsiteX5505" fmla="*/ 4762000 w 12243467"/>
              <a:gd name="connsiteY5505" fmla="*/ 3715396 h 4565177"/>
              <a:gd name="connsiteX5506" fmla="*/ 4663072 w 12243467"/>
              <a:gd name="connsiteY5506" fmla="*/ 3690734 h 4565177"/>
              <a:gd name="connsiteX5507" fmla="*/ 4657097 w 12243467"/>
              <a:gd name="connsiteY5507" fmla="*/ 3696826 h 4565177"/>
              <a:gd name="connsiteX5508" fmla="*/ 4622798 w 12243467"/>
              <a:gd name="connsiteY5508" fmla="*/ 3714666 h 4565177"/>
              <a:gd name="connsiteX5509" fmla="*/ 4560012 w 12243467"/>
              <a:gd name="connsiteY5509" fmla="*/ 3760855 h 4565177"/>
              <a:gd name="connsiteX5510" fmla="*/ 4539731 w 12243467"/>
              <a:gd name="connsiteY5510" fmla="*/ 3774397 h 4565177"/>
              <a:gd name="connsiteX5511" fmla="*/ 4542665 w 12243467"/>
              <a:gd name="connsiteY5511" fmla="*/ 3778616 h 4565177"/>
              <a:gd name="connsiteX5512" fmla="*/ 4535557 w 12243467"/>
              <a:gd name="connsiteY5512" fmla="*/ 3777184 h 4565177"/>
              <a:gd name="connsiteX5513" fmla="*/ 4493908 w 12243467"/>
              <a:gd name="connsiteY5513" fmla="*/ 3804995 h 4565177"/>
              <a:gd name="connsiteX5514" fmla="*/ 4502482 w 12243467"/>
              <a:gd name="connsiteY5514" fmla="*/ 3810559 h 4565177"/>
              <a:gd name="connsiteX5515" fmla="*/ 4469568 w 12243467"/>
              <a:gd name="connsiteY5515" fmla="*/ 3818347 h 4565177"/>
              <a:gd name="connsiteX5516" fmla="*/ 4427526 w 12243467"/>
              <a:gd name="connsiteY5516" fmla="*/ 3847783 h 4565177"/>
              <a:gd name="connsiteX5517" fmla="*/ 4426322 w 12243467"/>
              <a:gd name="connsiteY5517" fmla="*/ 3847372 h 4565177"/>
              <a:gd name="connsiteX5518" fmla="*/ 4422348 w 12243467"/>
              <a:gd name="connsiteY5518" fmla="*/ 3854582 h 4565177"/>
              <a:gd name="connsiteX5519" fmla="*/ 4420493 w 12243467"/>
              <a:gd name="connsiteY5519" fmla="*/ 3845383 h 4565177"/>
              <a:gd name="connsiteX5520" fmla="*/ 4418779 w 12243467"/>
              <a:gd name="connsiteY5520" fmla="*/ 3844799 h 4565177"/>
              <a:gd name="connsiteX5521" fmla="*/ 4411484 w 12243467"/>
              <a:gd name="connsiteY5521" fmla="*/ 3843636 h 4565177"/>
              <a:gd name="connsiteX5522" fmla="*/ 4409824 w 12243467"/>
              <a:gd name="connsiteY5522" fmla="*/ 3863967 h 4565177"/>
              <a:gd name="connsiteX5523" fmla="*/ 4401526 w 12243467"/>
              <a:gd name="connsiteY5523" fmla="*/ 3869935 h 4565177"/>
              <a:gd name="connsiteX5524" fmla="*/ 4391418 w 12243467"/>
              <a:gd name="connsiteY5524" fmla="*/ 3872009 h 4565177"/>
              <a:gd name="connsiteX5525" fmla="*/ 4393029 w 12243467"/>
              <a:gd name="connsiteY5525" fmla="*/ 3878150 h 4565177"/>
              <a:gd name="connsiteX5526" fmla="*/ 4387498 w 12243467"/>
              <a:gd name="connsiteY5526" fmla="*/ 3877847 h 4565177"/>
              <a:gd name="connsiteX5527" fmla="*/ 4390366 w 12243467"/>
              <a:gd name="connsiteY5527" fmla="*/ 3872196 h 4565177"/>
              <a:gd name="connsiteX5528" fmla="*/ 4376634 w 12243467"/>
              <a:gd name="connsiteY5528" fmla="*/ 3873981 h 4565177"/>
              <a:gd name="connsiteX5529" fmla="*/ 4382718 w 12243467"/>
              <a:gd name="connsiteY5529" fmla="*/ 3879241 h 4565177"/>
              <a:gd name="connsiteX5530" fmla="*/ 4382063 w 12243467"/>
              <a:gd name="connsiteY5530" fmla="*/ 3882758 h 4565177"/>
              <a:gd name="connsiteX5531" fmla="*/ 4391646 w 12243467"/>
              <a:gd name="connsiteY5531" fmla="*/ 3888265 h 4565177"/>
              <a:gd name="connsiteX5532" fmla="*/ 4378093 w 12243467"/>
              <a:gd name="connsiteY5532" fmla="*/ 3889075 h 4565177"/>
              <a:gd name="connsiteX5533" fmla="*/ 4377851 w 12243467"/>
              <a:gd name="connsiteY5533" fmla="*/ 3884020 h 4565177"/>
              <a:gd name="connsiteX5534" fmla="*/ 4362671 w 12243467"/>
              <a:gd name="connsiteY5534" fmla="*/ 3885254 h 4565177"/>
              <a:gd name="connsiteX5535" fmla="*/ 4346174 w 12243467"/>
              <a:gd name="connsiteY5535" fmla="*/ 3892239 h 4565177"/>
              <a:gd name="connsiteX5536" fmla="*/ 4331494 w 12243467"/>
              <a:gd name="connsiteY5536" fmla="*/ 3899554 h 4565177"/>
              <a:gd name="connsiteX5537" fmla="*/ 4332179 w 12243467"/>
              <a:gd name="connsiteY5537" fmla="*/ 3902528 h 4565177"/>
              <a:gd name="connsiteX5538" fmla="*/ 4328114 w 12243467"/>
              <a:gd name="connsiteY5538" fmla="*/ 3901238 h 4565177"/>
              <a:gd name="connsiteX5539" fmla="*/ 4314401 w 12243467"/>
              <a:gd name="connsiteY5539" fmla="*/ 3908070 h 4565177"/>
              <a:gd name="connsiteX5540" fmla="*/ 4315231 w 12243467"/>
              <a:gd name="connsiteY5540" fmla="*/ 3914948 h 4565177"/>
              <a:gd name="connsiteX5541" fmla="*/ 4246083 w 12243467"/>
              <a:gd name="connsiteY5541" fmla="*/ 3948328 h 4565177"/>
              <a:gd name="connsiteX5542" fmla="*/ 4206756 w 12243467"/>
              <a:gd name="connsiteY5542" fmla="*/ 3963470 h 4565177"/>
              <a:gd name="connsiteX5543" fmla="*/ 4213523 w 12243467"/>
              <a:gd name="connsiteY5543" fmla="*/ 3974852 h 4565177"/>
              <a:gd name="connsiteX5544" fmla="*/ 4202562 w 12243467"/>
              <a:gd name="connsiteY5544" fmla="*/ 3969428 h 4565177"/>
              <a:gd name="connsiteX5545" fmla="*/ 4195174 w 12243467"/>
              <a:gd name="connsiteY5545" fmla="*/ 3967930 h 4565177"/>
              <a:gd name="connsiteX5546" fmla="*/ 4162933 w 12243467"/>
              <a:gd name="connsiteY5546" fmla="*/ 3980343 h 4565177"/>
              <a:gd name="connsiteX5547" fmla="*/ 4081235 w 12243467"/>
              <a:gd name="connsiteY5547" fmla="*/ 4014178 h 4565177"/>
              <a:gd name="connsiteX5548" fmla="*/ 4083724 w 12243467"/>
              <a:gd name="connsiteY5548" fmla="*/ 4025811 h 4565177"/>
              <a:gd name="connsiteX5549" fmla="*/ 4062980 w 12243467"/>
              <a:gd name="connsiteY5549" fmla="*/ 4021259 h 4565177"/>
              <a:gd name="connsiteX5550" fmla="*/ 4012917 w 12243467"/>
              <a:gd name="connsiteY5550" fmla="*/ 4043007 h 4565177"/>
              <a:gd name="connsiteX5551" fmla="*/ 4000471 w 12243467"/>
              <a:gd name="connsiteY5551" fmla="*/ 4044018 h 4565177"/>
              <a:gd name="connsiteX5552" fmla="*/ 3998811 w 12243467"/>
              <a:gd name="connsiteY5552" fmla="*/ 4052819 h 4565177"/>
              <a:gd name="connsiteX5553" fmla="*/ 4015960 w 12243467"/>
              <a:gd name="connsiteY5553" fmla="*/ 4050290 h 4565177"/>
              <a:gd name="connsiteX5554" fmla="*/ 3992726 w 12243467"/>
              <a:gd name="connsiteY5554" fmla="*/ 4059090 h 4565177"/>
              <a:gd name="connsiteX5555" fmla="*/ 3989684 w 12243467"/>
              <a:gd name="connsiteY5555" fmla="*/ 4049683 h 4565177"/>
              <a:gd name="connsiteX5556" fmla="*/ 3966727 w 12243467"/>
              <a:gd name="connsiteY5556" fmla="*/ 4056157 h 4565177"/>
              <a:gd name="connsiteX5557" fmla="*/ 3977791 w 12243467"/>
              <a:gd name="connsiteY5557" fmla="*/ 4061922 h 4565177"/>
              <a:gd name="connsiteX5558" fmla="*/ 3963408 w 12243467"/>
              <a:gd name="connsiteY5558" fmla="*/ 4060304 h 4565177"/>
              <a:gd name="connsiteX5559" fmla="*/ 3906430 w 12243467"/>
              <a:gd name="connsiteY5559" fmla="*/ 4081344 h 4565177"/>
              <a:gd name="connsiteX5560" fmla="*/ 3868814 w 12243467"/>
              <a:gd name="connsiteY5560" fmla="*/ 4088627 h 4565177"/>
              <a:gd name="connsiteX5561" fmla="*/ 3811007 w 12243467"/>
              <a:gd name="connsiteY5561" fmla="*/ 4100360 h 4565177"/>
              <a:gd name="connsiteX5562" fmla="*/ 3767859 w 12243467"/>
              <a:gd name="connsiteY5562" fmla="*/ 4122917 h 4565177"/>
              <a:gd name="connsiteX5563" fmla="*/ 3670222 w 12243467"/>
              <a:gd name="connsiteY5563" fmla="*/ 4130301 h 4565177"/>
              <a:gd name="connsiteX5564" fmla="*/ 3660818 w 12243467"/>
              <a:gd name="connsiteY5564" fmla="*/ 4140720 h 4565177"/>
              <a:gd name="connsiteX5565" fmla="*/ 3544651 w 12243467"/>
              <a:gd name="connsiteY5565" fmla="*/ 4155185 h 4565177"/>
              <a:gd name="connsiteX5566" fmla="*/ 3544927 w 12243467"/>
              <a:gd name="connsiteY5566" fmla="*/ 4141529 h 4565177"/>
              <a:gd name="connsiteX5567" fmla="*/ 3530544 w 12243467"/>
              <a:gd name="connsiteY5567" fmla="*/ 4153668 h 4565177"/>
              <a:gd name="connsiteX5568" fmla="*/ 3489333 w 12243467"/>
              <a:gd name="connsiteY5568" fmla="*/ 4155893 h 4565177"/>
              <a:gd name="connsiteX5569" fmla="*/ 3504545 w 12243467"/>
              <a:gd name="connsiteY5569" fmla="*/ 4139304 h 4565177"/>
              <a:gd name="connsiteX5570" fmla="*/ 3524459 w 12243467"/>
              <a:gd name="connsiteY5570" fmla="*/ 4136977 h 4565177"/>
              <a:gd name="connsiteX5571" fmla="*/ 3516438 w 12243467"/>
              <a:gd name="connsiteY5571" fmla="*/ 4115634 h 4565177"/>
              <a:gd name="connsiteX5572" fmla="*/ 3555714 w 12243467"/>
              <a:gd name="connsiteY5572" fmla="*/ 4113105 h 4565177"/>
              <a:gd name="connsiteX5573" fmla="*/ 3636478 w 12243467"/>
              <a:gd name="connsiteY5573" fmla="*/ 4094696 h 4565177"/>
              <a:gd name="connsiteX5574" fmla="*/ 3673818 w 12243467"/>
              <a:gd name="connsiteY5574" fmla="*/ 4087514 h 4565177"/>
              <a:gd name="connsiteX5575" fmla="*/ 3732455 w 12243467"/>
              <a:gd name="connsiteY5575" fmla="*/ 4071228 h 4565177"/>
              <a:gd name="connsiteX5576" fmla="*/ 3738264 w 12243467"/>
              <a:gd name="connsiteY5576" fmla="*/ 4078714 h 4565177"/>
              <a:gd name="connsiteX5577" fmla="*/ 3774773 w 12243467"/>
              <a:gd name="connsiteY5577" fmla="*/ 4064552 h 4565177"/>
              <a:gd name="connsiteX5578" fmla="*/ 3818198 w 12243467"/>
              <a:gd name="connsiteY5578" fmla="*/ 4053426 h 4565177"/>
              <a:gd name="connsiteX5579" fmla="*/ 3950961 w 12243467"/>
              <a:gd name="connsiteY5579" fmla="*/ 4002141 h 4565177"/>
              <a:gd name="connsiteX5580" fmla="*/ 3964791 w 12243467"/>
              <a:gd name="connsiteY5580" fmla="*/ 4005985 h 4565177"/>
              <a:gd name="connsiteX5581" fmla="*/ 3956770 w 12243467"/>
              <a:gd name="connsiteY5581" fmla="*/ 3998298 h 4565177"/>
              <a:gd name="connsiteX5582" fmla="*/ 4083724 w 12243467"/>
              <a:gd name="connsiteY5582" fmla="*/ 3953082 h 4565177"/>
              <a:gd name="connsiteX5583" fmla="*/ 4079022 w 12243467"/>
              <a:gd name="connsiteY5583" fmla="*/ 3964007 h 4565177"/>
              <a:gd name="connsiteX5584" fmla="*/ 4112766 w 12243467"/>
              <a:gd name="connsiteY5584" fmla="*/ 3940337 h 4565177"/>
              <a:gd name="connsiteX5585" fmla="*/ 4124094 w 12243467"/>
              <a:gd name="connsiteY5585" fmla="*/ 3936601 h 4565177"/>
              <a:gd name="connsiteX5586" fmla="*/ 4112602 w 12243467"/>
              <a:gd name="connsiteY5586" fmla="*/ 3930585 h 4565177"/>
              <a:gd name="connsiteX5587" fmla="*/ 4065824 w 12243467"/>
              <a:gd name="connsiteY5587" fmla="*/ 3914160 h 4565177"/>
              <a:gd name="connsiteX5588" fmla="*/ 4075885 w 12243467"/>
              <a:gd name="connsiteY5588" fmla="*/ 3915069 h 4565177"/>
              <a:gd name="connsiteX5589" fmla="*/ 4072765 w 12243467"/>
              <a:gd name="connsiteY5589" fmla="*/ 3912066 h 4565177"/>
              <a:gd name="connsiteX5590" fmla="*/ 4068512 w 12243467"/>
              <a:gd name="connsiteY5590" fmla="*/ 3908171 h 4565177"/>
              <a:gd name="connsiteX5591" fmla="*/ 4053023 w 12243467"/>
              <a:gd name="connsiteY5591" fmla="*/ 3926985 h 4565177"/>
              <a:gd name="connsiteX5592" fmla="*/ 4035598 w 12243467"/>
              <a:gd name="connsiteY5592" fmla="*/ 3929615 h 4565177"/>
              <a:gd name="connsiteX5593" fmla="*/ 3942110 w 12243467"/>
              <a:gd name="connsiteY5593" fmla="*/ 3962490 h 4565177"/>
              <a:gd name="connsiteX5594" fmla="*/ 3930494 w 12243467"/>
              <a:gd name="connsiteY5594" fmla="*/ 3972605 h 4565177"/>
              <a:gd name="connsiteX5595" fmla="*/ 3827326 w 12243467"/>
              <a:gd name="connsiteY5595" fmla="*/ 3995263 h 4565177"/>
              <a:gd name="connsiteX5596" fmla="*/ 3817921 w 12243467"/>
              <a:gd name="connsiteY5596" fmla="*/ 4005682 h 4565177"/>
              <a:gd name="connsiteX5597" fmla="*/ 3798560 w 12243467"/>
              <a:gd name="connsiteY5597" fmla="*/ 3994353 h 4565177"/>
              <a:gd name="connsiteX5598" fmla="*/ 3759561 w 12243467"/>
              <a:gd name="connsiteY5598" fmla="*/ 4008312 h 4565177"/>
              <a:gd name="connsiteX5599" fmla="*/ 3739093 w 12243467"/>
              <a:gd name="connsiteY5599" fmla="*/ 4026519 h 4565177"/>
              <a:gd name="connsiteX5600" fmla="*/ 3728306 w 12243467"/>
              <a:gd name="connsiteY5600" fmla="*/ 4020753 h 4565177"/>
              <a:gd name="connsiteX5601" fmla="*/ 3686541 w 12243467"/>
              <a:gd name="connsiteY5601" fmla="*/ 4025305 h 4565177"/>
              <a:gd name="connsiteX5602" fmla="*/ 3651414 w 12243467"/>
              <a:gd name="connsiteY5602" fmla="*/ 4044120 h 4565177"/>
              <a:gd name="connsiteX5603" fmla="*/ 3487673 w 12243467"/>
              <a:gd name="connsiteY5603" fmla="*/ 4055550 h 4565177"/>
              <a:gd name="connsiteX5604" fmla="*/ 3474397 w 12243467"/>
              <a:gd name="connsiteY5604" fmla="*/ 4060911 h 4565177"/>
              <a:gd name="connsiteX5605" fmla="*/ 3550459 w 12243467"/>
              <a:gd name="connsiteY5605" fmla="*/ 4030666 h 4565177"/>
              <a:gd name="connsiteX5606" fmla="*/ 3551565 w 12243467"/>
              <a:gd name="connsiteY5606" fmla="*/ 4012661 h 4565177"/>
              <a:gd name="connsiteX5607" fmla="*/ 3469418 w 12243467"/>
              <a:gd name="connsiteY5607" fmla="*/ 4026317 h 4565177"/>
              <a:gd name="connsiteX5608" fmla="*/ 3440100 w 12243467"/>
              <a:gd name="connsiteY5608" fmla="*/ 4016202 h 4565177"/>
              <a:gd name="connsiteX5609" fmla="*/ 3534140 w 12243467"/>
              <a:gd name="connsiteY5609" fmla="*/ 4003861 h 4565177"/>
              <a:gd name="connsiteX5610" fmla="*/ 3542438 w 12243467"/>
              <a:gd name="connsiteY5610" fmla="*/ 3986564 h 4565177"/>
              <a:gd name="connsiteX5611" fmla="*/ 3530544 w 12243467"/>
              <a:gd name="connsiteY5611" fmla="*/ 3985249 h 4565177"/>
              <a:gd name="connsiteX5612" fmla="*/ 3536629 w 12243467"/>
              <a:gd name="connsiteY5612" fmla="*/ 3979079 h 4565177"/>
              <a:gd name="connsiteX5613" fmla="*/ 3530821 w 12243467"/>
              <a:gd name="connsiteY5613" fmla="*/ 3971593 h 4565177"/>
              <a:gd name="connsiteX5614" fmla="*/ 3502332 w 12243467"/>
              <a:gd name="connsiteY5614" fmla="*/ 3982113 h 4565177"/>
              <a:gd name="connsiteX5615" fmla="*/ 3508694 w 12243467"/>
              <a:gd name="connsiteY5615" fmla="*/ 3962388 h 4565177"/>
              <a:gd name="connsiteX5616" fmla="*/ 3492652 w 12243467"/>
              <a:gd name="connsiteY5616" fmla="*/ 3947013 h 4565177"/>
              <a:gd name="connsiteX5617" fmla="*/ 3506758 w 12243467"/>
              <a:gd name="connsiteY5617" fmla="*/ 3948531 h 4565177"/>
              <a:gd name="connsiteX5618" fmla="*/ 3513949 w 12243467"/>
              <a:gd name="connsiteY5618" fmla="*/ 3960669 h 4565177"/>
              <a:gd name="connsiteX5619" fmla="*/ 3515332 w 12243467"/>
              <a:gd name="connsiteY5619" fmla="*/ 3954094 h 4565177"/>
              <a:gd name="connsiteX5620" fmla="*/ 3530821 w 12243467"/>
              <a:gd name="connsiteY5620" fmla="*/ 3960264 h 4565177"/>
              <a:gd name="connsiteX5621" fmla="*/ 3526119 w 12243467"/>
              <a:gd name="connsiteY5621" fmla="*/ 3948429 h 4565177"/>
              <a:gd name="connsiteX5622" fmla="*/ 3544097 w 12243467"/>
              <a:gd name="connsiteY5622" fmla="*/ 3929919 h 4565177"/>
              <a:gd name="connsiteX5623" fmla="*/ 3565948 w 12243467"/>
              <a:gd name="connsiteY5623" fmla="*/ 3941450 h 4565177"/>
              <a:gd name="connsiteX5624" fmla="*/ 3622649 w 12243467"/>
              <a:gd name="connsiteY5624" fmla="*/ 3934066 h 4565177"/>
              <a:gd name="connsiteX5625" fmla="*/ 3636755 w 12243467"/>
              <a:gd name="connsiteY5625" fmla="*/ 3924254 h 4565177"/>
              <a:gd name="connsiteX5626" fmla="*/ 3630393 w 12243467"/>
              <a:gd name="connsiteY5626" fmla="*/ 3932548 h 4565177"/>
              <a:gd name="connsiteX5627" fmla="*/ 3657223 w 12243467"/>
              <a:gd name="connsiteY5627" fmla="*/ 3931031 h 4565177"/>
              <a:gd name="connsiteX5628" fmla="*/ 3655563 w 12243467"/>
              <a:gd name="connsiteY5628" fmla="*/ 3914948 h 4565177"/>
              <a:gd name="connsiteX5629" fmla="*/ 3665520 w 12243467"/>
              <a:gd name="connsiteY5629" fmla="*/ 3913734 h 4565177"/>
              <a:gd name="connsiteX5630" fmla="*/ 3660818 w 12243467"/>
              <a:gd name="connsiteY5630" fmla="*/ 3924659 h 4565177"/>
              <a:gd name="connsiteX5631" fmla="*/ 3668286 w 12243467"/>
              <a:gd name="connsiteY5631" fmla="*/ 3923141 h 4565177"/>
              <a:gd name="connsiteX5632" fmla="*/ 3667180 w 12243467"/>
              <a:gd name="connsiteY5632" fmla="*/ 3916263 h 4565177"/>
              <a:gd name="connsiteX5633" fmla="*/ 3730796 w 12243467"/>
              <a:gd name="connsiteY5633" fmla="*/ 3900483 h 4565177"/>
              <a:gd name="connsiteX5634" fmla="*/ 3750710 w 12243467"/>
              <a:gd name="connsiteY5634" fmla="*/ 3895830 h 4565177"/>
              <a:gd name="connsiteX5635" fmla="*/ 3749880 w 12243467"/>
              <a:gd name="connsiteY5635" fmla="*/ 3888952 h 4565177"/>
              <a:gd name="connsiteX5636" fmla="*/ 3800496 w 12243467"/>
              <a:gd name="connsiteY5636" fmla="*/ 3876308 h 4565177"/>
              <a:gd name="connsiteX5637" fmla="*/ 3806305 w 12243467"/>
              <a:gd name="connsiteY5637" fmla="*/ 3883793 h 4565177"/>
              <a:gd name="connsiteX5638" fmla="*/ 3883750 w 12243467"/>
              <a:gd name="connsiteY5638" fmla="*/ 3858303 h 4565177"/>
              <a:gd name="connsiteX5639" fmla="*/ 3885133 w 12243467"/>
              <a:gd name="connsiteY5639" fmla="*/ 3851525 h 4565177"/>
              <a:gd name="connsiteX5640" fmla="*/ 3883473 w 12243467"/>
              <a:gd name="connsiteY5640" fmla="*/ 3846771 h 4565177"/>
              <a:gd name="connsiteX5641" fmla="*/ 3872410 w 12243467"/>
              <a:gd name="connsiteY5641" fmla="*/ 3854661 h 4565177"/>
              <a:gd name="connsiteX5642" fmla="*/ 3863282 w 12243467"/>
              <a:gd name="connsiteY5642" fmla="*/ 3851424 h 4565177"/>
              <a:gd name="connsiteX5643" fmla="*/ 3916664 w 12243467"/>
              <a:gd name="connsiteY5643" fmla="*/ 3825529 h 4565177"/>
              <a:gd name="connsiteX5644" fmla="*/ 3910856 w 12243467"/>
              <a:gd name="connsiteY5644" fmla="*/ 3818044 h 4565177"/>
              <a:gd name="connsiteX5645" fmla="*/ 3964791 w 12243467"/>
              <a:gd name="connsiteY5645" fmla="*/ 3789822 h 4565177"/>
              <a:gd name="connsiteX5646" fmla="*/ 3952897 w 12243467"/>
              <a:gd name="connsiteY5646" fmla="*/ 3777178 h 4565177"/>
              <a:gd name="connsiteX5647" fmla="*/ 3908920 w 12243467"/>
              <a:gd name="connsiteY5647" fmla="*/ 3792756 h 4565177"/>
              <a:gd name="connsiteX5648" fmla="*/ 3877388 w 12243467"/>
              <a:gd name="connsiteY5648" fmla="*/ 3805198 h 4565177"/>
              <a:gd name="connsiteX5649" fmla="*/ 3819304 w 12243467"/>
              <a:gd name="connsiteY5649" fmla="*/ 3819258 h 4565177"/>
              <a:gd name="connsiteX5650" fmla="*/ 3756795 w 12243467"/>
              <a:gd name="connsiteY5650" fmla="*/ 3830587 h 4565177"/>
              <a:gd name="connsiteX5651" fmla="*/ 3745455 w 12243467"/>
              <a:gd name="connsiteY5651" fmla="*/ 3838477 h 4565177"/>
              <a:gd name="connsiteX5652" fmla="*/ 3736604 w 12243467"/>
              <a:gd name="connsiteY5652" fmla="*/ 3835139 h 4565177"/>
              <a:gd name="connsiteX5653" fmla="*/ 3693456 w 12243467"/>
              <a:gd name="connsiteY5653" fmla="*/ 3857696 h 4565177"/>
              <a:gd name="connsiteX5654" fmla="*/ 3540225 w 12243467"/>
              <a:gd name="connsiteY5654" fmla="*/ 3877218 h 4565177"/>
              <a:gd name="connsiteX5655" fmla="*/ 3521417 w 12243467"/>
              <a:gd name="connsiteY5655" fmla="*/ 3886423 h 4565177"/>
              <a:gd name="connsiteX5656" fmla="*/ 3503992 w 12243467"/>
              <a:gd name="connsiteY5656" fmla="*/ 3877724 h 4565177"/>
              <a:gd name="connsiteX5657" fmla="*/ 3590841 w 12243467"/>
              <a:gd name="connsiteY5657" fmla="*/ 3853245 h 4565177"/>
              <a:gd name="connsiteX5658" fmla="*/ 3584203 w 12243467"/>
              <a:gd name="connsiteY5658" fmla="*/ 3850210 h 4565177"/>
              <a:gd name="connsiteX5659" fmla="*/ 3652797 w 12243467"/>
              <a:gd name="connsiteY5659" fmla="*/ 3844040 h 4565177"/>
              <a:gd name="connsiteX5660" fmla="*/ 3731902 w 12243467"/>
              <a:gd name="connsiteY5660" fmla="*/ 3834633 h 4565177"/>
              <a:gd name="connsiteX5661" fmla="*/ 3762880 w 12243467"/>
              <a:gd name="connsiteY5661" fmla="*/ 3824417 h 4565177"/>
              <a:gd name="connsiteX5662" fmla="*/ 3756519 w 12243467"/>
              <a:gd name="connsiteY5662" fmla="*/ 3819157 h 4565177"/>
              <a:gd name="connsiteX5663" fmla="*/ 3912239 w 12243467"/>
              <a:gd name="connsiteY5663" fmla="*/ 3763624 h 4565177"/>
              <a:gd name="connsiteX5664" fmla="*/ 3887346 w 12243467"/>
              <a:gd name="connsiteY5664" fmla="*/ 3756240 h 4565177"/>
              <a:gd name="connsiteX5665" fmla="*/ 3841708 w 12243467"/>
              <a:gd name="connsiteY5665" fmla="*/ 3778595 h 4565177"/>
              <a:gd name="connsiteX5666" fmla="*/ 3782795 w 12243467"/>
              <a:gd name="connsiteY5666" fmla="*/ 3797004 h 4565177"/>
              <a:gd name="connsiteX5667" fmla="*/ 3739923 w 12243467"/>
              <a:gd name="connsiteY5667" fmla="*/ 3806007 h 4565177"/>
              <a:gd name="connsiteX5668" fmla="*/ 3655010 w 12243467"/>
              <a:gd name="connsiteY5668" fmla="*/ 3833015 h 4565177"/>
              <a:gd name="connsiteX5669" fmla="*/ 3560969 w 12243467"/>
              <a:gd name="connsiteY5669" fmla="*/ 3845355 h 4565177"/>
              <a:gd name="connsiteX5670" fmla="*/ 3810730 w 12243467"/>
              <a:gd name="connsiteY5670" fmla="*/ 3777381 h 4565177"/>
              <a:gd name="connsiteX5671" fmla="*/ 3874622 w 12243467"/>
              <a:gd name="connsiteY5671" fmla="*/ 3759477 h 4565177"/>
              <a:gd name="connsiteX5672" fmla="*/ 3880431 w 12243467"/>
              <a:gd name="connsiteY5672" fmla="*/ 3753205 h 4565177"/>
              <a:gd name="connsiteX5673" fmla="*/ 3982769 w 12243467"/>
              <a:gd name="connsiteY5673" fmla="*/ 3723568 h 4565177"/>
              <a:gd name="connsiteX5674" fmla="*/ 3924409 w 12243467"/>
              <a:gd name="connsiteY5674" fmla="*/ 3751283 h 4565177"/>
              <a:gd name="connsiteX5675" fmla="*/ 4005450 w 12243467"/>
              <a:gd name="connsiteY5675" fmla="*/ 3719319 h 4565177"/>
              <a:gd name="connsiteX5676" fmla="*/ 4092022 w 12243467"/>
              <a:gd name="connsiteY5676" fmla="*/ 3683410 h 4565177"/>
              <a:gd name="connsiteX5677" fmla="*/ 4137383 w 12243467"/>
              <a:gd name="connsiteY5677" fmla="*/ 3661157 h 4565177"/>
              <a:gd name="connsiteX5678" fmla="*/ 4213170 w 12243467"/>
              <a:gd name="connsiteY5678" fmla="*/ 3619482 h 4565177"/>
              <a:gd name="connsiteX5679" fmla="*/ 4288954 w 12243467"/>
              <a:gd name="connsiteY5679" fmla="*/ 3577807 h 4565177"/>
              <a:gd name="connsiteX5680" fmla="*/ 4261295 w 12243467"/>
              <a:gd name="connsiteY5680" fmla="*/ 3583775 h 4565177"/>
              <a:gd name="connsiteX5681" fmla="*/ 4047491 w 12243467"/>
              <a:gd name="connsiteY5681" fmla="*/ 3689783 h 4565177"/>
              <a:gd name="connsiteX5682" fmla="*/ 4179701 w 12243467"/>
              <a:gd name="connsiteY5682" fmla="*/ 3617965 h 4565177"/>
              <a:gd name="connsiteX5683" fmla="*/ 4173616 w 12243467"/>
              <a:gd name="connsiteY5683" fmla="*/ 3612705 h 4565177"/>
              <a:gd name="connsiteX5684" fmla="*/ 4218147 w 12243467"/>
              <a:gd name="connsiteY5684" fmla="*/ 3595003 h 4565177"/>
              <a:gd name="connsiteX5685" fmla="*/ 4219807 w 12243467"/>
              <a:gd name="connsiteY5685" fmla="*/ 3586000 h 4565177"/>
              <a:gd name="connsiteX5686" fmla="*/ 4116362 w 12243467"/>
              <a:gd name="connsiteY5686" fmla="*/ 3622314 h 4565177"/>
              <a:gd name="connsiteX5687" fmla="*/ 4126873 w 12243467"/>
              <a:gd name="connsiteY5687" fmla="*/ 3630305 h 4565177"/>
              <a:gd name="connsiteX5688" fmla="*/ 4119405 w 12243467"/>
              <a:gd name="connsiteY5688" fmla="*/ 3643151 h 4565177"/>
              <a:gd name="connsiteX5689" fmla="*/ 4083724 w 12243467"/>
              <a:gd name="connsiteY5689" fmla="*/ 3652862 h 4565177"/>
              <a:gd name="connsiteX5690" fmla="*/ 4085937 w 12243467"/>
              <a:gd name="connsiteY5690" fmla="*/ 3641836 h 4565177"/>
              <a:gd name="connsiteX5691" fmla="*/ 3979173 w 12243467"/>
              <a:gd name="connsiteY5691" fmla="*/ 3682196 h 4565177"/>
              <a:gd name="connsiteX5692" fmla="*/ 3993833 w 12243467"/>
              <a:gd name="connsiteY5692" fmla="*/ 3681589 h 4565177"/>
              <a:gd name="connsiteX5693" fmla="*/ 3970599 w 12243467"/>
              <a:gd name="connsiteY5693" fmla="*/ 3688164 h 4565177"/>
              <a:gd name="connsiteX5694" fmla="*/ 3976408 w 12243467"/>
              <a:gd name="connsiteY5694" fmla="*/ 3684219 h 4565177"/>
              <a:gd name="connsiteX5695" fmla="*/ 3919983 w 12243467"/>
              <a:gd name="connsiteY5695" fmla="*/ 3700808 h 4565177"/>
              <a:gd name="connsiteX5696" fmla="*/ 3930494 w 12243467"/>
              <a:gd name="connsiteY5696" fmla="*/ 3708698 h 4565177"/>
              <a:gd name="connsiteX5697" fmla="*/ 3785837 w 12243467"/>
              <a:gd name="connsiteY5697" fmla="*/ 3745113 h 4565177"/>
              <a:gd name="connsiteX5698" fmla="*/ 3773114 w 12243467"/>
              <a:gd name="connsiteY5698" fmla="*/ 3736819 h 4565177"/>
              <a:gd name="connsiteX5699" fmla="*/ 3752923 w 12243467"/>
              <a:gd name="connsiteY5699" fmla="*/ 3741472 h 4565177"/>
              <a:gd name="connsiteX5700" fmla="*/ 3732455 w 12243467"/>
              <a:gd name="connsiteY5700" fmla="*/ 3759679 h 4565177"/>
              <a:gd name="connsiteX5701" fmla="*/ 3658329 w 12243467"/>
              <a:gd name="connsiteY5701" fmla="*/ 3756038 h 4565177"/>
              <a:gd name="connsiteX5702" fmla="*/ 3674924 w 12243467"/>
              <a:gd name="connsiteY5702" fmla="*/ 3746428 h 4565177"/>
              <a:gd name="connsiteX5703" fmla="*/ 3651691 w 12243467"/>
              <a:gd name="connsiteY5703" fmla="*/ 3741674 h 4565177"/>
              <a:gd name="connsiteX5704" fmla="*/ 3652797 w 12243467"/>
              <a:gd name="connsiteY5704" fmla="*/ 3748552 h 4565177"/>
              <a:gd name="connsiteX5705" fmla="*/ 3439823 w 12243467"/>
              <a:gd name="connsiteY5705" fmla="*/ 3777381 h 4565177"/>
              <a:gd name="connsiteX5706" fmla="*/ 3585862 w 12243467"/>
              <a:gd name="connsiteY5706" fmla="*/ 3745720 h 4565177"/>
              <a:gd name="connsiteX5707" fmla="*/ 3682946 w 12243467"/>
              <a:gd name="connsiteY5707" fmla="*/ 3717802 h 4565177"/>
              <a:gd name="connsiteX5708" fmla="*/ 3640627 w 12243467"/>
              <a:gd name="connsiteY5708" fmla="*/ 3724478 h 4565177"/>
              <a:gd name="connsiteX5709" fmla="*/ 3500120 w 12243467"/>
              <a:gd name="connsiteY5709" fmla="*/ 3752295 h 4565177"/>
              <a:gd name="connsiteX5710" fmla="*/ 3463610 w 12243467"/>
              <a:gd name="connsiteY5710" fmla="*/ 3755026 h 4565177"/>
              <a:gd name="connsiteX5711" fmla="*/ 3438163 w 12243467"/>
              <a:gd name="connsiteY5711" fmla="*/ 3749968 h 4565177"/>
              <a:gd name="connsiteX5712" fmla="*/ 3541055 w 12243467"/>
              <a:gd name="connsiteY5712" fmla="*/ 3729434 h 4565177"/>
              <a:gd name="connsiteX5713" fmla="*/ 3567884 w 12243467"/>
              <a:gd name="connsiteY5713" fmla="*/ 3727917 h 4565177"/>
              <a:gd name="connsiteX5714" fmla="*/ 3555438 w 12243467"/>
              <a:gd name="connsiteY5714" fmla="*/ 3717397 h 4565177"/>
              <a:gd name="connsiteX5715" fmla="*/ 3539949 w 12243467"/>
              <a:gd name="connsiteY5715" fmla="*/ 3722455 h 4565177"/>
              <a:gd name="connsiteX5716" fmla="*/ 3526396 w 12243467"/>
              <a:gd name="connsiteY5716" fmla="*/ 3718611 h 4565177"/>
              <a:gd name="connsiteX5717" fmla="*/ 3536076 w 12243467"/>
              <a:gd name="connsiteY5717" fmla="*/ 3706068 h 4565177"/>
              <a:gd name="connsiteX5718" fmla="*/ 3526672 w 12243467"/>
              <a:gd name="connsiteY5718" fmla="*/ 3705057 h 4565177"/>
              <a:gd name="connsiteX5719" fmla="*/ 3521417 w 12243467"/>
              <a:gd name="connsiteY5719" fmla="*/ 3718105 h 4565177"/>
              <a:gd name="connsiteX5720" fmla="*/ 3504545 w 12243467"/>
              <a:gd name="connsiteY5720" fmla="*/ 3718510 h 4565177"/>
              <a:gd name="connsiteX5721" fmla="*/ 3472184 w 12243467"/>
              <a:gd name="connsiteY5721" fmla="*/ 3712744 h 4565177"/>
              <a:gd name="connsiteX5722" fmla="*/ 3490162 w 12243467"/>
              <a:gd name="connsiteY5722" fmla="*/ 3719218 h 4565177"/>
              <a:gd name="connsiteX5723" fmla="*/ 3487950 w 12243467"/>
              <a:gd name="connsiteY5723" fmla="*/ 3730345 h 4565177"/>
              <a:gd name="connsiteX5724" fmla="*/ 3443972 w 12243467"/>
              <a:gd name="connsiteY5724" fmla="*/ 3732368 h 4565177"/>
              <a:gd name="connsiteX5725" fmla="*/ 3419632 w 12243467"/>
              <a:gd name="connsiteY5725" fmla="*/ 3722860 h 4565177"/>
              <a:gd name="connsiteX5726" fmla="*/ 3430695 w 12243467"/>
              <a:gd name="connsiteY5726" fmla="*/ 3726299 h 4565177"/>
              <a:gd name="connsiteX5727" fmla="*/ 3403590 w 12243467"/>
              <a:gd name="connsiteY5727" fmla="*/ 3730244 h 4565177"/>
              <a:gd name="connsiteX5728" fmla="*/ 3378143 w 12243467"/>
              <a:gd name="connsiteY5728" fmla="*/ 3725085 h 4565177"/>
              <a:gd name="connsiteX5729" fmla="*/ 3362101 w 12243467"/>
              <a:gd name="connsiteY5729" fmla="*/ 3721039 h 4565177"/>
              <a:gd name="connsiteX5730" fmla="*/ 3240125 w 12243467"/>
              <a:gd name="connsiteY5730" fmla="*/ 3728018 h 4565177"/>
              <a:gd name="connsiteX5731" fmla="*/ 3229891 w 12243467"/>
              <a:gd name="connsiteY5731" fmla="*/ 3720128 h 4565177"/>
              <a:gd name="connsiteX5732" fmla="*/ 3206658 w 12243467"/>
              <a:gd name="connsiteY5732" fmla="*/ 3715273 h 4565177"/>
              <a:gd name="connsiteX5733" fmla="*/ 3183701 w 12243467"/>
              <a:gd name="connsiteY5733" fmla="*/ 3721848 h 4565177"/>
              <a:gd name="connsiteX5734" fmla="*/ 3144148 w 12243467"/>
              <a:gd name="connsiteY5734" fmla="*/ 3715172 h 4565177"/>
              <a:gd name="connsiteX5735" fmla="*/ 3152446 w 12243467"/>
              <a:gd name="connsiteY5735" fmla="*/ 3709204 h 4565177"/>
              <a:gd name="connsiteX5736" fmla="*/ 3273869 w 12243467"/>
              <a:gd name="connsiteY5736" fmla="*/ 3715779 h 4565177"/>
              <a:gd name="connsiteX5737" fmla="*/ 3289635 w 12243467"/>
              <a:gd name="connsiteY5737" fmla="*/ 3710721 h 4565177"/>
              <a:gd name="connsiteX5738" fmla="*/ 3474673 w 12243467"/>
              <a:gd name="connsiteY5738" fmla="*/ 3699291 h 4565177"/>
              <a:gd name="connsiteX5739" fmla="*/ 3478546 w 12243467"/>
              <a:gd name="connsiteY5739" fmla="*/ 3692918 h 4565177"/>
              <a:gd name="connsiteX5740" fmla="*/ 3655287 w 12243467"/>
              <a:gd name="connsiteY5740" fmla="*/ 3651041 h 4565177"/>
              <a:gd name="connsiteX5741" fmla="*/ 3599415 w 12243467"/>
              <a:gd name="connsiteY5741" fmla="*/ 3665405 h 4565177"/>
              <a:gd name="connsiteX5742" fmla="*/ 3564288 w 12243467"/>
              <a:gd name="connsiteY5742" fmla="*/ 3661460 h 4565177"/>
              <a:gd name="connsiteX5743" fmla="*/ 3594437 w 12243467"/>
              <a:gd name="connsiteY5743" fmla="*/ 3655694 h 4565177"/>
              <a:gd name="connsiteX5744" fmla="*/ 3587245 w 12243467"/>
              <a:gd name="connsiteY5744" fmla="*/ 3643556 h 4565177"/>
              <a:gd name="connsiteX5745" fmla="*/ 3599415 w 12243467"/>
              <a:gd name="connsiteY5745" fmla="*/ 3654076 h 4565177"/>
              <a:gd name="connsiteX5746" fmla="*/ 3602181 w 12243467"/>
              <a:gd name="connsiteY5746" fmla="*/ 3640623 h 4565177"/>
              <a:gd name="connsiteX5747" fmla="*/ 3639244 w 12243467"/>
              <a:gd name="connsiteY5747" fmla="*/ 3635666 h 4565177"/>
              <a:gd name="connsiteX5748" fmla="*/ 3638138 w 12243467"/>
              <a:gd name="connsiteY5748" fmla="*/ 3617256 h 4565177"/>
              <a:gd name="connsiteX5749" fmla="*/ 3594713 w 12243467"/>
              <a:gd name="connsiteY5749" fmla="*/ 3617155 h 4565177"/>
              <a:gd name="connsiteX5750" fmla="*/ 3591394 w 12243467"/>
              <a:gd name="connsiteY5750" fmla="*/ 3609872 h 4565177"/>
              <a:gd name="connsiteX5751" fmla="*/ 3620436 w 12243467"/>
              <a:gd name="connsiteY5751" fmla="*/ 3597228 h 4565177"/>
              <a:gd name="connsiteX5752" fmla="*/ 3621819 w 12243467"/>
              <a:gd name="connsiteY5752" fmla="*/ 3590451 h 4565177"/>
              <a:gd name="connsiteX5753" fmla="*/ 3604394 w 12243467"/>
              <a:gd name="connsiteY5753" fmla="*/ 3581752 h 4565177"/>
              <a:gd name="connsiteX5754" fmla="*/ 3509800 w 12243467"/>
              <a:gd name="connsiteY5754" fmla="*/ 3596318 h 4565177"/>
              <a:gd name="connsiteX5755" fmla="*/ 3571203 w 12243467"/>
              <a:gd name="connsiteY5755" fmla="*/ 3566680 h 4565177"/>
              <a:gd name="connsiteX5756" fmla="*/ 3568990 w 12243467"/>
              <a:gd name="connsiteY5756" fmla="*/ 3577807 h 4565177"/>
              <a:gd name="connsiteX5757" fmla="*/ 3602181 w 12243467"/>
              <a:gd name="connsiteY5757" fmla="*/ 3567894 h 4565177"/>
              <a:gd name="connsiteX5758" fmla="*/ 3607436 w 12243467"/>
              <a:gd name="connsiteY5758" fmla="*/ 3554744 h 4565177"/>
              <a:gd name="connsiteX5759" fmla="*/ 3617670 w 12243467"/>
              <a:gd name="connsiteY5759" fmla="*/ 3562735 h 4565177"/>
              <a:gd name="connsiteX5760" fmla="*/ 3850283 w 12243467"/>
              <a:gd name="connsiteY5760" fmla="*/ 3483836 h 4565177"/>
              <a:gd name="connsiteX5761" fmla="*/ 3858752 w 12243467"/>
              <a:gd name="connsiteY5761" fmla="*/ 3470144 h 4565177"/>
              <a:gd name="connsiteX5762" fmla="*/ 3801019 w 12243467"/>
              <a:gd name="connsiteY5762" fmla="*/ 3478414 h 4565177"/>
              <a:gd name="connsiteX5763" fmla="*/ 3785007 w 12243467"/>
              <a:gd name="connsiteY5763" fmla="*/ 3485657 h 4565177"/>
              <a:gd name="connsiteX5764" fmla="*/ 3740753 w 12243467"/>
              <a:gd name="connsiteY5764" fmla="*/ 3501336 h 4565177"/>
              <a:gd name="connsiteX5765" fmla="*/ 3632330 w 12243467"/>
              <a:gd name="connsiteY5765" fmla="*/ 3525714 h 4565177"/>
              <a:gd name="connsiteX5766" fmla="*/ 3636202 w 12243467"/>
              <a:gd name="connsiteY5766" fmla="*/ 3519240 h 4565177"/>
              <a:gd name="connsiteX5767" fmla="*/ 3577288 w 12243467"/>
              <a:gd name="connsiteY5767" fmla="*/ 3524095 h 4565177"/>
              <a:gd name="connsiteX5768" fmla="*/ 3574522 w 12243467"/>
              <a:gd name="connsiteY5768" fmla="*/ 3514688 h 4565177"/>
              <a:gd name="connsiteX5769" fmla="*/ 3546310 w 12243467"/>
              <a:gd name="connsiteY5769" fmla="*/ 3522982 h 4565177"/>
              <a:gd name="connsiteX5770" fmla="*/ 3495971 w 12243467"/>
              <a:gd name="connsiteY5770" fmla="*/ 3533401 h 4565177"/>
              <a:gd name="connsiteX5771" fmla="*/ 3507588 w 12243467"/>
              <a:gd name="connsiteY5771" fmla="*/ 3524702 h 4565177"/>
              <a:gd name="connsiteX5772" fmla="*/ 3509800 w 12243467"/>
              <a:gd name="connsiteY5772" fmla="*/ 3523690 h 4565177"/>
              <a:gd name="connsiteX5773" fmla="*/ 3502609 w 12243467"/>
              <a:gd name="connsiteY5773" fmla="*/ 3523893 h 4565177"/>
              <a:gd name="connsiteX5774" fmla="*/ 3493205 w 12243467"/>
              <a:gd name="connsiteY5774" fmla="*/ 3524297 h 4565177"/>
              <a:gd name="connsiteX5775" fmla="*/ 3476609 w 12243467"/>
              <a:gd name="connsiteY5775" fmla="*/ 3531884 h 4565177"/>
              <a:gd name="connsiteX5776" fmla="*/ 3473014 w 12243467"/>
              <a:gd name="connsiteY5776" fmla="*/ 3544022 h 4565177"/>
              <a:gd name="connsiteX5777" fmla="*/ 3460291 w 12243467"/>
              <a:gd name="connsiteY5777" fmla="*/ 3550900 h 4565177"/>
              <a:gd name="connsiteX5778" fmla="*/ 3343016 w 12243467"/>
              <a:gd name="connsiteY5778" fmla="*/ 3580842 h 4565177"/>
              <a:gd name="connsiteX5779" fmla="*/ 3333889 w 12243467"/>
              <a:gd name="connsiteY5779" fmla="*/ 3589945 h 4565177"/>
              <a:gd name="connsiteX5780" fmla="*/ 3180935 w 12243467"/>
              <a:gd name="connsiteY5780" fmla="*/ 3622415 h 4565177"/>
              <a:gd name="connsiteX5781" fmla="*/ 3100724 w 12243467"/>
              <a:gd name="connsiteY5781" fmla="*/ 3639409 h 4565177"/>
              <a:gd name="connsiteX5782" fmla="*/ 2929238 w 12243467"/>
              <a:gd name="connsiteY5782" fmla="*/ 3672890 h 4565177"/>
              <a:gd name="connsiteX5783" fmla="*/ 2933110 w 12243467"/>
              <a:gd name="connsiteY5783" fmla="*/ 3680780 h 4565177"/>
              <a:gd name="connsiteX5784" fmla="*/ 2899366 w 12243467"/>
              <a:gd name="connsiteY5784" fmla="*/ 3675824 h 4565177"/>
              <a:gd name="connsiteX5785" fmla="*/ 2843495 w 12243467"/>
              <a:gd name="connsiteY5785" fmla="*/ 3686647 h 4565177"/>
              <a:gd name="connsiteX5786" fmla="*/ 2831878 w 12243467"/>
              <a:gd name="connsiteY5786" fmla="*/ 3677442 h 4565177"/>
              <a:gd name="connsiteX5787" fmla="*/ 2817495 w 12243467"/>
              <a:gd name="connsiteY5787" fmla="*/ 3694638 h 4565177"/>
              <a:gd name="connsiteX5788" fmla="*/ 2806155 w 12243467"/>
              <a:gd name="connsiteY5788" fmla="*/ 3696762 h 4565177"/>
              <a:gd name="connsiteX5789" fmla="*/ 2781815 w 12243467"/>
              <a:gd name="connsiteY5789" fmla="*/ 3691502 h 4565177"/>
              <a:gd name="connsiteX5790" fmla="*/ 2783751 w 12243467"/>
              <a:gd name="connsiteY5790" fmla="*/ 3698381 h 4565177"/>
              <a:gd name="connsiteX5791" fmla="*/ 2780156 w 12243467"/>
              <a:gd name="connsiteY5791" fmla="*/ 3701820 h 4565177"/>
              <a:gd name="connsiteX5792" fmla="*/ 2705200 w 12243467"/>
              <a:gd name="connsiteY5792" fmla="*/ 3699190 h 4565177"/>
              <a:gd name="connsiteX5793" fmla="*/ 2701604 w 12243467"/>
              <a:gd name="connsiteY5793" fmla="*/ 3705664 h 4565177"/>
              <a:gd name="connsiteX5794" fmla="*/ 2619180 w 12243467"/>
              <a:gd name="connsiteY5794" fmla="*/ 3710215 h 4565177"/>
              <a:gd name="connsiteX5795" fmla="*/ 2431929 w 12243467"/>
              <a:gd name="connsiteY5795" fmla="*/ 3709204 h 4565177"/>
              <a:gd name="connsiteX5796" fmla="*/ 2426397 w 12243467"/>
              <a:gd name="connsiteY5796" fmla="*/ 3720432 h 4565177"/>
              <a:gd name="connsiteX5797" fmla="*/ 2411185 w 12243467"/>
              <a:gd name="connsiteY5797" fmla="*/ 3708901 h 4565177"/>
              <a:gd name="connsiteX5798" fmla="*/ 2353378 w 12243467"/>
              <a:gd name="connsiteY5798" fmla="*/ 3710215 h 4565177"/>
              <a:gd name="connsiteX5799" fmla="*/ 2341761 w 12243467"/>
              <a:gd name="connsiteY5799" fmla="*/ 3706574 h 4565177"/>
              <a:gd name="connsiteX5800" fmla="*/ 2334570 w 12243467"/>
              <a:gd name="connsiteY5800" fmla="*/ 3713756 h 4565177"/>
              <a:gd name="connsiteX5801" fmla="*/ 2351441 w 12243467"/>
              <a:gd name="connsiteY5801" fmla="*/ 3717701 h 4565177"/>
              <a:gd name="connsiteX5802" fmla="*/ 2325165 w 12243467"/>
              <a:gd name="connsiteY5802" fmla="*/ 3717094 h 4565177"/>
              <a:gd name="connsiteX5803" fmla="*/ 2328761 w 12243467"/>
              <a:gd name="connsiteY5803" fmla="*/ 3707788 h 4565177"/>
              <a:gd name="connsiteX5804" fmla="*/ 2304421 w 12243467"/>
              <a:gd name="connsiteY5804" fmla="*/ 3705360 h 4565177"/>
              <a:gd name="connsiteX5805" fmla="*/ 2310229 w 12243467"/>
              <a:gd name="connsiteY5805" fmla="*/ 3714262 h 4565177"/>
              <a:gd name="connsiteX5806" fmla="*/ 2298889 w 12243467"/>
              <a:gd name="connsiteY5806" fmla="*/ 3707889 h 4565177"/>
              <a:gd name="connsiteX5807" fmla="*/ 2234997 w 12243467"/>
              <a:gd name="connsiteY5807" fmla="*/ 3705765 h 4565177"/>
              <a:gd name="connsiteX5808" fmla="*/ 2197381 w 12243467"/>
              <a:gd name="connsiteY5808" fmla="*/ 3698785 h 4565177"/>
              <a:gd name="connsiteX5809" fmla="*/ 2139297 w 12243467"/>
              <a:gd name="connsiteY5809" fmla="*/ 3688569 h 4565177"/>
              <a:gd name="connsiteX5810" fmla="*/ 2086745 w 12243467"/>
              <a:gd name="connsiteY5810" fmla="*/ 3693020 h 4565177"/>
              <a:gd name="connsiteX5811" fmla="*/ 1996300 w 12243467"/>
              <a:gd name="connsiteY5811" fmla="*/ 3664596 h 4565177"/>
              <a:gd name="connsiteX5812" fmla="*/ 1981364 w 12243467"/>
              <a:gd name="connsiteY5812" fmla="*/ 3670361 h 4565177"/>
              <a:gd name="connsiteX5813" fmla="*/ 1870175 w 12243467"/>
              <a:gd name="connsiteY5813" fmla="*/ 3641735 h 4565177"/>
              <a:gd name="connsiteX5814" fmla="*/ 1879302 w 12243467"/>
              <a:gd name="connsiteY5814" fmla="*/ 3629900 h 4565177"/>
              <a:gd name="connsiteX5815" fmla="*/ 1858835 w 12243467"/>
              <a:gd name="connsiteY5815" fmla="*/ 3635262 h 4565177"/>
              <a:gd name="connsiteX5816" fmla="*/ 1820942 w 12243467"/>
              <a:gd name="connsiteY5816" fmla="*/ 3622516 h 4565177"/>
              <a:gd name="connsiteX5817" fmla="*/ 1845282 w 12243467"/>
              <a:gd name="connsiteY5817" fmla="*/ 3613514 h 4565177"/>
              <a:gd name="connsiteX5818" fmla="*/ 1864090 w 12243467"/>
              <a:gd name="connsiteY5818" fmla="*/ 3618470 h 4565177"/>
              <a:gd name="connsiteX5819" fmla="*/ 1871005 w 12243467"/>
              <a:gd name="connsiteY5819" fmla="*/ 3597026 h 4565177"/>
              <a:gd name="connsiteX5820" fmla="*/ 1906961 w 12243467"/>
              <a:gd name="connsiteY5820" fmla="*/ 3608760 h 4565177"/>
              <a:gd name="connsiteX5821" fmla="*/ 1989662 w 12243467"/>
              <a:gd name="connsiteY5821" fmla="*/ 3621404 h 4565177"/>
              <a:gd name="connsiteX5822" fmla="*/ 2027278 w 12243467"/>
              <a:gd name="connsiteY5822" fmla="*/ 3628484 h 4565177"/>
              <a:gd name="connsiteX5823" fmla="*/ 2089234 w 12243467"/>
              <a:gd name="connsiteY5823" fmla="*/ 3635059 h 4565177"/>
              <a:gd name="connsiteX5824" fmla="*/ 2089234 w 12243467"/>
              <a:gd name="connsiteY5824" fmla="*/ 3643657 h 4565177"/>
              <a:gd name="connsiteX5825" fmla="*/ 2130723 w 12243467"/>
              <a:gd name="connsiteY5825" fmla="*/ 3644264 h 4565177"/>
              <a:gd name="connsiteX5826" fmla="*/ 2175807 w 12243467"/>
              <a:gd name="connsiteY5826" fmla="*/ 3649828 h 4565177"/>
              <a:gd name="connsiteX5827" fmla="*/ 2325719 w 12243467"/>
              <a:gd name="connsiteY5827" fmla="*/ 3652255 h 4565177"/>
              <a:gd name="connsiteX5828" fmla="*/ 2335123 w 12243467"/>
              <a:gd name="connsiteY5828" fmla="*/ 3660550 h 4565177"/>
              <a:gd name="connsiteX5829" fmla="*/ 2332910 w 12243467"/>
              <a:gd name="connsiteY5829" fmla="*/ 3650839 h 4565177"/>
              <a:gd name="connsiteX5830" fmla="*/ 2473694 w 12243467"/>
              <a:gd name="connsiteY5830" fmla="*/ 3656605 h 4565177"/>
              <a:gd name="connsiteX5831" fmla="*/ 2462631 w 12243467"/>
              <a:gd name="connsiteY5831" fmla="*/ 3664393 h 4565177"/>
              <a:gd name="connsiteX5832" fmla="*/ 2507438 w 12243467"/>
              <a:gd name="connsiteY5832" fmla="*/ 3655796 h 4565177"/>
              <a:gd name="connsiteX5833" fmla="*/ 2541182 w 12243467"/>
              <a:gd name="connsiteY5833" fmla="*/ 3657819 h 4565177"/>
              <a:gd name="connsiteX5834" fmla="*/ 2532055 w 12243467"/>
              <a:gd name="connsiteY5834" fmla="*/ 3663989 h 4565177"/>
              <a:gd name="connsiteX5835" fmla="*/ 2559990 w 12243467"/>
              <a:gd name="connsiteY5835" fmla="*/ 3665607 h 4565177"/>
              <a:gd name="connsiteX5836" fmla="*/ 2554182 w 12243467"/>
              <a:gd name="connsiteY5836" fmla="*/ 3656605 h 4565177"/>
              <a:gd name="connsiteX5837" fmla="*/ 2589862 w 12243467"/>
              <a:gd name="connsiteY5837" fmla="*/ 3656908 h 4565177"/>
              <a:gd name="connsiteX5838" fmla="*/ 2571054 w 12243467"/>
              <a:gd name="connsiteY5838" fmla="*/ 3657717 h 4565177"/>
              <a:gd name="connsiteX5839" fmla="*/ 2571330 w 12243467"/>
              <a:gd name="connsiteY5839" fmla="*/ 3666315 h 4565177"/>
              <a:gd name="connsiteX5840" fmla="*/ 2602862 w 12243467"/>
              <a:gd name="connsiteY5840" fmla="*/ 3652963 h 4565177"/>
              <a:gd name="connsiteX5841" fmla="*/ 2601202 w 12243467"/>
              <a:gd name="connsiteY5841" fmla="*/ 3663382 h 4565177"/>
              <a:gd name="connsiteX5842" fmla="*/ 2767433 w 12243467"/>
              <a:gd name="connsiteY5842" fmla="*/ 3643961 h 4565177"/>
              <a:gd name="connsiteX5843" fmla="*/ 2777113 w 12243467"/>
              <a:gd name="connsiteY5843" fmla="*/ 3654986 h 4565177"/>
              <a:gd name="connsiteX5844" fmla="*/ 2810304 w 12243467"/>
              <a:gd name="connsiteY5844" fmla="*/ 3636981 h 4565177"/>
              <a:gd name="connsiteX5845" fmla="*/ 2903792 w 12243467"/>
              <a:gd name="connsiteY5845" fmla="*/ 3621808 h 4565177"/>
              <a:gd name="connsiteX5846" fmla="*/ 3181764 w 12243467"/>
              <a:gd name="connsiteY5846" fmla="*/ 3574975 h 4565177"/>
              <a:gd name="connsiteX5847" fmla="*/ 3362101 w 12243467"/>
              <a:gd name="connsiteY5847" fmla="*/ 3521162 h 4565177"/>
              <a:gd name="connsiteX5848" fmla="*/ 3388377 w 12243467"/>
              <a:gd name="connsiteY5848" fmla="*/ 3521769 h 4565177"/>
              <a:gd name="connsiteX5849" fmla="*/ 3386164 w 12243467"/>
              <a:gd name="connsiteY5849" fmla="*/ 3512058 h 4565177"/>
              <a:gd name="connsiteX5850" fmla="*/ 3434844 w 12243467"/>
              <a:gd name="connsiteY5850" fmla="*/ 3502651 h 4565177"/>
              <a:gd name="connsiteX5851" fmla="*/ 3437334 w 12243467"/>
              <a:gd name="connsiteY5851" fmla="*/ 3496405 h 4565177"/>
              <a:gd name="connsiteX5852" fmla="*/ 3438797 w 12243467"/>
              <a:gd name="connsiteY5852" fmla="*/ 3495116 h 4565177"/>
              <a:gd name="connsiteX5853" fmla="*/ 3398461 w 12243467"/>
              <a:gd name="connsiteY5853" fmla="*/ 3493308 h 4565177"/>
              <a:gd name="connsiteX5854" fmla="*/ 3360215 w 12243467"/>
              <a:gd name="connsiteY5854" fmla="*/ 3487906 h 4565177"/>
              <a:gd name="connsiteX5855" fmla="*/ 3335272 w 12243467"/>
              <a:gd name="connsiteY5855" fmla="*/ 3497593 h 4565177"/>
              <a:gd name="connsiteX5856" fmla="*/ 3288805 w 12243467"/>
              <a:gd name="connsiteY5856" fmla="*/ 3513778 h 4565177"/>
              <a:gd name="connsiteX5857" fmla="*/ 3242338 w 12243467"/>
              <a:gd name="connsiteY5857" fmla="*/ 3527130 h 4565177"/>
              <a:gd name="connsiteX5858" fmla="*/ 3066980 w 12243467"/>
              <a:gd name="connsiteY5858" fmla="*/ 3561218 h 4565177"/>
              <a:gd name="connsiteX5859" fmla="*/ 3063661 w 12243467"/>
              <a:gd name="connsiteY5859" fmla="*/ 3570524 h 4565177"/>
              <a:gd name="connsiteX5860" fmla="*/ 3039321 w 12243467"/>
              <a:gd name="connsiteY5860" fmla="*/ 3570929 h 4565177"/>
              <a:gd name="connsiteX5861" fmla="*/ 2875026 w 12243467"/>
              <a:gd name="connsiteY5861" fmla="*/ 3597228 h 4565177"/>
              <a:gd name="connsiteX5862" fmla="*/ 2867558 w 12243467"/>
              <a:gd name="connsiteY5862" fmla="*/ 3595711 h 4565177"/>
              <a:gd name="connsiteX5863" fmla="*/ 2858431 w 12243467"/>
              <a:gd name="connsiteY5863" fmla="*/ 3601881 h 4565177"/>
              <a:gd name="connsiteX5864" fmla="*/ 2819155 w 12243467"/>
              <a:gd name="connsiteY5864" fmla="*/ 3605118 h 4565177"/>
              <a:gd name="connsiteX5865" fmla="*/ 2701051 w 12243467"/>
              <a:gd name="connsiteY5865" fmla="*/ 3609468 h 4565177"/>
              <a:gd name="connsiteX5866" fmla="*/ 2686115 w 12243467"/>
              <a:gd name="connsiteY5866" fmla="*/ 3615233 h 4565177"/>
              <a:gd name="connsiteX5867" fmla="*/ 2669243 w 12243467"/>
              <a:gd name="connsiteY5867" fmla="*/ 3608456 h 4565177"/>
              <a:gd name="connsiteX5868" fmla="*/ 2631904 w 12243467"/>
              <a:gd name="connsiteY5868" fmla="*/ 3609973 h 4565177"/>
              <a:gd name="connsiteX5869" fmla="*/ 2633287 w 12243467"/>
              <a:gd name="connsiteY5869" fmla="*/ 3596824 h 4565177"/>
              <a:gd name="connsiteX5870" fmla="*/ 2624436 w 12243467"/>
              <a:gd name="connsiteY5870" fmla="*/ 3611491 h 4565177"/>
              <a:gd name="connsiteX5871" fmla="*/ 2605351 w 12243467"/>
              <a:gd name="connsiteY5871" fmla="*/ 3600769 h 4565177"/>
              <a:gd name="connsiteX5872" fmla="*/ 2566075 w 12243467"/>
              <a:gd name="connsiteY5872" fmla="*/ 3607040 h 4565177"/>
              <a:gd name="connsiteX5873" fmla="*/ 2543671 w 12243467"/>
              <a:gd name="connsiteY5873" fmla="*/ 3611288 h 4565177"/>
              <a:gd name="connsiteX5874" fmla="*/ 2542012 w 12243467"/>
              <a:gd name="connsiteY5874" fmla="*/ 3618875 h 4565177"/>
              <a:gd name="connsiteX5875" fmla="*/ 2523480 w 12243467"/>
              <a:gd name="connsiteY5875" fmla="*/ 3622415 h 4565177"/>
              <a:gd name="connsiteX5876" fmla="*/ 2491672 w 12243467"/>
              <a:gd name="connsiteY5876" fmla="*/ 3621505 h 4565177"/>
              <a:gd name="connsiteX5877" fmla="*/ 2489460 w 12243467"/>
              <a:gd name="connsiteY5877" fmla="*/ 3611794 h 4565177"/>
              <a:gd name="connsiteX5878" fmla="*/ 2463460 w 12243467"/>
              <a:gd name="connsiteY5878" fmla="*/ 3622618 h 4565177"/>
              <a:gd name="connsiteX5879" fmla="*/ 2446588 w 12243467"/>
              <a:gd name="connsiteY5879" fmla="*/ 3618774 h 4565177"/>
              <a:gd name="connsiteX5880" fmla="*/ 2343420 w 12243467"/>
              <a:gd name="connsiteY5880" fmla="*/ 3614424 h 4565177"/>
              <a:gd name="connsiteX5881" fmla="*/ 2326825 w 12243467"/>
              <a:gd name="connsiteY5881" fmla="*/ 3619077 h 4565177"/>
              <a:gd name="connsiteX5882" fmla="*/ 2221444 w 12243467"/>
              <a:gd name="connsiteY5882" fmla="*/ 3602185 h 4565177"/>
              <a:gd name="connsiteX5883" fmla="*/ 2206508 w 12243467"/>
              <a:gd name="connsiteY5883" fmla="*/ 3607849 h 4565177"/>
              <a:gd name="connsiteX5884" fmla="*/ 2196828 w 12243467"/>
              <a:gd name="connsiteY5884" fmla="*/ 3591159 h 4565177"/>
              <a:gd name="connsiteX5885" fmla="*/ 2153680 w 12243467"/>
              <a:gd name="connsiteY5885" fmla="*/ 3589541 h 4565177"/>
              <a:gd name="connsiteX5886" fmla="*/ 2123808 w 12243467"/>
              <a:gd name="connsiteY5886" fmla="*/ 3598139 h 4565177"/>
              <a:gd name="connsiteX5887" fmla="*/ 2117999 w 12243467"/>
              <a:gd name="connsiteY5887" fmla="*/ 3589237 h 4565177"/>
              <a:gd name="connsiteX5888" fmla="*/ 2078447 w 12243467"/>
              <a:gd name="connsiteY5888" fmla="*/ 3578212 h 4565177"/>
              <a:gd name="connsiteX5889" fmla="*/ 2035576 w 12243467"/>
              <a:gd name="connsiteY5889" fmla="*/ 3582258 h 4565177"/>
              <a:gd name="connsiteX5890" fmla="*/ 1884558 w 12243467"/>
              <a:gd name="connsiteY5890" fmla="*/ 3534008 h 4565177"/>
              <a:gd name="connsiteX5891" fmla="*/ 1869622 w 12243467"/>
              <a:gd name="connsiteY5891" fmla="*/ 3534008 h 4565177"/>
              <a:gd name="connsiteX5892" fmla="*/ 1955641 w 12243467"/>
              <a:gd name="connsiteY5892" fmla="*/ 3534514 h 4565177"/>
              <a:gd name="connsiteX5893" fmla="*/ 1968364 w 12243467"/>
              <a:gd name="connsiteY5893" fmla="*/ 3519139 h 4565177"/>
              <a:gd name="connsiteX5894" fmla="*/ 1887600 w 12243467"/>
              <a:gd name="connsiteY5894" fmla="*/ 3501842 h 4565177"/>
              <a:gd name="connsiteX5895" fmla="*/ 1868239 w 12243467"/>
              <a:gd name="connsiteY5895" fmla="*/ 3482521 h 4565177"/>
              <a:gd name="connsiteX5896" fmla="*/ 1958684 w 12243467"/>
              <a:gd name="connsiteY5896" fmla="*/ 3505281 h 4565177"/>
              <a:gd name="connsiteX5897" fmla="*/ 1977215 w 12243467"/>
              <a:gd name="connsiteY5897" fmla="*/ 3493041 h 4565177"/>
              <a:gd name="connsiteX5898" fmla="*/ 1967811 w 12243467"/>
              <a:gd name="connsiteY5898" fmla="*/ 3487680 h 4565177"/>
              <a:gd name="connsiteX5899" fmla="*/ 1976939 w 12243467"/>
              <a:gd name="connsiteY5899" fmla="*/ 3484443 h 4565177"/>
              <a:gd name="connsiteX5900" fmla="*/ 1976662 w 12243467"/>
              <a:gd name="connsiteY5900" fmla="*/ 3475845 h 4565177"/>
              <a:gd name="connsiteX5901" fmla="*/ 1944854 w 12243467"/>
              <a:gd name="connsiteY5901" fmla="*/ 3474834 h 4565177"/>
              <a:gd name="connsiteX5902" fmla="*/ 1963386 w 12243467"/>
              <a:gd name="connsiteY5902" fmla="*/ 3459762 h 4565177"/>
              <a:gd name="connsiteX5903" fmla="*/ 1958960 w 12243467"/>
              <a:gd name="connsiteY5903" fmla="*/ 3440442 h 4565177"/>
              <a:gd name="connsiteX5904" fmla="*/ 1970577 w 12243467"/>
              <a:gd name="connsiteY5904" fmla="*/ 3446916 h 4565177"/>
              <a:gd name="connsiteX5905" fmla="*/ 1968917 w 12243467"/>
              <a:gd name="connsiteY5905" fmla="*/ 3460066 h 4565177"/>
              <a:gd name="connsiteX5906" fmla="*/ 1974449 w 12243467"/>
              <a:gd name="connsiteY5906" fmla="*/ 3454705 h 4565177"/>
              <a:gd name="connsiteX5907" fmla="*/ 1984130 w 12243467"/>
              <a:gd name="connsiteY5907" fmla="*/ 3465831 h 4565177"/>
              <a:gd name="connsiteX5908" fmla="*/ 1987449 w 12243467"/>
              <a:gd name="connsiteY5908" fmla="*/ 3453693 h 4565177"/>
              <a:gd name="connsiteX5909" fmla="*/ 2015385 w 12243467"/>
              <a:gd name="connsiteY5909" fmla="*/ 3443881 h 4565177"/>
              <a:gd name="connsiteX5910" fmla="*/ 2027001 w 12243467"/>
              <a:gd name="connsiteY5910" fmla="*/ 3461785 h 4565177"/>
              <a:gd name="connsiteX5911" fmla="*/ 2081766 w 12243467"/>
              <a:gd name="connsiteY5911" fmla="*/ 3475542 h 4565177"/>
              <a:gd name="connsiteX5912" fmla="*/ 2100298 w 12243467"/>
              <a:gd name="connsiteY5912" fmla="*/ 3472002 h 4565177"/>
              <a:gd name="connsiteX5913" fmla="*/ 2089234 w 12243467"/>
              <a:gd name="connsiteY5913" fmla="*/ 3476958 h 4565177"/>
              <a:gd name="connsiteX5914" fmla="*/ 2113851 w 12243467"/>
              <a:gd name="connsiteY5914" fmla="*/ 3485151 h 4565177"/>
              <a:gd name="connsiteX5915" fmla="*/ 2122701 w 12243467"/>
              <a:gd name="connsiteY5915" fmla="*/ 3470484 h 4565177"/>
              <a:gd name="connsiteX5916" fmla="*/ 2132106 w 12243467"/>
              <a:gd name="connsiteY5916" fmla="*/ 3472912 h 4565177"/>
              <a:gd name="connsiteX5917" fmla="*/ 2121042 w 12243467"/>
              <a:gd name="connsiteY5917" fmla="*/ 3480802 h 4565177"/>
              <a:gd name="connsiteX5918" fmla="*/ 2128510 w 12243467"/>
              <a:gd name="connsiteY5918" fmla="*/ 3482218 h 4565177"/>
              <a:gd name="connsiteX5919" fmla="*/ 2132106 w 12243467"/>
              <a:gd name="connsiteY5919" fmla="*/ 3475845 h 4565177"/>
              <a:gd name="connsiteX5920" fmla="*/ 2197934 w 12243467"/>
              <a:gd name="connsiteY5920" fmla="*/ 3484544 h 4565177"/>
              <a:gd name="connsiteX5921" fmla="*/ 2218678 w 12243467"/>
              <a:gd name="connsiteY5921" fmla="*/ 3487680 h 4565177"/>
              <a:gd name="connsiteX5922" fmla="*/ 2222274 w 12243467"/>
              <a:gd name="connsiteY5922" fmla="*/ 3481308 h 4565177"/>
              <a:gd name="connsiteX5923" fmla="*/ 2274826 w 12243467"/>
              <a:gd name="connsiteY5923" fmla="*/ 3488287 h 4565177"/>
              <a:gd name="connsiteX5924" fmla="*/ 2275103 w 12243467"/>
              <a:gd name="connsiteY5924" fmla="*/ 3496784 h 4565177"/>
              <a:gd name="connsiteX5925" fmla="*/ 2359462 w 12243467"/>
              <a:gd name="connsiteY5925" fmla="*/ 3501943 h 4565177"/>
              <a:gd name="connsiteX5926" fmla="*/ 2364994 w 12243467"/>
              <a:gd name="connsiteY5926" fmla="*/ 3496582 h 4565177"/>
              <a:gd name="connsiteX5927" fmla="*/ 2366654 w 12243467"/>
              <a:gd name="connsiteY5927" fmla="*/ 3491929 h 4565177"/>
              <a:gd name="connsiteX5928" fmla="*/ 2351995 w 12243467"/>
              <a:gd name="connsiteY5928" fmla="*/ 3494862 h 4565177"/>
              <a:gd name="connsiteX5929" fmla="*/ 2346186 w 12243467"/>
              <a:gd name="connsiteY5929" fmla="*/ 3488894 h 4565177"/>
              <a:gd name="connsiteX5930" fmla="*/ 2409802 w 12243467"/>
              <a:gd name="connsiteY5930" fmla="*/ 3485050 h 4565177"/>
              <a:gd name="connsiteX5931" fmla="*/ 2409525 w 12243467"/>
              <a:gd name="connsiteY5931" fmla="*/ 3476553 h 4565177"/>
              <a:gd name="connsiteX5932" fmla="*/ 2474801 w 12243467"/>
              <a:gd name="connsiteY5932" fmla="*/ 3470990 h 4565177"/>
              <a:gd name="connsiteX5933" fmla="*/ 2472588 w 12243467"/>
              <a:gd name="connsiteY5933" fmla="*/ 3455514 h 4565177"/>
              <a:gd name="connsiteX5934" fmla="*/ 2423908 w 12243467"/>
              <a:gd name="connsiteY5934" fmla="*/ 3453592 h 4565177"/>
              <a:gd name="connsiteX5935" fmla="*/ 2388228 w 12243467"/>
              <a:gd name="connsiteY5935" fmla="*/ 3453288 h 4565177"/>
              <a:gd name="connsiteX5936" fmla="*/ 2328208 w 12243467"/>
              <a:gd name="connsiteY5936" fmla="*/ 3444893 h 4565177"/>
              <a:gd name="connsiteX5937" fmla="*/ 2265975 w 12243467"/>
              <a:gd name="connsiteY5937" fmla="*/ 3432552 h 4565177"/>
              <a:gd name="connsiteX5938" fmla="*/ 2251039 w 12243467"/>
              <a:gd name="connsiteY5938" fmla="*/ 3435384 h 4565177"/>
              <a:gd name="connsiteX5939" fmla="*/ 2245507 w 12243467"/>
              <a:gd name="connsiteY5939" fmla="*/ 3429416 h 4565177"/>
              <a:gd name="connsiteX5940" fmla="*/ 2192955 w 12243467"/>
              <a:gd name="connsiteY5940" fmla="*/ 3433766 h 4565177"/>
              <a:gd name="connsiteX5941" fmla="*/ 2046086 w 12243467"/>
              <a:gd name="connsiteY5941" fmla="*/ 3396238 h 4565177"/>
              <a:gd name="connsiteX5942" fmla="*/ 2023682 w 12243467"/>
              <a:gd name="connsiteY5942" fmla="*/ 3397756 h 4565177"/>
              <a:gd name="connsiteX5943" fmla="*/ 2014002 w 12243467"/>
              <a:gd name="connsiteY5943" fmla="*/ 3383797 h 4565177"/>
              <a:gd name="connsiteX5944" fmla="*/ 2105829 w 12243467"/>
              <a:gd name="connsiteY5944" fmla="*/ 3393204 h 4565177"/>
              <a:gd name="connsiteX5945" fmla="*/ 2101957 w 12243467"/>
              <a:gd name="connsiteY5945" fmla="*/ 3388349 h 4565177"/>
              <a:gd name="connsiteX5946" fmla="*/ 2166126 w 12243467"/>
              <a:gd name="connsiteY5946" fmla="*/ 3407466 h 4565177"/>
              <a:gd name="connsiteX5947" fmla="*/ 2241635 w 12243467"/>
              <a:gd name="connsiteY5947" fmla="*/ 3427292 h 4565177"/>
              <a:gd name="connsiteX5948" fmla="*/ 2275379 w 12243467"/>
              <a:gd name="connsiteY5948" fmla="*/ 3429315 h 4565177"/>
              <a:gd name="connsiteX5949" fmla="*/ 2273167 w 12243467"/>
              <a:gd name="connsiteY5949" fmla="*/ 3422538 h 4565177"/>
              <a:gd name="connsiteX5950" fmla="*/ 2445759 w 12243467"/>
              <a:gd name="connsiteY5950" fmla="*/ 3429214 h 4565177"/>
              <a:gd name="connsiteX5951" fmla="*/ 2428610 w 12243467"/>
              <a:gd name="connsiteY5951" fmla="*/ 3413839 h 4565177"/>
              <a:gd name="connsiteX5952" fmla="*/ 2374398 w 12243467"/>
              <a:gd name="connsiteY5952" fmla="*/ 3417278 h 4565177"/>
              <a:gd name="connsiteX5953" fmla="*/ 2310506 w 12243467"/>
              <a:gd name="connsiteY5953" fmla="*/ 3412423 h 4565177"/>
              <a:gd name="connsiteX5954" fmla="*/ 2267358 w 12243467"/>
              <a:gd name="connsiteY5954" fmla="*/ 3405039 h 4565177"/>
              <a:gd name="connsiteX5955" fmla="*/ 2175254 w 12243467"/>
              <a:gd name="connsiteY5955" fmla="*/ 3398363 h 4565177"/>
              <a:gd name="connsiteX5956" fmla="*/ 2084809 w 12243467"/>
              <a:gd name="connsiteY5956" fmla="*/ 3375806 h 4565177"/>
              <a:gd name="connsiteX5957" fmla="*/ 2347846 w 12243467"/>
              <a:gd name="connsiteY5957" fmla="*/ 3405140 h 4565177"/>
              <a:gd name="connsiteX5958" fmla="*/ 2415334 w 12243467"/>
              <a:gd name="connsiteY5958" fmla="*/ 3412119 h 4565177"/>
              <a:gd name="connsiteX5959" fmla="*/ 2424738 w 12243467"/>
              <a:gd name="connsiteY5959" fmla="*/ 3408781 h 4565177"/>
              <a:gd name="connsiteX5960" fmla="*/ 2533714 w 12243467"/>
              <a:gd name="connsiteY5960" fmla="*/ 3419301 h 4565177"/>
              <a:gd name="connsiteX5961" fmla="*/ 2464290 w 12243467"/>
              <a:gd name="connsiteY5961" fmla="*/ 3422740 h 4565177"/>
              <a:gd name="connsiteX5962" fmla="*/ 2556118 w 12243467"/>
              <a:gd name="connsiteY5962" fmla="*/ 3423448 h 4565177"/>
              <a:gd name="connsiteX5963" fmla="*/ 2655414 w 12243467"/>
              <a:gd name="connsiteY5963" fmla="*/ 3422842 h 4565177"/>
              <a:gd name="connsiteX5964" fmla="*/ 2709625 w 12243467"/>
              <a:gd name="connsiteY5964" fmla="*/ 3419503 h 4565177"/>
              <a:gd name="connsiteX5965" fmla="*/ 2803113 w 12243467"/>
              <a:gd name="connsiteY5965" fmla="*/ 3409995 h 4565177"/>
              <a:gd name="connsiteX5966" fmla="*/ 2896600 w 12243467"/>
              <a:gd name="connsiteY5966" fmla="*/ 3400487 h 4565177"/>
              <a:gd name="connsiteX5967" fmla="*/ 2868388 w 12243467"/>
              <a:gd name="connsiteY5967" fmla="*/ 3395834 h 4565177"/>
              <a:gd name="connsiteX5968" fmla="*/ 2611989 w 12243467"/>
              <a:gd name="connsiteY5968" fmla="*/ 3412625 h 4565177"/>
              <a:gd name="connsiteX5969" fmla="*/ 2774624 w 12243467"/>
              <a:gd name="connsiteY5969" fmla="*/ 3396845 h 4565177"/>
              <a:gd name="connsiteX5970" fmla="*/ 2772688 w 12243467"/>
              <a:gd name="connsiteY5970" fmla="*/ 3390068 h 4565177"/>
              <a:gd name="connsiteX5971" fmla="*/ 2823304 w 12243467"/>
              <a:gd name="connsiteY5971" fmla="*/ 3390270 h 4565177"/>
              <a:gd name="connsiteX5972" fmla="*/ 2830495 w 12243467"/>
              <a:gd name="connsiteY5972" fmla="*/ 3383089 h 4565177"/>
              <a:gd name="connsiteX5973" fmla="*/ 2716264 w 12243467"/>
              <a:gd name="connsiteY5973" fmla="*/ 3378031 h 4565177"/>
              <a:gd name="connsiteX5974" fmla="*/ 2720136 w 12243467"/>
              <a:gd name="connsiteY5974" fmla="*/ 3388753 h 4565177"/>
              <a:gd name="connsiteX5975" fmla="*/ 2705477 w 12243467"/>
              <a:gd name="connsiteY5975" fmla="*/ 3397351 h 4565177"/>
              <a:gd name="connsiteX5976" fmla="*/ 2667860 w 12243467"/>
              <a:gd name="connsiteY5976" fmla="*/ 3393204 h 4565177"/>
              <a:gd name="connsiteX5977" fmla="*/ 2676988 w 12243467"/>
              <a:gd name="connsiteY5977" fmla="*/ 3384201 h 4565177"/>
              <a:gd name="connsiteX5978" fmla="*/ 2557224 w 12243467"/>
              <a:gd name="connsiteY5978" fmla="*/ 3381672 h 4565177"/>
              <a:gd name="connsiteX5979" fmla="*/ 2570224 w 12243467"/>
              <a:gd name="connsiteY5979" fmla="*/ 3386224 h 4565177"/>
              <a:gd name="connsiteX5980" fmla="*/ 2545884 w 12243467"/>
              <a:gd name="connsiteY5980" fmla="*/ 3383797 h 4565177"/>
              <a:gd name="connsiteX5981" fmla="*/ 2553352 w 12243467"/>
              <a:gd name="connsiteY5981" fmla="*/ 3382381 h 4565177"/>
              <a:gd name="connsiteX5982" fmla="*/ 2493332 w 12243467"/>
              <a:gd name="connsiteY5982" fmla="*/ 3376817 h 4565177"/>
              <a:gd name="connsiteX5983" fmla="*/ 2497204 w 12243467"/>
              <a:gd name="connsiteY5983" fmla="*/ 3387539 h 4565177"/>
              <a:gd name="connsiteX5984" fmla="*/ 2347016 w 12243467"/>
              <a:gd name="connsiteY5984" fmla="*/ 3367916 h 4565177"/>
              <a:gd name="connsiteX5985" fmla="*/ 2341208 w 12243467"/>
              <a:gd name="connsiteY5985" fmla="*/ 3356182 h 4565177"/>
              <a:gd name="connsiteX5986" fmla="*/ 2320463 w 12243467"/>
              <a:gd name="connsiteY5986" fmla="*/ 3352945 h 4565177"/>
              <a:gd name="connsiteX5987" fmla="*/ 2290592 w 12243467"/>
              <a:gd name="connsiteY5987" fmla="*/ 3361644 h 4565177"/>
              <a:gd name="connsiteX5988" fmla="*/ 2228082 w 12243467"/>
              <a:gd name="connsiteY5988" fmla="*/ 3332108 h 4565177"/>
              <a:gd name="connsiteX5989" fmla="*/ 2248550 w 12243467"/>
              <a:gd name="connsiteY5989" fmla="*/ 3329478 h 4565177"/>
              <a:gd name="connsiteX5990" fmla="*/ 2231401 w 12243467"/>
              <a:gd name="connsiteY5990" fmla="*/ 3317036 h 4565177"/>
              <a:gd name="connsiteX5991" fmla="*/ 2227806 w 12243467"/>
              <a:gd name="connsiteY5991" fmla="*/ 3323510 h 4565177"/>
              <a:gd name="connsiteX5992" fmla="*/ 2022576 w 12243467"/>
              <a:gd name="connsiteY5992" fmla="*/ 3272934 h 4565177"/>
              <a:gd name="connsiteX5993" fmla="*/ 2171105 w 12243467"/>
              <a:gd name="connsiteY5993" fmla="*/ 3297210 h 4565177"/>
              <a:gd name="connsiteX5994" fmla="*/ 2274273 w 12243467"/>
              <a:gd name="connsiteY5994" fmla="*/ 3307325 h 4565177"/>
              <a:gd name="connsiteX5995" fmla="*/ 2232784 w 12243467"/>
              <a:gd name="connsiteY5995" fmla="*/ 3298121 h 4565177"/>
              <a:gd name="connsiteX5996" fmla="*/ 2091723 w 12243467"/>
              <a:gd name="connsiteY5996" fmla="*/ 3272428 h 4565177"/>
              <a:gd name="connsiteX5997" fmla="*/ 2057979 w 12243467"/>
              <a:gd name="connsiteY5997" fmla="*/ 3261807 h 4565177"/>
              <a:gd name="connsiteX5998" fmla="*/ 2038895 w 12243467"/>
              <a:gd name="connsiteY5998" fmla="*/ 3248151 h 4565177"/>
              <a:gd name="connsiteX5999" fmla="*/ 2142339 w 12243467"/>
              <a:gd name="connsiteY5999" fmla="*/ 3266966 h 4565177"/>
              <a:gd name="connsiteX6000" fmla="*/ 2166679 w 12243467"/>
              <a:gd name="connsiteY6000" fmla="*/ 3275058 h 4565177"/>
              <a:gd name="connsiteX6001" fmla="*/ 2162807 w 12243467"/>
              <a:gd name="connsiteY6001" fmla="*/ 3261503 h 4565177"/>
              <a:gd name="connsiteX6002" fmla="*/ 2145935 w 12243467"/>
              <a:gd name="connsiteY6002" fmla="*/ 3260391 h 4565177"/>
              <a:gd name="connsiteX6003" fmla="*/ 2136254 w 12243467"/>
              <a:gd name="connsiteY6003" fmla="*/ 3252299 h 4565177"/>
              <a:gd name="connsiteX6004" fmla="*/ 2153126 w 12243467"/>
              <a:gd name="connsiteY6004" fmla="*/ 3244712 h 4565177"/>
              <a:gd name="connsiteX6005" fmla="*/ 2145382 w 12243467"/>
              <a:gd name="connsiteY6005" fmla="*/ 3240464 h 4565177"/>
              <a:gd name="connsiteX6006" fmla="*/ 2132382 w 12243467"/>
              <a:gd name="connsiteY6006" fmla="*/ 3250174 h 4565177"/>
              <a:gd name="connsiteX6007" fmla="*/ 2117446 w 12243467"/>
              <a:gd name="connsiteY6007" fmla="*/ 3244409 h 4565177"/>
              <a:gd name="connsiteX6008" fmla="*/ 2092553 w 12243467"/>
              <a:gd name="connsiteY6008" fmla="*/ 3227719 h 4565177"/>
              <a:gd name="connsiteX6009" fmla="*/ 2104170 w 12243467"/>
              <a:gd name="connsiteY6009" fmla="*/ 3239857 h 4565177"/>
              <a:gd name="connsiteX6010" fmla="*/ 2095042 w 12243467"/>
              <a:gd name="connsiteY6010" fmla="*/ 3248758 h 4565177"/>
              <a:gd name="connsiteX6011" fmla="*/ 2055490 w 12243467"/>
              <a:gd name="connsiteY6011" fmla="*/ 3235002 h 4565177"/>
              <a:gd name="connsiteX6012" fmla="*/ 2040001 w 12243467"/>
              <a:gd name="connsiteY6012" fmla="*/ 3217806 h 4565177"/>
              <a:gd name="connsiteX6013" fmla="*/ 2047469 w 12243467"/>
              <a:gd name="connsiteY6013" fmla="*/ 3224987 h 4565177"/>
              <a:gd name="connsiteX6014" fmla="*/ 2021193 w 12243467"/>
              <a:gd name="connsiteY6014" fmla="*/ 3218514 h 4565177"/>
              <a:gd name="connsiteX6015" fmla="*/ 2002108 w 12243467"/>
              <a:gd name="connsiteY6015" fmla="*/ 3205060 h 4565177"/>
              <a:gd name="connsiteX6016" fmla="*/ 1990768 w 12243467"/>
              <a:gd name="connsiteY6016" fmla="*/ 3195856 h 4565177"/>
              <a:gd name="connsiteX6017" fmla="*/ 1879302 w 12243467"/>
              <a:gd name="connsiteY6017" fmla="*/ 3158530 h 4565177"/>
              <a:gd name="connsiteX6018" fmla="*/ 1875430 w 12243467"/>
              <a:gd name="connsiteY6018" fmla="*/ 3147808 h 4565177"/>
              <a:gd name="connsiteX6019" fmla="*/ 1858005 w 12243467"/>
              <a:gd name="connsiteY6019" fmla="*/ 3135265 h 4565177"/>
              <a:gd name="connsiteX6020" fmla="*/ 1833665 w 12243467"/>
              <a:gd name="connsiteY6020" fmla="*/ 3132838 h 4565177"/>
              <a:gd name="connsiteX6021" fmla="*/ 1819282 w 12243467"/>
              <a:gd name="connsiteY6021" fmla="*/ 3123329 h 4565177"/>
              <a:gd name="connsiteX6022" fmla="*/ 1807942 w 12243467"/>
              <a:gd name="connsiteY6022" fmla="*/ 3115945 h 4565177"/>
              <a:gd name="connsiteX6023" fmla="*/ 1802134 w 12243467"/>
              <a:gd name="connsiteY6023" fmla="*/ 3113922 h 4565177"/>
              <a:gd name="connsiteX6024" fmla="*/ 1792453 w 12243467"/>
              <a:gd name="connsiteY6024" fmla="*/ 3108763 h 4565177"/>
              <a:gd name="connsiteX6025" fmla="*/ 1789964 w 12243467"/>
              <a:gd name="connsiteY6025" fmla="*/ 3108966 h 4565177"/>
              <a:gd name="connsiteX6026" fmla="*/ 1782772 w 12243467"/>
              <a:gd name="connsiteY6026" fmla="*/ 3104211 h 4565177"/>
              <a:gd name="connsiteX6027" fmla="*/ 1783879 w 12243467"/>
              <a:gd name="connsiteY6027" fmla="*/ 3104211 h 4565177"/>
              <a:gd name="connsiteX6028" fmla="*/ 1771985 w 12243467"/>
              <a:gd name="connsiteY6028" fmla="*/ 3097940 h 4565177"/>
              <a:gd name="connsiteX6029" fmla="*/ 1699242 w 12243467"/>
              <a:gd name="connsiteY6029" fmla="*/ 3067898 h 4565177"/>
              <a:gd name="connsiteX6030" fmla="*/ 1546011 w 12243467"/>
              <a:gd name="connsiteY6030" fmla="*/ 3001643 h 4565177"/>
              <a:gd name="connsiteX6031" fmla="*/ 1541309 w 12243467"/>
              <a:gd name="connsiteY6031" fmla="*/ 3009229 h 4565177"/>
              <a:gd name="connsiteX6032" fmla="*/ 1521948 w 12243467"/>
              <a:gd name="connsiteY6032" fmla="*/ 2987987 h 4565177"/>
              <a:gd name="connsiteX6033" fmla="*/ 1471885 w 12243467"/>
              <a:gd name="connsiteY6033" fmla="*/ 2966341 h 4565177"/>
              <a:gd name="connsiteX6034" fmla="*/ 1472715 w 12243467"/>
              <a:gd name="connsiteY6034" fmla="*/ 2953798 h 4565177"/>
              <a:gd name="connsiteX6035" fmla="*/ 1446162 w 12243467"/>
              <a:gd name="connsiteY6035" fmla="*/ 2958249 h 4565177"/>
              <a:gd name="connsiteX6036" fmla="*/ 1435928 w 12243467"/>
              <a:gd name="connsiteY6036" fmla="*/ 2954000 h 4565177"/>
              <a:gd name="connsiteX6037" fmla="*/ 1423758 w 12243467"/>
              <a:gd name="connsiteY6037" fmla="*/ 2937411 h 4565177"/>
              <a:gd name="connsiteX6038" fmla="*/ 1418780 w 12243467"/>
              <a:gd name="connsiteY6038" fmla="*/ 2943278 h 4565177"/>
              <a:gd name="connsiteX6039" fmla="*/ 1412695 w 12243467"/>
              <a:gd name="connsiteY6039" fmla="*/ 2943885 h 4565177"/>
              <a:gd name="connsiteX6040" fmla="*/ 1362079 w 12243467"/>
              <a:gd name="connsiteY6040" fmla="*/ 2902716 h 4565177"/>
              <a:gd name="connsiteX6041" fmla="*/ 1353505 w 12243467"/>
              <a:gd name="connsiteY6041" fmla="*/ 2905447 h 4565177"/>
              <a:gd name="connsiteX6042" fmla="*/ 1290995 w 12243467"/>
              <a:gd name="connsiteY6042" fmla="*/ 2865391 h 4565177"/>
              <a:gd name="connsiteX6043" fmla="*/ 1159338 w 12243467"/>
              <a:gd name="connsiteY6043" fmla="*/ 2766464 h 4565177"/>
              <a:gd name="connsiteX6044" fmla="*/ 1144956 w 12243467"/>
              <a:gd name="connsiteY6044" fmla="*/ 2771521 h 4565177"/>
              <a:gd name="connsiteX6045" fmla="*/ 1144956 w 12243467"/>
              <a:gd name="connsiteY6045" fmla="*/ 2755539 h 4565177"/>
              <a:gd name="connsiteX6046" fmla="*/ 1102637 w 12243467"/>
              <a:gd name="connsiteY6046" fmla="*/ 2726003 h 4565177"/>
              <a:gd name="connsiteX6047" fmla="*/ 1097935 w 12243467"/>
              <a:gd name="connsiteY6047" fmla="*/ 2717506 h 4565177"/>
              <a:gd name="connsiteX6048" fmla="*/ 1086042 w 12243467"/>
              <a:gd name="connsiteY6048" fmla="*/ 2718821 h 4565177"/>
              <a:gd name="connsiteX6049" fmla="*/ 1094340 w 12243467"/>
              <a:gd name="connsiteY6049" fmla="*/ 2730352 h 4565177"/>
              <a:gd name="connsiteX6050" fmla="*/ 1076362 w 12243467"/>
              <a:gd name="connsiteY6050" fmla="*/ 2716191 h 4565177"/>
              <a:gd name="connsiteX6051" fmla="*/ 1087702 w 12243467"/>
              <a:gd name="connsiteY6051" fmla="*/ 2711437 h 4565177"/>
              <a:gd name="connsiteX6052" fmla="*/ 1072766 w 12243467"/>
              <a:gd name="connsiteY6052" fmla="*/ 2696871 h 4565177"/>
              <a:gd name="connsiteX6053" fmla="*/ 1068341 w 12243467"/>
              <a:gd name="connsiteY6053" fmla="*/ 2706278 h 4565177"/>
              <a:gd name="connsiteX6054" fmla="*/ 1066404 w 12243467"/>
              <a:gd name="connsiteY6054" fmla="*/ 2695758 h 4565177"/>
              <a:gd name="connsiteX6055" fmla="*/ 1023256 w 12243467"/>
              <a:gd name="connsiteY6055" fmla="*/ 2660962 h 4565177"/>
              <a:gd name="connsiteX6056" fmla="*/ 1003342 w 12243467"/>
              <a:gd name="connsiteY6056" fmla="*/ 2636179 h 4565177"/>
              <a:gd name="connsiteX6057" fmla="*/ 971810 w 12243467"/>
              <a:gd name="connsiteY6057" fmla="*/ 2598348 h 4565177"/>
              <a:gd name="connsiteX6058" fmla="*/ 930599 w 12243467"/>
              <a:gd name="connsiteY6058" fmla="*/ 2574072 h 4565177"/>
              <a:gd name="connsiteX6059" fmla="*/ 893535 w 12243467"/>
              <a:gd name="connsiteY6059" fmla="*/ 2506603 h 4565177"/>
              <a:gd name="connsiteX6060" fmla="*/ 877493 w 12243467"/>
              <a:gd name="connsiteY6060" fmla="*/ 2502759 h 4565177"/>
              <a:gd name="connsiteX6061" fmla="*/ 826047 w 12243467"/>
              <a:gd name="connsiteY6061" fmla="*/ 2424164 h 4565177"/>
              <a:gd name="connsiteX6062" fmla="*/ 843749 w 12243467"/>
              <a:gd name="connsiteY6062" fmla="*/ 2420623 h 4565177"/>
              <a:gd name="connsiteX6063" fmla="*/ 824111 w 12243467"/>
              <a:gd name="connsiteY6063" fmla="*/ 2413745 h 4565177"/>
              <a:gd name="connsiteX6064" fmla="*/ 816471 w 12243467"/>
              <a:gd name="connsiteY6064" fmla="*/ 2397953 h 4565177"/>
              <a:gd name="connsiteX6065" fmla="*/ 810112 w 12243467"/>
              <a:gd name="connsiteY6065" fmla="*/ 2386050 h 4565177"/>
              <a:gd name="connsiteX6066" fmla="*/ 772572 w 12243467"/>
              <a:gd name="connsiteY6066" fmla="*/ 2392887 h 4565177"/>
              <a:gd name="connsiteX6067" fmla="*/ 600589 w 12243467"/>
              <a:gd name="connsiteY6067" fmla="*/ 2438074 h 4565177"/>
              <a:gd name="connsiteX6068" fmla="*/ 168938 w 12243467"/>
              <a:gd name="connsiteY6068" fmla="*/ 2460681 h 4565177"/>
              <a:gd name="connsiteX6069" fmla="*/ 25739 w 12243467"/>
              <a:gd name="connsiteY6069" fmla="*/ 2359627 h 4565177"/>
              <a:gd name="connsiteX6070" fmla="*/ 372208 w 12243467"/>
              <a:gd name="connsiteY6070" fmla="*/ 2258384 h 4565177"/>
              <a:gd name="connsiteX6071" fmla="*/ 0 w 12243467"/>
              <a:gd name="connsiteY6071" fmla="*/ 2199462 h 4565177"/>
              <a:gd name="connsiteX6072" fmla="*/ 12624 w 12243467"/>
              <a:gd name="connsiteY6072" fmla="*/ 2165152 h 4565177"/>
              <a:gd name="connsiteX6073" fmla="*/ 942001 w 12243467"/>
              <a:gd name="connsiteY6073" fmla="*/ 1910341 h 4565177"/>
              <a:gd name="connsiteX6074" fmla="*/ 1079916 w 12243467"/>
              <a:gd name="connsiteY6074" fmla="*/ 1865665 h 4565177"/>
              <a:gd name="connsiteX6075" fmla="*/ 1195539 w 12243467"/>
              <a:gd name="connsiteY6075" fmla="*/ 1851562 h 4565177"/>
              <a:gd name="connsiteX6076" fmla="*/ 1305878 w 12243467"/>
              <a:gd name="connsiteY6076" fmla="*/ 1825470 h 4565177"/>
              <a:gd name="connsiteX6077" fmla="*/ 1306080 w 12243467"/>
              <a:gd name="connsiteY6077" fmla="*/ 1806241 h 4565177"/>
              <a:gd name="connsiteX6078" fmla="*/ 1310921 w 12243467"/>
              <a:gd name="connsiteY6078" fmla="*/ 1740327 h 4565177"/>
              <a:gd name="connsiteX6079" fmla="*/ 1299581 w 12243467"/>
              <a:gd name="connsiteY6079" fmla="*/ 1740833 h 4565177"/>
              <a:gd name="connsiteX6080" fmla="*/ 1315623 w 12243467"/>
              <a:gd name="connsiteY6080" fmla="*/ 1718175 h 4565177"/>
              <a:gd name="connsiteX6081" fmla="*/ 1317559 w 12243467"/>
              <a:gd name="connsiteY6081" fmla="*/ 1675286 h 4565177"/>
              <a:gd name="connsiteX6082" fmla="*/ 1332772 w 12243467"/>
              <a:gd name="connsiteY6082" fmla="*/ 1669824 h 4565177"/>
              <a:gd name="connsiteX6083" fmla="*/ 1314793 w 12243467"/>
              <a:gd name="connsiteY6083" fmla="*/ 1654449 h 4565177"/>
              <a:gd name="connsiteX6084" fmla="*/ 1315070 w 12243467"/>
              <a:gd name="connsiteY6084" fmla="*/ 1645952 h 4565177"/>
              <a:gd name="connsiteX6085" fmla="*/ 1328899 w 12243467"/>
              <a:gd name="connsiteY6085" fmla="*/ 1629970 h 4565177"/>
              <a:gd name="connsiteX6086" fmla="*/ 1319495 w 12243467"/>
              <a:gd name="connsiteY6086" fmla="*/ 1629464 h 4565177"/>
              <a:gd name="connsiteX6087" fmla="*/ 1315900 w 12243467"/>
              <a:gd name="connsiteY6087" fmla="*/ 1625924 h 4565177"/>
              <a:gd name="connsiteX6088" fmla="*/ 1340793 w 12243467"/>
              <a:gd name="connsiteY6088" fmla="*/ 1573324 h 4565177"/>
              <a:gd name="connsiteX6089" fmla="*/ 1333325 w 12243467"/>
              <a:gd name="connsiteY6089" fmla="*/ 1568874 h 4565177"/>
              <a:gd name="connsiteX6090" fmla="*/ 1351027 w 12243467"/>
              <a:gd name="connsiteY6090" fmla="*/ 1508991 h 4565177"/>
              <a:gd name="connsiteX6091" fmla="*/ 1405514 w 12243467"/>
              <a:gd name="connsiteY6091" fmla="*/ 1375976 h 4565177"/>
              <a:gd name="connsiteX6092" fmla="*/ 1392515 w 12243467"/>
              <a:gd name="connsiteY6092" fmla="*/ 1368996 h 4565177"/>
              <a:gd name="connsiteX6093" fmla="*/ 1411600 w 12243467"/>
              <a:gd name="connsiteY6093" fmla="*/ 1361410 h 4565177"/>
              <a:gd name="connsiteX6094" fmla="*/ 1426536 w 12243467"/>
              <a:gd name="connsiteY6094" fmla="*/ 1319735 h 4565177"/>
              <a:gd name="connsiteX6095" fmla="*/ 1434279 w 12243467"/>
              <a:gd name="connsiteY6095" fmla="*/ 1312756 h 4565177"/>
              <a:gd name="connsiteX6096" fmla="*/ 1427089 w 12243467"/>
              <a:gd name="connsiteY6096" fmla="*/ 1305473 h 4565177"/>
              <a:gd name="connsiteX6097" fmla="*/ 1417408 w 12243467"/>
              <a:gd name="connsiteY6097" fmla="*/ 1316498 h 4565177"/>
              <a:gd name="connsiteX6098" fmla="*/ 1425706 w 12243467"/>
              <a:gd name="connsiteY6098" fmla="*/ 1297987 h 4565177"/>
              <a:gd name="connsiteX6099" fmla="*/ 1436770 w 12243467"/>
              <a:gd name="connsiteY6099" fmla="*/ 1303146 h 4565177"/>
              <a:gd name="connsiteX6100" fmla="*/ 1446727 w 12243467"/>
              <a:gd name="connsiteY6100" fmla="*/ 1286456 h 4565177"/>
              <a:gd name="connsiteX6101" fmla="*/ 1433727 w 12243467"/>
              <a:gd name="connsiteY6101" fmla="*/ 1288075 h 4565177"/>
              <a:gd name="connsiteX6102" fmla="*/ 1445067 w 12243467"/>
              <a:gd name="connsiteY6102" fmla="*/ 1281803 h 4565177"/>
              <a:gd name="connsiteX6103" fmla="*/ 1465812 w 12243467"/>
              <a:gd name="connsiteY6103" fmla="*/ 1236993 h 4565177"/>
              <a:gd name="connsiteX6104" fmla="*/ 1485449 w 12243467"/>
              <a:gd name="connsiteY6104" fmla="*/ 1212210 h 4565177"/>
              <a:gd name="connsiteX6105" fmla="*/ 1515321 w 12243467"/>
              <a:gd name="connsiteY6105" fmla="*/ 1173671 h 4565177"/>
              <a:gd name="connsiteX6106" fmla="*/ 1524448 w 12243467"/>
              <a:gd name="connsiteY6106" fmla="*/ 1135031 h 4565177"/>
              <a:gd name="connsiteX6107" fmla="*/ 1586958 w 12243467"/>
              <a:gd name="connsiteY6107" fmla="*/ 1078689 h 4565177"/>
              <a:gd name="connsiteX6108" fmla="*/ 1583639 w 12243467"/>
              <a:gd name="connsiteY6108" fmla="*/ 1066450 h 4565177"/>
              <a:gd name="connsiteX6109" fmla="*/ 1652233 w 12243467"/>
              <a:gd name="connsiteY6109" fmla="*/ 995542 h 4565177"/>
              <a:gd name="connsiteX6110" fmla="*/ 1664956 w 12243467"/>
              <a:gd name="connsiteY6110" fmla="*/ 1005354 h 4565177"/>
              <a:gd name="connsiteX6111" fmla="*/ 1663850 w 12243467"/>
              <a:gd name="connsiteY6111" fmla="*/ 989270 h 4565177"/>
              <a:gd name="connsiteX6112" fmla="*/ 1690956 w 12243467"/>
              <a:gd name="connsiteY6112" fmla="*/ 966005 h 4565177"/>
              <a:gd name="connsiteX6113" fmla="*/ 1695934 w 12243467"/>
              <a:gd name="connsiteY6113" fmla="*/ 985730 h 4565177"/>
              <a:gd name="connsiteX6114" fmla="*/ 1684041 w 12243467"/>
              <a:gd name="connsiteY6114" fmla="*/ 997767 h 4565177"/>
              <a:gd name="connsiteX6115" fmla="*/ 1709764 w 12243467"/>
              <a:gd name="connsiteY6115" fmla="*/ 1008894 h 4565177"/>
              <a:gd name="connsiteX6116" fmla="*/ 1684594 w 12243467"/>
              <a:gd name="connsiteY6116" fmla="*/ 1031046 h 4565177"/>
              <a:gd name="connsiteX6117" fmla="*/ 1644765 w 12243467"/>
              <a:gd name="connsiteY6117" fmla="*/ 1086275 h 4565177"/>
              <a:gd name="connsiteX6118" fmla="*/ 1624851 w 12243467"/>
              <a:gd name="connsiteY6118" fmla="*/ 1111058 h 4565177"/>
              <a:gd name="connsiteX6119" fmla="*/ 1598575 w 12243467"/>
              <a:gd name="connsiteY6119" fmla="*/ 1153238 h 4565177"/>
              <a:gd name="connsiteX6120" fmla="*/ 1587511 w 12243467"/>
              <a:gd name="connsiteY6120" fmla="*/ 1151013 h 4565177"/>
              <a:gd name="connsiteX6121" fmla="*/ 1575065 w 12243467"/>
              <a:gd name="connsiteY6121" fmla="*/ 1180145 h 4565177"/>
              <a:gd name="connsiteX6122" fmla="*/ 1554874 w 12243467"/>
              <a:gd name="connsiteY6122" fmla="*/ 1210693 h 4565177"/>
              <a:gd name="connsiteX6123" fmla="*/ 1509236 w 12243467"/>
              <a:gd name="connsiteY6123" fmla="*/ 1316600 h 4565177"/>
              <a:gd name="connsiteX6124" fmla="*/ 1495960 w 12243467"/>
              <a:gd name="connsiteY6124" fmla="*/ 1321050 h 4565177"/>
              <a:gd name="connsiteX6125" fmla="*/ 1508960 w 12243467"/>
              <a:gd name="connsiteY6125" fmla="*/ 1322264 h 4565177"/>
              <a:gd name="connsiteX6126" fmla="*/ 1461663 w 12243467"/>
              <a:gd name="connsiteY6126" fmla="*/ 1420786 h 4565177"/>
              <a:gd name="connsiteX6127" fmla="*/ 1454471 w 12243467"/>
              <a:gd name="connsiteY6127" fmla="*/ 1410671 h 4565177"/>
              <a:gd name="connsiteX6128" fmla="*/ 1453088 w 12243467"/>
              <a:gd name="connsiteY6128" fmla="*/ 1444962 h 4565177"/>
              <a:gd name="connsiteX6129" fmla="*/ 1440918 w 12243467"/>
              <a:gd name="connsiteY6129" fmla="*/ 1468429 h 4565177"/>
              <a:gd name="connsiteX6130" fmla="*/ 1435663 w 12243467"/>
              <a:gd name="connsiteY6130" fmla="*/ 1460135 h 4565177"/>
              <a:gd name="connsiteX6131" fmla="*/ 1425429 w 12243467"/>
              <a:gd name="connsiteY6131" fmla="*/ 1479657 h 4565177"/>
              <a:gd name="connsiteX6132" fmla="*/ 1438429 w 12243467"/>
              <a:gd name="connsiteY6132" fmla="*/ 1478039 h 4565177"/>
              <a:gd name="connsiteX6133" fmla="*/ 1427918 w 12243467"/>
              <a:gd name="connsiteY6133" fmla="*/ 1503327 h 4565177"/>
              <a:gd name="connsiteX6134" fmla="*/ 1432344 w 12243467"/>
              <a:gd name="connsiteY6134" fmla="*/ 1489772 h 4565177"/>
              <a:gd name="connsiteX6135" fmla="*/ 1421281 w 12243467"/>
              <a:gd name="connsiteY6135" fmla="*/ 1487446 h 4565177"/>
              <a:gd name="connsiteX6136" fmla="*/ 1429578 w 12243467"/>
              <a:gd name="connsiteY6136" fmla="*/ 1513644 h 4565177"/>
              <a:gd name="connsiteX6137" fmla="*/ 1416579 w 12243467"/>
              <a:gd name="connsiteY6137" fmla="*/ 1509598 h 4565177"/>
              <a:gd name="connsiteX6138" fmla="*/ 1394451 w 12243467"/>
              <a:gd name="connsiteY6138" fmla="*/ 1633409 h 4565177"/>
              <a:gd name="connsiteX6139" fmla="*/ 1377303 w 12243467"/>
              <a:gd name="connsiteY6139" fmla="*/ 1637050 h 4565177"/>
              <a:gd name="connsiteX6140" fmla="*/ 1391132 w 12243467"/>
              <a:gd name="connsiteY6140" fmla="*/ 1665980 h 4565177"/>
              <a:gd name="connsiteX6141" fmla="*/ 1384217 w 12243467"/>
              <a:gd name="connsiteY6141" fmla="*/ 1736685 h 4565177"/>
              <a:gd name="connsiteX6142" fmla="*/ 1372979 w 12243467"/>
              <a:gd name="connsiteY6142" fmla="*/ 1809603 h 4565177"/>
              <a:gd name="connsiteX6143" fmla="*/ 1420196 w 12243467"/>
              <a:gd name="connsiteY6143" fmla="*/ 1798437 h 4565177"/>
              <a:gd name="connsiteX6144" fmla="*/ 1422663 w 12243467"/>
              <a:gd name="connsiteY6144" fmla="*/ 1784784 h 4565177"/>
              <a:gd name="connsiteX6145" fmla="*/ 1424046 w 12243467"/>
              <a:gd name="connsiteY6145" fmla="*/ 1723232 h 4565177"/>
              <a:gd name="connsiteX6146" fmla="*/ 1428195 w 12243467"/>
              <a:gd name="connsiteY6146" fmla="*/ 1718276 h 4565177"/>
              <a:gd name="connsiteX6147" fmla="*/ 1422940 w 12243467"/>
              <a:gd name="connsiteY6147" fmla="*/ 1709981 h 4565177"/>
              <a:gd name="connsiteX6148" fmla="*/ 1429578 w 12243467"/>
              <a:gd name="connsiteY6148" fmla="*/ 1681052 h 4565177"/>
              <a:gd name="connsiteX6149" fmla="*/ 1457790 w 12243467"/>
              <a:gd name="connsiteY6149" fmla="*/ 1595982 h 4565177"/>
              <a:gd name="connsiteX6150" fmla="*/ 1454471 w 12243467"/>
              <a:gd name="connsiteY6150" fmla="*/ 1583743 h 4565177"/>
              <a:gd name="connsiteX6151" fmla="*/ 1468024 w 12243467"/>
              <a:gd name="connsiteY6151" fmla="*/ 1573527 h 4565177"/>
              <a:gd name="connsiteX6152" fmla="*/ 1476599 w 12243467"/>
              <a:gd name="connsiteY6152" fmla="*/ 1546519 h 4565177"/>
              <a:gd name="connsiteX6153" fmla="*/ 1493471 w 12243467"/>
              <a:gd name="connsiteY6153" fmla="*/ 1551374 h 4565177"/>
              <a:gd name="connsiteX6154" fmla="*/ 1477152 w 12243467"/>
              <a:gd name="connsiteY6154" fmla="*/ 1540753 h 4565177"/>
              <a:gd name="connsiteX6155" fmla="*/ 1496235 w 12243467"/>
              <a:gd name="connsiteY6155" fmla="*/ 1530335 h 4565177"/>
              <a:gd name="connsiteX6156" fmla="*/ 1499278 w 12243467"/>
              <a:gd name="connsiteY6156" fmla="*/ 1500697 h 4565177"/>
              <a:gd name="connsiteX6157" fmla="*/ 1500109 w 12243467"/>
              <a:gd name="connsiteY6157" fmla="*/ 1483501 h 4565177"/>
              <a:gd name="connsiteX6158" fmla="*/ 1490981 w 12243467"/>
              <a:gd name="connsiteY6158" fmla="*/ 1480163 h 4565177"/>
              <a:gd name="connsiteX6159" fmla="*/ 1491534 w 12243467"/>
              <a:gd name="connsiteY6159" fmla="*/ 1465900 h 4565177"/>
              <a:gd name="connsiteX6160" fmla="*/ 1501767 w 12243467"/>
              <a:gd name="connsiteY6160" fmla="*/ 1443445 h 4565177"/>
              <a:gd name="connsiteX6161" fmla="*/ 1515045 w 12243467"/>
              <a:gd name="connsiteY6161" fmla="*/ 1444658 h 4565177"/>
              <a:gd name="connsiteX6162" fmla="*/ 1508406 w 12243467"/>
              <a:gd name="connsiteY6162" fmla="*/ 1423113 h 4565177"/>
              <a:gd name="connsiteX6163" fmla="*/ 1518087 w 12243467"/>
              <a:gd name="connsiteY6163" fmla="*/ 1412290 h 4565177"/>
              <a:gd name="connsiteX6164" fmla="*/ 1553214 w 12243467"/>
              <a:gd name="connsiteY6164" fmla="*/ 1340067 h 4565177"/>
              <a:gd name="connsiteX6165" fmla="*/ 1551831 w 12243467"/>
              <a:gd name="connsiteY6165" fmla="*/ 1326816 h 4565177"/>
              <a:gd name="connsiteX6166" fmla="*/ 1603553 w 12243467"/>
              <a:gd name="connsiteY6166" fmla="*/ 1256717 h 4565177"/>
              <a:gd name="connsiteX6167" fmla="*/ 1600234 w 12243467"/>
              <a:gd name="connsiteY6167" fmla="*/ 1244478 h 4565177"/>
              <a:gd name="connsiteX6168" fmla="*/ 1624851 w 12243467"/>
              <a:gd name="connsiteY6168" fmla="*/ 1242354 h 4565177"/>
              <a:gd name="connsiteX6169" fmla="*/ 1639233 w 12243467"/>
              <a:gd name="connsiteY6169" fmla="*/ 1212109 h 4565177"/>
              <a:gd name="connsiteX6170" fmla="*/ 1636468 w 12243467"/>
              <a:gd name="connsiteY6170" fmla="*/ 1188541 h 4565177"/>
              <a:gd name="connsiteX6171" fmla="*/ 1649744 w 12243467"/>
              <a:gd name="connsiteY6171" fmla="*/ 1186821 h 4565177"/>
              <a:gd name="connsiteX6172" fmla="*/ 1675190 w 12243467"/>
              <a:gd name="connsiteY6172" fmla="*/ 1161735 h 4565177"/>
              <a:gd name="connsiteX6173" fmla="*/ 1682105 w 12243467"/>
              <a:gd name="connsiteY6173" fmla="*/ 1129973 h 4565177"/>
              <a:gd name="connsiteX6174" fmla="*/ 1787486 w 12243467"/>
              <a:gd name="connsiteY6174" fmla="*/ 1036306 h 4565177"/>
              <a:gd name="connsiteX6175" fmla="*/ 1790252 w 12243467"/>
              <a:gd name="connsiteY6175" fmla="*/ 1033777 h 4565177"/>
              <a:gd name="connsiteX6176" fmla="*/ 1786656 w 12243467"/>
              <a:gd name="connsiteY6176" fmla="*/ 1058256 h 4565177"/>
              <a:gd name="connsiteX6177" fmla="*/ 1766465 w 12243467"/>
              <a:gd name="connsiteY6177" fmla="*/ 1086882 h 4565177"/>
              <a:gd name="connsiteX6178" fmla="*/ 1782784 w 12243467"/>
              <a:gd name="connsiteY6178" fmla="*/ 1100234 h 4565177"/>
              <a:gd name="connsiteX6179" fmla="*/ 1828144 w 12243467"/>
              <a:gd name="connsiteY6179" fmla="*/ 1047635 h 4565177"/>
              <a:gd name="connsiteX6180" fmla="*/ 1858569 w 12243467"/>
              <a:gd name="connsiteY6180" fmla="*/ 1039442 h 4565177"/>
              <a:gd name="connsiteX6181" fmla="*/ 1803528 w 12243467"/>
              <a:gd name="connsiteY6181" fmla="*/ 1097402 h 4565177"/>
              <a:gd name="connsiteX6182" fmla="*/ 1814038 w 12243467"/>
              <a:gd name="connsiteY6182" fmla="*/ 1113991 h 4565177"/>
              <a:gd name="connsiteX6183" fmla="*/ 1823718 w 12243467"/>
              <a:gd name="connsiteY6183" fmla="*/ 1108731 h 4565177"/>
              <a:gd name="connsiteX6184" fmla="*/ 1825102 w 12243467"/>
              <a:gd name="connsiteY6184" fmla="*/ 1116217 h 4565177"/>
              <a:gd name="connsiteX6185" fmla="*/ 1836442 w 12243467"/>
              <a:gd name="connsiteY6185" fmla="*/ 1118543 h 4565177"/>
              <a:gd name="connsiteX6186" fmla="*/ 1846675 w 12243467"/>
              <a:gd name="connsiteY6186" fmla="*/ 1096087 h 4565177"/>
              <a:gd name="connsiteX6187" fmla="*/ 1860782 w 12243467"/>
              <a:gd name="connsiteY6187" fmla="*/ 1113485 h 4565177"/>
              <a:gd name="connsiteX6188" fmla="*/ 1887058 w 12243467"/>
              <a:gd name="connsiteY6188" fmla="*/ 1116014 h 4565177"/>
              <a:gd name="connsiteX6189" fmla="*/ 1875441 w 12243467"/>
              <a:gd name="connsiteY6189" fmla="*/ 1122185 h 4565177"/>
              <a:gd name="connsiteX6190" fmla="*/ 1858845 w 12243467"/>
              <a:gd name="connsiteY6190" fmla="*/ 1117329 h 4565177"/>
              <a:gd name="connsiteX6191" fmla="*/ 1864101 w 12243467"/>
              <a:gd name="connsiteY6191" fmla="*/ 1122791 h 4565177"/>
              <a:gd name="connsiteX6192" fmla="*/ 1847228 w 12243467"/>
              <a:gd name="connsiteY6192" fmla="*/ 1126534 h 4565177"/>
              <a:gd name="connsiteX6193" fmla="*/ 1861887 w 12243467"/>
              <a:gd name="connsiteY6193" fmla="*/ 1132401 h 4565177"/>
              <a:gd name="connsiteX6194" fmla="*/ 1866590 w 12243467"/>
              <a:gd name="connsiteY6194" fmla="*/ 1155059 h 4565177"/>
              <a:gd name="connsiteX6195" fmla="*/ 1840313 w 12243467"/>
              <a:gd name="connsiteY6195" fmla="*/ 1158296 h 4565177"/>
              <a:gd name="connsiteX6196" fmla="*/ 1806847 w 12243467"/>
              <a:gd name="connsiteY6196" fmla="*/ 1193295 h 4565177"/>
              <a:gd name="connsiteX6197" fmla="*/ 1806294 w 12243467"/>
              <a:gd name="connsiteY6197" fmla="*/ 1207557 h 4565177"/>
              <a:gd name="connsiteX6198" fmla="*/ 1802975 w 12243467"/>
              <a:gd name="connsiteY6198" fmla="*/ 1198251 h 4565177"/>
              <a:gd name="connsiteX6199" fmla="*/ 1785272 w 12243467"/>
              <a:gd name="connsiteY6199" fmla="*/ 1213323 h 4565177"/>
              <a:gd name="connsiteX6200" fmla="*/ 1801868 w 12243467"/>
              <a:gd name="connsiteY6200" fmla="*/ 1223944 h 4565177"/>
              <a:gd name="connsiteX6201" fmla="*/ 1795783 w 12243467"/>
              <a:gd name="connsiteY6201" fmla="*/ 1230013 h 4565177"/>
              <a:gd name="connsiteX6202" fmla="*/ 1788869 w 12243467"/>
              <a:gd name="connsiteY6202" fmla="*/ 1219797 h 4565177"/>
              <a:gd name="connsiteX6203" fmla="*/ 1784720 w 12243467"/>
              <a:gd name="connsiteY6203" fmla="*/ 1224753 h 4565177"/>
              <a:gd name="connsiteX6204" fmla="*/ 1792188 w 12243467"/>
              <a:gd name="connsiteY6204" fmla="*/ 1229204 h 4565177"/>
              <a:gd name="connsiteX6205" fmla="*/ 1762039 w 12243467"/>
              <a:gd name="connsiteY6205" fmla="*/ 1273509 h 4565177"/>
              <a:gd name="connsiteX6206" fmla="*/ 1752082 w 12243467"/>
              <a:gd name="connsiteY6206" fmla="*/ 1287265 h 4565177"/>
              <a:gd name="connsiteX6207" fmla="*/ 1759550 w 12243467"/>
              <a:gd name="connsiteY6207" fmla="*/ 1291716 h 4565177"/>
              <a:gd name="connsiteX6208" fmla="*/ 1735486 w 12243467"/>
              <a:gd name="connsiteY6208" fmla="*/ 1327119 h 4565177"/>
              <a:gd name="connsiteX6209" fmla="*/ 1724422 w 12243467"/>
              <a:gd name="connsiteY6209" fmla="*/ 1324793 h 4565177"/>
              <a:gd name="connsiteX6210" fmla="*/ 1693722 w 12243467"/>
              <a:gd name="connsiteY6210" fmla="*/ 1383461 h 4565177"/>
              <a:gd name="connsiteX6211" fmla="*/ 1698977 w 12243467"/>
              <a:gd name="connsiteY6211" fmla="*/ 1388923 h 4565177"/>
              <a:gd name="connsiteX6212" fmla="*/ 1704509 w 12243467"/>
              <a:gd name="connsiteY6212" fmla="*/ 1391452 h 4565177"/>
              <a:gd name="connsiteX6213" fmla="*/ 1705062 w 12243467"/>
              <a:gd name="connsiteY6213" fmla="*/ 1380022 h 4565177"/>
              <a:gd name="connsiteX6214" fmla="*/ 1714466 w 12243467"/>
              <a:gd name="connsiteY6214" fmla="*/ 1377696 h 4565177"/>
              <a:gd name="connsiteX6215" fmla="*/ 1701190 w 12243467"/>
              <a:gd name="connsiteY6215" fmla="*/ 1424023 h 4565177"/>
              <a:gd name="connsiteX6216" fmla="*/ 1712530 w 12243467"/>
              <a:gd name="connsiteY6216" fmla="*/ 1426249 h 4565177"/>
              <a:gd name="connsiteX6217" fmla="*/ 1700913 w 12243467"/>
              <a:gd name="connsiteY6217" fmla="*/ 1474397 h 4565177"/>
              <a:gd name="connsiteX6218" fmla="*/ 1721381 w 12243467"/>
              <a:gd name="connsiteY6218" fmla="*/ 1477128 h 4565177"/>
              <a:gd name="connsiteX6219" fmla="*/ 1737975 w 12243467"/>
              <a:gd name="connsiteY6219" fmla="*/ 1443040 h 4565177"/>
              <a:gd name="connsiteX6220" fmla="*/ 1748487 w 12243467"/>
              <a:gd name="connsiteY6220" fmla="*/ 1417752 h 4565177"/>
              <a:gd name="connsiteX6221" fmla="*/ 1776422 w 12243467"/>
              <a:gd name="connsiteY6221" fmla="*/ 1377392 h 4565177"/>
              <a:gd name="connsiteX6222" fmla="*/ 1809889 w 12243467"/>
              <a:gd name="connsiteY6222" fmla="*/ 1336729 h 4565177"/>
              <a:gd name="connsiteX6223" fmla="*/ 1810443 w 12243467"/>
              <a:gd name="connsiteY6223" fmla="*/ 1325299 h 4565177"/>
              <a:gd name="connsiteX6224" fmla="*/ 1820123 w 12243467"/>
              <a:gd name="connsiteY6224" fmla="*/ 1322871 h 4565177"/>
              <a:gd name="connsiteX6225" fmla="*/ 1829250 w 12243467"/>
              <a:gd name="connsiteY6225" fmla="*/ 1284433 h 4565177"/>
              <a:gd name="connsiteX6226" fmla="*/ 1919419 w 12243467"/>
              <a:gd name="connsiteY6226" fmla="*/ 1190462 h 4565177"/>
              <a:gd name="connsiteX6227" fmla="*/ 1923845 w 12243467"/>
              <a:gd name="connsiteY6227" fmla="*/ 1173975 h 4565177"/>
              <a:gd name="connsiteX6228" fmla="*/ 1944589 w 12243467"/>
              <a:gd name="connsiteY6228" fmla="*/ 1171142 h 4565177"/>
              <a:gd name="connsiteX6229" fmla="*/ 1906419 w 12243467"/>
              <a:gd name="connsiteY6229" fmla="*/ 1233958 h 4565177"/>
              <a:gd name="connsiteX6230" fmla="*/ 1913887 w 12243467"/>
              <a:gd name="connsiteY6230" fmla="*/ 1232643 h 4565177"/>
              <a:gd name="connsiteX6231" fmla="*/ 1870738 w 12243467"/>
              <a:gd name="connsiteY6231" fmla="*/ 1272801 h 4565177"/>
              <a:gd name="connsiteX6232" fmla="*/ 1823718 w 12243467"/>
              <a:gd name="connsiteY6232" fmla="*/ 1320848 h 4565177"/>
              <a:gd name="connsiteX6233" fmla="*/ 1811548 w 12243467"/>
              <a:gd name="connsiteY6233" fmla="*/ 1344214 h 4565177"/>
              <a:gd name="connsiteX6234" fmla="*/ 1820952 w 12243467"/>
              <a:gd name="connsiteY6234" fmla="*/ 1344720 h 4565177"/>
              <a:gd name="connsiteX6235" fmla="*/ 1763146 w 12243467"/>
              <a:gd name="connsiteY6235" fmla="*/ 1465597 h 4565177"/>
              <a:gd name="connsiteX6236" fmla="*/ 1788038 w 12243467"/>
              <a:gd name="connsiteY6236" fmla="*/ 1457707 h 4565177"/>
              <a:gd name="connsiteX6237" fmla="*/ 1799102 w 12243467"/>
              <a:gd name="connsiteY6237" fmla="*/ 1418055 h 4565177"/>
              <a:gd name="connsiteX6238" fmla="*/ 1823442 w 12243467"/>
              <a:gd name="connsiteY6238" fmla="*/ 1374054 h 4565177"/>
              <a:gd name="connsiteX6239" fmla="*/ 1845293 w 12243467"/>
              <a:gd name="connsiteY6239" fmla="*/ 1345428 h 4565177"/>
              <a:gd name="connsiteX6240" fmla="*/ 1879867 w 12243467"/>
              <a:gd name="connsiteY6240" fmla="*/ 1281904 h 4565177"/>
              <a:gd name="connsiteX6241" fmla="*/ 1934632 w 12243467"/>
              <a:gd name="connsiteY6241" fmla="*/ 1223944 h 4565177"/>
              <a:gd name="connsiteX6242" fmla="*/ 1822059 w 12243467"/>
              <a:gd name="connsiteY6242" fmla="*/ 1402680 h 4565177"/>
              <a:gd name="connsiteX6243" fmla="*/ 1793847 w 12243467"/>
              <a:gd name="connsiteY6243" fmla="*/ 1448806 h 4565177"/>
              <a:gd name="connsiteX6244" fmla="*/ 1795507 w 12243467"/>
              <a:gd name="connsiteY6244" fmla="*/ 1456392 h 4565177"/>
              <a:gd name="connsiteX6245" fmla="*/ 1750976 w 12243467"/>
              <a:gd name="connsiteY6245" fmla="*/ 1530840 h 4565177"/>
              <a:gd name="connsiteX6246" fmla="*/ 1766188 w 12243467"/>
              <a:gd name="connsiteY6246" fmla="*/ 1480669 h 4565177"/>
              <a:gd name="connsiteX6247" fmla="*/ 1739081 w 12243467"/>
              <a:gd name="connsiteY6247" fmla="*/ 1545710 h 4565177"/>
              <a:gd name="connsiteX6248" fmla="*/ 1711700 w 12243467"/>
              <a:gd name="connsiteY6248" fmla="*/ 1616618 h 4565177"/>
              <a:gd name="connsiteX6249" fmla="*/ 1700636 w 12243467"/>
              <a:gd name="connsiteY6249" fmla="*/ 1656168 h 4565177"/>
              <a:gd name="connsiteX6250" fmla="*/ 1686529 w 12243467"/>
              <a:gd name="connsiteY6250" fmla="*/ 1725255 h 4565177"/>
              <a:gd name="connsiteX6251" fmla="*/ 1681545 w 12243467"/>
              <a:gd name="connsiteY6251" fmla="*/ 1742230 h 4565177"/>
              <a:gd name="connsiteX6252" fmla="*/ 1691784 w 12243467"/>
              <a:gd name="connsiteY6252" fmla="*/ 1740092 h 4565177"/>
              <a:gd name="connsiteX6253" fmla="*/ 1701362 w 12243467"/>
              <a:gd name="connsiteY6253" fmla="*/ 1678371 h 4565177"/>
              <a:gd name="connsiteX6254" fmla="*/ 1737423 w 12243467"/>
              <a:gd name="connsiteY6254" fmla="*/ 1588598 h 4565177"/>
              <a:gd name="connsiteX6255" fmla="*/ 1711423 w 12243467"/>
              <a:gd name="connsiteY6255" fmla="*/ 1708869 h 4565177"/>
              <a:gd name="connsiteX6256" fmla="*/ 1720827 w 12243467"/>
              <a:gd name="connsiteY6256" fmla="*/ 1709374 h 4565177"/>
              <a:gd name="connsiteX6257" fmla="*/ 1709790 w 12243467"/>
              <a:gd name="connsiteY6257" fmla="*/ 1736333 h 4565177"/>
              <a:gd name="connsiteX6258" fmla="*/ 1726327 w 12243467"/>
              <a:gd name="connsiteY6258" fmla="*/ 1732881 h 4565177"/>
              <a:gd name="connsiteX6259" fmla="*/ 1728606 w 12243467"/>
              <a:gd name="connsiteY6259" fmla="*/ 1713800 h 4565177"/>
              <a:gd name="connsiteX6260" fmla="*/ 1752359 w 12243467"/>
              <a:gd name="connsiteY6260" fmla="*/ 1672555 h 4565177"/>
              <a:gd name="connsiteX6261" fmla="*/ 1737423 w 12243467"/>
              <a:gd name="connsiteY6261" fmla="*/ 1672353 h 4565177"/>
              <a:gd name="connsiteX6262" fmla="*/ 1730508 w 12243467"/>
              <a:gd name="connsiteY6262" fmla="*/ 1659304 h 4565177"/>
              <a:gd name="connsiteX6263" fmla="*/ 1746549 w 12243467"/>
              <a:gd name="connsiteY6263" fmla="*/ 1633915 h 4565177"/>
              <a:gd name="connsiteX6264" fmla="*/ 1755677 w 12243467"/>
              <a:gd name="connsiteY6264" fmla="*/ 1642917 h 4565177"/>
              <a:gd name="connsiteX6265" fmla="*/ 1793018 w 12243467"/>
              <a:gd name="connsiteY6265" fmla="*/ 1558253 h 4565177"/>
              <a:gd name="connsiteX6266" fmla="*/ 1783059 w 12243467"/>
              <a:gd name="connsiteY6266" fmla="*/ 1566345 h 4565177"/>
              <a:gd name="connsiteX6267" fmla="*/ 1793294 w 12243467"/>
              <a:gd name="connsiteY6267" fmla="*/ 1549655 h 4565177"/>
              <a:gd name="connsiteX6268" fmla="*/ 1793018 w 12243467"/>
              <a:gd name="connsiteY6268" fmla="*/ 1555319 h 4565177"/>
              <a:gd name="connsiteX6269" fmla="*/ 1817357 w 12243467"/>
              <a:gd name="connsiteY6269" fmla="*/ 1514251 h 4565177"/>
              <a:gd name="connsiteX6270" fmla="*/ 1802421 w 12243467"/>
              <a:gd name="connsiteY6270" fmla="*/ 1514049 h 4565177"/>
              <a:gd name="connsiteX6271" fmla="*/ 1870463 w 12243467"/>
              <a:gd name="connsiteY6271" fmla="*/ 1412593 h 4565177"/>
              <a:gd name="connsiteX6272" fmla="*/ 1887334 w 12243467"/>
              <a:gd name="connsiteY6272" fmla="*/ 1411784 h 4565177"/>
              <a:gd name="connsiteX6273" fmla="*/ 1897292 w 12243467"/>
              <a:gd name="connsiteY6273" fmla="*/ 1397926 h 4565177"/>
              <a:gd name="connsiteX6274" fmla="*/ 1894526 w 12243467"/>
              <a:gd name="connsiteY6274" fmla="*/ 1374358 h 4565177"/>
              <a:gd name="connsiteX6275" fmla="*/ 1950397 w 12243467"/>
              <a:gd name="connsiteY6275" fmla="*/ 1338246 h 4565177"/>
              <a:gd name="connsiteX6276" fmla="*/ 1947908 w 12243467"/>
              <a:gd name="connsiteY6276" fmla="*/ 1353520 h 4565177"/>
              <a:gd name="connsiteX6277" fmla="*/ 1960631 w 12243467"/>
              <a:gd name="connsiteY6277" fmla="*/ 1345934 h 4565177"/>
              <a:gd name="connsiteX6278" fmla="*/ 1965333 w 12243467"/>
              <a:gd name="connsiteY6278" fmla="*/ 1345327 h 4565177"/>
              <a:gd name="connsiteX6279" fmla="*/ 1965886 w 12243467"/>
              <a:gd name="connsiteY6279" fmla="*/ 1342292 h 4565177"/>
              <a:gd name="connsiteX6280" fmla="*/ 1966715 w 12243467"/>
              <a:gd name="connsiteY6280" fmla="*/ 1341382 h 4565177"/>
              <a:gd name="connsiteX6281" fmla="*/ 1961461 w 12243467"/>
              <a:gd name="connsiteY6281" fmla="*/ 1340573 h 4565177"/>
              <a:gd name="connsiteX6282" fmla="*/ 1979992 w 12243467"/>
              <a:gd name="connsiteY6282" fmla="*/ 1321253 h 4565177"/>
              <a:gd name="connsiteX6283" fmla="*/ 1978609 w 12243467"/>
              <a:gd name="connsiteY6283" fmla="*/ 1318420 h 4565177"/>
              <a:gd name="connsiteX6284" fmla="*/ 1968929 w 12243467"/>
              <a:gd name="connsiteY6284" fmla="*/ 1313464 h 4565177"/>
              <a:gd name="connsiteX6285" fmla="*/ 1979716 w 12243467"/>
              <a:gd name="connsiteY6285" fmla="*/ 1308811 h 4565177"/>
              <a:gd name="connsiteX6286" fmla="*/ 1973631 w 12243467"/>
              <a:gd name="connsiteY6286" fmla="*/ 1293638 h 4565177"/>
              <a:gd name="connsiteX6287" fmla="*/ 1983864 w 12243467"/>
              <a:gd name="connsiteY6287" fmla="*/ 1282005 h 4565177"/>
              <a:gd name="connsiteX6288" fmla="*/ 1985524 w 12243467"/>
              <a:gd name="connsiteY6288" fmla="*/ 1267541 h 4565177"/>
              <a:gd name="connsiteX6289" fmla="*/ 1974184 w 12243467"/>
              <a:gd name="connsiteY6289" fmla="*/ 1258235 h 4565177"/>
              <a:gd name="connsiteX6290" fmla="*/ 1974461 w 12243467"/>
              <a:gd name="connsiteY6290" fmla="*/ 1246501 h 4565177"/>
              <a:gd name="connsiteX6291" fmla="*/ 2011524 w 12243467"/>
              <a:gd name="connsiteY6291" fmla="*/ 1158599 h 4565177"/>
              <a:gd name="connsiteX6292" fmla="*/ 2008758 w 12243467"/>
              <a:gd name="connsiteY6292" fmla="*/ 1152025 h 4565177"/>
              <a:gd name="connsiteX6293" fmla="*/ 1989673 w 12243467"/>
              <a:gd name="connsiteY6293" fmla="*/ 1168512 h 4565177"/>
              <a:gd name="connsiteX6294" fmla="*/ 2004332 w 12243467"/>
              <a:gd name="connsiteY6294" fmla="*/ 1146259 h 4565177"/>
              <a:gd name="connsiteX6295" fmla="*/ 2012077 w 12243467"/>
              <a:gd name="connsiteY6295" fmla="*/ 1139482 h 4565177"/>
              <a:gd name="connsiteX6296" fmla="*/ 2023139 w 12243467"/>
              <a:gd name="connsiteY6296" fmla="*/ 1120971 h 4565177"/>
              <a:gd name="connsiteX6297" fmla="*/ 2062139 w 12243467"/>
              <a:gd name="connsiteY6297" fmla="*/ 1037014 h 4565177"/>
              <a:gd name="connsiteX6298" fmla="*/ 2091182 w 12243467"/>
              <a:gd name="connsiteY6298" fmla="*/ 979054 h 4565177"/>
              <a:gd name="connsiteX6299" fmla="*/ 2156456 w 12243467"/>
              <a:gd name="connsiteY6299" fmla="*/ 856660 h 4565177"/>
              <a:gd name="connsiteX6300" fmla="*/ 2145393 w 12243467"/>
              <a:gd name="connsiteY6300" fmla="*/ 854333 h 4565177"/>
              <a:gd name="connsiteX6301" fmla="*/ 2170839 w 12243467"/>
              <a:gd name="connsiteY6301" fmla="*/ 837036 h 4565177"/>
              <a:gd name="connsiteX6302" fmla="*/ 2192137 w 12243467"/>
              <a:gd name="connsiteY6302" fmla="*/ 797182 h 4565177"/>
              <a:gd name="connsiteX6303" fmla="*/ 2209008 w 12243467"/>
              <a:gd name="connsiteY6303" fmla="*/ 795766 h 4565177"/>
              <a:gd name="connsiteX6304" fmla="*/ 2199052 w 12243467"/>
              <a:gd name="connsiteY6304" fmla="*/ 776850 h 4565177"/>
              <a:gd name="connsiteX6305" fmla="*/ 2203200 w 12243467"/>
              <a:gd name="connsiteY6305" fmla="*/ 768859 h 4565177"/>
              <a:gd name="connsiteX6306" fmla="*/ 2223391 w 12243467"/>
              <a:gd name="connsiteY6306" fmla="*/ 757429 h 4565177"/>
              <a:gd name="connsiteX6307" fmla="*/ 2214817 w 12243467"/>
              <a:gd name="connsiteY6307" fmla="*/ 754597 h 4565177"/>
              <a:gd name="connsiteX6308" fmla="*/ 2213157 w 12243467"/>
              <a:gd name="connsiteY6308" fmla="*/ 750247 h 4565177"/>
              <a:gd name="connsiteX6309" fmla="*/ 2260455 w 12243467"/>
              <a:gd name="connsiteY6309" fmla="*/ 706954 h 4565177"/>
              <a:gd name="connsiteX6310" fmla="*/ 2255476 w 12243467"/>
              <a:gd name="connsiteY6310" fmla="*/ 700986 h 4565177"/>
              <a:gd name="connsiteX6311" fmla="*/ 2299453 w 12243467"/>
              <a:gd name="connsiteY6311" fmla="*/ 649095 h 4565177"/>
              <a:gd name="connsiteX6312" fmla="*/ 2411195 w 12243467"/>
              <a:gd name="connsiteY6312" fmla="*/ 537524 h 4565177"/>
              <a:gd name="connsiteX6313" fmla="*/ 2402344 w 12243467"/>
              <a:gd name="connsiteY6313" fmla="*/ 527712 h 4565177"/>
              <a:gd name="connsiteX6314" fmla="*/ 2423643 w 12243467"/>
              <a:gd name="connsiteY6314" fmla="*/ 525385 h 4565177"/>
              <a:gd name="connsiteX6315" fmla="*/ 2456834 w 12243467"/>
              <a:gd name="connsiteY6315" fmla="*/ 489881 h 4565177"/>
              <a:gd name="connsiteX6316" fmla="*/ 2467344 w 12243467"/>
              <a:gd name="connsiteY6316" fmla="*/ 485228 h 4565177"/>
              <a:gd name="connsiteX6317" fmla="*/ 2464024 w 12243467"/>
              <a:gd name="connsiteY6317" fmla="*/ 476630 h 4565177"/>
              <a:gd name="connsiteX6318" fmla="*/ 2449642 w 12243467"/>
              <a:gd name="connsiteY6318" fmla="*/ 484520 h 4565177"/>
              <a:gd name="connsiteX6319" fmla="*/ 2465961 w 12243467"/>
              <a:gd name="connsiteY6319" fmla="*/ 469145 h 4565177"/>
              <a:gd name="connsiteX6320" fmla="*/ 2473982 w 12243467"/>
              <a:gd name="connsiteY6320" fmla="*/ 476832 h 4565177"/>
              <a:gd name="connsiteX6321" fmla="*/ 2491131 w 12243467"/>
              <a:gd name="connsiteY6321" fmla="*/ 463581 h 4565177"/>
              <a:gd name="connsiteX6322" fmla="*/ 2477854 w 12243467"/>
              <a:gd name="connsiteY6322" fmla="*/ 461862 h 4565177"/>
              <a:gd name="connsiteX6323" fmla="*/ 2491683 w 12243467"/>
              <a:gd name="connsiteY6323" fmla="*/ 458827 h 4565177"/>
              <a:gd name="connsiteX6324" fmla="*/ 2531512 w 12243467"/>
              <a:gd name="connsiteY6324" fmla="*/ 421805 h 4565177"/>
              <a:gd name="connsiteX6325" fmla="*/ 2561385 w 12243467"/>
              <a:gd name="connsiteY6325" fmla="*/ 403497 h 4565177"/>
              <a:gd name="connsiteX6326" fmla="*/ 2607021 w 12243467"/>
              <a:gd name="connsiteY6326" fmla="*/ 374668 h 4565177"/>
              <a:gd name="connsiteX6327" fmla="*/ 2633020 w 12243467"/>
              <a:gd name="connsiteY6327" fmla="*/ 340681 h 4565177"/>
              <a:gd name="connsiteX6328" fmla="*/ 2717658 w 12243467"/>
              <a:gd name="connsiteY6328" fmla="*/ 303255 h 4565177"/>
              <a:gd name="connsiteX6329" fmla="*/ 2720146 w 12243467"/>
              <a:gd name="connsiteY6329" fmla="*/ 291015 h 4565177"/>
              <a:gd name="connsiteX6330" fmla="*/ 2816954 w 12243467"/>
              <a:gd name="connsiteY6330" fmla="*/ 241451 h 4565177"/>
              <a:gd name="connsiteX6331" fmla="*/ 2824422 w 12243467"/>
              <a:gd name="connsiteY6331" fmla="*/ 253892 h 4565177"/>
              <a:gd name="connsiteX6332" fmla="*/ 2830783 w 12243467"/>
              <a:gd name="connsiteY6332" fmla="*/ 238517 h 4565177"/>
              <a:gd name="connsiteX6333" fmla="*/ 2867016 w 12243467"/>
              <a:gd name="connsiteY6333" fmla="*/ 223445 h 4565177"/>
              <a:gd name="connsiteX6334" fmla="*/ 2862591 w 12243467"/>
              <a:gd name="connsiteY6334" fmla="*/ 243170 h 4565177"/>
              <a:gd name="connsiteX6335" fmla="*/ 2845996 w 12243467"/>
              <a:gd name="connsiteY6335" fmla="*/ 251465 h 4565177"/>
              <a:gd name="connsiteX6336" fmla="*/ 2865079 w 12243467"/>
              <a:gd name="connsiteY6336" fmla="*/ 268357 h 4565177"/>
              <a:gd name="connsiteX6337" fmla="*/ 2831060 w 12243467"/>
              <a:gd name="connsiteY6337" fmla="*/ 282923 h 4565177"/>
              <a:gd name="connsiteX6338" fmla="*/ 2768549 w 12243467"/>
              <a:gd name="connsiteY6338" fmla="*/ 324901 h 4565177"/>
              <a:gd name="connsiteX6339" fmla="*/ 2738679 w 12243467"/>
              <a:gd name="connsiteY6339" fmla="*/ 343311 h 4565177"/>
              <a:gd name="connsiteX6340" fmla="*/ 2694701 w 12243467"/>
              <a:gd name="connsiteY6340" fmla="*/ 376489 h 4565177"/>
              <a:gd name="connsiteX6341" fmla="*/ 2685297 w 12243467"/>
              <a:gd name="connsiteY6341" fmla="*/ 371533 h 4565177"/>
              <a:gd name="connsiteX6342" fmla="*/ 2660126 w 12243467"/>
              <a:gd name="connsiteY6342" fmla="*/ 395809 h 4565177"/>
              <a:gd name="connsiteX6343" fmla="*/ 2627490 w 12243467"/>
              <a:gd name="connsiteY6343" fmla="*/ 419479 h 4565177"/>
              <a:gd name="connsiteX6344" fmla="*/ 2535938 w 12243467"/>
              <a:gd name="connsiteY6344" fmla="*/ 507684 h 4565177"/>
              <a:gd name="connsiteX6345" fmla="*/ 2521556 w 12243467"/>
              <a:gd name="connsiteY6345" fmla="*/ 508594 h 4565177"/>
              <a:gd name="connsiteX6346" fmla="*/ 2533172 w 12243467"/>
              <a:gd name="connsiteY6346" fmla="*/ 512944 h 4565177"/>
              <a:gd name="connsiteX6347" fmla="*/ 2443834 w 12243467"/>
              <a:gd name="connsiteY6347" fmla="*/ 593764 h 4565177"/>
              <a:gd name="connsiteX6348" fmla="*/ 2441621 w 12243467"/>
              <a:gd name="connsiteY6348" fmla="*/ 582435 h 4565177"/>
              <a:gd name="connsiteX6349" fmla="*/ 2424749 w 12243467"/>
              <a:gd name="connsiteY6349" fmla="*/ 614400 h 4565177"/>
              <a:gd name="connsiteX6350" fmla="*/ 2402621 w 12243467"/>
              <a:gd name="connsiteY6350" fmla="*/ 633315 h 4565177"/>
              <a:gd name="connsiteX6351" fmla="*/ 2401239 w 12243467"/>
              <a:gd name="connsiteY6351" fmla="*/ 624211 h 4565177"/>
              <a:gd name="connsiteX6352" fmla="*/ 2382706 w 12243467"/>
              <a:gd name="connsiteY6352" fmla="*/ 639991 h 4565177"/>
              <a:gd name="connsiteX6353" fmla="*/ 2395984 w 12243467"/>
              <a:gd name="connsiteY6353" fmla="*/ 641913 h 4565177"/>
              <a:gd name="connsiteX6354" fmla="*/ 2374686 w 12243467"/>
              <a:gd name="connsiteY6354" fmla="*/ 662953 h 4565177"/>
              <a:gd name="connsiteX6355" fmla="*/ 2384920 w 12243467"/>
              <a:gd name="connsiteY6355" fmla="*/ 651320 h 4565177"/>
              <a:gd name="connsiteX6356" fmla="*/ 2375516 w 12243467"/>
              <a:gd name="connsiteY6356" fmla="*/ 646364 h 4565177"/>
              <a:gd name="connsiteX6357" fmla="*/ 2371091 w 12243467"/>
              <a:gd name="connsiteY6357" fmla="*/ 673169 h 4565177"/>
              <a:gd name="connsiteX6358" fmla="*/ 2360857 w 12243467"/>
              <a:gd name="connsiteY6358" fmla="*/ 665987 h 4565177"/>
              <a:gd name="connsiteX6359" fmla="*/ 2283688 w 12243467"/>
              <a:gd name="connsiteY6359" fmla="*/ 776951 h 4565177"/>
              <a:gd name="connsiteX6360" fmla="*/ 2265709 w 12243467"/>
              <a:gd name="connsiteY6360" fmla="*/ 776142 h 4565177"/>
              <a:gd name="connsiteX6361" fmla="*/ 2265709 w 12243467"/>
              <a:gd name="connsiteY6361" fmla="*/ 806791 h 4565177"/>
              <a:gd name="connsiteX6362" fmla="*/ 2226987 w 12243467"/>
              <a:gd name="connsiteY6362" fmla="*/ 871529 h 4565177"/>
              <a:gd name="connsiteX6363" fmla="*/ 2113308 w 12243467"/>
              <a:gd name="connsiteY6363" fmla="*/ 1065640 h 4565177"/>
              <a:gd name="connsiteX6364" fmla="*/ 2064904 w 12243467"/>
              <a:gd name="connsiteY6364" fmla="*/ 1205433 h 4565177"/>
              <a:gd name="connsiteX6365" fmla="*/ 2048863 w 12243467"/>
              <a:gd name="connsiteY6365" fmla="*/ 1220707 h 4565177"/>
              <a:gd name="connsiteX6366" fmla="*/ 2060480 w 12243467"/>
              <a:gd name="connsiteY6366" fmla="*/ 1225259 h 4565177"/>
              <a:gd name="connsiteX6367" fmla="*/ 2055224 w 12243467"/>
              <a:gd name="connsiteY6367" fmla="*/ 1237802 h 4565177"/>
              <a:gd name="connsiteX6368" fmla="*/ 2085373 w 12243467"/>
              <a:gd name="connsiteY6368" fmla="*/ 1208771 h 4565177"/>
              <a:gd name="connsiteX6369" fmla="*/ 2047204 w 12243467"/>
              <a:gd name="connsiteY6369" fmla="*/ 1257830 h 4565177"/>
              <a:gd name="connsiteX6370" fmla="*/ 2043885 w 12243467"/>
              <a:gd name="connsiteY6370" fmla="*/ 1261573 h 4565177"/>
              <a:gd name="connsiteX6371" fmla="*/ 2047204 w 12243467"/>
              <a:gd name="connsiteY6371" fmla="*/ 1265012 h 4565177"/>
              <a:gd name="connsiteX6372" fmla="*/ 2050246 w 12243467"/>
              <a:gd name="connsiteY6372" fmla="*/ 1274419 h 4565177"/>
              <a:gd name="connsiteX6373" fmla="*/ 2044438 w 12243467"/>
              <a:gd name="connsiteY6373" fmla="*/ 1278060 h 4565177"/>
              <a:gd name="connsiteX6374" fmla="*/ 2042225 w 12243467"/>
              <a:gd name="connsiteY6374" fmla="*/ 1293840 h 4565177"/>
              <a:gd name="connsiteX6375" fmla="*/ 2052459 w 12243467"/>
              <a:gd name="connsiteY6375" fmla="*/ 1284028 h 4565177"/>
              <a:gd name="connsiteX6376" fmla="*/ 2066287 w 12243467"/>
              <a:gd name="connsiteY6376" fmla="*/ 1258235 h 4565177"/>
              <a:gd name="connsiteX6377" fmla="*/ 2089799 w 12243467"/>
              <a:gd name="connsiteY6377" fmla="*/ 1237094 h 4565177"/>
              <a:gd name="connsiteX6378" fmla="*/ 2099756 w 12243467"/>
              <a:gd name="connsiteY6378" fmla="*/ 1233958 h 4565177"/>
              <a:gd name="connsiteX6379" fmla="*/ 2100309 w 12243467"/>
              <a:gd name="connsiteY6379" fmla="*/ 1232542 h 4565177"/>
              <a:gd name="connsiteX6380" fmla="*/ 2106393 w 12243467"/>
              <a:gd name="connsiteY6380" fmla="*/ 1203410 h 4565177"/>
              <a:gd name="connsiteX6381" fmla="*/ 2116351 w 12243467"/>
              <a:gd name="connsiteY6381" fmla="*/ 1165984 h 4565177"/>
              <a:gd name="connsiteX6382" fmla="*/ 2129351 w 12243467"/>
              <a:gd name="connsiteY6382" fmla="*/ 1130176 h 4565177"/>
              <a:gd name="connsiteX6383" fmla="*/ 2196009 w 12243467"/>
              <a:gd name="connsiteY6383" fmla="*/ 1005151 h 4565177"/>
              <a:gd name="connsiteX6384" fmla="*/ 2187988 w 12243467"/>
              <a:gd name="connsiteY6384" fmla="*/ 997565 h 4565177"/>
              <a:gd name="connsiteX6385" fmla="*/ 2201818 w 12243467"/>
              <a:gd name="connsiteY6385" fmla="*/ 982695 h 4565177"/>
              <a:gd name="connsiteX6386" fmla="*/ 2270688 w 12243467"/>
              <a:gd name="connsiteY6386" fmla="*/ 869000 h 4565177"/>
              <a:gd name="connsiteX6387" fmla="*/ 2276773 w 12243467"/>
              <a:gd name="connsiteY6387" fmla="*/ 865359 h 4565177"/>
              <a:gd name="connsiteX6388" fmla="*/ 2275389 w 12243467"/>
              <a:gd name="connsiteY6388" fmla="*/ 856255 h 4565177"/>
              <a:gd name="connsiteX6389" fmla="*/ 2295028 w 12243467"/>
              <a:gd name="connsiteY6389" fmla="*/ 830764 h 4565177"/>
              <a:gd name="connsiteX6390" fmla="*/ 2360304 w 12243467"/>
              <a:gd name="connsiteY6390" fmla="*/ 757732 h 4565177"/>
              <a:gd name="connsiteX6391" fmla="*/ 2362792 w 12243467"/>
              <a:gd name="connsiteY6391" fmla="*/ 745392 h 4565177"/>
              <a:gd name="connsiteX6392" fmla="*/ 2380218 w 12243467"/>
              <a:gd name="connsiteY6392" fmla="*/ 739222 h 4565177"/>
              <a:gd name="connsiteX6393" fmla="*/ 2400685 w 12243467"/>
              <a:gd name="connsiteY6393" fmla="*/ 715957 h 4565177"/>
              <a:gd name="connsiteX6394" fmla="*/ 2414239 w 12243467"/>
              <a:gd name="connsiteY6394" fmla="*/ 724656 h 4565177"/>
              <a:gd name="connsiteX6395" fmla="*/ 2403452 w 12243467"/>
              <a:gd name="connsiteY6395" fmla="*/ 710595 h 4565177"/>
              <a:gd name="connsiteX6396" fmla="*/ 2426409 w 12243467"/>
              <a:gd name="connsiteY6396" fmla="*/ 705538 h 4565177"/>
              <a:gd name="connsiteX6397" fmla="*/ 2443003 w 12243467"/>
              <a:gd name="connsiteY6397" fmla="*/ 678429 h 4565177"/>
              <a:gd name="connsiteX6398" fmla="*/ 2451302 w 12243467"/>
              <a:gd name="connsiteY6398" fmla="*/ 662447 h 4565177"/>
              <a:gd name="connsiteX6399" fmla="*/ 2444387 w 12243467"/>
              <a:gd name="connsiteY6399" fmla="*/ 656985 h 4565177"/>
              <a:gd name="connsiteX6400" fmla="*/ 2451302 w 12243467"/>
              <a:gd name="connsiteY6400" fmla="*/ 643734 h 4565177"/>
              <a:gd name="connsiteX6401" fmla="*/ 2471215 w 12243467"/>
              <a:gd name="connsiteY6401" fmla="*/ 625223 h 4565177"/>
              <a:gd name="connsiteX6402" fmla="*/ 2482832 w 12243467"/>
              <a:gd name="connsiteY6402" fmla="*/ 629775 h 4565177"/>
              <a:gd name="connsiteX6403" fmla="*/ 2486705 w 12243467"/>
              <a:gd name="connsiteY6403" fmla="*/ 607825 h 4565177"/>
              <a:gd name="connsiteX6404" fmla="*/ 2500811 w 12243467"/>
              <a:gd name="connsiteY6404" fmla="*/ 599935 h 4565177"/>
              <a:gd name="connsiteX6405" fmla="*/ 2566640 w 12243467"/>
              <a:gd name="connsiteY6405" fmla="*/ 540862 h 4565177"/>
              <a:gd name="connsiteX6406" fmla="*/ 2571342 w 12243467"/>
              <a:gd name="connsiteY6406" fmla="*/ 528015 h 4565177"/>
              <a:gd name="connsiteX6407" fmla="*/ 2652106 w 12243467"/>
              <a:gd name="connsiteY6407" fmla="*/ 474910 h 4565177"/>
              <a:gd name="connsiteX6408" fmla="*/ 2654595 w 12243467"/>
              <a:gd name="connsiteY6408" fmla="*/ 462671 h 4565177"/>
              <a:gd name="connsiteX6409" fmla="*/ 2678659 w 12243467"/>
              <a:gd name="connsiteY6409" fmla="*/ 466818 h 4565177"/>
              <a:gd name="connsiteX6410" fmla="*/ 2706041 w 12243467"/>
              <a:gd name="connsiteY6410" fmla="*/ 442036 h 4565177"/>
              <a:gd name="connsiteX6411" fmla="*/ 2714062 w 12243467"/>
              <a:gd name="connsiteY6411" fmla="*/ 419074 h 4565177"/>
              <a:gd name="connsiteX6412" fmla="*/ 2727339 w 12243467"/>
              <a:gd name="connsiteY6412" fmla="*/ 420794 h 4565177"/>
              <a:gd name="connsiteX6413" fmla="*/ 2762741 w 12243467"/>
              <a:gd name="connsiteY6413" fmla="*/ 403598 h 4565177"/>
              <a:gd name="connsiteX6414" fmla="*/ 2783763 w 12243467"/>
              <a:gd name="connsiteY6414" fmla="*/ 375579 h 4565177"/>
              <a:gd name="connsiteX6415" fmla="*/ 2925376 w 12243467"/>
              <a:gd name="connsiteY6415" fmla="*/ 313775 h 4565177"/>
              <a:gd name="connsiteX6416" fmla="*/ 2929525 w 12243467"/>
              <a:gd name="connsiteY6416" fmla="*/ 312156 h 4565177"/>
              <a:gd name="connsiteX6417" fmla="*/ 2914866 w 12243467"/>
              <a:gd name="connsiteY6417" fmla="*/ 334309 h 4565177"/>
              <a:gd name="connsiteX6418" fmla="*/ 2882781 w 12243467"/>
              <a:gd name="connsiteY6418" fmla="*/ 356056 h 4565177"/>
              <a:gd name="connsiteX6419" fmla="*/ 2891910 w 12243467"/>
              <a:gd name="connsiteY6419" fmla="*/ 372746 h 4565177"/>
              <a:gd name="connsiteX6420" fmla="*/ 2958843 w 12243467"/>
              <a:gd name="connsiteY6420" fmla="*/ 334612 h 4565177"/>
              <a:gd name="connsiteX6421" fmla="*/ 2990928 w 12243467"/>
              <a:gd name="connsiteY6421" fmla="*/ 334511 h 4565177"/>
              <a:gd name="connsiteX6422" fmla="*/ 2912929 w 12243467"/>
              <a:gd name="connsiteY6422" fmla="*/ 375174 h 4565177"/>
              <a:gd name="connsiteX6423" fmla="*/ 2915143 w 12243467"/>
              <a:gd name="connsiteY6423" fmla="*/ 393483 h 4565177"/>
              <a:gd name="connsiteX6424" fmla="*/ 2926483 w 12243467"/>
              <a:gd name="connsiteY6424" fmla="*/ 390954 h 4565177"/>
              <a:gd name="connsiteX6425" fmla="*/ 2924547 w 12243467"/>
              <a:gd name="connsiteY6425" fmla="*/ 398439 h 4565177"/>
              <a:gd name="connsiteX6426" fmla="*/ 2933951 w 12243467"/>
              <a:gd name="connsiteY6426" fmla="*/ 403396 h 4565177"/>
              <a:gd name="connsiteX6427" fmla="*/ 2953866 w 12243467"/>
              <a:gd name="connsiteY6427" fmla="*/ 384885 h 4565177"/>
              <a:gd name="connsiteX6428" fmla="*/ 2959397 w 12243467"/>
              <a:gd name="connsiteY6428" fmla="*/ 404812 h 4565177"/>
              <a:gd name="connsiteX6429" fmla="*/ 2982908 w 12243467"/>
              <a:gd name="connsiteY6429" fmla="*/ 413713 h 4565177"/>
              <a:gd name="connsiteX6430" fmla="*/ 2969355 w 12243467"/>
              <a:gd name="connsiteY6430" fmla="*/ 416748 h 4565177"/>
              <a:gd name="connsiteX6431" fmla="*/ 2955802 w 12243467"/>
              <a:gd name="connsiteY6431" fmla="*/ 408049 h 4565177"/>
              <a:gd name="connsiteX6432" fmla="*/ 2958291 w 12243467"/>
              <a:gd name="connsiteY6432" fmla="*/ 414421 h 4565177"/>
              <a:gd name="connsiteX6433" fmla="*/ 2940589 w 12243467"/>
              <a:gd name="connsiteY6433" fmla="*/ 413612 h 4565177"/>
              <a:gd name="connsiteX6434" fmla="*/ 2951929 w 12243467"/>
              <a:gd name="connsiteY6434" fmla="*/ 423019 h 4565177"/>
              <a:gd name="connsiteX6435" fmla="*/ 2945845 w 12243467"/>
              <a:gd name="connsiteY6435" fmla="*/ 445374 h 4565177"/>
              <a:gd name="connsiteX6436" fmla="*/ 2919569 w 12243467"/>
              <a:gd name="connsiteY6436" fmla="*/ 441834 h 4565177"/>
              <a:gd name="connsiteX6437" fmla="*/ 2872272 w 12243467"/>
              <a:gd name="connsiteY6437" fmla="*/ 466312 h 4565177"/>
              <a:gd name="connsiteX6438" fmla="*/ 2865079 w 12243467"/>
              <a:gd name="connsiteY6438" fmla="*/ 479665 h 4565177"/>
              <a:gd name="connsiteX6439" fmla="*/ 2866463 w 12243467"/>
              <a:gd name="connsiteY6439" fmla="*/ 469954 h 4565177"/>
              <a:gd name="connsiteX6440" fmla="*/ 2842953 w 12243467"/>
              <a:gd name="connsiteY6440" fmla="*/ 479867 h 4565177"/>
              <a:gd name="connsiteX6441" fmla="*/ 2853464 w 12243467"/>
              <a:gd name="connsiteY6441" fmla="*/ 493927 h 4565177"/>
              <a:gd name="connsiteX6442" fmla="*/ 2845166 w 12243467"/>
              <a:gd name="connsiteY6442" fmla="*/ 498074 h 4565177"/>
              <a:gd name="connsiteX6443" fmla="*/ 2843230 w 12243467"/>
              <a:gd name="connsiteY6443" fmla="*/ 486846 h 4565177"/>
              <a:gd name="connsiteX6444" fmla="*/ 2837421 w 12243467"/>
              <a:gd name="connsiteY6444" fmla="*/ 490488 h 4565177"/>
              <a:gd name="connsiteX6445" fmla="*/ 2842123 w 12243467"/>
              <a:gd name="connsiteY6445" fmla="*/ 496456 h 4565177"/>
              <a:gd name="connsiteX6446" fmla="*/ 2793720 w 12243467"/>
              <a:gd name="connsiteY6446" fmla="*/ 530645 h 4565177"/>
              <a:gd name="connsiteX6447" fmla="*/ 2777954 w 12243467"/>
              <a:gd name="connsiteY6447" fmla="*/ 541165 h 4565177"/>
              <a:gd name="connsiteX6448" fmla="*/ 2782932 w 12243467"/>
              <a:gd name="connsiteY6448" fmla="*/ 547032 h 4565177"/>
              <a:gd name="connsiteX6449" fmla="*/ 2744210 w 12243467"/>
              <a:gd name="connsiteY6449" fmla="*/ 574444 h 4565177"/>
              <a:gd name="connsiteX6450" fmla="*/ 2734806 w 12243467"/>
              <a:gd name="connsiteY6450" fmla="*/ 569387 h 4565177"/>
              <a:gd name="connsiteX6451" fmla="*/ 2679211 w 12243467"/>
              <a:gd name="connsiteY6451" fmla="*/ 616928 h 4565177"/>
              <a:gd name="connsiteX6452" fmla="*/ 2681701 w 12243467"/>
              <a:gd name="connsiteY6452" fmla="*/ 623402 h 4565177"/>
              <a:gd name="connsiteX6453" fmla="*/ 2685850 w 12243467"/>
              <a:gd name="connsiteY6453" fmla="*/ 627246 h 4565177"/>
              <a:gd name="connsiteX6454" fmla="*/ 2691382 w 12243467"/>
              <a:gd name="connsiteY6454" fmla="*/ 616524 h 4565177"/>
              <a:gd name="connsiteX6455" fmla="*/ 2701338 w 12243467"/>
              <a:gd name="connsiteY6455" fmla="*/ 616726 h 4565177"/>
              <a:gd name="connsiteX6456" fmla="*/ 2667872 w 12243467"/>
              <a:gd name="connsiteY6456" fmla="*/ 656985 h 4565177"/>
              <a:gd name="connsiteX6457" fmla="*/ 2677276 w 12243467"/>
              <a:gd name="connsiteY6457" fmla="*/ 661941 h 4565177"/>
              <a:gd name="connsiteX6458" fmla="*/ 2644638 w 12243467"/>
              <a:gd name="connsiteY6458" fmla="*/ 704324 h 4565177"/>
              <a:gd name="connsiteX6459" fmla="*/ 2662616 w 12243467"/>
              <a:gd name="connsiteY6459" fmla="*/ 712113 h 4565177"/>
              <a:gd name="connsiteX6460" fmla="*/ 2693595 w 12243467"/>
              <a:gd name="connsiteY6460" fmla="*/ 684094 h 4565177"/>
              <a:gd name="connsiteX6461" fmla="*/ 2714892 w 12243467"/>
              <a:gd name="connsiteY6461" fmla="*/ 662953 h 4565177"/>
              <a:gd name="connsiteX6462" fmla="*/ 2759700 w 12243467"/>
              <a:gd name="connsiteY6462" fmla="*/ 632000 h 4565177"/>
              <a:gd name="connsiteX6463" fmla="*/ 2809762 w 12243467"/>
              <a:gd name="connsiteY6463" fmla="*/ 602160 h 4565177"/>
              <a:gd name="connsiteX6464" fmla="*/ 2815571 w 12243467"/>
              <a:gd name="connsiteY6464" fmla="*/ 591438 h 4565177"/>
              <a:gd name="connsiteX6465" fmla="*/ 2825527 w 12243467"/>
              <a:gd name="connsiteY6465" fmla="*/ 591640 h 4565177"/>
              <a:gd name="connsiteX6466" fmla="*/ 2851803 w 12243467"/>
              <a:gd name="connsiteY6466" fmla="*/ 557754 h 4565177"/>
              <a:gd name="connsiteX6467" fmla="*/ 2979589 w 12243467"/>
              <a:gd name="connsiteY6467" fmla="*/ 492005 h 4565177"/>
              <a:gd name="connsiteX6468" fmla="*/ 2991204 w 12243467"/>
              <a:gd name="connsiteY6468" fmla="*/ 477641 h 4565177"/>
              <a:gd name="connsiteX6469" fmla="*/ 3011950 w 12243467"/>
              <a:gd name="connsiteY6469" fmla="*/ 480069 h 4565177"/>
              <a:gd name="connsiteX6470" fmla="*/ 2947504 w 12243467"/>
              <a:gd name="connsiteY6470" fmla="*/ 529533 h 4565177"/>
              <a:gd name="connsiteX6471" fmla="*/ 2954972 w 12243467"/>
              <a:gd name="connsiteY6471" fmla="*/ 530241 h 4565177"/>
              <a:gd name="connsiteX6472" fmla="*/ 2896335 w 12243467"/>
              <a:gd name="connsiteY6472" fmla="*/ 557248 h 4565177"/>
              <a:gd name="connsiteX6473" fmla="*/ 2830229 w 12243467"/>
              <a:gd name="connsiteY6473" fmla="*/ 590629 h 4565177"/>
              <a:gd name="connsiteX6474" fmla="*/ 2807826 w 12243467"/>
              <a:gd name="connsiteY6474" fmla="*/ 609645 h 4565177"/>
              <a:gd name="connsiteX6475" fmla="*/ 2816401 w 12243467"/>
              <a:gd name="connsiteY6475" fmla="*/ 612478 h 4565177"/>
              <a:gd name="connsiteX6476" fmla="*/ 2707147 w 12243467"/>
              <a:gd name="connsiteY6476" fmla="*/ 711607 h 4565177"/>
              <a:gd name="connsiteX6477" fmla="*/ 2733977 w 12243467"/>
              <a:gd name="connsiteY6477" fmla="*/ 710393 h 4565177"/>
              <a:gd name="connsiteX6478" fmla="*/ 2762465 w 12243467"/>
              <a:gd name="connsiteY6478" fmla="*/ 676001 h 4565177"/>
              <a:gd name="connsiteX6479" fmla="*/ 2805337 w 12243467"/>
              <a:gd name="connsiteY6479" fmla="*/ 640699 h 4565177"/>
              <a:gd name="connsiteX6480" fmla="*/ 2839080 w 12243467"/>
              <a:gd name="connsiteY6480" fmla="*/ 619154 h 4565177"/>
              <a:gd name="connsiteX6481" fmla="*/ 2900760 w 12243467"/>
              <a:gd name="connsiteY6481" fmla="*/ 568072 h 4565177"/>
              <a:gd name="connsiteX6482" fmla="*/ 2978759 w 12243467"/>
              <a:gd name="connsiteY6482" fmla="*/ 527307 h 4565177"/>
              <a:gd name="connsiteX6483" fmla="*/ 2791231 w 12243467"/>
              <a:gd name="connsiteY6483" fmla="*/ 667201 h 4565177"/>
              <a:gd name="connsiteX6484" fmla="*/ 2743657 w 12243467"/>
              <a:gd name="connsiteY6484" fmla="*/ 703616 h 4565177"/>
              <a:gd name="connsiteX6485" fmla="*/ 2741721 w 12243467"/>
              <a:gd name="connsiteY6485" fmla="*/ 711101 h 4565177"/>
              <a:gd name="connsiteX6486" fmla="*/ 2665936 w 12243467"/>
              <a:gd name="connsiteY6486" fmla="*/ 770073 h 4565177"/>
              <a:gd name="connsiteX6487" fmla="*/ 2703275 w 12243467"/>
              <a:gd name="connsiteY6487" fmla="*/ 726578 h 4565177"/>
              <a:gd name="connsiteX6488" fmla="*/ 2647957 w 12243467"/>
              <a:gd name="connsiteY6488" fmla="*/ 780998 h 4565177"/>
              <a:gd name="connsiteX6489" fmla="*/ 2589872 w 12243467"/>
              <a:gd name="connsiteY6489" fmla="*/ 840779 h 4565177"/>
              <a:gd name="connsiteX6490" fmla="*/ 2561385 w 12243467"/>
              <a:gd name="connsiteY6490" fmla="*/ 875272 h 4565177"/>
              <a:gd name="connsiteX6491" fmla="*/ 2516576 w 12243467"/>
              <a:gd name="connsiteY6491" fmla="*/ 936772 h 4565177"/>
              <a:gd name="connsiteX6492" fmla="*/ 2471493 w 12243467"/>
              <a:gd name="connsiteY6492" fmla="*/ 998374 h 4565177"/>
              <a:gd name="connsiteX6493" fmla="*/ 2493343 w 12243467"/>
              <a:gd name="connsiteY6493" fmla="*/ 984213 h 4565177"/>
              <a:gd name="connsiteX6494" fmla="*/ 2626660 w 12243467"/>
              <a:gd name="connsiteY6494" fmla="*/ 820953 h 4565177"/>
              <a:gd name="connsiteX6495" fmla="*/ 2547554 w 12243467"/>
              <a:gd name="connsiteY6495" fmla="*/ 927668 h 4565177"/>
              <a:gd name="connsiteX6496" fmla="*/ 2556129 w 12243467"/>
              <a:gd name="connsiteY6496" fmla="*/ 930298 h 4565177"/>
              <a:gd name="connsiteX6497" fmla="*/ 2525981 w 12243467"/>
              <a:gd name="connsiteY6497" fmla="*/ 960543 h 4565177"/>
              <a:gd name="connsiteX6498" fmla="*/ 2529576 w 12243467"/>
              <a:gd name="connsiteY6498" fmla="*/ 969141 h 4565177"/>
              <a:gd name="connsiteX6499" fmla="*/ 2602595 w 12243467"/>
              <a:gd name="connsiteY6499" fmla="*/ 903695 h 4565177"/>
              <a:gd name="connsiteX6500" fmla="*/ 2588767 w 12243467"/>
              <a:gd name="connsiteY6500" fmla="*/ 899750 h 4565177"/>
              <a:gd name="connsiteX6501" fmla="*/ 2587937 w 12243467"/>
              <a:gd name="connsiteY6501" fmla="*/ 885893 h 4565177"/>
              <a:gd name="connsiteX6502" fmla="*/ 2614766 w 12243467"/>
              <a:gd name="connsiteY6502" fmla="*/ 865864 h 4565177"/>
              <a:gd name="connsiteX6503" fmla="*/ 2619191 w 12243467"/>
              <a:gd name="connsiteY6503" fmla="*/ 876587 h 4565177"/>
              <a:gd name="connsiteX6504" fmla="*/ 2693040 w 12243467"/>
              <a:gd name="connsiteY6504" fmla="*/ 806387 h 4565177"/>
              <a:gd name="connsiteX6505" fmla="*/ 2680042 w 12243467"/>
              <a:gd name="connsiteY6505" fmla="*/ 811546 h 4565177"/>
              <a:gd name="connsiteX6506" fmla="*/ 2697190 w 12243467"/>
              <a:gd name="connsiteY6506" fmla="*/ 798396 h 4565177"/>
              <a:gd name="connsiteX6507" fmla="*/ 2694424 w 12243467"/>
              <a:gd name="connsiteY6507" fmla="*/ 803656 h 4565177"/>
              <a:gd name="connsiteX6508" fmla="*/ 2735913 w 12243467"/>
              <a:gd name="connsiteY6508" fmla="*/ 770983 h 4565177"/>
              <a:gd name="connsiteX6509" fmla="*/ 2721806 w 12243467"/>
              <a:gd name="connsiteY6509" fmla="*/ 767140 h 4565177"/>
              <a:gd name="connsiteX6510" fmla="*/ 2832166 w 12243467"/>
              <a:gd name="connsiteY6510" fmla="*/ 688747 h 4565177"/>
              <a:gd name="connsiteX6511" fmla="*/ 2848485 w 12243467"/>
              <a:gd name="connsiteY6511" fmla="*/ 692186 h 4565177"/>
              <a:gd name="connsiteX6512" fmla="*/ 2863974 w 12243467"/>
              <a:gd name="connsiteY6512" fmla="*/ 681666 h 4565177"/>
              <a:gd name="connsiteX6513" fmla="*/ 2872272 w 12243467"/>
              <a:gd name="connsiteY6513" fmla="*/ 658805 h 4565177"/>
              <a:gd name="connsiteX6514" fmla="*/ 2941418 w 12243467"/>
              <a:gd name="connsiteY6514" fmla="*/ 638878 h 4565177"/>
              <a:gd name="connsiteX6515" fmla="*/ 2932015 w 12243467"/>
              <a:gd name="connsiteY6515" fmla="*/ 652635 h 4565177"/>
              <a:gd name="connsiteX6516" fmla="*/ 2955802 w 12243467"/>
              <a:gd name="connsiteY6516" fmla="*/ 649702 h 4565177"/>
              <a:gd name="connsiteX6517" fmla="*/ 2950823 w 12243467"/>
              <a:gd name="connsiteY6517" fmla="*/ 643835 h 4565177"/>
              <a:gd name="connsiteX6518" fmla="*/ 3127288 w 12243467"/>
              <a:gd name="connsiteY6518" fmla="*/ 550876 h 4565177"/>
              <a:gd name="connsiteX6519" fmla="*/ 3013055 w 12243467"/>
              <a:gd name="connsiteY6519" fmla="*/ 625324 h 4565177"/>
              <a:gd name="connsiteX6520" fmla="*/ 2940866 w 12243467"/>
              <a:gd name="connsiteY6520" fmla="*/ 681261 h 4565177"/>
              <a:gd name="connsiteX6521" fmla="*/ 2975440 w 12243467"/>
              <a:gd name="connsiteY6521" fmla="*/ 661840 h 4565177"/>
              <a:gd name="connsiteX6522" fmla="*/ 3086905 w 12243467"/>
              <a:gd name="connsiteY6522" fmla="*/ 592652 h 4565177"/>
              <a:gd name="connsiteX6523" fmla="*/ 3118713 w 12243467"/>
              <a:gd name="connsiteY6523" fmla="*/ 578592 h 4565177"/>
              <a:gd name="connsiteX6524" fmla="*/ 3144436 w 12243467"/>
              <a:gd name="connsiteY6524" fmla="*/ 575254 h 4565177"/>
              <a:gd name="connsiteX6525" fmla="*/ 3063119 w 12243467"/>
              <a:gd name="connsiteY6525" fmla="*/ 626032 h 4565177"/>
              <a:gd name="connsiteX6526" fmla="*/ 3039609 w 12243467"/>
              <a:gd name="connsiteY6526" fmla="*/ 635945 h 4565177"/>
              <a:gd name="connsiteX6527" fmla="*/ 3056757 w 12243467"/>
              <a:gd name="connsiteY6527" fmla="*/ 641508 h 4565177"/>
              <a:gd name="connsiteX6528" fmla="*/ 3067821 w 12243467"/>
              <a:gd name="connsiteY6528" fmla="*/ 632101 h 4565177"/>
              <a:gd name="connsiteX6529" fmla="*/ 3082480 w 12243467"/>
              <a:gd name="connsiteY6529" fmla="*/ 631191 h 4565177"/>
              <a:gd name="connsiteX6530" fmla="*/ 3080820 w 12243467"/>
              <a:gd name="connsiteY6530" fmla="*/ 645656 h 4565177"/>
              <a:gd name="connsiteX6531" fmla="*/ 3082204 w 12243467"/>
              <a:gd name="connsiteY6531" fmla="*/ 645352 h 4565177"/>
              <a:gd name="connsiteX6532" fmla="*/ 3088842 w 12243467"/>
              <a:gd name="connsiteY6532" fmla="*/ 638474 h 4565177"/>
              <a:gd name="connsiteX6533" fmla="*/ 3088565 w 12243467"/>
              <a:gd name="connsiteY6533" fmla="*/ 636956 h 4565177"/>
              <a:gd name="connsiteX6534" fmla="*/ 3086905 w 12243467"/>
              <a:gd name="connsiteY6534" fmla="*/ 630078 h 4565177"/>
              <a:gd name="connsiteX6535" fmla="*/ 3095202 w 12243467"/>
              <a:gd name="connsiteY6535" fmla="*/ 628965 h 4565177"/>
              <a:gd name="connsiteX6536" fmla="*/ 3101564 w 12243467"/>
              <a:gd name="connsiteY6536" fmla="*/ 624919 h 4565177"/>
              <a:gd name="connsiteX6537" fmla="*/ 3112352 w 12243467"/>
              <a:gd name="connsiteY6537" fmla="*/ 612882 h 4565177"/>
              <a:gd name="connsiteX6538" fmla="*/ 3112352 w 12243467"/>
              <a:gd name="connsiteY6538" fmla="*/ 612781 h 4565177"/>
              <a:gd name="connsiteX6539" fmla="*/ 3110692 w 12243467"/>
              <a:gd name="connsiteY6539" fmla="*/ 608533 h 4565177"/>
              <a:gd name="connsiteX6540" fmla="*/ 3125074 w 12243467"/>
              <a:gd name="connsiteY6540" fmla="*/ 603475 h 4565177"/>
              <a:gd name="connsiteX6541" fmla="*/ 3135032 w 12243467"/>
              <a:gd name="connsiteY6541" fmla="*/ 596293 h 4565177"/>
              <a:gd name="connsiteX6542" fmla="*/ 3137245 w 12243467"/>
              <a:gd name="connsiteY6542" fmla="*/ 585166 h 4565177"/>
              <a:gd name="connsiteX6543" fmla="*/ 3250094 w 12243467"/>
              <a:gd name="connsiteY6543" fmla="*/ 502120 h 4565177"/>
              <a:gd name="connsiteX6544" fmla="*/ 3309561 w 12243467"/>
              <a:gd name="connsiteY6544" fmla="*/ 458625 h 4565177"/>
              <a:gd name="connsiteX6545" fmla="*/ 3438452 w 12243467"/>
              <a:gd name="connsiteY6545" fmla="*/ 368296 h 4565177"/>
              <a:gd name="connsiteX6546" fmla="*/ 3429876 w 12243467"/>
              <a:gd name="connsiteY6546" fmla="*/ 362732 h 4565177"/>
              <a:gd name="connsiteX6547" fmla="*/ 3462790 w 12243467"/>
              <a:gd name="connsiteY6547" fmla="*/ 354944 h 4565177"/>
              <a:gd name="connsiteX6548" fmla="*/ 3504833 w 12243467"/>
              <a:gd name="connsiteY6548" fmla="*/ 325508 h 4565177"/>
              <a:gd name="connsiteX6549" fmla="*/ 3520874 w 12243467"/>
              <a:gd name="connsiteY6549" fmla="*/ 329655 h 4565177"/>
              <a:gd name="connsiteX6550" fmla="*/ 3522535 w 12243467"/>
              <a:gd name="connsiteY6550" fmla="*/ 309324 h 4565177"/>
              <a:gd name="connsiteX6551" fmla="*/ 3530832 w 12243467"/>
              <a:gd name="connsiteY6551" fmla="*/ 303356 h 4565177"/>
              <a:gd name="connsiteX6552" fmla="*/ 3555726 w 12243467"/>
              <a:gd name="connsiteY6552" fmla="*/ 299310 h 4565177"/>
              <a:gd name="connsiteX6553" fmla="*/ 3549640 w 12243467"/>
              <a:gd name="connsiteY6553" fmla="*/ 294050 h 4565177"/>
              <a:gd name="connsiteX6554" fmla="*/ 3550469 w 12243467"/>
              <a:gd name="connsiteY6554" fmla="*/ 289599 h 4565177"/>
              <a:gd name="connsiteX6555" fmla="*/ 3617957 w 12243467"/>
              <a:gd name="connsiteY6555" fmla="*/ 265221 h 4565177"/>
              <a:gd name="connsiteX6556" fmla="*/ 3617129 w 12243467"/>
              <a:gd name="connsiteY6556" fmla="*/ 258343 h 4565177"/>
              <a:gd name="connsiteX6557" fmla="*/ 3686276 w 12243467"/>
              <a:gd name="connsiteY6557" fmla="*/ 224963 h 4565177"/>
              <a:gd name="connsiteX6558" fmla="*/ 3851123 w 12243467"/>
              <a:gd name="connsiteY6558" fmla="*/ 159113 h 4565177"/>
              <a:gd name="connsiteX6559" fmla="*/ 3848634 w 12243467"/>
              <a:gd name="connsiteY6559" fmla="*/ 147480 h 4565177"/>
              <a:gd name="connsiteX6560" fmla="*/ 3869379 w 12243467"/>
              <a:gd name="connsiteY6560" fmla="*/ 152032 h 4565177"/>
              <a:gd name="connsiteX6561" fmla="*/ 3919442 w 12243467"/>
              <a:gd name="connsiteY6561" fmla="*/ 130284 h 4565177"/>
              <a:gd name="connsiteX6562" fmla="*/ 3931887 w 12243467"/>
              <a:gd name="connsiteY6562" fmla="*/ 129273 h 4565177"/>
              <a:gd name="connsiteX6563" fmla="*/ 3933548 w 12243467"/>
              <a:gd name="connsiteY6563" fmla="*/ 120472 h 4565177"/>
              <a:gd name="connsiteX6564" fmla="*/ 3916399 w 12243467"/>
              <a:gd name="connsiteY6564" fmla="*/ 123001 h 4565177"/>
              <a:gd name="connsiteX6565" fmla="*/ 3939632 w 12243467"/>
              <a:gd name="connsiteY6565" fmla="*/ 114201 h 4565177"/>
              <a:gd name="connsiteX6566" fmla="*/ 3942675 w 12243467"/>
              <a:gd name="connsiteY6566" fmla="*/ 123608 h 4565177"/>
              <a:gd name="connsiteX6567" fmla="*/ 3965631 w 12243467"/>
              <a:gd name="connsiteY6567" fmla="*/ 117134 h 4565177"/>
              <a:gd name="connsiteX6568" fmla="*/ 3954567 w 12243467"/>
              <a:gd name="connsiteY6568" fmla="*/ 111369 h 4565177"/>
              <a:gd name="connsiteX6569" fmla="*/ 3968950 w 12243467"/>
              <a:gd name="connsiteY6569" fmla="*/ 112987 h 4565177"/>
              <a:gd name="connsiteX6570" fmla="*/ 4025928 w 12243467"/>
              <a:gd name="connsiteY6570" fmla="*/ 91947 h 4565177"/>
              <a:gd name="connsiteX6571" fmla="*/ 4063544 w 12243467"/>
              <a:gd name="connsiteY6571" fmla="*/ 84664 h 4565177"/>
              <a:gd name="connsiteX6572" fmla="*/ 4121351 w 12243467"/>
              <a:gd name="connsiteY6572" fmla="*/ 72931 h 4565177"/>
              <a:gd name="connsiteX6573" fmla="*/ 4164499 w 12243467"/>
              <a:gd name="connsiteY6573" fmla="*/ 50374 h 4565177"/>
              <a:gd name="connsiteX6574" fmla="*/ 4262136 w 12243467"/>
              <a:gd name="connsiteY6574" fmla="*/ 42990 h 4565177"/>
              <a:gd name="connsiteX6575" fmla="*/ 4271540 w 12243467"/>
              <a:gd name="connsiteY6575" fmla="*/ 32571 h 4565177"/>
              <a:gd name="connsiteX6576" fmla="*/ 4387708 w 12243467"/>
              <a:gd name="connsiteY6576" fmla="*/ 18106 h 4565177"/>
              <a:gd name="connsiteX6577" fmla="*/ 4387431 w 12243467"/>
              <a:gd name="connsiteY6577" fmla="*/ 31762 h 4565177"/>
              <a:gd name="connsiteX6578" fmla="*/ 4401814 w 12243467"/>
              <a:gd name="connsiteY6578" fmla="*/ 19623 h 4565177"/>
              <a:gd name="connsiteX6579" fmla="*/ 4443025 w 12243467"/>
              <a:gd name="connsiteY6579" fmla="*/ 17398 h 4565177"/>
              <a:gd name="connsiteX6580" fmla="*/ 4909702 w 12243467"/>
              <a:gd name="connsiteY6580" fmla="*/ 14933 h 4565177"/>
              <a:gd name="connsiteX6581" fmla="*/ 4924016 w 12243467"/>
              <a:gd name="connsiteY6581" fmla="*/ 22355 h 4565177"/>
              <a:gd name="connsiteX6582" fmla="*/ 4906868 w 12243467"/>
              <a:gd name="connsiteY6582" fmla="*/ 22658 h 4565177"/>
              <a:gd name="connsiteX6583" fmla="*/ 4893314 w 12243467"/>
              <a:gd name="connsiteY6583" fmla="*/ 16993 h 4565177"/>
              <a:gd name="connsiteX6584" fmla="*/ 4909702 w 12243467"/>
              <a:gd name="connsiteY6584" fmla="*/ 14933 h 4565177"/>
              <a:gd name="connsiteX6585" fmla="*/ 4726184 w 12243467"/>
              <a:gd name="connsiteY6585" fmla="*/ 13162 h 4565177"/>
              <a:gd name="connsiteX6586" fmla="*/ 4736211 w 12243467"/>
              <a:gd name="connsiteY6586" fmla="*/ 19623 h 4565177"/>
              <a:gd name="connsiteX6587" fmla="*/ 4717126 w 12243467"/>
              <a:gd name="connsiteY6587" fmla="*/ 19826 h 4565177"/>
              <a:gd name="connsiteX6588" fmla="*/ 4710765 w 12243467"/>
              <a:gd name="connsiteY6588" fmla="*/ 14667 h 4565177"/>
              <a:gd name="connsiteX6589" fmla="*/ 4726184 w 12243467"/>
              <a:gd name="connsiteY6589" fmla="*/ 13162 h 4565177"/>
              <a:gd name="connsiteX6590" fmla="*/ 4774900 w 12243467"/>
              <a:gd name="connsiteY6590" fmla="*/ 12821 h 4565177"/>
              <a:gd name="connsiteX6591" fmla="*/ 4781572 w 12243467"/>
              <a:gd name="connsiteY6591" fmla="*/ 13554 h 4565177"/>
              <a:gd name="connsiteX6592" fmla="*/ 4770508 w 12243467"/>
              <a:gd name="connsiteY6592" fmla="*/ 19219 h 4565177"/>
              <a:gd name="connsiteX6593" fmla="*/ 4774900 w 12243467"/>
              <a:gd name="connsiteY6593" fmla="*/ 12821 h 4565177"/>
              <a:gd name="connsiteX6594" fmla="*/ 4581320 w 12243467"/>
              <a:gd name="connsiteY6594" fmla="*/ 3237 h 4565177"/>
              <a:gd name="connsiteX6595" fmla="*/ 4550897 w 12243467"/>
              <a:gd name="connsiteY6595" fmla="*/ 22355 h 4565177"/>
              <a:gd name="connsiteX6596" fmla="*/ 4533747 w 12243467"/>
              <a:gd name="connsiteY6596" fmla="*/ 22759 h 4565177"/>
              <a:gd name="connsiteX6597" fmla="*/ 4542321 w 12243467"/>
              <a:gd name="connsiteY6597" fmla="*/ 16993 h 4565177"/>
              <a:gd name="connsiteX6598" fmla="*/ 4513832 w 12243467"/>
              <a:gd name="connsiteY6598" fmla="*/ 13858 h 4565177"/>
              <a:gd name="connsiteX6599" fmla="*/ 4484515 w 12243467"/>
              <a:gd name="connsiteY6599" fmla="*/ 28626 h 4565177"/>
              <a:gd name="connsiteX6600" fmla="*/ 4483684 w 12243467"/>
              <a:gd name="connsiteY6600" fmla="*/ 19522 h 4565177"/>
              <a:gd name="connsiteX6601" fmla="*/ 4467919 w 12243467"/>
              <a:gd name="connsiteY6601" fmla="*/ 26805 h 4565177"/>
              <a:gd name="connsiteX6602" fmla="*/ 4464323 w 12243467"/>
              <a:gd name="connsiteY6602" fmla="*/ 19623 h 4565177"/>
              <a:gd name="connsiteX6603" fmla="*/ 4454642 w 12243467"/>
              <a:gd name="connsiteY6603" fmla="*/ 32065 h 4565177"/>
              <a:gd name="connsiteX6604" fmla="*/ 4445238 w 12243467"/>
              <a:gd name="connsiteY6604" fmla="*/ 19725 h 4565177"/>
              <a:gd name="connsiteX6605" fmla="*/ 4449387 w 12243467"/>
              <a:gd name="connsiteY6605" fmla="*/ 11228 h 4565177"/>
              <a:gd name="connsiteX6606" fmla="*/ 4581320 w 12243467"/>
              <a:gd name="connsiteY6606" fmla="*/ 3237 h 4565177"/>
              <a:gd name="connsiteX6607" fmla="*/ 4665404 w 12243467"/>
              <a:gd name="connsiteY6607" fmla="*/ 708 h 4565177"/>
              <a:gd name="connsiteX6608" fmla="*/ 4761657 w 12243467"/>
              <a:gd name="connsiteY6608" fmla="*/ 2326 h 4565177"/>
              <a:gd name="connsiteX6609" fmla="*/ 4682829 w 12243467"/>
              <a:gd name="connsiteY6609" fmla="*/ 9508 h 4565177"/>
              <a:gd name="connsiteX6610" fmla="*/ 4670382 w 12243467"/>
              <a:gd name="connsiteY6610" fmla="*/ 21242 h 4565177"/>
              <a:gd name="connsiteX6611" fmla="*/ 4664021 w 12243467"/>
              <a:gd name="connsiteY6611" fmla="*/ 18814 h 4565177"/>
              <a:gd name="connsiteX6612" fmla="*/ 4667063 w 12243467"/>
              <a:gd name="connsiteY6612" fmla="*/ 16791 h 4565177"/>
              <a:gd name="connsiteX6613" fmla="*/ 4665404 w 12243467"/>
              <a:gd name="connsiteY6613" fmla="*/ 708 h 4565177"/>
              <a:gd name="connsiteX6614" fmla="*/ 4620044 w 12243467"/>
              <a:gd name="connsiteY6614" fmla="*/ 0 h 4565177"/>
              <a:gd name="connsiteX6615" fmla="*/ 4606490 w 12243467"/>
              <a:gd name="connsiteY6615" fmla="*/ 9407 h 4565177"/>
              <a:gd name="connsiteX6616" fmla="*/ 4592937 w 12243467"/>
              <a:gd name="connsiteY6616" fmla="*/ 1618 h 4565177"/>
              <a:gd name="connsiteX6617" fmla="*/ 4620044 w 12243467"/>
              <a:gd name="connsiteY6617" fmla="*/ 0 h 4565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Lst>
            <a:rect l="l" t="t" r="r" b="b"/>
            <a:pathLst>
              <a:path w="12243467" h="4565177">
                <a:moveTo>
                  <a:pt x="5860062" y="4555770"/>
                </a:moveTo>
                <a:cubicBezTo>
                  <a:pt x="5866701" y="4554860"/>
                  <a:pt x="5873616" y="4556781"/>
                  <a:pt x="5873616" y="4563559"/>
                </a:cubicBezTo>
                <a:cubicBezTo>
                  <a:pt x="5862276" y="4560018"/>
                  <a:pt x="5858956" y="4564267"/>
                  <a:pt x="5846510" y="4565177"/>
                </a:cubicBezTo>
                <a:cubicBezTo>
                  <a:pt x="5846232" y="4560524"/>
                  <a:pt x="5853147" y="4556781"/>
                  <a:pt x="5860062" y="4555770"/>
                </a:cubicBezTo>
                <a:close/>
                <a:moveTo>
                  <a:pt x="5696044" y="4545958"/>
                </a:moveTo>
                <a:cubicBezTo>
                  <a:pt x="5697150" y="4552938"/>
                  <a:pt x="5686917" y="4554152"/>
                  <a:pt x="5684980" y="4551623"/>
                </a:cubicBezTo>
                <a:cubicBezTo>
                  <a:pt x="5685810" y="4547172"/>
                  <a:pt x="5691343" y="4545452"/>
                  <a:pt x="5696044" y="4545958"/>
                </a:cubicBezTo>
                <a:close/>
                <a:moveTo>
                  <a:pt x="5749426" y="4545351"/>
                </a:moveTo>
                <a:cubicBezTo>
                  <a:pt x="5748596" y="4549701"/>
                  <a:pt x="5753298" y="4550308"/>
                  <a:pt x="5755787" y="4550510"/>
                </a:cubicBezTo>
                <a:cubicBezTo>
                  <a:pt x="5747767" y="4554253"/>
                  <a:pt x="5731172" y="4552432"/>
                  <a:pt x="5730341" y="4545554"/>
                </a:cubicBezTo>
                <a:cubicBezTo>
                  <a:pt x="5736703" y="4548487"/>
                  <a:pt x="5739192" y="4548689"/>
                  <a:pt x="5749426" y="4545351"/>
                </a:cubicBezTo>
                <a:close/>
                <a:moveTo>
                  <a:pt x="5796170" y="4543935"/>
                </a:moveTo>
                <a:cubicBezTo>
                  <a:pt x="5797829" y="4543733"/>
                  <a:pt x="5799765" y="4544441"/>
                  <a:pt x="5802531" y="4546363"/>
                </a:cubicBezTo>
                <a:cubicBezTo>
                  <a:pt x="5801426" y="4550813"/>
                  <a:pt x="5799489" y="4548386"/>
                  <a:pt x="5799489" y="4548386"/>
                </a:cubicBezTo>
                <a:cubicBezTo>
                  <a:pt x="5789808" y="4549600"/>
                  <a:pt x="5799212" y="4561940"/>
                  <a:pt x="5801148" y="4564469"/>
                </a:cubicBezTo>
                <a:cubicBezTo>
                  <a:pt x="5779851" y="4550712"/>
                  <a:pt x="5735044" y="4568414"/>
                  <a:pt x="5704895" y="4562851"/>
                </a:cubicBezTo>
                <a:cubicBezTo>
                  <a:pt x="5726469" y="4551623"/>
                  <a:pt x="5763809" y="4558096"/>
                  <a:pt x="5783724" y="4555669"/>
                </a:cubicBezTo>
                <a:cubicBezTo>
                  <a:pt x="5789532" y="4552938"/>
                  <a:pt x="5791191" y="4544542"/>
                  <a:pt x="5796170" y="4543935"/>
                </a:cubicBezTo>
                <a:close/>
                <a:moveTo>
                  <a:pt x="5559686" y="4542519"/>
                </a:moveTo>
                <a:cubicBezTo>
                  <a:pt x="5560791" y="4549094"/>
                  <a:pt x="5566047" y="4547475"/>
                  <a:pt x="5573238" y="4548184"/>
                </a:cubicBezTo>
                <a:cubicBezTo>
                  <a:pt x="5567430" y="4551926"/>
                  <a:pt x="5545579" y="4551724"/>
                  <a:pt x="5542537" y="4542822"/>
                </a:cubicBezTo>
                <a:cubicBezTo>
                  <a:pt x="5551664" y="4545958"/>
                  <a:pt x="5549728" y="4543531"/>
                  <a:pt x="5559686" y="4542519"/>
                </a:cubicBezTo>
                <a:close/>
                <a:moveTo>
                  <a:pt x="6011910" y="4533112"/>
                </a:moveTo>
                <a:cubicBezTo>
                  <a:pt x="6018548" y="4536045"/>
                  <a:pt x="6003612" y="4550207"/>
                  <a:pt x="6021314" y="4545452"/>
                </a:cubicBezTo>
                <a:cubicBezTo>
                  <a:pt x="6020484" y="4549802"/>
                  <a:pt x="6018271" y="4549499"/>
                  <a:pt x="6017165" y="4553949"/>
                </a:cubicBezTo>
                <a:cubicBezTo>
                  <a:pt x="5973741" y="4553646"/>
                  <a:pt x="5934188" y="4558299"/>
                  <a:pt x="5885232" y="4561940"/>
                </a:cubicBezTo>
                <a:cubicBezTo>
                  <a:pt x="5889380" y="4553342"/>
                  <a:pt x="5915103" y="4558501"/>
                  <a:pt x="5915656" y="4542822"/>
                </a:cubicBezTo>
                <a:cubicBezTo>
                  <a:pt x="5922848" y="4543531"/>
                  <a:pt x="5928104" y="4541912"/>
                  <a:pt x="5932805" y="4542418"/>
                </a:cubicBezTo>
                <a:cubicBezTo>
                  <a:pt x="5936677" y="4547374"/>
                  <a:pt x="5926997" y="4546262"/>
                  <a:pt x="5924231" y="4548184"/>
                </a:cubicBezTo>
                <a:cubicBezTo>
                  <a:pt x="5927550" y="4555365"/>
                  <a:pt x="5946358" y="4546160"/>
                  <a:pt x="5952721" y="4551319"/>
                </a:cubicBezTo>
                <a:cubicBezTo>
                  <a:pt x="5944699" y="4530178"/>
                  <a:pt x="5974295" y="4551522"/>
                  <a:pt x="5982038" y="4536551"/>
                </a:cubicBezTo>
                <a:cubicBezTo>
                  <a:pt x="5983144" y="4543429"/>
                  <a:pt x="5978442" y="4542924"/>
                  <a:pt x="5982868" y="4545655"/>
                </a:cubicBezTo>
                <a:cubicBezTo>
                  <a:pt x="5985910" y="4541507"/>
                  <a:pt x="5999740" y="4545250"/>
                  <a:pt x="5998633" y="4538372"/>
                </a:cubicBezTo>
                <a:cubicBezTo>
                  <a:pt x="6001123" y="4538675"/>
                  <a:pt x="6000294" y="4543025"/>
                  <a:pt x="6002230" y="4545554"/>
                </a:cubicBezTo>
                <a:cubicBezTo>
                  <a:pt x="6009697" y="4544036"/>
                  <a:pt x="6008591" y="4537259"/>
                  <a:pt x="6011910" y="4533112"/>
                </a:cubicBezTo>
                <a:close/>
                <a:moveTo>
                  <a:pt x="5997251" y="4522592"/>
                </a:moveTo>
                <a:cubicBezTo>
                  <a:pt x="5997527" y="4522390"/>
                  <a:pt x="5997805" y="4522491"/>
                  <a:pt x="5998633" y="4522693"/>
                </a:cubicBezTo>
                <a:cubicBezTo>
                  <a:pt x="5999740" y="4523098"/>
                  <a:pt x="6001399" y="4523806"/>
                  <a:pt x="6003889" y="4522997"/>
                </a:cubicBezTo>
                <a:cubicBezTo>
                  <a:pt x="6003612" y="4525222"/>
                  <a:pt x="6003059" y="4527548"/>
                  <a:pt x="6002506" y="4529875"/>
                </a:cubicBezTo>
                <a:cubicBezTo>
                  <a:pt x="5997805" y="4529369"/>
                  <a:pt x="5992272" y="4533415"/>
                  <a:pt x="5993655" y="4526537"/>
                </a:cubicBezTo>
                <a:cubicBezTo>
                  <a:pt x="5995869" y="4526840"/>
                  <a:pt x="5995869" y="4526739"/>
                  <a:pt x="5998358" y="4527043"/>
                </a:cubicBezTo>
                <a:cubicBezTo>
                  <a:pt x="5998633" y="4524716"/>
                  <a:pt x="5998633" y="4524817"/>
                  <a:pt x="5996421" y="4524514"/>
                </a:cubicBezTo>
                <a:cubicBezTo>
                  <a:pt x="5996697" y="4523401"/>
                  <a:pt x="5996974" y="4522794"/>
                  <a:pt x="5997251" y="4522592"/>
                </a:cubicBezTo>
                <a:close/>
                <a:moveTo>
                  <a:pt x="5970421" y="4521075"/>
                </a:moveTo>
                <a:cubicBezTo>
                  <a:pt x="5977336" y="4520468"/>
                  <a:pt x="5983974" y="4520468"/>
                  <a:pt x="5991166" y="4525930"/>
                </a:cubicBezTo>
                <a:cubicBezTo>
                  <a:pt x="5991995" y="4528256"/>
                  <a:pt x="5991719" y="4529369"/>
                  <a:pt x="5991166" y="4529571"/>
                </a:cubicBezTo>
                <a:cubicBezTo>
                  <a:pt x="5990336" y="4529774"/>
                  <a:pt x="5989507" y="4529167"/>
                  <a:pt x="5988400" y="4527953"/>
                </a:cubicBezTo>
                <a:cubicBezTo>
                  <a:pt x="5959911" y="4527043"/>
                  <a:pt x="5935848" y="4538068"/>
                  <a:pt x="5900167" y="4536349"/>
                </a:cubicBezTo>
                <a:cubicBezTo>
                  <a:pt x="5909849" y="4523806"/>
                  <a:pt x="5941103" y="4536349"/>
                  <a:pt x="5948847" y="4521176"/>
                </a:cubicBezTo>
                <a:cubicBezTo>
                  <a:pt x="5956868" y="4523199"/>
                  <a:pt x="5963783" y="4521783"/>
                  <a:pt x="5970421" y="4521075"/>
                </a:cubicBezTo>
                <a:close/>
                <a:moveTo>
                  <a:pt x="6032377" y="4517231"/>
                </a:moveTo>
                <a:cubicBezTo>
                  <a:pt x="6024633" y="4518546"/>
                  <a:pt x="6017442" y="4528762"/>
                  <a:pt x="6013017" y="4526031"/>
                </a:cubicBezTo>
                <a:cubicBezTo>
                  <a:pt x="6016335" y="4522086"/>
                  <a:pt x="6022144" y="4518344"/>
                  <a:pt x="6032377" y="4517231"/>
                </a:cubicBezTo>
                <a:close/>
                <a:moveTo>
                  <a:pt x="7176354" y="4482536"/>
                </a:moveTo>
                <a:cubicBezTo>
                  <a:pt x="7181056" y="4488099"/>
                  <a:pt x="7184928" y="4485166"/>
                  <a:pt x="7191843" y="4483648"/>
                </a:cubicBezTo>
                <a:cubicBezTo>
                  <a:pt x="7188800" y="4488706"/>
                  <a:pt x="7168886" y="4495281"/>
                  <a:pt x="7161141" y="4488200"/>
                </a:cubicBezTo>
                <a:cubicBezTo>
                  <a:pt x="7171098" y="4488200"/>
                  <a:pt x="7168056" y="4486582"/>
                  <a:pt x="7176354" y="4482536"/>
                </a:cubicBezTo>
                <a:close/>
                <a:moveTo>
                  <a:pt x="5925337" y="4443895"/>
                </a:moveTo>
                <a:cubicBezTo>
                  <a:pt x="5926997" y="4443794"/>
                  <a:pt x="5928933" y="4443997"/>
                  <a:pt x="5931146" y="4444300"/>
                </a:cubicBezTo>
                <a:cubicBezTo>
                  <a:pt x="5930316" y="4448751"/>
                  <a:pt x="5927826" y="4448346"/>
                  <a:pt x="5922848" y="4450066"/>
                </a:cubicBezTo>
                <a:cubicBezTo>
                  <a:pt x="5921465" y="4456742"/>
                  <a:pt x="5931976" y="4451077"/>
                  <a:pt x="5930869" y="4457753"/>
                </a:cubicBezTo>
                <a:cubicBezTo>
                  <a:pt x="5916210" y="4458461"/>
                  <a:pt x="5911231" y="4460181"/>
                  <a:pt x="5897126" y="4458664"/>
                </a:cubicBezTo>
                <a:cubicBezTo>
                  <a:pt x="5898508" y="4451988"/>
                  <a:pt x="5909849" y="4455528"/>
                  <a:pt x="5910954" y="4448852"/>
                </a:cubicBezTo>
                <a:cubicBezTo>
                  <a:pt x="5913444" y="4449054"/>
                  <a:pt x="5908189" y="4450875"/>
                  <a:pt x="5910125" y="4453303"/>
                </a:cubicBezTo>
                <a:cubicBezTo>
                  <a:pt x="5921741" y="4454618"/>
                  <a:pt x="5915933" y="4449358"/>
                  <a:pt x="5918976" y="4445109"/>
                </a:cubicBezTo>
                <a:cubicBezTo>
                  <a:pt x="5921465" y="4444300"/>
                  <a:pt x="5923401" y="4443997"/>
                  <a:pt x="5925337" y="4443895"/>
                </a:cubicBezTo>
                <a:close/>
                <a:moveTo>
                  <a:pt x="5972634" y="4443289"/>
                </a:moveTo>
                <a:cubicBezTo>
                  <a:pt x="5974295" y="4443187"/>
                  <a:pt x="5976231" y="4443390"/>
                  <a:pt x="5978442" y="4443794"/>
                </a:cubicBezTo>
                <a:cubicBezTo>
                  <a:pt x="5982868" y="4444502"/>
                  <a:pt x="5987293" y="4446121"/>
                  <a:pt x="5988123" y="4448548"/>
                </a:cubicBezTo>
                <a:cubicBezTo>
                  <a:pt x="5981485" y="4457045"/>
                  <a:pt x="5964613" y="4457551"/>
                  <a:pt x="5955209" y="4456540"/>
                </a:cubicBezTo>
                <a:cubicBezTo>
                  <a:pt x="5968485" y="4462609"/>
                  <a:pt x="5932805" y="4460889"/>
                  <a:pt x="5934466" y="4451886"/>
                </a:cubicBezTo>
                <a:cubicBezTo>
                  <a:pt x="5949678" y="4448852"/>
                  <a:pt x="5970145" y="4453505"/>
                  <a:pt x="5969868" y="4444199"/>
                </a:cubicBezTo>
                <a:cubicBezTo>
                  <a:pt x="5969868" y="4443592"/>
                  <a:pt x="5970974" y="4443390"/>
                  <a:pt x="5972634" y="4443289"/>
                </a:cubicBezTo>
                <a:close/>
                <a:moveTo>
                  <a:pt x="7301926" y="4442985"/>
                </a:moveTo>
                <a:cubicBezTo>
                  <a:pt x="7306904" y="4448953"/>
                  <a:pt x="7298330" y="4453100"/>
                  <a:pt x="7295011" y="4451482"/>
                </a:cubicBezTo>
                <a:cubicBezTo>
                  <a:pt x="7293351" y="4447132"/>
                  <a:pt x="7297224" y="4443997"/>
                  <a:pt x="7301926" y="4442985"/>
                </a:cubicBezTo>
                <a:close/>
                <a:moveTo>
                  <a:pt x="7350052" y="4425587"/>
                </a:moveTo>
                <a:cubicBezTo>
                  <a:pt x="7351712" y="4429936"/>
                  <a:pt x="7356137" y="4428824"/>
                  <a:pt x="7358350" y="4428318"/>
                </a:cubicBezTo>
                <a:cubicBezTo>
                  <a:pt x="7353371" y="4434185"/>
                  <a:pt x="7337606" y="4437725"/>
                  <a:pt x="7332627" y="4431757"/>
                </a:cubicBezTo>
                <a:cubicBezTo>
                  <a:pt x="7340372" y="4432364"/>
                  <a:pt x="7342584" y="4431959"/>
                  <a:pt x="7350052" y="4425587"/>
                </a:cubicBezTo>
                <a:close/>
                <a:moveTo>
                  <a:pt x="5965444" y="4422552"/>
                </a:moveTo>
                <a:cubicBezTo>
                  <a:pt x="5968209" y="4422856"/>
                  <a:pt x="5971252" y="4423766"/>
                  <a:pt x="5973741" y="4424070"/>
                </a:cubicBezTo>
                <a:cubicBezTo>
                  <a:pt x="5974847" y="4430948"/>
                  <a:pt x="5961017" y="4424879"/>
                  <a:pt x="5962677" y="4429633"/>
                </a:cubicBezTo>
                <a:cubicBezTo>
                  <a:pt x="5960187" y="4429330"/>
                  <a:pt x="5958251" y="4426902"/>
                  <a:pt x="5958529" y="4424677"/>
                </a:cubicBezTo>
                <a:cubicBezTo>
                  <a:pt x="5960187" y="4422552"/>
                  <a:pt x="5962677" y="4422148"/>
                  <a:pt x="5965444" y="4422552"/>
                </a:cubicBezTo>
                <a:close/>
                <a:moveTo>
                  <a:pt x="5870573" y="4415472"/>
                </a:moveTo>
                <a:cubicBezTo>
                  <a:pt x="5873891" y="4415573"/>
                  <a:pt x="5877210" y="4415876"/>
                  <a:pt x="5881360" y="4416382"/>
                </a:cubicBezTo>
                <a:cubicBezTo>
                  <a:pt x="5884125" y="4414359"/>
                  <a:pt x="5886339" y="4416888"/>
                  <a:pt x="5885785" y="4419113"/>
                </a:cubicBezTo>
                <a:cubicBezTo>
                  <a:pt x="5874998" y="4424778"/>
                  <a:pt x="5853425" y="4422552"/>
                  <a:pt x="5844296" y="4419214"/>
                </a:cubicBezTo>
                <a:cubicBezTo>
                  <a:pt x="5839594" y="4418709"/>
                  <a:pt x="5834339" y="4420327"/>
                  <a:pt x="5831851" y="4420023"/>
                </a:cubicBezTo>
                <a:cubicBezTo>
                  <a:pt x="5832403" y="4417798"/>
                  <a:pt x="5837105" y="4418405"/>
                  <a:pt x="5840148" y="4416382"/>
                </a:cubicBezTo>
                <a:cubicBezTo>
                  <a:pt x="5849828" y="4416281"/>
                  <a:pt x="5855914" y="4415775"/>
                  <a:pt x="5861722" y="4415573"/>
                </a:cubicBezTo>
                <a:cubicBezTo>
                  <a:pt x="5864765" y="4415472"/>
                  <a:pt x="5867530" y="4415370"/>
                  <a:pt x="5870573" y="4415472"/>
                </a:cubicBezTo>
                <a:close/>
                <a:moveTo>
                  <a:pt x="5722873" y="4415168"/>
                </a:moveTo>
                <a:cubicBezTo>
                  <a:pt x="5729511" y="4415573"/>
                  <a:pt x="5738639" y="4419619"/>
                  <a:pt x="5746383" y="4417090"/>
                </a:cubicBezTo>
                <a:cubicBezTo>
                  <a:pt x="5731172" y="4420023"/>
                  <a:pt x="5727852" y="4424272"/>
                  <a:pt x="5717618" y="4416180"/>
                </a:cubicBezTo>
                <a:cubicBezTo>
                  <a:pt x="5719001" y="4415168"/>
                  <a:pt x="5720661" y="4414966"/>
                  <a:pt x="5722873" y="4415168"/>
                </a:cubicBezTo>
                <a:close/>
                <a:moveTo>
                  <a:pt x="5782617" y="4414662"/>
                </a:moveTo>
                <a:cubicBezTo>
                  <a:pt x="5782063" y="4416888"/>
                  <a:pt x="5784000" y="4419417"/>
                  <a:pt x="5786212" y="4419720"/>
                </a:cubicBezTo>
                <a:cubicBezTo>
                  <a:pt x="5782617" y="4426194"/>
                  <a:pt x="5779851" y="4416584"/>
                  <a:pt x="5772384" y="4418102"/>
                </a:cubicBezTo>
                <a:cubicBezTo>
                  <a:pt x="5775149" y="4416079"/>
                  <a:pt x="5777915" y="4414157"/>
                  <a:pt x="5782617" y="4414662"/>
                </a:cubicBezTo>
                <a:close/>
                <a:moveTo>
                  <a:pt x="5811659" y="4413550"/>
                </a:moveTo>
                <a:cubicBezTo>
                  <a:pt x="5811935" y="4413651"/>
                  <a:pt x="5812488" y="4414258"/>
                  <a:pt x="5813318" y="4415067"/>
                </a:cubicBezTo>
                <a:cubicBezTo>
                  <a:pt x="5814425" y="4416584"/>
                  <a:pt x="5815807" y="4419012"/>
                  <a:pt x="5815531" y="4420125"/>
                </a:cubicBezTo>
                <a:cubicBezTo>
                  <a:pt x="5807510" y="4423968"/>
                  <a:pt x="5803084" y="4421136"/>
                  <a:pt x="5795893" y="4420327"/>
                </a:cubicBezTo>
                <a:cubicBezTo>
                  <a:pt x="5800042" y="4411527"/>
                  <a:pt x="5819403" y="4425283"/>
                  <a:pt x="5811659" y="4415168"/>
                </a:cubicBezTo>
                <a:cubicBezTo>
                  <a:pt x="5811382" y="4413954"/>
                  <a:pt x="5811382" y="4413449"/>
                  <a:pt x="5811659" y="4413550"/>
                </a:cubicBezTo>
                <a:close/>
                <a:moveTo>
                  <a:pt x="5915933" y="4413347"/>
                </a:moveTo>
                <a:cubicBezTo>
                  <a:pt x="5921741" y="4413449"/>
                  <a:pt x="5927550" y="4415269"/>
                  <a:pt x="5931422" y="4419619"/>
                </a:cubicBezTo>
                <a:cubicBezTo>
                  <a:pt x="5923125" y="4425385"/>
                  <a:pt x="5914828" y="4417697"/>
                  <a:pt x="5902105" y="4420732"/>
                </a:cubicBezTo>
                <a:cubicBezTo>
                  <a:pt x="5900721" y="4427306"/>
                  <a:pt x="5905977" y="4425688"/>
                  <a:pt x="5904593" y="4432263"/>
                </a:cubicBezTo>
                <a:cubicBezTo>
                  <a:pt x="5880253" y="4427812"/>
                  <a:pt x="5898508" y="4413145"/>
                  <a:pt x="5915933" y="4413347"/>
                </a:cubicBezTo>
                <a:close/>
                <a:moveTo>
                  <a:pt x="5944699" y="4411931"/>
                </a:moveTo>
                <a:cubicBezTo>
                  <a:pt x="5945252" y="4414258"/>
                  <a:pt x="5944975" y="4415977"/>
                  <a:pt x="5944422" y="4417394"/>
                </a:cubicBezTo>
                <a:cubicBezTo>
                  <a:pt x="5943870" y="4418709"/>
                  <a:pt x="5943039" y="4419720"/>
                  <a:pt x="5942763" y="4420833"/>
                </a:cubicBezTo>
                <a:cubicBezTo>
                  <a:pt x="5938060" y="4420327"/>
                  <a:pt x="5936124" y="4417798"/>
                  <a:pt x="5936955" y="4413347"/>
                </a:cubicBezTo>
                <a:cubicBezTo>
                  <a:pt x="5939443" y="4413651"/>
                  <a:pt x="5942209" y="4411628"/>
                  <a:pt x="5944699" y="4411931"/>
                </a:cubicBezTo>
                <a:close/>
                <a:moveTo>
                  <a:pt x="7391541" y="4409706"/>
                </a:moveTo>
                <a:cubicBezTo>
                  <a:pt x="7392924" y="4408998"/>
                  <a:pt x="7395136" y="4408998"/>
                  <a:pt x="7398732" y="4410009"/>
                </a:cubicBezTo>
                <a:cubicBezTo>
                  <a:pt x="7400392" y="4414258"/>
                  <a:pt x="7397073" y="4412639"/>
                  <a:pt x="7397073" y="4412639"/>
                </a:cubicBezTo>
                <a:cubicBezTo>
                  <a:pt x="7388775" y="4416787"/>
                  <a:pt x="7404541" y="4425081"/>
                  <a:pt x="7407860" y="4426700"/>
                </a:cubicBezTo>
                <a:cubicBezTo>
                  <a:pt x="7380477" y="4421035"/>
                  <a:pt x="7350052" y="4450976"/>
                  <a:pt x="7319351" y="4455427"/>
                </a:cubicBezTo>
                <a:cubicBezTo>
                  <a:pt x="7332627" y="4438534"/>
                  <a:pt x="7370243" y="4432566"/>
                  <a:pt x="7386839" y="4424272"/>
                </a:cubicBezTo>
                <a:cubicBezTo>
                  <a:pt x="7390711" y="4419922"/>
                  <a:pt x="7387392" y="4411830"/>
                  <a:pt x="7391541" y="4409706"/>
                </a:cubicBezTo>
                <a:close/>
                <a:moveTo>
                  <a:pt x="5962953" y="4408391"/>
                </a:moveTo>
                <a:cubicBezTo>
                  <a:pt x="5964060" y="4407986"/>
                  <a:pt x="5965166" y="4407885"/>
                  <a:pt x="5966272" y="4408492"/>
                </a:cubicBezTo>
                <a:cubicBezTo>
                  <a:pt x="5967655" y="4409301"/>
                  <a:pt x="5968485" y="4411223"/>
                  <a:pt x="5968485" y="4414764"/>
                </a:cubicBezTo>
                <a:cubicBezTo>
                  <a:pt x="5966272" y="4414460"/>
                  <a:pt x="5963230" y="4416483"/>
                  <a:pt x="5963230" y="4416483"/>
                </a:cubicBezTo>
                <a:cubicBezTo>
                  <a:pt x="5957145" y="4414460"/>
                  <a:pt x="5959634" y="4409706"/>
                  <a:pt x="5962953" y="4408391"/>
                </a:cubicBezTo>
                <a:close/>
                <a:moveTo>
                  <a:pt x="7465114" y="4398276"/>
                </a:moveTo>
                <a:cubicBezTo>
                  <a:pt x="7468156" y="4398579"/>
                  <a:pt x="7470922" y="4400096"/>
                  <a:pt x="7472858" y="4403131"/>
                </a:cubicBezTo>
                <a:cubicBezTo>
                  <a:pt x="7460412" y="4403536"/>
                  <a:pt x="7459859" y="4408290"/>
                  <a:pt x="7449348" y="4412943"/>
                </a:cubicBezTo>
                <a:cubicBezTo>
                  <a:pt x="7444923" y="4406874"/>
                  <a:pt x="7456263" y="4397467"/>
                  <a:pt x="7465114" y="4398276"/>
                </a:cubicBezTo>
                <a:close/>
                <a:moveTo>
                  <a:pt x="6067504" y="4386744"/>
                </a:moveTo>
                <a:cubicBezTo>
                  <a:pt x="6068611" y="4393623"/>
                  <a:pt x="6056717" y="4392409"/>
                  <a:pt x="6049249" y="4393825"/>
                </a:cubicBezTo>
                <a:cubicBezTo>
                  <a:pt x="6050357" y="4387149"/>
                  <a:pt x="6060036" y="4388160"/>
                  <a:pt x="6067504" y="4386744"/>
                </a:cubicBezTo>
                <a:close/>
                <a:moveTo>
                  <a:pt x="5900998" y="4377236"/>
                </a:moveTo>
                <a:cubicBezTo>
                  <a:pt x="5906252" y="4375516"/>
                  <a:pt x="5899614" y="4395241"/>
                  <a:pt x="5908742" y="4387149"/>
                </a:cubicBezTo>
                <a:cubicBezTo>
                  <a:pt x="5910402" y="4387857"/>
                  <a:pt x="5910402" y="4388464"/>
                  <a:pt x="5909571" y="4388970"/>
                </a:cubicBezTo>
                <a:cubicBezTo>
                  <a:pt x="5907082" y="4390487"/>
                  <a:pt x="5896848" y="4391600"/>
                  <a:pt x="5899891" y="4395342"/>
                </a:cubicBezTo>
                <a:cubicBezTo>
                  <a:pt x="5887444" y="4396253"/>
                  <a:pt x="5875552" y="4394837"/>
                  <a:pt x="5860892" y="4395443"/>
                </a:cubicBezTo>
                <a:cubicBezTo>
                  <a:pt x="5857573" y="4388363"/>
                  <a:pt x="5860062" y="4388565"/>
                  <a:pt x="5863381" y="4384418"/>
                </a:cubicBezTo>
                <a:cubicBezTo>
                  <a:pt x="5870019" y="4398781"/>
                  <a:pt x="5896295" y="4388059"/>
                  <a:pt x="5900998" y="4377236"/>
                </a:cubicBezTo>
                <a:close/>
                <a:moveTo>
                  <a:pt x="5976783" y="4370155"/>
                </a:moveTo>
                <a:cubicBezTo>
                  <a:pt x="5979272" y="4370358"/>
                  <a:pt x="5975123" y="4378854"/>
                  <a:pt x="5978996" y="4383609"/>
                </a:cubicBezTo>
                <a:cubicBezTo>
                  <a:pt x="5975123" y="4378854"/>
                  <a:pt x="5967380" y="4380169"/>
                  <a:pt x="5968762" y="4373696"/>
                </a:cubicBezTo>
                <a:cubicBezTo>
                  <a:pt x="5971528" y="4371875"/>
                  <a:pt x="5976506" y="4372280"/>
                  <a:pt x="5976783" y="4370155"/>
                </a:cubicBezTo>
                <a:close/>
                <a:moveTo>
                  <a:pt x="6011081" y="4369043"/>
                </a:moveTo>
                <a:cubicBezTo>
                  <a:pt x="6014399" y="4370560"/>
                  <a:pt x="6016612" y="4371875"/>
                  <a:pt x="6017442" y="4373595"/>
                </a:cubicBezTo>
                <a:cubicBezTo>
                  <a:pt x="6018271" y="4375415"/>
                  <a:pt x="6017718" y="4377539"/>
                  <a:pt x="6016060" y="4380675"/>
                </a:cubicBezTo>
                <a:cubicBezTo>
                  <a:pt x="6013293" y="4382698"/>
                  <a:pt x="6008591" y="4382091"/>
                  <a:pt x="6003889" y="4381586"/>
                </a:cubicBezTo>
                <a:cubicBezTo>
                  <a:pt x="6007484" y="4375314"/>
                  <a:pt x="5993379" y="4373797"/>
                  <a:pt x="5994485" y="4380675"/>
                </a:cubicBezTo>
                <a:cubicBezTo>
                  <a:pt x="5984804" y="4381788"/>
                  <a:pt x="5993379" y="4373797"/>
                  <a:pt x="5987018" y="4370863"/>
                </a:cubicBezTo>
                <a:cubicBezTo>
                  <a:pt x="5990059" y="4366716"/>
                  <a:pt x="6007484" y="4375415"/>
                  <a:pt x="6011081" y="4369043"/>
                </a:cubicBezTo>
                <a:close/>
                <a:moveTo>
                  <a:pt x="5953550" y="4367627"/>
                </a:moveTo>
                <a:cubicBezTo>
                  <a:pt x="5959911" y="4370560"/>
                  <a:pt x="5959081" y="4375011"/>
                  <a:pt x="5959911" y="4381889"/>
                </a:cubicBezTo>
                <a:cubicBezTo>
                  <a:pt x="5953550" y="4390285"/>
                  <a:pt x="5945528" y="4382597"/>
                  <a:pt x="5939167" y="4390892"/>
                </a:cubicBezTo>
                <a:cubicBezTo>
                  <a:pt x="5940550" y="4395646"/>
                  <a:pt x="5945806" y="4393926"/>
                  <a:pt x="5944422" y="4400501"/>
                </a:cubicBezTo>
                <a:cubicBezTo>
                  <a:pt x="5935019" y="4399490"/>
                  <a:pt x="5925890" y="4398579"/>
                  <a:pt x="5915933" y="4399793"/>
                </a:cubicBezTo>
                <a:cubicBezTo>
                  <a:pt x="5916486" y="4397568"/>
                  <a:pt x="5921465" y="4395848"/>
                  <a:pt x="5919805" y="4393319"/>
                </a:cubicBezTo>
                <a:cubicBezTo>
                  <a:pt x="5927550" y="4389678"/>
                  <a:pt x="5928933" y="4394331"/>
                  <a:pt x="5934188" y="4392712"/>
                </a:cubicBezTo>
                <a:cubicBezTo>
                  <a:pt x="5935294" y="4386036"/>
                  <a:pt x="5925337" y="4389374"/>
                  <a:pt x="5920635" y="4388869"/>
                </a:cubicBezTo>
                <a:cubicBezTo>
                  <a:pt x="5921465" y="4384418"/>
                  <a:pt x="5940550" y="4384216"/>
                  <a:pt x="5931699" y="4380979"/>
                </a:cubicBezTo>
                <a:cubicBezTo>
                  <a:pt x="5936677" y="4379360"/>
                  <a:pt x="5954932" y="4383609"/>
                  <a:pt x="5953550" y="4367627"/>
                </a:cubicBezTo>
                <a:close/>
                <a:moveTo>
                  <a:pt x="5908742" y="4353566"/>
                </a:moveTo>
                <a:cubicBezTo>
                  <a:pt x="5908189" y="4355691"/>
                  <a:pt x="5905699" y="4355387"/>
                  <a:pt x="5902933" y="4357208"/>
                </a:cubicBezTo>
                <a:cubicBezTo>
                  <a:pt x="5904869" y="4359534"/>
                  <a:pt x="5904869" y="4359534"/>
                  <a:pt x="5906529" y="4363985"/>
                </a:cubicBezTo>
                <a:cubicBezTo>
                  <a:pt x="5904593" y="4361659"/>
                  <a:pt x="5902105" y="4361456"/>
                  <a:pt x="5899891" y="4359029"/>
                </a:cubicBezTo>
                <a:cubicBezTo>
                  <a:pt x="5897402" y="4358826"/>
                  <a:pt x="5896572" y="4362974"/>
                  <a:pt x="5891870" y="4362468"/>
                </a:cubicBezTo>
                <a:cubicBezTo>
                  <a:pt x="5892976" y="4356196"/>
                  <a:pt x="5898508" y="4354679"/>
                  <a:pt x="5908742" y="4353566"/>
                </a:cubicBezTo>
                <a:close/>
                <a:moveTo>
                  <a:pt x="5947464" y="4351543"/>
                </a:moveTo>
                <a:cubicBezTo>
                  <a:pt x="5958529" y="4351139"/>
                  <a:pt x="5969868" y="4352353"/>
                  <a:pt x="5977889" y="4354376"/>
                </a:cubicBezTo>
                <a:cubicBezTo>
                  <a:pt x="5967655" y="4357714"/>
                  <a:pt x="5966549" y="4362164"/>
                  <a:pt x="5963508" y="4366210"/>
                </a:cubicBezTo>
                <a:cubicBezTo>
                  <a:pt x="5952166" y="4362771"/>
                  <a:pt x="5938337" y="4358927"/>
                  <a:pt x="5918976" y="4359029"/>
                </a:cubicBezTo>
                <a:cubicBezTo>
                  <a:pt x="5925890" y="4354274"/>
                  <a:pt x="5936677" y="4352049"/>
                  <a:pt x="5947464" y="4351543"/>
                </a:cubicBezTo>
                <a:close/>
                <a:moveTo>
                  <a:pt x="7580728" y="4332122"/>
                </a:moveTo>
                <a:cubicBezTo>
                  <a:pt x="7588473" y="4332729"/>
                  <a:pt x="7582941" y="4350228"/>
                  <a:pt x="7596494" y="4340315"/>
                </a:cubicBezTo>
                <a:cubicBezTo>
                  <a:pt x="7598154" y="4344564"/>
                  <a:pt x="7595941" y="4345070"/>
                  <a:pt x="7597600" y="4349318"/>
                </a:cubicBezTo>
                <a:cubicBezTo>
                  <a:pt x="7558048" y="4362670"/>
                  <a:pt x="7524857" y="4379360"/>
                  <a:pt x="7482539" y="4397972"/>
                </a:cubicBezTo>
                <a:cubicBezTo>
                  <a:pt x="7481433" y="4388970"/>
                  <a:pt x="7507432" y="4385531"/>
                  <a:pt x="7499134" y="4371066"/>
                </a:cubicBezTo>
                <a:cubicBezTo>
                  <a:pt x="7506049" y="4369548"/>
                  <a:pt x="7509645" y="4366413"/>
                  <a:pt x="7514347" y="4365401"/>
                </a:cubicBezTo>
                <a:cubicBezTo>
                  <a:pt x="7520708" y="4368638"/>
                  <a:pt x="7511304" y="4370661"/>
                  <a:pt x="7509921" y="4373291"/>
                </a:cubicBezTo>
                <a:cubicBezTo>
                  <a:pt x="7517113" y="4378753"/>
                  <a:pt x="7528729" y="4364592"/>
                  <a:pt x="7537580" y="4367323"/>
                </a:cubicBezTo>
                <a:cubicBezTo>
                  <a:pt x="7518219" y="4350633"/>
                  <a:pt x="7557218" y="4360546"/>
                  <a:pt x="7555835" y="4344564"/>
                </a:cubicBezTo>
                <a:cubicBezTo>
                  <a:pt x="7560537" y="4350532"/>
                  <a:pt x="7556112" y="4351543"/>
                  <a:pt x="7561644" y="4352656"/>
                </a:cubicBezTo>
                <a:cubicBezTo>
                  <a:pt x="7562197" y="4347902"/>
                  <a:pt x="7576580" y="4346991"/>
                  <a:pt x="7571878" y="4341125"/>
                </a:cubicBezTo>
                <a:cubicBezTo>
                  <a:pt x="7574090" y="4340619"/>
                  <a:pt x="7575750" y="4344867"/>
                  <a:pt x="7579069" y="4346486"/>
                </a:cubicBezTo>
                <a:cubicBezTo>
                  <a:pt x="7584877" y="4342844"/>
                  <a:pt x="7580175" y="4336977"/>
                  <a:pt x="7580728" y="4332122"/>
                </a:cubicBezTo>
                <a:close/>
                <a:moveTo>
                  <a:pt x="7545601" y="4331212"/>
                </a:moveTo>
                <a:cubicBezTo>
                  <a:pt x="7549197" y="4330706"/>
                  <a:pt x="7553069" y="4330908"/>
                  <a:pt x="7558048" y="4332122"/>
                </a:cubicBezTo>
                <a:cubicBezTo>
                  <a:pt x="7559984" y="4334044"/>
                  <a:pt x="7560537" y="4335157"/>
                  <a:pt x="7559984" y="4335561"/>
                </a:cubicBezTo>
                <a:cubicBezTo>
                  <a:pt x="7559431" y="4335966"/>
                  <a:pt x="7558048" y="4335561"/>
                  <a:pt x="7556665" y="4334752"/>
                </a:cubicBezTo>
                <a:cubicBezTo>
                  <a:pt x="7530112" y="4342945"/>
                  <a:pt x="7514623" y="4360546"/>
                  <a:pt x="7481433" y="4370257"/>
                </a:cubicBezTo>
                <a:cubicBezTo>
                  <a:pt x="7483092" y="4355691"/>
                  <a:pt x="7518496" y="4357309"/>
                  <a:pt x="7516836" y="4341226"/>
                </a:cubicBezTo>
                <a:cubicBezTo>
                  <a:pt x="7529559" y="4340113"/>
                  <a:pt x="7535368" y="4332729"/>
                  <a:pt x="7545601" y="4331212"/>
                </a:cubicBezTo>
                <a:close/>
                <a:moveTo>
                  <a:pt x="5984804" y="4329897"/>
                </a:moveTo>
                <a:cubicBezTo>
                  <a:pt x="5987293" y="4330200"/>
                  <a:pt x="5986187" y="4334550"/>
                  <a:pt x="5985357" y="4338899"/>
                </a:cubicBezTo>
                <a:cubicBezTo>
                  <a:pt x="5981208" y="4336269"/>
                  <a:pt x="5965166" y="4345879"/>
                  <a:pt x="5964613" y="4336674"/>
                </a:cubicBezTo>
                <a:cubicBezTo>
                  <a:pt x="5974295" y="4335460"/>
                  <a:pt x="5981761" y="4334044"/>
                  <a:pt x="5984804" y="4329897"/>
                </a:cubicBezTo>
                <a:close/>
                <a:moveTo>
                  <a:pt x="7567729" y="4325446"/>
                </a:moveTo>
                <a:cubicBezTo>
                  <a:pt x="7568558" y="4327671"/>
                  <a:pt x="7569665" y="4329897"/>
                  <a:pt x="7570495" y="4332122"/>
                </a:cubicBezTo>
                <a:cubicBezTo>
                  <a:pt x="7565793" y="4333134"/>
                  <a:pt x="7563027" y="4338596"/>
                  <a:pt x="7560261" y="4331920"/>
                </a:cubicBezTo>
                <a:cubicBezTo>
                  <a:pt x="7562750" y="4331414"/>
                  <a:pt x="7562750" y="4331414"/>
                  <a:pt x="7564963" y="4330908"/>
                </a:cubicBezTo>
                <a:cubicBezTo>
                  <a:pt x="7564133" y="4328683"/>
                  <a:pt x="7564133" y="4328683"/>
                  <a:pt x="7561920" y="4329189"/>
                </a:cubicBezTo>
                <a:cubicBezTo>
                  <a:pt x="7559984" y="4324839"/>
                  <a:pt x="7564133" y="4328683"/>
                  <a:pt x="7567729" y="4325446"/>
                </a:cubicBezTo>
                <a:close/>
                <a:moveTo>
                  <a:pt x="6015505" y="4324131"/>
                </a:moveTo>
                <a:cubicBezTo>
                  <a:pt x="6017996" y="4324434"/>
                  <a:pt x="6021590" y="4329391"/>
                  <a:pt x="6022420" y="4324940"/>
                </a:cubicBezTo>
                <a:cubicBezTo>
                  <a:pt x="6024080" y="4325749"/>
                  <a:pt x="6024633" y="4326559"/>
                  <a:pt x="6024633" y="4327267"/>
                </a:cubicBezTo>
                <a:cubicBezTo>
                  <a:pt x="6024633" y="4329593"/>
                  <a:pt x="6018825" y="4331920"/>
                  <a:pt x="6018548" y="4333639"/>
                </a:cubicBezTo>
                <a:cubicBezTo>
                  <a:pt x="6013846" y="4333134"/>
                  <a:pt x="6014676" y="4328582"/>
                  <a:pt x="6015505" y="4324131"/>
                </a:cubicBezTo>
                <a:close/>
                <a:moveTo>
                  <a:pt x="7590409" y="4311386"/>
                </a:moveTo>
                <a:cubicBezTo>
                  <a:pt x="7584047" y="4315027"/>
                  <a:pt x="7583494" y="4326458"/>
                  <a:pt x="7577686" y="4325446"/>
                </a:cubicBezTo>
                <a:cubicBezTo>
                  <a:pt x="7578516" y="4320793"/>
                  <a:pt x="7581558" y="4315533"/>
                  <a:pt x="7590409" y="4311386"/>
                </a:cubicBezTo>
                <a:close/>
                <a:moveTo>
                  <a:pt x="7273990" y="4310374"/>
                </a:moveTo>
                <a:cubicBezTo>
                  <a:pt x="7262097" y="4317758"/>
                  <a:pt x="7261543" y="4322715"/>
                  <a:pt x="7247437" y="4318669"/>
                </a:cubicBezTo>
                <a:cubicBezTo>
                  <a:pt x="7250203" y="4313207"/>
                  <a:pt x="7266522" y="4316747"/>
                  <a:pt x="7273990" y="4310374"/>
                </a:cubicBezTo>
                <a:close/>
                <a:moveTo>
                  <a:pt x="7305521" y="4296820"/>
                </a:moveTo>
                <a:cubicBezTo>
                  <a:pt x="7306351" y="4298944"/>
                  <a:pt x="7309393" y="4300664"/>
                  <a:pt x="7311606" y="4300158"/>
                </a:cubicBezTo>
                <a:cubicBezTo>
                  <a:pt x="7312159" y="4307239"/>
                  <a:pt x="7304138" y="4299450"/>
                  <a:pt x="7298330" y="4303091"/>
                </a:cubicBezTo>
                <a:cubicBezTo>
                  <a:pt x="7299713" y="4300461"/>
                  <a:pt x="7301096" y="4297730"/>
                  <a:pt x="7305521" y="4296820"/>
                </a:cubicBezTo>
                <a:close/>
                <a:moveTo>
                  <a:pt x="7331244" y="4286705"/>
                </a:moveTo>
                <a:cubicBezTo>
                  <a:pt x="7331521" y="4286603"/>
                  <a:pt x="7332350" y="4286907"/>
                  <a:pt x="7333457" y="4287413"/>
                </a:cubicBezTo>
                <a:cubicBezTo>
                  <a:pt x="7335393" y="4288525"/>
                  <a:pt x="7338159" y="4290346"/>
                  <a:pt x="7338435" y="4291459"/>
                </a:cubicBezTo>
                <a:cubicBezTo>
                  <a:pt x="7333457" y="4297427"/>
                  <a:pt x="7327648" y="4296314"/>
                  <a:pt x="7320734" y="4297831"/>
                </a:cubicBezTo>
                <a:cubicBezTo>
                  <a:pt x="7319627" y="4288525"/>
                  <a:pt x="7344797" y="4294797"/>
                  <a:pt x="7332074" y="4288020"/>
                </a:cubicBezTo>
                <a:cubicBezTo>
                  <a:pt x="7330968" y="4287008"/>
                  <a:pt x="7330968" y="4286705"/>
                  <a:pt x="7331244" y="4286705"/>
                </a:cubicBezTo>
                <a:close/>
                <a:moveTo>
                  <a:pt x="5867806" y="4280332"/>
                </a:moveTo>
                <a:cubicBezTo>
                  <a:pt x="5873338" y="4280939"/>
                  <a:pt x="5879147" y="4282861"/>
                  <a:pt x="5884125" y="4282254"/>
                </a:cubicBezTo>
                <a:cubicBezTo>
                  <a:pt x="5878040" y="4288525"/>
                  <a:pt x="5858402" y="4288728"/>
                  <a:pt x="5851764" y="4285592"/>
                </a:cubicBezTo>
                <a:cubicBezTo>
                  <a:pt x="5856466" y="4280332"/>
                  <a:pt x="5862276" y="4279725"/>
                  <a:pt x="5867806" y="4280332"/>
                </a:cubicBezTo>
                <a:close/>
                <a:moveTo>
                  <a:pt x="7457093" y="4276994"/>
                </a:moveTo>
                <a:cubicBezTo>
                  <a:pt x="7458752" y="4281242"/>
                  <a:pt x="7456263" y="4281748"/>
                  <a:pt x="7452667" y="4284884"/>
                </a:cubicBezTo>
                <a:cubicBezTo>
                  <a:pt x="7455433" y="4291358"/>
                  <a:pt x="7461795" y="4282962"/>
                  <a:pt x="7464284" y="4289436"/>
                </a:cubicBezTo>
                <a:cubicBezTo>
                  <a:pt x="7451561" y="4294493"/>
                  <a:pt x="7447965" y="4297629"/>
                  <a:pt x="7434412" y="4300664"/>
                </a:cubicBezTo>
                <a:cubicBezTo>
                  <a:pt x="7431923" y="4294190"/>
                  <a:pt x="7444093" y="4293886"/>
                  <a:pt x="7441327" y="4287413"/>
                </a:cubicBezTo>
                <a:cubicBezTo>
                  <a:pt x="7443816" y="4286907"/>
                  <a:pt x="7439944" y="4290043"/>
                  <a:pt x="7443263" y="4291762"/>
                </a:cubicBezTo>
                <a:cubicBezTo>
                  <a:pt x="7454603" y="4289233"/>
                  <a:pt x="7446029" y="4286401"/>
                  <a:pt x="7446582" y="4281647"/>
                </a:cubicBezTo>
                <a:cubicBezTo>
                  <a:pt x="7450178" y="4278511"/>
                  <a:pt x="7452391" y="4278006"/>
                  <a:pt x="7457093" y="4276994"/>
                </a:cubicBezTo>
                <a:close/>
                <a:moveTo>
                  <a:pt x="5921741" y="4276691"/>
                </a:moveTo>
                <a:cubicBezTo>
                  <a:pt x="5922848" y="4276488"/>
                  <a:pt x="5924231" y="4276691"/>
                  <a:pt x="5925615" y="4277196"/>
                </a:cubicBezTo>
                <a:cubicBezTo>
                  <a:pt x="5928656" y="4278006"/>
                  <a:pt x="5931146" y="4279523"/>
                  <a:pt x="5932528" y="4278511"/>
                </a:cubicBezTo>
                <a:cubicBezTo>
                  <a:pt x="5932252" y="4280838"/>
                  <a:pt x="5931146" y="4285491"/>
                  <a:pt x="5933635" y="4285693"/>
                </a:cubicBezTo>
                <a:cubicBezTo>
                  <a:pt x="5932805" y="4290346"/>
                  <a:pt x="5928104" y="4289840"/>
                  <a:pt x="5923401" y="4289335"/>
                </a:cubicBezTo>
                <a:cubicBezTo>
                  <a:pt x="5926720" y="4284985"/>
                  <a:pt x="5927826" y="4278006"/>
                  <a:pt x="5918146" y="4279321"/>
                </a:cubicBezTo>
                <a:cubicBezTo>
                  <a:pt x="5918976" y="4277601"/>
                  <a:pt x="5920358" y="4276893"/>
                  <a:pt x="5921741" y="4276691"/>
                </a:cubicBezTo>
                <a:close/>
                <a:moveTo>
                  <a:pt x="7399009" y="4266070"/>
                </a:moveTo>
                <a:cubicBezTo>
                  <a:pt x="7400115" y="4266474"/>
                  <a:pt x="7400945" y="4267283"/>
                  <a:pt x="7401498" y="4268396"/>
                </a:cubicBezTo>
                <a:cubicBezTo>
                  <a:pt x="7394860" y="4276994"/>
                  <a:pt x="7374116" y="4281647"/>
                  <a:pt x="7363882" y="4281546"/>
                </a:cubicBezTo>
                <a:cubicBezTo>
                  <a:pt x="7359456" y="4282557"/>
                  <a:pt x="7355584" y="4285693"/>
                  <a:pt x="7353371" y="4286199"/>
                </a:cubicBezTo>
                <a:cubicBezTo>
                  <a:pt x="7352542" y="4283974"/>
                  <a:pt x="7356967" y="4283063"/>
                  <a:pt x="7358350" y="4280332"/>
                </a:cubicBezTo>
                <a:cubicBezTo>
                  <a:pt x="7376052" y="4274061"/>
                  <a:pt x="7379924" y="4270824"/>
                  <a:pt x="7395966" y="4267283"/>
                </a:cubicBezTo>
                <a:cubicBezTo>
                  <a:pt x="7396796" y="4265867"/>
                  <a:pt x="7397902" y="4265766"/>
                  <a:pt x="7399009" y="4266070"/>
                </a:cubicBezTo>
                <a:close/>
                <a:moveTo>
                  <a:pt x="6006378" y="4265968"/>
                </a:moveTo>
                <a:cubicBezTo>
                  <a:pt x="6010803" y="4265361"/>
                  <a:pt x="6014953" y="4265361"/>
                  <a:pt x="6019101" y="4266070"/>
                </a:cubicBezTo>
                <a:cubicBezTo>
                  <a:pt x="6024911" y="4267081"/>
                  <a:pt x="6030165" y="4269509"/>
                  <a:pt x="6035420" y="4274162"/>
                </a:cubicBezTo>
                <a:cubicBezTo>
                  <a:pt x="6014676" y="4281040"/>
                  <a:pt x="5992825" y="4280939"/>
                  <a:pt x="5976783" y="4276893"/>
                </a:cubicBezTo>
                <a:cubicBezTo>
                  <a:pt x="5976231" y="4279118"/>
                  <a:pt x="5981485" y="4277399"/>
                  <a:pt x="5980655" y="4281950"/>
                </a:cubicBezTo>
                <a:cubicBezTo>
                  <a:pt x="5972634" y="4285693"/>
                  <a:pt x="5974295" y="4276691"/>
                  <a:pt x="5966826" y="4278107"/>
                </a:cubicBezTo>
                <a:cubicBezTo>
                  <a:pt x="5979825" y="4274364"/>
                  <a:pt x="5993379" y="4267789"/>
                  <a:pt x="6006378" y="4265968"/>
                </a:cubicBezTo>
                <a:close/>
                <a:moveTo>
                  <a:pt x="7506049" y="4261315"/>
                </a:moveTo>
                <a:cubicBezTo>
                  <a:pt x="7508262" y="4261518"/>
                  <a:pt x="7509921" y="4262023"/>
                  <a:pt x="7511028" y="4262934"/>
                </a:cubicBezTo>
                <a:cubicBezTo>
                  <a:pt x="7509921" y="4272746"/>
                  <a:pt x="7494986" y="4278410"/>
                  <a:pt x="7485858" y="4280433"/>
                </a:cubicBezTo>
                <a:cubicBezTo>
                  <a:pt x="7501347" y="4281849"/>
                  <a:pt x="7467880" y="4291560"/>
                  <a:pt x="7464561" y="4282760"/>
                </a:cubicBezTo>
                <a:cubicBezTo>
                  <a:pt x="7476454" y="4275376"/>
                  <a:pt x="7497751" y="4273049"/>
                  <a:pt x="7491943" y="4264856"/>
                </a:cubicBezTo>
                <a:cubicBezTo>
                  <a:pt x="7491666" y="4263743"/>
                  <a:pt x="7495262" y="4262226"/>
                  <a:pt x="7499688" y="4261619"/>
                </a:cubicBezTo>
                <a:cubicBezTo>
                  <a:pt x="7501900" y="4261315"/>
                  <a:pt x="7504113" y="4261113"/>
                  <a:pt x="7506049" y="4261315"/>
                </a:cubicBezTo>
                <a:close/>
                <a:moveTo>
                  <a:pt x="5749426" y="4259697"/>
                </a:moveTo>
                <a:cubicBezTo>
                  <a:pt x="5752746" y="4259393"/>
                  <a:pt x="5756341" y="4259697"/>
                  <a:pt x="5759661" y="4260102"/>
                </a:cubicBezTo>
                <a:cubicBezTo>
                  <a:pt x="5766851" y="4260810"/>
                  <a:pt x="5773766" y="4262226"/>
                  <a:pt x="5777638" y="4261518"/>
                </a:cubicBezTo>
                <a:cubicBezTo>
                  <a:pt x="5768787" y="4269711"/>
                  <a:pt x="5755511" y="4263642"/>
                  <a:pt x="5741405" y="4262125"/>
                </a:cubicBezTo>
                <a:cubicBezTo>
                  <a:pt x="5743341" y="4260607"/>
                  <a:pt x="5746383" y="4259899"/>
                  <a:pt x="5749426" y="4259697"/>
                </a:cubicBezTo>
                <a:close/>
                <a:moveTo>
                  <a:pt x="7884805" y="4255324"/>
                </a:moveTo>
                <a:cubicBezTo>
                  <a:pt x="7891443" y="4254414"/>
                  <a:pt x="7898358" y="4256335"/>
                  <a:pt x="7898358" y="4263113"/>
                </a:cubicBezTo>
                <a:cubicBezTo>
                  <a:pt x="7887018" y="4259572"/>
                  <a:pt x="7883699" y="4263821"/>
                  <a:pt x="7871252" y="4264731"/>
                </a:cubicBezTo>
                <a:cubicBezTo>
                  <a:pt x="7870975" y="4260078"/>
                  <a:pt x="7877890" y="4256335"/>
                  <a:pt x="7884805" y="4255324"/>
                </a:cubicBezTo>
                <a:close/>
                <a:moveTo>
                  <a:pt x="5918699" y="4254235"/>
                </a:moveTo>
                <a:cubicBezTo>
                  <a:pt x="5914274" y="4265361"/>
                  <a:pt x="5900444" y="4261518"/>
                  <a:pt x="5892976" y="4262934"/>
                </a:cubicBezTo>
                <a:cubicBezTo>
                  <a:pt x="5894912" y="4265463"/>
                  <a:pt x="5896848" y="4267991"/>
                  <a:pt x="5896295" y="4270217"/>
                </a:cubicBezTo>
                <a:cubicBezTo>
                  <a:pt x="5892147" y="4267486"/>
                  <a:pt x="5885785" y="4273757"/>
                  <a:pt x="5876381" y="4272644"/>
                </a:cubicBezTo>
                <a:cubicBezTo>
                  <a:pt x="5880531" y="4263844"/>
                  <a:pt x="5854253" y="4263237"/>
                  <a:pt x="5855360" y="4270318"/>
                </a:cubicBezTo>
                <a:cubicBezTo>
                  <a:pt x="5849551" y="4262732"/>
                  <a:pt x="5832956" y="4260911"/>
                  <a:pt x="5821893" y="4269003"/>
                </a:cubicBezTo>
                <a:cubicBezTo>
                  <a:pt x="5819957" y="4266474"/>
                  <a:pt x="5818021" y="4263945"/>
                  <a:pt x="5813318" y="4263440"/>
                </a:cubicBezTo>
                <a:cubicBezTo>
                  <a:pt x="5846510" y="4253223"/>
                  <a:pt x="5881636" y="4259393"/>
                  <a:pt x="5918699" y="4254235"/>
                </a:cubicBezTo>
                <a:close/>
                <a:moveTo>
                  <a:pt x="7536751" y="4253425"/>
                </a:moveTo>
                <a:lnTo>
                  <a:pt x="7535091" y="4257168"/>
                </a:lnTo>
                <a:cubicBezTo>
                  <a:pt x="7534538" y="4259899"/>
                  <a:pt x="7534261" y="4262327"/>
                  <a:pt x="7532325" y="4260405"/>
                </a:cubicBezTo>
                <a:close/>
                <a:moveTo>
                  <a:pt x="7434136" y="4252515"/>
                </a:moveTo>
                <a:cubicBezTo>
                  <a:pt x="7436902" y="4252515"/>
                  <a:pt x="7440221" y="4253122"/>
                  <a:pt x="7443263" y="4254538"/>
                </a:cubicBezTo>
                <a:cubicBezTo>
                  <a:pt x="7438838" y="4262428"/>
                  <a:pt x="7427221" y="4258078"/>
                  <a:pt x="7417264" y="4264856"/>
                </a:cubicBezTo>
                <a:cubicBezTo>
                  <a:pt x="7420030" y="4271127"/>
                  <a:pt x="7423625" y="4268093"/>
                  <a:pt x="7426115" y="4274465"/>
                </a:cubicBezTo>
                <a:cubicBezTo>
                  <a:pt x="7401498" y="4278107"/>
                  <a:pt x="7409796" y="4258989"/>
                  <a:pt x="7425561" y="4253729"/>
                </a:cubicBezTo>
                <a:cubicBezTo>
                  <a:pt x="7428327" y="4252819"/>
                  <a:pt x="7431093" y="4252414"/>
                  <a:pt x="7434136" y="4252515"/>
                </a:cubicBezTo>
                <a:close/>
                <a:moveTo>
                  <a:pt x="6280479" y="4248772"/>
                </a:moveTo>
                <a:cubicBezTo>
                  <a:pt x="6278819" y="4257876"/>
                  <a:pt x="6273564" y="4259697"/>
                  <a:pt x="6263883" y="4260911"/>
                </a:cubicBezTo>
                <a:cubicBezTo>
                  <a:pt x="6263330" y="4251504"/>
                  <a:pt x="6273011" y="4250290"/>
                  <a:pt x="6280479" y="4248772"/>
                </a:cubicBezTo>
                <a:close/>
                <a:moveTo>
                  <a:pt x="6003612" y="4247862"/>
                </a:moveTo>
                <a:cubicBezTo>
                  <a:pt x="5987018" y="4259697"/>
                  <a:pt x="5959358" y="4254336"/>
                  <a:pt x="5934741" y="4258382"/>
                </a:cubicBezTo>
                <a:cubicBezTo>
                  <a:pt x="5949400" y="4244221"/>
                  <a:pt x="5976231" y="4253931"/>
                  <a:pt x="6003612" y="4247862"/>
                </a:cubicBezTo>
                <a:close/>
                <a:moveTo>
                  <a:pt x="7484198" y="4245333"/>
                </a:moveTo>
                <a:cubicBezTo>
                  <a:pt x="7489177" y="4251200"/>
                  <a:pt x="7473135" y="4250087"/>
                  <a:pt x="7477007" y="4253830"/>
                </a:cubicBezTo>
                <a:cubicBezTo>
                  <a:pt x="7474794" y="4254336"/>
                  <a:pt x="7471475" y="4252717"/>
                  <a:pt x="7470646" y="4250492"/>
                </a:cubicBezTo>
                <a:cubicBezTo>
                  <a:pt x="7471199" y="4245738"/>
                  <a:pt x="7479220" y="4246345"/>
                  <a:pt x="7484198" y="4245333"/>
                </a:cubicBezTo>
                <a:close/>
                <a:moveTo>
                  <a:pt x="7450731" y="4243411"/>
                </a:moveTo>
                <a:cubicBezTo>
                  <a:pt x="7452667" y="4245333"/>
                  <a:pt x="7453497" y="4246952"/>
                  <a:pt x="7453774" y="4248368"/>
                </a:cubicBezTo>
                <a:cubicBezTo>
                  <a:pt x="7454050" y="4249784"/>
                  <a:pt x="7453774" y="4250998"/>
                  <a:pt x="7454050" y="4252111"/>
                </a:cubicBezTo>
                <a:cubicBezTo>
                  <a:pt x="7449625" y="4253122"/>
                  <a:pt x="7446582" y="4251402"/>
                  <a:pt x="7444646" y="4247154"/>
                </a:cubicBezTo>
                <a:cubicBezTo>
                  <a:pt x="7447135" y="4246648"/>
                  <a:pt x="7448518" y="4243917"/>
                  <a:pt x="7450731" y="4243411"/>
                </a:cubicBezTo>
                <a:close/>
                <a:moveTo>
                  <a:pt x="7584428" y="4242073"/>
                </a:moveTo>
                <a:cubicBezTo>
                  <a:pt x="7585534" y="4248648"/>
                  <a:pt x="7590790" y="4247029"/>
                  <a:pt x="7597981" y="4247738"/>
                </a:cubicBezTo>
                <a:cubicBezTo>
                  <a:pt x="7592173" y="4251480"/>
                  <a:pt x="7570322" y="4251278"/>
                  <a:pt x="7567280" y="4242376"/>
                </a:cubicBezTo>
                <a:cubicBezTo>
                  <a:pt x="7576407" y="4245512"/>
                  <a:pt x="7574471" y="4243085"/>
                  <a:pt x="7584428" y="4242073"/>
                </a:cubicBezTo>
                <a:close/>
                <a:moveTo>
                  <a:pt x="7468433" y="4233498"/>
                </a:moveTo>
                <a:cubicBezTo>
                  <a:pt x="7470092" y="4233802"/>
                  <a:pt x="7472029" y="4235218"/>
                  <a:pt x="7473965" y="4238455"/>
                </a:cubicBezTo>
                <a:cubicBezTo>
                  <a:pt x="7471752" y="4238961"/>
                  <a:pt x="7470369" y="4241692"/>
                  <a:pt x="7470369" y="4241692"/>
                </a:cubicBezTo>
                <a:cubicBezTo>
                  <a:pt x="7461242" y="4241894"/>
                  <a:pt x="7463454" y="4232689"/>
                  <a:pt x="7468433" y="4233498"/>
                </a:cubicBezTo>
                <a:close/>
                <a:moveTo>
                  <a:pt x="8036653" y="4232666"/>
                </a:moveTo>
                <a:cubicBezTo>
                  <a:pt x="8043291" y="4235599"/>
                  <a:pt x="8028355" y="4249761"/>
                  <a:pt x="8046057" y="4245006"/>
                </a:cubicBezTo>
                <a:cubicBezTo>
                  <a:pt x="8045227" y="4249356"/>
                  <a:pt x="8043014" y="4249053"/>
                  <a:pt x="8041908" y="4253503"/>
                </a:cubicBezTo>
                <a:cubicBezTo>
                  <a:pt x="7998483" y="4253200"/>
                  <a:pt x="7958931" y="4257853"/>
                  <a:pt x="7909975" y="4261494"/>
                </a:cubicBezTo>
                <a:cubicBezTo>
                  <a:pt x="7914123" y="4252896"/>
                  <a:pt x="7939846" y="4258055"/>
                  <a:pt x="7940399" y="4242376"/>
                </a:cubicBezTo>
                <a:cubicBezTo>
                  <a:pt x="7947591" y="4243085"/>
                  <a:pt x="7952846" y="4241466"/>
                  <a:pt x="7957548" y="4241972"/>
                </a:cubicBezTo>
                <a:cubicBezTo>
                  <a:pt x="7961420" y="4246928"/>
                  <a:pt x="7951740" y="4245816"/>
                  <a:pt x="7948974" y="4247738"/>
                </a:cubicBezTo>
                <a:cubicBezTo>
                  <a:pt x="7952293" y="4254919"/>
                  <a:pt x="7971101" y="4245714"/>
                  <a:pt x="7977463" y="4250873"/>
                </a:cubicBezTo>
                <a:cubicBezTo>
                  <a:pt x="7969441" y="4229732"/>
                  <a:pt x="7999037" y="4251076"/>
                  <a:pt x="8006781" y="4236105"/>
                </a:cubicBezTo>
                <a:cubicBezTo>
                  <a:pt x="8007887" y="4242983"/>
                  <a:pt x="8003185" y="4242478"/>
                  <a:pt x="8007611" y="4245209"/>
                </a:cubicBezTo>
                <a:cubicBezTo>
                  <a:pt x="8010653" y="4241061"/>
                  <a:pt x="8024483" y="4244804"/>
                  <a:pt x="8023376" y="4237926"/>
                </a:cubicBezTo>
                <a:cubicBezTo>
                  <a:pt x="8025866" y="4238229"/>
                  <a:pt x="8025036" y="4242579"/>
                  <a:pt x="8026972" y="4245108"/>
                </a:cubicBezTo>
                <a:cubicBezTo>
                  <a:pt x="8034440" y="4243590"/>
                  <a:pt x="8033334" y="4236813"/>
                  <a:pt x="8036653" y="4232666"/>
                </a:cubicBezTo>
                <a:close/>
                <a:moveTo>
                  <a:pt x="7392924" y="4225609"/>
                </a:moveTo>
                <a:cubicBezTo>
                  <a:pt x="7396519" y="4227126"/>
                  <a:pt x="7401221" y="4241085"/>
                  <a:pt x="7404264" y="4232285"/>
                </a:cubicBezTo>
                <a:cubicBezTo>
                  <a:pt x="7406200" y="4232386"/>
                  <a:pt x="7406200" y="4232993"/>
                  <a:pt x="7405924" y="4233701"/>
                </a:cubicBezTo>
                <a:cubicBezTo>
                  <a:pt x="7404541" y="4235926"/>
                  <a:pt x="7395966" y="4239871"/>
                  <a:pt x="7400668" y="4242400"/>
                </a:cubicBezTo>
                <a:cubicBezTo>
                  <a:pt x="7390158" y="4247053"/>
                  <a:pt x="7378541" y="4249582"/>
                  <a:pt x="7365541" y="4254842"/>
                </a:cubicBezTo>
                <a:cubicBezTo>
                  <a:pt x="7358627" y="4249379"/>
                  <a:pt x="7360839" y="4248874"/>
                  <a:pt x="7361392" y="4244018"/>
                </a:cubicBezTo>
                <a:cubicBezTo>
                  <a:pt x="7375775" y="4254842"/>
                  <a:pt x="7393477" y="4237039"/>
                  <a:pt x="7391541" y="4225710"/>
                </a:cubicBezTo>
                <a:cubicBezTo>
                  <a:pt x="7392094" y="4225406"/>
                  <a:pt x="7392370" y="4225305"/>
                  <a:pt x="7392924" y="4225609"/>
                </a:cubicBezTo>
                <a:close/>
                <a:moveTo>
                  <a:pt x="8021994" y="4222146"/>
                </a:moveTo>
                <a:cubicBezTo>
                  <a:pt x="8022270" y="4221944"/>
                  <a:pt x="8022547" y="4222045"/>
                  <a:pt x="8023376" y="4222247"/>
                </a:cubicBezTo>
                <a:cubicBezTo>
                  <a:pt x="8024483" y="4222652"/>
                  <a:pt x="8026142" y="4223360"/>
                  <a:pt x="8028632" y="4222551"/>
                </a:cubicBezTo>
                <a:cubicBezTo>
                  <a:pt x="8028355" y="4224776"/>
                  <a:pt x="8027802" y="4227102"/>
                  <a:pt x="8027249" y="4229429"/>
                </a:cubicBezTo>
                <a:cubicBezTo>
                  <a:pt x="8022547" y="4228923"/>
                  <a:pt x="8017015" y="4232969"/>
                  <a:pt x="8018398" y="4226091"/>
                </a:cubicBezTo>
                <a:cubicBezTo>
                  <a:pt x="8020611" y="4226394"/>
                  <a:pt x="8020611" y="4226293"/>
                  <a:pt x="8023100" y="4226597"/>
                </a:cubicBezTo>
                <a:cubicBezTo>
                  <a:pt x="8023376" y="4224270"/>
                  <a:pt x="8023376" y="4224371"/>
                  <a:pt x="8021164" y="4224068"/>
                </a:cubicBezTo>
                <a:cubicBezTo>
                  <a:pt x="8021440" y="4222955"/>
                  <a:pt x="8021717" y="4222348"/>
                  <a:pt x="8021994" y="4222146"/>
                </a:cubicBezTo>
                <a:close/>
                <a:moveTo>
                  <a:pt x="7995164" y="4220629"/>
                </a:moveTo>
                <a:cubicBezTo>
                  <a:pt x="8002079" y="4220022"/>
                  <a:pt x="8008717" y="4220022"/>
                  <a:pt x="8015909" y="4225484"/>
                </a:cubicBezTo>
                <a:cubicBezTo>
                  <a:pt x="8016738" y="4227810"/>
                  <a:pt x="8016462" y="4228923"/>
                  <a:pt x="8015909" y="4229125"/>
                </a:cubicBezTo>
                <a:cubicBezTo>
                  <a:pt x="8015079" y="4229328"/>
                  <a:pt x="8014249" y="4228721"/>
                  <a:pt x="8013143" y="4227507"/>
                </a:cubicBezTo>
                <a:cubicBezTo>
                  <a:pt x="7984654" y="4226597"/>
                  <a:pt x="7960591" y="4237622"/>
                  <a:pt x="7924910" y="4235903"/>
                </a:cubicBezTo>
                <a:cubicBezTo>
                  <a:pt x="7934591" y="4223360"/>
                  <a:pt x="7965846" y="4235903"/>
                  <a:pt x="7973590" y="4220730"/>
                </a:cubicBezTo>
                <a:cubicBezTo>
                  <a:pt x="7981611" y="4222753"/>
                  <a:pt x="7988526" y="4221337"/>
                  <a:pt x="7995164" y="4220629"/>
                </a:cubicBezTo>
                <a:close/>
                <a:moveTo>
                  <a:pt x="8057120" y="4216785"/>
                </a:moveTo>
                <a:cubicBezTo>
                  <a:pt x="8049376" y="4218100"/>
                  <a:pt x="8042185" y="4228316"/>
                  <a:pt x="8037759" y="4225585"/>
                </a:cubicBezTo>
                <a:cubicBezTo>
                  <a:pt x="8041078" y="4221640"/>
                  <a:pt x="8046887" y="4217898"/>
                  <a:pt x="8057120" y="4216785"/>
                </a:cubicBezTo>
                <a:close/>
                <a:moveTo>
                  <a:pt x="7384903" y="4201838"/>
                </a:moveTo>
                <a:cubicBezTo>
                  <a:pt x="7385732" y="4203861"/>
                  <a:pt x="7383243" y="4204468"/>
                  <a:pt x="7381860" y="4206997"/>
                </a:cubicBezTo>
                <a:cubicBezTo>
                  <a:pt x="7384903" y="4208514"/>
                  <a:pt x="7384903" y="4208514"/>
                  <a:pt x="7389051" y="4212054"/>
                </a:cubicBezTo>
                <a:cubicBezTo>
                  <a:pt x="7385732" y="4210537"/>
                  <a:pt x="7383520" y="4211043"/>
                  <a:pt x="7380201" y="4209525"/>
                </a:cubicBezTo>
                <a:cubicBezTo>
                  <a:pt x="7377988" y="4210031"/>
                  <a:pt x="7379647" y="4214077"/>
                  <a:pt x="7374669" y="4215190"/>
                </a:cubicBezTo>
                <a:cubicBezTo>
                  <a:pt x="7372456" y="4209121"/>
                  <a:pt x="7376328" y="4205985"/>
                  <a:pt x="7384903" y="4201838"/>
                </a:cubicBezTo>
                <a:close/>
                <a:moveTo>
                  <a:pt x="7433583" y="4200523"/>
                </a:moveTo>
                <a:cubicBezTo>
                  <a:pt x="7441050" y="4201130"/>
                  <a:pt x="7442710" y="4205479"/>
                  <a:pt x="7447689" y="4211346"/>
                </a:cubicBezTo>
                <a:cubicBezTo>
                  <a:pt x="7446582" y="4220956"/>
                  <a:pt x="7434965" y="4216505"/>
                  <a:pt x="7433859" y="4226114"/>
                </a:cubicBezTo>
                <a:cubicBezTo>
                  <a:pt x="7438008" y="4229958"/>
                  <a:pt x="7441604" y="4226822"/>
                  <a:pt x="7444093" y="4233195"/>
                </a:cubicBezTo>
                <a:cubicBezTo>
                  <a:pt x="7435242" y="4235218"/>
                  <a:pt x="7426115" y="4237241"/>
                  <a:pt x="7417817" y="4241388"/>
                </a:cubicBezTo>
                <a:cubicBezTo>
                  <a:pt x="7416987" y="4239264"/>
                  <a:pt x="7420859" y="4236027"/>
                  <a:pt x="7417540" y="4234409"/>
                </a:cubicBezTo>
                <a:cubicBezTo>
                  <a:pt x="7422796" y="4228643"/>
                  <a:pt x="7426668" y="4232386"/>
                  <a:pt x="7430263" y="4229250"/>
                </a:cubicBezTo>
                <a:cubicBezTo>
                  <a:pt x="7427774" y="4222776"/>
                  <a:pt x="7420306" y="4229149"/>
                  <a:pt x="7415881" y="4230160"/>
                </a:cubicBezTo>
                <a:cubicBezTo>
                  <a:pt x="7414221" y="4225811"/>
                  <a:pt x="7431370" y="4219742"/>
                  <a:pt x="7421413" y="4219539"/>
                </a:cubicBezTo>
                <a:cubicBezTo>
                  <a:pt x="7425008" y="4216404"/>
                  <a:pt x="7444093" y="4214583"/>
                  <a:pt x="7433583" y="4200523"/>
                </a:cubicBezTo>
                <a:close/>
                <a:moveTo>
                  <a:pt x="7456263" y="4195566"/>
                </a:moveTo>
                <a:cubicBezTo>
                  <a:pt x="7458476" y="4195061"/>
                  <a:pt x="7459582" y="4203861"/>
                  <a:pt x="7465944" y="4206997"/>
                </a:cubicBezTo>
                <a:cubicBezTo>
                  <a:pt x="7459582" y="4203861"/>
                  <a:pt x="7453497" y="4207401"/>
                  <a:pt x="7451008" y="4201130"/>
                </a:cubicBezTo>
                <a:cubicBezTo>
                  <a:pt x="7452391" y="4198601"/>
                  <a:pt x="7457093" y="4197589"/>
                  <a:pt x="7456263" y="4195566"/>
                </a:cubicBezTo>
                <a:close/>
                <a:moveTo>
                  <a:pt x="6446709" y="4189699"/>
                </a:moveTo>
                <a:cubicBezTo>
                  <a:pt x="6447262" y="4192127"/>
                  <a:pt x="6446986" y="4193746"/>
                  <a:pt x="6446433" y="4195465"/>
                </a:cubicBezTo>
                <a:cubicBezTo>
                  <a:pt x="6445603" y="4197084"/>
                  <a:pt x="6444773" y="4198803"/>
                  <a:pt x="6444220" y="4201029"/>
                </a:cubicBezTo>
                <a:cubicBezTo>
                  <a:pt x="6442837" y="4196274"/>
                  <a:pt x="6432327" y="4202141"/>
                  <a:pt x="6434263" y="4193038"/>
                </a:cubicBezTo>
                <a:cubicBezTo>
                  <a:pt x="6440071" y="4198297"/>
                  <a:pt x="6439241" y="4191217"/>
                  <a:pt x="6446709" y="4189699"/>
                </a:cubicBezTo>
                <a:close/>
                <a:moveTo>
                  <a:pt x="7486688" y="4183731"/>
                </a:moveTo>
                <a:cubicBezTo>
                  <a:pt x="7490560" y="4184035"/>
                  <a:pt x="7493049" y="4184541"/>
                  <a:pt x="7494986" y="4185957"/>
                </a:cubicBezTo>
                <a:cubicBezTo>
                  <a:pt x="7496645" y="4187272"/>
                  <a:pt x="7497475" y="4189396"/>
                  <a:pt x="7497751" y="4192835"/>
                </a:cubicBezTo>
                <a:cubicBezTo>
                  <a:pt x="7496368" y="4195465"/>
                  <a:pt x="7491666" y="4196376"/>
                  <a:pt x="7487241" y="4197387"/>
                </a:cubicBezTo>
                <a:cubicBezTo>
                  <a:pt x="7486964" y="4190509"/>
                  <a:pt x="7473411" y="4193543"/>
                  <a:pt x="7478114" y="4199410"/>
                </a:cubicBezTo>
                <a:cubicBezTo>
                  <a:pt x="7470092" y="4203557"/>
                  <a:pt x="7473411" y="4193543"/>
                  <a:pt x="7465667" y="4192936"/>
                </a:cubicBezTo>
                <a:cubicBezTo>
                  <a:pt x="7466220" y="4188182"/>
                  <a:pt x="7486964" y="4190509"/>
                  <a:pt x="7486688" y="4183731"/>
                </a:cubicBezTo>
                <a:close/>
                <a:moveTo>
                  <a:pt x="7547814" y="4182113"/>
                </a:moveTo>
                <a:cubicBezTo>
                  <a:pt x="7552793" y="4188081"/>
                  <a:pt x="7541176" y="4190610"/>
                  <a:pt x="7535091" y="4194251"/>
                </a:cubicBezTo>
                <a:cubicBezTo>
                  <a:pt x="7532602" y="4187879"/>
                  <a:pt x="7541729" y="4185755"/>
                  <a:pt x="7547814" y="4182113"/>
                </a:cubicBezTo>
                <a:close/>
                <a:moveTo>
                  <a:pt x="9201097" y="4182090"/>
                </a:moveTo>
                <a:cubicBezTo>
                  <a:pt x="9205799" y="4187653"/>
                  <a:pt x="9209671" y="4184720"/>
                  <a:pt x="9216586" y="4183202"/>
                </a:cubicBezTo>
                <a:cubicBezTo>
                  <a:pt x="9213543" y="4188260"/>
                  <a:pt x="9193629" y="4194835"/>
                  <a:pt x="9185884" y="4187754"/>
                </a:cubicBezTo>
                <a:cubicBezTo>
                  <a:pt x="9195841" y="4187754"/>
                  <a:pt x="9192799" y="4186136"/>
                  <a:pt x="9201097" y="4182090"/>
                </a:cubicBezTo>
                <a:close/>
                <a:moveTo>
                  <a:pt x="7448242" y="4180899"/>
                </a:moveTo>
                <a:cubicBezTo>
                  <a:pt x="7440774" y="4187171"/>
                  <a:pt x="7442433" y="4191419"/>
                  <a:pt x="7441880" y="4196072"/>
                </a:cubicBezTo>
                <a:cubicBezTo>
                  <a:pt x="7429434" y="4196578"/>
                  <a:pt x="7414774" y="4197387"/>
                  <a:pt x="7397349" y="4203557"/>
                </a:cubicBezTo>
                <a:cubicBezTo>
                  <a:pt x="7404541" y="4190509"/>
                  <a:pt x="7431370" y="4182315"/>
                  <a:pt x="7448242" y="4180899"/>
                </a:cubicBezTo>
                <a:close/>
                <a:moveTo>
                  <a:pt x="6472156" y="4179281"/>
                </a:moveTo>
                <a:cubicBezTo>
                  <a:pt x="6477411" y="4179078"/>
                  <a:pt x="6482666" y="4180292"/>
                  <a:pt x="6484602" y="4182720"/>
                </a:cubicBezTo>
                <a:cubicBezTo>
                  <a:pt x="6481006" y="4188991"/>
                  <a:pt x="6469390" y="4185451"/>
                  <a:pt x="6465517" y="4191723"/>
                </a:cubicBezTo>
                <a:cubicBezTo>
                  <a:pt x="6460815" y="4191217"/>
                  <a:pt x="6464411" y="4184945"/>
                  <a:pt x="6459709" y="4184338"/>
                </a:cubicBezTo>
                <a:cubicBezTo>
                  <a:pt x="6461369" y="4181203"/>
                  <a:pt x="6466900" y="4179584"/>
                  <a:pt x="6472156" y="4179281"/>
                </a:cubicBezTo>
                <a:close/>
                <a:moveTo>
                  <a:pt x="6147715" y="4165726"/>
                </a:moveTo>
                <a:cubicBezTo>
                  <a:pt x="6148545" y="4165625"/>
                  <a:pt x="6149098" y="4166131"/>
                  <a:pt x="6149928" y="4166738"/>
                </a:cubicBezTo>
                <a:cubicBezTo>
                  <a:pt x="6151588" y="4168053"/>
                  <a:pt x="6153524" y="4169975"/>
                  <a:pt x="6157396" y="4169267"/>
                </a:cubicBezTo>
                <a:cubicBezTo>
                  <a:pt x="6154630" y="4171189"/>
                  <a:pt x="6152141" y="4170885"/>
                  <a:pt x="6151311" y="4175235"/>
                </a:cubicBezTo>
                <a:cubicBezTo>
                  <a:pt x="6149375" y="4172807"/>
                  <a:pt x="6144673" y="4172200"/>
                  <a:pt x="6145503" y="4167952"/>
                </a:cubicBezTo>
                <a:cubicBezTo>
                  <a:pt x="6146333" y="4166434"/>
                  <a:pt x="6147162" y="4165726"/>
                  <a:pt x="6147715" y="4165726"/>
                </a:cubicBezTo>
                <a:close/>
                <a:moveTo>
                  <a:pt x="3325868" y="4163884"/>
                </a:moveTo>
                <a:cubicBezTo>
                  <a:pt x="3332506" y="4162974"/>
                  <a:pt x="3339421" y="4164895"/>
                  <a:pt x="3339421" y="4171673"/>
                </a:cubicBezTo>
                <a:cubicBezTo>
                  <a:pt x="3328081" y="4168132"/>
                  <a:pt x="3324762" y="4172381"/>
                  <a:pt x="3312315" y="4173291"/>
                </a:cubicBezTo>
                <a:cubicBezTo>
                  <a:pt x="3312038" y="4168638"/>
                  <a:pt x="3318953" y="4164895"/>
                  <a:pt x="3325868" y="4163884"/>
                </a:cubicBezTo>
                <a:close/>
                <a:moveTo>
                  <a:pt x="7213693" y="4159556"/>
                </a:moveTo>
                <a:cubicBezTo>
                  <a:pt x="7210374" y="4169874"/>
                  <a:pt x="7194885" y="4168559"/>
                  <a:pt x="7181332" y="4171492"/>
                </a:cubicBezTo>
                <a:cubicBezTo>
                  <a:pt x="7185481" y="4163501"/>
                  <a:pt x="7207608" y="4163299"/>
                  <a:pt x="7213693" y="4159556"/>
                </a:cubicBezTo>
                <a:close/>
                <a:moveTo>
                  <a:pt x="5561345" y="4157331"/>
                </a:moveTo>
                <a:cubicBezTo>
                  <a:pt x="5563834" y="4157735"/>
                  <a:pt x="5565217" y="4158747"/>
                  <a:pt x="5565217" y="4159758"/>
                </a:cubicBezTo>
                <a:cubicBezTo>
                  <a:pt x="5565770" y="4161781"/>
                  <a:pt x="5561898" y="4163602"/>
                  <a:pt x="5551664" y="4159151"/>
                </a:cubicBezTo>
                <a:cubicBezTo>
                  <a:pt x="5555814" y="4157331"/>
                  <a:pt x="5559132" y="4157027"/>
                  <a:pt x="5561345" y="4157331"/>
                </a:cubicBezTo>
                <a:close/>
                <a:moveTo>
                  <a:pt x="7440497" y="4156521"/>
                </a:moveTo>
                <a:cubicBezTo>
                  <a:pt x="7442710" y="4156016"/>
                  <a:pt x="7444370" y="4160264"/>
                  <a:pt x="7446306" y="4164513"/>
                </a:cubicBezTo>
                <a:cubicBezTo>
                  <a:pt x="7440774" y="4163400"/>
                  <a:pt x="7431923" y="4177157"/>
                  <a:pt x="7426115" y="4169064"/>
                </a:cubicBezTo>
                <a:cubicBezTo>
                  <a:pt x="7434136" y="4164917"/>
                  <a:pt x="7439944" y="4161276"/>
                  <a:pt x="7440497" y="4156521"/>
                </a:cubicBezTo>
                <a:close/>
                <a:moveTo>
                  <a:pt x="3161850" y="4154072"/>
                </a:moveTo>
                <a:cubicBezTo>
                  <a:pt x="3162956" y="4161052"/>
                  <a:pt x="3152723" y="4162266"/>
                  <a:pt x="3150786" y="4159737"/>
                </a:cubicBezTo>
                <a:cubicBezTo>
                  <a:pt x="3151616" y="4155286"/>
                  <a:pt x="3157148" y="4153566"/>
                  <a:pt x="3161850" y="4154072"/>
                </a:cubicBezTo>
                <a:close/>
                <a:moveTo>
                  <a:pt x="3215232" y="4153465"/>
                </a:moveTo>
                <a:cubicBezTo>
                  <a:pt x="3214402" y="4157815"/>
                  <a:pt x="3219104" y="4158422"/>
                  <a:pt x="3221593" y="4158624"/>
                </a:cubicBezTo>
                <a:cubicBezTo>
                  <a:pt x="3213572" y="4162367"/>
                  <a:pt x="3196977" y="4160546"/>
                  <a:pt x="3196147" y="4153668"/>
                </a:cubicBezTo>
                <a:cubicBezTo>
                  <a:pt x="3202509" y="4156601"/>
                  <a:pt x="3204998" y="4156803"/>
                  <a:pt x="3215232" y="4153465"/>
                </a:cubicBezTo>
                <a:close/>
                <a:moveTo>
                  <a:pt x="3261976" y="4152049"/>
                </a:moveTo>
                <a:cubicBezTo>
                  <a:pt x="3263635" y="4151847"/>
                  <a:pt x="3265571" y="4152555"/>
                  <a:pt x="3268337" y="4154477"/>
                </a:cubicBezTo>
                <a:cubicBezTo>
                  <a:pt x="3267231" y="4158927"/>
                  <a:pt x="3265295" y="4156500"/>
                  <a:pt x="3265295" y="4156500"/>
                </a:cubicBezTo>
                <a:cubicBezTo>
                  <a:pt x="3255614" y="4157714"/>
                  <a:pt x="3265018" y="4170054"/>
                  <a:pt x="3266954" y="4172583"/>
                </a:cubicBezTo>
                <a:cubicBezTo>
                  <a:pt x="3245657" y="4158826"/>
                  <a:pt x="3200849" y="4176528"/>
                  <a:pt x="3170701" y="4170965"/>
                </a:cubicBezTo>
                <a:cubicBezTo>
                  <a:pt x="3192275" y="4159737"/>
                  <a:pt x="3229615" y="4166210"/>
                  <a:pt x="3249529" y="4163783"/>
                </a:cubicBezTo>
                <a:cubicBezTo>
                  <a:pt x="3255337" y="4161052"/>
                  <a:pt x="3256997" y="4152656"/>
                  <a:pt x="3261976" y="4152049"/>
                </a:cubicBezTo>
                <a:close/>
                <a:moveTo>
                  <a:pt x="3025491" y="4150633"/>
                </a:moveTo>
                <a:cubicBezTo>
                  <a:pt x="3026597" y="4157208"/>
                  <a:pt x="3031853" y="4155589"/>
                  <a:pt x="3039044" y="4156298"/>
                </a:cubicBezTo>
                <a:cubicBezTo>
                  <a:pt x="3033236" y="4160040"/>
                  <a:pt x="3011385" y="4159838"/>
                  <a:pt x="3008343" y="4150936"/>
                </a:cubicBezTo>
                <a:cubicBezTo>
                  <a:pt x="3017470" y="4154072"/>
                  <a:pt x="3015534" y="4151645"/>
                  <a:pt x="3025491" y="4150633"/>
                </a:cubicBezTo>
                <a:close/>
                <a:moveTo>
                  <a:pt x="7322117" y="4144889"/>
                </a:moveTo>
                <a:cubicBezTo>
                  <a:pt x="7320180" y="4152577"/>
                  <a:pt x="7302479" y="4158848"/>
                  <a:pt x="7294734" y="4158140"/>
                </a:cubicBezTo>
                <a:cubicBezTo>
                  <a:pt x="7297224" y="4145496"/>
                  <a:pt x="7313819" y="4149137"/>
                  <a:pt x="7322117" y="4144889"/>
                </a:cubicBezTo>
                <a:close/>
                <a:moveTo>
                  <a:pt x="7950080" y="4143449"/>
                </a:moveTo>
                <a:cubicBezTo>
                  <a:pt x="7951740" y="4143348"/>
                  <a:pt x="7953676" y="4143551"/>
                  <a:pt x="7955889" y="4143854"/>
                </a:cubicBezTo>
                <a:cubicBezTo>
                  <a:pt x="7955059" y="4148305"/>
                  <a:pt x="7952569" y="4147900"/>
                  <a:pt x="7947591" y="4149620"/>
                </a:cubicBezTo>
                <a:cubicBezTo>
                  <a:pt x="7946208" y="4156296"/>
                  <a:pt x="7956718" y="4150631"/>
                  <a:pt x="7955612" y="4157307"/>
                </a:cubicBezTo>
                <a:cubicBezTo>
                  <a:pt x="7940953" y="4158015"/>
                  <a:pt x="7935974" y="4159735"/>
                  <a:pt x="7921868" y="4158218"/>
                </a:cubicBezTo>
                <a:cubicBezTo>
                  <a:pt x="7923251" y="4151542"/>
                  <a:pt x="7934591" y="4155082"/>
                  <a:pt x="7935697" y="4148406"/>
                </a:cubicBezTo>
                <a:cubicBezTo>
                  <a:pt x="7938187" y="4148608"/>
                  <a:pt x="7932932" y="4150429"/>
                  <a:pt x="7934868" y="4152857"/>
                </a:cubicBezTo>
                <a:cubicBezTo>
                  <a:pt x="7946484" y="4154172"/>
                  <a:pt x="7940676" y="4148912"/>
                  <a:pt x="7943719" y="4144663"/>
                </a:cubicBezTo>
                <a:cubicBezTo>
                  <a:pt x="7946208" y="4143854"/>
                  <a:pt x="7948144" y="4143551"/>
                  <a:pt x="7950080" y="4143449"/>
                </a:cubicBezTo>
                <a:close/>
                <a:moveTo>
                  <a:pt x="7997377" y="4142843"/>
                </a:moveTo>
                <a:cubicBezTo>
                  <a:pt x="7999037" y="4142741"/>
                  <a:pt x="8000973" y="4142944"/>
                  <a:pt x="8003185" y="4143348"/>
                </a:cubicBezTo>
                <a:cubicBezTo>
                  <a:pt x="8007611" y="4144056"/>
                  <a:pt x="8012036" y="4145675"/>
                  <a:pt x="8012866" y="4148102"/>
                </a:cubicBezTo>
                <a:cubicBezTo>
                  <a:pt x="8006228" y="4156599"/>
                  <a:pt x="7989356" y="4157105"/>
                  <a:pt x="7979952" y="4156094"/>
                </a:cubicBezTo>
                <a:cubicBezTo>
                  <a:pt x="7993228" y="4162163"/>
                  <a:pt x="7957548" y="4160443"/>
                  <a:pt x="7959208" y="4151440"/>
                </a:cubicBezTo>
                <a:cubicBezTo>
                  <a:pt x="7974420" y="4148406"/>
                  <a:pt x="7994888" y="4153059"/>
                  <a:pt x="7994611" y="4143753"/>
                </a:cubicBezTo>
                <a:cubicBezTo>
                  <a:pt x="7994611" y="4143146"/>
                  <a:pt x="7995717" y="4142944"/>
                  <a:pt x="7997377" y="4142843"/>
                </a:cubicBezTo>
                <a:close/>
                <a:moveTo>
                  <a:pt x="9326669" y="4142539"/>
                </a:moveTo>
                <a:cubicBezTo>
                  <a:pt x="9331647" y="4148507"/>
                  <a:pt x="9323073" y="4152654"/>
                  <a:pt x="9319754" y="4151036"/>
                </a:cubicBezTo>
                <a:cubicBezTo>
                  <a:pt x="9318094" y="4146686"/>
                  <a:pt x="9321967" y="4143551"/>
                  <a:pt x="9326669" y="4142539"/>
                </a:cubicBezTo>
                <a:close/>
                <a:moveTo>
                  <a:pt x="3477716" y="4141226"/>
                </a:moveTo>
                <a:cubicBezTo>
                  <a:pt x="3484354" y="4144159"/>
                  <a:pt x="3469418" y="4158321"/>
                  <a:pt x="3487120" y="4153566"/>
                </a:cubicBezTo>
                <a:cubicBezTo>
                  <a:pt x="3486290" y="4157916"/>
                  <a:pt x="3484077" y="4157613"/>
                  <a:pt x="3482971" y="4162063"/>
                </a:cubicBezTo>
                <a:cubicBezTo>
                  <a:pt x="3439546" y="4161760"/>
                  <a:pt x="3399994" y="4166413"/>
                  <a:pt x="3351038" y="4170054"/>
                </a:cubicBezTo>
                <a:cubicBezTo>
                  <a:pt x="3355186" y="4161456"/>
                  <a:pt x="3380909" y="4166615"/>
                  <a:pt x="3381462" y="4150936"/>
                </a:cubicBezTo>
                <a:cubicBezTo>
                  <a:pt x="3388654" y="4151645"/>
                  <a:pt x="3393909" y="4150026"/>
                  <a:pt x="3398611" y="4150532"/>
                </a:cubicBezTo>
                <a:cubicBezTo>
                  <a:pt x="3402483" y="4155488"/>
                  <a:pt x="3392803" y="4154376"/>
                  <a:pt x="3390037" y="4156298"/>
                </a:cubicBezTo>
                <a:cubicBezTo>
                  <a:pt x="3393356" y="4163479"/>
                  <a:pt x="3412164" y="4154274"/>
                  <a:pt x="3418526" y="4159433"/>
                </a:cubicBezTo>
                <a:cubicBezTo>
                  <a:pt x="3410504" y="4138292"/>
                  <a:pt x="3440100" y="4159636"/>
                  <a:pt x="3447844" y="4144665"/>
                </a:cubicBezTo>
                <a:cubicBezTo>
                  <a:pt x="3448950" y="4151543"/>
                  <a:pt x="3444248" y="4151038"/>
                  <a:pt x="3448674" y="4153769"/>
                </a:cubicBezTo>
                <a:cubicBezTo>
                  <a:pt x="3451716" y="4149621"/>
                  <a:pt x="3465546" y="4153364"/>
                  <a:pt x="3464439" y="4146486"/>
                </a:cubicBezTo>
                <a:cubicBezTo>
                  <a:pt x="3466929" y="4146789"/>
                  <a:pt x="3466099" y="4151139"/>
                  <a:pt x="3468035" y="4153668"/>
                </a:cubicBezTo>
                <a:cubicBezTo>
                  <a:pt x="3475503" y="4152150"/>
                  <a:pt x="3474397" y="4145373"/>
                  <a:pt x="3477716" y="4141226"/>
                </a:cubicBezTo>
                <a:close/>
                <a:moveTo>
                  <a:pt x="7471752" y="4140135"/>
                </a:moveTo>
                <a:cubicBezTo>
                  <a:pt x="7473688" y="4140337"/>
                  <a:pt x="7474794" y="4140944"/>
                  <a:pt x="7475071" y="4141652"/>
                </a:cubicBezTo>
                <a:cubicBezTo>
                  <a:pt x="7476177" y="4143776"/>
                  <a:pt x="7472305" y="4147721"/>
                  <a:pt x="7473135" y="4149340"/>
                </a:cubicBezTo>
                <a:cubicBezTo>
                  <a:pt x="7468709" y="4150250"/>
                  <a:pt x="7466773" y="4146002"/>
                  <a:pt x="7465114" y="4141753"/>
                </a:cubicBezTo>
                <a:cubicBezTo>
                  <a:pt x="7467327" y="4141247"/>
                  <a:pt x="7473411" y="4144484"/>
                  <a:pt x="7471752" y="4140135"/>
                </a:cubicBezTo>
                <a:close/>
                <a:moveTo>
                  <a:pt x="6958401" y="4133054"/>
                </a:moveTo>
                <a:cubicBezTo>
                  <a:pt x="6960890" y="4132650"/>
                  <a:pt x="6962826" y="4133155"/>
                  <a:pt x="6963379" y="4134066"/>
                </a:cubicBezTo>
                <a:cubicBezTo>
                  <a:pt x="6965039" y="4135684"/>
                  <a:pt x="6962550" y="4138618"/>
                  <a:pt x="6950656" y="4137707"/>
                </a:cubicBezTo>
                <a:cubicBezTo>
                  <a:pt x="6953422" y="4134875"/>
                  <a:pt x="6956188" y="4133459"/>
                  <a:pt x="6958401" y="4133054"/>
                </a:cubicBezTo>
                <a:close/>
                <a:moveTo>
                  <a:pt x="3463057" y="4130706"/>
                </a:moveTo>
                <a:cubicBezTo>
                  <a:pt x="3463333" y="4130504"/>
                  <a:pt x="3463610" y="4130605"/>
                  <a:pt x="3464439" y="4130807"/>
                </a:cubicBezTo>
                <a:cubicBezTo>
                  <a:pt x="3465546" y="4131212"/>
                  <a:pt x="3467205" y="4131920"/>
                  <a:pt x="3469695" y="4131111"/>
                </a:cubicBezTo>
                <a:cubicBezTo>
                  <a:pt x="3469418" y="4133336"/>
                  <a:pt x="3468865" y="4135662"/>
                  <a:pt x="3468312" y="4137989"/>
                </a:cubicBezTo>
                <a:cubicBezTo>
                  <a:pt x="3463610" y="4137483"/>
                  <a:pt x="3458078" y="4141529"/>
                  <a:pt x="3459461" y="4134651"/>
                </a:cubicBezTo>
                <a:cubicBezTo>
                  <a:pt x="3461674" y="4134954"/>
                  <a:pt x="3461674" y="4134853"/>
                  <a:pt x="3464163" y="4135157"/>
                </a:cubicBezTo>
                <a:cubicBezTo>
                  <a:pt x="3464439" y="4132830"/>
                  <a:pt x="3464439" y="4132931"/>
                  <a:pt x="3462227" y="4132628"/>
                </a:cubicBezTo>
                <a:cubicBezTo>
                  <a:pt x="3462503" y="4131515"/>
                  <a:pt x="3462780" y="4130908"/>
                  <a:pt x="3463057" y="4130706"/>
                </a:cubicBezTo>
                <a:close/>
                <a:moveTo>
                  <a:pt x="3436227" y="4129189"/>
                </a:moveTo>
                <a:cubicBezTo>
                  <a:pt x="3443142" y="4128582"/>
                  <a:pt x="3449780" y="4128582"/>
                  <a:pt x="3456972" y="4134044"/>
                </a:cubicBezTo>
                <a:cubicBezTo>
                  <a:pt x="3457801" y="4136370"/>
                  <a:pt x="3457525" y="4137483"/>
                  <a:pt x="3456972" y="4137685"/>
                </a:cubicBezTo>
                <a:cubicBezTo>
                  <a:pt x="3456142" y="4137888"/>
                  <a:pt x="3455312" y="4137281"/>
                  <a:pt x="3454206" y="4136067"/>
                </a:cubicBezTo>
                <a:cubicBezTo>
                  <a:pt x="3425717" y="4135157"/>
                  <a:pt x="3401654" y="4146182"/>
                  <a:pt x="3365973" y="4144463"/>
                </a:cubicBezTo>
                <a:cubicBezTo>
                  <a:pt x="3375654" y="4131920"/>
                  <a:pt x="3406909" y="4144463"/>
                  <a:pt x="3414653" y="4129290"/>
                </a:cubicBezTo>
                <a:cubicBezTo>
                  <a:pt x="3422674" y="4131313"/>
                  <a:pt x="3429589" y="4129897"/>
                  <a:pt x="3436227" y="4129189"/>
                </a:cubicBezTo>
                <a:close/>
                <a:moveTo>
                  <a:pt x="7363882" y="4126378"/>
                </a:moveTo>
                <a:cubicBezTo>
                  <a:pt x="7364711" y="4128603"/>
                  <a:pt x="7366648" y="4133054"/>
                  <a:pt x="7368860" y="4132548"/>
                </a:cubicBezTo>
                <a:cubicBezTo>
                  <a:pt x="7370520" y="4136999"/>
                  <a:pt x="7366094" y="4138011"/>
                  <a:pt x="7361669" y="4139022"/>
                </a:cubicBezTo>
                <a:cubicBezTo>
                  <a:pt x="7362222" y="4134066"/>
                  <a:pt x="7359456" y="4127390"/>
                  <a:pt x="7351159" y="4131638"/>
                </a:cubicBezTo>
                <a:cubicBezTo>
                  <a:pt x="7350882" y="4124456"/>
                  <a:pt x="7362499" y="4129109"/>
                  <a:pt x="7363882" y="4126378"/>
                </a:cubicBezTo>
                <a:close/>
                <a:moveTo>
                  <a:pt x="3498183" y="4125345"/>
                </a:moveTo>
                <a:cubicBezTo>
                  <a:pt x="3490439" y="4126660"/>
                  <a:pt x="3483248" y="4136876"/>
                  <a:pt x="3478822" y="4134145"/>
                </a:cubicBezTo>
                <a:cubicBezTo>
                  <a:pt x="3482141" y="4130200"/>
                  <a:pt x="3487950" y="4126458"/>
                  <a:pt x="3498183" y="4125345"/>
                </a:cubicBezTo>
                <a:close/>
                <a:moveTo>
                  <a:pt x="9374795" y="4125141"/>
                </a:moveTo>
                <a:cubicBezTo>
                  <a:pt x="9376455" y="4129490"/>
                  <a:pt x="9380880" y="4128378"/>
                  <a:pt x="9383093" y="4127872"/>
                </a:cubicBezTo>
                <a:cubicBezTo>
                  <a:pt x="9378114" y="4133739"/>
                  <a:pt x="9362349" y="4137279"/>
                  <a:pt x="9357370" y="4131311"/>
                </a:cubicBezTo>
                <a:cubicBezTo>
                  <a:pt x="9365115" y="4131918"/>
                  <a:pt x="9367327" y="4131513"/>
                  <a:pt x="9374795" y="4125141"/>
                </a:cubicBezTo>
                <a:close/>
                <a:moveTo>
                  <a:pt x="7990186" y="4122106"/>
                </a:moveTo>
                <a:cubicBezTo>
                  <a:pt x="7992952" y="4122410"/>
                  <a:pt x="7995994" y="4123320"/>
                  <a:pt x="7998483" y="4123624"/>
                </a:cubicBezTo>
                <a:cubicBezTo>
                  <a:pt x="7999590" y="4130502"/>
                  <a:pt x="7985760" y="4124433"/>
                  <a:pt x="7987420" y="4129187"/>
                </a:cubicBezTo>
                <a:cubicBezTo>
                  <a:pt x="7984930" y="4128884"/>
                  <a:pt x="7982994" y="4126456"/>
                  <a:pt x="7983271" y="4124231"/>
                </a:cubicBezTo>
                <a:cubicBezTo>
                  <a:pt x="7984930" y="4122106"/>
                  <a:pt x="7987420" y="4121702"/>
                  <a:pt x="7990186" y="4122106"/>
                </a:cubicBezTo>
                <a:close/>
                <a:moveTo>
                  <a:pt x="5926168" y="4120916"/>
                </a:moveTo>
                <a:cubicBezTo>
                  <a:pt x="5926997" y="4121017"/>
                  <a:pt x="5928104" y="4121725"/>
                  <a:pt x="5928933" y="4122737"/>
                </a:cubicBezTo>
                <a:cubicBezTo>
                  <a:pt x="5930592" y="4124962"/>
                  <a:pt x="5931699" y="4128502"/>
                  <a:pt x="5931146" y="4130728"/>
                </a:cubicBezTo>
                <a:cubicBezTo>
                  <a:pt x="5920912" y="4134167"/>
                  <a:pt x="5925337" y="4123343"/>
                  <a:pt x="5923125" y="4123040"/>
                </a:cubicBezTo>
                <a:cubicBezTo>
                  <a:pt x="5923954" y="4121422"/>
                  <a:pt x="5925061" y="4120815"/>
                  <a:pt x="5926168" y="4120916"/>
                </a:cubicBezTo>
                <a:close/>
                <a:moveTo>
                  <a:pt x="7807360" y="4114216"/>
                </a:moveTo>
                <a:cubicBezTo>
                  <a:pt x="7806806" y="4116442"/>
                  <a:pt x="7808743" y="4118971"/>
                  <a:pt x="7810955" y="4119274"/>
                </a:cubicBezTo>
                <a:cubicBezTo>
                  <a:pt x="7807360" y="4125748"/>
                  <a:pt x="7804594" y="4116138"/>
                  <a:pt x="7797126" y="4117656"/>
                </a:cubicBezTo>
                <a:cubicBezTo>
                  <a:pt x="7799892" y="4115633"/>
                  <a:pt x="7802658" y="4113711"/>
                  <a:pt x="7807360" y="4114216"/>
                </a:cubicBezTo>
                <a:close/>
                <a:moveTo>
                  <a:pt x="7836402" y="4113104"/>
                </a:moveTo>
                <a:cubicBezTo>
                  <a:pt x="7836678" y="4113205"/>
                  <a:pt x="7837231" y="4113812"/>
                  <a:pt x="7838061" y="4114621"/>
                </a:cubicBezTo>
                <a:cubicBezTo>
                  <a:pt x="7839168" y="4116138"/>
                  <a:pt x="7840550" y="4118566"/>
                  <a:pt x="7840274" y="4119679"/>
                </a:cubicBezTo>
                <a:cubicBezTo>
                  <a:pt x="7832253" y="4123522"/>
                  <a:pt x="7827827" y="4120690"/>
                  <a:pt x="7820636" y="4119881"/>
                </a:cubicBezTo>
                <a:cubicBezTo>
                  <a:pt x="7824785" y="4111081"/>
                  <a:pt x="7844146" y="4124837"/>
                  <a:pt x="7836402" y="4114722"/>
                </a:cubicBezTo>
                <a:cubicBezTo>
                  <a:pt x="7836125" y="4113508"/>
                  <a:pt x="7836125" y="4113003"/>
                  <a:pt x="7836402" y="4113104"/>
                </a:cubicBezTo>
                <a:close/>
                <a:moveTo>
                  <a:pt x="9416284" y="4109260"/>
                </a:moveTo>
                <a:cubicBezTo>
                  <a:pt x="9417667" y="4108552"/>
                  <a:pt x="9419879" y="4108552"/>
                  <a:pt x="9423475" y="4109563"/>
                </a:cubicBezTo>
                <a:cubicBezTo>
                  <a:pt x="9425135" y="4113812"/>
                  <a:pt x="9421816" y="4112193"/>
                  <a:pt x="9421816" y="4112193"/>
                </a:cubicBezTo>
                <a:cubicBezTo>
                  <a:pt x="9413518" y="4116341"/>
                  <a:pt x="9429284" y="4124635"/>
                  <a:pt x="9432603" y="4126254"/>
                </a:cubicBezTo>
                <a:cubicBezTo>
                  <a:pt x="9405220" y="4120589"/>
                  <a:pt x="9374795" y="4150530"/>
                  <a:pt x="9344094" y="4154981"/>
                </a:cubicBezTo>
                <a:cubicBezTo>
                  <a:pt x="9357370" y="4138088"/>
                  <a:pt x="9394986" y="4132120"/>
                  <a:pt x="9411582" y="4123826"/>
                </a:cubicBezTo>
                <a:cubicBezTo>
                  <a:pt x="9415454" y="4119476"/>
                  <a:pt x="9412135" y="4111384"/>
                  <a:pt x="9416284" y="4109260"/>
                </a:cubicBezTo>
                <a:close/>
                <a:moveTo>
                  <a:pt x="7337606" y="4108575"/>
                </a:moveTo>
                <a:cubicBezTo>
                  <a:pt x="7339542" y="4120107"/>
                  <a:pt x="7324883" y="4120916"/>
                  <a:pt x="7319074" y="4124658"/>
                </a:cubicBezTo>
                <a:cubicBezTo>
                  <a:pt x="7322117" y="4126277"/>
                  <a:pt x="7325436" y="4127997"/>
                  <a:pt x="7326265" y="4130222"/>
                </a:cubicBezTo>
                <a:cubicBezTo>
                  <a:pt x="7320734" y="4129008"/>
                  <a:pt x="7318798" y="4136696"/>
                  <a:pt x="7309670" y="4138719"/>
                </a:cubicBezTo>
                <a:cubicBezTo>
                  <a:pt x="7308564" y="4129413"/>
                  <a:pt x="7284224" y="4137201"/>
                  <a:pt x="7289202" y="4143271"/>
                </a:cubicBezTo>
                <a:cubicBezTo>
                  <a:pt x="7279522" y="4138213"/>
                  <a:pt x="7263756" y="4141652"/>
                  <a:pt x="7257948" y="4152475"/>
                </a:cubicBezTo>
                <a:cubicBezTo>
                  <a:pt x="7254905" y="4150756"/>
                  <a:pt x="7251586" y="4149137"/>
                  <a:pt x="7247161" y="4150149"/>
                </a:cubicBezTo>
                <a:cubicBezTo>
                  <a:pt x="7271501" y="4130424"/>
                  <a:pt x="7306628" y="4124962"/>
                  <a:pt x="7337606" y="4108575"/>
                </a:cubicBezTo>
                <a:close/>
                <a:moveTo>
                  <a:pt x="7987696" y="4107945"/>
                </a:moveTo>
                <a:cubicBezTo>
                  <a:pt x="7988803" y="4107540"/>
                  <a:pt x="7989909" y="4107439"/>
                  <a:pt x="7991015" y="4108046"/>
                </a:cubicBezTo>
                <a:cubicBezTo>
                  <a:pt x="7992398" y="4108855"/>
                  <a:pt x="7993228" y="4110777"/>
                  <a:pt x="7993228" y="4114318"/>
                </a:cubicBezTo>
                <a:cubicBezTo>
                  <a:pt x="7991015" y="4114014"/>
                  <a:pt x="7987973" y="4116037"/>
                  <a:pt x="7987973" y="4116037"/>
                </a:cubicBezTo>
                <a:cubicBezTo>
                  <a:pt x="7981888" y="4114014"/>
                  <a:pt x="7984377" y="4109260"/>
                  <a:pt x="7987696" y="4107945"/>
                </a:cubicBezTo>
                <a:close/>
                <a:moveTo>
                  <a:pt x="5667555" y="4101191"/>
                </a:moveTo>
                <a:cubicBezTo>
                  <a:pt x="5666449" y="4105743"/>
                  <a:pt x="5666449" y="4105743"/>
                  <a:pt x="5668938" y="4105945"/>
                </a:cubicBezTo>
                <a:cubicBezTo>
                  <a:pt x="5667555" y="4112722"/>
                  <a:pt x="5662023" y="4105136"/>
                  <a:pt x="5654557" y="4106653"/>
                </a:cubicBezTo>
                <a:cubicBezTo>
                  <a:pt x="5657321" y="4104630"/>
                  <a:pt x="5660087" y="4102708"/>
                  <a:pt x="5667555" y="4101191"/>
                </a:cubicBezTo>
                <a:close/>
                <a:moveTo>
                  <a:pt x="9489857" y="4097830"/>
                </a:moveTo>
                <a:cubicBezTo>
                  <a:pt x="9492899" y="4098133"/>
                  <a:pt x="9495665" y="4099650"/>
                  <a:pt x="9497601" y="4102685"/>
                </a:cubicBezTo>
                <a:cubicBezTo>
                  <a:pt x="9485155" y="4103090"/>
                  <a:pt x="9484602" y="4107844"/>
                  <a:pt x="9474091" y="4112497"/>
                </a:cubicBezTo>
                <a:cubicBezTo>
                  <a:pt x="9469666" y="4106428"/>
                  <a:pt x="9481006" y="4097021"/>
                  <a:pt x="9489857" y="4097830"/>
                </a:cubicBezTo>
                <a:close/>
                <a:moveTo>
                  <a:pt x="4642160" y="4090650"/>
                </a:moveTo>
                <a:cubicBezTo>
                  <a:pt x="4646862" y="4096213"/>
                  <a:pt x="4650734" y="4093280"/>
                  <a:pt x="4657649" y="4091762"/>
                </a:cubicBezTo>
                <a:cubicBezTo>
                  <a:pt x="4654607" y="4096820"/>
                  <a:pt x="4634692" y="4103395"/>
                  <a:pt x="4626947" y="4096314"/>
                </a:cubicBezTo>
                <a:cubicBezTo>
                  <a:pt x="4636905" y="4096314"/>
                  <a:pt x="4633862" y="4094696"/>
                  <a:pt x="4642160" y="4090650"/>
                </a:cubicBezTo>
                <a:close/>
                <a:moveTo>
                  <a:pt x="7444370" y="4087738"/>
                </a:moveTo>
                <a:cubicBezTo>
                  <a:pt x="7447412" y="4088041"/>
                  <a:pt x="7450731" y="4088851"/>
                  <a:pt x="7454603" y="4090166"/>
                </a:cubicBezTo>
                <a:cubicBezTo>
                  <a:pt x="7439668" y="4102911"/>
                  <a:pt x="7420030" y="4109688"/>
                  <a:pt x="7402881" y="4111003"/>
                </a:cubicBezTo>
                <a:cubicBezTo>
                  <a:pt x="7403711" y="4113228"/>
                  <a:pt x="7407583" y="4109991"/>
                  <a:pt x="7409243" y="4114442"/>
                </a:cubicBezTo>
                <a:cubicBezTo>
                  <a:pt x="7404264" y="4120309"/>
                  <a:pt x="7400668" y="4111509"/>
                  <a:pt x="7394583" y="4115150"/>
                </a:cubicBezTo>
                <a:cubicBezTo>
                  <a:pt x="7407583" y="4105237"/>
                  <a:pt x="7418370" y="4090267"/>
                  <a:pt x="7435242" y="4087839"/>
                </a:cubicBezTo>
                <a:cubicBezTo>
                  <a:pt x="7438008" y="4087333"/>
                  <a:pt x="7441050" y="4087333"/>
                  <a:pt x="7444370" y="4087738"/>
                </a:cubicBezTo>
                <a:close/>
                <a:moveTo>
                  <a:pt x="8092247" y="4086298"/>
                </a:moveTo>
                <a:cubicBezTo>
                  <a:pt x="8093354" y="4093177"/>
                  <a:pt x="8081460" y="4091963"/>
                  <a:pt x="8073992" y="4093379"/>
                </a:cubicBezTo>
                <a:cubicBezTo>
                  <a:pt x="8075099" y="4086703"/>
                  <a:pt x="8084779" y="4087714"/>
                  <a:pt x="8092247" y="4086298"/>
                </a:cubicBezTo>
                <a:close/>
                <a:moveTo>
                  <a:pt x="7410902" y="4076206"/>
                </a:moveTo>
                <a:cubicBezTo>
                  <a:pt x="7402328" y="4092087"/>
                  <a:pt x="7374392" y="4095931"/>
                  <a:pt x="7354201" y="4107463"/>
                </a:cubicBezTo>
                <a:cubicBezTo>
                  <a:pt x="7359456" y="4089862"/>
                  <a:pt x="7389328" y="4090267"/>
                  <a:pt x="7410902" y="4076206"/>
                </a:cubicBezTo>
                <a:close/>
                <a:moveTo>
                  <a:pt x="5492197" y="4075296"/>
                </a:moveTo>
                <a:cubicBezTo>
                  <a:pt x="5523453" y="4087738"/>
                  <a:pt x="5586514" y="4085614"/>
                  <a:pt x="5626620" y="4101292"/>
                </a:cubicBezTo>
                <a:cubicBezTo>
                  <a:pt x="5602833" y="4112116"/>
                  <a:pt x="5585685" y="4090064"/>
                  <a:pt x="5559686" y="4098460"/>
                </a:cubicBezTo>
                <a:cubicBezTo>
                  <a:pt x="5559686" y="4098460"/>
                  <a:pt x="5559962" y="4098460"/>
                  <a:pt x="5484453" y="4078836"/>
                </a:cubicBezTo>
                <a:cubicBezTo>
                  <a:pt x="5487219" y="4076915"/>
                  <a:pt x="5487496" y="4074689"/>
                  <a:pt x="5492197" y="4075296"/>
                </a:cubicBezTo>
                <a:close/>
                <a:moveTo>
                  <a:pt x="3391143" y="4052009"/>
                </a:moveTo>
                <a:cubicBezTo>
                  <a:pt x="3392803" y="4051908"/>
                  <a:pt x="3394739" y="4052111"/>
                  <a:pt x="3396952" y="4052414"/>
                </a:cubicBezTo>
                <a:cubicBezTo>
                  <a:pt x="3396122" y="4056865"/>
                  <a:pt x="3393632" y="4056460"/>
                  <a:pt x="3388654" y="4058180"/>
                </a:cubicBezTo>
                <a:cubicBezTo>
                  <a:pt x="3387271" y="4064856"/>
                  <a:pt x="3397781" y="4059191"/>
                  <a:pt x="3396675" y="4065867"/>
                </a:cubicBezTo>
                <a:cubicBezTo>
                  <a:pt x="3382016" y="4066575"/>
                  <a:pt x="3377037" y="4068295"/>
                  <a:pt x="3362931" y="4066778"/>
                </a:cubicBezTo>
                <a:cubicBezTo>
                  <a:pt x="3364314" y="4060102"/>
                  <a:pt x="3375654" y="4063642"/>
                  <a:pt x="3376760" y="4056966"/>
                </a:cubicBezTo>
                <a:cubicBezTo>
                  <a:pt x="3379250" y="4057168"/>
                  <a:pt x="3373995" y="4058989"/>
                  <a:pt x="3375931" y="4061417"/>
                </a:cubicBezTo>
                <a:cubicBezTo>
                  <a:pt x="3387547" y="4062732"/>
                  <a:pt x="3381739" y="4057472"/>
                  <a:pt x="3384782" y="4053223"/>
                </a:cubicBezTo>
                <a:cubicBezTo>
                  <a:pt x="3387271" y="4052414"/>
                  <a:pt x="3389207" y="4052111"/>
                  <a:pt x="3391143" y="4052009"/>
                </a:cubicBezTo>
                <a:close/>
                <a:moveTo>
                  <a:pt x="3438440" y="4051403"/>
                </a:moveTo>
                <a:cubicBezTo>
                  <a:pt x="3440100" y="4051301"/>
                  <a:pt x="3442036" y="4051504"/>
                  <a:pt x="3444248" y="4051908"/>
                </a:cubicBezTo>
                <a:cubicBezTo>
                  <a:pt x="3448674" y="4052616"/>
                  <a:pt x="3453099" y="4054235"/>
                  <a:pt x="3453929" y="4056662"/>
                </a:cubicBezTo>
                <a:cubicBezTo>
                  <a:pt x="3447291" y="4065159"/>
                  <a:pt x="3430419" y="4065665"/>
                  <a:pt x="3421015" y="4064654"/>
                </a:cubicBezTo>
                <a:cubicBezTo>
                  <a:pt x="3434291" y="4070723"/>
                  <a:pt x="3398611" y="4069003"/>
                  <a:pt x="3400271" y="4060000"/>
                </a:cubicBezTo>
                <a:cubicBezTo>
                  <a:pt x="3415483" y="4056966"/>
                  <a:pt x="3435951" y="4061619"/>
                  <a:pt x="3435674" y="4052313"/>
                </a:cubicBezTo>
                <a:cubicBezTo>
                  <a:pt x="3435674" y="4051706"/>
                  <a:pt x="3436780" y="4051504"/>
                  <a:pt x="3438440" y="4051403"/>
                </a:cubicBezTo>
                <a:close/>
                <a:moveTo>
                  <a:pt x="4815858" y="4033701"/>
                </a:moveTo>
                <a:cubicBezTo>
                  <a:pt x="4817518" y="4038050"/>
                  <a:pt x="4821943" y="4036938"/>
                  <a:pt x="4824156" y="4036432"/>
                </a:cubicBezTo>
                <a:cubicBezTo>
                  <a:pt x="4819177" y="4042299"/>
                  <a:pt x="4803413" y="4045839"/>
                  <a:pt x="4798433" y="4039871"/>
                </a:cubicBezTo>
                <a:cubicBezTo>
                  <a:pt x="4806178" y="4040478"/>
                  <a:pt x="4808390" y="4040073"/>
                  <a:pt x="4815858" y="4033701"/>
                </a:cubicBezTo>
                <a:close/>
                <a:moveTo>
                  <a:pt x="9605471" y="4031676"/>
                </a:moveTo>
                <a:cubicBezTo>
                  <a:pt x="9613216" y="4032283"/>
                  <a:pt x="9607684" y="4049782"/>
                  <a:pt x="9621237" y="4039869"/>
                </a:cubicBezTo>
                <a:cubicBezTo>
                  <a:pt x="9622897" y="4044118"/>
                  <a:pt x="9620684" y="4044624"/>
                  <a:pt x="9622343" y="4048872"/>
                </a:cubicBezTo>
                <a:cubicBezTo>
                  <a:pt x="9582791" y="4062224"/>
                  <a:pt x="9549600" y="4078914"/>
                  <a:pt x="9507282" y="4097526"/>
                </a:cubicBezTo>
                <a:cubicBezTo>
                  <a:pt x="9506176" y="4088524"/>
                  <a:pt x="9532175" y="4085085"/>
                  <a:pt x="9523877" y="4070620"/>
                </a:cubicBezTo>
                <a:cubicBezTo>
                  <a:pt x="9530792" y="4069102"/>
                  <a:pt x="9534388" y="4065967"/>
                  <a:pt x="9539090" y="4064955"/>
                </a:cubicBezTo>
                <a:cubicBezTo>
                  <a:pt x="9545451" y="4068192"/>
                  <a:pt x="9536047" y="4070215"/>
                  <a:pt x="9534664" y="4072845"/>
                </a:cubicBezTo>
                <a:cubicBezTo>
                  <a:pt x="9541856" y="4078307"/>
                  <a:pt x="9553472" y="4064146"/>
                  <a:pt x="9562323" y="4066877"/>
                </a:cubicBezTo>
                <a:cubicBezTo>
                  <a:pt x="9542962" y="4050187"/>
                  <a:pt x="9581961" y="4060100"/>
                  <a:pt x="9580578" y="4044118"/>
                </a:cubicBezTo>
                <a:cubicBezTo>
                  <a:pt x="9585280" y="4050086"/>
                  <a:pt x="9580855" y="4051097"/>
                  <a:pt x="9586387" y="4052210"/>
                </a:cubicBezTo>
                <a:cubicBezTo>
                  <a:pt x="9586940" y="4047456"/>
                  <a:pt x="9601323" y="4046545"/>
                  <a:pt x="9596621" y="4040679"/>
                </a:cubicBezTo>
                <a:cubicBezTo>
                  <a:pt x="9598833" y="4040173"/>
                  <a:pt x="9600493" y="4044421"/>
                  <a:pt x="9603812" y="4046040"/>
                </a:cubicBezTo>
                <a:cubicBezTo>
                  <a:pt x="9609620" y="4042398"/>
                  <a:pt x="9604918" y="4036531"/>
                  <a:pt x="9605471" y="4031676"/>
                </a:cubicBezTo>
                <a:close/>
                <a:moveTo>
                  <a:pt x="9570344" y="4030766"/>
                </a:moveTo>
                <a:cubicBezTo>
                  <a:pt x="9573940" y="4030260"/>
                  <a:pt x="9577812" y="4030462"/>
                  <a:pt x="9582791" y="4031676"/>
                </a:cubicBezTo>
                <a:cubicBezTo>
                  <a:pt x="9584727" y="4033598"/>
                  <a:pt x="9585280" y="4034711"/>
                  <a:pt x="9584727" y="4035115"/>
                </a:cubicBezTo>
                <a:cubicBezTo>
                  <a:pt x="9584174" y="4035520"/>
                  <a:pt x="9582791" y="4035115"/>
                  <a:pt x="9581408" y="4034306"/>
                </a:cubicBezTo>
                <a:cubicBezTo>
                  <a:pt x="9554855" y="4042499"/>
                  <a:pt x="9539366" y="4060100"/>
                  <a:pt x="9506176" y="4069811"/>
                </a:cubicBezTo>
                <a:cubicBezTo>
                  <a:pt x="9507835" y="4055245"/>
                  <a:pt x="9543239" y="4056863"/>
                  <a:pt x="9541579" y="4040780"/>
                </a:cubicBezTo>
                <a:cubicBezTo>
                  <a:pt x="9554302" y="4039667"/>
                  <a:pt x="9560111" y="4032283"/>
                  <a:pt x="9570344" y="4030766"/>
                </a:cubicBezTo>
                <a:close/>
                <a:moveTo>
                  <a:pt x="3431249" y="4030666"/>
                </a:moveTo>
                <a:cubicBezTo>
                  <a:pt x="3434015" y="4030970"/>
                  <a:pt x="3437057" y="4031880"/>
                  <a:pt x="3439546" y="4032184"/>
                </a:cubicBezTo>
                <a:cubicBezTo>
                  <a:pt x="3440653" y="4039062"/>
                  <a:pt x="3426823" y="4032993"/>
                  <a:pt x="3428483" y="4037747"/>
                </a:cubicBezTo>
                <a:cubicBezTo>
                  <a:pt x="3425993" y="4037444"/>
                  <a:pt x="3424057" y="4035016"/>
                  <a:pt x="3424334" y="4032791"/>
                </a:cubicBezTo>
                <a:cubicBezTo>
                  <a:pt x="3425993" y="4030666"/>
                  <a:pt x="3428483" y="4030262"/>
                  <a:pt x="3431249" y="4030666"/>
                </a:cubicBezTo>
                <a:close/>
                <a:moveTo>
                  <a:pt x="9592472" y="4025000"/>
                </a:moveTo>
                <a:cubicBezTo>
                  <a:pt x="9593301" y="4027225"/>
                  <a:pt x="9594408" y="4029451"/>
                  <a:pt x="9595238" y="4031676"/>
                </a:cubicBezTo>
                <a:cubicBezTo>
                  <a:pt x="9590536" y="4032688"/>
                  <a:pt x="9587770" y="4038150"/>
                  <a:pt x="9585004" y="4031474"/>
                </a:cubicBezTo>
                <a:cubicBezTo>
                  <a:pt x="9587493" y="4030968"/>
                  <a:pt x="9587493" y="4030968"/>
                  <a:pt x="9589706" y="4030462"/>
                </a:cubicBezTo>
                <a:cubicBezTo>
                  <a:pt x="9588876" y="4028237"/>
                  <a:pt x="9588876" y="4028237"/>
                  <a:pt x="9586663" y="4028743"/>
                </a:cubicBezTo>
                <a:cubicBezTo>
                  <a:pt x="9584727" y="4024393"/>
                  <a:pt x="9588876" y="4028237"/>
                  <a:pt x="9592472" y="4025000"/>
                </a:cubicBezTo>
                <a:close/>
                <a:moveTo>
                  <a:pt x="3336378" y="4023586"/>
                </a:moveTo>
                <a:cubicBezTo>
                  <a:pt x="3339697" y="4023687"/>
                  <a:pt x="3343016" y="4023990"/>
                  <a:pt x="3347165" y="4024496"/>
                </a:cubicBezTo>
                <a:cubicBezTo>
                  <a:pt x="3349931" y="4022473"/>
                  <a:pt x="3352144" y="4025002"/>
                  <a:pt x="3351591" y="4027227"/>
                </a:cubicBezTo>
                <a:cubicBezTo>
                  <a:pt x="3340804" y="4032892"/>
                  <a:pt x="3319230" y="4030666"/>
                  <a:pt x="3310102" y="4027328"/>
                </a:cubicBezTo>
                <a:cubicBezTo>
                  <a:pt x="3305400" y="4026823"/>
                  <a:pt x="3300145" y="4028441"/>
                  <a:pt x="3297656" y="4028137"/>
                </a:cubicBezTo>
                <a:cubicBezTo>
                  <a:pt x="3298209" y="4025912"/>
                  <a:pt x="3302911" y="4026519"/>
                  <a:pt x="3305953" y="4024496"/>
                </a:cubicBezTo>
                <a:cubicBezTo>
                  <a:pt x="3315634" y="4024395"/>
                  <a:pt x="3321719" y="4023889"/>
                  <a:pt x="3327527" y="4023687"/>
                </a:cubicBezTo>
                <a:cubicBezTo>
                  <a:pt x="3330570" y="4023586"/>
                  <a:pt x="3333336" y="4023484"/>
                  <a:pt x="3336378" y="4023586"/>
                </a:cubicBezTo>
                <a:close/>
                <a:moveTo>
                  <a:pt x="3188679" y="4023282"/>
                </a:moveTo>
                <a:cubicBezTo>
                  <a:pt x="3195317" y="4023687"/>
                  <a:pt x="3204445" y="4027733"/>
                  <a:pt x="3212189" y="4025204"/>
                </a:cubicBezTo>
                <a:cubicBezTo>
                  <a:pt x="3196977" y="4028137"/>
                  <a:pt x="3193658" y="4032386"/>
                  <a:pt x="3183424" y="4024294"/>
                </a:cubicBezTo>
                <a:cubicBezTo>
                  <a:pt x="3184807" y="4023282"/>
                  <a:pt x="3186467" y="4023080"/>
                  <a:pt x="3188679" y="4023282"/>
                </a:cubicBezTo>
                <a:close/>
                <a:moveTo>
                  <a:pt x="3248423" y="4022776"/>
                </a:moveTo>
                <a:cubicBezTo>
                  <a:pt x="3247869" y="4025002"/>
                  <a:pt x="3249806" y="4027531"/>
                  <a:pt x="3252018" y="4027834"/>
                </a:cubicBezTo>
                <a:cubicBezTo>
                  <a:pt x="3248423" y="4034308"/>
                  <a:pt x="3245657" y="4024698"/>
                  <a:pt x="3238189" y="4026216"/>
                </a:cubicBezTo>
                <a:cubicBezTo>
                  <a:pt x="3240955" y="4024193"/>
                  <a:pt x="3243721" y="4022271"/>
                  <a:pt x="3248423" y="4022776"/>
                </a:cubicBezTo>
                <a:close/>
                <a:moveTo>
                  <a:pt x="3277465" y="4021664"/>
                </a:moveTo>
                <a:cubicBezTo>
                  <a:pt x="3277741" y="4021765"/>
                  <a:pt x="3278294" y="4022372"/>
                  <a:pt x="3279124" y="4023181"/>
                </a:cubicBezTo>
                <a:cubicBezTo>
                  <a:pt x="3280231" y="4024698"/>
                  <a:pt x="3281613" y="4027126"/>
                  <a:pt x="3281337" y="4028239"/>
                </a:cubicBezTo>
                <a:cubicBezTo>
                  <a:pt x="3273316" y="4032082"/>
                  <a:pt x="3268890" y="4029250"/>
                  <a:pt x="3261699" y="4028441"/>
                </a:cubicBezTo>
                <a:cubicBezTo>
                  <a:pt x="3265848" y="4019641"/>
                  <a:pt x="3285209" y="4033397"/>
                  <a:pt x="3277465" y="4023282"/>
                </a:cubicBezTo>
                <a:cubicBezTo>
                  <a:pt x="3277188" y="4022068"/>
                  <a:pt x="3277188" y="4021563"/>
                  <a:pt x="3277465" y="4021664"/>
                </a:cubicBezTo>
                <a:close/>
                <a:moveTo>
                  <a:pt x="3381739" y="4021461"/>
                </a:moveTo>
                <a:cubicBezTo>
                  <a:pt x="3387547" y="4021563"/>
                  <a:pt x="3393356" y="4023383"/>
                  <a:pt x="3397228" y="4027733"/>
                </a:cubicBezTo>
                <a:cubicBezTo>
                  <a:pt x="3388930" y="4033499"/>
                  <a:pt x="3380633" y="4025811"/>
                  <a:pt x="3367910" y="4028846"/>
                </a:cubicBezTo>
                <a:cubicBezTo>
                  <a:pt x="3366527" y="4035420"/>
                  <a:pt x="3371782" y="4033802"/>
                  <a:pt x="3370399" y="4040377"/>
                </a:cubicBezTo>
                <a:cubicBezTo>
                  <a:pt x="3346059" y="4035926"/>
                  <a:pt x="3364314" y="4021259"/>
                  <a:pt x="3381739" y="4021461"/>
                </a:cubicBezTo>
                <a:close/>
                <a:moveTo>
                  <a:pt x="3410504" y="4020045"/>
                </a:moveTo>
                <a:cubicBezTo>
                  <a:pt x="3411058" y="4022372"/>
                  <a:pt x="3410781" y="4024091"/>
                  <a:pt x="3410228" y="4025508"/>
                </a:cubicBezTo>
                <a:cubicBezTo>
                  <a:pt x="3409675" y="4026823"/>
                  <a:pt x="3408845" y="4027834"/>
                  <a:pt x="3408568" y="4028947"/>
                </a:cubicBezTo>
                <a:cubicBezTo>
                  <a:pt x="3403866" y="4028441"/>
                  <a:pt x="3401930" y="4025912"/>
                  <a:pt x="3402760" y="4021461"/>
                </a:cubicBezTo>
                <a:cubicBezTo>
                  <a:pt x="3405249" y="4021765"/>
                  <a:pt x="3408015" y="4019742"/>
                  <a:pt x="3410504" y="4020045"/>
                </a:cubicBezTo>
                <a:close/>
                <a:moveTo>
                  <a:pt x="3428759" y="4016505"/>
                </a:moveTo>
                <a:cubicBezTo>
                  <a:pt x="3429866" y="4016100"/>
                  <a:pt x="3430972" y="4015999"/>
                  <a:pt x="3432078" y="4016606"/>
                </a:cubicBezTo>
                <a:cubicBezTo>
                  <a:pt x="3433461" y="4017415"/>
                  <a:pt x="3434291" y="4019337"/>
                  <a:pt x="3434291" y="4022878"/>
                </a:cubicBezTo>
                <a:cubicBezTo>
                  <a:pt x="3432078" y="4022574"/>
                  <a:pt x="3429036" y="4024597"/>
                  <a:pt x="3429036" y="4024597"/>
                </a:cubicBezTo>
                <a:cubicBezTo>
                  <a:pt x="3422951" y="4022574"/>
                  <a:pt x="3425440" y="4017820"/>
                  <a:pt x="3428759" y="4016505"/>
                </a:cubicBezTo>
                <a:close/>
                <a:moveTo>
                  <a:pt x="9615152" y="4010940"/>
                </a:moveTo>
                <a:cubicBezTo>
                  <a:pt x="9608790" y="4014581"/>
                  <a:pt x="9608237" y="4026012"/>
                  <a:pt x="9602429" y="4025000"/>
                </a:cubicBezTo>
                <a:cubicBezTo>
                  <a:pt x="9603259" y="4020347"/>
                  <a:pt x="9606301" y="4015087"/>
                  <a:pt x="9615152" y="4010940"/>
                </a:cubicBezTo>
                <a:close/>
                <a:moveTo>
                  <a:pt x="9298733" y="4009928"/>
                </a:moveTo>
                <a:cubicBezTo>
                  <a:pt x="9286840" y="4017312"/>
                  <a:pt x="9286286" y="4022269"/>
                  <a:pt x="9272180" y="4018223"/>
                </a:cubicBezTo>
                <a:cubicBezTo>
                  <a:pt x="9274946" y="4012761"/>
                  <a:pt x="9291265" y="4016301"/>
                  <a:pt x="9298733" y="4009928"/>
                </a:cubicBezTo>
                <a:close/>
                <a:moveTo>
                  <a:pt x="9330264" y="3996374"/>
                </a:moveTo>
                <a:cubicBezTo>
                  <a:pt x="9331094" y="3998498"/>
                  <a:pt x="9334136" y="4000218"/>
                  <a:pt x="9336349" y="3999712"/>
                </a:cubicBezTo>
                <a:cubicBezTo>
                  <a:pt x="9336902" y="4006793"/>
                  <a:pt x="9328881" y="3999004"/>
                  <a:pt x="9323073" y="4002645"/>
                </a:cubicBezTo>
                <a:cubicBezTo>
                  <a:pt x="9324456" y="4000015"/>
                  <a:pt x="9325839" y="3997284"/>
                  <a:pt x="9330264" y="3996374"/>
                </a:cubicBezTo>
                <a:close/>
                <a:moveTo>
                  <a:pt x="3533310" y="3994858"/>
                </a:moveTo>
                <a:cubicBezTo>
                  <a:pt x="3534417" y="4001737"/>
                  <a:pt x="3522523" y="4000523"/>
                  <a:pt x="3515055" y="4001939"/>
                </a:cubicBezTo>
                <a:cubicBezTo>
                  <a:pt x="3516162" y="3995263"/>
                  <a:pt x="3525842" y="3996274"/>
                  <a:pt x="3533310" y="3994858"/>
                </a:cubicBezTo>
                <a:close/>
                <a:moveTo>
                  <a:pt x="6024356" y="3990429"/>
                </a:moveTo>
                <a:cubicBezTo>
                  <a:pt x="6036527" y="3989519"/>
                  <a:pt x="6040399" y="3994475"/>
                  <a:pt x="6049526" y="3997712"/>
                </a:cubicBezTo>
                <a:cubicBezTo>
                  <a:pt x="6038186" y="4005602"/>
                  <a:pt x="6003889" y="4008738"/>
                  <a:pt x="5983698" y="4013391"/>
                </a:cubicBezTo>
                <a:cubicBezTo>
                  <a:pt x="5985634" y="4004388"/>
                  <a:pt x="5995869" y="4000949"/>
                  <a:pt x="6001953" y="4006209"/>
                </a:cubicBezTo>
                <a:cubicBezTo>
                  <a:pt x="6008038" y="4000039"/>
                  <a:pt x="6016612" y="3994172"/>
                  <a:pt x="6024356" y="3990429"/>
                </a:cubicBezTo>
                <a:close/>
                <a:moveTo>
                  <a:pt x="7662322" y="3990126"/>
                </a:moveTo>
                <a:cubicBezTo>
                  <a:pt x="7665642" y="3999027"/>
                  <a:pt x="7662046" y="4002264"/>
                  <a:pt x="7654025" y="4006512"/>
                </a:cubicBezTo>
                <a:cubicBezTo>
                  <a:pt x="7648216" y="3998117"/>
                  <a:pt x="7656237" y="3993868"/>
                  <a:pt x="7662322" y="3990126"/>
                </a:cubicBezTo>
                <a:close/>
                <a:moveTo>
                  <a:pt x="4369796" y="3989418"/>
                </a:moveTo>
                <a:cubicBezTo>
                  <a:pt x="4373668" y="3989114"/>
                  <a:pt x="4377816" y="3989418"/>
                  <a:pt x="4382795" y="3990834"/>
                </a:cubicBezTo>
                <a:cubicBezTo>
                  <a:pt x="4375050" y="3989215"/>
                  <a:pt x="4362327" y="3995689"/>
                  <a:pt x="4360114" y="3991744"/>
                </a:cubicBezTo>
                <a:cubicBezTo>
                  <a:pt x="4362881" y="3990530"/>
                  <a:pt x="4366199" y="3989620"/>
                  <a:pt x="4369796" y="3989418"/>
                </a:cubicBezTo>
                <a:close/>
                <a:moveTo>
                  <a:pt x="9355987" y="3986259"/>
                </a:moveTo>
                <a:cubicBezTo>
                  <a:pt x="9356264" y="3986157"/>
                  <a:pt x="9357093" y="3986461"/>
                  <a:pt x="9358200" y="3986967"/>
                </a:cubicBezTo>
                <a:cubicBezTo>
                  <a:pt x="9360136" y="3988079"/>
                  <a:pt x="9362902" y="3989900"/>
                  <a:pt x="9363178" y="3991013"/>
                </a:cubicBezTo>
                <a:cubicBezTo>
                  <a:pt x="9358200" y="3996981"/>
                  <a:pt x="9352391" y="3995868"/>
                  <a:pt x="9345477" y="3997385"/>
                </a:cubicBezTo>
                <a:cubicBezTo>
                  <a:pt x="9344370" y="3988079"/>
                  <a:pt x="9369540" y="3994351"/>
                  <a:pt x="9356817" y="3987574"/>
                </a:cubicBezTo>
                <a:cubicBezTo>
                  <a:pt x="9355711" y="3986562"/>
                  <a:pt x="9355711" y="3986259"/>
                  <a:pt x="9355987" y="3986259"/>
                </a:cubicBezTo>
                <a:close/>
                <a:moveTo>
                  <a:pt x="6100142" y="3985776"/>
                </a:moveTo>
                <a:cubicBezTo>
                  <a:pt x="6092674" y="3998521"/>
                  <a:pt x="6077462" y="4001455"/>
                  <a:pt x="6063079" y="3999836"/>
                </a:cubicBezTo>
                <a:cubicBezTo>
                  <a:pt x="6071930" y="3991744"/>
                  <a:pt x="6085759" y="3984158"/>
                  <a:pt x="6100142" y="3985776"/>
                </a:cubicBezTo>
                <a:close/>
                <a:moveTo>
                  <a:pt x="3366803" y="3985350"/>
                </a:moveTo>
                <a:cubicBezTo>
                  <a:pt x="3372058" y="3983630"/>
                  <a:pt x="3365420" y="4003355"/>
                  <a:pt x="3374548" y="3995263"/>
                </a:cubicBezTo>
                <a:cubicBezTo>
                  <a:pt x="3376207" y="3995971"/>
                  <a:pt x="3376207" y="3996578"/>
                  <a:pt x="3375377" y="3997084"/>
                </a:cubicBezTo>
                <a:cubicBezTo>
                  <a:pt x="3372888" y="3998601"/>
                  <a:pt x="3362654" y="3999714"/>
                  <a:pt x="3365697" y="4003456"/>
                </a:cubicBezTo>
                <a:cubicBezTo>
                  <a:pt x="3353250" y="4004367"/>
                  <a:pt x="3341357" y="4002951"/>
                  <a:pt x="3326698" y="4003557"/>
                </a:cubicBezTo>
                <a:cubicBezTo>
                  <a:pt x="3323379" y="3996477"/>
                  <a:pt x="3325868" y="3996679"/>
                  <a:pt x="3329187" y="3992532"/>
                </a:cubicBezTo>
                <a:cubicBezTo>
                  <a:pt x="3335825" y="4006895"/>
                  <a:pt x="3362101" y="3996173"/>
                  <a:pt x="3366803" y="3985350"/>
                </a:cubicBezTo>
                <a:close/>
                <a:moveTo>
                  <a:pt x="5943870" y="3983955"/>
                </a:moveTo>
                <a:cubicBezTo>
                  <a:pt x="5951337" y="3982539"/>
                  <a:pt x="5953273" y="3984967"/>
                  <a:pt x="5960187" y="3985776"/>
                </a:cubicBezTo>
                <a:cubicBezTo>
                  <a:pt x="5957145" y="3989923"/>
                  <a:pt x="5956315" y="3994273"/>
                  <a:pt x="5955486" y="3998724"/>
                </a:cubicBezTo>
                <a:cubicBezTo>
                  <a:pt x="5952996" y="3998420"/>
                  <a:pt x="5950783" y="3998218"/>
                  <a:pt x="5948294" y="3997915"/>
                </a:cubicBezTo>
                <a:cubicBezTo>
                  <a:pt x="5949678" y="3991340"/>
                  <a:pt x="5945528" y="3988608"/>
                  <a:pt x="5943870" y="3983955"/>
                </a:cubicBezTo>
                <a:close/>
                <a:moveTo>
                  <a:pt x="4348498" y="3983045"/>
                </a:moveTo>
                <a:cubicBezTo>
                  <a:pt x="4349051" y="3982944"/>
                  <a:pt x="4349327" y="3983247"/>
                  <a:pt x="4349604" y="3983652"/>
                </a:cubicBezTo>
                <a:cubicBezTo>
                  <a:pt x="4350158" y="3984360"/>
                  <a:pt x="4351264" y="3985574"/>
                  <a:pt x="4354030" y="3985776"/>
                </a:cubicBezTo>
                <a:cubicBezTo>
                  <a:pt x="4352370" y="3987597"/>
                  <a:pt x="4350434" y="3989519"/>
                  <a:pt x="4348498" y="3991340"/>
                </a:cubicBezTo>
                <a:cubicBezTo>
                  <a:pt x="4344625" y="3989215"/>
                  <a:pt x="4337158" y="3990733"/>
                  <a:pt x="4342689" y="3985169"/>
                </a:cubicBezTo>
                <a:cubicBezTo>
                  <a:pt x="4344625" y="3986282"/>
                  <a:pt x="4344625" y="3986282"/>
                  <a:pt x="4346561" y="3987294"/>
                </a:cubicBezTo>
                <a:cubicBezTo>
                  <a:pt x="4348498" y="3985473"/>
                  <a:pt x="4348498" y="3985473"/>
                  <a:pt x="4346561" y="3984461"/>
                </a:cubicBezTo>
                <a:cubicBezTo>
                  <a:pt x="4347391" y="3983450"/>
                  <a:pt x="4347945" y="3983146"/>
                  <a:pt x="4348498" y="3983045"/>
                </a:cubicBezTo>
                <a:close/>
                <a:moveTo>
                  <a:pt x="8024743" y="3978748"/>
                </a:moveTo>
                <a:lnTo>
                  <a:pt x="8024932" y="3982742"/>
                </a:lnTo>
                <a:lnTo>
                  <a:pt x="8029726" y="3979065"/>
                </a:lnTo>
                <a:lnTo>
                  <a:pt x="8029081" y="3979178"/>
                </a:lnTo>
                <a:close/>
                <a:moveTo>
                  <a:pt x="3442589" y="3978269"/>
                </a:moveTo>
                <a:cubicBezTo>
                  <a:pt x="3445078" y="3978472"/>
                  <a:pt x="3440929" y="3986968"/>
                  <a:pt x="3444802" y="3991723"/>
                </a:cubicBezTo>
                <a:cubicBezTo>
                  <a:pt x="3440929" y="3986968"/>
                  <a:pt x="3433185" y="3988283"/>
                  <a:pt x="3434568" y="3981810"/>
                </a:cubicBezTo>
                <a:cubicBezTo>
                  <a:pt x="3437334" y="3979989"/>
                  <a:pt x="3442312" y="3980394"/>
                  <a:pt x="3442589" y="3978269"/>
                </a:cubicBezTo>
                <a:close/>
                <a:moveTo>
                  <a:pt x="3476886" y="3977157"/>
                </a:moveTo>
                <a:cubicBezTo>
                  <a:pt x="3480205" y="3978674"/>
                  <a:pt x="3482418" y="3979989"/>
                  <a:pt x="3483248" y="3981709"/>
                </a:cubicBezTo>
                <a:cubicBezTo>
                  <a:pt x="3484077" y="3983529"/>
                  <a:pt x="3483524" y="3985653"/>
                  <a:pt x="3481865" y="3988789"/>
                </a:cubicBezTo>
                <a:cubicBezTo>
                  <a:pt x="3479099" y="3990812"/>
                  <a:pt x="3474397" y="3990205"/>
                  <a:pt x="3469695" y="3989700"/>
                </a:cubicBezTo>
                <a:cubicBezTo>
                  <a:pt x="3473290" y="3983428"/>
                  <a:pt x="3459184" y="3981911"/>
                  <a:pt x="3460291" y="3988789"/>
                </a:cubicBezTo>
                <a:cubicBezTo>
                  <a:pt x="3450610" y="3989902"/>
                  <a:pt x="3459184" y="3981911"/>
                  <a:pt x="3452823" y="3978977"/>
                </a:cubicBezTo>
                <a:cubicBezTo>
                  <a:pt x="3455865" y="3974830"/>
                  <a:pt x="3473290" y="3983529"/>
                  <a:pt x="3476886" y="3977157"/>
                </a:cubicBezTo>
                <a:close/>
                <a:moveTo>
                  <a:pt x="9481836" y="3976548"/>
                </a:moveTo>
                <a:cubicBezTo>
                  <a:pt x="9483495" y="3980796"/>
                  <a:pt x="9481006" y="3981302"/>
                  <a:pt x="9477410" y="3984438"/>
                </a:cubicBezTo>
                <a:cubicBezTo>
                  <a:pt x="9480176" y="3990912"/>
                  <a:pt x="9486538" y="3982516"/>
                  <a:pt x="9489027" y="3988990"/>
                </a:cubicBezTo>
                <a:cubicBezTo>
                  <a:pt x="9476304" y="3994047"/>
                  <a:pt x="9472708" y="3997183"/>
                  <a:pt x="9459155" y="4000218"/>
                </a:cubicBezTo>
                <a:cubicBezTo>
                  <a:pt x="9456666" y="3993744"/>
                  <a:pt x="9468836" y="3993440"/>
                  <a:pt x="9466070" y="3986967"/>
                </a:cubicBezTo>
                <a:cubicBezTo>
                  <a:pt x="9468559" y="3986461"/>
                  <a:pt x="9464687" y="3989597"/>
                  <a:pt x="9468006" y="3991316"/>
                </a:cubicBezTo>
                <a:cubicBezTo>
                  <a:pt x="9479346" y="3988787"/>
                  <a:pt x="9470772" y="3985955"/>
                  <a:pt x="9471325" y="3981201"/>
                </a:cubicBezTo>
                <a:cubicBezTo>
                  <a:pt x="9474921" y="3978065"/>
                  <a:pt x="9477134" y="3977560"/>
                  <a:pt x="9481836" y="3976548"/>
                </a:cubicBezTo>
                <a:close/>
                <a:moveTo>
                  <a:pt x="3419355" y="3975741"/>
                </a:moveTo>
                <a:cubicBezTo>
                  <a:pt x="3425717" y="3978674"/>
                  <a:pt x="3424887" y="3983125"/>
                  <a:pt x="3425717" y="3990003"/>
                </a:cubicBezTo>
                <a:cubicBezTo>
                  <a:pt x="3419355" y="3998399"/>
                  <a:pt x="3411334" y="3990711"/>
                  <a:pt x="3404973" y="3999006"/>
                </a:cubicBezTo>
                <a:cubicBezTo>
                  <a:pt x="3406356" y="4003760"/>
                  <a:pt x="3411611" y="4002040"/>
                  <a:pt x="3410228" y="4008615"/>
                </a:cubicBezTo>
                <a:cubicBezTo>
                  <a:pt x="3400824" y="4007604"/>
                  <a:pt x="3391696" y="4006693"/>
                  <a:pt x="3381739" y="4007907"/>
                </a:cubicBezTo>
                <a:cubicBezTo>
                  <a:pt x="3382292" y="4005682"/>
                  <a:pt x="3387271" y="4003962"/>
                  <a:pt x="3385611" y="4001433"/>
                </a:cubicBezTo>
                <a:cubicBezTo>
                  <a:pt x="3393356" y="3997792"/>
                  <a:pt x="3394739" y="4002445"/>
                  <a:pt x="3399994" y="4000826"/>
                </a:cubicBezTo>
                <a:cubicBezTo>
                  <a:pt x="3401100" y="3994150"/>
                  <a:pt x="3391143" y="3997488"/>
                  <a:pt x="3386441" y="3996983"/>
                </a:cubicBezTo>
                <a:cubicBezTo>
                  <a:pt x="3387271" y="3992532"/>
                  <a:pt x="3406356" y="3992330"/>
                  <a:pt x="3397505" y="3989093"/>
                </a:cubicBezTo>
                <a:cubicBezTo>
                  <a:pt x="3402483" y="3987474"/>
                  <a:pt x="3420738" y="3991723"/>
                  <a:pt x="3419355" y="3975741"/>
                </a:cubicBezTo>
                <a:close/>
                <a:moveTo>
                  <a:pt x="4263861" y="3971716"/>
                </a:moveTo>
                <a:cubicBezTo>
                  <a:pt x="4269671" y="3974852"/>
                  <a:pt x="4275201" y="3975256"/>
                  <a:pt x="4279074" y="3977381"/>
                </a:cubicBezTo>
                <a:cubicBezTo>
                  <a:pt x="4279350" y="3983146"/>
                  <a:pt x="4271607" y="3978898"/>
                  <a:pt x="4268010" y="3979505"/>
                </a:cubicBezTo>
                <a:cubicBezTo>
                  <a:pt x="4266350" y="3986990"/>
                  <a:pt x="4288755" y="3985574"/>
                  <a:pt x="4290691" y="3992351"/>
                </a:cubicBezTo>
                <a:cubicBezTo>
                  <a:pt x="4297606" y="3971008"/>
                  <a:pt x="4309775" y="4000241"/>
                  <a:pt x="4326371" y="3989923"/>
                </a:cubicBezTo>
                <a:cubicBezTo>
                  <a:pt x="4322775" y="3996397"/>
                  <a:pt x="4318902" y="3994172"/>
                  <a:pt x="4320839" y="3998117"/>
                </a:cubicBezTo>
                <a:cubicBezTo>
                  <a:pt x="4326371" y="3995588"/>
                  <a:pt x="4336051" y="4003883"/>
                  <a:pt x="4339647" y="3997409"/>
                </a:cubicBezTo>
                <a:cubicBezTo>
                  <a:pt x="4341584" y="3998521"/>
                  <a:pt x="4337711" y="4002062"/>
                  <a:pt x="4337987" y="4004894"/>
                </a:cubicBezTo>
                <a:cubicBezTo>
                  <a:pt x="4345455" y="4006310"/>
                  <a:pt x="4349051" y="3999938"/>
                  <a:pt x="4354584" y="3997409"/>
                </a:cubicBezTo>
                <a:cubicBezTo>
                  <a:pt x="4358455" y="4002466"/>
                  <a:pt x="4336328" y="4009547"/>
                  <a:pt x="4355137" y="4011671"/>
                </a:cubicBezTo>
                <a:cubicBezTo>
                  <a:pt x="4351264" y="4015313"/>
                  <a:pt x="4349327" y="4014200"/>
                  <a:pt x="4345733" y="4017740"/>
                </a:cubicBezTo>
                <a:cubicBezTo>
                  <a:pt x="4307839" y="4002062"/>
                  <a:pt x="4270223" y="3992048"/>
                  <a:pt x="4224862" y="3977684"/>
                </a:cubicBezTo>
                <a:cubicBezTo>
                  <a:pt x="4233989" y="3971716"/>
                  <a:pt x="4253074" y="3985169"/>
                  <a:pt x="4263861" y="3971716"/>
                </a:cubicBezTo>
                <a:close/>
                <a:moveTo>
                  <a:pt x="9423752" y="3965624"/>
                </a:moveTo>
                <a:cubicBezTo>
                  <a:pt x="9424858" y="3966028"/>
                  <a:pt x="9425688" y="3966837"/>
                  <a:pt x="9426241" y="3967950"/>
                </a:cubicBezTo>
                <a:cubicBezTo>
                  <a:pt x="9419603" y="3976548"/>
                  <a:pt x="9398859" y="3981201"/>
                  <a:pt x="9388625" y="3981100"/>
                </a:cubicBezTo>
                <a:cubicBezTo>
                  <a:pt x="9384199" y="3982111"/>
                  <a:pt x="9380327" y="3985247"/>
                  <a:pt x="9378114" y="3985753"/>
                </a:cubicBezTo>
                <a:cubicBezTo>
                  <a:pt x="9377285" y="3983528"/>
                  <a:pt x="9381710" y="3982617"/>
                  <a:pt x="9383093" y="3979886"/>
                </a:cubicBezTo>
                <a:cubicBezTo>
                  <a:pt x="9400795" y="3973615"/>
                  <a:pt x="9404667" y="3970378"/>
                  <a:pt x="9420709" y="3966837"/>
                </a:cubicBezTo>
                <a:cubicBezTo>
                  <a:pt x="9421539" y="3965421"/>
                  <a:pt x="9422645" y="3965320"/>
                  <a:pt x="9423752" y="3965624"/>
                </a:cubicBezTo>
                <a:close/>
                <a:moveTo>
                  <a:pt x="3374548" y="3961680"/>
                </a:moveTo>
                <a:cubicBezTo>
                  <a:pt x="3373995" y="3963805"/>
                  <a:pt x="3371505" y="3963501"/>
                  <a:pt x="3368739" y="3965322"/>
                </a:cubicBezTo>
                <a:cubicBezTo>
                  <a:pt x="3370675" y="3967648"/>
                  <a:pt x="3370675" y="3967648"/>
                  <a:pt x="3372335" y="3972099"/>
                </a:cubicBezTo>
                <a:cubicBezTo>
                  <a:pt x="3370399" y="3969773"/>
                  <a:pt x="3367910" y="3969570"/>
                  <a:pt x="3365697" y="3967143"/>
                </a:cubicBezTo>
                <a:cubicBezTo>
                  <a:pt x="3363208" y="3966940"/>
                  <a:pt x="3362378" y="3971088"/>
                  <a:pt x="3357676" y="3970582"/>
                </a:cubicBezTo>
                <a:cubicBezTo>
                  <a:pt x="3358782" y="3964310"/>
                  <a:pt x="3364314" y="3962793"/>
                  <a:pt x="3374548" y="3961680"/>
                </a:cubicBezTo>
                <a:close/>
                <a:moveTo>
                  <a:pt x="9530792" y="3960869"/>
                </a:moveTo>
                <a:cubicBezTo>
                  <a:pt x="9533005" y="3961072"/>
                  <a:pt x="9534664" y="3961577"/>
                  <a:pt x="9535771" y="3962488"/>
                </a:cubicBezTo>
                <a:cubicBezTo>
                  <a:pt x="9534664" y="3972300"/>
                  <a:pt x="9519729" y="3977964"/>
                  <a:pt x="9510601" y="3979987"/>
                </a:cubicBezTo>
                <a:cubicBezTo>
                  <a:pt x="9526090" y="3981403"/>
                  <a:pt x="9492623" y="3991114"/>
                  <a:pt x="9489304" y="3982314"/>
                </a:cubicBezTo>
                <a:cubicBezTo>
                  <a:pt x="9501197" y="3974930"/>
                  <a:pt x="9522494" y="3972603"/>
                  <a:pt x="9516686" y="3964410"/>
                </a:cubicBezTo>
                <a:cubicBezTo>
                  <a:pt x="9516409" y="3963297"/>
                  <a:pt x="9520005" y="3961780"/>
                  <a:pt x="9524431" y="3961173"/>
                </a:cubicBezTo>
                <a:cubicBezTo>
                  <a:pt x="9526643" y="3960869"/>
                  <a:pt x="9528856" y="3960667"/>
                  <a:pt x="9530792" y="3960869"/>
                </a:cubicBezTo>
                <a:close/>
                <a:moveTo>
                  <a:pt x="3413270" y="3959657"/>
                </a:moveTo>
                <a:cubicBezTo>
                  <a:pt x="3424334" y="3959253"/>
                  <a:pt x="3435674" y="3960467"/>
                  <a:pt x="3443695" y="3962490"/>
                </a:cubicBezTo>
                <a:cubicBezTo>
                  <a:pt x="3433461" y="3965828"/>
                  <a:pt x="3432355" y="3970278"/>
                  <a:pt x="3429313" y="3974324"/>
                </a:cubicBezTo>
                <a:cubicBezTo>
                  <a:pt x="3417972" y="3970885"/>
                  <a:pt x="3404143" y="3967041"/>
                  <a:pt x="3384782" y="3967143"/>
                </a:cubicBezTo>
                <a:cubicBezTo>
                  <a:pt x="3391696" y="3962388"/>
                  <a:pt x="3402483" y="3960163"/>
                  <a:pt x="3413270" y="3959657"/>
                </a:cubicBezTo>
                <a:close/>
                <a:moveTo>
                  <a:pt x="4260820" y="3958971"/>
                </a:moveTo>
                <a:cubicBezTo>
                  <a:pt x="4263031" y="3958769"/>
                  <a:pt x="4264968" y="3958971"/>
                  <a:pt x="4267181" y="3959477"/>
                </a:cubicBezTo>
                <a:cubicBezTo>
                  <a:pt x="4280456" y="3962005"/>
                  <a:pt x="4294286" y="3972424"/>
                  <a:pt x="4307009" y="3964635"/>
                </a:cubicBezTo>
                <a:cubicBezTo>
                  <a:pt x="4318349" y="3973840"/>
                  <a:pt x="4335221" y="3969187"/>
                  <a:pt x="4341030" y="3983854"/>
                </a:cubicBezTo>
                <a:cubicBezTo>
                  <a:pt x="4340200" y="3986181"/>
                  <a:pt x="4339371" y="3987091"/>
                  <a:pt x="4338540" y="3986990"/>
                </a:cubicBezTo>
                <a:cubicBezTo>
                  <a:pt x="4337987" y="3986990"/>
                  <a:pt x="4337434" y="3985979"/>
                  <a:pt x="4337434" y="3984461"/>
                </a:cubicBezTo>
                <a:cubicBezTo>
                  <a:pt x="4312817" y="3973537"/>
                  <a:pt x="4284605" y="3974751"/>
                  <a:pt x="4254457" y="3960488"/>
                </a:cubicBezTo>
                <a:cubicBezTo>
                  <a:pt x="4256393" y="3959578"/>
                  <a:pt x="4258606" y="3959072"/>
                  <a:pt x="4260820" y="3958971"/>
                </a:cubicBezTo>
                <a:close/>
                <a:moveTo>
                  <a:pt x="7494709" y="3956644"/>
                </a:moveTo>
                <a:cubicBezTo>
                  <a:pt x="7496368" y="3955835"/>
                  <a:pt x="7500794" y="3959477"/>
                  <a:pt x="7505496" y="3956745"/>
                </a:cubicBezTo>
                <a:cubicBezTo>
                  <a:pt x="7503836" y="3959274"/>
                  <a:pt x="7501624" y="3959881"/>
                  <a:pt x="7503283" y="3964028"/>
                </a:cubicBezTo>
                <a:cubicBezTo>
                  <a:pt x="7499964" y="3962410"/>
                  <a:pt x="7495262" y="3963523"/>
                  <a:pt x="7493603" y="3959375"/>
                </a:cubicBezTo>
                <a:cubicBezTo>
                  <a:pt x="7493603" y="3957656"/>
                  <a:pt x="7493879" y="3956948"/>
                  <a:pt x="7494709" y="3956644"/>
                </a:cubicBezTo>
                <a:close/>
                <a:moveTo>
                  <a:pt x="9561494" y="3952979"/>
                </a:moveTo>
                <a:lnTo>
                  <a:pt x="9559834" y="3956722"/>
                </a:lnTo>
                <a:cubicBezTo>
                  <a:pt x="9559281" y="3959453"/>
                  <a:pt x="9559004" y="3961881"/>
                  <a:pt x="9557068" y="3959959"/>
                </a:cubicBezTo>
                <a:close/>
                <a:moveTo>
                  <a:pt x="9458879" y="3952069"/>
                </a:moveTo>
                <a:cubicBezTo>
                  <a:pt x="9461645" y="3952069"/>
                  <a:pt x="9464964" y="3952676"/>
                  <a:pt x="9468006" y="3954092"/>
                </a:cubicBezTo>
                <a:cubicBezTo>
                  <a:pt x="9463581" y="3961982"/>
                  <a:pt x="9451964" y="3957632"/>
                  <a:pt x="9442007" y="3964410"/>
                </a:cubicBezTo>
                <a:cubicBezTo>
                  <a:pt x="9444773" y="3970681"/>
                  <a:pt x="9448368" y="3967647"/>
                  <a:pt x="9450858" y="3974019"/>
                </a:cubicBezTo>
                <a:cubicBezTo>
                  <a:pt x="9426241" y="3977661"/>
                  <a:pt x="9434539" y="3958543"/>
                  <a:pt x="9450304" y="3953283"/>
                </a:cubicBezTo>
                <a:cubicBezTo>
                  <a:pt x="9453070" y="3952373"/>
                  <a:pt x="9455836" y="3951968"/>
                  <a:pt x="9458879" y="3952069"/>
                </a:cubicBezTo>
                <a:close/>
                <a:moveTo>
                  <a:pt x="8305222" y="3948326"/>
                </a:moveTo>
                <a:cubicBezTo>
                  <a:pt x="8303562" y="3957430"/>
                  <a:pt x="8298307" y="3959251"/>
                  <a:pt x="8288626" y="3960465"/>
                </a:cubicBezTo>
                <a:cubicBezTo>
                  <a:pt x="8288073" y="3951058"/>
                  <a:pt x="8297754" y="3949844"/>
                  <a:pt x="8305222" y="3948326"/>
                </a:cubicBezTo>
                <a:close/>
                <a:moveTo>
                  <a:pt x="9508941" y="3944887"/>
                </a:moveTo>
                <a:cubicBezTo>
                  <a:pt x="9513920" y="3950754"/>
                  <a:pt x="9497878" y="3949641"/>
                  <a:pt x="9501750" y="3953384"/>
                </a:cubicBezTo>
                <a:cubicBezTo>
                  <a:pt x="9499537" y="3953890"/>
                  <a:pt x="9496218" y="3952271"/>
                  <a:pt x="9495389" y="3950046"/>
                </a:cubicBezTo>
                <a:cubicBezTo>
                  <a:pt x="9495942" y="3945292"/>
                  <a:pt x="9503963" y="3945899"/>
                  <a:pt x="9508941" y="3944887"/>
                </a:cubicBezTo>
                <a:close/>
                <a:moveTo>
                  <a:pt x="9475474" y="3942965"/>
                </a:moveTo>
                <a:cubicBezTo>
                  <a:pt x="9477410" y="3944887"/>
                  <a:pt x="9478240" y="3946506"/>
                  <a:pt x="9478517" y="3947922"/>
                </a:cubicBezTo>
                <a:cubicBezTo>
                  <a:pt x="9478793" y="3949338"/>
                  <a:pt x="9478517" y="3950552"/>
                  <a:pt x="9478793" y="3951665"/>
                </a:cubicBezTo>
                <a:cubicBezTo>
                  <a:pt x="9474368" y="3952676"/>
                  <a:pt x="9471325" y="3950956"/>
                  <a:pt x="9469389" y="3946708"/>
                </a:cubicBezTo>
                <a:cubicBezTo>
                  <a:pt x="9471878" y="3946202"/>
                  <a:pt x="9473261" y="3943471"/>
                  <a:pt x="9475474" y="3942965"/>
                </a:cubicBezTo>
                <a:close/>
                <a:moveTo>
                  <a:pt x="3450610" y="3938011"/>
                </a:moveTo>
                <a:cubicBezTo>
                  <a:pt x="3453099" y="3938314"/>
                  <a:pt x="3451993" y="3942664"/>
                  <a:pt x="3451163" y="3947013"/>
                </a:cubicBezTo>
                <a:cubicBezTo>
                  <a:pt x="3447014" y="3944383"/>
                  <a:pt x="3430972" y="3953993"/>
                  <a:pt x="3430419" y="3944788"/>
                </a:cubicBezTo>
                <a:cubicBezTo>
                  <a:pt x="3440100" y="3943574"/>
                  <a:pt x="3447567" y="3942158"/>
                  <a:pt x="3450610" y="3938011"/>
                </a:cubicBezTo>
                <a:close/>
                <a:moveTo>
                  <a:pt x="9493176" y="3933052"/>
                </a:moveTo>
                <a:cubicBezTo>
                  <a:pt x="9494835" y="3933356"/>
                  <a:pt x="9496772" y="3934772"/>
                  <a:pt x="9498708" y="3938009"/>
                </a:cubicBezTo>
                <a:cubicBezTo>
                  <a:pt x="9496495" y="3938515"/>
                  <a:pt x="9495112" y="3941246"/>
                  <a:pt x="9495112" y="3941246"/>
                </a:cubicBezTo>
                <a:cubicBezTo>
                  <a:pt x="9485985" y="3941448"/>
                  <a:pt x="9488197" y="3932243"/>
                  <a:pt x="9493176" y="3933052"/>
                </a:cubicBezTo>
                <a:close/>
                <a:moveTo>
                  <a:pt x="3481311" y="3932245"/>
                </a:moveTo>
                <a:cubicBezTo>
                  <a:pt x="3483801" y="3932548"/>
                  <a:pt x="3487396" y="3937505"/>
                  <a:pt x="3488226" y="3933054"/>
                </a:cubicBezTo>
                <a:cubicBezTo>
                  <a:pt x="3489886" y="3933863"/>
                  <a:pt x="3490439" y="3934673"/>
                  <a:pt x="3490439" y="3935381"/>
                </a:cubicBezTo>
                <a:cubicBezTo>
                  <a:pt x="3490439" y="3937707"/>
                  <a:pt x="3484631" y="3940034"/>
                  <a:pt x="3484354" y="3941753"/>
                </a:cubicBezTo>
                <a:cubicBezTo>
                  <a:pt x="3479652" y="3941248"/>
                  <a:pt x="3480482" y="3936696"/>
                  <a:pt x="3481311" y="3932245"/>
                </a:cubicBezTo>
                <a:close/>
                <a:moveTo>
                  <a:pt x="9417667" y="3925163"/>
                </a:moveTo>
                <a:cubicBezTo>
                  <a:pt x="9421262" y="3926680"/>
                  <a:pt x="9425964" y="3940639"/>
                  <a:pt x="9429007" y="3931839"/>
                </a:cubicBezTo>
                <a:cubicBezTo>
                  <a:pt x="9430943" y="3931940"/>
                  <a:pt x="9430943" y="3932547"/>
                  <a:pt x="9430667" y="3933255"/>
                </a:cubicBezTo>
                <a:cubicBezTo>
                  <a:pt x="9429284" y="3935480"/>
                  <a:pt x="9420709" y="3939425"/>
                  <a:pt x="9425411" y="3941954"/>
                </a:cubicBezTo>
                <a:cubicBezTo>
                  <a:pt x="9414901" y="3946607"/>
                  <a:pt x="9403284" y="3949136"/>
                  <a:pt x="9390284" y="3954396"/>
                </a:cubicBezTo>
                <a:cubicBezTo>
                  <a:pt x="9383370" y="3948933"/>
                  <a:pt x="9385582" y="3948428"/>
                  <a:pt x="9386135" y="3943572"/>
                </a:cubicBezTo>
                <a:cubicBezTo>
                  <a:pt x="9400518" y="3954396"/>
                  <a:pt x="9418220" y="3936593"/>
                  <a:pt x="9416284" y="3925264"/>
                </a:cubicBezTo>
                <a:cubicBezTo>
                  <a:pt x="9416837" y="3924960"/>
                  <a:pt x="9417113" y="3924859"/>
                  <a:pt x="9417667" y="3925163"/>
                </a:cubicBezTo>
                <a:close/>
                <a:moveTo>
                  <a:pt x="4099567" y="3907990"/>
                </a:moveTo>
                <a:cubicBezTo>
                  <a:pt x="4103440" y="3912947"/>
                  <a:pt x="4105375" y="3913958"/>
                  <a:pt x="4116440" y="3914666"/>
                </a:cubicBezTo>
                <a:cubicBezTo>
                  <a:pt x="4112843" y="3918206"/>
                  <a:pt x="4116716" y="3920432"/>
                  <a:pt x="4118375" y="3921443"/>
                </a:cubicBezTo>
                <a:cubicBezTo>
                  <a:pt x="4109247" y="3921848"/>
                  <a:pt x="4095972" y="3914363"/>
                  <a:pt x="4099567" y="3907990"/>
                </a:cubicBezTo>
                <a:close/>
                <a:moveTo>
                  <a:pt x="6058930" y="3902932"/>
                </a:moveTo>
                <a:cubicBezTo>
                  <a:pt x="6056164" y="3904146"/>
                  <a:pt x="6053398" y="3905461"/>
                  <a:pt x="6051186" y="3907383"/>
                </a:cubicBezTo>
                <a:lnTo>
                  <a:pt x="6047037" y="3913958"/>
                </a:lnTo>
                <a:lnTo>
                  <a:pt x="6054505" y="3910418"/>
                </a:lnTo>
                <a:lnTo>
                  <a:pt x="6061973" y="3904955"/>
                </a:lnTo>
                <a:close/>
                <a:moveTo>
                  <a:pt x="9409646" y="3901392"/>
                </a:moveTo>
                <a:cubicBezTo>
                  <a:pt x="9410475" y="3903415"/>
                  <a:pt x="9407986" y="3904022"/>
                  <a:pt x="9406603" y="3906551"/>
                </a:cubicBezTo>
                <a:cubicBezTo>
                  <a:pt x="9409646" y="3908068"/>
                  <a:pt x="9409646" y="3908068"/>
                  <a:pt x="9413794" y="3911608"/>
                </a:cubicBezTo>
                <a:cubicBezTo>
                  <a:pt x="9410475" y="3910091"/>
                  <a:pt x="9408263" y="3910597"/>
                  <a:pt x="9404944" y="3909079"/>
                </a:cubicBezTo>
                <a:cubicBezTo>
                  <a:pt x="9402731" y="3909585"/>
                  <a:pt x="9404390" y="3913631"/>
                  <a:pt x="9399412" y="3914744"/>
                </a:cubicBezTo>
                <a:cubicBezTo>
                  <a:pt x="9397199" y="3908675"/>
                  <a:pt x="9401071" y="3905539"/>
                  <a:pt x="9409646" y="3901392"/>
                </a:cubicBezTo>
                <a:close/>
                <a:moveTo>
                  <a:pt x="9458326" y="3900077"/>
                </a:moveTo>
                <a:cubicBezTo>
                  <a:pt x="9465793" y="3900684"/>
                  <a:pt x="9467453" y="3905033"/>
                  <a:pt x="9472432" y="3910900"/>
                </a:cubicBezTo>
                <a:cubicBezTo>
                  <a:pt x="9471325" y="3920510"/>
                  <a:pt x="9459708" y="3916059"/>
                  <a:pt x="9458602" y="3925668"/>
                </a:cubicBezTo>
                <a:cubicBezTo>
                  <a:pt x="9462751" y="3929512"/>
                  <a:pt x="9466347" y="3926376"/>
                  <a:pt x="9468836" y="3932749"/>
                </a:cubicBezTo>
                <a:cubicBezTo>
                  <a:pt x="9459985" y="3934772"/>
                  <a:pt x="9450858" y="3936795"/>
                  <a:pt x="9442560" y="3940942"/>
                </a:cubicBezTo>
                <a:cubicBezTo>
                  <a:pt x="9441730" y="3938818"/>
                  <a:pt x="9445602" y="3935581"/>
                  <a:pt x="9442283" y="3933963"/>
                </a:cubicBezTo>
                <a:cubicBezTo>
                  <a:pt x="9447539" y="3928197"/>
                  <a:pt x="9451411" y="3931940"/>
                  <a:pt x="9455006" y="3928804"/>
                </a:cubicBezTo>
                <a:cubicBezTo>
                  <a:pt x="9452517" y="3922330"/>
                  <a:pt x="9445049" y="3928703"/>
                  <a:pt x="9440624" y="3929714"/>
                </a:cubicBezTo>
                <a:cubicBezTo>
                  <a:pt x="9438964" y="3925365"/>
                  <a:pt x="9456113" y="3919296"/>
                  <a:pt x="9446156" y="3919093"/>
                </a:cubicBezTo>
                <a:cubicBezTo>
                  <a:pt x="9449751" y="3915958"/>
                  <a:pt x="9468836" y="3914137"/>
                  <a:pt x="9458326" y="3900077"/>
                </a:cubicBezTo>
                <a:close/>
                <a:moveTo>
                  <a:pt x="4339371" y="3898684"/>
                </a:moveTo>
                <a:cubicBezTo>
                  <a:pt x="4354306" y="3901415"/>
                  <a:pt x="4369518" y="3912744"/>
                  <a:pt x="4375050" y="3904450"/>
                </a:cubicBezTo>
                <a:cubicBezTo>
                  <a:pt x="4376986" y="3902629"/>
                  <a:pt x="4390263" y="3910114"/>
                  <a:pt x="4388327" y="3914868"/>
                </a:cubicBezTo>
                <a:cubicBezTo>
                  <a:pt x="4376986" y="3920027"/>
                  <a:pt x="4362051" y="3914363"/>
                  <a:pt x="4354584" y="3910114"/>
                </a:cubicBezTo>
                <a:cubicBezTo>
                  <a:pt x="4362051" y="3920128"/>
                  <a:pt x="4331902" y="3905967"/>
                  <a:pt x="4339371" y="3898684"/>
                </a:cubicBezTo>
                <a:close/>
                <a:moveTo>
                  <a:pt x="9481006" y="3895120"/>
                </a:moveTo>
                <a:cubicBezTo>
                  <a:pt x="9483219" y="3894615"/>
                  <a:pt x="9484325" y="3903415"/>
                  <a:pt x="9490687" y="3906551"/>
                </a:cubicBezTo>
                <a:cubicBezTo>
                  <a:pt x="9484325" y="3903415"/>
                  <a:pt x="9478240" y="3906955"/>
                  <a:pt x="9475751" y="3900684"/>
                </a:cubicBezTo>
                <a:cubicBezTo>
                  <a:pt x="9477134" y="3898155"/>
                  <a:pt x="9481836" y="3897143"/>
                  <a:pt x="9481006" y="3895120"/>
                </a:cubicBezTo>
                <a:close/>
                <a:moveTo>
                  <a:pt x="8471452" y="3889253"/>
                </a:moveTo>
                <a:cubicBezTo>
                  <a:pt x="8472005" y="3891681"/>
                  <a:pt x="8471729" y="3893300"/>
                  <a:pt x="8471176" y="3895019"/>
                </a:cubicBezTo>
                <a:cubicBezTo>
                  <a:pt x="8470346" y="3896638"/>
                  <a:pt x="8469516" y="3898357"/>
                  <a:pt x="8468963" y="3900583"/>
                </a:cubicBezTo>
                <a:cubicBezTo>
                  <a:pt x="8467580" y="3895828"/>
                  <a:pt x="8457070" y="3901695"/>
                  <a:pt x="8459006" y="3892592"/>
                </a:cubicBezTo>
                <a:cubicBezTo>
                  <a:pt x="8464814" y="3897851"/>
                  <a:pt x="8463984" y="3890771"/>
                  <a:pt x="8471452" y="3889253"/>
                </a:cubicBezTo>
                <a:close/>
                <a:moveTo>
                  <a:pt x="3333612" y="3888446"/>
                </a:moveTo>
                <a:cubicBezTo>
                  <a:pt x="3339144" y="3889053"/>
                  <a:pt x="3344953" y="3890975"/>
                  <a:pt x="3349931" y="3890368"/>
                </a:cubicBezTo>
                <a:cubicBezTo>
                  <a:pt x="3343846" y="3896639"/>
                  <a:pt x="3324208" y="3896842"/>
                  <a:pt x="3317570" y="3893706"/>
                </a:cubicBezTo>
                <a:cubicBezTo>
                  <a:pt x="3322272" y="3888446"/>
                  <a:pt x="3328081" y="3887839"/>
                  <a:pt x="3333612" y="3888446"/>
                </a:cubicBezTo>
                <a:close/>
                <a:moveTo>
                  <a:pt x="4481815" y="3886141"/>
                </a:moveTo>
                <a:cubicBezTo>
                  <a:pt x="4483474" y="3885838"/>
                  <a:pt x="4485133" y="3885939"/>
                  <a:pt x="4486793" y="3886141"/>
                </a:cubicBezTo>
                <a:cubicBezTo>
                  <a:pt x="4490388" y="3886748"/>
                  <a:pt x="4494261" y="3888164"/>
                  <a:pt x="4498133" y="3888872"/>
                </a:cubicBezTo>
                <a:cubicBezTo>
                  <a:pt x="4494538" y="3895346"/>
                  <a:pt x="4484857" y="3890086"/>
                  <a:pt x="4477390" y="3888569"/>
                </a:cubicBezTo>
                <a:cubicBezTo>
                  <a:pt x="4478772" y="3887254"/>
                  <a:pt x="4480155" y="3886546"/>
                  <a:pt x="4481815" y="3886141"/>
                </a:cubicBezTo>
                <a:close/>
                <a:moveTo>
                  <a:pt x="3387547" y="3884805"/>
                </a:moveTo>
                <a:cubicBezTo>
                  <a:pt x="3388654" y="3884602"/>
                  <a:pt x="3390037" y="3884805"/>
                  <a:pt x="3391420" y="3885310"/>
                </a:cubicBezTo>
                <a:cubicBezTo>
                  <a:pt x="3394462" y="3886120"/>
                  <a:pt x="3396952" y="3887637"/>
                  <a:pt x="3398334" y="3886625"/>
                </a:cubicBezTo>
                <a:cubicBezTo>
                  <a:pt x="3398058" y="3888952"/>
                  <a:pt x="3396952" y="3893605"/>
                  <a:pt x="3399441" y="3893807"/>
                </a:cubicBezTo>
                <a:cubicBezTo>
                  <a:pt x="3398611" y="3898460"/>
                  <a:pt x="3393909" y="3897954"/>
                  <a:pt x="3389207" y="3897449"/>
                </a:cubicBezTo>
                <a:cubicBezTo>
                  <a:pt x="3392526" y="3893099"/>
                  <a:pt x="3393632" y="3886120"/>
                  <a:pt x="3383952" y="3887435"/>
                </a:cubicBezTo>
                <a:cubicBezTo>
                  <a:pt x="3384782" y="3885715"/>
                  <a:pt x="3386164" y="3885007"/>
                  <a:pt x="3387547" y="3884805"/>
                </a:cubicBezTo>
                <a:close/>
                <a:moveTo>
                  <a:pt x="7779043" y="3884422"/>
                </a:moveTo>
                <a:cubicBezTo>
                  <a:pt x="7780980" y="3886445"/>
                  <a:pt x="7781809" y="3888164"/>
                  <a:pt x="7782086" y="3889884"/>
                </a:cubicBezTo>
                <a:cubicBezTo>
                  <a:pt x="7782363" y="3891603"/>
                  <a:pt x="7782639" y="3893323"/>
                  <a:pt x="7783469" y="3895548"/>
                </a:cubicBezTo>
                <a:cubicBezTo>
                  <a:pt x="7779597" y="3891603"/>
                  <a:pt x="7773235" y="3900201"/>
                  <a:pt x="7769639" y="3891300"/>
                </a:cubicBezTo>
                <a:cubicBezTo>
                  <a:pt x="7778214" y="3894334"/>
                  <a:pt x="7773235" y="3888164"/>
                  <a:pt x="7779043" y="3884422"/>
                </a:cubicBezTo>
                <a:close/>
                <a:moveTo>
                  <a:pt x="9511431" y="3883285"/>
                </a:moveTo>
                <a:cubicBezTo>
                  <a:pt x="9515303" y="3883589"/>
                  <a:pt x="9517792" y="3884095"/>
                  <a:pt x="9519729" y="3885511"/>
                </a:cubicBezTo>
                <a:cubicBezTo>
                  <a:pt x="9521388" y="3886826"/>
                  <a:pt x="9522218" y="3888950"/>
                  <a:pt x="9522494" y="3892389"/>
                </a:cubicBezTo>
                <a:cubicBezTo>
                  <a:pt x="9521111" y="3895019"/>
                  <a:pt x="9516409" y="3895930"/>
                  <a:pt x="9511984" y="3896941"/>
                </a:cubicBezTo>
                <a:cubicBezTo>
                  <a:pt x="9511707" y="3890063"/>
                  <a:pt x="9498154" y="3893097"/>
                  <a:pt x="9502857" y="3898964"/>
                </a:cubicBezTo>
                <a:cubicBezTo>
                  <a:pt x="9494835" y="3903111"/>
                  <a:pt x="9498154" y="3893097"/>
                  <a:pt x="9490410" y="3892490"/>
                </a:cubicBezTo>
                <a:cubicBezTo>
                  <a:pt x="9490963" y="3887736"/>
                  <a:pt x="9511707" y="3890063"/>
                  <a:pt x="9511431" y="3883285"/>
                </a:cubicBezTo>
                <a:close/>
                <a:moveTo>
                  <a:pt x="9572557" y="3881667"/>
                </a:moveTo>
                <a:cubicBezTo>
                  <a:pt x="9577536" y="3887635"/>
                  <a:pt x="9565919" y="3890164"/>
                  <a:pt x="9559834" y="3893805"/>
                </a:cubicBezTo>
                <a:cubicBezTo>
                  <a:pt x="9557345" y="3887433"/>
                  <a:pt x="9566472" y="3885309"/>
                  <a:pt x="9572557" y="3881667"/>
                </a:cubicBezTo>
                <a:close/>
                <a:moveTo>
                  <a:pt x="9472985" y="3880453"/>
                </a:moveTo>
                <a:cubicBezTo>
                  <a:pt x="9465517" y="3886725"/>
                  <a:pt x="9467176" y="3890973"/>
                  <a:pt x="9466623" y="3895626"/>
                </a:cubicBezTo>
                <a:cubicBezTo>
                  <a:pt x="9454177" y="3896132"/>
                  <a:pt x="9439517" y="3896941"/>
                  <a:pt x="9422092" y="3903111"/>
                </a:cubicBezTo>
                <a:cubicBezTo>
                  <a:pt x="9429284" y="3890063"/>
                  <a:pt x="9456113" y="3881869"/>
                  <a:pt x="9472985" y="3880453"/>
                </a:cubicBezTo>
                <a:close/>
                <a:moveTo>
                  <a:pt x="8496899" y="3878835"/>
                </a:moveTo>
                <a:cubicBezTo>
                  <a:pt x="8502154" y="3878632"/>
                  <a:pt x="8507409" y="3879846"/>
                  <a:pt x="8509345" y="3882274"/>
                </a:cubicBezTo>
                <a:cubicBezTo>
                  <a:pt x="8505749" y="3888545"/>
                  <a:pt x="8494133" y="3885005"/>
                  <a:pt x="8490260" y="3891277"/>
                </a:cubicBezTo>
                <a:cubicBezTo>
                  <a:pt x="8485558" y="3890771"/>
                  <a:pt x="8489154" y="3884499"/>
                  <a:pt x="8484452" y="3883892"/>
                </a:cubicBezTo>
                <a:cubicBezTo>
                  <a:pt x="8486112" y="3880757"/>
                  <a:pt x="8491643" y="3879138"/>
                  <a:pt x="8496899" y="3878835"/>
                </a:cubicBezTo>
                <a:close/>
                <a:moveTo>
                  <a:pt x="3472184" y="3874082"/>
                </a:moveTo>
                <a:cubicBezTo>
                  <a:pt x="3476609" y="3873475"/>
                  <a:pt x="3480758" y="3873475"/>
                  <a:pt x="3484907" y="3874184"/>
                </a:cubicBezTo>
                <a:cubicBezTo>
                  <a:pt x="3490716" y="3875195"/>
                  <a:pt x="3495971" y="3877623"/>
                  <a:pt x="3501226" y="3882276"/>
                </a:cubicBezTo>
                <a:cubicBezTo>
                  <a:pt x="3480482" y="3889154"/>
                  <a:pt x="3458631" y="3889053"/>
                  <a:pt x="3442589" y="3885007"/>
                </a:cubicBezTo>
                <a:cubicBezTo>
                  <a:pt x="3442036" y="3887232"/>
                  <a:pt x="3447291" y="3885513"/>
                  <a:pt x="3446461" y="3890064"/>
                </a:cubicBezTo>
                <a:cubicBezTo>
                  <a:pt x="3438440" y="3893807"/>
                  <a:pt x="3440100" y="3884805"/>
                  <a:pt x="3432632" y="3886221"/>
                </a:cubicBezTo>
                <a:cubicBezTo>
                  <a:pt x="3445631" y="3882478"/>
                  <a:pt x="3459184" y="3875903"/>
                  <a:pt x="3472184" y="3874082"/>
                </a:cubicBezTo>
                <a:close/>
                <a:moveTo>
                  <a:pt x="8511834" y="3868618"/>
                </a:moveTo>
                <a:cubicBezTo>
                  <a:pt x="8493856" y="3873474"/>
                  <a:pt x="8476707" y="3876104"/>
                  <a:pt x="8467857" y="3884196"/>
                </a:cubicBezTo>
                <a:cubicBezTo>
                  <a:pt x="8455410" y="3873777"/>
                  <a:pt x="8449878" y="3889051"/>
                  <a:pt x="8436325" y="3896638"/>
                </a:cubicBezTo>
                <a:cubicBezTo>
                  <a:pt x="8420836" y="3901796"/>
                  <a:pt x="8396496" y="3903617"/>
                  <a:pt x="8378241" y="3910698"/>
                </a:cubicBezTo>
                <a:cubicBezTo>
                  <a:pt x="8362199" y="3918082"/>
                  <a:pt x="8335093" y="3921825"/>
                  <a:pt x="8315732" y="3922027"/>
                </a:cubicBezTo>
                <a:cubicBezTo>
                  <a:pt x="8311030" y="3921521"/>
                  <a:pt x="8311860" y="3928399"/>
                  <a:pt x="8304392" y="3929917"/>
                </a:cubicBezTo>
                <a:cubicBezTo>
                  <a:pt x="8303009" y="3925163"/>
                  <a:pt x="8297754" y="3926882"/>
                  <a:pt x="8295541" y="3926579"/>
                </a:cubicBezTo>
                <a:cubicBezTo>
                  <a:pt x="8285307" y="3941347"/>
                  <a:pt x="8262627" y="3934266"/>
                  <a:pt x="8252393" y="3949136"/>
                </a:cubicBezTo>
                <a:cubicBezTo>
                  <a:pt x="8206963" y="3950881"/>
                  <a:pt x="8173980" y="3964347"/>
                  <a:pt x="8137457" y="3968453"/>
                </a:cubicBezTo>
                <a:lnTo>
                  <a:pt x="8112753" y="3968585"/>
                </a:lnTo>
                <a:lnTo>
                  <a:pt x="8109983" y="3971261"/>
                </a:lnTo>
                <a:cubicBezTo>
                  <a:pt x="8093734" y="3990404"/>
                  <a:pt x="8077899" y="4009749"/>
                  <a:pt x="8055357" y="4027653"/>
                </a:cubicBezTo>
                <a:cubicBezTo>
                  <a:pt x="8052314" y="4033014"/>
                  <a:pt x="8063931" y="4030486"/>
                  <a:pt x="8064208" y="4037465"/>
                </a:cubicBezTo>
                <a:lnTo>
                  <a:pt x="8054927" y="4040792"/>
                </a:lnTo>
                <a:lnTo>
                  <a:pt x="8060197" y="4044485"/>
                </a:lnTo>
                <a:cubicBezTo>
                  <a:pt x="8062514" y="4046445"/>
                  <a:pt x="8064312" y="4046647"/>
                  <a:pt x="8065695" y="4039971"/>
                </a:cubicBezTo>
                <a:cubicBezTo>
                  <a:pt x="8072333" y="4043005"/>
                  <a:pt x="8063482" y="4051097"/>
                  <a:pt x="8072886" y="4052109"/>
                </a:cubicBezTo>
                <a:cubicBezTo>
                  <a:pt x="8075375" y="4052412"/>
                  <a:pt x="8075929" y="4047962"/>
                  <a:pt x="8074269" y="4045534"/>
                </a:cubicBezTo>
                <a:cubicBezTo>
                  <a:pt x="8084503" y="4042095"/>
                  <a:pt x="8082290" y="4053120"/>
                  <a:pt x="8089758" y="4051704"/>
                </a:cubicBezTo>
                <a:cubicBezTo>
                  <a:pt x="8097779" y="4048063"/>
                  <a:pt x="8083673" y="4046545"/>
                  <a:pt x="8085056" y="4039869"/>
                </a:cubicBezTo>
                <a:cubicBezTo>
                  <a:pt x="8097226" y="4038959"/>
                  <a:pt x="8103311" y="4032789"/>
                  <a:pt x="8103034" y="4021359"/>
                </a:cubicBezTo>
                <a:cubicBezTo>
                  <a:pt x="8117694" y="4032081"/>
                  <a:pt x="8125162" y="4019234"/>
                  <a:pt x="8124885" y="4032890"/>
                </a:cubicBezTo>
                <a:cubicBezTo>
                  <a:pt x="8148395" y="4035419"/>
                  <a:pt x="8175501" y="4008816"/>
                  <a:pt x="8181586" y="4025506"/>
                </a:cubicBezTo>
                <a:cubicBezTo>
                  <a:pt x="8196245" y="4024798"/>
                  <a:pt x="8181586" y="4014076"/>
                  <a:pt x="8195692" y="4015694"/>
                </a:cubicBezTo>
                <a:cubicBezTo>
                  <a:pt x="8201500" y="4023078"/>
                  <a:pt x="8190160" y="4019538"/>
                  <a:pt x="8189330" y="4023988"/>
                </a:cubicBezTo>
                <a:cubicBezTo>
                  <a:pt x="8196522" y="4036228"/>
                  <a:pt x="8209798" y="4017211"/>
                  <a:pt x="8216160" y="4022471"/>
                </a:cubicBezTo>
                <a:cubicBezTo>
                  <a:pt x="8217543" y="4015795"/>
                  <a:pt x="8215053" y="4015492"/>
                  <a:pt x="8214500" y="4006388"/>
                </a:cubicBezTo>
                <a:cubicBezTo>
                  <a:pt x="8219202" y="4006894"/>
                  <a:pt x="8221692" y="4007096"/>
                  <a:pt x="8224457" y="4005174"/>
                </a:cubicBezTo>
                <a:cubicBezTo>
                  <a:pt x="8227776" y="4012356"/>
                  <a:pt x="8220585" y="4011648"/>
                  <a:pt x="8219755" y="4016099"/>
                </a:cubicBezTo>
                <a:cubicBezTo>
                  <a:pt x="8222521" y="4014076"/>
                  <a:pt x="8225011" y="4014379"/>
                  <a:pt x="8227223" y="4014581"/>
                </a:cubicBezTo>
                <a:cubicBezTo>
                  <a:pt x="8229989" y="4012659"/>
                  <a:pt x="8225287" y="4012154"/>
                  <a:pt x="8226117" y="4007703"/>
                </a:cubicBezTo>
                <a:cubicBezTo>
                  <a:pt x="8252116" y="4010535"/>
                  <a:pt x="8274797" y="4006287"/>
                  <a:pt x="8289733" y="3991923"/>
                </a:cubicBezTo>
                <a:cubicBezTo>
                  <a:pt x="8298584" y="3995261"/>
                  <a:pt x="8304115" y="3991215"/>
                  <a:pt x="8309647" y="3987270"/>
                </a:cubicBezTo>
                <a:cubicBezTo>
                  <a:pt x="8310200" y="3985045"/>
                  <a:pt x="8311030" y="3980695"/>
                  <a:pt x="8308817" y="3980392"/>
                </a:cubicBezTo>
                <a:cubicBezTo>
                  <a:pt x="8322094" y="3986461"/>
                  <a:pt x="8349753" y="3980291"/>
                  <a:pt x="8359433" y="3967748"/>
                </a:cubicBezTo>
                <a:cubicBezTo>
                  <a:pt x="8358050" y="3974424"/>
                  <a:pt x="8363582" y="3970580"/>
                  <a:pt x="8365242" y="3975233"/>
                </a:cubicBezTo>
                <a:cubicBezTo>
                  <a:pt x="8391794" y="3962286"/>
                  <a:pt x="8412539" y="3955508"/>
                  <a:pt x="8442687" y="3949743"/>
                </a:cubicBezTo>
                <a:cubicBezTo>
                  <a:pt x="8443517" y="3945292"/>
                  <a:pt x="8434113" y="3944179"/>
                  <a:pt x="8444070" y="3942965"/>
                </a:cubicBezTo>
                <a:cubicBezTo>
                  <a:pt x="8444346" y="3940740"/>
                  <a:pt x="8442134" y="3940437"/>
                  <a:pt x="8442410" y="3938211"/>
                </a:cubicBezTo>
                <a:cubicBezTo>
                  <a:pt x="8430794" y="3936896"/>
                  <a:pt x="8436325" y="3944382"/>
                  <a:pt x="8431347" y="3946101"/>
                </a:cubicBezTo>
                <a:cubicBezTo>
                  <a:pt x="8428857" y="3945798"/>
                  <a:pt x="8424155" y="3945393"/>
                  <a:pt x="8422219" y="3942864"/>
                </a:cubicBezTo>
                <a:cubicBezTo>
                  <a:pt x="8436602" y="3930827"/>
                  <a:pt x="8454857" y="3923746"/>
                  <a:pt x="8475601" y="3916969"/>
                </a:cubicBezTo>
                <a:cubicBezTo>
                  <a:pt x="8475048" y="3907764"/>
                  <a:pt x="8468133" y="3918385"/>
                  <a:pt x="8469793" y="3909484"/>
                </a:cubicBezTo>
                <a:cubicBezTo>
                  <a:pt x="8492473" y="3905134"/>
                  <a:pt x="8511281" y="3895828"/>
                  <a:pt x="8523728" y="3881262"/>
                </a:cubicBezTo>
                <a:cubicBezTo>
                  <a:pt x="8522621" y="3874384"/>
                  <a:pt x="8512388" y="3877722"/>
                  <a:pt x="8511834" y="3868618"/>
                </a:cubicBezTo>
                <a:close/>
                <a:moveTo>
                  <a:pt x="3215232" y="3867811"/>
                </a:moveTo>
                <a:cubicBezTo>
                  <a:pt x="3218551" y="3867507"/>
                  <a:pt x="3222147" y="3867811"/>
                  <a:pt x="3225466" y="3868216"/>
                </a:cubicBezTo>
                <a:cubicBezTo>
                  <a:pt x="3232657" y="3868924"/>
                  <a:pt x="3239572" y="3870340"/>
                  <a:pt x="3243444" y="3869632"/>
                </a:cubicBezTo>
                <a:cubicBezTo>
                  <a:pt x="3234593" y="3877825"/>
                  <a:pt x="3221317" y="3871756"/>
                  <a:pt x="3207211" y="3870239"/>
                </a:cubicBezTo>
                <a:cubicBezTo>
                  <a:pt x="3209147" y="3868721"/>
                  <a:pt x="3212189" y="3868013"/>
                  <a:pt x="3215232" y="3867811"/>
                </a:cubicBezTo>
                <a:close/>
                <a:moveTo>
                  <a:pt x="7803383" y="3865405"/>
                </a:moveTo>
                <a:cubicBezTo>
                  <a:pt x="7805596" y="3865203"/>
                  <a:pt x="7807809" y="3865405"/>
                  <a:pt x="7809468" y="3866214"/>
                </a:cubicBezTo>
                <a:cubicBezTo>
                  <a:pt x="7809745" y="3873092"/>
                  <a:pt x="7797298" y="3873598"/>
                  <a:pt x="7797575" y="3880477"/>
                </a:cubicBezTo>
                <a:cubicBezTo>
                  <a:pt x="7792873" y="3881488"/>
                  <a:pt x="7792596" y="3874610"/>
                  <a:pt x="7787894" y="3875621"/>
                </a:cubicBezTo>
                <a:cubicBezTo>
                  <a:pt x="7787618" y="3870462"/>
                  <a:pt x="7796469" y="3866012"/>
                  <a:pt x="7803383" y="3865405"/>
                </a:cubicBezTo>
                <a:close/>
                <a:moveTo>
                  <a:pt x="3384505" y="3862349"/>
                </a:moveTo>
                <a:cubicBezTo>
                  <a:pt x="3380080" y="3873475"/>
                  <a:pt x="3366250" y="3869632"/>
                  <a:pt x="3358782" y="3871048"/>
                </a:cubicBezTo>
                <a:cubicBezTo>
                  <a:pt x="3360718" y="3873577"/>
                  <a:pt x="3362654" y="3876105"/>
                  <a:pt x="3362101" y="3878331"/>
                </a:cubicBezTo>
                <a:cubicBezTo>
                  <a:pt x="3357952" y="3875600"/>
                  <a:pt x="3351591" y="3881871"/>
                  <a:pt x="3342187" y="3880758"/>
                </a:cubicBezTo>
                <a:cubicBezTo>
                  <a:pt x="3346336" y="3871958"/>
                  <a:pt x="3320059" y="3871351"/>
                  <a:pt x="3321166" y="3878432"/>
                </a:cubicBezTo>
                <a:cubicBezTo>
                  <a:pt x="3315357" y="3870846"/>
                  <a:pt x="3298762" y="3869025"/>
                  <a:pt x="3287698" y="3877117"/>
                </a:cubicBezTo>
                <a:cubicBezTo>
                  <a:pt x="3285762" y="3874588"/>
                  <a:pt x="3283826" y="3872059"/>
                  <a:pt x="3279124" y="3871554"/>
                </a:cubicBezTo>
                <a:cubicBezTo>
                  <a:pt x="3312315" y="3861337"/>
                  <a:pt x="3347442" y="3867507"/>
                  <a:pt x="3384505" y="3862349"/>
                </a:cubicBezTo>
                <a:close/>
                <a:moveTo>
                  <a:pt x="9238436" y="3859110"/>
                </a:moveTo>
                <a:cubicBezTo>
                  <a:pt x="9235117" y="3869428"/>
                  <a:pt x="9219628" y="3868113"/>
                  <a:pt x="9206075" y="3871046"/>
                </a:cubicBezTo>
                <a:cubicBezTo>
                  <a:pt x="9210224" y="3863055"/>
                  <a:pt x="9232351" y="3862853"/>
                  <a:pt x="9238436" y="3859110"/>
                </a:cubicBezTo>
                <a:close/>
                <a:moveTo>
                  <a:pt x="3746285" y="3856886"/>
                </a:moveTo>
                <a:cubicBezTo>
                  <a:pt x="3744625" y="3865990"/>
                  <a:pt x="3739370" y="3867811"/>
                  <a:pt x="3729689" y="3869025"/>
                </a:cubicBezTo>
                <a:cubicBezTo>
                  <a:pt x="3729136" y="3859618"/>
                  <a:pt x="3738817" y="3858404"/>
                  <a:pt x="3746285" y="3856886"/>
                </a:cubicBezTo>
                <a:close/>
                <a:moveTo>
                  <a:pt x="9465240" y="3856075"/>
                </a:moveTo>
                <a:cubicBezTo>
                  <a:pt x="9467453" y="3855570"/>
                  <a:pt x="9469113" y="3859818"/>
                  <a:pt x="9471049" y="3864067"/>
                </a:cubicBezTo>
                <a:cubicBezTo>
                  <a:pt x="9465517" y="3862954"/>
                  <a:pt x="9456666" y="3876711"/>
                  <a:pt x="9450858" y="3868618"/>
                </a:cubicBezTo>
                <a:cubicBezTo>
                  <a:pt x="9458879" y="3864471"/>
                  <a:pt x="9464687" y="3860830"/>
                  <a:pt x="9465240" y="3856075"/>
                </a:cubicBezTo>
                <a:close/>
                <a:moveTo>
                  <a:pt x="3469418" y="3855976"/>
                </a:moveTo>
                <a:cubicBezTo>
                  <a:pt x="3452823" y="3867811"/>
                  <a:pt x="3425164" y="3862450"/>
                  <a:pt x="3400547" y="3866496"/>
                </a:cubicBezTo>
                <a:cubicBezTo>
                  <a:pt x="3415206" y="3852335"/>
                  <a:pt x="3442036" y="3862045"/>
                  <a:pt x="3469418" y="3855976"/>
                </a:cubicBezTo>
                <a:close/>
                <a:moveTo>
                  <a:pt x="4916537" y="3851525"/>
                </a:moveTo>
                <a:cubicBezTo>
                  <a:pt x="4918473" y="3853447"/>
                  <a:pt x="4919304" y="3855066"/>
                  <a:pt x="4919580" y="3856482"/>
                </a:cubicBezTo>
                <a:cubicBezTo>
                  <a:pt x="4919856" y="3857898"/>
                  <a:pt x="4919580" y="3859112"/>
                  <a:pt x="4919856" y="3860225"/>
                </a:cubicBezTo>
                <a:cubicBezTo>
                  <a:pt x="4915432" y="3861236"/>
                  <a:pt x="4912389" y="3859516"/>
                  <a:pt x="4910453" y="3855268"/>
                </a:cubicBezTo>
                <a:cubicBezTo>
                  <a:pt x="4912941" y="3854762"/>
                  <a:pt x="4914325" y="3852031"/>
                  <a:pt x="4916537" y="3851525"/>
                </a:cubicBezTo>
                <a:close/>
                <a:moveTo>
                  <a:pt x="4979676" y="3849726"/>
                </a:moveTo>
                <a:cubicBezTo>
                  <a:pt x="4982166" y="3849827"/>
                  <a:pt x="4984655" y="3850232"/>
                  <a:pt x="4987145" y="3851142"/>
                </a:cubicBezTo>
                <a:cubicBezTo>
                  <a:pt x="4991846" y="3852761"/>
                  <a:pt x="4995718" y="3855694"/>
                  <a:pt x="4995996" y="3858628"/>
                </a:cubicBezTo>
                <a:cubicBezTo>
                  <a:pt x="4988527" y="3862775"/>
                  <a:pt x="4980782" y="3855593"/>
                  <a:pt x="4973315" y="3859740"/>
                </a:cubicBezTo>
                <a:cubicBezTo>
                  <a:pt x="4969443" y="3857616"/>
                  <a:pt x="4976633" y="3853368"/>
                  <a:pt x="4972761" y="3851244"/>
                </a:cubicBezTo>
                <a:cubicBezTo>
                  <a:pt x="4974697" y="3850131"/>
                  <a:pt x="4977187" y="3849726"/>
                  <a:pt x="4979676" y="3849726"/>
                </a:cubicBezTo>
                <a:close/>
                <a:moveTo>
                  <a:pt x="4945102" y="3849524"/>
                </a:moveTo>
                <a:cubicBezTo>
                  <a:pt x="4946762" y="3856402"/>
                  <a:pt x="4950634" y="3849827"/>
                  <a:pt x="4958103" y="3851142"/>
                </a:cubicBezTo>
                <a:cubicBezTo>
                  <a:pt x="4956996" y="3853469"/>
                  <a:pt x="4955613" y="3854784"/>
                  <a:pt x="4953953" y="3856099"/>
                </a:cubicBezTo>
                <a:cubicBezTo>
                  <a:pt x="4952295" y="3857313"/>
                  <a:pt x="4950634" y="3858527"/>
                  <a:pt x="4948698" y="3860347"/>
                </a:cubicBezTo>
                <a:lnTo>
                  <a:pt x="4946909" y="3858356"/>
                </a:lnTo>
                <a:lnTo>
                  <a:pt x="4946824" y="3858492"/>
                </a:lnTo>
                <a:cubicBezTo>
                  <a:pt x="4943919" y="3859415"/>
                  <a:pt x="4940877" y="3860073"/>
                  <a:pt x="4942813" y="3861944"/>
                </a:cubicBezTo>
                <a:cubicBezTo>
                  <a:pt x="4940600" y="3862450"/>
                  <a:pt x="4937281" y="3860831"/>
                  <a:pt x="4936452" y="3858606"/>
                </a:cubicBezTo>
                <a:cubicBezTo>
                  <a:pt x="4936728" y="3856229"/>
                  <a:pt x="4938873" y="3855192"/>
                  <a:pt x="4941569" y="3854623"/>
                </a:cubicBezTo>
                <a:lnTo>
                  <a:pt x="4944826" y="3854169"/>
                </a:lnTo>
                <a:close/>
                <a:moveTo>
                  <a:pt x="8460596" y="3846441"/>
                </a:moveTo>
                <a:cubicBezTo>
                  <a:pt x="8454926" y="3846365"/>
                  <a:pt x="8448634" y="3847933"/>
                  <a:pt x="8446283" y="3847680"/>
                </a:cubicBezTo>
                <a:cubicBezTo>
                  <a:pt x="8435772" y="3851119"/>
                  <a:pt x="8418624" y="3865179"/>
                  <a:pt x="8400645" y="3870035"/>
                </a:cubicBezTo>
                <a:cubicBezTo>
                  <a:pt x="8377688" y="3876609"/>
                  <a:pt x="8357221" y="3883387"/>
                  <a:pt x="8341732" y="3888444"/>
                </a:cubicBezTo>
                <a:cubicBezTo>
                  <a:pt x="8328455" y="3893906"/>
                  <a:pt x="8312136" y="3892086"/>
                  <a:pt x="8298860" y="3897447"/>
                </a:cubicBezTo>
                <a:cubicBezTo>
                  <a:pt x="8268435" y="3905438"/>
                  <a:pt x="8241883" y="3918385"/>
                  <a:pt x="8213947" y="3924455"/>
                </a:cubicBezTo>
                <a:lnTo>
                  <a:pt x="8149706" y="3932885"/>
                </a:lnTo>
                <a:lnTo>
                  <a:pt x="8134588" y="3947490"/>
                </a:lnTo>
                <a:lnTo>
                  <a:pt x="8149778" y="3944685"/>
                </a:lnTo>
                <a:cubicBezTo>
                  <a:pt x="8150608" y="3940234"/>
                  <a:pt x="8145629" y="3941853"/>
                  <a:pt x="8143140" y="3941650"/>
                </a:cubicBezTo>
                <a:cubicBezTo>
                  <a:pt x="8164991" y="3928096"/>
                  <a:pt x="8204543" y="3948326"/>
                  <a:pt x="8211734" y="3935480"/>
                </a:cubicBezTo>
                <a:cubicBezTo>
                  <a:pt x="8234138" y="3944786"/>
                  <a:pt x="8274244" y="3912923"/>
                  <a:pt x="8290839" y="3926073"/>
                </a:cubicBezTo>
                <a:cubicBezTo>
                  <a:pt x="8306328" y="3921015"/>
                  <a:pt x="8306605" y="3918790"/>
                  <a:pt x="8321817" y="3915857"/>
                </a:cubicBezTo>
                <a:cubicBezTo>
                  <a:pt x="8326519" y="3916362"/>
                  <a:pt x="8317945" y="3910900"/>
                  <a:pt x="8315456" y="3910597"/>
                </a:cubicBezTo>
                <a:cubicBezTo>
                  <a:pt x="8370220" y="3889355"/>
                  <a:pt x="8416687" y="3874081"/>
                  <a:pt x="8471176" y="3855064"/>
                </a:cubicBezTo>
                <a:cubicBezTo>
                  <a:pt x="8471314" y="3848236"/>
                  <a:pt x="8466266" y="3846517"/>
                  <a:pt x="8460596" y="3846441"/>
                </a:cubicBezTo>
                <a:close/>
                <a:moveTo>
                  <a:pt x="4437560" y="3846287"/>
                </a:moveTo>
                <a:cubicBezTo>
                  <a:pt x="4443091" y="3843758"/>
                  <a:pt x="4452773" y="3857515"/>
                  <a:pt x="4459963" y="3853267"/>
                </a:cubicBezTo>
                <a:cubicBezTo>
                  <a:pt x="4461899" y="3855694"/>
                  <a:pt x="4463006" y="3857717"/>
                  <a:pt x="4462453" y="3859538"/>
                </a:cubicBezTo>
                <a:cubicBezTo>
                  <a:pt x="4462176" y="3861460"/>
                  <a:pt x="4460240" y="3863180"/>
                  <a:pt x="4456645" y="3865304"/>
                </a:cubicBezTo>
                <a:cubicBezTo>
                  <a:pt x="4453049" y="3866012"/>
                  <a:pt x="4449176" y="3863786"/>
                  <a:pt x="4445581" y="3861662"/>
                </a:cubicBezTo>
                <a:cubicBezTo>
                  <a:pt x="4452773" y="3857515"/>
                  <a:pt x="4441432" y="3851142"/>
                  <a:pt x="4438114" y="3857515"/>
                </a:cubicBezTo>
                <a:cubicBezTo>
                  <a:pt x="4428709" y="3855087"/>
                  <a:pt x="4441432" y="3851142"/>
                  <a:pt x="4437560" y="3846287"/>
                </a:cubicBezTo>
                <a:close/>
                <a:moveTo>
                  <a:pt x="9346860" y="3844443"/>
                </a:moveTo>
                <a:cubicBezTo>
                  <a:pt x="9344923" y="3852131"/>
                  <a:pt x="9327222" y="3858402"/>
                  <a:pt x="9319477" y="3857694"/>
                </a:cubicBezTo>
                <a:cubicBezTo>
                  <a:pt x="9321967" y="3845050"/>
                  <a:pt x="9338562" y="3848691"/>
                  <a:pt x="9346860" y="3844443"/>
                </a:cubicBezTo>
                <a:close/>
                <a:moveTo>
                  <a:pt x="7446029" y="3842747"/>
                </a:moveTo>
                <a:cubicBezTo>
                  <a:pt x="7444370" y="3844871"/>
                  <a:pt x="7442710" y="3846995"/>
                  <a:pt x="7441880" y="3849423"/>
                </a:cubicBezTo>
                <a:lnTo>
                  <a:pt x="7449072" y="3843455"/>
                </a:lnTo>
                <a:close/>
                <a:moveTo>
                  <a:pt x="4762000" y="3842443"/>
                </a:moveTo>
                <a:cubicBezTo>
                  <a:pt x="4766148" y="3842140"/>
                  <a:pt x="4770297" y="3843151"/>
                  <a:pt x="4774170" y="3843859"/>
                </a:cubicBezTo>
                <a:cubicBezTo>
                  <a:pt x="4766425" y="3851142"/>
                  <a:pt x="4760893" y="3850839"/>
                  <a:pt x="4751489" y="3848512"/>
                </a:cubicBezTo>
                <a:cubicBezTo>
                  <a:pt x="4754255" y="3844264"/>
                  <a:pt x="4758127" y="3842747"/>
                  <a:pt x="4762000" y="3842443"/>
                </a:cubicBezTo>
                <a:close/>
                <a:moveTo>
                  <a:pt x="9496495" y="3839689"/>
                </a:moveTo>
                <a:cubicBezTo>
                  <a:pt x="9498431" y="3839891"/>
                  <a:pt x="9499537" y="3840498"/>
                  <a:pt x="9499814" y="3841206"/>
                </a:cubicBezTo>
                <a:cubicBezTo>
                  <a:pt x="9500920" y="3843330"/>
                  <a:pt x="9497048" y="3847275"/>
                  <a:pt x="9497878" y="3848894"/>
                </a:cubicBezTo>
                <a:cubicBezTo>
                  <a:pt x="9493452" y="3849804"/>
                  <a:pt x="9491516" y="3845556"/>
                  <a:pt x="9489857" y="3841307"/>
                </a:cubicBezTo>
                <a:cubicBezTo>
                  <a:pt x="9492070" y="3840801"/>
                  <a:pt x="9498154" y="3844038"/>
                  <a:pt x="9496495" y="3839689"/>
                </a:cubicBezTo>
                <a:close/>
                <a:moveTo>
                  <a:pt x="8983144" y="3832608"/>
                </a:moveTo>
                <a:cubicBezTo>
                  <a:pt x="8985633" y="3832204"/>
                  <a:pt x="8987569" y="3832709"/>
                  <a:pt x="8988122" y="3833620"/>
                </a:cubicBezTo>
                <a:cubicBezTo>
                  <a:pt x="8989782" y="3835238"/>
                  <a:pt x="8987293" y="3838172"/>
                  <a:pt x="8975399" y="3837261"/>
                </a:cubicBezTo>
                <a:cubicBezTo>
                  <a:pt x="8978165" y="3834429"/>
                  <a:pt x="8980931" y="3833013"/>
                  <a:pt x="8983144" y="3832608"/>
                </a:cubicBezTo>
                <a:close/>
                <a:moveTo>
                  <a:pt x="7462624" y="3832126"/>
                </a:moveTo>
                <a:lnTo>
                  <a:pt x="7454050" y="3835666"/>
                </a:lnTo>
                <a:lnTo>
                  <a:pt x="7456263" y="3837386"/>
                </a:lnTo>
                <a:close/>
                <a:moveTo>
                  <a:pt x="8155774" y="3826757"/>
                </a:moveTo>
                <a:lnTo>
                  <a:pt x="8130451" y="3829068"/>
                </a:lnTo>
                <a:cubicBezTo>
                  <a:pt x="8118091" y="3829852"/>
                  <a:pt x="8105636" y="3830699"/>
                  <a:pt x="8093574" y="3832760"/>
                </a:cubicBezTo>
                <a:lnTo>
                  <a:pt x="8075211" y="3838599"/>
                </a:lnTo>
                <a:lnTo>
                  <a:pt x="8065867" y="3849220"/>
                </a:lnTo>
                <a:lnTo>
                  <a:pt x="8056750" y="3843368"/>
                </a:lnTo>
                <a:lnTo>
                  <a:pt x="8053152" y="3842796"/>
                </a:lnTo>
                <a:lnTo>
                  <a:pt x="8055115" y="3848120"/>
                </a:lnTo>
                <a:cubicBezTo>
                  <a:pt x="8057984" y="3849828"/>
                  <a:pt x="8061718" y="3851345"/>
                  <a:pt x="8063101" y="3854582"/>
                </a:cubicBezTo>
                <a:lnTo>
                  <a:pt x="8061763" y="3855334"/>
                </a:lnTo>
                <a:lnTo>
                  <a:pt x="8072506" y="3853977"/>
                </a:lnTo>
                <a:cubicBezTo>
                  <a:pt x="8097433" y="3851322"/>
                  <a:pt x="8122119" y="3848338"/>
                  <a:pt x="8144799" y="3837160"/>
                </a:cubicBezTo>
                <a:lnTo>
                  <a:pt x="8148884" y="3836556"/>
                </a:lnTo>
                <a:close/>
                <a:moveTo>
                  <a:pt x="9388625" y="3825932"/>
                </a:moveTo>
                <a:cubicBezTo>
                  <a:pt x="9389454" y="3828157"/>
                  <a:pt x="9391391" y="3832608"/>
                  <a:pt x="9393603" y="3832102"/>
                </a:cubicBezTo>
                <a:cubicBezTo>
                  <a:pt x="9395263" y="3836553"/>
                  <a:pt x="9390837" y="3837565"/>
                  <a:pt x="9386412" y="3838576"/>
                </a:cubicBezTo>
                <a:cubicBezTo>
                  <a:pt x="9386965" y="3833620"/>
                  <a:pt x="9384199" y="3826944"/>
                  <a:pt x="9375902" y="3831192"/>
                </a:cubicBezTo>
                <a:cubicBezTo>
                  <a:pt x="9375625" y="3824010"/>
                  <a:pt x="9387242" y="3828663"/>
                  <a:pt x="9388625" y="3825932"/>
                </a:cubicBezTo>
                <a:close/>
                <a:moveTo>
                  <a:pt x="4492878" y="3815537"/>
                </a:moveTo>
                <a:cubicBezTo>
                  <a:pt x="4494814" y="3816548"/>
                  <a:pt x="4494814" y="3822213"/>
                  <a:pt x="4498410" y="3818672"/>
                </a:cubicBezTo>
                <a:cubicBezTo>
                  <a:pt x="4499517" y="3819886"/>
                  <a:pt x="4499517" y="3820797"/>
                  <a:pt x="4498963" y="3821505"/>
                </a:cubicBezTo>
                <a:cubicBezTo>
                  <a:pt x="4497303" y="3823427"/>
                  <a:pt x="4490666" y="3823427"/>
                  <a:pt x="4489282" y="3824742"/>
                </a:cubicBezTo>
                <a:cubicBezTo>
                  <a:pt x="4485687" y="3822719"/>
                  <a:pt x="4489282" y="3819077"/>
                  <a:pt x="4492878" y="3815537"/>
                </a:cubicBezTo>
                <a:close/>
                <a:moveTo>
                  <a:pt x="5049246" y="3811873"/>
                </a:moveTo>
                <a:lnTo>
                  <a:pt x="5032471" y="3812490"/>
                </a:lnTo>
                <a:lnTo>
                  <a:pt x="5005288" y="3814198"/>
                </a:lnTo>
                <a:lnTo>
                  <a:pt x="5003001" y="3815087"/>
                </a:lnTo>
                <a:lnTo>
                  <a:pt x="5042531" y="3819115"/>
                </a:lnTo>
                <a:lnTo>
                  <a:pt x="5047368" y="3818733"/>
                </a:lnTo>
                <a:lnTo>
                  <a:pt x="5049577" y="3817235"/>
                </a:lnTo>
                <a:close/>
                <a:moveTo>
                  <a:pt x="7788828" y="3811568"/>
                </a:moveTo>
                <a:cubicBezTo>
                  <a:pt x="7787030" y="3814223"/>
                  <a:pt x="7785301" y="3815172"/>
                  <a:pt x="7783564" y="3815120"/>
                </a:cubicBezTo>
                <a:lnTo>
                  <a:pt x="7783040" y="3814878"/>
                </a:lnTo>
                <a:lnTo>
                  <a:pt x="7781117" y="3817041"/>
                </a:lnTo>
                <a:cubicBezTo>
                  <a:pt x="7773649" y="3823983"/>
                  <a:pt x="7766458" y="3830861"/>
                  <a:pt x="7763278" y="3838599"/>
                </a:cubicBezTo>
                <a:lnTo>
                  <a:pt x="7793784" y="3815389"/>
                </a:lnTo>
                <a:close/>
                <a:moveTo>
                  <a:pt x="8114375" y="3808837"/>
                </a:moveTo>
                <a:cubicBezTo>
                  <a:pt x="8110779" y="3808433"/>
                  <a:pt x="8109880" y="3810026"/>
                  <a:pt x="8108393" y="3811556"/>
                </a:cubicBezTo>
                <a:lnTo>
                  <a:pt x="8105264" y="3812326"/>
                </a:lnTo>
                <a:lnTo>
                  <a:pt x="8103760" y="3819785"/>
                </a:lnTo>
                <a:lnTo>
                  <a:pt x="8100193" y="3821048"/>
                </a:lnTo>
                <a:lnTo>
                  <a:pt x="8104612" y="3824862"/>
                </a:lnTo>
                <a:cubicBezTo>
                  <a:pt x="8110226" y="3824762"/>
                  <a:pt x="8118524" y="3815033"/>
                  <a:pt x="8126821" y="3819357"/>
                </a:cubicBezTo>
                <a:cubicBezTo>
                  <a:pt x="8125715" y="3812378"/>
                  <a:pt x="8118523" y="3811568"/>
                  <a:pt x="8114375" y="3808837"/>
                </a:cubicBezTo>
                <a:close/>
                <a:moveTo>
                  <a:pt x="9362349" y="3808129"/>
                </a:moveTo>
                <a:cubicBezTo>
                  <a:pt x="9364285" y="3819661"/>
                  <a:pt x="9349626" y="3820470"/>
                  <a:pt x="9343817" y="3824212"/>
                </a:cubicBezTo>
                <a:cubicBezTo>
                  <a:pt x="9346860" y="3825831"/>
                  <a:pt x="9350179" y="3827551"/>
                  <a:pt x="9351008" y="3829776"/>
                </a:cubicBezTo>
                <a:cubicBezTo>
                  <a:pt x="9345477" y="3828562"/>
                  <a:pt x="9343541" y="3836250"/>
                  <a:pt x="9334413" y="3838273"/>
                </a:cubicBezTo>
                <a:cubicBezTo>
                  <a:pt x="9333307" y="3828967"/>
                  <a:pt x="9308967" y="3836755"/>
                  <a:pt x="9313945" y="3842825"/>
                </a:cubicBezTo>
                <a:cubicBezTo>
                  <a:pt x="9304265" y="3837767"/>
                  <a:pt x="9288499" y="3841206"/>
                  <a:pt x="9282691" y="3852029"/>
                </a:cubicBezTo>
                <a:cubicBezTo>
                  <a:pt x="9279648" y="3850310"/>
                  <a:pt x="9276329" y="3848691"/>
                  <a:pt x="9271904" y="3849703"/>
                </a:cubicBezTo>
                <a:cubicBezTo>
                  <a:pt x="9296244" y="3829978"/>
                  <a:pt x="9331371" y="3824516"/>
                  <a:pt x="9362349" y="3808129"/>
                </a:cubicBezTo>
                <a:close/>
                <a:moveTo>
                  <a:pt x="4946616" y="3801733"/>
                </a:moveTo>
                <a:lnTo>
                  <a:pt x="4945741" y="3803612"/>
                </a:lnTo>
                <a:lnTo>
                  <a:pt x="4949528" y="3804005"/>
                </a:lnTo>
                <a:lnTo>
                  <a:pt x="4950130" y="3803792"/>
                </a:lnTo>
                <a:close/>
                <a:moveTo>
                  <a:pt x="4368136" y="3801173"/>
                </a:moveTo>
                <a:cubicBezTo>
                  <a:pt x="4371455" y="3800971"/>
                  <a:pt x="4375327" y="3801881"/>
                  <a:pt x="4380029" y="3803196"/>
                </a:cubicBezTo>
                <a:cubicBezTo>
                  <a:pt x="4378369" y="3804916"/>
                  <a:pt x="4376433" y="3803803"/>
                  <a:pt x="4372561" y="3804410"/>
                </a:cubicBezTo>
                <a:cubicBezTo>
                  <a:pt x="4372839" y="3807141"/>
                  <a:pt x="4372839" y="3807141"/>
                  <a:pt x="4371455" y="3811693"/>
                </a:cubicBezTo>
                <a:cubicBezTo>
                  <a:pt x="4371178" y="3808861"/>
                  <a:pt x="4369242" y="3807748"/>
                  <a:pt x="4368965" y="3804916"/>
                </a:cubicBezTo>
                <a:cubicBezTo>
                  <a:pt x="4367029" y="3803904"/>
                  <a:pt x="4363710" y="3807141"/>
                  <a:pt x="4359563" y="3804916"/>
                </a:cubicBezTo>
                <a:cubicBezTo>
                  <a:pt x="4362327" y="3802387"/>
                  <a:pt x="4365093" y="3801375"/>
                  <a:pt x="4368136" y="3801173"/>
                </a:cubicBezTo>
                <a:close/>
                <a:moveTo>
                  <a:pt x="5040449" y="3800545"/>
                </a:moveTo>
                <a:lnTo>
                  <a:pt x="5030357" y="3804464"/>
                </a:lnTo>
                <a:lnTo>
                  <a:pt x="5038085" y="3804764"/>
                </a:lnTo>
                <a:lnTo>
                  <a:pt x="5048884" y="3807090"/>
                </a:lnTo>
                <a:close/>
                <a:moveTo>
                  <a:pt x="3912515" y="3797813"/>
                </a:moveTo>
                <a:cubicBezTo>
                  <a:pt x="3913068" y="3800241"/>
                  <a:pt x="3912792" y="3801860"/>
                  <a:pt x="3912239" y="3803579"/>
                </a:cubicBezTo>
                <a:cubicBezTo>
                  <a:pt x="3911409" y="3805198"/>
                  <a:pt x="3910579" y="3806917"/>
                  <a:pt x="3910026" y="3809143"/>
                </a:cubicBezTo>
                <a:cubicBezTo>
                  <a:pt x="3908643" y="3804388"/>
                  <a:pt x="3898133" y="3810255"/>
                  <a:pt x="3900069" y="3801152"/>
                </a:cubicBezTo>
                <a:cubicBezTo>
                  <a:pt x="3905877" y="3806411"/>
                  <a:pt x="3905047" y="3799331"/>
                  <a:pt x="3912515" y="3797813"/>
                </a:cubicBezTo>
                <a:close/>
                <a:moveTo>
                  <a:pt x="5013621" y="3790227"/>
                </a:moveTo>
                <a:cubicBezTo>
                  <a:pt x="5018599" y="3796195"/>
                  <a:pt x="5006982" y="3798724"/>
                  <a:pt x="5000897" y="3802365"/>
                </a:cubicBezTo>
                <a:cubicBezTo>
                  <a:pt x="4998409" y="3795993"/>
                  <a:pt x="5007535" y="3793869"/>
                  <a:pt x="5013621" y="3790227"/>
                </a:cubicBezTo>
                <a:close/>
                <a:moveTo>
                  <a:pt x="5402583" y="3787720"/>
                </a:moveTo>
                <a:lnTo>
                  <a:pt x="5327355" y="3797468"/>
                </a:lnTo>
                <a:lnTo>
                  <a:pt x="5325337" y="3798623"/>
                </a:lnTo>
                <a:lnTo>
                  <a:pt x="5316630" y="3805216"/>
                </a:lnTo>
                <a:lnTo>
                  <a:pt x="5337308" y="3801881"/>
                </a:lnTo>
                <a:cubicBezTo>
                  <a:pt x="5369115" y="3805725"/>
                  <a:pt x="5398986" y="3794194"/>
                  <a:pt x="5430794" y="3792373"/>
                </a:cubicBezTo>
                <a:cubicBezTo>
                  <a:pt x="5424986" y="3780538"/>
                  <a:pt x="5406731" y="3798442"/>
                  <a:pt x="5402583" y="3787720"/>
                </a:cubicBezTo>
                <a:close/>
                <a:moveTo>
                  <a:pt x="3937962" y="3787395"/>
                </a:moveTo>
                <a:cubicBezTo>
                  <a:pt x="3943217" y="3787192"/>
                  <a:pt x="3948472" y="3788406"/>
                  <a:pt x="3950408" y="3790834"/>
                </a:cubicBezTo>
                <a:cubicBezTo>
                  <a:pt x="3946812" y="3797105"/>
                  <a:pt x="3935196" y="3793565"/>
                  <a:pt x="3931323" y="3799837"/>
                </a:cubicBezTo>
                <a:cubicBezTo>
                  <a:pt x="3926621" y="3799331"/>
                  <a:pt x="3930217" y="3793059"/>
                  <a:pt x="3925515" y="3792452"/>
                </a:cubicBezTo>
                <a:cubicBezTo>
                  <a:pt x="3927175" y="3789317"/>
                  <a:pt x="3932706" y="3787698"/>
                  <a:pt x="3937962" y="3787395"/>
                </a:cubicBezTo>
                <a:close/>
                <a:moveTo>
                  <a:pt x="9469113" y="3787292"/>
                </a:moveTo>
                <a:cubicBezTo>
                  <a:pt x="9472155" y="3787595"/>
                  <a:pt x="9475474" y="3788405"/>
                  <a:pt x="9479346" y="3789720"/>
                </a:cubicBezTo>
                <a:cubicBezTo>
                  <a:pt x="9464411" y="3802465"/>
                  <a:pt x="9444773" y="3809242"/>
                  <a:pt x="9427624" y="3810557"/>
                </a:cubicBezTo>
                <a:cubicBezTo>
                  <a:pt x="9428454" y="3812782"/>
                  <a:pt x="9432326" y="3809545"/>
                  <a:pt x="9433986" y="3813996"/>
                </a:cubicBezTo>
                <a:cubicBezTo>
                  <a:pt x="9429007" y="3819863"/>
                  <a:pt x="9425411" y="3811063"/>
                  <a:pt x="9419326" y="3814704"/>
                </a:cubicBezTo>
                <a:cubicBezTo>
                  <a:pt x="9432326" y="3804791"/>
                  <a:pt x="9443113" y="3789821"/>
                  <a:pt x="9459985" y="3787393"/>
                </a:cubicBezTo>
                <a:cubicBezTo>
                  <a:pt x="9462751" y="3786887"/>
                  <a:pt x="9465793" y="3786887"/>
                  <a:pt x="9469113" y="3787292"/>
                </a:cubicBezTo>
                <a:close/>
                <a:moveTo>
                  <a:pt x="7380201" y="3786911"/>
                </a:moveTo>
                <a:lnTo>
                  <a:pt x="7378818" y="3788731"/>
                </a:lnTo>
                <a:cubicBezTo>
                  <a:pt x="7371626" y="3795913"/>
                  <a:pt x="7363605" y="3802387"/>
                  <a:pt x="7354201" y="3807546"/>
                </a:cubicBezTo>
                <a:lnTo>
                  <a:pt x="7343414" y="3820493"/>
                </a:lnTo>
                <a:lnTo>
                  <a:pt x="7341478" y="3824640"/>
                </a:lnTo>
                <a:lnTo>
                  <a:pt x="7338989" y="3825854"/>
                </a:lnTo>
                <a:lnTo>
                  <a:pt x="7334010" y="3831822"/>
                </a:lnTo>
                <a:cubicBezTo>
                  <a:pt x="7326265" y="3839206"/>
                  <a:pt x="7318521" y="3846894"/>
                  <a:pt x="7315202" y="3857920"/>
                </a:cubicBezTo>
                <a:cubicBezTo>
                  <a:pt x="7297500" y="3862775"/>
                  <a:pt x="7288649" y="3882297"/>
                  <a:pt x="7270947" y="3898482"/>
                </a:cubicBezTo>
                <a:cubicBezTo>
                  <a:pt x="7259331" y="3908597"/>
                  <a:pt x="7239693" y="3911025"/>
                  <a:pt x="7240799" y="3929333"/>
                </a:cubicBezTo>
                <a:cubicBezTo>
                  <a:pt x="7220608" y="3933885"/>
                  <a:pt x="7213693" y="3944506"/>
                  <a:pt x="7208438" y="3957555"/>
                </a:cubicBezTo>
                <a:cubicBezTo>
                  <a:pt x="7184098" y="3970806"/>
                  <a:pt x="7162524" y="3986585"/>
                  <a:pt x="7141227" y="4002669"/>
                </a:cubicBezTo>
                <a:lnTo>
                  <a:pt x="7122142" y="4016729"/>
                </a:lnTo>
                <a:lnTo>
                  <a:pt x="7124355" y="4015920"/>
                </a:lnTo>
                <a:cubicBezTo>
                  <a:pt x="7134312" y="4012986"/>
                  <a:pt x="7143993" y="4011064"/>
                  <a:pt x="7153950" y="4010660"/>
                </a:cubicBezTo>
                <a:cubicBezTo>
                  <a:pt x="7159758" y="4007018"/>
                  <a:pt x="7161141" y="4004287"/>
                  <a:pt x="7165014" y="4001151"/>
                </a:cubicBezTo>
                <a:cubicBezTo>
                  <a:pt x="7179120" y="3999128"/>
                  <a:pt x="7192119" y="3995285"/>
                  <a:pt x="7205119" y="3990126"/>
                </a:cubicBezTo>
                <a:lnTo>
                  <a:pt x="7230842" y="3977785"/>
                </a:lnTo>
                <a:lnTo>
                  <a:pt x="7247161" y="3964433"/>
                </a:lnTo>
                <a:cubicBezTo>
                  <a:pt x="7269011" y="3947743"/>
                  <a:pt x="7290862" y="3931356"/>
                  <a:pt x="7309670" y="3909608"/>
                </a:cubicBezTo>
                <a:cubicBezTo>
                  <a:pt x="7319074" y="3910620"/>
                  <a:pt x="7324053" y="3897571"/>
                  <a:pt x="7333180" y="3900808"/>
                </a:cubicBezTo>
                <a:cubicBezTo>
                  <a:pt x="7334563" y="3894132"/>
                  <a:pt x="7332627" y="3891603"/>
                  <a:pt x="7325159" y="3893121"/>
                </a:cubicBezTo>
                <a:cubicBezTo>
                  <a:pt x="7332350" y="3880274"/>
                  <a:pt x="7349776" y="3877644"/>
                  <a:pt x="7361392" y="3867529"/>
                </a:cubicBezTo>
                <a:cubicBezTo>
                  <a:pt x="7352818" y="3862067"/>
                  <a:pt x="7365265" y="3861156"/>
                  <a:pt x="7362222" y="3851648"/>
                </a:cubicBezTo>
                <a:cubicBezTo>
                  <a:pt x="7364711" y="3851952"/>
                  <a:pt x="7366924" y="3852154"/>
                  <a:pt x="7369690" y="3850232"/>
                </a:cubicBezTo>
                <a:lnTo>
                  <a:pt x="7398732" y="3814424"/>
                </a:lnTo>
                <a:lnTo>
                  <a:pt x="7388222" y="3820392"/>
                </a:lnTo>
                <a:cubicBezTo>
                  <a:pt x="7386562" y="3816144"/>
                  <a:pt x="7385179" y="3818774"/>
                  <a:pt x="7381030" y="3814930"/>
                </a:cubicBezTo>
                <a:cubicBezTo>
                  <a:pt x="7382966" y="3807445"/>
                  <a:pt x="7384903" y="3799959"/>
                  <a:pt x="7400115" y="3794295"/>
                </a:cubicBezTo>
                <a:cubicBezTo>
                  <a:pt x="7403987" y="3791058"/>
                  <a:pt x="7394860" y="3793182"/>
                  <a:pt x="7397626" y="3787821"/>
                </a:cubicBezTo>
                <a:cubicBezTo>
                  <a:pt x="7391541" y="3788023"/>
                  <a:pt x="7388775" y="3789136"/>
                  <a:pt x="7386562" y="3789439"/>
                </a:cubicBezTo>
                <a:close/>
                <a:moveTo>
                  <a:pt x="9435645" y="3775760"/>
                </a:moveTo>
                <a:cubicBezTo>
                  <a:pt x="9427071" y="3791641"/>
                  <a:pt x="9399135" y="3795485"/>
                  <a:pt x="9378944" y="3807017"/>
                </a:cubicBezTo>
                <a:cubicBezTo>
                  <a:pt x="9384199" y="3789416"/>
                  <a:pt x="9414071" y="3789821"/>
                  <a:pt x="9435645" y="3775760"/>
                </a:cubicBezTo>
                <a:close/>
                <a:moveTo>
                  <a:pt x="5363780" y="3774817"/>
                </a:moveTo>
                <a:lnTo>
                  <a:pt x="5352967" y="3782364"/>
                </a:lnTo>
                <a:lnTo>
                  <a:pt x="5357498" y="3782156"/>
                </a:lnTo>
                <a:cubicBezTo>
                  <a:pt x="5361094" y="3778515"/>
                  <a:pt x="5363030" y="3773862"/>
                  <a:pt x="5364689" y="3774975"/>
                </a:cubicBezTo>
                <a:close/>
                <a:moveTo>
                  <a:pt x="3613521" y="3773840"/>
                </a:moveTo>
                <a:cubicBezTo>
                  <a:pt x="3614351" y="3773739"/>
                  <a:pt x="3614904" y="3774245"/>
                  <a:pt x="3615734" y="3774852"/>
                </a:cubicBezTo>
                <a:cubicBezTo>
                  <a:pt x="3617394" y="3776167"/>
                  <a:pt x="3619330" y="3778089"/>
                  <a:pt x="3623202" y="3777381"/>
                </a:cubicBezTo>
                <a:cubicBezTo>
                  <a:pt x="3620436" y="3779303"/>
                  <a:pt x="3617947" y="3778999"/>
                  <a:pt x="3617117" y="3783349"/>
                </a:cubicBezTo>
                <a:cubicBezTo>
                  <a:pt x="3615181" y="3780921"/>
                  <a:pt x="3610479" y="3780314"/>
                  <a:pt x="3611309" y="3776066"/>
                </a:cubicBezTo>
                <a:cubicBezTo>
                  <a:pt x="3612139" y="3774548"/>
                  <a:pt x="3612968" y="3773840"/>
                  <a:pt x="3613521" y="3773840"/>
                </a:cubicBezTo>
                <a:close/>
                <a:moveTo>
                  <a:pt x="8540580" y="3772444"/>
                </a:moveTo>
                <a:lnTo>
                  <a:pt x="8538110" y="3773636"/>
                </a:lnTo>
                <a:lnTo>
                  <a:pt x="8540196" y="3774112"/>
                </a:lnTo>
                <a:close/>
                <a:moveTo>
                  <a:pt x="5250458" y="3769917"/>
                </a:moveTo>
                <a:cubicBezTo>
                  <a:pt x="5242991" y="3777099"/>
                  <a:pt x="5254331" y="3777807"/>
                  <a:pt x="5254331" y="3780639"/>
                </a:cubicBezTo>
                <a:cubicBezTo>
                  <a:pt x="5249075" y="3788934"/>
                  <a:pt x="5241330" y="3778818"/>
                  <a:pt x="5239671" y="3789237"/>
                </a:cubicBezTo>
                <a:cubicBezTo>
                  <a:pt x="5226394" y="3784584"/>
                  <a:pt x="5215054" y="3783977"/>
                  <a:pt x="5202054" y="3785090"/>
                </a:cubicBezTo>
                <a:cubicBezTo>
                  <a:pt x="5192650" y="3779729"/>
                  <a:pt x="5211458" y="3781853"/>
                  <a:pt x="5211182" y="3776087"/>
                </a:cubicBezTo>
                <a:lnTo>
                  <a:pt x="5168240" y="3771528"/>
                </a:lnTo>
                <a:lnTo>
                  <a:pt x="5148596" y="3797712"/>
                </a:lnTo>
                <a:cubicBezTo>
                  <a:pt x="5136565" y="3798623"/>
                  <a:pt x="5125016" y="3802353"/>
                  <a:pt x="5113633" y="3807583"/>
                </a:cubicBezTo>
                <a:lnTo>
                  <a:pt x="5098398" y="3816044"/>
                </a:lnTo>
                <a:lnTo>
                  <a:pt x="5140894" y="3819773"/>
                </a:lnTo>
                <a:cubicBezTo>
                  <a:pt x="5157524" y="3819962"/>
                  <a:pt x="5173842" y="3818572"/>
                  <a:pt x="5189608" y="3814728"/>
                </a:cubicBezTo>
                <a:cubicBezTo>
                  <a:pt x="5197214" y="3819027"/>
                  <a:pt x="5207102" y="3819633"/>
                  <a:pt x="5216921" y="3818445"/>
                </a:cubicBezTo>
                <a:lnTo>
                  <a:pt x="5237090" y="3813154"/>
                </a:lnTo>
                <a:lnTo>
                  <a:pt x="5237389" y="3804557"/>
                </a:lnTo>
                <a:lnTo>
                  <a:pt x="5146184" y="3804511"/>
                </a:lnTo>
                <a:lnTo>
                  <a:pt x="5263928" y="3793087"/>
                </a:lnTo>
                <a:lnTo>
                  <a:pt x="5266908" y="3791555"/>
                </a:lnTo>
                <a:cubicBezTo>
                  <a:pt x="5271817" y="3787547"/>
                  <a:pt x="5274306" y="3782894"/>
                  <a:pt x="5272232" y="3777482"/>
                </a:cubicBezTo>
                <a:lnTo>
                  <a:pt x="5275066" y="3776930"/>
                </a:lnTo>
                <a:close/>
                <a:moveTo>
                  <a:pt x="3027151" y="3765445"/>
                </a:moveTo>
                <a:cubicBezTo>
                  <a:pt x="3029640" y="3765849"/>
                  <a:pt x="3031023" y="3766861"/>
                  <a:pt x="3031023" y="3767872"/>
                </a:cubicBezTo>
                <a:cubicBezTo>
                  <a:pt x="3031576" y="3769895"/>
                  <a:pt x="3027704" y="3771716"/>
                  <a:pt x="3017470" y="3767265"/>
                </a:cubicBezTo>
                <a:cubicBezTo>
                  <a:pt x="3021619" y="3765445"/>
                  <a:pt x="3024938" y="3765141"/>
                  <a:pt x="3027151" y="3765445"/>
                </a:cubicBezTo>
                <a:close/>
                <a:moveTo>
                  <a:pt x="4906303" y="3764635"/>
                </a:moveTo>
                <a:cubicBezTo>
                  <a:pt x="4908517" y="3764130"/>
                  <a:pt x="4910176" y="3768378"/>
                  <a:pt x="4912112" y="3772627"/>
                </a:cubicBezTo>
                <a:cubicBezTo>
                  <a:pt x="4906581" y="3771514"/>
                  <a:pt x="4897730" y="3785271"/>
                  <a:pt x="4891921" y="3777178"/>
                </a:cubicBezTo>
                <a:cubicBezTo>
                  <a:pt x="4899942" y="3773031"/>
                  <a:pt x="4905750" y="3769390"/>
                  <a:pt x="4906303" y="3764635"/>
                </a:cubicBezTo>
                <a:close/>
                <a:moveTo>
                  <a:pt x="4787923" y="3753003"/>
                </a:moveTo>
                <a:cubicBezTo>
                  <a:pt x="4785986" y="3760691"/>
                  <a:pt x="4768285" y="3766962"/>
                  <a:pt x="4760540" y="3766254"/>
                </a:cubicBezTo>
                <a:cubicBezTo>
                  <a:pt x="4763030" y="3753610"/>
                  <a:pt x="4779625" y="3757251"/>
                  <a:pt x="4787923" y="3753003"/>
                </a:cubicBezTo>
                <a:close/>
                <a:moveTo>
                  <a:pt x="8213505" y="3742520"/>
                </a:moveTo>
                <a:lnTo>
                  <a:pt x="8182969" y="3744163"/>
                </a:lnTo>
                <a:cubicBezTo>
                  <a:pt x="8173357" y="3745390"/>
                  <a:pt x="8164852" y="3748450"/>
                  <a:pt x="8158352" y="3756845"/>
                </a:cubicBezTo>
                <a:lnTo>
                  <a:pt x="8150734" y="3755227"/>
                </a:lnTo>
                <a:lnTo>
                  <a:pt x="8142527" y="3765432"/>
                </a:lnTo>
                <a:lnTo>
                  <a:pt x="8213300" y="3742777"/>
                </a:lnTo>
                <a:close/>
                <a:moveTo>
                  <a:pt x="4424207" y="3741168"/>
                </a:moveTo>
                <a:cubicBezTo>
                  <a:pt x="4426697" y="3740764"/>
                  <a:pt x="4428633" y="3741269"/>
                  <a:pt x="4429185" y="3742180"/>
                </a:cubicBezTo>
                <a:cubicBezTo>
                  <a:pt x="4430845" y="3743798"/>
                  <a:pt x="4428356" y="3746732"/>
                  <a:pt x="4416462" y="3745821"/>
                </a:cubicBezTo>
                <a:cubicBezTo>
                  <a:pt x="4419228" y="3742989"/>
                  <a:pt x="4421994" y="3741573"/>
                  <a:pt x="4424207" y="3741168"/>
                </a:cubicBezTo>
                <a:close/>
                <a:moveTo>
                  <a:pt x="4441155" y="3740381"/>
                </a:moveTo>
                <a:cubicBezTo>
                  <a:pt x="4445304" y="3741190"/>
                  <a:pt x="4446965" y="3746551"/>
                  <a:pt x="4449730" y="3745944"/>
                </a:cubicBezTo>
                <a:cubicBezTo>
                  <a:pt x="4447794" y="3747866"/>
                  <a:pt x="4444198" y="3751507"/>
                  <a:pt x="4445858" y="3752620"/>
                </a:cubicBezTo>
                <a:cubicBezTo>
                  <a:pt x="4442262" y="3756261"/>
                  <a:pt x="4438389" y="3754137"/>
                  <a:pt x="4434517" y="3752013"/>
                </a:cubicBezTo>
                <a:cubicBezTo>
                  <a:pt x="4440326" y="3749383"/>
                  <a:pt x="4445858" y="3743820"/>
                  <a:pt x="4436453" y="3741392"/>
                </a:cubicBezTo>
                <a:cubicBezTo>
                  <a:pt x="4438389" y="3740279"/>
                  <a:pt x="4440050" y="3740077"/>
                  <a:pt x="4441155" y="3740381"/>
                </a:cubicBezTo>
                <a:close/>
                <a:moveTo>
                  <a:pt x="6459085" y="3739258"/>
                </a:moveTo>
                <a:lnTo>
                  <a:pt x="6444220" y="3745742"/>
                </a:lnTo>
                <a:cubicBezTo>
                  <a:pt x="6420986" y="3765972"/>
                  <a:pt x="6376732" y="3770220"/>
                  <a:pt x="6357647" y="3793081"/>
                </a:cubicBezTo>
                <a:cubicBezTo>
                  <a:pt x="6352669" y="3794800"/>
                  <a:pt x="6350733" y="3792373"/>
                  <a:pt x="6349073" y="3787619"/>
                </a:cubicBezTo>
                <a:cubicBezTo>
                  <a:pt x="6344371" y="3793991"/>
                  <a:pt x="6334414" y="3797430"/>
                  <a:pt x="6325563" y="3800667"/>
                </a:cubicBezTo>
                <a:lnTo>
                  <a:pt x="6323074" y="3801578"/>
                </a:lnTo>
                <a:lnTo>
                  <a:pt x="6322520" y="3802792"/>
                </a:lnTo>
                <a:lnTo>
                  <a:pt x="6312840" y="3805927"/>
                </a:lnTo>
                <a:lnTo>
                  <a:pt x="6305648" y="3812300"/>
                </a:lnTo>
                <a:lnTo>
                  <a:pt x="6298734" y="3811592"/>
                </a:lnTo>
                <a:lnTo>
                  <a:pt x="6272458" y="3819684"/>
                </a:lnTo>
                <a:lnTo>
                  <a:pt x="6264713" y="3824438"/>
                </a:lnTo>
                <a:cubicBezTo>
                  <a:pt x="6257798" y="3828383"/>
                  <a:pt x="6250330" y="3831215"/>
                  <a:pt x="6238990" y="3831923"/>
                </a:cubicBezTo>
                <a:cubicBezTo>
                  <a:pt x="6224608" y="3854885"/>
                  <a:pt x="6187268" y="3859336"/>
                  <a:pt x="6161268" y="3867226"/>
                </a:cubicBezTo>
                <a:cubicBezTo>
                  <a:pt x="6154077" y="3883005"/>
                  <a:pt x="6112865" y="3882398"/>
                  <a:pt x="6103738" y="3891300"/>
                </a:cubicBezTo>
                <a:cubicBezTo>
                  <a:pt x="6090738" y="3895346"/>
                  <a:pt x="6088525" y="3888569"/>
                  <a:pt x="6073589" y="3891401"/>
                </a:cubicBezTo>
                <a:cubicBezTo>
                  <a:pt x="6069994" y="3895043"/>
                  <a:pt x="6075802" y="3895346"/>
                  <a:pt x="6069994" y="3897875"/>
                </a:cubicBezTo>
                <a:cubicBezTo>
                  <a:pt x="6066121" y="3901921"/>
                  <a:pt x="6073313" y="3901314"/>
                  <a:pt x="6073313" y="3903236"/>
                </a:cubicBezTo>
                <a:lnTo>
                  <a:pt x="6071100" y="3905765"/>
                </a:lnTo>
                <a:lnTo>
                  <a:pt x="6074696" y="3907484"/>
                </a:lnTo>
                <a:cubicBezTo>
                  <a:pt x="6082164" y="3906068"/>
                  <a:pt x="6083547" y="3899291"/>
                  <a:pt x="6093504" y="3898178"/>
                </a:cubicBezTo>
                <a:cubicBezTo>
                  <a:pt x="6092951" y="3900404"/>
                  <a:pt x="6092397" y="3902629"/>
                  <a:pt x="6092121" y="3904854"/>
                </a:cubicBezTo>
                <a:cubicBezTo>
                  <a:pt x="6093780" y="3895953"/>
                  <a:pt x="6128078" y="3881488"/>
                  <a:pt x="6135269" y="3893626"/>
                </a:cubicBezTo>
                <a:cubicBezTo>
                  <a:pt x="6150205" y="3879364"/>
                  <a:pt x="6167077" y="3878959"/>
                  <a:pt x="6178417" y="3871171"/>
                </a:cubicBezTo>
                <a:cubicBezTo>
                  <a:pt x="6183119" y="3871676"/>
                  <a:pt x="6179800" y="3875824"/>
                  <a:pt x="6179247" y="3878049"/>
                </a:cubicBezTo>
                <a:cubicBezTo>
                  <a:pt x="6181736" y="3878251"/>
                  <a:pt x="6184502" y="3876329"/>
                  <a:pt x="6186715" y="3876532"/>
                </a:cubicBezTo>
                <a:cubicBezTo>
                  <a:pt x="6191417" y="3877037"/>
                  <a:pt x="6183119" y="3871676"/>
                  <a:pt x="6188651" y="3867731"/>
                </a:cubicBezTo>
                <a:cubicBezTo>
                  <a:pt x="6193353" y="3868237"/>
                  <a:pt x="6195566" y="3868439"/>
                  <a:pt x="6197502" y="3870968"/>
                </a:cubicBezTo>
                <a:cubicBezTo>
                  <a:pt x="6234565" y="3854582"/>
                  <a:pt x="6288500" y="3837790"/>
                  <a:pt x="6335520" y="3820190"/>
                </a:cubicBezTo>
                <a:cubicBezTo>
                  <a:pt x="6345754" y="3816852"/>
                  <a:pt x="6361520" y="3809468"/>
                  <a:pt x="6368711" y="3798847"/>
                </a:cubicBezTo>
                <a:cubicBezTo>
                  <a:pt x="6393742" y="3793638"/>
                  <a:pt x="6417875" y="3784357"/>
                  <a:pt x="6439587" y="3773685"/>
                </a:cubicBezTo>
                <a:lnTo>
                  <a:pt x="6487715" y="3745069"/>
                </a:lnTo>
                <a:close/>
                <a:moveTo>
                  <a:pt x="3391973" y="3729030"/>
                </a:moveTo>
                <a:cubicBezTo>
                  <a:pt x="3392803" y="3729131"/>
                  <a:pt x="3393909" y="3729839"/>
                  <a:pt x="3394739" y="3730851"/>
                </a:cubicBezTo>
                <a:cubicBezTo>
                  <a:pt x="3396398" y="3733076"/>
                  <a:pt x="3397505" y="3736616"/>
                  <a:pt x="3396952" y="3738842"/>
                </a:cubicBezTo>
                <a:cubicBezTo>
                  <a:pt x="3386718" y="3742281"/>
                  <a:pt x="3391143" y="3731457"/>
                  <a:pt x="3388930" y="3731154"/>
                </a:cubicBezTo>
                <a:cubicBezTo>
                  <a:pt x="3389760" y="3729536"/>
                  <a:pt x="3390867" y="3728929"/>
                  <a:pt x="3391973" y="3729030"/>
                </a:cubicBezTo>
                <a:close/>
                <a:moveTo>
                  <a:pt x="4711384" y="3723589"/>
                </a:moveTo>
                <a:cubicBezTo>
                  <a:pt x="4713320" y="3724196"/>
                  <a:pt x="4711937" y="3729051"/>
                  <a:pt x="4717745" y="3730265"/>
                </a:cubicBezTo>
                <a:cubicBezTo>
                  <a:pt x="4713873" y="3730872"/>
                  <a:pt x="4711937" y="3729760"/>
                  <a:pt x="4708341" y="3733300"/>
                </a:cubicBezTo>
                <a:cubicBezTo>
                  <a:pt x="4708341" y="3730468"/>
                  <a:pt x="4704469" y="3728242"/>
                  <a:pt x="4707788" y="3724803"/>
                </a:cubicBezTo>
                <a:cubicBezTo>
                  <a:pt x="4709724" y="3723792"/>
                  <a:pt x="4710831" y="3723488"/>
                  <a:pt x="4711384" y="3723589"/>
                </a:cubicBezTo>
                <a:close/>
                <a:moveTo>
                  <a:pt x="3133361" y="3709305"/>
                </a:moveTo>
                <a:cubicBezTo>
                  <a:pt x="3132255" y="3713857"/>
                  <a:pt x="3132255" y="3713857"/>
                  <a:pt x="3134744" y="3714059"/>
                </a:cubicBezTo>
                <a:cubicBezTo>
                  <a:pt x="3133361" y="3720836"/>
                  <a:pt x="3127829" y="3713250"/>
                  <a:pt x="3120362" y="3714767"/>
                </a:cubicBezTo>
                <a:cubicBezTo>
                  <a:pt x="3123127" y="3712744"/>
                  <a:pt x="3125893" y="3710822"/>
                  <a:pt x="3133361" y="3709305"/>
                </a:cubicBezTo>
                <a:close/>
                <a:moveTo>
                  <a:pt x="8190298" y="3707308"/>
                </a:moveTo>
                <a:lnTo>
                  <a:pt x="8191163" y="3708922"/>
                </a:lnTo>
                <a:cubicBezTo>
                  <a:pt x="8185769" y="3711299"/>
                  <a:pt x="8179753" y="3714966"/>
                  <a:pt x="8175639" y="3719391"/>
                </a:cubicBezTo>
                <a:lnTo>
                  <a:pt x="8172630" y="3730377"/>
                </a:lnTo>
                <a:lnTo>
                  <a:pt x="8178820" y="3729471"/>
                </a:lnTo>
                <a:cubicBezTo>
                  <a:pt x="8185458" y="3727941"/>
                  <a:pt x="8192373" y="3726449"/>
                  <a:pt x="8198181" y="3727106"/>
                </a:cubicBezTo>
                <a:cubicBezTo>
                  <a:pt x="8192373" y="3719621"/>
                  <a:pt x="8190437" y="3717092"/>
                  <a:pt x="8197075" y="3708696"/>
                </a:cubicBezTo>
                <a:close/>
                <a:moveTo>
                  <a:pt x="7468986" y="3690512"/>
                </a:moveTo>
                <a:lnTo>
                  <a:pt x="7462348" y="3694457"/>
                </a:lnTo>
                <a:cubicBezTo>
                  <a:pt x="7460135" y="3697087"/>
                  <a:pt x="7457646" y="3699616"/>
                  <a:pt x="7452944" y="3700223"/>
                </a:cubicBezTo>
                <a:lnTo>
                  <a:pt x="7449625" y="3706596"/>
                </a:lnTo>
                <a:lnTo>
                  <a:pt x="7464837" y="3694356"/>
                </a:lnTo>
                <a:close/>
                <a:moveTo>
                  <a:pt x="9687065" y="3689680"/>
                </a:moveTo>
                <a:cubicBezTo>
                  <a:pt x="9690385" y="3698581"/>
                  <a:pt x="9686789" y="3701818"/>
                  <a:pt x="9678768" y="3706066"/>
                </a:cubicBezTo>
                <a:cubicBezTo>
                  <a:pt x="9672959" y="3697671"/>
                  <a:pt x="9680980" y="3693422"/>
                  <a:pt x="9687065" y="3689680"/>
                </a:cubicBezTo>
                <a:close/>
                <a:moveTo>
                  <a:pt x="2958003" y="3683410"/>
                </a:moveTo>
                <a:cubicBezTo>
                  <a:pt x="2989258" y="3695852"/>
                  <a:pt x="3052320" y="3693728"/>
                  <a:pt x="3092426" y="3709406"/>
                </a:cubicBezTo>
                <a:cubicBezTo>
                  <a:pt x="3068639" y="3720230"/>
                  <a:pt x="3051491" y="3698178"/>
                  <a:pt x="3025491" y="3706574"/>
                </a:cubicBezTo>
                <a:cubicBezTo>
                  <a:pt x="3025491" y="3706574"/>
                  <a:pt x="3025768" y="3706574"/>
                  <a:pt x="2950259" y="3686950"/>
                </a:cubicBezTo>
                <a:cubicBezTo>
                  <a:pt x="2953025" y="3685029"/>
                  <a:pt x="2953301" y="3682803"/>
                  <a:pt x="2958003" y="3683410"/>
                </a:cubicBezTo>
                <a:close/>
                <a:moveTo>
                  <a:pt x="7481193" y="3678930"/>
                </a:moveTo>
                <a:lnTo>
                  <a:pt x="7478736" y="3679437"/>
                </a:lnTo>
                <a:lnTo>
                  <a:pt x="7474518" y="3685252"/>
                </a:lnTo>
                <a:close/>
                <a:moveTo>
                  <a:pt x="4681328" y="3672126"/>
                </a:moveTo>
                <a:lnTo>
                  <a:pt x="4667035" y="3686695"/>
                </a:lnTo>
                <a:lnTo>
                  <a:pt x="4705300" y="3689096"/>
                </a:lnTo>
                <a:cubicBezTo>
                  <a:pt x="4733789" y="3702347"/>
                  <a:pt x="4776935" y="3703966"/>
                  <a:pt x="4808467" y="3699211"/>
                </a:cubicBezTo>
                <a:cubicBezTo>
                  <a:pt x="4801000" y="3692131"/>
                  <a:pt x="4773063" y="3704674"/>
                  <a:pt x="4766978" y="3690007"/>
                </a:cubicBezTo>
                <a:cubicBezTo>
                  <a:pt x="4742776" y="3691878"/>
                  <a:pt x="4720650" y="3684342"/>
                  <a:pt x="4698005" y="3676895"/>
                </a:cubicBezTo>
                <a:close/>
                <a:moveTo>
                  <a:pt x="6588813" y="3670959"/>
                </a:moveTo>
                <a:lnTo>
                  <a:pt x="6544345" y="3695709"/>
                </a:lnTo>
                <a:lnTo>
                  <a:pt x="6516798" y="3711291"/>
                </a:lnTo>
                <a:lnTo>
                  <a:pt x="6529065" y="3714353"/>
                </a:lnTo>
                <a:lnTo>
                  <a:pt x="6543815" y="3713214"/>
                </a:lnTo>
                <a:lnTo>
                  <a:pt x="6547941" y="3709428"/>
                </a:lnTo>
                <a:cubicBezTo>
                  <a:pt x="6568132" y="3704826"/>
                  <a:pt x="6585280" y="3694230"/>
                  <a:pt x="6600770" y="3681459"/>
                </a:cubicBezTo>
                <a:lnTo>
                  <a:pt x="6608539" y="3674026"/>
                </a:lnTo>
                <a:lnTo>
                  <a:pt x="6594513" y="3673698"/>
                </a:lnTo>
                <a:close/>
                <a:moveTo>
                  <a:pt x="8839680" y="3667804"/>
                </a:moveTo>
                <a:cubicBezTo>
                  <a:pt x="8832575" y="3670189"/>
                  <a:pt x="8828115" y="3681208"/>
                  <a:pt x="8820232" y="3675215"/>
                </a:cubicBezTo>
                <a:cubicBezTo>
                  <a:pt x="8745830" y="3721644"/>
                  <a:pt x="8690788" y="3756440"/>
                  <a:pt x="8606428" y="3781223"/>
                </a:cubicBezTo>
                <a:cubicBezTo>
                  <a:pt x="8652342" y="3756744"/>
                  <a:pt x="8688299" y="3733378"/>
                  <a:pt x="8738638" y="3709405"/>
                </a:cubicBezTo>
                <a:cubicBezTo>
                  <a:pt x="8739745" y="3704954"/>
                  <a:pt x="8737255" y="3704650"/>
                  <a:pt x="8732553" y="3704145"/>
                </a:cubicBezTo>
                <a:cubicBezTo>
                  <a:pt x="8749978" y="3701515"/>
                  <a:pt x="8758829" y="3693524"/>
                  <a:pt x="8777084" y="3686443"/>
                </a:cubicBezTo>
                <a:cubicBezTo>
                  <a:pt x="8777914" y="3681992"/>
                  <a:pt x="8776531" y="3677238"/>
                  <a:pt x="8778744" y="3677440"/>
                </a:cubicBezTo>
                <a:cubicBezTo>
                  <a:pt x="8743617" y="3673597"/>
                  <a:pt x="8722043" y="3721239"/>
                  <a:pt x="8675299" y="3713754"/>
                </a:cubicBezTo>
                <a:cubicBezTo>
                  <a:pt x="8673640" y="3722655"/>
                  <a:pt x="8683873" y="3719317"/>
                  <a:pt x="8685810" y="3721745"/>
                </a:cubicBezTo>
                <a:cubicBezTo>
                  <a:pt x="8686363" y="3730950"/>
                  <a:pt x="8673086" y="3724881"/>
                  <a:pt x="8678342" y="3734591"/>
                </a:cubicBezTo>
                <a:cubicBezTo>
                  <a:pt x="8663682" y="3735300"/>
                  <a:pt x="8653448" y="3738638"/>
                  <a:pt x="8642661" y="3744302"/>
                </a:cubicBezTo>
                <a:cubicBezTo>
                  <a:pt x="8630768" y="3742987"/>
                  <a:pt x="8648746" y="3738233"/>
                  <a:pt x="8644874" y="3733276"/>
                </a:cubicBezTo>
                <a:lnTo>
                  <a:pt x="8601340" y="3745301"/>
                </a:lnTo>
                <a:lnTo>
                  <a:pt x="8598199" y="3747992"/>
                </a:lnTo>
                <a:cubicBezTo>
                  <a:pt x="8587585" y="3758639"/>
                  <a:pt x="8577144" y="3770575"/>
                  <a:pt x="8563729" y="3776492"/>
                </a:cubicBezTo>
                <a:lnTo>
                  <a:pt x="8585640" y="3750696"/>
                </a:lnTo>
                <a:lnTo>
                  <a:pt x="8542396" y="3771568"/>
                </a:lnTo>
                <a:lnTo>
                  <a:pt x="8543822" y="3774707"/>
                </a:lnTo>
                <a:lnTo>
                  <a:pt x="8552770" y="3773029"/>
                </a:lnTo>
                <a:cubicBezTo>
                  <a:pt x="8548068" y="3783954"/>
                  <a:pt x="8537834" y="3787292"/>
                  <a:pt x="8529536" y="3779604"/>
                </a:cubicBezTo>
                <a:cubicBezTo>
                  <a:pt x="8530089" y="3777379"/>
                  <a:pt x="8534791" y="3777885"/>
                  <a:pt x="8535345" y="3775659"/>
                </a:cubicBezTo>
                <a:cubicBezTo>
                  <a:pt x="8522068" y="3769691"/>
                  <a:pt x="8491643" y="3789011"/>
                  <a:pt x="8478920" y="3792248"/>
                </a:cubicBezTo>
                <a:cubicBezTo>
                  <a:pt x="8481963" y="3801655"/>
                  <a:pt x="8484729" y="3799632"/>
                  <a:pt x="8489431" y="3800138"/>
                </a:cubicBezTo>
                <a:cubicBezTo>
                  <a:pt x="8448772" y="3834328"/>
                  <a:pt x="8384880" y="3804589"/>
                  <a:pt x="8344774" y="3836553"/>
                </a:cubicBezTo>
                <a:cubicBezTo>
                  <a:pt x="8337859" y="3835744"/>
                  <a:pt x="8336200" y="3830990"/>
                  <a:pt x="8332051" y="3828259"/>
                </a:cubicBezTo>
                <a:cubicBezTo>
                  <a:pt x="8325966" y="3834429"/>
                  <a:pt x="8320711" y="3836148"/>
                  <a:pt x="8311860" y="3832912"/>
                </a:cubicBezTo>
                <a:cubicBezTo>
                  <a:pt x="8309924" y="3841813"/>
                  <a:pt x="8295541" y="3842420"/>
                  <a:pt x="8291392" y="3851119"/>
                </a:cubicBezTo>
                <a:cubicBezTo>
                  <a:pt x="8264010" y="3843533"/>
                  <a:pt x="8244095" y="3845859"/>
                  <a:pt x="8217266" y="3847478"/>
                </a:cubicBezTo>
                <a:cubicBezTo>
                  <a:pt x="8221138" y="3841105"/>
                  <a:pt x="8230542" y="3842015"/>
                  <a:pt x="8233861" y="3837868"/>
                </a:cubicBezTo>
                <a:cubicBezTo>
                  <a:pt x="8231925" y="3835390"/>
                  <a:pt x="8230127" y="3834492"/>
                  <a:pt x="8228364" y="3834380"/>
                </a:cubicBezTo>
                <a:lnTo>
                  <a:pt x="8224877" y="3835187"/>
                </a:lnTo>
                <a:lnTo>
                  <a:pt x="8206098" y="3858223"/>
                </a:lnTo>
                <a:cubicBezTo>
                  <a:pt x="8206928" y="3860347"/>
                  <a:pt x="8209971" y="3862067"/>
                  <a:pt x="8211077" y="3864191"/>
                </a:cubicBezTo>
                <a:cubicBezTo>
                  <a:pt x="8199184" y="3859740"/>
                  <a:pt x="8165716" y="3899999"/>
                  <a:pt x="8167099" y="3916082"/>
                </a:cubicBezTo>
                <a:lnTo>
                  <a:pt x="8155618" y="3927174"/>
                </a:lnTo>
                <a:lnTo>
                  <a:pt x="8183669" y="3919617"/>
                </a:lnTo>
                <a:cubicBezTo>
                  <a:pt x="8248624" y="3904932"/>
                  <a:pt x="8315524" y="3895298"/>
                  <a:pt x="8369667" y="3868821"/>
                </a:cubicBezTo>
                <a:cubicBezTo>
                  <a:pt x="8392071" y="3864572"/>
                  <a:pt x="8410879" y="3855266"/>
                  <a:pt x="8433559" y="3850917"/>
                </a:cubicBezTo>
                <a:lnTo>
                  <a:pt x="8438111" y="3846002"/>
                </a:lnTo>
                <a:lnTo>
                  <a:pt x="8429583" y="3847096"/>
                </a:lnTo>
                <a:cubicBezTo>
                  <a:pt x="8438987" y="3844567"/>
                  <a:pt x="8435392" y="3843961"/>
                  <a:pt x="8441476" y="3837993"/>
                </a:cubicBezTo>
                <a:cubicBezTo>
                  <a:pt x="8448391" y="3842039"/>
                  <a:pt x="8450604" y="3838195"/>
                  <a:pt x="8456412" y="3834958"/>
                </a:cubicBezTo>
                <a:lnTo>
                  <a:pt x="8450656" y="3840867"/>
                </a:lnTo>
                <a:lnTo>
                  <a:pt x="8489085" y="3828006"/>
                </a:lnTo>
                <a:cubicBezTo>
                  <a:pt x="8502915" y="3822139"/>
                  <a:pt x="8517228" y="3816879"/>
                  <a:pt x="8541706" y="3815008"/>
                </a:cubicBezTo>
                <a:cubicBezTo>
                  <a:pt x="8525111" y="3826842"/>
                  <a:pt x="8497728" y="3830686"/>
                  <a:pt x="8483346" y="3842723"/>
                </a:cubicBezTo>
                <a:cubicBezTo>
                  <a:pt x="8510451" y="3838880"/>
                  <a:pt x="8539493" y="3826236"/>
                  <a:pt x="8564387" y="3810759"/>
                </a:cubicBezTo>
                <a:cubicBezTo>
                  <a:pt x="8597301" y="3802970"/>
                  <a:pt x="8628002" y="3792754"/>
                  <a:pt x="8650959" y="3774850"/>
                </a:cubicBezTo>
                <a:cubicBezTo>
                  <a:pt x="8669767" y="3776873"/>
                  <a:pt x="8687192" y="3762914"/>
                  <a:pt x="8696320" y="3752597"/>
                </a:cubicBezTo>
                <a:cubicBezTo>
                  <a:pt x="8716511" y="3747944"/>
                  <a:pt x="8749702" y="3726600"/>
                  <a:pt x="8772106" y="3710922"/>
                </a:cubicBezTo>
                <a:cubicBezTo>
                  <a:pt x="8802531" y="3702830"/>
                  <a:pt x="8821339" y="3682195"/>
                  <a:pt x="8847891" y="3669247"/>
                </a:cubicBezTo>
                <a:cubicBezTo>
                  <a:pt x="8844710" y="3667174"/>
                  <a:pt x="8842048" y="3667009"/>
                  <a:pt x="8839680" y="3667804"/>
                </a:cubicBezTo>
                <a:close/>
                <a:moveTo>
                  <a:pt x="7925419" y="3667346"/>
                </a:moveTo>
                <a:lnTo>
                  <a:pt x="7913596" y="3669833"/>
                </a:lnTo>
                <a:lnTo>
                  <a:pt x="7839893" y="3744224"/>
                </a:lnTo>
                <a:cubicBezTo>
                  <a:pt x="7853722" y="3725916"/>
                  <a:pt x="7865408" y="3708644"/>
                  <a:pt x="7877682" y="3691246"/>
                </a:cubicBezTo>
                <a:lnTo>
                  <a:pt x="7884175" y="3682801"/>
                </a:lnTo>
                <a:lnTo>
                  <a:pt x="7871020" y="3684955"/>
                </a:lnTo>
                <a:lnTo>
                  <a:pt x="7851787" y="3699313"/>
                </a:lnTo>
                <a:cubicBezTo>
                  <a:pt x="7846116" y="3700577"/>
                  <a:pt x="7846600" y="3698706"/>
                  <a:pt x="7847707" y="3696113"/>
                </a:cubicBezTo>
                <a:lnTo>
                  <a:pt x="7847410" y="3689660"/>
                </a:lnTo>
                <a:lnTo>
                  <a:pt x="7845051" y="3690339"/>
                </a:lnTo>
                <a:lnTo>
                  <a:pt x="7806910" y="3719215"/>
                </a:lnTo>
                <a:cubicBezTo>
                  <a:pt x="7795293" y="3730569"/>
                  <a:pt x="7784852" y="3743415"/>
                  <a:pt x="7773512" y="3758790"/>
                </a:cubicBezTo>
                <a:cubicBezTo>
                  <a:pt x="7775448" y="3763140"/>
                  <a:pt x="7781809" y="3754643"/>
                  <a:pt x="7786511" y="3753631"/>
                </a:cubicBezTo>
                <a:cubicBezTo>
                  <a:pt x="7788447" y="3764961"/>
                  <a:pt x="7780980" y="3771232"/>
                  <a:pt x="7769363" y="3766781"/>
                </a:cubicBezTo>
                <a:cubicBezTo>
                  <a:pt x="7768533" y="3764657"/>
                  <a:pt x="7772958" y="3763646"/>
                  <a:pt x="7772129" y="3761521"/>
                </a:cubicBezTo>
                <a:cubicBezTo>
                  <a:pt x="7756640" y="3760206"/>
                  <a:pt x="7740321" y="3787315"/>
                  <a:pt x="7730640" y="3794194"/>
                </a:cubicBezTo>
                <a:cubicBezTo>
                  <a:pt x="7738661" y="3801780"/>
                  <a:pt x="7740044" y="3799049"/>
                  <a:pt x="7744746" y="3798037"/>
                </a:cubicBezTo>
                <a:lnTo>
                  <a:pt x="7739867" y="3803541"/>
                </a:lnTo>
                <a:lnTo>
                  <a:pt x="7770538" y="3802908"/>
                </a:lnTo>
                <a:lnTo>
                  <a:pt x="7789648" y="3802823"/>
                </a:lnTo>
                <a:lnTo>
                  <a:pt x="7800617" y="3795104"/>
                </a:lnTo>
                <a:lnTo>
                  <a:pt x="7793772" y="3802805"/>
                </a:lnTo>
                <a:lnTo>
                  <a:pt x="7803059" y="3802764"/>
                </a:lnTo>
                <a:lnTo>
                  <a:pt x="7803841" y="3802881"/>
                </a:lnTo>
                <a:lnTo>
                  <a:pt x="7818596" y="3784179"/>
                </a:lnTo>
                <a:cubicBezTo>
                  <a:pt x="7843765" y="3766882"/>
                  <a:pt x="7866169" y="3747866"/>
                  <a:pt x="7876680" y="3724398"/>
                </a:cubicBezTo>
                <a:cubicBezTo>
                  <a:pt x="7894935" y="3720352"/>
                  <a:pt x="7902679" y="3702246"/>
                  <a:pt x="7905168" y="3689905"/>
                </a:cubicBezTo>
                <a:close/>
                <a:moveTo>
                  <a:pt x="4699277" y="3661356"/>
                </a:moveTo>
                <a:lnTo>
                  <a:pt x="4694773" y="3663954"/>
                </a:lnTo>
                <a:lnTo>
                  <a:pt x="4700873" y="3666944"/>
                </a:lnTo>
                <a:close/>
                <a:moveTo>
                  <a:pt x="9519452" y="3656198"/>
                </a:moveTo>
                <a:cubicBezTo>
                  <a:pt x="9521111" y="3655389"/>
                  <a:pt x="9525537" y="3659031"/>
                  <a:pt x="9530239" y="3656299"/>
                </a:cubicBezTo>
                <a:cubicBezTo>
                  <a:pt x="9528579" y="3658828"/>
                  <a:pt x="9526367" y="3659435"/>
                  <a:pt x="9528026" y="3663582"/>
                </a:cubicBezTo>
                <a:cubicBezTo>
                  <a:pt x="9524707" y="3661964"/>
                  <a:pt x="9520005" y="3663077"/>
                  <a:pt x="9518346" y="3658929"/>
                </a:cubicBezTo>
                <a:cubicBezTo>
                  <a:pt x="9518346" y="3657210"/>
                  <a:pt x="9518622" y="3656502"/>
                  <a:pt x="9519452" y="3656198"/>
                </a:cubicBezTo>
                <a:close/>
                <a:moveTo>
                  <a:pt x="4566927" y="3640117"/>
                </a:moveTo>
                <a:lnTo>
                  <a:pt x="4542588" y="3658021"/>
                </a:lnTo>
                <a:cubicBezTo>
                  <a:pt x="4541758" y="3662472"/>
                  <a:pt x="4544247" y="3662775"/>
                  <a:pt x="4545631" y="3667428"/>
                </a:cubicBezTo>
                <a:cubicBezTo>
                  <a:pt x="4538438" y="3655290"/>
                  <a:pt x="4515205" y="3675419"/>
                  <a:pt x="4524609" y="3676431"/>
                </a:cubicBezTo>
                <a:cubicBezTo>
                  <a:pt x="4504418" y="3686749"/>
                  <a:pt x="4479940" y="3700556"/>
                  <a:pt x="4456845" y="3715071"/>
                </a:cubicBezTo>
                <a:lnTo>
                  <a:pt x="4451413" y="3718988"/>
                </a:lnTo>
                <a:lnTo>
                  <a:pt x="4453326" y="3719644"/>
                </a:lnTo>
                <a:lnTo>
                  <a:pt x="4449582" y="3720309"/>
                </a:lnTo>
                <a:lnTo>
                  <a:pt x="4397378" y="3757959"/>
                </a:lnTo>
                <a:cubicBezTo>
                  <a:pt x="4397101" y="3760185"/>
                  <a:pt x="4389357" y="3761702"/>
                  <a:pt x="4389911" y="3759477"/>
                </a:cubicBezTo>
                <a:cubicBezTo>
                  <a:pt x="4382442" y="3760893"/>
                  <a:pt x="4389080" y="3763927"/>
                  <a:pt x="4385761" y="3768075"/>
                </a:cubicBezTo>
                <a:cubicBezTo>
                  <a:pt x="4373591" y="3768985"/>
                  <a:pt x="4355612" y="3773840"/>
                  <a:pt x="4353400" y="3784967"/>
                </a:cubicBezTo>
                <a:cubicBezTo>
                  <a:pt x="4322975" y="3792958"/>
                  <a:pt x="4280933" y="3822495"/>
                  <a:pt x="4252721" y="3830789"/>
                </a:cubicBezTo>
                <a:cubicBezTo>
                  <a:pt x="4249403" y="3834936"/>
                  <a:pt x="4246359" y="3839084"/>
                  <a:pt x="4243317" y="3841107"/>
                </a:cubicBezTo>
                <a:cubicBezTo>
                  <a:pt x="4235849" y="3842523"/>
                  <a:pt x="4231147" y="3842017"/>
                  <a:pt x="4224233" y="3841208"/>
                </a:cubicBezTo>
                <a:cubicBezTo>
                  <a:pt x="4218147" y="3847378"/>
                  <a:pt x="4209296" y="3855571"/>
                  <a:pt x="4192424" y="3855875"/>
                </a:cubicBezTo>
                <a:cubicBezTo>
                  <a:pt x="4191318" y="3848997"/>
                  <a:pt x="4194084" y="3847075"/>
                  <a:pt x="4185233" y="3843737"/>
                </a:cubicBezTo>
                <a:cubicBezTo>
                  <a:pt x="4176660" y="3849705"/>
                  <a:pt x="4187999" y="3853144"/>
                  <a:pt x="4186616" y="3859820"/>
                </a:cubicBezTo>
                <a:cubicBezTo>
                  <a:pt x="4177765" y="3867912"/>
                  <a:pt x="4170297" y="3858100"/>
                  <a:pt x="4163106" y="3857291"/>
                </a:cubicBezTo>
                <a:cubicBezTo>
                  <a:pt x="4169467" y="3873880"/>
                  <a:pt x="4155085" y="3885917"/>
                  <a:pt x="4132681" y="3876611"/>
                </a:cubicBezTo>
                <a:cubicBezTo>
                  <a:pt x="4123000" y="3877825"/>
                  <a:pt x="4125490" y="3889559"/>
                  <a:pt x="4116086" y="3888446"/>
                </a:cubicBezTo>
                <a:cubicBezTo>
                  <a:pt x="4115532" y="3890671"/>
                  <a:pt x="4114703" y="3895122"/>
                  <a:pt x="4119405" y="3895628"/>
                </a:cubicBezTo>
                <a:cubicBezTo>
                  <a:pt x="4113873" y="3899573"/>
                  <a:pt x="4104745" y="3896336"/>
                  <a:pt x="4105299" y="3905440"/>
                </a:cubicBezTo>
                <a:cubicBezTo>
                  <a:pt x="4101842" y="3905086"/>
                  <a:pt x="4094720" y="3904884"/>
                  <a:pt x="4088462" y="3906186"/>
                </a:cubicBezTo>
                <a:lnTo>
                  <a:pt x="4077678" y="3915231"/>
                </a:lnTo>
                <a:lnTo>
                  <a:pt x="4085803" y="3915965"/>
                </a:lnTo>
                <a:cubicBezTo>
                  <a:pt x="4092489" y="3917517"/>
                  <a:pt x="4099135" y="3919838"/>
                  <a:pt x="4105549" y="3922379"/>
                </a:cubicBezTo>
                <a:lnTo>
                  <a:pt x="4133553" y="3933482"/>
                </a:lnTo>
                <a:lnTo>
                  <a:pt x="4143745" y="3930121"/>
                </a:lnTo>
                <a:lnTo>
                  <a:pt x="4141261" y="3935330"/>
                </a:lnTo>
                <a:lnTo>
                  <a:pt x="4152983" y="3931066"/>
                </a:lnTo>
                <a:cubicBezTo>
                  <a:pt x="4154971" y="3930238"/>
                  <a:pt x="4156795" y="3929754"/>
                  <a:pt x="4158381" y="3930147"/>
                </a:cubicBezTo>
                <a:lnTo>
                  <a:pt x="4160733" y="3932720"/>
                </a:lnTo>
                <a:lnTo>
                  <a:pt x="4165319" y="3930222"/>
                </a:lnTo>
                <a:cubicBezTo>
                  <a:pt x="4163936" y="3925569"/>
                  <a:pt x="4152872" y="3933459"/>
                  <a:pt x="4154532" y="3924557"/>
                </a:cubicBezTo>
                <a:cubicBezTo>
                  <a:pt x="4169467" y="3921624"/>
                  <a:pt x="4171404" y="3912723"/>
                  <a:pt x="4185786" y="3912116"/>
                </a:cubicBezTo>
                <a:cubicBezTo>
                  <a:pt x="4184680" y="3918792"/>
                  <a:pt x="4178871" y="3922636"/>
                  <a:pt x="4170021" y="3919399"/>
                </a:cubicBezTo>
                <a:cubicBezTo>
                  <a:pt x="4171957" y="3921826"/>
                  <a:pt x="4176660" y="3922433"/>
                  <a:pt x="4175829" y="3926884"/>
                </a:cubicBezTo>
                <a:cubicBezTo>
                  <a:pt x="4188829" y="3921523"/>
                  <a:pt x="4196850" y="3917780"/>
                  <a:pt x="4194637" y="3903922"/>
                </a:cubicBezTo>
                <a:cubicBezTo>
                  <a:pt x="4202383" y="3902506"/>
                  <a:pt x="4198233" y="3911104"/>
                  <a:pt x="4199892" y="3913633"/>
                </a:cubicBezTo>
                <a:cubicBezTo>
                  <a:pt x="4224508" y="3904985"/>
                  <a:pt x="4243593" y="3891152"/>
                  <a:pt x="4263647" y="3876864"/>
                </a:cubicBezTo>
                <a:lnTo>
                  <a:pt x="4309628" y="3850754"/>
                </a:lnTo>
                <a:lnTo>
                  <a:pt x="4296741" y="3847906"/>
                </a:lnTo>
                <a:cubicBezTo>
                  <a:pt x="4290000" y="3844846"/>
                  <a:pt x="4284190" y="3840876"/>
                  <a:pt x="4281286" y="3837790"/>
                </a:cubicBezTo>
                <a:cubicBezTo>
                  <a:pt x="4277414" y="3835666"/>
                  <a:pt x="4271607" y="3835261"/>
                  <a:pt x="4269671" y="3834250"/>
                </a:cubicBezTo>
                <a:cubicBezTo>
                  <a:pt x="4270776" y="3833340"/>
                  <a:pt x="4272160" y="3833441"/>
                  <a:pt x="4273818" y="3833643"/>
                </a:cubicBezTo>
                <a:cubicBezTo>
                  <a:pt x="4275479" y="3833845"/>
                  <a:pt x="4277414" y="3834149"/>
                  <a:pt x="4279350" y="3833845"/>
                </a:cubicBezTo>
                <a:cubicBezTo>
                  <a:pt x="4287924" y="3837234"/>
                  <a:pt x="4293664" y="3839030"/>
                  <a:pt x="4298919" y="3840926"/>
                </a:cubicBezTo>
                <a:lnTo>
                  <a:pt x="4314377" y="3848058"/>
                </a:lnTo>
                <a:lnTo>
                  <a:pt x="4333209" y="3837364"/>
                </a:lnTo>
                <a:cubicBezTo>
                  <a:pt x="4337634" y="3840095"/>
                  <a:pt x="4341784" y="3842927"/>
                  <a:pt x="4348974" y="3843636"/>
                </a:cubicBezTo>
                <a:lnTo>
                  <a:pt x="4357758" y="3834546"/>
                </a:lnTo>
                <a:lnTo>
                  <a:pt x="4350434" y="3834174"/>
                </a:lnTo>
                <a:cubicBezTo>
                  <a:pt x="4347668" y="3834098"/>
                  <a:pt x="4345317" y="3834503"/>
                  <a:pt x="4345455" y="3836678"/>
                </a:cubicBezTo>
                <a:cubicBezTo>
                  <a:pt x="4334115" y="3833036"/>
                  <a:pt x="4324434" y="3827675"/>
                  <a:pt x="4311158" y="3823022"/>
                </a:cubicBezTo>
                <a:cubicBezTo>
                  <a:pt x="4312817" y="3815537"/>
                  <a:pt x="4314754" y="3816548"/>
                  <a:pt x="4320287" y="3814121"/>
                </a:cubicBezTo>
                <a:cubicBezTo>
                  <a:pt x="4316966" y="3829091"/>
                  <a:pt x="4347116" y="3829192"/>
                  <a:pt x="4358178" y="3821302"/>
                </a:cubicBezTo>
                <a:cubicBezTo>
                  <a:pt x="4363710" y="3821606"/>
                  <a:pt x="4345455" y="3836576"/>
                  <a:pt x="4358455" y="3832631"/>
                </a:cubicBezTo>
                <a:lnTo>
                  <a:pt x="4357966" y="3834331"/>
                </a:lnTo>
                <a:lnTo>
                  <a:pt x="4361144" y="3831042"/>
                </a:lnTo>
                <a:cubicBezTo>
                  <a:pt x="4365500" y="3827249"/>
                  <a:pt x="4368750" y="3823051"/>
                  <a:pt x="4366676" y="3816021"/>
                </a:cubicBezTo>
                <a:cubicBezTo>
                  <a:pt x="4397378" y="3805805"/>
                  <a:pt x="4417846" y="3787597"/>
                  <a:pt x="4438313" y="3769390"/>
                </a:cubicBezTo>
                <a:lnTo>
                  <a:pt x="4496074" y="3739329"/>
                </a:lnTo>
                <a:lnTo>
                  <a:pt x="4464389" y="3728950"/>
                </a:lnTo>
                <a:cubicBezTo>
                  <a:pt x="4467155" y="3728040"/>
                  <a:pt x="4469921" y="3727635"/>
                  <a:pt x="4472686" y="3727433"/>
                </a:cubicBezTo>
                <a:cubicBezTo>
                  <a:pt x="4475176" y="3727231"/>
                  <a:pt x="4477942" y="3727332"/>
                  <a:pt x="4480431" y="3727736"/>
                </a:cubicBezTo>
                <a:lnTo>
                  <a:pt x="4502565" y="3735109"/>
                </a:lnTo>
                <a:lnTo>
                  <a:pt x="4549779" y="3703198"/>
                </a:lnTo>
                <a:lnTo>
                  <a:pt x="4591248" y="3673210"/>
                </a:lnTo>
                <a:lnTo>
                  <a:pt x="4556770" y="3664820"/>
                </a:lnTo>
                <a:cubicBezTo>
                  <a:pt x="4570323" y="3664694"/>
                  <a:pt x="4582995" y="3666363"/>
                  <a:pt x="4595226" y="3668883"/>
                </a:cubicBezTo>
                <a:lnTo>
                  <a:pt x="4596706" y="3669263"/>
                </a:lnTo>
                <a:lnTo>
                  <a:pt x="4614019" y="3656742"/>
                </a:lnTo>
                <a:lnTo>
                  <a:pt x="4611016" y="3654831"/>
                </a:lnTo>
                <a:cubicBezTo>
                  <a:pt x="4604205" y="3652049"/>
                  <a:pt x="4596737" y="3650659"/>
                  <a:pt x="4592173" y="3653693"/>
                </a:cubicBezTo>
                <a:cubicBezTo>
                  <a:pt x="4589269" y="3650659"/>
                  <a:pt x="4587333" y="3648863"/>
                  <a:pt x="4584705" y="3647017"/>
                </a:cubicBezTo>
                <a:lnTo>
                  <a:pt x="4574448" y="3640854"/>
                </a:lnTo>
                <a:lnTo>
                  <a:pt x="4573013" y="3640724"/>
                </a:lnTo>
                <a:close/>
                <a:moveTo>
                  <a:pt x="4590710" y="3622808"/>
                </a:moveTo>
                <a:lnTo>
                  <a:pt x="4587948" y="3624843"/>
                </a:lnTo>
                <a:lnTo>
                  <a:pt x="4590161" y="3624034"/>
                </a:lnTo>
                <a:lnTo>
                  <a:pt x="4590413" y="3623989"/>
                </a:lnTo>
                <a:close/>
                <a:moveTo>
                  <a:pt x="4645693" y="3620058"/>
                </a:moveTo>
                <a:lnTo>
                  <a:pt x="4631332" y="3624703"/>
                </a:lnTo>
                <a:lnTo>
                  <a:pt x="4631829" y="3625257"/>
                </a:lnTo>
                <a:cubicBezTo>
                  <a:pt x="4634906" y="3626281"/>
                  <a:pt x="4638225" y="3627444"/>
                  <a:pt x="4638364" y="3631743"/>
                </a:cubicBezTo>
                <a:cubicBezTo>
                  <a:pt x="4634768" y="3635283"/>
                  <a:pt x="4632832" y="3639936"/>
                  <a:pt x="4629236" y="3640644"/>
                </a:cubicBezTo>
                <a:lnTo>
                  <a:pt x="4610835" y="3633181"/>
                </a:lnTo>
                <a:lnTo>
                  <a:pt x="4595969" y="3640420"/>
                </a:lnTo>
                <a:cubicBezTo>
                  <a:pt x="4592927" y="3638802"/>
                  <a:pt x="4587395" y="3637588"/>
                  <a:pt x="4581864" y="3636475"/>
                </a:cubicBezTo>
                <a:cubicBezTo>
                  <a:pt x="4581864" y="3639409"/>
                  <a:pt x="4580895" y="3640800"/>
                  <a:pt x="4579305" y="3641293"/>
                </a:cubicBezTo>
                <a:lnTo>
                  <a:pt x="4578364" y="3641208"/>
                </a:lnTo>
                <a:lnTo>
                  <a:pt x="4622085" y="3650911"/>
                </a:lnTo>
                <a:lnTo>
                  <a:pt x="4651064" y="3629954"/>
                </a:lnTo>
                <a:lnTo>
                  <a:pt x="4650292" y="3621463"/>
                </a:lnTo>
                <a:close/>
                <a:moveTo>
                  <a:pt x="4762000" y="3619503"/>
                </a:moveTo>
                <a:lnTo>
                  <a:pt x="4751010" y="3620087"/>
                </a:lnTo>
                <a:lnTo>
                  <a:pt x="4745298" y="3625124"/>
                </a:lnTo>
                <a:lnTo>
                  <a:pt x="4787170" y="3628000"/>
                </a:lnTo>
                <a:lnTo>
                  <a:pt x="4771957" y="3622841"/>
                </a:lnTo>
                <a:lnTo>
                  <a:pt x="4769191" y="3623448"/>
                </a:lnTo>
                <a:lnTo>
                  <a:pt x="4765319" y="3620616"/>
                </a:lnTo>
                <a:close/>
                <a:moveTo>
                  <a:pt x="3490162" y="3598543"/>
                </a:moveTo>
                <a:cubicBezTo>
                  <a:pt x="3502332" y="3597633"/>
                  <a:pt x="3506205" y="3602589"/>
                  <a:pt x="3515332" y="3605826"/>
                </a:cubicBezTo>
                <a:cubicBezTo>
                  <a:pt x="3503992" y="3613716"/>
                  <a:pt x="3469695" y="3616852"/>
                  <a:pt x="3449504" y="3621505"/>
                </a:cubicBezTo>
                <a:cubicBezTo>
                  <a:pt x="3451440" y="3612502"/>
                  <a:pt x="3461674" y="3609063"/>
                  <a:pt x="3467759" y="3614323"/>
                </a:cubicBezTo>
                <a:cubicBezTo>
                  <a:pt x="3473844" y="3608153"/>
                  <a:pt x="3482418" y="3602286"/>
                  <a:pt x="3490162" y="3598543"/>
                </a:cubicBezTo>
                <a:close/>
                <a:moveTo>
                  <a:pt x="1835601" y="3597532"/>
                </a:moveTo>
                <a:cubicBezTo>
                  <a:pt x="1839473" y="3597228"/>
                  <a:pt x="1843622" y="3597532"/>
                  <a:pt x="1848601" y="3598948"/>
                </a:cubicBezTo>
                <a:cubicBezTo>
                  <a:pt x="1840856" y="3597329"/>
                  <a:pt x="1828133" y="3603803"/>
                  <a:pt x="1825920" y="3599858"/>
                </a:cubicBezTo>
                <a:cubicBezTo>
                  <a:pt x="1828686" y="3598644"/>
                  <a:pt x="1832005" y="3597734"/>
                  <a:pt x="1835601" y="3597532"/>
                </a:cubicBezTo>
                <a:close/>
                <a:moveTo>
                  <a:pt x="7936976" y="3596036"/>
                </a:moveTo>
                <a:cubicBezTo>
                  <a:pt x="7928471" y="3597933"/>
                  <a:pt x="7922559" y="3602472"/>
                  <a:pt x="7917749" y="3608339"/>
                </a:cubicBezTo>
                <a:lnTo>
                  <a:pt x="7913560" y="3615069"/>
                </a:lnTo>
                <a:lnTo>
                  <a:pt x="7921038" y="3612602"/>
                </a:lnTo>
                <a:lnTo>
                  <a:pt x="7932957" y="3612273"/>
                </a:lnTo>
                <a:lnTo>
                  <a:pt x="7940572" y="3604634"/>
                </a:lnTo>
                <a:cubicBezTo>
                  <a:pt x="7938912" y="3600284"/>
                  <a:pt x="7934764" y="3596542"/>
                  <a:pt x="7936976" y="3596036"/>
                </a:cubicBezTo>
                <a:close/>
                <a:moveTo>
                  <a:pt x="3565948" y="3593890"/>
                </a:moveTo>
                <a:cubicBezTo>
                  <a:pt x="3558480" y="3606635"/>
                  <a:pt x="3543268" y="3609569"/>
                  <a:pt x="3528885" y="3607950"/>
                </a:cubicBezTo>
                <a:cubicBezTo>
                  <a:pt x="3537736" y="3599858"/>
                  <a:pt x="3551565" y="3592272"/>
                  <a:pt x="3565948" y="3593890"/>
                </a:cubicBezTo>
                <a:close/>
                <a:moveTo>
                  <a:pt x="3409675" y="3592069"/>
                </a:moveTo>
                <a:cubicBezTo>
                  <a:pt x="3417143" y="3590653"/>
                  <a:pt x="3419079" y="3593081"/>
                  <a:pt x="3425993" y="3593890"/>
                </a:cubicBezTo>
                <a:cubicBezTo>
                  <a:pt x="3422951" y="3598037"/>
                  <a:pt x="3422121" y="3602387"/>
                  <a:pt x="3421291" y="3606838"/>
                </a:cubicBezTo>
                <a:cubicBezTo>
                  <a:pt x="3418802" y="3606534"/>
                  <a:pt x="3416589" y="3606332"/>
                  <a:pt x="3414100" y="3606029"/>
                </a:cubicBezTo>
                <a:cubicBezTo>
                  <a:pt x="3415483" y="3599454"/>
                  <a:pt x="3411334" y="3596722"/>
                  <a:pt x="3409675" y="3592069"/>
                </a:cubicBezTo>
                <a:close/>
                <a:moveTo>
                  <a:pt x="1814304" y="3591159"/>
                </a:moveTo>
                <a:cubicBezTo>
                  <a:pt x="1814857" y="3591058"/>
                  <a:pt x="1815133" y="3591361"/>
                  <a:pt x="1815410" y="3591766"/>
                </a:cubicBezTo>
                <a:cubicBezTo>
                  <a:pt x="1815963" y="3592474"/>
                  <a:pt x="1817070" y="3593688"/>
                  <a:pt x="1819836" y="3593890"/>
                </a:cubicBezTo>
                <a:cubicBezTo>
                  <a:pt x="1818176" y="3595711"/>
                  <a:pt x="1816240" y="3597633"/>
                  <a:pt x="1814304" y="3599454"/>
                </a:cubicBezTo>
                <a:cubicBezTo>
                  <a:pt x="1810431" y="3597329"/>
                  <a:pt x="1802964" y="3598847"/>
                  <a:pt x="1808495" y="3593283"/>
                </a:cubicBezTo>
                <a:cubicBezTo>
                  <a:pt x="1810431" y="3594396"/>
                  <a:pt x="1810431" y="3594396"/>
                  <a:pt x="1812367" y="3595408"/>
                </a:cubicBezTo>
                <a:cubicBezTo>
                  <a:pt x="1814304" y="3593587"/>
                  <a:pt x="1814304" y="3593587"/>
                  <a:pt x="1812367" y="3592575"/>
                </a:cubicBezTo>
                <a:cubicBezTo>
                  <a:pt x="1813197" y="3591564"/>
                  <a:pt x="1813751" y="3591260"/>
                  <a:pt x="1814304" y="3591159"/>
                </a:cubicBezTo>
                <a:close/>
                <a:moveTo>
                  <a:pt x="4646005" y="3590194"/>
                </a:moveTo>
                <a:cubicBezTo>
                  <a:pt x="4642582" y="3590321"/>
                  <a:pt x="4638918" y="3591130"/>
                  <a:pt x="4634768" y="3593305"/>
                </a:cubicBezTo>
                <a:lnTo>
                  <a:pt x="4633904" y="3592746"/>
                </a:lnTo>
                <a:lnTo>
                  <a:pt x="4619253" y="3602581"/>
                </a:lnTo>
                <a:lnTo>
                  <a:pt x="4635450" y="3607992"/>
                </a:lnTo>
                <a:lnTo>
                  <a:pt x="4642703" y="3605998"/>
                </a:lnTo>
                <a:lnTo>
                  <a:pt x="4645279" y="3604533"/>
                </a:lnTo>
                <a:lnTo>
                  <a:pt x="4646815" y="3604868"/>
                </a:lnTo>
                <a:lnTo>
                  <a:pt x="4670925" y="3598240"/>
                </a:lnTo>
                <a:lnTo>
                  <a:pt x="4680696" y="3593552"/>
                </a:lnTo>
                <a:lnTo>
                  <a:pt x="4677087" y="3590675"/>
                </a:lnTo>
                <a:cubicBezTo>
                  <a:pt x="4671002" y="3591383"/>
                  <a:pt x="4674597" y="3594620"/>
                  <a:pt x="4668236" y="3593406"/>
                </a:cubicBezTo>
                <a:cubicBezTo>
                  <a:pt x="4659385" y="3594418"/>
                  <a:pt x="4672661" y="3600183"/>
                  <a:pt x="4660492" y="3599678"/>
                </a:cubicBezTo>
                <a:cubicBezTo>
                  <a:pt x="4656342" y="3594721"/>
                  <a:pt x="4654130" y="3598565"/>
                  <a:pt x="4655789" y="3591181"/>
                </a:cubicBezTo>
                <a:cubicBezTo>
                  <a:pt x="4652608" y="3590625"/>
                  <a:pt x="4649428" y="3590068"/>
                  <a:pt x="4646005" y="3590194"/>
                </a:cubicBezTo>
                <a:close/>
                <a:moveTo>
                  <a:pt x="8309057" y="3586444"/>
                </a:moveTo>
                <a:lnTo>
                  <a:pt x="8299690" y="3592776"/>
                </a:lnTo>
                <a:cubicBezTo>
                  <a:pt x="8284062" y="3598997"/>
                  <a:pt x="8267536" y="3603397"/>
                  <a:pt x="8249627" y="3607089"/>
                </a:cubicBezTo>
                <a:lnTo>
                  <a:pt x="8247169" y="3607513"/>
                </a:lnTo>
                <a:lnTo>
                  <a:pt x="8225321" y="3638647"/>
                </a:lnTo>
                <a:lnTo>
                  <a:pt x="8224857" y="3639552"/>
                </a:lnTo>
                <a:lnTo>
                  <a:pt x="8288444" y="3620281"/>
                </a:lnTo>
                <a:lnTo>
                  <a:pt x="8302836" y="3598679"/>
                </a:lnTo>
                <a:close/>
                <a:moveTo>
                  <a:pt x="9803786" y="3583976"/>
                </a:moveTo>
                <a:cubicBezTo>
                  <a:pt x="9805723" y="3585999"/>
                  <a:pt x="9806552" y="3587718"/>
                  <a:pt x="9806829" y="3589438"/>
                </a:cubicBezTo>
                <a:cubicBezTo>
                  <a:pt x="9807106" y="3591157"/>
                  <a:pt x="9807382" y="3592877"/>
                  <a:pt x="9808212" y="3595102"/>
                </a:cubicBezTo>
                <a:cubicBezTo>
                  <a:pt x="9804340" y="3591157"/>
                  <a:pt x="9797978" y="3599755"/>
                  <a:pt x="9794382" y="3590854"/>
                </a:cubicBezTo>
                <a:cubicBezTo>
                  <a:pt x="9802957" y="3593888"/>
                  <a:pt x="9797978" y="3587718"/>
                  <a:pt x="9803786" y="3583976"/>
                </a:cubicBezTo>
                <a:close/>
                <a:moveTo>
                  <a:pt x="1729667" y="3579830"/>
                </a:moveTo>
                <a:cubicBezTo>
                  <a:pt x="1735476" y="3582966"/>
                  <a:pt x="1741007" y="3583370"/>
                  <a:pt x="1744879" y="3585495"/>
                </a:cubicBezTo>
                <a:cubicBezTo>
                  <a:pt x="1745156" y="3591260"/>
                  <a:pt x="1737412" y="3587012"/>
                  <a:pt x="1733816" y="3587619"/>
                </a:cubicBezTo>
                <a:cubicBezTo>
                  <a:pt x="1732156" y="3595104"/>
                  <a:pt x="1754560" y="3593688"/>
                  <a:pt x="1756496" y="3600465"/>
                </a:cubicBezTo>
                <a:cubicBezTo>
                  <a:pt x="1763411" y="3579122"/>
                  <a:pt x="1775581" y="3608355"/>
                  <a:pt x="1792177" y="3598037"/>
                </a:cubicBezTo>
                <a:cubicBezTo>
                  <a:pt x="1788581" y="3604511"/>
                  <a:pt x="1784708" y="3602286"/>
                  <a:pt x="1786645" y="3606231"/>
                </a:cubicBezTo>
                <a:cubicBezTo>
                  <a:pt x="1792177" y="3603702"/>
                  <a:pt x="1801857" y="3611997"/>
                  <a:pt x="1805453" y="3605523"/>
                </a:cubicBezTo>
                <a:cubicBezTo>
                  <a:pt x="1807389" y="3606635"/>
                  <a:pt x="1803517" y="3610176"/>
                  <a:pt x="1803793" y="3613008"/>
                </a:cubicBezTo>
                <a:cubicBezTo>
                  <a:pt x="1811261" y="3614424"/>
                  <a:pt x="1814857" y="3608052"/>
                  <a:pt x="1820389" y="3605523"/>
                </a:cubicBezTo>
                <a:cubicBezTo>
                  <a:pt x="1824261" y="3610580"/>
                  <a:pt x="1802134" y="3617661"/>
                  <a:pt x="1820942" y="3619785"/>
                </a:cubicBezTo>
                <a:cubicBezTo>
                  <a:pt x="1817070" y="3623427"/>
                  <a:pt x="1815133" y="3622314"/>
                  <a:pt x="1811538" y="3625854"/>
                </a:cubicBezTo>
                <a:cubicBezTo>
                  <a:pt x="1773645" y="3610176"/>
                  <a:pt x="1736029" y="3600162"/>
                  <a:pt x="1690668" y="3585798"/>
                </a:cubicBezTo>
                <a:cubicBezTo>
                  <a:pt x="1699795" y="3579830"/>
                  <a:pt x="1718880" y="3593283"/>
                  <a:pt x="1729667" y="3579830"/>
                </a:cubicBezTo>
                <a:close/>
                <a:moveTo>
                  <a:pt x="4797666" y="3576754"/>
                </a:moveTo>
                <a:lnTo>
                  <a:pt x="4797327" y="3576998"/>
                </a:lnTo>
                <a:lnTo>
                  <a:pt x="4797243" y="3577419"/>
                </a:lnTo>
                <a:lnTo>
                  <a:pt x="4797403" y="3577424"/>
                </a:lnTo>
                <a:close/>
                <a:moveTo>
                  <a:pt x="1662179" y="3570929"/>
                </a:moveTo>
                <a:cubicBezTo>
                  <a:pt x="1665222" y="3570423"/>
                  <a:pt x="1669094" y="3570524"/>
                  <a:pt x="1672413" y="3571333"/>
                </a:cubicBezTo>
                <a:cubicBezTo>
                  <a:pt x="1679051" y="3572952"/>
                  <a:pt x="1683753" y="3577099"/>
                  <a:pt x="1679328" y="3582966"/>
                </a:cubicBezTo>
                <a:cubicBezTo>
                  <a:pt x="1671583" y="3575885"/>
                  <a:pt x="1666051" y="3578313"/>
                  <a:pt x="1654711" y="3574772"/>
                </a:cubicBezTo>
                <a:cubicBezTo>
                  <a:pt x="1656094" y="3572648"/>
                  <a:pt x="1658860" y="3571536"/>
                  <a:pt x="1662179" y="3570929"/>
                </a:cubicBezTo>
                <a:close/>
                <a:moveTo>
                  <a:pt x="1726625" y="3567085"/>
                </a:moveTo>
                <a:cubicBezTo>
                  <a:pt x="1728837" y="3566883"/>
                  <a:pt x="1730774" y="3567085"/>
                  <a:pt x="1732986" y="3567591"/>
                </a:cubicBezTo>
                <a:cubicBezTo>
                  <a:pt x="1746262" y="3570119"/>
                  <a:pt x="1760092" y="3580538"/>
                  <a:pt x="1772815" y="3572749"/>
                </a:cubicBezTo>
                <a:cubicBezTo>
                  <a:pt x="1784155" y="3581954"/>
                  <a:pt x="1801027" y="3577301"/>
                  <a:pt x="1806836" y="3591968"/>
                </a:cubicBezTo>
                <a:cubicBezTo>
                  <a:pt x="1806006" y="3594295"/>
                  <a:pt x="1805176" y="3595205"/>
                  <a:pt x="1804346" y="3595104"/>
                </a:cubicBezTo>
                <a:cubicBezTo>
                  <a:pt x="1803793" y="3595104"/>
                  <a:pt x="1803240" y="3594093"/>
                  <a:pt x="1803240" y="3592575"/>
                </a:cubicBezTo>
                <a:cubicBezTo>
                  <a:pt x="1778623" y="3581651"/>
                  <a:pt x="1750411" y="3582865"/>
                  <a:pt x="1720263" y="3568602"/>
                </a:cubicBezTo>
                <a:cubicBezTo>
                  <a:pt x="1722199" y="3567692"/>
                  <a:pt x="1724412" y="3567186"/>
                  <a:pt x="1726625" y="3567085"/>
                </a:cubicBezTo>
                <a:close/>
                <a:moveTo>
                  <a:pt x="7995060" y="3566803"/>
                </a:moveTo>
                <a:cubicBezTo>
                  <a:pt x="7978741" y="3563364"/>
                  <a:pt x="7987316" y="3584909"/>
                  <a:pt x="7973210" y="3580964"/>
                </a:cubicBezTo>
                <a:lnTo>
                  <a:pt x="7960948" y="3599349"/>
                </a:lnTo>
                <a:lnTo>
                  <a:pt x="7968715" y="3597315"/>
                </a:lnTo>
                <a:lnTo>
                  <a:pt x="7976502" y="3596314"/>
                </a:lnTo>
                <a:close/>
                <a:moveTo>
                  <a:pt x="9828126" y="3564959"/>
                </a:moveTo>
                <a:cubicBezTo>
                  <a:pt x="9830339" y="3564757"/>
                  <a:pt x="9832552" y="3564959"/>
                  <a:pt x="9834211" y="3565768"/>
                </a:cubicBezTo>
                <a:cubicBezTo>
                  <a:pt x="9834488" y="3572646"/>
                  <a:pt x="9822041" y="3573152"/>
                  <a:pt x="9822318" y="3580031"/>
                </a:cubicBezTo>
                <a:cubicBezTo>
                  <a:pt x="9817616" y="3581042"/>
                  <a:pt x="9817339" y="3574164"/>
                  <a:pt x="9812637" y="3575175"/>
                </a:cubicBezTo>
                <a:cubicBezTo>
                  <a:pt x="9812361" y="3570016"/>
                  <a:pt x="9821212" y="3565566"/>
                  <a:pt x="9828126" y="3564959"/>
                </a:cubicBezTo>
                <a:close/>
                <a:moveTo>
                  <a:pt x="4826169" y="3555069"/>
                </a:moveTo>
                <a:lnTo>
                  <a:pt x="4824736" y="3555134"/>
                </a:lnTo>
                <a:lnTo>
                  <a:pt x="4820007" y="3560409"/>
                </a:lnTo>
                <a:lnTo>
                  <a:pt x="4820007" y="3560510"/>
                </a:lnTo>
                <a:lnTo>
                  <a:pt x="4821668" y="3564758"/>
                </a:lnTo>
                <a:lnTo>
                  <a:pt x="4810698" y="3568616"/>
                </a:lnTo>
                <a:lnTo>
                  <a:pt x="4812650" y="3568118"/>
                </a:lnTo>
                <a:cubicBezTo>
                  <a:pt x="4818009" y="3567612"/>
                  <a:pt x="4824094" y="3568219"/>
                  <a:pt x="4831700" y="3571051"/>
                </a:cubicBezTo>
                <a:cubicBezTo>
                  <a:pt x="4837232" y="3571456"/>
                  <a:pt x="4829764" y="3567208"/>
                  <a:pt x="4837232" y="3565791"/>
                </a:cubicBezTo>
                <a:cubicBezTo>
                  <a:pt x="4833360" y="3562150"/>
                  <a:pt x="4830594" y="3561341"/>
                  <a:pt x="4828935" y="3560026"/>
                </a:cubicBezTo>
                <a:lnTo>
                  <a:pt x="4828105" y="3555272"/>
                </a:lnTo>
                <a:close/>
                <a:moveTo>
                  <a:pt x="9470772" y="3542301"/>
                </a:moveTo>
                <a:cubicBezTo>
                  <a:pt x="9469113" y="3544425"/>
                  <a:pt x="9467453" y="3546549"/>
                  <a:pt x="9466623" y="3548977"/>
                </a:cubicBezTo>
                <a:lnTo>
                  <a:pt x="9473815" y="3543009"/>
                </a:lnTo>
                <a:close/>
                <a:moveTo>
                  <a:pt x="10481155" y="3534512"/>
                </a:moveTo>
                <a:cubicBezTo>
                  <a:pt x="10480602" y="3540075"/>
                  <a:pt x="10464837" y="3551404"/>
                  <a:pt x="10454326" y="3546650"/>
                </a:cubicBezTo>
                <a:cubicBezTo>
                  <a:pt x="10463730" y="3544121"/>
                  <a:pt x="10460135" y="3543515"/>
                  <a:pt x="10466219" y="3537547"/>
                </a:cubicBezTo>
                <a:cubicBezTo>
                  <a:pt x="10473134" y="3541593"/>
                  <a:pt x="10475347" y="3537749"/>
                  <a:pt x="10481155" y="3534512"/>
                </a:cubicBezTo>
                <a:close/>
                <a:moveTo>
                  <a:pt x="4727426" y="3532715"/>
                </a:moveTo>
                <a:lnTo>
                  <a:pt x="4733789" y="3541211"/>
                </a:lnTo>
                <a:lnTo>
                  <a:pt x="4703920" y="3538794"/>
                </a:lnTo>
                <a:lnTo>
                  <a:pt x="4684823" y="3548372"/>
                </a:lnTo>
                <a:lnTo>
                  <a:pt x="4683550" y="3550454"/>
                </a:lnTo>
                <a:lnTo>
                  <a:pt x="4684140" y="3550568"/>
                </a:lnTo>
                <a:lnTo>
                  <a:pt x="4731639" y="3557840"/>
                </a:lnTo>
                <a:lnTo>
                  <a:pt x="4745362" y="3547031"/>
                </a:lnTo>
                <a:lnTo>
                  <a:pt x="4753580" y="3539033"/>
                </a:lnTo>
                <a:lnTo>
                  <a:pt x="4753149" y="3538986"/>
                </a:lnTo>
                <a:lnTo>
                  <a:pt x="4750660" y="3537873"/>
                </a:lnTo>
                <a:lnTo>
                  <a:pt x="4741809" y="3535952"/>
                </a:lnTo>
                <a:close/>
                <a:moveTo>
                  <a:pt x="9487367" y="3531680"/>
                </a:moveTo>
                <a:lnTo>
                  <a:pt x="9478793" y="3535220"/>
                </a:lnTo>
                <a:lnTo>
                  <a:pt x="9481006" y="3536940"/>
                </a:lnTo>
                <a:close/>
                <a:moveTo>
                  <a:pt x="1531629" y="3522274"/>
                </a:moveTo>
                <a:cubicBezTo>
                  <a:pt x="1557905" y="3520150"/>
                  <a:pt x="1586670" y="3539066"/>
                  <a:pt x="1605478" y="3544022"/>
                </a:cubicBezTo>
                <a:cubicBezTo>
                  <a:pt x="1614882" y="3543719"/>
                  <a:pt x="1624010" y="3531884"/>
                  <a:pt x="1628158" y="3542606"/>
                </a:cubicBezTo>
                <a:cubicBezTo>
                  <a:pt x="1624286" y="3546146"/>
                  <a:pt x="1624286" y="3543314"/>
                  <a:pt x="1624286" y="3543314"/>
                </a:cubicBezTo>
                <a:cubicBezTo>
                  <a:pt x="1614882" y="3540886"/>
                  <a:pt x="1615159" y="3555149"/>
                  <a:pt x="1615435" y="3558082"/>
                </a:cubicBezTo>
                <a:cubicBezTo>
                  <a:pt x="1605478" y="3538358"/>
                  <a:pt x="1554586" y="3538054"/>
                  <a:pt x="1531629" y="3522274"/>
                </a:cubicBezTo>
                <a:close/>
                <a:moveTo>
                  <a:pt x="1565373" y="3516104"/>
                </a:moveTo>
                <a:cubicBezTo>
                  <a:pt x="1569245" y="3521061"/>
                  <a:pt x="1571181" y="3522072"/>
                  <a:pt x="1582245" y="3522780"/>
                </a:cubicBezTo>
                <a:cubicBezTo>
                  <a:pt x="1578649" y="3526320"/>
                  <a:pt x="1582521" y="3528546"/>
                  <a:pt x="1584181" y="3529557"/>
                </a:cubicBezTo>
                <a:cubicBezTo>
                  <a:pt x="1575053" y="3529962"/>
                  <a:pt x="1561777" y="3522477"/>
                  <a:pt x="1565373" y="3516104"/>
                </a:cubicBezTo>
                <a:close/>
                <a:moveTo>
                  <a:pt x="3524736" y="3511046"/>
                </a:moveTo>
                <a:cubicBezTo>
                  <a:pt x="3521970" y="3512260"/>
                  <a:pt x="3519204" y="3513575"/>
                  <a:pt x="3516992" y="3515497"/>
                </a:cubicBezTo>
                <a:lnTo>
                  <a:pt x="3512843" y="3522072"/>
                </a:lnTo>
                <a:lnTo>
                  <a:pt x="3520311" y="3518532"/>
                </a:lnTo>
                <a:lnTo>
                  <a:pt x="3527779" y="3513069"/>
                </a:lnTo>
                <a:close/>
                <a:moveTo>
                  <a:pt x="1805176" y="3506798"/>
                </a:moveTo>
                <a:cubicBezTo>
                  <a:pt x="1820112" y="3509529"/>
                  <a:pt x="1835324" y="3520858"/>
                  <a:pt x="1840856" y="3512564"/>
                </a:cubicBezTo>
                <a:cubicBezTo>
                  <a:pt x="1842792" y="3510743"/>
                  <a:pt x="1856069" y="3518228"/>
                  <a:pt x="1854133" y="3522982"/>
                </a:cubicBezTo>
                <a:cubicBezTo>
                  <a:pt x="1842792" y="3528141"/>
                  <a:pt x="1827857" y="3522477"/>
                  <a:pt x="1820389" y="3518228"/>
                </a:cubicBezTo>
                <a:cubicBezTo>
                  <a:pt x="1827857" y="3528242"/>
                  <a:pt x="1797708" y="3514081"/>
                  <a:pt x="1805176" y="3506798"/>
                </a:cubicBezTo>
                <a:close/>
                <a:moveTo>
                  <a:pt x="1528310" y="3502651"/>
                </a:moveTo>
                <a:cubicBezTo>
                  <a:pt x="1530522" y="3502550"/>
                  <a:pt x="1533012" y="3503258"/>
                  <a:pt x="1534948" y="3504269"/>
                </a:cubicBezTo>
                <a:cubicBezTo>
                  <a:pt x="1531352" y="3510743"/>
                  <a:pt x="1521948" y="3508214"/>
                  <a:pt x="1521672" y="3505382"/>
                </a:cubicBezTo>
                <a:cubicBezTo>
                  <a:pt x="1523608" y="3503561"/>
                  <a:pt x="1525820" y="3502752"/>
                  <a:pt x="1528310" y="3502651"/>
                </a:cubicBezTo>
                <a:close/>
                <a:moveTo>
                  <a:pt x="8353620" y="3498382"/>
                </a:moveTo>
                <a:lnTo>
                  <a:pt x="8350306" y="3500221"/>
                </a:lnTo>
                <a:lnTo>
                  <a:pt x="8347817" y="3501132"/>
                </a:lnTo>
                <a:lnTo>
                  <a:pt x="8347263" y="3502346"/>
                </a:lnTo>
                <a:lnTo>
                  <a:pt x="8337583" y="3505481"/>
                </a:lnTo>
                <a:lnTo>
                  <a:pt x="8330391" y="3511854"/>
                </a:lnTo>
                <a:lnTo>
                  <a:pt x="8323477" y="3511146"/>
                </a:lnTo>
                <a:lnTo>
                  <a:pt x="8297201" y="3519238"/>
                </a:lnTo>
                <a:lnTo>
                  <a:pt x="8289456" y="3523992"/>
                </a:lnTo>
                <a:lnTo>
                  <a:pt x="8288257" y="3524341"/>
                </a:lnTo>
                <a:lnTo>
                  <a:pt x="8275416" y="3550212"/>
                </a:lnTo>
                <a:lnTo>
                  <a:pt x="8287520" y="3545588"/>
                </a:lnTo>
                <a:lnTo>
                  <a:pt x="8310878" y="3537290"/>
                </a:lnTo>
                <a:lnTo>
                  <a:pt x="8315352" y="3532955"/>
                </a:lnTo>
                <a:cubicBezTo>
                  <a:pt x="8321091" y="3529832"/>
                  <a:pt x="8327245" y="3527151"/>
                  <a:pt x="8329181" y="3524622"/>
                </a:cubicBezTo>
                <a:lnTo>
                  <a:pt x="8323697" y="3532735"/>
                </a:lnTo>
                <a:lnTo>
                  <a:pt x="8339158" y="3527243"/>
                </a:lnTo>
                <a:lnTo>
                  <a:pt x="8353244" y="3499537"/>
                </a:lnTo>
                <a:close/>
                <a:moveTo>
                  <a:pt x="8540600" y="3496479"/>
                </a:moveTo>
                <a:cubicBezTo>
                  <a:pt x="8529813" y="3502042"/>
                  <a:pt x="8495239" y="3507403"/>
                  <a:pt x="8496622" y="3523486"/>
                </a:cubicBezTo>
                <a:cubicBezTo>
                  <a:pt x="8470346" y="3522778"/>
                  <a:pt x="8428028" y="3529556"/>
                  <a:pt x="8418900" y="3551202"/>
                </a:cubicBezTo>
                <a:lnTo>
                  <a:pt x="8397129" y="3556534"/>
                </a:lnTo>
                <a:lnTo>
                  <a:pt x="8396427" y="3559268"/>
                </a:lnTo>
                <a:cubicBezTo>
                  <a:pt x="8392243" y="3568978"/>
                  <a:pt x="8385882" y="3577981"/>
                  <a:pt x="8375371" y="3586123"/>
                </a:cubicBezTo>
                <a:lnTo>
                  <a:pt x="8374214" y="3588458"/>
                </a:lnTo>
                <a:lnTo>
                  <a:pt x="8409220" y="3575276"/>
                </a:lnTo>
                <a:cubicBezTo>
                  <a:pt x="8414751" y="3571331"/>
                  <a:pt x="8418624" y="3564959"/>
                  <a:pt x="8419730" y="3558283"/>
                </a:cubicBezTo>
                <a:cubicBezTo>
                  <a:pt x="8431623" y="3559497"/>
                  <a:pt x="8450708" y="3547965"/>
                  <a:pt x="8467857" y="3547561"/>
                </a:cubicBezTo>
                <a:cubicBezTo>
                  <a:pt x="8472835" y="3545841"/>
                  <a:pt x="8461495" y="3542301"/>
                  <a:pt x="8465644" y="3533703"/>
                </a:cubicBezTo>
                <a:cubicBezTo>
                  <a:pt x="8479611" y="3542048"/>
                  <a:pt x="8492335" y="3538887"/>
                  <a:pt x="8504539" y="3532262"/>
                </a:cubicBezTo>
                <a:lnTo>
                  <a:pt x="8507558" y="3530386"/>
                </a:lnTo>
                <a:lnTo>
                  <a:pt x="8509518" y="3521487"/>
                </a:lnTo>
                <a:cubicBezTo>
                  <a:pt x="8511454" y="3523206"/>
                  <a:pt x="8509241" y="3524319"/>
                  <a:pt x="8508964" y="3527050"/>
                </a:cubicBezTo>
                <a:lnTo>
                  <a:pt x="8511577" y="3527890"/>
                </a:lnTo>
                <a:lnTo>
                  <a:pt x="8540323" y="3510033"/>
                </a:lnTo>
                <a:lnTo>
                  <a:pt x="8540336" y="3509407"/>
                </a:lnTo>
                <a:lnTo>
                  <a:pt x="8522241" y="3519969"/>
                </a:lnTo>
                <a:cubicBezTo>
                  <a:pt x="8522656" y="3512889"/>
                  <a:pt x="8528188" y="3505732"/>
                  <a:pt x="8535517" y="3499650"/>
                </a:cubicBezTo>
                <a:lnTo>
                  <a:pt x="8540595" y="3496723"/>
                </a:lnTo>
                <a:close/>
                <a:moveTo>
                  <a:pt x="3611105" y="3495765"/>
                </a:moveTo>
                <a:lnTo>
                  <a:pt x="3577129" y="3496982"/>
                </a:lnTo>
                <a:lnTo>
                  <a:pt x="3569544" y="3499414"/>
                </a:lnTo>
                <a:cubicBezTo>
                  <a:pt x="3556544" y="3503460"/>
                  <a:pt x="3554331" y="3496683"/>
                  <a:pt x="3539395" y="3499515"/>
                </a:cubicBezTo>
                <a:cubicBezTo>
                  <a:pt x="3535800" y="3503157"/>
                  <a:pt x="3541608" y="3503460"/>
                  <a:pt x="3535800" y="3505989"/>
                </a:cubicBezTo>
                <a:cubicBezTo>
                  <a:pt x="3531927" y="3510035"/>
                  <a:pt x="3539119" y="3509428"/>
                  <a:pt x="3539119" y="3511350"/>
                </a:cubicBezTo>
                <a:lnTo>
                  <a:pt x="3536906" y="3513879"/>
                </a:lnTo>
                <a:lnTo>
                  <a:pt x="3540502" y="3515598"/>
                </a:lnTo>
                <a:cubicBezTo>
                  <a:pt x="3547970" y="3514182"/>
                  <a:pt x="3549353" y="3507405"/>
                  <a:pt x="3559310" y="3506292"/>
                </a:cubicBezTo>
                <a:cubicBezTo>
                  <a:pt x="3558757" y="3508518"/>
                  <a:pt x="3558203" y="3510743"/>
                  <a:pt x="3557927" y="3512968"/>
                </a:cubicBezTo>
                <a:cubicBezTo>
                  <a:pt x="3559586" y="3504067"/>
                  <a:pt x="3593884" y="3489602"/>
                  <a:pt x="3601075" y="3501740"/>
                </a:cubicBezTo>
                <a:close/>
                <a:moveTo>
                  <a:pt x="1795772" y="3495368"/>
                </a:moveTo>
                <a:cubicBezTo>
                  <a:pt x="1801304" y="3495671"/>
                  <a:pt x="1803240" y="3496784"/>
                  <a:pt x="1807112" y="3498908"/>
                </a:cubicBezTo>
                <a:cubicBezTo>
                  <a:pt x="1803240" y="3502448"/>
                  <a:pt x="1801304" y="3501336"/>
                  <a:pt x="1795772" y="3501032"/>
                </a:cubicBezTo>
                <a:cubicBezTo>
                  <a:pt x="1790240" y="3506393"/>
                  <a:pt x="1803517" y="3505281"/>
                  <a:pt x="1797985" y="3510642"/>
                </a:cubicBezTo>
                <a:cubicBezTo>
                  <a:pt x="1784985" y="3506090"/>
                  <a:pt x="1779177" y="3505685"/>
                  <a:pt x="1767836" y="3499313"/>
                </a:cubicBezTo>
                <a:cubicBezTo>
                  <a:pt x="1773368" y="3493952"/>
                  <a:pt x="1781113" y="3501133"/>
                  <a:pt x="1786645" y="3495772"/>
                </a:cubicBezTo>
                <a:cubicBezTo>
                  <a:pt x="1788304" y="3496784"/>
                  <a:pt x="1782772" y="3496480"/>
                  <a:pt x="1782772" y="3499313"/>
                </a:cubicBezTo>
                <a:cubicBezTo>
                  <a:pt x="1792177" y="3504674"/>
                  <a:pt x="1790240" y="3497897"/>
                  <a:pt x="1795772" y="3495368"/>
                </a:cubicBezTo>
                <a:close/>
                <a:moveTo>
                  <a:pt x="1947620" y="3494255"/>
                </a:moveTo>
                <a:cubicBezTo>
                  <a:pt x="1949280" y="3493952"/>
                  <a:pt x="1950939" y="3494053"/>
                  <a:pt x="1952599" y="3494255"/>
                </a:cubicBezTo>
                <a:cubicBezTo>
                  <a:pt x="1956194" y="3494862"/>
                  <a:pt x="1960067" y="3496278"/>
                  <a:pt x="1963939" y="3496986"/>
                </a:cubicBezTo>
                <a:cubicBezTo>
                  <a:pt x="1960343" y="3503460"/>
                  <a:pt x="1950663" y="3498200"/>
                  <a:pt x="1943195" y="3496683"/>
                </a:cubicBezTo>
                <a:cubicBezTo>
                  <a:pt x="1944578" y="3495368"/>
                  <a:pt x="1945961" y="3494660"/>
                  <a:pt x="1947620" y="3494255"/>
                </a:cubicBezTo>
                <a:close/>
                <a:moveTo>
                  <a:pt x="1847771" y="3490816"/>
                </a:moveTo>
                <a:cubicBezTo>
                  <a:pt x="1851367" y="3491322"/>
                  <a:pt x="1854409" y="3494660"/>
                  <a:pt x="1857452" y="3496379"/>
                </a:cubicBezTo>
                <a:cubicBezTo>
                  <a:pt x="1853856" y="3502853"/>
                  <a:pt x="1845835" y="3492536"/>
                  <a:pt x="1843899" y="3497189"/>
                </a:cubicBezTo>
                <a:cubicBezTo>
                  <a:pt x="1841963" y="3496076"/>
                  <a:pt x="1841963" y="3493142"/>
                  <a:pt x="1843622" y="3491423"/>
                </a:cubicBezTo>
                <a:cubicBezTo>
                  <a:pt x="1845282" y="3490816"/>
                  <a:pt x="1846388" y="3490614"/>
                  <a:pt x="1847771" y="3490816"/>
                </a:cubicBezTo>
                <a:close/>
                <a:moveTo>
                  <a:pt x="9404944" y="3486465"/>
                </a:moveTo>
                <a:lnTo>
                  <a:pt x="9403561" y="3488285"/>
                </a:lnTo>
                <a:cubicBezTo>
                  <a:pt x="9396369" y="3495467"/>
                  <a:pt x="9388348" y="3501941"/>
                  <a:pt x="9378944" y="3507100"/>
                </a:cubicBezTo>
                <a:lnTo>
                  <a:pt x="9368157" y="3520047"/>
                </a:lnTo>
                <a:lnTo>
                  <a:pt x="9366221" y="3524194"/>
                </a:lnTo>
                <a:lnTo>
                  <a:pt x="9363732" y="3525408"/>
                </a:lnTo>
                <a:lnTo>
                  <a:pt x="9358753" y="3531376"/>
                </a:lnTo>
                <a:cubicBezTo>
                  <a:pt x="9351008" y="3538760"/>
                  <a:pt x="9343264" y="3546448"/>
                  <a:pt x="9339945" y="3557474"/>
                </a:cubicBezTo>
                <a:cubicBezTo>
                  <a:pt x="9322243" y="3562329"/>
                  <a:pt x="9313392" y="3581851"/>
                  <a:pt x="9295690" y="3598036"/>
                </a:cubicBezTo>
                <a:cubicBezTo>
                  <a:pt x="9284074" y="3608151"/>
                  <a:pt x="9264436" y="3610579"/>
                  <a:pt x="9265542" y="3628887"/>
                </a:cubicBezTo>
                <a:cubicBezTo>
                  <a:pt x="9245351" y="3633439"/>
                  <a:pt x="9238436" y="3644060"/>
                  <a:pt x="9233181" y="3657109"/>
                </a:cubicBezTo>
                <a:cubicBezTo>
                  <a:pt x="9208841" y="3670360"/>
                  <a:pt x="9187267" y="3686139"/>
                  <a:pt x="9165970" y="3702223"/>
                </a:cubicBezTo>
                <a:lnTo>
                  <a:pt x="9146885" y="3716283"/>
                </a:lnTo>
                <a:lnTo>
                  <a:pt x="9149098" y="3715474"/>
                </a:lnTo>
                <a:cubicBezTo>
                  <a:pt x="9159055" y="3712540"/>
                  <a:pt x="9168736" y="3710618"/>
                  <a:pt x="9178693" y="3710214"/>
                </a:cubicBezTo>
                <a:cubicBezTo>
                  <a:pt x="9184501" y="3706572"/>
                  <a:pt x="9185884" y="3703841"/>
                  <a:pt x="9189757" y="3700705"/>
                </a:cubicBezTo>
                <a:cubicBezTo>
                  <a:pt x="9203863" y="3698682"/>
                  <a:pt x="9216862" y="3694839"/>
                  <a:pt x="9229862" y="3689680"/>
                </a:cubicBezTo>
                <a:lnTo>
                  <a:pt x="9255585" y="3677339"/>
                </a:lnTo>
                <a:lnTo>
                  <a:pt x="9271904" y="3663987"/>
                </a:lnTo>
                <a:cubicBezTo>
                  <a:pt x="9293754" y="3647297"/>
                  <a:pt x="9315605" y="3630910"/>
                  <a:pt x="9334413" y="3609162"/>
                </a:cubicBezTo>
                <a:cubicBezTo>
                  <a:pt x="9343817" y="3610174"/>
                  <a:pt x="9348796" y="3597125"/>
                  <a:pt x="9357923" y="3600362"/>
                </a:cubicBezTo>
                <a:cubicBezTo>
                  <a:pt x="9359306" y="3593686"/>
                  <a:pt x="9357370" y="3591157"/>
                  <a:pt x="9349902" y="3592675"/>
                </a:cubicBezTo>
                <a:cubicBezTo>
                  <a:pt x="9357093" y="3579828"/>
                  <a:pt x="9374519" y="3577198"/>
                  <a:pt x="9386135" y="3567083"/>
                </a:cubicBezTo>
                <a:cubicBezTo>
                  <a:pt x="9377561" y="3561621"/>
                  <a:pt x="9390008" y="3560710"/>
                  <a:pt x="9386965" y="3551202"/>
                </a:cubicBezTo>
                <a:cubicBezTo>
                  <a:pt x="9389454" y="3551506"/>
                  <a:pt x="9391667" y="3551708"/>
                  <a:pt x="9394433" y="3549786"/>
                </a:cubicBezTo>
                <a:lnTo>
                  <a:pt x="9423475" y="3513978"/>
                </a:lnTo>
                <a:lnTo>
                  <a:pt x="9412965" y="3519946"/>
                </a:lnTo>
                <a:cubicBezTo>
                  <a:pt x="9411305" y="3515698"/>
                  <a:pt x="9409922" y="3518328"/>
                  <a:pt x="9405773" y="3514484"/>
                </a:cubicBezTo>
                <a:cubicBezTo>
                  <a:pt x="9407709" y="3506999"/>
                  <a:pt x="9409646" y="3499513"/>
                  <a:pt x="9424858" y="3493849"/>
                </a:cubicBezTo>
                <a:cubicBezTo>
                  <a:pt x="9428730" y="3490612"/>
                  <a:pt x="9419603" y="3492736"/>
                  <a:pt x="9422369" y="3487375"/>
                </a:cubicBezTo>
                <a:cubicBezTo>
                  <a:pt x="9416284" y="3487577"/>
                  <a:pt x="9413518" y="3488690"/>
                  <a:pt x="9411305" y="3488993"/>
                </a:cubicBezTo>
                <a:close/>
                <a:moveTo>
                  <a:pt x="1856898" y="3478880"/>
                </a:moveTo>
                <a:cubicBezTo>
                  <a:pt x="1860218" y="3478273"/>
                  <a:pt x="1863537" y="3480094"/>
                  <a:pt x="1858835" y="3486264"/>
                </a:cubicBezTo>
                <a:cubicBezTo>
                  <a:pt x="1856898" y="3485151"/>
                  <a:pt x="1853303" y="3485961"/>
                  <a:pt x="1853303" y="3485961"/>
                </a:cubicBezTo>
                <a:cubicBezTo>
                  <a:pt x="1849431" y="3482319"/>
                  <a:pt x="1853303" y="3479386"/>
                  <a:pt x="1856898" y="3478880"/>
                </a:cubicBezTo>
                <a:close/>
                <a:moveTo>
                  <a:pt x="1832282" y="3473923"/>
                </a:moveTo>
                <a:cubicBezTo>
                  <a:pt x="1834218" y="3474935"/>
                  <a:pt x="1837814" y="3474328"/>
                  <a:pt x="1839750" y="3475340"/>
                </a:cubicBezTo>
                <a:cubicBezTo>
                  <a:pt x="1838920" y="3477666"/>
                  <a:pt x="1837537" y="3479082"/>
                  <a:pt x="1836154" y="3479993"/>
                </a:cubicBezTo>
                <a:cubicBezTo>
                  <a:pt x="1834771" y="3481004"/>
                  <a:pt x="1833388" y="3481510"/>
                  <a:pt x="1832282" y="3482420"/>
                </a:cubicBezTo>
                <a:cubicBezTo>
                  <a:pt x="1828686" y="3480296"/>
                  <a:pt x="1828410" y="3477464"/>
                  <a:pt x="1832282" y="3473923"/>
                </a:cubicBezTo>
                <a:close/>
                <a:moveTo>
                  <a:pt x="10566068" y="3468763"/>
                </a:moveTo>
                <a:cubicBezTo>
                  <a:pt x="10573536" y="3473112"/>
                  <a:pt x="10567451" y="3479080"/>
                  <a:pt x="10563856" y="3478372"/>
                </a:cubicBezTo>
                <a:cubicBezTo>
                  <a:pt x="10560260" y="3474731"/>
                  <a:pt x="10562196" y="3470887"/>
                  <a:pt x="10566068" y="3468763"/>
                </a:cubicBezTo>
                <a:close/>
                <a:moveTo>
                  <a:pt x="1797155" y="3464011"/>
                </a:moveTo>
                <a:cubicBezTo>
                  <a:pt x="1807665" y="3463100"/>
                  <a:pt x="1822048" y="3466843"/>
                  <a:pt x="1823154" y="3477262"/>
                </a:cubicBezTo>
                <a:cubicBezTo>
                  <a:pt x="1812091" y="3479386"/>
                  <a:pt x="1809878" y="3469776"/>
                  <a:pt x="1796602" y="3467955"/>
                </a:cubicBezTo>
                <a:cubicBezTo>
                  <a:pt x="1791347" y="3473215"/>
                  <a:pt x="1796879" y="3473620"/>
                  <a:pt x="1791623" y="3478981"/>
                </a:cubicBezTo>
                <a:cubicBezTo>
                  <a:pt x="1779177" y="3470585"/>
                  <a:pt x="1786368" y="3464921"/>
                  <a:pt x="1797155" y="3464011"/>
                </a:cubicBezTo>
                <a:close/>
                <a:moveTo>
                  <a:pt x="2445482" y="3457840"/>
                </a:moveTo>
                <a:cubicBezTo>
                  <a:pt x="2447971" y="3457941"/>
                  <a:pt x="2450461" y="3458346"/>
                  <a:pt x="2452950" y="3459256"/>
                </a:cubicBezTo>
                <a:cubicBezTo>
                  <a:pt x="2457652" y="3460875"/>
                  <a:pt x="2461524" y="3463808"/>
                  <a:pt x="2461801" y="3466742"/>
                </a:cubicBezTo>
                <a:cubicBezTo>
                  <a:pt x="2454333" y="3470889"/>
                  <a:pt x="2446588" y="3463707"/>
                  <a:pt x="2439120" y="3467854"/>
                </a:cubicBezTo>
                <a:cubicBezTo>
                  <a:pt x="2435248" y="3465730"/>
                  <a:pt x="2442439" y="3461482"/>
                  <a:pt x="2438567" y="3459358"/>
                </a:cubicBezTo>
                <a:cubicBezTo>
                  <a:pt x="2440503" y="3458245"/>
                  <a:pt x="2442993" y="3457840"/>
                  <a:pt x="2445482" y="3457840"/>
                </a:cubicBezTo>
                <a:close/>
                <a:moveTo>
                  <a:pt x="2410908" y="3457638"/>
                </a:moveTo>
                <a:cubicBezTo>
                  <a:pt x="2412568" y="3464516"/>
                  <a:pt x="2416440" y="3457941"/>
                  <a:pt x="2423908" y="3459256"/>
                </a:cubicBezTo>
                <a:cubicBezTo>
                  <a:pt x="2422802" y="3461583"/>
                  <a:pt x="2421419" y="3462898"/>
                  <a:pt x="2419759" y="3464213"/>
                </a:cubicBezTo>
                <a:cubicBezTo>
                  <a:pt x="2418100" y="3465427"/>
                  <a:pt x="2416440" y="3466641"/>
                  <a:pt x="2414504" y="3468461"/>
                </a:cubicBezTo>
                <a:cubicBezTo>
                  <a:pt x="2416440" y="3463707"/>
                  <a:pt x="2403164" y="3465022"/>
                  <a:pt x="2410908" y="3457638"/>
                </a:cubicBezTo>
                <a:close/>
                <a:moveTo>
                  <a:pt x="8455583" y="3455535"/>
                </a:moveTo>
                <a:cubicBezTo>
                  <a:pt x="8457519" y="3457457"/>
                  <a:pt x="8461114" y="3461301"/>
                  <a:pt x="8463051" y="3460290"/>
                </a:cubicBezTo>
                <a:cubicBezTo>
                  <a:pt x="8466646" y="3464032"/>
                  <a:pt x="8463051" y="3466055"/>
                  <a:pt x="8459178" y="3468078"/>
                </a:cubicBezTo>
                <a:cubicBezTo>
                  <a:pt x="8457242" y="3463324"/>
                  <a:pt x="8451710" y="3457660"/>
                  <a:pt x="8445902" y="3463729"/>
                </a:cubicBezTo>
                <a:cubicBezTo>
                  <a:pt x="8442306" y="3457053"/>
                  <a:pt x="8455583" y="3458469"/>
                  <a:pt x="8455583" y="3455535"/>
                </a:cubicBezTo>
                <a:close/>
                <a:moveTo>
                  <a:pt x="1903366" y="3454401"/>
                </a:moveTo>
                <a:cubicBezTo>
                  <a:pt x="1908897" y="3451872"/>
                  <a:pt x="1918578" y="3465629"/>
                  <a:pt x="1925769" y="3461381"/>
                </a:cubicBezTo>
                <a:cubicBezTo>
                  <a:pt x="1927705" y="3463808"/>
                  <a:pt x="1928812" y="3465831"/>
                  <a:pt x="1928259" y="3467652"/>
                </a:cubicBezTo>
                <a:cubicBezTo>
                  <a:pt x="1927982" y="3469574"/>
                  <a:pt x="1926046" y="3471294"/>
                  <a:pt x="1922450" y="3473418"/>
                </a:cubicBezTo>
                <a:cubicBezTo>
                  <a:pt x="1918855" y="3474126"/>
                  <a:pt x="1914982" y="3471900"/>
                  <a:pt x="1911387" y="3469776"/>
                </a:cubicBezTo>
                <a:cubicBezTo>
                  <a:pt x="1918578" y="3465629"/>
                  <a:pt x="1907238" y="3459256"/>
                  <a:pt x="1903919" y="3465629"/>
                </a:cubicBezTo>
                <a:cubicBezTo>
                  <a:pt x="1894515" y="3463201"/>
                  <a:pt x="1907238" y="3459256"/>
                  <a:pt x="1903366" y="3454401"/>
                </a:cubicBezTo>
                <a:close/>
                <a:moveTo>
                  <a:pt x="2227806" y="3450557"/>
                </a:moveTo>
                <a:cubicBezTo>
                  <a:pt x="2231954" y="3450254"/>
                  <a:pt x="2236103" y="3451265"/>
                  <a:pt x="2239976" y="3451973"/>
                </a:cubicBezTo>
                <a:cubicBezTo>
                  <a:pt x="2232231" y="3459256"/>
                  <a:pt x="2226699" y="3458953"/>
                  <a:pt x="2217295" y="3456626"/>
                </a:cubicBezTo>
                <a:cubicBezTo>
                  <a:pt x="2220061" y="3452378"/>
                  <a:pt x="2223933" y="3450861"/>
                  <a:pt x="2227806" y="3450557"/>
                </a:cubicBezTo>
                <a:close/>
                <a:moveTo>
                  <a:pt x="1895068" y="3450153"/>
                </a:moveTo>
                <a:cubicBezTo>
                  <a:pt x="1897004" y="3451265"/>
                  <a:pt x="1887877" y="3457031"/>
                  <a:pt x="1888153" y="3462696"/>
                </a:cubicBezTo>
                <a:cubicBezTo>
                  <a:pt x="1887877" y="3457031"/>
                  <a:pt x="1880409" y="3455615"/>
                  <a:pt x="1885664" y="3450355"/>
                </a:cubicBezTo>
                <a:cubicBezTo>
                  <a:pt x="1889260" y="3449748"/>
                  <a:pt x="1893408" y="3451872"/>
                  <a:pt x="1895068" y="3450153"/>
                </a:cubicBezTo>
                <a:close/>
                <a:moveTo>
                  <a:pt x="1402461" y="3446815"/>
                </a:moveTo>
                <a:cubicBezTo>
                  <a:pt x="1408270" y="3452783"/>
                  <a:pt x="1408270" y="3450052"/>
                  <a:pt x="1417674" y="3452681"/>
                </a:cubicBezTo>
                <a:cubicBezTo>
                  <a:pt x="1414355" y="3458852"/>
                  <a:pt x="1419886" y="3459256"/>
                  <a:pt x="1425695" y="3462493"/>
                </a:cubicBezTo>
                <a:cubicBezTo>
                  <a:pt x="1418503" y="3463707"/>
                  <a:pt x="1399419" y="3455716"/>
                  <a:pt x="1402461" y="3446815"/>
                </a:cubicBezTo>
                <a:close/>
                <a:moveTo>
                  <a:pt x="1739624" y="3441757"/>
                </a:moveTo>
                <a:cubicBezTo>
                  <a:pt x="1741284" y="3441959"/>
                  <a:pt x="1743220" y="3442263"/>
                  <a:pt x="1745156" y="3441959"/>
                </a:cubicBezTo>
                <a:cubicBezTo>
                  <a:pt x="1762305" y="3448737"/>
                  <a:pt x="1768113" y="3449141"/>
                  <a:pt x="1781389" y="3456728"/>
                </a:cubicBezTo>
                <a:cubicBezTo>
                  <a:pt x="1785262" y="3455918"/>
                  <a:pt x="1785262" y="3458852"/>
                  <a:pt x="1783602" y="3460673"/>
                </a:cubicBezTo>
                <a:cubicBezTo>
                  <a:pt x="1770326" y="3461785"/>
                  <a:pt x="1752901" y="3452075"/>
                  <a:pt x="1747092" y="3445904"/>
                </a:cubicBezTo>
                <a:cubicBezTo>
                  <a:pt x="1743220" y="3443780"/>
                  <a:pt x="1737412" y="3443375"/>
                  <a:pt x="1735476" y="3442364"/>
                </a:cubicBezTo>
                <a:cubicBezTo>
                  <a:pt x="1736582" y="3441454"/>
                  <a:pt x="1737965" y="3441555"/>
                  <a:pt x="1739624" y="3441757"/>
                </a:cubicBezTo>
                <a:close/>
                <a:moveTo>
                  <a:pt x="10603408" y="3440339"/>
                </a:moveTo>
                <a:cubicBezTo>
                  <a:pt x="10607004" y="3443879"/>
                  <a:pt x="10610876" y="3441856"/>
                  <a:pt x="10612812" y="3440744"/>
                </a:cubicBezTo>
                <a:cubicBezTo>
                  <a:pt x="10610599" y="3447521"/>
                  <a:pt x="10597323" y="3454804"/>
                  <a:pt x="10589855" y="3450353"/>
                </a:cubicBezTo>
                <a:cubicBezTo>
                  <a:pt x="10597600" y="3449038"/>
                  <a:pt x="10599536" y="3448027"/>
                  <a:pt x="10603408" y="3440339"/>
                </a:cubicBezTo>
                <a:close/>
                <a:moveTo>
                  <a:pt x="1875983" y="3439633"/>
                </a:moveTo>
                <a:cubicBezTo>
                  <a:pt x="1879855" y="3444589"/>
                  <a:pt x="1876260" y="3448028"/>
                  <a:pt x="1872664" y="3454502"/>
                </a:cubicBezTo>
                <a:cubicBezTo>
                  <a:pt x="1861601" y="3459459"/>
                  <a:pt x="1859664" y="3449950"/>
                  <a:pt x="1848601" y="3454907"/>
                </a:cubicBezTo>
                <a:cubicBezTo>
                  <a:pt x="1846941" y="3459560"/>
                  <a:pt x="1852473" y="3459964"/>
                  <a:pt x="1846941" y="3465326"/>
                </a:cubicBezTo>
                <a:cubicBezTo>
                  <a:pt x="1839473" y="3461077"/>
                  <a:pt x="1832005" y="3456930"/>
                  <a:pt x="1822601" y="3454502"/>
                </a:cubicBezTo>
                <a:cubicBezTo>
                  <a:pt x="1824261" y="3452681"/>
                  <a:pt x="1830069" y="3452884"/>
                  <a:pt x="1830069" y="3450052"/>
                </a:cubicBezTo>
                <a:cubicBezTo>
                  <a:pt x="1839197" y="3449647"/>
                  <a:pt x="1837261" y="3454300"/>
                  <a:pt x="1843069" y="3454705"/>
                </a:cubicBezTo>
                <a:cubicBezTo>
                  <a:pt x="1848324" y="3449343"/>
                  <a:pt x="1837261" y="3448737"/>
                  <a:pt x="1833665" y="3446612"/>
                </a:cubicBezTo>
                <a:cubicBezTo>
                  <a:pt x="1837261" y="3442971"/>
                  <a:pt x="1854133" y="3449546"/>
                  <a:pt x="1848324" y="3443578"/>
                </a:cubicBezTo>
                <a:cubicBezTo>
                  <a:pt x="1853856" y="3443881"/>
                  <a:pt x="1867132" y="3454199"/>
                  <a:pt x="1875983" y="3439633"/>
                </a:cubicBezTo>
                <a:close/>
                <a:moveTo>
                  <a:pt x="8341732" y="3428808"/>
                </a:moveTo>
                <a:lnTo>
                  <a:pt x="8337122" y="3430569"/>
                </a:lnTo>
                <a:lnTo>
                  <a:pt x="8337131" y="3431080"/>
                </a:lnTo>
                <a:close/>
                <a:moveTo>
                  <a:pt x="1707263" y="3428405"/>
                </a:moveTo>
                <a:cubicBezTo>
                  <a:pt x="1708370" y="3428304"/>
                  <a:pt x="1709476" y="3428405"/>
                  <a:pt x="1710306" y="3428810"/>
                </a:cubicBezTo>
                <a:cubicBezTo>
                  <a:pt x="1716667" y="3430934"/>
                  <a:pt x="1721093" y="3439532"/>
                  <a:pt x="1721093" y="3430731"/>
                </a:cubicBezTo>
                <a:cubicBezTo>
                  <a:pt x="1722752" y="3425977"/>
                  <a:pt x="1723029" y="3434778"/>
                  <a:pt x="1721093" y="3436598"/>
                </a:cubicBezTo>
                <a:cubicBezTo>
                  <a:pt x="1711412" y="3437003"/>
                  <a:pt x="1709476" y="3432957"/>
                  <a:pt x="1703668" y="3429720"/>
                </a:cubicBezTo>
                <a:cubicBezTo>
                  <a:pt x="1705051" y="3428911"/>
                  <a:pt x="1706157" y="3428506"/>
                  <a:pt x="1707263" y="3428405"/>
                </a:cubicBezTo>
                <a:close/>
                <a:moveTo>
                  <a:pt x="1958684" y="3423651"/>
                </a:moveTo>
                <a:cubicBezTo>
                  <a:pt x="1960620" y="3424662"/>
                  <a:pt x="1960620" y="3430327"/>
                  <a:pt x="1964215" y="3426786"/>
                </a:cubicBezTo>
                <a:cubicBezTo>
                  <a:pt x="1965322" y="3428000"/>
                  <a:pt x="1965322" y="3428911"/>
                  <a:pt x="1964769" y="3429619"/>
                </a:cubicBezTo>
                <a:cubicBezTo>
                  <a:pt x="1963109" y="3431541"/>
                  <a:pt x="1956471" y="3431541"/>
                  <a:pt x="1955088" y="3432856"/>
                </a:cubicBezTo>
                <a:cubicBezTo>
                  <a:pt x="1951492" y="3430833"/>
                  <a:pt x="1955088" y="3427191"/>
                  <a:pt x="1958684" y="3423651"/>
                </a:cubicBezTo>
                <a:close/>
                <a:moveTo>
                  <a:pt x="1786092" y="3422235"/>
                </a:moveTo>
                <a:cubicBezTo>
                  <a:pt x="1782772" y="3437205"/>
                  <a:pt x="1812921" y="3437306"/>
                  <a:pt x="1823984" y="3429416"/>
                </a:cubicBezTo>
                <a:cubicBezTo>
                  <a:pt x="1829516" y="3429720"/>
                  <a:pt x="1811261" y="3444690"/>
                  <a:pt x="1824261" y="3440745"/>
                </a:cubicBezTo>
                <a:cubicBezTo>
                  <a:pt x="1825091" y="3442060"/>
                  <a:pt x="1824814" y="3442566"/>
                  <a:pt x="1823708" y="3442667"/>
                </a:cubicBezTo>
                <a:cubicBezTo>
                  <a:pt x="1820665" y="3443173"/>
                  <a:pt x="1810985" y="3440442"/>
                  <a:pt x="1811261" y="3444792"/>
                </a:cubicBezTo>
                <a:cubicBezTo>
                  <a:pt x="1799921" y="3441150"/>
                  <a:pt x="1790240" y="3435789"/>
                  <a:pt x="1776964" y="3431136"/>
                </a:cubicBezTo>
                <a:cubicBezTo>
                  <a:pt x="1778623" y="3423651"/>
                  <a:pt x="1780560" y="3424662"/>
                  <a:pt x="1786092" y="3422235"/>
                </a:cubicBezTo>
                <a:close/>
                <a:moveTo>
                  <a:pt x="1866026" y="3419706"/>
                </a:moveTo>
                <a:cubicBezTo>
                  <a:pt x="1881515" y="3421830"/>
                  <a:pt x="1897557" y="3429720"/>
                  <a:pt x="1906132" y="3436699"/>
                </a:cubicBezTo>
                <a:cubicBezTo>
                  <a:pt x="1894791" y="3435890"/>
                  <a:pt x="1891196" y="3439431"/>
                  <a:pt x="1885940" y="3441959"/>
                </a:cubicBezTo>
                <a:cubicBezTo>
                  <a:pt x="1878196" y="3434778"/>
                  <a:pt x="1868515" y="3426584"/>
                  <a:pt x="1851367" y="3419807"/>
                </a:cubicBezTo>
                <a:cubicBezTo>
                  <a:pt x="1856069" y="3418897"/>
                  <a:pt x="1861047" y="3418998"/>
                  <a:pt x="1866026" y="3419706"/>
                </a:cubicBezTo>
                <a:close/>
                <a:moveTo>
                  <a:pt x="1690391" y="3418593"/>
                </a:moveTo>
                <a:cubicBezTo>
                  <a:pt x="1692051" y="3418593"/>
                  <a:pt x="1693987" y="3418897"/>
                  <a:pt x="1695923" y="3420009"/>
                </a:cubicBezTo>
                <a:cubicBezTo>
                  <a:pt x="1693987" y="3421830"/>
                  <a:pt x="1693987" y="3424662"/>
                  <a:pt x="1695923" y="3425674"/>
                </a:cubicBezTo>
                <a:cubicBezTo>
                  <a:pt x="1688455" y="3430124"/>
                  <a:pt x="1692051" y="3420818"/>
                  <a:pt x="1684583" y="3419503"/>
                </a:cubicBezTo>
                <a:cubicBezTo>
                  <a:pt x="1686519" y="3419099"/>
                  <a:pt x="1688455" y="3418593"/>
                  <a:pt x="1690391" y="3418593"/>
                </a:cubicBezTo>
                <a:close/>
                <a:moveTo>
                  <a:pt x="1906132" y="3416469"/>
                </a:moveTo>
                <a:cubicBezTo>
                  <a:pt x="1915259" y="3418897"/>
                  <a:pt x="1922450" y="3420212"/>
                  <a:pt x="1927982" y="3417683"/>
                </a:cubicBezTo>
                <a:cubicBezTo>
                  <a:pt x="1929918" y="3418694"/>
                  <a:pt x="1926323" y="3422336"/>
                  <a:pt x="1922727" y="3425876"/>
                </a:cubicBezTo>
                <a:cubicBezTo>
                  <a:pt x="1920791" y="3422032"/>
                  <a:pt x="1900600" y="3424662"/>
                  <a:pt x="1906132" y="3416469"/>
                </a:cubicBezTo>
                <a:close/>
                <a:moveTo>
                  <a:pt x="10642131" y="3413331"/>
                </a:moveTo>
                <a:cubicBezTo>
                  <a:pt x="10645726" y="3416973"/>
                  <a:pt x="10641854" y="3416164"/>
                  <a:pt x="10641854" y="3416164"/>
                </a:cubicBezTo>
                <a:cubicBezTo>
                  <a:pt x="10636046" y="3422233"/>
                  <a:pt x="10654577" y="3426077"/>
                  <a:pt x="10658450" y="3426785"/>
                </a:cubicBezTo>
                <a:cubicBezTo>
                  <a:pt x="10630237" y="3428302"/>
                  <a:pt x="10615301" y="3464211"/>
                  <a:pt x="10588472" y="3476046"/>
                </a:cubicBezTo>
                <a:cubicBezTo>
                  <a:pt x="10593174" y="3456827"/>
                  <a:pt x="10625812" y="3441856"/>
                  <a:pt x="10637705" y="3429819"/>
                </a:cubicBezTo>
                <a:cubicBezTo>
                  <a:pt x="10639641" y="3423042"/>
                  <a:pt x="10626918" y="3413230"/>
                  <a:pt x="10642131" y="3413331"/>
                </a:cubicBezTo>
                <a:close/>
                <a:moveTo>
                  <a:pt x="1833942" y="3409287"/>
                </a:moveTo>
                <a:cubicBezTo>
                  <a:pt x="1837261" y="3409085"/>
                  <a:pt x="1841133" y="3409995"/>
                  <a:pt x="1845835" y="3411310"/>
                </a:cubicBezTo>
                <a:cubicBezTo>
                  <a:pt x="1844175" y="3413030"/>
                  <a:pt x="1842239" y="3411917"/>
                  <a:pt x="1838367" y="3412524"/>
                </a:cubicBezTo>
                <a:cubicBezTo>
                  <a:pt x="1838644" y="3415255"/>
                  <a:pt x="1838644" y="3415255"/>
                  <a:pt x="1837261" y="3419807"/>
                </a:cubicBezTo>
                <a:cubicBezTo>
                  <a:pt x="1836984" y="3416975"/>
                  <a:pt x="1835048" y="3415862"/>
                  <a:pt x="1834771" y="3413030"/>
                </a:cubicBezTo>
                <a:cubicBezTo>
                  <a:pt x="1832835" y="3412018"/>
                  <a:pt x="1829516" y="3415255"/>
                  <a:pt x="1825367" y="3413030"/>
                </a:cubicBezTo>
                <a:cubicBezTo>
                  <a:pt x="1828133" y="3410501"/>
                  <a:pt x="1830899" y="3409489"/>
                  <a:pt x="1833942" y="3409287"/>
                </a:cubicBezTo>
                <a:close/>
                <a:moveTo>
                  <a:pt x="1637839" y="3398160"/>
                </a:moveTo>
                <a:cubicBezTo>
                  <a:pt x="1645307" y="3396643"/>
                  <a:pt x="1651115" y="3408579"/>
                  <a:pt x="1662456" y="3409186"/>
                </a:cubicBezTo>
                <a:cubicBezTo>
                  <a:pt x="1647243" y="3406354"/>
                  <a:pt x="1641712" y="3408882"/>
                  <a:pt x="1637839" y="3398160"/>
                </a:cubicBezTo>
                <a:close/>
                <a:moveTo>
                  <a:pt x="9493729" y="3390066"/>
                </a:moveTo>
                <a:lnTo>
                  <a:pt x="9487091" y="3394011"/>
                </a:lnTo>
                <a:cubicBezTo>
                  <a:pt x="9484878" y="3396641"/>
                  <a:pt x="9482389" y="3399170"/>
                  <a:pt x="9477687" y="3399777"/>
                </a:cubicBezTo>
                <a:lnTo>
                  <a:pt x="9474368" y="3406150"/>
                </a:lnTo>
                <a:lnTo>
                  <a:pt x="9489580" y="3393910"/>
                </a:lnTo>
                <a:close/>
                <a:moveTo>
                  <a:pt x="10699385" y="3385717"/>
                </a:moveTo>
                <a:cubicBezTo>
                  <a:pt x="10702427" y="3385211"/>
                  <a:pt x="10705746" y="3385818"/>
                  <a:pt x="10708789" y="3388347"/>
                </a:cubicBezTo>
                <a:cubicBezTo>
                  <a:pt x="10697449" y="3391786"/>
                  <a:pt x="10699108" y="3396540"/>
                  <a:pt x="10691087" y="3403520"/>
                </a:cubicBezTo>
                <a:cubicBezTo>
                  <a:pt x="10684449" y="3398968"/>
                  <a:pt x="10690534" y="3387133"/>
                  <a:pt x="10699385" y="3385717"/>
                </a:cubicBezTo>
                <a:close/>
                <a:moveTo>
                  <a:pt x="1945684" y="3365893"/>
                </a:moveTo>
                <a:cubicBezTo>
                  <a:pt x="1970300" y="3368219"/>
                  <a:pt x="2002385" y="3363263"/>
                  <a:pt x="2008470" y="3386730"/>
                </a:cubicBezTo>
                <a:cubicBezTo>
                  <a:pt x="1985789" y="3385415"/>
                  <a:pt x="1966705" y="3377626"/>
                  <a:pt x="1955364" y="3368320"/>
                </a:cubicBezTo>
                <a:cubicBezTo>
                  <a:pt x="1953428" y="3370141"/>
                  <a:pt x="1958960" y="3370445"/>
                  <a:pt x="1955364" y="3374086"/>
                </a:cubicBezTo>
                <a:cubicBezTo>
                  <a:pt x="1945961" y="3374491"/>
                  <a:pt x="1953428" y="3367208"/>
                  <a:pt x="1945684" y="3365893"/>
                </a:cubicBezTo>
                <a:close/>
                <a:moveTo>
                  <a:pt x="10479496" y="3350920"/>
                </a:moveTo>
                <a:cubicBezTo>
                  <a:pt x="10471475" y="3360934"/>
                  <a:pt x="10473411" y="3365689"/>
                  <a:pt x="10458198" y="3365385"/>
                </a:cubicBezTo>
                <a:cubicBezTo>
                  <a:pt x="10458475" y="3359619"/>
                  <a:pt x="10475347" y="3358810"/>
                  <a:pt x="10479496" y="3350920"/>
                </a:cubicBezTo>
                <a:close/>
                <a:moveTo>
                  <a:pt x="1906961" y="3348495"/>
                </a:moveTo>
                <a:cubicBezTo>
                  <a:pt x="1911110" y="3349304"/>
                  <a:pt x="1912770" y="3354665"/>
                  <a:pt x="1915536" y="3354058"/>
                </a:cubicBezTo>
                <a:cubicBezTo>
                  <a:pt x="1913599" y="3355980"/>
                  <a:pt x="1910004" y="3359621"/>
                  <a:pt x="1911663" y="3360734"/>
                </a:cubicBezTo>
                <a:cubicBezTo>
                  <a:pt x="1908068" y="3364375"/>
                  <a:pt x="1904195" y="3362251"/>
                  <a:pt x="1900323" y="3360127"/>
                </a:cubicBezTo>
                <a:cubicBezTo>
                  <a:pt x="1906132" y="3357497"/>
                  <a:pt x="1911663" y="3351934"/>
                  <a:pt x="1902259" y="3349506"/>
                </a:cubicBezTo>
                <a:cubicBezTo>
                  <a:pt x="1904195" y="3348393"/>
                  <a:pt x="1905855" y="3348191"/>
                  <a:pt x="1906961" y="3348495"/>
                </a:cubicBezTo>
                <a:close/>
                <a:moveTo>
                  <a:pt x="8665409" y="3341652"/>
                </a:moveTo>
                <a:lnTo>
                  <a:pt x="8569088" y="3395263"/>
                </a:lnTo>
                <a:cubicBezTo>
                  <a:pt x="8536589" y="3414697"/>
                  <a:pt x="8503952" y="3433259"/>
                  <a:pt x="8468963" y="3445296"/>
                </a:cubicBezTo>
                <a:lnTo>
                  <a:pt x="8437329" y="3461298"/>
                </a:lnTo>
                <a:lnTo>
                  <a:pt x="8428557" y="3485939"/>
                </a:lnTo>
                <a:lnTo>
                  <a:pt x="8464330" y="3473239"/>
                </a:lnTo>
                <a:cubicBezTo>
                  <a:pt x="8486043" y="3462568"/>
                  <a:pt x="8505335" y="3450505"/>
                  <a:pt x="8520685" y="3439732"/>
                </a:cubicBezTo>
                <a:cubicBezTo>
                  <a:pt x="8524004" y="3435484"/>
                  <a:pt x="8538110" y="3437102"/>
                  <a:pt x="8535068" y="3427695"/>
                </a:cubicBezTo>
                <a:cubicBezTo>
                  <a:pt x="8545578" y="3435686"/>
                  <a:pt x="8571578" y="3413433"/>
                  <a:pt x="8572684" y="3408982"/>
                </a:cubicBezTo>
                <a:cubicBezTo>
                  <a:pt x="8592875" y="3404380"/>
                  <a:pt x="8610024" y="3393784"/>
                  <a:pt x="8625513" y="3381013"/>
                </a:cubicBezTo>
                <a:lnTo>
                  <a:pt x="8666185" y="3342100"/>
                </a:lnTo>
                <a:close/>
                <a:moveTo>
                  <a:pt x="1938492" y="3335547"/>
                </a:moveTo>
                <a:cubicBezTo>
                  <a:pt x="1940982" y="3335345"/>
                  <a:pt x="1943748" y="3335446"/>
                  <a:pt x="1946237" y="3335850"/>
                </a:cubicBezTo>
                <a:cubicBezTo>
                  <a:pt x="1961726" y="3338076"/>
                  <a:pt x="1976662" y="3349101"/>
                  <a:pt x="1997683" y="3352439"/>
                </a:cubicBezTo>
                <a:cubicBezTo>
                  <a:pt x="1975279" y="3356789"/>
                  <a:pt x="1954535" y="3342324"/>
                  <a:pt x="1930195" y="3337064"/>
                </a:cubicBezTo>
                <a:cubicBezTo>
                  <a:pt x="1932961" y="3336154"/>
                  <a:pt x="1935727" y="3335749"/>
                  <a:pt x="1938492" y="3335547"/>
                </a:cubicBezTo>
                <a:close/>
                <a:moveTo>
                  <a:pt x="2177190" y="3331703"/>
                </a:moveTo>
                <a:cubicBezTo>
                  <a:pt x="2179126" y="3332310"/>
                  <a:pt x="2177743" y="3337165"/>
                  <a:pt x="2183551" y="3338379"/>
                </a:cubicBezTo>
                <a:cubicBezTo>
                  <a:pt x="2179679" y="3338986"/>
                  <a:pt x="2177743" y="3337874"/>
                  <a:pt x="2174147" y="3341414"/>
                </a:cubicBezTo>
                <a:cubicBezTo>
                  <a:pt x="2174147" y="3338582"/>
                  <a:pt x="2170275" y="3336356"/>
                  <a:pt x="2173594" y="3332917"/>
                </a:cubicBezTo>
                <a:cubicBezTo>
                  <a:pt x="2175530" y="3331906"/>
                  <a:pt x="2176637" y="3331602"/>
                  <a:pt x="2177190" y="3331703"/>
                </a:cubicBezTo>
                <a:close/>
                <a:moveTo>
                  <a:pt x="10503006" y="3330184"/>
                </a:moveTo>
                <a:cubicBezTo>
                  <a:pt x="10504665" y="3332005"/>
                  <a:pt x="10508538" y="3332915"/>
                  <a:pt x="10510197" y="3331904"/>
                </a:cubicBezTo>
                <a:cubicBezTo>
                  <a:pt x="10513793" y="3338377"/>
                  <a:pt x="10503006" y="3333118"/>
                  <a:pt x="10499134" y="3337973"/>
                </a:cubicBezTo>
                <a:cubicBezTo>
                  <a:pt x="10499134" y="3335141"/>
                  <a:pt x="10499134" y="3332207"/>
                  <a:pt x="10503006" y="3330184"/>
                </a:cubicBezTo>
                <a:close/>
                <a:moveTo>
                  <a:pt x="1849984" y="3329882"/>
                </a:moveTo>
                <a:cubicBezTo>
                  <a:pt x="1858281" y="3330894"/>
                  <a:pt x="1863537" y="3338177"/>
                  <a:pt x="1870728" y="3339998"/>
                </a:cubicBezTo>
                <a:cubicBezTo>
                  <a:pt x="1861047" y="3343336"/>
                  <a:pt x="1843899" y="3336559"/>
                  <a:pt x="1840026" y="3331501"/>
                </a:cubicBezTo>
                <a:cubicBezTo>
                  <a:pt x="1843899" y="3329984"/>
                  <a:pt x="1846941" y="3329579"/>
                  <a:pt x="1849984" y="3329882"/>
                </a:cubicBezTo>
                <a:close/>
                <a:moveTo>
                  <a:pt x="10522644" y="3314303"/>
                </a:moveTo>
                <a:cubicBezTo>
                  <a:pt x="10522920" y="3314202"/>
                  <a:pt x="10523750" y="3314202"/>
                  <a:pt x="10524857" y="3314506"/>
                </a:cubicBezTo>
                <a:cubicBezTo>
                  <a:pt x="10527346" y="3315011"/>
                  <a:pt x="10530665" y="3316023"/>
                  <a:pt x="10531495" y="3317034"/>
                </a:cubicBezTo>
                <a:cubicBezTo>
                  <a:pt x="10529282" y="3323913"/>
                  <a:pt x="10523750" y="3324216"/>
                  <a:pt x="10517665" y="3327352"/>
                </a:cubicBezTo>
                <a:cubicBezTo>
                  <a:pt x="10512410" y="3318855"/>
                  <a:pt x="10539239" y="3318552"/>
                  <a:pt x="10524027" y="3315315"/>
                </a:cubicBezTo>
                <a:cubicBezTo>
                  <a:pt x="10522644" y="3314708"/>
                  <a:pt x="10522367" y="3314404"/>
                  <a:pt x="10522644" y="3314303"/>
                </a:cubicBezTo>
                <a:close/>
                <a:moveTo>
                  <a:pt x="10756639" y="3300041"/>
                </a:moveTo>
                <a:cubicBezTo>
                  <a:pt x="10759405" y="3301356"/>
                  <a:pt x="10760235" y="3302367"/>
                  <a:pt x="10759958" y="3302772"/>
                </a:cubicBezTo>
                <a:cubicBezTo>
                  <a:pt x="10759958" y="3303278"/>
                  <a:pt x="10758299" y="3303379"/>
                  <a:pt x="10756362" y="3302974"/>
                </a:cubicBezTo>
                <a:cubicBezTo>
                  <a:pt x="10735342" y="3317338"/>
                  <a:pt x="10728980" y="3337669"/>
                  <a:pt x="10701874" y="3355169"/>
                </a:cubicBezTo>
                <a:cubicBezTo>
                  <a:pt x="10696896" y="3341109"/>
                  <a:pt x="10730916" y="3333724"/>
                  <a:pt x="10722065" y="3318956"/>
                </a:cubicBezTo>
                <a:cubicBezTo>
                  <a:pt x="10737278" y="3313393"/>
                  <a:pt x="10735895" y="3300142"/>
                  <a:pt x="10756639" y="3300041"/>
                </a:cubicBezTo>
                <a:close/>
                <a:moveTo>
                  <a:pt x="1820389" y="3298222"/>
                </a:moveTo>
                <a:cubicBezTo>
                  <a:pt x="1856345" y="3301155"/>
                  <a:pt x="1883175" y="3319059"/>
                  <a:pt x="1919131" y="3327758"/>
                </a:cubicBezTo>
                <a:cubicBezTo>
                  <a:pt x="1907791" y="3335850"/>
                  <a:pt x="1898387" y="3327556"/>
                  <a:pt x="1890642" y="3326241"/>
                </a:cubicBezTo>
                <a:cubicBezTo>
                  <a:pt x="1890919" y="3329073"/>
                  <a:pt x="1890919" y="3332007"/>
                  <a:pt x="1888983" y="3333827"/>
                </a:cubicBezTo>
                <a:cubicBezTo>
                  <a:pt x="1887047" y="3329781"/>
                  <a:pt x="1877643" y="3333220"/>
                  <a:pt x="1869898" y="3328972"/>
                </a:cubicBezTo>
                <a:cubicBezTo>
                  <a:pt x="1879302" y="3322701"/>
                  <a:pt x="1856622" y="3312788"/>
                  <a:pt x="1852750" y="3319363"/>
                </a:cubicBezTo>
                <a:cubicBezTo>
                  <a:pt x="1852750" y="3310562"/>
                  <a:pt x="1839473" y="3303077"/>
                  <a:pt x="1824537" y="3306112"/>
                </a:cubicBezTo>
                <a:cubicBezTo>
                  <a:pt x="1824261" y="3303178"/>
                  <a:pt x="1824261" y="3300346"/>
                  <a:pt x="1820389" y="3298222"/>
                </a:cubicBezTo>
                <a:close/>
                <a:moveTo>
                  <a:pt x="10777936" y="3294477"/>
                </a:moveTo>
                <a:cubicBezTo>
                  <a:pt x="10785681" y="3293061"/>
                  <a:pt x="10788447" y="3310864"/>
                  <a:pt x="10796468" y="3298119"/>
                </a:cubicBezTo>
                <a:cubicBezTo>
                  <a:pt x="10800064" y="3301760"/>
                  <a:pt x="10798127" y="3302772"/>
                  <a:pt x="10801723" y="3306413"/>
                </a:cubicBezTo>
                <a:cubicBezTo>
                  <a:pt x="10770745" y="3328869"/>
                  <a:pt x="10746958" y="3352943"/>
                  <a:pt x="10715704" y="3381165"/>
                </a:cubicBezTo>
                <a:cubicBezTo>
                  <a:pt x="10710448" y="3372870"/>
                  <a:pt x="10733405" y="3363160"/>
                  <a:pt x="10719023" y="3351628"/>
                </a:cubicBezTo>
                <a:cubicBezTo>
                  <a:pt x="10724831" y="3348392"/>
                  <a:pt x="10726767" y="3344548"/>
                  <a:pt x="10730640" y="3342424"/>
                </a:cubicBezTo>
                <a:cubicBezTo>
                  <a:pt x="10738107" y="3343941"/>
                  <a:pt x="10730363" y="3348088"/>
                  <a:pt x="10730363" y="3350920"/>
                </a:cubicBezTo>
                <a:cubicBezTo>
                  <a:pt x="10739490" y="3354157"/>
                  <a:pt x="10744192" y="3337973"/>
                  <a:pt x="10753320" y="3338377"/>
                </a:cubicBezTo>
                <a:cubicBezTo>
                  <a:pt x="10727874" y="3327453"/>
                  <a:pt x="10768809" y="3327150"/>
                  <a:pt x="10760235" y="3312381"/>
                </a:cubicBezTo>
                <a:cubicBezTo>
                  <a:pt x="10767426" y="3316731"/>
                  <a:pt x="10763830" y="3318855"/>
                  <a:pt x="10769362" y="3318552"/>
                </a:cubicBezTo>
                <a:cubicBezTo>
                  <a:pt x="10767703" y="3313899"/>
                  <a:pt x="10780979" y="3309347"/>
                  <a:pt x="10773788" y="3304997"/>
                </a:cubicBezTo>
                <a:cubicBezTo>
                  <a:pt x="10775724" y="3303986"/>
                  <a:pt x="10779319" y="3307627"/>
                  <a:pt x="10782915" y="3308335"/>
                </a:cubicBezTo>
                <a:cubicBezTo>
                  <a:pt x="10786787" y="3303379"/>
                  <a:pt x="10779596" y="3299130"/>
                  <a:pt x="10777936" y="3294477"/>
                </a:cubicBezTo>
                <a:close/>
                <a:moveTo>
                  <a:pt x="10762724" y="3291443"/>
                </a:moveTo>
                <a:cubicBezTo>
                  <a:pt x="10764660" y="3293264"/>
                  <a:pt x="10766596" y="3295084"/>
                  <a:pt x="10768256" y="3297006"/>
                </a:cubicBezTo>
                <a:cubicBezTo>
                  <a:pt x="10764384" y="3299130"/>
                  <a:pt x="10764384" y="3304896"/>
                  <a:pt x="10758852" y="3299333"/>
                </a:cubicBezTo>
                <a:cubicBezTo>
                  <a:pt x="10760788" y="3298220"/>
                  <a:pt x="10760788" y="3298321"/>
                  <a:pt x="10762724" y="3297310"/>
                </a:cubicBezTo>
                <a:cubicBezTo>
                  <a:pt x="10760788" y="3295388"/>
                  <a:pt x="10760788" y="3295388"/>
                  <a:pt x="10758852" y="3296399"/>
                </a:cubicBezTo>
                <a:cubicBezTo>
                  <a:pt x="10755256" y="3292657"/>
                  <a:pt x="10760788" y="3295388"/>
                  <a:pt x="10762724" y="3291443"/>
                </a:cubicBezTo>
                <a:close/>
                <a:moveTo>
                  <a:pt x="10576855" y="3277888"/>
                </a:moveTo>
                <a:cubicBezTo>
                  <a:pt x="10578238" y="3277888"/>
                  <a:pt x="10579621" y="3278596"/>
                  <a:pt x="10580451" y="3279507"/>
                </a:cubicBezTo>
                <a:cubicBezTo>
                  <a:pt x="10578238" y="3289217"/>
                  <a:pt x="10560537" y="3298726"/>
                  <a:pt x="10551133" y="3301153"/>
                </a:cubicBezTo>
                <a:cubicBezTo>
                  <a:pt x="10546984" y="3303278"/>
                  <a:pt x="10545048" y="3307324"/>
                  <a:pt x="10543112" y="3308335"/>
                </a:cubicBezTo>
                <a:cubicBezTo>
                  <a:pt x="10541175" y="3306514"/>
                  <a:pt x="10545048" y="3304390"/>
                  <a:pt x="10545324" y="3301457"/>
                </a:cubicBezTo>
                <a:cubicBezTo>
                  <a:pt x="10558877" y="3291139"/>
                  <a:pt x="10561090" y="3287194"/>
                  <a:pt x="10574643" y="3279810"/>
                </a:cubicBezTo>
                <a:cubicBezTo>
                  <a:pt x="10574643" y="3278293"/>
                  <a:pt x="10575749" y="3277787"/>
                  <a:pt x="10576855" y="3277888"/>
                </a:cubicBezTo>
                <a:close/>
                <a:moveTo>
                  <a:pt x="10636322" y="3273539"/>
                </a:moveTo>
                <a:cubicBezTo>
                  <a:pt x="10639918" y="3277180"/>
                  <a:pt x="10638258" y="3278192"/>
                  <a:pt x="10636046" y="3282137"/>
                </a:cubicBezTo>
                <a:cubicBezTo>
                  <a:pt x="10641578" y="3287498"/>
                  <a:pt x="10643790" y="3277990"/>
                  <a:pt x="10649045" y="3283351"/>
                </a:cubicBezTo>
                <a:cubicBezTo>
                  <a:pt x="10639365" y="3291443"/>
                  <a:pt x="10637429" y="3295287"/>
                  <a:pt x="10626089" y="3301558"/>
                </a:cubicBezTo>
                <a:cubicBezTo>
                  <a:pt x="10620557" y="3296096"/>
                  <a:pt x="10631897" y="3292657"/>
                  <a:pt x="10626642" y="3287296"/>
                </a:cubicBezTo>
                <a:cubicBezTo>
                  <a:pt x="10628578" y="3286183"/>
                  <a:pt x="10626365" y="3290128"/>
                  <a:pt x="10630237" y="3290836"/>
                </a:cubicBezTo>
                <a:cubicBezTo>
                  <a:pt x="10639641" y="3285677"/>
                  <a:pt x="10630514" y="3285171"/>
                  <a:pt x="10628854" y="3280518"/>
                </a:cubicBezTo>
                <a:cubicBezTo>
                  <a:pt x="10630791" y="3276675"/>
                  <a:pt x="10632727" y="3275663"/>
                  <a:pt x="10636322" y="3273539"/>
                </a:cubicBezTo>
                <a:close/>
                <a:moveTo>
                  <a:pt x="10777660" y="3272426"/>
                </a:moveTo>
                <a:cubicBezTo>
                  <a:pt x="10773234" y="3277383"/>
                  <a:pt x="10777936" y="3288408"/>
                  <a:pt x="10772128" y="3288813"/>
                </a:cubicBezTo>
                <a:cubicBezTo>
                  <a:pt x="10770745" y="3284261"/>
                  <a:pt x="10771298" y="3278495"/>
                  <a:pt x="10777660" y="3272426"/>
                </a:cubicBezTo>
                <a:close/>
                <a:moveTo>
                  <a:pt x="1758433" y="3271416"/>
                </a:moveTo>
                <a:cubicBezTo>
                  <a:pt x="1769496" y="3269191"/>
                  <a:pt x="1783049" y="3282341"/>
                  <a:pt x="1790517" y="3283757"/>
                </a:cubicBezTo>
                <a:cubicBezTo>
                  <a:pt x="1777517" y="3287803"/>
                  <a:pt x="1769773" y="3277789"/>
                  <a:pt x="1758433" y="3271416"/>
                </a:cubicBezTo>
                <a:close/>
                <a:moveTo>
                  <a:pt x="10613089" y="3255837"/>
                </a:moveTo>
                <a:cubicBezTo>
                  <a:pt x="10612812" y="3264435"/>
                  <a:pt x="10599812" y="3263322"/>
                  <a:pt x="10593727" y="3272123"/>
                </a:cubicBezTo>
                <a:cubicBezTo>
                  <a:pt x="10598983" y="3277484"/>
                  <a:pt x="10600919" y="3273539"/>
                  <a:pt x="10606174" y="3278900"/>
                </a:cubicBezTo>
                <a:cubicBezTo>
                  <a:pt x="10577409" y="3291847"/>
                  <a:pt x="10585430" y="3251791"/>
                  <a:pt x="10613089" y="3255837"/>
                </a:cubicBezTo>
                <a:close/>
                <a:moveTo>
                  <a:pt x="10675598" y="3246430"/>
                </a:moveTo>
                <a:cubicBezTo>
                  <a:pt x="10677534" y="3246127"/>
                  <a:pt x="10679470" y="3246228"/>
                  <a:pt x="10680853" y="3246835"/>
                </a:cubicBezTo>
                <a:cubicBezTo>
                  <a:pt x="10684449" y="3256242"/>
                  <a:pt x="10672832" y="3265447"/>
                  <a:pt x="10665088" y="3269594"/>
                </a:cubicBezTo>
                <a:cubicBezTo>
                  <a:pt x="10680300" y="3266964"/>
                  <a:pt x="10653471" y="3284564"/>
                  <a:pt x="10646003" y="3277180"/>
                </a:cubicBezTo>
                <a:cubicBezTo>
                  <a:pt x="10654024" y="3267267"/>
                  <a:pt x="10673109" y="3259681"/>
                  <a:pt x="10663705" y="3253308"/>
                </a:cubicBezTo>
                <a:cubicBezTo>
                  <a:pt x="10662322" y="3251993"/>
                  <a:pt x="10669513" y="3247441"/>
                  <a:pt x="10675598" y="3246430"/>
                </a:cubicBezTo>
                <a:close/>
                <a:moveTo>
                  <a:pt x="10615301" y="3243598"/>
                </a:moveTo>
                <a:cubicBezTo>
                  <a:pt x="10618067" y="3244913"/>
                  <a:pt x="10619450" y="3246228"/>
                  <a:pt x="10620280" y="3247543"/>
                </a:cubicBezTo>
                <a:cubicBezTo>
                  <a:pt x="10621110" y="3248756"/>
                  <a:pt x="10621663" y="3249970"/>
                  <a:pt x="10622493" y="3250881"/>
                </a:cubicBezTo>
                <a:cubicBezTo>
                  <a:pt x="10618621" y="3252904"/>
                  <a:pt x="10615025" y="3252196"/>
                  <a:pt x="10611429" y="3248554"/>
                </a:cubicBezTo>
                <a:cubicBezTo>
                  <a:pt x="10613365" y="3247543"/>
                  <a:pt x="10613365" y="3244710"/>
                  <a:pt x="10615301" y="3243598"/>
                </a:cubicBezTo>
                <a:close/>
                <a:moveTo>
                  <a:pt x="10551409" y="3241777"/>
                </a:moveTo>
                <a:cubicBezTo>
                  <a:pt x="10553622" y="3237933"/>
                  <a:pt x="10567728" y="3255230"/>
                  <a:pt x="10566345" y="3244812"/>
                </a:cubicBezTo>
                <a:cubicBezTo>
                  <a:pt x="10568281" y="3244508"/>
                  <a:pt x="10568834" y="3244913"/>
                  <a:pt x="10568558" y="3245722"/>
                </a:cubicBezTo>
                <a:cubicBezTo>
                  <a:pt x="10568281" y="3248048"/>
                  <a:pt x="10562196" y="3254118"/>
                  <a:pt x="10567728" y="3255230"/>
                </a:cubicBezTo>
                <a:cubicBezTo>
                  <a:pt x="10559983" y="3262311"/>
                  <a:pt x="10550303" y="3267470"/>
                  <a:pt x="10540346" y="3275562"/>
                </a:cubicBezTo>
                <a:cubicBezTo>
                  <a:pt x="10531218" y="3272325"/>
                  <a:pt x="10533154" y="3271212"/>
                  <a:pt x="10531495" y="3266559"/>
                </a:cubicBezTo>
                <a:cubicBezTo>
                  <a:pt x="10550026" y="3273235"/>
                  <a:pt x="10558601" y="3251892"/>
                  <a:pt x="10551409" y="3241777"/>
                </a:cubicBezTo>
                <a:close/>
                <a:moveTo>
                  <a:pt x="10647386" y="3236922"/>
                </a:moveTo>
                <a:cubicBezTo>
                  <a:pt x="10654854" y="3241271"/>
                  <a:pt x="10639365" y="3244205"/>
                  <a:pt x="10644897" y="3246733"/>
                </a:cubicBezTo>
                <a:cubicBezTo>
                  <a:pt x="10642960" y="3247846"/>
                  <a:pt x="10639088" y="3247138"/>
                  <a:pt x="10637152" y="3245317"/>
                </a:cubicBezTo>
                <a:cubicBezTo>
                  <a:pt x="10635769" y="3240563"/>
                  <a:pt x="10643514" y="3239147"/>
                  <a:pt x="10647386" y="3236922"/>
                </a:cubicBezTo>
                <a:close/>
                <a:moveTo>
                  <a:pt x="10700768" y="3231358"/>
                </a:moveTo>
                <a:lnTo>
                  <a:pt x="10701044" y="3235202"/>
                </a:lnTo>
                <a:cubicBezTo>
                  <a:pt x="10701598" y="3238034"/>
                  <a:pt x="10702427" y="3240361"/>
                  <a:pt x="10699661" y="3239046"/>
                </a:cubicBezTo>
                <a:close/>
                <a:moveTo>
                  <a:pt x="10701044" y="3230954"/>
                </a:moveTo>
                <a:lnTo>
                  <a:pt x="10700768" y="3231358"/>
                </a:lnTo>
                <a:lnTo>
                  <a:pt x="10700768" y="3231055"/>
                </a:lnTo>
                <a:close/>
                <a:moveTo>
                  <a:pt x="10627471" y="3229841"/>
                </a:moveTo>
                <a:cubicBezTo>
                  <a:pt x="10629131" y="3229740"/>
                  <a:pt x="10631620" y="3230448"/>
                  <a:pt x="10634939" y="3233078"/>
                </a:cubicBezTo>
                <a:cubicBezTo>
                  <a:pt x="10633003" y="3234089"/>
                  <a:pt x="10633003" y="3237023"/>
                  <a:pt x="10633003" y="3237023"/>
                </a:cubicBezTo>
                <a:cubicBezTo>
                  <a:pt x="10624429" y="3239552"/>
                  <a:pt x="10622493" y="3230347"/>
                  <a:pt x="10627471" y="3229841"/>
                </a:cubicBezTo>
                <a:close/>
                <a:moveTo>
                  <a:pt x="10353924" y="3224176"/>
                </a:moveTo>
                <a:cubicBezTo>
                  <a:pt x="10355583" y="3234696"/>
                  <a:pt x="10340371" y="3237225"/>
                  <a:pt x="10328754" y="3243497"/>
                </a:cubicBezTo>
                <a:cubicBezTo>
                  <a:pt x="10329307" y="3234899"/>
                  <a:pt x="10350052" y="3229234"/>
                  <a:pt x="10353924" y="3224176"/>
                </a:cubicBezTo>
                <a:close/>
                <a:moveTo>
                  <a:pt x="10534261" y="3221041"/>
                </a:moveTo>
                <a:cubicBezTo>
                  <a:pt x="10536197" y="3222760"/>
                  <a:pt x="10533984" y="3223873"/>
                  <a:pt x="10533707" y="3226604"/>
                </a:cubicBezTo>
                <a:cubicBezTo>
                  <a:pt x="10537580" y="3227312"/>
                  <a:pt x="10537580" y="3227211"/>
                  <a:pt x="10542835" y="3229538"/>
                </a:cubicBezTo>
                <a:cubicBezTo>
                  <a:pt x="10539239" y="3228931"/>
                  <a:pt x="10537303" y="3229942"/>
                  <a:pt x="10533431" y="3229335"/>
                </a:cubicBezTo>
                <a:cubicBezTo>
                  <a:pt x="10531495" y="3230448"/>
                  <a:pt x="10534814" y="3233887"/>
                  <a:pt x="10530942" y="3236112"/>
                </a:cubicBezTo>
                <a:cubicBezTo>
                  <a:pt x="10525686" y="3230954"/>
                  <a:pt x="10528176" y="3227009"/>
                  <a:pt x="10534261" y="3221041"/>
                </a:cubicBezTo>
                <a:close/>
                <a:moveTo>
                  <a:pt x="2011789" y="3213456"/>
                </a:moveTo>
                <a:cubicBezTo>
                  <a:pt x="2014278" y="3214670"/>
                  <a:pt x="2012619" y="3221245"/>
                  <a:pt x="2009853" y="3223875"/>
                </a:cubicBezTo>
                <a:cubicBezTo>
                  <a:pt x="1998513" y="3223167"/>
                  <a:pt x="2009576" y="3215277"/>
                  <a:pt x="2007640" y="3214164"/>
                </a:cubicBezTo>
                <a:cubicBezTo>
                  <a:pt x="2009576" y="3213153"/>
                  <a:pt x="2010959" y="3212950"/>
                  <a:pt x="2011789" y="3213456"/>
                </a:cubicBezTo>
                <a:close/>
                <a:moveTo>
                  <a:pt x="10584600" y="3207385"/>
                </a:moveTo>
                <a:cubicBezTo>
                  <a:pt x="10589025" y="3208093"/>
                  <a:pt x="10592345" y="3210925"/>
                  <a:pt x="10597876" y="3214162"/>
                </a:cubicBezTo>
                <a:cubicBezTo>
                  <a:pt x="10601195" y="3223468"/>
                  <a:pt x="10588196" y="3222153"/>
                  <a:pt x="10591515" y="3231459"/>
                </a:cubicBezTo>
                <a:cubicBezTo>
                  <a:pt x="10597047" y="3234089"/>
                  <a:pt x="10598983" y="3230246"/>
                  <a:pt x="10604514" y="3235708"/>
                </a:cubicBezTo>
                <a:cubicBezTo>
                  <a:pt x="10596770" y="3239855"/>
                  <a:pt x="10589302" y="3243901"/>
                  <a:pt x="10583494" y="3249869"/>
                </a:cubicBezTo>
                <a:cubicBezTo>
                  <a:pt x="10581558" y="3248048"/>
                  <a:pt x="10583770" y="3244205"/>
                  <a:pt x="10580175" y="3243497"/>
                </a:cubicBezTo>
                <a:cubicBezTo>
                  <a:pt x="10582111" y="3236719"/>
                  <a:pt x="10587642" y="3239248"/>
                  <a:pt x="10589579" y="3235404"/>
                </a:cubicBezTo>
                <a:cubicBezTo>
                  <a:pt x="10584323" y="3229942"/>
                  <a:pt x="10580175" y="3237731"/>
                  <a:pt x="10576579" y="3239754"/>
                </a:cubicBezTo>
                <a:cubicBezTo>
                  <a:pt x="10572983" y="3236112"/>
                  <a:pt x="10586260" y="3226098"/>
                  <a:pt x="10576855" y="3228425"/>
                </a:cubicBezTo>
                <a:cubicBezTo>
                  <a:pt x="10578792" y="3224480"/>
                  <a:pt x="10595940" y="3218107"/>
                  <a:pt x="10579621" y="3207486"/>
                </a:cubicBezTo>
                <a:cubicBezTo>
                  <a:pt x="10581558" y="3207183"/>
                  <a:pt x="10582940" y="3207183"/>
                  <a:pt x="10584600" y="3207385"/>
                </a:cubicBezTo>
                <a:close/>
                <a:moveTo>
                  <a:pt x="9642811" y="3206475"/>
                </a:moveTo>
                <a:cubicBezTo>
                  <a:pt x="9636173" y="3214870"/>
                  <a:pt x="9607684" y="3230549"/>
                  <a:pt x="9618471" y="3244609"/>
                </a:cubicBezTo>
                <a:lnTo>
                  <a:pt x="9588599" y="3259681"/>
                </a:lnTo>
                <a:lnTo>
                  <a:pt x="9563983" y="3295590"/>
                </a:lnTo>
                <a:lnTo>
                  <a:pt x="9499261" y="3384806"/>
                </a:lnTo>
                <a:lnTo>
                  <a:pt x="9568685" y="3319057"/>
                </a:lnTo>
                <a:cubicBezTo>
                  <a:pt x="9571451" y="3313696"/>
                  <a:pt x="9571174" y="3306616"/>
                  <a:pt x="9568408" y="3300142"/>
                </a:cubicBezTo>
                <a:cubicBezTo>
                  <a:pt x="9574217" y="3298928"/>
                  <a:pt x="9579749" y="3294275"/>
                  <a:pt x="9585834" y="3289116"/>
                </a:cubicBezTo>
                <a:lnTo>
                  <a:pt x="9590259" y="3286082"/>
                </a:lnTo>
                <a:lnTo>
                  <a:pt x="9596621" y="3274146"/>
                </a:lnTo>
                <a:lnTo>
                  <a:pt x="9600493" y="3269088"/>
                </a:lnTo>
                <a:lnTo>
                  <a:pt x="9596067" y="3263626"/>
                </a:lnTo>
                <a:lnTo>
                  <a:pt x="9605471" y="3262817"/>
                </a:lnTo>
                <a:lnTo>
                  <a:pt x="9631471" y="3229639"/>
                </a:lnTo>
                <a:lnTo>
                  <a:pt x="9644747" y="3209610"/>
                </a:lnTo>
                <a:close/>
                <a:moveTo>
                  <a:pt x="10598706" y="3197068"/>
                </a:moveTo>
                <a:cubicBezTo>
                  <a:pt x="10600642" y="3196056"/>
                  <a:pt x="10605621" y="3204047"/>
                  <a:pt x="10612812" y="3205463"/>
                </a:cubicBezTo>
                <a:cubicBezTo>
                  <a:pt x="10605621" y="3204148"/>
                  <a:pt x="10601472" y="3209105"/>
                  <a:pt x="10596217" y="3203845"/>
                </a:cubicBezTo>
                <a:cubicBezTo>
                  <a:pt x="10596493" y="3201013"/>
                  <a:pt x="10600366" y="3198888"/>
                  <a:pt x="10598706" y="3197068"/>
                </a:cubicBezTo>
                <a:close/>
                <a:moveTo>
                  <a:pt x="10584323" y="3185334"/>
                </a:moveTo>
                <a:cubicBezTo>
                  <a:pt x="10580175" y="3193123"/>
                  <a:pt x="10583770" y="3196663"/>
                  <a:pt x="10585430" y="3201316"/>
                </a:cubicBezTo>
                <a:cubicBezTo>
                  <a:pt x="10573813" y="3204755"/>
                  <a:pt x="10560537" y="3209307"/>
                  <a:pt x="10546984" y="3219523"/>
                </a:cubicBezTo>
                <a:cubicBezTo>
                  <a:pt x="10547814" y="3205362"/>
                  <a:pt x="10569111" y="3190897"/>
                  <a:pt x="10584323" y="3185334"/>
                </a:cubicBezTo>
                <a:close/>
                <a:moveTo>
                  <a:pt x="10621940" y="3178354"/>
                </a:moveTo>
                <a:cubicBezTo>
                  <a:pt x="10625535" y="3177646"/>
                  <a:pt x="10628301" y="3177545"/>
                  <a:pt x="10630791" y="3178354"/>
                </a:cubicBezTo>
                <a:cubicBezTo>
                  <a:pt x="10633003" y="3179164"/>
                  <a:pt x="10634663" y="3180984"/>
                  <a:pt x="10636322" y="3184221"/>
                </a:cubicBezTo>
                <a:cubicBezTo>
                  <a:pt x="10636322" y="3186952"/>
                  <a:pt x="10632450" y="3188975"/>
                  <a:pt x="10628578" y="3191100"/>
                </a:cubicBezTo>
                <a:cubicBezTo>
                  <a:pt x="10625259" y="3184727"/>
                  <a:pt x="10613919" y="3190897"/>
                  <a:pt x="10621110" y="3195247"/>
                </a:cubicBezTo>
                <a:cubicBezTo>
                  <a:pt x="10615301" y="3201215"/>
                  <a:pt x="10613919" y="3190897"/>
                  <a:pt x="10606451" y="3192212"/>
                </a:cubicBezTo>
                <a:cubicBezTo>
                  <a:pt x="10604791" y="3187660"/>
                  <a:pt x="10625259" y="3184727"/>
                  <a:pt x="10621940" y="3178354"/>
                </a:cubicBezTo>
                <a:close/>
                <a:moveTo>
                  <a:pt x="10566068" y="3164294"/>
                </a:moveTo>
                <a:cubicBezTo>
                  <a:pt x="10568005" y="3163283"/>
                  <a:pt x="10571600" y="3166823"/>
                  <a:pt x="10575196" y="3170465"/>
                </a:cubicBezTo>
                <a:cubicBezTo>
                  <a:pt x="10569664" y="3170667"/>
                  <a:pt x="10567175" y="3185941"/>
                  <a:pt x="10558324" y="3179669"/>
                </a:cubicBezTo>
                <a:cubicBezTo>
                  <a:pt x="10563856" y="3173803"/>
                  <a:pt x="10567728" y="3168846"/>
                  <a:pt x="10566068" y="3164294"/>
                </a:cubicBezTo>
                <a:close/>
                <a:moveTo>
                  <a:pt x="10678641" y="3161462"/>
                </a:moveTo>
                <a:cubicBezTo>
                  <a:pt x="10685832" y="3165811"/>
                  <a:pt x="10676428" y="3171071"/>
                  <a:pt x="10672279" y="3176028"/>
                </a:cubicBezTo>
                <a:cubicBezTo>
                  <a:pt x="10667024" y="3170566"/>
                  <a:pt x="10674768" y="3166418"/>
                  <a:pt x="10678641" y="3161462"/>
                </a:cubicBezTo>
                <a:close/>
                <a:moveTo>
                  <a:pt x="10480326" y="3155089"/>
                </a:moveTo>
                <a:cubicBezTo>
                  <a:pt x="10482262" y="3157011"/>
                  <a:pt x="10485857" y="3160855"/>
                  <a:pt x="10487794" y="3159844"/>
                </a:cubicBezTo>
                <a:cubicBezTo>
                  <a:pt x="10491389" y="3163586"/>
                  <a:pt x="10487794" y="3165609"/>
                  <a:pt x="10483921" y="3167632"/>
                </a:cubicBezTo>
                <a:cubicBezTo>
                  <a:pt x="10481985" y="3162878"/>
                  <a:pt x="10476453" y="3157214"/>
                  <a:pt x="10470645" y="3163283"/>
                </a:cubicBezTo>
                <a:cubicBezTo>
                  <a:pt x="10467049" y="3156607"/>
                  <a:pt x="10480326" y="3158023"/>
                  <a:pt x="10480326" y="3155089"/>
                </a:cubicBezTo>
                <a:close/>
                <a:moveTo>
                  <a:pt x="2231401" y="3152562"/>
                </a:moveTo>
                <a:cubicBezTo>
                  <a:pt x="2238869" y="3152461"/>
                  <a:pt x="2246061" y="3153675"/>
                  <a:pt x="2251869" y="3156912"/>
                </a:cubicBezTo>
                <a:cubicBezTo>
                  <a:pt x="2236933" y="3165510"/>
                  <a:pt x="2221721" y="3162475"/>
                  <a:pt x="2210104" y="3156001"/>
                </a:cubicBezTo>
                <a:cubicBezTo>
                  <a:pt x="2216742" y="3154080"/>
                  <a:pt x="2224210" y="3152663"/>
                  <a:pt x="2231401" y="3152562"/>
                </a:cubicBezTo>
                <a:close/>
                <a:moveTo>
                  <a:pt x="1901706" y="3150438"/>
                </a:moveTo>
                <a:lnTo>
                  <a:pt x="1916919" y="3159845"/>
                </a:lnTo>
                <a:cubicBezTo>
                  <a:pt x="1924386" y="3161261"/>
                  <a:pt x="1927982" y="3160553"/>
                  <a:pt x="1933791" y="3160857"/>
                </a:cubicBezTo>
                <a:cubicBezTo>
                  <a:pt x="1975556" y="3190090"/>
                  <a:pt x="2043044" y="3191304"/>
                  <a:pt x="2103617" y="3216895"/>
                </a:cubicBezTo>
                <a:cubicBezTo>
                  <a:pt x="2107489" y="3216187"/>
                  <a:pt x="2109149" y="3214468"/>
                  <a:pt x="2111085" y="3212647"/>
                </a:cubicBezTo>
                <a:cubicBezTo>
                  <a:pt x="2143169" y="3222155"/>
                  <a:pt x="2173317" y="3228528"/>
                  <a:pt x="2202913" y="3232675"/>
                </a:cubicBezTo>
                <a:lnTo>
                  <a:pt x="2252975" y="3236114"/>
                </a:lnTo>
                <a:lnTo>
                  <a:pt x="2237763" y="3230955"/>
                </a:lnTo>
                <a:lnTo>
                  <a:pt x="2234997" y="3231562"/>
                </a:lnTo>
                <a:lnTo>
                  <a:pt x="2231125" y="3228730"/>
                </a:lnTo>
                <a:lnTo>
                  <a:pt x="2227806" y="3227617"/>
                </a:lnTo>
                <a:cubicBezTo>
                  <a:pt x="2207891" y="3235002"/>
                  <a:pt x="2179126" y="3213051"/>
                  <a:pt x="2164190" y="3214569"/>
                </a:cubicBezTo>
                <a:cubicBezTo>
                  <a:pt x="2151190" y="3210523"/>
                  <a:pt x="2156169" y="3204656"/>
                  <a:pt x="2142893" y="3198789"/>
                </a:cubicBezTo>
                <a:cubicBezTo>
                  <a:pt x="2136808" y="3199497"/>
                  <a:pt x="2140403" y="3202734"/>
                  <a:pt x="2134042" y="3201520"/>
                </a:cubicBezTo>
                <a:cubicBezTo>
                  <a:pt x="2125191" y="3202532"/>
                  <a:pt x="2138467" y="3208297"/>
                  <a:pt x="2126297" y="3207792"/>
                </a:cubicBezTo>
                <a:cubicBezTo>
                  <a:pt x="2122148" y="3202835"/>
                  <a:pt x="2119936" y="3206679"/>
                  <a:pt x="2121595" y="3199295"/>
                </a:cubicBezTo>
                <a:cubicBezTo>
                  <a:pt x="2115234" y="3198182"/>
                  <a:pt x="2108872" y="3197069"/>
                  <a:pt x="2100574" y="3201419"/>
                </a:cubicBezTo>
                <a:cubicBezTo>
                  <a:pt x="2090894" y="3198890"/>
                  <a:pt x="2096149" y="3194844"/>
                  <a:pt x="2086468" y="3192214"/>
                </a:cubicBezTo>
                <a:cubicBezTo>
                  <a:pt x="2085915" y="3204757"/>
                  <a:pt x="2082872" y="3189078"/>
                  <a:pt x="2067383" y="3188876"/>
                </a:cubicBezTo>
                <a:cubicBezTo>
                  <a:pt x="2061575" y="3189483"/>
                  <a:pt x="2062405" y="3194743"/>
                  <a:pt x="2053554" y="3195653"/>
                </a:cubicBezTo>
                <a:cubicBezTo>
                  <a:pt x="2047192" y="3194541"/>
                  <a:pt x="2043873" y="3193023"/>
                  <a:pt x="2037788" y="3193731"/>
                </a:cubicBezTo>
                <a:cubicBezTo>
                  <a:pt x="2018151" y="3170669"/>
                  <a:pt x="1957577" y="3173299"/>
                  <a:pt x="1926323" y="3153372"/>
                </a:cubicBezTo>
                <a:cubicBezTo>
                  <a:pt x="1920514" y="3155698"/>
                  <a:pt x="1917472" y="3156103"/>
                  <a:pt x="1911387" y="3154889"/>
                </a:cubicBezTo>
                <a:close/>
                <a:moveTo>
                  <a:pt x="10588196" y="3141130"/>
                </a:moveTo>
                <a:cubicBezTo>
                  <a:pt x="10589855" y="3140827"/>
                  <a:pt x="10591238" y="3141029"/>
                  <a:pt x="10591791" y="3141636"/>
                </a:cubicBezTo>
                <a:cubicBezTo>
                  <a:pt x="10594004" y="3143356"/>
                  <a:pt x="10592068" y="3148009"/>
                  <a:pt x="10593451" y="3149425"/>
                </a:cubicBezTo>
                <a:cubicBezTo>
                  <a:pt x="10589579" y="3151448"/>
                  <a:pt x="10585983" y="3147806"/>
                  <a:pt x="10582387" y="3144165"/>
                </a:cubicBezTo>
                <a:cubicBezTo>
                  <a:pt x="10584323" y="3143153"/>
                  <a:pt x="10591791" y="3144772"/>
                  <a:pt x="10588196" y="3141130"/>
                </a:cubicBezTo>
                <a:close/>
                <a:moveTo>
                  <a:pt x="1658583" y="3113517"/>
                </a:moveTo>
                <a:cubicBezTo>
                  <a:pt x="1667987" y="3113214"/>
                  <a:pt x="1671030" y="3117058"/>
                  <a:pt x="1670200" y="3118980"/>
                </a:cubicBezTo>
                <a:cubicBezTo>
                  <a:pt x="1669371" y="3120902"/>
                  <a:pt x="1664668" y="3121003"/>
                  <a:pt x="1658583" y="3113517"/>
                </a:cubicBezTo>
                <a:close/>
                <a:moveTo>
                  <a:pt x="10548920" y="3098343"/>
                </a:moveTo>
                <a:cubicBezTo>
                  <a:pt x="10540899" y="3114123"/>
                  <a:pt x="10525410" y="3125452"/>
                  <a:pt x="10509921" y="3130914"/>
                </a:cubicBezTo>
                <a:cubicBezTo>
                  <a:pt x="10511857" y="3132735"/>
                  <a:pt x="10513793" y="3128790"/>
                  <a:pt x="10517389" y="3132532"/>
                </a:cubicBezTo>
                <a:cubicBezTo>
                  <a:pt x="10515453" y="3139310"/>
                  <a:pt x="10507985" y="3131925"/>
                  <a:pt x="10504112" y="3136983"/>
                </a:cubicBezTo>
                <a:cubicBezTo>
                  <a:pt x="10514070" y="3120091"/>
                  <a:pt x="10516835" y="3096016"/>
                  <a:pt x="10548920" y="3098343"/>
                </a:cubicBezTo>
                <a:close/>
                <a:moveTo>
                  <a:pt x="10536197" y="2960067"/>
                </a:moveTo>
                <a:cubicBezTo>
                  <a:pt x="10535920" y="2962900"/>
                  <a:pt x="10533984" y="2963911"/>
                  <a:pt x="10537303" y="2967452"/>
                </a:cubicBezTo>
                <a:cubicBezTo>
                  <a:pt x="10533707" y="2966744"/>
                  <a:pt x="10529835" y="2968868"/>
                  <a:pt x="10526240" y="2965327"/>
                </a:cubicBezTo>
                <a:cubicBezTo>
                  <a:pt x="10523197" y="2959056"/>
                  <a:pt x="10532048" y="2965024"/>
                  <a:pt x="10536197" y="2960067"/>
                </a:cubicBezTo>
                <a:close/>
                <a:moveTo>
                  <a:pt x="10698832" y="2952178"/>
                </a:moveTo>
                <a:cubicBezTo>
                  <a:pt x="10706300" y="2959562"/>
                  <a:pt x="10704363" y="2963507"/>
                  <a:pt x="10698555" y="2969576"/>
                </a:cubicBezTo>
                <a:cubicBezTo>
                  <a:pt x="10689428" y="2963102"/>
                  <a:pt x="10694959" y="2957134"/>
                  <a:pt x="10698832" y="2952178"/>
                </a:cubicBezTo>
                <a:close/>
                <a:moveTo>
                  <a:pt x="10439667" y="2951672"/>
                </a:moveTo>
                <a:cubicBezTo>
                  <a:pt x="10436624" y="2951975"/>
                  <a:pt x="10433858" y="2952785"/>
                  <a:pt x="10431093" y="2952987"/>
                </a:cubicBezTo>
                <a:cubicBezTo>
                  <a:pt x="10425284" y="2956123"/>
                  <a:pt x="10434412" y="2959359"/>
                  <a:pt x="10425008" y="2964619"/>
                </a:cubicBezTo>
                <a:cubicBezTo>
                  <a:pt x="10421688" y="2952380"/>
                  <a:pt x="10419199" y="2967755"/>
                  <a:pt x="10411455" y="2969070"/>
                </a:cubicBezTo>
                <a:lnTo>
                  <a:pt x="10407029" y="2962394"/>
                </a:lnTo>
                <a:lnTo>
                  <a:pt x="10405923" y="2968868"/>
                </a:lnTo>
                <a:lnTo>
                  <a:pt x="10407582" y="2971194"/>
                </a:lnTo>
                <a:lnTo>
                  <a:pt x="10405370" y="2972206"/>
                </a:lnTo>
                <a:lnTo>
                  <a:pt x="10403987" y="2981208"/>
                </a:lnTo>
                <a:lnTo>
                  <a:pt x="10402051" y="3009632"/>
                </a:lnTo>
                <a:lnTo>
                  <a:pt x="10409519" y="3001945"/>
                </a:lnTo>
                <a:cubicBezTo>
                  <a:pt x="10421412" y="2990312"/>
                  <a:pt x="10431646" y="2979084"/>
                  <a:pt x="10432199" y="2969070"/>
                </a:cubicBezTo>
                <a:cubicBezTo>
                  <a:pt x="10446858" y="2975038"/>
                  <a:pt x="10436348" y="2955516"/>
                  <a:pt x="10449624" y="2953897"/>
                </a:cubicBezTo>
                <a:cubicBezTo>
                  <a:pt x="10446028" y="2951672"/>
                  <a:pt x="10442709" y="2951368"/>
                  <a:pt x="10439667" y="2951672"/>
                </a:cubicBezTo>
                <a:close/>
                <a:moveTo>
                  <a:pt x="10760788" y="2823309"/>
                </a:moveTo>
                <a:cubicBezTo>
                  <a:pt x="10763554" y="2824726"/>
                  <a:pt x="10764660" y="2826041"/>
                  <a:pt x="10766043" y="2827558"/>
                </a:cubicBezTo>
                <a:cubicBezTo>
                  <a:pt x="10767149" y="2829176"/>
                  <a:pt x="10767979" y="2830795"/>
                  <a:pt x="10769915" y="2832615"/>
                </a:cubicBezTo>
                <a:cubicBezTo>
                  <a:pt x="10764384" y="2829985"/>
                  <a:pt x="10762447" y="2839595"/>
                  <a:pt x="10754979" y="2832211"/>
                </a:cubicBezTo>
                <a:cubicBezTo>
                  <a:pt x="10764384" y="2832818"/>
                  <a:pt x="10756916" y="2828266"/>
                  <a:pt x="10760788" y="2823309"/>
                </a:cubicBezTo>
                <a:close/>
                <a:moveTo>
                  <a:pt x="10780979" y="2798527"/>
                </a:moveTo>
                <a:cubicBezTo>
                  <a:pt x="10784298" y="2805001"/>
                  <a:pt x="10772681" y="2808440"/>
                  <a:pt x="10776000" y="2814914"/>
                </a:cubicBezTo>
                <a:cubicBezTo>
                  <a:pt x="10772128" y="2817038"/>
                  <a:pt x="10768809" y="2810564"/>
                  <a:pt x="10764937" y="2812790"/>
                </a:cubicBezTo>
                <a:cubicBezTo>
                  <a:pt x="10761618" y="2806316"/>
                  <a:pt x="10773511" y="2797111"/>
                  <a:pt x="10780979" y="2798527"/>
                </a:cubicBezTo>
                <a:close/>
                <a:moveTo>
                  <a:pt x="1401908" y="2593189"/>
                </a:moveTo>
                <a:cubicBezTo>
                  <a:pt x="1411035" y="2593999"/>
                  <a:pt x="1416567" y="2606238"/>
                  <a:pt x="1411312" y="2610487"/>
                </a:cubicBezTo>
                <a:cubicBezTo>
                  <a:pt x="1402184" y="2609576"/>
                  <a:pt x="1403291" y="2600371"/>
                  <a:pt x="1394163" y="2599461"/>
                </a:cubicBezTo>
                <a:cubicBezTo>
                  <a:pt x="1393610" y="2595921"/>
                  <a:pt x="1402738" y="2596730"/>
                  <a:pt x="1401908" y="2593189"/>
                </a:cubicBezTo>
                <a:close/>
                <a:moveTo>
                  <a:pt x="1383653" y="2577410"/>
                </a:moveTo>
                <a:cubicBezTo>
                  <a:pt x="1378674" y="2583175"/>
                  <a:pt x="1387525" y="2580545"/>
                  <a:pt x="1391397" y="2585401"/>
                </a:cubicBezTo>
                <a:cubicBezTo>
                  <a:pt x="1388632" y="2586513"/>
                  <a:pt x="1386142" y="2586716"/>
                  <a:pt x="1383930" y="2586716"/>
                </a:cubicBezTo>
                <a:cubicBezTo>
                  <a:pt x="1381440" y="2586716"/>
                  <a:pt x="1379227" y="2586615"/>
                  <a:pt x="1376185" y="2586918"/>
                </a:cubicBezTo>
                <a:cubicBezTo>
                  <a:pt x="1381994" y="2584592"/>
                  <a:pt x="1371483" y="2578725"/>
                  <a:pt x="1383653" y="2577410"/>
                </a:cubicBezTo>
                <a:close/>
                <a:moveTo>
                  <a:pt x="1255592" y="2474639"/>
                </a:moveTo>
                <a:cubicBezTo>
                  <a:pt x="1261954" y="2475448"/>
                  <a:pt x="1265272" y="2480101"/>
                  <a:pt x="1268315" y="2483743"/>
                </a:cubicBezTo>
                <a:cubicBezTo>
                  <a:pt x="1255869" y="2485058"/>
                  <a:pt x="1252273" y="2481821"/>
                  <a:pt x="1247847" y="2475246"/>
                </a:cubicBezTo>
                <a:cubicBezTo>
                  <a:pt x="1250890" y="2474437"/>
                  <a:pt x="1253379" y="2474335"/>
                  <a:pt x="1255592" y="2474639"/>
                </a:cubicBezTo>
                <a:close/>
                <a:moveTo>
                  <a:pt x="941258" y="2362177"/>
                </a:moveTo>
                <a:lnTo>
                  <a:pt x="940937" y="2362222"/>
                </a:lnTo>
                <a:lnTo>
                  <a:pt x="846684" y="2379389"/>
                </a:lnTo>
                <a:lnTo>
                  <a:pt x="851494" y="2382590"/>
                </a:lnTo>
                <a:lnTo>
                  <a:pt x="846046" y="2379505"/>
                </a:lnTo>
                <a:lnTo>
                  <a:pt x="810844" y="2385916"/>
                </a:lnTo>
                <a:lnTo>
                  <a:pt x="819721" y="2392933"/>
                </a:lnTo>
                <a:cubicBezTo>
                  <a:pt x="822798" y="2395082"/>
                  <a:pt x="826739" y="2395588"/>
                  <a:pt x="835175" y="2391188"/>
                </a:cubicBezTo>
                <a:cubicBezTo>
                  <a:pt x="836282" y="2398168"/>
                  <a:pt x="833792" y="2400191"/>
                  <a:pt x="843749" y="2404540"/>
                </a:cubicBezTo>
                <a:cubicBezTo>
                  <a:pt x="857579" y="2397763"/>
                  <a:pt x="854536" y="2396347"/>
                  <a:pt x="869196" y="2393009"/>
                </a:cubicBezTo>
                <a:cubicBezTo>
                  <a:pt x="873068" y="2397965"/>
                  <a:pt x="897131" y="2411520"/>
                  <a:pt x="883302" y="2420118"/>
                </a:cubicBezTo>
                <a:cubicBezTo>
                  <a:pt x="904046" y="2432256"/>
                  <a:pt x="904046" y="2466243"/>
                  <a:pt x="929769" y="2472515"/>
                </a:cubicBezTo>
                <a:cubicBezTo>
                  <a:pt x="919258" y="2480708"/>
                  <a:pt x="941662" y="2487283"/>
                  <a:pt x="949683" y="2497196"/>
                </a:cubicBezTo>
                <a:cubicBezTo>
                  <a:pt x="954385" y="2505591"/>
                  <a:pt x="948300" y="2538365"/>
                  <a:pt x="987300" y="2534319"/>
                </a:cubicBezTo>
                <a:cubicBezTo>
                  <a:pt x="991725" y="2541096"/>
                  <a:pt x="981215" y="2534926"/>
                  <a:pt x="979279" y="2540489"/>
                </a:cubicBezTo>
                <a:cubicBezTo>
                  <a:pt x="984534" y="2552425"/>
                  <a:pt x="992831" y="2564058"/>
                  <a:pt x="1007767" y="2562540"/>
                </a:cubicBezTo>
                <a:cubicBezTo>
                  <a:pt x="1003065" y="2570127"/>
                  <a:pt x="1010533" y="2592583"/>
                  <a:pt x="1034597" y="2590155"/>
                </a:cubicBezTo>
                <a:cubicBezTo>
                  <a:pt x="1036256" y="2616758"/>
                  <a:pt x="1087702" y="2661467"/>
                  <a:pt x="1138318" y="2670470"/>
                </a:cubicBezTo>
                <a:cubicBezTo>
                  <a:pt x="1132509" y="2672898"/>
                  <a:pt x="1133063" y="2676438"/>
                  <a:pt x="1137211" y="2681394"/>
                </a:cubicBezTo>
                <a:cubicBezTo>
                  <a:pt x="1142743" y="2678967"/>
                  <a:pt x="1132509" y="2672898"/>
                  <a:pt x="1144956" y="2673403"/>
                </a:cubicBezTo>
                <a:cubicBezTo>
                  <a:pt x="1168189" y="2699602"/>
                  <a:pt x="1218805" y="2724688"/>
                  <a:pt x="1238997" y="2751088"/>
                </a:cubicBezTo>
                <a:cubicBezTo>
                  <a:pt x="1230699" y="2755539"/>
                  <a:pt x="1232358" y="2748256"/>
                  <a:pt x="1223784" y="2750886"/>
                </a:cubicBezTo>
                <a:cubicBezTo>
                  <a:pt x="1228486" y="2761102"/>
                  <a:pt x="1246464" y="2775365"/>
                  <a:pt x="1263613" y="2768183"/>
                </a:cubicBezTo>
                <a:cubicBezTo>
                  <a:pt x="1273570" y="2772533"/>
                  <a:pt x="1280485" y="2777287"/>
                  <a:pt x="1285464" y="2787503"/>
                </a:cubicBezTo>
                <a:cubicBezTo>
                  <a:pt x="1283251" y="2791246"/>
                  <a:pt x="1279102" y="2786289"/>
                  <a:pt x="1273294" y="2786896"/>
                </a:cubicBezTo>
                <a:cubicBezTo>
                  <a:pt x="1275506" y="2799136"/>
                  <a:pt x="1283804" y="2794786"/>
                  <a:pt x="1291549" y="2802878"/>
                </a:cubicBezTo>
                <a:cubicBezTo>
                  <a:pt x="1297357" y="2800552"/>
                  <a:pt x="1283804" y="2794685"/>
                  <a:pt x="1295974" y="2793471"/>
                </a:cubicBezTo>
                <a:cubicBezTo>
                  <a:pt x="1303718" y="2803384"/>
                  <a:pt x="1315888" y="2802170"/>
                  <a:pt x="1320867" y="2812387"/>
                </a:cubicBezTo>
                <a:cubicBezTo>
                  <a:pt x="1311740" y="2813297"/>
                  <a:pt x="1305101" y="2810465"/>
                  <a:pt x="1306761" y="2803081"/>
                </a:cubicBezTo>
                <a:cubicBezTo>
                  <a:pt x="1304272" y="2805205"/>
                  <a:pt x="1304825" y="2808644"/>
                  <a:pt x="1298740" y="2809251"/>
                </a:cubicBezTo>
                <a:cubicBezTo>
                  <a:pt x="1309527" y="2817040"/>
                  <a:pt x="1316442" y="2821693"/>
                  <a:pt x="1333867" y="2816332"/>
                </a:cubicBezTo>
                <a:cubicBezTo>
                  <a:pt x="1337739" y="2821288"/>
                  <a:pt x="1325569" y="2820782"/>
                  <a:pt x="1322803" y="2822805"/>
                </a:cubicBezTo>
                <a:cubicBezTo>
                  <a:pt x="1359037" y="2853050"/>
                  <a:pt x="1415737" y="2861446"/>
                  <a:pt x="1458886" y="2896242"/>
                </a:cubicBezTo>
                <a:cubicBezTo>
                  <a:pt x="1456673" y="2900086"/>
                  <a:pt x="1454184" y="2903930"/>
                  <a:pt x="1455290" y="2909190"/>
                </a:cubicBezTo>
                <a:cubicBezTo>
                  <a:pt x="1470502" y="2909392"/>
                  <a:pt x="1478800" y="2921024"/>
                  <a:pt x="1495949" y="2913843"/>
                </a:cubicBezTo>
                <a:cubicBezTo>
                  <a:pt x="1517799" y="2933062"/>
                  <a:pt x="1547118" y="2942570"/>
                  <a:pt x="1576436" y="2952078"/>
                </a:cubicBezTo>
                <a:cubicBezTo>
                  <a:pt x="1646967" y="3001946"/>
                  <a:pt x="1737135" y="3026425"/>
                  <a:pt x="1817899" y="3064560"/>
                </a:cubicBezTo>
                <a:cubicBezTo>
                  <a:pt x="1887323" y="3077001"/>
                  <a:pt x="1929918" y="3106639"/>
                  <a:pt x="1996853" y="3121104"/>
                </a:cubicBezTo>
                <a:cubicBezTo>
                  <a:pt x="1997959" y="3128083"/>
                  <a:pt x="2016214" y="3127982"/>
                  <a:pt x="2014555" y="3135265"/>
                </a:cubicBezTo>
                <a:cubicBezTo>
                  <a:pt x="2023682" y="3134355"/>
                  <a:pt x="2026448" y="3132332"/>
                  <a:pt x="2022299" y="3127375"/>
                </a:cubicBezTo>
                <a:cubicBezTo>
                  <a:pt x="2041108" y="3129095"/>
                  <a:pt x="2049405" y="3140727"/>
                  <a:pt x="2065724" y="3146190"/>
                </a:cubicBezTo>
                <a:cubicBezTo>
                  <a:pt x="2070426" y="3138603"/>
                  <a:pt x="2075128" y="3146898"/>
                  <a:pt x="2086468" y="3142144"/>
                </a:cubicBezTo>
                <a:cubicBezTo>
                  <a:pt x="2086745" y="3143964"/>
                  <a:pt x="2087021" y="3145684"/>
                  <a:pt x="2090341" y="3147100"/>
                </a:cubicBezTo>
                <a:cubicBezTo>
                  <a:pt x="2133765" y="3149831"/>
                  <a:pt x="2164743" y="3168140"/>
                  <a:pt x="2213700" y="3168443"/>
                </a:cubicBezTo>
                <a:cubicBezTo>
                  <a:pt x="2221721" y="3178356"/>
                  <a:pt x="2256848" y="3170972"/>
                  <a:pt x="2256571" y="3185336"/>
                </a:cubicBezTo>
                <a:lnTo>
                  <a:pt x="2263209" y="3185538"/>
                </a:lnTo>
                <a:lnTo>
                  <a:pt x="2263762" y="3184122"/>
                </a:lnTo>
                <a:cubicBezTo>
                  <a:pt x="2263486" y="3183313"/>
                  <a:pt x="2262933" y="3182301"/>
                  <a:pt x="2263762" y="3179975"/>
                </a:cubicBezTo>
                <a:cubicBezTo>
                  <a:pt x="2273167" y="3176738"/>
                  <a:pt x="2282294" y="3173501"/>
                  <a:pt x="2297506" y="3179165"/>
                </a:cubicBezTo>
                <a:cubicBezTo>
                  <a:pt x="2303038" y="3179570"/>
                  <a:pt x="2295570" y="3175322"/>
                  <a:pt x="2303038" y="3173905"/>
                </a:cubicBezTo>
                <a:cubicBezTo>
                  <a:pt x="2299166" y="3170264"/>
                  <a:pt x="2296400" y="3169455"/>
                  <a:pt x="2294741" y="3168140"/>
                </a:cubicBezTo>
                <a:lnTo>
                  <a:pt x="2293911" y="3163386"/>
                </a:lnTo>
                <a:lnTo>
                  <a:pt x="2291975" y="3163183"/>
                </a:lnTo>
                <a:cubicBezTo>
                  <a:pt x="2287272" y="3161666"/>
                  <a:pt x="2282570" y="3160452"/>
                  <a:pt x="2273996" y="3163993"/>
                </a:cubicBezTo>
                <a:cubicBezTo>
                  <a:pt x="2264592" y="3158631"/>
                  <a:pt x="2254082" y="3154889"/>
                  <a:pt x="2242741" y="3151854"/>
                </a:cubicBezTo>
                <a:lnTo>
                  <a:pt x="2224487" y="3147707"/>
                </a:lnTo>
                <a:lnTo>
                  <a:pt x="2218955" y="3147100"/>
                </a:lnTo>
                <a:lnTo>
                  <a:pt x="2216466" y="3145987"/>
                </a:lnTo>
                <a:lnTo>
                  <a:pt x="2207615" y="3144066"/>
                </a:lnTo>
                <a:lnTo>
                  <a:pt x="2193232" y="3140829"/>
                </a:lnTo>
                <a:lnTo>
                  <a:pt x="2199594" y="3149325"/>
                </a:lnTo>
                <a:cubicBezTo>
                  <a:pt x="2184658" y="3152259"/>
                  <a:pt x="2152573" y="3142751"/>
                  <a:pt x="2131829" y="3139716"/>
                </a:cubicBezTo>
                <a:cubicBezTo>
                  <a:pt x="2139297" y="3132433"/>
                  <a:pt x="2150637" y="3133040"/>
                  <a:pt x="2152573" y="3139817"/>
                </a:cubicBezTo>
                <a:lnTo>
                  <a:pt x="2171935" y="3136074"/>
                </a:lnTo>
                <a:lnTo>
                  <a:pt x="2141233" y="3124138"/>
                </a:lnTo>
                <a:cubicBezTo>
                  <a:pt x="2113574" y="3123430"/>
                  <a:pt x="2095319" y="3109168"/>
                  <a:pt x="2065171" y="3110483"/>
                </a:cubicBezTo>
                <a:cubicBezTo>
                  <a:pt x="2053831" y="3099154"/>
                  <a:pt x="2026172" y="3098446"/>
                  <a:pt x="2000172" y="3090455"/>
                </a:cubicBezTo>
                <a:cubicBezTo>
                  <a:pt x="1983853" y="3084992"/>
                  <a:pt x="1975279" y="3071640"/>
                  <a:pt x="1951769" y="3077608"/>
                </a:cubicBezTo>
                <a:cubicBezTo>
                  <a:pt x="1940152" y="3064459"/>
                  <a:pt x="1924663" y="3062537"/>
                  <a:pt x="1906132" y="3062638"/>
                </a:cubicBezTo>
                <a:cubicBezTo>
                  <a:pt x="1858281" y="3035428"/>
                  <a:pt x="1799921" y="3018232"/>
                  <a:pt x="1749582" y="2994765"/>
                </a:cubicBezTo>
                <a:cubicBezTo>
                  <a:pt x="1743773" y="2995473"/>
                  <a:pt x="1744050" y="2997192"/>
                  <a:pt x="1738241" y="2999519"/>
                </a:cubicBezTo>
                <a:cubicBezTo>
                  <a:pt x="1752071" y="2991022"/>
                  <a:pt x="1719433" y="2980097"/>
                  <a:pt x="1720816" y="2987178"/>
                </a:cubicBezTo>
                <a:cubicBezTo>
                  <a:pt x="1682923" y="2964216"/>
                  <a:pt x="1621797" y="2933062"/>
                  <a:pt x="1579479" y="2919608"/>
                </a:cubicBezTo>
                <a:cubicBezTo>
                  <a:pt x="1576436" y="2919912"/>
                  <a:pt x="1572564" y="2914955"/>
                  <a:pt x="1575606" y="2914652"/>
                </a:cubicBezTo>
                <a:cubicBezTo>
                  <a:pt x="1571458" y="2909695"/>
                  <a:pt x="1569521" y="2915158"/>
                  <a:pt x="1563160" y="2914045"/>
                </a:cubicBezTo>
                <a:cubicBezTo>
                  <a:pt x="1558458" y="2905649"/>
                  <a:pt x="1547394" y="2894320"/>
                  <a:pt x="1532459" y="2895939"/>
                </a:cubicBezTo>
                <a:cubicBezTo>
                  <a:pt x="1513374" y="2876416"/>
                  <a:pt x="1463311" y="2854770"/>
                  <a:pt x="1444779" y="2837068"/>
                </a:cubicBezTo>
                <a:cubicBezTo>
                  <a:pt x="1438418" y="2835854"/>
                  <a:pt x="1432056" y="2834741"/>
                  <a:pt x="1428737" y="2833325"/>
                </a:cubicBezTo>
                <a:cubicBezTo>
                  <a:pt x="1424865" y="2828369"/>
                  <a:pt x="1424312" y="2824930"/>
                  <a:pt x="1423205" y="2819670"/>
                </a:cubicBezTo>
                <a:cubicBezTo>
                  <a:pt x="1413525" y="2817040"/>
                  <a:pt x="1400525" y="2812994"/>
                  <a:pt x="1395270" y="2801058"/>
                </a:cubicBezTo>
                <a:cubicBezTo>
                  <a:pt x="1403844" y="2798428"/>
                  <a:pt x="1407163" y="2799844"/>
                  <a:pt x="1408823" y="2792561"/>
                </a:cubicBezTo>
                <a:cubicBezTo>
                  <a:pt x="1398865" y="2788211"/>
                  <a:pt x="1397483" y="2797315"/>
                  <a:pt x="1388632" y="2798225"/>
                </a:cubicBezTo>
                <a:cubicBezTo>
                  <a:pt x="1375632" y="2794280"/>
                  <a:pt x="1386419" y="2785986"/>
                  <a:pt x="1385312" y="2780726"/>
                </a:cubicBezTo>
                <a:cubicBezTo>
                  <a:pt x="1365675" y="2789931"/>
                  <a:pt x="1346037" y="2782951"/>
                  <a:pt x="1351845" y="2764542"/>
                </a:cubicBezTo>
                <a:cubicBezTo>
                  <a:pt x="1347420" y="2757866"/>
                  <a:pt x="1333037" y="2762923"/>
                  <a:pt x="1331654" y="2755843"/>
                </a:cubicBezTo>
                <a:cubicBezTo>
                  <a:pt x="1328612" y="2756247"/>
                  <a:pt x="1322803" y="2756854"/>
                  <a:pt x="1323356" y="2760394"/>
                </a:cubicBezTo>
                <a:cubicBezTo>
                  <a:pt x="1316718" y="2757461"/>
                  <a:pt x="1318378" y="2750077"/>
                  <a:pt x="1306761" y="2753111"/>
                </a:cubicBezTo>
                <a:cubicBezTo>
                  <a:pt x="1305655" y="2747852"/>
                  <a:pt x="1299846" y="2732375"/>
                  <a:pt x="1285187" y="2735713"/>
                </a:cubicBezTo>
                <a:cubicBezTo>
                  <a:pt x="1284357" y="2732173"/>
                  <a:pt x="1293485" y="2731364"/>
                  <a:pt x="1292655" y="2727823"/>
                </a:cubicBezTo>
                <a:cubicBezTo>
                  <a:pt x="1280485" y="2727318"/>
                  <a:pt x="1278825" y="2718517"/>
                  <a:pt x="1264166" y="2721754"/>
                </a:cubicBezTo>
                <a:cubicBezTo>
                  <a:pt x="1263060" y="2716494"/>
                  <a:pt x="1261124" y="2705974"/>
                  <a:pt x="1255869" y="2710122"/>
                </a:cubicBezTo>
                <a:cubicBezTo>
                  <a:pt x="1233741" y="2691004"/>
                  <a:pt x="1197508" y="2676944"/>
                  <a:pt x="1186997" y="2652971"/>
                </a:cubicBezTo>
                <a:cubicBezTo>
                  <a:pt x="1183402" y="2649835"/>
                  <a:pt x="1179806" y="2646598"/>
                  <a:pt x="1170679" y="2647508"/>
                </a:cubicBezTo>
                <a:cubicBezTo>
                  <a:pt x="1169572" y="2624446"/>
                  <a:pt x="1114531" y="2608767"/>
                  <a:pt x="1112318" y="2580444"/>
                </a:cubicBezTo>
                <a:cubicBezTo>
                  <a:pt x="1108446" y="2577207"/>
                  <a:pt x="1099872" y="2579837"/>
                  <a:pt x="1096276" y="2576600"/>
                </a:cubicBezTo>
                <a:cubicBezTo>
                  <a:pt x="1091574" y="2568205"/>
                  <a:pt x="1103191" y="2565170"/>
                  <a:pt x="1105404" y="2559607"/>
                </a:cubicBezTo>
                <a:cubicBezTo>
                  <a:pt x="1094893" y="2553538"/>
                  <a:pt x="1061426" y="2553538"/>
                  <a:pt x="1076362" y="2535937"/>
                </a:cubicBezTo>
                <a:cubicBezTo>
                  <a:pt x="1069170" y="2529565"/>
                  <a:pt x="1053958" y="2531082"/>
                  <a:pt x="1047043" y="2526429"/>
                </a:cubicBezTo>
                <a:cubicBezTo>
                  <a:pt x="1049256" y="2522585"/>
                  <a:pt x="1052021" y="2520562"/>
                  <a:pt x="1051469" y="2517123"/>
                </a:cubicBezTo>
                <a:cubicBezTo>
                  <a:pt x="1039022" y="2516516"/>
                  <a:pt x="1023533" y="2498511"/>
                  <a:pt x="1033767" y="2488497"/>
                </a:cubicBezTo>
                <a:cubicBezTo>
                  <a:pt x="1018001" y="2486575"/>
                  <a:pt x="1010256" y="2476662"/>
                  <a:pt x="999469" y="2468772"/>
                </a:cubicBezTo>
                <a:cubicBezTo>
                  <a:pt x="1001337" y="2441840"/>
                  <a:pt x="968664" y="2414396"/>
                  <a:pt x="950345" y="2385245"/>
                </a:cubicBezTo>
                <a:close/>
                <a:moveTo>
                  <a:pt x="1015512" y="2359831"/>
                </a:moveTo>
                <a:cubicBezTo>
                  <a:pt x="1024639" y="2358921"/>
                  <a:pt x="1026022" y="2366001"/>
                  <a:pt x="1029895" y="2370958"/>
                </a:cubicBezTo>
                <a:cubicBezTo>
                  <a:pt x="1021320" y="2373588"/>
                  <a:pt x="1019660" y="2364889"/>
                  <a:pt x="1015512" y="2359831"/>
                </a:cubicBezTo>
                <a:close/>
                <a:moveTo>
                  <a:pt x="996056" y="2354493"/>
                </a:moveTo>
                <a:lnTo>
                  <a:pt x="952744" y="2360566"/>
                </a:lnTo>
                <a:lnTo>
                  <a:pt x="964239" y="2366507"/>
                </a:lnTo>
                <a:cubicBezTo>
                  <a:pt x="974922" y="2374548"/>
                  <a:pt x="983566" y="2383905"/>
                  <a:pt x="988406" y="2393211"/>
                </a:cubicBezTo>
                <a:cubicBezTo>
                  <a:pt x="995321" y="2397864"/>
                  <a:pt x="1009703" y="2392807"/>
                  <a:pt x="1012193" y="2389064"/>
                </a:cubicBezTo>
                <a:cubicBezTo>
                  <a:pt x="1004034" y="2378291"/>
                  <a:pt x="1000784" y="2365217"/>
                  <a:pt x="996082" y="2354533"/>
                </a:cubicBezTo>
                <a:close/>
                <a:moveTo>
                  <a:pt x="1040442" y="2348269"/>
                </a:moveTo>
                <a:lnTo>
                  <a:pt x="1004862" y="2353258"/>
                </a:lnTo>
                <a:lnTo>
                  <a:pt x="1018554" y="2374093"/>
                </a:lnTo>
                <a:cubicBezTo>
                  <a:pt x="1027682" y="2373082"/>
                  <a:pt x="1031554" y="2378038"/>
                  <a:pt x="1043171" y="2375004"/>
                </a:cubicBezTo>
                <a:cubicBezTo>
                  <a:pt x="1052021" y="2372374"/>
                  <a:pt x="1036256" y="2370452"/>
                  <a:pt x="1041511" y="2366305"/>
                </a:cubicBezTo>
                <a:cubicBezTo>
                  <a:pt x="1047596" y="2365698"/>
                  <a:pt x="1050639" y="2365394"/>
                  <a:pt x="1051192" y="2368935"/>
                </a:cubicBezTo>
                <a:cubicBezTo>
                  <a:pt x="1053958" y="2366810"/>
                  <a:pt x="1053128" y="2363270"/>
                  <a:pt x="1059213" y="2362663"/>
                </a:cubicBezTo>
                <a:cubicBezTo>
                  <a:pt x="1057139" y="2359325"/>
                  <a:pt x="1052299" y="2358035"/>
                  <a:pt x="1047700" y="2356050"/>
                </a:cubicBezTo>
                <a:close/>
                <a:moveTo>
                  <a:pt x="1170411" y="2330079"/>
                </a:moveTo>
                <a:lnTo>
                  <a:pt x="1108748" y="2338691"/>
                </a:lnTo>
                <a:lnTo>
                  <a:pt x="1072892" y="2343718"/>
                </a:lnTo>
                <a:lnTo>
                  <a:pt x="1068617" y="2347389"/>
                </a:lnTo>
                <a:cubicBezTo>
                  <a:pt x="1068893" y="2349210"/>
                  <a:pt x="1074978" y="2348603"/>
                  <a:pt x="1077744" y="2346580"/>
                </a:cubicBezTo>
                <a:cubicBezTo>
                  <a:pt x="1084936" y="2352953"/>
                  <a:pt x="1070000" y="2354470"/>
                  <a:pt x="1073872" y="2359426"/>
                </a:cubicBezTo>
                <a:cubicBezTo>
                  <a:pt x="1080787" y="2363978"/>
                  <a:pt x="1078851" y="2353559"/>
                  <a:pt x="1087978" y="2352548"/>
                </a:cubicBezTo>
                <a:cubicBezTo>
                  <a:pt x="1092680" y="2361045"/>
                  <a:pt x="1102361" y="2363675"/>
                  <a:pt x="1117020" y="2360337"/>
                </a:cubicBezTo>
                <a:cubicBezTo>
                  <a:pt x="1107340" y="2373891"/>
                  <a:pt x="1125871" y="2375510"/>
                  <a:pt x="1108169" y="2379151"/>
                </a:cubicBezTo>
                <a:cubicBezTo>
                  <a:pt x="1111488" y="2396650"/>
                  <a:pt x="1153530" y="2408283"/>
                  <a:pt x="1133892" y="2417488"/>
                </a:cubicBezTo>
                <a:cubicBezTo>
                  <a:pt x="1138871" y="2427704"/>
                  <a:pt x="1148552" y="2414150"/>
                  <a:pt x="1150488" y="2424670"/>
                </a:cubicBezTo>
                <a:cubicBezTo>
                  <a:pt x="1142466" y="2430840"/>
                  <a:pt x="1143850" y="2421837"/>
                  <a:pt x="1137765" y="2422444"/>
                </a:cubicBezTo>
                <a:cubicBezTo>
                  <a:pt x="1123935" y="2431042"/>
                  <a:pt x="1152424" y="2435189"/>
                  <a:pt x="1147445" y="2441056"/>
                </a:cubicBezTo>
                <a:cubicBezTo>
                  <a:pt x="1156296" y="2440146"/>
                  <a:pt x="1156019" y="2438426"/>
                  <a:pt x="1167636" y="2435493"/>
                </a:cubicBezTo>
                <a:cubicBezTo>
                  <a:pt x="1168466" y="2438932"/>
                  <a:pt x="1168743" y="2440753"/>
                  <a:pt x="1172062" y="2442169"/>
                </a:cubicBezTo>
                <a:cubicBezTo>
                  <a:pt x="1163764" y="2446620"/>
                  <a:pt x="1162658" y="2441259"/>
                  <a:pt x="1156573" y="2441865"/>
                </a:cubicBezTo>
                <a:cubicBezTo>
                  <a:pt x="1160168" y="2443282"/>
                  <a:pt x="1160445" y="2445102"/>
                  <a:pt x="1160722" y="2446822"/>
                </a:cubicBezTo>
                <a:cubicBezTo>
                  <a:pt x="1164040" y="2448238"/>
                  <a:pt x="1163211" y="2444799"/>
                  <a:pt x="1169296" y="2444192"/>
                </a:cubicBezTo>
                <a:cubicBezTo>
                  <a:pt x="1172891" y="2463512"/>
                  <a:pt x="1184785" y="2478280"/>
                  <a:pt x="1207465" y="2484956"/>
                </a:cubicBezTo>
                <a:cubicBezTo>
                  <a:pt x="1205806" y="2492239"/>
                  <a:pt x="1212444" y="2495072"/>
                  <a:pt x="1219082" y="2497904"/>
                </a:cubicBezTo>
                <a:cubicBezTo>
                  <a:pt x="1222125" y="2497600"/>
                  <a:pt x="1228210" y="2497095"/>
                  <a:pt x="1227933" y="2495274"/>
                </a:cubicBezTo>
                <a:cubicBezTo>
                  <a:pt x="1223784" y="2506401"/>
                  <a:pt x="1239550" y="2524507"/>
                  <a:pt x="1258358" y="2527845"/>
                </a:cubicBezTo>
                <a:cubicBezTo>
                  <a:pt x="1249507" y="2528755"/>
                  <a:pt x="1256145" y="2531588"/>
                  <a:pt x="1250337" y="2534015"/>
                </a:cubicBezTo>
                <a:cubicBezTo>
                  <a:pt x="1274677" y="2549289"/>
                  <a:pt x="1289336" y="2562136"/>
                  <a:pt x="1305378" y="2581860"/>
                </a:cubicBezTo>
                <a:cubicBezTo>
                  <a:pt x="1311187" y="2581254"/>
                  <a:pt x="1310080" y="2574274"/>
                  <a:pt x="1314229" y="2581051"/>
                </a:cubicBezTo>
                <a:cubicBezTo>
                  <a:pt x="1317272" y="2580647"/>
                  <a:pt x="1316995" y="2578927"/>
                  <a:pt x="1320037" y="2578624"/>
                </a:cubicBezTo>
                <a:cubicBezTo>
                  <a:pt x="1318378" y="2569823"/>
                  <a:pt x="1310357" y="2575994"/>
                  <a:pt x="1306761" y="2572858"/>
                </a:cubicBezTo>
                <a:cubicBezTo>
                  <a:pt x="1306208" y="2571138"/>
                  <a:pt x="1305655" y="2567598"/>
                  <a:pt x="1308421" y="2565575"/>
                </a:cubicBezTo>
                <a:cubicBezTo>
                  <a:pt x="1328059" y="2572453"/>
                  <a:pt x="1342165" y="2583479"/>
                  <a:pt x="1356824" y="2596224"/>
                </a:cubicBezTo>
                <a:cubicBezTo>
                  <a:pt x="1368440" y="2593291"/>
                  <a:pt x="1352952" y="2591268"/>
                  <a:pt x="1364845" y="2590054"/>
                </a:cubicBezTo>
                <a:cubicBezTo>
                  <a:pt x="1377015" y="2604822"/>
                  <a:pt x="1394163" y="2615645"/>
                  <a:pt x="1416567" y="2620399"/>
                </a:cubicBezTo>
                <a:cubicBezTo>
                  <a:pt x="1425142" y="2617770"/>
                  <a:pt x="1417950" y="2611397"/>
                  <a:pt x="1429567" y="2608362"/>
                </a:cubicBezTo>
                <a:cubicBezTo>
                  <a:pt x="1418227" y="2597033"/>
                  <a:pt x="1409929" y="2585401"/>
                  <a:pt x="1396929" y="2581355"/>
                </a:cubicBezTo>
                <a:cubicBezTo>
                  <a:pt x="1407163" y="2569621"/>
                  <a:pt x="1385589" y="2570026"/>
                  <a:pt x="1372036" y="2562540"/>
                </a:cubicBezTo>
                <a:cubicBezTo>
                  <a:pt x="1360973" y="2552931"/>
                  <a:pt x="1351845" y="2536038"/>
                  <a:pt x="1337462" y="2525013"/>
                </a:cubicBezTo>
                <a:cubicBezTo>
                  <a:pt x="1323356" y="2515808"/>
                  <a:pt x="1310910" y="2497398"/>
                  <a:pt x="1305378" y="2483743"/>
                </a:cubicBezTo>
                <a:cubicBezTo>
                  <a:pt x="1304548" y="2480202"/>
                  <a:pt x="1295974" y="2482832"/>
                  <a:pt x="1291825" y="2477876"/>
                </a:cubicBezTo>
                <a:cubicBezTo>
                  <a:pt x="1297634" y="2475549"/>
                  <a:pt x="1294038" y="2472414"/>
                  <a:pt x="1293485" y="2470593"/>
                </a:cubicBezTo>
                <a:cubicBezTo>
                  <a:pt x="1271634" y="2467558"/>
                  <a:pt x="1274400" y="2449452"/>
                  <a:pt x="1252549" y="2446316"/>
                </a:cubicBezTo>
                <a:cubicBezTo>
                  <a:pt x="1232082" y="2403832"/>
                  <a:pt x="1191423" y="2382995"/>
                  <a:pt x="1183955" y="2342635"/>
                </a:cubicBezTo>
                <a:cubicBezTo>
                  <a:pt x="1180083" y="2337679"/>
                  <a:pt x="1170679" y="2336970"/>
                  <a:pt x="1166807" y="2332014"/>
                </a:cubicBezTo>
                <a:close/>
                <a:moveTo>
                  <a:pt x="1227234" y="2322143"/>
                </a:moveTo>
                <a:lnTo>
                  <a:pt x="1191654" y="2327112"/>
                </a:lnTo>
                <a:lnTo>
                  <a:pt x="1203732" y="2339524"/>
                </a:lnTo>
                <a:cubicBezTo>
                  <a:pt x="1212167" y="2350019"/>
                  <a:pt x="1219774" y="2362157"/>
                  <a:pt x="1229316" y="2371868"/>
                </a:cubicBezTo>
                <a:cubicBezTo>
                  <a:pt x="1235401" y="2371261"/>
                  <a:pt x="1231528" y="2368125"/>
                  <a:pt x="1231252" y="2366406"/>
                </a:cubicBezTo>
                <a:cubicBezTo>
                  <a:pt x="1255039" y="2378241"/>
                  <a:pt x="1239826" y="2411924"/>
                  <a:pt x="1258634" y="2413644"/>
                </a:cubicBezTo>
                <a:cubicBezTo>
                  <a:pt x="1252826" y="2432054"/>
                  <a:pt x="1305378" y="2451576"/>
                  <a:pt x="1292931" y="2467154"/>
                </a:cubicBezTo>
                <a:cubicBezTo>
                  <a:pt x="1303995" y="2476763"/>
                  <a:pt x="1307037" y="2476358"/>
                  <a:pt x="1314782" y="2486271"/>
                </a:cubicBezTo>
                <a:cubicBezTo>
                  <a:pt x="1315612" y="2489812"/>
                  <a:pt x="1320314" y="2482225"/>
                  <a:pt x="1320037" y="2480405"/>
                </a:cubicBezTo>
                <a:cubicBezTo>
                  <a:pt x="1362909" y="2513481"/>
                  <a:pt x="1395823" y="2542209"/>
                  <a:pt x="1435652" y="2575589"/>
                </a:cubicBezTo>
                <a:cubicBezTo>
                  <a:pt x="1453354" y="2571947"/>
                  <a:pt x="1438694" y="2559202"/>
                  <a:pt x="1438141" y="2555763"/>
                </a:cubicBezTo>
                <a:cubicBezTo>
                  <a:pt x="1430673" y="2549390"/>
                  <a:pt x="1407716" y="2540995"/>
                  <a:pt x="1396376" y="2529666"/>
                </a:cubicBezTo>
                <a:cubicBezTo>
                  <a:pt x="1381440" y="2515201"/>
                  <a:pt x="1366781" y="2502355"/>
                  <a:pt x="1355994" y="2492745"/>
                </a:cubicBezTo>
                <a:cubicBezTo>
                  <a:pt x="1345207" y="2484956"/>
                  <a:pt x="1342994" y="2472717"/>
                  <a:pt x="1332484" y="2464928"/>
                </a:cubicBezTo>
                <a:cubicBezTo>
                  <a:pt x="1313399" y="2445406"/>
                  <a:pt x="1289059" y="2430031"/>
                  <a:pt x="1273570" y="2412026"/>
                </a:cubicBezTo>
                <a:cubicBezTo>
                  <a:pt x="1257251" y="2390480"/>
                  <a:pt x="1243975" y="2368732"/>
                  <a:pt x="1230975" y="2348603"/>
                </a:cubicBezTo>
                <a:cubicBezTo>
                  <a:pt x="1289613" y="2399685"/>
                  <a:pt x="1323356" y="2465737"/>
                  <a:pt x="1389185" y="2507210"/>
                </a:cubicBezTo>
                <a:cubicBezTo>
                  <a:pt x="1401078" y="2521978"/>
                  <a:pt x="1418503" y="2532700"/>
                  <a:pt x="1430397" y="2547570"/>
                </a:cubicBezTo>
                <a:cubicBezTo>
                  <a:pt x="1430673" y="2549289"/>
                  <a:pt x="1437035" y="2550503"/>
                  <a:pt x="1440077" y="2550200"/>
                </a:cubicBezTo>
                <a:cubicBezTo>
                  <a:pt x="1464141" y="2579837"/>
                  <a:pt x="1488757" y="2580849"/>
                  <a:pt x="1507289" y="2614634"/>
                </a:cubicBezTo>
                <a:cubicBezTo>
                  <a:pt x="1487374" y="2605935"/>
                  <a:pt x="1474651" y="2587626"/>
                  <a:pt x="1455013" y="2580748"/>
                </a:cubicBezTo>
                <a:cubicBezTo>
                  <a:pt x="1467736" y="2599056"/>
                  <a:pt x="1492353" y="2616151"/>
                  <a:pt x="1519182" y="2629503"/>
                </a:cubicBezTo>
                <a:cubicBezTo>
                  <a:pt x="1538544" y="2650745"/>
                  <a:pt x="1560394" y="2669863"/>
                  <a:pt x="1589989" y="2681091"/>
                </a:cubicBezTo>
                <a:cubicBezTo>
                  <a:pt x="1592755" y="2695050"/>
                  <a:pt x="1615712" y="2703446"/>
                  <a:pt x="1631754" y="2707087"/>
                </a:cubicBezTo>
                <a:cubicBezTo>
                  <a:pt x="1643371" y="2720237"/>
                  <a:pt x="1680158" y="2737837"/>
                  <a:pt x="1706710" y="2749369"/>
                </a:cubicBezTo>
                <a:cubicBezTo>
                  <a:pt x="1725795" y="2768891"/>
                  <a:pt x="1757879" y="2776174"/>
                  <a:pt x="1781943" y="2791549"/>
                </a:cubicBezTo>
                <a:cubicBezTo>
                  <a:pt x="1789134" y="2780119"/>
                  <a:pt x="1759262" y="2783255"/>
                  <a:pt x="1766454" y="2773544"/>
                </a:cubicBezTo>
                <a:cubicBezTo>
                  <a:pt x="1685689" y="2733690"/>
                  <a:pt x="1625116" y="2704255"/>
                  <a:pt x="1569245" y="2651049"/>
                </a:cubicBezTo>
                <a:cubicBezTo>
                  <a:pt x="1613776" y="2676843"/>
                  <a:pt x="1653881" y="2695960"/>
                  <a:pt x="1699242" y="2725193"/>
                </a:cubicBezTo>
                <a:cubicBezTo>
                  <a:pt x="1705327" y="2724586"/>
                  <a:pt x="1705051" y="2722766"/>
                  <a:pt x="1704221" y="2719225"/>
                </a:cubicBezTo>
                <a:cubicBezTo>
                  <a:pt x="1712518" y="2730858"/>
                  <a:pt x="1725518" y="2735005"/>
                  <a:pt x="1739901" y="2745930"/>
                </a:cubicBezTo>
                <a:cubicBezTo>
                  <a:pt x="1745986" y="2745323"/>
                  <a:pt x="1751518" y="2742996"/>
                  <a:pt x="1751794" y="2744716"/>
                </a:cubicBezTo>
                <a:cubicBezTo>
                  <a:pt x="1747092" y="2718416"/>
                  <a:pt x="1679328" y="2716494"/>
                  <a:pt x="1675732" y="2681192"/>
                </a:cubicBezTo>
                <a:cubicBezTo>
                  <a:pt x="1663839" y="2682406"/>
                  <a:pt x="1671030" y="2688779"/>
                  <a:pt x="1668264" y="2690903"/>
                </a:cubicBezTo>
                <a:cubicBezTo>
                  <a:pt x="1656647" y="2693836"/>
                  <a:pt x="1660796" y="2682709"/>
                  <a:pt x="1649733" y="2689284"/>
                </a:cubicBezTo>
                <a:cubicBezTo>
                  <a:pt x="1644754" y="2679068"/>
                  <a:pt x="1637286" y="2672594"/>
                  <a:pt x="1627052" y="2666525"/>
                </a:cubicBezTo>
                <a:cubicBezTo>
                  <a:pt x="1625393" y="2657725"/>
                  <a:pt x="1636733" y="2669155"/>
                  <a:pt x="1642265" y="2665008"/>
                </a:cubicBezTo>
                <a:cubicBezTo>
                  <a:pt x="1621797" y="2638607"/>
                  <a:pt x="1597180" y="2621411"/>
                  <a:pt x="1559564" y="2600371"/>
                </a:cubicBezTo>
                <a:cubicBezTo>
                  <a:pt x="1553756" y="2600978"/>
                  <a:pt x="1563990" y="2607047"/>
                  <a:pt x="1564543" y="2610588"/>
                </a:cubicBezTo>
                <a:cubicBezTo>
                  <a:pt x="1549331" y="2610385"/>
                  <a:pt x="1541862" y="2603912"/>
                  <a:pt x="1549607" y="2595921"/>
                </a:cubicBezTo>
                <a:cubicBezTo>
                  <a:pt x="1552649" y="2595617"/>
                  <a:pt x="1553203" y="2599157"/>
                  <a:pt x="1556245" y="2598854"/>
                </a:cubicBezTo>
                <a:cubicBezTo>
                  <a:pt x="1560394" y="2587727"/>
                  <a:pt x="1526650" y="2571543"/>
                  <a:pt x="1519182" y="2563451"/>
                </a:cubicBezTo>
                <a:cubicBezTo>
                  <a:pt x="1507842" y="2568205"/>
                  <a:pt x="1511161" y="2569621"/>
                  <a:pt x="1511714" y="2573161"/>
                </a:cubicBezTo>
                <a:cubicBezTo>
                  <a:pt x="1456120" y="2553841"/>
                  <a:pt x="1476587" y="2500028"/>
                  <a:pt x="1424035" y="2480405"/>
                </a:cubicBezTo>
                <a:cubicBezTo>
                  <a:pt x="1422929" y="2475145"/>
                  <a:pt x="1428737" y="2472818"/>
                  <a:pt x="1430950" y="2468974"/>
                </a:cubicBezTo>
                <a:cubicBezTo>
                  <a:pt x="1421269" y="2466446"/>
                  <a:pt x="1417674" y="2463209"/>
                  <a:pt x="1419333" y="2455825"/>
                </a:cubicBezTo>
                <a:cubicBezTo>
                  <a:pt x="1407440" y="2457139"/>
                  <a:pt x="1402461" y="2446923"/>
                  <a:pt x="1390014" y="2446417"/>
                </a:cubicBezTo>
                <a:lnTo>
                  <a:pt x="1386972" y="2422242"/>
                </a:lnTo>
                <a:lnTo>
                  <a:pt x="1373972" y="2419410"/>
                </a:lnTo>
                <a:cubicBezTo>
                  <a:pt x="1362079" y="2415768"/>
                  <a:pt x="1361249" y="2410812"/>
                  <a:pt x="1359590" y="2400292"/>
                </a:cubicBezTo>
                <a:cubicBezTo>
                  <a:pt x="1337186" y="2387749"/>
                  <a:pt x="1304548" y="2381579"/>
                  <a:pt x="1294038" y="2359325"/>
                </a:cubicBezTo>
                <a:cubicBezTo>
                  <a:pt x="1289336" y="2361753"/>
                  <a:pt x="1286570" y="2360842"/>
                  <a:pt x="1277996" y="2358314"/>
                </a:cubicBezTo>
                <a:cubicBezTo>
                  <a:pt x="1277996" y="2352548"/>
                  <a:pt x="1283528" y="2354268"/>
                  <a:pt x="1282421" y="2350120"/>
                </a:cubicBezTo>
                <a:cubicBezTo>
                  <a:pt x="1276889" y="2348401"/>
                  <a:pt x="1270528" y="2348300"/>
                  <a:pt x="1265826" y="2350727"/>
                </a:cubicBezTo>
                <a:cubicBezTo>
                  <a:pt x="1261954" y="2345771"/>
                  <a:pt x="1248677" y="2328372"/>
                  <a:pt x="1238720" y="2334846"/>
                </a:cubicBezTo>
                <a:cubicBezTo>
                  <a:pt x="1235677" y="2333936"/>
                  <a:pt x="1236784" y="2332419"/>
                  <a:pt x="1240379" y="2331609"/>
                </a:cubicBezTo>
                <a:close/>
                <a:moveTo>
                  <a:pt x="1328593" y="2307616"/>
                </a:moveTo>
                <a:lnTo>
                  <a:pt x="1327326" y="2307802"/>
                </a:lnTo>
                <a:lnTo>
                  <a:pt x="1329995" y="2309457"/>
                </a:lnTo>
                <a:close/>
                <a:moveTo>
                  <a:pt x="1349168" y="2304588"/>
                </a:moveTo>
                <a:lnTo>
                  <a:pt x="1335271" y="2306633"/>
                </a:lnTo>
                <a:lnTo>
                  <a:pt x="1341888" y="2316234"/>
                </a:lnTo>
                <a:lnTo>
                  <a:pt x="1344654" y="2318561"/>
                </a:lnTo>
                <a:lnTo>
                  <a:pt x="1352675" y="2323719"/>
                </a:lnTo>
                <a:cubicBezTo>
                  <a:pt x="1358483" y="2325439"/>
                  <a:pt x="1367887" y="2326349"/>
                  <a:pt x="1373419" y="2328069"/>
                </a:cubicBezTo>
                <a:lnTo>
                  <a:pt x="1375909" y="2330294"/>
                </a:lnTo>
                <a:lnTo>
                  <a:pt x="1373419" y="2325641"/>
                </a:lnTo>
                <a:lnTo>
                  <a:pt x="1368717" y="2318257"/>
                </a:lnTo>
                <a:lnTo>
                  <a:pt x="1362355" y="2314515"/>
                </a:lnTo>
                <a:close/>
                <a:moveTo>
                  <a:pt x="1715296" y="1449817"/>
                </a:moveTo>
                <a:cubicBezTo>
                  <a:pt x="1719168" y="1447693"/>
                  <a:pt x="1722487" y="1454167"/>
                  <a:pt x="1726359" y="1451941"/>
                </a:cubicBezTo>
                <a:cubicBezTo>
                  <a:pt x="1729678" y="1458415"/>
                  <a:pt x="1717785" y="1467620"/>
                  <a:pt x="1710317" y="1466204"/>
                </a:cubicBezTo>
                <a:cubicBezTo>
                  <a:pt x="1706998" y="1459730"/>
                  <a:pt x="1718615" y="1456291"/>
                  <a:pt x="1715296" y="1449817"/>
                </a:cubicBezTo>
                <a:close/>
                <a:moveTo>
                  <a:pt x="1728122" y="1430536"/>
                </a:moveTo>
                <a:cubicBezTo>
                  <a:pt x="1730231" y="1429385"/>
                  <a:pt x="1732583" y="1428828"/>
                  <a:pt x="1736317" y="1432520"/>
                </a:cubicBezTo>
                <a:cubicBezTo>
                  <a:pt x="1726912" y="1431913"/>
                  <a:pt x="1734380" y="1436465"/>
                  <a:pt x="1730508" y="1441422"/>
                </a:cubicBezTo>
                <a:cubicBezTo>
                  <a:pt x="1727742" y="1440005"/>
                  <a:pt x="1726635" y="1438690"/>
                  <a:pt x="1725253" y="1437173"/>
                </a:cubicBezTo>
                <a:cubicBezTo>
                  <a:pt x="1724147" y="1435555"/>
                  <a:pt x="1723317" y="1433936"/>
                  <a:pt x="1721381" y="1432116"/>
                </a:cubicBezTo>
                <a:cubicBezTo>
                  <a:pt x="1724146" y="1433431"/>
                  <a:pt x="1726013" y="1431686"/>
                  <a:pt x="1728122" y="1430536"/>
                </a:cubicBezTo>
                <a:close/>
                <a:moveTo>
                  <a:pt x="1953993" y="1297279"/>
                </a:moveTo>
                <a:cubicBezTo>
                  <a:pt x="1957588" y="1297987"/>
                  <a:pt x="1961461" y="1295863"/>
                  <a:pt x="1965055" y="1299404"/>
                </a:cubicBezTo>
                <a:cubicBezTo>
                  <a:pt x="1968098" y="1305675"/>
                  <a:pt x="1959248" y="1299707"/>
                  <a:pt x="1955099" y="1304664"/>
                </a:cubicBezTo>
                <a:cubicBezTo>
                  <a:pt x="1955375" y="1301831"/>
                  <a:pt x="1957312" y="1300820"/>
                  <a:pt x="1953993" y="1297279"/>
                </a:cubicBezTo>
                <a:close/>
                <a:moveTo>
                  <a:pt x="1792741" y="1295155"/>
                </a:moveTo>
                <a:cubicBezTo>
                  <a:pt x="1801868" y="1301629"/>
                  <a:pt x="1796336" y="1307597"/>
                  <a:pt x="1792464" y="1312553"/>
                </a:cubicBezTo>
                <a:cubicBezTo>
                  <a:pt x="1784996" y="1305169"/>
                  <a:pt x="1786933" y="1301224"/>
                  <a:pt x="1792741" y="1295155"/>
                </a:cubicBezTo>
                <a:close/>
                <a:moveTo>
                  <a:pt x="2089245" y="1255099"/>
                </a:moveTo>
                <a:lnTo>
                  <a:pt x="2081777" y="1262786"/>
                </a:lnTo>
                <a:cubicBezTo>
                  <a:pt x="2069883" y="1274419"/>
                  <a:pt x="2059650" y="1285647"/>
                  <a:pt x="2059097" y="1295661"/>
                </a:cubicBezTo>
                <a:cubicBezTo>
                  <a:pt x="2044438" y="1289693"/>
                  <a:pt x="2054948" y="1309215"/>
                  <a:pt x="2041672" y="1310834"/>
                </a:cubicBezTo>
                <a:cubicBezTo>
                  <a:pt x="2045267" y="1313059"/>
                  <a:pt x="2048586" y="1313363"/>
                  <a:pt x="2051629" y="1313059"/>
                </a:cubicBezTo>
                <a:cubicBezTo>
                  <a:pt x="2054672" y="1312756"/>
                  <a:pt x="2057438" y="1311946"/>
                  <a:pt x="2060202" y="1311744"/>
                </a:cubicBezTo>
                <a:cubicBezTo>
                  <a:pt x="2066012" y="1308608"/>
                  <a:pt x="2056884" y="1305372"/>
                  <a:pt x="2066287" y="1300112"/>
                </a:cubicBezTo>
                <a:cubicBezTo>
                  <a:pt x="2069608" y="1312351"/>
                  <a:pt x="2072097" y="1296976"/>
                  <a:pt x="2079841" y="1295661"/>
                </a:cubicBezTo>
                <a:lnTo>
                  <a:pt x="2084266" y="1302337"/>
                </a:lnTo>
                <a:lnTo>
                  <a:pt x="2085373" y="1295863"/>
                </a:lnTo>
                <a:lnTo>
                  <a:pt x="2083714" y="1293537"/>
                </a:lnTo>
                <a:lnTo>
                  <a:pt x="2085926" y="1292525"/>
                </a:lnTo>
                <a:lnTo>
                  <a:pt x="2087309" y="1283523"/>
                </a:lnTo>
                <a:close/>
                <a:moveTo>
                  <a:pt x="1987183" y="1127748"/>
                </a:moveTo>
                <a:cubicBezTo>
                  <a:pt x="1977226" y="1144640"/>
                  <a:pt x="1974461" y="1168715"/>
                  <a:pt x="1942376" y="1166388"/>
                </a:cubicBezTo>
                <a:cubicBezTo>
                  <a:pt x="1950397" y="1150608"/>
                  <a:pt x="1965886" y="1139279"/>
                  <a:pt x="1981375" y="1133817"/>
                </a:cubicBezTo>
                <a:cubicBezTo>
                  <a:pt x="1979439" y="1131996"/>
                  <a:pt x="1977503" y="1135941"/>
                  <a:pt x="1973907" y="1132199"/>
                </a:cubicBezTo>
                <a:cubicBezTo>
                  <a:pt x="1975843" y="1125421"/>
                  <a:pt x="1983311" y="1132806"/>
                  <a:pt x="1987183" y="1127748"/>
                </a:cubicBezTo>
                <a:close/>
                <a:moveTo>
                  <a:pt x="1897845" y="1115306"/>
                </a:moveTo>
                <a:cubicBezTo>
                  <a:pt x="1901717" y="1113283"/>
                  <a:pt x="1905312" y="1116925"/>
                  <a:pt x="1908909" y="1120566"/>
                </a:cubicBezTo>
                <a:cubicBezTo>
                  <a:pt x="1906973" y="1121578"/>
                  <a:pt x="1899505" y="1119959"/>
                  <a:pt x="1903099" y="1123601"/>
                </a:cubicBezTo>
                <a:cubicBezTo>
                  <a:pt x="1901441" y="1123904"/>
                  <a:pt x="1900058" y="1123702"/>
                  <a:pt x="1899505" y="1123095"/>
                </a:cubicBezTo>
                <a:cubicBezTo>
                  <a:pt x="1897292" y="1121375"/>
                  <a:pt x="1899228" y="1116722"/>
                  <a:pt x="1897845" y="1115306"/>
                </a:cubicBezTo>
                <a:close/>
                <a:moveTo>
                  <a:pt x="2007374" y="1097099"/>
                </a:moveTo>
                <a:cubicBezTo>
                  <a:pt x="2009311" y="1101853"/>
                  <a:pt x="2014843" y="1107517"/>
                  <a:pt x="2020651" y="1101448"/>
                </a:cubicBezTo>
                <a:cubicBezTo>
                  <a:pt x="2024247" y="1108124"/>
                  <a:pt x="2010970" y="1106708"/>
                  <a:pt x="2010970" y="1109642"/>
                </a:cubicBezTo>
                <a:cubicBezTo>
                  <a:pt x="2009034" y="1107720"/>
                  <a:pt x="2005439" y="1103876"/>
                  <a:pt x="2003502" y="1104887"/>
                </a:cubicBezTo>
                <a:cubicBezTo>
                  <a:pt x="1999907" y="1101145"/>
                  <a:pt x="2003502" y="1099122"/>
                  <a:pt x="2007374" y="1097099"/>
                </a:cubicBezTo>
                <a:close/>
                <a:moveTo>
                  <a:pt x="1819017" y="1088703"/>
                </a:moveTo>
                <a:cubicBezTo>
                  <a:pt x="1824272" y="1094165"/>
                  <a:pt x="1816528" y="1098313"/>
                  <a:pt x="1812655" y="1103269"/>
                </a:cubicBezTo>
                <a:cubicBezTo>
                  <a:pt x="1805464" y="1098920"/>
                  <a:pt x="1814867" y="1093660"/>
                  <a:pt x="1819017" y="1088703"/>
                </a:cubicBezTo>
                <a:close/>
                <a:moveTo>
                  <a:pt x="1927379" y="1083826"/>
                </a:moveTo>
                <a:cubicBezTo>
                  <a:pt x="1928944" y="1083273"/>
                  <a:pt x="1930759" y="1083494"/>
                  <a:pt x="1932972" y="1085062"/>
                </a:cubicBezTo>
                <a:cubicBezTo>
                  <a:pt x="1927440" y="1090928"/>
                  <a:pt x="1923568" y="1095885"/>
                  <a:pt x="1925227" y="1100437"/>
                </a:cubicBezTo>
                <a:cubicBezTo>
                  <a:pt x="1923291" y="1101448"/>
                  <a:pt x="1919695" y="1097908"/>
                  <a:pt x="1916100" y="1094266"/>
                </a:cubicBezTo>
                <a:cubicBezTo>
                  <a:pt x="1920248" y="1094115"/>
                  <a:pt x="1922686" y="1085485"/>
                  <a:pt x="1927379" y="1083826"/>
                </a:cubicBezTo>
                <a:close/>
                <a:moveTo>
                  <a:pt x="1876893" y="1069257"/>
                </a:moveTo>
                <a:cubicBezTo>
                  <a:pt x="1878898" y="1070926"/>
                  <a:pt x="1881110" y="1073177"/>
                  <a:pt x="1884845" y="1072519"/>
                </a:cubicBezTo>
                <a:cubicBezTo>
                  <a:pt x="1886505" y="1077071"/>
                  <a:pt x="1866037" y="1080004"/>
                  <a:pt x="1869356" y="1086377"/>
                </a:cubicBezTo>
                <a:cubicBezTo>
                  <a:pt x="1865760" y="1087085"/>
                  <a:pt x="1862995" y="1087186"/>
                  <a:pt x="1860505" y="1086377"/>
                </a:cubicBezTo>
                <a:cubicBezTo>
                  <a:pt x="1858292" y="1085567"/>
                  <a:pt x="1856633" y="1083747"/>
                  <a:pt x="1854973" y="1080510"/>
                </a:cubicBezTo>
                <a:cubicBezTo>
                  <a:pt x="1854973" y="1077779"/>
                  <a:pt x="1858845" y="1075756"/>
                  <a:pt x="1862718" y="1073631"/>
                </a:cubicBezTo>
                <a:cubicBezTo>
                  <a:pt x="1866037" y="1080004"/>
                  <a:pt x="1877377" y="1073834"/>
                  <a:pt x="1870186" y="1069484"/>
                </a:cubicBezTo>
                <a:cubicBezTo>
                  <a:pt x="1873090" y="1066500"/>
                  <a:pt x="1874888" y="1067588"/>
                  <a:pt x="1876893" y="1069257"/>
                </a:cubicBezTo>
                <a:close/>
                <a:moveTo>
                  <a:pt x="1887507" y="1058598"/>
                </a:moveTo>
                <a:cubicBezTo>
                  <a:pt x="1890100" y="1058180"/>
                  <a:pt x="1892451" y="1058256"/>
                  <a:pt x="1895079" y="1060886"/>
                </a:cubicBezTo>
                <a:cubicBezTo>
                  <a:pt x="1894803" y="1063718"/>
                  <a:pt x="1890930" y="1065843"/>
                  <a:pt x="1892590" y="1067663"/>
                </a:cubicBezTo>
                <a:cubicBezTo>
                  <a:pt x="1890653" y="1068675"/>
                  <a:pt x="1885675" y="1060684"/>
                  <a:pt x="1878484" y="1059268"/>
                </a:cubicBezTo>
                <a:cubicBezTo>
                  <a:pt x="1882079" y="1059926"/>
                  <a:pt x="1884914" y="1059015"/>
                  <a:pt x="1887507" y="1058598"/>
                </a:cubicBezTo>
                <a:close/>
                <a:moveTo>
                  <a:pt x="1944312" y="1045208"/>
                </a:moveTo>
                <a:cubicBezTo>
                  <a:pt x="1943482" y="1059369"/>
                  <a:pt x="1922185" y="1073834"/>
                  <a:pt x="1906973" y="1079397"/>
                </a:cubicBezTo>
                <a:cubicBezTo>
                  <a:pt x="1911121" y="1071608"/>
                  <a:pt x="1907526" y="1068068"/>
                  <a:pt x="1905865" y="1063415"/>
                </a:cubicBezTo>
                <a:cubicBezTo>
                  <a:pt x="1917482" y="1059976"/>
                  <a:pt x="1930759" y="1055424"/>
                  <a:pt x="1944312" y="1045208"/>
                </a:cubicBezTo>
                <a:close/>
                <a:moveTo>
                  <a:pt x="1790528" y="1033373"/>
                </a:moveTo>
                <a:lnTo>
                  <a:pt x="1790528" y="1033676"/>
                </a:lnTo>
                <a:lnTo>
                  <a:pt x="1790252" y="1033777"/>
                </a:lnTo>
                <a:close/>
                <a:moveTo>
                  <a:pt x="1960354" y="1028619"/>
                </a:moveTo>
                <a:cubicBezTo>
                  <a:pt x="1965610" y="1033777"/>
                  <a:pt x="1963120" y="1037722"/>
                  <a:pt x="1957035" y="1043690"/>
                </a:cubicBezTo>
                <a:cubicBezTo>
                  <a:pt x="1955099" y="1041971"/>
                  <a:pt x="1957312" y="1040858"/>
                  <a:pt x="1957588" y="1038127"/>
                </a:cubicBezTo>
                <a:cubicBezTo>
                  <a:pt x="1953716" y="1037419"/>
                  <a:pt x="1953716" y="1037520"/>
                  <a:pt x="1948461" y="1035193"/>
                </a:cubicBezTo>
                <a:cubicBezTo>
                  <a:pt x="1952056" y="1035800"/>
                  <a:pt x="1953993" y="1034789"/>
                  <a:pt x="1957865" y="1035396"/>
                </a:cubicBezTo>
                <a:cubicBezTo>
                  <a:pt x="1959801" y="1034283"/>
                  <a:pt x="1956482" y="1030844"/>
                  <a:pt x="1960354" y="1028619"/>
                </a:cubicBezTo>
                <a:close/>
                <a:moveTo>
                  <a:pt x="1858292" y="1027708"/>
                </a:moveTo>
                <a:cubicBezTo>
                  <a:pt x="1866867" y="1025179"/>
                  <a:pt x="1868803" y="1034384"/>
                  <a:pt x="1863824" y="1034890"/>
                </a:cubicBezTo>
                <a:cubicBezTo>
                  <a:pt x="1862165" y="1034991"/>
                  <a:pt x="1859676" y="1034283"/>
                  <a:pt x="1856357" y="1031653"/>
                </a:cubicBezTo>
                <a:cubicBezTo>
                  <a:pt x="1858292" y="1030642"/>
                  <a:pt x="1858292" y="1027708"/>
                  <a:pt x="1858292" y="1027708"/>
                </a:cubicBezTo>
                <a:close/>
                <a:moveTo>
                  <a:pt x="1791635" y="1025685"/>
                </a:moveTo>
                <a:lnTo>
                  <a:pt x="1790528" y="1033373"/>
                </a:lnTo>
                <a:lnTo>
                  <a:pt x="1790252" y="1029529"/>
                </a:lnTo>
                <a:cubicBezTo>
                  <a:pt x="1789698" y="1026697"/>
                  <a:pt x="1788869" y="1024370"/>
                  <a:pt x="1791635" y="1025685"/>
                </a:cubicBezTo>
                <a:close/>
                <a:moveTo>
                  <a:pt x="2162542" y="1021234"/>
                </a:moveTo>
                <a:cubicBezTo>
                  <a:pt x="2161988" y="1029832"/>
                  <a:pt x="2141244" y="1035497"/>
                  <a:pt x="2137372" y="1040555"/>
                </a:cubicBezTo>
                <a:cubicBezTo>
                  <a:pt x="2135713" y="1030035"/>
                  <a:pt x="2150925" y="1027506"/>
                  <a:pt x="2162542" y="1021234"/>
                </a:cubicBezTo>
                <a:close/>
                <a:moveTo>
                  <a:pt x="1846399" y="1017998"/>
                </a:moveTo>
                <a:cubicBezTo>
                  <a:pt x="1848336" y="1016885"/>
                  <a:pt x="1852207" y="1017593"/>
                  <a:pt x="1854144" y="1019414"/>
                </a:cubicBezTo>
                <a:cubicBezTo>
                  <a:pt x="1855526" y="1024168"/>
                  <a:pt x="1847782" y="1025584"/>
                  <a:pt x="1843909" y="1027809"/>
                </a:cubicBezTo>
                <a:cubicBezTo>
                  <a:pt x="1836442" y="1023460"/>
                  <a:pt x="1851931" y="1020526"/>
                  <a:pt x="1846399" y="1017998"/>
                </a:cubicBezTo>
                <a:close/>
                <a:moveTo>
                  <a:pt x="1907802" y="1014862"/>
                </a:moveTo>
                <a:cubicBezTo>
                  <a:pt x="1909738" y="1016683"/>
                  <a:pt x="1907526" y="1020526"/>
                  <a:pt x="1911121" y="1021234"/>
                </a:cubicBezTo>
                <a:cubicBezTo>
                  <a:pt x="1909184" y="1028012"/>
                  <a:pt x="1903654" y="1025483"/>
                  <a:pt x="1901717" y="1029327"/>
                </a:cubicBezTo>
                <a:cubicBezTo>
                  <a:pt x="1906973" y="1034789"/>
                  <a:pt x="1911121" y="1027000"/>
                  <a:pt x="1914716" y="1024977"/>
                </a:cubicBezTo>
                <a:cubicBezTo>
                  <a:pt x="1918313" y="1028619"/>
                  <a:pt x="1905036" y="1038633"/>
                  <a:pt x="1914441" y="1036306"/>
                </a:cubicBezTo>
                <a:cubicBezTo>
                  <a:pt x="1912504" y="1040251"/>
                  <a:pt x="1895356" y="1046624"/>
                  <a:pt x="1911675" y="1057245"/>
                </a:cubicBezTo>
                <a:cubicBezTo>
                  <a:pt x="1909738" y="1057548"/>
                  <a:pt x="1908355" y="1057548"/>
                  <a:pt x="1906696" y="1057346"/>
                </a:cubicBezTo>
                <a:cubicBezTo>
                  <a:pt x="1902270" y="1056638"/>
                  <a:pt x="1898951" y="1053806"/>
                  <a:pt x="1893419" y="1050569"/>
                </a:cubicBezTo>
                <a:cubicBezTo>
                  <a:pt x="1890100" y="1041263"/>
                  <a:pt x="1903099" y="1042578"/>
                  <a:pt x="1899780" y="1033272"/>
                </a:cubicBezTo>
                <a:cubicBezTo>
                  <a:pt x="1894248" y="1030642"/>
                  <a:pt x="1892313" y="1034485"/>
                  <a:pt x="1886782" y="1029023"/>
                </a:cubicBezTo>
                <a:cubicBezTo>
                  <a:pt x="1894526" y="1024876"/>
                  <a:pt x="1901994" y="1020830"/>
                  <a:pt x="1907802" y="1014862"/>
                </a:cubicBezTo>
                <a:close/>
                <a:moveTo>
                  <a:pt x="1868803" y="1013850"/>
                </a:moveTo>
                <a:cubicBezTo>
                  <a:pt x="1872675" y="1011827"/>
                  <a:pt x="1876270" y="1012535"/>
                  <a:pt x="1879867" y="1016177"/>
                </a:cubicBezTo>
                <a:cubicBezTo>
                  <a:pt x="1877931" y="1017188"/>
                  <a:pt x="1877931" y="1020021"/>
                  <a:pt x="1875995" y="1021133"/>
                </a:cubicBezTo>
                <a:cubicBezTo>
                  <a:pt x="1873229" y="1019818"/>
                  <a:pt x="1871846" y="1018503"/>
                  <a:pt x="1871016" y="1017188"/>
                </a:cubicBezTo>
                <a:cubicBezTo>
                  <a:pt x="1870186" y="1015975"/>
                  <a:pt x="1869633" y="1014761"/>
                  <a:pt x="1868803" y="1013850"/>
                </a:cubicBezTo>
                <a:close/>
                <a:moveTo>
                  <a:pt x="5702616" y="1011183"/>
                </a:moveTo>
                <a:cubicBezTo>
                  <a:pt x="5709738" y="1011676"/>
                  <a:pt x="5716446" y="1014053"/>
                  <a:pt x="5722254" y="1017290"/>
                </a:cubicBezTo>
                <a:cubicBezTo>
                  <a:pt x="5715616" y="1019211"/>
                  <a:pt x="5708148" y="1020628"/>
                  <a:pt x="5700958" y="1020729"/>
                </a:cubicBezTo>
                <a:cubicBezTo>
                  <a:pt x="5693489" y="1020830"/>
                  <a:pt x="5686297" y="1019616"/>
                  <a:pt x="5680489" y="1016379"/>
                </a:cubicBezTo>
                <a:cubicBezTo>
                  <a:pt x="5687957" y="1012080"/>
                  <a:pt x="5695494" y="1010690"/>
                  <a:pt x="5702616" y="1011183"/>
                </a:cubicBezTo>
                <a:close/>
                <a:moveTo>
                  <a:pt x="1950950" y="989169"/>
                </a:moveTo>
                <a:cubicBezTo>
                  <a:pt x="1960078" y="992406"/>
                  <a:pt x="1958141" y="993519"/>
                  <a:pt x="1959801" y="998172"/>
                </a:cubicBezTo>
                <a:cubicBezTo>
                  <a:pt x="1941270" y="991496"/>
                  <a:pt x="1932694" y="1012839"/>
                  <a:pt x="1939887" y="1022954"/>
                </a:cubicBezTo>
                <a:cubicBezTo>
                  <a:pt x="1937673" y="1026798"/>
                  <a:pt x="1923568" y="1009501"/>
                  <a:pt x="1924951" y="1019919"/>
                </a:cubicBezTo>
                <a:cubicBezTo>
                  <a:pt x="1923014" y="1020223"/>
                  <a:pt x="1922461" y="1019818"/>
                  <a:pt x="1922738" y="1019009"/>
                </a:cubicBezTo>
                <a:cubicBezTo>
                  <a:pt x="1923014" y="1016683"/>
                  <a:pt x="1929100" y="1010613"/>
                  <a:pt x="1923568" y="1009501"/>
                </a:cubicBezTo>
                <a:cubicBezTo>
                  <a:pt x="1931312" y="1002420"/>
                  <a:pt x="1940992" y="997261"/>
                  <a:pt x="1950950" y="989169"/>
                </a:cubicBezTo>
                <a:close/>
                <a:moveTo>
                  <a:pt x="5669149" y="987753"/>
                </a:moveTo>
                <a:lnTo>
                  <a:pt x="5668597" y="989169"/>
                </a:lnTo>
                <a:cubicBezTo>
                  <a:pt x="5668872" y="989978"/>
                  <a:pt x="5669425" y="990990"/>
                  <a:pt x="5668597" y="993317"/>
                </a:cubicBezTo>
                <a:cubicBezTo>
                  <a:pt x="5659191" y="996553"/>
                  <a:pt x="5650064" y="999790"/>
                  <a:pt x="5634852" y="994126"/>
                </a:cubicBezTo>
                <a:cubicBezTo>
                  <a:pt x="5629320" y="993721"/>
                  <a:pt x="5636788" y="997969"/>
                  <a:pt x="5629320" y="999387"/>
                </a:cubicBezTo>
                <a:cubicBezTo>
                  <a:pt x="5633193" y="1003027"/>
                  <a:pt x="5635958" y="1003836"/>
                  <a:pt x="5637617" y="1005151"/>
                </a:cubicBezTo>
                <a:lnTo>
                  <a:pt x="5638447" y="1009906"/>
                </a:lnTo>
                <a:lnTo>
                  <a:pt x="5640383" y="1010108"/>
                </a:lnTo>
                <a:cubicBezTo>
                  <a:pt x="5645086" y="1011625"/>
                  <a:pt x="5649788" y="1012839"/>
                  <a:pt x="5658362" y="1009299"/>
                </a:cubicBezTo>
                <a:cubicBezTo>
                  <a:pt x="5667766" y="1014660"/>
                  <a:pt x="5678276" y="1018402"/>
                  <a:pt x="5689617" y="1021437"/>
                </a:cubicBezTo>
                <a:lnTo>
                  <a:pt x="5707871" y="1025585"/>
                </a:lnTo>
                <a:lnTo>
                  <a:pt x="5713403" y="1026192"/>
                </a:lnTo>
                <a:lnTo>
                  <a:pt x="5715892" y="1027304"/>
                </a:lnTo>
                <a:lnTo>
                  <a:pt x="5720790" y="1028367"/>
                </a:lnTo>
                <a:lnTo>
                  <a:pt x="5724427" y="1028287"/>
                </a:lnTo>
                <a:lnTo>
                  <a:pt x="5735906" y="1028162"/>
                </a:lnTo>
                <a:lnTo>
                  <a:pt x="5732764" y="1023966"/>
                </a:lnTo>
                <a:cubicBezTo>
                  <a:pt x="5740233" y="1022499"/>
                  <a:pt x="5751987" y="1024143"/>
                  <a:pt x="5764469" y="1026533"/>
                </a:cubicBezTo>
                <a:lnTo>
                  <a:pt x="5770856" y="1027780"/>
                </a:lnTo>
                <a:lnTo>
                  <a:pt x="5842646" y="1026996"/>
                </a:lnTo>
                <a:lnTo>
                  <a:pt x="5842017" y="1026192"/>
                </a:lnTo>
                <a:cubicBezTo>
                  <a:pt x="5798593" y="1023460"/>
                  <a:pt x="5767615" y="1005151"/>
                  <a:pt x="5718658" y="1004848"/>
                </a:cubicBezTo>
                <a:cubicBezTo>
                  <a:pt x="5710637" y="994935"/>
                  <a:pt x="5675510" y="1002319"/>
                  <a:pt x="5675787" y="987955"/>
                </a:cubicBezTo>
                <a:close/>
                <a:moveTo>
                  <a:pt x="1837021" y="985991"/>
                </a:moveTo>
                <a:cubicBezTo>
                  <a:pt x="1840348" y="985421"/>
                  <a:pt x="1843425" y="985705"/>
                  <a:pt x="1845293" y="987551"/>
                </a:cubicBezTo>
                <a:cubicBezTo>
                  <a:pt x="1837272" y="997464"/>
                  <a:pt x="1818186" y="1005050"/>
                  <a:pt x="1827591" y="1011423"/>
                </a:cubicBezTo>
                <a:cubicBezTo>
                  <a:pt x="1828974" y="1012738"/>
                  <a:pt x="1821783" y="1017290"/>
                  <a:pt x="1815698" y="1018301"/>
                </a:cubicBezTo>
                <a:cubicBezTo>
                  <a:pt x="1813762" y="1018604"/>
                  <a:pt x="1811826" y="1018503"/>
                  <a:pt x="1810443" y="1017896"/>
                </a:cubicBezTo>
                <a:cubicBezTo>
                  <a:pt x="1806847" y="1008489"/>
                  <a:pt x="1818464" y="999284"/>
                  <a:pt x="1826208" y="995137"/>
                </a:cubicBezTo>
                <a:cubicBezTo>
                  <a:pt x="1814799" y="997110"/>
                  <a:pt x="1827038" y="987703"/>
                  <a:pt x="1837021" y="985991"/>
                </a:cubicBezTo>
                <a:close/>
                <a:moveTo>
                  <a:pt x="1900066" y="984542"/>
                </a:moveTo>
                <a:cubicBezTo>
                  <a:pt x="1908649" y="990156"/>
                  <a:pt x="1898951" y="1011929"/>
                  <a:pt x="1878207" y="1008894"/>
                </a:cubicBezTo>
                <a:cubicBezTo>
                  <a:pt x="1878484" y="1000296"/>
                  <a:pt x="1891484" y="1001409"/>
                  <a:pt x="1897569" y="992608"/>
                </a:cubicBezTo>
                <a:cubicBezTo>
                  <a:pt x="1892313" y="987247"/>
                  <a:pt x="1890377" y="991192"/>
                  <a:pt x="1885121" y="985831"/>
                </a:cubicBezTo>
                <a:cubicBezTo>
                  <a:pt x="1892313" y="982594"/>
                  <a:pt x="1897205" y="982671"/>
                  <a:pt x="1900066" y="984542"/>
                </a:cubicBezTo>
                <a:close/>
                <a:moveTo>
                  <a:pt x="1719168" y="975918"/>
                </a:moveTo>
                <a:cubicBezTo>
                  <a:pt x="1720551" y="980470"/>
                  <a:pt x="1719998" y="986236"/>
                  <a:pt x="1713636" y="992305"/>
                </a:cubicBezTo>
                <a:cubicBezTo>
                  <a:pt x="1718062" y="987348"/>
                  <a:pt x="1713360" y="976323"/>
                  <a:pt x="1719168" y="975918"/>
                </a:cubicBezTo>
                <a:close/>
                <a:moveTo>
                  <a:pt x="1727119" y="963679"/>
                </a:moveTo>
                <a:cubicBezTo>
                  <a:pt x="1728295" y="962667"/>
                  <a:pt x="1729678" y="962617"/>
                  <a:pt x="1732444" y="965398"/>
                </a:cubicBezTo>
                <a:cubicBezTo>
                  <a:pt x="1730508" y="966511"/>
                  <a:pt x="1730508" y="966410"/>
                  <a:pt x="1728572" y="967421"/>
                </a:cubicBezTo>
                <a:cubicBezTo>
                  <a:pt x="1730508" y="969343"/>
                  <a:pt x="1730508" y="969343"/>
                  <a:pt x="1732444" y="968332"/>
                </a:cubicBezTo>
                <a:cubicBezTo>
                  <a:pt x="1736040" y="972074"/>
                  <a:pt x="1730508" y="969343"/>
                  <a:pt x="1728572" y="973288"/>
                </a:cubicBezTo>
                <a:cubicBezTo>
                  <a:pt x="1726635" y="971467"/>
                  <a:pt x="1724700" y="969647"/>
                  <a:pt x="1723040" y="967725"/>
                </a:cubicBezTo>
                <a:cubicBezTo>
                  <a:pt x="1724976" y="966663"/>
                  <a:pt x="1725943" y="964691"/>
                  <a:pt x="1727119" y="963679"/>
                </a:cubicBezTo>
                <a:close/>
                <a:moveTo>
                  <a:pt x="1865206" y="963173"/>
                </a:moveTo>
                <a:cubicBezTo>
                  <a:pt x="1870738" y="968635"/>
                  <a:pt x="1859399" y="972074"/>
                  <a:pt x="1864653" y="977435"/>
                </a:cubicBezTo>
                <a:cubicBezTo>
                  <a:pt x="1862718" y="978548"/>
                  <a:pt x="1864931" y="974603"/>
                  <a:pt x="1861058" y="973895"/>
                </a:cubicBezTo>
                <a:cubicBezTo>
                  <a:pt x="1851655" y="979054"/>
                  <a:pt x="1860782" y="979560"/>
                  <a:pt x="1862442" y="984213"/>
                </a:cubicBezTo>
                <a:cubicBezTo>
                  <a:pt x="1860505" y="988056"/>
                  <a:pt x="1858569" y="989068"/>
                  <a:pt x="1854973" y="991192"/>
                </a:cubicBezTo>
                <a:cubicBezTo>
                  <a:pt x="1851378" y="987551"/>
                  <a:pt x="1853038" y="986539"/>
                  <a:pt x="1855250" y="982594"/>
                </a:cubicBezTo>
                <a:cubicBezTo>
                  <a:pt x="1849718" y="977233"/>
                  <a:pt x="1847506" y="986741"/>
                  <a:pt x="1842251" y="981380"/>
                </a:cubicBezTo>
                <a:cubicBezTo>
                  <a:pt x="1851931" y="973288"/>
                  <a:pt x="1853867" y="969444"/>
                  <a:pt x="1865206" y="963173"/>
                </a:cubicBezTo>
                <a:close/>
                <a:moveTo>
                  <a:pt x="1948184" y="956396"/>
                </a:moveTo>
                <a:cubicBezTo>
                  <a:pt x="1950121" y="958217"/>
                  <a:pt x="1946248" y="960341"/>
                  <a:pt x="1945971" y="963274"/>
                </a:cubicBezTo>
                <a:cubicBezTo>
                  <a:pt x="1932419" y="973592"/>
                  <a:pt x="1930206" y="977537"/>
                  <a:pt x="1916653" y="984921"/>
                </a:cubicBezTo>
                <a:cubicBezTo>
                  <a:pt x="1916653" y="986438"/>
                  <a:pt x="1915547" y="986944"/>
                  <a:pt x="1914441" y="986843"/>
                </a:cubicBezTo>
                <a:cubicBezTo>
                  <a:pt x="1913058" y="986843"/>
                  <a:pt x="1911675" y="986135"/>
                  <a:pt x="1910844" y="985224"/>
                </a:cubicBezTo>
                <a:cubicBezTo>
                  <a:pt x="1913058" y="975514"/>
                  <a:pt x="1930759" y="966005"/>
                  <a:pt x="1940163" y="963578"/>
                </a:cubicBezTo>
                <a:cubicBezTo>
                  <a:pt x="1944312" y="961453"/>
                  <a:pt x="1946248" y="957407"/>
                  <a:pt x="1948184" y="956396"/>
                </a:cubicBezTo>
                <a:close/>
                <a:moveTo>
                  <a:pt x="5922505" y="949416"/>
                </a:moveTo>
                <a:cubicBezTo>
                  <a:pt x="5933845" y="950124"/>
                  <a:pt x="5922782" y="958014"/>
                  <a:pt x="5924718" y="959128"/>
                </a:cubicBezTo>
                <a:cubicBezTo>
                  <a:pt x="5922782" y="960138"/>
                  <a:pt x="5921399" y="960342"/>
                  <a:pt x="5920569" y="959835"/>
                </a:cubicBezTo>
                <a:cubicBezTo>
                  <a:pt x="5918081" y="958621"/>
                  <a:pt x="5919739" y="952047"/>
                  <a:pt x="5922505" y="949416"/>
                </a:cubicBezTo>
                <a:close/>
                <a:moveTo>
                  <a:pt x="1973631" y="937379"/>
                </a:moveTo>
                <a:cubicBezTo>
                  <a:pt x="1978885" y="945876"/>
                  <a:pt x="1952056" y="946179"/>
                  <a:pt x="1967268" y="949416"/>
                </a:cubicBezTo>
                <a:cubicBezTo>
                  <a:pt x="1968652" y="950023"/>
                  <a:pt x="1968929" y="950327"/>
                  <a:pt x="1968652" y="950428"/>
                </a:cubicBezTo>
                <a:cubicBezTo>
                  <a:pt x="1968376" y="950529"/>
                  <a:pt x="1967546" y="950529"/>
                  <a:pt x="1966439" y="950225"/>
                </a:cubicBezTo>
                <a:cubicBezTo>
                  <a:pt x="1963949" y="949720"/>
                  <a:pt x="1960631" y="948708"/>
                  <a:pt x="1959801" y="947697"/>
                </a:cubicBezTo>
                <a:cubicBezTo>
                  <a:pt x="1962014" y="940818"/>
                  <a:pt x="1967546" y="940515"/>
                  <a:pt x="1973631" y="937379"/>
                </a:cubicBezTo>
                <a:close/>
                <a:moveTo>
                  <a:pt x="5679384" y="937177"/>
                </a:moveTo>
                <a:lnTo>
                  <a:pt x="5694596" y="942336"/>
                </a:lnTo>
                <a:lnTo>
                  <a:pt x="5697361" y="941729"/>
                </a:lnTo>
                <a:lnTo>
                  <a:pt x="5701233" y="944561"/>
                </a:lnTo>
                <a:lnTo>
                  <a:pt x="5704552" y="945674"/>
                </a:lnTo>
                <a:cubicBezTo>
                  <a:pt x="5724467" y="938289"/>
                  <a:pt x="5753232" y="960240"/>
                  <a:pt x="5768168" y="958722"/>
                </a:cubicBezTo>
                <a:cubicBezTo>
                  <a:pt x="5781168" y="962768"/>
                  <a:pt x="5776189" y="968635"/>
                  <a:pt x="5789465" y="974503"/>
                </a:cubicBezTo>
                <a:cubicBezTo>
                  <a:pt x="5795550" y="973794"/>
                  <a:pt x="5791955" y="970557"/>
                  <a:pt x="5798316" y="971771"/>
                </a:cubicBezTo>
                <a:cubicBezTo>
                  <a:pt x="5807167" y="970759"/>
                  <a:pt x="5793891" y="964994"/>
                  <a:pt x="5806062" y="965499"/>
                </a:cubicBezTo>
                <a:cubicBezTo>
                  <a:pt x="5810210" y="970456"/>
                  <a:pt x="5812423" y="966612"/>
                  <a:pt x="5810763" y="973996"/>
                </a:cubicBezTo>
                <a:cubicBezTo>
                  <a:pt x="5817124" y="975110"/>
                  <a:pt x="5823486" y="976222"/>
                  <a:pt x="5831784" y="971872"/>
                </a:cubicBezTo>
                <a:cubicBezTo>
                  <a:pt x="5841464" y="974401"/>
                  <a:pt x="5836209" y="978447"/>
                  <a:pt x="5845891" y="981077"/>
                </a:cubicBezTo>
                <a:cubicBezTo>
                  <a:pt x="5846443" y="968534"/>
                  <a:pt x="5849486" y="984213"/>
                  <a:pt x="5864975" y="984415"/>
                </a:cubicBezTo>
                <a:cubicBezTo>
                  <a:pt x="5870783" y="983808"/>
                  <a:pt x="5869953" y="978548"/>
                  <a:pt x="5878804" y="977638"/>
                </a:cubicBezTo>
                <a:cubicBezTo>
                  <a:pt x="5885167" y="978750"/>
                  <a:pt x="5888485" y="980268"/>
                  <a:pt x="5894570" y="979560"/>
                </a:cubicBezTo>
                <a:cubicBezTo>
                  <a:pt x="5914207" y="1002622"/>
                  <a:pt x="5974781" y="999992"/>
                  <a:pt x="6006035" y="1019919"/>
                </a:cubicBezTo>
                <a:cubicBezTo>
                  <a:pt x="6011845" y="1017593"/>
                  <a:pt x="6014886" y="1017188"/>
                  <a:pt x="6020971" y="1018402"/>
                </a:cubicBezTo>
                <a:lnTo>
                  <a:pt x="6030652" y="1022853"/>
                </a:lnTo>
                <a:lnTo>
                  <a:pt x="6015439" y="1013446"/>
                </a:lnTo>
                <a:cubicBezTo>
                  <a:pt x="6007973" y="1012030"/>
                  <a:pt x="6004376" y="1012738"/>
                  <a:pt x="5998567" y="1012434"/>
                </a:cubicBezTo>
                <a:cubicBezTo>
                  <a:pt x="5956803" y="983201"/>
                  <a:pt x="5889314" y="981987"/>
                  <a:pt x="5828741" y="956396"/>
                </a:cubicBezTo>
                <a:cubicBezTo>
                  <a:pt x="5824869" y="957104"/>
                  <a:pt x="5823210" y="958823"/>
                  <a:pt x="5821274" y="960644"/>
                </a:cubicBezTo>
                <a:cubicBezTo>
                  <a:pt x="5789189" y="951136"/>
                  <a:pt x="5759041" y="944763"/>
                  <a:pt x="5729445" y="940616"/>
                </a:cubicBezTo>
                <a:close/>
                <a:moveTo>
                  <a:pt x="1992162" y="926758"/>
                </a:moveTo>
                <a:cubicBezTo>
                  <a:pt x="1992162" y="929590"/>
                  <a:pt x="1992162" y="932524"/>
                  <a:pt x="1988290" y="934547"/>
                </a:cubicBezTo>
                <a:cubicBezTo>
                  <a:pt x="1986630" y="932726"/>
                  <a:pt x="1982758" y="931816"/>
                  <a:pt x="1981098" y="932827"/>
                </a:cubicBezTo>
                <a:cubicBezTo>
                  <a:pt x="1977503" y="926354"/>
                  <a:pt x="1988290" y="931613"/>
                  <a:pt x="1992162" y="926758"/>
                </a:cubicBezTo>
                <a:close/>
                <a:moveTo>
                  <a:pt x="1789422" y="909562"/>
                </a:moveTo>
                <a:cubicBezTo>
                  <a:pt x="1794400" y="923622"/>
                  <a:pt x="1760380" y="931007"/>
                  <a:pt x="1769231" y="945775"/>
                </a:cubicBezTo>
                <a:cubicBezTo>
                  <a:pt x="1754018" y="951338"/>
                  <a:pt x="1755401" y="964589"/>
                  <a:pt x="1734657" y="964690"/>
                </a:cubicBezTo>
                <a:cubicBezTo>
                  <a:pt x="1731891" y="963375"/>
                  <a:pt x="1731061" y="962364"/>
                  <a:pt x="1731338" y="961959"/>
                </a:cubicBezTo>
                <a:cubicBezTo>
                  <a:pt x="1731338" y="961453"/>
                  <a:pt x="1732997" y="961352"/>
                  <a:pt x="1734933" y="961757"/>
                </a:cubicBezTo>
                <a:cubicBezTo>
                  <a:pt x="1755954" y="947393"/>
                  <a:pt x="1762316" y="927062"/>
                  <a:pt x="1789422" y="909562"/>
                </a:cubicBezTo>
                <a:close/>
                <a:moveTo>
                  <a:pt x="2033098" y="899346"/>
                </a:moveTo>
                <a:cubicBezTo>
                  <a:pt x="2032821" y="905112"/>
                  <a:pt x="2015949" y="905921"/>
                  <a:pt x="2011800" y="913811"/>
                </a:cubicBezTo>
                <a:cubicBezTo>
                  <a:pt x="2019820" y="903797"/>
                  <a:pt x="2017885" y="899042"/>
                  <a:pt x="2033098" y="899346"/>
                </a:cubicBezTo>
                <a:close/>
                <a:moveTo>
                  <a:pt x="6141841" y="889534"/>
                </a:moveTo>
                <a:cubicBezTo>
                  <a:pt x="6154841" y="885488"/>
                  <a:pt x="6162585" y="895502"/>
                  <a:pt x="6173925" y="901876"/>
                </a:cubicBezTo>
                <a:cubicBezTo>
                  <a:pt x="6162862" y="904100"/>
                  <a:pt x="6149309" y="890950"/>
                  <a:pt x="6141841" y="889534"/>
                </a:cubicBezTo>
                <a:close/>
                <a:moveTo>
                  <a:pt x="1775592" y="883566"/>
                </a:moveTo>
                <a:cubicBezTo>
                  <a:pt x="1780848" y="891861"/>
                  <a:pt x="1757891" y="901571"/>
                  <a:pt x="1772273" y="913103"/>
                </a:cubicBezTo>
                <a:cubicBezTo>
                  <a:pt x="1766465" y="916339"/>
                  <a:pt x="1764528" y="920183"/>
                  <a:pt x="1760656" y="922307"/>
                </a:cubicBezTo>
                <a:cubicBezTo>
                  <a:pt x="1753189" y="920790"/>
                  <a:pt x="1760933" y="916643"/>
                  <a:pt x="1760933" y="913811"/>
                </a:cubicBezTo>
                <a:cubicBezTo>
                  <a:pt x="1751806" y="910574"/>
                  <a:pt x="1747104" y="926758"/>
                  <a:pt x="1737975" y="926354"/>
                </a:cubicBezTo>
                <a:cubicBezTo>
                  <a:pt x="1763422" y="937278"/>
                  <a:pt x="1722487" y="937581"/>
                  <a:pt x="1731061" y="952350"/>
                </a:cubicBezTo>
                <a:cubicBezTo>
                  <a:pt x="1723869" y="948000"/>
                  <a:pt x="1727466" y="945876"/>
                  <a:pt x="1721934" y="946179"/>
                </a:cubicBezTo>
                <a:cubicBezTo>
                  <a:pt x="1723593" y="950832"/>
                  <a:pt x="1710317" y="955384"/>
                  <a:pt x="1717508" y="959734"/>
                </a:cubicBezTo>
                <a:cubicBezTo>
                  <a:pt x="1715571" y="960745"/>
                  <a:pt x="1711977" y="957104"/>
                  <a:pt x="1708381" y="956396"/>
                </a:cubicBezTo>
                <a:cubicBezTo>
                  <a:pt x="1704509" y="961352"/>
                  <a:pt x="1711700" y="965601"/>
                  <a:pt x="1713360" y="970254"/>
                </a:cubicBezTo>
                <a:cubicBezTo>
                  <a:pt x="1705615" y="971670"/>
                  <a:pt x="1702849" y="953867"/>
                  <a:pt x="1694827" y="966612"/>
                </a:cubicBezTo>
                <a:cubicBezTo>
                  <a:pt x="1691232" y="962971"/>
                  <a:pt x="1693169" y="961959"/>
                  <a:pt x="1689573" y="958318"/>
                </a:cubicBezTo>
                <a:cubicBezTo>
                  <a:pt x="1720551" y="935862"/>
                  <a:pt x="1744338" y="911788"/>
                  <a:pt x="1775592" y="883566"/>
                </a:cubicBezTo>
                <a:close/>
                <a:moveTo>
                  <a:pt x="2992035" y="879925"/>
                </a:moveTo>
                <a:lnTo>
                  <a:pt x="2922611" y="945674"/>
                </a:lnTo>
                <a:cubicBezTo>
                  <a:pt x="2919845" y="951035"/>
                  <a:pt x="2920122" y="958115"/>
                  <a:pt x="2922887" y="964589"/>
                </a:cubicBezTo>
                <a:cubicBezTo>
                  <a:pt x="2917079" y="965803"/>
                  <a:pt x="2911547" y="970456"/>
                  <a:pt x="2905461" y="975615"/>
                </a:cubicBezTo>
                <a:lnTo>
                  <a:pt x="2901037" y="978649"/>
                </a:lnTo>
                <a:lnTo>
                  <a:pt x="2894675" y="990585"/>
                </a:lnTo>
                <a:lnTo>
                  <a:pt x="2890803" y="995643"/>
                </a:lnTo>
                <a:lnTo>
                  <a:pt x="2895229" y="1001105"/>
                </a:lnTo>
                <a:lnTo>
                  <a:pt x="2885825" y="1001914"/>
                </a:lnTo>
                <a:lnTo>
                  <a:pt x="2859825" y="1035092"/>
                </a:lnTo>
                <a:lnTo>
                  <a:pt x="2846549" y="1055121"/>
                </a:lnTo>
                <a:lnTo>
                  <a:pt x="2848485" y="1058256"/>
                </a:lnTo>
                <a:cubicBezTo>
                  <a:pt x="2855122" y="1049861"/>
                  <a:pt x="2883612" y="1034182"/>
                  <a:pt x="2872825" y="1020122"/>
                </a:cubicBezTo>
                <a:lnTo>
                  <a:pt x="2902697" y="1005050"/>
                </a:lnTo>
                <a:lnTo>
                  <a:pt x="2927313" y="969141"/>
                </a:lnTo>
                <a:close/>
                <a:moveTo>
                  <a:pt x="1800209" y="861211"/>
                </a:moveTo>
                <a:cubicBezTo>
                  <a:pt x="1806847" y="865763"/>
                  <a:pt x="1800762" y="877598"/>
                  <a:pt x="1791911" y="879014"/>
                </a:cubicBezTo>
                <a:cubicBezTo>
                  <a:pt x="1788869" y="879520"/>
                  <a:pt x="1785550" y="878913"/>
                  <a:pt x="1782506" y="876384"/>
                </a:cubicBezTo>
                <a:cubicBezTo>
                  <a:pt x="1793847" y="872945"/>
                  <a:pt x="1792188" y="868191"/>
                  <a:pt x="1800209" y="861211"/>
                </a:cubicBezTo>
                <a:close/>
                <a:moveTo>
                  <a:pt x="3016928" y="858581"/>
                </a:moveTo>
                <a:lnTo>
                  <a:pt x="3001716" y="870821"/>
                </a:lnTo>
                <a:lnTo>
                  <a:pt x="2997567" y="874665"/>
                </a:lnTo>
                <a:lnTo>
                  <a:pt x="3004204" y="870720"/>
                </a:lnTo>
                <a:cubicBezTo>
                  <a:pt x="3006418" y="868090"/>
                  <a:pt x="3008907" y="865561"/>
                  <a:pt x="3013609" y="864954"/>
                </a:cubicBezTo>
                <a:close/>
                <a:moveTo>
                  <a:pt x="3974205" y="858379"/>
                </a:moveTo>
                <a:lnTo>
                  <a:pt x="3973100" y="858784"/>
                </a:lnTo>
                <a:lnTo>
                  <a:pt x="3973929" y="858784"/>
                </a:lnTo>
                <a:close/>
                <a:moveTo>
                  <a:pt x="3989694" y="849478"/>
                </a:moveTo>
                <a:lnTo>
                  <a:pt x="3986100" y="851400"/>
                </a:lnTo>
                <a:lnTo>
                  <a:pt x="3988866" y="852917"/>
                </a:lnTo>
                <a:close/>
                <a:moveTo>
                  <a:pt x="6043375" y="839464"/>
                </a:moveTo>
                <a:cubicBezTo>
                  <a:pt x="6045311" y="843510"/>
                  <a:pt x="6054715" y="840071"/>
                  <a:pt x="6062460" y="844319"/>
                </a:cubicBezTo>
                <a:cubicBezTo>
                  <a:pt x="6053056" y="850590"/>
                  <a:pt x="6075736" y="860503"/>
                  <a:pt x="6079608" y="853929"/>
                </a:cubicBezTo>
                <a:cubicBezTo>
                  <a:pt x="6079608" y="862729"/>
                  <a:pt x="6092885" y="870215"/>
                  <a:pt x="6107821" y="867180"/>
                </a:cubicBezTo>
                <a:cubicBezTo>
                  <a:pt x="6108097" y="870113"/>
                  <a:pt x="6108097" y="872945"/>
                  <a:pt x="6111969" y="875069"/>
                </a:cubicBezTo>
                <a:cubicBezTo>
                  <a:pt x="6076013" y="872136"/>
                  <a:pt x="6049183" y="854233"/>
                  <a:pt x="6013227" y="845533"/>
                </a:cubicBezTo>
                <a:cubicBezTo>
                  <a:pt x="6024568" y="837441"/>
                  <a:pt x="6033971" y="845735"/>
                  <a:pt x="6041716" y="847050"/>
                </a:cubicBezTo>
                <a:cubicBezTo>
                  <a:pt x="6041439" y="844218"/>
                  <a:pt x="6041439" y="841285"/>
                  <a:pt x="6043375" y="839464"/>
                </a:cubicBezTo>
                <a:close/>
                <a:moveTo>
                  <a:pt x="6061630" y="833294"/>
                </a:moveTo>
                <a:cubicBezTo>
                  <a:pt x="6071311" y="829956"/>
                  <a:pt x="6088459" y="836733"/>
                  <a:pt x="6092332" y="841790"/>
                </a:cubicBezTo>
                <a:cubicBezTo>
                  <a:pt x="6088459" y="843307"/>
                  <a:pt x="6085417" y="843712"/>
                  <a:pt x="6082374" y="843410"/>
                </a:cubicBezTo>
                <a:cubicBezTo>
                  <a:pt x="6074077" y="842397"/>
                  <a:pt x="6068821" y="835115"/>
                  <a:pt x="6061630" y="833294"/>
                </a:cubicBezTo>
                <a:close/>
                <a:moveTo>
                  <a:pt x="5758211" y="831877"/>
                </a:moveTo>
                <a:cubicBezTo>
                  <a:pt x="5758211" y="834709"/>
                  <a:pt x="5762083" y="836936"/>
                  <a:pt x="5758764" y="840375"/>
                </a:cubicBezTo>
                <a:cubicBezTo>
                  <a:pt x="5756828" y="841385"/>
                  <a:pt x="5755721" y="841689"/>
                  <a:pt x="5755168" y="841589"/>
                </a:cubicBezTo>
                <a:cubicBezTo>
                  <a:pt x="5753232" y="840982"/>
                  <a:pt x="5754615" y="836126"/>
                  <a:pt x="5748807" y="834912"/>
                </a:cubicBezTo>
                <a:cubicBezTo>
                  <a:pt x="5752679" y="834305"/>
                  <a:pt x="5754615" y="835417"/>
                  <a:pt x="5758211" y="831877"/>
                </a:cubicBezTo>
                <a:close/>
                <a:moveTo>
                  <a:pt x="5934676" y="820852"/>
                </a:moveTo>
                <a:cubicBezTo>
                  <a:pt x="5957079" y="816502"/>
                  <a:pt x="5977823" y="830967"/>
                  <a:pt x="6002163" y="836227"/>
                </a:cubicBezTo>
                <a:cubicBezTo>
                  <a:pt x="5999397" y="837137"/>
                  <a:pt x="5996631" y="837543"/>
                  <a:pt x="5993866" y="837744"/>
                </a:cubicBezTo>
                <a:cubicBezTo>
                  <a:pt x="5991376" y="837947"/>
                  <a:pt x="5988610" y="837845"/>
                  <a:pt x="5986121" y="837441"/>
                </a:cubicBezTo>
                <a:cubicBezTo>
                  <a:pt x="5970632" y="835215"/>
                  <a:pt x="5955696" y="824190"/>
                  <a:pt x="5934676" y="820852"/>
                </a:cubicBezTo>
                <a:close/>
                <a:moveTo>
                  <a:pt x="1901441" y="814378"/>
                </a:moveTo>
                <a:cubicBezTo>
                  <a:pt x="1893696" y="815693"/>
                  <a:pt x="1891760" y="816704"/>
                  <a:pt x="1887887" y="824392"/>
                </a:cubicBezTo>
                <a:cubicBezTo>
                  <a:pt x="1884292" y="820852"/>
                  <a:pt x="1880420" y="822875"/>
                  <a:pt x="1878484" y="823987"/>
                </a:cubicBezTo>
                <a:cubicBezTo>
                  <a:pt x="1880697" y="817210"/>
                  <a:pt x="1893973" y="809927"/>
                  <a:pt x="1901441" y="814378"/>
                </a:cubicBezTo>
                <a:close/>
                <a:moveTo>
                  <a:pt x="6026261" y="810699"/>
                </a:moveTo>
                <a:cubicBezTo>
                  <a:pt x="6028163" y="811040"/>
                  <a:pt x="6030099" y="812103"/>
                  <a:pt x="6032035" y="813164"/>
                </a:cubicBezTo>
                <a:cubicBezTo>
                  <a:pt x="6026226" y="815794"/>
                  <a:pt x="6020696" y="821358"/>
                  <a:pt x="6030099" y="823786"/>
                </a:cubicBezTo>
                <a:cubicBezTo>
                  <a:pt x="6028163" y="824898"/>
                  <a:pt x="6026504" y="825100"/>
                  <a:pt x="6025397" y="824796"/>
                </a:cubicBezTo>
                <a:cubicBezTo>
                  <a:pt x="6021248" y="823987"/>
                  <a:pt x="6019588" y="818626"/>
                  <a:pt x="6016822" y="819233"/>
                </a:cubicBezTo>
                <a:cubicBezTo>
                  <a:pt x="6018760" y="817312"/>
                  <a:pt x="6022354" y="813670"/>
                  <a:pt x="6020696" y="812557"/>
                </a:cubicBezTo>
                <a:cubicBezTo>
                  <a:pt x="6022492" y="810737"/>
                  <a:pt x="6024360" y="810358"/>
                  <a:pt x="6026261" y="810699"/>
                </a:cubicBezTo>
                <a:close/>
                <a:moveTo>
                  <a:pt x="1902824" y="788685"/>
                </a:moveTo>
                <a:cubicBezTo>
                  <a:pt x="1898122" y="807904"/>
                  <a:pt x="1865484" y="822875"/>
                  <a:pt x="1853591" y="834912"/>
                </a:cubicBezTo>
                <a:cubicBezTo>
                  <a:pt x="1851655" y="841689"/>
                  <a:pt x="1864377" y="851501"/>
                  <a:pt x="1849165" y="851400"/>
                </a:cubicBezTo>
                <a:cubicBezTo>
                  <a:pt x="1845570" y="847758"/>
                  <a:pt x="1849441" y="848567"/>
                  <a:pt x="1849441" y="848567"/>
                </a:cubicBezTo>
                <a:cubicBezTo>
                  <a:pt x="1855250" y="842498"/>
                  <a:pt x="1836719" y="838654"/>
                  <a:pt x="1832845" y="837946"/>
                </a:cubicBezTo>
                <a:cubicBezTo>
                  <a:pt x="1861058" y="836429"/>
                  <a:pt x="1875995" y="800520"/>
                  <a:pt x="1902824" y="788685"/>
                </a:cubicBezTo>
                <a:close/>
                <a:moveTo>
                  <a:pt x="5923889" y="786561"/>
                </a:moveTo>
                <a:cubicBezTo>
                  <a:pt x="5946570" y="787876"/>
                  <a:pt x="5965654" y="795665"/>
                  <a:pt x="5976995" y="804971"/>
                </a:cubicBezTo>
                <a:cubicBezTo>
                  <a:pt x="5978931" y="803150"/>
                  <a:pt x="5973398" y="802846"/>
                  <a:pt x="5976995" y="799205"/>
                </a:cubicBezTo>
                <a:cubicBezTo>
                  <a:pt x="5986397" y="798800"/>
                  <a:pt x="5978931" y="806083"/>
                  <a:pt x="5986674" y="807398"/>
                </a:cubicBezTo>
                <a:cubicBezTo>
                  <a:pt x="5962058" y="805072"/>
                  <a:pt x="5929973" y="810028"/>
                  <a:pt x="5923889" y="786561"/>
                </a:cubicBezTo>
                <a:close/>
                <a:moveTo>
                  <a:pt x="1927440" y="786359"/>
                </a:moveTo>
                <a:cubicBezTo>
                  <a:pt x="1931036" y="790000"/>
                  <a:pt x="1929100" y="793844"/>
                  <a:pt x="1925227" y="795968"/>
                </a:cubicBezTo>
                <a:cubicBezTo>
                  <a:pt x="1917760" y="791619"/>
                  <a:pt x="1923845" y="785651"/>
                  <a:pt x="1927440" y="786359"/>
                </a:cubicBezTo>
                <a:close/>
                <a:moveTo>
                  <a:pt x="6269902" y="764105"/>
                </a:moveTo>
                <a:cubicBezTo>
                  <a:pt x="6285115" y="766937"/>
                  <a:pt x="6290646" y="764409"/>
                  <a:pt x="6294519" y="775131"/>
                </a:cubicBezTo>
                <a:cubicBezTo>
                  <a:pt x="6287051" y="776648"/>
                  <a:pt x="6281243" y="764712"/>
                  <a:pt x="6269902" y="764105"/>
                </a:cubicBezTo>
                <a:close/>
                <a:moveTo>
                  <a:pt x="6095097" y="753484"/>
                </a:moveTo>
                <a:cubicBezTo>
                  <a:pt x="6095374" y="756316"/>
                  <a:pt x="6097310" y="757429"/>
                  <a:pt x="6097587" y="760261"/>
                </a:cubicBezTo>
                <a:cubicBezTo>
                  <a:pt x="6099523" y="761273"/>
                  <a:pt x="6102842" y="758036"/>
                  <a:pt x="6106991" y="760261"/>
                </a:cubicBezTo>
                <a:cubicBezTo>
                  <a:pt x="6104225" y="762790"/>
                  <a:pt x="6101459" y="763802"/>
                  <a:pt x="6098416" y="764004"/>
                </a:cubicBezTo>
                <a:cubicBezTo>
                  <a:pt x="6095097" y="764206"/>
                  <a:pt x="6091225" y="763296"/>
                  <a:pt x="6086523" y="761981"/>
                </a:cubicBezTo>
                <a:cubicBezTo>
                  <a:pt x="6088183" y="760261"/>
                  <a:pt x="6090119" y="761374"/>
                  <a:pt x="6093991" y="760767"/>
                </a:cubicBezTo>
                <a:cubicBezTo>
                  <a:pt x="6093714" y="758036"/>
                  <a:pt x="6093714" y="758036"/>
                  <a:pt x="6095097" y="753484"/>
                </a:cubicBezTo>
                <a:close/>
                <a:moveTo>
                  <a:pt x="6236435" y="747617"/>
                </a:moveTo>
                <a:cubicBezTo>
                  <a:pt x="6243903" y="743167"/>
                  <a:pt x="6240307" y="752473"/>
                  <a:pt x="6247775" y="753788"/>
                </a:cubicBezTo>
                <a:cubicBezTo>
                  <a:pt x="6245839" y="754192"/>
                  <a:pt x="6243903" y="754698"/>
                  <a:pt x="6241967" y="754698"/>
                </a:cubicBezTo>
                <a:cubicBezTo>
                  <a:pt x="6240307" y="754698"/>
                  <a:pt x="6238371" y="754394"/>
                  <a:pt x="6236435" y="753282"/>
                </a:cubicBezTo>
                <a:cubicBezTo>
                  <a:pt x="6238371" y="751461"/>
                  <a:pt x="6238371" y="748629"/>
                  <a:pt x="6236435" y="747617"/>
                </a:cubicBezTo>
                <a:close/>
                <a:moveTo>
                  <a:pt x="6009631" y="747415"/>
                </a:moveTo>
                <a:cubicBezTo>
                  <a:pt x="6011567" y="751259"/>
                  <a:pt x="6031758" y="748629"/>
                  <a:pt x="6026226" y="756822"/>
                </a:cubicBezTo>
                <a:cubicBezTo>
                  <a:pt x="6017099" y="754394"/>
                  <a:pt x="6009909" y="753079"/>
                  <a:pt x="6004376" y="755608"/>
                </a:cubicBezTo>
                <a:cubicBezTo>
                  <a:pt x="6002440" y="754597"/>
                  <a:pt x="6006035" y="750955"/>
                  <a:pt x="6009631" y="747415"/>
                </a:cubicBezTo>
                <a:close/>
                <a:moveTo>
                  <a:pt x="5977270" y="740435"/>
                </a:moveTo>
                <a:cubicBezTo>
                  <a:pt x="5980866" y="742458"/>
                  <a:pt x="5977270" y="746100"/>
                  <a:pt x="5973674" y="749640"/>
                </a:cubicBezTo>
                <a:cubicBezTo>
                  <a:pt x="5971738" y="748629"/>
                  <a:pt x="5971738" y="742964"/>
                  <a:pt x="5968144" y="746505"/>
                </a:cubicBezTo>
                <a:cubicBezTo>
                  <a:pt x="5967036" y="745291"/>
                  <a:pt x="5967036" y="744380"/>
                  <a:pt x="5967590" y="743672"/>
                </a:cubicBezTo>
                <a:cubicBezTo>
                  <a:pt x="5969249" y="741750"/>
                  <a:pt x="5975887" y="741750"/>
                  <a:pt x="5977270" y="740435"/>
                </a:cubicBezTo>
                <a:close/>
                <a:moveTo>
                  <a:pt x="6211265" y="736693"/>
                </a:moveTo>
                <a:cubicBezTo>
                  <a:pt x="6220946" y="736288"/>
                  <a:pt x="6222882" y="740334"/>
                  <a:pt x="6228690" y="743571"/>
                </a:cubicBezTo>
                <a:cubicBezTo>
                  <a:pt x="6227307" y="744380"/>
                  <a:pt x="6226201" y="744785"/>
                  <a:pt x="6225095" y="744886"/>
                </a:cubicBezTo>
                <a:cubicBezTo>
                  <a:pt x="6223988" y="744987"/>
                  <a:pt x="6222882" y="744886"/>
                  <a:pt x="6222052" y="744481"/>
                </a:cubicBezTo>
                <a:cubicBezTo>
                  <a:pt x="6215691" y="742357"/>
                  <a:pt x="6211265" y="733759"/>
                  <a:pt x="6211265" y="742560"/>
                </a:cubicBezTo>
                <a:cubicBezTo>
                  <a:pt x="6209606" y="747314"/>
                  <a:pt x="6209329" y="738513"/>
                  <a:pt x="6211265" y="736693"/>
                </a:cubicBezTo>
                <a:close/>
                <a:moveTo>
                  <a:pt x="6046418" y="731332"/>
                </a:moveTo>
                <a:cubicBezTo>
                  <a:pt x="6054162" y="738513"/>
                  <a:pt x="6063843" y="746707"/>
                  <a:pt x="6080991" y="753484"/>
                </a:cubicBezTo>
                <a:cubicBezTo>
                  <a:pt x="6076289" y="754394"/>
                  <a:pt x="6071311" y="754293"/>
                  <a:pt x="6066332" y="753585"/>
                </a:cubicBezTo>
                <a:cubicBezTo>
                  <a:pt x="6050843" y="751461"/>
                  <a:pt x="6034801" y="743571"/>
                  <a:pt x="6026226" y="736592"/>
                </a:cubicBezTo>
                <a:cubicBezTo>
                  <a:pt x="6037567" y="737401"/>
                  <a:pt x="6041162" y="733860"/>
                  <a:pt x="6046418" y="731332"/>
                </a:cubicBezTo>
                <a:close/>
                <a:moveTo>
                  <a:pt x="6121097" y="728499"/>
                </a:moveTo>
                <a:cubicBezTo>
                  <a:pt x="6132437" y="732141"/>
                  <a:pt x="6142118" y="737502"/>
                  <a:pt x="6155394" y="742155"/>
                </a:cubicBezTo>
                <a:cubicBezTo>
                  <a:pt x="6153735" y="749640"/>
                  <a:pt x="6151798" y="748629"/>
                  <a:pt x="6146266" y="751056"/>
                </a:cubicBezTo>
                <a:cubicBezTo>
                  <a:pt x="6149586" y="736086"/>
                  <a:pt x="6119437" y="735985"/>
                  <a:pt x="6108374" y="743875"/>
                </a:cubicBezTo>
                <a:cubicBezTo>
                  <a:pt x="6102842" y="743571"/>
                  <a:pt x="6121097" y="728601"/>
                  <a:pt x="6108097" y="732546"/>
                </a:cubicBezTo>
                <a:cubicBezTo>
                  <a:pt x="6107267" y="731231"/>
                  <a:pt x="6107544" y="730725"/>
                  <a:pt x="6108650" y="730624"/>
                </a:cubicBezTo>
                <a:cubicBezTo>
                  <a:pt x="6111693" y="730118"/>
                  <a:pt x="6121373" y="732849"/>
                  <a:pt x="6121097" y="728499"/>
                </a:cubicBezTo>
                <a:close/>
                <a:moveTo>
                  <a:pt x="3010289" y="727791"/>
                </a:moveTo>
                <a:lnTo>
                  <a:pt x="3003929" y="733051"/>
                </a:lnTo>
                <a:lnTo>
                  <a:pt x="3012503" y="729511"/>
                </a:lnTo>
                <a:close/>
                <a:moveTo>
                  <a:pt x="2036969" y="718081"/>
                </a:moveTo>
                <a:cubicBezTo>
                  <a:pt x="2027566" y="720610"/>
                  <a:pt x="2031161" y="721216"/>
                  <a:pt x="2025076" y="727184"/>
                </a:cubicBezTo>
                <a:cubicBezTo>
                  <a:pt x="2018162" y="723138"/>
                  <a:pt x="2015949" y="726982"/>
                  <a:pt x="2010140" y="730219"/>
                </a:cubicBezTo>
                <a:cubicBezTo>
                  <a:pt x="2010693" y="724656"/>
                  <a:pt x="2026458" y="713327"/>
                  <a:pt x="2036969" y="718081"/>
                </a:cubicBezTo>
                <a:close/>
                <a:moveTo>
                  <a:pt x="3024672" y="715754"/>
                </a:moveTo>
                <a:lnTo>
                  <a:pt x="3017480" y="721722"/>
                </a:lnTo>
                <a:lnTo>
                  <a:pt x="3020523" y="722430"/>
                </a:lnTo>
                <a:cubicBezTo>
                  <a:pt x="3022183" y="720306"/>
                  <a:pt x="3023843" y="718182"/>
                  <a:pt x="3024672" y="715754"/>
                </a:cubicBezTo>
                <a:close/>
                <a:moveTo>
                  <a:pt x="5703100" y="715388"/>
                </a:moveTo>
                <a:cubicBezTo>
                  <a:pt x="5706628" y="714844"/>
                  <a:pt x="5710362" y="715502"/>
                  <a:pt x="5715063" y="716665"/>
                </a:cubicBezTo>
                <a:cubicBezTo>
                  <a:pt x="5712298" y="720913"/>
                  <a:pt x="5708425" y="722430"/>
                  <a:pt x="5704552" y="722734"/>
                </a:cubicBezTo>
                <a:cubicBezTo>
                  <a:pt x="5700404" y="723037"/>
                  <a:pt x="5696255" y="722026"/>
                  <a:pt x="5692382" y="721318"/>
                </a:cubicBezTo>
                <a:cubicBezTo>
                  <a:pt x="5696254" y="717677"/>
                  <a:pt x="5699573" y="715932"/>
                  <a:pt x="5703100" y="715388"/>
                </a:cubicBezTo>
                <a:close/>
                <a:moveTo>
                  <a:pt x="6148756" y="712618"/>
                </a:moveTo>
                <a:cubicBezTo>
                  <a:pt x="6162032" y="711506"/>
                  <a:pt x="6179457" y="721216"/>
                  <a:pt x="6185266" y="727387"/>
                </a:cubicBezTo>
                <a:cubicBezTo>
                  <a:pt x="6189138" y="729511"/>
                  <a:pt x="6194946" y="729916"/>
                  <a:pt x="6196882" y="730927"/>
                </a:cubicBezTo>
                <a:cubicBezTo>
                  <a:pt x="6195776" y="731837"/>
                  <a:pt x="6194393" y="731736"/>
                  <a:pt x="6192734" y="731534"/>
                </a:cubicBezTo>
                <a:cubicBezTo>
                  <a:pt x="6191074" y="731332"/>
                  <a:pt x="6189138" y="731028"/>
                  <a:pt x="6187202" y="731332"/>
                </a:cubicBezTo>
                <a:cubicBezTo>
                  <a:pt x="6170053" y="724554"/>
                  <a:pt x="6164245" y="724150"/>
                  <a:pt x="6150969" y="716563"/>
                </a:cubicBezTo>
                <a:cubicBezTo>
                  <a:pt x="6147096" y="717373"/>
                  <a:pt x="6147096" y="714439"/>
                  <a:pt x="6148756" y="712618"/>
                </a:cubicBezTo>
                <a:close/>
                <a:moveTo>
                  <a:pt x="6506663" y="710798"/>
                </a:moveTo>
                <a:cubicBezTo>
                  <a:pt x="6513855" y="709584"/>
                  <a:pt x="6532939" y="717575"/>
                  <a:pt x="6529897" y="726476"/>
                </a:cubicBezTo>
                <a:cubicBezTo>
                  <a:pt x="6524088" y="720508"/>
                  <a:pt x="6524088" y="723239"/>
                  <a:pt x="6514684" y="720610"/>
                </a:cubicBezTo>
                <a:cubicBezTo>
                  <a:pt x="6518003" y="714439"/>
                  <a:pt x="6512472" y="714035"/>
                  <a:pt x="6506663" y="710798"/>
                </a:cubicBezTo>
                <a:close/>
                <a:moveTo>
                  <a:pt x="6044205" y="710595"/>
                </a:moveTo>
                <a:cubicBezTo>
                  <a:pt x="6044481" y="716260"/>
                  <a:pt x="6051949" y="717676"/>
                  <a:pt x="6046695" y="722936"/>
                </a:cubicBezTo>
                <a:cubicBezTo>
                  <a:pt x="6043098" y="723543"/>
                  <a:pt x="6038950" y="721419"/>
                  <a:pt x="6037290" y="723138"/>
                </a:cubicBezTo>
                <a:cubicBezTo>
                  <a:pt x="6035354" y="722026"/>
                  <a:pt x="6044481" y="716260"/>
                  <a:pt x="6044205" y="710595"/>
                </a:cubicBezTo>
                <a:close/>
                <a:moveTo>
                  <a:pt x="6085417" y="707965"/>
                </a:moveTo>
                <a:cubicBezTo>
                  <a:pt x="6092885" y="712214"/>
                  <a:pt x="6100353" y="716361"/>
                  <a:pt x="6109757" y="718789"/>
                </a:cubicBezTo>
                <a:cubicBezTo>
                  <a:pt x="6108097" y="720610"/>
                  <a:pt x="6102289" y="720407"/>
                  <a:pt x="6102289" y="723239"/>
                </a:cubicBezTo>
                <a:cubicBezTo>
                  <a:pt x="6093161" y="723644"/>
                  <a:pt x="6095097" y="718991"/>
                  <a:pt x="6089289" y="718586"/>
                </a:cubicBezTo>
                <a:cubicBezTo>
                  <a:pt x="6084034" y="723948"/>
                  <a:pt x="6095097" y="724554"/>
                  <a:pt x="6098693" y="726679"/>
                </a:cubicBezTo>
                <a:cubicBezTo>
                  <a:pt x="6095097" y="730320"/>
                  <a:pt x="6078225" y="723745"/>
                  <a:pt x="6084034" y="729713"/>
                </a:cubicBezTo>
                <a:cubicBezTo>
                  <a:pt x="6078502" y="729410"/>
                  <a:pt x="6065226" y="719092"/>
                  <a:pt x="6056375" y="733658"/>
                </a:cubicBezTo>
                <a:cubicBezTo>
                  <a:pt x="6052503" y="728702"/>
                  <a:pt x="6056098" y="725263"/>
                  <a:pt x="6059694" y="718789"/>
                </a:cubicBezTo>
                <a:cubicBezTo>
                  <a:pt x="6070757" y="713832"/>
                  <a:pt x="6072694" y="723341"/>
                  <a:pt x="6083757" y="718384"/>
                </a:cubicBezTo>
                <a:cubicBezTo>
                  <a:pt x="6085417" y="713731"/>
                  <a:pt x="6079885" y="713327"/>
                  <a:pt x="6085417" y="707965"/>
                </a:cubicBezTo>
                <a:close/>
                <a:moveTo>
                  <a:pt x="5493239" y="705437"/>
                </a:moveTo>
                <a:cubicBezTo>
                  <a:pt x="5497110" y="707561"/>
                  <a:pt x="5489919" y="711809"/>
                  <a:pt x="5493791" y="713933"/>
                </a:cubicBezTo>
                <a:cubicBezTo>
                  <a:pt x="5491855" y="715046"/>
                  <a:pt x="5489365" y="715451"/>
                  <a:pt x="5486877" y="715451"/>
                </a:cubicBezTo>
                <a:cubicBezTo>
                  <a:pt x="5484388" y="715350"/>
                  <a:pt x="5481898" y="714945"/>
                  <a:pt x="5479408" y="714035"/>
                </a:cubicBezTo>
                <a:cubicBezTo>
                  <a:pt x="5474706" y="712416"/>
                  <a:pt x="5470834" y="709483"/>
                  <a:pt x="5470558" y="706549"/>
                </a:cubicBezTo>
                <a:cubicBezTo>
                  <a:pt x="5478025" y="702402"/>
                  <a:pt x="5485770" y="709584"/>
                  <a:pt x="5493239" y="705437"/>
                </a:cubicBezTo>
                <a:close/>
                <a:moveTo>
                  <a:pt x="5517854" y="704830"/>
                </a:moveTo>
                <a:cubicBezTo>
                  <a:pt x="5515918" y="709584"/>
                  <a:pt x="5529194" y="708269"/>
                  <a:pt x="5521450" y="715653"/>
                </a:cubicBezTo>
                <a:cubicBezTo>
                  <a:pt x="5519790" y="708775"/>
                  <a:pt x="5515918" y="715350"/>
                  <a:pt x="5508451" y="714035"/>
                </a:cubicBezTo>
                <a:cubicBezTo>
                  <a:pt x="5509556" y="711708"/>
                  <a:pt x="5510939" y="710393"/>
                  <a:pt x="5512599" y="709078"/>
                </a:cubicBezTo>
                <a:cubicBezTo>
                  <a:pt x="5514259" y="707864"/>
                  <a:pt x="5515918" y="706650"/>
                  <a:pt x="5517854" y="704830"/>
                </a:cubicBezTo>
                <a:close/>
                <a:moveTo>
                  <a:pt x="6009909" y="699873"/>
                </a:moveTo>
                <a:cubicBezTo>
                  <a:pt x="6013503" y="699165"/>
                  <a:pt x="6017376" y="701391"/>
                  <a:pt x="6020971" y="703515"/>
                </a:cubicBezTo>
                <a:cubicBezTo>
                  <a:pt x="6013781" y="707662"/>
                  <a:pt x="6025120" y="714035"/>
                  <a:pt x="6028439" y="707662"/>
                </a:cubicBezTo>
                <a:cubicBezTo>
                  <a:pt x="6037844" y="710090"/>
                  <a:pt x="6025120" y="714035"/>
                  <a:pt x="6028993" y="718890"/>
                </a:cubicBezTo>
                <a:cubicBezTo>
                  <a:pt x="6023461" y="721419"/>
                  <a:pt x="6013781" y="707662"/>
                  <a:pt x="6006589" y="711910"/>
                </a:cubicBezTo>
                <a:cubicBezTo>
                  <a:pt x="6004653" y="709483"/>
                  <a:pt x="6003546" y="707460"/>
                  <a:pt x="6004099" y="705639"/>
                </a:cubicBezTo>
                <a:cubicBezTo>
                  <a:pt x="6004376" y="703717"/>
                  <a:pt x="6006312" y="701997"/>
                  <a:pt x="6009909" y="699873"/>
                </a:cubicBezTo>
                <a:close/>
                <a:moveTo>
                  <a:pt x="6140735" y="694310"/>
                </a:moveTo>
                <a:cubicBezTo>
                  <a:pt x="6153181" y="702706"/>
                  <a:pt x="6145990" y="708370"/>
                  <a:pt x="6135203" y="709280"/>
                </a:cubicBezTo>
                <a:cubicBezTo>
                  <a:pt x="6124693" y="710191"/>
                  <a:pt x="6110310" y="706448"/>
                  <a:pt x="6109204" y="696029"/>
                </a:cubicBezTo>
                <a:cubicBezTo>
                  <a:pt x="6120267" y="693905"/>
                  <a:pt x="6122480" y="703515"/>
                  <a:pt x="6135756" y="705336"/>
                </a:cubicBezTo>
                <a:cubicBezTo>
                  <a:pt x="6141011" y="700076"/>
                  <a:pt x="6135479" y="699671"/>
                  <a:pt x="6140735" y="694310"/>
                </a:cubicBezTo>
                <a:close/>
                <a:moveTo>
                  <a:pt x="6100076" y="690871"/>
                </a:moveTo>
                <a:cubicBezTo>
                  <a:pt x="6103672" y="692995"/>
                  <a:pt x="6103948" y="695827"/>
                  <a:pt x="6100076" y="699368"/>
                </a:cubicBezTo>
                <a:cubicBezTo>
                  <a:pt x="6098140" y="698356"/>
                  <a:pt x="6094544" y="698963"/>
                  <a:pt x="6092608" y="697951"/>
                </a:cubicBezTo>
                <a:cubicBezTo>
                  <a:pt x="6093438" y="695625"/>
                  <a:pt x="6094821" y="694209"/>
                  <a:pt x="6096204" y="693298"/>
                </a:cubicBezTo>
                <a:cubicBezTo>
                  <a:pt x="6097587" y="692287"/>
                  <a:pt x="6098970" y="691781"/>
                  <a:pt x="6100076" y="690871"/>
                </a:cubicBezTo>
                <a:close/>
                <a:moveTo>
                  <a:pt x="6073523" y="687027"/>
                </a:moveTo>
                <a:cubicBezTo>
                  <a:pt x="6075460" y="688140"/>
                  <a:pt x="6079055" y="687330"/>
                  <a:pt x="6079055" y="687330"/>
                </a:cubicBezTo>
                <a:cubicBezTo>
                  <a:pt x="6082927" y="690972"/>
                  <a:pt x="6079055" y="693905"/>
                  <a:pt x="6075460" y="694411"/>
                </a:cubicBezTo>
                <a:cubicBezTo>
                  <a:pt x="6072140" y="695018"/>
                  <a:pt x="6068821" y="693197"/>
                  <a:pt x="6073523" y="687027"/>
                </a:cubicBezTo>
                <a:close/>
                <a:moveTo>
                  <a:pt x="2668978" y="684700"/>
                </a:moveTo>
                <a:cubicBezTo>
                  <a:pt x="2673680" y="683689"/>
                  <a:pt x="2673957" y="690567"/>
                  <a:pt x="2678659" y="689556"/>
                </a:cubicBezTo>
                <a:cubicBezTo>
                  <a:pt x="2678935" y="694715"/>
                  <a:pt x="2670084" y="699165"/>
                  <a:pt x="2663170" y="699772"/>
                </a:cubicBezTo>
                <a:cubicBezTo>
                  <a:pt x="2660957" y="699974"/>
                  <a:pt x="2658743" y="699772"/>
                  <a:pt x="2657084" y="698963"/>
                </a:cubicBezTo>
                <a:cubicBezTo>
                  <a:pt x="2656807" y="692085"/>
                  <a:pt x="2669255" y="691579"/>
                  <a:pt x="2668978" y="684700"/>
                </a:cubicBezTo>
                <a:close/>
                <a:moveTo>
                  <a:pt x="6082305" y="675824"/>
                </a:moveTo>
                <a:cubicBezTo>
                  <a:pt x="6085001" y="677013"/>
                  <a:pt x="6087491" y="678429"/>
                  <a:pt x="6088459" y="676102"/>
                </a:cubicBezTo>
                <a:cubicBezTo>
                  <a:pt x="6090395" y="677215"/>
                  <a:pt x="6090395" y="680149"/>
                  <a:pt x="6088736" y="681868"/>
                </a:cubicBezTo>
                <a:cubicBezTo>
                  <a:pt x="6087076" y="682475"/>
                  <a:pt x="6085970" y="682677"/>
                  <a:pt x="6084587" y="682475"/>
                </a:cubicBezTo>
                <a:cubicBezTo>
                  <a:pt x="6080991" y="681969"/>
                  <a:pt x="6077949" y="678631"/>
                  <a:pt x="6074906" y="676912"/>
                </a:cubicBezTo>
                <a:cubicBezTo>
                  <a:pt x="6076704" y="673675"/>
                  <a:pt x="6079608" y="674636"/>
                  <a:pt x="6082305" y="675824"/>
                </a:cubicBezTo>
                <a:close/>
                <a:moveTo>
                  <a:pt x="5977339" y="673460"/>
                </a:moveTo>
                <a:cubicBezTo>
                  <a:pt x="5981142" y="674156"/>
                  <a:pt x="5985429" y="675850"/>
                  <a:pt x="5989164" y="676608"/>
                </a:cubicBezTo>
                <a:cubicBezTo>
                  <a:pt x="5987780" y="677923"/>
                  <a:pt x="5986397" y="678631"/>
                  <a:pt x="5984738" y="679036"/>
                </a:cubicBezTo>
                <a:cubicBezTo>
                  <a:pt x="5983078" y="679339"/>
                  <a:pt x="5981420" y="679238"/>
                  <a:pt x="5979759" y="679036"/>
                </a:cubicBezTo>
                <a:cubicBezTo>
                  <a:pt x="5976164" y="678429"/>
                  <a:pt x="5972291" y="677013"/>
                  <a:pt x="5968419" y="676305"/>
                </a:cubicBezTo>
                <a:cubicBezTo>
                  <a:pt x="5970217" y="673068"/>
                  <a:pt x="5973536" y="672765"/>
                  <a:pt x="5977339" y="673460"/>
                </a:cubicBezTo>
                <a:close/>
                <a:moveTo>
                  <a:pt x="2683084" y="669629"/>
                </a:moveTo>
                <a:cubicBezTo>
                  <a:pt x="2686956" y="673574"/>
                  <a:pt x="2693318" y="664976"/>
                  <a:pt x="2696914" y="673877"/>
                </a:cubicBezTo>
                <a:cubicBezTo>
                  <a:pt x="2688339" y="670843"/>
                  <a:pt x="2693318" y="677013"/>
                  <a:pt x="2687510" y="680755"/>
                </a:cubicBezTo>
                <a:cubicBezTo>
                  <a:pt x="2685573" y="678732"/>
                  <a:pt x="2684744" y="677013"/>
                  <a:pt x="2684467" y="675293"/>
                </a:cubicBezTo>
                <a:cubicBezTo>
                  <a:pt x="2684189" y="673574"/>
                  <a:pt x="2683913" y="671854"/>
                  <a:pt x="2683084" y="669629"/>
                </a:cubicBezTo>
                <a:close/>
                <a:moveTo>
                  <a:pt x="6405293" y="664976"/>
                </a:moveTo>
                <a:cubicBezTo>
                  <a:pt x="6408128" y="665153"/>
                  <a:pt x="6410548" y="666493"/>
                  <a:pt x="6410686" y="667909"/>
                </a:cubicBezTo>
                <a:cubicBezTo>
                  <a:pt x="6408750" y="669730"/>
                  <a:pt x="6406538" y="670539"/>
                  <a:pt x="6404048" y="670640"/>
                </a:cubicBezTo>
                <a:cubicBezTo>
                  <a:pt x="6401836" y="670741"/>
                  <a:pt x="6399346" y="670033"/>
                  <a:pt x="6397410" y="669022"/>
                </a:cubicBezTo>
                <a:cubicBezTo>
                  <a:pt x="6399208" y="665785"/>
                  <a:pt x="6402458" y="664799"/>
                  <a:pt x="6405293" y="664976"/>
                </a:cubicBezTo>
                <a:close/>
                <a:moveTo>
                  <a:pt x="6134373" y="662649"/>
                </a:moveTo>
                <a:cubicBezTo>
                  <a:pt x="6147373" y="667201"/>
                  <a:pt x="6153181" y="667606"/>
                  <a:pt x="6164522" y="673978"/>
                </a:cubicBezTo>
                <a:cubicBezTo>
                  <a:pt x="6158990" y="679339"/>
                  <a:pt x="6151245" y="672158"/>
                  <a:pt x="6145713" y="677519"/>
                </a:cubicBezTo>
                <a:cubicBezTo>
                  <a:pt x="6144054" y="676507"/>
                  <a:pt x="6149586" y="676811"/>
                  <a:pt x="6149586" y="673978"/>
                </a:cubicBezTo>
                <a:cubicBezTo>
                  <a:pt x="6140181" y="668617"/>
                  <a:pt x="6142118" y="675394"/>
                  <a:pt x="6136586" y="677923"/>
                </a:cubicBezTo>
                <a:cubicBezTo>
                  <a:pt x="6131054" y="677620"/>
                  <a:pt x="6129118" y="676507"/>
                  <a:pt x="6125246" y="674383"/>
                </a:cubicBezTo>
                <a:cubicBezTo>
                  <a:pt x="6129118" y="670843"/>
                  <a:pt x="6131054" y="671955"/>
                  <a:pt x="6136586" y="672259"/>
                </a:cubicBezTo>
                <a:cubicBezTo>
                  <a:pt x="6142118" y="666898"/>
                  <a:pt x="6128841" y="668010"/>
                  <a:pt x="6134373" y="662649"/>
                </a:cubicBezTo>
                <a:close/>
                <a:moveTo>
                  <a:pt x="4391856" y="657693"/>
                </a:moveTo>
                <a:cubicBezTo>
                  <a:pt x="4384388" y="659109"/>
                  <a:pt x="4383005" y="665886"/>
                  <a:pt x="4373048" y="666999"/>
                </a:cubicBezTo>
                <a:cubicBezTo>
                  <a:pt x="4373603" y="664773"/>
                  <a:pt x="4374155" y="662548"/>
                  <a:pt x="4374432" y="660323"/>
                </a:cubicBezTo>
                <a:cubicBezTo>
                  <a:pt x="4372772" y="669224"/>
                  <a:pt x="4338474" y="683689"/>
                  <a:pt x="4331284" y="671551"/>
                </a:cubicBezTo>
                <a:cubicBezTo>
                  <a:pt x="4316347" y="685813"/>
                  <a:pt x="4299475" y="686218"/>
                  <a:pt x="4288135" y="694006"/>
                </a:cubicBezTo>
                <a:cubicBezTo>
                  <a:pt x="4283433" y="693501"/>
                  <a:pt x="4286752" y="689353"/>
                  <a:pt x="4287305" y="687128"/>
                </a:cubicBezTo>
                <a:cubicBezTo>
                  <a:pt x="4284816" y="686926"/>
                  <a:pt x="4282050" y="688848"/>
                  <a:pt x="4279838" y="688645"/>
                </a:cubicBezTo>
                <a:cubicBezTo>
                  <a:pt x="4275135" y="688140"/>
                  <a:pt x="4283433" y="693501"/>
                  <a:pt x="4277901" y="697446"/>
                </a:cubicBezTo>
                <a:cubicBezTo>
                  <a:pt x="4273199" y="696940"/>
                  <a:pt x="4270986" y="696738"/>
                  <a:pt x="4269050" y="694209"/>
                </a:cubicBezTo>
                <a:cubicBezTo>
                  <a:pt x="4231988" y="710595"/>
                  <a:pt x="4178052" y="727387"/>
                  <a:pt x="4131033" y="744987"/>
                </a:cubicBezTo>
                <a:cubicBezTo>
                  <a:pt x="4120798" y="748325"/>
                  <a:pt x="4105033" y="755709"/>
                  <a:pt x="4097842" y="766330"/>
                </a:cubicBezTo>
                <a:cubicBezTo>
                  <a:pt x="4047779" y="776749"/>
                  <a:pt x="4001312" y="803453"/>
                  <a:pt x="3970611" y="824999"/>
                </a:cubicBezTo>
                <a:cubicBezTo>
                  <a:pt x="3967291" y="829247"/>
                  <a:pt x="3953185" y="827629"/>
                  <a:pt x="3956228" y="837036"/>
                </a:cubicBezTo>
                <a:cubicBezTo>
                  <a:pt x="3945717" y="829045"/>
                  <a:pt x="3919718" y="851298"/>
                  <a:pt x="3918611" y="855749"/>
                </a:cubicBezTo>
                <a:cubicBezTo>
                  <a:pt x="3878229" y="864954"/>
                  <a:pt x="3850017" y="898132"/>
                  <a:pt x="3822912" y="924735"/>
                </a:cubicBezTo>
                <a:cubicBezTo>
                  <a:pt x="3891782" y="893681"/>
                  <a:pt x="3952355" y="843510"/>
                  <a:pt x="4022332" y="819435"/>
                </a:cubicBezTo>
                <a:cubicBezTo>
                  <a:pt x="4045567" y="799205"/>
                  <a:pt x="4089820" y="794957"/>
                  <a:pt x="4108906" y="772096"/>
                </a:cubicBezTo>
                <a:cubicBezTo>
                  <a:pt x="4113884" y="770377"/>
                  <a:pt x="4115820" y="772804"/>
                  <a:pt x="4117480" y="777558"/>
                </a:cubicBezTo>
                <a:cubicBezTo>
                  <a:pt x="4122181" y="771186"/>
                  <a:pt x="4132138" y="767747"/>
                  <a:pt x="4140990" y="764510"/>
                </a:cubicBezTo>
                <a:lnTo>
                  <a:pt x="4143479" y="763599"/>
                </a:lnTo>
                <a:lnTo>
                  <a:pt x="4144033" y="762385"/>
                </a:lnTo>
                <a:lnTo>
                  <a:pt x="4153712" y="759250"/>
                </a:lnTo>
                <a:lnTo>
                  <a:pt x="4160904" y="752877"/>
                </a:lnTo>
                <a:lnTo>
                  <a:pt x="4167818" y="753585"/>
                </a:lnTo>
                <a:lnTo>
                  <a:pt x="4194094" y="745493"/>
                </a:lnTo>
                <a:lnTo>
                  <a:pt x="4201839" y="740739"/>
                </a:lnTo>
                <a:cubicBezTo>
                  <a:pt x="4208755" y="736794"/>
                  <a:pt x="4216222" y="733962"/>
                  <a:pt x="4227562" y="733254"/>
                </a:cubicBezTo>
                <a:cubicBezTo>
                  <a:pt x="4241944" y="710292"/>
                  <a:pt x="4279284" y="705841"/>
                  <a:pt x="4305285" y="697951"/>
                </a:cubicBezTo>
                <a:cubicBezTo>
                  <a:pt x="4312475" y="682172"/>
                  <a:pt x="4353687" y="682779"/>
                  <a:pt x="4362814" y="673877"/>
                </a:cubicBezTo>
                <a:cubicBezTo>
                  <a:pt x="4375814" y="669831"/>
                  <a:pt x="4378027" y="676608"/>
                  <a:pt x="4392963" y="673776"/>
                </a:cubicBezTo>
                <a:cubicBezTo>
                  <a:pt x="4396559" y="670134"/>
                  <a:pt x="4390750" y="669831"/>
                  <a:pt x="4396559" y="667302"/>
                </a:cubicBezTo>
                <a:cubicBezTo>
                  <a:pt x="4400431" y="663256"/>
                  <a:pt x="4393239" y="663863"/>
                  <a:pt x="4393239" y="661941"/>
                </a:cubicBezTo>
                <a:lnTo>
                  <a:pt x="4395452" y="659412"/>
                </a:lnTo>
                <a:close/>
                <a:moveTo>
                  <a:pt x="4419515" y="651219"/>
                </a:moveTo>
                <a:lnTo>
                  <a:pt x="4412047" y="654759"/>
                </a:lnTo>
                <a:lnTo>
                  <a:pt x="4404579" y="660222"/>
                </a:lnTo>
                <a:lnTo>
                  <a:pt x="4407622" y="662245"/>
                </a:lnTo>
                <a:cubicBezTo>
                  <a:pt x="4410389" y="661031"/>
                  <a:pt x="4413154" y="659716"/>
                  <a:pt x="4415366" y="657794"/>
                </a:cubicBezTo>
                <a:close/>
                <a:moveTo>
                  <a:pt x="6096549" y="649158"/>
                </a:moveTo>
                <a:cubicBezTo>
                  <a:pt x="6102634" y="650461"/>
                  <a:pt x="6108235" y="652939"/>
                  <a:pt x="6111969" y="655063"/>
                </a:cubicBezTo>
                <a:cubicBezTo>
                  <a:pt x="6104501" y="645049"/>
                  <a:pt x="6134650" y="659210"/>
                  <a:pt x="6127182" y="666493"/>
                </a:cubicBezTo>
                <a:cubicBezTo>
                  <a:pt x="6112246" y="663762"/>
                  <a:pt x="6097034" y="652433"/>
                  <a:pt x="6091502" y="660727"/>
                </a:cubicBezTo>
                <a:cubicBezTo>
                  <a:pt x="6089566" y="662548"/>
                  <a:pt x="6076289" y="655063"/>
                  <a:pt x="6078225" y="650309"/>
                </a:cubicBezTo>
                <a:cubicBezTo>
                  <a:pt x="6083896" y="647730"/>
                  <a:pt x="6090465" y="647856"/>
                  <a:pt x="6096549" y="649158"/>
                </a:cubicBezTo>
                <a:close/>
                <a:moveTo>
                  <a:pt x="6348177" y="643734"/>
                </a:moveTo>
                <a:cubicBezTo>
                  <a:pt x="6357305" y="643329"/>
                  <a:pt x="6370581" y="650814"/>
                  <a:pt x="6366985" y="657187"/>
                </a:cubicBezTo>
                <a:cubicBezTo>
                  <a:pt x="6363113" y="652230"/>
                  <a:pt x="6361177" y="651219"/>
                  <a:pt x="6350113" y="650511"/>
                </a:cubicBezTo>
                <a:cubicBezTo>
                  <a:pt x="6353709" y="646971"/>
                  <a:pt x="6349837" y="644745"/>
                  <a:pt x="6348177" y="643734"/>
                </a:cubicBezTo>
                <a:close/>
                <a:moveTo>
                  <a:pt x="6316923" y="615209"/>
                </a:moveTo>
                <a:cubicBezTo>
                  <a:pt x="6326880" y="634933"/>
                  <a:pt x="6377772" y="635237"/>
                  <a:pt x="6400729" y="651017"/>
                </a:cubicBezTo>
                <a:cubicBezTo>
                  <a:pt x="6374453" y="653141"/>
                  <a:pt x="6345688" y="634225"/>
                  <a:pt x="6326880" y="629269"/>
                </a:cubicBezTo>
                <a:cubicBezTo>
                  <a:pt x="6317476" y="629572"/>
                  <a:pt x="6308348" y="641407"/>
                  <a:pt x="6304200" y="630685"/>
                </a:cubicBezTo>
                <a:cubicBezTo>
                  <a:pt x="6308072" y="627145"/>
                  <a:pt x="6308072" y="629977"/>
                  <a:pt x="6308072" y="629977"/>
                </a:cubicBezTo>
                <a:cubicBezTo>
                  <a:pt x="6317476" y="632405"/>
                  <a:pt x="6317199" y="618142"/>
                  <a:pt x="6316923" y="615209"/>
                </a:cubicBezTo>
                <a:close/>
                <a:moveTo>
                  <a:pt x="2963270" y="601149"/>
                </a:moveTo>
                <a:cubicBezTo>
                  <a:pt x="2966589" y="602767"/>
                  <a:pt x="2971291" y="601654"/>
                  <a:pt x="2972950" y="605802"/>
                </a:cubicBezTo>
                <a:cubicBezTo>
                  <a:pt x="2972950" y="607521"/>
                  <a:pt x="2972673" y="608229"/>
                  <a:pt x="2971844" y="608533"/>
                </a:cubicBezTo>
                <a:cubicBezTo>
                  <a:pt x="2970185" y="609342"/>
                  <a:pt x="2965759" y="605700"/>
                  <a:pt x="2961057" y="608432"/>
                </a:cubicBezTo>
                <a:cubicBezTo>
                  <a:pt x="2962717" y="605903"/>
                  <a:pt x="2964929" y="605296"/>
                  <a:pt x="2963270" y="601149"/>
                </a:cubicBezTo>
                <a:close/>
                <a:moveTo>
                  <a:pt x="6253030" y="590325"/>
                </a:moveTo>
                <a:cubicBezTo>
                  <a:pt x="6260775" y="597406"/>
                  <a:pt x="6266307" y="594978"/>
                  <a:pt x="6277647" y="598519"/>
                </a:cubicBezTo>
                <a:cubicBezTo>
                  <a:pt x="6276264" y="600643"/>
                  <a:pt x="6273498" y="601755"/>
                  <a:pt x="6270179" y="602362"/>
                </a:cubicBezTo>
                <a:cubicBezTo>
                  <a:pt x="6267136" y="602868"/>
                  <a:pt x="6263264" y="602767"/>
                  <a:pt x="6259945" y="601958"/>
                </a:cubicBezTo>
                <a:cubicBezTo>
                  <a:pt x="6253307" y="600339"/>
                  <a:pt x="6248605" y="596192"/>
                  <a:pt x="6253030" y="590325"/>
                </a:cubicBezTo>
                <a:close/>
                <a:moveTo>
                  <a:pt x="6128012" y="578187"/>
                </a:moveTo>
                <a:cubicBezTo>
                  <a:pt x="6128565" y="578187"/>
                  <a:pt x="6129118" y="579198"/>
                  <a:pt x="6129118" y="580716"/>
                </a:cubicBezTo>
                <a:cubicBezTo>
                  <a:pt x="6153735" y="591640"/>
                  <a:pt x="6181947" y="590426"/>
                  <a:pt x="6212095" y="604689"/>
                </a:cubicBezTo>
                <a:cubicBezTo>
                  <a:pt x="6210159" y="605599"/>
                  <a:pt x="6207946" y="606105"/>
                  <a:pt x="6205733" y="606206"/>
                </a:cubicBezTo>
                <a:cubicBezTo>
                  <a:pt x="6203521" y="606408"/>
                  <a:pt x="6201584" y="606206"/>
                  <a:pt x="6199372" y="605700"/>
                </a:cubicBezTo>
                <a:cubicBezTo>
                  <a:pt x="6186096" y="603172"/>
                  <a:pt x="6172266" y="592753"/>
                  <a:pt x="6159543" y="600542"/>
                </a:cubicBezTo>
                <a:cubicBezTo>
                  <a:pt x="6148203" y="591337"/>
                  <a:pt x="6131331" y="595990"/>
                  <a:pt x="6125522" y="581323"/>
                </a:cubicBezTo>
                <a:cubicBezTo>
                  <a:pt x="6126352" y="578996"/>
                  <a:pt x="6127182" y="578086"/>
                  <a:pt x="6128012" y="578187"/>
                </a:cubicBezTo>
                <a:close/>
                <a:moveTo>
                  <a:pt x="6118054" y="573837"/>
                </a:moveTo>
                <a:cubicBezTo>
                  <a:pt x="6121927" y="575962"/>
                  <a:pt x="6129394" y="574444"/>
                  <a:pt x="6123863" y="580008"/>
                </a:cubicBezTo>
                <a:cubicBezTo>
                  <a:pt x="6121927" y="578895"/>
                  <a:pt x="6121927" y="578895"/>
                  <a:pt x="6119991" y="577883"/>
                </a:cubicBezTo>
                <a:cubicBezTo>
                  <a:pt x="6118054" y="579704"/>
                  <a:pt x="6118054" y="579704"/>
                  <a:pt x="6119991" y="580716"/>
                </a:cubicBezTo>
                <a:cubicBezTo>
                  <a:pt x="6119161" y="581727"/>
                  <a:pt x="6118607" y="582031"/>
                  <a:pt x="6118054" y="582132"/>
                </a:cubicBezTo>
                <a:cubicBezTo>
                  <a:pt x="6117501" y="582233"/>
                  <a:pt x="6117225" y="581930"/>
                  <a:pt x="6116948" y="581525"/>
                </a:cubicBezTo>
                <a:cubicBezTo>
                  <a:pt x="6116395" y="580817"/>
                  <a:pt x="6115288" y="579603"/>
                  <a:pt x="6112522" y="579401"/>
                </a:cubicBezTo>
                <a:cubicBezTo>
                  <a:pt x="6114182" y="577580"/>
                  <a:pt x="6116118" y="575658"/>
                  <a:pt x="6118054" y="573837"/>
                </a:cubicBezTo>
                <a:close/>
                <a:moveTo>
                  <a:pt x="6097172" y="573016"/>
                </a:moveTo>
                <a:cubicBezTo>
                  <a:pt x="6101597" y="572093"/>
                  <a:pt x="6105332" y="571461"/>
                  <a:pt x="6106438" y="573433"/>
                </a:cubicBezTo>
                <a:cubicBezTo>
                  <a:pt x="6103672" y="574647"/>
                  <a:pt x="6100353" y="575557"/>
                  <a:pt x="6096757" y="575759"/>
                </a:cubicBezTo>
                <a:cubicBezTo>
                  <a:pt x="6092885" y="576063"/>
                  <a:pt x="6088736" y="575759"/>
                  <a:pt x="6083757" y="574343"/>
                </a:cubicBezTo>
                <a:cubicBezTo>
                  <a:pt x="6087629" y="575153"/>
                  <a:pt x="6092746" y="573939"/>
                  <a:pt x="6097172" y="573016"/>
                </a:cubicBezTo>
                <a:close/>
                <a:moveTo>
                  <a:pt x="4511068" y="566453"/>
                </a:moveTo>
                <a:cubicBezTo>
                  <a:pt x="4513556" y="566757"/>
                  <a:pt x="4515769" y="566959"/>
                  <a:pt x="4518258" y="567262"/>
                </a:cubicBezTo>
                <a:cubicBezTo>
                  <a:pt x="4516876" y="573837"/>
                  <a:pt x="4521024" y="576569"/>
                  <a:pt x="4522683" y="581222"/>
                </a:cubicBezTo>
                <a:cubicBezTo>
                  <a:pt x="4515215" y="582638"/>
                  <a:pt x="4513279" y="580210"/>
                  <a:pt x="4506365" y="579401"/>
                </a:cubicBezTo>
                <a:cubicBezTo>
                  <a:pt x="4509407" y="575254"/>
                  <a:pt x="4510237" y="570904"/>
                  <a:pt x="4511068" y="566453"/>
                </a:cubicBezTo>
                <a:close/>
                <a:moveTo>
                  <a:pt x="4403474" y="565341"/>
                </a:moveTo>
                <a:cubicBezTo>
                  <a:pt x="4394623" y="573433"/>
                  <a:pt x="4380793" y="581019"/>
                  <a:pt x="4366410" y="579401"/>
                </a:cubicBezTo>
                <a:cubicBezTo>
                  <a:pt x="4373878" y="566656"/>
                  <a:pt x="4389090" y="563722"/>
                  <a:pt x="4403474" y="565341"/>
                </a:cubicBezTo>
                <a:close/>
                <a:moveTo>
                  <a:pt x="2812527" y="558665"/>
                </a:moveTo>
                <a:cubicBezTo>
                  <a:pt x="2818336" y="567060"/>
                  <a:pt x="2810316" y="571309"/>
                  <a:pt x="2804230" y="575051"/>
                </a:cubicBezTo>
                <a:cubicBezTo>
                  <a:pt x="2800911" y="566150"/>
                  <a:pt x="2804507" y="562913"/>
                  <a:pt x="2812527" y="558665"/>
                </a:cubicBezTo>
                <a:close/>
                <a:moveTo>
                  <a:pt x="4482854" y="551786"/>
                </a:moveTo>
                <a:cubicBezTo>
                  <a:pt x="4480918" y="560789"/>
                  <a:pt x="4470685" y="564228"/>
                  <a:pt x="4464599" y="558968"/>
                </a:cubicBezTo>
                <a:cubicBezTo>
                  <a:pt x="4458514" y="565138"/>
                  <a:pt x="4449940" y="571005"/>
                  <a:pt x="4442196" y="574748"/>
                </a:cubicBezTo>
                <a:cubicBezTo>
                  <a:pt x="4430027" y="575658"/>
                  <a:pt x="4426153" y="570702"/>
                  <a:pt x="4417027" y="567465"/>
                </a:cubicBezTo>
                <a:cubicBezTo>
                  <a:pt x="4428366" y="559575"/>
                  <a:pt x="4462663" y="556439"/>
                  <a:pt x="4482854" y="551786"/>
                </a:cubicBezTo>
                <a:close/>
                <a:moveTo>
                  <a:pt x="3344411" y="548448"/>
                </a:moveTo>
                <a:lnTo>
                  <a:pt x="3342197" y="549257"/>
                </a:lnTo>
                <a:cubicBezTo>
                  <a:pt x="3332240" y="552191"/>
                  <a:pt x="3322560" y="554113"/>
                  <a:pt x="3312602" y="554517"/>
                </a:cubicBezTo>
                <a:cubicBezTo>
                  <a:pt x="3306795" y="558159"/>
                  <a:pt x="3305412" y="560890"/>
                  <a:pt x="3301538" y="564026"/>
                </a:cubicBezTo>
                <a:cubicBezTo>
                  <a:pt x="3287433" y="566049"/>
                  <a:pt x="3274434" y="569892"/>
                  <a:pt x="3261434" y="575051"/>
                </a:cubicBezTo>
                <a:lnTo>
                  <a:pt x="3235710" y="587392"/>
                </a:lnTo>
                <a:lnTo>
                  <a:pt x="3219391" y="600744"/>
                </a:lnTo>
                <a:cubicBezTo>
                  <a:pt x="3197542" y="617434"/>
                  <a:pt x="3175690" y="633821"/>
                  <a:pt x="3156883" y="655569"/>
                </a:cubicBezTo>
                <a:cubicBezTo>
                  <a:pt x="3147479" y="654557"/>
                  <a:pt x="3142500" y="667606"/>
                  <a:pt x="3133373" y="664369"/>
                </a:cubicBezTo>
                <a:cubicBezTo>
                  <a:pt x="3131990" y="671045"/>
                  <a:pt x="3133926" y="673574"/>
                  <a:pt x="3141394" y="672056"/>
                </a:cubicBezTo>
                <a:cubicBezTo>
                  <a:pt x="3134203" y="684903"/>
                  <a:pt x="3116776" y="687533"/>
                  <a:pt x="3105161" y="697648"/>
                </a:cubicBezTo>
                <a:cubicBezTo>
                  <a:pt x="3113735" y="703110"/>
                  <a:pt x="3101288" y="704021"/>
                  <a:pt x="3104330" y="713529"/>
                </a:cubicBezTo>
                <a:cubicBezTo>
                  <a:pt x="3101841" y="713225"/>
                  <a:pt x="3099629" y="713023"/>
                  <a:pt x="3096863" y="714945"/>
                </a:cubicBezTo>
                <a:lnTo>
                  <a:pt x="3067821" y="750753"/>
                </a:lnTo>
                <a:lnTo>
                  <a:pt x="3078331" y="744785"/>
                </a:lnTo>
                <a:cubicBezTo>
                  <a:pt x="3079991" y="749033"/>
                  <a:pt x="3081374" y="746403"/>
                  <a:pt x="3085522" y="750247"/>
                </a:cubicBezTo>
                <a:cubicBezTo>
                  <a:pt x="3083586" y="757732"/>
                  <a:pt x="3081650" y="765218"/>
                  <a:pt x="3066437" y="770882"/>
                </a:cubicBezTo>
                <a:cubicBezTo>
                  <a:pt x="3062566" y="774119"/>
                  <a:pt x="3071692" y="771995"/>
                  <a:pt x="3068926" y="777356"/>
                </a:cubicBezTo>
                <a:cubicBezTo>
                  <a:pt x="3075012" y="777154"/>
                  <a:pt x="3077777" y="776041"/>
                  <a:pt x="3079991" y="775738"/>
                </a:cubicBezTo>
                <a:lnTo>
                  <a:pt x="3086352" y="778266"/>
                </a:lnTo>
                <a:lnTo>
                  <a:pt x="3087734" y="776446"/>
                </a:lnTo>
                <a:cubicBezTo>
                  <a:pt x="3094927" y="769264"/>
                  <a:pt x="3102948" y="762790"/>
                  <a:pt x="3112352" y="757631"/>
                </a:cubicBezTo>
                <a:lnTo>
                  <a:pt x="3123138" y="744684"/>
                </a:lnTo>
                <a:lnTo>
                  <a:pt x="3125074" y="740537"/>
                </a:lnTo>
                <a:lnTo>
                  <a:pt x="3127563" y="739323"/>
                </a:lnTo>
                <a:lnTo>
                  <a:pt x="3132543" y="733355"/>
                </a:lnTo>
                <a:cubicBezTo>
                  <a:pt x="3140288" y="725971"/>
                  <a:pt x="3148032" y="718283"/>
                  <a:pt x="3151351" y="707257"/>
                </a:cubicBezTo>
                <a:cubicBezTo>
                  <a:pt x="3169053" y="702402"/>
                  <a:pt x="3177904" y="682880"/>
                  <a:pt x="3195605" y="666695"/>
                </a:cubicBezTo>
                <a:cubicBezTo>
                  <a:pt x="3207222" y="656580"/>
                  <a:pt x="3226859" y="654152"/>
                  <a:pt x="3225754" y="635844"/>
                </a:cubicBezTo>
                <a:cubicBezTo>
                  <a:pt x="3245944" y="631292"/>
                  <a:pt x="3252860" y="620671"/>
                  <a:pt x="3258115" y="607622"/>
                </a:cubicBezTo>
                <a:cubicBezTo>
                  <a:pt x="3282455" y="594371"/>
                  <a:pt x="3304029" y="578592"/>
                  <a:pt x="3325325" y="562508"/>
                </a:cubicBezTo>
                <a:close/>
                <a:moveTo>
                  <a:pt x="6120820" y="547437"/>
                </a:moveTo>
                <a:cubicBezTo>
                  <a:pt x="6158713" y="563115"/>
                  <a:pt x="6196329" y="573129"/>
                  <a:pt x="6241690" y="587493"/>
                </a:cubicBezTo>
                <a:cubicBezTo>
                  <a:pt x="6232563" y="593461"/>
                  <a:pt x="6213478" y="580008"/>
                  <a:pt x="6202691" y="593461"/>
                </a:cubicBezTo>
                <a:cubicBezTo>
                  <a:pt x="6196882" y="590325"/>
                  <a:pt x="6191351" y="589921"/>
                  <a:pt x="6187479" y="587796"/>
                </a:cubicBezTo>
                <a:cubicBezTo>
                  <a:pt x="6187202" y="582031"/>
                  <a:pt x="6194946" y="586279"/>
                  <a:pt x="6198542" y="585672"/>
                </a:cubicBezTo>
                <a:cubicBezTo>
                  <a:pt x="6200202" y="578187"/>
                  <a:pt x="6177798" y="579603"/>
                  <a:pt x="6175862" y="572826"/>
                </a:cubicBezTo>
                <a:cubicBezTo>
                  <a:pt x="6168947" y="594169"/>
                  <a:pt x="6156777" y="564936"/>
                  <a:pt x="6140181" y="575254"/>
                </a:cubicBezTo>
                <a:cubicBezTo>
                  <a:pt x="6143777" y="568780"/>
                  <a:pt x="6147650" y="571005"/>
                  <a:pt x="6145713" y="567060"/>
                </a:cubicBezTo>
                <a:cubicBezTo>
                  <a:pt x="6140181" y="569589"/>
                  <a:pt x="6130501" y="561294"/>
                  <a:pt x="6126905" y="567768"/>
                </a:cubicBezTo>
                <a:cubicBezTo>
                  <a:pt x="6124969" y="566656"/>
                  <a:pt x="6128841" y="563115"/>
                  <a:pt x="6128565" y="560283"/>
                </a:cubicBezTo>
                <a:cubicBezTo>
                  <a:pt x="6121097" y="558867"/>
                  <a:pt x="6117501" y="565239"/>
                  <a:pt x="6111969" y="567768"/>
                </a:cubicBezTo>
                <a:cubicBezTo>
                  <a:pt x="6108097" y="562711"/>
                  <a:pt x="6130224" y="555630"/>
                  <a:pt x="6111416" y="553506"/>
                </a:cubicBezTo>
                <a:cubicBezTo>
                  <a:pt x="6115288" y="549864"/>
                  <a:pt x="6117225" y="550977"/>
                  <a:pt x="6120820" y="547437"/>
                </a:cubicBezTo>
                <a:close/>
                <a:moveTo>
                  <a:pt x="4856770" y="460942"/>
                </a:moveTo>
                <a:cubicBezTo>
                  <a:pt x="4872846" y="462184"/>
                  <a:pt x="4887367" y="473014"/>
                  <a:pt x="4906868" y="466717"/>
                </a:cubicBezTo>
                <a:cubicBezTo>
                  <a:pt x="4906868" y="466717"/>
                  <a:pt x="4906590" y="466717"/>
                  <a:pt x="4982099" y="486341"/>
                </a:cubicBezTo>
                <a:cubicBezTo>
                  <a:pt x="4979333" y="488262"/>
                  <a:pt x="4979058" y="490488"/>
                  <a:pt x="4974355" y="489881"/>
                </a:cubicBezTo>
                <a:cubicBezTo>
                  <a:pt x="4943100" y="477439"/>
                  <a:pt x="4880038" y="479563"/>
                  <a:pt x="4839932" y="463885"/>
                </a:cubicBezTo>
                <a:cubicBezTo>
                  <a:pt x="4845879" y="461179"/>
                  <a:pt x="4851410" y="460528"/>
                  <a:pt x="4856770" y="460942"/>
                </a:cubicBezTo>
                <a:close/>
                <a:moveTo>
                  <a:pt x="3112352" y="457714"/>
                </a:moveTo>
                <a:cubicBezTo>
                  <a:pt x="3107096" y="475315"/>
                  <a:pt x="3077225" y="474910"/>
                  <a:pt x="3055650" y="488971"/>
                </a:cubicBezTo>
                <a:cubicBezTo>
                  <a:pt x="3064224" y="473090"/>
                  <a:pt x="3092161" y="469246"/>
                  <a:pt x="3112352" y="457714"/>
                </a:cubicBezTo>
                <a:close/>
                <a:moveTo>
                  <a:pt x="4802523" y="456906"/>
                </a:moveTo>
                <a:cubicBezTo>
                  <a:pt x="4805013" y="457765"/>
                  <a:pt x="4808262" y="459283"/>
                  <a:pt x="4811997" y="458524"/>
                </a:cubicBezTo>
                <a:cubicBezTo>
                  <a:pt x="4809231" y="460547"/>
                  <a:pt x="4806465" y="462469"/>
                  <a:pt x="4798997" y="463986"/>
                </a:cubicBezTo>
                <a:cubicBezTo>
                  <a:pt x="4800103" y="459434"/>
                  <a:pt x="4800103" y="459434"/>
                  <a:pt x="4797614" y="459232"/>
                </a:cubicBezTo>
                <a:cubicBezTo>
                  <a:pt x="4798305" y="455844"/>
                  <a:pt x="4800034" y="456046"/>
                  <a:pt x="4802523" y="456906"/>
                </a:cubicBezTo>
                <a:close/>
                <a:moveTo>
                  <a:pt x="3064225" y="449547"/>
                </a:moveTo>
                <a:cubicBezTo>
                  <a:pt x="3066507" y="450558"/>
                  <a:pt x="3068927" y="451848"/>
                  <a:pt x="3071969" y="450027"/>
                </a:cubicBezTo>
                <a:cubicBezTo>
                  <a:pt x="3058969" y="459940"/>
                  <a:pt x="3048182" y="474910"/>
                  <a:pt x="3031311" y="477338"/>
                </a:cubicBezTo>
                <a:cubicBezTo>
                  <a:pt x="3028545" y="477844"/>
                  <a:pt x="3025503" y="477844"/>
                  <a:pt x="3022183" y="477439"/>
                </a:cubicBezTo>
                <a:cubicBezTo>
                  <a:pt x="3019141" y="477136"/>
                  <a:pt x="3015821" y="476326"/>
                  <a:pt x="3011950" y="475011"/>
                </a:cubicBezTo>
                <a:cubicBezTo>
                  <a:pt x="3026885" y="462266"/>
                  <a:pt x="3046523" y="455489"/>
                  <a:pt x="3063671" y="454174"/>
                </a:cubicBezTo>
                <a:cubicBezTo>
                  <a:pt x="3062841" y="451949"/>
                  <a:pt x="3058969" y="455186"/>
                  <a:pt x="3057310" y="450735"/>
                </a:cubicBezTo>
                <a:cubicBezTo>
                  <a:pt x="3059799" y="447802"/>
                  <a:pt x="3061943" y="448535"/>
                  <a:pt x="3064225" y="449547"/>
                </a:cubicBezTo>
                <a:close/>
                <a:moveTo>
                  <a:pt x="4535406" y="434449"/>
                </a:moveTo>
                <a:cubicBezTo>
                  <a:pt x="4545640" y="431010"/>
                  <a:pt x="4541215" y="441834"/>
                  <a:pt x="4543428" y="442137"/>
                </a:cubicBezTo>
                <a:cubicBezTo>
                  <a:pt x="4542598" y="443755"/>
                  <a:pt x="4541491" y="444362"/>
                  <a:pt x="4540385" y="444261"/>
                </a:cubicBezTo>
                <a:cubicBezTo>
                  <a:pt x="4539555" y="444160"/>
                  <a:pt x="4538449" y="443452"/>
                  <a:pt x="4537619" y="442440"/>
                </a:cubicBezTo>
                <a:cubicBezTo>
                  <a:pt x="4535960" y="440215"/>
                  <a:pt x="4534853" y="436675"/>
                  <a:pt x="4535406" y="434449"/>
                </a:cubicBezTo>
                <a:close/>
                <a:moveTo>
                  <a:pt x="3515897" y="427470"/>
                </a:moveTo>
                <a:cubicBezTo>
                  <a:pt x="3513131" y="430302"/>
                  <a:pt x="3510365" y="431718"/>
                  <a:pt x="3508151" y="432123"/>
                </a:cubicBezTo>
                <a:cubicBezTo>
                  <a:pt x="3505662" y="432527"/>
                  <a:pt x="3503727" y="432022"/>
                  <a:pt x="3503173" y="431111"/>
                </a:cubicBezTo>
                <a:cubicBezTo>
                  <a:pt x="3501514" y="429493"/>
                  <a:pt x="3504003" y="426559"/>
                  <a:pt x="3515897" y="427470"/>
                </a:cubicBezTo>
                <a:close/>
                <a:moveTo>
                  <a:pt x="3104884" y="426155"/>
                </a:moveTo>
                <a:cubicBezTo>
                  <a:pt x="3104330" y="431111"/>
                  <a:pt x="3107096" y="437787"/>
                  <a:pt x="3115394" y="433539"/>
                </a:cubicBezTo>
                <a:cubicBezTo>
                  <a:pt x="3115671" y="440721"/>
                  <a:pt x="3104053" y="436068"/>
                  <a:pt x="3102671" y="438799"/>
                </a:cubicBezTo>
                <a:cubicBezTo>
                  <a:pt x="3101841" y="436574"/>
                  <a:pt x="3099905" y="432123"/>
                  <a:pt x="3097693" y="432629"/>
                </a:cubicBezTo>
                <a:cubicBezTo>
                  <a:pt x="3096032" y="428178"/>
                  <a:pt x="3100459" y="427166"/>
                  <a:pt x="3104884" y="426155"/>
                </a:cubicBezTo>
                <a:close/>
                <a:moveTo>
                  <a:pt x="2993418" y="415837"/>
                </a:moveTo>
                <a:cubicBezTo>
                  <a:pt x="2997844" y="414927"/>
                  <a:pt x="2999779" y="419175"/>
                  <a:pt x="3001438" y="423424"/>
                </a:cubicBezTo>
                <a:cubicBezTo>
                  <a:pt x="2999225" y="423930"/>
                  <a:pt x="2993141" y="420693"/>
                  <a:pt x="2994801" y="425042"/>
                </a:cubicBezTo>
                <a:cubicBezTo>
                  <a:pt x="2992865" y="424840"/>
                  <a:pt x="2991758" y="424233"/>
                  <a:pt x="2991481" y="423525"/>
                </a:cubicBezTo>
                <a:cubicBezTo>
                  <a:pt x="2990376" y="421401"/>
                  <a:pt x="2994247" y="417456"/>
                  <a:pt x="2993418" y="415837"/>
                </a:cubicBezTo>
                <a:close/>
                <a:moveTo>
                  <a:pt x="3208605" y="412702"/>
                </a:moveTo>
                <a:cubicBezTo>
                  <a:pt x="3211648" y="414421"/>
                  <a:pt x="3214967" y="416040"/>
                  <a:pt x="3219391" y="415028"/>
                </a:cubicBezTo>
                <a:cubicBezTo>
                  <a:pt x="3195052" y="434753"/>
                  <a:pt x="3159925" y="440215"/>
                  <a:pt x="3128947" y="456602"/>
                </a:cubicBezTo>
                <a:cubicBezTo>
                  <a:pt x="3127011" y="445070"/>
                  <a:pt x="3141670" y="444261"/>
                  <a:pt x="3147479" y="440519"/>
                </a:cubicBezTo>
                <a:cubicBezTo>
                  <a:pt x="3144436" y="438900"/>
                  <a:pt x="3141117" y="437180"/>
                  <a:pt x="3140288" y="434955"/>
                </a:cubicBezTo>
                <a:cubicBezTo>
                  <a:pt x="3145819" y="436169"/>
                  <a:pt x="3147755" y="428481"/>
                  <a:pt x="3156883" y="426458"/>
                </a:cubicBezTo>
                <a:cubicBezTo>
                  <a:pt x="3157988" y="435764"/>
                  <a:pt x="3182329" y="427976"/>
                  <a:pt x="3177350" y="421906"/>
                </a:cubicBezTo>
                <a:cubicBezTo>
                  <a:pt x="3187030" y="426964"/>
                  <a:pt x="3202797" y="423525"/>
                  <a:pt x="3208605" y="412702"/>
                </a:cubicBezTo>
                <a:close/>
                <a:moveTo>
                  <a:pt x="3171818" y="407037"/>
                </a:moveTo>
                <a:cubicBezTo>
                  <a:pt x="3169329" y="419681"/>
                  <a:pt x="3152733" y="416040"/>
                  <a:pt x="3144436" y="420288"/>
                </a:cubicBezTo>
                <a:cubicBezTo>
                  <a:pt x="3146373" y="412600"/>
                  <a:pt x="3164074" y="406329"/>
                  <a:pt x="3171818" y="407037"/>
                </a:cubicBezTo>
                <a:close/>
                <a:moveTo>
                  <a:pt x="4904067" y="403295"/>
                </a:moveTo>
                <a:cubicBezTo>
                  <a:pt x="4906244" y="403143"/>
                  <a:pt x="4909771" y="403801"/>
                  <a:pt x="4914888" y="406026"/>
                </a:cubicBezTo>
                <a:cubicBezTo>
                  <a:pt x="4910740" y="407846"/>
                  <a:pt x="4907420" y="408150"/>
                  <a:pt x="4905207" y="407846"/>
                </a:cubicBezTo>
                <a:cubicBezTo>
                  <a:pt x="4902718" y="407442"/>
                  <a:pt x="4901335" y="406430"/>
                  <a:pt x="4901335" y="405419"/>
                </a:cubicBezTo>
                <a:cubicBezTo>
                  <a:pt x="4901058" y="404408"/>
                  <a:pt x="4901889" y="403447"/>
                  <a:pt x="4904067" y="403295"/>
                </a:cubicBezTo>
                <a:close/>
                <a:moveTo>
                  <a:pt x="3285221" y="393685"/>
                </a:moveTo>
                <a:cubicBezTo>
                  <a:pt x="3281071" y="401676"/>
                  <a:pt x="3258945" y="401878"/>
                  <a:pt x="3252860" y="405621"/>
                </a:cubicBezTo>
                <a:cubicBezTo>
                  <a:pt x="3256179" y="395303"/>
                  <a:pt x="3271668" y="396618"/>
                  <a:pt x="3285221" y="393685"/>
                </a:cubicBezTo>
                <a:close/>
                <a:moveTo>
                  <a:pt x="3035610" y="393567"/>
                </a:moveTo>
                <a:cubicBezTo>
                  <a:pt x="3037343" y="393432"/>
                  <a:pt x="3038985" y="394090"/>
                  <a:pt x="3040438" y="396113"/>
                </a:cubicBezTo>
                <a:cubicBezTo>
                  <a:pt x="3032417" y="400260"/>
                  <a:pt x="3026608" y="403901"/>
                  <a:pt x="3026056" y="408656"/>
                </a:cubicBezTo>
                <a:cubicBezTo>
                  <a:pt x="3023843" y="409161"/>
                  <a:pt x="3022183" y="404913"/>
                  <a:pt x="3020246" y="400664"/>
                </a:cubicBezTo>
                <a:cubicBezTo>
                  <a:pt x="3024396" y="401499"/>
                  <a:pt x="3030411" y="393969"/>
                  <a:pt x="3035610" y="393567"/>
                </a:cubicBezTo>
                <a:close/>
                <a:moveTo>
                  <a:pt x="4315241" y="389942"/>
                </a:moveTo>
                <a:cubicBezTo>
                  <a:pt x="4317177" y="392370"/>
                  <a:pt x="4321879" y="392977"/>
                  <a:pt x="4321049" y="397225"/>
                </a:cubicBezTo>
                <a:cubicBezTo>
                  <a:pt x="4320219" y="398743"/>
                  <a:pt x="4319390" y="399451"/>
                  <a:pt x="4318837" y="399451"/>
                </a:cubicBezTo>
                <a:cubicBezTo>
                  <a:pt x="4318008" y="399552"/>
                  <a:pt x="4317454" y="399046"/>
                  <a:pt x="4316624" y="398439"/>
                </a:cubicBezTo>
                <a:cubicBezTo>
                  <a:pt x="4314965" y="397124"/>
                  <a:pt x="4313028" y="395202"/>
                  <a:pt x="4309157" y="395910"/>
                </a:cubicBezTo>
                <a:cubicBezTo>
                  <a:pt x="4311922" y="393988"/>
                  <a:pt x="4314411" y="394292"/>
                  <a:pt x="4315241" y="389942"/>
                </a:cubicBezTo>
                <a:close/>
                <a:moveTo>
                  <a:pt x="4001036" y="373454"/>
                </a:moveTo>
                <a:cubicBezTo>
                  <a:pt x="4005738" y="373960"/>
                  <a:pt x="4002142" y="380232"/>
                  <a:pt x="4006844" y="380839"/>
                </a:cubicBezTo>
                <a:cubicBezTo>
                  <a:pt x="4005184" y="383974"/>
                  <a:pt x="3999653" y="385593"/>
                  <a:pt x="3994396" y="385896"/>
                </a:cubicBezTo>
                <a:cubicBezTo>
                  <a:pt x="3989141" y="386099"/>
                  <a:pt x="3983887" y="384885"/>
                  <a:pt x="3981950" y="382457"/>
                </a:cubicBezTo>
                <a:cubicBezTo>
                  <a:pt x="3985546" y="376186"/>
                  <a:pt x="3997162" y="379726"/>
                  <a:pt x="4001036" y="373454"/>
                </a:cubicBezTo>
                <a:close/>
                <a:moveTo>
                  <a:pt x="2931462" y="370926"/>
                </a:moveTo>
                <a:cubicBezTo>
                  <a:pt x="2933951" y="377298"/>
                  <a:pt x="2924824" y="379422"/>
                  <a:pt x="2918739" y="383064"/>
                </a:cubicBezTo>
                <a:cubicBezTo>
                  <a:pt x="2913760" y="377096"/>
                  <a:pt x="2925376" y="374567"/>
                  <a:pt x="2931462" y="370926"/>
                </a:cubicBezTo>
                <a:close/>
                <a:moveTo>
                  <a:pt x="2988439" y="365767"/>
                </a:moveTo>
                <a:cubicBezTo>
                  <a:pt x="2996461" y="361620"/>
                  <a:pt x="2993141" y="371634"/>
                  <a:pt x="3000886" y="372241"/>
                </a:cubicBezTo>
                <a:cubicBezTo>
                  <a:pt x="3000333" y="376995"/>
                  <a:pt x="2979589" y="374668"/>
                  <a:pt x="2979865" y="381446"/>
                </a:cubicBezTo>
                <a:cubicBezTo>
                  <a:pt x="2975993" y="381142"/>
                  <a:pt x="2973503" y="380636"/>
                  <a:pt x="2971566" y="379220"/>
                </a:cubicBezTo>
                <a:cubicBezTo>
                  <a:pt x="2969907" y="377905"/>
                  <a:pt x="2969077" y="375781"/>
                  <a:pt x="2968802" y="372342"/>
                </a:cubicBezTo>
                <a:cubicBezTo>
                  <a:pt x="2970185" y="369712"/>
                  <a:pt x="2974887" y="368801"/>
                  <a:pt x="2979312" y="367790"/>
                </a:cubicBezTo>
                <a:cubicBezTo>
                  <a:pt x="2979589" y="374668"/>
                  <a:pt x="2993141" y="371634"/>
                  <a:pt x="2988439" y="365767"/>
                </a:cubicBezTo>
                <a:close/>
                <a:moveTo>
                  <a:pt x="4022332" y="364148"/>
                </a:moveTo>
                <a:cubicBezTo>
                  <a:pt x="4023716" y="368903"/>
                  <a:pt x="4034226" y="363036"/>
                  <a:pt x="4032290" y="372139"/>
                </a:cubicBezTo>
                <a:cubicBezTo>
                  <a:pt x="4026482" y="366880"/>
                  <a:pt x="4027312" y="373960"/>
                  <a:pt x="4019843" y="375478"/>
                </a:cubicBezTo>
                <a:cubicBezTo>
                  <a:pt x="4019291" y="373050"/>
                  <a:pt x="4019566" y="371431"/>
                  <a:pt x="4020120" y="369712"/>
                </a:cubicBezTo>
                <a:cubicBezTo>
                  <a:pt x="4020950" y="368093"/>
                  <a:pt x="4021780" y="366374"/>
                  <a:pt x="4022332" y="364148"/>
                </a:cubicBezTo>
                <a:close/>
                <a:moveTo>
                  <a:pt x="3069203" y="361620"/>
                </a:moveTo>
                <a:cubicBezTo>
                  <a:pt x="3062012" y="374668"/>
                  <a:pt x="3035183" y="382862"/>
                  <a:pt x="3018311" y="384278"/>
                </a:cubicBezTo>
                <a:cubicBezTo>
                  <a:pt x="3025778" y="378006"/>
                  <a:pt x="3024120" y="373758"/>
                  <a:pt x="3024672" y="369105"/>
                </a:cubicBezTo>
                <a:cubicBezTo>
                  <a:pt x="3037119" y="368599"/>
                  <a:pt x="3051778" y="367790"/>
                  <a:pt x="3069203" y="361620"/>
                </a:cubicBezTo>
                <a:close/>
                <a:moveTo>
                  <a:pt x="3000609" y="358180"/>
                </a:moveTo>
                <a:cubicBezTo>
                  <a:pt x="3006970" y="361316"/>
                  <a:pt x="3013055" y="357776"/>
                  <a:pt x="3015544" y="364047"/>
                </a:cubicBezTo>
                <a:cubicBezTo>
                  <a:pt x="3014162" y="366576"/>
                  <a:pt x="3009460" y="367588"/>
                  <a:pt x="3010289" y="369611"/>
                </a:cubicBezTo>
                <a:cubicBezTo>
                  <a:pt x="3008077" y="370116"/>
                  <a:pt x="3006970" y="361316"/>
                  <a:pt x="3000609" y="358180"/>
                </a:cubicBezTo>
                <a:close/>
                <a:moveTo>
                  <a:pt x="3091884" y="349987"/>
                </a:moveTo>
                <a:cubicBezTo>
                  <a:pt x="3094097" y="356056"/>
                  <a:pt x="3090225" y="359192"/>
                  <a:pt x="3081650" y="363339"/>
                </a:cubicBezTo>
                <a:cubicBezTo>
                  <a:pt x="3080820" y="361316"/>
                  <a:pt x="3083309" y="360709"/>
                  <a:pt x="3084692" y="358180"/>
                </a:cubicBezTo>
                <a:cubicBezTo>
                  <a:pt x="3081650" y="356663"/>
                  <a:pt x="3081650" y="356663"/>
                  <a:pt x="3077502" y="353123"/>
                </a:cubicBezTo>
                <a:cubicBezTo>
                  <a:pt x="3080820" y="354640"/>
                  <a:pt x="3083033" y="354134"/>
                  <a:pt x="3086352" y="355652"/>
                </a:cubicBezTo>
                <a:cubicBezTo>
                  <a:pt x="3088565" y="355146"/>
                  <a:pt x="3086905" y="351100"/>
                  <a:pt x="3091884" y="349987"/>
                </a:cubicBezTo>
                <a:close/>
                <a:moveTo>
                  <a:pt x="3048736" y="323789"/>
                </a:moveTo>
                <a:cubicBezTo>
                  <a:pt x="3049566" y="325913"/>
                  <a:pt x="3045693" y="329150"/>
                  <a:pt x="3049013" y="330768"/>
                </a:cubicBezTo>
                <a:cubicBezTo>
                  <a:pt x="3043757" y="336534"/>
                  <a:pt x="3039885" y="332791"/>
                  <a:pt x="3036290" y="335927"/>
                </a:cubicBezTo>
                <a:cubicBezTo>
                  <a:pt x="3038779" y="342401"/>
                  <a:pt x="3046247" y="336028"/>
                  <a:pt x="3050672" y="335017"/>
                </a:cubicBezTo>
                <a:cubicBezTo>
                  <a:pt x="3052332" y="339366"/>
                  <a:pt x="3035183" y="345435"/>
                  <a:pt x="3045140" y="345638"/>
                </a:cubicBezTo>
                <a:cubicBezTo>
                  <a:pt x="3041545" y="348773"/>
                  <a:pt x="3022460" y="350594"/>
                  <a:pt x="3032969" y="364654"/>
                </a:cubicBezTo>
                <a:cubicBezTo>
                  <a:pt x="3025503" y="364047"/>
                  <a:pt x="3023843" y="359698"/>
                  <a:pt x="3018864" y="353831"/>
                </a:cubicBezTo>
                <a:cubicBezTo>
                  <a:pt x="3019971" y="344221"/>
                  <a:pt x="3031588" y="348672"/>
                  <a:pt x="3032694" y="339063"/>
                </a:cubicBezTo>
                <a:cubicBezTo>
                  <a:pt x="3028545" y="335219"/>
                  <a:pt x="3024949" y="338355"/>
                  <a:pt x="3022460" y="331982"/>
                </a:cubicBezTo>
                <a:cubicBezTo>
                  <a:pt x="3031311" y="329959"/>
                  <a:pt x="3040438" y="327936"/>
                  <a:pt x="3048736" y="323789"/>
                </a:cubicBezTo>
                <a:close/>
                <a:moveTo>
                  <a:pt x="2996184" y="323485"/>
                </a:moveTo>
                <a:cubicBezTo>
                  <a:pt x="3005311" y="323283"/>
                  <a:pt x="3003099" y="332488"/>
                  <a:pt x="2998120" y="331679"/>
                </a:cubicBezTo>
                <a:cubicBezTo>
                  <a:pt x="2996461" y="331375"/>
                  <a:pt x="2994524" y="329959"/>
                  <a:pt x="2992588" y="326722"/>
                </a:cubicBezTo>
                <a:cubicBezTo>
                  <a:pt x="2994801" y="326216"/>
                  <a:pt x="2996184" y="323485"/>
                  <a:pt x="2996184" y="323485"/>
                </a:cubicBezTo>
                <a:close/>
                <a:moveTo>
                  <a:pt x="3012503" y="313066"/>
                </a:moveTo>
                <a:cubicBezTo>
                  <a:pt x="3016928" y="312055"/>
                  <a:pt x="3019971" y="313775"/>
                  <a:pt x="3021907" y="318023"/>
                </a:cubicBezTo>
                <a:cubicBezTo>
                  <a:pt x="3019417" y="318529"/>
                  <a:pt x="3018035" y="321260"/>
                  <a:pt x="3015821" y="321766"/>
                </a:cubicBezTo>
                <a:cubicBezTo>
                  <a:pt x="3013886" y="319844"/>
                  <a:pt x="3013055" y="318225"/>
                  <a:pt x="3012778" y="316809"/>
                </a:cubicBezTo>
                <a:cubicBezTo>
                  <a:pt x="3012503" y="315393"/>
                  <a:pt x="3012778" y="314179"/>
                  <a:pt x="3012503" y="313066"/>
                </a:cubicBezTo>
                <a:close/>
                <a:moveTo>
                  <a:pt x="2989545" y="311347"/>
                </a:moveTo>
                <a:cubicBezTo>
                  <a:pt x="2991758" y="310841"/>
                  <a:pt x="2995078" y="312460"/>
                  <a:pt x="2995907" y="314685"/>
                </a:cubicBezTo>
                <a:cubicBezTo>
                  <a:pt x="2995354" y="319439"/>
                  <a:pt x="2987333" y="318832"/>
                  <a:pt x="2982355" y="319844"/>
                </a:cubicBezTo>
                <a:cubicBezTo>
                  <a:pt x="2977376" y="313977"/>
                  <a:pt x="2993418" y="315090"/>
                  <a:pt x="2989545" y="311347"/>
                </a:cubicBezTo>
                <a:close/>
                <a:moveTo>
                  <a:pt x="3101012" y="310335"/>
                </a:moveTo>
                <a:cubicBezTo>
                  <a:pt x="3107926" y="315798"/>
                  <a:pt x="3105714" y="316303"/>
                  <a:pt x="3105161" y="321159"/>
                </a:cubicBezTo>
                <a:cubicBezTo>
                  <a:pt x="3090777" y="310335"/>
                  <a:pt x="3073076" y="328138"/>
                  <a:pt x="3075012" y="339467"/>
                </a:cubicBezTo>
                <a:cubicBezTo>
                  <a:pt x="3074458" y="339771"/>
                  <a:pt x="3074183" y="339872"/>
                  <a:pt x="3073629" y="339568"/>
                </a:cubicBezTo>
                <a:cubicBezTo>
                  <a:pt x="3070034" y="338051"/>
                  <a:pt x="3065332" y="324092"/>
                  <a:pt x="3062289" y="332892"/>
                </a:cubicBezTo>
                <a:cubicBezTo>
                  <a:pt x="3060353" y="332791"/>
                  <a:pt x="3060353" y="332184"/>
                  <a:pt x="3060629" y="331476"/>
                </a:cubicBezTo>
                <a:cubicBezTo>
                  <a:pt x="3062012" y="329251"/>
                  <a:pt x="3070587" y="325306"/>
                  <a:pt x="3065885" y="322777"/>
                </a:cubicBezTo>
                <a:cubicBezTo>
                  <a:pt x="3076394" y="318124"/>
                  <a:pt x="3088011" y="315595"/>
                  <a:pt x="3101012" y="310335"/>
                </a:cubicBezTo>
                <a:close/>
                <a:moveTo>
                  <a:pt x="4531811" y="306795"/>
                </a:moveTo>
                <a:cubicBezTo>
                  <a:pt x="4517152" y="320956"/>
                  <a:pt x="4490323" y="311246"/>
                  <a:pt x="4462941" y="317315"/>
                </a:cubicBezTo>
                <a:cubicBezTo>
                  <a:pt x="4479536" y="305480"/>
                  <a:pt x="4507194" y="310841"/>
                  <a:pt x="4531811" y="306795"/>
                </a:cubicBezTo>
                <a:close/>
                <a:moveTo>
                  <a:pt x="2934228" y="304772"/>
                </a:moveTo>
                <a:lnTo>
                  <a:pt x="2929802" y="311752"/>
                </a:lnTo>
                <a:lnTo>
                  <a:pt x="2931462" y="308009"/>
                </a:lnTo>
                <a:cubicBezTo>
                  <a:pt x="2932015" y="305278"/>
                  <a:pt x="2932292" y="302850"/>
                  <a:pt x="2934228" y="304772"/>
                </a:cubicBezTo>
                <a:close/>
                <a:moveTo>
                  <a:pt x="4202670" y="304266"/>
                </a:moveTo>
                <a:cubicBezTo>
                  <a:pt x="4203222" y="313673"/>
                  <a:pt x="4193541" y="314887"/>
                  <a:pt x="4186073" y="316405"/>
                </a:cubicBezTo>
                <a:cubicBezTo>
                  <a:pt x="4187733" y="307301"/>
                  <a:pt x="4192988" y="305480"/>
                  <a:pt x="4202670" y="304266"/>
                </a:cubicBezTo>
                <a:close/>
                <a:moveTo>
                  <a:pt x="4705060" y="299714"/>
                </a:moveTo>
                <a:cubicBezTo>
                  <a:pt x="4711249" y="300397"/>
                  <a:pt x="4718094" y="302294"/>
                  <a:pt x="4725148" y="303052"/>
                </a:cubicBezTo>
                <a:cubicBezTo>
                  <a:pt x="4723211" y="304570"/>
                  <a:pt x="4720169" y="305278"/>
                  <a:pt x="4717126" y="305480"/>
                </a:cubicBezTo>
                <a:cubicBezTo>
                  <a:pt x="4713808" y="305784"/>
                  <a:pt x="4710211" y="305480"/>
                  <a:pt x="4706893" y="305075"/>
                </a:cubicBezTo>
                <a:cubicBezTo>
                  <a:pt x="4699701" y="304367"/>
                  <a:pt x="4692786" y="302951"/>
                  <a:pt x="4688914" y="303659"/>
                </a:cubicBezTo>
                <a:cubicBezTo>
                  <a:pt x="4693339" y="299563"/>
                  <a:pt x="4698871" y="299032"/>
                  <a:pt x="4705060" y="299714"/>
                </a:cubicBezTo>
                <a:close/>
                <a:moveTo>
                  <a:pt x="4590171" y="292533"/>
                </a:moveTo>
                <a:cubicBezTo>
                  <a:pt x="4586022" y="301333"/>
                  <a:pt x="4612299" y="301940"/>
                  <a:pt x="4611193" y="294859"/>
                </a:cubicBezTo>
                <a:cubicBezTo>
                  <a:pt x="4617001" y="302445"/>
                  <a:pt x="4633596" y="304266"/>
                  <a:pt x="4644661" y="296174"/>
                </a:cubicBezTo>
                <a:cubicBezTo>
                  <a:pt x="4646597" y="298703"/>
                  <a:pt x="4648533" y="301232"/>
                  <a:pt x="4653234" y="301737"/>
                </a:cubicBezTo>
                <a:cubicBezTo>
                  <a:pt x="4620044" y="311954"/>
                  <a:pt x="4584916" y="305784"/>
                  <a:pt x="4547854" y="310942"/>
                </a:cubicBezTo>
                <a:cubicBezTo>
                  <a:pt x="4552278" y="299816"/>
                  <a:pt x="4566108" y="303659"/>
                  <a:pt x="4573576" y="302243"/>
                </a:cubicBezTo>
                <a:cubicBezTo>
                  <a:pt x="4571640" y="299714"/>
                  <a:pt x="4569704" y="297186"/>
                  <a:pt x="4570257" y="294960"/>
                </a:cubicBezTo>
                <a:cubicBezTo>
                  <a:pt x="4574407" y="297691"/>
                  <a:pt x="4580767" y="291420"/>
                  <a:pt x="4590171" y="292533"/>
                </a:cubicBezTo>
                <a:close/>
                <a:moveTo>
                  <a:pt x="3040438" y="290712"/>
                </a:moveTo>
                <a:cubicBezTo>
                  <a:pt x="3065055" y="287070"/>
                  <a:pt x="3056757" y="306188"/>
                  <a:pt x="3040992" y="311448"/>
                </a:cubicBezTo>
                <a:cubicBezTo>
                  <a:pt x="3038226" y="312358"/>
                  <a:pt x="3035460" y="312763"/>
                  <a:pt x="3032417" y="312662"/>
                </a:cubicBezTo>
                <a:cubicBezTo>
                  <a:pt x="3029651" y="312662"/>
                  <a:pt x="3026331" y="312055"/>
                  <a:pt x="3023289" y="310639"/>
                </a:cubicBezTo>
                <a:cubicBezTo>
                  <a:pt x="3027715" y="302749"/>
                  <a:pt x="3039331" y="307099"/>
                  <a:pt x="3049289" y="300321"/>
                </a:cubicBezTo>
                <a:cubicBezTo>
                  <a:pt x="3046523" y="294050"/>
                  <a:pt x="3042927" y="297084"/>
                  <a:pt x="3040438" y="290712"/>
                </a:cubicBezTo>
                <a:close/>
                <a:moveTo>
                  <a:pt x="4485897" y="283227"/>
                </a:moveTo>
                <a:cubicBezTo>
                  <a:pt x="4493918" y="279484"/>
                  <a:pt x="4492259" y="288486"/>
                  <a:pt x="4499726" y="287070"/>
                </a:cubicBezTo>
                <a:cubicBezTo>
                  <a:pt x="4486727" y="290813"/>
                  <a:pt x="4473174" y="297388"/>
                  <a:pt x="4460174" y="299209"/>
                </a:cubicBezTo>
                <a:cubicBezTo>
                  <a:pt x="4455749" y="299816"/>
                  <a:pt x="4451601" y="299816"/>
                  <a:pt x="4447451" y="299107"/>
                </a:cubicBezTo>
                <a:cubicBezTo>
                  <a:pt x="4441642" y="298096"/>
                  <a:pt x="4436387" y="295668"/>
                  <a:pt x="4431132" y="291015"/>
                </a:cubicBezTo>
                <a:cubicBezTo>
                  <a:pt x="4451876" y="284137"/>
                  <a:pt x="4473728" y="284238"/>
                  <a:pt x="4489769" y="288284"/>
                </a:cubicBezTo>
                <a:cubicBezTo>
                  <a:pt x="4490323" y="286059"/>
                  <a:pt x="4485067" y="287778"/>
                  <a:pt x="4485897" y="283227"/>
                </a:cubicBezTo>
                <a:close/>
                <a:moveTo>
                  <a:pt x="2984290" y="279750"/>
                </a:moveTo>
                <a:cubicBezTo>
                  <a:pt x="2991136" y="278245"/>
                  <a:pt x="3000332" y="278017"/>
                  <a:pt x="3001992" y="282417"/>
                </a:cubicBezTo>
                <a:cubicBezTo>
                  <a:pt x="2990099" y="289801"/>
                  <a:pt x="2968802" y="292128"/>
                  <a:pt x="2974610" y="300321"/>
                </a:cubicBezTo>
                <a:cubicBezTo>
                  <a:pt x="2974887" y="301434"/>
                  <a:pt x="2971291" y="302951"/>
                  <a:pt x="2966865" y="303558"/>
                </a:cubicBezTo>
                <a:cubicBezTo>
                  <a:pt x="2964652" y="303862"/>
                  <a:pt x="2962440" y="304064"/>
                  <a:pt x="2960504" y="303862"/>
                </a:cubicBezTo>
                <a:cubicBezTo>
                  <a:pt x="2958291" y="303659"/>
                  <a:pt x="2956631" y="303154"/>
                  <a:pt x="2955525" y="302243"/>
                </a:cubicBezTo>
                <a:cubicBezTo>
                  <a:pt x="2956631" y="292431"/>
                  <a:pt x="2971566" y="286767"/>
                  <a:pt x="2980694" y="284744"/>
                </a:cubicBezTo>
                <a:cubicBezTo>
                  <a:pt x="2972950" y="284036"/>
                  <a:pt x="2977444" y="281254"/>
                  <a:pt x="2984290" y="279750"/>
                </a:cubicBezTo>
                <a:close/>
                <a:moveTo>
                  <a:pt x="3113181" y="278978"/>
                </a:moveTo>
                <a:cubicBezTo>
                  <a:pt x="3114010" y="281203"/>
                  <a:pt x="3109585" y="282114"/>
                  <a:pt x="3108203" y="284845"/>
                </a:cubicBezTo>
                <a:cubicBezTo>
                  <a:pt x="3090500" y="291116"/>
                  <a:pt x="3086629" y="294353"/>
                  <a:pt x="3070587" y="297894"/>
                </a:cubicBezTo>
                <a:cubicBezTo>
                  <a:pt x="3069757" y="299310"/>
                  <a:pt x="3068651" y="299411"/>
                  <a:pt x="3067544" y="299107"/>
                </a:cubicBezTo>
                <a:cubicBezTo>
                  <a:pt x="3066437" y="298703"/>
                  <a:pt x="3065607" y="297894"/>
                  <a:pt x="3065055" y="296781"/>
                </a:cubicBezTo>
                <a:cubicBezTo>
                  <a:pt x="3071692" y="288183"/>
                  <a:pt x="3092437" y="283530"/>
                  <a:pt x="3102671" y="283631"/>
                </a:cubicBezTo>
                <a:cubicBezTo>
                  <a:pt x="3107096" y="282620"/>
                  <a:pt x="3110969" y="279484"/>
                  <a:pt x="3113181" y="278978"/>
                </a:cubicBezTo>
                <a:close/>
                <a:moveTo>
                  <a:pt x="4598400" y="277727"/>
                </a:moveTo>
                <a:cubicBezTo>
                  <a:pt x="4604900" y="277284"/>
                  <a:pt x="4611469" y="278017"/>
                  <a:pt x="4614788" y="279585"/>
                </a:cubicBezTo>
                <a:cubicBezTo>
                  <a:pt x="4610086" y="284845"/>
                  <a:pt x="4604278" y="285452"/>
                  <a:pt x="4598746" y="284845"/>
                </a:cubicBezTo>
                <a:cubicBezTo>
                  <a:pt x="4593214" y="284238"/>
                  <a:pt x="4587405" y="282316"/>
                  <a:pt x="4582427" y="282923"/>
                </a:cubicBezTo>
                <a:cubicBezTo>
                  <a:pt x="4585469" y="279788"/>
                  <a:pt x="4591901" y="278169"/>
                  <a:pt x="4598400" y="277727"/>
                </a:cubicBezTo>
                <a:close/>
                <a:moveTo>
                  <a:pt x="4536582" y="275729"/>
                </a:moveTo>
                <a:cubicBezTo>
                  <a:pt x="4538449" y="275337"/>
                  <a:pt x="4540800" y="275590"/>
                  <a:pt x="4543151" y="275842"/>
                </a:cubicBezTo>
                <a:cubicBezTo>
                  <a:pt x="4539832" y="280192"/>
                  <a:pt x="4538726" y="287171"/>
                  <a:pt x="4548406" y="285856"/>
                </a:cubicBezTo>
                <a:cubicBezTo>
                  <a:pt x="4547576" y="287576"/>
                  <a:pt x="4546194" y="288284"/>
                  <a:pt x="4544811" y="288486"/>
                </a:cubicBezTo>
                <a:cubicBezTo>
                  <a:pt x="4543704" y="288689"/>
                  <a:pt x="4542321" y="288486"/>
                  <a:pt x="4540939" y="287981"/>
                </a:cubicBezTo>
                <a:cubicBezTo>
                  <a:pt x="4537896" y="287171"/>
                  <a:pt x="4535406" y="285654"/>
                  <a:pt x="4534024" y="286666"/>
                </a:cubicBezTo>
                <a:cubicBezTo>
                  <a:pt x="4534300" y="284339"/>
                  <a:pt x="4535406" y="279686"/>
                  <a:pt x="4532917" y="279484"/>
                </a:cubicBezTo>
                <a:cubicBezTo>
                  <a:pt x="4533333" y="277158"/>
                  <a:pt x="4534715" y="276121"/>
                  <a:pt x="4536582" y="275729"/>
                </a:cubicBezTo>
                <a:close/>
                <a:moveTo>
                  <a:pt x="3145819" y="267346"/>
                </a:moveTo>
                <a:cubicBezTo>
                  <a:pt x="3146925" y="276652"/>
                  <a:pt x="3121756" y="270380"/>
                  <a:pt x="3134479" y="277157"/>
                </a:cubicBezTo>
                <a:cubicBezTo>
                  <a:pt x="3135584" y="278169"/>
                  <a:pt x="3135584" y="278472"/>
                  <a:pt x="3135309" y="278472"/>
                </a:cubicBezTo>
                <a:cubicBezTo>
                  <a:pt x="3135032" y="278574"/>
                  <a:pt x="3134203" y="278270"/>
                  <a:pt x="3133095" y="277764"/>
                </a:cubicBezTo>
                <a:cubicBezTo>
                  <a:pt x="3131160" y="276652"/>
                  <a:pt x="3128394" y="274831"/>
                  <a:pt x="3128117" y="273718"/>
                </a:cubicBezTo>
                <a:cubicBezTo>
                  <a:pt x="3133095" y="267750"/>
                  <a:pt x="3138905" y="268863"/>
                  <a:pt x="3145819" y="267346"/>
                </a:cubicBezTo>
                <a:close/>
                <a:moveTo>
                  <a:pt x="3032140" y="264513"/>
                </a:moveTo>
                <a:cubicBezTo>
                  <a:pt x="3034630" y="270987"/>
                  <a:pt x="3022460" y="271291"/>
                  <a:pt x="3025226" y="277764"/>
                </a:cubicBezTo>
                <a:cubicBezTo>
                  <a:pt x="3022737" y="278270"/>
                  <a:pt x="3026608" y="275134"/>
                  <a:pt x="3023289" y="273415"/>
                </a:cubicBezTo>
                <a:cubicBezTo>
                  <a:pt x="3011950" y="275944"/>
                  <a:pt x="3020523" y="278776"/>
                  <a:pt x="3019971" y="283530"/>
                </a:cubicBezTo>
                <a:cubicBezTo>
                  <a:pt x="3016375" y="286666"/>
                  <a:pt x="3014162" y="287171"/>
                  <a:pt x="3009460" y="288183"/>
                </a:cubicBezTo>
                <a:cubicBezTo>
                  <a:pt x="3007800" y="283935"/>
                  <a:pt x="3010289" y="283429"/>
                  <a:pt x="3013886" y="280293"/>
                </a:cubicBezTo>
                <a:cubicBezTo>
                  <a:pt x="3011120" y="273819"/>
                  <a:pt x="3004758" y="282215"/>
                  <a:pt x="3002268" y="275741"/>
                </a:cubicBezTo>
                <a:cubicBezTo>
                  <a:pt x="3014992" y="270684"/>
                  <a:pt x="3018588" y="267548"/>
                  <a:pt x="3032140" y="264513"/>
                </a:cubicBezTo>
                <a:close/>
                <a:moveTo>
                  <a:pt x="3168222" y="262086"/>
                </a:moveTo>
                <a:cubicBezTo>
                  <a:pt x="3166840" y="264716"/>
                  <a:pt x="3165456" y="267447"/>
                  <a:pt x="3161031" y="268357"/>
                </a:cubicBezTo>
                <a:cubicBezTo>
                  <a:pt x="3160201" y="266233"/>
                  <a:pt x="3157160" y="264513"/>
                  <a:pt x="3154947" y="265019"/>
                </a:cubicBezTo>
                <a:cubicBezTo>
                  <a:pt x="3154394" y="257938"/>
                  <a:pt x="3162415" y="265727"/>
                  <a:pt x="3168222" y="262086"/>
                </a:cubicBezTo>
                <a:close/>
                <a:moveTo>
                  <a:pt x="3205009" y="246369"/>
                </a:moveTo>
                <a:cubicBezTo>
                  <a:pt x="3208398" y="244713"/>
                  <a:pt x="3212063" y="244485"/>
                  <a:pt x="3219116" y="246508"/>
                </a:cubicBezTo>
                <a:cubicBezTo>
                  <a:pt x="3216350" y="251970"/>
                  <a:pt x="3200031" y="248430"/>
                  <a:pt x="3192562" y="254803"/>
                </a:cubicBezTo>
                <a:cubicBezTo>
                  <a:pt x="3198509" y="251111"/>
                  <a:pt x="3201621" y="248026"/>
                  <a:pt x="3205009" y="246369"/>
                </a:cubicBezTo>
                <a:close/>
                <a:moveTo>
                  <a:pt x="2888866" y="239731"/>
                </a:moveTo>
                <a:cubicBezTo>
                  <a:pt x="2888037" y="244384"/>
                  <a:pt x="2884995" y="249644"/>
                  <a:pt x="2876144" y="253791"/>
                </a:cubicBezTo>
                <a:cubicBezTo>
                  <a:pt x="2882506" y="250150"/>
                  <a:pt x="2883059" y="238719"/>
                  <a:pt x="2888866" y="239731"/>
                </a:cubicBezTo>
                <a:close/>
                <a:moveTo>
                  <a:pt x="4448004" y="231538"/>
                </a:moveTo>
                <a:cubicBezTo>
                  <a:pt x="4452706" y="232043"/>
                  <a:pt x="4451876" y="236595"/>
                  <a:pt x="4451047" y="241046"/>
                </a:cubicBezTo>
                <a:cubicBezTo>
                  <a:pt x="4448557" y="240743"/>
                  <a:pt x="4444962" y="235786"/>
                  <a:pt x="4444132" y="240237"/>
                </a:cubicBezTo>
                <a:cubicBezTo>
                  <a:pt x="4442472" y="239428"/>
                  <a:pt x="4441919" y="238618"/>
                  <a:pt x="4441919" y="237910"/>
                </a:cubicBezTo>
                <a:cubicBezTo>
                  <a:pt x="4441919" y="235584"/>
                  <a:pt x="4447727" y="233257"/>
                  <a:pt x="4448004" y="231538"/>
                </a:cubicBezTo>
                <a:close/>
                <a:moveTo>
                  <a:pt x="2901901" y="230273"/>
                </a:moveTo>
                <a:cubicBezTo>
                  <a:pt x="2903526" y="229616"/>
                  <a:pt x="2904909" y="229919"/>
                  <a:pt x="2906291" y="233257"/>
                </a:cubicBezTo>
                <a:cubicBezTo>
                  <a:pt x="2903803" y="233763"/>
                  <a:pt x="2903803" y="233763"/>
                  <a:pt x="2901590" y="234269"/>
                </a:cubicBezTo>
                <a:cubicBezTo>
                  <a:pt x="2902420" y="236494"/>
                  <a:pt x="2902420" y="236494"/>
                  <a:pt x="2904633" y="235988"/>
                </a:cubicBezTo>
                <a:cubicBezTo>
                  <a:pt x="2906569" y="240338"/>
                  <a:pt x="2902420" y="236494"/>
                  <a:pt x="2898824" y="239731"/>
                </a:cubicBezTo>
                <a:cubicBezTo>
                  <a:pt x="2897994" y="237506"/>
                  <a:pt x="2896888" y="235280"/>
                  <a:pt x="2896058" y="233055"/>
                </a:cubicBezTo>
                <a:cubicBezTo>
                  <a:pt x="2898409" y="232549"/>
                  <a:pt x="2900276" y="230931"/>
                  <a:pt x="2901901" y="230273"/>
                </a:cubicBezTo>
                <a:close/>
                <a:moveTo>
                  <a:pt x="4492915" y="224925"/>
                </a:moveTo>
                <a:cubicBezTo>
                  <a:pt x="4497514" y="224002"/>
                  <a:pt x="4501663" y="223901"/>
                  <a:pt x="4501939" y="228503"/>
                </a:cubicBezTo>
                <a:cubicBezTo>
                  <a:pt x="4492259" y="229717"/>
                  <a:pt x="4484791" y="231133"/>
                  <a:pt x="4481748" y="235280"/>
                </a:cubicBezTo>
                <a:cubicBezTo>
                  <a:pt x="4479259" y="234977"/>
                  <a:pt x="4480365" y="230627"/>
                  <a:pt x="4481195" y="226278"/>
                </a:cubicBezTo>
                <a:cubicBezTo>
                  <a:pt x="4483270" y="227593"/>
                  <a:pt x="4488318" y="225848"/>
                  <a:pt x="4492915" y="224925"/>
                </a:cubicBezTo>
                <a:close/>
                <a:moveTo>
                  <a:pt x="4560023" y="201192"/>
                </a:moveTo>
                <a:cubicBezTo>
                  <a:pt x="4561959" y="203518"/>
                  <a:pt x="4564449" y="203721"/>
                  <a:pt x="4566661" y="206148"/>
                </a:cubicBezTo>
                <a:cubicBezTo>
                  <a:pt x="4569150" y="206351"/>
                  <a:pt x="4569980" y="202203"/>
                  <a:pt x="4574682" y="202709"/>
                </a:cubicBezTo>
                <a:cubicBezTo>
                  <a:pt x="4573576" y="208981"/>
                  <a:pt x="4568044" y="210498"/>
                  <a:pt x="4557810" y="211611"/>
                </a:cubicBezTo>
                <a:cubicBezTo>
                  <a:pt x="4558363" y="209486"/>
                  <a:pt x="4560853" y="209790"/>
                  <a:pt x="4563620" y="207969"/>
                </a:cubicBezTo>
                <a:cubicBezTo>
                  <a:pt x="4561684" y="205643"/>
                  <a:pt x="4561684" y="205643"/>
                  <a:pt x="4560023" y="201192"/>
                </a:cubicBezTo>
                <a:close/>
                <a:moveTo>
                  <a:pt x="4503045" y="198967"/>
                </a:moveTo>
                <a:cubicBezTo>
                  <a:pt x="4514386" y="202406"/>
                  <a:pt x="4528216" y="206250"/>
                  <a:pt x="4547576" y="206148"/>
                </a:cubicBezTo>
                <a:cubicBezTo>
                  <a:pt x="4540662" y="210903"/>
                  <a:pt x="4529875" y="213128"/>
                  <a:pt x="4519089" y="213634"/>
                </a:cubicBezTo>
                <a:cubicBezTo>
                  <a:pt x="4508025" y="214038"/>
                  <a:pt x="4496684" y="212824"/>
                  <a:pt x="4488663" y="210801"/>
                </a:cubicBezTo>
                <a:cubicBezTo>
                  <a:pt x="4498897" y="207463"/>
                  <a:pt x="4500003" y="203013"/>
                  <a:pt x="4503045" y="198967"/>
                </a:cubicBezTo>
                <a:close/>
                <a:moveTo>
                  <a:pt x="2985120" y="194920"/>
                </a:moveTo>
                <a:cubicBezTo>
                  <a:pt x="2983461" y="209486"/>
                  <a:pt x="2948056" y="207868"/>
                  <a:pt x="2949717" y="223951"/>
                </a:cubicBezTo>
                <a:cubicBezTo>
                  <a:pt x="2936994" y="225064"/>
                  <a:pt x="2931185" y="232448"/>
                  <a:pt x="2920952" y="233965"/>
                </a:cubicBezTo>
                <a:cubicBezTo>
                  <a:pt x="2917356" y="234471"/>
                  <a:pt x="2913484" y="234269"/>
                  <a:pt x="2908504" y="233055"/>
                </a:cubicBezTo>
                <a:cubicBezTo>
                  <a:pt x="2906569" y="231133"/>
                  <a:pt x="2906015" y="230020"/>
                  <a:pt x="2906569" y="229616"/>
                </a:cubicBezTo>
                <a:cubicBezTo>
                  <a:pt x="2907122" y="229211"/>
                  <a:pt x="2908504" y="229616"/>
                  <a:pt x="2909888" y="230425"/>
                </a:cubicBezTo>
                <a:cubicBezTo>
                  <a:pt x="2936441" y="222232"/>
                  <a:pt x="2951929" y="204631"/>
                  <a:pt x="2985120" y="194920"/>
                </a:cubicBezTo>
                <a:close/>
                <a:moveTo>
                  <a:pt x="4462663" y="183591"/>
                </a:moveTo>
                <a:cubicBezTo>
                  <a:pt x="4459068" y="189863"/>
                  <a:pt x="4473174" y="191380"/>
                  <a:pt x="4472067" y="184502"/>
                </a:cubicBezTo>
                <a:cubicBezTo>
                  <a:pt x="4481748" y="183389"/>
                  <a:pt x="4473174" y="191380"/>
                  <a:pt x="4479536" y="194314"/>
                </a:cubicBezTo>
                <a:cubicBezTo>
                  <a:pt x="4476493" y="198461"/>
                  <a:pt x="4459068" y="189762"/>
                  <a:pt x="4455472" y="196134"/>
                </a:cubicBezTo>
                <a:cubicBezTo>
                  <a:pt x="4452153" y="194617"/>
                  <a:pt x="4449940" y="193302"/>
                  <a:pt x="4449111" y="191582"/>
                </a:cubicBezTo>
                <a:cubicBezTo>
                  <a:pt x="4448281" y="189762"/>
                  <a:pt x="4448834" y="187638"/>
                  <a:pt x="4450493" y="184502"/>
                </a:cubicBezTo>
                <a:cubicBezTo>
                  <a:pt x="4453259" y="182479"/>
                  <a:pt x="4457962" y="183086"/>
                  <a:pt x="4462663" y="183591"/>
                </a:cubicBezTo>
                <a:close/>
                <a:moveTo>
                  <a:pt x="4487556" y="181568"/>
                </a:moveTo>
                <a:cubicBezTo>
                  <a:pt x="4491430" y="186323"/>
                  <a:pt x="4499174" y="185008"/>
                  <a:pt x="4497790" y="191481"/>
                </a:cubicBezTo>
                <a:cubicBezTo>
                  <a:pt x="4495024" y="193302"/>
                  <a:pt x="4490046" y="192897"/>
                  <a:pt x="4489769" y="195022"/>
                </a:cubicBezTo>
                <a:cubicBezTo>
                  <a:pt x="4487280" y="194819"/>
                  <a:pt x="4491430" y="186323"/>
                  <a:pt x="4487556" y="181568"/>
                </a:cubicBezTo>
                <a:close/>
                <a:moveTo>
                  <a:pt x="4417304" y="171352"/>
                </a:moveTo>
                <a:cubicBezTo>
                  <a:pt x="4416197" y="178028"/>
                  <a:pt x="4406516" y="177017"/>
                  <a:pt x="4399049" y="178433"/>
                </a:cubicBezTo>
                <a:cubicBezTo>
                  <a:pt x="4397941" y="171554"/>
                  <a:pt x="4409835" y="172768"/>
                  <a:pt x="4417304" y="171352"/>
                </a:cubicBezTo>
                <a:close/>
                <a:moveTo>
                  <a:pt x="4605660" y="169734"/>
                </a:moveTo>
                <a:cubicBezTo>
                  <a:pt x="4608979" y="176814"/>
                  <a:pt x="4606490" y="176612"/>
                  <a:pt x="4603171" y="180759"/>
                </a:cubicBezTo>
                <a:cubicBezTo>
                  <a:pt x="4596533" y="166396"/>
                  <a:pt x="4570257" y="177118"/>
                  <a:pt x="4565556" y="187941"/>
                </a:cubicBezTo>
                <a:cubicBezTo>
                  <a:pt x="4560300" y="189661"/>
                  <a:pt x="4566938" y="169936"/>
                  <a:pt x="4557810" y="178028"/>
                </a:cubicBezTo>
                <a:cubicBezTo>
                  <a:pt x="4556151" y="177320"/>
                  <a:pt x="4556151" y="176713"/>
                  <a:pt x="4556981" y="176207"/>
                </a:cubicBezTo>
                <a:cubicBezTo>
                  <a:pt x="4559470" y="174690"/>
                  <a:pt x="4569704" y="173577"/>
                  <a:pt x="4566661" y="169835"/>
                </a:cubicBezTo>
                <a:cubicBezTo>
                  <a:pt x="4579108" y="168924"/>
                  <a:pt x="4591001" y="170340"/>
                  <a:pt x="4605660" y="169734"/>
                </a:cubicBezTo>
                <a:close/>
                <a:moveTo>
                  <a:pt x="2984013" y="167205"/>
                </a:moveTo>
                <a:cubicBezTo>
                  <a:pt x="2985120" y="176207"/>
                  <a:pt x="2959120" y="179646"/>
                  <a:pt x="2967419" y="194111"/>
                </a:cubicBezTo>
                <a:cubicBezTo>
                  <a:pt x="2960504" y="195629"/>
                  <a:pt x="2956908" y="198764"/>
                  <a:pt x="2952206" y="199776"/>
                </a:cubicBezTo>
                <a:cubicBezTo>
                  <a:pt x="2945845" y="196539"/>
                  <a:pt x="2955249" y="194516"/>
                  <a:pt x="2956631" y="191886"/>
                </a:cubicBezTo>
                <a:cubicBezTo>
                  <a:pt x="2949440" y="186424"/>
                  <a:pt x="2937824" y="200585"/>
                  <a:pt x="2928973" y="197854"/>
                </a:cubicBezTo>
                <a:cubicBezTo>
                  <a:pt x="2948333" y="214544"/>
                  <a:pt x="2909335" y="204631"/>
                  <a:pt x="2910718" y="220613"/>
                </a:cubicBezTo>
                <a:cubicBezTo>
                  <a:pt x="2906015" y="214645"/>
                  <a:pt x="2910440" y="213634"/>
                  <a:pt x="2904909" y="212521"/>
                </a:cubicBezTo>
                <a:cubicBezTo>
                  <a:pt x="2904356" y="217275"/>
                  <a:pt x="2889973" y="218186"/>
                  <a:pt x="2894675" y="224052"/>
                </a:cubicBezTo>
                <a:cubicBezTo>
                  <a:pt x="2892463" y="224558"/>
                  <a:pt x="2890803" y="220310"/>
                  <a:pt x="2887484" y="218691"/>
                </a:cubicBezTo>
                <a:cubicBezTo>
                  <a:pt x="2881676" y="222333"/>
                  <a:pt x="2886378" y="228200"/>
                  <a:pt x="2885825" y="233055"/>
                </a:cubicBezTo>
                <a:cubicBezTo>
                  <a:pt x="2878080" y="232448"/>
                  <a:pt x="2883612" y="214949"/>
                  <a:pt x="2870059" y="224862"/>
                </a:cubicBezTo>
                <a:cubicBezTo>
                  <a:pt x="2868399" y="220613"/>
                  <a:pt x="2870611" y="220107"/>
                  <a:pt x="2868953" y="215859"/>
                </a:cubicBezTo>
                <a:cubicBezTo>
                  <a:pt x="2908504" y="202507"/>
                  <a:pt x="2941696" y="185817"/>
                  <a:pt x="2984013" y="167205"/>
                </a:cubicBezTo>
                <a:close/>
                <a:moveTo>
                  <a:pt x="4522130" y="164676"/>
                </a:moveTo>
                <a:cubicBezTo>
                  <a:pt x="4531534" y="165687"/>
                  <a:pt x="4540662" y="166598"/>
                  <a:pt x="4550619" y="165384"/>
                </a:cubicBezTo>
                <a:cubicBezTo>
                  <a:pt x="4550066" y="167609"/>
                  <a:pt x="4545087" y="169329"/>
                  <a:pt x="4546747" y="171858"/>
                </a:cubicBezTo>
                <a:cubicBezTo>
                  <a:pt x="4539003" y="175499"/>
                  <a:pt x="4537619" y="170846"/>
                  <a:pt x="4532364" y="172465"/>
                </a:cubicBezTo>
                <a:cubicBezTo>
                  <a:pt x="4531258" y="179141"/>
                  <a:pt x="4541215" y="175803"/>
                  <a:pt x="4545918" y="176308"/>
                </a:cubicBezTo>
                <a:cubicBezTo>
                  <a:pt x="4545087" y="180759"/>
                  <a:pt x="4526003" y="180961"/>
                  <a:pt x="4534853" y="184198"/>
                </a:cubicBezTo>
                <a:cubicBezTo>
                  <a:pt x="4529875" y="185817"/>
                  <a:pt x="4511620" y="181568"/>
                  <a:pt x="4513004" y="197550"/>
                </a:cubicBezTo>
                <a:cubicBezTo>
                  <a:pt x="4506641" y="194617"/>
                  <a:pt x="4507471" y="190166"/>
                  <a:pt x="4506641" y="183288"/>
                </a:cubicBezTo>
                <a:cubicBezTo>
                  <a:pt x="4513004" y="174892"/>
                  <a:pt x="4521024" y="182580"/>
                  <a:pt x="4527385" y="174285"/>
                </a:cubicBezTo>
                <a:cubicBezTo>
                  <a:pt x="4526003" y="169531"/>
                  <a:pt x="4520747" y="171251"/>
                  <a:pt x="4522130" y="164676"/>
                </a:cubicBezTo>
                <a:close/>
                <a:moveTo>
                  <a:pt x="3017205" y="152234"/>
                </a:moveTo>
                <a:cubicBezTo>
                  <a:pt x="3021630" y="158303"/>
                  <a:pt x="3010289" y="167710"/>
                  <a:pt x="3001438" y="166901"/>
                </a:cubicBezTo>
                <a:cubicBezTo>
                  <a:pt x="2998397" y="166598"/>
                  <a:pt x="2995631" y="165081"/>
                  <a:pt x="2993695" y="162046"/>
                </a:cubicBezTo>
                <a:cubicBezTo>
                  <a:pt x="3006141" y="161641"/>
                  <a:pt x="3006693" y="156887"/>
                  <a:pt x="3017205" y="152234"/>
                </a:cubicBezTo>
                <a:close/>
                <a:moveTo>
                  <a:pt x="4503322" y="148694"/>
                </a:moveTo>
                <a:cubicBezTo>
                  <a:pt x="4509407" y="150717"/>
                  <a:pt x="4506918" y="155471"/>
                  <a:pt x="4503599" y="156786"/>
                </a:cubicBezTo>
                <a:cubicBezTo>
                  <a:pt x="4502492" y="157191"/>
                  <a:pt x="4501386" y="157292"/>
                  <a:pt x="4500281" y="156685"/>
                </a:cubicBezTo>
                <a:cubicBezTo>
                  <a:pt x="4498897" y="155876"/>
                  <a:pt x="4498067" y="153954"/>
                  <a:pt x="4498067" y="150413"/>
                </a:cubicBezTo>
                <a:cubicBezTo>
                  <a:pt x="4500281" y="150717"/>
                  <a:pt x="4503322" y="148694"/>
                  <a:pt x="4503322" y="148694"/>
                </a:cubicBezTo>
                <a:close/>
                <a:moveTo>
                  <a:pt x="4736420" y="144408"/>
                </a:moveTo>
                <a:cubicBezTo>
                  <a:pt x="4740429" y="143991"/>
                  <a:pt x="4743817" y="144951"/>
                  <a:pt x="4748934" y="148997"/>
                </a:cubicBezTo>
                <a:cubicBezTo>
                  <a:pt x="4747551" y="150009"/>
                  <a:pt x="4745891" y="150211"/>
                  <a:pt x="4743679" y="150009"/>
                </a:cubicBezTo>
                <a:cubicBezTo>
                  <a:pt x="4737041" y="149604"/>
                  <a:pt x="4727913" y="145558"/>
                  <a:pt x="4720169" y="148087"/>
                </a:cubicBezTo>
                <a:cubicBezTo>
                  <a:pt x="4727775" y="146621"/>
                  <a:pt x="4732408" y="144825"/>
                  <a:pt x="4736420" y="144408"/>
                </a:cubicBezTo>
                <a:close/>
                <a:moveTo>
                  <a:pt x="4685804" y="144408"/>
                </a:moveTo>
                <a:cubicBezTo>
                  <a:pt x="4687877" y="145811"/>
                  <a:pt x="4690435" y="147834"/>
                  <a:pt x="4694170" y="147075"/>
                </a:cubicBezTo>
                <a:cubicBezTo>
                  <a:pt x="4691403" y="149098"/>
                  <a:pt x="4688637" y="151020"/>
                  <a:pt x="4683935" y="150515"/>
                </a:cubicBezTo>
                <a:cubicBezTo>
                  <a:pt x="4684489" y="148289"/>
                  <a:pt x="4682552" y="145760"/>
                  <a:pt x="4680340" y="145457"/>
                </a:cubicBezTo>
                <a:cubicBezTo>
                  <a:pt x="4682138" y="142220"/>
                  <a:pt x="4683728" y="143004"/>
                  <a:pt x="4685804" y="144408"/>
                </a:cubicBezTo>
                <a:close/>
                <a:moveTo>
                  <a:pt x="4523791" y="144344"/>
                </a:moveTo>
                <a:cubicBezTo>
                  <a:pt x="4528492" y="144850"/>
                  <a:pt x="4530428" y="147379"/>
                  <a:pt x="4529598" y="151830"/>
                </a:cubicBezTo>
                <a:cubicBezTo>
                  <a:pt x="4527109" y="151526"/>
                  <a:pt x="4524343" y="153549"/>
                  <a:pt x="4521855" y="153246"/>
                </a:cubicBezTo>
                <a:cubicBezTo>
                  <a:pt x="4521301" y="150919"/>
                  <a:pt x="4521577" y="149200"/>
                  <a:pt x="4522130" y="147783"/>
                </a:cubicBezTo>
                <a:cubicBezTo>
                  <a:pt x="4522683" y="146468"/>
                  <a:pt x="4523513" y="145457"/>
                  <a:pt x="4523791" y="144344"/>
                </a:cubicBezTo>
                <a:close/>
                <a:moveTo>
                  <a:pt x="4661152" y="143207"/>
                </a:moveTo>
                <a:cubicBezTo>
                  <a:pt x="4664159" y="143536"/>
                  <a:pt x="4667063" y="144446"/>
                  <a:pt x="4670660" y="144850"/>
                </a:cubicBezTo>
                <a:cubicBezTo>
                  <a:pt x="4666510" y="153650"/>
                  <a:pt x="4647149" y="139894"/>
                  <a:pt x="4654894" y="150009"/>
                </a:cubicBezTo>
                <a:cubicBezTo>
                  <a:pt x="4655170" y="151223"/>
                  <a:pt x="4655170" y="151728"/>
                  <a:pt x="4654894" y="151627"/>
                </a:cubicBezTo>
                <a:cubicBezTo>
                  <a:pt x="4654617" y="151526"/>
                  <a:pt x="4654064" y="150919"/>
                  <a:pt x="4653234" y="150110"/>
                </a:cubicBezTo>
                <a:cubicBezTo>
                  <a:pt x="4652127" y="148593"/>
                  <a:pt x="4650745" y="146165"/>
                  <a:pt x="4651021" y="145052"/>
                </a:cubicBezTo>
                <a:cubicBezTo>
                  <a:pt x="4655032" y="143131"/>
                  <a:pt x="4658144" y="142878"/>
                  <a:pt x="4661152" y="143207"/>
                </a:cubicBezTo>
                <a:close/>
                <a:moveTo>
                  <a:pt x="4602134" y="142638"/>
                </a:moveTo>
                <a:cubicBezTo>
                  <a:pt x="4610017" y="142903"/>
                  <a:pt x="4617692" y="144294"/>
                  <a:pt x="4622256" y="145963"/>
                </a:cubicBezTo>
                <a:cubicBezTo>
                  <a:pt x="4626959" y="146468"/>
                  <a:pt x="4632213" y="144850"/>
                  <a:pt x="4634703" y="145154"/>
                </a:cubicBezTo>
                <a:cubicBezTo>
                  <a:pt x="4634149" y="147379"/>
                  <a:pt x="4629447" y="146772"/>
                  <a:pt x="4626405" y="148795"/>
                </a:cubicBezTo>
                <a:cubicBezTo>
                  <a:pt x="4616724" y="148896"/>
                  <a:pt x="4610639" y="149402"/>
                  <a:pt x="4604832" y="149604"/>
                </a:cubicBezTo>
                <a:cubicBezTo>
                  <a:pt x="4601788" y="149705"/>
                  <a:pt x="4599022" y="149807"/>
                  <a:pt x="4595981" y="149705"/>
                </a:cubicBezTo>
                <a:cubicBezTo>
                  <a:pt x="4592661" y="149604"/>
                  <a:pt x="4589342" y="149301"/>
                  <a:pt x="4585194" y="148795"/>
                </a:cubicBezTo>
                <a:cubicBezTo>
                  <a:pt x="4582427" y="150818"/>
                  <a:pt x="4580215" y="148289"/>
                  <a:pt x="4580767" y="146064"/>
                </a:cubicBezTo>
                <a:cubicBezTo>
                  <a:pt x="4586161" y="143232"/>
                  <a:pt x="4594251" y="142372"/>
                  <a:pt x="4602134" y="142638"/>
                </a:cubicBezTo>
                <a:close/>
                <a:moveTo>
                  <a:pt x="4503875" y="135544"/>
                </a:moveTo>
                <a:cubicBezTo>
                  <a:pt x="4506365" y="135847"/>
                  <a:pt x="4508301" y="138275"/>
                  <a:pt x="4508025" y="140500"/>
                </a:cubicBezTo>
                <a:cubicBezTo>
                  <a:pt x="4506365" y="142625"/>
                  <a:pt x="4503875" y="143029"/>
                  <a:pt x="4501110" y="142625"/>
                </a:cubicBezTo>
                <a:cubicBezTo>
                  <a:pt x="4498343" y="142321"/>
                  <a:pt x="4495302" y="141411"/>
                  <a:pt x="4492812" y="141107"/>
                </a:cubicBezTo>
                <a:cubicBezTo>
                  <a:pt x="4491705" y="134229"/>
                  <a:pt x="4505535" y="140298"/>
                  <a:pt x="4503875" y="135544"/>
                </a:cubicBezTo>
                <a:close/>
                <a:moveTo>
                  <a:pt x="4561959" y="132914"/>
                </a:moveTo>
                <a:cubicBezTo>
                  <a:pt x="4586299" y="137365"/>
                  <a:pt x="4568044" y="152032"/>
                  <a:pt x="4550619" y="151830"/>
                </a:cubicBezTo>
                <a:cubicBezTo>
                  <a:pt x="4544811" y="151728"/>
                  <a:pt x="4539003" y="149908"/>
                  <a:pt x="4535131" y="145558"/>
                </a:cubicBezTo>
                <a:cubicBezTo>
                  <a:pt x="4543428" y="139792"/>
                  <a:pt x="4551726" y="147480"/>
                  <a:pt x="4564449" y="144445"/>
                </a:cubicBezTo>
                <a:cubicBezTo>
                  <a:pt x="4565831" y="137871"/>
                  <a:pt x="4560577" y="139489"/>
                  <a:pt x="4561959" y="132914"/>
                </a:cubicBezTo>
                <a:close/>
                <a:moveTo>
                  <a:pt x="3121064" y="130702"/>
                </a:moveTo>
                <a:cubicBezTo>
                  <a:pt x="3126250" y="129829"/>
                  <a:pt x="3131436" y="130436"/>
                  <a:pt x="3133926" y="133420"/>
                </a:cubicBezTo>
                <a:cubicBezTo>
                  <a:pt x="3126181" y="132813"/>
                  <a:pt x="3123969" y="133218"/>
                  <a:pt x="3116501" y="139590"/>
                </a:cubicBezTo>
                <a:cubicBezTo>
                  <a:pt x="3114841" y="135241"/>
                  <a:pt x="3110415" y="136353"/>
                  <a:pt x="3108203" y="136859"/>
                </a:cubicBezTo>
                <a:cubicBezTo>
                  <a:pt x="3110692" y="133926"/>
                  <a:pt x="3115878" y="131574"/>
                  <a:pt x="3121064" y="130702"/>
                </a:cubicBezTo>
                <a:close/>
                <a:moveTo>
                  <a:pt x="3171542" y="113695"/>
                </a:moveTo>
                <a:cubicBezTo>
                  <a:pt x="3173202" y="118045"/>
                  <a:pt x="3169329" y="121180"/>
                  <a:pt x="3164627" y="122192"/>
                </a:cubicBezTo>
                <a:cubicBezTo>
                  <a:pt x="3159649" y="116224"/>
                  <a:pt x="3168222" y="112077"/>
                  <a:pt x="3171542" y="113695"/>
                </a:cubicBezTo>
                <a:close/>
                <a:moveTo>
                  <a:pt x="3147202" y="109750"/>
                </a:moveTo>
                <a:cubicBezTo>
                  <a:pt x="3133926" y="126643"/>
                  <a:pt x="3096310" y="132611"/>
                  <a:pt x="3079714" y="140905"/>
                </a:cubicBezTo>
                <a:cubicBezTo>
                  <a:pt x="3075842" y="145255"/>
                  <a:pt x="3079160" y="153347"/>
                  <a:pt x="3075012" y="155471"/>
                </a:cubicBezTo>
                <a:cubicBezTo>
                  <a:pt x="3073629" y="156179"/>
                  <a:pt x="3071417" y="156179"/>
                  <a:pt x="3067821" y="155168"/>
                </a:cubicBezTo>
                <a:cubicBezTo>
                  <a:pt x="3066161" y="150919"/>
                  <a:pt x="3069480" y="152538"/>
                  <a:pt x="3069480" y="152538"/>
                </a:cubicBezTo>
                <a:cubicBezTo>
                  <a:pt x="3077777" y="148390"/>
                  <a:pt x="3062012" y="140096"/>
                  <a:pt x="3058693" y="138477"/>
                </a:cubicBezTo>
                <a:cubicBezTo>
                  <a:pt x="3086076" y="144142"/>
                  <a:pt x="3116501" y="114201"/>
                  <a:pt x="3147202" y="109750"/>
                </a:cubicBezTo>
                <a:close/>
                <a:moveTo>
                  <a:pt x="4552762" y="106134"/>
                </a:moveTo>
                <a:cubicBezTo>
                  <a:pt x="4557603" y="105805"/>
                  <a:pt x="4562375" y="105755"/>
                  <a:pt x="4569428" y="106513"/>
                </a:cubicBezTo>
                <a:cubicBezTo>
                  <a:pt x="4568044" y="113189"/>
                  <a:pt x="4556705" y="109649"/>
                  <a:pt x="4555598" y="116325"/>
                </a:cubicBezTo>
                <a:cubicBezTo>
                  <a:pt x="4553108" y="116123"/>
                  <a:pt x="4558363" y="114302"/>
                  <a:pt x="4556427" y="111874"/>
                </a:cubicBezTo>
                <a:cubicBezTo>
                  <a:pt x="4544811" y="110559"/>
                  <a:pt x="4550619" y="115819"/>
                  <a:pt x="4547576" y="120068"/>
                </a:cubicBezTo>
                <a:cubicBezTo>
                  <a:pt x="4545087" y="120877"/>
                  <a:pt x="4543151" y="121180"/>
                  <a:pt x="4541215" y="121282"/>
                </a:cubicBezTo>
                <a:cubicBezTo>
                  <a:pt x="4539555" y="121383"/>
                  <a:pt x="4537619" y="121180"/>
                  <a:pt x="4535406" y="120877"/>
                </a:cubicBezTo>
                <a:cubicBezTo>
                  <a:pt x="4536236" y="116426"/>
                  <a:pt x="4538726" y="116831"/>
                  <a:pt x="4543704" y="115111"/>
                </a:cubicBezTo>
                <a:cubicBezTo>
                  <a:pt x="4545087" y="108435"/>
                  <a:pt x="4534578" y="114100"/>
                  <a:pt x="4535683" y="107424"/>
                </a:cubicBezTo>
                <a:cubicBezTo>
                  <a:pt x="4543012" y="107070"/>
                  <a:pt x="4547923" y="106463"/>
                  <a:pt x="4552762" y="106134"/>
                </a:cubicBezTo>
                <a:close/>
                <a:moveTo>
                  <a:pt x="4517361" y="105312"/>
                </a:moveTo>
                <a:cubicBezTo>
                  <a:pt x="4524413" y="106109"/>
                  <a:pt x="4532917" y="108790"/>
                  <a:pt x="4532088" y="113291"/>
                </a:cubicBezTo>
                <a:cubicBezTo>
                  <a:pt x="4516876" y="116325"/>
                  <a:pt x="4496407" y="111672"/>
                  <a:pt x="4496684" y="120978"/>
                </a:cubicBezTo>
                <a:cubicBezTo>
                  <a:pt x="4496684" y="121585"/>
                  <a:pt x="4495578" y="121787"/>
                  <a:pt x="4493918" y="121888"/>
                </a:cubicBezTo>
                <a:cubicBezTo>
                  <a:pt x="4492259" y="121990"/>
                  <a:pt x="4490323" y="121787"/>
                  <a:pt x="4488110" y="121383"/>
                </a:cubicBezTo>
                <a:cubicBezTo>
                  <a:pt x="4483684" y="120675"/>
                  <a:pt x="4479259" y="119056"/>
                  <a:pt x="4478429" y="116629"/>
                </a:cubicBezTo>
                <a:cubicBezTo>
                  <a:pt x="4485067" y="108132"/>
                  <a:pt x="4501939" y="107626"/>
                  <a:pt x="4511343" y="108637"/>
                </a:cubicBezTo>
                <a:cubicBezTo>
                  <a:pt x="4504705" y="105603"/>
                  <a:pt x="4510306" y="104515"/>
                  <a:pt x="4517361" y="105312"/>
                </a:cubicBezTo>
                <a:close/>
                <a:moveTo>
                  <a:pt x="3288297" y="74701"/>
                </a:moveTo>
                <a:cubicBezTo>
                  <a:pt x="3294624" y="73310"/>
                  <a:pt x="3301539" y="73437"/>
                  <a:pt x="3305412" y="76977"/>
                </a:cubicBezTo>
                <a:cubicBezTo>
                  <a:pt x="3295455" y="76977"/>
                  <a:pt x="3298497" y="78595"/>
                  <a:pt x="3290199" y="82641"/>
                </a:cubicBezTo>
                <a:cubicBezTo>
                  <a:pt x="3285496" y="77078"/>
                  <a:pt x="3281625" y="80011"/>
                  <a:pt x="3274709" y="81529"/>
                </a:cubicBezTo>
                <a:cubicBezTo>
                  <a:pt x="3276231" y="79000"/>
                  <a:pt x="3281971" y="76092"/>
                  <a:pt x="3288297" y="74701"/>
                </a:cubicBezTo>
                <a:close/>
                <a:moveTo>
                  <a:pt x="4453537" y="39146"/>
                </a:moveTo>
                <a:cubicBezTo>
                  <a:pt x="4450217" y="43091"/>
                  <a:pt x="4444408" y="46833"/>
                  <a:pt x="4434175" y="47946"/>
                </a:cubicBezTo>
                <a:cubicBezTo>
                  <a:pt x="4441919" y="46631"/>
                  <a:pt x="4449111" y="36415"/>
                  <a:pt x="4453537" y="39146"/>
                </a:cubicBezTo>
                <a:close/>
                <a:moveTo>
                  <a:pt x="4470754" y="34582"/>
                </a:moveTo>
                <a:cubicBezTo>
                  <a:pt x="4472552" y="34493"/>
                  <a:pt x="4473588" y="35201"/>
                  <a:pt x="4472898" y="38640"/>
                </a:cubicBezTo>
                <a:cubicBezTo>
                  <a:pt x="4470685" y="38337"/>
                  <a:pt x="4470685" y="38438"/>
                  <a:pt x="4468195" y="38134"/>
                </a:cubicBezTo>
                <a:cubicBezTo>
                  <a:pt x="4467919" y="40461"/>
                  <a:pt x="4467919" y="40360"/>
                  <a:pt x="4470132" y="40663"/>
                </a:cubicBezTo>
                <a:cubicBezTo>
                  <a:pt x="4469855" y="41776"/>
                  <a:pt x="4469578" y="42383"/>
                  <a:pt x="4469301" y="42585"/>
                </a:cubicBezTo>
                <a:cubicBezTo>
                  <a:pt x="4469025" y="42787"/>
                  <a:pt x="4468749" y="42686"/>
                  <a:pt x="4467919" y="42484"/>
                </a:cubicBezTo>
                <a:cubicBezTo>
                  <a:pt x="4466813" y="42079"/>
                  <a:pt x="4465153" y="41371"/>
                  <a:pt x="4462663" y="42180"/>
                </a:cubicBezTo>
                <a:cubicBezTo>
                  <a:pt x="4462941" y="39955"/>
                  <a:pt x="4463493" y="37629"/>
                  <a:pt x="4464046" y="35302"/>
                </a:cubicBezTo>
                <a:cubicBezTo>
                  <a:pt x="4466397" y="35555"/>
                  <a:pt x="4468955" y="34670"/>
                  <a:pt x="4470754" y="34582"/>
                </a:cubicBezTo>
                <a:close/>
                <a:moveTo>
                  <a:pt x="4566385" y="28828"/>
                </a:moveTo>
                <a:cubicBezTo>
                  <a:pt x="4556705" y="41371"/>
                  <a:pt x="4525449" y="28828"/>
                  <a:pt x="4517705" y="44001"/>
                </a:cubicBezTo>
                <a:cubicBezTo>
                  <a:pt x="4509684" y="41978"/>
                  <a:pt x="4502769" y="43394"/>
                  <a:pt x="4496131" y="44102"/>
                </a:cubicBezTo>
                <a:cubicBezTo>
                  <a:pt x="4489216" y="44709"/>
                  <a:pt x="4482579" y="44709"/>
                  <a:pt x="4475386" y="39247"/>
                </a:cubicBezTo>
                <a:cubicBezTo>
                  <a:pt x="4474557" y="36921"/>
                  <a:pt x="4474833" y="35808"/>
                  <a:pt x="4475386" y="35606"/>
                </a:cubicBezTo>
                <a:cubicBezTo>
                  <a:pt x="4476216" y="35403"/>
                  <a:pt x="4477046" y="36010"/>
                  <a:pt x="4478152" y="37224"/>
                </a:cubicBezTo>
                <a:cubicBezTo>
                  <a:pt x="4506641" y="38134"/>
                  <a:pt x="4530704" y="27109"/>
                  <a:pt x="4566385" y="28828"/>
                </a:cubicBezTo>
                <a:close/>
                <a:moveTo>
                  <a:pt x="4443025" y="17398"/>
                </a:moveTo>
                <a:cubicBezTo>
                  <a:pt x="4434728" y="23366"/>
                  <a:pt x="4420898" y="19522"/>
                  <a:pt x="4427813" y="33987"/>
                </a:cubicBezTo>
                <a:cubicBezTo>
                  <a:pt x="4418409" y="32874"/>
                  <a:pt x="4416473" y="30346"/>
                  <a:pt x="4407900" y="36314"/>
                </a:cubicBezTo>
                <a:cubicBezTo>
                  <a:pt x="4412877" y="48148"/>
                  <a:pt x="4415643" y="46227"/>
                  <a:pt x="4415920" y="57657"/>
                </a:cubicBezTo>
                <a:cubicBezTo>
                  <a:pt x="4408175" y="59073"/>
                  <a:pt x="4383836" y="72324"/>
                  <a:pt x="4376644" y="60186"/>
                </a:cubicBezTo>
                <a:cubicBezTo>
                  <a:pt x="4355070" y="71413"/>
                  <a:pt x="4311369" y="62006"/>
                  <a:pt x="4295880" y="78595"/>
                </a:cubicBezTo>
                <a:cubicBezTo>
                  <a:pt x="4288412" y="68581"/>
                  <a:pt x="4273476" y="82844"/>
                  <a:pt x="4258540" y="85777"/>
                </a:cubicBezTo>
                <a:cubicBezTo>
                  <a:pt x="4246370" y="86687"/>
                  <a:pt x="4205711" y="73133"/>
                  <a:pt x="4199903" y="102063"/>
                </a:cubicBezTo>
                <a:cubicBezTo>
                  <a:pt x="4189946" y="103276"/>
                  <a:pt x="4200733" y="97612"/>
                  <a:pt x="4194094" y="94577"/>
                </a:cubicBezTo>
                <a:cubicBezTo>
                  <a:pt x="4177222" y="94982"/>
                  <a:pt x="4159798" y="97612"/>
                  <a:pt x="4157585" y="108739"/>
                </a:cubicBezTo>
                <a:cubicBezTo>
                  <a:pt x="4149011" y="103276"/>
                  <a:pt x="4117757" y="102063"/>
                  <a:pt x="4114161" y="119865"/>
                </a:cubicBezTo>
                <a:cubicBezTo>
                  <a:pt x="4079310" y="113695"/>
                  <a:pt x="4007397" y="137668"/>
                  <a:pt x="3981398" y="171150"/>
                </a:cubicBezTo>
                <a:cubicBezTo>
                  <a:pt x="3979737" y="166396"/>
                  <a:pt x="3975036" y="165890"/>
                  <a:pt x="3967568" y="167306"/>
                </a:cubicBezTo>
                <a:cubicBezTo>
                  <a:pt x="3968950" y="172060"/>
                  <a:pt x="3979737" y="166396"/>
                  <a:pt x="3975589" y="174993"/>
                </a:cubicBezTo>
                <a:cubicBezTo>
                  <a:pt x="3935207" y="184198"/>
                  <a:pt x="3888463" y="213229"/>
                  <a:pt x="3848634" y="220209"/>
                </a:cubicBezTo>
                <a:cubicBezTo>
                  <a:pt x="3845039" y="213027"/>
                  <a:pt x="3854166" y="216264"/>
                  <a:pt x="3853337" y="209284"/>
                </a:cubicBezTo>
                <a:cubicBezTo>
                  <a:pt x="3838677" y="209992"/>
                  <a:pt x="3815167" y="218792"/>
                  <a:pt x="3819592" y="232954"/>
                </a:cubicBezTo>
                <a:cubicBezTo>
                  <a:pt x="3811295" y="238821"/>
                  <a:pt x="3803273" y="242462"/>
                  <a:pt x="3788614" y="243170"/>
                </a:cubicBezTo>
                <a:cubicBezTo>
                  <a:pt x="3784465" y="240439"/>
                  <a:pt x="3791933" y="238922"/>
                  <a:pt x="3792763" y="234471"/>
                </a:cubicBezTo>
                <a:cubicBezTo>
                  <a:pt x="3776168" y="232650"/>
                  <a:pt x="3779486" y="239933"/>
                  <a:pt x="3767039" y="243069"/>
                </a:cubicBezTo>
                <a:cubicBezTo>
                  <a:pt x="3768423" y="247722"/>
                  <a:pt x="3779486" y="239832"/>
                  <a:pt x="3777826" y="248734"/>
                </a:cubicBezTo>
                <a:cubicBezTo>
                  <a:pt x="3762891" y="251667"/>
                  <a:pt x="3760955" y="260568"/>
                  <a:pt x="3746573" y="261175"/>
                </a:cubicBezTo>
                <a:cubicBezTo>
                  <a:pt x="3747679" y="254499"/>
                  <a:pt x="3753488" y="250655"/>
                  <a:pt x="3762338" y="253892"/>
                </a:cubicBezTo>
                <a:cubicBezTo>
                  <a:pt x="3760402" y="251465"/>
                  <a:pt x="3755700" y="250858"/>
                  <a:pt x="3756530" y="246407"/>
                </a:cubicBezTo>
                <a:cubicBezTo>
                  <a:pt x="3743529" y="251768"/>
                  <a:pt x="3735508" y="255511"/>
                  <a:pt x="3737722" y="269369"/>
                </a:cubicBezTo>
                <a:cubicBezTo>
                  <a:pt x="3729977" y="270785"/>
                  <a:pt x="3734126" y="262187"/>
                  <a:pt x="3732467" y="259658"/>
                </a:cubicBezTo>
                <a:cubicBezTo>
                  <a:pt x="3683233" y="276955"/>
                  <a:pt x="3656127" y="314988"/>
                  <a:pt x="3599149" y="335927"/>
                </a:cubicBezTo>
                <a:cubicBezTo>
                  <a:pt x="3594724" y="333196"/>
                  <a:pt x="3590575" y="330364"/>
                  <a:pt x="3583384" y="329655"/>
                </a:cubicBezTo>
                <a:cubicBezTo>
                  <a:pt x="3578682" y="340479"/>
                  <a:pt x="3561533" y="343210"/>
                  <a:pt x="3565683" y="357270"/>
                </a:cubicBezTo>
                <a:cubicBezTo>
                  <a:pt x="3534981" y="367486"/>
                  <a:pt x="3514513" y="385694"/>
                  <a:pt x="3494046" y="403901"/>
                </a:cubicBezTo>
                <a:cubicBezTo>
                  <a:pt x="3409686" y="440114"/>
                  <a:pt x="3352432" y="497467"/>
                  <a:pt x="3280241" y="544099"/>
                </a:cubicBezTo>
                <a:lnTo>
                  <a:pt x="3265029" y="560485"/>
                </a:lnTo>
                <a:lnTo>
                  <a:pt x="3283008" y="554416"/>
                </a:lnTo>
                <a:cubicBezTo>
                  <a:pt x="3301263" y="548954"/>
                  <a:pt x="3319518" y="543593"/>
                  <a:pt x="3336390" y="532871"/>
                </a:cubicBezTo>
                <a:cubicBezTo>
                  <a:pt x="3339431" y="534489"/>
                  <a:pt x="3344963" y="535703"/>
                  <a:pt x="3350495" y="536816"/>
                </a:cubicBezTo>
                <a:cubicBezTo>
                  <a:pt x="3350495" y="530949"/>
                  <a:pt x="3354368" y="531252"/>
                  <a:pt x="3359346" y="532567"/>
                </a:cubicBezTo>
                <a:lnTo>
                  <a:pt x="3365432" y="533174"/>
                </a:lnTo>
                <a:lnTo>
                  <a:pt x="3389772" y="515270"/>
                </a:lnTo>
                <a:cubicBezTo>
                  <a:pt x="3390601" y="510819"/>
                  <a:pt x="3388111" y="510516"/>
                  <a:pt x="3386729" y="505863"/>
                </a:cubicBezTo>
                <a:cubicBezTo>
                  <a:pt x="3393920" y="518001"/>
                  <a:pt x="3417153" y="497872"/>
                  <a:pt x="3407750" y="496860"/>
                </a:cubicBezTo>
                <a:cubicBezTo>
                  <a:pt x="3448132" y="476225"/>
                  <a:pt x="3505662" y="441631"/>
                  <a:pt x="3534981" y="415332"/>
                </a:cubicBezTo>
                <a:cubicBezTo>
                  <a:pt x="3535257" y="413106"/>
                  <a:pt x="3543003" y="411589"/>
                  <a:pt x="3542449" y="413814"/>
                </a:cubicBezTo>
                <a:cubicBezTo>
                  <a:pt x="3549917" y="412398"/>
                  <a:pt x="3543278" y="409364"/>
                  <a:pt x="3546598" y="405216"/>
                </a:cubicBezTo>
                <a:cubicBezTo>
                  <a:pt x="3558767" y="404306"/>
                  <a:pt x="3576747" y="399451"/>
                  <a:pt x="3578959" y="388324"/>
                </a:cubicBezTo>
                <a:cubicBezTo>
                  <a:pt x="3609383" y="380333"/>
                  <a:pt x="3651426" y="350796"/>
                  <a:pt x="3679637" y="342502"/>
                </a:cubicBezTo>
                <a:cubicBezTo>
                  <a:pt x="3682956" y="338355"/>
                  <a:pt x="3685999" y="334207"/>
                  <a:pt x="3689042" y="332184"/>
                </a:cubicBezTo>
                <a:cubicBezTo>
                  <a:pt x="3696510" y="330768"/>
                  <a:pt x="3701212" y="331274"/>
                  <a:pt x="3708127" y="332083"/>
                </a:cubicBezTo>
                <a:cubicBezTo>
                  <a:pt x="3714212" y="325913"/>
                  <a:pt x="3723063" y="317720"/>
                  <a:pt x="3739935" y="317416"/>
                </a:cubicBezTo>
                <a:cubicBezTo>
                  <a:pt x="3741040" y="324294"/>
                  <a:pt x="3738274" y="326216"/>
                  <a:pt x="3747125" y="329554"/>
                </a:cubicBezTo>
                <a:cubicBezTo>
                  <a:pt x="3755700" y="323586"/>
                  <a:pt x="3744359" y="320147"/>
                  <a:pt x="3745742" y="313471"/>
                </a:cubicBezTo>
                <a:cubicBezTo>
                  <a:pt x="3754593" y="305379"/>
                  <a:pt x="3762062" y="315191"/>
                  <a:pt x="3769253" y="316000"/>
                </a:cubicBezTo>
                <a:cubicBezTo>
                  <a:pt x="3762891" y="299411"/>
                  <a:pt x="3777274" y="287374"/>
                  <a:pt x="3799677" y="296680"/>
                </a:cubicBezTo>
                <a:cubicBezTo>
                  <a:pt x="3809359" y="295466"/>
                  <a:pt x="3806868" y="283732"/>
                  <a:pt x="3816273" y="284845"/>
                </a:cubicBezTo>
                <a:cubicBezTo>
                  <a:pt x="3816827" y="282620"/>
                  <a:pt x="3817656" y="278169"/>
                  <a:pt x="3812953" y="277663"/>
                </a:cubicBezTo>
                <a:cubicBezTo>
                  <a:pt x="3818485" y="273718"/>
                  <a:pt x="3827613" y="276955"/>
                  <a:pt x="3827059" y="267851"/>
                </a:cubicBezTo>
                <a:cubicBezTo>
                  <a:pt x="3833974" y="268559"/>
                  <a:pt x="3855548" y="268661"/>
                  <a:pt x="3855548" y="257332"/>
                </a:cubicBezTo>
                <a:cubicBezTo>
                  <a:pt x="3860251" y="257837"/>
                  <a:pt x="3858868" y="264614"/>
                  <a:pt x="3863847" y="265120"/>
                </a:cubicBezTo>
                <a:cubicBezTo>
                  <a:pt x="3867719" y="256421"/>
                  <a:pt x="3879613" y="257736"/>
                  <a:pt x="3879336" y="246306"/>
                </a:cubicBezTo>
                <a:cubicBezTo>
                  <a:pt x="3886527" y="247115"/>
                  <a:pt x="3900632" y="248734"/>
                  <a:pt x="3896760" y="243676"/>
                </a:cubicBezTo>
                <a:cubicBezTo>
                  <a:pt x="3927738" y="233460"/>
                  <a:pt x="3956228" y="211611"/>
                  <a:pt x="3990249" y="210801"/>
                </a:cubicBezTo>
                <a:cubicBezTo>
                  <a:pt x="3995226" y="209082"/>
                  <a:pt x="4000481" y="207362"/>
                  <a:pt x="4001865" y="200686"/>
                </a:cubicBezTo>
                <a:cubicBezTo>
                  <a:pt x="4032014" y="206250"/>
                  <a:pt x="4067693" y="171655"/>
                  <a:pt x="4105033" y="178028"/>
                </a:cubicBezTo>
                <a:cubicBezTo>
                  <a:pt x="4110289" y="176308"/>
                  <a:pt x="4109181" y="169329"/>
                  <a:pt x="4114437" y="167609"/>
                </a:cubicBezTo>
                <a:cubicBezTo>
                  <a:pt x="4126606" y="166699"/>
                  <a:pt x="4127160" y="175904"/>
                  <a:pt x="4133799" y="178938"/>
                </a:cubicBezTo>
                <a:cubicBezTo>
                  <a:pt x="4144586" y="173274"/>
                  <a:pt x="4154265" y="149301"/>
                  <a:pt x="4172797" y="164979"/>
                </a:cubicBezTo>
                <a:cubicBezTo>
                  <a:pt x="4183031" y="161641"/>
                  <a:pt x="4185244" y="150413"/>
                  <a:pt x="4193265" y="146772"/>
                </a:cubicBezTo>
                <a:cubicBezTo>
                  <a:pt x="4197414" y="149503"/>
                  <a:pt x="4199350" y="152032"/>
                  <a:pt x="4204052" y="152538"/>
                </a:cubicBezTo>
                <a:cubicBezTo>
                  <a:pt x="4208201" y="143940"/>
                  <a:pt x="4235861" y="137769"/>
                  <a:pt x="4245818" y="147986"/>
                </a:cubicBezTo>
                <a:cubicBezTo>
                  <a:pt x="4253008" y="137365"/>
                  <a:pt x="4267945" y="134533"/>
                  <a:pt x="4280944" y="129171"/>
                </a:cubicBezTo>
                <a:cubicBezTo>
                  <a:pt x="4326859" y="141006"/>
                  <a:pt x="4391027" y="109447"/>
                  <a:pt x="4444686" y="117741"/>
                </a:cubicBezTo>
                <a:cubicBezTo>
                  <a:pt x="4451323" y="120675"/>
                  <a:pt x="4456302" y="107626"/>
                  <a:pt x="4457962" y="112380"/>
                </a:cubicBezTo>
                <a:cubicBezTo>
                  <a:pt x="4440260" y="128565"/>
                  <a:pt x="4408728" y="141006"/>
                  <a:pt x="4381899" y="142625"/>
                </a:cubicBezTo>
                <a:cubicBezTo>
                  <a:pt x="4373878" y="146266"/>
                  <a:pt x="4376368" y="157899"/>
                  <a:pt x="4380793" y="160630"/>
                </a:cubicBezTo>
                <a:cubicBezTo>
                  <a:pt x="4413154" y="155168"/>
                  <a:pt x="4451876" y="166193"/>
                  <a:pt x="4462941" y="146974"/>
                </a:cubicBezTo>
                <a:cubicBezTo>
                  <a:pt x="4471792" y="150211"/>
                  <a:pt x="4486451" y="149604"/>
                  <a:pt x="4492259" y="157089"/>
                </a:cubicBezTo>
                <a:cubicBezTo>
                  <a:pt x="4457962" y="160124"/>
                  <a:pt x="4435004" y="166598"/>
                  <a:pt x="4398218" y="169430"/>
                </a:cubicBezTo>
                <a:cubicBezTo>
                  <a:pt x="4396835" y="176106"/>
                  <a:pt x="4389367" y="177522"/>
                  <a:pt x="4389920" y="186727"/>
                </a:cubicBezTo>
                <a:cubicBezTo>
                  <a:pt x="4391027" y="193606"/>
                  <a:pt x="4397941" y="183086"/>
                  <a:pt x="4401814" y="188042"/>
                </a:cubicBezTo>
                <a:cubicBezTo>
                  <a:pt x="4400707" y="192493"/>
                  <a:pt x="4400431" y="194718"/>
                  <a:pt x="4395729" y="194212"/>
                </a:cubicBezTo>
                <a:cubicBezTo>
                  <a:pt x="4397665" y="196640"/>
                  <a:pt x="4402367" y="197247"/>
                  <a:pt x="4401538" y="201698"/>
                </a:cubicBezTo>
                <a:cubicBezTo>
                  <a:pt x="4411218" y="200484"/>
                  <a:pt x="4413430" y="189357"/>
                  <a:pt x="4430027" y="191178"/>
                </a:cubicBezTo>
                <a:cubicBezTo>
                  <a:pt x="4418686" y="199068"/>
                  <a:pt x="4436664" y="205541"/>
                  <a:pt x="4423664" y="210903"/>
                </a:cubicBezTo>
                <a:cubicBezTo>
                  <a:pt x="4430302" y="213836"/>
                  <a:pt x="4442472" y="212926"/>
                  <a:pt x="4439706" y="226278"/>
                </a:cubicBezTo>
                <a:cubicBezTo>
                  <a:pt x="4432792" y="225570"/>
                  <a:pt x="4428366" y="211408"/>
                  <a:pt x="4425600" y="224760"/>
                </a:cubicBezTo>
                <a:cubicBezTo>
                  <a:pt x="4418962" y="221726"/>
                  <a:pt x="4427813" y="213634"/>
                  <a:pt x="4418409" y="212622"/>
                </a:cubicBezTo>
                <a:cubicBezTo>
                  <a:pt x="4415920" y="212319"/>
                  <a:pt x="4415366" y="216769"/>
                  <a:pt x="4417027" y="219197"/>
                </a:cubicBezTo>
                <a:cubicBezTo>
                  <a:pt x="4406792" y="222636"/>
                  <a:pt x="4409005" y="211611"/>
                  <a:pt x="4401538" y="213027"/>
                </a:cubicBezTo>
                <a:cubicBezTo>
                  <a:pt x="4393516" y="216668"/>
                  <a:pt x="4407622" y="218186"/>
                  <a:pt x="4406239" y="224862"/>
                </a:cubicBezTo>
                <a:cubicBezTo>
                  <a:pt x="4394069" y="225772"/>
                  <a:pt x="4387984" y="231942"/>
                  <a:pt x="4388262" y="243372"/>
                </a:cubicBezTo>
                <a:cubicBezTo>
                  <a:pt x="4373603" y="232650"/>
                  <a:pt x="4366133" y="245497"/>
                  <a:pt x="4366410" y="231841"/>
                </a:cubicBezTo>
                <a:cubicBezTo>
                  <a:pt x="4342900" y="229312"/>
                  <a:pt x="4315794" y="255915"/>
                  <a:pt x="4309709" y="239225"/>
                </a:cubicBezTo>
                <a:cubicBezTo>
                  <a:pt x="4295050" y="239933"/>
                  <a:pt x="4309709" y="250655"/>
                  <a:pt x="4295603" y="249037"/>
                </a:cubicBezTo>
                <a:cubicBezTo>
                  <a:pt x="4289795" y="241653"/>
                  <a:pt x="4301135" y="245193"/>
                  <a:pt x="4301965" y="240743"/>
                </a:cubicBezTo>
                <a:cubicBezTo>
                  <a:pt x="4294773" y="228503"/>
                  <a:pt x="4281497" y="247520"/>
                  <a:pt x="4275135" y="242260"/>
                </a:cubicBezTo>
                <a:cubicBezTo>
                  <a:pt x="4273753" y="248936"/>
                  <a:pt x="4276242" y="249239"/>
                  <a:pt x="4276796" y="258343"/>
                </a:cubicBezTo>
                <a:cubicBezTo>
                  <a:pt x="4272093" y="257837"/>
                  <a:pt x="4269603" y="257635"/>
                  <a:pt x="4266838" y="259557"/>
                </a:cubicBezTo>
                <a:cubicBezTo>
                  <a:pt x="4263520" y="252375"/>
                  <a:pt x="4270710" y="253083"/>
                  <a:pt x="4271540" y="248632"/>
                </a:cubicBezTo>
                <a:cubicBezTo>
                  <a:pt x="4268774" y="250655"/>
                  <a:pt x="4266284" y="250352"/>
                  <a:pt x="4264072" y="250150"/>
                </a:cubicBezTo>
                <a:cubicBezTo>
                  <a:pt x="4261306" y="252072"/>
                  <a:pt x="4266009" y="252577"/>
                  <a:pt x="4265178" y="257028"/>
                </a:cubicBezTo>
                <a:cubicBezTo>
                  <a:pt x="4239179" y="254196"/>
                  <a:pt x="4216498" y="258444"/>
                  <a:pt x="4201563" y="272808"/>
                </a:cubicBezTo>
                <a:cubicBezTo>
                  <a:pt x="4192711" y="269470"/>
                  <a:pt x="4187180" y="273516"/>
                  <a:pt x="4181648" y="277461"/>
                </a:cubicBezTo>
                <a:cubicBezTo>
                  <a:pt x="4181095" y="279686"/>
                  <a:pt x="4180265" y="284036"/>
                  <a:pt x="4182478" y="284339"/>
                </a:cubicBezTo>
                <a:cubicBezTo>
                  <a:pt x="4169201" y="278270"/>
                  <a:pt x="4141543" y="284440"/>
                  <a:pt x="4131863" y="296983"/>
                </a:cubicBezTo>
                <a:cubicBezTo>
                  <a:pt x="4133245" y="290307"/>
                  <a:pt x="4127714" y="294151"/>
                  <a:pt x="4126054" y="289498"/>
                </a:cubicBezTo>
                <a:cubicBezTo>
                  <a:pt x="4099501" y="302445"/>
                  <a:pt x="4078757" y="309223"/>
                  <a:pt x="4048608" y="314988"/>
                </a:cubicBezTo>
                <a:cubicBezTo>
                  <a:pt x="4047779" y="319439"/>
                  <a:pt x="4057183" y="320552"/>
                  <a:pt x="4047226" y="321766"/>
                </a:cubicBezTo>
                <a:cubicBezTo>
                  <a:pt x="4046949" y="323991"/>
                  <a:pt x="4049161" y="324294"/>
                  <a:pt x="4048885" y="326520"/>
                </a:cubicBezTo>
                <a:cubicBezTo>
                  <a:pt x="4060502" y="327835"/>
                  <a:pt x="4054970" y="320349"/>
                  <a:pt x="4059949" y="318630"/>
                </a:cubicBezTo>
                <a:cubicBezTo>
                  <a:pt x="4062439" y="318933"/>
                  <a:pt x="4067141" y="319338"/>
                  <a:pt x="4069077" y="321867"/>
                </a:cubicBezTo>
                <a:cubicBezTo>
                  <a:pt x="4054693" y="333904"/>
                  <a:pt x="4036439" y="340985"/>
                  <a:pt x="4015695" y="347762"/>
                </a:cubicBezTo>
                <a:cubicBezTo>
                  <a:pt x="4016248" y="356967"/>
                  <a:pt x="4023162" y="346346"/>
                  <a:pt x="4021502" y="355247"/>
                </a:cubicBezTo>
                <a:cubicBezTo>
                  <a:pt x="3998823" y="359597"/>
                  <a:pt x="3980014" y="368903"/>
                  <a:pt x="3967568" y="383469"/>
                </a:cubicBezTo>
                <a:cubicBezTo>
                  <a:pt x="3968675" y="390347"/>
                  <a:pt x="3978908" y="387009"/>
                  <a:pt x="3979461" y="396113"/>
                </a:cubicBezTo>
                <a:cubicBezTo>
                  <a:pt x="3997439" y="391257"/>
                  <a:pt x="4014588" y="388627"/>
                  <a:pt x="4023439" y="380535"/>
                </a:cubicBezTo>
                <a:cubicBezTo>
                  <a:pt x="4035885" y="390954"/>
                  <a:pt x="4041417" y="375680"/>
                  <a:pt x="4054970" y="368093"/>
                </a:cubicBezTo>
                <a:cubicBezTo>
                  <a:pt x="4070459" y="362935"/>
                  <a:pt x="4094800" y="361114"/>
                  <a:pt x="4113055" y="354033"/>
                </a:cubicBezTo>
                <a:cubicBezTo>
                  <a:pt x="4129097" y="346649"/>
                  <a:pt x="4156202" y="342906"/>
                  <a:pt x="4175563" y="342704"/>
                </a:cubicBezTo>
                <a:cubicBezTo>
                  <a:pt x="4180265" y="343210"/>
                  <a:pt x="4179435" y="336332"/>
                  <a:pt x="4186904" y="334814"/>
                </a:cubicBezTo>
                <a:cubicBezTo>
                  <a:pt x="4188286" y="339568"/>
                  <a:pt x="4193541" y="337849"/>
                  <a:pt x="4195755" y="338152"/>
                </a:cubicBezTo>
                <a:cubicBezTo>
                  <a:pt x="4205989" y="323384"/>
                  <a:pt x="4228668" y="330465"/>
                  <a:pt x="4238903" y="315595"/>
                </a:cubicBezTo>
                <a:cubicBezTo>
                  <a:pt x="4299475" y="313269"/>
                  <a:pt x="4337921" y="290105"/>
                  <a:pt x="4392133" y="296073"/>
                </a:cubicBezTo>
                <a:cubicBezTo>
                  <a:pt x="4399602" y="294657"/>
                  <a:pt x="4403196" y="288284"/>
                  <a:pt x="4410941" y="286868"/>
                </a:cubicBezTo>
                <a:cubicBezTo>
                  <a:pt x="4405686" y="299917"/>
                  <a:pt x="4421176" y="294859"/>
                  <a:pt x="4428366" y="295567"/>
                </a:cubicBezTo>
                <a:cubicBezTo>
                  <a:pt x="4412877" y="312055"/>
                  <a:pt x="4371942" y="312055"/>
                  <a:pt x="4341517" y="320046"/>
                </a:cubicBezTo>
                <a:cubicBezTo>
                  <a:pt x="4340687" y="324497"/>
                  <a:pt x="4345666" y="322878"/>
                  <a:pt x="4348155" y="323081"/>
                </a:cubicBezTo>
                <a:cubicBezTo>
                  <a:pt x="4326305" y="336635"/>
                  <a:pt x="4286752" y="316405"/>
                  <a:pt x="4279561" y="329251"/>
                </a:cubicBezTo>
                <a:cubicBezTo>
                  <a:pt x="4257158" y="319945"/>
                  <a:pt x="4217051" y="351808"/>
                  <a:pt x="4200456" y="338658"/>
                </a:cubicBezTo>
                <a:cubicBezTo>
                  <a:pt x="4184967" y="343716"/>
                  <a:pt x="4184690" y="345941"/>
                  <a:pt x="4169478" y="348874"/>
                </a:cubicBezTo>
                <a:cubicBezTo>
                  <a:pt x="4164776" y="348369"/>
                  <a:pt x="4173350" y="353831"/>
                  <a:pt x="4175839" y="354134"/>
                </a:cubicBezTo>
                <a:cubicBezTo>
                  <a:pt x="4121076" y="375376"/>
                  <a:pt x="4074608" y="390650"/>
                  <a:pt x="4020120" y="409667"/>
                </a:cubicBezTo>
                <a:cubicBezTo>
                  <a:pt x="4019843" y="423323"/>
                  <a:pt x="4040310" y="416545"/>
                  <a:pt x="4045013" y="417051"/>
                </a:cubicBezTo>
                <a:cubicBezTo>
                  <a:pt x="4055524" y="413612"/>
                  <a:pt x="4072672" y="399552"/>
                  <a:pt x="4090651" y="394696"/>
                </a:cubicBezTo>
                <a:cubicBezTo>
                  <a:pt x="4113607" y="388122"/>
                  <a:pt x="4134074" y="381344"/>
                  <a:pt x="4149563" y="376287"/>
                </a:cubicBezTo>
                <a:cubicBezTo>
                  <a:pt x="4162840" y="370825"/>
                  <a:pt x="4179159" y="372645"/>
                  <a:pt x="4192436" y="367284"/>
                </a:cubicBezTo>
                <a:cubicBezTo>
                  <a:pt x="4222860" y="359293"/>
                  <a:pt x="4249412" y="346346"/>
                  <a:pt x="4277348" y="340276"/>
                </a:cubicBezTo>
                <a:cubicBezTo>
                  <a:pt x="4309709" y="334814"/>
                  <a:pt x="4341793" y="331476"/>
                  <a:pt x="4371389" y="327936"/>
                </a:cubicBezTo>
                <a:cubicBezTo>
                  <a:pt x="4288688" y="355247"/>
                  <a:pt x="4193818" y="360608"/>
                  <a:pt x="4121629" y="395910"/>
                </a:cubicBezTo>
                <a:cubicBezTo>
                  <a:pt x="4099224" y="400159"/>
                  <a:pt x="4080417" y="409465"/>
                  <a:pt x="4057737" y="413814"/>
                </a:cubicBezTo>
                <a:cubicBezTo>
                  <a:pt x="4055524" y="413612"/>
                  <a:pt x="4052204" y="417860"/>
                  <a:pt x="4051927" y="420086"/>
                </a:cubicBezTo>
                <a:cubicBezTo>
                  <a:pt x="4006844" y="428684"/>
                  <a:pt x="3998546" y="445981"/>
                  <a:pt x="3949589" y="449723"/>
                </a:cubicBezTo>
                <a:cubicBezTo>
                  <a:pt x="3966184" y="437889"/>
                  <a:pt x="3993567" y="434045"/>
                  <a:pt x="4007950" y="422008"/>
                </a:cubicBezTo>
                <a:cubicBezTo>
                  <a:pt x="3980844" y="425851"/>
                  <a:pt x="3951803" y="438495"/>
                  <a:pt x="3926909" y="453972"/>
                </a:cubicBezTo>
                <a:cubicBezTo>
                  <a:pt x="3893995" y="461761"/>
                  <a:pt x="3863294" y="471977"/>
                  <a:pt x="3840337" y="489881"/>
                </a:cubicBezTo>
                <a:cubicBezTo>
                  <a:pt x="3821528" y="487858"/>
                  <a:pt x="3804103" y="501817"/>
                  <a:pt x="3794976" y="512134"/>
                </a:cubicBezTo>
                <a:cubicBezTo>
                  <a:pt x="3774785" y="516787"/>
                  <a:pt x="3741593" y="538131"/>
                  <a:pt x="3719189" y="553809"/>
                </a:cubicBezTo>
                <a:cubicBezTo>
                  <a:pt x="3688765" y="561901"/>
                  <a:pt x="3669957" y="582536"/>
                  <a:pt x="3643405" y="595484"/>
                </a:cubicBezTo>
                <a:cubicBezTo>
                  <a:pt x="3656127" y="603778"/>
                  <a:pt x="3660552" y="581525"/>
                  <a:pt x="3671064" y="589516"/>
                </a:cubicBezTo>
                <a:cubicBezTo>
                  <a:pt x="3745465" y="543087"/>
                  <a:pt x="3800508" y="508291"/>
                  <a:pt x="3884868" y="483508"/>
                </a:cubicBezTo>
                <a:cubicBezTo>
                  <a:pt x="3838954" y="507987"/>
                  <a:pt x="3802996" y="531353"/>
                  <a:pt x="3752658" y="555326"/>
                </a:cubicBezTo>
                <a:cubicBezTo>
                  <a:pt x="3751550" y="559777"/>
                  <a:pt x="3754041" y="560081"/>
                  <a:pt x="3758743" y="560586"/>
                </a:cubicBezTo>
                <a:cubicBezTo>
                  <a:pt x="3741317" y="563216"/>
                  <a:pt x="3732467" y="571207"/>
                  <a:pt x="3714212" y="578288"/>
                </a:cubicBezTo>
                <a:cubicBezTo>
                  <a:pt x="3713382" y="582739"/>
                  <a:pt x="3714764" y="587493"/>
                  <a:pt x="3712552" y="587291"/>
                </a:cubicBezTo>
                <a:cubicBezTo>
                  <a:pt x="3747679" y="591134"/>
                  <a:pt x="3769253" y="543492"/>
                  <a:pt x="3815996" y="550977"/>
                </a:cubicBezTo>
                <a:cubicBezTo>
                  <a:pt x="3817656" y="542076"/>
                  <a:pt x="3807423" y="545414"/>
                  <a:pt x="3805486" y="542986"/>
                </a:cubicBezTo>
                <a:cubicBezTo>
                  <a:pt x="3804932" y="533781"/>
                  <a:pt x="3818210" y="539850"/>
                  <a:pt x="3812953" y="530140"/>
                </a:cubicBezTo>
                <a:cubicBezTo>
                  <a:pt x="3827613" y="529431"/>
                  <a:pt x="3837848" y="526093"/>
                  <a:pt x="3848634" y="520429"/>
                </a:cubicBezTo>
                <a:cubicBezTo>
                  <a:pt x="3860528" y="521744"/>
                  <a:pt x="3842550" y="526498"/>
                  <a:pt x="3846422" y="531455"/>
                </a:cubicBezTo>
                <a:cubicBezTo>
                  <a:pt x="3886250" y="524576"/>
                  <a:pt x="3915292" y="511932"/>
                  <a:pt x="3953185" y="491095"/>
                </a:cubicBezTo>
                <a:cubicBezTo>
                  <a:pt x="3954292" y="486644"/>
                  <a:pt x="3943228" y="492207"/>
                  <a:pt x="3938526" y="491702"/>
                </a:cubicBezTo>
                <a:cubicBezTo>
                  <a:pt x="3943228" y="480777"/>
                  <a:pt x="3953462" y="477439"/>
                  <a:pt x="3961760" y="485127"/>
                </a:cubicBezTo>
                <a:cubicBezTo>
                  <a:pt x="3961206" y="487352"/>
                  <a:pt x="3956505" y="486846"/>
                  <a:pt x="3955951" y="489072"/>
                </a:cubicBezTo>
                <a:cubicBezTo>
                  <a:pt x="3969228" y="495040"/>
                  <a:pt x="3999653" y="475720"/>
                  <a:pt x="4012376" y="472483"/>
                </a:cubicBezTo>
                <a:cubicBezTo>
                  <a:pt x="4009333" y="463076"/>
                  <a:pt x="4006567" y="465099"/>
                  <a:pt x="4001865" y="464593"/>
                </a:cubicBezTo>
                <a:cubicBezTo>
                  <a:pt x="4042524" y="430403"/>
                  <a:pt x="4106416" y="460142"/>
                  <a:pt x="4146522" y="428178"/>
                </a:cubicBezTo>
                <a:cubicBezTo>
                  <a:pt x="4153436" y="428987"/>
                  <a:pt x="4155095" y="433741"/>
                  <a:pt x="4159244" y="436472"/>
                </a:cubicBezTo>
                <a:cubicBezTo>
                  <a:pt x="4165330" y="430302"/>
                  <a:pt x="4170584" y="428583"/>
                  <a:pt x="4179435" y="431819"/>
                </a:cubicBezTo>
                <a:cubicBezTo>
                  <a:pt x="4181371" y="422918"/>
                  <a:pt x="4195755" y="422311"/>
                  <a:pt x="4199903" y="413612"/>
                </a:cubicBezTo>
                <a:cubicBezTo>
                  <a:pt x="4227285" y="421198"/>
                  <a:pt x="4247200" y="418872"/>
                  <a:pt x="4274029" y="417253"/>
                </a:cubicBezTo>
                <a:cubicBezTo>
                  <a:pt x="4270158" y="423626"/>
                  <a:pt x="4260753" y="422716"/>
                  <a:pt x="4257434" y="426863"/>
                </a:cubicBezTo>
                <a:cubicBezTo>
                  <a:pt x="4265178" y="436776"/>
                  <a:pt x="4270710" y="421401"/>
                  <a:pt x="4280668" y="431617"/>
                </a:cubicBezTo>
                <a:cubicBezTo>
                  <a:pt x="4288135" y="430201"/>
                  <a:pt x="4279284" y="426964"/>
                  <a:pt x="4279561" y="424739"/>
                </a:cubicBezTo>
                <a:cubicBezTo>
                  <a:pt x="4354794" y="421704"/>
                  <a:pt x="4429473" y="398035"/>
                  <a:pt x="4492535" y="395910"/>
                </a:cubicBezTo>
                <a:cubicBezTo>
                  <a:pt x="4445238" y="415635"/>
                  <a:pt x="4391856" y="405216"/>
                  <a:pt x="4346496" y="427571"/>
                </a:cubicBezTo>
                <a:cubicBezTo>
                  <a:pt x="4313028" y="426155"/>
                  <a:pt x="4274029" y="440114"/>
                  <a:pt x="4249412" y="455489"/>
                </a:cubicBezTo>
                <a:cubicBezTo>
                  <a:pt x="4260753" y="459029"/>
                  <a:pt x="4276796" y="438091"/>
                  <a:pt x="4291731" y="448813"/>
                </a:cubicBezTo>
                <a:cubicBezTo>
                  <a:pt x="4331836" y="428279"/>
                  <a:pt x="4389090" y="443553"/>
                  <a:pt x="4432239" y="420996"/>
                </a:cubicBezTo>
                <a:cubicBezTo>
                  <a:pt x="4438600" y="424031"/>
                  <a:pt x="4464599" y="426964"/>
                  <a:pt x="4468749" y="418265"/>
                </a:cubicBezTo>
                <a:cubicBezTo>
                  <a:pt x="4477600" y="421603"/>
                  <a:pt x="4480088" y="421805"/>
                  <a:pt x="4494195" y="423323"/>
                </a:cubicBezTo>
                <a:cubicBezTo>
                  <a:pt x="4463218" y="433640"/>
                  <a:pt x="4410941" y="430100"/>
                  <a:pt x="4391303" y="443857"/>
                </a:cubicBezTo>
                <a:cubicBezTo>
                  <a:pt x="4386601" y="431921"/>
                  <a:pt x="4375537" y="451140"/>
                  <a:pt x="4364474" y="445374"/>
                </a:cubicBezTo>
                <a:cubicBezTo>
                  <a:pt x="4365581" y="452353"/>
                  <a:pt x="4372772" y="453163"/>
                  <a:pt x="4376921" y="455894"/>
                </a:cubicBezTo>
                <a:cubicBezTo>
                  <a:pt x="4384112" y="456703"/>
                  <a:pt x="4380516" y="449521"/>
                  <a:pt x="4392410" y="450836"/>
                </a:cubicBezTo>
                <a:cubicBezTo>
                  <a:pt x="4383005" y="461255"/>
                  <a:pt x="4399324" y="451645"/>
                  <a:pt x="4405962" y="454680"/>
                </a:cubicBezTo>
                <a:cubicBezTo>
                  <a:pt x="4409005" y="464087"/>
                  <a:pt x="4397665" y="460547"/>
                  <a:pt x="4396282" y="467223"/>
                </a:cubicBezTo>
                <a:cubicBezTo>
                  <a:pt x="4398771" y="467425"/>
                  <a:pt x="4403474" y="468032"/>
                  <a:pt x="4405686" y="468234"/>
                </a:cubicBezTo>
                <a:cubicBezTo>
                  <a:pt x="4410941" y="466515"/>
                  <a:pt x="4405686" y="456804"/>
                  <a:pt x="4410941" y="455186"/>
                </a:cubicBezTo>
                <a:cubicBezTo>
                  <a:pt x="4417856" y="455894"/>
                  <a:pt x="4419794" y="458422"/>
                  <a:pt x="4427813" y="454781"/>
                </a:cubicBezTo>
                <a:cubicBezTo>
                  <a:pt x="4419794" y="469853"/>
                  <a:pt x="4453259" y="471168"/>
                  <a:pt x="4460174" y="460547"/>
                </a:cubicBezTo>
                <a:cubicBezTo>
                  <a:pt x="4456855" y="453365"/>
                  <a:pt x="4448004" y="461558"/>
                  <a:pt x="4442196" y="454073"/>
                </a:cubicBezTo>
                <a:cubicBezTo>
                  <a:pt x="4443302" y="449622"/>
                  <a:pt x="4441642" y="444868"/>
                  <a:pt x="4444408" y="442946"/>
                </a:cubicBezTo>
                <a:cubicBezTo>
                  <a:pt x="4459898" y="437787"/>
                  <a:pt x="4477046" y="448813"/>
                  <a:pt x="4488387" y="440923"/>
                </a:cubicBezTo>
                <a:cubicBezTo>
                  <a:pt x="4483684" y="451848"/>
                  <a:pt x="4498897" y="460344"/>
                  <a:pt x="4512726" y="450431"/>
                </a:cubicBezTo>
                <a:cubicBezTo>
                  <a:pt x="4513832" y="445981"/>
                  <a:pt x="4508577" y="447801"/>
                  <a:pt x="4501663" y="446992"/>
                </a:cubicBezTo>
                <a:cubicBezTo>
                  <a:pt x="4507194" y="443047"/>
                  <a:pt x="4521301" y="444565"/>
                  <a:pt x="4528770" y="443047"/>
                </a:cubicBezTo>
                <a:cubicBezTo>
                  <a:pt x="4521301" y="455894"/>
                  <a:pt x="4541491" y="451342"/>
                  <a:pt x="4554215" y="448206"/>
                </a:cubicBezTo>
                <a:cubicBezTo>
                  <a:pt x="4558917" y="448712"/>
                  <a:pt x="4563065" y="451443"/>
                  <a:pt x="4570257" y="452252"/>
                </a:cubicBezTo>
                <a:cubicBezTo>
                  <a:pt x="4613405" y="441024"/>
                  <a:pt x="4649362" y="454174"/>
                  <a:pt x="4692234" y="445273"/>
                </a:cubicBezTo>
                <a:cubicBezTo>
                  <a:pt x="4693893" y="447700"/>
                  <a:pt x="4698318" y="450431"/>
                  <a:pt x="4702467" y="453163"/>
                </a:cubicBezTo>
                <a:cubicBezTo>
                  <a:pt x="4709658" y="442542"/>
                  <a:pt x="4715744" y="459232"/>
                  <a:pt x="4725700" y="458018"/>
                </a:cubicBezTo>
                <a:cubicBezTo>
                  <a:pt x="4732615" y="458827"/>
                  <a:pt x="4739253" y="450431"/>
                  <a:pt x="4748658" y="451443"/>
                </a:cubicBezTo>
                <a:cubicBezTo>
                  <a:pt x="4758061" y="452455"/>
                  <a:pt x="4776593" y="456804"/>
                  <a:pt x="4788210" y="458119"/>
                </a:cubicBezTo>
                <a:cubicBezTo>
                  <a:pt x="4787380" y="462570"/>
                  <a:pt x="4778254" y="459333"/>
                  <a:pt x="4779912" y="464087"/>
                </a:cubicBezTo>
                <a:cubicBezTo>
                  <a:pt x="4747828" y="455995"/>
                  <a:pt x="4694722" y="468335"/>
                  <a:pt x="4658489" y="457512"/>
                </a:cubicBezTo>
                <a:cubicBezTo>
                  <a:pt x="4650745" y="458928"/>
                  <a:pt x="4647979" y="460850"/>
                  <a:pt x="4642723" y="462570"/>
                </a:cubicBezTo>
                <a:cubicBezTo>
                  <a:pt x="4587130" y="451848"/>
                  <a:pt x="4527109" y="474809"/>
                  <a:pt x="4457685" y="474000"/>
                </a:cubicBezTo>
                <a:cubicBezTo>
                  <a:pt x="4454642" y="475922"/>
                  <a:pt x="4454366" y="478147"/>
                  <a:pt x="4453812" y="480373"/>
                </a:cubicBezTo>
                <a:cubicBezTo>
                  <a:pt x="4385218" y="486442"/>
                  <a:pt x="4331836" y="501008"/>
                  <a:pt x="4277072" y="522250"/>
                </a:cubicBezTo>
                <a:cubicBezTo>
                  <a:pt x="4298922" y="520125"/>
                  <a:pt x="4319944" y="524677"/>
                  <a:pt x="4332943" y="507886"/>
                </a:cubicBezTo>
                <a:cubicBezTo>
                  <a:pt x="4343176" y="515877"/>
                  <a:pt x="4366133" y="497872"/>
                  <a:pt x="4368070" y="511831"/>
                </a:cubicBezTo>
                <a:cubicBezTo>
                  <a:pt x="4353963" y="510213"/>
                  <a:pt x="4349261" y="521137"/>
                  <a:pt x="4337921" y="517597"/>
                </a:cubicBezTo>
                <a:cubicBezTo>
                  <a:pt x="4344559" y="520631"/>
                  <a:pt x="4342347" y="520328"/>
                  <a:pt x="4345114" y="529735"/>
                </a:cubicBezTo>
                <a:cubicBezTo>
                  <a:pt x="4330730" y="530443"/>
                  <a:pt x="4339857" y="520024"/>
                  <a:pt x="4332943" y="519215"/>
                </a:cubicBezTo>
                <a:cubicBezTo>
                  <a:pt x="4326859" y="525385"/>
                  <a:pt x="4333772" y="526296"/>
                  <a:pt x="4330177" y="532668"/>
                </a:cubicBezTo>
                <a:cubicBezTo>
                  <a:pt x="4320773" y="531657"/>
                  <a:pt x="4304731" y="538940"/>
                  <a:pt x="4293114" y="537625"/>
                </a:cubicBezTo>
                <a:cubicBezTo>
                  <a:pt x="4298922" y="545110"/>
                  <a:pt x="4300858" y="547639"/>
                  <a:pt x="4294220" y="556035"/>
                </a:cubicBezTo>
                <a:cubicBezTo>
                  <a:pt x="4308051" y="559777"/>
                  <a:pt x="4319390" y="563216"/>
                  <a:pt x="4337645" y="556136"/>
                </a:cubicBezTo>
                <a:cubicBezTo>
                  <a:pt x="4336538" y="560586"/>
                  <a:pt x="4339305" y="558665"/>
                  <a:pt x="4340964" y="563419"/>
                </a:cubicBezTo>
                <a:cubicBezTo>
                  <a:pt x="4334879" y="569488"/>
                  <a:pt x="4328794" y="575658"/>
                  <a:pt x="4311922" y="576063"/>
                </a:cubicBezTo>
                <a:cubicBezTo>
                  <a:pt x="4306667" y="577782"/>
                  <a:pt x="4316072" y="578895"/>
                  <a:pt x="4310539" y="582840"/>
                </a:cubicBezTo>
                <a:cubicBezTo>
                  <a:pt x="4321879" y="586380"/>
                  <a:pt x="4322709" y="581828"/>
                  <a:pt x="4327964" y="591539"/>
                </a:cubicBezTo>
                <a:cubicBezTo>
                  <a:pt x="4366133" y="593461"/>
                  <a:pt x="4395175" y="569387"/>
                  <a:pt x="4422559" y="576973"/>
                </a:cubicBezTo>
                <a:cubicBezTo>
                  <a:pt x="4407900" y="589010"/>
                  <a:pt x="4368070" y="584661"/>
                  <a:pt x="4361156" y="606611"/>
                </a:cubicBezTo>
                <a:cubicBezTo>
                  <a:pt x="4355070" y="612781"/>
                  <a:pt x="4362538" y="599935"/>
                  <a:pt x="4363368" y="595484"/>
                </a:cubicBezTo>
                <a:cubicBezTo>
                  <a:pt x="4352304" y="603273"/>
                  <a:pt x="4343730" y="597811"/>
                  <a:pt x="4330177" y="605397"/>
                </a:cubicBezTo>
                <a:cubicBezTo>
                  <a:pt x="4327411" y="607420"/>
                  <a:pt x="4330730" y="614602"/>
                  <a:pt x="4324923" y="618547"/>
                </a:cubicBezTo>
                <a:cubicBezTo>
                  <a:pt x="4320219" y="618041"/>
                  <a:pt x="4318837" y="613388"/>
                  <a:pt x="4314688" y="610556"/>
                </a:cubicBezTo>
                <a:cubicBezTo>
                  <a:pt x="4235861" y="631494"/>
                  <a:pt x="4155648" y="658907"/>
                  <a:pt x="4082076" y="689455"/>
                </a:cubicBezTo>
                <a:cubicBezTo>
                  <a:pt x="4076544" y="693400"/>
                  <a:pt x="4072672" y="699772"/>
                  <a:pt x="4071566" y="706448"/>
                </a:cubicBezTo>
                <a:cubicBezTo>
                  <a:pt x="4059673" y="705234"/>
                  <a:pt x="4040587" y="716766"/>
                  <a:pt x="4023439" y="717170"/>
                </a:cubicBezTo>
                <a:cubicBezTo>
                  <a:pt x="4018461" y="718890"/>
                  <a:pt x="4029800" y="722430"/>
                  <a:pt x="4025651" y="731028"/>
                </a:cubicBezTo>
                <a:cubicBezTo>
                  <a:pt x="3997717" y="714338"/>
                  <a:pt x="3974759" y="743672"/>
                  <a:pt x="3950973" y="754698"/>
                </a:cubicBezTo>
                <a:cubicBezTo>
                  <a:pt x="3952909" y="757126"/>
                  <a:pt x="3954015" y="764105"/>
                  <a:pt x="3950696" y="768252"/>
                </a:cubicBezTo>
                <a:cubicBezTo>
                  <a:pt x="3961483" y="762689"/>
                  <a:pt x="3996056" y="757328"/>
                  <a:pt x="3994673" y="741245"/>
                </a:cubicBezTo>
                <a:cubicBezTo>
                  <a:pt x="4020950" y="741953"/>
                  <a:pt x="4063268" y="735175"/>
                  <a:pt x="4072396" y="713529"/>
                </a:cubicBezTo>
                <a:cubicBezTo>
                  <a:pt x="4097288" y="709382"/>
                  <a:pt x="4125501" y="701087"/>
                  <a:pt x="4147352" y="687634"/>
                </a:cubicBezTo>
                <a:cubicBezTo>
                  <a:pt x="4162010" y="686926"/>
                  <a:pt x="4186626" y="685105"/>
                  <a:pt x="4191605" y="671955"/>
                </a:cubicBezTo>
                <a:cubicBezTo>
                  <a:pt x="4222860" y="659513"/>
                  <a:pt x="4257710" y="654355"/>
                  <a:pt x="4300028" y="647577"/>
                </a:cubicBezTo>
                <a:cubicBezTo>
                  <a:pt x="4299475" y="649803"/>
                  <a:pt x="4296709" y="651826"/>
                  <a:pt x="4296156" y="654051"/>
                </a:cubicBezTo>
                <a:cubicBezTo>
                  <a:pt x="4314134" y="660525"/>
                  <a:pt x="4338474" y="647375"/>
                  <a:pt x="4355070" y="649196"/>
                </a:cubicBezTo>
                <a:cubicBezTo>
                  <a:pt x="4354240" y="653647"/>
                  <a:pt x="4358942" y="654152"/>
                  <a:pt x="4357837" y="658603"/>
                </a:cubicBezTo>
                <a:cubicBezTo>
                  <a:pt x="4367793" y="657389"/>
                  <a:pt x="4382452" y="656782"/>
                  <a:pt x="4386048" y="650309"/>
                </a:cubicBezTo>
                <a:cubicBezTo>
                  <a:pt x="4410664" y="648488"/>
                  <a:pt x="4422281" y="649803"/>
                  <a:pt x="4436387" y="639890"/>
                </a:cubicBezTo>
                <a:cubicBezTo>
                  <a:pt x="4439706" y="641407"/>
                  <a:pt x="4433068" y="644644"/>
                  <a:pt x="4424770" y="648589"/>
                </a:cubicBezTo>
                <a:lnTo>
                  <a:pt x="4422559" y="649601"/>
                </a:lnTo>
                <a:lnTo>
                  <a:pt x="4429749" y="649398"/>
                </a:lnTo>
                <a:cubicBezTo>
                  <a:pt x="4431963" y="650005"/>
                  <a:pt x="4434451" y="650612"/>
                  <a:pt x="4439153" y="648994"/>
                </a:cubicBezTo>
                <a:cubicBezTo>
                  <a:pt x="4427536" y="639688"/>
                  <a:pt x="4444686" y="649297"/>
                  <a:pt x="4455749" y="641407"/>
                </a:cubicBezTo>
                <a:cubicBezTo>
                  <a:pt x="4459344" y="637766"/>
                  <a:pt x="4453812" y="634630"/>
                  <a:pt x="4459344" y="629269"/>
                </a:cubicBezTo>
                <a:cubicBezTo>
                  <a:pt x="4464877" y="626740"/>
                  <a:pt x="4468472" y="625931"/>
                  <a:pt x="4472067" y="622391"/>
                </a:cubicBezTo>
                <a:cubicBezTo>
                  <a:pt x="4507747" y="628359"/>
                  <a:pt x="4548130" y="594675"/>
                  <a:pt x="4589342" y="592449"/>
                </a:cubicBezTo>
                <a:cubicBezTo>
                  <a:pt x="4591278" y="587796"/>
                  <a:pt x="4592937" y="585875"/>
                  <a:pt x="4598470" y="583346"/>
                </a:cubicBezTo>
                <a:cubicBezTo>
                  <a:pt x="4649085" y="580716"/>
                  <a:pt x="4704403" y="549864"/>
                  <a:pt x="4751423" y="550876"/>
                </a:cubicBezTo>
                <a:cubicBezTo>
                  <a:pt x="4777423" y="540052"/>
                  <a:pt x="4801486" y="531050"/>
                  <a:pt x="4831635" y="533882"/>
                </a:cubicBezTo>
                <a:cubicBezTo>
                  <a:pt x="4885569" y="516181"/>
                  <a:pt x="4947249" y="514157"/>
                  <a:pt x="5003121" y="500401"/>
                </a:cubicBezTo>
                <a:cubicBezTo>
                  <a:pt x="5008652" y="492207"/>
                  <a:pt x="4991781" y="502626"/>
                  <a:pt x="4999248" y="492511"/>
                </a:cubicBezTo>
                <a:cubicBezTo>
                  <a:pt x="5012248" y="488566"/>
                  <a:pt x="5021652" y="493927"/>
                  <a:pt x="5032992" y="497467"/>
                </a:cubicBezTo>
                <a:cubicBezTo>
                  <a:pt x="5055396" y="496051"/>
                  <a:pt x="5066460" y="485228"/>
                  <a:pt x="5088863" y="486644"/>
                </a:cubicBezTo>
                <a:cubicBezTo>
                  <a:pt x="5098267" y="489072"/>
                  <a:pt x="5091077" y="496253"/>
                  <a:pt x="5100480" y="495849"/>
                </a:cubicBezTo>
                <a:cubicBezTo>
                  <a:pt x="5107672" y="488667"/>
                  <a:pt x="5113203" y="489072"/>
                  <a:pt x="5114863" y="478653"/>
                </a:cubicBezTo>
                <a:cubicBezTo>
                  <a:pt x="5120671" y="481890"/>
                  <a:pt x="5129799" y="478653"/>
                  <a:pt x="5126203" y="476529"/>
                </a:cubicBezTo>
                <a:cubicBezTo>
                  <a:pt x="5131735" y="474000"/>
                  <a:pt x="5141140" y="482092"/>
                  <a:pt x="5150543" y="481789"/>
                </a:cubicBezTo>
                <a:cubicBezTo>
                  <a:pt x="5154416" y="478147"/>
                  <a:pt x="5139479" y="481081"/>
                  <a:pt x="5148607" y="474910"/>
                </a:cubicBezTo>
                <a:cubicBezTo>
                  <a:pt x="5150543" y="476023"/>
                  <a:pt x="5150543" y="473292"/>
                  <a:pt x="5152202" y="471471"/>
                </a:cubicBezTo>
                <a:cubicBezTo>
                  <a:pt x="5175159" y="484318"/>
                  <a:pt x="5202818" y="471673"/>
                  <a:pt x="5227158" y="474101"/>
                </a:cubicBezTo>
                <a:cubicBezTo>
                  <a:pt x="5229094" y="472280"/>
                  <a:pt x="5229094" y="469448"/>
                  <a:pt x="5230754" y="467627"/>
                </a:cubicBezTo>
                <a:cubicBezTo>
                  <a:pt x="5232966" y="477338"/>
                  <a:pt x="5296582" y="473494"/>
                  <a:pt x="5313178" y="463076"/>
                </a:cubicBezTo>
                <a:cubicBezTo>
                  <a:pt x="5379006" y="471876"/>
                  <a:pt x="5434877" y="458220"/>
                  <a:pt x="5500429" y="464087"/>
                </a:cubicBezTo>
                <a:cubicBezTo>
                  <a:pt x="5507897" y="462671"/>
                  <a:pt x="5498493" y="457209"/>
                  <a:pt x="5505961" y="452859"/>
                </a:cubicBezTo>
                <a:cubicBezTo>
                  <a:pt x="5509833" y="457917"/>
                  <a:pt x="5524492" y="455084"/>
                  <a:pt x="5521174" y="464390"/>
                </a:cubicBezTo>
                <a:cubicBezTo>
                  <a:pt x="5537769" y="459636"/>
                  <a:pt x="5569854" y="472078"/>
                  <a:pt x="5578980" y="463076"/>
                </a:cubicBezTo>
                <a:cubicBezTo>
                  <a:pt x="5586449" y="458827"/>
                  <a:pt x="5583129" y="468133"/>
                  <a:pt x="5590597" y="466717"/>
                </a:cubicBezTo>
                <a:cubicBezTo>
                  <a:pt x="5596129" y="467020"/>
                  <a:pt x="5590321" y="460951"/>
                  <a:pt x="5597789" y="459535"/>
                </a:cubicBezTo>
                <a:cubicBezTo>
                  <a:pt x="5586449" y="461659"/>
                  <a:pt x="5590321" y="460951"/>
                  <a:pt x="5580917" y="455590"/>
                </a:cubicBezTo>
                <a:cubicBezTo>
                  <a:pt x="5588108" y="448408"/>
                  <a:pt x="5597789" y="456602"/>
                  <a:pt x="5607194" y="456197"/>
                </a:cubicBezTo>
                <a:cubicBezTo>
                  <a:pt x="5601661" y="461558"/>
                  <a:pt x="5601661" y="464492"/>
                  <a:pt x="5603597" y="465503"/>
                </a:cubicBezTo>
                <a:cubicBezTo>
                  <a:pt x="5613002" y="468032"/>
                  <a:pt x="5618533" y="462671"/>
                  <a:pt x="5627937" y="467931"/>
                </a:cubicBezTo>
                <a:cubicBezTo>
                  <a:pt x="5627937" y="465099"/>
                  <a:pt x="5629596" y="460446"/>
                  <a:pt x="5622129" y="459029"/>
                </a:cubicBezTo>
                <a:cubicBezTo>
                  <a:pt x="5627660" y="456501"/>
                  <a:pt x="5635405" y="463682"/>
                  <a:pt x="5633469" y="465402"/>
                </a:cubicBezTo>
                <a:cubicBezTo>
                  <a:pt x="5652000" y="456096"/>
                  <a:pt x="5677170" y="484318"/>
                  <a:pt x="5697361" y="467526"/>
                </a:cubicBezTo>
                <a:cubicBezTo>
                  <a:pt x="5703169" y="476428"/>
                  <a:pt x="5731105" y="475214"/>
                  <a:pt x="5734977" y="474506"/>
                </a:cubicBezTo>
                <a:cubicBezTo>
                  <a:pt x="5755446" y="474809"/>
                  <a:pt x="5772594" y="481485"/>
                  <a:pt x="5793061" y="484722"/>
                </a:cubicBezTo>
                <a:cubicBezTo>
                  <a:pt x="5806337" y="486442"/>
                  <a:pt x="5830677" y="491803"/>
                  <a:pt x="5845613" y="480271"/>
                </a:cubicBezTo>
                <a:cubicBezTo>
                  <a:pt x="5860826" y="497467"/>
                  <a:pt x="5915038" y="491196"/>
                  <a:pt x="5936058" y="508695"/>
                </a:cubicBezTo>
                <a:cubicBezTo>
                  <a:pt x="5941591" y="508999"/>
                  <a:pt x="5945463" y="508291"/>
                  <a:pt x="5950994" y="502930"/>
                </a:cubicBezTo>
                <a:cubicBezTo>
                  <a:pt x="5985015" y="522149"/>
                  <a:pt x="6018760" y="518507"/>
                  <a:pt x="6062183" y="531556"/>
                </a:cubicBezTo>
                <a:cubicBezTo>
                  <a:pt x="6058588" y="535197"/>
                  <a:pt x="6056651" y="539749"/>
                  <a:pt x="6053056" y="543391"/>
                </a:cubicBezTo>
                <a:cubicBezTo>
                  <a:pt x="6062460" y="548650"/>
                  <a:pt x="6066055" y="542278"/>
                  <a:pt x="6073523" y="538029"/>
                </a:cubicBezTo>
                <a:cubicBezTo>
                  <a:pt x="6086800" y="548347"/>
                  <a:pt x="6101735" y="542581"/>
                  <a:pt x="6111416" y="550775"/>
                </a:cubicBezTo>
                <a:cubicBezTo>
                  <a:pt x="6100076" y="552899"/>
                  <a:pt x="6090672" y="544705"/>
                  <a:pt x="6087076" y="559777"/>
                </a:cubicBezTo>
                <a:cubicBezTo>
                  <a:pt x="6079608" y="555529"/>
                  <a:pt x="6079608" y="552697"/>
                  <a:pt x="6068268" y="554821"/>
                </a:cubicBezTo>
                <a:cubicBezTo>
                  <a:pt x="6064949" y="566959"/>
                  <a:pt x="6068545" y="566251"/>
                  <a:pt x="6061353" y="576265"/>
                </a:cubicBezTo>
                <a:cubicBezTo>
                  <a:pt x="6053885" y="574849"/>
                  <a:pt x="6024014" y="577782"/>
                  <a:pt x="6025397" y="564531"/>
                </a:cubicBezTo>
                <a:cubicBezTo>
                  <a:pt x="5999397" y="566757"/>
                  <a:pt x="5967036" y="542885"/>
                  <a:pt x="5942696" y="551887"/>
                </a:cubicBezTo>
                <a:cubicBezTo>
                  <a:pt x="5942420" y="540457"/>
                  <a:pt x="5920292" y="547639"/>
                  <a:pt x="5905080" y="544807"/>
                </a:cubicBezTo>
                <a:cubicBezTo>
                  <a:pt x="5893740" y="541266"/>
                  <a:pt x="5866911" y="514866"/>
                  <a:pt x="5843124" y="538232"/>
                </a:cubicBezTo>
                <a:cubicBezTo>
                  <a:pt x="5833720" y="535703"/>
                  <a:pt x="5846720" y="534691"/>
                  <a:pt x="5843124" y="529634"/>
                </a:cubicBezTo>
                <a:cubicBezTo>
                  <a:pt x="5827911" y="523969"/>
                  <a:pt x="5810763" y="520125"/>
                  <a:pt x="5801635" y="529027"/>
                </a:cubicBezTo>
                <a:cubicBezTo>
                  <a:pt x="5797763" y="521238"/>
                  <a:pt x="5771210" y="509100"/>
                  <a:pt x="5756551" y="523463"/>
                </a:cubicBezTo>
                <a:cubicBezTo>
                  <a:pt x="5730000" y="505661"/>
                  <a:pt x="5651170" y="500907"/>
                  <a:pt x="5606640" y="521036"/>
                </a:cubicBezTo>
                <a:cubicBezTo>
                  <a:pt x="5608576" y="516383"/>
                  <a:pt x="5604704" y="514157"/>
                  <a:pt x="5597235" y="512741"/>
                </a:cubicBezTo>
                <a:cubicBezTo>
                  <a:pt x="5595300" y="517394"/>
                  <a:pt x="5608576" y="516383"/>
                  <a:pt x="5599448" y="522452"/>
                </a:cubicBezTo>
                <a:cubicBezTo>
                  <a:pt x="5557960" y="516181"/>
                  <a:pt x="5498216" y="524880"/>
                  <a:pt x="5458664" y="516686"/>
                </a:cubicBezTo>
                <a:cubicBezTo>
                  <a:pt x="5460323" y="509201"/>
                  <a:pt x="5466132" y="515270"/>
                  <a:pt x="5469727" y="508898"/>
                </a:cubicBezTo>
                <a:cubicBezTo>
                  <a:pt x="5456451" y="504245"/>
                  <a:pt x="5430175" y="503536"/>
                  <a:pt x="5424920" y="517495"/>
                </a:cubicBezTo>
                <a:cubicBezTo>
                  <a:pt x="5413856" y="519721"/>
                  <a:pt x="5404452" y="520125"/>
                  <a:pt x="5391176" y="515472"/>
                </a:cubicBezTo>
                <a:cubicBezTo>
                  <a:pt x="5389240" y="511528"/>
                  <a:pt x="5396708" y="512944"/>
                  <a:pt x="5400303" y="509302"/>
                </a:cubicBezTo>
                <a:cubicBezTo>
                  <a:pt x="5387027" y="501918"/>
                  <a:pt x="5385368" y="509403"/>
                  <a:pt x="5372368" y="507684"/>
                </a:cubicBezTo>
                <a:cubicBezTo>
                  <a:pt x="5370432" y="512337"/>
                  <a:pt x="5385368" y="509504"/>
                  <a:pt x="5378176" y="516686"/>
                </a:cubicBezTo>
                <a:cubicBezTo>
                  <a:pt x="5362964" y="513854"/>
                  <a:pt x="5355772" y="520935"/>
                  <a:pt x="5342496" y="516383"/>
                </a:cubicBezTo>
                <a:cubicBezTo>
                  <a:pt x="5348028" y="510921"/>
                  <a:pt x="5355496" y="509504"/>
                  <a:pt x="5361304" y="515574"/>
                </a:cubicBezTo>
                <a:cubicBezTo>
                  <a:pt x="5361304" y="512741"/>
                  <a:pt x="5357432" y="510617"/>
                  <a:pt x="5361028" y="506976"/>
                </a:cubicBezTo>
                <a:cubicBezTo>
                  <a:pt x="5346092" y="507077"/>
                  <a:pt x="5336688" y="507481"/>
                  <a:pt x="5329496" y="520328"/>
                </a:cubicBezTo>
                <a:cubicBezTo>
                  <a:pt x="5322028" y="518912"/>
                  <a:pt x="5331157" y="512843"/>
                  <a:pt x="5331157" y="509909"/>
                </a:cubicBezTo>
                <a:cubicBezTo>
                  <a:pt x="5276669" y="507583"/>
                  <a:pt x="5228542" y="531353"/>
                  <a:pt x="5164925" y="529330"/>
                </a:cubicBezTo>
                <a:cubicBezTo>
                  <a:pt x="5162989" y="525487"/>
                  <a:pt x="5161053" y="521542"/>
                  <a:pt x="5155245" y="518305"/>
                </a:cubicBezTo>
                <a:cubicBezTo>
                  <a:pt x="5144181" y="526195"/>
                  <a:pt x="5127310" y="522351"/>
                  <a:pt x="5122054" y="536310"/>
                </a:cubicBezTo>
                <a:cubicBezTo>
                  <a:pt x="5088310" y="534186"/>
                  <a:pt x="5058438" y="542885"/>
                  <a:pt x="5028567" y="551483"/>
                </a:cubicBezTo>
                <a:cubicBezTo>
                  <a:pt x="4931207" y="553202"/>
                  <a:pt x="4844081" y="583042"/>
                  <a:pt x="4750594" y="598316"/>
                </a:cubicBezTo>
                <a:cubicBezTo>
                  <a:pt x="4689467" y="626032"/>
                  <a:pt x="4631383" y="627347"/>
                  <a:pt x="4570257" y="652129"/>
                </a:cubicBezTo>
                <a:cubicBezTo>
                  <a:pt x="4562789" y="647881"/>
                  <a:pt x="4549790" y="657592"/>
                  <a:pt x="4543982" y="651522"/>
                </a:cubicBezTo>
                <a:cubicBezTo>
                  <a:pt x="4538449" y="656884"/>
                  <a:pt x="4538449" y="659817"/>
                  <a:pt x="4546194" y="661233"/>
                </a:cubicBezTo>
                <a:cubicBezTo>
                  <a:pt x="4531258" y="669831"/>
                  <a:pt x="4514386" y="665987"/>
                  <a:pt x="4497514" y="670640"/>
                </a:cubicBezTo>
                <a:cubicBezTo>
                  <a:pt x="4501663" y="678530"/>
                  <a:pt x="4490323" y="674889"/>
                  <a:pt x="4486727" y="684195"/>
                </a:cubicBezTo>
                <a:cubicBezTo>
                  <a:pt x="4484791" y="683183"/>
                  <a:pt x="4482854" y="682070"/>
                  <a:pt x="4479259" y="682779"/>
                </a:cubicBezTo>
                <a:cubicBezTo>
                  <a:pt x="4446068" y="703616"/>
                  <a:pt x="4406792" y="706954"/>
                  <a:pt x="4371665" y="732444"/>
                </a:cubicBezTo>
                <a:cubicBezTo>
                  <a:pt x="4356730" y="729612"/>
                  <a:pt x="4338474" y="753282"/>
                  <a:pt x="4325198" y="742964"/>
                </a:cubicBezTo>
                <a:cubicBezTo>
                  <a:pt x="4321602" y="747921"/>
                  <a:pt x="4316347" y="750045"/>
                  <a:pt x="4311369" y="752473"/>
                </a:cubicBezTo>
                <a:lnTo>
                  <a:pt x="4310815" y="752877"/>
                </a:lnTo>
                <a:lnTo>
                  <a:pt x="4324369" y="754394"/>
                </a:lnTo>
                <a:cubicBezTo>
                  <a:pt x="4321602" y="756519"/>
                  <a:pt x="4318837" y="758643"/>
                  <a:pt x="4318283" y="761070"/>
                </a:cubicBezTo>
                <a:lnTo>
                  <a:pt x="4310539" y="752978"/>
                </a:lnTo>
                <a:lnTo>
                  <a:pt x="4297539" y="764105"/>
                </a:lnTo>
                <a:cubicBezTo>
                  <a:pt x="4285369" y="765015"/>
                  <a:pt x="4275135" y="768455"/>
                  <a:pt x="4266009" y="773006"/>
                </a:cubicBezTo>
                <a:lnTo>
                  <a:pt x="4252455" y="781706"/>
                </a:lnTo>
                <a:lnTo>
                  <a:pt x="4256051" y="783931"/>
                </a:lnTo>
                <a:lnTo>
                  <a:pt x="4246093" y="785651"/>
                </a:lnTo>
                <a:lnTo>
                  <a:pt x="4240562" y="789191"/>
                </a:lnTo>
                <a:lnTo>
                  <a:pt x="4239179" y="790101"/>
                </a:lnTo>
                <a:lnTo>
                  <a:pt x="4236136" y="797586"/>
                </a:lnTo>
                <a:cubicBezTo>
                  <a:pt x="4231711" y="794855"/>
                  <a:pt x="4233923" y="797384"/>
                  <a:pt x="4226180" y="798800"/>
                </a:cubicBezTo>
                <a:lnTo>
                  <a:pt x="4225902" y="798295"/>
                </a:lnTo>
                <a:lnTo>
                  <a:pt x="4215945" y="804667"/>
                </a:lnTo>
                <a:cubicBezTo>
                  <a:pt x="4207094" y="808916"/>
                  <a:pt x="4197414" y="811546"/>
                  <a:pt x="4186350" y="811647"/>
                </a:cubicBezTo>
                <a:cubicBezTo>
                  <a:pt x="4176116" y="822875"/>
                  <a:pt x="4165606" y="828236"/>
                  <a:pt x="4155095" y="833192"/>
                </a:cubicBezTo>
                <a:lnTo>
                  <a:pt x="4149563" y="835923"/>
                </a:lnTo>
                <a:lnTo>
                  <a:pt x="4237242" y="802442"/>
                </a:lnTo>
                <a:cubicBezTo>
                  <a:pt x="4254115" y="795968"/>
                  <a:pt x="4270986" y="789798"/>
                  <a:pt x="4288412" y="784639"/>
                </a:cubicBezTo>
                <a:lnTo>
                  <a:pt x="4320497" y="777558"/>
                </a:lnTo>
                <a:lnTo>
                  <a:pt x="4321326" y="777154"/>
                </a:lnTo>
                <a:cubicBezTo>
                  <a:pt x="4326030" y="775839"/>
                  <a:pt x="4330453" y="774220"/>
                  <a:pt x="4333220" y="767241"/>
                </a:cubicBezTo>
                <a:cubicBezTo>
                  <a:pt x="4379963" y="762487"/>
                  <a:pt x="4418409" y="730522"/>
                  <a:pt x="4465153" y="725768"/>
                </a:cubicBezTo>
                <a:cubicBezTo>
                  <a:pt x="4485620" y="711708"/>
                  <a:pt x="4511896" y="712416"/>
                  <a:pt x="4532088" y="695524"/>
                </a:cubicBezTo>
                <a:cubicBezTo>
                  <a:pt x="4550897" y="697648"/>
                  <a:pt x="4571087" y="683588"/>
                  <a:pt x="4597086" y="675698"/>
                </a:cubicBezTo>
                <a:cubicBezTo>
                  <a:pt x="4613681" y="671045"/>
                  <a:pt x="4632490" y="675900"/>
                  <a:pt x="4643554" y="659513"/>
                </a:cubicBezTo>
                <a:cubicBezTo>
                  <a:pt x="4664021" y="662649"/>
                  <a:pt x="4677022" y="655872"/>
                  <a:pt x="4690020" y="646161"/>
                </a:cubicBezTo>
                <a:cubicBezTo>
                  <a:pt x="4749765" y="640295"/>
                  <a:pt x="4807294" y="621885"/>
                  <a:pt x="4865378" y="612073"/>
                </a:cubicBezTo>
                <a:cubicBezTo>
                  <a:pt x="4868974" y="608432"/>
                  <a:pt x="4867039" y="607420"/>
                  <a:pt x="4868697" y="602767"/>
                </a:cubicBezTo>
                <a:cubicBezTo>
                  <a:pt x="4867314" y="615917"/>
                  <a:pt x="4900782" y="606611"/>
                  <a:pt x="4893038" y="602362"/>
                </a:cubicBezTo>
                <a:cubicBezTo>
                  <a:pt x="4941718" y="598620"/>
                  <a:pt x="5014460" y="588707"/>
                  <a:pt x="5057332" y="576063"/>
                </a:cubicBezTo>
                <a:cubicBezTo>
                  <a:pt x="5059268" y="574343"/>
                  <a:pt x="5066736" y="575759"/>
                  <a:pt x="5064800" y="577580"/>
                </a:cubicBezTo>
                <a:cubicBezTo>
                  <a:pt x="5072268" y="578996"/>
                  <a:pt x="5068396" y="573939"/>
                  <a:pt x="5073927" y="571410"/>
                </a:cubicBezTo>
                <a:cubicBezTo>
                  <a:pt x="5085267" y="574950"/>
                  <a:pt x="5104076" y="577074"/>
                  <a:pt x="5113203" y="568173"/>
                </a:cubicBezTo>
                <a:cubicBezTo>
                  <a:pt x="5145287" y="572017"/>
                  <a:pt x="5201159" y="561092"/>
                  <a:pt x="5231307" y="563823"/>
                </a:cubicBezTo>
                <a:cubicBezTo>
                  <a:pt x="5236839" y="561294"/>
                  <a:pt x="5242370" y="558766"/>
                  <a:pt x="5246244" y="558058"/>
                </a:cubicBezTo>
                <a:cubicBezTo>
                  <a:pt x="5253711" y="559474"/>
                  <a:pt x="5257306" y="561598"/>
                  <a:pt x="5263115" y="564835"/>
                </a:cubicBezTo>
                <a:cubicBezTo>
                  <a:pt x="5272519" y="561598"/>
                  <a:pt x="5285520" y="557552"/>
                  <a:pt x="5300454" y="563318"/>
                </a:cubicBezTo>
                <a:cubicBezTo>
                  <a:pt x="5296860" y="569690"/>
                  <a:pt x="5293263" y="570398"/>
                  <a:pt x="5299071" y="576467"/>
                </a:cubicBezTo>
                <a:cubicBezTo>
                  <a:pt x="5310135" y="574343"/>
                  <a:pt x="5302391" y="567161"/>
                  <a:pt x="5307922" y="561800"/>
                </a:cubicBezTo>
                <a:cubicBezTo>
                  <a:pt x="5320922" y="557855"/>
                  <a:pt x="5321199" y="569286"/>
                  <a:pt x="5327007" y="572522"/>
                </a:cubicBezTo>
                <a:cubicBezTo>
                  <a:pt x="5332262" y="555731"/>
                  <a:pt x="5352730" y="550269"/>
                  <a:pt x="5366283" y="566251"/>
                </a:cubicBezTo>
                <a:cubicBezTo>
                  <a:pt x="5375687" y="568780"/>
                  <a:pt x="5380942" y="557754"/>
                  <a:pt x="5388688" y="562003"/>
                </a:cubicBezTo>
                <a:cubicBezTo>
                  <a:pt x="5390346" y="560182"/>
                  <a:pt x="5393942" y="556540"/>
                  <a:pt x="5390346" y="554416"/>
                </a:cubicBezTo>
                <a:cubicBezTo>
                  <a:pt x="5397814" y="553000"/>
                  <a:pt x="5403347" y="559069"/>
                  <a:pt x="5408878" y="550876"/>
                </a:cubicBezTo>
                <a:cubicBezTo>
                  <a:pt x="5414686" y="554012"/>
                  <a:pt x="5433494" y="561800"/>
                  <a:pt x="5440686" y="551786"/>
                </a:cubicBezTo>
                <a:cubicBezTo>
                  <a:pt x="5444558" y="553910"/>
                  <a:pt x="5439026" y="559373"/>
                  <a:pt x="5442898" y="561497"/>
                </a:cubicBezTo>
                <a:cubicBezTo>
                  <a:pt x="5452027" y="555428"/>
                  <a:pt x="5461430" y="560688"/>
                  <a:pt x="5468898" y="550673"/>
                </a:cubicBezTo>
                <a:cubicBezTo>
                  <a:pt x="5474429" y="553809"/>
                  <a:pt x="5486046" y="560283"/>
                  <a:pt x="5485770" y="554517"/>
                </a:cubicBezTo>
                <a:cubicBezTo>
                  <a:pt x="5519514" y="556540"/>
                  <a:pt x="5558789" y="547538"/>
                  <a:pt x="5588938" y="558867"/>
                </a:cubicBezTo>
                <a:cubicBezTo>
                  <a:pt x="5594471" y="559271"/>
                  <a:pt x="5600001" y="559575"/>
                  <a:pt x="5605533" y="554214"/>
                </a:cubicBezTo>
                <a:cubicBezTo>
                  <a:pt x="5628490" y="569892"/>
                  <a:pt x="5682425" y="552292"/>
                  <a:pt x="5710914" y="571106"/>
                </a:cubicBezTo>
                <a:cubicBezTo>
                  <a:pt x="5716446" y="571511"/>
                  <a:pt x="5720318" y="565037"/>
                  <a:pt x="5725850" y="565442"/>
                </a:cubicBezTo>
                <a:cubicBezTo>
                  <a:pt x="5737190" y="568982"/>
                  <a:pt x="5731658" y="577175"/>
                  <a:pt x="5735530" y="582132"/>
                </a:cubicBezTo>
                <a:cubicBezTo>
                  <a:pt x="5748531" y="581019"/>
                  <a:pt x="5772594" y="563419"/>
                  <a:pt x="5778678" y="583750"/>
                </a:cubicBezTo>
                <a:cubicBezTo>
                  <a:pt x="5790019" y="584458"/>
                  <a:pt x="5799147" y="575557"/>
                  <a:pt x="5808550" y="575152"/>
                </a:cubicBezTo>
                <a:cubicBezTo>
                  <a:pt x="5810486" y="579097"/>
                  <a:pt x="5810486" y="581930"/>
                  <a:pt x="5814359" y="584054"/>
                </a:cubicBezTo>
                <a:cubicBezTo>
                  <a:pt x="5823486" y="577985"/>
                  <a:pt x="5851699" y="582536"/>
                  <a:pt x="5853911" y="595079"/>
                </a:cubicBezTo>
                <a:cubicBezTo>
                  <a:pt x="5866911" y="588201"/>
                  <a:pt x="5881847" y="591134"/>
                  <a:pt x="5896782" y="591033"/>
                </a:cubicBezTo>
                <a:cubicBezTo>
                  <a:pt x="5929420" y="617839"/>
                  <a:pt x="6006035" y="612882"/>
                  <a:pt x="6047800" y="639283"/>
                </a:cubicBezTo>
                <a:cubicBezTo>
                  <a:pt x="6051674" y="644239"/>
                  <a:pt x="6064672" y="634630"/>
                  <a:pt x="6062736" y="639283"/>
                </a:cubicBezTo>
                <a:cubicBezTo>
                  <a:pt x="6036737" y="647173"/>
                  <a:pt x="6001333" y="646971"/>
                  <a:pt x="5976717" y="638777"/>
                </a:cubicBezTo>
                <a:cubicBezTo>
                  <a:pt x="5967313" y="639182"/>
                  <a:pt x="5962058" y="650207"/>
                  <a:pt x="5963994" y="654152"/>
                </a:cubicBezTo>
                <a:cubicBezTo>
                  <a:pt x="5996079" y="660828"/>
                  <a:pt x="6022632" y="684397"/>
                  <a:pt x="6044759" y="671449"/>
                </a:cubicBezTo>
                <a:cubicBezTo>
                  <a:pt x="6050567" y="677519"/>
                  <a:pt x="6063843" y="682172"/>
                  <a:pt x="6064119" y="690770"/>
                </a:cubicBezTo>
                <a:cubicBezTo>
                  <a:pt x="6032035" y="681160"/>
                  <a:pt x="6007418" y="678631"/>
                  <a:pt x="5973674" y="668010"/>
                </a:cubicBezTo>
                <a:cubicBezTo>
                  <a:pt x="5968144" y="673371"/>
                  <a:pt x="5960675" y="672056"/>
                  <a:pt x="5955143" y="680250"/>
                </a:cubicBezTo>
                <a:cubicBezTo>
                  <a:pt x="5951547" y="686723"/>
                  <a:pt x="5964547" y="679845"/>
                  <a:pt x="5964547" y="685611"/>
                </a:cubicBezTo>
                <a:cubicBezTo>
                  <a:pt x="5960951" y="689151"/>
                  <a:pt x="5959293" y="690972"/>
                  <a:pt x="5955419" y="688848"/>
                </a:cubicBezTo>
                <a:cubicBezTo>
                  <a:pt x="5955419" y="691680"/>
                  <a:pt x="5959293" y="693905"/>
                  <a:pt x="5955696" y="697446"/>
                </a:cubicBezTo>
                <a:cubicBezTo>
                  <a:pt x="5965100" y="699974"/>
                  <a:pt x="5974228" y="690972"/>
                  <a:pt x="5987504" y="698457"/>
                </a:cubicBezTo>
                <a:cubicBezTo>
                  <a:pt x="5972569" y="701289"/>
                  <a:pt x="5984185" y="713428"/>
                  <a:pt x="5968972" y="713529"/>
                </a:cubicBezTo>
                <a:cubicBezTo>
                  <a:pt x="5972845" y="718485"/>
                  <a:pt x="5984185" y="722026"/>
                  <a:pt x="5973398" y="732849"/>
                </a:cubicBezTo>
                <a:cubicBezTo>
                  <a:pt x="5967590" y="729612"/>
                  <a:pt x="5972845" y="715653"/>
                  <a:pt x="5961781" y="726375"/>
                </a:cubicBezTo>
                <a:cubicBezTo>
                  <a:pt x="5958185" y="721419"/>
                  <a:pt x="5971185" y="717474"/>
                  <a:pt x="5963441" y="713225"/>
                </a:cubicBezTo>
                <a:cubicBezTo>
                  <a:pt x="5961504" y="712113"/>
                  <a:pt x="5957909" y="715653"/>
                  <a:pt x="5957909" y="718586"/>
                </a:cubicBezTo>
                <a:cubicBezTo>
                  <a:pt x="5946570" y="717878"/>
                  <a:pt x="5955973" y="708876"/>
                  <a:pt x="5948228" y="707460"/>
                </a:cubicBezTo>
                <a:cubicBezTo>
                  <a:pt x="5938824" y="707864"/>
                  <a:pt x="5950442" y="714237"/>
                  <a:pt x="5944909" y="719598"/>
                </a:cubicBezTo>
                <a:cubicBezTo>
                  <a:pt x="5933569" y="716058"/>
                  <a:pt x="5924165" y="719396"/>
                  <a:pt x="5916974" y="729410"/>
                </a:cubicBezTo>
                <a:cubicBezTo>
                  <a:pt x="5911166" y="714743"/>
                  <a:pt x="5896229" y="723341"/>
                  <a:pt x="5905357" y="711506"/>
                </a:cubicBezTo>
                <a:cubicBezTo>
                  <a:pt x="5886272" y="700885"/>
                  <a:pt x="5845337" y="714540"/>
                  <a:pt x="5850592" y="697749"/>
                </a:cubicBezTo>
                <a:cubicBezTo>
                  <a:pt x="5837316" y="693096"/>
                  <a:pt x="5843402" y="707763"/>
                  <a:pt x="5832061" y="701289"/>
                </a:cubicBezTo>
                <a:cubicBezTo>
                  <a:pt x="5831784" y="692793"/>
                  <a:pt x="5839528" y="699873"/>
                  <a:pt x="5843124" y="696333"/>
                </a:cubicBezTo>
                <a:cubicBezTo>
                  <a:pt x="5844784" y="683082"/>
                  <a:pt x="5820720" y="694917"/>
                  <a:pt x="5818507" y="688140"/>
                </a:cubicBezTo>
                <a:cubicBezTo>
                  <a:pt x="5812977" y="693501"/>
                  <a:pt x="5814913" y="694512"/>
                  <a:pt x="5809657" y="702807"/>
                </a:cubicBezTo>
                <a:cubicBezTo>
                  <a:pt x="5805784" y="700682"/>
                  <a:pt x="5803848" y="699671"/>
                  <a:pt x="5800252" y="700379"/>
                </a:cubicBezTo>
                <a:cubicBezTo>
                  <a:pt x="5801912" y="692894"/>
                  <a:pt x="5807444" y="696131"/>
                  <a:pt x="5811316" y="692489"/>
                </a:cubicBezTo>
                <a:cubicBezTo>
                  <a:pt x="5807444" y="693197"/>
                  <a:pt x="5805508" y="692085"/>
                  <a:pt x="5803848" y="691073"/>
                </a:cubicBezTo>
                <a:cubicBezTo>
                  <a:pt x="5799976" y="691781"/>
                  <a:pt x="5803848" y="693905"/>
                  <a:pt x="5800252" y="697446"/>
                </a:cubicBezTo>
                <a:cubicBezTo>
                  <a:pt x="5779232" y="685712"/>
                  <a:pt x="5756551" y="681464"/>
                  <a:pt x="5734424" y="688747"/>
                </a:cubicBezTo>
                <a:cubicBezTo>
                  <a:pt x="5728616" y="682677"/>
                  <a:pt x="5721149" y="684195"/>
                  <a:pt x="5713680" y="685611"/>
                </a:cubicBezTo>
                <a:cubicBezTo>
                  <a:pt x="5711744" y="687432"/>
                  <a:pt x="5708148" y="690972"/>
                  <a:pt x="5710084" y="691983"/>
                </a:cubicBezTo>
                <a:cubicBezTo>
                  <a:pt x="5702340" y="681969"/>
                  <a:pt x="5674127" y="677417"/>
                  <a:pt x="5657532" y="685004"/>
                </a:cubicBezTo>
                <a:cubicBezTo>
                  <a:pt x="5662787" y="679643"/>
                  <a:pt x="5655319" y="681160"/>
                  <a:pt x="5657255" y="676507"/>
                </a:cubicBezTo>
                <a:cubicBezTo>
                  <a:pt x="5625448" y="678328"/>
                  <a:pt x="5603044" y="676912"/>
                  <a:pt x="5572896" y="671348"/>
                </a:cubicBezTo>
                <a:cubicBezTo>
                  <a:pt x="5569300" y="674889"/>
                  <a:pt x="5576769" y="679137"/>
                  <a:pt x="5567364" y="676709"/>
                </a:cubicBezTo>
                <a:cubicBezTo>
                  <a:pt x="5565427" y="678429"/>
                  <a:pt x="5567364" y="679542"/>
                  <a:pt x="5565704" y="681362"/>
                </a:cubicBezTo>
                <a:cubicBezTo>
                  <a:pt x="5575108" y="686622"/>
                  <a:pt x="5574833" y="678024"/>
                  <a:pt x="5580363" y="678429"/>
                </a:cubicBezTo>
                <a:cubicBezTo>
                  <a:pt x="5582299" y="679440"/>
                  <a:pt x="5586172" y="681565"/>
                  <a:pt x="5586172" y="684397"/>
                </a:cubicBezTo>
                <a:cubicBezTo>
                  <a:pt x="5565704" y="689859"/>
                  <a:pt x="5545237" y="689556"/>
                  <a:pt x="5522556" y="688241"/>
                </a:cubicBezTo>
                <a:cubicBezTo>
                  <a:pt x="5517302" y="696434"/>
                  <a:pt x="5530301" y="689556"/>
                  <a:pt x="5522833" y="696738"/>
                </a:cubicBezTo>
                <a:cubicBezTo>
                  <a:pt x="5500152" y="692590"/>
                  <a:pt x="5477749" y="694006"/>
                  <a:pt x="5457557" y="702301"/>
                </a:cubicBezTo>
                <a:cubicBezTo>
                  <a:pt x="5453963" y="708775"/>
                  <a:pt x="5465025" y="709483"/>
                  <a:pt x="5459771" y="717777"/>
                </a:cubicBezTo>
                <a:cubicBezTo>
                  <a:pt x="5478578" y="719901"/>
                  <a:pt x="5495450" y="723644"/>
                  <a:pt x="5508451" y="719699"/>
                </a:cubicBezTo>
                <a:cubicBezTo>
                  <a:pt x="5512599" y="733254"/>
                  <a:pt x="5527258" y="721823"/>
                  <a:pt x="5544130" y="720003"/>
                </a:cubicBezTo>
                <a:cubicBezTo>
                  <a:pt x="5561003" y="721014"/>
                  <a:pt x="5583684" y="728095"/>
                  <a:pt x="5604151" y="728398"/>
                </a:cubicBezTo>
                <a:cubicBezTo>
                  <a:pt x="5622958" y="727690"/>
                  <a:pt x="5649234" y="734063"/>
                  <a:pt x="5666383" y="740739"/>
                </a:cubicBezTo>
                <a:cubicBezTo>
                  <a:pt x="5669979" y="742964"/>
                  <a:pt x="5673574" y="736490"/>
                  <a:pt x="5681320" y="737907"/>
                </a:cubicBezTo>
                <a:cubicBezTo>
                  <a:pt x="5679384" y="742560"/>
                  <a:pt x="5684914" y="742863"/>
                  <a:pt x="5686851" y="743875"/>
                </a:cubicBezTo>
                <a:cubicBezTo>
                  <a:pt x="5705383" y="734569"/>
                  <a:pt x="5720871" y="748831"/>
                  <a:pt x="5739403" y="739525"/>
                </a:cubicBezTo>
                <a:cubicBezTo>
                  <a:pt x="5794168" y="759047"/>
                  <a:pt x="5842571" y="752473"/>
                  <a:pt x="5886272" y="777053"/>
                </a:cubicBezTo>
                <a:cubicBezTo>
                  <a:pt x="5893740" y="778469"/>
                  <a:pt x="5901208" y="774119"/>
                  <a:pt x="5908676" y="775535"/>
                </a:cubicBezTo>
                <a:cubicBezTo>
                  <a:pt x="5895954" y="785246"/>
                  <a:pt x="5912825" y="786257"/>
                  <a:pt x="5918356" y="789494"/>
                </a:cubicBezTo>
                <a:cubicBezTo>
                  <a:pt x="5894293" y="798497"/>
                  <a:pt x="5858336" y="783931"/>
                  <a:pt x="5826529" y="780087"/>
                </a:cubicBezTo>
                <a:cubicBezTo>
                  <a:pt x="5822933" y="783627"/>
                  <a:pt x="5828465" y="783931"/>
                  <a:pt x="5830401" y="784942"/>
                </a:cubicBezTo>
                <a:cubicBezTo>
                  <a:pt x="5802190" y="788989"/>
                  <a:pt x="5780891" y="757227"/>
                  <a:pt x="5766232" y="765825"/>
                </a:cubicBezTo>
                <a:cubicBezTo>
                  <a:pt x="5752679" y="749843"/>
                  <a:pt x="5696808" y="763498"/>
                  <a:pt x="5690723" y="745999"/>
                </a:cubicBezTo>
                <a:cubicBezTo>
                  <a:pt x="5673851" y="744987"/>
                  <a:pt x="5672191" y="746808"/>
                  <a:pt x="5656979" y="743976"/>
                </a:cubicBezTo>
                <a:cubicBezTo>
                  <a:pt x="5653107" y="741852"/>
                  <a:pt x="5657255" y="749741"/>
                  <a:pt x="5659191" y="750753"/>
                </a:cubicBezTo>
                <a:cubicBezTo>
                  <a:pt x="5597235" y="749843"/>
                  <a:pt x="5546619" y="746808"/>
                  <a:pt x="5486599" y="744077"/>
                </a:cubicBezTo>
                <a:cubicBezTo>
                  <a:pt x="5477473" y="755912"/>
                  <a:pt x="5499876" y="757328"/>
                  <a:pt x="5503748" y="759452"/>
                </a:cubicBezTo>
                <a:cubicBezTo>
                  <a:pt x="5515088" y="760160"/>
                  <a:pt x="5539152" y="753990"/>
                  <a:pt x="5557960" y="756013"/>
                </a:cubicBezTo>
                <a:cubicBezTo>
                  <a:pt x="5582299" y="758441"/>
                  <a:pt x="5604980" y="759857"/>
                  <a:pt x="5621853" y="760868"/>
                </a:cubicBezTo>
                <a:cubicBezTo>
                  <a:pt x="5636788" y="760868"/>
                  <a:pt x="5650064" y="768353"/>
                  <a:pt x="5665000" y="768252"/>
                </a:cubicBezTo>
                <a:cubicBezTo>
                  <a:pt x="5697084" y="772096"/>
                  <a:pt x="5728893" y="770275"/>
                  <a:pt x="5757104" y="774928"/>
                </a:cubicBezTo>
                <a:cubicBezTo>
                  <a:pt x="5788912" y="781604"/>
                  <a:pt x="5819061" y="790101"/>
                  <a:pt x="5847549" y="797485"/>
                </a:cubicBezTo>
                <a:cubicBezTo>
                  <a:pt x="5757381" y="792023"/>
                  <a:pt x="5670533" y="762992"/>
                  <a:pt x="5584513" y="768151"/>
                </a:cubicBezTo>
                <a:cubicBezTo>
                  <a:pt x="5561832" y="763903"/>
                  <a:pt x="5539428" y="765420"/>
                  <a:pt x="5517024" y="761172"/>
                </a:cubicBezTo>
                <a:cubicBezTo>
                  <a:pt x="5515088" y="760160"/>
                  <a:pt x="5509556" y="762689"/>
                  <a:pt x="5507620" y="764510"/>
                </a:cubicBezTo>
                <a:cubicBezTo>
                  <a:pt x="5462536" y="756013"/>
                  <a:pt x="5444005" y="768151"/>
                  <a:pt x="5398644" y="753990"/>
                </a:cubicBezTo>
                <a:cubicBezTo>
                  <a:pt x="5421049" y="749640"/>
                  <a:pt x="5447600" y="756013"/>
                  <a:pt x="5468068" y="750551"/>
                </a:cubicBezTo>
                <a:cubicBezTo>
                  <a:pt x="5441515" y="744279"/>
                  <a:pt x="5407772" y="745088"/>
                  <a:pt x="5376240" y="749843"/>
                </a:cubicBezTo>
                <a:cubicBezTo>
                  <a:pt x="5342219" y="744886"/>
                  <a:pt x="5308476" y="742762"/>
                  <a:pt x="5276944" y="750449"/>
                </a:cubicBezTo>
                <a:cubicBezTo>
                  <a:pt x="5261732" y="741852"/>
                  <a:pt x="5237393" y="748022"/>
                  <a:pt x="5222733" y="753788"/>
                </a:cubicBezTo>
                <a:cubicBezTo>
                  <a:pt x="5201989" y="750652"/>
                  <a:pt x="5159117" y="757530"/>
                  <a:pt x="5129246" y="763296"/>
                </a:cubicBezTo>
                <a:cubicBezTo>
                  <a:pt x="5097437" y="759452"/>
                  <a:pt x="5067566" y="770983"/>
                  <a:pt x="5035758" y="772804"/>
                </a:cubicBezTo>
                <a:cubicBezTo>
                  <a:pt x="5041566" y="784639"/>
                  <a:pt x="5059821" y="766735"/>
                  <a:pt x="5063971" y="777457"/>
                </a:cubicBezTo>
                <a:cubicBezTo>
                  <a:pt x="5159117" y="763195"/>
                  <a:pt x="5230201" y="752371"/>
                  <a:pt x="5320370" y="760666"/>
                </a:cubicBezTo>
                <a:cubicBezTo>
                  <a:pt x="5264221" y="765825"/>
                  <a:pt x="5217477" y="773411"/>
                  <a:pt x="5157734" y="776446"/>
                </a:cubicBezTo>
                <a:cubicBezTo>
                  <a:pt x="5153863" y="779986"/>
                  <a:pt x="5155798" y="781099"/>
                  <a:pt x="5159670" y="783223"/>
                </a:cubicBezTo>
                <a:cubicBezTo>
                  <a:pt x="5142798" y="779379"/>
                  <a:pt x="5129799" y="783324"/>
                  <a:pt x="5109054" y="783021"/>
                </a:cubicBezTo>
                <a:cubicBezTo>
                  <a:pt x="5105458" y="786662"/>
                  <a:pt x="5103522" y="791315"/>
                  <a:pt x="5101864" y="790202"/>
                </a:cubicBezTo>
                <a:cubicBezTo>
                  <a:pt x="5130353" y="806286"/>
                  <a:pt x="5179862" y="772096"/>
                  <a:pt x="5216094" y="795260"/>
                </a:cubicBezTo>
                <a:cubicBezTo>
                  <a:pt x="5223563" y="788078"/>
                  <a:pt x="5212222" y="787370"/>
                  <a:pt x="5212222" y="784538"/>
                </a:cubicBezTo>
                <a:cubicBezTo>
                  <a:pt x="5217477" y="776243"/>
                  <a:pt x="5225222" y="786359"/>
                  <a:pt x="5226881" y="775940"/>
                </a:cubicBezTo>
                <a:cubicBezTo>
                  <a:pt x="5240158" y="780593"/>
                  <a:pt x="5251498" y="781200"/>
                  <a:pt x="5264498" y="780087"/>
                </a:cubicBezTo>
                <a:cubicBezTo>
                  <a:pt x="5273902" y="785448"/>
                  <a:pt x="5255095" y="783324"/>
                  <a:pt x="5255370" y="789090"/>
                </a:cubicBezTo>
                <a:cubicBezTo>
                  <a:pt x="5294923" y="797182"/>
                  <a:pt x="5328667" y="796373"/>
                  <a:pt x="5375134" y="791619"/>
                </a:cubicBezTo>
                <a:cubicBezTo>
                  <a:pt x="5379006" y="787977"/>
                  <a:pt x="5365730" y="789191"/>
                  <a:pt x="5362135" y="787067"/>
                </a:cubicBezTo>
                <a:cubicBezTo>
                  <a:pt x="5373198" y="779177"/>
                  <a:pt x="5384261" y="779784"/>
                  <a:pt x="5386474" y="789494"/>
                </a:cubicBezTo>
                <a:cubicBezTo>
                  <a:pt x="5384538" y="791214"/>
                  <a:pt x="5380942" y="789090"/>
                  <a:pt x="5379006" y="790910"/>
                </a:cubicBezTo>
                <a:cubicBezTo>
                  <a:pt x="5386750" y="800925"/>
                  <a:pt x="5426026" y="794754"/>
                  <a:pt x="5439026" y="796474"/>
                </a:cubicBezTo>
                <a:cubicBezTo>
                  <a:pt x="5442622" y="787168"/>
                  <a:pt x="5439026" y="787876"/>
                  <a:pt x="5435154" y="785752"/>
                </a:cubicBezTo>
                <a:cubicBezTo>
                  <a:pt x="5492685" y="770275"/>
                  <a:pt x="5529471" y="819133"/>
                  <a:pt x="5585342" y="805375"/>
                </a:cubicBezTo>
                <a:cubicBezTo>
                  <a:pt x="5591150" y="808612"/>
                  <a:pt x="5589214" y="813266"/>
                  <a:pt x="5591150" y="817109"/>
                </a:cubicBezTo>
                <a:cubicBezTo>
                  <a:pt x="5600555" y="813873"/>
                  <a:pt x="5606086" y="814277"/>
                  <a:pt x="5611895" y="820347"/>
                </a:cubicBezTo>
                <a:cubicBezTo>
                  <a:pt x="5619363" y="813164"/>
                  <a:pt x="5632639" y="817716"/>
                  <a:pt x="5641766" y="811647"/>
                </a:cubicBezTo>
                <a:cubicBezTo>
                  <a:pt x="5660851" y="828033"/>
                  <a:pt x="5679659" y="832991"/>
                  <a:pt x="5704276" y="841183"/>
                </a:cubicBezTo>
                <a:cubicBezTo>
                  <a:pt x="5696808" y="845432"/>
                  <a:pt x="5689340" y="841285"/>
                  <a:pt x="5683808" y="843813"/>
                </a:cubicBezTo>
                <a:cubicBezTo>
                  <a:pt x="5684085" y="855243"/>
                  <a:pt x="5698744" y="843712"/>
                  <a:pt x="5700958" y="856255"/>
                </a:cubicBezTo>
                <a:cubicBezTo>
                  <a:pt x="5708425" y="857571"/>
                  <a:pt x="5702616" y="851602"/>
                  <a:pt x="5704552" y="849781"/>
                </a:cubicBezTo>
                <a:cubicBezTo>
                  <a:pt x="5772317" y="873957"/>
                  <a:pt x="5853081" y="879722"/>
                  <a:pt x="5909782" y="900357"/>
                </a:cubicBezTo>
                <a:cubicBezTo>
                  <a:pt x="5855571" y="900863"/>
                  <a:pt x="5815465" y="872643"/>
                  <a:pt x="5761253" y="876081"/>
                </a:cubicBezTo>
                <a:cubicBezTo>
                  <a:pt x="5732764" y="862831"/>
                  <a:pt x="5689617" y="861211"/>
                  <a:pt x="5658085" y="865966"/>
                </a:cubicBezTo>
                <a:cubicBezTo>
                  <a:pt x="5665554" y="873046"/>
                  <a:pt x="5693489" y="860503"/>
                  <a:pt x="5699574" y="875171"/>
                </a:cubicBezTo>
                <a:cubicBezTo>
                  <a:pt x="5747977" y="871429"/>
                  <a:pt x="5788082" y="905314"/>
                  <a:pt x="5840635" y="900863"/>
                </a:cubicBezTo>
                <a:cubicBezTo>
                  <a:pt x="5844507" y="905921"/>
                  <a:pt x="5865251" y="917553"/>
                  <a:pt x="5874380" y="911484"/>
                </a:cubicBezTo>
                <a:cubicBezTo>
                  <a:pt x="5880188" y="917553"/>
                  <a:pt x="5882124" y="918666"/>
                  <a:pt x="5893464" y="925140"/>
                </a:cubicBezTo>
                <a:cubicBezTo>
                  <a:pt x="5859719" y="923015"/>
                  <a:pt x="5816295" y="901269"/>
                  <a:pt x="5790019" y="906325"/>
                </a:cubicBezTo>
                <a:cubicBezTo>
                  <a:pt x="5793614" y="894188"/>
                  <a:pt x="5771487" y="907135"/>
                  <a:pt x="5765679" y="898234"/>
                </a:cubicBezTo>
                <a:cubicBezTo>
                  <a:pt x="5762083" y="904606"/>
                  <a:pt x="5767615" y="907843"/>
                  <a:pt x="5769551" y="911788"/>
                </a:cubicBezTo>
                <a:cubicBezTo>
                  <a:pt x="5775359" y="915024"/>
                  <a:pt x="5777019" y="907539"/>
                  <a:pt x="5786424" y="912900"/>
                </a:cubicBezTo>
                <a:cubicBezTo>
                  <a:pt x="5771764" y="918666"/>
                  <a:pt x="5792232" y="916037"/>
                  <a:pt x="5796104" y="920993"/>
                </a:cubicBezTo>
                <a:cubicBezTo>
                  <a:pt x="5792508" y="930298"/>
                  <a:pt x="5784763" y="923218"/>
                  <a:pt x="5779232" y="928579"/>
                </a:cubicBezTo>
                <a:cubicBezTo>
                  <a:pt x="5781168" y="929692"/>
                  <a:pt x="5785040" y="931816"/>
                  <a:pt x="5786976" y="932827"/>
                </a:cubicBezTo>
                <a:cubicBezTo>
                  <a:pt x="5792508" y="933232"/>
                  <a:pt x="5794168" y="922814"/>
                  <a:pt x="5799976" y="923118"/>
                </a:cubicBezTo>
                <a:cubicBezTo>
                  <a:pt x="5805508" y="926354"/>
                  <a:pt x="5805784" y="929288"/>
                  <a:pt x="5814913" y="928882"/>
                </a:cubicBezTo>
                <a:cubicBezTo>
                  <a:pt x="5798316" y="939301"/>
                  <a:pt x="5826805" y="952451"/>
                  <a:pt x="5839805" y="945572"/>
                </a:cubicBezTo>
                <a:cubicBezTo>
                  <a:pt x="5841464" y="938087"/>
                  <a:pt x="5828465" y="942032"/>
                  <a:pt x="5828189" y="933434"/>
                </a:cubicBezTo>
                <a:cubicBezTo>
                  <a:pt x="5831784" y="929895"/>
                  <a:pt x="5833720" y="925242"/>
                  <a:pt x="5837316" y="924533"/>
                </a:cubicBezTo>
                <a:cubicBezTo>
                  <a:pt x="5854188" y="925544"/>
                  <a:pt x="5862209" y="941223"/>
                  <a:pt x="5876868" y="938289"/>
                </a:cubicBezTo>
                <a:cubicBezTo>
                  <a:pt x="5866081" y="946179"/>
                  <a:pt x="5873825" y="959128"/>
                  <a:pt x="5892357" y="955486"/>
                </a:cubicBezTo>
                <a:cubicBezTo>
                  <a:pt x="5896229" y="951945"/>
                  <a:pt x="5890421" y="951540"/>
                  <a:pt x="5884889" y="948305"/>
                </a:cubicBezTo>
                <a:cubicBezTo>
                  <a:pt x="5892357" y="946887"/>
                  <a:pt x="5903697" y="953361"/>
                  <a:pt x="5911166" y="954777"/>
                </a:cubicBezTo>
                <a:cubicBezTo>
                  <a:pt x="5896229" y="963375"/>
                  <a:pt x="5916974" y="966512"/>
                  <a:pt x="5930250" y="968231"/>
                </a:cubicBezTo>
                <a:cubicBezTo>
                  <a:pt x="5933845" y="970355"/>
                  <a:pt x="5935781" y="974300"/>
                  <a:pt x="5941591" y="977435"/>
                </a:cubicBezTo>
                <a:cubicBezTo>
                  <a:pt x="5986674" y="983101"/>
                  <a:pt x="6009909" y="1007378"/>
                  <a:pt x="6053056" y="1014762"/>
                </a:cubicBezTo>
                <a:lnTo>
                  <a:pt x="6056630" y="1024657"/>
                </a:lnTo>
                <a:lnTo>
                  <a:pt x="6061599" y="1024603"/>
                </a:lnTo>
                <a:lnTo>
                  <a:pt x="6063813" y="1024185"/>
                </a:lnTo>
                <a:lnTo>
                  <a:pt x="6064119" y="1024575"/>
                </a:lnTo>
                <a:lnTo>
                  <a:pt x="6559382" y="1019163"/>
                </a:lnTo>
                <a:lnTo>
                  <a:pt x="6761434" y="1022171"/>
                </a:lnTo>
                <a:lnTo>
                  <a:pt x="6930623" y="988926"/>
                </a:lnTo>
                <a:cubicBezTo>
                  <a:pt x="7091709" y="963129"/>
                  <a:pt x="7255280" y="948363"/>
                  <a:pt x="7421000" y="943537"/>
                </a:cubicBezTo>
                <a:cubicBezTo>
                  <a:pt x="7618833" y="940316"/>
                  <a:pt x="7809733" y="973073"/>
                  <a:pt x="7994126" y="1036915"/>
                </a:cubicBezTo>
                <a:lnTo>
                  <a:pt x="8101314" y="1080451"/>
                </a:lnTo>
                <a:lnTo>
                  <a:pt x="8198946" y="1087156"/>
                </a:lnTo>
                <a:lnTo>
                  <a:pt x="8288576" y="1094982"/>
                </a:lnTo>
                <a:lnTo>
                  <a:pt x="8411432" y="1048209"/>
                </a:lnTo>
                <a:cubicBezTo>
                  <a:pt x="8632766" y="960229"/>
                  <a:pt x="8853671" y="865102"/>
                  <a:pt x="9081512" y="794508"/>
                </a:cubicBezTo>
                <a:cubicBezTo>
                  <a:pt x="9315158" y="719403"/>
                  <a:pt x="9556969" y="726608"/>
                  <a:pt x="9798615" y="893515"/>
                </a:cubicBezTo>
                <a:cubicBezTo>
                  <a:pt x="9905265" y="970245"/>
                  <a:pt x="10010874" y="1056649"/>
                  <a:pt x="10112881" y="1136986"/>
                </a:cubicBezTo>
                <a:cubicBezTo>
                  <a:pt x="10124730" y="1145512"/>
                  <a:pt x="10128334" y="1151579"/>
                  <a:pt x="10140185" y="1160103"/>
                </a:cubicBezTo>
                <a:cubicBezTo>
                  <a:pt x="10121608" y="1174533"/>
                  <a:pt x="10103031" y="1188962"/>
                  <a:pt x="10065878" y="1217822"/>
                </a:cubicBezTo>
                <a:cubicBezTo>
                  <a:pt x="10178214" y="1281272"/>
                  <a:pt x="10275097" y="1330127"/>
                  <a:pt x="10383830" y="1387511"/>
                </a:cubicBezTo>
                <a:cubicBezTo>
                  <a:pt x="10325059" y="1379971"/>
                  <a:pt x="10282783" y="1377348"/>
                  <a:pt x="10232259" y="1372267"/>
                </a:cubicBezTo>
                <a:cubicBezTo>
                  <a:pt x="10240986" y="1409815"/>
                  <a:pt x="10251793" y="1428013"/>
                  <a:pt x="10257959" y="1449821"/>
                </a:cubicBezTo>
                <a:cubicBezTo>
                  <a:pt x="10147624" y="1446874"/>
                  <a:pt x="10050178" y="1442779"/>
                  <a:pt x="9948088" y="1442291"/>
                </a:cubicBezTo>
                <a:cubicBezTo>
                  <a:pt x="9987242" y="1473934"/>
                  <a:pt x="10029519" y="1476556"/>
                  <a:pt x="10061465" y="1496066"/>
                </a:cubicBezTo>
                <a:cubicBezTo>
                  <a:pt x="10085166" y="1513117"/>
                  <a:pt x="10102140" y="1553124"/>
                  <a:pt x="10103660" y="1578537"/>
                </a:cubicBezTo>
                <a:cubicBezTo>
                  <a:pt x="10110866" y="1590671"/>
                  <a:pt x="10081961" y="1621989"/>
                  <a:pt x="10064425" y="1626744"/>
                </a:cubicBezTo>
                <a:cubicBezTo>
                  <a:pt x="9988118" y="1623960"/>
                  <a:pt x="9916456" y="1617569"/>
                  <a:pt x="9828300" y="1606257"/>
                </a:cubicBezTo>
                <a:cubicBezTo>
                  <a:pt x="9861768" y="1651182"/>
                  <a:pt x="9880823" y="1671841"/>
                  <a:pt x="9899880" y="1692499"/>
                </a:cubicBezTo>
                <a:cubicBezTo>
                  <a:pt x="9803436" y="1718655"/>
                  <a:pt x="9707510" y="1739974"/>
                  <a:pt x="9612617" y="1761601"/>
                </a:cubicBezTo>
                <a:lnTo>
                  <a:pt x="9575008" y="1770454"/>
                </a:lnTo>
                <a:lnTo>
                  <a:pt x="9506499" y="1835712"/>
                </a:lnTo>
                <a:cubicBezTo>
                  <a:pt x="9422785" y="1907303"/>
                  <a:pt x="9331391" y="1962837"/>
                  <a:pt x="9233671" y="2010761"/>
                </a:cubicBezTo>
                <a:lnTo>
                  <a:pt x="9211021" y="2021135"/>
                </a:lnTo>
                <a:lnTo>
                  <a:pt x="9223104" y="2040399"/>
                </a:lnTo>
                <a:lnTo>
                  <a:pt x="9264816" y="2037295"/>
                </a:lnTo>
                <a:cubicBezTo>
                  <a:pt x="9387022" y="2028806"/>
                  <a:pt x="9508970" y="2022735"/>
                  <a:pt x="9629874" y="2026338"/>
                </a:cubicBezTo>
                <a:cubicBezTo>
                  <a:pt x="9926853" y="2035016"/>
                  <a:pt x="10207899" y="1994014"/>
                  <a:pt x="10482302" y="1896119"/>
                </a:cubicBezTo>
                <a:cubicBezTo>
                  <a:pt x="10755662" y="1807898"/>
                  <a:pt x="11027503" y="1694260"/>
                  <a:pt x="11300863" y="1606039"/>
                </a:cubicBezTo>
                <a:cubicBezTo>
                  <a:pt x="11446832" y="1554711"/>
                  <a:pt x="11590718" y="1522733"/>
                  <a:pt x="11723317" y="1437467"/>
                </a:cubicBezTo>
                <a:cubicBezTo>
                  <a:pt x="11804830" y="1391883"/>
                  <a:pt x="11916205" y="1385156"/>
                  <a:pt x="12014693" y="1379578"/>
                </a:cubicBezTo>
                <a:cubicBezTo>
                  <a:pt x="12053367" y="1376133"/>
                  <a:pt x="12103328" y="1425977"/>
                  <a:pt x="12155373" y="1456472"/>
                </a:cubicBezTo>
                <a:cubicBezTo>
                  <a:pt x="12087794" y="1491234"/>
                  <a:pt x="12033104" y="1524848"/>
                  <a:pt x="11955195" y="1576499"/>
                </a:cubicBezTo>
                <a:cubicBezTo>
                  <a:pt x="12069134" y="1585512"/>
                  <a:pt x="12153688" y="1590756"/>
                  <a:pt x="12238241" y="1596000"/>
                </a:cubicBezTo>
                <a:cubicBezTo>
                  <a:pt x="12237200" y="1605674"/>
                  <a:pt x="12244405" y="1617808"/>
                  <a:pt x="12243364" y="1627481"/>
                </a:cubicBezTo>
                <a:cubicBezTo>
                  <a:pt x="12058161" y="1727013"/>
                  <a:pt x="11881202" y="1829004"/>
                  <a:pt x="11699602" y="1934603"/>
                </a:cubicBezTo>
                <a:cubicBezTo>
                  <a:pt x="11676381" y="1952641"/>
                  <a:pt x="11649558" y="1964611"/>
                  <a:pt x="11621691" y="1986254"/>
                </a:cubicBezTo>
                <a:cubicBezTo>
                  <a:pt x="11595910" y="1988551"/>
                  <a:pt x="11570128" y="1990847"/>
                  <a:pt x="11546906" y="2008884"/>
                </a:cubicBezTo>
                <a:cubicBezTo>
                  <a:pt x="11462366" y="2052942"/>
                  <a:pt x="11376633" y="2094187"/>
                  <a:pt x="11289879" y="2132835"/>
                </a:cubicBezTo>
                <a:lnTo>
                  <a:pt x="11176078" y="2179701"/>
                </a:lnTo>
                <a:lnTo>
                  <a:pt x="11179269" y="2203953"/>
                </a:lnTo>
                <a:cubicBezTo>
                  <a:pt x="11184800" y="2206482"/>
                  <a:pt x="11186459" y="2208303"/>
                  <a:pt x="11188119" y="2212956"/>
                </a:cubicBezTo>
                <a:cubicBezTo>
                  <a:pt x="11177055" y="2249674"/>
                  <a:pt x="11201395" y="2297924"/>
                  <a:pt x="11186736" y="2331001"/>
                </a:cubicBezTo>
                <a:cubicBezTo>
                  <a:pt x="11193375" y="2352546"/>
                  <a:pt x="11198077" y="2372271"/>
                  <a:pt x="11185907" y="2392805"/>
                </a:cubicBezTo>
                <a:cubicBezTo>
                  <a:pt x="11193375" y="2436199"/>
                  <a:pt x="11178439" y="2480706"/>
                  <a:pt x="11180375" y="2524404"/>
                </a:cubicBezTo>
                <a:cubicBezTo>
                  <a:pt x="11189502" y="2530574"/>
                  <a:pt x="11180651" y="2515907"/>
                  <a:pt x="11191715" y="2523898"/>
                </a:cubicBezTo>
                <a:cubicBezTo>
                  <a:pt x="11193098" y="2534317"/>
                  <a:pt x="11183417" y="2539476"/>
                  <a:pt x="11175673" y="2546556"/>
                </a:cubicBezTo>
                <a:cubicBezTo>
                  <a:pt x="11170971" y="2562943"/>
                  <a:pt x="11181757" y="2573868"/>
                  <a:pt x="11173737" y="2589445"/>
                </a:cubicBezTo>
                <a:cubicBezTo>
                  <a:pt x="11167928" y="2595514"/>
                  <a:pt x="11160737" y="2588130"/>
                  <a:pt x="11158524" y="2594907"/>
                </a:cubicBezTo>
                <a:cubicBezTo>
                  <a:pt x="11165715" y="2602190"/>
                  <a:pt x="11163779" y="2606135"/>
                  <a:pt x="11176503" y="2610282"/>
                </a:cubicBezTo>
                <a:cubicBezTo>
                  <a:pt x="11170971" y="2613418"/>
                  <a:pt x="11172353" y="2620903"/>
                  <a:pt x="11176226" y="2618779"/>
                </a:cubicBezTo>
                <a:cubicBezTo>
                  <a:pt x="11177885" y="2623533"/>
                  <a:pt x="11164609" y="2627984"/>
                  <a:pt x="11162397" y="2634761"/>
                </a:cubicBezTo>
                <a:cubicBezTo>
                  <a:pt x="11165992" y="2638403"/>
                  <a:pt x="11166545" y="2626973"/>
                  <a:pt x="11171801" y="2635267"/>
                </a:cubicBezTo>
                <a:cubicBezTo>
                  <a:pt x="11169864" y="2636279"/>
                  <a:pt x="11173460" y="2636987"/>
                  <a:pt x="11175396" y="2638807"/>
                </a:cubicBezTo>
                <a:cubicBezTo>
                  <a:pt x="11152439" y="2651350"/>
                  <a:pt x="11160737" y="2674717"/>
                  <a:pt x="11150503" y="2691407"/>
                </a:cubicBezTo>
                <a:cubicBezTo>
                  <a:pt x="11152439" y="2693227"/>
                  <a:pt x="11156035" y="2694037"/>
                  <a:pt x="11157971" y="2695857"/>
                </a:cubicBezTo>
                <a:cubicBezTo>
                  <a:pt x="11144695" y="2694644"/>
                  <a:pt x="11131695" y="2740971"/>
                  <a:pt x="11140269" y="2755740"/>
                </a:cubicBezTo>
                <a:cubicBezTo>
                  <a:pt x="11110398" y="2800044"/>
                  <a:pt x="11112057" y="2843641"/>
                  <a:pt x="11085781" y="2888755"/>
                </a:cubicBezTo>
                <a:cubicBezTo>
                  <a:pt x="11085504" y="2894420"/>
                  <a:pt x="11095185" y="2889261"/>
                  <a:pt x="11098781" y="2895735"/>
                </a:cubicBezTo>
                <a:cubicBezTo>
                  <a:pt x="11091036" y="2897050"/>
                  <a:pt x="11090760" y="2908480"/>
                  <a:pt x="11079696" y="2903321"/>
                </a:cubicBezTo>
                <a:cubicBezTo>
                  <a:pt x="11081079" y="2916572"/>
                  <a:pt x="11055633" y="2935892"/>
                  <a:pt x="11064760" y="2944996"/>
                </a:cubicBezTo>
                <a:cubicBezTo>
                  <a:pt x="11068079" y="2951470"/>
                  <a:pt x="11057292" y="2946210"/>
                  <a:pt x="11057016" y="2951975"/>
                </a:cubicBezTo>
                <a:cubicBezTo>
                  <a:pt x="11054803" y="2955920"/>
                  <a:pt x="11064484" y="2953493"/>
                  <a:pt x="11064207" y="2959258"/>
                </a:cubicBezTo>
                <a:cubicBezTo>
                  <a:pt x="11064484" y="2950660"/>
                  <a:pt x="11064207" y="2953493"/>
                  <a:pt x="11073888" y="2948233"/>
                </a:cubicBezTo>
                <a:cubicBezTo>
                  <a:pt x="11081079" y="2955516"/>
                  <a:pt x="11067803" y="2959966"/>
                  <a:pt x="11065590" y="2966744"/>
                </a:cubicBezTo>
                <a:cubicBezTo>
                  <a:pt x="11060335" y="2961281"/>
                  <a:pt x="11056463" y="2960573"/>
                  <a:pt x="11054526" y="2961585"/>
                </a:cubicBezTo>
                <a:cubicBezTo>
                  <a:pt x="11048718" y="2967553"/>
                  <a:pt x="11053973" y="2973015"/>
                  <a:pt x="11044569" y="2978275"/>
                </a:cubicBezTo>
                <a:cubicBezTo>
                  <a:pt x="11048165" y="2979084"/>
                  <a:pt x="11053697" y="2981613"/>
                  <a:pt x="11057569" y="2976656"/>
                </a:cubicBezTo>
                <a:cubicBezTo>
                  <a:pt x="11059505" y="2981309"/>
                  <a:pt x="11048165" y="2984749"/>
                  <a:pt x="11046229" y="2982928"/>
                </a:cubicBezTo>
                <a:cubicBezTo>
                  <a:pt x="11053143" y="2998809"/>
                  <a:pt x="11009442" y="3008621"/>
                  <a:pt x="11025484" y="3027738"/>
                </a:cubicBezTo>
                <a:cubicBezTo>
                  <a:pt x="11012485" y="3029357"/>
                  <a:pt x="11005847" y="3049689"/>
                  <a:pt x="11005847" y="3052521"/>
                </a:cubicBezTo>
                <a:cubicBezTo>
                  <a:pt x="10999485" y="3067087"/>
                  <a:pt x="10985932" y="3077303"/>
                  <a:pt x="10975975" y="3091060"/>
                </a:cubicBezTo>
                <a:cubicBezTo>
                  <a:pt x="10969890" y="3099961"/>
                  <a:pt x="10956060" y="3115943"/>
                  <a:pt x="10966847" y="3129700"/>
                </a:cubicBezTo>
                <a:cubicBezTo>
                  <a:pt x="10940295" y="3135769"/>
                  <a:pt x="10932827" y="3176028"/>
                  <a:pt x="10904338" y="3186042"/>
                </a:cubicBezTo>
                <a:cubicBezTo>
                  <a:pt x="10902402" y="3189886"/>
                  <a:pt x="10902125" y="3192819"/>
                  <a:pt x="10907657" y="3198281"/>
                </a:cubicBezTo>
                <a:cubicBezTo>
                  <a:pt x="10873083" y="3217096"/>
                  <a:pt x="10868381" y="3242080"/>
                  <a:pt x="10839063" y="3269189"/>
                </a:cubicBezTo>
                <a:cubicBezTo>
                  <a:pt x="10835467" y="3265548"/>
                  <a:pt x="10829935" y="3263019"/>
                  <a:pt x="10826340" y="3259377"/>
                </a:cubicBezTo>
                <a:cubicBezTo>
                  <a:pt x="10816659" y="3264637"/>
                  <a:pt x="10823850" y="3268987"/>
                  <a:pt x="10827446" y="3275461"/>
                </a:cubicBezTo>
                <a:cubicBezTo>
                  <a:pt x="10810297" y="3282036"/>
                  <a:pt x="10813617" y="3294275"/>
                  <a:pt x="10800340" y="3298726"/>
                </a:cubicBezTo>
                <a:cubicBezTo>
                  <a:pt x="10800617" y="3290128"/>
                  <a:pt x="10813893" y="3285677"/>
                  <a:pt x="10795362" y="3279001"/>
                </a:cubicBezTo>
                <a:cubicBezTo>
                  <a:pt x="10803106" y="3274854"/>
                  <a:pt x="10806978" y="3275562"/>
                  <a:pt x="10807255" y="3266964"/>
                </a:cubicBezTo>
                <a:cubicBezTo>
                  <a:pt x="10792596" y="3260996"/>
                  <a:pt x="10792319" y="3263929"/>
                  <a:pt x="10781532" y="3255837"/>
                </a:cubicBezTo>
                <a:cubicBezTo>
                  <a:pt x="10785404" y="3250881"/>
                  <a:pt x="10790106" y="3228829"/>
                  <a:pt x="10806702" y="3233685"/>
                </a:cubicBezTo>
                <a:cubicBezTo>
                  <a:pt x="10811404" y="3214466"/>
                  <a:pt x="10851233" y="3198180"/>
                  <a:pt x="10846531" y="3178456"/>
                </a:cubicBezTo>
                <a:cubicBezTo>
                  <a:pt x="10861467" y="3181490"/>
                  <a:pt x="10858424" y="3163586"/>
                  <a:pt x="10866445" y="3153673"/>
                </a:cubicBezTo>
                <a:cubicBezTo>
                  <a:pt x="10874190" y="3146593"/>
                  <a:pt x="10915955" y="3135061"/>
                  <a:pt x="10892721" y="3111493"/>
                </a:cubicBezTo>
                <a:cubicBezTo>
                  <a:pt x="10898530" y="3105525"/>
                  <a:pt x="10896317" y="3115033"/>
                  <a:pt x="10903785" y="3113718"/>
                </a:cubicBezTo>
                <a:cubicBezTo>
                  <a:pt x="10915402" y="3104614"/>
                  <a:pt x="10925082" y="3093690"/>
                  <a:pt x="10916231" y="3084586"/>
                </a:cubicBezTo>
                <a:cubicBezTo>
                  <a:pt x="10927572" y="3083979"/>
                  <a:pt x="10950805" y="3068604"/>
                  <a:pt x="10936422" y="3054038"/>
                </a:cubicBezTo>
                <a:cubicBezTo>
                  <a:pt x="10966847" y="3040180"/>
                  <a:pt x="10995613" y="2985558"/>
                  <a:pt x="10982060" y="2948131"/>
                </a:cubicBezTo>
                <a:cubicBezTo>
                  <a:pt x="10987592" y="2950761"/>
                  <a:pt x="10991464" y="2948637"/>
                  <a:pt x="10995336" y="2943681"/>
                </a:cubicBezTo>
                <a:cubicBezTo>
                  <a:pt x="10989804" y="2941152"/>
                  <a:pt x="10987592" y="2950761"/>
                  <a:pt x="10982336" y="2942467"/>
                </a:cubicBezTo>
                <a:cubicBezTo>
                  <a:pt x="11002251" y="2914852"/>
                  <a:pt x="11008059" y="2869738"/>
                  <a:pt x="11029633" y="2843945"/>
                </a:cubicBezTo>
                <a:cubicBezTo>
                  <a:pt x="11039037" y="2847283"/>
                  <a:pt x="11029633" y="2849609"/>
                  <a:pt x="11036825" y="2854060"/>
                </a:cubicBezTo>
                <a:cubicBezTo>
                  <a:pt x="11046505" y="2845968"/>
                  <a:pt x="11054803" y="2827457"/>
                  <a:pt x="11038208" y="2819769"/>
                </a:cubicBezTo>
                <a:cubicBezTo>
                  <a:pt x="11038761" y="2811171"/>
                  <a:pt x="11040697" y="2804394"/>
                  <a:pt x="11050378" y="2796302"/>
                </a:cubicBezTo>
                <a:cubicBezTo>
                  <a:pt x="11056186" y="2795998"/>
                  <a:pt x="11052037" y="2800955"/>
                  <a:pt x="11055633" y="2804596"/>
                </a:cubicBezTo>
                <a:cubicBezTo>
                  <a:pt x="11069186" y="2797212"/>
                  <a:pt x="11060058" y="2793874"/>
                  <a:pt x="11065867" y="2785074"/>
                </a:cubicBezTo>
                <a:cubicBezTo>
                  <a:pt x="11060335" y="2782444"/>
                  <a:pt x="11060058" y="2793975"/>
                  <a:pt x="11052867" y="2786692"/>
                </a:cubicBezTo>
                <a:cubicBezTo>
                  <a:pt x="11060611" y="2776779"/>
                  <a:pt x="11053420" y="2769496"/>
                  <a:pt x="11063377" y="2761404"/>
                </a:cubicBezTo>
                <a:cubicBezTo>
                  <a:pt x="11068633" y="2766866"/>
                  <a:pt x="11068356" y="2772531"/>
                  <a:pt x="11058952" y="2774959"/>
                </a:cubicBezTo>
                <a:cubicBezTo>
                  <a:pt x="11062548" y="2775667"/>
                  <a:pt x="11066420" y="2773644"/>
                  <a:pt x="11070015" y="2777285"/>
                </a:cubicBezTo>
                <a:cubicBezTo>
                  <a:pt x="11074164" y="2766563"/>
                  <a:pt x="11076377" y="2759786"/>
                  <a:pt x="11061718" y="2751087"/>
                </a:cubicBezTo>
                <a:cubicBezTo>
                  <a:pt x="11065867" y="2746130"/>
                  <a:pt x="11071122" y="2754323"/>
                  <a:pt x="11074717" y="2755133"/>
                </a:cubicBezTo>
                <a:cubicBezTo>
                  <a:pt x="11093249" y="2717099"/>
                  <a:pt x="11076377" y="2676133"/>
                  <a:pt x="11096845" y="2631322"/>
                </a:cubicBezTo>
                <a:cubicBezTo>
                  <a:pt x="11102653" y="2631019"/>
                  <a:pt x="11108185" y="2630816"/>
                  <a:pt x="11113993" y="2627681"/>
                </a:cubicBezTo>
                <a:cubicBezTo>
                  <a:pt x="11106802" y="2617565"/>
                  <a:pt x="11116759" y="2606540"/>
                  <a:pt x="11100164" y="2598751"/>
                </a:cubicBezTo>
                <a:cubicBezTo>
                  <a:pt x="11112610" y="2575385"/>
                  <a:pt x="11109844" y="2551715"/>
                  <a:pt x="11107079" y="2528046"/>
                </a:cubicBezTo>
                <a:cubicBezTo>
                  <a:pt x="11132525" y="2458250"/>
                  <a:pt x="11118695" y="2387646"/>
                  <a:pt x="11125610" y="2316940"/>
                </a:cubicBezTo>
                <a:cubicBezTo>
                  <a:pt x="11111781" y="2278401"/>
                  <a:pt x="11116759" y="2245325"/>
                  <a:pt x="11113993" y="2209820"/>
                </a:cubicBezTo>
                <a:lnTo>
                  <a:pt x="11113231" y="2205583"/>
                </a:lnTo>
                <a:lnTo>
                  <a:pt x="11093199" y="2213832"/>
                </a:lnTo>
                <a:lnTo>
                  <a:pt x="11088547" y="2227319"/>
                </a:lnTo>
                <a:lnTo>
                  <a:pt x="11078037" y="2253821"/>
                </a:lnTo>
                <a:lnTo>
                  <a:pt x="11081079" y="2260194"/>
                </a:lnTo>
                <a:cubicBezTo>
                  <a:pt x="11071675" y="2304398"/>
                  <a:pt x="11079143" y="2350624"/>
                  <a:pt x="11075271" y="2394524"/>
                </a:cubicBezTo>
                <a:cubicBezTo>
                  <a:pt x="11078866" y="2398166"/>
                  <a:pt x="11080802" y="2397154"/>
                  <a:pt x="11086334" y="2399683"/>
                </a:cubicBezTo>
                <a:cubicBezTo>
                  <a:pt x="11069739" y="2394828"/>
                  <a:pt x="11072228" y="2421431"/>
                  <a:pt x="11079973" y="2417183"/>
                </a:cubicBezTo>
                <a:cubicBezTo>
                  <a:pt x="11070845" y="2452889"/>
                  <a:pt x="11063101" y="2507410"/>
                  <a:pt x="11067250" y="2541499"/>
                </a:cubicBezTo>
                <a:cubicBezTo>
                  <a:pt x="11068909" y="2543320"/>
                  <a:pt x="11065037" y="2548276"/>
                  <a:pt x="11063101" y="2546455"/>
                </a:cubicBezTo>
                <a:cubicBezTo>
                  <a:pt x="11059228" y="2551412"/>
                  <a:pt x="11066696" y="2550097"/>
                  <a:pt x="11068356" y="2554750"/>
                </a:cubicBezTo>
                <a:cubicBezTo>
                  <a:pt x="11060611" y="2561830"/>
                  <a:pt x="11052590" y="2574576"/>
                  <a:pt x="11061718" y="2583679"/>
                </a:cubicBezTo>
                <a:cubicBezTo>
                  <a:pt x="11047612" y="2605225"/>
                  <a:pt x="11045676" y="2648215"/>
                  <a:pt x="11033506" y="2668749"/>
                </a:cubicBezTo>
                <a:cubicBezTo>
                  <a:pt x="11035165" y="2673402"/>
                  <a:pt x="11036825" y="2678156"/>
                  <a:pt x="11036825" y="2680988"/>
                </a:cubicBezTo>
                <a:cubicBezTo>
                  <a:pt x="11032676" y="2685944"/>
                  <a:pt x="11029080" y="2688069"/>
                  <a:pt x="11023272" y="2691204"/>
                </a:cubicBezTo>
                <a:cubicBezTo>
                  <a:pt x="11024655" y="2698690"/>
                  <a:pt x="11026314" y="2709108"/>
                  <a:pt x="11014697" y="2718212"/>
                </a:cubicBezTo>
                <a:cubicBezTo>
                  <a:pt x="11007230" y="2713863"/>
                  <a:pt x="11007230" y="2710929"/>
                  <a:pt x="10997825" y="2713357"/>
                </a:cubicBezTo>
                <a:cubicBezTo>
                  <a:pt x="10997549" y="2721955"/>
                  <a:pt x="11008889" y="2718516"/>
                  <a:pt x="11014144" y="2723978"/>
                </a:cubicBezTo>
                <a:cubicBezTo>
                  <a:pt x="11015804" y="2734295"/>
                  <a:pt x="11000868" y="2731261"/>
                  <a:pt x="10995060" y="2734396"/>
                </a:cubicBezTo>
                <a:cubicBezTo>
                  <a:pt x="11015251" y="2742893"/>
                  <a:pt x="11016634" y="2759078"/>
                  <a:pt x="10992017" y="2764034"/>
                </a:cubicBezTo>
                <a:cubicBezTo>
                  <a:pt x="10985932" y="2770103"/>
                  <a:pt x="10998932" y="2777083"/>
                  <a:pt x="10991187" y="2781230"/>
                </a:cubicBezTo>
                <a:cubicBezTo>
                  <a:pt x="10992847" y="2783051"/>
                  <a:pt x="10996443" y="2786692"/>
                  <a:pt x="11000315" y="2784568"/>
                </a:cubicBezTo>
                <a:cubicBezTo>
                  <a:pt x="11000038" y="2790334"/>
                  <a:pt x="10990634" y="2792660"/>
                  <a:pt x="10999762" y="2798831"/>
                </a:cubicBezTo>
                <a:cubicBezTo>
                  <a:pt x="10993953" y="2801966"/>
                  <a:pt x="10978464" y="2813295"/>
                  <a:pt x="10989528" y="2821286"/>
                </a:cubicBezTo>
                <a:cubicBezTo>
                  <a:pt x="10985656" y="2823411"/>
                  <a:pt x="10980124" y="2817948"/>
                  <a:pt x="10976251" y="2820073"/>
                </a:cubicBezTo>
                <a:cubicBezTo>
                  <a:pt x="10981507" y="2828367"/>
                  <a:pt x="10972103" y="2833627"/>
                  <a:pt x="10982890" y="2841618"/>
                </a:cubicBezTo>
                <a:cubicBezTo>
                  <a:pt x="10977358" y="2844754"/>
                  <a:pt x="10965741" y="2850924"/>
                  <a:pt x="10973209" y="2852441"/>
                </a:cubicBezTo>
                <a:cubicBezTo>
                  <a:pt x="10961039" y="2875909"/>
                  <a:pt x="10961592" y="2906356"/>
                  <a:pt x="10938082" y="2924664"/>
                </a:cubicBezTo>
                <a:cubicBezTo>
                  <a:pt x="10936146" y="2928609"/>
                  <a:pt x="10933933" y="2932453"/>
                  <a:pt x="10939465" y="2937915"/>
                </a:cubicBezTo>
                <a:cubicBezTo>
                  <a:pt x="10912636" y="2949649"/>
                  <a:pt x="10920104" y="2993043"/>
                  <a:pt x="10887743" y="3008014"/>
                </a:cubicBezTo>
                <a:cubicBezTo>
                  <a:pt x="10885530" y="3011959"/>
                  <a:pt x="10892998" y="3016409"/>
                  <a:pt x="10891062" y="3020253"/>
                </a:cubicBezTo>
                <a:cubicBezTo>
                  <a:pt x="10883041" y="3027334"/>
                  <a:pt x="10873913" y="3021062"/>
                  <a:pt x="10866445" y="3022377"/>
                </a:cubicBezTo>
                <a:cubicBezTo>
                  <a:pt x="10864232" y="3032088"/>
                  <a:pt x="10879998" y="3054038"/>
                  <a:pt x="10852063" y="3052622"/>
                </a:cubicBezTo>
                <a:cubicBezTo>
                  <a:pt x="10847914" y="3060411"/>
                  <a:pt x="10856765" y="3069514"/>
                  <a:pt x="10854828" y="3076190"/>
                </a:cubicBezTo>
                <a:cubicBezTo>
                  <a:pt x="10849020" y="3076494"/>
                  <a:pt x="10845424" y="3075786"/>
                  <a:pt x="10841552" y="3077910"/>
                </a:cubicBezTo>
                <a:cubicBezTo>
                  <a:pt x="10846807" y="3086205"/>
                  <a:pt x="10832978" y="3104918"/>
                  <a:pt x="10816106" y="3102996"/>
                </a:cubicBezTo>
                <a:cubicBezTo>
                  <a:pt x="10821361" y="3114123"/>
                  <a:pt x="10813340" y="3124036"/>
                  <a:pt x="10809191" y="3134758"/>
                </a:cubicBezTo>
                <a:cubicBezTo>
                  <a:pt x="10765490" y="3150234"/>
                  <a:pt x="10750001" y="3206070"/>
                  <a:pt x="10703810" y="3228425"/>
                </a:cubicBezTo>
                <a:lnTo>
                  <a:pt x="10701044" y="3230954"/>
                </a:lnTo>
                <a:lnTo>
                  <a:pt x="10704640" y="3206475"/>
                </a:lnTo>
                <a:cubicBezTo>
                  <a:pt x="10709066" y="3195651"/>
                  <a:pt x="10715980" y="3185435"/>
                  <a:pt x="10724831" y="3177849"/>
                </a:cubicBezTo>
                <a:cubicBezTo>
                  <a:pt x="10727044" y="3171071"/>
                  <a:pt x="10714321" y="3164193"/>
                  <a:pt x="10708512" y="3164497"/>
                </a:cubicBezTo>
                <a:cubicBezTo>
                  <a:pt x="10690811" y="3185334"/>
                  <a:pt x="10652918" y="3197675"/>
                  <a:pt x="10663152" y="3217096"/>
                </a:cubicBezTo>
                <a:cubicBezTo>
                  <a:pt x="10653748" y="3219523"/>
                  <a:pt x="10644067" y="3227616"/>
                  <a:pt x="10632727" y="3225289"/>
                </a:cubicBezTo>
                <a:cubicBezTo>
                  <a:pt x="10654301" y="3205160"/>
                  <a:pt x="10664535" y="3188571"/>
                  <a:pt x="10687768" y="3167329"/>
                </a:cubicBezTo>
                <a:cubicBezTo>
                  <a:pt x="10682513" y="3161968"/>
                  <a:pt x="10686385" y="3156910"/>
                  <a:pt x="10677258" y="3150740"/>
                </a:cubicBezTo>
                <a:cubicBezTo>
                  <a:pt x="10670066" y="3146390"/>
                  <a:pt x="10675045" y="3157517"/>
                  <a:pt x="10667577" y="3156000"/>
                </a:cubicBezTo>
                <a:cubicBezTo>
                  <a:pt x="10663981" y="3152358"/>
                  <a:pt x="10662322" y="3150639"/>
                  <a:pt x="10666194" y="3148514"/>
                </a:cubicBezTo>
                <a:cubicBezTo>
                  <a:pt x="10662322" y="3147806"/>
                  <a:pt x="10658450" y="3149829"/>
                  <a:pt x="10654854" y="3146188"/>
                </a:cubicBezTo>
                <a:cubicBezTo>
                  <a:pt x="10649045" y="3152156"/>
                  <a:pt x="10658173" y="3161260"/>
                  <a:pt x="10644620" y="3168644"/>
                </a:cubicBezTo>
                <a:cubicBezTo>
                  <a:pt x="10645173" y="3157214"/>
                  <a:pt x="10626089" y="3161968"/>
                  <a:pt x="10630514" y="3151246"/>
                </a:cubicBezTo>
                <a:cubicBezTo>
                  <a:pt x="10622769" y="3152561"/>
                  <a:pt x="10615025" y="3159641"/>
                  <a:pt x="10604238" y="3148717"/>
                </a:cubicBezTo>
                <a:cubicBezTo>
                  <a:pt x="10610046" y="3145581"/>
                  <a:pt x="10626642" y="3153370"/>
                  <a:pt x="10615855" y="3142546"/>
                </a:cubicBezTo>
                <a:cubicBezTo>
                  <a:pt x="10623323" y="3141130"/>
                  <a:pt x="10624706" y="3151549"/>
                  <a:pt x="10632450" y="3147402"/>
                </a:cubicBezTo>
                <a:cubicBezTo>
                  <a:pt x="10634386" y="3146289"/>
                  <a:pt x="10630791" y="3142648"/>
                  <a:pt x="10627195" y="3141940"/>
                </a:cubicBezTo>
                <a:cubicBezTo>
                  <a:pt x="10631067" y="3134151"/>
                  <a:pt x="10640195" y="3143153"/>
                  <a:pt x="10644067" y="3138197"/>
                </a:cubicBezTo>
                <a:cubicBezTo>
                  <a:pt x="10646280" y="3131420"/>
                  <a:pt x="10634663" y="3137691"/>
                  <a:pt x="10629408" y="3132330"/>
                </a:cubicBezTo>
                <a:cubicBezTo>
                  <a:pt x="10637152" y="3125249"/>
                  <a:pt x="10635769" y="3117663"/>
                  <a:pt x="10624706" y="3109672"/>
                </a:cubicBezTo>
                <a:cubicBezTo>
                  <a:pt x="10645450" y="3109571"/>
                  <a:pt x="10638258" y="3096623"/>
                  <a:pt x="10650982" y="3106435"/>
                </a:cubicBezTo>
                <a:cubicBezTo>
                  <a:pt x="10670343" y="3096016"/>
                  <a:pt x="10664258" y="3062939"/>
                  <a:pt x="10684449" y="3071436"/>
                </a:cubicBezTo>
                <a:cubicBezTo>
                  <a:pt x="10694130" y="3063344"/>
                  <a:pt x="10673662" y="3063445"/>
                  <a:pt x="10685002" y="3057174"/>
                </a:cubicBezTo>
                <a:cubicBezTo>
                  <a:pt x="10696342" y="3059500"/>
                  <a:pt x="10684726" y="3062939"/>
                  <a:pt x="10688321" y="3066480"/>
                </a:cubicBezTo>
                <a:cubicBezTo>
                  <a:pt x="10704917" y="3071436"/>
                  <a:pt x="10696619" y="3050902"/>
                  <a:pt x="10706023" y="3051408"/>
                </a:cubicBezTo>
                <a:cubicBezTo>
                  <a:pt x="10700491" y="3045946"/>
                  <a:pt x="10698555" y="3046957"/>
                  <a:pt x="10689428" y="3040787"/>
                </a:cubicBezTo>
                <a:cubicBezTo>
                  <a:pt x="10693300" y="3038663"/>
                  <a:pt x="10695236" y="3037651"/>
                  <a:pt x="10695513" y="3034718"/>
                </a:cubicBezTo>
                <a:cubicBezTo>
                  <a:pt x="10704640" y="3038056"/>
                  <a:pt x="10698832" y="3041293"/>
                  <a:pt x="10702427" y="3044934"/>
                </a:cubicBezTo>
                <a:cubicBezTo>
                  <a:pt x="10702704" y="3042102"/>
                  <a:pt x="10704640" y="3041091"/>
                  <a:pt x="10706576" y="3039978"/>
                </a:cubicBezTo>
                <a:cubicBezTo>
                  <a:pt x="10706576" y="3037146"/>
                  <a:pt x="10702704" y="3039169"/>
                  <a:pt x="10699108" y="3035527"/>
                </a:cubicBezTo>
                <a:cubicBezTo>
                  <a:pt x="10720406" y="3023996"/>
                  <a:pt x="10732299" y="3009126"/>
                  <a:pt x="10729257" y="2991222"/>
                </a:cubicBezTo>
                <a:cubicBezTo>
                  <a:pt x="10738661" y="2988896"/>
                  <a:pt x="10738937" y="2983130"/>
                  <a:pt x="10739214" y="2977466"/>
                </a:cubicBezTo>
                <a:cubicBezTo>
                  <a:pt x="10737278" y="2975645"/>
                  <a:pt x="10733682" y="2972003"/>
                  <a:pt x="10731746" y="2973015"/>
                </a:cubicBezTo>
                <a:cubicBezTo>
                  <a:pt x="10746958" y="2970385"/>
                  <a:pt x="10760788" y="2951571"/>
                  <a:pt x="10755809" y="2937612"/>
                </a:cubicBezTo>
                <a:cubicBezTo>
                  <a:pt x="10761341" y="2943074"/>
                  <a:pt x="10761618" y="2937308"/>
                  <a:pt x="10766873" y="2939938"/>
                </a:cubicBezTo>
                <a:cubicBezTo>
                  <a:pt x="10773511" y="2916774"/>
                  <a:pt x="10781809" y="2901096"/>
                  <a:pt x="10797574" y="2881270"/>
                </a:cubicBezTo>
                <a:cubicBezTo>
                  <a:pt x="10793979" y="2877628"/>
                  <a:pt x="10786234" y="2881776"/>
                  <a:pt x="10792319" y="2875808"/>
                </a:cubicBezTo>
                <a:cubicBezTo>
                  <a:pt x="10790383" y="2873987"/>
                  <a:pt x="10788447" y="2875099"/>
                  <a:pt x="10786787" y="2873279"/>
                </a:cubicBezTo>
                <a:cubicBezTo>
                  <a:pt x="10777107" y="2878539"/>
                  <a:pt x="10788170" y="2880865"/>
                  <a:pt x="10786234" y="2884709"/>
                </a:cubicBezTo>
                <a:cubicBezTo>
                  <a:pt x="10784298" y="2885822"/>
                  <a:pt x="10780426" y="2887845"/>
                  <a:pt x="10776830" y="2887035"/>
                </a:cubicBezTo>
                <a:cubicBezTo>
                  <a:pt x="10775447" y="2870952"/>
                  <a:pt x="10781809" y="2856386"/>
                  <a:pt x="10790106" y="2840708"/>
                </a:cubicBezTo>
                <a:cubicBezTo>
                  <a:pt x="10780979" y="2834537"/>
                  <a:pt x="10785958" y="2845765"/>
                  <a:pt x="10778766" y="2838482"/>
                </a:cubicBezTo>
                <a:cubicBezTo>
                  <a:pt x="10790660" y="2823613"/>
                  <a:pt x="10795085" y="2807125"/>
                  <a:pt x="10790383" y="2790334"/>
                </a:cubicBezTo>
                <a:cubicBezTo>
                  <a:pt x="10782915" y="2785883"/>
                  <a:pt x="10779043" y="2793773"/>
                  <a:pt x="10769915" y="2787603"/>
                </a:cubicBezTo>
                <a:cubicBezTo>
                  <a:pt x="10761894" y="2800348"/>
                  <a:pt x="10751937" y="2811272"/>
                  <a:pt x="10753320" y="2821691"/>
                </a:cubicBezTo>
                <a:cubicBezTo>
                  <a:pt x="10734788" y="2820679"/>
                  <a:pt x="10745299" y="2834436"/>
                  <a:pt x="10742809" y="2846979"/>
                </a:cubicBezTo>
                <a:cubicBezTo>
                  <a:pt x="10736725" y="2858713"/>
                  <a:pt x="10721235" y="2872773"/>
                  <a:pt x="10714874" y="2887339"/>
                </a:cubicBezTo>
                <a:cubicBezTo>
                  <a:pt x="10710448" y="2900893"/>
                  <a:pt x="10694959" y="2917786"/>
                  <a:pt x="10681407" y="2928002"/>
                </a:cubicBezTo>
                <a:cubicBezTo>
                  <a:pt x="10677534" y="2930025"/>
                  <a:pt x="10684726" y="2934476"/>
                  <a:pt x="10680853" y="2939432"/>
                </a:cubicBezTo>
                <a:cubicBezTo>
                  <a:pt x="10675322" y="2936904"/>
                  <a:pt x="10673109" y="2940849"/>
                  <a:pt x="10671173" y="2941860"/>
                </a:cubicBezTo>
                <a:cubicBezTo>
                  <a:pt x="10678087" y="2957741"/>
                  <a:pt x="10655407" y="2964518"/>
                  <a:pt x="10662045" y="2980298"/>
                </a:cubicBezTo>
                <a:cubicBezTo>
                  <a:pt x="10621386" y="3013779"/>
                  <a:pt x="10616131" y="3050194"/>
                  <a:pt x="10571877" y="3074269"/>
                </a:cubicBezTo>
                <a:cubicBezTo>
                  <a:pt x="10568005" y="3079225"/>
                  <a:pt x="10571324" y="3085800"/>
                  <a:pt x="10567451" y="3090756"/>
                </a:cubicBezTo>
                <a:cubicBezTo>
                  <a:pt x="10558601" y="3078820"/>
                  <a:pt x="10552516" y="3090453"/>
                  <a:pt x="10546707" y="3093589"/>
                </a:cubicBezTo>
                <a:cubicBezTo>
                  <a:pt x="10542005" y="3073864"/>
                  <a:pt x="10571047" y="3052420"/>
                  <a:pt x="10584877" y="3030773"/>
                </a:cubicBezTo>
                <a:cubicBezTo>
                  <a:pt x="10581281" y="3027132"/>
                  <a:pt x="10579345" y="3031076"/>
                  <a:pt x="10577409" y="3032088"/>
                </a:cubicBezTo>
                <a:cubicBezTo>
                  <a:pt x="10580175" y="3011048"/>
                  <a:pt x="10627471" y="3004878"/>
                  <a:pt x="10620557" y="2991930"/>
                </a:cubicBezTo>
                <a:cubicBezTo>
                  <a:pt x="10645173" y="2986873"/>
                  <a:pt x="10643237" y="2943175"/>
                  <a:pt x="10667577" y="2943883"/>
                </a:cubicBezTo>
                <a:cubicBezTo>
                  <a:pt x="10673662" y="2932149"/>
                  <a:pt x="10671726" y="2930430"/>
                  <a:pt x="10679747" y="2920517"/>
                </a:cubicBezTo>
                <a:cubicBezTo>
                  <a:pt x="10683619" y="2918393"/>
                  <a:pt x="10672279" y="2919000"/>
                  <a:pt x="10670343" y="2920011"/>
                </a:cubicBezTo>
                <a:cubicBezTo>
                  <a:pt x="10689151" y="2876212"/>
                  <a:pt x="10707683" y="2841112"/>
                  <a:pt x="10728150" y="2799134"/>
                </a:cubicBezTo>
                <a:cubicBezTo>
                  <a:pt x="10715427" y="2789322"/>
                  <a:pt x="10707129" y="2804900"/>
                  <a:pt x="10703257" y="2807024"/>
                </a:cubicBezTo>
                <a:cubicBezTo>
                  <a:pt x="10699385" y="2814813"/>
                  <a:pt x="10700215" y="2833930"/>
                  <a:pt x="10692194" y="2846676"/>
                </a:cubicBezTo>
                <a:cubicBezTo>
                  <a:pt x="10682236" y="2863366"/>
                  <a:pt x="10673939" y="2878943"/>
                  <a:pt x="10667854" y="2890677"/>
                </a:cubicBezTo>
                <a:cubicBezTo>
                  <a:pt x="10663705" y="2901298"/>
                  <a:pt x="10650152" y="2908682"/>
                  <a:pt x="10646003" y="2919303"/>
                </a:cubicBezTo>
                <a:cubicBezTo>
                  <a:pt x="10631897" y="2940950"/>
                  <a:pt x="10625259" y="2964114"/>
                  <a:pt x="10611429" y="2982827"/>
                </a:cubicBezTo>
                <a:cubicBezTo>
                  <a:pt x="10593727" y="3003765"/>
                  <a:pt x="10574090" y="3022782"/>
                  <a:pt x="10556664" y="3040787"/>
                </a:cubicBezTo>
                <a:cubicBezTo>
                  <a:pt x="10589302" y="2978275"/>
                  <a:pt x="10651535" y="2924765"/>
                  <a:pt x="10669237" y="2862051"/>
                </a:cubicBezTo>
                <a:cubicBezTo>
                  <a:pt x="10681130" y="2847181"/>
                  <a:pt x="10685555" y="2830795"/>
                  <a:pt x="10697449" y="2815925"/>
                </a:cubicBezTo>
                <a:cubicBezTo>
                  <a:pt x="10699385" y="2814914"/>
                  <a:pt x="10697725" y="2810160"/>
                  <a:pt x="10695789" y="2808339"/>
                </a:cubicBezTo>
                <a:cubicBezTo>
                  <a:pt x="10719576" y="2778600"/>
                  <a:pt x="10709066" y="2762011"/>
                  <a:pt x="10740320" y="2733891"/>
                </a:cubicBezTo>
                <a:cubicBezTo>
                  <a:pt x="10739490" y="2750985"/>
                  <a:pt x="10723725" y="2767979"/>
                  <a:pt x="10725108" y="2784062"/>
                </a:cubicBezTo>
                <a:cubicBezTo>
                  <a:pt x="10740873" y="2767170"/>
                  <a:pt x="10749171" y="2742893"/>
                  <a:pt x="10752214" y="2719021"/>
                </a:cubicBezTo>
                <a:cubicBezTo>
                  <a:pt x="10767979" y="2696262"/>
                  <a:pt x="10780426" y="2672795"/>
                  <a:pt x="10779596" y="2648113"/>
                </a:cubicBezTo>
                <a:cubicBezTo>
                  <a:pt x="10794808" y="2639819"/>
                  <a:pt x="10793702" y="2620802"/>
                  <a:pt x="10790660" y="2608563"/>
                </a:cubicBezTo>
                <a:cubicBezTo>
                  <a:pt x="10800617" y="2594806"/>
                  <a:pt x="10803936" y="2562336"/>
                  <a:pt x="10804766" y="2539476"/>
                </a:cubicBezTo>
                <a:cubicBezTo>
                  <a:pt x="10818872" y="2517829"/>
                  <a:pt x="10812510" y="2493451"/>
                  <a:pt x="10819148" y="2470288"/>
                </a:cubicBezTo>
                <a:cubicBezTo>
                  <a:pt x="10802276" y="2471097"/>
                  <a:pt x="10820255" y="2489203"/>
                  <a:pt x="10805042" y="2489001"/>
                </a:cubicBezTo>
                <a:cubicBezTo>
                  <a:pt x="10796468" y="2560819"/>
                  <a:pt x="10790383" y="2614430"/>
                  <a:pt x="10753873" y="2676133"/>
                </a:cubicBezTo>
                <a:cubicBezTo>
                  <a:pt x="10763277" y="2634761"/>
                  <a:pt x="10766596" y="2599358"/>
                  <a:pt x="10779873" y="2555862"/>
                </a:cubicBezTo>
                <a:cubicBezTo>
                  <a:pt x="10776277" y="2552221"/>
                  <a:pt x="10774341" y="2553233"/>
                  <a:pt x="10770468" y="2555357"/>
                </a:cubicBezTo>
                <a:cubicBezTo>
                  <a:pt x="10780426" y="2544432"/>
                  <a:pt x="10779043" y="2534115"/>
                  <a:pt x="10785128" y="2519549"/>
                </a:cubicBezTo>
                <a:cubicBezTo>
                  <a:pt x="10781532" y="2515907"/>
                  <a:pt x="10776000" y="2513277"/>
                  <a:pt x="10777936" y="2512266"/>
                </a:cubicBezTo>
                <a:cubicBezTo>
                  <a:pt x="10749171" y="2527944"/>
                  <a:pt x="10779043" y="2573058"/>
                  <a:pt x="10738937" y="2592176"/>
                </a:cubicBezTo>
                <a:cubicBezTo>
                  <a:pt x="10746129" y="2599459"/>
                  <a:pt x="10750277" y="2591569"/>
                  <a:pt x="10753873" y="2592378"/>
                </a:cubicBezTo>
                <a:cubicBezTo>
                  <a:pt x="10763001" y="2598549"/>
                  <a:pt x="10747788" y="2601280"/>
                  <a:pt x="10760788" y="2605427"/>
                </a:cubicBezTo>
                <a:cubicBezTo>
                  <a:pt x="10751107" y="2613519"/>
                  <a:pt x="10746958" y="2621207"/>
                  <a:pt x="10744746" y="2630816"/>
                </a:cubicBezTo>
                <a:cubicBezTo>
                  <a:pt x="10735065" y="2636076"/>
                  <a:pt x="10743086" y="2623331"/>
                  <a:pt x="10735618" y="2621814"/>
                </a:cubicBezTo>
                <a:cubicBezTo>
                  <a:pt x="10714044" y="2647608"/>
                  <a:pt x="10705470" y="2671884"/>
                  <a:pt x="10698278" y="2706478"/>
                </a:cubicBezTo>
                <a:cubicBezTo>
                  <a:pt x="10701874" y="2710120"/>
                  <a:pt x="10704363" y="2700510"/>
                  <a:pt x="10708236" y="2698386"/>
                </a:cubicBezTo>
                <a:cubicBezTo>
                  <a:pt x="10715150" y="2708501"/>
                  <a:pt x="10711002" y="2716391"/>
                  <a:pt x="10698002" y="2715076"/>
                </a:cubicBezTo>
                <a:cubicBezTo>
                  <a:pt x="10696342" y="2713256"/>
                  <a:pt x="10699938" y="2711131"/>
                  <a:pt x="10698278" y="2709412"/>
                </a:cubicBezTo>
                <a:cubicBezTo>
                  <a:pt x="10683066" y="2712042"/>
                  <a:pt x="10680024" y="2741578"/>
                  <a:pt x="10673939" y="2750480"/>
                </a:cubicBezTo>
                <a:cubicBezTo>
                  <a:pt x="10685002" y="2755638"/>
                  <a:pt x="10685002" y="2752705"/>
                  <a:pt x="10688874" y="2750682"/>
                </a:cubicBezTo>
                <a:cubicBezTo>
                  <a:pt x="10692747" y="2796099"/>
                  <a:pt x="10618897" y="2808440"/>
                  <a:pt x="10620833" y="2852138"/>
                </a:cubicBezTo>
                <a:cubicBezTo>
                  <a:pt x="10615025" y="2855274"/>
                  <a:pt x="10609493" y="2852644"/>
                  <a:pt x="10603961" y="2852947"/>
                </a:cubicBezTo>
                <a:cubicBezTo>
                  <a:pt x="10605621" y="2860534"/>
                  <a:pt x="10603408" y="2864377"/>
                  <a:pt x="10594004" y="2866805"/>
                </a:cubicBezTo>
                <a:cubicBezTo>
                  <a:pt x="10601195" y="2873987"/>
                  <a:pt x="10591515" y="2882079"/>
                  <a:pt x="10596770" y="2890373"/>
                </a:cubicBezTo>
                <a:cubicBezTo>
                  <a:pt x="10570217" y="2899275"/>
                  <a:pt x="10558324" y="2911413"/>
                  <a:pt x="10540899" y="2926485"/>
                </a:cubicBezTo>
                <a:cubicBezTo>
                  <a:pt x="10537303" y="2920011"/>
                  <a:pt x="10545048" y="2915864"/>
                  <a:pt x="10543388" y="2911211"/>
                </a:cubicBezTo>
                <a:cubicBezTo>
                  <a:pt x="10532048" y="2908884"/>
                  <a:pt x="10535367" y="2915965"/>
                  <a:pt x="10530665" y="2918797"/>
                </a:cubicBezTo>
                <a:lnTo>
                  <a:pt x="10525963" y="2919404"/>
                </a:lnTo>
                <a:lnTo>
                  <a:pt x="10525410" y="2922439"/>
                </a:lnTo>
                <a:lnTo>
                  <a:pt x="10524580" y="2923349"/>
                </a:lnTo>
                <a:lnTo>
                  <a:pt x="10529835" y="2924158"/>
                </a:lnTo>
                <a:lnTo>
                  <a:pt x="10511304" y="2943478"/>
                </a:lnTo>
                <a:lnTo>
                  <a:pt x="10512687" y="2946311"/>
                </a:lnTo>
                <a:cubicBezTo>
                  <a:pt x="10515176" y="2952785"/>
                  <a:pt x="10520984" y="2942164"/>
                  <a:pt x="10522367" y="2951267"/>
                </a:cubicBezTo>
                <a:cubicBezTo>
                  <a:pt x="10516282" y="2954909"/>
                  <a:pt x="10521537" y="2956123"/>
                  <a:pt x="10511580" y="2955920"/>
                </a:cubicBezTo>
                <a:cubicBezTo>
                  <a:pt x="10511027" y="2960776"/>
                  <a:pt x="10510474" y="2965631"/>
                  <a:pt x="10517665" y="2971093"/>
                </a:cubicBezTo>
                <a:cubicBezTo>
                  <a:pt x="10515729" y="2978578"/>
                  <a:pt x="10509368" y="2975341"/>
                  <a:pt x="10507431" y="2982726"/>
                </a:cubicBezTo>
                <a:cubicBezTo>
                  <a:pt x="10524303" y="2981411"/>
                  <a:pt x="10503836" y="2985861"/>
                  <a:pt x="10505772" y="2997190"/>
                </a:cubicBezTo>
                <a:cubicBezTo>
                  <a:pt x="10507431" y="3001439"/>
                  <a:pt x="10514346" y="3000023"/>
                  <a:pt x="10517112" y="3006496"/>
                </a:cubicBezTo>
                <a:cubicBezTo>
                  <a:pt x="10516559" y="3011251"/>
                  <a:pt x="10514899" y="3013881"/>
                  <a:pt x="10516835" y="3018230"/>
                </a:cubicBezTo>
                <a:cubicBezTo>
                  <a:pt x="10489176" y="3036033"/>
                  <a:pt x="10501900" y="3080237"/>
                  <a:pt x="10479772" y="3106132"/>
                </a:cubicBezTo>
                <a:lnTo>
                  <a:pt x="10482538" y="3112706"/>
                </a:lnTo>
                <a:lnTo>
                  <a:pt x="10501623" y="3096219"/>
                </a:lnTo>
                <a:cubicBezTo>
                  <a:pt x="10501070" y="3104817"/>
                  <a:pt x="10494985" y="3111695"/>
                  <a:pt x="10486964" y="3118472"/>
                </a:cubicBezTo>
                <a:lnTo>
                  <a:pt x="10479219" y="3125249"/>
                </a:lnTo>
                <a:lnTo>
                  <a:pt x="10468156" y="3143760"/>
                </a:lnTo>
                <a:cubicBezTo>
                  <a:pt x="10455709" y="3172892"/>
                  <a:pt x="10450730" y="3207082"/>
                  <a:pt x="10429156" y="3227717"/>
                </a:cubicBezTo>
                <a:cubicBezTo>
                  <a:pt x="10425561" y="3249667"/>
                  <a:pt x="10421135" y="3269392"/>
                  <a:pt x="10400114" y="3285677"/>
                </a:cubicBezTo>
                <a:cubicBezTo>
                  <a:pt x="10387391" y="3328465"/>
                  <a:pt x="10353094" y="3366498"/>
                  <a:pt x="10334839" y="3408071"/>
                </a:cubicBezTo>
                <a:cubicBezTo>
                  <a:pt x="10340648" y="3416164"/>
                  <a:pt x="10339265" y="3400080"/>
                  <a:pt x="10345903" y="3410398"/>
                </a:cubicBezTo>
                <a:cubicBezTo>
                  <a:pt x="10342307" y="3420513"/>
                  <a:pt x="10330967" y="3422941"/>
                  <a:pt x="10320457" y="3427695"/>
                </a:cubicBezTo>
                <a:cubicBezTo>
                  <a:pt x="10308563" y="3441958"/>
                  <a:pt x="10313818" y="3454905"/>
                  <a:pt x="10299159" y="3467549"/>
                </a:cubicBezTo>
                <a:cubicBezTo>
                  <a:pt x="10290861" y="3471798"/>
                  <a:pt x="10287266" y="3463098"/>
                  <a:pt x="10282287" y="3468965"/>
                </a:cubicBezTo>
                <a:cubicBezTo>
                  <a:pt x="10285606" y="3477563"/>
                  <a:pt x="10282011" y="3480800"/>
                  <a:pt x="10292244" y="3487881"/>
                </a:cubicBezTo>
                <a:cubicBezTo>
                  <a:pt x="10285330" y="3489398"/>
                  <a:pt x="10283393" y="3496883"/>
                  <a:pt x="10288096" y="3495872"/>
                </a:cubicBezTo>
                <a:cubicBezTo>
                  <a:pt x="10287542" y="3500727"/>
                  <a:pt x="10272883" y="3501536"/>
                  <a:pt x="10267904" y="3507302"/>
                </a:cubicBezTo>
                <a:cubicBezTo>
                  <a:pt x="10269564" y="3511652"/>
                  <a:pt x="10275372" y="3501031"/>
                  <a:pt x="10276479" y="3510134"/>
                </a:cubicBezTo>
                <a:cubicBezTo>
                  <a:pt x="10274266" y="3510640"/>
                  <a:pt x="10277309" y="3512360"/>
                  <a:pt x="10278138" y="3514484"/>
                </a:cubicBezTo>
                <a:cubicBezTo>
                  <a:pt x="10250756" y="3520553"/>
                  <a:pt x="10247990" y="3544627"/>
                  <a:pt x="10230841" y="3557777"/>
                </a:cubicBezTo>
                <a:cubicBezTo>
                  <a:pt x="10231671" y="3559901"/>
                  <a:pt x="10234714" y="3561621"/>
                  <a:pt x="10235820" y="3563745"/>
                </a:cubicBezTo>
                <a:cubicBezTo>
                  <a:pt x="10223927" y="3559294"/>
                  <a:pt x="10190459" y="3599553"/>
                  <a:pt x="10191842" y="3615636"/>
                </a:cubicBezTo>
                <a:cubicBezTo>
                  <a:pt x="10143439" y="3649826"/>
                  <a:pt x="10125184" y="3691399"/>
                  <a:pt x="10080100" y="3727207"/>
                </a:cubicBezTo>
                <a:cubicBezTo>
                  <a:pt x="10077057" y="3732568"/>
                  <a:pt x="10088674" y="3730040"/>
                  <a:pt x="10088951" y="3737019"/>
                </a:cubicBezTo>
                <a:cubicBezTo>
                  <a:pt x="10081206" y="3736412"/>
                  <a:pt x="10075674" y="3746932"/>
                  <a:pt x="10067653" y="3739346"/>
                </a:cubicBezTo>
                <a:cubicBezTo>
                  <a:pt x="10062675" y="3752192"/>
                  <a:pt x="10030037" y="3764027"/>
                  <a:pt x="10034462" y="3774850"/>
                </a:cubicBezTo>
                <a:cubicBezTo>
                  <a:pt x="10034739" y="3781830"/>
                  <a:pt x="10026718" y="3774142"/>
                  <a:pt x="10023952" y="3779503"/>
                </a:cubicBezTo>
                <a:cubicBezTo>
                  <a:pt x="10020080" y="3782639"/>
                  <a:pt x="10030314" y="3782841"/>
                  <a:pt x="10027271" y="3788101"/>
                </a:cubicBezTo>
                <a:cubicBezTo>
                  <a:pt x="10031697" y="3780110"/>
                  <a:pt x="10030037" y="3782740"/>
                  <a:pt x="10041654" y="3780211"/>
                </a:cubicBezTo>
                <a:cubicBezTo>
                  <a:pt x="10044973" y="3788910"/>
                  <a:pt x="10030590" y="3789821"/>
                  <a:pt x="10025335" y="3795586"/>
                </a:cubicBezTo>
                <a:cubicBezTo>
                  <a:pt x="10022846" y="3789113"/>
                  <a:pt x="10019803" y="3787393"/>
                  <a:pt x="10017314" y="3787899"/>
                </a:cubicBezTo>
                <a:cubicBezTo>
                  <a:pt x="10009016" y="3792147"/>
                  <a:pt x="10011782" y="3798621"/>
                  <a:pt x="10000165" y="3801150"/>
                </a:cubicBezTo>
                <a:cubicBezTo>
                  <a:pt x="10003484" y="3802768"/>
                  <a:pt x="10007357" y="3806511"/>
                  <a:pt x="10013442" y="3802869"/>
                </a:cubicBezTo>
                <a:cubicBezTo>
                  <a:pt x="10012888" y="3807725"/>
                  <a:pt x="10000442" y="3808028"/>
                  <a:pt x="9999612" y="3805904"/>
                </a:cubicBezTo>
                <a:cubicBezTo>
                  <a:pt x="9998782" y="3822493"/>
                  <a:pt x="9953422" y="3820874"/>
                  <a:pt x="9959783" y="3842926"/>
                </a:cubicBezTo>
                <a:cubicBezTo>
                  <a:pt x="9946783" y="3841105"/>
                  <a:pt x="9931294" y="3858604"/>
                  <a:pt x="9929911" y="3861234"/>
                </a:cubicBezTo>
                <a:cubicBezTo>
                  <a:pt x="9917465" y="3873474"/>
                  <a:pt x="9900040" y="3879543"/>
                  <a:pt x="9884274" y="3890063"/>
                </a:cubicBezTo>
                <a:cubicBezTo>
                  <a:pt x="9874593" y="3896840"/>
                  <a:pt x="9854402" y="3908472"/>
                  <a:pt x="9858275" y="3924050"/>
                </a:cubicBezTo>
                <a:cubicBezTo>
                  <a:pt x="9830339" y="3923140"/>
                  <a:pt x="9805169" y="3959251"/>
                  <a:pt x="9773638" y="3961476"/>
                </a:cubicBezTo>
                <a:cubicBezTo>
                  <a:pt x="9770042" y="3964612"/>
                  <a:pt x="9768660" y="3967242"/>
                  <a:pt x="9771149" y="3973716"/>
                </a:cubicBezTo>
                <a:cubicBezTo>
                  <a:pt x="9730213" y="3982718"/>
                  <a:pt x="9714171" y="4005073"/>
                  <a:pt x="9674342" y="4023280"/>
                </a:cubicBezTo>
                <a:cubicBezTo>
                  <a:pt x="9672406" y="4018931"/>
                  <a:pt x="9668534" y="4015087"/>
                  <a:pt x="9666874" y="4010839"/>
                </a:cubicBezTo>
                <a:cubicBezTo>
                  <a:pt x="9655534" y="4013367"/>
                  <a:pt x="9660236" y="4019234"/>
                  <a:pt x="9660513" y="4026214"/>
                </a:cubicBezTo>
                <a:cubicBezTo>
                  <a:pt x="9641428" y="4028136"/>
                  <a:pt x="9638939" y="4040476"/>
                  <a:pt x="9624280" y="4041286"/>
                </a:cubicBezTo>
                <a:cubicBezTo>
                  <a:pt x="9628705" y="4033294"/>
                  <a:pt x="9643088" y="4032485"/>
                  <a:pt x="9628705" y="4021561"/>
                </a:cubicBezTo>
                <a:cubicBezTo>
                  <a:pt x="9638109" y="4019538"/>
                  <a:pt x="9641152" y="4021257"/>
                  <a:pt x="9645300" y="4013266"/>
                </a:cubicBezTo>
                <a:cubicBezTo>
                  <a:pt x="9634237" y="4003960"/>
                  <a:pt x="9632854" y="4006590"/>
                  <a:pt x="9626216" y="3996374"/>
                </a:cubicBezTo>
                <a:cubicBezTo>
                  <a:pt x="9632301" y="3992631"/>
                  <a:pt x="9646683" y="3973008"/>
                  <a:pt x="9660236" y="3981808"/>
                </a:cubicBezTo>
                <a:cubicBezTo>
                  <a:pt x="9673236" y="3964814"/>
                  <a:pt x="9718320" y="3959554"/>
                  <a:pt x="9722746" y="3939830"/>
                </a:cubicBezTo>
                <a:cubicBezTo>
                  <a:pt x="9735469" y="3946405"/>
                  <a:pt x="9740724" y="3928804"/>
                  <a:pt x="9752617" y="3921420"/>
                </a:cubicBezTo>
                <a:cubicBezTo>
                  <a:pt x="9763404" y="3916767"/>
                  <a:pt x="9807935" y="3916362"/>
                  <a:pt x="9796595" y="3888242"/>
                </a:cubicBezTo>
                <a:cubicBezTo>
                  <a:pt x="9804893" y="3884095"/>
                  <a:pt x="9798255" y="3892592"/>
                  <a:pt x="9805999" y="3893198"/>
                </a:cubicBezTo>
                <a:cubicBezTo>
                  <a:pt x="9821212" y="3887534"/>
                  <a:pt x="9835318" y="3879745"/>
                  <a:pt x="9831169" y="3868922"/>
                </a:cubicBezTo>
                <a:cubicBezTo>
                  <a:pt x="9841956" y="3871248"/>
                  <a:pt x="9870721" y="3862549"/>
                  <a:pt x="9863806" y="3845252"/>
                </a:cubicBezTo>
                <a:cubicBezTo>
                  <a:pt x="9898933" y="3839891"/>
                  <a:pt x="9950932" y="3795586"/>
                  <a:pt x="9955358" y="3757047"/>
                </a:cubicBezTo>
                <a:cubicBezTo>
                  <a:pt x="9959230" y="3760790"/>
                  <a:pt x="9963932" y="3759778"/>
                  <a:pt x="9969740" y="3756137"/>
                </a:cubicBezTo>
                <a:cubicBezTo>
                  <a:pt x="9965868" y="3752394"/>
                  <a:pt x="9959230" y="3760891"/>
                  <a:pt x="9958124" y="3751787"/>
                </a:cubicBezTo>
                <a:cubicBezTo>
                  <a:pt x="9989378" y="3730748"/>
                  <a:pt x="10015378" y="3689781"/>
                  <a:pt x="10047462" y="3670967"/>
                </a:cubicBezTo>
                <a:cubicBezTo>
                  <a:pt x="10054654" y="3676429"/>
                  <a:pt x="10044696" y="3676328"/>
                  <a:pt x="10049675" y="3682296"/>
                </a:cubicBezTo>
                <a:cubicBezTo>
                  <a:pt x="10062398" y="3677137"/>
                  <a:pt x="10078717" y="3661762"/>
                  <a:pt x="10066547" y="3650331"/>
                </a:cubicBezTo>
                <a:cubicBezTo>
                  <a:pt x="10070972" y="3642340"/>
                  <a:pt x="10075951" y="3636575"/>
                  <a:pt x="10088674" y="3631416"/>
                </a:cubicBezTo>
                <a:cubicBezTo>
                  <a:pt x="10094206" y="3632529"/>
                  <a:pt x="10088121" y="3636271"/>
                  <a:pt x="10090057" y="3640520"/>
                </a:cubicBezTo>
                <a:cubicBezTo>
                  <a:pt x="10105823" y="3636979"/>
                  <a:pt x="10098908" y="3631517"/>
                  <a:pt x="10108589" y="3624740"/>
                </a:cubicBezTo>
                <a:cubicBezTo>
                  <a:pt x="10104440" y="3620896"/>
                  <a:pt x="10098908" y="3631517"/>
                  <a:pt x="10095312" y="3622818"/>
                </a:cubicBezTo>
                <a:cubicBezTo>
                  <a:pt x="10107482" y="3615535"/>
                  <a:pt x="10103887" y="3606937"/>
                  <a:pt x="10116610" y="3601778"/>
                </a:cubicBezTo>
                <a:cubicBezTo>
                  <a:pt x="10119376" y="3608252"/>
                  <a:pt x="10116610" y="3613613"/>
                  <a:pt x="10106376" y="3613411"/>
                </a:cubicBezTo>
                <a:cubicBezTo>
                  <a:pt x="10109695" y="3615130"/>
                  <a:pt x="10114120" y="3614119"/>
                  <a:pt x="10115780" y="3618367"/>
                </a:cubicBezTo>
                <a:cubicBezTo>
                  <a:pt x="10124631" y="3609365"/>
                  <a:pt x="10129886" y="3603498"/>
                  <a:pt x="10120205" y="3591562"/>
                </a:cubicBezTo>
                <a:cubicBezTo>
                  <a:pt x="10126014" y="3587920"/>
                  <a:pt x="10127120" y="3597125"/>
                  <a:pt x="10130439" y="3598744"/>
                </a:cubicBezTo>
                <a:cubicBezTo>
                  <a:pt x="10165013" y="3567589"/>
                  <a:pt x="10167779" y="3524801"/>
                  <a:pt x="10207608" y="3487780"/>
                </a:cubicBezTo>
                <a:cubicBezTo>
                  <a:pt x="10213140" y="3488993"/>
                  <a:pt x="10218671" y="3490106"/>
                  <a:pt x="10225586" y="3488589"/>
                </a:cubicBezTo>
                <a:cubicBezTo>
                  <a:pt x="10223373" y="3477260"/>
                  <a:pt x="10237756" y="3469370"/>
                  <a:pt x="10225586" y="3457940"/>
                </a:cubicBezTo>
                <a:cubicBezTo>
                  <a:pt x="10247990" y="3439024"/>
                  <a:pt x="10256011" y="3416063"/>
                  <a:pt x="10264309" y="3393202"/>
                </a:cubicBezTo>
                <a:cubicBezTo>
                  <a:pt x="10320180" y="3333927"/>
                  <a:pt x="10339265" y="3263929"/>
                  <a:pt x="10377987" y="3199091"/>
                </a:cubicBezTo>
                <a:cubicBezTo>
                  <a:pt x="10384072" y="3146087"/>
                  <a:pt x="10416986" y="3110683"/>
                  <a:pt x="10426391" y="3059298"/>
                </a:cubicBezTo>
                <a:cubicBezTo>
                  <a:pt x="10435518" y="3057275"/>
                  <a:pt x="10432476" y="3043822"/>
                  <a:pt x="10442433" y="3044024"/>
                </a:cubicBezTo>
                <a:cubicBezTo>
                  <a:pt x="10439943" y="3037550"/>
                  <a:pt x="10436901" y="3035831"/>
                  <a:pt x="10430816" y="3039472"/>
                </a:cubicBezTo>
                <a:lnTo>
                  <a:pt x="10436071" y="3026929"/>
                </a:lnTo>
                <a:lnTo>
                  <a:pt x="10405923" y="3055960"/>
                </a:lnTo>
                <a:cubicBezTo>
                  <a:pt x="10413391" y="3036539"/>
                  <a:pt x="10428880" y="3021770"/>
                  <a:pt x="10444092" y="3006901"/>
                </a:cubicBezTo>
                <a:lnTo>
                  <a:pt x="10447411" y="3003158"/>
                </a:lnTo>
                <a:lnTo>
                  <a:pt x="10444092" y="2999719"/>
                </a:lnTo>
                <a:cubicBezTo>
                  <a:pt x="10444369" y="2997292"/>
                  <a:pt x="10444922" y="2994156"/>
                  <a:pt x="10441050" y="2990312"/>
                </a:cubicBezTo>
                <a:cubicBezTo>
                  <a:pt x="10443263" y="2989806"/>
                  <a:pt x="10445475" y="2989301"/>
                  <a:pt x="10446858" y="2986671"/>
                </a:cubicBezTo>
                <a:lnTo>
                  <a:pt x="10449071" y="2970891"/>
                </a:lnTo>
                <a:lnTo>
                  <a:pt x="10438837" y="2980703"/>
                </a:lnTo>
                <a:cubicBezTo>
                  <a:pt x="10432476" y="2988491"/>
                  <a:pt x="10427220" y="2996887"/>
                  <a:pt x="10425008" y="3006496"/>
                </a:cubicBezTo>
                <a:cubicBezTo>
                  <a:pt x="10417540" y="3007811"/>
                  <a:pt x="10396242" y="3019343"/>
                  <a:pt x="10401497" y="3027637"/>
                </a:cubicBezTo>
                <a:lnTo>
                  <a:pt x="10391540" y="3030773"/>
                </a:lnTo>
                <a:lnTo>
                  <a:pt x="10390987" y="3032189"/>
                </a:lnTo>
                <a:cubicBezTo>
                  <a:pt x="10389051" y="3041091"/>
                  <a:pt x="10388221" y="3051206"/>
                  <a:pt x="10384902" y="3061321"/>
                </a:cubicBezTo>
                <a:cubicBezTo>
                  <a:pt x="10379923" y="3074167"/>
                  <a:pt x="10363605" y="3082563"/>
                  <a:pt x="10374945" y="3098747"/>
                </a:cubicBezTo>
                <a:cubicBezTo>
                  <a:pt x="10359456" y="3109267"/>
                  <a:pt x="10359179" y="3121102"/>
                  <a:pt x="10361945" y="3134555"/>
                </a:cubicBezTo>
                <a:cubicBezTo>
                  <a:pt x="10332903" y="3173803"/>
                  <a:pt x="10318797" y="3219119"/>
                  <a:pt x="10295287" y="3259580"/>
                </a:cubicBezTo>
                <a:cubicBezTo>
                  <a:pt x="10296946" y="3263929"/>
                  <a:pt x="10299436" y="3263322"/>
                  <a:pt x="10303308" y="3267166"/>
                </a:cubicBezTo>
                <a:cubicBezTo>
                  <a:pt x="10289755" y="3258366"/>
                  <a:pt x="10280074" y="3284059"/>
                  <a:pt x="10289478" y="3282036"/>
                </a:cubicBezTo>
                <a:cubicBezTo>
                  <a:pt x="10264585" y="3313292"/>
                  <a:pt x="10232224" y="3362654"/>
                  <a:pt x="10220608" y="3395731"/>
                </a:cubicBezTo>
                <a:cubicBezTo>
                  <a:pt x="10221437" y="3397855"/>
                  <a:pt x="10215629" y="3401497"/>
                  <a:pt x="10214523" y="3399372"/>
                </a:cubicBezTo>
                <a:cubicBezTo>
                  <a:pt x="10208714" y="3403014"/>
                  <a:pt x="10216459" y="3403722"/>
                  <a:pt x="10215906" y="3408476"/>
                </a:cubicBezTo>
                <a:cubicBezTo>
                  <a:pt x="10205119" y="3413230"/>
                  <a:pt x="10191842" y="3423143"/>
                  <a:pt x="10196268" y="3433967"/>
                </a:cubicBezTo>
                <a:cubicBezTo>
                  <a:pt x="10173034" y="3450758"/>
                  <a:pt x="10151737" y="3490713"/>
                  <a:pt x="10130992" y="3506999"/>
                </a:cubicBezTo>
                <a:cubicBezTo>
                  <a:pt x="10130439" y="3511854"/>
                  <a:pt x="10129886" y="3516709"/>
                  <a:pt x="10128503" y="3519339"/>
                </a:cubicBezTo>
                <a:cubicBezTo>
                  <a:pt x="10122418" y="3523082"/>
                  <a:pt x="10117993" y="3523992"/>
                  <a:pt x="10111078" y="3525509"/>
                </a:cubicBezTo>
                <a:cubicBezTo>
                  <a:pt x="10109142" y="3532995"/>
                  <a:pt x="10105546" y="3543110"/>
                  <a:pt x="10090610" y="3548774"/>
                </a:cubicBezTo>
                <a:cubicBezTo>
                  <a:pt x="10085632" y="3542806"/>
                  <a:pt x="10087015" y="3540177"/>
                  <a:pt x="10077057" y="3540075"/>
                </a:cubicBezTo>
                <a:cubicBezTo>
                  <a:pt x="10072909" y="3548066"/>
                  <a:pt x="10085078" y="3547662"/>
                  <a:pt x="10087844" y="3554136"/>
                </a:cubicBezTo>
                <a:cubicBezTo>
                  <a:pt x="10084249" y="3564251"/>
                  <a:pt x="10071802" y="3557676"/>
                  <a:pt x="10064887" y="3559193"/>
                </a:cubicBezTo>
                <a:cubicBezTo>
                  <a:pt x="10080100" y="3572343"/>
                  <a:pt x="10073738" y="3587718"/>
                  <a:pt x="10048292" y="3586302"/>
                </a:cubicBezTo>
                <a:cubicBezTo>
                  <a:pt x="10039994" y="3590449"/>
                  <a:pt x="10049122" y="3600261"/>
                  <a:pt x="10039994" y="3602284"/>
                </a:cubicBezTo>
                <a:cubicBezTo>
                  <a:pt x="10040824" y="3604408"/>
                  <a:pt x="10042484" y="3608657"/>
                  <a:pt x="10046909" y="3607746"/>
                </a:cubicBezTo>
                <a:cubicBezTo>
                  <a:pt x="10044143" y="3613006"/>
                  <a:pt x="10034186" y="3612905"/>
                  <a:pt x="10039994" y="3620997"/>
                </a:cubicBezTo>
                <a:cubicBezTo>
                  <a:pt x="10033080" y="3622515"/>
                  <a:pt x="10013442" y="3629191"/>
                  <a:pt x="10020080" y="3639508"/>
                </a:cubicBezTo>
                <a:cubicBezTo>
                  <a:pt x="10015378" y="3640520"/>
                  <a:pt x="10012888" y="3633945"/>
                  <a:pt x="10008463" y="3634956"/>
                </a:cubicBezTo>
                <a:cubicBezTo>
                  <a:pt x="10009569" y="3644161"/>
                  <a:pt x="9997953" y="3646690"/>
                  <a:pt x="10004591" y="3656906"/>
                </a:cubicBezTo>
                <a:cubicBezTo>
                  <a:pt x="9997676" y="3658424"/>
                  <a:pt x="9984123" y="3661559"/>
                  <a:pt x="9990485" y="3664796"/>
                </a:cubicBezTo>
                <a:cubicBezTo>
                  <a:pt x="9968081" y="3683813"/>
                  <a:pt x="9954805" y="3712540"/>
                  <a:pt x="9924656" y="3723869"/>
                </a:cubicBezTo>
                <a:cubicBezTo>
                  <a:pt x="9920784" y="3727106"/>
                  <a:pt x="9917188" y="3730242"/>
                  <a:pt x="9919954" y="3736716"/>
                </a:cubicBezTo>
                <a:cubicBezTo>
                  <a:pt x="9889253" y="3741166"/>
                  <a:pt x="9876530" y="3783853"/>
                  <a:pt x="9839190" y="3789821"/>
                </a:cubicBezTo>
                <a:cubicBezTo>
                  <a:pt x="9835594" y="3792956"/>
                  <a:pt x="9840296" y="3798823"/>
                  <a:pt x="9836701" y="3802060"/>
                </a:cubicBezTo>
                <a:cubicBezTo>
                  <a:pt x="9826190" y="3806713"/>
                  <a:pt x="9820382" y="3798621"/>
                  <a:pt x="9812637" y="3797913"/>
                </a:cubicBezTo>
                <a:cubicBezTo>
                  <a:pt x="9805999" y="3806410"/>
                  <a:pt x="9810978" y="3831091"/>
                  <a:pt x="9785255" y="3822695"/>
                </a:cubicBezTo>
                <a:cubicBezTo>
                  <a:pt x="9777787" y="3829068"/>
                  <a:pt x="9782212" y="3839790"/>
                  <a:pt x="9777234" y="3845657"/>
                </a:cubicBezTo>
                <a:cubicBezTo>
                  <a:pt x="9771702" y="3844443"/>
                  <a:pt x="9768383" y="3842926"/>
                  <a:pt x="9763957" y="3843937"/>
                </a:cubicBezTo>
                <a:cubicBezTo>
                  <a:pt x="9765064" y="3853041"/>
                  <a:pt x="9743490" y="3867202"/>
                  <a:pt x="9728554" y="3861133"/>
                </a:cubicBezTo>
                <a:cubicBezTo>
                  <a:pt x="9728277" y="3872867"/>
                  <a:pt x="9716384" y="3880150"/>
                  <a:pt x="9707533" y="3889152"/>
                </a:cubicBezTo>
                <a:cubicBezTo>
                  <a:pt x="9659406" y="3892794"/>
                  <a:pt x="9619024" y="3941549"/>
                  <a:pt x="9565919" y="3950956"/>
                </a:cubicBezTo>
                <a:lnTo>
                  <a:pt x="9561770" y="3952575"/>
                </a:lnTo>
                <a:lnTo>
                  <a:pt x="9576429" y="3930422"/>
                </a:lnTo>
                <a:cubicBezTo>
                  <a:pt x="9585557" y="3921420"/>
                  <a:pt x="9596897" y="3913631"/>
                  <a:pt x="9608514" y="3908675"/>
                </a:cubicBezTo>
                <a:cubicBezTo>
                  <a:pt x="9613769" y="3902909"/>
                  <a:pt x="9604642" y="3893097"/>
                  <a:pt x="9599386" y="3891985"/>
                </a:cubicBezTo>
                <a:cubicBezTo>
                  <a:pt x="9573110" y="3907157"/>
                  <a:pt x="9531622" y="3909282"/>
                  <a:pt x="9532452" y="3930119"/>
                </a:cubicBezTo>
                <a:cubicBezTo>
                  <a:pt x="9522494" y="3930018"/>
                  <a:pt x="9509771" y="3935177"/>
                  <a:pt x="9500367" y="3930220"/>
                </a:cubicBezTo>
                <a:cubicBezTo>
                  <a:pt x="9529686" y="3916767"/>
                  <a:pt x="9546834" y="3903617"/>
                  <a:pt x="9578366" y="3889557"/>
                </a:cubicBezTo>
                <a:cubicBezTo>
                  <a:pt x="9575876" y="3883083"/>
                  <a:pt x="9581685" y="3879442"/>
                  <a:pt x="9576153" y="3871248"/>
                </a:cubicBezTo>
                <a:cubicBezTo>
                  <a:pt x="9571174" y="3865280"/>
                  <a:pt x="9570898" y="3877115"/>
                  <a:pt x="9564813" y="3873777"/>
                </a:cubicBezTo>
                <a:cubicBezTo>
                  <a:pt x="9562877" y="3869529"/>
                  <a:pt x="9562047" y="3867303"/>
                  <a:pt x="9566749" y="3866292"/>
                </a:cubicBezTo>
                <a:cubicBezTo>
                  <a:pt x="9563430" y="3864673"/>
                  <a:pt x="9559004" y="3865685"/>
                  <a:pt x="9557345" y="3861335"/>
                </a:cubicBezTo>
                <a:cubicBezTo>
                  <a:pt x="9549047" y="3865584"/>
                  <a:pt x="9553196" y="3876306"/>
                  <a:pt x="9537430" y="3879846"/>
                </a:cubicBezTo>
                <a:cubicBezTo>
                  <a:pt x="9542962" y="3869225"/>
                  <a:pt x="9523048" y="3868922"/>
                  <a:pt x="9531898" y="3859919"/>
                </a:cubicBezTo>
                <a:cubicBezTo>
                  <a:pt x="9524154" y="3859312"/>
                  <a:pt x="9513644" y="3863965"/>
                  <a:pt x="9508388" y="3851018"/>
                </a:cubicBezTo>
                <a:cubicBezTo>
                  <a:pt x="9515303" y="3849501"/>
                  <a:pt x="9527196" y="3860931"/>
                  <a:pt x="9521941" y="3847983"/>
                </a:cubicBezTo>
                <a:cubicBezTo>
                  <a:pt x="9529686" y="3848590"/>
                  <a:pt x="9526367" y="3858705"/>
                  <a:pt x="9535494" y="3856682"/>
                </a:cubicBezTo>
                <a:cubicBezTo>
                  <a:pt x="9537707" y="3856177"/>
                  <a:pt x="9536047" y="3851928"/>
                  <a:pt x="9533005" y="3850310"/>
                </a:cubicBezTo>
                <a:cubicBezTo>
                  <a:pt x="9540473" y="3843937"/>
                  <a:pt x="9544622" y="3854761"/>
                  <a:pt x="9550707" y="3851119"/>
                </a:cubicBezTo>
                <a:cubicBezTo>
                  <a:pt x="9555685" y="3845252"/>
                  <a:pt x="9542132" y="3848186"/>
                  <a:pt x="9539366" y="3841712"/>
                </a:cubicBezTo>
                <a:cubicBezTo>
                  <a:pt x="9549877" y="3837059"/>
                  <a:pt x="9552090" y="3829574"/>
                  <a:pt x="9545451" y="3819357"/>
                </a:cubicBezTo>
                <a:cubicBezTo>
                  <a:pt x="9564813" y="3824415"/>
                  <a:pt x="9564259" y="3810456"/>
                  <a:pt x="9571727" y="3822897"/>
                </a:cubicBezTo>
                <a:cubicBezTo>
                  <a:pt x="9594408" y="3817840"/>
                  <a:pt x="9603812" y="3785370"/>
                  <a:pt x="9619024" y="3798419"/>
                </a:cubicBezTo>
                <a:cubicBezTo>
                  <a:pt x="9631747" y="3793260"/>
                  <a:pt x="9612386" y="3788101"/>
                  <a:pt x="9626216" y="3785066"/>
                </a:cubicBezTo>
                <a:cubicBezTo>
                  <a:pt x="9635620" y="3790023"/>
                  <a:pt x="9623173" y="3790428"/>
                  <a:pt x="9624833" y="3794777"/>
                </a:cubicBezTo>
                <a:cubicBezTo>
                  <a:pt x="9638386" y="3803476"/>
                  <a:pt x="9639769" y="3782133"/>
                  <a:pt x="9648343" y="3784864"/>
                </a:cubicBezTo>
                <a:cubicBezTo>
                  <a:pt x="9645854" y="3778492"/>
                  <a:pt x="9643641" y="3778997"/>
                  <a:pt x="9637832" y="3770804"/>
                </a:cubicBezTo>
                <a:cubicBezTo>
                  <a:pt x="9642258" y="3769792"/>
                  <a:pt x="9644747" y="3769287"/>
                  <a:pt x="9646130" y="3766657"/>
                </a:cubicBezTo>
                <a:cubicBezTo>
                  <a:pt x="9653321" y="3772119"/>
                  <a:pt x="9646407" y="3773636"/>
                  <a:pt x="9648066" y="3777885"/>
                </a:cubicBezTo>
                <a:cubicBezTo>
                  <a:pt x="9649449" y="3775255"/>
                  <a:pt x="9651662" y="3774749"/>
                  <a:pt x="9653875" y="3774243"/>
                </a:cubicBezTo>
                <a:cubicBezTo>
                  <a:pt x="9655534" y="3771613"/>
                  <a:pt x="9650832" y="3772625"/>
                  <a:pt x="9649173" y="3768275"/>
                </a:cubicBezTo>
                <a:cubicBezTo>
                  <a:pt x="9674342" y="3762712"/>
                  <a:pt x="9692321" y="3751686"/>
                  <a:pt x="9697576" y="3734086"/>
                </a:cubicBezTo>
                <a:cubicBezTo>
                  <a:pt x="9707533" y="3734288"/>
                  <a:pt x="9710299" y="3728927"/>
                  <a:pt x="9713342" y="3723566"/>
                </a:cubicBezTo>
                <a:cubicBezTo>
                  <a:pt x="9712512" y="3721442"/>
                  <a:pt x="9710576" y="3717193"/>
                  <a:pt x="9708363" y="3717699"/>
                </a:cubicBezTo>
                <a:cubicBezTo>
                  <a:pt x="9723852" y="3719014"/>
                  <a:pt x="9745426" y="3704751"/>
                  <a:pt x="9747085" y="3690287"/>
                </a:cubicBezTo>
                <a:cubicBezTo>
                  <a:pt x="9749851" y="3696760"/>
                  <a:pt x="9752617" y="3691501"/>
                  <a:pt x="9756490" y="3695344"/>
                </a:cubicBezTo>
                <a:cubicBezTo>
                  <a:pt x="9773362" y="3675215"/>
                  <a:pt x="9788297" y="3662470"/>
                  <a:pt x="9812084" y="3647803"/>
                </a:cubicBezTo>
                <a:cubicBezTo>
                  <a:pt x="9810425" y="3643554"/>
                  <a:pt x="9801297" y="3645476"/>
                  <a:pt x="9809595" y="3641329"/>
                </a:cubicBezTo>
                <a:cubicBezTo>
                  <a:pt x="9808765" y="3639205"/>
                  <a:pt x="9806552" y="3639710"/>
                  <a:pt x="9805446" y="3637485"/>
                </a:cubicBezTo>
                <a:cubicBezTo>
                  <a:pt x="9794106" y="3640014"/>
                  <a:pt x="9803510" y="3645072"/>
                  <a:pt x="9799914" y="3648207"/>
                </a:cubicBezTo>
                <a:cubicBezTo>
                  <a:pt x="9797425" y="3648713"/>
                  <a:pt x="9792999" y="3649623"/>
                  <a:pt x="9789957" y="3648005"/>
                </a:cubicBezTo>
                <a:cubicBezTo>
                  <a:pt x="9796042" y="3632529"/>
                  <a:pt x="9808765" y="3620492"/>
                  <a:pt x="9823424" y="3607746"/>
                </a:cubicBezTo>
                <a:cubicBezTo>
                  <a:pt x="9817616" y="3599654"/>
                  <a:pt x="9817616" y="3611489"/>
                  <a:pt x="9814020" y="3602790"/>
                </a:cubicBezTo>
                <a:cubicBezTo>
                  <a:pt x="9831999" y="3591865"/>
                  <a:pt x="9843615" y="3577502"/>
                  <a:pt x="9846658" y="3560407"/>
                </a:cubicBezTo>
                <a:cubicBezTo>
                  <a:pt x="9841679" y="3554439"/>
                  <a:pt x="9834488" y="3560710"/>
                  <a:pt x="9828680" y="3552618"/>
                </a:cubicBezTo>
                <a:cubicBezTo>
                  <a:pt x="9815403" y="3562632"/>
                  <a:pt x="9801021" y="3570421"/>
                  <a:pt x="9797701" y="3580637"/>
                </a:cubicBezTo>
                <a:cubicBezTo>
                  <a:pt x="9780553" y="3574973"/>
                  <a:pt x="9784425" y="3590652"/>
                  <a:pt x="9776404" y="3601778"/>
                </a:cubicBezTo>
                <a:cubicBezTo>
                  <a:pt x="9765340" y="3611287"/>
                  <a:pt x="9744043" y="3620593"/>
                  <a:pt x="9731596" y="3632731"/>
                </a:cubicBezTo>
                <a:cubicBezTo>
                  <a:pt x="9721363" y="3644364"/>
                  <a:pt x="9698682" y="3656401"/>
                  <a:pt x="9681534" y="3662571"/>
                </a:cubicBezTo>
                <a:cubicBezTo>
                  <a:pt x="9676832" y="3663582"/>
                  <a:pt x="9681534" y="3669652"/>
                  <a:pt x="9675725" y="3673293"/>
                </a:cubicBezTo>
                <a:cubicBezTo>
                  <a:pt x="9671576" y="3669449"/>
                  <a:pt x="9667981" y="3672585"/>
                  <a:pt x="9665768" y="3673091"/>
                </a:cubicBezTo>
                <a:cubicBezTo>
                  <a:pt x="9664938" y="3689680"/>
                  <a:pt x="9640322" y="3690388"/>
                  <a:pt x="9639492" y="3706977"/>
                </a:cubicBezTo>
                <a:cubicBezTo>
                  <a:pt x="9585834" y="3728219"/>
                  <a:pt x="9564259" y="3761195"/>
                  <a:pt x="9511707" y="3772726"/>
                </a:cubicBezTo>
                <a:cubicBezTo>
                  <a:pt x="9505899" y="3776469"/>
                  <a:pt x="9506176" y="3783347"/>
                  <a:pt x="9500091" y="3787090"/>
                </a:cubicBezTo>
                <a:cubicBezTo>
                  <a:pt x="9497325" y="3773636"/>
                  <a:pt x="9486261" y="3783145"/>
                  <a:pt x="9479346" y="3784662"/>
                </a:cubicBezTo>
                <a:cubicBezTo>
                  <a:pt x="9483772" y="3764836"/>
                  <a:pt x="9520835" y="3751990"/>
                  <a:pt x="9543792" y="3735198"/>
                </a:cubicBezTo>
                <a:cubicBezTo>
                  <a:pt x="9542132" y="3730849"/>
                  <a:pt x="9538537" y="3733985"/>
                  <a:pt x="9536324" y="3734490"/>
                </a:cubicBezTo>
                <a:cubicBezTo>
                  <a:pt x="9548494" y="3715372"/>
                  <a:pt x="9595514" y="3721442"/>
                  <a:pt x="9594961" y="3707483"/>
                </a:cubicBezTo>
                <a:cubicBezTo>
                  <a:pt x="9620407" y="3708899"/>
                  <a:pt x="9638386" y="3667325"/>
                  <a:pt x="9661066" y="3674102"/>
                </a:cubicBezTo>
                <a:cubicBezTo>
                  <a:pt x="9672130" y="3664594"/>
                  <a:pt x="9671300" y="3662470"/>
                  <a:pt x="9683470" y="3655086"/>
                </a:cubicBezTo>
                <a:cubicBezTo>
                  <a:pt x="9687895" y="3654074"/>
                  <a:pt x="9677108" y="3651748"/>
                  <a:pt x="9674895" y="3652253"/>
                </a:cubicBezTo>
                <a:cubicBezTo>
                  <a:pt x="9712512" y="3615839"/>
                  <a:pt x="9745703" y="3587415"/>
                  <a:pt x="9784149" y="3553124"/>
                </a:cubicBezTo>
                <a:cubicBezTo>
                  <a:pt x="9776681" y="3540682"/>
                  <a:pt x="9761745" y="3553326"/>
                  <a:pt x="9757319" y="3554338"/>
                </a:cubicBezTo>
                <a:cubicBezTo>
                  <a:pt x="9749851" y="3560710"/>
                  <a:pt x="9742107" y="3578716"/>
                  <a:pt x="9728831" y="3588730"/>
                </a:cubicBezTo>
                <a:cubicBezTo>
                  <a:pt x="9711682" y="3601879"/>
                  <a:pt x="9697023" y="3614524"/>
                  <a:pt x="9685959" y="3624032"/>
                </a:cubicBezTo>
                <a:cubicBezTo>
                  <a:pt x="9677108" y="3633034"/>
                  <a:pt x="9661066" y="3636575"/>
                  <a:pt x="9652215" y="3645577"/>
                </a:cubicBezTo>
                <a:cubicBezTo>
                  <a:pt x="9628982" y="3662369"/>
                  <a:pt x="9612386" y="3682498"/>
                  <a:pt x="9590536" y="3696659"/>
                </a:cubicBezTo>
                <a:cubicBezTo>
                  <a:pt x="9564536" y="3711832"/>
                  <a:pt x="9537430" y="3724881"/>
                  <a:pt x="9512537" y="3737424"/>
                </a:cubicBezTo>
                <a:cubicBezTo>
                  <a:pt x="9571727" y="3686746"/>
                  <a:pt x="9654704" y="3652051"/>
                  <a:pt x="9700065" y="3597530"/>
                </a:cubicBezTo>
                <a:cubicBezTo>
                  <a:pt x="9718044" y="3586504"/>
                  <a:pt x="9729660" y="3572141"/>
                  <a:pt x="9747639" y="3561115"/>
                </a:cubicBezTo>
                <a:cubicBezTo>
                  <a:pt x="9749851" y="3560609"/>
                  <a:pt x="9750405" y="3555855"/>
                  <a:pt x="9749575" y="3553630"/>
                </a:cubicBezTo>
                <a:cubicBezTo>
                  <a:pt x="9785531" y="3531680"/>
                  <a:pt x="9783319" y="3513371"/>
                  <a:pt x="9825360" y="3494658"/>
                </a:cubicBezTo>
                <a:cubicBezTo>
                  <a:pt x="9816786" y="3510640"/>
                  <a:pt x="9794382" y="3522677"/>
                  <a:pt x="9788021" y="3538153"/>
                </a:cubicBezTo>
                <a:cubicBezTo>
                  <a:pt x="9810701" y="3526116"/>
                  <a:pt x="9829509" y="3505481"/>
                  <a:pt x="9843339" y="3483733"/>
                </a:cubicBezTo>
                <a:cubicBezTo>
                  <a:pt x="9868508" y="3466436"/>
                  <a:pt x="9890912" y="3447420"/>
                  <a:pt x="9901423" y="3423952"/>
                </a:cubicBezTo>
                <a:cubicBezTo>
                  <a:pt x="9919678" y="3419906"/>
                  <a:pt x="9927422" y="3401800"/>
                  <a:pt x="9929911" y="3389459"/>
                </a:cubicBezTo>
                <a:cubicBezTo>
                  <a:pt x="9945401" y="3378940"/>
                  <a:pt x="9963379" y="3349302"/>
                  <a:pt x="9974719" y="3327959"/>
                </a:cubicBezTo>
                <a:cubicBezTo>
                  <a:pt x="9997953" y="3311167"/>
                  <a:pt x="10002931" y="3286486"/>
                  <a:pt x="10019803" y="3266357"/>
                </a:cubicBezTo>
                <a:cubicBezTo>
                  <a:pt x="10003484" y="3262918"/>
                  <a:pt x="10012059" y="3284463"/>
                  <a:pt x="9997953" y="3280518"/>
                </a:cubicBezTo>
                <a:cubicBezTo>
                  <a:pt x="9957017" y="3345964"/>
                  <a:pt x="9927146" y="3394821"/>
                  <a:pt x="9864636" y="3443778"/>
                </a:cubicBezTo>
                <a:cubicBezTo>
                  <a:pt x="9892295" y="3407161"/>
                  <a:pt x="9911380" y="3374691"/>
                  <a:pt x="9943741" y="3337063"/>
                </a:cubicBezTo>
                <a:cubicBezTo>
                  <a:pt x="9941805" y="3332814"/>
                  <a:pt x="9939592" y="3333421"/>
                  <a:pt x="9935167" y="3334433"/>
                </a:cubicBezTo>
                <a:cubicBezTo>
                  <a:pt x="9949273" y="3326543"/>
                  <a:pt x="9952868" y="3316326"/>
                  <a:pt x="9965315" y="3304188"/>
                </a:cubicBezTo>
                <a:cubicBezTo>
                  <a:pt x="9963655" y="3299838"/>
                  <a:pt x="9959507" y="3296096"/>
                  <a:pt x="9961719" y="3295590"/>
                </a:cubicBezTo>
                <a:cubicBezTo>
                  <a:pt x="9927699" y="3303176"/>
                  <a:pt x="9935167" y="3353045"/>
                  <a:pt x="9888700" y="3361036"/>
                </a:cubicBezTo>
                <a:cubicBezTo>
                  <a:pt x="9892019" y="3369634"/>
                  <a:pt x="9899487" y="3363362"/>
                  <a:pt x="9902529" y="3364981"/>
                </a:cubicBezTo>
                <a:cubicBezTo>
                  <a:pt x="9908337" y="3373073"/>
                  <a:pt x="9892848" y="3371758"/>
                  <a:pt x="9903359" y="3378838"/>
                </a:cubicBezTo>
                <a:cubicBezTo>
                  <a:pt x="9890359" y="3384098"/>
                  <a:pt x="9883168" y="3390370"/>
                  <a:pt x="9876530" y="3398867"/>
                </a:cubicBezTo>
                <a:cubicBezTo>
                  <a:pt x="9865189" y="3401395"/>
                  <a:pt x="9878466" y="3391381"/>
                  <a:pt x="9872104" y="3388144"/>
                </a:cubicBezTo>
                <a:cubicBezTo>
                  <a:pt x="9840020" y="3406959"/>
                  <a:pt x="9820935" y="3427594"/>
                  <a:pt x="9798255" y="3458344"/>
                </a:cubicBezTo>
                <a:cubicBezTo>
                  <a:pt x="9800191" y="3462694"/>
                  <a:pt x="9806552" y="3454197"/>
                  <a:pt x="9811254" y="3453185"/>
                </a:cubicBezTo>
                <a:cubicBezTo>
                  <a:pt x="9813190" y="3464515"/>
                  <a:pt x="9805723" y="3470786"/>
                  <a:pt x="9794106" y="3466335"/>
                </a:cubicBezTo>
                <a:cubicBezTo>
                  <a:pt x="9793276" y="3464211"/>
                  <a:pt x="9797701" y="3463200"/>
                  <a:pt x="9796872" y="3461075"/>
                </a:cubicBezTo>
                <a:cubicBezTo>
                  <a:pt x="9781383" y="3459760"/>
                  <a:pt x="9765064" y="3486869"/>
                  <a:pt x="9755383" y="3493748"/>
                </a:cubicBezTo>
                <a:cubicBezTo>
                  <a:pt x="9763404" y="3501334"/>
                  <a:pt x="9764787" y="3498603"/>
                  <a:pt x="9769489" y="3497591"/>
                </a:cubicBezTo>
                <a:cubicBezTo>
                  <a:pt x="9752064" y="3541289"/>
                  <a:pt x="9677385" y="3534512"/>
                  <a:pt x="9659130" y="3575984"/>
                </a:cubicBezTo>
                <a:cubicBezTo>
                  <a:pt x="9652215" y="3577502"/>
                  <a:pt x="9648343" y="3573658"/>
                  <a:pt x="9642811" y="3572545"/>
                </a:cubicBezTo>
                <a:cubicBezTo>
                  <a:pt x="9640875" y="3580031"/>
                  <a:pt x="9637279" y="3583166"/>
                  <a:pt x="9627322" y="3583065"/>
                </a:cubicBezTo>
                <a:cubicBezTo>
                  <a:pt x="9630641" y="3591663"/>
                  <a:pt x="9617641" y="3596822"/>
                  <a:pt x="9619024" y="3605926"/>
                </a:cubicBezTo>
                <a:cubicBezTo>
                  <a:pt x="9589706" y="3607645"/>
                  <a:pt x="9573110" y="3616041"/>
                  <a:pt x="9549877" y="3625853"/>
                </a:cubicBezTo>
                <a:cubicBezTo>
                  <a:pt x="9549600" y="3618873"/>
                  <a:pt x="9558728" y="3616850"/>
                  <a:pt x="9559281" y="3612096"/>
                </a:cubicBezTo>
                <a:cubicBezTo>
                  <a:pt x="9546558" y="3605420"/>
                  <a:pt x="9550430" y="3621098"/>
                  <a:pt x="9535494" y="3615029"/>
                </a:cubicBezTo>
                <a:cubicBezTo>
                  <a:pt x="9529686" y="3618671"/>
                  <a:pt x="9539643" y="3618772"/>
                  <a:pt x="9540473" y="3620896"/>
                </a:cubicBezTo>
                <a:cubicBezTo>
                  <a:pt x="9474091" y="3647297"/>
                  <a:pt x="9419879" y="3692209"/>
                  <a:pt x="9364008" y="3713855"/>
                </a:cubicBezTo>
                <a:cubicBezTo>
                  <a:pt x="9395539" y="3681082"/>
                  <a:pt x="9449751" y="3673799"/>
                  <a:pt x="9478240" y="3639407"/>
                </a:cubicBezTo>
                <a:cubicBezTo>
                  <a:pt x="9509218" y="3630202"/>
                  <a:pt x="9536600" y="3605319"/>
                  <a:pt x="9550430" y="3583470"/>
                </a:cubicBezTo>
                <a:cubicBezTo>
                  <a:pt x="9537983" y="3583874"/>
                  <a:pt x="9535218" y="3608050"/>
                  <a:pt x="9515856" y="3602891"/>
                </a:cubicBezTo>
                <a:cubicBezTo>
                  <a:pt x="9490963" y="3634248"/>
                  <a:pt x="9430667" y="3638193"/>
                  <a:pt x="9404390" y="3672079"/>
                </a:cubicBezTo>
                <a:cubicBezTo>
                  <a:pt x="9396646" y="3671472"/>
                  <a:pt x="9371476" y="3676935"/>
                  <a:pt x="9372582" y="3686139"/>
                </a:cubicBezTo>
                <a:cubicBezTo>
                  <a:pt x="9362625" y="3685937"/>
                  <a:pt x="9360413" y="3686443"/>
                  <a:pt x="9346860" y="3689477"/>
                </a:cubicBezTo>
                <a:cubicBezTo>
                  <a:pt x="9368987" y="3670562"/>
                  <a:pt x="9418496" y="3657311"/>
                  <a:pt x="9428177" y="3638699"/>
                </a:cubicBezTo>
                <a:cubicBezTo>
                  <a:pt x="9439517" y="3648005"/>
                  <a:pt x="9438411" y="3626965"/>
                  <a:pt x="9451687" y="3628786"/>
                </a:cubicBezTo>
                <a:cubicBezTo>
                  <a:pt x="9446709" y="3622818"/>
                  <a:pt x="9440071" y="3624436"/>
                  <a:pt x="9434539" y="3623223"/>
                </a:cubicBezTo>
                <a:cubicBezTo>
                  <a:pt x="9427624" y="3624740"/>
                  <a:pt x="9434815" y="3630101"/>
                  <a:pt x="9423475" y="3632630"/>
                </a:cubicBezTo>
                <a:cubicBezTo>
                  <a:pt x="9425964" y="3620390"/>
                  <a:pt x="9416560" y="3634147"/>
                  <a:pt x="9408816" y="3633540"/>
                </a:cubicBezTo>
                <a:cubicBezTo>
                  <a:pt x="9400795" y="3625954"/>
                  <a:pt x="9413241" y="3625549"/>
                  <a:pt x="9410475" y="3619075"/>
                </a:cubicBezTo>
                <a:lnTo>
                  <a:pt x="9409092" y="3619379"/>
                </a:lnTo>
                <a:lnTo>
                  <a:pt x="9402454" y="3626257"/>
                </a:lnTo>
                <a:lnTo>
                  <a:pt x="9402731" y="3627775"/>
                </a:lnTo>
                <a:cubicBezTo>
                  <a:pt x="9404390" y="3630404"/>
                  <a:pt x="9406050" y="3633034"/>
                  <a:pt x="9404390" y="3634653"/>
                </a:cubicBezTo>
                <a:cubicBezTo>
                  <a:pt x="9400795" y="3635361"/>
                  <a:pt x="9398305" y="3635260"/>
                  <a:pt x="9396093" y="3635766"/>
                </a:cubicBezTo>
                <a:lnTo>
                  <a:pt x="9389731" y="3639812"/>
                </a:lnTo>
                <a:lnTo>
                  <a:pt x="9378944" y="3651849"/>
                </a:lnTo>
                <a:lnTo>
                  <a:pt x="9378944" y="3651950"/>
                </a:lnTo>
                <a:lnTo>
                  <a:pt x="9380604" y="3656198"/>
                </a:lnTo>
                <a:lnTo>
                  <a:pt x="9366221" y="3661256"/>
                </a:lnTo>
                <a:lnTo>
                  <a:pt x="9356264" y="3668438"/>
                </a:lnTo>
                <a:cubicBezTo>
                  <a:pt x="9357647" y="3673091"/>
                  <a:pt x="9357370" y="3675417"/>
                  <a:pt x="9354051" y="3679565"/>
                </a:cubicBezTo>
                <a:cubicBezTo>
                  <a:pt x="9311456" y="3699896"/>
                  <a:pt x="9282691" y="3746730"/>
                  <a:pt x="9241202" y="3762611"/>
                </a:cubicBezTo>
                <a:cubicBezTo>
                  <a:pt x="9225160" y="3781324"/>
                  <a:pt x="9209948" y="3797812"/>
                  <a:pt x="9181735" y="3806106"/>
                </a:cubicBezTo>
                <a:cubicBezTo>
                  <a:pt x="9146055" y="3840801"/>
                  <a:pt x="9092950" y="3864471"/>
                  <a:pt x="9052844" y="3896435"/>
                </a:cubicBezTo>
                <a:cubicBezTo>
                  <a:pt x="9053398" y="3905640"/>
                  <a:pt x="9061419" y="3890568"/>
                  <a:pt x="9061419" y="3901999"/>
                </a:cubicBezTo>
                <a:cubicBezTo>
                  <a:pt x="9052568" y="3910091"/>
                  <a:pt x="9040674" y="3908877"/>
                  <a:pt x="9028505" y="3909787"/>
                </a:cubicBezTo>
                <a:cubicBezTo>
                  <a:pt x="9009973" y="3919093"/>
                  <a:pt x="9007207" y="3932344"/>
                  <a:pt x="8986463" y="3939223"/>
                </a:cubicBezTo>
                <a:cubicBezTo>
                  <a:pt x="8976506" y="3940437"/>
                  <a:pt x="8978442" y="3931434"/>
                  <a:pt x="8970421" y="3935076"/>
                </a:cubicBezTo>
                <a:cubicBezTo>
                  <a:pt x="8968761" y="3943977"/>
                  <a:pt x="8963506" y="3945798"/>
                  <a:pt x="8968761" y="3955407"/>
                </a:cubicBezTo>
                <a:cubicBezTo>
                  <a:pt x="8961846" y="3954598"/>
                  <a:pt x="8955761" y="3960869"/>
                  <a:pt x="8960463" y="3961375"/>
                </a:cubicBezTo>
                <a:cubicBezTo>
                  <a:pt x="8957144" y="3965522"/>
                  <a:pt x="8943315" y="3961780"/>
                  <a:pt x="8935570" y="3965421"/>
                </a:cubicBezTo>
                <a:cubicBezTo>
                  <a:pt x="8934464" y="3969872"/>
                  <a:pt x="8945804" y="3962083"/>
                  <a:pt x="8941655" y="3970681"/>
                </a:cubicBezTo>
                <a:cubicBezTo>
                  <a:pt x="8939443" y="3970378"/>
                  <a:pt x="8941379" y="3972907"/>
                  <a:pt x="8940826" y="3975132"/>
                </a:cubicBezTo>
                <a:cubicBezTo>
                  <a:pt x="8912613" y="3971996"/>
                  <a:pt x="8896295" y="3992935"/>
                  <a:pt x="8873338" y="3999510"/>
                </a:cubicBezTo>
                <a:cubicBezTo>
                  <a:pt x="8872784" y="4001735"/>
                  <a:pt x="8874720" y="4004163"/>
                  <a:pt x="8874167" y="4006388"/>
                </a:cubicBezTo>
                <a:cubicBezTo>
                  <a:pt x="8866146" y="3998700"/>
                  <a:pt x="8812764" y="4024697"/>
                  <a:pt x="8805020" y="4039768"/>
                </a:cubicBezTo>
                <a:cubicBezTo>
                  <a:pt x="8741681" y="4055548"/>
                  <a:pt x="8701575" y="4087411"/>
                  <a:pt x="8640172" y="4105618"/>
                </a:cubicBezTo>
                <a:cubicBezTo>
                  <a:pt x="8634640" y="4109563"/>
                  <a:pt x="8646257" y="4110878"/>
                  <a:pt x="8642661" y="4117251"/>
                </a:cubicBezTo>
                <a:cubicBezTo>
                  <a:pt x="8636023" y="4114318"/>
                  <a:pt x="8624683" y="4122106"/>
                  <a:pt x="8621917" y="4112699"/>
                </a:cubicBezTo>
                <a:cubicBezTo>
                  <a:pt x="8610300" y="4122814"/>
                  <a:pt x="8574067" y="4123320"/>
                  <a:pt x="8571854" y="4134447"/>
                </a:cubicBezTo>
                <a:cubicBezTo>
                  <a:pt x="8567982" y="4140921"/>
                  <a:pt x="8565216" y="4131513"/>
                  <a:pt x="8559408" y="4135458"/>
                </a:cubicBezTo>
                <a:cubicBezTo>
                  <a:pt x="8554429" y="4137178"/>
                  <a:pt x="8563280" y="4140415"/>
                  <a:pt x="8557748" y="4144259"/>
                </a:cubicBezTo>
                <a:cubicBezTo>
                  <a:pt x="8566046" y="4138392"/>
                  <a:pt x="8563280" y="4140415"/>
                  <a:pt x="8574897" y="4141730"/>
                </a:cubicBezTo>
                <a:cubicBezTo>
                  <a:pt x="8573237" y="4150631"/>
                  <a:pt x="8559684" y="4146889"/>
                  <a:pt x="8551663" y="4150530"/>
                </a:cubicBezTo>
                <a:cubicBezTo>
                  <a:pt x="8553046" y="4143854"/>
                  <a:pt x="8551110" y="4141325"/>
                  <a:pt x="8548621" y="4141123"/>
                </a:cubicBezTo>
                <a:cubicBezTo>
                  <a:pt x="8538940" y="4142236"/>
                  <a:pt x="8537557" y="4148912"/>
                  <a:pt x="8525664" y="4147597"/>
                </a:cubicBezTo>
                <a:cubicBezTo>
                  <a:pt x="8527600" y="4150126"/>
                  <a:pt x="8529260" y="4154779"/>
                  <a:pt x="8536728" y="4153362"/>
                </a:cubicBezTo>
                <a:cubicBezTo>
                  <a:pt x="8533408" y="4157510"/>
                  <a:pt x="8522068" y="4153969"/>
                  <a:pt x="8522345" y="4151744"/>
                </a:cubicBezTo>
                <a:cubicBezTo>
                  <a:pt x="8512388" y="4166613"/>
                  <a:pt x="8472005" y="4150732"/>
                  <a:pt x="8465367" y="4172784"/>
                </a:cubicBezTo>
                <a:cubicBezTo>
                  <a:pt x="8454304" y="4167018"/>
                  <a:pt x="8430517" y="4178145"/>
                  <a:pt x="8427751" y="4180067"/>
                </a:cubicBezTo>
                <a:cubicBezTo>
                  <a:pt x="8409496" y="4187147"/>
                  <a:pt x="8390135" y="4187248"/>
                  <a:pt x="8369944" y="4191800"/>
                </a:cubicBezTo>
                <a:cubicBezTo>
                  <a:pt x="8357221" y="4194936"/>
                  <a:pt x="8332328" y="4199083"/>
                  <a:pt x="8326796" y="4214357"/>
                </a:cubicBezTo>
                <a:cubicBezTo>
                  <a:pt x="8302179" y="4204849"/>
                  <a:pt x="8258755" y="4229530"/>
                  <a:pt x="8229159" y="4221741"/>
                </a:cubicBezTo>
                <a:cubicBezTo>
                  <a:pt x="8223904" y="4223461"/>
                  <a:pt x="8221138" y="4225484"/>
                  <a:pt x="8219755" y="4232160"/>
                </a:cubicBezTo>
                <a:cubicBezTo>
                  <a:pt x="8177437" y="4227406"/>
                  <a:pt x="8150331" y="4242680"/>
                  <a:pt x="8103588" y="4246625"/>
                </a:cubicBezTo>
                <a:cubicBezTo>
                  <a:pt x="8104694" y="4242174"/>
                  <a:pt x="8103034" y="4237420"/>
                  <a:pt x="8103864" y="4232969"/>
                </a:cubicBezTo>
                <a:cubicBezTo>
                  <a:pt x="8092247" y="4231755"/>
                  <a:pt x="8093354" y="4238634"/>
                  <a:pt x="8089481" y="4245108"/>
                </a:cubicBezTo>
                <a:cubicBezTo>
                  <a:pt x="8071227" y="4240758"/>
                  <a:pt x="8061822" y="4251076"/>
                  <a:pt x="8048270" y="4247333"/>
                </a:cubicBezTo>
                <a:cubicBezTo>
                  <a:pt x="8056567" y="4241365"/>
                  <a:pt x="8070397" y="4245209"/>
                  <a:pt x="8063482" y="4230744"/>
                </a:cubicBezTo>
                <a:cubicBezTo>
                  <a:pt x="8072886" y="4231857"/>
                  <a:pt x="8074822" y="4234385"/>
                  <a:pt x="8083396" y="4228417"/>
                </a:cubicBezTo>
                <a:cubicBezTo>
                  <a:pt x="8078418" y="4216583"/>
                  <a:pt x="8075652" y="4218504"/>
                  <a:pt x="8075375" y="4207074"/>
                </a:cubicBezTo>
                <a:cubicBezTo>
                  <a:pt x="8083120" y="4205658"/>
                  <a:pt x="8107460" y="4192407"/>
                  <a:pt x="8114651" y="4204545"/>
                </a:cubicBezTo>
                <a:cubicBezTo>
                  <a:pt x="8136225" y="4193318"/>
                  <a:pt x="8179926" y="4202725"/>
                  <a:pt x="8195415" y="4186136"/>
                </a:cubicBezTo>
                <a:cubicBezTo>
                  <a:pt x="8202883" y="4196150"/>
                  <a:pt x="8217819" y="4181887"/>
                  <a:pt x="8232755" y="4178954"/>
                </a:cubicBezTo>
                <a:cubicBezTo>
                  <a:pt x="8244925" y="4178044"/>
                  <a:pt x="8285584" y="4191598"/>
                  <a:pt x="8291392" y="4162668"/>
                </a:cubicBezTo>
                <a:cubicBezTo>
                  <a:pt x="8301349" y="4161455"/>
                  <a:pt x="8290562" y="4167119"/>
                  <a:pt x="8297201" y="4170154"/>
                </a:cubicBezTo>
                <a:cubicBezTo>
                  <a:pt x="8314073" y="4169749"/>
                  <a:pt x="8331498" y="4167119"/>
                  <a:pt x="8333710" y="4155992"/>
                </a:cubicBezTo>
                <a:cubicBezTo>
                  <a:pt x="8342285" y="4161455"/>
                  <a:pt x="8373539" y="4162668"/>
                  <a:pt x="8377135" y="4144866"/>
                </a:cubicBezTo>
                <a:cubicBezTo>
                  <a:pt x="8411985" y="4151036"/>
                  <a:pt x="8483899" y="4127063"/>
                  <a:pt x="8509898" y="4093581"/>
                </a:cubicBezTo>
                <a:cubicBezTo>
                  <a:pt x="8511558" y="4098335"/>
                  <a:pt x="8516260" y="4098841"/>
                  <a:pt x="8523728" y="4097425"/>
                </a:cubicBezTo>
                <a:cubicBezTo>
                  <a:pt x="8522345" y="4092671"/>
                  <a:pt x="8511558" y="4098335"/>
                  <a:pt x="8515707" y="4089738"/>
                </a:cubicBezTo>
                <a:cubicBezTo>
                  <a:pt x="8556089" y="4080533"/>
                  <a:pt x="8602833" y="4051502"/>
                  <a:pt x="8642661" y="4044522"/>
                </a:cubicBezTo>
                <a:cubicBezTo>
                  <a:pt x="8646257" y="4051704"/>
                  <a:pt x="8637130" y="4048467"/>
                  <a:pt x="8637959" y="4055447"/>
                </a:cubicBezTo>
                <a:cubicBezTo>
                  <a:pt x="8652619" y="4054739"/>
                  <a:pt x="8676129" y="4045939"/>
                  <a:pt x="8671703" y="4031777"/>
                </a:cubicBezTo>
                <a:cubicBezTo>
                  <a:pt x="8680001" y="4025910"/>
                  <a:pt x="8688022" y="4022269"/>
                  <a:pt x="8702682" y="4021561"/>
                </a:cubicBezTo>
                <a:cubicBezTo>
                  <a:pt x="8706830" y="4024292"/>
                  <a:pt x="8699362" y="4025809"/>
                  <a:pt x="8698533" y="4030260"/>
                </a:cubicBezTo>
                <a:cubicBezTo>
                  <a:pt x="8715128" y="4032081"/>
                  <a:pt x="8711809" y="4024798"/>
                  <a:pt x="8724256" y="4021662"/>
                </a:cubicBezTo>
                <a:cubicBezTo>
                  <a:pt x="8722873" y="4017009"/>
                  <a:pt x="8711809" y="4024899"/>
                  <a:pt x="8713469" y="4015997"/>
                </a:cubicBezTo>
                <a:cubicBezTo>
                  <a:pt x="8728404" y="4013064"/>
                  <a:pt x="8730341" y="4004163"/>
                  <a:pt x="8744723" y="4003556"/>
                </a:cubicBezTo>
                <a:cubicBezTo>
                  <a:pt x="8743617" y="4010232"/>
                  <a:pt x="8737808" y="4014076"/>
                  <a:pt x="8728958" y="4010839"/>
                </a:cubicBezTo>
                <a:cubicBezTo>
                  <a:pt x="8730894" y="4013266"/>
                  <a:pt x="8735596" y="4013873"/>
                  <a:pt x="8734766" y="4018324"/>
                </a:cubicBezTo>
                <a:cubicBezTo>
                  <a:pt x="8747766" y="4012963"/>
                  <a:pt x="8755787" y="4009220"/>
                  <a:pt x="8753574" y="3995362"/>
                </a:cubicBezTo>
                <a:cubicBezTo>
                  <a:pt x="8761319" y="3993946"/>
                  <a:pt x="8757170" y="4002544"/>
                  <a:pt x="8758829" y="4005073"/>
                </a:cubicBezTo>
                <a:cubicBezTo>
                  <a:pt x="8808062" y="3987776"/>
                  <a:pt x="8835168" y="3949743"/>
                  <a:pt x="8892146" y="3928804"/>
                </a:cubicBezTo>
                <a:cubicBezTo>
                  <a:pt x="8896571" y="3931535"/>
                  <a:pt x="8900720" y="3934367"/>
                  <a:pt x="8907911" y="3935076"/>
                </a:cubicBezTo>
                <a:cubicBezTo>
                  <a:pt x="8912613" y="3924252"/>
                  <a:pt x="8929762" y="3921521"/>
                  <a:pt x="8925613" y="3907461"/>
                </a:cubicBezTo>
                <a:cubicBezTo>
                  <a:pt x="8956315" y="3897245"/>
                  <a:pt x="8976782" y="3879037"/>
                  <a:pt x="8997250" y="3860830"/>
                </a:cubicBezTo>
                <a:cubicBezTo>
                  <a:pt x="9081610" y="3824617"/>
                  <a:pt x="9138864" y="3767264"/>
                  <a:pt x="9211054" y="3720632"/>
                </a:cubicBezTo>
                <a:lnTo>
                  <a:pt x="9226266" y="3704246"/>
                </a:lnTo>
                <a:lnTo>
                  <a:pt x="9208288" y="3710315"/>
                </a:lnTo>
                <a:cubicBezTo>
                  <a:pt x="9190033" y="3715777"/>
                  <a:pt x="9171778" y="3721138"/>
                  <a:pt x="9154906" y="3731860"/>
                </a:cubicBezTo>
                <a:cubicBezTo>
                  <a:pt x="9151864" y="3730242"/>
                  <a:pt x="9146332" y="3729028"/>
                  <a:pt x="9140800" y="3727915"/>
                </a:cubicBezTo>
                <a:cubicBezTo>
                  <a:pt x="9140800" y="3733782"/>
                  <a:pt x="9136928" y="3733479"/>
                  <a:pt x="9131949" y="3732164"/>
                </a:cubicBezTo>
                <a:lnTo>
                  <a:pt x="9125864" y="3731557"/>
                </a:lnTo>
                <a:lnTo>
                  <a:pt x="9101524" y="3749461"/>
                </a:lnTo>
                <a:cubicBezTo>
                  <a:pt x="9100695" y="3753912"/>
                  <a:pt x="9103184" y="3754215"/>
                  <a:pt x="9104567" y="3758868"/>
                </a:cubicBezTo>
                <a:cubicBezTo>
                  <a:pt x="9097375" y="3746730"/>
                  <a:pt x="9074142" y="3766859"/>
                  <a:pt x="9083546" y="3767871"/>
                </a:cubicBezTo>
                <a:cubicBezTo>
                  <a:pt x="9043164" y="3788506"/>
                  <a:pt x="8985633" y="3823100"/>
                  <a:pt x="8956315" y="3849399"/>
                </a:cubicBezTo>
                <a:cubicBezTo>
                  <a:pt x="8956038" y="3851625"/>
                  <a:pt x="8948293" y="3853142"/>
                  <a:pt x="8948847" y="3850917"/>
                </a:cubicBezTo>
                <a:cubicBezTo>
                  <a:pt x="8941379" y="3852333"/>
                  <a:pt x="8948017" y="3855367"/>
                  <a:pt x="8944698" y="3859515"/>
                </a:cubicBezTo>
                <a:cubicBezTo>
                  <a:pt x="8932528" y="3860425"/>
                  <a:pt x="8914549" y="3865280"/>
                  <a:pt x="8912337" y="3876407"/>
                </a:cubicBezTo>
                <a:cubicBezTo>
                  <a:pt x="8881912" y="3884398"/>
                  <a:pt x="8839870" y="3913935"/>
                  <a:pt x="8811658" y="3922229"/>
                </a:cubicBezTo>
                <a:cubicBezTo>
                  <a:pt x="8808339" y="3926376"/>
                  <a:pt x="8805296" y="3930524"/>
                  <a:pt x="8802254" y="3932547"/>
                </a:cubicBezTo>
                <a:cubicBezTo>
                  <a:pt x="8794786" y="3933963"/>
                  <a:pt x="8790084" y="3933457"/>
                  <a:pt x="8783169" y="3932648"/>
                </a:cubicBezTo>
                <a:cubicBezTo>
                  <a:pt x="8777084" y="3938818"/>
                  <a:pt x="8768233" y="3947011"/>
                  <a:pt x="8751361" y="3947315"/>
                </a:cubicBezTo>
                <a:cubicBezTo>
                  <a:pt x="8750255" y="3940437"/>
                  <a:pt x="8753021" y="3938515"/>
                  <a:pt x="8744170" y="3935177"/>
                </a:cubicBezTo>
                <a:cubicBezTo>
                  <a:pt x="8735596" y="3941145"/>
                  <a:pt x="8746936" y="3944584"/>
                  <a:pt x="8745553" y="3951260"/>
                </a:cubicBezTo>
                <a:cubicBezTo>
                  <a:pt x="8736702" y="3959352"/>
                  <a:pt x="8729234" y="3949540"/>
                  <a:pt x="8722043" y="3948731"/>
                </a:cubicBezTo>
                <a:cubicBezTo>
                  <a:pt x="8728404" y="3965320"/>
                  <a:pt x="8714022" y="3977357"/>
                  <a:pt x="8691618" y="3968051"/>
                </a:cubicBezTo>
                <a:cubicBezTo>
                  <a:pt x="8681937" y="3969265"/>
                  <a:pt x="8684427" y="3980999"/>
                  <a:pt x="8675023" y="3979886"/>
                </a:cubicBezTo>
                <a:cubicBezTo>
                  <a:pt x="8674469" y="3982111"/>
                  <a:pt x="8673640" y="3986562"/>
                  <a:pt x="8678342" y="3987068"/>
                </a:cubicBezTo>
                <a:cubicBezTo>
                  <a:pt x="8672810" y="3991013"/>
                  <a:pt x="8663682" y="3987776"/>
                  <a:pt x="8664236" y="3996880"/>
                </a:cubicBezTo>
                <a:cubicBezTo>
                  <a:pt x="8657321" y="3996172"/>
                  <a:pt x="8635747" y="3996070"/>
                  <a:pt x="8635747" y="4007399"/>
                </a:cubicBezTo>
                <a:cubicBezTo>
                  <a:pt x="8631045" y="4006894"/>
                  <a:pt x="8632428" y="4000117"/>
                  <a:pt x="8627449" y="3999611"/>
                </a:cubicBezTo>
                <a:cubicBezTo>
                  <a:pt x="8623577" y="4008310"/>
                  <a:pt x="8611683" y="4006995"/>
                  <a:pt x="8611960" y="4018425"/>
                </a:cubicBezTo>
                <a:cubicBezTo>
                  <a:pt x="8604769" y="4017616"/>
                  <a:pt x="8590663" y="4015997"/>
                  <a:pt x="8594535" y="4021055"/>
                </a:cubicBezTo>
                <a:cubicBezTo>
                  <a:pt x="8563557" y="4031271"/>
                  <a:pt x="8535068" y="4053120"/>
                  <a:pt x="8501047" y="4053930"/>
                </a:cubicBezTo>
                <a:cubicBezTo>
                  <a:pt x="8496069" y="4055649"/>
                  <a:pt x="8490814" y="4057369"/>
                  <a:pt x="8489431" y="4064045"/>
                </a:cubicBezTo>
                <a:cubicBezTo>
                  <a:pt x="8459282" y="4058481"/>
                  <a:pt x="8423602" y="4093076"/>
                  <a:pt x="8386263" y="4086703"/>
                </a:cubicBezTo>
                <a:cubicBezTo>
                  <a:pt x="8381007" y="4088423"/>
                  <a:pt x="8382114" y="4095402"/>
                  <a:pt x="8376858" y="4097122"/>
                </a:cubicBezTo>
                <a:cubicBezTo>
                  <a:pt x="8364689" y="4098032"/>
                  <a:pt x="8364135" y="4088827"/>
                  <a:pt x="8357497" y="4085793"/>
                </a:cubicBezTo>
                <a:cubicBezTo>
                  <a:pt x="8346710" y="4091457"/>
                  <a:pt x="8337030" y="4115430"/>
                  <a:pt x="8318498" y="4099752"/>
                </a:cubicBezTo>
                <a:cubicBezTo>
                  <a:pt x="8308264" y="4103090"/>
                  <a:pt x="8306051" y="4114318"/>
                  <a:pt x="8298030" y="4117959"/>
                </a:cubicBezTo>
                <a:cubicBezTo>
                  <a:pt x="8293881" y="4115228"/>
                  <a:pt x="8291945" y="4112699"/>
                  <a:pt x="8287243" y="4112193"/>
                </a:cubicBezTo>
                <a:cubicBezTo>
                  <a:pt x="8283094" y="4120791"/>
                  <a:pt x="8255435" y="4126962"/>
                  <a:pt x="8245478" y="4116745"/>
                </a:cubicBezTo>
                <a:cubicBezTo>
                  <a:pt x="8238287" y="4127366"/>
                  <a:pt x="8223351" y="4130198"/>
                  <a:pt x="8210351" y="4135560"/>
                </a:cubicBezTo>
                <a:cubicBezTo>
                  <a:pt x="8164437" y="4123725"/>
                  <a:pt x="8100268" y="4155284"/>
                  <a:pt x="8046610" y="4146990"/>
                </a:cubicBezTo>
                <a:cubicBezTo>
                  <a:pt x="8039972" y="4144056"/>
                  <a:pt x="8034993" y="4157105"/>
                  <a:pt x="8033334" y="4152351"/>
                </a:cubicBezTo>
                <a:cubicBezTo>
                  <a:pt x="8051035" y="4136166"/>
                  <a:pt x="8082567" y="4123725"/>
                  <a:pt x="8109396" y="4122106"/>
                </a:cubicBezTo>
                <a:cubicBezTo>
                  <a:pt x="8117417" y="4118465"/>
                  <a:pt x="8114928" y="4106832"/>
                  <a:pt x="8110502" y="4104101"/>
                </a:cubicBezTo>
                <a:cubicBezTo>
                  <a:pt x="8078141" y="4109563"/>
                  <a:pt x="8039419" y="4098538"/>
                  <a:pt x="8028355" y="4117757"/>
                </a:cubicBezTo>
                <a:cubicBezTo>
                  <a:pt x="8019504" y="4114520"/>
                  <a:pt x="8004845" y="4115127"/>
                  <a:pt x="7999037" y="4107642"/>
                </a:cubicBezTo>
                <a:cubicBezTo>
                  <a:pt x="8033334" y="4104607"/>
                  <a:pt x="8056291" y="4098133"/>
                  <a:pt x="8093077" y="4095301"/>
                </a:cubicBezTo>
                <a:cubicBezTo>
                  <a:pt x="8094460" y="4088625"/>
                  <a:pt x="8101928" y="4087209"/>
                  <a:pt x="8101375" y="4078004"/>
                </a:cubicBezTo>
                <a:cubicBezTo>
                  <a:pt x="8100268" y="4071125"/>
                  <a:pt x="8093354" y="4081645"/>
                  <a:pt x="8089481" y="4076689"/>
                </a:cubicBezTo>
                <a:cubicBezTo>
                  <a:pt x="8090588" y="4072238"/>
                  <a:pt x="8090864" y="4070013"/>
                  <a:pt x="8095566" y="4070519"/>
                </a:cubicBezTo>
                <a:cubicBezTo>
                  <a:pt x="8093630" y="4068091"/>
                  <a:pt x="8088928" y="4067484"/>
                  <a:pt x="8089758" y="4063033"/>
                </a:cubicBezTo>
                <a:cubicBezTo>
                  <a:pt x="8080077" y="4064247"/>
                  <a:pt x="8077865" y="4075374"/>
                  <a:pt x="8061269" y="4073553"/>
                </a:cubicBezTo>
                <a:cubicBezTo>
                  <a:pt x="8072609" y="4065663"/>
                  <a:pt x="8054631" y="4059190"/>
                  <a:pt x="8067631" y="4053828"/>
                </a:cubicBezTo>
                <a:cubicBezTo>
                  <a:pt x="8064312" y="4052362"/>
                  <a:pt x="8059610" y="4051856"/>
                  <a:pt x="8056083" y="4050048"/>
                </a:cubicBezTo>
                <a:lnTo>
                  <a:pt x="8052616" y="4041104"/>
                </a:lnTo>
                <a:lnTo>
                  <a:pt x="8042910" y="4039792"/>
                </a:lnTo>
                <a:cubicBezTo>
                  <a:pt x="8040421" y="4046215"/>
                  <a:pt x="8031017" y="4052386"/>
                  <a:pt x="8022788" y="4058303"/>
                </a:cubicBezTo>
                <a:lnTo>
                  <a:pt x="8013480" y="4070406"/>
                </a:lnTo>
                <a:lnTo>
                  <a:pt x="8023584" y="4070342"/>
                </a:lnTo>
                <a:cubicBezTo>
                  <a:pt x="8028769" y="4071201"/>
                  <a:pt x="8034025" y="4071783"/>
                  <a:pt x="8035823" y="4068597"/>
                </a:cubicBezTo>
                <a:cubicBezTo>
                  <a:pt x="8039142" y="4070114"/>
                  <a:pt x="8041355" y="4071429"/>
                  <a:pt x="8042185" y="4073149"/>
                </a:cubicBezTo>
                <a:cubicBezTo>
                  <a:pt x="8043014" y="4074969"/>
                  <a:pt x="8042461" y="4077093"/>
                  <a:pt x="8040802" y="4080229"/>
                </a:cubicBezTo>
                <a:cubicBezTo>
                  <a:pt x="8038036" y="4082252"/>
                  <a:pt x="8033334" y="4081645"/>
                  <a:pt x="8028632" y="4081140"/>
                </a:cubicBezTo>
                <a:cubicBezTo>
                  <a:pt x="8032227" y="4074868"/>
                  <a:pt x="8018121" y="4073351"/>
                  <a:pt x="8019228" y="4080229"/>
                </a:cubicBezTo>
                <a:cubicBezTo>
                  <a:pt x="8014387" y="4080786"/>
                  <a:pt x="8014111" y="4079066"/>
                  <a:pt x="8014249" y="4076841"/>
                </a:cubicBezTo>
                <a:lnTo>
                  <a:pt x="8012333" y="4071897"/>
                </a:lnTo>
                <a:lnTo>
                  <a:pt x="8009719" y="4075296"/>
                </a:lnTo>
                <a:cubicBezTo>
                  <a:pt x="8009857" y="4078786"/>
                  <a:pt x="8007921" y="4078609"/>
                  <a:pt x="8005605" y="4078230"/>
                </a:cubicBezTo>
                <a:lnTo>
                  <a:pt x="8002927" y="4078950"/>
                </a:lnTo>
                <a:lnTo>
                  <a:pt x="8003739" y="4083163"/>
                </a:lnTo>
                <a:lnTo>
                  <a:pt x="7999439" y="4080547"/>
                </a:lnTo>
                <a:lnTo>
                  <a:pt x="8000557" y="4083452"/>
                </a:lnTo>
                <a:cubicBezTo>
                  <a:pt x="8002251" y="4084552"/>
                  <a:pt x="8004049" y="4085917"/>
                  <a:pt x="8002528" y="4088547"/>
                </a:cubicBezTo>
                <a:cubicBezTo>
                  <a:pt x="8006954" y="4080556"/>
                  <a:pt x="8005294" y="4083186"/>
                  <a:pt x="8016911" y="4080657"/>
                </a:cubicBezTo>
                <a:cubicBezTo>
                  <a:pt x="8020230" y="4089356"/>
                  <a:pt x="8005847" y="4090267"/>
                  <a:pt x="8000592" y="4096032"/>
                </a:cubicBezTo>
                <a:cubicBezTo>
                  <a:pt x="7998103" y="4089559"/>
                  <a:pt x="7995060" y="4087839"/>
                  <a:pt x="7992571" y="4088345"/>
                </a:cubicBezTo>
                <a:cubicBezTo>
                  <a:pt x="7984273" y="4092593"/>
                  <a:pt x="7987039" y="4099067"/>
                  <a:pt x="7975422" y="4101596"/>
                </a:cubicBezTo>
                <a:cubicBezTo>
                  <a:pt x="7978741" y="4103214"/>
                  <a:pt x="7982614" y="4106957"/>
                  <a:pt x="7988699" y="4103315"/>
                </a:cubicBezTo>
                <a:cubicBezTo>
                  <a:pt x="7988145" y="4108171"/>
                  <a:pt x="7975699" y="4108474"/>
                  <a:pt x="7974869" y="4106350"/>
                </a:cubicBezTo>
                <a:lnTo>
                  <a:pt x="7967271" y="4111882"/>
                </a:lnTo>
                <a:lnTo>
                  <a:pt x="7969441" y="4111485"/>
                </a:lnTo>
                <a:cubicBezTo>
                  <a:pt x="7969995" y="4113812"/>
                  <a:pt x="7969718" y="4115531"/>
                  <a:pt x="7969165" y="4116948"/>
                </a:cubicBezTo>
                <a:cubicBezTo>
                  <a:pt x="7968612" y="4118263"/>
                  <a:pt x="7967782" y="4119274"/>
                  <a:pt x="7967505" y="4120387"/>
                </a:cubicBezTo>
                <a:lnTo>
                  <a:pt x="7963203" y="4114843"/>
                </a:lnTo>
                <a:lnTo>
                  <a:pt x="7952258" y="4122813"/>
                </a:lnTo>
                <a:cubicBezTo>
                  <a:pt x="7941609" y="4127238"/>
                  <a:pt x="7931859" y="4132346"/>
                  <a:pt x="7935040" y="4143372"/>
                </a:cubicBezTo>
                <a:cubicBezTo>
                  <a:pt x="7922040" y="4141551"/>
                  <a:pt x="7906551" y="4159050"/>
                  <a:pt x="7905168" y="4161680"/>
                </a:cubicBezTo>
                <a:cubicBezTo>
                  <a:pt x="7892722" y="4173920"/>
                  <a:pt x="7875297" y="4179989"/>
                  <a:pt x="7859531" y="4190509"/>
                </a:cubicBezTo>
                <a:cubicBezTo>
                  <a:pt x="7849850" y="4197286"/>
                  <a:pt x="7829659" y="4208918"/>
                  <a:pt x="7833532" y="4224496"/>
                </a:cubicBezTo>
                <a:cubicBezTo>
                  <a:pt x="7819564" y="4224041"/>
                  <a:pt x="7806287" y="4232841"/>
                  <a:pt x="7792561" y="4242034"/>
                </a:cubicBezTo>
                <a:lnTo>
                  <a:pt x="7780094" y="4249711"/>
                </a:lnTo>
                <a:lnTo>
                  <a:pt x="7780530" y="4250064"/>
                </a:lnTo>
                <a:lnTo>
                  <a:pt x="7779331" y="4250181"/>
                </a:lnTo>
                <a:lnTo>
                  <a:pt x="7771493" y="4255008"/>
                </a:lnTo>
                <a:lnTo>
                  <a:pt x="7769843" y="4255513"/>
                </a:lnTo>
                <a:lnTo>
                  <a:pt x="7808466" y="4255223"/>
                </a:lnTo>
                <a:cubicBezTo>
                  <a:pt x="7814274" y="4252492"/>
                  <a:pt x="7815934" y="4244096"/>
                  <a:pt x="7820913" y="4243489"/>
                </a:cubicBezTo>
                <a:cubicBezTo>
                  <a:pt x="7822572" y="4243287"/>
                  <a:pt x="7824508" y="4243995"/>
                  <a:pt x="7827274" y="4245917"/>
                </a:cubicBezTo>
                <a:cubicBezTo>
                  <a:pt x="7826168" y="4250367"/>
                  <a:pt x="7824232" y="4247940"/>
                  <a:pt x="7824232" y="4247940"/>
                </a:cubicBezTo>
                <a:cubicBezTo>
                  <a:pt x="7814551" y="4249154"/>
                  <a:pt x="7823955" y="4261494"/>
                  <a:pt x="7825891" y="4264023"/>
                </a:cubicBezTo>
                <a:cubicBezTo>
                  <a:pt x="7809918" y="4253706"/>
                  <a:pt x="7780720" y="4261083"/>
                  <a:pt x="7754401" y="4263070"/>
                </a:cubicBezTo>
                <a:lnTo>
                  <a:pt x="7748693" y="4262917"/>
                </a:lnTo>
                <a:lnTo>
                  <a:pt x="7746406" y="4274162"/>
                </a:lnTo>
                <a:cubicBezTo>
                  <a:pt x="7705470" y="4283164"/>
                  <a:pt x="7689428" y="4305519"/>
                  <a:pt x="7649599" y="4323726"/>
                </a:cubicBezTo>
                <a:cubicBezTo>
                  <a:pt x="7647663" y="4319377"/>
                  <a:pt x="7643791" y="4315533"/>
                  <a:pt x="7642131" y="4311285"/>
                </a:cubicBezTo>
                <a:cubicBezTo>
                  <a:pt x="7630791" y="4313813"/>
                  <a:pt x="7635493" y="4319680"/>
                  <a:pt x="7635770" y="4326660"/>
                </a:cubicBezTo>
                <a:cubicBezTo>
                  <a:pt x="7616685" y="4328582"/>
                  <a:pt x="7614196" y="4340922"/>
                  <a:pt x="7599537" y="4341732"/>
                </a:cubicBezTo>
                <a:cubicBezTo>
                  <a:pt x="7603962" y="4333740"/>
                  <a:pt x="7618345" y="4332931"/>
                  <a:pt x="7603962" y="4322007"/>
                </a:cubicBezTo>
                <a:cubicBezTo>
                  <a:pt x="7613366" y="4319984"/>
                  <a:pt x="7616409" y="4321703"/>
                  <a:pt x="7620557" y="4313712"/>
                </a:cubicBezTo>
                <a:cubicBezTo>
                  <a:pt x="7609494" y="4304406"/>
                  <a:pt x="7608111" y="4307036"/>
                  <a:pt x="7601473" y="4296820"/>
                </a:cubicBezTo>
                <a:cubicBezTo>
                  <a:pt x="7607558" y="4293077"/>
                  <a:pt x="7621940" y="4273454"/>
                  <a:pt x="7635493" y="4282254"/>
                </a:cubicBezTo>
                <a:cubicBezTo>
                  <a:pt x="7648493" y="4265260"/>
                  <a:pt x="7693577" y="4260000"/>
                  <a:pt x="7698003" y="4240276"/>
                </a:cubicBezTo>
                <a:cubicBezTo>
                  <a:pt x="7710726" y="4246851"/>
                  <a:pt x="7715981" y="4229250"/>
                  <a:pt x="7727874" y="4221866"/>
                </a:cubicBezTo>
                <a:cubicBezTo>
                  <a:pt x="7738661" y="4217213"/>
                  <a:pt x="7783192" y="4216808"/>
                  <a:pt x="7771852" y="4188688"/>
                </a:cubicBezTo>
                <a:cubicBezTo>
                  <a:pt x="7780150" y="4184541"/>
                  <a:pt x="7773512" y="4193038"/>
                  <a:pt x="7781256" y="4193644"/>
                </a:cubicBezTo>
                <a:cubicBezTo>
                  <a:pt x="7796469" y="4187980"/>
                  <a:pt x="7810575" y="4180191"/>
                  <a:pt x="7806426" y="4169368"/>
                </a:cubicBezTo>
                <a:cubicBezTo>
                  <a:pt x="7817213" y="4171694"/>
                  <a:pt x="7845978" y="4162995"/>
                  <a:pt x="7839063" y="4145698"/>
                </a:cubicBezTo>
                <a:cubicBezTo>
                  <a:pt x="7847844" y="4144358"/>
                  <a:pt x="7857681" y="4140584"/>
                  <a:pt x="7867565" y="4135074"/>
                </a:cubicBezTo>
                <a:lnTo>
                  <a:pt x="7886034" y="4121577"/>
                </a:lnTo>
                <a:lnTo>
                  <a:pt x="7869039" y="4118768"/>
                </a:lnTo>
                <a:cubicBezTo>
                  <a:pt x="7864337" y="4118263"/>
                  <a:pt x="7859082" y="4119881"/>
                  <a:pt x="7856593" y="4119577"/>
                </a:cubicBezTo>
                <a:cubicBezTo>
                  <a:pt x="7857146" y="4117352"/>
                  <a:pt x="7861848" y="4117959"/>
                  <a:pt x="7864890" y="4115936"/>
                </a:cubicBezTo>
                <a:cubicBezTo>
                  <a:pt x="7874571" y="4115835"/>
                  <a:pt x="7880656" y="4115329"/>
                  <a:pt x="7886464" y="4115127"/>
                </a:cubicBezTo>
                <a:lnTo>
                  <a:pt x="7894994" y="4115030"/>
                </a:lnTo>
                <a:lnTo>
                  <a:pt x="7896352" y="4114037"/>
                </a:lnTo>
                <a:lnTo>
                  <a:pt x="7907924" y="4094940"/>
                </a:lnTo>
                <a:lnTo>
                  <a:pt x="7885635" y="4094997"/>
                </a:lnTo>
                <a:cubicBezTo>
                  <a:pt x="7882316" y="4087917"/>
                  <a:pt x="7884805" y="4088119"/>
                  <a:pt x="7888124" y="4083972"/>
                </a:cubicBezTo>
                <a:cubicBezTo>
                  <a:pt x="7891443" y="4091154"/>
                  <a:pt x="7899671" y="4092064"/>
                  <a:pt x="7907658" y="4089826"/>
                </a:cubicBezTo>
                <a:lnTo>
                  <a:pt x="7913633" y="4085518"/>
                </a:lnTo>
                <a:lnTo>
                  <a:pt x="7928297" y="4061318"/>
                </a:lnTo>
                <a:lnTo>
                  <a:pt x="7924634" y="4058583"/>
                </a:lnTo>
                <a:cubicBezTo>
                  <a:pt x="7922145" y="4058380"/>
                  <a:pt x="7921315" y="4062528"/>
                  <a:pt x="7916613" y="4062022"/>
                </a:cubicBezTo>
                <a:cubicBezTo>
                  <a:pt x="7917719" y="4055750"/>
                  <a:pt x="7923251" y="4054233"/>
                  <a:pt x="7933485" y="4053120"/>
                </a:cubicBezTo>
                <a:cubicBezTo>
                  <a:pt x="7932932" y="4055245"/>
                  <a:pt x="7930442" y="4054941"/>
                  <a:pt x="7927676" y="4056762"/>
                </a:cubicBezTo>
                <a:lnTo>
                  <a:pt x="7929255" y="4059738"/>
                </a:lnTo>
                <a:lnTo>
                  <a:pt x="7930615" y="4057493"/>
                </a:lnTo>
                <a:cubicBezTo>
                  <a:pt x="7934487" y="4061236"/>
                  <a:pt x="7939189" y="4060224"/>
                  <a:pt x="7944997" y="4056583"/>
                </a:cubicBezTo>
                <a:cubicBezTo>
                  <a:pt x="7941125" y="4052840"/>
                  <a:pt x="7934487" y="4061337"/>
                  <a:pt x="7933381" y="4052233"/>
                </a:cubicBezTo>
                <a:cubicBezTo>
                  <a:pt x="7956821" y="4036454"/>
                  <a:pt x="7977306" y="4009465"/>
                  <a:pt x="7999619" y="3989020"/>
                </a:cubicBezTo>
                <a:lnTo>
                  <a:pt x="8014436" y="3977727"/>
                </a:lnTo>
                <a:lnTo>
                  <a:pt x="8001526" y="3976447"/>
                </a:lnTo>
                <a:cubicBezTo>
                  <a:pt x="8000973" y="3978672"/>
                  <a:pt x="8006228" y="3976953"/>
                  <a:pt x="8005398" y="3981504"/>
                </a:cubicBezTo>
                <a:cubicBezTo>
                  <a:pt x="7997377" y="3985247"/>
                  <a:pt x="7999037" y="3976245"/>
                  <a:pt x="7991569" y="3977661"/>
                </a:cubicBezTo>
                <a:cubicBezTo>
                  <a:pt x="8004568" y="3973918"/>
                  <a:pt x="8018121" y="3967343"/>
                  <a:pt x="8031121" y="3965522"/>
                </a:cubicBezTo>
                <a:lnTo>
                  <a:pt x="8042531" y="3965614"/>
                </a:lnTo>
                <a:lnTo>
                  <a:pt x="8041804" y="3950777"/>
                </a:lnTo>
                <a:cubicBezTo>
                  <a:pt x="8046229" y="3942786"/>
                  <a:pt x="8051208" y="3937021"/>
                  <a:pt x="8063931" y="3931862"/>
                </a:cubicBezTo>
                <a:cubicBezTo>
                  <a:pt x="8069463" y="3932975"/>
                  <a:pt x="8063378" y="3936717"/>
                  <a:pt x="8065314" y="3940966"/>
                </a:cubicBezTo>
                <a:cubicBezTo>
                  <a:pt x="8081080" y="3937425"/>
                  <a:pt x="8074165" y="3931963"/>
                  <a:pt x="8083846" y="3925186"/>
                </a:cubicBezTo>
                <a:cubicBezTo>
                  <a:pt x="8079697" y="3921342"/>
                  <a:pt x="8074165" y="3931963"/>
                  <a:pt x="8070569" y="3923264"/>
                </a:cubicBezTo>
                <a:cubicBezTo>
                  <a:pt x="8082739" y="3915981"/>
                  <a:pt x="8079144" y="3907383"/>
                  <a:pt x="8091867" y="3902224"/>
                </a:cubicBezTo>
                <a:cubicBezTo>
                  <a:pt x="8094633" y="3908698"/>
                  <a:pt x="8091867" y="3914059"/>
                  <a:pt x="8081633" y="3913857"/>
                </a:cubicBezTo>
                <a:cubicBezTo>
                  <a:pt x="8084952" y="3915576"/>
                  <a:pt x="8089377" y="3914565"/>
                  <a:pt x="8091037" y="3918813"/>
                </a:cubicBezTo>
                <a:cubicBezTo>
                  <a:pt x="8099888" y="3909811"/>
                  <a:pt x="8105143" y="3903944"/>
                  <a:pt x="8095462" y="3892008"/>
                </a:cubicBezTo>
                <a:cubicBezTo>
                  <a:pt x="8101271" y="3888366"/>
                  <a:pt x="8102377" y="3897571"/>
                  <a:pt x="8105696" y="3899190"/>
                </a:cubicBezTo>
                <a:lnTo>
                  <a:pt x="8140901" y="3847958"/>
                </a:lnTo>
                <a:lnTo>
                  <a:pt x="8100683" y="3854748"/>
                </a:lnTo>
                <a:cubicBezTo>
                  <a:pt x="8082705" y="3858029"/>
                  <a:pt x="8065107" y="3861282"/>
                  <a:pt x="8048062" y="3863847"/>
                </a:cubicBezTo>
                <a:lnTo>
                  <a:pt x="8041908" y="3864468"/>
                </a:lnTo>
                <a:lnTo>
                  <a:pt x="8047093" y="3878656"/>
                </a:lnTo>
                <a:cubicBezTo>
                  <a:pt x="8044224" y="3883966"/>
                  <a:pt x="8036272" y="3887456"/>
                  <a:pt x="8023549" y="3886748"/>
                </a:cubicBezTo>
                <a:cubicBezTo>
                  <a:pt x="8015251" y="3890895"/>
                  <a:pt x="8024379" y="3900707"/>
                  <a:pt x="8015251" y="3902730"/>
                </a:cubicBezTo>
                <a:cubicBezTo>
                  <a:pt x="8016081" y="3904854"/>
                  <a:pt x="8017741" y="3909103"/>
                  <a:pt x="8022166" y="3908192"/>
                </a:cubicBezTo>
                <a:cubicBezTo>
                  <a:pt x="8019400" y="3913452"/>
                  <a:pt x="8009443" y="3913351"/>
                  <a:pt x="8015251" y="3921443"/>
                </a:cubicBezTo>
                <a:cubicBezTo>
                  <a:pt x="8008337" y="3922961"/>
                  <a:pt x="7988699" y="3929637"/>
                  <a:pt x="7995337" y="3939954"/>
                </a:cubicBezTo>
                <a:cubicBezTo>
                  <a:pt x="7990635" y="3940966"/>
                  <a:pt x="7988145" y="3934391"/>
                  <a:pt x="7983720" y="3935402"/>
                </a:cubicBezTo>
                <a:cubicBezTo>
                  <a:pt x="7984273" y="3940005"/>
                  <a:pt x="7981645" y="3942938"/>
                  <a:pt x="7979709" y="3945998"/>
                </a:cubicBezTo>
                <a:lnTo>
                  <a:pt x="7979764" y="3950508"/>
                </a:lnTo>
                <a:lnTo>
                  <a:pt x="7989148" y="3949642"/>
                </a:lnTo>
                <a:cubicBezTo>
                  <a:pt x="8001111" y="3949540"/>
                  <a:pt x="8014664" y="3950451"/>
                  <a:pt x="8028355" y="3947416"/>
                </a:cubicBezTo>
                <a:cubicBezTo>
                  <a:pt x="8020057" y="3953334"/>
                  <a:pt x="8008994" y="3954952"/>
                  <a:pt x="7996927" y="3955597"/>
                </a:cubicBezTo>
                <a:lnTo>
                  <a:pt x="7979839" y="3956665"/>
                </a:lnTo>
                <a:lnTo>
                  <a:pt x="7979848" y="3957352"/>
                </a:lnTo>
                <a:cubicBezTo>
                  <a:pt x="7972933" y="3958870"/>
                  <a:pt x="7959380" y="3962005"/>
                  <a:pt x="7965742" y="3965242"/>
                </a:cubicBezTo>
                <a:lnTo>
                  <a:pt x="7954381" y="3977516"/>
                </a:lnTo>
                <a:lnTo>
                  <a:pt x="7957271" y="3978065"/>
                </a:lnTo>
                <a:cubicBezTo>
                  <a:pt x="7956995" y="3980392"/>
                  <a:pt x="7955889" y="3985045"/>
                  <a:pt x="7958378" y="3985247"/>
                </a:cubicBezTo>
                <a:cubicBezTo>
                  <a:pt x="7957548" y="3989900"/>
                  <a:pt x="7952846" y="3989394"/>
                  <a:pt x="7948144" y="3988889"/>
                </a:cubicBezTo>
                <a:lnTo>
                  <a:pt x="7950359" y="3981861"/>
                </a:lnTo>
                <a:lnTo>
                  <a:pt x="7935732" y="3997662"/>
                </a:lnTo>
                <a:cubicBezTo>
                  <a:pt x="7925844" y="4008637"/>
                  <a:pt x="7914987" y="4018651"/>
                  <a:pt x="7899913" y="4024315"/>
                </a:cubicBezTo>
                <a:cubicBezTo>
                  <a:pt x="7896041" y="4027552"/>
                  <a:pt x="7892445" y="4030688"/>
                  <a:pt x="7895211" y="4037162"/>
                </a:cubicBezTo>
                <a:cubicBezTo>
                  <a:pt x="7864510" y="4041612"/>
                  <a:pt x="7851787" y="4084299"/>
                  <a:pt x="7814447" y="4090267"/>
                </a:cubicBezTo>
                <a:cubicBezTo>
                  <a:pt x="7810851" y="4093402"/>
                  <a:pt x="7815553" y="4099269"/>
                  <a:pt x="7811958" y="4102506"/>
                </a:cubicBezTo>
                <a:cubicBezTo>
                  <a:pt x="7801447" y="4107159"/>
                  <a:pt x="7795639" y="4099067"/>
                  <a:pt x="7787894" y="4098359"/>
                </a:cubicBezTo>
                <a:cubicBezTo>
                  <a:pt x="7781256" y="4106856"/>
                  <a:pt x="7786235" y="4131537"/>
                  <a:pt x="7760512" y="4123141"/>
                </a:cubicBezTo>
                <a:cubicBezTo>
                  <a:pt x="7753044" y="4129514"/>
                  <a:pt x="7757469" y="4140236"/>
                  <a:pt x="7752491" y="4146103"/>
                </a:cubicBezTo>
                <a:cubicBezTo>
                  <a:pt x="7746959" y="4144889"/>
                  <a:pt x="7743640" y="4143372"/>
                  <a:pt x="7739214" y="4144383"/>
                </a:cubicBezTo>
                <a:cubicBezTo>
                  <a:pt x="7740321" y="4153487"/>
                  <a:pt x="7718747" y="4167648"/>
                  <a:pt x="7703811" y="4161579"/>
                </a:cubicBezTo>
                <a:cubicBezTo>
                  <a:pt x="7703534" y="4173313"/>
                  <a:pt x="7691641" y="4180596"/>
                  <a:pt x="7682790" y="4189598"/>
                </a:cubicBezTo>
                <a:cubicBezTo>
                  <a:pt x="7634663" y="4193240"/>
                  <a:pt x="7594281" y="4241995"/>
                  <a:pt x="7541176" y="4251402"/>
                </a:cubicBezTo>
                <a:lnTo>
                  <a:pt x="7537027" y="4253021"/>
                </a:lnTo>
                <a:lnTo>
                  <a:pt x="7551686" y="4230868"/>
                </a:lnTo>
                <a:cubicBezTo>
                  <a:pt x="7560814" y="4221866"/>
                  <a:pt x="7572154" y="4214077"/>
                  <a:pt x="7583771" y="4209121"/>
                </a:cubicBezTo>
                <a:cubicBezTo>
                  <a:pt x="7589026" y="4203355"/>
                  <a:pt x="7579899" y="4193543"/>
                  <a:pt x="7574643" y="4192431"/>
                </a:cubicBezTo>
                <a:cubicBezTo>
                  <a:pt x="7548367" y="4207603"/>
                  <a:pt x="7506879" y="4209728"/>
                  <a:pt x="7507709" y="4230565"/>
                </a:cubicBezTo>
                <a:cubicBezTo>
                  <a:pt x="7497751" y="4230464"/>
                  <a:pt x="7485028" y="4235623"/>
                  <a:pt x="7475624" y="4230666"/>
                </a:cubicBezTo>
                <a:cubicBezTo>
                  <a:pt x="7504943" y="4217213"/>
                  <a:pt x="7522091" y="4204063"/>
                  <a:pt x="7553623" y="4190003"/>
                </a:cubicBezTo>
                <a:cubicBezTo>
                  <a:pt x="7551133" y="4183529"/>
                  <a:pt x="7556942" y="4179888"/>
                  <a:pt x="7551410" y="4171694"/>
                </a:cubicBezTo>
                <a:cubicBezTo>
                  <a:pt x="7546431" y="4165726"/>
                  <a:pt x="7546155" y="4177561"/>
                  <a:pt x="7540070" y="4174223"/>
                </a:cubicBezTo>
                <a:cubicBezTo>
                  <a:pt x="7538134" y="4169975"/>
                  <a:pt x="7537304" y="4167749"/>
                  <a:pt x="7542006" y="4166738"/>
                </a:cubicBezTo>
                <a:cubicBezTo>
                  <a:pt x="7538687" y="4165119"/>
                  <a:pt x="7534261" y="4166131"/>
                  <a:pt x="7532602" y="4161781"/>
                </a:cubicBezTo>
                <a:cubicBezTo>
                  <a:pt x="7524304" y="4166030"/>
                  <a:pt x="7528453" y="4176752"/>
                  <a:pt x="7512687" y="4180292"/>
                </a:cubicBezTo>
                <a:cubicBezTo>
                  <a:pt x="7518219" y="4169671"/>
                  <a:pt x="7498305" y="4169368"/>
                  <a:pt x="7507155" y="4160365"/>
                </a:cubicBezTo>
                <a:cubicBezTo>
                  <a:pt x="7499411" y="4159758"/>
                  <a:pt x="7488901" y="4164411"/>
                  <a:pt x="7483645" y="4151464"/>
                </a:cubicBezTo>
                <a:cubicBezTo>
                  <a:pt x="7490560" y="4149947"/>
                  <a:pt x="7502453" y="4161377"/>
                  <a:pt x="7497198" y="4148429"/>
                </a:cubicBezTo>
                <a:cubicBezTo>
                  <a:pt x="7504943" y="4149036"/>
                  <a:pt x="7501624" y="4159151"/>
                  <a:pt x="7510751" y="4157128"/>
                </a:cubicBezTo>
                <a:cubicBezTo>
                  <a:pt x="7512964" y="4156623"/>
                  <a:pt x="7511304" y="4152374"/>
                  <a:pt x="7508262" y="4150756"/>
                </a:cubicBezTo>
                <a:cubicBezTo>
                  <a:pt x="7515730" y="4144383"/>
                  <a:pt x="7519879" y="4155207"/>
                  <a:pt x="7525964" y="4151565"/>
                </a:cubicBezTo>
                <a:cubicBezTo>
                  <a:pt x="7530942" y="4145698"/>
                  <a:pt x="7517389" y="4148632"/>
                  <a:pt x="7514623" y="4142158"/>
                </a:cubicBezTo>
                <a:cubicBezTo>
                  <a:pt x="7525134" y="4137505"/>
                  <a:pt x="7527347" y="4130020"/>
                  <a:pt x="7520708" y="4119803"/>
                </a:cubicBezTo>
                <a:cubicBezTo>
                  <a:pt x="7540070" y="4124861"/>
                  <a:pt x="7539516" y="4110902"/>
                  <a:pt x="7546984" y="4123343"/>
                </a:cubicBezTo>
                <a:cubicBezTo>
                  <a:pt x="7569665" y="4118286"/>
                  <a:pt x="7579069" y="4085816"/>
                  <a:pt x="7594281" y="4098865"/>
                </a:cubicBezTo>
                <a:cubicBezTo>
                  <a:pt x="7607004" y="4093706"/>
                  <a:pt x="7587643" y="4088547"/>
                  <a:pt x="7601473" y="4085512"/>
                </a:cubicBezTo>
                <a:cubicBezTo>
                  <a:pt x="7610877" y="4090469"/>
                  <a:pt x="7598430" y="4090874"/>
                  <a:pt x="7600090" y="4095223"/>
                </a:cubicBezTo>
                <a:cubicBezTo>
                  <a:pt x="7613643" y="4103922"/>
                  <a:pt x="7615026" y="4082579"/>
                  <a:pt x="7623600" y="4085310"/>
                </a:cubicBezTo>
                <a:cubicBezTo>
                  <a:pt x="7621111" y="4078938"/>
                  <a:pt x="7618898" y="4079443"/>
                  <a:pt x="7613089" y="4071250"/>
                </a:cubicBezTo>
                <a:cubicBezTo>
                  <a:pt x="7617515" y="4070238"/>
                  <a:pt x="7620004" y="4069733"/>
                  <a:pt x="7621387" y="4067103"/>
                </a:cubicBezTo>
                <a:cubicBezTo>
                  <a:pt x="7628578" y="4072565"/>
                  <a:pt x="7621664" y="4074082"/>
                  <a:pt x="7623323" y="4078331"/>
                </a:cubicBezTo>
                <a:cubicBezTo>
                  <a:pt x="7624706" y="4075701"/>
                  <a:pt x="7626919" y="4075195"/>
                  <a:pt x="7629132" y="4074689"/>
                </a:cubicBezTo>
                <a:cubicBezTo>
                  <a:pt x="7630791" y="4072059"/>
                  <a:pt x="7626089" y="4073071"/>
                  <a:pt x="7624430" y="4068721"/>
                </a:cubicBezTo>
                <a:cubicBezTo>
                  <a:pt x="7649599" y="4063158"/>
                  <a:pt x="7667578" y="4052132"/>
                  <a:pt x="7672833" y="4034532"/>
                </a:cubicBezTo>
                <a:cubicBezTo>
                  <a:pt x="7682790" y="4034734"/>
                  <a:pt x="7685556" y="4029373"/>
                  <a:pt x="7688599" y="4024012"/>
                </a:cubicBezTo>
                <a:cubicBezTo>
                  <a:pt x="7687769" y="4021888"/>
                  <a:pt x="7685833" y="4017639"/>
                  <a:pt x="7683620" y="4018145"/>
                </a:cubicBezTo>
                <a:cubicBezTo>
                  <a:pt x="7699109" y="4019460"/>
                  <a:pt x="7720683" y="4005197"/>
                  <a:pt x="7722342" y="3990733"/>
                </a:cubicBezTo>
                <a:cubicBezTo>
                  <a:pt x="7725108" y="3997206"/>
                  <a:pt x="7727874" y="3991947"/>
                  <a:pt x="7731747" y="3995790"/>
                </a:cubicBezTo>
                <a:cubicBezTo>
                  <a:pt x="7740183" y="3985726"/>
                  <a:pt x="7748135" y="3977507"/>
                  <a:pt x="7756951" y="3969972"/>
                </a:cubicBezTo>
                <a:lnTo>
                  <a:pt x="7768098" y="3962003"/>
                </a:lnTo>
                <a:lnTo>
                  <a:pt x="7766148" y="3961679"/>
                </a:lnTo>
                <a:lnTo>
                  <a:pt x="7770318" y="3960417"/>
                </a:lnTo>
                <a:lnTo>
                  <a:pt x="7787341" y="3948249"/>
                </a:lnTo>
                <a:cubicBezTo>
                  <a:pt x="7785682" y="3944000"/>
                  <a:pt x="7776554" y="3945922"/>
                  <a:pt x="7784852" y="3941775"/>
                </a:cubicBezTo>
                <a:cubicBezTo>
                  <a:pt x="7784022" y="3939651"/>
                  <a:pt x="7781809" y="3940156"/>
                  <a:pt x="7780703" y="3937931"/>
                </a:cubicBezTo>
                <a:cubicBezTo>
                  <a:pt x="7769363" y="3940460"/>
                  <a:pt x="7778767" y="3945518"/>
                  <a:pt x="7775171" y="3948653"/>
                </a:cubicBezTo>
                <a:cubicBezTo>
                  <a:pt x="7772682" y="3949159"/>
                  <a:pt x="7768256" y="3950069"/>
                  <a:pt x="7765214" y="3948451"/>
                </a:cubicBezTo>
                <a:cubicBezTo>
                  <a:pt x="7771299" y="3932975"/>
                  <a:pt x="7784022" y="3920938"/>
                  <a:pt x="7798681" y="3908192"/>
                </a:cubicBezTo>
                <a:cubicBezTo>
                  <a:pt x="7792873" y="3900100"/>
                  <a:pt x="7792873" y="3911935"/>
                  <a:pt x="7789277" y="3903236"/>
                </a:cubicBezTo>
                <a:cubicBezTo>
                  <a:pt x="7807256" y="3892311"/>
                  <a:pt x="7818872" y="3877948"/>
                  <a:pt x="7821915" y="3860853"/>
                </a:cubicBezTo>
                <a:cubicBezTo>
                  <a:pt x="7816936" y="3854885"/>
                  <a:pt x="7809745" y="3861156"/>
                  <a:pt x="7803937" y="3853064"/>
                </a:cubicBezTo>
                <a:cubicBezTo>
                  <a:pt x="7790660" y="3863078"/>
                  <a:pt x="7776278" y="3870867"/>
                  <a:pt x="7772958" y="3881083"/>
                </a:cubicBezTo>
                <a:cubicBezTo>
                  <a:pt x="7755810" y="3875419"/>
                  <a:pt x="7759682" y="3891098"/>
                  <a:pt x="7751661" y="3902224"/>
                </a:cubicBezTo>
                <a:cubicBezTo>
                  <a:pt x="7740597" y="3911733"/>
                  <a:pt x="7719300" y="3921039"/>
                  <a:pt x="7706853" y="3933177"/>
                </a:cubicBezTo>
                <a:cubicBezTo>
                  <a:pt x="7696620" y="3944810"/>
                  <a:pt x="7673939" y="3956847"/>
                  <a:pt x="7656791" y="3963017"/>
                </a:cubicBezTo>
                <a:cubicBezTo>
                  <a:pt x="7652089" y="3964028"/>
                  <a:pt x="7656791" y="3970098"/>
                  <a:pt x="7650982" y="3973739"/>
                </a:cubicBezTo>
                <a:cubicBezTo>
                  <a:pt x="7646833" y="3969895"/>
                  <a:pt x="7643238" y="3973031"/>
                  <a:pt x="7641025" y="3973537"/>
                </a:cubicBezTo>
                <a:cubicBezTo>
                  <a:pt x="7640195" y="3990126"/>
                  <a:pt x="7615579" y="3990834"/>
                  <a:pt x="7614749" y="4007423"/>
                </a:cubicBezTo>
                <a:cubicBezTo>
                  <a:pt x="7561091" y="4028665"/>
                  <a:pt x="7539516" y="4061641"/>
                  <a:pt x="7486964" y="4073172"/>
                </a:cubicBezTo>
                <a:cubicBezTo>
                  <a:pt x="7481156" y="4076915"/>
                  <a:pt x="7481433" y="4083793"/>
                  <a:pt x="7475348" y="4087536"/>
                </a:cubicBezTo>
                <a:cubicBezTo>
                  <a:pt x="7472582" y="4074082"/>
                  <a:pt x="7461518" y="4083591"/>
                  <a:pt x="7454603" y="4085108"/>
                </a:cubicBezTo>
                <a:cubicBezTo>
                  <a:pt x="7459029" y="4065282"/>
                  <a:pt x="7496092" y="4052436"/>
                  <a:pt x="7519049" y="4035644"/>
                </a:cubicBezTo>
                <a:cubicBezTo>
                  <a:pt x="7517389" y="4031295"/>
                  <a:pt x="7513794" y="4034431"/>
                  <a:pt x="7511581" y="4034936"/>
                </a:cubicBezTo>
                <a:cubicBezTo>
                  <a:pt x="7523751" y="4015818"/>
                  <a:pt x="7570771" y="4021888"/>
                  <a:pt x="7570218" y="4007929"/>
                </a:cubicBezTo>
                <a:cubicBezTo>
                  <a:pt x="7595664" y="4009345"/>
                  <a:pt x="7613643" y="3967771"/>
                  <a:pt x="7636323" y="3974548"/>
                </a:cubicBezTo>
                <a:cubicBezTo>
                  <a:pt x="7647387" y="3965040"/>
                  <a:pt x="7646557" y="3962916"/>
                  <a:pt x="7658727" y="3955532"/>
                </a:cubicBezTo>
                <a:cubicBezTo>
                  <a:pt x="7663152" y="3954520"/>
                  <a:pt x="7652365" y="3952194"/>
                  <a:pt x="7650152" y="3952699"/>
                </a:cubicBezTo>
                <a:cubicBezTo>
                  <a:pt x="7687769" y="3916285"/>
                  <a:pt x="7720960" y="3887861"/>
                  <a:pt x="7759406" y="3853570"/>
                </a:cubicBezTo>
                <a:cubicBezTo>
                  <a:pt x="7751938" y="3841128"/>
                  <a:pt x="7737002" y="3853772"/>
                  <a:pt x="7732576" y="3854784"/>
                </a:cubicBezTo>
                <a:cubicBezTo>
                  <a:pt x="7725108" y="3861156"/>
                  <a:pt x="7717364" y="3879162"/>
                  <a:pt x="7704088" y="3889176"/>
                </a:cubicBezTo>
                <a:cubicBezTo>
                  <a:pt x="7686939" y="3902325"/>
                  <a:pt x="7672280" y="3914970"/>
                  <a:pt x="7661216" y="3924478"/>
                </a:cubicBezTo>
                <a:cubicBezTo>
                  <a:pt x="7652365" y="3933480"/>
                  <a:pt x="7636323" y="3937021"/>
                  <a:pt x="7627472" y="3946023"/>
                </a:cubicBezTo>
                <a:cubicBezTo>
                  <a:pt x="7604239" y="3962815"/>
                  <a:pt x="7587643" y="3982944"/>
                  <a:pt x="7565793" y="3997105"/>
                </a:cubicBezTo>
                <a:cubicBezTo>
                  <a:pt x="7539793" y="4012278"/>
                  <a:pt x="7512687" y="4025327"/>
                  <a:pt x="7487794" y="4037870"/>
                </a:cubicBezTo>
                <a:cubicBezTo>
                  <a:pt x="7546984" y="3987192"/>
                  <a:pt x="7629961" y="3952497"/>
                  <a:pt x="7675322" y="3897976"/>
                </a:cubicBezTo>
                <a:cubicBezTo>
                  <a:pt x="7693301" y="3886950"/>
                  <a:pt x="7704917" y="3872587"/>
                  <a:pt x="7722896" y="3861561"/>
                </a:cubicBezTo>
                <a:cubicBezTo>
                  <a:pt x="7725108" y="3861055"/>
                  <a:pt x="7725662" y="3856301"/>
                  <a:pt x="7724832" y="3854076"/>
                </a:cubicBezTo>
                <a:cubicBezTo>
                  <a:pt x="7742810" y="3843101"/>
                  <a:pt x="7751246" y="3833036"/>
                  <a:pt x="7760442" y="3823376"/>
                </a:cubicBezTo>
                <a:lnTo>
                  <a:pt x="7776696" y="3811938"/>
                </a:lnTo>
                <a:lnTo>
                  <a:pt x="7765595" y="3806713"/>
                </a:lnTo>
                <a:cubicBezTo>
                  <a:pt x="7758680" y="3805904"/>
                  <a:pt x="7752042" y="3814300"/>
                  <a:pt x="7742638" y="3813288"/>
                </a:cubicBezTo>
                <a:lnTo>
                  <a:pt x="7732713" y="3811613"/>
                </a:lnTo>
                <a:lnTo>
                  <a:pt x="7722718" y="3822889"/>
                </a:lnTo>
                <a:cubicBezTo>
                  <a:pt x="7693508" y="3841362"/>
                  <a:pt x="7648078" y="3845326"/>
                  <a:pt x="7634387" y="3876430"/>
                </a:cubicBezTo>
                <a:cubicBezTo>
                  <a:pt x="7627472" y="3877948"/>
                  <a:pt x="7623600" y="3874104"/>
                  <a:pt x="7618068" y="3872991"/>
                </a:cubicBezTo>
                <a:cubicBezTo>
                  <a:pt x="7616132" y="3880477"/>
                  <a:pt x="7612536" y="3883612"/>
                  <a:pt x="7602579" y="3883511"/>
                </a:cubicBezTo>
                <a:cubicBezTo>
                  <a:pt x="7605898" y="3892109"/>
                  <a:pt x="7592898" y="3897268"/>
                  <a:pt x="7594281" y="3906372"/>
                </a:cubicBezTo>
                <a:cubicBezTo>
                  <a:pt x="7564963" y="3908091"/>
                  <a:pt x="7548367" y="3916487"/>
                  <a:pt x="7525134" y="3926299"/>
                </a:cubicBezTo>
                <a:cubicBezTo>
                  <a:pt x="7524857" y="3919319"/>
                  <a:pt x="7533985" y="3917296"/>
                  <a:pt x="7534538" y="3912542"/>
                </a:cubicBezTo>
                <a:cubicBezTo>
                  <a:pt x="7521815" y="3905866"/>
                  <a:pt x="7525687" y="3921544"/>
                  <a:pt x="7510751" y="3915475"/>
                </a:cubicBezTo>
                <a:cubicBezTo>
                  <a:pt x="7504943" y="3919117"/>
                  <a:pt x="7514900" y="3919218"/>
                  <a:pt x="7515730" y="3921342"/>
                </a:cubicBezTo>
                <a:cubicBezTo>
                  <a:pt x="7449348" y="3947743"/>
                  <a:pt x="7395136" y="3992655"/>
                  <a:pt x="7339265" y="4014301"/>
                </a:cubicBezTo>
                <a:cubicBezTo>
                  <a:pt x="7370796" y="3981528"/>
                  <a:pt x="7425008" y="3974245"/>
                  <a:pt x="7453497" y="3939853"/>
                </a:cubicBezTo>
                <a:cubicBezTo>
                  <a:pt x="7484475" y="3930648"/>
                  <a:pt x="7511857" y="3905765"/>
                  <a:pt x="7525687" y="3883916"/>
                </a:cubicBezTo>
                <a:cubicBezTo>
                  <a:pt x="7513240" y="3884320"/>
                  <a:pt x="7510475" y="3908496"/>
                  <a:pt x="7491113" y="3903337"/>
                </a:cubicBezTo>
                <a:cubicBezTo>
                  <a:pt x="7466220" y="3934694"/>
                  <a:pt x="7405924" y="3938639"/>
                  <a:pt x="7379647" y="3972525"/>
                </a:cubicBezTo>
                <a:cubicBezTo>
                  <a:pt x="7371903" y="3971918"/>
                  <a:pt x="7346733" y="3977381"/>
                  <a:pt x="7347839" y="3986585"/>
                </a:cubicBezTo>
                <a:cubicBezTo>
                  <a:pt x="7337882" y="3986383"/>
                  <a:pt x="7335670" y="3986889"/>
                  <a:pt x="7322117" y="3989923"/>
                </a:cubicBezTo>
                <a:cubicBezTo>
                  <a:pt x="7344244" y="3971008"/>
                  <a:pt x="7393753" y="3957757"/>
                  <a:pt x="7403434" y="3939145"/>
                </a:cubicBezTo>
                <a:cubicBezTo>
                  <a:pt x="7414774" y="3948451"/>
                  <a:pt x="7413668" y="3927411"/>
                  <a:pt x="7426944" y="3929232"/>
                </a:cubicBezTo>
                <a:cubicBezTo>
                  <a:pt x="7421966" y="3923264"/>
                  <a:pt x="7415328" y="3924882"/>
                  <a:pt x="7409796" y="3923669"/>
                </a:cubicBezTo>
                <a:cubicBezTo>
                  <a:pt x="7402881" y="3925186"/>
                  <a:pt x="7410072" y="3930547"/>
                  <a:pt x="7398732" y="3933076"/>
                </a:cubicBezTo>
                <a:cubicBezTo>
                  <a:pt x="7401221" y="3920836"/>
                  <a:pt x="7391817" y="3934593"/>
                  <a:pt x="7384073" y="3933986"/>
                </a:cubicBezTo>
                <a:cubicBezTo>
                  <a:pt x="7376052" y="3926400"/>
                  <a:pt x="7388498" y="3925995"/>
                  <a:pt x="7385732" y="3919521"/>
                </a:cubicBezTo>
                <a:lnTo>
                  <a:pt x="7384349" y="3919825"/>
                </a:lnTo>
                <a:lnTo>
                  <a:pt x="7377711" y="3926703"/>
                </a:lnTo>
                <a:lnTo>
                  <a:pt x="7377988" y="3928221"/>
                </a:lnTo>
                <a:cubicBezTo>
                  <a:pt x="7379647" y="3930850"/>
                  <a:pt x="7381307" y="3933480"/>
                  <a:pt x="7379647" y="3935099"/>
                </a:cubicBezTo>
                <a:cubicBezTo>
                  <a:pt x="7376052" y="3935807"/>
                  <a:pt x="7373562" y="3935706"/>
                  <a:pt x="7371350" y="3936212"/>
                </a:cubicBezTo>
                <a:lnTo>
                  <a:pt x="7364988" y="3940258"/>
                </a:lnTo>
                <a:lnTo>
                  <a:pt x="7354201" y="3952295"/>
                </a:lnTo>
                <a:lnTo>
                  <a:pt x="7354201" y="3952396"/>
                </a:lnTo>
                <a:lnTo>
                  <a:pt x="7355861" y="3956644"/>
                </a:lnTo>
                <a:lnTo>
                  <a:pt x="7341478" y="3961702"/>
                </a:lnTo>
                <a:lnTo>
                  <a:pt x="7331521" y="3968884"/>
                </a:lnTo>
                <a:cubicBezTo>
                  <a:pt x="7332904" y="3973537"/>
                  <a:pt x="7332627" y="3975863"/>
                  <a:pt x="7329308" y="3980011"/>
                </a:cubicBezTo>
                <a:cubicBezTo>
                  <a:pt x="7286713" y="4000342"/>
                  <a:pt x="7257948" y="4047176"/>
                  <a:pt x="7216459" y="4063057"/>
                </a:cubicBezTo>
                <a:cubicBezTo>
                  <a:pt x="7200417" y="4081770"/>
                  <a:pt x="7185205" y="4098258"/>
                  <a:pt x="7156992" y="4106552"/>
                </a:cubicBezTo>
                <a:cubicBezTo>
                  <a:pt x="7121312" y="4141247"/>
                  <a:pt x="7068207" y="4164917"/>
                  <a:pt x="7028101" y="4196881"/>
                </a:cubicBezTo>
                <a:cubicBezTo>
                  <a:pt x="7028655" y="4206086"/>
                  <a:pt x="7036676" y="4191014"/>
                  <a:pt x="7036676" y="4202445"/>
                </a:cubicBezTo>
                <a:cubicBezTo>
                  <a:pt x="7027825" y="4210537"/>
                  <a:pt x="7015931" y="4209323"/>
                  <a:pt x="7003762" y="4210233"/>
                </a:cubicBezTo>
                <a:cubicBezTo>
                  <a:pt x="6985230" y="4219539"/>
                  <a:pt x="6982464" y="4232790"/>
                  <a:pt x="6961720" y="4239669"/>
                </a:cubicBezTo>
                <a:cubicBezTo>
                  <a:pt x="6951763" y="4240883"/>
                  <a:pt x="6953699" y="4231880"/>
                  <a:pt x="6945678" y="4235522"/>
                </a:cubicBezTo>
                <a:cubicBezTo>
                  <a:pt x="6944018" y="4244423"/>
                  <a:pt x="6938763" y="4246244"/>
                  <a:pt x="6944018" y="4255853"/>
                </a:cubicBezTo>
                <a:cubicBezTo>
                  <a:pt x="6937103" y="4255044"/>
                  <a:pt x="6931018" y="4261315"/>
                  <a:pt x="6935720" y="4261821"/>
                </a:cubicBezTo>
                <a:cubicBezTo>
                  <a:pt x="6932401" y="4265968"/>
                  <a:pt x="6918572" y="4262226"/>
                  <a:pt x="6910827" y="4265867"/>
                </a:cubicBezTo>
                <a:cubicBezTo>
                  <a:pt x="6909721" y="4270318"/>
                  <a:pt x="6921061" y="4262529"/>
                  <a:pt x="6916912" y="4271127"/>
                </a:cubicBezTo>
                <a:cubicBezTo>
                  <a:pt x="6914700" y="4270824"/>
                  <a:pt x="6916636" y="4273353"/>
                  <a:pt x="6916083" y="4275578"/>
                </a:cubicBezTo>
                <a:cubicBezTo>
                  <a:pt x="6887870" y="4272442"/>
                  <a:pt x="6871552" y="4293381"/>
                  <a:pt x="6848595" y="4299956"/>
                </a:cubicBezTo>
                <a:cubicBezTo>
                  <a:pt x="6848041" y="4302181"/>
                  <a:pt x="6849977" y="4304609"/>
                  <a:pt x="6849424" y="4306834"/>
                </a:cubicBezTo>
                <a:cubicBezTo>
                  <a:pt x="6841403" y="4299146"/>
                  <a:pt x="6788021" y="4325143"/>
                  <a:pt x="6780277" y="4340214"/>
                </a:cubicBezTo>
                <a:cubicBezTo>
                  <a:pt x="6716938" y="4355994"/>
                  <a:pt x="6676832" y="4387857"/>
                  <a:pt x="6615429" y="4406064"/>
                </a:cubicBezTo>
                <a:cubicBezTo>
                  <a:pt x="6609897" y="4410009"/>
                  <a:pt x="6621514" y="4411324"/>
                  <a:pt x="6617918" y="4417697"/>
                </a:cubicBezTo>
                <a:cubicBezTo>
                  <a:pt x="6611280" y="4414764"/>
                  <a:pt x="6599940" y="4422552"/>
                  <a:pt x="6597174" y="4413145"/>
                </a:cubicBezTo>
                <a:cubicBezTo>
                  <a:pt x="6585557" y="4423260"/>
                  <a:pt x="6549324" y="4423766"/>
                  <a:pt x="6547111" y="4434893"/>
                </a:cubicBezTo>
                <a:cubicBezTo>
                  <a:pt x="6543239" y="4441367"/>
                  <a:pt x="6540473" y="4431959"/>
                  <a:pt x="6534665" y="4435904"/>
                </a:cubicBezTo>
                <a:cubicBezTo>
                  <a:pt x="6529686" y="4437624"/>
                  <a:pt x="6538537" y="4440861"/>
                  <a:pt x="6533005" y="4444705"/>
                </a:cubicBezTo>
                <a:cubicBezTo>
                  <a:pt x="6541303" y="4438838"/>
                  <a:pt x="6538537" y="4440861"/>
                  <a:pt x="6550154" y="4442176"/>
                </a:cubicBezTo>
                <a:cubicBezTo>
                  <a:pt x="6548494" y="4451077"/>
                  <a:pt x="6534941" y="4447335"/>
                  <a:pt x="6526920" y="4450976"/>
                </a:cubicBezTo>
                <a:cubicBezTo>
                  <a:pt x="6528303" y="4444300"/>
                  <a:pt x="6526367" y="4441771"/>
                  <a:pt x="6523878" y="4441569"/>
                </a:cubicBezTo>
                <a:cubicBezTo>
                  <a:pt x="6514197" y="4442682"/>
                  <a:pt x="6512814" y="4449358"/>
                  <a:pt x="6500921" y="4448043"/>
                </a:cubicBezTo>
                <a:cubicBezTo>
                  <a:pt x="6502857" y="4450572"/>
                  <a:pt x="6504517" y="4455225"/>
                  <a:pt x="6511985" y="4453808"/>
                </a:cubicBezTo>
                <a:cubicBezTo>
                  <a:pt x="6508665" y="4457956"/>
                  <a:pt x="6497325" y="4454415"/>
                  <a:pt x="6497602" y="4452190"/>
                </a:cubicBezTo>
                <a:cubicBezTo>
                  <a:pt x="6487645" y="4467059"/>
                  <a:pt x="6447262" y="4451178"/>
                  <a:pt x="6440624" y="4473230"/>
                </a:cubicBezTo>
                <a:cubicBezTo>
                  <a:pt x="6429561" y="4467464"/>
                  <a:pt x="6405774" y="4478591"/>
                  <a:pt x="6403008" y="4480513"/>
                </a:cubicBezTo>
                <a:cubicBezTo>
                  <a:pt x="6384753" y="4487593"/>
                  <a:pt x="6365392" y="4487694"/>
                  <a:pt x="6345201" y="4492246"/>
                </a:cubicBezTo>
                <a:cubicBezTo>
                  <a:pt x="6332478" y="4495382"/>
                  <a:pt x="6307585" y="4499529"/>
                  <a:pt x="6302053" y="4514803"/>
                </a:cubicBezTo>
                <a:cubicBezTo>
                  <a:pt x="6277436" y="4505295"/>
                  <a:pt x="6234012" y="4529976"/>
                  <a:pt x="6204416" y="4522187"/>
                </a:cubicBezTo>
                <a:cubicBezTo>
                  <a:pt x="6199161" y="4523907"/>
                  <a:pt x="6196395" y="4525930"/>
                  <a:pt x="6195012" y="4532606"/>
                </a:cubicBezTo>
                <a:cubicBezTo>
                  <a:pt x="6152694" y="4527852"/>
                  <a:pt x="6125588" y="4543126"/>
                  <a:pt x="6078845" y="4547071"/>
                </a:cubicBezTo>
                <a:cubicBezTo>
                  <a:pt x="6079951" y="4542620"/>
                  <a:pt x="6078291" y="4537866"/>
                  <a:pt x="6079121" y="4533415"/>
                </a:cubicBezTo>
                <a:cubicBezTo>
                  <a:pt x="6067504" y="4532201"/>
                  <a:pt x="6068611" y="4539080"/>
                  <a:pt x="6064738" y="4545554"/>
                </a:cubicBezTo>
                <a:cubicBezTo>
                  <a:pt x="6046485" y="4541204"/>
                  <a:pt x="6037080" y="4551522"/>
                  <a:pt x="6023527" y="4547779"/>
                </a:cubicBezTo>
                <a:cubicBezTo>
                  <a:pt x="6031824" y="4541811"/>
                  <a:pt x="6045654" y="4545655"/>
                  <a:pt x="6038739" y="4531190"/>
                </a:cubicBezTo>
                <a:cubicBezTo>
                  <a:pt x="6048143" y="4532303"/>
                  <a:pt x="6050079" y="4534831"/>
                  <a:pt x="6058653" y="4528863"/>
                </a:cubicBezTo>
                <a:cubicBezTo>
                  <a:pt x="6053675" y="4517029"/>
                  <a:pt x="6050909" y="4518950"/>
                  <a:pt x="6050632" y="4507520"/>
                </a:cubicBezTo>
                <a:cubicBezTo>
                  <a:pt x="6058377" y="4506104"/>
                  <a:pt x="6082717" y="4492853"/>
                  <a:pt x="6089908" y="4504991"/>
                </a:cubicBezTo>
                <a:cubicBezTo>
                  <a:pt x="6111482" y="4493764"/>
                  <a:pt x="6155183" y="4503171"/>
                  <a:pt x="6170672" y="4486582"/>
                </a:cubicBezTo>
                <a:cubicBezTo>
                  <a:pt x="6178140" y="4496596"/>
                  <a:pt x="6193076" y="4482333"/>
                  <a:pt x="6208012" y="4479400"/>
                </a:cubicBezTo>
                <a:cubicBezTo>
                  <a:pt x="6220182" y="4478490"/>
                  <a:pt x="6260841" y="4492044"/>
                  <a:pt x="6266649" y="4463114"/>
                </a:cubicBezTo>
                <a:cubicBezTo>
                  <a:pt x="6276606" y="4461901"/>
                  <a:pt x="6265819" y="4467565"/>
                  <a:pt x="6272458" y="4470600"/>
                </a:cubicBezTo>
                <a:cubicBezTo>
                  <a:pt x="6289330" y="4470195"/>
                  <a:pt x="6306755" y="4467565"/>
                  <a:pt x="6308967" y="4456438"/>
                </a:cubicBezTo>
                <a:cubicBezTo>
                  <a:pt x="6317542" y="4461901"/>
                  <a:pt x="6348796" y="4463114"/>
                  <a:pt x="6352392" y="4445312"/>
                </a:cubicBezTo>
                <a:cubicBezTo>
                  <a:pt x="6387242" y="4451482"/>
                  <a:pt x="6459156" y="4427509"/>
                  <a:pt x="6485155" y="4394027"/>
                </a:cubicBezTo>
                <a:cubicBezTo>
                  <a:pt x="6486815" y="4398781"/>
                  <a:pt x="6491517" y="4399287"/>
                  <a:pt x="6498985" y="4397871"/>
                </a:cubicBezTo>
                <a:cubicBezTo>
                  <a:pt x="6497602" y="4393117"/>
                  <a:pt x="6486815" y="4398781"/>
                  <a:pt x="6490964" y="4390184"/>
                </a:cubicBezTo>
                <a:cubicBezTo>
                  <a:pt x="6531346" y="4380979"/>
                  <a:pt x="6578090" y="4351948"/>
                  <a:pt x="6617918" y="4344968"/>
                </a:cubicBezTo>
                <a:cubicBezTo>
                  <a:pt x="6621514" y="4352150"/>
                  <a:pt x="6612387" y="4348913"/>
                  <a:pt x="6613216" y="4355893"/>
                </a:cubicBezTo>
                <a:cubicBezTo>
                  <a:pt x="6627876" y="4355185"/>
                  <a:pt x="6651386" y="4346385"/>
                  <a:pt x="6646960" y="4332223"/>
                </a:cubicBezTo>
                <a:cubicBezTo>
                  <a:pt x="6655258" y="4326356"/>
                  <a:pt x="6663279" y="4322715"/>
                  <a:pt x="6677939" y="4322007"/>
                </a:cubicBezTo>
                <a:cubicBezTo>
                  <a:pt x="6682087" y="4324738"/>
                  <a:pt x="6674619" y="4326255"/>
                  <a:pt x="6673790" y="4330706"/>
                </a:cubicBezTo>
                <a:cubicBezTo>
                  <a:pt x="6690385" y="4332527"/>
                  <a:pt x="6687066" y="4325244"/>
                  <a:pt x="6699513" y="4322108"/>
                </a:cubicBezTo>
                <a:cubicBezTo>
                  <a:pt x="6698130" y="4317455"/>
                  <a:pt x="6687066" y="4325345"/>
                  <a:pt x="6688726" y="4316443"/>
                </a:cubicBezTo>
                <a:cubicBezTo>
                  <a:pt x="6703661" y="4313510"/>
                  <a:pt x="6705598" y="4304609"/>
                  <a:pt x="6719980" y="4304002"/>
                </a:cubicBezTo>
                <a:cubicBezTo>
                  <a:pt x="6718874" y="4310678"/>
                  <a:pt x="6713065" y="4314522"/>
                  <a:pt x="6704215" y="4311285"/>
                </a:cubicBezTo>
                <a:cubicBezTo>
                  <a:pt x="6706151" y="4313712"/>
                  <a:pt x="6710853" y="4314319"/>
                  <a:pt x="6710023" y="4318770"/>
                </a:cubicBezTo>
                <a:cubicBezTo>
                  <a:pt x="6723023" y="4313409"/>
                  <a:pt x="6731044" y="4309666"/>
                  <a:pt x="6728831" y="4295808"/>
                </a:cubicBezTo>
                <a:cubicBezTo>
                  <a:pt x="6736576" y="4294392"/>
                  <a:pt x="6732427" y="4302990"/>
                  <a:pt x="6734086" y="4305519"/>
                </a:cubicBezTo>
                <a:cubicBezTo>
                  <a:pt x="6783319" y="4288222"/>
                  <a:pt x="6810425" y="4250189"/>
                  <a:pt x="6867403" y="4229250"/>
                </a:cubicBezTo>
                <a:cubicBezTo>
                  <a:pt x="6871828" y="4231981"/>
                  <a:pt x="6875977" y="4234813"/>
                  <a:pt x="6883168" y="4235522"/>
                </a:cubicBezTo>
                <a:cubicBezTo>
                  <a:pt x="6887870" y="4224698"/>
                  <a:pt x="6905019" y="4221967"/>
                  <a:pt x="6900870" y="4207907"/>
                </a:cubicBezTo>
                <a:cubicBezTo>
                  <a:pt x="6931572" y="4197691"/>
                  <a:pt x="6952039" y="4179483"/>
                  <a:pt x="6972507" y="4161276"/>
                </a:cubicBezTo>
                <a:cubicBezTo>
                  <a:pt x="7056867" y="4125063"/>
                  <a:pt x="7114121" y="4067710"/>
                  <a:pt x="7186311" y="4021078"/>
                </a:cubicBezTo>
                <a:lnTo>
                  <a:pt x="7201523" y="4004692"/>
                </a:lnTo>
                <a:lnTo>
                  <a:pt x="7183545" y="4010761"/>
                </a:lnTo>
                <a:cubicBezTo>
                  <a:pt x="7165290" y="4016223"/>
                  <a:pt x="7147035" y="4021584"/>
                  <a:pt x="7130163" y="4032306"/>
                </a:cubicBezTo>
                <a:cubicBezTo>
                  <a:pt x="7127121" y="4030688"/>
                  <a:pt x="7121589" y="4029474"/>
                  <a:pt x="7116057" y="4028361"/>
                </a:cubicBezTo>
                <a:cubicBezTo>
                  <a:pt x="7116057" y="4034228"/>
                  <a:pt x="7112185" y="4033925"/>
                  <a:pt x="7107206" y="4032610"/>
                </a:cubicBezTo>
                <a:lnTo>
                  <a:pt x="7101121" y="4032003"/>
                </a:lnTo>
                <a:lnTo>
                  <a:pt x="7076781" y="4049907"/>
                </a:lnTo>
                <a:cubicBezTo>
                  <a:pt x="7075952" y="4054358"/>
                  <a:pt x="7078441" y="4054661"/>
                  <a:pt x="7079824" y="4059314"/>
                </a:cubicBezTo>
                <a:cubicBezTo>
                  <a:pt x="7072632" y="4047176"/>
                  <a:pt x="7049399" y="4067305"/>
                  <a:pt x="7058803" y="4068317"/>
                </a:cubicBezTo>
                <a:cubicBezTo>
                  <a:pt x="7018421" y="4088952"/>
                  <a:pt x="6960890" y="4123546"/>
                  <a:pt x="6931572" y="4149845"/>
                </a:cubicBezTo>
                <a:cubicBezTo>
                  <a:pt x="6931295" y="4152071"/>
                  <a:pt x="6923550" y="4153588"/>
                  <a:pt x="6924104" y="4151363"/>
                </a:cubicBezTo>
                <a:cubicBezTo>
                  <a:pt x="6916636" y="4152779"/>
                  <a:pt x="6923274" y="4155813"/>
                  <a:pt x="6919955" y="4159961"/>
                </a:cubicBezTo>
                <a:cubicBezTo>
                  <a:pt x="6907785" y="4160871"/>
                  <a:pt x="6889806" y="4165726"/>
                  <a:pt x="6887594" y="4176853"/>
                </a:cubicBezTo>
                <a:cubicBezTo>
                  <a:pt x="6857169" y="4184844"/>
                  <a:pt x="6815127" y="4214381"/>
                  <a:pt x="6786915" y="4222675"/>
                </a:cubicBezTo>
                <a:cubicBezTo>
                  <a:pt x="6783596" y="4226822"/>
                  <a:pt x="6780553" y="4230970"/>
                  <a:pt x="6777511" y="4232993"/>
                </a:cubicBezTo>
                <a:cubicBezTo>
                  <a:pt x="6770043" y="4234409"/>
                  <a:pt x="6765341" y="4233903"/>
                  <a:pt x="6758426" y="4233094"/>
                </a:cubicBezTo>
                <a:cubicBezTo>
                  <a:pt x="6752341" y="4239264"/>
                  <a:pt x="6743490" y="4247457"/>
                  <a:pt x="6726618" y="4247761"/>
                </a:cubicBezTo>
                <a:cubicBezTo>
                  <a:pt x="6725512" y="4240883"/>
                  <a:pt x="6728278" y="4238961"/>
                  <a:pt x="6719427" y="4235623"/>
                </a:cubicBezTo>
                <a:cubicBezTo>
                  <a:pt x="6710853" y="4241591"/>
                  <a:pt x="6722193" y="4245030"/>
                  <a:pt x="6720810" y="4251706"/>
                </a:cubicBezTo>
                <a:cubicBezTo>
                  <a:pt x="6711959" y="4259798"/>
                  <a:pt x="6704491" y="4249986"/>
                  <a:pt x="6697300" y="4249177"/>
                </a:cubicBezTo>
                <a:cubicBezTo>
                  <a:pt x="6703661" y="4265766"/>
                  <a:pt x="6689279" y="4277803"/>
                  <a:pt x="6666875" y="4268497"/>
                </a:cubicBezTo>
                <a:cubicBezTo>
                  <a:pt x="6657194" y="4269711"/>
                  <a:pt x="6659684" y="4281445"/>
                  <a:pt x="6650280" y="4280332"/>
                </a:cubicBezTo>
                <a:cubicBezTo>
                  <a:pt x="6649726" y="4282557"/>
                  <a:pt x="6648897" y="4287008"/>
                  <a:pt x="6653599" y="4287514"/>
                </a:cubicBezTo>
                <a:cubicBezTo>
                  <a:pt x="6648067" y="4291459"/>
                  <a:pt x="6638939" y="4288222"/>
                  <a:pt x="6639493" y="4297326"/>
                </a:cubicBezTo>
                <a:cubicBezTo>
                  <a:pt x="6632578" y="4296618"/>
                  <a:pt x="6611004" y="4296516"/>
                  <a:pt x="6611004" y="4307845"/>
                </a:cubicBezTo>
                <a:cubicBezTo>
                  <a:pt x="6606302" y="4307340"/>
                  <a:pt x="6607685" y="4300563"/>
                  <a:pt x="6602706" y="4300057"/>
                </a:cubicBezTo>
                <a:cubicBezTo>
                  <a:pt x="6598834" y="4308756"/>
                  <a:pt x="6586940" y="4307441"/>
                  <a:pt x="6587217" y="4318871"/>
                </a:cubicBezTo>
                <a:cubicBezTo>
                  <a:pt x="6580026" y="4318062"/>
                  <a:pt x="6565920" y="4316443"/>
                  <a:pt x="6569792" y="4321501"/>
                </a:cubicBezTo>
                <a:cubicBezTo>
                  <a:pt x="6538814" y="4331717"/>
                  <a:pt x="6510325" y="4353566"/>
                  <a:pt x="6476304" y="4354376"/>
                </a:cubicBezTo>
                <a:cubicBezTo>
                  <a:pt x="6471326" y="4356095"/>
                  <a:pt x="6466071" y="4357815"/>
                  <a:pt x="6464688" y="4364491"/>
                </a:cubicBezTo>
                <a:cubicBezTo>
                  <a:pt x="6434539" y="4358927"/>
                  <a:pt x="6398859" y="4393522"/>
                  <a:pt x="6361520" y="4387149"/>
                </a:cubicBezTo>
                <a:cubicBezTo>
                  <a:pt x="6356264" y="4388869"/>
                  <a:pt x="6357371" y="4395848"/>
                  <a:pt x="6352115" y="4397568"/>
                </a:cubicBezTo>
                <a:cubicBezTo>
                  <a:pt x="6339946" y="4398478"/>
                  <a:pt x="6339392" y="4389273"/>
                  <a:pt x="6332754" y="4386239"/>
                </a:cubicBezTo>
                <a:cubicBezTo>
                  <a:pt x="6321967" y="4391903"/>
                  <a:pt x="6312287" y="4415876"/>
                  <a:pt x="6293755" y="4400198"/>
                </a:cubicBezTo>
                <a:cubicBezTo>
                  <a:pt x="6283521" y="4403536"/>
                  <a:pt x="6281308" y="4414764"/>
                  <a:pt x="6273287" y="4418405"/>
                </a:cubicBezTo>
                <a:cubicBezTo>
                  <a:pt x="6269138" y="4415674"/>
                  <a:pt x="6267202" y="4413145"/>
                  <a:pt x="6262500" y="4412639"/>
                </a:cubicBezTo>
                <a:cubicBezTo>
                  <a:pt x="6258351" y="4421237"/>
                  <a:pt x="6230692" y="4427408"/>
                  <a:pt x="6220735" y="4417191"/>
                </a:cubicBezTo>
                <a:cubicBezTo>
                  <a:pt x="6213544" y="4427812"/>
                  <a:pt x="6198608" y="4430644"/>
                  <a:pt x="6185608" y="4436006"/>
                </a:cubicBezTo>
                <a:cubicBezTo>
                  <a:pt x="6139694" y="4424171"/>
                  <a:pt x="6075525" y="4455730"/>
                  <a:pt x="6021868" y="4447436"/>
                </a:cubicBezTo>
                <a:cubicBezTo>
                  <a:pt x="6015229" y="4444502"/>
                  <a:pt x="6010250" y="4457551"/>
                  <a:pt x="6008591" y="4452797"/>
                </a:cubicBezTo>
                <a:cubicBezTo>
                  <a:pt x="6026292" y="4436612"/>
                  <a:pt x="6057824" y="4424171"/>
                  <a:pt x="6084653" y="4422552"/>
                </a:cubicBezTo>
                <a:cubicBezTo>
                  <a:pt x="6092674" y="4418911"/>
                  <a:pt x="6090185" y="4407278"/>
                  <a:pt x="6085759" y="4404547"/>
                </a:cubicBezTo>
                <a:cubicBezTo>
                  <a:pt x="6053398" y="4410009"/>
                  <a:pt x="6014676" y="4398984"/>
                  <a:pt x="6003612" y="4418203"/>
                </a:cubicBezTo>
                <a:cubicBezTo>
                  <a:pt x="5994761" y="4414966"/>
                  <a:pt x="5980103" y="4415573"/>
                  <a:pt x="5974295" y="4408088"/>
                </a:cubicBezTo>
                <a:cubicBezTo>
                  <a:pt x="6008591" y="4405053"/>
                  <a:pt x="6031548" y="4398579"/>
                  <a:pt x="6068334" y="4395747"/>
                </a:cubicBezTo>
                <a:cubicBezTo>
                  <a:pt x="6069717" y="4389071"/>
                  <a:pt x="6077185" y="4387655"/>
                  <a:pt x="6076632" y="4378450"/>
                </a:cubicBezTo>
                <a:cubicBezTo>
                  <a:pt x="6075525" y="4371571"/>
                  <a:pt x="6068611" y="4382091"/>
                  <a:pt x="6064738" y="4377135"/>
                </a:cubicBezTo>
                <a:cubicBezTo>
                  <a:pt x="6065845" y="4372684"/>
                  <a:pt x="6066121" y="4370459"/>
                  <a:pt x="6070823" y="4370965"/>
                </a:cubicBezTo>
                <a:cubicBezTo>
                  <a:pt x="6068887" y="4368537"/>
                  <a:pt x="6064185" y="4367930"/>
                  <a:pt x="6065015" y="4363479"/>
                </a:cubicBezTo>
                <a:cubicBezTo>
                  <a:pt x="6055334" y="4364693"/>
                  <a:pt x="6053122" y="4375820"/>
                  <a:pt x="6036527" y="4373999"/>
                </a:cubicBezTo>
                <a:cubicBezTo>
                  <a:pt x="6047867" y="4366109"/>
                  <a:pt x="6029888" y="4359636"/>
                  <a:pt x="6042888" y="4354274"/>
                </a:cubicBezTo>
                <a:cubicBezTo>
                  <a:pt x="6036250" y="4351341"/>
                  <a:pt x="6024080" y="4352251"/>
                  <a:pt x="6026847" y="4338899"/>
                </a:cubicBezTo>
                <a:cubicBezTo>
                  <a:pt x="6033760" y="4339607"/>
                  <a:pt x="6038186" y="4353769"/>
                  <a:pt x="6040952" y="4340417"/>
                </a:cubicBezTo>
                <a:cubicBezTo>
                  <a:pt x="6047590" y="4343451"/>
                  <a:pt x="6038739" y="4351543"/>
                  <a:pt x="6048143" y="4352555"/>
                </a:cubicBezTo>
                <a:cubicBezTo>
                  <a:pt x="6050632" y="4352858"/>
                  <a:pt x="6051186" y="4348408"/>
                  <a:pt x="6049526" y="4345980"/>
                </a:cubicBezTo>
                <a:cubicBezTo>
                  <a:pt x="6059760" y="4342541"/>
                  <a:pt x="6057547" y="4353566"/>
                  <a:pt x="6065015" y="4352150"/>
                </a:cubicBezTo>
                <a:cubicBezTo>
                  <a:pt x="6073036" y="4348509"/>
                  <a:pt x="6058930" y="4346991"/>
                  <a:pt x="6060313" y="4340315"/>
                </a:cubicBezTo>
                <a:cubicBezTo>
                  <a:pt x="6072483" y="4339405"/>
                  <a:pt x="6078568" y="4333235"/>
                  <a:pt x="6078291" y="4321805"/>
                </a:cubicBezTo>
                <a:cubicBezTo>
                  <a:pt x="6092951" y="4332527"/>
                  <a:pt x="6100419" y="4319680"/>
                  <a:pt x="6100142" y="4333336"/>
                </a:cubicBezTo>
                <a:cubicBezTo>
                  <a:pt x="6123652" y="4335865"/>
                  <a:pt x="6150758" y="4309262"/>
                  <a:pt x="6156843" y="4325952"/>
                </a:cubicBezTo>
                <a:cubicBezTo>
                  <a:pt x="6171502" y="4325244"/>
                  <a:pt x="6156843" y="4314522"/>
                  <a:pt x="6170949" y="4316140"/>
                </a:cubicBezTo>
                <a:cubicBezTo>
                  <a:pt x="6176757" y="4323524"/>
                  <a:pt x="6165417" y="4319984"/>
                  <a:pt x="6164587" y="4324434"/>
                </a:cubicBezTo>
                <a:cubicBezTo>
                  <a:pt x="6171779" y="4336674"/>
                  <a:pt x="6185055" y="4317657"/>
                  <a:pt x="6191417" y="4322917"/>
                </a:cubicBezTo>
                <a:cubicBezTo>
                  <a:pt x="6192800" y="4316241"/>
                  <a:pt x="6190310" y="4315938"/>
                  <a:pt x="6189757" y="4306834"/>
                </a:cubicBezTo>
                <a:cubicBezTo>
                  <a:pt x="6194459" y="4307340"/>
                  <a:pt x="6196949" y="4307542"/>
                  <a:pt x="6199714" y="4305620"/>
                </a:cubicBezTo>
                <a:cubicBezTo>
                  <a:pt x="6203033" y="4312802"/>
                  <a:pt x="6195842" y="4312094"/>
                  <a:pt x="6195012" y="4316545"/>
                </a:cubicBezTo>
                <a:cubicBezTo>
                  <a:pt x="6197778" y="4314522"/>
                  <a:pt x="6200268" y="4314825"/>
                  <a:pt x="6202480" y="4315027"/>
                </a:cubicBezTo>
                <a:cubicBezTo>
                  <a:pt x="6205246" y="4313105"/>
                  <a:pt x="6200544" y="4312600"/>
                  <a:pt x="6201374" y="4308149"/>
                </a:cubicBezTo>
                <a:cubicBezTo>
                  <a:pt x="6227373" y="4310981"/>
                  <a:pt x="6250054" y="4306733"/>
                  <a:pt x="6264990" y="4292369"/>
                </a:cubicBezTo>
                <a:cubicBezTo>
                  <a:pt x="6273841" y="4295707"/>
                  <a:pt x="6279372" y="4291661"/>
                  <a:pt x="6284904" y="4287716"/>
                </a:cubicBezTo>
                <a:cubicBezTo>
                  <a:pt x="6285457" y="4285491"/>
                  <a:pt x="6286287" y="4281141"/>
                  <a:pt x="6284074" y="4280838"/>
                </a:cubicBezTo>
                <a:cubicBezTo>
                  <a:pt x="6297351" y="4286907"/>
                  <a:pt x="6325010" y="4280737"/>
                  <a:pt x="6334690" y="4268194"/>
                </a:cubicBezTo>
                <a:cubicBezTo>
                  <a:pt x="6333307" y="4274870"/>
                  <a:pt x="6338839" y="4271026"/>
                  <a:pt x="6340499" y="4275679"/>
                </a:cubicBezTo>
                <a:cubicBezTo>
                  <a:pt x="6367051" y="4262732"/>
                  <a:pt x="6387796" y="4255954"/>
                  <a:pt x="6417944" y="4250189"/>
                </a:cubicBezTo>
                <a:cubicBezTo>
                  <a:pt x="6418774" y="4245738"/>
                  <a:pt x="6409370" y="4244625"/>
                  <a:pt x="6419327" y="4243411"/>
                </a:cubicBezTo>
                <a:cubicBezTo>
                  <a:pt x="6419603" y="4241186"/>
                  <a:pt x="6417391" y="4240883"/>
                  <a:pt x="6417667" y="4238657"/>
                </a:cubicBezTo>
                <a:cubicBezTo>
                  <a:pt x="6406051" y="4237342"/>
                  <a:pt x="6411582" y="4244828"/>
                  <a:pt x="6406604" y="4246547"/>
                </a:cubicBezTo>
                <a:cubicBezTo>
                  <a:pt x="6404114" y="4246244"/>
                  <a:pt x="6399412" y="4245839"/>
                  <a:pt x="6397476" y="4243310"/>
                </a:cubicBezTo>
                <a:cubicBezTo>
                  <a:pt x="6411859" y="4231273"/>
                  <a:pt x="6430114" y="4224192"/>
                  <a:pt x="6450858" y="4217415"/>
                </a:cubicBezTo>
                <a:cubicBezTo>
                  <a:pt x="6450305" y="4208210"/>
                  <a:pt x="6443390" y="4218831"/>
                  <a:pt x="6445050" y="4209930"/>
                </a:cubicBezTo>
                <a:cubicBezTo>
                  <a:pt x="6467730" y="4205580"/>
                  <a:pt x="6486538" y="4196274"/>
                  <a:pt x="6498985" y="4181708"/>
                </a:cubicBezTo>
                <a:cubicBezTo>
                  <a:pt x="6497878" y="4174830"/>
                  <a:pt x="6487645" y="4178168"/>
                  <a:pt x="6487091" y="4169064"/>
                </a:cubicBezTo>
                <a:cubicBezTo>
                  <a:pt x="6469113" y="4173920"/>
                  <a:pt x="6451964" y="4176550"/>
                  <a:pt x="6443114" y="4184642"/>
                </a:cubicBezTo>
                <a:cubicBezTo>
                  <a:pt x="6430667" y="4174223"/>
                  <a:pt x="6425135" y="4189497"/>
                  <a:pt x="6411582" y="4197084"/>
                </a:cubicBezTo>
                <a:cubicBezTo>
                  <a:pt x="6396093" y="4202242"/>
                  <a:pt x="6371753" y="4204063"/>
                  <a:pt x="6353498" y="4211144"/>
                </a:cubicBezTo>
                <a:cubicBezTo>
                  <a:pt x="6337456" y="4218528"/>
                  <a:pt x="6310350" y="4222271"/>
                  <a:pt x="6290989" y="4222473"/>
                </a:cubicBezTo>
                <a:cubicBezTo>
                  <a:pt x="6286287" y="4221967"/>
                  <a:pt x="6287117" y="4228845"/>
                  <a:pt x="6279649" y="4230363"/>
                </a:cubicBezTo>
                <a:cubicBezTo>
                  <a:pt x="6278266" y="4225609"/>
                  <a:pt x="6273011" y="4227328"/>
                  <a:pt x="6270798" y="4227025"/>
                </a:cubicBezTo>
                <a:cubicBezTo>
                  <a:pt x="6260564" y="4241793"/>
                  <a:pt x="6237884" y="4234712"/>
                  <a:pt x="6227650" y="4249582"/>
                </a:cubicBezTo>
                <a:cubicBezTo>
                  <a:pt x="6167077" y="4251908"/>
                  <a:pt x="6128631" y="4275072"/>
                  <a:pt x="6074419" y="4269104"/>
                </a:cubicBezTo>
                <a:cubicBezTo>
                  <a:pt x="6066951" y="4270520"/>
                  <a:pt x="6063356" y="4276893"/>
                  <a:pt x="6055611" y="4278309"/>
                </a:cubicBezTo>
                <a:cubicBezTo>
                  <a:pt x="6060866" y="4265260"/>
                  <a:pt x="6045377" y="4270318"/>
                  <a:pt x="6038186" y="4269610"/>
                </a:cubicBezTo>
                <a:cubicBezTo>
                  <a:pt x="6053675" y="4253122"/>
                  <a:pt x="6094610" y="4253122"/>
                  <a:pt x="6125035" y="4245131"/>
                </a:cubicBezTo>
                <a:cubicBezTo>
                  <a:pt x="6125865" y="4240680"/>
                  <a:pt x="6120886" y="4242299"/>
                  <a:pt x="6118397" y="4242096"/>
                </a:cubicBezTo>
                <a:cubicBezTo>
                  <a:pt x="6140248" y="4228542"/>
                  <a:pt x="6179800" y="4248772"/>
                  <a:pt x="6186991" y="4235926"/>
                </a:cubicBezTo>
                <a:cubicBezTo>
                  <a:pt x="6209395" y="4245232"/>
                  <a:pt x="6249501" y="4213369"/>
                  <a:pt x="6266096" y="4226519"/>
                </a:cubicBezTo>
                <a:cubicBezTo>
                  <a:pt x="6281585" y="4221461"/>
                  <a:pt x="6281862" y="4219236"/>
                  <a:pt x="6297074" y="4216303"/>
                </a:cubicBezTo>
                <a:cubicBezTo>
                  <a:pt x="6301776" y="4216808"/>
                  <a:pt x="6293202" y="4211346"/>
                  <a:pt x="6290713" y="4211043"/>
                </a:cubicBezTo>
                <a:cubicBezTo>
                  <a:pt x="6345477" y="4189801"/>
                  <a:pt x="6391944" y="4174527"/>
                  <a:pt x="6446433" y="4155510"/>
                </a:cubicBezTo>
                <a:cubicBezTo>
                  <a:pt x="6446709" y="4141854"/>
                  <a:pt x="6426242" y="4148632"/>
                  <a:pt x="6421540" y="4148126"/>
                </a:cubicBezTo>
                <a:cubicBezTo>
                  <a:pt x="6411029" y="4151565"/>
                  <a:pt x="6393881" y="4165625"/>
                  <a:pt x="6375902" y="4170481"/>
                </a:cubicBezTo>
                <a:cubicBezTo>
                  <a:pt x="6352945" y="4177055"/>
                  <a:pt x="6332478" y="4183833"/>
                  <a:pt x="6316989" y="4188890"/>
                </a:cubicBezTo>
                <a:cubicBezTo>
                  <a:pt x="6303712" y="4194352"/>
                  <a:pt x="6287393" y="4192532"/>
                  <a:pt x="6274117" y="4197893"/>
                </a:cubicBezTo>
                <a:cubicBezTo>
                  <a:pt x="6243692" y="4205884"/>
                  <a:pt x="6217140" y="4218831"/>
                  <a:pt x="6189204" y="4224901"/>
                </a:cubicBezTo>
                <a:cubicBezTo>
                  <a:pt x="6156843" y="4230363"/>
                  <a:pt x="6124759" y="4233701"/>
                  <a:pt x="6095163" y="4237241"/>
                </a:cubicBezTo>
                <a:cubicBezTo>
                  <a:pt x="6177864" y="4209930"/>
                  <a:pt x="6272734" y="4204569"/>
                  <a:pt x="6344924" y="4169267"/>
                </a:cubicBezTo>
                <a:cubicBezTo>
                  <a:pt x="6367328" y="4165018"/>
                  <a:pt x="6386136" y="4155712"/>
                  <a:pt x="6408816" y="4151363"/>
                </a:cubicBezTo>
                <a:cubicBezTo>
                  <a:pt x="6411029" y="4151565"/>
                  <a:pt x="6414348" y="4147317"/>
                  <a:pt x="6414625" y="4145091"/>
                </a:cubicBezTo>
                <a:cubicBezTo>
                  <a:pt x="6459709" y="4136493"/>
                  <a:pt x="6468007" y="4119196"/>
                  <a:pt x="6516963" y="4115454"/>
                </a:cubicBezTo>
                <a:cubicBezTo>
                  <a:pt x="6500368" y="4127288"/>
                  <a:pt x="6472985" y="4131132"/>
                  <a:pt x="6458603" y="4143169"/>
                </a:cubicBezTo>
                <a:cubicBezTo>
                  <a:pt x="6485708" y="4139326"/>
                  <a:pt x="6514750" y="4126682"/>
                  <a:pt x="6539644" y="4111205"/>
                </a:cubicBezTo>
                <a:cubicBezTo>
                  <a:pt x="6572558" y="4103416"/>
                  <a:pt x="6603259" y="4093200"/>
                  <a:pt x="6626216" y="4075296"/>
                </a:cubicBezTo>
                <a:cubicBezTo>
                  <a:pt x="6645024" y="4077319"/>
                  <a:pt x="6662449" y="4063360"/>
                  <a:pt x="6671577" y="4053043"/>
                </a:cubicBezTo>
                <a:cubicBezTo>
                  <a:pt x="6691768" y="4048390"/>
                  <a:pt x="6724959" y="4027046"/>
                  <a:pt x="6747363" y="4011368"/>
                </a:cubicBezTo>
                <a:cubicBezTo>
                  <a:pt x="6777788" y="4003276"/>
                  <a:pt x="6796596" y="3982641"/>
                  <a:pt x="6823148" y="3969693"/>
                </a:cubicBezTo>
                <a:cubicBezTo>
                  <a:pt x="6810425" y="3961399"/>
                  <a:pt x="6806000" y="3983652"/>
                  <a:pt x="6795489" y="3975661"/>
                </a:cubicBezTo>
                <a:cubicBezTo>
                  <a:pt x="6721087" y="4022090"/>
                  <a:pt x="6666045" y="4056886"/>
                  <a:pt x="6581685" y="4081669"/>
                </a:cubicBezTo>
                <a:cubicBezTo>
                  <a:pt x="6627599" y="4057190"/>
                  <a:pt x="6663556" y="4033824"/>
                  <a:pt x="6713895" y="4009851"/>
                </a:cubicBezTo>
                <a:cubicBezTo>
                  <a:pt x="6715002" y="4005400"/>
                  <a:pt x="6712512" y="4005096"/>
                  <a:pt x="6707810" y="4004591"/>
                </a:cubicBezTo>
                <a:cubicBezTo>
                  <a:pt x="6725235" y="4001961"/>
                  <a:pt x="6734086" y="3993970"/>
                  <a:pt x="6752341" y="3986889"/>
                </a:cubicBezTo>
                <a:cubicBezTo>
                  <a:pt x="6753171" y="3982438"/>
                  <a:pt x="6751788" y="3977684"/>
                  <a:pt x="6754001" y="3977886"/>
                </a:cubicBezTo>
                <a:cubicBezTo>
                  <a:pt x="6718874" y="3974043"/>
                  <a:pt x="6697300" y="4021685"/>
                  <a:pt x="6650556" y="4014200"/>
                </a:cubicBezTo>
                <a:cubicBezTo>
                  <a:pt x="6648897" y="4023101"/>
                  <a:pt x="6659130" y="4019763"/>
                  <a:pt x="6661067" y="4022191"/>
                </a:cubicBezTo>
                <a:cubicBezTo>
                  <a:pt x="6661620" y="4031396"/>
                  <a:pt x="6648343" y="4025327"/>
                  <a:pt x="6653599" y="4035037"/>
                </a:cubicBezTo>
                <a:cubicBezTo>
                  <a:pt x="6638939" y="4035746"/>
                  <a:pt x="6628705" y="4039084"/>
                  <a:pt x="6617918" y="4044748"/>
                </a:cubicBezTo>
                <a:cubicBezTo>
                  <a:pt x="6606025" y="4043433"/>
                  <a:pt x="6624003" y="4038679"/>
                  <a:pt x="6620131" y="4033722"/>
                </a:cubicBezTo>
                <a:cubicBezTo>
                  <a:pt x="6580302" y="4040601"/>
                  <a:pt x="6551260" y="4053245"/>
                  <a:pt x="6513367" y="4074082"/>
                </a:cubicBezTo>
                <a:cubicBezTo>
                  <a:pt x="6512261" y="4078533"/>
                  <a:pt x="6523325" y="4072970"/>
                  <a:pt x="6528027" y="4073475"/>
                </a:cubicBezTo>
                <a:cubicBezTo>
                  <a:pt x="6523325" y="4084400"/>
                  <a:pt x="6513091" y="4087738"/>
                  <a:pt x="6504793" y="4080050"/>
                </a:cubicBezTo>
                <a:cubicBezTo>
                  <a:pt x="6505346" y="4077825"/>
                  <a:pt x="6510048" y="4078331"/>
                  <a:pt x="6510602" y="4076105"/>
                </a:cubicBezTo>
                <a:cubicBezTo>
                  <a:pt x="6497325" y="4070137"/>
                  <a:pt x="6466900" y="4089457"/>
                  <a:pt x="6454177" y="4092694"/>
                </a:cubicBezTo>
                <a:cubicBezTo>
                  <a:pt x="6457220" y="4102101"/>
                  <a:pt x="6459986" y="4100078"/>
                  <a:pt x="6464688" y="4100584"/>
                </a:cubicBezTo>
                <a:cubicBezTo>
                  <a:pt x="6424029" y="4134774"/>
                  <a:pt x="6360137" y="4105035"/>
                  <a:pt x="6320031" y="4136999"/>
                </a:cubicBezTo>
                <a:cubicBezTo>
                  <a:pt x="6313116" y="4136190"/>
                  <a:pt x="6311457" y="4131436"/>
                  <a:pt x="6307308" y="4128705"/>
                </a:cubicBezTo>
                <a:cubicBezTo>
                  <a:pt x="6301223" y="4134875"/>
                  <a:pt x="6295968" y="4136594"/>
                  <a:pt x="6287117" y="4133358"/>
                </a:cubicBezTo>
                <a:cubicBezTo>
                  <a:pt x="6285181" y="4142259"/>
                  <a:pt x="6270798" y="4142866"/>
                  <a:pt x="6266649" y="4151565"/>
                </a:cubicBezTo>
                <a:cubicBezTo>
                  <a:pt x="6239267" y="4143979"/>
                  <a:pt x="6219352" y="4146305"/>
                  <a:pt x="6192523" y="4147924"/>
                </a:cubicBezTo>
                <a:cubicBezTo>
                  <a:pt x="6196395" y="4141551"/>
                  <a:pt x="6205799" y="4142461"/>
                  <a:pt x="6209118" y="4138314"/>
                </a:cubicBezTo>
                <a:cubicBezTo>
                  <a:pt x="6201374" y="4128401"/>
                  <a:pt x="6195842" y="4143776"/>
                  <a:pt x="6185885" y="4133560"/>
                </a:cubicBezTo>
                <a:cubicBezTo>
                  <a:pt x="6178417" y="4134976"/>
                  <a:pt x="6187268" y="4138213"/>
                  <a:pt x="6186991" y="4140438"/>
                </a:cubicBezTo>
                <a:cubicBezTo>
                  <a:pt x="6111759" y="4143473"/>
                  <a:pt x="6037080" y="4167142"/>
                  <a:pt x="5974017" y="4169267"/>
                </a:cubicBezTo>
                <a:cubicBezTo>
                  <a:pt x="6021314" y="4149542"/>
                  <a:pt x="6074696" y="4159961"/>
                  <a:pt x="6120056" y="4137606"/>
                </a:cubicBezTo>
                <a:cubicBezTo>
                  <a:pt x="6153524" y="4139022"/>
                  <a:pt x="6192523" y="4125063"/>
                  <a:pt x="6217140" y="4109688"/>
                </a:cubicBezTo>
                <a:cubicBezTo>
                  <a:pt x="6205799" y="4106148"/>
                  <a:pt x="6189757" y="4127086"/>
                  <a:pt x="6174821" y="4116364"/>
                </a:cubicBezTo>
                <a:cubicBezTo>
                  <a:pt x="6134716" y="4136898"/>
                  <a:pt x="6077462" y="4121624"/>
                  <a:pt x="6034314" y="4144181"/>
                </a:cubicBezTo>
                <a:cubicBezTo>
                  <a:pt x="6027952" y="4141146"/>
                  <a:pt x="6001953" y="4138213"/>
                  <a:pt x="5997805" y="4146912"/>
                </a:cubicBezTo>
                <a:cubicBezTo>
                  <a:pt x="5988954" y="4143574"/>
                  <a:pt x="5986464" y="4143372"/>
                  <a:pt x="5972357" y="4141854"/>
                </a:cubicBezTo>
                <a:cubicBezTo>
                  <a:pt x="6003335" y="4131537"/>
                  <a:pt x="6055611" y="4135077"/>
                  <a:pt x="6075249" y="4121320"/>
                </a:cubicBezTo>
                <a:cubicBezTo>
                  <a:pt x="6079951" y="4133256"/>
                  <a:pt x="6091015" y="4114037"/>
                  <a:pt x="6102078" y="4119803"/>
                </a:cubicBezTo>
                <a:cubicBezTo>
                  <a:pt x="6100972" y="4112824"/>
                  <a:pt x="6093780" y="4112014"/>
                  <a:pt x="6089632" y="4109283"/>
                </a:cubicBezTo>
                <a:cubicBezTo>
                  <a:pt x="6082440" y="4108474"/>
                  <a:pt x="6086036" y="4115656"/>
                  <a:pt x="6074143" y="4114341"/>
                </a:cubicBezTo>
                <a:cubicBezTo>
                  <a:pt x="6083547" y="4103922"/>
                  <a:pt x="6067228" y="4113532"/>
                  <a:pt x="6060590" y="4110497"/>
                </a:cubicBezTo>
                <a:cubicBezTo>
                  <a:pt x="6057547" y="4101090"/>
                  <a:pt x="6068887" y="4104630"/>
                  <a:pt x="6070270" y="4097954"/>
                </a:cubicBezTo>
                <a:cubicBezTo>
                  <a:pt x="6067781" y="4097752"/>
                  <a:pt x="6063079" y="4097145"/>
                  <a:pt x="6060866" y="4096943"/>
                </a:cubicBezTo>
                <a:cubicBezTo>
                  <a:pt x="6055611" y="4098662"/>
                  <a:pt x="6060866" y="4108373"/>
                  <a:pt x="6055611" y="4109991"/>
                </a:cubicBezTo>
                <a:cubicBezTo>
                  <a:pt x="6048696" y="4109283"/>
                  <a:pt x="6046760" y="4106755"/>
                  <a:pt x="6038739" y="4110396"/>
                </a:cubicBezTo>
                <a:cubicBezTo>
                  <a:pt x="6046760" y="4095324"/>
                  <a:pt x="6013293" y="4094009"/>
                  <a:pt x="6006378" y="4104630"/>
                </a:cubicBezTo>
                <a:cubicBezTo>
                  <a:pt x="6009697" y="4111812"/>
                  <a:pt x="6018548" y="4103619"/>
                  <a:pt x="6024356" y="4111104"/>
                </a:cubicBezTo>
                <a:cubicBezTo>
                  <a:pt x="6023250" y="4115555"/>
                  <a:pt x="6024911" y="4120309"/>
                  <a:pt x="6022144" y="4122231"/>
                </a:cubicBezTo>
                <a:cubicBezTo>
                  <a:pt x="6006656" y="4127390"/>
                  <a:pt x="5989507" y="4116364"/>
                  <a:pt x="5978167" y="4124254"/>
                </a:cubicBezTo>
                <a:cubicBezTo>
                  <a:pt x="5982868" y="4113329"/>
                  <a:pt x="5967655" y="4104833"/>
                  <a:pt x="5953826" y="4114746"/>
                </a:cubicBezTo>
                <a:cubicBezTo>
                  <a:pt x="5952721" y="4119196"/>
                  <a:pt x="5957975" y="4117376"/>
                  <a:pt x="5964890" y="4118185"/>
                </a:cubicBezTo>
                <a:cubicBezTo>
                  <a:pt x="5959358" y="4122130"/>
                  <a:pt x="5945252" y="4120612"/>
                  <a:pt x="5937784" y="4122130"/>
                </a:cubicBezTo>
                <a:cubicBezTo>
                  <a:pt x="5945252" y="4109283"/>
                  <a:pt x="5925061" y="4113835"/>
                  <a:pt x="5912338" y="4116971"/>
                </a:cubicBezTo>
                <a:cubicBezTo>
                  <a:pt x="5907635" y="4116465"/>
                  <a:pt x="5903487" y="4113734"/>
                  <a:pt x="5896295" y="4112925"/>
                </a:cubicBezTo>
                <a:cubicBezTo>
                  <a:pt x="5853147" y="4124153"/>
                  <a:pt x="5817190" y="4111003"/>
                  <a:pt x="5774320" y="4119904"/>
                </a:cubicBezTo>
                <a:cubicBezTo>
                  <a:pt x="5772659" y="4117477"/>
                  <a:pt x="5768234" y="4114746"/>
                  <a:pt x="5764085" y="4112014"/>
                </a:cubicBezTo>
                <a:cubicBezTo>
                  <a:pt x="5756894" y="4122635"/>
                  <a:pt x="5750810" y="4105945"/>
                  <a:pt x="5740852" y="4107159"/>
                </a:cubicBezTo>
                <a:cubicBezTo>
                  <a:pt x="5733937" y="4106350"/>
                  <a:pt x="5727299" y="4114746"/>
                  <a:pt x="5717896" y="4113734"/>
                </a:cubicBezTo>
                <a:cubicBezTo>
                  <a:pt x="5708491" y="4112722"/>
                  <a:pt x="5689959" y="4108373"/>
                  <a:pt x="5678342" y="4107058"/>
                </a:cubicBezTo>
                <a:cubicBezTo>
                  <a:pt x="5679172" y="4102607"/>
                  <a:pt x="5688299" y="4105844"/>
                  <a:pt x="5686640" y="4101090"/>
                </a:cubicBezTo>
                <a:cubicBezTo>
                  <a:pt x="5718724" y="4109182"/>
                  <a:pt x="5771830" y="4096842"/>
                  <a:pt x="5808063" y="4107665"/>
                </a:cubicBezTo>
                <a:cubicBezTo>
                  <a:pt x="5815807" y="4106249"/>
                  <a:pt x="5818573" y="4104327"/>
                  <a:pt x="5823829" y="4102607"/>
                </a:cubicBezTo>
                <a:cubicBezTo>
                  <a:pt x="5879424" y="4113329"/>
                  <a:pt x="5939443" y="4090368"/>
                  <a:pt x="6008867" y="4091177"/>
                </a:cubicBezTo>
                <a:cubicBezTo>
                  <a:pt x="6011910" y="4089255"/>
                  <a:pt x="6012186" y="4087030"/>
                  <a:pt x="6012740" y="4084804"/>
                </a:cubicBezTo>
                <a:cubicBezTo>
                  <a:pt x="6081334" y="4078735"/>
                  <a:pt x="6134716" y="4064169"/>
                  <a:pt x="6189481" y="4042927"/>
                </a:cubicBezTo>
                <a:cubicBezTo>
                  <a:pt x="6167630" y="4045052"/>
                  <a:pt x="6146609" y="4040500"/>
                  <a:pt x="6133609" y="4057291"/>
                </a:cubicBezTo>
                <a:cubicBezTo>
                  <a:pt x="6123376" y="4049300"/>
                  <a:pt x="6100419" y="4067305"/>
                  <a:pt x="6098482" y="4053346"/>
                </a:cubicBezTo>
                <a:cubicBezTo>
                  <a:pt x="6112589" y="4054964"/>
                  <a:pt x="6117291" y="4044040"/>
                  <a:pt x="6128631" y="4047580"/>
                </a:cubicBezTo>
                <a:cubicBezTo>
                  <a:pt x="6121993" y="4044546"/>
                  <a:pt x="6124205" y="4044849"/>
                  <a:pt x="6121439" y="4035442"/>
                </a:cubicBezTo>
                <a:cubicBezTo>
                  <a:pt x="6135822" y="4034734"/>
                  <a:pt x="6126695" y="4045153"/>
                  <a:pt x="6133609" y="4045962"/>
                </a:cubicBezTo>
                <a:cubicBezTo>
                  <a:pt x="6139694" y="4039792"/>
                  <a:pt x="6132780" y="4038881"/>
                  <a:pt x="6136375" y="4032509"/>
                </a:cubicBezTo>
                <a:cubicBezTo>
                  <a:pt x="6145779" y="4033520"/>
                  <a:pt x="6161822" y="4026237"/>
                  <a:pt x="6173438" y="4027552"/>
                </a:cubicBezTo>
                <a:cubicBezTo>
                  <a:pt x="6167630" y="4020067"/>
                  <a:pt x="6165694" y="4017538"/>
                  <a:pt x="6172332" y="4009142"/>
                </a:cubicBezTo>
                <a:cubicBezTo>
                  <a:pt x="6158502" y="4005400"/>
                  <a:pt x="6147162" y="4001961"/>
                  <a:pt x="6128907" y="4009041"/>
                </a:cubicBezTo>
                <a:cubicBezTo>
                  <a:pt x="6130014" y="4004591"/>
                  <a:pt x="6127248" y="4006512"/>
                  <a:pt x="6125588" y="4001758"/>
                </a:cubicBezTo>
                <a:cubicBezTo>
                  <a:pt x="6131673" y="3995689"/>
                  <a:pt x="6137758" y="3989519"/>
                  <a:pt x="6154630" y="3989114"/>
                </a:cubicBezTo>
                <a:cubicBezTo>
                  <a:pt x="6159885" y="3987395"/>
                  <a:pt x="6150481" y="3986282"/>
                  <a:pt x="6156013" y="3982337"/>
                </a:cubicBezTo>
                <a:cubicBezTo>
                  <a:pt x="6144673" y="3978797"/>
                  <a:pt x="6143843" y="3983349"/>
                  <a:pt x="6138588" y="3973638"/>
                </a:cubicBezTo>
                <a:cubicBezTo>
                  <a:pt x="6100419" y="3971716"/>
                  <a:pt x="6071377" y="3995790"/>
                  <a:pt x="6043994" y="3988204"/>
                </a:cubicBezTo>
                <a:cubicBezTo>
                  <a:pt x="6058653" y="3976167"/>
                  <a:pt x="6098482" y="3980516"/>
                  <a:pt x="6105397" y="3958566"/>
                </a:cubicBezTo>
                <a:cubicBezTo>
                  <a:pt x="6111482" y="3952396"/>
                  <a:pt x="6104014" y="3965242"/>
                  <a:pt x="6103184" y="3969693"/>
                </a:cubicBezTo>
                <a:cubicBezTo>
                  <a:pt x="6114248" y="3961904"/>
                  <a:pt x="6122822" y="3967366"/>
                  <a:pt x="6136375" y="3959780"/>
                </a:cubicBezTo>
                <a:cubicBezTo>
                  <a:pt x="6139141" y="3957757"/>
                  <a:pt x="6135822" y="3950575"/>
                  <a:pt x="6141630" y="3946630"/>
                </a:cubicBezTo>
                <a:cubicBezTo>
                  <a:pt x="6146333" y="3947136"/>
                  <a:pt x="6147715" y="3951789"/>
                  <a:pt x="6151864" y="3954621"/>
                </a:cubicBezTo>
                <a:cubicBezTo>
                  <a:pt x="6230692" y="3933683"/>
                  <a:pt x="6310904" y="3906270"/>
                  <a:pt x="6384477" y="3875722"/>
                </a:cubicBezTo>
                <a:cubicBezTo>
                  <a:pt x="6390008" y="3871777"/>
                  <a:pt x="6393881" y="3865405"/>
                  <a:pt x="6394987" y="3858729"/>
                </a:cubicBezTo>
                <a:cubicBezTo>
                  <a:pt x="6406880" y="3859943"/>
                  <a:pt x="6425965" y="3848411"/>
                  <a:pt x="6443114" y="3848007"/>
                </a:cubicBezTo>
                <a:cubicBezTo>
                  <a:pt x="6448092" y="3846287"/>
                  <a:pt x="6436752" y="3842747"/>
                  <a:pt x="6440901" y="3834149"/>
                </a:cubicBezTo>
                <a:cubicBezTo>
                  <a:pt x="6468836" y="3850839"/>
                  <a:pt x="6491793" y="3821505"/>
                  <a:pt x="6515580" y="3810479"/>
                </a:cubicBezTo>
                <a:cubicBezTo>
                  <a:pt x="6513644" y="3808051"/>
                  <a:pt x="6512538" y="3801072"/>
                  <a:pt x="6515857" y="3796925"/>
                </a:cubicBezTo>
                <a:cubicBezTo>
                  <a:pt x="6505070" y="3802488"/>
                  <a:pt x="6470496" y="3807849"/>
                  <a:pt x="6471879" y="3823932"/>
                </a:cubicBezTo>
                <a:cubicBezTo>
                  <a:pt x="6445603" y="3823224"/>
                  <a:pt x="6403285" y="3830002"/>
                  <a:pt x="6394157" y="3851648"/>
                </a:cubicBezTo>
                <a:cubicBezTo>
                  <a:pt x="6369264" y="3855795"/>
                  <a:pt x="6341052" y="3864090"/>
                  <a:pt x="6319201" y="3877543"/>
                </a:cubicBezTo>
                <a:cubicBezTo>
                  <a:pt x="6304542" y="3878251"/>
                  <a:pt x="6279926" y="3880072"/>
                  <a:pt x="6274947" y="3893222"/>
                </a:cubicBezTo>
                <a:cubicBezTo>
                  <a:pt x="6243692" y="3905664"/>
                  <a:pt x="6208842" y="3910822"/>
                  <a:pt x="6166524" y="3917600"/>
                </a:cubicBezTo>
                <a:cubicBezTo>
                  <a:pt x="6167077" y="3915374"/>
                  <a:pt x="6169843" y="3913351"/>
                  <a:pt x="6170396" y="3911126"/>
                </a:cubicBezTo>
                <a:cubicBezTo>
                  <a:pt x="6152418" y="3904652"/>
                  <a:pt x="6128078" y="3917802"/>
                  <a:pt x="6111482" y="3915981"/>
                </a:cubicBezTo>
                <a:cubicBezTo>
                  <a:pt x="6112312" y="3911530"/>
                  <a:pt x="6107610" y="3911025"/>
                  <a:pt x="6108716" y="3906574"/>
                </a:cubicBezTo>
                <a:cubicBezTo>
                  <a:pt x="6098759" y="3907788"/>
                  <a:pt x="6084100" y="3908395"/>
                  <a:pt x="6080504" y="3914868"/>
                </a:cubicBezTo>
                <a:cubicBezTo>
                  <a:pt x="6055888" y="3916689"/>
                  <a:pt x="6044271" y="3915374"/>
                  <a:pt x="6030165" y="3925287"/>
                </a:cubicBezTo>
                <a:cubicBezTo>
                  <a:pt x="6026847" y="3923770"/>
                  <a:pt x="6033484" y="3920533"/>
                  <a:pt x="6041782" y="3916588"/>
                </a:cubicBezTo>
                <a:lnTo>
                  <a:pt x="6043994" y="3915576"/>
                </a:lnTo>
                <a:lnTo>
                  <a:pt x="6036803" y="3915779"/>
                </a:lnTo>
                <a:cubicBezTo>
                  <a:pt x="6034591" y="3915172"/>
                  <a:pt x="6032101" y="3914565"/>
                  <a:pt x="6027399" y="3916183"/>
                </a:cubicBezTo>
                <a:cubicBezTo>
                  <a:pt x="6039016" y="3925489"/>
                  <a:pt x="6021868" y="3915880"/>
                  <a:pt x="6010803" y="3923770"/>
                </a:cubicBezTo>
                <a:cubicBezTo>
                  <a:pt x="6007209" y="3927411"/>
                  <a:pt x="6012740" y="3930547"/>
                  <a:pt x="6007209" y="3935908"/>
                </a:cubicBezTo>
                <a:cubicBezTo>
                  <a:pt x="6001676" y="3938437"/>
                  <a:pt x="5998080" y="3939246"/>
                  <a:pt x="5994485" y="3942786"/>
                </a:cubicBezTo>
                <a:cubicBezTo>
                  <a:pt x="5958805" y="3936818"/>
                  <a:pt x="5918422" y="3970502"/>
                  <a:pt x="5877210" y="3972728"/>
                </a:cubicBezTo>
                <a:cubicBezTo>
                  <a:pt x="5875274" y="3977381"/>
                  <a:pt x="5873616" y="3979302"/>
                  <a:pt x="5868083" y="3981831"/>
                </a:cubicBezTo>
                <a:cubicBezTo>
                  <a:pt x="5817467" y="3984461"/>
                  <a:pt x="5762149" y="4015313"/>
                  <a:pt x="5715129" y="4014301"/>
                </a:cubicBezTo>
                <a:cubicBezTo>
                  <a:pt x="5689129" y="4025125"/>
                  <a:pt x="5665066" y="4034127"/>
                  <a:pt x="5634919" y="4031295"/>
                </a:cubicBezTo>
                <a:cubicBezTo>
                  <a:pt x="5580983" y="4048996"/>
                  <a:pt x="5519303" y="4051020"/>
                  <a:pt x="5463432" y="4064776"/>
                </a:cubicBezTo>
                <a:cubicBezTo>
                  <a:pt x="5457900" y="4072970"/>
                  <a:pt x="5474773" y="4062551"/>
                  <a:pt x="5467304" y="4072666"/>
                </a:cubicBezTo>
                <a:cubicBezTo>
                  <a:pt x="5454304" y="4076611"/>
                  <a:pt x="5444900" y="4071250"/>
                  <a:pt x="5433561" y="4067710"/>
                </a:cubicBezTo>
                <a:cubicBezTo>
                  <a:pt x="5411156" y="4069126"/>
                  <a:pt x="5400093" y="4079949"/>
                  <a:pt x="5377689" y="4078533"/>
                </a:cubicBezTo>
                <a:cubicBezTo>
                  <a:pt x="5368285" y="4076105"/>
                  <a:pt x="5375476" y="4068924"/>
                  <a:pt x="5366072" y="4069328"/>
                </a:cubicBezTo>
                <a:cubicBezTo>
                  <a:pt x="5358882" y="4076510"/>
                  <a:pt x="5353349" y="4076105"/>
                  <a:pt x="5351689" y="4086524"/>
                </a:cubicBezTo>
                <a:cubicBezTo>
                  <a:pt x="5345881" y="4083287"/>
                  <a:pt x="5336754" y="4086524"/>
                  <a:pt x="5340349" y="4088648"/>
                </a:cubicBezTo>
                <a:cubicBezTo>
                  <a:pt x="5334817" y="4091177"/>
                  <a:pt x="5325414" y="4083085"/>
                  <a:pt x="5316009" y="4083388"/>
                </a:cubicBezTo>
                <a:cubicBezTo>
                  <a:pt x="5312137" y="4087030"/>
                  <a:pt x="5327073" y="4084096"/>
                  <a:pt x="5317945" y="4090267"/>
                </a:cubicBezTo>
                <a:cubicBezTo>
                  <a:pt x="5316009" y="4089154"/>
                  <a:pt x="5316009" y="4091885"/>
                  <a:pt x="5314350" y="4093706"/>
                </a:cubicBezTo>
                <a:cubicBezTo>
                  <a:pt x="5291393" y="4080859"/>
                  <a:pt x="5263734" y="4093504"/>
                  <a:pt x="5239394" y="4091076"/>
                </a:cubicBezTo>
                <a:cubicBezTo>
                  <a:pt x="5237458" y="4092897"/>
                  <a:pt x="5237458" y="4095729"/>
                  <a:pt x="5235798" y="4097550"/>
                </a:cubicBezTo>
                <a:cubicBezTo>
                  <a:pt x="5233586" y="4087839"/>
                  <a:pt x="5169970" y="4091683"/>
                  <a:pt x="5153374" y="4102101"/>
                </a:cubicBezTo>
                <a:cubicBezTo>
                  <a:pt x="5087546" y="4093301"/>
                  <a:pt x="5031675" y="4106957"/>
                  <a:pt x="4966123" y="4101090"/>
                </a:cubicBezTo>
                <a:cubicBezTo>
                  <a:pt x="4958656" y="4102506"/>
                  <a:pt x="4968059" y="4107968"/>
                  <a:pt x="4960592" y="4112318"/>
                </a:cubicBezTo>
                <a:cubicBezTo>
                  <a:pt x="4956719" y="4107260"/>
                  <a:pt x="4942060" y="4110093"/>
                  <a:pt x="4945380" y="4100787"/>
                </a:cubicBezTo>
                <a:cubicBezTo>
                  <a:pt x="4928783" y="4105541"/>
                  <a:pt x="4896699" y="4093099"/>
                  <a:pt x="4887572" y="4102101"/>
                </a:cubicBezTo>
                <a:cubicBezTo>
                  <a:pt x="4880105" y="4106350"/>
                  <a:pt x="4883423" y="4097044"/>
                  <a:pt x="4875955" y="4098460"/>
                </a:cubicBezTo>
                <a:cubicBezTo>
                  <a:pt x="4870423" y="4098157"/>
                  <a:pt x="4876231" y="4104226"/>
                  <a:pt x="4868764" y="4105642"/>
                </a:cubicBezTo>
                <a:cubicBezTo>
                  <a:pt x="4880105" y="4103518"/>
                  <a:pt x="4876231" y="4104226"/>
                  <a:pt x="4885635" y="4109587"/>
                </a:cubicBezTo>
                <a:cubicBezTo>
                  <a:pt x="4878444" y="4116769"/>
                  <a:pt x="4868764" y="4108575"/>
                  <a:pt x="4859360" y="4108980"/>
                </a:cubicBezTo>
                <a:cubicBezTo>
                  <a:pt x="4864891" y="4103619"/>
                  <a:pt x="4864891" y="4100685"/>
                  <a:pt x="4862955" y="4099674"/>
                </a:cubicBezTo>
                <a:cubicBezTo>
                  <a:pt x="4853552" y="4097145"/>
                  <a:pt x="4848019" y="4102506"/>
                  <a:pt x="4838615" y="4097246"/>
                </a:cubicBezTo>
                <a:cubicBezTo>
                  <a:pt x="4838615" y="4100078"/>
                  <a:pt x="4836956" y="4104731"/>
                  <a:pt x="4844423" y="4106148"/>
                </a:cubicBezTo>
                <a:cubicBezTo>
                  <a:pt x="4838892" y="4108676"/>
                  <a:pt x="4831147" y="4101495"/>
                  <a:pt x="4833083" y="4099775"/>
                </a:cubicBezTo>
                <a:cubicBezTo>
                  <a:pt x="4814552" y="4109081"/>
                  <a:pt x="4789382" y="4080859"/>
                  <a:pt x="4769191" y="4097651"/>
                </a:cubicBezTo>
                <a:cubicBezTo>
                  <a:pt x="4763383" y="4088749"/>
                  <a:pt x="4735447" y="4089963"/>
                  <a:pt x="4731575" y="4090671"/>
                </a:cubicBezTo>
                <a:cubicBezTo>
                  <a:pt x="4711108" y="4090368"/>
                  <a:pt x="4693960" y="4083692"/>
                  <a:pt x="4673491" y="4080455"/>
                </a:cubicBezTo>
                <a:cubicBezTo>
                  <a:pt x="4660215" y="4078735"/>
                  <a:pt x="4635875" y="4073374"/>
                  <a:pt x="4620939" y="4084906"/>
                </a:cubicBezTo>
                <a:cubicBezTo>
                  <a:pt x="4605727" y="4067710"/>
                  <a:pt x="4551516" y="4073981"/>
                  <a:pt x="4530494" y="4056482"/>
                </a:cubicBezTo>
                <a:cubicBezTo>
                  <a:pt x="4524963" y="4056178"/>
                  <a:pt x="4521091" y="4056886"/>
                  <a:pt x="4515558" y="4062247"/>
                </a:cubicBezTo>
                <a:cubicBezTo>
                  <a:pt x="4481537" y="4043028"/>
                  <a:pt x="4447794" y="4046670"/>
                  <a:pt x="4404369" y="4033621"/>
                </a:cubicBezTo>
                <a:cubicBezTo>
                  <a:pt x="4407964" y="4029980"/>
                  <a:pt x="4409901" y="4025428"/>
                  <a:pt x="4413497" y="4021786"/>
                </a:cubicBezTo>
                <a:cubicBezTo>
                  <a:pt x="4404092" y="4016527"/>
                  <a:pt x="4400497" y="4022899"/>
                  <a:pt x="4393029" y="4027148"/>
                </a:cubicBezTo>
                <a:cubicBezTo>
                  <a:pt x="4379752" y="4016830"/>
                  <a:pt x="4364817" y="4022596"/>
                  <a:pt x="4355137" y="4014402"/>
                </a:cubicBezTo>
                <a:cubicBezTo>
                  <a:pt x="4366476" y="4012278"/>
                  <a:pt x="4375880" y="4020472"/>
                  <a:pt x="4379476" y="4005400"/>
                </a:cubicBezTo>
                <a:cubicBezTo>
                  <a:pt x="4386944" y="4009648"/>
                  <a:pt x="4386944" y="4012480"/>
                  <a:pt x="4398285" y="4010356"/>
                </a:cubicBezTo>
                <a:cubicBezTo>
                  <a:pt x="4401603" y="3998218"/>
                  <a:pt x="4398007" y="3998926"/>
                  <a:pt x="4405200" y="3988912"/>
                </a:cubicBezTo>
                <a:cubicBezTo>
                  <a:pt x="4412667" y="3990328"/>
                  <a:pt x="4442538" y="3987395"/>
                  <a:pt x="4441155" y="4000646"/>
                </a:cubicBezTo>
                <a:cubicBezTo>
                  <a:pt x="4467155" y="3998420"/>
                  <a:pt x="4499517" y="4022292"/>
                  <a:pt x="4523856" y="4013290"/>
                </a:cubicBezTo>
                <a:cubicBezTo>
                  <a:pt x="4524132" y="4024720"/>
                  <a:pt x="4546260" y="4017538"/>
                  <a:pt x="4561472" y="4020370"/>
                </a:cubicBezTo>
                <a:cubicBezTo>
                  <a:pt x="4572812" y="4023911"/>
                  <a:pt x="4599642" y="4050311"/>
                  <a:pt x="4623428" y="4026945"/>
                </a:cubicBezTo>
                <a:cubicBezTo>
                  <a:pt x="4632832" y="4029474"/>
                  <a:pt x="4619832" y="4030486"/>
                  <a:pt x="4623428" y="4035543"/>
                </a:cubicBezTo>
                <a:cubicBezTo>
                  <a:pt x="4638641" y="4041208"/>
                  <a:pt x="4655789" y="4045052"/>
                  <a:pt x="4664917" y="4036150"/>
                </a:cubicBezTo>
                <a:cubicBezTo>
                  <a:pt x="4668789" y="4043939"/>
                  <a:pt x="4695342" y="4056077"/>
                  <a:pt x="4710001" y="4041714"/>
                </a:cubicBezTo>
                <a:lnTo>
                  <a:pt x="4765204" y="4054207"/>
                </a:lnTo>
                <a:lnTo>
                  <a:pt x="4767732" y="4051099"/>
                </a:lnTo>
                <a:lnTo>
                  <a:pt x="4767554" y="4054739"/>
                </a:lnTo>
                <a:lnTo>
                  <a:pt x="4778215" y="4057152"/>
                </a:lnTo>
                <a:lnTo>
                  <a:pt x="4798106" y="4056050"/>
                </a:lnTo>
                <a:lnTo>
                  <a:pt x="4817656" y="4044739"/>
                </a:lnTo>
                <a:cubicBezTo>
                  <a:pt x="4830794" y="4040099"/>
                  <a:pt x="4844347" y="4036533"/>
                  <a:pt x="4852645" y="4032386"/>
                </a:cubicBezTo>
                <a:cubicBezTo>
                  <a:pt x="4856517" y="4028036"/>
                  <a:pt x="4853198" y="4019944"/>
                  <a:pt x="4857347" y="4017820"/>
                </a:cubicBezTo>
                <a:cubicBezTo>
                  <a:pt x="4858730" y="4017112"/>
                  <a:pt x="4860942" y="4017112"/>
                  <a:pt x="4864538" y="4018123"/>
                </a:cubicBezTo>
                <a:cubicBezTo>
                  <a:pt x="4866198" y="4022372"/>
                  <a:pt x="4862880" y="4020753"/>
                  <a:pt x="4862880" y="4020753"/>
                </a:cubicBezTo>
                <a:cubicBezTo>
                  <a:pt x="4854581" y="4024901"/>
                  <a:pt x="4870347" y="4033195"/>
                  <a:pt x="4873667" y="4034814"/>
                </a:cubicBezTo>
                <a:cubicBezTo>
                  <a:pt x="4859974" y="4031982"/>
                  <a:pt x="4845522" y="4038051"/>
                  <a:pt x="4830657" y="4045384"/>
                </a:cubicBezTo>
                <a:lnTo>
                  <a:pt x="4810130" y="4055384"/>
                </a:lnTo>
                <a:lnTo>
                  <a:pt x="4821438" y="4054757"/>
                </a:lnTo>
                <a:cubicBezTo>
                  <a:pt x="4835504" y="4052651"/>
                  <a:pt x="4848780" y="4049173"/>
                  <a:pt x="4859913" y="4044141"/>
                </a:cubicBezTo>
                <a:cubicBezTo>
                  <a:pt x="4857976" y="4048794"/>
                  <a:pt x="4861849" y="4051020"/>
                  <a:pt x="4869318" y="4052436"/>
                </a:cubicBezTo>
                <a:cubicBezTo>
                  <a:pt x="4871254" y="4047783"/>
                  <a:pt x="4857976" y="4048794"/>
                  <a:pt x="4867104" y="4042725"/>
                </a:cubicBezTo>
                <a:cubicBezTo>
                  <a:pt x="4908592" y="4048996"/>
                  <a:pt x="4968336" y="4040297"/>
                  <a:pt x="5007888" y="4048491"/>
                </a:cubicBezTo>
                <a:cubicBezTo>
                  <a:pt x="5006229" y="4055976"/>
                  <a:pt x="5000420" y="4049907"/>
                  <a:pt x="4996825" y="4056279"/>
                </a:cubicBezTo>
                <a:cubicBezTo>
                  <a:pt x="5010101" y="4060932"/>
                  <a:pt x="5036377" y="4061641"/>
                  <a:pt x="5041633" y="4047682"/>
                </a:cubicBezTo>
                <a:cubicBezTo>
                  <a:pt x="5052696" y="4045456"/>
                  <a:pt x="5062100" y="4045052"/>
                  <a:pt x="5075376" y="4049705"/>
                </a:cubicBezTo>
                <a:cubicBezTo>
                  <a:pt x="5077312" y="4053649"/>
                  <a:pt x="5069844" y="4052233"/>
                  <a:pt x="5066250" y="4055875"/>
                </a:cubicBezTo>
                <a:cubicBezTo>
                  <a:pt x="5079525" y="4063259"/>
                  <a:pt x="5081184" y="4055774"/>
                  <a:pt x="5094185" y="4057493"/>
                </a:cubicBezTo>
                <a:cubicBezTo>
                  <a:pt x="5096121" y="4052840"/>
                  <a:pt x="5081184" y="4055673"/>
                  <a:pt x="5088376" y="4048491"/>
                </a:cubicBezTo>
                <a:cubicBezTo>
                  <a:pt x="5103588" y="4051323"/>
                  <a:pt x="5110780" y="4044242"/>
                  <a:pt x="5124056" y="4048794"/>
                </a:cubicBezTo>
                <a:cubicBezTo>
                  <a:pt x="5118524" y="4054256"/>
                  <a:pt x="5111056" y="4055673"/>
                  <a:pt x="5105248" y="4049603"/>
                </a:cubicBezTo>
                <a:cubicBezTo>
                  <a:pt x="5105248" y="4052436"/>
                  <a:pt x="5109120" y="4054560"/>
                  <a:pt x="5105524" y="4058201"/>
                </a:cubicBezTo>
                <a:cubicBezTo>
                  <a:pt x="5120460" y="4058100"/>
                  <a:pt x="5129864" y="4057696"/>
                  <a:pt x="5137056" y="4044849"/>
                </a:cubicBezTo>
                <a:cubicBezTo>
                  <a:pt x="5144524" y="4046265"/>
                  <a:pt x="5135397" y="4052335"/>
                  <a:pt x="5135397" y="4055268"/>
                </a:cubicBezTo>
                <a:cubicBezTo>
                  <a:pt x="5189885" y="4057594"/>
                  <a:pt x="5238011" y="4033824"/>
                  <a:pt x="5301627" y="4035847"/>
                </a:cubicBezTo>
                <a:cubicBezTo>
                  <a:pt x="5303563" y="4039690"/>
                  <a:pt x="5305499" y="4043635"/>
                  <a:pt x="5311307" y="4046872"/>
                </a:cubicBezTo>
                <a:cubicBezTo>
                  <a:pt x="5322371" y="4038982"/>
                  <a:pt x="5339244" y="4042826"/>
                  <a:pt x="5344498" y="4028867"/>
                </a:cubicBezTo>
                <a:cubicBezTo>
                  <a:pt x="5378242" y="4030991"/>
                  <a:pt x="5408114" y="4022292"/>
                  <a:pt x="5437987" y="4013694"/>
                </a:cubicBezTo>
                <a:cubicBezTo>
                  <a:pt x="5535345" y="4011975"/>
                  <a:pt x="5622471" y="3982135"/>
                  <a:pt x="5715958" y="3966861"/>
                </a:cubicBezTo>
                <a:cubicBezTo>
                  <a:pt x="5777085" y="3939145"/>
                  <a:pt x="5835169" y="3937830"/>
                  <a:pt x="5896295" y="3913048"/>
                </a:cubicBezTo>
                <a:cubicBezTo>
                  <a:pt x="5903763" y="3917296"/>
                  <a:pt x="5916764" y="3907585"/>
                  <a:pt x="5922571" y="3913655"/>
                </a:cubicBezTo>
                <a:cubicBezTo>
                  <a:pt x="5928104" y="3908293"/>
                  <a:pt x="5928104" y="3905360"/>
                  <a:pt x="5920358" y="3903944"/>
                </a:cubicBezTo>
                <a:cubicBezTo>
                  <a:pt x="5935294" y="3895346"/>
                  <a:pt x="5952166" y="3899190"/>
                  <a:pt x="5969038" y="3894537"/>
                </a:cubicBezTo>
                <a:cubicBezTo>
                  <a:pt x="5964890" y="3886647"/>
                  <a:pt x="5976231" y="3890288"/>
                  <a:pt x="5979825" y="3880982"/>
                </a:cubicBezTo>
                <a:cubicBezTo>
                  <a:pt x="5981761" y="3881994"/>
                  <a:pt x="5983698" y="3883107"/>
                  <a:pt x="5987293" y="3882398"/>
                </a:cubicBezTo>
                <a:cubicBezTo>
                  <a:pt x="6020484" y="3861561"/>
                  <a:pt x="6059760" y="3858223"/>
                  <a:pt x="6094887" y="3832733"/>
                </a:cubicBezTo>
                <a:cubicBezTo>
                  <a:pt x="6109823" y="3835565"/>
                  <a:pt x="6128078" y="3811895"/>
                  <a:pt x="6141354" y="3822213"/>
                </a:cubicBezTo>
                <a:cubicBezTo>
                  <a:pt x="6144950" y="3817256"/>
                  <a:pt x="6150205" y="3815132"/>
                  <a:pt x="6155183" y="3812704"/>
                </a:cubicBezTo>
                <a:lnTo>
                  <a:pt x="6155737" y="3812300"/>
                </a:lnTo>
                <a:lnTo>
                  <a:pt x="6142184" y="3810783"/>
                </a:lnTo>
                <a:cubicBezTo>
                  <a:pt x="6144950" y="3808658"/>
                  <a:pt x="6147715" y="3806534"/>
                  <a:pt x="6148269" y="3804107"/>
                </a:cubicBezTo>
                <a:lnTo>
                  <a:pt x="6156013" y="3812199"/>
                </a:lnTo>
                <a:lnTo>
                  <a:pt x="6169013" y="3801072"/>
                </a:lnTo>
                <a:cubicBezTo>
                  <a:pt x="6181183" y="3800162"/>
                  <a:pt x="6191417" y="3796722"/>
                  <a:pt x="6200544" y="3792171"/>
                </a:cubicBezTo>
                <a:lnTo>
                  <a:pt x="6214097" y="3783471"/>
                </a:lnTo>
                <a:lnTo>
                  <a:pt x="6210501" y="3781246"/>
                </a:lnTo>
                <a:lnTo>
                  <a:pt x="6220459" y="3779526"/>
                </a:lnTo>
                <a:lnTo>
                  <a:pt x="6225990" y="3775986"/>
                </a:lnTo>
                <a:lnTo>
                  <a:pt x="6227373" y="3775076"/>
                </a:lnTo>
                <a:lnTo>
                  <a:pt x="6230416" y="3767591"/>
                </a:lnTo>
                <a:cubicBezTo>
                  <a:pt x="6234841" y="3770322"/>
                  <a:pt x="6232629" y="3767793"/>
                  <a:pt x="6240373" y="3766377"/>
                </a:cubicBezTo>
                <a:lnTo>
                  <a:pt x="6240650" y="3766882"/>
                </a:lnTo>
                <a:lnTo>
                  <a:pt x="6250607" y="3760510"/>
                </a:lnTo>
                <a:cubicBezTo>
                  <a:pt x="6259458" y="3756261"/>
                  <a:pt x="6269138" y="3753631"/>
                  <a:pt x="6280202" y="3753530"/>
                </a:cubicBezTo>
                <a:cubicBezTo>
                  <a:pt x="6290436" y="3742302"/>
                  <a:pt x="6300946" y="3736941"/>
                  <a:pt x="6311457" y="3731985"/>
                </a:cubicBezTo>
                <a:lnTo>
                  <a:pt x="6316989" y="3729254"/>
                </a:lnTo>
                <a:lnTo>
                  <a:pt x="6229310" y="3762735"/>
                </a:lnTo>
                <a:cubicBezTo>
                  <a:pt x="6212438" y="3769209"/>
                  <a:pt x="6195566" y="3775379"/>
                  <a:pt x="6178140" y="3780538"/>
                </a:cubicBezTo>
                <a:lnTo>
                  <a:pt x="6146056" y="3787619"/>
                </a:lnTo>
                <a:lnTo>
                  <a:pt x="6145226" y="3788023"/>
                </a:lnTo>
                <a:cubicBezTo>
                  <a:pt x="6140524" y="3789338"/>
                  <a:pt x="6136099" y="3790957"/>
                  <a:pt x="6133333" y="3797936"/>
                </a:cubicBezTo>
                <a:cubicBezTo>
                  <a:pt x="6086589" y="3802690"/>
                  <a:pt x="6048143" y="3834655"/>
                  <a:pt x="6001399" y="3839409"/>
                </a:cubicBezTo>
                <a:cubicBezTo>
                  <a:pt x="5980932" y="3853469"/>
                  <a:pt x="5954657" y="3852761"/>
                  <a:pt x="5934466" y="3869653"/>
                </a:cubicBezTo>
                <a:cubicBezTo>
                  <a:pt x="5915656" y="3867529"/>
                  <a:pt x="5895465" y="3881589"/>
                  <a:pt x="5869466" y="3889479"/>
                </a:cubicBezTo>
                <a:cubicBezTo>
                  <a:pt x="5852871" y="3894132"/>
                  <a:pt x="5834062" y="3889277"/>
                  <a:pt x="5823000" y="3905664"/>
                </a:cubicBezTo>
                <a:cubicBezTo>
                  <a:pt x="5802531" y="3902528"/>
                  <a:pt x="5789532" y="3909305"/>
                  <a:pt x="5776532" y="3919016"/>
                </a:cubicBezTo>
                <a:cubicBezTo>
                  <a:pt x="5716788" y="3924882"/>
                  <a:pt x="5659258" y="3943292"/>
                  <a:pt x="5601174" y="3953104"/>
                </a:cubicBezTo>
                <a:cubicBezTo>
                  <a:pt x="5597579" y="3956745"/>
                  <a:pt x="5599515" y="3957757"/>
                  <a:pt x="5597855" y="3962410"/>
                </a:cubicBezTo>
                <a:cubicBezTo>
                  <a:pt x="5599238" y="3949260"/>
                  <a:pt x="5565770" y="3958566"/>
                  <a:pt x="5573516" y="3962815"/>
                </a:cubicBezTo>
                <a:cubicBezTo>
                  <a:pt x="5524835" y="3966557"/>
                  <a:pt x="5452092" y="3976470"/>
                  <a:pt x="5409220" y="3989114"/>
                </a:cubicBezTo>
                <a:cubicBezTo>
                  <a:pt x="5407284" y="3990834"/>
                  <a:pt x="5399816" y="3989418"/>
                  <a:pt x="5401752" y="3987597"/>
                </a:cubicBezTo>
                <a:cubicBezTo>
                  <a:pt x="5394284" y="3986181"/>
                  <a:pt x="5398157" y="3991238"/>
                  <a:pt x="5392625" y="3993767"/>
                </a:cubicBezTo>
                <a:cubicBezTo>
                  <a:pt x="5381285" y="3990227"/>
                  <a:pt x="5362476" y="3988103"/>
                  <a:pt x="5353349" y="3997004"/>
                </a:cubicBezTo>
                <a:cubicBezTo>
                  <a:pt x="5321265" y="3993160"/>
                  <a:pt x="5265393" y="4004085"/>
                  <a:pt x="5235245" y="4001354"/>
                </a:cubicBezTo>
                <a:cubicBezTo>
                  <a:pt x="5229714" y="4003883"/>
                  <a:pt x="5224182" y="4006411"/>
                  <a:pt x="5220309" y="4007119"/>
                </a:cubicBezTo>
                <a:cubicBezTo>
                  <a:pt x="5212841" y="4005703"/>
                  <a:pt x="5209246" y="4003579"/>
                  <a:pt x="5203437" y="4000342"/>
                </a:cubicBezTo>
                <a:cubicBezTo>
                  <a:pt x="5194033" y="4003579"/>
                  <a:pt x="5181034" y="4007625"/>
                  <a:pt x="5166098" y="4001859"/>
                </a:cubicBezTo>
                <a:cubicBezTo>
                  <a:pt x="5169693" y="3995487"/>
                  <a:pt x="5173290" y="3994779"/>
                  <a:pt x="5167481" y="3988710"/>
                </a:cubicBezTo>
                <a:cubicBezTo>
                  <a:pt x="5156417" y="3990834"/>
                  <a:pt x="5164161" y="3998016"/>
                  <a:pt x="5158630" y="4003377"/>
                </a:cubicBezTo>
                <a:cubicBezTo>
                  <a:pt x="5145630" y="4007322"/>
                  <a:pt x="5145353" y="3995891"/>
                  <a:pt x="5139545" y="3992655"/>
                </a:cubicBezTo>
                <a:cubicBezTo>
                  <a:pt x="5134290" y="4009446"/>
                  <a:pt x="5113823" y="4014908"/>
                  <a:pt x="5100269" y="3998926"/>
                </a:cubicBezTo>
                <a:cubicBezTo>
                  <a:pt x="5090865" y="3996397"/>
                  <a:pt x="5085610" y="4007423"/>
                  <a:pt x="5077865" y="4003174"/>
                </a:cubicBezTo>
                <a:cubicBezTo>
                  <a:pt x="5076206" y="4004995"/>
                  <a:pt x="5072610" y="4008637"/>
                  <a:pt x="5076206" y="4010761"/>
                </a:cubicBezTo>
                <a:cubicBezTo>
                  <a:pt x="5068738" y="4012177"/>
                  <a:pt x="5063207" y="4006108"/>
                  <a:pt x="5057674" y="4014301"/>
                </a:cubicBezTo>
                <a:cubicBezTo>
                  <a:pt x="5051866" y="4011165"/>
                  <a:pt x="5033058" y="4003377"/>
                  <a:pt x="5025867" y="4013391"/>
                </a:cubicBezTo>
                <a:cubicBezTo>
                  <a:pt x="5021995" y="4011267"/>
                  <a:pt x="5027526" y="4005804"/>
                  <a:pt x="5023654" y="4003680"/>
                </a:cubicBezTo>
                <a:cubicBezTo>
                  <a:pt x="5014526" y="4009749"/>
                  <a:pt x="5005122" y="4004489"/>
                  <a:pt x="4997654" y="4014504"/>
                </a:cubicBezTo>
                <a:cubicBezTo>
                  <a:pt x="4992124" y="4011368"/>
                  <a:pt x="4980506" y="4004894"/>
                  <a:pt x="4980782" y="4010660"/>
                </a:cubicBezTo>
                <a:lnTo>
                  <a:pt x="4937489" y="4011736"/>
                </a:lnTo>
                <a:lnTo>
                  <a:pt x="4915154" y="4021057"/>
                </a:lnTo>
                <a:lnTo>
                  <a:pt x="4917870" y="4011788"/>
                </a:lnTo>
                <a:lnTo>
                  <a:pt x="4901708" y="4011485"/>
                </a:lnTo>
                <a:cubicBezTo>
                  <a:pt x="4893260" y="4010704"/>
                  <a:pt x="4885151" y="4009142"/>
                  <a:pt x="4877615" y="4006310"/>
                </a:cubicBezTo>
                <a:cubicBezTo>
                  <a:pt x="4872082" y="4005906"/>
                  <a:pt x="4866551" y="4005602"/>
                  <a:pt x="4861019" y="4010963"/>
                </a:cubicBezTo>
                <a:cubicBezTo>
                  <a:pt x="4838062" y="3995285"/>
                  <a:pt x="4784127" y="4012885"/>
                  <a:pt x="4755638" y="3994071"/>
                </a:cubicBezTo>
                <a:cubicBezTo>
                  <a:pt x="4750106" y="3993666"/>
                  <a:pt x="4746234" y="4000140"/>
                  <a:pt x="4740702" y="3999735"/>
                </a:cubicBezTo>
                <a:cubicBezTo>
                  <a:pt x="4729362" y="3996195"/>
                  <a:pt x="4734894" y="3988002"/>
                  <a:pt x="4731022" y="3983045"/>
                </a:cubicBezTo>
                <a:cubicBezTo>
                  <a:pt x="4718023" y="3984158"/>
                  <a:pt x="4693960" y="4001758"/>
                  <a:pt x="4687874" y="3981427"/>
                </a:cubicBezTo>
                <a:cubicBezTo>
                  <a:pt x="4676533" y="3980719"/>
                  <a:pt x="4667407" y="3989620"/>
                  <a:pt x="4658002" y="3990025"/>
                </a:cubicBezTo>
                <a:cubicBezTo>
                  <a:pt x="4656066" y="3986080"/>
                  <a:pt x="4656066" y="3983247"/>
                  <a:pt x="4652193" y="3981123"/>
                </a:cubicBezTo>
                <a:cubicBezTo>
                  <a:pt x="4643066" y="3987192"/>
                  <a:pt x="4614855" y="3982641"/>
                  <a:pt x="4612641" y="3970098"/>
                </a:cubicBezTo>
                <a:cubicBezTo>
                  <a:pt x="4599642" y="3976976"/>
                  <a:pt x="4584705" y="3974043"/>
                  <a:pt x="4569771" y="3974144"/>
                </a:cubicBezTo>
                <a:cubicBezTo>
                  <a:pt x="4537132" y="3947338"/>
                  <a:pt x="4460517" y="3952295"/>
                  <a:pt x="4418752" y="3925894"/>
                </a:cubicBezTo>
                <a:cubicBezTo>
                  <a:pt x="4414879" y="3920938"/>
                  <a:pt x="4401880" y="3930547"/>
                  <a:pt x="4403816" y="3925894"/>
                </a:cubicBezTo>
                <a:cubicBezTo>
                  <a:pt x="4429815" y="3918004"/>
                  <a:pt x="4465219" y="3918206"/>
                  <a:pt x="4489835" y="3926400"/>
                </a:cubicBezTo>
                <a:cubicBezTo>
                  <a:pt x="4499239" y="3925995"/>
                  <a:pt x="4504494" y="3914970"/>
                  <a:pt x="4502558" y="3911025"/>
                </a:cubicBezTo>
                <a:cubicBezTo>
                  <a:pt x="4470475" y="3904349"/>
                  <a:pt x="4443922" y="3880780"/>
                  <a:pt x="4421794" y="3893728"/>
                </a:cubicBezTo>
                <a:cubicBezTo>
                  <a:pt x="4415987" y="3887658"/>
                  <a:pt x="4402710" y="3883005"/>
                  <a:pt x="4402433" y="3874407"/>
                </a:cubicBezTo>
                <a:cubicBezTo>
                  <a:pt x="4434517" y="3884017"/>
                  <a:pt x="4459134" y="3886546"/>
                  <a:pt x="4492878" y="3897167"/>
                </a:cubicBezTo>
                <a:cubicBezTo>
                  <a:pt x="4498410" y="3891806"/>
                  <a:pt x="4505877" y="3893121"/>
                  <a:pt x="4511409" y="3884927"/>
                </a:cubicBezTo>
                <a:cubicBezTo>
                  <a:pt x="4515005" y="3878454"/>
                  <a:pt x="4502005" y="3885332"/>
                  <a:pt x="4502005" y="3879566"/>
                </a:cubicBezTo>
                <a:cubicBezTo>
                  <a:pt x="4505601" y="3876026"/>
                  <a:pt x="4507261" y="3874205"/>
                  <a:pt x="4511133" y="3876329"/>
                </a:cubicBezTo>
                <a:cubicBezTo>
                  <a:pt x="4511133" y="3873497"/>
                  <a:pt x="4507261" y="3871272"/>
                  <a:pt x="4510856" y="3867731"/>
                </a:cubicBezTo>
                <a:cubicBezTo>
                  <a:pt x="4501453" y="3865203"/>
                  <a:pt x="4492324" y="3874205"/>
                  <a:pt x="4479048" y="3866720"/>
                </a:cubicBezTo>
                <a:cubicBezTo>
                  <a:pt x="4493984" y="3863888"/>
                  <a:pt x="4482367" y="3851749"/>
                  <a:pt x="4497580" y="3851648"/>
                </a:cubicBezTo>
                <a:cubicBezTo>
                  <a:pt x="4493707" y="3846692"/>
                  <a:pt x="4482367" y="3843151"/>
                  <a:pt x="4493154" y="3832328"/>
                </a:cubicBezTo>
                <a:cubicBezTo>
                  <a:pt x="4498963" y="3835565"/>
                  <a:pt x="4493707" y="3849524"/>
                  <a:pt x="4504771" y="3838802"/>
                </a:cubicBezTo>
                <a:cubicBezTo>
                  <a:pt x="4508368" y="3843758"/>
                  <a:pt x="4495367" y="3847703"/>
                  <a:pt x="4503111" y="3851952"/>
                </a:cubicBezTo>
                <a:cubicBezTo>
                  <a:pt x="4505048" y="3853064"/>
                  <a:pt x="4508643" y="3849524"/>
                  <a:pt x="4508643" y="3846591"/>
                </a:cubicBezTo>
                <a:cubicBezTo>
                  <a:pt x="4519984" y="3847299"/>
                  <a:pt x="4510579" y="3856301"/>
                  <a:pt x="4518324" y="3857717"/>
                </a:cubicBezTo>
                <a:cubicBezTo>
                  <a:pt x="4527728" y="3857313"/>
                  <a:pt x="4516112" y="3850940"/>
                  <a:pt x="4521643" y="3845579"/>
                </a:cubicBezTo>
                <a:cubicBezTo>
                  <a:pt x="4532983" y="3849119"/>
                  <a:pt x="4542387" y="3845781"/>
                  <a:pt x="4549580" y="3835767"/>
                </a:cubicBezTo>
                <a:cubicBezTo>
                  <a:pt x="4555388" y="3850434"/>
                  <a:pt x="4570323" y="3841836"/>
                  <a:pt x="4561195" y="3853671"/>
                </a:cubicBezTo>
                <a:cubicBezTo>
                  <a:pt x="4580280" y="3864292"/>
                  <a:pt x="4621216" y="3850637"/>
                  <a:pt x="4615960" y="3867428"/>
                </a:cubicBezTo>
                <a:cubicBezTo>
                  <a:pt x="4629236" y="3872081"/>
                  <a:pt x="4623152" y="3857414"/>
                  <a:pt x="4634492" y="3863888"/>
                </a:cubicBezTo>
                <a:cubicBezTo>
                  <a:pt x="4634768" y="3872384"/>
                  <a:pt x="4627024" y="3865304"/>
                  <a:pt x="4623428" y="3868844"/>
                </a:cubicBezTo>
                <a:cubicBezTo>
                  <a:pt x="4621770" y="3882095"/>
                  <a:pt x="4645833" y="3870260"/>
                  <a:pt x="4648045" y="3877037"/>
                </a:cubicBezTo>
                <a:cubicBezTo>
                  <a:pt x="4653577" y="3871676"/>
                  <a:pt x="4651641" y="3870665"/>
                  <a:pt x="4656895" y="3862370"/>
                </a:cubicBezTo>
                <a:cubicBezTo>
                  <a:pt x="4660768" y="3864495"/>
                  <a:pt x="4662704" y="3865506"/>
                  <a:pt x="4666300" y="3864798"/>
                </a:cubicBezTo>
                <a:cubicBezTo>
                  <a:pt x="4664640" y="3872283"/>
                  <a:pt x="4659108" y="3869046"/>
                  <a:pt x="4655236" y="3872688"/>
                </a:cubicBezTo>
                <a:cubicBezTo>
                  <a:pt x="4659108" y="3871980"/>
                  <a:pt x="4661044" y="3873092"/>
                  <a:pt x="4662704" y="3874104"/>
                </a:cubicBezTo>
                <a:cubicBezTo>
                  <a:pt x="4666576" y="3873396"/>
                  <a:pt x="4662704" y="3871272"/>
                  <a:pt x="4666300" y="3867731"/>
                </a:cubicBezTo>
                <a:cubicBezTo>
                  <a:pt x="4687320" y="3879465"/>
                  <a:pt x="4710001" y="3883713"/>
                  <a:pt x="4732128" y="3876430"/>
                </a:cubicBezTo>
                <a:cubicBezTo>
                  <a:pt x="4737936" y="3882500"/>
                  <a:pt x="4745404" y="3880982"/>
                  <a:pt x="4752873" y="3879566"/>
                </a:cubicBezTo>
                <a:cubicBezTo>
                  <a:pt x="4754809" y="3877745"/>
                  <a:pt x="4758404" y="3874205"/>
                  <a:pt x="4756468" y="3873194"/>
                </a:cubicBezTo>
                <a:cubicBezTo>
                  <a:pt x="4764212" y="3883208"/>
                  <a:pt x="4792425" y="3887760"/>
                  <a:pt x="4809020" y="3880173"/>
                </a:cubicBezTo>
                <a:cubicBezTo>
                  <a:pt x="4803765" y="3885534"/>
                  <a:pt x="4811233" y="3884017"/>
                  <a:pt x="4809297" y="3888670"/>
                </a:cubicBezTo>
                <a:lnTo>
                  <a:pt x="4823242" y="3889523"/>
                </a:lnTo>
                <a:lnTo>
                  <a:pt x="4824156" y="3888446"/>
                </a:lnTo>
                <a:cubicBezTo>
                  <a:pt x="4841858" y="3882175"/>
                  <a:pt x="4845730" y="3878938"/>
                  <a:pt x="4861772" y="3875397"/>
                </a:cubicBezTo>
                <a:cubicBezTo>
                  <a:pt x="4862602" y="3873981"/>
                  <a:pt x="4863708" y="3873880"/>
                  <a:pt x="4864816" y="3874184"/>
                </a:cubicBezTo>
                <a:cubicBezTo>
                  <a:pt x="4865921" y="3874588"/>
                  <a:pt x="4866752" y="3875397"/>
                  <a:pt x="4867304" y="3876510"/>
                </a:cubicBezTo>
                <a:cubicBezTo>
                  <a:pt x="4860666" y="3885108"/>
                  <a:pt x="4839922" y="3889761"/>
                  <a:pt x="4829688" y="3889660"/>
                </a:cubicBezTo>
                <a:lnTo>
                  <a:pt x="4829178" y="3889886"/>
                </a:lnTo>
                <a:lnTo>
                  <a:pt x="4893656" y="3893829"/>
                </a:lnTo>
                <a:cubicBezTo>
                  <a:pt x="4897253" y="3890288"/>
                  <a:pt x="4889784" y="3886040"/>
                  <a:pt x="4899189" y="3888468"/>
                </a:cubicBezTo>
                <a:cubicBezTo>
                  <a:pt x="4901125" y="3886748"/>
                  <a:pt x="4899189" y="3885635"/>
                  <a:pt x="4900848" y="3883815"/>
                </a:cubicBezTo>
                <a:cubicBezTo>
                  <a:pt x="4891444" y="3878555"/>
                  <a:pt x="4891720" y="3887153"/>
                  <a:pt x="4886189" y="3886748"/>
                </a:cubicBezTo>
                <a:lnTo>
                  <a:pt x="4881350" y="3881776"/>
                </a:lnTo>
                <a:lnTo>
                  <a:pt x="4879232" y="3881615"/>
                </a:lnTo>
                <a:cubicBezTo>
                  <a:pt x="4871921" y="3877528"/>
                  <a:pt x="4879543" y="3865788"/>
                  <a:pt x="4891367" y="3861843"/>
                </a:cubicBezTo>
                <a:cubicBezTo>
                  <a:pt x="4894133" y="3860933"/>
                  <a:pt x="4896899" y="3860528"/>
                  <a:pt x="4899942" y="3860629"/>
                </a:cubicBezTo>
                <a:cubicBezTo>
                  <a:pt x="4902709" y="3860629"/>
                  <a:pt x="4906027" y="3861236"/>
                  <a:pt x="4909069" y="3862652"/>
                </a:cubicBezTo>
                <a:cubicBezTo>
                  <a:pt x="4904645" y="3870542"/>
                  <a:pt x="4893027" y="3866192"/>
                  <a:pt x="4883070" y="3872970"/>
                </a:cubicBezTo>
                <a:cubicBezTo>
                  <a:pt x="4884454" y="3876106"/>
                  <a:pt x="4886044" y="3876915"/>
                  <a:pt x="4887599" y="3877737"/>
                </a:cubicBezTo>
                <a:lnTo>
                  <a:pt x="4889183" y="3879512"/>
                </a:lnTo>
                <a:lnTo>
                  <a:pt x="4911358" y="3876317"/>
                </a:lnTo>
                <a:cubicBezTo>
                  <a:pt x="4921868" y="3875874"/>
                  <a:pt x="4932655" y="3876279"/>
                  <a:pt x="4943996" y="3876936"/>
                </a:cubicBezTo>
                <a:cubicBezTo>
                  <a:pt x="4949252" y="3868743"/>
                  <a:pt x="4936251" y="3875621"/>
                  <a:pt x="4943719" y="3868439"/>
                </a:cubicBezTo>
                <a:lnTo>
                  <a:pt x="4966183" y="3869700"/>
                </a:lnTo>
                <a:lnTo>
                  <a:pt x="4971856" y="3869429"/>
                </a:lnTo>
                <a:lnTo>
                  <a:pt x="4974046" y="3870142"/>
                </a:lnTo>
                <a:lnTo>
                  <a:pt x="4977292" y="3870324"/>
                </a:lnTo>
                <a:lnTo>
                  <a:pt x="5000434" y="3864887"/>
                </a:lnTo>
                <a:lnTo>
                  <a:pt x="5002557" y="3861539"/>
                </a:lnTo>
                <a:lnTo>
                  <a:pt x="5001146" y="3864720"/>
                </a:lnTo>
                <a:lnTo>
                  <a:pt x="5008995" y="3862876"/>
                </a:lnTo>
                <a:lnTo>
                  <a:pt x="5008078" y="3859135"/>
                </a:lnTo>
                <a:lnTo>
                  <a:pt x="5006982" y="3859516"/>
                </a:lnTo>
                <a:lnTo>
                  <a:pt x="5002834" y="3861135"/>
                </a:lnTo>
                <a:lnTo>
                  <a:pt x="5007193" y="3854546"/>
                </a:lnTo>
                <a:lnTo>
                  <a:pt x="5006783" y="3847400"/>
                </a:lnTo>
                <a:cubicBezTo>
                  <a:pt x="4987974" y="3845276"/>
                  <a:pt x="4971102" y="3841533"/>
                  <a:pt x="4958103" y="3845478"/>
                </a:cubicBezTo>
                <a:lnTo>
                  <a:pt x="4953724" y="3840155"/>
                </a:lnTo>
                <a:lnTo>
                  <a:pt x="4948061" y="3839522"/>
                </a:lnTo>
                <a:lnTo>
                  <a:pt x="4945033" y="3839560"/>
                </a:lnTo>
                <a:lnTo>
                  <a:pt x="4934788" y="3842104"/>
                </a:lnTo>
                <a:lnTo>
                  <a:pt x="4939771" y="3846569"/>
                </a:lnTo>
                <a:cubicBezTo>
                  <a:pt x="4937558" y="3847075"/>
                  <a:pt x="4936175" y="3849806"/>
                  <a:pt x="4936175" y="3849806"/>
                </a:cubicBezTo>
                <a:cubicBezTo>
                  <a:pt x="4931611" y="3849907"/>
                  <a:pt x="4929883" y="3847656"/>
                  <a:pt x="4929918" y="3845482"/>
                </a:cubicBezTo>
                <a:lnTo>
                  <a:pt x="4933268" y="3842481"/>
                </a:lnTo>
                <a:lnTo>
                  <a:pt x="4922422" y="3845174"/>
                </a:lnTo>
                <a:lnTo>
                  <a:pt x="4905803" y="3842586"/>
                </a:lnTo>
                <a:lnTo>
                  <a:pt x="4883623" y="3849502"/>
                </a:lnTo>
                <a:cubicBezTo>
                  <a:pt x="4882793" y="3847378"/>
                  <a:pt x="4886665" y="3844141"/>
                  <a:pt x="4883346" y="3842523"/>
                </a:cubicBezTo>
                <a:lnTo>
                  <a:pt x="4888249" y="3840020"/>
                </a:lnTo>
                <a:lnTo>
                  <a:pt x="4862403" y="3836779"/>
                </a:lnTo>
                <a:lnTo>
                  <a:pt x="4861110" y="3836641"/>
                </a:lnTo>
                <a:lnTo>
                  <a:pt x="4864607" y="3840930"/>
                </a:lnTo>
                <a:cubicBezTo>
                  <a:pt x="4866612" y="3843509"/>
                  <a:pt x="4868548" y="3844799"/>
                  <a:pt x="4870070" y="3840399"/>
                </a:cubicBezTo>
                <a:cubicBezTo>
                  <a:pt x="4872006" y="3840500"/>
                  <a:pt x="4872006" y="3841107"/>
                  <a:pt x="4871731" y="3841815"/>
                </a:cubicBezTo>
                <a:cubicBezTo>
                  <a:pt x="4870347" y="3844040"/>
                  <a:pt x="4861772" y="3847985"/>
                  <a:pt x="4866474" y="3850514"/>
                </a:cubicBezTo>
                <a:cubicBezTo>
                  <a:pt x="4855965" y="3855167"/>
                  <a:pt x="4844347" y="3857696"/>
                  <a:pt x="4831348" y="3862956"/>
                </a:cubicBezTo>
                <a:cubicBezTo>
                  <a:pt x="4824433" y="3857493"/>
                  <a:pt x="4826645" y="3856988"/>
                  <a:pt x="4827198" y="3852132"/>
                </a:cubicBezTo>
                <a:cubicBezTo>
                  <a:pt x="4834389" y="3857544"/>
                  <a:pt x="4842411" y="3855799"/>
                  <a:pt x="4848392" y="3851286"/>
                </a:cubicBezTo>
                <a:lnTo>
                  <a:pt x="4856175" y="3836112"/>
                </a:lnTo>
                <a:lnTo>
                  <a:pt x="4830665" y="3833378"/>
                </a:lnTo>
                <a:cubicBezTo>
                  <a:pt x="4819600" y="3831038"/>
                  <a:pt x="4808744" y="3827776"/>
                  <a:pt x="4800169" y="3824438"/>
                </a:cubicBezTo>
                <a:cubicBezTo>
                  <a:pt x="4796573" y="3822213"/>
                  <a:pt x="4792978" y="3828687"/>
                  <a:pt x="4785234" y="3827270"/>
                </a:cubicBezTo>
                <a:cubicBezTo>
                  <a:pt x="4787170" y="3822617"/>
                  <a:pt x="4781638" y="3822314"/>
                  <a:pt x="4779701" y="3821302"/>
                </a:cubicBezTo>
                <a:cubicBezTo>
                  <a:pt x="4761170" y="3830608"/>
                  <a:pt x="4745681" y="3816346"/>
                  <a:pt x="4727149" y="3825652"/>
                </a:cubicBezTo>
                <a:cubicBezTo>
                  <a:pt x="4672386" y="3806130"/>
                  <a:pt x="4623981" y="3812704"/>
                  <a:pt x="4580280" y="3788124"/>
                </a:cubicBezTo>
                <a:cubicBezTo>
                  <a:pt x="4572812" y="3786708"/>
                  <a:pt x="4565344" y="3791058"/>
                  <a:pt x="4557877" y="3789642"/>
                </a:cubicBezTo>
                <a:cubicBezTo>
                  <a:pt x="4570600" y="3779931"/>
                  <a:pt x="4553727" y="3778920"/>
                  <a:pt x="4548196" y="3775683"/>
                </a:cubicBezTo>
                <a:cubicBezTo>
                  <a:pt x="4572259" y="3766680"/>
                  <a:pt x="4608216" y="3781246"/>
                  <a:pt x="4640023" y="3785090"/>
                </a:cubicBezTo>
                <a:cubicBezTo>
                  <a:pt x="4643619" y="3781550"/>
                  <a:pt x="4638087" y="3781246"/>
                  <a:pt x="4636151" y="3780235"/>
                </a:cubicBezTo>
                <a:cubicBezTo>
                  <a:pt x="4664363" y="3776188"/>
                  <a:pt x="4685661" y="3807950"/>
                  <a:pt x="4700321" y="3799352"/>
                </a:cubicBezTo>
                <a:cubicBezTo>
                  <a:pt x="4713873" y="3815334"/>
                  <a:pt x="4769744" y="3801679"/>
                  <a:pt x="4775829" y="3819178"/>
                </a:cubicBezTo>
                <a:cubicBezTo>
                  <a:pt x="4792701" y="3820190"/>
                  <a:pt x="4794361" y="3818369"/>
                  <a:pt x="4809573" y="3821201"/>
                </a:cubicBezTo>
                <a:cubicBezTo>
                  <a:pt x="4813445" y="3823325"/>
                  <a:pt x="4809297" y="3815436"/>
                  <a:pt x="4807361" y="3814424"/>
                </a:cubicBezTo>
                <a:lnTo>
                  <a:pt x="4846132" y="3815924"/>
                </a:lnTo>
                <a:lnTo>
                  <a:pt x="4850709" y="3809952"/>
                </a:lnTo>
                <a:cubicBezTo>
                  <a:pt x="4851539" y="3811975"/>
                  <a:pt x="4849050" y="3812582"/>
                  <a:pt x="4847666" y="3815111"/>
                </a:cubicBezTo>
                <a:lnTo>
                  <a:pt x="4848978" y="3816034"/>
                </a:lnTo>
                <a:lnTo>
                  <a:pt x="4898843" y="3817963"/>
                </a:lnTo>
                <a:lnTo>
                  <a:pt x="4899389" y="3808637"/>
                </a:lnTo>
                <a:lnTo>
                  <a:pt x="4912219" y="3818480"/>
                </a:lnTo>
                <a:lnTo>
                  <a:pt x="4975337" y="3820922"/>
                </a:lnTo>
                <a:lnTo>
                  <a:pt x="4979226" y="3818873"/>
                </a:lnTo>
                <a:lnTo>
                  <a:pt x="4976253" y="3809771"/>
                </a:lnTo>
                <a:cubicBezTo>
                  <a:pt x="4971310" y="3807672"/>
                  <a:pt x="4964740" y="3806787"/>
                  <a:pt x="4962804" y="3805725"/>
                </a:cubicBezTo>
                <a:lnTo>
                  <a:pt x="4943959" y="3807441"/>
                </a:lnTo>
                <a:lnTo>
                  <a:pt x="4943921" y="3807524"/>
                </a:lnTo>
                <a:lnTo>
                  <a:pt x="4943671" y="3807467"/>
                </a:lnTo>
                <a:lnTo>
                  <a:pt x="4938498" y="3807938"/>
                </a:lnTo>
                <a:lnTo>
                  <a:pt x="4925743" y="3808461"/>
                </a:lnTo>
                <a:lnTo>
                  <a:pt x="4931750" y="3815111"/>
                </a:lnTo>
                <a:cubicBezTo>
                  <a:pt x="4925388" y="3811975"/>
                  <a:pt x="4919304" y="3815515"/>
                  <a:pt x="4916814" y="3809244"/>
                </a:cubicBezTo>
                <a:lnTo>
                  <a:pt x="4917224" y="3808810"/>
                </a:lnTo>
                <a:lnTo>
                  <a:pt x="4908592" y="3809164"/>
                </a:lnTo>
                <a:lnTo>
                  <a:pt x="4881833" y="3807131"/>
                </a:lnTo>
                <a:lnTo>
                  <a:pt x="4863155" y="3811671"/>
                </a:lnTo>
                <a:lnTo>
                  <a:pt x="4870649" y="3806281"/>
                </a:lnTo>
                <a:lnTo>
                  <a:pt x="4844701" y="3804309"/>
                </a:lnTo>
                <a:cubicBezTo>
                  <a:pt x="4829764" y="3804309"/>
                  <a:pt x="4816488" y="3796824"/>
                  <a:pt x="4801552" y="3796925"/>
                </a:cubicBezTo>
                <a:cubicBezTo>
                  <a:pt x="4769468" y="3793081"/>
                  <a:pt x="4737661" y="3794902"/>
                  <a:pt x="4709448" y="3790249"/>
                </a:cubicBezTo>
                <a:lnTo>
                  <a:pt x="4659106" y="3777694"/>
                </a:lnTo>
                <a:lnTo>
                  <a:pt x="4647138" y="3779606"/>
                </a:lnTo>
                <a:lnTo>
                  <a:pt x="4653768" y="3776363"/>
                </a:lnTo>
                <a:lnTo>
                  <a:pt x="4619003" y="3767692"/>
                </a:lnTo>
                <a:lnTo>
                  <a:pt x="4661603" y="3772530"/>
                </a:lnTo>
                <a:lnTo>
                  <a:pt x="4662592" y="3772045"/>
                </a:lnTo>
                <a:cubicBezTo>
                  <a:pt x="4669403" y="3770528"/>
                  <a:pt x="4676456" y="3769542"/>
                  <a:pt x="4679499" y="3767670"/>
                </a:cubicBezTo>
                <a:lnTo>
                  <a:pt x="4671109" y="3773609"/>
                </a:lnTo>
                <a:lnTo>
                  <a:pt x="4686046" y="3775305"/>
                </a:lnTo>
                <a:cubicBezTo>
                  <a:pt x="4752544" y="3785533"/>
                  <a:pt x="4817526" y="3800895"/>
                  <a:pt x="4882041" y="3797026"/>
                </a:cubicBezTo>
                <a:lnTo>
                  <a:pt x="4883332" y="3797159"/>
                </a:lnTo>
                <a:lnTo>
                  <a:pt x="4884971" y="3795980"/>
                </a:lnTo>
                <a:cubicBezTo>
                  <a:pt x="4894687" y="3792124"/>
                  <a:pt x="4905612" y="3789721"/>
                  <a:pt x="4914048" y="3789013"/>
                </a:cubicBezTo>
                <a:lnTo>
                  <a:pt x="4909501" y="3799857"/>
                </a:lnTo>
                <a:lnTo>
                  <a:pt x="4915887" y="3800516"/>
                </a:lnTo>
                <a:lnTo>
                  <a:pt x="4932983" y="3802289"/>
                </a:lnTo>
                <a:lnTo>
                  <a:pt x="4931473" y="3801050"/>
                </a:lnTo>
                <a:cubicBezTo>
                  <a:pt x="4932026" y="3796296"/>
                  <a:pt x="4952770" y="3798623"/>
                  <a:pt x="4952494" y="3791845"/>
                </a:cubicBezTo>
                <a:cubicBezTo>
                  <a:pt x="4956366" y="3792149"/>
                  <a:pt x="4958855" y="3792655"/>
                  <a:pt x="4960792" y="3794071"/>
                </a:cubicBezTo>
                <a:cubicBezTo>
                  <a:pt x="4962451" y="3795386"/>
                  <a:pt x="4963281" y="3797510"/>
                  <a:pt x="4963557" y="3800949"/>
                </a:cubicBezTo>
                <a:lnTo>
                  <a:pt x="4963146" y="3801127"/>
                </a:lnTo>
                <a:lnTo>
                  <a:pt x="4988600" y="3803904"/>
                </a:lnTo>
                <a:lnTo>
                  <a:pt x="5008375" y="3803823"/>
                </a:lnTo>
                <a:lnTo>
                  <a:pt x="5019429" y="3798117"/>
                </a:lnTo>
                <a:lnTo>
                  <a:pt x="5017235" y="3779968"/>
                </a:lnTo>
                <a:lnTo>
                  <a:pt x="5011708" y="3780180"/>
                </a:lnTo>
                <a:lnTo>
                  <a:pt x="5005876" y="3782337"/>
                </a:lnTo>
                <a:lnTo>
                  <a:pt x="5006381" y="3780384"/>
                </a:lnTo>
                <a:lnTo>
                  <a:pt x="4991518" y="3780954"/>
                </a:lnTo>
                <a:lnTo>
                  <a:pt x="4989798" y="3780441"/>
                </a:lnTo>
                <a:lnTo>
                  <a:pt x="4978493" y="3788406"/>
                </a:lnTo>
                <a:cubicBezTo>
                  <a:pt x="4981259" y="3783096"/>
                  <a:pt x="4977664" y="3780365"/>
                  <a:pt x="4974483" y="3777836"/>
                </a:cubicBezTo>
                <a:lnTo>
                  <a:pt x="4974147" y="3775769"/>
                </a:lnTo>
                <a:lnTo>
                  <a:pt x="4955682" y="3770259"/>
                </a:lnTo>
                <a:cubicBezTo>
                  <a:pt x="4932310" y="3761699"/>
                  <a:pt x="4909145" y="3752924"/>
                  <a:pt x="4881210" y="3759802"/>
                </a:cubicBezTo>
                <a:cubicBezTo>
                  <a:pt x="4875402" y="3756565"/>
                  <a:pt x="4877338" y="3751912"/>
                  <a:pt x="4875402" y="3748068"/>
                </a:cubicBezTo>
                <a:cubicBezTo>
                  <a:pt x="4865997" y="3751305"/>
                  <a:pt x="4860467" y="3750900"/>
                  <a:pt x="4854657" y="3744831"/>
                </a:cubicBezTo>
                <a:cubicBezTo>
                  <a:pt x="4847189" y="3752013"/>
                  <a:pt x="4833914" y="3747461"/>
                  <a:pt x="4824786" y="3753530"/>
                </a:cubicBezTo>
                <a:cubicBezTo>
                  <a:pt x="4815244" y="3745337"/>
                  <a:pt x="4805770" y="3740001"/>
                  <a:pt x="4795606" y="3735690"/>
                </a:cubicBezTo>
                <a:lnTo>
                  <a:pt x="4785977" y="3732311"/>
                </a:lnTo>
                <a:lnTo>
                  <a:pt x="4784880" y="3732772"/>
                </a:lnTo>
                <a:cubicBezTo>
                  <a:pt x="4787923" y="3734391"/>
                  <a:pt x="4791242" y="3736111"/>
                  <a:pt x="4792072" y="3738336"/>
                </a:cubicBezTo>
                <a:cubicBezTo>
                  <a:pt x="4786540" y="3737122"/>
                  <a:pt x="4784604" y="3744810"/>
                  <a:pt x="4775476" y="3746833"/>
                </a:cubicBezTo>
                <a:cubicBezTo>
                  <a:pt x="4774370" y="3737527"/>
                  <a:pt x="4750030" y="3745315"/>
                  <a:pt x="4755008" y="3751385"/>
                </a:cubicBezTo>
                <a:cubicBezTo>
                  <a:pt x="4745328" y="3746327"/>
                  <a:pt x="4729562" y="3749766"/>
                  <a:pt x="4723754" y="3760589"/>
                </a:cubicBezTo>
                <a:cubicBezTo>
                  <a:pt x="4720711" y="3758870"/>
                  <a:pt x="4717392" y="3757251"/>
                  <a:pt x="4712967" y="3758263"/>
                </a:cubicBezTo>
                <a:cubicBezTo>
                  <a:pt x="4725137" y="3748401"/>
                  <a:pt x="4740005" y="3742104"/>
                  <a:pt x="4755700" y="3736224"/>
                </a:cubicBezTo>
                <a:lnTo>
                  <a:pt x="4774820" y="3728396"/>
                </a:lnTo>
                <a:lnTo>
                  <a:pt x="4762276" y="3723994"/>
                </a:lnTo>
                <a:cubicBezTo>
                  <a:pt x="4769744" y="3719745"/>
                  <a:pt x="4777212" y="3723893"/>
                  <a:pt x="4782744" y="3721364"/>
                </a:cubicBezTo>
                <a:cubicBezTo>
                  <a:pt x="4782467" y="3709934"/>
                  <a:pt x="4767808" y="3721465"/>
                  <a:pt x="4765596" y="3708922"/>
                </a:cubicBezTo>
                <a:cubicBezTo>
                  <a:pt x="4758127" y="3707607"/>
                  <a:pt x="4763936" y="3713575"/>
                  <a:pt x="4762000" y="3715396"/>
                </a:cubicBezTo>
                <a:lnTo>
                  <a:pt x="4663072" y="3690734"/>
                </a:lnTo>
                <a:lnTo>
                  <a:pt x="4657097" y="3696826"/>
                </a:lnTo>
                <a:cubicBezTo>
                  <a:pt x="4647761" y="3704324"/>
                  <a:pt x="4636905" y="3710519"/>
                  <a:pt x="4622798" y="3714666"/>
                </a:cubicBezTo>
                <a:cubicBezTo>
                  <a:pt x="4604958" y="3732014"/>
                  <a:pt x="4582762" y="3746605"/>
                  <a:pt x="4560012" y="3760855"/>
                </a:cubicBezTo>
                <a:lnTo>
                  <a:pt x="4539731" y="3774397"/>
                </a:lnTo>
                <a:lnTo>
                  <a:pt x="4542665" y="3778616"/>
                </a:lnTo>
                <a:lnTo>
                  <a:pt x="4535557" y="3777184"/>
                </a:lnTo>
                <a:lnTo>
                  <a:pt x="4493908" y="3804995"/>
                </a:lnTo>
                <a:cubicBezTo>
                  <a:pt x="4494461" y="3814200"/>
                  <a:pt x="4502482" y="3799128"/>
                  <a:pt x="4502482" y="3810559"/>
                </a:cubicBezTo>
                <a:cubicBezTo>
                  <a:pt x="4493631" y="3818651"/>
                  <a:pt x="4481737" y="3817437"/>
                  <a:pt x="4469568" y="3818347"/>
                </a:cubicBezTo>
                <a:cubicBezTo>
                  <a:pt x="4451036" y="3827653"/>
                  <a:pt x="4448270" y="3840904"/>
                  <a:pt x="4427526" y="3847783"/>
                </a:cubicBezTo>
                <a:lnTo>
                  <a:pt x="4426322" y="3847372"/>
                </a:lnTo>
                <a:lnTo>
                  <a:pt x="4422348" y="3854582"/>
                </a:lnTo>
                <a:lnTo>
                  <a:pt x="4420493" y="3845383"/>
                </a:lnTo>
                <a:lnTo>
                  <a:pt x="4418779" y="3844799"/>
                </a:lnTo>
                <a:cubicBezTo>
                  <a:pt x="4417017" y="3843155"/>
                  <a:pt x="4415494" y="3841815"/>
                  <a:pt x="4411484" y="3843636"/>
                </a:cubicBezTo>
                <a:cubicBezTo>
                  <a:pt x="4409824" y="3852537"/>
                  <a:pt x="4404569" y="3854358"/>
                  <a:pt x="4409824" y="3863967"/>
                </a:cubicBezTo>
                <a:cubicBezTo>
                  <a:pt x="4402909" y="3863158"/>
                  <a:pt x="4396824" y="3869429"/>
                  <a:pt x="4401526" y="3869935"/>
                </a:cubicBezTo>
                <a:lnTo>
                  <a:pt x="4391418" y="3872009"/>
                </a:lnTo>
                <a:lnTo>
                  <a:pt x="4393029" y="3878150"/>
                </a:lnTo>
                <a:cubicBezTo>
                  <a:pt x="4391092" y="3877037"/>
                  <a:pt x="4387498" y="3877847"/>
                  <a:pt x="4387498" y="3877847"/>
                </a:cubicBezTo>
                <a:lnTo>
                  <a:pt x="4390366" y="3872196"/>
                </a:lnTo>
                <a:lnTo>
                  <a:pt x="4376634" y="3873981"/>
                </a:lnTo>
                <a:cubicBezTo>
                  <a:pt x="4375527" y="3878432"/>
                  <a:pt x="4386867" y="3870643"/>
                  <a:pt x="4382718" y="3879241"/>
                </a:cubicBezTo>
                <a:lnTo>
                  <a:pt x="4382063" y="3882758"/>
                </a:lnTo>
                <a:lnTo>
                  <a:pt x="4391646" y="3888265"/>
                </a:lnTo>
                <a:cubicBezTo>
                  <a:pt x="4388050" y="3894739"/>
                  <a:pt x="4380029" y="3884422"/>
                  <a:pt x="4378093" y="3889075"/>
                </a:cubicBezTo>
                <a:lnTo>
                  <a:pt x="4377851" y="3884020"/>
                </a:lnTo>
                <a:lnTo>
                  <a:pt x="4362671" y="3885254"/>
                </a:lnTo>
                <a:cubicBezTo>
                  <a:pt x="4356814" y="3886878"/>
                  <a:pt x="4351412" y="3889407"/>
                  <a:pt x="4346174" y="3892239"/>
                </a:cubicBezTo>
                <a:lnTo>
                  <a:pt x="4331494" y="3899554"/>
                </a:lnTo>
                <a:lnTo>
                  <a:pt x="4332179" y="3902528"/>
                </a:lnTo>
                <a:lnTo>
                  <a:pt x="4328114" y="3901238"/>
                </a:lnTo>
                <a:lnTo>
                  <a:pt x="4314401" y="3908070"/>
                </a:lnTo>
                <a:cubicBezTo>
                  <a:pt x="4313847" y="3910295"/>
                  <a:pt x="4315783" y="3912723"/>
                  <a:pt x="4315231" y="3914948"/>
                </a:cubicBezTo>
                <a:cubicBezTo>
                  <a:pt x="4307209" y="3907260"/>
                  <a:pt x="4253828" y="3933257"/>
                  <a:pt x="4246083" y="3948328"/>
                </a:cubicBezTo>
                <a:lnTo>
                  <a:pt x="4206756" y="3963470"/>
                </a:lnTo>
                <a:lnTo>
                  <a:pt x="4213523" y="3974852"/>
                </a:lnTo>
                <a:cubicBezTo>
                  <a:pt x="4209650" y="3971312"/>
                  <a:pt x="4206330" y="3970149"/>
                  <a:pt x="4202562" y="3969428"/>
                </a:cubicBezTo>
                <a:lnTo>
                  <a:pt x="4195174" y="3967930"/>
                </a:lnTo>
                <a:lnTo>
                  <a:pt x="4162933" y="3980343"/>
                </a:lnTo>
                <a:cubicBezTo>
                  <a:pt x="4137314" y="3992557"/>
                  <a:pt x="4111937" y="4005075"/>
                  <a:pt x="4081235" y="4014178"/>
                </a:cubicBezTo>
                <a:cubicBezTo>
                  <a:pt x="4075703" y="4018123"/>
                  <a:pt x="4087320" y="4019438"/>
                  <a:pt x="4083724" y="4025811"/>
                </a:cubicBezTo>
                <a:cubicBezTo>
                  <a:pt x="4077086" y="4022878"/>
                  <a:pt x="4065746" y="4030666"/>
                  <a:pt x="4062980" y="4021259"/>
                </a:cubicBezTo>
                <a:cubicBezTo>
                  <a:pt x="4051363" y="4031374"/>
                  <a:pt x="4015130" y="4031880"/>
                  <a:pt x="4012917" y="4043007"/>
                </a:cubicBezTo>
                <a:cubicBezTo>
                  <a:pt x="4009045" y="4049481"/>
                  <a:pt x="4006279" y="4040073"/>
                  <a:pt x="4000471" y="4044018"/>
                </a:cubicBezTo>
                <a:cubicBezTo>
                  <a:pt x="3995492" y="4045738"/>
                  <a:pt x="4004343" y="4048975"/>
                  <a:pt x="3998811" y="4052819"/>
                </a:cubicBezTo>
                <a:cubicBezTo>
                  <a:pt x="4007109" y="4046952"/>
                  <a:pt x="4004343" y="4048975"/>
                  <a:pt x="4015960" y="4050290"/>
                </a:cubicBezTo>
                <a:cubicBezTo>
                  <a:pt x="4014300" y="4059191"/>
                  <a:pt x="4000747" y="4055449"/>
                  <a:pt x="3992726" y="4059090"/>
                </a:cubicBezTo>
                <a:cubicBezTo>
                  <a:pt x="3994109" y="4052414"/>
                  <a:pt x="3992173" y="4049885"/>
                  <a:pt x="3989684" y="4049683"/>
                </a:cubicBezTo>
                <a:cubicBezTo>
                  <a:pt x="3980003" y="4050796"/>
                  <a:pt x="3978620" y="4057472"/>
                  <a:pt x="3966727" y="4056157"/>
                </a:cubicBezTo>
                <a:cubicBezTo>
                  <a:pt x="3968663" y="4058686"/>
                  <a:pt x="3970323" y="4063339"/>
                  <a:pt x="3977791" y="4061922"/>
                </a:cubicBezTo>
                <a:cubicBezTo>
                  <a:pt x="3974471" y="4066070"/>
                  <a:pt x="3963131" y="4062529"/>
                  <a:pt x="3963408" y="4060304"/>
                </a:cubicBezTo>
                <a:cubicBezTo>
                  <a:pt x="3953451" y="4075173"/>
                  <a:pt x="3913068" y="4059292"/>
                  <a:pt x="3906430" y="4081344"/>
                </a:cubicBezTo>
                <a:cubicBezTo>
                  <a:pt x="3895367" y="4075578"/>
                  <a:pt x="3871580" y="4086705"/>
                  <a:pt x="3868814" y="4088627"/>
                </a:cubicBezTo>
                <a:cubicBezTo>
                  <a:pt x="3850559" y="4095707"/>
                  <a:pt x="3831198" y="4095808"/>
                  <a:pt x="3811007" y="4100360"/>
                </a:cubicBezTo>
                <a:cubicBezTo>
                  <a:pt x="3798284" y="4103496"/>
                  <a:pt x="3773391" y="4107643"/>
                  <a:pt x="3767859" y="4122917"/>
                </a:cubicBezTo>
                <a:cubicBezTo>
                  <a:pt x="3743242" y="4113409"/>
                  <a:pt x="3699818" y="4138090"/>
                  <a:pt x="3670222" y="4130301"/>
                </a:cubicBezTo>
                <a:cubicBezTo>
                  <a:pt x="3664967" y="4132021"/>
                  <a:pt x="3662201" y="4134044"/>
                  <a:pt x="3660818" y="4140720"/>
                </a:cubicBezTo>
                <a:cubicBezTo>
                  <a:pt x="3618500" y="4135966"/>
                  <a:pt x="3591394" y="4151240"/>
                  <a:pt x="3544651" y="4155185"/>
                </a:cubicBezTo>
                <a:cubicBezTo>
                  <a:pt x="3545757" y="4150734"/>
                  <a:pt x="3544097" y="4145980"/>
                  <a:pt x="3544927" y="4141529"/>
                </a:cubicBezTo>
                <a:cubicBezTo>
                  <a:pt x="3533310" y="4140315"/>
                  <a:pt x="3534417" y="4147194"/>
                  <a:pt x="3530544" y="4153668"/>
                </a:cubicBezTo>
                <a:cubicBezTo>
                  <a:pt x="3512290" y="4149318"/>
                  <a:pt x="3502885" y="4159636"/>
                  <a:pt x="3489333" y="4155893"/>
                </a:cubicBezTo>
                <a:cubicBezTo>
                  <a:pt x="3497630" y="4149925"/>
                  <a:pt x="3511460" y="4153769"/>
                  <a:pt x="3504545" y="4139304"/>
                </a:cubicBezTo>
                <a:cubicBezTo>
                  <a:pt x="3513949" y="4140417"/>
                  <a:pt x="3515885" y="4142945"/>
                  <a:pt x="3524459" y="4136977"/>
                </a:cubicBezTo>
                <a:cubicBezTo>
                  <a:pt x="3519481" y="4125143"/>
                  <a:pt x="3516715" y="4127064"/>
                  <a:pt x="3516438" y="4115634"/>
                </a:cubicBezTo>
                <a:cubicBezTo>
                  <a:pt x="3524183" y="4114218"/>
                  <a:pt x="3548523" y="4100967"/>
                  <a:pt x="3555714" y="4113105"/>
                </a:cubicBezTo>
                <a:cubicBezTo>
                  <a:pt x="3577288" y="4101878"/>
                  <a:pt x="3620989" y="4111285"/>
                  <a:pt x="3636478" y="4094696"/>
                </a:cubicBezTo>
                <a:cubicBezTo>
                  <a:pt x="3643946" y="4104710"/>
                  <a:pt x="3658882" y="4090447"/>
                  <a:pt x="3673818" y="4087514"/>
                </a:cubicBezTo>
                <a:cubicBezTo>
                  <a:pt x="3685988" y="4086604"/>
                  <a:pt x="3726647" y="4100158"/>
                  <a:pt x="3732455" y="4071228"/>
                </a:cubicBezTo>
                <a:cubicBezTo>
                  <a:pt x="3742412" y="4070015"/>
                  <a:pt x="3731625" y="4075679"/>
                  <a:pt x="3738264" y="4078714"/>
                </a:cubicBezTo>
                <a:cubicBezTo>
                  <a:pt x="3755136" y="4078309"/>
                  <a:pt x="3772561" y="4075679"/>
                  <a:pt x="3774773" y="4064552"/>
                </a:cubicBezTo>
                <a:cubicBezTo>
                  <a:pt x="3783348" y="4070015"/>
                  <a:pt x="3814602" y="4071228"/>
                  <a:pt x="3818198" y="4053426"/>
                </a:cubicBezTo>
                <a:cubicBezTo>
                  <a:pt x="3853048" y="4059596"/>
                  <a:pt x="3924962" y="4035623"/>
                  <a:pt x="3950961" y="4002141"/>
                </a:cubicBezTo>
                <a:cubicBezTo>
                  <a:pt x="3952621" y="4006895"/>
                  <a:pt x="3957323" y="4007401"/>
                  <a:pt x="3964791" y="4005985"/>
                </a:cubicBezTo>
                <a:cubicBezTo>
                  <a:pt x="3963408" y="4001231"/>
                  <a:pt x="3952621" y="4006895"/>
                  <a:pt x="3956770" y="3998298"/>
                </a:cubicBezTo>
                <a:cubicBezTo>
                  <a:pt x="3997152" y="3989093"/>
                  <a:pt x="4043896" y="3960062"/>
                  <a:pt x="4083724" y="3953082"/>
                </a:cubicBezTo>
                <a:cubicBezTo>
                  <a:pt x="4087320" y="3960264"/>
                  <a:pt x="4078193" y="3957027"/>
                  <a:pt x="4079022" y="3964007"/>
                </a:cubicBezTo>
                <a:cubicBezTo>
                  <a:pt x="4093682" y="3963299"/>
                  <a:pt x="4117192" y="3954499"/>
                  <a:pt x="4112766" y="3940337"/>
                </a:cubicBezTo>
                <a:lnTo>
                  <a:pt x="4124094" y="3936601"/>
                </a:lnTo>
                <a:lnTo>
                  <a:pt x="4112602" y="3930585"/>
                </a:lnTo>
                <a:cubicBezTo>
                  <a:pt x="4095764" y="3926071"/>
                  <a:pt x="4077302" y="3922050"/>
                  <a:pt x="4065824" y="3914160"/>
                </a:cubicBezTo>
                <a:lnTo>
                  <a:pt x="4075885" y="3915069"/>
                </a:lnTo>
                <a:lnTo>
                  <a:pt x="4072765" y="3912066"/>
                </a:lnTo>
                <a:cubicBezTo>
                  <a:pt x="4071901" y="3910245"/>
                  <a:pt x="4071002" y="3908424"/>
                  <a:pt x="4068512" y="3908171"/>
                </a:cubicBezTo>
                <a:cubicBezTo>
                  <a:pt x="4064640" y="3916870"/>
                  <a:pt x="4052746" y="3915555"/>
                  <a:pt x="4053023" y="3926985"/>
                </a:cubicBezTo>
                <a:cubicBezTo>
                  <a:pt x="4045832" y="3926176"/>
                  <a:pt x="4031726" y="3924557"/>
                  <a:pt x="4035598" y="3929615"/>
                </a:cubicBezTo>
                <a:cubicBezTo>
                  <a:pt x="4004620" y="3939831"/>
                  <a:pt x="3976131" y="3961680"/>
                  <a:pt x="3942110" y="3962490"/>
                </a:cubicBezTo>
                <a:cubicBezTo>
                  <a:pt x="3937132" y="3964209"/>
                  <a:pt x="3931877" y="3965929"/>
                  <a:pt x="3930494" y="3972605"/>
                </a:cubicBezTo>
                <a:cubicBezTo>
                  <a:pt x="3900345" y="3967041"/>
                  <a:pt x="3864665" y="4001636"/>
                  <a:pt x="3827326" y="3995263"/>
                </a:cubicBezTo>
                <a:cubicBezTo>
                  <a:pt x="3822070" y="3996983"/>
                  <a:pt x="3823177" y="4003962"/>
                  <a:pt x="3817921" y="4005682"/>
                </a:cubicBezTo>
                <a:cubicBezTo>
                  <a:pt x="3805752" y="4006592"/>
                  <a:pt x="3805198" y="3997387"/>
                  <a:pt x="3798560" y="3994353"/>
                </a:cubicBezTo>
                <a:cubicBezTo>
                  <a:pt x="3787773" y="4000017"/>
                  <a:pt x="3778093" y="4023990"/>
                  <a:pt x="3759561" y="4008312"/>
                </a:cubicBezTo>
                <a:cubicBezTo>
                  <a:pt x="3749327" y="4011650"/>
                  <a:pt x="3747114" y="4022878"/>
                  <a:pt x="3739093" y="4026519"/>
                </a:cubicBezTo>
                <a:cubicBezTo>
                  <a:pt x="3734944" y="4023788"/>
                  <a:pt x="3733008" y="4021259"/>
                  <a:pt x="3728306" y="4020753"/>
                </a:cubicBezTo>
                <a:cubicBezTo>
                  <a:pt x="3724157" y="4029351"/>
                  <a:pt x="3696498" y="4035522"/>
                  <a:pt x="3686541" y="4025305"/>
                </a:cubicBezTo>
                <a:cubicBezTo>
                  <a:pt x="3679350" y="4035926"/>
                  <a:pt x="3664414" y="4038758"/>
                  <a:pt x="3651414" y="4044120"/>
                </a:cubicBezTo>
                <a:cubicBezTo>
                  <a:pt x="3605500" y="4032285"/>
                  <a:pt x="3541331" y="4063844"/>
                  <a:pt x="3487673" y="4055550"/>
                </a:cubicBezTo>
                <a:cubicBezTo>
                  <a:pt x="3481035" y="4052616"/>
                  <a:pt x="3476056" y="4065665"/>
                  <a:pt x="3474397" y="4060911"/>
                </a:cubicBezTo>
                <a:cubicBezTo>
                  <a:pt x="3492098" y="4044726"/>
                  <a:pt x="3523630" y="4032285"/>
                  <a:pt x="3550459" y="4030666"/>
                </a:cubicBezTo>
                <a:cubicBezTo>
                  <a:pt x="3558480" y="4027025"/>
                  <a:pt x="3555991" y="4015392"/>
                  <a:pt x="3551565" y="4012661"/>
                </a:cubicBezTo>
                <a:cubicBezTo>
                  <a:pt x="3519204" y="4018123"/>
                  <a:pt x="3480482" y="4007098"/>
                  <a:pt x="3469418" y="4026317"/>
                </a:cubicBezTo>
                <a:cubicBezTo>
                  <a:pt x="3460567" y="4023080"/>
                  <a:pt x="3445908" y="4023687"/>
                  <a:pt x="3440100" y="4016202"/>
                </a:cubicBezTo>
                <a:cubicBezTo>
                  <a:pt x="3474397" y="4013167"/>
                  <a:pt x="3497354" y="4006693"/>
                  <a:pt x="3534140" y="4003861"/>
                </a:cubicBezTo>
                <a:cubicBezTo>
                  <a:pt x="3535523" y="3997185"/>
                  <a:pt x="3542991" y="3995769"/>
                  <a:pt x="3542438" y="3986564"/>
                </a:cubicBezTo>
                <a:cubicBezTo>
                  <a:pt x="3541331" y="3979685"/>
                  <a:pt x="3534417" y="3990205"/>
                  <a:pt x="3530544" y="3985249"/>
                </a:cubicBezTo>
                <a:cubicBezTo>
                  <a:pt x="3531651" y="3980798"/>
                  <a:pt x="3531927" y="3978573"/>
                  <a:pt x="3536629" y="3979079"/>
                </a:cubicBezTo>
                <a:cubicBezTo>
                  <a:pt x="3534693" y="3976651"/>
                  <a:pt x="3529991" y="3976044"/>
                  <a:pt x="3530821" y="3971593"/>
                </a:cubicBezTo>
                <a:cubicBezTo>
                  <a:pt x="3521140" y="3972807"/>
                  <a:pt x="3518928" y="3983934"/>
                  <a:pt x="3502332" y="3982113"/>
                </a:cubicBezTo>
                <a:cubicBezTo>
                  <a:pt x="3513672" y="3974223"/>
                  <a:pt x="3495694" y="3967750"/>
                  <a:pt x="3508694" y="3962388"/>
                </a:cubicBezTo>
                <a:cubicBezTo>
                  <a:pt x="3502056" y="3959455"/>
                  <a:pt x="3489886" y="3960365"/>
                  <a:pt x="3492652" y="3947013"/>
                </a:cubicBezTo>
                <a:cubicBezTo>
                  <a:pt x="3499566" y="3947721"/>
                  <a:pt x="3503992" y="3961883"/>
                  <a:pt x="3506758" y="3948531"/>
                </a:cubicBezTo>
                <a:cubicBezTo>
                  <a:pt x="3513396" y="3951565"/>
                  <a:pt x="3504545" y="3959657"/>
                  <a:pt x="3513949" y="3960669"/>
                </a:cubicBezTo>
                <a:cubicBezTo>
                  <a:pt x="3516438" y="3960972"/>
                  <a:pt x="3516992" y="3956522"/>
                  <a:pt x="3515332" y="3954094"/>
                </a:cubicBezTo>
                <a:cubicBezTo>
                  <a:pt x="3525566" y="3950655"/>
                  <a:pt x="3523353" y="3961680"/>
                  <a:pt x="3530821" y="3960264"/>
                </a:cubicBezTo>
                <a:cubicBezTo>
                  <a:pt x="3538842" y="3956623"/>
                  <a:pt x="3524736" y="3955105"/>
                  <a:pt x="3526119" y="3948429"/>
                </a:cubicBezTo>
                <a:cubicBezTo>
                  <a:pt x="3538289" y="3947519"/>
                  <a:pt x="3544374" y="3941349"/>
                  <a:pt x="3544097" y="3929919"/>
                </a:cubicBezTo>
                <a:cubicBezTo>
                  <a:pt x="3558757" y="3940641"/>
                  <a:pt x="3566225" y="3927794"/>
                  <a:pt x="3565948" y="3941450"/>
                </a:cubicBezTo>
                <a:cubicBezTo>
                  <a:pt x="3589458" y="3943979"/>
                  <a:pt x="3616564" y="3917376"/>
                  <a:pt x="3622649" y="3934066"/>
                </a:cubicBezTo>
                <a:cubicBezTo>
                  <a:pt x="3637308" y="3933358"/>
                  <a:pt x="3622649" y="3922636"/>
                  <a:pt x="3636755" y="3924254"/>
                </a:cubicBezTo>
                <a:cubicBezTo>
                  <a:pt x="3642563" y="3931638"/>
                  <a:pt x="3631223" y="3928098"/>
                  <a:pt x="3630393" y="3932548"/>
                </a:cubicBezTo>
                <a:cubicBezTo>
                  <a:pt x="3637585" y="3944788"/>
                  <a:pt x="3650861" y="3925771"/>
                  <a:pt x="3657223" y="3931031"/>
                </a:cubicBezTo>
                <a:cubicBezTo>
                  <a:pt x="3658606" y="3924355"/>
                  <a:pt x="3656116" y="3924052"/>
                  <a:pt x="3655563" y="3914948"/>
                </a:cubicBezTo>
                <a:cubicBezTo>
                  <a:pt x="3660265" y="3915454"/>
                  <a:pt x="3662755" y="3915656"/>
                  <a:pt x="3665520" y="3913734"/>
                </a:cubicBezTo>
                <a:cubicBezTo>
                  <a:pt x="3668839" y="3920916"/>
                  <a:pt x="3661648" y="3920208"/>
                  <a:pt x="3660818" y="3924659"/>
                </a:cubicBezTo>
                <a:cubicBezTo>
                  <a:pt x="3663584" y="3922636"/>
                  <a:pt x="3666074" y="3922939"/>
                  <a:pt x="3668286" y="3923141"/>
                </a:cubicBezTo>
                <a:cubicBezTo>
                  <a:pt x="3671052" y="3921219"/>
                  <a:pt x="3666350" y="3920714"/>
                  <a:pt x="3667180" y="3916263"/>
                </a:cubicBezTo>
                <a:cubicBezTo>
                  <a:pt x="3693179" y="3919095"/>
                  <a:pt x="3715860" y="3914847"/>
                  <a:pt x="3730796" y="3900483"/>
                </a:cubicBezTo>
                <a:cubicBezTo>
                  <a:pt x="3739647" y="3903821"/>
                  <a:pt x="3745178" y="3899775"/>
                  <a:pt x="3750710" y="3895830"/>
                </a:cubicBezTo>
                <a:cubicBezTo>
                  <a:pt x="3751263" y="3893605"/>
                  <a:pt x="3752093" y="3889255"/>
                  <a:pt x="3749880" y="3888952"/>
                </a:cubicBezTo>
                <a:cubicBezTo>
                  <a:pt x="3763157" y="3895021"/>
                  <a:pt x="3790816" y="3888851"/>
                  <a:pt x="3800496" y="3876308"/>
                </a:cubicBezTo>
                <a:cubicBezTo>
                  <a:pt x="3799113" y="3882984"/>
                  <a:pt x="3804645" y="3879140"/>
                  <a:pt x="3806305" y="3883793"/>
                </a:cubicBezTo>
                <a:cubicBezTo>
                  <a:pt x="3832857" y="3870846"/>
                  <a:pt x="3853602" y="3864068"/>
                  <a:pt x="3883750" y="3858303"/>
                </a:cubicBezTo>
                <a:cubicBezTo>
                  <a:pt x="3884580" y="3853852"/>
                  <a:pt x="3875176" y="3852739"/>
                  <a:pt x="3885133" y="3851525"/>
                </a:cubicBezTo>
                <a:cubicBezTo>
                  <a:pt x="3885409" y="3849300"/>
                  <a:pt x="3883197" y="3848997"/>
                  <a:pt x="3883473" y="3846771"/>
                </a:cubicBezTo>
                <a:cubicBezTo>
                  <a:pt x="3871857" y="3845456"/>
                  <a:pt x="3877388" y="3852942"/>
                  <a:pt x="3872410" y="3854661"/>
                </a:cubicBezTo>
                <a:cubicBezTo>
                  <a:pt x="3869920" y="3854358"/>
                  <a:pt x="3865218" y="3853953"/>
                  <a:pt x="3863282" y="3851424"/>
                </a:cubicBezTo>
                <a:cubicBezTo>
                  <a:pt x="3877665" y="3839387"/>
                  <a:pt x="3895920" y="3832306"/>
                  <a:pt x="3916664" y="3825529"/>
                </a:cubicBezTo>
                <a:cubicBezTo>
                  <a:pt x="3916111" y="3816324"/>
                  <a:pt x="3909196" y="3826945"/>
                  <a:pt x="3910856" y="3818044"/>
                </a:cubicBezTo>
                <a:cubicBezTo>
                  <a:pt x="3933536" y="3813694"/>
                  <a:pt x="3952344" y="3804388"/>
                  <a:pt x="3964791" y="3789822"/>
                </a:cubicBezTo>
                <a:cubicBezTo>
                  <a:pt x="3963684" y="3782944"/>
                  <a:pt x="3953451" y="3786282"/>
                  <a:pt x="3952897" y="3777178"/>
                </a:cubicBezTo>
                <a:cubicBezTo>
                  <a:pt x="3934919" y="3782034"/>
                  <a:pt x="3917770" y="3784664"/>
                  <a:pt x="3908920" y="3792756"/>
                </a:cubicBezTo>
                <a:cubicBezTo>
                  <a:pt x="3896473" y="3782337"/>
                  <a:pt x="3890941" y="3797611"/>
                  <a:pt x="3877388" y="3805198"/>
                </a:cubicBezTo>
                <a:cubicBezTo>
                  <a:pt x="3861899" y="3810356"/>
                  <a:pt x="3837559" y="3812177"/>
                  <a:pt x="3819304" y="3819258"/>
                </a:cubicBezTo>
                <a:cubicBezTo>
                  <a:pt x="3803262" y="3826642"/>
                  <a:pt x="3776156" y="3830385"/>
                  <a:pt x="3756795" y="3830587"/>
                </a:cubicBezTo>
                <a:cubicBezTo>
                  <a:pt x="3752093" y="3830081"/>
                  <a:pt x="3752923" y="3836959"/>
                  <a:pt x="3745455" y="3838477"/>
                </a:cubicBezTo>
                <a:cubicBezTo>
                  <a:pt x="3744072" y="3833723"/>
                  <a:pt x="3738817" y="3835442"/>
                  <a:pt x="3736604" y="3835139"/>
                </a:cubicBezTo>
                <a:cubicBezTo>
                  <a:pt x="3726370" y="3849907"/>
                  <a:pt x="3703690" y="3842826"/>
                  <a:pt x="3693456" y="3857696"/>
                </a:cubicBezTo>
                <a:cubicBezTo>
                  <a:pt x="3632883" y="3860022"/>
                  <a:pt x="3594437" y="3883186"/>
                  <a:pt x="3540225" y="3877218"/>
                </a:cubicBezTo>
                <a:cubicBezTo>
                  <a:pt x="3532757" y="3878634"/>
                  <a:pt x="3529162" y="3885007"/>
                  <a:pt x="3521417" y="3886423"/>
                </a:cubicBezTo>
                <a:cubicBezTo>
                  <a:pt x="3526672" y="3873374"/>
                  <a:pt x="3511183" y="3878432"/>
                  <a:pt x="3503992" y="3877724"/>
                </a:cubicBezTo>
                <a:cubicBezTo>
                  <a:pt x="3519481" y="3861236"/>
                  <a:pt x="3560416" y="3861236"/>
                  <a:pt x="3590841" y="3853245"/>
                </a:cubicBezTo>
                <a:cubicBezTo>
                  <a:pt x="3591671" y="3848794"/>
                  <a:pt x="3586692" y="3850413"/>
                  <a:pt x="3584203" y="3850210"/>
                </a:cubicBezTo>
                <a:cubicBezTo>
                  <a:pt x="3606054" y="3836656"/>
                  <a:pt x="3645606" y="3856886"/>
                  <a:pt x="3652797" y="3844040"/>
                </a:cubicBezTo>
                <a:cubicBezTo>
                  <a:pt x="3675201" y="3853346"/>
                  <a:pt x="3715307" y="3821483"/>
                  <a:pt x="3731902" y="3834633"/>
                </a:cubicBezTo>
                <a:cubicBezTo>
                  <a:pt x="3747391" y="3829575"/>
                  <a:pt x="3747668" y="3827350"/>
                  <a:pt x="3762880" y="3824417"/>
                </a:cubicBezTo>
                <a:cubicBezTo>
                  <a:pt x="3767582" y="3824922"/>
                  <a:pt x="3759008" y="3819460"/>
                  <a:pt x="3756519" y="3819157"/>
                </a:cubicBezTo>
                <a:cubicBezTo>
                  <a:pt x="3811283" y="3797915"/>
                  <a:pt x="3857750" y="3782641"/>
                  <a:pt x="3912239" y="3763624"/>
                </a:cubicBezTo>
                <a:cubicBezTo>
                  <a:pt x="3912515" y="3749968"/>
                  <a:pt x="3892048" y="3756746"/>
                  <a:pt x="3887346" y="3756240"/>
                </a:cubicBezTo>
                <a:cubicBezTo>
                  <a:pt x="3876835" y="3759679"/>
                  <a:pt x="3859687" y="3773739"/>
                  <a:pt x="3841708" y="3778595"/>
                </a:cubicBezTo>
                <a:cubicBezTo>
                  <a:pt x="3818751" y="3785169"/>
                  <a:pt x="3798284" y="3791947"/>
                  <a:pt x="3782795" y="3797004"/>
                </a:cubicBezTo>
                <a:cubicBezTo>
                  <a:pt x="3769518" y="3802466"/>
                  <a:pt x="3753199" y="3800646"/>
                  <a:pt x="3739923" y="3806007"/>
                </a:cubicBezTo>
                <a:cubicBezTo>
                  <a:pt x="3709498" y="3813998"/>
                  <a:pt x="3682946" y="3826945"/>
                  <a:pt x="3655010" y="3833015"/>
                </a:cubicBezTo>
                <a:cubicBezTo>
                  <a:pt x="3622649" y="3838477"/>
                  <a:pt x="3590565" y="3841815"/>
                  <a:pt x="3560969" y="3845355"/>
                </a:cubicBezTo>
                <a:cubicBezTo>
                  <a:pt x="3643670" y="3818044"/>
                  <a:pt x="3738540" y="3812683"/>
                  <a:pt x="3810730" y="3777381"/>
                </a:cubicBezTo>
                <a:cubicBezTo>
                  <a:pt x="3833134" y="3773132"/>
                  <a:pt x="3851942" y="3763826"/>
                  <a:pt x="3874622" y="3759477"/>
                </a:cubicBezTo>
                <a:cubicBezTo>
                  <a:pt x="3876835" y="3759679"/>
                  <a:pt x="3880154" y="3755431"/>
                  <a:pt x="3880431" y="3753205"/>
                </a:cubicBezTo>
                <a:cubicBezTo>
                  <a:pt x="3925515" y="3744607"/>
                  <a:pt x="3933813" y="3727310"/>
                  <a:pt x="3982769" y="3723568"/>
                </a:cubicBezTo>
                <a:cubicBezTo>
                  <a:pt x="3966174" y="3735402"/>
                  <a:pt x="3938791" y="3739246"/>
                  <a:pt x="3924409" y="3751283"/>
                </a:cubicBezTo>
                <a:cubicBezTo>
                  <a:pt x="3951514" y="3747440"/>
                  <a:pt x="3980556" y="3734796"/>
                  <a:pt x="4005450" y="3719319"/>
                </a:cubicBezTo>
                <a:cubicBezTo>
                  <a:pt x="4038364" y="3711530"/>
                  <a:pt x="4069065" y="3701314"/>
                  <a:pt x="4092022" y="3683410"/>
                </a:cubicBezTo>
                <a:cubicBezTo>
                  <a:pt x="4110830" y="3685433"/>
                  <a:pt x="4128255" y="3671474"/>
                  <a:pt x="4137383" y="3661157"/>
                </a:cubicBezTo>
                <a:cubicBezTo>
                  <a:pt x="4157574" y="3656504"/>
                  <a:pt x="4190765" y="3635160"/>
                  <a:pt x="4213170" y="3619482"/>
                </a:cubicBezTo>
                <a:cubicBezTo>
                  <a:pt x="4243595" y="3611390"/>
                  <a:pt x="4262402" y="3590755"/>
                  <a:pt x="4288954" y="3577807"/>
                </a:cubicBezTo>
                <a:cubicBezTo>
                  <a:pt x="4276231" y="3569513"/>
                  <a:pt x="4271806" y="3591766"/>
                  <a:pt x="4261295" y="3583775"/>
                </a:cubicBezTo>
                <a:cubicBezTo>
                  <a:pt x="4186893" y="3630204"/>
                  <a:pt x="4131851" y="3665000"/>
                  <a:pt x="4047491" y="3689783"/>
                </a:cubicBezTo>
                <a:cubicBezTo>
                  <a:pt x="4093405" y="3665304"/>
                  <a:pt x="4129362" y="3641938"/>
                  <a:pt x="4179701" y="3617965"/>
                </a:cubicBezTo>
                <a:cubicBezTo>
                  <a:pt x="4180808" y="3613514"/>
                  <a:pt x="4178318" y="3613210"/>
                  <a:pt x="4173616" y="3612705"/>
                </a:cubicBezTo>
                <a:cubicBezTo>
                  <a:pt x="4191041" y="3610075"/>
                  <a:pt x="4199892" y="3602084"/>
                  <a:pt x="4218147" y="3595003"/>
                </a:cubicBezTo>
                <a:cubicBezTo>
                  <a:pt x="4218978" y="3590552"/>
                  <a:pt x="4217594" y="3585798"/>
                  <a:pt x="4219807" y="3586000"/>
                </a:cubicBezTo>
                <a:cubicBezTo>
                  <a:pt x="4184680" y="3582157"/>
                  <a:pt x="4163106" y="3629799"/>
                  <a:pt x="4116362" y="3622314"/>
                </a:cubicBezTo>
                <a:cubicBezTo>
                  <a:pt x="4114703" y="3631215"/>
                  <a:pt x="4124936" y="3627877"/>
                  <a:pt x="4126873" y="3630305"/>
                </a:cubicBezTo>
                <a:cubicBezTo>
                  <a:pt x="4127426" y="3639510"/>
                  <a:pt x="4114149" y="3633441"/>
                  <a:pt x="4119405" y="3643151"/>
                </a:cubicBezTo>
                <a:cubicBezTo>
                  <a:pt x="4104745" y="3643860"/>
                  <a:pt x="4094511" y="3647198"/>
                  <a:pt x="4083724" y="3652862"/>
                </a:cubicBezTo>
                <a:cubicBezTo>
                  <a:pt x="4071831" y="3651547"/>
                  <a:pt x="4089809" y="3646793"/>
                  <a:pt x="4085937" y="3641836"/>
                </a:cubicBezTo>
                <a:cubicBezTo>
                  <a:pt x="4046108" y="3648715"/>
                  <a:pt x="4017066" y="3661359"/>
                  <a:pt x="3979173" y="3682196"/>
                </a:cubicBezTo>
                <a:cubicBezTo>
                  <a:pt x="3978067" y="3686647"/>
                  <a:pt x="3989131" y="3681084"/>
                  <a:pt x="3993833" y="3681589"/>
                </a:cubicBezTo>
                <a:cubicBezTo>
                  <a:pt x="3989131" y="3692514"/>
                  <a:pt x="3978897" y="3695852"/>
                  <a:pt x="3970599" y="3688164"/>
                </a:cubicBezTo>
                <a:cubicBezTo>
                  <a:pt x="3971152" y="3685939"/>
                  <a:pt x="3975854" y="3686445"/>
                  <a:pt x="3976408" y="3684219"/>
                </a:cubicBezTo>
                <a:cubicBezTo>
                  <a:pt x="3963131" y="3678251"/>
                  <a:pt x="3932706" y="3697571"/>
                  <a:pt x="3919983" y="3700808"/>
                </a:cubicBezTo>
                <a:cubicBezTo>
                  <a:pt x="3923026" y="3710215"/>
                  <a:pt x="3925792" y="3708192"/>
                  <a:pt x="3930494" y="3708698"/>
                </a:cubicBezTo>
                <a:cubicBezTo>
                  <a:pt x="3889835" y="3742888"/>
                  <a:pt x="3825943" y="3713149"/>
                  <a:pt x="3785837" y="3745113"/>
                </a:cubicBezTo>
                <a:cubicBezTo>
                  <a:pt x="3778922" y="3744304"/>
                  <a:pt x="3777263" y="3739550"/>
                  <a:pt x="3773114" y="3736819"/>
                </a:cubicBezTo>
                <a:cubicBezTo>
                  <a:pt x="3767029" y="3742989"/>
                  <a:pt x="3761774" y="3744708"/>
                  <a:pt x="3752923" y="3741472"/>
                </a:cubicBezTo>
                <a:cubicBezTo>
                  <a:pt x="3750987" y="3750373"/>
                  <a:pt x="3736604" y="3750980"/>
                  <a:pt x="3732455" y="3759679"/>
                </a:cubicBezTo>
                <a:cubicBezTo>
                  <a:pt x="3705073" y="3752093"/>
                  <a:pt x="3685158" y="3754419"/>
                  <a:pt x="3658329" y="3756038"/>
                </a:cubicBezTo>
                <a:cubicBezTo>
                  <a:pt x="3662201" y="3749665"/>
                  <a:pt x="3671605" y="3750575"/>
                  <a:pt x="3674924" y="3746428"/>
                </a:cubicBezTo>
                <a:cubicBezTo>
                  <a:pt x="3667180" y="3736515"/>
                  <a:pt x="3661648" y="3751890"/>
                  <a:pt x="3651691" y="3741674"/>
                </a:cubicBezTo>
                <a:cubicBezTo>
                  <a:pt x="3644223" y="3743090"/>
                  <a:pt x="3653074" y="3746327"/>
                  <a:pt x="3652797" y="3748552"/>
                </a:cubicBezTo>
                <a:cubicBezTo>
                  <a:pt x="3577565" y="3751587"/>
                  <a:pt x="3502885" y="3775256"/>
                  <a:pt x="3439823" y="3777381"/>
                </a:cubicBezTo>
                <a:cubicBezTo>
                  <a:pt x="3487120" y="3757656"/>
                  <a:pt x="3540502" y="3768075"/>
                  <a:pt x="3585862" y="3745720"/>
                </a:cubicBezTo>
                <a:cubicBezTo>
                  <a:pt x="3619330" y="3747136"/>
                  <a:pt x="3658329" y="3733177"/>
                  <a:pt x="3682946" y="3717802"/>
                </a:cubicBezTo>
                <a:cubicBezTo>
                  <a:pt x="3671605" y="3714262"/>
                  <a:pt x="3655563" y="3735200"/>
                  <a:pt x="3640627" y="3724478"/>
                </a:cubicBezTo>
                <a:cubicBezTo>
                  <a:pt x="3600522" y="3745012"/>
                  <a:pt x="3543268" y="3729738"/>
                  <a:pt x="3500120" y="3752295"/>
                </a:cubicBezTo>
                <a:cubicBezTo>
                  <a:pt x="3493758" y="3749260"/>
                  <a:pt x="3467759" y="3746327"/>
                  <a:pt x="3463610" y="3755026"/>
                </a:cubicBezTo>
                <a:cubicBezTo>
                  <a:pt x="3454759" y="3751688"/>
                  <a:pt x="3452270" y="3751486"/>
                  <a:pt x="3438163" y="3749968"/>
                </a:cubicBezTo>
                <a:cubicBezTo>
                  <a:pt x="3469141" y="3739651"/>
                  <a:pt x="3521417" y="3743191"/>
                  <a:pt x="3541055" y="3729434"/>
                </a:cubicBezTo>
                <a:cubicBezTo>
                  <a:pt x="3545757" y="3741370"/>
                  <a:pt x="3556821" y="3722151"/>
                  <a:pt x="3567884" y="3727917"/>
                </a:cubicBezTo>
                <a:cubicBezTo>
                  <a:pt x="3566778" y="3720938"/>
                  <a:pt x="3559586" y="3720128"/>
                  <a:pt x="3555438" y="3717397"/>
                </a:cubicBezTo>
                <a:cubicBezTo>
                  <a:pt x="3548246" y="3716588"/>
                  <a:pt x="3551842" y="3723770"/>
                  <a:pt x="3539949" y="3722455"/>
                </a:cubicBezTo>
                <a:cubicBezTo>
                  <a:pt x="3549353" y="3712036"/>
                  <a:pt x="3533034" y="3721646"/>
                  <a:pt x="3526396" y="3718611"/>
                </a:cubicBezTo>
                <a:cubicBezTo>
                  <a:pt x="3523353" y="3709204"/>
                  <a:pt x="3534693" y="3712744"/>
                  <a:pt x="3536076" y="3706068"/>
                </a:cubicBezTo>
                <a:cubicBezTo>
                  <a:pt x="3533587" y="3705866"/>
                  <a:pt x="3528885" y="3705259"/>
                  <a:pt x="3526672" y="3705057"/>
                </a:cubicBezTo>
                <a:cubicBezTo>
                  <a:pt x="3521417" y="3706776"/>
                  <a:pt x="3526672" y="3716487"/>
                  <a:pt x="3521417" y="3718105"/>
                </a:cubicBezTo>
                <a:cubicBezTo>
                  <a:pt x="3514502" y="3717397"/>
                  <a:pt x="3512566" y="3714869"/>
                  <a:pt x="3504545" y="3718510"/>
                </a:cubicBezTo>
                <a:cubicBezTo>
                  <a:pt x="3512566" y="3703438"/>
                  <a:pt x="3479099" y="3702123"/>
                  <a:pt x="3472184" y="3712744"/>
                </a:cubicBezTo>
                <a:cubicBezTo>
                  <a:pt x="3475503" y="3719926"/>
                  <a:pt x="3484354" y="3711733"/>
                  <a:pt x="3490162" y="3719218"/>
                </a:cubicBezTo>
                <a:cubicBezTo>
                  <a:pt x="3489056" y="3723669"/>
                  <a:pt x="3490716" y="3728423"/>
                  <a:pt x="3487950" y="3730345"/>
                </a:cubicBezTo>
                <a:cubicBezTo>
                  <a:pt x="3472461" y="3735504"/>
                  <a:pt x="3455312" y="3724478"/>
                  <a:pt x="3443972" y="3732368"/>
                </a:cubicBezTo>
                <a:cubicBezTo>
                  <a:pt x="3448674" y="3721443"/>
                  <a:pt x="3433461" y="3712947"/>
                  <a:pt x="3419632" y="3722860"/>
                </a:cubicBezTo>
                <a:cubicBezTo>
                  <a:pt x="3418526" y="3727310"/>
                  <a:pt x="3423781" y="3725490"/>
                  <a:pt x="3430695" y="3726299"/>
                </a:cubicBezTo>
                <a:cubicBezTo>
                  <a:pt x="3425164" y="3730244"/>
                  <a:pt x="3411058" y="3728726"/>
                  <a:pt x="3403590" y="3730244"/>
                </a:cubicBezTo>
                <a:cubicBezTo>
                  <a:pt x="3411058" y="3717397"/>
                  <a:pt x="3390867" y="3721949"/>
                  <a:pt x="3378143" y="3725085"/>
                </a:cubicBezTo>
                <a:cubicBezTo>
                  <a:pt x="3373441" y="3724579"/>
                  <a:pt x="3369293" y="3721848"/>
                  <a:pt x="3362101" y="3721039"/>
                </a:cubicBezTo>
                <a:cubicBezTo>
                  <a:pt x="3318953" y="3732267"/>
                  <a:pt x="3282996" y="3719117"/>
                  <a:pt x="3240125" y="3728018"/>
                </a:cubicBezTo>
                <a:cubicBezTo>
                  <a:pt x="3238465" y="3725591"/>
                  <a:pt x="3234040" y="3722860"/>
                  <a:pt x="3229891" y="3720128"/>
                </a:cubicBezTo>
                <a:cubicBezTo>
                  <a:pt x="3222700" y="3730749"/>
                  <a:pt x="3216615" y="3714059"/>
                  <a:pt x="3206658" y="3715273"/>
                </a:cubicBezTo>
                <a:cubicBezTo>
                  <a:pt x="3199743" y="3714464"/>
                  <a:pt x="3193105" y="3722860"/>
                  <a:pt x="3183701" y="3721848"/>
                </a:cubicBezTo>
                <a:cubicBezTo>
                  <a:pt x="3174297" y="3720836"/>
                  <a:pt x="3155765" y="3716487"/>
                  <a:pt x="3144148" y="3715172"/>
                </a:cubicBezTo>
                <a:cubicBezTo>
                  <a:pt x="3144978" y="3710721"/>
                  <a:pt x="3154105" y="3713958"/>
                  <a:pt x="3152446" y="3709204"/>
                </a:cubicBezTo>
                <a:cubicBezTo>
                  <a:pt x="3184530" y="3717296"/>
                  <a:pt x="3237636" y="3704956"/>
                  <a:pt x="3273869" y="3715779"/>
                </a:cubicBezTo>
                <a:cubicBezTo>
                  <a:pt x="3281613" y="3714363"/>
                  <a:pt x="3284379" y="3712441"/>
                  <a:pt x="3289635" y="3710721"/>
                </a:cubicBezTo>
                <a:cubicBezTo>
                  <a:pt x="3345229" y="3721443"/>
                  <a:pt x="3405249" y="3698482"/>
                  <a:pt x="3474673" y="3699291"/>
                </a:cubicBezTo>
                <a:cubicBezTo>
                  <a:pt x="3477716" y="3697369"/>
                  <a:pt x="3477992" y="3695144"/>
                  <a:pt x="3478546" y="3692918"/>
                </a:cubicBezTo>
                <a:cubicBezTo>
                  <a:pt x="3547140" y="3686849"/>
                  <a:pt x="3600522" y="3672283"/>
                  <a:pt x="3655287" y="3651041"/>
                </a:cubicBezTo>
                <a:cubicBezTo>
                  <a:pt x="3633436" y="3653166"/>
                  <a:pt x="3612415" y="3648614"/>
                  <a:pt x="3599415" y="3665405"/>
                </a:cubicBezTo>
                <a:cubicBezTo>
                  <a:pt x="3589182" y="3657414"/>
                  <a:pt x="3566225" y="3675419"/>
                  <a:pt x="3564288" y="3661460"/>
                </a:cubicBezTo>
                <a:cubicBezTo>
                  <a:pt x="3578395" y="3663078"/>
                  <a:pt x="3583097" y="3652154"/>
                  <a:pt x="3594437" y="3655694"/>
                </a:cubicBezTo>
                <a:cubicBezTo>
                  <a:pt x="3587799" y="3652660"/>
                  <a:pt x="3590011" y="3652963"/>
                  <a:pt x="3587245" y="3643556"/>
                </a:cubicBezTo>
                <a:cubicBezTo>
                  <a:pt x="3601628" y="3642848"/>
                  <a:pt x="3592501" y="3653267"/>
                  <a:pt x="3599415" y="3654076"/>
                </a:cubicBezTo>
                <a:cubicBezTo>
                  <a:pt x="3605500" y="3647906"/>
                  <a:pt x="3598586" y="3646995"/>
                  <a:pt x="3602181" y="3640623"/>
                </a:cubicBezTo>
                <a:cubicBezTo>
                  <a:pt x="3611585" y="3641634"/>
                  <a:pt x="3627628" y="3634351"/>
                  <a:pt x="3639244" y="3635666"/>
                </a:cubicBezTo>
                <a:cubicBezTo>
                  <a:pt x="3633436" y="3628181"/>
                  <a:pt x="3631500" y="3625652"/>
                  <a:pt x="3638138" y="3617256"/>
                </a:cubicBezTo>
                <a:cubicBezTo>
                  <a:pt x="3624308" y="3613514"/>
                  <a:pt x="3612968" y="3610075"/>
                  <a:pt x="3594713" y="3617155"/>
                </a:cubicBezTo>
                <a:cubicBezTo>
                  <a:pt x="3595820" y="3612705"/>
                  <a:pt x="3593054" y="3614626"/>
                  <a:pt x="3591394" y="3609872"/>
                </a:cubicBezTo>
                <a:cubicBezTo>
                  <a:pt x="3597479" y="3603803"/>
                  <a:pt x="3603564" y="3597633"/>
                  <a:pt x="3620436" y="3597228"/>
                </a:cubicBezTo>
                <a:cubicBezTo>
                  <a:pt x="3625691" y="3595509"/>
                  <a:pt x="3616287" y="3594396"/>
                  <a:pt x="3621819" y="3590451"/>
                </a:cubicBezTo>
                <a:cubicBezTo>
                  <a:pt x="3610479" y="3586911"/>
                  <a:pt x="3609649" y="3591463"/>
                  <a:pt x="3604394" y="3581752"/>
                </a:cubicBezTo>
                <a:cubicBezTo>
                  <a:pt x="3566225" y="3579830"/>
                  <a:pt x="3537183" y="3603904"/>
                  <a:pt x="3509800" y="3596318"/>
                </a:cubicBezTo>
                <a:cubicBezTo>
                  <a:pt x="3524459" y="3584281"/>
                  <a:pt x="3564288" y="3588630"/>
                  <a:pt x="3571203" y="3566680"/>
                </a:cubicBezTo>
                <a:cubicBezTo>
                  <a:pt x="3577288" y="3560510"/>
                  <a:pt x="3569820" y="3573356"/>
                  <a:pt x="3568990" y="3577807"/>
                </a:cubicBezTo>
                <a:cubicBezTo>
                  <a:pt x="3580054" y="3570018"/>
                  <a:pt x="3588628" y="3575480"/>
                  <a:pt x="3602181" y="3567894"/>
                </a:cubicBezTo>
                <a:cubicBezTo>
                  <a:pt x="3604947" y="3565871"/>
                  <a:pt x="3601628" y="3558689"/>
                  <a:pt x="3607436" y="3554744"/>
                </a:cubicBezTo>
                <a:cubicBezTo>
                  <a:pt x="3612139" y="3555250"/>
                  <a:pt x="3613521" y="3559903"/>
                  <a:pt x="3617670" y="3562735"/>
                </a:cubicBezTo>
                <a:cubicBezTo>
                  <a:pt x="3696498" y="3541797"/>
                  <a:pt x="3776710" y="3514384"/>
                  <a:pt x="3850283" y="3483836"/>
                </a:cubicBezTo>
                <a:lnTo>
                  <a:pt x="3858752" y="3470144"/>
                </a:lnTo>
                <a:lnTo>
                  <a:pt x="3801019" y="3478414"/>
                </a:lnTo>
                <a:lnTo>
                  <a:pt x="3785007" y="3485657"/>
                </a:lnTo>
                <a:cubicBezTo>
                  <a:pt x="3770348" y="3486365"/>
                  <a:pt x="3745732" y="3488186"/>
                  <a:pt x="3740753" y="3501336"/>
                </a:cubicBezTo>
                <a:cubicBezTo>
                  <a:pt x="3709498" y="3513778"/>
                  <a:pt x="3674648" y="3518936"/>
                  <a:pt x="3632330" y="3525714"/>
                </a:cubicBezTo>
                <a:cubicBezTo>
                  <a:pt x="3632883" y="3523488"/>
                  <a:pt x="3635649" y="3521465"/>
                  <a:pt x="3636202" y="3519240"/>
                </a:cubicBezTo>
                <a:cubicBezTo>
                  <a:pt x="3618224" y="3512766"/>
                  <a:pt x="3593884" y="3525916"/>
                  <a:pt x="3577288" y="3524095"/>
                </a:cubicBezTo>
                <a:cubicBezTo>
                  <a:pt x="3578118" y="3519644"/>
                  <a:pt x="3573416" y="3519139"/>
                  <a:pt x="3574522" y="3514688"/>
                </a:cubicBezTo>
                <a:cubicBezTo>
                  <a:pt x="3564565" y="3515902"/>
                  <a:pt x="3549906" y="3516509"/>
                  <a:pt x="3546310" y="3522982"/>
                </a:cubicBezTo>
                <a:cubicBezTo>
                  <a:pt x="3521694" y="3524803"/>
                  <a:pt x="3510077" y="3523488"/>
                  <a:pt x="3495971" y="3533401"/>
                </a:cubicBezTo>
                <a:cubicBezTo>
                  <a:pt x="3492652" y="3531884"/>
                  <a:pt x="3499290" y="3528647"/>
                  <a:pt x="3507588" y="3524702"/>
                </a:cubicBezTo>
                <a:lnTo>
                  <a:pt x="3509800" y="3523690"/>
                </a:lnTo>
                <a:lnTo>
                  <a:pt x="3502609" y="3523893"/>
                </a:lnTo>
                <a:cubicBezTo>
                  <a:pt x="3500396" y="3523286"/>
                  <a:pt x="3497907" y="3522679"/>
                  <a:pt x="3493205" y="3524297"/>
                </a:cubicBezTo>
                <a:cubicBezTo>
                  <a:pt x="3504822" y="3533603"/>
                  <a:pt x="3487673" y="3523994"/>
                  <a:pt x="3476609" y="3531884"/>
                </a:cubicBezTo>
                <a:cubicBezTo>
                  <a:pt x="3473014" y="3535525"/>
                  <a:pt x="3478546" y="3538661"/>
                  <a:pt x="3473014" y="3544022"/>
                </a:cubicBezTo>
                <a:cubicBezTo>
                  <a:pt x="3467482" y="3546551"/>
                  <a:pt x="3463886" y="3547360"/>
                  <a:pt x="3460291" y="3550900"/>
                </a:cubicBezTo>
                <a:cubicBezTo>
                  <a:pt x="3424611" y="3544932"/>
                  <a:pt x="3384228" y="3578616"/>
                  <a:pt x="3343016" y="3580842"/>
                </a:cubicBezTo>
                <a:cubicBezTo>
                  <a:pt x="3341080" y="3585495"/>
                  <a:pt x="3339421" y="3587416"/>
                  <a:pt x="3333889" y="3589945"/>
                </a:cubicBezTo>
                <a:cubicBezTo>
                  <a:pt x="3283273" y="3592575"/>
                  <a:pt x="3227955" y="3623427"/>
                  <a:pt x="3180935" y="3622415"/>
                </a:cubicBezTo>
                <a:cubicBezTo>
                  <a:pt x="3154935" y="3633239"/>
                  <a:pt x="3130872" y="3642241"/>
                  <a:pt x="3100724" y="3639409"/>
                </a:cubicBezTo>
                <a:cubicBezTo>
                  <a:pt x="3046789" y="3657110"/>
                  <a:pt x="2985109" y="3659134"/>
                  <a:pt x="2929238" y="3672890"/>
                </a:cubicBezTo>
                <a:cubicBezTo>
                  <a:pt x="2923706" y="3681084"/>
                  <a:pt x="2940578" y="3670665"/>
                  <a:pt x="2933110" y="3680780"/>
                </a:cubicBezTo>
                <a:cubicBezTo>
                  <a:pt x="2920110" y="3684725"/>
                  <a:pt x="2910706" y="3679364"/>
                  <a:pt x="2899366" y="3675824"/>
                </a:cubicBezTo>
                <a:cubicBezTo>
                  <a:pt x="2876962" y="3677240"/>
                  <a:pt x="2865899" y="3688063"/>
                  <a:pt x="2843495" y="3686647"/>
                </a:cubicBezTo>
                <a:cubicBezTo>
                  <a:pt x="2834091" y="3684219"/>
                  <a:pt x="2841282" y="3677038"/>
                  <a:pt x="2831878" y="3677442"/>
                </a:cubicBezTo>
                <a:cubicBezTo>
                  <a:pt x="2824687" y="3684624"/>
                  <a:pt x="2819155" y="3684219"/>
                  <a:pt x="2817495" y="3694638"/>
                </a:cubicBezTo>
                <a:cubicBezTo>
                  <a:pt x="2811687" y="3691401"/>
                  <a:pt x="2802560" y="3694638"/>
                  <a:pt x="2806155" y="3696762"/>
                </a:cubicBezTo>
                <a:cubicBezTo>
                  <a:pt x="2800623" y="3699291"/>
                  <a:pt x="2791219" y="3691199"/>
                  <a:pt x="2781815" y="3691502"/>
                </a:cubicBezTo>
                <a:cubicBezTo>
                  <a:pt x="2777943" y="3695144"/>
                  <a:pt x="2792879" y="3692210"/>
                  <a:pt x="2783751" y="3698381"/>
                </a:cubicBezTo>
                <a:cubicBezTo>
                  <a:pt x="2781815" y="3697268"/>
                  <a:pt x="2781815" y="3699999"/>
                  <a:pt x="2780156" y="3701820"/>
                </a:cubicBezTo>
                <a:cubicBezTo>
                  <a:pt x="2757199" y="3688973"/>
                  <a:pt x="2729540" y="3701618"/>
                  <a:pt x="2705200" y="3699190"/>
                </a:cubicBezTo>
                <a:cubicBezTo>
                  <a:pt x="2703264" y="3701011"/>
                  <a:pt x="2703264" y="3703843"/>
                  <a:pt x="2701604" y="3705664"/>
                </a:cubicBezTo>
                <a:cubicBezTo>
                  <a:pt x="2699392" y="3695953"/>
                  <a:pt x="2635776" y="3699797"/>
                  <a:pt x="2619180" y="3710215"/>
                </a:cubicBezTo>
                <a:cubicBezTo>
                  <a:pt x="2553352" y="3701415"/>
                  <a:pt x="2497481" y="3715071"/>
                  <a:pt x="2431929" y="3709204"/>
                </a:cubicBezTo>
                <a:cubicBezTo>
                  <a:pt x="2424461" y="3710620"/>
                  <a:pt x="2433865" y="3716082"/>
                  <a:pt x="2426397" y="3720432"/>
                </a:cubicBezTo>
                <a:cubicBezTo>
                  <a:pt x="2422525" y="3715374"/>
                  <a:pt x="2407866" y="3718207"/>
                  <a:pt x="2411185" y="3708901"/>
                </a:cubicBezTo>
                <a:cubicBezTo>
                  <a:pt x="2394589" y="3713655"/>
                  <a:pt x="2362505" y="3701213"/>
                  <a:pt x="2353378" y="3710215"/>
                </a:cubicBezTo>
                <a:cubicBezTo>
                  <a:pt x="2345910" y="3714464"/>
                  <a:pt x="2349229" y="3705158"/>
                  <a:pt x="2341761" y="3706574"/>
                </a:cubicBezTo>
                <a:cubicBezTo>
                  <a:pt x="2336229" y="3706271"/>
                  <a:pt x="2342037" y="3712340"/>
                  <a:pt x="2334570" y="3713756"/>
                </a:cubicBezTo>
                <a:cubicBezTo>
                  <a:pt x="2345910" y="3711632"/>
                  <a:pt x="2342037" y="3712340"/>
                  <a:pt x="2351441" y="3717701"/>
                </a:cubicBezTo>
                <a:cubicBezTo>
                  <a:pt x="2344250" y="3724883"/>
                  <a:pt x="2334570" y="3716689"/>
                  <a:pt x="2325165" y="3717094"/>
                </a:cubicBezTo>
                <a:cubicBezTo>
                  <a:pt x="2330697" y="3711733"/>
                  <a:pt x="2330697" y="3708799"/>
                  <a:pt x="2328761" y="3707788"/>
                </a:cubicBezTo>
                <a:cubicBezTo>
                  <a:pt x="2319357" y="3705259"/>
                  <a:pt x="2313825" y="3710620"/>
                  <a:pt x="2304421" y="3705360"/>
                </a:cubicBezTo>
                <a:cubicBezTo>
                  <a:pt x="2304421" y="3708192"/>
                  <a:pt x="2302762" y="3712845"/>
                  <a:pt x="2310229" y="3714262"/>
                </a:cubicBezTo>
                <a:cubicBezTo>
                  <a:pt x="2304698" y="3716790"/>
                  <a:pt x="2296953" y="3709609"/>
                  <a:pt x="2298889" y="3707889"/>
                </a:cubicBezTo>
                <a:cubicBezTo>
                  <a:pt x="2280358" y="3717195"/>
                  <a:pt x="2255188" y="3688973"/>
                  <a:pt x="2234997" y="3705765"/>
                </a:cubicBezTo>
                <a:cubicBezTo>
                  <a:pt x="2229189" y="3696863"/>
                  <a:pt x="2201253" y="3698077"/>
                  <a:pt x="2197381" y="3698785"/>
                </a:cubicBezTo>
                <a:cubicBezTo>
                  <a:pt x="2176913" y="3698482"/>
                  <a:pt x="2159765" y="3691806"/>
                  <a:pt x="2139297" y="3688569"/>
                </a:cubicBezTo>
                <a:cubicBezTo>
                  <a:pt x="2126021" y="3686849"/>
                  <a:pt x="2101681" y="3681488"/>
                  <a:pt x="2086745" y="3693020"/>
                </a:cubicBezTo>
                <a:cubicBezTo>
                  <a:pt x="2071532" y="3675824"/>
                  <a:pt x="2017321" y="3682095"/>
                  <a:pt x="1996300" y="3664596"/>
                </a:cubicBezTo>
                <a:cubicBezTo>
                  <a:pt x="1990768" y="3664292"/>
                  <a:pt x="1986896" y="3665000"/>
                  <a:pt x="1981364" y="3670361"/>
                </a:cubicBezTo>
                <a:cubicBezTo>
                  <a:pt x="1947343" y="3651142"/>
                  <a:pt x="1913599" y="3654784"/>
                  <a:pt x="1870175" y="3641735"/>
                </a:cubicBezTo>
                <a:cubicBezTo>
                  <a:pt x="1873770" y="3638094"/>
                  <a:pt x="1875707" y="3633542"/>
                  <a:pt x="1879302" y="3629900"/>
                </a:cubicBezTo>
                <a:cubicBezTo>
                  <a:pt x="1869898" y="3624641"/>
                  <a:pt x="1866303" y="3631013"/>
                  <a:pt x="1858835" y="3635262"/>
                </a:cubicBezTo>
                <a:cubicBezTo>
                  <a:pt x="1845558" y="3624944"/>
                  <a:pt x="1830623" y="3630710"/>
                  <a:pt x="1820942" y="3622516"/>
                </a:cubicBezTo>
                <a:cubicBezTo>
                  <a:pt x="1832282" y="3620392"/>
                  <a:pt x="1841686" y="3628586"/>
                  <a:pt x="1845282" y="3613514"/>
                </a:cubicBezTo>
                <a:cubicBezTo>
                  <a:pt x="1852750" y="3617762"/>
                  <a:pt x="1852750" y="3620594"/>
                  <a:pt x="1864090" y="3618470"/>
                </a:cubicBezTo>
                <a:cubicBezTo>
                  <a:pt x="1867409" y="3606332"/>
                  <a:pt x="1863813" y="3607040"/>
                  <a:pt x="1871005" y="3597026"/>
                </a:cubicBezTo>
                <a:cubicBezTo>
                  <a:pt x="1878473" y="3598442"/>
                  <a:pt x="1908344" y="3595509"/>
                  <a:pt x="1906961" y="3608760"/>
                </a:cubicBezTo>
                <a:cubicBezTo>
                  <a:pt x="1932961" y="3606534"/>
                  <a:pt x="1965322" y="3630406"/>
                  <a:pt x="1989662" y="3621404"/>
                </a:cubicBezTo>
                <a:cubicBezTo>
                  <a:pt x="1989938" y="3632834"/>
                  <a:pt x="2012066" y="3625652"/>
                  <a:pt x="2027278" y="3628484"/>
                </a:cubicBezTo>
                <a:cubicBezTo>
                  <a:pt x="2038618" y="3632025"/>
                  <a:pt x="2065447" y="3658425"/>
                  <a:pt x="2089234" y="3635059"/>
                </a:cubicBezTo>
                <a:cubicBezTo>
                  <a:pt x="2098638" y="3637588"/>
                  <a:pt x="2085638" y="3638600"/>
                  <a:pt x="2089234" y="3643657"/>
                </a:cubicBezTo>
                <a:cubicBezTo>
                  <a:pt x="2104447" y="3649322"/>
                  <a:pt x="2121595" y="3653166"/>
                  <a:pt x="2130723" y="3644264"/>
                </a:cubicBezTo>
                <a:cubicBezTo>
                  <a:pt x="2134595" y="3652053"/>
                  <a:pt x="2161148" y="3664191"/>
                  <a:pt x="2175807" y="3649828"/>
                </a:cubicBezTo>
                <a:cubicBezTo>
                  <a:pt x="2202359" y="3667630"/>
                  <a:pt x="2281188" y="3672384"/>
                  <a:pt x="2325719" y="3652255"/>
                </a:cubicBezTo>
                <a:cubicBezTo>
                  <a:pt x="2323782" y="3656908"/>
                  <a:pt x="2327655" y="3659134"/>
                  <a:pt x="2335123" y="3660550"/>
                </a:cubicBezTo>
                <a:cubicBezTo>
                  <a:pt x="2337059" y="3655897"/>
                  <a:pt x="2323782" y="3656908"/>
                  <a:pt x="2332910" y="3650839"/>
                </a:cubicBezTo>
                <a:cubicBezTo>
                  <a:pt x="2374398" y="3657110"/>
                  <a:pt x="2434142" y="3648411"/>
                  <a:pt x="2473694" y="3656605"/>
                </a:cubicBezTo>
                <a:cubicBezTo>
                  <a:pt x="2472035" y="3664090"/>
                  <a:pt x="2466226" y="3658021"/>
                  <a:pt x="2462631" y="3664393"/>
                </a:cubicBezTo>
                <a:cubicBezTo>
                  <a:pt x="2475907" y="3669046"/>
                  <a:pt x="2502183" y="3669755"/>
                  <a:pt x="2507438" y="3655796"/>
                </a:cubicBezTo>
                <a:cubicBezTo>
                  <a:pt x="2518502" y="3653570"/>
                  <a:pt x="2527906" y="3653166"/>
                  <a:pt x="2541182" y="3657819"/>
                </a:cubicBezTo>
                <a:cubicBezTo>
                  <a:pt x="2543118" y="3661763"/>
                  <a:pt x="2535650" y="3660347"/>
                  <a:pt x="2532055" y="3663989"/>
                </a:cubicBezTo>
                <a:cubicBezTo>
                  <a:pt x="2545331" y="3671373"/>
                  <a:pt x="2546990" y="3663888"/>
                  <a:pt x="2559990" y="3665607"/>
                </a:cubicBezTo>
                <a:cubicBezTo>
                  <a:pt x="2561926" y="3660954"/>
                  <a:pt x="2546990" y="3663787"/>
                  <a:pt x="2554182" y="3656605"/>
                </a:cubicBezTo>
                <a:cubicBezTo>
                  <a:pt x="2569394" y="3659437"/>
                  <a:pt x="2576586" y="3652356"/>
                  <a:pt x="2589862" y="3656908"/>
                </a:cubicBezTo>
                <a:cubicBezTo>
                  <a:pt x="2584330" y="3662370"/>
                  <a:pt x="2576862" y="3663787"/>
                  <a:pt x="2571054" y="3657717"/>
                </a:cubicBezTo>
                <a:cubicBezTo>
                  <a:pt x="2571054" y="3660550"/>
                  <a:pt x="2574926" y="3662674"/>
                  <a:pt x="2571330" y="3666315"/>
                </a:cubicBezTo>
                <a:cubicBezTo>
                  <a:pt x="2586266" y="3666214"/>
                  <a:pt x="2595670" y="3665810"/>
                  <a:pt x="2602862" y="3652963"/>
                </a:cubicBezTo>
                <a:cubicBezTo>
                  <a:pt x="2610330" y="3654379"/>
                  <a:pt x="2601202" y="3660449"/>
                  <a:pt x="2601202" y="3663382"/>
                </a:cubicBezTo>
                <a:cubicBezTo>
                  <a:pt x="2655690" y="3665708"/>
                  <a:pt x="2703817" y="3641938"/>
                  <a:pt x="2767433" y="3643961"/>
                </a:cubicBezTo>
                <a:cubicBezTo>
                  <a:pt x="2769369" y="3647804"/>
                  <a:pt x="2771305" y="3651749"/>
                  <a:pt x="2777113" y="3654986"/>
                </a:cubicBezTo>
                <a:cubicBezTo>
                  <a:pt x="2788177" y="3647096"/>
                  <a:pt x="2805049" y="3650940"/>
                  <a:pt x="2810304" y="3636981"/>
                </a:cubicBezTo>
                <a:cubicBezTo>
                  <a:pt x="2844048" y="3639105"/>
                  <a:pt x="2873920" y="3630406"/>
                  <a:pt x="2903792" y="3621808"/>
                </a:cubicBezTo>
                <a:cubicBezTo>
                  <a:pt x="3001151" y="3620089"/>
                  <a:pt x="3088277" y="3590249"/>
                  <a:pt x="3181764" y="3574975"/>
                </a:cubicBezTo>
                <a:cubicBezTo>
                  <a:pt x="3242891" y="3547259"/>
                  <a:pt x="3300975" y="3545944"/>
                  <a:pt x="3362101" y="3521162"/>
                </a:cubicBezTo>
                <a:cubicBezTo>
                  <a:pt x="3369569" y="3525410"/>
                  <a:pt x="3382569" y="3515699"/>
                  <a:pt x="3388377" y="3521769"/>
                </a:cubicBezTo>
                <a:cubicBezTo>
                  <a:pt x="3393909" y="3516407"/>
                  <a:pt x="3393909" y="3513474"/>
                  <a:pt x="3386164" y="3512058"/>
                </a:cubicBezTo>
                <a:cubicBezTo>
                  <a:pt x="3401100" y="3503460"/>
                  <a:pt x="3417972" y="3507304"/>
                  <a:pt x="3434844" y="3502651"/>
                </a:cubicBezTo>
                <a:cubicBezTo>
                  <a:pt x="3432770" y="3498706"/>
                  <a:pt x="3434568" y="3497644"/>
                  <a:pt x="3437334" y="3496405"/>
                </a:cubicBezTo>
                <a:lnTo>
                  <a:pt x="3438797" y="3495116"/>
                </a:lnTo>
                <a:lnTo>
                  <a:pt x="3398461" y="3493308"/>
                </a:lnTo>
                <a:lnTo>
                  <a:pt x="3360215" y="3487906"/>
                </a:lnTo>
                <a:lnTo>
                  <a:pt x="3335272" y="3497593"/>
                </a:lnTo>
                <a:cubicBezTo>
                  <a:pt x="3318677" y="3502246"/>
                  <a:pt x="3299868" y="3497391"/>
                  <a:pt x="3288805" y="3513778"/>
                </a:cubicBezTo>
                <a:cubicBezTo>
                  <a:pt x="3268337" y="3510642"/>
                  <a:pt x="3255337" y="3517419"/>
                  <a:pt x="3242338" y="3527130"/>
                </a:cubicBezTo>
                <a:cubicBezTo>
                  <a:pt x="3182594" y="3532996"/>
                  <a:pt x="3125064" y="3551406"/>
                  <a:pt x="3066980" y="3561218"/>
                </a:cubicBezTo>
                <a:cubicBezTo>
                  <a:pt x="3063384" y="3564859"/>
                  <a:pt x="3065320" y="3565871"/>
                  <a:pt x="3063661" y="3570524"/>
                </a:cubicBezTo>
                <a:cubicBezTo>
                  <a:pt x="3065044" y="3557374"/>
                  <a:pt x="3031576" y="3566680"/>
                  <a:pt x="3039321" y="3570929"/>
                </a:cubicBezTo>
                <a:cubicBezTo>
                  <a:pt x="2990641" y="3574671"/>
                  <a:pt x="2917898" y="3584584"/>
                  <a:pt x="2875026" y="3597228"/>
                </a:cubicBezTo>
                <a:cubicBezTo>
                  <a:pt x="2873090" y="3598948"/>
                  <a:pt x="2865622" y="3597532"/>
                  <a:pt x="2867558" y="3595711"/>
                </a:cubicBezTo>
                <a:cubicBezTo>
                  <a:pt x="2860090" y="3594295"/>
                  <a:pt x="2863963" y="3599352"/>
                  <a:pt x="2858431" y="3601881"/>
                </a:cubicBezTo>
                <a:cubicBezTo>
                  <a:pt x="2847091" y="3598341"/>
                  <a:pt x="2828282" y="3596217"/>
                  <a:pt x="2819155" y="3605118"/>
                </a:cubicBezTo>
                <a:cubicBezTo>
                  <a:pt x="2787071" y="3601274"/>
                  <a:pt x="2731199" y="3612199"/>
                  <a:pt x="2701051" y="3609468"/>
                </a:cubicBezTo>
                <a:cubicBezTo>
                  <a:pt x="2695519" y="3611997"/>
                  <a:pt x="2689988" y="3614525"/>
                  <a:pt x="2686115" y="3615233"/>
                </a:cubicBezTo>
                <a:cubicBezTo>
                  <a:pt x="2678647" y="3613817"/>
                  <a:pt x="2675052" y="3611693"/>
                  <a:pt x="2669243" y="3608456"/>
                </a:cubicBezTo>
                <a:cubicBezTo>
                  <a:pt x="2659839" y="3611693"/>
                  <a:pt x="2646839" y="3615739"/>
                  <a:pt x="2631904" y="3609973"/>
                </a:cubicBezTo>
                <a:cubicBezTo>
                  <a:pt x="2635499" y="3603601"/>
                  <a:pt x="2639095" y="3602893"/>
                  <a:pt x="2633287" y="3596824"/>
                </a:cubicBezTo>
                <a:cubicBezTo>
                  <a:pt x="2622223" y="3598948"/>
                  <a:pt x="2629967" y="3606130"/>
                  <a:pt x="2624436" y="3611491"/>
                </a:cubicBezTo>
                <a:cubicBezTo>
                  <a:pt x="2611436" y="3615436"/>
                  <a:pt x="2611159" y="3604005"/>
                  <a:pt x="2605351" y="3600769"/>
                </a:cubicBezTo>
                <a:cubicBezTo>
                  <a:pt x="2600096" y="3617560"/>
                  <a:pt x="2579628" y="3623022"/>
                  <a:pt x="2566075" y="3607040"/>
                </a:cubicBezTo>
                <a:cubicBezTo>
                  <a:pt x="2556671" y="3604511"/>
                  <a:pt x="2551416" y="3615537"/>
                  <a:pt x="2543671" y="3611288"/>
                </a:cubicBezTo>
                <a:cubicBezTo>
                  <a:pt x="2542012" y="3613109"/>
                  <a:pt x="2538416" y="3616751"/>
                  <a:pt x="2542012" y="3618875"/>
                </a:cubicBezTo>
                <a:cubicBezTo>
                  <a:pt x="2534544" y="3620291"/>
                  <a:pt x="2529012" y="3614222"/>
                  <a:pt x="2523480" y="3622415"/>
                </a:cubicBezTo>
                <a:cubicBezTo>
                  <a:pt x="2517672" y="3619279"/>
                  <a:pt x="2498864" y="3611491"/>
                  <a:pt x="2491672" y="3621505"/>
                </a:cubicBezTo>
                <a:cubicBezTo>
                  <a:pt x="2487800" y="3619381"/>
                  <a:pt x="2493332" y="3613918"/>
                  <a:pt x="2489460" y="3611794"/>
                </a:cubicBezTo>
                <a:cubicBezTo>
                  <a:pt x="2480332" y="3617863"/>
                  <a:pt x="2470928" y="3612603"/>
                  <a:pt x="2463460" y="3622618"/>
                </a:cubicBezTo>
                <a:cubicBezTo>
                  <a:pt x="2457929" y="3619482"/>
                  <a:pt x="2446312" y="3613008"/>
                  <a:pt x="2446588" y="3618774"/>
                </a:cubicBezTo>
                <a:cubicBezTo>
                  <a:pt x="2412844" y="3616751"/>
                  <a:pt x="2373569" y="3625753"/>
                  <a:pt x="2343420" y="3614424"/>
                </a:cubicBezTo>
                <a:cubicBezTo>
                  <a:pt x="2337888" y="3614020"/>
                  <a:pt x="2332357" y="3613716"/>
                  <a:pt x="2326825" y="3619077"/>
                </a:cubicBezTo>
                <a:cubicBezTo>
                  <a:pt x="2303868" y="3603399"/>
                  <a:pt x="2249933" y="3620999"/>
                  <a:pt x="2221444" y="3602185"/>
                </a:cubicBezTo>
                <a:cubicBezTo>
                  <a:pt x="2215912" y="3601780"/>
                  <a:pt x="2212040" y="3608254"/>
                  <a:pt x="2206508" y="3607849"/>
                </a:cubicBezTo>
                <a:cubicBezTo>
                  <a:pt x="2195168" y="3604309"/>
                  <a:pt x="2200700" y="3596116"/>
                  <a:pt x="2196828" y="3591159"/>
                </a:cubicBezTo>
                <a:cubicBezTo>
                  <a:pt x="2183828" y="3592272"/>
                  <a:pt x="2159765" y="3609872"/>
                  <a:pt x="2153680" y="3589541"/>
                </a:cubicBezTo>
                <a:cubicBezTo>
                  <a:pt x="2142339" y="3588833"/>
                  <a:pt x="2133212" y="3597734"/>
                  <a:pt x="2123808" y="3598139"/>
                </a:cubicBezTo>
                <a:cubicBezTo>
                  <a:pt x="2121872" y="3594194"/>
                  <a:pt x="2121872" y="3591361"/>
                  <a:pt x="2117999" y="3589237"/>
                </a:cubicBezTo>
                <a:cubicBezTo>
                  <a:pt x="2108872" y="3595306"/>
                  <a:pt x="2080660" y="3590755"/>
                  <a:pt x="2078447" y="3578212"/>
                </a:cubicBezTo>
                <a:cubicBezTo>
                  <a:pt x="2065447" y="3585090"/>
                  <a:pt x="2050511" y="3582157"/>
                  <a:pt x="2035576" y="3582258"/>
                </a:cubicBezTo>
                <a:cubicBezTo>
                  <a:pt x="2002938" y="3555452"/>
                  <a:pt x="1926323" y="3560409"/>
                  <a:pt x="1884558" y="3534008"/>
                </a:cubicBezTo>
                <a:cubicBezTo>
                  <a:pt x="1880685" y="3529052"/>
                  <a:pt x="1867686" y="3538661"/>
                  <a:pt x="1869622" y="3534008"/>
                </a:cubicBezTo>
                <a:cubicBezTo>
                  <a:pt x="1895621" y="3526118"/>
                  <a:pt x="1931025" y="3526320"/>
                  <a:pt x="1955641" y="3534514"/>
                </a:cubicBezTo>
                <a:cubicBezTo>
                  <a:pt x="1965045" y="3534109"/>
                  <a:pt x="1970300" y="3523084"/>
                  <a:pt x="1968364" y="3519139"/>
                </a:cubicBezTo>
                <a:cubicBezTo>
                  <a:pt x="1936280" y="3512463"/>
                  <a:pt x="1909727" y="3488894"/>
                  <a:pt x="1887600" y="3501842"/>
                </a:cubicBezTo>
                <a:cubicBezTo>
                  <a:pt x="1881792" y="3495772"/>
                  <a:pt x="1868515" y="3491119"/>
                  <a:pt x="1868239" y="3482521"/>
                </a:cubicBezTo>
                <a:cubicBezTo>
                  <a:pt x="1900323" y="3492131"/>
                  <a:pt x="1924940" y="3494660"/>
                  <a:pt x="1958684" y="3505281"/>
                </a:cubicBezTo>
                <a:cubicBezTo>
                  <a:pt x="1964215" y="3499920"/>
                  <a:pt x="1971683" y="3501235"/>
                  <a:pt x="1977215" y="3493041"/>
                </a:cubicBezTo>
                <a:cubicBezTo>
                  <a:pt x="1980811" y="3486568"/>
                  <a:pt x="1967811" y="3493446"/>
                  <a:pt x="1967811" y="3487680"/>
                </a:cubicBezTo>
                <a:cubicBezTo>
                  <a:pt x="1971407" y="3484140"/>
                  <a:pt x="1973066" y="3482319"/>
                  <a:pt x="1976939" y="3484443"/>
                </a:cubicBezTo>
                <a:cubicBezTo>
                  <a:pt x="1976939" y="3481611"/>
                  <a:pt x="1973066" y="3479386"/>
                  <a:pt x="1976662" y="3475845"/>
                </a:cubicBezTo>
                <a:cubicBezTo>
                  <a:pt x="1967258" y="3473317"/>
                  <a:pt x="1958130" y="3482319"/>
                  <a:pt x="1944854" y="3474834"/>
                </a:cubicBezTo>
                <a:cubicBezTo>
                  <a:pt x="1959790" y="3472002"/>
                  <a:pt x="1948173" y="3459863"/>
                  <a:pt x="1963386" y="3459762"/>
                </a:cubicBezTo>
                <a:cubicBezTo>
                  <a:pt x="1959513" y="3454806"/>
                  <a:pt x="1948173" y="3451265"/>
                  <a:pt x="1958960" y="3440442"/>
                </a:cubicBezTo>
                <a:cubicBezTo>
                  <a:pt x="1964769" y="3443679"/>
                  <a:pt x="1959513" y="3457638"/>
                  <a:pt x="1970577" y="3446916"/>
                </a:cubicBezTo>
                <a:cubicBezTo>
                  <a:pt x="1974173" y="3451872"/>
                  <a:pt x="1961173" y="3455817"/>
                  <a:pt x="1968917" y="3460066"/>
                </a:cubicBezTo>
                <a:cubicBezTo>
                  <a:pt x="1970854" y="3461178"/>
                  <a:pt x="1974449" y="3457638"/>
                  <a:pt x="1974449" y="3454705"/>
                </a:cubicBezTo>
                <a:cubicBezTo>
                  <a:pt x="1985789" y="3455413"/>
                  <a:pt x="1976385" y="3464415"/>
                  <a:pt x="1984130" y="3465831"/>
                </a:cubicBezTo>
                <a:cubicBezTo>
                  <a:pt x="1993534" y="3465427"/>
                  <a:pt x="1981917" y="3459054"/>
                  <a:pt x="1987449" y="3453693"/>
                </a:cubicBezTo>
                <a:cubicBezTo>
                  <a:pt x="1998789" y="3457233"/>
                  <a:pt x="2008193" y="3453895"/>
                  <a:pt x="2015385" y="3443881"/>
                </a:cubicBezTo>
                <a:cubicBezTo>
                  <a:pt x="2021193" y="3458548"/>
                  <a:pt x="2036129" y="3449950"/>
                  <a:pt x="2027001" y="3461785"/>
                </a:cubicBezTo>
                <a:cubicBezTo>
                  <a:pt x="2046086" y="3472406"/>
                  <a:pt x="2087021" y="3458751"/>
                  <a:pt x="2081766" y="3475542"/>
                </a:cubicBezTo>
                <a:cubicBezTo>
                  <a:pt x="2095042" y="3480195"/>
                  <a:pt x="2088957" y="3465528"/>
                  <a:pt x="2100298" y="3472002"/>
                </a:cubicBezTo>
                <a:cubicBezTo>
                  <a:pt x="2100574" y="3480498"/>
                  <a:pt x="2092830" y="3473418"/>
                  <a:pt x="2089234" y="3476958"/>
                </a:cubicBezTo>
                <a:cubicBezTo>
                  <a:pt x="2087575" y="3490209"/>
                  <a:pt x="2111638" y="3478374"/>
                  <a:pt x="2113851" y="3485151"/>
                </a:cubicBezTo>
                <a:cubicBezTo>
                  <a:pt x="2119382" y="3479790"/>
                  <a:pt x="2117446" y="3478779"/>
                  <a:pt x="2122701" y="3470484"/>
                </a:cubicBezTo>
                <a:cubicBezTo>
                  <a:pt x="2126574" y="3472609"/>
                  <a:pt x="2128510" y="3473620"/>
                  <a:pt x="2132106" y="3472912"/>
                </a:cubicBezTo>
                <a:cubicBezTo>
                  <a:pt x="2130446" y="3480397"/>
                  <a:pt x="2124914" y="3477160"/>
                  <a:pt x="2121042" y="3480802"/>
                </a:cubicBezTo>
                <a:cubicBezTo>
                  <a:pt x="2124914" y="3480094"/>
                  <a:pt x="2126850" y="3481206"/>
                  <a:pt x="2128510" y="3482218"/>
                </a:cubicBezTo>
                <a:cubicBezTo>
                  <a:pt x="2132382" y="3481510"/>
                  <a:pt x="2128510" y="3479386"/>
                  <a:pt x="2132106" y="3475845"/>
                </a:cubicBezTo>
                <a:cubicBezTo>
                  <a:pt x="2153126" y="3487579"/>
                  <a:pt x="2175807" y="3491827"/>
                  <a:pt x="2197934" y="3484544"/>
                </a:cubicBezTo>
                <a:cubicBezTo>
                  <a:pt x="2203742" y="3490614"/>
                  <a:pt x="2211210" y="3489096"/>
                  <a:pt x="2218678" y="3487680"/>
                </a:cubicBezTo>
                <a:cubicBezTo>
                  <a:pt x="2220614" y="3485859"/>
                  <a:pt x="2224210" y="3482319"/>
                  <a:pt x="2222274" y="3481308"/>
                </a:cubicBezTo>
                <a:cubicBezTo>
                  <a:pt x="2230018" y="3491322"/>
                  <a:pt x="2258231" y="3495874"/>
                  <a:pt x="2274826" y="3488287"/>
                </a:cubicBezTo>
                <a:cubicBezTo>
                  <a:pt x="2269571" y="3493648"/>
                  <a:pt x="2277039" y="3492131"/>
                  <a:pt x="2275103" y="3496784"/>
                </a:cubicBezTo>
                <a:cubicBezTo>
                  <a:pt x="2306910" y="3494963"/>
                  <a:pt x="2329314" y="3496379"/>
                  <a:pt x="2359462" y="3501943"/>
                </a:cubicBezTo>
                <a:cubicBezTo>
                  <a:pt x="2363058" y="3498402"/>
                  <a:pt x="2355590" y="3494154"/>
                  <a:pt x="2364994" y="3496582"/>
                </a:cubicBezTo>
                <a:cubicBezTo>
                  <a:pt x="2366931" y="3494862"/>
                  <a:pt x="2364994" y="3493749"/>
                  <a:pt x="2366654" y="3491929"/>
                </a:cubicBezTo>
                <a:cubicBezTo>
                  <a:pt x="2357250" y="3486669"/>
                  <a:pt x="2357526" y="3495267"/>
                  <a:pt x="2351995" y="3494862"/>
                </a:cubicBezTo>
                <a:cubicBezTo>
                  <a:pt x="2350059" y="3493851"/>
                  <a:pt x="2346186" y="3491726"/>
                  <a:pt x="2346186" y="3488894"/>
                </a:cubicBezTo>
                <a:cubicBezTo>
                  <a:pt x="2366654" y="3483432"/>
                  <a:pt x="2387121" y="3483735"/>
                  <a:pt x="2409802" y="3485050"/>
                </a:cubicBezTo>
                <a:cubicBezTo>
                  <a:pt x="2415057" y="3476857"/>
                  <a:pt x="2402057" y="3483735"/>
                  <a:pt x="2409525" y="3476553"/>
                </a:cubicBezTo>
                <a:cubicBezTo>
                  <a:pt x="2432206" y="3480701"/>
                  <a:pt x="2454609" y="3479285"/>
                  <a:pt x="2474801" y="3470990"/>
                </a:cubicBezTo>
                <a:cubicBezTo>
                  <a:pt x="2478396" y="3464516"/>
                  <a:pt x="2467333" y="3463808"/>
                  <a:pt x="2472588" y="3455514"/>
                </a:cubicBezTo>
                <a:cubicBezTo>
                  <a:pt x="2453780" y="3453390"/>
                  <a:pt x="2436908" y="3449647"/>
                  <a:pt x="2423908" y="3453592"/>
                </a:cubicBezTo>
                <a:cubicBezTo>
                  <a:pt x="2419759" y="3440037"/>
                  <a:pt x="2405100" y="3451468"/>
                  <a:pt x="2388228" y="3453288"/>
                </a:cubicBezTo>
                <a:cubicBezTo>
                  <a:pt x="2371356" y="3452277"/>
                  <a:pt x="2348675" y="3445196"/>
                  <a:pt x="2328208" y="3444893"/>
                </a:cubicBezTo>
                <a:cubicBezTo>
                  <a:pt x="2309400" y="3445601"/>
                  <a:pt x="2283124" y="3439228"/>
                  <a:pt x="2265975" y="3432552"/>
                </a:cubicBezTo>
                <a:cubicBezTo>
                  <a:pt x="2262379" y="3430327"/>
                  <a:pt x="2258784" y="3436801"/>
                  <a:pt x="2251039" y="3435384"/>
                </a:cubicBezTo>
                <a:cubicBezTo>
                  <a:pt x="2252975" y="3430731"/>
                  <a:pt x="2247444" y="3430428"/>
                  <a:pt x="2245507" y="3429416"/>
                </a:cubicBezTo>
                <a:cubicBezTo>
                  <a:pt x="2226976" y="3438722"/>
                  <a:pt x="2211487" y="3424460"/>
                  <a:pt x="2192955" y="3433766"/>
                </a:cubicBezTo>
                <a:cubicBezTo>
                  <a:pt x="2138191" y="3414244"/>
                  <a:pt x="2089787" y="3420818"/>
                  <a:pt x="2046086" y="3396238"/>
                </a:cubicBezTo>
                <a:cubicBezTo>
                  <a:pt x="2038618" y="3394822"/>
                  <a:pt x="2031150" y="3399172"/>
                  <a:pt x="2023682" y="3397756"/>
                </a:cubicBezTo>
                <a:cubicBezTo>
                  <a:pt x="2036405" y="3388045"/>
                  <a:pt x="2019533" y="3387034"/>
                  <a:pt x="2014002" y="3383797"/>
                </a:cubicBezTo>
                <a:cubicBezTo>
                  <a:pt x="2038065" y="3374794"/>
                  <a:pt x="2074022" y="3389360"/>
                  <a:pt x="2105829" y="3393204"/>
                </a:cubicBezTo>
                <a:cubicBezTo>
                  <a:pt x="2109425" y="3389664"/>
                  <a:pt x="2103893" y="3389360"/>
                  <a:pt x="2101957" y="3388349"/>
                </a:cubicBezTo>
                <a:cubicBezTo>
                  <a:pt x="2130169" y="3384302"/>
                  <a:pt x="2151467" y="3416064"/>
                  <a:pt x="2166126" y="3407466"/>
                </a:cubicBezTo>
                <a:cubicBezTo>
                  <a:pt x="2179679" y="3423448"/>
                  <a:pt x="2235550" y="3409793"/>
                  <a:pt x="2241635" y="3427292"/>
                </a:cubicBezTo>
                <a:cubicBezTo>
                  <a:pt x="2258507" y="3428304"/>
                  <a:pt x="2260167" y="3426483"/>
                  <a:pt x="2275379" y="3429315"/>
                </a:cubicBezTo>
                <a:cubicBezTo>
                  <a:pt x="2279251" y="3431439"/>
                  <a:pt x="2275103" y="3423550"/>
                  <a:pt x="2273167" y="3422538"/>
                </a:cubicBezTo>
                <a:cubicBezTo>
                  <a:pt x="2335123" y="3423448"/>
                  <a:pt x="2385739" y="3426483"/>
                  <a:pt x="2445759" y="3429214"/>
                </a:cubicBezTo>
                <a:cubicBezTo>
                  <a:pt x="2454886" y="3417379"/>
                  <a:pt x="2432482" y="3415963"/>
                  <a:pt x="2428610" y="3413839"/>
                </a:cubicBezTo>
                <a:cubicBezTo>
                  <a:pt x="2417270" y="3413131"/>
                  <a:pt x="2393206" y="3419301"/>
                  <a:pt x="2374398" y="3417278"/>
                </a:cubicBezTo>
                <a:cubicBezTo>
                  <a:pt x="2350059" y="3414850"/>
                  <a:pt x="2327378" y="3413434"/>
                  <a:pt x="2310506" y="3412423"/>
                </a:cubicBezTo>
                <a:cubicBezTo>
                  <a:pt x="2295570" y="3412423"/>
                  <a:pt x="2282294" y="3404938"/>
                  <a:pt x="2267358" y="3405039"/>
                </a:cubicBezTo>
                <a:cubicBezTo>
                  <a:pt x="2235274" y="3401195"/>
                  <a:pt x="2203466" y="3403016"/>
                  <a:pt x="2175254" y="3398363"/>
                </a:cubicBezTo>
                <a:cubicBezTo>
                  <a:pt x="2143446" y="3391687"/>
                  <a:pt x="2113297" y="3383190"/>
                  <a:pt x="2084809" y="3375806"/>
                </a:cubicBezTo>
                <a:cubicBezTo>
                  <a:pt x="2174977" y="3381268"/>
                  <a:pt x="2261826" y="3410299"/>
                  <a:pt x="2347846" y="3405140"/>
                </a:cubicBezTo>
                <a:cubicBezTo>
                  <a:pt x="2370526" y="3409388"/>
                  <a:pt x="2392930" y="3407871"/>
                  <a:pt x="2415334" y="3412119"/>
                </a:cubicBezTo>
                <a:cubicBezTo>
                  <a:pt x="2417270" y="3413131"/>
                  <a:pt x="2422802" y="3410602"/>
                  <a:pt x="2424738" y="3408781"/>
                </a:cubicBezTo>
                <a:cubicBezTo>
                  <a:pt x="2469822" y="3417278"/>
                  <a:pt x="2488353" y="3405140"/>
                  <a:pt x="2533714" y="3419301"/>
                </a:cubicBezTo>
                <a:cubicBezTo>
                  <a:pt x="2511310" y="3423651"/>
                  <a:pt x="2484758" y="3417278"/>
                  <a:pt x="2464290" y="3422740"/>
                </a:cubicBezTo>
                <a:cubicBezTo>
                  <a:pt x="2490843" y="3429012"/>
                  <a:pt x="2524587" y="3428203"/>
                  <a:pt x="2556118" y="3423448"/>
                </a:cubicBezTo>
                <a:cubicBezTo>
                  <a:pt x="2590139" y="3428405"/>
                  <a:pt x="2623883" y="3430529"/>
                  <a:pt x="2655414" y="3422842"/>
                </a:cubicBezTo>
                <a:cubicBezTo>
                  <a:pt x="2670626" y="3431439"/>
                  <a:pt x="2694966" y="3425269"/>
                  <a:pt x="2709625" y="3419503"/>
                </a:cubicBezTo>
                <a:cubicBezTo>
                  <a:pt x="2730370" y="3422639"/>
                  <a:pt x="2773241" y="3415761"/>
                  <a:pt x="2803113" y="3409995"/>
                </a:cubicBezTo>
                <a:cubicBezTo>
                  <a:pt x="2834921" y="3413839"/>
                  <a:pt x="2864792" y="3402308"/>
                  <a:pt x="2896600" y="3400487"/>
                </a:cubicBezTo>
                <a:cubicBezTo>
                  <a:pt x="2890792" y="3388652"/>
                  <a:pt x="2872537" y="3406556"/>
                  <a:pt x="2868388" y="3395834"/>
                </a:cubicBezTo>
                <a:cubicBezTo>
                  <a:pt x="2773241" y="3410096"/>
                  <a:pt x="2702157" y="3420920"/>
                  <a:pt x="2611989" y="3412625"/>
                </a:cubicBezTo>
                <a:cubicBezTo>
                  <a:pt x="2668137" y="3407466"/>
                  <a:pt x="2714881" y="3399880"/>
                  <a:pt x="2774624" y="3396845"/>
                </a:cubicBezTo>
                <a:cubicBezTo>
                  <a:pt x="2778496" y="3393305"/>
                  <a:pt x="2776560" y="3392192"/>
                  <a:pt x="2772688" y="3390068"/>
                </a:cubicBezTo>
                <a:cubicBezTo>
                  <a:pt x="2789560" y="3393912"/>
                  <a:pt x="2802560" y="3389967"/>
                  <a:pt x="2823304" y="3390270"/>
                </a:cubicBezTo>
                <a:cubicBezTo>
                  <a:pt x="2826900" y="3386629"/>
                  <a:pt x="2828836" y="3381976"/>
                  <a:pt x="2830495" y="3383089"/>
                </a:cubicBezTo>
                <a:cubicBezTo>
                  <a:pt x="2802006" y="3367005"/>
                  <a:pt x="2752497" y="3401195"/>
                  <a:pt x="2716264" y="3378031"/>
                </a:cubicBezTo>
                <a:cubicBezTo>
                  <a:pt x="2708796" y="3385213"/>
                  <a:pt x="2720136" y="3385921"/>
                  <a:pt x="2720136" y="3388753"/>
                </a:cubicBezTo>
                <a:cubicBezTo>
                  <a:pt x="2714881" y="3397048"/>
                  <a:pt x="2707136" y="3386932"/>
                  <a:pt x="2705477" y="3397351"/>
                </a:cubicBezTo>
                <a:cubicBezTo>
                  <a:pt x="2692200" y="3392698"/>
                  <a:pt x="2680860" y="3392091"/>
                  <a:pt x="2667860" y="3393204"/>
                </a:cubicBezTo>
                <a:cubicBezTo>
                  <a:pt x="2658456" y="3387843"/>
                  <a:pt x="2677264" y="3389967"/>
                  <a:pt x="2676988" y="3384201"/>
                </a:cubicBezTo>
                <a:cubicBezTo>
                  <a:pt x="2637435" y="3376109"/>
                  <a:pt x="2603691" y="3376918"/>
                  <a:pt x="2557224" y="3381672"/>
                </a:cubicBezTo>
                <a:cubicBezTo>
                  <a:pt x="2553352" y="3385314"/>
                  <a:pt x="2566628" y="3384100"/>
                  <a:pt x="2570224" y="3386224"/>
                </a:cubicBezTo>
                <a:cubicBezTo>
                  <a:pt x="2559160" y="3394114"/>
                  <a:pt x="2548097" y="3393507"/>
                  <a:pt x="2545884" y="3383797"/>
                </a:cubicBezTo>
                <a:cubicBezTo>
                  <a:pt x="2547820" y="3382077"/>
                  <a:pt x="2551416" y="3384201"/>
                  <a:pt x="2553352" y="3382381"/>
                </a:cubicBezTo>
                <a:cubicBezTo>
                  <a:pt x="2545608" y="3372366"/>
                  <a:pt x="2506332" y="3378537"/>
                  <a:pt x="2493332" y="3376817"/>
                </a:cubicBezTo>
                <a:cubicBezTo>
                  <a:pt x="2489736" y="3386123"/>
                  <a:pt x="2493332" y="3385415"/>
                  <a:pt x="2497204" y="3387539"/>
                </a:cubicBezTo>
                <a:cubicBezTo>
                  <a:pt x="2439674" y="3403016"/>
                  <a:pt x="2402887" y="3354159"/>
                  <a:pt x="2347016" y="3367916"/>
                </a:cubicBezTo>
                <a:cubicBezTo>
                  <a:pt x="2341208" y="3364679"/>
                  <a:pt x="2343144" y="3360026"/>
                  <a:pt x="2341208" y="3356182"/>
                </a:cubicBezTo>
                <a:cubicBezTo>
                  <a:pt x="2331803" y="3359419"/>
                  <a:pt x="2326272" y="3359014"/>
                  <a:pt x="2320463" y="3352945"/>
                </a:cubicBezTo>
                <a:cubicBezTo>
                  <a:pt x="2312995" y="3360127"/>
                  <a:pt x="2299719" y="3355575"/>
                  <a:pt x="2290592" y="3361644"/>
                </a:cubicBezTo>
                <a:cubicBezTo>
                  <a:pt x="2271507" y="3345258"/>
                  <a:pt x="2252699" y="3340301"/>
                  <a:pt x="2228082" y="3332108"/>
                </a:cubicBezTo>
                <a:cubicBezTo>
                  <a:pt x="2235550" y="3327859"/>
                  <a:pt x="2243018" y="3332007"/>
                  <a:pt x="2248550" y="3329478"/>
                </a:cubicBezTo>
                <a:cubicBezTo>
                  <a:pt x="2248273" y="3318048"/>
                  <a:pt x="2233614" y="3329579"/>
                  <a:pt x="2231401" y="3317036"/>
                </a:cubicBezTo>
                <a:cubicBezTo>
                  <a:pt x="2223933" y="3315721"/>
                  <a:pt x="2229742" y="3321689"/>
                  <a:pt x="2227806" y="3323510"/>
                </a:cubicBezTo>
                <a:cubicBezTo>
                  <a:pt x="2160041" y="3299334"/>
                  <a:pt x="2079277" y="3293569"/>
                  <a:pt x="2022576" y="3272934"/>
                </a:cubicBezTo>
                <a:cubicBezTo>
                  <a:pt x="2076788" y="3272428"/>
                  <a:pt x="2116893" y="3300649"/>
                  <a:pt x="2171105" y="3297210"/>
                </a:cubicBezTo>
                <a:cubicBezTo>
                  <a:pt x="2199594" y="3310461"/>
                  <a:pt x="2242741" y="3312080"/>
                  <a:pt x="2274273" y="3307325"/>
                </a:cubicBezTo>
                <a:cubicBezTo>
                  <a:pt x="2266805" y="3300245"/>
                  <a:pt x="2238869" y="3312788"/>
                  <a:pt x="2232784" y="3298121"/>
                </a:cubicBezTo>
                <a:cubicBezTo>
                  <a:pt x="2184381" y="3301863"/>
                  <a:pt x="2144276" y="3267977"/>
                  <a:pt x="2091723" y="3272428"/>
                </a:cubicBezTo>
                <a:cubicBezTo>
                  <a:pt x="2087851" y="3267370"/>
                  <a:pt x="2067107" y="3255738"/>
                  <a:pt x="2057979" y="3261807"/>
                </a:cubicBezTo>
                <a:cubicBezTo>
                  <a:pt x="2052171" y="3255738"/>
                  <a:pt x="2050235" y="3254625"/>
                  <a:pt x="2038895" y="3248151"/>
                </a:cubicBezTo>
                <a:cubicBezTo>
                  <a:pt x="2072639" y="3250276"/>
                  <a:pt x="2116063" y="3272023"/>
                  <a:pt x="2142339" y="3266966"/>
                </a:cubicBezTo>
                <a:cubicBezTo>
                  <a:pt x="2138744" y="3279104"/>
                  <a:pt x="2160871" y="3266156"/>
                  <a:pt x="2166679" y="3275058"/>
                </a:cubicBezTo>
                <a:cubicBezTo>
                  <a:pt x="2170275" y="3268685"/>
                  <a:pt x="2164743" y="3265448"/>
                  <a:pt x="2162807" y="3261503"/>
                </a:cubicBezTo>
                <a:cubicBezTo>
                  <a:pt x="2156999" y="3258267"/>
                  <a:pt x="2155339" y="3265752"/>
                  <a:pt x="2145935" y="3260391"/>
                </a:cubicBezTo>
                <a:cubicBezTo>
                  <a:pt x="2160594" y="3254625"/>
                  <a:pt x="2140127" y="3257255"/>
                  <a:pt x="2136254" y="3252299"/>
                </a:cubicBezTo>
                <a:cubicBezTo>
                  <a:pt x="2139850" y="3242993"/>
                  <a:pt x="2147595" y="3250073"/>
                  <a:pt x="2153126" y="3244712"/>
                </a:cubicBezTo>
                <a:cubicBezTo>
                  <a:pt x="2151190" y="3243599"/>
                  <a:pt x="2147318" y="3241475"/>
                  <a:pt x="2145382" y="3240464"/>
                </a:cubicBezTo>
                <a:cubicBezTo>
                  <a:pt x="2139850" y="3240059"/>
                  <a:pt x="2138191" y="3250478"/>
                  <a:pt x="2132382" y="3250174"/>
                </a:cubicBezTo>
                <a:cubicBezTo>
                  <a:pt x="2126850" y="3246937"/>
                  <a:pt x="2126574" y="3244004"/>
                  <a:pt x="2117446" y="3244409"/>
                </a:cubicBezTo>
                <a:cubicBezTo>
                  <a:pt x="2134042" y="3233990"/>
                  <a:pt x="2105553" y="3220840"/>
                  <a:pt x="2092553" y="3227719"/>
                </a:cubicBezTo>
                <a:cubicBezTo>
                  <a:pt x="2090894" y="3235204"/>
                  <a:pt x="2103893" y="3231259"/>
                  <a:pt x="2104170" y="3239857"/>
                </a:cubicBezTo>
                <a:cubicBezTo>
                  <a:pt x="2100574" y="3243397"/>
                  <a:pt x="2098638" y="3248050"/>
                  <a:pt x="2095042" y="3248758"/>
                </a:cubicBezTo>
                <a:cubicBezTo>
                  <a:pt x="2078170" y="3247747"/>
                  <a:pt x="2070149" y="3232068"/>
                  <a:pt x="2055490" y="3235002"/>
                </a:cubicBezTo>
                <a:cubicBezTo>
                  <a:pt x="2066277" y="3227112"/>
                  <a:pt x="2058533" y="3214164"/>
                  <a:pt x="2040001" y="3217806"/>
                </a:cubicBezTo>
                <a:cubicBezTo>
                  <a:pt x="2036129" y="3221346"/>
                  <a:pt x="2041937" y="3221751"/>
                  <a:pt x="2047469" y="3224987"/>
                </a:cubicBezTo>
                <a:cubicBezTo>
                  <a:pt x="2040001" y="3226404"/>
                  <a:pt x="2028661" y="3219930"/>
                  <a:pt x="2021193" y="3218514"/>
                </a:cubicBezTo>
                <a:cubicBezTo>
                  <a:pt x="2036129" y="3209916"/>
                  <a:pt x="2015385" y="3206780"/>
                  <a:pt x="2002108" y="3205060"/>
                </a:cubicBezTo>
                <a:cubicBezTo>
                  <a:pt x="1998513" y="3202936"/>
                  <a:pt x="1996577" y="3198991"/>
                  <a:pt x="1990768" y="3195856"/>
                </a:cubicBezTo>
                <a:cubicBezTo>
                  <a:pt x="1945684" y="3190191"/>
                  <a:pt x="1922450" y="3165914"/>
                  <a:pt x="1879302" y="3158530"/>
                </a:cubicBezTo>
                <a:cubicBezTo>
                  <a:pt x="1879302" y="3155698"/>
                  <a:pt x="1877366" y="3151753"/>
                  <a:pt x="1875430" y="3147808"/>
                </a:cubicBezTo>
                <a:cubicBezTo>
                  <a:pt x="1862430" y="3154687"/>
                  <a:pt x="1867409" y="3137794"/>
                  <a:pt x="1858005" y="3135265"/>
                </a:cubicBezTo>
                <a:cubicBezTo>
                  <a:pt x="1852473" y="3132130"/>
                  <a:pt x="1841409" y="3137187"/>
                  <a:pt x="1833665" y="3132838"/>
                </a:cubicBezTo>
                <a:cubicBezTo>
                  <a:pt x="1830069" y="3130713"/>
                  <a:pt x="1824814" y="3127173"/>
                  <a:pt x="1819282" y="3123329"/>
                </a:cubicBezTo>
                <a:lnTo>
                  <a:pt x="1807942" y="3115945"/>
                </a:lnTo>
                <a:lnTo>
                  <a:pt x="1802134" y="3113922"/>
                </a:lnTo>
                <a:lnTo>
                  <a:pt x="1792453" y="3108763"/>
                </a:lnTo>
                <a:lnTo>
                  <a:pt x="1789964" y="3108966"/>
                </a:lnTo>
                <a:cubicBezTo>
                  <a:pt x="1788304" y="3107347"/>
                  <a:pt x="1786645" y="3104818"/>
                  <a:pt x="1782772" y="3104211"/>
                </a:cubicBezTo>
                <a:lnTo>
                  <a:pt x="1783879" y="3104211"/>
                </a:lnTo>
                <a:lnTo>
                  <a:pt x="1771985" y="3097940"/>
                </a:lnTo>
                <a:cubicBezTo>
                  <a:pt x="1743497" y="3091871"/>
                  <a:pt x="1717774" y="3085599"/>
                  <a:pt x="1699242" y="3067898"/>
                </a:cubicBezTo>
                <a:cubicBezTo>
                  <a:pt x="1644201" y="3052118"/>
                  <a:pt x="1598563" y="3021165"/>
                  <a:pt x="1546011" y="3001643"/>
                </a:cubicBezTo>
                <a:cubicBezTo>
                  <a:pt x="1534395" y="3004576"/>
                  <a:pt x="1555968" y="3005891"/>
                  <a:pt x="1541309" y="3009229"/>
                </a:cubicBezTo>
                <a:cubicBezTo>
                  <a:pt x="1528310" y="3005183"/>
                  <a:pt x="1526650" y="2996484"/>
                  <a:pt x="1521948" y="2987987"/>
                </a:cubicBezTo>
                <a:cubicBezTo>
                  <a:pt x="1504800" y="2977265"/>
                  <a:pt x="1486544" y="2979086"/>
                  <a:pt x="1471885" y="2966341"/>
                </a:cubicBezTo>
                <a:cubicBezTo>
                  <a:pt x="1467736" y="2959665"/>
                  <a:pt x="1479630" y="2958451"/>
                  <a:pt x="1472715" y="2953798"/>
                </a:cubicBezTo>
                <a:cubicBezTo>
                  <a:pt x="1460822" y="2955012"/>
                  <a:pt x="1456949" y="2951775"/>
                  <a:pt x="1446162" y="2958249"/>
                </a:cubicBezTo>
                <a:cubicBezTo>
                  <a:pt x="1445056" y="2952989"/>
                  <a:pt x="1435375" y="2950460"/>
                  <a:pt x="1435928" y="2954000"/>
                </a:cubicBezTo>
                <a:cubicBezTo>
                  <a:pt x="1429843" y="2952887"/>
                  <a:pt x="1430673" y="2942064"/>
                  <a:pt x="1423758" y="2937411"/>
                </a:cubicBezTo>
                <a:cubicBezTo>
                  <a:pt x="1417674" y="2938018"/>
                  <a:pt x="1431227" y="2943784"/>
                  <a:pt x="1418780" y="2943278"/>
                </a:cubicBezTo>
                <a:cubicBezTo>
                  <a:pt x="1418503" y="2941558"/>
                  <a:pt x="1415737" y="2943581"/>
                  <a:pt x="1412695" y="2943885"/>
                </a:cubicBezTo>
                <a:cubicBezTo>
                  <a:pt x="1408823" y="2922845"/>
                  <a:pt x="1377291" y="2917181"/>
                  <a:pt x="1362079" y="2902716"/>
                </a:cubicBezTo>
                <a:cubicBezTo>
                  <a:pt x="1359313" y="2903019"/>
                  <a:pt x="1356547" y="2905143"/>
                  <a:pt x="1353505" y="2905447"/>
                </a:cubicBezTo>
                <a:cubicBezTo>
                  <a:pt x="1361249" y="2897456"/>
                  <a:pt x="1312569" y="2866706"/>
                  <a:pt x="1290995" y="2865391"/>
                </a:cubicBezTo>
                <a:cubicBezTo>
                  <a:pt x="1252826" y="2824727"/>
                  <a:pt x="1199997" y="2805104"/>
                  <a:pt x="1159338" y="2766464"/>
                </a:cubicBezTo>
                <a:cubicBezTo>
                  <a:pt x="1152700" y="2763631"/>
                  <a:pt x="1154360" y="2772330"/>
                  <a:pt x="1144956" y="2771521"/>
                </a:cubicBezTo>
                <a:cubicBezTo>
                  <a:pt x="1146892" y="2765958"/>
                  <a:pt x="1133616" y="2760192"/>
                  <a:pt x="1144956" y="2755539"/>
                </a:cubicBezTo>
                <a:cubicBezTo>
                  <a:pt x="1128637" y="2750077"/>
                  <a:pt x="1117573" y="2724384"/>
                  <a:pt x="1102637" y="2726003"/>
                </a:cubicBezTo>
                <a:cubicBezTo>
                  <a:pt x="1093234" y="2725092"/>
                  <a:pt x="1104574" y="2720439"/>
                  <a:pt x="1097935" y="2717506"/>
                </a:cubicBezTo>
                <a:cubicBezTo>
                  <a:pt x="1094340" y="2714269"/>
                  <a:pt x="1092680" y="2721653"/>
                  <a:pt x="1086042" y="2718821"/>
                </a:cubicBezTo>
                <a:cubicBezTo>
                  <a:pt x="1096000" y="2723069"/>
                  <a:pt x="1092680" y="2721552"/>
                  <a:pt x="1094340" y="2730352"/>
                </a:cubicBezTo>
                <a:cubicBezTo>
                  <a:pt x="1082447" y="2731566"/>
                  <a:pt x="1083276" y="2720743"/>
                  <a:pt x="1076362" y="2716191"/>
                </a:cubicBezTo>
                <a:cubicBezTo>
                  <a:pt x="1085489" y="2715179"/>
                  <a:pt x="1087978" y="2713156"/>
                  <a:pt x="1087702" y="2711437"/>
                </a:cubicBezTo>
                <a:cubicBezTo>
                  <a:pt x="1083276" y="2704659"/>
                  <a:pt x="1074426" y="2705671"/>
                  <a:pt x="1072766" y="2696871"/>
                </a:cubicBezTo>
                <a:cubicBezTo>
                  <a:pt x="1070000" y="2698995"/>
                  <a:pt x="1064468" y="2701321"/>
                  <a:pt x="1068341" y="2706278"/>
                </a:cubicBezTo>
                <a:cubicBezTo>
                  <a:pt x="1061979" y="2705064"/>
                  <a:pt x="1063362" y="2696061"/>
                  <a:pt x="1066404" y="2695758"/>
                </a:cubicBezTo>
                <a:cubicBezTo>
                  <a:pt x="1044554" y="2692622"/>
                  <a:pt x="1053681" y="2659647"/>
                  <a:pt x="1023256" y="2660962"/>
                </a:cubicBezTo>
                <a:cubicBezTo>
                  <a:pt x="1027682" y="2651554"/>
                  <a:pt x="1006661" y="2637595"/>
                  <a:pt x="1003342" y="2636179"/>
                </a:cubicBezTo>
                <a:cubicBezTo>
                  <a:pt x="988959" y="2625154"/>
                  <a:pt x="983427" y="2611498"/>
                  <a:pt x="971810" y="2598348"/>
                </a:cubicBezTo>
                <a:cubicBezTo>
                  <a:pt x="964066" y="2590256"/>
                  <a:pt x="951896" y="2573667"/>
                  <a:pt x="930599" y="2574072"/>
                </a:cubicBezTo>
                <a:cubicBezTo>
                  <a:pt x="935854" y="2553942"/>
                  <a:pt x="891599" y="2529969"/>
                  <a:pt x="893535" y="2506603"/>
                </a:cubicBezTo>
                <a:cubicBezTo>
                  <a:pt x="889663" y="2503366"/>
                  <a:pt x="886344" y="2501849"/>
                  <a:pt x="877493" y="2502759"/>
                </a:cubicBezTo>
                <a:cubicBezTo>
                  <a:pt x="871408" y="2471301"/>
                  <a:pt x="844303" y="2456229"/>
                  <a:pt x="826047" y="2424164"/>
                </a:cubicBezTo>
                <a:cubicBezTo>
                  <a:pt x="831856" y="2423557"/>
                  <a:pt x="837664" y="2421230"/>
                  <a:pt x="843749" y="2420623"/>
                </a:cubicBezTo>
                <a:cubicBezTo>
                  <a:pt x="842090" y="2411823"/>
                  <a:pt x="833239" y="2414554"/>
                  <a:pt x="824111" y="2413745"/>
                </a:cubicBezTo>
                <a:cubicBezTo>
                  <a:pt x="824250" y="2406563"/>
                  <a:pt x="820309" y="2402036"/>
                  <a:pt x="816471" y="2397953"/>
                </a:cubicBezTo>
                <a:lnTo>
                  <a:pt x="810112" y="2386050"/>
                </a:lnTo>
                <a:lnTo>
                  <a:pt x="772572" y="2392887"/>
                </a:lnTo>
                <a:cubicBezTo>
                  <a:pt x="716017" y="2405118"/>
                  <a:pt x="658860" y="2419770"/>
                  <a:pt x="600589" y="2438074"/>
                </a:cubicBezTo>
                <a:cubicBezTo>
                  <a:pt x="461554" y="2475785"/>
                  <a:pt x="306137" y="2467978"/>
                  <a:pt x="168938" y="2460681"/>
                </a:cubicBezTo>
                <a:cubicBezTo>
                  <a:pt x="114281" y="2459155"/>
                  <a:pt x="77442" y="2399200"/>
                  <a:pt x="25739" y="2359627"/>
                </a:cubicBezTo>
                <a:cubicBezTo>
                  <a:pt x="139125" y="2331598"/>
                  <a:pt x="234293" y="2303059"/>
                  <a:pt x="372208" y="2258384"/>
                </a:cubicBezTo>
                <a:cubicBezTo>
                  <a:pt x="223101" y="2233422"/>
                  <a:pt x="111550" y="2216442"/>
                  <a:pt x="0" y="2199462"/>
                </a:cubicBezTo>
                <a:cubicBezTo>
                  <a:pt x="7431" y="2189271"/>
                  <a:pt x="5193" y="2175343"/>
                  <a:pt x="12624" y="2165152"/>
                </a:cubicBezTo>
                <a:cubicBezTo>
                  <a:pt x="326012" y="2083782"/>
                  <a:pt x="629731" y="1998675"/>
                  <a:pt x="942001" y="1910341"/>
                </a:cubicBezTo>
                <a:cubicBezTo>
                  <a:pt x="984750" y="1894202"/>
                  <a:pt x="1028617" y="1885029"/>
                  <a:pt x="1079916" y="1865665"/>
                </a:cubicBezTo>
                <a:cubicBezTo>
                  <a:pt x="1116354" y="1866682"/>
                  <a:pt x="1152790" y="1867699"/>
                  <a:pt x="1195539" y="1851562"/>
                </a:cubicBezTo>
                <a:lnTo>
                  <a:pt x="1305878" y="1825470"/>
                </a:lnTo>
                <a:lnTo>
                  <a:pt x="1306080" y="1806241"/>
                </a:lnTo>
                <a:cubicBezTo>
                  <a:pt x="1308639" y="1784227"/>
                  <a:pt x="1311889" y="1762176"/>
                  <a:pt x="1310921" y="1740327"/>
                </a:cubicBezTo>
                <a:cubicBezTo>
                  <a:pt x="1301793" y="1734157"/>
                  <a:pt x="1310645" y="1748824"/>
                  <a:pt x="1299581" y="1740833"/>
                </a:cubicBezTo>
                <a:cubicBezTo>
                  <a:pt x="1298198" y="1730414"/>
                  <a:pt x="1307879" y="1725255"/>
                  <a:pt x="1315623" y="1718175"/>
                </a:cubicBezTo>
                <a:cubicBezTo>
                  <a:pt x="1320324" y="1701788"/>
                  <a:pt x="1309539" y="1690863"/>
                  <a:pt x="1317559" y="1675286"/>
                </a:cubicBezTo>
                <a:cubicBezTo>
                  <a:pt x="1323368" y="1669217"/>
                  <a:pt x="1330559" y="1676601"/>
                  <a:pt x="1332772" y="1669824"/>
                </a:cubicBezTo>
                <a:cubicBezTo>
                  <a:pt x="1325581" y="1662541"/>
                  <a:pt x="1327517" y="1658596"/>
                  <a:pt x="1314793" y="1654449"/>
                </a:cubicBezTo>
                <a:cubicBezTo>
                  <a:pt x="1320324" y="1651313"/>
                  <a:pt x="1318943" y="1643828"/>
                  <a:pt x="1315070" y="1645952"/>
                </a:cubicBezTo>
                <a:cubicBezTo>
                  <a:pt x="1313411" y="1641198"/>
                  <a:pt x="1326687" y="1636747"/>
                  <a:pt x="1328899" y="1629970"/>
                </a:cubicBezTo>
                <a:cubicBezTo>
                  <a:pt x="1325303" y="1626328"/>
                  <a:pt x="1324751" y="1637758"/>
                  <a:pt x="1319495" y="1629464"/>
                </a:cubicBezTo>
                <a:cubicBezTo>
                  <a:pt x="1321432" y="1628452"/>
                  <a:pt x="1317836" y="1627744"/>
                  <a:pt x="1315900" y="1625924"/>
                </a:cubicBezTo>
                <a:cubicBezTo>
                  <a:pt x="1338857" y="1613381"/>
                  <a:pt x="1330559" y="1590014"/>
                  <a:pt x="1340793" y="1573324"/>
                </a:cubicBezTo>
                <a:cubicBezTo>
                  <a:pt x="1338857" y="1571504"/>
                  <a:pt x="1335261" y="1570694"/>
                  <a:pt x="1333325" y="1568874"/>
                </a:cubicBezTo>
                <a:cubicBezTo>
                  <a:pt x="1346600" y="1570087"/>
                  <a:pt x="1359601" y="1523760"/>
                  <a:pt x="1351027" y="1508991"/>
                </a:cubicBezTo>
                <a:cubicBezTo>
                  <a:pt x="1380898" y="1464687"/>
                  <a:pt x="1379239" y="1421090"/>
                  <a:pt x="1405514" y="1375976"/>
                </a:cubicBezTo>
                <a:cubicBezTo>
                  <a:pt x="1405792" y="1370311"/>
                  <a:pt x="1396111" y="1375470"/>
                  <a:pt x="1392515" y="1368996"/>
                </a:cubicBezTo>
                <a:cubicBezTo>
                  <a:pt x="1400260" y="1367681"/>
                  <a:pt x="1400536" y="1356251"/>
                  <a:pt x="1411600" y="1361410"/>
                </a:cubicBezTo>
                <a:cubicBezTo>
                  <a:pt x="1410217" y="1348159"/>
                  <a:pt x="1435663" y="1328839"/>
                  <a:pt x="1426536" y="1319735"/>
                </a:cubicBezTo>
                <a:cubicBezTo>
                  <a:pt x="1423217" y="1313261"/>
                  <a:pt x="1434004" y="1318521"/>
                  <a:pt x="1434279" y="1312756"/>
                </a:cubicBezTo>
                <a:cubicBezTo>
                  <a:pt x="1436493" y="1308811"/>
                  <a:pt x="1426812" y="1311238"/>
                  <a:pt x="1427089" y="1305473"/>
                </a:cubicBezTo>
                <a:cubicBezTo>
                  <a:pt x="1426812" y="1314071"/>
                  <a:pt x="1427089" y="1311238"/>
                  <a:pt x="1417408" y="1316498"/>
                </a:cubicBezTo>
                <a:cubicBezTo>
                  <a:pt x="1410217" y="1309215"/>
                  <a:pt x="1423493" y="1304765"/>
                  <a:pt x="1425706" y="1297987"/>
                </a:cubicBezTo>
                <a:cubicBezTo>
                  <a:pt x="1430961" y="1303450"/>
                  <a:pt x="1434832" y="1304158"/>
                  <a:pt x="1436770" y="1303146"/>
                </a:cubicBezTo>
                <a:cubicBezTo>
                  <a:pt x="1442577" y="1297178"/>
                  <a:pt x="1437323" y="1291716"/>
                  <a:pt x="1446727" y="1286456"/>
                </a:cubicBezTo>
                <a:cubicBezTo>
                  <a:pt x="1443130" y="1285647"/>
                  <a:pt x="1437598" y="1283118"/>
                  <a:pt x="1433727" y="1288075"/>
                </a:cubicBezTo>
                <a:cubicBezTo>
                  <a:pt x="1431791" y="1283422"/>
                  <a:pt x="1443130" y="1279982"/>
                  <a:pt x="1445067" y="1281803"/>
                </a:cubicBezTo>
                <a:cubicBezTo>
                  <a:pt x="1438153" y="1265922"/>
                  <a:pt x="1481853" y="1256110"/>
                  <a:pt x="1465812" y="1236993"/>
                </a:cubicBezTo>
                <a:cubicBezTo>
                  <a:pt x="1478811" y="1235374"/>
                  <a:pt x="1485449" y="1215042"/>
                  <a:pt x="1485449" y="1212210"/>
                </a:cubicBezTo>
                <a:cubicBezTo>
                  <a:pt x="1491811" y="1197644"/>
                  <a:pt x="1505364" y="1187428"/>
                  <a:pt x="1515321" y="1173671"/>
                </a:cubicBezTo>
                <a:cubicBezTo>
                  <a:pt x="1521406" y="1164770"/>
                  <a:pt x="1535236" y="1148788"/>
                  <a:pt x="1524448" y="1135031"/>
                </a:cubicBezTo>
                <a:cubicBezTo>
                  <a:pt x="1551001" y="1128962"/>
                  <a:pt x="1558469" y="1088703"/>
                  <a:pt x="1586958" y="1078689"/>
                </a:cubicBezTo>
                <a:cubicBezTo>
                  <a:pt x="1588894" y="1074845"/>
                  <a:pt x="1589171" y="1071912"/>
                  <a:pt x="1583639" y="1066450"/>
                </a:cubicBezTo>
                <a:cubicBezTo>
                  <a:pt x="1618212" y="1047635"/>
                  <a:pt x="1622915" y="1022651"/>
                  <a:pt x="1652233" y="995542"/>
                </a:cubicBezTo>
                <a:cubicBezTo>
                  <a:pt x="1655829" y="999183"/>
                  <a:pt x="1661361" y="1001712"/>
                  <a:pt x="1664956" y="1005354"/>
                </a:cubicBezTo>
                <a:cubicBezTo>
                  <a:pt x="1674637" y="1000094"/>
                  <a:pt x="1667446" y="995744"/>
                  <a:pt x="1663850" y="989270"/>
                </a:cubicBezTo>
                <a:cubicBezTo>
                  <a:pt x="1680999" y="982695"/>
                  <a:pt x="1677678" y="970456"/>
                  <a:pt x="1690956" y="966005"/>
                </a:cubicBezTo>
                <a:cubicBezTo>
                  <a:pt x="1690679" y="974603"/>
                  <a:pt x="1677403" y="979054"/>
                  <a:pt x="1695934" y="985730"/>
                </a:cubicBezTo>
                <a:cubicBezTo>
                  <a:pt x="1688190" y="989877"/>
                  <a:pt x="1684318" y="989169"/>
                  <a:pt x="1684041" y="997767"/>
                </a:cubicBezTo>
                <a:cubicBezTo>
                  <a:pt x="1698700" y="1003735"/>
                  <a:pt x="1698977" y="1000802"/>
                  <a:pt x="1709764" y="1008894"/>
                </a:cubicBezTo>
                <a:cubicBezTo>
                  <a:pt x="1705891" y="1013850"/>
                  <a:pt x="1701190" y="1035902"/>
                  <a:pt x="1684594" y="1031046"/>
                </a:cubicBezTo>
                <a:cubicBezTo>
                  <a:pt x="1679892" y="1050265"/>
                  <a:pt x="1640063" y="1066551"/>
                  <a:pt x="1644765" y="1086275"/>
                </a:cubicBezTo>
                <a:cubicBezTo>
                  <a:pt x="1629829" y="1083241"/>
                  <a:pt x="1632871" y="1101145"/>
                  <a:pt x="1624851" y="1111058"/>
                </a:cubicBezTo>
                <a:cubicBezTo>
                  <a:pt x="1617106" y="1118138"/>
                  <a:pt x="1575341" y="1129670"/>
                  <a:pt x="1598575" y="1153238"/>
                </a:cubicBezTo>
                <a:cubicBezTo>
                  <a:pt x="1592765" y="1159206"/>
                  <a:pt x="1594978" y="1149698"/>
                  <a:pt x="1587511" y="1151013"/>
                </a:cubicBezTo>
                <a:cubicBezTo>
                  <a:pt x="1575894" y="1160117"/>
                  <a:pt x="1566214" y="1171041"/>
                  <a:pt x="1575065" y="1180145"/>
                </a:cubicBezTo>
                <a:cubicBezTo>
                  <a:pt x="1563724" y="1180752"/>
                  <a:pt x="1540491" y="1196127"/>
                  <a:pt x="1554874" y="1210693"/>
                </a:cubicBezTo>
                <a:cubicBezTo>
                  <a:pt x="1524448" y="1224551"/>
                  <a:pt x="1495682" y="1279173"/>
                  <a:pt x="1509236" y="1316600"/>
                </a:cubicBezTo>
                <a:cubicBezTo>
                  <a:pt x="1503704" y="1313970"/>
                  <a:pt x="1499832" y="1316094"/>
                  <a:pt x="1495960" y="1321050"/>
                </a:cubicBezTo>
                <a:cubicBezTo>
                  <a:pt x="1501492" y="1323579"/>
                  <a:pt x="1503704" y="1313970"/>
                  <a:pt x="1508960" y="1322264"/>
                </a:cubicBezTo>
                <a:cubicBezTo>
                  <a:pt x="1489045" y="1349879"/>
                  <a:pt x="1483236" y="1394993"/>
                  <a:pt x="1461663" y="1420786"/>
                </a:cubicBezTo>
                <a:cubicBezTo>
                  <a:pt x="1452259" y="1417448"/>
                  <a:pt x="1461663" y="1415122"/>
                  <a:pt x="1454471" y="1410671"/>
                </a:cubicBezTo>
                <a:cubicBezTo>
                  <a:pt x="1444791" y="1418763"/>
                  <a:pt x="1436493" y="1437274"/>
                  <a:pt x="1453088" y="1444962"/>
                </a:cubicBezTo>
                <a:cubicBezTo>
                  <a:pt x="1452535" y="1453560"/>
                  <a:pt x="1450599" y="1460337"/>
                  <a:pt x="1440918" y="1468429"/>
                </a:cubicBezTo>
                <a:cubicBezTo>
                  <a:pt x="1435110" y="1468733"/>
                  <a:pt x="1439259" y="1463776"/>
                  <a:pt x="1435663" y="1460135"/>
                </a:cubicBezTo>
                <a:cubicBezTo>
                  <a:pt x="1422110" y="1467519"/>
                  <a:pt x="1431238" y="1470857"/>
                  <a:pt x="1425429" y="1479657"/>
                </a:cubicBezTo>
                <a:cubicBezTo>
                  <a:pt x="1430961" y="1482287"/>
                  <a:pt x="1431238" y="1470756"/>
                  <a:pt x="1438429" y="1478039"/>
                </a:cubicBezTo>
                <a:cubicBezTo>
                  <a:pt x="1430684" y="1487952"/>
                  <a:pt x="1437876" y="1495235"/>
                  <a:pt x="1427918" y="1503327"/>
                </a:cubicBezTo>
                <a:cubicBezTo>
                  <a:pt x="1422663" y="1497865"/>
                  <a:pt x="1422940" y="1492200"/>
                  <a:pt x="1432344" y="1489772"/>
                </a:cubicBezTo>
                <a:cubicBezTo>
                  <a:pt x="1428747" y="1489064"/>
                  <a:pt x="1424876" y="1491087"/>
                  <a:pt x="1421281" y="1487446"/>
                </a:cubicBezTo>
                <a:cubicBezTo>
                  <a:pt x="1417132" y="1498168"/>
                  <a:pt x="1414919" y="1504945"/>
                  <a:pt x="1429578" y="1513644"/>
                </a:cubicBezTo>
                <a:cubicBezTo>
                  <a:pt x="1425429" y="1518601"/>
                  <a:pt x="1420174" y="1510408"/>
                  <a:pt x="1416579" y="1509598"/>
                </a:cubicBezTo>
                <a:cubicBezTo>
                  <a:pt x="1398047" y="1547632"/>
                  <a:pt x="1414919" y="1588598"/>
                  <a:pt x="1394451" y="1633409"/>
                </a:cubicBezTo>
                <a:cubicBezTo>
                  <a:pt x="1388643" y="1633712"/>
                  <a:pt x="1383111" y="1633915"/>
                  <a:pt x="1377303" y="1637050"/>
                </a:cubicBezTo>
                <a:cubicBezTo>
                  <a:pt x="1384493" y="1647166"/>
                  <a:pt x="1374537" y="1658191"/>
                  <a:pt x="1391132" y="1665980"/>
                </a:cubicBezTo>
                <a:cubicBezTo>
                  <a:pt x="1378686" y="1689346"/>
                  <a:pt x="1381452" y="1713016"/>
                  <a:pt x="1384217" y="1736685"/>
                </a:cubicBezTo>
                <a:lnTo>
                  <a:pt x="1372979" y="1809603"/>
                </a:lnTo>
                <a:lnTo>
                  <a:pt x="1420196" y="1798437"/>
                </a:lnTo>
                <a:lnTo>
                  <a:pt x="1422663" y="1784784"/>
                </a:lnTo>
                <a:cubicBezTo>
                  <a:pt x="1425221" y="1762429"/>
                  <a:pt x="1426120" y="1740277"/>
                  <a:pt x="1424046" y="1723232"/>
                </a:cubicBezTo>
                <a:cubicBezTo>
                  <a:pt x="1422387" y="1721411"/>
                  <a:pt x="1426259" y="1716455"/>
                  <a:pt x="1428195" y="1718276"/>
                </a:cubicBezTo>
                <a:cubicBezTo>
                  <a:pt x="1432068" y="1713319"/>
                  <a:pt x="1424599" y="1714634"/>
                  <a:pt x="1422940" y="1709981"/>
                </a:cubicBezTo>
                <a:cubicBezTo>
                  <a:pt x="1430684" y="1702901"/>
                  <a:pt x="1438706" y="1690155"/>
                  <a:pt x="1429578" y="1681052"/>
                </a:cubicBezTo>
                <a:cubicBezTo>
                  <a:pt x="1443684" y="1659506"/>
                  <a:pt x="1445620" y="1616516"/>
                  <a:pt x="1457790" y="1595982"/>
                </a:cubicBezTo>
                <a:cubicBezTo>
                  <a:pt x="1456131" y="1591329"/>
                  <a:pt x="1454471" y="1586575"/>
                  <a:pt x="1454471" y="1583743"/>
                </a:cubicBezTo>
                <a:cubicBezTo>
                  <a:pt x="1458620" y="1578787"/>
                  <a:pt x="1462216" y="1576662"/>
                  <a:pt x="1468024" y="1573527"/>
                </a:cubicBezTo>
                <a:cubicBezTo>
                  <a:pt x="1466640" y="1566041"/>
                  <a:pt x="1464982" y="1555623"/>
                  <a:pt x="1476599" y="1546519"/>
                </a:cubicBezTo>
                <a:cubicBezTo>
                  <a:pt x="1484066" y="1550868"/>
                  <a:pt x="1484066" y="1553802"/>
                  <a:pt x="1493471" y="1551374"/>
                </a:cubicBezTo>
                <a:cubicBezTo>
                  <a:pt x="1493747" y="1542776"/>
                  <a:pt x="1482407" y="1546215"/>
                  <a:pt x="1477152" y="1540753"/>
                </a:cubicBezTo>
                <a:cubicBezTo>
                  <a:pt x="1475492" y="1530436"/>
                  <a:pt x="1490427" y="1533470"/>
                  <a:pt x="1496235" y="1530335"/>
                </a:cubicBezTo>
                <a:cubicBezTo>
                  <a:pt x="1476045" y="1521838"/>
                  <a:pt x="1474662" y="1505653"/>
                  <a:pt x="1499278" y="1500697"/>
                </a:cubicBezTo>
                <a:cubicBezTo>
                  <a:pt x="1505364" y="1494628"/>
                  <a:pt x="1492364" y="1487648"/>
                  <a:pt x="1500109" y="1483501"/>
                </a:cubicBezTo>
                <a:cubicBezTo>
                  <a:pt x="1498448" y="1481680"/>
                  <a:pt x="1494853" y="1478039"/>
                  <a:pt x="1490981" y="1480163"/>
                </a:cubicBezTo>
                <a:cubicBezTo>
                  <a:pt x="1491258" y="1474397"/>
                  <a:pt x="1500662" y="1472071"/>
                  <a:pt x="1491534" y="1465900"/>
                </a:cubicBezTo>
                <a:cubicBezTo>
                  <a:pt x="1497343" y="1462765"/>
                  <a:pt x="1512831" y="1451436"/>
                  <a:pt x="1501767" y="1443445"/>
                </a:cubicBezTo>
                <a:cubicBezTo>
                  <a:pt x="1505640" y="1441320"/>
                  <a:pt x="1511172" y="1446783"/>
                  <a:pt x="1515045" y="1444658"/>
                </a:cubicBezTo>
                <a:cubicBezTo>
                  <a:pt x="1509789" y="1436364"/>
                  <a:pt x="1519193" y="1431104"/>
                  <a:pt x="1508406" y="1423113"/>
                </a:cubicBezTo>
                <a:cubicBezTo>
                  <a:pt x="1513938" y="1419977"/>
                  <a:pt x="1525555" y="1413807"/>
                  <a:pt x="1518087" y="1412290"/>
                </a:cubicBezTo>
                <a:cubicBezTo>
                  <a:pt x="1530257" y="1388822"/>
                  <a:pt x="1529704" y="1358375"/>
                  <a:pt x="1553214" y="1340067"/>
                </a:cubicBezTo>
                <a:cubicBezTo>
                  <a:pt x="1555150" y="1336122"/>
                  <a:pt x="1557363" y="1332278"/>
                  <a:pt x="1551831" y="1326816"/>
                </a:cubicBezTo>
                <a:cubicBezTo>
                  <a:pt x="1578660" y="1315082"/>
                  <a:pt x="1571192" y="1271688"/>
                  <a:pt x="1603553" y="1256717"/>
                </a:cubicBezTo>
                <a:cubicBezTo>
                  <a:pt x="1605766" y="1252772"/>
                  <a:pt x="1598297" y="1248322"/>
                  <a:pt x="1600234" y="1244478"/>
                </a:cubicBezTo>
                <a:cubicBezTo>
                  <a:pt x="1608255" y="1237397"/>
                  <a:pt x="1617383" y="1243669"/>
                  <a:pt x="1624851" y="1242354"/>
                </a:cubicBezTo>
                <a:cubicBezTo>
                  <a:pt x="1627063" y="1232643"/>
                  <a:pt x="1611298" y="1210693"/>
                  <a:pt x="1639233" y="1212109"/>
                </a:cubicBezTo>
                <a:cubicBezTo>
                  <a:pt x="1643382" y="1204320"/>
                  <a:pt x="1634531" y="1195217"/>
                  <a:pt x="1636468" y="1188541"/>
                </a:cubicBezTo>
                <a:cubicBezTo>
                  <a:pt x="1642276" y="1188237"/>
                  <a:pt x="1645872" y="1188945"/>
                  <a:pt x="1649744" y="1186821"/>
                </a:cubicBezTo>
                <a:cubicBezTo>
                  <a:pt x="1644488" y="1178526"/>
                  <a:pt x="1658318" y="1159813"/>
                  <a:pt x="1675190" y="1161735"/>
                </a:cubicBezTo>
                <a:cubicBezTo>
                  <a:pt x="1669935" y="1150608"/>
                  <a:pt x="1677955" y="1140695"/>
                  <a:pt x="1682105" y="1129973"/>
                </a:cubicBezTo>
                <a:cubicBezTo>
                  <a:pt x="1725806" y="1114497"/>
                  <a:pt x="1741295" y="1058661"/>
                  <a:pt x="1787486" y="1036306"/>
                </a:cubicBezTo>
                <a:lnTo>
                  <a:pt x="1790252" y="1033777"/>
                </a:lnTo>
                <a:lnTo>
                  <a:pt x="1786656" y="1058256"/>
                </a:lnTo>
                <a:cubicBezTo>
                  <a:pt x="1782230" y="1069080"/>
                  <a:pt x="1775316" y="1079296"/>
                  <a:pt x="1766465" y="1086882"/>
                </a:cubicBezTo>
                <a:cubicBezTo>
                  <a:pt x="1764252" y="1093660"/>
                  <a:pt x="1776974" y="1100538"/>
                  <a:pt x="1782784" y="1100234"/>
                </a:cubicBezTo>
                <a:cubicBezTo>
                  <a:pt x="1800484" y="1079397"/>
                  <a:pt x="1838377" y="1067056"/>
                  <a:pt x="1828144" y="1047635"/>
                </a:cubicBezTo>
                <a:cubicBezTo>
                  <a:pt x="1837548" y="1045208"/>
                  <a:pt x="1847228" y="1037115"/>
                  <a:pt x="1858569" y="1039442"/>
                </a:cubicBezTo>
                <a:cubicBezTo>
                  <a:pt x="1836995" y="1059571"/>
                  <a:pt x="1826761" y="1076160"/>
                  <a:pt x="1803528" y="1097402"/>
                </a:cubicBezTo>
                <a:cubicBezTo>
                  <a:pt x="1808782" y="1102763"/>
                  <a:pt x="1804911" y="1107821"/>
                  <a:pt x="1814038" y="1113991"/>
                </a:cubicBezTo>
                <a:cubicBezTo>
                  <a:pt x="1821230" y="1118341"/>
                  <a:pt x="1816251" y="1107214"/>
                  <a:pt x="1823718" y="1108731"/>
                </a:cubicBezTo>
                <a:cubicBezTo>
                  <a:pt x="1827315" y="1112373"/>
                  <a:pt x="1828974" y="1114092"/>
                  <a:pt x="1825102" y="1116217"/>
                </a:cubicBezTo>
                <a:cubicBezTo>
                  <a:pt x="1828974" y="1116925"/>
                  <a:pt x="1832845" y="1114902"/>
                  <a:pt x="1836442" y="1118543"/>
                </a:cubicBezTo>
                <a:cubicBezTo>
                  <a:pt x="1842251" y="1112575"/>
                  <a:pt x="1833123" y="1103471"/>
                  <a:pt x="1846675" y="1096087"/>
                </a:cubicBezTo>
                <a:cubicBezTo>
                  <a:pt x="1846123" y="1107517"/>
                  <a:pt x="1865206" y="1102763"/>
                  <a:pt x="1860782" y="1113485"/>
                </a:cubicBezTo>
                <a:cubicBezTo>
                  <a:pt x="1868527" y="1112170"/>
                  <a:pt x="1876270" y="1105090"/>
                  <a:pt x="1887058" y="1116014"/>
                </a:cubicBezTo>
                <a:cubicBezTo>
                  <a:pt x="1881250" y="1119150"/>
                  <a:pt x="1864653" y="1111361"/>
                  <a:pt x="1875441" y="1122185"/>
                </a:cubicBezTo>
                <a:cubicBezTo>
                  <a:pt x="1867972" y="1123601"/>
                  <a:pt x="1866590" y="1113182"/>
                  <a:pt x="1858845" y="1117329"/>
                </a:cubicBezTo>
                <a:cubicBezTo>
                  <a:pt x="1856910" y="1118442"/>
                  <a:pt x="1860505" y="1122083"/>
                  <a:pt x="1864101" y="1122791"/>
                </a:cubicBezTo>
                <a:cubicBezTo>
                  <a:pt x="1860229" y="1130580"/>
                  <a:pt x="1851101" y="1121578"/>
                  <a:pt x="1847228" y="1126534"/>
                </a:cubicBezTo>
                <a:cubicBezTo>
                  <a:pt x="1845016" y="1133311"/>
                  <a:pt x="1856633" y="1127040"/>
                  <a:pt x="1861887" y="1132401"/>
                </a:cubicBezTo>
                <a:cubicBezTo>
                  <a:pt x="1854144" y="1139482"/>
                  <a:pt x="1855526" y="1147068"/>
                  <a:pt x="1866590" y="1155059"/>
                </a:cubicBezTo>
                <a:cubicBezTo>
                  <a:pt x="1845846" y="1155160"/>
                  <a:pt x="1853038" y="1168108"/>
                  <a:pt x="1840313" y="1158296"/>
                </a:cubicBezTo>
                <a:cubicBezTo>
                  <a:pt x="1820952" y="1168715"/>
                  <a:pt x="1827038" y="1201792"/>
                  <a:pt x="1806847" y="1193295"/>
                </a:cubicBezTo>
                <a:cubicBezTo>
                  <a:pt x="1797166" y="1201387"/>
                  <a:pt x="1817633" y="1201286"/>
                  <a:pt x="1806294" y="1207557"/>
                </a:cubicBezTo>
                <a:cubicBezTo>
                  <a:pt x="1794954" y="1205231"/>
                  <a:pt x="1806569" y="1201792"/>
                  <a:pt x="1802975" y="1198251"/>
                </a:cubicBezTo>
                <a:cubicBezTo>
                  <a:pt x="1786379" y="1193295"/>
                  <a:pt x="1794677" y="1213829"/>
                  <a:pt x="1785272" y="1213323"/>
                </a:cubicBezTo>
                <a:cubicBezTo>
                  <a:pt x="1790804" y="1218785"/>
                  <a:pt x="1792741" y="1217774"/>
                  <a:pt x="1801868" y="1223944"/>
                </a:cubicBezTo>
                <a:cubicBezTo>
                  <a:pt x="1797996" y="1226068"/>
                  <a:pt x="1796060" y="1227080"/>
                  <a:pt x="1795783" y="1230013"/>
                </a:cubicBezTo>
                <a:cubicBezTo>
                  <a:pt x="1786656" y="1226675"/>
                  <a:pt x="1792464" y="1223438"/>
                  <a:pt x="1788869" y="1219797"/>
                </a:cubicBezTo>
                <a:cubicBezTo>
                  <a:pt x="1788591" y="1222629"/>
                  <a:pt x="1786656" y="1223640"/>
                  <a:pt x="1784720" y="1224753"/>
                </a:cubicBezTo>
                <a:cubicBezTo>
                  <a:pt x="1784720" y="1227585"/>
                  <a:pt x="1788591" y="1225562"/>
                  <a:pt x="1792188" y="1229204"/>
                </a:cubicBezTo>
                <a:cubicBezTo>
                  <a:pt x="1770890" y="1240735"/>
                  <a:pt x="1758996" y="1255605"/>
                  <a:pt x="1762039" y="1273509"/>
                </a:cubicBezTo>
                <a:cubicBezTo>
                  <a:pt x="1752635" y="1275835"/>
                  <a:pt x="1752359" y="1281601"/>
                  <a:pt x="1752082" y="1287265"/>
                </a:cubicBezTo>
                <a:cubicBezTo>
                  <a:pt x="1754018" y="1289086"/>
                  <a:pt x="1757614" y="1292728"/>
                  <a:pt x="1759550" y="1291716"/>
                </a:cubicBezTo>
                <a:cubicBezTo>
                  <a:pt x="1744338" y="1294346"/>
                  <a:pt x="1730508" y="1313160"/>
                  <a:pt x="1735486" y="1327119"/>
                </a:cubicBezTo>
                <a:cubicBezTo>
                  <a:pt x="1729954" y="1321657"/>
                  <a:pt x="1729678" y="1327423"/>
                  <a:pt x="1724422" y="1324793"/>
                </a:cubicBezTo>
                <a:cubicBezTo>
                  <a:pt x="1717785" y="1347957"/>
                  <a:pt x="1709486" y="1363635"/>
                  <a:pt x="1693722" y="1383461"/>
                </a:cubicBezTo>
                <a:cubicBezTo>
                  <a:pt x="1697317" y="1387103"/>
                  <a:pt x="1705062" y="1382955"/>
                  <a:pt x="1698977" y="1388923"/>
                </a:cubicBezTo>
                <a:cubicBezTo>
                  <a:pt x="1700913" y="1390744"/>
                  <a:pt x="1702849" y="1389632"/>
                  <a:pt x="1704509" y="1391452"/>
                </a:cubicBezTo>
                <a:cubicBezTo>
                  <a:pt x="1714189" y="1386192"/>
                  <a:pt x="1703125" y="1383866"/>
                  <a:pt x="1705062" y="1380022"/>
                </a:cubicBezTo>
                <a:cubicBezTo>
                  <a:pt x="1706998" y="1378909"/>
                  <a:pt x="1710870" y="1376886"/>
                  <a:pt x="1714466" y="1377696"/>
                </a:cubicBezTo>
                <a:cubicBezTo>
                  <a:pt x="1715849" y="1393779"/>
                  <a:pt x="1709486" y="1408345"/>
                  <a:pt x="1701190" y="1424023"/>
                </a:cubicBezTo>
                <a:cubicBezTo>
                  <a:pt x="1710317" y="1430194"/>
                  <a:pt x="1705338" y="1418966"/>
                  <a:pt x="1712530" y="1426249"/>
                </a:cubicBezTo>
                <a:cubicBezTo>
                  <a:pt x="1700636" y="1441118"/>
                  <a:pt x="1696211" y="1457606"/>
                  <a:pt x="1700913" y="1474397"/>
                </a:cubicBezTo>
                <a:cubicBezTo>
                  <a:pt x="1708381" y="1478848"/>
                  <a:pt x="1712252" y="1470958"/>
                  <a:pt x="1721381" y="1477128"/>
                </a:cubicBezTo>
                <a:cubicBezTo>
                  <a:pt x="1729401" y="1464383"/>
                  <a:pt x="1739359" y="1453459"/>
                  <a:pt x="1737975" y="1443040"/>
                </a:cubicBezTo>
                <a:cubicBezTo>
                  <a:pt x="1756508" y="1444052"/>
                  <a:pt x="1745997" y="1430295"/>
                  <a:pt x="1748487" y="1417752"/>
                </a:cubicBezTo>
                <a:cubicBezTo>
                  <a:pt x="1754571" y="1406018"/>
                  <a:pt x="1770060" y="1391958"/>
                  <a:pt x="1776422" y="1377392"/>
                </a:cubicBezTo>
                <a:cubicBezTo>
                  <a:pt x="1780848" y="1363838"/>
                  <a:pt x="1796336" y="1346945"/>
                  <a:pt x="1809889" y="1336729"/>
                </a:cubicBezTo>
                <a:cubicBezTo>
                  <a:pt x="1813762" y="1334706"/>
                  <a:pt x="1806569" y="1330255"/>
                  <a:pt x="1810443" y="1325299"/>
                </a:cubicBezTo>
                <a:cubicBezTo>
                  <a:pt x="1815974" y="1327827"/>
                  <a:pt x="1818186" y="1323882"/>
                  <a:pt x="1820123" y="1322871"/>
                </a:cubicBezTo>
                <a:cubicBezTo>
                  <a:pt x="1813209" y="1306990"/>
                  <a:pt x="1835889" y="1300213"/>
                  <a:pt x="1829250" y="1284433"/>
                </a:cubicBezTo>
                <a:cubicBezTo>
                  <a:pt x="1869909" y="1250952"/>
                  <a:pt x="1875165" y="1214537"/>
                  <a:pt x="1919419" y="1190462"/>
                </a:cubicBezTo>
                <a:cubicBezTo>
                  <a:pt x="1923291" y="1185506"/>
                  <a:pt x="1919972" y="1178931"/>
                  <a:pt x="1923845" y="1173975"/>
                </a:cubicBezTo>
                <a:cubicBezTo>
                  <a:pt x="1932694" y="1185911"/>
                  <a:pt x="1938780" y="1174278"/>
                  <a:pt x="1944589" y="1171142"/>
                </a:cubicBezTo>
                <a:cubicBezTo>
                  <a:pt x="1949290" y="1190867"/>
                  <a:pt x="1920248" y="1212311"/>
                  <a:pt x="1906419" y="1233958"/>
                </a:cubicBezTo>
                <a:cubicBezTo>
                  <a:pt x="1910015" y="1237599"/>
                  <a:pt x="1911950" y="1233655"/>
                  <a:pt x="1913887" y="1232643"/>
                </a:cubicBezTo>
                <a:cubicBezTo>
                  <a:pt x="1911121" y="1253683"/>
                  <a:pt x="1863824" y="1259853"/>
                  <a:pt x="1870738" y="1272801"/>
                </a:cubicBezTo>
                <a:cubicBezTo>
                  <a:pt x="1846123" y="1277858"/>
                  <a:pt x="1848059" y="1321556"/>
                  <a:pt x="1823718" y="1320848"/>
                </a:cubicBezTo>
                <a:cubicBezTo>
                  <a:pt x="1817633" y="1332582"/>
                  <a:pt x="1819570" y="1334301"/>
                  <a:pt x="1811548" y="1344214"/>
                </a:cubicBezTo>
                <a:cubicBezTo>
                  <a:pt x="1807677" y="1346338"/>
                  <a:pt x="1819017" y="1345731"/>
                  <a:pt x="1820952" y="1344720"/>
                </a:cubicBezTo>
                <a:cubicBezTo>
                  <a:pt x="1802145" y="1388519"/>
                  <a:pt x="1783613" y="1423619"/>
                  <a:pt x="1763146" y="1465597"/>
                </a:cubicBezTo>
                <a:cubicBezTo>
                  <a:pt x="1775869" y="1475409"/>
                  <a:pt x="1784167" y="1459831"/>
                  <a:pt x="1788038" y="1457707"/>
                </a:cubicBezTo>
                <a:cubicBezTo>
                  <a:pt x="1791911" y="1449918"/>
                  <a:pt x="1791081" y="1430801"/>
                  <a:pt x="1799102" y="1418055"/>
                </a:cubicBezTo>
                <a:cubicBezTo>
                  <a:pt x="1809060" y="1401365"/>
                  <a:pt x="1817357" y="1385788"/>
                  <a:pt x="1823442" y="1374054"/>
                </a:cubicBezTo>
                <a:cubicBezTo>
                  <a:pt x="1827591" y="1363433"/>
                  <a:pt x="1841143" y="1356049"/>
                  <a:pt x="1845293" y="1345428"/>
                </a:cubicBezTo>
                <a:cubicBezTo>
                  <a:pt x="1859399" y="1323781"/>
                  <a:pt x="1866037" y="1300617"/>
                  <a:pt x="1879867" y="1281904"/>
                </a:cubicBezTo>
                <a:cubicBezTo>
                  <a:pt x="1897569" y="1260966"/>
                  <a:pt x="1917206" y="1241949"/>
                  <a:pt x="1934632" y="1223944"/>
                </a:cubicBezTo>
                <a:cubicBezTo>
                  <a:pt x="1901994" y="1286456"/>
                  <a:pt x="1839761" y="1339966"/>
                  <a:pt x="1822059" y="1402680"/>
                </a:cubicBezTo>
                <a:cubicBezTo>
                  <a:pt x="1810166" y="1417550"/>
                  <a:pt x="1805741" y="1433936"/>
                  <a:pt x="1793847" y="1448806"/>
                </a:cubicBezTo>
                <a:cubicBezTo>
                  <a:pt x="1791911" y="1449817"/>
                  <a:pt x="1793570" y="1454571"/>
                  <a:pt x="1795507" y="1456392"/>
                </a:cubicBezTo>
                <a:cubicBezTo>
                  <a:pt x="1771720" y="1486131"/>
                  <a:pt x="1782230" y="1502720"/>
                  <a:pt x="1750976" y="1530840"/>
                </a:cubicBezTo>
                <a:cubicBezTo>
                  <a:pt x="1751806" y="1513746"/>
                  <a:pt x="1767571" y="1496752"/>
                  <a:pt x="1766188" y="1480669"/>
                </a:cubicBezTo>
                <a:cubicBezTo>
                  <a:pt x="1750423" y="1497561"/>
                  <a:pt x="1742125" y="1521838"/>
                  <a:pt x="1739081" y="1545710"/>
                </a:cubicBezTo>
                <a:cubicBezTo>
                  <a:pt x="1723317" y="1568469"/>
                  <a:pt x="1710870" y="1591936"/>
                  <a:pt x="1711700" y="1616618"/>
                </a:cubicBezTo>
                <a:cubicBezTo>
                  <a:pt x="1696488" y="1624912"/>
                  <a:pt x="1697593" y="1643929"/>
                  <a:pt x="1700636" y="1656168"/>
                </a:cubicBezTo>
                <a:cubicBezTo>
                  <a:pt x="1690679" y="1669925"/>
                  <a:pt x="1687360" y="1702395"/>
                  <a:pt x="1686529" y="1725255"/>
                </a:cubicBezTo>
                <a:lnTo>
                  <a:pt x="1681545" y="1742230"/>
                </a:lnTo>
                <a:lnTo>
                  <a:pt x="1691784" y="1740092"/>
                </a:lnTo>
                <a:lnTo>
                  <a:pt x="1701362" y="1678371"/>
                </a:lnTo>
                <a:cubicBezTo>
                  <a:pt x="1708519" y="1648278"/>
                  <a:pt x="1719168" y="1619450"/>
                  <a:pt x="1737423" y="1588598"/>
                </a:cubicBezTo>
                <a:cubicBezTo>
                  <a:pt x="1728019" y="1629970"/>
                  <a:pt x="1724700" y="1665373"/>
                  <a:pt x="1711423" y="1708869"/>
                </a:cubicBezTo>
                <a:cubicBezTo>
                  <a:pt x="1715019" y="1712510"/>
                  <a:pt x="1716955" y="1711498"/>
                  <a:pt x="1720827" y="1709374"/>
                </a:cubicBezTo>
                <a:lnTo>
                  <a:pt x="1709790" y="1736333"/>
                </a:lnTo>
                <a:lnTo>
                  <a:pt x="1726327" y="1732881"/>
                </a:lnTo>
                <a:lnTo>
                  <a:pt x="1728606" y="1713800"/>
                </a:lnTo>
                <a:cubicBezTo>
                  <a:pt x="1729747" y="1698172"/>
                  <a:pt x="1732306" y="1682114"/>
                  <a:pt x="1752359" y="1672555"/>
                </a:cubicBezTo>
                <a:cubicBezTo>
                  <a:pt x="1745166" y="1665272"/>
                  <a:pt x="1741018" y="1673162"/>
                  <a:pt x="1737423" y="1672353"/>
                </a:cubicBezTo>
                <a:cubicBezTo>
                  <a:pt x="1728295" y="1666182"/>
                  <a:pt x="1743508" y="1663451"/>
                  <a:pt x="1730508" y="1659304"/>
                </a:cubicBezTo>
                <a:cubicBezTo>
                  <a:pt x="1740189" y="1651212"/>
                  <a:pt x="1744338" y="1643524"/>
                  <a:pt x="1746549" y="1633915"/>
                </a:cubicBezTo>
                <a:cubicBezTo>
                  <a:pt x="1756230" y="1628655"/>
                  <a:pt x="1748210" y="1641400"/>
                  <a:pt x="1755677" y="1642917"/>
                </a:cubicBezTo>
                <a:cubicBezTo>
                  <a:pt x="1777252" y="1617123"/>
                  <a:pt x="1785825" y="1592847"/>
                  <a:pt x="1793018" y="1558253"/>
                </a:cubicBezTo>
                <a:cubicBezTo>
                  <a:pt x="1789422" y="1554611"/>
                  <a:pt x="1786933" y="1564221"/>
                  <a:pt x="1783059" y="1566345"/>
                </a:cubicBezTo>
                <a:cubicBezTo>
                  <a:pt x="1776145" y="1556230"/>
                  <a:pt x="1780293" y="1548340"/>
                  <a:pt x="1793294" y="1549655"/>
                </a:cubicBezTo>
                <a:cubicBezTo>
                  <a:pt x="1794954" y="1551475"/>
                  <a:pt x="1791357" y="1553600"/>
                  <a:pt x="1793018" y="1555319"/>
                </a:cubicBezTo>
                <a:cubicBezTo>
                  <a:pt x="1808230" y="1552689"/>
                  <a:pt x="1811272" y="1523153"/>
                  <a:pt x="1817357" y="1514251"/>
                </a:cubicBezTo>
                <a:cubicBezTo>
                  <a:pt x="1806294" y="1509093"/>
                  <a:pt x="1806294" y="1512026"/>
                  <a:pt x="1802421" y="1514049"/>
                </a:cubicBezTo>
                <a:cubicBezTo>
                  <a:pt x="1798549" y="1468632"/>
                  <a:pt x="1872399" y="1456291"/>
                  <a:pt x="1870463" y="1412593"/>
                </a:cubicBezTo>
                <a:cubicBezTo>
                  <a:pt x="1876270" y="1409457"/>
                  <a:pt x="1881802" y="1412087"/>
                  <a:pt x="1887334" y="1411784"/>
                </a:cubicBezTo>
                <a:cubicBezTo>
                  <a:pt x="1885675" y="1404197"/>
                  <a:pt x="1887887" y="1400354"/>
                  <a:pt x="1897292" y="1397926"/>
                </a:cubicBezTo>
                <a:cubicBezTo>
                  <a:pt x="1890100" y="1390744"/>
                  <a:pt x="1899780" y="1382652"/>
                  <a:pt x="1894526" y="1374358"/>
                </a:cubicBezTo>
                <a:cubicBezTo>
                  <a:pt x="1921079" y="1365456"/>
                  <a:pt x="1932972" y="1353318"/>
                  <a:pt x="1950397" y="1338246"/>
                </a:cubicBezTo>
                <a:cubicBezTo>
                  <a:pt x="1953993" y="1344720"/>
                  <a:pt x="1946248" y="1348867"/>
                  <a:pt x="1947908" y="1353520"/>
                </a:cubicBezTo>
                <a:cubicBezTo>
                  <a:pt x="1959248" y="1355847"/>
                  <a:pt x="1955929" y="1348766"/>
                  <a:pt x="1960631" y="1345934"/>
                </a:cubicBezTo>
                <a:lnTo>
                  <a:pt x="1965333" y="1345327"/>
                </a:lnTo>
                <a:lnTo>
                  <a:pt x="1965886" y="1342292"/>
                </a:lnTo>
                <a:lnTo>
                  <a:pt x="1966715" y="1341382"/>
                </a:lnTo>
                <a:lnTo>
                  <a:pt x="1961461" y="1340573"/>
                </a:lnTo>
                <a:lnTo>
                  <a:pt x="1979992" y="1321253"/>
                </a:lnTo>
                <a:lnTo>
                  <a:pt x="1978609" y="1318420"/>
                </a:lnTo>
                <a:cubicBezTo>
                  <a:pt x="1976119" y="1311946"/>
                  <a:pt x="1970312" y="1322567"/>
                  <a:pt x="1968929" y="1313464"/>
                </a:cubicBezTo>
                <a:cubicBezTo>
                  <a:pt x="1975014" y="1309822"/>
                  <a:pt x="1969759" y="1308608"/>
                  <a:pt x="1979716" y="1308811"/>
                </a:cubicBezTo>
                <a:cubicBezTo>
                  <a:pt x="1980269" y="1303955"/>
                  <a:pt x="1980822" y="1299100"/>
                  <a:pt x="1973631" y="1293638"/>
                </a:cubicBezTo>
                <a:cubicBezTo>
                  <a:pt x="1975566" y="1286153"/>
                  <a:pt x="1981928" y="1289390"/>
                  <a:pt x="1983864" y="1282005"/>
                </a:cubicBezTo>
                <a:cubicBezTo>
                  <a:pt x="1966993" y="1283320"/>
                  <a:pt x="1987460" y="1278870"/>
                  <a:pt x="1985524" y="1267541"/>
                </a:cubicBezTo>
                <a:cubicBezTo>
                  <a:pt x="1983864" y="1263292"/>
                  <a:pt x="1976950" y="1264708"/>
                  <a:pt x="1974184" y="1258235"/>
                </a:cubicBezTo>
                <a:cubicBezTo>
                  <a:pt x="1974737" y="1253480"/>
                  <a:pt x="1976397" y="1250850"/>
                  <a:pt x="1974461" y="1246501"/>
                </a:cubicBezTo>
                <a:cubicBezTo>
                  <a:pt x="2002119" y="1228698"/>
                  <a:pt x="1989396" y="1184494"/>
                  <a:pt x="2011524" y="1158599"/>
                </a:cubicBezTo>
                <a:lnTo>
                  <a:pt x="2008758" y="1152025"/>
                </a:lnTo>
                <a:lnTo>
                  <a:pt x="1989673" y="1168512"/>
                </a:lnTo>
                <a:cubicBezTo>
                  <a:pt x="1990226" y="1159914"/>
                  <a:pt x="1996310" y="1153036"/>
                  <a:pt x="2004332" y="1146259"/>
                </a:cubicBezTo>
                <a:lnTo>
                  <a:pt x="2012077" y="1139482"/>
                </a:lnTo>
                <a:lnTo>
                  <a:pt x="2023139" y="1120971"/>
                </a:lnTo>
                <a:cubicBezTo>
                  <a:pt x="2035587" y="1091839"/>
                  <a:pt x="2040566" y="1057649"/>
                  <a:pt x="2062139" y="1037014"/>
                </a:cubicBezTo>
                <a:cubicBezTo>
                  <a:pt x="2065735" y="1015064"/>
                  <a:pt x="2070161" y="995339"/>
                  <a:pt x="2091182" y="979054"/>
                </a:cubicBezTo>
                <a:cubicBezTo>
                  <a:pt x="2103905" y="936266"/>
                  <a:pt x="2138201" y="898233"/>
                  <a:pt x="2156456" y="856660"/>
                </a:cubicBezTo>
                <a:cubicBezTo>
                  <a:pt x="2150648" y="848567"/>
                  <a:pt x="2152031" y="864651"/>
                  <a:pt x="2145393" y="854333"/>
                </a:cubicBezTo>
                <a:cubicBezTo>
                  <a:pt x="2148988" y="844218"/>
                  <a:pt x="2160329" y="841790"/>
                  <a:pt x="2170839" y="837036"/>
                </a:cubicBezTo>
                <a:cubicBezTo>
                  <a:pt x="2182732" y="822773"/>
                  <a:pt x="2177478" y="809826"/>
                  <a:pt x="2192137" y="797182"/>
                </a:cubicBezTo>
                <a:cubicBezTo>
                  <a:pt x="2200435" y="792933"/>
                  <a:pt x="2204029" y="801633"/>
                  <a:pt x="2209008" y="795766"/>
                </a:cubicBezTo>
                <a:cubicBezTo>
                  <a:pt x="2205689" y="787168"/>
                  <a:pt x="2209285" y="783931"/>
                  <a:pt x="2199052" y="776850"/>
                </a:cubicBezTo>
                <a:cubicBezTo>
                  <a:pt x="2205966" y="775333"/>
                  <a:pt x="2207903" y="767848"/>
                  <a:pt x="2203200" y="768859"/>
                </a:cubicBezTo>
                <a:cubicBezTo>
                  <a:pt x="2203754" y="764004"/>
                  <a:pt x="2218413" y="763195"/>
                  <a:pt x="2223391" y="757429"/>
                </a:cubicBezTo>
                <a:cubicBezTo>
                  <a:pt x="2221732" y="753079"/>
                  <a:pt x="2215924" y="763700"/>
                  <a:pt x="2214817" y="754597"/>
                </a:cubicBezTo>
                <a:cubicBezTo>
                  <a:pt x="2217030" y="754091"/>
                  <a:pt x="2213986" y="752371"/>
                  <a:pt x="2213157" y="750247"/>
                </a:cubicBezTo>
                <a:cubicBezTo>
                  <a:pt x="2240540" y="744178"/>
                  <a:pt x="2243306" y="720104"/>
                  <a:pt x="2260455" y="706954"/>
                </a:cubicBezTo>
                <a:cubicBezTo>
                  <a:pt x="2259625" y="704830"/>
                  <a:pt x="2256581" y="703110"/>
                  <a:pt x="2255476" y="700986"/>
                </a:cubicBezTo>
                <a:cubicBezTo>
                  <a:pt x="2267369" y="705437"/>
                  <a:pt x="2300836" y="665178"/>
                  <a:pt x="2299453" y="649095"/>
                </a:cubicBezTo>
                <a:cubicBezTo>
                  <a:pt x="2347857" y="614905"/>
                  <a:pt x="2366112" y="573332"/>
                  <a:pt x="2411195" y="537524"/>
                </a:cubicBezTo>
                <a:cubicBezTo>
                  <a:pt x="2414239" y="532163"/>
                  <a:pt x="2402621" y="534691"/>
                  <a:pt x="2402344" y="527712"/>
                </a:cubicBezTo>
                <a:cubicBezTo>
                  <a:pt x="2410090" y="528319"/>
                  <a:pt x="2415622" y="517799"/>
                  <a:pt x="2423643" y="525385"/>
                </a:cubicBezTo>
                <a:cubicBezTo>
                  <a:pt x="2428621" y="512539"/>
                  <a:pt x="2461259" y="500704"/>
                  <a:pt x="2456834" y="489881"/>
                </a:cubicBezTo>
                <a:cubicBezTo>
                  <a:pt x="2456556" y="482901"/>
                  <a:pt x="2464578" y="490589"/>
                  <a:pt x="2467344" y="485228"/>
                </a:cubicBezTo>
                <a:cubicBezTo>
                  <a:pt x="2471215" y="482092"/>
                  <a:pt x="2460982" y="481890"/>
                  <a:pt x="2464024" y="476630"/>
                </a:cubicBezTo>
                <a:cubicBezTo>
                  <a:pt x="2459599" y="484621"/>
                  <a:pt x="2461259" y="481991"/>
                  <a:pt x="2449642" y="484520"/>
                </a:cubicBezTo>
                <a:cubicBezTo>
                  <a:pt x="2446322" y="475821"/>
                  <a:pt x="2460705" y="474910"/>
                  <a:pt x="2465961" y="469145"/>
                </a:cubicBezTo>
                <a:cubicBezTo>
                  <a:pt x="2468450" y="475618"/>
                  <a:pt x="2471493" y="477338"/>
                  <a:pt x="2473982" y="476832"/>
                </a:cubicBezTo>
                <a:cubicBezTo>
                  <a:pt x="2482280" y="472584"/>
                  <a:pt x="2479514" y="466110"/>
                  <a:pt x="2491131" y="463581"/>
                </a:cubicBezTo>
                <a:cubicBezTo>
                  <a:pt x="2487812" y="461963"/>
                  <a:pt x="2483939" y="458220"/>
                  <a:pt x="2477854" y="461862"/>
                </a:cubicBezTo>
                <a:cubicBezTo>
                  <a:pt x="2478408" y="457006"/>
                  <a:pt x="2490854" y="456703"/>
                  <a:pt x="2491683" y="458827"/>
                </a:cubicBezTo>
                <a:cubicBezTo>
                  <a:pt x="2492514" y="442238"/>
                  <a:pt x="2537873" y="443857"/>
                  <a:pt x="2531512" y="421805"/>
                </a:cubicBezTo>
                <a:cubicBezTo>
                  <a:pt x="2544513" y="423626"/>
                  <a:pt x="2560002" y="406127"/>
                  <a:pt x="2561385" y="403497"/>
                </a:cubicBezTo>
                <a:cubicBezTo>
                  <a:pt x="2573830" y="391257"/>
                  <a:pt x="2591256" y="385188"/>
                  <a:pt x="2607021" y="374668"/>
                </a:cubicBezTo>
                <a:cubicBezTo>
                  <a:pt x="2616703" y="367891"/>
                  <a:pt x="2636894" y="356259"/>
                  <a:pt x="2633020" y="340681"/>
                </a:cubicBezTo>
                <a:cubicBezTo>
                  <a:pt x="2660957" y="341591"/>
                  <a:pt x="2686127" y="305480"/>
                  <a:pt x="2717658" y="303255"/>
                </a:cubicBezTo>
                <a:cubicBezTo>
                  <a:pt x="2721254" y="300119"/>
                  <a:pt x="2722635" y="297489"/>
                  <a:pt x="2720146" y="291015"/>
                </a:cubicBezTo>
                <a:cubicBezTo>
                  <a:pt x="2761083" y="282013"/>
                  <a:pt x="2777124" y="259658"/>
                  <a:pt x="2816954" y="241451"/>
                </a:cubicBezTo>
                <a:cubicBezTo>
                  <a:pt x="2818890" y="245800"/>
                  <a:pt x="2822761" y="249644"/>
                  <a:pt x="2824422" y="253892"/>
                </a:cubicBezTo>
                <a:cubicBezTo>
                  <a:pt x="2835761" y="251364"/>
                  <a:pt x="2831060" y="245497"/>
                  <a:pt x="2830783" y="238517"/>
                </a:cubicBezTo>
                <a:cubicBezTo>
                  <a:pt x="2849868" y="236595"/>
                  <a:pt x="2852357" y="224255"/>
                  <a:pt x="2867016" y="223445"/>
                </a:cubicBezTo>
                <a:cubicBezTo>
                  <a:pt x="2862591" y="231437"/>
                  <a:pt x="2848208" y="232246"/>
                  <a:pt x="2862591" y="243170"/>
                </a:cubicBezTo>
                <a:cubicBezTo>
                  <a:pt x="2853186" y="245193"/>
                  <a:pt x="2850144" y="243474"/>
                  <a:pt x="2845996" y="251465"/>
                </a:cubicBezTo>
                <a:cubicBezTo>
                  <a:pt x="2857059" y="260771"/>
                  <a:pt x="2858442" y="258141"/>
                  <a:pt x="2865079" y="268357"/>
                </a:cubicBezTo>
                <a:cubicBezTo>
                  <a:pt x="2858995" y="272100"/>
                  <a:pt x="2844612" y="291723"/>
                  <a:pt x="2831060" y="282923"/>
                </a:cubicBezTo>
                <a:cubicBezTo>
                  <a:pt x="2818059" y="299917"/>
                  <a:pt x="2772976" y="305177"/>
                  <a:pt x="2768549" y="324901"/>
                </a:cubicBezTo>
                <a:cubicBezTo>
                  <a:pt x="2755827" y="318326"/>
                  <a:pt x="2750571" y="335927"/>
                  <a:pt x="2738679" y="343311"/>
                </a:cubicBezTo>
                <a:cubicBezTo>
                  <a:pt x="2727892" y="347964"/>
                  <a:pt x="2683360" y="348369"/>
                  <a:pt x="2694701" y="376489"/>
                </a:cubicBezTo>
                <a:cubicBezTo>
                  <a:pt x="2686402" y="380636"/>
                  <a:pt x="2693040" y="372139"/>
                  <a:pt x="2685297" y="371533"/>
                </a:cubicBezTo>
                <a:cubicBezTo>
                  <a:pt x="2670084" y="377197"/>
                  <a:pt x="2655978" y="384986"/>
                  <a:pt x="2660126" y="395809"/>
                </a:cubicBezTo>
                <a:cubicBezTo>
                  <a:pt x="2649340" y="393483"/>
                  <a:pt x="2620575" y="402182"/>
                  <a:pt x="2627490" y="419479"/>
                </a:cubicBezTo>
                <a:cubicBezTo>
                  <a:pt x="2592363" y="424840"/>
                  <a:pt x="2540364" y="469145"/>
                  <a:pt x="2535938" y="507684"/>
                </a:cubicBezTo>
                <a:cubicBezTo>
                  <a:pt x="2532066" y="503941"/>
                  <a:pt x="2527364" y="504953"/>
                  <a:pt x="2521556" y="508594"/>
                </a:cubicBezTo>
                <a:cubicBezTo>
                  <a:pt x="2525427" y="512337"/>
                  <a:pt x="2532066" y="503840"/>
                  <a:pt x="2533172" y="512944"/>
                </a:cubicBezTo>
                <a:cubicBezTo>
                  <a:pt x="2501917" y="533983"/>
                  <a:pt x="2475918" y="574950"/>
                  <a:pt x="2443834" y="593764"/>
                </a:cubicBezTo>
                <a:cubicBezTo>
                  <a:pt x="2436641" y="588302"/>
                  <a:pt x="2446600" y="588403"/>
                  <a:pt x="2441621" y="582435"/>
                </a:cubicBezTo>
                <a:cubicBezTo>
                  <a:pt x="2428897" y="587594"/>
                  <a:pt x="2412578" y="602969"/>
                  <a:pt x="2424749" y="614400"/>
                </a:cubicBezTo>
                <a:cubicBezTo>
                  <a:pt x="2420324" y="622391"/>
                  <a:pt x="2415344" y="628156"/>
                  <a:pt x="2402621" y="633315"/>
                </a:cubicBezTo>
                <a:cubicBezTo>
                  <a:pt x="2397090" y="632202"/>
                  <a:pt x="2403175" y="628460"/>
                  <a:pt x="2401239" y="624211"/>
                </a:cubicBezTo>
                <a:cubicBezTo>
                  <a:pt x="2385472" y="627752"/>
                  <a:pt x="2392388" y="633214"/>
                  <a:pt x="2382706" y="639991"/>
                </a:cubicBezTo>
                <a:cubicBezTo>
                  <a:pt x="2386856" y="643835"/>
                  <a:pt x="2392388" y="633214"/>
                  <a:pt x="2395984" y="641913"/>
                </a:cubicBezTo>
                <a:cubicBezTo>
                  <a:pt x="2383814" y="649196"/>
                  <a:pt x="2387409" y="657794"/>
                  <a:pt x="2374686" y="662953"/>
                </a:cubicBezTo>
                <a:cubicBezTo>
                  <a:pt x="2371920" y="656479"/>
                  <a:pt x="2374686" y="651118"/>
                  <a:pt x="2384920" y="651320"/>
                </a:cubicBezTo>
                <a:cubicBezTo>
                  <a:pt x="2381600" y="649601"/>
                  <a:pt x="2377175" y="650612"/>
                  <a:pt x="2375516" y="646364"/>
                </a:cubicBezTo>
                <a:cubicBezTo>
                  <a:pt x="2366665" y="655366"/>
                  <a:pt x="2361409" y="661233"/>
                  <a:pt x="2371091" y="673169"/>
                </a:cubicBezTo>
                <a:cubicBezTo>
                  <a:pt x="2365282" y="676811"/>
                  <a:pt x="2364175" y="667606"/>
                  <a:pt x="2360857" y="665987"/>
                </a:cubicBezTo>
                <a:cubicBezTo>
                  <a:pt x="2326282" y="697142"/>
                  <a:pt x="2323517" y="739930"/>
                  <a:pt x="2283688" y="776951"/>
                </a:cubicBezTo>
                <a:cubicBezTo>
                  <a:pt x="2278156" y="775738"/>
                  <a:pt x="2272625" y="774625"/>
                  <a:pt x="2265709" y="776142"/>
                </a:cubicBezTo>
                <a:cubicBezTo>
                  <a:pt x="2267923" y="787471"/>
                  <a:pt x="2253540" y="795361"/>
                  <a:pt x="2265709" y="806791"/>
                </a:cubicBezTo>
                <a:cubicBezTo>
                  <a:pt x="2243306" y="825707"/>
                  <a:pt x="2235284" y="848668"/>
                  <a:pt x="2226987" y="871529"/>
                </a:cubicBezTo>
                <a:cubicBezTo>
                  <a:pt x="2171116" y="930804"/>
                  <a:pt x="2152031" y="1000802"/>
                  <a:pt x="2113308" y="1065640"/>
                </a:cubicBezTo>
                <a:cubicBezTo>
                  <a:pt x="2107224" y="1118644"/>
                  <a:pt x="2074310" y="1154048"/>
                  <a:pt x="2064904" y="1205433"/>
                </a:cubicBezTo>
                <a:cubicBezTo>
                  <a:pt x="2055778" y="1207456"/>
                  <a:pt x="2058819" y="1220909"/>
                  <a:pt x="2048863" y="1220707"/>
                </a:cubicBezTo>
                <a:cubicBezTo>
                  <a:pt x="2051352" y="1227181"/>
                  <a:pt x="2054395" y="1228900"/>
                  <a:pt x="2060480" y="1225259"/>
                </a:cubicBezTo>
                <a:lnTo>
                  <a:pt x="2055224" y="1237802"/>
                </a:lnTo>
                <a:lnTo>
                  <a:pt x="2085373" y="1208771"/>
                </a:lnTo>
                <a:cubicBezTo>
                  <a:pt x="2077904" y="1228192"/>
                  <a:pt x="2062416" y="1242961"/>
                  <a:pt x="2047204" y="1257830"/>
                </a:cubicBezTo>
                <a:lnTo>
                  <a:pt x="2043885" y="1261573"/>
                </a:lnTo>
                <a:lnTo>
                  <a:pt x="2047204" y="1265012"/>
                </a:lnTo>
                <a:cubicBezTo>
                  <a:pt x="2046927" y="1267439"/>
                  <a:pt x="2046374" y="1270575"/>
                  <a:pt x="2050246" y="1274419"/>
                </a:cubicBezTo>
                <a:cubicBezTo>
                  <a:pt x="2048033" y="1274925"/>
                  <a:pt x="2045820" y="1275430"/>
                  <a:pt x="2044438" y="1278060"/>
                </a:cubicBezTo>
                <a:lnTo>
                  <a:pt x="2042225" y="1293840"/>
                </a:lnTo>
                <a:lnTo>
                  <a:pt x="2052459" y="1284028"/>
                </a:lnTo>
                <a:cubicBezTo>
                  <a:pt x="2058819" y="1276240"/>
                  <a:pt x="2064076" y="1267844"/>
                  <a:pt x="2066287" y="1258235"/>
                </a:cubicBezTo>
                <a:cubicBezTo>
                  <a:pt x="2073756" y="1256920"/>
                  <a:pt x="2095054" y="1245388"/>
                  <a:pt x="2089799" y="1237094"/>
                </a:cubicBezTo>
                <a:lnTo>
                  <a:pt x="2099756" y="1233958"/>
                </a:lnTo>
                <a:lnTo>
                  <a:pt x="2100309" y="1232542"/>
                </a:lnTo>
                <a:cubicBezTo>
                  <a:pt x="2102245" y="1223640"/>
                  <a:pt x="2103075" y="1213525"/>
                  <a:pt x="2106393" y="1203410"/>
                </a:cubicBezTo>
                <a:cubicBezTo>
                  <a:pt x="2111373" y="1190564"/>
                  <a:pt x="2127690" y="1182168"/>
                  <a:pt x="2116351" y="1165984"/>
                </a:cubicBezTo>
                <a:cubicBezTo>
                  <a:pt x="2131840" y="1155464"/>
                  <a:pt x="2132117" y="1143629"/>
                  <a:pt x="2129351" y="1130176"/>
                </a:cubicBezTo>
                <a:cubicBezTo>
                  <a:pt x="2158393" y="1090928"/>
                  <a:pt x="2172498" y="1045612"/>
                  <a:pt x="2196009" y="1005151"/>
                </a:cubicBezTo>
                <a:cubicBezTo>
                  <a:pt x="2194350" y="1000802"/>
                  <a:pt x="2191860" y="1001409"/>
                  <a:pt x="2187988" y="997565"/>
                </a:cubicBezTo>
                <a:cubicBezTo>
                  <a:pt x="2201540" y="1006365"/>
                  <a:pt x="2211222" y="980672"/>
                  <a:pt x="2201818" y="982695"/>
                </a:cubicBezTo>
                <a:cubicBezTo>
                  <a:pt x="2226711" y="951439"/>
                  <a:pt x="2259072" y="902077"/>
                  <a:pt x="2270688" y="869000"/>
                </a:cubicBezTo>
                <a:cubicBezTo>
                  <a:pt x="2269859" y="866876"/>
                  <a:pt x="2275667" y="863234"/>
                  <a:pt x="2276773" y="865359"/>
                </a:cubicBezTo>
                <a:cubicBezTo>
                  <a:pt x="2282582" y="861717"/>
                  <a:pt x="2274837" y="861009"/>
                  <a:pt x="2275389" y="856255"/>
                </a:cubicBezTo>
                <a:cubicBezTo>
                  <a:pt x="2286176" y="851501"/>
                  <a:pt x="2299453" y="841588"/>
                  <a:pt x="2295028" y="830764"/>
                </a:cubicBezTo>
                <a:cubicBezTo>
                  <a:pt x="2318262" y="813973"/>
                  <a:pt x="2339559" y="774018"/>
                  <a:pt x="2360304" y="757732"/>
                </a:cubicBezTo>
                <a:cubicBezTo>
                  <a:pt x="2360857" y="752877"/>
                  <a:pt x="2361409" y="748022"/>
                  <a:pt x="2362792" y="745392"/>
                </a:cubicBezTo>
                <a:cubicBezTo>
                  <a:pt x="2368878" y="741649"/>
                  <a:pt x="2373303" y="740739"/>
                  <a:pt x="2380218" y="739222"/>
                </a:cubicBezTo>
                <a:cubicBezTo>
                  <a:pt x="2382154" y="731736"/>
                  <a:pt x="2385750" y="721621"/>
                  <a:pt x="2400685" y="715957"/>
                </a:cubicBezTo>
                <a:cubicBezTo>
                  <a:pt x="2405664" y="721925"/>
                  <a:pt x="2404281" y="724554"/>
                  <a:pt x="2414239" y="724656"/>
                </a:cubicBezTo>
                <a:cubicBezTo>
                  <a:pt x="2418387" y="716665"/>
                  <a:pt x="2406218" y="717069"/>
                  <a:pt x="2403452" y="710595"/>
                </a:cubicBezTo>
                <a:cubicBezTo>
                  <a:pt x="2407047" y="700480"/>
                  <a:pt x="2419493" y="707055"/>
                  <a:pt x="2426409" y="705538"/>
                </a:cubicBezTo>
                <a:cubicBezTo>
                  <a:pt x="2411195" y="692388"/>
                  <a:pt x="2417558" y="677013"/>
                  <a:pt x="2443003" y="678429"/>
                </a:cubicBezTo>
                <a:cubicBezTo>
                  <a:pt x="2451302" y="674282"/>
                  <a:pt x="2442174" y="664470"/>
                  <a:pt x="2451302" y="662447"/>
                </a:cubicBezTo>
                <a:cubicBezTo>
                  <a:pt x="2450471" y="660323"/>
                  <a:pt x="2448812" y="656074"/>
                  <a:pt x="2444387" y="656985"/>
                </a:cubicBezTo>
                <a:cubicBezTo>
                  <a:pt x="2447153" y="651725"/>
                  <a:pt x="2457110" y="651826"/>
                  <a:pt x="2451302" y="643734"/>
                </a:cubicBezTo>
                <a:cubicBezTo>
                  <a:pt x="2458216" y="642216"/>
                  <a:pt x="2477854" y="635540"/>
                  <a:pt x="2471215" y="625223"/>
                </a:cubicBezTo>
                <a:cubicBezTo>
                  <a:pt x="2475918" y="624211"/>
                  <a:pt x="2478408" y="630786"/>
                  <a:pt x="2482832" y="629775"/>
                </a:cubicBezTo>
                <a:cubicBezTo>
                  <a:pt x="2481727" y="620570"/>
                  <a:pt x="2493343" y="618041"/>
                  <a:pt x="2486705" y="607825"/>
                </a:cubicBezTo>
                <a:cubicBezTo>
                  <a:pt x="2493620" y="606307"/>
                  <a:pt x="2507173" y="603172"/>
                  <a:pt x="2500811" y="599935"/>
                </a:cubicBezTo>
                <a:cubicBezTo>
                  <a:pt x="2523215" y="580918"/>
                  <a:pt x="2536490" y="552191"/>
                  <a:pt x="2566640" y="540862"/>
                </a:cubicBezTo>
                <a:cubicBezTo>
                  <a:pt x="2570512" y="537625"/>
                  <a:pt x="2574108" y="534489"/>
                  <a:pt x="2571342" y="528015"/>
                </a:cubicBezTo>
                <a:cubicBezTo>
                  <a:pt x="2602043" y="523565"/>
                  <a:pt x="2614766" y="480878"/>
                  <a:pt x="2652106" y="474910"/>
                </a:cubicBezTo>
                <a:cubicBezTo>
                  <a:pt x="2655702" y="471775"/>
                  <a:pt x="2651000" y="465908"/>
                  <a:pt x="2654595" y="462671"/>
                </a:cubicBezTo>
                <a:cubicBezTo>
                  <a:pt x="2665106" y="458018"/>
                  <a:pt x="2670914" y="466110"/>
                  <a:pt x="2678659" y="466818"/>
                </a:cubicBezTo>
                <a:cubicBezTo>
                  <a:pt x="2685297" y="458321"/>
                  <a:pt x="2680318" y="433640"/>
                  <a:pt x="2706041" y="442036"/>
                </a:cubicBezTo>
                <a:cubicBezTo>
                  <a:pt x="2713509" y="435663"/>
                  <a:pt x="2709084" y="424941"/>
                  <a:pt x="2714062" y="419074"/>
                </a:cubicBezTo>
                <a:cubicBezTo>
                  <a:pt x="2719594" y="420288"/>
                  <a:pt x="2722913" y="421805"/>
                  <a:pt x="2727339" y="420794"/>
                </a:cubicBezTo>
                <a:cubicBezTo>
                  <a:pt x="2726232" y="411690"/>
                  <a:pt x="2747805" y="397529"/>
                  <a:pt x="2762741" y="403598"/>
                </a:cubicBezTo>
                <a:cubicBezTo>
                  <a:pt x="2763019" y="391864"/>
                  <a:pt x="2774912" y="384581"/>
                  <a:pt x="2783763" y="375579"/>
                </a:cubicBezTo>
                <a:cubicBezTo>
                  <a:pt x="2831889" y="371937"/>
                  <a:pt x="2872272" y="323182"/>
                  <a:pt x="2925376" y="313775"/>
                </a:cubicBezTo>
                <a:lnTo>
                  <a:pt x="2929525" y="312156"/>
                </a:lnTo>
                <a:lnTo>
                  <a:pt x="2914866" y="334309"/>
                </a:lnTo>
                <a:cubicBezTo>
                  <a:pt x="2905738" y="343311"/>
                  <a:pt x="2894398" y="351100"/>
                  <a:pt x="2882781" y="356056"/>
                </a:cubicBezTo>
                <a:cubicBezTo>
                  <a:pt x="2877527" y="361822"/>
                  <a:pt x="2886653" y="371634"/>
                  <a:pt x="2891910" y="372746"/>
                </a:cubicBezTo>
                <a:cubicBezTo>
                  <a:pt x="2918186" y="357574"/>
                  <a:pt x="2959674" y="355449"/>
                  <a:pt x="2958843" y="334612"/>
                </a:cubicBezTo>
                <a:cubicBezTo>
                  <a:pt x="2968802" y="334713"/>
                  <a:pt x="2981525" y="329554"/>
                  <a:pt x="2990928" y="334511"/>
                </a:cubicBezTo>
                <a:cubicBezTo>
                  <a:pt x="2961609" y="347964"/>
                  <a:pt x="2944462" y="361114"/>
                  <a:pt x="2912929" y="375174"/>
                </a:cubicBezTo>
                <a:cubicBezTo>
                  <a:pt x="2915420" y="381648"/>
                  <a:pt x="2909611" y="385289"/>
                  <a:pt x="2915143" y="393483"/>
                </a:cubicBezTo>
                <a:cubicBezTo>
                  <a:pt x="2920122" y="399451"/>
                  <a:pt x="2920398" y="387616"/>
                  <a:pt x="2926483" y="390954"/>
                </a:cubicBezTo>
                <a:cubicBezTo>
                  <a:pt x="2928419" y="395202"/>
                  <a:pt x="2929249" y="397428"/>
                  <a:pt x="2924547" y="398439"/>
                </a:cubicBezTo>
                <a:cubicBezTo>
                  <a:pt x="2927866" y="400058"/>
                  <a:pt x="2932292" y="399046"/>
                  <a:pt x="2933951" y="403396"/>
                </a:cubicBezTo>
                <a:cubicBezTo>
                  <a:pt x="2942249" y="399147"/>
                  <a:pt x="2938099" y="388425"/>
                  <a:pt x="2953866" y="384885"/>
                </a:cubicBezTo>
                <a:cubicBezTo>
                  <a:pt x="2948333" y="395506"/>
                  <a:pt x="2968248" y="395809"/>
                  <a:pt x="2959397" y="404812"/>
                </a:cubicBezTo>
                <a:cubicBezTo>
                  <a:pt x="2967141" y="405419"/>
                  <a:pt x="2977651" y="400766"/>
                  <a:pt x="2982908" y="413713"/>
                </a:cubicBezTo>
                <a:cubicBezTo>
                  <a:pt x="2975993" y="415230"/>
                  <a:pt x="2964100" y="403800"/>
                  <a:pt x="2969355" y="416748"/>
                </a:cubicBezTo>
                <a:cubicBezTo>
                  <a:pt x="2961609" y="416141"/>
                  <a:pt x="2964929" y="406026"/>
                  <a:pt x="2955802" y="408049"/>
                </a:cubicBezTo>
                <a:cubicBezTo>
                  <a:pt x="2953589" y="408554"/>
                  <a:pt x="2955249" y="412803"/>
                  <a:pt x="2958291" y="414421"/>
                </a:cubicBezTo>
                <a:cubicBezTo>
                  <a:pt x="2950823" y="420794"/>
                  <a:pt x="2946674" y="409970"/>
                  <a:pt x="2940589" y="413612"/>
                </a:cubicBezTo>
                <a:cubicBezTo>
                  <a:pt x="2935610" y="419479"/>
                  <a:pt x="2949163" y="416545"/>
                  <a:pt x="2951929" y="423019"/>
                </a:cubicBezTo>
                <a:cubicBezTo>
                  <a:pt x="2941418" y="427672"/>
                  <a:pt x="2939205" y="435157"/>
                  <a:pt x="2945845" y="445374"/>
                </a:cubicBezTo>
                <a:cubicBezTo>
                  <a:pt x="2926483" y="440316"/>
                  <a:pt x="2927037" y="454275"/>
                  <a:pt x="2919569" y="441834"/>
                </a:cubicBezTo>
                <a:cubicBezTo>
                  <a:pt x="2896888" y="446891"/>
                  <a:pt x="2887484" y="479361"/>
                  <a:pt x="2872272" y="466312"/>
                </a:cubicBezTo>
                <a:cubicBezTo>
                  <a:pt x="2859549" y="471471"/>
                  <a:pt x="2878910" y="476630"/>
                  <a:pt x="2865079" y="479665"/>
                </a:cubicBezTo>
                <a:cubicBezTo>
                  <a:pt x="2855676" y="474708"/>
                  <a:pt x="2868122" y="474303"/>
                  <a:pt x="2866463" y="469954"/>
                </a:cubicBezTo>
                <a:cubicBezTo>
                  <a:pt x="2852910" y="461255"/>
                  <a:pt x="2851526" y="482598"/>
                  <a:pt x="2842953" y="479867"/>
                </a:cubicBezTo>
                <a:cubicBezTo>
                  <a:pt x="2845441" y="486239"/>
                  <a:pt x="2847654" y="485734"/>
                  <a:pt x="2853464" y="493927"/>
                </a:cubicBezTo>
                <a:cubicBezTo>
                  <a:pt x="2849037" y="494939"/>
                  <a:pt x="2846549" y="495444"/>
                  <a:pt x="2845166" y="498074"/>
                </a:cubicBezTo>
                <a:cubicBezTo>
                  <a:pt x="2837974" y="492612"/>
                  <a:pt x="2844889" y="491095"/>
                  <a:pt x="2843230" y="486846"/>
                </a:cubicBezTo>
                <a:cubicBezTo>
                  <a:pt x="2841846" y="489476"/>
                  <a:pt x="2839634" y="489982"/>
                  <a:pt x="2837421" y="490488"/>
                </a:cubicBezTo>
                <a:cubicBezTo>
                  <a:pt x="2835761" y="493118"/>
                  <a:pt x="2840464" y="492106"/>
                  <a:pt x="2842123" y="496456"/>
                </a:cubicBezTo>
                <a:cubicBezTo>
                  <a:pt x="2816954" y="502019"/>
                  <a:pt x="2798975" y="513045"/>
                  <a:pt x="2793720" y="530645"/>
                </a:cubicBezTo>
                <a:cubicBezTo>
                  <a:pt x="2783763" y="530443"/>
                  <a:pt x="2780997" y="535804"/>
                  <a:pt x="2777954" y="541165"/>
                </a:cubicBezTo>
                <a:cubicBezTo>
                  <a:pt x="2778784" y="543289"/>
                  <a:pt x="2780720" y="547538"/>
                  <a:pt x="2782932" y="547032"/>
                </a:cubicBezTo>
                <a:cubicBezTo>
                  <a:pt x="2767444" y="545717"/>
                  <a:pt x="2745870" y="559980"/>
                  <a:pt x="2744210" y="574444"/>
                </a:cubicBezTo>
                <a:cubicBezTo>
                  <a:pt x="2741445" y="567971"/>
                  <a:pt x="2738679" y="573230"/>
                  <a:pt x="2734806" y="569387"/>
                </a:cubicBezTo>
                <a:cubicBezTo>
                  <a:pt x="2717933" y="589516"/>
                  <a:pt x="2702998" y="602261"/>
                  <a:pt x="2679211" y="616928"/>
                </a:cubicBezTo>
                <a:cubicBezTo>
                  <a:pt x="2680871" y="621177"/>
                  <a:pt x="2689999" y="619255"/>
                  <a:pt x="2681701" y="623402"/>
                </a:cubicBezTo>
                <a:cubicBezTo>
                  <a:pt x="2682531" y="625526"/>
                  <a:pt x="2684744" y="625021"/>
                  <a:pt x="2685850" y="627246"/>
                </a:cubicBezTo>
                <a:cubicBezTo>
                  <a:pt x="2697190" y="624717"/>
                  <a:pt x="2687786" y="619659"/>
                  <a:pt x="2691382" y="616524"/>
                </a:cubicBezTo>
                <a:cubicBezTo>
                  <a:pt x="2693870" y="616018"/>
                  <a:pt x="2698297" y="615108"/>
                  <a:pt x="2701338" y="616726"/>
                </a:cubicBezTo>
                <a:cubicBezTo>
                  <a:pt x="2695253" y="632202"/>
                  <a:pt x="2682531" y="644239"/>
                  <a:pt x="2667872" y="656985"/>
                </a:cubicBezTo>
                <a:cubicBezTo>
                  <a:pt x="2673680" y="665077"/>
                  <a:pt x="2673680" y="653242"/>
                  <a:pt x="2677276" y="661941"/>
                </a:cubicBezTo>
                <a:cubicBezTo>
                  <a:pt x="2659297" y="672866"/>
                  <a:pt x="2647681" y="687229"/>
                  <a:pt x="2644638" y="704324"/>
                </a:cubicBezTo>
                <a:cubicBezTo>
                  <a:pt x="2649616" y="710292"/>
                  <a:pt x="2656807" y="704021"/>
                  <a:pt x="2662616" y="712113"/>
                </a:cubicBezTo>
                <a:cubicBezTo>
                  <a:pt x="2675892" y="702099"/>
                  <a:pt x="2690274" y="694310"/>
                  <a:pt x="2693595" y="684094"/>
                </a:cubicBezTo>
                <a:cubicBezTo>
                  <a:pt x="2710743" y="689758"/>
                  <a:pt x="2706870" y="674079"/>
                  <a:pt x="2714892" y="662953"/>
                </a:cubicBezTo>
                <a:cubicBezTo>
                  <a:pt x="2725956" y="653444"/>
                  <a:pt x="2747253" y="644138"/>
                  <a:pt x="2759700" y="632000"/>
                </a:cubicBezTo>
                <a:cubicBezTo>
                  <a:pt x="2769933" y="620367"/>
                  <a:pt x="2792614" y="608330"/>
                  <a:pt x="2809762" y="602160"/>
                </a:cubicBezTo>
                <a:cubicBezTo>
                  <a:pt x="2814464" y="601149"/>
                  <a:pt x="2809762" y="595079"/>
                  <a:pt x="2815571" y="591438"/>
                </a:cubicBezTo>
                <a:cubicBezTo>
                  <a:pt x="2819720" y="595282"/>
                  <a:pt x="2823315" y="592146"/>
                  <a:pt x="2825527" y="591640"/>
                </a:cubicBezTo>
                <a:cubicBezTo>
                  <a:pt x="2826358" y="575051"/>
                  <a:pt x="2850974" y="574343"/>
                  <a:pt x="2851803" y="557754"/>
                </a:cubicBezTo>
                <a:cubicBezTo>
                  <a:pt x="2905461" y="536512"/>
                  <a:pt x="2927037" y="503536"/>
                  <a:pt x="2979589" y="492005"/>
                </a:cubicBezTo>
                <a:cubicBezTo>
                  <a:pt x="2985396" y="488262"/>
                  <a:pt x="2985120" y="481384"/>
                  <a:pt x="2991204" y="477641"/>
                </a:cubicBezTo>
                <a:cubicBezTo>
                  <a:pt x="2993970" y="491095"/>
                  <a:pt x="3005034" y="481586"/>
                  <a:pt x="3011950" y="480069"/>
                </a:cubicBezTo>
                <a:cubicBezTo>
                  <a:pt x="3007524" y="499895"/>
                  <a:pt x="2970460" y="512741"/>
                  <a:pt x="2947504" y="529533"/>
                </a:cubicBezTo>
                <a:cubicBezTo>
                  <a:pt x="2949163" y="533882"/>
                  <a:pt x="2952759" y="530746"/>
                  <a:pt x="2954972" y="530241"/>
                </a:cubicBezTo>
                <a:cubicBezTo>
                  <a:pt x="2942801" y="549359"/>
                  <a:pt x="2895781" y="543289"/>
                  <a:pt x="2896335" y="557248"/>
                </a:cubicBezTo>
                <a:cubicBezTo>
                  <a:pt x="2870888" y="555832"/>
                  <a:pt x="2852910" y="597406"/>
                  <a:pt x="2830229" y="590629"/>
                </a:cubicBezTo>
                <a:cubicBezTo>
                  <a:pt x="2819165" y="600137"/>
                  <a:pt x="2819996" y="602261"/>
                  <a:pt x="2807826" y="609645"/>
                </a:cubicBezTo>
                <a:cubicBezTo>
                  <a:pt x="2803400" y="610657"/>
                  <a:pt x="2814188" y="612983"/>
                  <a:pt x="2816401" y="612478"/>
                </a:cubicBezTo>
                <a:cubicBezTo>
                  <a:pt x="2778784" y="648892"/>
                  <a:pt x="2745593" y="677316"/>
                  <a:pt x="2707147" y="711607"/>
                </a:cubicBezTo>
                <a:cubicBezTo>
                  <a:pt x="2714615" y="724049"/>
                  <a:pt x="2729551" y="711405"/>
                  <a:pt x="2733977" y="710393"/>
                </a:cubicBezTo>
                <a:cubicBezTo>
                  <a:pt x="2741445" y="704021"/>
                  <a:pt x="2749189" y="686015"/>
                  <a:pt x="2762465" y="676001"/>
                </a:cubicBezTo>
                <a:cubicBezTo>
                  <a:pt x="2779614" y="662852"/>
                  <a:pt x="2794273" y="650207"/>
                  <a:pt x="2805337" y="640699"/>
                </a:cubicBezTo>
                <a:cubicBezTo>
                  <a:pt x="2814188" y="631697"/>
                  <a:pt x="2830229" y="628156"/>
                  <a:pt x="2839080" y="619154"/>
                </a:cubicBezTo>
                <a:cubicBezTo>
                  <a:pt x="2862313" y="602362"/>
                  <a:pt x="2878910" y="582233"/>
                  <a:pt x="2900760" y="568072"/>
                </a:cubicBezTo>
                <a:cubicBezTo>
                  <a:pt x="2926759" y="552899"/>
                  <a:pt x="2953866" y="539850"/>
                  <a:pt x="2978759" y="527307"/>
                </a:cubicBezTo>
                <a:cubicBezTo>
                  <a:pt x="2919569" y="577985"/>
                  <a:pt x="2836592" y="612680"/>
                  <a:pt x="2791231" y="667201"/>
                </a:cubicBezTo>
                <a:cubicBezTo>
                  <a:pt x="2773252" y="678227"/>
                  <a:pt x="2761635" y="692590"/>
                  <a:pt x="2743657" y="703616"/>
                </a:cubicBezTo>
                <a:cubicBezTo>
                  <a:pt x="2741445" y="704122"/>
                  <a:pt x="2740891" y="708876"/>
                  <a:pt x="2741721" y="711101"/>
                </a:cubicBezTo>
                <a:cubicBezTo>
                  <a:pt x="2705764" y="733051"/>
                  <a:pt x="2707977" y="751360"/>
                  <a:pt x="2665936" y="770073"/>
                </a:cubicBezTo>
                <a:cubicBezTo>
                  <a:pt x="2674509" y="754091"/>
                  <a:pt x="2696914" y="742054"/>
                  <a:pt x="2703275" y="726578"/>
                </a:cubicBezTo>
                <a:cubicBezTo>
                  <a:pt x="2680594" y="738615"/>
                  <a:pt x="2661787" y="759250"/>
                  <a:pt x="2647957" y="780998"/>
                </a:cubicBezTo>
                <a:cubicBezTo>
                  <a:pt x="2622788" y="798295"/>
                  <a:pt x="2600384" y="817311"/>
                  <a:pt x="2589872" y="840779"/>
                </a:cubicBezTo>
                <a:cubicBezTo>
                  <a:pt x="2571618" y="844825"/>
                  <a:pt x="2563874" y="862931"/>
                  <a:pt x="2561385" y="875272"/>
                </a:cubicBezTo>
                <a:cubicBezTo>
                  <a:pt x="2545895" y="885791"/>
                  <a:pt x="2527917" y="915429"/>
                  <a:pt x="2516576" y="936772"/>
                </a:cubicBezTo>
                <a:cubicBezTo>
                  <a:pt x="2493343" y="953564"/>
                  <a:pt x="2488364" y="978245"/>
                  <a:pt x="2471493" y="998374"/>
                </a:cubicBezTo>
                <a:cubicBezTo>
                  <a:pt x="2487812" y="1001813"/>
                  <a:pt x="2479236" y="980268"/>
                  <a:pt x="2493343" y="984213"/>
                </a:cubicBezTo>
                <a:cubicBezTo>
                  <a:pt x="2534278" y="918767"/>
                  <a:pt x="2564149" y="869910"/>
                  <a:pt x="2626660" y="820953"/>
                </a:cubicBezTo>
                <a:cubicBezTo>
                  <a:pt x="2599001" y="857570"/>
                  <a:pt x="2579916" y="890040"/>
                  <a:pt x="2547554" y="927668"/>
                </a:cubicBezTo>
                <a:cubicBezTo>
                  <a:pt x="2549491" y="931917"/>
                  <a:pt x="2551703" y="931310"/>
                  <a:pt x="2556129" y="930298"/>
                </a:cubicBezTo>
                <a:cubicBezTo>
                  <a:pt x="2542023" y="938188"/>
                  <a:pt x="2538428" y="948405"/>
                  <a:pt x="2525981" y="960543"/>
                </a:cubicBezTo>
                <a:cubicBezTo>
                  <a:pt x="2527641" y="964893"/>
                  <a:pt x="2531789" y="968635"/>
                  <a:pt x="2529576" y="969141"/>
                </a:cubicBezTo>
                <a:cubicBezTo>
                  <a:pt x="2563597" y="961555"/>
                  <a:pt x="2556129" y="911686"/>
                  <a:pt x="2602595" y="903695"/>
                </a:cubicBezTo>
                <a:cubicBezTo>
                  <a:pt x="2599276" y="895097"/>
                  <a:pt x="2591809" y="901369"/>
                  <a:pt x="2588767" y="899750"/>
                </a:cubicBezTo>
                <a:cubicBezTo>
                  <a:pt x="2582958" y="891658"/>
                  <a:pt x="2598447" y="892973"/>
                  <a:pt x="2587937" y="885893"/>
                </a:cubicBezTo>
                <a:cubicBezTo>
                  <a:pt x="2600937" y="880633"/>
                  <a:pt x="2608128" y="874361"/>
                  <a:pt x="2614766" y="865864"/>
                </a:cubicBezTo>
                <a:cubicBezTo>
                  <a:pt x="2626107" y="863336"/>
                  <a:pt x="2612830" y="873350"/>
                  <a:pt x="2619191" y="876587"/>
                </a:cubicBezTo>
                <a:cubicBezTo>
                  <a:pt x="2651275" y="857772"/>
                  <a:pt x="2670360" y="837137"/>
                  <a:pt x="2693040" y="806387"/>
                </a:cubicBezTo>
                <a:cubicBezTo>
                  <a:pt x="2691105" y="802037"/>
                  <a:pt x="2684744" y="810534"/>
                  <a:pt x="2680042" y="811546"/>
                </a:cubicBezTo>
                <a:cubicBezTo>
                  <a:pt x="2678106" y="800216"/>
                  <a:pt x="2685573" y="793945"/>
                  <a:pt x="2697190" y="798396"/>
                </a:cubicBezTo>
                <a:cubicBezTo>
                  <a:pt x="2698019" y="800520"/>
                  <a:pt x="2693595" y="801531"/>
                  <a:pt x="2694424" y="803656"/>
                </a:cubicBezTo>
                <a:cubicBezTo>
                  <a:pt x="2709912" y="804971"/>
                  <a:pt x="2726232" y="777862"/>
                  <a:pt x="2735913" y="770983"/>
                </a:cubicBezTo>
                <a:cubicBezTo>
                  <a:pt x="2727892" y="763397"/>
                  <a:pt x="2726509" y="766128"/>
                  <a:pt x="2721806" y="767140"/>
                </a:cubicBezTo>
                <a:cubicBezTo>
                  <a:pt x="2739231" y="723442"/>
                  <a:pt x="2813910" y="730219"/>
                  <a:pt x="2832166" y="688747"/>
                </a:cubicBezTo>
                <a:cubicBezTo>
                  <a:pt x="2839080" y="687229"/>
                  <a:pt x="2842953" y="691073"/>
                  <a:pt x="2848485" y="692186"/>
                </a:cubicBezTo>
                <a:cubicBezTo>
                  <a:pt x="2850420" y="684700"/>
                  <a:pt x="2854017" y="681565"/>
                  <a:pt x="2863974" y="681666"/>
                </a:cubicBezTo>
                <a:cubicBezTo>
                  <a:pt x="2860654" y="673068"/>
                  <a:pt x="2873655" y="667909"/>
                  <a:pt x="2872272" y="658805"/>
                </a:cubicBezTo>
                <a:cubicBezTo>
                  <a:pt x="2901590" y="657086"/>
                  <a:pt x="2918186" y="648690"/>
                  <a:pt x="2941418" y="638878"/>
                </a:cubicBezTo>
                <a:cubicBezTo>
                  <a:pt x="2941696" y="645858"/>
                  <a:pt x="2932567" y="647881"/>
                  <a:pt x="2932015" y="652635"/>
                </a:cubicBezTo>
                <a:cubicBezTo>
                  <a:pt x="2944738" y="659311"/>
                  <a:pt x="2940866" y="643633"/>
                  <a:pt x="2955802" y="649702"/>
                </a:cubicBezTo>
                <a:cubicBezTo>
                  <a:pt x="2961609" y="646060"/>
                  <a:pt x="2951652" y="645959"/>
                  <a:pt x="2950823" y="643835"/>
                </a:cubicBezTo>
                <a:cubicBezTo>
                  <a:pt x="3017205" y="617434"/>
                  <a:pt x="3071417" y="572522"/>
                  <a:pt x="3127288" y="550876"/>
                </a:cubicBezTo>
                <a:cubicBezTo>
                  <a:pt x="3095757" y="583649"/>
                  <a:pt x="3041545" y="590932"/>
                  <a:pt x="3013055" y="625324"/>
                </a:cubicBezTo>
                <a:cubicBezTo>
                  <a:pt x="2982077" y="634529"/>
                  <a:pt x="2954695" y="659412"/>
                  <a:pt x="2940866" y="681261"/>
                </a:cubicBezTo>
                <a:cubicBezTo>
                  <a:pt x="2953313" y="680857"/>
                  <a:pt x="2956077" y="656681"/>
                  <a:pt x="2975440" y="661840"/>
                </a:cubicBezTo>
                <a:cubicBezTo>
                  <a:pt x="3000333" y="630483"/>
                  <a:pt x="3060629" y="626538"/>
                  <a:pt x="3086905" y="592652"/>
                </a:cubicBezTo>
                <a:cubicBezTo>
                  <a:pt x="3094650" y="593259"/>
                  <a:pt x="3119820" y="587796"/>
                  <a:pt x="3118713" y="578592"/>
                </a:cubicBezTo>
                <a:cubicBezTo>
                  <a:pt x="3128671" y="578794"/>
                  <a:pt x="3130883" y="578288"/>
                  <a:pt x="3144436" y="575254"/>
                </a:cubicBezTo>
                <a:cubicBezTo>
                  <a:pt x="3122308" y="594169"/>
                  <a:pt x="3072800" y="607420"/>
                  <a:pt x="3063119" y="626032"/>
                </a:cubicBezTo>
                <a:cubicBezTo>
                  <a:pt x="3051778" y="616726"/>
                  <a:pt x="3052884" y="637766"/>
                  <a:pt x="3039609" y="635945"/>
                </a:cubicBezTo>
                <a:cubicBezTo>
                  <a:pt x="3044587" y="641913"/>
                  <a:pt x="3051225" y="640295"/>
                  <a:pt x="3056757" y="641508"/>
                </a:cubicBezTo>
                <a:cubicBezTo>
                  <a:pt x="3063671" y="639991"/>
                  <a:pt x="3056481" y="634630"/>
                  <a:pt x="3067821" y="632101"/>
                </a:cubicBezTo>
                <a:cubicBezTo>
                  <a:pt x="3065332" y="644341"/>
                  <a:pt x="3074736" y="630584"/>
                  <a:pt x="3082480" y="631191"/>
                </a:cubicBezTo>
                <a:cubicBezTo>
                  <a:pt x="3090500" y="638777"/>
                  <a:pt x="3078054" y="639182"/>
                  <a:pt x="3080820" y="645656"/>
                </a:cubicBezTo>
                <a:lnTo>
                  <a:pt x="3082204" y="645352"/>
                </a:lnTo>
                <a:lnTo>
                  <a:pt x="3088842" y="638474"/>
                </a:lnTo>
                <a:lnTo>
                  <a:pt x="3088565" y="636956"/>
                </a:lnTo>
                <a:cubicBezTo>
                  <a:pt x="3086905" y="634327"/>
                  <a:pt x="3085245" y="631697"/>
                  <a:pt x="3086905" y="630078"/>
                </a:cubicBezTo>
                <a:cubicBezTo>
                  <a:pt x="3090500" y="629370"/>
                  <a:pt x="3092991" y="629471"/>
                  <a:pt x="3095202" y="628965"/>
                </a:cubicBezTo>
                <a:lnTo>
                  <a:pt x="3101564" y="624919"/>
                </a:lnTo>
                <a:lnTo>
                  <a:pt x="3112352" y="612882"/>
                </a:lnTo>
                <a:lnTo>
                  <a:pt x="3112352" y="612781"/>
                </a:lnTo>
                <a:lnTo>
                  <a:pt x="3110692" y="608533"/>
                </a:lnTo>
                <a:lnTo>
                  <a:pt x="3125074" y="603475"/>
                </a:lnTo>
                <a:lnTo>
                  <a:pt x="3135032" y="596293"/>
                </a:lnTo>
                <a:cubicBezTo>
                  <a:pt x="3133649" y="591640"/>
                  <a:pt x="3133926" y="589314"/>
                  <a:pt x="3137245" y="585166"/>
                </a:cubicBezTo>
                <a:cubicBezTo>
                  <a:pt x="3179840" y="564835"/>
                  <a:pt x="3208605" y="518001"/>
                  <a:pt x="3250094" y="502120"/>
                </a:cubicBezTo>
                <a:cubicBezTo>
                  <a:pt x="3266136" y="483407"/>
                  <a:pt x="3281348" y="466919"/>
                  <a:pt x="3309561" y="458625"/>
                </a:cubicBezTo>
                <a:cubicBezTo>
                  <a:pt x="3345241" y="423930"/>
                  <a:pt x="3398345" y="400260"/>
                  <a:pt x="3438452" y="368296"/>
                </a:cubicBezTo>
                <a:cubicBezTo>
                  <a:pt x="3437897" y="359091"/>
                  <a:pt x="3429876" y="374163"/>
                  <a:pt x="3429876" y="362732"/>
                </a:cubicBezTo>
                <a:cubicBezTo>
                  <a:pt x="3438727" y="354640"/>
                  <a:pt x="3450622" y="355854"/>
                  <a:pt x="3462790" y="354944"/>
                </a:cubicBezTo>
                <a:cubicBezTo>
                  <a:pt x="3481323" y="345638"/>
                  <a:pt x="3484089" y="332387"/>
                  <a:pt x="3504833" y="325508"/>
                </a:cubicBezTo>
                <a:cubicBezTo>
                  <a:pt x="3514790" y="324294"/>
                  <a:pt x="3512853" y="333297"/>
                  <a:pt x="3520874" y="329655"/>
                </a:cubicBezTo>
                <a:cubicBezTo>
                  <a:pt x="3522535" y="320754"/>
                  <a:pt x="3527790" y="318933"/>
                  <a:pt x="3522535" y="309324"/>
                </a:cubicBezTo>
                <a:cubicBezTo>
                  <a:pt x="3529450" y="310133"/>
                  <a:pt x="3535535" y="303862"/>
                  <a:pt x="3530832" y="303356"/>
                </a:cubicBezTo>
                <a:cubicBezTo>
                  <a:pt x="3534152" y="299209"/>
                  <a:pt x="3547980" y="302951"/>
                  <a:pt x="3555726" y="299310"/>
                </a:cubicBezTo>
                <a:cubicBezTo>
                  <a:pt x="3556831" y="294859"/>
                  <a:pt x="3545491" y="302648"/>
                  <a:pt x="3549640" y="294050"/>
                </a:cubicBezTo>
                <a:cubicBezTo>
                  <a:pt x="3551853" y="294353"/>
                  <a:pt x="3549917" y="291824"/>
                  <a:pt x="3550469" y="289599"/>
                </a:cubicBezTo>
                <a:cubicBezTo>
                  <a:pt x="3578682" y="292735"/>
                  <a:pt x="3595001" y="271796"/>
                  <a:pt x="3617957" y="265221"/>
                </a:cubicBezTo>
                <a:cubicBezTo>
                  <a:pt x="3618511" y="262996"/>
                  <a:pt x="3616575" y="260568"/>
                  <a:pt x="3617129" y="258343"/>
                </a:cubicBezTo>
                <a:cubicBezTo>
                  <a:pt x="3625150" y="266031"/>
                  <a:pt x="3678532" y="240034"/>
                  <a:pt x="3686276" y="224963"/>
                </a:cubicBezTo>
                <a:cubicBezTo>
                  <a:pt x="3749615" y="209183"/>
                  <a:pt x="3789720" y="177320"/>
                  <a:pt x="3851123" y="159113"/>
                </a:cubicBezTo>
                <a:cubicBezTo>
                  <a:pt x="3856655" y="155168"/>
                  <a:pt x="3845039" y="153853"/>
                  <a:pt x="3848634" y="147480"/>
                </a:cubicBezTo>
                <a:cubicBezTo>
                  <a:pt x="3855273" y="150413"/>
                  <a:pt x="3866613" y="142625"/>
                  <a:pt x="3869379" y="152032"/>
                </a:cubicBezTo>
                <a:cubicBezTo>
                  <a:pt x="3880995" y="141917"/>
                  <a:pt x="3917229" y="141411"/>
                  <a:pt x="3919442" y="130284"/>
                </a:cubicBezTo>
                <a:cubicBezTo>
                  <a:pt x="3923313" y="123810"/>
                  <a:pt x="3926079" y="133218"/>
                  <a:pt x="3931887" y="129273"/>
                </a:cubicBezTo>
                <a:cubicBezTo>
                  <a:pt x="3936867" y="127553"/>
                  <a:pt x="3928016" y="124316"/>
                  <a:pt x="3933548" y="120472"/>
                </a:cubicBezTo>
                <a:cubicBezTo>
                  <a:pt x="3925250" y="126339"/>
                  <a:pt x="3928016" y="124316"/>
                  <a:pt x="3916399" y="123001"/>
                </a:cubicBezTo>
                <a:cubicBezTo>
                  <a:pt x="3918058" y="114100"/>
                  <a:pt x="3931612" y="117842"/>
                  <a:pt x="3939632" y="114201"/>
                </a:cubicBezTo>
                <a:cubicBezTo>
                  <a:pt x="3938250" y="120877"/>
                  <a:pt x="3940186" y="123406"/>
                  <a:pt x="3942675" y="123608"/>
                </a:cubicBezTo>
                <a:cubicBezTo>
                  <a:pt x="3952355" y="122495"/>
                  <a:pt x="3953739" y="115819"/>
                  <a:pt x="3965631" y="117134"/>
                </a:cubicBezTo>
                <a:cubicBezTo>
                  <a:pt x="3963695" y="114605"/>
                  <a:pt x="3962035" y="109952"/>
                  <a:pt x="3954567" y="111369"/>
                </a:cubicBezTo>
                <a:cubicBezTo>
                  <a:pt x="3957888" y="107221"/>
                  <a:pt x="3969228" y="110762"/>
                  <a:pt x="3968950" y="112987"/>
                </a:cubicBezTo>
                <a:cubicBezTo>
                  <a:pt x="3978908" y="98118"/>
                  <a:pt x="4019291" y="113999"/>
                  <a:pt x="4025928" y="91947"/>
                </a:cubicBezTo>
                <a:cubicBezTo>
                  <a:pt x="4036992" y="97713"/>
                  <a:pt x="4060778" y="86586"/>
                  <a:pt x="4063544" y="84664"/>
                </a:cubicBezTo>
                <a:cubicBezTo>
                  <a:pt x="4081800" y="77584"/>
                  <a:pt x="4101161" y="77483"/>
                  <a:pt x="4121351" y="72931"/>
                </a:cubicBezTo>
                <a:cubicBezTo>
                  <a:pt x="4134074" y="69795"/>
                  <a:pt x="4158967" y="65648"/>
                  <a:pt x="4164499" y="50374"/>
                </a:cubicBezTo>
                <a:cubicBezTo>
                  <a:pt x="4189116" y="59882"/>
                  <a:pt x="4232541" y="35201"/>
                  <a:pt x="4262136" y="42990"/>
                </a:cubicBezTo>
                <a:cubicBezTo>
                  <a:pt x="4267392" y="41270"/>
                  <a:pt x="4270158" y="39247"/>
                  <a:pt x="4271540" y="32571"/>
                </a:cubicBezTo>
                <a:cubicBezTo>
                  <a:pt x="4313858" y="37325"/>
                  <a:pt x="4340964" y="22051"/>
                  <a:pt x="4387708" y="18106"/>
                </a:cubicBezTo>
                <a:cubicBezTo>
                  <a:pt x="4386601" y="22557"/>
                  <a:pt x="4388262" y="27311"/>
                  <a:pt x="4387431" y="31762"/>
                </a:cubicBezTo>
                <a:cubicBezTo>
                  <a:pt x="4399049" y="32976"/>
                  <a:pt x="4397941" y="26097"/>
                  <a:pt x="4401814" y="19623"/>
                </a:cubicBezTo>
                <a:cubicBezTo>
                  <a:pt x="4420069" y="23973"/>
                  <a:pt x="4429473" y="13655"/>
                  <a:pt x="4443025" y="17398"/>
                </a:cubicBezTo>
                <a:close/>
                <a:moveTo>
                  <a:pt x="4909702" y="14933"/>
                </a:moveTo>
                <a:cubicBezTo>
                  <a:pt x="4916271" y="15628"/>
                  <a:pt x="4922494" y="17904"/>
                  <a:pt x="4924016" y="22355"/>
                </a:cubicBezTo>
                <a:cubicBezTo>
                  <a:pt x="4914888" y="19219"/>
                  <a:pt x="4916824" y="21646"/>
                  <a:pt x="4906868" y="22658"/>
                </a:cubicBezTo>
                <a:cubicBezTo>
                  <a:pt x="4905761" y="16083"/>
                  <a:pt x="4900505" y="17702"/>
                  <a:pt x="4893314" y="16993"/>
                </a:cubicBezTo>
                <a:cubicBezTo>
                  <a:pt x="4896218" y="15122"/>
                  <a:pt x="4903134" y="14237"/>
                  <a:pt x="4909702" y="14933"/>
                </a:cubicBezTo>
                <a:close/>
                <a:moveTo>
                  <a:pt x="4726184" y="13162"/>
                </a:moveTo>
                <a:cubicBezTo>
                  <a:pt x="4731441" y="14010"/>
                  <a:pt x="4735796" y="16184"/>
                  <a:pt x="4736211" y="19623"/>
                </a:cubicBezTo>
                <a:cubicBezTo>
                  <a:pt x="4729849" y="16690"/>
                  <a:pt x="4727360" y="16488"/>
                  <a:pt x="4717126" y="19826"/>
                </a:cubicBezTo>
                <a:cubicBezTo>
                  <a:pt x="4717956" y="15476"/>
                  <a:pt x="4713254" y="14869"/>
                  <a:pt x="4710765" y="14667"/>
                </a:cubicBezTo>
                <a:cubicBezTo>
                  <a:pt x="4714775" y="12796"/>
                  <a:pt x="4720929" y="12315"/>
                  <a:pt x="4726184" y="13162"/>
                </a:cubicBezTo>
                <a:close/>
                <a:moveTo>
                  <a:pt x="4774900" y="12821"/>
                </a:moveTo>
                <a:cubicBezTo>
                  <a:pt x="4777561" y="11961"/>
                  <a:pt x="4780603" y="12290"/>
                  <a:pt x="4781572" y="13554"/>
                </a:cubicBezTo>
                <a:cubicBezTo>
                  <a:pt x="4780742" y="18005"/>
                  <a:pt x="4775211" y="19725"/>
                  <a:pt x="4770508" y="19219"/>
                </a:cubicBezTo>
                <a:cubicBezTo>
                  <a:pt x="4769955" y="15729"/>
                  <a:pt x="4772237" y="13681"/>
                  <a:pt x="4774900" y="12821"/>
                </a:cubicBezTo>
                <a:close/>
                <a:moveTo>
                  <a:pt x="4581320" y="3237"/>
                </a:moveTo>
                <a:cubicBezTo>
                  <a:pt x="4577172" y="11835"/>
                  <a:pt x="4551449" y="6676"/>
                  <a:pt x="4550897" y="22355"/>
                </a:cubicBezTo>
                <a:cubicBezTo>
                  <a:pt x="4543704" y="21646"/>
                  <a:pt x="4538449" y="23265"/>
                  <a:pt x="4533747" y="22759"/>
                </a:cubicBezTo>
                <a:cubicBezTo>
                  <a:pt x="4529875" y="17803"/>
                  <a:pt x="4539555" y="18915"/>
                  <a:pt x="4542321" y="16993"/>
                </a:cubicBezTo>
                <a:cubicBezTo>
                  <a:pt x="4539003" y="9812"/>
                  <a:pt x="4520194" y="19017"/>
                  <a:pt x="4513832" y="13858"/>
                </a:cubicBezTo>
                <a:cubicBezTo>
                  <a:pt x="4521855" y="34999"/>
                  <a:pt x="4492259" y="13655"/>
                  <a:pt x="4484515" y="28626"/>
                </a:cubicBezTo>
                <a:cubicBezTo>
                  <a:pt x="4483408" y="21748"/>
                  <a:pt x="4488110" y="22253"/>
                  <a:pt x="4483684" y="19522"/>
                </a:cubicBezTo>
                <a:cubicBezTo>
                  <a:pt x="4480643" y="23670"/>
                  <a:pt x="4466813" y="19927"/>
                  <a:pt x="4467919" y="26805"/>
                </a:cubicBezTo>
                <a:cubicBezTo>
                  <a:pt x="4465429" y="26502"/>
                  <a:pt x="4466259" y="22152"/>
                  <a:pt x="4464323" y="19623"/>
                </a:cubicBezTo>
                <a:cubicBezTo>
                  <a:pt x="4456855" y="21141"/>
                  <a:pt x="4457962" y="27918"/>
                  <a:pt x="4454642" y="32065"/>
                </a:cubicBezTo>
                <a:cubicBezTo>
                  <a:pt x="4448004" y="29132"/>
                  <a:pt x="4462941" y="14970"/>
                  <a:pt x="4445238" y="19725"/>
                </a:cubicBezTo>
                <a:cubicBezTo>
                  <a:pt x="4446068" y="15375"/>
                  <a:pt x="4448281" y="15678"/>
                  <a:pt x="4449387" y="11228"/>
                </a:cubicBezTo>
                <a:cubicBezTo>
                  <a:pt x="4492812" y="11531"/>
                  <a:pt x="4532364" y="6878"/>
                  <a:pt x="4581320" y="3237"/>
                </a:cubicBezTo>
                <a:close/>
                <a:moveTo>
                  <a:pt x="4665404" y="708"/>
                </a:moveTo>
                <a:cubicBezTo>
                  <a:pt x="4686701" y="14465"/>
                  <a:pt x="4731510" y="-3237"/>
                  <a:pt x="4761657" y="2326"/>
                </a:cubicBezTo>
                <a:cubicBezTo>
                  <a:pt x="4740083" y="13554"/>
                  <a:pt x="4702743" y="7081"/>
                  <a:pt x="4682829" y="9508"/>
                </a:cubicBezTo>
                <a:cubicBezTo>
                  <a:pt x="4677022" y="12239"/>
                  <a:pt x="4675361" y="20635"/>
                  <a:pt x="4670382" y="21242"/>
                </a:cubicBezTo>
                <a:cubicBezTo>
                  <a:pt x="4668723" y="21444"/>
                  <a:pt x="4666787" y="20736"/>
                  <a:pt x="4664021" y="18814"/>
                </a:cubicBezTo>
                <a:cubicBezTo>
                  <a:pt x="4665127" y="14364"/>
                  <a:pt x="4667063" y="16791"/>
                  <a:pt x="4667063" y="16791"/>
                </a:cubicBezTo>
                <a:cubicBezTo>
                  <a:pt x="4676744" y="15577"/>
                  <a:pt x="4667340" y="3237"/>
                  <a:pt x="4665404" y="708"/>
                </a:cubicBezTo>
                <a:close/>
                <a:moveTo>
                  <a:pt x="4620044" y="0"/>
                </a:moveTo>
                <a:cubicBezTo>
                  <a:pt x="4620320" y="4653"/>
                  <a:pt x="4613405" y="8396"/>
                  <a:pt x="4606490" y="9407"/>
                </a:cubicBezTo>
                <a:cubicBezTo>
                  <a:pt x="4599852" y="10317"/>
                  <a:pt x="4592937" y="8396"/>
                  <a:pt x="4592937" y="1618"/>
                </a:cubicBezTo>
                <a:cubicBezTo>
                  <a:pt x="4604278" y="5159"/>
                  <a:pt x="4607596" y="910"/>
                  <a:pt x="4620044" y="0"/>
                </a:cubicBezTo>
                <a:close/>
              </a:path>
            </a:pathLst>
          </a:custGeom>
        </p:spPr>
      </p:pic>
    </p:spTree>
    <p:extLst>
      <p:ext uri="{BB962C8B-B14F-4D97-AF65-F5344CB8AC3E}">
        <p14:creationId xmlns:p14="http://schemas.microsoft.com/office/powerpoint/2010/main" val="3637959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6" name="Рисунок 5"/>
          <p:cNvPicPr>
            <a:picLocks noChangeAspect="1"/>
          </p:cNvPicPr>
          <p:nvPr/>
        </p:nvPicPr>
        <p:blipFill rotWithShape="1">
          <a:blip r:embed="rId2"/>
          <a:srcRect l="8406"/>
          <a:stretch/>
        </p:blipFill>
        <p:spPr>
          <a:xfrm>
            <a:off x="-1" y="4336869"/>
            <a:ext cx="941437" cy="616705"/>
          </a:xfrm>
          <a:prstGeom prst="rect">
            <a:avLst/>
          </a:prstGeom>
        </p:spPr>
      </p:pic>
      <p:pic>
        <p:nvPicPr>
          <p:cNvPr id="5" name="Рисунок 4"/>
          <p:cNvPicPr>
            <a:picLocks noChangeAspect="1"/>
          </p:cNvPicPr>
          <p:nvPr/>
        </p:nvPicPr>
        <p:blipFill rotWithShape="1">
          <a:blip r:embed="rId3"/>
          <a:srcRect l="3216" t="7863" r="6587" b="8240"/>
          <a:stretch/>
        </p:blipFill>
        <p:spPr>
          <a:xfrm>
            <a:off x="335982" y="3395790"/>
            <a:ext cx="815043" cy="758119"/>
          </a:xfrm>
          <a:prstGeom prst="rect">
            <a:avLst/>
          </a:prstGeom>
        </p:spPr>
      </p:pic>
      <p:pic>
        <p:nvPicPr>
          <p:cNvPr id="4" name="Рисунок 3"/>
          <p:cNvPicPr>
            <a:picLocks noChangeAspect="1"/>
          </p:cNvPicPr>
          <p:nvPr/>
        </p:nvPicPr>
        <p:blipFill rotWithShape="1">
          <a:blip r:embed="rId4"/>
          <a:srcRect l="12005" t="14015" r="7650" b="13950"/>
          <a:stretch/>
        </p:blipFill>
        <p:spPr>
          <a:xfrm>
            <a:off x="813601" y="2610916"/>
            <a:ext cx="762256" cy="683402"/>
          </a:xfrm>
          <a:prstGeom prst="rect">
            <a:avLst/>
          </a:prstGeom>
        </p:spPr>
      </p:pic>
      <p:pic>
        <p:nvPicPr>
          <p:cNvPr id="3" name="Рисунок 2"/>
          <p:cNvPicPr>
            <a:picLocks noChangeAspect="1"/>
          </p:cNvPicPr>
          <p:nvPr/>
        </p:nvPicPr>
        <p:blipFill>
          <a:blip r:embed="rId5"/>
          <a:stretch>
            <a:fillRect/>
          </a:stretch>
        </p:blipFill>
        <p:spPr>
          <a:xfrm>
            <a:off x="1283362" y="1684384"/>
            <a:ext cx="833352" cy="808842"/>
          </a:xfrm>
          <a:prstGeom prst="rect">
            <a:avLst/>
          </a:prstGeom>
        </p:spPr>
      </p:pic>
      <p:sp>
        <p:nvSpPr>
          <p:cNvPr id="9" name="Freeform 8"/>
          <p:cNvSpPr/>
          <p:nvPr/>
        </p:nvSpPr>
        <p:spPr>
          <a:xfrm>
            <a:off x="-13534" y="1"/>
            <a:ext cx="2413288" cy="4141227"/>
          </a:xfrm>
          <a:custGeom>
            <a:avLst/>
            <a:gdLst>
              <a:gd name="connsiteX0" fmla="*/ 279554 w 2413288"/>
              <a:gd name="connsiteY0" fmla="*/ 0 h 4141227"/>
              <a:gd name="connsiteX1" fmla="*/ 2413288 w 2413288"/>
              <a:gd name="connsiteY1" fmla="*/ 0 h 4141227"/>
              <a:gd name="connsiteX2" fmla="*/ 22350 w 2413288"/>
              <a:gd name="connsiteY2" fmla="*/ 4141227 h 4141227"/>
              <a:gd name="connsiteX3" fmla="*/ 0 w 2413288"/>
              <a:gd name="connsiteY3" fmla="*/ 4128323 h 4141227"/>
              <a:gd name="connsiteX4" fmla="*/ 0 w 2413288"/>
              <a:gd name="connsiteY4" fmla="*/ 484202 h 4141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3288" h="4141227">
                <a:moveTo>
                  <a:pt x="279554" y="0"/>
                </a:moveTo>
                <a:lnTo>
                  <a:pt x="2413288" y="0"/>
                </a:lnTo>
                <a:lnTo>
                  <a:pt x="22350" y="4141227"/>
                </a:lnTo>
                <a:lnTo>
                  <a:pt x="0" y="4128323"/>
                </a:lnTo>
                <a:lnTo>
                  <a:pt x="0" y="484202"/>
                </a:lnTo>
                <a:close/>
              </a:path>
            </a:pathLst>
          </a:custGeom>
          <a:gradFill>
            <a:gsLst>
              <a:gs pos="0">
                <a:schemeClr val="accent1">
                  <a:alpha val="50000"/>
                </a:schemeClr>
              </a:gs>
              <a:gs pos="100000">
                <a:schemeClr val="accent4">
                  <a:lumMod val="100000"/>
                  <a:alpha val="81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Freeform 10"/>
          <p:cNvSpPr/>
          <p:nvPr/>
        </p:nvSpPr>
        <p:spPr>
          <a:xfrm rot="10800000">
            <a:off x="4069582" y="0"/>
            <a:ext cx="7243244" cy="6858000"/>
          </a:xfrm>
          <a:custGeom>
            <a:avLst/>
            <a:gdLst>
              <a:gd name="connsiteX0" fmla="*/ 3959468 w 7243244"/>
              <a:gd name="connsiteY0" fmla="*/ 0 h 6858000"/>
              <a:gd name="connsiteX1" fmla="*/ 7243244 w 7243244"/>
              <a:gd name="connsiteY1" fmla="*/ 0 h 6858000"/>
              <a:gd name="connsiteX2" fmla="*/ 3283776 w 7243244"/>
              <a:gd name="connsiteY2" fmla="*/ 6858000 h 6858000"/>
              <a:gd name="connsiteX3" fmla="*/ 0 w 724324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43244" h="6858000">
                <a:moveTo>
                  <a:pt x="3959468" y="0"/>
                </a:moveTo>
                <a:lnTo>
                  <a:pt x="7243244" y="0"/>
                </a:lnTo>
                <a:lnTo>
                  <a:pt x="3283776" y="6858000"/>
                </a:lnTo>
                <a:lnTo>
                  <a:pt x="0" y="6858000"/>
                </a:lnTo>
                <a:close/>
              </a:path>
            </a:pathLst>
          </a:custGeom>
          <a:gradFill>
            <a:gsLst>
              <a:gs pos="0">
                <a:schemeClr val="accent1">
                  <a:alpha val="50000"/>
                </a:schemeClr>
              </a:gs>
              <a:gs pos="100000">
                <a:schemeClr val="accent4">
                  <a:lumMod val="100000"/>
                  <a:alpha val="81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 name="TextBox 13"/>
          <p:cNvSpPr txBox="1"/>
          <p:nvPr/>
        </p:nvSpPr>
        <p:spPr>
          <a:xfrm>
            <a:off x="1283362" y="5868052"/>
            <a:ext cx="1083630" cy="492443"/>
          </a:xfrm>
          <a:prstGeom prst="rect">
            <a:avLst/>
          </a:prstGeom>
          <a:noFill/>
        </p:spPr>
        <p:txBody>
          <a:bodyPr wrap="none" lIns="0" tIns="0" rIns="0" bIns="0" rtlCol="0">
            <a:spAutoFit/>
          </a:bodyPr>
          <a:lstStyle/>
          <a:p>
            <a:r>
              <a:rPr lang="en-US" sz="3200" dirty="0" smtClean="0">
                <a:solidFill>
                  <a:schemeClr val="accent1"/>
                </a:solidFill>
                <a:latin typeface="Open Sans Semibold" panose="020B0706030804020204" pitchFamily="34" charset="0"/>
                <a:ea typeface="Open Sans Semibold" panose="020B0706030804020204" pitchFamily="34" charset="0"/>
                <a:cs typeface="Open Sans Semibold" panose="020B0706030804020204" pitchFamily="34" charset="0"/>
              </a:rPr>
              <a:t>Mining</a:t>
            </a:r>
            <a:endParaRPr lang="en-US" sz="3200" dirty="0">
              <a:solidFill>
                <a:schemeClr val="accent1"/>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15" name="Oval 14"/>
          <p:cNvSpPr/>
          <p:nvPr/>
        </p:nvSpPr>
        <p:spPr>
          <a:xfrm>
            <a:off x="142442" y="5628499"/>
            <a:ext cx="971550" cy="971550"/>
          </a:xfrm>
          <a:prstGeom prst="ellipse">
            <a:avLst/>
          </a:prstGeom>
          <a:gradFill>
            <a:gsLst>
              <a:gs pos="0">
                <a:schemeClr val="accent1"/>
              </a:gs>
              <a:gs pos="100000">
                <a:schemeClr val="accent4">
                  <a:lumMod val="10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400" dirty="0">
                <a:latin typeface="Harlow Solid Italic" panose="04030604020F02020D02" pitchFamily="82" charset="0"/>
              </a:rPr>
              <a:t>D</a:t>
            </a:r>
          </a:p>
        </p:txBody>
      </p:sp>
      <p:sp>
        <p:nvSpPr>
          <p:cNvPr id="10" name="TextBox 9"/>
          <p:cNvSpPr txBox="1"/>
          <p:nvPr/>
        </p:nvSpPr>
        <p:spPr>
          <a:xfrm>
            <a:off x="2745722" y="161805"/>
            <a:ext cx="4880503" cy="492443"/>
          </a:xfrm>
          <a:prstGeom prst="rect">
            <a:avLst/>
          </a:prstGeom>
          <a:noFill/>
        </p:spPr>
        <p:txBody>
          <a:bodyPr wrap="none" lIns="0" tIns="0" rIns="0" bIns="0" rtlCol="0">
            <a:spAutoFit/>
          </a:bodyPr>
          <a:lstStyle/>
          <a:p>
            <a:r>
              <a:rPr lang="ru-RU" sz="3200" dirty="0" smtClean="0">
                <a:solidFill>
                  <a:schemeClr val="accent1">
                    <a:lumMod val="75000"/>
                  </a:schemeClr>
                </a:solidFill>
                <a:latin typeface="Open Sans BOLD" panose="020B0806030504020204" pitchFamily="34" charset="0"/>
                <a:ea typeface="Open Sans BOLD" panose="020B0806030504020204" pitchFamily="34" charset="0"/>
                <a:cs typeface="Open Sans BOLD" panose="020B0806030504020204" pitchFamily="34" charset="0"/>
              </a:rPr>
              <a:t>Этапы реализации технологии</a:t>
            </a:r>
            <a:endParaRPr lang="en-US" sz="3200" dirty="0">
              <a:solidFill>
                <a:schemeClr val="accent1">
                  <a:lumMod val="75000"/>
                </a:schemeClr>
              </a:solidFill>
              <a:latin typeface="Open Sans BOLD" panose="020B0806030504020204" pitchFamily="34" charset="0"/>
              <a:ea typeface="Open Sans BOLD" panose="020B0806030504020204" pitchFamily="34" charset="0"/>
              <a:cs typeface="Open Sans BOLD" panose="020B0806030504020204" pitchFamily="34" charset="0"/>
            </a:endParaRPr>
          </a:p>
        </p:txBody>
      </p:sp>
      <p:sp>
        <p:nvSpPr>
          <p:cNvPr id="13" name="TextBox 12"/>
          <p:cNvSpPr txBox="1"/>
          <p:nvPr/>
        </p:nvSpPr>
        <p:spPr>
          <a:xfrm>
            <a:off x="2909292" y="1222056"/>
            <a:ext cx="3292248" cy="369332"/>
          </a:xfrm>
          <a:prstGeom prst="rect">
            <a:avLst/>
          </a:prstGeom>
          <a:noFill/>
        </p:spPr>
        <p:txBody>
          <a:bodyPr wrap="none" lIns="0" tIns="0" rIns="0" bIns="0" rtlCol="0">
            <a:spAutoFit/>
          </a:bodyPr>
          <a:lstStyle/>
          <a:p>
            <a:r>
              <a:rPr lang="ru-RU" sz="2400" dirty="0" smtClean="0">
                <a:solidFill>
                  <a:schemeClr val="accent1">
                    <a:lumMod val="75000"/>
                  </a:schemeClr>
                </a:solidFill>
                <a:latin typeface="Open Sans BOLD" panose="020B0806030504020204" pitchFamily="34" charset="0"/>
                <a:ea typeface="Open Sans BOLD" panose="020B0806030504020204" pitchFamily="34" charset="0"/>
                <a:cs typeface="Open Sans BOLD" panose="020B0806030504020204" pitchFamily="34" charset="0"/>
              </a:rPr>
              <a:t>Постановка бизнес-задачи</a:t>
            </a:r>
            <a:endParaRPr lang="en-US" sz="2400" dirty="0">
              <a:solidFill>
                <a:schemeClr val="accent1">
                  <a:lumMod val="75000"/>
                </a:schemeClr>
              </a:solidFill>
              <a:latin typeface="Open Sans BOLD" panose="020B0806030504020204" pitchFamily="34" charset="0"/>
              <a:ea typeface="Open Sans BOLD" panose="020B0806030504020204" pitchFamily="34" charset="0"/>
              <a:cs typeface="Open Sans BOLD" panose="020B0806030504020204" pitchFamily="34" charset="0"/>
            </a:endParaRPr>
          </a:p>
        </p:txBody>
      </p:sp>
      <p:sp>
        <p:nvSpPr>
          <p:cNvPr id="17" name="TextBox 16"/>
          <p:cNvSpPr txBox="1"/>
          <p:nvPr/>
        </p:nvSpPr>
        <p:spPr>
          <a:xfrm>
            <a:off x="2230177" y="2025086"/>
            <a:ext cx="4049057" cy="369332"/>
          </a:xfrm>
          <a:prstGeom prst="rect">
            <a:avLst/>
          </a:prstGeom>
          <a:noFill/>
        </p:spPr>
        <p:txBody>
          <a:bodyPr wrap="none" lIns="0" tIns="0" rIns="0" bIns="0" rtlCol="0">
            <a:spAutoFit/>
          </a:bodyPr>
          <a:lstStyle/>
          <a:p>
            <a:r>
              <a:rPr lang="ru-RU" sz="2400" dirty="0" smtClean="0">
                <a:solidFill>
                  <a:schemeClr val="accent1">
                    <a:lumMod val="75000"/>
                  </a:schemeClr>
                </a:solidFill>
                <a:latin typeface="Open Sans BOLD" panose="020B0806030504020204" pitchFamily="34" charset="0"/>
                <a:ea typeface="Open Sans BOLD" panose="020B0806030504020204" pitchFamily="34" charset="0"/>
                <a:cs typeface="Open Sans BOLD" panose="020B0806030504020204" pitchFamily="34" charset="0"/>
              </a:rPr>
              <a:t>Первичное исследование данных</a:t>
            </a:r>
            <a:endParaRPr lang="en-US" sz="2400" dirty="0">
              <a:solidFill>
                <a:schemeClr val="accent1">
                  <a:lumMod val="75000"/>
                </a:schemeClr>
              </a:solidFill>
              <a:latin typeface="Open Sans BOLD" panose="020B0806030504020204" pitchFamily="34" charset="0"/>
              <a:ea typeface="Open Sans BOLD" panose="020B0806030504020204" pitchFamily="34" charset="0"/>
              <a:cs typeface="Open Sans BOLD" panose="020B0806030504020204" pitchFamily="34" charset="0"/>
            </a:endParaRPr>
          </a:p>
        </p:txBody>
      </p:sp>
      <p:sp>
        <p:nvSpPr>
          <p:cNvPr id="18" name="TextBox 17"/>
          <p:cNvSpPr txBox="1"/>
          <p:nvPr/>
        </p:nvSpPr>
        <p:spPr>
          <a:xfrm>
            <a:off x="1774874" y="2826178"/>
            <a:ext cx="3866123" cy="369332"/>
          </a:xfrm>
          <a:prstGeom prst="rect">
            <a:avLst/>
          </a:prstGeom>
          <a:noFill/>
        </p:spPr>
        <p:txBody>
          <a:bodyPr wrap="none" lIns="0" tIns="0" rIns="0" bIns="0" rtlCol="0">
            <a:spAutoFit/>
          </a:bodyPr>
          <a:lstStyle/>
          <a:p>
            <a:r>
              <a:rPr lang="ru-RU" sz="2400" dirty="0" smtClean="0">
                <a:solidFill>
                  <a:schemeClr val="accent1">
                    <a:lumMod val="75000"/>
                  </a:schemeClr>
                </a:solidFill>
                <a:latin typeface="Open Sans BOLD" panose="020B0806030504020204" pitchFamily="34" charset="0"/>
                <a:ea typeface="Open Sans BOLD" panose="020B0806030504020204" pitchFamily="34" charset="0"/>
                <a:cs typeface="Open Sans BOLD" panose="020B0806030504020204" pitchFamily="34" charset="0"/>
              </a:rPr>
              <a:t>Подготовка данных для анализа</a:t>
            </a:r>
            <a:endParaRPr lang="en-US" sz="2400" dirty="0">
              <a:solidFill>
                <a:schemeClr val="accent1">
                  <a:lumMod val="75000"/>
                </a:schemeClr>
              </a:solidFill>
              <a:latin typeface="Open Sans BOLD" panose="020B0806030504020204" pitchFamily="34" charset="0"/>
              <a:ea typeface="Open Sans BOLD" panose="020B0806030504020204" pitchFamily="34" charset="0"/>
              <a:cs typeface="Open Sans BOLD" panose="020B0806030504020204" pitchFamily="34" charset="0"/>
            </a:endParaRPr>
          </a:p>
        </p:txBody>
      </p:sp>
      <p:sp>
        <p:nvSpPr>
          <p:cNvPr id="19" name="TextBox 18"/>
          <p:cNvSpPr txBox="1"/>
          <p:nvPr/>
        </p:nvSpPr>
        <p:spPr>
          <a:xfrm>
            <a:off x="1283362" y="3732391"/>
            <a:ext cx="1814599" cy="369332"/>
          </a:xfrm>
          <a:prstGeom prst="rect">
            <a:avLst/>
          </a:prstGeom>
          <a:noFill/>
        </p:spPr>
        <p:txBody>
          <a:bodyPr wrap="none" lIns="0" tIns="0" rIns="0" bIns="0" rtlCol="0">
            <a:spAutoFit/>
          </a:bodyPr>
          <a:lstStyle/>
          <a:p>
            <a:r>
              <a:rPr lang="ru-RU" sz="2400" dirty="0" smtClean="0">
                <a:solidFill>
                  <a:schemeClr val="accent1">
                    <a:lumMod val="75000"/>
                  </a:schemeClr>
                </a:solidFill>
                <a:latin typeface="Open Sans BOLD" panose="020B0806030504020204" pitchFamily="34" charset="0"/>
                <a:ea typeface="Open Sans BOLD" panose="020B0806030504020204" pitchFamily="34" charset="0"/>
                <a:cs typeface="Open Sans BOLD" panose="020B0806030504020204" pitchFamily="34" charset="0"/>
              </a:rPr>
              <a:t>Анализ данных</a:t>
            </a:r>
            <a:endParaRPr lang="en-US" sz="2400" dirty="0">
              <a:solidFill>
                <a:schemeClr val="accent1">
                  <a:lumMod val="75000"/>
                </a:schemeClr>
              </a:solidFill>
              <a:latin typeface="Open Sans BOLD" panose="020B0806030504020204" pitchFamily="34" charset="0"/>
              <a:ea typeface="Open Sans BOLD" panose="020B0806030504020204" pitchFamily="34" charset="0"/>
              <a:cs typeface="Open Sans BOLD" panose="020B0806030504020204" pitchFamily="34" charset="0"/>
            </a:endParaRPr>
          </a:p>
        </p:txBody>
      </p:sp>
      <p:sp>
        <p:nvSpPr>
          <p:cNvPr id="20" name="TextBox 19"/>
          <p:cNvSpPr txBox="1"/>
          <p:nvPr/>
        </p:nvSpPr>
        <p:spPr>
          <a:xfrm>
            <a:off x="813601" y="4584242"/>
            <a:ext cx="3380092" cy="369332"/>
          </a:xfrm>
          <a:prstGeom prst="rect">
            <a:avLst/>
          </a:prstGeom>
          <a:noFill/>
        </p:spPr>
        <p:txBody>
          <a:bodyPr wrap="none" lIns="0" tIns="0" rIns="0" bIns="0" rtlCol="0">
            <a:spAutoFit/>
          </a:bodyPr>
          <a:lstStyle/>
          <a:p>
            <a:r>
              <a:rPr lang="ru-RU" sz="2400" dirty="0" smtClean="0">
                <a:solidFill>
                  <a:schemeClr val="accent1">
                    <a:lumMod val="75000"/>
                  </a:schemeClr>
                </a:solidFill>
                <a:latin typeface="Open Sans BOLD" panose="020B0806030504020204" pitchFamily="34" charset="0"/>
                <a:ea typeface="Open Sans BOLD" panose="020B0806030504020204" pitchFamily="34" charset="0"/>
                <a:cs typeface="Open Sans BOLD" panose="020B0806030504020204" pitchFamily="34" charset="0"/>
              </a:rPr>
              <a:t>Интерпретация результатов</a:t>
            </a:r>
            <a:endParaRPr lang="en-US" sz="2400" dirty="0">
              <a:solidFill>
                <a:schemeClr val="accent1">
                  <a:lumMod val="75000"/>
                </a:schemeClr>
              </a:solidFill>
              <a:latin typeface="Open Sans BOLD" panose="020B0806030504020204" pitchFamily="34" charset="0"/>
              <a:ea typeface="Open Sans BOLD" panose="020B0806030504020204" pitchFamily="34" charset="0"/>
              <a:cs typeface="Open Sans BOLD" panose="020B0806030504020204" pitchFamily="34" charset="0"/>
            </a:endParaRPr>
          </a:p>
        </p:txBody>
      </p:sp>
      <p:pic>
        <p:nvPicPr>
          <p:cNvPr id="2" name="Рисунок 1"/>
          <p:cNvPicPr>
            <a:picLocks noChangeAspect="1"/>
          </p:cNvPicPr>
          <p:nvPr/>
        </p:nvPicPr>
        <p:blipFill rotWithShape="1">
          <a:blip r:embed="rId6"/>
          <a:srcRect l="30826" t="6990" r="25185" b="7756"/>
          <a:stretch/>
        </p:blipFill>
        <p:spPr>
          <a:xfrm>
            <a:off x="2077381" y="911336"/>
            <a:ext cx="531223" cy="773048"/>
          </a:xfrm>
          <a:prstGeom prst="rect">
            <a:avLst/>
          </a:prstGeom>
        </p:spPr>
      </p:pic>
    </p:spTree>
    <p:extLst>
      <p:ext uri="{BB962C8B-B14F-4D97-AF65-F5344CB8AC3E}">
        <p14:creationId xmlns:p14="http://schemas.microsoft.com/office/powerpoint/2010/main" val="402925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ChangeArrowheads="1"/>
          </p:cNvSpPr>
          <p:nvPr>
            <p:ph type="title"/>
          </p:nvPr>
        </p:nvSpPr>
        <p:spPr/>
        <p:txBody>
          <a:bodyPr/>
          <a:lstStyle/>
          <a:p>
            <a:r>
              <a:rPr lang="ru-RU" altLang="x-none" sz="4000" b="1" dirty="0">
                <a:solidFill>
                  <a:srgbClr val="32ACFA"/>
                </a:solidFill>
              </a:rPr>
              <a:t>CRISP-DM</a:t>
            </a:r>
            <a:r>
              <a:rPr lang="ru-RU" altLang="x-none" sz="4000" b="1" dirty="0"/>
              <a:t> методология</a:t>
            </a:r>
            <a:r>
              <a:rPr lang="ru-RU" altLang="x-none" sz="4000" dirty="0"/>
              <a:t/>
            </a:r>
            <a:br>
              <a:rPr lang="ru-RU" altLang="x-none" sz="4000" dirty="0"/>
            </a:br>
            <a:endParaRPr lang="ru-RU" altLang="x-none" sz="4000" dirty="0"/>
          </a:p>
        </p:txBody>
      </p:sp>
      <p:sp>
        <p:nvSpPr>
          <p:cNvPr id="60419" name="Rectangle 3"/>
          <p:cNvSpPr>
            <a:spLocks noGrp="1" noChangeArrowheads="1"/>
          </p:cNvSpPr>
          <p:nvPr>
            <p:ph type="body" idx="1"/>
          </p:nvPr>
        </p:nvSpPr>
        <p:spPr>
          <a:xfrm>
            <a:off x="609600" y="981076"/>
            <a:ext cx="10363200" cy="5688013"/>
          </a:xfrm>
        </p:spPr>
        <p:txBody>
          <a:bodyPr/>
          <a:lstStyle/>
          <a:p>
            <a:pPr>
              <a:lnSpc>
                <a:spcPct val="80000"/>
              </a:lnSpc>
              <a:buFontTx/>
              <a:buNone/>
            </a:pPr>
            <a:r>
              <a:rPr lang="ru-RU" sz="2400" b="1" dirty="0" smtClean="0"/>
              <a:t>CRISP-DM</a:t>
            </a:r>
            <a:r>
              <a:rPr lang="ru-RU" sz="2400" dirty="0" smtClean="0"/>
              <a:t> </a:t>
            </a:r>
            <a:r>
              <a:rPr lang="ru-RU" sz="2400" dirty="0"/>
              <a:t>(от английского </a:t>
            </a:r>
            <a:r>
              <a:rPr lang="ru-RU" sz="2400" dirty="0" err="1"/>
              <a:t>Cross-Industry</a:t>
            </a:r>
            <a:r>
              <a:rPr lang="ru-RU" sz="2400" dirty="0"/>
              <a:t> </a:t>
            </a:r>
            <a:r>
              <a:rPr lang="ru-RU" sz="2400" dirty="0" err="1"/>
              <a:t>Standard</a:t>
            </a:r>
            <a:r>
              <a:rPr lang="ru-RU" sz="2400" dirty="0"/>
              <a:t> </a:t>
            </a:r>
            <a:r>
              <a:rPr lang="ru-RU" sz="2400" dirty="0" err="1"/>
              <a:t>Process</a:t>
            </a:r>
            <a:r>
              <a:rPr lang="ru-RU" sz="2400" dirty="0"/>
              <a:t> </a:t>
            </a:r>
            <a:r>
              <a:rPr lang="ru-RU" sz="2400" dirty="0" err="1"/>
              <a:t>for</a:t>
            </a:r>
            <a:r>
              <a:rPr lang="ru-RU" sz="2400" dirty="0"/>
              <a:t> </a:t>
            </a:r>
            <a:r>
              <a:rPr lang="ru-RU" sz="2400" dirty="0" err="1"/>
              <a:t>Data</a:t>
            </a:r>
            <a:r>
              <a:rPr lang="ru-RU" sz="2400" dirty="0"/>
              <a:t> </a:t>
            </a:r>
            <a:r>
              <a:rPr lang="ru-RU" sz="2400" dirty="0" err="1" smtClean="0"/>
              <a:t>Mining</a:t>
            </a:r>
            <a:r>
              <a:rPr lang="ru-RU" sz="2400" dirty="0" smtClean="0"/>
              <a:t>) межотраслевой </a:t>
            </a:r>
            <a:r>
              <a:rPr lang="ru-RU" sz="2400" dirty="0"/>
              <a:t>стандартный процесс исследования данных. </a:t>
            </a:r>
            <a:r>
              <a:rPr lang="ru-RU" sz="2400" dirty="0" smtClean="0"/>
              <a:t>Это проверенная </a:t>
            </a:r>
            <a:r>
              <a:rPr lang="ru-RU" sz="2400" dirty="0"/>
              <a:t>в промышленности и наиболее распространённая методология, первая версия которой была представлена в Брюсселе в марте 1999 года, а пошаговая инструкция опубликована в 2000 </a:t>
            </a:r>
            <a:r>
              <a:rPr lang="ru-RU" sz="2400" dirty="0" smtClean="0"/>
              <a:t>году</a:t>
            </a:r>
          </a:p>
          <a:p>
            <a:pPr>
              <a:lnSpc>
                <a:spcPct val="80000"/>
              </a:lnSpc>
              <a:buFontTx/>
              <a:buNone/>
            </a:pPr>
            <a:r>
              <a:rPr lang="ru-RU" sz="2400" dirty="0"/>
              <a:t>Последовательность между фазами определена не строго, переходы могут повторяться от итерации к </a:t>
            </a:r>
            <a:r>
              <a:rPr lang="ru-RU" sz="2400" dirty="0" smtClean="0"/>
              <a:t>итерации. </a:t>
            </a:r>
            <a:r>
              <a:rPr lang="ru-RU" sz="2400" dirty="0"/>
              <a:t>Все фазы CRISP-DM делятся на задачи, по итогам каждой должен быть достигнут конкретный </a:t>
            </a:r>
            <a:r>
              <a:rPr lang="ru-RU" sz="2400" dirty="0" smtClean="0"/>
              <a:t>результат. </a:t>
            </a:r>
            <a:r>
              <a:rPr lang="ru-RU" altLang="x-none" sz="2400" dirty="0" err="1" smtClean="0"/>
              <a:t>Data</a:t>
            </a:r>
            <a:r>
              <a:rPr lang="ru-RU" altLang="x-none" sz="2400" dirty="0" smtClean="0"/>
              <a:t> </a:t>
            </a:r>
            <a:r>
              <a:rPr lang="ru-RU" altLang="x-none" sz="2400" dirty="0" err="1"/>
              <a:t>Mining</a:t>
            </a:r>
            <a:r>
              <a:rPr lang="ru-RU" altLang="x-none" sz="2400" dirty="0"/>
              <a:t> по стандарту CRISP-DM включает следующие фазы</a:t>
            </a:r>
            <a:r>
              <a:rPr lang="ru-RU" altLang="x-none" sz="2400" dirty="0" smtClean="0"/>
              <a:t>:</a:t>
            </a:r>
          </a:p>
          <a:p>
            <a:pPr>
              <a:lnSpc>
                <a:spcPct val="80000"/>
              </a:lnSpc>
              <a:buFontTx/>
              <a:buNone/>
            </a:pPr>
            <a:endParaRPr lang="ru-RU" altLang="x-none" sz="2400" dirty="0"/>
          </a:p>
          <a:p>
            <a:pPr>
              <a:lnSpc>
                <a:spcPct val="80000"/>
              </a:lnSpc>
              <a:buFontTx/>
              <a:buNone/>
            </a:pPr>
            <a:r>
              <a:rPr lang="ru-RU" altLang="x-none" sz="2400" dirty="0"/>
              <a:t>1. </a:t>
            </a:r>
            <a:r>
              <a:rPr lang="ru-RU" altLang="x-none" sz="2400" b="1" dirty="0" smtClean="0"/>
              <a:t>Понимание бизнеса </a:t>
            </a:r>
            <a:r>
              <a:rPr lang="ru-RU" altLang="x-none" sz="2400" dirty="0"/>
              <a:t>(</a:t>
            </a:r>
            <a:r>
              <a:rPr lang="ru-RU" altLang="x-none" sz="2400" dirty="0" err="1"/>
              <a:t>Business</a:t>
            </a:r>
            <a:r>
              <a:rPr lang="ru-RU" altLang="x-none" sz="2400" dirty="0"/>
              <a:t> </a:t>
            </a:r>
            <a:r>
              <a:rPr lang="ru-RU" altLang="x-none" sz="2400" dirty="0" err="1"/>
              <a:t>understanding</a:t>
            </a:r>
            <a:r>
              <a:rPr lang="ru-RU" altLang="x-none" sz="2400" dirty="0"/>
              <a:t>).</a:t>
            </a:r>
          </a:p>
          <a:p>
            <a:pPr>
              <a:lnSpc>
                <a:spcPct val="80000"/>
              </a:lnSpc>
              <a:buFontTx/>
              <a:buNone/>
            </a:pPr>
            <a:r>
              <a:rPr lang="ru-RU" altLang="x-none" sz="2400" dirty="0"/>
              <a:t>2. </a:t>
            </a:r>
            <a:r>
              <a:rPr lang="ru-RU" altLang="x-none" sz="2400" b="1" dirty="0" smtClean="0"/>
              <a:t>Изучение данных </a:t>
            </a:r>
            <a:r>
              <a:rPr lang="ru-RU" altLang="x-none" sz="2400" dirty="0"/>
              <a:t>(</a:t>
            </a:r>
            <a:r>
              <a:rPr lang="ru-RU" altLang="x-none" sz="2400" dirty="0" err="1"/>
              <a:t>Data</a:t>
            </a:r>
            <a:r>
              <a:rPr lang="ru-RU" altLang="x-none" sz="2400" dirty="0"/>
              <a:t> </a:t>
            </a:r>
            <a:r>
              <a:rPr lang="ru-RU" altLang="x-none" sz="2400" dirty="0" err="1"/>
              <a:t>understanding</a:t>
            </a:r>
            <a:r>
              <a:rPr lang="ru-RU" altLang="x-none" sz="2400" dirty="0"/>
              <a:t>).</a:t>
            </a:r>
          </a:p>
          <a:p>
            <a:pPr>
              <a:lnSpc>
                <a:spcPct val="80000"/>
              </a:lnSpc>
              <a:buFontTx/>
              <a:buNone/>
            </a:pPr>
            <a:r>
              <a:rPr lang="ru-RU" altLang="x-none" sz="2400" dirty="0"/>
              <a:t>3. </a:t>
            </a:r>
            <a:r>
              <a:rPr lang="ru-RU" altLang="x-none" sz="2400" b="1" dirty="0"/>
              <a:t>Подготовка данных </a:t>
            </a:r>
            <a:r>
              <a:rPr lang="ru-RU" altLang="x-none" sz="2400" dirty="0"/>
              <a:t>(</a:t>
            </a:r>
            <a:r>
              <a:rPr lang="ru-RU" altLang="x-none" sz="2400" dirty="0" err="1"/>
              <a:t>Data</a:t>
            </a:r>
            <a:r>
              <a:rPr lang="ru-RU" altLang="x-none" sz="2400" dirty="0"/>
              <a:t> </a:t>
            </a:r>
            <a:r>
              <a:rPr lang="ru-RU" altLang="x-none" sz="2400" dirty="0" err="1"/>
              <a:t>preparation</a:t>
            </a:r>
            <a:r>
              <a:rPr lang="ru-RU" altLang="x-none" sz="2400" dirty="0"/>
              <a:t>).</a:t>
            </a:r>
          </a:p>
          <a:p>
            <a:pPr>
              <a:lnSpc>
                <a:spcPct val="80000"/>
              </a:lnSpc>
              <a:buFontTx/>
              <a:buNone/>
            </a:pPr>
            <a:r>
              <a:rPr lang="ru-RU" altLang="x-none" sz="2400" dirty="0"/>
              <a:t>4. </a:t>
            </a:r>
            <a:r>
              <a:rPr lang="ru-RU" altLang="x-none" sz="2400" b="1" dirty="0"/>
              <a:t>Моделирование</a:t>
            </a:r>
            <a:r>
              <a:rPr lang="ru-RU" altLang="x-none" sz="2400" dirty="0"/>
              <a:t> (</a:t>
            </a:r>
            <a:r>
              <a:rPr lang="ru-RU" altLang="x-none" sz="2400" dirty="0" err="1"/>
              <a:t>Modeling</a:t>
            </a:r>
            <a:r>
              <a:rPr lang="ru-RU" altLang="x-none" sz="2400" dirty="0"/>
              <a:t>).</a:t>
            </a:r>
          </a:p>
          <a:p>
            <a:pPr>
              <a:lnSpc>
                <a:spcPct val="80000"/>
              </a:lnSpc>
              <a:buFontTx/>
              <a:buNone/>
            </a:pPr>
            <a:r>
              <a:rPr lang="ru-RU" altLang="x-none" sz="2400" dirty="0"/>
              <a:t>5. </a:t>
            </a:r>
            <a:r>
              <a:rPr lang="ru-RU" altLang="x-none" sz="2400" b="1" dirty="0"/>
              <a:t>Оценка результатов </a:t>
            </a:r>
            <a:r>
              <a:rPr lang="ru-RU" altLang="x-none" sz="2400" dirty="0"/>
              <a:t>(</a:t>
            </a:r>
            <a:r>
              <a:rPr lang="ru-RU" altLang="x-none" sz="2400" dirty="0" err="1"/>
              <a:t>Evaluation</a:t>
            </a:r>
            <a:r>
              <a:rPr lang="ru-RU" altLang="x-none" sz="2400" dirty="0"/>
              <a:t>).</a:t>
            </a:r>
          </a:p>
          <a:p>
            <a:pPr>
              <a:lnSpc>
                <a:spcPct val="80000"/>
              </a:lnSpc>
              <a:buFontTx/>
              <a:buNone/>
            </a:pPr>
            <a:r>
              <a:rPr lang="ru-RU" altLang="x-none" sz="2400" dirty="0"/>
              <a:t>6. </a:t>
            </a:r>
            <a:r>
              <a:rPr lang="ru-RU" altLang="x-none" sz="2400" b="1" dirty="0"/>
              <a:t>Внедрение</a:t>
            </a:r>
            <a:r>
              <a:rPr lang="ru-RU" altLang="x-none" sz="2400" dirty="0"/>
              <a:t> (</a:t>
            </a:r>
            <a:r>
              <a:rPr lang="ru-RU" altLang="x-none" sz="2400" dirty="0" err="1"/>
              <a:t>Deployment</a:t>
            </a:r>
            <a:r>
              <a:rPr lang="ru-RU" altLang="x-none" sz="2400" dirty="0"/>
              <a:t>).</a:t>
            </a:r>
          </a:p>
          <a:p>
            <a:pPr>
              <a:lnSpc>
                <a:spcPct val="80000"/>
              </a:lnSpc>
              <a:buFontTx/>
              <a:buNone/>
            </a:pPr>
            <a:endParaRPr lang="ru-RU" altLang="x-none" sz="2400" dirty="0"/>
          </a:p>
        </p:txBody>
      </p:sp>
      <p:pic>
        <p:nvPicPr>
          <p:cNvPr id="4" name="Рисунок 3"/>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r="49804"/>
          <a:stretch/>
        </p:blipFill>
        <p:spPr>
          <a:xfrm>
            <a:off x="8038357" y="3623733"/>
            <a:ext cx="3381060" cy="3234267"/>
          </a:xfrm>
          <a:prstGeom prst="rect">
            <a:avLst/>
          </a:prstGeom>
        </p:spPr>
      </p:pic>
    </p:spTree>
    <p:extLst>
      <p:ext uri="{BB962C8B-B14F-4D97-AF65-F5344CB8AC3E}">
        <p14:creationId xmlns:p14="http://schemas.microsoft.com/office/powerpoint/2010/main" val="107047790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ChangeArrowheads="1"/>
          </p:cNvSpPr>
          <p:nvPr>
            <p:ph type="title"/>
          </p:nvPr>
        </p:nvSpPr>
        <p:spPr/>
        <p:txBody>
          <a:bodyPr/>
          <a:lstStyle/>
          <a:p>
            <a:r>
              <a:rPr lang="ru-RU" altLang="x-none" sz="4000" b="1" dirty="0">
                <a:solidFill>
                  <a:srgbClr val="32ACFA"/>
                </a:solidFill>
              </a:rPr>
              <a:t>CRISP-DM</a:t>
            </a:r>
            <a:r>
              <a:rPr lang="ru-RU" altLang="x-none" sz="4000" b="1" dirty="0"/>
              <a:t> </a:t>
            </a:r>
            <a:r>
              <a:rPr lang="ru-RU" altLang="x-none" sz="4000" b="1" dirty="0" smtClean="0"/>
              <a:t>методология - </a:t>
            </a:r>
            <a:r>
              <a:rPr lang="ru-RU" sz="4000" b="1" dirty="0"/>
              <a:t>Понимание бизнеса </a:t>
            </a:r>
            <a:r>
              <a:rPr lang="ru-RU" altLang="x-none" sz="4000" b="1" dirty="0"/>
              <a:t/>
            </a:r>
            <a:br>
              <a:rPr lang="ru-RU" altLang="x-none" sz="4000" b="1" dirty="0"/>
            </a:br>
            <a:endParaRPr lang="ru-RU" altLang="x-none" sz="4000" b="1" dirty="0"/>
          </a:p>
        </p:txBody>
      </p:sp>
      <p:sp>
        <p:nvSpPr>
          <p:cNvPr id="4" name="Прямоугольник 3"/>
          <p:cNvSpPr/>
          <p:nvPr/>
        </p:nvSpPr>
        <p:spPr>
          <a:xfrm>
            <a:off x="609600" y="1417637"/>
            <a:ext cx="10972800" cy="4216539"/>
          </a:xfrm>
          <a:prstGeom prst="rect">
            <a:avLst/>
          </a:prstGeom>
        </p:spPr>
        <p:txBody>
          <a:bodyPr wrap="square">
            <a:spAutoFit/>
          </a:bodyPr>
          <a:lstStyle/>
          <a:p>
            <a:pPr algn="just">
              <a:buFont typeface="+mj-lt"/>
              <a:buAutoNum type="arabicPeriod"/>
            </a:pPr>
            <a:r>
              <a:rPr lang="en-US" sz="2400" b="1" dirty="0" smtClean="0"/>
              <a:t> </a:t>
            </a:r>
            <a:r>
              <a:rPr lang="ru-RU" sz="2400" b="1" dirty="0" smtClean="0"/>
              <a:t>Понимание </a:t>
            </a:r>
            <a:r>
              <a:rPr lang="ru-RU" sz="2400" b="1" dirty="0"/>
              <a:t>бизнеса (</a:t>
            </a:r>
            <a:r>
              <a:rPr lang="ru-RU" sz="2400" b="1" dirty="0" err="1"/>
              <a:t>Business</a:t>
            </a:r>
            <a:r>
              <a:rPr lang="ru-RU" sz="2400" b="1" dirty="0"/>
              <a:t> </a:t>
            </a:r>
            <a:r>
              <a:rPr lang="ru-RU" sz="2400" b="1" dirty="0" err="1"/>
              <a:t>Understanding</a:t>
            </a:r>
            <a:r>
              <a:rPr lang="ru-RU" sz="2400" b="1" dirty="0"/>
              <a:t>) </a:t>
            </a:r>
            <a:r>
              <a:rPr lang="ru-RU" sz="2400" dirty="0"/>
              <a:t>– определение целей проекта и требований со стороны бизнеса. Затем эти знания конвертируются в постановку задачи интеллектуального анализа данных и предварительный план достижения целей проекта. </a:t>
            </a:r>
          </a:p>
          <a:p>
            <a:pPr algn="just">
              <a:buFont typeface="+mj-lt"/>
              <a:buAutoNum type="arabicPeriod"/>
            </a:pPr>
            <a:endParaRPr lang="en-US" sz="2400" dirty="0" smtClean="0"/>
          </a:p>
          <a:p>
            <a:pPr algn="just">
              <a:buFont typeface="+mj-lt"/>
              <a:buAutoNum type="arabicPeriod"/>
            </a:pPr>
            <a:endParaRPr lang="ru-RU" sz="2400" dirty="0"/>
          </a:p>
          <a:p>
            <a:pPr algn="just"/>
            <a:r>
              <a:rPr lang="ru-RU" sz="2800" b="1" dirty="0"/>
              <a:t>Задачи фазы </a:t>
            </a:r>
            <a:r>
              <a:rPr lang="ru-RU" sz="2800" b="1" dirty="0" err="1"/>
              <a:t>Business</a:t>
            </a:r>
            <a:r>
              <a:rPr lang="ru-RU" sz="2800" b="1" dirty="0"/>
              <a:t> </a:t>
            </a:r>
            <a:r>
              <a:rPr lang="ru-RU" sz="2800" b="1" dirty="0" err="1"/>
              <a:t>Understanding</a:t>
            </a:r>
            <a:r>
              <a:rPr lang="ru-RU" sz="2800" b="1" dirty="0"/>
              <a:t>:</a:t>
            </a:r>
          </a:p>
          <a:p>
            <a:pPr algn="just">
              <a:buFont typeface="Arial" charset="0"/>
              <a:buChar char="•"/>
            </a:pPr>
            <a:r>
              <a:rPr lang="ru-RU" sz="2400" dirty="0"/>
              <a:t>Определить бизнес-цели</a:t>
            </a:r>
          </a:p>
          <a:p>
            <a:pPr algn="just">
              <a:buFont typeface="Arial" charset="0"/>
              <a:buChar char="•"/>
            </a:pPr>
            <a:r>
              <a:rPr lang="ru-RU" sz="2400" dirty="0"/>
              <a:t>Оценить ситуацию</a:t>
            </a:r>
          </a:p>
          <a:p>
            <a:pPr algn="just">
              <a:buFont typeface="Arial" charset="0"/>
              <a:buChar char="•"/>
            </a:pPr>
            <a:r>
              <a:rPr lang="ru-RU" sz="2400" dirty="0"/>
              <a:t>Определить цели анализа данных</a:t>
            </a:r>
          </a:p>
          <a:p>
            <a:pPr algn="just">
              <a:buFont typeface="Arial" charset="0"/>
              <a:buChar char="•"/>
            </a:pPr>
            <a:r>
              <a:rPr lang="ru-RU" sz="2400" dirty="0"/>
              <a:t>Составить план проекта</a:t>
            </a:r>
          </a:p>
        </p:txBody>
      </p:sp>
      <p:sp>
        <p:nvSpPr>
          <p:cNvPr id="5" name="Овал 4"/>
          <p:cNvSpPr/>
          <p:nvPr/>
        </p:nvSpPr>
        <p:spPr>
          <a:xfrm>
            <a:off x="8009466" y="3335867"/>
            <a:ext cx="2844800" cy="2844800"/>
          </a:xfrm>
          <a:prstGeom prst="ellipse">
            <a:avLst/>
          </a:prstGeom>
          <a:gradFill>
            <a:gsLst>
              <a:gs pos="0">
                <a:schemeClr val="accent1">
                  <a:alpha val="50000"/>
                </a:schemeClr>
              </a:gs>
              <a:gs pos="100000">
                <a:schemeClr val="accent4">
                  <a:lumMod val="100000"/>
                  <a:alpha val="81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19066" y="3945467"/>
            <a:ext cx="1625600" cy="1625600"/>
          </a:xfrm>
          <a:prstGeom prst="rect">
            <a:avLst/>
          </a:prstGeom>
        </p:spPr>
      </p:pic>
    </p:spTree>
    <p:extLst>
      <p:ext uri="{BB962C8B-B14F-4D97-AF65-F5344CB8AC3E}">
        <p14:creationId xmlns:p14="http://schemas.microsoft.com/office/powerpoint/2010/main" val="153482796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ChangeArrowheads="1"/>
          </p:cNvSpPr>
          <p:nvPr>
            <p:ph type="title"/>
          </p:nvPr>
        </p:nvSpPr>
        <p:spPr/>
        <p:txBody>
          <a:bodyPr/>
          <a:lstStyle/>
          <a:p>
            <a:r>
              <a:rPr lang="ru-RU" altLang="x-none" sz="4000" b="1" dirty="0" smtClean="0">
                <a:solidFill>
                  <a:srgbClr val="32ACFA"/>
                </a:solidFill>
              </a:rPr>
              <a:t>CRISP-DM</a:t>
            </a:r>
            <a:r>
              <a:rPr lang="ru-RU" altLang="x-none" sz="4000" b="1" dirty="0" smtClean="0"/>
              <a:t> методология </a:t>
            </a:r>
            <a:r>
              <a:rPr lang="mr-IN" altLang="x-none" sz="4000" b="1" dirty="0" smtClean="0"/>
              <a:t>–</a:t>
            </a:r>
            <a:r>
              <a:rPr lang="ru-RU" altLang="x-none" sz="4000" b="1" dirty="0" smtClean="0"/>
              <a:t> Начальное изучение данных</a:t>
            </a:r>
            <a:endParaRPr lang="ru-RU" altLang="x-none" sz="4000" b="1" dirty="0"/>
          </a:p>
        </p:txBody>
      </p:sp>
      <p:sp>
        <p:nvSpPr>
          <p:cNvPr id="4" name="Прямоугольник 3"/>
          <p:cNvSpPr/>
          <p:nvPr/>
        </p:nvSpPr>
        <p:spPr>
          <a:xfrm>
            <a:off x="609600" y="1417637"/>
            <a:ext cx="10972800" cy="4955203"/>
          </a:xfrm>
          <a:prstGeom prst="rect">
            <a:avLst/>
          </a:prstGeom>
        </p:spPr>
        <p:txBody>
          <a:bodyPr wrap="square">
            <a:spAutoFit/>
          </a:bodyPr>
          <a:lstStyle/>
          <a:p>
            <a:r>
              <a:rPr lang="en-US" sz="2400" b="1" dirty="0" smtClean="0"/>
              <a:t>2. </a:t>
            </a:r>
            <a:r>
              <a:rPr lang="ru-RU" sz="2400" b="1" dirty="0" smtClean="0"/>
              <a:t>Начальное </a:t>
            </a:r>
            <a:r>
              <a:rPr lang="ru-RU" sz="2400" b="1" dirty="0"/>
              <a:t>изучение данных (</a:t>
            </a:r>
            <a:r>
              <a:rPr lang="ru-RU" sz="2400" b="1" dirty="0" err="1"/>
              <a:t>Data</a:t>
            </a:r>
            <a:r>
              <a:rPr lang="ru-RU" sz="2400" b="1" dirty="0"/>
              <a:t> </a:t>
            </a:r>
            <a:r>
              <a:rPr lang="ru-RU" sz="2400" b="1" dirty="0" err="1"/>
              <a:t>Understanding</a:t>
            </a:r>
            <a:r>
              <a:rPr lang="ru-RU" sz="2400" b="1" dirty="0"/>
              <a:t>) – </a:t>
            </a:r>
            <a:r>
              <a:rPr lang="ru-RU" sz="2400" dirty="0"/>
              <a:t>сбор данных и знакомство с информацией, выявление проблем с качеством данных (ошибки или пропуски). Необходимо понять, какие сведения имеются, попробовать отыскать интересные наборы данных или сформировать гипотезы о наличии в них скрытых закономерностей. </a:t>
            </a:r>
            <a:endParaRPr lang="en-US" sz="2400" dirty="0" smtClean="0"/>
          </a:p>
          <a:p>
            <a:endParaRPr lang="en-US" sz="2400" b="1" dirty="0"/>
          </a:p>
          <a:p>
            <a:r>
              <a:rPr lang="ru-RU" sz="2800" b="1" dirty="0" smtClean="0"/>
              <a:t>Задачи </a:t>
            </a:r>
            <a:r>
              <a:rPr lang="ru-RU" sz="2800" b="1" dirty="0"/>
              <a:t>фазы </a:t>
            </a:r>
            <a:r>
              <a:rPr lang="ru-RU" sz="2800" b="1" dirty="0" err="1"/>
              <a:t>Data</a:t>
            </a:r>
            <a:r>
              <a:rPr lang="ru-RU" sz="2800" b="1" dirty="0"/>
              <a:t> </a:t>
            </a:r>
            <a:r>
              <a:rPr lang="ru-RU" sz="2800" b="1" dirty="0" err="1"/>
              <a:t>Understanding</a:t>
            </a:r>
            <a:r>
              <a:rPr lang="ru-RU" sz="2800" dirty="0"/>
              <a:t>:</a:t>
            </a:r>
          </a:p>
          <a:p>
            <a:pPr marL="342900" indent="-342900">
              <a:buFont typeface="Arial" charset="0"/>
              <a:buChar char="•"/>
            </a:pPr>
            <a:r>
              <a:rPr lang="ru-RU" sz="2400" dirty="0"/>
              <a:t>Собрать исходные данные</a:t>
            </a:r>
          </a:p>
          <a:p>
            <a:pPr marL="342900" indent="-342900">
              <a:buFont typeface="Arial" charset="0"/>
              <a:buChar char="•"/>
            </a:pPr>
            <a:r>
              <a:rPr lang="ru-RU" sz="2400" dirty="0"/>
              <a:t>Описать данные</a:t>
            </a:r>
          </a:p>
          <a:p>
            <a:pPr marL="342900" indent="-342900">
              <a:buFont typeface="Arial" charset="0"/>
              <a:buChar char="•"/>
            </a:pPr>
            <a:r>
              <a:rPr lang="ru-RU" sz="2400" dirty="0"/>
              <a:t>Исследовать данные</a:t>
            </a:r>
          </a:p>
          <a:p>
            <a:pPr marL="342900" indent="-342900">
              <a:buFont typeface="Arial" charset="0"/>
              <a:buChar char="•"/>
            </a:pPr>
            <a:r>
              <a:rPr lang="ru-RU" sz="2400" dirty="0"/>
              <a:t>Проверить качество данных</a:t>
            </a:r>
          </a:p>
          <a:p>
            <a:r>
              <a:rPr lang="ru-RU" sz="2400" dirty="0"/>
              <a:t/>
            </a:r>
            <a:br>
              <a:rPr lang="ru-RU" sz="2400" dirty="0"/>
            </a:br>
            <a:endParaRPr lang="ru-RU" sz="2400" dirty="0"/>
          </a:p>
        </p:txBody>
      </p:sp>
      <p:sp>
        <p:nvSpPr>
          <p:cNvPr id="5" name="Овал 4"/>
          <p:cNvSpPr/>
          <p:nvPr/>
        </p:nvSpPr>
        <p:spPr>
          <a:xfrm>
            <a:off x="8009466" y="3369733"/>
            <a:ext cx="2844800" cy="2844800"/>
          </a:xfrm>
          <a:prstGeom prst="ellipse">
            <a:avLst/>
          </a:prstGeom>
          <a:gradFill>
            <a:gsLst>
              <a:gs pos="0">
                <a:schemeClr val="accent1">
                  <a:alpha val="50000"/>
                </a:schemeClr>
              </a:gs>
              <a:gs pos="100000">
                <a:schemeClr val="accent4">
                  <a:lumMod val="100000"/>
                  <a:alpha val="81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52933" y="4013200"/>
            <a:ext cx="1557866" cy="1557866"/>
          </a:xfrm>
          <a:prstGeom prst="rect">
            <a:avLst/>
          </a:prstGeom>
        </p:spPr>
      </p:pic>
    </p:spTree>
    <p:extLst>
      <p:ext uri="{BB962C8B-B14F-4D97-AF65-F5344CB8AC3E}">
        <p14:creationId xmlns:p14="http://schemas.microsoft.com/office/powerpoint/2010/main" val="112144742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ChangeArrowheads="1"/>
          </p:cNvSpPr>
          <p:nvPr>
            <p:ph type="title"/>
          </p:nvPr>
        </p:nvSpPr>
        <p:spPr/>
        <p:txBody>
          <a:bodyPr/>
          <a:lstStyle/>
          <a:p>
            <a:r>
              <a:rPr lang="ru-RU" altLang="x-none" sz="4000" b="1" dirty="0">
                <a:solidFill>
                  <a:srgbClr val="32ACFA"/>
                </a:solidFill>
              </a:rPr>
              <a:t>CRISP-DM</a:t>
            </a:r>
            <a:r>
              <a:rPr lang="ru-RU" altLang="x-none" sz="4000" b="1" dirty="0"/>
              <a:t> </a:t>
            </a:r>
            <a:r>
              <a:rPr lang="ru-RU" altLang="x-none" sz="4000" b="1" dirty="0" smtClean="0"/>
              <a:t>методология </a:t>
            </a:r>
            <a:r>
              <a:rPr lang="mr-IN" altLang="x-none" sz="4000" b="1" dirty="0" smtClean="0"/>
              <a:t>–</a:t>
            </a:r>
            <a:r>
              <a:rPr lang="ru-RU" altLang="x-none" sz="4000" b="1" dirty="0" smtClean="0"/>
              <a:t> Подготовка данных</a:t>
            </a:r>
            <a:r>
              <a:rPr lang="ru-RU" altLang="x-none" sz="4000" b="1" dirty="0"/>
              <a:t/>
            </a:r>
            <a:br>
              <a:rPr lang="ru-RU" altLang="x-none" sz="4000" b="1" dirty="0"/>
            </a:br>
            <a:endParaRPr lang="ru-RU" altLang="x-none" sz="4000" b="1" dirty="0"/>
          </a:p>
        </p:txBody>
      </p:sp>
      <p:sp>
        <p:nvSpPr>
          <p:cNvPr id="4" name="Прямоугольник 3"/>
          <p:cNvSpPr/>
          <p:nvPr/>
        </p:nvSpPr>
        <p:spPr>
          <a:xfrm>
            <a:off x="609600" y="1417637"/>
            <a:ext cx="10972800" cy="4585871"/>
          </a:xfrm>
          <a:prstGeom prst="rect">
            <a:avLst/>
          </a:prstGeom>
        </p:spPr>
        <p:txBody>
          <a:bodyPr wrap="square">
            <a:spAutoFit/>
          </a:bodyPr>
          <a:lstStyle/>
          <a:p>
            <a:r>
              <a:rPr lang="ru-RU" sz="2400" b="1" dirty="0" smtClean="0"/>
              <a:t>3. Подготовка </a:t>
            </a:r>
            <a:r>
              <a:rPr lang="ru-RU" sz="2400" b="1" dirty="0"/>
              <a:t>данных (</a:t>
            </a:r>
            <a:r>
              <a:rPr lang="ru-RU" sz="2400" b="1" dirty="0" err="1"/>
              <a:t>Data</a:t>
            </a:r>
            <a:r>
              <a:rPr lang="ru-RU" sz="2400" b="1" dirty="0"/>
              <a:t> </a:t>
            </a:r>
            <a:r>
              <a:rPr lang="ru-RU" sz="2400" b="1" dirty="0" err="1"/>
              <a:t>Preparation</a:t>
            </a:r>
            <a:r>
              <a:rPr lang="ru-RU" sz="2400" b="1" dirty="0"/>
              <a:t>) – </a:t>
            </a:r>
            <a:r>
              <a:rPr lang="ru-RU" sz="2400" dirty="0"/>
              <a:t>получение итогового набора данных, которые будут использоваться при моделировании, из исходных разнородных и </a:t>
            </a:r>
            <a:r>
              <a:rPr lang="ru-RU" sz="2400" dirty="0" err="1"/>
              <a:t>разноформатных</a:t>
            </a:r>
            <a:r>
              <a:rPr lang="ru-RU" sz="2400" dirty="0"/>
              <a:t> данных. </a:t>
            </a:r>
            <a:endParaRPr lang="ru-RU" sz="2400" dirty="0" smtClean="0"/>
          </a:p>
          <a:p>
            <a:endParaRPr lang="ru-RU" sz="2400" dirty="0" smtClean="0"/>
          </a:p>
          <a:p>
            <a:r>
              <a:rPr lang="ru-RU" sz="2800" b="1" dirty="0" smtClean="0"/>
              <a:t>Задачи </a:t>
            </a:r>
            <a:r>
              <a:rPr lang="ru-RU" sz="2800" b="1" dirty="0"/>
              <a:t>фазы </a:t>
            </a:r>
            <a:r>
              <a:rPr lang="ru-RU" sz="2800" b="1" dirty="0" err="1"/>
              <a:t>Data</a:t>
            </a:r>
            <a:r>
              <a:rPr lang="ru-RU" sz="2800" b="1" dirty="0"/>
              <a:t> </a:t>
            </a:r>
            <a:r>
              <a:rPr lang="ru-RU" sz="2800" b="1" dirty="0" err="1" smtClean="0"/>
              <a:t>Preparation</a:t>
            </a:r>
            <a:r>
              <a:rPr lang="ru-RU" sz="2400" dirty="0" smtClean="0"/>
              <a:t>:</a:t>
            </a:r>
            <a:endParaRPr lang="ru-RU" sz="2400" dirty="0"/>
          </a:p>
          <a:p>
            <a:pPr marL="342900" indent="-342900">
              <a:buFont typeface="Arial" charset="0"/>
              <a:buChar char="•"/>
            </a:pPr>
            <a:r>
              <a:rPr lang="ru-RU" sz="2400" dirty="0"/>
              <a:t>Отобрать данные (таблицы, записи и атрибуты)</a:t>
            </a:r>
          </a:p>
          <a:p>
            <a:pPr marL="342900" indent="-342900">
              <a:buFont typeface="Arial" charset="0"/>
              <a:buChar char="•"/>
            </a:pPr>
            <a:r>
              <a:rPr lang="ru-RU" sz="2400" dirty="0"/>
              <a:t>Очистить </a:t>
            </a:r>
            <a:r>
              <a:rPr lang="ru-RU" sz="2400" dirty="0" smtClean="0"/>
              <a:t>данные (в </a:t>
            </a:r>
            <a:r>
              <a:rPr lang="ru-RU" sz="2400" dirty="0" err="1"/>
              <a:t>т.ч</a:t>
            </a:r>
            <a:r>
              <a:rPr lang="ru-RU" sz="2400" dirty="0"/>
              <a:t>. </a:t>
            </a:r>
            <a:r>
              <a:rPr lang="ru-RU" sz="2400" dirty="0" smtClean="0"/>
              <a:t>Конвертация)</a:t>
            </a:r>
          </a:p>
          <a:p>
            <a:pPr marL="342900" indent="-342900">
              <a:buFont typeface="Arial" charset="0"/>
              <a:buChar char="•"/>
            </a:pPr>
            <a:r>
              <a:rPr lang="ru-RU" sz="2400" dirty="0" smtClean="0"/>
              <a:t>Сделать производные данные</a:t>
            </a:r>
          </a:p>
          <a:p>
            <a:pPr marL="342900" indent="-342900">
              <a:buFont typeface="Arial" charset="0"/>
              <a:buChar char="•"/>
            </a:pPr>
            <a:r>
              <a:rPr lang="ru-RU" sz="2400" dirty="0" smtClean="0"/>
              <a:t>Объединить </a:t>
            </a:r>
            <a:r>
              <a:rPr lang="ru-RU" sz="2400" dirty="0"/>
              <a:t>данные</a:t>
            </a:r>
          </a:p>
          <a:p>
            <a:pPr marL="342900" indent="-342900">
              <a:buFont typeface="Arial" charset="0"/>
              <a:buChar char="•"/>
            </a:pPr>
            <a:r>
              <a:rPr lang="ru-RU" sz="2400" dirty="0"/>
              <a:t>Привести данные в нужный формат</a:t>
            </a:r>
          </a:p>
          <a:p>
            <a:r>
              <a:rPr lang="ru-RU" sz="2400" dirty="0"/>
              <a:t/>
            </a:r>
            <a:br>
              <a:rPr lang="ru-RU" sz="2400" dirty="0"/>
            </a:br>
            <a:endParaRPr lang="ru-RU" sz="2400" dirty="0"/>
          </a:p>
        </p:txBody>
      </p:sp>
      <p:sp>
        <p:nvSpPr>
          <p:cNvPr id="5" name="Овал 4"/>
          <p:cNvSpPr/>
          <p:nvPr/>
        </p:nvSpPr>
        <p:spPr>
          <a:xfrm>
            <a:off x="8009466" y="3352800"/>
            <a:ext cx="2844800" cy="2844800"/>
          </a:xfrm>
          <a:prstGeom prst="ellipse">
            <a:avLst/>
          </a:prstGeom>
          <a:gradFill>
            <a:gsLst>
              <a:gs pos="0">
                <a:schemeClr val="accent1">
                  <a:alpha val="50000"/>
                </a:schemeClr>
              </a:gs>
              <a:gs pos="100000">
                <a:schemeClr val="accent4">
                  <a:lumMod val="100000"/>
                  <a:alpha val="81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49019" y="3996907"/>
            <a:ext cx="1565694" cy="1565694"/>
          </a:xfrm>
          <a:prstGeom prst="rect">
            <a:avLst/>
          </a:prstGeom>
        </p:spPr>
      </p:pic>
    </p:spTree>
    <p:extLst>
      <p:ext uri="{BB962C8B-B14F-4D97-AF65-F5344CB8AC3E}">
        <p14:creationId xmlns:p14="http://schemas.microsoft.com/office/powerpoint/2010/main" val="185031867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ChangeArrowheads="1"/>
          </p:cNvSpPr>
          <p:nvPr>
            <p:ph type="title"/>
          </p:nvPr>
        </p:nvSpPr>
        <p:spPr/>
        <p:txBody>
          <a:bodyPr/>
          <a:lstStyle/>
          <a:p>
            <a:r>
              <a:rPr lang="ru-RU" altLang="x-none" sz="4000" b="1" dirty="0">
                <a:solidFill>
                  <a:srgbClr val="32ACFA"/>
                </a:solidFill>
              </a:rPr>
              <a:t>CRISP-DM</a:t>
            </a:r>
            <a:r>
              <a:rPr lang="ru-RU" altLang="x-none" sz="4000" b="1" dirty="0"/>
              <a:t> </a:t>
            </a:r>
            <a:r>
              <a:rPr lang="ru-RU" altLang="x-none" sz="4000" b="1" dirty="0" smtClean="0"/>
              <a:t>методология - Моделирование</a:t>
            </a:r>
            <a:r>
              <a:rPr lang="ru-RU" altLang="x-none" sz="4000" b="1" dirty="0"/>
              <a:t/>
            </a:r>
            <a:br>
              <a:rPr lang="ru-RU" altLang="x-none" sz="4000" b="1" dirty="0"/>
            </a:br>
            <a:endParaRPr lang="ru-RU" altLang="x-none" sz="4000" b="1" dirty="0"/>
          </a:p>
        </p:txBody>
      </p:sp>
      <p:sp>
        <p:nvSpPr>
          <p:cNvPr id="4" name="Прямоугольник 3"/>
          <p:cNvSpPr/>
          <p:nvPr/>
        </p:nvSpPr>
        <p:spPr>
          <a:xfrm>
            <a:off x="609600" y="1417637"/>
            <a:ext cx="10972800" cy="4647426"/>
          </a:xfrm>
          <a:prstGeom prst="rect">
            <a:avLst/>
          </a:prstGeom>
        </p:spPr>
        <p:txBody>
          <a:bodyPr wrap="square">
            <a:spAutoFit/>
          </a:bodyPr>
          <a:lstStyle/>
          <a:p>
            <a:r>
              <a:rPr lang="ru-RU" sz="2400" b="1" dirty="0" smtClean="0"/>
              <a:t>4. Моделирование </a:t>
            </a:r>
            <a:r>
              <a:rPr lang="ru-RU" sz="2400" b="1" dirty="0"/>
              <a:t>(</a:t>
            </a:r>
            <a:r>
              <a:rPr lang="ru-RU" sz="2400" b="1" dirty="0" err="1"/>
              <a:t>Modeling</a:t>
            </a:r>
            <a:r>
              <a:rPr lang="ru-RU" sz="2400" b="1" dirty="0"/>
              <a:t>) – </a:t>
            </a:r>
            <a:r>
              <a:rPr lang="ru-RU" sz="2400" dirty="0"/>
              <a:t>в этой фазе к данным применяются разнообразные методики моделирования, строятся модели и их параметры настраиваются на оптимальные значения. Обычно для решения любой задачи анализа данных существует несколько различных подходов. Некоторые подходы накладывают особые требования на представление данных. Таким образом часто бывает нужен возврат на шаг назад к фазе подготовки данных. </a:t>
            </a:r>
            <a:endParaRPr lang="ru-RU" sz="2400" dirty="0" smtClean="0"/>
          </a:p>
          <a:p>
            <a:endParaRPr lang="ru-RU" sz="2800" b="1" dirty="0"/>
          </a:p>
          <a:p>
            <a:r>
              <a:rPr lang="ru-RU" sz="2800" b="1" dirty="0" smtClean="0"/>
              <a:t>Задачи </a:t>
            </a:r>
            <a:r>
              <a:rPr lang="ru-RU" sz="2800" b="1" dirty="0"/>
              <a:t>фазы </a:t>
            </a:r>
            <a:r>
              <a:rPr lang="ru-RU" sz="2800" b="1" dirty="0" err="1"/>
              <a:t>Modeling</a:t>
            </a:r>
            <a:r>
              <a:rPr lang="ru-RU" sz="2800" b="1" dirty="0"/>
              <a:t>:</a:t>
            </a:r>
            <a:endParaRPr lang="ru-RU" sz="2800" dirty="0"/>
          </a:p>
          <a:p>
            <a:pPr marL="342900" indent="-342900">
              <a:buFont typeface="Arial" charset="0"/>
              <a:buChar char="•"/>
            </a:pPr>
            <a:r>
              <a:rPr lang="ru-RU" sz="2400" dirty="0"/>
              <a:t>Выбрать методику моделирования</a:t>
            </a:r>
          </a:p>
          <a:p>
            <a:pPr marL="342900" indent="-342900">
              <a:buFont typeface="Arial" charset="0"/>
              <a:buChar char="•"/>
            </a:pPr>
            <a:r>
              <a:rPr lang="ru-RU" sz="2400" dirty="0"/>
              <a:t>Сделать тесты для модели</a:t>
            </a:r>
          </a:p>
          <a:p>
            <a:pPr marL="342900" indent="-342900">
              <a:buFont typeface="Arial" charset="0"/>
              <a:buChar char="•"/>
            </a:pPr>
            <a:r>
              <a:rPr lang="ru-RU" sz="2400" dirty="0"/>
              <a:t>Построить модель</a:t>
            </a:r>
          </a:p>
          <a:p>
            <a:pPr marL="342900" indent="-342900">
              <a:buFont typeface="Arial" charset="0"/>
              <a:buChar char="•"/>
            </a:pPr>
            <a:r>
              <a:rPr lang="ru-RU" sz="2400" dirty="0"/>
              <a:t>Оценить модель</a:t>
            </a:r>
          </a:p>
        </p:txBody>
      </p:sp>
      <p:sp>
        <p:nvSpPr>
          <p:cNvPr id="5" name="Овал 4"/>
          <p:cNvSpPr/>
          <p:nvPr/>
        </p:nvSpPr>
        <p:spPr>
          <a:xfrm>
            <a:off x="7992532" y="3741350"/>
            <a:ext cx="2844800" cy="2844800"/>
          </a:xfrm>
          <a:prstGeom prst="ellipse">
            <a:avLst/>
          </a:prstGeom>
          <a:gradFill>
            <a:gsLst>
              <a:gs pos="0">
                <a:schemeClr val="accent1">
                  <a:alpha val="50000"/>
                </a:schemeClr>
              </a:gs>
              <a:gs pos="100000">
                <a:schemeClr val="accent4">
                  <a:lumMod val="100000"/>
                  <a:alpha val="81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35082" y="4383900"/>
            <a:ext cx="1559700" cy="1559700"/>
          </a:xfrm>
          <a:prstGeom prst="rect">
            <a:avLst/>
          </a:prstGeom>
        </p:spPr>
      </p:pic>
    </p:spTree>
    <p:extLst>
      <p:ext uri="{BB962C8B-B14F-4D97-AF65-F5344CB8AC3E}">
        <p14:creationId xmlns:p14="http://schemas.microsoft.com/office/powerpoint/2010/main" val="59527851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ChangeArrowheads="1"/>
          </p:cNvSpPr>
          <p:nvPr>
            <p:ph type="title"/>
          </p:nvPr>
        </p:nvSpPr>
        <p:spPr/>
        <p:txBody>
          <a:bodyPr/>
          <a:lstStyle/>
          <a:p>
            <a:r>
              <a:rPr lang="ru-RU" altLang="x-none" sz="4000" b="1" dirty="0">
                <a:solidFill>
                  <a:srgbClr val="32ACFA"/>
                </a:solidFill>
              </a:rPr>
              <a:t>CRISP-DM</a:t>
            </a:r>
            <a:r>
              <a:rPr lang="ru-RU" altLang="x-none" sz="4000" b="1" dirty="0"/>
              <a:t> </a:t>
            </a:r>
            <a:r>
              <a:rPr lang="ru-RU" altLang="x-none" sz="4000" b="1" dirty="0" smtClean="0"/>
              <a:t>методология </a:t>
            </a:r>
            <a:r>
              <a:rPr lang="mr-IN" altLang="x-none" sz="4000" b="1" dirty="0" smtClean="0"/>
              <a:t>–</a:t>
            </a:r>
            <a:r>
              <a:rPr lang="ru-RU" altLang="x-none" sz="4000" b="1" dirty="0" smtClean="0"/>
              <a:t> Оценка</a:t>
            </a:r>
            <a:r>
              <a:rPr lang="ru-RU" altLang="x-none" sz="4000" b="1" dirty="0"/>
              <a:t/>
            </a:r>
            <a:br>
              <a:rPr lang="ru-RU" altLang="x-none" sz="4000" b="1" dirty="0"/>
            </a:br>
            <a:endParaRPr lang="ru-RU" altLang="x-none" sz="4000" b="1" dirty="0"/>
          </a:p>
        </p:txBody>
      </p:sp>
      <p:sp>
        <p:nvSpPr>
          <p:cNvPr id="4" name="Прямоугольник 3"/>
          <p:cNvSpPr/>
          <p:nvPr/>
        </p:nvSpPr>
        <p:spPr>
          <a:xfrm>
            <a:off x="609600" y="1417637"/>
            <a:ext cx="10972800" cy="3477875"/>
          </a:xfrm>
          <a:prstGeom prst="rect">
            <a:avLst/>
          </a:prstGeom>
        </p:spPr>
        <p:txBody>
          <a:bodyPr wrap="square">
            <a:spAutoFit/>
          </a:bodyPr>
          <a:lstStyle/>
          <a:p>
            <a:r>
              <a:rPr lang="ru-RU" sz="2400" b="1" dirty="0" smtClean="0"/>
              <a:t>5. Оценка </a:t>
            </a:r>
            <a:r>
              <a:rPr lang="ru-RU" sz="2400" b="1" dirty="0"/>
              <a:t>(</a:t>
            </a:r>
            <a:r>
              <a:rPr lang="ru-RU" sz="2400" b="1" dirty="0" err="1"/>
              <a:t>Evaluation</a:t>
            </a:r>
            <a:r>
              <a:rPr lang="ru-RU" sz="2400" b="1" dirty="0"/>
              <a:t>) – </a:t>
            </a:r>
            <a:r>
              <a:rPr lang="ru-RU" sz="2400" dirty="0"/>
              <a:t>анализ количественных характеристик качества модели, подтверждение или опровержение того, что, благодаря построенной модели все бизнес-цели достигнуты. Основной целью этапа является поиск важных бизнес-задач, которым не было уделено должного внимания. </a:t>
            </a:r>
            <a:endParaRPr lang="ru-RU" sz="2400" dirty="0" smtClean="0"/>
          </a:p>
          <a:p>
            <a:endParaRPr lang="ru-RU" sz="2400" b="1" dirty="0"/>
          </a:p>
          <a:p>
            <a:r>
              <a:rPr lang="ru-RU" sz="2800" b="1" dirty="0" smtClean="0"/>
              <a:t>Задачи </a:t>
            </a:r>
            <a:r>
              <a:rPr lang="ru-RU" sz="2800" b="1" dirty="0"/>
              <a:t>фазы </a:t>
            </a:r>
            <a:r>
              <a:rPr lang="ru-RU" sz="2800" b="1" dirty="0" err="1"/>
              <a:t>Evaluation</a:t>
            </a:r>
            <a:r>
              <a:rPr lang="ru-RU" sz="2800" dirty="0"/>
              <a:t>:</a:t>
            </a:r>
          </a:p>
          <a:p>
            <a:r>
              <a:rPr lang="ru-RU" sz="2400" dirty="0"/>
              <a:t>Оценить результаты</a:t>
            </a:r>
          </a:p>
          <a:p>
            <a:r>
              <a:rPr lang="ru-RU" sz="2400" dirty="0"/>
              <a:t>Сделать </a:t>
            </a:r>
            <a:r>
              <a:rPr lang="ru-RU" sz="2400" dirty="0" err="1"/>
              <a:t>ревью</a:t>
            </a:r>
            <a:r>
              <a:rPr lang="ru-RU" sz="2400" dirty="0"/>
              <a:t> процесса</a:t>
            </a:r>
          </a:p>
          <a:p>
            <a:r>
              <a:rPr lang="ru-RU" sz="2400" dirty="0"/>
              <a:t>Определить следующие шаги</a:t>
            </a:r>
          </a:p>
        </p:txBody>
      </p:sp>
      <p:sp>
        <p:nvSpPr>
          <p:cNvPr id="5" name="Овал 4"/>
          <p:cNvSpPr/>
          <p:nvPr/>
        </p:nvSpPr>
        <p:spPr>
          <a:xfrm>
            <a:off x="8009466" y="3335867"/>
            <a:ext cx="2844800" cy="2844800"/>
          </a:xfrm>
          <a:prstGeom prst="ellipse">
            <a:avLst/>
          </a:prstGeom>
          <a:gradFill>
            <a:gsLst>
              <a:gs pos="0">
                <a:schemeClr val="accent1">
                  <a:alpha val="50000"/>
                </a:schemeClr>
              </a:gs>
              <a:gs pos="100000">
                <a:schemeClr val="accent4">
                  <a:lumMod val="100000"/>
                  <a:alpha val="81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52933" y="3979334"/>
            <a:ext cx="1557866" cy="1557866"/>
          </a:xfrm>
          <a:prstGeom prst="rect">
            <a:avLst/>
          </a:prstGeom>
        </p:spPr>
      </p:pic>
    </p:spTree>
    <p:extLst>
      <p:ext uri="{BB962C8B-B14F-4D97-AF65-F5344CB8AC3E}">
        <p14:creationId xmlns:p14="http://schemas.microsoft.com/office/powerpoint/2010/main" val="186722430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7F7F7"/>
        </a:solidFill>
        <a:effectLst/>
      </p:bgPr>
    </p:bg>
    <p:spTree>
      <p:nvGrpSpPr>
        <p:cNvPr id="1" name=""/>
        <p:cNvGrpSpPr/>
        <p:nvPr/>
      </p:nvGrpSpPr>
      <p:grpSpPr>
        <a:xfrm>
          <a:off x="0" y="0"/>
          <a:ext cx="0" cy="0"/>
          <a:chOff x="0" y="0"/>
          <a:chExt cx="0" cy="0"/>
        </a:xfrm>
      </p:grpSpPr>
      <p:sp>
        <p:nvSpPr>
          <p:cNvPr id="102" name="Freeform 5"/>
          <p:cNvSpPr>
            <a:spLocks noEditPoints="1"/>
          </p:cNvSpPr>
          <p:nvPr/>
        </p:nvSpPr>
        <p:spPr bwMode="auto">
          <a:xfrm>
            <a:off x="5022473" y="3131924"/>
            <a:ext cx="2037096" cy="2410324"/>
          </a:xfrm>
          <a:custGeom>
            <a:avLst/>
            <a:gdLst/>
            <a:ahLst/>
            <a:cxnLst>
              <a:cxn ang="0">
                <a:pos x="1032" y="692"/>
              </a:cxn>
              <a:cxn ang="0">
                <a:pos x="1034" y="692"/>
              </a:cxn>
              <a:cxn ang="0">
                <a:pos x="693" y="631"/>
              </a:cxn>
              <a:cxn ang="0">
                <a:pos x="1034" y="692"/>
              </a:cxn>
              <a:cxn ang="0">
                <a:pos x="1030" y="688"/>
              </a:cxn>
              <a:cxn ang="0">
                <a:pos x="1311" y="688"/>
              </a:cxn>
              <a:cxn ang="0">
                <a:pos x="797" y="352"/>
              </a:cxn>
              <a:cxn ang="0">
                <a:pos x="1070" y="423"/>
              </a:cxn>
              <a:cxn ang="0">
                <a:pos x="1430" y="958"/>
              </a:cxn>
              <a:cxn ang="0">
                <a:pos x="1258" y="1420"/>
              </a:cxn>
              <a:cxn ang="0">
                <a:pos x="709" y="1686"/>
              </a:cxn>
              <a:cxn ang="0">
                <a:pos x="320" y="1465"/>
              </a:cxn>
              <a:cxn ang="0">
                <a:pos x="0" y="516"/>
              </a:cxn>
              <a:cxn ang="0">
                <a:pos x="1108" y="159"/>
              </a:cxn>
              <a:cxn ang="0">
                <a:pos x="1127" y="950"/>
              </a:cxn>
              <a:cxn ang="0">
                <a:pos x="1258" y="1420"/>
              </a:cxn>
              <a:cxn ang="0">
                <a:pos x="1430" y="958"/>
              </a:cxn>
              <a:cxn ang="0">
                <a:pos x="543" y="218"/>
              </a:cxn>
              <a:cxn ang="0">
                <a:pos x="797" y="352"/>
              </a:cxn>
              <a:cxn ang="0">
                <a:pos x="370" y="444"/>
              </a:cxn>
              <a:cxn ang="0">
                <a:pos x="800" y="355"/>
              </a:cxn>
              <a:cxn ang="0">
                <a:pos x="800" y="355"/>
              </a:cxn>
              <a:cxn ang="0">
                <a:pos x="370" y="447"/>
              </a:cxn>
              <a:cxn ang="0">
                <a:pos x="424" y="673"/>
              </a:cxn>
              <a:cxn ang="0">
                <a:pos x="361" y="450"/>
              </a:cxn>
              <a:cxn ang="0">
                <a:pos x="213" y="694"/>
              </a:cxn>
              <a:cxn ang="0">
                <a:pos x="364" y="450"/>
              </a:cxn>
              <a:cxn ang="0">
                <a:pos x="372" y="448"/>
              </a:cxn>
              <a:cxn ang="0">
                <a:pos x="372" y="448"/>
              </a:cxn>
              <a:cxn ang="0">
                <a:pos x="453" y="901"/>
              </a:cxn>
              <a:cxn ang="0">
                <a:pos x="244" y="124"/>
              </a:cxn>
              <a:cxn ang="0">
                <a:pos x="774" y="1179"/>
              </a:cxn>
              <a:cxn ang="0">
                <a:pos x="564" y="1180"/>
              </a:cxn>
              <a:cxn ang="0">
                <a:pos x="744" y="1453"/>
              </a:cxn>
              <a:cxn ang="0">
                <a:pos x="774" y="1179"/>
              </a:cxn>
              <a:cxn ang="0">
                <a:pos x="805" y="941"/>
              </a:cxn>
              <a:cxn ang="0">
                <a:pos x="564" y="1180"/>
              </a:cxn>
              <a:cxn ang="0">
                <a:pos x="454" y="904"/>
              </a:cxn>
              <a:cxn ang="0">
                <a:pos x="446" y="915"/>
              </a:cxn>
              <a:cxn ang="0">
                <a:pos x="744" y="1459"/>
              </a:cxn>
              <a:cxn ang="0">
                <a:pos x="744" y="1459"/>
              </a:cxn>
              <a:cxn ang="0">
                <a:pos x="456" y="903"/>
              </a:cxn>
              <a:cxn ang="0">
                <a:pos x="442" y="904"/>
              </a:cxn>
              <a:cxn ang="0">
                <a:pos x="506" y="1416"/>
              </a:cxn>
              <a:cxn ang="0">
                <a:pos x="501" y="1686"/>
              </a:cxn>
              <a:cxn ang="0">
                <a:pos x="805" y="941"/>
              </a:cxn>
            </a:cxnLst>
            <a:rect l="0" t="0" r="r" b="b"/>
            <a:pathLst>
              <a:path w="1430" h="1692">
                <a:moveTo>
                  <a:pt x="1032" y="694"/>
                </a:moveTo>
                <a:lnTo>
                  <a:pt x="1034" y="692"/>
                </a:lnTo>
                <a:lnTo>
                  <a:pt x="1032" y="692"/>
                </a:lnTo>
                <a:lnTo>
                  <a:pt x="1032" y="694"/>
                </a:lnTo>
                <a:lnTo>
                  <a:pt x="1127" y="950"/>
                </a:lnTo>
                <a:moveTo>
                  <a:pt x="1034" y="692"/>
                </a:moveTo>
                <a:lnTo>
                  <a:pt x="1030" y="688"/>
                </a:lnTo>
                <a:lnTo>
                  <a:pt x="1032" y="692"/>
                </a:lnTo>
                <a:lnTo>
                  <a:pt x="693" y="631"/>
                </a:lnTo>
                <a:lnTo>
                  <a:pt x="803" y="358"/>
                </a:lnTo>
                <a:lnTo>
                  <a:pt x="1030" y="688"/>
                </a:lnTo>
                <a:moveTo>
                  <a:pt x="1034" y="692"/>
                </a:moveTo>
                <a:lnTo>
                  <a:pt x="1290" y="451"/>
                </a:lnTo>
                <a:lnTo>
                  <a:pt x="1070" y="423"/>
                </a:lnTo>
                <a:lnTo>
                  <a:pt x="1030" y="688"/>
                </a:lnTo>
                <a:lnTo>
                  <a:pt x="1030" y="688"/>
                </a:lnTo>
                <a:moveTo>
                  <a:pt x="1034" y="692"/>
                </a:moveTo>
                <a:lnTo>
                  <a:pt x="1311" y="688"/>
                </a:lnTo>
                <a:lnTo>
                  <a:pt x="1290" y="451"/>
                </a:lnTo>
                <a:moveTo>
                  <a:pt x="1108" y="159"/>
                </a:moveTo>
                <a:lnTo>
                  <a:pt x="797" y="352"/>
                </a:lnTo>
                <a:lnTo>
                  <a:pt x="799" y="352"/>
                </a:lnTo>
                <a:lnTo>
                  <a:pt x="805" y="354"/>
                </a:lnTo>
                <a:lnTo>
                  <a:pt x="1070" y="423"/>
                </a:lnTo>
                <a:lnTo>
                  <a:pt x="1108" y="159"/>
                </a:lnTo>
                <a:moveTo>
                  <a:pt x="1311" y="688"/>
                </a:moveTo>
                <a:lnTo>
                  <a:pt x="1430" y="958"/>
                </a:lnTo>
                <a:lnTo>
                  <a:pt x="1311" y="1035"/>
                </a:lnTo>
                <a:lnTo>
                  <a:pt x="1300" y="1234"/>
                </a:lnTo>
                <a:lnTo>
                  <a:pt x="1258" y="1420"/>
                </a:lnTo>
                <a:lnTo>
                  <a:pt x="1049" y="1421"/>
                </a:lnTo>
                <a:lnTo>
                  <a:pt x="948" y="1688"/>
                </a:lnTo>
                <a:lnTo>
                  <a:pt x="709" y="1686"/>
                </a:lnTo>
                <a:lnTo>
                  <a:pt x="501" y="1686"/>
                </a:lnTo>
                <a:lnTo>
                  <a:pt x="309" y="1692"/>
                </a:lnTo>
                <a:lnTo>
                  <a:pt x="320" y="1465"/>
                </a:lnTo>
                <a:lnTo>
                  <a:pt x="276" y="1180"/>
                </a:lnTo>
                <a:lnTo>
                  <a:pt x="61" y="932"/>
                </a:lnTo>
                <a:lnTo>
                  <a:pt x="0" y="516"/>
                </a:lnTo>
                <a:lnTo>
                  <a:pt x="244" y="124"/>
                </a:lnTo>
                <a:lnTo>
                  <a:pt x="745" y="0"/>
                </a:lnTo>
                <a:lnTo>
                  <a:pt x="1108" y="159"/>
                </a:lnTo>
                <a:lnTo>
                  <a:pt x="1290" y="451"/>
                </a:lnTo>
                <a:moveTo>
                  <a:pt x="1311" y="1035"/>
                </a:moveTo>
                <a:lnTo>
                  <a:pt x="1127" y="950"/>
                </a:lnTo>
                <a:lnTo>
                  <a:pt x="1300" y="1234"/>
                </a:lnTo>
                <a:lnTo>
                  <a:pt x="1008" y="1179"/>
                </a:lnTo>
                <a:lnTo>
                  <a:pt x="1258" y="1420"/>
                </a:lnTo>
                <a:moveTo>
                  <a:pt x="1311" y="688"/>
                </a:moveTo>
                <a:lnTo>
                  <a:pt x="1127" y="950"/>
                </a:lnTo>
                <a:lnTo>
                  <a:pt x="1430" y="958"/>
                </a:lnTo>
                <a:moveTo>
                  <a:pt x="244" y="124"/>
                </a:moveTo>
                <a:lnTo>
                  <a:pt x="541" y="220"/>
                </a:lnTo>
                <a:lnTo>
                  <a:pt x="543" y="218"/>
                </a:lnTo>
                <a:lnTo>
                  <a:pt x="745" y="0"/>
                </a:lnTo>
                <a:lnTo>
                  <a:pt x="797" y="352"/>
                </a:lnTo>
                <a:moveTo>
                  <a:pt x="797" y="352"/>
                </a:moveTo>
                <a:lnTo>
                  <a:pt x="797" y="352"/>
                </a:lnTo>
                <a:lnTo>
                  <a:pt x="541" y="220"/>
                </a:lnTo>
                <a:lnTo>
                  <a:pt x="370" y="444"/>
                </a:lnTo>
                <a:lnTo>
                  <a:pt x="370" y="447"/>
                </a:lnTo>
                <a:lnTo>
                  <a:pt x="372" y="447"/>
                </a:lnTo>
                <a:lnTo>
                  <a:pt x="800" y="355"/>
                </a:lnTo>
                <a:lnTo>
                  <a:pt x="799" y="352"/>
                </a:lnTo>
                <a:lnTo>
                  <a:pt x="803" y="354"/>
                </a:lnTo>
                <a:lnTo>
                  <a:pt x="800" y="355"/>
                </a:lnTo>
                <a:lnTo>
                  <a:pt x="803" y="358"/>
                </a:lnTo>
                <a:lnTo>
                  <a:pt x="805" y="354"/>
                </a:lnTo>
                <a:moveTo>
                  <a:pt x="370" y="447"/>
                </a:moveTo>
                <a:lnTo>
                  <a:pt x="372" y="448"/>
                </a:lnTo>
                <a:lnTo>
                  <a:pt x="372" y="448"/>
                </a:lnTo>
                <a:lnTo>
                  <a:pt x="424" y="673"/>
                </a:lnTo>
                <a:lnTo>
                  <a:pt x="693" y="631"/>
                </a:lnTo>
                <a:lnTo>
                  <a:pt x="372" y="447"/>
                </a:lnTo>
                <a:moveTo>
                  <a:pt x="361" y="450"/>
                </a:moveTo>
                <a:lnTo>
                  <a:pt x="0" y="516"/>
                </a:lnTo>
                <a:lnTo>
                  <a:pt x="212" y="695"/>
                </a:lnTo>
                <a:lnTo>
                  <a:pt x="213" y="694"/>
                </a:lnTo>
                <a:lnTo>
                  <a:pt x="366" y="450"/>
                </a:lnTo>
                <a:lnTo>
                  <a:pt x="366" y="448"/>
                </a:lnTo>
                <a:lnTo>
                  <a:pt x="364" y="450"/>
                </a:lnTo>
                <a:lnTo>
                  <a:pt x="367" y="448"/>
                </a:lnTo>
                <a:lnTo>
                  <a:pt x="370" y="447"/>
                </a:lnTo>
                <a:moveTo>
                  <a:pt x="372" y="448"/>
                </a:moveTo>
                <a:lnTo>
                  <a:pt x="367" y="448"/>
                </a:lnTo>
                <a:moveTo>
                  <a:pt x="366" y="448"/>
                </a:moveTo>
                <a:lnTo>
                  <a:pt x="372" y="448"/>
                </a:lnTo>
                <a:moveTo>
                  <a:pt x="213" y="694"/>
                </a:moveTo>
                <a:lnTo>
                  <a:pt x="424" y="673"/>
                </a:lnTo>
                <a:lnTo>
                  <a:pt x="453" y="901"/>
                </a:lnTo>
                <a:lnTo>
                  <a:pt x="212" y="695"/>
                </a:lnTo>
                <a:lnTo>
                  <a:pt x="61" y="932"/>
                </a:lnTo>
                <a:moveTo>
                  <a:pt x="244" y="124"/>
                </a:moveTo>
                <a:lnTo>
                  <a:pt x="370" y="444"/>
                </a:lnTo>
                <a:moveTo>
                  <a:pt x="744" y="1453"/>
                </a:moveTo>
                <a:lnTo>
                  <a:pt x="774" y="1179"/>
                </a:lnTo>
                <a:lnTo>
                  <a:pt x="564" y="1180"/>
                </a:lnTo>
                <a:lnTo>
                  <a:pt x="744" y="1453"/>
                </a:lnTo>
                <a:moveTo>
                  <a:pt x="564" y="1180"/>
                </a:moveTo>
                <a:lnTo>
                  <a:pt x="506" y="1416"/>
                </a:lnTo>
                <a:lnTo>
                  <a:pt x="744" y="1459"/>
                </a:lnTo>
                <a:lnTo>
                  <a:pt x="744" y="1453"/>
                </a:lnTo>
                <a:moveTo>
                  <a:pt x="1008" y="1179"/>
                </a:moveTo>
                <a:lnTo>
                  <a:pt x="805" y="941"/>
                </a:lnTo>
                <a:lnTo>
                  <a:pt x="774" y="1179"/>
                </a:lnTo>
                <a:lnTo>
                  <a:pt x="1008" y="1179"/>
                </a:lnTo>
                <a:lnTo>
                  <a:pt x="1127" y="950"/>
                </a:lnTo>
                <a:lnTo>
                  <a:pt x="805" y="941"/>
                </a:lnTo>
                <a:lnTo>
                  <a:pt x="454" y="904"/>
                </a:lnTo>
                <a:lnTo>
                  <a:pt x="446" y="915"/>
                </a:lnTo>
                <a:lnTo>
                  <a:pt x="564" y="1180"/>
                </a:lnTo>
                <a:lnTo>
                  <a:pt x="805" y="941"/>
                </a:lnTo>
                <a:lnTo>
                  <a:pt x="693" y="631"/>
                </a:lnTo>
                <a:lnTo>
                  <a:pt x="454" y="904"/>
                </a:lnTo>
                <a:lnTo>
                  <a:pt x="454" y="903"/>
                </a:lnTo>
                <a:lnTo>
                  <a:pt x="442" y="904"/>
                </a:lnTo>
                <a:lnTo>
                  <a:pt x="446" y="915"/>
                </a:lnTo>
                <a:lnTo>
                  <a:pt x="276" y="1180"/>
                </a:lnTo>
                <a:lnTo>
                  <a:pt x="564" y="1180"/>
                </a:lnTo>
                <a:moveTo>
                  <a:pt x="744" y="1459"/>
                </a:moveTo>
                <a:lnTo>
                  <a:pt x="1049" y="1421"/>
                </a:lnTo>
                <a:lnTo>
                  <a:pt x="1008" y="1179"/>
                </a:lnTo>
                <a:lnTo>
                  <a:pt x="744" y="1459"/>
                </a:lnTo>
                <a:lnTo>
                  <a:pt x="948" y="1688"/>
                </a:lnTo>
                <a:moveTo>
                  <a:pt x="454" y="903"/>
                </a:moveTo>
                <a:lnTo>
                  <a:pt x="456" y="903"/>
                </a:lnTo>
                <a:lnTo>
                  <a:pt x="453" y="901"/>
                </a:lnTo>
                <a:lnTo>
                  <a:pt x="454" y="903"/>
                </a:lnTo>
                <a:moveTo>
                  <a:pt x="442" y="904"/>
                </a:moveTo>
                <a:lnTo>
                  <a:pt x="61" y="932"/>
                </a:lnTo>
                <a:moveTo>
                  <a:pt x="276" y="1180"/>
                </a:moveTo>
                <a:lnTo>
                  <a:pt x="506" y="1416"/>
                </a:lnTo>
                <a:moveTo>
                  <a:pt x="709" y="1686"/>
                </a:moveTo>
                <a:lnTo>
                  <a:pt x="744" y="1459"/>
                </a:lnTo>
                <a:lnTo>
                  <a:pt x="501" y="1686"/>
                </a:lnTo>
                <a:lnTo>
                  <a:pt x="506" y="1416"/>
                </a:lnTo>
                <a:lnTo>
                  <a:pt x="309" y="1692"/>
                </a:lnTo>
                <a:moveTo>
                  <a:pt x="805" y="941"/>
                </a:moveTo>
                <a:lnTo>
                  <a:pt x="1032" y="694"/>
                </a:lnTo>
              </a:path>
            </a:pathLst>
          </a:custGeom>
          <a:noFill/>
          <a:ln w="9525" cap="rnd">
            <a:solidFill>
              <a:sysClr val="window" lastClr="FFFFFF">
                <a:lumMod val="6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grpSp>
        <p:nvGrpSpPr>
          <p:cNvPr id="103" name="Group 81"/>
          <p:cNvGrpSpPr/>
          <p:nvPr/>
        </p:nvGrpSpPr>
        <p:grpSpPr>
          <a:xfrm>
            <a:off x="4961547" y="3054950"/>
            <a:ext cx="2152485" cy="2534260"/>
            <a:chOff x="3371851" y="1649413"/>
            <a:chExt cx="2398713" cy="2824162"/>
          </a:xfrm>
        </p:grpSpPr>
        <p:sp>
          <p:nvSpPr>
            <p:cNvPr id="104" name="Freeform 6"/>
            <p:cNvSpPr>
              <a:spLocks/>
            </p:cNvSpPr>
            <p:nvPr/>
          </p:nvSpPr>
          <p:spPr bwMode="auto">
            <a:xfrm>
              <a:off x="3775076" y="1862138"/>
              <a:ext cx="130175" cy="130175"/>
            </a:xfrm>
            <a:custGeom>
              <a:avLst/>
              <a:gdLst/>
              <a:ahLst/>
              <a:cxnLst>
                <a:cxn ang="0">
                  <a:pos x="46" y="46"/>
                </a:cxn>
                <a:cxn ang="0">
                  <a:pos x="27" y="54"/>
                </a:cxn>
                <a:cxn ang="0">
                  <a:pos x="8" y="46"/>
                </a:cxn>
                <a:cxn ang="0">
                  <a:pos x="0" y="27"/>
                </a:cxn>
                <a:cxn ang="0">
                  <a:pos x="8" y="8"/>
                </a:cxn>
                <a:cxn ang="0">
                  <a:pos x="27" y="0"/>
                </a:cxn>
                <a:cxn ang="0">
                  <a:pos x="46" y="8"/>
                </a:cxn>
                <a:cxn ang="0">
                  <a:pos x="54" y="27"/>
                </a:cxn>
                <a:cxn ang="0">
                  <a:pos x="46" y="46"/>
                </a:cxn>
              </a:cxnLst>
              <a:rect l="0" t="0" r="r" b="b"/>
              <a:pathLst>
                <a:path w="54" h="54">
                  <a:moveTo>
                    <a:pt x="46" y="46"/>
                  </a:moveTo>
                  <a:cubicBezTo>
                    <a:pt x="41" y="51"/>
                    <a:pt x="34" y="54"/>
                    <a:pt x="27" y="54"/>
                  </a:cubicBezTo>
                  <a:cubicBezTo>
                    <a:pt x="20" y="54"/>
                    <a:pt x="13" y="51"/>
                    <a:pt x="8" y="46"/>
                  </a:cubicBezTo>
                  <a:cubicBezTo>
                    <a:pt x="3" y="41"/>
                    <a:pt x="0" y="34"/>
                    <a:pt x="0" y="27"/>
                  </a:cubicBezTo>
                  <a:cubicBezTo>
                    <a:pt x="0" y="20"/>
                    <a:pt x="3" y="13"/>
                    <a:pt x="8" y="8"/>
                  </a:cubicBezTo>
                  <a:cubicBezTo>
                    <a:pt x="13" y="3"/>
                    <a:pt x="20" y="0"/>
                    <a:pt x="27" y="0"/>
                  </a:cubicBezTo>
                  <a:cubicBezTo>
                    <a:pt x="34" y="0"/>
                    <a:pt x="41" y="3"/>
                    <a:pt x="46" y="8"/>
                  </a:cubicBezTo>
                  <a:cubicBezTo>
                    <a:pt x="51" y="13"/>
                    <a:pt x="54" y="20"/>
                    <a:pt x="54" y="27"/>
                  </a:cubicBezTo>
                  <a:cubicBezTo>
                    <a:pt x="54" y="34"/>
                    <a:pt x="51" y="41"/>
                    <a:pt x="46" y="46"/>
                  </a:cubicBezTo>
                  <a:close/>
                </a:path>
              </a:pathLst>
            </a:custGeom>
            <a:solidFill>
              <a:srgbClr val="0E5A8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05" name="Freeform 7"/>
            <p:cNvSpPr>
              <a:spLocks/>
            </p:cNvSpPr>
            <p:nvPr/>
          </p:nvSpPr>
          <p:spPr bwMode="auto">
            <a:xfrm>
              <a:off x="4518026" y="1649413"/>
              <a:ext cx="188913" cy="188912"/>
            </a:xfrm>
            <a:custGeom>
              <a:avLst/>
              <a:gdLst/>
              <a:ahLst/>
              <a:cxnLst>
                <a:cxn ang="0">
                  <a:pos x="11" y="11"/>
                </a:cxn>
                <a:cxn ang="0">
                  <a:pos x="39" y="0"/>
                </a:cxn>
                <a:cxn ang="0">
                  <a:pos x="66" y="11"/>
                </a:cxn>
                <a:cxn ang="0">
                  <a:pos x="78" y="39"/>
                </a:cxn>
                <a:cxn ang="0">
                  <a:pos x="66" y="66"/>
                </a:cxn>
                <a:cxn ang="0">
                  <a:pos x="39" y="78"/>
                </a:cxn>
                <a:cxn ang="0">
                  <a:pos x="11" y="66"/>
                </a:cxn>
                <a:cxn ang="0">
                  <a:pos x="0" y="39"/>
                </a:cxn>
                <a:cxn ang="0">
                  <a:pos x="11" y="11"/>
                </a:cxn>
              </a:cxnLst>
              <a:rect l="0" t="0" r="r" b="b"/>
              <a:pathLst>
                <a:path w="78" h="78">
                  <a:moveTo>
                    <a:pt x="11" y="11"/>
                  </a:moveTo>
                  <a:cubicBezTo>
                    <a:pt x="19" y="4"/>
                    <a:pt x="28" y="0"/>
                    <a:pt x="39" y="0"/>
                  </a:cubicBezTo>
                  <a:cubicBezTo>
                    <a:pt x="50" y="0"/>
                    <a:pt x="59" y="4"/>
                    <a:pt x="66" y="11"/>
                  </a:cubicBezTo>
                  <a:cubicBezTo>
                    <a:pt x="74" y="19"/>
                    <a:pt x="78" y="28"/>
                    <a:pt x="78" y="39"/>
                  </a:cubicBezTo>
                  <a:cubicBezTo>
                    <a:pt x="78" y="50"/>
                    <a:pt x="74" y="59"/>
                    <a:pt x="66" y="66"/>
                  </a:cubicBezTo>
                  <a:cubicBezTo>
                    <a:pt x="59" y="74"/>
                    <a:pt x="50" y="78"/>
                    <a:pt x="39" y="78"/>
                  </a:cubicBezTo>
                  <a:cubicBezTo>
                    <a:pt x="28" y="78"/>
                    <a:pt x="19" y="74"/>
                    <a:pt x="11" y="66"/>
                  </a:cubicBezTo>
                  <a:cubicBezTo>
                    <a:pt x="4" y="59"/>
                    <a:pt x="0" y="50"/>
                    <a:pt x="0" y="39"/>
                  </a:cubicBezTo>
                  <a:cubicBezTo>
                    <a:pt x="0" y="28"/>
                    <a:pt x="4" y="19"/>
                    <a:pt x="11" y="11"/>
                  </a:cubicBezTo>
                  <a:close/>
                </a:path>
              </a:pathLst>
            </a:custGeom>
            <a:solidFill>
              <a:srgbClr val="0476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06" name="Freeform 8"/>
            <p:cNvSpPr>
              <a:spLocks/>
            </p:cNvSpPr>
            <p:nvPr/>
          </p:nvSpPr>
          <p:spPr bwMode="auto">
            <a:xfrm>
              <a:off x="4252913" y="2024063"/>
              <a:ext cx="107950" cy="106362"/>
            </a:xfrm>
            <a:custGeom>
              <a:avLst/>
              <a:gdLst/>
              <a:ahLst/>
              <a:cxnLst>
                <a:cxn ang="0">
                  <a:pos x="6" y="6"/>
                </a:cxn>
                <a:cxn ang="0">
                  <a:pos x="22" y="0"/>
                </a:cxn>
                <a:cxn ang="0">
                  <a:pos x="38" y="6"/>
                </a:cxn>
                <a:cxn ang="0">
                  <a:pos x="44" y="22"/>
                </a:cxn>
                <a:cxn ang="0">
                  <a:pos x="38" y="37"/>
                </a:cxn>
                <a:cxn ang="0">
                  <a:pos x="22" y="44"/>
                </a:cxn>
                <a:cxn ang="0">
                  <a:pos x="6" y="37"/>
                </a:cxn>
                <a:cxn ang="0">
                  <a:pos x="0" y="22"/>
                </a:cxn>
                <a:cxn ang="0">
                  <a:pos x="6" y="6"/>
                </a:cxn>
              </a:cxnLst>
              <a:rect l="0" t="0" r="r" b="b"/>
              <a:pathLst>
                <a:path w="44" h="44">
                  <a:moveTo>
                    <a:pt x="6" y="6"/>
                  </a:moveTo>
                  <a:cubicBezTo>
                    <a:pt x="11" y="2"/>
                    <a:pt x="16" y="0"/>
                    <a:pt x="22" y="0"/>
                  </a:cubicBezTo>
                  <a:cubicBezTo>
                    <a:pt x="28" y="0"/>
                    <a:pt x="33" y="2"/>
                    <a:pt x="38" y="6"/>
                  </a:cubicBezTo>
                  <a:cubicBezTo>
                    <a:pt x="42" y="11"/>
                    <a:pt x="44" y="16"/>
                    <a:pt x="44" y="22"/>
                  </a:cubicBezTo>
                  <a:cubicBezTo>
                    <a:pt x="44" y="28"/>
                    <a:pt x="42" y="33"/>
                    <a:pt x="38" y="37"/>
                  </a:cubicBezTo>
                  <a:cubicBezTo>
                    <a:pt x="33" y="42"/>
                    <a:pt x="28" y="44"/>
                    <a:pt x="22" y="44"/>
                  </a:cubicBezTo>
                  <a:cubicBezTo>
                    <a:pt x="16" y="44"/>
                    <a:pt x="11" y="42"/>
                    <a:pt x="6" y="37"/>
                  </a:cubicBezTo>
                  <a:cubicBezTo>
                    <a:pt x="2" y="33"/>
                    <a:pt x="0" y="28"/>
                    <a:pt x="0" y="22"/>
                  </a:cubicBezTo>
                  <a:cubicBezTo>
                    <a:pt x="0" y="16"/>
                    <a:pt x="2" y="11"/>
                    <a:pt x="6" y="6"/>
                  </a:cubicBezTo>
                  <a:close/>
                </a:path>
              </a:pathLst>
            </a:custGeom>
            <a:solidFill>
              <a:srgbClr val="0588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07" name="Freeform 9"/>
            <p:cNvSpPr>
              <a:spLocks/>
            </p:cNvSpPr>
            <p:nvPr/>
          </p:nvSpPr>
          <p:spPr bwMode="auto">
            <a:xfrm>
              <a:off x="5154613" y="1927225"/>
              <a:ext cx="106363" cy="106362"/>
            </a:xfrm>
            <a:custGeom>
              <a:avLst/>
              <a:gdLst/>
              <a:ahLst/>
              <a:cxnLst>
                <a:cxn ang="0">
                  <a:pos x="44" y="22"/>
                </a:cxn>
                <a:cxn ang="0">
                  <a:pos x="38" y="37"/>
                </a:cxn>
                <a:cxn ang="0">
                  <a:pos x="22" y="44"/>
                </a:cxn>
                <a:cxn ang="0">
                  <a:pos x="6" y="37"/>
                </a:cxn>
                <a:cxn ang="0">
                  <a:pos x="0" y="22"/>
                </a:cxn>
                <a:cxn ang="0">
                  <a:pos x="6" y="6"/>
                </a:cxn>
                <a:cxn ang="0">
                  <a:pos x="22" y="0"/>
                </a:cxn>
                <a:cxn ang="0">
                  <a:pos x="38" y="6"/>
                </a:cxn>
                <a:cxn ang="0">
                  <a:pos x="44" y="22"/>
                </a:cxn>
              </a:cxnLst>
              <a:rect l="0" t="0" r="r" b="b"/>
              <a:pathLst>
                <a:path w="44" h="44">
                  <a:moveTo>
                    <a:pt x="44" y="22"/>
                  </a:moveTo>
                  <a:cubicBezTo>
                    <a:pt x="44" y="28"/>
                    <a:pt x="42" y="33"/>
                    <a:pt x="38" y="37"/>
                  </a:cubicBezTo>
                  <a:cubicBezTo>
                    <a:pt x="33" y="42"/>
                    <a:pt x="28" y="44"/>
                    <a:pt x="22" y="44"/>
                  </a:cubicBezTo>
                  <a:cubicBezTo>
                    <a:pt x="16" y="44"/>
                    <a:pt x="11" y="42"/>
                    <a:pt x="6" y="37"/>
                  </a:cubicBezTo>
                  <a:cubicBezTo>
                    <a:pt x="2" y="33"/>
                    <a:pt x="0" y="28"/>
                    <a:pt x="0" y="22"/>
                  </a:cubicBezTo>
                  <a:cubicBezTo>
                    <a:pt x="0" y="16"/>
                    <a:pt x="2" y="11"/>
                    <a:pt x="6" y="6"/>
                  </a:cubicBezTo>
                  <a:cubicBezTo>
                    <a:pt x="11" y="2"/>
                    <a:pt x="16" y="0"/>
                    <a:pt x="22" y="0"/>
                  </a:cubicBezTo>
                  <a:cubicBezTo>
                    <a:pt x="28" y="0"/>
                    <a:pt x="33" y="2"/>
                    <a:pt x="38" y="6"/>
                  </a:cubicBezTo>
                  <a:cubicBezTo>
                    <a:pt x="42" y="11"/>
                    <a:pt x="44" y="16"/>
                    <a:pt x="44" y="22"/>
                  </a:cubicBezTo>
                  <a:close/>
                </a:path>
              </a:pathLst>
            </a:custGeom>
            <a:solidFill>
              <a:srgbClr val="A1A1A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08" name="Freeform 10"/>
            <p:cNvSpPr>
              <a:spLocks/>
            </p:cNvSpPr>
            <p:nvPr/>
          </p:nvSpPr>
          <p:spPr bwMode="auto">
            <a:xfrm>
              <a:off x="5095876" y="2333625"/>
              <a:ext cx="106363" cy="106362"/>
            </a:xfrm>
            <a:custGeom>
              <a:avLst/>
              <a:gdLst/>
              <a:ahLst/>
              <a:cxnLst>
                <a:cxn ang="0">
                  <a:pos x="6" y="37"/>
                </a:cxn>
                <a:cxn ang="0">
                  <a:pos x="0" y="22"/>
                </a:cxn>
                <a:cxn ang="0">
                  <a:pos x="6" y="6"/>
                </a:cxn>
                <a:cxn ang="0">
                  <a:pos x="22" y="0"/>
                </a:cxn>
                <a:cxn ang="0">
                  <a:pos x="38" y="6"/>
                </a:cxn>
                <a:cxn ang="0">
                  <a:pos x="44" y="22"/>
                </a:cxn>
                <a:cxn ang="0">
                  <a:pos x="38" y="37"/>
                </a:cxn>
                <a:cxn ang="0">
                  <a:pos x="22" y="44"/>
                </a:cxn>
                <a:cxn ang="0">
                  <a:pos x="6" y="37"/>
                </a:cxn>
              </a:cxnLst>
              <a:rect l="0" t="0" r="r" b="b"/>
              <a:pathLst>
                <a:path w="44" h="44">
                  <a:moveTo>
                    <a:pt x="6" y="37"/>
                  </a:moveTo>
                  <a:cubicBezTo>
                    <a:pt x="2" y="33"/>
                    <a:pt x="0" y="28"/>
                    <a:pt x="0" y="22"/>
                  </a:cubicBezTo>
                  <a:cubicBezTo>
                    <a:pt x="0" y="16"/>
                    <a:pt x="2" y="11"/>
                    <a:pt x="6" y="6"/>
                  </a:cubicBezTo>
                  <a:cubicBezTo>
                    <a:pt x="11" y="2"/>
                    <a:pt x="16" y="0"/>
                    <a:pt x="22" y="0"/>
                  </a:cubicBezTo>
                  <a:cubicBezTo>
                    <a:pt x="28" y="0"/>
                    <a:pt x="33" y="2"/>
                    <a:pt x="38" y="6"/>
                  </a:cubicBezTo>
                  <a:cubicBezTo>
                    <a:pt x="42" y="11"/>
                    <a:pt x="44" y="16"/>
                    <a:pt x="44" y="22"/>
                  </a:cubicBezTo>
                  <a:cubicBezTo>
                    <a:pt x="44" y="28"/>
                    <a:pt x="42" y="33"/>
                    <a:pt x="38" y="37"/>
                  </a:cubicBezTo>
                  <a:cubicBezTo>
                    <a:pt x="33" y="42"/>
                    <a:pt x="28" y="44"/>
                    <a:pt x="22" y="44"/>
                  </a:cubicBezTo>
                  <a:cubicBezTo>
                    <a:pt x="16" y="44"/>
                    <a:pt x="11" y="42"/>
                    <a:pt x="6" y="37"/>
                  </a:cubicBezTo>
                  <a:close/>
                </a:path>
              </a:pathLst>
            </a:custGeom>
            <a:solidFill>
              <a:srgbClr val="32ACFA"/>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09" name="Freeform 11"/>
            <p:cNvSpPr>
              <a:spLocks/>
            </p:cNvSpPr>
            <p:nvPr/>
          </p:nvSpPr>
          <p:spPr bwMode="auto">
            <a:xfrm>
              <a:off x="5483226" y="2774950"/>
              <a:ext cx="106363" cy="106362"/>
            </a:xfrm>
            <a:custGeom>
              <a:avLst/>
              <a:gdLst/>
              <a:ahLst/>
              <a:cxnLst>
                <a:cxn ang="0">
                  <a:pos x="0" y="22"/>
                </a:cxn>
                <a:cxn ang="0">
                  <a:pos x="6" y="6"/>
                </a:cxn>
                <a:cxn ang="0">
                  <a:pos x="22" y="0"/>
                </a:cxn>
                <a:cxn ang="0">
                  <a:pos x="38" y="6"/>
                </a:cxn>
                <a:cxn ang="0">
                  <a:pos x="44" y="22"/>
                </a:cxn>
                <a:cxn ang="0">
                  <a:pos x="38" y="37"/>
                </a:cxn>
                <a:cxn ang="0">
                  <a:pos x="22" y="44"/>
                </a:cxn>
                <a:cxn ang="0">
                  <a:pos x="6" y="37"/>
                </a:cxn>
                <a:cxn ang="0">
                  <a:pos x="0" y="22"/>
                </a:cxn>
              </a:cxnLst>
              <a:rect l="0" t="0" r="r" b="b"/>
              <a:pathLst>
                <a:path w="44" h="44">
                  <a:moveTo>
                    <a:pt x="0" y="22"/>
                  </a:moveTo>
                  <a:cubicBezTo>
                    <a:pt x="0" y="16"/>
                    <a:pt x="2" y="11"/>
                    <a:pt x="6" y="6"/>
                  </a:cubicBezTo>
                  <a:cubicBezTo>
                    <a:pt x="11" y="2"/>
                    <a:pt x="16" y="0"/>
                    <a:pt x="22" y="0"/>
                  </a:cubicBezTo>
                  <a:cubicBezTo>
                    <a:pt x="28" y="0"/>
                    <a:pt x="33" y="2"/>
                    <a:pt x="38" y="6"/>
                  </a:cubicBezTo>
                  <a:cubicBezTo>
                    <a:pt x="42" y="11"/>
                    <a:pt x="44" y="16"/>
                    <a:pt x="44" y="22"/>
                  </a:cubicBezTo>
                  <a:cubicBezTo>
                    <a:pt x="44" y="28"/>
                    <a:pt x="42" y="33"/>
                    <a:pt x="38" y="37"/>
                  </a:cubicBezTo>
                  <a:cubicBezTo>
                    <a:pt x="33" y="42"/>
                    <a:pt x="28" y="44"/>
                    <a:pt x="22" y="44"/>
                  </a:cubicBezTo>
                  <a:cubicBezTo>
                    <a:pt x="16" y="44"/>
                    <a:pt x="11" y="42"/>
                    <a:pt x="6" y="37"/>
                  </a:cubicBezTo>
                  <a:cubicBezTo>
                    <a:pt x="2" y="33"/>
                    <a:pt x="0" y="28"/>
                    <a:pt x="0" y="22"/>
                  </a:cubicBezTo>
                  <a:close/>
                </a:path>
              </a:pathLst>
            </a:custGeom>
            <a:solidFill>
              <a:srgbClr val="0476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10" name="Freeform 12"/>
            <p:cNvSpPr>
              <a:spLocks/>
            </p:cNvSpPr>
            <p:nvPr/>
          </p:nvSpPr>
          <p:spPr bwMode="auto">
            <a:xfrm>
              <a:off x="5035551" y="2774950"/>
              <a:ext cx="106363" cy="106362"/>
            </a:xfrm>
            <a:custGeom>
              <a:avLst/>
              <a:gdLst/>
              <a:ahLst/>
              <a:cxnLst>
                <a:cxn ang="0">
                  <a:pos x="6" y="6"/>
                </a:cxn>
                <a:cxn ang="0">
                  <a:pos x="22" y="0"/>
                </a:cxn>
                <a:cxn ang="0">
                  <a:pos x="38" y="6"/>
                </a:cxn>
                <a:cxn ang="0">
                  <a:pos x="44" y="22"/>
                </a:cxn>
                <a:cxn ang="0">
                  <a:pos x="38" y="37"/>
                </a:cxn>
                <a:cxn ang="0">
                  <a:pos x="22" y="44"/>
                </a:cxn>
                <a:cxn ang="0">
                  <a:pos x="6" y="37"/>
                </a:cxn>
                <a:cxn ang="0">
                  <a:pos x="0" y="22"/>
                </a:cxn>
                <a:cxn ang="0">
                  <a:pos x="6" y="6"/>
                </a:cxn>
              </a:cxnLst>
              <a:rect l="0" t="0" r="r" b="b"/>
              <a:pathLst>
                <a:path w="44" h="44">
                  <a:moveTo>
                    <a:pt x="6" y="6"/>
                  </a:moveTo>
                  <a:cubicBezTo>
                    <a:pt x="11" y="2"/>
                    <a:pt x="16" y="0"/>
                    <a:pt x="22" y="0"/>
                  </a:cubicBezTo>
                  <a:cubicBezTo>
                    <a:pt x="28" y="0"/>
                    <a:pt x="33" y="2"/>
                    <a:pt x="38" y="6"/>
                  </a:cubicBezTo>
                  <a:cubicBezTo>
                    <a:pt x="42" y="11"/>
                    <a:pt x="44" y="16"/>
                    <a:pt x="44" y="22"/>
                  </a:cubicBezTo>
                  <a:cubicBezTo>
                    <a:pt x="44" y="28"/>
                    <a:pt x="42" y="33"/>
                    <a:pt x="38" y="37"/>
                  </a:cubicBezTo>
                  <a:cubicBezTo>
                    <a:pt x="33" y="42"/>
                    <a:pt x="28" y="44"/>
                    <a:pt x="22" y="44"/>
                  </a:cubicBezTo>
                  <a:cubicBezTo>
                    <a:pt x="16" y="44"/>
                    <a:pt x="11" y="42"/>
                    <a:pt x="6" y="37"/>
                  </a:cubicBezTo>
                  <a:cubicBezTo>
                    <a:pt x="2" y="33"/>
                    <a:pt x="0" y="28"/>
                    <a:pt x="0" y="22"/>
                  </a:cubicBezTo>
                  <a:cubicBezTo>
                    <a:pt x="0" y="16"/>
                    <a:pt x="2" y="11"/>
                    <a:pt x="6" y="6"/>
                  </a:cubicBezTo>
                  <a:close/>
                </a:path>
              </a:pathLst>
            </a:custGeom>
            <a:solidFill>
              <a:srgbClr val="0E5A8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11" name="Freeform 13"/>
            <p:cNvSpPr>
              <a:spLocks/>
            </p:cNvSpPr>
            <p:nvPr/>
          </p:nvSpPr>
          <p:spPr bwMode="auto">
            <a:xfrm>
              <a:off x="3730626" y="2779713"/>
              <a:ext cx="106363" cy="106362"/>
            </a:xfrm>
            <a:custGeom>
              <a:avLst/>
              <a:gdLst/>
              <a:ahLst/>
              <a:cxnLst>
                <a:cxn ang="0">
                  <a:pos x="38" y="6"/>
                </a:cxn>
                <a:cxn ang="0">
                  <a:pos x="44" y="22"/>
                </a:cxn>
                <a:cxn ang="0">
                  <a:pos x="38" y="37"/>
                </a:cxn>
                <a:cxn ang="0">
                  <a:pos x="22" y="44"/>
                </a:cxn>
                <a:cxn ang="0">
                  <a:pos x="6" y="37"/>
                </a:cxn>
                <a:cxn ang="0">
                  <a:pos x="0" y="22"/>
                </a:cxn>
                <a:cxn ang="0">
                  <a:pos x="6" y="6"/>
                </a:cxn>
                <a:cxn ang="0">
                  <a:pos x="22" y="0"/>
                </a:cxn>
                <a:cxn ang="0">
                  <a:pos x="38" y="6"/>
                </a:cxn>
              </a:cxnLst>
              <a:rect l="0" t="0" r="r" b="b"/>
              <a:pathLst>
                <a:path w="44" h="44">
                  <a:moveTo>
                    <a:pt x="38" y="6"/>
                  </a:moveTo>
                  <a:cubicBezTo>
                    <a:pt x="42" y="11"/>
                    <a:pt x="44" y="16"/>
                    <a:pt x="44" y="22"/>
                  </a:cubicBezTo>
                  <a:cubicBezTo>
                    <a:pt x="44" y="28"/>
                    <a:pt x="42" y="33"/>
                    <a:pt x="38" y="37"/>
                  </a:cubicBezTo>
                  <a:cubicBezTo>
                    <a:pt x="33" y="42"/>
                    <a:pt x="28" y="44"/>
                    <a:pt x="22" y="44"/>
                  </a:cubicBezTo>
                  <a:cubicBezTo>
                    <a:pt x="16" y="44"/>
                    <a:pt x="11" y="42"/>
                    <a:pt x="6" y="37"/>
                  </a:cubicBezTo>
                  <a:cubicBezTo>
                    <a:pt x="2" y="33"/>
                    <a:pt x="0" y="28"/>
                    <a:pt x="0" y="22"/>
                  </a:cubicBezTo>
                  <a:cubicBezTo>
                    <a:pt x="0" y="16"/>
                    <a:pt x="2" y="11"/>
                    <a:pt x="6" y="6"/>
                  </a:cubicBezTo>
                  <a:cubicBezTo>
                    <a:pt x="11" y="2"/>
                    <a:pt x="16" y="0"/>
                    <a:pt x="22" y="0"/>
                  </a:cubicBezTo>
                  <a:cubicBezTo>
                    <a:pt x="28" y="0"/>
                    <a:pt x="33" y="2"/>
                    <a:pt x="38" y="6"/>
                  </a:cubicBezTo>
                  <a:close/>
                </a:path>
              </a:pathLst>
            </a:custGeom>
            <a:solidFill>
              <a:srgbClr val="32ACFA"/>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12" name="Freeform 14"/>
            <p:cNvSpPr>
              <a:spLocks/>
            </p:cNvSpPr>
            <p:nvPr/>
          </p:nvSpPr>
          <p:spPr bwMode="auto">
            <a:xfrm>
              <a:off x="4067176" y="2743200"/>
              <a:ext cx="106363" cy="106362"/>
            </a:xfrm>
            <a:custGeom>
              <a:avLst/>
              <a:gdLst/>
              <a:ahLst/>
              <a:cxnLst>
                <a:cxn ang="0">
                  <a:pos x="6" y="37"/>
                </a:cxn>
                <a:cxn ang="0">
                  <a:pos x="0" y="22"/>
                </a:cxn>
                <a:cxn ang="0">
                  <a:pos x="6" y="6"/>
                </a:cxn>
                <a:cxn ang="0">
                  <a:pos x="22" y="0"/>
                </a:cxn>
                <a:cxn ang="0">
                  <a:pos x="38" y="6"/>
                </a:cxn>
                <a:cxn ang="0">
                  <a:pos x="44" y="22"/>
                </a:cxn>
                <a:cxn ang="0">
                  <a:pos x="38" y="37"/>
                </a:cxn>
                <a:cxn ang="0">
                  <a:pos x="22" y="44"/>
                </a:cxn>
                <a:cxn ang="0">
                  <a:pos x="6" y="37"/>
                </a:cxn>
              </a:cxnLst>
              <a:rect l="0" t="0" r="r" b="b"/>
              <a:pathLst>
                <a:path w="44" h="44">
                  <a:moveTo>
                    <a:pt x="6" y="37"/>
                  </a:moveTo>
                  <a:cubicBezTo>
                    <a:pt x="2" y="33"/>
                    <a:pt x="0" y="28"/>
                    <a:pt x="0" y="22"/>
                  </a:cubicBezTo>
                  <a:cubicBezTo>
                    <a:pt x="0" y="16"/>
                    <a:pt x="2" y="11"/>
                    <a:pt x="6" y="6"/>
                  </a:cubicBezTo>
                  <a:cubicBezTo>
                    <a:pt x="11" y="2"/>
                    <a:pt x="16" y="0"/>
                    <a:pt x="22" y="0"/>
                  </a:cubicBezTo>
                  <a:cubicBezTo>
                    <a:pt x="28" y="0"/>
                    <a:pt x="33" y="2"/>
                    <a:pt x="38" y="6"/>
                  </a:cubicBezTo>
                  <a:cubicBezTo>
                    <a:pt x="42" y="11"/>
                    <a:pt x="44" y="16"/>
                    <a:pt x="44" y="22"/>
                  </a:cubicBezTo>
                  <a:cubicBezTo>
                    <a:pt x="44" y="28"/>
                    <a:pt x="42" y="33"/>
                    <a:pt x="38" y="37"/>
                  </a:cubicBezTo>
                  <a:cubicBezTo>
                    <a:pt x="33" y="42"/>
                    <a:pt x="28" y="44"/>
                    <a:pt x="22" y="44"/>
                  </a:cubicBezTo>
                  <a:cubicBezTo>
                    <a:pt x="16" y="44"/>
                    <a:pt x="11" y="42"/>
                    <a:pt x="6" y="37"/>
                  </a:cubicBezTo>
                  <a:close/>
                </a:path>
              </a:pathLst>
            </a:custGeom>
            <a:solidFill>
              <a:srgbClr val="0E5A8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13" name="Freeform 15"/>
            <p:cNvSpPr>
              <a:spLocks/>
            </p:cNvSpPr>
            <p:nvPr/>
          </p:nvSpPr>
          <p:spPr bwMode="auto">
            <a:xfrm>
              <a:off x="4638676" y="3135313"/>
              <a:ext cx="174625" cy="174625"/>
            </a:xfrm>
            <a:custGeom>
              <a:avLst/>
              <a:gdLst/>
              <a:ahLst/>
              <a:cxnLst>
                <a:cxn ang="0">
                  <a:pos x="0" y="36"/>
                </a:cxn>
                <a:cxn ang="0">
                  <a:pos x="11" y="10"/>
                </a:cxn>
                <a:cxn ang="0">
                  <a:pos x="36" y="0"/>
                </a:cxn>
                <a:cxn ang="0">
                  <a:pos x="62" y="10"/>
                </a:cxn>
                <a:cxn ang="0">
                  <a:pos x="72" y="36"/>
                </a:cxn>
                <a:cxn ang="0">
                  <a:pos x="62" y="61"/>
                </a:cxn>
                <a:cxn ang="0">
                  <a:pos x="36" y="72"/>
                </a:cxn>
                <a:cxn ang="0">
                  <a:pos x="11" y="61"/>
                </a:cxn>
                <a:cxn ang="0">
                  <a:pos x="0" y="36"/>
                </a:cxn>
              </a:cxnLst>
              <a:rect l="0" t="0" r="r" b="b"/>
              <a:pathLst>
                <a:path w="72" h="72">
                  <a:moveTo>
                    <a:pt x="0" y="36"/>
                  </a:moveTo>
                  <a:cubicBezTo>
                    <a:pt x="0" y="26"/>
                    <a:pt x="4" y="17"/>
                    <a:pt x="11" y="10"/>
                  </a:cubicBezTo>
                  <a:cubicBezTo>
                    <a:pt x="18" y="3"/>
                    <a:pt x="26" y="0"/>
                    <a:pt x="36" y="0"/>
                  </a:cubicBezTo>
                  <a:cubicBezTo>
                    <a:pt x="46" y="0"/>
                    <a:pt x="55" y="3"/>
                    <a:pt x="62" y="10"/>
                  </a:cubicBezTo>
                  <a:cubicBezTo>
                    <a:pt x="69" y="17"/>
                    <a:pt x="72" y="26"/>
                    <a:pt x="72" y="36"/>
                  </a:cubicBezTo>
                  <a:cubicBezTo>
                    <a:pt x="72" y="46"/>
                    <a:pt x="69" y="54"/>
                    <a:pt x="62" y="61"/>
                  </a:cubicBezTo>
                  <a:cubicBezTo>
                    <a:pt x="55" y="68"/>
                    <a:pt x="46" y="72"/>
                    <a:pt x="36" y="72"/>
                  </a:cubicBezTo>
                  <a:cubicBezTo>
                    <a:pt x="26" y="72"/>
                    <a:pt x="18" y="68"/>
                    <a:pt x="11" y="61"/>
                  </a:cubicBezTo>
                  <a:cubicBezTo>
                    <a:pt x="4" y="54"/>
                    <a:pt x="0" y="46"/>
                    <a:pt x="0" y="36"/>
                  </a:cubicBezTo>
                  <a:close/>
                </a:path>
              </a:pathLst>
            </a:custGeom>
            <a:solidFill>
              <a:srgbClr val="52525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14" name="Freeform 16"/>
            <p:cNvSpPr>
              <a:spLocks/>
            </p:cNvSpPr>
            <p:nvPr/>
          </p:nvSpPr>
          <p:spPr bwMode="auto">
            <a:xfrm>
              <a:off x="5183188" y="3182938"/>
              <a:ext cx="106363" cy="107950"/>
            </a:xfrm>
            <a:custGeom>
              <a:avLst/>
              <a:gdLst/>
              <a:ahLst/>
              <a:cxnLst>
                <a:cxn ang="0">
                  <a:pos x="38" y="6"/>
                </a:cxn>
                <a:cxn ang="0">
                  <a:pos x="44" y="22"/>
                </a:cxn>
                <a:cxn ang="0">
                  <a:pos x="38" y="37"/>
                </a:cxn>
                <a:cxn ang="0">
                  <a:pos x="22" y="44"/>
                </a:cxn>
                <a:cxn ang="0">
                  <a:pos x="6" y="37"/>
                </a:cxn>
                <a:cxn ang="0">
                  <a:pos x="0" y="22"/>
                </a:cxn>
                <a:cxn ang="0">
                  <a:pos x="6" y="6"/>
                </a:cxn>
                <a:cxn ang="0">
                  <a:pos x="22" y="0"/>
                </a:cxn>
                <a:cxn ang="0">
                  <a:pos x="38" y="6"/>
                </a:cxn>
              </a:cxnLst>
              <a:rect l="0" t="0" r="r" b="b"/>
              <a:pathLst>
                <a:path w="44" h="44">
                  <a:moveTo>
                    <a:pt x="38" y="6"/>
                  </a:moveTo>
                  <a:cubicBezTo>
                    <a:pt x="42" y="11"/>
                    <a:pt x="44" y="16"/>
                    <a:pt x="44" y="22"/>
                  </a:cubicBezTo>
                  <a:cubicBezTo>
                    <a:pt x="44" y="28"/>
                    <a:pt x="42" y="33"/>
                    <a:pt x="38" y="37"/>
                  </a:cubicBezTo>
                  <a:cubicBezTo>
                    <a:pt x="33" y="42"/>
                    <a:pt x="28" y="44"/>
                    <a:pt x="22" y="44"/>
                  </a:cubicBezTo>
                  <a:cubicBezTo>
                    <a:pt x="16" y="44"/>
                    <a:pt x="11" y="42"/>
                    <a:pt x="6" y="37"/>
                  </a:cubicBezTo>
                  <a:cubicBezTo>
                    <a:pt x="2" y="33"/>
                    <a:pt x="0" y="28"/>
                    <a:pt x="0" y="22"/>
                  </a:cubicBezTo>
                  <a:cubicBezTo>
                    <a:pt x="0" y="16"/>
                    <a:pt x="2" y="11"/>
                    <a:pt x="6" y="6"/>
                  </a:cubicBezTo>
                  <a:cubicBezTo>
                    <a:pt x="11" y="2"/>
                    <a:pt x="16" y="0"/>
                    <a:pt x="22" y="0"/>
                  </a:cubicBezTo>
                  <a:cubicBezTo>
                    <a:pt x="28" y="0"/>
                    <a:pt x="33" y="2"/>
                    <a:pt x="38" y="6"/>
                  </a:cubicBezTo>
                  <a:close/>
                </a:path>
              </a:pathLst>
            </a:custGeom>
            <a:solidFill>
              <a:srgbClr val="0588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15" name="Freeform 17"/>
            <p:cNvSpPr>
              <a:spLocks/>
            </p:cNvSpPr>
            <p:nvPr/>
          </p:nvSpPr>
          <p:spPr bwMode="auto">
            <a:xfrm>
              <a:off x="5491163" y="3333750"/>
              <a:ext cx="76200" cy="77787"/>
            </a:xfrm>
            <a:custGeom>
              <a:avLst/>
              <a:gdLst/>
              <a:ahLst/>
              <a:cxnLst>
                <a:cxn ang="0">
                  <a:pos x="5" y="27"/>
                </a:cxn>
                <a:cxn ang="0">
                  <a:pos x="0" y="16"/>
                </a:cxn>
                <a:cxn ang="0">
                  <a:pos x="5" y="4"/>
                </a:cxn>
                <a:cxn ang="0">
                  <a:pos x="16" y="0"/>
                </a:cxn>
                <a:cxn ang="0">
                  <a:pos x="27" y="4"/>
                </a:cxn>
                <a:cxn ang="0">
                  <a:pos x="32" y="16"/>
                </a:cxn>
                <a:cxn ang="0">
                  <a:pos x="27" y="27"/>
                </a:cxn>
                <a:cxn ang="0">
                  <a:pos x="16" y="32"/>
                </a:cxn>
                <a:cxn ang="0">
                  <a:pos x="5" y="27"/>
                </a:cxn>
              </a:cxnLst>
              <a:rect l="0" t="0" r="r" b="b"/>
              <a:pathLst>
                <a:path w="32" h="32">
                  <a:moveTo>
                    <a:pt x="5" y="27"/>
                  </a:moveTo>
                  <a:cubicBezTo>
                    <a:pt x="1" y="24"/>
                    <a:pt x="0" y="20"/>
                    <a:pt x="0" y="16"/>
                  </a:cubicBezTo>
                  <a:cubicBezTo>
                    <a:pt x="0" y="11"/>
                    <a:pt x="1" y="8"/>
                    <a:pt x="5" y="4"/>
                  </a:cubicBezTo>
                  <a:cubicBezTo>
                    <a:pt x="8" y="1"/>
                    <a:pt x="12" y="0"/>
                    <a:pt x="16" y="0"/>
                  </a:cubicBezTo>
                  <a:cubicBezTo>
                    <a:pt x="20" y="0"/>
                    <a:pt x="24" y="1"/>
                    <a:pt x="27" y="4"/>
                  </a:cubicBezTo>
                  <a:cubicBezTo>
                    <a:pt x="30" y="8"/>
                    <a:pt x="32" y="11"/>
                    <a:pt x="32" y="16"/>
                  </a:cubicBezTo>
                  <a:cubicBezTo>
                    <a:pt x="32" y="20"/>
                    <a:pt x="30" y="24"/>
                    <a:pt x="27" y="27"/>
                  </a:cubicBezTo>
                  <a:cubicBezTo>
                    <a:pt x="24" y="30"/>
                    <a:pt x="20" y="32"/>
                    <a:pt x="16" y="32"/>
                  </a:cubicBezTo>
                  <a:cubicBezTo>
                    <a:pt x="12" y="32"/>
                    <a:pt x="8" y="30"/>
                    <a:pt x="5" y="27"/>
                  </a:cubicBezTo>
                  <a:close/>
                </a:path>
              </a:pathLst>
            </a:custGeom>
            <a:solidFill>
              <a:srgbClr val="0E5A8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16" name="Freeform 18"/>
            <p:cNvSpPr>
              <a:spLocks/>
            </p:cNvSpPr>
            <p:nvPr/>
          </p:nvSpPr>
          <p:spPr bwMode="auto">
            <a:xfrm>
              <a:off x="3490913" y="3154363"/>
              <a:ext cx="106363" cy="106362"/>
            </a:xfrm>
            <a:custGeom>
              <a:avLst/>
              <a:gdLst/>
              <a:ahLst/>
              <a:cxnLst>
                <a:cxn ang="0">
                  <a:pos x="0" y="22"/>
                </a:cxn>
                <a:cxn ang="0">
                  <a:pos x="6" y="6"/>
                </a:cxn>
                <a:cxn ang="0">
                  <a:pos x="22" y="0"/>
                </a:cxn>
                <a:cxn ang="0">
                  <a:pos x="38" y="6"/>
                </a:cxn>
                <a:cxn ang="0">
                  <a:pos x="44" y="22"/>
                </a:cxn>
                <a:cxn ang="0">
                  <a:pos x="38" y="37"/>
                </a:cxn>
                <a:cxn ang="0">
                  <a:pos x="22" y="44"/>
                </a:cxn>
                <a:cxn ang="0">
                  <a:pos x="6" y="37"/>
                </a:cxn>
                <a:cxn ang="0">
                  <a:pos x="0" y="22"/>
                </a:cxn>
              </a:cxnLst>
              <a:rect l="0" t="0" r="r" b="b"/>
              <a:pathLst>
                <a:path w="44" h="44">
                  <a:moveTo>
                    <a:pt x="0" y="22"/>
                  </a:moveTo>
                  <a:cubicBezTo>
                    <a:pt x="0" y="16"/>
                    <a:pt x="2" y="11"/>
                    <a:pt x="6" y="6"/>
                  </a:cubicBezTo>
                  <a:cubicBezTo>
                    <a:pt x="11" y="2"/>
                    <a:pt x="16" y="0"/>
                    <a:pt x="22" y="0"/>
                  </a:cubicBezTo>
                  <a:cubicBezTo>
                    <a:pt x="28" y="0"/>
                    <a:pt x="33" y="2"/>
                    <a:pt x="38" y="6"/>
                  </a:cubicBezTo>
                  <a:cubicBezTo>
                    <a:pt x="42" y="11"/>
                    <a:pt x="44" y="16"/>
                    <a:pt x="44" y="22"/>
                  </a:cubicBezTo>
                  <a:cubicBezTo>
                    <a:pt x="44" y="28"/>
                    <a:pt x="42" y="33"/>
                    <a:pt x="38" y="37"/>
                  </a:cubicBezTo>
                  <a:cubicBezTo>
                    <a:pt x="33" y="42"/>
                    <a:pt x="28" y="44"/>
                    <a:pt x="22" y="44"/>
                  </a:cubicBezTo>
                  <a:cubicBezTo>
                    <a:pt x="16" y="44"/>
                    <a:pt x="11" y="42"/>
                    <a:pt x="6" y="37"/>
                  </a:cubicBezTo>
                  <a:cubicBezTo>
                    <a:pt x="2" y="33"/>
                    <a:pt x="0" y="28"/>
                    <a:pt x="0" y="22"/>
                  </a:cubicBezTo>
                  <a:close/>
                </a:path>
              </a:pathLst>
            </a:custGeom>
            <a:solidFill>
              <a:srgbClr val="A1A1A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17" name="Freeform 19"/>
            <p:cNvSpPr>
              <a:spLocks/>
            </p:cNvSpPr>
            <p:nvPr/>
          </p:nvSpPr>
          <p:spPr bwMode="auto">
            <a:xfrm>
              <a:off x="3810001" y="3529013"/>
              <a:ext cx="147638" cy="147637"/>
            </a:xfrm>
            <a:custGeom>
              <a:avLst/>
              <a:gdLst/>
              <a:ahLst/>
              <a:cxnLst>
                <a:cxn ang="0">
                  <a:pos x="31" y="0"/>
                </a:cxn>
                <a:cxn ang="0">
                  <a:pos x="52" y="9"/>
                </a:cxn>
                <a:cxn ang="0">
                  <a:pos x="61" y="30"/>
                </a:cxn>
                <a:cxn ang="0">
                  <a:pos x="52" y="52"/>
                </a:cxn>
                <a:cxn ang="0">
                  <a:pos x="31" y="61"/>
                </a:cxn>
                <a:cxn ang="0">
                  <a:pos x="9" y="52"/>
                </a:cxn>
                <a:cxn ang="0">
                  <a:pos x="0" y="30"/>
                </a:cxn>
                <a:cxn ang="0">
                  <a:pos x="9" y="9"/>
                </a:cxn>
                <a:cxn ang="0">
                  <a:pos x="31" y="0"/>
                </a:cxn>
              </a:cxnLst>
              <a:rect l="0" t="0" r="r" b="b"/>
              <a:pathLst>
                <a:path w="61" h="61">
                  <a:moveTo>
                    <a:pt x="31" y="0"/>
                  </a:moveTo>
                  <a:cubicBezTo>
                    <a:pt x="39" y="0"/>
                    <a:pt x="46" y="3"/>
                    <a:pt x="52" y="9"/>
                  </a:cubicBezTo>
                  <a:cubicBezTo>
                    <a:pt x="58" y="15"/>
                    <a:pt x="61" y="22"/>
                    <a:pt x="61" y="30"/>
                  </a:cubicBezTo>
                  <a:cubicBezTo>
                    <a:pt x="61" y="39"/>
                    <a:pt x="58" y="46"/>
                    <a:pt x="52" y="52"/>
                  </a:cubicBezTo>
                  <a:cubicBezTo>
                    <a:pt x="46" y="58"/>
                    <a:pt x="39" y="61"/>
                    <a:pt x="31" y="61"/>
                  </a:cubicBezTo>
                  <a:cubicBezTo>
                    <a:pt x="22" y="61"/>
                    <a:pt x="15" y="58"/>
                    <a:pt x="9" y="52"/>
                  </a:cubicBezTo>
                  <a:cubicBezTo>
                    <a:pt x="3" y="46"/>
                    <a:pt x="0" y="39"/>
                    <a:pt x="0" y="30"/>
                  </a:cubicBezTo>
                  <a:cubicBezTo>
                    <a:pt x="0" y="22"/>
                    <a:pt x="3" y="15"/>
                    <a:pt x="9" y="9"/>
                  </a:cubicBezTo>
                  <a:cubicBezTo>
                    <a:pt x="15" y="3"/>
                    <a:pt x="22" y="0"/>
                    <a:pt x="31" y="0"/>
                  </a:cubicBezTo>
                  <a:close/>
                </a:path>
              </a:pathLst>
            </a:custGeom>
            <a:solidFill>
              <a:srgbClr val="0E5A8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18" name="Freeform 20"/>
            <p:cNvSpPr>
              <a:spLocks/>
            </p:cNvSpPr>
            <p:nvPr/>
          </p:nvSpPr>
          <p:spPr bwMode="auto">
            <a:xfrm>
              <a:off x="4268788" y="3529013"/>
              <a:ext cx="147638" cy="147637"/>
            </a:xfrm>
            <a:custGeom>
              <a:avLst/>
              <a:gdLst/>
              <a:ahLst/>
              <a:cxnLst>
                <a:cxn ang="0">
                  <a:pos x="31" y="0"/>
                </a:cxn>
                <a:cxn ang="0">
                  <a:pos x="52" y="9"/>
                </a:cxn>
                <a:cxn ang="0">
                  <a:pos x="61" y="30"/>
                </a:cxn>
                <a:cxn ang="0">
                  <a:pos x="52" y="52"/>
                </a:cxn>
                <a:cxn ang="0">
                  <a:pos x="31" y="61"/>
                </a:cxn>
                <a:cxn ang="0">
                  <a:pos x="9" y="52"/>
                </a:cxn>
                <a:cxn ang="0">
                  <a:pos x="0" y="30"/>
                </a:cxn>
                <a:cxn ang="0">
                  <a:pos x="9" y="9"/>
                </a:cxn>
                <a:cxn ang="0">
                  <a:pos x="31" y="0"/>
                </a:cxn>
              </a:cxnLst>
              <a:rect l="0" t="0" r="r" b="b"/>
              <a:pathLst>
                <a:path w="61" h="61">
                  <a:moveTo>
                    <a:pt x="31" y="0"/>
                  </a:moveTo>
                  <a:cubicBezTo>
                    <a:pt x="39" y="0"/>
                    <a:pt x="46" y="3"/>
                    <a:pt x="52" y="9"/>
                  </a:cubicBezTo>
                  <a:cubicBezTo>
                    <a:pt x="58" y="15"/>
                    <a:pt x="61" y="22"/>
                    <a:pt x="61" y="30"/>
                  </a:cubicBezTo>
                  <a:cubicBezTo>
                    <a:pt x="61" y="39"/>
                    <a:pt x="58" y="46"/>
                    <a:pt x="52" y="52"/>
                  </a:cubicBezTo>
                  <a:cubicBezTo>
                    <a:pt x="46" y="58"/>
                    <a:pt x="39" y="61"/>
                    <a:pt x="31" y="61"/>
                  </a:cubicBezTo>
                  <a:cubicBezTo>
                    <a:pt x="22" y="61"/>
                    <a:pt x="15" y="58"/>
                    <a:pt x="9" y="52"/>
                  </a:cubicBezTo>
                  <a:cubicBezTo>
                    <a:pt x="3" y="46"/>
                    <a:pt x="0" y="39"/>
                    <a:pt x="0" y="30"/>
                  </a:cubicBezTo>
                  <a:cubicBezTo>
                    <a:pt x="0" y="22"/>
                    <a:pt x="3" y="15"/>
                    <a:pt x="9" y="9"/>
                  </a:cubicBezTo>
                  <a:cubicBezTo>
                    <a:pt x="15" y="3"/>
                    <a:pt x="22" y="0"/>
                    <a:pt x="31" y="0"/>
                  </a:cubicBezTo>
                  <a:close/>
                </a:path>
              </a:pathLst>
            </a:custGeom>
            <a:solidFill>
              <a:srgbClr val="0476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19" name="Freeform 21"/>
            <p:cNvSpPr>
              <a:spLocks/>
            </p:cNvSpPr>
            <p:nvPr/>
          </p:nvSpPr>
          <p:spPr bwMode="auto">
            <a:xfrm>
              <a:off x="4081463" y="3079750"/>
              <a:ext cx="171450" cy="171450"/>
            </a:xfrm>
            <a:custGeom>
              <a:avLst/>
              <a:gdLst/>
              <a:ahLst/>
              <a:cxnLst>
                <a:cxn ang="0">
                  <a:pos x="61" y="10"/>
                </a:cxn>
                <a:cxn ang="0">
                  <a:pos x="71" y="35"/>
                </a:cxn>
                <a:cxn ang="0">
                  <a:pos x="61" y="60"/>
                </a:cxn>
                <a:cxn ang="0">
                  <a:pos x="36" y="71"/>
                </a:cxn>
                <a:cxn ang="0">
                  <a:pos x="10" y="60"/>
                </a:cxn>
                <a:cxn ang="0">
                  <a:pos x="0" y="35"/>
                </a:cxn>
                <a:cxn ang="0">
                  <a:pos x="10" y="10"/>
                </a:cxn>
                <a:cxn ang="0">
                  <a:pos x="36" y="0"/>
                </a:cxn>
                <a:cxn ang="0">
                  <a:pos x="61" y="10"/>
                </a:cxn>
              </a:cxnLst>
              <a:rect l="0" t="0" r="r" b="b"/>
              <a:pathLst>
                <a:path w="71" h="71">
                  <a:moveTo>
                    <a:pt x="61" y="10"/>
                  </a:moveTo>
                  <a:cubicBezTo>
                    <a:pt x="68" y="17"/>
                    <a:pt x="71" y="26"/>
                    <a:pt x="71" y="35"/>
                  </a:cubicBezTo>
                  <a:cubicBezTo>
                    <a:pt x="71" y="45"/>
                    <a:pt x="68" y="54"/>
                    <a:pt x="61" y="60"/>
                  </a:cubicBezTo>
                  <a:cubicBezTo>
                    <a:pt x="54" y="68"/>
                    <a:pt x="45" y="71"/>
                    <a:pt x="36" y="71"/>
                  </a:cubicBezTo>
                  <a:cubicBezTo>
                    <a:pt x="26" y="71"/>
                    <a:pt x="17" y="68"/>
                    <a:pt x="10" y="60"/>
                  </a:cubicBezTo>
                  <a:cubicBezTo>
                    <a:pt x="3" y="54"/>
                    <a:pt x="0" y="45"/>
                    <a:pt x="0" y="35"/>
                  </a:cubicBezTo>
                  <a:cubicBezTo>
                    <a:pt x="0" y="26"/>
                    <a:pt x="3" y="17"/>
                    <a:pt x="10" y="10"/>
                  </a:cubicBezTo>
                  <a:cubicBezTo>
                    <a:pt x="17" y="3"/>
                    <a:pt x="26" y="0"/>
                    <a:pt x="36" y="0"/>
                  </a:cubicBezTo>
                  <a:cubicBezTo>
                    <a:pt x="45" y="0"/>
                    <a:pt x="54" y="3"/>
                    <a:pt x="61" y="10"/>
                  </a:cubicBezTo>
                  <a:close/>
                </a:path>
              </a:pathLst>
            </a:custGeom>
            <a:solidFill>
              <a:srgbClr val="0588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20" name="Freeform 22"/>
            <p:cNvSpPr>
              <a:spLocks/>
            </p:cNvSpPr>
            <p:nvPr/>
          </p:nvSpPr>
          <p:spPr bwMode="auto">
            <a:xfrm>
              <a:off x="5405438" y="3943350"/>
              <a:ext cx="77788" cy="77787"/>
            </a:xfrm>
            <a:custGeom>
              <a:avLst/>
              <a:gdLst/>
              <a:ahLst/>
              <a:cxnLst>
                <a:cxn ang="0">
                  <a:pos x="0" y="16"/>
                </a:cxn>
                <a:cxn ang="0">
                  <a:pos x="5" y="4"/>
                </a:cxn>
                <a:cxn ang="0">
                  <a:pos x="16" y="0"/>
                </a:cxn>
                <a:cxn ang="0">
                  <a:pos x="27" y="4"/>
                </a:cxn>
                <a:cxn ang="0">
                  <a:pos x="32" y="16"/>
                </a:cxn>
                <a:cxn ang="0">
                  <a:pos x="27" y="27"/>
                </a:cxn>
                <a:cxn ang="0">
                  <a:pos x="16" y="32"/>
                </a:cxn>
                <a:cxn ang="0">
                  <a:pos x="5" y="27"/>
                </a:cxn>
                <a:cxn ang="0">
                  <a:pos x="0" y="16"/>
                </a:cxn>
              </a:cxnLst>
              <a:rect l="0" t="0" r="r" b="b"/>
              <a:pathLst>
                <a:path w="32" h="32">
                  <a:moveTo>
                    <a:pt x="0" y="16"/>
                  </a:moveTo>
                  <a:cubicBezTo>
                    <a:pt x="0" y="11"/>
                    <a:pt x="2" y="8"/>
                    <a:pt x="5" y="4"/>
                  </a:cubicBezTo>
                  <a:cubicBezTo>
                    <a:pt x="8" y="1"/>
                    <a:pt x="12" y="0"/>
                    <a:pt x="16" y="0"/>
                  </a:cubicBezTo>
                  <a:cubicBezTo>
                    <a:pt x="20" y="0"/>
                    <a:pt x="24" y="1"/>
                    <a:pt x="27" y="4"/>
                  </a:cubicBezTo>
                  <a:cubicBezTo>
                    <a:pt x="30" y="8"/>
                    <a:pt x="32" y="11"/>
                    <a:pt x="32" y="16"/>
                  </a:cubicBezTo>
                  <a:cubicBezTo>
                    <a:pt x="32" y="20"/>
                    <a:pt x="30" y="24"/>
                    <a:pt x="27" y="27"/>
                  </a:cubicBezTo>
                  <a:cubicBezTo>
                    <a:pt x="24" y="30"/>
                    <a:pt x="20" y="32"/>
                    <a:pt x="16" y="32"/>
                  </a:cubicBezTo>
                  <a:cubicBezTo>
                    <a:pt x="12" y="32"/>
                    <a:pt x="8" y="30"/>
                    <a:pt x="5" y="27"/>
                  </a:cubicBezTo>
                  <a:cubicBezTo>
                    <a:pt x="2" y="24"/>
                    <a:pt x="0" y="20"/>
                    <a:pt x="0" y="16"/>
                  </a:cubicBezTo>
                  <a:close/>
                </a:path>
              </a:pathLst>
            </a:custGeom>
            <a:solidFill>
              <a:srgbClr val="0476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21" name="Freeform 23"/>
            <p:cNvSpPr>
              <a:spLocks/>
            </p:cNvSpPr>
            <p:nvPr/>
          </p:nvSpPr>
          <p:spPr bwMode="auto">
            <a:xfrm>
              <a:off x="4638676" y="3560763"/>
              <a:ext cx="77788" cy="77787"/>
            </a:xfrm>
            <a:custGeom>
              <a:avLst/>
              <a:gdLst/>
              <a:ahLst/>
              <a:cxnLst>
                <a:cxn ang="0">
                  <a:pos x="5" y="4"/>
                </a:cxn>
                <a:cxn ang="0">
                  <a:pos x="16" y="0"/>
                </a:cxn>
                <a:cxn ang="0">
                  <a:pos x="27" y="4"/>
                </a:cxn>
                <a:cxn ang="0">
                  <a:pos x="32" y="16"/>
                </a:cxn>
                <a:cxn ang="0">
                  <a:pos x="27" y="27"/>
                </a:cxn>
                <a:cxn ang="0">
                  <a:pos x="16" y="32"/>
                </a:cxn>
                <a:cxn ang="0">
                  <a:pos x="5" y="27"/>
                </a:cxn>
                <a:cxn ang="0">
                  <a:pos x="0" y="16"/>
                </a:cxn>
                <a:cxn ang="0">
                  <a:pos x="5" y="4"/>
                </a:cxn>
              </a:cxnLst>
              <a:rect l="0" t="0" r="r" b="b"/>
              <a:pathLst>
                <a:path w="32" h="32">
                  <a:moveTo>
                    <a:pt x="5" y="4"/>
                  </a:moveTo>
                  <a:cubicBezTo>
                    <a:pt x="8" y="1"/>
                    <a:pt x="12" y="0"/>
                    <a:pt x="16" y="0"/>
                  </a:cubicBezTo>
                  <a:cubicBezTo>
                    <a:pt x="20" y="0"/>
                    <a:pt x="24" y="1"/>
                    <a:pt x="27" y="4"/>
                  </a:cubicBezTo>
                  <a:cubicBezTo>
                    <a:pt x="30" y="8"/>
                    <a:pt x="32" y="11"/>
                    <a:pt x="32" y="16"/>
                  </a:cubicBezTo>
                  <a:cubicBezTo>
                    <a:pt x="32" y="20"/>
                    <a:pt x="30" y="24"/>
                    <a:pt x="27" y="27"/>
                  </a:cubicBezTo>
                  <a:cubicBezTo>
                    <a:pt x="24" y="30"/>
                    <a:pt x="20" y="32"/>
                    <a:pt x="16" y="32"/>
                  </a:cubicBezTo>
                  <a:cubicBezTo>
                    <a:pt x="12" y="32"/>
                    <a:pt x="8" y="30"/>
                    <a:pt x="5" y="27"/>
                  </a:cubicBezTo>
                  <a:cubicBezTo>
                    <a:pt x="2" y="24"/>
                    <a:pt x="0" y="20"/>
                    <a:pt x="0" y="16"/>
                  </a:cubicBezTo>
                  <a:cubicBezTo>
                    <a:pt x="0" y="11"/>
                    <a:pt x="2" y="8"/>
                    <a:pt x="5" y="4"/>
                  </a:cubicBezTo>
                  <a:close/>
                </a:path>
              </a:pathLst>
            </a:custGeom>
            <a:solidFill>
              <a:srgbClr val="32ACFA"/>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22" name="Freeform 24"/>
            <p:cNvSpPr>
              <a:spLocks/>
            </p:cNvSpPr>
            <p:nvPr/>
          </p:nvSpPr>
          <p:spPr bwMode="auto">
            <a:xfrm>
              <a:off x="4984751" y="3536950"/>
              <a:ext cx="125413" cy="125412"/>
            </a:xfrm>
            <a:custGeom>
              <a:avLst/>
              <a:gdLst/>
              <a:ahLst/>
              <a:cxnLst>
                <a:cxn ang="0">
                  <a:pos x="44" y="7"/>
                </a:cxn>
                <a:cxn ang="0">
                  <a:pos x="52" y="26"/>
                </a:cxn>
                <a:cxn ang="0">
                  <a:pos x="44" y="44"/>
                </a:cxn>
                <a:cxn ang="0">
                  <a:pos x="26" y="52"/>
                </a:cxn>
                <a:cxn ang="0">
                  <a:pos x="7" y="44"/>
                </a:cxn>
                <a:cxn ang="0">
                  <a:pos x="0" y="26"/>
                </a:cxn>
                <a:cxn ang="0">
                  <a:pos x="7" y="7"/>
                </a:cxn>
                <a:cxn ang="0">
                  <a:pos x="26" y="0"/>
                </a:cxn>
                <a:cxn ang="0">
                  <a:pos x="44" y="7"/>
                </a:cxn>
              </a:cxnLst>
              <a:rect l="0" t="0" r="r" b="b"/>
              <a:pathLst>
                <a:path w="52" h="52">
                  <a:moveTo>
                    <a:pt x="44" y="7"/>
                  </a:moveTo>
                  <a:cubicBezTo>
                    <a:pt x="49" y="12"/>
                    <a:pt x="52" y="19"/>
                    <a:pt x="52" y="26"/>
                  </a:cubicBezTo>
                  <a:cubicBezTo>
                    <a:pt x="52" y="33"/>
                    <a:pt x="49" y="39"/>
                    <a:pt x="44" y="44"/>
                  </a:cubicBezTo>
                  <a:cubicBezTo>
                    <a:pt x="39" y="49"/>
                    <a:pt x="33" y="52"/>
                    <a:pt x="26" y="52"/>
                  </a:cubicBezTo>
                  <a:cubicBezTo>
                    <a:pt x="19" y="52"/>
                    <a:pt x="13" y="49"/>
                    <a:pt x="7" y="44"/>
                  </a:cubicBezTo>
                  <a:cubicBezTo>
                    <a:pt x="2" y="39"/>
                    <a:pt x="0" y="33"/>
                    <a:pt x="0" y="26"/>
                  </a:cubicBezTo>
                  <a:cubicBezTo>
                    <a:pt x="0" y="19"/>
                    <a:pt x="2" y="12"/>
                    <a:pt x="7" y="7"/>
                  </a:cubicBezTo>
                  <a:cubicBezTo>
                    <a:pt x="13" y="2"/>
                    <a:pt x="19" y="0"/>
                    <a:pt x="26" y="0"/>
                  </a:cubicBezTo>
                  <a:cubicBezTo>
                    <a:pt x="33" y="0"/>
                    <a:pt x="39" y="2"/>
                    <a:pt x="44" y="7"/>
                  </a:cubicBezTo>
                  <a:close/>
                </a:path>
              </a:pathLst>
            </a:custGeom>
            <a:solidFill>
              <a:srgbClr val="A1A1A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23" name="Freeform 25"/>
            <p:cNvSpPr>
              <a:spLocks/>
            </p:cNvSpPr>
            <p:nvPr/>
          </p:nvSpPr>
          <p:spPr bwMode="auto">
            <a:xfrm>
              <a:off x="5049838" y="3921125"/>
              <a:ext cx="125413" cy="127000"/>
            </a:xfrm>
            <a:custGeom>
              <a:avLst/>
              <a:gdLst/>
              <a:ahLst/>
              <a:cxnLst>
                <a:cxn ang="0">
                  <a:pos x="44" y="44"/>
                </a:cxn>
                <a:cxn ang="0">
                  <a:pos x="26" y="52"/>
                </a:cxn>
                <a:cxn ang="0">
                  <a:pos x="7" y="44"/>
                </a:cxn>
                <a:cxn ang="0">
                  <a:pos x="0" y="26"/>
                </a:cxn>
                <a:cxn ang="0">
                  <a:pos x="7" y="7"/>
                </a:cxn>
                <a:cxn ang="0">
                  <a:pos x="26" y="0"/>
                </a:cxn>
                <a:cxn ang="0">
                  <a:pos x="44" y="7"/>
                </a:cxn>
                <a:cxn ang="0">
                  <a:pos x="52" y="26"/>
                </a:cxn>
                <a:cxn ang="0">
                  <a:pos x="44" y="44"/>
                </a:cxn>
              </a:cxnLst>
              <a:rect l="0" t="0" r="r" b="b"/>
              <a:pathLst>
                <a:path w="52" h="52">
                  <a:moveTo>
                    <a:pt x="44" y="44"/>
                  </a:moveTo>
                  <a:cubicBezTo>
                    <a:pt x="39" y="49"/>
                    <a:pt x="33" y="52"/>
                    <a:pt x="26" y="52"/>
                  </a:cubicBezTo>
                  <a:cubicBezTo>
                    <a:pt x="19" y="52"/>
                    <a:pt x="13" y="49"/>
                    <a:pt x="7" y="44"/>
                  </a:cubicBezTo>
                  <a:cubicBezTo>
                    <a:pt x="2" y="39"/>
                    <a:pt x="0" y="33"/>
                    <a:pt x="0" y="26"/>
                  </a:cubicBezTo>
                  <a:cubicBezTo>
                    <a:pt x="0" y="19"/>
                    <a:pt x="2" y="12"/>
                    <a:pt x="7" y="7"/>
                  </a:cubicBezTo>
                  <a:cubicBezTo>
                    <a:pt x="13" y="2"/>
                    <a:pt x="19" y="0"/>
                    <a:pt x="26" y="0"/>
                  </a:cubicBezTo>
                  <a:cubicBezTo>
                    <a:pt x="33" y="0"/>
                    <a:pt x="39" y="2"/>
                    <a:pt x="44" y="7"/>
                  </a:cubicBezTo>
                  <a:cubicBezTo>
                    <a:pt x="49" y="12"/>
                    <a:pt x="52" y="19"/>
                    <a:pt x="52" y="26"/>
                  </a:cubicBezTo>
                  <a:cubicBezTo>
                    <a:pt x="52" y="33"/>
                    <a:pt x="49" y="39"/>
                    <a:pt x="44" y="44"/>
                  </a:cubicBezTo>
                  <a:close/>
                </a:path>
              </a:pathLst>
            </a:custGeom>
            <a:solidFill>
              <a:srgbClr val="0476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24" name="Freeform 26"/>
            <p:cNvSpPr>
              <a:spLocks/>
            </p:cNvSpPr>
            <p:nvPr/>
          </p:nvSpPr>
          <p:spPr bwMode="auto">
            <a:xfrm>
              <a:off x="4551363" y="3967163"/>
              <a:ext cx="155575" cy="155575"/>
            </a:xfrm>
            <a:custGeom>
              <a:avLst/>
              <a:gdLst/>
              <a:ahLst/>
              <a:cxnLst>
                <a:cxn ang="0">
                  <a:pos x="32" y="64"/>
                </a:cxn>
                <a:cxn ang="0">
                  <a:pos x="9" y="54"/>
                </a:cxn>
                <a:cxn ang="0">
                  <a:pos x="0" y="32"/>
                </a:cxn>
                <a:cxn ang="0">
                  <a:pos x="9" y="9"/>
                </a:cxn>
                <a:cxn ang="0">
                  <a:pos x="32" y="0"/>
                </a:cxn>
                <a:cxn ang="0">
                  <a:pos x="54" y="9"/>
                </a:cxn>
                <a:cxn ang="0">
                  <a:pos x="64" y="32"/>
                </a:cxn>
                <a:cxn ang="0">
                  <a:pos x="54" y="54"/>
                </a:cxn>
                <a:cxn ang="0">
                  <a:pos x="32" y="64"/>
                </a:cxn>
              </a:cxnLst>
              <a:rect l="0" t="0" r="r" b="b"/>
              <a:pathLst>
                <a:path w="64" h="64">
                  <a:moveTo>
                    <a:pt x="32" y="64"/>
                  </a:moveTo>
                  <a:cubicBezTo>
                    <a:pt x="23" y="64"/>
                    <a:pt x="16" y="61"/>
                    <a:pt x="9" y="54"/>
                  </a:cubicBezTo>
                  <a:cubicBezTo>
                    <a:pt x="3" y="48"/>
                    <a:pt x="0" y="40"/>
                    <a:pt x="0" y="32"/>
                  </a:cubicBezTo>
                  <a:cubicBezTo>
                    <a:pt x="0" y="23"/>
                    <a:pt x="3" y="15"/>
                    <a:pt x="9" y="9"/>
                  </a:cubicBezTo>
                  <a:cubicBezTo>
                    <a:pt x="16" y="3"/>
                    <a:pt x="23" y="0"/>
                    <a:pt x="32" y="0"/>
                  </a:cubicBezTo>
                  <a:cubicBezTo>
                    <a:pt x="41" y="0"/>
                    <a:pt x="48" y="3"/>
                    <a:pt x="54" y="9"/>
                  </a:cubicBezTo>
                  <a:cubicBezTo>
                    <a:pt x="61" y="15"/>
                    <a:pt x="64" y="23"/>
                    <a:pt x="64" y="32"/>
                  </a:cubicBezTo>
                  <a:cubicBezTo>
                    <a:pt x="64" y="40"/>
                    <a:pt x="61" y="48"/>
                    <a:pt x="54" y="54"/>
                  </a:cubicBezTo>
                  <a:cubicBezTo>
                    <a:pt x="48" y="61"/>
                    <a:pt x="41" y="64"/>
                    <a:pt x="32" y="64"/>
                  </a:cubicBezTo>
                  <a:close/>
                </a:path>
              </a:pathLst>
            </a:custGeom>
            <a:solidFill>
              <a:srgbClr val="0E5A8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25" name="Freeform 27"/>
            <p:cNvSpPr>
              <a:spLocks/>
            </p:cNvSpPr>
            <p:nvPr/>
          </p:nvSpPr>
          <p:spPr bwMode="auto">
            <a:xfrm>
              <a:off x="5451476" y="3625850"/>
              <a:ext cx="120650" cy="122237"/>
            </a:xfrm>
            <a:custGeom>
              <a:avLst/>
              <a:gdLst/>
              <a:ahLst/>
              <a:cxnLst>
                <a:cxn ang="0">
                  <a:pos x="42" y="7"/>
                </a:cxn>
                <a:cxn ang="0">
                  <a:pos x="50" y="25"/>
                </a:cxn>
                <a:cxn ang="0">
                  <a:pos x="42" y="42"/>
                </a:cxn>
                <a:cxn ang="0">
                  <a:pos x="25" y="50"/>
                </a:cxn>
                <a:cxn ang="0">
                  <a:pos x="7" y="42"/>
                </a:cxn>
                <a:cxn ang="0">
                  <a:pos x="0" y="25"/>
                </a:cxn>
                <a:cxn ang="0">
                  <a:pos x="7" y="7"/>
                </a:cxn>
                <a:cxn ang="0">
                  <a:pos x="25" y="0"/>
                </a:cxn>
                <a:cxn ang="0">
                  <a:pos x="42" y="7"/>
                </a:cxn>
              </a:cxnLst>
              <a:rect l="0" t="0" r="r" b="b"/>
              <a:pathLst>
                <a:path w="50" h="50">
                  <a:moveTo>
                    <a:pt x="42" y="7"/>
                  </a:moveTo>
                  <a:cubicBezTo>
                    <a:pt x="47" y="12"/>
                    <a:pt x="50" y="18"/>
                    <a:pt x="50" y="25"/>
                  </a:cubicBezTo>
                  <a:cubicBezTo>
                    <a:pt x="50" y="32"/>
                    <a:pt x="47" y="37"/>
                    <a:pt x="42" y="42"/>
                  </a:cubicBezTo>
                  <a:cubicBezTo>
                    <a:pt x="38" y="47"/>
                    <a:pt x="32" y="50"/>
                    <a:pt x="25" y="50"/>
                  </a:cubicBezTo>
                  <a:cubicBezTo>
                    <a:pt x="18" y="50"/>
                    <a:pt x="12" y="47"/>
                    <a:pt x="7" y="42"/>
                  </a:cubicBezTo>
                  <a:cubicBezTo>
                    <a:pt x="2" y="37"/>
                    <a:pt x="0" y="32"/>
                    <a:pt x="0" y="25"/>
                  </a:cubicBezTo>
                  <a:cubicBezTo>
                    <a:pt x="0" y="18"/>
                    <a:pt x="2" y="12"/>
                    <a:pt x="7" y="7"/>
                  </a:cubicBezTo>
                  <a:cubicBezTo>
                    <a:pt x="12" y="2"/>
                    <a:pt x="18" y="0"/>
                    <a:pt x="25" y="0"/>
                  </a:cubicBezTo>
                  <a:cubicBezTo>
                    <a:pt x="32" y="0"/>
                    <a:pt x="38" y="2"/>
                    <a:pt x="42" y="7"/>
                  </a:cubicBezTo>
                  <a:close/>
                </a:path>
              </a:pathLst>
            </a:custGeom>
            <a:solidFill>
              <a:srgbClr val="32ACFA"/>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26" name="Freeform 28"/>
            <p:cNvSpPr>
              <a:spLocks/>
            </p:cNvSpPr>
            <p:nvPr/>
          </p:nvSpPr>
          <p:spPr bwMode="auto">
            <a:xfrm>
              <a:off x="4192588" y="3921125"/>
              <a:ext cx="114300" cy="114300"/>
            </a:xfrm>
            <a:custGeom>
              <a:avLst/>
              <a:gdLst/>
              <a:ahLst/>
              <a:cxnLst>
                <a:cxn ang="0">
                  <a:pos x="40" y="6"/>
                </a:cxn>
                <a:cxn ang="0">
                  <a:pos x="47" y="23"/>
                </a:cxn>
                <a:cxn ang="0">
                  <a:pos x="40" y="40"/>
                </a:cxn>
                <a:cxn ang="0">
                  <a:pos x="24" y="47"/>
                </a:cxn>
                <a:cxn ang="0">
                  <a:pos x="7" y="40"/>
                </a:cxn>
                <a:cxn ang="0">
                  <a:pos x="0" y="23"/>
                </a:cxn>
                <a:cxn ang="0">
                  <a:pos x="7" y="6"/>
                </a:cxn>
                <a:cxn ang="0">
                  <a:pos x="24" y="0"/>
                </a:cxn>
                <a:cxn ang="0">
                  <a:pos x="40" y="6"/>
                </a:cxn>
              </a:cxnLst>
              <a:rect l="0" t="0" r="r" b="b"/>
              <a:pathLst>
                <a:path w="47" h="47">
                  <a:moveTo>
                    <a:pt x="40" y="6"/>
                  </a:moveTo>
                  <a:cubicBezTo>
                    <a:pt x="45" y="11"/>
                    <a:pt x="47" y="17"/>
                    <a:pt x="47" y="23"/>
                  </a:cubicBezTo>
                  <a:cubicBezTo>
                    <a:pt x="47" y="30"/>
                    <a:pt x="45" y="35"/>
                    <a:pt x="40" y="40"/>
                  </a:cubicBezTo>
                  <a:cubicBezTo>
                    <a:pt x="36" y="45"/>
                    <a:pt x="30" y="47"/>
                    <a:pt x="24" y="47"/>
                  </a:cubicBezTo>
                  <a:cubicBezTo>
                    <a:pt x="17" y="47"/>
                    <a:pt x="12" y="45"/>
                    <a:pt x="7" y="40"/>
                  </a:cubicBezTo>
                  <a:cubicBezTo>
                    <a:pt x="2" y="35"/>
                    <a:pt x="0" y="30"/>
                    <a:pt x="0" y="23"/>
                  </a:cubicBezTo>
                  <a:cubicBezTo>
                    <a:pt x="0" y="17"/>
                    <a:pt x="2" y="11"/>
                    <a:pt x="7" y="6"/>
                  </a:cubicBezTo>
                  <a:cubicBezTo>
                    <a:pt x="12" y="2"/>
                    <a:pt x="17" y="0"/>
                    <a:pt x="24" y="0"/>
                  </a:cubicBezTo>
                  <a:cubicBezTo>
                    <a:pt x="30" y="0"/>
                    <a:pt x="36" y="2"/>
                    <a:pt x="40" y="6"/>
                  </a:cubicBezTo>
                  <a:close/>
                </a:path>
              </a:pathLst>
            </a:custGeom>
            <a:solidFill>
              <a:srgbClr val="32ACFA"/>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27" name="Freeform 29"/>
            <p:cNvSpPr>
              <a:spLocks/>
            </p:cNvSpPr>
            <p:nvPr/>
          </p:nvSpPr>
          <p:spPr bwMode="auto">
            <a:xfrm>
              <a:off x="4895851" y="4352925"/>
              <a:ext cx="112713" cy="112712"/>
            </a:xfrm>
            <a:custGeom>
              <a:avLst/>
              <a:gdLst/>
              <a:ahLst/>
              <a:cxnLst>
                <a:cxn ang="0">
                  <a:pos x="47" y="23"/>
                </a:cxn>
                <a:cxn ang="0">
                  <a:pos x="40" y="40"/>
                </a:cxn>
                <a:cxn ang="0">
                  <a:pos x="24" y="47"/>
                </a:cxn>
                <a:cxn ang="0">
                  <a:pos x="7" y="40"/>
                </a:cxn>
                <a:cxn ang="0">
                  <a:pos x="0" y="23"/>
                </a:cxn>
                <a:cxn ang="0">
                  <a:pos x="7" y="6"/>
                </a:cxn>
                <a:cxn ang="0">
                  <a:pos x="24" y="0"/>
                </a:cxn>
                <a:cxn ang="0">
                  <a:pos x="40" y="6"/>
                </a:cxn>
                <a:cxn ang="0">
                  <a:pos x="47" y="23"/>
                </a:cxn>
              </a:cxnLst>
              <a:rect l="0" t="0" r="r" b="b"/>
              <a:pathLst>
                <a:path w="47" h="47">
                  <a:moveTo>
                    <a:pt x="47" y="23"/>
                  </a:moveTo>
                  <a:cubicBezTo>
                    <a:pt x="47" y="30"/>
                    <a:pt x="45" y="35"/>
                    <a:pt x="40" y="40"/>
                  </a:cubicBezTo>
                  <a:cubicBezTo>
                    <a:pt x="35" y="45"/>
                    <a:pt x="30" y="47"/>
                    <a:pt x="24" y="47"/>
                  </a:cubicBezTo>
                  <a:cubicBezTo>
                    <a:pt x="17" y="47"/>
                    <a:pt x="11" y="45"/>
                    <a:pt x="7" y="40"/>
                  </a:cubicBezTo>
                  <a:cubicBezTo>
                    <a:pt x="2" y="35"/>
                    <a:pt x="0" y="30"/>
                    <a:pt x="0" y="23"/>
                  </a:cubicBezTo>
                  <a:cubicBezTo>
                    <a:pt x="0" y="17"/>
                    <a:pt x="2" y="11"/>
                    <a:pt x="7" y="6"/>
                  </a:cubicBezTo>
                  <a:cubicBezTo>
                    <a:pt x="11" y="2"/>
                    <a:pt x="17" y="0"/>
                    <a:pt x="24" y="0"/>
                  </a:cubicBezTo>
                  <a:cubicBezTo>
                    <a:pt x="30" y="0"/>
                    <a:pt x="35" y="2"/>
                    <a:pt x="40" y="6"/>
                  </a:cubicBezTo>
                  <a:cubicBezTo>
                    <a:pt x="45" y="11"/>
                    <a:pt x="47" y="17"/>
                    <a:pt x="47" y="23"/>
                  </a:cubicBezTo>
                  <a:close/>
                </a:path>
              </a:pathLst>
            </a:custGeom>
            <a:solidFill>
              <a:srgbClr val="32ACFA"/>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28" name="Freeform 30"/>
            <p:cNvSpPr>
              <a:spLocks/>
            </p:cNvSpPr>
            <p:nvPr/>
          </p:nvSpPr>
          <p:spPr bwMode="auto">
            <a:xfrm>
              <a:off x="3905251" y="4006850"/>
              <a:ext cx="98425" cy="98425"/>
            </a:xfrm>
            <a:custGeom>
              <a:avLst/>
              <a:gdLst/>
              <a:ahLst/>
              <a:cxnLst>
                <a:cxn ang="0">
                  <a:pos x="41" y="20"/>
                </a:cxn>
                <a:cxn ang="0">
                  <a:pos x="35" y="35"/>
                </a:cxn>
                <a:cxn ang="0">
                  <a:pos x="21" y="41"/>
                </a:cxn>
                <a:cxn ang="0">
                  <a:pos x="6" y="35"/>
                </a:cxn>
                <a:cxn ang="0">
                  <a:pos x="0" y="20"/>
                </a:cxn>
                <a:cxn ang="0">
                  <a:pos x="6" y="6"/>
                </a:cxn>
                <a:cxn ang="0">
                  <a:pos x="21" y="0"/>
                </a:cxn>
                <a:cxn ang="0">
                  <a:pos x="35" y="6"/>
                </a:cxn>
                <a:cxn ang="0">
                  <a:pos x="41" y="20"/>
                </a:cxn>
              </a:cxnLst>
              <a:rect l="0" t="0" r="r" b="b"/>
              <a:pathLst>
                <a:path w="41" h="41">
                  <a:moveTo>
                    <a:pt x="41" y="20"/>
                  </a:moveTo>
                  <a:cubicBezTo>
                    <a:pt x="41" y="26"/>
                    <a:pt x="39" y="31"/>
                    <a:pt x="35" y="35"/>
                  </a:cubicBezTo>
                  <a:cubicBezTo>
                    <a:pt x="31" y="39"/>
                    <a:pt x="26" y="41"/>
                    <a:pt x="21" y="41"/>
                  </a:cubicBezTo>
                  <a:cubicBezTo>
                    <a:pt x="15" y="41"/>
                    <a:pt x="10" y="39"/>
                    <a:pt x="6" y="35"/>
                  </a:cubicBezTo>
                  <a:cubicBezTo>
                    <a:pt x="2" y="31"/>
                    <a:pt x="0" y="26"/>
                    <a:pt x="0" y="20"/>
                  </a:cubicBezTo>
                  <a:cubicBezTo>
                    <a:pt x="0" y="15"/>
                    <a:pt x="2" y="10"/>
                    <a:pt x="6" y="6"/>
                  </a:cubicBezTo>
                  <a:cubicBezTo>
                    <a:pt x="10" y="2"/>
                    <a:pt x="15" y="0"/>
                    <a:pt x="21" y="0"/>
                  </a:cubicBezTo>
                  <a:cubicBezTo>
                    <a:pt x="26" y="0"/>
                    <a:pt x="31" y="2"/>
                    <a:pt x="35" y="6"/>
                  </a:cubicBezTo>
                  <a:cubicBezTo>
                    <a:pt x="39" y="10"/>
                    <a:pt x="41" y="15"/>
                    <a:pt x="41" y="20"/>
                  </a:cubicBezTo>
                  <a:close/>
                </a:path>
              </a:pathLst>
            </a:custGeom>
            <a:solidFill>
              <a:srgbClr val="A1A1A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29" name="Freeform 31"/>
            <p:cNvSpPr>
              <a:spLocks/>
            </p:cNvSpPr>
            <p:nvPr/>
          </p:nvSpPr>
          <p:spPr bwMode="auto">
            <a:xfrm>
              <a:off x="4192588" y="4367213"/>
              <a:ext cx="100013" cy="98425"/>
            </a:xfrm>
            <a:custGeom>
              <a:avLst/>
              <a:gdLst/>
              <a:ahLst/>
              <a:cxnLst>
                <a:cxn ang="0">
                  <a:pos x="35" y="6"/>
                </a:cxn>
                <a:cxn ang="0">
                  <a:pos x="41" y="20"/>
                </a:cxn>
                <a:cxn ang="0">
                  <a:pos x="35" y="35"/>
                </a:cxn>
                <a:cxn ang="0">
                  <a:pos x="21" y="41"/>
                </a:cxn>
                <a:cxn ang="0">
                  <a:pos x="6" y="35"/>
                </a:cxn>
                <a:cxn ang="0">
                  <a:pos x="0" y="20"/>
                </a:cxn>
                <a:cxn ang="0">
                  <a:pos x="6" y="6"/>
                </a:cxn>
                <a:cxn ang="0">
                  <a:pos x="21" y="0"/>
                </a:cxn>
                <a:cxn ang="0">
                  <a:pos x="35" y="6"/>
                </a:cxn>
              </a:cxnLst>
              <a:rect l="0" t="0" r="r" b="b"/>
              <a:pathLst>
                <a:path w="41" h="41">
                  <a:moveTo>
                    <a:pt x="35" y="6"/>
                  </a:moveTo>
                  <a:cubicBezTo>
                    <a:pt x="39" y="10"/>
                    <a:pt x="41" y="15"/>
                    <a:pt x="41" y="20"/>
                  </a:cubicBezTo>
                  <a:cubicBezTo>
                    <a:pt x="41" y="26"/>
                    <a:pt x="39" y="31"/>
                    <a:pt x="35" y="35"/>
                  </a:cubicBezTo>
                  <a:cubicBezTo>
                    <a:pt x="31" y="39"/>
                    <a:pt x="26" y="41"/>
                    <a:pt x="21" y="41"/>
                  </a:cubicBezTo>
                  <a:cubicBezTo>
                    <a:pt x="15" y="41"/>
                    <a:pt x="10" y="39"/>
                    <a:pt x="6" y="35"/>
                  </a:cubicBezTo>
                  <a:cubicBezTo>
                    <a:pt x="2" y="31"/>
                    <a:pt x="0" y="26"/>
                    <a:pt x="0" y="20"/>
                  </a:cubicBezTo>
                  <a:cubicBezTo>
                    <a:pt x="0" y="15"/>
                    <a:pt x="2" y="10"/>
                    <a:pt x="6" y="6"/>
                  </a:cubicBezTo>
                  <a:cubicBezTo>
                    <a:pt x="10" y="2"/>
                    <a:pt x="15" y="0"/>
                    <a:pt x="21" y="0"/>
                  </a:cubicBezTo>
                  <a:cubicBezTo>
                    <a:pt x="26" y="0"/>
                    <a:pt x="31" y="2"/>
                    <a:pt x="35" y="6"/>
                  </a:cubicBezTo>
                  <a:close/>
                </a:path>
              </a:pathLst>
            </a:custGeom>
            <a:solidFill>
              <a:srgbClr val="52525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30" name="Freeform 32"/>
            <p:cNvSpPr>
              <a:spLocks/>
            </p:cNvSpPr>
            <p:nvPr/>
          </p:nvSpPr>
          <p:spPr bwMode="auto">
            <a:xfrm>
              <a:off x="4522788" y="4367213"/>
              <a:ext cx="98425" cy="98425"/>
            </a:xfrm>
            <a:custGeom>
              <a:avLst/>
              <a:gdLst/>
              <a:ahLst/>
              <a:cxnLst>
                <a:cxn ang="0">
                  <a:pos x="0" y="20"/>
                </a:cxn>
                <a:cxn ang="0">
                  <a:pos x="6" y="6"/>
                </a:cxn>
                <a:cxn ang="0">
                  <a:pos x="21" y="0"/>
                </a:cxn>
                <a:cxn ang="0">
                  <a:pos x="35" y="6"/>
                </a:cxn>
                <a:cxn ang="0">
                  <a:pos x="41" y="20"/>
                </a:cxn>
                <a:cxn ang="0">
                  <a:pos x="35" y="35"/>
                </a:cxn>
                <a:cxn ang="0">
                  <a:pos x="21" y="41"/>
                </a:cxn>
                <a:cxn ang="0">
                  <a:pos x="6" y="35"/>
                </a:cxn>
                <a:cxn ang="0">
                  <a:pos x="0" y="20"/>
                </a:cxn>
              </a:cxnLst>
              <a:rect l="0" t="0" r="r" b="b"/>
              <a:pathLst>
                <a:path w="41" h="41">
                  <a:moveTo>
                    <a:pt x="0" y="20"/>
                  </a:moveTo>
                  <a:cubicBezTo>
                    <a:pt x="0" y="15"/>
                    <a:pt x="2" y="10"/>
                    <a:pt x="6" y="6"/>
                  </a:cubicBezTo>
                  <a:cubicBezTo>
                    <a:pt x="10" y="2"/>
                    <a:pt x="15" y="0"/>
                    <a:pt x="21" y="0"/>
                  </a:cubicBezTo>
                  <a:cubicBezTo>
                    <a:pt x="26" y="0"/>
                    <a:pt x="31" y="2"/>
                    <a:pt x="35" y="6"/>
                  </a:cubicBezTo>
                  <a:cubicBezTo>
                    <a:pt x="39" y="10"/>
                    <a:pt x="41" y="15"/>
                    <a:pt x="41" y="20"/>
                  </a:cubicBezTo>
                  <a:cubicBezTo>
                    <a:pt x="41" y="26"/>
                    <a:pt x="39" y="31"/>
                    <a:pt x="35" y="35"/>
                  </a:cubicBezTo>
                  <a:cubicBezTo>
                    <a:pt x="31" y="39"/>
                    <a:pt x="26" y="41"/>
                    <a:pt x="21" y="41"/>
                  </a:cubicBezTo>
                  <a:cubicBezTo>
                    <a:pt x="15" y="41"/>
                    <a:pt x="10" y="39"/>
                    <a:pt x="6" y="35"/>
                  </a:cubicBezTo>
                  <a:cubicBezTo>
                    <a:pt x="2" y="31"/>
                    <a:pt x="0" y="26"/>
                    <a:pt x="0" y="20"/>
                  </a:cubicBezTo>
                  <a:close/>
                </a:path>
              </a:pathLst>
            </a:custGeom>
            <a:solidFill>
              <a:srgbClr val="0476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31" name="Freeform 33"/>
            <p:cNvSpPr>
              <a:spLocks/>
            </p:cNvSpPr>
            <p:nvPr/>
          </p:nvSpPr>
          <p:spPr bwMode="auto">
            <a:xfrm>
              <a:off x="5664201" y="3195638"/>
              <a:ext cx="106363" cy="106362"/>
            </a:xfrm>
            <a:custGeom>
              <a:avLst/>
              <a:gdLst/>
              <a:ahLst/>
              <a:cxnLst>
                <a:cxn ang="0">
                  <a:pos x="6" y="37"/>
                </a:cxn>
                <a:cxn ang="0">
                  <a:pos x="0" y="22"/>
                </a:cxn>
                <a:cxn ang="0">
                  <a:pos x="6" y="6"/>
                </a:cxn>
                <a:cxn ang="0">
                  <a:pos x="22" y="0"/>
                </a:cxn>
                <a:cxn ang="0">
                  <a:pos x="38" y="6"/>
                </a:cxn>
                <a:cxn ang="0">
                  <a:pos x="44" y="22"/>
                </a:cxn>
                <a:cxn ang="0">
                  <a:pos x="38" y="37"/>
                </a:cxn>
                <a:cxn ang="0">
                  <a:pos x="22" y="44"/>
                </a:cxn>
                <a:cxn ang="0">
                  <a:pos x="6" y="37"/>
                </a:cxn>
              </a:cxnLst>
              <a:rect l="0" t="0" r="r" b="b"/>
              <a:pathLst>
                <a:path w="44" h="44">
                  <a:moveTo>
                    <a:pt x="6" y="37"/>
                  </a:moveTo>
                  <a:cubicBezTo>
                    <a:pt x="2" y="33"/>
                    <a:pt x="0" y="28"/>
                    <a:pt x="0" y="22"/>
                  </a:cubicBezTo>
                  <a:cubicBezTo>
                    <a:pt x="0" y="16"/>
                    <a:pt x="2" y="11"/>
                    <a:pt x="6" y="6"/>
                  </a:cubicBezTo>
                  <a:cubicBezTo>
                    <a:pt x="11" y="2"/>
                    <a:pt x="16" y="0"/>
                    <a:pt x="22" y="0"/>
                  </a:cubicBezTo>
                  <a:cubicBezTo>
                    <a:pt x="28" y="0"/>
                    <a:pt x="33" y="2"/>
                    <a:pt x="38" y="6"/>
                  </a:cubicBezTo>
                  <a:cubicBezTo>
                    <a:pt x="42" y="11"/>
                    <a:pt x="44" y="16"/>
                    <a:pt x="44" y="22"/>
                  </a:cubicBezTo>
                  <a:cubicBezTo>
                    <a:pt x="44" y="28"/>
                    <a:pt x="42" y="33"/>
                    <a:pt x="38" y="37"/>
                  </a:cubicBezTo>
                  <a:cubicBezTo>
                    <a:pt x="33" y="42"/>
                    <a:pt x="28" y="44"/>
                    <a:pt x="22" y="44"/>
                  </a:cubicBezTo>
                  <a:cubicBezTo>
                    <a:pt x="16" y="44"/>
                    <a:pt x="11" y="42"/>
                    <a:pt x="6" y="37"/>
                  </a:cubicBezTo>
                  <a:close/>
                </a:path>
              </a:pathLst>
            </a:custGeom>
            <a:solidFill>
              <a:srgbClr val="52525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32" name="Freeform 34"/>
            <p:cNvSpPr>
              <a:spLocks/>
            </p:cNvSpPr>
            <p:nvPr/>
          </p:nvSpPr>
          <p:spPr bwMode="auto">
            <a:xfrm>
              <a:off x="5422901" y="2373313"/>
              <a:ext cx="144463" cy="144462"/>
            </a:xfrm>
            <a:custGeom>
              <a:avLst/>
              <a:gdLst/>
              <a:ahLst/>
              <a:cxnLst>
                <a:cxn ang="0">
                  <a:pos x="9" y="51"/>
                </a:cxn>
                <a:cxn ang="0">
                  <a:pos x="0" y="30"/>
                </a:cxn>
                <a:cxn ang="0">
                  <a:pos x="9" y="8"/>
                </a:cxn>
                <a:cxn ang="0">
                  <a:pos x="30" y="0"/>
                </a:cxn>
                <a:cxn ang="0">
                  <a:pos x="51" y="8"/>
                </a:cxn>
                <a:cxn ang="0">
                  <a:pos x="60" y="30"/>
                </a:cxn>
                <a:cxn ang="0">
                  <a:pos x="51" y="51"/>
                </a:cxn>
                <a:cxn ang="0">
                  <a:pos x="30" y="60"/>
                </a:cxn>
                <a:cxn ang="0">
                  <a:pos x="9" y="51"/>
                </a:cxn>
              </a:cxnLst>
              <a:rect l="0" t="0" r="r" b="b"/>
              <a:pathLst>
                <a:path w="60" h="60">
                  <a:moveTo>
                    <a:pt x="9" y="51"/>
                  </a:moveTo>
                  <a:cubicBezTo>
                    <a:pt x="3" y="45"/>
                    <a:pt x="0" y="38"/>
                    <a:pt x="0" y="30"/>
                  </a:cubicBezTo>
                  <a:cubicBezTo>
                    <a:pt x="0" y="22"/>
                    <a:pt x="3" y="14"/>
                    <a:pt x="9" y="8"/>
                  </a:cubicBezTo>
                  <a:cubicBezTo>
                    <a:pt x="15" y="3"/>
                    <a:pt x="22" y="0"/>
                    <a:pt x="30" y="0"/>
                  </a:cubicBezTo>
                  <a:cubicBezTo>
                    <a:pt x="38" y="0"/>
                    <a:pt x="45" y="3"/>
                    <a:pt x="51" y="8"/>
                  </a:cubicBezTo>
                  <a:cubicBezTo>
                    <a:pt x="57" y="14"/>
                    <a:pt x="60" y="22"/>
                    <a:pt x="60" y="30"/>
                  </a:cubicBezTo>
                  <a:cubicBezTo>
                    <a:pt x="60" y="38"/>
                    <a:pt x="57" y="45"/>
                    <a:pt x="51" y="51"/>
                  </a:cubicBezTo>
                  <a:cubicBezTo>
                    <a:pt x="45" y="57"/>
                    <a:pt x="38" y="60"/>
                    <a:pt x="30" y="60"/>
                  </a:cubicBezTo>
                  <a:cubicBezTo>
                    <a:pt x="22" y="60"/>
                    <a:pt x="15" y="57"/>
                    <a:pt x="9" y="51"/>
                  </a:cubicBezTo>
                  <a:close/>
                </a:path>
              </a:pathLst>
            </a:custGeom>
            <a:solidFill>
              <a:srgbClr val="0588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33" name="Freeform 35"/>
            <p:cNvSpPr>
              <a:spLocks/>
            </p:cNvSpPr>
            <p:nvPr/>
          </p:nvSpPr>
          <p:spPr bwMode="auto">
            <a:xfrm>
              <a:off x="4624388" y="2185988"/>
              <a:ext cx="203200" cy="203200"/>
            </a:xfrm>
            <a:custGeom>
              <a:avLst/>
              <a:gdLst/>
              <a:ahLst/>
              <a:cxnLst>
                <a:cxn ang="0">
                  <a:pos x="72" y="12"/>
                </a:cxn>
                <a:cxn ang="0">
                  <a:pos x="84" y="42"/>
                </a:cxn>
                <a:cxn ang="0">
                  <a:pos x="72" y="71"/>
                </a:cxn>
                <a:cxn ang="0">
                  <a:pos x="42" y="84"/>
                </a:cxn>
                <a:cxn ang="0">
                  <a:pos x="12" y="71"/>
                </a:cxn>
                <a:cxn ang="0">
                  <a:pos x="0" y="42"/>
                </a:cxn>
                <a:cxn ang="0">
                  <a:pos x="12" y="12"/>
                </a:cxn>
                <a:cxn ang="0">
                  <a:pos x="42" y="0"/>
                </a:cxn>
                <a:cxn ang="0">
                  <a:pos x="72" y="12"/>
                </a:cxn>
              </a:cxnLst>
              <a:rect l="0" t="0" r="r" b="b"/>
              <a:pathLst>
                <a:path w="84" h="84">
                  <a:moveTo>
                    <a:pt x="72" y="12"/>
                  </a:moveTo>
                  <a:cubicBezTo>
                    <a:pt x="80" y="20"/>
                    <a:pt x="84" y="30"/>
                    <a:pt x="84" y="42"/>
                  </a:cubicBezTo>
                  <a:cubicBezTo>
                    <a:pt x="84" y="53"/>
                    <a:pt x="80" y="63"/>
                    <a:pt x="72" y="71"/>
                  </a:cubicBezTo>
                  <a:cubicBezTo>
                    <a:pt x="64" y="80"/>
                    <a:pt x="54" y="84"/>
                    <a:pt x="42" y="84"/>
                  </a:cubicBezTo>
                  <a:cubicBezTo>
                    <a:pt x="31" y="84"/>
                    <a:pt x="21" y="80"/>
                    <a:pt x="12" y="71"/>
                  </a:cubicBezTo>
                  <a:cubicBezTo>
                    <a:pt x="4" y="63"/>
                    <a:pt x="0" y="53"/>
                    <a:pt x="0" y="42"/>
                  </a:cubicBezTo>
                  <a:cubicBezTo>
                    <a:pt x="0" y="30"/>
                    <a:pt x="4" y="20"/>
                    <a:pt x="12" y="12"/>
                  </a:cubicBezTo>
                  <a:cubicBezTo>
                    <a:pt x="21" y="4"/>
                    <a:pt x="31" y="0"/>
                    <a:pt x="42" y="0"/>
                  </a:cubicBezTo>
                  <a:cubicBezTo>
                    <a:pt x="54" y="0"/>
                    <a:pt x="64" y="4"/>
                    <a:pt x="72" y="12"/>
                  </a:cubicBezTo>
                  <a:close/>
                </a:path>
              </a:pathLst>
            </a:custGeom>
            <a:solidFill>
              <a:srgbClr val="52525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34" name="Freeform 36"/>
            <p:cNvSpPr>
              <a:spLocks/>
            </p:cNvSpPr>
            <p:nvPr/>
          </p:nvSpPr>
          <p:spPr bwMode="auto">
            <a:xfrm>
              <a:off x="3937001" y="2338388"/>
              <a:ext cx="203200" cy="203200"/>
            </a:xfrm>
            <a:custGeom>
              <a:avLst/>
              <a:gdLst/>
              <a:ahLst/>
              <a:cxnLst>
                <a:cxn ang="0">
                  <a:pos x="84" y="42"/>
                </a:cxn>
                <a:cxn ang="0">
                  <a:pos x="72" y="71"/>
                </a:cxn>
                <a:cxn ang="0">
                  <a:pos x="42" y="84"/>
                </a:cxn>
                <a:cxn ang="0">
                  <a:pos x="12" y="71"/>
                </a:cxn>
                <a:cxn ang="0">
                  <a:pos x="0" y="42"/>
                </a:cxn>
                <a:cxn ang="0">
                  <a:pos x="12" y="12"/>
                </a:cxn>
                <a:cxn ang="0">
                  <a:pos x="42" y="0"/>
                </a:cxn>
                <a:cxn ang="0">
                  <a:pos x="72" y="12"/>
                </a:cxn>
                <a:cxn ang="0">
                  <a:pos x="84" y="42"/>
                </a:cxn>
              </a:cxnLst>
              <a:rect l="0" t="0" r="r" b="b"/>
              <a:pathLst>
                <a:path w="84" h="84">
                  <a:moveTo>
                    <a:pt x="84" y="42"/>
                  </a:moveTo>
                  <a:cubicBezTo>
                    <a:pt x="84" y="53"/>
                    <a:pt x="80" y="63"/>
                    <a:pt x="72" y="71"/>
                  </a:cubicBezTo>
                  <a:cubicBezTo>
                    <a:pt x="64" y="80"/>
                    <a:pt x="54" y="84"/>
                    <a:pt x="42" y="84"/>
                  </a:cubicBezTo>
                  <a:cubicBezTo>
                    <a:pt x="31" y="84"/>
                    <a:pt x="21" y="80"/>
                    <a:pt x="12" y="71"/>
                  </a:cubicBezTo>
                  <a:cubicBezTo>
                    <a:pt x="4" y="63"/>
                    <a:pt x="0" y="53"/>
                    <a:pt x="0" y="42"/>
                  </a:cubicBezTo>
                  <a:cubicBezTo>
                    <a:pt x="0" y="30"/>
                    <a:pt x="4" y="20"/>
                    <a:pt x="12" y="12"/>
                  </a:cubicBezTo>
                  <a:cubicBezTo>
                    <a:pt x="21" y="4"/>
                    <a:pt x="31" y="0"/>
                    <a:pt x="42" y="0"/>
                  </a:cubicBezTo>
                  <a:cubicBezTo>
                    <a:pt x="54" y="0"/>
                    <a:pt x="64" y="4"/>
                    <a:pt x="72" y="12"/>
                  </a:cubicBezTo>
                  <a:cubicBezTo>
                    <a:pt x="80" y="20"/>
                    <a:pt x="84" y="30"/>
                    <a:pt x="84" y="42"/>
                  </a:cubicBezTo>
                  <a:close/>
                </a:path>
              </a:pathLst>
            </a:custGeom>
            <a:solidFill>
              <a:srgbClr val="A1A1A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35" name="Freeform 37"/>
            <p:cNvSpPr>
              <a:spLocks/>
            </p:cNvSpPr>
            <p:nvPr/>
          </p:nvSpPr>
          <p:spPr bwMode="auto">
            <a:xfrm>
              <a:off x="3371851" y="2474913"/>
              <a:ext cx="147638" cy="147637"/>
            </a:xfrm>
            <a:custGeom>
              <a:avLst/>
              <a:gdLst/>
              <a:ahLst/>
              <a:cxnLst>
                <a:cxn ang="0">
                  <a:pos x="9" y="52"/>
                </a:cxn>
                <a:cxn ang="0">
                  <a:pos x="0" y="30"/>
                </a:cxn>
                <a:cxn ang="0">
                  <a:pos x="9" y="8"/>
                </a:cxn>
                <a:cxn ang="0">
                  <a:pos x="31" y="0"/>
                </a:cxn>
                <a:cxn ang="0">
                  <a:pos x="52" y="8"/>
                </a:cxn>
                <a:cxn ang="0">
                  <a:pos x="61" y="30"/>
                </a:cxn>
                <a:cxn ang="0">
                  <a:pos x="52" y="52"/>
                </a:cxn>
                <a:cxn ang="0">
                  <a:pos x="31" y="61"/>
                </a:cxn>
                <a:cxn ang="0">
                  <a:pos x="9" y="52"/>
                </a:cxn>
              </a:cxnLst>
              <a:rect l="0" t="0" r="r" b="b"/>
              <a:pathLst>
                <a:path w="61" h="61">
                  <a:moveTo>
                    <a:pt x="9" y="52"/>
                  </a:moveTo>
                  <a:cubicBezTo>
                    <a:pt x="3" y="46"/>
                    <a:pt x="0" y="39"/>
                    <a:pt x="0" y="30"/>
                  </a:cubicBezTo>
                  <a:cubicBezTo>
                    <a:pt x="0" y="22"/>
                    <a:pt x="3" y="15"/>
                    <a:pt x="9" y="8"/>
                  </a:cubicBezTo>
                  <a:cubicBezTo>
                    <a:pt x="15" y="3"/>
                    <a:pt x="22" y="0"/>
                    <a:pt x="31" y="0"/>
                  </a:cubicBezTo>
                  <a:cubicBezTo>
                    <a:pt x="39" y="0"/>
                    <a:pt x="46" y="3"/>
                    <a:pt x="52" y="8"/>
                  </a:cubicBezTo>
                  <a:cubicBezTo>
                    <a:pt x="58" y="15"/>
                    <a:pt x="61" y="22"/>
                    <a:pt x="61" y="30"/>
                  </a:cubicBezTo>
                  <a:cubicBezTo>
                    <a:pt x="61" y="39"/>
                    <a:pt x="58" y="46"/>
                    <a:pt x="52" y="52"/>
                  </a:cubicBezTo>
                  <a:cubicBezTo>
                    <a:pt x="46" y="58"/>
                    <a:pt x="39" y="61"/>
                    <a:pt x="31" y="61"/>
                  </a:cubicBezTo>
                  <a:cubicBezTo>
                    <a:pt x="22" y="61"/>
                    <a:pt x="15" y="58"/>
                    <a:pt x="9" y="52"/>
                  </a:cubicBezTo>
                  <a:close/>
                </a:path>
              </a:pathLst>
            </a:custGeom>
            <a:solidFill>
              <a:srgbClr val="32ACFA"/>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36" name="Freeform 38"/>
            <p:cNvSpPr>
              <a:spLocks/>
            </p:cNvSpPr>
            <p:nvPr/>
          </p:nvSpPr>
          <p:spPr bwMode="auto">
            <a:xfrm>
              <a:off x="4446588" y="2628900"/>
              <a:ext cx="204788" cy="203200"/>
            </a:xfrm>
            <a:custGeom>
              <a:avLst/>
              <a:gdLst/>
              <a:ahLst/>
              <a:cxnLst>
                <a:cxn ang="0">
                  <a:pos x="12" y="71"/>
                </a:cxn>
                <a:cxn ang="0">
                  <a:pos x="0" y="42"/>
                </a:cxn>
                <a:cxn ang="0">
                  <a:pos x="12" y="12"/>
                </a:cxn>
                <a:cxn ang="0">
                  <a:pos x="42" y="0"/>
                </a:cxn>
                <a:cxn ang="0">
                  <a:pos x="72" y="12"/>
                </a:cxn>
                <a:cxn ang="0">
                  <a:pos x="84" y="42"/>
                </a:cxn>
                <a:cxn ang="0">
                  <a:pos x="72" y="71"/>
                </a:cxn>
                <a:cxn ang="0">
                  <a:pos x="42" y="84"/>
                </a:cxn>
                <a:cxn ang="0">
                  <a:pos x="12" y="71"/>
                </a:cxn>
              </a:cxnLst>
              <a:rect l="0" t="0" r="r" b="b"/>
              <a:pathLst>
                <a:path w="84" h="84">
                  <a:moveTo>
                    <a:pt x="12" y="71"/>
                  </a:moveTo>
                  <a:cubicBezTo>
                    <a:pt x="4" y="63"/>
                    <a:pt x="0" y="53"/>
                    <a:pt x="0" y="42"/>
                  </a:cubicBezTo>
                  <a:cubicBezTo>
                    <a:pt x="0" y="30"/>
                    <a:pt x="4" y="20"/>
                    <a:pt x="12" y="12"/>
                  </a:cubicBezTo>
                  <a:cubicBezTo>
                    <a:pt x="21" y="4"/>
                    <a:pt x="31" y="0"/>
                    <a:pt x="42" y="0"/>
                  </a:cubicBezTo>
                  <a:cubicBezTo>
                    <a:pt x="54" y="0"/>
                    <a:pt x="64" y="4"/>
                    <a:pt x="72" y="12"/>
                  </a:cubicBezTo>
                  <a:cubicBezTo>
                    <a:pt x="80" y="20"/>
                    <a:pt x="84" y="30"/>
                    <a:pt x="84" y="42"/>
                  </a:cubicBezTo>
                  <a:cubicBezTo>
                    <a:pt x="84" y="53"/>
                    <a:pt x="80" y="63"/>
                    <a:pt x="72" y="71"/>
                  </a:cubicBezTo>
                  <a:cubicBezTo>
                    <a:pt x="64" y="80"/>
                    <a:pt x="54" y="84"/>
                    <a:pt x="42" y="84"/>
                  </a:cubicBezTo>
                  <a:cubicBezTo>
                    <a:pt x="31" y="84"/>
                    <a:pt x="21" y="80"/>
                    <a:pt x="12" y="71"/>
                  </a:cubicBezTo>
                  <a:close/>
                </a:path>
              </a:pathLst>
            </a:custGeom>
            <a:solidFill>
              <a:srgbClr val="0476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137" name="Freeform 39"/>
            <p:cNvSpPr>
              <a:spLocks/>
            </p:cNvSpPr>
            <p:nvPr/>
          </p:nvSpPr>
          <p:spPr bwMode="auto">
            <a:xfrm>
              <a:off x="3881438" y="4359275"/>
              <a:ext cx="112713" cy="114300"/>
            </a:xfrm>
            <a:custGeom>
              <a:avLst/>
              <a:gdLst/>
              <a:ahLst/>
              <a:cxnLst>
                <a:cxn ang="0">
                  <a:pos x="47" y="23"/>
                </a:cxn>
                <a:cxn ang="0">
                  <a:pos x="40" y="40"/>
                </a:cxn>
                <a:cxn ang="0">
                  <a:pos x="24" y="47"/>
                </a:cxn>
                <a:cxn ang="0">
                  <a:pos x="7" y="40"/>
                </a:cxn>
                <a:cxn ang="0">
                  <a:pos x="0" y="23"/>
                </a:cxn>
                <a:cxn ang="0">
                  <a:pos x="7" y="6"/>
                </a:cxn>
                <a:cxn ang="0">
                  <a:pos x="24" y="0"/>
                </a:cxn>
                <a:cxn ang="0">
                  <a:pos x="40" y="6"/>
                </a:cxn>
                <a:cxn ang="0">
                  <a:pos x="47" y="23"/>
                </a:cxn>
              </a:cxnLst>
              <a:rect l="0" t="0" r="r" b="b"/>
              <a:pathLst>
                <a:path w="47" h="47">
                  <a:moveTo>
                    <a:pt x="47" y="23"/>
                  </a:moveTo>
                  <a:cubicBezTo>
                    <a:pt x="47" y="30"/>
                    <a:pt x="45" y="35"/>
                    <a:pt x="40" y="40"/>
                  </a:cubicBezTo>
                  <a:cubicBezTo>
                    <a:pt x="35" y="45"/>
                    <a:pt x="30" y="47"/>
                    <a:pt x="24" y="47"/>
                  </a:cubicBezTo>
                  <a:cubicBezTo>
                    <a:pt x="17" y="47"/>
                    <a:pt x="11" y="45"/>
                    <a:pt x="7" y="40"/>
                  </a:cubicBezTo>
                  <a:cubicBezTo>
                    <a:pt x="2" y="35"/>
                    <a:pt x="0" y="30"/>
                    <a:pt x="0" y="23"/>
                  </a:cubicBezTo>
                  <a:cubicBezTo>
                    <a:pt x="0" y="17"/>
                    <a:pt x="2" y="11"/>
                    <a:pt x="7" y="6"/>
                  </a:cubicBezTo>
                  <a:cubicBezTo>
                    <a:pt x="11" y="2"/>
                    <a:pt x="17" y="0"/>
                    <a:pt x="24" y="0"/>
                  </a:cubicBezTo>
                  <a:cubicBezTo>
                    <a:pt x="30" y="0"/>
                    <a:pt x="35" y="2"/>
                    <a:pt x="40" y="6"/>
                  </a:cubicBezTo>
                  <a:cubicBezTo>
                    <a:pt x="45" y="11"/>
                    <a:pt x="47" y="17"/>
                    <a:pt x="47" y="23"/>
                  </a:cubicBezTo>
                  <a:close/>
                </a:path>
              </a:pathLst>
            </a:custGeom>
            <a:solidFill>
              <a:srgbClr val="0588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grpSp>
      <p:sp>
        <p:nvSpPr>
          <p:cNvPr id="261" name="TextBox 260"/>
          <p:cNvSpPr txBox="1"/>
          <p:nvPr/>
        </p:nvSpPr>
        <p:spPr>
          <a:xfrm>
            <a:off x="4228763" y="1788977"/>
            <a:ext cx="3569888" cy="246221"/>
          </a:xfrm>
          <a:prstGeom prst="rect">
            <a:avLst/>
          </a:prstGeom>
          <a:noFill/>
        </p:spPr>
        <p:txBody>
          <a:bodyPr wrap="none" lIns="0" tIns="0" rIns="0" bIns="0" rtlCol="0" anchor="t">
            <a:spAutoFit/>
          </a:bodyPr>
          <a:lstStyle/>
          <a:p>
            <a:pPr algn="ctr" defTabSz="1375467"/>
            <a:r>
              <a:rPr lang="ru-RU" sz="1600" b="1" dirty="0" smtClean="0">
                <a:latin typeface="Century Gothic" panose="020B0502020202020204" pitchFamily="34" charset="0"/>
              </a:rPr>
              <a:t>5. Дорожная карта по внедрению</a:t>
            </a:r>
            <a:endParaRPr lang="ru-RU" sz="1600" b="1" dirty="0">
              <a:latin typeface="Century Gothic" panose="020B0502020202020204" pitchFamily="34" charset="0"/>
            </a:endParaRPr>
          </a:p>
        </p:txBody>
      </p:sp>
      <p:sp>
        <p:nvSpPr>
          <p:cNvPr id="264" name="TextBox 263"/>
          <p:cNvSpPr txBox="1"/>
          <p:nvPr/>
        </p:nvSpPr>
        <p:spPr>
          <a:xfrm>
            <a:off x="1868941" y="2644848"/>
            <a:ext cx="2606483" cy="246221"/>
          </a:xfrm>
          <a:prstGeom prst="rect">
            <a:avLst/>
          </a:prstGeom>
          <a:noFill/>
        </p:spPr>
        <p:txBody>
          <a:bodyPr wrap="none" lIns="0" tIns="0" rIns="0" bIns="0" rtlCol="0" anchor="t">
            <a:spAutoFit/>
          </a:bodyPr>
          <a:lstStyle/>
          <a:p>
            <a:pPr algn="r" defTabSz="1375467"/>
            <a:r>
              <a:rPr lang="ru-RU" sz="1600" b="1" dirty="0" smtClean="0">
                <a:solidFill>
                  <a:schemeClr val="bg1">
                    <a:lumMod val="50000"/>
                  </a:schemeClr>
                </a:solidFill>
                <a:latin typeface="Century Gothic" panose="020B0502020202020204" pitchFamily="34" charset="0"/>
              </a:rPr>
              <a:t>4. Принципы реализации</a:t>
            </a:r>
            <a:endParaRPr lang="ru-RU" sz="1600" b="1" dirty="0">
              <a:solidFill>
                <a:schemeClr val="bg1">
                  <a:lumMod val="50000"/>
                </a:schemeClr>
              </a:solidFill>
              <a:latin typeface="Century Gothic" panose="020B0502020202020204" pitchFamily="34" charset="0"/>
            </a:endParaRPr>
          </a:p>
        </p:txBody>
      </p:sp>
      <p:sp>
        <p:nvSpPr>
          <p:cNvPr id="267" name="TextBox 266"/>
          <p:cNvSpPr txBox="1"/>
          <p:nvPr/>
        </p:nvSpPr>
        <p:spPr>
          <a:xfrm>
            <a:off x="873219" y="3423918"/>
            <a:ext cx="3098605" cy="246221"/>
          </a:xfrm>
          <a:prstGeom prst="rect">
            <a:avLst/>
          </a:prstGeom>
          <a:noFill/>
        </p:spPr>
        <p:txBody>
          <a:bodyPr wrap="none" lIns="0" tIns="0" rIns="0" bIns="0" rtlCol="0" anchor="t">
            <a:spAutoFit/>
          </a:bodyPr>
          <a:lstStyle/>
          <a:p>
            <a:pPr algn="r" defTabSz="1375467"/>
            <a:r>
              <a:rPr lang="ru-RU" sz="1600" b="1" dirty="0" smtClean="0">
                <a:latin typeface="Century Gothic" panose="020B0502020202020204" pitchFamily="34" charset="0"/>
              </a:rPr>
              <a:t>3. Инструменты и технологии</a:t>
            </a:r>
          </a:p>
        </p:txBody>
      </p:sp>
      <p:sp>
        <p:nvSpPr>
          <p:cNvPr id="270" name="TextBox 269"/>
          <p:cNvSpPr txBox="1"/>
          <p:nvPr/>
        </p:nvSpPr>
        <p:spPr>
          <a:xfrm>
            <a:off x="672775" y="4369728"/>
            <a:ext cx="3207609" cy="246221"/>
          </a:xfrm>
          <a:prstGeom prst="rect">
            <a:avLst/>
          </a:prstGeom>
          <a:noFill/>
        </p:spPr>
        <p:txBody>
          <a:bodyPr wrap="none" lIns="0" tIns="0" rIns="0" bIns="0" rtlCol="0" anchor="t">
            <a:spAutoFit/>
          </a:bodyPr>
          <a:lstStyle/>
          <a:p>
            <a:pPr algn="r" defTabSz="1375467"/>
            <a:r>
              <a:rPr lang="ru-RU" sz="1600" b="1" dirty="0" smtClean="0">
                <a:solidFill>
                  <a:schemeClr val="bg1">
                    <a:lumMod val="50000"/>
                  </a:schemeClr>
                </a:solidFill>
                <a:latin typeface="Century Gothic" panose="020B0502020202020204" pitchFamily="34" charset="0"/>
              </a:rPr>
              <a:t>2. Возможные классификации</a:t>
            </a:r>
            <a:endParaRPr lang="ru-RU" sz="1600" b="1" dirty="0">
              <a:solidFill>
                <a:schemeClr val="bg1">
                  <a:lumMod val="50000"/>
                </a:schemeClr>
              </a:solidFill>
              <a:latin typeface="Century Gothic" panose="020B0502020202020204" pitchFamily="34" charset="0"/>
            </a:endParaRPr>
          </a:p>
        </p:txBody>
      </p:sp>
      <p:sp>
        <p:nvSpPr>
          <p:cNvPr id="273" name="TextBox 272"/>
          <p:cNvSpPr txBox="1"/>
          <p:nvPr/>
        </p:nvSpPr>
        <p:spPr>
          <a:xfrm>
            <a:off x="487103" y="5260772"/>
            <a:ext cx="3778278" cy="246221"/>
          </a:xfrm>
          <a:prstGeom prst="rect">
            <a:avLst/>
          </a:prstGeom>
          <a:noFill/>
        </p:spPr>
        <p:txBody>
          <a:bodyPr wrap="none" lIns="0" tIns="0" rIns="0" bIns="0" rtlCol="0" anchor="t">
            <a:spAutoFit/>
          </a:bodyPr>
          <a:lstStyle/>
          <a:p>
            <a:pPr algn="r" defTabSz="1375467"/>
            <a:r>
              <a:rPr lang="en-US" sz="1600" b="1" dirty="0" smtClean="0">
                <a:latin typeface="Century Gothic" panose="020B0502020202020204" pitchFamily="34" charset="0"/>
              </a:rPr>
              <a:t>1. </a:t>
            </a:r>
            <a:r>
              <a:rPr lang="ru-RU" sz="1600" b="1" dirty="0" smtClean="0">
                <a:latin typeface="Century Gothic" panose="020B0502020202020204" pitchFamily="34" charset="0"/>
              </a:rPr>
              <a:t>Сущность и содержание понятия</a:t>
            </a:r>
          </a:p>
        </p:txBody>
      </p:sp>
      <p:sp>
        <p:nvSpPr>
          <p:cNvPr id="276" name="TextBox 275"/>
          <p:cNvSpPr txBox="1"/>
          <p:nvPr/>
        </p:nvSpPr>
        <p:spPr>
          <a:xfrm>
            <a:off x="7457442" y="2608271"/>
            <a:ext cx="3222036" cy="246221"/>
          </a:xfrm>
          <a:prstGeom prst="rect">
            <a:avLst/>
          </a:prstGeom>
          <a:noFill/>
        </p:spPr>
        <p:txBody>
          <a:bodyPr wrap="none" lIns="0" tIns="0" rIns="0" bIns="0" rtlCol="0" anchor="t">
            <a:spAutoFit/>
          </a:bodyPr>
          <a:lstStyle/>
          <a:p>
            <a:pPr defTabSz="1375467"/>
            <a:r>
              <a:rPr lang="ru-RU" sz="1600" b="1" dirty="0" smtClean="0">
                <a:solidFill>
                  <a:schemeClr val="bg1">
                    <a:lumMod val="50000"/>
                  </a:schemeClr>
                </a:solidFill>
                <a:latin typeface="Century Gothic" panose="020B0502020202020204" pitchFamily="34" charset="0"/>
              </a:rPr>
              <a:t>6. Возможности и ограничения</a:t>
            </a:r>
            <a:endParaRPr lang="ru-RU" sz="1600" b="1" dirty="0">
              <a:solidFill>
                <a:schemeClr val="bg1">
                  <a:lumMod val="50000"/>
                </a:schemeClr>
              </a:solidFill>
              <a:latin typeface="Century Gothic" panose="020B0502020202020204" pitchFamily="34" charset="0"/>
            </a:endParaRPr>
          </a:p>
        </p:txBody>
      </p:sp>
      <p:sp>
        <p:nvSpPr>
          <p:cNvPr id="279" name="TextBox 278"/>
          <p:cNvSpPr txBox="1"/>
          <p:nvPr/>
        </p:nvSpPr>
        <p:spPr>
          <a:xfrm>
            <a:off x="8107682" y="3433060"/>
            <a:ext cx="3682098" cy="246221"/>
          </a:xfrm>
          <a:prstGeom prst="rect">
            <a:avLst/>
          </a:prstGeom>
          <a:noFill/>
        </p:spPr>
        <p:txBody>
          <a:bodyPr wrap="none" lIns="0" tIns="0" rIns="0" bIns="0" rtlCol="0" anchor="t">
            <a:spAutoFit/>
          </a:bodyPr>
          <a:lstStyle/>
          <a:p>
            <a:pPr defTabSz="1375467"/>
            <a:r>
              <a:rPr lang="ru-RU" sz="1600" b="1" dirty="0" smtClean="0">
                <a:latin typeface="Century Gothic" panose="020B0502020202020204" pitchFamily="34" charset="0"/>
              </a:rPr>
              <a:t>7. Успешные примеры реализации</a:t>
            </a:r>
            <a:endParaRPr lang="ru-RU" sz="1600" b="1" dirty="0">
              <a:latin typeface="Century Gothic" panose="020B0502020202020204" pitchFamily="34" charset="0"/>
            </a:endParaRPr>
          </a:p>
        </p:txBody>
      </p:sp>
      <p:sp>
        <p:nvSpPr>
          <p:cNvPr id="282" name="TextBox 281"/>
          <p:cNvSpPr txBox="1"/>
          <p:nvPr/>
        </p:nvSpPr>
        <p:spPr>
          <a:xfrm>
            <a:off x="8107682" y="4369724"/>
            <a:ext cx="2944717" cy="246221"/>
          </a:xfrm>
          <a:prstGeom prst="rect">
            <a:avLst/>
          </a:prstGeom>
          <a:noFill/>
        </p:spPr>
        <p:txBody>
          <a:bodyPr wrap="none" lIns="0" tIns="0" rIns="0" bIns="0" rtlCol="0" anchor="t">
            <a:spAutoFit/>
          </a:bodyPr>
          <a:lstStyle/>
          <a:p>
            <a:pPr defTabSz="1375467"/>
            <a:r>
              <a:rPr lang="ru-RU" sz="1600" b="1" dirty="0" smtClean="0">
                <a:solidFill>
                  <a:schemeClr val="bg1">
                    <a:lumMod val="50000"/>
                  </a:schemeClr>
                </a:solidFill>
                <a:latin typeface="Century Gothic" panose="020B0502020202020204" pitchFamily="34" charset="0"/>
              </a:rPr>
              <a:t>8. Отрицательные примеры</a:t>
            </a:r>
            <a:endParaRPr lang="ru-RU" sz="1600" b="1" dirty="0">
              <a:solidFill>
                <a:schemeClr val="bg1">
                  <a:lumMod val="50000"/>
                </a:schemeClr>
              </a:solidFill>
              <a:latin typeface="Century Gothic" panose="020B0502020202020204" pitchFamily="34" charset="0"/>
            </a:endParaRPr>
          </a:p>
        </p:txBody>
      </p:sp>
      <p:sp>
        <p:nvSpPr>
          <p:cNvPr id="285" name="TextBox 284"/>
          <p:cNvSpPr txBox="1"/>
          <p:nvPr/>
        </p:nvSpPr>
        <p:spPr>
          <a:xfrm>
            <a:off x="7776666" y="5114463"/>
            <a:ext cx="2856551" cy="492443"/>
          </a:xfrm>
          <a:prstGeom prst="rect">
            <a:avLst/>
          </a:prstGeom>
          <a:noFill/>
        </p:spPr>
        <p:txBody>
          <a:bodyPr wrap="none" lIns="0" tIns="0" rIns="0" bIns="0" rtlCol="0" anchor="t">
            <a:spAutoFit/>
          </a:bodyPr>
          <a:lstStyle/>
          <a:p>
            <a:pPr defTabSz="1375467"/>
            <a:r>
              <a:rPr lang="ru-RU" sz="1600" b="1" dirty="0" smtClean="0">
                <a:latin typeface="Century Gothic" panose="020B0502020202020204" pitchFamily="34" charset="0"/>
              </a:rPr>
              <a:t>9. Показатели оценки </a:t>
            </a:r>
          </a:p>
          <a:p>
            <a:pPr defTabSz="1375467"/>
            <a:r>
              <a:rPr lang="ru-RU" sz="1600" b="1" dirty="0" smtClean="0">
                <a:latin typeface="Century Gothic" panose="020B0502020202020204" pitchFamily="34" charset="0"/>
              </a:rPr>
              <a:t>результата использования </a:t>
            </a:r>
            <a:endParaRPr lang="en-US" sz="1600" b="1" dirty="0">
              <a:latin typeface="Century Gothic" panose="020B0502020202020204" pitchFamily="34" charset="0"/>
            </a:endParaRPr>
          </a:p>
        </p:txBody>
      </p:sp>
      <p:grpSp>
        <p:nvGrpSpPr>
          <p:cNvPr id="294" name="Group 75"/>
          <p:cNvGrpSpPr/>
          <p:nvPr/>
        </p:nvGrpSpPr>
        <p:grpSpPr>
          <a:xfrm>
            <a:off x="4691313" y="2529637"/>
            <a:ext cx="657827" cy="638993"/>
            <a:chOff x="3580207" y="1753209"/>
            <a:chExt cx="493370" cy="479245"/>
          </a:xfrm>
        </p:grpSpPr>
        <p:sp>
          <p:nvSpPr>
            <p:cNvPr id="295" name="Oval 308"/>
            <p:cNvSpPr/>
            <p:nvPr/>
          </p:nvSpPr>
          <p:spPr>
            <a:xfrm>
              <a:off x="3580207" y="1753209"/>
              <a:ext cx="493370" cy="479245"/>
            </a:xfrm>
            <a:prstGeom prst="ellipse">
              <a:avLst/>
            </a:prstGeom>
            <a:solidFill>
              <a:srgbClr val="A1A1A1"/>
            </a:solidFill>
            <a:ln w="25400" cap="flat" cmpd="sng" algn="ctr">
              <a:noFill/>
              <a:prstDash val="solid"/>
            </a:ln>
            <a:effectLst/>
          </p:spPr>
          <p:txBody>
            <a:bodyPr bIns="121920" rtlCol="0" anchor="ctr"/>
            <a:lstStyle/>
            <a:p>
              <a:pPr marL="0" marR="0" lvl="0" indent="0" algn="ctr" defTabSz="1375467" eaLnBrk="1" fontAlgn="auto" latinLnBrk="0" hangingPunct="1">
                <a:lnSpc>
                  <a:spcPct val="100000"/>
                </a:lnSpc>
                <a:spcBef>
                  <a:spcPts val="0"/>
                </a:spcBef>
                <a:spcAft>
                  <a:spcPts val="0"/>
                </a:spcAft>
                <a:buClrTx/>
                <a:buSzTx/>
                <a:buFontTx/>
                <a:buNone/>
                <a:tabLst/>
                <a:defRPr/>
              </a:pPr>
              <a:endParaRPr kumimoji="0" lang="en-US" sz="2667" b="0" i="0" u="none" strike="noStrike" kern="0" cap="none" spc="0" normalizeH="0" baseline="0" noProof="0" dirty="0">
                <a:ln>
                  <a:noFill/>
                </a:ln>
                <a:solidFill>
                  <a:prstClr val="white"/>
                </a:solidFill>
                <a:effectLst/>
                <a:uLnTx/>
                <a:uFillTx/>
                <a:latin typeface="FontAwesome" pitchFamily="2" charset="0"/>
                <a:ea typeface="+mn-ea"/>
              </a:endParaRPr>
            </a:p>
          </p:txBody>
        </p:sp>
        <p:sp>
          <p:nvSpPr>
            <p:cNvPr id="296" name="Freeform 64"/>
            <p:cNvSpPr>
              <a:spLocks noEditPoints="1"/>
            </p:cNvSpPr>
            <p:nvPr/>
          </p:nvSpPr>
          <p:spPr bwMode="auto">
            <a:xfrm>
              <a:off x="3694336" y="1882500"/>
              <a:ext cx="265113" cy="220663"/>
            </a:xfrm>
            <a:custGeom>
              <a:avLst/>
              <a:gdLst/>
              <a:ahLst/>
              <a:cxnLst>
                <a:cxn ang="0">
                  <a:pos x="77" y="51"/>
                </a:cxn>
                <a:cxn ang="0">
                  <a:pos x="75" y="55"/>
                </a:cxn>
                <a:cxn ang="0">
                  <a:pos x="59" y="63"/>
                </a:cxn>
                <a:cxn ang="0">
                  <a:pos x="57" y="64"/>
                </a:cxn>
                <a:cxn ang="0">
                  <a:pos x="55" y="63"/>
                </a:cxn>
                <a:cxn ang="0">
                  <a:pos x="39" y="55"/>
                </a:cxn>
                <a:cxn ang="0">
                  <a:pos x="39" y="55"/>
                </a:cxn>
                <a:cxn ang="0">
                  <a:pos x="38" y="55"/>
                </a:cxn>
                <a:cxn ang="0">
                  <a:pos x="22" y="63"/>
                </a:cxn>
                <a:cxn ang="0">
                  <a:pos x="20" y="64"/>
                </a:cxn>
                <a:cxn ang="0">
                  <a:pos x="18" y="63"/>
                </a:cxn>
                <a:cxn ang="0">
                  <a:pos x="2" y="55"/>
                </a:cxn>
                <a:cxn ang="0">
                  <a:pos x="0" y="51"/>
                </a:cxn>
                <a:cxn ang="0">
                  <a:pos x="0" y="37"/>
                </a:cxn>
                <a:cxn ang="0">
                  <a:pos x="3" y="32"/>
                </a:cxn>
                <a:cxn ang="0">
                  <a:pos x="18" y="26"/>
                </a:cxn>
                <a:cxn ang="0">
                  <a:pos x="18" y="11"/>
                </a:cxn>
                <a:cxn ang="0">
                  <a:pos x="21" y="7"/>
                </a:cxn>
                <a:cxn ang="0">
                  <a:pos x="37" y="0"/>
                </a:cxn>
                <a:cxn ang="0">
                  <a:pos x="39" y="0"/>
                </a:cxn>
                <a:cxn ang="0">
                  <a:pos x="40" y="0"/>
                </a:cxn>
                <a:cxn ang="0">
                  <a:pos x="56" y="7"/>
                </a:cxn>
                <a:cxn ang="0">
                  <a:pos x="59" y="11"/>
                </a:cxn>
                <a:cxn ang="0">
                  <a:pos x="59" y="26"/>
                </a:cxn>
                <a:cxn ang="0">
                  <a:pos x="75" y="32"/>
                </a:cxn>
                <a:cxn ang="0">
                  <a:pos x="77" y="37"/>
                </a:cxn>
                <a:cxn ang="0">
                  <a:pos x="77" y="51"/>
                </a:cxn>
                <a:cxn ang="0">
                  <a:pos x="35" y="36"/>
                </a:cxn>
                <a:cxn ang="0">
                  <a:pos x="20" y="30"/>
                </a:cxn>
                <a:cxn ang="0">
                  <a:pos x="6" y="36"/>
                </a:cxn>
                <a:cxn ang="0">
                  <a:pos x="20" y="42"/>
                </a:cxn>
                <a:cxn ang="0">
                  <a:pos x="35" y="36"/>
                </a:cxn>
                <a:cxn ang="0">
                  <a:pos x="36" y="51"/>
                </a:cxn>
                <a:cxn ang="0">
                  <a:pos x="36" y="40"/>
                </a:cxn>
                <a:cxn ang="0">
                  <a:pos x="23" y="46"/>
                </a:cxn>
                <a:cxn ang="0">
                  <a:pos x="23" y="58"/>
                </a:cxn>
                <a:cxn ang="0">
                  <a:pos x="36" y="51"/>
                </a:cxn>
                <a:cxn ang="0">
                  <a:pos x="54" y="11"/>
                </a:cxn>
                <a:cxn ang="0">
                  <a:pos x="39" y="5"/>
                </a:cxn>
                <a:cxn ang="0">
                  <a:pos x="23" y="11"/>
                </a:cxn>
                <a:cxn ang="0">
                  <a:pos x="39" y="18"/>
                </a:cxn>
                <a:cxn ang="0">
                  <a:pos x="54" y="11"/>
                </a:cxn>
                <a:cxn ang="0">
                  <a:pos x="55" y="26"/>
                </a:cxn>
                <a:cxn ang="0">
                  <a:pos x="55" y="16"/>
                </a:cxn>
                <a:cxn ang="0">
                  <a:pos x="41" y="22"/>
                </a:cxn>
                <a:cxn ang="0">
                  <a:pos x="41" y="32"/>
                </a:cxn>
                <a:cxn ang="0">
                  <a:pos x="55" y="26"/>
                </a:cxn>
                <a:cxn ang="0">
                  <a:pos x="71" y="36"/>
                </a:cxn>
                <a:cxn ang="0">
                  <a:pos x="57" y="30"/>
                </a:cxn>
                <a:cxn ang="0">
                  <a:pos x="42" y="36"/>
                </a:cxn>
                <a:cxn ang="0">
                  <a:pos x="57" y="42"/>
                </a:cxn>
                <a:cxn ang="0">
                  <a:pos x="71" y="36"/>
                </a:cxn>
                <a:cxn ang="0">
                  <a:pos x="73" y="51"/>
                </a:cxn>
                <a:cxn ang="0">
                  <a:pos x="73" y="40"/>
                </a:cxn>
                <a:cxn ang="0">
                  <a:pos x="59" y="46"/>
                </a:cxn>
                <a:cxn ang="0">
                  <a:pos x="59" y="58"/>
                </a:cxn>
                <a:cxn ang="0">
                  <a:pos x="73" y="51"/>
                </a:cxn>
              </a:cxnLst>
              <a:rect l="0" t="0" r="r" b="b"/>
              <a:pathLst>
                <a:path w="77" h="64">
                  <a:moveTo>
                    <a:pt x="77" y="51"/>
                  </a:moveTo>
                  <a:cubicBezTo>
                    <a:pt x="77" y="53"/>
                    <a:pt x="76" y="55"/>
                    <a:pt x="75" y="55"/>
                  </a:cubicBezTo>
                  <a:cubicBezTo>
                    <a:pt x="59" y="63"/>
                    <a:pt x="59" y="63"/>
                    <a:pt x="59" y="63"/>
                  </a:cubicBezTo>
                  <a:cubicBezTo>
                    <a:pt x="58" y="64"/>
                    <a:pt x="58" y="64"/>
                    <a:pt x="57" y="64"/>
                  </a:cubicBezTo>
                  <a:cubicBezTo>
                    <a:pt x="56" y="64"/>
                    <a:pt x="55" y="64"/>
                    <a:pt x="55" y="63"/>
                  </a:cubicBezTo>
                  <a:cubicBezTo>
                    <a:pt x="39" y="55"/>
                    <a:pt x="39" y="55"/>
                    <a:pt x="39" y="55"/>
                  </a:cubicBezTo>
                  <a:cubicBezTo>
                    <a:pt x="39" y="55"/>
                    <a:pt x="39" y="55"/>
                    <a:pt x="39" y="55"/>
                  </a:cubicBezTo>
                  <a:cubicBezTo>
                    <a:pt x="39" y="55"/>
                    <a:pt x="38" y="55"/>
                    <a:pt x="38" y="55"/>
                  </a:cubicBezTo>
                  <a:cubicBezTo>
                    <a:pt x="22" y="63"/>
                    <a:pt x="22" y="63"/>
                    <a:pt x="22" y="63"/>
                  </a:cubicBezTo>
                  <a:cubicBezTo>
                    <a:pt x="22" y="64"/>
                    <a:pt x="21" y="64"/>
                    <a:pt x="20" y="64"/>
                  </a:cubicBezTo>
                  <a:cubicBezTo>
                    <a:pt x="20" y="64"/>
                    <a:pt x="19" y="64"/>
                    <a:pt x="18" y="63"/>
                  </a:cubicBezTo>
                  <a:cubicBezTo>
                    <a:pt x="2" y="55"/>
                    <a:pt x="2" y="55"/>
                    <a:pt x="2" y="55"/>
                  </a:cubicBezTo>
                  <a:cubicBezTo>
                    <a:pt x="1" y="55"/>
                    <a:pt x="0" y="53"/>
                    <a:pt x="0" y="51"/>
                  </a:cubicBezTo>
                  <a:cubicBezTo>
                    <a:pt x="0" y="37"/>
                    <a:pt x="0" y="37"/>
                    <a:pt x="0" y="37"/>
                  </a:cubicBezTo>
                  <a:cubicBezTo>
                    <a:pt x="0" y="35"/>
                    <a:pt x="1" y="33"/>
                    <a:pt x="3" y="32"/>
                  </a:cubicBezTo>
                  <a:cubicBezTo>
                    <a:pt x="18" y="26"/>
                    <a:pt x="18" y="26"/>
                    <a:pt x="18" y="26"/>
                  </a:cubicBezTo>
                  <a:cubicBezTo>
                    <a:pt x="18" y="11"/>
                    <a:pt x="18" y="11"/>
                    <a:pt x="18" y="11"/>
                  </a:cubicBezTo>
                  <a:cubicBezTo>
                    <a:pt x="18" y="10"/>
                    <a:pt x="19" y="8"/>
                    <a:pt x="21" y="7"/>
                  </a:cubicBezTo>
                  <a:cubicBezTo>
                    <a:pt x="37" y="0"/>
                    <a:pt x="37" y="0"/>
                    <a:pt x="37" y="0"/>
                  </a:cubicBezTo>
                  <a:cubicBezTo>
                    <a:pt x="37" y="0"/>
                    <a:pt x="38" y="0"/>
                    <a:pt x="39" y="0"/>
                  </a:cubicBezTo>
                  <a:cubicBezTo>
                    <a:pt x="39" y="0"/>
                    <a:pt x="40" y="0"/>
                    <a:pt x="40" y="0"/>
                  </a:cubicBezTo>
                  <a:cubicBezTo>
                    <a:pt x="56" y="7"/>
                    <a:pt x="56" y="7"/>
                    <a:pt x="56" y="7"/>
                  </a:cubicBezTo>
                  <a:cubicBezTo>
                    <a:pt x="58" y="8"/>
                    <a:pt x="59" y="10"/>
                    <a:pt x="59" y="11"/>
                  </a:cubicBezTo>
                  <a:cubicBezTo>
                    <a:pt x="59" y="26"/>
                    <a:pt x="59" y="26"/>
                    <a:pt x="59" y="26"/>
                  </a:cubicBezTo>
                  <a:cubicBezTo>
                    <a:pt x="75" y="32"/>
                    <a:pt x="75" y="32"/>
                    <a:pt x="75" y="32"/>
                  </a:cubicBezTo>
                  <a:cubicBezTo>
                    <a:pt x="76" y="33"/>
                    <a:pt x="77" y="35"/>
                    <a:pt x="77" y="37"/>
                  </a:cubicBezTo>
                  <a:lnTo>
                    <a:pt x="77" y="51"/>
                  </a:lnTo>
                  <a:close/>
                  <a:moveTo>
                    <a:pt x="35" y="36"/>
                  </a:moveTo>
                  <a:cubicBezTo>
                    <a:pt x="20" y="30"/>
                    <a:pt x="20" y="30"/>
                    <a:pt x="20" y="30"/>
                  </a:cubicBezTo>
                  <a:cubicBezTo>
                    <a:pt x="6" y="36"/>
                    <a:pt x="6" y="36"/>
                    <a:pt x="6" y="36"/>
                  </a:cubicBezTo>
                  <a:cubicBezTo>
                    <a:pt x="20" y="42"/>
                    <a:pt x="20" y="42"/>
                    <a:pt x="20" y="42"/>
                  </a:cubicBezTo>
                  <a:lnTo>
                    <a:pt x="35" y="36"/>
                  </a:lnTo>
                  <a:close/>
                  <a:moveTo>
                    <a:pt x="36" y="51"/>
                  </a:moveTo>
                  <a:cubicBezTo>
                    <a:pt x="36" y="40"/>
                    <a:pt x="36" y="40"/>
                    <a:pt x="36" y="40"/>
                  </a:cubicBezTo>
                  <a:cubicBezTo>
                    <a:pt x="23" y="46"/>
                    <a:pt x="23" y="46"/>
                    <a:pt x="23" y="46"/>
                  </a:cubicBezTo>
                  <a:cubicBezTo>
                    <a:pt x="23" y="58"/>
                    <a:pt x="23" y="58"/>
                    <a:pt x="23" y="58"/>
                  </a:cubicBezTo>
                  <a:lnTo>
                    <a:pt x="36" y="51"/>
                  </a:lnTo>
                  <a:close/>
                  <a:moveTo>
                    <a:pt x="54" y="11"/>
                  </a:moveTo>
                  <a:cubicBezTo>
                    <a:pt x="39" y="5"/>
                    <a:pt x="39" y="5"/>
                    <a:pt x="39" y="5"/>
                  </a:cubicBezTo>
                  <a:cubicBezTo>
                    <a:pt x="23" y="11"/>
                    <a:pt x="23" y="11"/>
                    <a:pt x="23" y="11"/>
                  </a:cubicBezTo>
                  <a:cubicBezTo>
                    <a:pt x="39" y="18"/>
                    <a:pt x="39" y="18"/>
                    <a:pt x="39" y="18"/>
                  </a:cubicBezTo>
                  <a:lnTo>
                    <a:pt x="54" y="11"/>
                  </a:lnTo>
                  <a:close/>
                  <a:moveTo>
                    <a:pt x="55" y="26"/>
                  </a:moveTo>
                  <a:cubicBezTo>
                    <a:pt x="55" y="16"/>
                    <a:pt x="55" y="16"/>
                    <a:pt x="55" y="16"/>
                  </a:cubicBezTo>
                  <a:cubicBezTo>
                    <a:pt x="41" y="22"/>
                    <a:pt x="41" y="22"/>
                    <a:pt x="41" y="22"/>
                  </a:cubicBezTo>
                  <a:cubicBezTo>
                    <a:pt x="41" y="32"/>
                    <a:pt x="41" y="32"/>
                    <a:pt x="41" y="32"/>
                  </a:cubicBezTo>
                  <a:lnTo>
                    <a:pt x="55" y="26"/>
                  </a:lnTo>
                  <a:close/>
                  <a:moveTo>
                    <a:pt x="71" y="36"/>
                  </a:moveTo>
                  <a:cubicBezTo>
                    <a:pt x="57" y="30"/>
                    <a:pt x="57" y="30"/>
                    <a:pt x="57" y="30"/>
                  </a:cubicBezTo>
                  <a:cubicBezTo>
                    <a:pt x="42" y="36"/>
                    <a:pt x="42" y="36"/>
                    <a:pt x="42" y="36"/>
                  </a:cubicBezTo>
                  <a:cubicBezTo>
                    <a:pt x="57" y="42"/>
                    <a:pt x="57" y="42"/>
                    <a:pt x="57" y="42"/>
                  </a:cubicBezTo>
                  <a:lnTo>
                    <a:pt x="71" y="36"/>
                  </a:lnTo>
                  <a:close/>
                  <a:moveTo>
                    <a:pt x="73" y="51"/>
                  </a:moveTo>
                  <a:cubicBezTo>
                    <a:pt x="73" y="40"/>
                    <a:pt x="73" y="40"/>
                    <a:pt x="73" y="40"/>
                  </a:cubicBezTo>
                  <a:cubicBezTo>
                    <a:pt x="59" y="46"/>
                    <a:pt x="59" y="46"/>
                    <a:pt x="59" y="46"/>
                  </a:cubicBezTo>
                  <a:cubicBezTo>
                    <a:pt x="59" y="58"/>
                    <a:pt x="59" y="58"/>
                    <a:pt x="59" y="58"/>
                  </a:cubicBezTo>
                  <a:lnTo>
                    <a:pt x="73" y="51"/>
                  </a:lnTo>
                  <a:close/>
                </a:path>
              </a:pathLst>
            </a:custGeom>
            <a:solidFill>
              <a:sysClr val="window" lastClr="FFFFFF"/>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defTabSz="1375467" eaLnBrk="1" fontAlgn="auto" latinLnBrk="0" hangingPunct="1">
                <a:lnSpc>
                  <a:spcPct val="100000"/>
                </a:lnSpc>
                <a:spcBef>
                  <a:spcPts val="0"/>
                </a:spcBef>
                <a:spcAft>
                  <a:spcPts val="0"/>
                </a:spcAft>
                <a:buClrTx/>
                <a:buSzTx/>
                <a:buFontTx/>
                <a:buNone/>
                <a:tabLst/>
                <a:defRPr/>
              </a:pPr>
              <a:endParaRPr kumimoji="0" lang="en-US" sz="2667" b="0" i="0" u="none" strike="noStrike" kern="0" cap="none" spc="0" normalizeH="0" baseline="0" noProof="0" dirty="0">
                <a:ln>
                  <a:noFill/>
                </a:ln>
                <a:solidFill>
                  <a:prstClr val="black"/>
                </a:solidFill>
                <a:effectLst/>
                <a:uLnTx/>
                <a:uFillTx/>
                <a:latin typeface="Arial"/>
              </a:endParaRPr>
            </a:p>
          </p:txBody>
        </p:sp>
      </p:grpSp>
      <p:grpSp>
        <p:nvGrpSpPr>
          <p:cNvPr id="297" name="Group 77"/>
          <p:cNvGrpSpPr/>
          <p:nvPr/>
        </p:nvGrpSpPr>
        <p:grpSpPr>
          <a:xfrm>
            <a:off x="4434165" y="5050798"/>
            <a:ext cx="657827" cy="638993"/>
            <a:chOff x="3387346" y="3644080"/>
            <a:chExt cx="493370" cy="479245"/>
          </a:xfrm>
        </p:grpSpPr>
        <p:sp>
          <p:nvSpPr>
            <p:cNvPr id="298" name="Oval 295"/>
            <p:cNvSpPr/>
            <p:nvPr/>
          </p:nvSpPr>
          <p:spPr>
            <a:xfrm>
              <a:off x="3387346" y="3644080"/>
              <a:ext cx="493370" cy="479245"/>
            </a:xfrm>
            <a:prstGeom prst="ellipse">
              <a:avLst/>
            </a:prstGeom>
            <a:solidFill>
              <a:srgbClr val="0476BF"/>
            </a:solidFill>
            <a:ln w="25400" cap="flat" cmpd="sng" algn="ctr">
              <a:noFill/>
              <a:prstDash val="solid"/>
            </a:ln>
            <a:effectLst/>
          </p:spPr>
          <p:txBody>
            <a:bodyPr rtlCol="0" anchor="ctr"/>
            <a:lstStyle/>
            <a:p>
              <a:pPr marL="0" marR="0" lvl="0" indent="0" algn="ctr" defTabSz="1375467" eaLnBrk="1" fontAlgn="auto" latinLnBrk="0" hangingPunct="1">
                <a:lnSpc>
                  <a:spcPct val="100000"/>
                </a:lnSpc>
                <a:spcBef>
                  <a:spcPts val="0"/>
                </a:spcBef>
                <a:spcAft>
                  <a:spcPts val="0"/>
                </a:spcAft>
                <a:buClrTx/>
                <a:buSzTx/>
                <a:buFontTx/>
                <a:buNone/>
                <a:tabLst/>
                <a:defRPr/>
              </a:pPr>
              <a:endParaRPr kumimoji="0" lang="en-US" sz="2667" b="0" i="0" u="none" strike="noStrike" kern="0" cap="none" spc="0" normalizeH="0" baseline="0" noProof="0" dirty="0">
                <a:ln>
                  <a:noFill/>
                </a:ln>
                <a:solidFill>
                  <a:prstClr val="white"/>
                </a:solidFill>
                <a:effectLst/>
                <a:uLnTx/>
                <a:uFillTx/>
                <a:latin typeface="FontAwesome" pitchFamily="2" charset="0"/>
                <a:ea typeface="+mn-ea"/>
              </a:endParaRPr>
            </a:p>
          </p:txBody>
        </p:sp>
        <p:sp>
          <p:nvSpPr>
            <p:cNvPr id="299" name="Freeform 145"/>
            <p:cNvSpPr>
              <a:spLocks/>
            </p:cNvSpPr>
            <p:nvPr/>
          </p:nvSpPr>
          <p:spPr bwMode="auto">
            <a:xfrm>
              <a:off x="3503919" y="3734303"/>
              <a:ext cx="274838" cy="236999"/>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ysClr val="window" lastClr="FFFFFF"/>
            </a:solidFill>
            <a:ln w="9525">
              <a:solidFill>
                <a:schemeClr val="bg1">
                  <a:lumMod val="50000"/>
                </a:schemeClr>
              </a:solidFill>
              <a:round/>
              <a:headEnd/>
              <a:tailEnd/>
            </a:ln>
          </p:spPr>
          <p:txBody>
            <a:bodyPr vert="horz" wrap="square" lIns="121920" tIns="60960" rIns="121920" bIns="60960" numCol="1" anchor="t" anchorCtr="0" compatLnSpc="1">
              <a:prstTxWarp prst="textNoShape">
                <a:avLst/>
              </a:prstTxWarp>
            </a:bodyPr>
            <a:lstStyle/>
            <a:p>
              <a:pPr marL="0" marR="0" lvl="0" indent="0" defTabSz="1375467" eaLnBrk="1" fontAlgn="auto" latinLnBrk="0" hangingPunct="1">
                <a:lnSpc>
                  <a:spcPct val="100000"/>
                </a:lnSpc>
                <a:spcBef>
                  <a:spcPts val="0"/>
                </a:spcBef>
                <a:spcAft>
                  <a:spcPts val="0"/>
                </a:spcAft>
                <a:buClrTx/>
                <a:buSzTx/>
                <a:buFontTx/>
                <a:buNone/>
                <a:tabLst/>
                <a:defRPr/>
              </a:pPr>
              <a:endParaRPr kumimoji="0" lang="en-US" sz="2667" b="0" i="0" u="none" strike="noStrike" kern="0" cap="none" spc="0" normalizeH="0" baseline="0" noProof="0" dirty="0">
                <a:ln>
                  <a:noFill/>
                </a:ln>
                <a:solidFill>
                  <a:prstClr val="black"/>
                </a:solidFill>
                <a:effectLst/>
                <a:uLnTx/>
                <a:uFillTx/>
                <a:latin typeface="Arial"/>
              </a:endParaRPr>
            </a:p>
          </p:txBody>
        </p:sp>
      </p:grpSp>
      <p:grpSp>
        <p:nvGrpSpPr>
          <p:cNvPr id="300" name="Group 79"/>
          <p:cNvGrpSpPr/>
          <p:nvPr/>
        </p:nvGrpSpPr>
        <p:grpSpPr>
          <a:xfrm>
            <a:off x="4050119" y="4205141"/>
            <a:ext cx="8796004" cy="2098680"/>
            <a:chOff x="3099311" y="3009837"/>
            <a:chExt cx="6597000" cy="1574011"/>
          </a:xfrm>
        </p:grpSpPr>
        <p:sp>
          <p:nvSpPr>
            <p:cNvPr id="301" name="Oval 291"/>
            <p:cNvSpPr/>
            <p:nvPr/>
          </p:nvSpPr>
          <p:spPr>
            <a:xfrm>
              <a:off x="3099311" y="3009837"/>
              <a:ext cx="493370" cy="479245"/>
            </a:xfrm>
            <a:prstGeom prst="ellipse">
              <a:avLst/>
            </a:prstGeom>
            <a:solidFill>
              <a:srgbClr val="0E5A8B"/>
            </a:solidFill>
            <a:ln w="25400" cap="flat" cmpd="sng" algn="ctr">
              <a:noFill/>
              <a:prstDash val="solid"/>
            </a:ln>
            <a:effectLst/>
          </p:spPr>
          <p:txBody>
            <a:bodyPr rtlCol="0" anchor="ctr"/>
            <a:lstStyle/>
            <a:p>
              <a:pPr marL="0" marR="0" lvl="0" indent="0" algn="ctr" defTabSz="1375467" eaLnBrk="1" fontAlgn="auto" latinLnBrk="0" hangingPunct="1">
                <a:lnSpc>
                  <a:spcPct val="100000"/>
                </a:lnSpc>
                <a:spcBef>
                  <a:spcPts val="0"/>
                </a:spcBef>
                <a:spcAft>
                  <a:spcPts val="0"/>
                </a:spcAft>
                <a:buClrTx/>
                <a:buSzTx/>
                <a:buFontTx/>
                <a:buNone/>
                <a:tabLst/>
                <a:defRPr/>
              </a:pPr>
              <a:endParaRPr kumimoji="0" lang="en-US" sz="2667" b="0" i="0" u="none" strike="noStrike" kern="0" cap="none" spc="0" normalizeH="0" baseline="0" noProof="0" dirty="0">
                <a:ln>
                  <a:noFill/>
                </a:ln>
                <a:solidFill>
                  <a:prstClr val="white"/>
                </a:solidFill>
                <a:effectLst/>
                <a:uLnTx/>
                <a:uFillTx/>
                <a:latin typeface="FontAwesome" pitchFamily="2" charset="0"/>
                <a:ea typeface="+mn-ea"/>
              </a:endParaRPr>
            </a:p>
          </p:txBody>
        </p:sp>
        <p:sp>
          <p:nvSpPr>
            <p:cNvPr id="302" name="Freeform 171"/>
            <p:cNvSpPr>
              <a:spLocks/>
            </p:cNvSpPr>
            <p:nvPr/>
          </p:nvSpPr>
          <p:spPr bwMode="auto">
            <a:xfrm>
              <a:off x="9477236" y="4425098"/>
              <a:ext cx="219075" cy="158750"/>
            </a:xfrm>
            <a:custGeom>
              <a:avLst/>
              <a:gdLst/>
              <a:ahLst/>
              <a:cxnLst>
                <a:cxn ang="0">
                  <a:pos x="64" y="42"/>
                </a:cxn>
                <a:cxn ang="0">
                  <a:pos x="62" y="44"/>
                </a:cxn>
                <a:cxn ang="0">
                  <a:pos x="61" y="45"/>
                </a:cxn>
                <a:cxn ang="0">
                  <a:pos x="60" y="44"/>
                </a:cxn>
                <a:cxn ang="0">
                  <a:pos x="45" y="30"/>
                </a:cxn>
                <a:cxn ang="0">
                  <a:pos x="45" y="36"/>
                </a:cxn>
                <a:cxn ang="0">
                  <a:pos x="35" y="46"/>
                </a:cxn>
                <a:cxn ang="0">
                  <a:pos x="10" y="46"/>
                </a:cxn>
                <a:cxn ang="0">
                  <a:pos x="0" y="36"/>
                </a:cxn>
                <a:cxn ang="0">
                  <a:pos x="0" y="10"/>
                </a:cxn>
                <a:cxn ang="0">
                  <a:pos x="10" y="0"/>
                </a:cxn>
                <a:cxn ang="0">
                  <a:pos x="35" y="0"/>
                </a:cxn>
                <a:cxn ang="0">
                  <a:pos x="45" y="10"/>
                </a:cxn>
                <a:cxn ang="0">
                  <a:pos x="45" y="16"/>
                </a:cxn>
                <a:cxn ang="0">
                  <a:pos x="60" y="2"/>
                </a:cxn>
                <a:cxn ang="0">
                  <a:pos x="61" y="1"/>
                </a:cxn>
                <a:cxn ang="0">
                  <a:pos x="62" y="1"/>
                </a:cxn>
                <a:cxn ang="0">
                  <a:pos x="64" y="4"/>
                </a:cxn>
                <a:cxn ang="0">
                  <a:pos x="64" y="42"/>
                </a:cxn>
              </a:cxnLst>
              <a:rect l="0" t="0" r="r" b="b"/>
              <a:pathLst>
                <a:path w="64" h="46">
                  <a:moveTo>
                    <a:pt x="64" y="42"/>
                  </a:moveTo>
                  <a:cubicBezTo>
                    <a:pt x="64" y="43"/>
                    <a:pt x="63" y="44"/>
                    <a:pt x="62" y="44"/>
                  </a:cubicBezTo>
                  <a:cubicBezTo>
                    <a:pt x="62" y="45"/>
                    <a:pt x="62" y="45"/>
                    <a:pt x="61" y="45"/>
                  </a:cubicBezTo>
                  <a:cubicBezTo>
                    <a:pt x="61" y="45"/>
                    <a:pt x="60" y="44"/>
                    <a:pt x="60" y="44"/>
                  </a:cubicBezTo>
                  <a:cubicBezTo>
                    <a:pt x="45" y="30"/>
                    <a:pt x="45" y="30"/>
                    <a:pt x="45" y="30"/>
                  </a:cubicBezTo>
                  <a:cubicBezTo>
                    <a:pt x="45" y="36"/>
                    <a:pt x="45" y="36"/>
                    <a:pt x="45" y="36"/>
                  </a:cubicBezTo>
                  <a:cubicBezTo>
                    <a:pt x="45" y="41"/>
                    <a:pt x="41" y="46"/>
                    <a:pt x="35" y="46"/>
                  </a:cubicBezTo>
                  <a:cubicBezTo>
                    <a:pt x="10" y="46"/>
                    <a:pt x="10" y="46"/>
                    <a:pt x="10" y="46"/>
                  </a:cubicBezTo>
                  <a:cubicBezTo>
                    <a:pt x="4" y="46"/>
                    <a:pt x="0" y="41"/>
                    <a:pt x="0" y="36"/>
                  </a:cubicBezTo>
                  <a:cubicBezTo>
                    <a:pt x="0" y="10"/>
                    <a:pt x="0" y="10"/>
                    <a:pt x="0" y="10"/>
                  </a:cubicBezTo>
                  <a:cubicBezTo>
                    <a:pt x="0" y="5"/>
                    <a:pt x="4" y="0"/>
                    <a:pt x="10" y="0"/>
                  </a:cubicBezTo>
                  <a:cubicBezTo>
                    <a:pt x="35" y="0"/>
                    <a:pt x="35" y="0"/>
                    <a:pt x="35" y="0"/>
                  </a:cubicBezTo>
                  <a:cubicBezTo>
                    <a:pt x="41" y="0"/>
                    <a:pt x="45" y="5"/>
                    <a:pt x="45" y="10"/>
                  </a:cubicBezTo>
                  <a:cubicBezTo>
                    <a:pt x="45" y="16"/>
                    <a:pt x="45" y="16"/>
                    <a:pt x="45" y="16"/>
                  </a:cubicBezTo>
                  <a:cubicBezTo>
                    <a:pt x="60" y="2"/>
                    <a:pt x="60" y="2"/>
                    <a:pt x="60" y="2"/>
                  </a:cubicBezTo>
                  <a:cubicBezTo>
                    <a:pt x="60" y="1"/>
                    <a:pt x="61" y="1"/>
                    <a:pt x="61" y="1"/>
                  </a:cubicBezTo>
                  <a:cubicBezTo>
                    <a:pt x="62" y="1"/>
                    <a:pt x="62" y="1"/>
                    <a:pt x="62" y="1"/>
                  </a:cubicBezTo>
                  <a:cubicBezTo>
                    <a:pt x="63" y="2"/>
                    <a:pt x="64" y="3"/>
                    <a:pt x="64" y="4"/>
                  </a:cubicBezTo>
                  <a:lnTo>
                    <a:pt x="64" y="42"/>
                  </a:lnTo>
                  <a:close/>
                </a:path>
              </a:pathLst>
            </a:custGeom>
            <a:solidFill>
              <a:sysClr val="window" lastClr="FFFFFF"/>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defTabSz="1375467" eaLnBrk="1" fontAlgn="auto" latinLnBrk="0" hangingPunct="1">
                <a:lnSpc>
                  <a:spcPct val="100000"/>
                </a:lnSpc>
                <a:spcBef>
                  <a:spcPts val="0"/>
                </a:spcBef>
                <a:spcAft>
                  <a:spcPts val="0"/>
                </a:spcAft>
                <a:buClrTx/>
                <a:buSzTx/>
                <a:buFontTx/>
                <a:buNone/>
                <a:tabLst/>
                <a:defRPr/>
              </a:pPr>
              <a:endParaRPr kumimoji="0" lang="en-US" sz="2667" b="0" i="0" u="none" strike="noStrike" kern="0" cap="none" spc="0" normalizeH="0" baseline="0" noProof="0" dirty="0">
                <a:ln>
                  <a:noFill/>
                </a:ln>
                <a:solidFill>
                  <a:prstClr val="black"/>
                </a:solidFill>
                <a:effectLst/>
                <a:uLnTx/>
                <a:uFillTx/>
                <a:latin typeface="Arial"/>
              </a:endParaRPr>
            </a:p>
          </p:txBody>
        </p:sp>
      </p:grpSp>
      <p:grpSp>
        <p:nvGrpSpPr>
          <p:cNvPr id="303" name="Group 81"/>
          <p:cNvGrpSpPr/>
          <p:nvPr/>
        </p:nvGrpSpPr>
        <p:grpSpPr>
          <a:xfrm>
            <a:off x="4105252" y="3284184"/>
            <a:ext cx="8585692" cy="1746766"/>
            <a:chOff x="3140661" y="2319119"/>
            <a:chExt cx="6439266" cy="1310075"/>
          </a:xfrm>
        </p:grpSpPr>
        <p:sp>
          <p:nvSpPr>
            <p:cNvPr id="304" name="Oval 287"/>
            <p:cNvSpPr/>
            <p:nvPr/>
          </p:nvSpPr>
          <p:spPr>
            <a:xfrm>
              <a:off x="3140661" y="2319119"/>
              <a:ext cx="493370" cy="479245"/>
            </a:xfrm>
            <a:prstGeom prst="ellipse">
              <a:avLst/>
            </a:prstGeom>
            <a:solidFill>
              <a:srgbClr val="32ACFA"/>
            </a:solidFill>
            <a:ln w="25400" cap="flat" cmpd="sng" algn="ctr">
              <a:noFill/>
              <a:prstDash val="solid"/>
            </a:ln>
            <a:effectLst/>
          </p:spPr>
          <p:txBody>
            <a:bodyPr rtlCol="0" anchor="ctr"/>
            <a:lstStyle/>
            <a:p>
              <a:pPr marL="0" marR="0" lvl="0" indent="0" algn="ctr" defTabSz="1375467" eaLnBrk="1" fontAlgn="auto" latinLnBrk="0" hangingPunct="1">
                <a:lnSpc>
                  <a:spcPct val="100000"/>
                </a:lnSpc>
                <a:spcBef>
                  <a:spcPts val="0"/>
                </a:spcBef>
                <a:spcAft>
                  <a:spcPts val="0"/>
                </a:spcAft>
                <a:buClrTx/>
                <a:buSzTx/>
                <a:buFontTx/>
                <a:buNone/>
                <a:tabLst/>
                <a:defRPr/>
              </a:pPr>
              <a:endParaRPr kumimoji="0" lang="en-US" sz="2667" b="0" i="0" u="none" strike="noStrike" kern="0" cap="none" spc="0" normalizeH="0" baseline="0" noProof="0" dirty="0">
                <a:ln>
                  <a:noFill/>
                </a:ln>
                <a:solidFill>
                  <a:prstClr val="white"/>
                </a:solidFill>
                <a:effectLst/>
                <a:uLnTx/>
                <a:uFillTx/>
                <a:latin typeface="FontAwesome" pitchFamily="2" charset="0"/>
                <a:ea typeface="+mn-ea"/>
              </a:endParaRPr>
            </a:p>
          </p:txBody>
        </p:sp>
        <p:sp>
          <p:nvSpPr>
            <p:cNvPr id="305" name="Freeform 115"/>
            <p:cNvSpPr>
              <a:spLocks noEditPoints="1"/>
            </p:cNvSpPr>
            <p:nvPr/>
          </p:nvSpPr>
          <p:spPr bwMode="auto">
            <a:xfrm>
              <a:off x="9360852" y="3408531"/>
              <a:ext cx="219075" cy="220663"/>
            </a:xfrm>
            <a:custGeom>
              <a:avLst/>
              <a:gdLst/>
              <a:ahLst/>
              <a:cxnLst>
                <a:cxn ang="0">
                  <a:pos x="64" y="32"/>
                </a:cxn>
                <a:cxn ang="0">
                  <a:pos x="32" y="64"/>
                </a:cxn>
                <a:cxn ang="0">
                  <a:pos x="0" y="32"/>
                </a:cxn>
                <a:cxn ang="0">
                  <a:pos x="32" y="0"/>
                </a:cxn>
                <a:cxn ang="0">
                  <a:pos x="64" y="32"/>
                </a:cxn>
                <a:cxn ang="0">
                  <a:pos x="14" y="38"/>
                </a:cxn>
                <a:cxn ang="0">
                  <a:pos x="13" y="32"/>
                </a:cxn>
                <a:cxn ang="0">
                  <a:pos x="14" y="26"/>
                </a:cxn>
                <a:cxn ang="0">
                  <a:pos x="8" y="19"/>
                </a:cxn>
                <a:cxn ang="0">
                  <a:pos x="4" y="32"/>
                </a:cxn>
                <a:cxn ang="0">
                  <a:pos x="8" y="45"/>
                </a:cxn>
                <a:cxn ang="0">
                  <a:pos x="14" y="38"/>
                </a:cxn>
                <a:cxn ang="0">
                  <a:pos x="45" y="32"/>
                </a:cxn>
                <a:cxn ang="0">
                  <a:pos x="32" y="18"/>
                </a:cxn>
                <a:cxn ang="0">
                  <a:pos x="18" y="32"/>
                </a:cxn>
                <a:cxn ang="0">
                  <a:pos x="32" y="46"/>
                </a:cxn>
                <a:cxn ang="0">
                  <a:pos x="45" y="32"/>
                </a:cxn>
                <a:cxn ang="0">
                  <a:pos x="19" y="8"/>
                </a:cxn>
                <a:cxn ang="0">
                  <a:pos x="26" y="15"/>
                </a:cxn>
                <a:cxn ang="0">
                  <a:pos x="32" y="14"/>
                </a:cxn>
                <a:cxn ang="0">
                  <a:pos x="38" y="15"/>
                </a:cxn>
                <a:cxn ang="0">
                  <a:pos x="45" y="8"/>
                </a:cxn>
                <a:cxn ang="0">
                  <a:pos x="32" y="5"/>
                </a:cxn>
                <a:cxn ang="0">
                  <a:pos x="19" y="8"/>
                </a:cxn>
                <a:cxn ang="0">
                  <a:pos x="45" y="56"/>
                </a:cxn>
                <a:cxn ang="0">
                  <a:pos x="38" y="49"/>
                </a:cxn>
                <a:cxn ang="0">
                  <a:pos x="32" y="50"/>
                </a:cxn>
                <a:cxn ang="0">
                  <a:pos x="26" y="49"/>
                </a:cxn>
                <a:cxn ang="0">
                  <a:pos x="19" y="56"/>
                </a:cxn>
                <a:cxn ang="0">
                  <a:pos x="32" y="60"/>
                </a:cxn>
                <a:cxn ang="0">
                  <a:pos x="45" y="56"/>
                </a:cxn>
                <a:cxn ang="0">
                  <a:pos x="56" y="45"/>
                </a:cxn>
                <a:cxn ang="0">
                  <a:pos x="59" y="32"/>
                </a:cxn>
                <a:cxn ang="0">
                  <a:pos x="56" y="19"/>
                </a:cxn>
                <a:cxn ang="0">
                  <a:pos x="49" y="26"/>
                </a:cxn>
                <a:cxn ang="0">
                  <a:pos x="50" y="32"/>
                </a:cxn>
                <a:cxn ang="0">
                  <a:pos x="49" y="38"/>
                </a:cxn>
                <a:cxn ang="0">
                  <a:pos x="56" y="45"/>
                </a:cxn>
              </a:cxnLst>
              <a:rect l="0" t="0" r="r" b="b"/>
              <a:pathLst>
                <a:path w="64" h="64">
                  <a:moveTo>
                    <a:pt x="64" y="32"/>
                  </a:moveTo>
                  <a:cubicBezTo>
                    <a:pt x="64" y="50"/>
                    <a:pt x="49" y="64"/>
                    <a:pt x="32" y="64"/>
                  </a:cubicBezTo>
                  <a:cubicBezTo>
                    <a:pt x="14" y="64"/>
                    <a:pt x="0" y="50"/>
                    <a:pt x="0" y="32"/>
                  </a:cubicBezTo>
                  <a:cubicBezTo>
                    <a:pt x="0" y="14"/>
                    <a:pt x="14" y="0"/>
                    <a:pt x="32" y="0"/>
                  </a:cubicBezTo>
                  <a:cubicBezTo>
                    <a:pt x="49" y="0"/>
                    <a:pt x="64" y="14"/>
                    <a:pt x="64" y="32"/>
                  </a:cubicBezTo>
                  <a:close/>
                  <a:moveTo>
                    <a:pt x="14" y="38"/>
                  </a:moveTo>
                  <a:cubicBezTo>
                    <a:pt x="14" y="36"/>
                    <a:pt x="13" y="34"/>
                    <a:pt x="13" y="32"/>
                  </a:cubicBezTo>
                  <a:cubicBezTo>
                    <a:pt x="13" y="30"/>
                    <a:pt x="14" y="28"/>
                    <a:pt x="14" y="26"/>
                  </a:cubicBezTo>
                  <a:cubicBezTo>
                    <a:pt x="8" y="19"/>
                    <a:pt x="8" y="19"/>
                    <a:pt x="8" y="19"/>
                  </a:cubicBezTo>
                  <a:cubicBezTo>
                    <a:pt x="6" y="23"/>
                    <a:pt x="4" y="28"/>
                    <a:pt x="4" y="32"/>
                  </a:cubicBezTo>
                  <a:cubicBezTo>
                    <a:pt x="4" y="37"/>
                    <a:pt x="6" y="41"/>
                    <a:pt x="8" y="45"/>
                  </a:cubicBezTo>
                  <a:lnTo>
                    <a:pt x="14" y="38"/>
                  </a:lnTo>
                  <a:close/>
                  <a:moveTo>
                    <a:pt x="45" y="32"/>
                  </a:moveTo>
                  <a:cubicBezTo>
                    <a:pt x="45" y="25"/>
                    <a:pt x="39" y="18"/>
                    <a:pt x="32" y="18"/>
                  </a:cubicBezTo>
                  <a:cubicBezTo>
                    <a:pt x="24" y="18"/>
                    <a:pt x="18" y="25"/>
                    <a:pt x="18" y="32"/>
                  </a:cubicBezTo>
                  <a:cubicBezTo>
                    <a:pt x="18" y="40"/>
                    <a:pt x="24" y="46"/>
                    <a:pt x="32" y="46"/>
                  </a:cubicBezTo>
                  <a:cubicBezTo>
                    <a:pt x="39" y="46"/>
                    <a:pt x="45" y="40"/>
                    <a:pt x="45" y="32"/>
                  </a:cubicBezTo>
                  <a:close/>
                  <a:moveTo>
                    <a:pt x="19" y="8"/>
                  </a:moveTo>
                  <a:cubicBezTo>
                    <a:pt x="26" y="15"/>
                    <a:pt x="26" y="15"/>
                    <a:pt x="26" y="15"/>
                  </a:cubicBezTo>
                  <a:cubicBezTo>
                    <a:pt x="28" y="14"/>
                    <a:pt x="30" y="14"/>
                    <a:pt x="32" y="14"/>
                  </a:cubicBezTo>
                  <a:cubicBezTo>
                    <a:pt x="34" y="14"/>
                    <a:pt x="36" y="14"/>
                    <a:pt x="38" y="15"/>
                  </a:cubicBezTo>
                  <a:cubicBezTo>
                    <a:pt x="45" y="8"/>
                    <a:pt x="45" y="8"/>
                    <a:pt x="45" y="8"/>
                  </a:cubicBezTo>
                  <a:cubicBezTo>
                    <a:pt x="41" y="6"/>
                    <a:pt x="36" y="5"/>
                    <a:pt x="32" y="5"/>
                  </a:cubicBezTo>
                  <a:cubicBezTo>
                    <a:pt x="27" y="5"/>
                    <a:pt x="23" y="6"/>
                    <a:pt x="19" y="8"/>
                  </a:cubicBezTo>
                  <a:close/>
                  <a:moveTo>
                    <a:pt x="45" y="56"/>
                  </a:moveTo>
                  <a:cubicBezTo>
                    <a:pt x="38" y="49"/>
                    <a:pt x="38" y="49"/>
                    <a:pt x="38" y="49"/>
                  </a:cubicBezTo>
                  <a:cubicBezTo>
                    <a:pt x="36" y="50"/>
                    <a:pt x="34" y="50"/>
                    <a:pt x="32" y="50"/>
                  </a:cubicBezTo>
                  <a:cubicBezTo>
                    <a:pt x="30" y="50"/>
                    <a:pt x="28" y="50"/>
                    <a:pt x="26" y="49"/>
                  </a:cubicBezTo>
                  <a:cubicBezTo>
                    <a:pt x="19" y="56"/>
                    <a:pt x="19" y="56"/>
                    <a:pt x="19" y="56"/>
                  </a:cubicBezTo>
                  <a:cubicBezTo>
                    <a:pt x="23" y="58"/>
                    <a:pt x="27" y="60"/>
                    <a:pt x="32" y="60"/>
                  </a:cubicBezTo>
                  <a:cubicBezTo>
                    <a:pt x="36" y="60"/>
                    <a:pt x="41" y="58"/>
                    <a:pt x="45" y="56"/>
                  </a:cubicBezTo>
                  <a:close/>
                  <a:moveTo>
                    <a:pt x="56" y="45"/>
                  </a:moveTo>
                  <a:cubicBezTo>
                    <a:pt x="58" y="41"/>
                    <a:pt x="59" y="37"/>
                    <a:pt x="59" y="32"/>
                  </a:cubicBezTo>
                  <a:cubicBezTo>
                    <a:pt x="59" y="28"/>
                    <a:pt x="58" y="23"/>
                    <a:pt x="56" y="19"/>
                  </a:cubicBezTo>
                  <a:cubicBezTo>
                    <a:pt x="49" y="26"/>
                    <a:pt x="49" y="26"/>
                    <a:pt x="49" y="26"/>
                  </a:cubicBezTo>
                  <a:cubicBezTo>
                    <a:pt x="50" y="28"/>
                    <a:pt x="50" y="30"/>
                    <a:pt x="50" y="32"/>
                  </a:cubicBezTo>
                  <a:cubicBezTo>
                    <a:pt x="50" y="34"/>
                    <a:pt x="50" y="36"/>
                    <a:pt x="49" y="38"/>
                  </a:cubicBezTo>
                  <a:lnTo>
                    <a:pt x="56" y="45"/>
                  </a:lnTo>
                  <a:close/>
                </a:path>
              </a:pathLst>
            </a:custGeom>
            <a:solidFill>
              <a:sysClr val="window" lastClr="FFFFFF"/>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defTabSz="1375467" eaLnBrk="1" fontAlgn="auto" latinLnBrk="0" hangingPunct="1">
                <a:lnSpc>
                  <a:spcPct val="100000"/>
                </a:lnSpc>
                <a:spcBef>
                  <a:spcPts val="0"/>
                </a:spcBef>
                <a:spcAft>
                  <a:spcPts val="0"/>
                </a:spcAft>
                <a:buClrTx/>
                <a:buSzTx/>
                <a:buFontTx/>
                <a:buNone/>
                <a:tabLst/>
                <a:defRPr/>
              </a:pPr>
              <a:endParaRPr kumimoji="0" lang="en-US" sz="2667" b="0" i="0" u="none" strike="noStrike" kern="0" cap="none" spc="0" normalizeH="0" baseline="0" noProof="0" dirty="0">
                <a:ln>
                  <a:noFill/>
                </a:ln>
                <a:solidFill>
                  <a:prstClr val="black"/>
                </a:solidFill>
                <a:effectLst/>
                <a:uLnTx/>
                <a:uFillTx/>
                <a:latin typeface="Arial"/>
              </a:endParaRPr>
            </a:p>
          </p:txBody>
        </p:sp>
      </p:grpSp>
      <p:sp>
        <p:nvSpPr>
          <p:cNvPr id="307" name="Oval 309"/>
          <p:cNvSpPr/>
          <p:nvPr/>
        </p:nvSpPr>
        <p:spPr>
          <a:xfrm>
            <a:off x="5684791" y="2261144"/>
            <a:ext cx="657827" cy="638993"/>
          </a:xfrm>
          <a:prstGeom prst="ellipse">
            <a:avLst/>
          </a:prstGeom>
          <a:solidFill>
            <a:srgbClr val="0588DB"/>
          </a:solidFill>
          <a:ln w="25400" cap="flat" cmpd="sng" algn="ctr">
            <a:noFill/>
            <a:prstDash val="solid"/>
          </a:ln>
          <a:effectLst/>
        </p:spPr>
        <p:txBody>
          <a:bodyPr rtlCol="0" anchor="ctr"/>
          <a:lstStyle/>
          <a:p>
            <a:pPr marL="0" marR="0" lvl="0" indent="0" algn="ctr" defTabSz="1375467" eaLnBrk="1" fontAlgn="auto" latinLnBrk="0" hangingPunct="1">
              <a:lnSpc>
                <a:spcPct val="100000"/>
              </a:lnSpc>
              <a:spcBef>
                <a:spcPts val="0"/>
              </a:spcBef>
              <a:spcAft>
                <a:spcPts val="0"/>
              </a:spcAft>
              <a:buClrTx/>
              <a:buSzTx/>
              <a:buFontTx/>
              <a:buNone/>
              <a:tabLst/>
              <a:defRPr/>
            </a:pPr>
            <a:endParaRPr kumimoji="0" lang="en-US" sz="2667" b="0" i="0" u="none" strike="noStrike" kern="0" cap="none" spc="0" normalizeH="0" baseline="0" noProof="0" dirty="0">
              <a:ln>
                <a:noFill/>
              </a:ln>
              <a:solidFill>
                <a:prstClr val="white"/>
              </a:solidFill>
              <a:effectLst/>
              <a:uLnTx/>
              <a:uFillTx/>
              <a:latin typeface="FontAwesome" pitchFamily="2" charset="0"/>
              <a:ea typeface="+mn-ea"/>
            </a:endParaRPr>
          </a:p>
        </p:txBody>
      </p:sp>
      <p:sp>
        <p:nvSpPr>
          <p:cNvPr id="310" name="Oval 299"/>
          <p:cNvSpPr/>
          <p:nvPr/>
        </p:nvSpPr>
        <p:spPr>
          <a:xfrm>
            <a:off x="6683312" y="2527432"/>
            <a:ext cx="657827" cy="638993"/>
          </a:xfrm>
          <a:prstGeom prst="ellipse">
            <a:avLst/>
          </a:prstGeom>
          <a:solidFill>
            <a:srgbClr val="525252"/>
          </a:solidFill>
          <a:ln w="25400" cap="flat" cmpd="sng" algn="ctr">
            <a:noFill/>
            <a:prstDash val="solid"/>
          </a:ln>
          <a:effectLst/>
        </p:spPr>
        <p:txBody>
          <a:bodyPr rtlCol="0" anchor="ctr"/>
          <a:lstStyle/>
          <a:p>
            <a:pPr marL="0" marR="0" lvl="0" indent="0" algn="ctr" defTabSz="1375467" eaLnBrk="1" fontAlgn="auto" latinLnBrk="0" hangingPunct="1">
              <a:lnSpc>
                <a:spcPct val="100000"/>
              </a:lnSpc>
              <a:spcBef>
                <a:spcPts val="0"/>
              </a:spcBef>
              <a:spcAft>
                <a:spcPts val="0"/>
              </a:spcAft>
              <a:buClrTx/>
              <a:buSzTx/>
              <a:buFontTx/>
              <a:buNone/>
              <a:tabLst/>
              <a:defRPr/>
            </a:pPr>
            <a:endParaRPr kumimoji="0" lang="en-US" sz="2667" b="0" i="0" u="none" strike="noStrike" kern="0" cap="none" spc="0" normalizeH="0" baseline="0" noProof="0" dirty="0">
              <a:ln>
                <a:noFill/>
              </a:ln>
              <a:solidFill>
                <a:prstClr val="white"/>
              </a:solidFill>
              <a:effectLst/>
              <a:uLnTx/>
              <a:uFillTx/>
              <a:latin typeface="FontAwesome" pitchFamily="2" charset="0"/>
              <a:ea typeface="+mn-ea"/>
            </a:endParaRPr>
          </a:p>
        </p:txBody>
      </p:sp>
      <p:sp>
        <p:nvSpPr>
          <p:cNvPr id="313" name="Oval 303"/>
          <p:cNvSpPr/>
          <p:nvPr/>
        </p:nvSpPr>
        <p:spPr>
          <a:xfrm>
            <a:off x="7341139" y="3284184"/>
            <a:ext cx="657827" cy="638993"/>
          </a:xfrm>
          <a:prstGeom prst="ellipse">
            <a:avLst/>
          </a:prstGeom>
          <a:solidFill>
            <a:srgbClr val="32ACFA">
              <a:lumMod val="75000"/>
            </a:srgbClr>
          </a:solidFill>
          <a:ln w="25400" cap="flat" cmpd="sng" algn="ctr">
            <a:noFill/>
            <a:prstDash val="solid"/>
          </a:ln>
          <a:effectLst/>
        </p:spPr>
        <p:txBody>
          <a:bodyPr rtlCol="0" anchor="ctr"/>
          <a:lstStyle/>
          <a:p>
            <a:pPr marL="0" marR="0" lvl="0" indent="0" algn="ctr" defTabSz="1375467" eaLnBrk="1" fontAlgn="auto" latinLnBrk="0" hangingPunct="1">
              <a:lnSpc>
                <a:spcPct val="100000"/>
              </a:lnSpc>
              <a:spcBef>
                <a:spcPts val="0"/>
              </a:spcBef>
              <a:spcAft>
                <a:spcPts val="0"/>
              </a:spcAft>
              <a:buClrTx/>
              <a:buSzTx/>
              <a:buFontTx/>
              <a:buNone/>
              <a:tabLst/>
              <a:defRPr/>
            </a:pPr>
            <a:endParaRPr kumimoji="0" lang="en-US" sz="2667" b="0" i="0" u="none" strike="noStrike" kern="0" cap="none" spc="0" normalizeH="0" baseline="0" noProof="0" dirty="0">
              <a:ln>
                <a:noFill/>
              </a:ln>
              <a:solidFill>
                <a:prstClr val="white"/>
              </a:solidFill>
              <a:effectLst/>
              <a:uLnTx/>
              <a:uFillTx/>
              <a:latin typeface="FontAwesome" pitchFamily="2" charset="0"/>
              <a:ea typeface="+mn-ea"/>
            </a:endParaRPr>
          </a:p>
        </p:txBody>
      </p:sp>
      <p:sp>
        <p:nvSpPr>
          <p:cNvPr id="316" name="Oval 307"/>
          <p:cNvSpPr/>
          <p:nvPr/>
        </p:nvSpPr>
        <p:spPr>
          <a:xfrm>
            <a:off x="7352920" y="4205140"/>
            <a:ext cx="657827" cy="638993"/>
          </a:xfrm>
          <a:prstGeom prst="ellipse">
            <a:avLst/>
          </a:prstGeom>
          <a:solidFill>
            <a:srgbClr val="0588DB">
              <a:lumMod val="75000"/>
            </a:srgbClr>
          </a:solidFill>
          <a:ln w="25400" cap="flat" cmpd="sng" algn="ctr">
            <a:noFill/>
            <a:prstDash val="solid"/>
          </a:ln>
          <a:effectLst/>
        </p:spPr>
        <p:txBody>
          <a:bodyPr rtlCol="0" anchor="ctr"/>
          <a:lstStyle/>
          <a:p>
            <a:pPr marL="0" marR="0" lvl="0" indent="0" algn="ctr" defTabSz="1375467" eaLnBrk="1" fontAlgn="auto" latinLnBrk="0" hangingPunct="1">
              <a:lnSpc>
                <a:spcPct val="100000"/>
              </a:lnSpc>
              <a:spcBef>
                <a:spcPts val="0"/>
              </a:spcBef>
              <a:spcAft>
                <a:spcPts val="0"/>
              </a:spcAft>
              <a:buClrTx/>
              <a:buSzTx/>
              <a:buFontTx/>
              <a:buNone/>
              <a:tabLst/>
              <a:defRPr/>
            </a:pPr>
            <a:endParaRPr kumimoji="0" lang="en-US" sz="2667" b="0" i="0" u="none" strike="noStrike" kern="0" cap="none" spc="0" normalizeH="0" baseline="0" noProof="0" dirty="0">
              <a:ln>
                <a:noFill/>
              </a:ln>
              <a:solidFill>
                <a:prstClr val="white"/>
              </a:solidFill>
              <a:effectLst/>
              <a:uLnTx/>
              <a:uFillTx/>
              <a:latin typeface="FontAwesome" pitchFamily="2" charset="0"/>
              <a:ea typeface="+mn-ea"/>
            </a:endParaRPr>
          </a:p>
        </p:txBody>
      </p:sp>
      <p:sp>
        <p:nvSpPr>
          <p:cNvPr id="319" name="Oval 44"/>
          <p:cNvSpPr/>
          <p:nvPr/>
        </p:nvSpPr>
        <p:spPr>
          <a:xfrm>
            <a:off x="6935416" y="5050798"/>
            <a:ext cx="657827" cy="638993"/>
          </a:xfrm>
          <a:prstGeom prst="ellipse">
            <a:avLst/>
          </a:prstGeom>
          <a:solidFill>
            <a:srgbClr val="0476BF">
              <a:lumMod val="75000"/>
            </a:srgbClr>
          </a:solidFill>
          <a:ln w="25400" cap="flat" cmpd="sng" algn="ctr">
            <a:noFill/>
            <a:prstDash val="solid"/>
          </a:ln>
          <a:effectLst/>
        </p:spPr>
        <p:txBody>
          <a:bodyPr rtlCol="0" anchor="ctr"/>
          <a:lstStyle/>
          <a:p>
            <a:pPr marL="0" marR="0" lvl="0" indent="0" algn="ctr" defTabSz="1375467" eaLnBrk="1" fontAlgn="auto" latinLnBrk="0" hangingPunct="1">
              <a:lnSpc>
                <a:spcPct val="100000"/>
              </a:lnSpc>
              <a:spcBef>
                <a:spcPts val="0"/>
              </a:spcBef>
              <a:spcAft>
                <a:spcPts val="0"/>
              </a:spcAft>
              <a:buClrTx/>
              <a:buSzTx/>
              <a:buFontTx/>
              <a:buNone/>
              <a:tabLst/>
              <a:defRPr/>
            </a:pPr>
            <a:endParaRPr kumimoji="0" lang="en-US" sz="2667" b="0" i="0" u="none" strike="noStrike" kern="0" cap="none" spc="0" normalizeH="0" baseline="0" noProof="0" dirty="0">
              <a:ln>
                <a:noFill/>
              </a:ln>
              <a:solidFill>
                <a:prstClr val="white"/>
              </a:solidFill>
              <a:effectLst/>
              <a:uLnTx/>
              <a:uFillTx/>
              <a:latin typeface="FontAwesome" pitchFamily="2" charset="0"/>
              <a:ea typeface="+mn-ea"/>
            </a:endParaRPr>
          </a:p>
        </p:txBody>
      </p:sp>
      <p:grpSp>
        <p:nvGrpSpPr>
          <p:cNvPr id="370" name="Group 92"/>
          <p:cNvGrpSpPr/>
          <p:nvPr/>
        </p:nvGrpSpPr>
        <p:grpSpPr>
          <a:xfrm>
            <a:off x="4218095" y="4361688"/>
            <a:ext cx="326473" cy="300380"/>
            <a:chOff x="6365875" y="1458913"/>
            <a:chExt cx="619125" cy="542925"/>
          </a:xfrm>
          <a:solidFill>
            <a:schemeClr val="bg1"/>
          </a:solidFill>
        </p:grpSpPr>
        <p:sp>
          <p:nvSpPr>
            <p:cNvPr id="371" name="Freeform 43"/>
            <p:cNvSpPr>
              <a:spLocks noEditPoints="1"/>
            </p:cNvSpPr>
            <p:nvPr/>
          </p:nvSpPr>
          <p:spPr bwMode="auto">
            <a:xfrm>
              <a:off x="6365875" y="1846263"/>
              <a:ext cx="619125" cy="155575"/>
            </a:xfrm>
            <a:custGeom>
              <a:avLst/>
              <a:gdLst/>
              <a:ahLst/>
              <a:cxnLst>
                <a:cxn ang="0">
                  <a:pos x="0" y="0"/>
                </a:cxn>
                <a:cxn ang="0">
                  <a:pos x="195" y="48"/>
                </a:cxn>
                <a:cxn ang="0">
                  <a:pos x="390" y="0"/>
                </a:cxn>
                <a:cxn ang="0">
                  <a:pos x="390" y="48"/>
                </a:cxn>
                <a:cxn ang="0">
                  <a:pos x="195" y="98"/>
                </a:cxn>
                <a:cxn ang="0">
                  <a:pos x="0" y="48"/>
                </a:cxn>
                <a:cxn ang="0">
                  <a:pos x="0" y="0"/>
                </a:cxn>
                <a:cxn ang="0">
                  <a:pos x="0" y="0"/>
                </a:cxn>
                <a:cxn ang="0">
                  <a:pos x="0" y="0"/>
                </a:cxn>
              </a:cxnLst>
              <a:rect l="0" t="0" r="r" b="b"/>
              <a:pathLst>
                <a:path w="390" h="98">
                  <a:moveTo>
                    <a:pt x="0" y="0"/>
                  </a:moveTo>
                  <a:lnTo>
                    <a:pt x="195" y="48"/>
                  </a:lnTo>
                  <a:lnTo>
                    <a:pt x="390" y="0"/>
                  </a:lnTo>
                  <a:lnTo>
                    <a:pt x="390" y="48"/>
                  </a:lnTo>
                  <a:lnTo>
                    <a:pt x="195" y="98"/>
                  </a:lnTo>
                  <a:lnTo>
                    <a:pt x="0" y="48"/>
                  </a:lnTo>
                  <a:lnTo>
                    <a:pt x="0" y="0"/>
                  </a:lnTo>
                  <a:close/>
                  <a:moveTo>
                    <a:pt x="0" y="0"/>
                  </a:moveTo>
                  <a:lnTo>
                    <a:pt x="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372" name="Freeform 44"/>
            <p:cNvSpPr>
              <a:spLocks noEditPoints="1"/>
            </p:cNvSpPr>
            <p:nvPr/>
          </p:nvSpPr>
          <p:spPr bwMode="auto">
            <a:xfrm>
              <a:off x="6365875" y="1846263"/>
              <a:ext cx="619125" cy="155575"/>
            </a:xfrm>
            <a:custGeom>
              <a:avLst/>
              <a:gdLst/>
              <a:ahLst/>
              <a:cxnLst>
                <a:cxn ang="0">
                  <a:pos x="0" y="0"/>
                </a:cxn>
                <a:cxn ang="0">
                  <a:pos x="195" y="48"/>
                </a:cxn>
                <a:cxn ang="0">
                  <a:pos x="390" y="0"/>
                </a:cxn>
                <a:cxn ang="0">
                  <a:pos x="390" y="48"/>
                </a:cxn>
                <a:cxn ang="0">
                  <a:pos x="195" y="98"/>
                </a:cxn>
                <a:cxn ang="0">
                  <a:pos x="0" y="48"/>
                </a:cxn>
                <a:cxn ang="0">
                  <a:pos x="0" y="0"/>
                </a:cxn>
                <a:cxn ang="0">
                  <a:pos x="0" y="0"/>
                </a:cxn>
                <a:cxn ang="0">
                  <a:pos x="0" y="0"/>
                </a:cxn>
              </a:cxnLst>
              <a:rect l="0" t="0" r="r" b="b"/>
              <a:pathLst>
                <a:path w="390" h="98">
                  <a:moveTo>
                    <a:pt x="0" y="0"/>
                  </a:moveTo>
                  <a:lnTo>
                    <a:pt x="195" y="48"/>
                  </a:lnTo>
                  <a:lnTo>
                    <a:pt x="390" y="0"/>
                  </a:lnTo>
                  <a:lnTo>
                    <a:pt x="390" y="48"/>
                  </a:lnTo>
                  <a:lnTo>
                    <a:pt x="195" y="98"/>
                  </a:lnTo>
                  <a:lnTo>
                    <a:pt x="0" y="48"/>
                  </a:lnTo>
                  <a:lnTo>
                    <a:pt x="0" y="0"/>
                  </a:lnTo>
                  <a:moveTo>
                    <a:pt x="0" y="0"/>
                  </a:move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373" name="Freeform 45"/>
            <p:cNvSpPr>
              <a:spLocks noEditPoints="1"/>
            </p:cNvSpPr>
            <p:nvPr/>
          </p:nvSpPr>
          <p:spPr bwMode="auto">
            <a:xfrm>
              <a:off x="6365875" y="1692276"/>
              <a:ext cx="619125" cy="153988"/>
            </a:xfrm>
            <a:custGeom>
              <a:avLst/>
              <a:gdLst/>
              <a:ahLst/>
              <a:cxnLst>
                <a:cxn ang="0">
                  <a:pos x="0" y="0"/>
                </a:cxn>
                <a:cxn ang="0">
                  <a:pos x="195" y="48"/>
                </a:cxn>
                <a:cxn ang="0">
                  <a:pos x="390" y="0"/>
                </a:cxn>
                <a:cxn ang="0">
                  <a:pos x="390" y="48"/>
                </a:cxn>
                <a:cxn ang="0">
                  <a:pos x="195" y="97"/>
                </a:cxn>
                <a:cxn ang="0">
                  <a:pos x="0" y="48"/>
                </a:cxn>
                <a:cxn ang="0">
                  <a:pos x="0" y="0"/>
                </a:cxn>
                <a:cxn ang="0">
                  <a:pos x="0" y="0"/>
                </a:cxn>
                <a:cxn ang="0">
                  <a:pos x="0" y="0"/>
                </a:cxn>
              </a:cxnLst>
              <a:rect l="0" t="0" r="r" b="b"/>
              <a:pathLst>
                <a:path w="390" h="97">
                  <a:moveTo>
                    <a:pt x="0" y="0"/>
                  </a:moveTo>
                  <a:lnTo>
                    <a:pt x="195" y="48"/>
                  </a:lnTo>
                  <a:lnTo>
                    <a:pt x="390" y="0"/>
                  </a:lnTo>
                  <a:lnTo>
                    <a:pt x="390" y="48"/>
                  </a:lnTo>
                  <a:lnTo>
                    <a:pt x="195" y="97"/>
                  </a:lnTo>
                  <a:lnTo>
                    <a:pt x="0" y="48"/>
                  </a:lnTo>
                  <a:lnTo>
                    <a:pt x="0" y="0"/>
                  </a:lnTo>
                  <a:close/>
                  <a:moveTo>
                    <a:pt x="0" y="0"/>
                  </a:moveTo>
                  <a:lnTo>
                    <a:pt x="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374" name="Freeform 46"/>
            <p:cNvSpPr>
              <a:spLocks noEditPoints="1"/>
            </p:cNvSpPr>
            <p:nvPr/>
          </p:nvSpPr>
          <p:spPr bwMode="auto">
            <a:xfrm>
              <a:off x="6365875" y="1692276"/>
              <a:ext cx="619125" cy="153988"/>
            </a:xfrm>
            <a:custGeom>
              <a:avLst/>
              <a:gdLst/>
              <a:ahLst/>
              <a:cxnLst>
                <a:cxn ang="0">
                  <a:pos x="0" y="0"/>
                </a:cxn>
                <a:cxn ang="0">
                  <a:pos x="195" y="48"/>
                </a:cxn>
                <a:cxn ang="0">
                  <a:pos x="390" y="0"/>
                </a:cxn>
                <a:cxn ang="0">
                  <a:pos x="390" y="48"/>
                </a:cxn>
                <a:cxn ang="0">
                  <a:pos x="195" y="97"/>
                </a:cxn>
                <a:cxn ang="0">
                  <a:pos x="0" y="48"/>
                </a:cxn>
                <a:cxn ang="0">
                  <a:pos x="0" y="0"/>
                </a:cxn>
                <a:cxn ang="0">
                  <a:pos x="0" y="0"/>
                </a:cxn>
                <a:cxn ang="0">
                  <a:pos x="0" y="0"/>
                </a:cxn>
              </a:cxnLst>
              <a:rect l="0" t="0" r="r" b="b"/>
              <a:pathLst>
                <a:path w="390" h="97">
                  <a:moveTo>
                    <a:pt x="0" y="0"/>
                  </a:moveTo>
                  <a:lnTo>
                    <a:pt x="195" y="48"/>
                  </a:lnTo>
                  <a:lnTo>
                    <a:pt x="390" y="0"/>
                  </a:lnTo>
                  <a:lnTo>
                    <a:pt x="390" y="48"/>
                  </a:lnTo>
                  <a:lnTo>
                    <a:pt x="195" y="97"/>
                  </a:lnTo>
                  <a:lnTo>
                    <a:pt x="0" y="48"/>
                  </a:lnTo>
                  <a:lnTo>
                    <a:pt x="0" y="0"/>
                  </a:lnTo>
                  <a:moveTo>
                    <a:pt x="0" y="0"/>
                  </a:move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375" name="Freeform 47"/>
            <p:cNvSpPr>
              <a:spLocks noEditPoints="1"/>
            </p:cNvSpPr>
            <p:nvPr/>
          </p:nvSpPr>
          <p:spPr bwMode="auto">
            <a:xfrm>
              <a:off x="6365875" y="1458913"/>
              <a:ext cx="619125" cy="233363"/>
            </a:xfrm>
            <a:custGeom>
              <a:avLst/>
              <a:gdLst/>
              <a:ahLst/>
              <a:cxnLst>
                <a:cxn ang="0">
                  <a:pos x="0" y="48"/>
                </a:cxn>
                <a:cxn ang="0">
                  <a:pos x="195" y="0"/>
                </a:cxn>
                <a:cxn ang="0">
                  <a:pos x="390" y="48"/>
                </a:cxn>
                <a:cxn ang="0">
                  <a:pos x="390" y="96"/>
                </a:cxn>
                <a:cxn ang="0">
                  <a:pos x="195" y="147"/>
                </a:cxn>
                <a:cxn ang="0">
                  <a:pos x="0" y="96"/>
                </a:cxn>
                <a:cxn ang="0">
                  <a:pos x="0" y="48"/>
                </a:cxn>
                <a:cxn ang="0">
                  <a:pos x="0" y="48"/>
                </a:cxn>
                <a:cxn ang="0">
                  <a:pos x="0" y="48"/>
                </a:cxn>
              </a:cxnLst>
              <a:rect l="0" t="0" r="r" b="b"/>
              <a:pathLst>
                <a:path w="390" h="147">
                  <a:moveTo>
                    <a:pt x="0" y="48"/>
                  </a:moveTo>
                  <a:lnTo>
                    <a:pt x="195" y="0"/>
                  </a:lnTo>
                  <a:lnTo>
                    <a:pt x="390" y="48"/>
                  </a:lnTo>
                  <a:lnTo>
                    <a:pt x="390" y="96"/>
                  </a:lnTo>
                  <a:lnTo>
                    <a:pt x="195" y="147"/>
                  </a:lnTo>
                  <a:lnTo>
                    <a:pt x="0" y="96"/>
                  </a:lnTo>
                  <a:lnTo>
                    <a:pt x="0" y="48"/>
                  </a:lnTo>
                  <a:close/>
                  <a:moveTo>
                    <a:pt x="0" y="48"/>
                  </a:moveTo>
                  <a:lnTo>
                    <a:pt x="0" y="4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376" name="Freeform 48"/>
            <p:cNvSpPr>
              <a:spLocks noEditPoints="1"/>
            </p:cNvSpPr>
            <p:nvPr/>
          </p:nvSpPr>
          <p:spPr bwMode="auto">
            <a:xfrm>
              <a:off x="6365875" y="1458913"/>
              <a:ext cx="619125" cy="233363"/>
            </a:xfrm>
            <a:custGeom>
              <a:avLst/>
              <a:gdLst/>
              <a:ahLst/>
              <a:cxnLst>
                <a:cxn ang="0">
                  <a:pos x="0" y="48"/>
                </a:cxn>
                <a:cxn ang="0">
                  <a:pos x="195" y="0"/>
                </a:cxn>
                <a:cxn ang="0">
                  <a:pos x="390" y="48"/>
                </a:cxn>
                <a:cxn ang="0">
                  <a:pos x="390" y="96"/>
                </a:cxn>
                <a:cxn ang="0">
                  <a:pos x="195" y="147"/>
                </a:cxn>
                <a:cxn ang="0">
                  <a:pos x="0" y="96"/>
                </a:cxn>
                <a:cxn ang="0">
                  <a:pos x="0" y="48"/>
                </a:cxn>
                <a:cxn ang="0">
                  <a:pos x="0" y="48"/>
                </a:cxn>
                <a:cxn ang="0">
                  <a:pos x="0" y="48"/>
                </a:cxn>
              </a:cxnLst>
              <a:rect l="0" t="0" r="r" b="b"/>
              <a:pathLst>
                <a:path w="390" h="147">
                  <a:moveTo>
                    <a:pt x="0" y="48"/>
                  </a:moveTo>
                  <a:lnTo>
                    <a:pt x="195" y="0"/>
                  </a:lnTo>
                  <a:lnTo>
                    <a:pt x="390" y="48"/>
                  </a:lnTo>
                  <a:lnTo>
                    <a:pt x="390" y="96"/>
                  </a:lnTo>
                  <a:lnTo>
                    <a:pt x="195" y="147"/>
                  </a:lnTo>
                  <a:lnTo>
                    <a:pt x="0" y="96"/>
                  </a:lnTo>
                  <a:lnTo>
                    <a:pt x="0" y="48"/>
                  </a:lnTo>
                  <a:moveTo>
                    <a:pt x="0" y="48"/>
                  </a:moveTo>
                  <a:lnTo>
                    <a:pt x="0" y="48"/>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grpSp>
      <p:grpSp>
        <p:nvGrpSpPr>
          <p:cNvPr id="377" name="Group 121"/>
          <p:cNvGrpSpPr/>
          <p:nvPr/>
        </p:nvGrpSpPr>
        <p:grpSpPr>
          <a:xfrm>
            <a:off x="4196688" y="3372373"/>
            <a:ext cx="456674" cy="456674"/>
            <a:chOff x="6365875" y="2117725"/>
            <a:chExt cx="711201" cy="711201"/>
          </a:xfrm>
          <a:solidFill>
            <a:schemeClr val="bg1"/>
          </a:solidFill>
        </p:grpSpPr>
        <p:sp>
          <p:nvSpPr>
            <p:cNvPr id="378" name="Freeform 52"/>
            <p:cNvSpPr>
              <a:spLocks noEditPoints="1"/>
            </p:cNvSpPr>
            <p:nvPr/>
          </p:nvSpPr>
          <p:spPr bwMode="auto">
            <a:xfrm>
              <a:off x="6861175" y="2117725"/>
              <a:ext cx="19050" cy="82550"/>
            </a:xfrm>
            <a:custGeom>
              <a:avLst/>
              <a:gdLst/>
              <a:ahLst/>
              <a:cxnLst>
                <a:cxn ang="0">
                  <a:pos x="3" y="22"/>
                </a:cxn>
                <a:cxn ang="0">
                  <a:pos x="5" y="19"/>
                </a:cxn>
                <a:cxn ang="0">
                  <a:pos x="5" y="3"/>
                </a:cxn>
                <a:cxn ang="0">
                  <a:pos x="3" y="0"/>
                </a:cxn>
                <a:cxn ang="0">
                  <a:pos x="0" y="3"/>
                </a:cxn>
                <a:cxn ang="0">
                  <a:pos x="0" y="19"/>
                </a:cxn>
                <a:cxn ang="0">
                  <a:pos x="3" y="22"/>
                </a:cxn>
                <a:cxn ang="0">
                  <a:pos x="3" y="22"/>
                </a:cxn>
                <a:cxn ang="0">
                  <a:pos x="3" y="22"/>
                </a:cxn>
              </a:cxnLst>
              <a:rect l="0" t="0" r="r" b="b"/>
              <a:pathLst>
                <a:path w="5" h="22">
                  <a:moveTo>
                    <a:pt x="3" y="22"/>
                  </a:moveTo>
                  <a:cubicBezTo>
                    <a:pt x="4" y="22"/>
                    <a:pt x="5" y="21"/>
                    <a:pt x="5" y="19"/>
                  </a:cubicBezTo>
                  <a:cubicBezTo>
                    <a:pt x="5" y="3"/>
                    <a:pt x="5" y="3"/>
                    <a:pt x="5" y="3"/>
                  </a:cubicBezTo>
                  <a:cubicBezTo>
                    <a:pt x="5" y="1"/>
                    <a:pt x="4" y="0"/>
                    <a:pt x="3" y="0"/>
                  </a:cubicBezTo>
                  <a:cubicBezTo>
                    <a:pt x="1" y="0"/>
                    <a:pt x="0" y="1"/>
                    <a:pt x="0" y="3"/>
                  </a:cubicBezTo>
                  <a:cubicBezTo>
                    <a:pt x="0" y="19"/>
                    <a:pt x="0" y="19"/>
                    <a:pt x="0" y="19"/>
                  </a:cubicBezTo>
                  <a:cubicBezTo>
                    <a:pt x="0" y="21"/>
                    <a:pt x="1" y="22"/>
                    <a:pt x="3" y="22"/>
                  </a:cubicBezTo>
                  <a:close/>
                  <a:moveTo>
                    <a:pt x="3" y="22"/>
                  </a:moveTo>
                  <a:cubicBezTo>
                    <a:pt x="3" y="22"/>
                    <a:pt x="3" y="22"/>
                    <a:pt x="3" y="22"/>
                  </a:cubicBez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379" name="Freeform 53"/>
            <p:cNvSpPr>
              <a:spLocks noEditPoints="1"/>
            </p:cNvSpPr>
            <p:nvPr/>
          </p:nvSpPr>
          <p:spPr bwMode="auto">
            <a:xfrm>
              <a:off x="6804025" y="2117725"/>
              <a:ext cx="19050" cy="82550"/>
            </a:xfrm>
            <a:custGeom>
              <a:avLst/>
              <a:gdLst/>
              <a:ahLst/>
              <a:cxnLst>
                <a:cxn ang="0">
                  <a:pos x="2" y="22"/>
                </a:cxn>
                <a:cxn ang="0">
                  <a:pos x="5" y="19"/>
                </a:cxn>
                <a:cxn ang="0">
                  <a:pos x="5" y="3"/>
                </a:cxn>
                <a:cxn ang="0">
                  <a:pos x="2" y="0"/>
                </a:cxn>
                <a:cxn ang="0">
                  <a:pos x="0" y="3"/>
                </a:cxn>
                <a:cxn ang="0">
                  <a:pos x="0" y="19"/>
                </a:cxn>
                <a:cxn ang="0">
                  <a:pos x="2" y="22"/>
                </a:cxn>
                <a:cxn ang="0">
                  <a:pos x="2" y="22"/>
                </a:cxn>
                <a:cxn ang="0">
                  <a:pos x="2" y="22"/>
                </a:cxn>
              </a:cxnLst>
              <a:rect l="0" t="0" r="r" b="b"/>
              <a:pathLst>
                <a:path w="5" h="22">
                  <a:moveTo>
                    <a:pt x="2" y="22"/>
                  </a:moveTo>
                  <a:cubicBezTo>
                    <a:pt x="4" y="22"/>
                    <a:pt x="5" y="21"/>
                    <a:pt x="5" y="19"/>
                  </a:cubicBezTo>
                  <a:cubicBezTo>
                    <a:pt x="5" y="3"/>
                    <a:pt x="5" y="3"/>
                    <a:pt x="5" y="3"/>
                  </a:cubicBezTo>
                  <a:cubicBezTo>
                    <a:pt x="5" y="1"/>
                    <a:pt x="4" y="0"/>
                    <a:pt x="2" y="0"/>
                  </a:cubicBezTo>
                  <a:cubicBezTo>
                    <a:pt x="1" y="0"/>
                    <a:pt x="0" y="1"/>
                    <a:pt x="0" y="3"/>
                  </a:cubicBezTo>
                  <a:cubicBezTo>
                    <a:pt x="0" y="19"/>
                    <a:pt x="0" y="19"/>
                    <a:pt x="0" y="19"/>
                  </a:cubicBezTo>
                  <a:cubicBezTo>
                    <a:pt x="0" y="21"/>
                    <a:pt x="1" y="22"/>
                    <a:pt x="2" y="22"/>
                  </a:cubicBezTo>
                  <a:close/>
                  <a:moveTo>
                    <a:pt x="2" y="22"/>
                  </a:moveTo>
                  <a:cubicBezTo>
                    <a:pt x="2" y="22"/>
                    <a:pt x="2" y="22"/>
                    <a:pt x="2" y="22"/>
                  </a:cubicBez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380" name="Freeform 54"/>
            <p:cNvSpPr>
              <a:spLocks noEditPoints="1"/>
            </p:cNvSpPr>
            <p:nvPr/>
          </p:nvSpPr>
          <p:spPr bwMode="auto">
            <a:xfrm>
              <a:off x="6742113" y="2117725"/>
              <a:ext cx="23813" cy="82550"/>
            </a:xfrm>
            <a:custGeom>
              <a:avLst/>
              <a:gdLst/>
              <a:ahLst/>
              <a:cxnLst>
                <a:cxn ang="0">
                  <a:pos x="3" y="22"/>
                </a:cxn>
                <a:cxn ang="0">
                  <a:pos x="6" y="19"/>
                </a:cxn>
                <a:cxn ang="0">
                  <a:pos x="6" y="3"/>
                </a:cxn>
                <a:cxn ang="0">
                  <a:pos x="3" y="0"/>
                </a:cxn>
                <a:cxn ang="0">
                  <a:pos x="0" y="3"/>
                </a:cxn>
                <a:cxn ang="0">
                  <a:pos x="0" y="19"/>
                </a:cxn>
                <a:cxn ang="0">
                  <a:pos x="3" y="22"/>
                </a:cxn>
                <a:cxn ang="0">
                  <a:pos x="3" y="22"/>
                </a:cxn>
                <a:cxn ang="0">
                  <a:pos x="3" y="22"/>
                </a:cxn>
              </a:cxnLst>
              <a:rect l="0" t="0" r="r" b="b"/>
              <a:pathLst>
                <a:path w="6" h="22">
                  <a:moveTo>
                    <a:pt x="3" y="22"/>
                  </a:moveTo>
                  <a:cubicBezTo>
                    <a:pt x="5" y="22"/>
                    <a:pt x="6" y="21"/>
                    <a:pt x="6" y="19"/>
                  </a:cubicBezTo>
                  <a:cubicBezTo>
                    <a:pt x="6" y="3"/>
                    <a:pt x="6" y="3"/>
                    <a:pt x="6" y="3"/>
                  </a:cubicBezTo>
                  <a:cubicBezTo>
                    <a:pt x="6" y="1"/>
                    <a:pt x="5" y="0"/>
                    <a:pt x="3" y="0"/>
                  </a:cubicBezTo>
                  <a:cubicBezTo>
                    <a:pt x="1" y="0"/>
                    <a:pt x="0" y="1"/>
                    <a:pt x="0" y="3"/>
                  </a:cubicBezTo>
                  <a:cubicBezTo>
                    <a:pt x="0" y="19"/>
                    <a:pt x="0" y="19"/>
                    <a:pt x="0" y="19"/>
                  </a:cubicBezTo>
                  <a:cubicBezTo>
                    <a:pt x="0" y="21"/>
                    <a:pt x="1" y="22"/>
                    <a:pt x="3" y="22"/>
                  </a:cubicBezTo>
                  <a:close/>
                  <a:moveTo>
                    <a:pt x="3" y="22"/>
                  </a:moveTo>
                  <a:cubicBezTo>
                    <a:pt x="3" y="22"/>
                    <a:pt x="3" y="22"/>
                    <a:pt x="3" y="22"/>
                  </a:cubicBez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381" name="Freeform 55"/>
            <p:cNvSpPr>
              <a:spLocks noEditPoints="1"/>
            </p:cNvSpPr>
            <p:nvPr/>
          </p:nvSpPr>
          <p:spPr bwMode="auto">
            <a:xfrm>
              <a:off x="6684963" y="2117725"/>
              <a:ext cx="23813" cy="82550"/>
            </a:xfrm>
            <a:custGeom>
              <a:avLst/>
              <a:gdLst/>
              <a:ahLst/>
              <a:cxnLst>
                <a:cxn ang="0">
                  <a:pos x="3" y="22"/>
                </a:cxn>
                <a:cxn ang="0">
                  <a:pos x="6" y="19"/>
                </a:cxn>
                <a:cxn ang="0">
                  <a:pos x="6" y="3"/>
                </a:cxn>
                <a:cxn ang="0">
                  <a:pos x="3" y="0"/>
                </a:cxn>
                <a:cxn ang="0">
                  <a:pos x="0" y="3"/>
                </a:cxn>
                <a:cxn ang="0">
                  <a:pos x="0" y="19"/>
                </a:cxn>
                <a:cxn ang="0">
                  <a:pos x="3" y="22"/>
                </a:cxn>
                <a:cxn ang="0">
                  <a:pos x="3" y="22"/>
                </a:cxn>
                <a:cxn ang="0">
                  <a:pos x="3" y="22"/>
                </a:cxn>
              </a:cxnLst>
              <a:rect l="0" t="0" r="r" b="b"/>
              <a:pathLst>
                <a:path w="6" h="22">
                  <a:moveTo>
                    <a:pt x="3" y="22"/>
                  </a:moveTo>
                  <a:cubicBezTo>
                    <a:pt x="4" y="22"/>
                    <a:pt x="6" y="21"/>
                    <a:pt x="6" y="19"/>
                  </a:cubicBezTo>
                  <a:cubicBezTo>
                    <a:pt x="6" y="3"/>
                    <a:pt x="6" y="3"/>
                    <a:pt x="6" y="3"/>
                  </a:cubicBezTo>
                  <a:cubicBezTo>
                    <a:pt x="6" y="1"/>
                    <a:pt x="4" y="0"/>
                    <a:pt x="3" y="0"/>
                  </a:cubicBezTo>
                  <a:cubicBezTo>
                    <a:pt x="1" y="0"/>
                    <a:pt x="0" y="1"/>
                    <a:pt x="0" y="3"/>
                  </a:cubicBezTo>
                  <a:cubicBezTo>
                    <a:pt x="0" y="19"/>
                    <a:pt x="0" y="19"/>
                    <a:pt x="0" y="19"/>
                  </a:cubicBezTo>
                  <a:cubicBezTo>
                    <a:pt x="0" y="21"/>
                    <a:pt x="1" y="22"/>
                    <a:pt x="3" y="22"/>
                  </a:cubicBezTo>
                  <a:close/>
                  <a:moveTo>
                    <a:pt x="3" y="22"/>
                  </a:moveTo>
                  <a:cubicBezTo>
                    <a:pt x="3" y="22"/>
                    <a:pt x="3" y="22"/>
                    <a:pt x="3" y="22"/>
                  </a:cubicBez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382" name="Freeform 56"/>
            <p:cNvSpPr>
              <a:spLocks noEditPoints="1"/>
            </p:cNvSpPr>
            <p:nvPr/>
          </p:nvSpPr>
          <p:spPr bwMode="auto">
            <a:xfrm>
              <a:off x="6632575" y="2117725"/>
              <a:ext cx="22225" cy="82550"/>
            </a:xfrm>
            <a:custGeom>
              <a:avLst/>
              <a:gdLst/>
              <a:ahLst/>
              <a:cxnLst>
                <a:cxn ang="0">
                  <a:pos x="3" y="22"/>
                </a:cxn>
                <a:cxn ang="0">
                  <a:pos x="6" y="19"/>
                </a:cxn>
                <a:cxn ang="0">
                  <a:pos x="6" y="3"/>
                </a:cxn>
                <a:cxn ang="0">
                  <a:pos x="3" y="0"/>
                </a:cxn>
                <a:cxn ang="0">
                  <a:pos x="0" y="3"/>
                </a:cxn>
                <a:cxn ang="0">
                  <a:pos x="0" y="19"/>
                </a:cxn>
                <a:cxn ang="0">
                  <a:pos x="3" y="22"/>
                </a:cxn>
                <a:cxn ang="0">
                  <a:pos x="3" y="22"/>
                </a:cxn>
                <a:cxn ang="0">
                  <a:pos x="3" y="22"/>
                </a:cxn>
              </a:cxnLst>
              <a:rect l="0" t="0" r="r" b="b"/>
              <a:pathLst>
                <a:path w="6" h="22">
                  <a:moveTo>
                    <a:pt x="3" y="22"/>
                  </a:moveTo>
                  <a:cubicBezTo>
                    <a:pt x="4" y="22"/>
                    <a:pt x="6" y="21"/>
                    <a:pt x="6" y="19"/>
                  </a:cubicBezTo>
                  <a:cubicBezTo>
                    <a:pt x="6" y="3"/>
                    <a:pt x="6" y="3"/>
                    <a:pt x="6" y="3"/>
                  </a:cubicBezTo>
                  <a:cubicBezTo>
                    <a:pt x="6" y="1"/>
                    <a:pt x="4" y="0"/>
                    <a:pt x="3" y="0"/>
                  </a:cubicBezTo>
                  <a:cubicBezTo>
                    <a:pt x="1" y="0"/>
                    <a:pt x="0" y="1"/>
                    <a:pt x="0" y="3"/>
                  </a:cubicBezTo>
                  <a:cubicBezTo>
                    <a:pt x="0" y="19"/>
                    <a:pt x="0" y="19"/>
                    <a:pt x="0" y="19"/>
                  </a:cubicBezTo>
                  <a:cubicBezTo>
                    <a:pt x="0" y="21"/>
                    <a:pt x="1" y="22"/>
                    <a:pt x="3" y="22"/>
                  </a:cubicBezTo>
                  <a:close/>
                  <a:moveTo>
                    <a:pt x="3" y="22"/>
                  </a:moveTo>
                  <a:cubicBezTo>
                    <a:pt x="3" y="22"/>
                    <a:pt x="3" y="22"/>
                    <a:pt x="3" y="22"/>
                  </a:cubicBez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383" name="Freeform 57"/>
            <p:cNvSpPr>
              <a:spLocks noEditPoints="1"/>
            </p:cNvSpPr>
            <p:nvPr/>
          </p:nvSpPr>
          <p:spPr bwMode="auto">
            <a:xfrm>
              <a:off x="6575425" y="2117725"/>
              <a:ext cx="19050" cy="82550"/>
            </a:xfrm>
            <a:custGeom>
              <a:avLst/>
              <a:gdLst/>
              <a:ahLst/>
              <a:cxnLst>
                <a:cxn ang="0">
                  <a:pos x="3" y="22"/>
                </a:cxn>
                <a:cxn ang="0">
                  <a:pos x="5" y="19"/>
                </a:cxn>
                <a:cxn ang="0">
                  <a:pos x="5" y="3"/>
                </a:cxn>
                <a:cxn ang="0">
                  <a:pos x="3" y="0"/>
                </a:cxn>
                <a:cxn ang="0">
                  <a:pos x="0" y="3"/>
                </a:cxn>
                <a:cxn ang="0">
                  <a:pos x="0" y="19"/>
                </a:cxn>
                <a:cxn ang="0">
                  <a:pos x="3" y="22"/>
                </a:cxn>
                <a:cxn ang="0">
                  <a:pos x="3" y="22"/>
                </a:cxn>
                <a:cxn ang="0">
                  <a:pos x="3" y="22"/>
                </a:cxn>
              </a:cxnLst>
              <a:rect l="0" t="0" r="r" b="b"/>
              <a:pathLst>
                <a:path w="5" h="22">
                  <a:moveTo>
                    <a:pt x="3" y="22"/>
                  </a:moveTo>
                  <a:cubicBezTo>
                    <a:pt x="4" y="22"/>
                    <a:pt x="5" y="21"/>
                    <a:pt x="5" y="19"/>
                  </a:cubicBezTo>
                  <a:cubicBezTo>
                    <a:pt x="5" y="3"/>
                    <a:pt x="5" y="3"/>
                    <a:pt x="5" y="3"/>
                  </a:cubicBezTo>
                  <a:cubicBezTo>
                    <a:pt x="5" y="1"/>
                    <a:pt x="4" y="0"/>
                    <a:pt x="3" y="0"/>
                  </a:cubicBezTo>
                  <a:cubicBezTo>
                    <a:pt x="1" y="0"/>
                    <a:pt x="0" y="1"/>
                    <a:pt x="0" y="3"/>
                  </a:cubicBezTo>
                  <a:cubicBezTo>
                    <a:pt x="0" y="19"/>
                    <a:pt x="0" y="19"/>
                    <a:pt x="0" y="19"/>
                  </a:cubicBezTo>
                  <a:cubicBezTo>
                    <a:pt x="0" y="21"/>
                    <a:pt x="1" y="22"/>
                    <a:pt x="3" y="22"/>
                  </a:cubicBezTo>
                  <a:close/>
                  <a:moveTo>
                    <a:pt x="3" y="22"/>
                  </a:moveTo>
                  <a:cubicBezTo>
                    <a:pt x="3" y="22"/>
                    <a:pt x="3" y="22"/>
                    <a:pt x="3" y="22"/>
                  </a:cubicBez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384" name="Freeform 58"/>
            <p:cNvSpPr>
              <a:spLocks noEditPoints="1"/>
            </p:cNvSpPr>
            <p:nvPr/>
          </p:nvSpPr>
          <p:spPr bwMode="auto">
            <a:xfrm>
              <a:off x="6365875" y="2311400"/>
              <a:ext cx="84138" cy="19050"/>
            </a:xfrm>
            <a:custGeom>
              <a:avLst/>
              <a:gdLst/>
              <a:ahLst/>
              <a:cxnLst>
                <a:cxn ang="0">
                  <a:pos x="19" y="0"/>
                </a:cxn>
                <a:cxn ang="0">
                  <a:pos x="3" y="0"/>
                </a:cxn>
                <a:cxn ang="0">
                  <a:pos x="0" y="3"/>
                </a:cxn>
                <a:cxn ang="0">
                  <a:pos x="3" y="5"/>
                </a:cxn>
                <a:cxn ang="0">
                  <a:pos x="19" y="5"/>
                </a:cxn>
                <a:cxn ang="0">
                  <a:pos x="22" y="3"/>
                </a:cxn>
                <a:cxn ang="0">
                  <a:pos x="19" y="0"/>
                </a:cxn>
                <a:cxn ang="0">
                  <a:pos x="19" y="0"/>
                </a:cxn>
                <a:cxn ang="0">
                  <a:pos x="19" y="0"/>
                </a:cxn>
              </a:cxnLst>
              <a:rect l="0" t="0" r="r" b="b"/>
              <a:pathLst>
                <a:path w="22" h="5">
                  <a:moveTo>
                    <a:pt x="19" y="0"/>
                  </a:moveTo>
                  <a:cubicBezTo>
                    <a:pt x="3" y="0"/>
                    <a:pt x="3" y="0"/>
                    <a:pt x="3" y="0"/>
                  </a:cubicBezTo>
                  <a:cubicBezTo>
                    <a:pt x="1" y="0"/>
                    <a:pt x="0" y="1"/>
                    <a:pt x="0" y="3"/>
                  </a:cubicBezTo>
                  <a:cubicBezTo>
                    <a:pt x="0" y="4"/>
                    <a:pt x="1" y="5"/>
                    <a:pt x="3" y="5"/>
                  </a:cubicBezTo>
                  <a:cubicBezTo>
                    <a:pt x="19" y="5"/>
                    <a:pt x="19" y="5"/>
                    <a:pt x="19" y="5"/>
                  </a:cubicBezTo>
                  <a:cubicBezTo>
                    <a:pt x="21" y="5"/>
                    <a:pt x="22" y="4"/>
                    <a:pt x="22" y="3"/>
                  </a:cubicBezTo>
                  <a:cubicBezTo>
                    <a:pt x="22" y="1"/>
                    <a:pt x="21" y="0"/>
                    <a:pt x="19" y="0"/>
                  </a:cubicBezTo>
                  <a:close/>
                  <a:moveTo>
                    <a:pt x="19" y="0"/>
                  </a:moveTo>
                  <a:cubicBezTo>
                    <a:pt x="19" y="0"/>
                    <a:pt x="19" y="0"/>
                    <a:pt x="19" y="0"/>
                  </a:cubicBez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385" name="Freeform 59"/>
            <p:cNvSpPr>
              <a:spLocks noEditPoints="1"/>
            </p:cNvSpPr>
            <p:nvPr/>
          </p:nvSpPr>
          <p:spPr bwMode="auto">
            <a:xfrm>
              <a:off x="6365875" y="2368550"/>
              <a:ext cx="84138" cy="22225"/>
            </a:xfrm>
            <a:custGeom>
              <a:avLst/>
              <a:gdLst/>
              <a:ahLst/>
              <a:cxnLst>
                <a:cxn ang="0">
                  <a:pos x="19" y="0"/>
                </a:cxn>
                <a:cxn ang="0">
                  <a:pos x="3" y="0"/>
                </a:cxn>
                <a:cxn ang="0">
                  <a:pos x="0" y="3"/>
                </a:cxn>
                <a:cxn ang="0">
                  <a:pos x="3" y="6"/>
                </a:cxn>
                <a:cxn ang="0">
                  <a:pos x="19" y="6"/>
                </a:cxn>
                <a:cxn ang="0">
                  <a:pos x="22" y="3"/>
                </a:cxn>
                <a:cxn ang="0">
                  <a:pos x="19" y="0"/>
                </a:cxn>
                <a:cxn ang="0">
                  <a:pos x="19" y="0"/>
                </a:cxn>
                <a:cxn ang="0">
                  <a:pos x="19" y="0"/>
                </a:cxn>
              </a:cxnLst>
              <a:rect l="0" t="0" r="r" b="b"/>
              <a:pathLst>
                <a:path w="22" h="6">
                  <a:moveTo>
                    <a:pt x="19" y="0"/>
                  </a:moveTo>
                  <a:cubicBezTo>
                    <a:pt x="3" y="0"/>
                    <a:pt x="3" y="0"/>
                    <a:pt x="3" y="0"/>
                  </a:cubicBezTo>
                  <a:cubicBezTo>
                    <a:pt x="1" y="0"/>
                    <a:pt x="0" y="1"/>
                    <a:pt x="0" y="3"/>
                  </a:cubicBezTo>
                  <a:cubicBezTo>
                    <a:pt x="0" y="4"/>
                    <a:pt x="1" y="6"/>
                    <a:pt x="3" y="6"/>
                  </a:cubicBezTo>
                  <a:cubicBezTo>
                    <a:pt x="19" y="6"/>
                    <a:pt x="19" y="6"/>
                    <a:pt x="19" y="6"/>
                  </a:cubicBezTo>
                  <a:cubicBezTo>
                    <a:pt x="21" y="6"/>
                    <a:pt x="22" y="4"/>
                    <a:pt x="22" y="3"/>
                  </a:cubicBezTo>
                  <a:cubicBezTo>
                    <a:pt x="22" y="1"/>
                    <a:pt x="21" y="0"/>
                    <a:pt x="19" y="0"/>
                  </a:cubicBezTo>
                  <a:close/>
                  <a:moveTo>
                    <a:pt x="19" y="0"/>
                  </a:moveTo>
                  <a:cubicBezTo>
                    <a:pt x="19" y="0"/>
                    <a:pt x="19" y="0"/>
                    <a:pt x="19" y="0"/>
                  </a:cubicBez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386" name="Freeform 60"/>
            <p:cNvSpPr>
              <a:spLocks noEditPoints="1"/>
            </p:cNvSpPr>
            <p:nvPr/>
          </p:nvSpPr>
          <p:spPr bwMode="auto">
            <a:xfrm>
              <a:off x="6365875" y="2428875"/>
              <a:ext cx="84138" cy="19050"/>
            </a:xfrm>
            <a:custGeom>
              <a:avLst/>
              <a:gdLst/>
              <a:ahLst/>
              <a:cxnLst>
                <a:cxn ang="0">
                  <a:pos x="19" y="0"/>
                </a:cxn>
                <a:cxn ang="0">
                  <a:pos x="3" y="0"/>
                </a:cxn>
                <a:cxn ang="0">
                  <a:pos x="0" y="2"/>
                </a:cxn>
                <a:cxn ang="0">
                  <a:pos x="3" y="5"/>
                </a:cxn>
                <a:cxn ang="0">
                  <a:pos x="19" y="5"/>
                </a:cxn>
                <a:cxn ang="0">
                  <a:pos x="22" y="2"/>
                </a:cxn>
                <a:cxn ang="0">
                  <a:pos x="19" y="0"/>
                </a:cxn>
                <a:cxn ang="0">
                  <a:pos x="19" y="0"/>
                </a:cxn>
                <a:cxn ang="0">
                  <a:pos x="19" y="0"/>
                </a:cxn>
              </a:cxnLst>
              <a:rect l="0" t="0" r="r" b="b"/>
              <a:pathLst>
                <a:path w="22" h="5">
                  <a:moveTo>
                    <a:pt x="19" y="0"/>
                  </a:moveTo>
                  <a:cubicBezTo>
                    <a:pt x="3" y="0"/>
                    <a:pt x="3" y="0"/>
                    <a:pt x="3" y="0"/>
                  </a:cubicBezTo>
                  <a:cubicBezTo>
                    <a:pt x="1" y="0"/>
                    <a:pt x="0" y="1"/>
                    <a:pt x="0" y="2"/>
                  </a:cubicBezTo>
                  <a:cubicBezTo>
                    <a:pt x="0" y="4"/>
                    <a:pt x="1" y="5"/>
                    <a:pt x="3" y="5"/>
                  </a:cubicBezTo>
                  <a:cubicBezTo>
                    <a:pt x="19" y="5"/>
                    <a:pt x="19" y="5"/>
                    <a:pt x="19" y="5"/>
                  </a:cubicBezTo>
                  <a:cubicBezTo>
                    <a:pt x="21" y="5"/>
                    <a:pt x="22" y="4"/>
                    <a:pt x="22" y="2"/>
                  </a:cubicBezTo>
                  <a:cubicBezTo>
                    <a:pt x="22" y="1"/>
                    <a:pt x="21" y="0"/>
                    <a:pt x="19" y="0"/>
                  </a:cubicBezTo>
                  <a:close/>
                  <a:moveTo>
                    <a:pt x="19" y="0"/>
                  </a:moveTo>
                  <a:cubicBezTo>
                    <a:pt x="19" y="0"/>
                    <a:pt x="19" y="0"/>
                    <a:pt x="19" y="0"/>
                  </a:cubicBez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387" name="Freeform 61"/>
            <p:cNvSpPr>
              <a:spLocks noEditPoints="1"/>
            </p:cNvSpPr>
            <p:nvPr/>
          </p:nvSpPr>
          <p:spPr bwMode="auto">
            <a:xfrm>
              <a:off x="6365875" y="2486025"/>
              <a:ext cx="84138" cy="19050"/>
            </a:xfrm>
            <a:custGeom>
              <a:avLst/>
              <a:gdLst/>
              <a:ahLst/>
              <a:cxnLst>
                <a:cxn ang="0">
                  <a:pos x="19" y="0"/>
                </a:cxn>
                <a:cxn ang="0">
                  <a:pos x="3" y="0"/>
                </a:cxn>
                <a:cxn ang="0">
                  <a:pos x="0" y="2"/>
                </a:cxn>
                <a:cxn ang="0">
                  <a:pos x="3" y="5"/>
                </a:cxn>
                <a:cxn ang="0">
                  <a:pos x="19" y="5"/>
                </a:cxn>
                <a:cxn ang="0">
                  <a:pos x="22" y="2"/>
                </a:cxn>
                <a:cxn ang="0">
                  <a:pos x="19" y="0"/>
                </a:cxn>
                <a:cxn ang="0">
                  <a:pos x="19" y="0"/>
                </a:cxn>
                <a:cxn ang="0">
                  <a:pos x="19" y="0"/>
                </a:cxn>
              </a:cxnLst>
              <a:rect l="0" t="0" r="r" b="b"/>
              <a:pathLst>
                <a:path w="22" h="5">
                  <a:moveTo>
                    <a:pt x="19" y="0"/>
                  </a:moveTo>
                  <a:cubicBezTo>
                    <a:pt x="3" y="0"/>
                    <a:pt x="3" y="0"/>
                    <a:pt x="3" y="0"/>
                  </a:cubicBezTo>
                  <a:cubicBezTo>
                    <a:pt x="1" y="0"/>
                    <a:pt x="0" y="1"/>
                    <a:pt x="0" y="2"/>
                  </a:cubicBezTo>
                  <a:cubicBezTo>
                    <a:pt x="0" y="4"/>
                    <a:pt x="1" y="5"/>
                    <a:pt x="3" y="5"/>
                  </a:cubicBezTo>
                  <a:cubicBezTo>
                    <a:pt x="19" y="5"/>
                    <a:pt x="19" y="5"/>
                    <a:pt x="19" y="5"/>
                  </a:cubicBezTo>
                  <a:cubicBezTo>
                    <a:pt x="21" y="5"/>
                    <a:pt x="22" y="4"/>
                    <a:pt x="22" y="2"/>
                  </a:cubicBezTo>
                  <a:cubicBezTo>
                    <a:pt x="22" y="1"/>
                    <a:pt x="21" y="0"/>
                    <a:pt x="19" y="0"/>
                  </a:cubicBezTo>
                  <a:close/>
                  <a:moveTo>
                    <a:pt x="19" y="0"/>
                  </a:moveTo>
                  <a:cubicBezTo>
                    <a:pt x="19" y="0"/>
                    <a:pt x="19" y="0"/>
                    <a:pt x="19" y="0"/>
                  </a:cubicBez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388" name="Freeform 62"/>
            <p:cNvSpPr>
              <a:spLocks noEditPoints="1"/>
            </p:cNvSpPr>
            <p:nvPr/>
          </p:nvSpPr>
          <p:spPr bwMode="auto">
            <a:xfrm>
              <a:off x="6365875" y="2540000"/>
              <a:ext cx="84138" cy="19050"/>
            </a:xfrm>
            <a:custGeom>
              <a:avLst/>
              <a:gdLst/>
              <a:ahLst/>
              <a:cxnLst>
                <a:cxn ang="0">
                  <a:pos x="19" y="0"/>
                </a:cxn>
                <a:cxn ang="0">
                  <a:pos x="3" y="0"/>
                </a:cxn>
                <a:cxn ang="0">
                  <a:pos x="0" y="2"/>
                </a:cxn>
                <a:cxn ang="0">
                  <a:pos x="3" y="5"/>
                </a:cxn>
                <a:cxn ang="0">
                  <a:pos x="19" y="5"/>
                </a:cxn>
                <a:cxn ang="0">
                  <a:pos x="22" y="2"/>
                </a:cxn>
                <a:cxn ang="0">
                  <a:pos x="19" y="0"/>
                </a:cxn>
                <a:cxn ang="0">
                  <a:pos x="19" y="0"/>
                </a:cxn>
                <a:cxn ang="0">
                  <a:pos x="19" y="0"/>
                </a:cxn>
              </a:cxnLst>
              <a:rect l="0" t="0" r="r" b="b"/>
              <a:pathLst>
                <a:path w="22" h="5">
                  <a:moveTo>
                    <a:pt x="19" y="0"/>
                  </a:moveTo>
                  <a:cubicBezTo>
                    <a:pt x="3" y="0"/>
                    <a:pt x="3" y="0"/>
                    <a:pt x="3" y="0"/>
                  </a:cubicBezTo>
                  <a:cubicBezTo>
                    <a:pt x="1" y="0"/>
                    <a:pt x="0" y="1"/>
                    <a:pt x="0" y="2"/>
                  </a:cubicBezTo>
                  <a:cubicBezTo>
                    <a:pt x="0" y="4"/>
                    <a:pt x="1" y="5"/>
                    <a:pt x="3" y="5"/>
                  </a:cubicBezTo>
                  <a:cubicBezTo>
                    <a:pt x="19" y="5"/>
                    <a:pt x="19" y="5"/>
                    <a:pt x="19" y="5"/>
                  </a:cubicBezTo>
                  <a:cubicBezTo>
                    <a:pt x="21" y="5"/>
                    <a:pt x="22" y="4"/>
                    <a:pt x="22" y="2"/>
                  </a:cubicBezTo>
                  <a:cubicBezTo>
                    <a:pt x="22" y="1"/>
                    <a:pt x="21" y="0"/>
                    <a:pt x="19" y="0"/>
                  </a:cubicBezTo>
                  <a:close/>
                  <a:moveTo>
                    <a:pt x="19" y="0"/>
                  </a:moveTo>
                  <a:cubicBezTo>
                    <a:pt x="19" y="0"/>
                    <a:pt x="19" y="0"/>
                    <a:pt x="19" y="0"/>
                  </a:cubicBez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389" name="Freeform 63"/>
            <p:cNvSpPr>
              <a:spLocks noEditPoints="1"/>
            </p:cNvSpPr>
            <p:nvPr/>
          </p:nvSpPr>
          <p:spPr bwMode="auto">
            <a:xfrm>
              <a:off x="6365875" y="2597150"/>
              <a:ext cx="84138" cy="19050"/>
            </a:xfrm>
            <a:custGeom>
              <a:avLst/>
              <a:gdLst/>
              <a:ahLst/>
              <a:cxnLst>
                <a:cxn ang="0">
                  <a:pos x="19" y="0"/>
                </a:cxn>
                <a:cxn ang="0">
                  <a:pos x="3" y="0"/>
                </a:cxn>
                <a:cxn ang="0">
                  <a:pos x="0" y="3"/>
                </a:cxn>
                <a:cxn ang="0">
                  <a:pos x="3" y="5"/>
                </a:cxn>
                <a:cxn ang="0">
                  <a:pos x="19" y="5"/>
                </a:cxn>
                <a:cxn ang="0">
                  <a:pos x="22" y="3"/>
                </a:cxn>
                <a:cxn ang="0">
                  <a:pos x="19" y="0"/>
                </a:cxn>
                <a:cxn ang="0">
                  <a:pos x="19" y="0"/>
                </a:cxn>
                <a:cxn ang="0">
                  <a:pos x="19" y="0"/>
                </a:cxn>
              </a:cxnLst>
              <a:rect l="0" t="0" r="r" b="b"/>
              <a:pathLst>
                <a:path w="22" h="5">
                  <a:moveTo>
                    <a:pt x="19" y="0"/>
                  </a:moveTo>
                  <a:cubicBezTo>
                    <a:pt x="3" y="0"/>
                    <a:pt x="3" y="0"/>
                    <a:pt x="3" y="0"/>
                  </a:cubicBezTo>
                  <a:cubicBezTo>
                    <a:pt x="1" y="0"/>
                    <a:pt x="0" y="1"/>
                    <a:pt x="0" y="3"/>
                  </a:cubicBezTo>
                  <a:cubicBezTo>
                    <a:pt x="0" y="4"/>
                    <a:pt x="1" y="5"/>
                    <a:pt x="3" y="5"/>
                  </a:cubicBezTo>
                  <a:cubicBezTo>
                    <a:pt x="19" y="5"/>
                    <a:pt x="19" y="5"/>
                    <a:pt x="19" y="5"/>
                  </a:cubicBezTo>
                  <a:cubicBezTo>
                    <a:pt x="21" y="5"/>
                    <a:pt x="22" y="4"/>
                    <a:pt x="22" y="3"/>
                  </a:cubicBezTo>
                  <a:cubicBezTo>
                    <a:pt x="22" y="1"/>
                    <a:pt x="21" y="0"/>
                    <a:pt x="19" y="0"/>
                  </a:cubicBezTo>
                  <a:close/>
                  <a:moveTo>
                    <a:pt x="19" y="0"/>
                  </a:moveTo>
                  <a:cubicBezTo>
                    <a:pt x="19" y="0"/>
                    <a:pt x="19" y="0"/>
                    <a:pt x="19" y="0"/>
                  </a:cubicBez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390" name="Freeform 64"/>
            <p:cNvSpPr>
              <a:spLocks noEditPoints="1"/>
            </p:cNvSpPr>
            <p:nvPr/>
          </p:nvSpPr>
          <p:spPr bwMode="auto">
            <a:xfrm>
              <a:off x="6861175" y="2741613"/>
              <a:ext cx="19050" cy="87313"/>
            </a:xfrm>
            <a:custGeom>
              <a:avLst/>
              <a:gdLst/>
              <a:ahLst/>
              <a:cxnLst>
                <a:cxn ang="0">
                  <a:pos x="3" y="0"/>
                </a:cxn>
                <a:cxn ang="0">
                  <a:pos x="0" y="3"/>
                </a:cxn>
                <a:cxn ang="0">
                  <a:pos x="0" y="20"/>
                </a:cxn>
                <a:cxn ang="0">
                  <a:pos x="3" y="23"/>
                </a:cxn>
                <a:cxn ang="0">
                  <a:pos x="5" y="20"/>
                </a:cxn>
                <a:cxn ang="0">
                  <a:pos x="5" y="3"/>
                </a:cxn>
                <a:cxn ang="0">
                  <a:pos x="3" y="0"/>
                </a:cxn>
                <a:cxn ang="0">
                  <a:pos x="3" y="0"/>
                </a:cxn>
                <a:cxn ang="0">
                  <a:pos x="3" y="0"/>
                </a:cxn>
              </a:cxnLst>
              <a:rect l="0" t="0" r="r" b="b"/>
              <a:pathLst>
                <a:path w="5" h="23">
                  <a:moveTo>
                    <a:pt x="3" y="0"/>
                  </a:moveTo>
                  <a:cubicBezTo>
                    <a:pt x="1" y="0"/>
                    <a:pt x="0" y="2"/>
                    <a:pt x="0" y="3"/>
                  </a:cubicBezTo>
                  <a:cubicBezTo>
                    <a:pt x="0" y="20"/>
                    <a:pt x="0" y="20"/>
                    <a:pt x="0" y="20"/>
                  </a:cubicBezTo>
                  <a:cubicBezTo>
                    <a:pt x="0" y="21"/>
                    <a:pt x="1" y="23"/>
                    <a:pt x="3" y="23"/>
                  </a:cubicBezTo>
                  <a:cubicBezTo>
                    <a:pt x="4" y="23"/>
                    <a:pt x="5" y="21"/>
                    <a:pt x="5" y="20"/>
                  </a:cubicBezTo>
                  <a:cubicBezTo>
                    <a:pt x="5" y="3"/>
                    <a:pt x="5" y="3"/>
                    <a:pt x="5" y="3"/>
                  </a:cubicBezTo>
                  <a:cubicBezTo>
                    <a:pt x="5" y="2"/>
                    <a:pt x="4" y="0"/>
                    <a:pt x="3" y="0"/>
                  </a:cubicBezTo>
                  <a:close/>
                  <a:moveTo>
                    <a:pt x="3" y="0"/>
                  </a:moveTo>
                  <a:cubicBezTo>
                    <a:pt x="3" y="0"/>
                    <a:pt x="3" y="0"/>
                    <a:pt x="3" y="0"/>
                  </a:cubicBez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391" name="Freeform 65"/>
            <p:cNvSpPr>
              <a:spLocks noEditPoints="1"/>
            </p:cNvSpPr>
            <p:nvPr/>
          </p:nvSpPr>
          <p:spPr bwMode="auto">
            <a:xfrm>
              <a:off x="6804025" y="2741613"/>
              <a:ext cx="19050" cy="87313"/>
            </a:xfrm>
            <a:custGeom>
              <a:avLst/>
              <a:gdLst/>
              <a:ahLst/>
              <a:cxnLst>
                <a:cxn ang="0">
                  <a:pos x="2" y="0"/>
                </a:cxn>
                <a:cxn ang="0">
                  <a:pos x="0" y="3"/>
                </a:cxn>
                <a:cxn ang="0">
                  <a:pos x="0" y="20"/>
                </a:cxn>
                <a:cxn ang="0">
                  <a:pos x="2" y="23"/>
                </a:cxn>
                <a:cxn ang="0">
                  <a:pos x="5" y="20"/>
                </a:cxn>
                <a:cxn ang="0">
                  <a:pos x="5" y="3"/>
                </a:cxn>
                <a:cxn ang="0">
                  <a:pos x="2" y="0"/>
                </a:cxn>
                <a:cxn ang="0">
                  <a:pos x="2" y="0"/>
                </a:cxn>
                <a:cxn ang="0">
                  <a:pos x="2" y="0"/>
                </a:cxn>
              </a:cxnLst>
              <a:rect l="0" t="0" r="r" b="b"/>
              <a:pathLst>
                <a:path w="5" h="23">
                  <a:moveTo>
                    <a:pt x="2" y="0"/>
                  </a:moveTo>
                  <a:cubicBezTo>
                    <a:pt x="1" y="0"/>
                    <a:pt x="0" y="2"/>
                    <a:pt x="0" y="3"/>
                  </a:cubicBezTo>
                  <a:cubicBezTo>
                    <a:pt x="0" y="20"/>
                    <a:pt x="0" y="20"/>
                    <a:pt x="0" y="20"/>
                  </a:cubicBezTo>
                  <a:cubicBezTo>
                    <a:pt x="0" y="21"/>
                    <a:pt x="1" y="23"/>
                    <a:pt x="2" y="23"/>
                  </a:cubicBezTo>
                  <a:cubicBezTo>
                    <a:pt x="4" y="23"/>
                    <a:pt x="5" y="21"/>
                    <a:pt x="5" y="20"/>
                  </a:cubicBezTo>
                  <a:cubicBezTo>
                    <a:pt x="5" y="3"/>
                    <a:pt x="5" y="3"/>
                    <a:pt x="5" y="3"/>
                  </a:cubicBezTo>
                  <a:cubicBezTo>
                    <a:pt x="5" y="2"/>
                    <a:pt x="4" y="0"/>
                    <a:pt x="2" y="0"/>
                  </a:cubicBezTo>
                  <a:close/>
                  <a:moveTo>
                    <a:pt x="2" y="0"/>
                  </a:moveTo>
                  <a:cubicBezTo>
                    <a:pt x="2" y="0"/>
                    <a:pt x="2" y="0"/>
                    <a:pt x="2" y="0"/>
                  </a:cubicBez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392" name="Freeform 66"/>
            <p:cNvSpPr>
              <a:spLocks noEditPoints="1"/>
            </p:cNvSpPr>
            <p:nvPr/>
          </p:nvSpPr>
          <p:spPr bwMode="auto">
            <a:xfrm>
              <a:off x="6742113" y="2741613"/>
              <a:ext cx="23813" cy="87313"/>
            </a:xfrm>
            <a:custGeom>
              <a:avLst/>
              <a:gdLst/>
              <a:ahLst/>
              <a:cxnLst>
                <a:cxn ang="0">
                  <a:pos x="3" y="0"/>
                </a:cxn>
                <a:cxn ang="0">
                  <a:pos x="0" y="3"/>
                </a:cxn>
                <a:cxn ang="0">
                  <a:pos x="0" y="20"/>
                </a:cxn>
                <a:cxn ang="0">
                  <a:pos x="3" y="23"/>
                </a:cxn>
                <a:cxn ang="0">
                  <a:pos x="6" y="20"/>
                </a:cxn>
                <a:cxn ang="0">
                  <a:pos x="6" y="3"/>
                </a:cxn>
                <a:cxn ang="0">
                  <a:pos x="3" y="0"/>
                </a:cxn>
                <a:cxn ang="0">
                  <a:pos x="3" y="0"/>
                </a:cxn>
                <a:cxn ang="0">
                  <a:pos x="3" y="0"/>
                </a:cxn>
              </a:cxnLst>
              <a:rect l="0" t="0" r="r" b="b"/>
              <a:pathLst>
                <a:path w="6" h="23">
                  <a:moveTo>
                    <a:pt x="3" y="0"/>
                  </a:moveTo>
                  <a:cubicBezTo>
                    <a:pt x="1" y="0"/>
                    <a:pt x="0" y="2"/>
                    <a:pt x="0" y="3"/>
                  </a:cubicBezTo>
                  <a:cubicBezTo>
                    <a:pt x="0" y="20"/>
                    <a:pt x="0" y="20"/>
                    <a:pt x="0" y="20"/>
                  </a:cubicBezTo>
                  <a:cubicBezTo>
                    <a:pt x="0" y="21"/>
                    <a:pt x="1" y="23"/>
                    <a:pt x="3" y="23"/>
                  </a:cubicBezTo>
                  <a:cubicBezTo>
                    <a:pt x="5" y="23"/>
                    <a:pt x="6" y="21"/>
                    <a:pt x="6" y="20"/>
                  </a:cubicBezTo>
                  <a:cubicBezTo>
                    <a:pt x="6" y="3"/>
                    <a:pt x="6" y="3"/>
                    <a:pt x="6" y="3"/>
                  </a:cubicBezTo>
                  <a:cubicBezTo>
                    <a:pt x="6" y="2"/>
                    <a:pt x="5" y="0"/>
                    <a:pt x="3" y="0"/>
                  </a:cubicBezTo>
                  <a:close/>
                  <a:moveTo>
                    <a:pt x="3" y="0"/>
                  </a:moveTo>
                  <a:cubicBezTo>
                    <a:pt x="3" y="0"/>
                    <a:pt x="3" y="0"/>
                    <a:pt x="3" y="0"/>
                  </a:cubicBez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393" name="Freeform 67"/>
            <p:cNvSpPr>
              <a:spLocks noEditPoints="1"/>
            </p:cNvSpPr>
            <p:nvPr/>
          </p:nvSpPr>
          <p:spPr bwMode="auto">
            <a:xfrm>
              <a:off x="6684963" y="2741613"/>
              <a:ext cx="23813" cy="87313"/>
            </a:xfrm>
            <a:custGeom>
              <a:avLst/>
              <a:gdLst/>
              <a:ahLst/>
              <a:cxnLst>
                <a:cxn ang="0">
                  <a:pos x="3" y="0"/>
                </a:cxn>
                <a:cxn ang="0">
                  <a:pos x="0" y="3"/>
                </a:cxn>
                <a:cxn ang="0">
                  <a:pos x="0" y="20"/>
                </a:cxn>
                <a:cxn ang="0">
                  <a:pos x="3" y="23"/>
                </a:cxn>
                <a:cxn ang="0">
                  <a:pos x="6" y="20"/>
                </a:cxn>
                <a:cxn ang="0">
                  <a:pos x="6" y="3"/>
                </a:cxn>
                <a:cxn ang="0">
                  <a:pos x="3" y="0"/>
                </a:cxn>
                <a:cxn ang="0">
                  <a:pos x="3" y="0"/>
                </a:cxn>
                <a:cxn ang="0">
                  <a:pos x="3" y="0"/>
                </a:cxn>
              </a:cxnLst>
              <a:rect l="0" t="0" r="r" b="b"/>
              <a:pathLst>
                <a:path w="6" h="23">
                  <a:moveTo>
                    <a:pt x="3" y="0"/>
                  </a:moveTo>
                  <a:cubicBezTo>
                    <a:pt x="1" y="0"/>
                    <a:pt x="0" y="2"/>
                    <a:pt x="0" y="3"/>
                  </a:cubicBezTo>
                  <a:cubicBezTo>
                    <a:pt x="0" y="20"/>
                    <a:pt x="0" y="20"/>
                    <a:pt x="0" y="20"/>
                  </a:cubicBezTo>
                  <a:cubicBezTo>
                    <a:pt x="0" y="21"/>
                    <a:pt x="1" y="23"/>
                    <a:pt x="3" y="23"/>
                  </a:cubicBezTo>
                  <a:cubicBezTo>
                    <a:pt x="4" y="23"/>
                    <a:pt x="6" y="21"/>
                    <a:pt x="6" y="20"/>
                  </a:cubicBezTo>
                  <a:cubicBezTo>
                    <a:pt x="6" y="3"/>
                    <a:pt x="6" y="3"/>
                    <a:pt x="6" y="3"/>
                  </a:cubicBezTo>
                  <a:cubicBezTo>
                    <a:pt x="6" y="2"/>
                    <a:pt x="4" y="0"/>
                    <a:pt x="3" y="0"/>
                  </a:cubicBezTo>
                  <a:close/>
                  <a:moveTo>
                    <a:pt x="3" y="0"/>
                  </a:moveTo>
                  <a:cubicBezTo>
                    <a:pt x="3" y="0"/>
                    <a:pt x="3" y="0"/>
                    <a:pt x="3" y="0"/>
                  </a:cubicBez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394" name="Freeform 68"/>
            <p:cNvSpPr>
              <a:spLocks noEditPoints="1"/>
            </p:cNvSpPr>
            <p:nvPr/>
          </p:nvSpPr>
          <p:spPr bwMode="auto">
            <a:xfrm>
              <a:off x="6632575" y="2741613"/>
              <a:ext cx="22225" cy="87313"/>
            </a:xfrm>
            <a:custGeom>
              <a:avLst/>
              <a:gdLst/>
              <a:ahLst/>
              <a:cxnLst>
                <a:cxn ang="0">
                  <a:pos x="3" y="0"/>
                </a:cxn>
                <a:cxn ang="0">
                  <a:pos x="0" y="3"/>
                </a:cxn>
                <a:cxn ang="0">
                  <a:pos x="0" y="20"/>
                </a:cxn>
                <a:cxn ang="0">
                  <a:pos x="3" y="23"/>
                </a:cxn>
                <a:cxn ang="0">
                  <a:pos x="6" y="20"/>
                </a:cxn>
                <a:cxn ang="0">
                  <a:pos x="6" y="3"/>
                </a:cxn>
                <a:cxn ang="0">
                  <a:pos x="3" y="0"/>
                </a:cxn>
                <a:cxn ang="0">
                  <a:pos x="3" y="0"/>
                </a:cxn>
                <a:cxn ang="0">
                  <a:pos x="3" y="0"/>
                </a:cxn>
              </a:cxnLst>
              <a:rect l="0" t="0" r="r" b="b"/>
              <a:pathLst>
                <a:path w="6" h="23">
                  <a:moveTo>
                    <a:pt x="3" y="0"/>
                  </a:moveTo>
                  <a:cubicBezTo>
                    <a:pt x="1" y="0"/>
                    <a:pt x="0" y="2"/>
                    <a:pt x="0" y="3"/>
                  </a:cubicBezTo>
                  <a:cubicBezTo>
                    <a:pt x="0" y="20"/>
                    <a:pt x="0" y="20"/>
                    <a:pt x="0" y="20"/>
                  </a:cubicBezTo>
                  <a:cubicBezTo>
                    <a:pt x="0" y="21"/>
                    <a:pt x="1" y="23"/>
                    <a:pt x="3" y="23"/>
                  </a:cubicBezTo>
                  <a:cubicBezTo>
                    <a:pt x="4" y="23"/>
                    <a:pt x="6" y="21"/>
                    <a:pt x="6" y="20"/>
                  </a:cubicBezTo>
                  <a:cubicBezTo>
                    <a:pt x="6" y="3"/>
                    <a:pt x="6" y="3"/>
                    <a:pt x="6" y="3"/>
                  </a:cubicBezTo>
                  <a:cubicBezTo>
                    <a:pt x="6" y="2"/>
                    <a:pt x="4" y="0"/>
                    <a:pt x="3" y="0"/>
                  </a:cubicBezTo>
                  <a:close/>
                  <a:moveTo>
                    <a:pt x="3" y="0"/>
                  </a:moveTo>
                  <a:cubicBezTo>
                    <a:pt x="3" y="0"/>
                    <a:pt x="3" y="0"/>
                    <a:pt x="3" y="0"/>
                  </a:cubicBez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395" name="Freeform 69"/>
            <p:cNvSpPr>
              <a:spLocks noEditPoints="1"/>
            </p:cNvSpPr>
            <p:nvPr/>
          </p:nvSpPr>
          <p:spPr bwMode="auto">
            <a:xfrm>
              <a:off x="6575425" y="2741613"/>
              <a:ext cx="19050" cy="87313"/>
            </a:xfrm>
            <a:custGeom>
              <a:avLst/>
              <a:gdLst/>
              <a:ahLst/>
              <a:cxnLst>
                <a:cxn ang="0">
                  <a:pos x="3" y="0"/>
                </a:cxn>
                <a:cxn ang="0">
                  <a:pos x="0" y="3"/>
                </a:cxn>
                <a:cxn ang="0">
                  <a:pos x="0" y="20"/>
                </a:cxn>
                <a:cxn ang="0">
                  <a:pos x="3" y="23"/>
                </a:cxn>
                <a:cxn ang="0">
                  <a:pos x="5" y="20"/>
                </a:cxn>
                <a:cxn ang="0">
                  <a:pos x="5" y="3"/>
                </a:cxn>
                <a:cxn ang="0">
                  <a:pos x="3" y="0"/>
                </a:cxn>
                <a:cxn ang="0">
                  <a:pos x="3" y="0"/>
                </a:cxn>
                <a:cxn ang="0">
                  <a:pos x="3" y="0"/>
                </a:cxn>
              </a:cxnLst>
              <a:rect l="0" t="0" r="r" b="b"/>
              <a:pathLst>
                <a:path w="5" h="23">
                  <a:moveTo>
                    <a:pt x="3" y="0"/>
                  </a:moveTo>
                  <a:cubicBezTo>
                    <a:pt x="1" y="0"/>
                    <a:pt x="0" y="2"/>
                    <a:pt x="0" y="3"/>
                  </a:cubicBezTo>
                  <a:cubicBezTo>
                    <a:pt x="0" y="20"/>
                    <a:pt x="0" y="20"/>
                    <a:pt x="0" y="20"/>
                  </a:cubicBezTo>
                  <a:cubicBezTo>
                    <a:pt x="0" y="21"/>
                    <a:pt x="1" y="23"/>
                    <a:pt x="3" y="23"/>
                  </a:cubicBezTo>
                  <a:cubicBezTo>
                    <a:pt x="4" y="23"/>
                    <a:pt x="5" y="21"/>
                    <a:pt x="5" y="20"/>
                  </a:cubicBezTo>
                  <a:cubicBezTo>
                    <a:pt x="5" y="3"/>
                    <a:pt x="5" y="3"/>
                    <a:pt x="5" y="3"/>
                  </a:cubicBezTo>
                  <a:cubicBezTo>
                    <a:pt x="5" y="2"/>
                    <a:pt x="4" y="0"/>
                    <a:pt x="3" y="0"/>
                  </a:cubicBezTo>
                  <a:close/>
                  <a:moveTo>
                    <a:pt x="3" y="0"/>
                  </a:moveTo>
                  <a:cubicBezTo>
                    <a:pt x="3" y="0"/>
                    <a:pt x="3" y="0"/>
                    <a:pt x="3" y="0"/>
                  </a:cubicBez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396" name="Freeform 70"/>
            <p:cNvSpPr>
              <a:spLocks noEditPoints="1"/>
            </p:cNvSpPr>
            <p:nvPr/>
          </p:nvSpPr>
          <p:spPr bwMode="auto">
            <a:xfrm>
              <a:off x="6491288" y="2227263"/>
              <a:ext cx="476250" cy="476250"/>
            </a:xfrm>
            <a:custGeom>
              <a:avLst/>
              <a:gdLst/>
              <a:ahLst/>
              <a:cxnLst>
                <a:cxn ang="0">
                  <a:pos x="107" y="0"/>
                </a:cxn>
                <a:cxn ang="0">
                  <a:pos x="17" y="0"/>
                </a:cxn>
                <a:cxn ang="0">
                  <a:pos x="0" y="18"/>
                </a:cxn>
                <a:cxn ang="0">
                  <a:pos x="0" y="108"/>
                </a:cxn>
                <a:cxn ang="0">
                  <a:pos x="17" y="125"/>
                </a:cxn>
                <a:cxn ang="0">
                  <a:pos x="107" y="125"/>
                </a:cxn>
                <a:cxn ang="0">
                  <a:pos x="125" y="108"/>
                </a:cxn>
                <a:cxn ang="0">
                  <a:pos x="125" y="18"/>
                </a:cxn>
                <a:cxn ang="0">
                  <a:pos x="107" y="0"/>
                </a:cxn>
                <a:cxn ang="0">
                  <a:pos x="26" y="28"/>
                </a:cxn>
                <a:cxn ang="0">
                  <a:pos x="20" y="22"/>
                </a:cxn>
                <a:cxn ang="0">
                  <a:pos x="26" y="17"/>
                </a:cxn>
                <a:cxn ang="0">
                  <a:pos x="31" y="22"/>
                </a:cxn>
                <a:cxn ang="0">
                  <a:pos x="26" y="28"/>
                </a:cxn>
                <a:cxn ang="0">
                  <a:pos x="91" y="90"/>
                </a:cxn>
                <a:cxn ang="0">
                  <a:pos x="34" y="90"/>
                </a:cxn>
                <a:cxn ang="0">
                  <a:pos x="34" y="32"/>
                </a:cxn>
                <a:cxn ang="0">
                  <a:pos x="91" y="32"/>
                </a:cxn>
                <a:cxn ang="0">
                  <a:pos x="91" y="90"/>
                </a:cxn>
                <a:cxn ang="0">
                  <a:pos x="91" y="90"/>
                </a:cxn>
                <a:cxn ang="0">
                  <a:pos x="91" y="90"/>
                </a:cxn>
              </a:cxnLst>
              <a:rect l="0" t="0" r="r" b="b"/>
              <a:pathLst>
                <a:path w="125" h="125">
                  <a:moveTo>
                    <a:pt x="107" y="0"/>
                  </a:moveTo>
                  <a:cubicBezTo>
                    <a:pt x="17" y="0"/>
                    <a:pt x="17" y="0"/>
                    <a:pt x="17" y="0"/>
                  </a:cubicBezTo>
                  <a:cubicBezTo>
                    <a:pt x="7" y="0"/>
                    <a:pt x="0" y="8"/>
                    <a:pt x="0" y="18"/>
                  </a:cubicBezTo>
                  <a:cubicBezTo>
                    <a:pt x="0" y="108"/>
                    <a:pt x="0" y="108"/>
                    <a:pt x="0" y="108"/>
                  </a:cubicBezTo>
                  <a:cubicBezTo>
                    <a:pt x="0" y="118"/>
                    <a:pt x="7" y="125"/>
                    <a:pt x="17" y="125"/>
                  </a:cubicBezTo>
                  <a:cubicBezTo>
                    <a:pt x="107" y="125"/>
                    <a:pt x="107" y="125"/>
                    <a:pt x="107" y="125"/>
                  </a:cubicBezTo>
                  <a:cubicBezTo>
                    <a:pt x="117" y="125"/>
                    <a:pt x="125" y="118"/>
                    <a:pt x="125" y="108"/>
                  </a:cubicBezTo>
                  <a:cubicBezTo>
                    <a:pt x="125" y="18"/>
                    <a:pt x="125" y="18"/>
                    <a:pt x="125" y="18"/>
                  </a:cubicBezTo>
                  <a:cubicBezTo>
                    <a:pt x="125" y="8"/>
                    <a:pt x="117" y="0"/>
                    <a:pt x="107" y="0"/>
                  </a:cubicBezTo>
                  <a:close/>
                  <a:moveTo>
                    <a:pt x="26" y="28"/>
                  </a:moveTo>
                  <a:cubicBezTo>
                    <a:pt x="23" y="28"/>
                    <a:pt x="20" y="26"/>
                    <a:pt x="20" y="22"/>
                  </a:cubicBezTo>
                  <a:cubicBezTo>
                    <a:pt x="20" y="19"/>
                    <a:pt x="23" y="17"/>
                    <a:pt x="26" y="17"/>
                  </a:cubicBezTo>
                  <a:cubicBezTo>
                    <a:pt x="29" y="17"/>
                    <a:pt x="31" y="19"/>
                    <a:pt x="31" y="22"/>
                  </a:cubicBezTo>
                  <a:cubicBezTo>
                    <a:pt x="31" y="26"/>
                    <a:pt x="29" y="28"/>
                    <a:pt x="26" y="28"/>
                  </a:cubicBezTo>
                  <a:close/>
                  <a:moveTo>
                    <a:pt x="91" y="90"/>
                  </a:moveTo>
                  <a:cubicBezTo>
                    <a:pt x="34" y="90"/>
                    <a:pt x="34" y="90"/>
                    <a:pt x="34" y="90"/>
                  </a:cubicBezTo>
                  <a:cubicBezTo>
                    <a:pt x="34" y="32"/>
                    <a:pt x="34" y="32"/>
                    <a:pt x="34" y="32"/>
                  </a:cubicBezTo>
                  <a:cubicBezTo>
                    <a:pt x="91" y="32"/>
                    <a:pt x="91" y="32"/>
                    <a:pt x="91" y="32"/>
                  </a:cubicBezTo>
                  <a:lnTo>
                    <a:pt x="91" y="90"/>
                  </a:lnTo>
                  <a:close/>
                  <a:moveTo>
                    <a:pt x="91" y="90"/>
                  </a:moveTo>
                  <a:cubicBezTo>
                    <a:pt x="91" y="90"/>
                    <a:pt x="91" y="90"/>
                    <a:pt x="91" y="90"/>
                  </a:cubicBez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397" name="Freeform 71"/>
            <p:cNvSpPr>
              <a:spLocks noEditPoints="1"/>
            </p:cNvSpPr>
            <p:nvPr/>
          </p:nvSpPr>
          <p:spPr bwMode="auto">
            <a:xfrm>
              <a:off x="6989763" y="2311400"/>
              <a:ext cx="87313" cy="19050"/>
            </a:xfrm>
            <a:custGeom>
              <a:avLst/>
              <a:gdLst/>
              <a:ahLst/>
              <a:cxnLst>
                <a:cxn ang="0">
                  <a:pos x="3" y="5"/>
                </a:cxn>
                <a:cxn ang="0">
                  <a:pos x="20" y="5"/>
                </a:cxn>
                <a:cxn ang="0">
                  <a:pos x="23" y="3"/>
                </a:cxn>
                <a:cxn ang="0">
                  <a:pos x="20" y="0"/>
                </a:cxn>
                <a:cxn ang="0">
                  <a:pos x="3" y="0"/>
                </a:cxn>
                <a:cxn ang="0">
                  <a:pos x="0" y="3"/>
                </a:cxn>
                <a:cxn ang="0">
                  <a:pos x="3" y="5"/>
                </a:cxn>
                <a:cxn ang="0">
                  <a:pos x="3" y="5"/>
                </a:cxn>
                <a:cxn ang="0">
                  <a:pos x="3" y="5"/>
                </a:cxn>
              </a:cxnLst>
              <a:rect l="0" t="0" r="r" b="b"/>
              <a:pathLst>
                <a:path w="23" h="5">
                  <a:moveTo>
                    <a:pt x="3" y="5"/>
                  </a:moveTo>
                  <a:cubicBezTo>
                    <a:pt x="20" y="5"/>
                    <a:pt x="20" y="5"/>
                    <a:pt x="20" y="5"/>
                  </a:cubicBezTo>
                  <a:cubicBezTo>
                    <a:pt x="21" y="5"/>
                    <a:pt x="23" y="4"/>
                    <a:pt x="23" y="3"/>
                  </a:cubicBezTo>
                  <a:cubicBezTo>
                    <a:pt x="23" y="1"/>
                    <a:pt x="21" y="0"/>
                    <a:pt x="20" y="0"/>
                  </a:cubicBezTo>
                  <a:cubicBezTo>
                    <a:pt x="3" y="0"/>
                    <a:pt x="3" y="0"/>
                    <a:pt x="3" y="0"/>
                  </a:cubicBezTo>
                  <a:cubicBezTo>
                    <a:pt x="2" y="0"/>
                    <a:pt x="0" y="1"/>
                    <a:pt x="0" y="3"/>
                  </a:cubicBezTo>
                  <a:cubicBezTo>
                    <a:pt x="0" y="4"/>
                    <a:pt x="2" y="5"/>
                    <a:pt x="3" y="5"/>
                  </a:cubicBezTo>
                  <a:close/>
                  <a:moveTo>
                    <a:pt x="3" y="5"/>
                  </a:moveTo>
                  <a:cubicBezTo>
                    <a:pt x="3" y="5"/>
                    <a:pt x="3" y="5"/>
                    <a:pt x="3" y="5"/>
                  </a:cubicBez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398" name="Freeform 72"/>
            <p:cNvSpPr>
              <a:spLocks noEditPoints="1"/>
            </p:cNvSpPr>
            <p:nvPr/>
          </p:nvSpPr>
          <p:spPr bwMode="auto">
            <a:xfrm>
              <a:off x="6989763" y="2368550"/>
              <a:ext cx="87313" cy="22225"/>
            </a:xfrm>
            <a:custGeom>
              <a:avLst/>
              <a:gdLst/>
              <a:ahLst/>
              <a:cxnLst>
                <a:cxn ang="0">
                  <a:pos x="20" y="0"/>
                </a:cxn>
                <a:cxn ang="0">
                  <a:pos x="3" y="0"/>
                </a:cxn>
                <a:cxn ang="0">
                  <a:pos x="0" y="3"/>
                </a:cxn>
                <a:cxn ang="0">
                  <a:pos x="3" y="6"/>
                </a:cxn>
                <a:cxn ang="0">
                  <a:pos x="20" y="6"/>
                </a:cxn>
                <a:cxn ang="0">
                  <a:pos x="23" y="3"/>
                </a:cxn>
                <a:cxn ang="0">
                  <a:pos x="20" y="0"/>
                </a:cxn>
                <a:cxn ang="0">
                  <a:pos x="20" y="0"/>
                </a:cxn>
                <a:cxn ang="0">
                  <a:pos x="20" y="0"/>
                </a:cxn>
              </a:cxnLst>
              <a:rect l="0" t="0" r="r" b="b"/>
              <a:pathLst>
                <a:path w="23" h="6">
                  <a:moveTo>
                    <a:pt x="20" y="0"/>
                  </a:moveTo>
                  <a:cubicBezTo>
                    <a:pt x="3" y="0"/>
                    <a:pt x="3" y="0"/>
                    <a:pt x="3" y="0"/>
                  </a:cubicBezTo>
                  <a:cubicBezTo>
                    <a:pt x="2" y="0"/>
                    <a:pt x="0" y="1"/>
                    <a:pt x="0" y="3"/>
                  </a:cubicBezTo>
                  <a:cubicBezTo>
                    <a:pt x="0" y="4"/>
                    <a:pt x="2" y="6"/>
                    <a:pt x="3" y="6"/>
                  </a:cubicBezTo>
                  <a:cubicBezTo>
                    <a:pt x="20" y="6"/>
                    <a:pt x="20" y="6"/>
                    <a:pt x="20" y="6"/>
                  </a:cubicBezTo>
                  <a:cubicBezTo>
                    <a:pt x="21" y="6"/>
                    <a:pt x="23" y="4"/>
                    <a:pt x="23" y="3"/>
                  </a:cubicBezTo>
                  <a:cubicBezTo>
                    <a:pt x="23" y="1"/>
                    <a:pt x="21" y="0"/>
                    <a:pt x="20" y="0"/>
                  </a:cubicBezTo>
                  <a:close/>
                  <a:moveTo>
                    <a:pt x="20" y="0"/>
                  </a:moveTo>
                  <a:cubicBezTo>
                    <a:pt x="20" y="0"/>
                    <a:pt x="20" y="0"/>
                    <a:pt x="20" y="0"/>
                  </a:cubicBez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399" name="Freeform 73"/>
            <p:cNvSpPr>
              <a:spLocks noEditPoints="1"/>
            </p:cNvSpPr>
            <p:nvPr/>
          </p:nvSpPr>
          <p:spPr bwMode="auto">
            <a:xfrm>
              <a:off x="6989763" y="2428875"/>
              <a:ext cx="87313" cy="19050"/>
            </a:xfrm>
            <a:custGeom>
              <a:avLst/>
              <a:gdLst/>
              <a:ahLst/>
              <a:cxnLst>
                <a:cxn ang="0">
                  <a:pos x="20" y="0"/>
                </a:cxn>
                <a:cxn ang="0">
                  <a:pos x="3" y="0"/>
                </a:cxn>
                <a:cxn ang="0">
                  <a:pos x="0" y="2"/>
                </a:cxn>
                <a:cxn ang="0">
                  <a:pos x="3" y="5"/>
                </a:cxn>
                <a:cxn ang="0">
                  <a:pos x="20" y="5"/>
                </a:cxn>
                <a:cxn ang="0">
                  <a:pos x="23" y="2"/>
                </a:cxn>
                <a:cxn ang="0">
                  <a:pos x="20" y="0"/>
                </a:cxn>
                <a:cxn ang="0">
                  <a:pos x="20" y="0"/>
                </a:cxn>
                <a:cxn ang="0">
                  <a:pos x="20" y="0"/>
                </a:cxn>
              </a:cxnLst>
              <a:rect l="0" t="0" r="r" b="b"/>
              <a:pathLst>
                <a:path w="23" h="5">
                  <a:moveTo>
                    <a:pt x="20" y="0"/>
                  </a:moveTo>
                  <a:cubicBezTo>
                    <a:pt x="3" y="0"/>
                    <a:pt x="3" y="0"/>
                    <a:pt x="3" y="0"/>
                  </a:cubicBezTo>
                  <a:cubicBezTo>
                    <a:pt x="2" y="0"/>
                    <a:pt x="0" y="1"/>
                    <a:pt x="0" y="2"/>
                  </a:cubicBezTo>
                  <a:cubicBezTo>
                    <a:pt x="0" y="4"/>
                    <a:pt x="2" y="5"/>
                    <a:pt x="3" y="5"/>
                  </a:cubicBezTo>
                  <a:cubicBezTo>
                    <a:pt x="20" y="5"/>
                    <a:pt x="20" y="5"/>
                    <a:pt x="20" y="5"/>
                  </a:cubicBezTo>
                  <a:cubicBezTo>
                    <a:pt x="21" y="5"/>
                    <a:pt x="23" y="4"/>
                    <a:pt x="23" y="2"/>
                  </a:cubicBezTo>
                  <a:cubicBezTo>
                    <a:pt x="23" y="1"/>
                    <a:pt x="21" y="0"/>
                    <a:pt x="20" y="0"/>
                  </a:cubicBezTo>
                  <a:close/>
                  <a:moveTo>
                    <a:pt x="20" y="0"/>
                  </a:moveTo>
                  <a:cubicBezTo>
                    <a:pt x="20" y="0"/>
                    <a:pt x="20" y="0"/>
                    <a:pt x="20" y="0"/>
                  </a:cubicBez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400" name="Freeform 74"/>
            <p:cNvSpPr>
              <a:spLocks noEditPoints="1"/>
            </p:cNvSpPr>
            <p:nvPr/>
          </p:nvSpPr>
          <p:spPr bwMode="auto">
            <a:xfrm>
              <a:off x="6989763" y="2486025"/>
              <a:ext cx="87313" cy="19050"/>
            </a:xfrm>
            <a:custGeom>
              <a:avLst/>
              <a:gdLst/>
              <a:ahLst/>
              <a:cxnLst>
                <a:cxn ang="0">
                  <a:pos x="20" y="0"/>
                </a:cxn>
                <a:cxn ang="0">
                  <a:pos x="3" y="0"/>
                </a:cxn>
                <a:cxn ang="0">
                  <a:pos x="0" y="2"/>
                </a:cxn>
                <a:cxn ang="0">
                  <a:pos x="3" y="5"/>
                </a:cxn>
                <a:cxn ang="0">
                  <a:pos x="20" y="5"/>
                </a:cxn>
                <a:cxn ang="0">
                  <a:pos x="23" y="2"/>
                </a:cxn>
                <a:cxn ang="0">
                  <a:pos x="20" y="0"/>
                </a:cxn>
                <a:cxn ang="0">
                  <a:pos x="20" y="0"/>
                </a:cxn>
                <a:cxn ang="0">
                  <a:pos x="20" y="0"/>
                </a:cxn>
              </a:cxnLst>
              <a:rect l="0" t="0" r="r" b="b"/>
              <a:pathLst>
                <a:path w="23" h="5">
                  <a:moveTo>
                    <a:pt x="20" y="0"/>
                  </a:moveTo>
                  <a:cubicBezTo>
                    <a:pt x="3" y="0"/>
                    <a:pt x="3" y="0"/>
                    <a:pt x="3" y="0"/>
                  </a:cubicBezTo>
                  <a:cubicBezTo>
                    <a:pt x="2" y="0"/>
                    <a:pt x="0" y="1"/>
                    <a:pt x="0" y="2"/>
                  </a:cubicBezTo>
                  <a:cubicBezTo>
                    <a:pt x="0" y="4"/>
                    <a:pt x="2" y="5"/>
                    <a:pt x="3" y="5"/>
                  </a:cubicBezTo>
                  <a:cubicBezTo>
                    <a:pt x="20" y="5"/>
                    <a:pt x="20" y="5"/>
                    <a:pt x="20" y="5"/>
                  </a:cubicBezTo>
                  <a:cubicBezTo>
                    <a:pt x="21" y="5"/>
                    <a:pt x="23" y="4"/>
                    <a:pt x="23" y="2"/>
                  </a:cubicBezTo>
                  <a:cubicBezTo>
                    <a:pt x="23" y="1"/>
                    <a:pt x="21" y="0"/>
                    <a:pt x="20" y="0"/>
                  </a:cubicBezTo>
                  <a:close/>
                  <a:moveTo>
                    <a:pt x="20" y="0"/>
                  </a:moveTo>
                  <a:cubicBezTo>
                    <a:pt x="20" y="0"/>
                    <a:pt x="20" y="0"/>
                    <a:pt x="20" y="0"/>
                  </a:cubicBez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401" name="Freeform 75"/>
            <p:cNvSpPr>
              <a:spLocks noEditPoints="1"/>
            </p:cNvSpPr>
            <p:nvPr/>
          </p:nvSpPr>
          <p:spPr bwMode="auto">
            <a:xfrm>
              <a:off x="6989763" y="2540000"/>
              <a:ext cx="87313" cy="19050"/>
            </a:xfrm>
            <a:custGeom>
              <a:avLst/>
              <a:gdLst/>
              <a:ahLst/>
              <a:cxnLst>
                <a:cxn ang="0">
                  <a:pos x="20" y="0"/>
                </a:cxn>
                <a:cxn ang="0">
                  <a:pos x="3" y="0"/>
                </a:cxn>
                <a:cxn ang="0">
                  <a:pos x="0" y="2"/>
                </a:cxn>
                <a:cxn ang="0">
                  <a:pos x="3" y="5"/>
                </a:cxn>
                <a:cxn ang="0">
                  <a:pos x="20" y="5"/>
                </a:cxn>
                <a:cxn ang="0">
                  <a:pos x="23" y="2"/>
                </a:cxn>
                <a:cxn ang="0">
                  <a:pos x="20" y="0"/>
                </a:cxn>
                <a:cxn ang="0">
                  <a:pos x="20" y="0"/>
                </a:cxn>
                <a:cxn ang="0">
                  <a:pos x="20" y="0"/>
                </a:cxn>
              </a:cxnLst>
              <a:rect l="0" t="0" r="r" b="b"/>
              <a:pathLst>
                <a:path w="23" h="5">
                  <a:moveTo>
                    <a:pt x="20" y="0"/>
                  </a:moveTo>
                  <a:cubicBezTo>
                    <a:pt x="3" y="0"/>
                    <a:pt x="3" y="0"/>
                    <a:pt x="3" y="0"/>
                  </a:cubicBezTo>
                  <a:cubicBezTo>
                    <a:pt x="2" y="0"/>
                    <a:pt x="0" y="1"/>
                    <a:pt x="0" y="2"/>
                  </a:cubicBezTo>
                  <a:cubicBezTo>
                    <a:pt x="0" y="4"/>
                    <a:pt x="2" y="5"/>
                    <a:pt x="3" y="5"/>
                  </a:cubicBezTo>
                  <a:cubicBezTo>
                    <a:pt x="20" y="5"/>
                    <a:pt x="20" y="5"/>
                    <a:pt x="20" y="5"/>
                  </a:cubicBezTo>
                  <a:cubicBezTo>
                    <a:pt x="21" y="5"/>
                    <a:pt x="23" y="4"/>
                    <a:pt x="23" y="2"/>
                  </a:cubicBezTo>
                  <a:cubicBezTo>
                    <a:pt x="23" y="1"/>
                    <a:pt x="21" y="0"/>
                    <a:pt x="20" y="0"/>
                  </a:cubicBezTo>
                  <a:close/>
                  <a:moveTo>
                    <a:pt x="20" y="0"/>
                  </a:moveTo>
                  <a:cubicBezTo>
                    <a:pt x="20" y="0"/>
                    <a:pt x="20" y="0"/>
                    <a:pt x="20" y="0"/>
                  </a:cubicBez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402" name="Freeform 76"/>
            <p:cNvSpPr>
              <a:spLocks noEditPoints="1"/>
            </p:cNvSpPr>
            <p:nvPr/>
          </p:nvSpPr>
          <p:spPr bwMode="auto">
            <a:xfrm>
              <a:off x="6989763" y="2597150"/>
              <a:ext cx="87313" cy="19050"/>
            </a:xfrm>
            <a:custGeom>
              <a:avLst/>
              <a:gdLst/>
              <a:ahLst/>
              <a:cxnLst>
                <a:cxn ang="0">
                  <a:pos x="20" y="0"/>
                </a:cxn>
                <a:cxn ang="0">
                  <a:pos x="3" y="0"/>
                </a:cxn>
                <a:cxn ang="0">
                  <a:pos x="0" y="3"/>
                </a:cxn>
                <a:cxn ang="0">
                  <a:pos x="3" y="5"/>
                </a:cxn>
                <a:cxn ang="0">
                  <a:pos x="20" y="5"/>
                </a:cxn>
                <a:cxn ang="0">
                  <a:pos x="23" y="3"/>
                </a:cxn>
                <a:cxn ang="0">
                  <a:pos x="20" y="0"/>
                </a:cxn>
                <a:cxn ang="0">
                  <a:pos x="20" y="0"/>
                </a:cxn>
                <a:cxn ang="0">
                  <a:pos x="20" y="0"/>
                </a:cxn>
              </a:cxnLst>
              <a:rect l="0" t="0" r="r" b="b"/>
              <a:pathLst>
                <a:path w="23" h="5">
                  <a:moveTo>
                    <a:pt x="20" y="0"/>
                  </a:moveTo>
                  <a:cubicBezTo>
                    <a:pt x="3" y="0"/>
                    <a:pt x="3" y="0"/>
                    <a:pt x="3" y="0"/>
                  </a:cubicBezTo>
                  <a:cubicBezTo>
                    <a:pt x="2" y="0"/>
                    <a:pt x="0" y="1"/>
                    <a:pt x="0" y="3"/>
                  </a:cubicBezTo>
                  <a:cubicBezTo>
                    <a:pt x="0" y="4"/>
                    <a:pt x="2" y="5"/>
                    <a:pt x="3" y="5"/>
                  </a:cubicBezTo>
                  <a:cubicBezTo>
                    <a:pt x="20" y="5"/>
                    <a:pt x="20" y="5"/>
                    <a:pt x="20" y="5"/>
                  </a:cubicBezTo>
                  <a:cubicBezTo>
                    <a:pt x="21" y="5"/>
                    <a:pt x="23" y="4"/>
                    <a:pt x="23" y="3"/>
                  </a:cubicBezTo>
                  <a:cubicBezTo>
                    <a:pt x="23" y="1"/>
                    <a:pt x="21" y="0"/>
                    <a:pt x="20" y="0"/>
                  </a:cubicBezTo>
                  <a:close/>
                  <a:moveTo>
                    <a:pt x="20" y="0"/>
                  </a:moveTo>
                  <a:cubicBezTo>
                    <a:pt x="20" y="0"/>
                    <a:pt x="20" y="0"/>
                    <a:pt x="20" y="0"/>
                  </a:cubicBez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grpSp>
      <p:sp>
        <p:nvSpPr>
          <p:cNvPr id="407" name="Freeform 89"/>
          <p:cNvSpPr>
            <a:spLocks noEditPoints="1"/>
          </p:cNvSpPr>
          <p:nvPr/>
        </p:nvSpPr>
        <p:spPr bwMode="auto">
          <a:xfrm>
            <a:off x="5811194" y="2404872"/>
            <a:ext cx="388438" cy="312757"/>
          </a:xfrm>
          <a:custGeom>
            <a:avLst/>
            <a:gdLst/>
            <a:ahLst/>
            <a:cxnLst>
              <a:cxn ang="0">
                <a:pos x="191" y="0"/>
              </a:cxn>
              <a:cxn ang="0">
                <a:pos x="160" y="30"/>
              </a:cxn>
              <a:cxn ang="0">
                <a:pos x="177" y="57"/>
              </a:cxn>
              <a:cxn ang="0">
                <a:pos x="161" y="103"/>
              </a:cxn>
              <a:cxn ang="0">
                <a:pos x="155" y="102"/>
              </a:cxn>
              <a:cxn ang="0">
                <a:pos x="142" y="105"/>
              </a:cxn>
              <a:cxn ang="0">
                <a:pos x="107" y="68"/>
              </a:cxn>
              <a:cxn ang="0">
                <a:pos x="109" y="56"/>
              </a:cxn>
              <a:cxn ang="0">
                <a:pos x="79" y="26"/>
              </a:cxn>
              <a:cxn ang="0">
                <a:pos x="48" y="56"/>
              </a:cxn>
              <a:cxn ang="0">
                <a:pos x="59" y="79"/>
              </a:cxn>
              <a:cxn ang="0">
                <a:pos x="44" y="112"/>
              </a:cxn>
              <a:cxn ang="0">
                <a:pos x="30" y="109"/>
              </a:cxn>
              <a:cxn ang="0">
                <a:pos x="0" y="139"/>
              </a:cxn>
              <a:cxn ang="0">
                <a:pos x="30" y="170"/>
              </a:cxn>
              <a:cxn ang="0">
                <a:pos x="61" y="139"/>
              </a:cxn>
              <a:cxn ang="0">
                <a:pos x="54" y="120"/>
              </a:cxn>
              <a:cxn ang="0">
                <a:pos x="70" y="85"/>
              </a:cxn>
              <a:cxn ang="0">
                <a:pos x="78" y="86"/>
              </a:cxn>
              <a:cxn ang="0">
                <a:pos x="99" y="78"/>
              </a:cxn>
              <a:cxn ang="0">
                <a:pos x="132" y="113"/>
              </a:cxn>
              <a:cxn ang="0">
                <a:pos x="125" y="132"/>
              </a:cxn>
              <a:cxn ang="0">
                <a:pos x="156" y="163"/>
              </a:cxn>
              <a:cxn ang="0">
                <a:pos x="186" y="132"/>
              </a:cxn>
              <a:cxn ang="0">
                <a:pos x="173" y="108"/>
              </a:cxn>
              <a:cxn ang="0">
                <a:pos x="189" y="60"/>
              </a:cxn>
              <a:cxn ang="0">
                <a:pos x="191" y="60"/>
              </a:cxn>
              <a:cxn ang="0">
                <a:pos x="221" y="30"/>
              </a:cxn>
              <a:cxn ang="0">
                <a:pos x="191" y="0"/>
              </a:cxn>
              <a:cxn ang="0">
                <a:pos x="31" y="157"/>
              </a:cxn>
              <a:cxn ang="0">
                <a:pos x="13" y="139"/>
              </a:cxn>
              <a:cxn ang="0">
                <a:pos x="31" y="122"/>
              </a:cxn>
              <a:cxn ang="0">
                <a:pos x="48" y="139"/>
              </a:cxn>
              <a:cxn ang="0">
                <a:pos x="31" y="157"/>
              </a:cxn>
              <a:cxn ang="0">
                <a:pos x="79" y="74"/>
              </a:cxn>
              <a:cxn ang="0">
                <a:pos x="61" y="56"/>
              </a:cxn>
              <a:cxn ang="0">
                <a:pos x="79" y="38"/>
              </a:cxn>
              <a:cxn ang="0">
                <a:pos x="96" y="56"/>
              </a:cxn>
              <a:cxn ang="0">
                <a:pos x="79" y="74"/>
              </a:cxn>
              <a:cxn ang="0">
                <a:pos x="156" y="150"/>
              </a:cxn>
              <a:cxn ang="0">
                <a:pos x="138" y="133"/>
              </a:cxn>
              <a:cxn ang="0">
                <a:pos x="156" y="115"/>
              </a:cxn>
              <a:cxn ang="0">
                <a:pos x="173" y="133"/>
              </a:cxn>
              <a:cxn ang="0">
                <a:pos x="156" y="150"/>
              </a:cxn>
              <a:cxn ang="0">
                <a:pos x="191" y="48"/>
              </a:cxn>
              <a:cxn ang="0">
                <a:pos x="173" y="30"/>
              </a:cxn>
              <a:cxn ang="0">
                <a:pos x="191" y="13"/>
              </a:cxn>
              <a:cxn ang="0">
                <a:pos x="208" y="30"/>
              </a:cxn>
              <a:cxn ang="0">
                <a:pos x="191" y="48"/>
              </a:cxn>
              <a:cxn ang="0">
                <a:pos x="191" y="48"/>
              </a:cxn>
              <a:cxn ang="0">
                <a:pos x="191" y="48"/>
              </a:cxn>
            </a:cxnLst>
            <a:rect l="0" t="0" r="r" b="b"/>
            <a:pathLst>
              <a:path w="221" h="170">
                <a:moveTo>
                  <a:pt x="191" y="0"/>
                </a:moveTo>
                <a:cubicBezTo>
                  <a:pt x="174" y="0"/>
                  <a:pt x="160" y="14"/>
                  <a:pt x="160" y="30"/>
                </a:cubicBezTo>
                <a:cubicBezTo>
                  <a:pt x="160" y="42"/>
                  <a:pt x="167" y="52"/>
                  <a:pt x="177" y="57"/>
                </a:cubicBezTo>
                <a:cubicBezTo>
                  <a:pt x="161" y="103"/>
                  <a:pt x="161" y="103"/>
                  <a:pt x="161" y="103"/>
                </a:cubicBezTo>
                <a:cubicBezTo>
                  <a:pt x="159" y="103"/>
                  <a:pt x="157" y="102"/>
                  <a:pt x="155" y="102"/>
                </a:cubicBezTo>
                <a:cubicBezTo>
                  <a:pt x="150" y="102"/>
                  <a:pt x="146" y="103"/>
                  <a:pt x="142" y="105"/>
                </a:cubicBezTo>
                <a:cubicBezTo>
                  <a:pt x="107" y="68"/>
                  <a:pt x="107" y="68"/>
                  <a:pt x="107" y="68"/>
                </a:cubicBezTo>
                <a:cubicBezTo>
                  <a:pt x="108" y="64"/>
                  <a:pt x="109" y="60"/>
                  <a:pt x="109" y="56"/>
                </a:cubicBezTo>
                <a:cubicBezTo>
                  <a:pt x="109" y="39"/>
                  <a:pt x="95" y="26"/>
                  <a:pt x="79" y="26"/>
                </a:cubicBezTo>
                <a:cubicBezTo>
                  <a:pt x="62" y="26"/>
                  <a:pt x="48" y="39"/>
                  <a:pt x="48" y="56"/>
                </a:cubicBezTo>
                <a:cubicBezTo>
                  <a:pt x="48" y="65"/>
                  <a:pt x="52" y="74"/>
                  <a:pt x="59" y="79"/>
                </a:cubicBezTo>
                <a:cubicBezTo>
                  <a:pt x="44" y="112"/>
                  <a:pt x="44" y="112"/>
                  <a:pt x="44" y="112"/>
                </a:cubicBezTo>
                <a:cubicBezTo>
                  <a:pt x="40" y="110"/>
                  <a:pt x="35" y="109"/>
                  <a:pt x="30" y="109"/>
                </a:cubicBezTo>
                <a:cubicBezTo>
                  <a:pt x="14" y="109"/>
                  <a:pt x="0" y="123"/>
                  <a:pt x="0" y="139"/>
                </a:cubicBezTo>
                <a:cubicBezTo>
                  <a:pt x="0" y="156"/>
                  <a:pt x="14" y="170"/>
                  <a:pt x="30" y="170"/>
                </a:cubicBezTo>
                <a:cubicBezTo>
                  <a:pt x="47" y="170"/>
                  <a:pt x="61" y="156"/>
                  <a:pt x="61" y="139"/>
                </a:cubicBezTo>
                <a:cubicBezTo>
                  <a:pt x="61" y="132"/>
                  <a:pt x="58" y="125"/>
                  <a:pt x="54" y="120"/>
                </a:cubicBezTo>
                <a:cubicBezTo>
                  <a:pt x="70" y="85"/>
                  <a:pt x="70" y="85"/>
                  <a:pt x="70" y="85"/>
                </a:cubicBezTo>
                <a:cubicBezTo>
                  <a:pt x="73" y="86"/>
                  <a:pt x="76" y="86"/>
                  <a:pt x="78" y="86"/>
                </a:cubicBezTo>
                <a:cubicBezTo>
                  <a:pt x="86" y="86"/>
                  <a:pt x="93" y="83"/>
                  <a:pt x="99" y="78"/>
                </a:cubicBezTo>
                <a:cubicBezTo>
                  <a:pt x="132" y="113"/>
                  <a:pt x="132" y="113"/>
                  <a:pt x="132" y="113"/>
                </a:cubicBezTo>
                <a:cubicBezTo>
                  <a:pt x="128" y="118"/>
                  <a:pt x="125" y="125"/>
                  <a:pt x="125" y="132"/>
                </a:cubicBezTo>
                <a:cubicBezTo>
                  <a:pt x="125" y="149"/>
                  <a:pt x="139" y="163"/>
                  <a:pt x="156" y="163"/>
                </a:cubicBezTo>
                <a:cubicBezTo>
                  <a:pt x="172" y="163"/>
                  <a:pt x="186" y="149"/>
                  <a:pt x="186" y="132"/>
                </a:cubicBezTo>
                <a:cubicBezTo>
                  <a:pt x="186" y="122"/>
                  <a:pt x="181" y="113"/>
                  <a:pt x="173" y="108"/>
                </a:cubicBezTo>
                <a:cubicBezTo>
                  <a:pt x="189" y="60"/>
                  <a:pt x="189" y="60"/>
                  <a:pt x="189" y="60"/>
                </a:cubicBezTo>
                <a:cubicBezTo>
                  <a:pt x="191" y="60"/>
                  <a:pt x="191" y="60"/>
                  <a:pt x="191" y="60"/>
                </a:cubicBezTo>
                <a:cubicBezTo>
                  <a:pt x="207" y="60"/>
                  <a:pt x="221" y="47"/>
                  <a:pt x="221" y="30"/>
                </a:cubicBezTo>
                <a:cubicBezTo>
                  <a:pt x="221" y="14"/>
                  <a:pt x="207" y="0"/>
                  <a:pt x="191" y="0"/>
                </a:cubicBezTo>
                <a:close/>
                <a:moveTo>
                  <a:pt x="31" y="157"/>
                </a:moveTo>
                <a:cubicBezTo>
                  <a:pt x="21" y="157"/>
                  <a:pt x="13" y="149"/>
                  <a:pt x="13" y="139"/>
                </a:cubicBezTo>
                <a:cubicBezTo>
                  <a:pt x="13" y="130"/>
                  <a:pt x="21" y="122"/>
                  <a:pt x="31" y="122"/>
                </a:cubicBezTo>
                <a:cubicBezTo>
                  <a:pt x="40" y="122"/>
                  <a:pt x="48" y="130"/>
                  <a:pt x="48" y="139"/>
                </a:cubicBezTo>
                <a:cubicBezTo>
                  <a:pt x="48" y="149"/>
                  <a:pt x="40" y="157"/>
                  <a:pt x="31" y="157"/>
                </a:cubicBezTo>
                <a:close/>
                <a:moveTo>
                  <a:pt x="79" y="74"/>
                </a:moveTo>
                <a:cubicBezTo>
                  <a:pt x="69" y="74"/>
                  <a:pt x="61" y="66"/>
                  <a:pt x="61" y="56"/>
                </a:cubicBezTo>
                <a:cubicBezTo>
                  <a:pt x="61" y="46"/>
                  <a:pt x="69" y="38"/>
                  <a:pt x="79" y="38"/>
                </a:cubicBezTo>
                <a:cubicBezTo>
                  <a:pt x="88" y="38"/>
                  <a:pt x="96" y="46"/>
                  <a:pt x="96" y="56"/>
                </a:cubicBezTo>
                <a:cubicBezTo>
                  <a:pt x="96" y="66"/>
                  <a:pt x="88" y="74"/>
                  <a:pt x="79" y="74"/>
                </a:cubicBezTo>
                <a:close/>
                <a:moveTo>
                  <a:pt x="156" y="150"/>
                </a:moveTo>
                <a:cubicBezTo>
                  <a:pt x="146" y="150"/>
                  <a:pt x="138" y="142"/>
                  <a:pt x="138" y="133"/>
                </a:cubicBezTo>
                <a:cubicBezTo>
                  <a:pt x="138" y="123"/>
                  <a:pt x="146" y="115"/>
                  <a:pt x="156" y="115"/>
                </a:cubicBezTo>
                <a:cubicBezTo>
                  <a:pt x="165" y="115"/>
                  <a:pt x="173" y="123"/>
                  <a:pt x="173" y="133"/>
                </a:cubicBezTo>
                <a:cubicBezTo>
                  <a:pt x="173" y="142"/>
                  <a:pt x="165" y="150"/>
                  <a:pt x="156" y="150"/>
                </a:cubicBezTo>
                <a:close/>
                <a:moveTo>
                  <a:pt x="191" y="48"/>
                </a:moveTo>
                <a:cubicBezTo>
                  <a:pt x="181" y="48"/>
                  <a:pt x="173" y="40"/>
                  <a:pt x="173" y="30"/>
                </a:cubicBezTo>
                <a:cubicBezTo>
                  <a:pt x="173" y="21"/>
                  <a:pt x="181" y="13"/>
                  <a:pt x="191" y="13"/>
                </a:cubicBezTo>
                <a:cubicBezTo>
                  <a:pt x="200" y="13"/>
                  <a:pt x="208" y="21"/>
                  <a:pt x="208" y="30"/>
                </a:cubicBezTo>
                <a:cubicBezTo>
                  <a:pt x="208" y="40"/>
                  <a:pt x="200" y="48"/>
                  <a:pt x="191" y="48"/>
                </a:cubicBezTo>
                <a:close/>
                <a:moveTo>
                  <a:pt x="191" y="48"/>
                </a:moveTo>
                <a:cubicBezTo>
                  <a:pt x="191" y="48"/>
                  <a:pt x="191" y="48"/>
                  <a:pt x="191" y="48"/>
                </a:cubicBezTo>
              </a:path>
            </a:pathLst>
          </a:custGeom>
          <a:solidFill>
            <a:schemeClr val="bg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408" name="Freeform 5"/>
          <p:cNvSpPr>
            <a:spLocks noEditPoints="1"/>
          </p:cNvSpPr>
          <p:nvPr/>
        </p:nvSpPr>
        <p:spPr bwMode="auto">
          <a:xfrm>
            <a:off x="6869849" y="2633472"/>
            <a:ext cx="299048" cy="365450"/>
          </a:xfrm>
          <a:custGeom>
            <a:avLst/>
            <a:gdLst/>
            <a:ahLst/>
            <a:cxnLst>
              <a:cxn ang="0">
                <a:pos x="250" y="250"/>
              </a:cxn>
              <a:cxn ang="0">
                <a:pos x="125" y="296"/>
              </a:cxn>
              <a:cxn ang="0">
                <a:pos x="0" y="250"/>
              </a:cxn>
              <a:cxn ang="0">
                <a:pos x="66" y="210"/>
              </a:cxn>
              <a:cxn ang="0">
                <a:pos x="79" y="219"/>
              </a:cxn>
              <a:cxn ang="0">
                <a:pos x="70" y="232"/>
              </a:cxn>
              <a:cxn ang="0">
                <a:pos x="23" y="251"/>
              </a:cxn>
              <a:cxn ang="0">
                <a:pos x="125" y="273"/>
              </a:cxn>
              <a:cxn ang="0">
                <a:pos x="228" y="250"/>
              </a:cxn>
              <a:cxn ang="0">
                <a:pos x="180" y="232"/>
              </a:cxn>
              <a:cxn ang="0">
                <a:pos x="171" y="219"/>
              </a:cxn>
              <a:cxn ang="0">
                <a:pos x="184" y="210"/>
              </a:cxn>
              <a:cxn ang="0">
                <a:pos x="250" y="250"/>
              </a:cxn>
              <a:cxn ang="0">
                <a:pos x="80" y="182"/>
              </a:cxn>
              <a:cxn ang="0">
                <a:pos x="91" y="182"/>
              </a:cxn>
              <a:cxn ang="0">
                <a:pos x="91" y="250"/>
              </a:cxn>
              <a:cxn ang="0">
                <a:pos x="102" y="262"/>
              </a:cxn>
              <a:cxn ang="0">
                <a:pos x="148" y="262"/>
              </a:cxn>
              <a:cxn ang="0">
                <a:pos x="159" y="250"/>
              </a:cxn>
              <a:cxn ang="0">
                <a:pos x="159" y="182"/>
              </a:cxn>
              <a:cxn ang="0">
                <a:pos x="171" y="182"/>
              </a:cxn>
              <a:cxn ang="0">
                <a:pos x="182" y="171"/>
              </a:cxn>
              <a:cxn ang="0">
                <a:pos x="182" y="102"/>
              </a:cxn>
              <a:cxn ang="0">
                <a:pos x="157" y="82"/>
              </a:cxn>
              <a:cxn ang="0">
                <a:pos x="125" y="80"/>
              </a:cxn>
              <a:cxn ang="0">
                <a:pos x="93" y="82"/>
              </a:cxn>
              <a:cxn ang="0">
                <a:pos x="68" y="102"/>
              </a:cxn>
              <a:cxn ang="0">
                <a:pos x="68" y="171"/>
              </a:cxn>
              <a:cxn ang="0">
                <a:pos x="80" y="182"/>
              </a:cxn>
              <a:cxn ang="0">
                <a:pos x="125" y="68"/>
              </a:cxn>
              <a:cxn ang="0">
                <a:pos x="159" y="34"/>
              </a:cxn>
              <a:cxn ang="0">
                <a:pos x="125" y="0"/>
              </a:cxn>
              <a:cxn ang="0">
                <a:pos x="91" y="34"/>
              </a:cxn>
              <a:cxn ang="0">
                <a:pos x="125" y="68"/>
              </a:cxn>
              <a:cxn ang="0">
                <a:pos x="125" y="68"/>
              </a:cxn>
              <a:cxn ang="0">
                <a:pos x="125" y="68"/>
              </a:cxn>
            </a:cxnLst>
            <a:rect l="0" t="0" r="r" b="b"/>
            <a:pathLst>
              <a:path w="250" h="296">
                <a:moveTo>
                  <a:pt x="250" y="250"/>
                </a:moveTo>
                <a:cubicBezTo>
                  <a:pt x="250" y="282"/>
                  <a:pt x="185" y="296"/>
                  <a:pt x="125" y="296"/>
                </a:cubicBezTo>
                <a:cubicBezTo>
                  <a:pt x="65" y="296"/>
                  <a:pt x="0" y="282"/>
                  <a:pt x="0" y="250"/>
                </a:cubicBezTo>
                <a:cubicBezTo>
                  <a:pt x="0" y="226"/>
                  <a:pt x="36" y="215"/>
                  <a:pt x="66" y="210"/>
                </a:cubicBezTo>
                <a:cubicBezTo>
                  <a:pt x="72" y="209"/>
                  <a:pt x="78" y="213"/>
                  <a:pt x="79" y="219"/>
                </a:cubicBezTo>
                <a:cubicBezTo>
                  <a:pt x="80" y="225"/>
                  <a:pt x="76" y="231"/>
                  <a:pt x="70" y="232"/>
                </a:cubicBezTo>
                <a:cubicBezTo>
                  <a:pt x="33" y="239"/>
                  <a:pt x="23" y="249"/>
                  <a:pt x="23" y="251"/>
                </a:cubicBezTo>
                <a:cubicBezTo>
                  <a:pt x="24" y="257"/>
                  <a:pt x="58" y="273"/>
                  <a:pt x="125" y="273"/>
                </a:cubicBezTo>
                <a:cubicBezTo>
                  <a:pt x="192" y="273"/>
                  <a:pt x="226" y="257"/>
                  <a:pt x="228" y="250"/>
                </a:cubicBezTo>
                <a:cubicBezTo>
                  <a:pt x="227" y="249"/>
                  <a:pt x="217" y="238"/>
                  <a:pt x="180" y="232"/>
                </a:cubicBezTo>
                <a:cubicBezTo>
                  <a:pt x="174" y="231"/>
                  <a:pt x="170" y="225"/>
                  <a:pt x="171" y="219"/>
                </a:cubicBezTo>
                <a:cubicBezTo>
                  <a:pt x="172" y="213"/>
                  <a:pt x="178" y="209"/>
                  <a:pt x="184" y="210"/>
                </a:cubicBezTo>
                <a:cubicBezTo>
                  <a:pt x="214" y="215"/>
                  <a:pt x="250" y="226"/>
                  <a:pt x="250" y="250"/>
                </a:cubicBezTo>
                <a:close/>
                <a:moveTo>
                  <a:pt x="80" y="182"/>
                </a:moveTo>
                <a:cubicBezTo>
                  <a:pt x="91" y="182"/>
                  <a:pt x="91" y="182"/>
                  <a:pt x="91" y="182"/>
                </a:cubicBezTo>
                <a:cubicBezTo>
                  <a:pt x="91" y="250"/>
                  <a:pt x="91" y="250"/>
                  <a:pt x="91" y="250"/>
                </a:cubicBezTo>
                <a:cubicBezTo>
                  <a:pt x="91" y="257"/>
                  <a:pt x="96" y="262"/>
                  <a:pt x="102" y="262"/>
                </a:cubicBezTo>
                <a:cubicBezTo>
                  <a:pt x="148" y="262"/>
                  <a:pt x="148" y="262"/>
                  <a:pt x="148" y="262"/>
                </a:cubicBezTo>
                <a:cubicBezTo>
                  <a:pt x="154" y="262"/>
                  <a:pt x="159" y="257"/>
                  <a:pt x="159" y="250"/>
                </a:cubicBezTo>
                <a:cubicBezTo>
                  <a:pt x="159" y="182"/>
                  <a:pt x="159" y="182"/>
                  <a:pt x="159" y="182"/>
                </a:cubicBezTo>
                <a:cubicBezTo>
                  <a:pt x="171" y="182"/>
                  <a:pt x="171" y="182"/>
                  <a:pt x="171" y="182"/>
                </a:cubicBezTo>
                <a:cubicBezTo>
                  <a:pt x="177" y="182"/>
                  <a:pt x="182" y="177"/>
                  <a:pt x="182" y="171"/>
                </a:cubicBezTo>
                <a:cubicBezTo>
                  <a:pt x="182" y="102"/>
                  <a:pt x="182" y="102"/>
                  <a:pt x="182" y="102"/>
                </a:cubicBezTo>
                <a:cubicBezTo>
                  <a:pt x="182" y="97"/>
                  <a:pt x="173" y="84"/>
                  <a:pt x="157" y="82"/>
                </a:cubicBezTo>
                <a:cubicBezTo>
                  <a:pt x="150" y="81"/>
                  <a:pt x="138" y="80"/>
                  <a:pt x="125" y="80"/>
                </a:cubicBezTo>
                <a:cubicBezTo>
                  <a:pt x="112" y="80"/>
                  <a:pt x="100" y="81"/>
                  <a:pt x="93" y="82"/>
                </a:cubicBezTo>
                <a:cubicBezTo>
                  <a:pt x="77" y="84"/>
                  <a:pt x="68" y="97"/>
                  <a:pt x="68" y="102"/>
                </a:cubicBezTo>
                <a:cubicBezTo>
                  <a:pt x="68" y="171"/>
                  <a:pt x="68" y="171"/>
                  <a:pt x="68" y="171"/>
                </a:cubicBezTo>
                <a:cubicBezTo>
                  <a:pt x="68" y="177"/>
                  <a:pt x="73" y="182"/>
                  <a:pt x="80" y="182"/>
                </a:cubicBezTo>
                <a:close/>
                <a:moveTo>
                  <a:pt x="125" y="68"/>
                </a:moveTo>
                <a:cubicBezTo>
                  <a:pt x="144" y="68"/>
                  <a:pt x="159" y="53"/>
                  <a:pt x="159" y="34"/>
                </a:cubicBezTo>
                <a:cubicBezTo>
                  <a:pt x="159" y="15"/>
                  <a:pt x="144" y="0"/>
                  <a:pt x="125" y="0"/>
                </a:cubicBezTo>
                <a:cubicBezTo>
                  <a:pt x="106" y="0"/>
                  <a:pt x="91" y="15"/>
                  <a:pt x="91" y="34"/>
                </a:cubicBezTo>
                <a:cubicBezTo>
                  <a:pt x="91" y="53"/>
                  <a:pt x="106" y="68"/>
                  <a:pt x="125" y="68"/>
                </a:cubicBezTo>
                <a:close/>
                <a:moveTo>
                  <a:pt x="125" y="68"/>
                </a:moveTo>
                <a:cubicBezTo>
                  <a:pt x="125" y="68"/>
                  <a:pt x="125" y="68"/>
                  <a:pt x="125" y="68"/>
                </a:cubicBezTo>
              </a:path>
            </a:pathLst>
          </a:custGeom>
          <a:solidFill>
            <a:schemeClr val="bg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grpSp>
        <p:nvGrpSpPr>
          <p:cNvPr id="409" name="Group 57"/>
          <p:cNvGrpSpPr/>
          <p:nvPr/>
        </p:nvGrpSpPr>
        <p:grpSpPr>
          <a:xfrm>
            <a:off x="7084614" y="5221224"/>
            <a:ext cx="379662" cy="283460"/>
            <a:chOff x="5354638" y="3341688"/>
            <a:chExt cx="827087" cy="795337"/>
          </a:xfrm>
          <a:solidFill>
            <a:sysClr val="window" lastClr="FFFFFF"/>
          </a:solidFill>
        </p:grpSpPr>
        <p:sp>
          <p:nvSpPr>
            <p:cNvPr id="410" name="Freeform 13"/>
            <p:cNvSpPr>
              <a:spLocks noEditPoints="1"/>
            </p:cNvSpPr>
            <p:nvPr/>
          </p:nvSpPr>
          <p:spPr bwMode="auto">
            <a:xfrm>
              <a:off x="5354638" y="3968750"/>
              <a:ext cx="827087" cy="168275"/>
            </a:xfrm>
            <a:custGeom>
              <a:avLst/>
              <a:gdLst/>
              <a:ahLst/>
              <a:cxnLst>
                <a:cxn ang="0">
                  <a:pos x="208" y="12"/>
                </a:cxn>
                <a:cxn ang="0">
                  <a:pos x="137" y="12"/>
                </a:cxn>
                <a:cxn ang="0">
                  <a:pos x="137" y="7"/>
                </a:cxn>
                <a:cxn ang="0">
                  <a:pos x="129" y="0"/>
                </a:cxn>
                <a:cxn ang="0">
                  <a:pos x="89" y="0"/>
                </a:cxn>
                <a:cxn ang="0">
                  <a:pos x="81" y="7"/>
                </a:cxn>
                <a:cxn ang="0">
                  <a:pos x="81" y="12"/>
                </a:cxn>
                <a:cxn ang="0">
                  <a:pos x="10" y="12"/>
                </a:cxn>
                <a:cxn ang="0">
                  <a:pos x="0" y="22"/>
                </a:cxn>
                <a:cxn ang="0">
                  <a:pos x="10" y="32"/>
                </a:cxn>
                <a:cxn ang="0">
                  <a:pos x="81" y="32"/>
                </a:cxn>
                <a:cxn ang="0">
                  <a:pos x="81" y="36"/>
                </a:cxn>
                <a:cxn ang="0">
                  <a:pos x="89" y="44"/>
                </a:cxn>
                <a:cxn ang="0">
                  <a:pos x="129" y="44"/>
                </a:cxn>
                <a:cxn ang="0">
                  <a:pos x="137" y="36"/>
                </a:cxn>
                <a:cxn ang="0">
                  <a:pos x="137" y="32"/>
                </a:cxn>
                <a:cxn ang="0">
                  <a:pos x="208" y="32"/>
                </a:cxn>
                <a:cxn ang="0">
                  <a:pos x="218" y="22"/>
                </a:cxn>
                <a:cxn ang="0">
                  <a:pos x="208" y="12"/>
                </a:cxn>
                <a:cxn ang="0">
                  <a:pos x="122" y="15"/>
                </a:cxn>
                <a:cxn ang="0">
                  <a:pos x="122" y="29"/>
                </a:cxn>
                <a:cxn ang="0">
                  <a:pos x="96" y="29"/>
                </a:cxn>
                <a:cxn ang="0">
                  <a:pos x="96" y="15"/>
                </a:cxn>
                <a:cxn ang="0">
                  <a:pos x="122" y="15"/>
                </a:cxn>
                <a:cxn ang="0">
                  <a:pos x="122" y="15"/>
                </a:cxn>
                <a:cxn ang="0">
                  <a:pos x="122" y="15"/>
                </a:cxn>
              </a:cxnLst>
              <a:rect l="0" t="0" r="r" b="b"/>
              <a:pathLst>
                <a:path w="218" h="44">
                  <a:moveTo>
                    <a:pt x="208" y="12"/>
                  </a:moveTo>
                  <a:cubicBezTo>
                    <a:pt x="137" y="12"/>
                    <a:pt x="137" y="12"/>
                    <a:pt x="137" y="12"/>
                  </a:cubicBezTo>
                  <a:cubicBezTo>
                    <a:pt x="137" y="7"/>
                    <a:pt x="137" y="7"/>
                    <a:pt x="137" y="7"/>
                  </a:cubicBezTo>
                  <a:cubicBezTo>
                    <a:pt x="137" y="3"/>
                    <a:pt x="134" y="0"/>
                    <a:pt x="129" y="0"/>
                  </a:cubicBezTo>
                  <a:cubicBezTo>
                    <a:pt x="89" y="0"/>
                    <a:pt x="89" y="0"/>
                    <a:pt x="89" y="0"/>
                  </a:cubicBezTo>
                  <a:cubicBezTo>
                    <a:pt x="85" y="0"/>
                    <a:pt x="81" y="3"/>
                    <a:pt x="81" y="7"/>
                  </a:cubicBezTo>
                  <a:cubicBezTo>
                    <a:pt x="81" y="12"/>
                    <a:pt x="81" y="12"/>
                    <a:pt x="81" y="12"/>
                  </a:cubicBezTo>
                  <a:cubicBezTo>
                    <a:pt x="10" y="12"/>
                    <a:pt x="10" y="12"/>
                    <a:pt x="10" y="12"/>
                  </a:cubicBezTo>
                  <a:cubicBezTo>
                    <a:pt x="4" y="12"/>
                    <a:pt x="0" y="16"/>
                    <a:pt x="0" y="22"/>
                  </a:cubicBezTo>
                  <a:cubicBezTo>
                    <a:pt x="0" y="27"/>
                    <a:pt x="4" y="32"/>
                    <a:pt x="10" y="32"/>
                  </a:cubicBezTo>
                  <a:cubicBezTo>
                    <a:pt x="81" y="32"/>
                    <a:pt x="81" y="32"/>
                    <a:pt x="81" y="32"/>
                  </a:cubicBezTo>
                  <a:cubicBezTo>
                    <a:pt x="81" y="36"/>
                    <a:pt x="81" y="36"/>
                    <a:pt x="81" y="36"/>
                  </a:cubicBezTo>
                  <a:cubicBezTo>
                    <a:pt x="81" y="40"/>
                    <a:pt x="85" y="44"/>
                    <a:pt x="89" y="44"/>
                  </a:cubicBezTo>
                  <a:cubicBezTo>
                    <a:pt x="129" y="44"/>
                    <a:pt x="129" y="44"/>
                    <a:pt x="129" y="44"/>
                  </a:cubicBezTo>
                  <a:cubicBezTo>
                    <a:pt x="134" y="44"/>
                    <a:pt x="137" y="40"/>
                    <a:pt x="137" y="36"/>
                  </a:cubicBezTo>
                  <a:cubicBezTo>
                    <a:pt x="137" y="32"/>
                    <a:pt x="137" y="32"/>
                    <a:pt x="137" y="32"/>
                  </a:cubicBezTo>
                  <a:cubicBezTo>
                    <a:pt x="208" y="32"/>
                    <a:pt x="208" y="32"/>
                    <a:pt x="208" y="32"/>
                  </a:cubicBezTo>
                  <a:cubicBezTo>
                    <a:pt x="214" y="32"/>
                    <a:pt x="218" y="27"/>
                    <a:pt x="218" y="22"/>
                  </a:cubicBezTo>
                  <a:cubicBezTo>
                    <a:pt x="218" y="16"/>
                    <a:pt x="214" y="12"/>
                    <a:pt x="208" y="12"/>
                  </a:cubicBezTo>
                  <a:close/>
                  <a:moveTo>
                    <a:pt x="122" y="15"/>
                  </a:moveTo>
                  <a:cubicBezTo>
                    <a:pt x="122" y="29"/>
                    <a:pt x="122" y="29"/>
                    <a:pt x="122" y="29"/>
                  </a:cubicBezTo>
                  <a:cubicBezTo>
                    <a:pt x="96" y="29"/>
                    <a:pt x="96" y="29"/>
                    <a:pt x="96" y="29"/>
                  </a:cubicBezTo>
                  <a:cubicBezTo>
                    <a:pt x="96" y="15"/>
                    <a:pt x="96" y="15"/>
                    <a:pt x="96" y="15"/>
                  </a:cubicBezTo>
                  <a:lnTo>
                    <a:pt x="122" y="15"/>
                  </a:lnTo>
                  <a:close/>
                  <a:moveTo>
                    <a:pt x="122" y="15"/>
                  </a:moveTo>
                  <a:cubicBezTo>
                    <a:pt x="122" y="15"/>
                    <a:pt x="122" y="15"/>
                    <a:pt x="122" y="1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411" name="Freeform 14"/>
            <p:cNvSpPr>
              <a:spLocks noEditPoints="1"/>
            </p:cNvSpPr>
            <p:nvPr/>
          </p:nvSpPr>
          <p:spPr bwMode="auto">
            <a:xfrm>
              <a:off x="5516563" y="3687763"/>
              <a:ext cx="501650" cy="76200"/>
            </a:xfrm>
            <a:custGeom>
              <a:avLst/>
              <a:gdLst/>
              <a:ahLst/>
              <a:cxnLst>
                <a:cxn ang="0">
                  <a:pos x="316" y="0"/>
                </a:cxn>
                <a:cxn ang="0">
                  <a:pos x="0" y="0"/>
                </a:cxn>
                <a:cxn ang="0">
                  <a:pos x="0" y="48"/>
                </a:cxn>
                <a:cxn ang="0">
                  <a:pos x="316" y="48"/>
                </a:cxn>
                <a:cxn ang="0">
                  <a:pos x="316" y="0"/>
                </a:cxn>
                <a:cxn ang="0">
                  <a:pos x="36" y="36"/>
                </a:cxn>
                <a:cxn ang="0">
                  <a:pos x="12" y="36"/>
                </a:cxn>
                <a:cxn ang="0">
                  <a:pos x="12" y="12"/>
                </a:cxn>
                <a:cxn ang="0">
                  <a:pos x="36" y="12"/>
                </a:cxn>
                <a:cxn ang="0">
                  <a:pos x="36" y="36"/>
                </a:cxn>
                <a:cxn ang="0">
                  <a:pos x="72" y="36"/>
                </a:cxn>
                <a:cxn ang="0">
                  <a:pos x="48" y="36"/>
                </a:cxn>
                <a:cxn ang="0">
                  <a:pos x="48" y="12"/>
                </a:cxn>
                <a:cxn ang="0">
                  <a:pos x="72" y="12"/>
                </a:cxn>
                <a:cxn ang="0">
                  <a:pos x="72" y="36"/>
                </a:cxn>
                <a:cxn ang="0">
                  <a:pos x="108" y="36"/>
                </a:cxn>
                <a:cxn ang="0">
                  <a:pos x="84" y="36"/>
                </a:cxn>
                <a:cxn ang="0">
                  <a:pos x="84" y="12"/>
                </a:cxn>
                <a:cxn ang="0">
                  <a:pos x="108" y="12"/>
                </a:cxn>
                <a:cxn ang="0">
                  <a:pos x="108" y="36"/>
                </a:cxn>
                <a:cxn ang="0">
                  <a:pos x="108" y="36"/>
                </a:cxn>
                <a:cxn ang="0">
                  <a:pos x="108" y="36"/>
                </a:cxn>
              </a:cxnLst>
              <a:rect l="0" t="0" r="r" b="b"/>
              <a:pathLst>
                <a:path w="316" h="48">
                  <a:moveTo>
                    <a:pt x="316" y="0"/>
                  </a:moveTo>
                  <a:lnTo>
                    <a:pt x="0" y="0"/>
                  </a:lnTo>
                  <a:lnTo>
                    <a:pt x="0" y="48"/>
                  </a:lnTo>
                  <a:lnTo>
                    <a:pt x="316" y="48"/>
                  </a:lnTo>
                  <a:lnTo>
                    <a:pt x="316" y="0"/>
                  </a:lnTo>
                  <a:close/>
                  <a:moveTo>
                    <a:pt x="36" y="36"/>
                  </a:moveTo>
                  <a:lnTo>
                    <a:pt x="12" y="36"/>
                  </a:lnTo>
                  <a:lnTo>
                    <a:pt x="12" y="12"/>
                  </a:lnTo>
                  <a:lnTo>
                    <a:pt x="36" y="12"/>
                  </a:lnTo>
                  <a:lnTo>
                    <a:pt x="36" y="36"/>
                  </a:lnTo>
                  <a:close/>
                  <a:moveTo>
                    <a:pt x="72" y="36"/>
                  </a:moveTo>
                  <a:lnTo>
                    <a:pt x="48" y="36"/>
                  </a:lnTo>
                  <a:lnTo>
                    <a:pt x="48" y="12"/>
                  </a:lnTo>
                  <a:lnTo>
                    <a:pt x="72" y="12"/>
                  </a:lnTo>
                  <a:lnTo>
                    <a:pt x="72" y="36"/>
                  </a:lnTo>
                  <a:close/>
                  <a:moveTo>
                    <a:pt x="108" y="36"/>
                  </a:moveTo>
                  <a:lnTo>
                    <a:pt x="84" y="36"/>
                  </a:lnTo>
                  <a:lnTo>
                    <a:pt x="84" y="12"/>
                  </a:lnTo>
                  <a:lnTo>
                    <a:pt x="108" y="12"/>
                  </a:lnTo>
                  <a:lnTo>
                    <a:pt x="108" y="36"/>
                  </a:lnTo>
                  <a:close/>
                  <a:moveTo>
                    <a:pt x="108" y="36"/>
                  </a:moveTo>
                  <a:lnTo>
                    <a:pt x="108" y="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412" name="Freeform 16"/>
            <p:cNvSpPr>
              <a:spLocks noEditPoints="1"/>
            </p:cNvSpPr>
            <p:nvPr/>
          </p:nvSpPr>
          <p:spPr bwMode="auto">
            <a:xfrm>
              <a:off x="5516563" y="3497263"/>
              <a:ext cx="501650" cy="76200"/>
            </a:xfrm>
            <a:custGeom>
              <a:avLst/>
              <a:gdLst/>
              <a:ahLst/>
              <a:cxnLst>
                <a:cxn ang="0">
                  <a:pos x="316" y="0"/>
                </a:cxn>
                <a:cxn ang="0">
                  <a:pos x="0" y="0"/>
                </a:cxn>
                <a:cxn ang="0">
                  <a:pos x="0" y="48"/>
                </a:cxn>
                <a:cxn ang="0">
                  <a:pos x="316" y="48"/>
                </a:cxn>
                <a:cxn ang="0">
                  <a:pos x="316" y="0"/>
                </a:cxn>
                <a:cxn ang="0">
                  <a:pos x="36" y="36"/>
                </a:cxn>
                <a:cxn ang="0">
                  <a:pos x="12" y="36"/>
                </a:cxn>
                <a:cxn ang="0">
                  <a:pos x="12" y="12"/>
                </a:cxn>
                <a:cxn ang="0">
                  <a:pos x="36" y="12"/>
                </a:cxn>
                <a:cxn ang="0">
                  <a:pos x="36" y="36"/>
                </a:cxn>
                <a:cxn ang="0">
                  <a:pos x="72" y="36"/>
                </a:cxn>
                <a:cxn ang="0">
                  <a:pos x="48" y="36"/>
                </a:cxn>
                <a:cxn ang="0">
                  <a:pos x="48" y="12"/>
                </a:cxn>
                <a:cxn ang="0">
                  <a:pos x="72" y="12"/>
                </a:cxn>
                <a:cxn ang="0">
                  <a:pos x="72" y="36"/>
                </a:cxn>
                <a:cxn ang="0">
                  <a:pos x="108" y="36"/>
                </a:cxn>
                <a:cxn ang="0">
                  <a:pos x="84" y="36"/>
                </a:cxn>
                <a:cxn ang="0">
                  <a:pos x="84" y="12"/>
                </a:cxn>
                <a:cxn ang="0">
                  <a:pos x="108" y="12"/>
                </a:cxn>
                <a:cxn ang="0">
                  <a:pos x="108" y="36"/>
                </a:cxn>
                <a:cxn ang="0">
                  <a:pos x="108" y="36"/>
                </a:cxn>
                <a:cxn ang="0">
                  <a:pos x="108" y="36"/>
                </a:cxn>
              </a:cxnLst>
              <a:rect l="0" t="0" r="r" b="b"/>
              <a:pathLst>
                <a:path w="316" h="48">
                  <a:moveTo>
                    <a:pt x="316" y="0"/>
                  </a:moveTo>
                  <a:lnTo>
                    <a:pt x="0" y="0"/>
                  </a:lnTo>
                  <a:lnTo>
                    <a:pt x="0" y="48"/>
                  </a:lnTo>
                  <a:lnTo>
                    <a:pt x="316" y="48"/>
                  </a:lnTo>
                  <a:lnTo>
                    <a:pt x="316" y="0"/>
                  </a:lnTo>
                  <a:close/>
                  <a:moveTo>
                    <a:pt x="36" y="36"/>
                  </a:moveTo>
                  <a:lnTo>
                    <a:pt x="12" y="36"/>
                  </a:lnTo>
                  <a:lnTo>
                    <a:pt x="12" y="12"/>
                  </a:lnTo>
                  <a:lnTo>
                    <a:pt x="36" y="12"/>
                  </a:lnTo>
                  <a:lnTo>
                    <a:pt x="36" y="36"/>
                  </a:lnTo>
                  <a:close/>
                  <a:moveTo>
                    <a:pt x="72" y="36"/>
                  </a:moveTo>
                  <a:lnTo>
                    <a:pt x="48" y="36"/>
                  </a:lnTo>
                  <a:lnTo>
                    <a:pt x="48" y="12"/>
                  </a:lnTo>
                  <a:lnTo>
                    <a:pt x="72" y="12"/>
                  </a:lnTo>
                  <a:lnTo>
                    <a:pt x="72" y="36"/>
                  </a:lnTo>
                  <a:close/>
                  <a:moveTo>
                    <a:pt x="108" y="36"/>
                  </a:moveTo>
                  <a:lnTo>
                    <a:pt x="84" y="36"/>
                  </a:lnTo>
                  <a:lnTo>
                    <a:pt x="84" y="12"/>
                  </a:lnTo>
                  <a:lnTo>
                    <a:pt x="108" y="12"/>
                  </a:lnTo>
                  <a:lnTo>
                    <a:pt x="108" y="36"/>
                  </a:lnTo>
                  <a:close/>
                  <a:moveTo>
                    <a:pt x="108" y="36"/>
                  </a:moveTo>
                  <a:lnTo>
                    <a:pt x="108" y="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413" name="Freeform 18"/>
            <p:cNvSpPr>
              <a:spLocks noEditPoints="1"/>
            </p:cNvSpPr>
            <p:nvPr/>
          </p:nvSpPr>
          <p:spPr bwMode="auto">
            <a:xfrm>
              <a:off x="5376863" y="3341688"/>
              <a:ext cx="782637" cy="577850"/>
            </a:xfrm>
            <a:custGeom>
              <a:avLst/>
              <a:gdLst/>
              <a:ahLst/>
              <a:cxnLst>
                <a:cxn ang="0">
                  <a:pos x="196" y="0"/>
                </a:cxn>
                <a:cxn ang="0">
                  <a:pos x="10" y="0"/>
                </a:cxn>
                <a:cxn ang="0">
                  <a:pos x="3" y="3"/>
                </a:cxn>
                <a:cxn ang="0">
                  <a:pos x="0" y="10"/>
                </a:cxn>
                <a:cxn ang="0">
                  <a:pos x="0" y="142"/>
                </a:cxn>
                <a:cxn ang="0">
                  <a:pos x="3" y="149"/>
                </a:cxn>
                <a:cxn ang="0">
                  <a:pos x="10" y="152"/>
                </a:cxn>
                <a:cxn ang="0">
                  <a:pos x="196" y="152"/>
                </a:cxn>
                <a:cxn ang="0">
                  <a:pos x="203" y="149"/>
                </a:cxn>
                <a:cxn ang="0">
                  <a:pos x="206" y="142"/>
                </a:cxn>
                <a:cxn ang="0">
                  <a:pos x="206" y="10"/>
                </a:cxn>
                <a:cxn ang="0">
                  <a:pos x="196" y="0"/>
                </a:cxn>
                <a:cxn ang="0">
                  <a:pos x="179" y="121"/>
                </a:cxn>
                <a:cxn ang="0">
                  <a:pos x="27" y="121"/>
                </a:cxn>
                <a:cxn ang="0">
                  <a:pos x="27" y="81"/>
                </a:cxn>
                <a:cxn ang="0">
                  <a:pos x="179" y="81"/>
                </a:cxn>
                <a:cxn ang="0">
                  <a:pos x="179" y="121"/>
                </a:cxn>
                <a:cxn ang="0">
                  <a:pos x="179" y="71"/>
                </a:cxn>
                <a:cxn ang="0">
                  <a:pos x="27" y="71"/>
                </a:cxn>
                <a:cxn ang="0">
                  <a:pos x="27" y="31"/>
                </a:cxn>
                <a:cxn ang="0">
                  <a:pos x="179" y="31"/>
                </a:cxn>
                <a:cxn ang="0">
                  <a:pos x="179" y="71"/>
                </a:cxn>
                <a:cxn ang="0">
                  <a:pos x="179" y="71"/>
                </a:cxn>
                <a:cxn ang="0">
                  <a:pos x="179" y="71"/>
                </a:cxn>
              </a:cxnLst>
              <a:rect l="0" t="0" r="r" b="b"/>
              <a:pathLst>
                <a:path w="206" h="152">
                  <a:moveTo>
                    <a:pt x="196" y="0"/>
                  </a:moveTo>
                  <a:cubicBezTo>
                    <a:pt x="10" y="0"/>
                    <a:pt x="10" y="0"/>
                    <a:pt x="10" y="0"/>
                  </a:cubicBezTo>
                  <a:cubicBezTo>
                    <a:pt x="8" y="0"/>
                    <a:pt x="5" y="1"/>
                    <a:pt x="3" y="3"/>
                  </a:cubicBezTo>
                  <a:cubicBezTo>
                    <a:pt x="2" y="5"/>
                    <a:pt x="0" y="7"/>
                    <a:pt x="0" y="10"/>
                  </a:cubicBezTo>
                  <a:cubicBezTo>
                    <a:pt x="0" y="142"/>
                    <a:pt x="0" y="142"/>
                    <a:pt x="0" y="142"/>
                  </a:cubicBezTo>
                  <a:cubicBezTo>
                    <a:pt x="0" y="145"/>
                    <a:pt x="2" y="148"/>
                    <a:pt x="3" y="149"/>
                  </a:cubicBezTo>
                  <a:cubicBezTo>
                    <a:pt x="5" y="151"/>
                    <a:pt x="8" y="152"/>
                    <a:pt x="10" y="152"/>
                  </a:cubicBezTo>
                  <a:cubicBezTo>
                    <a:pt x="196" y="152"/>
                    <a:pt x="196" y="152"/>
                    <a:pt x="196" y="152"/>
                  </a:cubicBezTo>
                  <a:cubicBezTo>
                    <a:pt x="199" y="152"/>
                    <a:pt x="201" y="151"/>
                    <a:pt x="203" y="149"/>
                  </a:cubicBezTo>
                  <a:cubicBezTo>
                    <a:pt x="205" y="148"/>
                    <a:pt x="206" y="145"/>
                    <a:pt x="206" y="142"/>
                  </a:cubicBezTo>
                  <a:cubicBezTo>
                    <a:pt x="206" y="10"/>
                    <a:pt x="206" y="10"/>
                    <a:pt x="206" y="10"/>
                  </a:cubicBezTo>
                  <a:cubicBezTo>
                    <a:pt x="206" y="4"/>
                    <a:pt x="201" y="0"/>
                    <a:pt x="196" y="0"/>
                  </a:cubicBezTo>
                  <a:close/>
                  <a:moveTo>
                    <a:pt x="179" y="121"/>
                  </a:moveTo>
                  <a:cubicBezTo>
                    <a:pt x="27" y="121"/>
                    <a:pt x="27" y="121"/>
                    <a:pt x="27" y="121"/>
                  </a:cubicBezTo>
                  <a:cubicBezTo>
                    <a:pt x="27" y="81"/>
                    <a:pt x="27" y="81"/>
                    <a:pt x="27" y="81"/>
                  </a:cubicBezTo>
                  <a:cubicBezTo>
                    <a:pt x="179" y="81"/>
                    <a:pt x="179" y="81"/>
                    <a:pt x="179" y="81"/>
                  </a:cubicBezTo>
                  <a:lnTo>
                    <a:pt x="179" y="121"/>
                  </a:lnTo>
                  <a:close/>
                  <a:moveTo>
                    <a:pt x="179" y="71"/>
                  </a:moveTo>
                  <a:cubicBezTo>
                    <a:pt x="27" y="71"/>
                    <a:pt x="27" y="71"/>
                    <a:pt x="27" y="71"/>
                  </a:cubicBezTo>
                  <a:cubicBezTo>
                    <a:pt x="27" y="31"/>
                    <a:pt x="27" y="31"/>
                    <a:pt x="27" y="31"/>
                  </a:cubicBezTo>
                  <a:cubicBezTo>
                    <a:pt x="179" y="31"/>
                    <a:pt x="179" y="31"/>
                    <a:pt x="179" y="31"/>
                  </a:cubicBezTo>
                  <a:lnTo>
                    <a:pt x="179" y="71"/>
                  </a:lnTo>
                  <a:close/>
                  <a:moveTo>
                    <a:pt x="179" y="71"/>
                  </a:moveTo>
                  <a:cubicBezTo>
                    <a:pt x="179" y="71"/>
                    <a:pt x="179" y="71"/>
                    <a:pt x="179" y="7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grpSp>
      <p:sp>
        <p:nvSpPr>
          <p:cNvPr id="415" name="Freeform 152"/>
          <p:cNvSpPr>
            <a:spLocks noEditPoints="1"/>
          </p:cNvSpPr>
          <p:nvPr/>
        </p:nvSpPr>
        <p:spPr bwMode="auto">
          <a:xfrm>
            <a:off x="7494046" y="3419856"/>
            <a:ext cx="371749" cy="343547"/>
          </a:xfrm>
          <a:custGeom>
            <a:avLst/>
            <a:gdLst/>
            <a:ahLst/>
            <a:cxnLst>
              <a:cxn ang="0">
                <a:pos x="67" y="20"/>
              </a:cxn>
              <a:cxn ang="0">
                <a:pos x="46" y="36"/>
              </a:cxn>
              <a:cxn ang="0">
                <a:pos x="42" y="40"/>
              </a:cxn>
              <a:cxn ang="0">
                <a:pos x="39" y="47"/>
              </a:cxn>
              <a:cxn ang="0">
                <a:pos x="44" y="52"/>
              </a:cxn>
              <a:cxn ang="0">
                <a:pos x="52" y="58"/>
              </a:cxn>
              <a:cxn ang="0">
                <a:pos x="52" y="61"/>
              </a:cxn>
              <a:cxn ang="0">
                <a:pos x="51" y="62"/>
              </a:cxn>
              <a:cxn ang="0">
                <a:pos x="17" y="62"/>
              </a:cxn>
              <a:cxn ang="0">
                <a:pos x="16" y="61"/>
              </a:cxn>
              <a:cxn ang="0">
                <a:pos x="16" y="58"/>
              </a:cxn>
              <a:cxn ang="0">
                <a:pos x="24" y="52"/>
              </a:cxn>
              <a:cxn ang="0">
                <a:pos x="29" y="47"/>
              </a:cxn>
              <a:cxn ang="0">
                <a:pos x="26" y="40"/>
              </a:cxn>
              <a:cxn ang="0">
                <a:pos x="22" y="36"/>
              </a:cxn>
              <a:cxn ang="0">
                <a:pos x="0" y="20"/>
              </a:cxn>
              <a:cxn ang="0">
                <a:pos x="0" y="15"/>
              </a:cxn>
              <a:cxn ang="0">
                <a:pos x="4" y="11"/>
              </a:cxn>
              <a:cxn ang="0">
                <a:pos x="16" y="11"/>
              </a:cxn>
              <a:cxn ang="0">
                <a:pos x="16" y="7"/>
              </a:cxn>
              <a:cxn ang="0">
                <a:pos x="22" y="0"/>
              </a:cxn>
              <a:cxn ang="0">
                <a:pos x="45" y="0"/>
              </a:cxn>
              <a:cxn ang="0">
                <a:pos x="52" y="7"/>
              </a:cxn>
              <a:cxn ang="0">
                <a:pos x="52" y="11"/>
              </a:cxn>
              <a:cxn ang="0">
                <a:pos x="63" y="11"/>
              </a:cxn>
              <a:cxn ang="0">
                <a:pos x="67" y="15"/>
              </a:cxn>
              <a:cxn ang="0">
                <a:pos x="67" y="20"/>
              </a:cxn>
              <a:cxn ang="0">
                <a:pos x="16" y="16"/>
              </a:cxn>
              <a:cxn ang="0">
                <a:pos x="6" y="16"/>
              </a:cxn>
              <a:cxn ang="0">
                <a:pos x="6" y="20"/>
              </a:cxn>
              <a:cxn ang="0">
                <a:pos x="19" y="31"/>
              </a:cxn>
              <a:cxn ang="0">
                <a:pos x="16" y="16"/>
              </a:cxn>
              <a:cxn ang="0">
                <a:pos x="62" y="16"/>
              </a:cxn>
              <a:cxn ang="0">
                <a:pos x="52" y="16"/>
              </a:cxn>
              <a:cxn ang="0">
                <a:pos x="49" y="31"/>
              </a:cxn>
              <a:cxn ang="0">
                <a:pos x="62" y="20"/>
              </a:cxn>
              <a:cxn ang="0">
                <a:pos x="62" y="16"/>
              </a:cxn>
            </a:cxnLst>
            <a:rect l="0" t="0" r="r" b="b"/>
            <a:pathLst>
              <a:path w="67" h="62">
                <a:moveTo>
                  <a:pt x="67" y="20"/>
                </a:moveTo>
                <a:cubicBezTo>
                  <a:pt x="67" y="27"/>
                  <a:pt x="58" y="36"/>
                  <a:pt x="46" y="36"/>
                </a:cubicBezTo>
                <a:cubicBezTo>
                  <a:pt x="44" y="38"/>
                  <a:pt x="42" y="40"/>
                  <a:pt x="42" y="40"/>
                </a:cubicBezTo>
                <a:cubicBezTo>
                  <a:pt x="40" y="42"/>
                  <a:pt x="39" y="44"/>
                  <a:pt x="39" y="47"/>
                </a:cubicBezTo>
                <a:cubicBezTo>
                  <a:pt x="39" y="49"/>
                  <a:pt x="40" y="52"/>
                  <a:pt x="44" y="52"/>
                </a:cubicBezTo>
                <a:cubicBezTo>
                  <a:pt x="48" y="52"/>
                  <a:pt x="52" y="54"/>
                  <a:pt x="52" y="58"/>
                </a:cubicBezTo>
                <a:cubicBezTo>
                  <a:pt x="52" y="61"/>
                  <a:pt x="52" y="61"/>
                  <a:pt x="52" y="61"/>
                </a:cubicBezTo>
                <a:cubicBezTo>
                  <a:pt x="52" y="62"/>
                  <a:pt x="51" y="62"/>
                  <a:pt x="51" y="62"/>
                </a:cubicBezTo>
                <a:cubicBezTo>
                  <a:pt x="17" y="62"/>
                  <a:pt x="17" y="62"/>
                  <a:pt x="17" y="62"/>
                </a:cubicBezTo>
                <a:cubicBezTo>
                  <a:pt x="16" y="62"/>
                  <a:pt x="16" y="62"/>
                  <a:pt x="16" y="61"/>
                </a:cubicBezTo>
                <a:cubicBezTo>
                  <a:pt x="16" y="58"/>
                  <a:pt x="16" y="58"/>
                  <a:pt x="16" y="58"/>
                </a:cubicBezTo>
                <a:cubicBezTo>
                  <a:pt x="16" y="54"/>
                  <a:pt x="20" y="52"/>
                  <a:pt x="24" y="52"/>
                </a:cubicBezTo>
                <a:cubicBezTo>
                  <a:pt x="27" y="52"/>
                  <a:pt x="29" y="49"/>
                  <a:pt x="29" y="47"/>
                </a:cubicBezTo>
                <a:cubicBezTo>
                  <a:pt x="29" y="44"/>
                  <a:pt x="28" y="42"/>
                  <a:pt x="26" y="40"/>
                </a:cubicBezTo>
                <a:cubicBezTo>
                  <a:pt x="25" y="40"/>
                  <a:pt x="24" y="38"/>
                  <a:pt x="22" y="36"/>
                </a:cubicBezTo>
                <a:cubicBezTo>
                  <a:pt x="10" y="36"/>
                  <a:pt x="0" y="27"/>
                  <a:pt x="0" y="20"/>
                </a:cubicBezTo>
                <a:cubicBezTo>
                  <a:pt x="0" y="15"/>
                  <a:pt x="0" y="15"/>
                  <a:pt x="0" y="15"/>
                </a:cubicBezTo>
                <a:cubicBezTo>
                  <a:pt x="0" y="12"/>
                  <a:pt x="2" y="11"/>
                  <a:pt x="4" y="11"/>
                </a:cubicBezTo>
                <a:cubicBezTo>
                  <a:pt x="16" y="11"/>
                  <a:pt x="16" y="11"/>
                  <a:pt x="16" y="11"/>
                </a:cubicBezTo>
                <a:cubicBezTo>
                  <a:pt x="16" y="7"/>
                  <a:pt x="16" y="7"/>
                  <a:pt x="16" y="7"/>
                </a:cubicBezTo>
                <a:cubicBezTo>
                  <a:pt x="16" y="3"/>
                  <a:pt x="19" y="0"/>
                  <a:pt x="22" y="0"/>
                </a:cubicBezTo>
                <a:cubicBezTo>
                  <a:pt x="45" y="0"/>
                  <a:pt x="45" y="0"/>
                  <a:pt x="45" y="0"/>
                </a:cubicBezTo>
                <a:cubicBezTo>
                  <a:pt x="49" y="0"/>
                  <a:pt x="52" y="3"/>
                  <a:pt x="52" y="7"/>
                </a:cubicBezTo>
                <a:cubicBezTo>
                  <a:pt x="52" y="11"/>
                  <a:pt x="52" y="11"/>
                  <a:pt x="52" y="11"/>
                </a:cubicBezTo>
                <a:cubicBezTo>
                  <a:pt x="63" y="11"/>
                  <a:pt x="63" y="11"/>
                  <a:pt x="63" y="11"/>
                </a:cubicBezTo>
                <a:cubicBezTo>
                  <a:pt x="66" y="11"/>
                  <a:pt x="67" y="12"/>
                  <a:pt x="67" y="15"/>
                </a:cubicBezTo>
                <a:lnTo>
                  <a:pt x="67" y="20"/>
                </a:lnTo>
                <a:close/>
                <a:moveTo>
                  <a:pt x="16" y="16"/>
                </a:moveTo>
                <a:cubicBezTo>
                  <a:pt x="6" y="16"/>
                  <a:pt x="6" y="16"/>
                  <a:pt x="6" y="16"/>
                </a:cubicBezTo>
                <a:cubicBezTo>
                  <a:pt x="6" y="20"/>
                  <a:pt x="6" y="20"/>
                  <a:pt x="6" y="20"/>
                </a:cubicBezTo>
                <a:cubicBezTo>
                  <a:pt x="6" y="24"/>
                  <a:pt x="11" y="29"/>
                  <a:pt x="19" y="31"/>
                </a:cubicBezTo>
                <a:cubicBezTo>
                  <a:pt x="17" y="27"/>
                  <a:pt x="16" y="22"/>
                  <a:pt x="16" y="16"/>
                </a:cubicBezTo>
                <a:close/>
                <a:moveTo>
                  <a:pt x="62" y="16"/>
                </a:moveTo>
                <a:cubicBezTo>
                  <a:pt x="52" y="16"/>
                  <a:pt x="52" y="16"/>
                  <a:pt x="52" y="16"/>
                </a:cubicBezTo>
                <a:cubicBezTo>
                  <a:pt x="52" y="22"/>
                  <a:pt x="51" y="27"/>
                  <a:pt x="49" y="31"/>
                </a:cubicBezTo>
                <a:cubicBezTo>
                  <a:pt x="57" y="29"/>
                  <a:pt x="62" y="24"/>
                  <a:pt x="62" y="20"/>
                </a:cubicBezTo>
                <a:lnTo>
                  <a:pt x="62" y="16"/>
                </a:ln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a:endParaRPr>
          </a:p>
        </p:txBody>
      </p:sp>
      <p:sp>
        <p:nvSpPr>
          <p:cNvPr id="416" name="Shape 2618"/>
          <p:cNvSpPr/>
          <p:nvPr/>
        </p:nvSpPr>
        <p:spPr>
          <a:xfrm>
            <a:off x="7475962" y="4327062"/>
            <a:ext cx="387878" cy="362421"/>
          </a:xfrm>
          <a:custGeom>
            <a:avLst/>
            <a:gdLst/>
            <a:ahLst/>
            <a:cxnLst>
              <a:cxn ang="0">
                <a:pos x="wd2" y="hd2"/>
              </a:cxn>
              <a:cxn ang="5400000">
                <a:pos x="wd2" y="hd2"/>
              </a:cxn>
              <a:cxn ang="10800000">
                <a:pos x="wd2" y="hd2"/>
              </a:cxn>
              <a:cxn ang="16200000">
                <a:pos x="wd2" y="hd2"/>
              </a:cxn>
            </a:cxnLst>
            <a:rect l="0" t="0" r="r" b="b"/>
            <a:pathLst>
              <a:path w="21278" h="21600" extrusionOk="0">
                <a:moveTo>
                  <a:pt x="2560" y="18308"/>
                </a:moveTo>
                <a:cubicBezTo>
                  <a:pt x="2472" y="18397"/>
                  <a:pt x="2418" y="18520"/>
                  <a:pt x="2418" y="18655"/>
                </a:cubicBezTo>
                <a:cubicBezTo>
                  <a:pt x="2418" y="18926"/>
                  <a:pt x="2635" y="19146"/>
                  <a:pt x="2902" y="19146"/>
                </a:cubicBezTo>
                <a:cubicBezTo>
                  <a:pt x="3169" y="19146"/>
                  <a:pt x="3385" y="18926"/>
                  <a:pt x="3385" y="18655"/>
                </a:cubicBezTo>
                <a:cubicBezTo>
                  <a:pt x="3385" y="18384"/>
                  <a:pt x="3169" y="18164"/>
                  <a:pt x="2902" y="18164"/>
                </a:cubicBezTo>
                <a:cubicBezTo>
                  <a:pt x="2768" y="18164"/>
                  <a:pt x="2647" y="18219"/>
                  <a:pt x="2560" y="18308"/>
                </a:cubicBezTo>
                <a:moveTo>
                  <a:pt x="20499" y="4279"/>
                </a:moveTo>
                <a:lnTo>
                  <a:pt x="20091" y="4692"/>
                </a:lnTo>
                <a:lnTo>
                  <a:pt x="20088" y="4688"/>
                </a:lnTo>
                <a:lnTo>
                  <a:pt x="17670" y="7143"/>
                </a:lnTo>
                <a:lnTo>
                  <a:pt x="17664" y="7137"/>
                </a:lnTo>
                <a:cubicBezTo>
                  <a:pt x="17227" y="7580"/>
                  <a:pt x="16624" y="7853"/>
                  <a:pt x="15958" y="7853"/>
                </a:cubicBezTo>
                <a:cubicBezTo>
                  <a:pt x="14624" y="7853"/>
                  <a:pt x="13543" y="6755"/>
                  <a:pt x="13543" y="5401"/>
                </a:cubicBezTo>
                <a:cubicBezTo>
                  <a:pt x="13543" y="4725"/>
                  <a:pt x="13813" y="4113"/>
                  <a:pt x="14248" y="3670"/>
                </a:cubicBezTo>
                <a:lnTo>
                  <a:pt x="13563" y="2975"/>
                </a:lnTo>
                <a:cubicBezTo>
                  <a:pt x="12951" y="3596"/>
                  <a:pt x="12571" y="4452"/>
                  <a:pt x="12571" y="5401"/>
                </a:cubicBezTo>
                <a:cubicBezTo>
                  <a:pt x="12571" y="7300"/>
                  <a:pt x="14087" y="8840"/>
                  <a:pt x="15958" y="8840"/>
                </a:cubicBezTo>
                <a:cubicBezTo>
                  <a:pt x="16893" y="8840"/>
                  <a:pt x="17737" y="8454"/>
                  <a:pt x="18348" y="7832"/>
                </a:cubicBezTo>
                <a:lnTo>
                  <a:pt x="18353" y="7837"/>
                </a:lnTo>
                <a:lnTo>
                  <a:pt x="20152" y="6011"/>
                </a:lnTo>
                <a:cubicBezTo>
                  <a:pt x="20516" y="7368"/>
                  <a:pt x="20343" y="8670"/>
                  <a:pt x="19540" y="9505"/>
                </a:cubicBezTo>
                <a:lnTo>
                  <a:pt x="16947" y="12198"/>
                </a:lnTo>
                <a:cubicBezTo>
                  <a:pt x="16605" y="12553"/>
                  <a:pt x="16104" y="12766"/>
                  <a:pt x="15610" y="12766"/>
                </a:cubicBezTo>
                <a:cubicBezTo>
                  <a:pt x="15590" y="12765"/>
                  <a:pt x="13953" y="12652"/>
                  <a:pt x="12318" y="11611"/>
                </a:cubicBezTo>
                <a:lnTo>
                  <a:pt x="12314" y="11620"/>
                </a:lnTo>
                <a:cubicBezTo>
                  <a:pt x="12239" y="11572"/>
                  <a:pt x="12155" y="11537"/>
                  <a:pt x="12060" y="11537"/>
                </a:cubicBezTo>
                <a:cubicBezTo>
                  <a:pt x="11897" y="11537"/>
                  <a:pt x="11759" y="11625"/>
                  <a:pt x="11671" y="11753"/>
                </a:cubicBezTo>
                <a:lnTo>
                  <a:pt x="11654" y="11742"/>
                </a:lnTo>
                <a:lnTo>
                  <a:pt x="4270" y="20043"/>
                </a:lnTo>
                <a:cubicBezTo>
                  <a:pt x="3919" y="20399"/>
                  <a:pt x="3436" y="20618"/>
                  <a:pt x="2902" y="20618"/>
                </a:cubicBezTo>
                <a:cubicBezTo>
                  <a:pt x="1833" y="20618"/>
                  <a:pt x="967" y="19740"/>
                  <a:pt x="967" y="18655"/>
                </a:cubicBezTo>
                <a:cubicBezTo>
                  <a:pt x="967" y="18113"/>
                  <a:pt x="1184" y="17622"/>
                  <a:pt x="1534" y="17267"/>
                </a:cubicBezTo>
                <a:lnTo>
                  <a:pt x="9684" y="9801"/>
                </a:lnTo>
                <a:lnTo>
                  <a:pt x="9671" y="9786"/>
                </a:lnTo>
                <a:cubicBezTo>
                  <a:pt x="9796" y="9698"/>
                  <a:pt x="9884" y="9557"/>
                  <a:pt x="9884" y="9389"/>
                </a:cubicBezTo>
                <a:cubicBezTo>
                  <a:pt x="9884" y="9283"/>
                  <a:pt x="9844" y="9190"/>
                  <a:pt x="9787" y="9110"/>
                </a:cubicBezTo>
                <a:lnTo>
                  <a:pt x="9790" y="9107"/>
                </a:lnTo>
                <a:cubicBezTo>
                  <a:pt x="8390" y="7219"/>
                  <a:pt x="8340" y="5816"/>
                  <a:pt x="9546" y="4488"/>
                </a:cubicBezTo>
                <a:lnTo>
                  <a:pt x="12130" y="1805"/>
                </a:lnTo>
                <a:cubicBezTo>
                  <a:pt x="12785" y="1125"/>
                  <a:pt x="13641" y="982"/>
                  <a:pt x="14244" y="982"/>
                </a:cubicBezTo>
                <a:lnTo>
                  <a:pt x="14246" y="982"/>
                </a:lnTo>
                <a:cubicBezTo>
                  <a:pt x="14611" y="982"/>
                  <a:pt x="14988" y="1037"/>
                  <a:pt x="15366" y="1136"/>
                </a:cubicBezTo>
                <a:lnTo>
                  <a:pt x="13559" y="2970"/>
                </a:lnTo>
                <a:lnTo>
                  <a:pt x="14243" y="3664"/>
                </a:lnTo>
                <a:lnTo>
                  <a:pt x="16661" y="1210"/>
                </a:lnTo>
                <a:lnTo>
                  <a:pt x="16657" y="1206"/>
                </a:lnTo>
                <a:lnTo>
                  <a:pt x="17082" y="775"/>
                </a:lnTo>
                <a:cubicBezTo>
                  <a:pt x="16139" y="269"/>
                  <a:pt x="15160" y="0"/>
                  <a:pt x="14246" y="0"/>
                </a:cubicBezTo>
                <a:lnTo>
                  <a:pt x="14244" y="0"/>
                </a:lnTo>
                <a:cubicBezTo>
                  <a:pt x="13167" y="0"/>
                  <a:pt x="12182" y="361"/>
                  <a:pt x="11460" y="1111"/>
                </a:cubicBezTo>
                <a:lnTo>
                  <a:pt x="8867" y="3804"/>
                </a:lnTo>
                <a:cubicBezTo>
                  <a:pt x="7163" y="5672"/>
                  <a:pt x="7613" y="7584"/>
                  <a:pt x="8769" y="9315"/>
                </a:cubicBezTo>
                <a:lnTo>
                  <a:pt x="850" y="16572"/>
                </a:lnTo>
                <a:cubicBezTo>
                  <a:pt x="325" y="17106"/>
                  <a:pt x="0" y="17842"/>
                  <a:pt x="0" y="18655"/>
                </a:cubicBezTo>
                <a:cubicBezTo>
                  <a:pt x="0" y="20282"/>
                  <a:pt x="1299" y="21600"/>
                  <a:pt x="2902" y="21600"/>
                </a:cubicBezTo>
                <a:cubicBezTo>
                  <a:pt x="3703" y="21600"/>
                  <a:pt x="4429" y="21271"/>
                  <a:pt x="4954" y="20738"/>
                </a:cubicBezTo>
                <a:lnTo>
                  <a:pt x="12160" y="12652"/>
                </a:lnTo>
                <a:cubicBezTo>
                  <a:pt x="13800" y="13590"/>
                  <a:pt x="15363" y="13747"/>
                  <a:pt x="15606" y="13747"/>
                </a:cubicBezTo>
                <a:cubicBezTo>
                  <a:pt x="16313" y="13747"/>
                  <a:pt x="17067" y="13463"/>
                  <a:pt x="17617" y="12892"/>
                </a:cubicBezTo>
                <a:lnTo>
                  <a:pt x="20209" y="10198"/>
                </a:lnTo>
                <a:cubicBezTo>
                  <a:pt x="21560" y="8795"/>
                  <a:pt x="21600" y="6433"/>
                  <a:pt x="20499" y="4279"/>
                </a:cubicBezTo>
              </a:path>
            </a:pathLst>
          </a:custGeom>
          <a:solidFill>
            <a:schemeClr val="bg1"/>
          </a:solidFill>
          <a:ln w="12700">
            <a:solidFill>
              <a:schemeClr val="bg1"/>
            </a:solidFill>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sym typeface="Gill Sans"/>
            </a:endParaRPr>
          </a:p>
        </p:txBody>
      </p:sp>
      <p:sp>
        <p:nvSpPr>
          <p:cNvPr id="430" name="Прямоугольник 429"/>
          <p:cNvSpPr/>
          <p:nvPr/>
        </p:nvSpPr>
        <p:spPr>
          <a:xfrm>
            <a:off x="4964647" y="581410"/>
            <a:ext cx="2081532" cy="461665"/>
          </a:xfrm>
          <a:prstGeom prst="rect">
            <a:avLst/>
          </a:prstGeom>
        </p:spPr>
        <p:txBody>
          <a:bodyPr wrap="none">
            <a:spAutoFit/>
          </a:bodyPr>
          <a:lstStyle/>
          <a:p>
            <a:pPr lvl="0" algn="ctr">
              <a:defRPr/>
            </a:pPr>
            <a:r>
              <a:rPr lang="ru-RU" sz="2400" b="1" dirty="0">
                <a:solidFill>
                  <a:sysClr val="windowText" lastClr="000000">
                    <a:lumMod val="85000"/>
                    <a:lumOff val="15000"/>
                  </a:sysClr>
                </a:solidFill>
                <a:latin typeface="Arial"/>
              </a:rPr>
              <a:t>Содержание</a:t>
            </a:r>
            <a:endParaRPr lang="ru-RU" sz="2400" b="1" dirty="0">
              <a:solidFill>
                <a:prstClr val="black">
                  <a:lumMod val="95000"/>
                  <a:lumOff val="5000"/>
                </a:prstClr>
              </a:solidFill>
              <a:latin typeface="Century Gothic" panose="020B050202020202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045902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 calcmode="lin" valueType="num">
                                      <p:cBhvr>
                                        <p:cTn id="7" dur="500" fill="hold"/>
                                        <p:tgtEl>
                                          <p:spTgt spid="102"/>
                                        </p:tgtEl>
                                        <p:attrNameLst>
                                          <p:attrName>ppt_w</p:attrName>
                                        </p:attrNameLst>
                                      </p:cBhvr>
                                      <p:tavLst>
                                        <p:tav tm="0">
                                          <p:val>
                                            <p:fltVal val="0"/>
                                          </p:val>
                                        </p:tav>
                                        <p:tav tm="100000">
                                          <p:val>
                                            <p:strVal val="#ppt_w"/>
                                          </p:val>
                                        </p:tav>
                                      </p:tavLst>
                                    </p:anim>
                                    <p:anim calcmode="lin" valueType="num">
                                      <p:cBhvr>
                                        <p:cTn id="8" dur="500" fill="hold"/>
                                        <p:tgtEl>
                                          <p:spTgt spid="102"/>
                                        </p:tgtEl>
                                        <p:attrNameLst>
                                          <p:attrName>ppt_h</p:attrName>
                                        </p:attrNameLst>
                                      </p:cBhvr>
                                      <p:tavLst>
                                        <p:tav tm="0">
                                          <p:val>
                                            <p:fltVal val="0"/>
                                          </p:val>
                                        </p:tav>
                                        <p:tav tm="100000">
                                          <p:val>
                                            <p:strVal val="#ppt_h"/>
                                          </p:val>
                                        </p:tav>
                                      </p:tavLst>
                                    </p:anim>
                                    <p:animEffect transition="in" filter="fade">
                                      <p:cBhvr>
                                        <p:cTn id="9" dur="500"/>
                                        <p:tgtEl>
                                          <p:spTgt spid="102"/>
                                        </p:tgtEl>
                                      </p:cBhvr>
                                    </p:animEffect>
                                  </p:childTnLst>
                                </p:cTn>
                              </p:par>
                            </p:childTnLst>
                          </p:cTn>
                        </p:par>
                        <p:par>
                          <p:cTn id="10" fill="hold">
                            <p:stCondLst>
                              <p:cond delay="500"/>
                            </p:stCondLst>
                            <p:childTnLst>
                              <p:par>
                                <p:cTn id="11" presetID="53" presetClass="entr" presetSubtype="0" fill="hold" nodeType="afterEffect">
                                  <p:stCondLst>
                                    <p:cond delay="0"/>
                                  </p:stCondLst>
                                  <p:childTnLst>
                                    <p:set>
                                      <p:cBhvr>
                                        <p:cTn id="12" dur="1" fill="hold">
                                          <p:stCondLst>
                                            <p:cond delay="0"/>
                                          </p:stCondLst>
                                        </p:cTn>
                                        <p:tgtEl>
                                          <p:spTgt spid="103"/>
                                        </p:tgtEl>
                                        <p:attrNameLst>
                                          <p:attrName>style.visibility</p:attrName>
                                        </p:attrNameLst>
                                      </p:cBhvr>
                                      <p:to>
                                        <p:strVal val="visible"/>
                                      </p:to>
                                    </p:set>
                                    <p:anim calcmode="lin" valueType="num">
                                      <p:cBhvr>
                                        <p:cTn id="13" dur="500" fill="hold"/>
                                        <p:tgtEl>
                                          <p:spTgt spid="103"/>
                                        </p:tgtEl>
                                        <p:attrNameLst>
                                          <p:attrName>ppt_w</p:attrName>
                                        </p:attrNameLst>
                                      </p:cBhvr>
                                      <p:tavLst>
                                        <p:tav tm="0">
                                          <p:val>
                                            <p:fltVal val="0"/>
                                          </p:val>
                                        </p:tav>
                                        <p:tav tm="100000">
                                          <p:val>
                                            <p:strVal val="#ppt_w"/>
                                          </p:val>
                                        </p:tav>
                                      </p:tavLst>
                                    </p:anim>
                                    <p:anim calcmode="lin" valueType="num">
                                      <p:cBhvr>
                                        <p:cTn id="14" dur="500" fill="hold"/>
                                        <p:tgtEl>
                                          <p:spTgt spid="103"/>
                                        </p:tgtEl>
                                        <p:attrNameLst>
                                          <p:attrName>ppt_h</p:attrName>
                                        </p:attrNameLst>
                                      </p:cBhvr>
                                      <p:tavLst>
                                        <p:tav tm="0">
                                          <p:val>
                                            <p:fltVal val="0"/>
                                          </p:val>
                                        </p:tav>
                                        <p:tav tm="100000">
                                          <p:val>
                                            <p:strVal val="#ppt_h"/>
                                          </p:val>
                                        </p:tav>
                                      </p:tavLst>
                                    </p:anim>
                                    <p:animEffect transition="in" filter="fade">
                                      <p:cBhvr>
                                        <p:cTn id="15" dur="500"/>
                                        <p:tgtEl>
                                          <p:spTgt spid="103"/>
                                        </p:tgtEl>
                                      </p:cBhvr>
                                    </p:animEffect>
                                  </p:childTnLst>
                                </p:cTn>
                              </p:par>
                            </p:childTnLst>
                          </p:cTn>
                        </p:par>
                        <p:par>
                          <p:cTn id="16" fill="hold">
                            <p:stCondLst>
                              <p:cond delay="1000"/>
                            </p:stCondLst>
                            <p:childTnLst>
                              <p:par>
                                <p:cTn id="17" presetID="53" presetClass="entr" presetSubtype="0" fill="hold" nodeType="afterEffect">
                                  <p:stCondLst>
                                    <p:cond delay="0"/>
                                  </p:stCondLst>
                                  <p:childTnLst>
                                    <p:set>
                                      <p:cBhvr>
                                        <p:cTn id="18" dur="1" fill="hold">
                                          <p:stCondLst>
                                            <p:cond delay="0"/>
                                          </p:stCondLst>
                                        </p:cTn>
                                        <p:tgtEl>
                                          <p:spTgt spid="297"/>
                                        </p:tgtEl>
                                        <p:attrNameLst>
                                          <p:attrName>style.visibility</p:attrName>
                                        </p:attrNameLst>
                                      </p:cBhvr>
                                      <p:to>
                                        <p:strVal val="visible"/>
                                      </p:to>
                                    </p:set>
                                    <p:anim calcmode="lin" valueType="num">
                                      <p:cBhvr>
                                        <p:cTn id="19" dur="500" fill="hold"/>
                                        <p:tgtEl>
                                          <p:spTgt spid="297"/>
                                        </p:tgtEl>
                                        <p:attrNameLst>
                                          <p:attrName>ppt_w</p:attrName>
                                        </p:attrNameLst>
                                      </p:cBhvr>
                                      <p:tavLst>
                                        <p:tav tm="0">
                                          <p:val>
                                            <p:fltVal val="0"/>
                                          </p:val>
                                        </p:tav>
                                        <p:tav tm="100000">
                                          <p:val>
                                            <p:strVal val="#ppt_w"/>
                                          </p:val>
                                        </p:tav>
                                      </p:tavLst>
                                    </p:anim>
                                    <p:anim calcmode="lin" valueType="num">
                                      <p:cBhvr>
                                        <p:cTn id="20" dur="500" fill="hold"/>
                                        <p:tgtEl>
                                          <p:spTgt spid="297"/>
                                        </p:tgtEl>
                                        <p:attrNameLst>
                                          <p:attrName>ppt_h</p:attrName>
                                        </p:attrNameLst>
                                      </p:cBhvr>
                                      <p:tavLst>
                                        <p:tav tm="0">
                                          <p:val>
                                            <p:fltVal val="0"/>
                                          </p:val>
                                        </p:tav>
                                        <p:tav tm="100000">
                                          <p:val>
                                            <p:strVal val="#ppt_h"/>
                                          </p:val>
                                        </p:tav>
                                      </p:tavLst>
                                    </p:anim>
                                    <p:animEffect transition="in" filter="fade">
                                      <p:cBhvr>
                                        <p:cTn id="21" dur="500"/>
                                        <p:tgtEl>
                                          <p:spTgt spid="297"/>
                                        </p:tgtEl>
                                      </p:cBhvr>
                                    </p:animEffect>
                                  </p:childTnLst>
                                </p:cTn>
                              </p:par>
                            </p:childTnLst>
                          </p:cTn>
                        </p:par>
                        <p:par>
                          <p:cTn id="22" fill="hold">
                            <p:stCondLst>
                              <p:cond delay="1500"/>
                            </p:stCondLst>
                            <p:childTnLst>
                              <p:par>
                                <p:cTn id="23" presetID="53" presetClass="entr" presetSubtype="0" fill="hold" nodeType="afterEffect">
                                  <p:stCondLst>
                                    <p:cond delay="0"/>
                                  </p:stCondLst>
                                  <p:childTnLst>
                                    <p:set>
                                      <p:cBhvr>
                                        <p:cTn id="24" dur="1" fill="hold">
                                          <p:stCondLst>
                                            <p:cond delay="0"/>
                                          </p:stCondLst>
                                        </p:cTn>
                                        <p:tgtEl>
                                          <p:spTgt spid="300"/>
                                        </p:tgtEl>
                                        <p:attrNameLst>
                                          <p:attrName>style.visibility</p:attrName>
                                        </p:attrNameLst>
                                      </p:cBhvr>
                                      <p:to>
                                        <p:strVal val="visible"/>
                                      </p:to>
                                    </p:set>
                                    <p:anim calcmode="lin" valueType="num">
                                      <p:cBhvr>
                                        <p:cTn id="25" dur="500" fill="hold"/>
                                        <p:tgtEl>
                                          <p:spTgt spid="300"/>
                                        </p:tgtEl>
                                        <p:attrNameLst>
                                          <p:attrName>ppt_w</p:attrName>
                                        </p:attrNameLst>
                                      </p:cBhvr>
                                      <p:tavLst>
                                        <p:tav tm="0">
                                          <p:val>
                                            <p:fltVal val="0"/>
                                          </p:val>
                                        </p:tav>
                                        <p:tav tm="100000">
                                          <p:val>
                                            <p:strVal val="#ppt_w"/>
                                          </p:val>
                                        </p:tav>
                                      </p:tavLst>
                                    </p:anim>
                                    <p:anim calcmode="lin" valueType="num">
                                      <p:cBhvr>
                                        <p:cTn id="26" dur="500" fill="hold"/>
                                        <p:tgtEl>
                                          <p:spTgt spid="300"/>
                                        </p:tgtEl>
                                        <p:attrNameLst>
                                          <p:attrName>ppt_h</p:attrName>
                                        </p:attrNameLst>
                                      </p:cBhvr>
                                      <p:tavLst>
                                        <p:tav tm="0">
                                          <p:val>
                                            <p:fltVal val="0"/>
                                          </p:val>
                                        </p:tav>
                                        <p:tav tm="100000">
                                          <p:val>
                                            <p:strVal val="#ppt_h"/>
                                          </p:val>
                                        </p:tav>
                                      </p:tavLst>
                                    </p:anim>
                                    <p:animEffect transition="in" filter="fade">
                                      <p:cBhvr>
                                        <p:cTn id="27" dur="500"/>
                                        <p:tgtEl>
                                          <p:spTgt spid="300"/>
                                        </p:tgtEl>
                                      </p:cBhvr>
                                    </p:animEffect>
                                  </p:childTnLst>
                                </p:cTn>
                              </p:par>
                            </p:childTnLst>
                          </p:cTn>
                        </p:par>
                        <p:par>
                          <p:cTn id="28" fill="hold">
                            <p:stCondLst>
                              <p:cond delay="2000"/>
                            </p:stCondLst>
                            <p:childTnLst>
                              <p:par>
                                <p:cTn id="29" presetID="53" presetClass="entr" presetSubtype="0" fill="hold" nodeType="afterEffect">
                                  <p:stCondLst>
                                    <p:cond delay="0"/>
                                  </p:stCondLst>
                                  <p:childTnLst>
                                    <p:set>
                                      <p:cBhvr>
                                        <p:cTn id="30" dur="1" fill="hold">
                                          <p:stCondLst>
                                            <p:cond delay="0"/>
                                          </p:stCondLst>
                                        </p:cTn>
                                        <p:tgtEl>
                                          <p:spTgt spid="303"/>
                                        </p:tgtEl>
                                        <p:attrNameLst>
                                          <p:attrName>style.visibility</p:attrName>
                                        </p:attrNameLst>
                                      </p:cBhvr>
                                      <p:to>
                                        <p:strVal val="visible"/>
                                      </p:to>
                                    </p:set>
                                    <p:anim calcmode="lin" valueType="num">
                                      <p:cBhvr>
                                        <p:cTn id="31" dur="500" fill="hold"/>
                                        <p:tgtEl>
                                          <p:spTgt spid="303"/>
                                        </p:tgtEl>
                                        <p:attrNameLst>
                                          <p:attrName>ppt_w</p:attrName>
                                        </p:attrNameLst>
                                      </p:cBhvr>
                                      <p:tavLst>
                                        <p:tav tm="0">
                                          <p:val>
                                            <p:fltVal val="0"/>
                                          </p:val>
                                        </p:tav>
                                        <p:tav tm="100000">
                                          <p:val>
                                            <p:strVal val="#ppt_w"/>
                                          </p:val>
                                        </p:tav>
                                      </p:tavLst>
                                    </p:anim>
                                    <p:anim calcmode="lin" valueType="num">
                                      <p:cBhvr>
                                        <p:cTn id="32" dur="500" fill="hold"/>
                                        <p:tgtEl>
                                          <p:spTgt spid="303"/>
                                        </p:tgtEl>
                                        <p:attrNameLst>
                                          <p:attrName>ppt_h</p:attrName>
                                        </p:attrNameLst>
                                      </p:cBhvr>
                                      <p:tavLst>
                                        <p:tav tm="0">
                                          <p:val>
                                            <p:fltVal val="0"/>
                                          </p:val>
                                        </p:tav>
                                        <p:tav tm="100000">
                                          <p:val>
                                            <p:strVal val="#ppt_h"/>
                                          </p:val>
                                        </p:tav>
                                      </p:tavLst>
                                    </p:anim>
                                    <p:animEffect transition="in" filter="fade">
                                      <p:cBhvr>
                                        <p:cTn id="33" dur="500"/>
                                        <p:tgtEl>
                                          <p:spTgt spid="303"/>
                                        </p:tgtEl>
                                      </p:cBhvr>
                                    </p:animEffect>
                                  </p:childTnLst>
                                </p:cTn>
                              </p:par>
                            </p:childTnLst>
                          </p:cTn>
                        </p:par>
                        <p:par>
                          <p:cTn id="34" fill="hold">
                            <p:stCondLst>
                              <p:cond delay="2500"/>
                            </p:stCondLst>
                            <p:childTnLst>
                              <p:par>
                                <p:cTn id="35" presetID="53" presetClass="entr" presetSubtype="0" fill="hold" nodeType="afterEffect">
                                  <p:stCondLst>
                                    <p:cond delay="0"/>
                                  </p:stCondLst>
                                  <p:childTnLst>
                                    <p:set>
                                      <p:cBhvr>
                                        <p:cTn id="36" dur="1" fill="hold">
                                          <p:stCondLst>
                                            <p:cond delay="0"/>
                                          </p:stCondLst>
                                        </p:cTn>
                                        <p:tgtEl>
                                          <p:spTgt spid="294"/>
                                        </p:tgtEl>
                                        <p:attrNameLst>
                                          <p:attrName>style.visibility</p:attrName>
                                        </p:attrNameLst>
                                      </p:cBhvr>
                                      <p:to>
                                        <p:strVal val="visible"/>
                                      </p:to>
                                    </p:set>
                                    <p:anim calcmode="lin" valueType="num">
                                      <p:cBhvr>
                                        <p:cTn id="37" dur="500" fill="hold"/>
                                        <p:tgtEl>
                                          <p:spTgt spid="294"/>
                                        </p:tgtEl>
                                        <p:attrNameLst>
                                          <p:attrName>ppt_w</p:attrName>
                                        </p:attrNameLst>
                                      </p:cBhvr>
                                      <p:tavLst>
                                        <p:tav tm="0">
                                          <p:val>
                                            <p:fltVal val="0"/>
                                          </p:val>
                                        </p:tav>
                                        <p:tav tm="100000">
                                          <p:val>
                                            <p:strVal val="#ppt_w"/>
                                          </p:val>
                                        </p:tav>
                                      </p:tavLst>
                                    </p:anim>
                                    <p:anim calcmode="lin" valueType="num">
                                      <p:cBhvr>
                                        <p:cTn id="38" dur="500" fill="hold"/>
                                        <p:tgtEl>
                                          <p:spTgt spid="294"/>
                                        </p:tgtEl>
                                        <p:attrNameLst>
                                          <p:attrName>ppt_h</p:attrName>
                                        </p:attrNameLst>
                                      </p:cBhvr>
                                      <p:tavLst>
                                        <p:tav tm="0">
                                          <p:val>
                                            <p:fltVal val="0"/>
                                          </p:val>
                                        </p:tav>
                                        <p:tav tm="100000">
                                          <p:val>
                                            <p:strVal val="#ppt_h"/>
                                          </p:val>
                                        </p:tav>
                                      </p:tavLst>
                                    </p:anim>
                                    <p:animEffect transition="in" filter="fade">
                                      <p:cBhvr>
                                        <p:cTn id="39" dur="500"/>
                                        <p:tgtEl>
                                          <p:spTgt spid="294"/>
                                        </p:tgtEl>
                                      </p:cBhvr>
                                    </p:animEffect>
                                  </p:childTnLst>
                                </p:cTn>
                              </p:par>
                            </p:childTnLst>
                          </p:cTn>
                        </p:par>
                        <p:par>
                          <p:cTn id="40" fill="hold">
                            <p:stCondLst>
                              <p:cond delay="3000"/>
                            </p:stCondLst>
                            <p:childTnLst>
                              <p:par>
                                <p:cTn id="41" presetID="53" presetClass="entr" presetSubtype="0" fill="hold" grpId="0" nodeType="afterEffect">
                                  <p:stCondLst>
                                    <p:cond delay="0"/>
                                  </p:stCondLst>
                                  <p:childTnLst>
                                    <p:set>
                                      <p:cBhvr>
                                        <p:cTn id="42" dur="1" fill="hold">
                                          <p:stCondLst>
                                            <p:cond delay="0"/>
                                          </p:stCondLst>
                                        </p:cTn>
                                        <p:tgtEl>
                                          <p:spTgt spid="408"/>
                                        </p:tgtEl>
                                        <p:attrNameLst>
                                          <p:attrName>style.visibility</p:attrName>
                                        </p:attrNameLst>
                                      </p:cBhvr>
                                      <p:to>
                                        <p:strVal val="visible"/>
                                      </p:to>
                                    </p:set>
                                    <p:anim calcmode="lin" valueType="num">
                                      <p:cBhvr>
                                        <p:cTn id="43" dur="500" fill="hold"/>
                                        <p:tgtEl>
                                          <p:spTgt spid="408"/>
                                        </p:tgtEl>
                                        <p:attrNameLst>
                                          <p:attrName>ppt_w</p:attrName>
                                        </p:attrNameLst>
                                      </p:cBhvr>
                                      <p:tavLst>
                                        <p:tav tm="0">
                                          <p:val>
                                            <p:fltVal val="0"/>
                                          </p:val>
                                        </p:tav>
                                        <p:tav tm="100000">
                                          <p:val>
                                            <p:strVal val="#ppt_w"/>
                                          </p:val>
                                        </p:tav>
                                      </p:tavLst>
                                    </p:anim>
                                    <p:anim calcmode="lin" valueType="num">
                                      <p:cBhvr>
                                        <p:cTn id="44" dur="500" fill="hold"/>
                                        <p:tgtEl>
                                          <p:spTgt spid="408"/>
                                        </p:tgtEl>
                                        <p:attrNameLst>
                                          <p:attrName>ppt_h</p:attrName>
                                        </p:attrNameLst>
                                      </p:cBhvr>
                                      <p:tavLst>
                                        <p:tav tm="0">
                                          <p:val>
                                            <p:fltVal val="0"/>
                                          </p:val>
                                        </p:tav>
                                        <p:tav tm="100000">
                                          <p:val>
                                            <p:strVal val="#ppt_h"/>
                                          </p:val>
                                        </p:tav>
                                      </p:tavLst>
                                    </p:anim>
                                    <p:animEffect transition="in" filter="fade">
                                      <p:cBhvr>
                                        <p:cTn id="45" dur="500"/>
                                        <p:tgtEl>
                                          <p:spTgt spid="408"/>
                                        </p:tgtEl>
                                      </p:cBhvr>
                                    </p:animEffect>
                                  </p:childTnLst>
                                </p:cTn>
                              </p:par>
                            </p:childTnLst>
                          </p:cTn>
                        </p:par>
                        <p:par>
                          <p:cTn id="46" fill="hold">
                            <p:stCondLst>
                              <p:cond delay="3500"/>
                            </p:stCondLst>
                            <p:childTnLst>
                              <p:par>
                                <p:cTn id="47" presetID="53" presetClass="entr" presetSubtype="0" fill="hold" grpId="0" nodeType="afterEffect">
                                  <p:stCondLst>
                                    <p:cond delay="0"/>
                                  </p:stCondLst>
                                  <p:childTnLst>
                                    <p:set>
                                      <p:cBhvr>
                                        <p:cTn id="48" dur="1" fill="hold">
                                          <p:stCondLst>
                                            <p:cond delay="0"/>
                                          </p:stCondLst>
                                        </p:cTn>
                                        <p:tgtEl>
                                          <p:spTgt spid="407"/>
                                        </p:tgtEl>
                                        <p:attrNameLst>
                                          <p:attrName>style.visibility</p:attrName>
                                        </p:attrNameLst>
                                      </p:cBhvr>
                                      <p:to>
                                        <p:strVal val="visible"/>
                                      </p:to>
                                    </p:set>
                                    <p:anim calcmode="lin" valueType="num">
                                      <p:cBhvr>
                                        <p:cTn id="49" dur="500" fill="hold"/>
                                        <p:tgtEl>
                                          <p:spTgt spid="407"/>
                                        </p:tgtEl>
                                        <p:attrNameLst>
                                          <p:attrName>ppt_w</p:attrName>
                                        </p:attrNameLst>
                                      </p:cBhvr>
                                      <p:tavLst>
                                        <p:tav tm="0">
                                          <p:val>
                                            <p:fltVal val="0"/>
                                          </p:val>
                                        </p:tav>
                                        <p:tav tm="100000">
                                          <p:val>
                                            <p:strVal val="#ppt_w"/>
                                          </p:val>
                                        </p:tav>
                                      </p:tavLst>
                                    </p:anim>
                                    <p:anim calcmode="lin" valueType="num">
                                      <p:cBhvr>
                                        <p:cTn id="50" dur="500" fill="hold"/>
                                        <p:tgtEl>
                                          <p:spTgt spid="407"/>
                                        </p:tgtEl>
                                        <p:attrNameLst>
                                          <p:attrName>ppt_h</p:attrName>
                                        </p:attrNameLst>
                                      </p:cBhvr>
                                      <p:tavLst>
                                        <p:tav tm="0">
                                          <p:val>
                                            <p:fltVal val="0"/>
                                          </p:val>
                                        </p:tav>
                                        <p:tav tm="100000">
                                          <p:val>
                                            <p:strVal val="#ppt_h"/>
                                          </p:val>
                                        </p:tav>
                                      </p:tavLst>
                                    </p:anim>
                                    <p:animEffect transition="in" filter="fade">
                                      <p:cBhvr>
                                        <p:cTn id="51" dur="500"/>
                                        <p:tgtEl>
                                          <p:spTgt spid="407"/>
                                        </p:tgtEl>
                                      </p:cBhvr>
                                    </p:animEffect>
                                  </p:childTnLst>
                                </p:cTn>
                              </p:par>
                            </p:childTnLst>
                          </p:cTn>
                        </p:par>
                        <p:par>
                          <p:cTn id="52" fill="hold">
                            <p:stCondLst>
                              <p:cond delay="4000"/>
                            </p:stCondLst>
                            <p:childTnLst>
                              <p:par>
                                <p:cTn id="53" presetID="53" presetClass="entr" presetSubtype="0" fill="hold" nodeType="afterEffect">
                                  <p:stCondLst>
                                    <p:cond delay="0"/>
                                  </p:stCondLst>
                                  <p:childTnLst>
                                    <p:set>
                                      <p:cBhvr>
                                        <p:cTn id="54" dur="1" fill="hold">
                                          <p:stCondLst>
                                            <p:cond delay="0"/>
                                          </p:stCondLst>
                                        </p:cTn>
                                        <p:tgtEl>
                                          <p:spTgt spid="370"/>
                                        </p:tgtEl>
                                        <p:attrNameLst>
                                          <p:attrName>style.visibility</p:attrName>
                                        </p:attrNameLst>
                                      </p:cBhvr>
                                      <p:to>
                                        <p:strVal val="visible"/>
                                      </p:to>
                                    </p:set>
                                    <p:anim calcmode="lin" valueType="num">
                                      <p:cBhvr>
                                        <p:cTn id="55" dur="500" fill="hold"/>
                                        <p:tgtEl>
                                          <p:spTgt spid="370"/>
                                        </p:tgtEl>
                                        <p:attrNameLst>
                                          <p:attrName>ppt_w</p:attrName>
                                        </p:attrNameLst>
                                      </p:cBhvr>
                                      <p:tavLst>
                                        <p:tav tm="0">
                                          <p:val>
                                            <p:fltVal val="0"/>
                                          </p:val>
                                        </p:tav>
                                        <p:tav tm="100000">
                                          <p:val>
                                            <p:strVal val="#ppt_w"/>
                                          </p:val>
                                        </p:tav>
                                      </p:tavLst>
                                    </p:anim>
                                    <p:anim calcmode="lin" valueType="num">
                                      <p:cBhvr>
                                        <p:cTn id="56" dur="500" fill="hold"/>
                                        <p:tgtEl>
                                          <p:spTgt spid="370"/>
                                        </p:tgtEl>
                                        <p:attrNameLst>
                                          <p:attrName>ppt_h</p:attrName>
                                        </p:attrNameLst>
                                      </p:cBhvr>
                                      <p:tavLst>
                                        <p:tav tm="0">
                                          <p:val>
                                            <p:fltVal val="0"/>
                                          </p:val>
                                        </p:tav>
                                        <p:tav tm="100000">
                                          <p:val>
                                            <p:strVal val="#ppt_h"/>
                                          </p:val>
                                        </p:tav>
                                      </p:tavLst>
                                    </p:anim>
                                    <p:animEffect transition="in" filter="fade">
                                      <p:cBhvr>
                                        <p:cTn id="57" dur="500"/>
                                        <p:tgtEl>
                                          <p:spTgt spid="370"/>
                                        </p:tgtEl>
                                      </p:cBhvr>
                                    </p:animEffect>
                                  </p:childTnLst>
                                </p:cTn>
                              </p:par>
                            </p:childTnLst>
                          </p:cTn>
                        </p:par>
                        <p:par>
                          <p:cTn id="58" fill="hold">
                            <p:stCondLst>
                              <p:cond delay="4500"/>
                            </p:stCondLst>
                            <p:childTnLst>
                              <p:par>
                                <p:cTn id="59" presetID="53" presetClass="entr" presetSubtype="0" fill="hold" nodeType="afterEffect">
                                  <p:stCondLst>
                                    <p:cond delay="0"/>
                                  </p:stCondLst>
                                  <p:childTnLst>
                                    <p:set>
                                      <p:cBhvr>
                                        <p:cTn id="60" dur="1" fill="hold">
                                          <p:stCondLst>
                                            <p:cond delay="0"/>
                                          </p:stCondLst>
                                        </p:cTn>
                                        <p:tgtEl>
                                          <p:spTgt spid="377"/>
                                        </p:tgtEl>
                                        <p:attrNameLst>
                                          <p:attrName>style.visibility</p:attrName>
                                        </p:attrNameLst>
                                      </p:cBhvr>
                                      <p:to>
                                        <p:strVal val="visible"/>
                                      </p:to>
                                    </p:set>
                                    <p:anim calcmode="lin" valueType="num">
                                      <p:cBhvr>
                                        <p:cTn id="61" dur="500" fill="hold"/>
                                        <p:tgtEl>
                                          <p:spTgt spid="377"/>
                                        </p:tgtEl>
                                        <p:attrNameLst>
                                          <p:attrName>ppt_w</p:attrName>
                                        </p:attrNameLst>
                                      </p:cBhvr>
                                      <p:tavLst>
                                        <p:tav tm="0">
                                          <p:val>
                                            <p:fltVal val="0"/>
                                          </p:val>
                                        </p:tav>
                                        <p:tav tm="100000">
                                          <p:val>
                                            <p:strVal val="#ppt_w"/>
                                          </p:val>
                                        </p:tav>
                                      </p:tavLst>
                                    </p:anim>
                                    <p:anim calcmode="lin" valueType="num">
                                      <p:cBhvr>
                                        <p:cTn id="62" dur="500" fill="hold"/>
                                        <p:tgtEl>
                                          <p:spTgt spid="377"/>
                                        </p:tgtEl>
                                        <p:attrNameLst>
                                          <p:attrName>ppt_h</p:attrName>
                                        </p:attrNameLst>
                                      </p:cBhvr>
                                      <p:tavLst>
                                        <p:tav tm="0">
                                          <p:val>
                                            <p:fltVal val="0"/>
                                          </p:val>
                                        </p:tav>
                                        <p:tav tm="100000">
                                          <p:val>
                                            <p:strVal val="#ppt_h"/>
                                          </p:val>
                                        </p:tav>
                                      </p:tavLst>
                                    </p:anim>
                                    <p:animEffect transition="in" filter="fade">
                                      <p:cBhvr>
                                        <p:cTn id="63" dur="500"/>
                                        <p:tgtEl>
                                          <p:spTgt spid="377"/>
                                        </p:tgtEl>
                                      </p:cBhvr>
                                    </p:animEffect>
                                  </p:childTnLst>
                                </p:cTn>
                              </p:par>
                            </p:childTnLst>
                          </p:cTn>
                        </p:par>
                        <p:par>
                          <p:cTn id="64" fill="hold">
                            <p:stCondLst>
                              <p:cond delay="5000"/>
                            </p:stCondLst>
                            <p:childTnLst>
                              <p:par>
                                <p:cTn id="65" presetID="53" presetClass="entr" presetSubtype="0" fill="hold" nodeType="afterEffect">
                                  <p:stCondLst>
                                    <p:cond delay="0"/>
                                  </p:stCondLst>
                                  <p:childTnLst>
                                    <p:set>
                                      <p:cBhvr>
                                        <p:cTn id="66" dur="1" fill="hold">
                                          <p:stCondLst>
                                            <p:cond delay="0"/>
                                          </p:stCondLst>
                                        </p:cTn>
                                        <p:tgtEl>
                                          <p:spTgt spid="409"/>
                                        </p:tgtEl>
                                        <p:attrNameLst>
                                          <p:attrName>style.visibility</p:attrName>
                                        </p:attrNameLst>
                                      </p:cBhvr>
                                      <p:to>
                                        <p:strVal val="visible"/>
                                      </p:to>
                                    </p:set>
                                    <p:anim calcmode="lin" valueType="num">
                                      <p:cBhvr>
                                        <p:cTn id="67" dur="500" fill="hold"/>
                                        <p:tgtEl>
                                          <p:spTgt spid="409"/>
                                        </p:tgtEl>
                                        <p:attrNameLst>
                                          <p:attrName>ppt_w</p:attrName>
                                        </p:attrNameLst>
                                      </p:cBhvr>
                                      <p:tavLst>
                                        <p:tav tm="0">
                                          <p:val>
                                            <p:fltVal val="0"/>
                                          </p:val>
                                        </p:tav>
                                        <p:tav tm="100000">
                                          <p:val>
                                            <p:strVal val="#ppt_w"/>
                                          </p:val>
                                        </p:tav>
                                      </p:tavLst>
                                    </p:anim>
                                    <p:anim calcmode="lin" valueType="num">
                                      <p:cBhvr>
                                        <p:cTn id="68" dur="500" fill="hold"/>
                                        <p:tgtEl>
                                          <p:spTgt spid="409"/>
                                        </p:tgtEl>
                                        <p:attrNameLst>
                                          <p:attrName>ppt_h</p:attrName>
                                        </p:attrNameLst>
                                      </p:cBhvr>
                                      <p:tavLst>
                                        <p:tav tm="0">
                                          <p:val>
                                            <p:fltVal val="0"/>
                                          </p:val>
                                        </p:tav>
                                        <p:tav tm="100000">
                                          <p:val>
                                            <p:strVal val="#ppt_h"/>
                                          </p:val>
                                        </p:tav>
                                      </p:tavLst>
                                    </p:anim>
                                    <p:animEffect transition="in" filter="fade">
                                      <p:cBhvr>
                                        <p:cTn id="69" dur="500"/>
                                        <p:tgtEl>
                                          <p:spTgt spid="409"/>
                                        </p:tgtEl>
                                      </p:cBhvr>
                                    </p:animEffect>
                                  </p:childTnLst>
                                </p:cTn>
                              </p:par>
                            </p:childTnLst>
                          </p:cTn>
                        </p:par>
                        <p:par>
                          <p:cTn id="70" fill="hold">
                            <p:stCondLst>
                              <p:cond delay="5500"/>
                            </p:stCondLst>
                            <p:childTnLst>
                              <p:par>
                                <p:cTn id="71" presetID="53" presetClass="entr" presetSubtype="0" fill="hold" grpId="0" nodeType="afterEffect">
                                  <p:stCondLst>
                                    <p:cond delay="0"/>
                                  </p:stCondLst>
                                  <p:childTnLst>
                                    <p:set>
                                      <p:cBhvr>
                                        <p:cTn id="72" dur="1" fill="hold">
                                          <p:stCondLst>
                                            <p:cond delay="0"/>
                                          </p:stCondLst>
                                        </p:cTn>
                                        <p:tgtEl>
                                          <p:spTgt spid="415"/>
                                        </p:tgtEl>
                                        <p:attrNameLst>
                                          <p:attrName>style.visibility</p:attrName>
                                        </p:attrNameLst>
                                      </p:cBhvr>
                                      <p:to>
                                        <p:strVal val="visible"/>
                                      </p:to>
                                    </p:set>
                                    <p:anim calcmode="lin" valueType="num">
                                      <p:cBhvr>
                                        <p:cTn id="73" dur="500" fill="hold"/>
                                        <p:tgtEl>
                                          <p:spTgt spid="415"/>
                                        </p:tgtEl>
                                        <p:attrNameLst>
                                          <p:attrName>ppt_w</p:attrName>
                                        </p:attrNameLst>
                                      </p:cBhvr>
                                      <p:tavLst>
                                        <p:tav tm="0">
                                          <p:val>
                                            <p:fltVal val="0"/>
                                          </p:val>
                                        </p:tav>
                                        <p:tav tm="100000">
                                          <p:val>
                                            <p:strVal val="#ppt_w"/>
                                          </p:val>
                                        </p:tav>
                                      </p:tavLst>
                                    </p:anim>
                                    <p:anim calcmode="lin" valueType="num">
                                      <p:cBhvr>
                                        <p:cTn id="74" dur="500" fill="hold"/>
                                        <p:tgtEl>
                                          <p:spTgt spid="415"/>
                                        </p:tgtEl>
                                        <p:attrNameLst>
                                          <p:attrName>ppt_h</p:attrName>
                                        </p:attrNameLst>
                                      </p:cBhvr>
                                      <p:tavLst>
                                        <p:tav tm="0">
                                          <p:val>
                                            <p:fltVal val="0"/>
                                          </p:val>
                                        </p:tav>
                                        <p:tav tm="100000">
                                          <p:val>
                                            <p:strVal val="#ppt_h"/>
                                          </p:val>
                                        </p:tav>
                                      </p:tavLst>
                                    </p:anim>
                                    <p:animEffect transition="in" filter="fade">
                                      <p:cBhvr>
                                        <p:cTn id="75" dur="500"/>
                                        <p:tgtEl>
                                          <p:spTgt spid="4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P spid="407" grpId="0" animBg="1"/>
      <p:bldP spid="408" grpId="0" animBg="1"/>
      <p:bldP spid="41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ChangeArrowheads="1"/>
          </p:cNvSpPr>
          <p:nvPr>
            <p:ph type="title"/>
          </p:nvPr>
        </p:nvSpPr>
        <p:spPr/>
        <p:txBody>
          <a:bodyPr/>
          <a:lstStyle/>
          <a:p>
            <a:r>
              <a:rPr lang="ru-RU" altLang="x-none" sz="4000" b="1" dirty="0">
                <a:solidFill>
                  <a:srgbClr val="32ACFA"/>
                </a:solidFill>
              </a:rPr>
              <a:t>CRISP-DM</a:t>
            </a:r>
            <a:r>
              <a:rPr lang="ru-RU" altLang="x-none" sz="4000" b="1" dirty="0"/>
              <a:t> </a:t>
            </a:r>
            <a:r>
              <a:rPr lang="ru-RU" altLang="x-none" sz="4000" b="1" dirty="0" smtClean="0"/>
              <a:t>методология - Внедрение</a:t>
            </a:r>
            <a:r>
              <a:rPr lang="ru-RU" altLang="x-none" sz="4000" b="1" dirty="0"/>
              <a:t/>
            </a:r>
            <a:br>
              <a:rPr lang="ru-RU" altLang="x-none" sz="4000" b="1" dirty="0"/>
            </a:br>
            <a:endParaRPr lang="ru-RU" altLang="x-none" sz="4000" b="1" dirty="0"/>
          </a:p>
        </p:txBody>
      </p:sp>
      <p:sp>
        <p:nvSpPr>
          <p:cNvPr id="4" name="Прямоугольник 3"/>
          <p:cNvSpPr/>
          <p:nvPr/>
        </p:nvSpPr>
        <p:spPr>
          <a:xfrm>
            <a:off x="609600" y="1417637"/>
            <a:ext cx="10972800" cy="3847207"/>
          </a:xfrm>
          <a:prstGeom prst="rect">
            <a:avLst/>
          </a:prstGeom>
        </p:spPr>
        <p:txBody>
          <a:bodyPr wrap="square">
            <a:spAutoFit/>
          </a:bodyPr>
          <a:lstStyle/>
          <a:p>
            <a:r>
              <a:rPr lang="ru-RU" sz="2400" b="1" dirty="0" smtClean="0"/>
              <a:t>6. Внедрение </a:t>
            </a:r>
            <a:r>
              <a:rPr lang="ru-RU" sz="2400" b="1" dirty="0"/>
              <a:t>(</a:t>
            </a:r>
            <a:r>
              <a:rPr lang="ru-RU" sz="2400" b="1" dirty="0" err="1"/>
              <a:t>Deployment</a:t>
            </a:r>
            <a:r>
              <a:rPr lang="ru-RU" sz="2400" b="1" dirty="0"/>
              <a:t>) – </a:t>
            </a:r>
            <a:r>
              <a:rPr lang="ru-RU" sz="2400" dirty="0"/>
              <a:t>в зависимости от требований фаза развертывания может быть простой (составление финального отчета) или сложной, например, автоматизация процесса анализа данных для решения бизнес-задач. Обычно развертывание — это внедрение полученных моделей в прикладную сферу. </a:t>
            </a:r>
            <a:endParaRPr lang="ru-RU" sz="2400" dirty="0" smtClean="0"/>
          </a:p>
          <a:p>
            <a:endParaRPr lang="ru-RU" sz="2400" b="1" dirty="0" smtClean="0"/>
          </a:p>
          <a:p>
            <a:r>
              <a:rPr lang="ru-RU" sz="2800" b="1" dirty="0" smtClean="0"/>
              <a:t>Задачи </a:t>
            </a:r>
            <a:r>
              <a:rPr lang="ru-RU" sz="2800" b="1" dirty="0"/>
              <a:t>фазы</a:t>
            </a:r>
            <a:r>
              <a:rPr lang="ru-RU" sz="2800" dirty="0"/>
              <a:t> </a:t>
            </a:r>
            <a:r>
              <a:rPr lang="ru-RU" sz="2800" b="1" dirty="0" err="1"/>
              <a:t>Deployment</a:t>
            </a:r>
            <a:r>
              <a:rPr lang="ru-RU" sz="2800" b="1" dirty="0"/>
              <a:t>:</a:t>
            </a:r>
            <a:endParaRPr lang="ru-RU" sz="2800" dirty="0"/>
          </a:p>
          <a:p>
            <a:pPr marL="342900" indent="-342900">
              <a:buFont typeface="Arial" charset="0"/>
              <a:buChar char="•"/>
            </a:pPr>
            <a:r>
              <a:rPr lang="ru-RU" sz="2400" dirty="0"/>
              <a:t>Запланировать развертывание</a:t>
            </a:r>
          </a:p>
          <a:p>
            <a:pPr marL="342900" indent="-342900">
              <a:buFont typeface="Arial" charset="0"/>
              <a:buChar char="•"/>
            </a:pPr>
            <a:r>
              <a:rPr lang="ru-RU" sz="2400" dirty="0"/>
              <a:t>Запланировать поддержку и мониторинг </a:t>
            </a:r>
            <a:r>
              <a:rPr lang="ru-RU" sz="2400" dirty="0" smtClean="0"/>
              <a:t>решения</a:t>
            </a:r>
            <a:endParaRPr lang="ru-RU" sz="2400" dirty="0"/>
          </a:p>
          <a:p>
            <a:pPr marL="342900" indent="-342900">
              <a:buFont typeface="Arial" charset="0"/>
              <a:buChar char="•"/>
            </a:pPr>
            <a:r>
              <a:rPr lang="ru-RU" sz="2400" dirty="0"/>
              <a:t>Сделать финальный отчет</a:t>
            </a:r>
          </a:p>
          <a:p>
            <a:pPr marL="342900" indent="-342900">
              <a:buFont typeface="Arial" charset="0"/>
              <a:buChar char="•"/>
            </a:pPr>
            <a:r>
              <a:rPr lang="ru-RU" sz="2400" dirty="0" smtClean="0"/>
              <a:t>Сделать </a:t>
            </a:r>
            <a:r>
              <a:rPr lang="ru-RU" sz="2400" dirty="0" err="1" smtClean="0"/>
              <a:t>ревью</a:t>
            </a:r>
            <a:r>
              <a:rPr lang="ru-RU" sz="2400" dirty="0" smtClean="0"/>
              <a:t> проекта</a:t>
            </a:r>
            <a:endParaRPr lang="ru-RU" sz="2400" dirty="0"/>
          </a:p>
        </p:txBody>
      </p:sp>
      <p:sp>
        <p:nvSpPr>
          <p:cNvPr id="5" name="Овал 4"/>
          <p:cNvSpPr/>
          <p:nvPr/>
        </p:nvSpPr>
        <p:spPr>
          <a:xfrm>
            <a:off x="8009466" y="3335867"/>
            <a:ext cx="2844800" cy="2844800"/>
          </a:xfrm>
          <a:prstGeom prst="ellipse">
            <a:avLst/>
          </a:prstGeom>
          <a:gradFill>
            <a:gsLst>
              <a:gs pos="0">
                <a:schemeClr val="accent1">
                  <a:alpha val="50000"/>
                </a:schemeClr>
              </a:gs>
              <a:gs pos="100000">
                <a:schemeClr val="accent4">
                  <a:lumMod val="100000"/>
                  <a:alpha val="81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pic>
        <p:nvPicPr>
          <p:cNvPr id="3" name="Рисунок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52932" y="3979333"/>
            <a:ext cx="1557868" cy="1557868"/>
          </a:xfrm>
          <a:prstGeom prst="rect">
            <a:avLst/>
          </a:prstGeom>
        </p:spPr>
      </p:pic>
    </p:spTree>
    <p:extLst>
      <p:ext uri="{BB962C8B-B14F-4D97-AF65-F5344CB8AC3E}">
        <p14:creationId xmlns:p14="http://schemas.microsoft.com/office/powerpoint/2010/main" val="126027648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ChangeArrowheads="1"/>
          </p:cNvSpPr>
          <p:nvPr>
            <p:ph type="title"/>
          </p:nvPr>
        </p:nvSpPr>
        <p:spPr/>
        <p:txBody>
          <a:bodyPr/>
          <a:lstStyle/>
          <a:p>
            <a:r>
              <a:rPr lang="ru-RU" altLang="x-none" sz="4000" b="1" dirty="0">
                <a:solidFill>
                  <a:srgbClr val="32ACFA"/>
                </a:solidFill>
              </a:rPr>
              <a:t>CRISP-DM</a:t>
            </a:r>
            <a:r>
              <a:rPr lang="ru-RU" altLang="x-none" sz="4000" b="1" dirty="0"/>
              <a:t> </a:t>
            </a:r>
            <a:r>
              <a:rPr lang="ru-RU" altLang="x-none" sz="4000" b="1" dirty="0" smtClean="0"/>
              <a:t>методология </a:t>
            </a:r>
            <a:r>
              <a:rPr lang="mr-IN" altLang="x-none" sz="4000" b="1" dirty="0" smtClean="0"/>
              <a:t>–</a:t>
            </a:r>
            <a:r>
              <a:rPr lang="ru-RU" altLang="x-none" sz="4000" b="1" dirty="0" smtClean="0"/>
              <a:t> </a:t>
            </a:r>
            <a:r>
              <a:rPr lang="ru-RU" sz="4000" b="1" dirty="0" smtClean="0"/>
              <a:t>Общая схема</a:t>
            </a:r>
            <a:r>
              <a:rPr lang="ru-RU" altLang="x-none" sz="4000" b="1" dirty="0"/>
              <a:t/>
            </a:r>
            <a:br>
              <a:rPr lang="ru-RU" altLang="x-none" sz="4000" b="1" dirty="0"/>
            </a:br>
            <a:endParaRPr lang="ru-RU" altLang="x-none" sz="4000" b="1" dirty="0"/>
          </a:p>
        </p:txBody>
      </p:sp>
      <p:pic>
        <p:nvPicPr>
          <p:cNvPr id="2" name="Рисунок 1"/>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58067" y="1417639"/>
            <a:ext cx="10275866" cy="4320282"/>
          </a:xfrm>
          <a:prstGeom prst="rect">
            <a:avLst/>
          </a:prstGeom>
        </p:spPr>
      </p:pic>
      <p:sp>
        <p:nvSpPr>
          <p:cNvPr id="3" name="Прямоугольник 2"/>
          <p:cNvSpPr/>
          <p:nvPr/>
        </p:nvSpPr>
        <p:spPr>
          <a:xfrm>
            <a:off x="770467" y="6027003"/>
            <a:ext cx="10651066" cy="830997"/>
          </a:xfrm>
          <a:prstGeom prst="rect">
            <a:avLst/>
          </a:prstGeom>
        </p:spPr>
        <p:txBody>
          <a:bodyPr wrap="square">
            <a:spAutoFit/>
          </a:bodyPr>
          <a:lstStyle/>
          <a:p>
            <a:pPr algn="ctr"/>
            <a:r>
              <a:rPr lang="ru-RU" sz="1600" b="1" dirty="0">
                <a:solidFill>
                  <a:srgbClr val="666666"/>
                </a:solidFill>
              </a:rPr>
              <a:t>CRISP-DM</a:t>
            </a:r>
            <a:r>
              <a:rPr lang="ru-RU" sz="1600" dirty="0">
                <a:solidFill>
                  <a:srgbClr val="666666"/>
                </a:solidFill>
              </a:rPr>
              <a:t> является одним из важнейших понятий для технологий больших данных (Big Data), которое на практике используется аналитиками и исследователями данных (</a:t>
            </a:r>
            <a:r>
              <a:rPr lang="ru-RU" sz="1600" dirty="0" err="1">
                <a:solidFill>
                  <a:srgbClr val="666666"/>
                </a:solidFill>
              </a:rPr>
              <a:t>data</a:t>
            </a:r>
            <a:r>
              <a:rPr lang="ru-RU" sz="1600" dirty="0">
                <a:solidFill>
                  <a:srgbClr val="666666"/>
                </a:solidFill>
              </a:rPr>
              <a:t> </a:t>
            </a:r>
            <a:r>
              <a:rPr lang="ru-RU" sz="1600" dirty="0" err="1">
                <a:solidFill>
                  <a:srgbClr val="666666"/>
                </a:solidFill>
              </a:rPr>
              <a:t>scientist</a:t>
            </a:r>
            <a:r>
              <a:rPr lang="ru-RU" sz="1600" dirty="0">
                <a:solidFill>
                  <a:srgbClr val="666666"/>
                </a:solidFill>
              </a:rPr>
              <a:t>), для любой задачи и в каждой прикладной </a:t>
            </a:r>
            <a:r>
              <a:rPr lang="ru-RU" sz="1600" dirty="0" smtClean="0">
                <a:solidFill>
                  <a:srgbClr val="666666"/>
                </a:solidFill>
              </a:rPr>
              <a:t>отрасли.</a:t>
            </a:r>
            <a:endParaRPr lang="ru-RU" sz="1600" dirty="0"/>
          </a:p>
        </p:txBody>
      </p:sp>
    </p:spTree>
    <p:extLst>
      <p:ext uri="{BB962C8B-B14F-4D97-AF65-F5344CB8AC3E}">
        <p14:creationId xmlns:p14="http://schemas.microsoft.com/office/powerpoint/2010/main" val="73411272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ChangeArrowheads="1"/>
          </p:cNvSpPr>
          <p:nvPr>
            <p:ph type="title"/>
          </p:nvPr>
        </p:nvSpPr>
        <p:spPr/>
        <p:txBody>
          <a:bodyPr/>
          <a:lstStyle/>
          <a:p>
            <a:r>
              <a:rPr lang="ru-RU" altLang="x-none" b="1" dirty="0">
                <a:solidFill>
                  <a:srgbClr val="32ACFA"/>
                </a:solidFill>
              </a:rPr>
              <a:t>SEMMA </a:t>
            </a:r>
            <a:r>
              <a:rPr lang="ru-RU" altLang="x-none" b="1" dirty="0"/>
              <a:t>методология</a:t>
            </a:r>
          </a:p>
        </p:txBody>
      </p:sp>
      <p:sp>
        <p:nvSpPr>
          <p:cNvPr id="62467" name="Rectangle 3"/>
          <p:cNvSpPr>
            <a:spLocks noGrp="1" noChangeArrowheads="1"/>
          </p:cNvSpPr>
          <p:nvPr>
            <p:ph type="body" idx="1"/>
          </p:nvPr>
        </p:nvSpPr>
        <p:spPr>
          <a:xfrm>
            <a:off x="609600" y="618068"/>
            <a:ext cx="10972800" cy="4525963"/>
          </a:xfrm>
        </p:spPr>
        <p:txBody>
          <a:bodyPr/>
          <a:lstStyle/>
          <a:p>
            <a:pPr>
              <a:lnSpc>
                <a:spcPct val="90000"/>
              </a:lnSpc>
            </a:pPr>
            <a:endParaRPr lang="ru-RU" altLang="x-none" sz="2400" b="1" dirty="0"/>
          </a:p>
          <a:p>
            <a:pPr>
              <a:buNone/>
            </a:pPr>
            <a:r>
              <a:rPr lang="ru-RU" sz="2400" b="1" dirty="0"/>
              <a:t>SEMMA</a:t>
            </a:r>
            <a:r>
              <a:rPr lang="ru-RU" sz="2400" dirty="0"/>
              <a:t> (аббревиатура от английских слов </a:t>
            </a:r>
            <a:r>
              <a:rPr lang="ru-RU" sz="2400" dirty="0" err="1"/>
              <a:t>Sample</a:t>
            </a:r>
            <a:r>
              <a:rPr lang="ru-RU" sz="2400" dirty="0"/>
              <a:t>, </a:t>
            </a:r>
            <a:r>
              <a:rPr lang="ru-RU" sz="2400" dirty="0" err="1"/>
              <a:t>Explore</a:t>
            </a:r>
            <a:r>
              <a:rPr lang="ru-RU" sz="2400" dirty="0"/>
              <a:t>, </a:t>
            </a:r>
            <a:r>
              <a:rPr lang="ru-RU" sz="2400" dirty="0" err="1"/>
              <a:t>Modify</a:t>
            </a:r>
            <a:r>
              <a:rPr lang="ru-RU" sz="2400" dirty="0"/>
              <a:t>, </a:t>
            </a:r>
            <a:r>
              <a:rPr lang="ru-RU" sz="2400" dirty="0" err="1"/>
              <a:t>Model</a:t>
            </a:r>
            <a:r>
              <a:rPr lang="ru-RU" sz="2400" dirty="0"/>
              <a:t> и </a:t>
            </a:r>
            <a:r>
              <a:rPr lang="ru-RU" sz="2400" dirty="0" err="1"/>
              <a:t>Assess</a:t>
            </a:r>
            <a:r>
              <a:rPr lang="ru-RU" sz="2400" dirty="0"/>
              <a:t>) – общая методология и последовательность шагов интеллектуального анализа </a:t>
            </a:r>
            <a:r>
              <a:rPr lang="ru-RU" sz="2400" dirty="0" smtClean="0"/>
              <a:t>данных, </a:t>
            </a:r>
            <a:r>
              <a:rPr lang="ru-RU" sz="2400" dirty="0"/>
              <a:t>предложенная американской компанией SAS, одним из крупнейших производителей программного обеспечения для статистики и бизнес-аналитики, для своих </a:t>
            </a:r>
            <a:r>
              <a:rPr lang="ru-RU" sz="2400" dirty="0" smtClean="0"/>
              <a:t>продуктов</a:t>
            </a:r>
          </a:p>
          <a:p>
            <a:pPr>
              <a:buNone/>
            </a:pPr>
            <a:endParaRPr lang="ru-RU" sz="2400" dirty="0" smtClean="0"/>
          </a:p>
          <a:p>
            <a:pPr>
              <a:buNone/>
            </a:pPr>
            <a:r>
              <a:rPr lang="ru-RU" b="1" dirty="0" smtClean="0"/>
              <a:t>Основные характеристики:</a:t>
            </a:r>
          </a:p>
          <a:p>
            <a:r>
              <a:rPr lang="ru-RU" sz="2400" dirty="0"/>
              <a:t>В отличие от другого широко используемого стандарта Data Mining, CRISP-DM, SEMMA фокусируется на задачах моделирования, не затрагивая бизнес-аспекты. Тем не менее, этот стандарт позиционируется как унифицированный межотраслевой подход к итеративному процессу интеллектуального анализа </a:t>
            </a:r>
            <a:r>
              <a:rPr lang="ru-RU" sz="2400" dirty="0" smtClean="0"/>
              <a:t>данных. </a:t>
            </a:r>
          </a:p>
          <a:p>
            <a:r>
              <a:rPr lang="ru-RU" sz="2400" dirty="0" smtClean="0"/>
              <a:t>Эта </a:t>
            </a:r>
            <a:r>
              <a:rPr lang="ru-RU" sz="2400" dirty="0"/>
              <a:t>методология не навязывает каких-либо жестких правил, однако, используя ее разработчик располагает научными методами построения концепции проекта, его реализации и оценки результатов проектирования </a:t>
            </a:r>
            <a:endParaRPr lang="en-US" altLang="x-none" sz="2400" dirty="0"/>
          </a:p>
        </p:txBody>
      </p:sp>
    </p:spTree>
    <p:extLst>
      <p:ext uri="{BB962C8B-B14F-4D97-AF65-F5344CB8AC3E}">
        <p14:creationId xmlns:p14="http://schemas.microsoft.com/office/powerpoint/2010/main" val="205162160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ChangeArrowheads="1"/>
          </p:cNvSpPr>
          <p:nvPr>
            <p:ph type="title"/>
          </p:nvPr>
        </p:nvSpPr>
        <p:spPr>
          <a:xfrm>
            <a:off x="609600" y="274638"/>
            <a:ext cx="10972800" cy="1143000"/>
          </a:xfrm>
        </p:spPr>
        <p:txBody>
          <a:bodyPr/>
          <a:lstStyle/>
          <a:p>
            <a:r>
              <a:rPr lang="ru-RU" altLang="x-none" b="1" dirty="0">
                <a:solidFill>
                  <a:srgbClr val="32ACFA"/>
                </a:solidFill>
              </a:rPr>
              <a:t>SEMMA</a:t>
            </a:r>
            <a:r>
              <a:rPr lang="ru-RU" altLang="x-none" b="1" dirty="0"/>
              <a:t> </a:t>
            </a:r>
            <a:r>
              <a:rPr lang="ru-RU" altLang="x-none" b="1" dirty="0" smtClean="0"/>
              <a:t>этапы</a:t>
            </a:r>
            <a:endParaRPr lang="ru-RU" altLang="x-none" b="1" dirty="0"/>
          </a:p>
        </p:txBody>
      </p:sp>
      <p:sp>
        <p:nvSpPr>
          <p:cNvPr id="62467" name="Rectangle 3"/>
          <p:cNvSpPr>
            <a:spLocks noGrp="1" noChangeArrowheads="1"/>
          </p:cNvSpPr>
          <p:nvPr>
            <p:ph type="body" idx="1"/>
          </p:nvPr>
        </p:nvSpPr>
        <p:spPr>
          <a:xfrm>
            <a:off x="406399" y="613304"/>
            <a:ext cx="11176001" cy="4525963"/>
          </a:xfrm>
        </p:spPr>
        <p:txBody>
          <a:bodyPr/>
          <a:lstStyle/>
          <a:p>
            <a:pPr marL="457200" indent="-457200">
              <a:lnSpc>
                <a:spcPct val="90000"/>
              </a:lnSpc>
              <a:buFont typeface="+mj-lt"/>
              <a:buAutoNum type="arabicPeriod"/>
            </a:pPr>
            <a:endParaRPr lang="ru-RU" altLang="x-none" sz="2300" b="1" dirty="0"/>
          </a:p>
          <a:p>
            <a:pPr marL="457200" indent="-457200">
              <a:buFont typeface="+mj-lt"/>
              <a:buAutoNum type="arabicPeriod"/>
            </a:pPr>
            <a:r>
              <a:rPr lang="ru-RU" sz="2300" b="1" dirty="0"/>
              <a:t>Выборка данных</a:t>
            </a:r>
            <a:r>
              <a:rPr lang="ru-RU" sz="2300" dirty="0"/>
              <a:t> – формирование начального набора данных для моделирования (</a:t>
            </a:r>
            <a:r>
              <a:rPr lang="ru-RU" sz="2300" dirty="0" err="1"/>
              <a:t>dataset</a:t>
            </a:r>
            <a:r>
              <a:rPr lang="ru-RU" sz="2300" dirty="0"/>
              <a:t>), который должен быть достаточно большим, чтобы содержать достаточную информацию для извлечения, и в то же время ограниченным, чтобы его можно было эффективно использовать.</a:t>
            </a:r>
          </a:p>
          <a:p>
            <a:pPr marL="457200" indent="-457200">
              <a:buFont typeface="+mj-lt"/>
              <a:buAutoNum type="arabicPeriod"/>
            </a:pPr>
            <a:r>
              <a:rPr lang="ru-RU" sz="2300" b="1" dirty="0"/>
              <a:t>Исследование </a:t>
            </a:r>
            <a:r>
              <a:rPr lang="ru-RU" sz="2300" dirty="0"/>
              <a:t>– выявление ассоциаций, визуальный и интерактивный статистический анализ, понимание данных путем обнаружения ожидаемых и непредвиденных связей между переменными, а также отклонений с помощью визуализации данных.</a:t>
            </a:r>
          </a:p>
          <a:p>
            <a:pPr marL="457200" indent="-457200">
              <a:buFont typeface="+mj-lt"/>
              <a:buAutoNum type="arabicPeriod"/>
            </a:pPr>
            <a:r>
              <a:rPr lang="ru-RU" sz="2300" b="1" dirty="0"/>
              <a:t>Модификация</a:t>
            </a:r>
            <a:r>
              <a:rPr lang="ru-RU" sz="2300" dirty="0"/>
              <a:t> – применение методов выбора, создания и преобразования переменных при подготовке к моделированию: кластерный анализ, преобразование, фильтрация и замещение информации.</a:t>
            </a:r>
          </a:p>
          <a:p>
            <a:pPr marL="457200" indent="-457200">
              <a:buFont typeface="+mj-lt"/>
              <a:buAutoNum type="arabicPeriod"/>
            </a:pPr>
            <a:r>
              <a:rPr lang="ru-RU" sz="2300" b="1" dirty="0"/>
              <a:t>Моделирование </a:t>
            </a:r>
            <a:r>
              <a:rPr lang="ru-RU" sz="2300" dirty="0"/>
              <a:t>— применение методов построения и обработки моделей интеллектуального анализа данных: искусственные нейронные сети, деревья принятия решений, регрессионный анализ и т.д.</a:t>
            </a:r>
          </a:p>
          <a:p>
            <a:pPr marL="457200" indent="-457200">
              <a:buFont typeface="+mj-lt"/>
              <a:buAutoNum type="arabicPeriod"/>
            </a:pPr>
            <a:r>
              <a:rPr lang="ru-RU" sz="2300" b="1" dirty="0"/>
              <a:t>Оценка</a:t>
            </a:r>
            <a:r>
              <a:rPr lang="ru-RU" sz="2300" dirty="0"/>
              <a:t> – сравнение результатов моделирования между собой и с планируемыми показателями, анализ надежности и полезности созданных моделей.</a:t>
            </a:r>
          </a:p>
          <a:p>
            <a:pPr>
              <a:lnSpc>
                <a:spcPct val="90000"/>
              </a:lnSpc>
              <a:buFontTx/>
              <a:buNone/>
            </a:pPr>
            <a:endParaRPr lang="ru-RU" altLang="x-none" sz="2300" dirty="0"/>
          </a:p>
        </p:txBody>
      </p:sp>
    </p:spTree>
    <p:extLst>
      <p:ext uri="{BB962C8B-B14F-4D97-AF65-F5344CB8AC3E}">
        <p14:creationId xmlns:p14="http://schemas.microsoft.com/office/powerpoint/2010/main" val="28009041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ChangeArrowheads="1"/>
          </p:cNvSpPr>
          <p:nvPr>
            <p:ph type="title"/>
          </p:nvPr>
        </p:nvSpPr>
        <p:spPr/>
        <p:txBody>
          <a:bodyPr/>
          <a:lstStyle/>
          <a:p>
            <a:r>
              <a:rPr lang="ru-RU" altLang="x-none" b="1" dirty="0">
                <a:solidFill>
                  <a:srgbClr val="32ACFA"/>
                </a:solidFill>
              </a:rPr>
              <a:t>SEMMA</a:t>
            </a:r>
            <a:r>
              <a:rPr lang="ru-RU" altLang="x-none" b="1" dirty="0"/>
              <a:t> методология</a:t>
            </a:r>
          </a:p>
        </p:txBody>
      </p:sp>
      <p:pic>
        <p:nvPicPr>
          <p:cNvPr id="3" name="Объект 2"/>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120024" y="1536172"/>
            <a:ext cx="5951951" cy="4525963"/>
          </a:xfrm>
        </p:spPr>
      </p:pic>
    </p:spTree>
    <p:extLst>
      <p:ext uri="{BB962C8B-B14F-4D97-AF65-F5344CB8AC3E}">
        <p14:creationId xmlns:p14="http://schemas.microsoft.com/office/powerpoint/2010/main" val="197106296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ChangeArrowheads="1"/>
          </p:cNvSpPr>
          <p:nvPr>
            <p:ph type="title"/>
          </p:nvPr>
        </p:nvSpPr>
        <p:spPr/>
        <p:txBody>
          <a:bodyPr/>
          <a:lstStyle/>
          <a:p>
            <a:r>
              <a:rPr lang="en-US" altLang="x-none" b="1" dirty="0" smtClean="0">
                <a:solidFill>
                  <a:srgbClr val="32ACFA"/>
                </a:solidFill>
              </a:rPr>
              <a:t>CRISP-DM &amp; </a:t>
            </a:r>
            <a:r>
              <a:rPr lang="ru-RU" altLang="x-none" b="1" dirty="0" smtClean="0">
                <a:solidFill>
                  <a:srgbClr val="32ACFA"/>
                </a:solidFill>
              </a:rPr>
              <a:t>SEMMA </a:t>
            </a:r>
            <a:r>
              <a:rPr lang="ru-RU" altLang="x-none" b="1" dirty="0" smtClean="0"/>
              <a:t>методологии - Выводы</a:t>
            </a:r>
            <a:endParaRPr lang="ru-RU" altLang="x-none" b="1" dirty="0"/>
          </a:p>
        </p:txBody>
      </p:sp>
      <p:sp>
        <p:nvSpPr>
          <p:cNvPr id="2" name="Объект 1"/>
          <p:cNvSpPr>
            <a:spLocks noGrp="1"/>
          </p:cNvSpPr>
          <p:nvPr>
            <p:ph idx="1"/>
          </p:nvPr>
        </p:nvSpPr>
        <p:spPr>
          <a:xfrm>
            <a:off x="609600" y="1450976"/>
            <a:ext cx="10972800" cy="4525963"/>
          </a:xfrm>
        </p:spPr>
        <p:txBody>
          <a:bodyPr/>
          <a:lstStyle/>
          <a:p>
            <a:pPr marL="0" indent="0">
              <a:buNone/>
            </a:pPr>
            <a:r>
              <a:rPr lang="ru-RU" dirty="0" smtClean="0"/>
              <a:t>Таким </a:t>
            </a:r>
            <a:r>
              <a:rPr lang="ru-RU" dirty="0"/>
              <a:t>образом, </a:t>
            </a:r>
            <a:r>
              <a:rPr lang="ru-RU" b="1" dirty="0"/>
              <a:t>CRISP-DM</a:t>
            </a:r>
            <a:r>
              <a:rPr lang="ru-RU" dirty="0"/>
              <a:t> является наиболее полной и детальной методологией интеллектуального анализа данных, а </a:t>
            </a:r>
            <a:r>
              <a:rPr lang="ru-RU" b="1" dirty="0"/>
              <a:t>SEMMA</a:t>
            </a:r>
            <a:r>
              <a:rPr lang="ru-RU" dirty="0"/>
              <a:t> – это структура целевых функций в инструменте SAS </a:t>
            </a:r>
            <a:r>
              <a:rPr lang="ru-RU" dirty="0" err="1"/>
              <a:t>Enterprise</a:t>
            </a:r>
            <a:r>
              <a:rPr lang="ru-RU" dirty="0"/>
              <a:t> </a:t>
            </a:r>
            <a:r>
              <a:rPr lang="ru-RU" dirty="0" err="1"/>
              <a:t>Miner</a:t>
            </a:r>
            <a:r>
              <a:rPr lang="ru-RU" dirty="0"/>
              <a:t>, которая затрагивает исключительно технические аспекты моделирования, не касаясь бизнес-постановки </a:t>
            </a:r>
            <a:r>
              <a:rPr lang="ru-RU" dirty="0" smtClean="0"/>
              <a:t>задачи. </a:t>
            </a:r>
          </a:p>
          <a:p>
            <a:pPr marL="0" indent="0">
              <a:buNone/>
            </a:pPr>
            <a:r>
              <a:rPr lang="ru-RU" dirty="0" smtClean="0"/>
              <a:t>Поэтому </a:t>
            </a:r>
            <a:r>
              <a:rPr lang="ru-RU" dirty="0"/>
              <a:t>на практике в большинстве случаев используется именно подход CRISP-DM. Однако, даже этот проработанный стандарт не спасет неопытного аналитика данных от популярных ошибок и проблем.</a:t>
            </a:r>
          </a:p>
        </p:txBody>
      </p:sp>
    </p:spTree>
    <p:extLst>
      <p:ext uri="{BB962C8B-B14F-4D97-AF65-F5344CB8AC3E}">
        <p14:creationId xmlns:p14="http://schemas.microsoft.com/office/powerpoint/2010/main" val="206837077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Diamond 11"/>
          <p:cNvSpPr/>
          <p:nvPr/>
        </p:nvSpPr>
        <p:spPr>
          <a:xfrm>
            <a:off x="2079338" y="1223774"/>
            <a:ext cx="1173480" cy="1173480"/>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charset="0"/>
              <a:ea typeface="Century Gothic" charset="0"/>
              <a:cs typeface="Century Gothic" charset="0"/>
            </a:endParaRPr>
          </a:p>
        </p:txBody>
      </p:sp>
      <p:sp>
        <p:nvSpPr>
          <p:cNvPr id="30" name="Diamond 29"/>
          <p:cNvSpPr/>
          <p:nvPr/>
        </p:nvSpPr>
        <p:spPr>
          <a:xfrm>
            <a:off x="5545668" y="1223774"/>
            <a:ext cx="1173480" cy="117348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charset="0"/>
              <a:ea typeface="Century Gothic" charset="0"/>
              <a:cs typeface="Century Gothic" charset="0"/>
            </a:endParaRPr>
          </a:p>
        </p:txBody>
      </p:sp>
      <p:sp>
        <p:nvSpPr>
          <p:cNvPr id="31" name="Diamond 30"/>
          <p:cNvSpPr/>
          <p:nvPr/>
        </p:nvSpPr>
        <p:spPr>
          <a:xfrm>
            <a:off x="2058460" y="3778477"/>
            <a:ext cx="1173480" cy="1173480"/>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charset="0"/>
              <a:ea typeface="Century Gothic" charset="0"/>
              <a:cs typeface="Century Gothic" charset="0"/>
            </a:endParaRPr>
          </a:p>
        </p:txBody>
      </p:sp>
      <p:sp>
        <p:nvSpPr>
          <p:cNvPr id="32" name="Diamond 31"/>
          <p:cNvSpPr/>
          <p:nvPr/>
        </p:nvSpPr>
        <p:spPr>
          <a:xfrm>
            <a:off x="5547573" y="3782614"/>
            <a:ext cx="1173480" cy="117348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charset="0"/>
              <a:ea typeface="Century Gothic" charset="0"/>
              <a:cs typeface="Century Gothic" charset="0"/>
            </a:endParaRPr>
          </a:p>
        </p:txBody>
      </p:sp>
      <p:sp>
        <p:nvSpPr>
          <p:cNvPr id="33" name="Diamond 32"/>
          <p:cNvSpPr/>
          <p:nvPr/>
        </p:nvSpPr>
        <p:spPr>
          <a:xfrm>
            <a:off x="9048115" y="1192780"/>
            <a:ext cx="1173480" cy="117348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charset="0"/>
              <a:ea typeface="Century Gothic" charset="0"/>
              <a:cs typeface="Century Gothic" charset="0"/>
            </a:endParaRPr>
          </a:p>
        </p:txBody>
      </p:sp>
      <p:sp>
        <p:nvSpPr>
          <p:cNvPr id="34" name="Diamond 33"/>
          <p:cNvSpPr/>
          <p:nvPr/>
        </p:nvSpPr>
        <p:spPr>
          <a:xfrm>
            <a:off x="9032876" y="3789864"/>
            <a:ext cx="1173480" cy="117348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charset="0"/>
              <a:ea typeface="Century Gothic" charset="0"/>
              <a:cs typeface="Century Gothic" charset="0"/>
            </a:endParaRPr>
          </a:p>
        </p:txBody>
      </p:sp>
      <p:sp>
        <p:nvSpPr>
          <p:cNvPr id="44" name="TextBox 43">
            <a:extLst>
              <a:ext uri="{FF2B5EF4-FFF2-40B4-BE49-F238E27FC236}">
                <a16:creationId xmlns:a16="http://schemas.microsoft.com/office/drawing/2014/main" id="{B33410D2-30BE-4A22-9AD7-502DAE63946D}"/>
              </a:ext>
            </a:extLst>
          </p:cNvPr>
          <p:cNvSpPr txBox="1"/>
          <p:nvPr/>
        </p:nvSpPr>
        <p:spPr>
          <a:xfrm>
            <a:off x="3934703" y="484406"/>
            <a:ext cx="4322594" cy="369332"/>
          </a:xfrm>
          <a:prstGeom prst="rect">
            <a:avLst/>
          </a:prstGeom>
          <a:noFill/>
        </p:spPr>
        <p:txBody>
          <a:bodyPr wrap="none" lIns="0" tIns="0" rIns="0" bIns="0" rtlCol="0">
            <a:spAutoFit/>
          </a:bodyPr>
          <a:lstStyle/>
          <a:p>
            <a:r>
              <a:rPr lang="ru-RU" sz="2400" dirty="0" smtClean="0">
                <a:latin typeface="Century Gothic" charset="0"/>
                <a:ea typeface="Century Gothic" charset="0"/>
                <a:cs typeface="Century Gothic" charset="0"/>
              </a:rPr>
              <a:t>ОГРАНИЧЕНИЯ</a:t>
            </a:r>
            <a:r>
              <a:rPr lang="ru-RU" sz="2400" dirty="0" smtClean="0">
                <a:solidFill>
                  <a:schemeClr val="tx2"/>
                </a:solidFill>
                <a:latin typeface="Century Gothic" charset="0"/>
                <a:ea typeface="Century Gothic" charset="0"/>
                <a:cs typeface="Century Gothic" charset="0"/>
              </a:rPr>
              <a:t> </a:t>
            </a:r>
            <a:r>
              <a:rPr lang="en-US" sz="2400" dirty="0" smtClean="0">
                <a:solidFill>
                  <a:srgbClr val="32ACFA"/>
                </a:solidFill>
                <a:latin typeface="Century Gothic" charset="0"/>
                <a:ea typeface="Century Gothic" charset="0"/>
                <a:cs typeface="Century Gothic" charset="0"/>
              </a:rPr>
              <a:t>DATA MINING</a:t>
            </a:r>
            <a:endParaRPr lang="en-US" sz="2400" dirty="0">
              <a:solidFill>
                <a:srgbClr val="32ACFA"/>
              </a:solidFill>
              <a:latin typeface="Century Gothic" charset="0"/>
              <a:ea typeface="Century Gothic" charset="0"/>
              <a:cs typeface="Century Gothic" charset="0"/>
            </a:endParaRPr>
          </a:p>
        </p:txBody>
      </p:sp>
      <p:sp>
        <p:nvSpPr>
          <p:cNvPr id="46" name="Shape 2774">
            <a:extLst>
              <a:ext uri="{FF2B5EF4-FFF2-40B4-BE49-F238E27FC236}">
                <a16:creationId xmlns:a16="http://schemas.microsoft.com/office/drawing/2014/main" id="{A81071F1-2A9E-46EA-AD7C-A7E7911943BF}"/>
              </a:ext>
            </a:extLst>
          </p:cNvPr>
          <p:cNvSpPr/>
          <p:nvPr/>
        </p:nvSpPr>
        <p:spPr>
          <a:xfrm>
            <a:off x="9405669" y="4162513"/>
            <a:ext cx="428201" cy="428201"/>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7" y="0"/>
                  <a:pt x="9818" y="440"/>
                  <a:pt x="9818" y="982"/>
                </a:cubicBezTo>
                <a:lnTo>
                  <a:pt x="982" y="982"/>
                </a:lnTo>
                <a:cubicBezTo>
                  <a:pt x="439" y="982"/>
                  <a:pt x="0" y="1422"/>
                  <a:pt x="0" y="1964"/>
                </a:cubicBezTo>
                <a:lnTo>
                  <a:pt x="0" y="2945"/>
                </a:lnTo>
                <a:cubicBezTo>
                  <a:pt x="0" y="3488"/>
                  <a:pt x="439" y="3927"/>
                  <a:pt x="982" y="3927"/>
                </a:cubicBezTo>
                <a:lnTo>
                  <a:pt x="982" y="15709"/>
                </a:lnTo>
                <a:cubicBezTo>
                  <a:pt x="982" y="16252"/>
                  <a:pt x="1421" y="16691"/>
                  <a:pt x="1964" y="16691"/>
                </a:cubicBezTo>
                <a:lnTo>
                  <a:pt x="10309" y="16691"/>
                </a:lnTo>
                <a:lnTo>
                  <a:pt x="10309" y="17960"/>
                </a:lnTo>
                <a:lnTo>
                  <a:pt x="7507" y="20762"/>
                </a:lnTo>
                <a:cubicBezTo>
                  <a:pt x="7419" y="20851"/>
                  <a:pt x="7364" y="20974"/>
                  <a:pt x="7364" y="21109"/>
                </a:cubicBezTo>
                <a:cubicBezTo>
                  <a:pt x="7364" y="21380"/>
                  <a:pt x="7583" y="21600"/>
                  <a:pt x="7855" y="21600"/>
                </a:cubicBezTo>
                <a:cubicBezTo>
                  <a:pt x="7990" y="21600"/>
                  <a:pt x="8113" y="21545"/>
                  <a:pt x="8202" y="21456"/>
                </a:cubicBezTo>
                <a:lnTo>
                  <a:pt x="10800" y="18858"/>
                </a:lnTo>
                <a:lnTo>
                  <a:pt x="13398" y="21456"/>
                </a:lnTo>
                <a:cubicBezTo>
                  <a:pt x="13488" y="21545"/>
                  <a:pt x="13610" y="21600"/>
                  <a:pt x="13745" y="21600"/>
                </a:cubicBezTo>
                <a:cubicBezTo>
                  <a:pt x="14017" y="21600"/>
                  <a:pt x="14236" y="21380"/>
                  <a:pt x="14236" y="21109"/>
                </a:cubicBezTo>
                <a:cubicBezTo>
                  <a:pt x="14236" y="20974"/>
                  <a:pt x="14182"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moveTo>
                  <a:pt x="16200" y="5891"/>
                </a:moveTo>
                <a:cubicBezTo>
                  <a:pt x="16471" y="5891"/>
                  <a:pt x="16691" y="6111"/>
                  <a:pt x="16691" y="6382"/>
                </a:cubicBezTo>
                <a:cubicBezTo>
                  <a:pt x="16691" y="6653"/>
                  <a:pt x="16471" y="6873"/>
                  <a:pt x="16200" y="6873"/>
                </a:cubicBezTo>
                <a:cubicBezTo>
                  <a:pt x="15929" y="6873"/>
                  <a:pt x="15709" y="6653"/>
                  <a:pt x="15709" y="6382"/>
                </a:cubicBezTo>
                <a:cubicBezTo>
                  <a:pt x="15709" y="6111"/>
                  <a:pt x="15929" y="5891"/>
                  <a:pt x="16200" y="5891"/>
                </a:cubicBezTo>
                <a:moveTo>
                  <a:pt x="16200" y="7855"/>
                </a:moveTo>
                <a:cubicBezTo>
                  <a:pt x="17013" y="7855"/>
                  <a:pt x="17673" y="7196"/>
                  <a:pt x="17673" y="6382"/>
                </a:cubicBezTo>
                <a:cubicBezTo>
                  <a:pt x="17673" y="5569"/>
                  <a:pt x="17013" y="4909"/>
                  <a:pt x="16200" y="4909"/>
                </a:cubicBezTo>
                <a:cubicBezTo>
                  <a:pt x="15387" y="4909"/>
                  <a:pt x="14727" y="5569"/>
                  <a:pt x="14727" y="6382"/>
                </a:cubicBezTo>
                <a:cubicBezTo>
                  <a:pt x="14727" y="7196"/>
                  <a:pt x="15387" y="7855"/>
                  <a:pt x="16200" y="7855"/>
                </a:cubicBezTo>
                <a:moveTo>
                  <a:pt x="8422" y="8135"/>
                </a:moveTo>
                <a:lnTo>
                  <a:pt x="11926" y="11638"/>
                </a:lnTo>
                <a:cubicBezTo>
                  <a:pt x="12015" y="11727"/>
                  <a:pt x="12138" y="11782"/>
                  <a:pt x="12273" y="11782"/>
                </a:cubicBezTo>
                <a:cubicBezTo>
                  <a:pt x="12408" y="11782"/>
                  <a:pt x="12531" y="11727"/>
                  <a:pt x="12620" y="11638"/>
                </a:cubicBezTo>
                <a:lnTo>
                  <a:pt x="14183" y="10075"/>
                </a:lnTo>
                <a:lnTo>
                  <a:pt x="16200" y="12764"/>
                </a:lnTo>
                <a:lnTo>
                  <a:pt x="5336" y="12764"/>
                </a:lnTo>
                <a:cubicBezTo>
                  <a:pt x="5336" y="12764"/>
                  <a:pt x="8422" y="8135"/>
                  <a:pt x="8422" y="8135"/>
                </a:cubicBezTo>
                <a:close/>
                <a:moveTo>
                  <a:pt x="4418" y="13745"/>
                </a:moveTo>
                <a:lnTo>
                  <a:pt x="17182" y="13745"/>
                </a:lnTo>
                <a:cubicBezTo>
                  <a:pt x="17453" y="13745"/>
                  <a:pt x="17673" y="13526"/>
                  <a:pt x="17673" y="13255"/>
                </a:cubicBezTo>
                <a:cubicBezTo>
                  <a:pt x="17673" y="13144"/>
                  <a:pt x="17630" y="13047"/>
                  <a:pt x="17568" y="12965"/>
                </a:cubicBezTo>
                <a:lnTo>
                  <a:pt x="17575" y="12960"/>
                </a:lnTo>
                <a:lnTo>
                  <a:pt x="14629" y="9033"/>
                </a:lnTo>
                <a:lnTo>
                  <a:pt x="14622" y="9038"/>
                </a:lnTo>
                <a:cubicBezTo>
                  <a:pt x="14533" y="8919"/>
                  <a:pt x="14397" y="8836"/>
                  <a:pt x="14236" y="8836"/>
                </a:cubicBezTo>
                <a:cubicBezTo>
                  <a:pt x="14101" y="8836"/>
                  <a:pt x="13978" y="8891"/>
                  <a:pt x="13889" y="8980"/>
                </a:cubicBezTo>
                <a:lnTo>
                  <a:pt x="12273" y="10597"/>
                </a:lnTo>
                <a:lnTo>
                  <a:pt x="8693" y="7017"/>
                </a:lnTo>
                <a:cubicBezTo>
                  <a:pt x="8604" y="6928"/>
                  <a:pt x="8481" y="6873"/>
                  <a:pt x="8345" y="6873"/>
                </a:cubicBezTo>
                <a:cubicBezTo>
                  <a:pt x="8175" y="6873"/>
                  <a:pt x="8033" y="6965"/>
                  <a:pt x="7945" y="7097"/>
                </a:cubicBezTo>
                <a:lnTo>
                  <a:pt x="7937" y="7091"/>
                </a:lnTo>
                <a:lnTo>
                  <a:pt x="4010" y="12982"/>
                </a:lnTo>
                <a:lnTo>
                  <a:pt x="4017" y="12988"/>
                </a:lnTo>
                <a:cubicBezTo>
                  <a:pt x="3965" y="13066"/>
                  <a:pt x="3927" y="13154"/>
                  <a:pt x="3927" y="13255"/>
                </a:cubicBezTo>
                <a:cubicBezTo>
                  <a:pt x="3927" y="13526"/>
                  <a:pt x="4147" y="13745"/>
                  <a:pt x="4418" y="1374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Century Gothic" charset="0"/>
              <a:ea typeface="Century Gothic" charset="0"/>
              <a:cs typeface="Century Gothic" charset="0"/>
            </a:endParaRPr>
          </a:p>
        </p:txBody>
      </p:sp>
      <p:sp>
        <p:nvSpPr>
          <p:cNvPr id="47" name="Shape 2775">
            <a:extLst>
              <a:ext uri="{FF2B5EF4-FFF2-40B4-BE49-F238E27FC236}">
                <a16:creationId xmlns:a16="http://schemas.microsoft.com/office/drawing/2014/main" id="{03DF3CF7-797A-4550-BCBC-292E1DF3B575}"/>
              </a:ext>
            </a:extLst>
          </p:cNvPr>
          <p:cNvSpPr/>
          <p:nvPr/>
        </p:nvSpPr>
        <p:spPr>
          <a:xfrm>
            <a:off x="2451977" y="1654804"/>
            <a:ext cx="428201" cy="311419"/>
          </a:xfrm>
          <a:custGeom>
            <a:avLst/>
            <a:gdLst/>
            <a:ahLst/>
            <a:cxnLst>
              <a:cxn ang="0">
                <a:pos x="wd2" y="hd2"/>
              </a:cxn>
              <a:cxn ang="5400000">
                <a:pos x="wd2" y="hd2"/>
              </a:cxn>
              <a:cxn ang="10800000">
                <a:pos x="wd2" y="hd2"/>
              </a:cxn>
              <a:cxn ang="16200000">
                <a:pos x="wd2" y="hd2"/>
              </a:cxn>
            </a:cxnLst>
            <a:rect l="0" t="0" r="r" b="b"/>
            <a:pathLst>
              <a:path w="21600" h="21600" extrusionOk="0">
                <a:moveTo>
                  <a:pt x="10800" y="10755"/>
                </a:moveTo>
                <a:lnTo>
                  <a:pt x="1866" y="6075"/>
                </a:lnTo>
                <a:lnTo>
                  <a:pt x="10800" y="1395"/>
                </a:lnTo>
                <a:lnTo>
                  <a:pt x="19735" y="6075"/>
                </a:lnTo>
                <a:cubicBezTo>
                  <a:pt x="19735" y="6075"/>
                  <a:pt x="10800" y="10755"/>
                  <a:pt x="10800" y="10755"/>
                </a:cubicBezTo>
                <a:close/>
                <a:moveTo>
                  <a:pt x="18031" y="17315"/>
                </a:moveTo>
                <a:lnTo>
                  <a:pt x="14834" y="16216"/>
                </a:lnTo>
                <a:lnTo>
                  <a:pt x="14832" y="16229"/>
                </a:lnTo>
                <a:cubicBezTo>
                  <a:pt x="14797" y="16218"/>
                  <a:pt x="14765" y="16200"/>
                  <a:pt x="14727" y="16200"/>
                </a:cubicBezTo>
                <a:cubicBezTo>
                  <a:pt x="14627" y="16200"/>
                  <a:pt x="14538" y="16251"/>
                  <a:pt x="14460" y="16324"/>
                </a:cubicBezTo>
                <a:lnTo>
                  <a:pt x="14455" y="16313"/>
                </a:lnTo>
                <a:lnTo>
                  <a:pt x="10820" y="20061"/>
                </a:lnTo>
                <a:lnTo>
                  <a:pt x="7658" y="16334"/>
                </a:lnTo>
                <a:lnTo>
                  <a:pt x="7653" y="16344"/>
                </a:lnTo>
                <a:cubicBezTo>
                  <a:pt x="7571" y="16259"/>
                  <a:pt x="7474" y="16200"/>
                  <a:pt x="7364" y="16200"/>
                </a:cubicBezTo>
                <a:cubicBezTo>
                  <a:pt x="7327" y="16200"/>
                  <a:pt x="7294" y="16218"/>
                  <a:pt x="7259" y="16229"/>
                </a:cubicBezTo>
                <a:lnTo>
                  <a:pt x="7257" y="16216"/>
                </a:lnTo>
                <a:lnTo>
                  <a:pt x="4013" y="17331"/>
                </a:lnTo>
                <a:lnTo>
                  <a:pt x="4767" y="9035"/>
                </a:lnTo>
                <a:lnTo>
                  <a:pt x="10589" y="12084"/>
                </a:lnTo>
                <a:lnTo>
                  <a:pt x="10591" y="12080"/>
                </a:lnTo>
                <a:cubicBezTo>
                  <a:pt x="10655" y="12122"/>
                  <a:pt x="10724" y="12150"/>
                  <a:pt x="10800" y="12150"/>
                </a:cubicBezTo>
                <a:cubicBezTo>
                  <a:pt x="10876" y="12150"/>
                  <a:pt x="10946" y="12122"/>
                  <a:pt x="11009" y="12080"/>
                </a:cubicBezTo>
                <a:lnTo>
                  <a:pt x="11011" y="12084"/>
                </a:lnTo>
                <a:lnTo>
                  <a:pt x="16897" y="9001"/>
                </a:lnTo>
                <a:cubicBezTo>
                  <a:pt x="16897" y="9001"/>
                  <a:pt x="18031" y="17315"/>
                  <a:pt x="18031" y="17315"/>
                </a:cubicBezTo>
                <a:close/>
                <a:moveTo>
                  <a:pt x="21600" y="6075"/>
                </a:moveTo>
                <a:cubicBezTo>
                  <a:pt x="21600" y="5806"/>
                  <a:pt x="21484" y="5579"/>
                  <a:pt x="21319" y="5470"/>
                </a:cubicBezTo>
                <a:lnTo>
                  <a:pt x="21320" y="5466"/>
                </a:lnTo>
                <a:lnTo>
                  <a:pt x="21306" y="5458"/>
                </a:lnTo>
                <a:cubicBezTo>
                  <a:pt x="21301" y="5455"/>
                  <a:pt x="21296" y="5453"/>
                  <a:pt x="21292" y="5451"/>
                </a:cubicBezTo>
                <a:lnTo>
                  <a:pt x="11011" y="66"/>
                </a:lnTo>
                <a:lnTo>
                  <a:pt x="11009" y="70"/>
                </a:lnTo>
                <a:cubicBezTo>
                  <a:pt x="10946" y="28"/>
                  <a:pt x="10876" y="0"/>
                  <a:pt x="10800" y="0"/>
                </a:cubicBezTo>
                <a:cubicBezTo>
                  <a:pt x="10724" y="0"/>
                  <a:pt x="10655" y="28"/>
                  <a:pt x="10591" y="70"/>
                </a:cubicBezTo>
                <a:lnTo>
                  <a:pt x="10589" y="66"/>
                </a:lnTo>
                <a:lnTo>
                  <a:pt x="309" y="5451"/>
                </a:lnTo>
                <a:cubicBezTo>
                  <a:pt x="304" y="5453"/>
                  <a:pt x="299" y="5455"/>
                  <a:pt x="295" y="5458"/>
                </a:cubicBezTo>
                <a:lnTo>
                  <a:pt x="280" y="5466"/>
                </a:lnTo>
                <a:lnTo>
                  <a:pt x="281" y="5470"/>
                </a:lnTo>
                <a:cubicBezTo>
                  <a:pt x="116" y="5579"/>
                  <a:pt x="0" y="5806"/>
                  <a:pt x="0" y="6075"/>
                </a:cubicBezTo>
                <a:cubicBezTo>
                  <a:pt x="0" y="6344"/>
                  <a:pt x="116" y="6571"/>
                  <a:pt x="281" y="6680"/>
                </a:cubicBezTo>
                <a:lnTo>
                  <a:pt x="280" y="6684"/>
                </a:lnTo>
                <a:lnTo>
                  <a:pt x="295" y="6692"/>
                </a:lnTo>
                <a:cubicBezTo>
                  <a:pt x="299" y="6695"/>
                  <a:pt x="304" y="6697"/>
                  <a:pt x="309" y="6699"/>
                </a:cubicBezTo>
                <a:lnTo>
                  <a:pt x="1230" y="7182"/>
                </a:lnTo>
                <a:lnTo>
                  <a:pt x="608" y="13603"/>
                </a:lnTo>
                <a:cubicBezTo>
                  <a:pt x="251" y="13805"/>
                  <a:pt x="0" y="14287"/>
                  <a:pt x="0" y="14850"/>
                </a:cubicBezTo>
                <a:cubicBezTo>
                  <a:pt x="0" y="15596"/>
                  <a:pt x="439" y="16200"/>
                  <a:pt x="982" y="16200"/>
                </a:cubicBezTo>
                <a:cubicBezTo>
                  <a:pt x="1524" y="16200"/>
                  <a:pt x="1964" y="15596"/>
                  <a:pt x="1964" y="14850"/>
                </a:cubicBezTo>
                <a:cubicBezTo>
                  <a:pt x="1964" y="14416"/>
                  <a:pt x="1812" y="14034"/>
                  <a:pt x="1580" y="13787"/>
                </a:cubicBezTo>
                <a:lnTo>
                  <a:pt x="2173" y="7676"/>
                </a:lnTo>
                <a:lnTo>
                  <a:pt x="3822" y="8540"/>
                </a:lnTo>
                <a:lnTo>
                  <a:pt x="2950" y="18135"/>
                </a:lnTo>
                <a:lnTo>
                  <a:pt x="2958" y="18138"/>
                </a:lnTo>
                <a:cubicBezTo>
                  <a:pt x="2955" y="18167"/>
                  <a:pt x="2945" y="18193"/>
                  <a:pt x="2945" y="18225"/>
                </a:cubicBezTo>
                <a:cubicBezTo>
                  <a:pt x="2945" y="18598"/>
                  <a:pt x="3165" y="18900"/>
                  <a:pt x="3436" y="18900"/>
                </a:cubicBezTo>
                <a:cubicBezTo>
                  <a:pt x="3474" y="18900"/>
                  <a:pt x="3506" y="18884"/>
                  <a:pt x="3541" y="18873"/>
                </a:cubicBezTo>
                <a:lnTo>
                  <a:pt x="3543" y="18884"/>
                </a:lnTo>
                <a:lnTo>
                  <a:pt x="7238" y="17613"/>
                </a:lnTo>
                <a:lnTo>
                  <a:pt x="10506" y="21465"/>
                </a:lnTo>
                <a:lnTo>
                  <a:pt x="10510" y="21456"/>
                </a:lnTo>
                <a:cubicBezTo>
                  <a:pt x="10593" y="21541"/>
                  <a:pt x="10690" y="21600"/>
                  <a:pt x="10800" y="21600"/>
                </a:cubicBezTo>
                <a:cubicBezTo>
                  <a:pt x="10901" y="21600"/>
                  <a:pt x="10989" y="21548"/>
                  <a:pt x="11068" y="21476"/>
                </a:cubicBezTo>
                <a:lnTo>
                  <a:pt x="11072" y="21487"/>
                </a:lnTo>
                <a:lnTo>
                  <a:pt x="14834" y="17607"/>
                </a:lnTo>
                <a:lnTo>
                  <a:pt x="18548" y="18884"/>
                </a:lnTo>
                <a:lnTo>
                  <a:pt x="18550" y="18871"/>
                </a:lnTo>
                <a:cubicBezTo>
                  <a:pt x="18585" y="18882"/>
                  <a:pt x="18618" y="18900"/>
                  <a:pt x="18655" y="18900"/>
                </a:cubicBezTo>
                <a:cubicBezTo>
                  <a:pt x="18926" y="18900"/>
                  <a:pt x="19145" y="18598"/>
                  <a:pt x="19145" y="18225"/>
                </a:cubicBezTo>
                <a:cubicBezTo>
                  <a:pt x="19145" y="18181"/>
                  <a:pt x="19135" y="18143"/>
                  <a:pt x="19130" y="18102"/>
                </a:cubicBezTo>
                <a:lnTo>
                  <a:pt x="19137" y="18100"/>
                </a:lnTo>
                <a:lnTo>
                  <a:pt x="17830" y="8513"/>
                </a:lnTo>
                <a:lnTo>
                  <a:pt x="21292" y="6699"/>
                </a:lnTo>
                <a:cubicBezTo>
                  <a:pt x="21296" y="6697"/>
                  <a:pt x="21301" y="6695"/>
                  <a:pt x="21306" y="6692"/>
                </a:cubicBezTo>
                <a:lnTo>
                  <a:pt x="21320" y="6684"/>
                </a:lnTo>
                <a:lnTo>
                  <a:pt x="21319" y="6680"/>
                </a:lnTo>
                <a:cubicBezTo>
                  <a:pt x="21484" y="6571"/>
                  <a:pt x="21600" y="6344"/>
                  <a:pt x="21600" y="607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Century Gothic" charset="0"/>
              <a:ea typeface="Century Gothic" charset="0"/>
              <a:cs typeface="Century Gothic" charset="0"/>
            </a:endParaRPr>
          </a:p>
        </p:txBody>
      </p:sp>
      <p:sp>
        <p:nvSpPr>
          <p:cNvPr id="48" name="Shape 2776">
            <a:extLst>
              <a:ext uri="{FF2B5EF4-FFF2-40B4-BE49-F238E27FC236}">
                <a16:creationId xmlns:a16="http://schemas.microsoft.com/office/drawing/2014/main" id="{1BC0BF38-2F5B-4AB3-910C-0179E24A7392}"/>
              </a:ext>
            </a:extLst>
          </p:cNvPr>
          <p:cNvSpPr/>
          <p:nvPr/>
        </p:nvSpPr>
        <p:spPr>
          <a:xfrm>
            <a:off x="6015625" y="1596413"/>
            <a:ext cx="233565" cy="428202"/>
          </a:xfrm>
          <a:custGeom>
            <a:avLst/>
            <a:gdLst/>
            <a:ahLst/>
            <a:cxnLst>
              <a:cxn ang="0">
                <a:pos x="wd2" y="hd2"/>
              </a:cxn>
              <a:cxn ang="5400000">
                <a:pos x="wd2" y="hd2"/>
              </a:cxn>
              <a:cxn ang="10800000">
                <a:pos x="wd2" y="hd2"/>
              </a:cxn>
              <a:cxn ang="16200000">
                <a:pos x="wd2" y="hd2"/>
              </a:cxn>
            </a:cxnLst>
            <a:rect l="0" t="0" r="r" b="b"/>
            <a:pathLst>
              <a:path w="21600" h="21600" extrusionOk="0">
                <a:moveTo>
                  <a:pt x="6300" y="7855"/>
                </a:moveTo>
                <a:lnTo>
                  <a:pt x="9900" y="7855"/>
                </a:lnTo>
                <a:lnTo>
                  <a:pt x="9900" y="9818"/>
                </a:lnTo>
                <a:cubicBezTo>
                  <a:pt x="9900" y="10090"/>
                  <a:pt x="10303" y="10309"/>
                  <a:pt x="10800" y="10309"/>
                </a:cubicBezTo>
                <a:cubicBezTo>
                  <a:pt x="11297" y="10309"/>
                  <a:pt x="11700" y="10090"/>
                  <a:pt x="11700" y="9818"/>
                </a:cubicBezTo>
                <a:lnTo>
                  <a:pt x="11700" y="7855"/>
                </a:lnTo>
                <a:lnTo>
                  <a:pt x="15300" y="7855"/>
                </a:lnTo>
                <a:cubicBezTo>
                  <a:pt x="15797" y="7855"/>
                  <a:pt x="16200" y="7635"/>
                  <a:pt x="16200" y="7364"/>
                </a:cubicBezTo>
                <a:cubicBezTo>
                  <a:pt x="16200" y="7092"/>
                  <a:pt x="15797" y="6873"/>
                  <a:pt x="15300" y="6873"/>
                </a:cubicBezTo>
                <a:lnTo>
                  <a:pt x="11700" y="6873"/>
                </a:lnTo>
                <a:lnTo>
                  <a:pt x="11700" y="4909"/>
                </a:lnTo>
                <a:cubicBezTo>
                  <a:pt x="11700" y="4638"/>
                  <a:pt x="11297" y="4418"/>
                  <a:pt x="10800" y="4418"/>
                </a:cubicBezTo>
                <a:cubicBezTo>
                  <a:pt x="10303" y="4418"/>
                  <a:pt x="9900" y="4638"/>
                  <a:pt x="9900" y="4909"/>
                </a:cubicBezTo>
                <a:lnTo>
                  <a:pt x="9900" y="6873"/>
                </a:lnTo>
                <a:lnTo>
                  <a:pt x="6300" y="6873"/>
                </a:lnTo>
                <a:cubicBezTo>
                  <a:pt x="5803" y="6873"/>
                  <a:pt x="5400" y="7092"/>
                  <a:pt x="5400" y="7364"/>
                </a:cubicBezTo>
                <a:cubicBezTo>
                  <a:pt x="5400" y="7635"/>
                  <a:pt x="5803" y="7855"/>
                  <a:pt x="6300" y="7855"/>
                </a:cubicBezTo>
                <a:moveTo>
                  <a:pt x="19800" y="19847"/>
                </a:moveTo>
                <a:lnTo>
                  <a:pt x="11464" y="14886"/>
                </a:lnTo>
                <a:lnTo>
                  <a:pt x="11457" y="14889"/>
                </a:lnTo>
                <a:cubicBezTo>
                  <a:pt x="11294" y="14791"/>
                  <a:pt x="11063" y="14727"/>
                  <a:pt x="10800" y="14727"/>
                </a:cubicBezTo>
                <a:cubicBezTo>
                  <a:pt x="10537" y="14727"/>
                  <a:pt x="10306" y="14791"/>
                  <a:pt x="10142" y="14889"/>
                </a:cubicBezTo>
                <a:lnTo>
                  <a:pt x="10136" y="14886"/>
                </a:lnTo>
                <a:lnTo>
                  <a:pt x="1800" y="19847"/>
                </a:lnTo>
                <a:lnTo>
                  <a:pt x="1800" y="982"/>
                </a:lnTo>
                <a:lnTo>
                  <a:pt x="19800" y="982"/>
                </a:lnTo>
                <a:cubicBezTo>
                  <a:pt x="19800" y="982"/>
                  <a:pt x="19800" y="19847"/>
                  <a:pt x="19800" y="19847"/>
                </a:cubicBezTo>
                <a:close/>
                <a:moveTo>
                  <a:pt x="20700" y="0"/>
                </a:moveTo>
                <a:lnTo>
                  <a:pt x="900" y="0"/>
                </a:lnTo>
                <a:cubicBezTo>
                  <a:pt x="403" y="0"/>
                  <a:pt x="0" y="220"/>
                  <a:pt x="0" y="491"/>
                </a:cubicBezTo>
                <a:lnTo>
                  <a:pt x="0" y="21109"/>
                </a:lnTo>
                <a:cubicBezTo>
                  <a:pt x="0" y="21380"/>
                  <a:pt x="403" y="21600"/>
                  <a:pt x="900" y="21600"/>
                </a:cubicBezTo>
                <a:cubicBezTo>
                  <a:pt x="1163" y="21600"/>
                  <a:pt x="1394" y="21536"/>
                  <a:pt x="1559" y="21438"/>
                </a:cubicBezTo>
                <a:lnTo>
                  <a:pt x="1564" y="21441"/>
                </a:lnTo>
                <a:lnTo>
                  <a:pt x="10800" y="15945"/>
                </a:lnTo>
                <a:lnTo>
                  <a:pt x="20036" y="21441"/>
                </a:lnTo>
                <a:lnTo>
                  <a:pt x="20041" y="21438"/>
                </a:lnTo>
                <a:cubicBezTo>
                  <a:pt x="20206" y="21536"/>
                  <a:pt x="20437" y="21600"/>
                  <a:pt x="20700" y="21600"/>
                </a:cubicBezTo>
                <a:cubicBezTo>
                  <a:pt x="21197" y="21600"/>
                  <a:pt x="21600" y="21380"/>
                  <a:pt x="21600" y="21109"/>
                </a:cubicBezTo>
                <a:lnTo>
                  <a:pt x="21600" y="491"/>
                </a:lnTo>
                <a:cubicBezTo>
                  <a:pt x="21600" y="220"/>
                  <a:pt x="21197" y="0"/>
                  <a:pt x="207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Century Gothic" charset="0"/>
              <a:ea typeface="Century Gothic" charset="0"/>
              <a:cs typeface="Century Gothic" charset="0"/>
            </a:endParaRPr>
          </a:p>
        </p:txBody>
      </p:sp>
      <p:sp>
        <p:nvSpPr>
          <p:cNvPr id="49" name="Shape 2777">
            <a:extLst>
              <a:ext uri="{FF2B5EF4-FFF2-40B4-BE49-F238E27FC236}">
                <a16:creationId xmlns:a16="http://schemas.microsoft.com/office/drawing/2014/main" id="{81BCD571-2ACA-4930-AED7-D2CA3C5F2E6E}"/>
              </a:ext>
            </a:extLst>
          </p:cNvPr>
          <p:cNvSpPr/>
          <p:nvPr/>
        </p:nvSpPr>
        <p:spPr>
          <a:xfrm>
            <a:off x="5978603" y="4151116"/>
            <a:ext cx="311420" cy="428202"/>
          </a:xfrm>
          <a:custGeom>
            <a:avLst/>
            <a:gdLst/>
            <a:ahLst/>
            <a:cxnLst>
              <a:cxn ang="0">
                <a:pos x="wd2" y="hd2"/>
              </a:cxn>
              <a:cxn ang="5400000">
                <a:pos x="wd2" y="hd2"/>
              </a:cxn>
              <a:cxn ang="10800000">
                <a:pos x="wd2" y="hd2"/>
              </a:cxn>
              <a:cxn ang="16200000">
                <a:pos x="wd2" y="hd2"/>
              </a:cxn>
            </a:cxnLst>
            <a:rect l="0" t="0" r="r" b="b"/>
            <a:pathLst>
              <a:path w="21600" h="21600" extrusionOk="0">
                <a:moveTo>
                  <a:pt x="20250" y="20095"/>
                </a:moveTo>
                <a:lnTo>
                  <a:pt x="11298" y="14886"/>
                </a:lnTo>
                <a:lnTo>
                  <a:pt x="11293" y="14890"/>
                </a:lnTo>
                <a:cubicBezTo>
                  <a:pt x="11170" y="14791"/>
                  <a:pt x="10997" y="14727"/>
                  <a:pt x="10800" y="14727"/>
                </a:cubicBezTo>
                <a:cubicBezTo>
                  <a:pt x="10603" y="14727"/>
                  <a:pt x="10430" y="14791"/>
                  <a:pt x="10306" y="14890"/>
                </a:cubicBezTo>
                <a:lnTo>
                  <a:pt x="10302" y="14886"/>
                </a:lnTo>
                <a:lnTo>
                  <a:pt x="1350" y="20095"/>
                </a:lnTo>
                <a:lnTo>
                  <a:pt x="1350" y="982"/>
                </a:lnTo>
                <a:lnTo>
                  <a:pt x="20250" y="982"/>
                </a:lnTo>
                <a:cubicBezTo>
                  <a:pt x="20250" y="982"/>
                  <a:pt x="20250" y="20095"/>
                  <a:pt x="20250" y="20095"/>
                </a:cubicBezTo>
                <a:close/>
                <a:moveTo>
                  <a:pt x="20925" y="0"/>
                </a:moveTo>
                <a:lnTo>
                  <a:pt x="675" y="0"/>
                </a:lnTo>
                <a:cubicBezTo>
                  <a:pt x="302" y="0"/>
                  <a:pt x="0" y="220"/>
                  <a:pt x="0" y="491"/>
                </a:cubicBezTo>
                <a:lnTo>
                  <a:pt x="0" y="21109"/>
                </a:lnTo>
                <a:cubicBezTo>
                  <a:pt x="0" y="21380"/>
                  <a:pt x="302" y="21600"/>
                  <a:pt x="675" y="21600"/>
                </a:cubicBezTo>
                <a:cubicBezTo>
                  <a:pt x="872" y="21600"/>
                  <a:pt x="1045" y="21537"/>
                  <a:pt x="1169" y="21438"/>
                </a:cubicBezTo>
                <a:lnTo>
                  <a:pt x="1173" y="21441"/>
                </a:lnTo>
                <a:lnTo>
                  <a:pt x="10800" y="15839"/>
                </a:lnTo>
                <a:lnTo>
                  <a:pt x="20427" y="21441"/>
                </a:lnTo>
                <a:lnTo>
                  <a:pt x="20431" y="21438"/>
                </a:lnTo>
                <a:cubicBezTo>
                  <a:pt x="20555" y="21537"/>
                  <a:pt x="20728" y="21600"/>
                  <a:pt x="20925" y="21600"/>
                </a:cubicBezTo>
                <a:cubicBezTo>
                  <a:pt x="21298" y="21600"/>
                  <a:pt x="21600" y="21380"/>
                  <a:pt x="21600" y="21109"/>
                </a:cubicBezTo>
                <a:lnTo>
                  <a:pt x="21600" y="491"/>
                </a:lnTo>
                <a:cubicBezTo>
                  <a:pt x="21600" y="220"/>
                  <a:pt x="21298" y="0"/>
                  <a:pt x="20925" y="0"/>
                </a:cubicBezTo>
                <a:moveTo>
                  <a:pt x="7337" y="7850"/>
                </a:moveTo>
                <a:lnTo>
                  <a:pt x="9710" y="7850"/>
                </a:lnTo>
                <a:lnTo>
                  <a:pt x="10039" y="7213"/>
                </a:lnTo>
                <a:lnTo>
                  <a:pt x="10800" y="5738"/>
                </a:lnTo>
                <a:lnTo>
                  <a:pt x="11561" y="7213"/>
                </a:lnTo>
                <a:lnTo>
                  <a:pt x="11890" y="7850"/>
                </a:lnTo>
                <a:lnTo>
                  <a:pt x="14263" y="7850"/>
                </a:lnTo>
                <a:lnTo>
                  <a:pt x="13014" y="8550"/>
                </a:lnTo>
                <a:lnTo>
                  <a:pt x="12253" y="8976"/>
                </a:lnTo>
                <a:lnTo>
                  <a:pt x="12557" y="9638"/>
                </a:lnTo>
                <a:lnTo>
                  <a:pt x="13240" y="11130"/>
                </a:lnTo>
                <a:lnTo>
                  <a:pt x="11598" y="10254"/>
                </a:lnTo>
                <a:lnTo>
                  <a:pt x="10800" y="9828"/>
                </a:lnTo>
                <a:lnTo>
                  <a:pt x="10002" y="10254"/>
                </a:lnTo>
                <a:lnTo>
                  <a:pt x="8360" y="11130"/>
                </a:lnTo>
                <a:lnTo>
                  <a:pt x="9043" y="9638"/>
                </a:lnTo>
                <a:lnTo>
                  <a:pt x="9347" y="8976"/>
                </a:lnTo>
                <a:lnTo>
                  <a:pt x="8586" y="8550"/>
                </a:lnTo>
                <a:cubicBezTo>
                  <a:pt x="8586" y="8550"/>
                  <a:pt x="7337" y="7850"/>
                  <a:pt x="7337" y="7850"/>
                </a:cubicBezTo>
                <a:close/>
                <a:moveTo>
                  <a:pt x="5737" y="13745"/>
                </a:moveTo>
                <a:lnTo>
                  <a:pt x="10800" y="11045"/>
                </a:lnTo>
                <a:lnTo>
                  <a:pt x="15863" y="13745"/>
                </a:lnTo>
                <a:lnTo>
                  <a:pt x="13838" y="9328"/>
                </a:lnTo>
                <a:lnTo>
                  <a:pt x="18225" y="6868"/>
                </a:lnTo>
                <a:lnTo>
                  <a:pt x="12825" y="6868"/>
                </a:lnTo>
                <a:lnTo>
                  <a:pt x="10800" y="2945"/>
                </a:lnTo>
                <a:lnTo>
                  <a:pt x="8775" y="6868"/>
                </a:lnTo>
                <a:lnTo>
                  <a:pt x="3375" y="6868"/>
                </a:lnTo>
                <a:lnTo>
                  <a:pt x="7762" y="9328"/>
                </a:lnTo>
                <a:cubicBezTo>
                  <a:pt x="7762" y="9328"/>
                  <a:pt x="5737" y="13745"/>
                  <a:pt x="5737" y="13745"/>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Century Gothic" charset="0"/>
              <a:ea typeface="Century Gothic" charset="0"/>
              <a:cs typeface="Century Gothic" charset="0"/>
            </a:endParaRPr>
          </a:p>
        </p:txBody>
      </p:sp>
      <p:sp>
        <p:nvSpPr>
          <p:cNvPr id="50" name="Shape 2784">
            <a:extLst>
              <a:ext uri="{FF2B5EF4-FFF2-40B4-BE49-F238E27FC236}">
                <a16:creationId xmlns:a16="http://schemas.microsoft.com/office/drawing/2014/main" id="{9BECFAFB-7190-4E1A-86FF-8D6419E84938}"/>
              </a:ext>
            </a:extLst>
          </p:cNvPr>
          <p:cNvSpPr/>
          <p:nvPr/>
        </p:nvSpPr>
        <p:spPr>
          <a:xfrm>
            <a:off x="2410786" y="4162513"/>
            <a:ext cx="428201" cy="428201"/>
          </a:xfrm>
          <a:custGeom>
            <a:avLst/>
            <a:gdLst/>
            <a:ahLst/>
            <a:cxnLst>
              <a:cxn ang="0">
                <a:pos x="wd2" y="hd2"/>
              </a:cxn>
              <a:cxn ang="5400000">
                <a:pos x="wd2" y="hd2"/>
              </a:cxn>
              <a:cxn ang="10800000">
                <a:pos x="wd2" y="hd2"/>
              </a:cxn>
              <a:cxn ang="16200000">
                <a:pos x="wd2" y="hd2"/>
              </a:cxn>
            </a:cxnLst>
            <a:rect l="0" t="0" r="r" b="b"/>
            <a:pathLst>
              <a:path w="21600" h="21600" extrusionOk="0">
                <a:moveTo>
                  <a:pt x="20353" y="11229"/>
                </a:moveTo>
                <a:lnTo>
                  <a:pt x="20356" y="11234"/>
                </a:lnTo>
                <a:lnTo>
                  <a:pt x="11029" y="16143"/>
                </a:lnTo>
                <a:lnTo>
                  <a:pt x="11026" y="16138"/>
                </a:lnTo>
                <a:cubicBezTo>
                  <a:pt x="10957" y="16174"/>
                  <a:pt x="10883" y="16200"/>
                  <a:pt x="10800" y="16200"/>
                </a:cubicBezTo>
                <a:cubicBezTo>
                  <a:pt x="10717" y="16200"/>
                  <a:pt x="10643" y="16174"/>
                  <a:pt x="10574" y="16138"/>
                </a:cubicBezTo>
                <a:lnTo>
                  <a:pt x="10571" y="16143"/>
                </a:lnTo>
                <a:lnTo>
                  <a:pt x="1244" y="11234"/>
                </a:lnTo>
                <a:lnTo>
                  <a:pt x="1247" y="11229"/>
                </a:lnTo>
                <a:cubicBezTo>
                  <a:pt x="1091" y="11147"/>
                  <a:pt x="982" y="10988"/>
                  <a:pt x="982" y="10800"/>
                </a:cubicBezTo>
                <a:cubicBezTo>
                  <a:pt x="982" y="10612"/>
                  <a:pt x="1091" y="10453"/>
                  <a:pt x="1247" y="10371"/>
                </a:cubicBezTo>
                <a:lnTo>
                  <a:pt x="1244" y="10366"/>
                </a:lnTo>
                <a:lnTo>
                  <a:pt x="3562" y="9146"/>
                </a:lnTo>
                <a:lnTo>
                  <a:pt x="10113" y="12594"/>
                </a:lnTo>
                <a:lnTo>
                  <a:pt x="10117" y="12588"/>
                </a:lnTo>
                <a:cubicBezTo>
                  <a:pt x="10322" y="12697"/>
                  <a:pt x="10552" y="12764"/>
                  <a:pt x="10800" y="12764"/>
                </a:cubicBezTo>
                <a:cubicBezTo>
                  <a:pt x="11048" y="12764"/>
                  <a:pt x="11278" y="12697"/>
                  <a:pt x="11483" y="12588"/>
                </a:cubicBezTo>
                <a:lnTo>
                  <a:pt x="11486" y="12594"/>
                </a:lnTo>
                <a:lnTo>
                  <a:pt x="18038" y="9146"/>
                </a:lnTo>
                <a:lnTo>
                  <a:pt x="20356" y="10366"/>
                </a:lnTo>
                <a:lnTo>
                  <a:pt x="20353" y="10371"/>
                </a:lnTo>
                <a:cubicBezTo>
                  <a:pt x="20509" y="10453"/>
                  <a:pt x="20618" y="10612"/>
                  <a:pt x="20618" y="10800"/>
                </a:cubicBezTo>
                <a:cubicBezTo>
                  <a:pt x="20618" y="10988"/>
                  <a:pt x="20509" y="11147"/>
                  <a:pt x="20353" y="11229"/>
                </a:cubicBezTo>
                <a:moveTo>
                  <a:pt x="20356" y="14784"/>
                </a:moveTo>
                <a:lnTo>
                  <a:pt x="20353" y="14790"/>
                </a:lnTo>
                <a:cubicBezTo>
                  <a:pt x="20509" y="14872"/>
                  <a:pt x="20618" y="15030"/>
                  <a:pt x="20618" y="15218"/>
                </a:cubicBezTo>
                <a:cubicBezTo>
                  <a:pt x="20618" y="15407"/>
                  <a:pt x="20509" y="15565"/>
                  <a:pt x="20353" y="15647"/>
                </a:cubicBezTo>
                <a:lnTo>
                  <a:pt x="20356" y="15653"/>
                </a:lnTo>
                <a:lnTo>
                  <a:pt x="11029" y="20562"/>
                </a:lnTo>
                <a:lnTo>
                  <a:pt x="11026" y="20556"/>
                </a:lnTo>
                <a:cubicBezTo>
                  <a:pt x="10957" y="20592"/>
                  <a:pt x="10883" y="20618"/>
                  <a:pt x="10800" y="20618"/>
                </a:cubicBezTo>
                <a:cubicBezTo>
                  <a:pt x="10717" y="20618"/>
                  <a:pt x="10643" y="20592"/>
                  <a:pt x="10574" y="20556"/>
                </a:cubicBezTo>
                <a:lnTo>
                  <a:pt x="10571" y="20562"/>
                </a:lnTo>
                <a:lnTo>
                  <a:pt x="1244" y="15653"/>
                </a:lnTo>
                <a:lnTo>
                  <a:pt x="1247" y="15647"/>
                </a:lnTo>
                <a:cubicBezTo>
                  <a:pt x="1091" y="15565"/>
                  <a:pt x="982" y="15407"/>
                  <a:pt x="982" y="15218"/>
                </a:cubicBezTo>
                <a:cubicBezTo>
                  <a:pt x="982" y="15030"/>
                  <a:pt x="1091" y="14872"/>
                  <a:pt x="1247" y="14790"/>
                </a:cubicBezTo>
                <a:lnTo>
                  <a:pt x="1244" y="14784"/>
                </a:lnTo>
                <a:lnTo>
                  <a:pt x="3562" y="13564"/>
                </a:lnTo>
                <a:lnTo>
                  <a:pt x="10113" y="17012"/>
                </a:lnTo>
                <a:lnTo>
                  <a:pt x="10117" y="17006"/>
                </a:lnTo>
                <a:cubicBezTo>
                  <a:pt x="10322" y="17115"/>
                  <a:pt x="10552" y="17182"/>
                  <a:pt x="10800" y="17182"/>
                </a:cubicBezTo>
                <a:cubicBezTo>
                  <a:pt x="11048" y="17182"/>
                  <a:pt x="11278" y="17115"/>
                  <a:pt x="11483" y="17006"/>
                </a:cubicBezTo>
                <a:lnTo>
                  <a:pt x="11486" y="17012"/>
                </a:lnTo>
                <a:lnTo>
                  <a:pt x="18038" y="13564"/>
                </a:lnTo>
                <a:cubicBezTo>
                  <a:pt x="18038" y="13564"/>
                  <a:pt x="20356" y="14784"/>
                  <a:pt x="20356" y="14784"/>
                </a:cubicBezTo>
                <a:close/>
                <a:moveTo>
                  <a:pt x="1244" y="6816"/>
                </a:moveTo>
                <a:lnTo>
                  <a:pt x="1247" y="6811"/>
                </a:lnTo>
                <a:cubicBezTo>
                  <a:pt x="1091" y="6728"/>
                  <a:pt x="982" y="6570"/>
                  <a:pt x="982" y="6382"/>
                </a:cubicBezTo>
                <a:cubicBezTo>
                  <a:pt x="982" y="6194"/>
                  <a:pt x="1091" y="6035"/>
                  <a:pt x="1247" y="5953"/>
                </a:cubicBezTo>
                <a:lnTo>
                  <a:pt x="1244" y="5947"/>
                </a:lnTo>
                <a:lnTo>
                  <a:pt x="10571" y="1038"/>
                </a:lnTo>
                <a:lnTo>
                  <a:pt x="10574" y="1044"/>
                </a:lnTo>
                <a:cubicBezTo>
                  <a:pt x="10643" y="1008"/>
                  <a:pt x="10717" y="982"/>
                  <a:pt x="10800" y="982"/>
                </a:cubicBezTo>
                <a:cubicBezTo>
                  <a:pt x="10883" y="982"/>
                  <a:pt x="10957" y="1008"/>
                  <a:pt x="11026" y="1044"/>
                </a:cubicBezTo>
                <a:lnTo>
                  <a:pt x="11029" y="1038"/>
                </a:lnTo>
                <a:lnTo>
                  <a:pt x="20356" y="5947"/>
                </a:lnTo>
                <a:lnTo>
                  <a:pt x="20353" y="5953"/>
                </a:lnTo>
                <a:cubicBezTo>
                  <a:pt x="20509" y="6035"/>
                  <a:pt x="20618" y="6194"/>
                  <a:pt x="20618" y="6382"/>
                </a:cubicBezTo>
                <a:cubicBezTo>
                  <a:pt x="20618" y="6570"/>
                  <a:pt x="20509" y="6728"/>
                  <a:pt x="20353" y="6811"/>
                </a:cubicBezTo>
                <a:lnTo>
                  <a:pt x="20356" y="6816"/>
                </a:lnTo>
                <a:lnTo>
                  <a:pt x="11029" y="11725"/>
                </a:lnTo>
                <a:lnTo>
                  <a:pt x="11026" y="11720"/>
                </a:lnTo>
                <a:cubicBezTo>
                  <a:pt x="10957" y="11756"/>
                  <a:pt x="10883" y="11782"/>
                  <a:pt x="10800" y="11782"/>
                </a:cubicBezTo>
                <a:cubicBezTo>
                  <a:pt x="10717" y="11782"/>
                  <a:pt x="10643" y="11756"/>
                  <a:pt x="10574" y="11720"/>
                </a:cubicBezTo>
                <a:lnTo>
                  <a:pt x="10571" y="11725"/>
                </a:lnTo>
                <a:cubicBezTo>
                  <a:pt x="10571" y="11725"/>
                  <a:pt x="1244" y="6816"/>
                  <a:pt x="1244" y="6816"/>
                </a:cubicBezTo>
                <a:close/>
                <a:moveTo>
                  <a:pt x="21600" y="10800"/>
                </a:moveTo>
                <a:cubicBezTo>
                  <a:pt x="21600" y="10234"/>
                  <a:pt x="21278" y="9749"/>
                  <a:pt x="20810" y="9503"/>
                </a:cubicBezTo>
                <a:lnTo>
                  <a:pt x="20813" y="9497"/>
                </a:lnTo>
                <a:lnTo>
                  <a:pt x="19092" y="8591"/>
                </a:lnTo>
                <a:lnTo>
                  <a:pt x="20813" y="7685"/>
                </a:lnTo>
                <a:lnTo>
                  <a:pt x="20810" y="7679"/>
                </a:lnTo>
                <a:cubicBezTo>
                  <a:pt x="21278" y="7433"/>
                  <a:pt x="21600" y="6948"/>
                  <a:pt x="21600" y="6382"/>
                </a:cubicBezTo>
                <a:cubicBezTo>
                  <a:pt x="21600" y="5816"/>
                  <a:pt x="21278" y="5331"/>
                  <a:pt x="20810" y="5085"/>
                </a:cubicBezTo>
                <a:lnTo>
                  <a:pt x="20813" y="5079"/>
                </a:lnTo>
                <a:lnTo>
                  <a:pt x="11486" y="170"/>
                </a:lnTo>
                <a:lnTo>
                  <a:pt x="11483" y="175"/>
                </a:lnTo>
                <a:cubicBezTo>
                  <a:pt x="11278" y="67"/>
                  <a:pt x="11048" y="0"/>
                  <a:pt x="10800" y="0"/>
                </a:cubicBezTo>
                <a:cubicBezTo>
                  <a:pt x="10552" y="0"/>
                  <a:pt x="10322" y="67"/>
                  <a:pt x="10117" y="175"/>
                </a:cubicBezTo>
                <a:lnTo>
                  <a:pt x="10113" y="170"/>
                </a:lnTo>
                <a:lnTo>
                  <a:pt x="786" y="5079"/>
                </a:lnTo>
                <a:lnTo>
                  <a:pt x="790" y="5085"/>
                </a:lnTo>
                <a:cubicBezTo>
                  <a:pt x="322" y="5331"/>
                  <a:pt x="0" y="5816"/>
                  <a:pt x="0" y="6382"/>
                </a:cubicBezTo>
                <a:cubicBezTo>
                  <a:pt x="0" y="6948"/>
                  <a:pt x="322" y="7433"/>
                  <a:pt x="790" y="7679"/>
                </a:cubicBezTo>
                <a:lnTo>
                  <a:pt x="786" y="7685"/>
                </a:lnTo>
                <a:lnTo>
                  <a:pt x="2508" y="8591"/>
                </a:lnTo>
                <a:lnTo>
                  <a:pt x="786" y="9497"/>
                </a:lnTo>
                <a:lnTo>
                  <a:pt x="790" y="9503"/>
                </a:lnTo>
                <a:cubicBezTo>
                  <a:pt x="322" y="9749"/>
                  <a:pt x="0" y="10234"/>
                  <a:pt x="0" y="10800"/>
                </a:cubicBezTo>
                <a:cubicBezTo>
                  <a:pt x="0" y="11366"/>
                  <a:pt x="322" y="11851"/>
                  <a:pt x="790" y="12097"/>
                </a:cubicBezTo>
                <a:lnTo>
                  <a:pt x="786" y="12103"/>
                </a:lnTo>
                <a:lnTo>
                  <a:pt x="2508" y="13009"/>
                </a:lnTo>
                <a:lnTo>
                  <a:pt x="786" y="13915"/>
                </a:lnTo>
                <a:lnTo>
                  <a:pt x="790" y="13921"/>
                </a:lnTo>
                <a:cubicBezTo>
                  <a:pt x="322" y="14167"/>
                  <a:pt x="0" y="14652"/>
                  <a:pt x="0" y="15218"/>
                </a:cubicBezTo>
                <a:cubicBezTo>
                  <a:pt x="0" y="15784"/>
                  <a:pt x="322" y="16269"/>
                  <a:pt x="790" y="16515"/>
                </a:cubicBezTo>
                <a:lnTo>
                  <a:pt x="786" y="16521"/>
                </a:lnTo>
                <a:lnTo>
                  <a:pt x="10113" y="21430"/>
                </a:lnTo>
                <a:lnTo>
                  <a:pt x="10117" y="21425"/>
                </a:lnTo>
                <a:cubicBezTo>
                  <a:pt x="10322" y="21533"/>
                  <a:pt x="10552" y="21600"/>
                  <a:pt x="10800" y="21600"/>
                </a:cubicBezTo>
                <a:cubicBezTo>
                  <a:pt x="11048" y="21600"/>
                  <a:pt x="11278" y="21533"/>
                  <a:pt x="11483" y="21425"/>
                </a:cubicBezTo>
                <a:lnTo>
                  <a:pt x="11486" y="21430"/>
                </a:lnTo>
                <a:lnTo>
                  <a:pt x="20813" y="16521"/>
                </a:lnTo>
                <a:lnTo>
                  <a:pt x="20810" y="16515"/>
                </a:lnTo>
                <a:cubicBezTo>
                  <a:pt x="21278" y="16269"/>
                  <a:pt x="21600" y="15784"/>
                  <a:pt x="21600" y="15218"/>
                </a:cubicBezTo>
                <a:cubicBezTo>
                  <a:pt x="21600" y="14652"/>
                  <a:pt x="21278" y="14167"/>
                  <a:pt x="20810" y="13921"/>
                </a:cubicBezTo>
                <a:lnTo>
                  <a:pt x="20813" y="13915"/>
                </a:lnTo>
                <a:lnTo>
                  <a:pt x="19092" y="13009"/>
                </a:lnTo>
                <a:lnTo>
                  <a:pt x="20813" y="12103"/>
                </a:lnTo>
                <a:lnTo>
                  <a:pt x="20810" y="12097"/>
                </a:lnTo>
                <a:cubicBezTo>
                  <a:pt x="21278" y="11851"/>
                  <a:pt x="21600" y="11366"/>
                  <a:pt x="21600" y="108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Century Gothic" charset="0"/>
              <a:ea typeface="Century Gothic" charset="0"/>
              <a:cs typeface="Century Gothic" charset="0"/>
            </a:endParaRPr>
          </a:p>
        </p:txBody>
      </p:sp>
      <p:sp>
        <p:nvSpPr>
          <p:cNvPr id="52" name="Shape 2786">
            <a:extLst>
              <a:ext uri="{FF2B5EF4-FFF2-40B4-BE49-F238E27FC236}">
                <a16:creationId xmlns:a16="http://schemas.microsoft.com/office/drawing/2014/main" id="{32D0E055-899A-47E6-8A92-C379F520B820}"/>
              </a:ext>
            </a:extLst>
          </p:cNvPr>
          <p:cNvSpPr/>
          <p:nvPr/>
        </p:nvSpPr>
        <p:spPr>
          <a:xfrm>
            <a:off x="9405669" y="1596413"/>
            <a:ext cx="427893" cy="389297"/>
          </a:xfrm>
          <a:custGeom>
            <a:avLst/>
            <a:gdLst/>
            <a:ahLst/>
            <a:cxnLst>
              <a:cxn ang="0">
                <a:pos x="wd2" y="hd2"/>
              </a:cxn>
              <a:cxn ang="5400000">
                <a:pos x="wd2" y="hd2"/>
              </a:cxn>
              <a:cxn ang="10800000">
                <a:pos x="wd2" y="hd2"/>
              </a:cxn>
              <a:cxn ang="16200000">
                <a:pos x="wd2" y="hd2"/>
              </a:cxn>
            </a:cxnLst>
            <a:rect l="0" t="0" r="r" b="b"/>
            <a:pathLst>
              <a:path w="21079" h="20458" extrusionOk="0">
                <a:moveTo>
                  <a:pt x="8629" y="9718"/>
                </a:moveTo>
                <a:cubicBezTo>
                  <a:pt x="8364" y="9718"/>
                  <a:pt x="8150" y="9946"/>
                  <a:pt x="8150" y="10229"/>
                </a:cubicBezTo>
                <a:cubicBezTo>
                  <a:pt x="8150" y="10512"/>
                  <a:pt x="8364" y="10740"/>
                  <a:pt x="8629" y="10740"/>
                </a:cubicBezTo>
                <a:cubicBezTo>
                  <a:pt x="8894" y="10740"/>
                  <a:pt x="9109" y="10512"/>
                  <a:pt x="9109" y="10229"/>
                </a:cubicBezTo>
                <a:cubicBezTo>
                  <a:pt x="9109" y="9946"/>
                  <a:pt x="8894" y="9718"/>
                  <a:pt x="8629" y="9718"/>
                </a:cubicBezTo>
                <a:moveTo>
                  <a:pt x="19841" y="17227"/>
                </a:moveTo>
                <a:cubicBezTo>
                  <a:pt x="18962" y="17974"/>
                  <a:pt x="18122" y="17900"/>
                  <a:pt x="18122" y="17900"/>
                </a:cubicBezTo>
                <a:cubicBezTo>
                  <a:pt x="17681" y="17900"/>
                  <a:pt x="16277" y="16919"/>
                  <a:pt x="9448" y="11852"/>
                </a:cubicBezTo>
                <a:lnTo>
                  <a:pt x="10866" y="10844"/>
                </a:lnTo>
                <a:cubicBezTo>
                  <a:pt x="10866" y="10844"/>
                  <a:pt x="19841" y="17227"/>
                  <a:pt x="19841" y="17227"/>
                </a:cubicBezTo>
                <a:close/>
                <a:moveTo>
                  <a:pt x="6661" y="12605"/>
                </a:moveTo>
                <a:cubicBezTo>
                  <a:pt x="6010" y="12349"/>
                  <a:pt x="5264" y="12239"/>
                  <a:pt x="4521" y="12267"/>
                </a:cubicBezTo>
                <a:cubicBezTo>
                  <a:pt x="15686" y="3965"/>
                  <a:pt x="17591" y="2558"/>
                  <a:pt x="18122" y="2558"/>
                </a:cubicBezTo>
                <a:cubicBezTo>
                  <a:pt x="18122" y="2558"/>
                  <a:pt x="18962" y="2484"/>
                  <a:pt x="19841" y="3231"/>
                </a:cubicBezTo>
                <a:cubicBezTo>
                  <a:pt x="19841" y="3231"/>
                  <a:pt x="6661" y="12605"/>
                  <a:pt x="6661" y="12605"/>
                </a:cubicBezTo>
                <a:close/>
                <a:moveTo>
                  <a:pt x="5586" y="19031"/>
                </a:moveTo>
                <a:cubicBezTo>
                  <a:pt x="4111" y="19863"/>
                  <a:pt x="2224" y="19369"/>
                  <a:pt x="1372" y="17927"/>
                </a:cubicBezTo>
                <a:cubicBezTo>
                  <a:pt x="520" y="16485"/>
                  <a:pt x="1026" y="14640"/>
                  <a:pt x="2501" y="13808"/>
                </a:cubicBezTo>
                <a:cubicBezTo>
                  <a:pt x="3977" y="12975"/>
                  <a:pt x="6532" y="13092"/>
                  <a:pt x="7383" y="14534"/>
                </a:cubicBezTo>
                <a:cubicBezTo>
                  <a:pt x="8235" y="15977"/>
                  <a:pt x="7062" y="18198"/>
                  <a:pt x="5586" y="19031"/>
                </a:cubicBezTo>
                <a:moveTo>
                  <a:pt x="4521" y="8191"/>
                </a:moveTo>
                <a:cubicBezTo>
                  <a:pt x="5264" y="8219"/>
                  <a:pt x="6010" y="8109"/>
                  <a:pt x="6661" y="7853"/>
                </a:cubicBezTo>
                <a:lnTo>
                  <a:pt x="7765" y="8638"/>
                </a:lnTo>
                <a:cubicBezTo>
                  <a:pt x="7345" y="8950"/>
                  <a:pt x="6901" y="9281"/>
                  <a:pt x="6443" y="9621"/>
                </a:cubicBezTo>
                <a:cubicBezTo>
                  <a:pt x="5833" y="9167"/>
                  <a:pt x="5200" y="8696"/>
                  <a:pt x="4521" y="8191"/>
                </a:cubicBezTo>
                <a:moveTo>
                  <a:pt x="2501" y="6650"/>
                </a:moveTo>
                <a:cubicBezTo>
                  <a:pt x="1026" y="5818"/>
                  <a:pt x="520" y="3973"/>
                  <a:pt x="1372" y="2531"/>
                </a:cubicBezTo>
                <a:cubicBezTo>
                  <a:pt x="2224" y="1089"/>
                  <a:pt x="4111" y="595"/>
                  <a:pt x="5586" y="1427"/>
                </a:cubicBezTo>
                <a:cubicBezTo>
                  <a:pt x="7062" y="2260"/>
                  <a:pt x="8235" y="4481"/>
                  <a:pt x="7383" y="5924"/>
                </a:cubicBezTo>
                <a:cubicBezTo>
                  <a:pt x="6532" y="7366"/>
                  <a:pt x="3977" y="7483"/>
                  <a:pt x="2501" y="6650"/>
                </a:cubicBezTo>
                <a:moveTo>
                  <a:pt x="21079" y="3580"/>
                </a:moveTo>
                <a:cubicBezTo>
                  <a:pt x="21079" y="2451"/>
                  <a:pt x="19262" y="1535"/>
                  <a:pt x="18203" y="1535"/>
                </a:cubicBezTo>
                <a:lnTo>
                  <a:pt x="18122" y="1535"/>
                </a:lnTo>
                <a:cubicBezTo>
                  <a:pt x="17404" y="1535"/>
                  <a:pt x="17139" y="1673"/>
                  <a:pt x="8610" y="8009"/>
                </a:cubicBezTo>
                <a:lnTo>
                  <a:pt x="7613" y="7300"/>
                </a:lnTo>
                <a:cubicBezTo>
                  <a:pt x="7876" y="7084"/>
                  <a:pt x="8104" y="6833"/>
                  <a:pt x="8275" y="6534"/>
                </a:cubicBezTo>
                <a:cubicBezTo>
                  <a:pt x="9372" y="4611"/>
                  <a:pt x="7861" y="1650"/>
                  <a:pt x="5960" y="539"/>
                </a:cubicBezTo>
                <a:cubicBezTo>
                  <a:pt x="4060" y="-571"/>
                  <a:pt x="1629" y="88"/>
                  <a:pt x="532" y="2011"/>
                </a:cubicBezTo>
                <a:cubicBezTo>
                  <a:pt x="-521" y="3857"/>
                  <a:pt x="41" y="6194"/>
                  <a:pt x="1769" y="7361"/>
                </a:cubicBezTo>
                <a:cubicBezTo>
                  <a:pt x="3185" y="8414"/>
                  <a:pt x="4458" y="9360"/>
                  <a:pt x="5626" y="10229"/>
                </a:cubicBezTo>
                <a:cubicBezTo>
                  <a:pt x="4461" y="11096"/>
                  <a:pt x="3178" y="12049"/>
                  <a:pt x="1769" y="13097"/>
                </a:cubicBezTo>
                <a:cubicBezTo>
                  <a:pt x="40" y="14264"/>
                  <a:pt x="-521" y="16601"/>
                  <a:pt x="532" y="18447"/>
                </a:cubicBezTo>
                <a:cubicBezTo>
                  <a:pt x="1629" y="20371"/>
                  <a:pt x="4060" y="21029"/>
                  <a:pt x="5960" y="19919"/>
                </a:cubicBezTo>
                <a:cubicBezTo>
                  <a:pt x="7861" y="18808"/>
                  <a:pt x="9372" y="15847"/>
                  <a:pt x="8275" y="13924"/>
                </a:cubicBezTo>
                <a:cubicBezTo>
                  <a:pt x="8104" y="13625"/>
                  <a:pt x="7876" y="13374"/>
                  <a:pt x="7613" y="13158"/>
                </a:cubicBezTo>
                <a:lnTo>
                  <a:pt x="8610" y="12449"/>
                </a:lnTo>
                <a:cubicBezTo>
                  <a:pt x="17134" y="18781"/>
                  <a:pt x="17404" y="18923"/>
                  <a:pt x="18122" y="18923"/>
                </a:cubicBezTo>
                <a:lnTo>
                  <a:pt x="18203" y="18923"/>
                </a:lnTo>
                <a:cubicBezTo>
                  <a:pt x="19262" y="18923"/>
                  <a:pt x="21079" y="18007"/>
                  <a:pt x="21079" y="16878"/>
                </a:cubicBezTo>
                <a:lnTo>
                  <a:pt x="11731" y="10229"/>
                </a:lnTo>
                <a:cubicBezTo>
                  <a:pt x="11731" y="10229"/>
                  <a:pt x="21079" y="3580"/>
                  <a:pt x="21079" y="3580"/>
                </a:cubicBezTo>
                <a:close/>
                <a:moveTo>
                  <a:pt x="4639" y="16789"/>
                </a:moveTo>
                <a:cubicBezTo>
                  <a:pt x="4496" y="16859"/>
                  <a:pt x="4332" y="16897"/>
                  <a:pt x="4162" y="16897"/>
                </a:cubicBezTo>
                <a:cubicBezTo>
                  <a:pt x="3846" y="16897"/>
                  <a:pt x="3544" y="16764"/>
                  <a:pt x="3411" y="16567"/>
                </a:cubicBezTo>
                <a:cubicBezTo>
                  <a:pt x="3347" y="16471"/>
                  <a:pt x="3351" y="16406"/>
                  <a:pt x="3362" y="16361"/>
                </a:cubicBezTo>
                <a:cubicBezTo>
                  <a:pt x="3392" y="16240"/>
                  <a:pt x="3511" y="16117"/>
                  <a:pt x="3682" y="16034"/>
                </a:cubicBezTo>
                <a:cubicBezTo>
                  <a:pt x="3891" y="15930"/>
                  <a:pt x="4198" y="15869"/>
                  <a:pt x="4503" y="15869"/>
                </a:cubicBezTo>
                <a:cubicBezTo>
                  <a:pt x="4935" y="15869"/>
                  <a:pt x="5194" y="15988"/>
                  <a:pt x="5273" y="16050"/>
                </a:cubicBezTo>
                <a:cubicBezTo>
                  <a:pt x="5252" y="16207"/>
                  <a:pt x="5019" y="16601"/>
                  <a:pt x="4639" y="16789"/>
                </a:cubicBezTo>
                <a:moveTo>
                  <a:pt x="4503" y="14845"/>
                </a:moveTo>
                <a:cubicBezTo>
                  <a:pt x="4065" y="14845"/>
                  <a:pt x="3621" y="14936"/>
                  <a:pt x="3279" y="15105"/>
                </a:cubicBezTo>
                <a:cubicBezTo>
                  <a:pt x="2435" y="15522"/>
                  <a:pt x="2147" y="16443"/>
                  <a:pt x="2633" y="17165"/>
                </a:cubicBezTo>
                <a:cubicBezTo>
                  <a:pt x="2960" y="17649"/>
                  <a:pt x="3553" y="17919"/>
                  <a:pt x="4162" y="17919"/>
                </a:cubicBezTo>
                <a:cubicBezTo>
                  <a:pt x="4461" y="17919"/>
                  <a:pt x="4764" y="17854"/>
                  <a:pt x="5041" y="17717"/>
                </a:cubicBezTo>
                <a:cubicBezTo>
                  <a:pt x="5885" y="17300"/>
                  <a:pt x="6555" y="16190"/>
                  <a:pt x="6069" y="15469"/>
                </a:cubicBezTo>
                <a:cubicBezTo>
                  <a:pt x="5779" y="15040"/>
                  <a:pt x="5146" y="14845"/>
                  <a:pt x="4503" y="14845"/>
                </a:cubicBezTo>
                <a:moveTo>
                  <a:pt x="4503" y="4590"/>
                </a:moveTo>
                <a:cubicBezTo>
                  <a:pt x="4198" y="4590"/>
                  <a:pt x="3891" y="4528"/>
                  <a:pt x="3682" y="4425"/>
                </a:cubicBezTo>
                <a:cubicBezTo>
                  <a:pt x="3511" y="4341"/>
                  <a:pt x="3392" y="4219"/>
                  <a:pt x="3362" y="4098"/>
                </a:cubicBezTo>
                <a:cubicBezTo>
                  <a:pt x="3351" y="4052"/>
                  <a:pt x="3347" y="3987"/>
                  <a:pt x="3411" y="3891"/>
                </a:cubicBezTo>
                <a:cubicBezTo>
                  <a:pt x="3544" y="3694"/>
                  <a:pt x="3846" y="3561"/>
                  <a:pt x="4162" y="3561"/>
                </a:cubicBezTo>
                <a:cubicBezTo>
                  <a:pt x="4332" y="3561"/>
                  <a:pt x="4496" y="3599"/>
                  <a:pt x="4639" y="3669"/>
                </a:cubicBezTo>
                <a:cubicBezTo>
                  <a:pt x="5019" y="3857"/>
                  <a:pt x="5252" y="4252"/>
                  <a:pt x="5273" y="4408"/>
                </a:cubicBezTo>
                <a:cubicBezTo>
                  <a:pt x="5194" y="4470"/>
                  <a:pt x="4935" y="4590"/>
                  <a:pt x="4503" y="4590"/>
                </a:cubicBezTo>
                <a:moveTo>
                  <a:pt x="5041" y="2741"/>
                </a:moveTo>
                <a:cubicBezTo>
                  <a:pt x="4764" y="2604"/>
                  <a:pt x="4461" y="2539"/>
                  <a:pt x="4162" y="2539"/>
                </a:cubicBezTo>
                <a:cubicBezTo>
                  <a:pt x="3553" y="2539"/>
                  <a:pt x="2960" y="2809"/>
                  <a:pt x="2633" y="3294"/>
                </a:cubicBezTo>
                <a:cubicBezTo>
                  <a:pt x="2147" y="4015"/>
                  <a:pt x="2435" y="4937"/>
                  <a:pt x="3279" y="5353"/>
                </a:cubicBezTo>
                <a:cubicBezTo>
                  <a:pt x="3621" y="5522"/>
                  <a:pt x="4065" y="5613"/>
                  <a:pt x="4503" y="5613"/>
                </a:cubicBezTo>
                <a:cubicBezTo>
                  <a:pt x="5146" y="5613"/>
                  <a:pt x="5779" y="5418"/>
                  <a:pt x="6069" y="4990"/>
                </a:cubicBezTo>
                <a:cubicBezTo>
                  <a:pt x="6555" y="4268"/>
                  <a:pt x="5885" y="3158"/>
                  <a:pt x="5041" y="274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Century Gothic" charset="0"/>
              <a:ea typeface="Century Gothic" charset="0"/>
              <a:cs typeface="Century Gothic" charset="0"/>
            </a:endParaRPr>
          </a:p>
        </p:txBody>
      </p:sp>
      <p:sp>
        <p:nvSpPr>
          <p:cNvPr id="54" name="TextBox 53">
            <a:extLst>
              <a:ext uri="{FF2B5EF4-FFF2-40B4-BE49-F238E27FC236}">
                <a16:creationId xmlns:a16="http://schemas.microsoft.com/office/drawing/2014/main" id="{B4B8F2EB-F5BD-4BAC-AC1E-B582D6B201B1}"/>
              </a:ext>
            </a:extLst>
          </p:cNvPr>
          <p:cNvSpPr txBox="1"/>
          <p:nvPr/>
        </p:nvSpPr>
        <p:spPr>
          <a:xfrm>
            <a:off x="722922" y="2450513"/>
            <a:ext cx="3803926" cy="276999"/>
          </a:xfrm>
          <a:prstGeom prst="rect">
            <a:avLst/>
          </a:prstGeom>
          <a:noFill/>
        </p:spPr>
        <p:txBody>
          <a:bodyPr wrap="none" lIns="0" tIns="0" rIns="0" bIns="0" rtlCol="0">
            <a:spAutoFit/>
          </a:bodyPr>
          <a:lstStyle/>
          <a:p>
            <a:pPr algn="ctr"/>
            <a:r>
              <a:rPr lang="ru-RU" dirty="0">
                <a:solidFill>
                  <a:schemeClr val="tx2"/>
                </a:solidFill>
                <a:latin typeface="Century Gothic" charset="0"/>
                <a:ea typeface="Century Gothic" charset="0"/>
                <a:cs typeface="Century Gothic" charset="0"/>
              </a:rPr>
              <a:t>КВАЛИФИКАЦИЯ ПОЛЬЗОВАТЕЛЯ</a:t>
            </a:r>
          </a:p>
        </p:txBody>
      </p:sp>
      <p:sp>
        <p:nvSpPr>
          <p:cNvPr id="55" name="Title 1">
            <a:extLst>
              <a:ext uri="{FF2B5EF4-FFF2-40B4-BE49-F238E27FC236}">
                <a16:creationId xmlns:a16="http://schemas.microsoft.com/office/drawing/2014/main" id="{28404207-F5B3-4532-8FA9-B7DC7BECE53F}"/>
              </a:ext>
            </a:extLst>
          </p:cNvPr>
          <p:cNvSpPr txBox="1">
            <a:spLocks/>
          </p:cNvSpPr>
          <p:nvPr/>
        </p:nvSpPr>
        <p:spPr>
          <a:xfrm>
            <a:off x="1210290" y="2800717"/>
            <a:ext cx="2829189" cy="501398"/>
          </a:xfrm>
          <a:prstGeom prst="rect">
            <a:avLst/>
          </a:prstGeom>
        </p:spPr>
        <p:txBody>
          <a:bodyPr lIns="0" tIns="0" rIns="0" bIns="0"/>
          <a:lstStyle>
            <a:lvl1pPr algn="l" defTabSz="914400" rtl="0" eaLnBrk="1" latinLnBrk="0" hangingPunct="1">
              <a:lnSpc>
                <a:spcPct val="75000"/>
              </a:lnSpc>
              <a:spcBef>
                <a:spcPct val="0"/>
              </a:spcBef>
              <a:buNone/>
              <a:defRPr sz="5400" b="1" i="0" kern="1200">
                <a:solidFill>
                  <a:schemeClr val="tx1"/>
                </a:solidFill>
                <a:latin typeface="Roboto" charset="0"/>
                <a:ea typeface="Roboto" charset="0"/>
                <a:cs typeface="Roboto" charset="0"/>
              </a:defRPr>
            </a:lvl1pPr>
          </a:lstStyle>
          <a:p>
            <a:pPr algn="ctr">
              <a:lnSpc>
                <a:spcPct val="100000"/>
              </a:lnSpc>
            </a:pPr>
            <a:r>
              <a:rPr lang="ru-RU" sz="1200" b="0" dirty="0">
                <a:latin typeface="Century Gothic" charset="0"/>
                <a:ea typeface="Century Gothic" charset="0"/>
                <a:cs typeface="Century Gothic" charset="0"/>
              </a:rPr>
              <a:t>П</a:t>
            </a:r>
            <a:r>
              <a:rPr lang="ru-RU" sz="1200" b="0" dirty="0" smtClean="0">
                <a:latin typeface="Century Gothic" charset="0"/>
                <a:ea typeface="Century Gothic" charset="0"/>
                <a:cs typeface="Century Gothic" charset="0"/>
              </a:rPr>
              <a:t>рограммное </a:t>
            </a:r>
            <a:r>
              <a:rPr lang="ru-RU" sz="1200" b="0" dirty="0">
                <a:latin typeface="Century Gothic" charset="0"/>
                <a:ea typeface="Century Gothic" charset="0"/>
                <a:cs typeface="Century Gothic" charset="0"/>
              </a:rPr>
              <a:t>обеспечение должно соответствовать уровню подготовки пользователя </a:t>
            </a:r>
            <a:endParaRPr lang="en-US" sz="1200" b="0" dirty="0">
              <a:latin typeface="Century Gothic" charset="0"/>
              <a:ea typeface="Century Gothic" charset="0"/>
              <a:cs typeface="Century Gothic" charset="0"/>
            </a:endParaRPr>
          </a:p>
        </p:txBody>
      </p:sp>
      <p:sp>
        <p:nvSpPr>
          <p:cNvPr id="56" name="TextBox 55">
            <a:extLst>
              <a:ext uri="{FF2B5EF4-FFF2-40B4-BE49-F238E27FC236}">
                <a16:creationId xmlns:a16="http://schemas.microsoft.com/office/drawing/2014/main" id="{233899D5-280A-4FF8-ABE4-97859E456182}"/>
              </a:ext>
            </a:extLst>
          </p:cNvPr>
          <p:cNvSpPr txBox="1"/>
          <p:nvPr/>
        </p:nvSpPr>
        <p:spPr>
          <a:xfrm>
            <a:off x="4762037" y="2463735"/>
            <a:ext cx="2729914" cy="276999"/>
          </a:xfrm>
          <a:prstGeom prst="rect">
            <a:avLst/>
          </a:prstGeom>
          <a:noFill/>
        </p:spPr>
        <p:txBody>
          <a:bodyPr wrap="none" lIns="0" tIns="0" rIns="0" bIns="0" rtlCol="0">
            <a:spAutoFit/>
          </a:bodyPr>
          <a:lstStyle>
            <a:defPPr>
              <a:defRPr lang="ru-RU"/>
            </a:defPPr>
            <a:lvl1pPr algn="ctr">
              <a:defRPr sz="1600" b="1">
                <a:solidFill>
                  <a:schemeClr val="tx2"/>
                </a:solidFill>
                <a:latin typeface="Century Gothic" charset="0"/>
                <a:ea typeface="Century Gothic" charset="0"/>
                <a:cs typeface="Century Gothic" charset="0"/>
              </a:defRPr>
            </a:lvl1pPr>
          </a:lstStyle>
          <a:p>
            <a:r>
              <a:rPr lang="ru-RU" sz="1800" b="0" dirty="0"/>
              <a:t>ИЗВЛЕЧЕНИЕ СВЕДЕНИЙ</a:t>
            </a:r>
            <a:endParaRPr lang="en-US" sz="1800" b="0" dirty="0"/>
          </a:p>
        </p:txBody>
      </p:sp>
      <p:sp>
        <p:nvSpPr>
          <p:cNvPr id="57" name="Title 1">
            <a:extLst>
              <a:ext uri="{FF2B5EF4-FFF2-40B4-BE49-F238E27FC236}">
                <a16:creationId xmlns:a16="http://schemas.microsoft.com/office/drawing/2014/main" id="{F14C91B7-2782-40D9-AF81-38D2A652C3E8}"/>
              </a:ext>
            </a:extLst>
          </p:cNvPr>
          <p:cNvSpPr txBox="1">
            <a:spLocks/>
          </p:cNvSpPr>
          <p:nvPr/>
        </p:nvSpPr>
        <p:spPr>
          <a:xfrm>
            <a:off x="4516852" y="2838027"/>
            <a:ext cx="3220280" cy="501398"/>
          </a:xfrm>
          <a:prstGeom prst="rect">
            <a:avLst/>
          </a:prstGeom>
        </p:spPr>
        <p:txBody>
          <a:bodyPr lIns="0" tIns="0" rIns="0" bIns="0"/>
          <a:lstStyle>
            <a:lvl1pPr algn="l" defTabSz="914400" rtl="0" eaLnBrk="1" latinLnBrk="0" hangingPunct="1">
              <a:lnSpc>
                <a:spcPct val="75000"/>
              </a:lnSpc>
              <a:spcBef>
                <a:spcPct val="0"/>
              </a:spcBef>
              <a:buNone/>
              <a:defRPr sz="5400" b="1" i="0" kern="1200">
                <a:solidFill>
                  <a:schemeClr val="tx1"/>
                </a:solidFill>
                <a:latin typeface="Roboto" charset="0"/>
                <a:ea typeface="Roboto" charset="0"/>
                <a:cs typeface="Roboto" charset="0"/>
              </a:defRPr>
            </a:lvl1pPr>
          </a:lstStyle>
          <a:p>
            <a:pPr algn="ctr">
              <a:lnSpc>
                <a:spcPct val="100000"/>
              </a:lnSpc>
            </a:pPr>
            <a:r>
              <a:rPr lang="ru-RU" sz="1200" b="0" dirty="0">
                <a:latin typeface="Century Gothic" charset="0"/>
                <a:ea typeface="Century Gothic" charset="0"/>
                <a:cs typeface="Century Gothic" charset="0"/>
              </a:rPr>
              <a:t>необходим </a:t>
            </a:r>
            <a:r>
              <a:rPr lang="ru-RU" sz="1200" b="0" dirty="0" err="1">
                <a:latin typeface="Century Gothic" charset="0"/>
                <a:ea typeface="Century Gothic" charset="0"/>
                <a:cs typeface="Century Gothic" charset="0"/>
              </a:rPr>
              <a:t>тщательныи</a:t>
            </a:r>
            <a:r>
              <a:rPr lang="ru-RU" sz="1200" b="0" dirty="0">
                <a:latin typeface="Century Gothic" charset="0"/>
                <a:ea typeface="Century Gothic" charset="0"/>
                <a:cs typeface="Century Gothic" charset="0"/>
              </a:rPr>
              <a:t>̆ выбор модели и интерпретация </a:t>
            </a:r>
            <a:r>
              <a:rPr lang="ru-RU" sz="1200" b="0" dirty="0" err="1">
                <a:latin typeface="Century Gothic" charset="0"/>
                <a:ea typeface="Century Gothic" charset="0"/>
                <a:cs typeface="Century Gothic" charset="0"/>
              </a:rPr>
              <a:t>зависимостеи</a:t>
            </a:r>
            <a:r>
              <a:rPr lang="ru-RU" sz="1200" b="0" dirty="0">
                <a:latin typeface="Century Gothic" charset="0"/>
                <a:ea typeface="Century Gothic" charset="0"/>
                <a:cs typeface="Century Gothic" charset="0"/>
              </a:rPr>
              <a:t>̆ или шаблонов, которые обнаружены </a:t>
            </a:r>
            <a:endParaRPr lang="en-US" sz="1200" b="0" dirty="0">
              <a:latin typeface="Century Gothic" charset="0"/>
              <a:ea typeface="Century Gothic" charset="0"/>
              <a:cs typeface="Century Gothic" charset="0"/>
            </a:endParaRPr>
          </a:p>
        </p:txBody>
      </p:sp>
      <p:sp>
        <p:nvSpPr>
          <p:cNvPr id="58" name="TextBox 57">
            <a:extLst>
              <a:ext uri="{FF2B5EF4-FFF2-40B4-BE49-F238E27FC236}">
                <a16:creationId xmlns:a16="http://schemas.microsoft.com/office/drawing/2014/main" id="{3BACB48F-D3F9-48F0-AC3A-49C14E1F467F}"/>
              </a:ext>
            </a:extLst>
          </p:cNvPr>
          <p:cNvSpPr txBox="1"/>
          <p:nvPr/>
        </p:nvSpPr>
        <p:spPr>
          <a:xfrm>
            <a:off x="7992151" y="2463735"/>
            <a:ext cx="3254097" cy="276999"/>
          </a:xfrm>
          <a:prstGeom prst="rect">
            <a:avLst/>
          </a:prstGeom>
          <a:noFill/>
        </p:spPr>
        <p:txBody>
          <a:bodyPr wrap="none" lIns="0" tIns="0" rIns="0" bIns="0" rtlCol="0">
            <a:spAutoFit/>
          </a:bodyPr>
          <a:lstStyle/>
          <a:p>
            <a:pPr algn="ctr"/>
            <a:r>
              <a:rPr lang="ru-RU" dirty="0" smtClean="0">
                <a:solidFill>
                  <a:schemeClr val="tx2"/>
                </a:solidFill>
                <a:latin typeface="Century Gothic" charset="0"/>
                <a:ea typeface="Century Gothic" charset="0"/>
                <a:cs typeface="Century Gothic" charset="0"/>
              </a:rPr>
              <a:t>СЛОЖНОСТЬ ПОДГОТОВКИ </a:t>
            </a:r>
            <a:endParaRPr lang="en-US" dirty="0">
              <a:solidFill>
                <a:schemeClr val="tx2"/>
              </a:solidFill>
              <a:latin typeface="Century Gothic" charset="0"/>
              <a:ea typeface="Century Gothic" charset="0"/>
              <a:cs typeface="Century Gothic" charset="0"/>
            </a:endParaRPr>
          </a:p>
        </p:txBody>
      </p:sp>
      <p:sp>
        <p:nvSpPr>
          <p:cNvPr id="59" name="Title 1">
            <a:extLst>
              <a:ext uri="{FF2B5EF4-FFF2-40B4-BE49-F238E27FC236}">
                <a16:creationId xmlns:a16="http://schemas.microsoft.com/office/drawing/2014/main" id="{8B3CADED-D998-4F2C-A990-623A087505EC}"/>
              </a:ext>
            </a:extLst>
          </p:cNvPr>
          <p:cNvSpPr txBox="1">
            <a:spLocks/>
          </p:cNvSpPr>
          <p:nvPr/>
        </p:nvSpPr>
        <p:spPr>
          <a:xfrm>
            <a:off x="8521816" y="2804266"/>
            <a:ext cx="2246160" cy="501398"/>
          </a:xfrm>
          <a:prstGeom prst="rect">
            <a:avLst/>
          </a:prstGeom>
        </p:spPr>
        <p:txBody>
          <a:bodyPr lIns="0" tIns="0" rIns="0" bIns="0"/>
          <a:lstStyle>
            <a:lvl1pPr algn="l" defTabSz="914400" rtl="0" eaLnBrk="1" latinLnBrk="0" hangingPunct="1">
              <a:lnSpc>
                <a:spcPct val="75000"/>
              </a:lnSpc>
              <a:spcBef>
                <a:spcPct val="0"/>
              </a:spcBef>
              <a:buNone/>
              <a:defRPr sz="5400" b="1" i="0" kern="1200">
                <a:solidFill>
                  <a:schemeClr val="tx1"/>
                </a:solidFill>
                <a:latin typeface="Roboto" charset="0"/>
                <a:ea typeface="Roboto" charset="0"/>
                <a:cs typeface="Roboto" charset="0"/>
              </a:defRPr>
            </a:lvl1pPr>
          </a:lstStyle>
          <a:p>
            <a:pPr algn="ctr">
              <a:lnSpc>
                <a:spcPct val="125000"/>
              </a:lnSpc>
            </a:pPr>
            <a:r>
              <a:rPr lang="ru-RU" sz="1200" b="0" dirty="0" err="1">
                <a:latin typeface="Century Gothic" charset="0"/>
                <a:ea typeface="Century Gothic" charset="0"/>
                <a:cs typeface="Century Gothic" charset="0"/>
              </a:rPr>
              <a:t>Успешныи</a:t>
            </a:r>
            <a:r>
              <a:rPr lang="ru-RU" sz="1200" b="0" dirty="0">
                <a:latin typeface="Century Gothic" charset="0"/>
                <a:ea typeface="Century Gothic" charset="0"/>
                <a:cs typeface="Century Gothic" charset="0"/>
              </a:rPr>
              <a:t>̆ анализ требует </a:t>
            </a:r>
            <a:r>
              <a:rPr lang="ru-RU" sz="1200" b="0" dirty="0" err="1">
                <a:latin typeface="Century Gothic" charset="0"/>
                <a:ea typeface="Century Gothic" charset="0"/>
                <a:cs typeface="Century Gothic" charset="0"/>
              </a:rPr>
              <a:t>качественнои</a:t>
            </a:r>
            <a:r>
              <a:rPr lang="ru-RU" sz="1200" b="0" dirty="0">
                <a:latin typeface="Century Gothic" charset="0"/>
                <a:ea typeface="Century Gothic" charset="0"/>
                <a:cs typeface="Century Gothic" charset="0"/>
              </a:rPr>
              <a:t>̆ предобработки данных </a:t>
            </a:r>
            <a:endParaRPr lang="en-US" sz="1200" b="0" dirty="0">
              <a:latin typeface="Century Gothic" charset="0"/>
              <a:ea typeface="Century Gothic" charset="0"/>
              <a:cs typeface="Century Gothic" charset="0"/>
            </a:endParaRPr>
          </a:p>
        </p:txBody>
      </p:sp>
      <p:sp>
        <p:nvSpPr>
          <p:cNvPr id="62" name="TextBox 61">
            <a:extLst>
              <a:ext uri="{FF2B5EF4-FFF2-40B4-BE49-F238E27FC236}">
                <a16:creationId xmlns:a16="http://schemas.microsoft.com/office/drawing/2014/main" id="{5C15F99B-27F0-4BB9-BE4F-DDC4AF0390DF}"/>
              </a:ext>
            </a:extLst>
          </p:cNvPr>
          <p:cNvSpPr txBox="1"/>
          <p:nvPr/>
        </p:nvSpPr>
        <p:spPr>
          <a:xfrm>
            <a:off x="1395420" y="5059569"/>
            <a:ext cx="2500685" cy="276999"/>
          </a:xfrm>
          <a:prstGeom prst="rect">
            <a:avLst/>
          </a:prstGeom>
          <a:noFill/>
        </p:spPr>
        <p:txBody>
          <a:bodyPr wrap="none" lIns="0" tIns="0" rIns="0" bIns="0" rtlCol="0">
            <a:spAutoFit/>
          </a:bodyPr>
          <a:lstStyle/>
          <a:p>
            <a:pPr algn="ctr"/>
            <a:r>
              <a:rPr lang="ru-RU" dirty="0" smtClean="0">
                <a:solidFill>
                  <a:schemeClr val="tx2"/>
                </a:solidFill>
                <a:latin typeface="Century Gothic" charset="0"/>
                <a:ea typeface="Century Gothic" charset="0"/>
                <a:cs typeface="Century Gothic" charset="0"/>
              </a:rPr>
              <a:t>ЛОЖНЫЕ РЕЗУЛЬТАТЫ</a:t>
            </a:r>
            <a:endParaRPr lang="en-US" dirty="0">
              <a:solidFill>
                <a:schemeClr val="tx2"/>
              </a:solidFill>
              <a:latin typeface="Century Gothic" charset="0"/>
              <a:ea typeface="Century Gothic" charset="0"/>
              <a:cs typeface="Century Gothic" charset="0"/>
            </a:endParaRPr>
          </a:p>
        </p:txBody>
      </p:sp>
      <p:sp>
        <p:nvSpPr>
          <p:cNvPr id="63" name="Title 1">
            <a:extLst>
              <a:ext uri="{FF2B5EF4-FFF2-40B4-BE49-F238E27FC236}">
                <a16:creationId xmlns:a16="http://schemas.microsoft.com/office/drawing/2014/main" id="{A9163CAF-E318-4929-BF9E-79FEDA93B272}"/>
              </a:ext>
            </a:extLst>
          </p:cNvPr>
          <p:cNvSpPr txBox="1">
            <a:spLocks/>
          </p:cNvSpPr>
          <p:nvPr/>
        </p:nvSpPr>
        <p:spPr>
          <a:xfrm>
            <a:off x="774664" y="5390237"/>
            <a:ext cx="3742188" cy="501398"/>
          </a:xfrm>
          <a:prstGeom prst="rect">
            <a:avLst/>
          </a:prstGeom>
        </p:spPr>
        <p:txBody>
          <a:bodyPr lIns="0" tIns="0" rIns="0" bIns="0"/>
          <a:lstStyle>
            <a:lvl1pPr algn="l" defTabSz="914400" rtl="0" eaLnBrk="1" latinLnBrk="0" hangingPunct="1">
              <a:lnSpc>
                <a:spcPct val="75000"/>
              </a:lnSpc>
              <a:spcBef>
                <a:spcPct val="0"/>
              </a:spcBef>
              <a:buNone/>
              <a:defRPr sz="5400" b="1" i="0" kern="1200">
                <a:solidFill>
                  <a:schemeClr val="tx1"/>
                </a:solidFill>
                <a:latin typeface="Roboto" charset="0"/>
                <a:ea typeface="Roboto" charset="0"/>
                <a:cs typeface="Roboto" charset="0"/>
              </a:defRPr>
            </a:lvl1pPr>
          </a:lstStyle>
          <a:p>
            <a:pPr algn="ctr">
              <a:lnSpc>
                <a:spcPct val="100000"/>
              </a:lnSpc>
            </a:pPr>
            <a:r>
              <a:rPr lang="ru-RU" sz="1200" b="0" dirty="0">
                <a:latin typeface="Century Gothic" charset="0"/>
                <a:ea typeface="Century Gothic" charset="0"/>
                <a:cs typeface="Century Gothic" charset="0"/>
              </a:rPr>
              <a:t>Однако </a:t>
            </a:r>
            <a:r>
              <a:rPr lang="ru-RU" sz="1200" b="0" dirty="0" err="1">
                <a:latin typeface="Century Gothic" charset="0"/>
                <a:ea typeface="Century Gothic" charset="0"/>
                <a:cs typeface="Century Gothic" charset="0"/>
              </a:rPr>
              <a:t>Data</a:t>
            </a:r>
            <a:r>
              <a:rPr lang="ru-RU" sz="1200" b="0" dirty="0">
                <a:latin typeface="Century Gothic" charset="0"/>
                <a:ea typeface="Century Gothic" charset="0"/>
                <a:cs typeface="Century Gothic" charset="0"/>
              </a:rPr>
              <a:t> </a:t>
            </a:r>
            <a:r>
              <a:rPr lang="ru-RU" sz="1200" b="0" dirty="0" err="1">
                <a:latin typeface="Century Gothic" charset="0"/>
                <a:ea typeface="Century Gothic" charset="0"/>
                <a:cs typeface="Century Gothic" charset="0"/>
              </a:rPr>
              <a:t>Mining</a:t>
            </a:r>
            <a:r>
              <a:rPr lang="ru-RU" sz="1200" b="0" dirty="0">
                <a:latin typeface="Century Gothic" charset="0"/>
                <a:ea typeface="Century Gothic" charset="0"/>
                <a:cs typeface="Century Gothic" charset="0"/>
              </a:rPr>
              <a:t> достаточно часто делает множество ложных и не имеющих смысла открытий. Многие специалисты утверждают, что </a:t>
            </a:r>
            <a:r>
              <a:rPr lang="ru-RU" sz="1200" b="0" dirty="0" err="1">
                <a:latin typeface="Century Gothic" charset="0"/>
                <a:ea typeface="Century Gothic" charset="0"/>
                <a:cs typeface="Century Gothic" charset="0"/>
              </a:rPr>
              <a:t>Data</a:t>
            </a:r>
            <a:r>
              <a:rPr lang="ru-RU" sz="1200" b="0" dirty="0">
                <a:latin typeface="Century Gothic" charset="0"/>
                <a:ea typeface="Century Gothic" charset="0"/>
                <a:cs typeface="Century Gothic" charset="0"/>
              </a:rPr>
              <a:t> </a:t>
            </a:r>
            <a:r>
              <a:rPr lang="ru-RU" sz="1200" b="0" dirty="0" err="1">
                <a:latin typeface="Century Gothic" charset="0"/>
                <a:ea typeface="Century Gothic" charset="0"/>
                <a:cs typeface="Century Gothic" charset="0"/>
              </a:rPr>
              <a:t>Mining</a:t>
            </a:r>
            <a:r>
              <a:rPr lang="ru-RU" sz="1200" b="0" dirty="0">
                <a:latin typeface="Century Gothic" charset="0"/>
                <a:ea typeface="Century Gothic" charset="0"/>
                <a:cs typeface="Century Gothic" charset="0"/>
              </a:rPr>
              <a:t>-средства могут выдавать огромное количество статистически недостоверных результатов </a:t>
            </a:r>
            <a:endParaRPr lang="en-US" sz="1200" b="0" dirty="0">
              <a:latin typeface="Century Gothic" charset="0"/>
              <a:ea typeface="Century Gothic" charset="0"/>
              <a:cs typeface="Century Gothic" charset="0"/>
            </a:endParaRPr>
          </a:p>
        </p:txBody>
      </p:sp>
      <p:sp>
        <p:nvSpPr>
          <p:cNvPr id="64" name="TextBox 63">
            <a:extLst>
              <a:ext uri="{FF2B5EF4-FFF2-40B4-BE49-F238E27FC236}">
                <a16:creationId xmlns:a16="http://schemas.microsoft.com/office/drawing/2014/main" id="{29E8D47E-96B5-4943-8BC1-F7C4FA27BCCA}"/>
              </a:ext>
            </a:extLst>
          </p:cNvPr>
          <p:cNvSpPr txBox="1"/>
          <p:nvPr/>
        </p:nvSpPr>
        <p:spPr>
          <a:xfrm>
            <a:off x="4774863" y="5059569"/>
            <a:ext cx="2704266" cy="276999"/>
          </a:xfrm>
          <a:prstGeom prst="rect">
            <a:avLst/>
          </a:prstGeom>
          <a:noFill/>
        </p:spPr>
        <p:txBody>
          <a:bodyPr wrap="none" lIns="0" tIns="0" rIns="0" bIns="0" rtlCol="0">
            <a:spAutoFit/>
          </a:bodyPr>
          <a:lstStyle/>
          <a:p>
            <a:pPr algn="ctr"/>
            <a:r>
              <a:rPr lang="ru-RU" dirty="0" smtClean="0">
                <a:solidFill>
                  <a:schemeClr val="tx2"/>
                </a:solidFill>
                <a:latin typeface="Century Gothic" charset="0"/>
                <a:ea typeface="Century Gothic" charset="0"/>
                <a:cs typeface="Century Gothic" charset="0"/>
              </a:rPr>
              <a:t>ВЫСОКАЯ СТОИМОСТЬ</a:t>
            </a:r>
            <a:endParaRPr lang="en-US" dirty="0">
              <a:solidFill>
                <a:schemeClr val="tx2"/>
              </a:solidFill>
              <a:latin typeface="Century Gothic" charset="0"/>
              <a:ea typeface="Century Gothic" charset="0"/>
              <a:cs typeface="Century Gothic" charset="0"/>
            </a:endParaRPr>
          </a:p>
        </p:txBody>
      </p:sp>
      <p:sp>
        <p:nvSpPr>
          <p:cNvPr id="65" name="Title 1">
            <a:extLst>
              <a:ext uri="{FF2B5EF4-FFF2-40B4-BE49-F238E27FC236}">
                <a16:creationId xmlns:a16="http://schemas.microsoft.com/office/drawing/2014/main" id="{6C73E997-CDA9-4E75-A9B1-8D7AC385F424}"/>
              </a:ext>
            </a:extLst>
          </p:cNvPr>
          <p:cNvSpPr txBox="1">
            <a:spLocks/>
          </p:cNvSpPr>
          <p:nvPr/>
        </p:nvSpPr>
        <p:spPr>
          <a:xfrm>
            <a:off x="4762033" y="5390237"/>
            <a:ext cx="2729918" cy="501398"/>
          </a:xfrm>
          <a:prstGeom prst="rect">
            <a:avLst/>
          </a:prstGeom>
        </p:spPr>
        <p:txBody>
          <a:bodyPr lIns="0" tIns="0" rIns="0" bIns="0"/>
          <a:lstStyle>
            <a:lvl1pPr algn="l" defTabSz="914400" rtl="0" eaLnBrk="1" latinLnBrk="0" hangingPunct="1">
              <a:lnSpc>
                <a:spcPct val="75000"/>
              </a:lnSpc>
              <a:spcBef>
                <a:spcPct val="0"/>
              </a:spcBef>
              <a:buNone/>
              <a:defRPr sz="5400" b="1" i="0" kern="1200">
                <a:solidFill>
                  <a:schemeClr val="tx1"/>
                </a:solidFill>
                <a:latin typeface="Roboto" charset="0"/>
                <a:ea typeface="Roboto" charset="0"/>
                <a:cs typeface="Roboto" charset="0"/>
              </a:defRPr>
            </a:lvl1pPr>
          </a:lstStyle>
          <a:p>
            <a:pPr algn="ctr">
              <a:lnSpc>
                <a:spcPct val="100000"/>
              </a:lnSpc>
            </a:pPr>
            <a:r>
              <a:rPr lang="ru-RU" sz="1200" b="0" dirty="0">
                <a:latin typeface="Century Gothic" charset="0"/>
                <a:ea typeface="Century Gothic" charset="0"/>
                <a:cs typeface="Century Gothic" charset="0"/>
              </a:rPr>
              <a:t>Качественная </a:t>
            </a:r>
            <a:r>
              <a:rPr lang="ru-RU" sz="1200" b="0" dirty="0" err="1">
                <a:latin typeface="Century Gothic" charset="0"/>
                <a:ea typeface="Century Gothic" charset="0"/>
                <a:cs typeface="Century Gothic" charset="0"/>
              </a:rPr>
              <a:t>Data</a:t>
            </a:r>
            <a:r>
              <a:rPr lang="ru-RU" sz="1200" b="0" dirty="0">
                <a:latin typeface="Century Gothic" charset="0"/>
                <a:ea typeface="Century Gothic" charset="0"/>
                <a:cs typeface="Century Gothic" charset="0"/>
              </a:rPr>
              <a:t> </a:t>
            </a:r>
            <a:r>
              <a:rPr lang="ru-RU" sz="1200" b="0" dirty="0" err="1">
                <a:latin typeface="Century Gothic" charset="0"/>
                <a:ea typeface="Century Gothic" charset="0"/>
                <a:cs typeface="Century Gothic" charset="0"/>
              </a:rPr>
              <a:t>Mining</a:t>
            </a:r>
            <a:r>
              <a:rPr lang="ru-RU" sz="1200" b="0" dirty="0">
                <a:latin typeface="Century Gothic" charset="0"/>
                <a:ea typeface="Century Gothic" charset="0"/>
                <a:cs typeface="Century Gothic" charset="0"/>
              </a:rPr>
              <a:t>-программа может стоить достаточно дорого для компании </a:t>
            </a:r>
            <a:endParaRPr lang="en-US" sz="1200" b="0" dirty="0">
              <a:latin typeface="Century Gothic" charset="0"/>
              <a:ea typeface="Century Gothic" charset="0"/>
              <a:cs typeface="Century Gothic" charset="0"/>
            </a:endParaRPr>
          </a:p>
        </p:txBody>
      </p:sp>
      <p:sp>
        <p:nvSpPr>
          <p:cNvPr id="66" name="TextBox 65">
            <a:extLst>
              <a:ext uri="{FF2B5EF4-FFF2-40B4-BE49-F238E27FC236}">
                <a16:creationId xmlns:a16="http://schemas.microsoft.com/office/drawing/2014/main" id="{382DD109-5B20-41DD-8038-E3D3544E06DA}"/>
              </a:ext>
            </a:extLst>
          </p:cNvPr>
          <p:cNvSpPr txBox="1"/>
          <p:nvPr/>
        </p:nvSpPr>
        <p:spPr>
          <a:xfrm>
            <a:off x="7980384" y="5058044"/>
            <a:ext cx="3255699" cy="276999"/>
          </a:xfrm>
          <a:prstGeom prst="rect">
            <a:avLst/>
          </a:prstGeom>
          <a:noFill/>
        </p:spPr>
        <p:txBody>
          <a:bodyPr wrap="none" lIns="0" tIns="0" rIns="0" bIns="0" rtlCol="0">
            <a:spAutoFit/>
          </a:bodyPr>
          <a:lstStyle/>
          <a:p>
            <a:pPr algn="ctr"/>
            <a:r>
              <a:rPr lang="ru-RU" dirty="0" smtClean="0">
                <a:solidFill>
                  <a:schemeClr val="tx2"/>
                </a:solidFill>
                <a:latin typeface="Century Gothic" charset="0"/>
                <a:ea typeface="Century Gothic" charset="0"/>
                <a:cs typeface="Century Gothic" charset="0"/>
              </a:rPr>
              <a:t>РЕПРЕЗЕНТАТИВНЫЕ ДАННЫЕ</a:t>
            </a:r>
            <a:endParaRPr lang="en-US" dirty="0">
              <a:solidFill>
                <a:schemeClr val="tx2"/>
              </a:solidFill>
              <a:latin typeface="Century Gothic" charset="0"/>
              <a:ea typeface="Century Gothic" charset="0"/>
              <a:cs typeface="Century Gothic" charset="0"/>
            </a:endParaRPr>
          </a:p>
        </p:txBody>
      </p:sp>
      <p:sp>
        <p:nvSpPr>
          <p:cNvPr id="67" name="Title 1">
            <a:extLst>
              <a:ext uri="{FF2B5EF4-FFF2-40B4-BE49-F238E27FC236}">
                <a16:creationId xmlns:a16="http://schemas.microsoft.com/office/drawing/2014/main" id="{84B24D65-7897-4CA9-A8B5-71E593DB1FE0}"/>
              </a:ext>
            </a:extLst>
          </p:cNvPr>
          <p:cNvSpPr txBox="1">
            <a:spLocks/>
          </p:cNvSpPr>
          <p:nvPr/>
        </p:nvSpPr>
        <p:spPr>
          <a:xfrm>
            <a:off x="7808992" y="5390237"/>
            <a:ext cx="3671808" cy="501398"/>
          </a:xfrm>
          <a:prstGeom prst="rect">
            <a:avLst/>
          </a:prstGeom>
        </p:spPr>
        <p:txBody>
          <a:bodyPr lIns="0" tIns="0" rIns="0" bIns="0"/>
          <a:lstStyle>
            <a:lvl1pPr algn="l" defTabSz="914400" rtl="0" eaLnBrk="1" latinLnBrk="0" hangingPunct="1">
              <a:lnSpc>
                <a:spcPct val="75000"/>
              </a:lnSpc>
              <a:spcBef>
                <a:spcPct val="0"/>
              </a:spcBef>
              <a:buNone/>
              <a:defRPr sz="5400" b="1" i="0" kern="1200">
                <a:solidFill>
                  <a:schemeClr val="tx1"/>
                </a:solidFill>
                <a:latin typeface="Roboto" charset="0"/>
                <a:ea typeface="Roboto" charset="0"/>
                <a:cs typeface="Roboto" charset="0"/>
              </a:defRPr>
            </a:lvl1pPr>
          </a:lstStyle>
          <a:p>
            <a:pPr algn="ctr">
              <a:lnSpc>
                <a:spcPct val="100000"/>
              </a:lnSpc>
            </a:pPr>
            <a:r>
              <a:rPr lang="ru-RU" sz="1200" b="0" dirty="0">
                <a:latin typeface="Century Gothic" charset="0"/>
                <a:ea typeface="Century Gothic" charset="0"/>
                <a:cs typeface="Century Gothic" charset="0"/>
              </a:rPr>
              <a:t>Средства </a:t>
            </a:r>
            <a:r>
              <a:rPr lang="ru-RU" sz="1200" b="0" dirty="0" err="1">
                <a:latin typeface="Century Gothic" charset="0"/>
                <a:ea typeface="Century Gothic" charset="0"/>
                <a:cs typeface="Century Gothic" charset="0"/>
              </a:rPr>
              <a:t>Data</a:t>
            </a:r>
            <a:r>
              <a:rPr lang="ru-RU" sz="1200" b="0" dirty="0">
                <a:latin typeface="Century Gothic" charset="0"/>
                <a:ea typeface="Century Gothic" charset="0"/>
                <a:cs typeface="Century Gothic" charset="0"/>
              </a:rPr>
              <a:t> </a:t>
            </a:r>
            <a:r>
              <a:rPr lang="ru-RU" sz="1200" b="0" dirty="0" err="1" smtClean="0">
                <a:latin typeface="Century Gothic" charset="0"/>
                <a:ea typeface="Century Gothic" charset="0"/>
                <a:cs typeface="Century Gothic" charset="0"/>
              </a:rPr>
              <a:t>Mining</a:t>
            </a:r>
            <a:r>
              <a:rPr lang="ru-RU" sz="1200" b="0" dirty="0" smtClean="0">
                <a:latin typeface="Century Gothic" charset="0"/>
                <a:ea typeface="Century Gothic" charset="0"/>
                <a:cs typeface="Century Gothic" charset="0"/>
              </a:rPr>
              <a:t> теоретически </a:t>
            </a:r>
            <a:r>
              <a:rPr lang="ru-RU" sz="1200" b="0" dirty="0">
                <a:latin typeface="Century Gothic" charset="0"/>
                <a:ea typeface="Century Gothic" charset="0"/>
                <a:cs typeface="Century Gothic" charset="0"/>
              </a:rPr>
              <a:t>не требуют наличия строго определенного количества ретроспективных данных. Эта особенность может </a:t>
            </a:r>
            <a:r>
              <a:rPr lang="ru-RU" sz="1200" b="0" dirty="0" smtClean="0">
                <a:latin typeface="Century Gothic" charset="0"/>
                <a:ea typeface="Century Gothic" charset="0"/>
                <a:cs typeface="Century Gothic" charset="0"/>
              </a:rPr>
              <a:t>стать </a:t>
            </a:r>
            <a:r>
              <a:rPr lang="ru-RU" sz="1200" b="0" dirty="0" err="1" smtClean="0">
                <a:latin typeface="Century Gothic" charset="0"/>
                <a:ea typeface="Century Gothic" charset="0"/>
                <a:cs typeface="Century Gothic" charset="0"/>
              </a:rPr>
              <a:t>причинои</a:t>
            </a:r>
            <a:r>
              <a:rPr lang="ru-RU" sz="1200" b="0" dirty="0" smtClean="0">
                <a:latin typeface="Century Gothic" charset="0"/>
                <a:ea typeface="Century Gothic" charset="0"/>
                <a:cs typeface="Century Gothic" charset="0"/>
              </a:rPr>
              <a:t>̆ </a:t>
            </a:r>
            <a:r>
              <a:rPr lang="ru-RU" sz="1200" b="0" dirty="0">
                <a:latin typeface="Century Gothic" charset="0"/>
                <a:ea typeface="Century Gothic" charset="0"/>
                <a:cs typeface="Century Gothic" charset="0"/>
              </a:rPr>
              <a:t>обнаружения недостоверных, ложных </a:t>
            </a:r>
            <a:r>
              <a:rPr lang="ru-RU" sz="1200" b="0" dirty="0" err="1">
                <a:latin typeface="Century Gothic" charset="0"/>
                <a:ea typeface="Century Gothic" charset="0"/>
                <a:cs typeface="Century Gothic" charset="0"/>
              </a:rPr>
              <a:t>моделеи</a:t>
            </a:r>
            <a:r>
              <a:rPr lang="ru-RU" sz="1200" b="0" dirty="0">
                <a:latin typeface="Century Gothic" charset="0"/>
                <a:ea typeface="Century Gothic" charset="0"/>
                <a:cs typeface="Century Gothic" charset="0"/>
              </a:rPr>
              <a:t>̆ и, как результат, принятия на их основе неверных решений </a:t>
            </a:r>
            <a:endParaRPr lang="en-US" sz="1200" b="0" dirty="0">
              <a:latin typeface="Century Gothic" charset="0"/>
              <a:ea typeface="Century Gothic" charset="0"/>
              <a:cs typeface="Century Gothic" charset="0"/>
            </a:endParaRPr>
          </a:p>
        </p:txBody>
      </p:sp>
    </p:spTree>
    <p:extLst>
      <p:ext uri="{BB962C8B-B14F-4D97-AF65-F5344CB8AC3E}">
        <p14:creationId xmlns:p14="http://schemas.microsoft.com/office/powerpoint/2010/main" val="38911498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stCondLst>
                                    <p:cond delay="0"/>
                                  </p:stCondLst>
                                  <p:childTnLst>
                                    <p:set>
                                      <p:cBhvr>
                                        <p:cTn id="11" dur="1" fill="hold">
                                          <p:stCondLst>
                                            <p:cond delay="0"/>
                                          </p:stCondLst>
                                        </p:cTn>
                                        <p:tgtEl>
                                          <p:spTgt spid="30"/>
                                        </p:tgtEl>
                                        <p:attrNameLst>
                                          <p:attrName>style.visibility</p:attrName>
                                        </p:attrNameLst>
                                      </p:cBhvr>
                                      <p:to>
                                        <p:strVal val="visible"/>
                                      </p:to>
                                    </p:set>
                                    <p:anim calcmode="lin" valueType="num">
                                      <p:cBhvr additive="base">
                                        <p:cTn id="12" dur="500" fill="hold"/>
                                        <p:tgtEl>
                                          <p:spTgt spid="30"/>
                                        </p:tgtEl>
                                        <p:attrNameLst>
                                          <p:attrName>ppt_x</p:attrName>
                                        </p:attrNameLst>
                                      </p:cBhvr>
                                      <p:tavLst>
                                        <p:tav tm="0">
                                          <p:val>
                                            <p:strVal val="#ppt_x"/>
                                          </p:val>
                                        </p:tav>
                                        <p:tav tm="100000">
                                          <p:val>
                                            <p:strVal val="#ppt_x"/>
                                          </p:val>
                                        </p:tav>
                                      </p:tavLst>
                                    </p:anim>
                                    <p:anim calcmode="lin" valueType="num">
                                      <p:cBhvr additive="base">
                                        <p:cTn id="13" dur="500" fill="hold"/>
                                        <p:tgtEl>
                                          <p:spTgt spid="30"/>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grpId="0" nodeType="afterEffect">
                                  <p:stCondLst>
                                    <p:cond delay="0"/>
                                  </p:stCondLst>
                                  <p:childTnLst>
                                    <p:set>
                                      <p:cBhvr>
                                        <p:cTn id="16" dur="1" fill="hold">
                                          <p:stCondLst>
                                            <p:cond delay="0"/>
                                          </p:stCondLst>
                                        </p:cTn>
                                        <p:tgtEl>
                                          <p:spTgt spid="33"/>
                                        </p:tgtEl>
                                        <p:attrNameLst>
                                          <p:attrName>style.visibility</p:attrName>
                                        </p:attrNameLst>
                                      </p:cBhvr>
                                      <p:to>
                                        <p:strVal val="visible"/>
                                      </p:to>
                                    </p:set>
                                    <p:anim calcmode="lin" valueType="num">
                                      <p:cBhvr additive="base">
                                        <p:cTn id="17" dur="500" fill="hold"/>
                                        <p:tgtEl>
                                          <p:spTgt spid="33"/>
                                        </p:tgtEl>
                                        <p:attrNameLst>
                                          <p:attrName>ppt_x</p:attrName>
                                        </p:attrNameLst>
                                      </p:cBhvr>
                                      <p:tavLst>
                                        <p:tav tm="0">
                                          <p:val>
                                            <p:strVal val="#ppt_x"/>
                                          </p:val>
                                        </p:tav>
                                        <p:tav tm="100000">
                                          <p:val>
                                            <p:strVal val="#ppt_x"/>
                                          </p:val>
                                        </p:tav>
                                      </p:tavLst>
                                    </p:anim>
                                    <p:anim calcmode="lin" valueType="num">
                                      <p:cBhvr additive="base">
                                        <p:cTn id="18" dur="500" fill="hold"/>
                                        <p:tgtEl>
                                          <p:spTgt spid="33"/>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2" presetClass="entr" presetSubtype="4" fill="hold" grpId="0" nodeType="afterEffect">
                                  <p:stCondLst>
                                    <p:cond delay="0"/>
                                  </p:stCondLst>
                                  <p:childTnLst>
                                    <p:set>
                                      <p:cBhvr>
                                        <p:cTn id="21" dur="1" fill="hold">
                                          <p:stCondLst>
                                            <p:cond delay="0"/>
                                          </p:stCondLst>
                                        </p:cTn>
                                        <p:tgtEl>
                                          <p:spTgt spid="34"/>
                                        </p:tgtEl>
                                        <p:attrNameLst>
                                          <p:attrName>style.visibility</p:attrName>
                                        </p:attrNameLst>
                                      </p:cBhvr>
                                      <p:to>
                                        <p:strVal val="visible"/>
                                      </p:to>
                                    </p:set>
                                    <p:anim calcmode="lin" valueType="num">
                                      <p:cBhvr additive="base">
                                        <p:cTn id="22" dur="500" fill="hold"/>
                                        <p:tgtEl>
                                          <p:spTgt spid="34"/>
                                        </p:tgtEl>
                                        <p:attrNameLst>
                                          <p:attrName>ppt_x</p:attrName>
                                        </p:attrNameLst>
                                      </p:cBhvr>
                                      <p:tavLst>
                                        <p:tav tm="0">
                                          <p:val>
                                            <p:strVal val="#ppt_x"/>
                                          </p:val>
                                        </p:tav>
                                        <p:tav tm="100000">
                                          <p:val>
                                            <p:strVal val="#ppt_x"/>
                                          </p:val>
                                        </p:tav>
                                      </p:tavLst>
                                    </p:anim>
                                    <p:anim calcmode="lin" valueType="num">
                                      <p:cBhvr additive="base">
                                        <p:cTn id="23" dur="500" fill="hold"/>
                                        <p:tgtEl>
                                          <p:spTgt spid="34"/>
                                        </p:tgtEl>
                                        <p:attrNameLst>
                                          <p:attrName>ppt_y</p:attrName>
                                        </p:attrNameLst>
                                      </p:cBhvr>
                                      <p:tavLst>
                                        <p:tav tm="0">
                                          <p:val>
                                            <p:strVal val="1+#ppt_h/2"/>
                                          </p:val>
                                        </p:tav>
                                        <p:tav tm="100000">
                                          <p:val>
                                            <p:strVal val="#ppt_y"/>
                                          </p:val>
                                        </p:tav>
                                      </p:tavLst>
                                    </p:anim>
                                  </p:childTnLst>
                                </p:cTn>
                              </p:par>
                            </p:childTnLst>
                          </p:cTn>
                        </p:par>
                        <p:par>
                          <p:cTn id="24" fill="hold">
                            <p:stCondLst>
                              <p:cond delay="2000"/>
                            </p:stCondLst>
                            <p:childTnLst>
                              <p:par>
                                <p:cTn id="25" presetID="2" presetClass="entr" presetSubtype="4" fill="hold" grpId="0" nodeType="afterEffect">
                                  <p:stCondLst>
                                    <p:cond delay="0"/>
                                  </p:stCondLst>
                                  <p:childTnLst>
                                    <p:set>
                                      <p:cBhvr>
                                        <p:cTn id="26" dur="1" fill="hold">
                                          <p:stCondLst>
                                            <p:cond delay="0"/>
                                          </p:stCondLst>
                                        </p:cTn>
                                        <p:tgtEl>
                                          <p:spTgt spid="32"/>
                                        </p:tgtEl>
                                        <p:attrNameLst>
                                          <p:attrName>style.visibility</p:attrName>
                                        </p:attrNameLst>
                                      </p:cBhvr>
                                      <p:to>
                                        <p:strVal val="visible"/>
                                      </p:to>
                                    </p:set>
                                    <p:anim calcmode="lin" valueType="num">
                                      <p:cBhvr additive="base">
                                        <p:cTn id="27" dur="500" fill="hold"/>
                                        <p:tgtEl>
                                          <p:spTgt spid="32"/>
                                        </p:tgtEl>
                                        <p:attrNameLst>
                                          <p:attrName>ppt_x</p:attrName>
                                        </p:attrNameLst>
                                      </p:cBhvr>
                                      <p:tavLst>
                                        <p:tav tm="0">
                                          <p:val>
                                            <p:strVal val="#ppt_x"/>
                                          </p:val>
                                        </p:tav>
                                        <p:tav tm="100000">
                                          <p:val>
                                            <p:strVal val="#ppt_x"/>
                                          </p:val>
                                        </p:tav>
                                      </p:tavLst>
                                    </p:anim>
                                    <p:anim calcmode="lin" valueType="num">
                                      <p:cBhvr additive="base">
                                        <p:cTn id="28" dur="500" fill="hold"/>
                                        <p:tgtEl>
                                          <p:spTgt spid="32"/>
                                        </p:tgtEl>
                                        <p:attrNameLst>
                                          <p:attrName>ppt_y</p:attrName>
                                        </p:attrNameLst>
                                      </p:cBhvr>
                                      <p:tavLst>
                                        <p:tav tm="0">
                                          <p:val>
                                            <p:strVal val="1+#ppt_h/2"/>
                                          </p:val>
                                        </p:tav>
                                        <p:tav tm="100000">
                                          <p:val>
                                            <p:strVal val="#ppt_y"/>
                                          </p:val>
                                        </p:tav>
                                      </p:tavLst>
                                    </p:anim>
                                  </p:childTnLst>
                                </p:cTn>
                              </p:par>
                            </p:childTnLst>
                          </p:cTn>
                        </p:par>
                        <p:par>
                          <p:cTn id="29" fill="hold">
                            <p:stCondLst>
                              <p:cond delay="2500"/>
                            </p:stCondLst>
                            <p:childTnLst>
                              <p:par>
                                <p:cTn id="30" presetID="2" presetClass="entr" presetSubtype="4" fill="hold" grpId="0" nodeType="afterEffect">
                                  <p:stCondLst>
                                    <p:cond delay="0"/>
                                  </p:stCondLst>
                                  <p:childTnLst>
                                    <p:set>
                                      <p:cBhvr>
                                        <p:cTn id="31" dur="1" fill="hold">
                                          <p:stCondLst>
                                            <p:cond delay="0"/>
                                          </p:stCondLst>
                                        </p:cTn>
                                        <p:tgtEl>
                                          <p:spTgt spid="31"/>
                                        </p:tgtEl>
                                        <p:attrNameLst>
                                          <p:attrName>style.visibility</p:attrName>
                                        </p:attrNameLst>
                                      </p:cBhvr>
                                      <p:to>
                                        <p:strVal val="visible"/>
                                      </p:to>
                                    </p:set>
                                    <p:anim calcmode="lin" valueType="num">
                                      <p:cBhvr additive="base">
                                        <p:cTn id="32" dur="500" fill="hold"/>
                                        <p:tgtEl>
                                          <p:spTgt spid="31"/>
                                        </p:tgtEl>
                                        <p:attrNameLst>
                                          <p:attrName>ppt_x</p:attrName>
                                        </p:attrNameLst>
                                      </p:cBhvr>
                                      <p:tavLst>
                                        <p:tav tm="0">
                                          <p:val>
                                            <p:strVal val="#ppt_x"/>
                                          </p:val>
                                        </p:tav>
                                        <p:tav tm="100000">
                                          <p:val>
                                            <p:strVal val="#ppt_x"/>
                                          </p:val>
                                        </p:tav>
                                      </p:tavLst>
                                    </p:anim>
                                    <p:anim calcmode="lin" valueType="num">
                                      <p:cBhvr additive="base">
                                        <p:cTn id="33"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30" grpId="0" animBg="1"/>
      <p:bldP spid="31" grpId="0" animBg="1"/>
      <p:bldP spid="32" grpId="0" animBg="1"/>
      <p:bldP spid="33" grpId="0" animBg="1"/>
      <p:bldP spid="34"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p:cNvSpPr txBox="1"/>
          <p:nvPr/>
        </p:nvSpPr>
        <p:spPr>
          <a:xfrm>
            <a:off x="397521" y="2821923"/>
            <a:ext cx="4973933" cy="123110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4000" dirty="0" smtClean="0">
                <a:solidFill>
                  <a:srgbClr val="02BBF8"/>
                </a:solidFill>
                <a:latin typeface="Open Sans Semibold" panose="020B0706030804020204" pitchFamily="34" charset="0"/>
                <a:ea typeface="Open Sans Semibold" panose="020B0706030804020204" pitchFamily="34" charset="0"/>
                <a:cs typeface="Open Sans Semibold" panose="020B0706030804020204" pitchFamily="34" charset="0"/>
              </a:rPr>
              <a:t>План внедрения </a:t>
            </a:r>
          </a:p>
          <a:p>
            <a:pPr marL="0" marR="0" lvl="0" indent="0" defTabSz="914400" rtl="0" eaLnBrk="1" fontAlgn="auto" latinLnBrk="0" hangingPunct="1">
              <a:lnSpc>
                <a:spcPct val="100000"/>
              </a:lnSpc>
              <a:spcBef>
                <a:spcPts val="0"/>
              </a:spcBef>
              <a:spcAft>
                <a:spcPts val="0"/>
              </a:spcAft>
              <a:buClrTx/>
              <a:buSzTx/>
              <a:buFontTx/>
              <a:buNone/>
              <a:tabLst/>
              <a:defRPr/>
            </a:pPr>
            <a:r>
              <a:rPr lang="en-US" sz="4000" dirty="0" smtClean="0">
                <a:solidFill>
                  <a:schemeClr val="tx1">
                    <a:lumMod val="95000"/>
                    <a:lumOff val="5000"/>
                  </a:schemeClr>
                </a:solidFill>
                <a:latin typeface="Open Sans Semibold" panose="020B0706030804020204" pitchFamily="34" charset="0"/>
                <a:ea typeface="Open Sans Semibold" panose="020B0706030804020204" pitchFamily="34" charset="0"/>
                <a:cs typeface="Open Sans Semibold" panose="020B0706030804020204" pitchFamily="34" charset="0"/>
              </a:rPr>
              <a:t>Data Mining</a:t>
            </a:r>
            <a:endParaRPr kumimoji="0" lang="ru-RU" sz="4000" b="0" i="0" u="none" strike="noStrike" kern="1200" cap="none" spc="0" normalizeH="0" baseline="0" noProof="0" dirty="0">
              <a:ln>
                <a:noFill/>
              </a:ln>
              <a:solidFill>
                <a:prstClr val="black"/>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pic>
        <p:nvPicPr>
          <p:cNvPr id="2" name="Рисунок 1"/>
          <p:cNvPicPr>
            <a:picLocks noGrp="1" noChangeAspect="1"/>
          </p:cNvPicPr>
          <p:nvPr>
            <p:ph type="pic" sz="quarter" idx="4294967295"/>
          </p:nvPr>
        </p:nvPicPr>
        <p:blipFill rotWithShape="1">
          <a:blip r:embed="rId2">
            <a:duotone>
              <a:prstClr val="black"/>
              <a:schemeClr val="accent1">
                <a:tint val="45000"/>
                <a:satMod val="400000"/>
              </a:schemeClr>
            </a:duotone>
            <a:extLst>
              <a:ext uri="{28A0092B-C50C-407E-A947-70E740481C1C}">
                <a14:useLocalDpi xmlns:a14="http://schemas.microsoft.com/office/drawing/2010/main" val="0"/>
              </a:ext>
            </a:extLst>
          </a:blip>
          <a:srcRect l="11553" r="4604"/>
          <a:stretch/>
        </p:blipFill>
        <p:spPr>
          <a:xfrm>
            <a:off x="4586289" y="546337"/>
            <a:ext cx="7605712" cy="6050522"/>
          </a:xfrm>
        </p:spPr>
      </p:pic>
      <p:pic>
        <p:nvPicPr>
          <p:cNvPr id="8" name="Рисунок 7"/>
          <p:cNvPicPr>
            <a:picLocks noGrp="1" noChangeAspect="1"/>
          </p:cNvPicPr>
          <p:nvPr>
            <p:ph type="pic" sz="quarter" idx="4294967295"/>
          </p:nvPr>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rcRect l="11553" r="11553"/>
          <a:stretch>
            <a:fillRect/>
          </a:stretch>
        </p:blipFill>
        <p:spPr>
          <a:xfrm>
            <a:off x="5307013" y="442913"/>
            <a:ext cx="6884987" cy="5972175"/>
          </a:xfrm>
          <a:custGeom>
            <a:avLst/>
            <a:gdLst>
              <a:gd name="connsiteX0" fmla="*/ 3635377 w 6884782"/>
              <a:gd name="connsiteY0" fmla="*/ 5934079 h 5973007"/>
              <a:gd name="connsiteX1" fmla="*/ 3642967 w 6884782"/>
              <a:gd name="connsiteY1" fmla="*/ 5953594 h 5973007"/>
              <a:gd name="connsiteX2" fmla="*/ 3638165 w 6884782"/>
              <a:gd name="connsiteY2" fmla="*/ 5963197 h 5973007"/>
              <a:gd name="connsiteX3" fmla="*/ 3628871 w 6884782"/>
              <a:gd name="connsiteY3" fmla="*/ 5973007 h 5973007"/>
              <a:gd name="connsiteX4" fmla="*/ 3623915 w 6884782"/>
              <a:gd name="connsiteY4" fmla="*/ 5962784 h 5973007"/>
              <a:gd name="connsiteX5" fmla="*/ 3625618 w 6884782"/>
              <a:gd name="connsiteY5" fmla="*/ 5948225 h 5973007"/>
              <a:gd name="connsiteX6" fmla="*/ 3635377 w 6884782"/>
              <a:gd name="connsiteY6" fmla="*/ 5934079 h 5973007"/>
              <a:gd name="connsiteX7" fmla="*/ 3081158 w 6884782"/>
              <a:gd name="connsiteY7" fmla="*/ 5929433 h 5973007"/>
              <a:gd name="connsiteX8" fmla="*/ 3081003 w 6884782"/>
              <a:gd name="connsiteY8" fmla="*/ 5930981 h 5973007"/>
              <a:gd name="connsiteX9" fmla="*/ 3081777 w 6884782"/>
              <a:gd name="connsiteY9" fmla="*/ 5930981 h 5973007"/>
              <a:gd name="connsiteX10" fmla="*/ 3080848 w 6884782"/>
              <a:gd name="connsiteY10" fmla="*/ 5932634 h 5973007"/>
              <a:gd name="connsiteX11" fmla="*/ 3080073 w 6884782"/>
              <a:gd name="connsiteY11" fmla="*/ 5932634 h 5973007"/>
              <a:gd name="connsiteX12" fmla="*/ 3079764 w 6884782"/>
              <a:gd name="connsiteY12" fmla="*/ 5932840 h 5973007"/>
              <a:gd name="connsiteX13" fmla="*/ 3078525 w 6884782"/>
              <a:gd name="connsiteY13" fmla="*/ 5931808 h 5973007"/>
              <a:gd name="connsiteX14" fmla="*/ 3077595 w 6884782"/>
              <a:gd name="connsiteY14" fmla="*/ 5930981 h 5973007"/>
              <a:gd name="connsiteX15" fmla="*/ 3077750 w 6884782"/>
              <a:gd name="connsiteY15" fmla="*/ 5930155 h 5973007"/>
              <a:gd name="connsiteX16" fmla="*/ 3081158 w 6884782"/>
              <a:gd name="connsiteY16" fmla="*/ 5929433 h 5973007"/>
              <a:gd name="connsiteX17" fmla="*/ 3321693 w 6884782"/>
              <a:gd name="connsiteY17" fmla="*/ 5902573 h 5973007"/>
              <a:gd name="connsiteX18" fmla="*/ 3331470 w 6884782"/>
              <a:gd name="connsiteY18" fmla="*/ 5907646 h 5973007"/>
              <a:gd name="connsiteX19" fmla="*/ 3319853 w 6884782"/>
              <a:gd name="connsiteY19" fmla="*/ 5921688 h 5973007"/>
              <a:gd name="connsiteX20" fmla="*/ 3313038 w 6884782"/>
              <a:gd name="connsiteY20" fmla="*/ 5914151 h 5973007"/>
              <a:gd name="connsiteX21" fmla="*/ 3311334 w 6884782"/>
              <a:gd name="connsiteY21" fmla="*/ 5906716 h 5973007"/>
              <a:gd name="connsiteX22" fmla="*/ 3321693 w 6884782"/>
              <a:gd name="connsiteY22" fmla="*/ 5902573 h 5973007"/>
              <a:gd name="connsiteX23" fmla="*/ 3006188 w 6884782"/>
              <a:gd name="connsiteY23" fmla="*/ 5901037 h 5973007"/>
              <a:gd name="connsiteX24" fmla="*/ 3004794 w 6884782"/>
              <a:gd name="connsiteY24" fmla="*/ 5906200 h 5973007"/>
              <a:gd name="connsiteX25" fmla="*/ 3002161 w 6884782"/>
              <a:gd name="connsiteY25" fmla="*/ 5907749 h 5973007"/>
              <a:gd name="connsiteX26" fmla="*/ 2999682 w 6884782"/>
              <a:gd name="connsiteY26" fmla="*/ 5906097 h 5973007"/>
              <a:gd name="connsiteX27" fmla="*/ 2999218 w 6884782"/>
              <a:gd name="connsiteY27" fmla="*/ 5902586 h 5973007"/>
              <a:gd name="connsiteX28" fmla="*/ 3006188 w 6884782"/>
              <a:gd name="connsiteY28" fmla="*/ 5901037 h 5973007"/>
              <a:gd name="connsiteX29" fmla="*/ 3073878 w 6884782"/>
              <a:gd name="connsiteY29" fmla="*/ 5869028 h 5973007"/>
              <a:gd name="connsiteX30" fmla="*/ 3079609 w 6884782"/>
              <a:gd name="connsiteY30" fmla="*/ 5870886 h 5973007"/>
              <a:gd name="connsiteX31" fmla="*/ 3080073 w 6884782"/>
              <a:gd name="connsiteY31" fmla="*/ 5873468 h 5973007"/>
              <a:gd name="connsiteX32" fmla="*/ 3078834 w 6884782"/>
              <a:gd name="connsiteY32" fmla="*/ 5878734 h 5973007"/>
              <a:gd name="connsiteX33" fmla="*/ 3079609 w 6884782"/>
              <a:gd name="connsiteY33" fmla="*/ 5878734 h 5973007"/>
              <a:gd name="connsiteX34" fmla="*/ 3074497 w 6884782"/>
              <a:gd name="connsiteY34" fmla="*/ 5879560 h 5973007"/>
              <a:gd name="connsiteX35" fmla="*/ 3071554 w 6884782"/>
              <a:gd name="connsiteY35" fmla="*/ 5876049 h 5973007"/>
              <a:gd name="connsiteX36" fmla="*/ 3073878 w 6884782"/>
              <a:gd name="connsiteY36" fmla="*/ 5869028 h 5973007"/>
              <a:gd name="connsiteX37" fmla="*/ 3641728 w 6884782"/>
              <a:gd name="connsiteY37" fmla="*/ 5865723 h 5973007"/>
              <a:gd name="connsiteX38" fmla="*/ 3645445 w 6884782"/>
              <a:gd name="connsiteY38" fmla="*/ 5892777 h 5973007"/>
              <a:gd name="connsiteX39" fmla="*/ 3638629 w 6884782"/>
              <a:gd name="connsiteY39" fmla="*/ 5896907 h 5973007"/>
              <a:gd name="connsiteX40" fmla="*/ 3632124 w 6884782"/>
              <a:gd name="connsiteY40" fmla="*/ 5897010 h 5973007"/>
              <a:gd name="connsiteX41" fmla="*/ 3618648 w 6884782"/>
              <a:gd name="connsiteY41" fmla="*/ 5886581 h 5973007"/>
              <a:gd name="connsiteX42" fmla="*/ 3619268 w 6884782"/>
              <a:gd name="connsiteY42" fmla="*/ 5881831 h 5973007"/>
              <a:gd name="connsiteX43" fmla="*/ 3641728 w 6884782"/>
              <a:gd name="connsiteY43" fmla="*/ 5865723 h 5973007"/>
              <a:gd name="connsiteX44" fmla="*/ 3023846 w 6884782"/>
              <a:gd name="connsiteY44" fmla="*/ 5859425 h 5973007"/>
              <a:gd name="connsiteX45" fmla="*/ 3025550 w 6884782"/>
              <a:gd name="connsiteY45" fmla="*/ 5863452 h 5973007"/>
              <a:gd name="connsiteX46" fmla="*/ 3013158 w 6884782"/>
              <a:gd name="connsiteY46" fmla="*/ 5874294 h 5973007"/>
              <a:gd name="connsiteX47" fmla="*/ 3007427 w 6884782"/>
              <a:gd name="connsiteY47" fmla="*/ 5873158 h 5973007"/>
              <a:gd name="connsiteX48" fmla="*/ 3023846 w 6884782"/>
              <a:gd name="connsiteY48" fmla="*/ 5859425 h 5973007"/>
              <a:gd name="connsiteX49" fmla="*/ 3222578 w 6884782"/>
              <a:gd name="connsiteY49" fmla="*/ 5857050 h 5973007"/>
              <a:gd name="connsiteX50" fmla="*/ 3227380 w 6884782"/>
              <a:gd name="connsiteY50" fmla="*/ 5862213 h 5973007"/>
              <a:gd name="connsiteX51" fmla="*/ 3223043 w 6884782"/>
              <a:gd name="connsiteY51" fmla="*/ 5864072 h 5973007"/>
              <a:gd name="connsiteX52" fmla="*/ 3221339 w 6884782"/>
              <a:gd name="connsiteY52" fmla="*/ 5863349 h 5973007"/>
              <a:gd name="connsiteX53" fmla="*/ 3222578 w 6884782"/>
              <a:gd name="connsiteY53" fmla="*/ 5857050 h 5973007"/>
              <a:gd name="connsiteX54" fmla="*/ 2962197 w 6884782"/>
              <a:gd name="connsiteY54" fmla="*/ 5853436 h 5973007"/>
              <a:gd name="connsiteX55" fmla="*/ 2964056 w 6884782"/>
              <a:gd name="connsiteY55" fmla="*/ 5860457 h 5973007"/>
              <a:gd name="connsiteX56" fmla="*/ 2962352 w 6884782"/>
              <a:gd name="connsiteY56" fmla="*/ 5861283 h 5973007"/>
              <a:gd name="connsiteX57" fmla="*/ 2960184 w 6884782"/>
              <a:gd name="connsiteY57" fmla="*/ 5861800 h 5973007"/>
              <a:gd name="connsiteX58" fmla="*/ 2955846 w 6884782"/>
              <a:gd name="connsiteY58" fmla="*/ 5860251 h 5973007"/>
              <a:gd name="connsiteX59" fmla="*/ 2954607 w 6884782"/>
              <a:gd name="connsiteY59" fmla="*/ 5858186 h 5973007"/>
              <a:gd name="connsiteX60" fmla="*/ 2954453 w 6884782"/>
              <a:gd name="connsiteY60" fmla="*/ 5856844 h 5973007"/>
              <a:gd name="connsiteX61" fmla="*/ 2954607 w 6884782"/>
              <a:gd name="connsiteY61" fmla="*/ 5855088 h 5973007"/>
              <a:gd name="connsiteX62" fmla="*/ 2962197 w 6884782"/>
              <a:gd name="connsiteY62" fmla="*/ 5853436 h 5973007"/>
              <a:gd name="connsiteX63" fmla="*/ 3089058 w 6884782"/>
              <a:gd name="connsiteY63" fmla="*/ 5851268 h 5973007"/>
              <a:gd name="connsiteX64" fmla="*/ 3098661 w 6884782"/>
              <a:gd name="connsiteY64" fmla="*/ 5855708 h 5973007"/>
              <a:gd name="connsiteX65" fmla="*/ 3099745 w 6884782"/>
              <a:gd name="connsiteY65" fmla="*/ 5870577 h 5973007"/>
              <a:gd name="connsiteX66" fmla="*/ 3090297 w 6884782"/>
              <a:gd name="connsiteY66" fmla="*/ 5874294 h 5973007"/>
              <a:gd name="connsiteX67" fmla="*/ 3085340 w 6884782"/>
              <a:gd name="connsiteY67" fmla="*/ 5872022 h 5973007"/>
              <a:gd name="connsiteX68" fmla="*/ 3082707 w 6884782"/>
              <a:gd name="connsiteY68" fmla="*/ 5869028 h 5973007"/>
              <a:gd name="connsiteX69" fmla="*/ 3085185 w 6884782"/>
              <a:gd name="connsiteY69" fmla="*/ 5856327 h 5973007"/>
              <a:gd name="connsiteX70" fmla="*/ 3087044 w 6884782"/>
              <a:gd name="connsiteY70" fmla="*/ 5854675 h 5973007"/>
              <a:gd name="connsiteX71" fmla="*/ 3089058 w 6884782"/>
              <a:gd name="connsiteY71" fmla="*/ 5851268 h 5973007"/>
              <a:gd name="connsiteX72" fmla="*/ 2965915 w 6884782"/>
              <a:gd name="connsiteY72" fmla="*/ 5850132 h 5973007"/>
              <a:gd name="connsiteX73" fmla="*/ 2966380 w 6884782"/>
              <a:gd name="connsiteY73" fmla="*/ 5853539 h 5973007"/>
              <a:gd name="connsiteX74" fmla="*/ 2964986 w 6884782"/>
              <a:gd name="connsiteY74" fmla="*/ 5854055 h 5973007"/>
              <a:gd name="connsiteX75" fmla="*/ 2963127 w 6884782"/>
              <a:gd name="connsiteY75" fmla="*/ 5852610 h 5973007"/>
              <a:gd name="connsiteX76" fmla="*/ 2975518 w 6884782"/>
              <a:gd name="connsiteY76" fmla="*/ 5846724 h 5973007"/>
              <a:gd name="connsiteX77" fmla="*/ 2976913 w 6884782"/>
              <a:gd name="connsiteY77" fmla="*/ 5848377 h 5973007"/>
              <a:gd name="connsiteX78" fmla="*/ 2976448 w 6884782"/>
              <a:gd name="connsiteY78" fmla="*/ 5853539 h 5973007"/>
              <a:gd name="connsiteX79" fmla="*/ 2974744 w 6884782"/>
              <a:gd name="connsiteY79" fmla="*/ 5854469 h 5973007"/>
              <a:gd name="connsiteX80" fmla="*/ 2972266 w 6884782"/>
              <a:gd name="connsiteY80" fmla="*/ 5851268 h 5973007"/>
              <a:gd name="connsiteX81" fmla="*/ 2973814 w 6884782"/>
              <a:gd name="connsiteY81" fmla="*/ 5847550 h 5973007"/>
              <a:gd name="connsiteX82" fmla="*/ 2975518 w 6884782"/>
              <a:gd name="connsiteY82" fmla="*/ 5846724 h 5973007"/>
              <a:gd name="connsiteX83" fmla="*/ 3245193 w 6884782"/>
              <a:gd name="connsiteY83" fmla="*/ 5838877 h 5973007"/>
              <a:gd name="connsiteX84" fmla="*/ 3245812 w 6884782"/>
              <a:gd name="connsiteY84" fmla="*/ 5841561 h 5973007"/>
              <a:gd name="connsiteX85" fmla="*/ 3244728 w 6884782"/>
              <a:gd name="connsiteY85" fmla="*/ 5844143 h 5973007"/>
              <a:gd name="connsiteX86" fmla="*/ 3243334 w 6884782"/>
              <a:gd name="connsiteY86" fmla="*/ 5844453 h 5973007"/>
              <a:gd name="connsiteX87" fmla="*/ 3241320 w 6884782"/>
              <a:gd name="connsiteY87" fmla="*/ 5844040 h 5973007"/>
              <a:gd name="connsiteX88" fmla="*/ 3240856 w 6884782"/>
              <a:gd name="connsiteY88" fmla="*/ 5843111 h 5973007"/>
              <a:gd name="connsiteX89" fmla="*/ 3242715 w 6884782"/>
              <a:gd name="connsiteY89" fmla="*/ 5839703 h 5973007"/>
              <a:gd name="connsiteX90" fmla="*/ 3245193 w 6884782"/>
              <a:gd name="connsiteY90" fmla="*/ 5838877 h 5973007"/>
              <a:gd name="connsiteX91" fmla="*/ 3496435 w 6884782"/>
              <a:gd name="connsiteY91" fmla="*/ 5822872 h 5973007"/>
              <a:gd name="connsiteX92" fmla="*/ 3498138 w 6884782"/>
              <a:gd name="connsiteY92" fmla="*/ 5847034 h 5973007"/>
              <a:gd name="connsiteX93" fmla="*/ 3478777 w 6884782"/>
              <a:gd name="connsiteY93" fmla="*/ 5864691 h 5973007"/>
              <a:gd name="connsiteX94" fmla="*/ 3483114 w 6884782"/>
              <a:gd name="connsiteY94" fmla="*/ 5840426 h 5973007"/>
              <a:gd name="connsiteX95" fmla="*/ 3496435 w 6884782"/>
              <a:gd name="connsiteY95" fmla="*/ 5822872 h 5973007"/>
              <a:gd name="connsiteX96" fmla="*/ 2800428 w 6884782"/>
              <a:gd name="connsiteY96" fmla="*/ 5821181 h 5973007"/>
              <a:gd name="connsiteX97" fmla="*/ 2805752 w 6884782"/>
              <a:gd name="connsiteY97" fmla="*/ 5822046 h 5973007"/>
              <a:gd name="connsiteX98" fmla="*/ 2800331 w 6884782"/>
              <a:gd name="connsiteY98" fmla="*/ 5827622 h 5973007"/>
              <a:gd name="connsiteX99" fmla="*/ 2798007 w 6884782"/>
              <a:gd name="connsiteY99" fmla="*/ 5826899 h 5973007"/>
              <a:gd name="connsiteX100" fmla="*/ 2800428 w 6884782"/>
              <a:gd name="connsiteY100" fmla="*/ 5821181 h 5973007"/>
              <a:gd name="connsiteX101" fmla="*/ 3200273 w 6884782"/>
              <a:gd name="connsiteY101" fmla="*/ 5819258 h 5973007"/>
              <a:gd name="connsiteX102" fmla="*/ 3207708 w 6884782"/>
              <a:gd name="connsiteY102" fmla="*/ 5819361 h 5973007"/>
              <a:gd name="connsiteX103" fmla="*/ 3208328 w 6884782"/>
              <a:gd name="connsiteY103" fmla="*/ 5822046 h 5973007"/>
              <a:gd name="connsiteX104" fmla="*/ 3202906 w 6884782"/>
              <a:gd name="connsiteY104" fmla="*/ 5825144 h 5973007"/>
              <a:gd name="connsiteX105" fmla="*/ 3200893 w 6884782"/>
              <a:gd name="connsiteY105" fmla="*/ 5823698 h 5973007"/>
              <a:gd name="connsiteX106" fmla="*/ 3202906 w 6884782"/>
              <a:gd name="connsiteY106" fmla="*/ 5827622 h 5973007"/>
              <a:gd name="connsiteX107" fmla="*/ 3202287 w 6884782"/>
              <a:gd name="connsiteY107" fmla="*/ 5832475 h 5973007"/>
              <a:gd name="connsiteX108" fmla="*/ 3173631 w 6884782"/>
              <a:gd name="connsiteY108" fmla="*/ 5851681 h 5973007"/>
              <a:gd name="connsiteX109" fmla="*/ 3173321 w 6884782"/>
              <a:gd name="connsiteY109" fmla="*/ 5841355 h 5973007"/>
              <a:gd name="connsiteX110" fmla="*/ 3193303 w 6884782"/>
              <a:gd name="connsiteY110" fmla="*/ 5825041 h 5973007"/>
              <a:gd name="connsiteX111" fmla="*/ 3200428 w 6884782"/>
              <a:gd name="connsiteY111" fmla="*/ 5822872 h 5973007"/>
              <a:gd name="connsiteX112" fmla="*/ 3199963 w 6884782"/>
              <a:gd name="connsiteY112" fmla="*/ 5821736 h 5973007"/>
              <a:gd name="connsiteX113" fmla="*/ 3200273 w 6884782"/>
              <a:gd name="connsiteY113" fmla="*/ 5819258 h 5973007"/>
              <a:gd name="connsiteX114" fmla="*/ 2872357 w 6884782"/>
              <a:gd name="connsiteY114" fmla="*/ 5816367 h 5973007"/>
              <a:gd name="connsiteX115" fmla="*/ 2876230 w 6884782"/>
              <a:gd name="connsiteY115" fmla="*/ 5819052 h 5973007"/>
              <a:gd name="connsiteX116" fmla="*/ 2874371 w 6884782"/>
              <a:gd name="connsiteY116" fmla="*/ 5829481 h 5973007"/>
              <a:gd name="connsiteX117" fmla="*/ 2864923 w 6884782"/>
              <a:gd name="connsiteY117" fmla="*/ 5831029 h 5973007"/>
              <a:gd name="connsiteX118" fmla="*/ 2863993 w 6884782"/>
              <a:gd name="connsiteY118" fmla="*/ 5832785 h 5973007"/>
              <a:gd name="connsiteX119" fmla="*/ 2860431 w 6884782"/>
              <a:gd name="connsiteY119" fmla="*/ 5834437 h 5973007"/>
              <a:gd name="connsiteX120" fmla="*/ 2859811 w 6884782"/>
              <a:gd name="connsiteY120" fmla="*/ 5832682 h 5973007"/>
              <a:gd name="connsiteX121" fmla="*/ 2863374 w 6884782"/>
              <a:gd name="connsiteY121" fmla="*/ 5830203 h 5973007"/>
              <a:gd name="connsiteX122" fmla="*/ 2863374 w 6884782"/>
              <a:gd name="connsiteY122" fmla="*/ 5829274 h 5973007"/>
              <a:gd name="connsiteX123" fmla="*/ 2861979 w 6884782"/>
              <a:gd name="connsiteY123" fmla="*/ 5827519 h 5973007"/>
              <a:gd name="connsiteX124" fmla="*/ 2862909 w 6884782"/>
              <a:gd name="connsiteY124" fmla="*/ 5818845 h 5973007"/>
              <a:gd name="connsiteX125" fmla="*/ 2872357 w 6884782"/>
              <a:gd name="connsiteY125" fmla="*/ 5816367 h 5973007"/>
              <a:gd name="connsiteX126" fmla="*/ 2945314 w 6884782"/>
              <a:gd name="connsiteY126" fmla="*/ 5813166 h 5973007"/>
              <a:gd name="connsiteX127" fmla="*/ 2945004 w 6884782"/>
              <a:gd name="connsiteY127" fmla="*/ 5816574 h 5973007"/>
              <a:gd name="connsiteX128" fmla="*/ 2938189 w 6884782"/>
              <a:gd name="connsiteY128" fmla="*/ 5820601 h 5973007"/>
              <a:gd name="connsiteX129" fmla="*/ 2936330 w 6884782"/>
              <a:gd name="connsiteY129" fmla="*/ 5819981 h 5973007"/>
              <a:gd name="connsiteX130" fmla="*/ 2937569 w 6884782"/>
              <a:gd name="connsiteY130" fmla="*/ 5815644 h 5973007"/>
              <a:gd name="connsiteX131" fmla="*/ 2945314 w 6884782"/>
              <a:gd name="connsiteY131" fmla="*/ 5813166 h 5973007"/>
              <a:gd name="connsiteX132" fmla="*/ 2954917 w 6884782"/>
              <a:gd name="connsiteY132" fmla="*/ 5809655 h 5973007"/>
              <a:gd name="connsiteX133" fmla="*/ 2954607 w 6884782"/>
              <a:gd name="connsiteY133" fmla="*/ 5812443 h 5973007"/>
              <a:gd name="connsiteX134" fmla="*/ 2952903 w 6884782"/>
              <a:gd name="connsiteY134" fmla="*/ 5813269 h 5973007"/>
              <a:gd name="connsiteX135" fmla="*/ 2951819 w 6884782"/>
              <a:gd name="connsiteY135" fmla="*/ 5815954 h 5973007"/>
              <a:gd name="connsiteX136" fmla="*/ 2950270 w 6884782"/>
              <a:gd name="connsiteY136" fmla="*/ 5815954 h 5973007"/>
              <a:gd name="connsiteX137" fmla="*/ 2952439 w 6884782"/>
              <a:gd name="connsiteY137" fmla="*/ 5810585 h 5973007"/>
              <a:gd name="connsiteX138" fmla="*/ 2954917 w 6884782"/>
              <a:gd name="connsiteY138" fmla="*/ 5809655 h 5973007"/>
              <a:gd name="connsiteX139" fmla="*/ 3280354 w 6884782"/>
              <a:gd name="connsiteY139" fmla="*/ 5805938 h 5973007"/>
              <a:gd name="connsiteX140" fmla="*/ 3283297 w 6884782"/>
              <a:gd name="connsiteY140" fmla="*/ 5815748 h 5973007"/>
              <a:gd name="connsiteX141" fmla="*/ 3277256 w 6884782"/>
              <a:gd name="connsiteY141" fmla="*/ 5816883 h 5973007"/>
              <a:gd name="connsiteX142" fmla="*/ 3280354 w 6884782"/>
              <a:gd name="connsiteY142" fmla="*/ 5805938 h 5973007"/>
              <a:gd name="connsiteX143" fmla="*/ 3139805 w 6884782"/>
              <a:gd name="connsiteY143" fmla="*/ 5803383 h 5973007"/>
              <a:gd name="connsiteX144" fmla="*/ 3145750 w 6884782"/>
              <a:gd name="connsiteY144" fmla="*/ 5803460 h 5973007"/>
              <a:gd name="connsiteX145" fmla="*/ 3143271 w 6884782"/>
              <a:gd name="connsiteY145" fmla="*/ 5811204 h 5973007"/>
              <a:gd name="connsiteX146" fmla="*/ 3140018 w 6884782"/>
              <a:gd name="connsiteY146" fmla="*/ 5812959 h 5973007"/>
              <a:gd name="connsiteX147" fmla="*/ 3136456 w 6884782"/>
              <a:gd name="connsiteY147" fmla="*/ 5812753 h 5973007"/>
              <a:gd name="connsiteX148" fmla="*/ 3133513 w 6884782"/>
              <a:gd name="connsiteY148" fmla="*/ 5813476 h 5973007"/>
              <a:gd name="connsiteX149" fmla="*/ 3130725 w 6884782"/>
              <a:gd name="connsiteY149" fmla="*/ 5812753 h 5973007"/>
              <a:gd name="connsiteX150" fmla="*/ 3129640 w 6884782"/>
              <a:gd name="connsiteY150" fmla="*/ 5810172 h 5973007"/>
              <a:gd name="connsiteX151" fmla="*/ 3130260 w 6884782"/>
              <a:gd name="connsiteY151" fmla="*/ 5808416 h 5973007"/>
              <a:gd name="connsiteX152" fmla="*/ 3139805 w 6884782"/>
              <a:gd name="connsiteY152" fmla="*/ 5803383 h 5973007"/>
              <a:gd name="connsiteX153" fmla="*/ 2949806 w 6884782"/>
              <a:gd name="connsiteY153" fmla="*/ 5802841 h 5973007"/>
              <a:gd name="connsiteX154" fmla="*/ 2952439 w 6884782"/>
              <a:gd name="connsiteY154" fmla="*/ 5802944 h 5973007"/>
              <a:gd name="connsiteX155" fmla="*/ 2951355 w 6884782"/>
              <a:gd name="connsiteY155" fmla="*/ 5804699 h 5973007"/>
              <a:gd name="connsiteX156" fmla="*/ 2947482 w 6884782"/>
              <a:gd name="connsiteY156" fmla="*/ 5808933 h 5973007"/>
              <a:gd name="connsiteX157" fmla="*/ 2946243 w 6884782"/>
              <a:gd name="connsiteY157" fmla="*/ 5807693 h 5973007"/>
              <a:gd name="connsiteX158" fmla="*/ 2946863 w 6884782"/>
              <a:gd name="connsiteY158" fmla="*/ 5806248 h 5973007"/>
              <a:gd name="connsiteX159" fmla="*/ 2948722 w 6884782"/>
              <a:gd name="connsiteY159" fmla="*/ 5804596 h 5973007"/>
              <a:gd name="connsiteX160" fmla="*/ 2949806 w 6884782"/>
              <a:gd name="connsiteY160" fmla="*/ 5802841 h 5973007"/>
              <a:gd name="connsiteX161" fmla="*/ 2912476 w 6884782"/>
              <a:gd name="connsiteY161" fmla="*/ 5800362 h 5973007"/>
              <a:gd name="connsiteX162" fmla="*/ 2897296 w 6884782"/>
              <a:gd name="connsiteY162" fmla="*/ 5808107 h 5973007"/>
              <a:gd name="connsiteX163" fmla="*/ 2897761 w 6884782"/>
              <a:gd name="connsiteY163" fmla="*/ 5804596 h 5973007"/>
              <a:gd name="connsiteX164" fmla="*/ 2899465 w 6884782"/>
              <a:gd name="connsiteY164" fmla="*/ 5804596 h 5973007"/>
              <a:gd name="connsiteX165" fmla="*/ 2912476 w 6884782"/>
              <a:gd name="connsiteY165" fmla="*/ 5800362 h 5973007"/>
              <a:gd name="connsiteX166" fmla="*/ 3209257 w 6884782"/>
              <a:gd name="connsiteY166" fmla="*/ 5797987 h 5973007"/>
              <a:gd name="connsiteX167" fmla="*/ 3214523 w 6884782"/>
              <a:gd name="connsiteY167" fmla="*/ 5803563 h 5973007"/>
              <a:gd name="connsiteX168" fmla="*/ 3211426 w 6884782"/>
              <a:gd name="connsiteY168" fmla="*/ 5806971 h 5973007"/>
              <a:gd name="connsiteX169" fmla="*/ 3205384 w 6884782"/>
              <a:gd name="connsiteY169" fmla="*/ 5803150 h 5973007"/>
              <a:gd name="connsiteX170" fmla="*/ 3209257 w 6884782"/>
              <a:gd name="connsiteY170" fmla="*/ 5797987 h 5973007"/>
              <a:gd name="connsiteX171" fmla="*/ 2919446 w 6884782"/>
              <a:gd name="connsiteY171" fmla="*/ 5796335 h 5973007"/>
              <a:gd name="connsiteX172" fmla="*/ 2915883 w 6884782"/>
              <a:gd name="connsiteY172" fmla="*/ 5798917 h 5973007"/>
              <a:gd name="connsiteX173" fmla="*/ 2915109 w 6884782"/>
              <a:gd name="connsiteY173" fmla="*/ 5797987 h 5973007"/>
              <a:gd name="connsiteX174" fmla="*/ 2919446 w 6884782"/>
              <a:gd name="connsiteY174" fmla="*/ 5796335 h 5973007"/>
              <a:gd name="connsiteX175" fmla="*/ 2906396 w 6884782"/>
              <a:gd name="connsiteY175" fmla="*/ 5795974 h 5973007"/>
              <a:gd name="connsiteX176" fmla="*/ 2911082 w 6884782"/>
              <a:gd name="connsiteY176" fmla="*/ 5796129 h 5973007"/>
              <a:gd name="connsiteX177" fmla="*/ 2910927 w 6884782"/>
              <a:gd name="connsiteY177" fmla="*/ 5797058 h 5973007"/>
              <a:gd name="connsiteX178" fmla="*/ 2902098 w 6884782"/>
              <a:gd name="connsiteY178" fmla="*/ 5798917 h 5973007"/>
              <a:gd name="connsiteX179" fmla="*/ 2899000 w 6884782"/>
              <a:gd name="connsiteY179" fmla="*/ 5798504 h 5973007"/>
              <a:gd name="connsiteX180" fmla="*/ 2899929 w 6884782"/>
              <a:gd name="connsiteY180" fmla="*/ 5798504 h 5973007"/>
              <a:gd name="connsiteX181" fmla="*/ 2899155 w 6884782"/>
              <a:gd name="connsiteY181" fmla="*/ 5797678 h 5973007"/>
              <a:gd name="connsiteX182" fmla="*/ 2906396 w 6884782"/>
              <a:gd name="connsiteY182" fmla="*/ 5795974 h 5973007"/>
              <a:gd name="connsiteX183" fmla="*/ 3289338 w 6884782"/>
              <a:gd name="connsiteY183" fmla="*/ 5794683 h 5973007"/>
              <a:gd name="connsiteX184" fmla="*/ 3290577 w 6884782"/>
              <a:gd name="connsiteY184" fmla="*/ 5798297 h 5973007"/>
              <a:gd name="connsiteX185" fmla="*/ 3282833 w 6884782"/>
              <a:gd name="connsiteY185" fmla="*/ 5800259 h 5973007"/>
              <a:gd name="connsiteX186" fmla="*/ 3276482 w 6884782"/>
              <a:gd name="connsiteY186" fmla="*/ 5797678 h 5973007"/>
              <a:gd name="connsiteX187" fmla="*/ 3276792 w 6884782"/>
              <a:gd name="connsiteY187" fmla="*/ 5795200 h 5973007"/>
              <a:gd name="connsiteX188" fmla="*/ 3289338 w 6884782"/>
              <a:gd name="connsiteY188" fmla="*/ 5794683 h 5973007"/>
              <a:gd name="connsiteX189" fmla="*/ 3140270 w 6884782"/>
              <a:gd name="connsiteY189" fmla="*/ 5788230 h 5973007"/>
              <a:gd name="connsiteX190" fmla="*/ 3143271 w 6884782"/>
              <a:gd name="connsiteY190" fmla="*/ 5798297 h 5973007"/>
              <a:gd name="connsiteX191" fmla="*/ 3134597 w 6884782"/>
              <a:gd name="connsiteY191" fmla="*/ 5795819 h 5973007"/>
              <a:gd name="connsiteX192" fmla="*/ 3140270 w 6884782"/>
              <a:gd name="connsiteY192" fmla="*/ 5788230 h 5973007"/>
              <a:gd name="connsiteX193" fmla="*/ 3187649 w 6884782"/>
              <a:gd name="connsiteY193" fmla="*/ 5787171 h 5973007"/>
              <a:gd name="connsiteX194" fmla="*/ 3202752 w 6884782"/>
              <a:gd name="connsiteY194" fmla="*/ 5788694 h 5973007"/>
              <a:gd name="connsiteX195" fmla="*/ 3206624 w 6884782"/>
              <a:gd name="connsiteY195" fmla="*/ 5796232 h 5973007"/>
              <a:gd name="connsiteX196" fmla="*/ 3182925 w 6884782"/>
              <a:gd name="connsiteY196" fmla="*/ 5817503 h 5973007"/>
              <a:gd name="connsiteX197" fmla="*/ 3178123 w 6884782"/>
              <a:gd name="connsiteY197" fmla="*/ 5817503 h 5973007"/>
              <a:gd name="connsiteX198" fmla="*/ 3172082 w 6884782"/>
              <a:gd name="connsiteY198" fmla="*/ 5815541 h 5973007"/>
              <a:gd name="connsiteX199" fmla="*/ 3174406 w 6884782"/>
              <a:gd name="connsiteY199" fmla="*/ 5802221 h 5973007"/>
              <a:gd name="connsiteX200" fmla="*/ 3187649 w 6884782"/>
              <a:gd name="connsiteY200" fmla="*/ 5787171 h 5973007"/>
              <a:gd name="connsiteX201" fmla="*/ 2944849 w 6884782"/>
              <a:gd name="connsiteY201" fmla="*/ 5785390 h 5973007"/>
              <a:gd name="connsiteX202" fmla="*/ 2938808 w 6884782"/>
              <a:gd name="connsiteY202" fmla="*/ 5791379 h 5973007"/>
              <a:gd name="connsiteX203" fmla="*/ 2936949 w 6884782"/>
              <a:gd name="connsiteY203" fmla="*/ 5791173 h 5973007"/>
              <a:gd name="connsiteX204" fmla="*/ 2937104 w 6884782"/>
              <a:gd name="connsiteY204" fmla="*/ 5788694 h 5973007"/>
              <a:gd name="connsiteX205" fmla="*/ 2944849 w 6884782"/>
              <a:gd name="connsiteY205" fmla="*/ 5785390 h 5973007"/>
              <a:gd name="connsiteX206" fmla="*/ 3031746 w 6884782"/>
              <a:gd name="connsiteY206" fmla="*/ 5783015 h 5973007"/>
              <a:gd name="connsiteX207" fmla="*/ 3032365 w 6884782"/>
              <a:gd name="connsiteY207" fmla="*/ 5783428 h 5973007"/>
              <a:gd name="connsiteX208" fmla="*/ 3035154 w 6884782"/>
              <a:gd name="connsiteY208" fmla="*/ 5785184 h 5973007"/>
              <a:gd name="connsiteX209" fmla="*/ 3034069 w 6884782"/>
              <a:gd name="connsiteY209" fmla="*/ 5789830 h 5973007"/>
              <a:gd name="connsiteX210" fmla="*/ 3030816 w 6884782"/>
              <a:gd name="connsiteY210" fmla="*/ 5789933 h 5973007"/>
              <a:gd name="connsiteX211" fmla="*/ 3029113 w 6884782"/>
              <a:gd name="connsiteY211" fmla="*/ 5788694 h 5973007"/>
              <a:gd name="connsiteX212" fmla="*/ 3029887 w 6884782"/>
              <a:gd name="connsiteY212" fmla="*/ 5783945 h 5973007"/>
              <a:gd name="connsiteX213" fmla="*/ 3031746 w 6884782"/>
              <a:gd name="connsiteY213" fmla="*/ 5783015 h 5973007"/>
              <a:gd name="connsiteX214" fmla="*/ 3366322 w 6884782"/>
              <a:gd name="connsiteY214" fmla="*/ 5772586 h 5973007"/>
              <a:gd name="connsiteX215" fmla="*/ 3364463 w 6884782"/>
              <a:gd name="connsiteY215" fmla="*/ 5777336 h 5973007"/>
              <a:gd name="connsiteX216" fmla="*/ 3356563 w 6884782"/>
              <a:gd name="connsiteY216" fmla="*/ 5773619 h 5973007"/>
              <a:gd name="connsiteX217" fmla="*/ 3366322 w 6884782"/>
              <a:gd name="connsiteY217" fmla="*/ 5772586 h 5973007"/>
              <a:gd name="connsiteX218" fmla="*/ 2976293 w 6884782"/>
              <a:gd name="connsiteY218" fmla="*/ 5769902 h 5973007"/>
              <a:gd name="connsiteX219" fmla="*/ 2969323 w 6884782"/>
              <a:gd name="connsiteY219" fmla="*/ 5797471 h 5973007"/>
              <a:gd name="connsiteX220" fmla="*/ 2966535 w 6884782"/>
              <a:gd name="connsiteY220" fmla="*/ 5791069 h 5973007"/>
              <a:gd name="connsiteX221" fmla="*/ 2976293 w 6884782"/>
              <a:gd name="connsiteY221" fmla="*/ 5769902 h 5973007"/>
              <a:gd name="connsiteX222" fmla="*/ 2949806 w 6884782"/>
              <a:gd name="connsiteY222" fmla="*/ 5766391 h 5973007"/>
              <a:gd name="connsiteX223" fmla="*/ 2947947 w 6884782"/>
              <a:gd name="connsiteY223" fmla="*/ 5773619 h 5973007"/>
              <a:gd name="connsiteX224" fmla="*/ 2944075 w 6884782"/>
              <a:gd name="connsiteY224" fmla="*/ 5774239 h 5973007"/>
              <a:gd name="connsiteX225" fmla="*/ 2940202 w 6884782"/>
              <a:gd name="connsiteY225" fmla="*/ 5772896 h 5973007"/>
              <a:gd name="connsiteX226" fmla="*/ 2949806 w 6884782"/>
              <a:gd name="connsiteY226" fmla="*/ 5766391 h 5973007"/>
              <a:gd name="connsiteX227" fmla="*/ 2840759 w 6884782"/>
              <a:gd name="connsiteY227" fmla="*/ 5759266 h 5973007"/>
              <a:gd name="connsiteX228" fmla="*/ 2847419 w 6884782"/>
              <a:gd name="connsiteY228" fmla="*/ 5761331 h 5973007"/>
              <a:gd name="connsiteX229" fmla="*/ 2840914 w 6884782"/>
              <a:gd name="connsiteY229" fmla="*/ 5773722 h 5973007"/>
              <a:gd name="connsiteX230" fmla="*/ 2836576 w 6884782"/>
              <a:gd name="connsiteY230" fmla="*/ 5770728 h 5973007"/>
              <a:gd name="connsiteX231" fmla="*/ 2840759 w 6884782"/>
              <a:gd name="connsiteY231" fmla="*/ 5759266 h 5973007"/>
              <a:gd name="connsiteX232" fmla="*/ 3151171 w 6884782"/>
              <a:gd name="connsiteY232" fmla="*/ 5756375 h 5973007"/>
              <a:gd name="connsiteX233" fmla="*/ 3152875 w 6884782"/>
              <a:gd name="connsiteY233" fmla="*/ 5758956 h 5973007"/>
              <a:gd name="connsiteX234" fmla="*/ 3142651 w 6884782"/>
              <a:gd name="connsiteY234" fmla="*/ 5772586 h 5973007"/>
              <a:gd name="connsiteX235" fmla="*/ 3140328 w 6884782"/>
              <a:gd name="connsiteY235" fmla="*/ 5771347 h 5973007"/>
              <a:gd name="connsiteX236" fmla="*/ 3151171 w 6884782"/>
              <a:gd name="connsiteY236" fmla="*/ 5756375 h 5973007"/>
              <a:gd name="connsiteX237" fmla="*/ 3303434 w 6884782"/>
              <a:gd name="connsiteY237" fmla="*/ 5755962 h 5973007"/>
              <a:gd name="connsiteX238" fmla="*/ 3315051 w 6884782"/>
              <a:gd name="connsiteY238" fmla="*/ 5762467 h 5973007"/>
              <a:gd name="connsiteX239" fmla="*/ 3311488 w 6884782"/>
              <a:gd name="connsiteY239" fmla="*/ 5768766 h 5973007"/>
              <a:gd name="connsiteX240" fmla="*/ 3309320 w 6884782"/>
              <a:gd name="connsiteY240" fmla="*/ 5768559 h 5973007"/>
              <a:gd name="connsiteX241" fmla="*/ 3300181 w 6884782"/>
              <a:gd name="connsiteY241" fmla="*/ 5764119 h 5973007"/>
              <a:gd name="connsiteX242" fmla="*/ 3303434 w 6884782"/>
              <a:gd name="connsiteY242" fmla="*/ 5755962 h 5973007"/>
              <a:gd name="connsiteX243" fmla="*/ 3429190 w 6884782"/>
              <a:gd name="connsiteY243" fmla="*/ 5755420 h 5973007"/>
              <a:gd name="connsiteX244" fmla="*/ 3432927 w 6884782"/>
              <a:gd name="connsiteY244" fmla="*/ 5757511 h 5973007"/>
              <a:gd name="connsiteX245" fmla="*/ 3430604 w 6884782"/>
              <a:gd name="connsiteY245" fmla="*/ 5762571 h 5973007"/>
              <a:gd name="connsiteX246" fmla="*/ 3426267 w 6884782"/>
              <a:gd name="connsiteY246" fmla="*/ 5757201 h 5973007"/>
              <a:gd name="connsiteX247" fmla="*/ 3429190 w 6884782"/>
              <a:gd name="connsiteY247" fmla="*/ 5755420 h 5973007"/>
              <a:gd name="connsiteX248" fmla="*/ 3013933 w 6884782"/>
              <a:gd name="connsiteY248" fmla="*/ 5753174 h 5973007"/>
              <a:gd name="connsiteX249" fmla="*/ 3004484 w 6884782"/>
              <a:gd name="connsiteY249" fmla="*/ 5771967 h 5973007"/>
              <a:gd name="connsiteX250" fmla="*/ 3000767 w 6884782"/>
              <a:gd name="connsiteY250" fmla="*/ 5773103 h 5973007"/>
              <a:gd name="connsiteX251" fmla="*/ 2999218 w 6884782"/>
              <a:gd name="connsiteY251" fmla="*/ 5772690 h 5973007"/>
              <a:gd name="connsiteX252" fmla="*/ 3013933 w 6884782"/>
              <a:gd name="connsiteY252" fmla="*/ 5753174 h 5973007"/>
              <a:gd name="connsiteX253" fmla="*/ 3294605 w 6884782"/>
              <a:gd name="connsiteY253" fmla="*/ 5752039 h 5973007"/>
              <a:gd name="connsiteX254" fmla="*/ 3291507 w 6884782"/>
              <a:gd name="connsiteY254" fmla="*/ 5779401 h 5973007"/>
              <a:gd name="connsiteX255" fmla="*/ 3294605 w 6884782"/>
              <a:gd name="connsiteY255" fmla="*/ 5752039 h 5973007"/>
              <a:gd name="connsiteX256" fmla="*/ 3063345 w 6884782"/>
              <a:gd name="connsiteY256" fmla="*/ 5751729 h 5973007"/>
              <a:gd name="connsiteX257" fmla="*/ 3077440 w 6884782"/>
              <a:gd name="connsiteY257" fmla="*/ 5760815 h 5973007"/>
              <a:gd name="connsiteX258" fmla="*/ 3076976 w 6884782"/>
              <a:gd name="connsiteY258" fmla="*/ 5779711 h 5973007"/>
              <a:gd name="connsiteX259" fmla="*/ 3071864 w 6884782"/>
              <a:gd name="connsiteY259" fmla="*/ 5780434 h 5973007"/>
              <a:gd name="connsiteX260" fmla="*/ 3063500 w 6884782"/>
              <a:gd name="connsiteY260" fmla="*/ 5770831 h 5973007"/>
              <a:gd name="connsiteX261" fmla="*/ 3061796 w 6884782"/>
              <a:gd name="connsiteY261" fmla="*/ 5764636 h 5973007"/>
              <a:gd name="connsiteX262" fmla="*/ 3061176 w 6884782"/>
              <a:gd name="connsiteY262" fmla="*/ 5753794 h 5973007"/>
              <a:gd name="connsiteX263" fmla="*/ 3063345 w 6884782"/>
              <a:gd name="connsiteY263" fmla="*/ 5751729 h 5973007"/>
              <a:gd name="connsiteX264" fmla="*/ 3107335 w 6884782"/>
              <a:gd name="connsiteY264" fmla="*/ 5748631 h 5973007"/>
              <a:gd name="connsiteX265" fmla="*/ 3109349 w 6884782"/>
              <a:gd name="connsiteY265" fmla="*/ 5757201 h 5973007"/>
              <a:gd name="connsiteX266" fmla="*/ 3103463 w 6884782"/>
              <a:gd name="connsiteY266" fmla="*/ 5751832 h 5973007"/>
              <a:gd name="connsiteX267" fmla="*/ 3107335 w 6884782"/>
              <a:gd name="connsiteY267" fmla="*/ 5748631 h 5973007"/>
              <a:gd name="connsiteX268" fmla="*/ 2997204 w 6884782"/>
              <a:gd name="connsiteY268" fmla="*/ 5748424 h 5973007"/>
              <a:gd name="connsiteX269" fmla="*/ 3000457 w 6884782"/>
              <a:gd name="connsiteY269" fmla="*/ 5749663 h 5973007"/>
              <a:gd name="connsiteX270" fmla="*/ 2996429 w 6884782"/>
              <a:gd name="connsiteY270" fmla="*/ 5753381 h 5973007"/>
              <a:gd name="connsiteX271" fmla="*/ 2997204 w 6884782"/>
              <a:gd name="connsiteY271" fmla="*/ 5748424 h 5973007"/>
              <a:gd name="connsiteX272" fmla="*/ 2833634 w 6884782"/>
              <a:gd name="connsiteY272" fmla="*/ 5748115 h 5973007"/>
              <a:gd name="connsiteX273" fmla="*/ 2828987 w 6884782"/>
              <a:gd name="connsiteY273" fmla="*/ 5758027 h 5973007"/>
              <a:gd name="connsiteX274" fmla="*/ 2833634 w 6884782"/>
              <a:gd name="connsiteY274" fmla="*/ 5748115 h 5973007"/>
              <a:gd name="connsiteX275" fmla="*/ 3220255 w 6884782"/>
              <a:gd name="connsiteY275" fmla="*/ 5747908 h 5973007"/>
              <a:gd name="connsiteX276" fmla="*/ 3220100 w 6884782"/>
              <a:gd name="connsiteY276" fmla="*/ 5756891 h 5973007"/>
              <a:gd name="connsiteX277" fmla="*/ 3217002 w 6884782"/>
              <a:gd name="connsiteY277" fmla="*/ 5755240 h 5973007"/>
              <a:gd name="connsiteX278" fmla="*/ 3220255 w 6884782"/>
              <a:gd name="connsiteY278" fmla="*/ 5747908 h 5973007"/>
              <a:gd name="connsiteX279" fmla="*/ 3373757 w 6884782"/>
              <a:gd name="connsiteY279" fmla="*/ 5745946 h 5973007"/>
              <a:gd name="connsiteX280" fmla="*/ 3374996 w 6884782"/>
              <a:gd name="connsiteY280" fmla="*/ 5747495 h 5973007"/>
              <a:gd name="connsiteX281" fmla="*/ 3374531 w 6884782"/>
              <a:gd name="connsiteY281" fmla="*/ 5749870 h 5973007"/>
              <a:gd name="connsiteX282" fmla="*/ 3369265 w 6884782"/>
              <a:gd name="connsiteY282" fmla="*/ 5755859 h 5973007"/>
              <a:gd name="connsiteX283" fmla="*/ 3367716 w 6884782"/>
              <a:gd name="connsiteY283" fmla="*/ 5756891 h 5973007"/>
              <a:gd name="connsiteX284" fmla="*/ 3366167 w 6884782"/>
              <a:gd name="connsiteY284" fmla="*/ 5758027 h 5973007"/>
              <a:gd name="connsiteX285" fmla="*/ 3364618 w 6884782"/>
              <a:gd name="connsiteY285" fmla="*/ 5758234 h 5973007"/>
              <a:gd name="connsiteX286" fmla="*/ 3362759 w 6884782"/>
              <a:gd name="connsiteY286" fmla="*/ 5756995 h 5973007"/>
              <a:gd name="connsiteX287" fmla="*/ 3373757 w 6884782"/>
              <a:gd name="connsiteY287" fmla="*/ 5745946 h 5973007"/>
              <a:gd name="connsiteX288" fmla="*/ 2894043 w 6884782"/>
              <a:gd name="connsiteY288" fmla="*/ 5741919 h 5973007"/>
              <a:gd name="connsiteX289" fmla="*/ 2898225 w 6884782"/>
              <a:gd name="connsiteY289" fmla="*/ 5742022 h 5973007"/>
              <a:gd name="connsiteX290" fmla="*/ 2899619 w 6884782"/>
              <a:gd name="connsiteY290" fmla="*/ 5743778 h 5973007"/>
              <a:gd name="connsiteX291" fmla="*/ 2899619 w 6884782"/>
              <a:gd name="connsiteY291" fmla="*/ 5744604 h 5973007"/>
              <a:gd name="connsiteX292" fmla="*/ 2897761 w 6884782"/>
              <a:gd name="connsiteY292" fmla="*/ 5745327 h 5973007"/>
              <a:gd name="connsiteX293" fmla="*/ 2889551 w 6884782"/>
              <a:gd name="connsiteY293" fmla="*/ 5744501 h 5973007"/>
              <a:gd name="connsiteX294" fmla="*/ 2888002 w 6884782"/>
              <a:gd name="connsiteY294" fmla="*/ 5744397 h 5973007"/>
              <a:gd name="connsiteX295" fmla="*/ 2886453 w 6884782"/>
              <a:gd name="connsiteY295" fmla="*/ 5742642 h 5973007"/>
              <a:gd name="connsiteX296" fmla="*/ 2894043 w 6884782"/>
              <a:gd name="connsiteY296" fmla="*/ 5741919 h 5973007"/>
              <a:gd name="connsiteX297" fmla="*/ 3139825 w 6884782"/>
              <a:gd name="connsiteY297" fmla="*/ 5741842 h 5973007"/>
              <a:gd name="connsiteX298" fmla="*/ 3145750 w 6884782"/>
              <a:gd name="connsiteY298" fmla="*/ 5743675 h 5973007"/>
              <a:gd name="connsiteX299" fmla="*/ 3146989 w 6884782"/>
              <a:gd name="connsiteY299" fmla="*/ 5748941 h 5973007"/>
              <a:gd name="connsiteX300" fmla="*/ 3141877 w 6884782"/>
              <a:gd name="connsiteY300" fmla="*/ 5750386 h 5973007"/>
              <a:gd name="connsiteX301" fmla="*/ 3136920 w 6884782"/>
              <a:gd name="connsiteY301" fmla="*/ 5749147 h 5973007"/>
              <a:gd name="connsiteX302" fmla="*/ 3139825 w 6884782"/>
              <a:gd name="connsiteY302" fmla="*/ 5741842 h 5973007"/>
              <a:gd name="connsiteX303" fmla="*/ 2793670 w 6884782"/>
              <a:gd name="connsiteY303" fmla="*/ 5739338 h 5973007"/>
              <a:gd name="connsiteX304" fmla="*/ 2797853 w 6884782"/>
              <a:gd name="connsiteY304" fmla="*/ 5739441 h 5973007"/>
              <a:gd name="connsiteX305" fmla="*/ 2810709 w 6884782"/>
              <a:gd name="connsiteY305" fmla="*/ 5743158 h 5973007"/>
              <a:gd name="connsiteX306" fmla="*/ 2804823 w 6884782"/>
              <a:gd name="connsiteY306" fmla="*/ 5744088 h 5973007"/>
              <a:gd name="connsiteX307" fmla="*/ 2791656 w 6884782"/>
              <a:gd name="connsiteY307" fmla="*/ 5743675 h 5973007"/>
              <a:gd name="connsiteX308" fmla="*/ 2790108 w 6884782"/>
              <a:gd name="connsiteY308" fmla="*/ 5741919 h 5973007"/>
              <a:gd name="connsiteX309" fmla="*/ 2789333 w 6884782"/>
              <a:gd name="connsiteY309" fmla="*/ 5741919 h 5973007"/>
              <a:gd name="connsiteX310" fmla="*/ 2788714 w 6884782"/>
              <a:gd name="connsiteY310" fmla="*/ 5741093 h 5973007"/>
              <a:gd name="connsiteX311" fmla="*/ 2788714 w 6884782"/>
              <a:gd name="connsiteY311" fmla="*/ 5740164 h 5973007"/>
              <a:gd name="connsiteX312" fmla="*/ 2793670 w 6884782"/>
              <a:gd name="connsiteY312" fmla="*/ 5739338 h 5973007"/>
              <a:gd name="connsiteX313" fmla="*/ 3536243 w 6884782"/>
              <a:gd name="connsiteY313" fmla="*/ 5738305 h 5973007"/>
              <a:gd name="connsiteX314" fmla="*/ 3537482 w 6884782"/>
              <a:gd name="connsiteY314" fmla="*/ 5747288 h 5973007"/>
              <a:gd name="connsiteX315" fmla="*/ 3536243 w 6884782"/>
              <a:gd name="connsiteY315" fmla="*/ 5738305 h 5973007"/>
              <a:gd name="connsiteX316" fmla="*/ 2975054 w 6884782"/>
              <a:gd name="connsiteY316" fmla="*/ 5738305 h 5973007"/>
              <a:gd name="connsiteX317" fmla="*/ 2972111 w 6884782"/>
              <a:gd name="connsiteY317" fmla="*/ 5744914 h 5973007"/>
              <a:gd name="connsiteX318" fmla="*/ 2969478 w 6884782"/>
              <a:gd name="connsiteY318" fmla="*/ 5744707 h 5973007"/>
              <a:gd name="connsiteX319" fmla="*/ 2975054 w 6884782"/>
              <a:gd name="connsiteY319" fmla="*/ 5738305 h 5973007"/>
              <a:gd name="connsiteX320" fmla="*/ 3157057 w 6884782"/>
              <a:gd name="connsiteY320" fmla="*/ 5736756 h 5973007"/>
              <a:gd name="connsiteX321" fmla="*/ 3163873 w 6884782"/>
              <a:gd name="connsiteY321" fmla="*/ 5739028 h 5973007"/>
              <a:gd name="connsiteX322" fmla="*/ 3159380 w 6884782"/>
              <a:gd name="connsiteY322" fmla="*/ 5751212 h 5973007"/>
              <a:gd name="connsiteX323" fmla="*/ 3157057 w 6884782"/>
              <a:gd name="connsiteY323" fmla="*/ 5736756 h 5973007"/>
              <a:gd name="connsiteX324" fmla="*/ 3348199 w 6884782"/>
              <a:gd name="connsiteY324" fmla="*/ 5735001 h 5973007"/>
              <a:gd name="connsiteX325" fmla="*/ 3354085 w 6884782"/>
              <a:gd name="connsiteY325" fmla="*/ 5735827 h 5973007"/>
              <a:gd name="connsiteX326" fmla="*/ 3347889 w 6884782"/>
              <a:gd name="connsiteY326" fmla="*/ 5747392 h 5973007"/>
              <a:gd name="connsiteX327" fmla="*/ 3346805 w 6884782"/>
              <a:gd name="connsiteY327" fmla="*/ 5744707 h 5973007"/>
              <a:gd name="connsiteX328" fmla="*/ 3348199 w 6884782"/>
              <a:gd name="connsiteY328" fmla="*/ 5735001 h 5973007"/>
              <a:gd name="connsiteX329" fmla="*/ 2943145 w 6884782"/>
              <a:gd name="connsiteY329" fmla="*/ 5734898 h 5973007"/>
              <a:gd name="connsiteX330" fmla="*/ 2948722 w 6884782"/>
              <a:gd name="connsiteY330" fmla="*/ 5737686 h 5973007"/>
              <a:gd name="connsiteX331" fmla="*/ 2947637 w 6884782"/>
              <a:gd name="connsiteY331" fmla="*/ 5739338 h 5973007"/>
              <a:gd name="connsiteX332" fmla="*/ 2945159 w 6884782"/>
              <a:gd name="connsiteY332" fmla="*/ 5740783 h 5973007"/>
              <a:gd name="connsiteX333" fmla="*/ 2942680 w 6884782"/>
              <a:gd name="connsiteY333" fmla="*/ 5740164 h 5973007"/>
              <a:gd name="connsiteX334" fmla="*/ 2943145 w 6884782"/>
              <a:gd name="connsiteY334" fmla="*/ 5734898 h 5973007"/>
              <a:gd name="connsiteX335" fmla="*/ 3062105 w 6884782"/>
              <a:gd name="connsiteY335" fmla="*/ 5731800 h 5973007"/>
              <a:gd name="connsiteX336" fmla="*/ 3062261 w 6884782"/>
              <a:gd name="connsiteY336" fmla="*/ 5733452 h 5973007"/>
              <a:gd name="connsiteX337" fmla="*/ 3063190 w 6884782"/>
              <a:gd name="connsiteY337" fmla="*/ 5733349 h 5973007"/>
              <a:gd name="connsiteX338" fmla="*/ 3062570 w 6884782"/>
              <a:gd name="connsiteY338" fmla="*/ 5735105 h 5973007"/>
              <a:gd name="connsiteX339" fmla="*/ 3061796 w 6884782"/>
              <a:gd name="connsiteY339" fmla="*/ 5735105 h 5973007"/>
              <a:gd name="connsiteX340" fmla="*/ 3061641 w 6884782"/>
              <a:gd name="connsiteY340" fmla="*/ 5735311 h 5973007"/>
              <a:gd name="connsiteX341" fmla="*/ 3060092 w 6884782"/>
              <a:gd name="connsiteY341" fmla="*/ 5734382 h 5973007"/>
              <a:gd name="connsiteX342" fmla="*/ 3059008 w 6884782"/>
              <a:gd name="connsiteY342" fmla="*/ 5732833 h 5973007"/>
              <a:gd name="connsiteX343" fmla="*/ 3062105 w 6884782"/>
              <a:gd name="connsiteY343" fmla="*/ 5731800 h 5973007"/>
              <a:gd name="connsiteX344" fmla="*/ 3281129 w 6884782"/>
              <a:gd name="connsiteY344" fmla="*/ 5731593 h 5973007"/>
              <a:gd name="connsiteX345" fmla="*/ 3289648 w 6884782"/>
              <a:gd name="connsiteY345" fmla="*/ 5737170 h 5973007"/>
              <a:gd name="connsiteX346" fmla="*/ 3285931 w 6884782"/>
              <a:gd name="connsiteY346" fmla="*/ 5739957 h 5973007"/>
              <a:gd name="connsiteX347" fmla="*/ 3281129 w 6884782"/>
              <a:gd name="connsiteY347" fmla="*/ 5731593 h 5973007"/>
              <a:gd name="connsiteX348" fmla="*/ 3238571 w 6884782"/>
              <a:gd name="connsiteY348" fmla="*/ 5731103 h 5973007"/>
              <a:gd name="connsiteX349" fmla="*/ 3243644 w 6884782"/>
              <a:gd name="connsiteY349" fmla="*/ 5734691 h 5973007"/>
              <a:gd name="connsiteX350" fmla="*/ 3242095 w 6884782"/>
              <a:gd name="connsiteY350" fmla="*/ 5756685 h 5973007"/>
              <a:gd name="connsiteX351" fmla="*/ 3235280 w 6884782"/>
              <a:gd name="connsiteY351" fmla="*/ 5747392 h 5973007"/>
              <a:gd name="connsiteX352" fmla="*/ 3232337 w 6884782"/>
              <a:gd name="connsiteY352" fmla="*/ 5733555 h 5973007"/>
              <a:gd name="connsiteX353" fmla="*/ 3238571 w 6884782"/>
              <a:gd name="connsiteY353" fmla="*/ 5731103 h 5973007"/>
              <a:gd name="connsiteX354" fmla="*/ 2743949 w 6884782"/>
              <a:gd name="connsiteY354" fmla="*/ 5729219 h 5973007"/>
              <a:gd name="connsiteX355" fmla="*/ 2746272 w 6884782"/>
              <a:gd name="connsiteY355" fmla="*/ 5735414 h 5973007"/>
              <a:gd name="connsiteX356" fmla="*/ 2743794 w 6884782"/>
              <a:gd name="connsiteY356" fmla="*/ 5735930 h 5973007"/>
              <a:gd name="connsiteX357" fmla="*/ 2740851 w 6884782"/>
              <a:gd name="connsiteY357" fmla="*/ 5735414 h 5973007"/>
              <a:gd name="connsiteX358" fmla="*/ 2743949 w 6884782"/>
              <a:gd name="connsiteY358" fmla="*/ 5729219 h 5973007"/>
              <a:gd name="connsiteX359" fmla="*/ 3271680 w 6884782"/>
              <a:gd name="connsiteY359" fmla="*/ 5728186 h 5973007"/>
              <a:gd name="connsiteX360" fmla="*/ 3273694 w 6884782"/>
              <a:gd name="connsiteY360" fmla="*/ 5729942 h 5973007"/>
              <a:gd name="connsiteX361" fmla="*/ 3272145 w 6884782"/>
              <a:gd name="connsiteY361" fmla="*/ 5732007 h 5973007"/>
              <a:gd name="connsiteX362" fmla="*/ 3269666 w 6884782"/>
              <a:gd name="connsiteY362" fmla="*/ 5732626 h 5973007"/>
              <a:gd name="connsiteX363" fmla="*/ 3268737 w 6884782"/>
              <a:gd name="connsiteY363" fmla="*/ 5731593 h 5973007"/>
              <a:gd name="connsiteX364" fmla="*/ 3267808 w 6884782"/>
              <a:gd name="connsiteY364" fmla="*/ 5729632 h 5973007"/>
              <a:gd name="connsiteX365" fmla="*/ 3271680 w 6884782"/>
              <a:gd name="connsiteY365" fmla="*/ 5728186 h 5973007"/>
              <a:gd name="connsiteX366" fmla="*/ 3211116 w 6884782"/>
              <a:gd name="connsiteY366" fmla="*/ 5727257 h 5973007"/>
              <a:gd name="connsiteX367" fmla="*/ 3219016 w 6884782"/>
              <a:gd name="connsiteY367" fmla="*/ 5735414 h 5973007"/>
              <a:gd name="connsiteX368" fmla="*/ 3223817 w 6884782"/>
              <a:gd name="connsiteY368" fmla="*/ 5747082 h 5973007"/>
              <a:gd name="connsiteX369" fmla="*/ 3213749 w 6884782"/>
              <a:gd name="connsiteY369" fmla="*/ 5739751 h 5973007"/>
              <a:gd name="connsiteX370" fmla="*/ 3211116 w 6884782"/>
              <a:gd name="connsiteY370" fmla="*/ 5727257 h 5973007"/>
              <a:gd name="connsiteX371" fmla="*/ 2761626 w 6884782"/>
              <a:gd name="connsiteY371" fmla="*/ 5723888 h 5973007"/>
              <a:gd name="connsiteX372" fmla="*/ 2769197 w 6884782"/>
              <a:gd name="connsiteY372" fmla="*/ 5726121 h 5973007"/>
              <a:gd name="connsiteX373" fmla="*/ 2759283 w 6884782"/>
              <a:gd name="connsiteY373" fmla="*/ 5736756 h 5973007"/>
              <a:gd name="connsiteX374" fmla="*/ 2754636 w 6884782"/>
              <a:gd name="connsiteY374" fmla="*/ 5735517 h 5973007"/>
              <a:gd name="connsiteX375" fmla="*/ 2754636 w 6884782"/>
              <a:gd name="connsiteY375" fmla="*/ 5728393 h 5973007"/>
              <a:gd name="connsiteX376" fmla="*/ 2761626 w 6884782"/>
              <a:gd name="connsiteY376" fmla="*/ 5723888 h 5973007"/>
              <a:gd name="connsiteX377" fmla="*/ 3358267 w 6884782"/>
              <a:gd name="connsiteY377" fmla="*/ 5723746 h 5973007"/>
              <a:gd name="connsiteX378" fmla="*/ 3358887 w 6884782"/>
              <a:gd name="connsiteY378" fmla="*/ 5724262 h 5973007"/>
              <a:gd name="connsiteX379" fmla="*/ 3360126 w 6884782"/>
              <a:gd name="connsiteY379" fmla="*/ 5723849 h 5973007"/>
              <a:gd name="connsiteX380" fmla="*/ 3362449 w 6884782"/>
              <a:gd name="connsiteY380" fmla="*/ 5727154 h 5973007"/>
              <a:gd name="connsiteX381" fmla="*/ 3362759 w 6884782"/>
              <a:gd name="connsiteY381" fmla="*/ 5729219 h 5973007"/>
              <a:gd name="connsiteX382" fmla="*/ 3361830 w 6884782"/>
              <a:gd name="connsiteY382" fmla="*/ 5730561 h 5973007"/>
              <a:gd name="connsiteX383" fmla="*/ 3359971 w 6884782"/>
              <a:gd name="connsiteY383" fmla="*/ 5730458 h 5973007"/>
              <a:gd name="connsiteX384" fmla="*/ 3356873 w 6884782"/>
              <a:gd name="connsiteY384" fmla="*/ 5728703 h 5973007"/>
              <a:gd name="connsiteX385" fmla="*/ 3356099 w 6884782"/>
              <a:gd name="connsiteY385" fmla="*/ 5726327 h 5973007"/>
              <a:gd name="connsiteX386" fmla="*/ 3357493 w 6884782"/>
              <a:gd name="connsiteY386" fmla="*/ 5725295 h 5973007"/>
              <a:gd name="connsiteX387" fmla="*/ 3358267 w 6884782"/>
              <a:gd name="connsiteY387" fmla="*/ 5723746 h 5973007"/>
              <a:gd name="connsiteX388" fmla="*/ 3325274 w 6884782"/>
              <a:gd name="connsiteY388" fmla="*/ 5723643 h 5973007"/>
              <a:gd name="connsiteX389" fmla="*/ 3317530 w 6884782"/>
              <a:gd name="connsiteY389" fmla="*/ 5740577 h 5973007"/>
              <a:gd name="connsiteX390" fmla="*/ 3325274 w 6884782"/>
              <a:gd name="connsiteY390" fmla="*/ 5723643 h 5973007"/>
              <a:gd name="connsiteX391" fmla="*/ 3197640 w 6884782"/>
              <a:gd name="connsiteY391" fmla="*/ 5722301 h 5973007"/>
              <a:gd name="connsiteX392" fmla="*/ 3200738 w 6884782"/>
              <a:gd name="connsiteY392" fmla="*/ 5725605 h 5973007"/>
              <a:gd name="connsiteX393" fmla="*/ 3190515 w 6884782"/>
              <a:gd name="connsiteY393" fmla="*/ 5739545 h 5973007"/>
              <a:gd name="connsiteX394" fmla="*/ 3187107 w 6884782"/>
              <a:gd name="connsiteY394" fmla="*/ 5739235 h 5973007"/>
              <a:gd name="connsiteX395" fmla="*/ 3197640 w 6884782"/>
              <a:gd name="connsiteY395" fmla="*/ 5722301 h 5973007"/>
              <a:gd name="connsiteX396" fmla="*/ 2856093 w 6884782"/>
              <a:gd name="connsiteY396" fmla="*/ 5720236 h 5973007"/>
              <a:gd name="connsiteX397" fmla="*/ 2859656 w 6884782"/>
              <a:gd name="connsiteY397" fmla="*/ 5724882 h 5973007"/>
              <a:gd name="connsiteX398" fmla="*/ 2861825 w 6884782"/>
              <a:gd name="connsiteY398" fmla="*/ 5723230 h 5973007"/>
              <a:gd name="connsiteX399" fmla="*/ 2867246 w 6884782"/>
              <a:gd name="connsiteY399" fmla="*/ 5723023 h 5973007"/>
              <a:gd name="connsiteX400" fmla="*/ 2868640 w 6884782"/>
              <a:gd name="connsiteY400" fmla="*/ 5726327 h 5973007"/>
              <a:gd name="connsiteX401" fmla="*/ 2865542 w 6884782"/>
              <a:gd name="connsiteY401" fmla="*/ 5730871 h 5973007"/>
              <a:gd name="connsiteX402" fmla="*/ 2864458 w 6884782"/>
              <a:gd name="connsiteY402" fmla="*/ 5730974 h 5973007"/>
              <a:gd name="connsiteX403" fmla="*/ 2864458 w 6884782"/>
              <a:gd name="connsiteY403" fmla="*/ 5731181 h 5973007"/>
              <a:gd name="connsiteX404" fmla="*/ 2857178 w 6884782"/>
              <a:gd name="connsiteY404" fmla="*/ 5737376 h 5973007"/>
              <a:gd name="connsiteX405" fmla="*/ 2846799 w 6884782"/>
              <a:gd name="connsiteY405" fmla="*/ 5729735 h 5973007"/>
              <a:gd name="connsiteX406" fmla="*/ 2856093 w 6884782"/>
              <a:gd name="connsiteY406" fmla="*/ 5720236 h 5973007"/>
              <a:gd name="connsiteX407" fmla="*/ 3230478 w 6884782"/>
              <a:gd name="connsiteY407" fmla="*/ 5719719 h 5973007"/>
              <a:gd name="connsiteX408" fmla="*/ 3234505 w 6884782"/>
              <a:gd name="connsiteY408" fmla="*/ 5720752 h 5973007"/>
              <a:gd name="connsiteX409" fmla="*/ 3230942 w 6884782"/>
              <a:gd name="connsiteY409" fmla="*/ 5722404 h 5973007"/>
              <a:gd name="connsiteX410" fmla="*/ 3230478 w 6884782"/>
              <a:gd name="connsiteY410" fmla="*/ 5719719 h 5973007"/>
              <a:gd name="connsiteX411" fmla="*/ 3177968 w 6884782"/>
              <a:gd name="connsiteY411" fmla="*/ 5718996 h 5973007"/>
              <a:gd name="connsiteX412" fmla="*/ 3183234 w 6884782"/>
              <a:gd name="connsiteY412" fmla="*/ 5724366 h 5973007"/>
              <a:gd name="connsiteX413" fmla="*/ 3178587 w 6884782"/>
              <a:gd name="connsiteY413" fmla="*/ 5733349 h 5973007"/>
              <a:gd name="connsiteX414" fmla="*/ 3174715 w 6884782"/>
              <a:gd name="connsiteY414" fmla="*/ 5733143 h 5973007"/>
              <a:gd name="connsiteX415" fmla="*/ 3169294 w 6884782"/>
              <a:gd name="connsiteY415" fmla="*/ 5729012 h 5973007"/>
              <a:gd name="connsiteX416" fmla="*/ 3177968 w 6884782"/>
              <a:gd name="connsiteY416" fmla="*/ 5718996 h 5973007"/>
              <a:gd name="connsiteX417" fmla="*/ 3028338 w 6884782"/>
              <a:gd name="connsiteY417" fmla="*/ 5717654 h 5973007"/>
              <a:gd name="connsiteX418" fmla="*/ 3036858 w 6884782"/>
              <a:gd name="connsiteY418" fmla="*/ 5724159 h 5973007"/>
              <a:gd name="connsiteX419" fmla="*/ 3037167 w 6884782"/>
              <a:gd name="connsiteY419" fmla="*/ 5726534 h 5973007"/>
              <a:gd name="connsiteX420" fmla="*/ 3038097 w 6884782"/>
              <a:gd name="connsiteY420" fmla="*/ 5728186 h 5973007"/>
              <a:gd name="connsiteX421" fmla="*/ 3037322 w 6884782"/>
              <a:gd name="connsiteY421" fmla="*/ 5734072 h 5973007"/>
              <a:gd name="connsiteX422" fmla="*/ 3027099 w 6884782"/>
              <a:gd name="connsiteY422" fmla="*/ 5721165 h 5973007"/>
              <a:gd name="connsiteX423" fmla="*/ 3026789 w 6884782"/>
              <a:gd name="connsiteY423" fmla="*/ 5719203 h 5973007"/>
              <a:gd name="connsiteX424" fmla="*/ 3028338 w 6884782"/>
              <a:gd name="connsiteY424" fmla="*/ 5717654 h 5973007"/>
              <a:gd name="connsiteX425" fmla="*/ 2956157 w 6884782"/>
              <a:gd name="connsiteY425" fmla="*/ 5713730 h 5973007"/>
              <a:gd name="connsiteX426" fmla="*/ 2964521 w 6884782"/>
              <a:gd name="connsiteY426" fmla="*/ 5745017 h 5973007"/>
              <a:gd name="connsiteX427" fmla="*/ 2953214 w 6884782"/>
              <a:gd name="connsiteY427" fmla="*/ 5731490 h 5973007"/>
              <a:gd name="connsiteX428" fmla="*/ 2956157 w 6884782"/>
              <a:gd name="connsiteY428" fmla="*/ 5713730 h 5973007"/>
              <a:gd name="connsiteX429" fmla="*/ 3130415 w 6884782"/>
              <a:gd name="connsiteY429" fmla="*/ 5712491 h 5973007"/>
              <a:gd name="connsiteX430" fmla="*/ 3133203 w 6884782"/>
              <a:gd name="connsiteY430" fmla="*/ 5716312 h 5973007"/>
              <a:gd name="connsiteX431" fmla="*/ 3132119 w 6884782"/>
              <a:gd name="connsiteY431" fmla="*/ 5719719 h 5973007"/>
              <a:gd name="connsiteX432" fmla="*/ 3132738 w 6884782"/>
              <a:gd name="connsiteY432" fmla="*/ 5719616 h 5973007"/>
              <a:gd name="connsiteX433" fmla="*/ 3132584 w 6884782"/>
              <a:gd name="connsiteY433" fmla="*/ 5720236 h 5973007"/>
              <a:gd name="connsiteX434" fmla="*/ 3135836 w 6884782"/>
              <a:gd name="connsiteY434" fmla="*/ 5721268 h 5973007"/>
              <a:gd name="connsiteX435" fmla="*/ 3133358 w 6884782"/>
              <a:gd name="connsiteY435" fmla="*/ 5725088 h 5973007"/>
              <a:gd name="connsiteX436" fmla="*/ 3131034 w 6884782"/>
              <a:gd name="connsiteY436" fmla="*/ 5722507 h 5973007"/>
              <a:gd name="connsiteX437" fmla="*/ 3131499 w 6884782"/>
              <a:gd name="connsiteY437" fmla="*/ 5721165 h 5973007"/>
              <a:gd name="connsiteX438" fmla="*/ 3131809 w 6884782"/>
              <a:gd name="connsiteY438" fmla="*/ 5719822 h 5973007"/>
              <a:gd name="connsiteX439" fmla="*/ 3130415 w 6884782"/>
              <a:gd name="connsiteY439" fmla="*/ 5719100 h 5973007"/>
              <a:gd name="connsiteX440" fmla="*/ 3126387 w 6884782"/>
              <a:gd name="connsiteY440" fmla="*/ 5716828 h 5973007"/>
              <a:gd name="connsiteX441" fmla="*/ 3130415 w 6884782"/>
              <a:gd name="connsiteY441" fmla="*/ 5712491 h 5973007"/>
              <a:gd name="connsiteX442" fmla="*/ 2980940 w 6884782"/>
              <a:gd name="connsiteY442" fmla="*/ 5709393 h 5973007"/>
              <a:gd name="connsiteX443" fmla="*/ 2980785 w 6884782"/>
              <a:gd name="connsiteY443" fmla="*/ 5714556 h 5973007"/>
              <a:gd name="connsiteX444" fmla="*/ 2978616 w 6884782"/>
              <a:gd name="connsiteY444" fmla="*/ 5716312 h 5973007"/>
              <a:gd name="connsiteX445" fmla="*/ 2975828 w 6884782"/>
              <a:gd name="connsiteY445" fmla="*/ 5714866 h 5973007"/>
              <a:gd name="connsiteX446" fmla="*/ 2974434 w 6884782"/>
              <a:gd name="connsiteY446" fmla="*/ 5711459 h 5973007"/>
              <a:gd name="connsiteX447" fmla="*/ 2980940 w 6884782"/>
              <a:gd name="connsiteY447" fmla="*/ 5709393 h 5973007"/>
              <a:gd name="connsiteX448" fmla="*/ 3202441 w 6884782"/>
              <a:gd name="connsiteY448" fmla="*/ 5708258 h 5973007"/>
              <a:gd name="connsiteX449" fmla="*/ 3200273 w 6884782"/>
              <a:gd name="connsiteY449" fmla="*/ 5718171 h 5973007"/>
              <a:gd name="connsiteX450" fmla="*/ 3194697 w 6884782"/>
              <a:gd name="connsiteY450" fmla="*/ 5715073 h 5973007"/>
              <a:gd name="connsiteX451" fmla="*/ 3202441 w 6884782"/>
              <a:gd name="connsiteY451" fmla="*/ 5708258 h 5973007"/>
              <a:gd name="connsiteX452" fmla="*/ 3249220 w 6884782"/>
              <a:gd name="connsiteY452" fmla="*/ 5707742 h 5973007"/>
              <a:gd name="connsiteX453" fmla="*/ 3256500 w 6884782"/>
              <a:gd name="connsiteY453" fmla="*/ 5709704 h 5973007"/>
              <a:gd name="connsiteX454" fmla="*/ 3255261 w 6884782"/>
              <a:gd name="connsiteY454" fmla="*/ 5714040 h 5973007"/>
              <a:gd name="connsiteX455" fmla="*/ 3243024 w 6884782"/>
              <a:gd name="connsiteY455" fmla="*/ 5718377 h 5973007"/>
              <a:gd name="connsiteX456" fmla="*/ 3244728 w 6884782"/>
              <a:gd name="connsiteY456" fmla="*/ 5710323 h 5973007"/>
              <a:gd name="connsiteX457" fmla="*/ 3249220 w 6884782"/>
              <a:gd name="connsiteY457" fmla="*/ 5707742 h 5973007"/>
              <a:gd name="connsiteX458" fmla="*/ 2961423 w 6884782"/>
              <a:gd name="connsiteY458" fmla="*/ 5705573 h 5973007"/>
              <a:gd name="connsiteX459" fmla="*/ 2962043 w 6884782"/>
              <a:gd name="connsiteY459" fmla="*/ 5707328 h 5973007"/>
              <a:gd name="connsiteX460" fmla="*/ 2960958 w 6884782"/>
              <a:gd name="connsiteY460" fmla="*/ 5710013 h 5973007"/>
              <a:gd name="connsiteX461" fmla="*/ 2957396 w 6884782"/>
              <a:gd name="connsiteY461" fmla="*/ 5710839 h 5973007"/>
              <a:gd name="connsiteX462" fmla="*/ 2956776 w 6884782"/>
              <a:gd name="connsiteY462" fmla="*/ 5709084 h 5973007"/>
              <a:gd name="connsiteX463" fmla="*/ 2956931 w 6884782"/>
              <a:gd name="connsiteY463" fmla="*/ 5706399 h 5973007"/>
              <a:gd name="connsiteX464" fmla="*/ 2961423 w 6884782"/>
              <a:gd name="connsiteY464" fmla="*/ 5705573 h 5973007"/>
              <a:gd name="connsiteX465" fmla="*/ 3273694 w 6884782"/>
              <a:gd name="connsiteY465" fmla="*/ 5702682 h 5973007"/>
              <a:gd name="connsiteX466" fmla="*/ 3275243 w 6884782"/>
              <a:gd name="connsiteY466" fmla="*/ 5710323 h 5973007"/>
              <a:gd name="connsiteX467" fmla="*/ 3273694 w 6884782"/>
              <a:gd name="connsiteY467" fmla="*/ 5702682 h 5973007"/>
              <a:gd name="connsiteX468" fmla="*/ 3466075 w 6884782"/>
              <a:gd name="connsiteY468" fmla="*/ 5701753 h 5973007"/>
              <a:gd name="connsiteX469" fmla="*/ 3464526 w 6884782"/>
              <a:gd name="connsiteY469" fmla="*/ 5707535 h 5973007"/>
              <a:gd name="connsiteX470" fmla="*/ 3458795 w 6884782"/>
              <a:gd name="connsiteY470" fmla="*/ 5719410 h 5973007"/>
              <a:gd name="connsiteX471" fmla="*/ 3456626 w 6884782"/>
              <a:gd name="connsiteY471" fmla="*/ 5720132 h 5973007"/>
              <a:gd name="connsiteX472" fmla="*/ 3456317 w 6884782"/>
              <a:gd name="connsiteY472" fmla="*/ 5720855 h 5973007"/>
              <a:gd name="connsiteX473" fmla="*/ 3455232 w 6884782"/>
              <a:gd name="connsiteY473" fmla="*/ 5721061 h 5973007"/>
              <a:gd name="connsiteX474" fmla="*/ 3454458 w 6884782"/>
              <a:gd name="connsiteY474" fmla="*/ 5720752 h 5973007"/>
              <a:gd name="connsiteX475" fmla="*/ 3455697 w 6884782"/>
              <a:gd name="connsiteY475" fmla="*/ 5715795 h 5973007"/>
              <a:gd name="connsiteX476" fmla="*/ 3457401 w 6884782"/>
              <a:gd name="connsiteY476" fmla="*/ 5711975 h 5973007"/>
              <a:gd name="connsiteX477" fmla="*/ 3466075 w 6884782"/>
              <a:gd name="connsiteY477" fmla="*/ 5701753 h 5973007"/>
              <a:gd name="connsiteX478" fmla="*/ 2873907 w 6884782"/>
              <a:gd name="connsiteY478" fmla="*/ 5700926 h 5973007"/>
              <a:gd name="connsiteX479" fmla="*/ 2874061 w 6884782"/>
              <a:gd name="connsiteY479" fmla="*/ 5714453 h 5973007"/>
              <a:gd name="connsiteX480" fmla="*/ 2866936 w 6884782"/>
              <a:gd name="connsiteY480" fmla="*/ 5701340 h 5973007"/>
              <a:gd name="connsiteX481" fmla="*/ 2873907 w 6884782"/>
              <a:gd name="connsiteY481" fmla="*/ 5700926 h 5973007"/>
              <a:gd name="connsiteX482" fmla="*/ 3370659 w 6884782"/>
              <a:gd name="connsiteY482" fmla="*/ 5697003 h 5973007"/>
              <a:gd name="connsiteX483" fmla="*/ 3378404 w 6884782"/>
              <a:gd name="connsiteY483" fmla="*/ 5698552 h 5973007"/>
              <a:gd name="connsiteX484" fmla="*/ 3380108 w 6884782"/>
              <a:gd name="connsiteY484" fmla="*/ 5707225 h 5973007"/>
              <a:gd name="connsiteX485" fmla="*/ 3370814 w 6884782"/>
              <a:gd name="connsiteY485" fmla="*/ 5701546 h 5973007"/>
              <a:gd name="connsiteX486" fmla="*/ 3370659 w 6884782"/>
              <a:gd name="connsiteY486" fmla="*/ 5697003 h 5973007"/>
              <a:gd name="connsiteX487" fmla="*/ 3277644 w 6884782"/>
              <a:gd name="connsiteY487" fmla="*/ 5694525 h 5973007"/>
              <a:gd name="connsiteX488" fmla="*/ 3282368 w 6884782"/>
              <a:gd name="connsiteY488" fmla="*/ 5694835 h 5973007"/>
              <a:gd name="connsiteX489" fmla="*/ 3276947 w 6884782"/>
              <a:gd name="connsiteY489" fmla="*/ 5701959 h 5973007"/>
              <a:gd name="connsiteX490" fmla="*/ 3275708 w 6884782"/>
              <a:gd name="connsiteY490" fmla="*/ 5698552 h 5973007"/>
              <a:gd name="connsiteX491" fmla="*/ 3277644 w 6884782"/>
              <a:gd name="connsiteY491" fmla="*/ 5694525 h 5973007"/>
              <a:gd name="connsiteX492" fmla="*/ 3558083 w 6884782"/>
              <a:gd name="connsiteY492" fmla="*/ 5692976 h 5973007"/>
              <a:gd name="connsiteX493" fmla="*/ 3557154 w 6884782"/>
              <a:gd name="connsiteY493" fmla="*/ 5699997 h 5973007"/>
              <a:gd name="connsiteX494" fmla="*/ 3538412 w 6884782"/>
              <a:gd name="connsiteY494" fmla="*/ 5715589 h 5973007"/>
              <a:gd name="connsiteX495" fmla="*/ 3535314 w 6884782"/>
              <a:gd name="connsiteY495" fmla="*/ 5711046 h 5973007"/>
              <a:gd name="connsiteX496" fmla="*/ 3536553 w 6884782"/>
              <a:gd name="connsiteY496" fmla="*/ 5704024 h 5973007"/>
              <a:gd name="connsiteX497" fmla="*/ 3558083 w 6884782"/>
              <a:gd name="connsiteY497" fmla="*/ 5692976 h 5973007"/>
              <a:gd name="connsiteX498" fmla="*/ 3002626 w 6884782"/>
              <a:gd name="connsiteY498" fmla="*/ 5692563 h 5973007"/>
              <a:gd name="connsiteX499" fmla="*/ 2994726 w 6884782"/>
              <a:gd name="connsiteY499" fmla="*/ 5715073 h 5973007"/>
              <a:gd name="connsiteX500" fmla="*/ 3002626 w 6884782"/>
              <a:gd name="connsiteY500" fmla="*/ 5692563 h 5973007"/>
              <a:gd name="connsiteX501" fmla="*/ 2935865 w 6884782"/>
              <a:gd name="connsiteY501" fmla="*/ 5692150 h 5973007"/>
              <a:gd name="connsiteX502" fmla="*/ 2936639 w 6884782"/>
              <a:gd name="connsiteY502" fmla="*/ 5692150 h 5973007"/>
              <a:gd name="connsiteX503" fmla="*/ 2934006 w 6884782"/>
              <a:gd name="connsiteY503" fmla="*/ 5702682 h 5973007"/>
              <a:gd name="connsiteX504" fmla="*/ 2932458 w 6884782"/>
              <a:gd name="connsiteY504" fmla="*/ 5703611 h 5973007"/>
              <a:gd name="connsiteX505" fmla="*/ 2930599 w 6884782"/>
              <a:gd name="connsiteY505" fmla="*/ 5702682 h 5973007"/>
              <a:gd name="connsiteX506" fmla="*/ 2929514 w 6884782"/>
              <a:gd name="connsiteY506" fmla="*/ 5701030 h 5973007"/>
              <a:gd name="connsiteX507" fmla="*/ 2931063 w 6884782"/>
              <a:gd name="connsiteY507" fmla="*/ 5698242 h 5973007"/>
              <a:gd name="connsiteX508" fmla="*/ 2934781 w 6884782"/>
              <a:gd name="connsiteY508" fmla="*/ 5694835 h 5973007"/>
              <a:gd name="connsiteX509" fmla="*/ 2935865 w 6884782"/>
              <a:gd name="connsiteY509" fmla="*/ 5692150 h 5973007"/>
              <a:gd name="connsiteX510" fmla="*/ 3167590 w 6884782"/>
              <a:gd name="connsiteY510" fmla="*/ 5691840 h 5973007"/>
              <a:gd name="connsiteX511" fmla="*/ 3152565 w 6884782"/>
              <a:gd name="connsiteY511" fmla="*/ 5712904 h 5973007"/>
              <a:gd name="connsiteX512" fmla="*/ 3167590 w 6884782"/>
              <a:gd name="connsiteY512" fmla="*/ 5691840 h 5973007"/>
              <a:gd name="connsiteX513" fmla="*/ 3296464 w 6884782"/>
              <a:gd name="connsiteY513" fmla="*/ 5688226 h 5973007"/>
              <a:gd name="connsiteX514" fmla="*/ 3307771 w 6884782"/>
              <a:gd name="connsiteY514" fmla="*/ 5699068 h 5973007"/>
              <a:gd name="connsiteX515" fmla="*/ 3305602 w 6884782"/>
              <a:gd name="connsiteY515" fmla="*/ 5704127 h 5973007"/>
              <a:gd name="connsiteX516" fmla="*/ 3296464 w 6884782"/>
              <a:gd name="connsiteY516" fmla="*/ 5688226 h 5973007"/>
              <a:gd name="connsiteX517" fmla="*/ 3178278 w 6884782"/>
              <a:gd name="connsiteY517" fmla="*/ 5686781 h 5973007"/>
              <a:gd name="connsiteX518" fmla="*/ 3186023 w 6884782"/>
              <a:gd name="connsiteY518" fmla="*/ 5686884 h 5973007"/>
              <a:gd name="connsiteX519" fmla="*/ 3186797 w 6884782"/>
              <a:gd name="connsiteY519" fmla="*/ 5688639 h 5973007"/>
              <a:gd name="connsiteX520" fmla="*/ 3187107 w 6884782"/>
              <a:gd name="connsiteY520" fmla="*/ 5693079 h 5973007"/>
              <a:gd name="connsiteX521" fmla="*/ 3184319 w 6884782"/>
              <a:gd name="connsiteY521" fmla="*/ 5694628 h 5973007"/>
              <a:gd name="connsiteX522" fmla="*/ 3181221 w 6884782"/>
              <a:gd name="connsiteY522" fmla="*/ 5692976 h 5973007"/>
              <a:gd name="connsiteX523" fmla="*/ 3179362 w 6884782"/>
              <a:gd name="connsiteY523" fmla="*/ 5689878 h 5973007"/>
              <a:gd name="connsiteX524" fmla="*/ 3178278 w 6884782"/>
              <a:gd name="connsiteY524" fmla="*/ 5686781 h 5973007"/>
              <a:gd name="connsiteX525" fmla="*/ 2959874 w 6884782"/>
              <a:gd name="connsiteY525" fmla="*/ 5685542 h 5973007"/>
              <a:gd name="connsiteX526" fmla="*/ 2960648 w 6884782"/>
              <a:gd name="connsiteY526" fmla="*/ 5687090 h 5973007"/>
              <a:gd name="connsiteX527" fmla="*/ 2961113 w 6884782"/>
              <a:gd name="connsiteY527" fmla="*/ 5689465 h 5973007"/>
              <a:gd name="connsiteX528" fmla="*/ 2962507 w 6884782"/>
              <a:gd name="connsiteY528" fmla="*/ 5690394 h 5973007"/>
              <a:gd name="connsiteX529" fmla="*/ 2961888 w 6884782"/>
              <a:gd name="connsiteY529" fmla="*/ 5697209 h 5973007"/>
              <a:gd name="connsiteX530" fmla="*/ 2960958 w 6884782"/>
              <a:gd name="connsiteY530" fmla="*/ 5695557 h 5973007"/>
              <a:gd name="connsiteX531" fmla="*/ 2960648 w 6884782"/>
              <a:gd name="connsiteY531" fmla="*/ 5693286 h 5973007"/>
              <a:gd name="connsiteX532" fmla="*/ 2960184 w 6884782"/>
              <a:gd name="connsiteY532" fmla="*/ 5690911 h 5973007"/>
              <a:gd name="connsiteX533" fmla="*/ 2959254 w 6884782"/>
              <a:gd name="connsiteY533" fmla="*/ 5689362 h 5973007"/>
              <a:gd name="connsiteX534" fmla="*/ 2959874 w 6884782"/>
              <a:gd name="connsiteY534" fmla="*/ 5685542 h 5973007"/>
              <a:gd name="connsiteX535" fmla="*/ 3468089 w 6884782"/>
              <a:gd name="connsiteY535" fmla="*/ 5684096 h 5973007"/>
              <a:gd name="connsiteX536" fmla="*/ 3471961 w 6884782"/>
              <a:gd name="connsiteY536" fmla="*/ 5698861 h 5973007"/>
              <a:gd name="connsiteX537" fmla="*/ 3469018 w 6884782"/>
              <a:gd name="connsiteY537" fmla="*/ 5699997 h 5973007"/>
              <a:gd name="connsiteX538" fmla="*/ 3466385 w 6884782"/>
              <a:gd name="connsiteY538" fmla="*/ 5699997 h 5973007"/>
              <a:gd name="connsiteX539" fmla="*/ 3460964 w 6884782"/>
              <a:gd name="connsiteY539" fmla="*/ 5687607 h 5973007"/>
              <a:gd name="connsiteX540" fmla="*/ 3468089 w 6884782"/>
              <a:gd name="connsiteY540" fmla="*/ 5684096 h 5973007"/>
              <a:gd name="connsiteX541" fmla="*/ 3479861 w 6884782"/>
              <a:gd name="connsiteY541" fmla="*/ 5682857 h 5973007"/>
              <a:gd name="connsiteX542" fmla="*/ 3487141 w 6884782"/>
              <a:gd name="connsiteY542" fmla="*/ 5691117 h 5973007"/>
              <a:gd name="connsiteX543" fmla="*/ 3479861 w 6884782"/>
              <a:gd name="connsiteY543" fmla="*/ 5682857 h 5973007"/>
              <a:gd name="connsiteX544" fmla="*/ 3274623 w 6884782"/>
              <a:gd name="connsiteY544" fmla="*/ 5682134 h 5973007"/>
              <a:gd name="connsiteX545" fmla="*/ 3264400 w 6884782"/>
              <a:gd name="connsiteY545" fmla="*/ 5694628 h 5973007"/>
              <a:gd name="connsiteX546" fmla="*/ 3274623 w 6884782"/>
              <a:gd name="connsiteY546" fmla="*/ 5682134 h 5973007"/>
              <a:gd name="connsiteX547" fmla="*/ 3245038 w 6884782"/>
              <a:gd name="connsiteY547" fmla="*/ 5681927 h 5973007"/>
              <a:gd name="connsiteX548" fmla="*/ 3251698 w 6884782"/>
              <a:gd name="connsiteY548" fmla="*/ 5695041 h 5973007"/>
              <a:gd name="connsiteX549" fmla="*/ 3247516 w 6884782"/>
              <a:gd name="connsiteY549" fmla="*/ 5698242 h 5973007"/>
              <a:gd name="connsiteX550" fmla="*/ 3238532 w 6884782"/>
              <a:gd name="connsiteY550" fmla="*/ 5686574 h 5973007"/>
              <a:gd name="connsiteX551" fmla="*/ 3245038 w 6884782"/>
              <a:gd name="connsiteY551" fmla="*/ 5681927 h 5973007"/>
              <a:gd name="connsiteX552" fmla="*/ 2922854 w 6884782"/>
              <a:gd name="connsiteY552" fmla="*/ 5680688 h 5973007"/>
              <a:gd name="connsiteX553" fmla="*/ 2923473 w 6884782"/>
              <a:gd name="connsiteY553" fmla="*/ 5682134 h 5973007"/>
              <a:gd name="connsiteX554" fmla="*/ 2926726 w 6884782"/>
              <a:gd name="connsiteY554" fmla="*/ 5682547 h 5973007"/>
              <a:gd name="connsiteX555" fmla="*/ 2931063 w 6884782"/>
              <a:gd name="connsiteY555" fmla="*/ 5680895 h 5973007"/>
              <a:gd name="connsiteX556" fmla="*/ 2925642 w 6884782"/>
              <a:gd name="connsiteY556" fmla="*/ 5684199 h 5973007"/>
              <a:gd name="connsiteX557" fmla="*/ 2925177 w 6884782"/>
              <a:gd name="connsiteY557" fmla="*/ 5685335 h 5973007"/>
              <a:gd name="connsiteX558" fmla="*/ 2925332 w 6884782"/>
              <a:gd name="connsiteY558" fmla="*/ 5685542 h 5973007"/>
              <a:gd name="connsiteX559" fmla="*/ 2925022 w 6884782"/>
              <a:gd name="connsiteY559" fmla="*/ 5685851 h 5973007"/>
              <a:gd name="connsiteX560" fmla="*/ 2924557 w 6884782"/>
              <a:gd name="connsiteY560" fmla="*/ 5686781 h 5973007"/>
              <a:gd name="connsiteX561" fmla="*/ 2924248 w 6884782"/>
              <a:gd name="connsiteY561" fmla="*/ 5686884 h 5973007"/>
              <a:gd name="connsiteX562" fmla="*/ 2923164 w 6884782"/>
              <a:gd name="connsiteY562" fmla="*/ 5688949 h 5973007"/>
              <a:gd name="connsiteX563" fmla="*/ 2921614 w 6884782"/>
              <a:gd name="connsiteY563" fmla="*/ 5692769 h 5973007"/>
              <a:gd name="connsiteX564" fmla="*/ 2919446 w 6884782"/>
              <a:gd name="connsiteY564" fmla="*/ 5693079 h 5973007"/>
              <a:gd name="connsiteX565" fmla="*/ 2918207 w 6884782"/>
              <a:gd name="connsiteY565" fmla="*/ 5690704 h 5973007"/>
              <a:gd name="connsiteX566" fmla="*/ 2918981 w 6884782"/>
              <a:gd name="connsiteY566" fmla="*/ 5687400 h 5973007"/>
              <a:gd name="connsiteX567" fmla="*/ 2918517 w 6884782"/>
              <a:gd name="connsiteY567" fmla="*/ 5686574 h 5973007"/>
              <a:gd name="connsiteX568" fmla="*/ 2919756 w 6884782"/>
              <a:gd name="connsiteY568" fmla="*/ 5684096 h 5973007"/>
              <a:gd name="connsiteX569" fmla="*/ 2920685 w 6884782"/>
              <a:gd name="connsiteY569" fmla="*/ 5683476 h 5973007"/>
              <a:gd name="connsiteX570" fmla="*/ 3260683 w 6884782"/>
              <a:gd name="connsiteY570" fmla="*/ 5678314 h 5973007"/>
              <a:gd name="connsiteX571" fmla="*/ 3265175 w 6884782"/>
              <a:gd name="connsiteY571" fmla="*/ 5685025 h 5973007"/>
              <a:gd name="connsiteX572" fmla="*/ 3263626 w 6884782"/>
              <a:gd name="connsiteY572" fmla="*/ 5687090 h 5973007"/>
              <a:gd name="connsiteX573" fmla="*/ 3258049 w 6884782"/>
              <a:gd name="connsiteY573" fmla="*/ 5684096 h 5973007"/>
              <a:gd name="connsiteX574" fmla="*/ 3257895 w 6884782"/>
              <a:gd name="connsiteY574" fmla="*/ 5681205 h 5973007"/>
              <a:gd name="connsiteX575" fmla="*/ 3260683 w 6884782"/>
              <a:gd name="connsiteY575" fmla="*/ 5678314 h 5973007"/>
              <a:gd name="connsiteX576" fmla="*/ 3454613 w 6884782"/>
              <a:gd name="connsiteY576" fmla="*/ 5676971 h 5973007"/>
              <a:gd name="connsiteX577" fmla="*/ 3451980 w 6884782"/>
              <a:gd name="connsiteY577" fmla="*/ 5697313 h 5973007"/>
              <a:gd name="connsiteX578" fmla="*/ 3435715 w 6884782"/>
              <a:gd name="connsiteY578" fmla="*/ 5712078 h 5973007"/>
              <a:gd name="connsiteX579" fmla="*/ 3436335 w 6884782"/>
              <a:gd name="connsiteY579" fmla="*/ 5702166 h 5973007"/>
              <a:gd name="connsiteX580" fmla="*/ 3438968 w 6884782"/>
              <a:gd name="connsiteY580" fmla="*/ 5695557 h 5973007"/>
              <a:gd name="connsiteX581" fmla="*/ 3440053 w 6884782"/>
              <a:gd name="connsiteY581" fmla="*/ 5693905 h 5973007"/>
              <a:gd name="connsiteX582" fmla="*/ 3440053 w 6884782"/>
              <a:gd name="connsiteY582" fmla="*/ 5693182 h 5973007"/>
              <a:gd name="connsiteX583" fmla="*/ 3444390 w 6884782"/>
              <a:gd name="connsiteY583" fmla="*/ 5686368 h 5973007"/>
              <a:gd name="connsiteX584" fmla="*/ 3454613 w 6884782"/>
              <a:gd name="connsiteY584" fmla="*/ 5676971 h 5973007"/>
              <a:gd name="connsiteX585" fmla="*/ 2846180 w 6884782"/>
              <a:gd name="connsiteY585" fmla="*/ 5676765 h 5973007"/>
              <a:gd name="connsiteX586" fmla="*/ 2857178 w 6884782"/>
              <a:gd name="connsiteY586" fmla="*/ 5682134 h 5973007"/>
              <a:gd name="connsiteX587" fmla="*/ 2854700 w 6884782"/>
              <a:gd name="connsiteY587" fmla="*/ 5682341 h 5973007"/>
              <a:gd name="connsiteX588" fmla="*/ 2846180 w 6884782"/>
              <a:gd name="connsiteY588" fmla="*/ 5676765 h 5973007"/>
              <a:gd name="connsiteX589" fmla="*/ 3497519 w 6884782"/>
              <a:gd name="connsiteY589" fmla="*/ 5675629 h 5973007"/>
              <a:gd name="connsiteX590" fmla="*/ 3506193 w 6884782"/>
              <a:gd name="connsiteY590" fmla="*/ 5686471 h 5973007"/>
              <a:gd name="connsiteX591" fmla="*/ 3501701 w 6884782"/>
              <a:gd name="connsiteY591" fmla="*/ 5689258 h 5973007"/>
              <a:gd name="connsiteX592" fmla="*/ 3492872 w 6884782"/>
              <a:gd name="connsiteY592" fmla="*/ 5680791 h 5973007"/>
              <a:gd name="connsiteX593" fmla="*/ 3497519 w 6884782"/>
              <a:gd name="connsiteY593" fmla="*/ 5675629 h 5973007"/>
              <a:gd name="connsiteX594" fmla="*/ 2990544 w 6884782"/>
              <a:gd name="connsiteY594" fmla="*/ 5675113 h 5973007"/>
              <a:gd name="connsiteX595" fmla="*/ 2991008 w 6884782"/>
              <a:gd name="connsiteY595" fmla="*/ 5677591 h 5973007"/>
              <a:gd name="connsiteX596" fmla="*/ 2992402 w 6884782"/>
              <a:gd name="connsiteY596" fmla="*/ 5678520 h 5973007"/>
              <a:gd name="connsiteX597" fmla="*/ 2991628 w 6884782"/>
              <a:gd name="connsiteY597" fmla="*/ 5681205 h 5973007"/>
              <a:gd name="connsiteX598" fmla="*/ 2990544 w 6884782"/>
              <a:gd name="connsiteY598" fmla="*/ 5675113 h 5973007"/>
              <a:gd name="connsiteX599" fmla="*/ 3426422 w 6884782"/>
              <a:gd name="connsiteY599" fmla="*/ 5674906 h 5973007"/>
              <a:gd name="connsiteX600" fmla="*/ 3440207 w 6884782"/>
              <a:gd name="connsiteY600" fmla="*/ 5687090 h 5973007"/>
              <a:gd name="connsiteX601" fmla="*/ 3440053 w 6884782"/>
              <a:gd name="connsiteY601" fmla="*/ 5693182 h 5973007"/>
              <a:gd name="connsiteX602" fmla="*/ 3439588 w 6884782"/>
              <a:gd name="connsiteY602" fmla="*/ 5694009 h 5973007"/>
              <a:gd name="connsiteX603" fmla="*/ 3438968 w 6884782"/>
              <a:gd name="connsiteY603" fmla="*/ 5695557 h 5973007"/>
              <a:gd name="connsiteX604" fmla="*/ 3435251 w 6884782"/>
              <a:gd name="connsiteY604" fmla="*/ 5701030 h 5973007"/>
              <a:gd name="connsiteX605" fmla="*/ 3422859 w 6884782"/>
              <a:gd name="connsiteY605" fmla="*/ 5682444 h 5973007"/>
              <a:gd name="connsiteX606" fmla="*/ 3426422 w 6884782"/>
              <a:gd name="connsiteY606" fmla="*/ 5674906 h 5973007"/>
              <a:gd name="connsiteX607" fmla="*/ 3183234 w 6884782"/>
              <a:gd name="connsiteY607" fmla="*/ 5673874 h 5973007"/>
              <a:gd name="connsiteX608" fmla="*/ 3185713 w 6884782"/>
              <a:gd name="connsiteY608" fmla="*/ 5674390 h 5973007"/>
              <a:gd name="connsiteX609" fmla="*/ 3182925 w 6884782"/>
              <a:gd name="connsiteY609" fmla="*/ 5675835 h 5973007"/>
              <a:gd name="connsiteX610" fmla="*/ 3182770 w 6884782"/>
              <a:gd name="connsiteY610" fmla="*/ 5674596 h 5973007"/>
              <a:gd name="connsiteX611" fmla="*/ 3182305 w 6884782"/>
              <a:gd name="connsiteY611" fmla="*/ 5675422 h 5973007"/>
              <a:gd name="connsiteX612" fmla="*/ 3182615 w 6884782"/>
              <a:gd name="connsiteY612" fmla="*/ 5674183 h 5973007"/>
              <a:gd name="connsiteX613" fmla="*/ 3183234 w 6884782"/>
              <a:gd name="connsiteY613" fmla="*/ 5673874 h 5973007"/>
              <a:gd name="connsiteX614" fmla="*/ 3562111 w 6884782"/>
              <a:gd name="connsiteY614" fmla="*/ 5672634 h 5973007"/>
              <a:gd name="connsiteX615" fmla="*/ 3570785 w 6884782"/>
              <a:gd name="connsiteY615" fmla="*/ 5678520 h 5973007"/>
              <a:gd name="connsiteX616" fmla="*/ 3568306 w 6884782"/>
              <a:gd name="connsiteY616" fmla="*/ 5687813 h 5973007"/>
              <a:gd name="connsiteX617" fmla="*/ 3569546 w 6884782"/>
              <a:gd name="connsiteY617" fmla="*/ 5689362 h 5973007"/>
              <a:gd name="connsiteX618" fmla="*/ 3569701 w 6884782"/>
              <a:gd name="connsiteY618" fmla="*/ 5693286 h 5973007"/>
              <a:gd name="connsiteX619" fmla="*/ 3567842 w 6884782"/>
              <a:gd name="connsiteY619" fmla="*/ 5693286 h 5973007"/>
              <a:gd name="connsiteX620" fmla="*/ 3566913 w 6884782"/>
              <a:gd name="connsiteY620" fmla="*/ 5688846 h 5973007"/>
              <a:gd name="connsiteX621" fmla="*/ 3566138 w 6884782"/>
              <a:gd name="connsiteY621" fmla="*/ 5688433 h 5973007"/>
              <a:gd name="connsiteX622" fmla="*/ 3563970 w 6884782"/>
              <a:gd name="connsiteY622" fmla="*/ 5689155 h 5973007"/>
              <a:gd name="connsiteX623" fmla="*/ 3556380 w 6884782"/>
              <a:gd name="connsiteY623" fmla="*/ 5684819 h 5973007"/>
              <a:gd name="connsiteX624" fmla="*/ 3557928 w 6884782"/>
              <a:gd name="connsiteY624" fmla="*/ 5675113 h 5973007"/>
              <a:gd name="connsiteX625" fmla="*/ 3562111 w 6884782"/>
              <a:gd name="connsiteY625" fmla="*/ 5672634 h 5973007"/>
              <a:gd name="connsiteX626" fmla="*/ 3189895 w 6884782"/>
              <a:gd name="connsiteY626" fmla="*/ 5672634 h 5973007"/>
              <a:gd name="connsiteX627" fmla="*/ 3192683 w 6884782"/>
              <a:gd name="connsiteY627" fmla="*/ 5674493 h 5973007"/>
              <a:gd name="connsiteX628" fmla="*/ 3188966 w 6884782"/>
              <a:gd name="connsiteY628" fmla="*/ 5675422 h 5973007"/>
              <a:gd name="connsiteX629" fmla="*/ 3185868 w 6884782"/>
              <a:gd name="connsiteY629" fmla="*/ 5674286 h 5973007"/>
              <a:gd name="connsiteX630" fmla="*/ 3189895 w 6884782"/>
              <a:gd name="connsiteY630" fmla="*/ 5672634 h 5973007"/>
              <a:gd name="connsiteX631" fmla="*/ 3040575 w 6884782"/>
              <a:gd name="connsiteY631" fmla="*/ 5672634 h 5973007"/>
              <a:gd name="connsiteX632" fmla="*/ 3046616 w 6884782"/>
              <a:gd name="connsiteY632" fmla="*/ 5673977 h 5973007"/>
              <a:gd name="connsiteX633" fmla="*/ 3047700 w 6884782"/>
              <a:gd name="connsiteY633" fmla="*/ 5676558 h 5973007"/>
              <a:gd name="connsiteX634" fmla="*/ 3047700 w 6884782"/>
              <a:gd name="connsiteY634" fmla="*/ 5681824 h 5973007"/>
              <a:gd name="connsiteX635" fmla="*/ 3048475 w 6884782"/>
              <a:gd name="connsiteY635" fmla="*/ 5681721 h 5973007"/>
              <a:gd name="connsiteX636" fmla="*/ 3043673 w 6884782"/>
              <a:gd name="connsiteY636" fmla="*/ 5682960 h 5973007"/>
              <a:gd name="connsiteX637" fmla="*/ 3040575 w 6884782"/>
              <a:gd name="connsiteY637" fmla="*/ 5672634 h 5973007"/>
              <a:gd name="connsiteX638" fmla="*/ 2718391 w 6884782"/>
              <a:gd name="connsiteY638" fmla="*/ 5671085 h 5973007"/>
              <a:gd name="connsiteX639" fmla="*/ 2732951 w 6884782"/>
              <a:gd name="connsiteY639" fmla="*/ 5676661 h 5973007"/>
              <a:gd name="connsiteX640" fmla="*/ 2732021 w 6884782"/>
              <a:gd name="connsiteY640" fmla="*/ 5678417 h 5973007"/>
              <a:gd name="connsiteX641" fmla="*/ 2729698 w 6884782"/>
              <a:gd name="connsiteY641" fmla="*/ 5678933 h 5973007"/>
              <a:gd name="connsiteX642" fmla="*/ 2722108 w 6884782"/>
              <a:gd name="connsiteY642" fmla="*/ 5676455 h 5973007"/>
              <a:gd name="connsiteX643" fmla="*/ 2720559 w 6884782"/>
              <a:gd name="connsiteY643" fmla="*/ 5675525 h 5973007"/>
              <a:gd name="connsiteX644" fmla="*/ 2718855 w 6884782"/>
              <a:gd name="connsiteY644" fmla="*/ 5674596 h 5973007"/>
              <a:gd name="connsiteX645" fmla="*/ 2717926 w 6884782"/>
              <a:gd name="connsiteY645" fmla="*/ 5673151 h 5973007"/>
              <a:gd name="connsiteX646" fmla="*/ 2718391 w 6884782"/>
              <a:gd name="connsiteY646" fmla="*/ 5671085 h 5973007"/>
              <a:gd name="connsiteX647" fmla="*/ 2828212 w 6884782"/>
              <a:gd name="connsiteY647" fmla="*/ 5670569 h 5973007"/>
              <a:gd name="connsiteX648" fmla="*/ 2829606 w 6884782"/>
              <a:gd name="connsiteY648" fmla="*/ 5673977 h 5973007"/>
              <a:gd name="connsiteX649" fmla="*/ 2824340 w 6884782"/>
              <a:gd name="connsiteY649" fmla="*/ 5675732 h 5973007"/>
              <a:gd name="connsiteX650" fmla="*/ 2823101 w 6884782"/>
              <a:gd name="connsiteY650" fmla="*/ 5672221 h 5973007"/>
              <a:gd name="connsiteX651" fmla="*/ 2828212 w 6884782"/>
              <a:gd name="connsiteY651" fmla="*/ 5670569 h 5973007"/>
              <a:gd name="connsiteX652" fmla="*/ 3389711 w 6884782"/>
              <a:gd name="connsiteY652" fmla="*/ 5670259 h 5973007"/>
              <a:gd name="connsiteX653" fmla="*/ 3388317 w 6884782"/>
              <a:gd name="connsiteY653" fmla="*/ 5682650 h 5973007"/>
              <a:gd name="connsiteX654" fmla="*/ 3383515 w 6884782"/>
              <a:gd name="connsiteY654" fmla="*/ 5681101 h 5973007"/>
              <a:gd name="connsiteX655" fmla="*/ 3389711 w 6884782"/>
              <a:gd name="connsiteY655" fmla="*/ 5670259 h 5973007"/>
              <a:gd name="connsiteX656" fmla="*/ 3226915 w 6884782"/>
              <a:gd name="connsiteY656" fmla="*/ 5668711 h 5973007"/>
              <a:gd name="connsiteX657" fmla="*/ 3229703 w 6884782"/>
              <a:gd name="connsiteY657" fmla="*/ 5670569 h 5973007"/>
              <a:gd name="connsiteX658" fmla="*/ 3228929 w 6884782"/>
              <a:gd name="connsiteY658" fmla="*/ 5673254 h 5973007"/>
              <a:gd name="connsiteX659" fmla="*/ 3227380 w 6884782"/>
              <a:gd name="connsiteY659" fmla="*/ 5671085 h 5973007"/>
              <a:gd name="connsiteX660" fmla="*/ 3226915 w 6884782"/>
              <a:gd name="connsiteY660" fmla="*/ 5668711 h 5973007"/>
              <a:gd name="connsiteX661" fmla="*/ 3224902 w 6884782"/>
              <a:gd name="connsiteY661" fmla="*/ 5667472 h 5973007"/>
              <a:gd name="connsiteX662" fmla="*/ 3226451 w 6884782"/>
              <a:gd name="connsiteY662" fmla="*/ 5668298 h 5973007"/>
              <a:gd name="connsiteX663" fmla="*/ 3225986 w 6884782"/>
              <a:gd name="connsiteY663" fmla="*/ 5669020 h 5973007"/>
              <a:gd name="connsiteX664" fmla="*/ 3225056 w 6884782"/>
              <a:gd name="connsiteY664" fmla="*/ 5668298 h 5973007"/>
              <a:gd name="connsiteX665" fmla="*/ 3224902 w 6884782"/>
              <a:gd name="connsiteY665" fmla="*/ 5667472 h 5973007"/>
              <a:gd name="connsiteX666" fmla="*/ 2968083 w 6884782"/>
              <a:gd name="connsiteY666" fmla="*/ 5666232 h 5973007"/>
              <a:gd name="connsiteX667" fmla="*/ 2971026 w 6884782"/>
              <a:gd name="connsiteY667" fmla="*/ 5671602 h 5973007"/>
              <a:gd name="connsiteX668" fmla="*/ 2965295 w 6884782"/>
              <a:gd name="connsiteY668" fmla="*/ 5678314 h 5973007"/>
              <a:gd name="connsiteX669" fmla="*/ 2962197 w 6884782"/>
              <a:gd name="connsiteY669" fmla="*/ 5678314 h 5973007"/>
              <a:gd name="connsiteX670" fmla="*/ 2959100 w 6884782"/>
              <a:gd name="connsiteY670" fmla="*/ 5675216 h 5973007"/>
              <a:gd name="connsiteX671" fmla="*/ 2968083 w 6884782"/>
              <a:gd name="connsiteY671" fmla="*/ 5666232 h 5973007"/>
              <a:gd name="connsiteX672" fmla="*/ 2877314 w 6884782"/>
              <a:gd name="connsiteY672" fmla="*/ 5665923 h 5973007"/>
              <a:gd name="connsiteX673" fmla="*/ 2877624 w 6884782"/>
              <a:gd name="connsiteY673" fmla="*/ 5666232 h 5973007"/>
              <a:gd name="connsiteX674" fmla="*/ 2885989 w 6884782"/>
              <a:gd name="connsiteY674" fmla="*/ 5670569 h 5973007"/>
              <a:gd name="connsiteX675" fmla="*/ 2887228 w 6884782"/>
              <a:gd name="connsiteY675" fmla="*/ 5675939 h 5973007"/>
              <a:gd name="connsiteX676" fmla="*/ 2884594 w 6884782"/>
              <a:gd name="connsiteY676" fmla="*/ 5676765 h 5973007"/>
              <a:gd name="connsiteX677" fmla="*/ 2880877 w 6884782"/>
              <a:gd name="connsiteY677" fmla="*/ 5674493 h 5973007"/>
              <a:gd name="connsiteX678" fmla="*/ 2880877 w 6884782"/>
              <a:gd name="connsiteY678" fmla="*/ 5676352 h 5973007"/>
              <a:gd name="connsiteX679" fmla="*/ 2878708 w 6884782"/>
              <a:gd name="connsiteY679" fmla="*/ 5680482 h 5973007"/>
              <a:gd name="connsiteX680" fmla="*/ 2872667 w 6884782"/>
              <a:gd name="connsiteY680" fmla="*/ 5676558 h 5973007"/>
              <a:gd name="connsiteX681" fmla="*/ 2872822 w 6884782"/>
              <a:gd name="connsiteY681" fmla="*/ 5667162 h 5973007"/>
              <a:gd name="connsiteX682" fmla="*/ 2877314 w 6884782"/>
              <a:gd name="connsiteY682" fmla="*/ 5665923 h 5973007"/>
              <a:gd name="connsiteX683" fmla="*/ 2985277 w 6884782"/>
              <a:gd name="connsiteY683" fmla="*/ 5665510 h 5973007"/>
              <a:gd name="connsiteX684" fmla="*/ 2987755 w 6884782"/>
              <a:gd name="connsiteY684" fmla="*/ 5666026 h 5973007"/>
              <a:gd name="connsiteX685" fmla="*/ 2987755 w 6884782"/>
              <a:gd name="connsiteY685" fmla="*/ 5669227 h 5973007"/>
              <a:gd name="connsiteX686" fmla="*/ 2989924 w 6884782"/>
              <a:gd name="connsiteY686" fmla="*/ 5671602 h 5973007"/>
              <a:gd name="connsiteX687" fmla="*/ 2989924 w 6884782"/>
              <a:gd name="connsiteY687" fmla="*/ 5674803 h 5973007"/>
              <a:gd name="connsiteX688" fmla="*/ 2988840 w 6884782"/>
              <a:gd name="connsiteY688" fmla="*/ 5674906 h 5973007"/>
              <a:gd name="connsiteX689" fmla="*/ 2989149 w 6884782"/>
              <a:gd name="connsiteY689" fmla="*/ 5674390 h 5973007"/>
              <a:gd name="connsiteX690" fmla="*/ 2988840 w 6884782"/>
              <a:gd name="connsiteY690" fmla="*/ 5671912 h 5973007"/>
              <a:gd name="connsiteX691" fmla="*/ 2984967 w 6884782"/>
              <a:gd name="connsiteY691" fmla="*/ 5667472 h 5973007"/>
              <a:gd name="connsiteX692" fmla="*/ 2985277 w 6884782"/>
              <a:gd name="connsiteY692" fmla="*/ 5665510 h 5973007"/>
              <a:gd name="connsiteX693" fmla="*/ 2925952 w 6884782"/>
              <a:gd name="connsiteY693" fmla="*/ 5665510 h 5973007"/>
              <a:gd name="connsiteX694" fmla="*/ 2929514 w 6884782"/>
              <a:gd name="connsiteY694" fmla="*/ 5672324 h 5973007"/>
              <a:gd name="connsiteX695" fmla="*/ 2927965 w 6884782"/>
              <a:gd name="connsiteY695" fmla="*/ 5673357 h 5973007"/>
              <a:gd name="connsiteX696" fmla="*/ 2925952 w 6884782"/>
              <a:gd name="connsiteY696" fmla="*/ 5673977 h 5973007"/>
              <a:gd name="connsiteX697" fmla="*/ 2923938 w 6884782"/>
              <a:gd name="connsiteY697" fmla="*/ 5673977 h 5973007"/>
              <a:gd name="connsiteX698" fmla="*/ 2921150 w 6884782"/>
              <a:gd name="connsiteY698" fmla="*/ 5672841 h 5973007"/>
              <a:gd name="connsiteX699" fmla="*/ 2919136 w 6884782"/>
              <a:gd name="connsiteY699" fmla="*/ 5669434 h 5973007"/>
              <a:gd name="connsiteX700" fmla="*/ 2918826 w 6884782"/>
              <a:gd name="connsiteY700" fmla="*/ 5667678 h 5973007"/>
              <a:gd name="connsiteX701" fmla="*/ 2925952 w 6884782"/>
              <a:gd name="connsiteY701" fmla="*/ 5665510 h 5973007"/>
              <a:gd name="connsiteX702" fmla="*/ 3222578 w 6884782"/>
              <a:gd name="connsiteY702" fmla="*/ 5664993 h 5973007"/>
              <a:gd name="connsiteX703" fmla="*/ 3222423 w 6884782"/>
              <a:gd name="connsiteY703" fmla="*/ 5666852 h 5973007"/>
              <a:gd name="connsiteX704" fmla="*/ 3221494 w 6884782"/>
              <a:gd name="connsiteY704" fmla="*/ 5665200 h 5973007"/>
              <a:gd name="connsiteX705" fmla="*/ 3222578 w 6884782"/>
              <a:gd name="connsiteY705" fmla="*/ 5664993 h 5973007"/>
              <a:gd name="connsiteX706" fmla="*/ 3081158 w 6884782"/>
              <a:gd name="connsiteY706" fmla="*/ 5663651 h 5973007"/>
              <a:gd name="connsiteX707" fmla="*/ 3103772 w 6884782"/>
              <a:gd name="connsiteY707" fmla="*/ 5672841 h 5973007"/>
              <a:gd name="connsiteX708" fmla="*/ 3108265 w 6884782"/>
              <a:gd name="connsiteY708" fmla="*/ 5678830 h 5973007"/>
              <a:gd name="connsiteX709" fmla="*/ 3092001 w 6884782"/>
              <a:gd name="connsiteY709" fmla="*/ 5676971 h 5973007"/>
              <a:gd name="connsiteX710" fmla="*/ 3085495 w 6884782"/>
              <a:gd name="connsiteY710" fmla="*/ 5692666 h 5973007"/>
              <a:gd name="connsiteX711" fmla="*/ 3083481 w 6884782"/>
              <a:gd name="connsiteY711" fmla="*/ 5688742 h 5973007"/>
              <a:gd name="connsiteX712" fmla="*/ 3085495 w 6884782"/>
              <a:gd name="connsiteY712" fmla="*/ 5672944 h 5973007"/>
              <a:gd name="connsiteX713" fmla="*/ 3081158 w 6884782"/>
              <a:gd name="connsiteY713" fmla="*/ 5663651 h 5973007"/>
              <a:gd name="connsiteX714" fmla="*/ 3114616 w 6884782"/>
              <a:gd name="connsiteY714" fmla="*/ 5663032 h 5973007"/>
              <a:gd name="connsiteX715" fmla="*/ 3120192 w 6884782"/>
              <a:gd name="connsiteY715" fmla="*/ 5667575 h 5973007"/>
              <a:gd name="connsiteX716" fmla="*/ 3116009 w 6884782"/>
              <a:gd name="connsiteY716" fmla="*/ 5666749 h 5973007"/>
              <a:gd name="connsiteX717" fmla="*/ 3114616 w 6884782"/>
              <a:gd name="connsiteY717" fmla="*/ 5663032 h 5973007"/>
              <a:gd name="connsiteX718" fmla="*/ 3014707 w 6884782"/>
              <a:gd name="connsiteY718" fmla="*/ 5662928 h 5973007"/>
              <a:gd name="connsiteX719" fmla="*/ 3022607 w 6884782"/>
              <a:gd name="connsiteY719" fmla="*/ 5665097 h 5973007"/>
              <a:gd name="connsiteX720" fmla="*/ 3012848 w 6884782"/>
              <a:gd name="connsiteY720" fmla="*/ 5681205 h 5973007"/>
              <a:gd name="connsiteX721" fmla="*/ 3010835 w 6884782"/>
              <a:gd name="connsiteY721" fmla="*/ 5677281 h 5973007"/>
              <a:gd name="connsiteX722" fmla="*/ 3014707 w 6884782"/>
              <a:gd name="connsiteY722" fmla="*/ 5662928 h 5973007"/>
              <a:gd name="connsiteX723" fmla="*/ 2926261 w 6884782"/>
              <a:gd name="connsiteY723" fmla="*/ 5662515 h 5973007"/>
              <a:gd name="connsiteX724" fmla="*/ 2927811 w 6884782"/>
              <a:gd name="connsiteY724" fmla="*/ 5662515 h 5973007"/>
              <a:gd name="connsiteX725" fmla="*/ 2927036 w 6884782"/>
              <a:gd name="connsiteY725" fmla="*/ 5663238 h 5973007"/>
              <a:gd name="connsiteX726" fmla="*/ 2926261 w 6884782"/>
              <a:gd name="connsiteY726" fmla="*/ 5662515 h 5973007"/>
              <a:gd name="connsiteX727" fmla="*/ 2995190 w 6884782"/>
              <a:gd name="connsiteY727" fmla="*/ 5662412 h 5973007"/>
              <a:gd name="connsiteX728" fmla="*/ 3002315 w 6884782"/>
              <a:gd name="connsiteY728" fmla="*/ 5689878 h 5973007"/>
              <a:gd name="connsiteX729" fmla="*/ 2995190 w 6884782"/>
              <a:gd name="connsiteY729" fmla="*/ 5662412 h 5973007"/>
              <a:gd name="connsiteX730" fmla="*/ 2928895 w 6884782"/>
              <a:gd name="connsiteY730" fmla="*/ 5661999 h 5973007"/>
              <a:gd name="connsiteX731" fmla="*/ 2930134 w 6884782"/>
              <a:gd name="connsiteY731" fmla="*/ 5665303 h 5973007"/>
              <a:gd name="connsiteX732" fmla="*/ 2928895 w 6884782"/>
              <a:gd name="connsiteY732" fmla="*/ 5665923 h 5973007"/>
              <a:gd name="connsiteX733" fmla="*/ 2926726 w 6884782"/>
              <a:gd name="connsiteY733" fmla="*/ 5664684 h 5973007"/>
              <a:gd name="connsiteX734" fmla="*/ 2937569 w 6884782"/>
              <a:gd name="connsiteY734" fmla="*/ 5657869 h 5973007"/>
              <a:gd name="connsiteX735" fmla="*/ 2939428 w 6884782"/>
              <a:gd name="connsiteY735" fmla="*/ 5659521 h 5973007"/>
              <a:gd name="connsiteX736" fmla="*/ 2940202 w 6884782"/>
              <a:gd name="connsiteY736" fmla="*/ 5664580 h 5973007"/>
              <a:gd name="connsiteX737" fmla="*/ 2938653 w 6884782"/>
              <a:gd name="connsiteY737" fmla="*/ 5665613 h 5973007"/>
              <a:gd name="connsiteX738" fmla="*/ 2936020 w 6884782"/>
              <a:gd name="connsiteY738" fmla="*/ 5658901 h 5973007"/>
              <a:gd name="connsiteX739" fmla="*/ 2937569 w 6884782"/>
              <a:gd name="connsiteY739" fmla="*/ 5657869 h 5973007"/>
              <a:gd name="connsiteX740" fmla="*/ 2803468 w 6884782"/>
              <a:gd name="connsiteY740" fmla="*/ 5657249 h 5973007"/>
              <a:gd name="connsiteX741" fmla="*/ 2808695 w 6884782"/>
              <a:gd name="connsiteY741" fmla="*/ 5660553 h 5973007"/>
              <a:gd name="connsiteX742" fmla="*/ 2802964 w 6884782"/>
              <a:gd name="connsiteY742" fmla="*/ 5666852 h 5973007"/>
              <a:gd name="connsiteX743" fmla="*/ 2796768 w 6884782"/>
              <a:gd name="connsiteY743" fmla="*/ 5664271 h 5973007"/>
              <a:gd name="connsiteX744" fmla="*/ 2796149 w 6884782"/>
              <a:gd name="connsiteY744" fmla="*/ 5659211 h 5973007"/>
              <a:gd name="connsiteX745" fmla="*/ 2803468 w 6884782"/>
              <a:gd name="connsiteY745" fmla="*/ 5657249 h 5973007"/>
              <a:gd name="connsiteX746" fmla="*/ 3406750 w 6884782"/>
              <a:gd name="connsiteY746" fmla="*/ 5656423 h 5973007"/>
              <a:gd name="connsiteX747" fmla="*/ 3410467 w 6884782"/>
              <a:gd name="connsiteY747" fmla="*/ 5656630 h 5973007"/>
              <a:gd name="connsiteX748" fmla="*/ 3409848 w 6884782"/>
              <a:gd name="connsiteY748" fmla="*/ 5661999 h 5973007"/>
              <a:gd name="connsiteX749" fmla="*/ 3406130 w 6884782"/>
              <a:gd name="connsiteY749" fmla="*/ 5661792 h 5973007"/>
              <a:gd name="connsiteX750" fmla="*/ 3406750 w 6884782"/>
              <a:gd name="connsiteY750" fmla="*/ 5656423 h 5973007"/>
              <a:gd name="connsiteX751" fmla="*/ 3008821 w 6884782"/>
              <a:gd name="connsiteY751" fmla="*/ 5655804 h 5973007"/>
              <a:gd name="connsiteX752" fmla="*/ 3012384 w 6884782"/>
              <a:gd name="connsiteY752" fmla="*/ 5663032 h 5973007"/>
              <a:gd name="connsiteX753" fmla="*/ 3007117 w 6884782"/>
              <a:gd name="connsiteY753" fmla="*/ 5670673 h 5973007"/>
              <a:gd name="connsiteX754" fmla="*/ 3005259 w 6884782"/>
              <a:gd name="connsiteY754" fmla="*/ 5666646 h 5973007"/>
              <a:gd name="connsiteX755" fmla="*/ 3008821 w 6884782"/>
              <a:gd name="connsiteY755" fmla="*/ 5655804 h 5973007"/>
              <a:gd name="connsiteX756" fmla="*/ 2881806 w 6884782"/>
              <a:gd name="connsiteY756" fmla="*/ 5655184 h 5973007"/>
              <a:gd name="connsiteX757" fmla="*/ 2889861 w 6884782"/>
              <a:gd name="connsiteY757" fmla="*/ 5664477 h 5973007"/>
              <a:gd name="connsiteX758" fmla="*/ 2888002 w 6884782"/>
              <a:gd name="connsiteY758" fmla="*/ 5668194 h 5973007"/>
              <a:gd name="connsiteX759" fmla="*/ 2880258 w 6884782"/>
              <a:gd name="connsiteY759" fmla="*/ 5661586 h 5973007"/>
              <a:gd name="connsiteX760" fmla="*/ 2879328 w 6884782"/>
              <a:gd name="connsiteY760" fmla="*/ 5658591 h 5973007"/>
              <a:gd name="connsiteX761" fmla="*/ 2881806 w 6884782"/>
              <a:gd name="connsiteY761" fmla="*/ 5655184 h 5973007"/>
              <a:gd name="connsiteX762" fmla="*/ 3300781 w 6884782"/>
              <a:gd name="connsiteY762" fmla="*/ 5655068 h 5973007"/>
              <a:gd name="connsiteX763" fmla="*/ 3307461 w 6884782"/>
              <a:gd name="connsiteY763" fmla="*/ 5659314 h 5973007"/>
              <a:gd name="connsiteX764" fmla="*/ 3301420 w 6884782"/>
              <a:gd name="connsiteY764" fmla="*/ 5668711 h 5973007"/>
              <a:gd name="connsiteX765" fmla="*/ 3294450 w 6884782"/>
              <a:gd name="connsiteY765" fmla="*/ 5658179 h 5973007"/>
              <a:gd name="connsiteX766" fmla="*/ 3300781 w 6884782"/>
              <a:gd name="connsiteY766" fmla="*/ 5655068 h 5973007"/>
              <a:gd name="connsiteX767" fmla="*/ 3707520 w 6884782"/>
              <a:gd name="connsiteY767" fmla="*/ 5654603 h 5973007"/>
              <a:gd name="connsiteX768" fmla="*/ 3717627 w 6884782"/>
              <a:gd name="connsiteY768" fmla="*/ 5655081 h 5973007"/>
              <a:gd name="connsiteX769" fmla="*/ 3720725 w 6884782"/>
              <a:gd name="connsiteY769" fmla="*/ 5661792 h 5973007"/>
              <a:gd name="connsiteX770" fmla="*/ 3703066 w 6884782"/>
              <a:gd name="connsiteY770" fmla="*/ 5666129 h 5973007"/>
              <a:gd name="connsiteX771" fmla="*/ 3692998 w 6884782"/>
              <a:gd name="connsiteY771" fmla="*/ 5656526 h 5973007"/>
              <a:gd name="connsiteX772" fmla="*/ 3707520 w 6884782"/>
              <a:gd name="connsiteY772" fmla="*/ 5654603 h 5973007"/>
              <a:gd name="connsiteX773" fmla="*/ 3028435 w 6884782"/>
              <a:gd name="connsiteY773" fmla="*/ 5653971 h 5973007"/>
              <a:gd name="connsiteX774" fmla="*/ 3034534 w 6884782"/>
              <a:gd name="connsiteY774" fmla="*/ 5655597 h 5973007"/>
              <a:gd name="connsiteX775" fmla="*/ 3028958 w 6884782"/>
              <a:gd name="connsiteY775" fmla="*/ 5660553 h 5973007"/>
              <a:gd name="connsiteX776" fmla="*/ 3028435 w 6884782"/>
              <a:gd name="connsiteY776" fmla="*/ 5653971 h 5973007"/>
              <a:gd name="connsiteX777" fmla="*/ 3345256 w 6884782"/>
              <a:gd name="connsiteY777" fmla="*/ 5653842 h 5973007"/>
              <a:gd name="connsiteX778" fmla="*/ 3347734 w 6884782"/>
              <a:gd name="connsiteY778" fmla="*/ 5657146 h 5973007"/>
              <a:gd name="connsiteX779" fmla="*/ 3345566 w 6884782"/>
              <a:gd name="connsiteY779" fmla="*/ 5664580 h 5973007"/>
              <a:gd name="connsiteX780" fmla="*/ 3336891 w 6884782"/>
              <a:gd name="connsiteY780" fmla="*/ 5662309 h 5973007"/>
              <a:gd name="connsiteX781" fmla="*/ 3345256 w 6884782"/>
              <a:gd name="connsiteY781" fmla="*/ 5653842 h 5973007"/>
              <a:gd name="connsiteX782" fmla="*/ 3051263 w 6884782"/>
              <a:gd name="connsiteY782" fmla="*/ 5653842 h 5973007"/>
              <a:gd name="connsiteX783" fmla="*/ 3061950 w 6884782"/>
              <a:gd name="connsiteY783" fmla="*/ 5657559 h 5973007"/>
              <a:gd name="connsiteX784" fmla="*/ 3067682 w 6884782"/>
              <a:gd name="connsiteY784" fmla="*/ 5669020 h 5973007"/>
              <a:gd name="connsiteX785" fmla="*/ 3066597 w 6884782"/>
              <a:gd name="connsiteY785" fmla="*/ 5671705 h 5973007"/>
              <a:gd name="connsiteX786" fmla="*/ 3068611 w 6884782"/>
              <a:gd name="connsiteY786" fmla="*/ 5673460 h 5973007"/>
              <a:gd name="connsiteX787" fmla="*/ 3066752 w 6884782"/>
              <a:gd name="connsiteY787" fmla="*/ 5686264 h 5973007"/>
              <a:gd name="connsiteX788" fmla="*/ 3059008 w 6884782"/>
              <a:gd name="connsiteY788" fmla="*/ 5687813 h 5973007"/>
              <a:gd name="connsiteX789" fmla="*/ 3055910 w 6884782"/>
              <a:gd name="connsiteY789" fmla="*/ 5686677 h 5973007"/>
              <a:gd name="connsiteX790" fmla="*/ 3059937 w 6884782"/>
              <a:gd name="connsiteY790" fmla="*/ 5678210 h 5973007"/>
              <a:gd name="connsiteX791" fmla="*/ 3060712 w 6884782"/>
              <a:gd name="connsiteY791" fmla="*/ 5675939 h 5973007"/>
              <a:gd name="connsiteX792" fmla="*/ 3058078 w 6884782"/>
              <a:gd name="connsiteY792" fmla="*/ 5676558 h 5973007"/>
              <a:gd name="connsiteX793" fmla="*/ 3052502 w 6884782"/>
              <a:gd name="connsiteY793" fmla="*/ 5674700 h 5973007"/>
              <a:gd name="connsiteX794" fmla="*/ 3048629 w 6884782"/>
              <a:gd name="connsiteY794" fmla="*/ 5659211 h 5973007"/>
              <a:gd name="connsiteX795" fmla="*/ 3050024 w 6884782"/>
              <a:gd name="connsiteY795" fmla="*/ 5657456 h 5973007"/>
              <a:gd name="connsiteX796" fmla="*/ 3051263 w 6884782"/>
              <a:gd name="connsiteY796" fmla="*/ 5653842 h 5973007"/>
              <a:gd name="connsiteX797" fmla="*/ 3171617 w 6884782"/>
              <a:gd name="connsiteY797" fmla="*/ 5653325 h 5973007"/>
              <a:gd name="connsiteX798" fmla="*/ 3171152 w 6884782"/>
              <a:gd name="connsiteY798" fmla="*/ 5664167 h 5973007"/>
              <a:gd name="connsiteX799" fmla="*/ 3165886 w 6884782"/>
              <a:gd name="connsiteY799" fmla="*/ 5663857 h 5973007"/>
              <a:gd name="connsiteX800" fmla="*/ 3168055 w 6884782"/>
              <a:gd name="connsiteY800" fmla="*/ 5653429 h 5973007"/>
              <a:gd name="connsiteX801" fmla="*/ 3171617 w 6884782"/>
              <a:gd name="connsiteY801" fmla="*/ 5653325 h 5973007"/>
              <a:gd name="connsiteX802" fmla="*/ 2743794 w 6884782"/>
              <a:gd name="connsiteY802" fmla="*/ 5652499 h 5973007"/>
              <a:gd name="connsiteX803" fmla="*/ 2745342 w 6884782"/>
              <a:gd name="connsiteY803" fmla="*/ 5653325 h 5973007"/>
              <a:gd name="connsiteX804" fmla="*/ 2746892 w 6884782"/>
              <a:gd name="connsiteY804" fmla="*/ 5653429 h 5973007"/>
              <a:gd name="connsiteX805" fmla="*/ 2746892 w 6884782"/>
              <a:gd name="connsiteY805" fmla="*/ 5654255 h 5973007"/>
              <a:gd name="connsiteX806" fmla="*/ 2747666 w 6884782"/>
              <a:gd name="connsiteY806" fmla="*/ 5655184 h 5973007"/>
              <a:gd name="connsiteX807" fmla="*/ 2745652 w 6884782"/>
              <a:gd name="connsiteY807" fmla="*/ 5658695 h 5973007"/>
              <a:gd name="connsiteX808" fmla="*/ 2743794 w 6884782"/>
              <a:gd name="connsiteY808" fmla="*/ 5659727 h 5973007"/>
              <a:gd name="connsiteX809" fmla="*/ 2742245 w 6884782"/>
              <a:gd name="connsiteY809" fmla="*/ 5659521 h 5973007"/>
              <a:gd name="connsiteX810" fmla="*/ 2741470 w 6884782"/>
              <a:gd name="connsiteY810" fmla="*/ 5657662 h 5973007"/>
              <a:gd name="connsiteX811" fmla="*/ 2741935 w 6884782"/>
              <a:gd name="connsiteY811" fmla="*/ 5654255 h 5973007"/>
              <a:gd name="connsiteX812" fmla="*/ 2743794 w 6884782"/>
              <a:gd name="connsiteY812" fmla="*/ 5652499 h 5973007"/>
              <a:gd name="connsiteX813" fmla="*/ 3186023 w 6884782"/>
              <a:gd name="connsiteY813" fmla="*/ 5652189 h 5973007"/>
              <a:gd name="connsiteX814" fmla="*/ 3194387 w 6884782"/>
              <a:gd name="connsiteY814" fmla="*/ 5653325 h 5973007"/>
              <a:gd name="connsiteX815" fmla="*/ 3191444 w 6884782"/>
              <a:gd name="connsiteY815" fmla="*/ 5662618 h 5973007"/>
              <a:gd name="connsiteX816" fmla="*/ 3186023 w 6884782"/>
              <a:gd name="connsiteY816" fmla="*/ 5652189 h 5973007"/>
              <a:gd name="connsiteX817" fmla="*/ 3365547 w 6884782"/>
              <a:gd name="connsiteY817" fmla="*/ 5652086 h 5973007"/>
              <a:gd name="connsiteX818" fmla="*/ 3370039 w 6884782"/>
              <a:gd name="connsiteY818" fmla="*/ 5654461 h 5973007"/>
              <a:gd name="connsiteX819" fmla="*/ 3373137 w 6884782"/>
              <a:gd name="connsiteY819" fmla="*/ 5662206 h 5973007"/>
              <a:gd name="connsiteX820" fmla="*/ 3369265 w 6884782"/>
              <a:gd name="connsiteY820" fmla="*/ 5663651 h 5973007"/>
              <a:gd name="connsiteX821" fmla="*/ 3358887 w 6884782"/>
              <a:gd name="connsiteY821" fmla="*/ 5655390 h 5973007"/>
              <a:gd name="connsiteX822" fmla="*/ 3365547 w 6884782"/>
              <a:gd name="connsiteY822" fmla="*/ 5652086 h 5973007"/>
              <a:gd name="connsiteX823" fmla="*/ 3120192 w 6884782"/>
              <a:gd name="connsiteY823" fmla="*/ 5650021 h 5973007"/>
              <a:gd name="connsiteX824" fmla="*/ 3127627 w 6884782"/>
              <a:gd name="connsiteY824" fmla="*/ 5650124 h 5973007"/>
              <a:gd name="connsiteX825" fmla="*/ 3126233 w 6884782"/>
              <a:gd name="connsiteY825" fmla="*/ 5656217 h 5973007"/>
              <a:gd name="connsiteX826" fmla="*/ 3123909 w 6884782"/>
              <a:gd name="connsiteY826" fmla="*/ 5657559 h 5973007"/>
              <a:gd name="connsiteX827" fmla="*/ 3121276 w 6884782"/>
              <a:gd name="connsiteY827" fmla="*/ 5656940 h 5973007"/>
              <a:gd name="connsiteX828" fmla="*/ 3119727 w 6884782"/>
              <a:gd name="connsiteY828" fmla="*/ 5655287 h 5973007"/>
              <a:gd name="connsiteX829" fmla="*/ 3120192 w 6884782"/>
              <a:gd name="connsiteY829" fmla="*/ 5650021 h 5973007"/>
              <a:gd name="connsiteX830" fmla="*/ 3202287 w 6884782"/>
              <a:gd name="connsiteY830" fmla="*/ 5647543 h 5973007"/>
              <a:gd name="connsiteX831" fmla="*/ 3207553 w 6884782"/>
              <a:gd name="connsiteY831" fmla="*/ 5650847 h 5973007"/>
              <a:gd name="connsiteX832" fmla="*/ 3207863 w 6884782"/>
              <a:gd name="connsiteY832" fmla="*/ 5651983 h 5973007"/>
              <a:gd name="connsiteX833" fmla="*/ 3202287 w 6884782"/>
              <a:gd name="connsiteY833" fmla="*/ 5647543 h 5973007"/>
              <a:gd name="connsiteX834" fmla="*/ 3276947 w 6884782"/>
              <a:gd name="connsiteY834" fmla="*/ 5645272 h 5973007"/>
              <a:gd name="connsiteX835" fmla="*/ 3277256 w 6884782"/>
              <a:gd name="connsiteY835" fmla="*/ 5657662 h 5973007"/>
              <a:gd name="connsiteX836" fmla="*/ 3274778 w 6884782"/>
              <a:gd name="connsiteY836" fmla="*/ 5661792 h 5973007"/>
              <a:gd name="connsiteX837" fmla="*/ 3277102 w 6884782"/>
              <a:gd name="connsiteY837" fmla="*/ 5660450 h 5973007"/>
              <a:gd name="connsiteX838" fmla="*/ 3286086 w 6884782"/>
              <a:gd name="connsiteY838" fmla="*/ 5663754 h 5973007"/>
              <a:gd name="connsiteX839" fmla="*/ 3280819 w 6884782"/>
              <a:gd name="connsiteY839" fmla="*/ 5667575 h 5973007"/>
              <a:gd name="connsiteX840" fmla="*/ 3274933 w 6884782"/>
              <a:gd name="connsiteY840" fmla="*/ 5665923 h 5973007"/>
              <a:gd name="connsiteX841" fmla="*/ 3274313 w 6884782"/>
              <a:gd name="connsiteY841" fmla="*/ 5662515 h 5973007"/>
              <a:gd name="connsiteX842" fmla="*/ 3274159 w 6884782"/>
              <a:gd name="connsiteY842" fmla="*/ 5662825 h 5973007"/>
              <a:gd name="connsiteX843" fmla="*/ 3268427 w 6884782"/>
              <a:gd name="connsiteY843" fmla="*/ 5667162 h 5973007"/>
              <a:gd name="connsiteX844" fmla="*/ 3259598 w 6884782"/>
              <a:gd name="connsiteY844" fmla="*/ 5648576 h 5973007"/>
              <a:gd name="connsiteX845" fmla="*/ 3276947 w 6884782"/>
              <a:gd name="connsiteY845" fmla="*/ 5645272 h 5973007"/>
              <a:gd name="connsiteX846" fmla="*/ 3340764 w 6884782"/>
              <a:gd name="connsiteY846" fmla="*/ 5643826 h 5973007"/>
              <a:gd name="connsiteX847" fmla="*/ 3350832 w 6884782"/>
              <a:gd name="connsiteY847" fmla="*/ 5644755 h 5973007"/>
              <a:gd name="connsiteX848" fmla="*/ 3359197 w 6884782"/>
              <a:gd name="connsiteY848" fmla="*/ 5651467 h 5973007"/>
              <a:gd name="connsiteX849" fmla="*/ 3354395 w 6884782"/>
              <a:gd name="connsiteY849" fmla="*/ 5651983 h 5973007"/>
              <a:gd name="connsiteX850" fmla="*/ 3340764 w 6884782"/>
              <a:gd name="connsiteY850" fmla="*/ 5643826 h 5973007"/>
              <a:gd name="connsiteX851" fmla="*/ 3054826 w 6884782"/>
              <a:gd name="connsiteY851" fmla="*/ 5643826 h 5973007"/>
              <a:gd name="connsiteX852" fmla="*/ 3058698 w 6884782"/>
              <a:gd name="connsiteY852" fmla="*/ 5650744 h 5973007"/>
              <a:gd name="connsiteX853" fmla="*/ 3054206 w 6884782"/>
              <a:gd name="connsiteY853" fmla="*/ 5645994 h 5973007"/>
              <a:gd name="connsiteX854" fmla="*/ 3054826 w 6884782"/>
              <a:gd name="connsiteY854" fmla="*/ 5643826 h 5973007"/>
              <a:gd name="connsiteX855" fmla="*/ 3470567 w 6884782"/>
              <a:gd name="connsiteY855" fmla="*/ 5641967 h 5973007"/>
              <a:gd name="connsiteX856" fmla="*/ 3474130 w 6884782"/>
              <a:gd name="connsiteY856" fmla="*/ 5641967 h 5973007"/>
              <a:gd name="connsiteX857" fmla="*/ 3475214 w 6884782"/>
              <a:gd name="connsiteY857" fmla="*/ 5652809 h 5973007"/>
              <a:gd name="connsiteX858" fmla="*/ 3469947 w 6884782"/>
              <a:gd name="connsiteY858" fmla="*/ 5652293 h 5973007"/>
              <a:gd name="connsiteX859" fmla="*/ 3470567 w 6884782"/>
              <a:gd name="connsiteY859" fmla="*/ 5641967 h 5973007"/>
              <a:gd name="connsiteX860" fmla="*/ 3314587 w 6884782"/>
              <a:gd name="connsiteY860" fmla="*/ 5640522 h 5973007"/>
              <a:gd name="connsiteX861" fmla="*/ 3319388 w 6884782"/>
              <a:gd name="connsiteY861" fmla="*/ 5640625 h 5973007"/>
              <a:gd name="connsiteX862" fmla="*/ 3317839 w 6884782"/>
              <a:gd name="connsiteY862" fmla="*/ 5644446 h 5973007"/>
              <a:gd name="connsiteX863" fmla="*/ 3314587 w 6884782"/>
              <a:gd name="connsiteY863" fmla="*/ 5643207 h 5973007"/>
              <a:gd name="connsiteX864" fmla="*/ 3314587 w 6884782"/>
              <a:gd name="connsiteY864" fmla="*/ 5640522 h 5973007"/>
              <a:gd name="connsiteX865" fmla="*/ 2962352 w 6884782"/>
              <a:gd name="connsiteY865" fmla="*/ 5640212 h 5973007"/>
              <a:gd name="connsiteX866" fmla="*/ 2949806 w 6884782"/>
              <a:gd name="connsiteY866" fmla="*/ 5649195 h 5973007"/>
              <a:gd name="connsiteX867" fmla="*/ 2945624 w 6884782"/>
              <a:gd name="connsiteY867" fmla="*/ 5646614 h 5973007"/>
              <a:gd name="connsiteX868" fmla="*/ 2962352 w 6884782"/>
              <a:gd name="connsiteY868" fmla="*/ 5640212 h 5973007"/>
              <a:gd name="connsiteX869" fmla="*/ 3330541 w 6884782"/>
              <a:gd name="connsiteY869" fmla="*/ 5637940 h 5973007"/>
              <a:gd name="connsiteX870" fmla="*/ 3336891 w 6884782"/>
              <a:gd name="connsiteY870" fmla="*/ 5642277 h 5973007"/>
              <a:gd name="connsiteX871" fmla="*/ 3334723 w 6884782"/>
              <a:gd name="connsiteY871" fmla="*/ 5648885 h 5973007"/>
              <a:gd name="connsiteX872" fmla="*/ 3329302 w 6884782"/>
              <a:gd name="connsiteY872" fmla="*/ 5650434 h 5973007"/>
              <a:gd name="connsiteX873" fmla="*/ 3326204 w 6884782"/>
              <a:gd name="connsiteY873" fmla="*/ 5647337 h 5973007"/>
              <a:gd name="connsiteX874" fmla="*/ 3330541 w 6884782"/>
              <a:gd name="connsiteY874" fmla="*/ 5637940 h 5973007"/>
              <a:gd name="connsiteX875" fmla="*/ 3107180 w 6884782"/>
              <a:gd name="connsiteY875" fmla="*/ 5636288 h 5973007"/>
              <a:gd name="connsiteX876" fmla="*/ 3109814 w 6884782"/>
              <a:gd name="connsiteY876" fmla="*/ 5638766 h 5973007"/>
              <a:gd name="connsiteX877" fmla="*/ 3108419 w 6884782"/>
              <a:gd name="connsiteY877" fmla="*/ 5639592 h 5973007"/>
              <a:gd name="connsiteX878" fmla="*/ 3109039 w 6884782"/>
              <a:gd name="connsiteY878" fmla="*/ 5640315 h 5973007"/>
              <a:gd name="connsiteX879" fmla="*/ 3107180 w 6884782"/>
              <a:gd name="connsiteY879" fmla="*/ 5640522 h 5973007"/>
              <a:gd name="connsiteX880" fmla="*/ 3106716 w 6884782"/>
              <a:gd name="connsiteY880" fmla="*/ 5639799 h 5973007"/>
              <a:gd name="connsiteX881" fmla="*/ 3106406 w 6884782"/>
              <a:gd name="connsiteY881" fmla="*/ 5639696 h 5973007"/>
              <a:gd name="connsiteX882" fmla="*/ 3106406 w 6884782"/>
              <a:gd name="connsiteY882" fmla="*/ 5637940 h 5973007"/>
              <a:gd name="connsiteX883" fmla="*/ 3107180 w 6884782"/>
              <a:gd name="connsiteY883" fmla="*/ 5636288 h 5973007"/>
              <a:gd name="connsiteX884" fmla="*/ 3524471 w 6884782"/>
              <a:gd name="connsiteY884" fmla="*/ 5635772 h 5973007"/>
              <a:gd name="connsiteX885" fmla="*/ 3544298 w 6884782"/>
              <a:gd name="connsiteY885" fmla="*/ 5650124 h 5973007"/>
              <a:gd name="connsiteX886" fmla="*/ 3540735 w 6884782"/>
              <a:gd name="connsiteY886" fmla="*/ 5665923 h 5973007"/>
              <a:gd name="connsiteX887" fmla="*/ 3536398 w 6884782"/>
              <a:gd name="connsiteY887" fmla="*/ 5670466 h 5973007"/>
              <a:gd name="connsiteX888" fmla="*/ 3525555 w 6884782"/>
              <a:gd name="connsiteY888" fmla="*/ 5655907 h 5973007"/>
              <a:gd name="connsiteX889" fmla="*/ 3524316 w 6884782"/>
              <a:gd name="connsiteY889" fmla="*/ 5654771 h 5973007"/>
              <a:gd name="connsiteX890" fmla="*/ 3524316 w 6884782"/>
              <a:gd name="connsiteY890" fmla="*/ 5655804 h 5973007"/>
              <a:gd name="connsiteX891" fmla="*/ 3516106 w 6884782"/>
              <a:gd name="connsiteY891" fmla="*/ 5660450 h 5973007"/>
              <a:gd name="connsiteX892" fmla="*/ 3509756 w 6884782"/>
              <a:gd name="connsiteY892" fmla="*/ 5644032 h 5973007"/>
              <a:gd name="connsiteX893" fmla="*/ 3514093 w 6884782"/>
              <a:gd name="connsiteY893" fmla="*/ 5643207 h 5973007"/>
              <a:gd name="connsiteX894" fmla="*/ 3517036 w 6884782"/>
              <a:gd name="connsiteY894" fmla="*/ 5639592 h 5973007"/>
              <a:gd name="connsiteX895" fmla="*/ 3524471 w 6884782"/>
              <a:gd name="connsiteY895" fmla="*/ 5635772 h 5973007"/>
              <a:gd name="connsiteX896" fmla="*/ 2827902 w 6884782"/>
              <a:gd name="connsiteY896" fmla="*/ 5635669 h 5973007"/>
              <a:gd name="connsiteX897" fmla="*/ 2832394 w 6884782"/>
              <a:gd name="connsiteY897" fmla="*/ 5637940 h 5973007"/>
              <a:gd name="connsiteX898" fmla="*/ 2833014 w 6884782"/>
              <a:gd name="connsiteY898" fmla="*/ 5648369 h 5973007"/>
              <a:gd name="connsiteX899" fmla="*/ 2824185 w 6884782"/>
              <a:gd name="connsiteY899" fmla="*/ 5650641 h 5973007"/>
              <a:gd name="connsiteX900" fmla="*/ 2823565 w 6884782"/>
              <a:gd name="connsiteY900" fmla="*/ 5652499 h 5973007"/>
              <a:gd name="connsiteX901" fmla="*/ 2820467 w 6884782"/>
              <a:gd name="connsiteY901" fmla="*/ 5654358 h 5973007"/>
              <a:gd name="connsiteX902" fmla="*/ 2819383 w 6884782"/>
              <a:gd name="connsiteY902" fmla="*/ 5652706 h 5973007"/>
              <a:gd name="connsiteX903" fmla="*/ 2822326 w 6884782"/>
              <a:gd name="connsiteY903" fmla="*/ 5649918 h 5973007"/>
              <a:gd name="connsiteX904" fmla="*/ 2822171 w 6884782"/>
              <a:gd name="connsiteY904" fmla="*/ 5649092 h 5973007"/>
              <a:gd name="connsiteX905" fmla="*/ 2820312 w 6884782"/>
              <a:gd name="connsiteY905" fmla="*/ 5647337 h 5973007"/>
              <a:gd name="connsiteX906" fmla="*/ 2819073 w 6884782"/>
              <a:gd name="connsiteY906" fmla="*/ 5638766 h 5973007"/>
              <a:gd name="connsiteX907" fmla="*/ 2827902 w 6884782"/>
              <a:gd name="connsiteY907" fmla="*/ 5635669 h 5973007"/>
              <a:gd name="connsiteX908" fmla="*/ 3176884 w 6884782"/>
              <a:gd name="connsiteY908" fmla="*/ 5634430 h 5973007"/>
              <a:gd name="connsiteX909" fmla="*/ 3177503 w 6884782"/>
              <a:gd name="connsiteY909" fmla="*/ 5636391 h 5973007"/>
              <a:gd name="connsiteX910" fmla="*/ 3177968 w 6884782"/>
              <a:gd name="connsiteY910" fmla="*/ 5635875 h 5973007"/>
              <a:gd name="connsiteX911" fmla="*/ 3182150 w 6884782"/>
              <a:gd name="connsiteY911" fmla="*/ 5634740 h 5973007"/>
              <a:gd name="connsiteX912" fmla="*/ 3179362 w 6884782"/>
              <a:gd name="connsiteY912" fmla="*/ 5637217 h 5973007"/>
              <a:gd name="connsiteX913" fmla="*/ 3178123 w 6884782"/>
              <a:gd name="connsiteY913" fmla="*/ 5638147 h 5973007"/>
              <a:gd name="connsiteX914" fmla="*/ 3178897 w 6884782"/>
              <a:gd name="connsiteY914" fmla="*/ 5640522 h 5973007"/>
              <a:gd name="connsiteX915" fmla="*/ 3175799 w 6884782"/>
              <a:gd name="connsiteY915" fmla="*/ 5646614 h 5973007"/>
              <a:gd name="connsiteX916" fmla="*/ 3168829 w 6884782"/>
              <a:gd name="connsiteY916" fmla="*/ 5639076 h 5973007"/>
              <a:gd name="connsiteX917" fmla="*/ 3176884 w 6884782"/>
              <a:gd name="connsiteY917" fmla="*/ 5634430 h 5973007"/>
              <a:gd name="connsiteX918" fmla="*/ 3272455 w 6884782"/>
              <a:gd name="connsiteY918" fmla="*/ 5633294 h 5973007"/>
              <a:gd name="connsiteX919" fmla="*/ 3270751 w 6884782"/>
              <a:gd name="connsiteY919" fmla="*/ 5642484 h 5973007"/>
              <a:gd name="connsiteX920" fmla="*/ 3269357 w 6884782"/>
              <a:gd name="connsiteY920" fmla="*/ 5640522 h 5973007"/>
              <a:gd name="connsiteX921" fmla="*/ 3272455 w 6884782"/>
              <a:gd name="connsiteY921" fmla="*/ 5633294 h 5973007"/>
              <a:gd name="connsiteX922" fmla="*/ 3029422 w 6884782"/>
              <a:gd name="connsiteY922" fmla="*/ 5632984 h 5973007"/>
              <a:gd name="connsiteX923" fmla="*/ 3024001 w 6884782"/>
              <a:gd name="connsiteY923" fmla="*/ 5643722 h 5973007"/>
              <a:gd name="connsiteX924" fmla="*/ 3019819 w 6884782"/>
              <a:gd name="connsiteY924" fmla="*/ 5642897 h 5973007"/>
              <a:gd name="connsiteX925" fmla="*/ 3029422 w 6884782"/>
              <a:gd name="connsiteY925" fmla="*/ 5632984 h 5973007"/>
              <a:gd name="connsiteX926" fmla="*/ 3559632 w 6884782"/>
              <a:gd name="connsiteY926" fmla="*/ 5631951 h 5973007"/>
              <a:gd name="connsiteX927" fmla="*/ 3560562 w 6884782"/>
              <a:gd name="connsiteY927" fmla="*/ 5648885 h 5973007"/>
              <a:gd name="connsiteX928" fmla="*/ 3557464 w 6884782"/>
              <a:gd name="connsiteY928" fmla="*/ 5647130 h 5973007"/>
              <a:gd name="connsiteX929" fmla="*/ 3558238 w 6884782"/>
              <a:gd name="connsiteY929" fmla="*/ 5645581 h 5973007"/>
              <a:gd name="connsiteX930" fmla="*/ 3559632 w 6884782"/>
              <a:gd name="connsiteY930" fmla="*/ 5631951 h 5973007"/>
              <a:gd name="connsiteX931" fmla="*/ 3555140 w 6884782"/>
              <a:gd name="connsiteY931" fmla="*/ 5631539 h 5973007"/>
              <a:gd name="connsiteX932" fmla="*/ 3555915 w 6884782"/>
              <a:gd name="connsiteY932" fmla="*/ 5631951 h 5973007"/>
              <a:gd name="connsiteX933" fmla="*/ 3554056 w 6884782"/>
              <a:gd name="connsiteY933" fmla="*/ 5640831 h 5973007"/>
              <a:gd name="connsiteX934" fmla="*/ 3552352 w 6884782"/>
              <a:gd name="connsiteY934" fmla="*/ 5643516 h 5973007"/>
              <a:gd name="connsiteX935" fmla="*/ 3552817 w 6884782"/>
              <a:gd name="connsiteY935" fmla="*/ 5642690 h 5973007"/>
              <a:gd name="connsiteX936" fmla="*/ 3551733 w 6884782"/>
              <a:gd name="connsiteY936" fmla="*/ 5643103 h 5973007"/>
              <a:gd name="connsiteX937" fmla="*/ 3555140 w 6884782"/>
              <a:gd name="connsiteY937" fmla="*/ 5631539 h 5973007"/>
              <a:gd name="connsiteX938" fmla="*/ 2995965 w 6884782"/>
              <a:gd name="connsiteY938" fmla="*/ 5629370 h 5973007"/>
              <a:gd name="connsiteX939" fmla="*/ 2998443 w 6884782"/>
              <a:gd name="connsiteY939" fmla="*/ 5632261 h 5973007"/>
              <a:gd name="connsiteX940" fmla="*/ 2991628 w 6884782"/>
              <a:gd name="connsiteY940" fmla="*/ 5639489 h 5973007"/>
              <a:gd name="connsiteX941" fmla="*/ 2987910 w 6884782"/>
              <a:gd name="connsiteY941" fmla="*/ 5635152 h 5973007"/>
              <a:gd name="connsiteX942" fmla="*/ 2995965 w 6884782"/>
              <a:gd name="connsiteY942" fmla="*/ 5629370 h 5973007"/>
              <a:gd name="connsiteX943" fmla="*/ 2899619 w 6884782"/>
              <a:gd name="connsiteY943" fmla="*/ 5626892 h 5973007"/>
              <a:gd name="connsiteX944" fmla="*/ 2900084 w 6884782"/>
              <a:gd name="connsiteY944" fmla="*/ 5630403 h 5973007"/>
              <a:gd name="connsiteX945" fmla="*/ 2894353 w 6884782"/>
              <a:gd name="connsiteY945" fmla="*/ 5634843 h 5973007"/>
              <a:gd name="connsiteX946" fmla="*/ 2892339 w 6884782"/>
              <a:gd name="connsiteY946" fmla="*/ 5634430 h 5973007"/>
              <a:gd name="connsiteX947" fmla="*/ 2892494 w 6884782"/>
              <a:gd name="connsiteY947" fmla="*/ 5629989 h 5973007"/>
              <a:gd name="connsiteX948" fmla="*/ 2899619 w 6884782"/>
              <a:gd name="connsiteY948" fmla="*/ 5626892 h 5973007"/>
              <a:gd name="connsiteX949" fmla="*/ 2809624 w 6884782"/>
              <a:gd name="connsiteY949" fmla="*/ 5626376 h 5973007"/>
              <a:gd name="connsiteX950" fmla="*/ 2815510 w 6884782"/>
              <a:gd name="connsiteY950" fmla="*/ 5631125 h 5973007"/>
              <a:gd name="connsiteX951" fmla="*/ 2815046 w 6884782"/>
              <a:gd name="connsiteY951" fmla="*/ 5636288 h 5973007"/>
              <a:gd name="connsiteX952" fmla="*/ 2809315 w 6884782"/>
              <a:gd name="connsiteY952" fmla="*/ 5642174 h 5973007"/>
              <a:gd name="connsiteX953" fmla="*/ 2806372 w 6884782"/>
              <a:gd name="connsiteY953" fmla="*/ 5639283 h 5973007"/>
              <a:gd name="connsiteX954" fmla="*/ 2809624 w 6884782"/>
              <a:gd name="connsiteY954" fmla="*/ 5626376 h 5973007"/>
              <a:gd name="connsiteX955" fmla="*/ 3204300 w 6884782"/>
              <a:gd name="connsiteY955" fmla="*/ 5626169 h 5973007"/>
              <a:gd name="connsiteX956" fmla="*/ 3212200 w 6884782"/>
              <a:gd name="connsiteY956" fmla="*/ 5629060 h 5973007"/>
              <a:gd name="connsiteX957" fmla="*/ 3200273 w 6884782"/>
              <a:gd name="connsiteY957" fmla="*/ 5646511 h 5973007"/>
              <a:gd name="connsiteX958" fmla="*/ 3197950 w 6884782"/>
              <a:gd name="connsiteY958" fmla="*/ 5641657 h 5973007"/>
              <a:gd name="connsiteX959" fmla="*/ 3199653 w 6884782"/>
              <a:gd name="connsiteY959" fmla="*/ 5633087 h 5973007"/>
              <a:gd name="connsiteX960" fmla="*/ 3200738 w 6884782"/>
              <a:gd name="connsiteY960" fmla="*/ 5631539 h 5973007"/>
              <a:gd name="connsiteX961" fmla="*/ 3200893 w 6884782"/>
              <a:gd name="connsiteY961" fmla="*/ 5630919 h 5973007"/>
              <a:gd name="connsiteX962" fmla="*/ 3201822 w 6884782"/>
              <a:gd name="connsiteY962" fmla="*/ 5629989 h 5973007"/>
              <a:gd name="connsiteX963" fmla="*/ 3140018 w 6884782"/>
              <a:gd name="connsiteY963" fmla="*/ 5626066 h 5973007"/>
              <a:gd name="connsiteX964" fmla="*/ 3139708 w 6884782"/>
              <a:gd name="connsiteY964" fmla="*/ 5630506 h 5973007"/>
              <a:gd name="connsiteX965" fmla="*/ 3136611 w 6884782"/>
              <a:gd name="connsiteY965" fmla="*/ 5632571 h 5973007"/>
              <a:gd name="connsiteX966" fmla="*/ 3132738 w 6884782"/>
              <a:gd name="connsiteY966" fmla="*/ 5632158 h 5973007"/>
              <a:gd name="connsiteX967" fmla="*/ 3133513 w 6884782"/>
              <a:gd name="connsiteY967" fmla="*/ 5632158 h 5973007"/>
              <a:gd name="connsiteX968" fmla="*/ 3133823 w 6884782"/>
              <a:gd name="connsiteY968" fmla="*/ 5630403 h 5973007"/>
              <a:gd name="connsiteX969" fmla="*/ 3132893 w 6884782"/>
              <a:gd name="connsiteY969" fmla="*/ 5630299 h 5973007"/>
              <a:gd name="connsiteX970" fmla="*/ 3133823 w 6884782"/>
              <a:gd name="connsiteY970" fmla="*/ 5628647 h 5973007"/>
              <a:gd name="connsiteX971" fmla="*/ 3140018 w 6884782"/>
              <a:gd name="connsiteY971" fmla="*/ 5626066 h 5973007"/>
              <a:gd name="connsiteX972" fmla="*/ 3688622 w 6884782"/>
              <a:gd name="connsiteY972" fmla="*/ 5625356 h 5973007"/>
              <a:gd name="connsiteX973" fmla="*/ 3695476 w 6884782"/>
              <a:gd name="connsiteY973" fmla="*/ 5630712 h 5973007"/>
              <a:gd name="connsiteX974" fmla="*/ 3685563 w 6884782"/>
              <a:gd name="connsiteY974" fmla="*/ 5637527 h 5973007"/>
              <a:gd name="connsiteX975" fmla="*/ 3681846 w 6884782"/>
              <a:gd name="connsiteY975" fmla="*/ 5637217 h 5973007"/>
              <a:gd name="connsiteX976" fmla="*/ 3679677 w 6884782"/>
              <a:gd name="connsiteY976" fmla="*/ 5627202 h 5973007"/>
              <a:gd name="connsiteX977" fmla="*/ 3688622 w 6884782"/>
              <a:gd name="connsiteY977" fmla="*/ 5625356 h 5973007"/>
              <a:gd name="connsiteX978" fmla="*/ 3558703 w 6884782"/>
              <a:gd name="connsiteY978" fmla="*/ 5623794 h 5973007"/>
              <a:gd name="connsiteX979" fmla="*/ 3559632 w 6884782"/>
              <a:gd name="connsiteY979" fmla="*/ 5628234 h 5973007"/>
              <a:gd name="connsiteX980" fmla="*/ 3558548 w 6884782"/>
              <a:gd name="connsiteY980" fmla="*/ 5628544 h 5973007"/>
              <a:gd name="connsiteX981" fmla="*/ 3558703 w 6884782"/>
              <a:gd name="connsiteY981" fmla="*/ 5623794 h 5973007"/>
              <a:gd name="connsiteX982" fmla="*/ 3255261 w 6884782"/>
              <a:gd name="connsiteY982" fmla="*/ 5623484 h 5973007"/>
              <a:gd name="connsiteX983" fmla="*/ 3264710 w 6884782"/>
              <a:gd name="connsiteY983" fmla="*/ 5630506 h 5973007"/>
              <a:gd name="connsiteX984" fmla="*/ 3263316 w 6884782"/>
              <a:gd name="connsiteY984" fmla="*/ 5634843 h 5973007"/>
              <a:gd name="connsiteX985" fmla="*/ 3258979 w 6884782"/>
              <a:gd name="connsiteY985" fmla="*/ 5634946 h 5973007"/>
              <a:gd name="connsiteX986" fmla="*/ 3257585 w 6884782"/>
              <a:gd name="connsiteY986" fmla="*/ 5633604 h 5973007"/>
              <a:gd name="connsiteX987" fmla="*/ 3255726 w 6884782"/>
              <a:gd name="connsiteY987" fmla="*/ 5634946 h 5973007"/>
              <a:gd name="connsiteX988" fmla="*/ 3251389 w 6884782"/>
              <a:gd name="connsiteY988" fmla="*/ 5637527 h 5973007"/>
              <a:gd name="connsiteX989" fmla="*/ 3248601 w 6884782"/>
              <a:gd name="connsiteY989" fmla="*/ 5634223 h 5973007"/>
              <a:gd name="connsiteX990" fmla="*/ 3249685 w 6884782"/>
              <a:gd name="connsiteY990" fmla="*/ 5629680 h 5973007"/>
              <a:gd name="connsiteX991" fmla="*/ 3250459 w 6884782"/>
              <a:gd name="connsiteY991" fmla="*/ 5628750 h 5973007"/>
              <a:gd name="connsiteX992" fmla="*/ 3254952 w 6884782"/>
              <a:gd name="connsiteY992" fmla="*/ 5625653 h 5973007"/>
              <a:gd name="connsiteX993" fmla="*/ 3089367 w 6884782"/>
              <a:gd name="connsiteY993" fmla="*/ 5623484 h 5973007"/>
              <a:gd name="connsiteX994" fmla="*/ 3090297 w 6884782"/>
              <a:gd name="connsiteY994" fmla="*/ 5629783 h 5973007"/>
              <a:gd name="connsiteX995" fmla="*/ 3088903 w 6884782"/>
              <a:gd name="connsiteY995" fmla="*/ 5626892 h 5973007"/>
              <a:gd name="connsiteX996" fmla="*/ 3089367 w 6884782"/>
              <a:gd name="connsiteY996" fmla="*/ 5623484 h 5973007"/>
              <a:gd name="connsiteX997" fmla="*/ 2908139 w 6884782"/>
              <a:gd name="connsiteY997" fmla="*/ 5622761 h 5973007"/>
              <a:gd name="connsiteX998" fmla="*/ 2908603 w 6884782"/>
              <a:gd name="connsiteY998" fmla="*/ 5625550 h 5973007"/>
              <a:gd name="connsiteX999" fmla="*/ 2907054 w 6884782"/>
              <a:gd name="connsiteY999" fmla="*/ 5626582 h 5973007"/>
              <a:gd name="connsiteX1000" fmla="*/ 2906744 w 6884782"/>
              <a:gd name="connsiteY1000" fmla="*/ 5629267 h 5973007"/>
              <a:gd name="connsiteX1001" fmla="*/ 2905041 w 6884782"/>
              <a:gd name="connsiteY1001" fmla="*/ 5629370 h 5973007"/>
              <a:gd name="connsiteX1002" fmla="*/ 2905970 w 6884782"/>
              <a:gd name="connsiteY1002" fmla="*/ 5623794 h 5973007"/>
              <a:gd name="connsiteX1003" fmla="*/ 2908139 w 6884782"/>
              <a:gd name="connsiteY1003" fmla="*/ 5622761 h 5973007"/>
              <a:gd name="connsiteX1004" fmla="*/ 3277256 w 6884782"/>
              <a:gd name="connsiteY1004" fmla="*/ 5621006 h 5973007"/>
              <a:gd name="connsiteX1005" fmla="*/ 3281129 w 6884782"/>
              <a:gd name="connsiteY1005" fmla="*/ 5627511 h 5973007"/>
              <a:gd name="connsiteX1006" fmla="*/ 3277721 w 6884782"/>
              <a:gd name="connsiteY1006" fmla="*/ 5628957 h 5973007"/>
              <a:gd name="connsiteX1007" fmla="*/ 3274933 w 6884782"/>
              <a:gd name="connsiteY1007" fmla="*/ 5627202 h 5973007"/>
              <a:gd name="connsiteX1008" fmla="*/ 3277256 w 6884782"/>
              <a:gd name="connsiteY1008" fmla="*/ 5621006 h 5973007"/>
              <a:gd name="connsiteX1009" fmla="*/ 3502631 w 6884782"/>
              <a:gd name="connsiteY1009" fmla="*/ 5620696 h 5973007"/>
              <a:gd name="connsiteX1010" fmla="*/ 3503405 w 6884782"/>
              <a:gd name="connsiteY1010" fmla="*/ 5621110 h 5973007"/>
              <a:gd name="connsiteX1011" fmla="*/ 3503250 w 6884782"/>
              <a:gd name="connsiteY1011" fmla="*/ 5623072 h 5973007"/>
              <a:gd name="connsiteX1012" fmla="*/ 3499223 w 6884782"/>
              <a:gd name="connsiteY1012" fmla="*/ 5630196 h 5973007"/>
              <a:gd name="connsiteX1013" fmla="*/ 3498448 w 6884782"/>
              <a:gd name="connsiteY1013" fmla="*/ 5631745 h 5973007"/>
              <a:gd name="connsiteX1014" fmla="*/ 3496280 w 6884782"/>
              <a:gd name="connsiteY1014" fmla="*/ 5632364 h 5973007"/>
              <a:gd name="connsiteX1015" fmla="*/ 3498603 w 6884782"/>
              <a:gd name="connsiteY1015" fmla="*/ 5625137 h 5973007"/>
              <a:gd name="connsiteX1016" fmla="*/ 3500462 w 6884782"/>
              <a:gd name="connsiteY1016" fmla="*/ 5621419 h 5973007"/>
              <a:gd name="connsiteX1017" fmla="*/ 3502631 w 6884782"/>
              <a:gd name="connsiteY1017" fmla="*/ 5620696 h 5973007"/>
              <a:gd name="connsiteX1018" fmla="*/ 2672231 w 6884782"/>
              <a:gd name="connsiteY1018" fmla="*/ 5618838 h 5973007"/>
              <a:gd name="connsiteX1019" fmla="*/ 2673316 w 6884782"/>
              <a:gd name="connsiteY1019" fmla="*/ 5635359 h 5973007"/>
              <a:gd name="connsiteX1020" fmla="*/ 2663557 w 6884782"/>
              <a:gd name="connsiteY1020" fmla="*/ 5624723 h 5973007"/>
              <a:gd name="connsiteX1021" fmla="*/ 2672231 w 6884782"/>
              <a:gd name="connsiteY1021" fmla="*/ 5618838 h 5973007"/>
              <a:gd name="connsiteX1022" fmla="*/ 2904266 w 6884782"/>
              <a:gd name="connsiteY1022" fmla="*/ 5616256 h 5973007"/>
              <a:gd name="connsiteX1023" fmla="*/ 2903492 w 6884782"/>
              <a:gd name="connsiteY1023" fmla="*/ 5618115 h 5973007"/>
              <a:gd name="connsiteX1024" fmla="*/ 2900703 w 6884782"/>
              <a:gd name="connsiteY1024" fmla="*/ 5622555 h 5973007"/>
              <a:gd name="connsiteX1025" fmla="*/ 2899465 w 6884782"/>
              <a:gd name="connsiteY1025" fmla="*/ 5620077 h 5973007"/>
              <a:gd name="connsiteX1026" fmla="*/ 2901013 w 6884782"/>
              <a:gd name="connsiteY1026" fmla="*/ 5618218 h 5973007"/>
              <a:gd name="connsiteX1027" fmla="*/ 2901633 w 6884782"/>
              <a:gd name="connsiteY1027" fmla="*/ 5616360 h 5973007"/>
              <a:gd name="connsiteX1028" fmla="*/ 2904266 w 6884782"/>
              <a:gd name="connsiteY1028" fmla="*/ 5616256 h 5973007"/>
              <a:gd name="connsiteX1029" fmla="*/ 2996120 w 6884782"/>
              <a:gd name="connsiteY1029" fmla="*/ 5615740 h 5973007"/>
              <a:gd name="connsiteX1030" fmla="*/ 2999527 w 6884782"/>
              <a:gd name="connsiteY1030" fmla="*/ 5622142 h 5973007"/>
              <a:gd name="connsiteX1031" fmla="*/ 2997514 w 6884782"/>
              <a:gd name="connsiteY1031" fmla="*/ 5628234 h 5973007"/>
              <a:gd name="connsiteX1032" fmla="*/ 2994106 w 6884782"/>
              <a:gd name="connsiteY1032" fmla="*/ 5626169 h 5973007"/>
              <a:gd name="connsiteX1033" fmla="*/ 2994571 w 6884782"/>
              <a:gd name="connsiteY1033" fmla="*/ 5621110 h 5973007"/>
              <a:gd name="connsiteX1034" fmla="*/ 2994261 w 6884782"/>
              <a:gd name="connsiteY1034" fmla="*/ 5617806 h 5973007"/>
              <a:gd name="connsiteX1035" fmla="*/ 2996120 w 6884782"/>
              <a:gd name="connsiteY1035" fmla="*/ 5615740 h 5973007"/>
              <a:gd name="connsiteX1036" fmla="*/ 2833014 w 6884782"/>
              <a:gd name="connsiteY1036" fmla="*/ 5612539 h 5973007"/>
              <a:gd name="connsiteX1037" fmla="*/ 2828522 w 6884782"/>
              <a:gd name="connsiteY1037" fmla="*/ 5619871 h 5973007"/>
              <a:gd name="connsiteX1038" fmla="*/ 2833014 w 6884782"/>
              <a:gd name="connsiteY1038" fmla="*/ 5612539 h 5973007"/>
              <a:gd name="connsiteX1039" fmla="*/ 2869879 w 6884782"/>
              <a:gd name="connsiteY1039" fmla="*/ 5612229 h 5973007"/>
              <a:gd name="connsiteX1040" fmla="*/ 2866936 w 6884782"/>
              <a:gd name="connsiteY1040" fmla="*/ 5615017 h 5973007"/>
              <a:gd name="connsiteX1041" fmla="*/ 2866007 w 6884782"/>
              <a:gd name="connsiteY1041" fmla="*/ 5614191 h 5973007"/>
              <a:gd name="connsiteX1042" fmla="*/ 2869879 w 6884782"/>
              <a:gd name="connsiteY1042" fmla="*/ 5612229 h 5973007"/>
              <a:gd name="connsiteX1043" fmla="*/ 3305777 w 6884782"/>
              <a:gd name="connsiteY1043" fmla="*/ 5610810 h 5973007"/>
              <a:gd name="connsiteX1044" fmla="*/ 3308700 w 6884782"/>
              <a:gd name="connsiteY1044" fmla="*/ 5615017 h 5973007"/>
              <a:gd name="connsiteX1045" fmla="*/ 3305138 w 6884782"/>
              <a:gd name="connsiteY1045" fmla="*/ 5615534 h 5973007"/>
              <a:gd name="connsiteX1046" fmla="*/ 3303434 w 6884782"/>
              <a:gd name="connsiteY1046" fmla="*/ 5614811 h 5973007"/>
              <a:gd name="connsiteX1047" fmla="*/ 3305777 w 6884782"/>
              <a:gd name="connsiteY1047" fmla="*/ 5610810 h 5973007"/>
              <a:gd name="connsiteX1048" fmla="*/ 3226141 w 6884782"/>
              <a:gd name="connsiteY1048" fmla="*/ 5609648 h 5973007"/>
              <a:gd name="connsiteX1049" fmla="*/ 3238997 w 6884782"/>
              <a:gd name="connsiteY1049" fmla="*/ 5620283 h 5973007"/>
              <a:gd name="connsiteX1050" fmla="*/ 3235744 w 6884782"/>
              <a:gd name="connsiteY1050" fmla="*/ 5623278 h 5973007"/>
              <a:gd name="connsiteX1051" fmla="*/ 3232027 w 6884782"/>
              <a:gd name="connsiteY1051" fmla="*/ 5622761 h 5973007"/>
              <a:gd name="connsiteX1052" fmla="*/ 3228774 w 6884782"/>
              <a:gd name="connsiteY1052" fmla="*/ 5621006 h 5973007"/>
              <a:gd name="connsiteX1053" fmla="*/ 3226760 w 6884782"/>
              <a:gd name="connsiteY1053" fmla="*/ 5617806 h 5973007"/>
              <a:gd name="connsiteX1054" fmla="*/ 3223353 w 6884782"/>
              <a:gd name="connsiteY1054" fmla="*/ 5612539 h 5973007"/>
              <a:gd name="connsiteX1055" fmla="*/ 3226141 w 6884782"/>
              <a:gd name="connsiteY1055" fmla="*/ 5609648 h 5973007"/>
              <a:gd name="connsiteX1056" fmla="*/ 2974899 w 6884782"/>
              <a:gd name="connsiteY1056" fmla="*/ 5608512 h 5973007"/>
              <a:gd name="connsiteX1057" fmla="*/ 2980011 w 6884782"/>
              <a:gd name="connsiteY1057" fmla="*/ 5610784 h 5973007"/>
              <a:gd name="connsiteX1058" fmla="*/ 2984658 w 6884782"/>
              <a:gd name="connsiteY1058" fmla="*/ 5616876 h 5973007"/>
              <a:gd name="connsiteX1059" fmla="*/ 2983418 w 6884782"/>
              <a:gd name="connsiteY1059" fmla="*/ 5617289 h 5973007"/>
              <a:gd name="connsiteX1060" fmla="*/ 2974899 w 6884782"/>
              <a:gd name="connsiteY1060" fmla="*/ 5608512 h 5973007"/>
              <a:gd name="connsiteX1061" fmla="*/ 3628251 w 6884782"/>
              <a:gd name="connsiteY1061" fmla="*/ 5607893 h 5973007"/>
              <a:gd name="connsiteX1062" fmla="*/ 3635377 w 6884782"/>
              <a:gd name="connsiteY1062" fmla="*/ 5609132 h 5973007"/>
              <a:gd name="connsiteX1063" fmla="*/ 3635532 w 6884782"/>
              <a:gd name="connsiteY1063" fmla="*/ 5611094 h 5973007"/>
              <a:gd name="connsiteX1064" fmla="*/ 3635067 w 6884782"/>
              <a:gd name="connsiteY1064" fmla="*/ 5613159 h 5973007"/>
              <a:gd name="connsiteX1065" fmla="*/ 3631969 w 6884782"/>
              <a:gd name="connsiteY1065" fmla="*/ 5616566 h 5973007"/>
              <a:gd name="connsiteX1066" fmla="*/ 3629491 w 6884782"/>
              <a:gd name="connsiteY1066" fmla="*/ 5616876 h 5973007"/>
              <a:gd name="connsiteX1067" fmla="*/ 3628096 w 6884782"/>
              <a:gd name="connsiteY1067" fmla="*/ 5616360 h 5973007"/>
              <a:gd name="connsiteX1068" fmla="*/ 3626703 w 6884782"/>
              <a:gd name="connsiteY1068" fmla="*/ 5615534 h 5973007"/>
              <a:gd name="connsiteX1069" fmla="*/ 3628251 w 6884782"/>
              <a:gd name="connsiteY1069" fmla="*/ 5607893 h 5973007"/>
              <a:gd name="connsiteX1070" fmla="*/ 3584571 w 6884782"/>
              <a:gd name="connsiteY1070" fmla="*/ 5607067 h 5973007"/>
              <a:gd name="connsiteX1071" fmla="*/ 3587669 w 6884782"/>
              <a:gd name="connsiteY1071" fmla="*/ 5608822 h 5973007"/>
              <a:gd name="connsiteX1072" fmla="*/ 3588598 w 6884782"/>
              <a:gd name="connsiteY1072" fmla="*/ 5616566 h 5973007"/>
              <a:gd name="connsiteX1073" fmla="*/ 3587204 w 6884782"/>
              <a:gd name="connsiteY1073" fmla="*/ 5618012 h 5973007"/>
              <a:gd name="connsiteX1074" fmla="*/ 3583641 w 6884782"/>
              <a:gd name="connsiteY1074" fmla="*/ 5615121 h 5973007"/>
              <a:gd name="connsiteX1075" fmla="*/ 3584571 w 6884782"/>
              <a:gd name="connsiteY1075" fmla="*/ 5607067 h 5973007"/>
              <a:gd name="connsiteX1076" fmla="*/ 2975054 w 6884782"/>
              <a:gd name="connsiteY1076" fmla="*/ 5605311 h 5973007"/>
              <a:gd name="connsiteX1077" fmla="*/ 2962197 w 6884782"/>
              <a:gd name="connsiteY1077" fmla="*/ 5613262 h 5973007"/>
              <a:gd name="connsiteX1078" fmla="*/ 2961423 w 6884782"/>
              <a:gd name="connsiteY1078" fmla="*/ 5612849 h 5973007"/>
              <a:gd name="connsiteX1079" fmla="*/ 2961888 w 6884782"/>
              <a:gd name="connsiteY1079" fmla="*/ 5610681 h 5973007"/>
              <a:gd name="connsiteX1080" fmla="*/ 2965140 w 6884782"/>
              <a:gd name="connsiteY1080" fmla="*/ 5608719 h 5973007"/>
              <a:gd name="connsiteX1081" fmla="*/ 2973350 w 6884782"/>
              <a:gd name="connsiteY1081" fmla="*/ 5606447 h 5973007"/>
              <a:gd name="connsiteX1082" fmla="*/ 2975054 w 6884782"/>
              <a:gd name="connsiteY1082" fmla="*/ 5605311 h 5973007"/>
              <a:gd name="connsiteX1083" fmla="*/ 2813032 w 6884782"/>
              <a:gd name="connsiteY1083" fmla="*/ 5605208 h 5973007"/>
              <a:gd name="connsiteX1084" fmla="*/ 2816130 w 6884782"/>
              <a:gd name="connsiteY1084" fmla="*/ 5614708 h 5973007"/>
              <a:gd name="connsiteX1085" fmla="*/ 2813497 w 6884782"/>
              <a:gd name="connsiteY1085" fmla="*/ 5625137 h 5973007"/>
              <a:gd name="connsiteX1086" fmla="*/ 2811019 w 6884782"/>
              <a:gd name="connsiteY1086" fmla="*/ 5620903 h 5973007"/>
              <a:gd name="connsiteX1087" fmla="*/ 2813032 w 6884782"/>
              <a:gd name="connsiteY1087" fmla="*/ 5605208 h 5973007"/>
              <a:gd name="connsiteX1088" fmla="*/ 2681409 w 6884782"/>
              <a:gd name="connsiteY1088" fmla="*/ 5604563 h 5973007"/>
              <a:gd name="connsiteX1089" fmla="*/ 2695311 w 6884782"/>
              <a:gd name="connsiteY1089" fmla="*/ 5606654 h 5973007"/>
              <a:gd name="connsiteX1090" fmla="*/ 2669134 w 6884782"/>
              <a:gd name="connsiteY1090" fmla="*/ 5615017 h 5973007"/>
              <a:gd name="connsiteX1091" fmla="*/ 2681409 w 6884782"/>
              <a:gd name="connsiteY1091" fmla="*/ 5604563 h 5973007"/>
              <a:gd name="connsiteX1092" fmla="*/ 3626703 w 6884782"/>
              <a:gd name="connsiteY1092" fmla="*/ 5603143 h 5973007"/>
              <a:gd name="connsiteX1093" fmla="*/ 3630110 w 6884782"/>
              <a:gd name="connsiteY1093" fmla="*/ 5604072 h 5973007"/>
              <a:gd name="connsiteX1094" fmla="*/ 3629955 w 6884782"/>
              <a:gd name="connsiteY1094" fmla="*/ 5605518 h 5973007"/>
              <a:gd name="connsiteX1095" fmla="*/ 3627942 w 6884782"/>
              <a:gd name="connsiteY1095" fmla="*/ 5606757 h 5973007"/>
              <a:gd name="connsiteX1096" fmla="*/ 2981095 w 6884782"/>
              <a:gd name="connsiteY1096" fmla="*/ 5601697 h 5973007"/>
              <a:gd name="connsiteX1097" fmla="*/ 2982489 w 6884782"/>
              <a:gd name="connsiteY1097" fmla="*/ 5603762 h 5973007"/>
              <a:gd name="connsiteX1098" fmla="*/ 2977997 w 6884782"/>
              <a:gd name="connsiteY1098" fmla="*/ 5605002 h 5973007"/>
              <a:gd name="connsiteX1099" fmla="*/ 2976293 w 6884782"/>
              <a:gd name="connsiteY1099" fmla="*/ 5606138 h 5973007"/>
              <a:gd name="connsiteX1100" fmla="*/ 2976603 w 6884782"/>
              <a:gd name="connsiteY1100" fmla="*/ 5604176 h 5973007"/>
              <a:gd name="connsiteX1101" fmla="*/ 2979546 w 6884782"/>
              <a:gd name="connsiteY1101" fmla="*/ 5603969 h 5973007"/>
              <a:gd name="connsiteX1102" fmla="*/ 2979856 w 6884782"/>
              <a:gd name="connsiteY1102" fmla="*/ 5602007 h 5973007"/>
              <a:gd name="connsiteX1103" fmla="*/ 2981095 w 6884782"/>
              <a:gd name="connsiteY1103" fmla="*/ 5601697 h 5973007"/>
              <a:gd name="connsiteX1104" fmla="*/ 3094014 w 6884782"/>
              <a:gd name="connsiteY1104" fmla="*/ 5601078 h 5973007"/>
              <a:gd name="connsiteX1105" fmla="*/ 3095718 w 6884782"/>
              <a:gd name="connsiteY1105" fmla="*/ 5602317 h 5973007"/>
              <a:gd name="connsiteX1106" fmla="*/ 3096028 w 6884782"/>
              <a:gd name="connsiteY1106" fmla="*/ 5602317 h 5973007"/>
              <a:gd name="connsiteX1107" fmla="*/ 3095408 w 6884782"/>
              <a:gd name="connsiteY1107" fmla="*/ 5610164 h 5973007"/>
              <a:gd name="connsiteX1108" fmla="*/ 3092775 w 6884782"/>
              <a:gd name="connsiteY1108" fmla="*/ 5612126 h 5973007"/>
              <a:gd name="connsiteX1109" fmla="*/ 3089058 w 6884782"/>
              <a:gd name="connsiteY1109" fmla="*/ 5612229 h 5973007"/>
              <a:gd name="connsiteX1110" fmla="*/ 3086269 w 6884782"/>
              <a:gd name="connsiteY1110" fmla="*/ 5613055 h 5973007"/>
              <a:gd name="connsiteX1111" fmla="*/ 3083327 w 6884782"/>
              <a:gd name="connsiteY1111" fmla="*/ 5612643 h 5973007"/>
              <a:gd name="connsiteX1112" fmla="*/ 3081932 w 6884782"/>
              <a:gd name="connsiteY1112" fmla="*/ 5608306 h 5973007"/>
              <a:gd name="connsiteX1113" fmla="*/ 3085805 w 6884782"/>
              <a:gd name="connsiteY1113" fmla="*/ 5604176 h 5973007"/>
              <a:gd name="connsiteX1114" fmla="*/ 3085650 w 6884782"/>
              <a:gd name="connsiteY1114" fmla="*/ 5603556 h 5973007"/>
              <a:gd name="connsiteX1115" fmla="*/ 3094014 w 6884782"/>
              <a:gd name="connsiteY1115" fmla="*/ 5601078 h 5973007"/>
              <a:gd name="connsiteX1116" fmla="*/ 3020806 w 6884782"/>
              <a:gd name="connsiteY1116" fmla="*/ 5599916 h 5973007"/>
              <a:gd name="connsiteX1117" fmla="*/ 3024466 w 6884782"/>
              <a:gd name="connsiteY1117" fmla="*/ 5604382 h 5973007"/>
              <a:gd name="connsiteX1118" fmla="*/ 3023537 w 6884782"/>
              <a:gd name="connsiteY1118" fmla="*/ 5608616 h 5973007"/>
              <a:gd name="connsiteX1119" fmla="*/ 3016876 w 6884782"/>
              <a:gd name="connsiteY1119" fmla="*/ 5612436 h 5973007"/>
              <a:gd name="connsiteX1120" fmla="*/ 3014552 w 6884782"/>
              <a:gd name="connsiteY1120" fmla="*/ 5608099 h 5973007"/>
              <a:gd name="connsiteX1121" fmla="*/ 3013313 w 6884782"/>
              <a:gd name="connsiteY1121" fmla="*/ 5603969 h 5973007"/>
              <a:gd name="connsiteX1122" fmla="*/ 3020806 w 6884782"/>
              <a:gd name="connsiteY1122" fmla="*/ 5599916 h 5973007"/>
              <a:gd name="connsiteX1123" fmla="*/ 3585190 w 6884782"/>
              <a:gd name="connsiteY1123" fmla="*/ 5596948 h 5973007"/>
              <a:gd name="connsiteX1124" fmla="*/ 3587669 w 6884782"/>
              <a:gd name="connsiteY1124" fmla="*/ 5598290 h 5973007"/>
              <a:gd name="connsiteX1125" fmla="*/ 3587824 w 6884782"/>
              <a:gd name="connsiteY1125" fmla="*/ 5600252 h 5973007"/>
              <a:gd name="connsiteX1126" fmla="*/ 3589837 w 6884782"/>
              <a:gd name="connsiteY1126" fmla="*/ 5602317 h 5973007"/>
              <a:gd name="connsiteX1127" fmla="*/ 3589063 w 6884782"/>
              <a:gd name="connsiteY1127" fmla="*/ 5603762 h 5973007"/>
              <a:gd name="connsiteX1128" fmla="*/ 3585036 w 6884782"/>
              <a:gd name="connsiteY1128" fmla="*/ 5599529 h 5973007"/>
              <a:gd name="connsiteX1129" fmla="*/ 3585190 w 6884782"/>
              <a:gd name="connsiteY1129" fmla="*/ 5596948 h 5973007"/>
              <a:gd name="connsiteX1130" fmla="*/ 2914954 w 6884782"/>
              <a:gd name="connsiteY1130" fmla="*/ 5596948 h 5973007"/>
              <a:gd name="connsiteX1131" fmla="*/ 2914644 w 6884782"/>
              <a:gd name="connsiteY1131" fmla="*/ 5605105 h 5973007"/>
              <a:gd name="connsiteX1132" fmla="*/ 2913870 w 6884782"/>
              <a:gd name="connsiteY1132" fmla="*/ 5598187 h 5973007"/>
              <a:gd name="connsiteX1133" fmla="*/ 2914954 w 6884782"/>
              <a:gd name="connsiteY1133" fmla="*/ 5596948 h 5973007"/>
              <a:gd name="connsiteX1134" fmla="*/ 3578065 w 6884782"/>
              <a:gd name="connsiteY1134" fmla="*/ 5596431 h 5973007"/>
              <a:gd name="connsiteX1135" fmla="*/ 3579304 w 6884782"/>
              <a:gd name="connsiteY1135" fmla="*/ 5598083 h 5973007"/>
              <a:gd name="connsiteX1136" fmla="*/ 3581628 w 6884782"/>
              <a:gd name="connsiteY1136" fmla="*/ 5603349 h 5973007"/>
              <a:gd name="connsiteX1137" fmla="*/ 3579924 w 6884782"/>
              <a:gd name="connsiteY1137" fmla="*/ 5603969 h 5973007"/>
              <a:gd name="connsiteX1138" fmla="*/ 3578995 w 6884782"/>
              <a:gd name="connsiteY1138" fmla="*/ 5602833 h 5973007"/>
              <a:gd name="connsiteX1139" fmla="*/ 3578220 w 6884782"/>
              <a:gd name="connsiteY1139" fmla="*/ 5600355 h 5973007"/>
              <a:gd name="connsiteX1140" fmla="*/ 3576981 w 6884782"/>
              <a:gd name="connsiteY1140" fmla="*/ 5598806 h 5973007"/>
              <a:gd name="connsiteX1141" fmla="*/ 3578065 w 6884782"/>
              <a:gd name="connsiteY1141" fmla="*/ 5596431 h 5973007"/>
              <a:gd name="connsiteX1142" fmla="*/ 3559013 w 6884782"/>
              <a:gd name="connsiteY1142" fmla="*/ 5596225 h 5973007"/>
              <a:gd name="connsiteX1143" fmla="*/ 3562111 w 6884782"/>
              <a:gd name="connsiteY1143" fmla="*/ 5604176 h 5973007"/>
              <a:gd name="connsiteX1144" fmla="*/ 3561027 w 6884782"/>
              <a:gd name="connsiteY1144" fmla="*/ 5605931 h 5973007"/>
              <a:gd name="connsiteX1145" fmla="*/ 3558858 w 6884782"/>
              <a:gd name="connsiteY1145" fmla="*/ 5604588 h 5973007"/>
              <a:gd name="connsiteX1146" fmla="*/ 3559013 w 6884782"/>
              <a:gd name="connsiteY1146" fmla="*/ 5596225 h 5973007"/>
              <a:gd name="connsiteX1147" fmla="*/ 3367716 w 6884782"/>
              <a:gd name="connsiteY1147" fmla="*/ 5595192 h 5973007"/>
              <a:gd name="connsiteX1148" fmla="*/ 3367096 w 6884782"/>
              <a:gd name="connsiteY1148" fmla="*/ 5600149 h 5973007"/>
              <a:gd name="connsiteX1149" fmla="*/ 3364153 w 6884782"/>
              <a:gd name="connsiteY1149" fmla="*/ 5603453 h 5973007"/>
              <a:gd name="connsiteX1150" fmla="*/ 3363379 w 6884782"/>
              <a:gd name="connsiteY1150" fmla="*/ 5606757 h 5973007"/>
              <a:gd name="connsiteX1151" fmla="*/ 3363844 w 6884782"/>
              <a:gd name="connsiteY1151" fmla="*/ 5606034 h 5973007"/>
              <a:gd name="connsiteX1152" fmla="*/ 3371898 w 6884782"/>
              <a:gd name="connsiteY1152" fmla="*/ 5603969 h 5973007"/>
              <a:gd name="connsiteX1153" fmla="*/ 3373137 w 6884782"/>
              <a:gd name="connsiteY1153" fmla="*/ 5603866 h 5973007"/>
              <a:gd name="connsiteX1154" fmla="*/ 3313192 w 6884782"/>
              <a:gd name="connsiteY1154" fmla="*/ 5594056 h 5973007"/>
              <a:gd name="connsiteX1155" fmla="*/ 3318459 w 6884782"/>
              <a:gd name="connsiteY1155" fmla="*/ 5596121 h 5973007"/>
              <a:gd name="connsiteX1156" fmla="*/ 3319233 w 6884782"/>
              <a:gd name="connsiteY1156" fmla="*/ 5602317 h 5973007"/>
              <a:gd name="connsiteX1157" fmla="*/ 3322641 w 6884782"/>
              <a:gd name="connsiteY1157" fmla="*/ 5601801 h 5973007"/>
              <a:gd name="connsiteX1158" fmla="*/ 3325894 w 6884782"/>
              <a:gd name="connsiteY1158" fmla="*/ 5609545 h 5973007"/>
              <a:gd name="connsiteX1159" fmla="*/ 3321092 w 6884782"/>
              <a:gd name="connsiteY1159" fmla="*/ 5613675 h 5973007"/>
              <a:gd name="connsiteX1160" fmla="*/ 3314587 w 6884782"/>
              <a:gd name="connsiteY1160" fmla="*/ 5606654 h 5973007"/>
              <a:gd name="connsiteX1161" fmla="*/ 3317065 w 6884782"/>
              <a:gd name="connsiteY1161" fmla="*/ 5602833 h 5973007"/>
              <a:gd name="connsiteX1162" fmla="*/ 3315980 w 6884782"/>
              <a:gd name="connsiteY1162" fmla="*/ 5602627 h 5973007"/>
              <a:gd name="connsiteX1163" fmla="*/ 3314432 w 6884782"/>
              <a:gd name="connsiteY1163" fmla="*/ 5600561 h 5973007"/>
              <a:gd name="connsiteX1164" fmla="*/ 3313192 w 6884782"/>
              <a:gd name="connsiteY1164" fmla="*/ 5594056 h 5973007"/>
              <a:gd name="connsiteX1165" fmla="*/ 2857797 w 6884782"/>
              <a:gd name="connsiteY1165" fmla="*/ 5593540 h 5973007"/>
              <a:gd name="connsiteX1166" fmla="*/ 2863529 w 6884782"/>
              <a:gd name="connsiteY1166" fmla="*/ 5595399 h 5973007"/>
              <a:gd name="connsiteX1167" fmla="*/ 2863993 w 6884782"/>
              <a:gd name="connsiteY1167" fmla="*/ 5606654 h 5973007"/>
              <a:gd name="connsiteX1168" fmla="*/ 2856093 w 6884782"/>
              <a:gd name="connsiteY1168" fmla="*/ 5610887 h 5973007"/>
              <a:gd name="connsiteX1169" fmla="*/ 2856868 w 6884782"/>
              <a:gd name="connsiteY1169" fmla="*/ 5610887 h 5973007"/>
              <a:gd name="connsiteX1170" fmla="*/ 2858417 w 6884782"/>
              <a:gd name="connsiteY1170" fmla="*/ 5612746 h 5973007"/>
              <a:gd name="connsiteX1171" fmla="*/ 2859811 w 6884782"/>
              <a:gd name="connsiteY1171" fmla="*/ 5612746 h 5973007"/>
              <a:gd name="connsiteX1172" fmla="*/ 2861515 w 6884782"/>
              <a:gd name="connsiteY1172" fmla="*/ 5612746 h 5973007"/>
              <a:gd name="connsiteX1173" fmla="*/ 2861670 w 6884782"/>
              <a:gd name="connsiteY1173" fmla="*/ 5613572 h 5973007"/>
              <a:gd name="connsiteX1174" fmla="*/ 2859346 w 6884782"/>
              <a:gd name="connsiteY1174" fmla="*/ 5613985 h 5973007"/>
              <a:gd name="connsiteX1175" fmla="*/ 2861825 w 6884782"/>
              <a:gd name="connsiteY1175" fmla="*/ 5617083 h 5973007"/>
              <a:gd name="connsiteX1176" fmla="*/ 2863838 w 6884782"/>
              <a:gd name="connsiteY1176" fmla="*/ 5616773 h 5973007"/>
              <a:gd name="connsiteX1177" fmla="*/ 2862599 w 6884782"/>
              <a:gd name="connsiteY1177" fmla="*/ 5618321 h 5973007"/>
              <a:gd name="connsiteX1178" fmla="*/ 2863838 w 6884782"/>
              <a:gd name="connsiteY1178" fmla="*/ 5620593 h 5973007"/>
              <a:gd name="connsiteX1179" fmla="*/ 2863993 w 6884782"/>
              <a:gd name="connsiteY1179" fmla="*/ 5623072 h 5973007"/>
              <a:gd name="connsiteX1180" fmla="*/ 2861670 w 6884782"/>
              <a:gd name="connsiteY1180" fmla="*/ 5622245 h 5973007"/>
              <a:gd name="connsiteX1181" fmla="*/ 2860895 w 6884782"/>
              <a:gd name="connsiteY1181" fmla="*/ 5621316 h 5973007"/>
              <a:gd name="connsiteX1182" fmla="*/ 2860121 w 6884782"/>
              <a:gd name="connsiteY1182" fmla="*/ 5621316 h 5973007"/>
              <a:gd name="connsiteX1183" fmla="*/ 2860121 w 6884782"/>
              <a:gd name="connsiteY1183" fmla="*/ 5621006 h 5973007"/>
              <a:gd name="connsiteX1184" fmla="*/ 2856558 w 6884782"/>
              <a:gd name="connsiteY1184" fmla="*/ 5622555 h 5973007"/>
              <a:gd name="connsiteX1185" fmla="*/ 2850827 w 6884782"/>
              <a:gd name="connsiteY1185" fmla="*/ 5625550 h 5973007"/>
              <a:gd name="connsiteX1186" fmla="*/ 2850362 w 6884782"/>
              <a:gd name="connsiteY1186" fmla="*/ 5622039 h 5973007"/>
              <a:gd name="connsiteX1187" fmla="*/ 2852066 w 6884782"/>
              <a:gd name="connsiteY1187" fmla="*/ 5621936 h 5973007"/>
              <a:gd name="connsiteX1188" fmla="*/ 2857023 w 6884782"/>
              <a:gd name="connsiteY1188" fmla="*/ 5618012 h 5973007"/>
              <a:gd name="connsiteX1189" fmla="*/ 2857488 w 6884782"/>
              <a:gd name="connsiteY1189" fmla="*/ 5617909 h 5973007"/>
              <a:gd name="connsiteX1190" fmla="*/ 2855939 w 6884782"/>
              <a:gd name="connsiteY1190" fmla="*/ 5617083 h 5973007"/>
              <a:gd name="connsiteX1191" fmla="*/ 2853925 w 6884782"/>
              <a:gd name="connsiteY1191" fmla="*/ 5616050 h 5973007"/>
              <a:gd name="connsiteX1192" fmla="*/ 2853770 w 6884782"/>
              <a:gd name="connsiteY1192" fmla="*/ 5615844 h 5973007"/>
              <a:gd name="connsiteX1193" fmla="*/ 2853305 w 6884782"/>
              <a:gd name="connsiteY1193" fmla="*/ 5616050 h 5973007"/>
              <a:gd name="connsiteX1194" fmla="*/ 2850053 w 6884782"/>
              <a:gd name="connsiteY1194" fmla="*/ 5615947 h 5973007"/>
              <a:gd name="connsiteX1195" fmla="*/ 2850982 w 6884782"/>
              <a:gd name="connsiteY1195" fmla="*/ 5615844 h 5973007"/>
              <a:gd name="connsiteX1196" fmla="*/ 2850053 w 6884782"/>
              <a:gd name="connsiteY1196" fmla="*/ 5615121 h 5973007"/>
              <a:gd name="connsiteX1197" fmla="*/ 2852686 w 6884782"/>
              <a:gd name="connsiteY1197" fmla="*/ 5614191 h 5973007"/>
              <a:gd name="connsiteX1198" fmla="*/ 2852376 w 6884782"/>
              <a:gd name="connsiteY1198" fmla="*/ 5613675 h 5973007"/>
              <a:gd name="connsiteX1199" fmla="*/ 2850982 w 6884782"/>
              <a:gd name="connsiteY1199" fmla="*/ 5610784 h 5973007"/>
              <a:gd name="connsiteX1200" fmla="*/ 2852841 w 6884782"/>
              <a:gd name="connsiteY1200" fmla="*/ 5609028 h 5973007"/>
              <a:gd name="connsiteX1201" fmla="*/ 2851292 w 6884782"/>
              <a:gd name="connsiteY1201" fmla="*/ 5607273 h 5973007"/>
              <a:gd name="connsiteX1202" fmla="*/ 2853305 w 6884782"/>
              <a:gd name="connsiteY1202" fmla="*/ 5596121 h 5973007"/>
              <a:gd name="connsiteX1203" fmla="*/ 2857797 w 6884782"/>
              <a:gd name="connsiteY1203" fmla="*/ 5593540 h 5973007"/>
              <a:gd name="connsiteX1204" fmla="*/ 3629646 w 6884782"/>
              <a:gd name="connsiteY1204" fmla="*/ 5592405 h 5973007"/>
              <a:gd name="connsiteX1205" fmla="*/ 3634138 w 6884782"/>
              <a:gd name="connsiteY1205" fmla="*/ 5594986 h 5973007"/>
              <a:gd name="connsiteX1206" fmla="*/ 3634138 w 6884782"/>
              <a:gd name="connsiteY1206" fmla="*/ 5596948 h 5973007"/>
              <a:gd name="connsiteX1207" fmla="*/ 3630420 w 6884782"/>
              <a:gd name="connsiteY1207" fmla="*/ 5597774 h 5973007"/>
              <a:gd name="connsiteX1208" fmla="*/ 3627477 w 6884782"/>
              <a:gd name="connsiteY1208" fmla="*/ 5594986 h 5973007"/>
              <a:gd name="connsiteX1209" fmla="*/ 3627477 w 6884782"/>
              <a:gd name="connsiteY1209" fmla="*/ 5593024 h 5973007"/>
              <a:gd name="connsiteX1210" fmla="*/ 3629646 w 6884782"/>
              <a:gd name="connsiteY1210" fmla="*/ 5592405 h 5973007"/>
              <a:gd name="connsiteX1211" fmla="*/ 2662163 w 6884782"/>
              <a:gd name="connsiteY1211" fmla="*/ 5591785 h 5973007"/>
              <a:gd name="connsiteX1212" fmla="*/ 2665571 w 6884782"/>
              <a:gd name="connsiteY1212" fmla="*/ 5601594 h 5973007"/>
              <a:gd name="connsiteX1213" fmla="*/ 2663403 w 6884782"/>
              <a:gd name="connsiteY1213" fmla="*/ 5601491 h 5973007"/>
              <a:gd name="connsiteX1214" fmla="*/ 2660769 w 6884782"/>
              <a:gd name="connsiteY1214" fmla="*/ 5600872 h 5973007"/>
              <a:gd name="connsiteX1215" fmla="*/ 2662163 w 6884782"/>
              <a:gd name="connsiteY1215" fmla="*/ 5591785 h 5973007"/>
              <a:gd name="connsiteX1216" fmla="*/ 3223043 w 6884782"/>
              <a:gd name="connsiteY1216" fmla="*/ 5587345 h 5973007"/>
              <a:gd name="connsiteX1217" fmla="*/ 3223198 w 6884782"/>
              <a:gd name="connsiteY1217" fmla="*/ 5601697 h 5973007"/>
              <a:gd name="connsiteX1218" fmla="*/ 3213439 w 6884782"/>
              <a:gd name="connsiteY1218" fmla="*/ 5595089 h 5973007"/>
              <a:gd name="connsiteX1219" fmla="*/ 3223043 w 6884782"/>
              <a:gd name="connsiteY1219" fmla="*/ 5587345 h 5973007"/>
              <a:gd name="connsiteX1220" fmla="*/ 2970252 w 6884782"/>
              <a:gd name="connsiteY1220" fmla="*/ 5587345 h 5973007"/>
              <a:gd name="connsiteX1221" fmla="*/ 2981559 w 6884782"/>
              <a:gd name="connsiteY1221" fmla="*/ 5597774 h 5973007"/>
              <a:gd name="connsiteX1222" fmla="*/ 2982489 w 6884782"/>
              <a:gd name="connsiteY1222" fmla="*/ 5599426 h 5973007"/>
              <a:gd name="connsiteX1223" fmla="*/ 2981095 w 6884782"/>
              <a:gd name="connsiteY1223" fmla="*/ 5601697 h 5973007"/>
              <a:gd name="connsiteX1224" fmla="*/ 2970872 w 6884782"/>
              <a:gd name="connsiteY1224" fmla="*/ 5595192 h 5973007"/>
              <a:gd name="connsiteX1225" fmla="*/ 2969942 w 6884782"/>
              <a:gd name="connsiteY1225" fmla="*/ 5593643 h 5973007"/>
              <a:gd name="connsiteX1226" fmla="*/ 2970252 w 6884782"/>
              <a:gd name="connsiteY1226" fmla="*/ 5587345 h 5973007"/>
              <a:gd name="connsiteX1227" fmla="*/ 3017031 w 6884782"/>
              <a:gd name="connsiteY1227" fmla="*/ 5586312 h 5973007"/>
              <a:gd name="connsiteX1228" fmla="*/ 3011300 w 6884782"/>
              <a:gd name="connsiteY1228" fmla="*/ 5597154 h 5973007"/>
              <a:gd name="connsiteX1229" fmla="*/ 3009596 w 6884782"/>
              <a:gd name="connsiteY1229" fmla="*/ 5592094 h 5973007"/>
              <a:gd name="connsiteX1230" fmla="*/ 3017031 w 6884782"/>
              <a:gd name="connsiteY1230" fmla="*/ 5586312 h 5973007"/>
              <a:gd name="connsiteX1231" fmla="*/ 2708477 w 6884782"/>
              <a:gd name="connsiteY1231" fmla="*/ 5586106 h 5973007"/>
              <a:gd name="connsiteX1232" fmla="*/ 2706928 w 6884782"/>
              <a:gd name="connsiteY1232" fmla="*/ 5596225 h 5973007"/>
              <a:gd name="connsiteX1233" fmla="*/ 2702901 w 6884782"/>
              <a:gd name="connsiteY1233" fmla="*/ 5593850 h 5973007"/>
              <a:gd name="connsiteX1234" fmla="*/ 2708477 w 6884782"/>
              <a:gd name="connsiteY1234" fmla="*/ 5586106 h 5973007"/>
              <a:gd name="connsiteX1235" fmla="*/ 3510221 w 6884782"/>
              <a:gd name="connsiteY1235" fmla="*/ 5584247 h 5973007"/>
              <a:gd name="connsiteX1236" fmla="*/ 3522612 w 6884782"/>
              <a:gd name="connsiteY1236" fmla="*/ 5587448 h 5973007"/>
              <a:gd name="connsiteX1237" fmla="*/ 3516106 w 6884782"/>
              <a:gd name="connsiteY1237" fmla="*/ 5594882 h 5973007"/>
              <a:gd name="connsiteX1238" fmla="*/ 3508982 w 6884782"/>
              <a:gd name="connsiteY1238" fmla="*/ 5591475 h 5973007"/>
              <a:gd name="connsiteX1239" fmla="*/ 3510221 w 6884782"/>
              <a:gd name="connsiteY1239" fmla="*/ 5584247 h 5973007"/>
              <a:gd name="connsiteX1240" fmla="*/ 3543523 w 6884782"/>
              <a:gd name="connsiteY1240" fmla="*/ 5584041 h 5973007"/>
              <a:gd name="connsiteX1241" fmla="*/ 3549409 w 6884782"/>
              <a:gd name="connsiteY1241" fmla="*/ 5588584 h 5973007"/>
              <a:gd name="connsiteX1242" fmla="*/ 3545692 w 6884782"/>
              <a:gd name="connsiteY1242" fmla="*/ 5595399 h 5973007"/>
              <a:gd name="connsiteX1243" fmla="*/ 3543523 w 6884782"/>
              <a:gd name="connsiteY1243" fmla="*/ 5584041 h 5973007"/>
              <a:gd name="connsiteX1244" fmla="*/ 3076046 w 6884782"/>
              <a:gd name="connsiteY1244" fmla="*/ 5582995 h 5973007"/>
              <a:gd name="connsiteX1245" fmla="*/ 3087508 w 6884782"/>
              <a:gd name="connsiteY1245" fmla="*/ 5591062 h 5973007"/>
              <a:gd name="connsiteX1246" fmla="*/ 3087199 w 6884782"/>
              <a:gd name="connsiteY1246" fmla="*/ 5593747 h 5973007"/>
              <a:gd name="connsiteX1247" fmla="*/ 3067527 w 6884782"/>
              <a:gd name="connsiteY1247" fmla="*/ 5605724 h 5973007"/>
              <a:gd name="connsiteX1248" fmla="*/ 3049094 w 6884782"/>
              <a:gd name="connsiteY1248" fmla="*/ 5596225 h 5973007"/>
              <a:gd name="connsiteX1249" fmla="*/ 3062261 w 6884782"/>
              <a:gd name="connsiteY1249" fmla="*/ 5583524 h 5973007"/>
              <a:gd name="connsiteX1250" fmla="*/ 3076046 w 6884782"/>
              <a:gd name="connsiteY1250" fmla="*/ 5582995 h 5973007"/>
              <a:gd name="connsiteX1251" fmla="*/ 2754482 w 6884782"/>
              <a:gd name="connsiteY1251" fmla="*/ 5582698 h 5973007"/>
              <a:gd name="connsiteX1252" fmla="*/ 2749060 w 6884782"/>
              <a:gd name="connsiteY1252" fmla="*/ 5597360 h 5973007"/>
              <a:gd name="connsiteX1253" fmla="*/ 2743484 w 6884782"/>
              <a:gd name="connsiteY1253" fmla="*/ 5597360 h 5973007"/>
              <a:gd name="connsiteX1254" fmla="*/ 2754482 w 6884782"/>
              <a:gd name="connsiteY1254" fmla="*/ 5582698 h 5973007"/>
              <a:gd name="connsiteX1255" fmla="*/ 3106561 w 6884782"/>
              <a:gd name="connsiteY1255" fmla="*/ 5577845 h 5973007"/>
              <a:gd name="connsiteX1256" fmla="*/ 3109194 w 6884782"/>
              <a:gd name="connsiteY1256" fmla="*/ 5600252 h 5973007"/>
              <a:gd name="connsiteX1257" fmla="*/ 3105012 w 6884782"/>
              <a:gd name="connsiteY1257" fmla="*/ 5596121 h 5973007"/>
              <a:gd name="connsiteX1258" fmla="*/ 3104857 w 6884782"/>
              <a:gd name="connsiteY1258" fmla="*/ 5595295 h 5973007"/>
              <a:gd name="connsiteX1259" fmla="*/ 3104702 w 6884782"/>
              <a:gd name="connsiteY1259" fmla="*/ 5596535 h 5973007"/>
              <a:gd name="connsiteX1260" fmla="*/ 3102688 w 6884782"/>
              <a:gd name="connsiteY1260" fmla="*/ 5616050 h 5973007"/>
              <a:gd name="connsiteX1261" fmla="*/ 3098661 w 6884782"/>
              <a:gd name="connsiteY1261" fmla="*/ 5605931 h 5973007"/>
              <a:gd name="connsiteX1262" fmla="*/ 3096028 w 6884782"/>
              <a:gd name="connsiteY1262" fmla="*/ 5596121 h 5973007"/>
              <a:gd name="connsiteX1263" fmla="*/ 3097112 w 6884782"/>
              <a:gd name="connsiteY1263" fmla="*/ 5593024 h 5973007"/>
              <a:gd name="connsiteX1264" fmla="*/ 3096648 w 6884782"/>
              <a:gd name="connsiteY1264" fmla="*/ 5592714 h 5973007"/>
              <a:gd name="connsiteX1265" fmla="*/ 3099900 w 6884782"/>
              <a:gd name="connsiteY1265" fmla="*/ 5587654 h 5973007"/>
              <a:gd name="connsiteX1266" fmla="*/ 3102069 w 6884782"/>
              <a:gd name="connsiteY1266" fmla="*/ 5590133 h 5973007"/>
              <a:gd name="connsiteX1267" fmla="*/ 3103772 w 6884782"/>
              <a:gd name="connsiteY1267" fmla="*/ 5589720 h 5973007"/>
              <a:gd name="connsiteX1268" fmla="*/ 3104547 w 6884782"/>
              <a:gd name="connsiteY1268" fmla="*/ 5583627 h 5973007"/>
              <a:gd name="connsiteX1269" fmla="*/ 3106561 w 6884782"/>
              <a:gd name="connsiteY1269" fmla="*/ 5577845 h 5973007"/>
              <a:gd name="connsiteX1270" fmla="*/ 3149467 w 6884782"/>
              <a:gd name="connsiteY1270" fmla="*/ 5575986 h 5973007"/>
              <a:gd name="connsiteX1271" fmla="*/ 3151945 w 6884782"/>
              <a:gd name="connsiteY1271" fmla="*/ 5575986 h 5973007"/>
              <a:gd name="connsiteX1272" fmla="*/ 3150551 w 6884782"/>
              <a:gd name="connsiteY1272" fmla="*/ 5588893 h 5973007"/>
              <a:gd name="connsiteX1273" fmla="*/ 3149622 w 6884782"/>
              <a:gd name="connsiteY1273" fmla="*/ 5590649 h 5973007"/>
              <a:gd name="connsiteX1274" fmla="*/ 3144201 w 6884782"/>
              <a:gd name="connsiteY1274" fmla="*/ 5594056 h 5973007"/>
              <a:gd name="connsiteX1275" fmla="*/ 3148383 w 6884782"/>
              <a:gd name="connsiteY1275" fmla="*/ 5577742 h 5973007"/>
              <a:gd name="connsiteX1276" fmla="*/ 3149467 w 6884782"/>
              <a:gd name="connsiteY1276" fmla="*/ 5575986 h 5973007"/>
              <a:gd name="connsiteX1277" fmla="*/ 3516881 w 6884782"/>
              <a:gd name="connsiteY1277" fmla="*/ 5573405 h 5973007"/>
              <a:gd name="connsiteX1278" fmla="*/ 3518120 w 6884782"/>
              <a:gd name="connsiteY1278" fmla="*/ 5574954 h 5973007"/>
              <a:gd name="connsiteX1279" fmla="*/ 3518275 w 6884782"/>
              <a:gd name="connsiteY1279" fmla="*/ 5577948 h 5973007"/>
              <a:gd name="connsiteX1280" fmla="*/ 3516726 w 6884782"/>
              <a:gd name="connsiteY1280" fmla="*/ 5579910 h 5973007"/>
              <a:gd name="connsiteX1281" fmla="*/ 3512234 w 6884782"/>
              <a:gd name="connsiteY1281" fmla="*/ 5577329 h 5973007"/>
              <a:gd name="connsiteX1282" fmla="*/ 3516881 w 6884782"/>
              <a:gd name="connsiteY1282" fmla="*/ 5573405 h 5973007"/>
              <a:gd name="connsiteX1283" fmla="*/ 2704915 w 6884782"/>
              <a:gd name="connsiteY1283" fmla="*/ 5573095 h 5973007"/>
              <a:gd name="connsiteX1284" fmla="*/ 2707858 w 6884782"/>
              <a:gd name="connsiteY1284" fmla="*/ 5575986 h 5973007"/>
              <a:gd name="connsiteX1285" fmla="*/ 2707083 w 6884782"/>
              <a:gd name="connsiteY1285" fmla="*/ 5578775 h 5973007"/>
              <a:gd name="connsiteX1286" fmla="*/ 2705689 w 6884782"/>
              <a:gd name="connsiteY1286" fmla="*/ 5579187 h 5973007"/>
              <a:gd name="connsiteX1287" fmla="*/ 2704605 w 6884782"/>
              <a:gd name="connsiteY1287" fmla="*/ 5578155 h 5973007"/>
              <a:gd name="connsiteX1288" fmla="*/ 2703056 w 6884782"/>
              <a:gd name="connsiteY1288" fmla="*/ 5576090 h 5973007"/>
              <a:gd name="connsiteX1289" fmla="*/ 2703520 w 6884782"/>
              <a:gd name="connsiteY1289" fmla="*/ 5574747 h 5973007"/>
              <a:gd name="connsiteX1290" fmla="*/ 2704915 w 6884782"/>
              <a:gd name="connsiteY1290" fmla="*/ 5573095 h 5973007"/>
              <a:gd name="connsiteX1291" fmla="*/ 3304828 w 6884782"/>
              <a:gd name="connsiteY1291" fmla="*/ 5572682 h 5973007"/>
              <a:gd name="connsiteX1292" fmla="*/ 3304363 w 6884782"/>
              <a:gd name="connsiteY1292" fmla="*/ 5576400 h 5973007"/>
              <a:gd name="connsiteX1293" fmla="*/ 3300026 w 6884782"/>
              <a:gd name="connsiteY1293" fmla="*/ 5577845 h 5973007"/>
              <a:gd name="connsiteX1294" fmla="*/ 3296774 w 6884782"/>
              <a:gd name="connsiteY1294" fmla="*/ 5576296 h 5973007"/>
              <a:gd name="connsiteX1295" fmla="*/ 3296154 w 6884782"/>
              <a:gd name="connsiteY1295" fmla="*/ 5573199 h 5973007"/>
              <a:gd name="connsiteX1296" fmla="*/ 3304828 w 6884782"/>
              <a:gd name="connsiteY1296" fmla="*/ 5572682 h 5973007"/>
              <a:gd name="connsiteX1297" fmla="*/ 2943455 w 6884782"/>
              <a:gd name="connsiteY1297" fmla="*/ 5571959 h 5973007"/>
              <a:gd name="connsiteX1298" fmla="*/ 2942835 w 6884782"/>
              <a:gd name="connsiteY1298" fmla="*/ 5577019 h 5973007"/>
              <a:gd name="connsiteX1299" fmla="*/ 2940357 w 6884782"/>
              <a:gd name="connsiteY1299" fmla="*/ 5578568 h 5973007"/>
              <a:gd name="connsiteX1300" fmla="*/ 2937879 w 6884782"/>
              <a:gd name="connsiteY1300" fmla="*/ 5576813 h 5973007"/>
              <a:gd name="connsiteX1301" fmla="*/ 2936794 w 6884782"/>
              <a:gd name="connsiteY1301" fmla="*/ 5573302 h 5973007"/>
              <a:gd name="connsiteX1302" fmla="*/ 2943455 w 6884782"/>
              <a:gd name="connsiteY1302" fmla="*/ 5571959 h 5973007"/>
              <a:gd name="connsiteX1303" fmla="*/ 2877159 w 6884782"/>
              <a:gd name="connsiteY1303" fmla="*/ 5571134 h 5973007"/>
              <a:gd name="connsiteX1304" fmla="*/ 2880258 w 6884782"/>
              <a:gd name="connsiteY1304" fmla="*/ 5577329 h 5973007"/>
              <a:gd name="connsiteX1305" fmla="*/ 2879947 w 6884782"/>
              <a:gd name="connsiteY1305" fmla="*/ 5582698 h 5973007"/>
              <a:gd name="connsiteX1306" fmla="*/ 2880877 w 6884782"/>
              <a:gd name="connsiteY1306" fmla="*/ 5582905 h 5973007"/>
              <a:gd name="connsiteX1307" fmla="*/ 2887537 w 6884782"/>
              <a:gd name="connsiteY1307" fmla="*/ 5587345 h 5973007"/>
              <a:gd name="connsiteX1308" fmla="*/ 2890325 w 6884782"/>
              <a:gd name="connsiteY1308" fmla="*/ 5591372 h 5973007"/>
              <a:gd name="connsiteX1309" fmla="*/ 2891100 w 6884782"/>
              <a:gd name="connsiteY1309" fmla="*/ 5587654 h 5973007"/>
              <a:gd name="connsiteX1310" fmla="*/ 2899155 w 6884782"/>
              <a:gd name="connsiteY1310" fmla="*/ 5575367 h 5973007"/>
              <a:gd name="connsiteX1311" fmla="*/ 2905196 w 6884782"/>
              <a:gd name="connsiteY1311" fmla="*/ 5584970 h 5973007"/>
              <a:gd name="connsiteX1312" fmla="*/ 2893733 w 6884782"/>
              <a:gd name="connsiteY1312" fmla="*/ 5600355 h 5973007"/>
              <a:gd name="connsiteX1313" fmla="*/ 2893269 w 6884782"/>
              <a:gd name="connsiteY1313" fmla="*/ 5600355 h 5973007"/>
              <a:gd name="connsiteX1314" fmla="*/ 2892959 w 6884782"/>
              <a:gd name="connsiteY1314" fmla="*/ 5607273 h 5973007"/>
              <a:gd name="connsiteX1315" fmla="*/ 2890635 w 6884782"/>
              <a:gd name="connsiteY1315" fmla="*/ 5614811 h 5973007"/>
              <a:gd name="connsiteX1316" fmla="*/ 2888157 w 6884782"/>
              <a:gd name="connsiteY1316" fmla="*/ 5615844 h 5973007"/>
              <a:gd name="connsiteX1317" fmla="*/ 2870499 w 6884782"/>
              <a:gd name="connsiteY1317" fmla="*/ 5603969 h 5973007"/>
              <a:gd name="connsiteX1318" fmla="*/ 2868175 w 6884782"/>
              <a:gd name="connsiteY1318" fmla="*/ 5595709 h 5973007"/>
              <a:gd name="connsiteX1319" fmla="*/ 2868640 w 6884782"/>
              <a:gd name="connsiteY1319" fmla="*/ 5591475 h 5973007"/>
              <a:gd name="connsiteX1320" fmla="*/ 2867556 w 6884782"/>
              <a:gd name="connsiteY1320" fmla="*/ 5591888 h 5973007"/>
              <a:gd name="connsiteX1321" fmla="*/ 2855939 w 6884782"/>
              <a:gd name="connsiteY1321" fmla="*/ 5581976 h 5973007"/>
              <a:gd name="connsiteX1322" fmla="*/ 2877159 w 6884782"/>
              <a:gd name="connsiteY1322" fmla="*/ 5571134 h 5973007"/>
              <a:gd name="connsiteX1323" fmla="*/ 3015482 w 6884782"/>
              <a:gd name="connsiteY1323" fmla="*/ 5570617 h 5973007"/>
              <a:gd name="connsiteX1324" fmla="*/ 3018270 w 6884782"/>
              <a:gd name="connsiteY1324" fmla="*/ 5574438 h 5973007"/>
              <a:gd name="connsiteX1325" fmla="*/ 3015637 w 6884782"/>
              <a:gd name="connsiteY1325" fmla="*/ 5576503 h 5973007"/>
              <a:gd name="connsiteX1326" fmla="*/ 3013933 w 6884782"/>
              <a:gd name="connsiteY1326" fmla="*/ 5575264 h 5973007"/>
              <a:gd name="connsiteX1327" fmla="*/ 3015482 w 6884782"/>
              <a:gd name="connsiteY1327" fmla="*/ 5570617 h 5973007"/>
              <a:gd name="connsiteX1328" fmla="*/ 3265639 w 6884782"/>
              <a:gd name="connsiteY1328" fmla="*/ 5568965 h 5973007"/>
              <a:gd name="connsiteX1329" fmla="*/ 3266878 w 6884782"/>
              <a:gd name="connsiteY1329" fmla="*/ 5577948 h 5973007"/>
              <a:gd name="connsiteX1330" fmla="*/ 3265949 w 6884782"/>
              <a:gd name="connsiteY1330" fmla="*/ 5581976 h 5973007"/>
              <a:gd name="connsiteX1331" fmla="*/ 3266259 w 6884782"/>
              <a:gd name="connsiteY1331" fmla="*/ 5581976 h 5973007"/>
              <a:gd name="connsiteX1332" fmla="*/ 3269512 w 6884782"/>
              <a:gd name="connsiteY1332" fmla="*/ 5583111 h 5973007"/>
              <a:gd name="connsiteX1333" fmla="*/ 3272455 w 6884782"/>
              <a:gd name="connsiteY1333" fmla="*/ 5587138 h 5973007"/>
              <a:gd name="connsiteX1334" fmla="*/ 3286705 w 6884782"/>
              <a:gd name="connsiteY1334" fmla="*/ 5586622 h 5973007"/>
              <a:gd name="connsiteX1335" fmla="*/ 3306532 w 6884782"/>
              <a:gd name="connsiteY1335" fmla="*/ 5586106 h 5973007"/>
              <a:gd name="connsiteX1336" fmla="*/ 3300801 w 6884782"/>
              <a:gd name="connsiteY1336" fmla="*/ 5590029 h 5973007"/>
              <a:gd name="connsiteX1337" fmla="*/ 3301420 w 6884782"/>
              <a:gd name="connsiteY1337" fmla="*/ 5590546 h 5973007"/>
              <a:gd name="connsiteX1338" fmla="*/ 3310249 w 6884782"/>
              <a:gd name="connsiteY1338" fmla="*/ 5591372 h 5973007"/>
              <a:gd name="connsiteX1339" fmla="*/ 3310714 w 6884782"/>
              <a:gd name="connsiteY1339" fmla="*/ 5599736 h 5973007"/>
              <a:gd name="connsiteX1340" fmla="*/ 3309165 w 6884782"/>
              <a:gd name="connsiteY1340" fmla="*/ 5602627 h 5973007"/>
              <a:gd name="connsiteX1341" fmla="*/ 3294140 w 6884782"/>
              <a:gd name="connsiteY1341" fmla="*/ 5593437 h 5973007"/>
              <a:gd name="connsiteX1342" fmla="*/ 3294295 w 6884782"/>
              <a:gd name="connsiteY1342" fmla="*/ 5593024 h 5973007"/>
              <a:gd name="connsiteX1343" fmla="*/ 3286860 w 6884782"/>
              <a:gd name="connsiteY1343" fmla="*/ 5594986 h 5973007"/>
              <a:gd name="connsiteX1344" fmla="*/ 3281748 w 6884782"/>
              <a:gd name="connsiteY1344" fmla="*/ 5595502 h 5973007"/>
              <a:gd name="connsiteX1345" fmla="*/ 3282213 w 6884782"/>
              <a:gd name="connsiteY1345" fmla="*/ 5595915 h 5973007"/>
              <a:gd name="connsiteX1346" fmla="*/ 3277721 w 6884782"/>
              <a:gd name="connsiteY1346" fmla="*/ 5611404 h 5973007"/>
              <a:gd name="connsiteX1347" fmla="*/ 3275088 w 6884782"/>
              <a:gd name="connsiteY1347" fmla="*/ 5610681 h 5973007"/>
              <a:gd name="connsiteX1348" fmla="*/ 3272300 w 6884782"/>
              <a:gd name="connsiteY1348" fmla="*/ 5605621 h 5973007"/>
              <a:gd name="connsiteX1349" fmla="*/ 3272609 w 6884782"/>
              <a:gd name="connsiteY1349" fmla="*/ 5602007 h 5973007"/>
              <a:gd name="connsiteX1350" fmla="*/ 3268118 w 6884782"/>
              <a:gd name="connsiteY1350" fmla="*/ 5601594 h 5973007"/>
              <a:gd name="connsiteX1351" fmla="*/ 3268737 w 6884782"/>
              <a:gd name="connsiteY1351" fmla="*/ 5596948 h 5973007"/>
              <a:gd name="connsiteX1352" fmla="*/ 3268892 w 6884782"/>
              <a:gd name="connsiteY1352" fmla="*/ 5596741 h 5973007"/>
              <a:gd name="connsiteX1353" fmla="*/ 3263935 w 6884782"/>
              <a:gd name="connsiteY1353" fmla="*/ 5597154 h 5973007"/>
              <a:gd name="connsiteX1354" fmla="*/ 3263935 w 6884782"/>
              <a:gd name="connsiteY1354" fmla="*/ 5592817 h 5973007"/>
              <a:gd name="connsiteX1355" fmla="*/ 3264245 w 6884782"/>
              <a:gd name="connsiteY1355" fmla="*/ 5590443 h 5973007"/>
              <a:gd name="connsiteX1356" fmla="*/ 3263316 w 6884782"/>
              <a:gd name="connsiteY1356" fmla="*/ 5590339 h 5973007"/>
              <a:gd name="connsiteX1357" fmla="*/ 3261922 w 6884782"/>
              <a:gd name="connsiteY1357" fmla="*/ 5585486 h 5973007"/>
              <a:gd name="connsiteX1358" fmla="*/ 3262542 w 6884782"/>
              <a:gd name="connsiteY1358" fmla="*/ 5584247 h 5973007"/>
              <a:gd name="connsiteX1359" fmla="*/ 3258359 w 6884782"/>
              <a:gd name="connsiteY1359" fmla="*/ 5584453 h 5973007"/>
              <a:gd name="connsiteX1360" fmla="*/ 3254487 w 6884782"/>
              <a:gd name="connsiteY1360" fmla="*/ 5582905 h 5973007"/>
              <a:gd name="connsiteX1361" fmla="*/ 3253557 w 6884782"/>
              <a:gd name="connsiteY1361" fmla="*/ 5581046 h 5973007"/>
              <a:gd name="connsiteX1362" fmla="*/ 3252473 w 6884782"/>
              <a:gd name="connsiteY1362" fmla="*/ 5582905 h 5973007"/>
              <a:gd name="connsiteX1363" fmla="*/ 3247516 w 6884782"/>
              <a:gd name="connsiteY1363" fmla="*/ 5584867 h 5973007"/>
              <a:gd name="connsiteX1364" fmla="*/ 3242250 w 6884782"/>
              <a:gd name="connsiteY1364" fmla="*/ 5584350 h 5973007"/>
              <a:gd name="connsiteX1365" fmla="*/ 3245193 w 6884782"/>
              <a:gd name="connsiteY1365" fmla="*/ 5579291 h 5973007"/>
              <a:gd name="connsiteX1366" fmla="*/ 3252938 w 6884782"/>
              <a:gd name="connsiteY1366" fmla="*/ 5578568 h 5973007"/>
              <a:gd name="connsiteX1367" fmla="*/ 3253712 w 6884782"/>
              <a:gd name="connsiteY1367" fmla="*/ 5579910 h 5973007"/>
              <a:gd name="connsiteX1368" fmla="*/ 3254487 w 6884782"/>
              <a:gd name="connsiteY1368" fmla="*/ 5576296 h 5973007"/>
              <a:gd name="connsiteX1369" fmla="*/ 3265639 w 6884782"/>
              <a:gd name="connsiteY1369" fmla="*/ 5568965 h 5973007"/>
              <a:gd name="connsiteX1370" fmla="*/ 2820467 w 6884782"/>
              <a:gd name="connsiteY1370" fmla="*/ 5567726 h 5973007"/>
              <a:gd name="connsiteX1371" fmla="*/ 2828987 w 6884782"/>
              <a:gd name="connsiteY1371" fmla="*/ 5578361 h 5973007"/>
              <a:gd name="connsiteX1372" fmla="*/ 2816905 w 6884782"/>
              <a:gd name="connsiteY1372" fmla="*/ 5595089 h 5973007"/>
              <a:gd name="connsiteX1373" fmla="*/ 2813187 w 6884782"/>
              <a:gd name="connsiteY1373" fmla="*/ 5595192 h 5973007"/>
              <a:gd name="connsiteX1374" fmla="*/ 2809470 w 6884782"/>
              <a:gd name="connsiteY1374" fmla="*/ 5594366 h 5973007"/>
              <a:gd name="connsiteX1375" fmla="*/ 2800021 w 6884782"/>
              <a:gd name="connsiteY1375" fmla="*/ 5586003 h 5973007"/>
              <a:gd name="connsiteX1376" fmla="*/ 2801105 w 6884782"/>
              <a:gd name="connsiteY1376" fmla="*/ 5579187 h 5973007"/>
              <a:gd name="connsiteX1377" fmla="*/ 2820467 w 6884782"/>
              <a:gd name="connsiteY1377" fmla="*/ 5567726 h 5973007"/>
              <a:gd name="connsiteX1378" fmla="*/ 2964521 w 6884782"/>
              <a:gd name="connsiteY1378" fmla="*/ 5567519 h 5973007"/>
              <a:gd name="connsiteX1379" fmla="*/ 2970872 w 6884782"/>
              <a:gd name="connsiteY1379" fmla="*/ 5572682 h 5973007"/>
              <a:gd name="connsiteX1380" fmla="*/ 2965450 w 6884782"/>
              <a:gd name="connsiteY1380" fmla="*/ 5588584 h 5973007"/>
              <a:gd name="connsiteX1381" fmla="*/ 2964831 w 6884782"/>
              <a:gd name="connsiteY1381" fmla="*/ 5588171 h 5973007"/>
              <a:gd name="connsiteX1382" fmla="*/ 2963127 w 6884782"/>
              <a:gd name="connsiteY1382" fmla="*/ 5593540 h 5973007"/>
              <a:gd name="connsiteX1383" fmla="*/ 2959719 w 6884782"/>
              <a:gd name="connsiteY1383" fmla="*/ 5593850 h 5973007"/>
              <a:gd name="connsiteX1384" fmla="*/ 2954453 w 6884782"/>
              <a:gd name="connsiteY1384" fmla="*/ 5600872 h 5973007"/>
              <a:gd name="connsiteX1385" fmla="*/ 2946553 w 6884782"/>
              <a:gd name="connsiteY1385" fmla="*/ 5604382 h 5973007"/>
              <a:gd name="connsiteX1386" fmla="*/ 2945933 w 6884782"/>
              <a:gd name="connsiteY1386" fmla="*/ 5588377 h 5973007"/>
              <a:gd name="connsiteX1387" fmla="*/ 2949031 w 6884782"/>
              <a:gd name="connsiteY1387" fmla="*/ 5583627 h 5973007"/>
              <a:gd name="connsiteX1388" fmla="*/ 2948722 w 6884782"/>
              <a:gd name="connsiteY1388" fmla="*/ 5582698 h 5973007"/>
              <a:gd name="connsiteX1389" fmla="*/ 2950115 w 6884782"/>
              <a:gd name="connsiteY1389" fmla="*/ 5580943 h 5973007"/>
              <a:gd name="connsiteX1390" fmla="*/ 2952284 w 6884782"/>
              <a:gd name="connsiteY1390" fmla="*/ 5580633 h 5973007"/>
              <a:gd name="connsiteX1391" fmla="*/ 2952439 w 6884782"/>
              <a:gd name="connsiteY1391" fmla="*/ 5580633 h 5973007"/>
              <a:gd name="connsiteX1392" fmla="*/ 2957241 w 6884782"/>
              <a:gd name="connsiteY1392" fmla="*/ 5577742 h 5973007"/>
              <a:gd name="connsiteX1393" fmla="*/ 2958325 w 6884782"/>
              <a:gd name="connsiteY1393" fmla="*/ 5574747 h 5973007"/>
              <a:gd name="connsiteX1394" fmla="*/ 2959719 w 6884782"/>
              <a:gd name="connsiteY1394" fmla="*/ 5571856 h 5973007"/>
              <a:gd name="connsiteX1395" fmla="*/ 2958790 w 6884782"/>
              <a:gd name="connsiteY1395" fmla="*/ 5572579 h 5973007"/>
              <a:gd name="connsiteX1396" fmla="*/ 2946398 w 6884782"/>
              <a:gd name="connsiteY1396" fmla="*/ 5571547 h 5973007"/>
              <a:gd name="connsiteX1397" fmla="*/ 2954453 w 6884782"/>
              <a:gd name="connsiteY1397" fmla="*/ 5567726 h 5973007"/>
              <a:gd name="connsiteX1398" fmla="*/ 2961113 w 6884782"/>
              <a:gd name="connsiteY1398" fmla="*/ 5570101 h 5973007"/>
              <a:gd name="connsiteX1399" fmla="*/ 2836422 w 6884782"/>
              <a:gd name="connsiteY1399" fmla="*/ 5566177 h 5973007"/>
              <a:gd name="connsiteX1400" fmla="*/ 2844167 w 6884782"/>
              <a:gd name="connsiteY1400" fmla="*/ 5571547 h 5973007"/>
              <a:gd name="connsiteX1401" fmla="*/ 2838280 w 6884782"/>
              <a:gd name="connsiteY1401" fmla="*/ 5577639 h 5973007"/>
              <a:gd name="connsiteX1402" fmla="*/ 2832704 w 6884782"/>
              <a:gd name="connsiteY1402" fmla="*/ 5574954 h 5973007"/>
              <a:gd name="connsiteX1403" fmla="*/ 2836422 w 6884782"/>
              <a:gd name="connsiteY1403" fmla="*/ 5566177 h 5973007"/>
              <a:gd name="connsiteX1404" fmla="*/ 3111827 w 6884782"/>
              <a:gd name="connsiteY1404" fmla="*/ 5565145 h 5973007"/>
              <a:gd name="connsiteX1405" fmla="*/ 3113221 w 6884782"/>
              <a:gd name="connsiteY1405" fmla="*/ 5568758 h 5973007"/>
              <a:gd name="connsiteX1406" fmla="*/ 3113376 w 6884782"/>
              <a:gd name="connsiteY1406" fmla="*/ 5568242 h 5973007"/>
              <a:gd name="connsiteX1407" fmla="*/ 3114461 w 6884782"/>
              <a:gd name="connsiteY1407" fmla="*/ 5591578 h 5973007"/>
              <a:gd name="connsiteX1408" fmla="*/ 3110123 w 6884782"/>
              <a:gd name="connsiteY1408" fmla="*/ 5578878 h 5973007"/>
              <a:gd name="connsiteX1409" fmla="*/ 3110588 w 6884782"/>
              <a:gd name="connsiteY1409" fmla="*/ 5574644 h 5973007"/>
              <a:gd name="connsiteX1410" fmla="*/ 3107645 w 6884782"/>
              <a:gd name="connsiteY1410" fmla="*/ 5573818 h 5973007"/>
              <a:gd name="connsiteX1411" fmla="*/ 3102069 w 6884782"/>
              <a:gd name="connsiteY1411" fmla="*/ 5570720 h 5973007"/>
              <a:gd name="connsiteX1412" fmla="*/ 3111827 w 6884782"/>
              <a:gd name="connsiteY1412" fmla="*/ 5565145 h 5973007"/>
              <a:gd name="connsiteX1413" fmla="*/ 2727685 w 6884782"/>
              <a:gd name="connsiteY1413" fmla="*/ 5565042 h 5973007"/>
              <a:gd name="connsiteX1414" fmla="*/ 2728304 w 6884782"/>
              <a:gd name="connsiteY1414" fmla="*/ 5565454 h 5973007"/>
              <a:gd name="connsiteX1415" fmla="*/ 2728769 w 6884782"/>
              <a:gd name="connsiteY1415" fmla="*/ 5565248 h 5973007"/>
              <a:gd name="connsiteX1416" fmla="*/ 2731557 w 6884782"/>
              <a:gd name="connsiteY1416" fmla="*/ 5565351 h 5973007"/>
              <a:gd name="connsiteX1417" fmla="*/ 2735739 w 6884782"/>
              <a:gd name="connsiteY1417" fmla="*/ 5565042 h 5973007"/>
              <a:gd name="connsiteX1418" fmla="*/ 2749370 w 6884782"/>
              <a:gd name="connsiteY1418" fmla="*/ 5567726 h 5973007"/>
              <a:gd name="connsiteX1419" fmla="*/ 2743794 w 6884782"/>
              <a:gd name="connsiteY1419" fmla="*/ 5569069 h 5973007"/>
              <a:gd name="connsiteX1420" fmla="*/ 2736514 w 6884782"/>
              <a:gd name="connsiteY1420" fmla="*/ 5569069 h 5973007"/>
              <a:gd name="connsiteX1421" fmla="*/ 2730937 w 6884782"/>
              <a:gd name="connsiteY1421" fmla="*/ 5569688 h 5973007"/>
              <a:gd name="connsiteX1422" fmla="*/ 2730008 w 6884782"/>
              <a:gd name="connsiteY1422" fmla="*/ 5571340 h 5973007"/>
              <a:gd name="connsiteX1423" fmla="*/ 2728304 w 6884782"/>
              <a:gd name="connsiteY1423" fmla="*/ 5572992 h 5973007"/>
              <a:gd name="connsiteX1424" fmla="*/ 2726755 w 6884782"/>
              <a:gd name="connsiteY1424" fmla="*/ 5573095 h 5973007"/>
              <a:gd name="connsiteX1425" fmla="*/ 2725671 w 6884782"/>
              <a:gd name="connsiteY1425" fmla="*/ 5572166 h 5973007"/>
              <a:gd name="connsiteX1426" fmla="*/ 2727685 w 6884782"/>
              <a:gd name="connsiteY1426" fmla="*/ 5565042 h 5973007"/>
              <a:gd name="connsiteX1427" fmla="*/ 3314645 w 6884782"/>
              <a:gd name="connsiteY1427" fmla="*/ 5562847 h 5973007"/>
              <a:gd name="connsiteX1428" fmla="*/ 3315051 w 6884782"/>
              <a:gd name="connsiteY1428" fmla="*/ 5568242 h 5973007"/>
              <a:gd name="connsiteX1429" fmla="*/ 3310869 w 6884782"/>
              <a:gd name="connsiteY1429" fmla="*/ 5564732 h 5973007"/>
              <a:gd name="connsiteX1430" fmla="*/ 3314645 w 6884782"/>
              <a:gd name="connsiteY1430" fmla="*/ 5562847 h 5973007"/>
              <a:gd name="connsiteX1431" fmla="*/ 3123135 w 6884782"/>
              <a:gd name="connsiteY1431" fmla="*/ 5562253 h 5973007"/>
              <a:gd name="connsiteX1432" fmla="*/ 3125148 w 6884782"/>
              <a:gd name="connsiteY1432" fmla="*/ 5565145 h 5973007"/>
              <a:gd name="connsiteX1433" fmla="*/ 3117404 w 6884782"/>
              <a:gd name="connsiteY1433" fmla="*/ 5576813 h 5973007"/>
              <a:gd name="connsiteX1434" fmla="*/ 3123135 w 6884782"/>
              <a:gd name="connsiteY1434" fmla="*/ 5562253 h 5973007"/>
              <a:gd name="connsiteX1435" fmla="*/ 3557619 w 6884782"/>
              <a:gd name="connsiteY1435" fmla="*/ 5561324 h 5973007"/>
              <a:gd name="connsiteX1436" fmla="*/ 3579924 w 6884782"/>
              <a:gd name="connsiteY1436" fmla="*/ 5578775 h 5973007"/>
              <a:gd name="connsiteX1437" fmla="*/ 3576826 w 6884782"/>
              <a:gd name="connsiteY1437" fmla="*/ 5579394 h 5973007"/>
              <a:gd name="connsiteX1438" fmla="*/ 3572953 w 6884782"/>
              <a:gd name="connsiteY1438" fmla="*/ 5578775 h 5973007"/>
              <a:gd name="connsiteX1439" fmla="*/ 3557619 w 6884782"/>
              <a:gd name="connsiteY1439" fmla="*/ 5561324 h 5973007"/>
              <a:gd name="connsiteX1440" fmla="*/ 2944694 w 6884782"/>
              <a:gd name="connsiteY1440" fmla="*/ 5561221 h 5973007"/>
              <a:gd name="connsiteX1441" fmla="*/ 2944229 w 6884782"/>
              <a:gd name="connsiteY1441" fmla="*/ 5561944 h 5973007"/>
              <a:gd name="connsiteX1442" fmla="*/ 2945624 w 6884782"/>
              <a:gd name="connsiteY1442" fmla="*/ 5562770 h 5973007"/>
              <a:gd name="connsiteX1443" fmla="*/ 2946088 w 6884782"/>
              <a:gd name="connsiteY1443" fmla="*/ 5562047 h 5973007"/>
              <a:gd name="connsiteX1444" fmla="*/ 2947018 w 6884782"/>
              <a:gd name="connsiteY1444" fmla="*/ 5563699 h 5973007"/>
              <a:gd name="connsiteX1445" fmla="*/ 2945624 w 6884782"/>
              <a:gd name="connsiteY1445" fmla="*/ 5570411 h 5973007"/>
              <a:gd name="connsiteX1446" fmla="*/ 2942061 w 6884782"/>
              <a:gd name="connsiteY1446" fmla="*/ 5568139 h 5973007"/>
              <a:gd name="connsiteX1447" fmla="*/ 2942061 w 6884782"/>
              <a:gd name="connsiteY1447" fmla="*/ 5564628 h 5973007"/>
              <a:gd name="connsiteX1448" fmla="*/ 2944694 w 6884782"/>
              <a:gd name="connsiteY1448" fmla="*/ 5561221 h 5973007"/>
              <a:gd name="connsiteX1449" fmla="*/ 2835802 w 6884782"/>
              <a:gd name="connsiteY1449" fmla="*/ 5560085 h 5973007"/>
              <a:gd name="connsiteX1450" fmla="*/ 2837661 w 6884782"/>
              <a:gd name="connsiteY1450" fmla="*/ 5561737 h 5973007"/>
              <a:gd name="connsiteX1451" fmla="*/ 2837816 w 6884782"/>
              <a:gd name="connsiteY1451" fmla="*/ 5562563 h 5973007"/>
              <a:gd name="connsiteX1452" fmla="*/ 2836112 w 6884782"/>
              <a:gd name="connsiteY1452" fmla="*/ 5563389 h 5973007"/>
              <a:gd name="connsiteX1453" fmla="*/ 2831155 w 6884782"/>
              <a:gd name="connsiteY1453" fmla="*/ 5563389 h 5973007"/>
              <a:gd name="connsiteX1454" fmla="*/ 2827902 w 6884782"/>
              <a:gd name="connsiteY1454" fmla="*/ 5563080 h 5973007"/>
              <a:gd name="connsiteX1455" fmla="*/ 2826198 w 6884782"/>
              <a:gd name="connsiteY1455" fmla="*/ 5563286 h 5973007"/>
              <a:gd name="connsiteX1456" fmla="*/ 2824340 w 6884782"/>
              <a:gd name="connsiteY1456" fmla="*/ 5561634 h 5973007"/>
              <a:gd name="connsiteX1457" fmla="*/ 2831620 w 6884782"/>
              <a:gd name="connsiteY1457" fmla="*/ 5560291 h 5973007"/>
              <a:gd name="connsiteX1458" fmla="*/ 2835802 w 6884782"/>
              <a:gd name="connsiteY1458" fmla="*/ 5560085 h 5973007"/>
              <a:gd name="connsiteX1459" fmla="*/ 2787164 w 6884782"/>
              <a:gd name="connsiteY1459" fmla="*/ 5559259 h 5973007"/>
              <a:gd name="connsiteX1460" fmla="*/ 2765479 w 6884782"/>
              <a:gd name="connsiteY1460" fmla="*/ 5573405 h 5973007"/>
              <a:gd name="connsiteX1461" fmla="*/ 2787164 w 6884782"/>
              <a:gd name="connsiteY1461" fmla="*/ 5559259 h 5973007"/>
              <a:gd name="connsiteX1462" fmla="*/ 2999992 w 6884782"/>
              <a:gd name="connsiteY1462" fmla="*/ 5558846 h 5973007"/>
              <a:gd name="connsiteX1463" fmla="*/ 2999682 w 6884782"/>
              <a:gd name="connsiteY1463" fmla="*/ 5568965 h 5973007"/>
              <a:gd name="connsiteX1464" fmla="*/ 2995345 w 6884782"/>
              <a:gd name="connsiteY1464" fmla="*/ 5566487 h 5973007"/>
              <a:gd name="connsiteX1465" fmla="*/ 2999992 w 6884782"/>
              <a:gd name="connsiteY1465" fmla="*/ 5558846 h 5973007"/>
              <a:gd name="connsiteX1466" fmla="*/ 2890945 w 6884782"/>
              <a:gd name="connsiteY1466" fmla="*/ 5554200 h 5973007"/>
              <a:gd name="connsiteX1467" fmla="*/ 2889861 w 6884782"/>
              <a:gd name="connsiteY1467" fmla="*/ 5566280 h 5973007"/>
              <a:gd name="connsiteX1468" fmla="*/ 2884439 w 6884782"/>
              <a:gd name="connsiteY1468" fmla="*/ 5578568 h 5973007"/>
              <a:gd name="connsiteX1469" fmla="*/ 2890945 w 6884782"/>
              <a:gd name="connsiteY1469" fmla="*/ 5554200 h 5973007"/>
              <a:gd name="connsiteX1470" fmla="*/ 3079454 w 6884782"/>
              <a:gd name="connsiteY1470" fmla="*/ 5549966 h 5973007"/>
              <a:gd name="connsiteX1471" fmla="*/ 3084720 w 6884782"/>
              <a:gd name="connsiteY1471" fmla="*/ 5555129 h 5973007"/>
              <a:gd name="connsiteX1472" fmla="*/ 3080228 w 6884782"/>
              <a:gd name="connsiteY1472" fmla="*/ 5557090 h 5973007"/>
              <a:gd name="connsiteX1473" fmla="*/ 3077440 w 6884782"/>
              <a:gd name="connsiteY1473" fmla="*/ 5555645 h 5973007"/>
              <a:gd name="connsiteX1474" fmla="*/ 3077285 w 6884782"/>
              <a:gd name="connsiteY1474" fmla="*/ 5552547 h 5973007"/>
              <a:gd name="connsiteX1475" fmla="*/ 3079454 w 6884782"/>
              <a:gd name="connsiteY1475" fmla="*/ 5549966 h 5973007"/>
              <a:gd name="connsiteX1476" fmla="*/ 2878708 w 6884782"/>
              <a:gd name="connsiteY1476" fmla="*/ 5549656 h 5973007"/>
              <a:gd name="connsiteX1477" fmla="*/ 2884904 w 6884782"/>
              <a:gd name="connsiteY1477" fmla="*/ 5551928 h 5973007"/>
              <a:gd name="connsiteX1478" fmla="*/ 2884285 w 6884782"/>
              <a:gd name="connsiteY1478" fmla="*/ 5553786 h 5973007"/>
              <a:gd name="connsiteX1479" fmla="*/ 2881961 w 6884782"/>
              <a:gd name="connsiteY1479" fmla="*/ 5555335 h 5973007"/>
              <a:gd name="connsiteX1480" fmla="*/ 2879483 w 6884782"/>
              <a:gd name="connsiteY1480" fmla="*/ 5554922 h 5973007"/>
              <a:gd name="connsiteX1481" fmla="*/ 2878708 w 6884782"/>
              <a:gd name="connsiteY1481" fmla="*/ 5549656 h 5973007"/>
              <a:gd name="connsiteX1482" fmla="*/ 3366477 w 6884782"/>
              <a:gd name="connsiteY1482" fmla="*/ 5549140 h 5973007"/>
              <a:gd name="connsiteX1483" fmla="*/ 3356873 w 6884782"/>
              <a:gd name="connsiteY1483" fmla="*/ 5550276 h 5973007"/>
              <a:gd name="connsiteX1484" fmla="*/ 3359661 w 6884782"/>
              <a:gd name="connsiteY1484" fmla="*/ 5551308 h 5973007"/>
              <a:gd name="connsiteX1485" fmla="*/ 3363689 w 6884782"/>
              <a:gd name="connsiteY1485" fmla="*/ 5555748 h 5973007"/>
              <a:gd name="connsiteX1486" fmla="*/ 3363689 w 6884782"/>
              <a:gd name="connsiteY1486" fmla="*/ 5555439 h 5973007"/>
              <a:gd name="connsiteX1487" fmla="*/ 3105167 w 6884782"/>
              <a:gd name="connsiteY1487" fmla="*/ 5546765 h 5973007"/>
              <a:gd name="connsiteX1488" fmla="*/ 3105012 w 6884782"/>
              <a:gd name="connsiteY1488" fmla="*/ 5560188 h 5973007"/>
              <a:gd name="connsiteX1489" fmla="*/ 3098041 w 6884782"/>
              <a:gd name="connsiteY1489" fmla="*/ 5555852 h 5973007"/>
              <a:gd name="connsiteX1490" fmla="*/ 3105167 w 6884782"/>
              <a:gd name="connsiteY1490" fmla="*/ 5546765 h 5973007"/>
              <a:gd name="connsiteX1491" fmla="*/ 2612441 w 6884782"/>
              <a:gd name="connsiteY1491" fmla="*/ 5545836 h 5973007"/>
              <a:gd name="connsiteX1492" fmla="*/ 2618792 w 6884782"/>
              <a:gd name="connsiteY1492" fmla="*/ 5547385 h 5973007"/>
              <a:gd name="connsiteX1493" fmla="*/ 2615849 w 6884782"/>
              <a:gd name="connsiteY1493" fmla="*/ 5554406 h 5973007"/>
              <a:gd name="connsiteX1494" fmla="*/ 2611357 w 6884782"/>
              <a:gd name="connsiteY1494" fmla="*/ 5552857 h 5973007"/>
              <a:gd name="connsiteX1495" fmla="*/ 2612441 w 6884782"/>
              <a:gd name="connsiteY1495" fmla="*/ 5545836 h 5973007"/>
              <a:gd name="connsiteX1496" fmla="*/ 2745188 w 6884782"/>
              <a:gd name="connsiteY1496" fmla="*/ 5544493 h 5973007"/>
              <a:gd name="connsiteX1497" fmla="*/ 2749060 w 6884782"/>
              <a:gd name="connsiteY1497" fmla="*/ 5545836 h 5973007"/>
              <a:gd name="connsiteX1498" fmla="*/ 2744723 w 6884782"/>
              <a:gd name="connsiteY1498" fmla="*/ 5552547 h 5973007"/>
              <a:gd name="connsiteX1499" fmla="*/ 2742245 w 6884782"/>
              <a:gd name="connsiteY1499" fmla="*/ 5552031 h 5973007"/>
              <a:gd name="connsiteX1500" fmla="*/ 2742554 w 6884782"/>
              <a:gd name="connsiteY1500" fmla="*/ 5545836 h 5973007"/>
              <a:gd name="connsiteX1501" fmla="*/ 2745188 w 6884782"/>
              <a:gd name="connsiteY1501" fmla="*/ 5544493 h 5973007"/>
              <a:gd name="connsiteX1502" fmla="*/ 2920066 w 6884782"/>
              <a:gd name="connsiteY1502" fmla="*/ 5542635 h 5973007"/>
              <a:gd name="connsiteX1503" fmla="*/ 2919601 w 6884782"/>
              <a:gd name="connsiteY1503" fmla="*/ 5545836 h 5973007"/>
              <a:gd name="connsiteX1504" fmla="*/ 2919136 w 6884782"/>
              <a:gd name="connsiteY1504" fmla="*/ 5546558 h 5973007"/>
              <a:gd name="connsiteX1505" fmla="*/ 2918826 w 6884782"/>
              <a:gd name="connsiteY1505" fmla="*/ 5545836 h 5973007"/>
              <a:gd name="connsiteX1506" fmla="*/ 2920066 w 6884782"/>
              <a:gd name="connsiteY1506" fmla="*/ 5542635 h 5973007"/>
              <a:gd name="connsiteX1507" fmla="*/ 3006808 w 6884782"/>
              <a:gd name="connsiteY1507" fmla="*/ 5541912 h 5973007"/>
              <a:gd name="connsiteX1508" fmla="*/ 3009750 w 6884782"/>
              <a:gd name="connsiteY1508" fmla="*/ 5542635 h 5973007"/>
              <a:gd name="connsiteX1509" fmla="*/ 3012693 w 6884782"/>
              <a:gd name="connsiteY1509" fmla="*/ 5543874 h 5973007"/>
              <a:gd name="connsiteX1510" fmla="*/ 3013468 w 6884782"/>
              <a:gd name="connsiteY1510" fmla="*/ 5543564 h 5973007"/>
              <a:gd name="connsiteX1511" fmla="*/ 3013933 w 6884782"/>
              <a:gd name="connsiteY1511" fmla="*/ 5558020 h 5973007"/>
              <a:gd name="connsiteX1512" fmla="*/ 3005414 w 6884782"/>
              <a:gd name="connsiteY1512" fmla="*/ 5555645 h 5973007"/>
              <a:gd name="connsiteX1513" fmla="*/ 3004639 w 6884782"/>
              <a:gd name="connsiteY1513" fmla="*/ 5554716 h 5973007"/>
              <a:gd name="connsiteX1514" fmla="*/ 3003400 w 6884782"/>
              <a:gd name="connsiteY1514" fmla="*/ 5555439 h 5973007"/>
              <a:gd name="connsiteX1515" fmla="*/ 2997204 w 6884782"/>
              <a:gd name="connsiteY1515" fmla="*/ 5552960 h 5973007"/>
              <a:gd name="connsiteX1516" fmla="*/ 3003555 w 6884782"/>
              <a:gd name="connsiteY1516" fmla="*/ 5544700 h 5973007"/>
              <a:gd name="connsiteX1517" fmla="*/ 3004639 w 6884782"/>
              <a:gd name="connsiteY1517" fmla="*/ 5545939 h 5973007"/>
              <a:gd name="connsiteX1518" fmla="*/ 3005259 w 6884782"/>
              <a:gd name="connsiteY1518" fmla="*/ 5544184 h 5973007"/>
              <a:gd name="connsiteX1519" fmla="*/ 3006808 w 6884782"/>
              <a:gd name="connsiteY1519" fmla="*/ 5541912 h 5973007"/>
              <a:gd name="connsiteX1520" fmla="*/ 2932612 w 6884782"/>
              <a:gd name="connsiteY1520" fmla="*/ 5539847 h 5973007"/>
              <a:gd name="connsiteX1521" fmla="*/ 2936639 w 6884782"/>
              <a:gd name="connsiteY1521" fmla="*/ 5542428 h 5973007"/>
              <a:gd name="connsiteX1522" fmla="*/ 2932458 w 6884782"/>
              <a:gd name="connsiteY1522" fmla="*/ 5549140 h 5973007"/>
              <a:gd name="connsiteX1523" fmla="*/ 2928120 w 6884782"/>
              <a:gd name="connsiteY1523" fmla="*/ 5545319 h 5973007"/>
              <a:gd name="connsiteX1524" fmla="*/ 2928275 w 6884782"/>
              <a:gd name="connsiteY1524" fmla="*/ 5542738 h 5973007"/>
              <a:gd name="connsiteX1525" fmla="*/ 2930289 w 6884782"/>
              <a:gd name="connsiteY1525" fmla="*/ 5540466 h 5973007"/>
              <a:gd name="connsiteX1526" fmla="*/ 2932612 w 6884782"/>
              <a:gd name="connsiteY1526" fmla="*/ 5539847 h 5973007"/>
              <a:gd name="connsiteX1527" fmla="*/ 3113686 w 6884782"/>
              <a:gd name="connsiteY1527" fmla="*/ 5537162 h 5973007"/>
              <a:gd name="connsiteX1528" fmla="*/ 3122051 w 6884782"/>
              <a:gd name="connsiteY1528" fmla="*/ 5537369 h 5973007"/>
              <a:gd name="connsiteX1529" fmla="*/ 3125303 w 6884782"/>
              <a:gd name="connsiteY1529" fmla="*/ 5541499 h 5973007"/>
              <a:gd name="connsiteX1530" fmla="*/ 3125458 w 6884782"/>
              <a:gd name="connsiteY1530" fmla="*/ 5543254 h 5973007"/>
              <a:gd name="connsiteX1531" fmla="*/ 3133977 w 6884782"/>
              <a:gd name="connsiteY1531" fmla="*/ 5548830 h 5973007"/>
              <a:gd name="connsiteX1532" fmla="*/ 3129176 w 6884782"/>
              <a:gd name="connsiteY1532" fmla="*/ 5554819 h 5973007"/>
              <a:gd name="connsiteX1533" fmla="*/ 3123754 w 6884782"/>
              <a:gd name="connsiteY1533" fmla="*/ 5552238 h 5973007"/>
              <a:gd name="connsiteX1534" fmla="*/ 3118797 w 6884782"/>
              <a:gd name="connsiteY1534" fmla="*/ 5555129 h 5973007"/>
              <a:gd name="connsiteX1535" fmla="*/ 3113686 w 6884782"/>
              <a:gd name="connsiteY1535" fmla="*/ 5537162 h 5973007"/>
              <a:gd name="connsiteX1536" fmla="*/ 3047855 w 6884782"/>
              <a:gd name="connsiteY1536" fmla="*/ 5535407 h 5973007"/>
              <a:gd name="connsiteX1537" fmla="*/ 3049559 w 6884782"/>
              <a:gd name="connsiteY1537" fmla="*/ 5541086 h 5973007"/>
              <a:gd name="connsiteX1538" fmla="*/ 3045067 w 6884782"/>
              <a:gd name="connsiteY1538" fmla="*/ 5546765 h 5973007"/>
              <a:gd name="connsiteX1539" fmla="*/ 3043363 w 6884782"/>
              <a:gd name="connsiteY1539" fmla="*/ 5543874 h 5973007"/>
              <a:gd name="connsiteX1540" fmla="*/ 3047855 w 6884782"/>
              <a:gd name="connsiteY1540" fmla="*/ 5535407 h 5973007"/>
              <a:gd name="connsiteX1541" fmla="*/ 2878708 w 6884782"/>
              <a:gd name="connsiteY1541" fmla="*/ 5534994 h 5973007"/>
              <a:gd name="connsiteX1542" fmla="*/ 2881806 w 6884782"/>
              <a:gd name="connsiteY1542" fmla="*/ 5541292 h 5973007"/>
              <a:gd name="connsiteX1543" fmla="*/ 2876075 w 6884782"/>
              <a:gd name="connsiteY1543" fmla="*/ 5550069 h 5973007"/>
              <a:gd name="connsiteX1544" fmla="*/ 2875920 w 6884782"/>
              <a:gd name="connsiteY1544" fmla="*/ 5550173 h 5973007"/>
              <a:gd name="connsiteX1545" fmla="*/ 2875610 w 6884782"/>
              <a:gd name="connsiteY1545" fmla="*/ 5550689 h 5973007"/>
              <a:gd name="connsiteX1546" fmla="*/ 2872822 w 6884782"/>
              <a:gd name="connsiteY1546" fmla="*/ 5550895 h 5973007"/>
              <a:gd name="connsiteX1547" fmla="*/ 2870499 w 6884782"/>
              <a:gd name="connsiteY1547" fmla="*/ 5551515 h 5973007"/>
              <a:gd name="connsiteX1548" fmla="*/ 2863838 w 6884782"/>
              <a:gd name="connsiteY1548" fmla="*/ 5551721 h 5973007"/>
              <a:gd name="connsiteX1549" fmla="*/ 2859811 w 6884782"/>
              <a:gd name="connsiteY1549" fmla="*/ 5542325 h 5973007"/>
              <a:gd name="connsiteX1550" fmla="*/ 2878708 w 6884782"/>
              <a:gd name="connsiteY1550" fmla="*/ 5534994 h 5973007"/>
              <a:gd name="connsiteX1551" fmla="*/ 2995190 w 6884782"/>
              <a:gd name="connsiteY1551" fmla="*/ 5532619 h 5973007"/>
              <a:gd name="connsiteX1552" fmla="*/ 2989614 w 6884782"/>
              <a:gd name="connsiteY1552" fmla="*/ 5539124 h 5973007"/>
              <a:gd name="connsiteX1553" fmla="*/ 2987601 w 6884782"/>
              <a:gd name="connsiteY1553" fmla="*/ 5538091 h 5973007"/>
              <a:gd name="connsiteX1554" fmla="*/ 2995190 w 6884782"/>
              <a:gd name="connsiteY1554" fmla="*/ 5532619 h 5973007"/>
              <a:gd name="connsiteX1555" fmla="*/ 2656122 w 6884782"/>
              <a:gd name="connsiteY1555" fmla="*/ 5531277 h 5973007"/>
              <a:gd name="connsiteX1556" fmla="*/ 2664332 w 6884782"/>
              <a:gd name="connsiteY1556" fmla="*/ 5532516 h 5973007"/>
              <a:gd name="connsiteX1557" fmla="*/ 2661389 w 6884782"/>
              <a:gd name="connsiteY1557" fmla="*/ 5546249 h 5973007"/>
              <a:gd name="connsiteX1558" fmla="*/ 2657981 w 6884782"/>
              <a:gd name="connsiteY1558" fmla="*/ 5546352 h 5973007"/>
              <a:gd name="connsiteX1559" fmla="*/ 2656122 w 6884782"/>
              <a:gd name="connsiteY1559" fmla="*/ 5531277 h 5973007"/>
              <a:gd name="connsiteX1560" fmla="*/ 3548790 w 6884782"/>
              <a:gd name="connsiteY1560" fmla="*/ 5530967 h 5973007"/>
              <a:gd name="connsiteX1561" fmla="*/ 3550649 w 6884782"/>
              <a:gd name="connsiteY1561" fmla="*/ 5536026 h 5973007"/>
              <a:gd name="connsiteX1562" fmla="*/ 3546466 w 6884782"/>
              <a:gd name="connsiteY1562" fmla="*/ 5533342 h 5973007"/>
              <a:gd name="connsiteX1563" fmla="*/ 3548790 w 6884782"/>
              <a:gd name="connsiteY1563" fmla="*/ 5530967 h 5973007"/>
              <a:gd name="connsiteX1564" fmla="*/ 2732486 w 6884782"/>
              <a:gd name="connsiteY1564" fmla="*/ 5528902 h 5973007"/>
              <a:gd name="connsiteX1565" fmla="*/ 2739456 w 6884782"/>
              <a:gd name="connsiteY1565" fmla="*/ 5533032 h 5973007"/>
              <a:gd name="connsiteX1566" fmla="*/ 2730163 w 6884782"/>
              <a:gd name="connsiteY1566" fmla="*/ 5544390 h 5973007"/>
              <a:gd name="connsiteX1567" fmla="*/ 2725361 w 6884782"/>
              <a:gd name="connsiteY1567" fmla="*/ 5541912 h 5973007"/>
              <a:gd name="connsiteX1568" fmla="*/ 2732486 w 6884782"/>
              <a:gd name="connsiteY1568" fmla="*/ 5528902 h 5973007"/>
              <a:gd name="connsiteX1569" fmla="*/ 2768577 w 6884782"/>
              <a:gd name="connsiteY1569" fmla="*/ 5527766 h 5973007"/>
              <a:gd name="connsiteX1570" fmla="*/ 2778335 w 6884782"/>
              <a:gd name="connsiteY1570" fmla="*/ 5529934 h 5973007"/>
              <a:gd name="connsiteX1571" fmla="*/ 2776012 w 6884782"/>
              <a:gd name="connsiteY1571" fmla="*/ 5537472 h 5973007"/>
              <a:gd name="connsiteX1572" fmla="*/ 2769507 w 6884782"/>
              <a:gd name="connsiteY1572" fmla="*/ 5537059 h 5973007"/>
              <a:gd name="connsiteX1573" fmla="*/ 2768577 w 6884782"/>
              <a:gd name="connsiteY1573" fmla="*/ 5527766 h 5973007"/>
              <a:gd name="connsiteX1574" fmla="*/ 2825850 w 6884782"/>
              <a:gd name="connsiteY1574" fmla="*/ 5524978 h 5973007"/>
              <a:gd name="connsiteX1575" fmla="*/ 2833788 w 6884782"/>
              <a:gd name="connsiteY1575" fmla="*/ 5528902 h 5973007"/>
              <a:gd name="connsiteX1576" fmla="*/ 2833014 w 6884782"/>
              <a:gd name="connsiteY1576" fmla="*/ 5532206 h 5973007"/>
              <a:gd name="connsiteX1577" fmla="*/ 2828832 w 6884782"/>
              <a:gd name="connsiteY1577" fmla="*/ 5535200 h 5973007"/>
              <a:gd name="connsiteX1578" fmla="*/ 2824804 w 6884782"/>
              <a:gd name="connsiteY1578" fmla="*/ 5536852 h 5973007"/>
              <a:gd name="connsiteX1579" fmla="*/ 2825114 w 6884782"/>
              <a:gd name="connsiteY1579" fmla="*/ 5543151 h 5973007"/>
              <a:gd name="connsiteX1580" fmla="*/ 2821861 w 6884782"/>
              <a:gd name="connsiteY1580" fmla="*/ 5548108 h 5973007"/>
              <a:gd name="connsiteX1581" fmla="*/ 2819538 w 6884782"/>
              <a:gd name="connsiteY1581" fmla="*/ 5542428 h 5973007"/>
              <a:gd name="connsiteX1582" fmla="*/ 2819383 w 6884782"/>
              <a:gd name="connsiteY1582" fmla="*/ 5535820 h 5973007"/>
              <a:gd name="connsiteX1583" fmla="*/ 2817060 w 6884782"/>
              <a:gd name="connsiteY1583" fmla="*/ 5534374 h 5973007"/>
              <a:gd name="connsiteX1584" fmla="*/ 2816750 w 6884782"/>
              <a:gd name="connsiteY1584" fmla="*/ 5531586 h 5973007"/>
              <a:gd name="connsiteX1585" fmla="*/ 2825850 w 6884782"/>
              <a:gd name="connsiteY1585" fmla="*/ 5524978 h 5973007"/>
              <a:gd name="connsiteX1586" fmla="*/ 3019354 w 6884782"/>
              <a:gd name="connsiteY1586" fmla="*/ 5524565 h 5973007"/>
              <a:gd name="connsiteX1587" fmla="*/ 3029732 w 6884782"/>
              <a:gd name="connsiteY1587" fmla="*/ 5529315 h 5973007"/>
              <a:gd name="connsiteX1588" fmla="*/ 3032985 w 6884782"/>
              <a:gd name="connsiteY1588" fmla="*/ 5544184 h 5973007"/>
              <a:gd name="connsiteX1589" fmla="*/ 3024001 w 6884782"/>
              <a:gd name="connsiteY1589" fmla="*/ 5547591 h 5973007"/>
              <a:gd name="connsiteX1590" fmla="*/ 3018580 w 6884782"/>
              <a:gd name="connsiteY1590" fmla="*/ 5545216 h 5973007"/>
              <a:gd name="connsiteX1591" fmla="*/ 3016256 w 6884782"/>
              <a:gd name="connsiteY1591" fmla="*/ 5529521 h 5973007"/>
              <a:gd name="connsiteX1592" fmla="*/ 3017805 w 6884782"/>
              <a:gd name="connsiteY1592" fmla="*/ 5527973 h 5973007"/>
              <a:gd name="connsiteX1593" fmla="*/ 3019354 w 6884782"/>
              <a:gd name="connsiteY1593" fmla="*/ 5524565 h 5973007"/>
              <a:gd name="connsiteX1594" fmla="*/ 2970717 w 6884782"/>
              <a:gd name="connsiteY1594" fmla="*/ 5523532 h 5973007"/>
              <a:gd name="connsiteX1595" fmla="*/ 2976603 w 6884782"/>
              <a:gd name="connsiteY1595" fmla="*/ 5525184 h 5973007"/>
              <a:gd name="connsiteX1596" fmla="*/ 2973040 w 6884782"/>
              <a:gd name="connsiteY1596" fmla="*/ 5525184 h 5973007"/>
              <a:gd name="connsiteX1597" fmla="*/ 2970717 w 6884782"/>
              <a:gd name="connsiteY1597" fmla="*/ 5523532 h 5973007"/>
              <a:gd name="connsiteX1598" fmla="*/ 2602373 w 6884782"/>
              <a:gd name="connsiteY1598" fmla="*/ 5521261 h 5973007"/>
              <a:gd name="connsiteX1599" fmla="*/ 2613061 w 6884782"/>
              <a:gd name="connsiteY1599" fmla="*/ 5521777 h 5973007"/>
              <a:gd name="connsiteX1600" fmla="*/ 2608414 w 6884782"/>
              <a:gd name="connsiteY1600" fmla="*/ 5527766 h 5973007"/>
              <a:gd name="connsiteX1601" fmla="*/ 2605006 w 6884782"/>
              <a:gd name="connsiteY1601" fmla="*/ 5527146 h 5973007"/>
              <a:gd name="connsiteX1602" fmla="*/ 2602373 w 6884782"/>
              <a:gd name="connsiteY1602" fmla="*/ 5521261 h 5973007"/>
              <a:gd name="connsiteX1603" fmla="*/ 2531895 w 6884782"/>
              <a:gd name="connsiteY1603" fmla="*/ 5520641 h 5973007"/>
              <a:gd name="connsiteX1604" fmla="*/ 2531741 w 6884782"/>
              <a:gd name="connsiteY1604" fmla="*/ 5522293 h 5973007"/>
              <a:gd name="connsiteX1605" fmla="*/ 2532515 w 6884782"/>
              <a:gd name="connsiteY1605" fmla="*/ 5522293 h 5973007"/>
              <a:gd name="connsiteX1606" fmla="*/ 2531586 w 6884782"/>
              <a:gd name="connsiteY1606" fmla="*/ 5523842 h 5973007"/>
              <a:gd name="connsiteX1607" fmla="*/ 2530811 w 6884782"/>
              <a:gd name="connsiteY1607" fmla="*/ 5523842 h 5973007"/>
              <a:gd name="connsiteX1608" fmla="*/ 2530502 w 6884782"/>
              <a:gd name="connsiteY1608" fmla="*/ 5524049 h 5973007"/>
              <a:gd name="connsiteX1609" fmla="*/ 2529262 w 6884782"/>
              <a:gd name="connsiteY1609" fmla="*/ 5523016 h 5973007"/>
              <a:gd name="connsiteX1610" fmla="*/ 2528333 w 6884782"/>
              <a:gd name="connsiteY1610" fmla="*/ 5522190 h 5973007"/>
              <a:gd name="connsiteX1611" fmla="*/ 2528643 w 6884782"/>
              <a:gd name="connsiteY1611" fmla="*/ 5521364 h 5973007"/>
              <a:gd name="connsiteX1612" fmla="*/ 2531895 w 6884782"/>
              <a:gd name="connsiteY1612" fmla="*/ 5520641 h 5973007"/>
              <a:gd name="connsiteX1613" fmla="*/ 2895747 w 6884782"/>
              <a:gd name="connsiteY1613" fmla="*/ 5519815 h 5973007"/>
              <a:gd name="connsiteX1614" fmla="*/ 2896831 w 6884782"/>
              <a:gd name="connsiteY1614" fmla="*/ 5523222 h 5973007"/>
              <a:gd name="connsiteX1615" fmla="*/ 2895437 w 6884782"/>
              <a:gd name="connsiteY1615" fmla="*/ 5523739 h 5973007"/>
              <a:gd name="connsiteX1616" fmla="*/ 2893423 w 6884782"/>
              <a:gd name="connsiteY1616" fmla="*/ 5522190 h 5973007"/>
              <a:gd name="connsiteX1617" fmla="*/ 3010099 w 6884782"/>
              <a:gd name="connsiteY1617" fmla="*/ 5519260 h 5973007"/>
              <a:gd name="connsiteX1618" fmla="*/ 3012074 w 6884782"/>
              <a:gd name="connsiteY1618" fmla="*/ 5524668 h 5973007"/>
              <a:gd name="connsiteX1619" fmla="*/ 3005104 w 6884782"/>
              <a:gd name="connsiteY1619" fmla="*/ 5519815 h 5973007"/>
              <a:gd name="connsiteX1620" fmla="*/ 3010099 w 6884782"/>
              <a:gd name="connsiteY1620" fmla="*/ 5519260 h 5973007"/>
              <a:gd name="connsiteX1621" fmla="*/ 2889706 w 6884782"/>
              <a:gd name="connsiteY1621" fmla="*/ 5519196 h 5973007"/>
              <a:gd name="connsiteX1622" fmla="*/ 2890790 w 6884782"/>
              <a:gd name="connsiteY1622" fmla="*/ 5520951 h 5973007"/>
              <a:gd name="connsiteX1623" fmla="*/ 2890480 w 6884782"/>
              <a:gd name="connsiteY1623" fmla="*/ 5522500 h 5973007"/>
              <a:gd name="connsiteX1624" fmla="*/ 2892649 w 6884782"/>
              <a:gd name="connsiteY1624" fmla="*/ 5523016 h 5973007"/>
              <a:gd name="connsiteX1625" fmla="*/ 2895282 w 6884782"/>
              <a:gd name="connsiteY1625" fmla="*/ 5530038 h 5973007"/>
              <a:gd name="connsiteX1626" fmla="*/ 2893733 w 6884782"/>
              <a:gd name="connsiteY1626" fmla="*/ 5530967 h 5973007"/>
              <a:gd name="connsiteX1627" fmla="*/ 2891720 w 6884782"/>
              <a:gd name="connsiteY1627" fmla="*/ 5531380 h 5973007"/>
              <a:gd name="connsiteX1628" fmla="*/ 2887073 w 6884782"/>
              <a:gd name="connsiteY1628" fmla="*/ 5529728 h 5973007"/>
              <a:gd name="connsiteX1629" fmla="*/ 2885214 w 6884782"/>
              <a:gd name="connsiteY1629" fmla="*/ 5526114 h 5973007"/>
              <a:gd name="connsiteX1630" fmla="*/ 2885214 w 6884782"/>
              <a:gd name="connsiteY1630" fmla="*/ 5524358 h 5973007"/>
              <a:gd name="connsiteX1631" fmla="*/ 2886298 w 6884782"/>
              <a:gd name="connsiteY1631" fmla="*/ 5523739 h 5973007"/>
              <a:gd name="connsiteX1632" fmla="*/ 2885833 w 6884782"/>
              <a:gd name="connsiteY1632" fmla="*/ 5523016 h 5973007"/>
              <a:gd name="connsiteX1633" fmla="*/ 2885524 w 6884782"/>
              <a:gd name="connsiteY1633" fmla="*/ 5520435 h 5973007"/>
              <a:gd name="connsiteX1634" fmla="*/ 2889706 w 6884782"/>
              <a:gd name="connsiteY1634" fmla="*/ 5519196 h 5973007"/>
              <a:gd name="connsiteX1635" fmla="*/ 2809005 w 6884782"/>
              <a:gd name="connsiteY1635" fmla="*/ 5515272 h 5973007"/>
              <a:gd name="connsiteX1636" fmla="*/ 2772604 w 6884782"/>
              <a:gd name="connsiteY1636" fmla="*/ 5554200 h 5973007"/>
              <a:gd name="connsiteX1637" fmla="*/ 2809005 w 6884782"/>
              <a:gd name="connsiteY1637" fmla="*/ 5515272 h 5973007"/>
              <a:gd name="connsiteX1638" fmla="*/ 2837486 w 6884782"/>
              <a:gd name="connsiteY1638" fmla="*/ 5509554 h 5973007"/>
              <a:gd name="connsiteX1639" fmla="*/ 2839675 w 6884782"/>
              <a:gd name="connsiteY1639" fmla="*/ 5515478 h 5973007"/>
              <a:gd name="connsiteX1640" fmla="*/ 2836731 w 6884782"/>
              <a:gd name="connsiteY1640" fmla="*/ 5520332 h 5973007"/>
              <a:gd name="connsiteX1641" fmla="*/ 2834563 w 6884782"/>
              <a:gd name="connsiteY1641" fmla="*/ 5519402 h 5973007"/>
              <a:gd name="connsiteX1642" fmla="*/ 2834408 w 6884782"/>
              <a:gd name="connsiteY1642" fmla="*/ 5519196 h 5973007"/>
              <a:gd name="connsiteX1643" fmla="*/ 2831465 w 6884782"/>
              <a:gd name="connsiteY1643" fmla="*/ 5523532 h 5973007"/>
              <a:gd name="connsiteX1644" fmla="*/ 2829606 w 6884782"/>
              <a:gd name="connsiteY1644" fmla="*/ 5521054 h 5973007"/>
              <a:gd name="connsiteX1645" fmla="*/ 2829606 w 6884782"/>
              <a:gd name="connsiteY1645" fmla="*/ 5515891 h 5973007"/>
              <a:gd name="connsiteX1646" fmla="*/ 2831000 w 6884782"/>
              <a:gd name="connsiteY1646" fmla="*/ 5513723 h 5973007"/>
              <a:gd name="connsiteX1647" fmla="*/ 2830535 w 6884782"/>
              <a:gd name="connsiteY1647" fmla="*/ 5512690 h 5973007"/>
              <a:gd name="connsiteX1648" fmla="*/ 2837486 w 6884782"/>
              <a:gd name="connsiteY1648" fmla="*/ 5509554 h 5973007"/>
              <a:gd name="connsiteX1649" fmla="*/ 2861205 w 6884782"/>
              <a:gd name="connsiteY1649" fmla="*/ 5507838 h 5973007"/>
              <a:gd name="connsiteX1650" fmla="*/ 2861979 w 6884782"/>
              <a:gd name="connsiteY1650" fmla="*/ 5507838 h 5973007"/>
              <a:gd name="connsiteX1651" fmla="*/ 2862289 w 6884782"/>
              <a:gd name="connsiteY1651" fmla="*/ 5513413 h 5973007"/>
              <a:gd name="connsiteX1652" fmla="*/ 2861825 w 6884782"/>
              <a:gd name="connsiteY1652" fmla="*/ 5518370 h 5973007"/>
              <a:gd name="connsiteX1653" fmla="*/ 2863374 w 6884782"/>
              <a:gd name="connsiteY1653" fmla="*/ 5518163 h 5973007"/>
              <a:gd name="connsiteX1654" fmla="*/ 2880567 w 6884782"/>
              <a:gd name="connsiteY1654" fmla="*/ 5518989 h 5973007"/>
              <a:gd name="connsiteX1655" fmla="*/ 2862444 w 6884782"/>
              <a:gd name="connsiteY1655" fmla="*/ 5528902 h 5973007"/>
              <a:gd name="connsiteX1656" fmla="*/ 2857332 w 6884782"/>
              <a:gd name="connsiteY1656" fmla="*/ 5529005 h 5973007"/>
              <a:gd name="connsiteX1657" fmla="*/ 2846335 w 6884782"/>
              <a:gd name="connsiteY1657" fmla="*/ 5520228 h 5973007"/>
              <a:gd name="connsiteX1658" fmla="*/ 2858727 w 6884782"/>
              <a:gd name="connsiteY1658" fmla="*/ 5518679 h 5973007"/>
              <a:gd name="connsiteX1659" fmla="*/ 2858417 w 6884782"/>
              <a:gd name="connsiteY1659" fmla="*/ 5518679 h 5973007"/>
              <a:gd name="connsiteX1660" fmla="*/ 2857797 w 6884782"/>
              <a:gd name="connsiteY1660" fmla="*/ 5514240 h 5973007"/>
              <a:gd name="connsiteX1661" fmla="*/ 2860740 w 6884782"/>
              <a:gd name="connsiteY1661" fmla="*/ 5510522 h 5973007"/>
              <a:gd name="connsiteX1662" fmla="*/ 2861205 w 6884782"/>
              <a:gd name="connsiteY1662" fmla="*/ 5507838 h 5973007"/>
              <a:gd name="connsiteX1663" fmla="*/ 2900549 w 6884782"/>
              <a:gd name="connsiteY1663" fmla="*/ 5506702 h 5973007"/>
              <a:gd name="connsiteX1664" fmla="*/ 2909533 w 6884782"/>
              <a:gd name="connsiteY1664" fmla="*/ 5508354 h 5973007"/>
              <a:gd name="connsiteX1665" fmla="*/ 2906900 w 6884782"/>
              <a:gd name="connsiteY1665" fmla="*/ 5519815 h 5973007"/>
              <a:gd name="connsiteX1666" fmla="*/ 2907364 w 6884782"/>
              <a:gd name="connsiteY1666" fmla="*/ 5521364 h 5973007"/>
              <a:gd name="connsiteX1667" fmla="*/ 2906900 w 6884782"/>
              <a:gd name="connsiteY1667" fmla="*/ 5523532 h 5973007"/>
              <a:gd name="connsiteX1668" fmla="*/ 2905970 w 6884782"/>
              <a:gd name="connsiteY1668" fmla="*/ 5523945 h 5973007"/>
              <a:gd name="connsiteX1669" fmla="*/ 2904421 w 6884782"/>
              <a:gd name="connsiteY1669" fmla="*/ 5530967 h 5973007"/>
              <a:gd name="connsiteX1670" fmla="*/ 2899619 w 6884782"/>
              <a:gd name="connsiteY1670" fmla="*/ 5551515 h 5973007"/>
              <a:gd name="connsiteX1671" fmla="*/ 2900549 w 6884782"/>
              <a:gd name="connsiteY1671" fmla="*/ 5506702 h 5973007"/>
              <a:gd name="connsiteX1672" fmla="*/ 3113415 w 6884782"/>
              <a:gd name="connsiteY1672" fmla="*/ 5505062 h 5973007"/>
              <a:gd name="connsiteX1673" fmla="*/ 3119417 w 6884782"/>
              <a:gd name="connsiteY1673" fmla="*/ 5505462 h 5973007"/>
              <a:gd name="connsiteX1674" fmla="*/ 3119262 w 6884782"/>
              <a:gd name="connsiteY1674" fmla="*/ 5508044 h 5973007"/>
              <a:gd name="connsiteX1675" fmla="*/ 3112912 w 6884782"/>
              <a:gd name="connsiteY1675" fmla="*/ 5512071 h 5973007"/>
              <a:gd name="connsiteX1676" fmla="*/ 3110898 w 6884782"/>
              <a:gd name="connsiteY1676" fmla="*/ 5510935 h 5973007"/>
              <a:gd name="connsiteX1677" fmla="*/ 3113415 w 6884782"/>
              <a:gd name="connsiteY1677" fmla="*/ 5505062 h 5973007"/>
              <a:gd name="connsiteX1678" fmla="*/ 2640478 w 6884782"/>
              <a:gd name="connsiteY1678" fmla="*/ 5503294 h 5973007"/>
              <a:gd name="connsiteX1679" fmla="*/ 2656277 w 6884782"/>
              <a:gd name="connsiteY1679" fmla="*/ 5507734 h 5973007"/>
              <a:gd name="connsiteX1680" fmla="*/ 2655658 w 6884782"/>
              <a:gd name="connsiteY1680" fmla="*/ 5509593 h 5973007"/>
              <a:gd name="connsiteX1681" fmla="*/ 2653489 w 6884782"/>
              <a:gd name="connsiteY1681" fmla="*/ 5510316 h 5973007"/>
              <a:gd name="connsiteX1682" fmla="*/ 2645280 w 6884782"/>
              <a:gd name="connsiteY1682" fmla="*/ 5508354 h 5973007"/>
              <a:gd name="connsiteX1683" fmla="*/ 2643576 w 6884782"/>
              <a:gd name="connsiteY1683" fmla="*/ 5507631 h 5973007"/>
              <a:gd name="connsiteX1684" fmla="*/ 2641717 w 6884782"/>
              <a:gd name="connsiteY1684" fmla="*/ 5506805 h 5973007"/>
              <a:gd name="connsiteX1685" fmla="*/ 2640478 w 6884782"/>
              <a:gd name="connsiteY1685" fmla="*/ 5503294 h 5973007"/>
              <a:gd name="connsiteX1686" fmla="*/ 3401638 w 6884782"/>
              <a:gd name="connsiteY1686" fmla="*/ 5502984 h 5973007"/>
              <a:gd name="connsiteX1687" fmla="*/ 3397766 w 6884782"/>
              <a:gd name="connsiteY1687" fmla="*/ 5504327 h 5973007"/>
              <a:gd name="connsiteX1688" fmla="*/ 3400399 w 6884782"/>
              <a:gd name="connsiteY1688" fmla="*/ 5505049 h 5973007"/>
              <a:gd name="connsiteX1689" fmla="*/ 3400709 w 6884782"/>
              <a:gd name="connsiteY1689" fmla="*/ 5504843 h 5973007"/>
              <a:gd name="connsiteX1690" fmla="*/ 3400709 w 6884782"/>
              <a:gd name="connsiteY1690" fmla="*/ 5504740 h 5973007"/>
              <a:gd name="connsiteX1691" fmla="*/ 3015947 w 6884782"/>
              <a:gd name="connsiteY1691" fmla="*/ 5502365 h 5973007"/>
              <a:gd name="connsiteX1692" fmla="*/ 3018580 w 6884782"/>
              <a:gd name="connsiteY1692" fmla="*/ 5503294 h 5973007"/>
              <a:gd name="connsiteX1693" fmla="*/ 3019044 w 6884782"/>
              <a:gd name="connsiteY1693" fmla="*/ 5502984 h 5973007"/>
              <a:gd name="connsiteX1694" fmla="*/ 3025395 w 6884782"/>
              <a:gd name="connsiteY1694" fmla="*/ 5508250 h 5973007"/>
              <a:gd name="connsiteX1695" fmla="*/ 3021678 w 6884782"/>
              <a:gd name="connsiteY1695" fmla="*/ 5512690 h 5973007"/>
              <a:gd name="connsiteX1696" fmla="*/ 3021058 w 6884782"/>
              <a:gd name="connsiteY1696" fmla="*/ 5512278 h 5973007"/>
              <a:gd name="connsiteX1697" fmla="*/ 3020593 w 6884782"/>
              <a:gd name="connsiteY1697" fmla="*/ 5513413 h 5973007"/>
              <a:gd name="connsiteX1698" fmla="*/ 3015792 w 6884782"/>
              <a:gd name="connsiteY1698" fmla="*/ 5517853 h 5973007"/>
              <a:gd name="connsiteX1699" fmla="*/ 3015947 w 6884782"/>
              <a:gd name="connsiteY1699" fmla="*/ 5502365 h 5973007"/>
              <a:gd name="connsiteX1700" fmla="*/ 2688650 w 6884782"/>
              <a:gd name="connsiteY1700" fmla="*/ 5500403 h 5973007"/>
              <a:gd name="connsiteX1701" fmla="*/ 2698099 w 6884782"/>
              <a:gd name="connsiteY1701" fmla="*/ 5504740 h 5973007"/>
              <a:gd name="connsiteX1702" fmla="*/ 2693762 w 6884782"/>
              <a:gd name="connsiteY1702" fmla="*/ 5508870 h 5973007"/>
              <a:gd name="connsiteX1703" fmla="*/ 2688186 w 6884782"/>
              <a:gd name="connsiteY1703" fmla="*/ 5506805 h 5973007"/>
              <a:gd name="connsiteX1704" fmla="*/ 2688650 w 6884782"/>
              <a:gd name="connsiteY1704" fmla="*/ 5500403 h 5973007"/>
              <a:gd name="connsiteX1705" fmla="*/ 2768577 w 6884782"/>
              <a:gd name="connsiteY1705" fmla="*/ 5499474 h 5973007"/>
              <a:gd name="connsiteX1706" fmla="*/ 2780659 w 6884782"/>
              <a:gd name="connsiteY1706" fmla="*/ 5503914 h 5973007"/>
              <a:gd name="connsiteX1707" fmla="*/ 2778181 w 6884782"/>
              <a:gd name="connsiteY1707" fmla="*/ 5504223 h 5973007"/>
              <a:gd name="connsiteX1708" fmla="*/ 2768577 w 6884782"/>
              <a:gd name="connsiteY1708" fmla="*/ 5499474 h 5973007"/>
              <a:gd name="connsiteX1709" fmla="*/ 2676355 w 6884782"/>
              <a:gd name="connsiteY1709" fmla="*/ 5498673 h 5973007"/>
              <a:gd name="connsiteX1710" fmla="*/ 2683229 w 6884782"/>
              <a:gd name="connsiteY1710" fmla="*/ 5505979 h 5973007"/>
              <a:gd name="connsiteX1711" fmla="*/ 2681525 w 6884782"/>
              <a:gd name="connsiteY1711" fmla="*/ 5510212 h 5973007"/>
              <a:gd name="connsiteX1712" fmla="*/ 2676414 w 6884782"/>
              <a:gd name="connsiteY1712" fmla="*/ 5510625 h 5973007"/>
              <a:gd name="connsiteX1713" fmla="*/ 2672231 w 6884782"/>
              <a:gd name="connsiteY1713" fmla="*/ 5510729 h 5973007"/>
              <a:gd name="connsiteX1714" fmla="*/ 2663557 w 6884782"/>
              <a:gd name="connsiteY1714" fmla="*/ 5503294 h 5973007"/>
              <a:gd name="connsiteX1715" fmla="*/ 2676355 w 6884782"/>
              <a:gd name="connsiteY1715" fmla="*/ 5498673 h 5973007"/>
              <a:gd name="connsiteX1716" fmla="*/ 3371743 w 6884782"/>
              <a:gd name="connsiteY1716" fmla="*/ 5498544 h 5973007"/>
              <a:gd name="connsiteX1717" fmla="*/ 3369885 w 6884782"/>
              <a:gd name="connsiteY1717" fmla="*/ 5499267 h 5973007"/>
              <a:gd name="connsiteX1718" fmla="*/ 3369265 w 6884782"/>
              <a:gd name="connsiteY1718" fmla="*/ 5503914 h 5973007"/>
              <a:gd name="connsiteX1719" fmla="*/ 3364153 w 6884782"/>
              <a:gd name="connsiteY1719" fmla="*/ 5508250 h 5973007"/>
              <a:gd name="connsiteX1720" fmla="*/ 3362914 w 6884782"/>
              <a:gd name="connsiteY1720" fmla="*/ 5502984 h 5973007"/>
              <a:gd name="connsiteX1721" fmla="*/ 3363689 w 6884782"/>
              <a:gd name="connsiteY1721" fmla="*/ 5499680 h 5973007"/>
              <a:gd name="connsiteX1722" fmla="*/ 3363379 w 6884782"/>
              <a:gd name="connsiteY1722" fmla="*/ 5499680 h 5973007"/>
              <a:gd name="connsiteX1723" fmla="*/ 3361056 w 6884782"/>
              <a:gd name="connsiteY1723" fmla="*/ 5499990 h 5973007"/>
              <a:gd name="connsiteX1724" fmla="*/ 3361985 w 6884782"/>
              <a:gd name="connsiteY1724" fmla="*/ 5500300 h 5973007"/>
              <a:gd name="connsiteX1725" fmla="*/ 3357183 w 6884782"/>
              <a:gd name="connsiteY1725" fmla="*/ 5504533 h 5973007"/>
              <a:gd name="connsiteX1726" fmla="*/ 3360746 w 6884782"/>
              <a:gd name="connsiteY1726" fmla="*/ 5505979 h 5973007"/>
              <a:gd name="connsiteX1727" fmla="*/ 3362759 w 6884782"/>
              <a:gd name="connsiteY1727" fmla="*/ 5508457 h 5973007"/>
              <a:gd name="connsiteX1728" fmla="*/ 3359352 w 6884782"/>
              <a:gd name="connsiteY1728" fmla="*/ 5510729 h 5973007"/>
              <a:gd name="connsiteX1729" fmla="*/ 3355944 w 6884782"/>
              <a:gd name="connsiteY1729" fmla="*/ 5509386 h 5973007"/>
              <a:gd name="connsiteX1730" fmla="*/ 3354550 w 6884782"/>
              <a:gd name="connsiteY1730" fmla="*/ 5506805 h 5973007"/>
              <a:gd name="connsiteX1731" fmla="*/ 3352691 w 6884782"/>
              <a:gd name="connsiteY1731" fmla="*/ 5508560 h 5973007"/>
              <a:gd name="connsiteX1732" fmla="*/ 3343707 w 6884782"/>
              <a:gd name="connsiteY1732" fmla="*/ 5515478 h 5973007"/>
              <a:gd name="connsiteX1733" fmla="*/ 3337976 w 6884782"/>
              <a:gd name="connsiteY1733" fmla="*/ 5519196 h 5973007"/>
              <a:gd name="connsiteX1734" fmla="*/ 3339060 w 6884782"/>
              <a:gd name="connsiteY1734" fmla="*/ 5519299 h 5973007"/>
              <a:gd name="connsiteX1735" fmla="*/ 3350522 w 6884782"/>
              <a:gd name="connsiteY1735" fmla="*/ 5517544 h 5973007"/>
              <a:gd name="connsiteX1736" fmla="*/ 3380727 w 6884782"/>
              <a:gd name="connsiteY1736" fmla="*/ 5517853 h 5973007"/>
              <a:gd name="connsiteX1737" fmla="*/ 3387543 w 6884782"/>
              <a:gd name="connsiteY1737" fmla="*/ 5516305 h 5973007"/>
              <a:gd name="connsiteX1738" fmla="*/ 3387853 w 6884782"/>
              <a:gd name="connsiteY1738" fmla="*/ 5516098 h 5973007"/>
              <a:gd name="connsiteX1739" fmla="*/ 3395907 w 6884782"/>
              <a:gd name="connsiteY1739" fmla="*/ 5509077 h 5973007"/>
              <a:gd name="connsiteX1740" fmla="*/ 3393893 w 6884782"/>
              <a:gd name="connsiteY1740" fmla="*/ 5509180 h 5973007"/>
              <a:gd name="connsiteX1741" fmla="*/ 3390795 w 6884782"/>
              <a:gd name="connsiteY1741" fmla="*/ 5502468 h 5973007"/>
              <a:gd name="connsiteX1742" fmla="*/ 3390641 w 6884782"/>
              <a:gd name="connsiteY1742" fmla="*/ 5502468 h 5973007"/>
              <a:gd name="connsiteX1743" fmla="*/ 3387543 w 6884782"/>
              <a:gd name="connsiteY1743" fmla="*/ 5507321 h 5973007"/>
              <a:gd name="connsiteX1744" fmla="*/ 3381967 w 6884782"/>
              <a:gd name="connsiteY1744" fmla="*/ 5509593 h 5973007"/>
              <a:gd name="connsiteX1745" fmla="*/ 3381347 w 6884782"/>
              <a:gd name="connsiteY1745" fmla="*/ 5509799 h 5973007"/>
              <a:gd name="connsiteX1746" fmla="*/ 3380572 w 6884782"/>
              <a:gd name="connsiteY1746" fmla="*/ 5510522 h 5973007"/>
              <a:gd name="connsiteX1747" fmla="*/ 3380727 w 6884782"/>
              <a:gd name="connsiteY1747" fmla="*/ 5510832 h 5973007"/>
              <a:gd name="connsiteX1748" fmla="*/ 3380417 w 6884782"/>
              <a:gd name="connsiteY1748" fmla="*/ 5510729 h 5973007"/>
              <a:gd name="connsiteX1749" fmla="*/ 3378868 w 6884782"/>
              <a:gd name="connsiteY1749" fmla="*/ 5512174 h 5973007"/>
              <a:gd name="connsiteX1750" fmla="*/ 3377784 w 6884782"/>
              <a:gd name="connsiteY1750" fmla="*/ 5510935 h 5973007"/>
              <a:gd name="connsiteX1751" fmla="*/ 3375151 w 6884782"/>
              <a:gd name="connsiteY1751" fmla="*/ 5510625 h 5973007"/>
              <a:gd name="connsiteX1752" fmla="*/ 3374222 w 6884782"/>
              <a:gd name="connsiteY1752" fmla="*/ 5508560 h 5973007"/>
              <a:gd name="connsiteX1753" fmla="*/ 3376080 w 6884782"/>
              <a:gd name="connsiteY1753" fmla="*/ 5504120 h 5973007"/>
              <a:gd name="connsiteX1754" fmla="*/ 3371898 w 6884782"/>
              <a:gd name="connsiteY1754" fmla="*/ 5498751 h 5973007"/>
              <a:gd name="connsiteX1755" fmla="*/ 2853770 w 6884782"/>
              <a:gd name="connsiteY1755" fmla="*/ 5496995 h 5973007"/>
              <a:gd name="connsiteX1756" fmla="*/ 2849278 w 6884782"/>
              <a:gd name="connsiteY1756" fmla="*/ 5500816 h 5973007"/>
              <a:gd name="connsiteX1757" fmla="*/ 2848658 w 6884782"/>
              <a:gd name="connsiteY1757" fmla="*/ 5503397 h 5973007"/>
              <a:gd name="connsiteX1758" fmla="*/ 2843856 w 6884782"/>
              <a:gd name="connsiteY1758" fmla="*/ 5505359 h 5973007"/>
              <a:gd name="connsiteX1759" fmla="*/ 2843237 w 6884782"/>
              <a:gd name="connsiteY1759" fmla="*/ 5501126 h 5973007"/>
              <a:gd name="connsiteX1760" fmla="*/ 2849743 w 6884782"/>
              <a:gd name="connsiteY1760" fmla="*/ 5498957 h 5973007"/>
              <a:gd name="connsiteX1761" fmla="*/ 2853770 w 6884782"/>
              <a:gd name="connsiteY1761" fmla="*/ 5496995 h 5973007"/>
              <a:gd name="connsiteX1762" fmla="*/ 3370039 w 6884782"/>
              <a:gd name="connsiteY1762" fmla="*/ 5496582 h 5973007"/>
              <a:gd name="connsiteX1763" fmla="*/ 3369885 w 6884782"/>
              <a:gd name="connsiteY1763" fmla="*/ 5496686 h 5973007"/>
              <a:gd name="connsiteX1764" fmla="*/ 3370039 w 6884782"/>
              <a:gd name="connsiteY1764" fmla="*/ 5497305 h 5973007"/>
              <a:gd name="connsiteX1765" fmla="*/ 3370039 w 6884782"/>
              <a:gd name="connsiteY1765" fmla="*/ 5497512 h 5973007"/>
              <a:gd name="connsiteX1766" fmla="*/ 3370969 w 6884782"/>
              <a:gd name="connsiteY1766" fmla="*/ 5497512 h 5973007"/>
              <a:gd name="connsiteX1767" fmla="*/ 2725051 w 6884782"/>
              <a:gd name="connsiteY1767" fmla="*/ 5495447 h 5973007"/>
              <a:gd name="connsiteX1768" fmla="*/ 2734500 w 6884782"/>
              <a:gd name="connsiteY1768" fmla="*/ 5517853 h 5973007"/>
              <a:gd name="connsiteX1769" fmla="*/ 2729388 w 6884782"/>
              <a:gd name="connsiteY1769" fmla="*/ 5523636 h 5973007"/>
              <a:gd name="connsiteX1770" fmla="*/ 2718546 w 6884782"/>
              <a:gd name="connsiteY1770" fmla="*/ 5500300 h 5973007"/>
              <a:gd name="connsiteX1771" fmla="*/ 2725051 w 6884782"/>
              <a:gd name="connsiteY1771" fmla="*/ 5495447 h 5973007"/>
              <a:gd name="connsiteX1772" fmla="*/ 2749215 w 6884782"/>
              <a:gd name="connsiteY1772" fmla="*/ 5494517 h 5973007"/>
              <a:gd name="connsiteX1773" fmla="*/ 2751384 w 6884782"/>
              <a:gd name="connsiteY1773" fmla="*/ 5497925 h 5973007"/>
              <a:gd name="connsiteX1774" fmla="*/ 2746582 w 6884782"/>
              <a:gd name="connsiteY1774" fmla="*/ 5499990 h 5973007"/>
              <a:gd name="connsiteX1775" fmla="*/ 2744568 w 6884782"/>
              <a:gd name="connsiteY1775" fmla="*/ 5496582 h 5973007"/>
              <a:gd name="connsiteX1776" fmla="*/ 2749215 w 6884782"/>
              <a:gd name="connsiteY1776" fmla="*/ 5494517 h 5973007"/>
              <a:gd name="connsiteX1777" fmla="*/ 2946243 w 6884782"/>
              <a:gd name="connsiteY1777" fmla="*/ 5493794 h 5973007"/>
              <a:gd name="connsiteX1778" fmla="*/ 2963282 w 6884782"/>
              <a:gd name="connsiteY1778" fmla="*/ 5495344 h 5973007"/>
              <a:gd name="connsiteX1779" fmla="*/ 2976758 w 6884782"/>
              <a:gd name="connsiteY1779" fmla="*/ 5520745 h 5973007"/>
              <a:gd name="connsiteX1780" fmla="*/ 2974899 w 6884782"/>
              <a:gd name="connsiteY1780" fmla="*/ 5522396 h 5973007"/>
              <a:gd name="connsiteX1781" fmla="*/ 2969323 w 6884782"/>
              <a:gd name="connsiteY1781" fmla="*/ 5523016 h 5973007"/>
              <a:gd name="connsiteX1782" fmla="*/ 2946243 w 6884782"/>
              <a:gd name="connsiteY1782" fmla="*/ 5493794 h 5973007"/>
              <a:gd name="connsiteX1783" fmla="*/ 3389091 w 6884782"/>
              <a:gd name="connsiteY1783" fmla="*/ 5493588 h 5973007"/>
              <a:gd name="connsiteX1784" fmla="*/ 3385994 w 6884782"/>
              <a:gd name="connsiteY1784" fmla="*/ 5493691 h 5973007"/>
              <a:gd name="connsiteX1785" fmla="*/ 3387388 w 6884782"/>
              <a:gd name="connsiteY1785" fmla="*/ 5497718 h 5973007"/>
              <a:gd name="connsiteX1786" fmla="*/ 3386613 w 6884782"/>
              <a:gd name="connsiteY1786" fmla="*/ 5498131 h 5973007"/>
              <a:gd name="connsiteX1787" fmla="*/ 3388627 w 6884782"/>
              <a:gd name="connsiteY1787" fmla="*/ 5499680 h 5973007"/>
              <a:gd name="connsiteX1788" fmla="*/ 3389711 w 6884782"/>
              <a:gd name="connsiteY1788" fmla="*/ 5500093 h 5973007"/>
              <a:gd name="connsiteX1789" fmla="*/ 3390176 w 6884782"/>
              <a:gd name="connsiteY1789" fmla="*/ 5499783 h 5973007"/>
              <a:gd name="connsiteX1790" fmla="*/ 3396681 w 6884782"/>
              <a:gd name="connsiteY1790" fmla="*/ 5497202 h 5973007"/>
              <a:gd name="connsiteX1791" fmla="*/ 3395133 w 6884782"/>
              <a:gd name="connsiteY1791" fmla="*/ 5495344 h 5973007"/>
              <a:gd name="connsiteX1792" fmla="*/ 3393893 w 6884782"/>
              <a:gd name="connsiteY1792" fmla="*/ 5495344 h 5973007"/>
              <a:gd name="connsiteX1793" fmla="*/ 3393893 w 6884782"/>
              <a:gd name="connsiteY1793" fmla="*/ 5495550 h 5973007"/>
              <a:gd name="connsiteX1794" fmla="*/ 3390331 w 6884782"/>
              <a:gd name="connsiteY1794" fmla="*/ 5494724 h 5973007"/>
              <a:gd name="connsiteX1795" fmla="*/ 2456926 w 6884782"/>
              <a:gd name="connsiteY1795" fmla="*/ 5492246 h 5973007"/>
              <a:gd name="connsiteX1796" fmla="*/ 2455532 w 6884782"/>
              <a:gd name="connsiteY1796" fmla="*/ 5497409 h 5973007"/>
              <a:gd name="connsiteX1797" fmla="*/ 2452898 w 6884782"/>
              <a:gd name="connsiteY1797" fmla="*/ 5498957 h 5973007"/>
              <a:gd name="connsiteX1798" fmla="*/ 2450575 w 6884782"/>
              <a:gd name="connsiteY1798" fmla="*/ 5497305 h 5973007"/>
              <a:gd name="connsiteX1799" fmla="*/ 2449956 w 6884782"/>
              <a:gd name="connsiteY1799" fmla="*/ 5493898 h 5973007"/>
              <a:gd name="connsiteX1800" fmla="*/ 2456926 w 6884782"/>
              <a:gd name="connsiteY1800" fmla="*/ 5492246 h 5973007"/>
              <a:gd name="connsiteX1801" fmla="*/ 3058698 w 6884782"/>
              <a:gd name="connsiteY1801" fmla="*/ 5489045 h 5973007"/>
              <a:gd name="connsiteX1802" fmla="*/ 3059472 w 6884782"/>
              <a:gd name="connsiteY1802" fmla="*/ 5491007 h 5973007"/>
              <a:gd name="connsiteX1803" fmla="*/ 3060402 w 6884782"/>
              <a:gd name="connsiteY1803" fmla="*/ 5490490 h 5973007"/>
              <a:gd name="connsiteX1804" fmla="*/ 3065978 w 6884782"/>
              <a:gd name="connsiteY1804" fmla="*/ 5496170 h 5973007"/>
              <a:gd name="connsiteX1805" fmla="*/ 3065049 w 6884782"/>
              <a:gd name="connsiteY1805" fmla="*/ 5499680 h 5973007"/>
              <a:gd name="connsiteX1806" fmla="*/ 3069540 w 6884782"/>
              <a:gd name="connsiteY1806" fmla="*/ 5503191 h 5973007"/>
              <a:gd name="connsiteX1807" fmla="*/ 3073568 w 6884782"/>
              <a:gd name="connsiteY1807" fmla="*/ 5507011 h 5973007"/>
              <a:gd name="connsiteX1808" fmla="*/ 3075891 w 6884782"/>
              <a:gd name="connsiteY1808" fmla="*/ 5514446 h 5973007"/>
              <a:gd name="connsiteX1809" fmla="*/ 3074033 w 6884782"/>
              <a:gd name="connsiteY1809" fmla="*/ 5523429 h 5973007"/>
              <a:gd name="connsiteX1810" fmla="*/ 3073878 w 6884782"/>
              <a:gd name="connsiteY1810" fmla="*/ 5523739 h 5973007"/>
              <a:gd name="connsiteX1811" fmla="*/ 3074962 w 6884782"/>
              <a:gd name="connsiteY1811" fmla="*/ 5524875 h 5973007"/>
              <a:gd name="connsiteX1812" fmla="*/ 3076666 w 6884782"/>
              <a:gd name="connsiteY1812" fmla="*/ 5527869 h 5973007"/>
              <a:gd name="connsiteX1813" fmla="*/ 3078060 w 6884782"/>
              <a:gd name="connsiteY1813" fmla="*/ 5526527 h 5973007"/>
              <a:gd name="connsiteX1814" fmla="*/ 3098506 w 6884782"/>
              <a:gd name="connsiteY1814" fmla="*/ 5527353 h 5973007"/>
              <a:gd name="connsiteX1815" fmla="*/ 3101295 w 6884782"/>
              <a:gd name="connsiteY1815" fmla="*/ 5534581 h 5973007"/>
              <a:gd name="connsiteX1816" fmla="*/ 3099745 w 6884782"/>
              <a:gd name="connsiteY1816" fmla="*/ 5539434 h 5973007"/>
              <a:gd name="connsiteX1817" fmla="*/ 3100055 w 6884782"/>
              <a:gd name="connsiteY1817" fmla="*/ 5540053 h 5973007"/>
              <a:gd name="connsiteX1818" fmla="*/ 3099591 w 6884782"/>
              <a:gd name="connsiteY1818" fmla="*/ 5540156 h 5973007"/>
              <a:gd name="connsiteX1819" fmla="*/ 3099436 w 6884782"/>
              <a:gd name="connsiteY1819" fmla="*/ 5540673 h 5973007"/>
              <a:gd name="connsiteX1820" fmla="*/ 3087044 w 6884782"/>
              <a:gd name="connsiteY1820" fmla="*/ 5546042 h 5973007"/>
              <a:gd name="connsiteX1821" fmla="*/ 3082552 w 6884782"/>
              <a:gd name="connsiteY1821" fmla="*/ 5545113 h 5973007"/>
              <a:gd name="connsiteX1822" fmla="*/ 3078834 w 6884782"/>
              <a:gd name="connsiteY1822" fmla="*/ 5542945 h 5973007"/>
              <a:gd name="connsiteX1823" fmla="*/ 3078370 w 6884782"/>
              <a:gd name="connsiteY1823" fmla="*/ 5543874 h 5973007"/>
              <a:gd name="connsiteX1824" fmla="*/ 3075272 w 6884782"/>
              <a:gd name="connsiteY1824" fmla="*/ 5548623 h 5973007"/>
              <a:gd name="connsiteX1825" fmla="*/ 3068921 w 6884782"/>
              <a:gd name="connsiteY1825" fmla="*/ 5540570 h 5973007"/>
              <a:gd name="connsiteX1826" fmla="*/ 3063500 w 6884782"/>
              <a:gd name="connsiteY1826" fmla="*/ 5532722 h 5973007"/>
              <a:gd name="connsiteX1827" fmla="*/ 3061486 w 6884782"/>
              <a:gd name="connsiteY1827" fmla="*/ 5533858 h 5973007"/>
              <a:gd name="connsiteX1828" fmla="*/ 3053586 w 6884782"/>
              <a:gd name="connsiteY1828" fmla="*/ 5534787 h 5973007"/>
              <a:gd name="connsiteX1829" fmla="*/ 3039955 w 6884782"/>
              <a:gd name="connsiteY1829" fmla="*/ 5524255 h 5973007"/>
              <a:gd name="connsiteX1830" fmla="*/ 3039801 w 6884782"/>
              <a:gd name="connsiteY1830" fmla="*/ 5514962 h 5973007"/>
              <a:gd name="connsiteX1831" fmla="*/ 3058698 w 6884782"/>
              <a:gd name="connsiteY1831" fmla="*/ 5489045 h 5973007"/>
              <a:gd name="connsiteX1832" fmla="*/ 2796923 w 6884782"/>
              <a:gd name="connsiteY1832" fmla="*/ 5483262 h 5973007"/>
              <a:gd name="connsiteX1833" fmla="*/ 2801260 w 6884782"/>
              <a:gd name="connsiteY1833" fmla="*/ 5486050 h 5973007"/>
              <a:gd name="connsiteX1834" fmla="*/ 2801880 w 6884782"/>
              <a:gd name="connsiteY1834" fmla="*/ 5488425 h 5973007"/>
              <a:gd name="connsiteX1835" fmla="*/ 2806682 w 6884782"/>
              <a:gd name="connsiteY1835" fmla="*/ 5490284 h 5973007"/>
              <a:gd name="connsiteX1836" fmla="*/ 2809005 w 6884782"/>
              <a:gd name="connsiteY1836" fmla="*/ 5495447 h 5973007"/>
              <a:gd name="connsiteX1837" fmla="*/ 2806682 w 6884782"/>
              <a:gd name="connsiteY1837" fmla="*/ 5496376 h 5973007"/>
              <a:gd name="connsiteX1838" fmla="*/ 2801725 w 6884782"/>
              <a:gd name="connsiteY1838" fmla="*/ 5494311 h 5973007"/>
              <a:gd name="connsiteX1839" fmla="*/ 2800950 w 6884782"/>
              <a:gd name="connsiteY1839" fmla="*/ 5496376 h 5973007"/>
              <a:gd name="connsiteX1840" fmla="*/ 2797853 w 6884782"/>
              <a:gd name="connsiteY1840" fmla="*/ 5498544 h 5973007"/>
              <a:gd name="connsiteX1841" fmla="*/ 2796613 w 6884782"/>
              <a:gd name="connsiteY1841" fmla="*/ 5498544 h 5973007"/>
              <a:gd name="connsiteX1842" fmla="*/ 2796768 w 6884782"/>
              <a:gd name="connsiteY1842" fmla="*/ 5499577 h 5973007"/>
              <a:gd name="connsiteX1843" fmla="*/ 2794290 w 6884782"/>
              <a:gd name="connsiteY1843" fmla="*/ 5500919 h 5973007"/>
              <a:gd name="connsiteX1844" fmla="*/ 2793206 w 6884782"/>
              <a:gd name="connsiteY1844" fmla="*/ 5502572 h 5973007"/>
              <a:gd name="connsiteX1845" fmla="*/ 2790572 w 6884782"/>
              <a:gd name="connsiteY1845" fmla="*/ 5502881 h 5973007"/>
              <a:gd name="connsiteX1846" fmla="*/ 2789178 w 6884782"/>
              <a:gd name="connsiteY1846" fmla="*/ 5500816 h 5973007"/>
              <a:gd name="connsiteX1847" fmla="*/ 2789023 w 6884782"/>
              <a:gd name="connsiteY1847" fmla="*/ 5500300 h 5973007"/>
              <a:gd name="connsiteX1848" fmla="*/ 2787629 w 6884782"/>
              <a:gd name="connsiteY1848" fmla="*/ 5501022 h 5973007"/>
              <a:gd name="connsiteX1849" fmla="*/ 2786700 w 6884782"/>
              <a:gd name="connsiteY1849" fmla="*/ 5499267 h 5973007"/>
              <a:gd name="connsiteX1850" fmla="*/ 2788404 w 6884782"/>
              <a:gd name="connsiteY1850" fmla="*/ 5497925 h 5973007"/>
              <a:gd name="connsiteX1851" fmla="*/ 2788249 w 6884782"/>
              <a:gd name="connsiteY1851" fmla="*/ 5497099 h 5973007"/>
              <a:gd name="connsiteX1852" fmla="*/ 2788404 w 6884782"/>
              <a:gd name="connsiteY1852" fmla="*/ 5494311 h 5973007"/>
              <a:gd name="connsiteX1853" fmla="*/ 2788094 w 6884782"/>
              <a:gd name="connsiteY1853" fmla="*/ 5494105 h 5973007"/>
              <a:gd name="connsiteX1854" fmla="*/ 2787784 w 6884782"/>
              <a:gd name="connsiteY1854" fmla="*/ 5485431 h 5973007"/>
              <a:gd name="connsiteX1855" fmla="*/ 2796923 w 6884782"/>
              <a:gd name="connsiteY1855" fmla="*/ 5483262 h 5973007"/>
              <a:gd name="connsiteX1856" fmla="*/ 2869724 w 6884782"/>
              <a:gd name="connsiteY1856" fmla="*/ 5482126 h 5973007"/>
              <a:gd name="connsiteX1857" fmla="*/ 2869879 w 6884782"/>
              <a:gd name="connsiteY1857" fmla="*/ 5485638 h 5973007"/>
              <a:gd name="connsiteX1858" fmla="*/ 2863683 w 6884782"/>
              <a:gd name="connsiteY1858" fmla="*/ 5489458 h 5973007"/>
              <a:gd name="connsiteX1859" fmla="*/ 2861670 w 6884782"/>
              <a:gd name="connsiteY1859" fmla="*/ 5488735 h 5973007"/>
              <a:gd name="connsiteX1860" fmla="*/ 2862289 w 6884782"/>
              <a:gd name="connsiteY1860" fmla="*/ 5484502 h 5973007"/>
              <a:gd name="connsiteX1861" fmla="*/ 2869724 w 6884782"/>
              <a:gd name="connsiteY1861" fmla="*/ 5482126 h 5973007"/>
              <a:gd name="connsiteX1862" fmla="*/ 2672929 w 6884782"/>
              <a:gd name="connsiteY1862" fmla="*/ 5481856 h 5973007"/>
              <a:gd name="connsiteX1863" fmla="*/ 2678273 w 6884782"/>
              <a:gd name="connsiteY1863" fmla="*/ 5486773 h 5973007"/>
              <a:gd name="connsiteX1864" fmla="*/ 2675484 w 6884782"/>
              <a:gd name="connsiteY1864" fmla="*/ 5493794 h 5973007"/>
              <a:gd name="connsiteX1865" fmla="*/ 2669908 w 6884782"/>
              <a:gd name="connsiteY1865" fmla="*/ 5495550 h 5973007"/>
              <a:gd name="connsiteX1866" fmla="*/ 2665416 w 6884782"/>
              <a:gd name="connsiteY1866" fmla="*/ 5493072 h 5973007"/>
              <a:gd name="connsiteX1867" fmla="*/ 2664022 w 6884782"/>
              <a:gd name="connsiteY1867" fmla="*/ 5489458 h 5973007"/>
              <a:gd name="connsiteX1868" fmla="*/ 2664177 w 6884782"/>
              <a:gd name="connsiteY1868" fmla="*/ 5489251 h 5973007"/>
              <a:gd name="connsiteX1869" fmla="*/ 2662938 w 6884782"/>
              <a:gd name="connsiteY1869" fmla="*/ 5490181 h 5973007"/>
              <a:gd name="connsiteX1870" fmla="*/ 2661234 w 6884782"/>
              <a:gd name="connsiteY1870" fmla="*/ 5490077 h 5973007"/>
              <a:gd name="connsiteX1871" fmla="*/ 2660150 w 6884782"/>
              <a:gd name="connsiteY1871" fmla="*/ 5488425 h 5973007"/>
              <a:gd name="connsiteX1872" fmla="*/ 2659685 w 6884782"/>
              <a:gd name="connsiteY1872" fmla="*/ 5484811 h 5973007"/>
              <a:gd name="connsiteX1873" fmla="*/ 2661079 w 6884782"/>
              <a:gd name="connsiteY1873" fmla="*/ 5483056 h 5973007"/>
              <a:gd name="connsiteX1874" fmla="*/ 2662783 w 6884782"/>
              <a:gd name="connsiteY1874" fmla="*/ 5483779 h 5973007"/>
              <a:gd name="connsiteX1875" fmla="*/ 2664487 w 6884782"/>
              <a:gd name="connsiteY1875" fmla="*/ 5483676 h 5973007"/>
              <a:gd name="connsiteX1876" fmla="*/ 2664642 w 6884782"/>
              <a:gd name="connsiteY1876" fmla="*/ 5484605 h 5973007"/>
              <a:gd name="connsiteX1877" fmla="*/ 2664487 w 6884782"/>
              <a:gd name="connsiteY1877" fmla="*/ 5484708 h 5973007"/>
              <a:gd name="connsiteX1878" fmla="*/ 2665106 w 6884782"/>
              <a:gd name="connsiteY1878" fmla="*/ 5485121 h 5973007"/>
              <a:gd name="connsiteX1879" fmla="*/ 2665726 w 6884782"/>
              <a:gd name="connsiteY1879" fmla="*/ 5482746 h 5973007"/>
              <a:gd name="connsiteX1880" fmla="*/ 2672929 w 6884782"/>
              <a:gd name="connsiteY1880" fmla="*/ 5481856 h 5973007"/>
              <a:gd name="connsiteX1881" fmla="*/ 3008976 w 6884782"/>
              <a:gd name="connsiteY1881" fmla="*/ 5481339 h 5973007"/>
              <a:gd name="connsiteX1882" fmla="*/ 3013158 w 6884782"/>
              <a:gd name="connsiteY1882" fmla="*/ 5491833 h 5973007"/>
              <a:gd name="connsiteX1883" fmla="*/ 3009286 w 6884782"/>
              <a:gd name="connsiteY1883" fmla="*/ 5499267 h 5973007"/>
              <a:gd name="connsiteX1884" fmla="*/ 3003555 w 6884782"/>
              <a:gd name="connsiteY1884" fmla="*/ 5502158 h 5973007"/>
              <a:gd name="connsiteX1885" fmla="*/ 2995190 w 6884782"/>
              <a:gd name="connsiteY1885" fmla="*/ 5502055 h 5973007"/>
              <a:gd name="connsiteX1886" fmla="*/ 2993486 w 6884782"/>
              <a:gd name="connsiteY1886" fmla="*/ 5494414 h 5973007"/>
              <a:gd name="connsiteX1887" fmla="*/ 2988530 w 6884782"/>
              <a:gd name="connsiteY1887" fmla="*/ 5497925 h 5973007"/>
              <a:gd name="connsiteX1888" fmla="*/ 2983728 w 6884782"/>
              <a:gd name="connsiteY1888" fmla="*/ 5495137 h 5973007"/>
              <a:gd name="connsiteX1889" fmla="*/ 2992557 w 6884782"/>
              <a:gd name="connsiteY1889" fmla="*/ 5486360 h 5973007"/>
              <a:gd name="connsiteX1890" fmla="*/ 2993177 w 6884782"/>
              <a:gd name="connsiteY1890" fmla="*/ 5486360 h 5973007"/>
              <a:gd name="connsiteX1891" fmla="*/ 2993177 w 6884782"/>
              <a:gd name="connsiteY1891" fmla="*/ 5484088 h 5973007"/>
              <a:gd name="connsiteX1892" fmla="*/ 3008976 w 6884782"/>
              <a:gd name="connsiteY1892" fmla="*/ 5481339 h 5973007"/>
              <a:gd name="connsiteX1893" fmla="*/ 2846180 w 6884782"/>
              <a:gd name="connsiteY1893" fmla="*/ 5479132 h 5973007"/>
              <a:gd name="connsiteX1894" fmla="*/ 2845406 w 6884782"/>
              <a:gd name="connsiteY1894" fmla="*/ 5479855 h 5973007"/>
              <a:gd name="connsiteX1895" fmla="*/ 2844631 w 6884782"/>
              <a:gd name="connsiteY1895" fmla="*/ 5479236 h 5973007"/>
              <a:gd name="connsiteX1896" fmla="*/ 2846180 w 6884782"/>
              <a:gd name="connsiteY1896" fmla="*/ 5479132 h 5973007"/>
              <a:gd name="connsiteX1897" fmla="*/ 2878863 w 6884782"/>
              <a:gd name="connsiteY1897" fmla="*/ 5479029 h 5973007"/>
              <a:gd name="connsiteX1898" fmla="*/ 2878863 w 6884782"/>
              <a:gd name="connsiteY1898" fmla="*/ 5481714 h 5973007"/>
              <a:gd name="connsiteX1899" fmla="*/ 2877314 w 6884782"/>
              <a:gd name="connsiteY1899" fmla="*/ 5482540 h 5973007"/>
              <a:gd name="connsiteX1900" fmla="*/ 2876695 w 6884782"/>
              <a:gd name="connsiteY1900" fmla="*/ 5485224 h 5973007"/>
              <a:gd name="connsiteX1901" fmla="*/ 2874991 w 6884782"/>
              <a:gd name="connsiteY1901" fmla="*/ 5485121 h 5973007"/>
              <a:gd name="connsiteX1902" fmla="*/ 2876385 w 6884782"/>
              <a:gd name="connsiteY1902" fmla="*/ 5479855 h 5973007"/>
              <a:gd name="connsiteX1903" fmla="*/ 2878863 w 6884782"/>
              <a:gd name="connsiteY1903" fmla="*/ 5479029 h 5973007"/>
              <a:gd name="connsiteX1904" fmla="*/ 2741780 w 6884782"/>
              <a:gd name="connsiteY1904" fmla="*/ 5478203 h 5973007"/>
              <a:gd name="connsiteX1905" fmla="*/ 2743329 w 6884782"/>
              <a:gd name="connsiteY1905" fmla="*/ 5490800 h 5973007"/>
              <a:gd name="connsiteX1906" fmla="*/ 2738372 w 6884782"/>
              <a:gd name="connsiteY1906" fmla="*/ 5479855 h 5973007"/>
              <a:gd name="connsiteX1907" fmla="*/ 2741780 w 6884782"/>
              <a:gd name="connsiteY1907" fmla="*/ 5478203 h 5973007"/>
              <a:gd name="connsiteX1908" fmla="*/ 3063403 w 6884782"/>
              <a:gd name="connsiteY1908" fmla="*/ 5478074 h 5973007"/>
              <a:gd name="connsiteX1909" fmla="*/ 3069231 w 6884782"/>
              <a:gd name="connsiteY1909" fmla="*/ 5478410 h 5973007"/>
              <a:gd name="connsiteX1910" fmla="*/ 3070315 w 6884782"/>
              <a:gd name="connsiteY1910" fmla="*/ 5483056 h 5973007"/>
              <a:gd name="connsiteX1911" fmla="*/ 3068611 w 6884782"/>
              <a:gd name="connsiteY1911" fmla="*/ 5485327 h 5973007"/>
              <a:gd name="connsiteX1912" fmla="*/ 3069850 w 6884782"/>
              <a:gd name="connsiteY1912" fmla="*/ 5487186 h 5973007"/>
              <a:gd name="connsiteX1913" fmla="*/ 3067527 w 6884782"/>
              <a:gd name="connsiteY1913" fmla="*/ 5489664 h 5973007"/>
              <a:gd name="connsiteX1914" fmla="*/ 3063964 w 6884782"/>
              <a:gd name="connsiteY1914" fmla="*/ 5487703 h 5973007"/>
              <a:gd name="connsiteX1915" fmla="*/ 3061486 w 6884782"/>
              <a:gd name="connsiteY1915" fmla="*/ 5487496 h 5973007"/>
              <a:gd name="connsiteX1916" fmla="*/ 3055755 w 6884782"/>
              <a:gd name="connsiteY1916" fmla="*/ 5487186 h 5973007"/>
              <a:gd name="connsiteX1917" fmla="*/ 3054671 w 6884782"/>
              <a:gd name="connsiteY1917" fmla="*/ 5482849 h 5973007"/>
              <a:gd name="connsiteX1918" fmla="*/ 3063403 w 6884782"/>
              <a:gd name="connsiteY1918" fmla="*/ 5478074 h 5973007"/>
              <a:gd name="connsiteX1919" fmla="*/ 2551722 w 6884782"/>
              <a:gd name="connsiteY1919" fmla="*/ 5475415 h 5973007"/>
              <a:gd name="connsiteX1920" fmla="*/ 2548159 w 6884782"/>
              <a:gd name="connsiteY1920" fmla="*/ 5481714 h 5973007"/>
              <a:gd name="connsiteX1921" fmla="*/ 2545527 w 6884782"/>
              <a:gd name="connsiteY1921" fmla="*/ 5475725 h 5973007"/>
              <a:gd name="connsiteX1922" fmla="*/ 2551722 w 6884782"/>
              <a:gd name="connsiteY1922" fmla="*/ 5475415 h 5973007"/>
              <a:gd name="connsiteX1923" fmla="*/ 2959100 w 6884782"/>
              <a:gd name="connsiteY1923" fmla="*/ 5474486 h 5973007"/>
              <a:gd name="connsiteX1924" fmla="*/ 2961888 w 6884782"/>
              <a:gd name="connsiteY1924" fmla="*/ 5482746 h 5973007"/>
              <a:gd name="connsiteX1925" fmla="*/ 2953214 w 6884782"/>
              <a:gd name="connsiteY1925" fmla="*/ 5490181 h 5973007"/>
              <a:gd name="connsiteX1926" fmla="*/ 2942216 w 6884782"/>
              <a:gd name="connsiteY1926" fmla="*/ 5486360 h 5973007"/>
              <a:gd name="connsiteX1927" fmla="*/ 2959100 w 6884782"/>
              <a:gd name="connsiteY1927" fmla="*/ 5474486 h 5973007"/>
              <a:gd name="connsiteX1928" fmla="*/ 2645667 w 6884782"/>
              <a:gd name="connsiteY1928" fmla="*/ 5473789 h 5973007"/>
              <a:gd name="connsiteX1929" fmla="*/ 2653644 w 6884782"/>
              <a:gd name="connsiteY1929" fmla="*/ 5474899 h 5973007"/>
              <a:gd name="connsiteX1930" fmla="*/ 2654264 w 6884782"/>
              <a:gd name="connsiteY1930" fmla="*/ 5482023 h 5973007"/>
              <a:gd name="connsiteX1931" fmla="*/ 2644350 w 6884782"/>
              <a:gd name="connsiteY1931" fmla="*/ 5483676 h 5973007"/>
              <a:gd name="connsiteX1932" fmla="*/ 2641407 w 6884782"/>
              <a:gd name="connsiteY1932" fmla="*/ 5482746 h 5973007"/>
              <a:gd name="connsiteX1933" fmla="*/ 2645667 w 6884782"/>
              <a:gd name="connsiteY1933" fmla="*/ 5473789 h 5973007"/>
              <a:gd name="connsiteX1934" fmla="*/ 2872822 w 6884782"/>
              <a:gd name="connsiteY1934" fmla="*/ 5472008 h 5973007"/>
              <a:gd name="connsiteX1935" fmla="*/ 2875301 w 6884782"/>
              <a:gd name="connsiteY1935" fmla="*/ 5472111 h 5973007"/>
              <a:gd name="connsiteX1936" fmla="*/ 2874526 w 6884782"/>
              <a:gd name="connsiteY1936" fmla="*/ 5473866 h 5973007"/>
              <a:gd name="connsiteX1937" fmla="*/ 2871273 w 6884782"/>
              <a:gd name="connsiteY1937" fmla="*/ 5477996 h 5973007"/>
              <a:gd name="connsiteX1938" fmla="*/ 2870344 w 6884782"/>
              <a:gd name="connsiteY1938" fmla="*/ 5475415 h 5973007"/>
              <a:gd name="connsiteX1939" fmla="*/ 2872048 w 6884782"/>
              <a:gd name="connsiteY1939" fmla="*/ 5473763 h 5973007"/>
              <a:gd name="connsiteX1940" fmla="*/ 2872822 w 6884782"/>
              <a:gd name="connsiteY1940" fmla="*/ 5472008 h 5973007"/>
              <a:gd name="connsiteX1941" fmla="*/ 2768112 w 6884782"/>
              <a:gd name="connsiteY1941" fmla="*/ 5471904 h 5973007"/>
              <a:gd name="connsiteX1942" fmla="*/ 2769971 w 6884782"/>
              <a:gd name="connsiteY1942" fmla="*/ 5473659 h 5973007"/>
              <a:gd name="connsiteX1943" fmla="*/ 2768112 w 6884782"/>
              <a:gd name="connsiteY1943" fmla="*/ 5475828 h 5973007"/>
              <a:gd name="connsiteX1944" fmla="*/ 2765479 w 6884782"/>
              <a:gd name="connsiteY1944" fmla="*/ 5476551 h 5973007"/>
              <a:gd name="connsiteX1945" fmla="*/ 2764705 w 6884782"/>
              <a:gd name="connsiteY1945" fmla="*/ 5475518 h 5973007"/>
              <a:gd name="connsiteX1946" fmla="*/ 2763930 w 6884782"/>
              <a:gd name="connsiteY1946" fmla="*/ 5473556 h 5973007"/>
              <a:gd name="connsiteX1947" fmla="*/ 2768112 w 6884782"/>
              <a:gd name="connsiteY1947" fmla="*/ 5471904 h 5973007"/>
              <a:gd name="connsiteX1948" fmla="*/ 2834873 w 6884782"/>
              <a:gd name="connsiteY1948" fmla="*/ 5468393 h 5973007"/>
              <a:gd name="connsiteX1949" fmla="*/ 2820932 w 6884782"/>
              <a:gd name="connsiteY1949" fmla="*/ 5475725 h 5973007"/>
              <a:gd name="connsiteX1950" fmla="*/ 2820777 w 6884782"/>
              <a:gd name="connsiteY1950" fmla="*/ 5472214 h 5973007"/>
              <a:gd name="connsiteX1951" fmla="*/ 2822481 w 6884782"/>
              <a:gd name="connsiteY1951" fmla="*/ 5472317 h 5973007"/>
              <a:gd name="connsiteX1952" fmla="*/ 2834873 w 6884782"/>
              <a:gd name="connsiteY1952" fmla="*/ 5468393 h 5973007"/>
              <a:gd name="connsiteX1953" fmla="*/ 3116629 w 6884782"/>
              <a:gd name="connsiteY1953" fmla="*/ 5467877 h 5973007"/>
              <a:gd name="connsiteX1954" fmla="*/ 3122980 w 6884782"/>
              <a:gd name="connsiteY1954" fmla="*/ 5476035 h 5973007"/>
              <a:gd name="connsiteX1955" fmla="*/ 3120501 w 6884782"/>
              <a:gd name="connsiteY1955" fmla="*/ 5476241 h 5973007"/>
              <a:gd name="connsiteX1956" fmla="*/ 3116629 w 6884782"/>
              <a:gd name="connsiteY1956" fmla="*/ 5467877 h 5973007"/>
              <a:gd name="connsiteX1957" fmla="*/ 2742554 w 6884782"/>
              <a:gd name="connsiteY1957" fmla="*/ 5466948 h 5973007"/>
              <a:gd name="connsiteX1958" fmla="*/ 2744878 w 6884782"/>
              <a:gd name="connsiteY1958" fmla="*/ 5475105 h 5973007"/>
              <a:gd name="connsiteX1959" fmla="*/ 2740696 w 6884782"/>
              <a:gd name="connsiteY1959" fmla="*/ 5477067 h 5973007"/>
              <a:gd name="connsiteX1960" fmla="*/ 2735274 w 6884782"/>
              <a:gd name="connsiteY1960" fmla="*/ 5476241 h 5973007"/>
              <a:gd name="connsiteX1961" fmla="*/ 2742554 w 6884782"/>
              <a:gd name="connsiteY1961" fmla="*/ 5466948 h 5973007"/>
              <a:gd name="connsiteX1962" fmla="*/ 2610428 w 6884782"/>
              <a:gd name="connsiteY1962" fmla="*/ 5465606 h 5973007"/>
              <a:gd name="connsiteX1963" fmla="*/ 2620961 w 6884782"/>
              <a:gd name="connsiteY1963" fmla="*/ 5473040 h 5973007"/>
              <a:gd name="connsiteX1964" fmla="*/ 2613061 w 6884782"/>
              <a:gd name="connsiteY1964" fmla="*/ 5497409 h 5973007"/>
              <a:gd name="connsiteX1965" fmla="*/ 2601289 w 6884782"/>
              <a:gd name="connsiteY1965" fmla="*/ 5499990 h 5973007"/>
              <a:gd name="connsiteX1966" fmla="*/ 2597262 w 6884782"/>
              <a:gd name="connsiteY1966" fmla="*/ 5499783 h 5973007"/>
              <a:gd name="connsiteX1967" fmla="*/ 2591840 w 6884782"/>
              <a:gd name="connsiteY1967" fmla="*/ 5497305 h 5973007"/>
              <a:gd name="connsiteX1968" fmla="*/ 2610428 w 6884782"/>
              <a:gd name="connsiteY1968" fmla="*/ 5465606 h 5973007"/>
              <a:gd name="connsiteX1969" fmla="*/ 2841378 w 6884782"/>
              <a:gd name="connsiteY1969" fmla="*/ 5464573 h 5973007"/>
              <a:gd name="connsiteX1970" fmla="*/ 2838125 w 6884782"/>
              <a:gd name="connsiteY1970" fmla="*/ 5467051 h 5973007"/>
              <a:gd name="connsiteX1971" fmla="*/ 2837196 w 6884782"/>
              <a:gd name="connsiteY1971" fmla="*/ 5466122 h 5973007"/>
              <a:gd name="connsiteX1972" fmla="*/ 2841378 w 6884782"/>
              <a:gd name="connsiteY1972" fmla="*/ 5464573 h 5973007"/>
              <a:gd name="connsiteX1973" fmla="*/ 2828251 w 6884782"/>
              <a:gd name="connsiteY1973" fmla="*/ 5463889 h 5973007"/>
              <a:gd name="connsiteX1974" fmla="*/ 2832859 w 6884782"/>
              <a:gd name="connsiteY1974" fmla="*/ 5464160 h 5973007"/>
              <a:gd name="connsiteX1975" fmla="*/ 2832859 w 6884782"/>
              <a:gd name="connsiteY1975" fmla="*/ 5465089 h 5973007"/>
              <a:gd name="connsiteX1976" fmla="*/ 2824340 w 6884782"/>
              <a:gd name="connsiteY1976" fmla="*/ 5466638 h 5973007"/>
              <a:gd name="connsiteX1977" fmla="*/ 2821087 w 6884782"/>
              <a:gd name="connsiteY1977" fmla="*/ 5466225 h 5973007"/>
              <a:gd name="connsiteX1978" fmla="*/ 2822016 w 6884782"/>
              <a:gd name="connsiteY1978" fmla="*/ 5466225 h 5973007"/>
              <a:gd name="connsiteX1979" fmla="*/ 2821087 w 6884782"/>
              <a:gd name="connsiteY1979" fmla="*/ 5465399 h 5973007"/>
              <a:gd name="connsiteX1980" fmla="*/ 2828251 w 6884782"/>
              <a:gd name="connsiteY1980" fmla="*/ 5463889 h 5973007"/>
              <a:gd name="connsiteX1981" fmla="*/ 3037632 w 6884782"/>
              <a:gd name="connsiteY1981" fmla="*/ 5463437 h 5973007"/>
              <a:gd name="connsiteX1982" fmla="*/ 3042898 w 6884782"/>
              <a:gd name="connsiteY1982" fmla="*/ 5466225 h 5973007"/>
              <a:gd name="connsiteX1983" fmla="*/ 3039646 w 6884782"/>
              <a:gd name="connsiteY1983" fmla="*/ 5470458 h 5973007"/>
              <a:gd name="connsiteX1984" fmla="*/ 3037632 w 6884782"/>
              <a:gd name="connsiteY1984" fmla="*/ 5463437 h 5973007"/>
              <a:gd name="connsiteX1985" fmla="*/ 2673626 w 6884782"/>
              <a:gd name="connsiteY1985" fmla="*/ 5461062 h 5973007"/>
              <a:gd name="connsiteX1986" fmla="*/ 2699028 w 6884782"/>
              <a:gd name="connsiteY1986" fmla="*/ 5466225 h 5973007"/>
              <a:gd name="connsiteX1987" fmla="*/ 2693452 w 6884782"/>
              <a:gd name="connsiteY1987" fmla="*/ 5469839 h 5973007"/>
              <a:gd name="connsiteX1988" fmla="*/ 2673626 w 6884782"/>
              <a:gd name="connsiteY1988" fmla="*/ 5461062 h 5973007"/>
              <a:gd name="connsiteX1989" fmla="*/ 2524771 w 6884782"/>
              <a:gd name="connsiteY1989" fmla="*/ 5460236 h 5973007"/>
              <a:gd name="connsiteX1990" fmla="*/ 2530347 w 6884782"/>
              <a:gd name="connsiteY1990" fmla="*/ 5462095 h 5973007"/>
              <a:gd name="connsiteX1991" fmla="*/ 2530966 w 6884782"/>
              <a:gd name="connsiteY1991" fmla="*/ 5464676 h 5973007"/>
              <a:gd name="connsiteX1992" fmla="*/ 2529572 w 6884782"/>
              <a:gd name="connsiteY1992" fmla="*/ 5469943 h 5973007"/>
              <a:gd name="connsiteX1993" fmla="*/ 2530502 w 6884782"/>
              <a:gd name="connsiteY1993" fmla="*/ 5469943 h 5973007"/>
              <a:gd name="connsiteX1994" fmla="*/ 2525390 w 6884782"/>
              <a:gd name="connsiteY1994" fmla="*/ 5470769 h 5973007"/>
              <a:gd name="connsiteX1995" fmla="*/ 2522292 w 6884782"/>
              <a:gd name="connsiteY1995" fmla="*/ 5467361 h 5973007"/>
              <a:gd name="connsiteX1996" fmla="*/ 2524771 w 6884782"/>
              <a:gd name="connsiteY1996" fmla="*/ 5460236 h 5973007"/>
              <a:gd name="connsiteX1997" fmla="*/ 2934471 w 6884782"/>
              <a:gd name="connsiteY1997" fmla="*/ 5456313 h 5973007"/>
              <a:gd name="connsiteX1998" fmla="*/ 2945469 w 6884782"/>
              <a:gd name="connsiteY1998" fmla="*/ 5457242 h 5973007"/>
              <a:gd name="connsiteX1999" fmla="*/ 2940512 w 6884782"/>
              <a:gd name="connsiteY1999" fmla="*/ 5461992 h 5973007"/>
              <a:gd name="connsiteX2000" fmla="*/ 2934471 w 6884782"/>
              <a:gd name="connsiteY2000" fmla="*/ 5456313 h 5973007"/>
              <a:gd name="connsiteX2001" fmla="*/ 3156283 w 6884782"/>
              <a:gd name="connsiteY2001" fmla="*/ 5453421 h 5973007"/>
              <a:gd name="connsiteX2002" fmla="*/ 3156283 w 6884782"/>
              <a:gd name="connsiteY2002" fmla="*/ 5454557 h 5973007"/>
              <a:gd name="connsiteX2003" fmla="*/ 3157057 w 6884782"/>
              <a:gd name="connsiteY2003" fmla="*/ 5457139 h 5973007"/>
              <a:gd name="connsiteX2004" fmla="*/ 3160774 w 6884782"/>
              <a:gd name="connsiteY2004" fmla="*/ 5455074 h 5973007"/>
              <a:gd name="connsiteX2005" fmla="*/ 3159845 w 6884782"/>
              <a:gd name="connsiteY2005" fmla="*/ 5454970 h 5973007"/>
              <a:gd name="connsiteX2006" fmla="*/ 3166196 w 6884782"/>
              <a:gd name="connsiteY2006" fmla="*/ 5453215 h 5973007"/>
              <a:gd name="connsiteX2007" fmla="*/ 3165112 w 6884782"/>
              <a:gd name="connsiteY2007" fmla="*/ 5453525 h 5973007"/>
              <a:gd name="connsiteX2008" fmla="*/ 3165266 w 6884782"/>
              <a:gd name="connsiteY2008" fmla="*/ 5455074 h 5973007"/>
              <a:gd name="connsiteX2009" fmla="*/ 3162323 w 6884782"/>
              <a:gd name="connsiteY2009" fmla="*/ 5455074 h 5973007"/>
              <a:gd name="connsiteX2010" fmla="*/ 3162943 w 6884782"/>
              <a:gd name="connsiteY2010" fmla="*/ 5455280 h 5973007"/>
              <a:gd name="connsiteX2011" fmla="*/ 3164957 w 6884782"/>
              <a:gd name="connsiteY2011" fmla="*/ 5457345 h 5973007"/>
              <a:gd name="connsiteX2012" fmla="*/ 3166970 w 6884782"/>
              <a:gd name="connsiteY2012" fmla="*/ 5456106 h 5973007"/>
              <a:gd name="connsiteX2013" fmla="*/ 3117094 w 6884782"/>
              <a:gd name="connsiteY2013" fmla="*/ 5452905 h 5973007"/>
              <a:gd name="connsiteX2014" fmla="*/ 3119107 w 6884782"/>
              <a:gd name="connsiteY2014" fmla="*/ 5454660 h 5973007"/>
              <a:gd name="connsiteX2015" fmla="*/ 3117094 w 6884782"/>
              <a:gd name="connsiteY2015" fmla="*/ 5456003 h 5973007"/>
              <a:gd name="connsiteX2016" fmla="*/ 3115390 w 6884782"/>
              <a:gd name="connsiteY2016" fmla="*/ 5455074 h 5973007"/>
              <a:gd name="connsiteX2017" fmla="*/ 3112912 w 6884782"/>
              <a:gd name="connsiteY2017" fmla="*/ 5455693 h 5973007"/>
              <a:gd name="connsiteX2018" fmla="*/ 3111827 w 6884782"/>
              <a:gd name="connsiteY2018" fmla="*/ 5454247 h 5973007"/>
              <a:gd name="connsiteX2019" fmla="*/ 3117094 w 6884782"/>
              <a:gd name="connsiteY2019" fmla="*/ 5452905 h 5973007"/>
              <a:gd name="connsiteX2020" fmla="*/ 2474584 w 6884782"/>
              <a:gd name="connsiteY2020" fmla="*/ 5450737 h 5973007"/>
              <a:gd name="connsiteX2021" fmla="*/ 2476288 w 6884782"/>
              <a:gd name="connsiteY2021" fmla="*/ 5454660 h 5973007"/>
              <a:gd name="connsiteX2022" fmla="*/ 2463896 w 6884782"/>
              <a:gd name="connsiteY2022" fmla="*/ 5465606 h 5973007"/>
              <a:gd name="connsiteX2023" fmla="*/ 2458165 w 6884782"/>
              <a:gd name="connsiteY2023" fmla="*/ 5464470 h 5973007"/>
              <a:gd name="connsiteX2024" fmla="*/ 2474584 w 6884782"/>
              <a:gd name="connsiteY2024" fmla="*/ 5450737 h 5973007"/>
              <a:gd name="connsiteX2025" fmla="*/ 3142497 w 6884782"/>
              <a:gd name="connsiteY2025" fmla="*/ 5449911 h 5973007"/>
              <a:gd name="connsiteX2026" fmla="*/ 3141567 w 6884782"/>
              <a:gd name="connsiteY2026" fmla="*/ 5450634 h 5973007"/>
              <a:gd name="connsiteX2027" fmla="*/ 3141877 w 6884782"/>
              <a:gd name="connsiteY2027" fmla="*/ 5451150 h 5973007"/>
              <a:gd name="connsiteX2028" fmla="*/ 3142342 w 6884782"/>
              <a:gd name="connsiteY2028" fmla="*/ 5453318 h 5973007"/>
              <a:gd name="connsiteX2029" fmla="*/ 3148383 w 6884782"/>
              <a:gd name="connsiteY2029" fmla="*/ 5453835 h 5973007"/>
              <a:gd name="connsiteX2030" fmla="*/ 3153495 w 6884782"/>
              <a:gd name="connsiteY2030" fmla="*/ 5452802 h 5973007"/>
              <a:gd name="connsiteX2031" fmla="*/ 3153649 w 6884782"/>
              <a:gd name="connsiteY2031" fmla="*/ 5452286 h 5973007"/>
              <a:gd name="connsiteX2032" fmla="*/ 3147144 w 6884782"/>
              <a:gd name="connsiteY2032" fmla="*/ 5450220 h 5973007"/>
              <a:gd name="connsiteX2033" fmla="*/ 2806991 w 6884782"/>
              <a:gd name="connsiteY2033" fmla="*/ 5449085 h 5973007"/>
              <a:gd name="connsiteX2034" fmla="*/ 2819073 w 6884782"/>
              <a:gd name="connsiteY2034" fmla="*/ 5491833 h 5973007"/>
              <a:gd name="connsiteX2035" fmla="*/ 2797853 w 6884782"/>
              <a:gd name="connsiteY2035" fmla="*/ 5450737 h 5973007"/>
              <a:gd name="connsiteX2036" fmla="*/ 2806991 w 6884782"/>
              <a:gd name="connsiteY2036" fmla="*/ 5449085 h 5973007"/>
              <a:gd name="connsiteX2037" fmla="*/ 2673471 w 6884782"/>
              <a:gd name="connsiteY2037" fmla="*/ 5448155 h 5973007"/>
              <a:gd name="connsiteX2038" fmla="*/ 2678118 w 6884782"/>
              <a:gd name="connsiteY2038" fmla="*/ 5453421 h 5973007"/>
              <a:gd name="connsiteX2039" fmla="*/ 2673781 w 6884782"/>
              <a:gd name="connsiteY2039" fmla="*/ 5455280 h 5973007"/>
              <a:gd name="connsiteX2040" fmla="*/ 2672077 w 6884782"/>
              <a:gd name="connsiteY2040" fmla="*/ 5454557 h 5973007"/>
              <a:gd name="connsiteX2041" fmla="*/ 2673471 w 6884782"/>
              <a:gd name="connsiteY2041" fmla="*/ 5448155 h 5973007"/>
              <a:gd name="connsiteX2042" fmla="*/ 2839829 w 6884782"/>
              <a:gd name="connsiteY2042" fmla="*/ 5446090 h 5973007"/>
              <a:gd name="connsiteX2043" fmla="*/ 2834098 w 6884782"/>
              <a:gd name="connsiteY2043" fmla="*/ 5453318 h 5973007"/>
              <a:gd name="connsiteX2044" fmla="*/ 2839829 w 6884782"/>
              <a:gd name="connsiteY2044" fmla="*/ 5446090 h 5973007"/>
              <a:gd name="connsiteX2045" fmla="*/ 3116784 w 6884782"/>
              <a:gd name="connsiteY2045" fmla="*/ 5445471 h 5973007"/>
              <a:gd name="connsiteX2046" fmla="*/ 3119107 w 6884782"/>
              <a:gd name="connsiteY2046" fmla="*/ 5446193 h 5973007"/>
              <a:gd name="connsiteX2047" fmla="*/ 3120966 w 6884782"/>
              <a:gd name="connsiteY2047" fmla="*/ 5446090 h 5973007"/>
              <a:gd name="connsiteX2048" fmla="*/ 3122515 w 6884782"/>
              <a:gd name="connsiteY2048" fmla="*/ 5448362 h 5973007"/>
              <a:gd name="connsiteX2049" fmla="*/ 3120656 w 6884782"/>
              <a:gd name="connsiteY2049" fmla="*/ 5448568 h 5973007"/>
              <a:gd name="connsiteX2050" fmla="*/ 3115235 w 6884782"/>
              <a:gd name="connsiteY2050" fmla="*/ 5447639 h 5973007"/>
              <a:gd name="connsiteX2051" fmla="*/ 3116784 w 6884782"/>
              <a:gd name="connsiteY2051" fmla="*/ 5445471 h 5973007"/>
              <a:gd name="connsiteX2052" fmla="*/ 2413090 w 6884782"/>
              <a:gd name="connsiteY2052" fmla="*/ 5444645 h 5973007"/>
              <a:gd name="connsiteX2053" fmla="*/ 2414794 w 6884782"/>
              <a:gd name="connsiteY2053" fmla="*/ 5451666 h 5973007"/>
              <a:gd name="connsiteX2054" fmla="*/ 2413090 w 6884782"/>
              <a:gd name="connsiteY2054" fmla="*/ 5452492 h 5973007"/>
              <a:gd name="connsiteX2055" fmla="*/ 2410922 w 6884782"/>
              <a:gd name="connsiteY2055" fmla="*/ 5453009 h 5973007"/>
              <a:gd name="connsiteX2056" fmla="*/ 2406584 w 6884782"/>
              <a:gd name="connsiteY2056" fmla="*/ 5451563 h 5973007"/>
              <a:gd name="connsiteX2057" fmla="*/ 2405345 w 6884782"/>
              <a:gd name="connsiteY2057" fmla="*/ 5449394 h 5973007"/>
              <a:gd name="connsiteX2058" fmla="*/ 2405345 w 6884782"/>
              <a:gd name="connsiteY2058" fmla="*/ 5448052 h 5973007"/>
              <a:gd name="connsiteX2059" fmla="*/ 2405500 w 6884782"/>
              <a:gd name="connsiteY2059" fmla="*/ 5446297 h 5973007"/>
              <a:gd name="connsiteX2060" fmla="*/ 2413090 w 6884782"/>
              <a:gd name="connsiteY2060" fmla="*/ 5444645 h 5973007"/>
              <a:gd name="connsiteX2061" fmla="*/ 2697015 w 6884782"/>
              <a:gd name="connsiteY2061" fmla="*/ 5443509 h 5973007"/>
              <a:gd name="connsiteX2062" fmla="*/ 2700423 w 6884782"/>
              <a:gd name="connsiteY2062" fmla="*/ 5450220 h 5973007"/>
              <a:gd name="connsiteX2063" fmla="*/ 2691594 w 6884782"/>
              <a:gd name="connsiteY2063" fmla="*/ 5454247 h 5973007"/>
              <a:gd name="connsiteX2064" fmla="*/ 2688186 w 6884782"/>
              <a:gd name="connsiteY2064" fmla="*/ 5454041 h 5973007"/>
              <a:gd name="connsiteX2065" fmla="*/ 2697015 w 6884782"/>
              <a:gd name="connsiteY2065" fmla="*/ 5443509 h 5973007"/>
              <a:gd name="connsiteX2066" fmla="*/ 3104547 w 6884782"/>
              <a:gd name="connsiteY2066" fmla="*/ 5442889 h 5973007"/>
              <a:gd name="connsiteX2067" fmla="*/ 3111053 w 6884782"/>
              <a:gd name="connsiteY2067" fmla="*/ 5448258 h 5973007"/>
              <a:gd name="connsiteX2068" fmla="*/ 3108265 w 6884782"/>
              <a:gd name="connsiteY2068" fmla="*/ 5450117 h 5973007"/>
              <a:gd name="connsiteX2069" fmla="*/ 3101295 w 6884782"/>
              <a:gd name="connsiteY2069" fmla="*/ 5446504 h 5973007"/>
              <a:gd name="connsiteX2070" fmla="*/ 3100675 w 6884782"/>
              <a:gd name="connsiteY2070" fmla="*/ 5444438 h 5973007"/>
              <a:gd name="connsiteX2071" fmla="*/ 3104547 w 6884782"/>
              <a:gd name="connsiteY2071" fmla="*/ 5442889 h 5973007"/>
              <a:gd name="connsiteX2072" fmla="*/ 2416808 w 6884782"/>
              <a:gd name="connsiteY2072" fmla="*/ 5441341 h 5973007"/>
              <a:gd name="connsiteX2073" fmla="*/ 2417272 w 6884782"/>
              <a:gd name="connsiteY2073" fmla="*/ 5444748 h 5973007"/>
              <a:gd name="connsiteX2074" fmla="*/ 2415878 w 6884782"/>
              <a:gd name="connsiteY2074" fmla="*/ 5445264 h 5973007"/>
              <a:gd name="connsiteX2075" fmla="*/ 2414020 w 6884782"/>
              <a:gd name="connsiteY2075" fmla="*/ 5443922 h 5973007"/>
              <a:gd name="connsiteX2076" fmla="*/ 2865426 w 6884782"/>
              <a:gd name="connsiteY2076" fmla="*/ 5440101 h 5973007"/>
              <a:gd name="connsiteX2077" fmla="*/ 2873752 w 6884782"/>
              <a:gd name="connsiteY2077" fmla="*/ 5444025 h 5973007"/>
              <a:gd name="connsiteX2078" fmla="*/ 2865077 w 6884782"/>
              <a:gd name="connsiteY2078" fmla="*/ 5461476 h 5973007"/>
              <a:gd name="connsiteX2079" fmla="*/ 2860586 w 6884782"/>
              <a:gd name="connsiteY2079" fmla="*/ 5460030 h 5973007"/>
              <a:gd name="connsiteX2080" fmla="*/ 2860431 w 6884782"/>
              <a:gd name="connsiteY2080" fmla="*/ 5459926 h 5973007"/>
              <a:gd name="connsiteX2081" fmla="*/ 2860121 w 6884782"/>
              <a:gd name="connsiteY2081" fmla="*/ 5460236 h 5973007"/>
              <a:gd name="connsiteX2082" fmla="*/ 2858107 w 6884782"/>
              <a:gd name="connsiteY2082" fmla="*/ 5459926 h 5973007"/>
              <a:gd name="connsiteX2083" fmla="*/ 2857643 w 6884782"/>
              <a:gd name="connsiteY2083" fmla="*/ 5458687 h 5973007"/>
              <a:gd name="connsiteX2084" fmla="*/ 2857797 w 6884782"/>
              <a:gd name="connsiteY2084" fmla="*/ 5457655 h 5973007"/>
              <a:gd name="connsiteX2085" fmla="*/ 2856713 w 6884782"/>
              <a:gd name="connsiteY2085" fmla="*/ 5456725 h 5973007"/>
              <a:gd name="connsiteX2086" fmla="*/ 2853925 w 6884782"/>
              <a:gd name="connsiteY2086" fmla="*/ 5447329 h 5973007"/>
              <a:gd name="connsiteX2087" fmla="*/ 2857797 w 6884782"/>
              <a:gd name="connsiteY2087" fmla="*/ 5441134 h 5973007"/>
              <a:gd name="connsiteX2088" fmla="*/ 2865426 w 6884782"/>
              <a:gd name="connsiteY2088" fmla="*/ 5440101 h 5973007"/>
              <a:gd name="connsiteX2089" fmla="*/ 2659375 w 6884782"/>
              <a:gd name="connsiteY2089" fmla="*/ 5438759 h 5973007"/>
              <a:gd name="connsiteX2090" fmla="*/ 2664951 w 6884782"/>
              <a:gd name="connsiteY2090" fmla="*/ 5440618 h 5973007"/>
              <a:gd name="connsiteX2091" fmla="*/ 2658756 w 6884782"/>
              <a:gd name="connsiteY2091" fmla="*/ 5445058 h 5973007"/>
              <a:gd name="connsiteX2092" fmla="*/ 2659375 w 6884782"/>
              <a:gd name="connsiteY2092" fmla="*/ 5438759 h 5973007"/>
              <a:gd name="connsiteX2093" fmla="*/ 2426256 w 6884782"/>
              <a:gd name="connsiteY2093" fmla="*/ 5437933 h 5973007"/>
              <a:gd name="connsiteX2094" fmla="*/ 2427805 w 6884782"/>
              <a:gd name="connsiteY2094" fmla="*/ 5439688 h 5973007"/>
              <a:gd name="connsiteX2095" fmla="*/ 2427186 w 6884782"/>
              <a:gd name="connsiteY2095" fmla="*/ 5444748 h 5973007"/>
              <a:gd name="connsiteX2096" fmla="*/ 2425482 w 6884782"/>
              <a:gd name="connsiteY2096" fmla="*/ 5445574 h 5973007"/>
              <a:gd name="connsiteX2097" fmla="*/ 2423158 w 6884782"/>
              <a:gd name="connsiteY2097" fmla="*/ 5442476 h 5973007"/>
              <a:gd name="connsiteX2098" fmla="*/ 2424552 w 6884782"/>
              <a:gd name="connsiteY2098" fmla="*/ 5438759 h 5973007"/>
              <a:gd name="connsiteX2099" fmla="*/ 2426256 w 6884782"/>
              <a:gd name="connsiteY2099" fmla="*/ 5437933 h 5973007"/>
              <a:gd name="connsiteX2100" fmla="*/ 2763156 w 6884782"/>
              <a:gd name="connsiteY2100" fmla="*/ 5433183 h 5973007"/>
              <a:gd name="connsiteX2101" fmla="*/ 2762536 w 6884782"/>
              <a:gd name="connsiteY2101" fmla="*/ 5433390 h 5973007"/>
              <a:gd name="connsiteX2102" fmla="*/ 2763156 w 6884782"/>
              <a:gd name="connsiteY2102" fmla="*/ 5433390 h 5973007"/>
              <a:gd name="connsiteX2103" fmla="*/ 3091691 w 6884782"/>
              <a:gd name="connsiteY2103" fmla="*/ 5432564 h 5973007"/>
              <a:gd name="connsiteX2104" fmla="*/ 3087199 w 6884782"/>
              <a:gd name="connsiteY2104" fmla="*/ 5437417 h 5973007"/>
              <a:gd name="connsiteX2105" fmla="*/ 3085650 w 6884782"/>
              <a:gd name="connsiteY2105" fmla="*/ 5437210 h 5973007"/>
              <a:gd name="connsiteX2106" fmla="*/ 3091691 w 6884782"/>
              <a:gd name="connsiteY2106" fmla="*/ 5432564 h 5973007"/>
              <a:gd name="connsiteX2107" fmla="*/ 2618173 w 6884782"/>
              <a:gd name="connsiteY2107" fmla="*/ 5431841 h 5973007"/>
              <a:gd name="connsiteX2108" fmla="*/ 2622665 w 6884782"/>
              <a:gd name="connsiteY2108" fmla="*/ 5434113 h 5973007"/>
              <a:gd name="connsiteX2109" fmla="*/ 2615539 w 6884782"/>
              <a:gd name="connsiteY2109" fmla="*/ 5439379 h 5973007"/>
              <a:gd name="connsiteX2110" fmla="*/ 2618173 w 6884782"/>
              <a:gd name="connsiteY2110" fmla="*/ 5431841 h 5973007"/>
              <a:gd name="connsiteX2111" fmla="*/ 2551471 w 6884782"/>
              <a:gd name="connsiteY2111" fmla="*/ 5431441 h 5973007"/>
              <a:gd name="connsiteX2112" fmla="*/ 2559932 w 6884782"/>
              <a:gd name="connsiteY2112" fmla="*/ 5436694 h 5973007"/>
              <a:gd name="connsiteX2113" fmla="*/ 2552806 w 6884782"/>
              <a:gd name="connsiteY2113" fmla="*/ 5442373 h 5973007"/>
              <a:gd name="connsiteX2114" fmla="*/ 2547540 w 6884782"/>
              <a:gd name="connsiteY2114" fmla="*/ 5445574 h 5973007"/>
              <a:gd name="connsiteX2115" fmla="*/ 2549399 w 6884782"/>
              <a:gd name="connsiteY2115" fmla="*/ 5447019 h 5973007"/>
              <a:gd name="connsiteX2116" fmla="*/ 2550483 w 6884782"/>
              <a:gd name="connsiteY2116" fmla="*/ 5461785 h 5973007"/>
              <a:gd name="connsiteX2117" fmla="*/ 2541189 w 6884782"/>
              <a:gd name="connsiteY2117" fmla="*/ 5465503 h 5973007"/>
              <a:gd name="connsiteX2118" fmla="*/ 2536078 w 6884782"/>
              <a:gd name="connsiteY2118" fmla="*/ 5463231 h 5973007"/>
              <a:gd name="connsiteX2119" fmla="*/ 2533445 w 6884782"/>
              <a:gd name="connsiteY2119" fmla="*/ 5460236 h 5973007"/>
              <a:gd name="connsiteX2120" fmla="*/ 2535923 w 6884782"/>
              <a:gd name="connsiteY2120" fmla="*/ 5447639 h 5973007"/>
              <a:gd name="connsiteX2121" fmla="*/ 2537782 w 6884782"/>
              <a:gd name="connsiteY2121" fmla="*/ 5445884 h 5973007"/>
              <a:gd name="connsiteX2122" fmla="*/ 2539795 w 6884782"/>
              <a:gd name="connsiteY2122" fmla="*/ 5442476 h 5973007"/>
              <a:gd name="connsiteX2123" fmla="*/ 2546456 w 6884782"/>
              <a:gd name="connsiteY2123" fmla="*/ 5444748 h 5973007"/>
              <a:gd name="connsiteX2124" fmla="*/ 2547075 w 6884782"/>
              <a:gd name="connsiteY2124" fmla="*/ 5445161 h 5973007"/>
              <a:gd name="connsiteX2125" fmla="*/ 2544752 w 6884782"/>
              <a:gd name="connsiteY2125" fmla="*/ 5439275 h 5973007"/>
              <a:gd name="connsiteX2126" fmla="*/ 2551471 w 6884782"/>
              <a:gd name="connsiteY2126" fmla="*/ 5431441 h 5973007"/>
              <a:gd name="connsiteX2127" fmla="*/ 2945043 w 6884782"/>
              <a:gd name="connsiteY2127" fmla="*/ 5431286 h 5973007"/>
              <a:gd name="connsiteX2128" fmla="*/ 2947172 w 6884782"/>
              <a:gd name="connsiteY2128" fmla="*/ 5435455 h 5973007"/>
              <a:gd name="connsiteX2129" fmla="*/ 2943455 w 6884782"/>
              <a:gd name="connsiteY2129" fmla="*/ 5437313 h 5973007"/>
              <a:gd name="connsiteX2130" fmla="*/ 2940822 w 6884782"/>
              <a:gd name="connsiteY2130" fmla="*/ 5434525 h 5973007"/>
              <a:gd name="connsiteX2131" fmla="*/ 2940357 w 6884782"/>
              <a:gd name="connsiteY2131" fmla="*/ 5432151 h 5973007"/>
              <a:gd name="connsiteX2132" fmla="*/ 2945043 w 6884782"/>
              <a:gd name="connsiteY2132" fmla="*/ 5431286 h 5973007"/>
              <a:gd name="connsiteX2133" fmla="*/ 3367911 w 6884782"/>
              <a:gd name="connsiteY2133" fmla="*/ 5431053 h 5973007"/>
              <a:gd name="connsiteX2134" fmla="*/ 3359352 w 6884782"/>
              <a:gd name="connsiteY2134" fmla="*/ 5432151 h 5973007"/>
              <a:gd name="connsiteX2135" fmla="*/ 3348819 w 6884782"/>
              <a:gd name="connsiteY2135" fmla="*/ 5432874 h 5973007"/>
              <a:gd name="connsiteX2136" fmla="*/ 3348819 w 6884782"/>
              <a:gd name="connsiteY2136" fmla="*/ 5433286 h 5973007"/>
              <a:gd name="connsiteX2137" fmla="*/ 3347115 w 6884782"/>
              <a:gd name="connsiteY2137" fmla="*/ 5438449 h 5973007"/>
              <a:gd name="connsiteX2138" fmla="*/ 3346031 w 6884782"/>
              <a:gd name="connsiteY2138" fmla="*/ 5436178 h 5973007"/>
              <a:gd name="connsiteX2139" fmla="*/ 3346340 w 6884782"/>
              <a:gd name="connsiteY2139" fmla="*/ 5433080 h 5973007"/>
              <a:gd name="connsiteX2140" fmla="*/ 3340764 w 6884782"/>
              <a:gd name="connsiteY2140" fmla="*/ 5433080 h 5973007"/>
              <a:gd name="connsiteX2141" fmla="*/ 3347734 w 6884782"/>
              <a:gd name="connsiteY2141" fmla="*/ 5441444 h 5973007"/>
              <a:gd name="connsiteX2142" fmla="*/ 3315671 w 6884782"/>
              <a:gd name="connsiteY2142" fmla="*/ 5438552 h 5973007"/>
              <a:gd name="connsiteX2143" fmla="*/ 3314742 w 6884782"/>
              <a:gd name="connsiteY2143" fmla="*/ 5456622 h 5973007"/>
              <a:gd name="connsiteX2144" fmla="*/ 3319853 w 6884782"/>
              <a:gd name="connsiteY2144" fmla="*/ 5457861 h 5973007"/>
              <a:gd name="connsiteX2145" fmla="*/ 3321712 w 6884782"/>
              <a:gd name="connsiteY2145" fmla="*/ 5459720 h 5973007"/>
              <a:gd name="connsiteX2146" fmla="*/ 3325894 w 6884782"/>
              <a:gd name="connsiteY2146" fmla="*/ 5457965 h 5973007"/>
              <a:gd name="connsiteX2147" fmla="*/ 3324190 w 6884782"/>
              <a:gd name="connsiteY2147" fmla="*/ 5460546 h 5973007"/>
              <a:gd name="connsiteX2148" fmla="*/ 3333329 w 6884782"/>
              <a:gd name="connsiteY2148" fmla="*/ 5457345 h 5973007"/>
              <a:gd name="connsiteX2149" fmla="*/ 3340144 w 6884782"/>
              <a:gd name="connsiteY2149" fmla="*/ 5460030 h 5973007"/>
              <a:gd name="connsiteX2150" fmla="*/ 3343088 w 6884782"/>
              <a:gd name="connsiteY2150" fmla="*/ 5461062 h 5973007"/>
              <a:gd name="connsiteX2151" fmla="*/ 3347115 w 6884782"/>
              <a:gd name="connsiteY2151" fmla="*/ 5459410 h 5973007"/>
              <a:gd name="connsiteX2152" fmla="*/ 3347115 w 6884782"/>
              <a:gd name="connsiteY2152" fmla="*/ 5458687 h 5973007"/>
              <a:gd name="connsiteX2153" fmla="*/ 3349283 w 6884782"/>
              <a:gd name="connsiteY2153" fmla="*/ 5456313 h 5973007"/>
              <a:gd name="connsiteX2154" fmla="*/ 3348199 w 6884782"/>
              <a:gd name="connsiteY2154" fmla="*/ 5455486 h 5973007"/>
              <a:gd name="connsiteX2155" fmla="*/ 3348354 w 6884782"/>
              <a:gd name="connsiteY2155" fmla="*/ 5447846 h 5973007"/>
              <a:gd name="connsiteX2156" fmla="*/ 3351917 w 6884782"/>
              <a:gd name="connsiteY2156" fmla="*/ 5455486 h 5973007"/>
              <a:gd name="connsiteX2157" fmla="*/ 3350522 w 6884782"/>
              <a:gd name="connsiteY2157" fmla="*/ 5456725 h 5973007"/>
              <a:gd name="connsiteX2158" fmla="*/ 3351452 w 6884782"/>
              <a:gd name="connsiteY2158" fmla="*/ 5457758 h 5973007"/>
              <a:gd name="connsiteX2159" fmla="*/ 3355479 w 6884782"/>
              <a:gd name="connsiteY2159" fmla="*/ 5456106 h 5973007"/>
              <a:gd name="connsiteX2160" fmla="*/ 3356099 w 6884782"/>
              <a:gd name="connsiteY2160" fmla="*/ 5456313 h 5973007"/>
              <a:gd name="connsiteX2161" fmla="*/ 3359197 w 6884782"/>
              <a:gd name="connsiteY2161" fmla="*/ 5453938 h 5973007"/>
              <a:gd name="connsiteX2162" fmla="*/ 3370349 w 6884782"/>
              <a:gd name="connsiteY2162" fmla="*/ 5455177 h 5973007"/>
              <a:gd name="connsiteX2163" fmla="*/ 3375306 w 6884782"/>
              <a:gd name="connsiteY2163" fmla="*/ 5455280 h 5973007"/>
              <a:gd name="connsiteX2164" fmla="*/ 3376700 w 6884782"/>
              <a:gd name="connsiteY2164" fmla="*/ 5455590 h 5973007"/>
              <a:gd name="connsiteX2165" fmla="*/ 3378404 w 6884782"/>
              <a:gd name="connsiteY2165" fmla="*/ 5454660 h 5973007"/>
              <a:gd name="connsiteX2166" fmla="*/ 3381192 w 6884782"/>
              <a:gd name="connsiteY2166" fmla="*/ 5453215 h 5973007"/>
              <a:gd name="connsiteX2167" fmla="*/ 3391880 w 6884782"/>
              <a:gd name="connsiteY2167" fmla="*/ 5455796 h 5973007"/>
              <a:gd name="connsiteX2168" fmla="*/ 3403291 w 6884782"/>
              <a:gd name="connsiteY2168" fmla="*/ 5452083 h 5973007"/>
              <a:gd name="connsiteX2169" fmla="*/ 3395013 w 6884782"/>
              <a:gd name="connsiteY2169" fmla="*/ 5447163 h 5973007"/>
              <a:gd name="connsiteX2170" fmla="*/ 3394823 w 6884782"/>
              <a:gd name="connsiteY2170" fmla="*/ 5448052 h 5973007"/>
              <a:gd name="connsiteX2171" fmla="*/ 3391815 w 6884782"/>
              <a:gd name="connsiteY2171" fmla="*/ 5445262 h 5973007"/>
              <a:gd name="connsiteX2172" fmla="*/ 2718391 w 6884782"/>
              <a:gd name="connsiteY2172" fmla="*/ 5431015 h 5973007"/>
              <a:gd name="connsiteX2173" fmla="*/ 2723967 w 6884782"/>
              <a:gd name="connsiteY2173" fmla="*/ 5440308 h 5973007"/>
              <a:gd name="connsiteX2174" fmla="*/ 2723657 w 6884782"/>
              <a:gd name="connsiteY2174" fmla="*/ 5450737 h 5973007"/>
              <a:gd name="connsiteX2175" fmla="*/ 2718391 w 6884782"/>
              <a:gd name="connsiteY2175" fmla="*/ 5431015 h 5973007"/>
              <a:gd name="connsiteX2176" fmla="*/ 2696086 w 6884782"/>
              <a:gd name="connsiteY2176" fmla="*/ 5430085 h 5973007"/>
              <a:gd name="connsiteX2177" fmla="*/ 2696550 w 6884782"/>
              <a:gd name="connsiteY2177" fmla="*/ 5432667 h 5973007"/>
              <a:gd name="connsiteX2178" fmla="*/ 2695466 w 6884782"/>
              <a:gd name="connsiteY2178" fmla="*/ 5435248 h 5973007"/>
              <a:gd name="connsiteX2179" fmla="*/ 2694072 w 6884782"/>
              <a:gd name="connsiteY2179" fmla="*/ 5435661 h 5973007"/>
              <a:gd name="connsiteX2180" fmla="*/ 2692213 w 6884782"/>
              <a:gd name="connsiteY2180" fmla="*/ 5435248 h 5973007"/>
              <a:gd name="connsiteX2181" fmla="*/ 2691594 w 6884782"/>
              <a:gd name="connsiteY2181" fmla="*/ 5434319 h 5973007"/>
              <a:gd name="connsiteX2182" fmla="*/ 2693452 w 6884782"/>
              <a:gd name="connsiteY2182" fmla="*/ 5430912 h 5973007"/>
              <a:gd name="connsiteX2183" fmla="*/ 2696086 w 6884782"/>
              <a:gd name="connsiteY2183" fmla="*/ 5430085 h 5973007"/>
              <a:gd name="connsiteX2184" fmla="*/ 3208173 w 6884782"/>
              <a:gd name="connsiteY2184" fmla="*/ 5429879 h 5973007"/>
              <a:gd name="connsiteX2185" fmla="*/ 3208483 w 6884782"/>
              <a:gd name="connsiteY2185" fmla="*/ 5430602 h 5973007"/>
              <a:gd name="connsiteX2186" fmla="*/ 3207088 w 6884782"/>
              <a:gd name="connsiteY2186" fmla="*/ 5431841 h 5973007"/>
              <a:gd name="connsiteX2187" fmla="*/ 3205230 w 6884782"/>
              <a:gd name="connsiteY2187" fmla="*/ 5431118 h 5973007"/>
              <a:gd name="connsiteX2188" fmla="*/ 3208173 w 6884782"/>
              <a:gd name="connsiteY2188" fmla="*/ 5429879 h 5973007"/>
              <a:gd name="connsiteX2189" fmla="*/ 3048010 w 6884782"/>
              <a:gd name="connsiteY2189" fmla="*/ 5427194 h 5973007"/>
              <a:gd name="connsiteX2190" fmla="*/ 3048629 w 6884782"/>
              <a:gd name="connsiteY2190" fmla="*/ 5431531 h 5973007"/>
              <a:gd name="connsiteX2191" fmla="*/ 3046151 w 6884782"/>
              <a:gd name="connsiteY2191" fmla="*/ 5433906 h 5973007"/>
              <a:gd name="connsiteX2192" fmla="*/ 3042124 w 6884782"/>
              <a:gd name="connsiteY2192" fmla="*/ 5433700 h 5973007"/>
              <a:gd name="connsiteX2193" fmla="*/ 3042898 w 6884782"/>
              <a:gd name="connsiteY2193" fmla="*/ 5433596 h 5973007"/>
              <a:gd name="connsiteX2194" fmla="*/ 3042744 w 6884782"/>
              <a:gd name="connsiteY2194" fmla="*/ 5431841 h 5973007"/>
              <a:gd name="connsiteX2195" fmla="*/ 3041814 w 6884782"/>
              <a:gd name="connsiteY2195" fmla="*/ 5431944 h 5973007"/>
              <a:gd name="connsiteX2196" fmla="*/ 3042434 w 6884782"/>
              <a:gd name="connsiteY2196" fmla="*/ 5430085 h 5973007"/>
              <a:gd name="connsiteX2197" fmla="*/ 3048010 w 6884782"/>
              <a:gd name="connsiteY2197" fmla="*/ 5427194 h 5973007"/>
              <a:gd name="connsiteX2198" fmla="*/ 3098196 w 6884782"/>
              <a:gd name="connsiteY2198" fmla="*/ 5424097 h 5973007"/>
              <a:gd name="connsiteX2199" fmla="*/ 3098816 w 6884782"/>
              <a:gd name="connsiteY2199" fmla="*/ 5425232 h 5973007"/>
              <a:gd name="connsiteX2200" fmla="*/ 3098196 w 6884782"/>
              <a:gd name="connsiteY2200" fmla="*/ 5426885 h 5973007"/>
              <a:gd name="connsiteX2201" fmla="*/ 3096493 w 6884782"/>
              <a:gd name="connsiteY2201" fmla="*/ 5430395 h 5973007"/>
              <a:gd name="connsiteX2202" fmla="*/ 3098196 w 6884782"/>
              <a:gd name="connsiteY2202" fmla="*/ 5424097 h 5973007"/>
              <a:gd name="connsiteX2203" fmla="*/ 2813032 w 6884782"/>
              <a:gd name="connsiteY2203" fmla="*/ 5420379 h 5973007"/>
              <a:gd name="connsiteX2204" fmla="*/ 2813187 w 6884782"/>
              <a:gd name="connsiteY2204" fmla="*/ 5425955 h 5973007"/>
              <a:gd name="connsiteX2205" fmla="*/ 2804823 w 6884782"/>
              <a:gd name="connsiteY2205" fmla="*/ 5426678 h 5973007"/>
              <a:gd name="connsiteX2206" fmla="*/ 2799866 w 6884782"/>
              <a:gd name="connsiteY2206" fmla="*/ 5423374 h 5973007"/>
              <a:gd name="connsiteX2207" fmla="*/ 2813032 w 6884782"/>
              <a:gd name="connsiteY2207" fmla="*/ 5420379 h 5973007"/>
              <a:gd name="connsiteX2208" fmla="*/ 3056065 w 6884782"/>
              <a:gd name="connsiteY2208" fmla="*/ 5419141 h 5973007"/>
              <a:gd name="connsiteX2209" fmla="*/ 3056994 w 6884782"/>
              <a:gd name="connsiteY2209" fmla="*/ 5419244 h 5973007"/>
              <a:gd name="connsiteX2210" fmla="*/ 3060247 w 6884782"/>
              <a:gd name="connsiteY2210" fmla="*/ 5419760 h 5973007"/>
              <a:gd name="connsiteX2211" fmla="*/ 3061641 w 6884782"/>
              <a:gd name="connsiteY2211" fmla="*/ 5424303 h 5973007"/>
              <a:gd name="connsiteX2212" fmla="*/ 3058853 w 6884782"/>
              <a:gd name="connsiteY2212" fmla="*/ 5425646 h 5973007"/>
              <a:gd name="connsiteX2213" fmla="*/ 3056529 w 6884782"/>
              <a:gd name="connsiteY2213" fmla="*/ 5425232 h 5973007"/>
              <a:gd name="connsiteX2214" fmla="*/ 3054980 w 6884782"/>
              <a:gd name="connsiteY2214" fmla="*/ 5420689 h 5973007"/>
              <a:gd name="connsiteX2215" fmla="*/ 3056065 w 6884782"/>
              <a:gd name="connsiteY2215" fmla="*/ 5419141 h 5973007"/>
              <a:gd name="connsiteX2216" fmla="*/ 2752952 w 6884782"/>
              <a:gd name="connsiteY2216" fmla="*/ 5416211 h 5973007"/>
              <a:gd name="connsiteX2217" fmla="*/ 2754482 w 6884782"/>
              <a:gd name="connsiteY2217" fmla="*/ 5420896 h 5973007"/>
              <a:gd name="connsiteX2218" fmla="*/ 2748285 w 6884782"/>
              <a:gd name="connsiteY2218" fmla="*/ 5419347 h 5973007"/>
              <a:gd name="connsiteX2219" fmla="*/ 2752952 w 6884782"/>
              <a:gd name="connsiteY2219" fmla="*/ 5416211 h 5973007"/>
              <a:gd name="connsiteX2220" fmla="*/ 2760058 w 6884782"/>
              <a:gd name="connsiteY2220" fmla="*/ 5416146 h 5973007"/>
              <a:gd name="connsiteX2221" fmla="*/ 2766254 w 6884782"/>
              <a:gd name="connsiteY2221" fmla="*/ 5417488 h 5973007"/>
              <a:gd name="connsiteX2222" fmla="*/ 2768112 w 6884782"/>
              <a:gd name="connsiteY2222" fmla="*/ 5420586 h 5973007"/>
              <a:gd name="connsiteX2223" fmla="*/ 2769971 w 6884782"/>
              <a:gd name="connsiteY2223" fmla="*/ 5419244 h 5973007"/>
              <a:gd name="connsiteX2224" fmla="*/ 2783137 w 6884782"/>
              <a:gd name="connsiteY2224" fmla="*/ 5425542 h 5973007"/>
              <a:gd name="connsiteX2225" fmla="*/ 2783447 w 6884782"/>
              <a:gd name="connsiteY2225" fmla="*/ 5427917 h 5973007"/>
              <a:gd name="connsiteX2226" fmla="*/ 2785151 w 6884782"/>
              <a:gd name="connsiteY2226" fmla="*/ 5431221 h 5973007"/>
              <a:gd name="connsiteX2227" fmla="*/ 2776012 w 6884782"/>
              <a:gd name="connsiteY2227" fmla="*/ 5438140 h 5973007"/>
              <a:gd name="connsiteX2228" fmla="*/ 2770746 w 6884782"/>
              <a:gd name="connsiteY2228" fmla="*/ 5439379 h 5973007"/>
              <a:gd name="connsiteX2229" fmla="*/ 2769661 w 6884782"/>
              <a:gd name="connsiteY2229" fmla="*/ 5439069 h 5973007"/>
              <a:gd name="connsiteX2230" fmla="*/ 2769971 w 6884782"/>
              <a:gd name="connsiteY2230" fmla="*/ 5439379 h 5973007"/>
              <a:gd name="connsiteX2231" fmla="*/ 2773379 w 6884782"/>
              <a:gd name="connsiteY2231" fmla="*/ 5444954 h 5973007"/>
              <a:gd name="connsiteX2232" fmla="*/ 2770900 w 6884782"/>
              <a:gd name="connsiteY2232" fmla="*/ 5444232 h 5973007"/>
              <a:gd name="connsiteX2233" fmla="*/ 2769816 w 6884782"/>
              <a:gd name="connsiteY2233" fmla="*/ 5443406 h 5973007"/>
              <a:gd name="connsiteX2234" fmla="*/ 2769042 w 6884782"/>
              <a:gd name="connsiteY2234" fmla="*/ 5443406 h 5973007"/>
              <a:gd name="connsiteX2235" fmla="*/ 2768887 w 6884782"/>
              <a:gd name="connsiteY2235" fmla="*/ 5442580 h 5973007"/>
              <a:gd name="connsiteX2236" fmla="*/ 2767028 w 6884782"/>
              <a:gd name="connsiteY2236" fmla="*/ 5440927 h 5973007"/>
              <a:gd name="connsiteX2237" fmla="*/ 2761607 w 6884782"/>
              <a:gd name="connsiteY2237" fmla="*/ 5438656 h 5973007"/>
              <a:gd name="connsiteX2238" fmla="*/ 2757424 w 6884782"/>
              <a:gd name="connsiteY2238" fmla="*/ 5433700 h 5973007"/>
              <a:gd name="connsiteX2239" fmla="*/ 2758974 w 6884782"/>
              <a:gd name="connsiteY2239" fmla="*/ 5431841 h 5973007"/>
              <a:gd name="connsiteX2240" fmla="*/ 2756960 w 6884782"/>
              <a:gd name="connsiteY2240" fmla="*/ 5430189 h 5973007"/>
              <a:gd name="connsiteX2241" fmla="*/ 2756340 w 6884782"/>
              <a:gd name="connsiteY2241" fmla="*/ 5418934 h 5973007"/>
              <a:gd name="connsiteX2242" fmla="*/ 2760058 w 6884782"/>
              <a:gd name="connsiteY2242" fmla="*/ 5416146 h 5973007"/>
              <a:gd name="connsiteX2243" fmla="*/ 2251282 w 6884782"/>
              <a:gd name="connsiteY2243" fmla="*/ 5412403 h 5973007"/>
              <a:gd name="connsiteX2244" fmla="*/ 2256491 w 6884782"/>
              <a:gd name="connsiteY2244" fmla="*/ 5413358 h 5973007"/>
              <a:gd name="connsiteX2245" fmla="*/ 2251224 w 6884782"/>
              <a:gd name="connsiteY2245" fmla="*/ 5418831 h 5973007"/>
              <a:gd name="connsiteX2246" fmla="*/ 2248745 w 6884782"/>
              <a:gd name="connsiteY2246" fmla="*/ 5418108 h 5973007"/>
              <a:gd name="connsiteX2247" fmla="*/ 2251282 w 6884782"/>
              <a:gd name="connsiteY2247" fmla="*/ 5412403 h 5973007"/>
              <a:gd name="connsiteX2248" fmla="*/ 2651166 w 6884782"/>
              <a:gd name="connsiteY2248" fmla="*/ 5410570 h 5973007"/>
              <a:gd name="connsiteX2249" fmla="*/ 2658601 w 6884782"/>
              <a:gd name="connsiteY2249" fmla="*/ 5410674 h 5973007"/>
              <a:gd name="connsiteX2250" fmla="*/ 2659065 w 6884782"/>
              <a:gd name="connsiteY2250" fmla="*/ 5413255 h 5973007"/>
              <a:gd name="connsiteX2251" fmla="*/ 2653799 w 6884782"/>
              <a:gd name="connsiteY2251" fmla="*/ 5416352 h 5973007"/>
              <a:gd name="connsiteX2252" fmla="*/ 2651475 w 6884782"/>
              <a:gd name="connsiteY2252" fmla="*/ 5414804 h 5973007"/>
              <a:gd name="connsiteX2253" fmla="*/ 2650701 w 6884782"/>
              <a:gd name="connsiteY2253" fmla="*/ 5412945 h 5973007"/>
              <a:gd name="connsiteX2254" fmla="*/ 2651166 w 6884782"/>
              <a:gd name="connsiteY2254" fmla="*/ 5410570 h 5973007"/>
              <a:gd name="connsiteX2255" fmla="*/ 2807920 w 6884782"/>
              <a:gd name="connsiteY2255" fmla="*/ 5409434 h 5973007"/>
              <a:gd name="connsiteX2256" fmla="*/ 2812103 w 6884782"/>
              <a:gd name="connsiteY2256" fmla="*/ 5409641 h 5973007"/>
              <a:gd name="connsiteX2257" fmla="*/ 2813807 w 6884782"/>
              <a:gd name="connsiteY2257" fmla="*/ 5411396 h 5973007"/>
              <a:gd name="connsiteX2258" fmla="*/ 2813962 w 6884782"/>
              <a:gd name="connsiteY2258" fmla="*/ 5412222 h 5973007"/>
              <a:gd name="connsiteX2259" fmla="*/ 2812103 w 6884782"/>
              <a:gd name="connsiteY2259" fmla="*/ 5412945 h 5973007"/>
              <a:gd name="connsiteX2260" fmla="*/ 2803893 w 6884782"/>
              <a:gd name="connsiteY2260" fmla="*/ 5411809 h 5973007"/>
              <a:gd name="connsiteX2261" fmla="*/ 2802189 w 6884782"/>
              <a:gd name="connsiteY2261" fmla="*/ 5411706 h 5973007"/>
              <a:gd name="connsiteX2262" fmla="*/ 2800486 w 6884782"/>
              <a:gd name="connsiteY2262" fmla="*/ 5409951 h 5973007"/>
              <a:gd name="connsiteX2263" fmla="*/ 2807920 w 6884782"/>
              <a:gd name="connsiteY2263" fmla="*/ 5409434 h 5973007"/>
              <a:gd name="connsiteX2264" fmla="*/ 2323095 w 6884782"/>
              <a:gd name="connsiteY2264" fmla="*/ 5407576 h 5973007"/>
              <a:gd name="connsiteX2265" fmla="*/ 2327123 w 6884782"/>
              <a:gd name="connsiteY2265" fmla="*/ 5410260 h 5973007"/>
              <a:gd name="connsiteX2266" fmla="*/ 2325109 w 6884782"/>
              <a:gd name="connsiteY2266" fmla="*/ 5420689 h 5973007"/>
              <a:gd name="connsiteX2267" fmla="*/ 2315815 w 6884782"/>
              <a:gd name="connsiteY2267" fmla="*/ 5422238 h 5973007"/>
              <a:gd name="connsiteX2268" fmla="*/ 2314731 w 6884782"/>
              <a:gd name="connsiteY2268" fmla="*/ 5423993 h 5973007"/>
              <a:gd name="connsiteX2269" fmla="*/ 2311168 w 6884782"/>
              <a:gd name="connsiteY2269" fmla="*/ 5425646 h 5973007"/>
              <a:gd name="connsiteX2270" fmla="*/ 2310549 w 6884782"/>
              <a:gd name="connsiteY2270" fmla="*/ 5423890 h 5973007"/>
              <a:gd name="connsiteX2271" fmla="*/ 2314112 w 6884782"/>
              <a:gd name="connsiteY2271" fmla="*/ 5421412 h 5973007"/>
              <a:gd name="connsiteX2272" fmla="*/ 2314266 w 6884782"/>
              <a:gd name="connsiteY2272" fmla="*/ 5420483 h 5973007"/>
              <a:gd name="connsiteX2273" fmla="*/ 2312717 w 6884782"/>
              <a:gd name="connsiteY2273" fmla="*/ 5418727 h 5973007"/>
              <a:gd name="connsiteX2274" fmla="*/ 2313647 w 6884782"/>
              <a:gd name="connsiteY2274" fmla="*/ 5410054 h 5973007"/>
              <a:gd name="connsiteX2275" fmla="*/ 2323095 w 6884782"/>
              <a:gd name="connsiteY2275" fmla="*/ 5407576 h 5973007"/>
              <a:gd name="connsiteX2276" fmla="*/ 3177194 w 6884782"/>
              <a:gd name="connsiteY2276" fmla="*/ 5407473 h 5973007"/>
              <a:gd name="connsiteX2277" fmla="*/ 3176109 w 6884782"/>
              <a:gd name="connsiteY2277" fmla="*/ 5407576 h 5973007"/>
              <a:gd name="connsiteX2278" fmla="*/ 3175180 w 6884782"/>
              <a:gd name="connsiteY2278" fmla="*/ 5407782 h 5973007"/>
              <a:gd name="connsiteX2279" fmla="*/ 3174715 w 6884782"/>
              <a:gd name="connsiteY2279" fmla="*/ 5407576 h 5973007"/>
              <a:gd name="connsiteX2280" fmla="*/ 3172702 w 6884782"/>
              <a:gd name="connsiteY2280" fmla="*/ 5407782 h 5973007"/>
              <a:gd name="connsiteX2281" fmla="*/ 3173476 w 6884782"/>
              <a:gd name="connsiteY2281" fmla="*/ 5413978 h 5973007"/>
              <a:gd name="connsiteX2282" fmla="*/ 3184784 w 6884782"/>
              <a:gd name="connsiteY2282" fmla="*/ 5421206 h 5973007"/>
              <a:gd name="connsiteX2283" fmla="*/ 3194387 w 6884782"/>
              <a:gd name="connsiteY2283" fmla="*/ 5429466 h 5973007"/>
              <a:gd name="connsiteX2284" fmla="*/ 3184474 w 6884782"/>
              <a:gd name="connsiteY2284" fmla="*/ 5426678 h 5973007"/>
              <a:gd name="connsiteX2285" fmla="*/ 3180137 w 6884782"/>
              <a:gd name="connsiteY2285" fmla="*/ 5424923 h 5973007"/>
              <a:gd name="connsiteX2286" fmla="*/ 3181221 w 6884782"/>
              <a:gd name="connsiteY2286" fmla="*/ 5427608 h 5973007"/>
              <a:gd name="connsiteX2287" fmla="*/ 3180601 w 6884782"/>
              <a:gd name="connsiteY2287" fmla="*/ 5430085 h 5973007"/>
              <a:gd name="connsiteX2288" fmla="*/ 3185558 w 6884782"/>
              <a:gd name="connsiteY2288" fmla="*/ 5433596 h 5973007"/>
              <a:gd name="connsiteX2289" fmla="*/ 3201667 w 6884782"/>
              <a:gd name="connsiteY2289" fmla="*/ 5437726 h 5973007"/>
              <a:gd name="connsiteX2290" fmla="*/ 3188346 w 6884782"/>
              <a:gd name="connsiteY2290" fmla="*/ 5438243 h 5973007"/>
              <a:gd name="connsiteX2291" fmla="*/ 3190670 w 6884782"/>
              <a:gd name="connsiteY2291" fmla="*/ 5440308 h 5973007"/>
              <a:gd name="connsiteX2292" fmla="*/ 3186177 w 6884782"/>
              <a:gd name="connsiteY2292" fmla="*/ 5440514 h 5973007"/>
              <a:gd name="connsiteX2293" fmla="*/ 3199034 w 6884782"/>
              <a:gd name="connsiteY2293" fmla="*/ 5447536 h 5973007"/>
              <a:gd name="connsiteX2294" fmla="*/ 3204920 w 6884782"/>
              <a:gd name="connsiteY2294" fmla="*/ 5451563 h 5973007"/>
              <a:gd name="connsiteX2295" fmla="*/ 3212975 w 6884782"/>
              <a:gd name="connsiteY2295" fmla="*/ 5455590 h 5973007"/>
              <a:gd name="connsiteX2296" fmla="*/ 3212819 w 6884782"/>
              <a:gd name="connsiteY2296" fmla="*/ 5460443 h 5973007"/>
              <a:gd name="connsiteX2297" fmla="*/ 3217312 w 6884782"/>
              <a:gd name="connsiteY2297" fmla="*/ 5462508 h 5973007"/>
              <a:gd name="connsiteX2298" fmla="*/ 3217466 w 6884782"/>
              <a:gd name="connsiteY2298" fmla="*/ 5462405 h 5973007"/>
              <a:gd name="connsiteX2299" fmla="*/ 3216382 w 6884782"/>
              <a:gd name="connsiteY2299" fmla="*/ 5457448 h 5973007"/>
              <a:gd name="connsiteX2300" fmla="*/ 3219635 w 6884782"/>
              <a:gd name="connsiteY2300" fmla="*/ 5452699 h 5973007"/>
              <a:gd name="connsiteX2301" fmla="*/ 3222113 w 6884782"/>
              <a:gd name="connsiteY2301" fmla="*/ 5458275 h 5973007"/>
              <a:gd name="connsiteX2302" fmla="*/ 3223817 w 6884782"/>
              <a:gd name="connsiteY2302" fmla="*/ 5462302 h 5973007"/>
              <a:gd name="connsiteX2303" fmla="*/ 3225521 w 6884782"/>
              <a:gd name="connsiteY2303" fmla="*/ 5462405 h 5973007"/>
              <a:gd name="connsiteX2304" fmla="*/ 3229703 w 6884782"/>
              <a:gd name="connsiteY2304" fmla="*/ 5462818 h 5973007"/>
              <a:gd name="connsiteX2305" fmla="*/ 3229703 w 6884782"/>
              <a:gd name="connsiteY2305" fmla="*/ 5461682 h 5973007"/>
              <a:gd name="connsiteX2306" fmla="*/ 3231872 w 6884782"/>
              <a:gd name="connsiteY2306" fmla="*/ 5455693 h 5973007"/>
              <a:gd name="connsiteX2307" fmla="*/ 3233731 w 6884782"/>
              <a:gd name="connsiteY2307" fmla="*/ 5453938 h 5973007"/>
              <a:gd name="connsiteX2308" fmla="*/ 3234660 w 6884782"/>
              <a:gd name="connsiteY2308" fmla="*/ 5452182 h 5973007"/>
              <a:gd name="connsiteX2309" fmla="*/ 3240081 w 6884782"/>
              <a:gd name="connsiteY2309" fmla="*/ 5449704 h 5973007"/>
              <a:gd name="connsiteX2310" fmla="*/ 3238997 w 6884782"/>
              <a:gd name="connsiteY2310" fmla="*/ 5452492 h 5973007"/>
              <a:gd name="connsiteX2311" fmla="*/ 3239927 w 6884782"/>
              <a:gd name="connsiteY2311" fmla="*/ 5452492 h 5973007"/>
              <a:gd name="connsiteX2312" fmla="*/ 3240236 w 6884782"/>
              <a:gd name="connsiteY2312" fmla="*/ 5456622 h 5973007"/>
              <a:gd name="connsiteX2313" fmla="*/ 3237293 w 6884782"/>
              <a:gd name="connsiteY2313" fmla="*/ 5457655 h 5973007"/>
              <a:gd name="connsiteX2314" fmla="*/ 3236984 w 6884782"/>
              <a:gd name="connsiteY2314" fmla="*/ 5458687 h 5973007"/>
              <a:gd name="connsiteX2315" fmla="*/ 3240546 w 6884782"/>
              <a:gd name="connsiteY2315" fmla="*/ 5458997 h 5973007"/>
              <a:gd name="connsiteX2316" fmla="*/ 3250769 w 6884782"/>
              <a:gd name="connsiteY2316" fmla="*/ 5458894 h 5973007"/>
              <a:gd name="connsiteX2317" fmla="*/ 3270596 w 6884782"/>
              <a:gd name="connsiteY2317" fmla="*/ 5456003 h 5973007"/>
              <a:gd name="connsiteX2318" fmla="*/ 3271061 w 6884782"/>
              <a:gd name="connsiteY2318" fmla="*/ 5458687 h 5973007"/>
              <a:gd name="connsiteX2319" fmla="*/ 3273849 w 6884782"/>
              <a:gd name="connsiteY2319" fmla="*/ 5455590 h 5973007"/>
              <a:gd name="connsiteX2320" fmla="*/ 3279270 w 6884782"/>
              <a:gd name="connsiteY2320" fmla="*/ 5454557 h 5973007"/>
              <a:gd name="connsiteX2321" fmla="*/ 3283607 w 6884782"/>
              <a:gd name="connsiteY2321" fmla="*/ 5456932 h 5973007"/>
              <a:gd name="connsiteX2322" fmla="*/ 3285466 w 6884782"/>
              <a:gd name="connsiteY2322" fmla="*/ 5456622 h 5973007"/>
              <a:gd name="connsiteX2323" fmla="*/ 3286395 w 6884782"/>
              <a:gd name="connsiteY2323" fmla="*/ 5457035 h 5973007"/>
              <a:gd name="connsiteX2324" fmla="*/ 3289493 w 6884782"/>
              <a:gd name="connsiteY2324" fmla="*/ 5451459 h 5973007"/>
              <a:gd name="connsiteX2325" fmla="*/ 3293831 w 6884782"/>
              <a:gd name="connsiteY2325" fmla="*/ 5446710 h 5973007"/>
              <a:gd name="connsiteX2326" fmla="*/ 3293831 w 6884782"/>
              <a:gd name="connsiteY2326" fmla="*/ 5449498 h 5973007"/>
              <a:gd name="connsiteX2327" fmla="*/ 3293366 w 6884782"/>
              <a:gd name="connsiteY2327" fmla="*/ 5450634 h 5973007"/>
              <a:gd name="connsiteX2328" fmla="*/ 3293521 w 6884782"/>
              <a:gd name="connsiteY2328" fmla="*/ 5451459 h 5973007"/>
              <a:gd name="connsiteX2329" fmla="*/ 3292746 w 6884782"/>
              <a:gd name="connsiteY2329" fmla="*/ 5451769 h 5973007"/>
              <a:gd name="connsiteX2330" fmla="*/ 3291662 w 6884782"/>
              <a:gd name="connsiteY2330" fmla="*/ 5454041 h 5973007"/>
              <a:gd name="connsiteX2331" fmla="*/ 3290732 w 6884782"/>
              <a:gd name="connsiteY2331" fmla="*/ 5459926 h 5973007"/>
              <a:gd name="connsiteX2332" fmla="*/ 3290577 w 6884782"/>
              <a:gd name="connsiteY2332" fmla="*/ 5460236 h 5973007"/>
              <a:gd name="connsiteX2333" fmla="*/ 3290732 w 6884782"/>
              <a:gd name="connsiteY2333" fmla="*/ 5460649 h 5973007"/>
              <a:gd name="connsiteX2334" fmla="*/ 3292746 w 6884782"/>
              <a:gd name="connsiteY2334" fmla="*/ 5459410 h 5973007"/>
              <a:gd name="connsiteX2335" fmla="*/ 3293366 w 6884782"/>
              <a:gd name="connsiteY2335" fmla="*/ 5458481 h 5973007"/>
              <a:gd name="connsiteX2336" fmla="*/ 3293211 w 6884782"/>
              <a:gd name="connsiteY2336" fmla="*/ 5458481 h 5973007"/>
              <a:gd name="connsiteX2337" fmla="*/ 3295689 w 6884782"/>
              <a:gd name="connsiteY2337" fmla="*/ 5453938 h 5973007"/>
              <a:gd name="connsiteX2338" fmla="*/ 3300181 w 6884782"/>
              <a:gd name="connsiteY2338" fmla="*/ 5454454 h 5973007"/>
              <a:gd name="connsiteX2339" fmla="*/ 3300646 w 6884782"/>
              <a:gd name="connsiteY2339" fmla="*/ 5454970 h 5973007"/>
              <a:gd name="connsiteX2340" fmla="*/ 3301110 w 6884782"/>
              <a:gd name="connsiteY2340" fmla="*/ 5447123 h 5973007"/>
              <a:gd name="connsiteX2341" fmla="*/ 3302195 w 6884782"/>
              <a:gd name="connsiteY2341" fmla="*/ 5431324 h 5973007"/>
              <a:gd name="connsiteX2342" fmla="*/ 3295534 w 6884782"/>
              <a:gd name="connsiteY2342" fmla="*/ 5425129 h 5973007"/>
              <a:gd name="connsiteX2343" fmla="*/ 3293056 w 6884782"/>
              <a:gd name="connsiteY2343" fmla="*/ 5421102 h 5973007"/>
              <a:gd name="connsiteX2344" fmla="*/ 3291042 w 6884782"/>
              <a:gd name="connsiteY2344" fmla="*/ 5421412 h 5973007"/>
              <a:gd name="connsiteX2345" fmla="*/ 3288719 w 6884782"/>
              <a:gd name="connsiteY2345" fmla="*/ 5422032 h 5973007"/>
              <a:gd name="connsiteX2346" fmla="*/ 3289648 w 6884782"/>
              <a:gd name="connsiteY2346" fmla="*/ 5423890 h 5973007"/>
              <a:gd name="connsiteX2347" fmla="*/ 3289338 w 6884782"/>
              <a:gd name="connsiteY2347" fmla="*/ 5426162 h 5973007"/>
              <a:gd name="connsiteX2348" fmla="*/ 3285001 w 6884782"/>
              <a:gd name="connsiteY2348" fmla="*/ 5428227 h 5973007"/>
              <a:gd name="connsiteX2349" fmla="*/ 3283452 w 6884782"/>
              <a:gd name="connsiteY2349" fmla="*/ 5426988 h 5973007"/>
              <a:gd name="connsiteX2350" fmla="*/ 3283607 w 6884782"/>
              <a:gd name="connsiteY2350" fmla="*/ 5426058 h 5973007"/>
              <a:gd name="connsiteX2351" fmla="*/ 3283762 w 6884782"/>
              <a:gd name="connsiteY2351" fmla="*/ 5423684 h 5973007"/>
              <a:gd name="connsiteX2352" fmla="*/ 3282213 w 6884782"/>
              <a:gd name="connsiteY2352" fmla="*/ 5424200 h 5973007"/>
              <a:gd name="connsiteX2353" fmla="*/ 3271061 w 6884782"/>
              <a:gd name="connsiteY2353" fmla="*/ 5422961 h 5973007"/>
              <a:gd name="connsiteX2354" fmla="*/ 3264090 w 6884782"/>
              <a:gd name="connsiteY2354" fmla="*/ 5430499 h 5973007"/>
              <a:gd name="connsiteX2355" fmla="*/ 3258824 w 6884782"/>
              <a:gd name="connsiteY2355" fmla="*/ 5436075 h 5973007"/>
              <a:gd name="connsiteX2356" fmla="*/ 3258514 w 6884782"/>
              <a:gd name="connsiteY2356" fmla="*/ 5438759 h 5973007"/>
              <a:gd name="connsiteX2357" fmla="*/ 3256191 w 6884782"/>
              <a:gd name="connsiteY2357" fmla="*/ 5438862 h 5973007"/>
              <a:gd name="connsiteX2358" fmla="*/ 3254177 w 6884782"/>
              <a:gd name="connsiteY2358" fmla="*/ 5441134 h 5973007"/>
              <a:gd name="connsiteX2359" fmla="*/ 3253248 w 6884782"/>
              <a:gd name="connsiteY2359" fmla="*/ 5440927 h 5973007"/>
              <a:gd name="connsiteX2360" fmla="*/ 3253248 w 6884782"/>
              <a:gd name="connsiteY2360" fmla="*/ 5442786 h 5973007"/>
              <a:gd name="connsiteX2361" fmla="*/ 3252318 w 6884782"/>
              <a:gd name="connsiteY2361" fmla="*/ 5444335 h 5973007"/>
              <a:gd name="connsiteX2362" fmla="*/ 3245967 w 6884782"/>
              <a:gd name="connsiteY2362" fmla="*/ 5446090 h 5973007"/>
              <a:gd name="connsiteX2363" fmla="*/ 3242095 w 6884782"/>
              <a:gd name="connsiteY2363" fmla="*/ 5444748 h 5973007"/>
              <a:gd name="connsiteX2364" fmla="*/ 3240236 w 6884782"/>
              <a:gd name="connsiteY2364" fmla="*/ 5440101 h 5973007"/>
              <a:gd name="connsiteX2365" fmla="*/ 3240236 w 6884782"/>
              <a:gd name="connsiteY2365" fmla="*/ 5439895 h 5973007"/>
              <a:gd name="connsiteX2366" fmla="*/ 3235899 w 6884782"/>
              <a:gd name="connsiteY2366" fmla="*/ 5440101 h 5973007"/>
              <a:gd name="connsiteX2367" fmla="*/ 3218551 w 6884782"/>
              <a:gd name="connsiteY2367" fmla="*/ 5434525 h 5973007"/>
              <a:gd name="connsiteX2368" fmla="*/ 3213439 w 6884782"/>
              <a:gd name="connsiteY2368" fmla="*/ 5423064 h 5973007"/>
              <a:gd name="connsiteX2369" fmla="*/ 3209567 w 6884782"/>
              <a:gd name="connsiteY2369" fmla="*/ 5418108 h 5973007"/>
              <a:gd name="connsiteX2370" fmla="*/ 3205230 w 6884782"/>
              <a:gd name="connsiteY2370" fmla="*/ 5417798 h 5973007"/>
              <a:gd name="connsiteX2371" fmla="*/ 3206004 w 6884782"/>
              <a:gd name="connsiteY2371" fmla="*/ 5413461 h 5973007"/>
              <a:gd name="connsiteX2372" fmla="*/ 3201202 w 6884782"/>
              <a:gd name="connsiteY2372" fmla="*/ 5417282 h 5973007"/>
              <a:gd name="connsiteX2373" fmla="*/ 3195936 w 6884782"/>
              <a:gd name="connsiteY2373" fmla="*/ 5414081 h 5973007"/>
              <a:gd name="connsiteX2374" fmla="*/ 3194387 w 6884782"/>
              <a:gd name="connsiteY2374" fmla="*/ 5413668 h 5973007"/>
              <a:gd name="connsiteX2375" fmla="*/ 3191444 w 6884782"/>
              <a:gd name="connsiteY2375" fmla="*/ 5414287 h 5973007"/>
              <a:gd name="connsiteX2376" fmla="*/ 3190515 w 6884782"/>
              <a:gd name="connsiteY2376" fmla="*/ 5412739 h 5973007"/>
              <a:gd name="connsiteX2377" fmla="*/ 3190670 w 6884782"/>
              <a:gd name="connsiteY2377" fmla="*/ 5412532 h 5973007"/>
              <a:gd name="connsiteX2378" fmla="*/ 3188656 w 6884782"/>
              <a:gd name="connsiteY2378" fmla="*/ 5412016 h 5973007"/>
              <a:gd name="connsiteX2379" fmla="*/ 3185403 w 6884782"/>
              <a:gd name="connsiteY2379" fmla="*/ 5410570 h 5973007"/>
              <a:gd name="connsiteX2380" fmla="*/ 3186023 w 6884782"/>
              <a:gd name="connsiteY2380" fmla="*/ 5411086 h 5973007"/>
              <a:gd name="connsiteX2381" fmla="*/ 3177194 w 6884782"/>
              <a:gd name="connsiteY2381" fmla="*/ 5407473 h 5973007"/>
              <a:gd name="connsiteX2382" fmla="*/ 2776729 w 6884782"/>
              <a:gd name="connsiteY2382" fmla="*/ 5405459 h 5973007"/>
              <a:gd name="connsiteX2383" fmla="*/ 2778800 w 6884782"/>
              <a:gd name="connsiteY2383" fmla="*/ 5410157 h 5973007"/>
              <a:gd name="connsiteX2384" fmla="*/ 2774153 w 6884782"/>
              <a:gd name="connsiteY2384" fmla="*/ 5414494 h 5973007"/>
              <a:gd name="connsiteX2385" fmla="*/ 2773379 w 6884782"/>
              <a:gd name="connsiteY2385" fmla="*/ 5414494 h 5973007"/>
              <a:gd name="connsiteX2386" fmla="*/ 2771520 w 6884782"/>
              <a:gd name="connsiteY2386" fmla="*/ 5413978 h 5973007"/>
              <a:gd name="connsiteX2387" fmla="*/ 2767957 w 6884782"/>
              <a:gd name="connsiteY2387" fmla="*/ 5410570 h 5973007"/>
              <a:gd name="connsiteX2388" fmla="*/ 2767493 w 6884782"/>
              <a:gd name="connsiteY2388" fmla="*/ 5411293 h 5973007"/>
              <a:gd name="connsiteX2389" fmla="*/ 2769661 w 6884782"/>
              <a:gd name="connsiteY2389" fmla="*/ 5406337 h 5973007"/>
              <a:gd name="connsiteX2390" fmla="*/ 2776729 w 6884782"/>
              <a:gd name="connsiteY2390" fmla="*/ 5405459 h 5973007"/>
              <a:gd name="connsiteX2391" fmla="*/ 2396206 w 6884782"/>
              <a:gd name="connsiteY2391" fmla="*/ 5404375 h 5973007"/>
              <a:gd name="connsiteX2392" fmla="*/ 2395742 w 6884782"/>
              <a:gd name="connsiteY2392" fmla="*/ 5407885 h 5973007"/>
              <a:gd name="connsiteX2393" fmla="*/ 2389081 w 6884782"/>
              <a:gd name="connsiteY2393" fmla="*/ 5411809 h 5973007"/>
              <a:gd name="connsiteX2394" fmla="*/ 2387067 w 6884782"/>
              <a:gd name="connsiteY2394" fmla="*/ 5411189 h 5973007"/>
              <a:gd name="connsiteX2395" fmla="*/ 2388462 w 6884782"/>
              <a:gd name="connsiteY2395" fmla="*/ 5406853 h 5973007"/>
              <a:gd name="connsiteX2396" fmla="*/ 2396206 w 6884782"/>
              <a:gd name="connsiteY2396" fmla="*/ 5404375 h 5973007"/>
              <a:gd name="connsiteX2397" fmla="*/ 2706928 w 6884782"/>
              <a:gd name="connsiteY2397" fmla="*/ 5403858 h 5973007"/>
              <a:gd name="connsiteX2398" fmla="*/ 2711110 w 6884782"/>
              <a:gd name="connsiteY2398" fmla="*/ 5404065 h 5973007"/>
              <a:gd name="connsiteX2399" fmla="*/ 2724586 w 6884782"/>
              <a:gd name="connsiteY2399" fmla="*/ 5408195 h 5973007"/>
              <a:gd name="connsiteX2400" fmla="*/ 2718855 w 6884782"/>
              <a:gd name="connsiteY2400" fmla="*/ 5408918 h 5973007"/>
              <a:gd name="connsiteX2401" fmla="*/ 2705534 w 6884782"/>
              <a:gd name="connsiteY2401" fmla="*/ 5408195 h 5973007"/>
              <a:gd name="connsiteX2402" fmla="*/ 2703676 w 6884782"/>
              <a:gd name="connsiteY2402" fmla="*/ 5406337 h 5973007"/>
              <a:gd name="connsiteX2403" fmla="*/ 2702901 w 6884782"/>
              <a:gd name="connsiteY2403" fmla="*/ 5406337 h 5973007"/>
              <a:gd name="connsiteX2404" fmla="*/ 2701972 w 6884782"/>
              <a:gd name="connsiteY2404" fmla="*/ 5404478 h 5973007"/>
              <a:gd name="connsiteX2405" fmla="*/ 2706928 w 6884782"/>
              <a:gd name="connsiteY2405" fmla="*/ 5403858 h 5973007"/>
              <a:gd name="connsiteX2406" fmla="*/ 2405655 w 6884782"/>
              <a:gd name="connsiteY2406" fmla="*/ 5400864 h 5973007"/>
              <a:gd name="connsiteX2407" fmla="*/ 2405345 w 6884782"/>
              <a:gd name="connsiteY2407" fmla="*/ 5403652 h 5973007"/>
              <a:gd name="connsiteX2408" fmla="*/ 2403641 w 6884782"/>
              <a:gd name="connsiteY2408" fmla="*/ 5404478 h 5973007"/>
              <a:gd name="connsiteX2409" fmla="*/ 2402557 w 6884782"/>
              <a:gd name="connsiteY2409" fmla="*/ 5407266 h 5973007"/>
              <a:gd name="connsiteX2410" fmla="*/ 2401008 w 6884782"/>
              <a:gd name="connsiteY2410" fmla="*/ 5407163 h 5973007"/>
              <a:gd name="connsiteX2411" fmla="*/ 2403177 w 6884782"/>
              <a:gd name="connsiteY2411" fmla="*/ 5401793 h 5973007"/>
              <a:gd name="connsiteX2412" fmla="*/ 2405655 w 6884782"/>
              <a:gd name="connsiteY2412" fmla="*/ 5400864 h 5973007"/>
              <a:gd name="connsiteX2413" fmla="*/ 2860121 w 6884782"/>
              <a:gd name="connsiteY2413" fmla="*/ 5399522 h 5973007"/>
              <a:gd name="connsiteX2414" fmla="*/ 2861670 w 6884782"/>
              <a:gd name="connsiteY2414" fmla="*/ 5401484 h 5973007"/>
              <a:gd name="connsiteX2415" fmla="*/ 2859811 w 6884782"/>
              <a:gd name="connsiteY2415" fmla="*/ 5403445 h 5973007"/>
              <a:gd name="connsiteX2416" fmla="*/ 2857023 w 6884782"/>
              <a:gd name="connsiteY2416" fmla="*/ 5403858 h 5973007"/>
              <a:gd name="connsiteX2417" fmla="*/ 2856248 w 6884782"/>
              <a:gd name="connsiteY2417" fmla="*/ 5402619 h 5973007"/>
              <a:gd name="connsiteX2418" fmla="*/ 2855939 w 6884782"/>
              <a:gd name="connsiteY2418" fmla="*/ 5400657 h 5973007"/>
              <a:gd name="connsiteX2419" fmla="*/ 2860121 w 6884782"/>
              <a:gd name="connsiteY2419" fmla="*/ 5399522 h 5973007"/>
              <a:gd name="connsiteX2420" fmla="*/ 3272609 w 6884782"/>
              <a:gd name="connsiteY2420" fmla="*/ 5397870 h 5973007"/>
              <a:gd name="connsiteX2421" fmla="*/ 3272455 w 6884782"/>
              <a:gd name="connsiteY2421" fmla="*/ 5405923 h 5973007"/>
              <a:gd name="connsiteX2422" fmla="*/ 3273694 w 6884782"/>
              <a:gd name="connsiteY2422" fmla="*/ 5417901 h 5973007"/>
              <a:gd name="connsiteX2423" fmla="*/ 3279735 w 6884782"/>
              <a:gd name="connsiteY2423" fmla="*/ 5418934 h 5973007"/>
              <a:gd name="connsiteX2424" fmla="*/ 3290423 w 6884782"/>
              <a:gd name="connsiteY2424" fmla="*/ 5419244 h 5973007"/>
              <a:gd name="connsiteX2425" fmla="*/ 3292901 w 6884782"/>
              <a:gd name="connsiteY2425" fmla="*/ 5418831 h 5973007"/>
              <a:gd name="connsiteX2426" fmla="*/ 3292746 w 6884782"/>
              <a:gd name="connsiteY2426" fmla="*/ 5413668 h 5973007"/>
              <a:gd name="connsiteX2427" fmla="*/ 3300955 w 6884782"/>
              <a:gd name="connsiteY2427" fmla="*/ 5415217 h 5973007"/>
              <a:gd name="connsiteX2428" fmla="*/ 3299097 w 6884782"/>
              <a:gd name="connsiteY2428" fmla="*/ 5402826 h 5973007"/>
              <a:gd name="connsiteX2429" fmla="*/ 3299871 w 6884782"/>
              <a:gd name="connsiteY2429" fmla="*/ 5398076 h 5973007"/>
              <a:gd name="connsiteX2430" fmla="*/ 3287789 w 6884782"/>
              <a:gd name="connsiteY2430" fmla="*/ 5398076 h 5973007"/>
              <a:gd name="connsiteX2431" fmla="*/ 2731247 w 6884782"/>
              <a:gd name="connsiteY2431" fmla="*/ 5397147 h 5973007"/>
              <a:gd name="connsiteX2432" fmla="*/ 2734035 w 6884782"/>
              <a:gd name="connsiteY2432" fmla="*/ 5406956 h 5973007"/>
              <a:gd name="connsiteX2433" fmla="*/ 2727994 w 6884782"/>
              <a:gd name="connsiteY2433" fmla="*/ 5408092 h 5973007"/>
              <a:gd name="connsiteX2434" fmla="*/ 2731247 w 6884782"/>
              <a:gd name="connsiteY2434" fmla="*/ 5397147 h 5973007"/>
              <a:gd name="connsiteX2435" fmla="*/ 2590621 w 6884782"/>
              <a:gd name="connsiteY2435" fmla="*/ 5394553 h 5973007"/>
              <a:gd name="connsiteX2436" fmla="*/ 2596487 w 6884782"/>
              <a:gd name="connsiteY2436" fmla="*/ 5394669 h 5973007"/>
              <a:gd name="connsiteX2437" fmla="*/ 2594009 w 6884782"/>
              <a:gd name="connsiteY2437" fmla="*/ 5402413 h 5973007"/>
              <a:gd name="connsiteX2438" fmla="*/ 2590911 w 6884782"/>
              <a:gd name="connsiteY2438" fmla="*/ 5404168 h 5973007"/>
              <a:gd name="connsiteX2439" fmla="*/ 2587193 w 6884782"/>
              <a:gd name="connsiteY2439" fmla="*/ 5404065 h 5973007"/>
              <a:gd name="connsiteX2440" fmla="*/ 2584406 w 6884782"/>
              <a:gd name="connsiteY2440" fmla="*/ 5404684 h 5973007"/>
              <a:gd name="connsiteX2441" fmla="*/ 2581462 w 6884782"/>
              <a:gd name="connsiteY2441" fmla="*/ 5403962 h 5973007"/>
              <a:gd name="connsiteX2442" fmla="*/ 2580378 w 6884782"/>
              <a:gd name="connsiteY2442" fmla="*/ 5401380 h 5973007"/>
              <a:gd name="connsiteX2443" fmla="*/ 2581152 w 6884782"/>
              <a:gd name="connsiteY2443" fmla="*/ 5399625 h 5973007"/>
              <a:gd name="connsiteX2444" fmla="*/ 2590621 w 6884782"/>
              <a:gd name="connsiteY2444" fmla="*/ 5394553 h 5973007"/>
              <a:gd name="connsiteX2445" fmla="*/ 2400698 w 6884782"/>
              <a:gd name="connsiteY2445" fmla="*/ 5394152 h 5973007"/>
              <a:gd name="connsiteX2446" fmla="*/ 2403332 w 6884782"/>
              <a:gd name="connsiteY2446" fmla="*/ 5394152 h 5973007"/>
              <a:gd name="connsiteX2447" fmla="*/ 2402247 w 6884782"/>
              <a:gd name="connsiteY2447" fmla="*/ 5395908 h 5973007"/>
              <a:gd name="connsiteX2448" fmla="*/ 2398220 w 6884782"/>
              <a:gd name="connsiteY2448" fmla="*/ 5400245 h 5973007"/>
              <a:gd name="connsiteX2449" fmla="*/ 2397136 w 6884782"/>
              <a:gd name="connsiteY2449" fmla="*/ 5398799 h 5973007"/>
              <a:gd name="connsiteX2450" fmla="*/ 2397755 w 6884782"/>
              <a:gd name="connsiteY2450" fmla="*/ 5397560 h 5973007"/>
              <a:gd name="connsiteX2451" fmla="*/ 2399614 w 6884782"/>
              <a:gd name="connsiteY2451" fmla="*/ 5395805 h 5973007"/>
              <a:gd name="connsiteX2452" fmla="*/ 2400698 w 6884782"/>
              <a:gd name="connsiteY2452" fmla="*/ 5394152 h 5973007"/>
              <a:gd name="connsiteX2453" fmla="*/ 2873597 w 6884782"/>
              <a:gd name="connsiteY2453" fmla="*/ 5393636 h 5973007"/>
              <a:gd name="connsiteX2454" fmla="*/ 2877779 w 6884782"/>
              <a:gd name="connsiteY2454" fmla="*/ 5395908 h 5973007"/>
              <a:gd name="connsiteX2455" fmla="*/ 2878863 w 6884782"/>
              <a:gd name="connsiteY2455" fmla="*/ 5399315 h 5973007"/>
              <a:gd name="connsiteX2456" fmla="*/ 2879638 w 6884782"/>
              <a:gd name="connsiteY2456" fmla="*/ 5400761 h 5973007"/>
              <a:gd name="connsiteX2457" fmla="*/ 2892959 w 6884782"/>
              <a:gd name="connsiteY2457" fmla="*/ 5395598 h 5973007"/>
              <a:gd name="connsiteX2458" fmla="*/ 2894198 w 6884782"/>
              <a:gd name="connsiteY2458" fmla="*/ 5399522 h 5973007"/>
              <a:gd name="connsiteX2459" fmla="*/ 2894663 w 6884782"/>
              <a:gd name="connsiteY2459" fmla="*/ 5404168 h 5973007"/>
              <a:gd name="connsiteX2460" fmla="*/ 2898845 w 6884782"/>
              <a:gd name="connsiteY2460" fmla="*/ 5407163 h 5973007"/>
              <a:gd name="connsiteX2461" fmla="*/ 2899774 w 6884782"/>
              <a:gd name="connsiteY2461" fmla="*/ 5414184 h 5973007"/>
              <a:gd name="connsiteX2462" fmla="*/ 2894043 w 6884782"/>
              <a:gd name="connsiteY2462" fmla="*/ 5415836 h 5973007"/>
              <a:gd name="connsiteX2463" fmla="*/ 2889706 w 6884782"/>
              <a:gd name="connsiteY2463" fmla="*/ 5415630 h 5973007"/>
              <a:gd name="connsiteX2464" fmla="*/ 2883820 w 6884782"/>
              <a:gd name="connsiteY2464" fmla="*/ 5410674 h 5973007"/>
              <a:gd name="connsiteX2465" fmla="*/ 2886608 w 6884782"/>
              <a:gd name="connsiteY2465" fmla="*/ 5407679 h 5973007"/>
              <a:gd name="connsiteX2466" fmla="*/ 2873442 w 6884782"/>
              <a:gd name="connsiteY2466" fmla="*/ 5412222 h 5973007"/>
              <a:gd name="connsiteX2467" fmla="*/ 2862444 w 6884782"/>
              <a:gd name="connsiteY2467" fmla="*/ 5415836 h 5973007"/>
              <a:gd name="connsiteX2468" fmla="*/ 2863838 w 6884782"/>
              <a:gd name="connsiteY2468" fmla="*/ 5418831 h 5973007"/>
              <a:gd name="connsiteX2469" fmla="*/ 2865233 w 6884782"/>
              <a:gd name="connsiteY2469" fmla="*/ 5430808 h 5973007"/>
              <a:gd name="connsiteX2470" fmla="*/ 2863529 w 6884782"/>
              <a:gd name="connsiteY2470" fmla="*/ 5438552 h 5973007"/>
              <a:gd name="connsiteX2471" fmla="*/ 2855164 w 6884782"/>
              <a:gd name="connsiteY2471" fmla="*/ 5424613 h 5973007"/>
              <a:gd name="connsiteX2472" fmla="*/ 2839984 w 6884782"/>
              <a:gd name="connsiteY2472" fmla="*/ 5431221 h 5973007"/>
              <a:gd name="connsiteX2473" fmla="*/ 2853925 w 6884782"/>
              <a:gd name="connsiteY2473" fmla="*/ 5416559 h 5973007"/>
              <a:gd name="connsiteX2474" fmla="*/ 2855319 w 6884782"/>
              <a:gd name="connsiteY2474" fmla="*/ 5409124 h 5973007"/>
              <a:gd name="connsiteX2475" fmla="*/ 2856403 w 6884782"/>
              <a:gd name="connsiteY2475" fmla="*/ 5408092 h 5973007"/>
              <a:gd name="connsiteX2476" fmla="*/ 2856248 w 6884782"/>
              <a:gd name="connsiteY2476" fmla="*/ 5403858 h 5973007"/>
              <a:gd name="connsiteX2477" fmla="*/ 2862134 w 6884782"/>
              <a:gd name="connsiteY2477" fmla="*/ 5406750 h 5973007"/>
              <a:gd name="connsiteX2478" fmla="*/ 2861360 w 6884782"/>
              <a:gd name="connsiteY2478" fmla="*/ 5408402 h 5973007"/>
              <a:gd name="connsiteX2479" fmla="*/ 2859501 w 6884782"/>
              <a:gd name="connsiteY2479" fmla="*/ 5409434 h 5973007"/>
              <a:gd name="connsiteX2480" fmla="*/ 2860431 w 6884782"/>
              <a:gd name="connsiteY2480" fmla="*/ 5411293 h 5973007"/>
              <a:gd name="connsiteX2481" fmla="*/ 2861205 w 6884782"/>
              <a:gd name="connsiteY2481" fmla="*/ 5410364 h 5973007"/>
              <a:gd name="connsiteX2482" fmla="*/ 2868330 w 6884782"/>
              <a:gd name="connsiteY2482" fmla="*/ 5405820 h 5973007"/>
              <a:gd name="connsiteX2483" fmla="*/ 2872667 w 6884782"/>
              <a:gd name="connsiteY2483" fmla="*/ 5403755 h 5973007"/>
              <a:gd name="connsiteX2484" fmla="*/ 2870809 w 6884782"/>
              <a:gd name="connsiteY2484" fmla="*/ 5402826 h 5973007"/>
              <a:gd name="connsiteX2485" fmla="*/ 2866471 w 6884782"/>
              <a:gd name="connsiteY2485" fmla="*/ 5397147 h 5973007"/>
              <a:gd name="connsiteX2486" fmla="*/ 2873597 w 6884782"/>
              <a:gd name="connsiteY2486" fmla="*/ 5393636 h 5973007"/>
              <a:gd name="connsiteX2487" fmla="*/ 2556989 w 6884782"/>
              <a:gd name="connsiteY2487" fmla="*/ 5393326 h 5973007"/>
              <a:gd name="connsiteX2488" fmla="*/ 2543048 w 6884782"/>
              <a:gd name="connsiteY2488" fmla="*/ 5413358 h 5973007"/>
              <a:gd name="connsiteX2489" fmla="*/ 2534994 w 6884782"/>
              <a:gd name="connsiteY2489" fmla="*/ 5411396 h 5973007"/>
              <a:gd name="connsiteX2490" fmla="*/ 2534994 w 6884782"/>
              <a:gd name="connsiteY2490" fmla="*/ 5402929 h 5973007"/>
              <a:gd name="connsiteX2491" fmla="*/ 2556989 w 6884782"/>
              <a:gd name="connsiteY2491" fmla="*/ 5393326 h 5973007"/>
              <a:gd name="connsiteX2492" fmla="*/ 2363213 w 6884782"/>
              <a:gd name="connsiteY2492" fmla="*/ 5391571 h 5973007"/>
              <a:gd name="connsiteX2493" fmla="*/ 2348188 w 6884782"/>
              <a:gd name="connsiteY2493" fmla="*/ 5399315 h 5973007"/>
              <a:gd name="connsiteX2494" fmla="*/ 2348498 w 6884782"/>
              <a:gd name="connsiteY2494" fmla="*/ 5395805 h 5973007"/>
              <a:gd name="connsiteX2495" fmla="*/ 2350202 w 6884782"/>
              <a:gd name="connsiteY2495" fmla="*/ 5395805 h 5973007"/>
              <a:gd name="connsiteX2496" fmla="*/ 2363213 w 6884782"/>
              <a:gd name="connsiteY2496" fmla="*/ 5391571 h 5973007"/>
              <a:gd name="connsiteX2497" fmla="*/ 2849123 w 6884782"/>
              <a:gd name="connsiteY2497" fmla="*/ 5391055 h 5973007"/>
              <a:gd name="connsiteX2498" fmla="*/ 2845870 w 6884782"/>
              <a:gd name="connsiteY2498" fmla="*/ 5395908 h 5973007"/>
              <a:gd name="connsiteX2499" fmla="*/ 2844011 w 6884782"/>
              <a:gd name="connsiteY2499" fmla="*/ 5392397 h 5973007"/>
              <a:gd name="connsiteX2500" fmla="*/ 2849123 w 6884782"/>
              <a:gd name="connsiteY2500" fmla="*/ 5391055 h 5973007"/>
              <a:gd name="connsiteX2501" fmla="*/ 2660150 w 6884782"/>
              <a:gd name="connsiteY2501" fmla="*/ 5389299 h 5973007"/>
              <a:gd name="connsiteX2502" fmla="*/ 2665261 w 6884782"/>
              <a:gd name="connsiteY2502" fmla="*/ 5394772 h 5973007"/>
              <a:gd name="connsiteX2503" fmla="*/ 2662163 w 6884782"/>
              <a:gd name="connsiteY2503" fmla="*/ 5398179 h 5973007"/>
              <a:gd name="connsiteX2504" fmla="*/ 2656277 w 6884782"/>
              <a:gd name="connsiteY2504" fmla="*/ 5394359 h 5973007"/>
              <a:gd name="connsiteX2505" fmla="*/ 2660150 w 6884782"/>
              <a:gd name="connsiteY2505" fmla="*/ 5389299 h 5973007"/>
              <a:gd name="connsiteX2506" fmla="*/ 2723502 w 6884782"/>
              <a:gd name="connsiteY2506" fmla="*/ 5388473 h 5973007"/>
              <a:gd name="connsiteX2507" fmla="*/ 2725206 w 6884782"/>
              <a:gd name="connsiteY2507" fmla="*/ 5388473 h 5973007"/>
              <a:gd name="connsiteX2508" fmla="*/ 2724122 w 6884782"/>
              <a:gd name="connsiteY2508" fmla="*/ 5391881 h 5973007"/>
              <a:gd name="connsiteX2509" fmla="*/ 2722728 w 6884782"/>
              <a:gd name="connsiteY2509" fmla="*/ 5391055 h 5973007"/>
              <a:gd name="connsiteX2510" fmla="*/ 2722263 w 6884782"/>
              <a:gd name="connsiteY2510" fmla="*/ 5391778 h 5973007"/>
              <a:gd name="connsiteX2511" fmla="*/ 2721488 w 6884782"/>
              <a:gd name="connsiteY2511" fmla="*/ 5390229 h 5973007"/>
              <a:gd name="connsiteX2512" fmla="*/ 2721954 w 6884782"/>
              <a:gd name="connsiteY2512" fmla="*/ 5389506 h 5973007"/>
              <a:gd name="connsiteX2513" fmla="*/ 2721798 w 6884782"/>
              <a:gd name="connsiteY2513" fmla="*/ 5389196 h 5973007"/>
              <a:gd name="connsiteX2514" fmla="*/ 2723502 w 6884782"/>
              <a:gd name="connsiteY2514" fmla="*/ 5388473 h 5973007"/>
              <a:gd name="connsiteX2515" fmla="*/ 2370339 w 6884782"/>
              <a:gd name="connsiteY2515" fmla="*/ 5387544 h 5973007"/>
              <a:gd name="connsiteX2516" fmla="*/ 2366621 w 6884782"/>
              <a:gd name="connsiteY2516" fmla="*/ 5390125 h 5973007"/>
              <a:gd name="connsiteX2517" fmla="*/ 2365847 w 6884782"/>
              <a:gd name="connsiteY2517" fmla="*/ 5389196 h 5973007"/>
              <a:gd name="connsiteX2518" fmla="*/ 2370339 w 6884782"/>
              <a:gd name="connsiteY2518" fmla="*/ 5387544 h 5973007"/>
              <a:gd name="connsiteX2519" fmla="*/ 2357250 w 6884782"/>
              <a:gd name="connsiteY2519" fmla="*/ 5387234 h 5973007"/>
              <a:gd name="connsiteX2520" fmla="*/ 2361819 w 6884782"/>
              <a:gd name="connsiteY2520" fmla="*/ 5387441 h 5973007"/>
              <a:gd name="connsiteX2521" fmla="*/ 2361819 w 6884782"/>
              <a:gd name="connsiteY2521" fmla="*/ 5388267 h 5973007"/>
              <a:gd name="connsiteX2522" fmla="*/ 2352990 w 6884782"/>
              <a:gd name="connsiteY2522" fmla="*/ 5390125 h 5973007"/>
              <a:gd name="connsiteX2523" fmla="*/ 2349892 w 6884782"/>
              <a:gd name="connsiteY2523" fmla="*/ 5389712 h 5973007"/>
              <a:gd name="connsiteX2524" fmla="*/ 2350667 w 6884782"/>
              <a:gd name="connsiteY2524" fmla="*/ 5389712 h 5973007"/>
              <a:gd name="connsiteX2525" fmla="*/ 2349892 w 6884782"/>
              <a:gd name="connsiteY2525" fmla="*/ 5388886 h 5973007"/>
              <a:gd name="connsiteX2526" fmla="*/ 2357250 w 6884782"/>
              <a:gd name="connsiteY2526" fmla="*/ 5387234 h 5973007"/>
              <a:gd name="connsiteX2527" fmla="*/ 2859346 w 6884782"/>
              <a:gd name="connsiteY2527" fmla="*/ 5386924 h 5973007"/>
              <a:gd name="connsiteX2528" fmla="*/ 2860586 w 6884782"/>
              <a:gd name="connsiteY2528" fmla="*/ 5391055 h 5973007"/>
              <a:gd name="connsiteX2529" fmla="*/ 2857488 w 6884782"/>
              <a:gd name="connsiteY2529" fmla="*/ 5388989 h 5973007"/>
              <a:gd name="connsiteX2530" fmla="*/ 2859346 w 6884782"/>
              <a:gd name="connsiteY2530" fmla="*/ 5386924 h 5973007"/>
              <a:gd name="connsiteX2531" fmla="*/ 2740076 w 6884782"/>
              <a:gd name="connsiteY2531" fmla="*/ 5385892 h 5973007"/>
              <a:gd name="connsiteX2532" fmla="*/ 2741470 w 6884782"/>
              <a:gd name="connsiteY2532" fmla="*/ 5389506 h 5973007"/>
              <a:gd name="connsiteX2533" fmla="*/ 2733725 w 6884782"/>
              <a:gd name="connsiteY2533" fmla="*/ 5391571 h 5973007"/>
              <a:gd name="connsiteX2534" fmla="*/ 2727220 w 6884782"/>
              <a:gd name="connsiteY2534" fmla="*/ 5388886 h 5973007"/>
              <a:gd name="connsiteX2535" fmla="*/ 2727529 w 6884782"/>
              <a:gd name="connsiteY2535" fmla="*/ 5386408 h 5973007"/>
              <a:gd name="connsiteX2536" fmla="*/ 2740076 w 6884782"/>
              <a:gd name="connsiteY2536" fmla="*/ 5385892 h 5973007"/>
              <a:gd name="connsiteX2537" fmla="*/ 3192838 w 6884782"/>
              <a:gd name="connsiteY2537" fmla="*/ 5385273 h 5973007"/>
              <a:gd name="connsiteX2538" fmla="*/ 3191289 w 6884782"/>
              <a:gd name="connsiteY2538" fmla="*/ 5386615 h 5973007"/>
              <a:gd name="connsiteX2539" fmla="*/ 3192683 w 6884782"/>
              <a:gd name="connsiteY2539" fmla="*/ 5387131 h 5973007"/>
              <a:gd name="connsiteX2540" fmla="*/ 3198569 w 6884782"/>
              <a:gd name="connsiteY2540" fmla="*/ 5389506 h 5973007"/>
              <a:gd name="connsiteX2541" fmla="*/ 3201357 w 6884782"/>
              <a:gd name="connsiteY2541" fmla="*/ 5393223 h 5973007"/>
              <a:gd name="connsiteX2542" fmla="*/ 3201512 w 6884782"/>
              <a:gd name="connsiteY2542" fmla="*/ 5393326 h 5973007"/>
              <a:gd name="connsiteX2543" fmla="*/ 3209102 w 6884782"/>
              <a:gd name="connsiteY2543" fmla="*/ 5396114 h 5973007"/>
              <a:gd name="connsiteX2544" fmla="*/ 3210342 w 6884782"/>
              <a:gd name="connsiteY2544" fmla="*/ 5391055 h 5973007"/>
              <a:gd name="connsiteX2545" fmla="*/ 3210496 w 6884782"/>
              <a:gd name="connsiteY2545" fmla="*/ 5390745 h 5973007"/>
              <a:gd name="connsiteX2546" fmla="*/ 2617553 w 6884782"/>
              <a:gd name="connsiteY2546" fmla="*/ 5383517 h 5973007"/>
              <a:gd name="connsiteX2547" fmla="*/ 2619722 w 6884782"/>
              <a:gd name="connsiteY2547" fmla="*/ 5385995 h 5973007"/>
              <a:gd name="connsiteX2548" fmla="*/ 2618327 w 6884782"/>
              <a:gd name="connsiteY2548" fmla="*/ 5386821 h 5973007"/>
              <a:gd name="connsiteX2549" fmla="*/ 2618638 w 6884782"/>
              <a:gd name="connsiteY2549" fmla="*/ 5387544 h 5973007"/>
              <a:gd name="connsiteX2550" fmla="*/ 2616934 w 6884782"/>
              <a:gd name="connsiteY2550" fmla="*/ 5387750 h 5973007"/>
              <a:gd name="connsiteX2551" fmla="*/ 2616469 w 6884782"/>
              <a:gd name="connsiteY2551" fmla="*/ 5387028 h 5973007"/>
              <a:gd name="connsiteX2552" fmla="*/ 2616314 w 6884782"/>
              <a:gd name="connsiteY2552" fmla="*/ 5386924 h 5973007"/>
              <a:gd name="connsiteX2553" fmla="*/ 2616469 w 6884782"/>
              <a:gd name="connsiteY2553" fmla="*/ 5385169 h 5973007"/>
              <a:gd name="connsiteX2554" fmla="*/ 2617553 w 6884782"/>
              <a:gd name="connsiteY2554" fmla="*/ 5383517 h 5973007"/>
              <a:gd name="connsiteX2555" fmla="*/ 3178587 w 6884782"/>
              <a:gd name="connsiteY2555" fmla="*/ 5382072 h 5973007"/>
              <a:gd name="connsiteX2556" fmla="*/ 3178587 w 6884782"/>
              <a:gd name="connsiteY2556" fmla="*/ 5382175 h 5973007"/>
              <a:gd name="connsiteX2557" fmla="*/ 3177194 w 6884782"/>
              <a:gd name="connsiteY2557" fmla="*/ 5383827 h 5973007"/>
              <a:gd name="connsiteX2558" fmla="*/ 3179362 w 6884782"/>
              <a:gd name="connsiteY2558" fmla="*/ 5385066 h 5973007"/>
              <a:gd name="connsiteX2559" fmla="*/ 3179827 w 6884782"/>
              <a:gd name="connsiteY2559" fmla="*/ 5383311 h 5973007"/>
              <a:gd name="connsiteX2560" fmla="*/ 2591124 w 6884782"/>
              <a:gd name="connsiteY2560" fmla="*/ 5379477 h 5973007"/>
              <a:gd name="connsiteX2561" fmla="*/ 2594009 w 6884782"/>
              <a:gd name="connsiteY2561" fmla="*/ 5389506 h 5973007"/>
              <a:gd name="connsiteX2562" fmla="*/ 2585335 w 6884782"/>
              <a:gd name="connsiteY2562" fmla="*/ 5387028 h 5973007"/>
              <a:gd name="connsiteX2563" fmla="*/ 2591124 w 6884782"/>
              <a:gd name="connsiteY2563" fmla="*/ 5379477 h 5973007"/>
              <a:gd name="connsiteX2564" fmla="*/ 3016256 w 6884782"/>
              <a:gd name="connsiteY2564" fmla="*/ 5378044 h 5973007"/>
              <a:gd name="connsiteX2565" fmla="*/ 3017495 w 6884782"/>
              <a:gd name="connsiteY2565" fmla="*/ 5389609 h 5973007"/>
              <a:gd name="connsiteX2566" fmla="*/ 3013158 w 6884782"/>
              <a:gd name="connsiteY2566" fmla="*/ 5389196 h 5973007"/>
              <a:gd name="connsiteX2567" fmla="*/ 3008976 w 6884782"/>
              <a:gd name="connsiteY2567" fmla="*/ 5382794 h 5973007"/>
              <a:gd name="connsiteX2568" fmla="*/ 3016256 w 6884782"/>
              <a:gd name="connsiteY2568" fmla="*/ 5378044 h 5973007"/>
              <a:gd name="connsiteX2569" fmla="*/ 2395587 w 6884782"/>
              <a:gd name="connsiteY2569" fmla="*/ 5376599 h 5973007"/>
              <a:gd name="connsiteX2570" fmla="*/ 2389701 w 6884782"/>
              <a:gd name="connsiteY2570" fmla="*/ 5382691 h 5973007"/>
              <a:gd name="connsiteX2571" fmla="*/ 2387687 w 6884782"/>
              <a:gd name="connsiteY2571" fmla="*/ 5382484 h 5973007"/>
              <a:gd name="connsiteX2572" fmla="*/ 2387997 w 6884782"/>
              <a:gd name="connsiteY2572" fmla="*/ 5379903 h 5973007"/>
              <a:gd name="connsiteX2573" fmla="*/ 2395587 w 6884782"/>
              <a:gd name="connsiteY2573" fmla="*/ 5376599 h 5973007"/>
              <a:gd name="connsiteX2574" fmla="*/ 2959622 w 6884782"/>
              <a:gd name="connsiteY2574" fmla="*/ 5376483 h 5973007"/>
              <a:gd name="connsiteX2575" fmla="*/ 2966844 w 6884782"/>
              <a:gd name="connsiteY2575" fmla="*/ 5379903 h 5973007"/>
              <a:gd name="connsiteX2576" fmla="*/ 2960648 w 6884782"/>
              <a:gd name="connsiteY2576" fmla="*/ 5384549 h 5973007"/>
              <a:gd name="connsiteX2577" fmla="*/ 2952749 w 6884782"/>
              <a:gd name="connsiteY2577" fmla="*/ 5380110 h 5973007"/>
              <a:gd name="connsiteX2578" fmla="*/ 2959622 w 6884782"/>
              <a:gd name="connsiteY2578" fmla="*/ 5376483 h 5973007"/>
              <a:gd name="connsiteX2579" fmla="*/ 2870189 w 6884782"/>
              <a:gd name="connsiteY2579" fmla="*/ 5374947 h 5973007"/>
              <a:gd name="connsiteX2580" fmla="*/ 2871118 w 6884782"/>
              <a:gd name="connsiteY2580" fmla="*/ 5376806 h 5973007"/>
              <a:gd name="connsiteX2581" fmla="*/ 2870344 w 6884782"/>
              <a:gd name="connsiteY2581" fmla="*/ 5379387 h 5973007"/>
              <a:gd name="connsiteX2582" fmla="*/ 2866936 w 6884782"/>
              <a:gd name="connsiteY2582" fmla="*/ 5380110 h 5973007"/>
              <a:gd name="connsiteX2583" fmla="*/ 2866007 w 6884782"/>
              <a:gd name="connsiteY2583" fmla="*/ 5378354 h 5973007"/>
              <a:gd name="connsiteX2584" fmla="*/ 2866007 w 6884782"/>
              <a:gd name="connsiteY2584" fmla="*/ 5375566 h 5973007"/>
              <a:gd name="connsiteX2585" fmla="*/ 2870189 w 6884782"/>
              <a:gd name="connsiteY2585" fmla="*/ 5374947 h 5973007"/>
              <a:gd name="connsiteX2586" fmla="*/ 2482484 w 6884782"/>
              <a:gd name="connsiteY2586" fmla="*/ 5374224 h 5973007"/>
              <a:gd name="connsiteX2587" fmla="*/ 2483258 w 6884782"/>
              <a:gd name="connsiteY2587" fmla="*/ 5374740 h 5973007"/>
              <a:gd name="connsiteX2588" fmla="*/ 2485892 w 6884782"/>
              <a:gd name="connsiteY2588" fmla="*/ 5376495 h 5973007"/>
              <a:gd name="connsiteX2589" fmla="*/ 2484807 w 6884782"/>
              <a:gd name="connsiteY2589" fmla="*/ 5381039 h 5973007"/>
              <a:gd name="connsiteX2590" fmla="*/ 2481554 w 6884782"/>
              <a:gd name="connsiteY2590" fmla="*/ 5381142 h 5973007"/>
              <a:gd name="connsiteX2591" fmla="*/ 2479850 w 6884782"/>
              <a:gd name="connsiteY2591" fmla="*/ 5379903 h 5973007"/>
              <a:gd name="connsiteX2592" fmla="*/ 2480625 w 6884782"/>
              <a:gd name="connsiteY2592" fmla="*/ 5375256 h 5973007"/>
              <a:gd name="connsiteX2593" fmla="*/ 2482484 w 6884782"/>
              <a:gd name="connsiteY2593" fmla="*/ 5374224 h 5973007"/>
              <a:gd name="connsiteX2594" fmla="*/ 2862444 w 6884782"/>
              <a:gd name="connsiteY2594" fmla="*/ 5373398 h 5973007"/>
              <a:gd name="connsiteX2595" fmla="*/ 2863219 w 6884782"/>
              <a:gd name="connsiteY2595" fmla="*/ 5374327 h 5973007"/>
              <a:gd name="connsiteX2596" fmla="*/ 2866781 w 6884782"/>
              <a:gd name="connsiteY2596" fmla="*/ 5384549 h 5973007"/>
              <a:gd name="connsiteX2597" fmla="*/ 2863219 w 6884782"/>
              <a:gd name="connsiteY2597" fmla="*/ 5385582 h 5973007"/>
              <a:gd name="connsiteX2598" fmla="*/ 2859346 w 6884782"/>
              <a:gd name="connsiteY2598" fmla="*/ 5383311 h 5973007"/>
              <a:gd name="connsiteX2599" fmla="*/ 2854700 w 6884782"/>
              <a:gd name="connsiteY2599" fmla="*/ 5374740 h 5973007"/>
              <a:gd name="connsiteX2600" fmla="*/ 2862444 w 6884782"/>
              <a:gd name="connsiteY2600" fmla="*/ 5373398 h 5973007"/>
              <a:gd name="connsiteX2601" fmla="*/ 3156128 w 6884782"/>
              <a:gd name="connsiteY2601" fmla="*/ 5371952 h 5973007"/>
              <a:gd name="connsiteX2602" fmla="*/ 3157212 w 6884782"/>
              <a:gd name="connsiteY2602" fmla="*/ 5375670 h 5973007"/>
              <a:gd name="connsiteX2603" fmla="*/ 3157522 w 6884782"/>
              <a:gd name="connsiteY2603" fmla="*/ 5375153 h 5973007"/>
              <a:gd name="connsiteX2604" fmla="*/ 3162788 w 6884782"/>
              <a:gd name="connsiteY2604" fmla="*/ 5379593 h 5973007"/>
              <a:gd name="connsiteX2605" fmla="*/ 3166970 w 6884782"/>
              <a:gd name="connsiteY2605" fmla="*/ 5380729 h 5973007"/>
              <a:gd name="connsiteX2606" fmla="*/ 3172082 w 6884782"/>
              <a:gd name="connsiteY2606" fmla="*/ 5381968 h 5973007"/>
              <a:gd name="connsiteX2607" fmla="*/ 3172856 w 6884782"/>
              <a:gd name="connsiteY2607" fmla="*/ 5382175 h 5973007"/>
              <a:gd name="connsiteX2608" fmla="*/ 3170378 w 6884782"/>
              <a:gd name="connsiteY2608" fmla="*/ 5379593 h 5973007"/>
              <a:gd name="connsiteX2609" fmla="*/ 3157057 w 6884782"/>
              <a:gd name="connsiteY2609" fmla="*/ 5373501 h 5973007"/>
              <a:gd name="connsiteX2610" fmla="*/ 1821696 w 6884782"/>
              <a:gd name="connsiteY2610" fmla="*/ 5371952 h 5973007"/>
              <a:gd name="connsiteX2611" fmla="*/ 1821542 w 6884782"/>
              <a:gd name="connsiteY2611" fmla="*/ 5373605 h 5973007"/>
              <a:gd name="connsiteX2612" fmla="*/ 1822316 w 6884782"/>
              <a:gd name="connsiteY2612" fmla="*/ 5373605 h 5973007"/>
              <a:gd name="connsiteX2613" fmla="*/ 1821387 w 6884782"/>
              <a:gd name="connsiteY2613" fmla="*/ 5375256 h 5973007"/>
              <a:gd name="connsiteX2614" fmla="*/ 1820612 w 6884782"/>
              <a:gd name="connsiteY2614" fmla="*/ 5375256 h 5973007"/>
              <a:gd name="connsiteX2615" fmla="*/ 1820302 w 6884782"/>
              <a:gd name="connsiteY2615" fmla="*/ 5375463 h 5973007"/>
              <a:gd name="connsiteX2616" fmla="*/ 1819063 w 6884782"/>
              <a:gd name="connsiteY2616" fmla="*/ 5374430 h 5973007"/>
              <a:gd name="connsiteX2617" fmla="*/ 1818134 w 6884782"/>
              <a:gd name="connsiteY2617" fmla="*/ 5373501 h 5973007"/>
              <a:gd name="connsiteX2618" fmla="*/ 1818444 w 6884782"/>
              <a:gd name="connsiteY2618" fmla="*/ 5372675 h 5973007"/>
              <a:gd name="connsiteX2619" fmla="*/ 1821696 w 6884782"/>
              <a:gd name="connsiteY2619" fmla="*/ 5371952 h 5973007"/>
              <a:gd name="connsiteX2620" fmla="*/ 2584095 w 6884782"/>
              <a:gd name="connsiteY2620" fmla="*/ 5368958 h 5973007"/>
              <a:gd name="connsiteX2621" fmla="*/ 2584250 w 6884782"/>
              <a:gd name="connsiteY2621" fmla="*/ 5378664 h 5973007"/>
              <a:gd name="connsiteX2622" fmla="*/ 2584095 w 6884782"/>
              <a:gd name="connsiteY2622" fmla="*/ 5368958 h 5973007"/>
              <a:gd name="connsiteX2623" fmla="*/ 2977842 w 6884782"/>
              <a:gd name="connsiteY2623" fmla="*/ 5368854 h 5973007"/>
              <a:gd name="connsiteX2624" fmla="*/ 2979856 w 6884782"/>
              <a:gd name="connsiteY2624" fmla="*/ 5368958 h 5973007"/>
              <a:gd name="connsiteX2625" fmla="*/ 2981869 w 6884782"/>
              <a:gd name="connsiteY2625" fmla="*/ 5370300 h 5973007"/>
              <a:gd name="connsiteX2626" fmla="*/ 2980165 w 6884782"/>
              <a:gd name="connsiteY2626" fmla="*/ 5374637 h 5973007"/>
              <a:gd name="connsiteX2627" fmla="*/ 2978152 w 6884782"/>
              <a:gd name="connsiteY2627" fmla="*/ 5374534 h 5973007"/>
              <a:gd name="connsiteX2628" fmla="*/ 2976603 w 6884782"/>
              <a:gd name="connsiteY2628" fmla="*/ 5372365 h 5973007"/>
              <a:gd name="connsiteX2629" fmla="*/ 2977842 w 6884782"/>
              <a:gd name="connsiteY2629" fmla="*/ 5368854 h 5973007"/>
              <a:gd name="connsiteX2630" fmla="*/ 2857178 w 6884782"/>
              <a:gd name="connsiteY2630" fmla="*/ 5365447 h 5973007"/>
              <a:gd name="connsiteX2631" fmla="*/ 2851137 w 6884782"/>
              <a:gd name="connsiteY2631" fmla="*/ 5370920 h 5973007"/>
              <a:gd name="connsiteX2632" fmla="*/ 2848658 w 6884782"/>
              <a:gd name="connsiteY2632" fmla="*/ 5370610 h 5973007"/>
              <a:gd name="connsiteX2633" fmla="*/ 2857178 w 6884782"/>
              <a:gd name="connsiteY2633" fmla="*/ 5365447 h 5973007"/>
              <a:gd name="connsiteX2634" fmla="*/ 2427031 w 6884782"/>
              <a:gd name="connsiteY2634" fmla="*/ 5361214 h 5973007"/>
              <a:gd name="connsiteX2635" fmla="*/ 2420215 w 6884782"/>
              <a:gd name="connsiteY2635" fmla="*/ 5388680 h 5973007"/>
              <a:gd name="connsiteX2636" fmla="*/ 2417272 w 6884782"/>
              <a:gd name="connsiteY2636" fmla="*/ 5382278 h 5973007"/>
              <a:gd name="connsiteX2637" fmla="*/ 2427031 w 6884782"/>
              <a:gd name="connsiteY2637" fmla="*/ 5361214 h 5973007"/>
              <a:gd name="connsiteX2638" fmla="*/ 2842618 w 6884782"/>
              <a:gd name="connsiteY2638" fmla="*/ 5360801 h 5973007"/>
              <a:gd name="connsiteX2639" fmla="*/ 2843547 w 6884782"/>
              <a:gd name="connsiteY2639" fmla="*/ 5360801 h 5973007"/>
              <a:gd name="connsiteX2640" fmla="*/ 2842308 w 6884782"/>
              <a:gd name="connsiteY2640" fmla="*/ 5371333 h 5973007"/>
              <a:gd name="connsiteX2641" fmla="*/ 2840914 w 6884782"/>
              <a:gd name="connsiteY2641" fmla="*/ 5372159 h 5973007"/>
              <a:gd name="connsiteX2642" fmla="*/ 2838900 w 6884782"/>
              <a:gd name="connsiteY2642" fmla="*/ 5371126 h 5973007"/>
              <a:gd name="connsiteX2643" fmla="*/ 2838745 w 6884782"/>
              <a:gd name="connsiteY2643" fmla="*/ 5366686 h 5973007"/>
              <a:gd name="connsiteX2644" fmla="*/ 2841998 w 6884782"/>
              <a:gd name="connsiteY2644" fmla="*/ 5363382 h 5973007"/>
              <a:gd name="connsiteX2645" fmla="*/ 2842618 w 6884782"/>
              <a:gd name="connsiteY2645" fmla="*/ 5360801 h 5973007"/>
              <a:gd name="connsiteX2646" fmla="*/ 2944694 w 6884782"/>
              <a:gd name="connsiteY2646" fmla="*/ 5358632 h 5973007"/>
              <a:gd name="connsiteX2647" fmla="*/ 2946553 w 6884782"/>
              <a:gd name="connsiteY2647" fmla="*/ 5358736 h 5973007"/>
              <a:gd name="connsiteX2648" fmla="*/ 2946243 w 6884782"/>
              <a:gd name="connsiteY2648" fmla="*/ 5359458 h 5973007"/>
              <a:gd name="connsiteX2649" fmla="*/ 2944849 w 6884782"/>
              <a:gd name="connsiteY2649" fmla="*/ 5359458 h 5973007"/>
              <a:gd name="connsiteX2650" fmla="*/ 2944694 w 6884782"/>
              <a:gd name="connsiteY2650" fmla="*/ 5358632 h 5973007"/>
              <a:gd name="connsiteX2651" fmla="*/ 2942371 w 6884782"/>
              <a:gd name="connsiteY2651" fmla="*/ 5358426 h 5973007"/>
              <a:gd name="connsiteX2652" fmla="*/ 2943610 w 6884782"/>
              <a:gd name="connsiteY2652" fmla="*/ 5359252 h 5973007"/>
              <a:gd name="connsiteX2653" fmla="*/ 2944229 w 6884782"/>
              <a:gd name="connsiteY2653" fmla="*/ 5359561 h 5973007"/>
              <a:gd name="connsiteX2654" fmla="*/ 2944075 w 6884782"/>
              <a:gd name="connsiteY2654" fmla="*/ 5359665 h 5973007"/>
              <a:gd name="connsiteX2655" fmla="*/ 2945469 w 6884782"/>
              <a:gd name="connsiteY2655" fmla="*/ 5361523 h 5973007"/>
              <a:gd name="connsiteX2656" fmla="*/ 2947172 w 6884782"/>
              <a:gd name="connsiteY2656" fmla="*/ 5361833 h 5973007"/>
              <a:gd name="connsiteX2657" fmla="*/ 2950115 w 6884782"/>
              <a:gd name="connsiteY2657" fmla="*/ 5368235 h 5973007"/>
              <a:gd name="connsiteX2658" fmla="*/ 2946863 w 6884782"/>
              <a:gd name="connsiteY2658" fmla="*/ 5365241 h 5973007"/>
              <a:gd name="connsiteX2659" fmla="*/ 2945314 w 6884782"/>
              <a:gd name="connsiteY2659" fmla="*/ 5363279 h 5973007"/>
              <a:gd name="connsiteX2660" fmla="*/ 2943765 w 6884782"/>
              <a:gd name="connsiteY2660" fmla="*/ 5362143 h 5973007"/>
              <a:gd name="connsiteX2661" fmla="*/ 2942835 w 6884782"/>
              <a:gd name="connsiteY2661" fmla="*/ 5360491 h 5973007"/>
              <a:gd name="connsiteX2662" fmla="*/ 2942680 w 6884782"/>
              <a:gd name="connsiteY2662" fmla="*/ 5360491 h 5973007"/>
              <a:gd name="connsiteX2663" fmla="*/ 2940977 w 6884782"/>
              <a:gd name="connsiteY2663" fmla="*/ 5360904 h 5973007"/>
              <a:gd name="connsiteX2664" fmla="*/ 2940047 w 6884782"/>
              <a:gd name="connsiteY2664" fmla="*/ 5360284 h 5973007"/>
              <a:gd name="connsiteX2665" fmla="*/ 2939428 w 6884782"/>
              <a:gd name="connsiteY2665" fmla="*/ 5358839 h 5973007"/>
              <a:gd name="connsiteX2666" fmla="*/ 2942061 w 6884782"/>
              <a:gd name="connsiteY2666" fmla="*/ 5358736 h 5973007"/>
              <a:gd name="connsiteX2667" fmla="*/ 2942371 w 6884782"/>
              <a:gd name="connsiteY2667" fmla="*/ 5358942 h 5973007"/>
              <a:gd name="connsiteX2668" fmla="*/ 2400544 w 6884782"/>
              <a:gd name="connsiteY2668" fmla="*/ 5357600 h 5973007"/>
              <a:gd name="connsiteX2669" fmla="*/ 2398685 w 6884782"/>
              <a:gd name="connsiteY2669" fmla="*/ 5364827 h 5973007"/>
              <a:gd name="connsiteX2670" fmla="*/ 2394967 w 6884782"/>
              <a:gd name="connsiteY2670" fmla="*/ 5365447 h 5973007"/>
              <a:gd name="connsiteX2671" fmla="*/ 2390940 w 6884782"/>
              <a:gd name="connsiteY2671" fmla="*/ 5364105 h 5973007"/>
              <a:gd name="connsiteX2672" fmla="*/ 2400544 w 6884782"/>
              <a:gd name="connsiteY2672" fmla="*/ 5357600 h 5973007"/>
              <a:gd name="connsiteX2673" fmla="*/ 2948722 w 6884782"/>
              <a:gd name="connsiteY2673" fmla="*/ 5356980 h 5973007"/>
              <a:gd name="connsiteX2674" fmla="*/ 2950580 w 6884782"/>
              <a:gd name="connsiteY2674" fmla="*/ 5357083 h 5973007"/>
              <a:gd name="connsiteX2675" fmla="*/ 2949961 w 6884782"/>
              <a:gd name="connsiteY2675" fmla="*/ 5358116 h 5973007"/>
              <a:gd name="connsiteX2676" fmla="*/ 2948722 w 6884782"/>
              <a:gd name="connsiteY2676" fmla="*/ 5356980 h 5973007"/>
              <a:gd name="connsiteX2677" fmla="*/ 2964211 w 6884782"/>
              <a:gd name="connsiteY2677" fmla="*/ 5354295 h 5973007"/>
              <a:gd name="connsiteX2678" fmla="*/ 2950735 w 6884782"/>
              <a:gd name="connsiteY2678" fmla="*/ 5357187 h 5973007"/>
              <a:gd name="connsiteX2679" fmla="*/ 2964211 w 6884782"/>
              <a:gd name="connsiteY2679" fmla="*/ 5354295 h 5973007"/>
              <a:gd name="connsiteX2680" fmla="*/ 2656122 w 6884782"/>
              <a:gd name="connsiteY2680" fmla="*/ 5353470 h 5973007"/>
              <a:gd name="connsiteX2681" fmla="*/ 2660305 w 6884782"/>
              <a:gd name="connsiteY2681" fmla="*/ 5354915 h 5973007"/>
              <a:gd name="connsiteX2682" fmla="*/ 2660924 w 6884782"/>
              <a:gd name="connsiteY2682" fmla="*/ 5357600 h 5973007"/>
              <a:gd name="connsiteX2683" fmla="*/ 2659840 w 6884782"/>
              <a:gd name="connsiteY2683" fmla="*/ 5358632 h 5973007"/>
              <a:gd name="connsiteX2684" fmla="*/ 2658446 w 6884782"/>
              <a:gd name="connsiteY2684" fmla="*/ 5358116 h 5973007"/>
              <a:gd name="connsiteX2685" fmla="*/ 2655967 w 6884782"/>
              <a:gd name="connsiteY2685" fmla="*/ 5356877 h 5973007"/>
              <a:gd name="connsiteX2686" fmla="*/ 2655658 w 6884782"/>
              <a:gd name="connsiteY2686" fmla="*/ 5355328 h 5973007"/>
              <a:gd name="connsiteX2687" fmla="*/ 2656122 w 6884782"/>
              <a:gd name="connsiteY2687" fmla="*/ 5353470 h 5973007"/>
              <a:gd name="connsiteX2688" fmla="*/ 2291497 w 6884782"/>
              <a:gd name="connsiteY2688" fmla="*/ 5350475 h 5973007"/>
              <a:gd name="connsiteX2689" fmla="*/ 2298157 w 6884782"/>
              <a:gd name="connsiteY2689" fmla="*/ 5352540 h 5973007"/>
              <a:gd name="connsiteX2690" fmla="*/ 2291807 w 6884782"/>
              <a:gd name="connsiteY2690" fmla="*/ 5364931 h 5973007"/>
              <a:gd name="connsiteX2691" fmla="*/ 2287469 w 6884782"/>
              <a:gd name="connsiteY2691" fmla="*/ 5362040 h 5973007"/>
              <a:gd name="connsiteX2692" fmla="*/ 2291497 w 6884782"/>
              <a:gd name="connsiteY2692" fmla="*/ 5350475 h 5973007"/>
              <a:gd name="connsiteX2693" fmla="*/ 2861515 w 6884782"/>
              <a:gd name="connsiteY2693" fmla="*/ 5349236 h 5973007"/>
              <a:gd name="connsiteX2694" fmla="*/ 2864303 w 6884782"/>
              <a:gd name="connsiteY2694" fmla="*/ 5356154 h 5973007"/>
              <a:gd name="connsiteX2695" fmla="*/ 2862134 w 6884782"/>
              <a:gd name="connsiteY2695" fmla="*/ 5358116 h 5973007"/>
              <a:gd name="connsiteX2696" fmla="*/ 2857488 w 6884782"/>
              <a:gd name="connsiteY2696" fmla="*/ 5354812 h 5973007"/>
              <a:gd name="connsiteX2697" fmla="*/ 2857952 w 6884782"/>
              <a:gd name="connsiteY2697" fmla="*/ 5351920 h 5973007"/>
              <a:gd name="connsiteX2698" fmla="*/ 2861515 w 6884782"/>
              <a:gd name="connsiteY2698" fmla="*/ 5349236 h 5973007"/>
              <a:gd name="connsiteX2699" fmla="*/ 2941132 w 6884782"/>
              <a:gd name="connsiteY2699" fmla="*/ 5347893 h 5973007"/>
              <a:gd name="connsiteX2700" fmla="*/ 2942216 w 6884782"/>
              <a:gd name="connsiteY2700" fmla="*/ 5348100 h 5973007"/>
              <a:gd name="connsiteX2701" fmla="*/ 2950270 w 6884782"/>
              <a:gd name="connsiteY2701" fmla="*/ 5353986 h 5973007"/>
              <a:gd name="connsiteX2702" fmla="*/ 2945933 w 6884782"/>
              <a:gd name="connsiteY2702" fmla="*/ 5358219 h 5973007"/>
              <a:gd name="connsiteX2703" fmla="*/ 2943455 w 6884782"/>
              <a:gd name="connsiteY2703" fmla="*/ 5358116 h 5973007"/>
              <a:gd name="connsiteX2704" fmla="*/ 2935555 w 6884782"/>
              <a:gd name="connsiteY2704" fmla="*/ 5354295 h 5973007"/>
              <a:gd name="connsiteX2705" fmla="*/ 2941132 w 6884782"/>
              <a:gd name="connsiteY2705" fmla="*/ 5347893 h 5973007"/>
              <a:gd name="connsiteX2706" fmla="*/ 2601909 w 6884782"/>
              <a:gd name="connsiteY2706" fmla="*/ 5347584 h 5973007"/>
              <a:gd name="connsiteX2707" fmla="*/ 2603613 w 6884782"/>
              <a:gd name="connsiteY2707" fmla="*/ 5350165 h 5973007"/>
              <a:gd name="connsiteX2708" fmla="*/ 2593389 w 6884782"/>
              <a:gd name="connsiteY2708" fmla="*/ 5363898 h 5973007"/>
              <a:gd name="connsiteX2709" fmla="*/ 2591221 w 6884782"/>
              <a:gd name="connsiteY2709" fmla="*/ 5362556 h 5973007"/>
              <a:gd name="connsiteX2710" fmla="*/ 2601909 w 6884782"/>
              <a:gd name="connsiteY2710" fmla="*/ 5347584 h 5973007"/>
              <a:gd name="connsiteX2711" fmla="*/ 2754172 w 6884782"/>
              <a:gd name="connsiteY2711" fmla="*/ 5347171 h 5973007"/>
              <a:gd name="connsiteX2712" fmla="*/ 2765944 w 6884782"/>
              <a:gd name="connsiteY2712" fmla="*/ 5353676 h 5973007"/>
              <a:gd name="connsiteX2713" fmla="*/ 2762226 w 6884782"/>
              <a:gd name="connsiteY2713" fmla="*/ 5359975 h 5973007"/>
              <a:gd name="connsiteX2714" fmla="*/ 2760213 w 6884782"/>
              <a:gd name="connsiteY2714" fmla="*/ 5359768 h 5973007"/>
              <a:gd name="connsiteX2715" fmla="*/ 2751074 w 6884782"/>
              <a:gd name="connsiteY2715" fmla="*/ 5355431 h 5973007"/>
              <a:gd name="connsiteX2716" fmla="*/ 2754172 w 6884782"/>
              <a:gd name="connsiteY2716" fmla="*/ 5347171 h 5973007"/>
              <a:gd name="connsiteX2717" fmla="*/ 2801880 w 6884782"/>
              <a:gd name="connsiteY2717" fmla="*/ 5346654 h 5973007"/>
              <a:gd name="connsiteX2718" fmla="*/ 2806372 w 6884782"/>
              <a:gd name="connsiteY2718" fmla="*/ 5350372 h 5973007"/>
              <a:gd name="connsiteX2719" fmla="*/ 2803584 w 6884782"/>
              <a:gd name="connsiteY2719" fmla="*/ 5357083 h 5973007"/>
              <a:gd name="connsiteX2720" fmla="*/ 2800796 w 6884782"/>
              <a:gd name="connsiteY2720" fmla="*/ 5359148 h 5973007"/>
              <a:gd name="connsiteX2721" fmla="*/ 2804823 w 6884782"/>
              <a:gd name="connsiteY2721" fmla="*/ 5361730 h 5973007"/>
              <a:gd name="connsiteX2722" fmla="*/ 2805442 w 6884782"/>
              <a:gd name="connsiteY2722" fmla="*/ 5362866 h 5973007"/>
              <a:gd name="connsiteX2723" fmla="*/ 2805907 w 6884782"/>
              <a:gd name="connsiteY2723" fmla="*/ 5361730 h 5973007"/>
              <a:gd name="connsiteX2724" fmla="*/ 2818453 w 6884782"/>
              <a:gd name="connsiteY2724" fmla="*/ 5354295 h 5973007"/>
              <a:gd name="connsiteX2725" fmla="*/ 2820157 w 6884782"/>
              <a:gd name="connsiteY2725" fmla="*/ 5356774 h 5973007"/>
              <a:gd name="connsiteX2726" fmla="*/ 2821087 w 6884782"/>
              <a:gd name="connsiteY2726" fmla="*/ 5356257 h 5973007"/>
              <a:gd name="connsiteX2727" fmla="*/ 2824804 w 6884782"/>
              <a:gd name="connsiteY2727" fmla="*/ 5355121 h 5973007"/>
              <a:gd name="connsiteX2728" fmla="*/ 2824495 w 6884782"/>
              <a:gd name="connsiteY2728" fmla="*/ 5354605 h 5973007"/>
              <a:gd name="connsiteX2729" fmla="*/ 2825424 w 6884782"/>
              <a:gd name="connsiteY2729" fmla="*/ 5352230 h 5973007"/>
              <a:gd name="connsiteX2730" fmla="*/ 2832085 w 6884782"/>
              <a:gd name="connsiteY2730" fmla="*/ 5350888 h 5973007"/>
              <a:gd name="connsiteX2731" fmla="*/ 2836267 w 6884782"/>
              <a:gd name="connsiteY2731" fmla="*/ 5349339 h 5973007"/>
              <a:gd name="connsiteX2732" fmla="*/ 2831310 w 6884782"/>
              <a:gd name="connsiteY2732" fmla="*/ 5352540 h 5973007"/>
              <a:gd name="connsiteX2733" fmla="*/ 2830535 w 6884782"/>
              <a:gd name="connsiteY2733" fmla="*/ 5355018 h 5973007"/>
              <a:gd name="connsiteX2734" fmla="*/ 2828987 w 6884782"/>
              <a:gd name="connsiteY2734" fmla="*/ 5355741 h 5973007"/>
              <a:gd name="connsiteX2735" fmla="*/ 2829296 w 6884782"/>
              <a:gd name="connsiteY2735" fmla="*/ 5356877 h 5973007"/>
              <a:gd name="connsiteX2736" fmla="*/ 2830535 w 6884782"/>
              <a:gd name="connsiteY2736" fmla="*/ 5359148 h 5973007"/>
              <a:gd name="connsiteX2737" fmla="*/ 2824340 w 6884782"/>
              <a:gd name="connsiteY2737" fmla="*/ 5361317 h 5973007"/>
              <a:gd name="connsiteX2738" fmla="*/ 2821707 w 6884782"/>
              <a:gd name="connsiteY2738" fmla="*/ 5361730 h 5973007"/>
              <a:gd name="connsiteX2739" fmla="*/ 2821707 w 6884782"/>
              <a:gd name="connsiteY2739" fmla="*/ 5362040 h 5973007"/>
              <a:gd name="connsiteX2740" fmla="*/ 2819228 w 6884782"/>
              <a:gd name="connsiteY2740" fmla="*/ 5366686 h 5973007"/>
              <a:gd name="connsiteX2741" fmla="*/ 2817834 w 6884782"/>
              <a:gd name="connsiteY2741" fmla="*/ 5367512 h 5973007"/>
              <a:gd name="connsiteX2742" fmla="*/ 2816130 w 6884782"/>
              <a:gd name="connsiteY2742" fmla="*/ 5377631 h 5973007"/>
              <a:gd name="connsiteX2743" fmla="*/ 2808695 w 6884782"/>
              <a:gd name="connsiteY2743" fmla="*/ 5375566 h 5973007"/>
              <a:gd name="connsiteX2744" fmla="*/ 2808850 w 6884782"/>
              <a:gd name="connsiteY2744" fmla="*/ 5369577 h 5973007"/>
              <a:gd name="connsiteX2745" fmla="*/ 2807456 w 6884782"/>
              <a:gd name="connsiteY2745" fmla="*/ 5368545 h 5973007"/>
              <a:gd name="connsiteX2746" fmla="*/ 2807301 w 6884782"/>
              <a:gd name="connsiteY2746" fmla="*/ 5373088 h 5973007"/>
              <a:gd name="connsiteX2747" fmla="*/ 2804823 w 6884782"/>
              <a:gd name="connsiteY2747" fmla="*/ 5379696 h 5973007"/>
              <a:gd name="connsiteX2748" fmla="*/ 2775547 w 6884782"/>
              <a:gd name="connsiteY2748" fmla="*/ 5401071 h 5973007"/>
              <a:gd name="connsiteX2749" fmla="*/ 2766408 w 6884782"/>
              <a:gd name="connsiteY2749" fmla="*/ 5396837 h 5973007"/>
              <a:gd name="connsiteX2750" fmla="*/ 2770900 w 6884782"/>
              <a:gd name="connsiteY2750" fmla="*/ 5386098 h 5973007"/>
              <a:gd name="connsiteX2751" fmla="*/ 2777406 w 6884782"/>
              <a:gd name="connsiteY2751" fmla="*/ 5376082 h 5973007"/>
              <a:gd name="connsiteX2752" fmla="*/ 2774308 w 6884782"/>
              <a:gd name="connsiteY2752" fmla="*/ 5376909 h 5973007"/>
              <a:gd name="connsiteX2753" fmla="*/ 2769042 w 6884782"/>
              <a:gd name="connsiteY2753" fmla="*/ 5377115 h 5973007"/>
              <a:gd name="connsiteX2754" fmla="*/ 2773224 w 6884782"/>
              <a:gd name="connsiteY2754" fmla="*/ 5371643 h 5973007"/>
              <a:gd name="connsiteX2755" fmla="*/ 2777871 w 6884782"/>
              <a:gd name="connsiteY2755" fmla="*/ 5368648 h 5973007"/>
              <a:gd name="connsiteX2756" fmla="*/ 2777406 w 6884782"/>
              <a:gd name="connsiteY2756" fmla="*/ 5366067 h 5973007"/>
              <a:gd name="connsiteX2757" fmla="*/ 2774928 w 6884782"/>
              <a:gd name="connsiteY2757" fmla="*/ 5369784 h 5973007"/>
              <a:gd name="connsiteX2758" fmla="*/ 2758974 w 6884782"/>
              <a:gd name="connsiteY2758" fmla="*/ 5375773 h 5973007"/>
              <a:gd name="connsiteX2759" fmla="*/ 2766099 w 6884782"/>
              <a:gd name="connsiteY2759" fmla="*/ 5366686 h 5973007"/>
              <a:gd name="connsiteX2760" fmla="*/ 2777251 w 6884782"/>
              <a:gd name="connsiteY2760" fmla="*/ 5364415 h 5973007"/>
              <a:gd name="connsiteX2761" fmla="*/ 2777251 w 6884782"/>
              <a:gd name="connsiteY2761" fmla="*/ 5361833 h 5973007"/>
              <a:gd name="connsiteX2762" fmla="*/ 2780969 w 6884782"/>
              <a:gd name="connsiteY2762" fmla="*/ 5361214 h 5973007"/>
              <a:gd name="connsiteX2763" fmla="*/ 2782673 w 6884782"/>
              <a:gd name="connsiteY2763" fmla="*/ 5362453 h 5973007"/>
              <a:gd name="connsiteX2764" fmla="*/ 2783137 w 6884782"/>
              <a:gd name="connsiteY2764" fmla="*/ 5357290 h 5973007"/>
              <a:gd name="connsiteX2765" fmla="*/ 2788404 w 6884782"/>
              <a:gd name="connsiteY2765" fmla="*/ 5363072 h 5973007"/>
              <a:gd name="connsiteX2766" fmla="*/ 2790727 w 6884782"/>
              <a:gd name="connsiteY2766" fmla="*/ 5363588 h 5973007"/>
              <a:gd name="connsiteX2767" fmla="*/ 2797078 w 6884782"/>
              <a:gd name="connsiteY2767" fmla="*/ 5359252 h 5973007"/>
              <a:gd name="connsiteX2768" fmla="*/ 2796303 w 6884782"/>
              <a:gd name="connsiteY2768" fmla="*/ 5359148 h 5973007"/>
              <a:gd name="connsiteX2769" fmla="*/ 2793980 w 6884782"/>
              <a:gd name="connsiteY2769" fmla="*/ 5355741 h 5973007"/>
              <a:gd name="connsiteX2770" fmla="*/ 2795064 w 6884782"/>
              <a:gd name="connsiteY2770" fmla="*/ 5347584 h 5973007"/>
              <a:gd name="connsiteX2771" fmla="*/ 2801880 w 6884782"/>
              <a:gd name="connsiteY2771" fmla="*/ 5346654 h 5973007"/>
              <a:gd name="connsiteX2772" fmla="*/ 2464671 w 6884782"/>
              <a:gd name="connsiteY2772" fmla="*/ 5344383 h 5973007"/>
              <a:gd name="connsiteX2773" fmla="*/ 2455377 w 6884782"/>
              <a:gd name="connsiteY2773" fmla="*/ 5363176 h 5973007"/>
              <a:gd name="connsiteX2774" fmla="*/ 2451504 w 6884782"/>
              <a:gd name="connsiteY2774" fmla="*/ 5364415 h 5973007"/>
              <a:gd name="connsiteX2775" fmla="*/ 2449956 w 6884782"/>
              <a:gd name="connsiteY2775" fmla="*/ 5363898 h 5973007"/>
              <a:gd name="connsiteX2776" fmla="*/ 2464671 w 6884782"/>
              <a:gd name="connsiteY2776" fmla="*/ 5344383 h 5973007"/>
              <a:gd name="connsiteX2777" fmla="*/ 1746727 w 6884782"/>
              <a:gd name="connsiteY2777" fmla="*/ 5343660 h 5973007"/>
              <a:gd name="connsiteX2778" fmla="*/ 1745332 w 6884782"/>
              <a:gd name="connsiteY2778" fmla="*/ 5348823 h 5973007"/>
              <a:gd name="connsiteX2779" fmla="*/ 1742699 w 6884782"/>
              <a:gd name="connsiteY2779" fmla="*/ 5350372 h 5973007"/>
              <a:gd name="connsiteX2780" fmla="*/ 1740376 w 6884782"/>
              <a:gd name="connsiteY2780" fmla="*/ 5348616 h 5973007"/>
              <a:gd name="connsiteX2781" fmla="*/ 1739756 w 6884782"/>
              <a:gd name="connsiteY2781" fmla="*/ 5345209 h 5973007"/>
              <a:gd name="connsiteX2782" fmla="*/ 1746727 w 6884782"/>
              <a:gd name="connsiteY2782" fmla="*/ 5343660 h 5973007"/>
              <a:gd name="connsiteX2783" fmla="*/ 2745342 w 6884782"/>
              <a:gd name="connsiteY2783" fmla="*/ 5343247 h 5973007"/>
              <a:gd name="connsiteX2784" fmla="*/ 2744723 w 6884782"/>
              <a:gd name="connsiteY2784" fmla="*/ 5355535 h 5973007"/>
              <a:gd name="connsiteX2785" fmla="*/ 2745962 w 6884782"/>
              <a:gd name="connsiteY2785" fmla="*/ 5356051 h 5973007"/>
              <a:gd name="connsiteX2786" fmla="*/ 2746427 w 6884782"/>
              <a:gd name="connsiteY2786" fmla="*/ 5355535 h 5973007"/>
              <a:gd name="connsiteX2787" fmla="*/ 2752158 w 6884782"/>
              <a:gd name="connsiteY2787" fmla="*/ 5362246 h 5973007"/>
              <a:gd name="connsiteX2788" fmla="*/ 2751693 w 6884782"/>
              <a:gd name="connsiteY2788" fmla="*/ 5364311 h 5973007"/>
              <a:gd name="connsiteX2789" fmla="*/ 2751848 w 6884782"/>
              <a:gd name="connsiteY2789" fmla="*/ 5364518 h 5973007"/>
              <a:gd name="connsiteX2790" fmla="*/ 2747976 w 6884782"/>
              <a:gd name="connsiteY2790" fmla="*/ 5367615 h 5973007"/>
              <a:gd name="connsiteX2791" fmla="*/ 2744413 w 6884782"/>
              <a:gd name="connsiteY2791" fmla="*/ 5367203 h 5973007"/>
              <a:gd name="connsiteX2792" fmla="*/ 2743329 w 6884782"/>
              <a:gd name="connsiteY2792" fmla="*/ 5366686 h 5973007"/>
              <a:gd name="connsiteX2793" fmla="*/ 2742245 w 6884782"/>
              <a:gd name="connsiteY2793" fmla="*/ 5370610 h 5973007"/>
              <a:gd name="connsiteX2794" fmla="*/ 2738527 w 6884782"/>
              <a:gd name="connsiteY2794" fmla="*/ 5364105 h 5973007"/>
              <a:gd name="connsiteX2795" fmla="*/ 2738218 w 6884782"/>
              <a:gd name="connsiteY2795" fmla="*/ 5360284 h 5973007"/>
              <a:gd name="connsiteX2796" fmla="*/ 2738063 w 6884782"/>
              <a:gd name="connsiteY2796" fmla="*/ 5360078 h 5973007"/>
              <a:gd name="connsiteX2797" fmla="*/ 2737288 w 6884782"/>
              <a:gd name="connsiteY2797" fmla="*/ 5357187 h 5973007"/>
              <a:gd name="connsiteX2798" fmla="*/ 2737908 w 6884782"/>
              <a:gd name="connsiteY2798" fmla="*/ 5356154 h 5973007"/>
              <a:gd name="connsiteX2799" fmla="*/ 2737753 w 6884782"/>
              <a:gd name="connsiteY2799" fmla="*/ 5355121 h 5973007"/>
              <a:gd name="connsiteX2800" fmla="*/ 2745342 w 6884782"/>
              <a:gd name="connsiteY2800" fmla="*/ 5343247 h 5973007"/>
              <a:gd name="connsiteX2801" fmla="*/ 2514238 w 6884782"/>
              <a:gd name="connsiteY2801" fmla="*/ 5343041 h 5973007"/>
              <a:gd name="connsiteX2802" fmla="*/ 2528333 w 6884782"/>
              <a:gd name="connsiteY2802" fmla="*/ 5352127 h 5973007"/>
              <a:gd name="connsiteX2803" fmla="*/ 2527713 w 6884782"/>
              <a:gd name="connsiteY2803" fmla="*/ 5370920 h 5973007"/>
              <a:gd name="connsiteX2804" fmla="*/ 2522602 w 6884782"/>
              <a:gd name="connsiteY2804" fmla="*/ 5371643 h 5973007"/>
              <a:gd name="connsiteX2805" fmla="*/ 2514238 w 6884782"/>
              <a:gd name="connsiteY2805" fmla="*/ 5362040 h 5973007"/>
              <a:gd name="connsiteX2806" fmla="*/ 2512534 w 6884782"/>
              <a:gd name="connsiteY2806" fmla="*/ 5355844 h 5973007"/>
              <a:gd name="connsiteX2807" fmla="*/ 2512069 w 6884782"/>
              <a:gd name="connsiteY2807" fmla="*/ 5345003 h 5973007"/>
              <a:gd name="connsiteX2808" fmla="*/ 2514238 w 6884782"/>
              <a:gd name="connsiteY2808" fmla="*/ 5343041 h 5973007"/>
              <a:gd name="connsiteX2809" fmla="*/ 2750454 w 6884782"/>
              <a:gd name="connsiteY2809" fmla="*/ 5342731 h 5973007"/>
              <a:gd name="connsiteX2810" fmla="*/ 2762226 w 6884782"/>
              <a:gd name="connsiteY2810" fmla="*/ 5348410 h 5973007"/>
              <a:gd name="connsiteX2811" fmla="*/ 2759748 w 6884782"/>
              <a:gd name="connsiteY2811" fmla="*/ 5348616 h 5973007"/>
              <a:gd name="connsiteX2812" fmla="*/ 2750454 w 6884782"/>
              <a:gd name="connsiteY2812" fmla="*/ 5342731 h 5973007"/>
              <a:gd name="connsiteX2813" fmla="*/ 2665106 w 6884782"/>
              <a:gd name="connsiteY2813" fmla="*/ 5342214 h 5973007"/>
              <a:gd name="connsiteX2814" fmla="*/ 2666191 w 6884782"/>
              <a:gd name="connsiteY2814" fmla="*/ 5348307 h 5973007"/>
              <a:gd name="connsiteX2815" fmla="*/ 2664332 w 6884782"/>
              <a:gd name="connsiteY2815" fmla="*/ 5350475 h 5973007"/>
              <a:gd name="connsiteX2816" fmla="*/ 2659530 w 6884782"/>
              <a:gd name="connsiteY2816" fmla="*/ 5352540 h 5973007"/>
              <a:gd name="connsiteX2817" fmla="*/ 2659840 w 6884782"/>
              <a:gd name="connsiteY2817" fmla="*/ 5353263 h 5973007"/>
              <a:gd name="connsiteX2818" fmla="*/ 2656897 w 6884782"/>
              <a:gd name="connsiteY2818" fmla="*/ 5349339 h 5973007"/>
              <a:gd name="connsiteX2819" fmla="*/ 2665106 w 6884782"/>
              <a:gd name="connsiteY2819" fmla="*/ 5342214 h 5973007"/>
              <a:gd name="connsiteX2820" fmla="*/ 2558073 w 6884782"/>
              <a:gd name="connsiteY2820" fmla="*/ 5339840 h 5973007"/>
              <a:gd name="connsiteX2821" fmla="*/ 2560087 w 6884782"/>
              <a:gd name="connsiteY2821" fmla="*/ 5348410 h 5973007"/>
              <a:gd name="connsiteX2822" fmla="*/ 2554201 w 6884782"/>
              <a:gd name="connsiteY2822" fmla="*/ 5343144 h 5973007"/>
              <a:gd name="connsiteX2823" fmla="*/ 2558073 w 6884782"/>
              <a:gd name="connsiteY2823" fmla="*/ 5339840 h 5973007"/>
              <a:gd name="connsiteX2824" fmla="*/ 2448097 w 6884782"/>
              <a:gd name="connsiteY2824" fmla="*/ 5339633 h 5973007"/>
              <a:gd name="connsiteX2825" fmla="*/ 2451194 w 6884782"/>
              <a:gd name="connsiteY2825" fmla="*/ 5340872 h 5973007"/>
              <a:gd name="connsiteX2826" fmla="*/ 2447322 w 6884782"/>
              <a:gd name="connsiteY2826" fmla="*/ 5344693 h 5973007"/>
              <a:gd name="connsiteX2827" fmla="*/ 2448097 w 6884782"/>
              <a:gd name="connsiteY2827" fmla="*/ 5339633 h 5973007"/>
              <a:gd name="connsiteX2828" fmla="*/ 2284372 w 6884782"/>
              <a:gd name="connsiteY2828" fmla="*/ 5339323 h 5973007"/>
              <a:gd name="connsiteX2829" fmla="*/ 2279725 w 6884782"/>
              <a:gd name="connsiteY2829" fmla="*/ 5349236 h 5973007"/>
              <a:gd name="connsiteX2830" fmla="*/ 2284372 w 6884782"/>
              <a:gd name="connsiteY2830" fmla="*/ 5339323 h 5973007"/>
              <a:gd name="connsiteX2831" fmla="*/ 2670992 w 6884782"/>
              <a:gd name="connsiteY2831" fmla="*/ 5339117 h 5973007"/>
              <a:gd name="connsiteX2832" fmla="*/ 2673626 w 6884782"/>
              <a:gd name="connsiteY2832" fmla="*/ 5343557 h 5973007"/>
              <a:gd name="connsiteX2833" fmla="*/ 2672077 w 6884782"/>
              <a:gd name="connsiteY2833" fmla="*/ 5346138 h 5973007"/>
              <a:gd name="connsiteX2834" fmla="*/ 2675174 w 6884782"/>
              <a:gd name="connsiteY2834" fmla="*/ 5344383 h 5973007"/>
              <a:gd name="connsiteX2835" fmla="*/ 2680596 w 6884782"/>
              <a:gd name="connsiteY2835" fmla="*/ 5344280 h 5973007"/>
              <a:gd name="connsiteX2836" fmla="*/ 2682764 w 6884782"/>
              <a:gd name="connsiteY2836" fmla="*/ 5344796 h 5973007"/>
              <a:gd name="connsiteX2837" fmla="*/ 2686637 w 6884782"/>
              <a:gd name="connsiteY2837" fmla="*/ 5344486 h 5973007"/>
              <a:gd name="connsiteX2838" fmla="*/ 2687411 w 6884782"/>
              <a:gd name="connsiteY2838" fmla="*/ 5355638 h 5973007"/>
              <a:gd name="connsiteX2839" fmla="*/ 2679357 w 6884782"/>
              <a:gd name="connsiteY2839" fmla="*/ 5365654 h 5973007"/>
              <a:gd name="connsiteX2840" fmla="*/ 2676569 w 6884782"/>
              <a:gd name="connsiteY2840" fmla="*/ 5365757 h 5973007"/>
              <a:gd name="connsiteX2841" fmla="*/ 2675794 w 6884782"/>
              <a:gd name="connsiteY2841" fmla="*/ 5368339 h 5973007"/>
              <a:gd name="connsiteX2842" fmla="*/ 2666500 w 6884782"/>
              <a:gd name="connsiteY2842" fmla="*/ 5371849 h 5973007"/>
              <a:gd name="connsiteX2843" fmla="*/ 2663248 w 6884782"/>
              <a:gd name="connsiteY2843" fmla="*/ 5371746 h 5973007"/>
              <a:gd name="connsiteX2844" fmla="*/ 2658601 w 6884782"/>
              <a:gd name="connsiteY2844" fmla="*/ 5365344 h 5973007"/>
              <a:gd name="connsiteX2845" fmla="*/ 2658446 w 6884782"/>
              <a:gd name="connsiteY2845" fmla="*/ 5362040 h 5973007"/>
              <a:gd name="connsiteX2846" fmla="*/ 2667739 w 6884782"/>
              <a:gd name="connsiteY2846" fmla="*/ 5362246 h 5973007"/>
              <a:gd name="connsiteX2847" fmla="*/ 2670218 w 6884782"/>
              <a:gd name="connsiteY2847" fmla="*/ 5362040 h 5973007"/>
              <a:gd name="connsiteX2848" fmla="*/ 2668514 w 6884782"/>
              <a:gd name="connsiteY2848" fmla="*/ 5359871 h 5973007"/>
              <a:gd name="connsiteX2849" fmla="*/ 2668050 w 6884782"/>
              <a:gd name="connsiteY2849" fmla="*/ 5354089 h 5973007"/>
              <a:gd name="connsiteX2850" fmla="*/ 2670683 w 6884782"/>
              <a:gd name="connsiteY2850" fmla="*/ 5347997 h 5973007"/>
              <a:gd name="connsiteX2851" fmla="*/ 2667895 w 6884782"/>
              <a:gd name="connsiteY2851" fmla="*/ 5346551 h 5973007"/>
              <a:gd name="connsiteX2852" fmla="*/ 2670992 w 6884782"/>
              <a:gd name="connsiteY2852" fmla="*/ 5339117 h 5973007"/>
              <a:gd name="connsiteX2853" fmla="*/ 2824650 w 6884782"/>
              <a:gd name="connsiteY2853" fmla="*/ 5337052 h 5973007"/>
              <a:gd name="connsiteX2854" fmla="*/ 2825734 w 6884782"/>
              <a:gd name="connsiteY2854" fmla="*/ 5338807 h 5973007"/>
              <a:gd name="connsiteX2855" fmla="*/ 2825424 w 6884782"/>
              <a:gd name="connsiteY2855" fmla="*/ 5341079 h 5973007"/>
              <a:gd name="connsiteX2856" fmla="*/ 2820003 w 6884782"/>
              <a:gd name="connsiteY2856" fmla="*/ 5347068 h 5973007"/>
              <a:gd name="connsiteX2857" fmla="*/ 2818453 w 6884782"/>
              <a:gd name="connsiteY2857" fmla="*/ 5348100 h 5973007"/>
              <a:gd name="connsiteX2858" fmla="*/ 2817060 w 6884782"/>
              <a:gd name="connsiteY2858" fmla="*/ 5349236 h 5973007"/>
              <a:gd name="connsiteX2859" fmla="*/ 2815356 w 6884782"/>
              <a:gd name="connsiteY2859" fmla="*/ 5349443 h 5973007"/>
              <a:gd name="connsiteX2860" fmla="*/ 2813652 w 6884782"/>
              <a:gd name="connsiteY2860" fmla="*/ 5348307 h 5973007"/>
              <a:gd name="connsiteX2861" fmla="*/ 2824650 w 6884782"/>
              <a:gd name="connsiteY2861" fmla="*/ 5337052 h 5973007"/>
              <a:gd name="connsiteX2862" fmla="*/ 2731557 w 6884782"/>
              <a:gd name="connsiteY2862" fmla="*/ 5336019 h 5973007"/>
              <a:gd name="connsiteX2863" fmla="*/ 2733416 w 6884782"/>
              <a:gd name="connsiteY2863" fmla="*/ 5339530 h 5973007"/>
              <a:gd name="connsiteX2864" fmla="*/ 2728459 w 6884782"/>
              <a:gd name="connsiteY2864" fmla="*/ 5341079 h 5973007"/>
              <a:gd name="connsiteX2865" fmla="*/ 2726600 w 6884782"/>
              <a:gd name="connsiteY2865" fmla="*/ 5337465 h 5973007"/>
              <a:gd name="connsiteX2866" fmla="*/ 2731557 w 6884782"/>
              <a:gd name="connsiteY2866" fmla="*/ 5336019 h 5973007"/>
              <a:gd name="connsiteX2867" fmla="*/ 2621426 w 6884782"/>
              <a:gd name="connsiteY2867" fmla="*/ 5333335 h 5973007"/>
              <a:gd name="connsiteX2868" fmla="*/ 2636915 w 6884782"/>
              <a:gd name="connsiteY2868" fmla="*/ 5339323 h 5973007"/>
              <a:gd name="connsiteX2869" fmla="*/ 2636141 w 6884782"/>
              <a:gd name="connsiteY2869" fmla="*/ 5341079 h 5973007"/>
              <a:gd name="connsiteX2870" fmla="*/ 2633972 w 6884782"/>
              <a:gd name="connsiteY2870" fmla="*/ 5341491 h 5973007"/>
              <a:gd name="connsiteX2871" fmla="*/ 2625918 w 6884782"/>
              <a:gd name="connsiteY2871" fmla="*/ 5338807 h 5973007"/>
              <a:gd name="connsiteX2872" fmla="*/ 2624214 w 6884782"/>
              <a:gd name="connsiteY2872" fmla="*/ 5337775 h 5973007"/>
              <a:gd name="connsiteX2873" fmla="*/ 2622510 w 6884782"/>
              <a:gd name="connsiteY2873" fmla="*/ 5336845 h 5973007"/>
              <a:gd name="connsiteX2874" fmla="*/ 2621426 w 6884782"/>
              <a:gd name="connsiteY2874" fmla="*/ 5333335 h 5973007"/>
              <a:gd name="connsiteX2875" fmla="*/ 2344936 w 6884782"/>
              <a:gd name="connsiteY2875" fmla="*/ 5333128 h 5973007"/>
              <a:gd name="connsiteX2876" fmla="*/ 2348963 w 6884782"/>
              <a:gd name="connsiteY2876" fmla="*/ 5333231 h 5973007"/>
              <a:gd name="connsiteX2877" fmla="*/ 2350512 w 6884782"/>
              <a:gd name="connsiteY2877" fmla="*/ 5334986 h 5973007"/>
              <a:gd name="connsiteX2878" fmla="*/ 2350357 w 6884782"/>
              <a:gd name="connsiteY2878" fmla="*/ 5335916 h 5973007"/>
              <a:gd name="connsiteX2879" fmla="*/ 2348498 w 6884782"/>
              <a:gd name="connsiteY2879" fmla="*/ 5336536 h 5973007"/>
              <a:gd name="connsiteX2880" fmla="*/ 2340443 w 6884782"/>
              <a:gd name="connsiteY2880" fmla="*/ 5335709 h 5973007"/>
              <a:gd name="connsiteX2881" fmla="*/ 2338740 w 6884782"/>
              <a:gd name="connsiteY2881" fmla="*/ 5335709 h 5973007"/>
              <a:gd name="connsiteX2882" fmla="*/ 2337191 w 6884782"/>
              <a:gd name="connsiteY2882" fmla="*/ 5333954 h 5973007"/>
              <a:gd name="connsiteX2883" fmla="*/ 2344936 w 6884782"/>
              <a:gd name="connsiteY2883" fmla="*/ 5333128 h 5973007"/>
              <a:gd name="connsiteX2884" fmla="*/ 2590679 w 6884782"/>
              <a:gd name="connsiteY2884" fmla="*/ 5333102 h 5973007"/>
              <a:gd name="connsiteX2885" fmla="*/ 2596487 w 6884782"/>
              <a:gd name="connsiteY2885" fmla="*/ 5334986 h 5973007"/>
              <a:gd name="connsiteX2886" fmla="*/ 2597881 w 6884782"/>
              <a:gd name="connsiteY2886" fmla="*/ 5340149 h 5973007"/>
              <a:gd name="connsiteX2887" fmla="*/ 2592615 w 6884782"/>
              <a:gd name="connsiteY2887" fmla="*/ 5341698 h 5973007"/>
              <a:gd name="connsiteX2888" fmla="*/ 2587658 w 6884782"/>
              <a:gd name="connsiteY2888" fmla="*/ 5340356 h 5973007"/>
              <a:gd name="connsiteX2889" fmla="*/ 2590679 w 6884782"/>
              <a:gd name="connsiteY2889" fmla="*/ 5333102 h 5973007"/>
              <a:gd name="connsiteX2890" fmla="*/ 2787475 w 6884782"/>
              <a:gd name="connsiteY2890" fmla="*/ 5332921 h 5973007"/>
              <a:gd name="connsiteX2891" fmla="*/ 2786700 w 6884782"/>
              <a:gd name="connsiteY2891" fmla="*/ 5335090 h 5973007"/>
              <a:gd name="connsiteX2892" fmla="*/ 2786080 w 6884782"/>
              <a:gd name="connsiteY2892" fmla="*/ 5336019 h 5973007"/>
              <a:gd name="connsiteX2893" fmla="*/ 2789643 w 6884782"/>
              <a:gd name="connsiteY2893" fmla="*/ 5337775 h 5973007"/>
              <a:gd name="connsiteX2894" fmla="*/ 2790572 w 6884782"/>
              <a:gd name="connsiteY2894" fmla="*/ 5339530 h 5973007"/>
              <a:gd name="connsiteX2895" fmla="*/ 2791502 w 6884782"/>
              <a:gd name="connsiteY2895" fmla="*/ 5333954 h 5973007"/>
              <a:gd name="connsiteX2896" fmla="*/ 2790418 w 6884782"/>
              <a:gd name="connsiteY2896" fmla="*/ 5335193 h 5973007"/>
              <a:gd name="connsiteX2897" fmla="*/ 2788249 w 6884782"/>
              <a:gd name="connsiteY2897" fmla="*/ 5334057 h 5973007"/>
              <a:gd name="connsiteX2898" fmla="*/ 2828832 w 6884782"/>
              <a:gd name="connsiteY2898" fmla="*/ 5330856 h 5973007"/>
              <a:gd name="connsiteX2899" fmla="*/ 2830381 w 6884782"/>
              <a:gd name="connsiteY2899" fmla="*/ 5330856 h 5973007"/>
              <a:gd name="connsiteX2900" fmla="*/ 2829606 w 6884782"/>
              <a:gd name="connsiteY2900" fmla="*/ 5331579 h 5973007"/>
              <a:gd name="connsiteX2901" fmla="*/ 2828832 w 6884782"/>
              <a:gd name="connsiteY2901" fmla="*/ 5330856 h 5973007"/>
              <a:gd name="connsiteX2902" fmla="*/ 2244563 w 6884782"/>
              <a:gd name="connsiteY2902" fmla="*/ 5330547 h 5973007"/>
              <a:gd name="connsiteX2903" fmla="*/ 2248591 w 6884782"/>
              <a:gd name="connsiteY2903" fmla="*/ 5330650 h 5973007"/>
              <a:gd name="connsiteX2904" fmla="*/ 2261602 w 6884782"/>
              <a:gd name="connsiteY2904" fmla="*/ 5334367 h 5973007"/>
              <a:gd name="connsiteX2905" fmla="*/ 2255716 w 6884782"/>
              <a:gd name="connsiteY2905" fmla="*/ 5335296 h 5973007"/>
              <a:gd name="connsiteX2906" fmla="*/ 2242395 w 6884782"/>
              <a:gd name="connsiteY2906" fmla="*/ 5334986 h 5973007"/>
              <a:gd name="connsiteX2907" fmla="*/ 2241001 w 6884782"/>
              <a:gd name="connsiteY2907" fmla="*/ 5333128 h 5973007"/>
              <a:gd name="connsiteX2908" fmla="*/ 2240226 w 6884782"/>
              <a:gd name="connsiteY2908" fmla="*/ 5333128 h 5973007"/>
              <a:gd name="connsiteX2909" fmla="*/ 2239452 w 6884782"/>
              <a:gd name="connsiteY2909" fmla="*/ 5332302 h 5973007"/>
              <a:gd name="connsiteX2910" fmla="*/ 2239452 w 6884782"/>
              <a:gd name="connsiteY2910" fmla="*/ 5331373 h 5973007"/>
              <a:gd name="connsiteX2911" fmla="*/ 2244563 w 6884782"/>
              <a:gd name="connsiteY2911" fmla="*/ 5330547 h 5973007"/>
              <a:gd name="connsiteX2912" fmla="*/ 2425946 w 6884782"/>
              <a:gd name="connsiteY2912" fmla="*/ 5329617 h 5973007"/>
              <a:gd name="connsiteX2913" fmla="*/ 2423003 w 6884782"/>
              <a:gd name="connsiteY2913" fmla="*/ 5336019 h 5973007"/>
              <a:gd name="connsiteX2914" fmla="*/ 2420370 w 6884782"/>
              <a:gd name="connsiteY2914" fmla="*/ 5336019 h 5973007"/>
              <a:gd name="connsiteX2915" fmla="*/ 2425946 w 6884782"/>
              <a:gd name="connsiteY2915" fmla="*/ 5329617 h 5973007"/>
              <a:gd name="connsiteX2916" fmla="*/ 2607950 w 6884782"/>
              <a:gd name="connsiteY2916" fmla="*/ 5327965 h 5973007"/>
              <a:gd name="connsiteX2917" fmla="*/ 2614765 w 6884782"/>
              <a:gd name="connsiteY2917" fmla="*/ 5330237 h 5973007"/>
              <a:gd name="connsiteX2918" fmla="*/ 2610118 w 6884782"/>
              <a:gd name="connsiteY2918" fmla="*/ 5342421 h 5973007"/>
              <a:gd name="connsiteX2919" fmla="*/ 2607950 w 6884782"/>
              <a:gd name="connsiteY2919" fmla="*/ 5327965 h 5973007"/>
              <a:gd name="connsiteX2920" fmla="*/ 2394038 w 6884782"/>
              <a:gd name="connsiteY2920" fmla="*/ 5326210 h 5973007"/>
              <a:gd name="connsiteX2921" fmla="*/ 2399459 w 6884782"/>
              <a:gd name="connsiteY2921" fmla="*/ 5328894 h 5973007"/>
              <a:gd name="connsiteX2922" fmla="*/ 2398530 w 6884782"/>
              <a:gd name="connsiteY2922" fmla="*/ 5330650 h 5973007"/>
              <a:gd name="connsiteX2923" fmla="*/ 2395897 w 6884782"/>
              <a:gd name="connsiteY2923" fmla="*/ 5331992 h 5973007"/>
              <a:gd name="connsiteX2924" fmla="*/ 2393418 w 6884782"/>
              <a:gd name="connsiteY2924" fmla="*/ 5331373 h 5973007"/>
              <a:gd name="connsiteX2925" fmla="*/ 2394038 w 6884782"/>
              <a:gd name="connsiteY2925" fmla="*/ 5326210 h 5973007"/>
              <a:gd name="connsiteX2926" fmla="*/ 2677227 w 6884782"/>
              <a:gd name="connsiteY2926" fmla="*/ 5323641 h 5973007"/>
              <a:gd name="connsiteX2927" fmla="*/ 2678273 w 6884782"/>
              <a:gd name="connsiteY2927" fmla="*/ 5329927 h 5973007"/>
              <a:gd name="connsiteX2928" fmla="*/ 2671302 w 6884782"/>
              <a:gd name="connsiteY2928" fmla="*/ 5326726 h 5973007"/>
              <a:gd name="connsiteX2929" fmla="*/ 2677227 w 6884782"/>
              <a:gd name="connsiteY2929" fmla="*/ 5323641 h 5973007"/>
              <a:gd name="connsiteX2930" fmla="*/ 2731867 w 6884782"/>
              <a:gd name="connsiteY2930" fmla="*/ 5322802 h 5973007"/>
              <a:gd name="connsiteX2931" fmla="*/ 2740386 w 6884782"/>
              <a:gd name="connsiteY2931" fmla="*/ 5328481 h 5973007"/>
              <a:gd name="connsiteX2932" fmla="*/ 2736668 w 6884782"/>
              <a:gd name="connsiteY2932" fmla="*/ 5331166 h 5973007"/>
              <a:gd name="connsiteX2933" fmla="*/ 2731867 w 6884782"/>
              <a:gd name="connsiteY2933" fmla="*/ 5322802 h 5973007"/>
              <a:gd name="connsiteX2934" fmla="*/ 2689348 w 6884782"/>
              <a:gd name="connsiteY2934" fmla="*/ 5322312 h 5973007"/>
              <a:gd name="connsiteX2935" fmla="*/ 2694537 w 6884782"/>
              <a:gd name="connsiteY2935" fmla="*/ 5325900 h 5973007"/>
              <a:gd name="connsiteX2936" fmla="*/ 2692988 w 6884782"/>
              <a:gd name="connsiteY2936" fmla="*/ 5347893 h 5973007"/>
              <a:gd name="connsiteX2937" fmla="*/ 2686017 w 6884782"/>
              <a:gd name="connsiteY2937" fmla="*/ 5338601 h 5973007"/>
              <a:gd name="connsiteX2938" fmla="*/ 2683229 w 6884782"/>
              <a:gd name="connsiteY2938" fmla="*/ 5324764 h 5973007"/>
              <a:gd name="connsiteX2939" fmla="*/ 2689348 w 6884782"/>
              <a:gd name="connsiteY2939" fmla="*/ 5322312 h 5973007"/>
              <a:gd name="connsiteX2940" fmla="*/ 2194686 w 6884782"/>
              <a:gd name="connsiteY2940" fmla="*/ 5320427 h 5973007"/>
              <a:gd name="connsiteX2941" fmla="*/ 2197165 w 6884782"/>
              <a:gd name="connsiteY2941" fmla="*/ 5326623 h 5973007"/>
              <a:gd name="connsiteX2942" fmla="*/ 2194532 w 6884782"/>
              <a:gd name="connsiteY2942" fmla="*/ 5327242 h 5973007"/>
              <a:gd name="connsiteX2943" fmla="*/ 2191589 w 6884782"/>
              <a:gd name="connsiteY2943" fmla="*/ 5326623 h 5973007"/>
              <a:gd name="connsiteX2944" fmla="*/ 2194686 w 6884782"/>
              <a:gd name="connsiteY2944" fmla="*/ 5320427 h 5973007"/>
              <a:gd name="connsiteX2945" fmla="*/ 2662008 w 6884782"/>
              <a:gd name="connsiteY2945" fmla="*/ 5318466 h 5973007"/>
              <a:gd name="connsiteX2946" fmla="*/ 2669908 w 6884782"/>
              <a:gd name="connsiteY2946" fmla="*/ 5326623 h 5973007"/>
              <a:gd name="connsiteX2947" fmla="*/ 2674555 w 6884782"/>
              <a:gd name="connsiteY2947" fmla="*/ 5338291 h 5973007"/>
              <a:gd name="connsiteX2948" fmla="*/ 2664487 w 6884782"/>
              <a:gd name="connsiteY2948" fmla="*/ 5331063 h 5973007"/>
              <a:gd name="connsiteX2949" fmla="*/ 2662008 w 6884782"/>
              <a:gd name="connsiteY2949" fmla="*/ 5318466 h 5973007"/>
              <a:gd name="connsiteX2950" fmla="*/ 2921924 w 6884782"/>
              <a:gd name="connsiteY2950" fmla="*/ 5317123 h 5973007"/>
              <a:gd name="connsiteX2951" fmla="*/ 2923938 w 6884782"/>
              <a:gd name="connsiteY2951" fmla="*/ 5318362 h 5973007"/>
              <a:gd name="connsiteX2952" fmla="*/ 2922389 w 6884782"/>
              <a:gd name="connsiteY2952" fmla="*/ 5326726 h 5973007"/>
              <a:gd name="connsiteX2953" fmla="*/ 2920685 w 6884782"/>
              <a:gd name="connsiteY2953" fmla="*/ 5318775 h 5973007"/>
              <a:gd name="connsiteX2954" fmla="*/ 2921924 w 6884782"/>
              <a:gd name="connsiteY2954" fmla="*/ 5317123 h 5973007"/>
              <a:gd name="connsiteX2955" fmla="*/ 2776167 w 6884782"/>
              <a:gd name="connsiteY2955" fmla="*/ 5314851 h 5973007"/>
              <a:gd name="connsiteX2956" fmla="*/ 2768267 w 6884782"/>
              <a:gd name="connsiteY2956" fmla="*/ 5331786 h 5973007"/>
              <a:gd name="connsiteX2957" fmla="*/ 2776167 w 6884782"/>
              <a:gd name="connsiteY2957" fmla="*/ 5314851 h 5973007"/>
              <a:gd name="connsiteX2958" fmla="*/ 2318139 w 6884782"/>
              <a:gd name="connsiteY2958" fmla="*/ 5314232 h 5973007"/>
              <a:gd name="connsiteX2959" fmla="*/ 2319533 w 6884782"/>
              <a:gd name="connsiteY2959" fmla="*/ 5317536 h 5973007"/>
              <a:gd name="connsiteX2960" fmla="*/ 2310084 w 6884782"/>
              <a:gd name="connsiteY2960" fmla="*/ 5322802 h 5973007"/>
              <a:gd name="connsiteX2961" fmla="*/ 2308225 w 6884782"/>
              <a:gd name="connsiteY2961" fmla="*/ 5317846 h 5973007"/>
              <a:gd name="connsiteX2962" fmla="*/ 2318139 w 6884782"/>
              <a:gd name="connsiteY2962" fmla="*/ 5314232 h 5973007"/>
              <a:gd name="connsiteX2963" fmla="*/ 2648378 w 6884782"/>
              <a:gd name="connsiteY2963" fmla="*/ 5313509 h 5973007"/>
              <a:gd name="connsiteX2964" fmla="*/ 2651475 w 6884782"/>
              <a:gd name="connsiteY2964" fmla="*/ 5316813 h 5973007"/>
              <a:gd name="connsiteX2965" fmla="*/ 2641252 w 6884782"/>
              <a:gd name="connsiteY2965" fmla="*/ 5330856 h 5973007"/>
              <a:gd name="connsiteX2966" fmla="*/ 2637999 w 6884782"/>
              <a:gd name="connsiteY2966" fmla="*/ 5330547 h 5973007"/>
              <a:gd name="connsiteX2967" fmla="*/ 2648378 w 6884782"/>
              <a:gd name="connsiteY2967" fmla="*/ 5313509 h 5973007"/>
              <a:gd name="connsiteX2968" fmla="*/ 2794909 w 6884782"/>
              <a:gd name="connsiteY2968" fmla="*/ 5313406 h 5973007"/>
              <a:gd name="connsiteX2969" fmla="*/ 2789798 w 6884782"/>
              <a:gd name="connsiteY2969" fmla="*/ 5327139 h 5973007"/>
              <a:gd name="connsiteX2970" fmla="*/ 2792896 w 6884782"/>
              <a:gd name="connsiteY2970" fmla="*/ 5328172 h 5973007"/>
              <a:gd name="connsiteX2971" fmla="*/ 2792896 w 6884782"/>
              <a:gd name="connsiteY2971" fmla="*/ 5329101 h 5973007"/>
              <a:gd name="connsiteX2972" fmla="*/ 2794290 w 6884782"/>
              <a:gd name="connsiteY2972" fmla="*/ 5327242 h 5973007"/>
              <a:gd name="connsiteX2973" fmla="*/ 2798472 w 6884782"/>
              <a:gd name="connsiteY2973" fmla="*/ 5326107 h 5973007"/>
              <a:gd name="connsiteX2974" fmla="*/ 2798782 w 6884782"/>
              <a:gd name="connsiteY2974" fmla="*/ 5326726 h 5973007"/>
              <a:gd name="connsiteX2975" fmla="*/ 2798937 w 6884782"/>
              <a:gd name="connsiteY2975" fmla="*/ 5326210 h 5973007"/>
              <a:gd name="connsiteX2976" fmla="*/ 2799246 w 6884782"/>
              <a:gd name="connsiteY2976" fmla="*/ 5326210 h 5973007"/>
              <a:gd name="connsiteX2977" fmla="*/ 2799246 w 6884782"/>
              <a:gd name="connsiteY2977" fmla="*/ 5324145 h 5973007"/>
              <a:gd name="connsiteX2978" fmla="*/ 2806217 w 6884782"/>
              <a:gd name="connsiteY2978" fmla="*/ 5314025 h 5973007"/>
              <a:gd name="connsiteX2979" fmla="*/ 2809160 w 6884782"/>
              <a:gd name="connsiteY2979" fmla="*/ 5315265 h 5973007"/>
              <a:gd name="connsiteX2980" fmla="*/ 2809005 w 6884782"/>
              <a:gd name="connsiteY2980" fmla="*/ 5314955 h 5973007"/>
              <a:gd name="connsiteX2981" fmla="*/ 2809779 w 6884782"/>
              <a:gd name="connsiteY2981" fmla="*/ 5315368 h 5973007"/>
              <a:gd name="connsiteX2982" fmla="*/ 2809779 w 6884782"/>
              <a:gd name="connsiteY2982" fmla="*/ 5315575 h 5973007"/>
              <a:gd name="connsiteX2983" fmla="*/ 2810864 w 6884782"/>
              <a:gd name="connsiteY2983" fmla="*/ 5315058 h 5973007"/>
              <a:gd name="connsiteX2984" fmla="*/ 2812258 w 6884782"/>
              <a:gd name="connsiteY2984" fmla="*/ 5316710 h 5973007"/>
              <a:gd name="connsiteX2985" fmla="*/ 2813807 w 6884782"/>
              <a:gd name="connsiteY2985" fmla="*/ 5317433 h 5973007"/>
              <a:gd name="connsiteX2986" fmla="*/ 2821397 w 6884782"/>
              <a:gd name="connsiteY2986" fmla="*/ 5336432 h 5973007"/>
              <a:gd name="connsiteX2987" fmla="*/ 2809470 w 6884782"/>
              <a:gd name="connsiteY2987" fmla="*/ 5342627 h 5973007"/>
              <a:gd name="connsiteX2988" fmla="*/ 2803584 w 6884782"/>
              <a:gd name="connsiteY2988" fmla="*/ 5339530 h 5973007"/>
              <a:gd name="connsiteX2989" fmla="*/ 2802499 w 6884782"/>
              <a:gd name="connsiteY2989" fmla="*/ 5338084 h 5973007"/>
              <a:gd name="connsiteX2990" fmla="*/ 2798627 w 6884782"/>
              <a:gd name="connsiteY2990" fmla="*/ 5338601 h 5973007"/>
              <a:gd name="connsiteX2991" fmla="*/ 2798317 w 6884782"/>
              <a:gd name="connsiteY2991" fmla="*/ 5337775 h 5973007"/>
              <a:gd name="connsiteX2992" fmla="*/ 2796923 w 6884782"/>
              <a:gd name="connsiteY2992" fmla="*/ 5339220 h 5973007"/>
              <a:gd name="connsiteX2993" fmla="*/ 2790882 w 6884782"/>
              <a:gd name="connsiteY2993" fmla="*/ 5340046 h 5973007"/>
              <a:gd name="connsiteX2994" fmla="*/ 2791192 w 6884782"/>
              <a:gd name="connsiteY2994" fmla="*/ 5340459 h 5973007"/>
              <a:gd name="connsiteX2995" fmla="*/ 2791502 w 6884782"/>
              <a:gd name="connsiteY2995" fmla="*/ 5343041 h 5973007"/>
              <a:gd name="connsiteX2996" fmla="*/ 2789023 w 6884782"/>
              <a:gd name="connsiteY2996" fmla="*/ 5343763 h 5973007"/>
              <a:gd name="connsiteX2997" fmla="*/ 2783912 w 6884782"/>
              <a:gd name="connsiteY2997" fmla="*/ 5340976 h 5973007"/>
              <a:gd name="connsiteX2998" fmla="*/ 2783292 w 6884782"/>
              <a:gd name="connsiteY2998" fmla="*/ 5340253 h 5973007"/>
              <a:gd name="connsiteX2999" fmla="*/ 2780039 w 6884782"/>
              <a:gd name="connsiteY2999" fmla="*/ 5345312 h 5973007"/>
              <a:gd name="connsiteX3000" fmla="*/ 2776631 w 6884782"/>
              <a:gd name="connsiteY3000" fmla="*/ 5348616 h 5973007"/>
              <a:gd name="connsiteX3001" fmla="*/ 2775392 w 6884782"/>
              <a:gd name="connsiteY3001" fmla="*/ 5352953 h 5973007"/>
              <a:gd name="connsiteX3002" fmla="*/ 2774463 w 6884782"/>
              <a:gd name="connsiteY3002" fmla="*/ 5350475 h 5973007"/>
              <a:gd name="connsiteX3003" fmla="*/ 2770126 w 6884782"/>
              <a:gd name="connsiteY3003" fmla="*/ 5354605 h 5973007"/>
              <a:gd name="connsiteX3004" fmla="*/ 2769352 w 6884782"/>
              <a:gd name="connsiteY3004" fmla="*/ 5341285 h 5973007"/>
              <a:gd name="connsiteX3005" fmla="*/ 2794909 w 6884782"/>
              <a:gd name="connsiteY3005" fmla="*/ 5313406 h 5973007"/>
              <a:gd name="connsiteX3006" fmla="*/ 1814571 w 6884782"/>
              <a:gd name="connsiteY3006" fmla="*/ 5311651 h 5973007"/>
              <a:gd name="connsiteX3007" fmla="*/ 1820147 w 6884782"/>
              <a:gd name="connsiteY3007" fmla="*/ 5313509 h 5973007"/>
              <a:gd name="connsiteX3008" fmla="*/ 1820768 w 6884782"/>
              <a:gd name="connsiteY3008" fmla="*/ 5316090 h 5973007"/>
              <a:gd name="connsiteX3009" fmla="*/ 1819373 w 6884782"/>
              <a:gd name="connsiteY3009" fmla="*/ 5321253 h 5973007"/>
              <a:gd name="connsiteX3010" fmla="*/ 1820147 w 6884782"/>
              <a:gd name="connsiteY3010" fmla="*/ 5321253 h 5973007"/>
              <a:gd name="connsiteX3011" fmla="*/ 1815036 w 6884782"/>
              <a:gd name="connsiteY3011" fmla="*/ 5322080 h 5973007"/>
              <a:gd name="connsiteX3012" fmla="*/ 1812093 w 6884782"/>
              <a:gd name="connsiteY3012" fmla="*/ 5318672 h 5973007"/>
              <a:gd name="connsiteX3013" fmla="*/ 1814571 w 6884782"/>
              <a:gd name="connsiteY3013" fmla="*/ 5311651 h 5973007"/>
              <a:gd name="connsiteX3014" fmla="*/ 2628860 w 6884782"/>
              <a:gd name="connsiteY3014" fmla="*/ 5310308 h 5973007"/>
              <a:gd name="connsiteX3015" fmla="*/ 2634127 w 6884782"/>
              <a:gd name="connsiteY3015" fmla="*/ 5315678 h 5973007"/>
              <a:gd name="connsiteX3016" fmla="*/ 2629325 w 6884782"/>
              <a:gd name="connsiteY3016" fmla="*/ 5324557 h 5973007"/>
              <a:gd name="connsiteX3017" fmla="*/ 2625453 w 6884782"/>
              <a:gd name="connsiteY3017" fmla="*/ 5324351 h 5973007"/>
              <a:gd name="connsiteX3018" fmla="*/ 2620031 w 6884782"/>
              <a:gd name="connsiteY3018" fmla="*/ 5320221 h 5973007"/>
              <a:gd name="connsiteX3019" fmla="*/ 2628860 w 6884782"/>
              <a:gd name="connsiteY3019" fmla="*/ 5310308 h 5973007"/>
              <a:gd name="connsiteX3020" fmla="*/ 2928895 w 6884782"/>
              <a:gd name="connsiteY3020" fmla="*/ 5309895 h 5973007"/>
              <a:gd name="connsiteX3021" fmla="*/ 2929050 w 6884782"/>
              <a:gd name="connsiteY3021" fmla="*/ 5312477 h 5973007"/>
              <a:gd name="connsiteX3022" fmla="*/ 2930289 w 6884782"/>
              <a:gd name="connsiteY3022" fmla="*/ 5314232 h 5973007"/>
              <a:gd name="connsiteX3023" fmla="*/ 2929824 w 6884782"/>
              <a:gd name="connsiteY3023" fmla="*/ 5312683 h 5973007"/>
              <a:gd name="connsiteX3024" fmla="*/ 2930754 w 6884782"/>
              <a:gd name="connsiteY3024" fmla="*/ 5310618 h 5973007"/>
              <a:gd name="connsiteX3025" fmla="*/ 2479231 w 6884782"/>
              <a:gd name="connsiteY3025" fmla="*/ 5308863 h 5973007"/>
              <a:gd name="connsiteX3026" fmla="*/ 2487595 w 6884782"/>
              <a:gd name="connsiteY3026" fmla="*/ 5315368 h 5973007"/>
              <a:gd name="connsiteX3027" fmla="*/ 2488060 w 6884782"/>
              <a:gd name="connsiteY3027" fmla="*/ 5317846 h 5973007"/>
              <a:gd name="connsiteX3028" fmla="*/ 2488989 w 6884782"/>
              <a:gd name="connsiteY3028" fmla="*/ 5319395 h 5973007"/>
              <a:gd name="connsiteX3029" fmla="*/ 2489454 w 6884782"/>
              <a:gd name="connsiteY3029" fmla="*/ 5322286 h 5973007"/>
              <a:gd name="connsiteX3030" fmla="*/ 2498903 w 6884782"/>
              <a:gd name="connsiteY3030" fmla="*/ 5316813 h 5973007"/>
              <a:gd name="connsiteX3031" fmla="*/ 2526629 w 6884782"/>
              <a:gd name="connsiteY3031" fmla="*/ 5320221 h 5973007"/>
              <a:gd name="connsiteX3032" fmla="*/ 2513927 w 6884782"/>
              <a:gd name="connsiteY3032" fmla="*/ 5324661 h 5973007"/>
              <a:gd name="connsiteX3033" fmla="*/ 2513463 w 6884782"/>
              <a:gd name="connsiteY3033" fmla="*/ 5326313 h 5973007"/>
              <a:gd name="connsiteX3034" fmla="*/ 2512688 w 6884782"/>
              <a:gd name="connsiteY3034" fmla="*/ 5326416 h 5973007"/>
              <a:gd name="connsiteX3035" fmla="*/ 2512379 w 6884782"/>
              <a:gd name="connsiteY3035" fmla="*/ 5326623 h 5973007"/>
              <a:gd name="connsiteX3036" fmla="*/ 2511294 w 6884782"/>
              <a:gd name="connsiteY3036" fmla="*/ 5325900 h 5973007"/>
              <a:gd name="connsiteX3037" fmla="*/ 2502620 w 6884782"/>
              <a:gd name="connsiteY3037" fmla="*/ 5330030 h 5973007"/>
              <a:gd name="connsiteX3038" fmla="*/ 2475978 w 6884782"/>
              <a:gd name="connsiteY3038" fmla="*/ 5337155 h 5973007"/>
              <a:gd name="connsiteX3039" fmla="*/ 2484033 w 6884782"/>
              <a:gd name="connsiteY3039" fmla="*/ 5325384 h 5973007"/>
              <a:gd name="connsiteX3040" fmla="*/ 2486821 w 6884782"/>
              <a:gd name="connsiteY3040" fmla="*/ 5323835 h 5973007"/>
              <a:gd name="connsiteX3041" fmla="*/ 2481399 w 6884782"/>
              <a:gd name="connsiteY3041" fmla="*/ 5317846 h 5973007"/>
              <a:gd name="connsiteX3042" fmla="*/ 2477837 w 6884782"/>
              <a:gd name="connsiteY3042" fmla="*/ 5312374 h 5973007"/>
              <a:gd name="connsiteX3043" fmla="*/ 2477527 w 6884782"/>
              <a:gd name="connsiteY3043" fmla="*/ 5310412 h 5973007"/>
              <a:gd name="connsiteX3044" fmla="*/ 2479231 w 6884782"/>
              <a:gd name="connsiteY3044" fmla="*/ 5308863 h 5973007"/>
              <a:gd name="connsiteX3045" fmla="*/ 2687566 w 6884782"/>
              <a:gd name="connsiteY3045" fmla="*/ 5308759 h 5973007"/>
              <a:gd name="connsiteX3046" fmla="*/ 2696705 w 6884782"/>
              <a:gd name="connsiteY3046" fmla="*/ 5315987 h 5973007"/>
              <a:gd name="connsiteX3047" fmla="*/ 2690509 w 6884782"/>
              <a:gd name="connsiteY3047" fmla="*/ 5318672 h 5973007"/>
              <a:gd name="connsiteX3048" fmla="*/ 2684778 w 6884782"/>
              <a:gd name="connsiteY3048" fmla="*/ 5315368 h 5973007"/>
              <a:gd name="connsiteX3049" fmla="*/ 2684159 w 6884782"/>
              <a:gd name="connsiteY3049" fmla="*/ 5312477 h 5973007"/>
              <a:gd name="connsiteX3050" fmla="*/ 2682455 w 6884782"/>
              <a:gd name="connsiteY3050" fmla="*/ 5313406 h 5973007"/>
              <a:gd name="connsiteX3051" fmla="*/ 2683229 w 6884782"/>
              <a:gd name="connsiteY3051" fmla="*/ 5315678 h 5973007"/>
              <a:gd name="connsiteX3052" fmla="*/ 2681680 w 6884782"/>
              <a:gd name="connsiteY3052" fmla="*/ 5319911 h 5973007"/>
              <a:gd name="connsiteX3053" fmla="*/ 2679047 w 6884782"/>
              <a:gd name="connsiteY3053" fmla="*/ 5320427 h 5973007"/>
              <a:gd name="connsiteX3054" fmla="*/ 2676414 w 6884782"/>
              <a:gd name="connsiteY3054" fmla="*/ 5314645 h 5973007"/>
              <a:gd name="connsiteX3055" fmla="*/ 2677963 w 6884782"/>
              <a:gd name="connsiteY3055" fmla="*/ 5312477 h 5973007"/>
              <a:gd name="connsiteX3056" fmla="*/ 2679821 w 6884782"/>
              <a:gd name="connsiteY3056" fmla="*/ 5311651 h 5973007"/>
              <a:gd name="connsiteX3057" fmla="*/ 2681525 w 6884782"/>
              <a:gd name="connsiteY3057" fmla="*/ 5312167 h 5973007"/>
              <a:gd name="connsiteX3058" fmla="*/ 2681216 w 6884782"/>
              <a:gd name="connsiteY3058" fmla="*/ 5310928 h 5973007"/>
              <a:gd name="connsiteX3059" fmla="*/ 2684004 w 6884782"/>
              <a:gd name="connsiteY3059" fmla="*/ 5310412 h 5973007"/>
              <a:gd name="connsiteX3060" fmla="*/ 2684314 w 6884782"/>
              <a:gd name="connsiteY3060" fmla="*/ 5310928 h 5973007"/>
              <a:gd name="connsiteX3061" fmla="*/ 2406894 w 6884782"/>
              <a:gd name="connsiteY3061" fmla="*/ 5304939 h 5973007"/>
              <a:gd name="connsiteX3062" fmla="*/ 2415413 w 6884782"/>
              <a:gd name="connsiteY3062" fmla="*/ 5336226 h 5973007"/>
              <a:gd name="connsiteX3063" fmla="*/ 2404106 w 6884782"/>
              <a:gd name="connsiteY3063" fmla="*/ 5322802 h 5973007"/>
              <a:gd name="connsiteX3064" fmla="*/ 2406894 w 6884782"/>
              <a:gd name="connsiteY3064" fmla="*/ 5304939 h 5973007"/>
              <a:gd name="connsiteX3065" fmla="*/ 2581307 w 6884782"/>
              <a:gd name="connsiteY3065" fmla="*/ 5303700 h 5973007"/>
              <a:gd name="connsiteX3066" fmla="*/ 2583941 w 6884782"/>
              <a:gd name="connsiteY3066" fmla="*/ 5307520 h 5973007"/>
              <a:gd name="connsiteX3067" fmla="*/ 2583011 w 6884782"/>
              <a:gd name="connsiteY3067" fmla="*/ 5310928 h 5973007"/>
              <a:gd name="connsiteX3068" fmla="*/ 2583631 w 6884782"/>
              <a:gd name="connsiteY3068" fmla="*/ 5310824 h 5973007"/>
              <a:gd name="connsiteX3069" fmla="*/ 2583321 w 6884782"/>
              <a:gd name="connsiteY3069" fmla="*/ 5311444 h 5973007"/>
              <a:gd name="connsiteX3070" fmla="*/ 2586574 w 6884782"/>
              <a:gd name="connsiteY3070" fmla="*/ 5312477 h 5973007"/>
              <a:gd name="connsiteX3071" fmla="*/ 2584095 w 6884782"/>
              <a:gd name="connsiteY3071" fmla="*/ 5316297 h 5973007"/>
              <a:gd name="connsiteX3072" fmla="*/ 2581772 w 6884782"/>
              <a:gd name="connsiteY3072" fmla="*/ 5313716 h 5973007"/>
              <a:gd name="connsiteX3073" fmla="*/ 2582237 w 6884782"/>
              <a:gd name="connsiteY3073" fmla="*/ 5312374 h 5973007"/>
              <a:gd name="connsiteX3074" fmla="*/ 2582547 w 6884782"/>
              <a:gd name="connsiteY3074" fmla="*/ 5311031 h 5973007"/>
              <a:gd name="connsiteX3075" fmla="*/ 2581152 w 6884782"/>
              <a:gd name="connsiteY3075" fmla="*/ 5310308 h 5973007"/>
              <a:gd name="connsiteX3076" fmla="*/ 2578984 w 6884782"/>
              <a:gd name="connsiteY3076" fmla="*/ 5310102 h 5973007"/>
              <a:gd name="connsiteX3077" fmla="*/ 2578209 w 6884782"/>
              <a:gd name="connsiteY3077" fmla="*/ 5309276 h 5973007"/>
              <a:gd name="connsiteX3078" fmla="*/ 2575886 w 6884782"/>
              <a:gd name="connsiteY3078" fmla="*/ 5310618 h 5973007"/>
              <a:gd name="connsiteX3079" fmla="*/ 2570310 w 6884782"/>
              <a:gd name="connsiteY3079" fmla="*/ 5306591 h 5973007"/>
              <a:gd name="connsiteX3080" fmla="*/ 2577900 w 6884782"/>
              <a:gd name="connsiteY3080" fmla="*/ 5306384 h 5973007"/>
              <a:gd name="connsiteX3081" fmla="*/ 2577900 w 6884782"/>
              <a:gd name="connsiteY3081" fmla="*/ 5306488 h 5973007"/>
              <a:gd name="connsiteX3082" fmla="*/ 2578364 w 6884782"/>
              <a:gd name="connsiteY3082" fmla="*/ 5305662 h 5973007"/>
              <a:gd name="connsiteX3083" fmla="*/ 2581307 w 6884782"/>
              <a:gd name="connsiteY3083" fmla="*/ 5303700 h 5973007"/>
              <a:gd name="connsiteX3084" fmla="*/ 1764385 w 6884782"/>
              <a:gd name="connsiteY3084" fmla="*/ 5302048 h 5973007"/>
              <a:gd name="connsiteX3085" fmla="*/ 1766088 w 6884782"/>
              <a:gd name="connsiteY3085" fmla="*/ 5305972 h 5973007"/>
              <a:gd name="connsiteX3086" fmla="*/ 1753697 w 6884782"/>
              <a:gd name="connsiteY3086" fmla="*/ 5316917 h 5973007"/>
              <a:gd name="connsiteX3087" fmla="*/ 1747966 w 6884782"/>
              <a:gd name="connsiteY3087" fmla="*/ 5315781 h 5973007"/>
              <a:gd name="connsiteX3088" fmla="*/ 1764385 w 6884782"/>
              <a:gd name="connsiteY3088" fmla="*/ 5302048 h 5973007"/>
              <a:gd name="connsiteX3089" fmla="*/ 2915419 w 6884782"/>
              <a:gd name="connsiteY3089" fmla="*/ 5301118 h 5973007"/>
              <a:gd name="connsiteX3090" fmla="*/ 2915883 w 6884782"/>
              <a:gd name="connsiteY3090" fmla="*/ 5313613 h 5973007"/>
              <a:gd name="connsiteX3091" fmla="*/ 2912011 w 6884782"/>
              <a:gd name="connsiteY3091" fmla="*/ 5328069 h 5973007"/>
              <a:gd name="connsiteX3092" fmla="*/ 2907364 w 6884782"/>
              <a:gd name="connsiteY3092" fmla="*/ 5330340 h 5973007"/>
              <a:gd name="connsiteX3093" fmla="*/ 2896366 w 6884782"/>
              <a:gd name="connsiteY3093" fmla="*/ 5329101 h 5973007"/>
              <a:gd name="connsiteX3094" fmla="*/ 2890635 w 6884782"/>
              <a:gd name="connsiteY3094" fmla="*/ 5326416 h 5973007"/>
              <a:gd name="connsiteX3095" fmla="*/ 2883975 w 6884782"/>
              <a:gd name="connsiteY3095" fmla="*/ 5330959 h 5973007"/>
              <a:gd name="connsiteX3096" fmla="*/ 2884130 w 6884782"/>
              <a:gd name="connsiteY3096" fmla="*/ 5331373 h 5973007"/>
              <a:gd name="connsiteX3097" fmla="*/ 2882890 w 6884782"/>
              <a:gd name="connsiteY3097" fmla="*/ 5336742 h 5973007"/>
              <a:gd name="connsiteX3098" fmla="*/ 2881961 w 6884782"/>
              <a:gd name="connsiteY3098" fmla="*/ 5337465 h 5973007"/>
              <a:gd name="connsiteX3099" fmla="*/ 2886453 w 6884782"/>
              <a:gd name="connsiteY3099" fmla="*/ 5343557 h 5973007"/>
              <a:gd name="connsiteX3100" fmla="*/ 2899000 w 6884782"/>
              <a:gd name="connsiteY3100" fmla="*/ 5357187 h 5973007"/>
              <a:gd name="connsiteX3101" fmla="*/ 2884130 w 6884782"/>
              <a:gd name="connsiteY3101" fmla="*/ 5348307 h 5973007"/>
              <a:gd name="connsiteX3102" fmla="*/ 2883046 w 6884782"/>
              <a:gd name="connsiteY3102" fmla="*/ 5347790 h 5973007"/>
              <a:gd name="connsiteX3103" fmla="*/ 2882890 w 6884782"/>
              <a:gd name="connsiteY3103" fmla="*/ 5348307 h 5973007"/>
              <a:gd name="connsiteX3104" fmla="*/ 2883665 w 6884782"/>
              <a:gd name="connsiteY3104" fmla="*/ 5348720 h 5973007"/>
              <a:gd name="connsiteX3105" fmla="*/ 2883200 w 6884782"/>
              <a:gd name="connsiteY3105" fmla="*/ 5351301 h 5973007"/>
              <a:gd name="connsiteX3106" fmla="*/ 2883046 w 6884782"/>
              <a:gd name="connsiteY3106" fmla="*/ 5351404 h 5973007"/>
              <a:gd name="connsiteX3107" fmla="*/ 2887228 w 6884782"/>
              <a:gd name="connsiteY3107" fmla="*/ 5355741 h 5973007"/>
              <a:gd name="connsiteX3108" fmla="*/ 2895282 w 6884782"/>
              <a:gd name="connsiteY3108" fmla="*/ 5363588 h 5973007"/>
              <a:gd name="connsiteX3109" fmla="*/ 2903956 w 6884782"/>
              <a:gd name="connsiteY3109" fmla="*/ 5369887 h 5973007"/>
              <a:gd name="connsiteX3110" fmla="*/ 2906125 w 6884782"/>
              <a:gd name="connsiteY3110" fmla="*/ 5370816 h 5973007"/>
              <a:gd name="connsiteX3111" fmla="*/ 2906590 w 6884782"/>
              <a:gd name="connsiteY3111" fmla="*/ 5368028 h 5973007"/>
              <a:gd name="connsiteX3112" fmla="*/ 2911236 w 6884782"/>
              <a:gd name="connsiteY3112" fmla="*/ 5371436 h 5973007"/>
              <a:gd name="connsiteX3113" fmla="*/ 2910927 w 6884782"/>
              <a:gd name="connsiteY3113" fmla="*/ 5372675 h 5973007"/>
              <a:gd name="connsiteX3114" fmla="*/ 2912011 w 6884782"/>
              <a:gd name="connsiteY3114" fmla="*/ 5373191 h 5973007"/>
              <a:gd name="connsiteX3115" fmla="*/ 2912940 w 6884782"/>
              <a:gd name="connsiteY3115" fmla="*/ 5371333 h 5973007"/>
              <a:gd name="connsiteX3116" fmla="*/ 2926261 w 6884782"/>
              <a:gd name="connsiteY3116" fmla="*/ 5370713 h 5973007"/>
              <a:gd name="connsiteX3117" fmla="*/ 2920221 w 6884782"/>
              <a:gd name="connsiteY3117" fmla="*/ 5375360 h 5973007"/>
              <a:gd name="connsiteX3118" fmla="*/ 2916348 w 6884782"/>
              <a:gd name="connsiteY3118" fmla="*/ 5380006 h 5973007"/>
              <a:gd name="connsiteX3119" fmla="*/ 2918362 w 6884782"/>
              <a:gd name="connsiteY3119" fmla="*/ 5383311 h 5973007"/>
              <a:gd name="connsiteX3120" fmla="*/ 2926107 w 6884782"/>
              <a:gd name="connsiteY3120" fmla="*/ 5392604 h 5973007"/>
              <a:gd name="connsiteX3121" fmla="*/ 2944694 w 6884782"/>
              <a:gd name="connsiteY3121" fmla="*/ 5408195 h 5973007"/>
              <a:gd name="connsiteX3122" fmla="*/ 2954143 w 6884782"/>
              <a:gd name="connsiteY3122" fmla="*/ 5415010 h 5973007"/>
              <a:gd name="connsiteX3123" fmla="*/ 2954762 w 6884782"/>
              <a:gd name="connsiteY3123" fmla="*/ 5408608 h 5973007"/>
              <a:gd name="connsiteX3124" fmla="*/ 2967929 w 6884782"/>
              <a:gd name="connsiteY3124" fmla="*/ 5390229 h 5973007"/>
              <a:gd name="connsiteX3125" fmla="*/ 3013778 w 6884782"/>
              <a:gd name="connsiteY3125" fmla="*/ 5389919 h 5973007"/>
              <a:gd name="connsiteX3126" fmla="*/ 3024156 w 6884782"/>
              <a:gd name="connsiteY3126" fmla="*/ 5422651 h 5973007"/>
              <a:gd name="connsiteX3127" fmla="*/ 3019044 w 6884782"/>
              <a:gd name="connsiteY3127" fmla="*/ 5427401 h 5973007"/>
              <a:gd name="connsiteX3128" fmla="*/ 3017340 w 6884782"/>
              <a:gd name="connsiteY3128" fmla="*/ 5430499 h 5973007"/>
              <a:gd name="connsiteX3129" fmla="*/ 3017805 w 6884782"/>
              <a:gd name="connsiteY3129" fmla="*/ 5432151 h 5973007"/>
              <a:gd name="connsiteX3130" fmla="*/ 3016256 w 6884782"/>
              <a:gd name="connsiteY3130" fmla="*/ 5432874 h 5973007"/>
              <a:gd name="connsiteX3131" fmla="*/ 3015172 w 6884782"/>
              <a:gd name="connsiteY3131" fmla="*/ 5438140 h 5973007"/>
              <a:gd name="connsiteX3132" fmla="*/ 3015482 w 6884782"/>
              <a:gd name="connsiteY3132" fmla="*/ 5438243 h 5973007"/>
              <a:gd name="connsiteX3133" fmla="*/ 3026015 w 6884782"/>
              <a:gd name="connsiteY3133" fmla="*/ 5444542 h 5973007"/>
              <a:gd name="connsiteX3134" fmla="*/ 3028183 w 6884782"/>
              <a:gd name="connsiteY3134" fmla="*/ 5440411 h 5973007"/>
              <a:gd name="connsiteX3135" fmla="*/ 3033915 w 6884782"/>
              <a:gd name="connsiteY3135" fmla="*/ 5434319 h 5973007"/>
              <a:gd name="connsiteX3136" fmla="*/ 3040730 w 6884782"/>
              <a:gd name="connsiteY3136" fmla="*/ 5438449 h 5973007"/>
              <a:gd name="connsiteX3137" fmla="*/ 3034689 w 6884782"/>
              <a:gd name="connsiteY3137" fmla="*/ 5443406 h 5973007"/>
              <a:gd name="connsiteX3138" fmla="*/ 3032056 w 6884782"/>
              <a:gd name="connsiteY3138" fmla="*/ 5448155 h 5973007"/>
              <a:gd name="connsiteX3139" fmla="*/ 3033604 w 6884782"/>
              <a:gd name="connsiteY3139" fmla="*/ 5449085 h 5973007"/>
              <a:gd name="connsiteX3140" fmla="*/ 3037322 w 6884782"/>
              <a:gd name="connsiteY3140" fmla="*/ 5451253 h 5973007"/>
              <a:gd name="connsiteX3141" fmla="*/ 3037632 w 6884782"/>
              <a:gd name="connsiteY3141" fmla="*/ 5451150 h 5973007"/>
              <a:gd name="connsiteX3142" fmla="*/ 3041505 w 6884782"/>
              <a:gd name="connsiteY3142" fmla="*/ 5451976 h 5973007"/>
              <a:gd name="connsiteX3143" fmla="*/ 3042279 w 6884782"/>
              <a:gd name="connsiteY3143" fmla="*/ 5454041 h 5973007"/>
              <a:gd name="connsiteX3144" fmla="*/ 3049404 w 6884782"/>
              <a:gd name="connsiteY3144" fmla="*/ 5457861 h 5973007"/>
              <a:gd name="connsiteX3145" fmla="*/ 3050024 w 6884782"/>
              <a:gd name="connsiteY3145" fmla="*/ 5457965 h 5973007"/>
              <a:gd name="connsiteX3146" fmla="*/ 3050333 w 6884782"/>
              <a:gd name="connsiteY3146" fmla="*/ 5458378 h 5973007"/>
              <a:gd name="connsiteX3147" fmla="*/ 3052967 w 6884782"/>
              <a:gd name="connsiteY3147" fmla="*/ 5459823 h 5973007"/>
              <a:gd name="connsiteX3148" fmla="*/ 3071709 w 6884782"/>
              <a:gd name="connsiteY3148" fmla="*/ 5469220 h 5973007"/>
              <a:gd name="connsiteX3149" fmla="*/ 3077130 w 6884782"/>
              <a:gd name="connsiteY3149" fmla="*/ 5470355 h 5973007"/>
              <a:gd name="connsiteX3150" fmla="*/ 3081932 w 6884782"/>
              <a:gd name="connsiteY3150" fmla="*/ 5471285 h 5973007"/>
              <a:gd name="connsiteX3151" fmla="*/ 3081623 w 6884782"/>
              <a:gd name="connsiteY3151" fmla="*/ 5470872 h 5973007"/>
              <a:gd name="connsiteX3152" fmla="*/ 3086579 w 6884782"/>
              <a:gd name="connsiteY3152" fmla="*/ 5463644 h 5973007"/>
              <a:gd name="connsiteX3153" fmla="*/ 3088593 w 6884782"/>
              <a:gd name="connsiteY3153" fmla="*/ 5473453 h 5973007"/>
              <a:gd name="connsiteX3154" fmla="*/ 3087354 w 6884782"/>
              <a:gd name="connsiteY3154" fmla="*/ 5474073 h 5973007"/>
              <a:gd name="connsiteX3155" fmla="*/ 3087663 w 6884782"/>
              <a:gd name="connsiteY3155" fmla="*/ 5474279 h 5973007"/>
              <a:gd name="connsiteX3156" fmla="*/ 3088128 w 6884782"/>
              <a:gd name="connsiteY3156" fmla="*/ 5480371 h 5973007"/>
              <a:gd name="connsiteX3157" fmla="*/ 3101759 w 6884782"/>
              <a:gd name="connsiteY3157" fmla="*/ 5483469 h 5973007"/>
              <a:gd name="connsiteX3158" fmla="*/ 3103308 w 6884782"/>
              <a:gd name="connsiteY3158" fmla="*/ 5482953 h 5973007"/>
              <a:gd name="connsiteX3159" fmla="*/ 3103463 w 6884782"/>
              <a:gd name="connsiteY3159" fmla="*/ 5482849 h 5973007"/>
              <a:gd name="connsiteX3160" fmla="*/ 3103618 w 6884782"/>
              <a:gd name="connsiteY3160" fmla="*/ 5482849 h 5973007"/>
              <a:gd name="connsiteX3161" fmla="*/ 3104857 w 6884782"/>
              <a:gd name="connsiteY3161" fmla="*/ 5482437 h 5973007"/>
              <a:gd name="connsiteX3162" fmla="*/ 3105476 w 6884782"/>
              <a:gd name="connsiteY3162" fmla="*/ 5483262 h 5973007"/>
              <a:gd name="connsiteX3163" fmla="*/ 3108110 w 6884782"/>
              <a:gd name="connsiteY3163" fmla="*/ 5483882 h 5973007"/>
              <a:gd name="connsiteX3164" fmla="*/ 3109194 w 6884782"/>
              <a:gd name="connsiteY3164" fmla="*/ 5485638 h 5973007"/>
              <a:gd name="connsiteX3165" fmla="*/ 3110278 w 6884782"/>
              <a:gd name="connsiteY3165" fmla="*/ 5488632 h 5973007"/>
              <a:gd name="connsiteX3166" fmla="*/ 3112602 w 6884782"/>
              <a:gd name="connsiteY3166" fmla="*/ 5489354 h 5973007"/>
              <a:gd name="connsiteX3167" fmla="*/ 3112602 w 6884782"/>
              <a:gd name="connsiteY3167" fmla="*/ 5487909 h 5973007"/>
              <a:gd name="connsiteX3168" fmla="*/ 3115855 w 6884782"/>
              <a:gd name="connsiteY3168" fmla="*/ 5486463 h 5973007"/>
              <a:gd name="connsiteX3169" fmla="*/ 3117559 w 6884782"/>
              <a:gd name="connsiteY3169" fmla="*/ 5487703 h 5973007"/>
              <a:gd name="connsiteX3170" fmla="*/ 3117559 w 6884782"/>
              <a:gd name="connsiteY3170" fmla="*/ 5486154 h 5973007"/>
              <a:gd name="connsiteX3171" fmla="*/ 3120037 w 6884782"/>
              <a:gd name="connsiteY3171" fmla="*/ 5482540 h 5973007"/>
              <a:gd name="connsiteX3172" fmla="*/ 3125613 w 6884782"/>
              <a:gd name="connsiteY3172" fmla="*/ 5487393 h 5973007"/>
              <a:gd name="connsiteX3173" fmla="*/ 3128711 w 6884782"/>
              <a:gd name="connsiteY3173" fmla="*/ 5489148 h 5973007"/>
              <a:gd name="connsiteX3174" fmla="*/ 3132429 w 6884782"/>
              <a:gd name="connsiteY3174" fmla="*/ 5481507 h 5973007"/>
              <a:gd name="connsiteX3175" fmla="*/ 3130880 w 6884782"/>
              <a:gd name="connsiteY3175" fmla="*/ 5478100 h 5973007"/>
              <a:gd name="connsiteX3176" fmla="*/ 3133048 w 6884782"/>
              <a:gd name="connsiteY3176" fmla="*/ 5474692 h 5973007"/>
              <a:gd name="connsiteX3177" fmla="*/ 3135062 w 6884782"/>
              <a:gd name="connsiteY3177" fmla="*/ 5477790 h 5973007"/>
              <a:gd name="connsiteX3178" fmla="*/ 3141412 w 6884782"/>
              <a:gd name="connsiteY3178" fmla="*/ 5471801 h 5973007"/>
              <a:gd name="connsiteX3179" fmla="*/ 3143736 w 6884782"/>
              <a:gd name="connsiteY3179" fmla="*/ 5483882 h 5973007"/>
              <a:gd name="connsiteX3180" fmla="*/ 3140948 w 6884782"/>
              <a:gd name="connsiteY3180" fmla="*/ 5495963 h 5973007"/>
              <a:gd name="connsiteX3181" fmla="*/ 3154424 w 6884782"/>
              <a:gd name="connsiteY3181" fmla="*/ 5500816 h 5973007"/>
              <a:gd name="connsiteX3182" fmla="*/ 3171307 w 6884782"/>
              <a:gd name="connsiteY3182" fmla="*/ 5504637 h 5973007"/>
              <a:gd name="connsiteX3183" fmla="*/ 3171927 w 6884782"/>
              <a:gd name="connsiteY3183" fmla="*/ 5502675 h 5973007"/>
              <a:gd name="connsiteX3184" fmla="*/ 3175799 w 6884782"/>
              <a:gd name="connsiteY3184" fmla="*/ 5499783 h 5973007"/>
              <a:gd name="connsiteX3185" fmla="*/ 3179207 w 6884782"/>
              <a:gd name="connsiteY3185" fmla="*/ 5500093 h 5973007"/>
              <a:gd name="connsiteX3186" fmla="*/ 3180911 w 6884782"/>
              <a:gd name="connsiteY3186" fmla="*/ 5500093 h 5973007"/>
              <a:gd name="connsiteX3187" fmla="*/ 3181530 w 6884782"/>
              <a:gd name="connsiteY3187" fmla="*/ 5485844 h 5973007"/>
              <a:gd name="connsiteX3188" fmla="*/ 3190824 w 6884782"/>
              <a:gd name="connsiteY3188" fmla="*/ 5487909 h 5973007"/>
              <a:gd name="connsiteX3189" fmla="*/ 3189120 w 6884782"/>
              <a:gd name="connsiteY3189" fmla="*/ 5507218 h 5973007"/>
              <a:gd name="connsiteX3190" fmla="*/ 3194232 w 6884782"/>
              <a:gd name="connsiteY3190" fmla="*/ 5507734 h 5973007"/>
              <a:gd name="connsiteX3191" fmla="*/ 3207398 w 6884782"/>
              <a:gd name="connsiteY3191" fmla="*/ 5515582 h 5973007"/>
              <a:gd name="connsiteX3192" fmla="*/ 3214214 w 6884782"/>
              <a:gd name="connsiteY3192" fmla="*/ 5516098 h 5973007"/>
              <a:gd name="connsiteX3193" fmla="*/ 3214059 w 6884782"/>
              <a:gd name="connsiteY3193" fmla="*/ 5515995 h 5973007"/>
              <a:gd name="connsiteX3194" fmla="*/ 3214988 w 6884782"/>
              <a:gd name="connsiteY3194" fmla="*/ 5516201 h 5973007"/>
              <a:gd name="connsiteX3195" fmla="*/ 3215763 w 6884782"/>
              <a:gd name="connsiteY3195" fmla="*/ 5516305 h 5973007"/>
              <a:gd name="connsiteX3196" fmla="*/ 3223043 w 6884782"/>
              <a:gd name="connsiteY3196" fmla="*/ 5516614 h 5973007"/>
              <a:gd name="connsiteX3197" fmla="*/ 3215453 w 6884782"/>
              <a:gd name="connsiteY3197" fmla="*/ 5511348 h 5973007"/>
              <a:gd name="connsiteX3198" fmla="*/ 3228464 w 6884782"/>
              <a:gd name="connsiteY3198" fmla="*/ 5511555 h 5973007"/>
              <a:gd name="connsiteX3199" fmla="*/ 3251234 w 6884782"/>
              <a:gd name="connsiteY3199" fmla="*/ 5519299 h 5973007"/>
              <a:gd name="connsiteX3200" fmla="*/ 3247362 w 6884782"/>
              <a:gd name="connsiteY3200" fmla="*/ 5515788 h 5973007"/>
              <a:gd name="connsiteX3201" fmla="*/ 3239617 w 6884782"/>
              <a:gd name="connsiteY3201" fmla="*/ 5514962 h 5973007"/>
              <a:gd name="connsiteX3202" fmla="*/ 3246587 w 6884782"/>
              <a:gd name="connsiteY3202" fmla="*/ 5513413 h 5973007"/>
              <a:gd name="connsiteX3203" fmla="*/ 3253557 w 6884782"/>
              <a:gd name="connsiteY3203" fmla="*/ 5512484 h 5973007"/>
              <a:gd name="connsiteX3204" fmla="*/ 3267963 w 6884782"/>
              <a:gd name="connsiteY3204" fmla="*/ 5514755 h 5973007"/>
              <a:gd name="connsiteX3205" fmla="*/ 3275398 w 6884782"/>
              <a:gd name="connsiteY3205" fmla="*/ 5516201 h 5973007"/>
              <a:gd name="connsiteX3206" fmla="*/ 3278960 w 6884782"/>
              <a:gd name="connsiteY3206" fmla="*/ 5513929 h 5973007"/>
              <a:gd name="connsiteX3207" fmla="*/ 3280510 w 6884782"/>
              <a:gd name="connsiteY3207" fmla="*/ 5517130 h 5973007"/>
              <a:gd name="connsiteX3208" fmla="*/ 3283452 w 6884782"/>
              <a:gd name="connsiteY3208" fmla="*/ 5517750 h 5973007"/>
              <a:gd name="connsiteX3209" fmla="*/ 3289958 w 6884782"/>
              <a:gd name="connsiteY3209" fmla="*/ 5518163 h 5973007"/>
              <a:gd name="connsiteX3210" fmla="*/ 3291352 w 6884782"/>
              <a:gd name="connsiteY3210" fmla="*/ 5516408 h 5973007"/>
              <a:gd name="connsiteX3211" fmla="*/ 3293676 w 6884782"/>
              <a:gd name="connsiteY3211" fmla="*/ 5518060 h 5973007"/>
              <a:gd name="connsiteX3212" fmla="*/ 3298942 w 6884782"/>
              <a:gd name="connsiteY3212" fmla="*/ 5517544 h 5973007"/>
              <a:gd name="connsiteX3213" fmla="*/ 3303899 w 6884782"/>
              <a:gd name="connsiteY3213" fmla="*/ 5521984 h 5973007"/>
              <a:gd name="connsiteX3214" fmla="*/ 3315671 w 6884782"/>
              <a:gd name="connsiteY3214" fmla="*/ 5518989 h 5973007"/>
              <a:gd name="connsiteX3215" fmla="*/ 3326823 w 6884782"/>
              <a:gd name="connsiteY3215" fmla="*/ 5518783 h 5973007"/>
              <a:gd name="connsiteX3216" fmla="*/ 3327288 w 6884782"/>
              <a:gd name="connsiteY3216" fmla="*/ 5516511 h 5973007"/>
              <a:gd name="connsiteX3217" fmla="*/ 3330386 w 6884782"/>
              <a:gd name="connsiteY3217" fmla="*/ 5512897 h 5973007"/>
              <a:gd name="connsiteX3218" fmla="*/ 3329147 w 6884782"/>
              <a:gd name="connsiteY3218" fmla="*/ 5510316 h 5973007"/>
              <a:gd name="connsiteX3219" fmla="*/ 3329456 w 6884782"/>
              <a:gd name="connsiteY3219" fmla="*/ 5507941 h 5973007"/>
              <a:gd name="connsiteX3220" fmla="*/ 3333484 w 6884782"/>
              <a:gd name="connsiteY3220" fmla="*/ 5505256 h 5973007"/>
              <a:gd name="connsiteX3221" fmla="*/ 3335343 w 6884782"/>
              <a:gd name="connsiteY3221" fmla="*/ 5507115 h 5973007"/>
              <a:gd name="connsiteX3222" fmla="*/ 3336891 w 6884782"/>
              <a:gd name="connsiteY3222" fmla="*/ 5505359 h 5973007"/>
              <a:gd name="connsiteX3223" fmla="*/ 3342623 w 6884782"/>
              <a:gd name="connsiteY3223" fmla="*/ 5502365 h 5973007"/>
              <a:gd name="connsiteX3224" fmla="*/ 3340919 w 6884782"/>
              <a:gd name="connsiteY3224" fmla="*/ 5501022 h 5973007"/>
              <a:gd name="connsiteX3225" fmla="*/ 3335188 w 6884782"/>
              <a:gd name="connsiteY3225" fmla="*/ 5500816 h 5973007"/>
              <a:gd name="connsiteX3226" fmla="*/ 3318923 w 6884782"/>
              <a:gd name="connsiteY3226" fmla="*/ 5510109 h 5973007"/>
              <a:gd name="connsiteX3227" fmla="*/ 3319233 w 6884782"/>
              <a:gd name="connsiteY3227" fmla="*/ 5507218 h 5973007"/>
              <a:gd name="connsiteX3228" fmla="*/ 3306377 w 6884782"/>
              <a:gd name="connsiteY3228" fmla="*/ 5510935 h 5973007"/>
              <a:gd name="connsiteX3229" fmla="*/ 3306067 w 6884782"/>
              <a:gd name="connsiteY3229" fmla="*/ 5510419 h 5973007"/>
              <a:gd name="connsiteX3230" fmla="*/ 3304983 w 6884782"/>
              <a:gd name="connsiteY3230" fmla="*/ 5510729 h 5973007"/>
              <a:gd name="connsiteX3231" fmla="*/ 3292591 w 6884782"/>
              <a:gd name="connsiteY3231" fmla="*/ 5510625 h 5973007"/>
              <a:gd name="connsiteX3232" fmla="*/ 3290268 w 6884782"/>
              <a:gd name="connsiteY3232" fmla="*/ 5502158 h 5973007"/>
              <a:gd name="connsiteX3233" fmla="*/ 3279735 w 6884782"/>
              <a:gd name="connsiteY3233" fmla="*/ 5501745 h 5973007"/>
              <a:gd name="connsiteX3234" fmla="*/ 3265639 w 6884782"/>
              <a:gd name="connsiteY3234" fmla="*/ 5502675 h 5973007"/>
              <a:gd name="connsiteX3235" fmla="*/ 3264400 w 6884782"/>
              <a:gd name="connsiteY3235" fmla="*/ 5497718 h 5973007"/>
              <a:gd name="connsiteX3236" fmla="*/ 3261147 w 6884782"/>
              <a:gd name="connsiteY3236" fmla="*/ 5497925 h 5973007"/>
              <a:gd name="connsiteX3237" fmla="*/ 3265175 w 6884782"/>
              <a:gd name="connsiteY3237" fmla="*/ 5502365 h 5973007"/>
              <a:gd name="connsiteX3238" fmla="*/ 3262231 w 6884782"/>
              <a:gd name="connsiteY3238" fmla="*/ 5504327 h 5973007"/>
              <a:gd name="connsiteX3239" fmla="*/ 3259753 w 6884782"/>
              <a:gd name="connsiteY3239" fmla="*/ 5502675 h 5973007"/>
              <a:gd name="connsiteX3240" fmla="*/ 3258824 w 6884782"/>
              <a:gd name="connsiteY3240" fmla="*/ 5499783 h 5973007"/>
              <a:gd name="connsiteX3241" fmla="*/ 3260683 w 6884782"/>
              <a:gd name="connsiteY3241" fmla="*/ 5497925 h 5973007"/>
              <a:gd name="connsiteX3242" fmla="*/ 3256191 w 6884782"/>
              <a:gd name="connsiteY3242" fmla="*/ 5498131 h 5973007"/>
              <a:gd name="connsiteX3243" fmla="*/ 3255571 w 6884782"/>
              <a:gd name="connsiteY3243" fmla="*/ 5505049 h 5973007"/>
              <a:gd name="connsiteX3244" fmla="*/ 3244264 w 6884782"/>
              <a:gd name="connsiteY3244" fmla="*/ 5513620 h 5973007"/>
              <a:gd name="connsiteX3245" fmla="*/ 3235434 w 6884782"/>
              <a:gd name="connsiteY3245" fmla="*/ 5510419 h 5973007"/>
              <a:gd name="connsiteX3246" fmla="*/ 3239927 w 6884782"/>
              <a:gd name="connsiteY3246" fmla="*/ 5496892 h 5973007"/>
              <a:gd name="connsiteX3247" fmla="*/ 3233886 w 6884782"/>
              <a:gd name="connsiteY3247" fmla="*/ 5495860 h 5973007"/>
              <a:gd name="connsiteX3248" fmla="*/ 3219635 w 6884782"/>
              <a:gd name="connsiteY3248" fmla="*/ 5492969 h 5973007"/>
              <a:gd name="connsiteX3249" fmla="*/ 3210342 w 6884782"/>
              <a:gd name="connsiteY3249" fmla="*/ 5492452 h 5973007"/>
              <a:gd name="connsiteX3250" fmla="*/ 3211580 w 6884782"/>
              <a:gd name="connsiteY3250" fmla="*/ 5496170 h 5973007"/>
              <a:gd name="connsiteX3251" fmla="*/ 3209876 w 6884782"/>
              <a:gd name="connsiteY3251" fmla="*/ 5502158 h 5973007"/>
              <a:gd name="connsiteX3252" fmla="*/ 3206469 w 6884782"/>
              <a:gd name="connsiteY3252" fmla="*/ 5502778 h 5973007"/>
              <a:gd name="connsiteX3253" fmla="*/ 3201357 w 6884782"/>
              <a:gd name="connsiteY3253" fmla="*/ 5501022 h 5973007"/>
              <a:gd name="connsiteX3254" fmla="*/ 3199189 w 6884782"/>
              <a:gd name="connsiteY3254" fmla="*/ 5499061 h 5973007"/>
              <a:gd name="connsiteX3255" fmla="*/ 3198259 w 6884782"/>
              <a:gd name="connsiteY3255" fmla="*/ 5499783 h 5973007"/>
              <a:gd name="connsiteX3256" fmla="*/ 3198414 w 6884782"/>
              <a:gd name="connsiteY3256" fmla="*/ 5498441 h 5973007"/>
              <a:gd name="connsiteX3257" fmla="*/ 3197020 w 6884782"/>
              <a:gd name="connsiteY3257" fmla="*/ 5497305 h 5973007"/>
              <a:gd name="connsiteX3258" fmla="*/ 3196246 w 6884782"/>
              <a:gd name="connsiteY3258" fmla="*/ 5495653 h 5973007"/>
              <a:gd name="connsiteX3259" fmla="*/ 3192993 w 6884782"/>
              <a:gd name="connsiteY3259" fmla="*/ 5497305 h 5973007"/>
              <a:gd name="connsiteX3260" fmla="*/ 3193458 w 6884782"/>
              <a:gd name="connsiteY3260" fmla="*/ 5495963 h 5973007"/>
              <a:gd name="connsiteX3261" fmla="*/ 3195162 w 6884782"/>
              <a:gd name="connsiteY3261" fmla="*/ 5495447 h 5973007"/>
              <a:gd name="connsiteX3262" fmla="*/ 3196091 w 6884782"/>
              <a:gd name="connsiteY3262" fmla="*/ 5495137 h 5973007"/>
              <a:gd name="connsiteX3263" fmla="*/ 3195162 w 6884782"/>
              <a:gd name="connsiteY3263" fmla="*/ 5493485 h 5973007"/>
              <a:gd name="connsiteX3264" fmla="*/ 3197795 w 6884782"/>
              <a:gd name="connsiteY3264" fmla="*/ 5489458 h 5973007"/>
              <a:gd name="connsiteX3265" fmla="*/ 3191908 w 6884782"/>
              <a:gd name="connsiteY3265" fmla="*/ 5486670 h 5973007"/>
              <a:gd name="connsiteX3266" fmla="*/ 3199963 w 6884782"/>
              <a:gd name="connsiteY3266" fmla="*/ 5484088 h 5973007"/>
              <a:gd name="connsiteX3267" fmla="*/ 3201822 w 6884782"/>
              <a:gd name="connsiteY3267" fmla="*/ 5484295 h 5973007"/>
              <a:gd name="connsiteX3268" fmla="*/ 3202132 w 6884782"/>
              <a:gd name="connsiteY3268" fmla="*/ 5483985 h 5973007"/>
              <a:gd name="connsiteX3269" fmla="*/ 3192219 w 6884782"/>
              <a:gd name="connsiteY3269" fmla="*/ 5481197 h 5973007"/>
              <a:gd name="connsiteX3270" fmla="*/ 3181685 w 6884782"/>
              <a:gd name="connsiteY3270" fmla="*/ 5474486 h 5973007"/>
              <a:gd name="connsiteX3271" fmla="*/ 3182150 w 6884782"/>
              <a:gd name="connsiteY3271" fmla="*/ 5479132 h 5973007"/>
              <a:gd name="connsiteX3272" fmla="*/ 3169294 w 6884782"/>
              <a:gd name="connsiteY3272" fmla="*/ 5472214 h 5973007"/>
              <a:gd name="connsiteX3273" fmla="*/ 3162014 w 6884782"/>
              <a:gd name="connsiteY3273" fmla="*/ 5476757 h 5973007"/>
              <a:gd name="connsiteX3274" fmla="*/ 3144665 w 6884782"/>
              <a:gd name="connsiteY3274" fmla="*/ 5472111 h 5973007"/>
              <a:gd name="connsiteX3275" fmla="*/ 3137385 w 6884782"/>
              <a:gd name="connsiteY3275" fmla="*/ 5470252 h 5973007"/>
              <a:gd name="connsiteX3276" fmla="*/ 3136920 w 6884782"/>
              <a:gd name="connsiteY3276" fmla="*/ 5471904 h 5973007"/>
              <a:gd name="connsiteX3277" fmla="*/ 3131499 w 6884782"/>
              <a:gd name="connsiteY3277" fmla="*/ 5471801 h 5973007"/>
              <a:gd name="connsiteX3278" fmla="*/ 3129795 w 6884782"/>
              <a:gd name="connsiteY3278" fmla="*/ 5468187 h 5973007"/>
              <a:gd name="connsiteX3279" fmla="*/ 3126697 w 6884782"/>
              <a:gd name="connsiteY3279" fmla="*/ 5467361 h 5973007"/>
              <a:gd name="connsiteX3280" fmla="*/ 3128711 w 6884782"/>
              <a:gd name="connsiteY3280" fmla="*/ 5464573 h 5973007"/>
              <a:gd name="connsiteX3281" fmla="*/ 3129950 w 6884782"/>
              <a:gd name="connsiteY3281" fmla="*/ 5464057 h 5973007"/>
              <a:gd name="connsiteX3282" fmla="*/ 3130725 w 6884782"/>
              <a:gd name="connsiteY3282" fmla="*/ 5462508 h 5973007"/>
              <a:gd name="connsiteX3283" fmla="*/ 3132119 w 6884782"/>
              <a:gd name="connsiteY3283" fmla="*/ 5462611 h 5973007"/>
              <a:gd name="connsiteX3284" fmla="*/ 3132893 w 6884782"/>
              <a:gd name="connsiteY3284" fmla="*/ 5461992 h 5973007"/>
              <a:gd name="connsiteX3285" fmla="*/ 3132584 w 6884782"/>
              <a:gd name="connsiteY3285" fmla="*/ 5458584 h 5973007"/>
              <a:gd name="connsiteX3286" fmla="*/ 3148538 w 6884782"/>
              <a:gd name="connsiteY3286" fmla="*/ 5465089 h 5973007"/>
              <a:gd name="connsiteX3287" fmla="*/ 3163563 w 6884782"/>
              <a:gd name="connsiteY3287" fmla="*/ 5463644 h 5973007"/>
              <a:gd name="connsiteX3288" fmla="*/ 3164182 w 6884782"/>
              <a:gd name="connsiteY3288" fmla="*/ 5468290 h 5973007"/>
              <a:gd name="connsiteX3289" fmla="*/ 3167900 w 6884782"/>
              <a:gd name="connsiteY3289" fmla="*/ 5465709 h 5973007"/>
              <a:gd name="connsiteX3290" fmla="*/ 3157212 w 6884782"/>
              <a:gd name="connsiteY3290" fmla="*/ 5458687 h 5973007"/>
              <a:gd name="connsiteX3291" fmla="*/ 3145130 w 6884782"/>
              <a:gd name="connsiteY3291" fmla="*/ 5460236 h 5973007"/>
              <a:gd name="connsiteX3292" fmla="*/ 3138934 w 6884782"/>
              <a:gd name="connsiteY3292" fmla="*/ 5456416 h 5973007"/>
              <a:gd name="connsiteX3293" fmla="*/ 3136146 w 6884782"/>
              <a:gd name="connsiteY3293" fmla="*/ 5454660 h 5973007"/>
              <a:gd name="connsiteX3294" fmla="*/ 3135527 w 6884782"/>
              <a:gd name="connsiteY3294" fmla="*/ 5455177 h 5973007"/>
              <a:gd name="connsiteX3295" fmla="*/ 3135527 w 6884782"/>
              <a:gd name="connsiteY3295" fmla="*/ 5454247 h 5973007"/>
              <a:gd name="connsiteX3296" fmla="*/ 3133203 w 6884782"/>
              <a:gd name="connsiteY3296" fmla="*/ 5452802 h 5973007"/>
              <a:gd name="connsiteX3297" fmla="*/ 3135216 w 6884782"/>
              <a:gd name="connsiteY3297" fmla="*/ 5448362 h 5973007"/>
              <a:gd name="connsiteX3298" fmla="*/ 3132738 w 6884782"/>
              <a:gd name="connsiteY3298" fmla="*/ 5442992 h 5973007"/>
              <a:gd name="connsiteX3299" fmla="*/ 3131189 w 6884782"/>
              <a:gd name="connsiteY3299" fmla="*/ 5440411 h 5973007"/>
              <a:gd name="connsiteX3300" fmla="*/ 3129176 w 6884782"/>
              <a:gd name="connsiteY3300" fmla="*/ 5439482 h 5973007"/>
              <a:gd name="connsiteX3301" fmla="*/ 3111827 w 6884782"/>
              <a:gd name="connsiteY3301" fmla="*/ 5434939 h 5973007"/>
              <a:gd name="connsiteX3302" fmla="*/ 3105941 w 6884782"/>
              <a:gd name="connsiteY3302" fmla="*/ 5429259 h 5973007"/>
              <a:gd name="connsiteX3303" fmla="*/ 3101759 w 6884782"/>
              <a:gd name="connsiteY3303" fmla="*/ 5426472 h 5973007"/>
              <a:gd name="connsiteX3304" fmla="*/ 3097887 w 6884782"/>
              <a:gd name="connsiteY3304" fmla="*/ 5423064 h 5973007"/>
              <a:gd name="connsiteX3305" fmla="*/ 3089987 w 6884782"/>
              <a:gd name="connsiteY3305" fmla="*/ 5417901 h 5973007"/>
              <a:gd name="connsiteX3306" fmla="*/ 3089522 w 6884782"/>
              <a:gd name="connsiteY3306" fmla="*/ 5417901 h 5973007"/>
              <a:gd name="connsiteX3307" fmla="*/ 3081468 w 6884782"/>
              <a:gd name="connsiteY3307" fmla="*/ 5414597 h 5973007"/>
              <a:gd name="connsiteX3308" fmla="*/ 3077750 w 6884782"/>
              <a:gd name="connsiteY3308" fmla="*/ 5409847 h 5973007"/>
              <a:gd name="connsiteX3309" fmla="*/ 3064584 w 6884782"/>
              <a:gd name="connsiteY3309" fmla="*/ 5400761 h 5973007"/>
              <a:gd name="connsiteX3310" fmla="*/ 3063035 w 6884782"/>
              <a:gd name="connsiteY3310" fmla="*/ 5404788 h 5973007"/>
              <a:gd name="connsiteX3311" fmla="*/ 3057923 w 6884782"/>
              <a:gd name="connsiteY3311" fmla="*/ 5411603 h 5973007"/>
              <a:gd name="connsiteX3312" fmla="*/ 3056839 w 6884782"/>
              <a:gd name="connsiteY3312" fmla="*/ 5411706 h 5973007"/>
              <a:gd name="connsiteX3313" fmla="*/ 3056065 w 6884782"/>
              <a:gd name="connsiteY3313" fmla="*/ 5412739 h 5973007"/>
              <a:gd name="connsiteX3314" fmla="*/ 3056219 w 6884782"/>
              <a:gd name="connsiteY3314" fmla="*/ 5412945 h 5973007"/>
              <a:gd name="connsiteX3315" fmla="*/ 3056374 w 6884782"/>
              <a:gd name="connsiteY3315" fmla="*/ 5413771 h 5973007"/>
              <a:gd name="connsiteX3316" fmla="*/ 3054671 w 6884782"/>
              <a:gd name="connsiteY3316" fmla="*/ 5416765 h 5973007"/>
              <a:gd name="connsiteX3317" fmla="*/ 3052502 w 6884782"/>
              <a:gd name="connsiteY3317" fmla="*/ 5416559 h 5973007"/>
              <a:gd name="connsiteX3318" fmla="*/ 3049404 w 6884782"/>
              <a:gd name="connsiteY3318" fmla="*/ 5412429 h 5973007"/>
              <a:gd name="connsiteX3319" fmla="*/ 3034069 w 6884782"/>
              <a:gd name="connsiteY3319" fmla="*/ 5412429 h 5973007"/>
              <a:gd name="connsiteX3320" fmla="*/ 3033759 w 6884782"/>
              <a:gd name="connsiteY3320" fmla="*/ 5403652 h 5973007"/>
              <a:gd name="connsiteX3321" fmla="*/ 3048320 w 6884782"/>
              <a:gd name="connsiteY3321" fmla="*/ 5398489 h 5973007"/>
              <a:gd name="connsiteX3322" fmla="*/ 3048320 w 6884782"/>
              <a:gd name="connsiteY3322" fmla="*/ 5399315 h 5973007"/>
              <a:gd name="connsiteX3323" fmla="*/ 3053122 w 6884782"/>
              <a:gd name="connsiteY3323" fmla="*/ 5397250 h 5973007"/>
              <a:gd name="connsiteX3324" fmla="*/ 3053741 w 6884782"/>
              <a:gd name="connsiteY3324" fmla="*/ 5398076 h 5973007"/>
              <a:gd name="connsiteX3325" fmla="*/ 3054051 w 6884782"/>
              <a:gd name="connsiteY3325" fmla="*/ 5398076 h 5973007"/>
              <a:gd name="connsiteX3326" fmla="*/ 3056839 w 6884782"/>
              <a:gd name="connsiteY3326" fmla="*/ 5395082 h 5973007"/>
              <a:gd name="connsiteX3327" fmla="*/ 3056684 w 6884782"/>
              <a:gd name="connsiteY3327" fmla="*/ 5395082 h 5973007"/>
              <a:gd name="connsiteX3328" fmla="*/ 3056374 w 6884782"/>
              <a:gd name="connsiteY3328" fmla="*/ 5395082 h 5973007"/>
              <a:gd name="connsiteX3329" fmla="*/ 3050798 w 6884782"/>
              <a:gd name="connsiteY3329" fmla="*/ 5390745 h 5973007"/>
              <a:gd name="connsiteX3330" fmla="*/ 3050179 w 6884782"/>
              <a:gd name="connsiteY3330" fmla="*/ 5388886 h 5973007"/>
              <a:gd name="connsiteX3331" fmla="*/ 3048784 w 6884782"/>
              <a:gd name="connsiteY3331" fmla="*/ 5387647 h 5973007"/>
              <a:gd name="connsiteX3332" fmla="*/ 3049094 w 6884782"/>
              <a:gd name="connsiteY3332" fmla="*/ 5388473 h 5973007"/>
              <a:gd name="connsiteX3333" fmla="*/ 3049559 w 6884782"/>
              <a:gd name="connsiteY3333" fmla="*/ 5389506 h 5973007"/>
              <a:gd name="connsiteX3334" fmla="*/ 3048939 w 6884782"/>
              <a:gd name="connsiteY3334" fmla="*/ 5391364 h 5973007"/>
              <a:gd name="connsiteX3335" fmla="*/ 3044448 w 6884782"/>
              <a:gd name="connsiteY3335" fmla="*/ 5395082 h 5973007"/>
              <a:gd name="connsiteX3336" fmla="*/ 3041814 w 6884782"/>
              <a:gd name="connsiteY3336" fmla="*/ 5388783 h 5973007"/>
              <a:gd name="connsiteX3337" fmla="*/ 3043208 w 6884782"/>
              <a:gd name="connsiteY3337" fmla="*/ 5383311 h 5973007"/>
              <a:gd name="connsiteX3338" fmla="*/ 3040885 w 6884782"/>
              <a:gd name="connsiteY3338" fmla="*/ 5384240 h 5973007"/>
              <a:gd name="connsiteX3339" fmla="*/ 3037942 w 6884782"/>
              <a:gd name="connsiteY3339" fmla="*/ 5381968 h 5973007"/>
              <a:gd name="connsiteX3340" fmla="*/ 3033759 w 6884782"/>
              <a:gd name="connsiteY3340" fmla="*/ 5379180 h 5973007"/>
              <a:gd name="connsiteX3341" fmla="*/ 3026944 w 6884782"/>
              <a:gd name="connsiteY3341" fmla="*/ 5377838 h 5973007"/>
              <a:gd name="connsiteX3342" fmla="*/ 3031746 w 6884782"/>
              <a:gd name="connsiteY3342" fmla="*/ 5376289 h 5973007"/>
              <a:gd name="connsiteX3343" fmla="*/ 3009131 w 6884782"/>
              <a:gd name="connsiteY3343" fmla="*/ 5366273 h 5973007"/>
              <a:gd name="connsiteX3344" fmla="*/ 2986671 w 6884782"/>
              <a:gd name="connsiteY3344" fmla="*/ 5355535 h 5973007"/>
              <a:gd name="connsiteX3345" fmla="*/ 2990079 w 6884782"/>
              <a:gd name="connsiteY3345" fmla="*/ 5364931 h 5973007"/>
              <a:gd name="connsiteX3346" fmla="*/ 2981559 w 6884782"/>
              <a:gd name="connsiteY3346" fmla="*/ 5357703 h 5973007"/>
              <a:gd name="connsiteX3347" fmla="*/ 2976138 w 6884782"/>
              <a:gd name="connsiteY3347" fmla="*/ 5351508 h 5973007"/>
              <a:gd name="connsiteX3348" fmla="*/ 2974280 w 6884782"/>
              <a:gd name="connsiteY3348" fmla="*/ 5352953 h 5973007"/>
              <a:gd name="connsiteX3349" fmla="*/ 2971026 w 6884782"/>
              <a:gd name="connsiteY3349" fmla="*/ 5353366 h 5973007"/>
              <a:gd name="connsiteX3350" fmla="*/ 2969942 w 6884782"/>
              <a:gd name="connsiteY3350" fmla="*/ 5352850 h 5973007"/>
              <a:gd name="connsiteX3351" fmla="*/ 2973814 w 6884782"/>
              <a:gd name="connsiteY3351" fmla="*/ 5351404 h 5973007"/>
              <a:gd name="connsiteX3352" fmla="*/ 2975673 w 6884782"/>
              <a:gd name="connsiteY3352" fmla="*/ 5350991 h 5973007"/>
              <a:gd name="connsiteX3353" fmla="*/ 2975364 w 6884782"/>
              <a:gd name="connsiteY3353" fmla="*/ 5350578 h 5973007"/>
              <a:gd name="connsiteX3354" fmla="*/ 2968083 w 6884782"/>
              <a:gd name="connsiteY3354" fmla="*/ 5345725 h 5973007"/>
              <a:gd name="connsiteX3355" fmla="*/ 2964056 w 6884782"/>
              <a:gd name="connsiteY3355" fmla="*/ 5344280 h 5973007"/>
              <a:gd name="connsiteX3356" fmla="*/ 2965605 w 6884782"/>
              <a:gd name="connsiteY3356" fmla="*/ 5345932 h 5973007"/>
              <a:gd name="connsiteX3357" fmla="*/ 2960184 w 6884782"/>
              <a:gd name="connsiteY3357" fmla="*/ 5349959 h 5973007"/>
              <a:gd name="connsiteX3358" fmla="*/ 2959409 w 6884782"/>
              <a:gd name="connsiteY3358" fmla="*/ 5348307 h 5973007"/>
              <a:gd name="connsiteX3359" fmla="*/ 2959719 w 6884782"/>
              <a:gd name="connsiteY3359" fmla="*/ 5345312 h 5973007"/>
              <a:gd name="connsiteX3360" fmla="*/ 2961578 w 6884782"/>
              <a:gd name="connsiteY3360" fmla="*/ 5343453 h 5973007"/>
              <a:gd name="connsiteX3361" fmla="*/ 2959100 w 6884782"/>
              <a:gd name="connsiteY3361" fmla="*/ 5342627 h 5973007"/>
              <a:gd name="connsiteX3362" fmla="*/ 2959409 w 6884782"/>
              <a:gd name="connsiteY3362" fmla="*/ 5337878 h 5973007"/>
              <a:gd name="connsiteX3363" fmla="*/ 2958015 w 6884782"/>
              <a:gd name="connsiteY3363" fmla="*/ 5333231 h 5973007"/>
              <a:gd name="connsiteX3364" fmla="*/ 2957860 w 6884782"/>
              <a:gd name="connsiteY3364" fmla="*/ 5333231 h 5973007"/>
              <a:gd name="connsiteX3365" fmla="*/ 2956157 w 6884782"/>
              <a:gd name="connsiteY3365" fmla="*/ 5333335 h 5973007"/>
              <a:gd name="connsiteX3366" fmla="*/ 2950115 w 6884782"/>
              <a:gd name="connsiteY3366" fmla="*/ 5333024 h 5973007"/>
              <a:gd name="connsiteX3367" fmla="*/ 2954298 w 6884782"/>
              <a:gd name="connsiteY3367" fmla="*/ 5331889 h 5973007"/>
              <a:gd name="connsiteX3368" fmla="*/ 2955382 w 6884782"/>
              <a:gd name="connsiteY3368" fmla="*/ 5331269 h 5973007"/>
              <a:gd name="connsiteX3369" fmla="*/ 2955227 w 6884782"/>
              <a:gd name="connsiteY3369" fmla="*/ 5330856 h 5973007"/>
              <a:gd name="connsiteX3370" fmla="*/ 2955537 w 6884782"/>
              <a:gd name="connsiteY3370" fmla="*/ 5330753 h 5973007"/>
              <a:gd name="connsiteX3371" fmla="*/ 2949031 w 6884782"/>
              <a:gd name="connsiteY3371" fmla="*/ 5326210 h 5973007"/>
              <a:gd name="connsiteX3372" fmla="*/ 2942061 w 6884782"/>
              <a:gd name="connsiteY3372" fmla="*/ 5318466 h 5973007"/>
              <a:gd name="connsiteX3373" fmla="*/ 2937724 w 6884782"/>
              <a:gd name="connsiteY3373" fmla="*/ 5326933 h 5973007"/>
              <a:gd name="connsiteX3374" fmla="*/ 2946863 w 6884782"/>
              <a:gd name="connsiteY3374" fmla="*/ 5331992 h 5973007"/>
              <a:gd name="connsiteX3375" fmla="*/ 2945624 w 6884782"/>
              <a:gd name="connsiteY3375" fmla="*/ 5331889 h 5973007"/>
              <a:gd name="connsiteX3376" fmla="*/ 2947947 w 6884782"/>
              <a:gd name="connsiteY3376" fmla="*/ 5333644 h 5973007"/>
              <a:gd name="connsiteX3377" fmla="*/ 2951665 w 6884782"/>
              <a:gd name="connsiteY3377" fmla="*/ 5338807 h 5973007"/>
              <a:gd name="connsiteX3378" fmla="*/ 2947172 w 6884782"/>
              <a:gd name="connsiteY3378" fmla="*/ 5342627 h 5973007"/>
              <a:gd name="connsiteX3379" fmla="*/ 2939737 w 6884782"/>
              <a:gd name="connsiteY3379" fmla="*/ 5334264 h 5973007"/>
              <a:gd name="connsiteX3380" fmla="*/ 2941596 w 6884782"/>
              <a:gd name="connsiteY3380" fmla="*/ 5331373 h 5973007"/>
              <a:gd name="connsiteX3381" fmla="*/ 2938189 w 6884782"/>
              <a:gd name="connsiteY3381" fmla="*/ 5329824 h 5973007"/>
              <a:gd name="connsiteX3382" fmla="*/ 2929359 w 6884782"/>
              <a:gd name="connsiteY3382" fmla="*/ 5328069 h 5973007"/>
              <a:gd name="connsiteX3383" fmla="*/ 2935710 w 6884782"/>
              <a:gd name="connsiteY3383" fmla="*/ 5326313 h 5973007"/>
              <a:gd name="connsiteX3384" fmla="*/ 2938498 w 6884782"/>
              <a:gd name="connsiteY3384" fmla="*/ 5321563 h 5973007"/>
              <a:gd name="connsiteX3385" fmla="*/ 2937879 w 6884782"/>
              <a:gd name="connsiteY3385" fmla="*/ 5318156 h 5973007"/>
              <a:gd name="connsiteX3386" fmla="*/ 2934316 w 6884782"/>
              <a:gd name="connsiteY3386" fmla="*/ 5318466 h 5973007"/>
              <a:gd name="connsiteX3387" fmla="*/ 2930908 w 6884782"/>
              <a:gd name="connsiteY3387" fmla="*/ 5316504 h 5973007"/>
              <a:gd name="connsiteX3388" fmla="*/ 2930444 w 6884782"/>
              <a:gd name="connsiteY3388" fmla="*/ 5315058 h 5973007"/>
              <a:gd name="connsiteX3389" fmla="*/ 2925642 w 6884782"/>
              <a:gd name="connsiteY3389" fmla="*/ 5315058 h 5973007"/>
              <a:gd name="connsiteX3390" fmla="*/ 2920375 w 6884782"/>
              <a:gd name="connsiteY3390" fmla="*/ 5314025 h 5973007"/>
              <a:gd name="connsiteX3391" fmla="*/ 2924093 w 6884782"/>
              <a:gd name="connsiteY3391" fmla="*/ 5308656 h 5973007"/>
              <a:gd name="connsiteX3392" fmla="*/ 2925177 w 6884782"/>
              <a:gd name="connsiteY3392" fmla="*/ 5302357 h 5973007"/>
              <a:gd name="connsiteX3393" fmla="*/ 2917587 w 6884782"/>
              <a:gd name="connsiteY3393" fmla="*/ 5302151 h 5973007"/>
              <a:gd name="connsiteX3394" fmla="*/ 2431833 w 6884782"/>
              <a:gd name="connsiteY3394" fmla="*/ 5300602 h 5973007"/>
              <a:gd name="connsiteX3395" fmla="*/ 2431678 w 6884782"/>
              <a:gd name="connsiteY3395" fmla="*/ 5305765 h 5973007"/>
              <a:gd name="connsiteX3396" fmla="*/ 2429354 w 6884782"/>
              <a:gd name="connsiteY3396" fmla="*/ 5307520 h 5973007"/>
              <a:gd name="connsiteX3397" fmla="*/ 2426566 w 6884782"/>
              <a:gd name="connsiteY3397" fmla="*/ 5306075 h 5973007"/>
              <a:gd name="connsiteX3398" fmla="*/ 2425327 w 6884782"/>
              <a:gd name="connsiteY3398" fmla="*/ 5302668 h 5973007"/>
              <a:gd name="connsiteX3399" fmla="*/ 2431833 w 6884782"/>
              <a:gd name="connsiteY3399" fmla="*/ 5300602 h 5973007"/>
              <a:gd name="connsiteX3400" fmla="*/ 1963117 w 6884782"/>
              <a:gd name="connsiteY3400" fmla="*/ 5299570 h 5973007"/>
              <a:gd name="connsiteX3401" fmla="*/ 1967918 w 6884782"/>
              <a:gd name="connsiteY3401" fmla="*/ 5304733 h 5973007"/>
              <a:gd name="connsiteX3402" fmla="*/ 1963581 w 6884782"/>
              <a:gd name="connsiteY3402" fmla="*/ 5306694 h 5973007"/>
              <a:gd name="connsiteX3403" fmla="*/ 1961878 w 6884782"/>
              <a:gd name="connsiteY3403" fmla="*/ 5305868 h 5973007"/>
              <a:gd name="connsiteX3404" fmla="*/ 1963117 w 6884782"/>
              <a:gd name="connsiteY3404" fmla="*/ 5299570 h 5973007"/>
              <a:gd name="connsiteX3405" fmla="*/ 2699958 w 6884782"/>
              <a:gd name="connsiteY3405" fmla="*/ 5299053 h 5973007"/>
              <a:gd name="connsiteX3406" fmla="*/ 2707393 w 6884782"/>
              <a:gd name="connsiteY3406" fmla="*/ 5300912 h 5973007"/>
              <a:gd name="connsiteX3407" fmla="*/ 2705999 w 6884782"/>
              <a:gd name="connsiteY3407" fmla="*/ 5305249 h 5973007"/>
              <a:gd name="connsiteX3408" fmla="*/ 2693917 w 6884782"/>
              <a:gd name="connsiteY3408" fmla="*/ 5309585 h 5973007"/>
              <a:gd name="connsiteX3409" fmla="*/ 2695466 w 6884782"/>
              <a:gd name="connsiteY3409" fmla="*/ 5301635 h 5973007"/>
              <a:gd name="connsiteX3410" fmla="*/ 2699958 w 6884782"/>
              <a:gd name="connsiteY3410" fmla="*/ 5299053 h 5973007"/>
              <a:gd name="connsiteX3411" fmla="*/ 2412161 w 6884782"/>
              <a:gd name="connsiteY3411" fmla="*/ 5296782 h 5973007"/>
              <a:gd name="connsiteX3412" fmla="*/ 2412935 w 6884782"/>
              <a:gd name="connsiteY3412" fmla="*/ 5298537 h 5973007"/>
              <a:gd name="connsiteX3413" fmla="*/ 2411696 w 6884782"/>
              <a:gd name="connsiteY3413" fmla="*/ 5301325 h 5973007"/>
              <a:gd name="connsiteX3414" fmla="*/ 2408134 w 6884782"/>
              <a:gd name="connsiteY3414" fmla="*/ 5302151 h 5973007"/>
              <a:gd name="connsiteX3415" fmla="*/ 2407514 w 6884782"/>
              <a:gd name="connsiteY3415" fmla="*/ 5300292 h 5973007"/>
              <a:gd name="connsiteX3416" fmla="*/ 2407823 w 6884782"/>
              <a:gd name="connsiteY3416" fmla="*/ 5297608 h 5973007"/>
              <a:gd name="connsiteX3417" fmla="*/ 2412161 w 6884782"/>
              <a:gd name="connsiteY3417" fmla="*/ 5296782 h 5973007"/>
              <a:gd name="connsiteX3418" fmla="*/ 2811019 w 6884782"/>
              <a:gd name="connsiteY3418" fmla="*/ 5296575 h 5973007"/>
              <a:gd name="connsiteX3419" fmla="*/ 2812103 w 6884782"/>
              <a:gd name="connsiteY3419" fmla="*/ 5300086 h 5973007"/>
              <a:gd name="connsiteX3420" fmla="*/ 2811328 w 6884782"/>
              <a:gd name="connsiteY3420" fmla="*/ 5302254 h 5973007"/>
              <a:gd name="connsiteX3421" fmla="*/ 2812567 w 6884782"/>
              <a:gd name="connsiteY3421" fmla="*/ 5302461 h 5973007"/>
              <a:gd name="connsiteX3422" fmla="*/ 2814891 w 6884782"/>
              <a:gd name="connsiteY3422" fmla="*/ 5312477 h 5973007"/>
              <a:gd name="connsiteX3423" fmla="*/ 2810244 w 6884782"/>
              <a:gd name="connsiteY3423" fmla="*/ 5312683 h 5973007"/>
              <a:gd name="connsiteX3424" fmla="*/ 2806991 w 6884782"/>
              <a:gd name="connsiteY3424" fmla="*/ 5312270 h 5973007"/>
              <a:gd name="connsiteX3425" fmla="*/ 2804513 w 6884782"/>
              <a:gd name="connsiteY3425" fmla="*/ 5305765 h 5973007"/>
              <a:gd name="connsiteX3426" fmla="*/ 2804668 w 6884782"/>
              <a:gd name="connsiteY3426" fmla="*/ 5305455 h 5973007"/>
              <a:gd name="connsiteX3427" fmla="*/ 2804513 w 6884782"/>
              <a:gd name="connsiteY3427" fmla="*/ 5305352 h 5973007"/>
              <a:gd name="connsiteX3428" fmla="*/ 2803119 w 6884782"/>
              <a:gd name="connsiteY3428" fmla="*/ 5302357 h 5973007"/>
              <a:gd name="connsiteX3429" fmla="*/ 2804978 w 6884782"/>
              <a:gd name="connsiteY3429" fmla="*/ 5299156 h 5973007"/>
              <a:gd name="connsiteX3430" fmla="*/ 2811019 w 6884782"/>
              <a:gd name="connsiteY3430" fmla="*/ 5296575 h 5973007"/>
              <a:gd name="connsiteX3431" fmla="*/ 1702891 w 6884782"/>
              <a:gd name="connsiteY3431" fmla="*/ 5295956 h 5973007"/>
              <a:gd name="connsiteX3432" fmla="*/ 1704595 w 6884782"/>
              <a:gd name="connsiteY3432" fmla="*/ 5303080 h 5973007"/>
              <a:gd name="connsiteX3433" fmla="*/ 1702891 w 6884782"/>
              <a:gd name="connsiteY3433" fmla="*/ 5303907 h 5973007"/>
              <a:gd name="connsiteX3434" fmla="*/ 1700722 w 6884782"/>
              <a:gd name="connsiteY3434" fmla="*/ 5304423 h 5973007"/>
              <a:gd name="connsiteX3435" fmla="*/ 1696385 w 6884782"/>
              <a:gd name="connsiteY3435" fmla="*/ 5302874 h 5973007"/>
              <a:gd name="connsiteX3436" fmla="*/ 1695146 w 6884782"/>
              <a:gd name="connsiteY3436" fmla="*/ 5300809 h 5973007"/>
              <a:gd name="connsiteX3437" fmla="*/ 1695146 w 6884782"/>
              <a:gd name="connsiteY3437" fmla="*/ 5299363 h 5973007"/>
              <a:gd name="connsiteX3438" fmla="*/ 1695146 w 6884782"/>
              <a:gd name="connsiteY3438" fmla="*/ 5297608 h 5973007"/>
              <a:gd name="connsiteX3439" fmla="*/ 1702891 w 6884782"/>
              <a:gd name="connsiteY3439" fmla="*/ 5295956 h 5973007"/>
              <a:gd name="connsiteX3440" fmla="*/ 2649348 w 6884782"/>
              <a:gd name="connsiteY3440" fmla="*/ 5295895 h 5973007"/>
              <a:gd name="connsiteX3441" fmla="*/ 2655967 w 6884782"/>
              <a:gd name="connsiteY3441" fmla="*/ 5296679 h 5973007"/>
              <a:gd name="connsiteX3442" fmla="*/ 2652870 w 6884782"/>
              <a:gd name="connsiteY3442" fmla="*/ 5299570 h 5973007"/>
              <a:gd name="connsiteX3443" fmla="*/ 2653334 w 6884782"/>
              <a:gd name="connsiteY3443" fmla="*/ 5299466 h 5973007"/>
              <a:gd name="connsiteX3444" fmla="*/ 2651011 w 6884782"/>
              <a:gd name="connsiteY3444" fmla="*/ 5309379 h 5973007"/>
              <a:gd name="connsiteX3445" fmla="*/ 2645435 w 6884782"/>
              <a:gd name="connsiteY3445" fmla="*/ 5306384 h 5973007"/>
              <a:gd name="connsiteX3446" fmla="*/ 2645744 w 6884782"/>
              <a:gd name="connsiteY3446" fmla="*/ 5305972 h 5973007"/>
              <a:gd name="connsiteX3447" fmla="*/ 2640633 w 6884782"/>
              <a:gd name="connsiteY3447" fmla="*/ 5310515 h 5973007"/>
              <a:gd name="connsiteX3448" fmla="*/ 2633817 w 6884782"/>
              <a:gd name="connsiteY3448" fmla="*/ 5314335 h 5973007"/>
              <a:gd name="connsiteX3449" fmla="*/ 2649348 w 6884782"/>
              <a:gd name="connsiteY3449" fmla="*/ 5295895 h 5973007"/>
              <a:gd name="connsiteX3450" fmla="*/ 2857488 w 6884782"/>
              <a:gd name="connsiteY3450" fmla="*/ 5295646 h 5973007"/>
              <a:gd name="connsiteX3451" fmla="*/ 2861050 w 6884782"/>
              <a:gd name="connsiteY3451" fmla="*/ 5303184 h 5973007"/>
              <a:gd name="connsiteX3452" fmla="*/ 2857023 w 6884782"/>
              <a:gd name="connsiteY3452" fmla="*/ 5297195 h 5973007"/>
              <a:gd name="connsiteX3453" fmla="*/ 2857488 w 6884782"/>
              <a:gd name="connsiteY3453" fmla="*/ 5295646 h 5973007"/>
              <a:gd name="connsiteX3454" fmla="*/ 2724586 w 6884782"/>
              <a:gd name="connsiteY3454" fmla="*/ 5293890 h 5973007"/>
              <a:gd name="connsiteX3455" fmla="*/ 2725516 w 6884782"/>
              <a:gd name="connsiteY3455" fmla="*/ 5295440 h 5973007"/>
              <a:gd name="connsiteX3456" fmla="*/ 2726290 w 6884782"/>
              <a:gd name="connsiteY3456" fmla="*/ 5293890 h 5973007"/>
              <a:gd name="connsiteX3457" fmla="*/ 2724122 w 6884782"/>
              <a:gd name="connsiteY3457" fmla="*/ 5336948 h 5973007"/>
              <a:gd name="connsiteX3458" fmla="*/ 2720559 w 6884782"/>
              <a:gd name="connsiteY3458" fmla="*/ 5304836 h 5973007"/>
              <a:gd name="connsiteX3459" fmla="*/ 2722573 w 6884782"/>
              <a:gd name="connsiteY3459" fmla="*/ 5300809 h 5973007"/>
              <a:gd name="connsiteX3460" fmla="*/ 2720404 w 6884782"/>
              <a:gd name="connsiteY3460" fmla="*/ 5299466 h 5973007"/>
              <a:gd name="connsiteX3461" fmla="*/ 2720404 w 6884782"/>
              <a:gd name="connsiteY3461" fmla="*/ 5299156 h 5973007"/>
              <a:gd name="connsiteX3462" fmla="*/ 2719940 w 6884782"/>
              <a:gd name="connsiteY3462" fmla="*/ 5299156 h 5973007"/>
              <a:gd name="connsiteX3463" fmla="*/ 2719010 w 6884782"/>
              <a:gd name="connsiteY3463" fmla="*/ 5299156 h 5973007"/>
              <a:gd name="connsiteX3464" fmla="*/ 2718700 w 6884782"/>
              <a:gd name="connsiteY3464" fmla="*/ 5298434 h 5973007"/>
              <a:gd name="connsiteX3465" fmla="*/ 2718546 w 6884782"/>
              <a:gd name="connsiteY3465" fmla="*/ 5298331 h 5973007"/>
              <a:gd name="connsiteX3466" fmla="*/ 2718855 w 6884782"/>
              <a:gd name="connsiteY3466" fmla="*/ 5296472 h 5973007"/>
              <a:gd name="connsiteX3467" fmla="*/ 2720095 w 6884782"/>
              <a:gd name="connsiteY3467" fmla="*/ 5295026 h 5973007"/>
              <a:gd name="connsiteX3468" fmla="*/ 2721024 w 6884782"/>
              <a:gd name="connsiteY3468" fmla="*/ 5295646 h 5973007"/>
              <a:gd name="connsiteX3469" fmla="*/ 2721334 w 6884782"/>
              <a:gd name="connsiteY3469" fmla="*/ 5296162 h 5973007"/>
              <a:gd name="connsiteX3470" fmla="*/ 1829596 w 6884782"/>
              <a:gd name="connsiteY3470" fmla="*/ 5293787 h 5973007"/>
              <a:gd name="connsiteX3471" fmla="*/ 1839200 w 6884782"/>
              <a:gd name="connsiteY3471" fmla="*/ 5298331 h 5973007"/>
              <a:gd name="connsiteX3472" fmla="*/ 1840284 w 6884782"/>
              <a:gd name="connsiteY3472" fmla="*/ 5313096 h 5973007"/>
              <a:gd name="connsiteX3473" fmla="*/ 1830835 w 6884782"/>
              <a:gd name="connsiteY3473" fmla="*/ 5316813 h 5973007"/>
              <a:gd name="connsiteX3474" fmla="*/ 1825879 w 6884782"/>
              <a:gd name="connsiteY3474" fmla="*/ 5314542 h 5973007"/>
              <a:gd name="connsiteX3475" fmla="*/ 1823246 w 6884782"/>
              <a:gd name="connsiteY3475" fmla="*/ 5311651 h 5973007"/>
              <a:gd name="connsiteX3476" fmla="*/ 1825724 w 6884782"/>
              <a:gd name="connsiteY3476" fmla="*/ 5298950 h 5973007"/>
              <a:gd name="connsiteX3477" fmla="*/ 1827582 w 6884782"/>
              <a:gd name="connsiteY3477" fmla="*/ 5297195 h 5973007"/>
              <a:gd name="connsiteX3478" fmla="*/ 1829596 w 6884782"/>
              <a:gd name="connsiteY3478" fmla="*/ 5293787 h 5973007"/>
              <a:gd name="connsiteX3479" fmla="*/ 1706454 w 6884782"/>
              <a:gd name="connsiteY3479" fmla="*/ 5292755 h 5973007"/>
              <a:gd name="connsiteX3480" fmla="*/ 1707073 w 6884782"/>
              <a:gd name="connsiteY3480" fmla="*/ 5296059 h 5973007"/>
              <a:gd name="connsiteX3481" fmla="*/ 1705524 w 6884782"/>
              <a:gd name="connsiteY3481" fmla="*/ 5296575 h 5973007"/>
              <a:gd name="connsiteX3482" fmla="*/ 1703665 w 6884782"/>
              <a:gd name="connsiteY3482" fmla="*/ 5295233 h 5973007"/>
              <a:gd name="connsiteX3483" fmla="*/ 2324644 w 6884782"/>
              <a:gd name="connsiteY3483" fmla="*/ 5292239 h 5973007"/>
              <a:gd name="connsiteX3484" fmla="*/ 2324799 w 6884782"/>
              <a:gd name="connsiteY3484" fmla="*/ 5305662 h 5973007"/>
              <a:gd name="connsiteX3485" fmla="*/ 2317674 w 6884782"/>
              <a:gd name="connsiteY3485" fmla="*/ 5292651 h 5973007"/>
              <a:gd name="connsiteX3486" fmla="*/ 2324644 w 6884782"/>
              <a:gd name="connsiteY3486" fmla="*/ 5292239 h 5973007"/>
              <a:gd name="connsiteX3487" fmla="*/ 2791347 w 6884782"/>
              <a:gd name="connsiteY3487" fmla="*/ 5290483 h 5973007"/>
              <a:gd name="connsiteX3488" fmla="*/ 2790418 w 6884782"/>
              <a:gd name="connsiteY3488" fmla="*/ 5297298 h 5973007"/>
              <a:gd name="connsiteX3489" fmla="*/ 2785925 w 6884782"/>
              <a:gd name="connsiteY3489" fmla="*/ 5293581 h 5973007"/>
              <a:gd name="connsiteX3490" fmla="*/ 2791347 w 6884782"/>
              <a:gd name="connsiteY3490" fmla="*/ 5290483 h 5973007"/>
              <a:gd name="connsiteX3491" fmla="*/ 1716057 w 6884782"/>
              <a:gd name="connsiteY3491" fmla="*/ 5289244 h 5973007"/>
              <a:gd name="connsiteX3492" fmla="*/ 1717606 w 6884782"/>
              <a:gd name="connsiteY3492" fmla="*/ 5290999 h 5973007"/>
              <a:gd name="connsiteX3493" fmla="*/ 1716987 w 6884782"/>
              <a:gd name="connsiteY3493" fmla="*/ 5296162 h 5973007"/>
              <a:gd name="connsiteX3494" fmla="*/ 1715283 w 6884782"/>
              <a:gd name="connsiteY3494" fmla="*/ 5296988 h 5973007"/>
              <a:gd name="connsiteX3495" fmla="*/ 1712960 w 6884782"/>
              <a:gd name="connsiteY3495" fmla="*/ 5293787 h 5973007"/>
              <a:gd name="connsiteX3496" fmla="*/ 1714353 w 6884782"/>
              <a:gd name="connsiteY3496" fmla="*/ 5290174 h 5973007"/>
              <a:gd name="connsiteX3497" fmla="*/ 1716057 w 6884782"/>
              <a:gd name="connsiteY3497" fmla="*/ 5289244 h 5973007"/>
              <a:gd name="connsiteX3498" fmla="*/ 2453363 w 6884782"/>
              <a:gd name="connsiteY3498" fmla="*/ 5283772 h 5973007"/>
              <a:gd name="connsiteX3499" fmla="*/ 2445463 w 6884782"/>
              <a:gd name="connsiteY3499" fmla="*/ 5306281 h 5973007"/>
              <a:gd name="connsiteX3500" fmla="*/ 2453363 w 6884782"/>
              <a:gd name="connsiteY3500" fmla="*/ 5283772 h 5973007"/>
              <a:gd name="connsiteX3501" fmla="*/ 2386603 w 6884782"/>
              <a:gd name="connsiteY3501" fmla="*/ 5283358 h 5973007"/>
              <a:gd name="connsiteX3502" fmla="*/ 2387377 w 6884782"/>
              <a:gd name="connsiteY3502" fmla="*/ 5283358 h 5973007"/>
              <a:gd name="connsiteX3503" fmla="*/ 2384744 w 6884782"/>
              <a:gd name="connsiteY3503" fmla="*/ 5293890 h 5973007"/>
              <a:gd name="connsiteX3504" fmla="*/ 2383195 w 6884782"/>
              <a:gd name="connsiteY3504" fmla="*/ 5294923 h 5973007"/>
              <a:gd name="connsiteX3505" fmla="*/ 2381336 w 6884782"/>
              <a:gd name="connsiteY3505" fmla="*/ 5293890 h 5973007"/>
              <a:gd name="connsiteX3506" fmla="*/ 2380252 w 6884782"/>
              <a:gd name="connsiteY3506" fmla="*/ 5292342 h 5973007"/>
              <a:gd name="connsiteX3507" fmla="*/ 2381801 w 6884782"/>
              <a:gd name="connsiteY3507" fmla="*/ 5289450 h 5973007"/>
              <a:gd name="connsiteX3508" fmla="*/ 2385519 w 6884782"/>
              <a:gd name="connsiteY3508" fmla="*/ 5286043 h 5973007"/>
              <a:gd name="connsiteX3509" fmla="*/ 2386603 w 6884782"/>
              <a:gd name="connsiteY3509" fmla="*/ 5283358 h 5973007"/>
              <a:gd name="connsiteX3510" fmla="*/ 2618483 w 6884782"/>
              <a:gd name="connsiteY3510" fmla="*/ 5283049 h 5973007"/>
              <a:gd name="connsiteX3511" fmla="*/ 2609034 w 6884782"/>
              <a:gd name="connsiteY3511" fmla="*/ 5301325 h 5973007"/>
              <a:gd name="connsiteX3512" fmla="*/ 2607175 w 6884782"/>
              <a:gd name="connsiteY3512" fmla="*/ 5302254 h 5973007"/>
              <a:gd name="connsiteX3513" fmla="*/ 2607330 w 6884782"/>
              <a:gd name="connsiteY3513" fmla="*/ 5302668 h 5973007"/>
              <a:gd name="connsiteX3514" fmla="*/ 2602528 w 6884782"/>
              <a:gd name="connsiteY3514" fmla="*/ 5304733 h 5973007"/>
              <a:gd name="connsiteX3515" fmla="*/ 2600050 w 6884782"/>
              <a:gd name="connsiteY3515" fmla="*/ 5303287 h 5973007"/>
              <a:gd name="connsiteX3516" fmla="*/ 2600205 w 6884782"/>
              <a:gd name="connsiteY3516" fmla="*/ 5300189 h 5973007"/>
              <a:gd name="connsiteX3517" fmla="*/ 2602838 w 6884782"/>
              <a:gd name="connsiteY3517" fmla="*/ 5297608 h 5973007"/>
              <a:gd name="connsiteX3518" fmla="*/ 2606091 w 6884782"/>
              <a:gd name="connsiteY3518" fmla="*/ 5298950 h 5973007"/>
              <a:gd name="connsiteX3519" fmla="*/ 2609653 w 6884782"/>
              <a:gd name="connsiteY3519" fmla="*/ 5292239 h 5973007"/>
              <a:gd name="connsiteX3520" fmla="*/ 2618483 w 6884782"/>
              <a:gd name="connsiteY3520" fmla="*/ 5283049 h 5973007"/>
              <a:gd name="connsiteX3521" fmla="*/ 1985887 w 6884782"/>
              <a:gd name="connsiteY3521" fmla="*/ 5281500 h 5973007"/>
              <a:gd name="connsiteX3522" fmla="*/ 1986351 w 6884782"/>
              <a:gd name="connsiteY3522" fmla="*/ 5284081 h 5973007"/>
              <a:gd name="connsiteX3523" fmla="*/ 1985267 w 6884782"/>
              <a:gd name="connsiteY3523" fmla="*/ 5286663 h 5973007"/>
              <a:gd name="connsiteX3524" fmla="*/ 1983873 w 6884782"/>
              <a:gd name="connsiteY3524" fmla="*/ 5286973 h 5973007"/>
              <a:gd name="connsiteX3525" fmla="*/ 1982014 w 6884782"/>
              <a:gd name="connsiteY3525" fmla="*/ 5286663 h 5973007"/>
              <a:gd name="connsiteX3526" fmla="*/ 1981394 w 6884782"/>
              <a:gd name="connsiteY3526" fmla="*/ 5285630 h 5973007"/>
              <a:gd name="connsiteX3527" fmla="*/ 1983254 w 6884782"/>
              <a:gd name="connsiteY3527" fmla="*/ 5282222 h 5973007"/>
              <a:gd name="connsiteX3528" fmla="*/ 1985887 w 6884782"/>
              <a:gd name="connsiteY3528" fmla="*/ 5281500 h 5973007"/>
              <a:gd name="connsiteX3529" fmla="*/ 2677963 w 6884782"/>
              <a:gd name="connsiteY3529" fmla="*/ 5279022 h 5973007"/>
              <a:gd name="connsiteX3530" fmla="*/ 2686482 w 6884782"/>
              <a:gd name="connsiteY3530" fmla="*/ 5283978 h 5973007"/>
              <a:gd name="connsiteX3531" fmla="*/ 2685088 w 6884782"/>
              <a:gd name="connsiteY3531" fmla="*/ 5287592 h 5973007"/>
              <a:gd name="connsiteX3532" fmla="*/ 2682300 w 6884782"/>
              <a:gd name="connsiteY3532" fmla="*/ 5288831 h 5973007"/>
              <a:gd name="connsiteX3533" fmla="*/ 2675484 w 6884782"/>
              <a:gd name="connsiteY3533" fmla="*/ 5284081 h 5973007"/>
              <a:gd name="connsiteX3534" fmla="*/ 2677963 w 6884782"/>
              <a:gd name="connsiteY3534" fmla="*/ 5279022 h 5973007"/>
              <a:gd name="connsiteX3535" fmla="*/ 2629171 w 6884782"/>
              <a:gd name="connsiteY3535" fmla="*/ 5277989 h 5973007"/>
              <a:gd name="connsiteX3536" fmla="*/ 2636915 w 6884782"/>
              <a:gd name="connsiteY3536" fmla="*/ 5278092 h 5973007"/>
              <a:gd name="connsiteX3537" fmla="*/ 2637535 w 6884782"/>
              <a:gd name="connsiteY3537" fmla="*/ 5279951 h 5973007"/>
              <a:gd name="connsiteX3538" fmla="*/ 2637999 w 6884782"/>
              <a:gd name="connsiteY3538" fmla="*/ 5284288 h 5973007"/>
              <a:gd name="connsiteX3539" fmla="*/ 2635211 w 6884782"/>
              <a:gd name="connsiteY3539" fmla="*/ 5285940 h 5973007"/>
              <a:gd name="connsiteX3540" fmla="*/ 2631959 w 6884782"/>
              <a:gd name="connsiteY3540" fmla="*/ 5284184 h 5973007"/>
              <a:gd name="connsiteX3541" fmla="*/ 2630255 w 6884782"/>
              <a:gd name="connsiteY3541" fmla="*/ 5281087 h 5973007"/>
              <a:gd name="connsiteX3542" fmla="*/ 2629171 w 6884782"/>
              <a:gd name="connsiteY3542" fmla="*/ 5277989 h 5973007"/>
              <a:gd name="connsiteX3543" fmla="*/ 2410611 w 6884782"/>
              <a:gd name="connsiteY3543" fmla="*/ 5276750 h 5973007"/>
              <a:gd name="connsiteX3544" fmla="*/ 2411541 w 6884782"/>
              <a:gd name="connsiteY3544" fmla="*/ 5278402 h 5973007"/>
              <a:gd name="connsiteX3545" fmla="*/ 2411851 w 6884782"/>
              <a:gd name="connsiteY3545" fmla="*/ 5280674 h 5973007"/>
              <a:gd name="connsiteX3546" fmla="*/ 2413245 w 6884782"/>
              <a:gd name="connsiteY3546" fmla="*/ 5281500 h 5973007"/>
              <a:gd name="connsiteX3547" fmla="*/ 2412625 w 6884782"/>
              <a:gd name="connsiteY3547" fmla="*/ 5288418 h 5973007"/>
              <a:gd name="connsiteX3548" fmla="*/ 2411851 w 6884782"/>
              <a:gd name="connsiteY3548" fmla="*/ 5286766 h 5973007"/>
              <a:gd name="connsiteX3549" fmla="*/ 2411386 w 6884782"/>
              <a:gd name="connsiteY3549" fmla="*/ 5284494 h 5973007"/>
              <a:gd name="connsiteX3550" fmla="*/ 2410922 w 6884782"/>
              <a:gd name="connsiteY3550" fmla="*/ 5282222 h 5973007"/>
              <a:gd name="connsiteX3551" fmla="*/ 2410147 w 6884782"/>
              <a:gd name="connsiteY3551" fmla="*/ 5280571 h 5973007"/>
              <a:gd name="connsiteX3552" fmla="*/ 2410611 w 6884782"/>
              <a:gd name="connsiteY3552" fmla="*/ 5276750 h 5973007"/>
              <a:gd name="connsiteX3553" fmla="*/ 2695776 w 6884782"/>
              <a:gd name="connsiteY3553" fmla="*/ 5273136 h 5973007"/>
              <a:gd name="connsiteX3554" fmla="*/ 2702436 w 6884782"/>
              <a:gd name="connsiteY3554" fmla="*/ 5286146 h 5973007"/>
              <a:gd name="connsiteX3555" fmla="*/ 2698254 w 6884782"/>
              <a:gd name="connsiteY3555" fmla="*/ 5289554 h 5973007"/>
              <a:gd name="connsiteX3556" fmla="*/ 2689270 w 6884782"/>
              <a:gd name="connsiteY3556" fmla="*/ 5277783 h 5973007"/>
              <a:gd name="connsiteX3557" fmla="*/ 2695776 w 6884782"/>
              <a:gd name="connsiteY3557" fmla="*/ 5273136 h 5973007"/>
              <a:gd name="connsiteX3558" fmla="*/ 2373591 w 6884782"/>
              <a:gd name="connsiteY3558" fmla="*/ 5271897 h 5973007"/>
              <a:gd name="connsiteX3559" fmla="*/ 2374366 w 6884782"/>
              <a:gd name="connsiteY3559" fmla="*/ 5273239 h 5973007"/>
              <a:gd name="connsiteX3560" fmla="*/ 2377464 w 6884782"/>
              <a:gd name="connsiteY3560" fmla="*/ 5273755 h 5973007"/>
              <a:gd name="connsiteX3561" fmla="*/ 2381956 w 6884782"/>
              <a:gd name="connsiteY3561" fmla="*/ 5272104 h 5973007"/>
              <a:gd name="connsiteX3562" fmla="*/ 2376534 w 6884782"/>
              <a:gd name="connsiteY3562" fmla="*/ 5275408 h 5973007"/>
              <a:gd name="connsiteX3563" fmla="*/ 2376070 w 6884782"/>
              <a:gd name="connsiteY3563" fmla="*/ 5276544 h 5973007"/>
              <a:gd name="connsiteX3564" fmla="*/ 2376070 w 6884782"/>
              <a:gd name="connsiteY3564" fmla="*/ 5276750 h 5973007"/>
              <a:gd name="connsiteX3565" fmla="*/ 2375760 w 6884782"/>
              <a:gd name="connsiteY3565" fmla="*/ 5277060 h 5973007"/>
              <a:gd name="connsiteX3566" fmla="*/ 2375450 w 6884782"/>
              <a:gd name="connsiteY3566" fmla="*/ 5277989 h 5973007"/>
              <a:gd name="connsiteX3567" fmla="*/ 2374986 w 6884782"/>
              <a:gd name="connsiteY3567" fmla="*/ 5278092 h 5973007"/>
              <a:gd name="connsiteX3568" fmla="*/ 2373902 w 6884782"/>
              <a:gd name="connsiteY3568" fmla="*/ 5280261 h 5973007"/>
              <a:gd name="connsiteX3569" fmla="*/ 2372352 w 6884782"/>
              <a:gd name="connsiteY3569" fmla="*/ 5283978 h 5973007"/>
              <a:gd name="connsiteX3570" fmla="*/ 2370184 w 6884782"/>
              <a:gd name="connsiteY3570" fmla="*/ 5284288 h 5973007"/>
              <a:gd name="connsiteX3571" fmla="*/ 2369099 w 6884782"/>
              <a:gd name="connsiteY3571" fmla="*/ 5281913 h 5973007"/>
              <a:gd name="connsiteX3572" fmla="*/ 2369719 w 6884782"/>
              <a:gd name="connsiteY3572" fmla="*/ 5278609 h 5973007"/>
              <a:gd name="connsiteX3573" fmla="*/ 2369409 w 6884782"/>
              <a:gd name="connsiteY3573" fmla="*/ 5277783 h 5973007"/>
              <a:gd name="connsiteX3574" fmla="*/ 2370648 w 6884782"/>
              <a:gd name="connsiteY3574" fmla="*/ 5275305 h 5973007"/>
              <a:gd name="connsiteX3575" fmla="*/ 2371578 w 6884782"/>
              <a:gd name="connsiteY3575" fmla="*/ 5274788 h 5973007"/>
              <a:gd name="connsiteX3576" fmla="*/ 2711575 w 6884782"/>
              <a:gd name="connsiteY3576" fmla="*/ 5269522 h 5973007"/>
              <a:gd name="connsiteX3577" fmla="*/ 2715912 w 6884782"/>
              <a:gd name="connsiteY3577" fmla="*/ 5276234 h 5973007"/>
              <a:gd name="connsiteX3578" fmla="*/ 2714364 w 6884782"/>
              <a:gd name="connsiteY3578" fmla="*/ 5278299 h 5973007"/>
              <a:gd name="connsiteX3579" fmla="*/ 2711265 w 6884782"/>
              <a:gd name="connsiteY3579" fmla="*/ 5277370 h 5973007"/>
              <a:gd name="connsiteX3580" fmla="*/ 2709717 w 6884782"/>
              <a:gd name="connsiteY3580" fmla="*/ 5276027 h 5973007"/>
              <a:gd name="connsiteX3581" fmla="*/ 2711421 w 6884782"/>
              <a:gd name="connsiteY3581" fmla="*/ 5279848 h 5973007"/>
              <a:gd name="connsiteX3582" fmla="*/ 2710181 w 6884782"/>
              <a:gd name="connsiteY3582" fmla="*/ 5290174 h 5973007"/>
              <a:gd name="connsiteX3583" fmla="*/ 2706773 w 6884782"/>
              <a:gd name="connsiteY3583" fmla="*/ 5270039 h 5973007"/>
              <a:gd name="connsiteX3584" fmla="*/ 2708787 w 6884782"/>
              <a:gd name="connsiteY3584" fmla="*/ 5273962 h 5973007"/>
              <a:gd name="connsiteX3585" fmla="*/ 2708632 w 6884782"/>
              <a:gd name="connsiteY3585" fmla="*/ 5272516 h 5973007"/>
              <a:gd name="connsiteX3586" fmla="*/ 2711575 w 6884782"/>
              <a:gd name="connsiteY3586" fmla="*/ 5269522 h 5973007"/>
              <a:gd name="connsiteX3587" fmla="*/ 2296918 w 6884782"/>
              <a:gd name="connsiteY3587" fmla="*/ 5268077 h 5973007"/>
              <a:gd name="connsiteX3588" fmla="*/ 2307915 w 6884782"/>
              <a:gd name="connsiteY3588" fmla="*/ 5273343 h 5973007"/>
              <a:gd name="connsiteX3589" fmla="*/ 2305437 w 6884782"/>
              <a:gd name="connsiteY3589" fmla="*/ 5273652 h 5973007"/>
              <a:gd name="connsiteX3590" fmla="*/ 2296918 w 6884782"/>
              <a:gd name="connsiteY3590" fmla="*/ 5268077 h 5973007"/>
              <a:gd name="connsiteX3591" fmla="*/ 2441436 w 6884782"/>
              <a:gd name="connsiteY3591" fmla="*/ 5266424 h 5973007"/>
              <a:gd name="connsiteX3592" fmla="*/ 2441901 w 6884782"/>
              <a:gd name="connsiteY3592" fmla="*/ 5268799 h 5973007"/>
              <a:gd name="connsiteX3593" fmla="*/ 2443140 w 6884782"/>
              <a:gd name="connsiteY3593" fmla="*/ 5269729 h 5973007"/>
              <a:gd name="connsiteX3594" fmla="*/ 2442366 w 6884782"/>
              <a:gd name="connsiteY3594" fmla="*/ 5272413 h 5973007"/>
              <a:gd name="connsiteX3595" fmla="*/ 2441436 w 6884782"/>
              <a:gd name="connsiteY3595" fmla="*/ 5266424 h 5973007"/>
              <a:gd name="connsiteX3596" fmla="*/ 2633972 w 6884782"/>
              <a:gd name="connsiteY3596" fmla="*/ 5265082 h 5973007"/>
              <a:gd name="connsiteX3597" fmla="*/ 2636605 w 6884782"/>
              <a:gd name="connsiteY3597" fmla="*/ 5265702 h 5973007"/>
              <a:gd name="connsiteX3598" fmla="*/ 2633662 w 6884782"/>
              <a:gd name="connsiteY3598" fmla="*/ 5267044 h 5973007"/>
              <a:gd name="connsiteX3599" fmla="*/ 2633508 w 6884782"/>
              <a:gd name="connsiteY3599" fmla="*/ 5265908 h 5973007"/>
              <a:gd name="connsiteX3600" fmla="*/ 2633043 w 6884782"/>
              <a:gd name="connsiteY3600" fmla="*/ 5266528 h 5973007"/>
              <a:gd name="connsiteX3601" fmla="*/ 2633508 w 6884782"/>
              <a:gd name="connsiteY3601" fmla="*/ 5265392 h 5973007"/>
              <a:gd name="connsiteX3602" fmla="*/ 2633972 w 6884782"/>
              <a:gd name="connsiteY3602" fmla="*/ 5265082 h 5973007"/>
              <a:gd name="connsiteX3603" fmla="*/ 2640633 w 6884782"/>
              <a:gd name="connsiteY3603" fmla="*/ 5263946 h 5973007"/>
              <a:gd name="connsiteX3604" fmla="*/ 2643421 w 6884782"/>
              <a:gd name="connsiteY3604" fmla="*/ 5265702 h 5973007"/>
              <a:gd name="connsiteX3605" fmla="*/ 2639858 w 6884782"/>
              <a:gd name="connsiteY3605" fmla="*/ 5266631 h 5973007"/>
              <a:gd name="connsiteX3606" fmla="*/ 2636605 w 6884782"/>
              <a:gd name="connsiteY3606" fmla="*/ 5265495 h 5973007"/>
              <a:gd name="connsiteX3607" fmla="*/ 2640633 w 6884782"/>
              <a:gd name="connsiteY3607" fmla="*/ 5263946 h 5973007"/>
              <a:gd name="connsiteX3608" fmla="*/ 2491313 w 6884782"/>
              <a:gd name="connsiteY3608" fmla="*/ 5263843 h 5973007"/>
              <a:gd name="connsiteX3609" fmla="*/ 2497354 w 6884782"/>
              <a:gd name="connsiteY3609" fmla="*/ 5265185 h 5973007"/>
              <a:gd name="connsiteX3610" fmla="*/ 2498593 w 6884782"/>
              <a:gd name="connsiteY3610" fmla="*/ 5267767 h 5973007"/>
              <a:gd name="connsiteX3611" fmla="*/ 2498438 w 6884782"/>
              <a:gd name="connsiteY3611" fmla="*/ 5273033 h 5973007"/>
              <a:gd name="connsiteX3612" fmla="*/ 2499367 w 6884782"/>
              <a:gd name="connsiteY3612" fmla="*/ 5273033 h 5973007"/>
              <a:gd name="connsiteX3613" fmla="*/ 2494411 w 6884782"/>
              <a:gd name="connsiteY3613" fmla="*/ 5274169 h 5973007"/>
              <a:gd name="connsiteX3614" fmla="*/ 2491313 w 6884782"/>
              <a:gd name="connsiteY3614" fmla="*/ 5263843 h 5973007"/>
              <a:gd name="connsiteX3615" fmla="*/ 1541082 w 6884782"/>
              <a:gd name="connsiteY3615" fmla="*/ 5263804 h 5973007"/>
              <a:gd name="connsiteX3616" fmla="*/ 1546291 w 6884782"/>
              <a:gd name="connsiteY3616" fmla="*/ 5264669 h 5973007"/>
              <a:gd name="connsiteX3617" fmla="*/ 1540869 w 6884782"/>
              <a:gd name="connsiteY3617" fmla="*/ 5270142 h 5973007"/>
              <a:gd name="connsiteX3618" fmla="*/ 1538546 w 6884782"/>
              <a:gd name="connsiteY3618" fmla="*/ 5269522 h 5973007"/>
              <a:gd name="connsiteX3619" fmla="*/ 1541082 w 6884782"/>
              <a:gd name="connsiteY3619" fmla="*/ 5263804 h 5973007"/>
              <a:gd name="connsiteX3620" fmla="*/ 2169129 w 6884782"/>
              <a:gd name="connsiteY3620" fmla="*/ 5262294 h 5973007"/>
              <a:gd name="connsiteX3621" fmla="*/ 2183844 w 6884782"/>
              <a:gd name="connsiteY3621" fmla="*/ 5267870 h 5973007"/>
              <a:gd name="connsiteX3622" fmla="*/ 2182760 w 6884782"/>
              <a:gd name="connsiteY3622" fmla="*/ 5269625 h 5973007"/>
              <a:gd name="connsiteX3623" fmla="*/ 2180436 w 6884782"/>
              <a:gd name="connsiteY3623" fmla="*/ 5270142 h 5973007"/>
              <a:gd name="connsiteX3624" fmla="*/ 2172846 w 6884782"/>
              <a:gd name="connsiteY3624" fmla="*/ 5267663 h 5973007"/>
              <a:gd name="connsiteX3625" fmla="*/ 2171298 w 6884782"/>
              <a:gd name="connsiteY3625" fmla="*/ 5266734 h 5973007"/>
              <a:gd name="connsiteX3626" fmla="*/ 2169748 w 6884782"/>
              <a:gd name="connsiteY3626" fmla="*/ 5265908 h 5973007"/>
              <a:gd name="connsiteX3627" fmla="*/ 2168819 w 6884782"/>
              <a:gd name="connsiteY3627" fmla="*/ 5264359 h 5973007"/>
              <a:gd name="connsiteX3628" fmla="*/ 2169129 w 6884782"/>
              <a:gd name="connsiteY3628" fmla="*/ 5262294 h 5973007"/>
              <a:gd name="connsiteX3629" fmla="*/ 2786080 w 6884782"/>
              <a:gd name="connsiteY3629" fmla="*/ 5262191 h 5973007"/>
              <a:gd name="connsiteX3630" fmla="*/ 2788249 w 6884782"/>
              <a:gd name="connsiteY3630" fmla="*/ 5262914 h 5973007"/>
              <a:gd name="connsiteX3631" fmla="*/ 2791966 w 6884782"/>
              <a:gd name="connsiteY3631" fmla="*/ 5263017 h 5973007"/>
              <a:gd name="connsiteX3632" fmla="*/ 2791656 w 6884782"/>
              <a:gd name="connsiteY3632" fmla="*/ 5274375 h 5973007"/>
              <a:gd name="connsiteX3633" fmla="*/ 2782673 w 6884782"/>
              <a:gd name="connsiteY3633" fmla="*/ 5283462 h 5973007"/>
              <a:gd name="connsiteX3634" fmla="*/ 2779420 w 6884782"/>
              <a:gd name="connsiteY3634" fmla="*/ 5283255 h 5973007"/>
              <a:gd name="connsiteX3635" fmla="*/ 2772604 w 6884782"/>
              <a:gd name="connsiteY3635" fmla="*/ 5276544 h 5973007"/>
              <a:gd name="connsiteX3636" fmla="*/ 2772759 w 6884782"/>
              <a:gd name="connsiteY3636" fmla="*/ 5270658 h 5973007"/>
              <a:gd name="connsiteX3637" fmla="*/ 2786080 w 6884782"/>
              <a:gd name="connsiteY3637" fmla="*/ 5262191 h 5973007"/>
              <a:gd name="connsiteX3638" fmla="*/ 1940967 w 6884782"/>
              <a:gd name="connsiteY3638" fmla="*/ 5261881 h 5973007"/>
              <a:gd name="connsiteX3639" fmla="*/ 1948247 w 6884782"/>
              <a:gd name="connsiteY3639" fmla="*/ 5261984 h 5973007"/>
              <a:gd name="connsiteX3640" fmla="*/ 1948866 w 6884782"/>
              <a:gd name="connsiteY3640" fmla="*/ 5264566 h 5973007"/>
              <a:gd name="connsiteX3641" fmla="*/ 1943445 w 6884782"/>
              <a:gd name="connsiteY3641" fmla="*/ 5267663 h 5973007"/>
              <a:gd name="connsiteX3642" fmla="*/ 1941276 w 6884782"/>
              <a:gd name="connsiteY3642" fmla="*/ 5266218 h 5973007"/>
              <a:gd name="connsiteX3643" fmla="*/ 1940502 w 6884782"/>
              <a:gd name="connsiteY3643" fmla="*/ 5264359 h 5973007"/>
              <a:gd name="connsiteX3644" fmla="*/ 1940967 w 6884782"/>
              <a:gd name="connsiteY3644" fmla="*/ 5261881 h 5973007"/>
              <a:gd name="connsiteX3645" fmla="*/ 2278950 w 6884782"/>
              <a:gd name="connsiteY3645" fmla="*/ 5261778 h 5973007"/>
              <a:gd name="connsiteX3646" fmla="*/ 2280344 w 6884782"/>
              <a:gd name="connsiteY3646" fmla="*/ 5265288 h 5973007"/>
              <a:gd name="connsiteX3647" fmla="*/ 2275233 w 6884782"/>
              <a:gd name="connsiteY3647" fmla="*/ 5266941 h 5973007"/>
              <a:gd name="connsiteX3648" fmla="*/ 2273839 w 6884782"/>
              <a:gd name="connsiteY3648" fmla="*/ 5263430 h 5973007"/>
              <a:gd name="connsiteX3649" fmla="*/ 2278950 w 6884782"/>
              <a:gd name="connsiteY3649" fmla="*/ 5261778 h 5973007"/>
              <a:gd name="connsiteX3650" fmla="*/ 2843082 w 6884782"/>
              <a:gd name="connsiteY3650" fmla="*/ 5260539 h 5973007"/>
              <a:gd name="connsiteX3651" fmla="*/ 2846180 w 6884782"/>
              <a:gd name="connsiteY3651" fmla="*/ 5263430 h 5973007"/>
              <a:gd name="connsiteX3652" fmla="*/ 2844786 w 6884782"/>
              <a:gd name="connsiteY3652" fmla="*/ 5266115 h 5973007"/>
              <a:gd name="connsiteX3653" fmla="*/ 2843856 w 6884782"/>
              <a:gd name="connsiteY3653" fmla="*/ 5266528 h 5973007"/>
              <a:gd name="connsiteX3654" fmla="*/ 2844011 w 6884782"/>
              <a:gd name="connsiteY3654" fmla="*/ 5269109 h 5973007"/>
              <a:gd name="connsiteX3655" fmla="*/ 2839055 w 6884782"/>
              <a:gd name="connsiteY3655" fmla="*/ 5273859 h 5973007"/>
              <a:gd name="connsiteX3656" fmla="*/ 2834253 w 6884782"/>
              <a:gd name="connsiteY3656" fmla="*/ 5272413 h 5973007"/>
              <a:gd name="connsiteX3657" fmla="*/ 2837196 w 6884782"/>
              <a:gd name="connsiteY3657" fmla="*/ 5262294 h 5973007"/>
              <a:gd name="connsiteX3658" fmla="*/ 2837351 w 6884782"/>
              <a:gd name="connsiteY3658" fmla="*/ 5262294 h 5973007"/>
              <a:gd name="connsiteX3659" fmla="*/ 2843082 w 6884782"/>
              <a:gd name="connsiteY3659" fmla="*/ 5260539 h 5973007"/>
              <a:gd name="connsiteX3660" fmla="*/ 2677653 w 6884782"/>
              <a:gd name="connsiteY3660" fmla="*/ 5260022 h 5973007"/>
              <a:gd name="connsiteX3661" fmla="*/ 2680441 w 6884782"/>
              <a:gd name="connsiteY3661" fmla="*/ 5261778 h 5973007"/>
              <a:gd name="connsiteX3662" fmla="*/ 2679667 w 6884782"/>
              <a:gd name="connsiteY3662" fmla="*/ 5264463 h 5973007"/>
              <a:gd name="connsiteX3663" fmla="*/ 2678273 w 6884782"/>
              <a:gd name="connsiteY3663" fmla="*/ 5262294 h 5973007"/>
              <a:gd name="connsiteX3664" fmla="*/ 2677653 w 6884782"/>
              <a:gd name="connsiteY3664" fmla="*/ 5260022 h 5973007"/>
              <a:gd name="connsiteX3665" fmla="*/ 2875146 w 6884782"/>
              <a:gd name="connsiteY3665" fmla="*/ 5259506 h 5973007"/>
              <a:gd name="connsiteX3666" fmla="*/ 2872977 w 6884782"/>
              <a:gd name="connsiteY3666" fmla="*/ 5262088 h 5973007"/>
              <a:gd name="connsiteX3667" fmla="*/ 2871893 w 6884782"/>
              <a:gd name="connsiteY3667" fmla="*/ 5261984 h 5973007"/>
              <a:gd name="connsiteX3668" fmla="*/ 2875146 w 6884782"/>
              <a:gd name="connsiteY3668" fmla="*/ 5259506 h 5973007"/>
              <a:gd name="connsiteX3669" fmla="*/ 1612896 w 6884782"/>
              <a:gd name="connsiteY3669" fmla="*/ 5258990 h 5973007"/>
              <a:gd name="connsiteX3670" fmla="*/ 1616769 w 6884782"/>
              <a:gd name="connsiteY3670" fmla="*/ 5261572 h 5973007"/>
              <a:gd name="connsiteX3671" fmla="*/ 1614910 w 6884782"/>
              <a:gd name="connsiteY3671" fmla="*/ 5272000 h 5973007"/>
              <a:gd name="connsiteX3672" fmla="*/ 1605462 w 6884782"/>
              <a:gd name="connsiteY3672" fmla="*/ 5273652 h 5973007"/>
              <a:gd name="connsiteX3673" fmla="*/ 1604532 w 6884782"/>
              <a:gd name="connsiteY3673" fmla="*/ 5275305 h 5973007"/>
              <a:gd name="connsiteX3674" fmla="*/ 1600969 w 6884782"/>
              <a:gd name="connsiteY3674" fmla="*/ 5276956 h 5973007"/>
              <a:gd name="connsiteX3675" fmla="*/ 1600350 w 6884782"/>
              <a:gd name="connsiteY3675" fmla="*/ 5275201 h 5973007"/>
              <a:gd name="connsiteX3676" fmla="*/ 1603913 w 6884782"/>
              <a:gd name="connsiteY3676" fmla="*/ 5272723 h 5973007"/>
              <a:gd name="connsiteX3677" fmla="*/ 1603913 w 6884782"/>
              <a:gd name="connsiteY3677" fmla="*/ 5271897 h 5973007"/>
              <a:gd name="connsiteX3678" fmla="*/ 1602518 w 6884782"/>
              <a:gd name="connsiteY3678" fmla="*/ 5270039 h 5973007"/>
              <a:gd name="connsiteX3679" fmla="*/ 1603448 w 6884782"/>
              <a:gd name="connsiteY3679" fmla="*/ 5261365 h 5973007"/>
              <a:gd name="connsiteX3680" fmla="*/ 1612896 w 6884782"/>
              <a:gd name="connsiteY3680" fmla="*/ 5258990 h 5973007"/>
              <a:gd name="connsiteX3681" fmla="*/ 2675794 w 6884782"/>
              <a:gd name="connsiteY3681" fmla="*/ 5258680 h 5973007"/>
              <a:gd name="connsiteX3682" fmla="*/ 2677188 w 6884782"/>
              <a:gd name="connsiteY3682" fmla="*/ 5259610 h 5973007"/>
              <a:gd name="connsiteX3683" fmla="*/ 2676724 w 6884782"/>
              <a:gd name="connsiteY3683" fmla="*/ 5260332 h 5973007"/>
              <a:gd name="connsiteX3684" fmla="*/ 2675794 w 6884782"/>
              <a:gd name="connsiteY3684" fmla="*/ 5259506 h 5973007"/>
              <a:gd name="connsiteX3685" fmla="*/ 2675794 w 6884782"/>
              <a:gd name="connsiteY3685" fmla="*/ 5258680 h 5973007"/>
              <a:gd name="connsiteX3686" fmla="*/ 2418821 w 6884782"/>
              <a:gd name="connsiteY3686" fmla="*/ 5257441 h 5973007"/>
              <a:gd name="connsiteX3687" fmla="*/ 2421919 w 6884782"/>
              <a:gd name="connsiteY3687" fmla="*/ 5262811 h 5973007"/>
              <a:gd name="connsiteX3688" fmla="*/ 2416033 w 6884782"/>
              <a:gd name="connsiteY3688" fmla="*/ 5269625 h 5973007"/>
              <a:gd name="connsiteX3689" fmla="*/ 2413090 w 6884782"/>
              <a:gd name="connsiteY3689" fmla="*/ 5269522 h 5973007"/>
              <a:gd name="connsiteX3690" fmla="*/ 2409837 w 6884782"/>
              <a:gd name="connsiteY3690" fmla="*/ 5266424 h 5973007"/>
              <a:gd name="connsiteX3691" fmla="*/ 2418821 w 6884782"/>
              <a:gd name="connsiteY3691" fmla="*/ 5257441 h 5973007"/>
              <a:gd name="connsiteX3692" fmla="*/ 2328052 w 6884782"/>
              <a:gd name="connsiteY3692" fmla="*/ 5257131 h 5973007"/>
              <a:gd name="connsiteX3693" fmla="*/ 2328517 w 6884782"/>
              <a:gd name="connsiteY3693" fmla="*/ 5257544 h 5973007"/>
              <a:gd name="connsiteX3694" fmla="*/ 2336881 w 6884782"/>
              <a:gd name="connsiteY3694" fmla="*/ 5261881 h 5973007"/>
              <a:gd name="connsiteX3695" fmla="*/ 2337965 w 6884782"/>
              <a:gd name="connsiteY3695" fmla="*/ 5267044 h 5973007"/>
              <a:gd name="connsiteX3696" fmla="*/ 2335487 w 6884782"/>
              <a:gd name="connsiteY3696" fmla="*/ 5267973 h 5973007"/>
              <a:gd name="connsiteX3697" fmla="*/ 2331615 w 6884782"/>
              <a:gd name="connsiteY3697" fmla="*/ 5265702 h 5973007"/>
              <a:gd name="connsiteX3698" fmla="*/ 2331615 w 6884782"/>
              <a:gd name="connsiteY3698" fmla="*/ 5267560 h 5973007"/>
              <a:gd name="connsiteX3699" fmla="*/ 2329601 w 6884782"/>
              <a:gd name="connsiteY3699" fmla="*/ 5271690 h 5973007"/>
              <a:gd name="connsiteX3700" fmla="*/ 2323405 w 6884782"/>
              <a:gd name="connsiteY3700" fmla="*/ 5267767 h 5973007"/>
              <a:gd name="connsiteX3701" fmla="*/ 2323715 w 6884782"/>
              <a:gd name="connsiteY3701" fmla="*/ 5258371 h 5973007"/>
              <a:gd name="connsiteX3702" fmla="*/ 2328052 w 6884782"/>
              <a:gd name="connsiteY3702" fmla="*/ 5257131 h 5973007"/>
              <a:gd name="connsiteX3703" fmla="*/ 2376844 w 6884782"/>
              <a:gd name="connsiteY3703" fmla="*/ 5256821 h 5973007"/>
              <a:gd name="connsiteX3704" fmla="*/ 2380252 w 6884782"/>
              <a:gd name="connsiteY3704" fmla="*/ 5263637 h 5973007"/>
              <a:gd name="connsiteX3705" fmla="*/ 2378703 w 6884782"/>
              <a:gd name="connsiteY3705" fmla="*/ 5264566 h 5973007"/>
              <a:gd name="connsiteX3706" fmla="*/ 2376844 w 6884782"/>
              <a:gd name="connsiteY3706" fmla="*/ 5265185 h 5973007"/>
              <a:gd name="connsiteX3707" fmla="*/ 2374676 w 6884782"/>
              <a:gd name="connsiteY3707" fmla="*/ 5265185 h 5973007"/>
              <a:gd name="connsiteX3708" fmla="*/ 2372043 w 6884782"/>
              <a:gd name="connsiteY3708" fmla="*/ 5264049 h 5973007"/>
              <a:gd name="connsiteX3709" fmla="*/ 2369874 w 6884782"/>
              <a:gd name="connsiteY3709" fmla="*/ 5260745 h 5973007"/>
              <a:gd name="connsiteX3710" fmla="*/ 2369719 w 6884782"/>
              <a:gd name="connsiteY3710" fmla="*/ 5258887 h 5973007"/>
              <a:gd name="connsiteX3711" fmla="*/ 2376844 w 6884782"/>
              <a:gd name="connsiteY3711" fmla="*/ 5256821 h 5973007"/>
              <a:gd name="connsiteX3712" fmla="*/ 2436169 w 6884782"/>
              <a:gd name="connsiteY3712" fmla="*/ 5256718 h 5973007"/>
              <a:gd name="connsiteX3713" fmla="*/ 2438648 w 6884782"/>
              <a:gd name="connsiteY3713" fmla="*/ 5257338 h 5973007"/>
              <a:gd name="connsiteX3714" fmla="*/ 2438493 w 6884782"/>
              <a:gd name="connsiteY3714" fmla="*/ 5260332 h 5973007"/>
              <a:gd name="connsiteX3715" fmla="*/ 2440816 w 6884782"/>
              <a:gd name="connsiteY3715" fmla="*/ 5262914 h 5973007"/>
              <a:gd name="connsiteX3716" fmla="*/ 2440662 w 6884782"/>
              <a:gd name="connsiteY3716" fmla="*/ 5266011 h 5973007"/>
              <a:gd name="connsiteX3717" fmla="*/ 2439732 w 6884782"/>
              <a:gd name="connsiteY3717" fmla="*/ 5266218 h 5973007"/>
              <a:gd name="connsiteX3718" fmla="*/ 2440042 w 6884782"/>
              <a:gd name="connsiteY3718" fmla="*/ 5265495 h 5973007"/>
              <a:gd name="connsiteX3719" fmla="*/ 2439577 w 6884782"/>
              <a:gd name="connsiteY3719" fmla="*/ 5263223 h 5973007"/>
              <a:gd name="connsiteX3720" fmla="*/ 2435860 w 6884782"/>
              <a:gd name="connsiteY3720" fmla="*/ 5258680 h 5973007"/>
              <a:gd name="connsiteX3721" fmla="*/ 2436169 w 6884782"/>
              <a:gd name="connsiteY3721" fmla="*/ 5256718 h 5973007"/>
              <a:gd name="connsiteX3722" fmla="*/ 2673471 w 6884782"/>
              <a:gd name="connsiteY3722" fmla="*/ 5256202 h 5973007"/>
              <a:gd name="connsiteX3723" fmla="*/ 2673316 w 6884782"/>
              <a:gd name="connsiteY3723" fmla="*/ 5258061 h 5973007"/>
              <a:gd name="connsiteX3724" fmla="*/ 2672231 w 6884782"/>
              <a:gd name="connsiteY3724" fmla="*/ 5256409 h 5973007"/>
              <a:gd name="connsiteX3725" fmla="*/ 2673471 w 6884782"/>
              <a:gd name="connsiteY3725" fmla="*/ 5256202 h 5973007"/>
              <a:gd name="connsiteX3726" fmla="*/ 1685853 w 6884782"/>
              <a:gd name="connsiteY3726" fmla="*/ 5255686 h 5973007"/>
              <a:gd name="connsiteX3727" fmla="*/ 1685543 w 6884782"/>
              <a:gd name="connsiteY3727" fmla="*/ 5259196 h 5973007"/>
              <a:gd name="connsiteX3728" fmla="*/ 1678882 w 6884782"/>
              <a:gd name="connsiteY3728" fmla="*/ 5263120 h 5973007"/>
              <a:gd name="connsiteX3729" fmla="*/ 1676869 w 6884782"/>
              <a:gd name="connsiteY3729" fmla="*/ 5262604 h 5973007"/>
              <a:gd name="connsiteX3730" fmla="*/ 1678108 w 6884782"/>
              <a:gd name="connsiteY3730" fmla="*/ 5258164 h 5973007"/>
              <a:gd name="connsiteX3731" fmla="*/ 1685853 w 6884782"/>
              <a:gd name="connsiteY3731" fmla="*/ 5255686 h 5973007"/>
              <a:gd name="connsiteX3732" fmla="*/ 2855164 w 6884782"/>
              <a:gd name="connsiteY3732" fmla="*/ 5254963 h 5973007"/>
              <a:gd name="connsiteX3733" fmla="*/ 2854700 w 6884782"/>
              <a:gd name="connsiteY3733" fmla="*/ 5260849 h 5973007"/>
              <a:gd name="connsiteX3734" fmla="*/ 2849588 w 6884782"/>
              <a:gd name="connsiteY3734" fmla="*/ 5259610 h 5973007"/>
              <a:gd name="connsiteX3735" fmla="*/ 2855164 w 6884782"/>
              <a:gd name="connsiteY3735" fmla="*/ 5254963 h 5973007"/>
              <a:gd name="connsiteX3736" fmla="*/ 2532050 w 6884782"/>
              <a:gd name="connsiteY3736" fmla="*/ 5254860 h 5973007"/>
              <a:gd name="connsiteX3737" fmla="*/ 2554665 w 6884782"/>
              <a:gd name="connsiteY3737" fmla="*/ 5264049 h 5973007"/>
              <a:gd name="connsiteX3738" fmla="*/ 2559003 w 6884782"/>
              <a:gd name="connsiteY3738" fmla="*/ 5270039 h 5973007"/>
              <a:gd name="connsiteX3739" fmla="*/ 2542738 w 6884782"/>
              <a:gd name="connsiteY3739" fmla="*/ 5268180 h 5973007"/>
              <a:gd name="connsiteX3740" fmla="*/ 2536388 w 6884782"/>
              <a:gd name="connsiteY3740" fmla="*/ 5283978 h 5973007"/>
              <a:gd name="connsiteX3741" fmla="*/ 2534374 w 6884782"/>
              <a:gd name="connsiteY3741" fmla="*/ 5279951 h 5973007"/>
              <a:gd name="connsiteX3742" fmla="*/ 2536233 w 6884782"/>
              <a:gd name="connsiteY3742" fmla="*/ 5264256 h 5973007"/>
              <a:gd name="connsiteX3743" fmla="*/ 2532050 w 6884782"/>
              <a:gd name="connsiteY3743" fmla="*/ 5254860 h 5973007"/>
              <a:gd name="connsiteX3744" fmla="*/ 2565508 w 6884782"/>
              <a:gd name="connsiteY3744" fmla="*/ 5254240 h 5973007"/>
              <a:gd name="connsiteX3745" fmla="*/ 2570929 w 6884782"/>
              <a:gd name="connsiteY3745" fmla="*/ 5258783 h 5973007"/>
              <a:gd name="connsiteX3746" fmla="*/ 2566902 w 6884782"/>
              <a:gd name="connsiteY3746" fmla="*/ 5257957 h 5973007"/>
              <a:gd name="connsiteX3747" fmla="*/ 2565508 w 6884782"/>
              <a:gd name="connsiteY3747" fmla="*/ 5254240 h 5973007"/>
              <a:gd name="connsiteX3748" fmla="*/ 2465600 w 6884782"/>
              <a:gd name="connsiteY3748" fmla="*/ 5254137 h 5973007"/>
              <a:gd name="connsiteX3749" fmla="*/ 2473345 w 6884782"/>
              <a:gd name="connsiteY3749" fmla="*/ 5256305 h 5973007"/>
              <a:gd name="connsiteX3750" fmla="*/ 2463586 w 6884782"/>
              <a:gd name="connsiteY3750" fmla="*/ 5272516 h 5973007"/>
              <a:gd name="connsiteX3751" fmla="*/ 2461573 w 6884782"/>
              <a:gd name="connsiteY3751" fmla="*/ 5268489 h 5973007"/>
              <a:gd name="connsiteX3752" fmla="*/ 2465600 w 6884782"/>
              <a:gd name="connsiteY3752" fmla="*/ 5254137 h 5973007"/>
              <a:gd name="connsiteX3753" fmla="*/ 2762342 w 6884782"/>
              <a:gd name="connsiteY3753" fmla="*/ 5253840 h 5973007"/>
              <a:gd name="connsiteX3754" fmla="*/ 2767028 w 6884782"/>
              <a:gd name="connsiteY3754" fmla="*/ 5256615 h 5973007"/>
              <a:gd name="connsiteX3755" fmla="*/ 2766254 w 6884782"/>
              <a:gd name="connsiteY3755" fmla="*/ 5258164 h 5973007"/>
              <a:gd name="connsiteX3756" fmla="*/ 2768112 w 6884782"/>
              <a:gd name="connsiteY3756" fmla="*/ 5257957 h 5973007"/>
              <a:gd name="connsiteX3757" fmla="*/ 2770900 w 6884782"/>
              <a:gd name="connsiteY3757" fmla="*/ 5258474 h 5973007"/>
              <a:gd name="connsiteX3758" fmla="*/ 2771520 w 6884782"/>
              <a:gd name="connsiteY3758" fmla="*/ 5264772 h 5973007"/>
              <a:gd name="connsiteX3759" fmla="*/ 2769507 w 6884782"/>
              <a:gd name="connsiteY3759" fmla="*/ 5266734 h 5973007"/>
              <a:gd name="connsiteX3760" fmla="*/ 2764550 w 6884782"/>
              <a:gd name="connsiteY3760" fmla="*/ 5268283 h 5973007"/>
              <a:gd name="connsiteX3761" fmla="*/ 2764705 w 6884782"/>
              <a:gd name="connsiteY3761" fmla="*/ 5269006 h 5973007"/>
              <a:gd name="connsiteX3762" fmla="*/ 2762226 w 6884782"/>
              <a:gd name="connsiteY3762" fmla="*/ 5264772 h 5973007"/>
              <a:gd name="connsiteX3763" fmla="*/ 2762381 w 6884782"/>
              <a:gd name="connsiteY3763" fmla="*/ 5264049 h 5973007"/>
              <a:gd name="connsiteX3764" fmla="*/ 2761917 w 6884782"/>
              <a:gd name="connsiteY3764" fmla="*/ 5264669 h 5973007"/>
              <a:gd name="connsiteX3765" fmla="*/ 2757270 w 6884782"/>
              <a:gd name="connsiteY3765" fmla="*/ 5260849 h 5973007"/>
              <a:gd name="connsiteX3766" fmla="*/ 2756960 w 6884782"/>
              <a:gd name="connsiteY3766" fmla="*/ 5254240 h 5973007"/>
              <a:gd name="connsiteX3767" fmla="*/ 2762342 w 6884782"/>
              <a:gd name="connsiteY3767" fmla="*/ 5253840 h 5973007"/>
              <a:gd name="connsiteX3768" fmla="*/ 2836422 w 6884782"/>
              <a:gd name="connsiteY3768" fmla="*/ 5253827 h 5973007"/>
              <a:gd name="connsiteX3769" fmla="*/ 2841998 w 6884782"/>
              <a:gd name="connsiteY3769" fmla="*/ 5257131 h 5973007"/>
              <a:gd name="connsiteX3770" fmla="*/ 2840759 w 6884782"/>
              <a:gd name="connsiteY3770" fmla="*/ 5257338 h 5973007"/>
              <a:gd name="connsiteX3771" fmla="*/ 2839210 w 6884782"/>
              <a:gd name="connsiteY3771" fmla="*/ 5256305 h 5973007"/>
              <a:gd name="connsiteX3772" fmla="*/ 2836422 w 6884782"/>
              <a:gd name="connsiteY3772" fmla="*/ 5253827 h 5973007"/>
              <a:gd name="connsiteX3773" fmla="*/ 2445928 w 6884782"/>
              <a:gd name="connsiteY3773" fmla="*/ 5253724 h 5973007"/>
              <a:gd name="connsiteX3774" fmla="*/ 2453208 w 6884782"/>
              <a:gd name="connsiteY3774" fmla="*/ 5281087 h 5973007"/>
              <a:gd name="connsiteX3775" fmla="*/ 2445928 w 6884782"/>
              <a:gd name="connsiteY3775" fmla="*/ 5253724 h 5973007"/>
              <a:gd name="connsiteX3776" fmla="*/ 2377154 w 6884782"/>
              <a:gd name="connsiteY3776" fmla="*/ 5253724 h 5973007"/>
              <a:gd name="connsiteX3777" fmla="*/ 2378548 w 6884782"/>
              <a:gd name="connsiteY3777" fmla="*/ 5253724 h 5973007"/>
              <a:gd name="connsiteX3778" fmla="*/ 2377774 w 6884782"/>
              <a:gd name="connsiteY3778" fmla="*/ 5254447 h 5973007"/>
              <a:gd name="connsiteX3779" fmla="*/ 2377154 w 6884782"/>
              <a:gd name="connsiteY3779" fmla="*/ 5253724 h 5973007"/>
              <a:gd name="connsiteX3780" fmla="*/ 2379633 w 6884782"/>
              <a:gd name="connsiteY3780" fmla="*/ 5253208 h 5973007"/>
              <a:gd name="connsiteX3781" fmla="*/ 2381026 w 6884782"/>
              <a:gd name="connsiteY3781" fmla="*/ 5256512 h 5973007"/>
              <a:gd name="connsiteX3782" fmla="*/ 2379633 w 6884782"/>
              <a:gd name="connsiteY3782" fmla="*/ 5257131 h 5973007"/>
              <a:gd name="connsiteX3783" fmla="*/ 2377464 w 6884782"/>
              <a:gd name="connsiteY3783" fmla="*/ 5255892 h 5973007"/>
              <a:gd name="connsiteX3784" fmla="*/ 1695456 w 6884782"/>
              <a:gd name="connsiteY3784" fmla="*/ 5252278 h 5973007"/>
              <a:gd name="connsiteX3785" fmla="*/ 1695146 w 6884782"/>
              <a:gd name="connsiteY3785" fmla="*/ 5254963 h 5973007"/>
              <a:gd name="connsiteX3786" fmla="*/ 1693442 w 6884782"/>
              <a:gd name="connsiteY3786" fmla="*/ 5255892 h 5973007"/>
              <a:gd name="connsiteX3787" fmla="*/ 1692358 w 6884782"/>
              <a:gd name="connsiteY3787" fmla="*/ 5258577 h 5973007"/>
              <a:gd name="connsiteX3788" fmla="*/ 1690809 w 6884782"/>
              <a:gd name="connsiteY3788" fmla="*/ 5258474 h 5973007"/>
              <a:gd name="connsiteX3789" fmla="*/ 1692978 w 6884782"/>
              <a:gd name="connsiteY3789" fmla="*/ 5253208 h 5973007"/>
              <a:gd name="connsiteX3790" fmla="*/ 1695456 w 6884782"/>
              <a:gd name="connsiteY3790" fmla="*/ 5252278 h 5973007"/>
              <a:gd name="connsiteX3791" fmla="*/ 2388307 w 6884782"/>
              <a:gd name="connsiteY3791" fmla="*/ 5249077 h 5973007"/>
              <a:gd name="connsiteX3792" fmla="*/ 2390166 w 6884782"/>
              <a:gd name="connsiteY3792" fmla="*/ 5250729 h 5973007"/>
              <a:gd name="connsiteX3793" fmla="*/ 2390940 w 6884782"/>
              <a:gd name="connsiteY3793" fmla="*/ 5255892 h 5973007"/>
              <a:gd name="connsiteX3794" fmla="*/ 2389391 w 6884782"/>
              <a:gd name="connsiteY3794" fmla="*/ 5256821 h 5973007"/>
              <a:gd name="connsiteX3795" fmla="*/ 2386758 w 6884782"/>
              <a:gd name="connsiteY3795" fmla="*/ 5250110 h 5973007"/>
              <a:gd name="connsiteX3796" fmla="*/ 2388307 w 6884782"/>
              <a:gd name="connsiteY3796" fmla="*/ 5249077 h 5973007"/>
              <a:gd name="connsiteX3797" fmla="*/ 2021049 w 6884782"/>
              <a:gd name="connsiteY3797" fmla="*/ 5248561 h 5973007"/>
              <a:gd name="connsiteX3798" fmla="*/ 2023836 w 6884782"/>
              <a:gd name="connsiteY3798" fmla="*/ 5258267 h 5973007"/>
              <a:gd name="connsiteX3799" fmla="*/ 2017795 w 6884782"/>
              <a:gd name="connsiteY3799" fmla="*/ 5259403 h 5973007"/>
              <a:gd name="connsiteX3800" fmla="*/ 2021049 w 6884782"/>
              <a:gd name="connsiteY3800" fmla="*/ 5248561 h 5973007"/>
              <a:gd name="connsiteX3801" fmla="*/ 2254341 w 6884782"/>
              <a:gd name="connsiteY3801" fmla="*/ 5248509 h 5973007"/>
              <a:gd name="connsiteX3802" fmla="*/ 2259434 w 6884782"/>
              <a:gd name="connsiteY3802" fmla="*/ 5251762 h 5973007"/>
              <a:gd name="connsiteX3803" fmla="*/ 2253857 w 6884782"/>
              <a:gd name="connsiteY3803" fmla="*/ 5258061 h 5973007"/>
              <a:gd name="connsiteX3804" fmla="*/ 2247507 w 6884782"/>
              <a:gd name="connsiteY3804" fmla="*/ 5255479 h 5973007"/>
              <a:gd name="connsiteX3805" fmla="*/ 2247041 w 6884782"/>
              <a:gd name="connsiteY3805" fmla="*/ 5250523 h 5973007"/>
              <a:gd name="connsiteX3806" fmla="*/ 2254341 w 6884782"/>
              <a:gd name="connsiteY3806" fmla="*/ 5248509 h 5973007"/>
              <a:gd name="connsiteX3807" fmla="*/ 2863838 w 6884782"/>
              <a:gd name="connsiteY3807" fmla="*/ 5247115 h 5973007"/>
              <a:gd name="connsiteX3808" fmla="*/ 2866317 w 6884782"/>
              <a:gd name="connsiteY3808" fmla="*/ 5249904 h 5973007"/>
              <a:gd name="connsiteX3809" fmla="*/ 2867246 w 6884782"/>
              <a:gd name="connsiteY3809" fmla="*/ 5253620 h 5973007"/>
              <a:gd name="connsiteX3810" fmla="*/ 2867865 w 6884782"/>
              <a:gd name="connsiteY3810" fmla="*/ 5253517 h 5973007"/>
              <a:gd name="connsiteX3811" fmla="*/ 2867865 w 6884782"/>
              <a:gd name="connsiteY3811" fmla="*/ 5252588 h 5973007"/>
              <a:gd name="connsiteX3812" fmla="*/ 2869414 w 6884782"/>
              <a:gd name="connsiteY3812" fmla="*/ 5253724 h 5973007"/>
              <a:gd name="connsiteX3813" fmla="*/ 2871583 w 6884782"/>
              <a:gd name="connsiteY3813" fmla="*/ 5260229 h 5973007"/>
              <a:gd name="connsiteX3814" fmla="*/ 2869105 w 6884782"/>
              <a:gd name="connsiteY3814" fmla="*/ 5260849 h 5973007"/>
              <a:gd name="connsiteX3815" fmla="*/ 2867401 w 6884782"/>
              <a:gd name="connsiteY3815" fmla="*/ 5259506 h 5973007"/>
              <a:gd name="connsiteX3816" fmla="*/ 2865542 w 6884782"/>
              <a:gd name="connsiteY3816" fmla="*/ 5256409 h 5973007"/>
              <a:gd name="connsiteX3817" fmla="*/ 2865697 w 6884782"/>
              <a:gd name="connsiteY3817" fmla="*/ 5255376 h 5973007"/>
              <a:gd name="connsiteX3818" fmla="*/ 2865077 w 6884782"/>
              <a:gd name="connsiteY3818" fmla="*/ 5256099 h 5973007"/>
              <a:gd name="connsiteX3819" fmla="*/ 2861670 w 6884782"/>
              <a:gd name="connsiteY3819" fmla="*/ 5256202 h 5973007"/>
              <a:gd name="connsiteX3820" fmla="*/ 2859501 w 6884782"/>
              <a:gd name="connsiteY3820" fmla="*/ 5255066 h 5973007"/>
              <a:gd name="connsiteX3821" fmla="*/ 2858727 w 6884782"/>
              <a:gd name="connsiteY3821" fmla="*/ 5252691 h 5973007"/>
              <a:gd name="connsiteX3822" fmla="*/ 2857023 w 6884782"/>
              <a:gd name="connsiteY3822" fmla="*/ 5253001 h 5973007"/>
              <a:gd name="connsiteX3823" fmla="*/ 2857488 w 6884782"/>
              <a:gd name="connsiteY3823" fmla="*/ 5247632 h 5973007"/>
              <a:gd name="connsiteX3824" fmla="*/ 2861360 w 6884782"/>
              <a:gd name="connsiteY3824" fmla="*/ 5247838 h 5973007"/>
              <a:gd name="connsiteX3825" fmla="*/ 2861360 w 6884782"/>
              <a:gd name="connsiteY3825" fmla="*/ 5248354 h 5973007"/>
              <a:gd name="connsiteX3826" fmla="*/ 2861515 w 6884782"/>
              <a:gd name="connsiteY3826" fmla="*/ 5248148 h 5973007"/>
              <a:gd name="connsiteX3827" fmla="*/ 2863838 w 6884782"/>
              <a:gd name="connsiteY3827" fmla="*/ 5247115 h 5973007"/>
              <a:gd name="connsiteX3828" fmla="*/ 2459559 w 6884782"/>
              <a:gd name="connsiteY3828" fmla="*/ 5247012 h 5973007"/>
              <a:gd name="connsiteX3829" fmla="*/ 2463122 w 6884782"/>
              <a:gd name="connsiteY3829" fmla="*/ 5254240 h 5973007"/>
              <a:gd name="connsiteX3830" fmla="*/ 2458010 w 6884782"/>
              <a:gd name="connsiteY3830" fmla="*/ 5261881 h 5973007"/>
              <a:gd name="connsiteX3831" fmla="*/ 2455996 w 6884782"/>
              <a:gd name="connsiteY3831" fmla="*/ 5257957 h 5973007"/>
              <a:gd name="connsiteX3832" fmla="*/ 2459559 w 6884782"/>
              <a:gd name="connsiteY3832" fmla="*/ 5247012 h 5973007"/>
              <a:gd name="connsiteX3833" fmla="*/ 2332699 w 6884782"/>
              <a:gd name="connsiteY3833" fmla="*/ 5246393 h 5973007"/>
              <a:gd name="connsiteX3834" fmla="*/ 2340599 w 6884782"/>
              <a:gd name="connsiteY3834" fmla="*/ 5255789 h 5973007"/>
              <a:gd name="connsiteX3835" fmla="*/ 2338895 w 6884782"/>
              <a:gd name="connsiteY3835" fmla="*/ 5259403 h 5973007"/>
              <a:gd name="connsiteX3836" fmla="*/ 2331150 w 6884782"/>
              <a:gd name="connsiteY3836" fmla="*/ 5252898 h 5973007"/>
              <a:gd name="connsiteX3837" fmla="*/ 2330066 w 6884782"/>
              <a:gd name="connsiteY3837" fmla="*/ 5249904 h 5973007"/>
              <a:gd name="connsiteX3838" fmla="*/ 2332699 w 6884782"/>
              <a:gd name="connsiteY3838" fmla="*/ 5246393 h 5973007"/>
              <a:gd name="connsiteX3839" fmla="*/ 1880422 w 6884782"/>
              <a:gd name="connsiteY3839" fmla="*/ 5245902 h 5973007"/>
              <a:gd name="connsiteX3840" fmla="*/ 1886289 w 6884782"/>
              <a:gd name="connsiteY3840" fmla="*/ 5245980 h 5973007"/>
              <a:gd name="connsiteX3841" fmla="*/ 1883810 w 6884782"/>
              <a:gd name="connsiteY3841" fmla="*/ 5253827 h 5973007"/>
              <a:gd name="connsiteX3842" fmla="*/ 1880713 w 6884782"/>
              <a:gd name="connsiteY3842" fmla="*/ 5255582 h 5973007"/>
              <a:gd name="connsiteX3843" fmla="*/ 1876994 w 6884782"/>
              <a:gd name="connsiteY3843" fmla="*/ 5255376 h 5973007"/>
              <a:gd name="connsiteX3844" fmla="*/ 1874051 w 6884782"/>
              <a:gd name="connsiteY3844" fmla="*/ 5255995 h 5973007"/>
              <a:gd name="connsiteX3845" fmla="*/ 1871263 w 6884782"/>
              <a:gd name="connsiteY3845" fmla="*/ 5255273 h 5973007"/>
              <a:gd name="connsiteX3846" fmla="*/ 1870179 w 6884782"/>
              <a:gd name="connsiteY3846" fmla="*/ 5252795 h 5973007"/>
              <a:gd name="connsiteX3847" fmla="*/ 1870953 w 6884782"/>
              <a:gd name="connsiteY3847" fmla="*/ 5250936 h 5973007"/>
              <a:gd name="connsiteX3848" fmla="*/ 1880422 w 6884782"/>
              <a:gd name="connsiteY3848" fmla="*/ 5245902 h 5973007"/>
              <a:gd name="connsiteX3849" fmla="*/ 1690499 w 6884782"/>
              <a:gd name="connsiteY3849" fmla="*/ 5245464 h 5973007"/>
              <a:gd name="connsiteX3850" fmla="*/ 1692978 w 6884782"/>
              <a:gd name="connsiteY3850" fmla="*/ 5245464 h 5973007"/>
              <a:gd name="connsiteX3851" fmla="*/ 1692048 w 6884782"/>
              <a:gd name="connsiteY3851" fmla="*/ 5247219 h 5973007"/>
              <a:gd name="connsiteX3852" fmla="*/ 1688021 w 6884782"/>
              <a:gd name="connsiteY3852" fmla="*/ 5251555 h 5973007"/>
              <a:gd name="connsiteX3853" fmla="*/ 1686782 w 6884782"/>
              <a:gd name="connsiteY3853" fmla="*/ 5250213 h 5973007"/>
              <a:gd name="connsiteX3854" fmla="*/ 1687401 w 6884782"/>
              <a:gd name="connsiteY3854" fmla="*/ 5248871 h 5973007"/>
              <a:gd name="connsiteX3855" fmla="*/ 1689415 w 6884782"/>
              <a:gd name="connsiteY3855" fmla="*/ 5247115 h 5973007"/>
              <a:gd name="connsiteX3856" fmla="*/ 1690499 w 6884782"/>
              <a:gd name="connsiteY3856" fmla="*/ 5245464 h 5973007"/>
              <a:gd name="connsiteX3857" fmla="*/ 2479250 w 6884782"/>
              <a:gd name="connsiteY3857" fmla="*/ 5245218 h 5973007"/>
              <a:gd name="connsiteX3858" fmla="*/ 2485427 w 6884782"/>
              <a:gd name="connsiteY3858" fmla="*/ 5246806 h 5973007"/>
              <a:gd name="connsiteX3859" fmla="*/ 2479695 w 6884782"/>
              <a:gd name="connsiteY3859" fmla="*/ 5251762 h 5973007"/>
              <a:gd name="connsiteX3860" fmla="*/ 2479250 w 6884782"/>
              <a:gd name="connsiteY3860" fmla="*/ 5245218 h 5973007"/>
              <a:gd name="connsiteX3861" fmla="*/ 2502001 w 6884782"/>
              <a:gd name="connsiteY3861" fmla="*/ 5245050 h 5973007"/>
              <a:gd name="connsiteX3862" fmla="*/ 2512688 w 6884782"/>
              <a:gd name="connsiteY3862" fmla="*/ 5248871 h 5973007"/>
              <a:gd name="connsiteX3863" fmla="*/ 2518420 w 6884782"/>
              <a:gd name="connsiteY3863" fmla="*/ 5260229 h 5973007"/>
              <a:gd name="connsiteX3864" fmla="*/ 2517490 w 6884782"/>
              <a:gd name="connsiteY3864" fmla="*/ 5262914 h 5973007"/>
              <a:gd name="connsiteX3865" fmla="*/ 2519504 w 6884782"/>
              <a:gd name="connsiteY3865" fmla="*/ 5264669 h 5973007"/>
              <a:gd name="connsiteX3866" fmla="*/ 2517490 w 6884782"/>
              <a:gd name="connsiteY3866" fmla="*/ 5277473 h 5973007"/>
              <a:gd name="connsiteX3867" fmla="*/ 2509745 w 6884782"/>
              <a:gd name="connsiteY3867" fmla="*/ 5279125 h 5973007"/>
              <a:gd name="connsiteX3868" fmla="*/ 2506802 w 6884782"/>
              <a:gd name="connsiteY3868" fmla="*/ 5277886 h 5973007"/>
              <a:gd name="connsiteX3869" fmla="*/ 2510675 w 6884782"/>
              <a:gd name="connsiteY3869" fmla="*/ 5269419 h 5973007"/>
              <a:gd name="connsiteX3870" fmla="*/ 2511449 w 6884782"/>
              <a:gd name="connsiteY3870" fmla="*/ 5267147 h 5973007"/>
              <a:gd name="connsiteX3871" fmla="*/ 2508816 w 6884782"/>
              <a:gd name="connsiteY3871" fmla="*/ 5267767 h 5973007"/>
              <a:gd name="connsiteX3872" fmla="*/ 2503394 w 6884782"/>
              <a:gd name="connsiteY3872" fmla="*/ 5265908 h 5973007"/>
              <a:gd name="connsiteX3873" fmla="*/ 2499522 w 6884782"/>
              <a:gd name="connsiteY3873" fmla="*/ 5250420 h 5973007"/>
              <a:gd name="connsiteX3874" fmla="*/ 2500916 w 6884782"/>
              <a:gd name="connsiteY3874" fmla="*/ 5248664 h 5973007"/>
              <a:gd name="connsiteX3875" fmla="*/ 2502001 w 6884782"/>
              <a:gd name="connsiteY3875" fmla="*/ 5245050 h 5973007"/>
              <a:gd name="connsiteX3876" fmla="*/ 2622355 w 6884782"/>
              <a:gd name="connsiteY3876" fmla="*/ 5244534 h 5973007"/>
              <a:gd name="connsiteX3877" fmla="*/ 2621890 w 6884782"/>
              <a:gd name="connsiteY3877" fmla="*/ 5255376 h 5973007"/>
              <a:gd name="connsiteX3878" fmla="*/ 2616624 w 6884782"/>
              <a:gd name="connsiteY3878" fmla="*/ 5255066 h 5973007"/>
              <a:gd name="connsiteX3879" fmla="*/ 2618792 w 6884782"/>
              <a:gd name="connsiteY3879" fmla="*/ 5244638 h 5973007"/>
              <a:gd name="connsiteX3880" fmla="*/ 2622355 w 6884782"/>
              <a:gd name="connsiteY3880" fmla="*/ 5244534 h 5973007"/>
              <a:gd name="connsiteX3881" fmla="*/ 2194532 w 6884782"/>
              <a:gd name="connsiteY3881" fmla="*/ 5243708 h 5973007"/>
              <a:gd name="connsiteX3882" fmla="*/ 2196081 w 6884782"/>
              <a:gd name="connsiteY3882" fmla="*/ 5244638 h 5973007"/>
              <a:gd name="connsiteX3883" fmla="*/ 2197785 w 6884782"/>
              <a:gd name="connsiteY3883" fmla="*/ 5244638 h 5973007"/>
              <a:gd name="connsiteX3884" fmla="*/ 2197630 w 6884782"/>
              <a:gd name="connsiteY3884" fmla="*/ 5245567 h 5973007"/>
              <a:gd name="connsiteX3885" fmla="*/ 2198404 w 6884782"/>
              <a:gd name="connsiteY3885" fmla="*/ 5246496 h 5973007"/>
              <a:gd name="connsiteX3886" fmla="*/ 2196391 w 6884782"/>
              <a:gd name="connsiteY3886" fmla="*/ 5249904 h 5973007"/>
              <a:gd name="connsiteX3887" fmla="*/ 2194532 w 6884782"/>
              <a:gd name="connsiteY3887" fmla="*/ 5250936 h 5973007"/>
              <a:gd name="connsiteX3888" fmla="*/ 2192983 w 6884782"/>
              <a:gd name="connsiteY3888" fmla="*/ 5250729 h 5973007"/>
              <a:gd name="connsiteX3889" fmla="*/ 2192363 w 6884782"/>
              <a:gd name="connsiteY3889" fmla="*/ 5248974 h 5973007"/>
              <a:gd name="connsiteX3890" fmla="*/ 2192674 w 6884782"/>
              <a:gd name="connsiteY3890" fmla="*/ 5245464 h 5973007"/>
              <a:gd name="connsiteX3891" fmla="*/ 2194532 w 6884782"/>
              <a:gd name="connsiteY3891" fmla="*/ 5243708 h 5973007"/>
              <a:gd name="connsiteX3892" fmla="*/ 2636760 w 6884782"/>
              <a:gd name="connsiteY3892" fmla="*/ 5243398 h 5973007"/>
              <a:gd name="connsiteX3893" fmla="*/ 2645125 w 6884782"/>
              <a:gd name="connsiteY3893" fmla="*/ 5244638 h 5973007"/>
              <a:gd name="connsiteX3894" fmla="*/ 2642182 w 6884782"/>
              <a:gd name="connsiteY3894" fmla="*/ 5253931 h 5973007"/>
              <a:gd name="connsiteX3895" fmla="*/ 2636760 w 6884782"/>
              <a:gd name="connsiteY3895" fmla="*/ 5243398 h 5973007"/>
              <a:gd name="connsiteX3896" fmla="*/ 1653014 w 6884782"/>
              <a:gd name="connsiteY3896" fmla="*/ 5242985 h 5973007"/>
              <a:gd name="connsiteX3897" fmla="*/ 1637990 w 6884782"/>
              <a:gd name="connsiteY3897" fmla="*/ 5250729 h 5973007"/>
              <a:gd name="connsiteX3898" fmla="*/ 1638299 w 6884782"/>
              <a:gd name="connsiteY3898" fmla="*/ 5247115 h 5973007"/>
              <a:gd name="connsiteX3899" fmla="*/ 1640003 w 6884782"/>
              <a:gd name="connsiteY3899" fmla="*/ 5247115 h 5973007"/>
              <a:gd name="connsiteX3900" fmla="*/ 1653014 w 6884782"/>
              <a:gd name="connsiteY3900" fmla="*/ 5242985 h 5973007"/>
              <a:gd name="connsiteX3901" fmla="*/ 2571084 w 6884782"/>
              <a:gd name="connsiteY3901" fmla="*/ 5241333 h 5973007"/>
              <a:gd name="connsiteX3902" fmla="*/ 2578519 w 6884782"/>
              <a:gd name="connsiteY3902" fmla="*/ 5241437 h 5973007"/>
              <a:gd name="connsiteX3903" fmla="*/ 2577125 w 6884782"/>
              <a:gd name="connsiteY3903" fmla="*/ 5247425 h 5973007"/>
              <a:gd name="connsiteX3904" fmla="*/ 2574802 w 6884782"/>
              <a:gd name="connsiteY3904" fmla="*/ 5248768 h 5973007"/>
              <a:gd name="connsiteX3905" fmla="*/ 2572014 w 6884782"/>
              <a:gd name="connsiteY3905" fmla="*/ 5248148 h 5973007"/>
              <a:gd name="connsiteX3906" fmla="*/ 2570620 w 6884782"/>
              <a:gd name="connsiteY3906" fmla="*/ 5246496 h 5973007"/>
              <a:gd name="connsiteX3907" fmla="*/ 2571084 w 6884782"/>
              <a:gd name="connsiteY3907" fmla="*/ 5241333 h 5973007"/>
              <a:gd name="connsiteX3908" fmla="*/ 2635366 w 6884782"/>
              <a:gd name="connsiteY3908" fmla="*/ 5241127 h 5973007"/>
              <a:gd name="connsiteX3909" fmla="*/ 2636760 w 6884782"/>
              <a:gd name="connsiteY3909" fmla="*/ 5242159 h 5973007"/>
              <a:gd name="connsiteX3910" fmla="*/ 2636141 w 6884782"/>
              <a:gd name="connsiteY3910" fmla="*/ 5244534 h 5973007"/>
              <a:gd name="connsiteX3911" fmla="*/ 2631649 w 6884782"/>
              <a:gd name="connsiteY3911" fmla="*/ 5247219 h 5973007"/>
              <a:gd name="connsiteX3912" fmla="*/ 2630255 w 6884782"/>
              <a:gd name="connsiteY3912" fmla="*/ 5246186 h 5973007"/>
              <a:gd name="connsiteX3913" fmla="*/ 2635366 w 6884782"/>
              <a:gd name="connsiteY3913" fmla="*/ 5241127 h 5973007"/>
              <a:gd name="connsiteX3914" fmla="*/ 1949796 w 6884782"/>
              <a:gd name="connsiteY3914" fmla="*/ 5240610 h 5973007"/>
              <a:gd name="connsiteX3915" fmla="*/ 1955062 w 6884782"/>
              <a:gd name="connsiteY3915" fmla="*/ 5246083 h 5973007"/>
              <a:gd name="connsiteX3916" fmla="*/ 1951965 w 6884782"/>
              <a:gd name="connsiteY3916" fmla="*/ 5249594 h 5973007"/>
              <a:gd name="connsiteX3917" fmla="*/ 1946079 w 6884782"/>
              <a:gd name="connsiteY3917" fmla="*/ 5245773 h 5973007"/>
              <a:gd name="connsiteX3918" fmla="*/ 1949796 w 6884782"/>
              <a:gd name="connsiteY3918" fmla="*/ 5240610 h 5973007"/>
              <a:gd name="connsiteX3919" fmla="*/ 2696240 w 6884782"/>
              <a:gd name="connsiteY3919" fmla="*/ 5240404 h 5973007"/>
              <a:gd name="connsiteX3920" fmla="*/ 2700268 w 6884782"/>
              <a:gd name="connsiteY3920" fmla="*/ 5256615 h 5973007"/>
              <a:gd name="connsiteX3921" fmla="*/ 2697325 w 6884782"/>
              <a:gd name="connsiteY3921" fmla="*/ 5257854 h 5973007"/>
              <a:gd name="connsiteX3922" fmla="*/ 2692988 w 6884782"/>
              <a:gd name="connsiteY3922" fmla="*/ 5253724 h 5973007"/>
              <a:gd name="connsiteX3923" fmla="*/ 2691284 w 6884782"/>
              <a:gd name="connsiteY3923" fmla="*/ 5250316 h 5973007"/>
              <a:gd name="connsiteX3924" fmla="*/ 2691749 w 6884782"/>
              <a:gd name="connsiteY3924" fmla="*/ 5246599 h 5973007"/>
              <a:gd name="connsiteX3925" fmla="*/ 2692058 w 6884782"/>
              <a:gd name="connsiteY3925" fmla="*/ 5240610 h 5973007"/>
              <a:gd name="connsiteX3926" fmla="*/ 2696240 w 6884782"/>
              <a:gd name="connsiteY3926" fmla="*/ 5240404 h 5973007"/>
              <a:gd name="connsiteX3927" fmla="*/ 1659985 w 6884782"/>
              <a:gd name="connsiteY3927" fmla="*/ 5238855 h 5973007"/>
              <a:gd name="connsiteX3928" fmla="*/ 1656422 w 6884782"/>
              <a:gd name="connsiteY3928" fmla="*/ 5241437 h 5973007"/>
              <a:gd name="connsiteX3929" fmla="*/ 1655648 w 6884782"/>
              <a:gd name="connsiteY3929" fmla="*/ 5240610 h 5973007"/>
              <a:gd name="connsiteX3930" fmla="*/ 1659985 w 6884782"/>
              <a:gd name="connsiteY3930" fmla="*/ 5238855 h 5973007"/>
              <a:gd name="connsiteX3931" fmla="*/ 2653179 w 6884782"/>
              <a:gd name="connsiteY3931" fmla="*/ 5238752 h 5973007"/>
              <a:gd name="connsiteX3932" fmla="*/ 2658446 w 6884782"/>
              <a:gd name="connsiteY3932" fmla="*/ 5242159 h 5973007"/>
              <a:gd name="connsiteX3933" fmla="*/ 2658601 w 6884782"/>
              <a:gd name="connsiteY3933" fmla="*/ 5243192 h 5973007"/>
              <a:gd name="connsiteX3934" fmla="*/ 2653179 w 6884782"/>
              <a:gd name="connsiteY3934" fmla="*/ 5238752 h 5973007"/>
              <a:gd name="connsiteX3935" fmla="*/ 1646993 w 6884782"/>
              <a:gd name="connsiteY3935" fmla="*/ 5238597 h 5973007"/>
              <a:gd name="connsiteX3936" fmla="*/ 1651621 w 6884782"/>
              <a:gd name="connsiteY3936" fmla="*/ 5238752 h 5973007"/>
              <a:gd name="connsiteX3937" fmla="*/ 1651466 w 6884782"/>
              <a:gd name="connsiteY3937" fmla="*/ 5239578 h 5973007"/>
              <a:gd name="connsiteX3938" fmla="*/ 1642636 w 6884782"/>
              <a:gd name="connsiteY3938" fmla="*/ 5241437 h 5973007"/>
              <a:gd name="connsiteX3939" fmla="*/ 1639539 w 6884782"/>
              <a:gd name="connsiteY3939" fmla="*/ 5241127 h 5973007"/>
              <a:gd name="connsiteX3940" fmla="*/ 1640468 w 6884782"/>
              <a:gd name="connsiteY3940" fmla="*/ 5241127 h 5973007"/>
              <a:gd name="connsiteX3941" fmla="*/ 1639694 w 6884782"/>
              <a:gd name="connsiteY3941" fmla="*/ 5240301 h 5973007"/>
              <a:gd name="connsiteX3942" fmla="*/ 1646993 w 6884782"/>
              <a:gd name="connsiteY3942" fmla="*/ 5238597 h 5973007"/>
              <a:gd name="connsiteX3943" fmla="*/ 2844631 w 6884782"/>
              <a:gd name="connsiteY3943" fmla="*/ 5237719 h 5973007"/>
              <a:gd name="connsiteX3944" fmla="*/ 2849588 w 6884782"/>
              <a:gd name="connsiteY3944" fmla="*/ 5238442 h 5973007"/>
              <a:gd name="connsiteX3945" fmla="*/ 2848968 w 6884782"/>
              <a:gd name="connsiteY3945" fmla="*/ 5246186 h 5973007"/>
              <a:gd name="connsiteX3946" fmla="*/ 2846025 w 6884782"/>
              <a:gd name="connsiteY3946" fmla="*/ 5246599 h 5973007"/>
              <a:gd name="connsiteX3947" fmla="*/ 2843237 w 6884782"/>
              <a:gd name="connsiteY3947" fmla="*/ 5244431 h 5973007"/>
              <a:gd name="connsiteX3948" fmla="*/ 2842153 w 6884782"/>
              <a:gd name="connsiteY3948" fmla="*/ 5241953 h 5973007"/>
              <a:gd name="connsiteX3949" fmla="*/ 2842772 w 6884782"/>
              <a:gd name="connsiteY3949" fmla="*/ 5239061 h 5973007"/>
              <a:gd name="connsiteX3950" fmla="*/ 2844631 w 6884782"/>
              <a:gd name="connsiteY3950" fmla="*/ 5237719 h 5973007"/>
              <a:gd name="connsiteX3951" fmla="*/ 2029877 w 6884782"/>
              <a:gd name="connsiteY3951" fmla="*/ 5237306 h 5973007"/>
              <a:gd name="connsiteX3952" fmla="*/ 2031117 w 6884782"/>
              <a:gd name="connsiteY3952" fmla="*/ 5240817 h 5973007"/>
              <a:gd name="connsiteX3953" fmla="*/ 2023372 w 6884782"/>
              <a:gd name="connsiteY3953" fmla="*/ 5242882 h 5973007"/>
              <a:gd name="connsiteX3954" fmla="*/ 2017021 w 6884782"/>
              <a:gd name="connsiteY3954" fmla="*/ 5240301 h 5973007"/>
              <a:gd name="connsiteX3955" fmla="*/ 2017330 w 6884782"/>
              <a:gd name="connsiteY3955" fmla="*/ 5237822 h 5973007"/>
              <a:gd name="connsiteX3956" fmla="*/ 2029877 w 6884782"/>
              <a:gd name="connsiteY3956" fmla="*/ 5237306 h 5973007"/>
              <a:gd name="connsiteX3957" fmla="*/ 2505718 w 6884782"/>
              <a:gd name="connsiteY3957" fmla="*/ 5235035 h 5973007"/>
              <a:gd name="connsiteX3958" fmla="*/ 2509591 w 6884782"/>
              <a:gd name="connsiteY3958" fmla="*/ 5241953 h 5973007"/>
              <a:gd name="connsiteX3959" fmla="*/ 2504944 w 6884782"/>
              <a:gd name="connsiteY3959" fmla="*/ 5237203 h 5973007"/>
              <a:gd name="connsiteX3960" fmla="*/ 2505718 w 6884782"/>
              <a:gd name="connsiteY3960" fmla="*/ 5235035 h 5973007"/>
              <a:gd name="connsiteX3961" fmla="*/ 2733725 w 6884782"/>
              <a:gd name="connsiteY3961" fmla="*/ 5234725 h 5973007"/>
              <a:gd name="connsiteX3962" fmla="*/ 2741780 w 6884782"/>
              <a:gd name="connsiteY3962" fmla="*/ 5244947 h 5973007"/>
              <a:gd name="connsiteX3963" fmla="*/ 2742245 w 6884782"/>
              <a:gd name="connsiteY3963" fmla="*/ 5253208 h 5973007"/>
              <a:gd name="connsiteX3964" fmla="*/ 2746427 w 6884782"/>
              <a:gd name="connsiteY3964" fmla="*/ 5257338 h 5973007"/>
              <a:gd name="connsiteX3965" fmla="*/ 2748905 w 6884782"/>
              <a:gd name="connsiteY3965" fmla="*/ 5256718 h 5973007"/>
              <a:gd name="connsiteX3966" fmla="*/ 2752623 w 6884782"/>
              <a:gd name="connsiteY3966" fmla="*/ 5259093 h 5973007"/>
              <a:gd name="connsiteX3967" fmla="*/ 2752313 w 6884782"/>
              <a:gd name="connsiteY3967" fmla="*/ 5260022 h 5973007"/>
              <a:gd name="connsiteX3968" fmla="*/ 2753397 w 6884782"/>
              <a:gd name="connsiteY3968" fmla="*/ 5260126 h 5973007"/>
              <a:gd name="connsiteX3969" fmla="*/ 2756031 w 6884782"/>
              <a:gd name="connsiteY3969" fmla="*/ 5261778 h 5973007"/>
              <a:gd name="connsiteX3970" fmla="*/ 2758199 w 6884782"/>
              <a:gd name="connsiteY3970" fmla="*/ 5273136 h 5973007"/>
              <a:gd name="connsiteX3971" fmla="*/ 2750764 w 6884782"/>
              <a:gd name="connsiteY3971" fmla="*/ 5277060 h 5973007"/>
              <a:gd name="connsiteX3972" fmla="*/ 2751693 w 6884782"/>
              <a:gd name="connsiteY3972" fmla="*/ 5277060 h 5973007"/>
              <a:gd name="connsiteX3973" fmla="*/ 2760677 w 6884782"/>
              <a:gd name="connsiteY3973" fmla="*/ 5289554 h 5973007"/>
              <a:gd name="connsiteX3974" fmla="*/ 2758044 w 6884782"/>
              <a:gd name="connsiteY3974" fmla="*/ 5288624 h 5973007"/>
              <a:gd name="connsiteX3975" fmla="*/ 2757270 w 6884782"/>
              <a:gd name="connsiteY3975" fmla="*/ 5287695 h 5973007"/>
              <a:gd name="connsiteX3976" fmla="*/ 2756960 w 6884782"/>
              <a:gd name="connsiteY3976" fmla="*/ 5287592 h 5973007"/>
              <a:gd name="connsiteX3977" fmla="*/ 2758663 w 6884782"/>
              <a:gd name="connsiteY3977" fmla="*/ 5290277 h 5973007"/>
              <a:gd name="connsiteX3978" fmla="*/ 2756340 w 6884782"/>
              <a:gd name="connsiteY3978" fmla="*/ 5295336 h 5973007"/>
              <a:gd name="connsiteX3979" fmla="*/ 2747356 w 6884782"/>
              <a:gd name="connsiteY3979" fmla="*/ 5279435 h 5973007"/>
              <a:gd name="connsiteX3980" fmla="*/ 2745652 w 6884782"/>
              <a:gd name="connsiteY3980" fmla="*/ 5276853 h 5973007"/>
              <a:gd name="connsiteX3981" fmla="*/ 2747356 w 6884782"/>
              <a:gd name="connsiteY3981" fmla="*/ 5275201 h 5973007"/>
              <a:gd name="connsiteX3982" fmla="*/ 2745962 w 6884782"/>
              <a:gd name="connsiteY3982" fmla="*/ 5273652 h 5973007"/>
              <a:gd name="connsiteX3983" fmla="*/ 2744568 w 6884782"/>
              <a:gd name="connsiteY3983" fmla="*/ 5277783 h 5973007"/>
              <a:gd name="connsiteX3984" fmla="*/ 2742710 w 6884782"/>
              <a:gd name="connsiteY3984" fmla="*/ 5279538 h 5973007"/>
              <a:gd name="connsiteX3985" fmla="*/ 2742864 w 6884782"/>
              <a:gd name="connsiteY3985" fmla="*/ 5280364 h 5973007"/>
              <a:gd name="connsiteX3986" fmla="*/ 2741470 w 6884782"/>
              <a:gd name="connsiteY3986" fmla="*/ 5290277 h 5973007"/>
              <a:gd name="connsiteX3987" fmla="*/ 2735584 w 6884782"/>
              <a:gd name="connsiteY3987" fmla="*/ 5288934 h 5973007"/>
              <a:gd name="connsiteX3988" fmla="*/ 2732641 w 6884782"/>
              <a:gd name="connsiteY3988" fmla="*/ 5287695 h 5973007"/>
              <a:gd name="connsiteX3989" fmla="*/ 2731402 w 6884782"/>
              <a:gd name="connsiteY3989" fmla="*/ 5291206 h 5973007"/>
              <a:gd name="connsiteX3990" fmla="*/ 2727839 w 6884782"/>
              <a:gd name="connsiteY3990" fmla="*/ 5293168 h 5973007"/>
              <a:gd name="connsiteX3991" fmla="*/ 2726445 w 6884782"/>
              <a:gd name="connsiteY3991" fmla="*/ 5289760 h 5973007"/>
              <a:gd name="connsiteX3992" fmla="*/ 2728459 w 6884782"/>
              <a:gd name="connsiteY3992" fmla="*/ 5285733 h 5973007"/>
              <a:gd name="connsiteX3993" fmla="*/ 2728769 w 6884782"/>
              <a:gd name="connsiteY3993" fmla="*/ 5285630 h 5973007"/>
              <a:gd name="connsiteX3994" fmla="*/ 2722418 w 6884782"/>
              <a:gd name="connsiteY3994" fmla="*/ 5281810 h 5973007"/>
              <a:gd name="connsiteX3995" fmla="*/ 2719784 w 6884782"/>
              <a:gd name="connsiteY3995" fmla="*/ 5284494 h 5973007"/>
              <a:gd name="connsiteX3996" fmla="*/ 2715138 w 6884782"/>
              <a:gd name="connsiteY3996" fmla="*/ 5285837 h 5973007"/>
              <a:gd name="connsiteX3997" fmla="*/ 2725361 w 6884782"/>
              <a:gd name="connsiteY3997" fmla="*/ 5273343 h 5973007"/>
              <a:gd name="connsiteX3998" fmla="*/ 2725051 w 6884782"/>
              <a:gd name="connsiteY3998" fmla="*/ 5276853 h 5973007"/>
              <a:gd name="connsiteX3999" fmla="*/ 2724122 w 6884782"/>
              <a:gd name="connsiteY3999" fmla="*/ 5279228 h 5973007"/>
              <a:gd name="connsiteX4000" fmla="*/ 2724897 w 6884782"/>
              <a:gd name="connsiteY4000" fmla="*/ 5278918 h 5973007"/>
              <a:gd name="connsiteX4001" fmla="*/ 2729853 w 6884782"/>
              <a:gd name="connsiteY4001" fmla="*/ 5278299 h 5973007"/>
              <a:gd name="connsiteX4002" fmla="*/ 2733725 w 6884782"/>
              <a:gd name="connsiteY4002" fmla="*/ 5276544 h 5973007"/>
              <a:gd name="connsiteX4003" fmla="*/ 2731092 w 6884782"/>
              <a:gd name="connsiteY4003" fmla="*/ 5266528 h 5973007"/>
              <a:gd name="connsiteX4004" fmla="*/ 2731557 w 6884782"/>
              <a:gd name="connsiteY4004" fmla="*/ 5260022 h 5973007"/>
              <a:gd name="connsiteX4005" fmla="*/ 2729078 w 6884782"/>
              <a:gd name="connsiteY4005" fmla="*/ 5260332 h 5973007"/>
              <a:gd name="connsiteX4006" fmla="*/ 2716687 w 6884782"/>
              <a:gd name="connsiteY4006" fmla="*/ 5251452 h 5973007"/>
              <a:gd name="connsiteX4007" fmla="*/ 2718236 w 6884782"/>
              <a:gd name="connsiteY4007" fmla="*/ 5245050 h 5973007"/>
              <a:gd name="connsiteX4008" fmla="*/ 2733725 w 6884782"/>
              <a:gd name="connsiteY4008" fmla="*/ 5234725 h 5973007"/>
              <a:gd name="connsiteX4009" fmla="*/ 2765479 w 6884782"/>
              <a:gd name="connsiteY4009" fmla="*/ 5231627 h 5973007"/>
              <a:gd name="connsiteX4010" fmla="*/ 2770126 w 6884782"/>
              <a:gd name="connsiteY4010" fmla="*/ 5231834 h 5973007"/>
              <a:gd name="connsiteX4011" fmla="*/ 2768732 w 6884782"/>
              <a:gd name="connsiteY4011" fmla="*/ 5235654 h 5973007"/>
              <a:gd name="connsiteX4012" fmla="*/ 2765324 w 6884782"/>
              <a:gd name="connsiteY4012" fmla="*/ 5234415 h 5973007"/>
              <a:gd name="connsiteX4013" fmla="*/ 2765479 w 6884782"/>
              <a:gd name="connsiteY4013" fmla="*/ 5231627 h 5973007"/>
              <a:gd name="connsiteX4014" fmla="*/ 2413245 w 6884782"/>
              <a:gd name="connsiteY4014" fmla="*/ 5231420 h 5973007"/>
              <a:gd name="connsiteX4015" fmla="*/ 2400544 w 6884782"/>
              <a:gd name="connsiteY4015" fmla="*/ 5240404 h 5973007"/>
              <a:gd name="connsiteX4016" fmla="*/ 2396361 w 6884782"/>
              <a:gd name="connsiteY4016" fmla="*/ 5237822 h 5973007"/>
              <a:gd name="connsiteX4017" fmla="*/ 2413245 w 6884782"/>
              <a:gd name="connsiteY4017" fmla="*/ 5231420 h 5973007"/>
              <a:gd name="connsiteX4018" fmla="*/ 1880925 w 6884782"/>
              <a:gd name="connsiteY4018" fmla="*/ 5230801 h 5973007"/>
              <a:gd name="connsiteX4019" fmla="*/ 1883810 w 6884782"/>
              <a:gd name="connsiteY4019" fmla="*/ 5240920 h 5973007"/>
              <a:gd name="connsiteX4020" fmla="*/ 1875135 w 6884782"/>
              <a:gd name="connsiteY4020" fmla="*/ 5238339 h 5973007"/>
              <a:gd name="connsiteX4021" fmla="*/ 1880925 w 6884782"/>
              <a:gd name="connsiteY4021" fmla="*/ 5230801 h 5973007"/>
              <a:gd name="connsiteX4022" fmla="*/ 1685388 w 6884782"/>
              <a:gd name="connsiteY4022" fmla="*/ 5227910 h 5973007"/>
              <a:gd name="connsiteX4023" fmla="*/ 1679347 w 6884782"/>
              <a:gd name="connsiteY4023" fmla="*/ 5234002 h 5973007"/>
              <a:gd name="connsiteX4024" fmla="*/ 1677488 w 6884782"/>
              <a:gd name="connsiteY4024" fmla="*/ 5233795 h 5973007"/>
              <a:gd name="connsiteX4025" fmla="*/ 1677798 w 6884782"/>
              <a:gd name="connsiteY4025" fmla="*/ 5231214 h 5973007"/>
              <a:gd name="connsiteX4026" fmla="*/ 1685388 w 6884782"/>
              <a:gd name="connsiteY4026" fmla="*/ 5227910 h 5973007"/>
              <a:gd name="connsiteX4027" fmla="*/ 2558073 w 6884782"/>
              <a:gd name="connsiteY4027" fmla="*/ 5227497 h 5973007"/>
              <a:gd name="connsiteX4028" fmla="*/ 2560551 w 6884782"/>
              <a:gd name="connsiteY4028" fmla="*/ 5229975 h 5973007"/>
              <a:gd name="connsiteX4029" fmla="*/ 2559312 w 6884782"/>
              <a:gd name="connsiteY4029" fmla="*/ 5230801 h 5973007"/>
              <a:gd name="connsiteX4030" fmla="*/ 2559777 w 6884782"/>
              <a:gd name="connsiteY4030" fmla="*/ 5231627 h 5973007"/>
              <a:gd name="connsiteX4031" fmla="*/ 2558073 w 6884782"/>
              <a:gd name="connsiteY4031" fmla="*/ 5231627 h 5973007"/>
              <a:gd name="connsiteX4032" fmla="*/ 2557453 w 6884782"/>
              <a:gd name="connsiteY4032" fmla="*/ 5231008 h 5973007"/>
              <a:gd name="connsiteX4033" fmla="*/ 2557299 w 6884782"/>
              <a:gd name="connsiteY4033" fmla="*/ 5230904 h 5973007"/>
              <a:gd name="connsiteX4034" fmla="*/ 2557144 w 6884782"/>
              <a:gd name="connsiteY4034" fmla="*/ 5229046 h 5973007"/>
              <a:gd name="connsiteX4035" fmla="*/ 2558073 w 6884782"/>
              <a:gd name="connsiteY4035" fmla="*/ 5227497 h 5973007"/>
              <a:gd name="connsiteX4036" fmla="*/ 2738837 w 6884782"/>
              <a:gd name="connsiteY4036" fmla="*/ 5227290 h 5973007"/>
              <a:gd name="connsiteX4037" fmla="*/ 2734500 w 6884782"/>
              <a:gd name="connsiteY4037" fmla="*/ 5234931 h 5973007"/>
              <a:gd name="connsiteX4038" fmla="*/ 2733571 w 6884782"/>
              <a:gd name="connsiteY4038" fmla="*/ 5227497 h 5973007"/>
              <a:gd name="connsiteX4039" fmla="*/ 2738837 w 6884782"/>
              <a:gd name="connsiteY4039" fmla="*/ 5227290 h 5973007"/>
              <a:gd name="connsiteX4040" fmla="*/ 2278796 w 6884782"/>
              <a:gd name="connsiteY4040" fmla="*/ 5226877 h 5973007"/>
              <a:gd name="connsiteX4041" fmla="*/ 2283287 w 6884782"/>
              <a:gd name="connsiteY4041" fmla="*/ 5229252 h 5973007"/>
              <a:gd name="connsiteX4042" fmla="*/ 2283907 w 6884782"/>
              <a:gd name="connsiteY4042" fmla="*/ 5239578 h 5973007"/>
              <a:gd name="connsiteX4043" fmla="*/ 2274923 w 6884782"/>
              <a:gd name="connsiteY4043" fmla="*/ 5241849 h 5973007"/>
              <a:gd name="connsiteX4044" fmla="*/ 2274303 w 6884782"/>
              <a:gd name="connsiteY4044" fmla="*/ 5243708 h 5973007"/>
              <a:gd name="connsiteX4045" fmla="*/ 2271205 w 6884782"/>
              <a:gd name="connsiteY4045" fmla="*/ 5245567 h 5973007"/>
              <a:gd name="connsiteX4046" fmla="*/ 2270121 w 6884782"/>
              <a:gd name="connsiteY4046" fmla="*/ 5243915 h 5973007"/>
              <a:gd name="connsiteX4047" fmla="*/ 2273064 w 6884782"/>
              <a:gd name="connsiteY4047" fmla="*/ 5241127 h 5973007"/>
              <a:gd name="connsiteX4048" fmla="*/ 2273064 w 6884782"/>
              <a:gd name="connsiteY4048" fmla="*/ 5240301 h 5973007"/>
              <a:gd name="connsiteX4049" fmla="*/ 2271051 w 6884782"/>
              <a:gd name="connsiteY4049" fmla="*/ 5238648 h 5973007"/>
              <a:gd name="connsiteX4050" fmla="*/ 2269967 w 6884782"/>
              <a:gd name="connsiteY4050" fmla="*/ 5229975 h 5973007"/>
              <a:gd name="connsiteX4051" fmla="*/ 2278796 w 6884782"/>
              <a:gd name="connsiteY4051" fmla="*/ 5226877 h 5973007"/>
              <a:gd name="connsiteX4052" fmla="*/ 2627776 w 6884782"/>
              <a:gd name="connsiteY4052" fmla="*/ 5225742 h 5973007"/>
              <a:gd name="connsiteX4053" fmla="*/ 2628241 w 6884782"/>
              <a:gd name="connsiteY4053" fmla="*/ 5227600 h 5973007"/>
              <a:gd name="connsiteX4054" fmla="*/ 2628860 w 6884782"/>
              <a:gd name="connsiteY4054" fmla="*/ 5227084 h 5973007"/>
              <a:gd name="connsiteX4055" fmla="*/ 2632888 w 6884782"/>
              <a:gd name="connsiteY4055" fmla="*/ 5225948 h 5973007"/>
              <a:gd name="connsiteX4056" fmla="*/ 2630255 w 6884782"/>
              <a:gd name="connsiteY4056" fmla="*/ 5228529 h 5973007"/>
              <a:gd name="connsiteX4057" fmla="*/ 2628860 w 6884782"/>
              <a:gd name="connsiteY4057" fmla="*/ 5229459 h 5973007"/>
              <a:gd name="connsiteX4058" fmla="*/ 2629635 w 6884782"/>
              <a:gd name="connsiteY4058" fmla="*/ 5231627 h 5973007"/>
              <a:gd name="connsiteX4059" fmla="*/ 2627776 w 6884782"/>
              <a:gd name="connsiteY4059" fmla="*/ 5235448 h 5973007"/>
              <a:gd name="connsiteX4060" fmla="*/ 2629480 w 6884782"/>
              <a:gd name="connsiteY4060" fmla="*/ 5235861 h 5973007"/>
              <a:gd name="connsiteX4061" fmla="*/ 2627002 w 6884782"/>
              <a:gd name="connsiteY4061" fmla="*/ 5238442 h 5973007"/>
              <a:gd name="connsiteX4062" fmla="*/ 2626382 w 6884782"/>
              <a:gd name="connsiteY4062" fmla="*/ 5237822 h 5973007"/>
              <a:gd name="connsiteX4063" fmla="*/ 2624059 w 6884782"/>
              <a:gd name="connsiteY4063" fmla="*/ 5237306 h 5973007"/>
              <a:gd name="connsiteX4064" fmla="*/ 2623594 w 6884782"/>
              <a:gd name="connsiteY4064" fmla="*/ 5238545 h 5973007"/>
              <a:gd name="connsiteX4065" fmla="*/ 2620341 w 6884782"/>
              <a:gd name="connsiteY4065" fmla="*/ 5240610 h 5973007"/>
              <a:gd name="connsiteX4066" fmla="*/ 2618792 w 6884782"/>
              <a:gd name="connsiteY4066" fmla="*/ 5239578 h 5973007"/>
              <a:gd name="connsiteX4067" fmla="*/ 2617398 w 6884782"/>
              <a:gd name="connsiteY4067" fmla="*/ 5238029 h 5973007"/>
              <a:gd name="connsiteX4068" fmla="*/ 2616624 w 6884782"/>
              <a:gd name="connsiteY4068" fmla="*/ 5236171 h 5973007"/>
              <a:gd name="connsiteX4069" fmla="*/ 2616624 w 6884782"/>
              <a:gd name="connsiteY4069" fmla="*/ 5233279 h 5973007"/>
              <a:gd name="connsiteX4070" fmla="*/ 2618792 w 6884782"/>
              <a:gd name="connsiteY4070" fmla="*/ 5229975 h 5973007"/>
              <a:gd name="connsiteX4071" fmla="*/ 2620341 w 6884782"/>
              <a:gd name="connsiteY4071" fmla="*/ 5229046 h 5973007"/>
              <a:gd name="connsiteX4072" fmla="*/ 2620806 w 6884782"/>
              <a:gd name="connsiteY4072" fmla="*/ 5229252 h 5973007"/>
              <a:gd name="connsiteX4073" fmla="*/ 2623749 w 6884782"/>
              <a:gd name="connsiteY4073" fmla="*/ 5226981 h 5973007"/>
              <a:gd name="connsiteX4074" fmla="*/ 2627776 w 6884782"/>
              <a:gd name="connsiteY4074" fmla="*/ 5225742 h 5973007"/>
              <a:gd name="connsiteX4075" fmla="*/ 1772285 w 6884782"/>
              <a:gd name="connsiteY4075" fmla="*/ 5225638 h 5973007"/>
              <a:gd name="connsiteX4076" fmla="*/ 1772904 w 6884782"/>
              <a:gd name="connsiteY4076" fmla="*/ 5226051 h 5973007"/>
              <a:gd name="connsiteX4077" fmla="*/ 1775692 w 6884782"/>
              <a:gd name="connsiteY4077" fmla="*/ 5227807 h 5973007"/>
              <a:gd name="connsiteX4078" fmla="*/ 1774608 w 6884782"/>
              <a:gd name="connsiteY4078" fmla="*/ 5232350 h 5973007"/>
              <a:gd name="connsiteX4079" fmla="*/ 1771355 w 6884782"/>
              <a:gd name="connsiteY4079" fmla="*/ 5232556 h 5973007"/>
              <a:gd name="connsiteX4080" fmla="*/ 1769651 w 6884782"/>
              <a:gd name="connsiteY4080" fmla="*/ 5231317 h 5973007"/>
              <a:gd name="connsiteX4081" fmla="*/ 1770426 w 6884782"/>
              <a:gd name="connsiteY4081" fmla="*/ 5226568 h 5973007"/>
              <a:gd name="connsiteX4082" fmla="*/ 1772285 w 6884782"/>
              <a:gd name="connsiteY4082" fmla="*/ 5225638 h 5973007"/>
              <a:gd name="connsiteX4083" fmla="*/ 2723192 w 6884782"/>
              <a:gd name="connsiteY4083" fmla="*/ 5224503 h 5973007"/>
              <a:gd name="connsiteX4084" fmla="*/ 2721643 w 6884782"/>
              <a:gd name="connsiteY4084" fmla="*/ 5233692 h 5973007"/>
              <a:gd name="connsiteX4085" fmla="*/ 2720250 w 6884782"/>
              <a:gd name="connsiteY4085" fmla="*/ 5231834 h 5973007"/>
              <a:gd name="connsiteX4086" fmla="*/ 2723192 w 6884782"/>
              <a:gd name="connsiteY4086" fmla="*/ 5224503 h 5973007"/>
              <a:gd name="connsiteX4087" fmla="*/ 2480160 w 6884782"/>
              <a:gd name="connsiteY4087" fmla="*/ 5224296 h 5973007"/>
              <a:gd name="connsiteX4088" fmla="*/ 2474739 w 6884782"/>
              <a:gd name="connsiteY4088" fmla="*/ 5234931 h 5973007"/>
              <a:gd name="connsiteX4089" fmla="*/ 2470557 w 6884782"/>
              <a:gd name="connsiteY4089" fmla="*/ 5234105 h 5973007"/>
              <a:gd name="connsiteX4090" fmla="*/ 2480160 w 6884782"/>
              <a:gd name="connsiteY4090" fmla="*/ 5224296 h 5973007"/>
              <a:gd name="connsiteX4091" fmla="*/ 2569845 w 6884782"/>
              <a:gd name="connsiteY4091" fmla="*/ 5223780 h 5973007"/>
              <a:gd name="connsiteX4092" fmla="*/ 2591531 w 6884782"/>
              <a:gd name="connsiteY4092" fmla="*/ 5233795 h 5973007"/>
              <a:gd name="connsiteX4093" fmla="*/ 2572014 w 6884782"/>
              <a:gd name="connsiteY4093" fmla="*/ 5229046 h 5973007"/>
              <a:gd name="connsiteX4094" fmla="*/ 2569845 w 6884782"/>
              <a:gd name="connsiteY4094" fmla="*/ 5223780 h 5973007"/>
              <a:gd name="connsiteX4095" fmla="*/ 2535148 w 6884782"/>
              <a:gd name="connsiteY4095" fmla="*/ 5223573 h 5973007"/>
              <a:gd name="connsiteX4096" fmla="*/ 2542893 w 6884782"/>
              <a:gd name="connsiteY4096" fmla="*/ 5239061 h 5973007"/>
              <a:gd name="connsiteX4097" fmla="*/ 2531586 w 6884782"/>
              <a:gd name="connsiteY4097" fmla="*/ 5243915 h 5973007"/>
              <a:gd name="connsiteX4098" fmla="*/ 2520124 w 6884782"/>
              <a:gd name="connsiteY4098" fmla="*/ 5238855 h 5973007"/>
              <a:gd name="connsiteX4099" fmla="*/ 2521517 w 6884782"/>
              <a:gd name="connsiteY4099" fmla="*/ 5233382 h 5973007"/>
              <a:gd name="connsiteX4100" fmla="*/ 2535148 w 6884782"/>
              <a:gd name="connsiteY4100" fmla="*/ 5223573 h 5973007"/>
              <a:gd name="connsiteX4101" fmla="*/ 2446702 w 6884782"/>
              <a:gd name="connsiteY4101" fmla="*/ 5220682 h 5973007"/>
              <a:gd name="connsiteX4102" fmla="*/ 2449336 w 6884782"/>
              <a:gd name="connsiteY4102" fmla="*/ 5223367 h 5973007"/>
              <a:gd name="connsiteX4103" fmla="*/ 2442366 w 6884782"/>
              <a:gd name="connsiteY4103" fmla="*/ 5230698 h 5973007"/>
              <a:gd name="connsiteX4104" fmla="*/ 2438803 w 6884782"/>
              <a:gd name="connsiteY4104" fmla="*/ 5226361 h 5973007"/>
              <a:gd name="connsiteX4105" fmla="*/ 2446702 w 6884782"/>
              <a:gd name="connsiteY4105" fmla="*/ 5220682 h 5973007"/>
              <a:gd name="connsiteX4106" fmla="*/ 2804358 w 6884782"/>
              <a:gd name="connsiteY4106" fmla="*/ 5218410 h 5973007"/>
              <a:gd name="connsiteX4107" fmla="*/ 2819073 w 6884782"/>
              <a:gd name="connsiteY4107" fmla="*/ 5235241 h 5973007"/>
              <a:gd name="connsiteX4108" fmla="*/ 2803739 w 6884782"/>
              <a:gd name="connsiteY4108" fmla="*/ 5223883 h 5973007"/>
              <a:gd name="connsiteX4109" fmla="*/ 2804358 w 6884782"/>
              <a:gd name="connsiteY4109" fmla="*/ 5218410 h 5973007"/>
              <a:gd name="connsiteX4110" fmla="*/ 2350357 w 6884782"/>
              <a:gd name="connsiteY4110" fmla="*/ 5218101 h 5973007"/>
              <a:gd name="connsiteX4111" fmla="*/ 2350822 w 6884782"/>
              <a:gd name="connsiteY4111" fmla="*/ 5221611 h 5973007"/>
              <a:gd name="connsiteX4112" fmla="*/ 2345245 w 6884782"/>
              <a:gd name="connsiteY4112" fmla="*/ 5226051 h 5973007"/>
              <a:gd name="connsiteX4113" fmla="*/ 2343077 w 6884782"/>
              <a:gd name="connsiteY4113" fmla="*/ 5225638 h 5973007"/>
              <a:gd name="connsiteX4114" fmla="*/ 2343387 w 6884782"/>
              <a:gd name="connsiteY4114" fmla="*/ 5221198 h 5973007"/>
              <a:gd name="connsiteX4115" fmla="*/ 2350357 w 6884782"/>
              <a:gd name="connsiteY4115" fmla="*/ 5218101 h 5973007"/>
              <a:gd name="connsiteX4116" fmla="*/ 2260518 w 6884782"/>
              <a:gd name="connsiteY4116" fmla="*/ 5217584 h 5973007"/>
              <a:gd name="connsiteX4117" fmla="*/ 2266249 w 6884782"/>
              <a:gd name="connsiteY4117" fmla="*/ 5222334 h 5973007"/>
              <a:gd name="connsiteX4118" fmla="*/ 2265939 w 6884782"/>
              <a:gd name="connsiteY4118" fmla="*/ 5227497 h 5973007"/>
              <a:gd name="connsiteX4119" fmla="*/ 2260208 w 6884782"/>
              <a:gd name="connsiteY4119" fmla="*/ 5233382 h 5973007"/>
              <a:gd name="connsiteX4120" fmla="*/ 2257110 w 6884782"/>
              <a:gd name="connsiteY4120" fmla="*/ 5230491 h 5973007"/>
              <a:gd name="connsiteX4121" fmla="*/ 2260518 w 6884782"/>
              <a:gd name="connsiteY4121" fmla="*/ 5217584 h 5973007"/>
              <a:gd name="connsiteX4122" fmla="*/ 2655038 w 6884782"/>
              <a:gd name="connsiteY4122" fmla="*/ 5217481 h 5973007"/>
              <a:gd name="connsiteX4123" fmla="*/ 2662938 w 6884782"/>
              <a:gd name="connsiteY4123" fmla="*/ 5220269 h 5973007"/>
              <a:gd name="connsiteX4124" fmla="*/ 2651166 w 6884782"/>
              <a:gd name="connsiteY4124" fmla="*/ 5237719 h 5973007"/>
              <a:gd name="connsiteX4125" fmla="*/ 2648842 w 6884782"/>
              <a:gd name="connsiteY4125" fmla="*/ 5232970 h 5973007"/>
              <a:gd name="connsiteX4126" fmla="*/ 2650391 w 6884782"/>
              <a:gd name="connsiteY4126" fmla="*/ 5224296 h 5973007"/>
              <a:gd name="connsiteX4127" fmla="*/ 2651475 w 6884782"/>
              <a:gd name="connsiteY4127" fmla="*/ 5222850 h 5973007"/>
              <a:gd name="connsiteX4128" fmla="*/ 2651630 w 6884782"/>
              <a:gd name="connsiteY4128" fmla="*/ 5222127 h 5973007"/>
              <a:gd name="connsiteX4129" fmla="*/ 2652560 w 6884782"/>
              <a:gd name="connsiteY4129" fmla="*/ 5221198 h 5973007"/>
              <a:gd name="connsiteX4130" fmla="*/ 2591376 w 6884782"/>
              <a:gd name="connsiteY4130" fmla="*/ 5215416 h 5973007"/>
              <a:gd name="connsiteX4131" fmla="*/ 2591221 w 6884782"/>
              <a:gd name="connsiteY4131" fmla="*/ 5218307 h 5973007"/>
              <a:gd name="connsiteX4132" fmla="*/ 2591531 w 6884782"/>
              <a:gd name="connsiteY4132" fmla="*/ 5219856 h 5973007"/>
              <a:gd name="connsiteX4133" fmla="*/ 2590446 w 6884782"/>
              <a:gd name="connsiteY4133" fmla="*/ 5221714 h 5973007"/>
              <a:gd name="connsiteX4134" fmla="*/ 2587503 w 6884782"/>
              <a:gd name="connsiteY4134" fmla="*/ 5223883 h 5973007"/>
              <a:gd name="connsiteX4135" fmla="*/ 2583476 w 6884782"/>
              <a:gd name="connsiteY4135" fmla="*/ 5223367 h 5973007"/>
              <a:gd name="connsiteX4136" fmla="*/ 2584406 w 6884782"/>
              <a:gd name="connsiteY4136" fmla="*/ 5223367 h 5973007"/>
              <a:gd name="connsiteX4137" fmla="*/ 2584560 w 6884782"/>
              <a:gd name="connsiteY4137" fmla="*/ 5221611 h 5973007"/>
              <a:gd name="connsiteX4138" fmla="*/ 2583786 w 6884782"/>
              <a:gd name="connsiteY4138" fmla="*/ 5221611 h 5973007"/>
              <a:gd name="connsiteX4139" fmla="*/ 2584715 w 6884782"/>
              <a:gd name="connsiteY4139" fmla="*/ 5219856 h 5973007"/>
              <a:gd name="connsiteX4140" fmla="*/ 2587658 w 6884782"/>
              <a:gd name="connsiteY4140" fmla="*/ 5217687 h 5973007"/>
              <a:gd name="connsiteX4141" fmla="*/ 2586729 w 6884782"/>
              <a:gd name="connsiteY4141" fmla="*/ 5215932 h 5973007"/>
              <a:gd name="connsiteX4142" fmla="*/ 2591376 w 6884782"/>
              <a:gd name="connsiteY4142" fmla="*/ 5215416 h 5973007"/>
              <a:gd name="connsiteX4143" fmla="*/ 2106861 w 6884782"/>
              <a:gd name="connsiteY4143" fmla="*/ 5215209 h 5973007"/>
              <a:gd name="connsiteX4144" fmla="*/ 2105002 w 6884782"/>
              <a:gd name="connsiteY4144" fmla="*/ 5219959 h 5973007"/>
              <a:gd name="connsiteX4145" fmla="*/ 2097102 w 6884782"/>
              <a:gd name="connsiteY4145" fmla="*/ 5216139 h 5973007"/>
              <a:gd name="connsiteX4146" fmla="*/ 2106861 w 6884782"/>
              <a:gd name="connsiteY4146" fmla="*/ 5215209 h 5973007"/>
              <a:gd name="connsiteX4147" fmla="*/ 2540105 w 6884782"/>
              <a:gd name="connsiteY4147" fmla="*/ 5214590 h 5973007"/>
              <a:gd name="connsiteX4148" fmla="*/ 2541189 w 6884782"/>
              <a:gd name="connsiteY4148" fmla="*/ 5220992 h 5973007"/>
              <a:gd name="connsiteX4149" fmla="*/ 2539640 w 6884782"/>
              <a:gd name="connsiteY4149" fmla="*/ 5218101 h 5973007"/>
              <a:gd name="connsiteX4150" fmla="*/ 2540105 w 6884782"/>
              <a:gd name="connsiteY4150" fmla="*/ 5214590 h 5973007"/>
              <a:gd name="connsiteX4151" fmla="*/ 2359031 w 6884782"/>
              <a:gd name="connsiteY4151" fmla="*/ 5214074 h 5973007"/>
              <a:gd name="connsiteX4152" fmla="*/ 2359341 w 6884782"/>
              <a:gd name="connsiteY4152" fmla="*/ 5216758 h 5973007"/>
              <a:gd name="connsiteX4153" fmla="*/ 2357947 w 6884782"/>
              <a:gd name="connsiteY4153" fmla="*/ 5217687 h 5973007"/>
              <a:gd name="connsiteX4154" fmla="*/ 2357482 w 6884782"/>
              <a:gd name="connsiteY4154" fmla="*/ 5220476 h 5973007"/>
              <a:gd name="connsiteX4155" fmla="*/ 2355934 w 6884782"/>
              <a:gd name="connsiteY4155" fmla="*/ 5220579 h 5973007"/>
              <a:gd name="connsiteX4156" fmla="*/ 2356708 w 6884782"/>
              <a:gd name="connsiteY4156" fmla="*/ 5215106 h 5973007"/>
              <a:gd name="connsiteX4157" fmla="*/ 2359031 w 6884782"/>
              <a:gd name="connsiteY4157" fmla="*/ 5214074 h 5973007"/>
              <a:gd name="connsiteX4158" fmla="*/ 1716832 w 6884782"/>
              <a:gd name="connsiteY4158" fmla="*/ 5212524 h 5973007"/>
              <a:gd name="connsiteX4159" fmla="*/ 1709861 w 6884782"/>
              <a:gd name="connsiteY4159" fmla="*/ 5240094 h 5973007"/>
              <a:gd name="connsiteX4160" fmla="*/ 1707073 w 6884782"/>
              <a:gd name="connsiteY4160" fmla="*/ 5233692 h 5973007"/>
              <a:gd name="connsiteX4161" fmla="*/ 1716832 w 6884782"/>
              <a:gd name="connsiteY4161" fmla="*/ 5212524 h 5973007"/>
              <a:gd name="connsiteX4162" fmla="*/ 2805133 w 6884782"/>
              <a:gd name="connsiteY4162" fmla="*/ 5210666 h 5973007"/>
              <a:gd name="connsiteX4163" fmla="*/ 2805287 w 6884782"/>
              <a:gd name="connsiteY4163" fmla="*/ 5213970 h 5973007"/>
              <a:gd name="connsiteX4164" fmla="*/ 2804823 w 6884782"/>
              <a:gd name="connsiteY4164" fmla="*/ 5214486 h 5973007"/>
              <a:gd name="connsiteX4165" fmla="*/ 2804358 w 6884782"/>
              <a:gd name="connsiteY4165" fmla="*/ 5213867 h 5973007"/>
              <a:gd name="connsiteX4166" fmla="*/ 2805133 w 6884782"/>
              <a:gd name="connsiteY4166" fmla="*/ 5210666 h 5973007"/>
              <a:gd name="connsiteX4167" fmla="*/ 1690344 w 6884782"/>
              <a:gd name="connsiteY4167" fmla="*/ 5208911 h 5973007"/>
              <a:gd name="connsiteX4168" fmla="*/ 1688486 w 6884782"/>
              <a:gd name="connsiteY4168" fmla="*/ 5216139 h 5973007"/>
              <a:gd name="connsiteX4169" fmla="*/ 1684768 w 6884782"/>
              <a:gd name="connsiteY4169" fmla="*/ 5216861 h 5973007"/>
              <a:gd name="connsiteX4170" fmla="*/ 1680741 w 6884782"/>
              <a:gd name="connsiteY4170" fmla="*/ 5215519 h 5973007"/>
              <a:gd name="connsiteX4171" fmla="*/ 1690344 w 6884782"/>
              <a:gd name="connsiteY4171" fmla="*/ 5208911 h 5973007"/>
              <a:gd name="connsiteX4172" fmla="*/ 2355004 w 6884782"/>
              <a:gd name="connsiteY4172" fmla="*/ 5207569 h 5973007"/>
              <a:gd name="connsiteX4173" fmla="*/ 2354384 w 6884782"/>
              <a:gd name="connsiteY4173" fmla="*/ 5209324 h 5973007"/>
              <a:gd name="connsiteX4174" fmla="*/ 2351441 w 6884782"/>
              <a:gd name="connsiteY4174" fmla="*/ 5213867 h 5973007"/>
              <a:gd name="connsiteX4175" fmla="*/ 2350357 w 6884782"/>
              <a:gd name="connsiteY4175" fmla="*/ 5211285 h 5973007"/>
              <a:gd name="connsiteX4176" fmla="*/ 2351751 w 6884782"/>
              <a:gd name="connsiteY4176" fmla="*/ 5209427 h 5973007"/>
              <a:gd name="connsiteX4177" fmla="*/ 2352371 w 6884782"/>
              <a:gd name="connsiteY4177" fmla="*/ 5207672 h 5973007"/>
              <a:gd name="connsiteX4178" fmla="*/ 2355004 w 6884782"/>
              <a:gd name="connsiteY4178" fmla="*/ 5207569 h 5973007"/>
              <a:gd name="connsiteX4179" fmla="*/ 2446858 w 6884782"/>
              <a:gd name="connsiteY4179" fmla="*/ 5206949 h 5973007"/>
              <a:gd name="connsiteX4180" fmla="*/ 2450265 w 6884782"/>
              <a:gd name="connsiteY4180" fmla="*/ 5213454 h 5973007"/>
              <a:gd name="connsiteX4181" fmla="*/ 2448252 w 6884782"/>
              <a:gd name="connsiteY4181" fmla="*/ 5219546 h 5973007"/>
              <a:gd name="connsiteX4182" fmla="*/ 2444844 w 6884782"/>
              <a:gd name="connsiteY4182" fmla="*/ 5217378 h 5973007"/>
              <a:gd name="connsiteX4183" fmla="*/ 2445309 w 6884782"/>
              <a:gd name="connsiteY4183" fmla="*/ 5212318 h 5973007"/>
              <a:gd name="connsiteX4184" fmla="*/ 2444999 w 6884782"/>
              <a:gd name="connsiteY4184" fmla="*/ 5208911 h 5973007"/>
              <a:gd name="connsiteX4185" fmla="*/ 2446858 w 6884782"/>
              <a:gd name="connsiteY4185" fmla="*/ 5206949 h 5973007"/>
              <a:gd name="connsiteX4186" fmla="*/ 2503394 w 6884782"/>
              <a:gd name="connsiteY4186" fmla="*/ 5204161 h 5973007"/>
              <a:gd name="connsiteX4187" fmla="*/ 2510675 w 6884782"/>
              <a:gd name="connsiteY4187" fmla="*/ 5208085 h 5973007"/>
              <a:gd name="connsiteX4188" fmla="*/ 2510675 w 6884782"/>
              <a:gd name="connsiteY4188" fmla="*/ 5213454 h 5973007"/>
              <a:gd name="connsiteX4189" fmla="*/ 2508196 w 6884782"/>
              <a:gd name="connsiteY4189" fmla="*/ 5214796 h 5973007"/>
              <a:gd name="connsiteX4190" fmla="*/ 2505408 w 6884782"/>
              <a:gd name="connsiteY4190" fmla="*/ 5213557 h 5973007"/>
              <a:gd name="connsiteX4191" fmla="*/ 2501381 w 6884782"/>
              <a:gd name="connsiteY4191" fmla="*/ 5210459 h 5973007"/>
              <a:gd name="connsiteX4192" fmla="*/ 2501691 w 6884782"/>
              <a:gd name="connsiteY4192" fmla="*/ 5207775 h 5973007"/>
              <a:gd name="connsiteX4193" fmla="*/ 2503394 w 6884782"/>
              <a:gd name="connsiteY4193" fmla="*/ 5204161 h 5973007"/>
              <a:gd name="connsiteX4194" fmla="*/ 2283752 w 6884782"/>
              <a:gd name="connsiteY4194" fmla="*/ 5203748 h 5973007"/>
              <a:gd name="connsiteX4195" fmla="*/ 2279415 w 6884782"/>
              <a:gd name="connsiteY4195" fmla="*/ 5211079 h 5973007"/>
              <a:gd name="connsiteX4196" fmla="*/ 2283752 w 6884782"/>
              <a:gd name="connsiteY4196" fmla="*/ 5203748 h 5973007"/>
              <a:gd name="connsiteX4197" fmla="*/ 2320772 w 6884782"/>
              <a:gd name="connsiteY4197" fmla="*/ 5203438 h 5973007"/>
              <a:gd name="connsiteX4198" fmla="*/ 2317674 w 6884782"/>
              <a:gd name="connsiteY4198" fmla="*/ 5206226 h 5973007"/>
              <a:gd name="connsiteX4199" fmla="*/ 2316744 w 6884782"/>
              <a:gd name="connsiteY4199" fmla="*/ 5205503 h 5973007"/>
              <a:gd name="connsiteX4200" fmla="*/ 2320772 w 6884782"/>
              <a:gd name="connsiteY4200" fmla="*/ 5203438 h 5973007"/>
              <a:gd name="connsiteX4201" fmla="*/ 1581297 w 6884782"/>
              <a:gd name="connsiteY4201" fmla="*/ 5201786 h 5973007"/>
              <a:gd name="connsiteX4202" fmla="*/ 1587958 w 6884782"/>
              <a:gd name="connsiteY4202" fmla="*/ 5203954 h 5973007"/>
              <a:gd name="connsiteX4203" fmla="*/ 1581452 w 6884782"/>
              <a:gd name="connsiteY4203" fmla="*/ 5216242 h 5973007"/>
              <a:gd name="connsiteX4204" fmla="*/ 1577270 w 6884782"/>
              <a:gd name="connsiteY4204" fmla="*/ 5213351 h 5973007"/>
              <a:gd name="connsiteX4205" fmla="*/ 1581297 w 6884782"/>
              <a:gd name="connsiteY4205" fmla="*/ 5201786 h 5973007"/>
              <a:gd name="connsiteX4206" fmla="*/ 2425637 w 6884782"/>
              <a:gd name="connsiteY4206" fmla="*/ 5199824 h 5973007"/>
              <a:gd name="connsiteX4207" fmla="*/ 2430903 w 6884782"/>
              <a:gd name="connsiteY4207" fmla="*/ 5201992 h 5973007"/>
              <a:gd name="connsiteX4208" fmla="*/ 2435395 w 6884782"/>
              <a:gd name="connsiteY4208" fmla="*/ 5208188 h 5973007"/>
              <a:gd name="connsiteX4209" fmla="*/ 2434156 w 6884782"/>
              <a:gd name="connsiteY4209" fmla="*/ 5208498 h 5973007"/>
              <a:gd name="connsiteX4210" fmla="*/ 2425637 w 6884782"/>
              <a:gd name="connsiteY4210" fmla="*/ 5199824 h 5973007"/>
              <a:gd name="connsiteX4211" fmla="*/ 2821242 w 6884782"/>
              <a:gd name="connsiteY4211" fmla="*/ 5199618 h 5973007"/>
              <a:gd name="connsiteX4212" fmla="*/ 2820157 w 6884782"/>
              <a:gd name="connsiteY4212" fmla="*/ 5200444 h 5973007"/>
              <a:gd name="connsiteX4213" fmla="*/ 2818918 w 6884782"/>
              <a:gd name="connsiteY4213" fmla="*/ 5204677 h 5973007"/>
              <a:gd name="connsiteX4214" fmla="*/ 2823411 w 6884782"/>
              <a:gd name="connsiteY4214" fmla="*/ 5203438 h 5973007"/>
              <a:gd name="connsiteX4215" fmla="*/ 2822016 w 6884782"/>
              <a:gd name="connsiteY4215" fmla="*/ 5201889 h 5973007"/>
              <a:gd name="connsiteX4216" fmla="*/ 1891710 w 6884782"/>
              <a:gd name="connsiteY4216" fmla="*/ 5198895 h 5973007"/>
              <a:gd name="connsiteX4217" fmla="*/ 1893413 w 6884782"/>
              <a:gd name="connsiteY4217" fmla="*/ 5201580 h 5973007"/>
              <a:gd name="connsiteX4218" fmla="*/ 1883191 w 6884782"/>
              <a:gd name="connsiteY4218" fmla="*/ 5215209 h 5973007"/>
              <a:gd name="connsiteX4219" fmla="*/ 1881022 w 6884782"/>
              <a:gd name="connsiteY4219" fmla="*/ 5213867 h 5973007"/>
              <a:gd name="connsiteX4220" fmla="*/ 1891710 w 6884782"/>
              <a:gd name="connsiteY4220" fmla="*/ 5198895 h 5973007"/>
              <a:gd name="connsiteX4221" fmla="*/ 2043973 w 6884782"/>
              <a:gd name="connsiteY4221" fmla="*/ 5198482 h 5973007"/>
              <a:gd name="connsiteX4222" fmla="*/ 2055745 w 6884782"/>
              <a:gd name="connsiteY4222" fmla="*/ 5204987 h 5973007"/>
              <a:gd name="connsiteX4223" fmla="*/ 2052027 w 6884782"/>
              <a:gd name="connsiteY4223" fmla="*/ 5211285 h 5973007"/>
              <a:gd name="connsiteX4224" fmla="*/ 2050014 w 6884782"/>
              <a:gd name="connsiteY4224" fmla="*/ 5211079 h 5973007"/>
              <a:gd name="connsiteX4225" fmla="*/ 2040720 w 6884782"/>
              <a:gd name="connsiteY4225" fmla="*/ 5206742 h 5973007"/>
              <a:gd name="connsiteX4226" fmla="*/ 2043973 w 6884782"/>
              <a:gd name="connsiteY4226" fmla="*/ 5198482 h 5973007"/>
              <a:gd name="connsiteX4227" fmla="*/ 2169788 w 6884782"/>
              <a:gd name="connsiteY4227" fmla="*/ 5197991 h 5973007"/>
              <a:gd name="connsiteX4228" fmla="*/ 2173466 w 6884782"/>
              <a:gd name="connsiteY4228" fmla="*/ 5200031 h 5973007"/>
              <a:gd name="connsiteX4229" fmla="*/ 2171143 w 6884782"/>
              <a:gd name="connsiteY4229" fmla="*/ 5205090 h 5973007"/>
              <a:gd name="connsiteX4230" fmla="*/ 2166805 w 6884782"/>
              <a:gd name="connsiteY4230" fmla="*/ 5199824 h 5973007"/>
              <a:gd name="connsiteX4231" fmla="*/ 2169788 w 6884782"/>
              <a:gd name="connsiteY4231" fmla="*/ 5197991 h 5973007"/>
              <a:gd name="connsiteX4232" fmla="*/ 2425792 w 6884782"/>
              <a:gd name="connsiteY4232" fmla="*/ 5196623 h 5973007"/>
              <a:gd name="connsiteX4233" fmla="*/ 2412935 w 6884782"/>
              <a:gd name="connsiteY4233" fmla="*/ 5204471 h 5973007"/>
              <a:gd name="connsiteX4234" fmla="*/ 2412315 w 6884782"/>
              <a:gd name="connsiteY4234" fmla="*/ 5204057 h 5973007"/>
              <a:gd name="connsiteX4235" fmla="*/ 2412781 w 6884782"/>
              <a:gd name="connsiteY4235" fmla="*/ 5201889 h 5973007"/>
              <a:gd name="connsiteX4236" fmla="*/ 2416033 w 6884782"/>
              <a:gd name="connsiteY4236" fmla="*/ 5199927 h 5973007"/>
              <a:gd name="connsiteX4237" fmla="*/ 2424088 w 6884782"/>
              <a:gd name="connsiteY4237" fmla="*/ 5197656 h 5973007"/>
              <a:gd name="connsiteX4238" fmla="*/ 2425792 w 6884782"/>
              <a:gd name="connsiteY4238" fmla="*/ 5196623 h 5973007"/>
              <a:gd name="connsiteX4239" fmla="*/ 2263770 w 6884782"/>
              <a:gd name="connsiteY4239" fmla="*/ 5196417 h 5973007"/>
              <a:gd name="connsiteX4240" fmla="*/ 2267023 w 6884782"/>
              <a:gd name="connsiteY4240" fmla="*/ 5206019 h 5973007"/>
              <a:gd name="connsiteX4241" fmla="*/ 2264235 w 6884782"/>
              <a:gd name="connsiteY4241" fmla="*/ 5216345 h 5973007"/>
              <a:gd name="connsiteX4242" fmla="*/ 2261757 w 6884782"/>
              <a:gd name="connsiteY4242" fmla="*/ 5212112 h 5973007"/>
              <a:gd name="connsiteX4243" fmla="*/ 2263770 w 6884782"/>
              <a:gd name="connsiteY4243" fmla="*/ 5196417 h 5973007"/>
              <a:gd name="connsiteX4244" fmla="*/ 2132147 w 6884782"/>
              <a:gd name="connsiteY4244" fmla="*/ 5195771 h 5973007"/>
              <a:gd name="connsiteX4245" fmla="*/ 2146049 w 6884782"/>
              <a:gd name="connsiteY4245" fmla="*/ 5197862 h 5973007"/>
              <a:gd name="connsiteX4246" fmla="*/ 2119872 w 6884782"/>
              <a:gd name="connsiteY4246" fmla="*/ 5206226 h 5973007"/>
              <a:gd name="connsiteX4247" fmla="*/ 2132147 w 6884782"/>
              <a:gd name="connsiteY4247" fmla="*/ 5195771 h 5973007"/>
              <a:gd name="connsiteX4248" fmla="*/ 1754471 w 6884782"/>
              <a:gd name="connsiteY4248" fmla="*/ 5195694 h 5973007"/>
              <a:gd name="connsiteX4249" fmla="*/ 1745023 w 6884782"/>
              <a:gd name="connsiteY4249" fmla="*/ 5214486 h 5973007"/>
              <a:gd name="connsiteX4250" fmla="*/ 1741305 w 6884782"/>
              <a:gd name="connsiteY4250" fmla="*/ 5215725 h 5973007"/>
              <a:gd name="connsiteX4251" fmla="*/ 1739756 w 6884782"/>
              <a:gd name="connsiteY4251" fmla="*/ 5215313 h 5973007"/>
              <a:gd name="connsiteX4252" fmla="*/ 1754471 w 6884782"/>
              <a:gd name="connsiteY4252" fmla="*/ 5195694 h 5973007"/>
              <a:gd name="connsiteX4253" fmla="*/ 2568451 w 6884782"/>
              <a:gd name="connsiteY4253" fmla="*/ 5195178 h 5973007"/>
              <a:gd name="connsiteX4254" fmla="*/ 2571704 w 6884782"/>
              <a:gd name="connsiteY4254" fmla="*/ 5201373 h 5973007"/>
              <a:gd name="connsiteX4255" fmla="*/ 2559467 w 6884782"/>
              <a:gd name="connsiteY4255" fmla="*/ 5207052 h 5973007"/>
              <a:gd name="connsiteX4256" fmla="*/ 2568451 w 6884782"/>
              <a:gd name="connsiteY4256" fmla="*/ 5195178 h 5973007"/>
              <a:gd name="connsiteX4257" fmla="*/ 2035143 w 6884782"/>
              <a:gd name="connsiteY4257" fmla="*/ 5194661 h 5973007"/>
              <a:gd name="connsiteX4258" fmla="*/ 2032046 w 6884782"/>
              <a:gd name="connsiteY4258" fmla="*/ 5222024 h 5973007"/>
              <a:gd name="connsiteX4259" fmla="*/ 2035143 w 6884782"/>
              <a:gd name="connsiteY4259" fmla="*/ 5194661 h 5973007"/>
              <a:gd name="connsiteX4260" fmla="*/ 1803883 w 6884782"/>
              <a:gd name="connsiteY4260" fmla="*/ 5194351 h 5973007"/>
              <a:gd name="connsiteX4261" fmla="*/ 1818134 w 6884782"/>
              <a:gd name="connsiteY4261" fmla="*/ 5203438 h 5973007"/>
              <a:gd name="connsiteX4262" fmla="*/ 1817514 w 6884782"/>
              <a:gd name="connsiteY4262" fmla="*/ 5222231 h 5973007"/>
              <a:gd name="connsiteX4263" fmla="*/ 1812402 w 6884782"/>
              <a:gd name="connsiteY4263" fmla="*/ 5223057 h 5973007"/>
              <a:gd name="connsiteX4264" fmla="*/ 1804038 w 6884782"/>
              <a:gd name="connsiteY4264" fmla="*/ 5213351 h 5973007"/>
              <a:gd name="connsiteX4265" fmla="*/ 1802334 w 6884782"/>
              <a:gd name="connsiteY4265" fmla="*/ 5207258 h 5973007"/>
              <a:gd name="connsiteX4266" fmla="*/ 1801870 w 6884782"/>
              <a:gd name="connsiteY4266" fmla="*/ 5196417 h 5973007"/>
              <a:gd name="connsiteX4267" fmla="*/ 1803883 w 6884782"/>
              <a:gd name="connsiteY4267" fmla="*/ 5194351 h 5973007"/>
              <a:gd name="connsiteX4268" fmla="*/ 2722263 w 6884782"/>
              <a:gd name="connsiteY4268" fmla="*/ 5193113 h 5973007"/>
              <a:gd name="connsiteX4269" fmla="*/ 2723347 w 6884782"/>
              <a:gd name="connsiteY4269" fmla="*/ 5194042 h 5973007"/>
              <a:gd name="connsiteX4270" fmla="*/ 2723347 w 6884782"/>
              <a:gd name="connsiteY4270" fmla="*/ 5193319 h 5973007"/>
              <a:gd name="connsiteX4271" fmla="*/ 2431833 w 6884782"/>
              <a:gd name="connsiteY4271" fmla="*/ 5193009 h 5973007"/>
              <a:gd name="connsiteX4272" fmla="*/ 2433381 w 6884782"/>
              <a:gd name="connsiteY4272" fmla="*/ 5195074 h 5973007"/>
              <a:gd name="connsiteX4273" fmla="*/ 2428734 w 6884782"/>
              <a:gd name="connsiteY4273" fmla="*/ 5196210 h 5973007"/>
              <a:gd name="connsiteX4274" fmla="*/ 2427031 w 6884782"/>
              <a:gd name="connsiteY4274" fmla="*/ 5197346 h 5973007"/>
              <a:gd name="connsiteX4275" fmla="*/ 2427341 w 6884782"/>
              <a:gd name="connsiteY4275" fmla="*/ 5195384 h 5973007"/>
              <a:gd name="connsiteX4276" fmla="*/ 2430284 w 6884782"/>
              <a:gd name="connsiteY4276" fmla="*/ 5195178 h 5973007"/>
              <a:gd name="connsiteX4277" fmla="*/ 2430748 w 6884782"/>
              <a:gd name="connsiteY4277" fmla="*/ 5193319 h 5973007"/>
              <a:gd name="connsiteX4278" fmla="*/ 2431833 w 6884782"/>
              <a:gd name="connsiteY4278" fmla="*/ 5193009 h 5973007"/>
              <a:gd name="connsiteX4279" fmla="*/ 2544752 w 6884782"/>
              <a:gd name="connsiteY4279" fmla="*/ 5192286 h 5973007"/>
              <a:gd name="connsiteX4280" fmla="*/ 2546611 w 6884782"/>
              <a:gd name="connsiteY4280" fmla="*/ 5193525 h 5973007"/>
              <a:gd name="connsiteX4281" fmla="*/ 2546766 w 6884782"/>
              <a:gd name="connsiteY4281" fmla="*/ 5193525 h 5973007"/>
              <a:gd name="connsiteX4282" fmla="*/ 2546301 w 6884782"/>
              <a:gd name="connsiteY4282" fmla="*/ 5201373 h 5973007"/>
              <a:gd name="connsiteX4283" fmla="*/ 2543513 w 6884782"/>
              <a:gd name="connsiteY4283" fmla="*/ 5203438 h 5973007"/>
              <a:gd name="connsiteX4284" fmla="*/ 2539950 w 6884782"/>
              <a:gd name="connsiteY4284" fmla="*/ 5203438 h 5973007"/>
              <a:gd name="connsiteX4285" fmla="*/ 2537162 w 6884782"/>
              <a:gd name="connsiteY4285" fmla="*/ 5204368 h 5973007"/>
              <a:gd name="connsiteX4286" fmla="*/ 2534219 w 6884782"/>
              <a:gd name="connsiteY4286" fmla="*/ 5203851 h 5973007"/>
              <a:gd name="connsiteX4287" fmla="*/ 2532825 w 6884782"/>
              <a:gd name="connsiteY4287" fmla="*/ 5199514 h 5973007"/>
              <a:gd name="connsiteX4288" fmla="*/ 2536542 w 6884782"/>
              <a:gd name="connsiteY4288" fmla="*/ 5195384 h 5973007"/>
              <a:gd name="connsiteX4289" fmla="*/ 2536388 w 6884782"/>
              <a:gd name="connsiteY4289" fmla="*/ 5194765 h 5973007"/>
              <a:gd name="connsiteX4290" fmla="*/ 2544752 w 6884782"/>
              <a:gd name="connsiteY4290" fmla="*/ 5192286 h 5973007"/>
              <a:gd name="connsiteX4291" fmla="*/ 1847874 w 6884782"/>
              <a:gd name="connsiteY4291" fmla="*/ 5191254 h 5973007"/>
              <a:gd name="connsiteX4292" fmla="*/ 1849888 w 6884782"/>
              <a:gd name="connsiteY4292" fmla="*/ 5199824 h 5973007"/>
              <a:gd name="connsiteX4293" fmla="*/ 1844001 w 6884782"/>
              <a:gd name="connsiteY4293" fmla="*/ 5194455 h 5973007"/>
              <a:gd name="connsiteX4294" fmla="*/ 1847874 w 6884782"/>
              <a:gd name="connsiteY4294" fmla="*/ 5191254 h 5973007"/>
              <a:gd name="connsiteX4295" fmla="*/ 2471602 w 6884782"/>
              <a:gd name="connsiteY4295" fmla="*/ 5191176 h 5973007"/>
              <a:gd name="connsiteX4296" fmla="*/ 2475204 w 6884782"/>
              <a:gd name="connsiteY4296" fmla="*/ 5195590 h 5973007"/>
              <a:gd name="connsiteX4297" fmla="*/ 2474274 w 6884782"/>
              <a:gd name="connsiteY4297" fmla="*/ 5199927 h 5973007"/>
              <a:gd name="connsiteX4298" fmla="*/ 2467768 w 6884782"/>
              <a:gd name="connsiteY4298" fmla="*/ 5203645 h 5973007"/>
              <a:gd name="connsiteX4299" fmla="*/ 2465290 w 6884782"/>
              <a:gd name="connsiteY4299" fmla="*/ 5199308 h 5973007"/>
              <a:gd name="connsiteX4300" fmla="*/ 2464051 w 6884782"/>
              <a:gd name="connsiteY4300" fmla="*/ 5195281 h 5973007"/>
              <a:gd name="connsiteX4301" fmla="*/ 2471602 w 6884782"/>
              <a:gd name="connsiteY4301" fmla="*/ 5191176 h 5973007"/>
              <a:gd name="connsiteX4302" fmla="*/ 1737743 w 6884782"/>
              <a:gd name="connsiteY4302" fmla="*/ 5191047 h 5973007"/>
              <a:gd name="connsiteX4303" fmla="*/ 1740996 w 6884782"/>
              <a:gd name="connsiteY4303" fmla="*/ 5192183 h 5973007"/>
              <a:gd name="connsiteX4304" fmla="*/ 1736968 w 6884782"/>
              <a:gd name="connsiteY4304" fmla="*/ 5196004 h 5973007"/>
              <a:gd name="connsiteX4305" fmla="*/ 1737743 w 6884782"/>
              <a:gd name="connsiteY4305" fmla="*/ 5191047 h 5973007"/>
              <a:gd name="connsiteX4306" fmla="*/ 1574173 w 6884782"/>
              <a:gd name="connsiteY4306" fmla="*/ 5190738 h 5973007"/>
              <a:gd name="connsiteX4307" fmla="*/ 1569526 w 6884782"/>
              <a:gd name="connsiteY4307" fmla="*/ 5200547 h 5973007"/>
              <a:gd name="connsiteX4308" fmla="*/ 1574173 w 6884782"/>
              <a:gd name="connsiteY4308" fmla="*/ 5190738 h 5973007"/>
              <a:gd name="connsiteX4309" fmla="*/ 1960793 w 6884782"/>
              <a:gd name="connsiteY4309" fmla="*/ 5190428 h 5973007"/>
              <a:gd name="connsiteX4310" fmla="*/ 1960638 w 6884782"/>
              <a:gd name="connsiteY4310" fmla="*/ 5199514 h 5973007"/>
              <a:gd name="connsiteX4311" fmla="*/ 1957540 w 6884782"/>
              <a:gd name="connsiteY4311" fmla="*/ 5197862 h 5973007"/>
              <a:gd name="connsiteX4312" fmla="*/ 1960793 w 6884782"/>
              <a:gd name="connsiteY4312" fmla="*/ 5190428 h 5973007"/>
              <a:gd name="connsiteX4313" fmla="*/ 2365847 w 6884782"/>
              <a:gd name="connsiteY4313" fmla="*/ 5188156 h 5973007"/>
              <a:gd name="connsiteX4314" fmla="*/ 2365382 w 6884782"/>
              <a:gd name="connsiteY4314" fmla="*/ 5196417 h 5973007"/>
              <a:gd name="connsiteX4315" fmla="*/ 2364762 w 6884782"/>
              <a:gd name="connsiteY4315" fmla="*/ 5189395 h 5973007"/>
              <a:gd name="connsiteX4316" fmla="*/ 2365847 w 6884782"/>
              <a:gd name="connsiteY4316" fmla="*/ 5188156 h 5973007"/>
              <a:gd name="connsiteX4317" fmla="*/ 2308535 w 6884782"/>
              <a:gd name="connsiteY4317" fmla="*/ 5184749 h 5973007"/>
              <a:gd name="connsiteX4318" fmla="*/ 2314266 w 6884782"/>
              <a:gd name="connsiteY4318" fmla="*/ 5186607 h 5973007"/>
              <a:gd name="connsiteX4319" fmla="*/ 2314886 w 6884782"/>
              <a:gd name="connsiteY4319" fmla="*/ 5197862 h 5973007"/>
              <a:gd name="connsiteX4320" fmla="*/ 2306831 w 6884782"/>
              <a:gd name="connsiteY4320" fmla="*/ 5202096 h 5973007"/>
              <a:gd name="connsiteX4321" fmla="*/ 2307761 w 6884782"/>
              <a:gd name="connsiteY4321" fmla="*/ 5202096 h 5973007"/>
              <a:gd name="connsiteX4322" fmla="*/ 2309154 w 6884782"/>
              <a:gd name="connsiteY4322" fmla="*/ 5204057 h 5973007"/>
              <a:gd name="connsiteX4323" fmla="*/ 2310704 w 6884782"/>
              <a:gd name="connsiteY4323" fmla="*/ 5203954 h 5973007"/>
              <a:gd name="connsiteX4324" fmla="*/ 2312253 w 6884782"/>
              <a:gd name="connsiteY4324" fmla="*/ 5203954 h 5973007"/>
              <a:gd name="connsiteX4325" fmla="*/ 2312408 w 6884782"/>
              <a:gd name="connsiteY4325" fmla="*/ 5204780 h 5973007"/>
              <a:gd name="connsiteX4326" fmla="*/ 2310239 w 6884782"/>
              <a:gd name="connsiteY4326" fmla="*/ 5205297 h 5973007"/>
              <a:gd name="connsiteX4327" fmla="*/ 2312717 w 6884782"/>
              <a:gd name="connsiteY4327" fmla="*/ 5208394 h 5973007"/>
              <a:gd name="connsiteX4328" fmla="*/ 2314731 w 6884782"/>
              <a:gd name="connsiteY4328" fmla="*/ 5207981 h 5973007"/>
              <a:gd name="connsiteX4329" fmla="*/ 2313337 w 6884782"/>
              <a:gd name="connsiteY4329" fmla="*/ 5209530 h 5973007"/>
              <a:gd name="connsiteX4330" fmla="*/ 2314576 w 6884782"/>
              <a:gd name="connsiteY4330" fmla="*/ 5211905 h 5973007"/>
              <a:gd name="connsiteX4331" fmla="*/ 2314886 w 6884782"/>
              <a:gd name="connsiteY4331" fmla="*/ 5214383 h 5973007"/>
              <a:gd name="connsiteX4332" fmla="*/ 2312408 w 6884782"/>
              <a:gd name="connsiteY4332" fmla="*/ 5213454 h 5973007"/>
              <a:gd name="connsiteX4333" fmla="*/ 2311633 w 6884782"/>
              <a:gd name="connsiteY4333" fmla="*/ 5212524 h 5973007"/>
              <a:gd name="connsiteX4334" fmla="*/ 2310858 w 6884782"/>
              <a:gd name="connsiteY4334" fmla="*/ 5212524 h 5973007"/>
              <a:gd name="connsiteX4335" fmla="*/ 2310858 w 6884782"/>
              <a:gd name="connsiteY4335" fmla="*/ 5212215 h 5973007"/>
              <a:gd name="connsiteX4336" fmla="*/ 2307451 w 6884782"/>
              <a:gd name="connsiteY4336" fmla="*/ 5213764 h 5973007"/>
              <a:gd name="connsiteX4337" fmla="*/ 2301565 w 6884782"/>
              <a:gd name="connsiteY4337" fmla="*/ 5216758 h 5973007"/>
              <a:gd name="connsiteX4338" fmla="*/ 2301100 w 6884782"/>
              <a:gd name="connsiteY4338" fmla="*/ 5213247 h 5973007"/>
              <a:gd name="connsiteX4339" fmla="*/ 2302804 w 6884782"/>
              <a:gd name="connsiteY4339" fmla="*/ 5213144 h 5973007"/>
              <a:gd name="connsiteX4340" fmla="*/ 2307915 w 6884782"/>
              <a:gd name="connsiteY4340" fmla="*/ 5209324 h 5973007"/>
              <a:gd name="connsiteX4341" fmla="*/ 2308225 w 6884782"/>
              <a:gd name="connsiteY4341" fmla="*/ 5209220 h 5973007"/>
              <a:gd name="connsiteX4342" fmla="*/ 2306676 w 6884782"/>
              <a:gd name="connsiteY4342" fmla="*/ 5208291 h 5973007"/>
              <a:gd name="connsiteX4343" fmla="*/ 2304663 w 6884782"/>
              <a:gd name="connsiteY4343" fmla="*/ 5207258 h 5973007"/>
              <a:gd name="connsiteX4344" fmla="*/ 2304508 w 6884782"/>
              <a:gd name="connsiteY4344" fmla="*/ 5207155 h 5973007"/>
              <a:gd name="connsiteX4345" fmla="*/ 2304043 w 6884782"/>
              <a:gd name="connsiteY4345" fmla="*/ 5207258 h 5973007"/>
              <a:gd name="connsiteX4346" fmla="*/ 2300945 w 6884782"/>
              <a:gd name="connsiteY4346" fmla="*/ 5207155 h 5973007"/>
              <a:gd name="connsiteX4347" fmla="*/ 2301720 w 6884782"/>
              <a:gd name="connsiteY4347" fmla="*/ 5207052 h 5973007"/>
              <a:gd name="connsiteX4348" fmla="*/ 2300790 w 6884782"/>
              <a:gd name="connsiteY4348" fmla="*/ 5206329 h 5973007"/>
              <a:gd name="connsiteX4349" fmla="*/ 2303579 w 6884782"/>
              <a:gd name="connsiteY4349" fmla="*/ 5205503 h 5973007"/>
              <a:gd name="connsiteX4350" fmla="*/ 2303114 w 6884782"/>
              <a:gd name="connsiteY4350" fmla="*/ 5204987 h 5973007"/>
              <a:gd name="connsiteX4351" fmla="*/ 2301720 w 6884782"/>
              <a:gd name="connsiteY4351" fmla="*/ 5201992 h 5973007"/>
              <a:gd name="connsiteX4352" fmla="*/ 2303579 w 6884782"/>
              <a:gd name="connsiteY4352" fmla="*/ 5200341 h 5973007"/>
              <a:gd name="connsiteX4353" fmla="*/ 2302184 w 6884782"/>
              <a:gd name="connsiteY4353" fmla="*/ 5198482 h 5973007"/>
              <a:gd name="connsiteX4354" fmla="*/ 2304043 w 6884782"/>
              <a:gd name="connsiteY4354" fmla="*/ 5187330 h 5973007"/>
              <a:gd name="connsiteX4355" fmla="*/ 2308535 w 6884782"/>
              <a:gd name="connsiteY4355" fmla="*/ 5184749 h 5973007"/>
              <a:gd name="connsiteX4356" fmla="*/ 1634582 w 6884782"/>
              <a:gd name="connsiteY4356" fmla="*/ 5184542 h 5973007"/>
              <a:gd name="connsiteX4357" fmla="*/ 1638764 w 6884782"/>
              <a:gd name="connsiteY4357" fmla="*/ 5184542 h 5973007"/>
              <a:gd name="connsiteX4358" fmla="*/ 1640313 w 6884782"/>
              <a:gd name="connsiteY4358" fmla="*/ 5186401 h 5973007"/>
              <a:gd name="connsiteX4359" fmla="*/ 1640158 w 6884782"/>
              <a:gd name="connsiteY4359" fmla="*/ 5187227 h 5973007"/>
              <a:gd name="connsiteX4360" fmla="*/ 1638299 w 6884782"/>
              <a:gd name="connsiteY4360" fmla="*/ 5187950 h 5973007"/>
              <a:gd name="connsiteX4361" fmla="*/ 1630245 w 6884782"/>
              <a:gd name="connsiteY4361" fmla="*/ 5187020 h 5973007"/>
              <a:gd name="connsiteX4362" fmla="*/ 1628541 w 6884782"/>
              <a:gd name="connsiteY4362" fmla="*/ 5187020 h 5973007"/>
              <a:gd name="connsiteX4363" fmla="*/ 1626992 w 6884782"/>
              <a:gd name="connsiteY4363" fmla="*/ 5185265 h 5973007"/>
              <a:gd name="connsiteX4364" fmla="*/ 1634582 w 6884782"/>
              <a:gd name="connsiteY4364" fmla="*/ 5184542 h 5973007"/>
              <a:gd name="connsiteX4365" fmla="*/ 1880480 w 6884782"/>
              <a:gd name="connsiteY4365" fmla="*/ 5184426 h 5973007"/>
              <a:gd name="connsiteX4366" fmla="*/ 1886289 w 6884782"/>
              <a:gd name="connsiteY4366" fmla="*/ 5186298 h 5973007"/>
              <a:gd name="connsiteX4367" fmla="*/ 1887682 w 6884782"/>
              <a:gd name="connsiteY4367" fmla="*/ 5191564 h 5973007"/>
              <a:gd name="connsiteX4368" fmla="*/ 1882416 w 6884782"/>
              <a:gd name="connsiteY4368" fmla="*/ 5193009 h 5973007"/>
              <a:gd name="connsiteX4369" fmla="*/ 1877459 w 6884782"/>
              <a:gd name="connsiteY4369" fmla="*/ 5191770 h 5973007"/>
              <a:gd name="connsiteX4370" fmla="*/ 1880480 w 6884782"/>
              <a:gd name="connsiteY4370" fmla="*/ 5184426 h 5973007"/>
              <a:gd name="connsiteX4371" fmla="*/ 2112901 w 6884782"/>
              <a:gd name="connsiteY4371" fmla="*/ 5182993 h 5973007"/>
              <a:gd name="connsiteX4372" fmla="*/ 2116464 w 6884782"/>
              <a:gd name="connsiteY4372" fmla="*/ 5192803 h 5973007"/>
              <a:gd name="connsiteX4373" fmla="*/ 2114916 w 6884782"/>
              <a:gd name="connsiteY4373" fmla="*/ 5192700 h 5973007"/>
              <a:gd name="connsiteX4374" fmla="*/ 2112127 w 6884782"/>
              <a:gd name="connsiteY4374" fmla="*/ 5196623 h 5973007"/>
              <a:gd name="connsiteX4375" fmla="*/ 2109804 w 6884782"/>
              <a:gd name="connsiteY4375" fmla="*/ 5198379 h 5973007"/>
              <a:gd name="connsiteX4376" fmla="*/ 2108254 w 6884782"/>
              <a:gd name="connsiteY4376" fmla="*/ 5199514 h 5973007"/>
              <a:gd name="connsiteX4377" fmla="*/ 2106861 w 6884782"/>
              <a:gd name="connsiteY4377" fmla="*/ 5200547 h 5973007"/>
              <a:gd name="connsiteX4378" fmla="*/ 2105157 w 6884782"/>
              <a:gd name="connsiteY4378" fmla="*/ 5200857 h 5973007"/>
              <a:gd name="connsiteX4379" fmla="*/ 2103298 w 6884782"/>
              <a:gd name="connsiteY4379" fmla="*/ 5199618 h 5973007"/>
              <a:gd name="connsiteX4380" fmla="*/ 2109184 w 6884782"/>
              <a:gd name="connsiteY4380" fmla="*/ 5193422 h 5973007"/>
              <a:gd name="connsiteX4381" fmla="*/ 2111508 w 6884782"/>
              <a:gd name="connsiteY4381" fmla="*/ 5191254 h 5973007"/>
              <a:gd name="connsiteX4382" fmla="*/ 2110578 w 6884782"/>
              <a:gd name="connsiteY4382" fmla="*/ 5186814 h 5973007"/>
              <a:gd name="connsiteX4383" fmla="*/ 2112901 w 6884782"/>
              <a:gd name="connsiteY4383" fmla="*/ 5182993 h 5973007"/>
              <a:gd name="connsiteX4384" fmla="*/ 1534364 w 6884782"/>
              <a:gd name="connsiteY4384" fmla="*/ 5181961 h 5973007"/>
              <a:gd name="connsiteX4385" fmla="*/ 1538391 w 6884782"/>
              <a:gd name="connsiteY4385" fmla="*/ 5181961 h 5973007"/>
              <a:gd name="connsiteX4386" fmla="*/ 1551403 w 6884782"/>
              <a:gd name="connsiteY4386" fmla="*/ 5185781 h 5973007"/>
              <a:gd name="connsiteX4387" fmla="*/ 1545516 w 6884782"/>
              <a:gd name="connsiteY4387" fmla="*/ 5186607 h 5973007"/>
              <a:gd name="connsiteX4388" fmla="*/ 1532195 w 6884782"/>
              <a:gd name="connsiteY4388" fmla="*/ 5186298 h 5973007"/>
              <a:gd name="connsiteX4389" fmla="*/ 1530801 w 6884782"/>
              <a:gd name="connsiteY4389" fmla="*/ 5184542 h 5973007"/>
              <a:gd name="connsiteX4390" fmla="*/ 1529872 w 6884782"/>
              <a:gd name="connsiteY4390" fmla="*/ 5184542 h 5973007"/>
              <a:gd name="connsiteX4391" fmla="*/ 1529252 w 6884782"/>
              <a:gd name="connsiteY4391" fmla="*/ 5183613 h 5973007"/>
              <a:gd name="connsiteX4392" fmla="*/ 1529252 w 6884782"/>
              <a:gd name="connsiteY4392" fmla="*/ 5182787 h 5973007"/>
              <a:gd name="connsiteX4393" fmla="*/ 1534364 w 6884782"/>
              <a:gd name="connsiteY4393" fmla="*/ 5181961 h 5973007"/>
              <a:gd name="connsiteX4394" fmla="*/ 2276782 w 6884782"/>
              <a:gd name="connsiteY4394" fmla="*/ 5180928 h 5973007"/>
              <a:gd name="connsiteX4395" fmla="*/ 2278021 w 6884782"/>
              <a:gd name="connsiteY4395" fmla="*/ 5189912 h 5973007"/>
              <a:gd name="connsiteX4396" fmla="*/ 2276782 w 6884782"/>
              <a:gd name="connsiteY4396" fmla="*/ 5180928 h 5973007"/>
              <a:gd name="connsiteX4397" fmla="*/ 1715593 w 6884782"/>
              <a:gd name="connsiteY4397" fmla="*/ 5180928 h 5973007"/>
              <a:gd name="connsiteX4398" fmla="*/ 1712649 w 6884782"/>
              <a:gd name="connsiteY4398" fmla="*/ 5187434 h 5973007"/>
              <a:gd name="connsiteX4399" fmla="*/ 1710171 w 6884782"/>
              <a:gd name="connsiteY4399" fmla="*/ 5187330 h 5973007"/>
              <a:gd name="connsiteX4400" fmla="*/ 1715593 w 6884782"/>
              <a:gd name="connsiteY4400" fmla="*/ 5180928 h 5973007"/>
              <a:gd name="connsiteX4401" fmla="*/ 2818299 w 6884782"/>
              <a:gd name="connsiteY4401" fmla="*/ 5180722 h 5973007"/>
              <a:gd name="connsiteX4402" fmla="*/ 2816905 w 6884782"/>
              <a:gd name="connsiteY4402" fmla="*/ 5181135 h 5973007"/>
              <a:gd name="connsiteX4403" fmla="*/ 2817369 w 6884782"/>
              <a:gd name="connsiteY4403" fmla="*/ 5182167 h 5973007"/>
              <a:gd name="connsiteX4404" fmla="*/ 2581617 w 6884782"/>
              <a:gd name="connsiteY4404" fmla="*/ 5179689 h 5973007"/>
              <a:gd name="connsiteX4405" fmla="*/ 2582237 w 6884782"/>
              <a:gd name="connsiteY4405" fmla="*/ 5183200 h 5973007"/>
              <a:gd name="connsiteX4406" fmla="*/ 2580688 w 6884782"/>
              <a:gd name="connsiteY4406" fmla="*/ 5182890 h 5973007"/>
              <a:gd name="connsiteX4407" fmla="*/ 2580533 w 6884782"/>
              <a:gd name="connsiteY4407" fmla="*/ 5183716 h 5973007"/>
              <a:gd name="connsiteX4408" fmla="*/ 2579139 w 6884782"/>
              <a:gd name="connsiteY4408" fmla="*/ 5182684 h 5973007"/>
              <a:gd name="connsiteX4409" fmla="*/ 2579139 w 6884782"/>
              <a:gd name="connsiteY4409" fmla="*/ 5181754 h 5973007"/>
              <a:gd name="connsiteX4410" fmla="*/ 2578984 w 6884782"/>
              <a:gd name="connsiteY4410" fmla="*/ 5181651 h 5973007"/>
              <a:gd name="connsiteX4411" fmla="*/ 2579913 w 6884782"/>
              <a:gd name="connsiteY4411" fmla="*/ 5180309 h 5973007"/>
              <a:gd name="connsiteX4412" fmla="*/ 2581617 w 6884782"/>
              <a:gd name="connsiteY4412" fmla="*/ 5179689 h 5973007"/>
              <a:gd name="connsiteX4413" fmla="*/ 1897750 w 6884782"/>
              <a:gd name="connsiteY4413" fmla="*/ 5179379 h 5973007"/>
              <a:gd name="connsiteX4414" fmla="*/ 1904566 w 6884782"/>
              <a:gd name="connsiteY4414" fmla="*/ 5181651 h 5973007"/>
              <a:gd name="connsiteX4415" fmla="*/ 1899919 w 6884782"/>
              <a:gd name="connsiteY4415" fmla="*/ 5193835 h 5973007"/>
              <a:gd name="connsiteX4416" fmla="*/ 1897750 w 6884782"/>
              <a:gd name="connsiteY4416" fmla="*/ 5179379 h 5973007"/>
              <a:gd name="connsiteX4417" fmla="*/ 2755256 w 6884782"/>
              <a:gd name="connsiteY4417" fmla="*/ 5178863 h 5973007"/>
              <a:gd name="connsiteX4418" fmla="*/ 2751539 w 6884782"/>
              <a:gd name="connsiteY4418" fmla="*/ 5181238 h 5973007"/>
              <a:gd name="connsiteX4419" fmla="*/ 2752158 w 6884782"/>
              <a:gd name="connsiteY4419" fmla="*/ 5181857 h 5973007"/>
              <a:gd name="connsiteX4420" fmla="*/ 2756960 w 6884782"/>
              <a:gd name="connsiteY4420" fmla="*/ 5180928 h 5973007"/>
              <a:gd name="connsiteX4421" fmla="*/ 2757579 w 6884782"/>
              <a:gd name="connsiteY4421" fmla="*/ 5180928 h 5973007"/>
              <a:gd name="connsiteX4422" fmla="*/ 2756031 w 6884782"/>
              <a:gd name="connsiteY4422" fmla="*/ 5180102 h 5973007"/>
              <a:gd name="connsiteX4423" fmla="*/ 2420990 w 6884782"/>
              <a:gd name="connsiteY4423" fmla="*/ 5178553 h 5973007"/>
              <a:gd name="connsiteX4424" fmla="*/ 2432452 w 6884782"/>
              <a:gd name="connsiteY4424" fmla="*/ 5189085 h 5973007"/>
              <a:gd name="connsiteX4425" fmla="*/ 2433226 w 6884782"/>
              <a:gd name="connsiteY4425" fmla="*/ 5190738 h 5973007"/>
              <a:gd name="connsiteX4426" fmla="*/ 2431833 w 6884782"/>
              <a:gd name="connsiteY4426" fmla="*/ 5193009 h 5973007"/>
              <a:gd name="connsiteX4427" fmla="*/ 2421764 w 6884782"/>
              <a:gd name="connsiteY4427" fmla="*/ 5186401 h 5973007"/>
              <a:gd name="connsiteX4428" fmla="*/ 2420835 w 6884782"/>
              <a:gd name="connsiteY4428" fmla="*/ 5184852 h 5973007"/>
              <a:gd name="connsiteX4429" fmla="*/ 2420990 w 6884782"/>
              <a:gd name="connsiteY4429" fmla="*/ 5178553 h 5973007"/>
              <a:gd name="connsiteX4430" fmla="*/ 2467924 w 6884782"/>
              <a:gd name="connsiteY4430" fmla="*/ 5177521 h 5973007"/>
              <a:gd name="connsiteX4431" fmla="*/ 2462192 w 6884782"/>
              <a:gd name="connsiteY4431" fmla="*/ 5188363 h 5973007"/>
              <a:gd name="connsiteX4432" fmla="*/ 2460334 w 6884782"/>
              <a:gd name="connsiteY4432" fmla="*/ 5183303 h 5973007"/>
              <a:gd name="connsiteX4433" fmla="*/ 2467924 w 6884782"/>
              <a:gd name="connsiteY4433" fmla="*/ 5177521 h 5973007"/>
              <a:gd name="connsiteX4434" fmla="*/ 2088738 w 6884782"/>
              <a:gd name="connsiteY4434" fmla="*/ 5177521 h 5973007"/>
              <a:gd name="connsiteX4435" fmla="*/ 2094779 w 6884782"/>
              <a:gd name="connsiteY4435" fmla="*/ 5178347 h 5973007"/>
              <a:gd name="connsiteX4436" fmla="*/ 2088428 w 6884782"/>
              <a:gd name="connsiteY4436" fmla="*/ 5189912 h 5973007"/>
              <a:gd name="connsiteX4437" fmla="*/ 2087498 w 6884782"/>
              <a:gd name="connsiteY4437" fmla="*/ 5187330 h 5973007"/>
              <a:gd name="connsiteX4438" fmla="*/ 2088738 w 6884782"/>
              <a:gd name="connsiteY4438" fmla="*/ 5177521 h 5973007"/>
              <a:gd name="connsiteX4439" fmla="*/ 1683684 w 6884782"/>
              <a:gd name="connsiteY4439" fmla="*/ 5177521 h 5973007"/>
              <a:gd name="connsiteX4440" fmla="*/ 1689260 w 6884782"/>
              <a:gd name="connsiteY4440" fmla="*/ 5180206 h 5973007"/>
              <a:gd name="connsiteX4441" fmla="*/ 1688176 w 6884782"/>
              <a:gd name="connsiteY4441" fmla="*/ 5181961 h 5973007"/>
              <a:gd name="connsiteX4442" fmla="*/ 1685698 w 6884782"/>
              <a:gd name="connsiteY4442" fmla="*/ 5183303 h 5973007"/>
              <a:gd name="connsiteX4443" fmla="*/ 1683219 w 6884782"/>
              <a:gd name="connsiteY4443" fmla="*/ 5182787 h 5973007"/>
              <a:gd name="connsiteX4444" fmla="*/ 1683684 w 6884782"/>
              <a:gd name="connsiteY4444" fmla="*/ 5177521 h 5973007"/>
              <a:gd name="connsiteX4445" fmla="*/ 2159370 w 6884782"/>
              <a:gd name="connsiteY4445" fmla="*/ 5177314 h 5973007"/>
              <a:gd name="connsiteX4446" fmla="*/ 2157667 w 6884782"/>
              <a:gd name="connsiteY4446" fmla="*/ 5187434 h 5973007"/>
              <a:gd name="connsiteX4447" fmla="*/ 2153639 w 6884782"/>
              <a:gd name="connsiteY4447" fmla="*/ 5185058 h 5973007"/>
              <a:gd name="connsiteX4448" fmla="*/ 2159370 w 6884782"/>
              <a:gd name="connsiteY4448" fmla="*/ 5177314 h 5973007"/>
              <a:gd name="connsiteX4449" fmla="*/ 1802644 w 6884782"/>
              <a:gd name="connsiteY4449" fmla="*/ 5174423 h 5973007"/>
              <a:gd name="connsiteX4450" fmla="*/ 1802954 w 6884782"/>
              <a:gd name="connsiteY4450" fmla="*/ 5175972 h 5973007"/>
              <a:gd name="connsiteX4451" fmla="*/ 1803729 w 6884782"/>
              <a:gd name="connsiteY4451" fmla="*/ 5175972 h 5973007"/>
              <a:gd name="connsiteX4452" fmla="*/ 1803109 w 6884782"/>
              <a:gd name="connsiteY4452" fmla="*/ 5177624 h 5973007"/>
              <a:gd name="connsiteX4453" fmla="*/ 1802334 w 6884782"/>
              <a:gd name="connsiteY4453" fmla="*/ 5177727 h 5973007"/>
              <a:gd name="connsiteX4454" fmla="*/ 1802179 w 6884782"/>
              <a:gd name="connsiteY4454" fmla="*/ 5177934 h 5973007"/>
              <a:gd name="connsiteX4455" fmla="*/ 1800631 w 6884782"/>
              <a:gd name="connsiteY4455" fmla="*/ 5177005 h 5973007"/>
              <a:gd name="connsiteX4456" fmla="*/ 1799546 w 6884782"/>
              <a:gd name="connsiteY4456" fmla="*/ 5175455 h 5973007"/>
              <a:gd name="connsiteX4457" fmla="*/ 1802644 w 6884782"/>
              <a:gd name="connsiteY4457" fmla="*/ 5174423 h 5973007"/>
              <a:gd name="connsiteX4458" fmla="*/ 2021668 w 6884782"/>
              <a:gd name="connsiteY4458" fmla="*/ 5174217 h 5973007"/>
              <a:gd name="connsiteX4459" fmla="*/ 2030187 w 6884782"/>
              <a:gd name="connsiteY4459" fmla="*/ 5179792 h 5973007"/>
              <a:gd name="connsiteX4460" fmla="*/ 2026470 w 6884782"/>
              <a:gd name="connsiteY4460" fmla="*/ 5182477 h 5973007"/>
              <a:gd name="connsiteX4461" fmla="*/ 2021668 w 6884782"/>
              <a:gd name="connsiteY4461" fmla="*/ 5174217 h 5973007"/>
              <a:gd name="connsiteX4462" fmla="*/ 2526823 w 6884782"/>
              <a:gd name="connsiteY4462" fmla="*/ 5174204 h 5973007"/>
              <a:gd name="connsiteX4463" fmla="*/ 2538401 w 6884782"/>
              <a:gd name="connsiteY4463" fmla="*/ 5182271 h 5973007"/>
              <a:gd name="connsiteX4464" fmla="*/ 2537936 w 6884782"/>
              <a:gd name="connsiteY4464" fmla="*/ 5184955 h 5973007"/>
              <a:gd name="connsiteX4465" fmla="*/ 2518420 w 6884782"/>
              <a:gd name="connsiteY4465" fmla="*/ 5196933 h 5973007"/>
              <a:gd name="connsiteX4466" fmla="*/ 2499987 w 6884782"/>
              <a:gd name="connsiteY4466" fmla="*/ 5187434 h 5973007"/>
              <a:gd name="connsiteX4467" fmla="*/ 2513153 w 6884782"/>
              <a:gd name="connsiteY4467" fmla="*/ 5174733 h 5973007"/>
              <a:gd name="connsiteX4468" fmla="*/ 2526823 w 6884782"/>
              <a:gd name="connsiteY4468" fmla="*/ 5174204 h 5973007"/>
              <a:gd name="connsiteX4469" fmla="*/ 2205220 w 6884782"/>
              <a:gd name="connsiteY4469" fmla="*/ 5173907 h 5973007"/>
              <a:gd name="connsiteX4470" fmla="*/ 2199953 w 6884782"/>
              <a:gd name="connsiteY4470" fmla="*/ 5188673 h 5973007"/>
              <a:gd name="connsiteX4471" fmla="*/ 2194377 w 6884782"/>
              <a:gd name="connsiteY4471" fmla="*/ 5188569 h 5973007"/>
              <a:gd name="connsiteX4472" fmla="*/ 2205220 w 6884782"/>
              <a:gd name="connsiteY4472" fmla="*/ 5173907 h 5973007"/>
              <a:gd name="connsiteX4473" fmla="*/ 1979149 w 6884782"/>
              <a:gd name="connsiteY4473" fmla="*/ 5173636 h 5973007"/>
              <a:gd name="connsiteX4474" fmla="*/ 1984337 w 6884782"/>
              <a:gd name="connsiteY4474" fmla="*/ 5177314 h 5973007"/>
              <a:gd name="connsiteX4475" fmla="*/ 1982789 w 6884782"/>
              <a:gd name="connsiteY4475" fmla="*/ 5199308 h 5973007"/>
              <a:gd name="connsiteX4476" fmla="*/ 1975818 w 6884782"/>
              <a:gd name="connsiteY4476" fmla="*/ 5190015 h 5973007"/>
              <a:gd name="connsiteX4477" fmla="*/ 1973030 w 6884782"/>
              <a:gd name="connsiteY4477" fmla="*/ 5176075 h 5973007"/>
              <a:gd name="connsiteX4478" fmla="*/ 1979149 w 6884782"/>
              <a:gd name="connsiteY4478" fmla="*/ 5173636 h 5973007"/>
              <a:gd name="connsiteX4479" fmla="*/ 1484487 w 6884782"/>
              <a:gd name="connsiteY4479" fmla="*/ 5171739 h 5973007"/>
              <a:gd name="connsiteX4480" fmla="*/ 1486966 w 6884782"/>
              <a:gd name="connsiteY4480" fmla="*/ 5178037 h 5973007"/>
              <a:gd name="connsiteX4481" fmla="*/ 1484332 w 6884782"/>
              <a:gd name="connsiteY4481" fmla="*/ 5178553 h 5973007"/>
              <a:gd name="connsiteX4482" fmla="*/ 1481389 w 6884782"/>
              <a:gd name="connsiteY4482" fmla="*/ 5177934 h 5973007"/>
              <a:gd name="connsiteX4483" fmla="*/ 1484487 w 6884782"/>
              <a:gd name="connsiteY4483" fmla="*/ 5171739 h 5973007"/>
              <a:gd name="connsiteX4484" fmla="*/ 2012219 w 6884782"/>
              <a:gd name="connsiteY4484" fmla="*/ 5170706 h 5973007"/>
              <a:gd name="connsiteX4485" fmla="*/ 2014387 w 6884782"/>
              <a:gd name="connsiteY4485" fmla="*/ 5172461 h 5973007"/>
              <a:gd name="connsiteX4486" fmla="*/ 2012838 w 6884782"/>
              <a:gd name="connsiteY4486" fmla="*/ 5174526 h 5973007"/>
              <a:gd name="connsiteX4487" fmla="*/ 2010205 w 6884782"/>
              <a:gd name="connsiteY4487" fmla="*/ 5175249 h 5973007"/>
              <a:gd name="connsiteX4488" fmla="*/ 2009276 w 6884782"/>
              <a:gd name="connsiteY4488" fmla="*/ 5174113 h 5973007"/>
              <a:gd name="connsiteX4489" fmla="*/ 2008347 w 6884782"/>
              <a:gd name="connsiteY4489" fmla="*/ 5172151 h 5973007"/>
              <a:gd name="connsiteX4490" fmla="*/ 2012219 w 6884782"/>
              <a:gd name="connsiteY4490" fmla="*/ 5170706 h 5973007"/>
              <a:gd name="connsiteX4491" fmla="*/ 1951809 w 6884782"/>
              <a:gd name="connsiteY4491" fmla="*/ 5169880 h 5973007"/>
              <a:gd name="connsiteX4492" fmla="*/ 1959554 w 6884782"/>
              <a:gd name="connsiteY4492" fmla="*/ 5177934 h 5973007"/>
              <a:gd name="connsiteX4493" fmla="*/ 1964356 w 6884782"/>
              <a:gd name="connsiteY4493" fmla="*/ 5189602 h 5973007"/>
              <a:gd name="connsiteX4494" fmla="*/ 1954288 w 6884782"/>
              <a:gd name="connsiteY4494" fmla="*/ 5182374 h 5973007"/>
              <a:gd name="connsiteX4495" fmla="*/ 1951809 w 6884782"/>
              <a:gd name="connsiteY4495" fmla="*/ 5169880 h 5973007"/>
              <a:gd name="connsiteX4496" fmla="*/ 2350047 w 6884782"/>
              <a:gd name="connsiteY4496" fmla="*/ 5166576 h 5973007"/>
              <a:gd name="connsiteX4497" fmla="*/ 2356088 w 6884782"/>
              <a:gd name="connsiteY4497" fmla="*/ 5176179 h 5973007"/>
              <a:gd name="connsiteX4498" fmla="*/ 2344471 w 6884782"/>
              <a:gd name="connsiteY4498" fmla="*/ 5191667 h 5973007"/>
              <a:gd name="connsiteX4499" fmla="*/ 2344006 w 6884782"/>
              <a:gd name="connsiteY4499" fmla="*/ 5191564 h 5973007"/>
              <a:gd name="connsiteX4500" fmla="*/ 2343851 w 6884782"/>
              <a:gd name="connsiteY4500" fmla="*/ 5198482 h 5973007"/>
              <a:gd name="connsiteX4501" fmla="*/ 2341373 w 6884782"/>
              <a:gd name="connsiteY4501" fmla="*/ 5206019 h 5973007"/>
              <a:gd name="connsiteX4502" fmla="*/ 2339050 w 6884782"/>
              <a:gd name="connsiteY4502" fmla="*/ 5207155 h 5973007"/>
              <a:gd name="connsiteX4503" fmla="*/ 2321391 w 6884782"/>
              <a:gd name="connsiteY4503" fmla="*/ 5195178 h 5973007"/>
              <a:gd name="connsiteX4504" fmla="*/ 2319843 w 6884782"/>
              <a:gd name="connsiteY4504" fmla="*/ 5178347 h 5973007"/>
              <a:gd name="connsiteX4505" fmla="*/ 2320307 w 6884782"/>
              <a:gd name="connsiteY4505" fmla="*/ 5177521 h 5973007"/>
              <a:gd name="connsiteX4506" fmla="*/ 2319223 w 6884782"/>
              <a:gd name="connsiteY4506" fmla="*/ 5178553 h 5973007"/>
              <a:gd name="connsiteX4507" fmla="*/ 2317364 w 6884782"/>
              <a:gd name="connsiteY4507" fmla="*/ 5178347 h 5973007"/>
              <a:gd name="connsiteX4508" fmla="*/ 2313337 w 6884782"/>
              <a:gd name="connsiteY4508" fmla="*/ 5177005 h 5973007"/>
              <a:gd name="connsiteX4509" fmla="*/ 2313647 w 6884782"/>
              <a:gd name="connsiteY4509" fmla="*/ 5173700 h 5973007"/>
              <a:gd name="connsiteX4510" fmla="*/ 2316899 w 6884782"/>
              <a:gd name="connsiteY4510" fmla="*/ 5171532 h 5973007"/>
              <a:gd name="connsiteX4511" fmla="*/ 2323715 w 6884782"/>
              <a:gd name="connsiteY4511" fmla="*/ 5171532 h 5973007"/>
              <a:gd name="connsiteX4512" fmla="*/ 2323250 w 6884782"/>
              <a:gd name="connsiteY4512" fmla="*/ 5173081 h 5973007"/>
              <a:gd name="connsiteX4513" fmla="*/ 2331615 w 6884782"/>
              <a:gd name="connsiteY4513" fmla="*/ 5174010 h 5973007"/>
              <a:gd name="connsiteX4514" fmla="*/ 2338430 w 6884782"/>
              <a:gd name="connsiteY4514" fmla="*/ 5178553 h 5973007"/>
              <a:gd name="connsiteX4515" fmla="*/ 2341063 w 6884782"/>
              <a:gd name="connsiteY4515" fmla="*/ 5182580 h 5973007"/>
              <a:gd name="connsiteX4516" fmla="*/ 2341838 w 6884782"/>
              <a:gd name="connsiteY4516" fmla="*/ 5178966 h 5973007"/>
              <a:gd name="connsiteX4517" fmla="*/ 2350047 w 6884782"/>
              <a:gd name="connsiteY4517" fmla="*/ 5166576 h 5973007"/>
              <a:gd name="connsiteX4518" fmla="*/ 2098806 w 6884782"/>
              <a:gd name="connsiteY4518" fmla="*/ 5166266 h 5973007"/>
              <a:gd name="connsiteX4519" fmla="*/ 2099426 w 6884782"/>
              <a:gd name="connsiteY4519" fmla="*/ 5166782 h 5973007"/>
              <a:gd name="connsiteX4520" fmla="*/ 2100665 w 6884782"/>
              <a:gd name="connsiteY4520" fmla="*/ 5166473 h 5973007"/>
              <a:gd name="connsiteX4521" fmla="*/ 2102988 w 6884782"/>
              <a:gd name="connsiteY4521" fmla="*/ 5169777 h 5973007"/>
              <a:gd name="connsiteX4522" fmla="*/ 2103298 w 6884782"/>
              <a:gd name="connsiteY4522" fmla="*/ 5171739 h 5973007"/>
              <a:gd name="connsiteX4523" fmla="*/ 2102369 w 6884782"/>
              <a:gd name="connsiteY4523" fmla="*/ 5173184 h 5973007"/>
              <a:gd name="connsiteX4524" fmla="*/ 2100510 w 6884782"/>
              <a:gd name="connsiteY4524" fmla="*/ 5172978 h 5973007"/>
              <a:gd name="connsiteX4525" fmla="*/ 2097412 w 6884782"/>
              <a:gd name="connsiteY4525" fmla="*/ 5171325 h 5973007"/>
              <a:gd name="connsiteX4526" fmla="*/ 2096637 w 6884782"/>
              <a:gd name="connsiteY4526" fmla="*/ 5168847 h 5973007"/>
              <a:gd name="connsiteX4527" fmla="*/ 2098031 w 6884782"/>
              <a:gd name="connsiteY4527" fmla="*/ 5167815 h 5973007"/>
              <a:gd name="connsiteX4528" fmla="*/ 2098806 w 6884782"/>
              <a:gd name="connsiteY4528" fmla="*/ 5166266 h 5973007"/>
              <a:gd name="connsiteX4529" fmla="*/ 2065813 w 6884782"/>
              <a:gd name="connsiteY4529" fmla="*/ 5166163 h 5973007"/>
              <a:gd name="connsiteX4530" fmla="*/ 2058068 w 6884782"/>
              <a:gd name="connsiteY4530" fmla="*/ 5183200 h 5973007"/>
              <a:gd name="connsiteX4531" fmla="*/ 2065813 w 6884782"/>
              <a:gd name="connsiteY4531" fmla="*/ 5166163 h 5973007"/>
              <a:gd name="connsiteX4532" fmla="*/ 1607785 w 6884782"/>
              <a:gd name="connsiteY4532" fmla="*/ 5165646 h 5973007"/>
              <a:gd name="connsiteX4533" fmla="*/ 1609333 w 6884782"/>
              <a:gd name="connsiteY4533" fmla="*/ 5168847 h 5973007"/>
              <a:gd name="connsiteX4534" fmla="*/ 1599730 w 6884782"/>
              <a:gd name="connsiteY4534" fmla="*/ 5174217 h 5973007"/>
              <a:gd name="connsiteX4535" fmla="*/ 1598026 w 6884782"/>
              <a:gd name="connsiteY4535" fmla="*/ 5169260 h 5973007"/>
              <a:gd name="connsiteX4536" fmla="*/ 1607785 w 6884782"/>
              <a:gd name="connsiteY4536" fmla="*/ 5165646 h 5973007"/>
              <a:gd name="connsiteX4537" fmla="*/ 1938179 w 6884782"/>
              <a:gd name="connsiteY4537" fmla="*/ 5164820 h 5973007"/>
              <a:gd name="connsiteX4538" fmla="*/ 1941276 w 6884782"/>
              <a:gd name="connsiteY4538" fmla="*/ 5168228 h 5973007"/>
              <a:gd name="connsiteX4539" fmla="*/ 1931053 w 6884782"/>
              <a:gd name="connsiteY4539" fmla="*/ 5182167 h 5973007"/>
              <a:gd name="connsiteX4540" fmla="*/ 1927800 w 6884782"/>
              <a:gd name="connsiteY4540" fmla="*/ 5181857 h 5973007"/>
              <a:gd name="connsiteX4541" fmla="*/ 1938179 w 6884782"/>
              <a:gd name="connsiteY4541" fmla="*/ 5164820 h 5973007"/>
              <a:gd name="connsiteX4542" fmla="*/ 2155808 w 6884782"/>
              <a:gd name="connsiteY4542" fmla="*/ 5164304 h 5973007"/>
              <a:gd name="connsiteX4543" fmla="*/ 2158596 w 6884782"/>
              <a:gd name="connsiteY4543" fmla="*/ 5167299 h 5973007"/>
              <a:gd name="connsiteX4544" fmla="*/ 2157821 w 6884782"/>
              <a:gd name="connsiteY4544" fmla="*/ 5169983 h 5973007"/>
              <a:gd name="connsiteX4545" fmla="*/ 2156582 w 6884782"/>
              <a:gd name="connsiteY4545" fmla="*/ 5170396 h 5973007"/>
              <a:gd name="connsiteX4546" fmla="*/ 2155343 w 6884782"/>
              <a:gd name="connsiteY4546" fmla="*/ 5169364 h 5973007"/>
              <a:gd name="connsiteX4547" fmla="*/ 2153794 w 6884782"/>
              <a:gd name="connsiteY4547" fmla="*/ 5167299 h 5973007"/>
              <a:gd name="connsiteX4548" fmla="*/ 2154414 w 6884782"/>
              <a:gd name="connsiteY4548" fmla="*/ 5165956 h 5973007"/>
              <a:gd name="connsiteX4549" fmla="*/ 2155808 w 6884782"/>
              <a:gd name="connsiteY4549" fmla="*/ 5164304 h 5973007"/>
              <a:gd name="connsiteX4550" fmla="*/ 2394347 w 6884782"/>
              <a:gd name="connsiteY4550" fmla="*/ 5163168 h 5973007"/>
              <a:gd name="connsiteX4551" fmla="*/ 2393728 w 6884782"/>
              <a:gd name="connsiteY4551" fmla="*/ 5168331 h 5973007"/>
              <a:gd name="connsiteX4552" fmla="*/ 2391250 w 6884782"/>
              <a:gd name="connsiteY4552" fmla="*/ 5169777 h 5973007"/>
              <a:gd name="connsiteX4553" fmla="*/ 2388616 w 6884782"/>
              <a:gd name="connsiteY4553" fmla="*/ 5168021 h 5973007"/>
              <a:gd name="connsiteX4554" fmla="*/ 2387532 w 6884782"/>
              <a:gd name="connsiteY4554" fmla="*/ 5164614 h 5973007"/>
              <a:gd name="connsiteX4555" fmla="*/ 2394347 w 6884782"/>
              <a:gd name="connsiteY4555" fmla="*/ 5163168 h 5973007"/>
              <a:gd name="connsiteX4556" fmla="*/ 1971017 w 6884782"/>
              <a:gd name="connsiteY4556" fmla="*/ 5162342 h 5973007"/>
              <a:gd name="connsiteX4557" fmla="*/ 1975044 w 6884782"/>
              <a:gd name="connsiteY4557" fmla="*/ 5163272 h 5973007"/>
              <a:gd name="connsiteX4558" fmla="*/ 1971481 w 6884782"/>
              <a:gd name="connsiteY4558" fmla="*/ 5165027 h 5973007"/>
              <a:gd name="connsiteX4559" fmla="*/ 1971017 w 6884782"/>
              <a:gd name="connsiteY4559" fmla="*/ 5162342 h 5973007"/>
              <a:gd name="connsiteX4560" fmla="*/ 2466220 w 6884782"/>
              <a:gd name="connsiteY4560" fmla="*/ 5161826 h 5973007"/>
              <a:gd name="connsiteX4561" fmla="*/ 2469008 w 6884782"/>
              <a:gd name="connsiteY4561" fmla="*/ 5165646 h 5973007"/>
              <a:gd name="connsiteX4562" fmla="*/ 2466529 w 6884782"/>
              <a:gd name="connsiteY4562" fmla="*/ 5167712 h 5973007"/>
              <a:gd name="connsiteX4563" fmla="*/ 2464671 w 6884782"/>
              <a:gd name="connsiteY4563" fmla="*/ 5166473 h 5973007"/>
              <a:gd name="connsiteX4564" fmla="*/ 2466220 w 6884782"/>
              <a:gd name="connsiteY4564" fmla="*/ 5161826 h 5973007"/>
              <a:gd name="connsiteX4565" fmla="*/ 1918507 w 6884782"/>
              <a:gd name="connsiteY4565" fmla="*/ 5161619 h 5973007"/>
              <a:gd name="connsiteX4566" fmla="*/ 1923928 w 6884782"/>
              <a:gd name="connsiteY4566" fmla="*/ 5166988 h 5973007"/>
              <a:gd name="connsiteX4567" fmla="*/ 1919126 w 6884782"/>
              <a:gd name="connsiteY4567" fmla="*/ 5175972 h 5973007"/>
              <a:gd name="connsiteX4568" fmla="*/ 1915254 w 6884782"/>
              <a:gd name="connsiteY4568" fmla="*/ 5175766 h 5973007"/>
              <a:gd name="connsiteX4569" fmla="*/ 1909832 w 6884782"/>
              <a:gd name="connsiteY4569" fmla="*/ 5171532 h 5973007"/>
              <a:gd name="connsiteX4570" fmla="*/ 1918507 w 6884782"/>
              <a:gd name="connsiteY4570" fmla="*/ 5161619 h 5973007"/>
              <a:gd name="connsiteX4571" fmla="*/ 1769032 w 6884782"/>
              <a:gd name="connsiteY4571" fmla="*/ 5160277 h 5973007"/>
              <a:gd name="connsiteX4572" fmla="*/ 1777396 w 6884782"/>
              <a:gd name="connsiteY4572" fmla="*/ 5166782 h 5973007"/>
              <a:gd name="connsiteX4573" fmla="*/ 1777861 w 6884782"/>
              <a:gd name="connsiteY4573" fmla="*/ 5169157 h 5973007"/>
              <a:gd name="connsiteX4574" fmla="*/ 1778635 w 6884782"/>
              <a:gd name="connsiteY4574" fmla="*/ 5170809 h 5973007"/>
              <a:gd name="connsiteX4575" fmla="*/ 1777861 w 6884782"/>
              <a:gd name="connsiteY4575" fmla="*/ 5176591 h 5973007"/>
              <a:gd name="connsiteX4576" fmla="*/ 1767638 w 6884782"/>
              <a:gd name="connsiteY4576" fmla="*/ 5163684 h 5973007"/>
              <a:gd name="connsiteX4577" fmla="*/ 1767328 w 6884782"/>
              <a:gd name="connsiteY4577" fmla="*/ 5161826 h 5973007"/>
              <a:gd name="connsiteX4578" fmla="*/ 1769032 w 6884782"/>
              <a:gd name="connsiteY4578" fmla="*/ 5160277 h 5973007"/>
              <a:gd name="connsiteX4579" fmla="*/ 2415258 w 6884782"/>
              <a:gd name="connsiteY4579" fmla="*/ 5158728 h 5973007"/>
              <a:gd name="connsiteX4580" fmla="*/ 2421609 w 6884782"/>
              <a:gd name="connsiteY4580" fmla="*/ 5163891 h 5973007"/>
              <a:gd name="connsiteX4581" fmla="*/ 2416188 w 6884782"/>
              <a:gd name="connsiteY4581" fmla="*/ 5179792 h 5973007"/>
              <a:gd name="connsiteX4582" fmla="*/ 2415569 w 6884782"/>
              <a:gd name="connsiteY4582" fmla="*/ 5179379 h 5973007"/>
              <a:gd name="connsiteX4583" fmla="*/ 2414020 w 6884782"/>
              <a:gd name="connsiteY4583" fmla="*/ 5184852 h 5973007"/>
              <a:gd name="connsiteX4584" fmla="*/ 2410611 w 6884782"/>
              <a:gd name="connsiteY4584" fmla="*/ 5185058 h 5973007"/>
              <a:gd name="connsiteX4585" fmla="*/ 2403177 w 6884782"/>
              <a:gd name="connsiteY4585" fmla="*/ 5179689 h 5973007"/>
              <a:gd name="connsiteX4586" fmla="*/ 2402867 w 6884782"/>
              <a:gd name="connsiteY4586" fmla="*/ 5179173 h 5973007"/>
              <a:gd name="connsiteX4587" fmla="*/ 2401783 w 6884782"/>
              <a:gd name="connsiteY4587" fmla="*/ 5178760 h 5973007"/>
              <a:gd name="connsiteX4588" fmla="*/ 2401628 w 6884782"/>
              <a:gd name="connsiteY4588" fmla="*/ 5179070 h 5973007"/>
              <a:gd name="connsiteX4589" fmla="*/ 2401473 w 6884782"/>
              <a:gd name="connsiteY4589" fmla="*/ 5178657 h 5973007"/>
              <a:gd name="connsiteX4590" fmla="*/ 2399614 w 6884782"/>
              <a:gd name="connsiteY4590" fmla="*/ 5177934 h 5973007"/>
              <a:gd name="connsiteX4591" fmla="*/ 2400234 w 6884782"/>
              <a:gd name="connsiteY4591" fmla="*/ 5176488 h 5973007"/>
              <a:gd name="connsiteX4592" fmla="*/ 2399459 w 6884782"/>
              <a:gd name="connsiteY4592" fmla="*/ 5173907 h 5973007"/>
              <a:gd name="connsiteX4593" fmla="*/ 2401008 w 6884782"/>
              <a:gd name="connsiteY4593" fmla="*/ 5172151 h 5973007"/>
              <a:gd name="connsiteX4594" fmla="*/ 2405810 w 6884782"/>
              <a:gd name="connsiteY4594" fmla="*/ 5172048 h 5973007"/>
              <a:gd name="connsiteX4595" fmla="*/ 2409063 w 6884782"/>
              <a:gd name="connsiteY4595" fmla="*/ 5166059 h 5973007"/>
              <a:gd name="connsiteX4596" fmla="*/ 2410611 w 6884782"/>
              <a:gd name="connsiteY4596" fmla="*/ 5163065 h 5973007"/>
              <a:gd name="connsiteX4597" fmla="*/ 2409682 w 6884782"/>
              <a:gd name="connsiteY4597" fmla="*/ 5163891 h 5973007"/>
              <a:gd name="connsiteX4598" fmla="*/ 2397290 w 6884782"/>
              <a:gd name="connsiteY4598" fmla="*/ 5162755 h 5973007"/>
              <a:gd name="connsiteX4599" fmla="*/ 2405345 w 6884782"/>
              <a:gd name="connsiteY4599" fmla="*/ 5158935 h 5973007"/>
              <a:gd name="connsiteX4600" fmla="*/ 2412006 w 6884782"/>
              <a:gd name="connsiteY4600" fmla="*/ 5161310 h 5973007"/>
              <a:gd name="connsiteX4601" fmla="*/ 2287160 w 6884782"/>
              <a:gd name="connsiteY4601" fmla="*/ 5157386 h 5973007"/>
              <a:gd name="connsiteX4602" fmla="*/ 2294905 w 6884782"/>
              <a:gd name="connsiteY4602" fmla="*/ 5162755 h 5973007"/>
              <a:gd name="connsiteX4603" fmla="*/ 2289174 w 6884782"/>
              <a:gd name="connsiteY4603" fmla="*/ 5168847 h 5973007"/>
              <a:gd name="connsiteX4604" fmla="*/ 2283442 w 6884782"/>
              <a:gd name="connsiteY4604" fmla="*/ 5166163 h 5973007"/>
              <a:gd name="connsiteX4605" fmla="*/ 2287160 w 6884782"/>
              <a:gd name="connsiteY4605" fmla="*/ 5157386 h 5973007"/>
              <a:gd name="connsiteX4606" fmla="*/ 2807301 w 6884782"/>
              <a:gd name="connsiteY4606" fmla="*/ 5156663 h 5973007"/>
              <a:gd name="connsiteX4607" fmla="*/ 2807920 w 6884782"/>
              <a:gd name="connsiteY4607" fmla="*/ 5159141 h 5973007"/>
              <a:gd name="connsiteX4608" fmla="*/ 2810244 w 6884782"/>
              <a:gd name="connsiteY4608" fmla="*/ 5158728 h 5973007"/>
              <a:gd name="connsiteX4609" fmla="*/ 2562565 w 6884782"/>
              <a:gd name="connsiteY4609" fmla="*/ 5156353 h 5973007"/>
              <a:gd name="connsiteX4610" fmla="*/ 2563959 w 6884782"/>
              <a:gd name="connsiteY4610" fmla="*/ 5159967 h 5973007"/>
              <a:gd name="connsiteX4611" fmla="*/ 2564269 w 6884782"/>
              <a:gd name="connsiteY4611" fmla="*/ 5159554 h 5973007"/>
              <a:gd name="connsiteX4612" fmla="*/ 2565353 w 6884782"/>
              <a:gd name="connsiteY4612" fmla="*/ 5182787 h 5973007"/>
              <a:gd name="connsiteX4613" fmla="*/ 2561945 w 6884782"/>
              <a:gd name="connsiteY4613" fmla="*/ 5176798 h 5973007"/>
              <a:gd name="connsiteX4614" fmla="*/ 2561171 w 6884782"/>
              <a:gd name="connsiteY4614" fmla="*/ 5171532 h 5973007"/>
              <a:gd name="connsiteX4615" fmla="*/ 2559777 w 6884782"/>
              <a:gd name="connsiteY4615" fmla="*/ 5171842 h 5973007"/>
              <a:gd name="connsiteX4616" fmla="*/ 2559157 w 6884782"/>
              <a:gd name="connsiteY4616" fmla="*/ 5171739 h 5973007"/>
              <a:gd name="connsiteX4617" fmla="*/ 2561016 w 6884782"/>
              <a:gd name="connsiteY4617" fmla="*/ 5174526 h 5973007"/>
              <a:gd name="connsiteX4618" fmla="*/ 2560087 w 6884782"/>
              <a:gd name="connsiteY4618" fmla="*/ 5191564 h 5973007"/>
              <a:gd name="connsiteX4619" fmla="*/ 2555904 w 6884782"/>
              <a:gd name="connsiteY4619" fmla="*/ 5187330 h 5973007"/>
              <a:gd name="connsiteX4620" fmla="*/ 2555595 w 6884782"/>
              <a:gd name="connsiteY4620" fmla="*/ 5186504 h 5973007"/>
              <a:gd name="connsiteX4621" fmla="*/ 2555595 w 6884782"/>
              <a:gd name="connsiteY4621" fmla="*/ 5187846 h 5973007"/>
              <a:gd name="connsiteX4622" fmla="*/ 2553581 w 6884782"/>
              <a:gd name="connsiteY4622" fmla="*/ 5207362 h 5973007"/>
              <a:gd name="connsiteX4623" fmla="*/ 2549399 w 6884782"/>
              <a:gd name="connsiteY4623" fmla="*/ 5197140 h 5973007"/>
              <a:gd name="connsiteX4624" fmla="*/ 2546920 w 6884782"/>
              <a:gd name="connsiteY4624" fmla="*/ 5187330 h 5973007"/>
              <a:gd name="connsiteX4625" fmla="*/ 2548005 w 6884782"/>
              <a:gd name="connsiteY4625" fmla="*/ 5184336 h 5973007"/>
              <a:gd name="connsiteX4626" fmla="*/ 2547385 w 6884782"/>
              <a:gd name="connsiteY4626" fmla="*/ 5184026 h 5973007"/>
              <a:gd name="connsiteX4627" fmla="*/ 2550638 w 6884782"/>
              <a:gd name="connsiteY4627" fmla="*/ 5178966 h 5973007"/>
              <a:gd name="connsiteX4628" fmla="*/ 2552961 w 6884782"/>
              <a:gd name="connsiteY4628" fmla="*/ 5181341 h 5973007"/>
              <a:gd name="connsiteX4629" fmla="*/ 2554665 w 6884782"/>
              <a:gd name="connsiteY4629" fmla="*/ 5180928 h 5973007"/>
              <a:gd name="connsiteX4630" fmla="*/ 2555285 w 6884782"/>
              <a:gd name="connsiteY4630" fmla="*/ 5174836 h 5973007"/>
              <a:gd name="connsiteX4631" fmla="*/ 2556524 w 6884782"/>
              <a:gd name="connsiteY4631" fmla="*/ 5171325 h 5973007"/>
              <a:gd name="connsiteX4632" fmla="*/ 2555749 w 6884782"/>
              <a:gd name="connsiteY4632" fmla="*/ 5171222 h 5973007"/>
              <a:gd name="connsiteX4633" fmla="*/ 2554356 w 6884782"/>
              <a:gd name="connsiteY4633" fmla="*/ 5163065 h 5973007"/>
              <a:gd name="connsiteX4634" fmla="*/ 2559777 w 6884782"/>
              <a:gd name="connsiteY4634" fmla="*/ 5165750 h 5973007"/>
              <a:gd name="connsiteX4635" fmla="*/ 2561171 w 6884782"/>
              <a:gd name="connsiteY4635" fmla="*/ 5168331 h 5973007"/>
              <a:gd name="connsiteX4636" fmla="*/ 2561481 w 6884782"/>
              <a:gd name="connsiteY4636" fmla="*/ 5165956 h 5973007"/>
              <a:gd name="connsiteX4637" fmla="*/ 2558538 w 6884782"/>
              <a:gd name="connsiteY4637" fmla="*/ 5165027 h 5973007"/>
              <a:gd name="connsiteX4638" fmla="*/ 2552806 w 6884782"/>
              <a:gd name="connsiteY4638" fmla="*/ 5162033 h 5973007"/>
              <a:gd name="connsiteX4639" fmla="*/ 2562565 w 6884782"/>
              <a:gd name="connsiteY4639" fmla="*/ 5156353 h 5973007"/>
              <a:gd name="connsiteX4640" fmla="*/ 1696696 w 6884782"/>
              <a:gd name="connsiteY4640" fmla="*/ 5156353 h 5973007"/>
              <a:gd name="connsiteX4641" fmla="*/ 1705215 w 6884782"/>
              <a:gd name="connsiteY4641" fmla="*/ 5187640 h 5973007"/>
              <a:gd name="connsiteX4642" fmla="*/ 1693752 w 6884782"/>
              <a:gd name="connsiteY4642" fmla="*/ 5174113 h 5973007"/>
              <a:gd name="connsiteX4643" fmla="*/ 1696696 w 6884782"/>
              <a:gd name="connsiteY4643" fmla="*/ 5156353 h 5973007"/>
              <a:gd name="connsiteX4644" fmla="*/ 1870953 w 6884782"/>
              <a:gd name="connsiteY4644" fmla="*/ 5155011 h 5973007"/>
              <a:gd name="connsiteX4645" fmla="*/ 1873742 w 6884782"/>
              <a:gd name="connsiteY4645" fmla="*/ 5158935 h 5973007"/>
              <a:gd name="connsiteX4646" fmla="*/ 1872657 w 6884782"/>
              <a:gd name="connsiteY4646" fmla="*/ 5162239 h 5973007"/>
              <a:gd name="connsiteX4647" fmla="*/ 1873277 w 6884782"/>
              <a:gd name="connsiteY4647" fmla="*/ 5162136 h 5973007"/>
              <a:gd name="connsiteX4648" fmla="*/ 1873122 w 6884782"/>
              <a:gd name="connsiteY4648" fmla="*/ 5162755 h 5973007"/>
              <a:gd name="connsiteX4649" fmla="*/ 1876375 w 6884782"/>
              <a:gd name="connsiteY4649" fmla="*/ 5163788 h 5973007"/>
              <a:gd name="connsiteX4650" fmla="*/ 1873896 w 6884782"/>
              <a:gd name="connsiteY4650" fmla="*/ 5167712 h 5973007"/>
              <a:gd name="connsiteX4651" fmla="*/ 1871573 w 6884782"/>
              <a:gd name="connsiteY4651" fmla="*/ 5165130 h 5973007"/>
              <a:gd name="connsiteX4652" fmla="*/ 1872038 w 6884782"/>
              <a:gd name="connsiteY4652" fmla="*/ 5163684 h 5973007"/>
              <a:gd name="connsiteX4653" fmla="*/ 1872348 w 6884782"/>
              <a:gd name="connsiteY4653" fmla="*/ 5162342 h 5973007"/>
              <a:gd name="connsiteX4654" fmla="*/ 1870953 w 6884782"/>
              <a:gd name="connsiteY4654" fmla="*/ 5161619 h 5973007"/>
              <a:gd name="connsiteX4655" fmla="*/ 1867081 w 6884782"/>
              <a:gd name="connsiteY4655" fmla="*/ 5159451 h 5973007"/>
              <a:gd name="connsiteX4656" fmla="*/ 1870953 w 6884782"/>
              <a:gd name="connsiteY4656" fmla="*/ 5155011 h 5973007"/>
              <a:gd name="connsiteX4657" fmla="*/ 2573873 w 6884782"/>
              <a:gd name="connsiteY4657" fmla="*/ 5153462 h 5973007"/>
              <a:gd name="connsiteX4658" fmla="*/ 2575886 w 6884782"/>
              <a:gd name="connsiteY4658" fmla="*/ 5156353 h 5973007"/>
              <a:gd name="connsiteX4659" fmla="*/ 2568141 w 6884782"/>
              <a:gd name="connsiteY4659" fmla="*/ 5168021 h 5973007"/>
              <a:gd name="connsiteX4660" fmla="*/ 2573873 w 6884782"/>
              <a:gd name="connsiteY4660" fmla="*/ 5153462 h 5973007"/>
              <a:gd name="connsiteX4661" fmla="*/ 2395587 w 6884782"/>
              <a:gd name="connsiteY4661" fmla="*/ 5152326 h 5973007"/>
              <a:gd name="connsiteX4662" fmla="*/ 2394967 w 6884782"/>
              <a:gd name="connsiteY4662" fmla="*/ 5153152 h 5973007"/>
              <a:gd name="connsiteX4663" fmla="*/ 2396361 w 6884782"/>
              <a:gd name="connsiteY4663" fmla="*/ 5154082 h 5973007"/>
              <a:gd name="connsiteX4664" fmla="*/ 2396826 w 6884782"/>
              <a:gd name="connsiteY4664" fmla="*/ 5153255 h 5973007"/>
              <a:gd name="connsiteX4665" fmla="*/ 2397755 w 6884782"/>
              <a:gd name="connsiteY4665" fmla="*/ 5154908 h 5973007"/>
              <a:gd name="connsiteX4666" fmla="*/ 2396361 w 6884782"/>
              <a:gd name="connsiteY4666" fmla="*/ 5161619 h 5973007"/>
              <a:gd name="connsiteX4667" fmla="*/ 2392954 w 6884782"/>
              <a:gd name="connsiteY4667" fmla="*/ 5159451 h 5973007"/>
              <a:gd name="connsiteX4668" fmla="*/ 2392799 w 6884782"/>
              <a:gd name="connsiteY4668" fmla="*/ 5155837 h 5973007"/>
              <a:gd name="connsiteX4669" fmla="*/ 2395587 w 6884782"/>
              <a:gd name="connsiteY4669" fmla="*/ 5152326 h 5973007"/>
              <a:gd name="connsiteX4670" fmla="*/ 1721478 w 6884782"/>
              <a:gd name="connsiteY4670" fmla="*/ 5151913 h 5973007"/>
              <a:gd name="connsiteX4671" fmla="*/ 1721478 w 6884782"/>
              <a:gd name="connsiteY4671" fmla="*/ 5157179 h 5973007"/>
              <a:gd name="connsiteX4672" fmla="*/ 1719155 w 6884782"/>
              <a:gd name="connsiteY4672" fmla="*/ 5158935 h 5973007"/>
              <a:gd name="connsiteX4673" fmla="*/ 1716367 w 6884782"/>
              <a:gd name="connsiteY4673" fmla="*/ 5157386 h 5973007"/>
              <a:gd name="connsiteX4674" fmla="*/ 1714973 w 6884782"/>
              <a:gd name="connsiteY4674" fmla="*/ 5154082 h 5973007"/>
              <a:gd name="connsiteX4675" fmla="*/ 1721478 w 6884782"/>
              <a:gd name="connsiteY4675" fmla="*/ 5151913 h 5973007"/>
              <a:gd name="connsiteX4676" fmla="*/ 2286541 w 6884782"/>
              <a:gd name="connsiteY4676" fmla="*/ 5151294 h 5973007"/>
              <a:gd name="connsiteX4677" fmla="*/ 2288399 w 6884782"/>
              <a:gd name="connsiteY4677" fmla="*/ 5152843 h 5973007"/>
              <a:gd name="connsiteX4678" fmla="*/ 2288554 w 6884782"/>
              <a:gd name="connsiteY4678" fmla="*/ 5153772 h 5973007"/>
              <a:gd name="connsiteX4679" fmla="*/ 2286850 w 6884782"/>
              <a:gd name="connsiteY4679" fmla="*/ 5154598 h 5973007"/>
              <a:gd name="connsiteX4680" fmla="*/ 2282048 w 6884782"/>
              <a:gd name="connsiteY4680" fmla="*/ 5154598 h 5973007"/>
              <a:gd name="connsiteX4681" fmla="*/ 2278641 w 6884782"/>
              <a:gd name="connsiteY4681" fmla="*/ 5154391 h 5973007"/>
              <a:gd name="connsiteX4682" fmla="*/ 2276937 w 6884782"/>
              <a:gd name="connsiteY4682" fmla="*/ 5154391 h 5973007"/>
              <a:gd name="connsiteX4683" fmla="*/ 2275078 w 6884782"/>
              <a:gd name="connsiteY4683" fmla="*/ 5152843 h 5973007"/>
              <a:gd name="connsiteX4684" fmla="*/ 2282358 w 6884782"/>
              <a:gd name="connsiteY4684" fmla="*/ 5151500 h 5973007"/>
              <a:gd name="connsiteX4685" fmla="*/ 2286541 w 6884782"/>
              <a:gd name="connsiteY4685" fmla="*/ 5151294 h 5973007"/>
              <a:gd name="connsiteX4686" fmla="*/ 1942980 w 6884782"/>
              <a:gd name="connsiteY4686" fmla="*/ 5150777 h 5973007"/>
              <a:gd name="connsiteX4687" fmla="*/ 1940812 w 6884782"/>
              <a:gd name="connsiteY4687" fmla="*/ 5160793 h 5973007"/>
              <a:gd name="connsiteX4688" fmla="*/ 1935236 w 6884782"/>
              <a:gd name="connsiteY4688" fmla="*/ 5157696 h 5973007"/>
              <a:gd name="connsiteX4689" fmla="*/ 1942980 w 6884782"/>
              <a:gd name="connsiteY4689" fmla="*/ 5150777 h 5973007"/>
              <a:gd name="connsiteX4690" fmla="*/ 2238058 w 6884782"/>
              <a:gd name="connsiteY4690" fmla="*/ 5150468 h 5973007"/>
              <a:gd name="connsiteX4691" fmla="*/ 2216217 w 6884782"/>
              <a:gd name="connsiteY4691" fmla="*/ 5164717 h 5973007"/>
              <a:gd name="connsiteX4692" fmla="*/ 2238058 w 6884782"/>
              <a:gd name="connsiteY4692" fmla="*/ 5150468 h 5973007"/>
              <a:gd name="connsiteX4693" fmla="*/ 1989759 w 6884782"/>
              <a:gd name="connsiteY4693" fmla="*/ 5150364 h 5973007"/>
              <a:gd name="connsiteX4694" fmla="*/ 1997039 w 6884782"/>
              <a:gd name="connsiteY4694" fmla="*/ 5152223 h 5973007"/>
              <a:gd name="connsiteX4695" fmla="*/ 1995800 w 6884782"/>
              <a:gd name="connsiteY4695" fmla="*/ 5156663 h 5973007"/>
              <a:gd name="connsiteX4696" fmla="*/ 1983563 w 6884782"/>
              <a:gd name="connsiteY4696" fmla="*/ 5160897 h 5973007"/>
              <a:gd name="connsiteX4697" fmla="*/ 1985267 w 6884782"/>
              <a:gd name="connsiteY4697" fmla="*/ 5152946 h 5973007"/>
              <a:gd name="connsiteX4698" fmla="*/ 1989759 w 6884782"/>
              <a:gd name="connsiteY4698" fmla="*/ 5150364 h 5973007"/>
              <a:gd name="connsiteX4699" fmla="*/ 2450730 w 6884782"/>
              <a:gd name="connsiteY4699" fmla="*/ 5150054 h 5973007"/>
              <a:gd name="connsiteX4700" fmla="*/ 2450575 w 6884782"/>
              <a:gd name="connsiteY4700" fmla="*/ 5160071 h 5973007"/>
              <a:gd name="connsiteX4701" fmla="*/ 2446238 w 6884782"/>
              <a:gd name="connsiteY4701" fmla="*/ 5157696 h 5973007"/>
              <a:gd name="connsiteX4702" fmla="*/ 2450730 w 6884782"/>
              <a:gd name="connsiteY4702" fmla="*/ 5150054 h 5973007"/>
              <a:gd name="connsiteX4703" fmla="*/ 1701962 w 6884782"/>
              <a:gd name="connsiteY4703" fmla="*/ 5148093 h 5973007"/>
              <a:gd name="connsiteX4704" fmla="*/ 1702581 w 6884782"/>
              <a:gd name="connsiteY4704" fmla="*/ 5149951 h 5973007"/>
              <a:gd name="connsiteX4705" fmla="*/ 1701497 w 6884782"/>
              <a:gd name="connsiteY4705" fmla="*/ 5152636 h 5973007"/>
              <a:gd name="connsiteX4706" fmla="*/ 1697934 w 6884782"/>
              <a:gd name="connsiteY4706" fmla="*/ 5153462 h 5973007"/>
              <a:gd name="connsiteX4707" fmla="*/ 1697315 w 6884782"/>
              <a:gd name="connsiteY4707" fmla="*/ 5151707 h 5973007"/>
              <a:gd name="connsiteX4708" fmla="*/ 1697470 w 6884782"/>
              <a:gd name="connsiteY4708" fmla="*/ 5148919 h 5973007"/>
              <a:gd name="connsiteX4709" fmla="*/ 1701962 w 6884782"/>
              <a:gd name="connsiteY4709" fmla="*/ 5148093 h 5973007"/>
              <a:gd name="connsiteX4710" fmla="*/ 2341838 w 6884782"/>
              <a:gd name="connsiteY4710" fmla="*/ 5145511 h 5973007"/>
              <a:gd name="connsiteX4711" fmla="*/ 2340599 w 6884782"/>
              <a:gd name="connsiteY4711" fmla="*/ 5157489 h 5973007"/>
              <a:gd name="connsiteX4712" fmla="*/ 2335177 w 6884782"/>
              <a:gd name="connsiteY4712" fmla="*/ 5169880 h 5973007"/>
              <a:gd name="connsiteX4713" fmla="*/ 2341838 w 6884782"/>
              <a:gd name="connsiteY4713" fmla="*/ 5145511 h 5973007"/>
              <a:gd name="connsiteX4714" fmla="*/ 2014387 w 6884782"/>
              <a:gd name="connsiteY4714" fmla="*/ 5145305 h 5973007"/>
              <a:gd name="connsiteX4715" fmla="*/ 2015937 w 6884782"/>
              <a:gd name="connsiteY4715" fmla="*/ 5152843 h 5973007"/>
              <a:gd name="connsiteX4716" fmla="*/ 2014387 w 6884782"/>
              <a:gd name="connsiteY4716" fmla="*/ 5145305 h 5973007"/>
              <a:gd name="connsiteX4717" fmla="*/ 2206614 w 6884782"/>
              <a:gd name="connsiteY4717" fmla="*/ 5144272 h 5973007"/>
              <a:gd name="connsiteX4718" fmla="*/ 2205065 w 6884782"/>
              <a:gd name="connsiteY4718" fmla="*/ 5150054 h 5973007"/>
              <a:gd name="connsiteX4719" fmla="*/ 2199488 w 6884782"/>
              <a:gd name="connsiteY4719" fmla="*/ 5162033 h 5973007"/>
              <a:gd name="connsiteX4720" fmla="*/ 2197165 w 6884782"/>
              <a:gd name="connsiteY4720" fmla="*/ 5162652 h 5973007"/>
              <a:gd name="connsiteX4721" fmla="*/ 2196855 w 6884782"/>
              <a:gd name="connsiteY4721" fmla="*/ 5163375 h 5973007"/>
              <a:gd name="connsiteX4722" fmla="*/ 2195771 w 6884782"/>
              <a:gd name="connsiteY4722" fmla="*/ 5163684 h 5973007"/>
              <a:gd name="connsiteX4723" fmla="*/ 2194997 w 6884782"/>
              <a:gd name="connsiteY4723" fmla="*/ 5163272 h 5973007"/>
              <a:gd name="connsiteX4724" fmla="*/ 2194997 w 6884782"/>
              <a:gd name="connsiteY4724" fmla="*/ 5160793 h 5973007"/>
              <a:gd name="connsiteX4725" fmla="*/ 2195306 w 6884782"/>
              <a:gd name="connsiteY4725" fmla="*/ 5160174 h 5973007"/>
              <a:gd name="connsiteX4726" fmla="*/ 2194532 w 6884782"/>
              <a:gd name="connsiteY4726" fmla="*/ 5160277 h 5973007"/>
              <a:gd name="connsiteX4727" fmla="*/ 2187252 w 6884782"/>
              <a:gd name="connsiteY4727" fmla="*/ 5160277 h 5973007"/>
              <a:gd name="connsiteX4728" fmla="*/ 2181676 w 6884782"/>
              <a:gd name="connsiteY4728" fmla="*/ 5161000 h 5973007"/>
              <a:gd name="connsiteX4729" fmla="*/ 2180901 w 6884782"/>
              <a:gd name="connsiteY4729" fmla="*/ 5162549 h 5973007"/>
              <a:gd name="connsiteX4730" fmla="*/ 2179042 w 6884782"/>
              <a:gd name="connsiteY4730" fmla="*/ 5164201 h 5973007"/>
              <a:gd name="connsiteX4731" fmla="*/ 2177649 w 6884782"/>
              <a:gd name="connsiteY4731" fmla="*/ 5164407 h 5973007"/>
              <a:gd name="connsiteX4732" fmla="*/ 2176564 w 6884782"/>
              <a:gd name="connsiteY4732" fmla="*/ 5163375 h 5973007"/>
              <a:gd name="connsiteX4733" fmla="*/ 2178422 w 6884782"/>
              <a:gd name="connsiteY4733" fmla="*/ 5156250 h 5973007"/>
              <a:gd name="connsiteX4734" fmla="*/ 2179042 w 6884782"/>
              <a:gd name="connsiteY4734" fmla="*/ 5156663 h 5973007"/>
              <a:gd name="connsiteX4735" fmla="*/ 2179507 w 6884782"/>
              <a:gd name="connsiteY4735" fmla="*/ 5156456 h 5973007"/>
              <a:gd name="connsiteX4736" fmla="*/ 2182295 w 6884782"/>
              <a:gd name="connsiteY4736" fmla="*/ 5156456 h 5973007"/>
              <a:gd name="connsiteX4737" fmla="*/ 2186477 w 6884782"/>
              <a:gd name="connsiteY4737" fmla="*/ 5156250 h 5973007"/>
              <a:gd name="connsiteX4738" fmla="*/ 2195771 w 6884782"/>
              <a:gd name="connsiteY4738" fmla="*/ 5157386 h 5973007"/>
              <a:gd name="connsiteX4739" fmla="*/ 2196545 w 6884782"/>
              <a:gd name="connsiteY4739" fmla="*/ 5157696 h 5973007"/>
              <a:gd name="connsiteX4740" fmla="*/ 2197165 w 6884782"/>
              <a:gd name="connsiteY4740" fmla="*/ 5156456 h 5973007"/>
              <a:gd name="connsiteX4741" fmla="*/ 2198095 w 6884782"/>
              <a:gd name="connsiteY4741" fmla="*/ 5154598 h 5973007"/>
              <a:gd name="connsiteX4742" fmla="*/ 2206614 w 6884782"/>
              <a:gd name="connsiteY4742" fmla="*/ 5144272 h 5973007"/>
              <a:gd name="connsiteX4743" fmla="*/ 1614445 w 6884782"/>
              <a:gd name="connsiteY4743" fmla="*/ 5143549 h 5973007"/>
              <a:gd name="connsiteX4744" fmla="*/ 1614600 w 6884782"/>
              <a:gd name="connsiteY4744" fmla="*/ 5156973 h 5973007"/>
              <a:gd name="connsiteX4745" fmla="*/ 1607475 w 6884782"/>
              <a:gd name="connsiteY4745" fmla="*/ 5143963 h 5973007"/>
              <a:gd name="connsiteX4746" fmla="*/ 1614445 w 6884782"/>
              <a:gd name="connsiteY4746" fmla="*/ 5143549 h 5973007"/>
              <a:gd name="connsiteX4747" fmla="*/ 2743639 w 6884782"/>
              <a:gd name="connsiteY4747" fmla="*/ 5143240 h 5973007"/>
              <a:gd name="connsiteX4748" fmla="*/ 2743019 w 6884782"/>
              <a:gd name="connsiteY4748" fmla="*/ 5143963 h 5973007"/>
              <a:gd name="connsiteX4749" fmla="*/ 2741625 w 6884782"/>
              <a:gd name="connsiteY4749" fmla="*/ 5144272 h 5973007"/>
              <a:gd name="connsiteX4750" fmla="*/ 2741935 w 6884782"/>
              <a:gd name="connsiteY4750" fmla="*/ 5145718 h 5973007"/>
              <a:gd name="connsiteX4751" fmla="*/ 2742864 w 6884782"/>
              <a:gd name="connsiteY4751" fmla="*/ 5147267 h 5973007"/>
              <a:gd name="connsiteX4752" fmla="*/ 2743019 w 6884782"/>
              <a:gd name="connsiteY4752" fmla="*/ 5146750 h 5973007"/>
              <a:gd name="connsiteX4753" fmla="*/ 2744103 w 6884782"/>
              <a:gd name="connsiteY4753" fmla="*/ 5147267 h 5973007"/>
              <a:gd name="connsiteX4754" fmla="*/ 2745033 w 6884782"/>
              <a:gd name="connsiteY4754" fmla="*/ 5146854 h 5973007"/>
              <a:gd name="connsiteX4755" fmla="*/ 2744878 w 6884782"/>
              <a:gd name="connsiteY4755" fmla="*/ 5146854 h 5973007"/>
              <a:gd name="connsiteX4756" fmla="*/ 2530191 w 6884782"/>
              <a:gd name="connsiteY4756" fmla="*/ 5141175 h 5973007"/>
              <a:gd name="connsiteX4757" fmla="*/ 2535613 w 6884782"/>
              <a:gd name="connsiteY4757" fmla="*/ 5146338 h 5973007"/>
              <a:gd name="connsiteX4758" fmla="*/ 2531121 w 6884782"/>
              <a:gd name="connsiteY4758" fmla="*/ 5148299 h 5973007"/>
              <a:gd name="connsiteX4759" fmla="*/ 2528333 w 6884782"/>
              <a:gd name="connsiteY4759" fmla="*/ 5146854 h 5973007"/>
              <a:gd name="connsiteX4760" fmla="*/ 2528023 w 6884782"/>
              <a:gd name="connsiteY4760" fmla="*/ 5143756 h 5973007"/>
              <a:gd name="connsiteX4761" fmla="*/ 2530191 w 6884782"/>
              <a:gd name="connsiteY4761" fmla="*/ 5141175 h 5973007"/>
              <a:gd name="connsiteX4762" fmla="*/ 2329446 w 6884782"/>
              <a:gd name="connsiteY4762" fmla="*/ 5140968 h 5973007"/>
              <a:gd name="connsiteX4763" fmla="*/ 2335642 w 6884782"/>
              <a:gd name="connsiteY4763" fmla="*/ 5143240 h 5973007"/>
              <a:gd name="connsiteX4764" fmla="*/ 2335022 w 6884782"/>
              <a:gd name="connsiteY4764" fmla="*/ 5144995 h 5973007"/>
              <a:gd name="connsiteX4765" fmla="*/ 2332854 w 6884782"/>
              <a:gd name="connsiteY4765" fmla="*/ 5146544 h 5973007"/>
              <a:gd name="connsiteX4766" fmla="*/ 2330221 w 6884782"/>
              <a:gd name="connsiteY4766" fmla="*/ 5146131 h 5973007"/>
              <a:gd name="connsiteX4767" fmla="*/ 2329446 w 6884782"/>
              <a:gd name="connsiteY4767" fmla="*/ 5140968 h 5973007"/>
              <a:gd name="connsiteX4768" fmla="*/ 2111198 w 6884782"/>
              <a:gd name="connsiteY4768" fmla="*/ 5139626 h 5973007"/>
              <a:gd name="connsiteX4769" fmla="*/ 2118942 w 6884782"/>
              <a:gd name="connsiteY4769" fmla="*/ 5141175 h 5973007"/>
              <a:gd name="connsiteX4770" fmla="*/ 2120646 w 6884782"/>
              <a:gd name="connsiteY4770" fmla="*/ 5149848 h 5973007"/>
              <a:gd name="connsiteX4771" fmla="*/ 2111508 w 6884782"/>
              <a:gd name="connsiteY4771" fmla="*/ 5144169 h 5973007"/>
              <a:gd name="connsiteX4772" fmla="*/ 2111198 w 6884782"/>
              <a:gd name="connsiteY4772" fmla="*/ 5139626 h 5973007"/>
              <a:gd name="connsiteX4773" fmla="*/ 2555904 w 6884782"/>
              <a:gd name="connsiteY4773" fmla="*/ 5137974 h 5973007"/>
              <a:gd name="connsiteX4774" fmla="*/ 2555904 w 6884782"/>
              <a:gd name="connsiteY4774" fmla="*/ 5151397 h 5973007"/>
              <a:gd name="connsiteX4775" fmla="*/ 2548779 w 6884782"/>
              <a:gd name="connsiteY4775" fmla="*/ 5147060 h 5973007"/>
              <a:gd name="connsiteX4776" fmla="*/ 2555904 w 6884782"/>
              <a:gd name="connsiteY4776" fmla="*/ 5137974 h 5973007"/>
              <a:gd name="connsiteX4777" fmla="*/ 2063335 w 6884782"/>
              <a:gd name="connsiteY4777" fmla="*/ 5137148 h 5973007"/>
              <a:gd name="connsiteX4778" fmla="*/ 2069530 w 6884782"/>
              <a:gd name="connsiteY4778" fmla="*/ 5138593 h 5973007"/>
              <a:gd name="connsiteX4779" fmla="*/ 2066588 w 6884782"/>
              <a:gd name="connsiteY4779" fmla="*/ 5145615 h 5973007"/>
              <a:gd name="connsiteX4780" fmla="*/ 2062251 w 6884782"/>
              <a:gd name="connsiteY4780" fmla="*/ 5144169 h 5973007"/>
              <a:gd name="connsiteX4781" fmla="*/ 2063335 w 6884782"/>
              <a:gd name="connsiteY4781" fmla="*/ 5137148 h 5973007"/>
              <a:gd name="connsiteX4782" fmla="*/ 2018182 w 6884782"/>
              <a:gd name="connsiteY4782" fmla="*/ 5137057 h 5973007"/>
              <a:gd name="connsiteX4783" fmla="*/ 2022907 w 6884782"/>
              <a:gd name="connsiteY4783" fmla="*/ 5137457 h 5973007"/>
              <a:gd name="connsiteX4784" fmla="*/ 2017485 w 6884782"/>
              <a:gd name="connsiteY4784" fmla="*/ 5144479 h 5973007"/>
              <a:gd name="connsiteX4785" fmla="*/ 2016247 w 6884782"/>
              <a:gd name="connsiteY4785" fmla="*/ 5141072 h 5973007"/>
              <a:gd name="connsiteX4786" fmla="*/ 2018182 w 6884782"/>
              <a:gd name="connsiteY4786" fmla="*/ 5137057 h 5973007"/>
              <a:gd name="connsiteX4787" fmla="*/ 2324025 w 6884782"/>
              <a:gd name="connsiteY4787" fmla="*/ 5137044 h 5973007"/>
              <a:gd name="connsiteX4788" fmla="*/ 2322476 w 6884782"/>
              <a:gd name="connsiteY4788" fmla="*/ 5142207 h 5973007"/>
              <a:gd name="connsiteX4789" fmla="*/ 2324025 w 6884782"/>
              <a:gd name="connsiteY4789" fmla="*/ 5137044 h 5973007"/>
              <a:gd name="connsiteX4790" fmla="*/ 2195926 w 6884782"/>
              <a:gd name="connsiteY4790" fmla="*/ 5135702 h 5973007"/>
              <a:gd name="connsiteX4791" fmla="*/ 2199798 w 6884782"/>
              <a:gd name="connsiteY4791" fmla="*/ 5137044 h 5973007"/>
              <a:gd name="connsiteX4792" fmla="*/ 2195461 w 6884782"/>
              <a:gd name="connsiteY4792" fmla="*/ 5143756 h 5973007"/>
              <a:gd name="connsiteX4793" fmla="*/ 2192983 w 6884782"/>
              <a:gd name="connsiteY4793" fmla="*/ 5143240 h 5973007"/>
              <a:gd name="connsiteX4794" fmla="*/ 2193448 w 6884782"/>
              <a:gd name="connsiteY4794" fmla="*/ 5137044 h 5973007"/>
              <a:gd name="connsiteX4795" fmla="*/ 2195926 w 6884782"/>
              <a:gd name="connsiteY4795" fmla="*/ 5135702 h 5973007"/>
              <a:gd name="connsiteX4796" fmla="*/ 1743164 w 6884782"/>
              <a:gd name="connsiteY4796" fmla="*/ 5135186 h 5973007"/>
              <a:gd name="connsiteX4797" fmla="*/ 1735265 w 6884782"/>
              <a:gd name="connsiteY4797" fmla="*/ 5157696 h 5973007"/>
              <a:gd name="connsiteX4798" fmla="*/ 1743164 w 6884782"/>
              <a:gd name="connsiteY4798" fmla="*/ 5135186 h 5973007"/>
              <a:gd name="connsiteX4799" fmla="*/ 1676404 w 6884782"/>
              <a:gd name="connsiteY4799" fmla="*/ 5134670 h 5973007"/>
              <a:gd name="connsiteX4800" fmla="*/ 1677178 w 6884782"/>
              <a:gd name="connsiteY4800" fmla="*/ 5134670 h 5973007"/>
              <a:gd name="connsiteX4801" fmla="*/ 1674545 w 6884782"/>
              <a:gd name="connsiteY4801" fmla="*/ 5145305 h 5973007"/>
              <a:gd name="connsiteX4802" fmla="*/ 1672996 w 6884782"/>
              <a:gd name="connsiteY4802" fmla="*/ 5146234 h 5973007"/>
              <a:gd name="connsiteX4803" fmla="*/ 1671137 w 6884782"/>
              <a:gd name="connsiteY4803" fmla="*/ 5145202 h 5973007"/>
              <a:gd name="connsiteX4804" fmla="*/ 1670053 w 6884782"/>
              <a:gd name="connsiteY4804" fmla="*/ 5143653 h 5973007"/>
              <a:gd name="connsiteX4805" fmla="*/ 1671602 w 6884782"/>
              <a:gd name="connsiteY4805" fmla="*/ 5140865 h 5973007"/>
              <a:gd name="connsiteX4806" fmla="*/ 1675320 w 6884782"/>
              <a:gd name="connsiteY4806" fmla="*/ 5137354 h 5973007"/>
              <a:gd name="connsiteX4807" fmla="*/ 1676404 w 6884782"/>
              <a:gd name="connsiteY4807" fmla="*/ 5134670 h 5973007"/>
              <a:gd name="connsiteX4808" fmla="*/ 1908129 w 6884782"/>
              <a:gd name="connsiteY4808" fmla="*/ 5134463 h 5973007"/>
              <a:gd name="connsiteX4809" fmla="*/ 1893103 w 6884782"/>
              <a:gd name="connsiteY4809" fmla="*/ 5155424 h 5973007"/>
              <a:gd name="connsiteX4810" fmla="*/ 1908129 w 6884782"/>
              <a:gd name="connsiteY4810" fmla="*/ 5134463 h 5973007"/>
              <a:gd name="connsiteX4811" fmla="*/ 2370803 w 6884782"/>
              <a:gd name="connsiteY4811" fmla="*/ 5133843 h 5973007"/>
              <a:gd name="connsiteX4812" fmla="*/ 2370494 w 6884782"/>
              <a:gd name="connsiteY4812" fmla="*/ 5137148 h 5973007"/>
              <a:gd name="connsiteX4813" fmla="*/ 2370029 w 6884782"/>
              <a:gd name="connsiteY4813" fmla="*/ 5137767 h 5973007"/>
              <a:gd name="connsiteX4814" fmla="*/ 2369564 w 6884782"/>
              <a:gd name="connsiteY4814" fmla="*/ 5137148 h 5973007"/>
              <a:gd name="connsiteX4815" fmla="*/ 2370803 w 6884782"/>
              <a:gd name="connsiteY4815" fmla="*/ 5133843 h 5973007"/>
              <a:gd name="connsiteX4816" fmla="*/ 2457700 w 6884782"/>
              <a:gd name="connsiteY4816" fmla="*/ 5133120 h 5973007"/>
              <a:gd name="connsiteX4817" fmla="*/ 2463586 w 6884782"/>
              <a:gd name="connsiteY4817" fmla="*/ 5135186 h 5973007"/>
              <a:gd name="connsiteX4818" fmla="*/ 2464516 w 6884782"/>
              <a:gd name="connsiteY4818" fmla="*/ 5137767 h 5973007"/>
              <a:gd name="connsiteX4819" fmla="*/ 2463896 w 6884782"/>
              <a:gd name="connsiteY4819" fmla="*/ 5142930 h 5973007"/>
              <a:gd name="connsiteX4820" fmla="*/ 2464671 w 6884782"/>
              <a:gd name="connsiteY4820" fmla="*/ 5143033 h 5973007"/>
              <a:gd name="connsiteX4821" fmla="*/ 2459714 w 6884782"/>
              <a:gd name="connsiteY4821" fmla="*/ 5143653 h 5973007"/>
              <a:gd name="connsiteX4822" fmla="*/ 2459249 w 6884782"/>
              <a:gd name="connsiteY4822" fmla="*/ 5143137 h 5973007"/>
              <a:gd name="connsiteX4823" fmla="*/ 2459559 w 6884782"/>
              <a:gd name="connsiteY4823" fmla="*/ 5143859 h 5973007"/>
              <a:gd name="connsiteX4824" fmla="*/ 2454292 w 6884782"/>
              <a:gd name="connsiteY4824" fmla="*/ 5146647 h 5973007"/>
              <a:gd name="connsiteX4825" fmla="*/ 2448097 w 6884782"/>
              <a:gd name="connsiteY4825" fmla="*/ 5144169 h 5973007"/>
              <a:gd name="connsiteX4826" fmla="*/ 2454292 w 6884782"/>
              <a:gd name="connsiteY4826" fmla="*/ 5135909 h 5973007"/>
              <a:gd name="connsiteX4827" fmla="*/ 2455377 w 6884782"/>
              <a:gd name="connsiteY4827" fmla="*/ 5137148 h 5973007"/>
              <a:gd name="connsiteX4828" fmla="*/ 2455996 w 6884782"/>
              <a:gd name="connsiteY4828" fmla="*/ 5135392 h 5973007"/>
              <a:gd name="connsiteX4829" fmla="*/ 2457700 w 6884782"/>
              <a:gd name="connsiteY4829" fmla="*/ 5133120 h 5973007"/>
              <a:gd name="connsiteX4830" fmla="*/ 2383505 w 6884782"/>
              <a:gd name="connsiteY4830" fmla="*/ 5131055 h 5973007"/>
              <a:gd name="connsiteX4831" fmla="*/ 2387532 w 6884782"/>
              <a:gd name="connsiteY4831" fmla="*/ 5133637 h 5973007"/>
              <a:gd name="connsiteX4832" fmla="*/ 2383195 w 6884782"/>
              <a:gd name="connsiteY4832" fmla="*/ 5140349 h 5973007"/>
              <a:gd name="connsiteX4833" fmla="*/ 2378858 w 6884782"/>
              <a:gd name="connsiteY4833" fmla="*/ 5136632 h 5973007"/>
              <a:gd name="connsiteX4834" fmla="*/ 2379013 w 6884782"/>
              <a:gd name="connsiteY4834" fmla="*/ 5133947 h 5973007"/>
              <a:gd name="connsiteX4835" fmla="*/ 2381181 w 6884782"/>
              <a:gd name="connsiteY4835" fmla="*/ 5131675 h 5973007"/>
              <a:gd name="connsiteX4836" fmla="*/ 2383505 w 6884782"/>
              <a:gd name="connsiteY4836" fmla="*/ 5131055 h 5973007"/>
              <a:gd name="connsiteX4837" fmla="*/ 2037157 w 6884782"/>
              <a:gd name="connsiteY4837" fmla="*/ 5130746 h 5973007"/>
              <a:gd name="connsiteX4838" fmla="*/ 2048465 w 6884782"/>
              <a:gd name="connsiteY4838" fmla="*/ 5141691 h 5973007"/>
              <a:gd name="connsiteX4839" fmla="*/ 2046141 w 6884782"/>
              <a:gd name="connsiteY4839" fmla="*/ 5146750 h 5973007"/>
              <a:gd name="connsiteX4840" fmla="*/ 2037157 w 6884782"/>
              <a:gd name="connsiteY4840" fmla="*/ 5130746 h 5973007"/>
              <a:gd name="connsiteX4841" fmla="*/ 1918971 w 6884782"/>
              <a:gd name="connsiteY4841" fmla="*/ 5129300 h 5973007"/>
              <a:gd name="connsiteX4842" fmla="*/ 1926716 w 6884782"/>
              <a:gd name="connsiteY4842" fmla="*/ 5129507 h 5973007"/>
              <a:gd name="connsiteX4843" fmla="*/ 1927336 w 6884782"/>
              <a:gd name="connsiteY4843" fmla="*/ 5131262 h 5973007"/>
              <a:gd name="connsiteX4844" fmla="*/ 1927800 w 6884782"/>
              <a:gd name="connsiteY4844" fmla="*/ 5135702 h 5973007"/>
              <a:gd name="connsiteX4845" fmla="*/ 1924858 w 6884782"/>
              <a:gd name="connsiteY4845" fmla="*/ 5137251 h 5973007"/>
              <a:gd name="connsiteX4846" fmla="*/ 1921759 w 6884782"/>
              <a:gd name="connsiteY4846" fmla="*/ 5135496 h 5973007"/>
              <a:gd name="connsiteX4847" fmla="*/ 1920056 w 6884782"/>
              <a:gd name="connsiteY4847" fmla="*/ 5132398 h 5973007"/>
              <a:gd name="connsiteX4848" fmla="*/ 1918971 w 6884782"/>
              <a:gd name="connsiteY4848" fmla="*/ 5129300 h 5973007"/>
              <a:gd name="connsiteX4849" fmla="*/ 2564424 w 6884782"/>
              <a:gd name="connsiteY4849" fmla="*/ 5128371 h 5973007"/>
              <a:gd name="connsiteX4850" fmla="*/ 2572788 w 6884782"/>
              <a:gd name="connsiteY4850" fmla="*/ 5128681 h 5973007"/>
              <a:gd name="connsiteX4851" fmla="*/ 2576041 w 6884782"/>
              <a:gd name="connsiteY4851" fmla="*/ 5132811 h 5973007"/>
              <a:gd name="connsiteX4852" fmla="*/ 2576196 w 6884782"/>
              <a:gd name="connsiteY4852" fmla="*/ 5134463 h 5973007"/>
              <a:gd name="connsiteX4853" fmla="*/ 2576351 w 6884782"/>
              <a:gd name="connsiteY4853" fmla="*/ 5134463 h 5973007"/>
              <a:gd name="connsiteX4854" fmla="*/ 2584870 w 6884782"/>
              <a:gd name="connsiteY4854" fmla="*/ 5140142 h 5973007"/>
              <a:gd name="connsiteX4855" fmla="*/ 2579913 w 6884782"/>
              <a:gd name="connsiteY4855" fmla="*/ 5146028 h 5973007"/>
              <a:gd name="connsiteX4856" fmla="*/ 2574492 w 6884782"/>
              <a:gd name="connsiteY4856" fmla="*/ 5143446 h 5973007"/>
              <a:gd name="connsiteX4857" fmla="*/ 2572169 w 6884782"/>
              <a:gd name="connsiteY4857" fmla="*/ 5144788 h 5973007"/>
              <a:gd name="connsiteX4858" fmla="*/ 2569690 w 6884782"/>
              <a:gd name="connsiteY4858" fmla="*/ 5148403 h 5973007"/>
              <a:gd name="connsiteX4859" fmla="*/ 2564579 w 6884782"/>
              <a:gd name="connsiteY4859" fmla="*/ 5148609 h 5973007"/>
              <a:gd name="connsiteX4860" fmla="*/ 2562255 w 6884782"/>
              <a:gd name="connsiteY4860" fmla="*/ 5137044 h 5973007"/>
              <a:gd name="connsiteX4861" fmla="*/ 2563804 w 6884782"/>
              <a:gd name="connsiteY4861" fmla="*/ 5135702 h 5973007"/>
              <a:gd name="connsiteX4862" fmla="*/ 2563494 w 6884782"/>
              <a:gd name="connsiteY4862" fmla="*/ 5132605 h 5973007"/>
              <a:gd name="connsiteX4863" fmla="*/ 2564424 w 6884782"/>
              <a:gd name="connsiteY4863" fmla="*/ 5128371 h 5973007"/>
              <a:gd name="connsiteX4864" fmla="*/ 1700413 w 6884782"/>
              <a:gd name="connsiteY4864" fmla="*/ 5128164 h 5973007"/>
              <a:gd name="connsiteX4865" fmla="*/ 1701342 w 6884782"/>
              <a:gd name="connsiteY4865" fmla="*/ 5129713 h 5973007"/>
              <a:gd name="connsiteX4866" fmla="*/ 1701652 w 6884782"/>
              <a:gd name="connsiteY4866" fmla="*/ 5132088 h 5973007"/>
              <a:gd name="connsiteX4867" fmla="*/ 1703046 w 6884782"/>
              <a:gd name="connsiteY4867" fmla="*/ 5132914 h 5973007"/>
              <a:gd name="connsiteX4868" fmla="*/ 1702426 w 6884782"/>
              <a:gd name="connsiteY4868" fmla="*/ 5139832 h 5973007"/>
              <a:gd name="connsiteX4869" fmla="*/ 1701652 w 6884782"/>
              <a:gd name="connsiteY4869" fmla="*/ 5138077 h 5973007"/>
              <a:gd name="connsiteX4870" fmla="*/ 1701187 w 6884782"/>
              <a:gd name="connsiteY4870" fmla="*/ 5135909 h 5973007"/>
              <a:gd name="connsiteX4871" fmla="*/ 1700722 w 6884782"/>
              <a:gd name="connsiteY4871" fmla="*/ 5133534 h 5973007"/>
              <a:gd name="connsiteX4872" fmla="*/ 1699793 w 6884782"/>
              <a:gd name="connsiteY4872" fmla="*/ 5131882 h 5973007"/>
              <a:gd name="connsiteX4873" fmla="*/ 1700413 w 6884782"/>
              <a:gd name="connsiteY4873" fmla="*/ 5128164 h 5973007"/>
              <a:gd name="connsiteX4874" fmla="*/ 2498593 w 6884782"/>
              <a:gd name="connsiteY4874" fmla="*/ 5126719 h 5973007"/>
              <a:gd name="connsiteX4875" fmla="*/ 2500452 w 6884782"/>
              <a:gd name="connsiteY4875" fmla="*/ 5132295 h 5973007"/>
              <a:gd name="connsiteX4876" fmla="*/ 2495960 w 6884782"/>
              <a:gd name="connsiteY4876" fmla="*/ 5137974 h 5973007"/>
              <a:gd name="connsiteX4877" fmla="*/ 2494101 w 6884782"/>
              <a:gd name="connsiteY4877" fmla="*/ 5135186 h 5973007"/>
              <a:gd name="connsiteX4878" fmla="*/ 2498593 w 6884782"/>
              <a:gd name="connsiteY4878" fmla="*/ 5126719 h 5973007"/>
              <a:gd name="connsiteX4879" fmla="*/ 2015162 w 6884782"/>
              <a:gd name="connsiteY4879" fmla="*/ 5124653 h 5973007"/>
              <a:gd name="connsiteX4880" fmla="*/ 2004939 w 6884782"/>
              <a:gd name="connsiteY4880" fmla="*/ 5137148 h 5973007"/>
              <a:gd name="connsiteX4881" fmla="*/ 2015162 w 6884782"/>
              <a:gd name="connsiteY4881" fmla="*/ 5124653 h 5973007"/>
              <a:gd name="connsiteX4882" fmla="*/ 1985577 w 6884782"/>
              <a:gd name="connsiteY4882" fmla="*/ 5124447 h 5973007"/>
              <a:gd name="connsiteX4883" fmla="*/ 1992238 w 6884782"/>
              <a:gd name="connsiteY4883" fmla="*/ 5137561 h 5973007"/>
              <a:gd name="connsiteX4884" fmla="*/ 1988055 w 6884782"/>
              <a:gd name="connsiteY4884" fmla="*/ 5140865 h 5973007"/>
              <a:gd name="connsiteX4885" fmla="*/ 1979071 w 6884782"/>
              <a:gd name="connsiteY4885" fmla="*/ 5129197 h 5973007"/>
              <a:gd name="connsiteX4886" fmla="*/ 1985577 w 6884782"/>
              <a:gd name="connsiteY4886" fmla="*/ 5124447 h 5973007"/>
              <a:gd name="connsiteX4887" fmla="*/ 2445928 w 6884782"/>
              <a:gd name="connsiteY4887" fmla="*/ 5123828 h 5973007"/>
              <a:gd name="connsiteX4888" fmla="*/ 2440507 w 6884782"/>
              <a:gd name="connsiteY4888" fmla="*/ 5130333 h 5973007"/>
              <a:gd name="connsiteX4889" fmla="*/ 2438493 w 6884782"/>
              <a:gd name="connsiteY4889" fmla="*/ 5129300 h 5973007"/>
              <a:gd name="connsiteX4890" fmla="*/ 2445928 w 6884782"/>
              <a:gd name="connsiteY4890" fmla="*/ 5123828 h 5973007"/>
              <a:gd name="connsiteX4891" fmla="*/ 1663392 w 6884782"/>
              <a:gd name="connsiteY4891" fmla="*/ 5123311 h 5973007"/>
              <a:gd name="connsiteX4892" fmla="*/ 1664167 w 6884782"/>
              <a:gd name="connsiteY4892" fmla="*/ 5124653 h 5973007"/>
              <a:gd name="connsiteX4893" fmla="*/ 1667265 w 6884782"/>
              <a:gd name="connsiteY4893" fmla="*/ 5125067 h 5973007"/>
              <a:gd name="connsiteX4894" fmla="*/ 1671602 w 6884782"/>
              <a:gd name="connsiteY4894" fmla="*/ 5123518 h 5973007"/>
              <a:gd name="connsiteX4895" fmla="*/ 1666180 w 6884782"/>
              <a:gd name="connsiteY4895" fmla="*/ 5126719 h 5973007"/>
              <a:gd name="connsiteX4896" fmla="*/ 1665716 w 6884782"/>
              <a:gd name="connsiteY4896" fmla="*/ 5127958 h 5973007"/>
              <a:gd name="connsiteX4897" fmla="*/ 1665871 w 6884782"/>
              <a:gd name="connsiteY4897" fmla="*/ 5128164 h 5973007"/>
              <a:gd name="connsiteX4898" fmla="*/ 1665561 w 6884782"/>
              <a:gd name="connsiteY4898" fmla="*/ 5128474 h 5973007"/>
              <a:gd name="connsiteX4899" fmla="*/ 1665097 w 6884782"/>
              <a:gd name="connsiteY4899" fmla="*/ 5129300 h 5973007"/>
              <a:gd name="connsiteX4900" fmla="*/ 1664786 w 6884782"/>
              <a:gd name="connsiteY4900" fmla="*/ 5129507 h 5973007"/>
              <a:gd name="connsiteX4901" fmla="*/ 1663702 w 6884782"/>
              <a:gd name="connsiteY4901" fmla="*/ 5131572 h 5973007"/>
              <a:gd name="connsiteX4902" fmla="*/ 1662153 w 6884782"/>
              <a:gd name="connsiteY4902" fmla="*/ 5135392 h 5973007"/>
              <a:gd name="connsiteX4903" fmla="*/ 1659985 w 6884782"/>
              <a:gd name="connsiteY4903" fmla="*/ 5135599 h 5973007"/>
              <a:gd name="connsiteX4904" fmla="*/ 1658745 w 6884782"/>
              <a:gd name="connsiteY4904" fmla="*/ 5133327 h 5973007"/>
              <a:gd name="connsiteX4905" fmla="*/ 1659520 w 6884782"/>
              <a:gd name="connsiteY4905" fmla="*/ 5130023 h 5973007"/>
              <a:gd name="connsiteX4906" fmla="*/ 1659210 w 6884782"/>
              <a:gd name="connsiteY4906" fmla="*/ 5129197 h 5973007"/>
              <a:gd name="connsiteX4907" fmla="*/ 1660295 w 6884782"/>
              <a:gd name="connsiteY4907" fmla="*/ 5126719 h 5973007"/>
              <a:gd name="connsiteX4908" fmla="*/ 1661224 w 6884782"/>
              <a:gd name="connsiteY4908" fmla="*/ 5126099 h 5973007"/>
              <a:gd name="connsiteX4909" fmla="*/ 2106861 w 6884782"/>
              <a:gd name="connsiteY4909" fmla="*/ 5122588 h 5973007"/>
              <a:gd name="connsiteX4910" fmla="*/ 2115070 w 6884782"/>
              <a:gd name="connsiteY4910" fmla="*/ 5123724 h 5973007"/>
              <a:gd name="connsiteX4911" fmla="*/ 2112282 w 6884782"/>
              <a:gd name="connsiteY4911" fmla="*/ 5137457 h 5973007"/>
              <a:gd name="connsiteX4912" fmla="*/ 2108874 w 6884782"/>
              <a:gd name="connsiteY4912" fmla="*/ 5137664 h 5973007"/>
              <a:gd name="connsiteX4913" fmla="*/ 2106861 w 6884782"/>
              <a:gd name="connsiteY4913" fmla="*/ 5122588 h 5973007"/>
              <a:gd name="connsiteX4914" fmla="*/ 2001221 w 6884782"/>
              <a:gd name="connsiteY4914" fmla="*/ 5120937 h 5973007"/>
              <a:gd name="connsiteX4915" fmla="*/ 2005713 w 6884782"/>
              <a:gd name="connsiteY4915" fmla="*/ 5127545 h 5973007"/>
              <a:gd name="connsiteX4916" fmla="*/ 2004164 w 6884782"/>
              <a:gd name="connsiteY4916" fmla="*/ 5129610 h 5973007"/>
              <a:gd name="connsiteX4917" fmla="*/ 1998588 w 6884782"/>
              <a:gd name="connsiteY4917" fmla="*/ 5126719 h 5973007"/>
              <a:gd name="connsiteX4918" fmla="*/ 1998433 w 6884782"/>
              <a:gd name="connsiteY4918" fmla="*/ 5123828 h 5973007"/>
              <a:gd name="connsiteX4919" fmla="*/ 2001221 w 6884782"/>
              <a:gd name="connsiteY4919" fmla="*/ 5120937 h 5973007"/>
              <a:gd name="connsiteX4920" fmla="*/ 2183224 w 6884782"/>
              <a:gd name="connsiteY4920" fmla="*/ 5120110 h 5973007"/>
              <a:gd name="connsiteX4921" fmla="*/ 2190195 w 6884782"/>
              <a:gd name="connsiteY4921" fmla="*/ 5124138 h 5973007"/>
              <a:gd name="connsiteX4922" fmla="*/ 2180901 w 6884782"/>
              <a:gd name="connsiteY4922" fmla="*/ 5135599 h 5973007"/>
              <a:gd name="connsiteX4923" fmla="*/ 2176254 w 6884782"/>
              <a:gd name="connsiteY4923" fmla="*/ 5133120 h 5973007"/>
              <a:gd name="connsiteX4924" fmla="*/ 2183224 w 6884782"/>
              <a:gd name="connsiteY4924" fmla="*/ 5120110 h 5973007"/>
              <a:gd name="connsiteX4925" fmla="*/ 1586718 w 6884782"/>
              <a:gd name="connsiteY4925" fmla="*/ 5119387 h 5973007"/>
              <a:gd name="connsiteX4926" fmla="*/ 1597717 w 6884782"/>
              <a:gd name="connsiteY4926" fmla="*/ 5124653 h 5973007"/>
              <a:gd name="connsiteX4927" fmla="*/ 1595238 w 6884782"/>
              <a:gd name="connsiteY4927" fmla="*/ 5124963 h 5973007"/>
              <a:gd name="connsiteX4928" fmla="*/ 1586718 w 6884782"/>
              <a:gd name="connsiteY4928" fmla="*/ 5119387 h 5973007"/>
              <a:gd name="connsiteX4929" fmla="*/ 2219470 w 6884782"/>
              <a:gd name="connsiteY4929" fmla="*/ 5118975 h 5973007"/>
              <a:gd name="connsiteX4930" fmla="*/ 2229074 w 6884782"/>
              <a:gd name="connsiteY4930" fmla="*/ 5121040 h 5973007"/>
              <a:gd name="connsiteX4931" fmla="*/ 2226905 w 6884782"/>
              <a:gd name="connsiteY4931" fmla="*/ 5128784 h 5973007"/>
              <a:gd name="connsiteX4932" fmla="*/ 2223963 w 6884782"/>
              <a:gd name="connsiteY4932" fmla="*/ 5128577 h 5973007"/>
              <a:gd name="connsiteX4933" fmla="*/ 2225667 w 6884782"/>
              <a:gd name="connsiteY4933" fmla="*/ 5129610 h 5973007"/>
              <a:gd name="connsiteX4934" fmla="*/ 2227680 w 6884782"/>
              <a:gd name="connsiteY4934" fmla="*/ 5133637 h 5973007"/>
              <a:gd name="connsiteX4935" fmla="*/ 2222568 w 6884782"/>
              <a:gd name="connsiteY4935" fmla="*/ 5131159 h 5973007"/>
              <a:gd name="connsiteX4936" fmla="*/ 2221484 w 6884782"/>
              <a:gd name="connsiteY4936" fmla="*/ 5128371 h 5973007"/>
              <a:gd name="connsiteX4937" fmla="*/ 2220245 w 6884782"/>
              <a:gd name="connsiteY4937" fmla="*/ 5128268 h 5973007"/>
              <a:gd name="connsiteX4938" fmla="*/ 2219470 w 6884782"/>
              <a:gd name="connsiteY4938" fmla="*/ 5118975 h 5973007"/>
              <a:gd name="connsiteX4939" fmla="*/ 2238058 w 6884782"/>
              <a:gd name="connsiteY4939" fmla="*/ 5118252 h 5973007"/>
              <a:gd name="connsiteX4940" fmla="*/ 2246732 w 6884782"/>
              <a:gd name="connsiteY4940" fmla="*/ 5129094 h 5973007"/>
              <a:gd name="connsiteX4941" fmla="*/ 2242395 w 6884782"/>
              <a:gd name="connsiteY4941" fmla="*/ 5131778 h 5973007"/>
              <a:gd name="connsiteX4942" fmla="*/ 2233566 w 6884782"/>
              <a:gd name="connsiteY4942" fmla="*/ 5123415 h 5973007"/>
              <a:gd name="connsiteX4943" fmla="*/ 2238058 w 6884782"/>
              <a:gd name="connsiteY4943" fmla="*/ 5118252 h 5973007"/>
              <a:gd name="connsiteX4944" fmla="*/ 1111497 w 6884782"/>
              <a:gd name="connsiteY4944" fmla="*/ 5117942 h 5973007"/>
              <a:gd name="connsiteX4945" fmla="*/ 1111342 w 6884782"/>
              <a:gd name="connsiteY4945" fmla="*/ 5119594 h 5973007"/>
              <a:gd name="connsiteX4946" fmla="*/ 1112117 w 6884782"/>
              <a:gd name="connsiteY4946" fmla="*/ 5119594 h 5973007"/>
              <a:gd name="connsiteX4947" fmla="*/ 1111032 w 6884782"/>
              <a:gd name="connsiteY4947" fmla="*/ 5121246 h 5973007"/>
              <a:gd name="connsiteX4948" fmla="*/ 1110413 w 6884782"/>
              <a:gd name="connsiteY4948" fmla="*/ 5121246 h 5973007"/>
              <a:gd name="connsiteX4949" fmla="*/ 1110103 w 6884782"/>
              <a:gd name="connsiteY4949" fmla="*/ 5121453 h 5973007"/>
              <a:gd name="connsiteX4950" fmla="*/ 1108864 w 6884782"/>
              <a:gd name="connsiteY4950" fmla="*/ 5120420 h 5973007"/>
              <a:gd name="connsiteX4951" fmla="*/ 1107934 w 6884782"/>
              <a:gd name="connsiteY4951" fmla="*/ 5119491 h 5973007"/>
              <a:gd name="connsiteX4952" fmla="*/ 1108089 w 6884782"/>
              <a:gd name="connsiteY4952" fmla="*/ 5118665 h 5973007"/>
              <a:gd name="connsiteX4953" fmla="*/ 1111497 w 6884782"/>
              <a:gd name="connsiteY4953" fmla="*/ 5117942 h 5973007"/>
              <a:gd name="connsiteX4954" fmla="*/ 1731082 w 6884782"/>
              <a:gd name="connsiteY4954" fmla="*/ 5117736 h 5973007"/>
              <a:gd name="connsiteX4955" fmla="*/ 1731547 w 6884782"/>
              <a:gd name="connsiteY4955" fmla="*/ 5120214 h 5973007"/>
              <a:gd name="connsiteX4956" fmla="*/ 1732941 w 6884782"/>
              <a:gd name="connsiteY4956" fmla="*/ 5121040 h 5973007"/>
              <a:gd name="connsiteX4957" fmla="*/ 1732166 w 6884782"/>
              <a:gd name="connsiteY4957" fmla="*/ 5123828 h 5973007"/>
              <a:gd name="connsiteX4958" fmla="*/ 1731082 w 6884782"/>
              <a:gd name="connsiteY4958" fmla="*/ 5117736 h 5973007"/>
              <a:gd name="connsiteX4959" fmla="*/ 1923773 w 6884782"/>
              <a:gd name="connsiteY4959" fmla="*/ 5116393 h 5973007"/>
              <a:gd name="connsiteX4960" fmla="*/ 1926251 w 6884782"/>
              <a:gd name="connsiteY4960" fmla="*/ 5117013 h 5973007"/>
              <a:gd name="connsiteX4961" fmla="*/ 1923463 w 6884782"/>
              <a:gd name="connsiteY4961" fmla="*/ 5118355 h 5973007"/>
              <a:gd name="connsiteX4962" fmla="*/ 1923308 w 6884782"/>
              <a:gd name="connsiteY4962" fmla="*/ 5117219 h 5973007"/>
              <a:gd name="connsiteX4963" fmla="*/ 1922844 w 6884782"/>
              <a:gd name="connsiteY4963" fmla="*/ 5117942 h 5973007"/>
              <a:gd name="connsiteX4964" fmla="*/ 1923153 w 6884782"/>
              <a:gd name="connsiteY4964" fmla="*/ 5116806 h 5973007"/>
              <a:gd name="connsiteX4965" fmla="*/ 1923773 w 6884782"/>
              <a:gd name="connsiteY4965" fmla="*/ 5116393 h 5973007"/>
              <a:gd name="connsiteX4966" fmla="*/ 2276724 w 6884782"/>
              <a:gd name="connsiteY4966" fmla="*/ 5116238 h 5973007"/>
              <a:gd name="connsiteX4967" fmla="*/ 2284681 w 6884782"/>
              <a:gd name="connsiteY4967" fmla="*/ 5120110 h 5973007"/>
              <a:gd name="connsiteX4968" fmla="*/ 2283907 w 6884782"/>
              <a:gd name="connsiteY4968" fmla="*/ 5123518 h 5973007"/>
              <a:gd name="connsiteX4969" fmla="*/ 2279570 w 6884782"/>
              <a:gd name="connsiteY4969" fmla="*/ 5126512 h 5973007"/>
              <a:gd name="connsiteX4970" fmla="*/ 2275698 w 6884782"/>
              <a:gd name="connsiteY4970" fmla="*/ 5128164 h 5973007"/>
              <a:gd name="connsiteX4971" fmla="*/ 2276007 w 6884782"/>
              <a:gd name="connsiteY4971" fmla="*/ 5134360 h 5973007"/>
              <a:gd name="connsiteX4972" fmla="*/ 2272600 w 6884782"/>
              <a:gd name="connsiteY4972" fmla="*/ 5139316 h 5973007"/>
              <a:gd name="connsiteX4973" fmla="*/ 2270431 w 6884782"/>
              <a:gd name="connsiteY4973" fmla="*/ 5133637 h 5973007"/>
              <a:gd name="connsiteX4974" fmla="*/ 2270276 w 6884782"/>
              <a:gd name="connsiteY4974" fmla="*/ 5127029 h 5973007"/>
              <a:gd name="connsiteX4975" fmla="*/ 2267953 w 6884782"/>
              <a:gd name="connsiteY4975" fmla="*/ 5125583 h 5973007"/>
              <a:gd name="connsiteX4976" fmla="*/ 2267488 w 6884782"/>
              <a:gd name="connsiteY4976" fmla="*/ 5122898 h 5973007"/>
              <a:gd name="connsiteX4977" fmla="*/ 2276724 w 6884782"/>
              <a:gd name="connsiteY4977" fmla="*/ 5116238 h 5973007"/>
              <a:gd name="connsiteX4978" fmla="*/ 2470247 w 6884782"/>
              <a:gd name="connsiteY4978" fmla="*/ 5115774 h 5973007"/>
              <a:gd name="connsiteX4979" fmla="*/ 2480625 w 6884782"/>
              <a:gd name="connsiteY4979" fmla="*/ 5120523 h 5973007"/>
              <a:gd name="connsiteX4980" fmla="*/ 2483723 w 6884782"/>
              <a:gd name="connsiteY4980" fmla="*/ 5135392 h 5973007"/>
              <a:gd name="connsiteX4981" fmla="*/ 2474894 w 6884782"/>
              <a:gd name="connsiteY4981" fmla="*/ 5138903 h 5973007"/>
              <a:gd name="connsiteX4982" fmla="*/ 2469472 w 6884782"/>
              <a:gd name="connsiteY4982" fmla="*/ 5136425 h 5973007"/>
              <a:gd name="connsiteX4983" fmla="*/ 2466994 w 6884782"/>
              <a:gd name="connsiteY4983" fmla="*/ 5120833 h 5973007"/>
              <a:gd name="connsiteX4984" fmla="*/ 2468698 w 6884782"/>
              <a:gd name="connsiteY4984" fmla="*/ 5119181 h 5973007"/>
              <a:gd name="connsiteX4985" fmla="*/ 2470247 w 6884782"/>
              <a:gd name="connsiteY4985" fmla="*/ 5115774 h 5973007"/>
              <a:gd name="connsiteX4986" fmla="*/ 2610428 w 6884782"/>
              <a:gd name="connsiteY4986" fmla="*/ 5115361 h 5973007"/>
              <a:gd name="connsiteX4987" fmla="*/ 2609653 w 6884782"/>
              <a:gd name="connsiteY4987" fmla="*/ 5120523 h 5973007"/>
              <a:gd name="connsiteX4988" fmla="*/ 2610428 w 6884782"/>
              <a:gd name="connsiteY4988" fmla="*/ 5115361 h 5973007"/>
              <a:gd name="connsiteX4989" fmla="*/ 1930434 w 6884782"/>
              <a:gd name="connsiteY4989" fmla="*/ 5115257 h 5973007"/>
              <a:gd name="connsiteX4990" fmla="*/ 1933222 w 6884782"/>
              <a:gd name="connsiteY4990" fmla="*/ 5117116 h 5973007"/>
              <a:gd name="connsiteX4991" fmla="*/ 1929504 w 6884782"/>
              <a:gd name="connsiteY4991" fmla="*/ 5117942 h 5973007"/>
              <a:gd name="connsiteX4992" fmla="*/ 1926406 w 6884782"/>
              <a:gd name="connsiteY4992" fmla="*/ 5116909 h 5973007"/>
              <a:gd name="connsiteX4993" fmla="*/ 1930434 w 6884782"/>
              <a:gd name="connsiteY4993" fmla="*/ 5115257 h 5973007"/>
              <a:gd name="connsiteX4994" fmla="*/ 1781114 w 6884782"/>
              <a:gd name="connsiteY4994" fmla="*/ 5115257 h 5973007"/>
              <a:gd name="connsiteX4995" fmla="*/ 1787155 w 6884782"/>
              <a:gd name="connsiteY4995" fmla="*/ 5116600 h 5973007"/>
              <a:gd name="connsiteX4996" fmla="*/ 1788239 w 6884782"/>
              <a:gd name="connsiteY4996" fmla="*/ 5119181 h 5973007"/>
              <a:gd name="connsiteX4997" fmla="*/ 1788239 w 6884782"/>
              <a:gd name="connsiteY4997" fmla="*/ 5124344 h 5973007"/>
              <a:gd name="connsiteX4998" fmla="*/ 1789013 w 6884782"/>
              <a:gd name="connsiteY4998" fmla="*/ 5124344 h 5973007"/>
              <a:gd name="connsiteX4999" fmla="*/ 1784211 w 6884782"/>
              <a:gd name="connsiteY4999" fmla="*/ 5125583 h 5973007"/>
              <a:gd name="connsiteX5000" fmla="*/ 1781114 w 6884782"/>
              <a:gd name="connsiteY5000" fmla="*/ 5115257 h 5973007"/>
              <a:gd name="connsiteX5001" fmla="*/ 2302649 w 6884782"/>
              <a:gd name="connsiteY5001" fmla="*/ 5115154 h 5973007"/>
              <a:gd name="connsiteX5002" fmla="*/ 2311323 w 6884782"/>
              <a:gd name="connsiteY5002" fmla="*/ 5121040 h 5973007"/>
              <a:gd name="connsiteX5003" fmla="*/ 2309000 w 6884782"/>
              <a:gd name="connsiteY5003" fmla="*/ 5130333 h 5973007"/>
              <a:gd name="connsiteX5004" fmla="*/ 2310084 w 6884782"/>
              <a:gd name="connsiteY5004" fmla="*/ 5131985 h 5973007"/>
              <a:gd name="connsiteX5005" fmla="*/ 2310239 w 6884782"/>
              <a:gd name="connsiteY5005" fmla="*/ 5135909 h 5973007"/>
              <a:gd name="connsiteX5006" fmla="*/ 2308380 w 6884782"/>
              <a:gd name="connsiteY5006" fmla="*/ 5135805 h 5973007"/>
              <a:gd name="connsiteX5007" fmla="*/ 2307451 w 6884782"/>
              <a:gd name="connsiteY5007" fmla="*/ 5131469 h 5973007"/>
              <a:gd name="connsiteX5008" fmla="*/ 2306676 w 6884782"/>
              <a:gd name="connsiteY5008" fmla="*/ 5131055 h 5973007"/>
              <a:gd name="connsiteX5009" fmla="*/ 2304508 w 6884782"/>
              <a:gd name="connsiteY5009" fmla="*/ 5131675 h 5973007"/>
              <a:gd name="connsiteX5010" fmla="*/ 2296918 w 6884782"/>
              <a:gd name="connsiteY5010" fmla="*/ 5127442 h 5973007"/>
              <a:gd name="connsiteX5011" fmla="*/ 2298467 w 6884782"/>
              <a:gd name="connsiteY5011" fmla="*/ 5117736 h 5973007"/>
              <a:gd name="connsiteX5012" fmla="*/ 2302649 w 6884782"/>
              <a:gd name="connsiteY5012" fmla="*/ 5115154 h 5973007"/>
              <a:gd name="connsiteX5013" fmla="*/ 2536058 w 6884782"/>
              <a:gd name="connsiteY5013" fmla="*/ 5114831 h 5973007"/>
              <a:gd name="connsiteX5014" fmla="*/ 2549244 w 6884782"/>
              <a:gd name="connsiteY5014" fmla="*/ 5118561 h 5973007"/>
              <a:gd name="connsiteX5015" fmla="*/ 2552187 w 6884782"/>
              <a:gd name="connsiteY5015" fmla="*/ 5125893 h 5973007"/>
              <a:gd name="connsiteX5016" fmla="*/ 2550638 w 6884782"/>
              <a:gd name="connsiteY5016" fmla="*/ 5130643 h 5973007"/>
              <a:gd name="connsiteX5017" fmla="*/ 2550948 w 6884782"/>
              <a:gd name="connsiteY5017" fmla="*/ 5131262 h 5973007"/>
              <a:gd name="connsiteX5018" fmla="*/ 2550328 w 6884782"/>
              <a:gd name="connsiteY5018" fmla="*/ 5131469 h 5973007"/>
              <a:gd name="connsiteX5019" fmla="*/ 2550173 w 6884782"/>
              <a:gd name="connsiteY5019" fmla="*/ 5131985 h 5973007"/>
              <a:gd name="connsiteX5020" fmla="*/ 2537782 w 6884782"/>
              <a:gd name="connsiteY5020" fmla="*/ 5137354 h 5973007"/>
              <a:gd name="connsiteX5021" fmla="*/ 2522757 w 6884782"/>
              <a:gd name="connsiteY5021" fmla="*/ 5123415 h 5973007"/>
              <a:gd name="connsiteX5022" fmla="*/ 2536058 w 6884782"/>
              <a:gd name="connsiteY5022" fmla="*/ 5114831 h 5973007"/>
              <a:gd name="connsiteX5023" fmla="*/ 2421455 w 6884782"/>
              <a:gd name="connsiteY5023" fmla="*/ 5114741 h 5973007"/>
              <a:gd name="connsiteX5024" fmla="*/ 2427495 w 6884782"/>
              <a:gd name="connsiteY5024" fmla="*/ 5116393 h 5973007"/>
              <a:gd name="connsiteX5025" fmla="*/ 2423933 w 6884782"/>
              <a:gd name="connsiteY5025" fmla="*/ 5116393 h 5973007"/>
              <a:gd name="connsiteX5026" fmla="*/ 2421455 w 6884782"/>
              <a:gd name="connsiteY5026" fmla="*/ 5114741 h 5973007"/>
              <a:gd name="connsiteX5027" fmla="*/ 1458929 w 6884782"/>
              <a:gd name="connsiteY5027" fmla="*/ 5113709 h 5973007"/>
              <a:gd name="connsiteX5028" fmla="*/ 1473645 w 6884782"/>
              <a:gd name="connsiteY5028" fmla="*/ 5119181 h 5973007"/>
              <a:gd name="connsiteX5029" fmla="*/ 1472560 w 6884782"/>
              <a:gd name="connsiteY5029" fmla="*/ 5120937 h 5973007"/>
              <a:gd name="connsiteX5030" fmla="*/ 1470237 w 6884782"/>
              <a:gd name="connsiteY5030" fmla="*/ 5121556 h 5973007"/>
              <a:gd name="connsiteX5031" fmla="*/ 1462647 w 6884782"/>
              <a:gd name="connsiteY5031" fmla="*/ 5118975 h 5973007"/>
              <a:gd name="connsiteX5032" fmla="*/ 1461098 w 6884782"/>
              <a:gd name="connsiteY5032" fmla="*/ 5118148 h 5973007"/>
              <a:gd name="connsiteX5033" fmla="*/ 1459394 w 6884782"/>
              <a:gd name="connsiteY5033" fmla="*/ 5117219 h 5973007"/>
              <a:gd name="connsiteX5034" fmla="*/ 1458620 w 6884782"/>
              <a:gd name="connsiteY5034" fmla="*/ 5115774 h 5973007"/>
              <a:gd name="connsiteX5035" fmla="*/ 1458929 w 6884782"/>
              <a:gd name="connsiteY5035" fmla="*/ 5113709 h 5973007"/>
              <a:gd name="connsiteX5036" fmla="*/ 1568751 w 6884782"/>
              <a:gd name="connsiteY5036" fmla="*/ 5113089 h 5973007"/>
              <a:gd name="connsiteX5037" fmla="*/ 1570145 w 6884782"/>
              <a:gd name="connsiteY5037" fmla="*/ 5116600 h 5973007"/>
              <a:gd name="connsiteX5038" fmla="*/ 1564879 w 6884782"/>
              <a:gd name="connsiteY5038" fmla="*/ 5118252 h 5973007"/>
              <a:gd name="connsiteX5039" fmla="*/ 1563640 w 6884782"/>
              <a:gd name="connsiteY5039" fmla="*/ 5114741 h 5973007"/>
              <a:gd name="connsiteX5040" fmla="*/ 1568751 w 6884782"/>
              <a:gd name="connsiteY5040" fmla="*/ 5113089 h 5973007"/>
              <a:gd name="connsiteX5041" fmla="*/ 2130250 w 6884782"/>
              <a:gd name="connsiteY5041" fmla="*/ 5112779 h 5973007"/>
              <a:gd name="connsiteX5042" fmla="*/ 2128856 w 6884782"/>
              <a:gd name="connsiteY5042" fmla="*/ 5125170 h 5973007"/>
              <a:gd name="connsiteX5043" fmla="*/ 2124054 w 6884782"/>
              <a:gd name="connsiteY5043" fmla="*/ 5123724 h 5973007"/>
              <a:gd name="connsiteX5044" fmla="*/ 2130250 w 6884782"/>
              <a:gd name="connsiteY5044" fmla="*/ 5112779 h 5973007"/>
              <a:gd name="connsiteX5045" fmla="*/ 2053111 w 6884782"/>
              <a:gd name="connsiteY5045" fmla="*/ 5112470 h 5973007"/>
              <a:gd name="connsiteX5046" fmla="*/ 2063799 w 6884782"/>
              <a:gd name="connsiteY5046" fmla="*/ 5112986 h 5973007"/>
              <a:gd name="connsiteX5047" fmla="*/ 2059307 w 6884782"/>
              <a:gd name="connsiteY5047" fmla="*/ 5118975 h 5973007"/>
              <a:gd name="connsiteX5048" fmla="*/ 2055745 w 6884782"/>
              <a:gd name="connsiteY5048" fmla="*/ 5118458 h 5973007"/>
              <a:gd name="connsiteX5049" fmla="*/ 2053111 w 6884782"/>
              <a:gd name="connsiteY5049" fmla="*/ 5112470 h 5973007"/>
              <a:gd name="connsiteX5050" fmla="*/ 1967454 w 6884782"/>
              <a:gd name="connsiteY5050" fmla="*/ 5111334 h 5973007"/>
              <a:gd name="connsiteX5051" fmla="*/ 1970242 w 6884782"/>
              <a:gd name="connsiteY5051" fmla="*/ 5113192 h 5973007"/>
              <a:gd name="connsiteX5052" fmla="*/ 1969468 w 6884782"/>
              <a:gd name="connsiteY5052" fmla="*/ 5115774 h 5973007"/>
              <a:gd name="connsiteX5053" fmla="*/ 1968073 w 6884782"/>
              <a:gd name="connsiteY5053" fmla="*/ 5113709 h 5973007"/>
              <a:gd name="connsiteX5054" fmla="*/ 1967454 w 6884782"/>
              <a:gd name="connsiteY5054" fmla="*/ 5111334 h 5973007"/>
              <a:gd name="connsiteX5055" fmla="*/ 2346640 w 6884782"/>
              <a:gd name="connsiteY5055" fmla="*/ 5111024 h 5973007"/>
              <a:gd name="connsiteX5056" fmla="*/ 2347569 w 6884782"/>
              <a:gd name="connsiteY5056" fmla="*/ 5114431 h 5973007"/>
              <a:gd name="connsiteX5057" fmla="*/ 2346175 w 6884782"/>
              <a:gd name="connsiteY5057" fmla="*/ 5114844 h 5973007"/>
              <a:gd name="connsiteX5058" fmla="*/ 2344161 w 6884782"/>
              <a:gd name="connsiteY5058" fmla="*/ 5113502 h 5973007"/>
              <a:gd name="connsiteX5059" fmla="*/ 2460914 w 6884782"/>
              <a:gd name="connsiteY5059" fmla="*/ 5110469 h 5973007"/>
              <a:gd name="connsiteX5060" fmla="*/ 2462812 w 6884782"/>
              <a:gd name="connsiteY5060" fmla="*/ 5115877 h 5973007"/>
              <a:gd name="connsiteX5061" fmla="*/ 2455996 w 6884782"/>
              <a:gd name="connsiteY5061" fmla="*/ 5111024 h 5973007"/>
              <a:gd name="connsiteX5062" fmla="*/ 2460914 w 6884782"/>
              <a:gd name="connsiteY5062" fmla="*/ 5110469 h 5973007"/>
              <a:gd name="connsiteX5063" fmla="*/ 2340443 w 6884782"/>
              <a:gd name="connsiteY5063" fmla="*/ 5110404 h 5973007"/>
              <a:gd name="connsiteX5064" fmla="*/ 2341683 w 6884782"/>
              <a:gd name="connsiteY5064" fmla="*/ 5112160 h 5973007"/>
              <a:gd name="connsiteX5065" fmla="*/ 2341373 w 6884782"/>
              <a:gd name="connsiteY5065" fmla="*/ 5113709 h 5973007"/>
              <a:gd name="connsiteX5066" fmla="*/ 2343387 w 6884782"/>
              <a:gd name="connsiteY5066" fmla="*/ 5114225 h 5973007"/>
              <a:gd name="connsiteX5067" fmla="*/ 2346175 w 6884782"/>
              <a:gd name="connsiteY5067" fmla="*/ 5121349 h 5973007"/>
              <a:gd name="connsiteX5068" fmla="*/ 2344471 w 6884782"/>
              <a:gd name="connsiteY5068" fmla="*/ 5122072 h 5973007"/>
              <a:gd name="connsiteX5069" fmla="*/ 2342457 w 6884782"/>
              <a:gd name="connsiteY5069" fmla="*/ 5122588 h 5973007"/>
              <a:gd name="connsiteX5070" fmla="*/ 2337965 w 6884782"/>
              <a:gd name="connsiteY5070" fmla="*/ 5120937 h 5973007"/>
              <a:gd name="connsiteX5071" fmla="*/ 2335952 w 6884782"/>
              <a:gd name="connsiteY5071" fmla="*/ 5117322 h 5973007"/>
              <a:gd name="connsiteX5072" fmla="*/ 2335952 w 6884782"/>
              <a:gd name="connsiteY5072" fmla="*/ 5115567 h 5973007"/>
              <a:gd name="connsiteX5073" fmla="*/ 2337191 w 6884782"/>
              <a:gd name="connsiteY5073" fmla="*/ 5114844 h 5973007"/>
              <a:gd name="connsiteX5074" fmla="*/ 2336726 w 6884782"/>
              <a:gd name="connsiteY5074" fmla="*/ 5114328 h 5973007"/>
              <a:gd name="connsiteX5075" fmla="*/ 2336416 w 6884782"/>
              <a:gd name="connsiteY5075" fmla="*/ 5111643 h 5973007"/>
              <a:gd name="connsiteX5076" fmla="*/ 2340443 w 6884782"/>
              <a:gd name="connsiteY5076" fmla="*/ 5110404 h 5973007"/>
              <a:gd name="connsiteX5077" fmla="*/ 1965440 w 6884782"/>
              <a:gd name="connsiteY5077" fmla="*/ 5109991 h 5973007"/>
              <a:gd name="connsiteX5078" fmla="*/ 1966989 w 6884782"/>
              <a:gd name="connsiteY5078" fmla="*/ 5110920 h 5973007"/>
              <a:gd name="connsiteX5079" fmla="*/ 1966525 w 6884782"/>
              <a:gd name="connsiteY5079" fmla="*/ 5111643 h 5973007"/>
              <a:gd name="connsiteX5080" fmla="*/ 1965595 w 6884782"/>
              <a:gd name="connsiteY5080" fmla="*/ 5110920 h 5973007"/>
              <a:gd name="connsiteX5081" fmla="*/ 1965440 w 6884782"/>
              <a:gd name="connsiteY5081" fmla="*/ 5109991 h 5973007"/>
              <a:gd name="connsiteX5082" fmla="*/ 1708622 w 6884782"/>
              <a:gd name="connsiteY5082" fmla="*/ 5108855 h 5973007"/>
              <a:gd name="connsiteX5083" fmla="*/ 1711720 w 6884782"/>
              <a:gd name="connsiteY5083" fmla="*/ 5114121 h 5973007"/>
              <a:gd name="connsiteX5084" fmla="*/ 1705834 w 6884782"/>
              <a:gd name="connsiteY5084" fmla="*/ 5120937 h 5973007"/>
              <a:gd name="connsiteX5085" fmla="*/ 1702891 w 6884782"/>
              <a:gd name="connsiteY5085" fmla="*/ 5120937 h 5973007"/>
              <a:gd name="connsiteX5086" fmla="*/ 1699638 w 6884782"/>
              <a:gd name="connsiteY5086" fmla="*/ 5117839 h 5973007"/>
              <a:gd name="connsiteX5087" fmla="*/ 1708622 w 6884782"/>
              <a:gd name="connsiteY5087" fmla="*/ 5108855 h 5973007"/>
              <a:gd name="connsiteX5088" fmla="*/ 1617853 w 6884782"/>
              <a:gd name="connsiteY5088" fmla="*/ 5108546 h 5973007"/>
              <a:gd name="connsiteX5089" fmla="*/ 1618163 w 6884782"/>
              <a:gd name="connsiteY5089" fmla="*/ 5108855 h 5973007"/>
              <a:gd name="connsiteX5090" fmla="*/ 1626682 w 6884782"/>
              <a:gd name="connsiteY5090" fmla="*/ 5113192 h 5973007"/>
              <a:gd name="connsiteX5091" fmla="*/ 1627766 w 6884782"/>
              <a:gd name="connsiteY5091" fmla="*/ 5118458 h 5973007"/>
              <a:gd name="connsiteX5092" fmla="*/ 1625133 w 6884782"/>
              <a:gd name="connsiteY5092" fmla="*/ 5119284 h 5973007"/>
              <a:gd name="connsiteX5093" fmla="*/ 1621416 w 6884782"/>
              <a:gd name="connsiteY5093" fmla="*/ 5117116 h 5973007"/>
              <a:gd name="connsiteX5094" fmla="*/ 1621416 w 6884782"/>
              <a:gd name="connsiteY5094" fmla="*/ 5118975 h 5973007"/>
              <a:gd name="connsiteX5095" fmla="*/ 1619402 w 6884782"/>
              <a:gd name="connsiteY5095" fmla="*/ 5123105 h 5973007"/>
              <a:gd name="connsiteX5096" fmla="*/ 1613206 w 6884782"/>
              <a:gd name="connsiteY5096" fmla="*/ 5119181 h 5973007"/>
              <a:gd name="connsiteX5097" fmla="*/ 1613516 w 6884782"/>
              <a:gd name="connsiteY5097" fmla="*/ 5109681 h 5973007"/>
              <a:gd name="connsiteX5098" fmla="*/ 1617853 w 6884782"/>
              <a:gd name="connsiteY5098" fmla="*/ 5108546 h 5973007"/>
              <a:gd name="connsiteX5099" fmla="*/ 1666645 w 6884782"/>
              <a:gd name="connsiteY5099" fmla="*/ 5108133 h 5973007"/>
              <a:gd name="connsiteX5100" fmla="*/ 1670053 w 6884782"/>
              <a:gd name="connsiteY5100" fmla="*/ 5114948 h 5973007"/>
              <a:gd name="connsiteX5101" fmla="*/ 1668504 w 6884782"/>
              <a:gd name="connsiteY5101" fmla="*/ 5115877 h 5973007"/>
              <a:gd name="connsiteX5102" fmla="*/ 1666490 w 6884782"/>
              <a:gd name="connsiteY5102" fmla="*/ 5116600 h 5973007"/>
              <a:gd name="connsiteX5103" fmla="*/ 1664476 w 6884782"/>
              <a:gd name="connsiteY5103" fmla="*/ 5116496 h 5973007"/>
              <a:gd name="connsiteX5104" fmla="*/ 1661843 w 6884782"/>
              <a:gd name="connsiteY5104" fmla="*/ 5115361 h 5973007"/>
              <a:gd name="connsiteX5105" fmla="*/ 1659675 w 6884782"/>
              <a:gd name="connsiteY5105" fmla="*/ 5112056 h 5973007"/>
              <a:gd name="connsiteX5106" fmla="*/ 1659520 w 6884782"/>
              <a:gd name="connsiteY5106" fmla="*/ 5110198 h 5973007"/>
              <a:gd name="connsiteX5107" fmla="*/ 1666645 w 6884782"/>
              <a:gd name="connsiteY5107" fmla="*/ 5108133 h 5973007"/>
              <a:gd name="connsiteX5108" fmla="*/ 2625143 w 6884782"/>
              <a:gd name="connsiteY5108" fmla="*/ 5108029 h 5973007"/>
              <a:gd name="connsiteX5109" fmla="*/ 2626072 w 6884782"/>
              <a:gd name="connsiteY5109" fmla="*/ 5110611 h 5973007"/>
              <a:gd name="connsiteX5110" fmla="*/ 2625298 w 6884782"/>
              <a:gd name="connsiteY5110" fmla="*/ 5113192 h 5973007"/>
              <a:gd name="connsiteX5111" fmla="*/ 2623904 w 6884782"/>
              <a:gd name="connsiteY5111" fmla="*/ 5113502 h 5973007"/>
              <a:gd name="connsiteX5112" fmla="*/ 2622045 w 6884782"/>
              <a:gd name="connsiteY5112" fmla="*/ 5112986 h 5973007"/>
              <a:gd name="connsiteX5113" fmla="*/ 2622665 w 6884782"/>
              <a:gd name="connsiteY5113" fmla="*/ 5108752 h 5973007"/>
              <a:gd name="connsiteX5114" fmla="*/ 2625143 w 6884782"/>
              <a:gd name="connsiteY5114" fmla="*/ 5108029 h 5973007"/>
              <a:gd name="connsiteX5115" fmla="*/ 1725816 w 6884782"/>
              <a:gd name="connsiteY5115" fmla="*/ 5108029 h 5973007"/>
              <a:gd name="connsiteX5116" fmla="*/ 1728449 w 6884782"/>
              <a:gd name="connsiteY5116" fmla="*/ 5108649 h 5973007"/>
              <a:gd name="connsiteX5117" fmla="*/ 1728294 w 6884782"/>
              <a:gd name="connsiteY5117" fmla="*/ 5111747 h 5973007"/>
              <a:gd name="connsiteX5118" fmla="*/ 1730463 w 6884782"/>
              <a:gd name="connsiteY5118" fmla="*/ 5114225 h 5973007"/>
              <a:gd name="connsiteX5119" fmla="*/ 1730463 w 6884782"/>
              <a:gd name="connsiteY5119" fmla="*/ 5117322 h 5973007"/>
              <a:gd name="connsiteX5120" fmla="*/ 1729533 w 6884782"/>
              <a:gd name="connsiteY5120" fmla="*/ 5117529 h 5973007"/>
              <a:gd name="connsiteX5121" fmla="*/ 1729688 w 6884782"/>
              <a:gd name="connsiteY5121" fmla="*/ 5116909 h 5973007"/>
              <a:gd name="connsiteX5122" fmla="*/ 1729379 w 6884782"/>
              <a:gd name="connsiteY5122" fmla="*/ 5114535 h 5973007"/>
              <a:gd name="connsiteX5123" fmla="*/ 1725661 w 6884782"/>
              <a:gd name="connsiteY5123" fmla="*/ 5109991 h 5973007"/>
              <a:gd name="connsiteX5124" fmla="*/ 1725816 w 6884782"/>
              <a:gd name="connsiteY5124" fmla="*/ 5108029 h 5973007"/>
              <a:gd name="connsiteX5125" fmla="*/ 1963117 w 6884782"/>
              <a:gd name="connsiteY5125" fmla="*/ 5107513 h 5973007"/>
              <a:gd name="connsiteX5126" fmla="*/ 1962962 w 6884782"/>
              <a:gd name="connsiteY5126" fmla="*/ 5109372 h 5973007"/>
              <a:gd name="connsiteX5127" fmla="*/ 1962033 w 6884782"/>
              <a:gd name="connsiteY5127" fmla="*/ 5107823 h 5973007"/>
              <a:gd name="connsiteX5128" fmla="*/ 1963117 w 6884782"/>
              <a:gd name="connsiteY5128" fmla="*/ 5107513 h 5973007"/>
              <a:gd name="connsiteX5129" fmla="*/ 1821696 w 6884782"/>
              <a:gd name="connsiteY5129" fmla="*/ 5106171 h 5973007"/>
              <a:gd name="connsiteX5130" fmla="*/ 1844312 w 6884782"/>
              <a:gd name="connsiteY5130" fmla="*/ 5115361 h 5973007"/>
              <a:gd name="connsiteX5131" fmla="*/ 1848803 w 6884782"/>
              <a:gd name="connsiteY5131" fmla="*/ 5121349 h 5973007"/>
              <a:gd name="connsiteX5132" fmla="*/ 1832539 w 6884782"/>
              <a:gd name="connsiteY5132" fmla="*/ 5119491 h 5973007"/>
              <a:gd name="connsiteX5133" fmla="*/ 1826189 w 6884782"/>
              <a:gd name="connsiteY5133" fmla="*/ 5135289 h 5973007"/>
              <a:gd name="connsiteX5134" fmla="*/ 1824175 w 6884782"/>
              <a:gd name="connsiteY5134" fmla="*/ 5131365 h 5973007"/>
              <a:gd name="connsiteX5135" fmla="*/ 1826034 w 6884782"/>
              <a:gd name="connsiteY5135" fmla="*/ 5115567 h 5973007"/>
              <a:gd name="connsiteX5136" fmla="*/ 1821696 w 6884782"/>
              <a:gd name="connsiteY5136" fmla="*/ 5106171 h 5973007"/>
              <a:gd name="connsiteX5137" fmla="*/ 1855154 w 6884782"/>
              <a:gd name="connsiteY5137" fmla="*/ 5105551 h 5973007"/>
              <a:gd name="connsiteX5138" fmla="*/ 1860731 w 6884782"/>
              <a:gd name="connsiteY5138" fmla="*/ 5110094 h 5973007"/>
              <a:gd name="connsiteX5139" fmla="*/ 1856703 w 6884782"/>
              <a:gd name="connsiteY5139" fmla="*/ 5109372 h 5973007"/>
              <a:gd name="connsiteX5140" fmla="*/ 1855154 w 6884782"/>
              <a:gd name="connsiteY5140" fmla="*/ 5105551 h 5973007"/>
              <a:gd name="connsiteX5141" fmla="*/ 1755401 w 6884782"/>
              <a:gd name="connsiteY5141" fmla="*/ 5105448 h 5973007"/>
              <a:gd name="connsiteX5142" fmla="*/ 1763146 w 6884782"/>
              <a:gd name="connsiteY5142" fmla="*/ 5107616 h 5973007"/>
              <a:gd name="connsiteX5143" fmla="*/ 1753387 w 6884782"/>
              <a:gd name="connsiteY5143" fmla="*/ 5123828 h 5973007"/>
              <a:gd name="connsiteX5144" fmla="*/ 1751374 w 6884782"/>
              <a:gd name="connsiteY5144" fmla="*/ 5119904 h 5973007"/>
              <a:gd name="connsiteX5145" fmla="*/ 1755401 w 6884782"/>
              <a:gd name="connsiteY5145" fmla="*/ 5105448 h 5973007"/>
              <a:gd name="connsiteX5146" fmla="*/ 1735729 w 6884782"/>
              <a:gd name="connsiteY5146" fmla="*/ 5105035 h 5973007"/>
              <a:gd name="connsiteX5147" fmla="*/ 1743009 w 6884782"/>
              <a:gd name="connsiteY5147" fmla="*/ 5132398 h 5973007"/>
              <a:gd name="connsiteX5148" fmla="*/ 1735729 w 6884782"/>
              <a:gd name="connsiteY5148" fmla="*/ 5105035 h 5973007"/>
              <a:gd name="connsiteX5149" fmla="*/ 1666955 w 6884782"/>
              <a:gd name="connsiteY5149" fmla="*/ 5105035 h 5973007"/>
              <a:gd name="connsiteX5150" fmla="*/ 1668349 w 6884782"/>
              <a:gd name="connsiteY5150" fmla="*/ 5105035 h 5973007"/>
              <a:gd name="connsiteX5151" fmla="*/ 1667575 w 6884782"/>
              <a:gd name="connsiteY5151" fmla="*/ 5105758 h 5973007"/>
              <a:gd name="connsiteX5152" fmla="*/ 1666955 w 6884782"/>
              <a:gd name="connsiteY5152" fmla="*/ 5105035 h 5973007"/>
              <a:gd name="connsiteX5153" fmla="*/ 1669433 w 6884782"/>
              <a:gd name="connsiteY5153" fmla="*/ 5104519 h 5973007"/>
              <a:gd name="connsiteX5154" fmla="*/ 1670828 w 6884782"/>
              <a:gd name="connsiteY5154" fmla="*/ 5107823 h 5973007"/>
              <a:gd name="connsiteX5155" fmla="*/ 1669433 w 6884782"/>
              <a:gd name="connsiteY5155" fmla="*/ 5108546 h 5973007"/>
              <a:gd name="connsiteX5156" fmla="*/ 1667265 w 6884782"/>
              <a:gd name="connsiteY5156" fmla="*/ 5107307 h 5973007"/>
              <a:gd name="connsiteX5157" fmla="*/ 2770159 w 6884782"/>
              <a:gd name="connsiteY5157" fmla="*/ 5103802 h 5973007"/>
              <a:gd name="connsiteX5158" fmla="*/ 2769335 w 6884782"/>
              <a:gd name="connsiteY5158" fmla="*/ 5104754 h 5973007"/>
              <a:gd name="connsiteX5159" fmla="*/ 2769816 w 6884782"/>
              <a:gd name="connsiteY5159" fmla="*/ 5104932 h 5973007"/>
              <a:gd name="connsiteX5160" fmla="*/ 2770126 w 6884782"/>
              <a:gd name="connsiteY5160" fmla="*/ 5108959 h 5973007"/>
              <a:gd name="connsiteX5161" fmla="*/ 2766873 w 6884782"/>
              <a:gd name="connsiteY5161" fmla="*/ 5110611 h 5973007"/>
              <a:gd name="connsiteX5162" fmla="*/ 2765250 w 6884782"/>
              <a:gd name="connsiteY5162" fmla="*/ 5109472 h 5973007"/>
              <a:gd name="connsiteX5163" fmla="*/ 2758990 w 6884782"/>
              <a:gd name="connsiteY5163" fmla="*/ 5116703 h 5973007"/>
              <a:gd name="connsiteX5164" fmla="*/ 2760213 w 6884782"/>
              <a:gd name="connsiteY5164" fmla="*/ 5119904 h 5973007"/>
              <a:gd name="connsiteX5165" fmla="*/ 2760522 w 6884782"/>
              <a:gd name="connsiteY5165" fmla="*/ 5121246 h 5973007"/>
              <a:gd name="connsiteX5166" fmla="*/ 2760832 w 6884782"/>
              <a:gd name="connsiteY5166" fmla="*/ 5121453 h 5973007"/>
              <a:gd name="connsiteX5167" fmla="*/ 2777716 w 6884782"/>
              <a:gd name="connsiteY5167" fmla="*/ 5134153 h 5973007"/>
              <a:gd name="connsiteX5168" fmla="*/ 2767338 w 6884782"/>
              <a:gd name="connsiteY5168" fmla="*/ 5133120 h 5973007"/>
              <a:gd name="connsiteX5169" fmla="*/ 2763310 w 6884782"/>
              <a:gd name="connsiteY5169" fmla="*/ 5131262 h 5973007"/>
              <a:gd name="connsiteX5170" fmla="*/ 2765944 w 6884782"/>
              <a:gd name="connsiteY5170" fmla="*/ 5137354 h 5973007"/>
              <a:gd name="connsiteX5171" fmla="*/ 2770900 w 6884782"/>
              <a:gd name="connsiteY5171" fmla="*/ 5145924 h 5973007"/>
              <a:gd name="connsiteX5172" fmla="*/ 2773999 w 6884782"/>
              <a:gd name="connsiteY5172" fmla="*/ 5160483 h 5973007"/>
              <a:gd name="connsiteX5173" fmla="*/ 2781278 w 6884782"/>
              <a:gd name="connsiteY5173" fmla="*/ 5181445 h 5973007"/>
              <a:gd name="connsiteX5174" fmla="*/ 2783602 w 6884782"/>
              <a:gd name="connsiteY5174" fmla="*/ 5186711 h 5973007"/>
              <a:gd name="connsiteX5175" fmla="*/ 2790418 w 6884782"/>
              <a:gd name="connsiteY5175" fmla="*/ 5183510 h 5973007"/>
              <a:gd name="connsiteX5176" fmla="*/ 2795994 w 6884782"/>
              <a:gd name="connsiteY5176" fmla="*/ 5199927 h 5973007"/>
              <a:gd name="connsiteX5177" fmla="*/ 2793206 w 6884782"/>
              <a:gd name="connsiteY5177" fmla="*/ 5206639 h 5973007"/>
              <a:gd name="connsiteX5178" fmla="*/ 2798937 w 6884782"/>
              <a:gd name="connsiteY5178" fmla="*/ 5217068 h 5973007"/>
              <a:gd name="connsiteX5179" fmla="*/ 2807146 w 6884782"/>
              <a:gd name="connsiteY5179" fmla="*/ 5233176 h 5973007"/>
              <a:gd name="connsiteX5180" fmla="*/ 2802189 w 6884782"/>
              <a:gd name="connsiteY5180" fmla="*/ 5233073 h 5973007"/>
              <a:gd name="connsiteX5181" fmla="*/ 2800950 w 6884782"/>
              <a:gd name="connsiteY5181" fmla="*/ 5234415 h 5973007"/>
              <a:gd name="connsiteX5182" fmla="*/ 2801725 w 6884782"/>
              <a:gd name="connsiteY5182" fmla="*/ 5235964 h 5973007"/>
              <a:gd name="connsiteX5183" fmla="*/ 2805752 w 6884782"/>
              <a:gd name="connsiteY5183" fmla="*/ 5238855 h 5973007"/>
              <a:gd name="connsiteX5184" fmla="*/ 2806527 w 6884782"/>
              <a:gd name="connsiteY5184" fmla="*/ 5239578 h 5973007"/>
              <a:gd name="connsiteX5185" fmla="*/ 2806682 w 6884782"/>
              <a:gd name="connsiteY5185" fmla="*/ 5239578 h 5973007"/>
              <a:gd name="connsiteX5186" fmla="*/ 2807920 w 6884782"/>
              <a:gd name="connsiteY5186" fmla="*/ 5234931 h 5973007"/>
              <a:gd name="connsiteX5187" fmla="*/ 2814271 w 6884782"/>
              <a:gd name="connsiteY5187" fmla="*/ 5243502 h 5973007"/>
              <a:gd name="connsiteX5188" fmla="*/ 2816440 w 6884782"/>
              <a:gd name="connsiteY5188" fmla="*/ 5243398 h 5973007"/>
              <a:gd name="connsiteX5189" fmla="*/ 2820932 w 6884782"/>
              <a:gd name="connsiteY5189" fmla="*/ 5245773 h 5973007"/>
              <a:gd name="connsiteX5190" fmla="*/ 2824030 w 6884782"/>
              <a:gd name="connsiteY5190" fmla="*/ 5253414 h 5973007"/>
              <a:gd name="connsiteX5191" fmla="*/ 2820777 w 6884782"/>
              <a:gd name="connsiteY5191" fmla="*/ 5254756 h 5973007"/>
              <a:gd name="connsiteX5192" fmla="*/ 2821242 w 6884782"/>
              <a:gd name="connsiteY5192" fmla="*/ 5255582 h 5973007"/>
              <a:gd name="connsiteX5193" fmla="*/ 2835028 w 6884782"/>
              <a:gd name="connsiteY5193" fmla="*/ 5277163 h 5973007"/>
              <a:gd name="connsiteX5194" fmla="*/ 2828832 w 6884782"/>
              <a:gd name="connsiteY5194" fmla="*/ 5276027 h 5973007"/>
              <a:gd name="connsiteX5195" fmla="*/ 2838900 w 6884782"/>
              <a:gd name="connsiteY5195" fmla="*/ 5284391 h 5973007"/>
              <a:gd name="connsiteX5196" fmla="*/ 2833169 w 6884782"/>
              <a:gd name="connsiteY5196" fmla="*/ 5280364 h 5973007"/>
              <a:gd name="connsiteX5197" fmla="*/ 2844321 w 6884782"/>
              <a:gd name="connsiteY5197" fmla="*/ 5296575 h 5973007"/>
              <a:gd name="connsiteX5198" fmla="*/ 2845251 w 6884782"/>
              <a:gd name="connsiteY5198" fmla="*/ 5293581 h 5973007"/>
              <a:gd name="connsiteX5199" fmla="*/ 2843237 w 6884782"/>
              <a:gd name="connsiteY5199" fmla="*/ 5292858 h 5973007"/>
              <a:gd name="connsiteX5200" fmla="*/ 2843702 w 6884782"/>
              <a:gd name="connsiteY5200" fmla="*/ 5288831 h 5973007"/>
              <a:gd name="connsiteX5201" fmla="*/ 2842772 w 6884782"/>
              <a:gd name="connsiteY5201" fmla="*/ 5286456 h 5973007"/>
              <a:gd name="connsiteX5202" fmla="*/ 2840759 w 6884782"/>
              <a:gd name="connsiteY5202" fmla="*/ 5280983 h 5973007"/>
              <a:gd name="connsiteX5203" fmla="*/ 2844321 w 6884782"/>
              <a:gd name="connsiteY5203" fmla="*/ 5278299 h 5973007"/>
              <a:gd name="connsiteX5204" fmla="*/ 2854389 w 6884782"/>
              <a:gd name="connsiteY5204" fmla="*/ 5289967 h 5973007"/>
              <a:gd name="connsiteX5205" fmla="*/ 2850362 w 6884782"/>
              <a:gd name="connsiteY5205" fmla="*/ 5292755 h 5973007"/>
              <a:gd name="connsiteX5206" fmla="*/ 2847729 w 6884782"/>
              <a:gd name="connsiteY5206" fmla="*/ 5292032 h 5973007"/>
              <a:gd name="connsiteX5207" fmla="*/ 2846490 w 6884782"/>
              <a:gd name="connsiteY5207" fmla="*/ 5293994 h 5973007"/>
              <a:gd name="connsiteX5208" fmla="*/ 2845715 w 6884782"/>
              <a:gd name="connsiteY5208" fmla="*/ 5293787 h 5973007"/>
              <a:gd name="connsiteX5209" fmla="*/ 2847419 w 6884782"/>
              <a:gd name="connsiteY5209" fmla="*/ 5297298 h 5973007"/>
              <a:gd name="connsiteX5210" fmla="*/ 2850362 w 6884782"/>
              <a:gd name="connsiteY5210" fmla="*/ 5302151 h 5973007"/>
              <a:gd name="connsiteX5211" fmla="*/ 2852686 w 6884782"/>
              <a:gd name="connsiteY5211" fmla="*/ 5306384 h 5973007"/>
              <a:gd name="connsiteX5212" fmla="*/ 2853150 w 6884782"/>
              <a:gd name="connsiteY5212" fmla="*/ 5305972 h 5973007"/>
              <a:gd name="connsiteX5213" fmla="*/ 2856868 w 6884782"/>
              <a:gd name="connsiteY5213" fmla="*/ 5306178 h 5973007"/>
              <a:gd name="connsiteX5214" fmla="*/ 2858262 w 6884782"/>
              <a:gd name="connsiteY5214" fmla="*/ 5307108 h 5973007"/>
              <a:gd name="connsiteX5215" fmla="*/ 2858107 w 6884782"/>
              <a:gd name="connsiteY5215" fmla="*/ 5311754 h 5973007"/>
              <a:gd name="connsiteX5216" fmla="*/ 2856868 w 6884782"/>
              <a:gd name="connsiteY5216" fmla="*/ 5312993 h 5973007"/>
              <a:gd name="connsiteX5217" fmla="*/ 2863838 w 6884782"/>
              <a:gd name="connsiteY5217" fmla="*/ 5320737 h 5973007"/>
              <a:gd name="connsiteX5218" fmla="*/ 2870809 w 6884782"/>
              <a:gd name="connsiteY5218" fmla="*/ 5322802 h 5973007"/>
              <a:gd name="connsiteX5219" fmla="*/ 2872048 w 6884782"/>
              <a:gd name="connsiteY5219" fmla="*/ 5330030 h 5973007"/>
              <a:gd name="connsiteX5220" fmla="*/ 2872822 w 6884782"/>
              <a:gd name="connsiteY5220" fmla="*/ 5330237 h 5973007"/>
              <a:gd name="connsiteX5221" fmla="*/ 2877469 w 6884782"/>
              <a:gd name="connsiteY5221" fmla="*/ 5325074 h 5973007"/>
              <a:gd name="connsiteX5222" fmla="*/ 2882426 w 6884782"/>
              <a:gd name="connsiteY5222" fmla="*/ 5321253 h 5973007"/>
              <a:gd name="connsiteX5223" fmla="*/ 2877934 w 6884782"/>
              <a:gd name="connsiteY5223" fmla="*/ 5317433 h 5973007"/>
              <a:gd name="connsiteX5224" fmla="*/ 2871273 w 6884782"/>
              <a:gd name="connsiteY5224" fmla="*/ 5308346 h 5973007"/>
              <a:gd name="connsiteX5225" fmla="*/ 2869724 w 6884782"/>
              <a:gd name="connsiteY5225" fmla="*/ 5304836 h 5973007"/>
              <a:gd name="connsiteX5226" fmla="*/ 2866626 w 6884782"/>
              <a:gd name="connsiteY5226" fmla="*/ 5305455 h 5973007"/>
              <a:gd name="connsiteX5227" fmla="*/ 2863683 w 6884782"/>
              <a:gd name="connsiteY5227" fmla="*/ 5303287 h 5973007"/>
              <a:gd name="connsiteX5228" fmla="*/ 2866007 w 6884782"/>
              <a:gd name="connsiteY5228" fmla="*/ 5298124 h 5973007"/>
              <a:gd name="connsiteX5229" fmla="*/ 2866781 w 6884782"/>
              <a:gd name="connsiteY5229" fmla="*/ 5298021 h 5973007"/>
              <a:gd name="connsiteX5230" fmla="*/ 2865077 w 6884782"/>
              <a:gd name="connsiteY5230" fmla="*/ 5287076 h 5973007"/>
              <a:gd name="connsiteX5231" fmla="*/ 2866317 w 6884782"/>
              <a:gd name="connsiteY5231" fmla="*/ 5276130 h 5973007"/>
              <a:gd name="connsiteX5232" fmla="*/ 2867091 w 6884782"/>
              <a:gd name="connsiteY5232" fmla="*/ 5274582 h 5973007"/>
              <a:gd name="connsiteX5233" fmla="*/ 2865542 w 6884782"/>
              <a:gd name="connsiteY5233" fmla="*/ 5271381 h 5973007"/>
              <a:gd name="connsiteX5234" fmla="*/ 2867401 w 6884782"/>
              <a:gd name="connsiteY5234" fmla="*/ 5266941 h 5973007"/>
              <a:gd name="connsiteX5235" fmla="*/ 2870189 w 6884782"/>
              <a:gd name="connsiteY5235" fmla="*/ 5268077 h 5973007"/>
              <a:gd name="connsiteX5236" fmla="*/ 2871118 w 6884782"/>
              <a:gd name="connsiteY5236" fmla="*/ 5266011 h 5973007"/>
              <a:gd name="connsiteX5237" fmla="*/ 2882735 w 6884782"/>
              <a:gd name="connsiteY5237" fmla="*/ 5267044 h 5973007"/>
              <a:gd name="connsiteX5238" fmla="*/ 2882890 w 6884782"/>
              <a:gd name="connsiteY5238" fmla="*/ 5267044 h 5973007"/>
              <a:gd name="connsiteX5239" fmla="*/ 2882890 w 6884782"/>
              <a:gd name="connsiteY5239" fmla="*/ 5265185 h 5973007"/>
              <a:gd name="connsiteX5240" fmla="*/ 2879173 w 6884782"/>
              <a:gd name="connsiteY5240" fmla="*/ 5262191 h 5973007"/>
              <a:gd name="connsiteX5241" fmla="*/ 2879638 w 6884782"/>
              <a:gd name="connsiteY5241" fmla="*/ 5254756 h 5973007"/>
              <a:gd name="connsiteX5242" fmla="*/ 2874991 w 6884782"/>
              <a:gd name="connsiteY5242" fmla="*/ 5245050 h 5973007"/>
              <a:gd name="connsiteX5243" fmla="*/ 2874216 w 6884782"/>
              <a:gd name="connsiteY5243" fmla="*/ 5249387 h 5973007"/>
              <a:gd name="connsiteX5244" fmla="*/ 2870809 w 6884782"/>
              <a:gd name="connsiteY5244" fmla="*/ 5239991 h 5973007"/>
              <a:gd name="connsiteX5245" fmla="*/ 2863529 w 6884782"/>
              <a:gd name="connsiteY5245" fmla="*/ 5231730 h 5973007"/>
              <a:gd name="connsiteX5246" fmla="*/ 2865387 w 6884782"/>
              <a:gd name="connsiteY5246" fmla="*/ 5228529 h 5973007"/>
              <a:gd name="connsiteX5247" fmla="*/ 2859656 w 6884782"/>
              <a:gd name="connsiteY5247" fmla="*/ 5228219 h 5973007"/>
              <a:gd name="connsiteX5248" fmla="*/ 2863838 w 6884782"/>
              <a:gd name="connsiteY5248" fmla="*/ 5224296 h 5973007"/>
              <a:gd name="connsiteX5249" fmla="*/ 2848813 w 6884782"/>
              <a:gd name="connsiteY5249" fmla="*/ 5217378 h 5973007"/>
              <a:gd name="connsiteX5250" fmla="*/ 2849898 w 6884782"/>
              <a:gd name="connsiteY5250" fmla="*/ 5207878 h 5973007"/>
              <a:gd name="connsiteX5251" fmla="*/ 2845406 w 6884782"/>
              <a:gd name="connsiteY5251" fmla="*/ 5202096 h 5973007"/>
              <a:gd name="connsiteX5252" fmla="*/ 2838745 w 6884782"/>
              <a:gd name="connsiteY5252" fmla="*/ 5202303 h 5973007"/>
              <a:gd name="connsiteX5253" fmla="*/ 2831775 w 6884782"/>
              <a:gd name="connsiteY5253" fmla="*/ 5188776 h 5973007"/>
              <a:gd name="connsiteX5254" fmla="*/ 2831155 w 6884782"/>
              <a:gd name="connsiteY5254" fmla="*/ 5179586 h 5973007"/>
              <a:gd name="connsiteX5255" fmla="*/ 2828367 w 6884782"/>
              <a:gd name="connsiteY5255" fmla="*/ 5174526 h 5973007"/>
              <a:gd name="connsiteX5256" fmla="*/ 2826973 w 6884782"/>
              <a:gd name="connsiteY5256" fmla="*/ 5176282 h 5973007"/>
              <a:gd name="connsiteX5257" fmla="*/ 2828212 w 6884782"/>
              <a:gd name="connsiteY5257" fmla="*/ 5176901 h 5973007"/>
              <a:gd name="connsiteX5258" fmla="*/ 2830071 w 6884782"/>
              <a:gd name="connsiteY5258" fmla="*/ 5180722 h 5973007"/>
              <a:gd name="connsiteX5259" fmla="*/ 2826818 w 6884782"/>
              <a:gd name="connsiteY5259" fmla="*/ 5177521 h 5973007"/>
              <a:gd name="connsiteX5260" fmla="*/ 2822791 w 6884782"/>
              <a:gd name="connsiteY5260" fmla="*/ 5190221 h 5973007"/>
              <a:gd name="connsiteX5261" fmla="*/ 2823875 w 6884782"/>
              <a:gd name="connsiteY5261" fmla="*/ 5195074 h 5973007"/>
              <a:gd name="connsiteX5262" fmla="*/ 2826354 w 6884782"/>
              <a:gd name="connsiteY5262" fmla="*/ 5194868 h 5973007"/>
              <a:gd name="connsiteX5263" fmla="*/ 2828677 w 6884782"/>
              <a:gd name="connsiteY5263" fmla="*/ 5195590 h 5973007"/>
              <a:gd name="connsiteX5264" fmla="*/ 2826818 w 6884782"/>
              <a:gd name="connsiteY5264" fmla="*/ 5197449 h 5973007"/>
              <a:gd name="connsiteX5265" fmla="*/ 2825734 w 6884782"/>
              <a:gd name="connsiteY5265" fmla="*/ 5197759 h 5973007"/>
              <a:gd name="connsiteX5266" fmla="*/ 2825424 w 6884782"/>
              <a:gd name="connsiteY5266" fmla="*/ 5198585 h 5973007"/>
              <a:gd name="connsiteX5267" fmla="*/ 2824650 w 6884782"/>
              <a:gd name="connsiteY5267" fmla="*/ 5198172 h 5973007"/>
              <a:gd name="connsiteX5268" fmla="*/ 2824495 w 6884782"/>
              <a:gd name="connsiteY5268" fmla="*/ 5198275 h 5973007"/>
              <a:gd name="connsiteX5269" fmla="*/ 2825424 w 6884782"/>
              <a:gd name="connsiteY5269" fmla="*/ 5202818 h 5973007"/>
              <a:gd name="connsiteX5270" fmla="*/ 2825579 w 6884782"/>
              <a:gd name="connsiteY5270" fmla="*/ 5202818 h 5973007"/>
              <a:gd name="connsiteX5271" fmla="*/ 2833788 w 6884782"/>
              <a:gd name="connsiteY5271" fmla="*/ 5204161 h 5973007"/>
              <a:gd name="connsiteX5272" fmla="*/ 2846645 w 6884782"/>
              <a:gd name="connsiteY5272" fmla="*/ 5227497 h 5973007"/>
              <a:gd name="connsiteX5273" fmla="*/ 2844631 w 6884782"/>
              <a:gd name="connsiteY5273" fmla="*/ 5229459 h 5973007"/>
              <a:gd name="connsiteX5274" fmla="*/ 2836267 w 6884782"/>
              <a:gd name="connsiteY5274" fmla="*/ 5231008 h 5973007"/>
              <a:gd name="connsiteX5275" fmla="*/ 2817060 w 6884782"/>
              <a:gd name="connsiteY5275" fmla="*/ 5216655 h 5973007"/>
              <a:gd name="connsiteX5276" fmla="*/ 2815821 w 6884782"/>
              <a:gd name="connsiteY5276" fmla="*/ 5211182 h 5973007"/>
              <a:gd name="connsiteX5277" fmla="*/ 2816440 w 6884782"/>
              <a:gd name="connsiteY5277" fmla="*/ 5205813 h 5973007"/>
              <a:gd name="connsiteX5278" fmla="*/ 2815356 w 6884782"/>
              <a:gd name="connsiteY5278" fmla="*/ 5205710 h 5973007"/>
              <a:gd name="connsiteX5279" fmla="*/ 2812878 w 6884782"/>
              <a:gd name="connsiteY5279" fmla="*/ 5202922 h 5973007"/>
              <a:gd name="connsiteX5280" fmla="*/ 2812878 w 6884782"/>
              <a:gd name="connsiteY5280" fmla="*/ 5202612 h 5973007"/>
              <a:gd name="connsiteX5281" fmla="*/ 2812103 w 6884782"/>
              <a:gd name="connsiteY5281" fmla="*/ 5202612 h 5973007"/>
              <a:gd name="connsiteX5282" fmla="*/ 2811328 w 6884782"/>
              <a:gd name="connsiteY5282" fmla="*/ 5200237 h 5973007"/>
              <a:gd name="connsiteX5283" fmla="*/ 2809160 w 6884782"/>
              <a:gd name="connsiteY5283" fmla="*/ 5200857 h 5973007"/>
              <a:gd name="connsiteX5284" fmla="*/ 2799711 w 6884782"/>
              <a:gd name="connsiteY5284" fmla="*/ 5194558 h 5973007"/>
              <a:gd name="connsiteX5285" fmla="*/ 2799092 w 6884782"/>
              <a:gd name="connsiteY5285" fmla="*/ 5189395 h 5973007"/>
              <a:gd name="connsiteX5286" fmla="*/ 2799401 w 6884782"/>
              <a:gd name="connsiteY5286" fmla="*/ 5188879 h 5973007"/>
              <a:gd name="connsiteX5287" fmla="*/ 2795994 w 6884782"/>
              <a:gd name="connsiteY5287" fmla="*/ 5188053 h 5973007"/>
              <a:gd name="connsiteX5288" fmla="*/ 2797543 w 6884782"/>
              <a:gd name="connsiteY5288" fmla="*/ 5182684 h 5973007"/>
              <a:gd name="connsiteX5289" fmla="*/ 2805442 w 6884782"/>
              <a:gd name="connsiteY5289" fmla="*/ 5184439 h 5973007"/>
              <a:gd name="connsiteX5290" fmla="*/ 2806836 w 6884782"/>
              <a:gd name="connsiteY5290" fmla="*/ 5185058 h 5973007"/>
              <a:gd name="connsiteX5291" fmla="*/ 2809160 w 6884782"/>
              <a:gd name="connsiteY5291" fmla="*/ 5185265 h 5973007"/>
              <a:gd name="connsiteX5292" fmla="*/ 2813652 w 6884782"/>
              <a:gd name="connsiteY5292" fmla="*/ 5188982 h 5973007"/>
              <a:gd name="connsiteX5293" fmla="*/ 2815046 w 6884782"/>
              <a:gd name="connsiteY5293" fmla="*/ 5194145 h 5973007"/>
              <a:gd name="connsiteX5294" fmla="*/ 2814426 w 6884782"/>
              <a:gd name="connsiteY5294" fmla="*/ 5197036 h 5973007"/>
              <a:gd name="connsiteX5295" fmla="*/ 2818764 w 6884782"/>
              <a:gd name="connsiteY5295" fmla="*/ 5194868 h 5973007"/>
              <a:gd name="connsiteX5296" fmla="*/ 2819073 w 6884782"/>
              <a:gd name="connsiteY5296" fmla="*/ 5196107 h 5973007"/>
              <a:gd name="connsiteX5297" fmla="*/ 2820157 w 6884782"/>
              <a:gd name="connsiteY5297" fmla="*/ 5195797 h 5973007"/>
              <a:gd name="connsiteX5298" fmla="*/ 2819383 w 6884782"/>
              <a:gd name="connsiteY5298" fmla="*/ 5193525 h 5973007"/>
              <a:gd name="connsiteX5299" fmla="*/ 2819538 w 6884782"/>
              <a:gd name="connsiteY5299" fmla="*/ 5186504 h 5973007"/>
              <a:gd name="connsiteX5300" fmla="*/ 2816440 w 6884782"/>
              <a:gd name="connsiteY5300" fmla="*/ 5184439 h 5973007"/>
              <a:gd name="connsiteX5301" fmla="*/ 2814271 w 6884782"/>
              <a:gd name="connsiteY5301" fmla="*/ 5181754 h 5973007"/>
              <a:gd name="connsiteX5302" fmla="*/ 2813807 w 6884782"/>
              <a:gd name="connsiteY5302" fmla="*/ 5181961 h 5973007"/>
              <a:gd name="connsiteX5303" fmla="*/ 2797853 w 6884782"/>
              <a:gd name="connsiteY5303" fmla="*/ 5176488 h 5973007"/>
              <a:gd name="connsiteX5304" fmla="*/ 2797233 w 6884782"/>
              <a:gd name="connsiteY5304" fmla="*/ 5175766 h 5973007"/>
              <a:gd name="connsiteX5305" fmla="*/ 2797697 w 6884782"/>
              <a:gd name="connsiteY5305" fmla="*/ 5177108 h 5973007"/>
              <a:gd name="connsiteX5306" fmla="*/ 2796768 w 6884782"/>
              <a:gd name="connsiteY5306" fmla="*/ 5178863 h 5973007"/>
              <a:gd name="connsiteX5307" fmla="*/ 2793980 w 6884782"/>
              <a:gd name="connsiteY5307" fmla="*/ 5181754 h 5973007"/>
              <a:gd name="connsiteX5308" fmla="*/ 2791037 w 6884782"/>
              <a:gd name="connsiteY5308" fmla="*/ 5180206 h 5973007"/>
              <a:gd name="connsiteX5309" fmla="*/ 2790418 w 6884782"/>
              <a:gd name="connsiteY5309" fmla="*/ 5176488 h 5973007"/>
              <a:gd name="connsiteX5310" fmla="*/ 2793206 w 6884782"/>
              <a:gd name="connsiteY5310" fmla="*/ 5170293 h 5973007"/>
              <a:gd name="connsiteX5311" fmla="*/ 2794445 w 6884782"/>
              <a:gd name="connsiteY5311" fmla="*/ 5171222 h 5973007"/>
              <a:gd name="connsiteX5312" fmla="*/ 2795994 w 6884782"/>
              <a:gd name="connsiteY5312" fmla="*/ 5168641 h 5973007"/>
              <a:gd name="connsiteX5313" fmla="*/ 2795839 w 6884782"/>
              <a:gd name="connsiteY5313" fmla="*/ 5168744 h 5973007"/>
              <a:gd name="connsiteX5314" fmla="*/ 2795064 w 6884782"/>
              <a:gd name="connsiteY5314" fmla="*/ 5161826 h 5973007"/>
              <a:gd name="connsiteX5315" fmla="*/ 2792431 w 6884782"/>
              <a:gd name="connsiteY5315" fmla="*/ 5158728 h 5973007"/>
              <a:gd name="connsiteX5316" fmla="*/ 2789488 w 6884782"/>
              <a:gd name="connsiteY5316" fmla="*/ 5158521 h 5973007"/>
              <a:gd name="connsiteX5317" fmla="*/ 2776631 w 6884782"/>
              <a:gd name="connsiteY5317" fmla="*/ 5143137 h 5973007"/>
              <a:gd name="connsiteX5318" fmla="*/ 2787164 w 6884782"/>
              <a:gd name="connsiteY5318" fmla="*/ 5149022 h 5973007"/>
              <a:gd name="connsiteX5319" fmla="*/ 2792122 w 6884782"/>
              <a:gd name="connsiteY5319" fmla="*/ 5153152 h 5973007"/>
              <a:gd name="connsiteX5320" fmla="*/ 2792896 w 6884782"/>
              <a:gd name="connsiteY5320" fmla="*/ 5154288 h 5973007"/>
              <a:gd name="connsiteX5321" fmla="*/ 2793515 w 6884782"/>
              <a:gd name="connsiteY5321" fmla="*/ 5152739 h 5973007"/>
              <a:gd name="connsiteX5322" fmla="*/ 2787320 w 6884782"/>
              <a:gd name="connsiteY5322" fmla="*/ 5142723 h 5973007"/>
              <a:gd name="connsiteX5323" fmla="*/ 2780659 w 6884782"/>
              <a:gd name="connsiteY5323" fmla="*/ 5145202 h 5973007"/>
              <a:gd name="connsiteX5324" fmla="*/ 2775857 w 6884782"/>
              <a:gd name="connsiteY5324" fmla="*/ 5121040 h 5973007"/>
              <a:gd name="connsiteX5325" fmla="*/ 2774928 w 6884782"/>
              <a:gd name="connsiteY5325" fmla="*/ 5117116 h 5973007"/>
              <a:gd name="connsiteX5326" fmla="*/ 2774153 w 6884782"/>
              <a:gd name="connsiteY5326" fmla="*/ 5117219 h 5973007"/>
              <a:gd name="connsiteX5327" fmla="*/ 2772759 w 6884782"/>
              <a:gd name="connsiteY5327" fmla="*/ 5116083 h 5973007"/>
              <a:gd name="connsiteX5328" fmla="*/ 2770126 w 6884782"/>
              <a:gd name="connsiteY5328" fmla="*/ 5116496 h 5973007"/>
              <a:gd name="connsiteX5329" fmla="*/ 2769507 w 6884782"/>
              <a:gd name="connsiteY5329" fmla="*/ 5115051 h 5973007"/>
              <a:gd name="connsiteX5330" fmla="*/ 2771830 w 6884782"/>
              <a:gd name="connsiteY5330" fmla="*/ 5114741 h 5973007"/>
              <a:gd name="connsiteX5331" fmla="*/ 2774153 w 6884782"/>
              <a:gd name="connsiteY5331" fmla="*/ 5114225 h 5973007"/>
              <a:gd name="connsiteX5332" fmla="*/ 2772914 w 6884782"/>
              <a:gd name="connsiteY5332" fmla="*/ 5108649 h 5973007"/>
              <a:gd name="connsiteX5333" fmla="*/ 2020351 w 6884782"/>
              <a:gd name="connsiteY5333" fmla="*/ 5103512 h 5973007"/>
              <a:gd name="connsiteX5334" fmla="*/ 2026779 w 6884782"/>
              <a:gd name="connsiteY5334" fmla="*/ 5106274 h 5973007"/>
              <a:gd name="connsiteX5335" fmla="*/ 2021358 w 6884782"/>
              <a:gd name="connsiteY5335" fmla="*/ 5110198 h 5973007"/>
              <a:gd name="connsiteX5336" fmla="*/ 2015471 w 6884782"/>
              <a:gd name="connsiteY5336" fmla="*/ 5108546 h 5973007"/>
              <a:gd name="connsiteX5337" fmla="*/ 2014852 w 6884782"/>
              <a:gd name="connsiteY5337" fmla="*/ 5104622 h 5973007"/>
              <a:gd name="connsiteX5338" fmla="*/ 2020351 w 6884782"/>
              <a:gd name="connsiteY5338" fmla="*/ 5103512 h 5973007"/>
              <a:gd name="connsiteX5339" fmla="*/ 2288283 w 6884782"/>
              <a:gd name="connsiteY5339" fmla="*/ 5100801 h 5973007"/>
              <a:gd name="connsiteX5340" fmla="*/ 2290413 w 6884782"/>
              <a:gd name="connsiteY5340" fmla="*/ 5106687 h 5973007"/>
              <a:gd name="connsiteX5341" fmla="*/ 2287469 w 6884782"/>
              <a:gd name="connsiteY5341" fmla="*/ 5111540 h 5973007"/>
              <a:gd name="connsiteX5342" fmla="*/ 2285456 w 6884782"/>
              <a:gd name="connsiteY5342" fmla="*/ 5110611 h 5973007"/>
              <a:gd name="connsiteX5343" fmla="*/ 2285146 w 6884782"/>
              <a:gd name="connsiteY5343" fmla="*/ 5110404 h 5973007"/>
              <a:gd name="connsiteX5344" fmla="*/ 2282204 w 6884782"/>
              <a:gd name="connsiteY5344" fmla="*/ 5114741 h 5973007"/>
              <a:gd name="connsiteX5345" fmla="*/ 2280344 w 6884782"/>
              <a:gd name="connsiteY5345" fmla="*/ 5112263 h 5973007"/>
              <a:gd name="connsiteX5346" fmla="*/ 2280344 w 6884782"/>
              <a:gd name="connsiteY5346" fmla="*/ 5107100 h 5973007"/>
              <a:gd name="connsiteX5347" fmla="*/ 2281739 w 6884782"/>
              <a:gd name="connsiteY5347" fmla="*/ 5105035 h 5973007"/>
              <a:gd name="connsiteX5348" fmla="*/ 2281274 w 6884782"/>
              <a:gd name="connsiteY5348" fmla="*/ 5103899 h 5973007"/>
              <a:gd name="connsiteX5349" fmla="*/ 2288283 w 6884782"/>
              <a:gd name="connsiteY5349" fmla="*/ 5100801 h 5973007"/>
              <a:gd name="connsiteX5350" fmla="*/ 1678108 w 6884782"/>
              <a:gd name="connsiteY5350" fmla="*/ 5100388 h 5973007"/>
              <a:gd name="connsiteX5351" fmla="*/ 1679966 w 6884782"/>
              <a:gd name="connsiteY5351" fmla="*/ 5102041 h 5973007"/>
              <a:gd name="connsiteX5352" fmla="*/ 1680741 w 6884782"/>
              <a:gd name="connsiteY5352" fmla="*/ 5107204 h 5973007"/>
              <a:gd name="connsiteX5353" fmla="*/ 1679192 w 6884782"/>
              <a:gd name="connsiteY5353" fmla="*/ 5108133 h 5973007"/>
              <a:gd name="connsiteX5354" fmla="*/ 1676559 w 6884782"/>
              <a:gd name="connsiteY5354" fmla="*/ 5101421 h 5973007"/>
              <a:gd name="connsiteX5355" fmla="*/ 1678108 w 6884782"/>
              <a:gd name="connsiteY5355" fmla="*/ 5100388 h 5973007"/>
              <a:gd name="connsiteX5356" fmla="*/ 2612287 w 6884782"/>
              <a:gd name="connsiteY5356" fmla="*/ 5099872 h 5973007"/>
              <a:gd name="connsiteX5357" fmla="*/ 2614455 w 6884782"/>
              <a:gd name="connsiteY5357" fmla="*/ 5103486 h 5973007"/>
              <a:gd name="connsiteX5358" fmla="*/ 2614300 w 6884782"/>
              <a:gd name="connsiteY5358" fmla="*/ 5104209 h 5973007"/>
              <a:gd name="connsiteX5359" fmla="*/ 2615075 w 6884782"/>
              <a:gd name="connsiteY5359" fmla="*/ 5104932 h 5973007"/>
              <a:gd name="connsiteX5360" fmla="*/ 2613836 w 6884782"/>
              <a:gd name="connsiteY5360" fmla="*/ 5105758 h 5973007"/>
              <a:gd name="connsiteX5361" fmla="*/ 2613526 w 6884782"/>
              <a:gd name="connsiteY5361" fmla="*/ 5107100 h 5973007"/>
              <a:gd name="connsiteX5362" fmla="*/ 2608569 w 6884782"/>
              <a:gd name="connsiteY5362" fmla="*/ 5105448 h 5973007"/>
              <a:gd name="connsiteX5363" fmla="*/ 2607175 w 6884782"/>
              <a:gd name="connsiteY5363" fmla="*/ 5102660 h 5973007"/>
              <a:gd name="connsiteX5364" fmla="*/ 2608879 w 6884782"/>
              <a:gd name="connsiteY5364" fmla="*/ 5100285 h 5973007"/>
              <a:gd name="connsiteX5365" fmla="*/ 2612287 w 6884782"/>
              <a:gd name="connsiteY5365" fmla="*/ 5099872 h 5973007"/>
              <a:gd name="connsiteX5366" fmla="*/ 1544006 w 6884782"/>
              <a:gd name="connsiteY5366" fmla="*/ 5099833 h 5973007"/>
              <a:gd name="connsiteX5367" fmla="*/ 1549234 w 6884782"/>
              <a:gd name="connsiteY5367" fmla="*/ 5103176 h 5973007"/>
              <a:gd name="connsiteX5368" fmla="*/ 1543658 w 6884782"/>
              <a:gd name="connsiteY5368" fmla="*/ 5109372 h 5973007"/>
              <a:gd name="connsiteX5369" fmla="*/ 1537307 w 6884782"/>
              <a:gd name="connsiteY5369" fmla="*/ 5106790 h 5973007"/>
              <a:gd name="connsiteX5370" fmla="*/ 1536687 w 6884782"/>
              <a:gd name="connsiteY5370" fmla="*/ 5101834 h 5973007"/>
              <a:gd name="connsiteX5371" fmla="*/ 1544006 w 6884782"/>
              <a:gd name="connsiteY5371" fmla="*/ 5099833 h 5973007"/>
              <a:gd name="connsiteX5372" fmla="*/ 2311943 w 6884782"/>
              <a:gd name="connsiteY5372" fmla="*/ 5099046 h 5973007"/>
              <a:gd name="connsiteX5373" fmla="*/ 2312872 w 6884782"/>
              <a:gd name="connsiteY5373" fmla="*/ 5099046 h 5973007"/>
              <a:gd name="connsiteX5374" fmla="*/ 2312562 w 6884782"/>
              <a:gd name="connsiteY5374" fmla="*/ 5109681 h 5973007"/>
              <a:gd name="connsiteX5375" fmla="*/ 2311323 w 6884782"/>
              <a:gd name="connsiteY5375" fmla="*/ 5110714 h 5973007"/>
              <a:gd name="connsiteX5376" fmla="*/ 2309310 w 6884782"/>
              <a:gd name="connsiteY5376" fmla="*/ 5109888 h 5973007"/>
              <a:gd name="connsiteX5377" fmla="*/ 2308690 w 6884782"/>
              <a:gd name="connsiteY5377" fmla="*/ 5105448 h 5973007"/>
              <a:gd name="connsiteX5378" fmla="*/ 2311478 w 6884782"/>
              <a:gd name="connsiteY5378" fmla="*/ 5101834 h 5973007"/>
              <a:gd name="connsiteX5379" fmla="*/ 2311943 w 6884782"/>
              <a:gd name="connsiteY5379" fmla="*/ 5099046 h 5973007"/>
              <a:gd name="connsiteX5380" fmla="*/ 2147289 w 6884782"/>
              <a:gd name="connsiteY5380" fmla="*/ 5098943 h 5973007"/>
              <a:gd name="connsiteX5381" fmla="*/ 2151006 w 6884782"/>
              <a:gd name="connsiteY5381" fmla="*/ 5099149 h 5973007"/>
              <a:gd name="connsiteX5382" fmla="*/ 2150542 w 6884782"/>
              <a:gd name="connsiteY5382" fmla="*/ 5104519 h 5973007"/>
              <a:gd name="connsiteX5383" fmla="*/ 2146669 w 6884782"/>
              <a:gd name="connsiteY5383" fmla="*/ 5104415 h 5973007"/>
              <a:gd name="connsiteX5384" fmla="*/ 2147289 w 6884782"/>
              <a:gd name="connsiteY5384" fmla="*/ 5098943 h 5973007"/>
              <a:gd name="connsiteX5385" fmla="*/ 1749360 w 6884782"/>
              <a:gd name="connsiteY5385" fmla="*/ 5098323 h 5973007"/>
              <a:gd name="connsiteX5386" fmla="*/ 1752923 w 6884782"/>
              <a:gd name="connsiteY5386" fmla="*/ 5105551 h 5973007"/>
              <a:gd name="connsiteX5387" fmla="*/ 1747656 w 6884782"/>
              <a:gd name="connsiteY5387" fmla="*/ 5113295 h 5973007"/>
              <a:gd name="connsiteX5388" fmla="*/ 1745797 w 6884782"/>
              <a:gd name="connsiteY5388" fmla="*/ 5109269 h 5973007"/>
              <a:gd name="connsiteX5389" fmla="*/ 1749360 w 6884782"/>
              <a:gd name="connsiteY5389" fmla="*/ 5098323 h 5973007"/>
              <a:gd name="connsiteX5390" fmla="*/ 2351287 w 6884782"/>
              <a:gd name="connsiteY5390" fmla="*/ 5097807 h 5973007"/>
              <a:gd name="connsiteX5391" fmla="*/ 2360270 w 6884782"/>
              <a:gd name="connsiteY5391" fmla="*/ 5099562 h 5973007"/>
              <a:gd name="connsiteX5392" fmla="*/ 2357792 w 6884782"/>
              <a:gd name="connsiteY5392" fmla="*/ 5111024 h 5973007"/>
              <a:gd name="connsiteX5393" fmla="*/ 2358102 w 6884782"/>
              <a:gd name="connsiteY5393" fmla="*/ 5112573 h 5973007"/>
              <a:gd name="connsiteX5394" fmla="*/ 2357637 w 6884782"/>
              <a:gd name="connsiteY5394" fmla="*/ 5114741 h 5973007"/>
              <a:gd name="connsiteX5395" fmla="*/ 2356863 w 6884782"/>
              <a:gd name="connsiteY5395" fmla="*/ 5115154 h 5973007"/>
              <a:gd name="connsiteX5396" fmla="*/ 2355314 w 6884782"/>
              <a:gd name="connsiteY5396" fmla="*/ 5122176 h 5973007"/>
              <a:gd name="connsiteX5397" fmla="*/ 2350357 w 6884782"/>
              <a:gd name="connsiteY5397" fmla="*/ 5142723 h 5973007"/>
              <a:gd name="connsiteX5398" fmla="*/ 2351287 w 6884782"/>
              <a:gd name="connsiteY5398" fmla="*/ 5097807 h 5973007"/>
              <a:gd name="connsiteX5399" fmla="*/ 1622500 w 6884782"/>
              <a:gd name="connsiteY5399" fmla="*/ 5097704 h 5973007"/>
              <a:gd name="connsiteX5400" fmla="*/ 1630400 w 6884782"/>
              <a:gd name="connsiteY5400" fmla="*/ 5107100 h 5973007"/>
              <a:gd name="connsiteX5401" fmla="*/ 1628696 w 6884782"/>
              <a:gd name="connsiteY5401" fmla="*/ 5110714 h 5973007"/>
              <a:gd name="connsiteX5402" fmla="*/ 1620951 w 6884782"/>
              <a:gd name="connsiteY5402" fmla="*/ 5104209 h 5973007"/>
              <a:gd name="connsiteX5403" fmla="*/ 1619867 w 6884782"/>
              <a:gd name="connsiteY5403" fmla="*/ 5101214 h 5973007"/>
              <a:gd name="connsiteX5404" fmla="*/ 1622500 w 6884782"/>
              <a:gd name="connsiteY5404" fmla="*/ 5097704 h 5973007"/>
              <a:gd name="connsiteX5405" fmla="*/ 1768993 w 6884782"/>
              <a:gd name="connsiteY5405" fmla="*/ 5096555 h 5973007"/>
              <a:gd name="connsiteX5406" fmla="*/ 1775228 w 6884782"/>
              <a:gd name="connsiteY5406" fmla="*/ 5098220 h 5973007"/>
              <a:gd name="connsiteX5407" fmla="*/ 1769497 w 6884782"/>
              <a:gd name="connsiteY5407" fmla="*/ 5103176 h 5973007"/>
              <a:gd name="connsiteX5408" fmla="*/ 1768993 w 6884782"/>
              <a:gd name="connsiteY5408" fmla="*/ 5096555 h 5973007"/>
              <a:gd name="connsiteX5409" fmla="*/ 2085795 w 6884782"/>
              <a:gd name="connsiteY5409" fmla="*/ 5096465 h 5973007"/>
              <a:gd name="connsiteX5410" fmla="*/ 2088273 w 6884782"/>
              <a:gd name="connsiteY5410" fmla="*/ 5099769 h 5973007"/>
              <a:gd name="connsiteX5411" fmla="*/ 2086105 w 6884782"/>
              <a:gd name="connsiteY5411" fmla="*/ 5107100 h 5973007"/>
              <a:gd name="connsiteX5412" fmla="*/ 2077430 w 6884782"/>
              <a:gd name="connsiteY5412" fmla="*/ 5104828 h 5973007"/>
              <a:gd name="connsiteX5413" fmla="*/ 2085795 w 6884782"/>
              <a:gd name="connsiteY5413" fmla="*/ 5096465 h 5973007"/>
              <a:gd name="connsiteX5414" fmla="*/ 1791802 w 6884782"/>
              <a:gd name="connsiteY5414" fmla="*/ 5096465 h 5973007"/>
              <a:gd name="connsiteX5415" fmla="*/ 1802489 w 6884782"/>
              <a:gd name="connsiteY5415" fmla="*/ 5100182 h 5973007"/>
              <a:gd name="connsiteX5416" fmla="*/ 1808221 w 6884782"/>
              <a:gd name="connsiteY5416" fmla="*/ 5111643 h 5973007"/>
              <a:gd name="connsiteX5417" fmla="*/ 1807291 w 6884782"/>
              <a:gd name="connsiteY5417" fmla="*/ 5114225 h 5973007"/>
              <a:gd name="connsiteX5418" fmla="*/ 1809150 w 6884782"/>
              <a:gd name="connsiteY5418" fmla="*/ 5115980 h 5973007"/>
              <a:gd name="connsiteX5419" fmla="*/ 1807291 w 6884782"/>
              <a:gd name="connsiteY5419" fmla="*/ 5128784 h 5973007"/>
              <a:gd name="connsiteX5420" fmla="*/ 1799546 w 6884782"/>
              <a:gd name="connsiteY5420" fmla="*/ 5130436 h 5973007"/>
              <a:gd name="connsiteX5421" fmla="*/ 1796448 w 6884782"/>
              <a:gd name="connsiteY5421" fmla="*/ 5129197 h 5973007"/>
              <a:gd name="connsiteX5422" fmla="*/ 1800476 w 6884782"/>
              <a:gd name="connsiteY5422" fmla="*/ 5120730 h 5973007"/>
              <a:gd name="connsiteX5423" fmla="*/ 1801250 w 6884782"/>
              <a:gd name="connsiteY5423" fmla="*/ 5118458 h 5973007"/>
              <a:gd name="connsiteX5424" fmla="*/ 1798617 w 6884782"/>
              <a:gd name="connsiteY5424" fmla="*/ 5119181 h 5973007"/>
              <a:gd name="connsiteX5425" fmla="*/ 1793041 w 6884782"/>
              <a:gd name="connsiteY5425" fmla="*/ 5117322 h 5973007"/>
              <a:gd name="connsiteX5426" fmla="*/ 1789168 w 6884782"/>
              <a:gd name="connsiteY5426" fmla="*/ 5101834 h 5973007"/>
              <a:gd name="connsiteX5427" fmla="*/ 1790562 w 6884782"/>
              <a:gd name="connsiteY5427" fmla="*/ 5099975 h 5973007"/>
              <a:gd name="connsiteX5428" fmla="*/ 1791802 w 6884782"/>
              <a:gd name="connsiteY5428" fmla="*/ 5096465 h 5973007"/>
              <a:gd name="connsiteX5429" fmla="*/ 2564211 w 6884782"/>
              <a:gd name="connsiteY5429" fmla="*/ 5096310 h 5973007"/>
              <a:gd name="connsiteX5430" fmla="*/ 2570155 w 6884782"/>
              <a:gd name="connsiteY5430" fmla="*/ 5096671 h 5973007"/>
              <a:gd name="connsiteX5431" fmla="*/ 2570155 w 6884782"/>
              <a:gd name="connsiteY5431" fmla="*/ 5099252 h 5973007"/>
              <a:gd name="connsiteX5432" fmla="*/ 2563649 w 6884782"/>
              <a:gd name="connsiteY5432" fmla="*/ 5103280 h 5973007"/>
              <a:gd name="connsiteX5433" fmla="*/ 2561636 w 6884782"/>
              <a:gd name="connsiteY5433" fmla="*/ 5102144 h 5973007"/>
              <a:gd name="connsiteX5434" fmla="*/ 2564211 w 6884782"/>
              <a:gd name="connsiteY5434" fmla="*/ 5096310 h 5973007"/>
              <a:gd name="connsiteX5435" fmla="*/ 1908593 w 6884782"/>
              <a:gd name="connsiteY5435" fmla="*/ 5095948 h 5973007"/>
              <a:gd name="connsiteX5436" fmla="*/ 1912156 w 6884782"/>
              <a:gd name="connsiteY5436" fmla="*/ 5095948 h 5973007"/>
              <a:gd name="connsiteX5437" fmla="*/ 1911691 w 6884782"/>
              <a:gd name="connsiteY5437" fmla="*/ 5106687 h 5973007"/>
              <a:gd name="connsiteX5438" fmla="*/ 1906424 w 6884782"/>
              <a:gd name="connsiteY5438" fmla="*/ 5106481 h 5973007"/>
              <a:gd name="connsiteX5439" fmla="*/ 1908593 w 6884782"/>
              <a:gd name="connsiteY5439" fmla="*/ 5095948 h 5973007"/>
              <a:gd name="connsiteX5440" fmla="*/ 1484332 w 6884782"/>
              <a:gd name="connsiteY5440" fmla="*/ 5095122 h 5973007"/>
              <a:gd name="connsiteX5441" fmla="*/ 1485881 w 6884782"/>
              <a:gd name="connsiteY5441" fmla="*/ 5095948 h 5973007"/>
              <a:gd name="connsiteX5442" fmla="*/ 1487585 w 6884782"/>
              <a:gd name="connsiteY5442" fmla="*/ 5095948 h 5973007"/>
              <a:gd name="connsiteX5443" fmla="*/ 1487431 w 6884782"/>
              <a:gd name="connsiteY5443" fmla="*/ 5096878 h 5973007"/>
              <a:gd name="connsiteX5444" fmla="*/ 1488204 w 6884782"/>
              <a:gd name="connsiteY5444" fmla="*/ 5097807 h 5973007"/>
              <a:gd name="connsiteX5445" fmla="*/ 1486191 w 6884782"/>
              <a:gd name="connsiteY5445" fmla="*/ 5101318 h 5973007"/>
              <a:gd name="connsiteX5446" fmla="*/ 1484332 w 6884782"/>
              <a:gd name="connsiteY5446" fmla="*/ 5102350 h 5973007"/>
              <a:gd name="connsiteX5447" fmla="*/ 1482784 w 6884782"/>
              <a:gd name="connsiteY5447" fmla="*/ 5102041 h 5973007"/>
              <a:gd name="connsiteX5448" fmla="*/ 1482164 w 6884782"/>
              <a:gd name="connsiteY5448" fmla="*/ 5100285 h 5973007"/>
              <a:gd name="connsiteX5449" fmla="*/ 1482474 w 6884782"/>
              <a:gd name="connsiteY5449" fmla="*/ 5096775 h 5973007"/>
              <a:gd name="connsiteX5450" fmla="*/ 1484332 w 6884782"/>
              <a:gd name="connsiteY5450" fmla="*/ 5095122 h 5973007"/>
              <a:gd name="connsiteX5451" fmla="*/ 1926561 w 6884782"/>
              <a:gd name="connsiteY5451" fmla="*/ 5094709 h 5973007"/>
              <a:gd name="connsiteX5452" fmla="*/ 1934926 w 6884782"/>
              <a:gd name="connsiteY5452" fmla="*/ 5095948 h 5973007"/>
              <a:gd name="connsiteX5453" fmla="*/ 1931982 w 6884782"/>
              <a:gd name="connsiteY5453" fmla="*/ 5105242 h 5973007"/>
              <a:gd name="connsiteX5454" fmla="*/ 1926561 w 6884782"/>
              <a:gd name="connsiteY5454" fmla="*/ 5094709 h 5973007"/>
              <a:gd name="connsiteX5455" fmla="*/ 2091217 w 6884782"/>
              <a:gd name="connsiteY5455" fmla="*/ 5094606 h 5973007"/>
              <a:gd name="connsiteX5456" fmla="*/ 2099735 w 6884782"/>
              <a:gd name="connsiteY5456" fmla="*/ 5096671 h 5973007"/>
              <a:gd name="connsiteX5457" fmla="*/ 2100200 w 6884782"/>
              <a:gd name="connsiteY5457" fmla="*/ 5096878 h 5973007"/>
              <a:gd name="connsiteX5458" fmla="*/ 2101594 w 6884782"/>
              <a:gd name="connsiteY5458" fmla="*/ 5095122 h 5973007"/>
              <a:gd name="connsiteX5459" fmla="*/ 2106086 w 6884782"/>
              <a:gd name="connsiteY5459" fmla="*/ 5094709 h 5973007"/>
              <a:gd name="connsiteX5460" fmla="*/ 2110733 w 6884782"/>
              <a:gd name="connsiteY5460" fmla="*/ 5097084 h 5973007"/>
              <a:gd name="connsiteX5461" fmla="*/ 2113831 w 6884782"/>
              <a:gd name="connsiteY5461" fmla="*/ 5104725 h 5973007"/>
              <a:gd name="connsiteX5462" fmla="*/ 2109804 w 6884782"/>
              <a:gd name="connsiteY5462" fmla="*/ 5106274 h 5973007"/>
              <a:gd name="connsiteX5463" fmla="*/ 2104692 w 6884782"/>
              <a:gd name="connsiteY5463" fmla="*/ 5103899 h 5973007"/>
              <a:gd name="connsiteX5464" fmla="*/ 2101749 w 6884782"/>
              <a:gd name="connsiteY5464" fmla="*/ 5101214 h 5973007"/>
              <a:gd name="connsiteX5465" fmla="*/ 2099116 w 6884782"/>
              <a:gd name="connsiteY5465" fmla="*/ 5100905 h 5973007"/>
              <a:gd name="connsiteX5466" fmla="*/ 2096173 w 6884782"/>
              <a:gd name="connsiteY5466" fmla="*/ 5099562 h 5973007"/>
              <a:gd name="connsiteX5467" fmla="*/ 2094314 w 6884782"/>
              <a:gd name="connsiteY5467" fmla="*/ 5098840 h 5973007"/>
              <a:gd name="connsiteX5468" fmla="*/ 2092455 w 6884782"/>
              <a:gd name="connsiteY5468" fmla="*/ 5098014 h 5973007"/>
              <a:gd name="connsiteX5469" fmla="*/ 2091217 w 6884782"/>
              <a:gd name="connsiteY5469" fmla="*/ 5094606 h 5973007"/>
              <a:gd name="connsiteX5470" fmla="*/ 2640349 w 6884782"/>
              <a:gd name="connsiteY5470" fmla="*/ 5093805 h 5973007"/>
              <a:gd name="connsiteX5471" fmla="*/ 2639703 w 6884782"/>
              <a:gd name="connsiteY5471" fmla="*/ 5101627 h 5973007"/>
              <a:gd name="connsiteX5472" fmla="*/ 2638619 w 6884782"/>
              <a:gd name="connsiteY5472" fmla="*/ 5113089 h 5973007"/>
              <a:gd name="connsiteX5473" fmla="*/ 2641872 w 6884782"/>
              <a:gd name="connsiteY5473" fmla="*/ 5112986 h 5973007"/>
              <a:gd name="connsiteX5474" fmla="*/ 2653334 w 6884782"/>
              <a:gd name="connsiteY5474" fmla="*/ 5116806 h 5973007"/>
              <a:gd name="connsiteX5475" fmla="*/ 2656277 w 6884782"/>
              <a:gd name="connsiteY5475" fmla="*/ 5118871 h 5973007"/>
              <a:gd name="connsiteX5476" fmla="*/ 2657981 w 6884782"/>
              <a:gd name="connsiteY5476" fmla="*/ 5118458 h 5973007"/>
              <a:gd name="connsiteX5477" fmla="*/ 2659065 w 6884782"/>
              <a:gd name="connsiteY5477" fmla="*/ 5118665 h 5973007"/>
              <a:gd name="connsiteX5478" fmla="*/ 2659443 w 6884782"/>
              <a:gd name="connsiteY5478" fmla="*/ 5118413 h 5973007"/>
              <a:gd name="connsiteX5479" fmla="*/ 2648386 w 6884782"/>
              <a:gd name="connsiteY5479" fmla="*/ 5106891 h 5973007"/>
              <a:gd name="connsiteX5480" fmla="*/ 2466839 w 6884782"/>
              <a:gd name="connsiteY5480" fmla="*/ 5093677 h 5973007"/>
              <a:gd name="connsiteX5481" fmla="*/ 2469472 w 6884782"/>
              <a:gd name="connsiteY5481" fmla="*/ 5094503 h 5973007"/>
              <a:gd name="connsiteX5482" fmla="*/ 2469782 w 6884782"/>
              <a:gd name="connsiteY5482" fmla="*/ 5094296 h 5973007"/>
              <a:gd name="connsiteX5483" fmla="*/ 2476288 w 6884782"/>
              <a:gd name="connsiteY5483" fmla="*/ 5099356 h 5973007"/>
              <a:gd name="connsiteX5484" fmla="*/ 2472416 w 6884782"/>
              <a:gd name="connsiteY5484" fmla="*/ 5103899 h 5973007"/>
              <a:gd name="connsiteX5485" fmla="*/ 2471951 w 6884782"/>
              <a:gd name="connsiteY5485" fmla="*/ 5103486 h 5973007"/>
              <a:gd name="connsiteX5486" fmla="*/ 2471486 w 6884782"/>
              <a:gd name="connsiteY5486" fmla="*/ 5104519 h 5973007"/>
              <a:gd name="connsiteX5487" fmla="*/ 2466684 w 6884782"/>
              <a:gd name="connsiteY5487" fmla="*/ 5109062 h 5973007"/>
              <a:gd name="connsiteX5488" fmla="*/ 2466839 w 6884782"/>
              <a:gd name="connsiteY5488" fmla="*/ 5093677 h 5973007"/>
              <a:gd name="connsiteX5489" fmla="*/ 1860885 w 6884782"/>
              <a:gd name="connsiteY5489" fmla="*/ 5092644 h 5973007"/>
              <a:gd name="connsiteX5490" fmla="*/ 1868321 w 6884782"/>
              <a:gd name="connsiteY5490" fmla="*/ 5092747 h 5973007"/>
              <a:gd name="connsiteX5491" fmla="*/ 1866771 w 6884782"/>
              <a:gd name="connsiteY5491" fmla="*/ 5098737 h 5973007"/>
              <a:gd name="connsiteX5492" fmla="*/ 1864448 w 6884782"/>
              <a:gd name="connsiteY5492" fmla="*/ 5100079 h 5973007"/>
              <a:gd name="connsiteX5493" fmla="*/ 1861814 w 6884782"/>
              <a:gd name="connsiteY5493" fmla="*/ 5099562 h 5973007"/>
              <a:gd name="connsiteX5494" fmla="*/ 1860266 w 6884782"/>
              <a:gd name="connsiteY5494" fmla="*/ 5097807 h 5973007"/>
              <a:gd name="connsiteX5495" fmla="*/ 1860885 w 6884782"/>
              <a:gd name="connsiteY5495" fmla="*/ 5092644 h 5973007"/>
              <a:gd name="connsiteX5496" fmla="*/ 2139389 w 6884782"/>
              <a:gd name="connsiteY5496" fmla="*/ 5091715 h 5973007"/>
              <a:gd name="connsiteX5497" fmla="*/ 2148992 w 6884782"/>
              <a:gd name="connsiteY5497" fmla="*/ 5095948 h 5973007"/>
              <a:gd name="connsiteX5498" fmla="*/ 2144500 w 6884782"/>
              <a:gd name="connsiteY5498" fmla="*/ 5100182 h 5973007"/>
              <a:gd name="connsiteX5499" fmla="*/ 2138924 w 6884782"/>
              <a:gd name="connsiteY5499" fmla="*/ 5098014 h 5973007"/>
              <a:gd name="connsiteX5500" fmla="*/ 2139389 w 6884782"/>
              <a:gd name="connsiteY5500" fmla="*/ 5091715 h 5973007"/>
              <a:gd name="connsiteX5501" fmla="*/ 2219315 w 6884782"/>
              <a:gd name="connsiteY5501" fmla="*/ 5090682 h 5973007"/>
              <a:gd name="connsiteX5502" fmla="*/ 2231552 w 6884782"/>
              <a:gd name="connsiteY5502" fmla="*/ 5095122 h 5973007"/>
              <a:gd name="connsiteX5503" fmla="*/ 2229074 w 6884782"/>
              <a:gd name="connsiteY5503" fmla="*/ 5095536 h 5973007"/>
              <a:gd name="connsiteX5504" fmla="*/ 2219315 w 6884782"/>
              <a:gd name="connsiteY5504" fmla="*/ 5090682 h 5973007"/>
              <a:gd name="connsiteX5505" fmla="*/ 1942980 w 6884782"/>
              <a:gd name="connsiteY5505" fmla="*/ 5090063 h 5973007"/>
              <a:gd name="connsiteX5506" fmla="*/ 1948247 w 6884782"/>
              <a:gd name="connsiteY5506" fmla="*/ 5093470 h 5973007"/>
              <a:gd name="connsiteX5507" fmla="*/ 1948402 w 6884782"/>
              <a:gd name="connsiteY5507" fmla="*/ 5094606 h 5973007"/>
              <a:gd name="connsiteX5508" fmla="*/ 1942980 w 6884782"/>
              <a:gd name="connsiteY5508" fmla="*/ 5090063 h 5973007"/>
              <a:gd name="connsiteX5509" fmla="*/ 2127171 w 6884782"/>
              <a:gd name="connsiteY5509" fmla="*/ 5089895 h 5973007"/>
              <a:gd name="connsiteX5510" fmla="*/ 2134122 w 6884782"/>
              <a:gd name="connsiteY5510" fmla="*/ 5097187 h 5973007"/>
              <a:gd name="connsiteX5511" fmla="*/ 2132264 w 6884782"/>
              <a:gd name="connsiteY5511" fmla="*/ 5101421 h 5973007"/>
              <a:gd name="connsiteX5512" fmla="*/ 2127307 w 6884782"/>
              <a:gd name="connsiteY5512" fmla="*/ 5101937 h 5973007"/>
              <a:gd name="connsiteX5513" fmla="*/ 2122970 w 6884782"/>
              <a:gd name="connsiteY5513" fmla="*/ 5101937 h 5973007"/>
              <a:gd name="connsiteX5514" fmla="*/ 2114296 w 6884782"/>
              <a:gd name="connsiteY5514" fmla="*/ 5094606 h 5973007"/>
              <a:gd name="connsiteX5515" fmla="*/ 2127171 w 6884782"/>
              <a:gd name="connsiteY5515" fmla="*/ 5089895 h 5973007"/>
              <a:gd name="connsiteX5516" fmla="*/ 1036528 w 6884782"/>
              <a:gd name="connsiteY5516" fmla="*/ 5089650 h 5973007"/>
              <a:gd name="connsiteX5517" fmla="*/ 1035133 w 6884782"/>
              <a:gd name="connsiteY5517" fmla="*/ 5094709 h 5973007"/>
              <a:gd name="connsiteX5518" fmla="*/ 1032500 w 6884782"/>
              <a:gd name="connsiteY5518" fmla="*/ 5096258 h 5973007"/>
              <a:gd name="connsiteX5519" fmla="*/ 1030022 w 6884782"/>
              <a:gd name="connsiteY5519" fmla="*/ 5094606 h 5973007"/>
              <a:gd name="connsiteX5520" fmla="*/ 1029557 w 6884782"/>
              <a:gd name="connsiteY5520" fmla="*/ 5091199 h 5973007"/>
              <a:gd name="connsiteX5521" fmla="*/ 1036528 w 6884782"/>
              <a:gd name="connsiteY5521" fmla="*/ 5089650 h 5973007"/>
              <a:gd name="connsiteX5522" fmla="*/ 2577280 w 6884782"/>
              <a:gd name="connsiteY5522" fmla="*/ 5087069 h 5973007"/>
              <a:gd name="connsiteX5523" fmla="*/ 2584715 w 6884782"/>
              <a:gd name="connsiteY5523" fmla="*/ 5087378 h 5973007"/>
              <a:gd name="connsiteX5524" fmla="*/ 2585645 w 6884782"/>
              <a:gd name="connsiteY5524" fmla="*/ 5090063 h 5973007"/>
              <a:gd name="connsiteX5525" fmla="*/ 2580688 w 6884782"/>
              <a:gd name="connsiteY5525" fmla="*/ 5092954 h 5973007"/>
              <a:gd name="connsiteX5526" fmla="*/ 2578364 w 6884782"/>
              <a:gd name="connsiteY5526" fmla="*/ 5091405 h 5973007"/>
              <a:gd name="connsiteX5527" fmla="*/ 2577280 w 6884782"/>
              <a:gd name="connsiteY5527" fmla="*/ 5087069 h 5973007"/>
              <a:gd name="connsiteX5528" fmla="*/ 2081303 w 6884782"/>
              <a:gd name="connsiteY5528" fmla="*/ 5086449 h 5973007"/>
              <a:gd name="connsiteX5529" fmla="*/ 2091371 w 6884782"/>
              <a:gd name="connsiteY5529" fmla="*/ 5087378 h 5973007"/>
              <a:gd name="connsiteX5530" fmla="*/ 2099891 w 6884782"/>
              <a:gd name="connsiteY5530" fmla="*/ 5094090 h 5973007"/>
              <a:gd name="connsiteX5531" fmla="*/ 2094934 w 6884782"/>
              <a:gd name="connsiteY5531" fmla="*/ 5094606 h 5973007"/>
              <a:gd name="connsiteX5532" fmla="*/ 2081303 w 6884782"/>
              <a:gd name="connsiteY5532" fmla="*/ 5086449 h 5973007"/>
              <a:gd name="connsiteX5533" fmla="*/ 1795365 w 6884782"/>
              <a:gd name="connsiteY5533" fmla="*/ 5086346 h 5973007"/>
              <a:gd name="connsiteX5534" fmla="*/ 1799236 w 6884782"/>
              <a:gd name="connsiteY5534" fmla="*/ 5093264 h 5973007"/>
              <a:gd name="connsiteX5535" fmla="*/ 1794744 w 6884782"/>
              <a:gd name="connsiteY5535" fmla="*/ 5088617 h 5973007"/>
              <a:gd name="connsiteX5536" fmla="*/ 1795365 w 6884782"/>
              <a:gd name="connsiteY5536" fmla="*/ 5086346 h 5973007"/>
              <a:gd name="connsiteX5537" fmla="*/ 2199953 w 6884782"/>
              <a:gd name="connsiteY5537" fmla="*/ 5085829 h 5973007"/>
              <a:gd name="connsiteX5538" fmla="*/ 2202122 w 6884782"/>
              <a:gd name="connsiteY5538" fmla="*/ 5089134 h 5973007"/>
              <a:gd name="connsiteX5539" fmla="*/ 2197475 w 6884782"/>
              <a:gd name="connsiteY5539" fmla="*/ 5091199 h 5973007"/>
              <a:gd name="connsiteX5540" fmla="*/ 2195306 w 6884782"/>
              <a:gd name="connsiteY5540" fmla="*/ 5087791 h 5973007"/>
              <a:gd name="connsiteX5541" fmla="*/ 2199953 w 6884782"/>
              <a:gd name="connsiteY5541" fmla="*/ 5085829 h 5973007"/>
              <a:gd name="connsiteX5542" fmla="*/ 2554356 w 6884782"/>
              <a:gd name="connsiteY5542" fmla="*/ 5085416 h 5973007"/>
              <a:gd name="connsiteX5543" fmla="*/ 2555904 w 6884782"/>
              <a:gd name="connsiteY5543" fmla="*/ 5086449 h 5973007"/>
              <a:gd name="connsiteX5544" fmla="*/ 2555595 w 6884782"/>
              <a:gd name="connsiteY5544" fmla="*/ 5088823 h 5973007"/>
              <a:gd name="connsiteX5545" fmla="*/ 2551722 w 6884782"/>
              <a:gd name="connsiteY5545" fmla="*/ 5091508 h 5973007"/>
              <a:gd name="connsiteX5546" fmla="*/ 2550018 w 6884782"/>
              <a:gd name="connsiteY5546" fmla="*/ 5090373 h 5973007"/>
              <a:gd name="connsiteX5547" fmla="*/ 2554356 w 6884782"/>
              <a:gd name="connsiteY5547" fmla="*/ 5085416 h 5973007"/>
              <a:gd name="connsiteX5548" fmla="*/ 2211106 w 6884782"/>
              <a:gd name="connsiteY5548" fmla="*/ 5084487 h 5973007"/>
              <a:gd name="connsiteX5549" fmla="*/ 2214668 w 6884782"/>
              <a:gd name="connsiteY5549" fmla="*/ 5084590 h 5973007"/>
              <a:gd name="connsiteX5550" fmla="*/ 2215752 w 6884782"/>
              <a:gd name="connsiteY5550" fmla="*/ 5095329 h 5973007"/>
              <a:gd name="connsiteX5551" fmla="*/ 2210486 w 6884782"/>
              <a:gd name="connsiteY5551" fmla="*/ 5094916 h 5973007"/>
              <a:gd name="connsiteX5552" fmla="*/ 2211106 w 6884782"/>
              <a:gd name="connsiteY5552" fmla="*/ 5084487 h 5973007"/>
              <a:gd name="connsiteX5553" fmla="*/ 2055125 w 6884782"/>
              <a:gd name="connsiteY5553" fmla="*/ 5083041 h 5973007"/>
              <a:gd name="connsiteX5554" fmla="*/ 2059927 w 6884782"/>
              <a:gd name="connsiteY5554" fmla="*/ 5083145 h 5973007"/>
              <a:gd name="connsiteX5555" fmla="*/ 2058533 w 6884782"/>
              <a:gd name="connsiteY5555" fmla="*/ 5086965 h 5973007"/>
              <a:gd name="connsiteX5556" fmla="*/ 2055125 w 6884782"/>
              <a:gd name="connsiteY5556" fmla="*/ 5085726 h 5973007"/>
              <a:gd name="connsiteX5557" fmla="*/ 2055125 w 6884782"/>
              <a:gd name="connsiteY5557" fmla="*/ 5083041 h 5973007"/>
              <a:gd name="connsiteX5558" fmla="*/ 1702891 w 6884782"/>
              <a:gd name="connsiteY5558" fmla="*/ 5082732 h 5973007"/>
              <a:gd name="connsiteX5559" fmla="*/ 1690344 w 6884782"/>
              <a:gd name="connsiteY5559" fmla="*/ 5091818 h 5973007"/>
              <a:gd name="connsiteX5560" fmla="*/ 1686162 w 6884782"/>
              <a:gd name="connsiteY5560" fmla="*/ 5089237 h 5973007"/>
              <a:gd name="connsiteX5561" fmla="*/ 1702891 w 6884782"/>
              <a:gd name="connsiteY5561" fmla="*/ 5082732 h 5973007"/>
              <a:gd name="connsiteX5562" fmla="*/ 2071080 w 6884782"/>
              <a:gd name="connsiteY5562" fmla="*/ 5080563 h 5973007"/>
              <a:gd name="connsiteX5563" fmla="*/ 2077430 w 6884782"/>
              <a:gd name="connsiteY5563" fmla="*/ 5084797 h 5973007"/>
              <a:gd name="connsiteX5564" fmla="*/ 2075417 w 6884782"/>
              <a:gd name="connsiteY5564" fmla="*/ 5091508 h 5973007"/>
              <a:gd name="connsiteX5565" fmla="*/ 2072319 w 6884782"/>
              <a:gd name="connsiteY5565" fmla="*/ 5092954 h 5973007"/>
              <a:gd name="connsiteX5566" fmla="*/ 2069841 w 6884782"/>
              <a:gd name="connsiteY5566" fmla="*/ 5092954 h 5973007"/>
              <a:gd name="connsiteX5567" fmla="*/ 2066742 w 6884782"/>
              <a:gd name="connsiteY5567" fmla="*/ 5089960 h 5973007"/>
              <a:gd name="connsiteX5568" fmla="*/ 2071080 w 6884782"/>
              <a:gd name="connsiteY5568" fmla="*/ 5080563 h 5973007"/>
              <a:gd name="connsiteX5569" fmla="*/ 2509591 w 6884782"/>
              <a:gd name="connsiteY5569" fmla="*/ 5080253 h 5973007"/>
              <a:gd name="connsiteX5570" fmla="*/ 2510210 w 6884782"/>
              <a:gd name="connsiteY5570" fmla="*/ 5082318 h 5973007"/>
              <a:gd name="connsiteX5571" fmla="*/ 2511139 w 6884782"/>
              <a:gd name="connsiteY5571" fmla="*/ 5081699 h 5973007"/>
              <a:gd name="connsiteX5572" fmla="*/ 2516716 w 6884782"/>
              <a:gd name="connsiteY5572" fmla="*/ 5087481 h 5973007"/>
              <a:gd name="connsiteX5573" fmla="*/ 2515786 w 6884782"/>
              <a:gd name="connsiteY5573" fmla="*/ 5090992 h 5973007"/>
              <a:gd name="connsiteX5574" fmla="*/ 2520278 w 6884782"/>
              <a:gd name="connsiteY5574" fmla="*/ 5094400 h 5973007"/>
              <a:gd name="connsiteX5575" fmla="*/ 2524305 w 6884782"/>
              <a:gd name="connsiteY5575" fmla="*/ 5098323 h 5973007"/>
              <a:gd name="connsiteX5576" fmla="*/ 2526629 w 6884782"/>
              <a:gd name="connsiteY5576" fmla="*/ 5105654 h 5973007"/>
              <a:gd name="connsiteX5577" fmla="*/ 2504479 w 6884782"/>
              <a:gd name="connsiteY5577" fmla="*/ 5126099 h 5973007"/>
              <a:gd name="connsiteX5578" fmla="*/ 2490848 w 6884782"/>
              <a:gd name="connsiteY5578" fmla="*/ 5115361 h 5973007"/>
              <a:gd name="connsiteX5579" fmla="*/ 2490693 w 6884782"/>
              <a:gd name="connsiteY5579" fmla="*/ 5106068 h 5973007"/>
              <a:gd name="connsiteX5580" fmla="*/ 2509591 w 6884782"/>
              <a:gd name="connsiteY5580" fmla="*/ 5080253 h 5973007"/>
              <a:gd name="connsiteX5581" fmla="*/ 2544287 w 6884782"/>
              <a:gd name="connsiteY5581" fmla="*/ 5079118 h 5973007"/>
              <a:gd name="connsiteX5582" fmla="*/ 2547695 w 6884782"/>
              <a:gd name="connsiteY5582" fmla="*/ 5080047 h 5973007"/>
              <a:gd name="connsiteX5583" fmla="*/ 2545527 w 6884782"/>
              <a:gd name="connsiteY5583" fmla="*/ 5082525 h 5973007"/>
              <a:gd name="connsiteX5584" fmla="*/ 2544287 w 6884782"/>
              <a:gd name="connsiteY5584" fmla="*/ 5081596 h 5973007"/>
              <a:gd name="connsiteX5585" fmla="*/ 2544287 w 6884782"/>
              <a:gd name="connsiteY5585" fmla="*/ 5079118 h 5973007"/>
              <a:gd name="connsiteX5586" fmla="*/ 1847874 w 6884782"/>
              <a:gd name="connsiteY5586" fmla="*/ 5078911 h 5973007"/>
              <a:gd name="connsiteX5587" fmla="*/ 1850352 w 6884782"/>
              <a:gd name="connsiteY5587" fmla="*/ 5081389 h 5973007"/>
              <a:gd name="connsiteX5588" fmla="*/ 1848958 w 6884782"/>
              <a:gd name="connsiteY5588" fmla="*/ 5082215 h 5973007"/>
              <a:gd name="connsiteX5589" fmla="*/ 1849578 w 6884782"/>
              <a:gd name="connsiteY5589" fmla="*/ 5082938 h 5973007"/>
              <a:gd name="connsiteX5590" fmla="*/ 1847874 w 6884782"/>
              <a:gd name="connsiteY5590" fmla="*/ 5083041 h 5973007"/>
              <a:gd name="connsiteX5591" fmla="*/ 1847254 w 6884782"/>
              <a:gd name="connsiteY5591" fmla="*/ 5082318 h 5973007"/>
              <a:gd name="connsiteX5592" fmla="*/ 1847100 w 6884782"/>
              <a:gd name="connsiteY5592" fmla="*/ 5082215 h 5973007"/>
              <a:gd name="connsiteX5593" fmla="*/ 1846945 w 6884782"/>
              <a:gd name="connsiteY5593" fmla="*/ 5080460 h 5973007"/>
              <a:gd name="connsiteX5594" fmla="*/ 1847874 w 6884782"/>
              <a:gd name="connsiteY5594" fmla="*/ 5078911 h 5973007"/>
              <a:gd name="connsiteX5595" fmla="*/ 1568441 w 6884782"/>
              <a:gd name="connsiteY5595" fmla="*/ 5078188 h 5973007"/>
              <a:gd name="connsiteX5596" fmla="*/ 1572933 w 6884782"/>
              <a:gd name="connsiteY5596" fmla="*/ 5080563 h 5973007"/>
              <a:gd name="connsiteX5597" fmla="*/ 1573708 w 6884782"/>
              <a:gd name="connsiteY5597" fmla="*/ 5090992 h 5973007"/>
              <a:gd name="connsiteX5598" fmla="*/ 1564723 w 6884782"/>
              <a:gd name="connsiteY5598" fmla="*/ 5093264 h 5973007"/>
              <a:gd name="connsiteX5599" fmla="*/ 1564104 w 6884782"/>
              <a:gd name="connsiteY5599" fmla="*/ 5095019 h 5973007"/>
              <a:gd name="connsiteX5600" fmla="*/ 1561006 w 6884782"/>
              <a:gd name="connsiteY5600" fmla="*/ 5096981 h 5973007"/>
              <a:gd name="connsiteX5601" fmla="*/ 1559922 w 6884782"/>
              <a:gd name="connsiteY5601" fmla="*/ 5095226 h 5973007"/>
              <a:gd name="connsiteX5602" fmla="*/ 1562865 w 6884782"/>
              <a:gd name="connsiteY5602" fmla="*/ 5092541 h 5973007"/>
              <a:gd name="connsiteX5603" fmla="*/ 1562710 w 6884782"/>
              <a:gd name="connsiteY5603" fmla="*/ 5091612 h 5973007"/>
              <a:gd name="connsiteX5604" fmla="*/ 1560851 w 6884782"/>
              <a:gd name="connsiteY5604" fmla="*/ 5089960 h 5973007"/>
              <a:gd name="connsiteX5605" fmla="*/ 1559612 w 6884782"/>
              <a:gd name="connsiteY5605" fmla="*/ 5081389 h 5973007"/>
              <a:gd name="connsiteX5606" fmla="*/ 1568441 w 6884782"/>
              <a:gd name="connsiteY5606" fmla="*/ 5078188 h 5973007"/>
              <a:gd name="connsiteX5607" fmla="*/ 2566747 w 6884782"/>
              <a:gd name="connsiteY5607" fmla="*/ 5077775 h 5973007"/>
              <a:gd name="connsiteX5608" fmla="*/ 2570929 w 6884782"/>
              <a:gd name="connsiteY5608" fmla="*/ 5081183 h 5973007"/>
              <a:gd name="connsiteX5609" fmla="*/ 2571239 w 6884782"/>
              <a:gd name="connsiteY5609" fmla="*/ 5085107 h 5973007"/>
              <a:gd name="connsiteX5610" fmla="*/ 2572633 w 6884782"/>
              <a:gd name="connsiteY5610" fmla="*/ 5083971 h 5973007"/>
              <a:gd name="connsiteX5611" fmla="*/ 2576661 w 6884782"/>
              <a:gd name="connsiteY5611" fmla="*/ 5087378 h 5973007"/>
              <a:gd name="connsiteX5612" fmla="*/ 2573098 w 6884782"/>
              <a:gd name="connsiteY5612" fmla="*/ 5088617 h 5973007"/>
              <a:gd name="connsiteX5613" fmla="*/ 2571394 w 6884782"/>
              <a:gd name="connsiteY5613" fmla="*/ 5087069 h 5973007"/>
              <a:gd name="connsiteX5614" fmla="*/ 2571549 w 6884782"/>
              <a:gd name="connsiteY5614" fmla="*/ 5087688 h 5973007"/>
              <a:gd name="connsiteX5615" fmla="*/ 2566592 w 6884782"/>
              <a:gd name="connsiteY5615" fmla="*/ 5089340 h 5973007"/>
              <a:gd name="connsiteX5616" fmla="*/ 2565353 w 6884782"/>
              <a:gd name="connsiteY5616" fmla="*/ 5091612 h 5973007"/>
              <a:gd name="connsiteX5617" fmla="*/ 2562875 w 6884782"/>
              <a:gd name="connsiteY5617" fmla="*/ 5082318 h 5973007"/>
              <a:gd name="connsiteX5618" fmla="*/ 2563494 w 6884782"/>
              <a:gd name="connsiteY5618" fmla="*/ 5081492 h 5973007"/>
              <a:gd name="connsiteX5619" fmla="*/ 2563494 w 6884782"/>
              <a:gd name="connsiteY5619" fmla="*/ 5079118 h 5973007"/>
              <a:gd name="connsiteX5620" fmla="*/ 2566747 w 6884782"/>
              <a:gd name="connsiteY5620" fmla="*/ 5077775 h 5973007"/>
              <a:gd name="connsiteX5621" fmla="*/ 2169594 w 6884782"/>
              <a:gd name="connsiteY5621" fmla="*/ 5077259 h 5973007"/>
              <a:gd name="connsiteX5622" fmla="*/ 2168819 w 6884782"/>
              <a:gd name="connsiteY5622" fmla="*/ 5079634 h 5973007"/>
              <a:gd name="connsiteX5623" fmla="*/ 2160300 w 6884782"/>
              <a:gd name="connsiteY5623" fmla="*/ 5085107 h 5973007"/>
              <a:gd name="connsiteX5624" fmla="*/ 2169594 w 6884782"/>
              <a:gd name="connsiteY5624" fmla="*/ 5077259 h 5973007"/>
              <a:gd name="connsiteX5625" fmla="*/ 1917422 w 6884782"/>
              <a:gd name="connsiteY5625" fmla="*/ 5077052 h 5973007"/>
              <a:gd name="connsiteX5626" fmla="*/ 1918043 w 6884782"/>
              <a:gd name="connsiteY5626" fmla="*/ 5078911 h 5973007"/>
              <a:gd name="connsiteX5627" fmla="*/ 1918507 w 6884782"/>
              <a:gd name="connsiteY5627" fmla="*/ 5078395 h 5973007"/>
              <a:gd name="connsiteX5628" fmla="*/ 1922689 w 6884782"/>
              <a:gd name="connsiteY5628" fmla="*/ 5077259 h 5973007"/>
              <a:gd name="connsiteX5629" fmla="*/ 1920056 w 6884782"/>
              <a:gd name="connsiteY5629" fmla="*/ 5079841 h 5973007"/>
              <a:gd name="connsiteX5630" fmla="*/ 1918662 w 6884782"/>
              <a:gd name="connsiteY5630" fmla="*/ 5080770 h 5973007"/>
              <a:gd name="connsiteX5631" fmla="*/ 1919436 w 6884782"/>
              <a:gd name="connsiteY5631" fmla="*/ 5083041 h 5973007"/>
              <a:gd name="connsiteX5632" fmla="*/ 1916338 w 6884782"/>
              <a:gd name="connsiteY5632" fmla="*/ 5089237 h 5973007"/>
              <a:gd name="connsiteX5633" fmla="*/ 1909368 w 6884782"/>
              <a:gd name="connsiteY5633" fmla="*/ 5081596 h 5973007"/>
              <a:gd name="connsiteX5634" fmla="*/ 1917422 w 6884782"/>
              <a:gd name="connsiteY5634" fmla="*/ 5077052 h 5973007"/>
              <a:gd name="connsiteX5635" fmla="*/ 2012994 w 6884782"/>
              <a:gd name="connsiteY5635" fmla="*/ 5075813 h 5973007"/>
              <a:gd name="connsiteX5636" fmla="*/ 2011290 w 6884782"/>
              <a:gd name="connsiteY5636" fmla="*/ 5085003 h 5973007"/>
              <a:gd name="connsiteX5637" fmla="*/ 2009895 w 6884782"/>
              <a:gd name="connsiteY5637" fmla="*/ 5083145 h 5973007"/>
              <a:gd name="connsiteX5638" fmla="*/ 2012994 w 6884782"/>
              <a:gd name="connsiteY5638" fmla="*/ 5075813 h 5973007"/>
              <a:gd name="connsiteX5639" fmla="*/ 1769961 w 6884782"/>
              <a:gd name="connsiteY5639" fmla="*/ 5075607 h 5973007"/>
              <a:gd name="connsiteX5640" fmla="*/ 1764540 w 6884782"/>
              <a:gd name="connsiteY5640" fmla="*/ 5086346 h 5973007"/>
              <a:gd name="connsiteX5641" fmla="*/ 1760357 w 6884782"/>
              <a:gd name="connsiteY5641" fmla="*/ 5085519 h 5973007"/>
              <a:gd name="connsiteX5642" fmla="*/ 1769961 w 6884782"/>
              <a:gd name="connsiteY5642" fmla="*/ 5075607 h 5973007"/>
              <a:gd name="connsiteX5643" fmla="*/ 2559003 w 6884782"/>
              <a:gd name="connsiteY5643" fmla="*/ 5075194 h 5973007"/>
              <a:gd name="connsiteX5644" fmla="*/ 2560087 w 6884782"/>
              <a:gd name="connsiteY5644" fmla="*/ 5076846 h 5973007"/>
              <a:gd name="connsiteX5645" fmla="*/ 2561481 w 6884782"/>
              <a:gd name="connsiteY5645" fmla="*/ 5081183 h 5973007"/>
              <a:gd name="connsiteX5646" fmla="*/ 2559003 w 6884782"/>
              <a:gd name="connsiteY5646" fmla="*/ 5082938 h 5973007"/>
              <a:gd name="connsiteX5647" fmla="*/ 2555595 w 6884782"/>
              <a:gd name="connsiteY5647" fmla="*/ 5081492 h 5973007"/>
              <a:gd name="connsiteX5648" fmla="*/ 2551258 w 6884782"/>
              <a:gd name="connsiteY5648" fmla="*/ 5075607 h 5973007"/>
              <a:gd name="connsiteX5649" fmla="*/ 2559003 w 6884782"/>
              <a:gd name="connsiteY5649" fmla="*/ 5075194 h 5973007"/>
              <a:gd name="connsiteX5650" fmla="*/ 2300171 w 6884782"/>
              <a:gd name="connsiteY5650" fmla="*/ 5074471 h 5973007"/>
              <a:gd name="connsiteX5651" fmla="*/ 2300480 w 6884782"/>
              <a:gd name="connsiteY5651" fmla="*/ 5087894 h 5973007"/>
              <a:gd name="connsiteX5652" fmla="*/ 2300790 w 6884782"/>
              <a:gd name="connsiteY5652" fmla="*/ 5089960 h 5973007"/>
              <a:gd name="connsiteX5653" fmla="*/ 2302494 w 6884782"/>
              <a:gd name="connsiteY5653" fmla="*/ 5088617 h 5973007"/>
              <a:gd name="connsiteX5654" fmla="*/ 2304663 w 6884782"/>
              <a:gd name="connsiteY5654" fmla="*/ 5088308 h 5973007"/>
              <a:gd name="connsiteX5655" fmla="*/ 2301100 w 6884782"/>
              <a:gd name="connsiteY5655" fmla="*/ 5091199 h 5973007"/>
              <a:gd name="connsiteX5656" fmla="*/ 2301100 w 6884782"/>
              <a:gd name="connsiteY5656" fmla="*/ 5091405 h 5973007"/>
              <a:gd name="connsiteX5657" fmla="*/ 2300790 w 6884782"/>
              <a:gd name="connsiteY5657" fmla="*/ 5091405 h 5973007"/>
              <a:gd name="connsiteX5658" fmla="*/ 2300016 w 6884782"/>
              <a:gd name="connsiteY5658" fmla="*/ 5092025 h 5973007"/>
              <a:gd name="connsiteX5659" fmla="*/ 2299551 w 6884782"/>
              <a:gd name="connsiteY5659" fmla="*/ 5094606 h 5973007"/>
              <a:gd name="connsiteX5660" fmla="*/ 2294750 w 6884782"/>
              <a:gd name="connsiteY5660" fmla="*/ 5096671 h 5973007"/>
              <a:gd name="connsiteX5661" fmla="*/ 2294130 w 6884782"/>
              <a:gd name="connsiteY5661" fmla="*/ 5092335 h 5973007"/>
              <a:gd name="connsiteX5662" fmla="*/ 2296918 w 6884782"/>
              <a:gd name="connsiteY5662" fmla="*/ 5090063 h 5973007"/>
              <a:gd name="connsiteX5663" fmla="*/ 2298467 w 6884782"/>
              <a:gd name="connsiteY5663" fmla="*/ 5090166 h 5973007"/>
              <a:gd name="connsiteX5664" fmla="*/ 2298003 w 6884782"/>
              <a:gd name="connsiteY5664" fmla="*/ 5089650 h 5973007"/>
              <a:gd name="connsiteX5665" fmla="*/ 2298777 w 6884782"/>
              <a:gd name="connsiteY5665" fmla="*/ 5088204 h 5973007"/>
              <a:gd name="connsiteX5666" fmla="*/ 2300171 w 6884782"/>
              <a:gd name="connsiteY5666" fmla="*/ 5074471 h 5973007"/>
              <a:gd name="connsiteX5667" fmla="*/ 2247817 w 6884782"/>
              <a:gd name="connsiteY5667" fmla="*/ 5074471 h 5973007"/>
              <a:gd name="connsiteX5668" fmla="*/ 2252153 w 6884782"/>
              <a:gd name="connsiteY5668" fmla="*/ 5077259 h 5973007"/>
              <a:gd name="connsiteX5669" fmla="*/ 2252618 w 6884782"/>
              <a:gd name="connsiteY5669" fmla="*/ 5079634 h 5973007"/>
              <a:gd name="connsiteX5670" fmla="*/ 2257420 w 6884782"/>
              <a:gd name="connsiteY5670" fmla="*/ 5081492 h 5973007"/>
              <a:gd name="connsiteX5671" fmla="*/ 2259898 w 6884782"/>
              <a:gd name="connsiteY5671" fmla="*/ 5086655 h 5973007"/>
              <a:gd name="connsiteX5672" fmla="*/ 2257575 w 6884782"/>
              <a:gd name="connsiteY5672" fmla="*/ 5087688 h 5973007"/>
              <a:gd name="connsiteX5673" fmla="*/ 2252618 w 6884782"/>
              <a:gd name="connsiteY5673" fmla="*/ 5085519 h 5973007"/>
              <a:gd name="connsiteX5674" fmla="*/ 2251689 w 6884782"/>
              <a:gd name="connsiteY5674" fmla="*/ 5087688 h 5973007"/>
              <a:gd name="connsiteX5675" fmla="*/ 2248591 w 6884782"/>
              <a:gd name="connsiteY5675" fmla="*/ 5089856 h 5973007"/>
              <a:gd name="connsiteX5676" fmla="*/ 2247507 w 6884782"/>
              <a:gd name="connsiteY5676" fmla="*/ 5089856 h 5973007"/>
              <a:gd name="connsiteX5677" fmla="*/ 2247661 w 6884782"/>
              <a:gd name="connsiteY5677" fmla="*/ 5090785 h 5973007"/>
              <a:gd name="connsiteX5678" fmla="*/ 2245028 w 6884782"/>
              <a:gd name="connsiteY5678" fmla="*/ 5092231 h 5973007"/>
              <a:gd name="connsiteX5679" fmla="*/ 2244099 w 6884782"/>
              <a:gd name="connsiteY5679" fmla="*/ 5093780 h 5973007"/>
              <a:gd name="connsiteX5680" fmla="*/ 2241311 w 6884782"/>
              <a:gd name="connsiteY5680" fmla="*/ 5094090 h 5973007"/>
              <a:gd name="connsiteX5681" fmla="*/ 2240072 w 6884782"/>
              <a:gd name="connsiteY5681" fmla="*/ 5092025 h 5973007"/>
              <a:gd name="connsiteX5682" fmla="*/ 2239916 w 6884782"/>
              <a:gd name="connsiteY5682" fmla="*/ 5091508 h 5973007"/>
              <a:gd name="connsiteX5683" fmla="*/ 2238367 w 6884782"/>
              <a:gd name="connsiteY5683" fmla="*/ 5092231 h 5973007"/>
              <a:gd name="connsiteX5684" fmla="*/ 2237438 w 6884782"/>
              <a:gd name="connsiteY5684" fmla="*/ 5090476 h 5973007"/>
              <a:gd name="connsiteX5685" fmla="*/ 2239142 w 6884782"/>
              <a:gd name="connsiteY5685" fmla="*/ 5089134 h 5973007"/>
              <a:gd name="connsiteX5686" fmla="*/ 2238987 w 6884782"/>
              <a:gd name="connsiteY5686" fmla="*/ 5088411 h 5973007"/>
              <a:gd name="connsiteX5687" fmla="*/ 2239142 w 6884782"/>
              <a:gd name="connsiteY5687" fmla="*/ 5085623 h 5973007"/>
              <a:gd name="connsiteX5688" fmla="*/ 2238987 w 6884782"/>
              <a:gd name="connsiteY5688" fmla="*/ 5085313 h 5973007"/>
              <a:gd name="connsiteX5689" fmla="*/ 2238678 w 6884782"/>
              <a:gd name="connsiteY5689" fmla="*/ 5076743 h 5973007"/>
              <a:gd name="connsiteX5690" fmla="*/ 2247817 w 6884782"/>
              <a:gd name="connsiteY5690" fmla="*/ 5074471 h 5973007"/>
              <a:gd name="connsiteX5691" fmla="*/ 2295834 w 6884782"/>
              <a:gd name="connsiteY5691" fmla="*/ 5074161 h 5973007"/>
              <a:gd name="connsiteX5692" fmla="*/ 2296454 w 6884782"/>
              <a:gd name="connsiteY5692" fmla="*/ 5074471 h 5973007"/>
              <a:gd name="connsiteX5693" fmla="*/ 2294595 w 6884782"/>
              <a:gd name="connsiteY5693" fmla="*/ 5083351 h 5973007"/>
              <a:gd name="connsiteX5694" fmla="*/ 2293046 w 6884782"/>
              <a:gd name="connsiteY5694" fmla="*/ 5086036 h 5973007"/>
              <a:gd name="connsiteX5695" fmla="*/ 2293355 w 6884782"/>
              <a:gd name="connsiteY5695" fmla="*/ 5085313 h 5973007"/>
              <a:gd name="connsiteX5696" fmla="*/ 2292271 w 6884782"/>
              <a:gd name="connsiteY5696" fmla="*/ 5085623 h 5973007"/>
              <a:gd name="connsiteX5697" fmla="*/ 2295834 w 6884782"/>
              <a:gd name="connsiteY5697" fmla="*/ 5074161 h 5973007"/>
              <a:gd name="connsiteX5698" fmla="*/ 2320617 w 6884782"/>
              <a:gd name="connsiteY5698" fmla="*/ 5073439 h 5973007"/>
              <a:gd name="connsiteX5699" fmla="*/ 2320772 w 6884782"/>
              <a:gd name="connsiteY5699" fmla="*/ 5076846 h 5973007"/>
              <a:gd name="connsiteX5700" fmla="*/ 2314576 w 6884782"/>
              <a:gd name="connsiteY5700" fmla="*/ 5080667 h 5973007"/>
              <a:gd name="connsiteX5701" fmla="*/ 2312408 w 6884782"/>
              <a:gd name="connsiteY5701" fmla="*/ 5079944 h 5973007"/>
              <a:gd name="connsiteX5702" fmla="*/ 2313182 w 6884782"/>
              <a:gd name="connsiteY5702" fmla="*/ 5075710 h 5973007"/>
              <a:gd name="connsiteX5703" fmla="*/ 2320617 w 6884782"/>
              <a:gd name="connsiteY5703" fmla="*/ 5073439 h 5973007"/>
              <a:gd name="connsiteX5704" fmla="*/ 2123745 w 6884782"/>
              <a:gd name="connsiteY5704" fmla="*/ 5073026 h 5973007"/>
              <a:gd name="connsiteX5705" fmla="*/ 2129165 w 6884782"/>
              <a:gd name="connsiteY5705" fmla="*/ 5077982 h 5973007"/>
              <a:gd name="connsiteX5706" fmla="*/ 2126223 w 6884782"/>
              <a:gd name="connsiteY5706" fmla="*/ 5085003 h 5973007"/>
              <a:gd name="connsiteX5707" fmla="*/ 2120646 w 6884782"/>
              <a:gd name="connsiteY5707" fmla="*/ 5086862 h 5973007"/>
              <a:gd name="connsiteX5708" fmla="*/ 2116155 w 6884782"/>
              <a:gd name="connsiteY5708" fmla="*/ 5084280 h 5973007"/>
              <a:gd name="connsiteX5709" fmla="*/ 2114916 w 6884782"/>
              <a:gd name="connsiteY5709" fmla="*/ 5080667 h 5973007"/>
              <a:gd name="connsiteX5710" fmla="*/ 2114916 w 6884782"/>
              <a:gd name="connsiteY5710" fmla="*/ 5080460 h 5973007"/>
              <a:gd name="connsiteX5711" fmla="*/ 2113676 w 6884782"/>
              <a:gd name="connsiteY5711" fmla="*/ 5081389 h 5973007"/>
              <a:gd name="connsiteX5712" fmla="*/ 2111972 w 6884782"/>
              <a:gd name="connsiteY5712" fmla="*/ 5081389 h 5973007"/>
              <a:gd name="connsiteX5713" fmla="*/ 2111043 w 6884782"/>
              <a:gd name="connsiteY5713" fmla="*/ 5079634 h 5973007"/>
              <a:gd name="connsiteX5714" fmla="*/ 2110423 w 6884782"/>
              <a:gd name="connsiteY5714" fmla="*/ 5076123 h 5973007"/>
              <a:gd name="connsiteX5715" fmla="*/ 2111817 w 6884782"/>
              <a:gd name="connsiteY5715" fmla="*/ 5074265 h 5973007"/>
              <a:gd name="connsiteX5716" fmla="*/ 2113676 w 6884782"/>
              <a:gd name="connsiteY5716" fmla="*/ 5074987 h 5973007"/>
              <a:gd name="connsiteX5717" fmla="*/ 2115225 w 6884782"/>
              <a:gd name="connsiteY5717" fmla="*/ 5074987 h 5973007"/>
              <a:gd name="connsiteX5718" fmla="*/ 2115380 w 6884782"/>
              <a:gd name="connsiteY5718" fmla="*/ 5075813 h 5973007"/>
              <a:gd name="connsiteX5719" fmla="*/ 2115225 w 6884782"/>
              <a:gd name="connsiteY5719" fmla="*/ 5075917 h 5973007"/>
              <a:gd name="connsiteX5720" fmla="*/ 2115844 w 6884782"/>
              <a:gd name="connsiteY5720" fmla="*/ 5076330 h 5973007"/>
              <a:gd name="connsiteX5721" fmla="*/ 2116464 w 6884782"/>
              <a:gd name="connsiteY5721" fmla="*/ 5073955 h 5973007"/>
              <a:gd name="connsiteX5722" fmla="*/ 2123745 w 6884782"/>
              <a:gd name="connsiteY5722" fmla="*/ 5073026 h 5973007"/>
              <a:gd name="connsiteX5723" fmla="*/ 2537317 w 6884782"/>
              <a:gd name="connsiteY5723" fmla="*/ 5073025 h 5973007"/>
              <a:gd name="connsiteX5724" fmla="*/ 2543203 w 6884782"/>
              <a:gd name="connsiteY5724" fmla="*/ 5078808 h 5973007"/>
              <a:gd name="connsiteX5725" fmla="*/ 2539176 w 6884782"/>
              <a:gd name="connsiteY5725" fmla="*/ 5084590 h 5973007"/>
              <a:gd name="connsiteX5726" fmla="*/ 2537472 w 6884782"/>
              <a:gd name="connsiteY5726" fmla="*/ 5083558 h 5973007"/>
              <a:gd name="connsiteX5727" fmla="*/ 2535923 w 6884782"/>
              <a:gd name="connsiteY5727" fmla="*/ 5082009 h 5973007"/>
              <a:gd name="connsiteX5728" fmla="*/ 2534219 w 6884782"/>
              <a:gd name="connsiteY5728" fmla="*/ 5077156 h 5973007"/>
              <a:gd name="connsiteX5729" fmla="*/ 2536078 w 6884782"/>
              <a:gd name="connsiteY5729" fmla="*/ 5073955 h 5973007"/>
              <a:gd name="connsiteX5730" fmla="*/ 2537317 w 6884782"/>
              <a:gd name="connsiteY5730" fmla="*/ 5073025 h 5973007"/>
              <a:gd name="connsiteX5731" fmla="*/ 1736503 w 6884782"/>
              <a:gd name="connsiteY5731" fmla="*/ 5071993 h 5973007"/>
              <a:gd name="connsiteX5732" fmla="*/ 1739137 w 6884782"/>
              <a:gd name="connsiteY5732" fmla="*/ 5074781 h 5973007"/>
              <a:gd name="connsiteX5733" fmla="*/ 1732166 w 6884782"/>
              <a:gd name="connsiteY5733" fmla="*/ 5082009 h 5973007"/>
              <a:gd name="connsiteX5734" fmla="*/ 1728449 w 6884782"/>
              <a:gd name="connsiteY5734" fmla="*/ 5077775 h 5973007"/>
              <a:gd name="connsiteX5735" fmla="*/ 1736503 w 6884782"/>
              <a:gd name="connsiteY5735" fmla="*/ 5071993 h 5973007"/>
              <a:gd name="connsiteX5736" fmla="*/ 2429199 w 6884782"/>
              <a:gd name="connsiteY5736" fmla="*/ 5070857 h 5973007"/>
              <a:gd name="connsiteX5737" fmla="*/ 2430129 w 6884782"/>
              <a:gd name="connsiteY5737" fmla="*/ 5072716 h 5973007"/>
              <a:gd name="connsiteX5738" fmla="*/ 2430748 w 6884782"/>
              <a:gd name="connsiteY5738" fmla="*/ 5072922 h 5973007"/>
              <a:gd name="connsiteX5739" fmla="*/ 2431997 w 6884782"/>
              <a:gd name="connsiteY5739" fmla="*/ 5073982 h 5973007"/>
              <a:gd name="connsiteX5740" fmla="*/ 2431482 w 6884782"/>
              <a:gd name="connsiteY5740" fmla="*/ 5072172 h 5973007"/>
              <a:gd name="connsiteX5741" fmla="*/ 2296918 w 6884782"/>
              <a:gd name="connsiteY5741" fmla="*/ 5070341 h 5973007"/>
              <a:gd name="connsiteX5742" fmla="*/ 2296299 w 6884782"/>
              <a:gd name="connsiteY5742" fmla="*/ 5071167 h 5973007"/>
              <a:gd name="connsiteX5743" fmla="*/ 2295370 w 6884782"/>
              <a:gd name="connsiteY5743" fmla="*/ 5070547 h 5973007"/>
              <a:gd name="connsiteX5744" fmla="*/ 2296918 w 6884782"/>
              <a:gd name="connsiteY5744" fmla="*/ 5070341 h 5973007"/>
              <a:gd name="connsiteX5745" fmla="*/ 2329601 w 6884782"/>
              <a:gd name="connsiteY5745" fmla="*/ 5070238 h 5973007"/>
              <a:gd name="connsiteX5746" fmla="*/ 2329756 w 6884782"/>
              <a:gd name="connsiteY5746" fmla="*/ 5072922 h 5973007"/>
              <a:gd name="connsiteX5747" fmla="*/ 2328207 w 6884782"/>
              <a:gd name="connsiteY5747" fmla="*/ 5073748 h 5973007"/>
              <a:gd name="connsiteX5748" fmla="*/ 2327432 w 6884782"/>
              <a:gd name="connsiteY5748" fmla="*/ 5076433 h 5973007"/>
              <a:gd name="connsiteX5749" fmla="*/ 2325883 w 6884782"/>
              <a:gd name="connsiteY5749" fmla="*/ 5076330 h 5973007"/>
              <a:gd name="connsiteX5750" fmla="*/ 2327277 w 6884782"/>
              <a:gd name="connsiteY5750" fmla="*/ 5071064 h 5973007"/>
              <a:gd name="connsiteX5751" fmla="*/ 2329601 w 6884782"/>
              <a:gd name="connsiteY5751" fmla="*/ 5070238 h 5973007"/>
              <a:gd name="connsiteX5752" fmla="*/ 1640158 w 6884782"/>
              <a:gd name="connsiteY5752" fmla="*/ 5069515 h 5973007"/>
              <a:gd name="connsiteX5753" fmla="*/ 1640622 w 6884782"/>
              <a:gd name="connsiteY5753" fmla="*/ 5072922 h 5973007"/>
              <a:gd name="connsiteX5754" fmla="*/ 1634891 w 6884782"/>
              <a:gd name="connsiteY5754" fmla="*/ 5077362 h 5973007"/>
              <a:gd name="connsiteX5755" fmla="*/ 1632878 w 6884782"/>
              <a:gd name="connsiteY5755" fmla="*/ 5076949 h 5973007"/>
              <a:gd name="connsiteX5756" fmla="*/ 1633033 w 6884782"/>
              <a:gd name="connsiteY5756" fmla="*/ 5072612 h 5973007"/>
              <a:gd name="connsiteX5757" fmla="*/ 1640158 w 6884782"/>
              <a:gd name="connsiteY5757" fmla="*/ 5069515 h 5973007"/>
              <a:gd name="connsiteX5758" fmla="*/ 2192674 w 6884782"/>
              <a:gd name="connsiteY5758" fmla="*/ 5069412 h 5973007"/>
              <a:gd name="connsiteX5759" fmla="*/ 2194222 w 6884782"/>
              <a:gd name="connsiteY5759" fmla="*/ 5082009 h 5973007"/>
              <a:gd name="connsiteX5760" fmla="*/ 2189265 w 6884782"/>
              <a:gd name="connsiteY5760" fmla="*/ 5071167 h 5973007"/>
              <a:gd name="connsiteX5761" fmla="*/ 2192674 w 6884782"/>
              <a:gd name="connsiteY5761" fmla="*/ 5069412 h 5973007"/>
              <a:gd name="connsiteX5762" fmla="*/ 2514218 w 6884782"/>
              <a:gd name="connsiteY5762" fmla="*/ 5069334 h 5973007"/>
              <a:gd name="connsiteX5763" fmla="*/ 2520124 w 6884782"/>
              <a:gd name="connsiteY5763" fmla="*/ 5069618 h 5973007"/>
              <a:gd name="connsiteX5764" fmla="*/ 2521053 w 6884782"/>
              <a:gd name="connsiteY5764" fmla="*/ 5074368 h 5973007"/>
              <a:gd name="connsiteX5765" fmla="*/ 2519349 w 6884782"/>
              <a:gd name="connsiteY5765" fmla="*/ 5076536 h 5973007"/>
              <a:gd name="connsiteX5766" fmla="*/ 2520743 w 6884782"/>
              <a:gd name="connsiteY5766" fmla="*/ 5078395 h 5973007"/>
              <a:gd name="connsiteX5767" fmla="*/ 2518265 w 6884782"/>
              <a:gd name="connsiteY5767" fmla="*/ 5080873 h 5973007"/>
              <a:gd name="connsiteX5768" fmla="*/ 2514857 w 6884782"/>
              <a:gd name="connsiteY5768" fmla="*/ 5078911 h 5973007"/>
              <a:gd name="connsiteX5769" fmla="*/ 2512224 w 6884782"/>
              <a:gd name="connsiteY5769" fmla="*/ 5078705 h 5973007"/>
              <a:gd name="connsiteX5770" fmla="*/ 2506493 w 6884782"/>
              <a:gd name="connsiteY5770" fmla="*/ 5078395 h 5973007"/>
              <a:gd name="connsiteX5771" fmla="*/ 2505408 w 6884782"/>
              <a:gd name="connsiteY5771" fmla="*/ 5074161 h 5973007"/>
              <a:gd name="connsiteX5772" fmla="*/ 2514218 w 6884782"/>
              <a:gd name="connsiteY5772" fmla="*/ 5069334 h 5973007"/>
              <a:gd name="connsiteX5773" fmla="*/ 1550163 w 6884782"/>
              <a:gd name="connsiteY5773" fmla="*/ 5068999 h 5973007"/>
              <a:gd name="connsiteX5774" fmla="*/ 1556049 w 6884782"/>
              <a:gd name="connsiteY5774" fmla="*/ 5073748 h 5973007"/>
              <a:gd name="connsiteX5775" fmla="*/ 1555585 w 6884782"/>
              <a:gd name="connsiteY5775" fmla="*/ 5078808 h 5973007"/>
              <a:gd name="connsiteX5776" fmla="*/ 1549853 w 6884782"/>
              <a:gd name="connsiteY5776" fmla="*/ 5084797 h 5973007"/>
              <a:gd name="connsiteX5777" fmla="*/ 1546911 w 6884782"/>
              <a:gd name="connsiteY5777" fmla="*/ 5081802 h 5973007"/>
              <a:gd name="connsiteX5778" fmla="*/ 1550163 w 6884782"/>
              <a:gd name="connsiteY5778" fmla="*/ 5068999 h 5973007"/>
              <a:gd name="connsiteX5779" fmla="*/ 1944839 w 6884782"/>
              <a:gd name="connsiteY5779" fmla="*/ 5068792 h 5973007"/>
              <a:gd name="connsiteX5780" fmla="*/ 1952739 w 6884782"/>
              <a:gd name="connsiteY5780" fmla="*/ 5071580 h 5973007"/>
              <a:gd name="connsiteX5781" fmla="*/ 1940967 w 6884782"/>
              <a:gd name="connsiteY5781" fmla="*/ 5089030 h 5973007"/>
              <a:gd name="connsiteX5782" fmla="*/ 1938643 w 6884782"/>
              <a:gd name="connsiteY5782" fmla="*/ 5084280 h 5973007"/>
              <a:gd name="connsiteX5783" fmla="*/ 1940192 w 6884782"/>
              <a:gd name="connsiteY5783" fmla="*/ 5075710 h 5973007"/>
              <a:gd name="connsiteX5784" fmla="*/ 1941276 w 6884782"/>
              <a:gd name="connsiteY5784" fmla="*/ 5074161 h 5973007"/>
              <a:gd name="connsiteX5785" fmla="*/ 1941431 w 6884782"/>
              <a:gd name="connsiteY5785" fmla="*/ 5073439 h 5973007"/>
              <a:gd name="connsiteX5786" fmla="*/ 1942361 w 6884782"/>
              <a:gd name="connsiteY5786" fmla="*/ 5072612 h 5973007"/>
              <a:gd name="connsiteX5787" fmla="*/ 1880713 w 6884782"/>
              <a:gd name="connsiteY5787" fmla="*/ 5068689 h 5973007"/>
              <a:gd name="connsiteX5788" fmla="*/ 1880247 w 6884782"/>
              <a:gd name="connsiteY5788" fmla="*/ 5073129 h 5973007"/>
              <a:gd name="connsiteX5789" fmla="*/ 1877149 w 6884782"/>
              <a:gd name="connsiteY5789" fmla="*/ 5075194 h 5973007"/>
              <a:gd name="connsiteX5790" fmla="*/ 1873277 w 6884782"/>
              <a:gd name="connsiteY5790" fmla="*/ 5074678 h 5973007"/>
              <a:gd name="connsiteX5791" fmla="*/ 1874051 w 6884782"/>
              <a:gd name="connsiteY5791" fmla="*/ 5074678 h 5973007"/>
              <a:gd name="connsiteX5792" fmla="*/ 1874361 w 6884782"/>
              <a:gd name="connsiteY5792" fmla="*/ 5072922 h 5973007"/>
              <a:gd name="connsiteX5793" fmla="*/ 1873432 w 6884782"/>
              <a:gd name="connsiteY5793" fmla="*/ 5072922 h 5973007"/>
              <a:gd name="connsiteX5794" fmla="*/ 1874516 w 6884782"/>
              <a:gd name="connsiteY5794" fmla="*/ 5071167 h 5973007"/>
              <a:gd name="connsiteX5795" fmla="*/ 1880713 w 6884782"/>
              <a:gd name="connsiteY5795" fmla="*/ 5068689 h 5973007"/>
              <a:gd name="connsiteX5796" fmla="*/ 2477624 w 6884782"/>
              <a:gd name="connsiteY5796" fmla="*/ 5067617 h 5973007"/>
              <a:gd name="connsiteX5797" fmla="*/ 2488060 w 6884782"/>
              <a:gd name="connsiteY5797" fmla="*/ 5071270 h 5973007"/>
              <a:gd name="connsiteX5798" fmla="*/ 2476907 w 6884782"/>
              <a:gd name="connsiteY5798" fmla="*/ 5082215 h 5973007"/>
              <a:gd name="connsiteX5799" fmla="*/ 2472416 w 6884782"/>
              <a:gd name="connsiteY5799" fmla="*/ 5077052 h 5973007"/>
              <a:gd name="connsiteX5800" fmla="*/ 2477624 w 6884782"/>
              <a:gd name="connsiteY5800" fmla="*/ 5067617 h 5973007"/>
              <a:gd name="connsiteX5801" fmla="*/ 2299241 w 6884782"/>
              <a:gd name="connsiteY5801" fmla="*/ 5066417 h 5973007"/>
              <a:gd name="connsiteX5802" fmla="*/ 2300171 w 6884782"/>
              <a:gd name="connsiteY5802" fmla="*/ 5070857 h 5973007"/>
              <a:gd name="connsiteX5803" fmla="*/ 2299087 w 6884782"/>
              <a:gd name="connsiteY5803" fmla="*/ 5071167 h 5973007"/>
              <a:gd name="connsiteX5804" fmla="*/ 2299241 w 6884782"/>
              <a:gd name="connsiteY5804" fmla="*/ 5066417 h 5973007"/>
              <a:gd name="connsiteX5805" fmla="*/ 1829906 w 6884782"/>
              <a:gd name="connsiteY5805" fmla="*/ 5066004 h 5973007"/>
              <a:gd name="connsiteX5806" fmla="*/ 1830835 w 6884782"/>
              <a:gd name="connsiteY5806" fmla="*/ 5072303 h 5973007"/>
              <a:gd name="connsiteX5807" fmla="*/ 1829441 w 6884782"/>
              <a:gd name="connsiteY5807" fmla="*/ 5069515 h 5973007"/>
              <a:gd name="connsiteX5808" fmla="*/ 1829906 w 6884782"/>
              <a:gd name="connsiteY5808" fmla="*/ 5066004 h 5973007"/>
              <a:gd name="connsiteX5809" fmla="*/ 1999207 w 6884782"/>
              <a:gd name="connsiteY5809" fmla="*/ 5065591 h 5973007"/>
              <a:gd name="connsiteX5810" fmla="*/ 2000912 w 6884782"/>
              <a:gd name="connsiteY5810" fmla="*/ 5066417 h 5973007"/>
              <a:gd name="connsiteX5811" fmla="*/ 2002460 w 6884782"/>
              <a:gd name="connsiteY5811" fmla="*/ 5066727 h 5973007"/>
              <a:gd name="connsiteX5812" fmla="*/ 2002460 w 6884782"/>
              <a:gd name="connsiteY5812" fmla="*/ 5067450 h 5973007"/>
              <a:gd name="connsiteX5813" fmla="*/ 2005249 w 6884782"/>
              <a:gd name="connsiteY5813" fmla="*/ 5073129 h 5973007"/>
              <a:gd name="connsiteX5814" fmla="*/ 2003854 w 6884782"/>
              <a:gd name="connsiteY5814" fmla="*/ 5077362 h 5973007"/>
              <a:gd name="connsiteX5815" fmla="*/ 1999672 w 6884782"/>
              <a:gd name="connsiteY5815" fmla="*/ 5077569 h 5973007"/>
              <a:gd name="connsiteX5816" fmla="*/ 1998123 w 6884782"/>
              <a:gd name="connsiteY5816" fmla="*/ 5076226 h 5973007"/>
              <a:gd name="connsiteX5817" fmla="*/ 1996265 w 6884782"/>
              <a:gd name="connsiteY5817" fmla="*/ 5077569 h 5973007"/>
              <a:gd name="connsiteX5818" fmla="*/ 1991927 w 6884782"/>
              <a:gd name="connsiteY5818" fmla="*/ 5080150 h 5973007"/>
              <a:gd name="connsiteX5819" fmla="*/ 1989139 w 6884782"/>
              <a:gd name="connsiteY5819" fmla="*/ 5076743 h 5973007"/>
              <a:gd name="connsiteX5820" fmla="*/ 1990224 w 6884782"/>
              <a:gd name="connsiteY5820" fmla="*/ 5072199 h 5973007"/>
              <a:gd name="connsiteX5821" fmla="*/ 1991153 w 6884782"/>
              <a:gd name="connsiteY5821" fmla="*/ 5071374 h 5973007"/>
              <a:gd name="connsiteX5822" fmla="*/ 1995490 w 6884782"/>
              <a:gd name="connsiteY5822" fmla="*/ 5068276 h 5973007"/>
              <a:gd name="connsiteX5823" fmla="*/ 1995800 w 6884782"/>
              <a:gd name="connsiteY5823" fmla="*/ 5066004 h 5973007"/>
              <a:gd name="connsiteX5824" fmla="*/ 1999207 w 6884782"/>
              <a:gd name="connsiteY5824" fmla="*/ 5065591 h 5973007"/>
              <a:gd name="connsiteX5825" fmla="*/ 1648833 w 6884782"/>
              <a:gd name="connsiteY5825" fmla="*/ 5065384 h 5973007"/>
              <a:gd name="connsiteX5826" fmla="*/ 1649142 w 6884782"/>
              <a:gd name="connsiteY5826" fmla="*/ 5068069 h 5973007"/>
              <a:gd name="connsiteX5827" fmla="*/ 1647593 w 6884782"/>
              <a:gd name="connsiteY5827" fmla="*/ 5069102 h 5973007"/>
              <a:gd name="connsiteX5828" fmla="*/ 1647283 w 6884782"/>
              <a:gd name="connsiteY5828" fmla="*/ 5071890 h 5973007"/>
              <a:gd name="connsiteX5829" fmla="*/ 1645734 w 6884782"/>
              <a:gd name="connsiteY5829" fmla="*/ 5071890 h 5973007"/>
              <a:gd name="connsiteX5830" fmla="*/ 1646509 w 6884782"/>
              <a:gd name="connsiteY5830" fmla="*/ 5066417 h 5973007"/>
              <a:gd name="connsiteX5831" fmla="*/ 1648833 w 6884782"/>
              <a:gd name="connsiteY5831" fmla="*/ 5065384 h 5973007"/>
              <a:gd name="connsiteX5832" fmla="*/ 2096541 w 6884782"/>
              <a:gd name="connsiteY5832" fmla="*/ 5064984 h 5973007"/>
              <a:gd name="connsiteX5833" fmla="*/ 2104537 w 6884782"/>
              <a:gd name="connsiteY5833" fmla="*/ 5066004 h 5973007"/>
              <a:gd name="connsiteX5834" fmla="*/ 2105157 w 6884782"/>
              <a:gd name="connsiteY5834" fmla="*/ 5073232 h 5973007"/>
              <a:gd name="connsiteX5835" fmla="*/ 2101749 w 6884782"/>
              <a:gd name="connsiteY5835" fmla="*/ 5073748 h 5973007"/>
              <a:gd name="connsiteX5836" fmla="*/ 2102059 w 6884782"/>
              <a:gd name="connsiteY5836" fmla="*/ 5074987 h 5973007"/>
              <a:gd name="connsiteX5837" fmla="*/ 2101130 w 6884782"/>
              <a:gd name="connsiteY5837" fmla="*/ 5078085 h 5973007"/>
              <a:gd name="connsiteX5838" fmla="*/ 2096947 w 6884782"/>
              <a:gd name="connsiteY5838" fmla="*/ 5074987 h 5973007"/>
              <a:gd name="connsiteX5839" fmla="*/ 2096792 w 6884782"/>
              <a:gd name="connsiteY5839" fmla="*/ 5074574 h 5973007"/>
              <a:gd name="connsiteX5840" fmla="*/ 2095243 w 6884782"/>
              <a:gd name="connsiteY5840" fmla="*/ 5074884 h 5973007"/>
              <a:gd name="connsiteX5841" fmla="*/ 2092145 w 6884782"/>
              <a:gd name="connsiteY5841" fmla="*/ 5073955 h 5973007"/>
              <a:gd name="connsiteX5842" fmla="*/ 2096541 w 6884782"/>
              <a:gd name="connsiteY5842" fmla="*/ 5064984 h 5973007"/>
              <a:gd name="connsiteX5843" fmla="*/ 2017795 w 6884782"/>
              <a:gd name="connsiteY5843" fmla="*/ 5063526 h 5973007"/>
              <a:gd name="connsiteX5844" fmla="*/ 2021822 w 6884782"/>
              <a:gd name="connsiteY5844" fmla="*/ 5070135 h 5973007"/>
              <a:gd name="connsiteX5845" fmla="*/ 2018260 w 6884782"/>
              <a:gd name="connsiteY5845" fmla="*/ 5071580 h 5973007"/>
              <a:gd name="connsiteX5846" fmla="*/ 2015471 w 6884782"/>
              <a:gd name="connsiteY5846" fmla="*/ 5069721 h 5973007"/>
              <a:gd name="connsiteX5847" fmla="*/ 2017795 w 6884782"/>
              <a:gd name="connsiteY5847" fmla="*/ 5063526 h 5973007"/>
              <a:gd name="connsiteX5848" fmla="*/ 2323560 w 6884782"/>
              <a:gd name="connsiteY5848" fmla="*/ 5063319 h 5973007"/>
              <a:gd name="connsiteX5849" fmla="*/ 2326193 w 6884782"/>
              <a:gd name="connsiteY5849" fmla="*/ 5063423 h 5973007"/>
              <a:gd name="connsiteX5850" fmla="*/ 2325419 w 6884782"/>
              <a:gd name="connsiteY5850" fmla="*/ 5065075 h 5973007"/>
              <a:gd name="connsiteX5851" fmla="*/ 2322166 w 6884782"/>
              <a:gd name="connsiteY5851" fmla="*/ 5069308 h 5973007"/>
              <a:gd name="connsiteX5852" fmla="*/ 2321082 w 6884782"/>
              <a:gd name="connsiteY5852" fmla="*/ 5066624 h 5973007"/>
              <a:gd name="connsiteX5853" fmla="*/ 2322786 w 6884782"/>
              <a:gd name="connsiteY5853" fmla="*/ 5064972 h 5973007"/>
              <a:gd name="connsiteX5854" fmla="*/ 2323560 w 6884782"/>
              <a:gd name="connsiteY5854" fmla="*/ 5063319 h 5973007"/>
              <a:gd name="connsiteX5855" fmla="*/ 2243169 w 6884782"/>
              <a:gd name="connsiteY5855" fmla="*/ 5063319 h 5973007"/>
              <a:gd name="connsiteX5856" fmla="*/ 2243944 w 6884782"/>
              <a:gd name="connsiteY5856" fmla="*/ 5063732 h 5973007"/>
              <a:gd name="connsiteX5857" fmla="*/ 2243789 w 6884782"/>
              <a:gd name="connsiteY5857" fmla="*/ 5065694 h 5973007"/>
              <a:gd name="connsiteX5858" fmla="*/ 2239762 w 6884782"/>
              <a:gd name="connsiteY5858" fmla="*/ 5072716 h 5973007"/>
              <a:gd name="connsiteX5859" fmla="*/ 2238987 w 6884782"/>
              <a:gd name="connsiteY5859" fmla="*/ 5074265 h 5973007"/>
              <a:gd name="connsiteX5860" fmla="*/ 2236819 w 6884782"/>
              <a:gd name="connsiteY5860" fmla="*/ 5074884 h 5973007"/>
              <a:gd name="connsiteX5861" fmla="*/ 2239297 w 6884782"/>
              <a:gd name="connsiteY5861" fmla="*/ 5067759 h 5973007"/>
              <a:gd name="connsiteX5862" fmla="*/ 2241001 w 6884782"/>
              <a:gd name="connsiteY5862" fmla="*/ 5063939 h 5973007"/>
              <a:gd name="connsiteX5863" fmla="*/ 2243169 w 6884782"/>
              <a:gd name="connsiteY5863" fmla="*/ 5063319 h 5973007"/>
              <a:gd name="connsiteX5864" fmla="*/ 2218851 w 6884782"/>
              <a:gd name="connsiteY5864" fmla="*/ 5063216 h 5973007"/>
              <a:gd name="connsiteX5865" fmla="*/ 2220864 w 6884782"/>
              <a:gd name="connsiteY5865" fmla="*/ 5064972 h 5973007"/>
              <a:gd name="connsiteX5866" fmla="*/ 2218851 w 6884782"/>
              <a:gd name="connsiteY5866" fmla="*/ 5067037 h 5973007"/>
              <a:gd name="connsiteX5867" fmla="*/ 2216372 w 6884782"/>
              <a:gd name="connsiteY5867" fmla="*/ 5067759 h 5973007"/>
              <a:gd name="connsiteX5868" fmla="*/ 2215443 w 6884782"/>
              <a:gd name="connsiteY5868" fmla="*/ 5066727 h 5973007"/>
              <a:gd name="connsiteX5869" fmla="*/ 2214823 w 6884782"/>
              <a:gd name="connsiteY5869" fmla="*/ 5064765 h 5973007"/>
              <a:gd name="connsiteX5870" fmla="*/ 2218851 w 6884782"/>
              <a:gd name="connsiteY5870" fmla="*/ 5063216 h 5973007"/>
              <a:gd name="connsiteX5871" fmla="*/ 2285766 w 6884782"/>
              <a:gd name="connsiteY5871" fmla="*/ 5059706 h 5973007"/>
              <a:gd name="connsiteX5872" fmla="*/ 2271670 w 6884782"/>
              <a:gd name="connsiteY5872" fmla="*/ 5066934 h 5973007"/>
              <a:gd name="connsiteX5873" fmla="*/ 2271515 w 6884782"/>
              <a:gd name="connsiteY5873" fmla="*/ 5063423 h 5973007"/>
              <a:gd name="connsiteX5874" fmla="*/ 2273219 w 6884782"/>
              <a:gd name="connsiteY5874" fmla="*/ 5063423 h 5973007"/>
              <a:gd name="connsiteX5875" fmla="*/ 2285766 w 6884782"/>
              <a:gd name="connsiteY5875" fmla="*/ 5059706 h 5973007"/>
              <a:gd name="connsiteX5876" fmla="*/ 2567522 w 6884782"/>
              <a:gd name="connsiteY5876" fmla="*/ 5059086 h 5973007"/>
              <a:gd name="connsiteX5877" fmla="*/ 2573717 w 6884782"/>
              <a:gd name="connsiteY5877" fmla="*/ 5067243 h 5973007"/>
              <a:gd name="connsiteX5878" fmla="*/ 2571239 w 6884782"/>
              <a:gd name="connsiteY5878" fmla="*/ 5067553 h 5973007"/>
              <a:gd name="connsiteX5879" fmla="*/ 2567522 w 6884782"/>
              <a:gd name="connsiteY5879" fmla="*/ 5059086 h 5973007"/>
              <a:gd name="connsiteX5880" fmla="*/ 1644805 w 6884782"/>
              <a:gd name="connsiteY5880" fmla="*/ 5058879 h 5973007"/>
              <a:gd name="connsiteX5881" fmla="*/ 1644185 w 6884782"/>
              <a:gd name="connsiteY5881" fmla="*/ 5060635 h 5973007"/>
              <a:gd name="connsiteX5882" fmla="*/ 1641242 w 6884782"/>
              <a:gd name="connsiteY5882" fmla="*/ 5065178 h 5973007"/>
              <a:gd name="connsiteX5883" fmla="*/ 1640003 w 6884782"/>
              <a:gd name="connsiteY5883" fmla="*/ 5062597 h 5973007"/>
              <a:gd name="connsiteX5884" fmla="*/ 1641552 w 6884782"/>
              <a:gd name="connsiteY5884" fmla="*/ 5060841 h 5973007"/>
              <a:gd name="connsiteX5885" fmla="*/ 1642172 w 6884782"/>
              <a:gd name="connsiteY5885" fmla="*/ 5058983 h 5973007"/>
              <a:gd name="connsiteX5886" fmla="*/ 1644805 w 6884782"/>
              <a:gd name="connsiteY5886" fmla="*/ 5058879 h 5973007"/>
              <a:gd name="connsiteX5887" fmla="*/ 1736658 w 6884782"/>
              <a:gd name="connsiteY5887" fmla="*/ 5058260 h 5973007"/>
              <a:gd name="connsiteX5888" fmla="*/ 1740066 w 6884782"/>
              <a:gd name="connsiteY5888" fmla="*/ 5064765 h 5973007"/>
              <a:gd name="connsiteX5889" fmla="*/ 1738053 w 6884782"/>
              <a:gd name="connsiteY5889" fmla="*/ 5070857 h 5973007"/>
              <a:gd name="connsiteX5890" fmla="*/ 1734645 w 6884782"/>
              <a:gd name="connsiteY5890" fmla="*/ 5068689 h 5973007"/>
              <a:gd name="connsiteX5891" fmla="*/ 1735110 w 6884782"/>
              <a:gd name="connsiteY5891" fmla="*/ 5063629 h 5973007"/>
              <a:gd name="connsiteX5892" fmla="*/ 1734799 w 6884782"/>
              <a:gd name="connsiteY5892" fmla="*/ 5060325 h 5973007"/>
              <a:gd name="connsiteX5893" fmla="*/ 1736658 w 6884782"/>
              <a:gd name="connsiteY5893" fmla="*/ 5058260 h 5973007"/>
              <a:gd name="connsiteX5894" fmla="*/ 2193448 w 6884782"/>
              <a:gd name="connsiteY5894" fmla="*/ 5058157 h 5973007"/>
              <a:gd name="connsiteX5895" fmla="*/ 2195771 w 6884782"/>
              <a:gd name="connsiteY5895" fmla="*/ 5066417 h 5973007"/>
              <a:gd name="connsiteX5896" fmla="*/ 2191434 w 6884782"/>
              <a:gd name="connsiteY5896" fmla="*/ 5068379 h 5973007"/>
              <a:gd name="connsiteX5897" fmla="*/ 2186012 w 6884782"/>
              <a:gd name="connsiteY5897" fmla="*/ 5067450 h 5973007"/>
              <a:gd name="connsiteX5898" fmla="*/ 2193448 w 6884782"/>
              <a:gd name="connsiteY5898" fmla="*/ 5058157 h 5973007"/>
              <a:gd name="connsiteX5899" fmla="*/ 1104217 w 6884782"/>
              <a:gd name="connsiteY5899" fmla="*/ 5057640 h 5973007"/>
              <a:gd name="connsiteX5900" fmla="*/ 1109948 w 6884782"/>
              <a:gd name="connsiteY5900" fmla="*/ 5059499 h 5973007"/>
              <a:gd name="connsiteX5901" fmla="*/ 1110413 w 6884782"/>
              <a:gd name="connsiteY5901" fmla="*/ 5062080 h 5973007"/>
              <a:gd name="connsiteX5902" fmla="*/ 1109174 w 6884782"/>
              <a:gd name="connsiteY5902" fmla="*/ 5067243 h 5973007"/>
              <a:gd name="connsiteX5903" fmla="*/ 1109948 w 6884782"/>
              <a:gd name="connsiteY5903" fmla="*/ 5067243 h 5973007"/>
              <a:gd name="connsiteX5904" fmla="*/ 1104837 w 6884782"/>
              <a:gd name="connsiteY5904" fmla="*/ 5068069 h 5973007"/>
              <a:gd name="connsiteX5905" fmla="*/ 1101893 w 6884782"/>
              <a:gd name="connsiteY5905" fmla="*/ 5064662 h 5973007"/>
              <a:gd name="connsiteX5906" fmla="*/ 1104217 w 6884782"/>
              <a:gd name="connsiteY5906" fmla="*/ 5057640 h 5973007"/>
              <a:gd name="connsiteX5907" fmla="*/ 2292271 w 6884782"/>
              <a:gd name="connsiteY5907" fmla="*/ 5055782 h 5973007"/>
              <a:gd name="connsiteX5908" fmla="*/ 2288864 w 6884782"/>
              <a:gd name="connsiteY5908" fmla="*/ 5058260 h 5973007"/>
              <a:gd name="connsiteX5909" fmla="*/ 2288089 w 6884782"/>
              <a:gd name="connsiteY5909" fmla="*/ 5057331 h 5973007"/>
              <a:gd name="connsiteX5910" fmla="*/ 2292271 w 6884782"/>
              <a:gd name="connsiteY5910" fmla="*/ 5055782 h 5973007"/>
              <a:gd name="connsiteX5911" fmla="*/ 2279008 w 6884782"/>
              <a:gd name="connsiteY5911" fmla="*/ 5055098 h 5973007"/>
              <a:gd name="connsiteX5912" fmla="*/ 2283752 w 6884782"/>
              <a:gd name="connsiteY5912" fmla="*/ 5055369 h 5973007"/>
              <a:gd name="connsiteX5913" fmla="*/ 2283752 w 6884782"/>
              <a:gd name="connsiteY5913" fmla="*/ 5056195 h 5973007"/>
              <a:gd name="connsiteX5914" fmla="*/ 2275078 w 6884782"/>
              <a:gd name="connsiteY5914" fmla="*/ 5057847 h 5973007"/>
              <a:gd name="connsiteX5915" fmla="*/ 2271980 w 6884782"/>
              <a:gd name="connsiteY5915" fmla="*/ 5057434 h 5973007"/>
              <a:gd name="connsiteX5916" fmla="*/ 2272755 w 6884782"/>
              <a:gd name="connsiteY5916" fmla="*/ 5057434 h 5973007"/>
              <a:gd name="connsiteX5917" fmla="*/ 2271825 w 6884782"/>
              <a:gd name="connsiteY5917" fmla="*/ 5056608 h 5973007"/>
              <a:gd name="connsiteX5918" fmla="*/ 2279008 w 6884782"/>
              <a:gd name="connsiteY5918" fmla="*/ 5055098 h 5973007"/>
              <a:gd name="connsiteX5919" fmla="*/ 1573553 w 6884782"/>
              <a:gd name="connsiteY5919" fmla="*/ 5055059 h 5973007"/>
              <a:gd name="connsiteX5920" fmla="*/ 1569216 w 6884782"/>
              <a:gd name="connsiteY5920" fmla="*/ 5062390 h 5973007"/>
              <a:gd name="connsiteX5921" fmla="*/ 1573553 w 6884782"/>
              <a:gd name="connsiteY5921" fmla="*/ 5055059 h 5973007"/>
              <a:gd name="connsiteX5922" fmla="*/ 2537472 w 6884782"/>
              <a:gd name="connsiteY5922" fmla="*/ 5054852 h 5973007"/>
              <a:gd name="connsiteX5923" fmla="*/ 2536078 w 6884782"/>
              <a:gd name="connsiteY5923" fmla="*/ 5066520 h 5973007"/>
              <a:gd name="connsiteX5924" fmla="*/ 2532360 w 6884782"/>
              <a:gd name="connsiteY5924" fmla="*/ 5062184 h 5973007"/>
              <a:gd name="connsiteX5925" fmla="*/ 2537472 w 6884782"/>
              <a:gd name="connsiteY5925" fmla="*/ 5054852 h 5973007"/>
              <a:gd name="connsiteX5926" fmla="*/ 1610573 w 6884782"/>
              <a:gd name="connsiteY5926" fmla="*/ 5054749 h 5973007"/>
              <a:gd name="connsiteX5927" fmla="*/ 1607475 w 6884782"/>
              <a:gd name="connsiteY5927" fmla="*/ 5057640 h 5973007"/>
              <a:gd name="connsiteX5928" fmla="*/ 1606546 w 6884782"/>
              <a:gd name="connsiteY5928" fmla="*/ 5056814 h 5973007"/>
              <a:gd name="connsiteX5929" fmla="*/ 1610573 w 6884782"/>
              <a:gd name="connsiteY5929" fmla="*/ 5054749 h 5973007"/>
              <a:gd name="connsiteX5930" fmla="*/ 2488524 w 6884782"/>
              <a:gd name="connsiteY5930" fmla="*/ 5054646 h 5973007"/>
              <a:gd name="connsiteX5931" fmla="*/ 2493636 w 6884782"/>
              <a:gd name="connsiteY5931" fmla="*/ 5057434 h 5973007"/>
              <a:gd name="connsiteX5932" fmla="*/ 2490538 w 6884782"/>
              <a:gd name="connsiteY5932" fmla="*/ 5061668 h 5973007"/>
              <a:gd name="connsiteX5933" fmla="*/ 2488524 w 6884782"/>
              <a:gd name="connsiteY5933" fmla="*/ 5054646 h 5973007"/>
              <a:gd name="connsiteX5934" fmla="*/ 2581462 w 6884782"/>
              <a:gd name="connsiteY5934" fmla="*/ 5053820 h 5973007"/>
              <a:gd name="connsiteX5935" fmla="*/ 2587658 w 6884782"/>
              <a:gd name="connsiteY5935" fmla="*/ 5063113 h 5973007"/>
              <a:gd name="connsiteX5936" fmla="*/ 2582392 w 6884782"/>
              <a:gd name="connsiteY5936" fmla="*/ 5063010 h 5973007"/>
              <a:gd name="connsiteX5937" fmla="*/ 2580378 w 6884782"/>
              <a:gd name="connsiteY5937" fmla="*/ 5058879 h 5973007"/>
              <a:gd name="connsiteX5938" fmla="*/ 2581462 w 6884782"/>
              <a:gd name="connsiteY5938" fmla="*/ 5053820 h 5973007"/>
              <a:gd name="connsiteX5939" fmla="*/ 2046393 w 6884782"/>
              <a:gd name="connsiteY5939" fmla="*/ 5053394 h 5973007"/>
              <a:gd name="connsiteX5940" fmla="*/ 2049239 w 6884782"/>
              <a:gd name="connsiteY5940" fmla="*/ 5057640 h 5973007"/>
              <a:gd name="connsiteX5941" fmla="*/ 2045676 w 6884782"/>
              <a:gd name="connsiteY5941" fmla="*/ 5058157 h 5973007"/>
              <a:gd name="connsiteX5942" fmla="*/ 2044127 w 6884782"/>
              <a:gd name="connsiteY5942" fmla="*/ 5057434 h 5973007"/>
              <a:gd name="connsiteX5943" fmla="*/ 2046393 w 6884782"/>
              <a:gd name="connsiteY5943" fmla="*/ 5053394 h 5973007"/>
              <a:gd name="connsiteX5944" fmla="*/ 2124519 w 6884782"/>
              <a:gd name="connsiteY5944" fmla="*/ 5052271 h 5973007"/>
              <a:gd name="connsiteX5945" fmla="*/ 2149767 w 6884782"/>
              <a:gd name="connsiteY5945" fmla="*/ 5057537 h 5973007"/>
              <a:gd name="connsiteX5946" fmla="*/ 2144345 w 6884782"/>
              <a:gd name="connsiteY5946" fmla="*/ 5061151 h 5973007"/>
              <a:gd name="connsiteX5947" fmla="*/ 2124519 w 6884782"/>
              <a:gd name="connsiteY5947" fmla="*/ 5052271 h 5973007"/>
              <a:gd name="connsiteX5948" fmla="*/ 1966834 w 6884782"/>
              <a:gd name="connsiteY5948" fmla="*/ 5052168 h 5973007"/>
              <a:gd name="connsiteX5949" fmla="*/ 1979536 w 6884782"/>
              <a:gd name="connsiteY5949" fmla="*/ 5062803 h 5973007"/>
              <a:gd name="connsiteX5950" fmla="*/ 1976283 w 6884782"/>
              <a:gd name="connsiteY5950" fmla="*/ 5065901 h 5973007"/>
              <a:gd name="connsiteX5951" fmla="*/ 1972565 w 6884782"/>
              <a:gd name="connsiteY5951" fmla="*/ 5065384 h 5973007"/>
              <a:gd name="connsiteX5952" fmla="*/ 1969313 w 6884782"/>
              <a:gd name="connsiteY5952" fmla="*/ 5063629 h 5973007"/>
              <a:gd name="connsiteX5953" fmla="*/ 1967299 w 6884782"/>
              <a:gd name="connsiteY5953" fmla="*/ 5060325 h 5973007"/>
              <a:gd name="connsiteX5954" fmla="*/ 1963891 w 6884782"/>
              <a:gd name="connsiteY5954" fmla="*/ 5055162 h 5973007"/>
              <a:gd name="connsiteX5955" fmla="*/ 1966834 w 6884782"/>
              <a:gd name="connsiteY5955" fmla="*/ 5052168 h 5973007"/>
              <a:gd name="connsiteX5956" fmla="*/ 1715438 w 6884782"/>
              <a:gd name="connsiteY5956" fmla="*/ 5051135 h 5973007"/>
              <a:gd name="connsiteX5957" fmla="*/ 1720704 w 6884782"/>
              <a:gd name="connsiteY5957" fmla="*/ 5053304 h 5973007"/>
              <a:gd name="connsiteX5958" fmla="*/ 1725197 w 6884782"/>
              <a:gd name="connsiteY5958" fmla="*/ 5059499 h 5973007"/>
              <a:gd name="connsiteX5959" fmla="*/ 1723957 w 6884782"/>
              <a:gd name="connsiteY5959" fmla="*/ 5059809 h 5973007"/>
              <a:gd name="connsiteX5960" fmla="*/ 1715438 w 6884782"/>
              <a:gd name="connsiteY5960" fmla="*/ 5051135 h 5973007"/>
              <a:gd name="connsiteX5961" fmla="*/ 2325109 w 6884782"/>
              <a:gd name="connsiteY5961" fmla="*/ 5049586 h 5973007"/>
              <a:gd name="connsiteX5962" fmla="*/ 2328207 w 6884782"/>
              <a:gd name="connsiteY5962" fmla="*/ 5051342 h 5973007"/>
              <a:gd name="connsiteX5963" fmla="*/ 2329136 w 6884782"/>
              <a:gd name="connsiteY5963" fmla="*/ 5059086 h 5973007"/>
              <a:gd name="connsiteX5964" fmla="*/ 2327742 w 6884782"/>
              <a:gd name="connsiteY5964" fmla="*/ 5060635 h 5973007"/>
              <a:gd name="connsiteX5965" fmla="*/ 2324334 w 6884782"/>
              <a:gd name="connsiteY5965" fmla="*/ 5057640 h 5973007"/>
              <a:gd name="connsiteX5966" fmla="*/ 2325109 w 6884782"/>
              <a:gd name="connsiteY5966" fmla="*/ 5049586 h 5973007"/>
              <a:gd name="connsiteX5967" fmla="*/ 2500819 w 6884782"/>
              <a:gd name="connsiteY5967" fmla="*/ 5049147 h 5973007"/>
              <a:gd name="connsiteX5968" fmla="*/ 2502465 w 6884782"/>
              <a:gd name="connsiteY5968" fmla="*/ 5052065 h 5973007"/>
              <a:gd name="connsiteX5969" fmla="*/ 2500606 w 6884782"/>
              <a:gd name="connsiteY5969" fmla="*/ 5054233 h 5973007"/>
              <a:gd name="connsiteX5970" fmla="*/ 2497199 w 6884782"/>
              <a:gd name="connsiteY5970" fmla="*/ 5050412 h 5973007"/>
              <a:gd name="connsiteX5971" fmla="*/ 2500819 w 6884782"/>
              <a:gd name="connsiteY5971" fmla="*/ 5049147 h 5973007"/>
              <a:gd name="connsiteX5972" fmla="*/ 1054185 w 6884782"/>
              <a:gd name="connsiteY5972" fmla="*/ 5048038 h 5973007"/>
              <a:gd name="connsiteX5973" fmla="*/ 1055889 w 6884782"/>
              <a:gd name="connsiteY5973" fmla="*/ 5051961 h 5973007"/>
              <a:gd name="connsiteX5974" fmla="*/ 1043497 w 6884782"/>
              <a:gd name="connsiteY5974" fmla="*/ 5062907 h 5973007"/>
              <a:gd name="connsiteX5975" fmla="*/ 1037767 w 6884782"/>
              <a:gd name="connsiteY5975" fmla="*/ 5061771 h 5973007"/>
              <a:gd name="connsiteX5976" fmla="*/ 1054185 w 6884782"/>
              <a:gd name="connsiteY5976" fmla="*/ 5048038 h 5973007"/>
              <a:gd name="connsiteX5977" fmla="*/ 1715593 w 6884782"/>
              <a:gd name="connsiteY5977" fmla="*/ 5047934 h 5973007"/>
              <a:gd name="connsiteX5978" fmla="*/ 1702736 w 6884782"/>
              <a:gd name="connsiteY5978" fmla="*/ 5055885 h 5973007"/>
              <a:gd name="connsiteX5979" fmla="*/ 1702117 w 6884782"/>
              <a:gd name="connsiteY5979" fmla="*/ 5055369 h 5973007"/>
              <a:gd name="connsiteX5980" fmla="*/ 1702426 w 6884782"/>
              <a:gd name="connsiteY5980" fmla="*/ 5053304 h 5973007"/>
              <a:gd name="connsiteX5981" fmla="*/ 1705679 w 6884782"/>
              <a:gd name="connsiteY5981" fmla="*/ 5051239 h 5973007"/>
              <a:gd name="connsiteX5982" fmla="*/ 1713888 w 6884782"/>
              <a:gd name="connsiteY5982" fmla="*/ 5048967 h 5973007"/>
              <a:gd name="connsiteX5983" fmla="*/ 1715593 w 6884782"/>
              <a:gd name="connsiteY5983" fmla="*/ 5047934 h 5973007"/>
              <a:gd name="connsiteX5984" fmla="*/ 1553571 w 6884782"/>
              <a:gd name="connsiteY5984" fmla="*/ 5047728 h 5973007"/>
              <a:gd name="connsiteX5985" fmla="*/ 1556824 w 6884782"/>
              <a:gd name="connsiteY5985" fmla="*/ 5057331 h 5973007"/>
              <a:gd name="connsiteX5986" fmla="*/ 1554036 w 6884782"/>
              <a:gd name="connsiteY5986" fmla="*/ 5067759 h 5973007"/>
              <a:gd name="connsiteX5987" fmla="*/ 1551557 w 6884782"/>
              <a:gd name="connsiteY5987" fmla="*/ 5063423 h 5973007"/>
              <a:gd name="connsiteX5988" fmla="*/ 1553571 w 6884782"/>
              <a:gd name="connsiteY5988" fmla="*/ 5047728 h 5973007"/>
              <a:gd name="connsiteX5989" fmla="*/ 1421948 w 6884782"/>
              <a:gd name="connsiteY5989" fmla="*/ 5047134 h 5973007"/>
              <a:gd name="connsiteX5990" fmla="*/ 1435850 w 6884782"/>
              <a:gd name="connsiteY5990" fmla="*/ 5049173 h 5973007"/>
              <a:gd name="connsiteX5991" fmla="*/ 1409672 w 6884782"/>
              <a:gd name="connsiteY5991" fmla="*/ 5057640 h 5973007"/>
              <a:gd name="connsiteX5992" fmla="*/ 1421948 w 6884782"/>
              <a:gd name="connsiteY5992" fmla="*/ 5047134 h 5973007"/>
              <a:gd name="connsiteX5993" fmla="*/ 2170833 w 6884782"/>
              <a:gd name="connsiteY5993" fmla="*/ 5046076 h 5973007"/>
              <a:gd name="connsiteX5994" fmla="*/ 2176099 w 6884782"/>
              <a:gd name="connsiteY5994" fmla="*/ 5047108 h 5973007"/>
              <a:gd name="connsiteX5995" fmla="*/ 2175789 w 6884782"/>
              <a:gd name="connsiteY5995" fmla="*/ 5049896 h 5973007"/>
              <a:gd name="connsiteX5996" fmla="*/ 2172227 w 6884782"/>
              <a:gd name="connsiteY5996" fmla="*/ 5052478 h 5973007"/>
              <a:gd name="connsiteX5997" fmla="*/ 2173931 w 6884782"/>
              <a:gd name="connsiteY5997" fmla="*/ 5053201 h 5973007"/>
              <a:gd name="connsiteX5998" fmla="*/ 2176874 w 6884782"/>
              <a:gd name="connsiteY5998" fmla="*/ 5056711 h 5973007"/>
              <a:gd name="connsiteX5999" fmla="*/ 2173156 w 6884782"/>
              <a:gd name="connsiteY5999" fmla="*/ 5060841 h 5973007"/>
              <a:gd name="connsiteX6000" fmla="*/ 2170833 w 6884782"/>
              <a:gd name="connsiteY6000" fmla="*/ 5060738 h 5973007"/>
              <a:gd name="connsiteX6001" fmla="*/ 2162313 w 6884782"/>
              <a:gd name="connsiteY6001" fmla="*/ 5056711 h 5973007"/>
              <a:gd name="connsiteX6002" fmla="*/ 2162933 w 6884782"/>
              <a:gd name="connsiteY6002" fmla="*/ 5052271 h 5973007"/>
              <a:gd name="connsiteX6003" fmla="*/ 2163553 w 6884782"/>
              <a:gd name="connsiteY6003" fmla="*/ 5051961 h 5973007"/>
              <a:gd name="connsiteX6004" fmla="*/ 2315970 w 6884782"/>
              <a:gd name="connsiteY6004" fmla="*/ 5045559 h 5973007"/>
              <a:gd name="connsiteX6005" fmla="*/ 2310858 w 6884782"/>
              <a:gd name="connsiteY6005" fmla="*/ 5051445 h 5973007"/>
              <a:gd name="connsiteX6006" fmla="*/ 2308845 w 6884782"/>
              <a:gd name="connsiteY6006" fmla="*/ 5051239 h 5973007"/>
              <a:gd name="connsiteX6007" fmla="*/ 2308690 w 6884782"/>
              <a:gd name="connsiteY6007" fmla="*/ 5048657 h 5973007"/>
              <a:gd name="connsiteX6008" fmla="*/ 2315970 w 6884782"/>
              <a:gd name="connsiteY6008" fmla="*/ 5045559 h 5973007"/>
              <a:gd name="connsiteX6009" fmla="*/ 1252917 w 6884782"/>
              <a:gd name="connsiteY6009" fmla="*/ 5045559 h 5973007"/>
              <a:gd name="connsiteX6010" fmla="*/ 1257719 w 6884782"/>
              <a:gd name="connsiteY6010" fmla="*/ 5050722 h 5973007"/>
              <a:gd name="connsiteX6011" fmla="*/ 1253382 w 6884782"/>
              <a:gd name="connsiteY6011" fmla="*/ 5052581 h 5973007"/>
              <a:gd name="connsiteX6012" fmla="*/ 1251678 w 6884782"/>
              <a:gd name="connsiteY6012" fmla="*/ 5051858 h 5973007"/>
              <a:gd name="connsiteX6013" fmla="*/ 1252917 w 6884782"/>
              <a:gd name="connsiteY6013" fmla="*/ 5045559 h 5973007"/>
              <a:gd name="connsiteX6014" fmla="*/ 2538866 w 6884782"/>
              <a:gd name="connsiteY6014" fmla="*/ 5044734 h 5973007"/>
              <a:gd name="connsiteX6015" fmla="*/ 2549089 w 6884782"/>
              <a:gd name="connsiteY6015" fmla="*/ 5047005 h 5973007"/>
              <a:gd name="connsiteX6016" fmla="*/ 2542738 w 6884782"/>
              <a:gd name="connsiteY6016" fmla="*/ 5046902 h 5973007"/>
              <a:gd name="connsiteX6017" fmla="*/ 2538866 w 6884782"/>
              <a:gd name="connsiteY6017" fmla="*/ 5044734 h 5973007"/>
              <a:gd name="connsiteX6018" fmla="*/ 1721634 w 6884782"/>
              <a:gd name="connsiteY6018" fmla="*/ 5044320 h 5973007"/>
              <a:gd name="connsiteX6019" fmla="*/ 1723028 w 6884782"/>
              <a:gd name="connsiteY6019" fmla="*/ 5046385 h 5973007"/>
              <a:gd name="connsiteX6020" fmla="*/ 1718536 w 6884782"/>
              <a:gd name="connsiteY6020" fmla="*/ 5047624 h 5973007"/>
              <a:gd name="connsiteX6021" fmla="*/ 1716832 w 6884782"/>
              <a:gd name="connsiteY6021" fmla="*/ 5048657 h 5973007"/>
              <a:gd name="connsiteX6022" fmla="*/ 1717142 w 6884782"/>
              <a:gd name="connsiteY6022" fmla="*/ 5046799 h 5973007"/>
              <a:gd name="connsiteX6023" fmla="*/ 1720085 w 6884782"/>
              <a:gd name="connsiteY6023" fmla="*/ 5046592 h 5973007"/>
              <a:gd name="connsiteX6024" fmla="*/ 1720394 w 6884782"/>
              <a:gd name="connsiteY6024" fmla="*/ 5044630 h 5973007"/>
              <a:gd name="connsiteX6025" fmla="*/ 1721634 w 6884782"/>
              <a:gd name="connsiteY6025" fmla="*/ 5044320 h 5973007"/>
              <a:gd name="connsiteX6026" fmla="*/ 2567831 w 6884782"/>
              <a:gd name="connsiteY6026" fmla="*/ 5044217 h 5973007"/>
              <a:gd name="connsiteX6027" fmla="*/ 2570000 w 6884782"/>
              <a:gd name="connsiteY6027" fmla="*/ 5045869 h 5973007"/>
              <a:gd name="connsiteX6028" fmla="*/ 2567986 w 6884782"/>
              <a:gd name="connsiteY6028" fmla="*/ 5047315 h 5973007"/>
              <a:gd name="connsiteX6029" fmla="*/ 2566282 w 6884782"/>
              <a:gd name="connsiteY6029" fmla="*/ 5046282 h 5973007"/>
              <a:gd name="connsiteX6030" fmla="*/ 2563649 w 6884782"/>
              <a:gd name="connsiteY6030" fmla="*/ 5046902 h 5973007"/>
              <a:gd name="connsiteX6031" fmla="*/ 2562720 w 6884782"/>
              <a:gd name="connsiteY6031" fmla="*/ 5045456 h 5973007"/>
              <a:gd name="connsiteX6032" fmla="*/ 2567831 w 6884782"/>
              <a:gd name="connsiteY6032" fmla="*/ 5044217 h 5973007"/>
              <a:gd name="connsiteX6033" fmla="*/ 1834553 w 6884782"/>
              <a:gd name="connsiteY6033" fmla="*/ 5043701 h 5973007"/>
              <a:gd name="connsiteX6034" fmla="*/ 1836256 w 6884782"/>
              <a:gd name="connsiteY6034" fmla="*/ 5044837 h 5973007"/>
              <a:gd name="connsiteX6035" fmla="*/ 1836567 w 6884782"/>
              <a:gd name="connsiteY6035" fmla="*/ 5044837 h 5973007"/>
              <a:gd name="connsiteX6036" fmla="*/ 1835947 w 6884782"/>
              <a:gd name="connsiteY6036" fmla="*/ 5052787 h 5973007"/>
              <a:gd name="connsiteX6037" fmla="*/ 1833314 w 6884782"/>
              <a:gd name="connsiteY6037" fmla="*/ 5054749 h 5973007"/>
              <a:gd name="connsiteX6038" fmla="*/ 1829596 w 6884782"/>
              <a:gd name="connsiteY6038" fmla="*/ 5054852 h 5973007"/>
              <a:gd name="connsiteX6039" fmla="*/ 1826963 w 6884782"/>
              <a:gd name="connsiteY6039" fmla="*/ 5055678 h 5973007"/>
              <a:gd name="connsiteX6040" fmla="*/ 1823865 w 6884782"/>
              <a:gd name="connsiteY6040" fmla="*/ 5055162 h 5973007"/>
              <a:gd name="connsiteX6041" fmla="*/ 1822471 w 6884782"/>
              <a:gd name="connsiteY6041" fmla="*/ 5050929 h 5973007"/>
              <a:gd name="connsiteX6042" fmla="*/ 1826344 w 6884782"/>
              <a:gd name="connsiteY6042" fmla="*/ 5046799 h 5973007"/>
              <a:gd name="connsiteX6043" fmla="*/ 1826189 w 6884782"/>
              <a:gd name="connsiteY6043" fmla="*/ 5046076 h 5973007"/>
              <a:gd name="connsiteX6044" fmla="*/ 1834553 w 6884782"/>
              <a:gd name="connsiteY6044" fmla="*/ 5043701 h 5973007"/>
              <a:gd name="connsiteX6045" fmla="*/ 2492242 w 6884782"/>
              <a:gd name="connsiteY6045" fmla="*/ 5043184 h 5973007"/>
              <a:gd name="connsiteX6046" fmla="*/ 2492242 w 6884782"/>
              <a:gd name="connsiteY6046" fmla="*/ 5049173 h 5973007"/>
              <a:gd name="connsiteX6047" fmla="*/ 2490228 w 6884782"/>
              <a:gd name="connsiteY6047" fmla="*/ 5050722 h 5973007"/>
              <a:gd name="connsiteX6048" fmla="*/ 2487440 w 6884782"/>
              <a:gd name="connsiteY6048" fmla="*/ 5050412 h 5973007"/>
              <a:gd name="connsiteX6049" fmla="*/ 2485581 w 6884782"/>
              <a:gd name="connsiteY6049" fmla="*/ 5048760 h 5973007"/>
              <a:gd name="connsiteX6050" fmla="*/ 2484807 w 6884782"/>
              <a:gd name="connsiteY6050" fmla="*/ 5043598 h 5973007"/>
              <a:gd name="connsiteX6051" fmla="*/ 2492242 w 6884782"/>
              <a:gd name="connsiteY6051" fmla="*/ 5043184 h 5973007"/>
              <a:gd name="connsiteX6052" fmla="*/ 1761403 w 6884782"/>
              <a:gd name="connsiteY6052" fmla="*/ 5042487 h 5973007"/>
              <a:gd name="connsiteX6053" fmla="*/ 1765004 w 6884782"/>
              <a:gd name="connsiteY6053" fmla="*/ 5046902 h 5973007"/>
              <a:gd name="connsiteX6054" fmla="*/ 1764075 w 6884782"/>
              <a:gd name="connsiteY6054" fmla="*/ 5051239 h 5973007"/>
              <a:gd name="connsiteX6055" fmla="*/ 1757414 w 6884782"/>
              <a:gd name="connsiteY6055" fmla="*/ 5054956 h 5973007"/>
              <a:gd name="connsiteX6056" fmla="*/ 1755091 w 6884782"/>
              <a:gd name="connsiteY6056" fmla="*/ 5050722 h 5973007"/>
              <a:gd name="connsiteX6057" fmla="*/ 1753852 w 6884782"/>
              <a:gd name="connsiteY6057" fmla="*/ 5046592 h 5973007"/>
              <a:gd name="connsiteX6058" fmla="*/ 1761403 w 6884782"/>
              <a:gd name="connsiteY6058" fmla="*/ 5042487 h 5973007"/>
              <a:gd name="connsiteX6059" fmla="*/ 992537 w 6884782"/>
              <a:gd name="connsiteY6059" fmla="*/ 5041945 h 5973007"/>
              <a:gd name="connsiteX6060" fmla="*/ 994395 w 6884782"/>
              <a:gd name="connsiteY6060" fmla="*/ 5048967 h 5973007"/>
              <a:gd name="connsiteX6061" fmla="*/ 992692 w 6884782"/>
              <a:gd name="connsiteY6061" fmla="*/ 5049896 h 5973007"/>
              <a:gd name="connsiteX6062" fmla="*/ 990523 w 6884782"/>
              <a:gd name="connsiteY6062" fmla="*/ 5050412 h 5973007"/>
              <a:gd name="connsiteX6063" fmla="*/ 986186 w 6884782"/>
              <a:gd name="connsiteY6063" fmla="*/ 5048864 h 5973007"/>
              <a:gd name="connsiteX6064" fmla="*/ 984947 w 6884782"/>
              <a:gd name="connsiteY6064" fmla="*/ 5046799 h 5973007"/>
              <a:gd name="connsiteX6065" fmla="*/ 984792 w 6884782"/>
              <a:gd name="connsiteY6065" fmla="*/ 5045353 h 5973007"/>
              <a:gd name="connsiteX6066" fmla="*/ 984947 w 6884782"/>
              <a:gd name="connsiteY6066" fmla="*/ 5043598 h 5973007"/>
              <a:gd name="connsiteX6067" fmla="*/ 992537 w 6884782"/>
              <a:gd name="connsiteY6067" fmla="*/ 5041945 h 5973007"/>
              <a:gd name="connsiteX6068" fmla="*/ 2257730 w 6884782"/>
              <a:gd name="connsiteY6068" fmla="*/ 5040293 h 5973007"/>
              <a:gd name="connsiteX6069" fmla="*/ 2269811 w 6884782"/>
              <a:gd name="connsiteY6069" fmla="*/ 5083041 h 5973007"/>
              <a:gd name="connsiteX6070" fmla="*/ 2248745 w 6884782"/>
              <a:gd name="connsiteY6070" fmla="*/ 5041945 h 5973007"/>
              <a:gd name="connsiteX6071" fmla="*/ 2257730 w 6884782"/>
              <a:gd name="connsiteY6071" fmla="*/ 5040293 h 5973007"/>
              <a:gd name="connsiteX6072" fmla="*/ 2166651 w 6884782"/>
              <a:gd name="connsiteY6072" fmla="*/ 5040190 h 5973007"/>
              <a:gd name="connsiteX6073" fmla="*/ 2169439 w 6884782"/>
              <a:gd name="connsiteY6073" fmla="*/ 5043288 h 5973007"/>
              <a:gd name="connsiteX6074" fmla="*/ 2160300 w 6884782"/>
              <a:gd name="connsiteY6074" fmla="*/ 5047728 h 5973007"/>
              <a:gd name="connsiteX6075" fmla="*/ 2157047 w 6884782"/>
              <a:gd name="connsiteY6075" fmla="*/ 5047418 h 5973007"/>
              <a:gd name="connsiteX6076" fmla="*/ 2155034 w 6884782"/>
              <a:gd name="connsiteY6076" fmla="*/ 5043701 h 5973007"/>
              <a:gd name="connsiteX6077" fmla="*/ 2166651 w 6884782"/>
              <a:gd name="connsiteY6077" fmla="*/ 5040190 h 5973007"/>
              <a:gd name="connsiteX6078" fmla="*/ 1119397 w 6884782"/>
              <a:gd name="connsiteY6078" fmla="*/ 5039777 h 5973007"/>
              <a:gd name="connsiteX6079" fmla="*/ 1129000 w 6884782"/>
              <a:gd name="connsiteY6079" fmla="*/ 5044320 h 5973007"/>
              <a:gd name="connsiteX6080" fmla="*/ 1130085 w 6884782"/>
              <a:gd name="connsiteY6080" fmla="*/ 5059086 h 5973007"/>
              <a:gd name="connsiteX6081" fmla="*/ 1120636 w 6884782"/>
              <a:gd name="connsiteY6081" fmla="*/ 5062803 h 5973007"/>
              <a:gd name="connsiteX6082" fmla="*/ 1115679 w 6884782"/>
              <a:gd name="connsiteY6082" fmla="*/ 5060532 h 5973007"/>
              <a:gd name="connsiteX6083" fmla="*/ 1113046 w 6884782"/>
              <a:gd name="connsiteY6083" fmla="*/ 5057640 h 5973007"/>
              <a:gd name="connsiteX6084" fmla="*/ 1115524 w 6884782"/>
              <a:gd name="connsiteY6084" fmla="*/ 5044940 h 5973007"/>
              <a:gd name="connsiteX6085" fmla="*/ 1117383 w 6884782"/>
              <a:gd name="connsiteY6085" fmla="*/ 5043184 h 5973007"/>
              <a:gd name="connsiteX6086" fmla="*/ 1119397 w 6884782"/>
              <a:gd name="connsiteY6086" fmla="*/ 5039777 h 5973007"/>
              <a:gd name="connsiteX6087" fmla="*/ 2325883 w 6884782"/>
              <a:gd name="connsiteY6087" fmla="*/ 5039571 h 5973007"/>
              <a:gd name="connsiteX6088" fmla="*/ 2328207 w 6884782"/>
              <a:gd name="connsiteY6088" fmla="*/ 5040810 h 5973007"/>
              <a:gd name="connsiteX6089" fmla="*/ 2328362 w 6884782"/>
              <a:gd name="connsiteY6089" fmla="*/ 5042772 h 5973007"/>
              <a:gd name="connsiteX6090" fmla="*/ 2330376 w 6884782"/>
              <a:gd name="connsiteY6090" fmla="*/ 5044837 h 5973007"/>
              <a:gd name="connsiteX6091" fmla="*/ 2329756 w 6884782"/>
              <a:gd name="connsiteY6091" fmla="*/ 5046282 h 5973007"/>
              <a:gd name="connsiteX6092" fmla="*/ 2325574 w 6884782"/>
              <a:gd name="connsiteY6092" fmla="*/ 5042152 h 5973007"/>
              <a:gd name="connsiteX6093" fmla="*/ 2325883 w 6884782"/>
              <a:gd name="connsiteY6093" fmla="*/ 5039571 h 5973007"/>
              <a:gd name="connsiteX6094" fmla="*/ 1655648 w 6884782"/>
              <a:gd name="connsiteY6094" fmla="*/ 5039467 h 5973007"/>
              <a:gd name="connsiteX6095" fmla="*/ 1655183 w 6884782"/>
              <a:gd name="connsiteY6095" fmla="*/ 5047728 h 5973007"/>
              <a:gd name="connsiteX6096" fmla="*/ 1654563 w 6884782"/>
              <a:gd name="connsiteY6096" fmla="*/ 5040706 h 5973007"/>
              <a:gd name="connsiteX6097" fmla="*/ 1655648 w 6884782"/>
              <a:gd name="connsiteY6097" fmla="*/ 5039467 h 5973007"/>
              <a:gd name="connsiteX6098" fmla="*/ 2318603 w 6884782"/>
              <a:gd name="connsiteY6098" fmla="*/ 5039054 h 5973007"/>
              <a:gd name="connsiteX6099" fmla="*/ 2319843 w 6884782"/>
              <a:gd name="connsiteY6099" fmla="*/ 5040603 h 5973007"/>
              <a:gd name="connsiteX6100" fmla="*/ 2322166 w 6884782"/>
              <a:gd name="connsiteY6100" fmla="*/ 5045869 h 5973007"/>
              <a:gd name="connsiteX6101" fmla="*/ 2320462 w 6884782"/>
              <a:gd name="connsiteY6101" fmla="*/ 5046592 h 5973007"/>
              <a:gd name="connsiteX6102" fmla="*/ 2319533 w 6884782"/>
              <a:gd name="connsiteY6102" fmla="*/ 5045353 h 5973007"/>
              <a:gd name="connsiteX6103" fmla="*/ 2318758 w 6884782"/>
              <a:gd name="connsiteY6103" fmla="*/ 5042978 h 5973007"/>
              <a:gd name="connsiteX6104" fmla="*/ 2317519 w 6884782"/>
              <a:gd name="connsiteY6104" fmla="*/ 5041326 h 5973007"/>
              <a:gd name="connsiteX6105" fmla="*/ 2318603 w 6884782"/>
              <a:gd name="connsiteY6105" fmla="*/ 5039054 h 5973007"/>
              <a:gd name="connsiteX6106" fmla="*/ 2299551 w 6884782"/>
              <a:gd name="connsiteY6106" fmla="*/ 5038848 h 5973007"/>
              <a:gd name="connsiteX6107" fmla="*/ 2302649 w 6884782"/>
              <a:gd name="connsiteY6107" fmla="*/ 5046799 h 5973007"/>
              <a:gd name="connsiteX6108" fmla="*/ 2301565 w 6884782"/>
              <a:gd name="connsiteY6108" fmla="*/ 5048450 h 5973007"/>
              <a:gd name="connsiteX6109" fmla="*/ 2299396 w 6884782"/>
              <a:gd name="connsiteY6109" fmla="*/ 5047211 h 5973007"/>
              <a:gd name="connsiteX6110" fmla="*/ 2299551 w 6884782"/>
              <a:gd name="connsiteY6110" fmla="*/ 5038848 h 5973007"/>
              <a:gd name="connsiteX6111" fmla="*/ 996255 w 6884782"/>
              <a:gd name="connsiteY6111" fmla="*/ 5038744 h 5973007"/>
              <a:gd name="connsiteX6112" fmla="*/ 996719 w 6884782"/>
              <a:gd name="connsiteY6112" fmla="*/ 5042049 h 5973007"/>
              <a:gd name="connsiteX6113" fmla="*/ 995325 w 6884782"/>
              <a:gd name="connsiteY6113" fmla="*/ 5042565 h 5973007"/>
              <a:gd name="connsiteX6114" fmla="*/ 993466 w 6884782"/>
              <a:gd name="connsiteY6114" fmla="*/ 5041119 h 5973007"/>
              <a:gd name="connsiteX6115" fmla="*/ 2567522 w 6884782"/>
              <a:gd name="connsiteY6115" fmla="*/ 5036783 h 5973007"/>
              <a:gd name="connsiteX6116" fmla="*/ 2570000 w 6884782"/>
              <a:gd name="connsiteY6116" fmla="*/ 5037402 h 5973007"/>
              <a:gd name="connsiteX6117" fmla="*/ 2571859 w 6884782"/>
              <a:gd name="connsiteY6117" fmla="*/ 5037299 h 5973007"/>
              <a:gd name="connsiteX6118" fmla="*/ 2573408 w 6884782"/>
              <a:gd name="connsiteY6118" fmla="*/ 5039571 h 5973007"/>
              <a:gd name="connsiteX6119" fmla="*/ 2571549 w 6884782"/>
              <a:gd name="connsiteY6119" fmla="*/ 5039674 h 5973007"/>
              <a:gd name="connsiteX6120" fmla="*/ 2566128 w 6884782"/>
              <a:gd name="connsiteY6120" fmla="*/ 5038848 h 5973007"/>
              <a:gd name="connsiteX6121" fmla="*/ 2567522 w 6884782"/>
              <a:gd name="connsiteY6121" fmla="*/ 5036783 h 5973007"/>
              <a:gd name="connsiteX6122" fmla="*/ 2053731 w 6884782"/>
              <a:gd name="connsiteY6122" fmla="*/ 5036679 h 5973007"/>
              <a:gd name="connsiteX6123" fmla="*/ 2058997 w 6884782"/>
              <a:gd name="connsiteY6123" fmla="*/ 5038641 h 5973007"/>
              <a:gd name="connsiteX6124" fmla="*/ 2059772 w 6884782"/>
              <a:gd name="connsiteY6124" fmla="*/ 5044837 h 5973007"/>
              <a:gd name="connsiteX6125" fmla="*/ 2063180 w 6884782"/>
              <a:gd name="connsiteY6125" fmla="*/ 5044320 h 5973007"/>
              <a:gd name="connsiteX6126" fmla="*/ 2066433 w 6884782"/>
              <a:gd name="connsiteY6126" fmla="*/ 5052065 h 5973007"/>
              <a:gd name="connsiteX6127" fmla="*/ 2061631 w 6884782"/>
              <a:gd name="connsiteY6127" fmla="*/ 5056195 h 5973007"/>
              <a:gd name="connsiteX6128" fmla="*/ 2055125 w 6884782"/>
              <a:gd name="connsiteY6128" fmla="*/ 5049173 h 5973007"/>
              <a:gd name="connsiteX6129" fmla="*/ 2057604 w 6884782"/>
              <a:gd name="connsiteY6129" fmla="*/ 5045353 h 5973007"/>
              <a:gd name="connsiteX6130" fmla="*/ 2056519 w 6884782"/>
              <a:gd name="connsiteY6130" fmla="*/ 5045250 h 5973007"/>
              <a:gd name="connsiteX6131" fmla="*/ 2054970 w 6884782"/>
              <a:gd name="connsiteY6131" fmla="*/ 5043184 h 5973007"/>
              <a:gd name="connsiteX6132" fmla="*/ 2053731 w 6884782"/>
              <a:gd name="connsiteY6132" fmla="*/ 5036679 h 5973007"/>
              <a:gd name="connsiteX6133" fmla="*/ 1598336 w 6884782"/>
              <a:gd name="connsiteY6133" fmla="*/ 5036163 h 5973007"/>
              <a:gd name="connsiteX6134" fmla="*/ 1604067 w 6884782"/>
              <a:gd name="connsiteY6134" fmla="*/ 5038022 h 5973007"/>
              <a:gd name="connsiteX6135" fmla="*/ 1604686 w 6884782"/>
              <a:gd name="connsiteY6135" fmla="*/ 5049173 h 5973007"/>
              <a:gd name="connsiteX6136" fmla="*/ 1596632 w 6884782"/>
              <a:gd name="connsiteY6136" fmla="*/ 5053407 h 5973007"/>
              <a:gd name="connsiteX6137" fmla="*/ 1597407 w 6884782"/>
              <a:gd name="connsiteY6137" fmla="*/ 5053510 h 5973007"/>
              <a:gd name="connsiteX6138" fmla="*/ 1598956 w 6884782"/>
              <a:gd name="connsiteY6138" fmla="*/ 5055369 h 5973007"/>
              <a:gd name="connsiteX6139" fmla="*/ 1600505 w 6884782"/>
              <a:gd name="connsiteY6139" fmla="*/ 5055266 h 5973007"/>
              <a:gd name="connsiteX6140" fmla="*/ 1602053 w 6884782"/>
              <a:gd name="connsiteY6140" fmla="*/ 5055266 h 5973007"/>
              <a:gd name="connsiteX6141" fmla="*/ 1602208 w 6884782"/>
              <a:gd name="connsiteY6141" fmla="*/ 5056091 h 5973007"/>
              <a:gd name="connsiteX6142" fmla="*/ 1600040 w 6884782"/>
              <a:gd name="connsiteY6142" fmla="*/ 5056608 h 5973007"/>
              <a:gd name="connsiteX6143" fmla="*/ 1602363 w 6884782"/>
              <a:gd name="connsiteY6143" fmla="*/ 5059706 h 5973007"/>
              <a:gd name="connsiteX6144" fmla="*/ 1604377 w 6884782"/>
              <a:gd name="connsiteY6144" fmla="*/ 5059292 h 5973007"/>
              <a:gd name="connsiteX6145" fmla="*/ 1603138 w 6884782"/>
              <a:gd name="connsiteY6145" fmla="*/ 5060841 h 5973007"/>
              <a:gd name="connsiteX6146" fmla="*/ 1604377 w 6884782"/>
              <a:gd name="connsiteY6146" fmla="*/ 5063216 h 5973007"/>
              <a:gd name="connsiteX6147" fmla="*/ 1604686 w 6884782"/>
              <a:gd name="connsiteY6147" fmla="*/ 5065694 h 5973007"/>
              <a:gd name="connsiteX6148" fmla="*/ 1602208 w 6884782"/>
              <a:gd name="connsiteY6148" fmla="*/ 5064869 h 5973007"/>
              <a:gd name="connsiteX6149" fmla="*/ 1601434 w 6884782"/>
              <a:gd name="connsiteY6149" fmla="*/ 5063939 h 5973007"/>
              <a:gd name="connsiteX6150" fmla="*/ 1600659 w 6884782"/>
              <a:gd name="connsiteY6150" fmla="*/ 5063939 h 5973007"/>
              <a:gd name="connsiteX6151" fmla="*/ 1600659 w 6884782"/>
              <a:gd name="connsiteY6151" fmla="*/ 5063629 h 5973007"/>
              <a:gd name="connsiteX6152" fmla="*/ 1597097 w 6884782"/>
              <a:gd name="connsiteY6152" fmla="*/ 5065075 h 5973007"/>
              <a:gd name="connsiteX6153" fmla="*/ 1591366 w 6884782"/>
              <a:gd name="connsiteY6153" fmla="*/ 5068069 h 5973007"/>
              <a:gd name="connsiteX6154" fmla="*/ 1590901 w 6884782"/>
              <a:gd name="connsiteY6154" fmla="*/ 5064558 h 5973007"/>
              <a:gd name="connsiteX6155" fmla="*/ 1592605 w 6884782"/>
              <a:gd name="connsiteY6155" fmla="*/ 5064455 h 5973007"/>
              <a:gd name="connsiteX6156" fmla="*/ 1597717 w 6884782"/>
              <a:gd name="connsiteY6156" fmla="*/ 5060635 h 5973007"/>
              <a:gd name="connsiteX6157" fmla="*/ 1598026 w 6884782"/>
              <a:gd name="connsiteY6157" fmla="*/ 5060532 h 5973007"/>
              <a:gd name="connsiteX6158" fmla="*/ 1596477 w 6884782"/>
              <a:gd name="connsiteY6158" fmla="*/ 5059602 h 5973007"/>
              <a:gd name="connsiteX6159" fmla="*/ 1594464 w 6884782"/>
              <a:gd name="connsiteY6159" fmla="*/ 5058570 h 5973007"/>
              <a:gd name="connsiteX6160" fmla="*/ 1594309 w 6884782"/>
              <a:gd name="connsiteY6160" fmla="*/ 5058467 h 5973007"/>
              <a:gd name="connsiteX6161" fmla="*/ 1593844 w 6884782"/>
              <a:gd name="connsiteY6161" fmla="*/ 5058673 h 5973007"/>
              <a:gd name="connsiteX6162" fmla="*/ 1590746 w 6884782"/>
              <a:gd name="connsiteY6162" fmla="*/ 5058467 h 5973007"/>
              <a:gd name="connsiteX6163" fmla="*/ 1591521 w 6884782"/>
              <a:gd name="connsiteY6163" fmla="*/ 5058467 h 5973007"/>
              <a:gd name="connsiteX6164" fmla="*/ 1590591 w 6884782"/>
              <a:gd name="connsiteY6164" fmla="*/ 5057640 h 5973007"/>
              <a:gd name="connsiteX6165" fmla="*/ 1593225 w 6884782"/>
              <a:gd name="connsiteY6165" fmla="*/ 5056814 h 5973007"/>
              <a:gd name="connsiteX6166" fmla="*/ 1592915 w 6884782"/>
              <a:gd name="connsiteY6166" fmla="*/ 5056298 h 5973007"/>
              <a:gd name="connsiteX6167" fmla="*/ 1591521 w 6884782"/>
              <a:gd name="connsiteY6167" fmla="*/ 5053304 h 5973007"/>
              <a:gd name="connsiteX6168" fmla="*/ 1593379 w 6884782"/>
              <a:gd name="connsiteY6168" fmla="*/ 5051651 h 5973007"/>
              <a:gd name="connsiteX6169" fmla="*/ 1591985 w 6884782"/>
              <a:gd name="connsiteY6169" fmla="*/ 5049896 h 5973007"/>
              <a:gd name="connsiteX6170" fmla="*/ 1593844 w 6884782"/>
              <a:gd name="connsiteY6170" fmla="*/ 5038641 h 5973007"/>
              <a:gd name="connsiteX6171" fmla="*/ 1598336 w 6884782"/>
              <a:gd name="connsiteY6171" fmla="*/ 5036163 h 5973007"/>
              <a:gd name="connsiteX6172" fmla="*/ 1005858 w 6884782"/>
              <a:gd name="connsiteY6172" fmla="*/ 5035234 h 5973007"/>
              <a:gd name="connsiteX6173" fmla="*/ 1007252 w 6884782"/>
              <a:gd name="connsiteY6173" fmla="*/ 5036989 h 5973007"/>
              <a:gd name="connsiteX6174" fmla="*/ 1006787 w 6884782"/>
              <a:gd name="connsiteY6174" fmla="*/ 5042152 h 5973007"/>
              <a:gd name="connsiteX6175" fmla="*/ 1005084 w 6884782"/>
              <a:gd name="connsiteY6175" fmla="*/ 5042978 h 5973007"/>
              <a:gd name="connsiteX6176" fmla="*/ 1002605 w 6884782"/>
              <a:gd name="connsiteY6176" fmla="*/ 5039777 h 5973007"/>
              <a:gd name="connsiteX6177" fmla="*/ 1003999 w 6884782"/>
              <a:gd name="connsiteY6177" fmla="*/ 5036163 h 5973007"/>
              <a:gd name="connsiteX6178" fmla="*/ 1005858 w 6884782"/>
              <a:gd name="connsiteY6178" fmla="*/ 5035234 h 5973007"/>
              <a:gd name="connsiteX6179" fmla="*/ 2147753 w 6884782"/>
              <a:gd name="connsiteY6179" fmla="*/ 5034821 h 5973007"/>
              <a:gd name="connsiteX6180" fmla="*/ 2151316 w 6884782"/>
              <a:gd name="connsiteY6180" fmla="*/ 5041533 h 5973007"/>
              <a:gd name="connsiteX6181" fmla="*/ 2142332 w 6884782"/>
              <a:gd name="connsiteY6181" fmla="*/ 5045456 h 5973007"/>
              <a:gd name="connsiteX6182" fmla="*/ 2139079 w 6884782"/>
              <a:gd name="connsiteY6182" fmla="*/ 5045250 h 5973007"/>
              <a:gd name="connsiteX6183" fmla="*/ 2147753 w 6884782"/>
              <a:gd name="connsiteY6183" fmla="*/ 5034821 h 5973007"/>
              <a:gd name="connsiteX6184" fmla="*/ 1402702 w 6884782"/>
              <a:gd name="connsiteY6184" fmla="*/ 5034408 h 5973007"/>
              <a:gd name="connsiteX6185" fmla="*/ 1406110 w 6884782"/>
              <a:gd name="connsiteY6185" fmla="*/ 5044114 h 5973007"/>
              <a:gd name="connsiteX6186" fmla="*/ 1403942 w 6884782"/>
              <a:gd name="connsiteY6186" fmla="*/ 5044011 h 5973007"/>
              <a:gd name="connsiteX6187" fmla="*/ 1401463 w 6884782"/>
              <a:gd name="connsiteY6187" fmla="*/ 5043494 h 5973007"/>
              <a:gd name="connsiteX6188" fmla="*/ 1402702 w 6884782"/>
              <a:gd name="connsiteY6188" fmla="*/ 5034408 h 5973007"/>
              <a:gd name="connsiteX6189" fmla="*/ 2555285 w 6884782"/>
              <a:gd name="connsiteY6189" fmla="*/ 5034098 h 5973007"/>
              <a:gd name="connsiteX6190" fmla="*/ 2561791 w 6884782"/>
              <a:gd name="connsiteY6190" fmla="*/ 5039467 h 5973007"/>
              <a:gd name="connsiteX6191" fmla="*/ 2559003 w 6884782"/>
              <a:gd name="connsiteY6191" fmla="*/ 5041222 h 5973007"/>
              <a:gd name="connsiteX6192" fmla="*/ 2552187 w 6884782"/>
              <a:gd name="connsiteY6192" fmla="*/ 5037712 h 5973007"/>
              <a:gd name="connsiteX6193" fmla="*/ 2551413 w 6884782"/>
              <a:gd name="connsiteY6193" fmla="*/ 5035647 h 5973007"/>
              <a:gd name="connsiteX6194" fmla="*/ 2555285 w 6884782"/>
              <a:gd name="connsiteY6194" fmla="*/ 5034098 h 5973007"/>
              <a:gd name="connsiteX6195" fmla="*/ 2087344 w 6884782"/>
              <a:gd name="connsiteY6195" fmla="*/ 5033995 h 5973007"/>
              <a:gd name="connsiteX6196" fmla="*/ 2095243 w 6884782"/>
              <a:gd name="connsiteY6196" fmla="*/ 5035750 h 5973007"/>
              <a:gd name="connsiteX6197" fmla="*/ 2096483 w 6884782"/>
              <a:gd name="connsiteY6197" fmla="*/ 5036473 h 5973007"/>
              <a:gd name="connsiteX6198" fmla="*/ 2098961 w 6884782"/>
              <a:gd name="connsiteY6198" fmla="*/ 5036576 h 5973007"/>
              <a:gd name="connsiteX6199" fmla="*/ 2103453 w 6884782"/>
              <a:gd name="connsiteY6199" fmla="*/ 5040293 h 5973007"/>
              <a:gd name="connsiteX6200" fmla="*/ 2104073 w 6884782"/>
              <a:gd name="connsiteY6200" fmla="*/ 5049380 h 5973007"/>
              <a:gd name="connsiteX6201" fmla="*/ 2104382 w 6884782"/>
              <a:gd name="connsiteY6201" fmla="*/ 5048554 h 5973007"/>
              <a:gd name="connsiteX6202" fmla="*/ 2118478 w 6884782"/>
              <a:gd name="connsiteY6202" fmla="*/ 5046902 h 5973007"/>
              <a:gd name="connsiteX6203" fmla="*/ 2116619 w 6884782"/>
              <a:gd name="connsiteY6203" fmla="*/ 5048864 h 5973007"/>
              <a:gd name="connsiteX6204" fmla="*/ 2115535 w 6884782"/>
              <a:gd name="connsiteY6204" fmla="*/ 5049173 h 5973007"/>
              <a:gd name="connsiteX6205" fmla="*/ 2115225 w 6884782"/>
              <a:gd name="connsiteY6205" fmla="*/ 5049896 h 5973007"/>
              <a:gd name="connsiteX6206" fmla="*/ 2114451 w 6884782"/>
              <a:gd name="connsiteY6206" fmla="*/ 5049483 h 5973007"/>
              <a:gd name="connsiteX6207" fmla="*/ 2112282 w 6884782"/>
              <a:gd name="connsiteY6207" fmla="*/ 5050206 h 5973007"/>
              <a:gd name="connsiteX6208" fmla="*/ 2107790 w 6884782"/>
              <a:gd name="connsiteY6208" fmla="*/ 5053510 h 5973007"/>
              <a:gd name="connsiteX6209" fmla="*/ 2101904 w 6884782"/>
              <a:gd name="connsiteY6209" fmla="*/ 5053923 h 5973007"/>
              <a:gd name="connsiteX6210" fmla="*/ 2101130 w 6884782"/>
              <a:gd name="connsiteY6210" fmla="*/ 5051548 h 5973007"/>
              <a:gd name="connsiteX6211" fmla="*/ 2098806 w 6884782"/>
              <a:gd name="connsiteY6211" fmla="*/ 5052168 h 5973007"/>
              <a:gd name="connsiteX6212" fmla="*/ 2089357 w 6884782"/>
              <a:gd name="connsiteY6212" fmla="*/ 5045869 h 5973007"/>
              <a:gd name="connsiteX6213" fmla="*/ 2088893 w 6884782"/>
              <a:gd name="connsiteY6213" fmla="*/ 5040706 h 5973007"/>
              <a:gd name="connsiteX6214" fmla="*/ 2089202 w 6884782"/>
              <a:gd name="connsiteY6214" fmla="*/ 5040190 h 5973007"/>
              <a:gd name="connsiteX6215" fmla="*/ 2085795 w 6884782"/>
              <a:gd name="connsiteY6215" fmla="*/ 5039364 h 5973007"/>
              <a:gd name="connsiteX6216" fmla="*/ 2087344 w 6884782"/>
              <a:gd name="connsiteY6216" fmla="*/ 5033995 h 5973007"/>
              <a:gd name="connsiteX6217" fmla="*/ 1710791 w 6884782"/>
              <a:gd name="connsiteY6217" fmla="*/ 5029968 h 5973007"/>
              <a:gd name="connsiteX6218" fmla="*/ 1722253 w 6884782"/>
              <a:gd name="connsiteY6218" fmla="*/ 5040397 h 5973007"/>
              <a:gd name="connsiteX6219" fmla="*/ 1723028 w 6884782"/>
              <a:gd name="connsiteY6219" fmla="*/ 5042049 h 5973007"/>
              <a:gd name="connsiteX6220" fmla="*/ 1721634 w 6884782"/>
              <a:gd name="connsiteY6220" fmla="*/ 5044320 h 5973007"/>
              <a:gd name="connsiteX6221" fmla="*/ 1711410 w 6884782"/>
              <a:gd name="connsiteY6221" fmla="*/ 5037815 h 5973007"/>
              <a:gd name="connsiteX6222" fmla="*/ 1710636 w 6884782"/>
              <a:gd name="connsiteY6222" fmla="*/ 5036163 h 5973007"/>
              <a:gd name="connsiteX6223" fmla="*/ 1710791 w 6884782"/>
              <a:gd name="connsiteY6223" fmla="*/ 5029968 h 5973007"/>
              <a:gd name="connsiteX6224" fmla="*/ 1757724 w 6884782"/>
              <a:gd name="connsiteY6224" fmla="*/ 5028935 h 5973007"/>
              <a:gd name="connsiteX6225" fmla="*/ 1751993 w 6884782"/>
              <a:gd name="connsiteY6225" fmla="*/ 5039674 h 5973007"/>
              <a:gd name="connsiteX6226" fmla="*/ 1750134 w 6884782"/>
              <a:gd name="connsiteY6226" fmla="*/ 5034614 h 5973007"/>
              <a:gd name="connsiteX6227" fmla="*/ 1757724 w 6884782"/>
              <a:gd name="connsiteY6227" fmla="*/ 5028935 h 5973007"/>
              <a:gd name="connsiteX6228" fmla="*/ 1449016 w 6884782"/>
              <a:gd name="connsiteY6228" fmla="*/ 5028625 h 5973007"/>
              <a:gd name="connsiteX6229" fmla="*/ 1447467 w 6884782"/>
              <a:gd name="connsiteY6229" fmla="*/ 5038744 h 5973007"/>
              <a:gd name="connsiteX6230" fmla="*/ 1443439 w 6884782"/>
              <a:gd name="connsiteY6230" fmla="*/ 5036473 h 5973007"/>
              <a:gd name="connsiteX6231" fmla="*/ 1449016 w 6884782"/>
              <a:gd name="connsiteY6231" fmla="*/ 5028625 h 5973007"/>
              <a:gd name="connsiteX6232" fmla="*/ 2134897 w 6884782"/>
              <a:gd name="connsiteY6232" fmla="*/ 5027386 h 5973007"/>
              <a:gd name="connsiteX6233" fmla="*/ 2130715 w 6884782"/>
              <a:gd name="connsiteY6233" fmla="*/ 5033375 h 5973007"/>
              <a:gd name="connsiteX6234" fmla="*/ 2129475 w 6884782"/>
              <a:gd name="connsiteY6234" fmla="*/ 5027696 h 5973007"/>
              <a:gd name="connsiteX6235" fmla="*/ 2134897 w 6884782"/>
              <a:gd name="connsiteY6235" fmla="*/ 5027386 h 5973007"/>
              <a:gd name="connsiteX6236" fmla="*/ 1275533 w 6884782"/>
              <a:gd name="connsiteY6236" fmla="*/ 5027386 h 5973007"/>
              <a:gd name="connsiteX6237" fmla="*/ 1276152 w 6884782"/>
              <a:gd name="connsiteY6237" fmla="*/ 5030071 h 5973007"/>
              <a:gd name="connsiteX6238" fmla="*/ 1275067 w 6884782"/>
              <a:gd name="connsiteY6238" fmla="*/ 5032652 h 5973007"/>
              <a:gd name="connsiteX6239" fmla="*/ 1273674 w 6884782"/>
              <a:gd name="connsiteY6239" fmla="*/ 5032962 h 5973007"/>
              <a:gd name="connsiteX6240" fmla="*/ 1271660 w 6884782"/>
              <a:gd name="connsiteY6240" fmla="*/ 5032652 h 5973007"/>
              <a:gd name="connsiteX6241" fmla="*/ 1271195 w 6884782"/>
              <a:gd name="connsiteY6241" fmla="*/ 5031620 h 5973007"/>
              <a:gd name="connsiteX6242" fmla="*/ 1273054 w 6884782"/>
              <a:gd name="connsiteY6242" fmla="*/ 5028212 h 5973007"/>
              <a:gd name="connsiteX6243" fmla="*/ 1275533 w 6884782"/>
              <a:gd name="connsiteY6243" fmla="*/ 5027386 h 5973007"/>
              <a:gd name="connsiteX6244" fmla="*/ 2250914 w 6884782"/>
              <a:gd name="connsiteY6244" fmla="*/ 5026767 h 5973007"/>
              <a:gd name="connsiteX6245" fmla="*/ 2263151 w 6884782"/>
              <a:gd name="connsiteY6245" fmla="*/ 5030071 h 5973007"/>
              <a:gd name="connsiteX6246" fmla="*/ 2256646 w 6884782"/>
              <a:gd name="connsiteY6246" fmla="*/ 5037506 h 5973007"/>
              <a:gd name="connsiteX6247" fmla="*/ 2249520 w 6884782"/>
              <a:gd name="connsiteY6247" fmla="*/ 5034098 h 5973007"/>
              <a:gd name="connsiteX6248" fmla="*/ 2250914 w 6884782"/>
              <a:gd name="connsiteY6248" fmla="*/ 5026767 h 5973007"/>
              <a:gd name="connsiteX6249" fmla="*/ 2284217 w 6884782"/>
              <a:gd name="connsiteY6249" fmla="*/ 5026560 h 5973007"/>
              <a:gd name="connsiteX6250" fmla="*/ 2289948 w 6884782"/>
              <a:gd name="connsiteY6250" fmla="*/ 5031207 h 5973007"/>
              <a:gd name="connsiteX6251" fmla="*/ 2286385 w 6884782"/>
              <a:gd name="connsiteY6251" fmla="*/ 5038022 h 5973007"/>
              <a:gd name="connsiteX6252" fmla="*/ 2287935 w 6884782"/>
              <a:gd name="connsiteY6252" fmla="*/ 5037092 h 5973007"/>
              <a:gd name="connsiteX6253" fmla="*/ 2290723 w 6884782"/>
              <a:gd name="connsiteY6253" fmla="*/ 5037299 h 5973007"/>
              <a:gd name="connsiteX6254" fmla="*/ 2284991 w 6884782"/>
              <a:gd name="connsiteY6254" fmla="*/ 5044527 h 5973007"/>
              <a:gd name="connsiteX6255" fmla="*/ 2285301 w 6884782"/>
              <a:gd name="connsiteY6255" fmla="*/ 5038538 h 5973007"/>
              <a:gd name="connsiteX6256" fmla="*/ 2286231 w 6884782"/>
              <a:gd name="connsiteY6256" fmla="*/ 5038022 h 5973007"/>
              <a:gd name="connsiteX6257" fmla="*/ 2283442 w 6884782"/>
              <a:gd name="connsiteY6257" fmla="*/ 5032549 h 5973007"/>
              <a:gd name="connsiteX6258" fmla="*/ 2284217 w 6884782"/>
              <a:gd name="connsiteY6258" fmla="*/ 5026560 h 5973007"/>
              <a:gd name="connsiteX6259" fmla="*/ 1816604 w 6884782"/>
              <a:gd name="connsiteY6259" fmla="*/ 5025566 h 5973007"/>
              <a:gd name="connsiteX6260" fmla="*/ 1828047 w 6884782"/>
              <a:gd name="connsiteY6260" fmla="*/ 5033582 h 5973007"/>
              <a:gd name="connsiteX6261" fmla="*/ 1827737 w 6884782"/>
              <a:gd name="connsiteY6261" fmla="*/ 5036266 h 5973007"/>
              <a:gd name="connsiteX6262" fmla="*/ 1808066 w 6884782"/>
              <a:gd name="connsiteY6262" fmla="*/ 5048244 h 5973007"/>
              <a:gd name="connsiteX6263" fmla="*/ 1789788 w 6884782"/>
              <a:gd name="connsiteY6263" fmla="*/ 5038744 h 5973007"/>
              <a:gd name="connsiteX6264" fmla="*/ 1802954 w 6884782"/>
              <a:gd name="connsiteY6264" fmla="*/ 5026147 h 5973007"/>
              <a:gd name="connsiteX6265" fmla="*/ 1816604 w 6884782"/>
              <a:gd name="connsiteY6265" fmla="*/ 5025566 h 5973007"/>
              <a:gd name="connsiteX6266" fmla="*/ 1495020 w 6884782"/>
              <a:gd name="connsiteY6266" fmla="*/ 5025218 h 5973007"/>
              <a:gd name="connsiteX6267" fmla="*/ 1489599 w 6884782"/>
              <a:gd name="connsiteY6267" fmla="*/ 5039983 h 5973007"/>
              <a:gd name="connsiteX6268" fmla="*/ 1484177 w 6884782"/>
              <a:gd name="connsiteY6268" fmla="*/ 5039880 h 5973007"/>
              <a:gd name="connsiteX6269" fmla="*/ 1495020 w 6884782"/>
              <a:gd name="connsiteY6269" fmla="*/ 5025218 h 5973007"/>
              <a:gd name="connsiteX6270" fmla="*/ 2213894 w 6884782"/>
              <a:gd name="connsiteY6270" fmla="*/ 5024392 h 5973007"/>
              <a:gd name="connsiteX6271" fmla="*/ 2213274 w 6884782"/>
              <a:gd name="connsiteY6271" fmla="*/ 5024598 h 5973007"/>
              <a:gd name="connsiteX6272" fmla="*/ 2214049 w 6884782"/>
              <a:gd name="connsiteY6272" fmla="*/ 5024598 h 5973007"/>
              <a:gd name="connsiteX6273" fmla="*/ 2542428 w 6884782"/>
              <a:gd name="connsiteY6273" fmla="*/ 5023772 h 5973007"/>
              <a:gd name="connsiteX6274" fmla="*/ 2538092 w 6884782"/>
              <a:gd name="connsiteY6274" fmla="*/ 5028729 h 5973007"/>
              <a:gd name="connsiteX6275" fmla="*/ 2536542 w 6884782"/>
              <a:gd name="connsiteY6275" fmla="*/ 5028522 h 5973007"/>
              <a:gd name="connsiteX6276" fmla="*/ 2542428 w 6884782"/>
              <a:gd name="connsiteY6276" fmla="*/ 5023772 h 5973007"/>
              <a:gd name="connsiteX6277" fmla="*/ 2068911 w 6884782"/>
              <a:gd name="connsiteY6277" fmla="*/ 5023049 h 5973007"/>
              <a:gd name="connsiteX6278" fmla="*/ 2073403 w 6884782"/>
              <a:gd name="connsiteY6278" fmla="*/ 5025321 h 5973007"/>
              <a:gd name="connsiteX6279" fmla="*/ 2066278 w 6884782"/>
              <a:gd name="connsiteY6279" fmla="*/ 5030587 h 5973007"/>
              <a:gd name="connsiteX6280" fmla="*/ 2068911 w 6884782"/>
              <a:gd name="connsiteY6280" fmla="*/ 5023049 h 5973007"/>
              <a:gd name="connsiteX6281" fmla="*/ 2169284 w 6884782"/>
              <a:gd name="connsiteY6281" fmla="*/ 5022223 h 5973007"/>
              <a:gd name="connsiteX6282" fmla="*/ 2174705 w 6884782"/>
              <a:gd name="connsiteY6282" fmla="*/ 5031516 h 5973007"/>
              <a:gd name="connsiteX6283" fmla="*/ 2174550 w 6884782"/>
              <a:gd name="connsiteY6283" fmla="*/ 5041945 h 5973007"/>
              <a:gd name="connsiteX6284" fmla="*/ 2169284 w 6884782"/>
              <a:gd name="connsiteY6284" fmla="*/ 5022223 h 5973007"/>
              <a:gd name="connsiteX6285" fmla="*/ 1847100 w 6884782"/>
              <a:gd name="connsiteY6285" fmla="*/ 5020365 h 5973007"/>
              <a:gd name="connsiteX6286" fmla="*/ 1849733 w 6884782"/>
              <a:gd name="connsiteY6286" fmla="*/ 5042875 h 5973007"/>
              <a:gd name="connsiteX6287" fmla="*/ 1845551 w 6884782"/>
              <a:gd name="connsiteY6287" fmla="*/ 5038744 h 5973007"/>
              <a:gd name="connsiteX6288" fmla="*/ 1845396 w 6884782"/>
              <a:gd name="connsiteY6288" fmla="*/ 5037815 h 5973007"/>
              <a:gd name="connsiteX6289" fmla="*/ 1845241 w 6884782"/>
              <a:gd name="connsiteY6289" fmla="*/ 5039157 h 5973007"/>
              <a:gd name="connsiteX6290" fmla="*/ 1843227 w 6884782"/>
              <a:gd name="connsiteY6290" fmla="*/ 5058673 h 5973007"/>
              <a:gd name="connsiteX6291" fmla="*/ 1839200 w 6884782"/>
              <a:gd name="connsiteY6291" fmla="*/ 5048450 h 5973007"/>
              <a:gd name="connsiteX6292" fmla="*/ 1836567 w 6884782"/>
              <a:gd name="connsiteY6292" fmla="*/ 5038744 h 5973007"/>
              <a:gd name="connsiteX6293" fmla="*/ 1837806 w 6884782"/>
              <a:gd name="connsiteY6293" fmla="*/ 5035647 h 5973007"/>
              <a:gd name="connsiteX6294" fmla="*/ 1837186 w 6884782"/>
              <a:gd name="connsiteY6294" fmla="*/ 5035337 h 5973007"/>
              <a:gd name="connsiteX6295" fmla="*/ 1840439 w 6884782"/>
              <a:gd name="connsiteY6295" fmla="*/ 5030277 h 5973007"/>
              <a:gd name="connsiteX6296" fmla="*/ 1842762 w 6884782"/>
              <a:gd name="connsiteY6296" fmla="*/ 5032652 h 5973007"/>
              <a:gd name="connsiteX6297" fmla="*/ 1844312 w 6884782"/>
              <a:gd name="connsiteY6297" fmla="*/ 5032239 h 5973007"/>
              <a:gd name="connsiteX6298" fmla="*/ 1845086 w 6884782"/>
              <a:gd name="connsiteY6298" fmla="*/ 5026147 h 5973007"/>
              <a:gd name="connsiteX6299" fmla="*/ 1847100 w 6884782"/>
              <a:gd name="connsiteY6299" fmla="*/ 5020365 h 5973007"/>
              <a:gd name="connsiteX6300" fmla="*/ 1890006 w 6884782"/>
              <a:gd name="connsiteY6300" fmla="*/ 5018610 h 5973007"/>
              <a:gd name="connsiteX6301" fmla="*/ 1892484 w 6884782"/>
              <a:gd name="connsiteY6301" fmla="*/ 5018610 h 5973007"/>
              <a:gd name="connsiteX6302" fmla="*/ 1891090 w 6884782"/>
              <a:gd name="connsiteY6302" fmla="*/ 5031516 h 5973007"/>
              <a:gd name="connsiteX6303" fmla="*/ 1890160 w 6884782"/>
              <a:gd name="connsiteY6303" fmla="*/ 5033169 h 5973007"/>
              <a:gd name="connsiteX6304" fmla="*/ 1884894 w 6884782"/>
              <a:gd name="connsiteY6304" fmla="*/ 5036576 h 5973007"/>
              <a:gd name="connsiteX6305" fmla="*/ 1888921 w 6884782"/>
              <a:gd name="connsiteY6305" fmla="*/ 5020262 h 5973007"/>
              <a:gd name="connsiteX6306" fmla="*/ 1890006 w 6884782"/>
              <a:gd name="connsiteY6306" fmla="*/ 5018610 h 5973007"/>
              <a:gd name="connsiteX6307" fmla="*/ 1639848 w 6884782"/>
              <a:gd name="connsiteY6307" fmla="*/ 5017887 h 5973007"/>
              <a:gd name="connsiteX6308" fmla="*/ 1645734 w 6884782"/>
              <a:gd name="connsiteY6308" fmla="*/ 5027489 h 5973007"/>
              <a:gd name="connsiteX6309" fmla="*/ 1634272 w 6884782"/>
              <a:gd name="connsiteY6309" fmla="*/ 5042978 h 5973007"/>
              <a:gd name="connsiteX6310" fmla="*/ 1633808 w 6884782"/>
              <a:gd name="connsiteY6310" fmla="*/ 5042978 h 5973007"/>
              <a:gd name="connsiteX6311" fmla="*/ 1633652 w 6884782"/>
              <a:gd name="connsiteY6311" fmla="*/ 5049793 h 5973007"/>
              <a:gd name="connsiteX6312" fmla="*/ 1631175 w 6884782"/>
              <a:gd name="connsiteY6312" fmla="*/ 5057331 h 5973007"/>
              <a:gd name="connsiteX6313" fmla="*/ 1628696 w 6884782"/>
              <a:gd name="connsiteY6313" fmla="*/ 5058467 h 5973007"/>
              <a:gd name="connsiteX6314" fmla="*/ 1611193 w 6884782"/>
              <a:gd name="connsiteY6314" fmla="*/ 5046592 h 5973007"/>
              <a:gd name="connsiteX6315" fmla="*/ 1609643 w 6884782"/>
              <a:gd name="connsiteY6315" fmla="*/ 5029658 h 5973007"/>
              <a:gd name="connsiteX6316" fmla="*/ 1610108 w 6884782"/>
              <a:gd name="connsiteY6316" fmla="*/ 5028832 h 5973007"/>
              <a:gd name="connsiteX6317" fmla="*/ 1609024 w 6884782"/>
              <a:gd name="connsiteY6317" fmla="*/ 5029865 h 5973007"/>
              <a:gd name="connsiteX6318" fmla="*/ 1607010 w 6884782"/>
              <a:gd name="connsiteY6318" fmla="*/ 5029761 h 5973007"/>
              <a:gd name="connsiteX6319" fmla="*/ 1603138 w 6884782"/>
              <a:gd name="connsiteY6319" fmla="*/ 5028316 h 5973007"/>
              <a:gd name="connsiteX6320" fmla="*/ 1603448 w 6884782"/>
              <a:gd name="connsiteY6320" fmla="*/ 5025115 h 5973007"/>
              <a:gd name="connsiteX6321" fmla="*/ 1606700 w 6884782"/>
              <a:gd name="connsiteY6321" fmla="*/ 5022843 h 5973007"/>
              <a:gd name="connsiteX6322" fmla="*/ 1613516 w 6884782"/>
              <a:gd name="connsiteY6322" fmla="*/ 5022843 h 5973007"/>
              <a:gd name="connsiteX6323" fmla="*/ 1613051 w 6884782"/>
              <a:gd name="connsiteY6323" fmla="*/ 5024392 h 5973007"/>
              <a:gd name="connsiteX6324" fmla="*/ 1621416 w 6884782"/>
              <a:gd name="connsiteY6324" fmla="*/ 5025424 h 5973007"/>
              <a:gd name="connsiteX6325" fmla="*/ 1628231 w 6884782"/>
              <a:gd name="connsiteY6325" fmla="*/ 5029865 h 5973007"/>
              <a:gd name="connsiteX6326" fmla="*/ 1630864 w 6884782"/>
              <a:gd name="connsiteY6326" fmla="*/ 5033891 h 5973007"/>
              <a:gd name="connsiteX6327" fmla="*/ 1631639 w 6884782"/>
              <a:gd name="connsiteY6327" fmla="*/ 5030277 h 5973007"/>
              <a:gd name="connsiteX6328" fmla="*/ 1639848 w 6884782"/>
              <a:gd name="connsiteY6328" fmla="*/ 5017887 h 5973007"/>
              <a:gd name="connsiteX6329" fmla="*/ 1445453 w 6884782"/>
              <a:gd name="connsiteY6329" fmla="*/ 5015615 h 5973007"/>
              <a:gd name="connsiteX6330" fmla="*/ 1448396 w 6884782"/>
              <a:gd name="connsiteY6330" fmla="*/ 5018610 h 5973007"/>
              <a:gd name="connsiteX6331" fmla="*/ 1447622 w 6884782"/>
              <a:gd name="connsiteY6331" fmla="*/ 5021294 h 5973007"/>
              <a:gd name="connsiteX6332" fmla="*/ 1446228 w 6884782"/>
              <a:gd name="connsiteY6332" fmla="*/ 5021810 h 5973007"/>
              <a:gd name="connsiteX6333" fmla="*/ 1445143 w 6884782"/>
              <a:gd name="connsiteY6333" fmla="*/ 5020778 h 5973007"/>
              <a:gd name="connsiteX6334" fmla="*/ 1443595 w 6884782"/>
              <a:gd name="connsiteY6334" fmla="*/ 5018713 h 5973007"/>
              <a:gd name="connsiteX6335" fmla="*/ 1444059 w 6884782"/>
              <a:gd name="connsiteY6335" fmla="*/ 5017267 h 5973007"/>
              <a:gd name="connsiteX6336" fmla="*/ 1445453 w 6884782"/>
              <a:gd name="connsiteY6336" fmla="*/ 5015615 h 5973007"/>
              <a:gd name="connsiteX6337" fmla="*/ 2548934 w 6884782"/>
              <a:gd name="connsiteY6337" fmla="*/ 5015305 h 5973007"/>
              <a:gd name="connsiteX6338" fmla="*/ 2549554 w 6884782"/>
              <a:gd name="connsiteY6338" fmla="*/ 5016441 h 5973007"/>
              <a:gd name="connsiteX6339" fmla="*/ 2548934 w 6884782"/>
              <a:gd name="connsiteY6339" fmla="*/ 5018093 h 5973007"/>
              <a:gd name="connsiteX6340" fmla="*/ 2547230 w 6884782"/>
              <a:gd name="connsiteY6340" fmla="*/ 5021604 h 5973007"/>
              <a:gd name="connsiteX6341" fmla="*/ 2548934 w 6884782"/>
              <a:gd name="connsiteY6341" fmla="*/ 5015305 h 5973007"/>
              <a:gd name="connsiteX6342" fmla="*/ 2045367 w 6884782"/>
              <a:gd name="connsiteY6342" fmla="*/ 5015305 h 5973007"/>
              <a:gd name="connsiteX6343" fmla="*/ 2044902 w 6884782"/>
              <a:gd name="connsiteY6343" fmla="*/ 5019022 h 5973007"/>
              <a:gd name="connsiteX6344" fmla="*/ 2040720 w 6884782"/>
              <a:gd name="connsiteY6344" fmla="*/ 5020468 h 5973007"/>
              <a:gd name="connsiteX6345" fmla="*/ 2037313 w 6884782"/>
              <a:gd name="connsiteY6345" fmla="*/ 5018919 h 5973007"/>
              <a:gd name="connsiteX6346" fmla="*/ 2036693 w 6884782"/>
              <a:gd name="connsiteY6346" fmla="*/ 5015718 h 5973007"/>
              <a:gd name="connsiteX6347" fmla="*/ 2045367 w 6884782"/>
              <a:gd name="connsiteY6347" fmla="*/ 5015305 h 5973007"/>
              <a:gd name="connsiteX6348" fmla="*/ 1683994 w 6884782"/>
              <a:gd name="connsiteY6348" fmla="*/ 5014479 h 5973007"/>
              <a:gd name="connsiteX6349" fmla="*/ 1683529 w 6884782"/>
              <a:gd name="connsiteY6349" fmla="*/ 5019642 h 5973007"/>
              <a:gd name="connsiteX6350" fmla="*/ 1680896 w 6884782"/>
              <a:gd name="connsiteY6350" fmla="*/ 5021191 h 5973007"/>
              <a:gd name="connsiteX6351" fmla="*/ 1678417 w 6884782"/>
              <a:gd name="connsiteY6351" fmla="*/ 5019436 h 5973007"/>
              <a:gd name="connsiteX6352" fmla="*/ 1677333 w 6884782"/>
              <a:gd name="connsiteY6352" fmla="*/ 5015925 h 5973007"/>
              <a:gd name="connsiteX6353" fmla="*/ 1683994 w 6884782"/>
              <a:gd name="connsiteY6353" fmla="*/ 5014479 h 5973007"/>
              <a:gd name="connsiteX6354" fmla="*/ 1756021 w 6884782"/>
              <a:gd name="connsiteY6354" fmla="*/ 5013240 h 5973007"/>
              <a:gd name="connsiteX6355" fmla="*/ 1758809 w 6884782"/>
              <a:gd name="connsiteY6355" fmla="*/ 5016957 h 5973007"/>
              <a:gd name="connsiteX6356" fmla="*/ 1756175 w 6884782"/>
              <a:gd name="connsiteY6356" fmla="*/ 5019022 h 5973007"/>
              <a:gd name="connsiteX6357" fmla="*/ 1754471 w 6884782"/>
              <a:gd name="connsiteY6357" fmla="*/ 5017783 h 5973007"/>
              <a:gd name="connsiteX6358" fmla="*/ 1756021 w 6884782"/>
              <a:gd name="connsiteY6358" fmla="*/ 5013240 h 5973007"/>
              <a:gd name="connsiteX6359" fmla="*/ 2263925 w 6884782"/>
              <a:gd name="connsiteY6359" fmla="*/ 5011588 h 5973007"/>
              <a:gd name="connsiteX6360" fmla="*/ 2263925 w 6884782"/>
              <a:gd name="connsiteY6360" fmla="*/ 5017164 h 5973007"/>
              <a:gd name="connsiteX6361" fmla="*/ 2258659 w 6884782"/>
              <a:gd name="connsiteY6361" fmla="*/ 5017577 h 5973007"/>
              <a:gd name="connsiteX6362" fmla="*/ 2258814 w 6884782"/>
              <a:gd name="connsiteY6362" fmla="*/ 5020571 h 5973007"/>
              <a:gd name="connsiteX6363" fmla="*/ 2257265 w 6884782"/>
              <a:gd name="connsiteY6363" fmla="*/ 5022533 h 5973007"/>
              <a:gd name="connsiteX6364" fmla="*/ 2252773 w 6884782"/>
              <a:gd name="connsiteY6364" fmla="*/ 5019952 h 5973007"/>
              <a:gd name="connsiteX6365" fmla="*/ 2254477 w 6884782"/>
              <a:gd name="connsiteY6365" fmla="*/ 5017680 h 5973007"/>
              <a:gd name="connsiteX6366" fmla="*/ 2252773 w 6884782"/>
              <a:gd name="connsiteY6366" fmla="*/ 5017371 h 5973007"/>
              <a:gd name="connsiteX6367" fmla="*/ 2250759 w 6884782"/>
              <a:gd name="connsiteY6367" fmla="*/ 5014582 h 5973007"/>
              <a:gd name="connsiteX6368" fmla="*/ 2263925 w 6884782"/>
              <a:gd name="connsiteY6368" fmla="*/ 5011588 h 5973007"/>
              <a:gd name="connsiteX6369" fmla="*/ 2006333 w 6884782"/>
              <a:gd name="connsiteY6369" fmla="*/ 5011485 h 5973007"/>
              <a:gd name="connsiteX6370" fmla="*/ 2007417 w 6884782"/>
              <a:gd name="connsiteY6370" fmla="*/ 5020468 h 5973007"/>
              <a:gd name="connsiteX6371" fmla="*/ 2006488 w 6884782"/>
              <a:gd name="connsiteY6371" fmla="*/ 5024598 h 5973007"/>
              <a:gd name="connsiteX6372" fmla="*/ 2006797 w 6884782"/>
              <a:gd name="connsiteY6372" fmla="*/ 5024495 h 5973007"/>
              <a:gd name="connsiteX6373" fmla="*/ 2010205 w 6884782"/>
              <a:gd name="connsiteY6373" fmla="*/ 5025734 h 5973007"/>
              <a:gd name="connsiteX6374" fmla="*/ 2012994 w 6884782"/>
              <a:gd name="connsiteY6374" fmla="*/ 5029761 h 5973007"/>
              <a:gd name="connsiteX6375" fmla="*/ 2027244 w 6884782"/>
              <a:gd name="connsiteY6375" fmla="*/ 5029245 h 5973007"/>
              <a:gd name="connsiteX6376" fmla="*/ 2047226 w 6884782"/>
              <a:gd name="connsiteY6376" fmla="*/ 5028729 h 5973007"/>
              <a:gd name="connsiteX6377" fmla="*/ 2041339 w 6884782"/>
              <a:gd name="connsiteY6377" fmla="*/ 5032652 h 5973007"/>
              <a:gd name="connsiteX6378" fmla="*/ 2041959 w 6884782"/>
              <a:gd name="connsiteY6378" fmla="*/ 5033169 h 5973007"/>
              <a:gd name="connsiteX6379" fmla="*/ 2050788 w 6884782"/>
              <a:gd name="connsiteY6379" fmla="*/ 5033995 h 5973007"/>
              <a:gd name="connsiteX6380" fmla="*/ 2051253 w 6884782"/>
              <a:gd name="connsiteY6380" fmla="*/ 5042255 h 5973007"/>
              <a:gd name="connsiteX6381" fmla="*/ 2049704 w 6884782"/>
              <a:gd name="connsiteY6381" fmla="*/ 5045250 h 5973007"/>
              <a:gd name="connsiteX6382" fmla="*/ 2034679 w 6884782"/>
              <a:gd name="connsiteY6382" fmla="*/ 5036060 h 5973007"/>
              <a:gd name="connsiteX6383" fmla="*/ 2034834 w 6884782"/>
              <a:gd name="connsiteY6383" fmla="*/ 5035647 h 5973007"/>
              <a:gd name="connsiteX6384" fmla="*/ 2027554 w 6884782"/>
              <a:gd name="connsiteY6384" fmla="*/ 5037506 h 5973007"/>
              <a:gd name="connsiteX6385" fmla="*/ 2022288 w 6884782"/>
              <a:gd name="connsiteY6385" fmla="*/ 5038125 h 5973007"/>
              <a:gd name="connsiteX6386" fmla="*/ 2022752 w 6884782"/>
              <a:gd name="connsiteY6386" fmla="*/ 5038538 h 5973007"/>
              <a:gd name="connsiteX6387" fmla="*/ 2018260 w 6884782"/>
              <a:gd name="connsiteY6387" fmla="*/ 5054026 h 5973007"/>
              <a:gd name="connsiteX6388" fmla="*/ 2015627 w 6884782"/>
              <a:gd name="connsiteY6388" fmla="*/ 5053201 h 5973007"/>
              <a:gd name="connsiteX6389" fmla="*/ 2012838 w 6884782"/>
              <a:gd name="connsiteY6389" fmla="*/ 5048244 h 5973007"/>
              <a:gd name="connsiteX6390" fmla="*/ 2013148 w 6884782"/>
              <a:gd name="connsiteY6390" fmla="*/ 5044630 h 5973007"/>
              <a:gd name="connsiteX6391" fmla="*/ 2008656 w 6884782"/>
              <a:gd name="connsiteY6391" fmla="*/ 5044114 h 5973007"/>
              <a:gd name="connsiteX6392" fmla="*/ 2009276 w 6884782"/>
              <a:gd name="connsiteY6392" fmla="*/ 5039467 h 5973007"/>
              <a:gd name="connsiteX6393" fmla="*/ 2009431 w 6884782"/>
              <a:gd name="connsiteY6393" fmla="*/ 5039261 h 5973007"/>
              <a:gd name="connsiteX6394" fmla="*/ 2004474 w 6884782"/>
              <a:gd name="connsiteY6394" fmla="*/ 5039674 h 5973007"/>
              <a:gd name="connsiteX6395" fmla="*/ 2004474 w 6884782"/>
              <a:gd name="connsiteY6395" fmla="*/ 5035440 h 5973007"/>
              <a:gd name="connsiteX6396" fmla="*/ 2004784 w 6884782"/>
              <a:gd name="connsiteY6396" fmla="*/ 5032962 h 5973007"/>
              <a:gd name="connsiteX6397" fmla="*/ 2003854 w 6884782"/>
              <a:gd name="connsiteY6397" fmla="*/ 5032962 h 5973007"/>
              <a:gd name="connsiteX6398" fmla="*/ 2002460 w 6884782"/>
              <a:gd name="connsiteY6398" fmla="*/ 5028109 h 5973007"/>
              <a:gd name="connsiteX6399" fmla="*/ 2003235 w 6884782"/>
              <a:gd name="connsiteY6399" fmla="*/ 5026870 h 5973007"/>
              <a:gd name="connsiteX6400" fmla="*/ 1998898 w 6884782"/>
              <a:gd name="connsiteY6400" fmla="*/ 5027077 h 5973007"/>
              <a:gd name="connsiteX6401" fmla="*/ 1995026 w 6884782"/>
              <a:gd name="connsiteY6401" fmla="*/ 5025528 h 5973007"/>
              <a:gd name="connsiteX6402" fmla="*/ 1994251 w 6884782"/>
              <a:gd name="connsiteY6402" fmla="*/ 5023669 h 5973007"/>
              <a:gd name="connsiteX6403" fmla="*/ 1993012 w 6884782"/>
              <a:gd name="connsiteY6403" fmla="*/ 5025424 h 5973007"/>
              <a:gd name="connsiteX6404" fmla="*/ 1988211 w 6884782"/>
              <a:gd name="connsiteY6404" fmla="*/ 5027489 h 5973007"/>
              <a:gd name="connsiteX6405" fmla="*/ 1982789 w 6884782"/>
              <a:gd name="connsiteY6405" fmla="*/ 5026973 h 5973007"/>
              <a:gd name="connsiteX6406" fmla="*/ 1985887 w 6884782"/>
              <a:gd name="connsiteY6406" fmla="*/ 5021914 h 5973007"/>
              <a:gd name="connsiteX6407" fmla="*/ 1993477 w 6884782"/>
              <a:gd name="connsiteY6407" fmla="*/ 5021191 h 5973007"/>
              <a:gd name="connsiteX6408" fmla="*/ 1994251 w 6884782"/>
              <a:gd name="connsiteY6408" fmla="*/ 5022533 h 5973007"/>
              <a:gd name="connsiteX6409" fmla="*/ 1995026 w 6884782"/>
              <a:gd name="connsiteY6409" fmla="*/ 5018919 h 5973007"/>
              <a:gd name="connsiteX6410" fmla="*/ 2006333 w 6884782"/>
              <a:gd name="connsiteY6410" fmla="*/ 5011485 h 5973007"/>
              <a:gd name="connsiteX6411" fmla="*/ 1705059 w 6884782"/>
              <a:gd name="connsiteY6411" fmla="*/ 5010143 h 5973007"/>
              <a:gd name="connsiteX6412" fmla="*/ 1711410 w 6884782"/>
              <a:gd name="connsiteY6412" fmla="*/ 5015202 h 5973007"/>
              <a:gd name="connsiteX6413" fmla="*/ 1705989 w 6884782"/>
              <a:gd name="connsiteY6413" fmla="*/ 5031104 h 5973007"/>
              <a:gd name="connsiteX6414" fmla="*/ 1705370 w 6884782"/>
              <a:gd name="connsiteY6414" fmla="*/ 5030690 h 5973007"/>
              <a:gd name="connsiteX6415" fmla="*/ 1703665 w 6884782"/>
              <a:gd name="connsiteY6415" fmla="*/ 5036163 h 5973007"/>
              <a:gd name="connsiteX6416" fmla="*/ 1700258 w 6884782"/>
              <a:gd name="connsiteY6416" fmla="*/ 5036473 h 5973007"/>
              <a:gd name="connsiteX6417" fmla="*/ 1692978 w 6884782"/>
              <a:gd name="connsiteY6417" fmla="*/ 5031000 h 5973007"/>
              <a:gd name="connsiteX6418" fmla="*/ 1692513 w 6884782"/>
              <a:gd name="connsiteY6418" fmla="*/ 5030587 h 5973007"/>
              <a:gd name="connsiteX6419" fmla="*/ 1691584 w 6884782"/>
              <a:gd name="connsiteY6419" fmla="*/ 5030071 h 5973007"/>
              <a:gd name="connsiteX6420" fmla="*/ 1691274 w 6884782"/>
              <a:gd name="connsiteY6420" fmla="*/ 5030381 h 5973007"/>
              <a:gd name="connsiteX6421" fmla="*/ 1691274 w 6884782"/>
              <a:gd name="connsiteY6421" fmla="*/ 5030071 h 5973007"/>
              <a:gd name="connsiteX6422" fmla="*/ 1689415 w 6884782"/>
              <a:gd name="connsiteY6422" fmla="*/ 5029245 h 5973007"/>
              <a:gd name="connsiteX6423" fmla="*/ 1690034 w 6884782"/>
              <a:gd name="connsiteY6423" fmla="*/ 5027799 h 5973007"/>
              <a:gd name="connsiteX6424" fmla="*/ 1689260 w 6884782"/>
              <a:gd name="connsiteY6424" fmla="*/ 5025218 h 5973007"/>
              <a:gd name="connsiteX6425" fmla="*/ 1690654 w 6884782"/>
              <a:gd name="connsiteY6425" fmla="*/ 5023463 h 5973007"/>
              <a:gd name="connsiteX6426" fmla="*/ 1695611 w 6884782"/>
              <a:gd name="connsiteY6426" fmla="*/ 5023359 h 5973007"/>
              <a:gd name="connsiteX6427" fmla="*/ 1698864 w 6884782"/>
              <a:gd name="connsiteY6427" fmla="*/ 5017371 h 5973007"/>
              <a:gd name="connsiteX6428" fmla="*/ 1700258 w 6884782"/>
              <a:gd name="connsiteY6428" fmla="*/ 5014376 h 5973007"/>
              <a:gd name="connsiteX6429" fmla="*/ 1699328 w 6884782"/>
              <a:gd name="connsiteY6429" fmla="*/ 5015202 h 5973007"/>
              <a:gd name="connsiteX6430" fmla="*/ 1687092 w 6884782"/>
              <a:gd name="connsiteY6430" fmla="*/ 5014066 h 5973007"/>
              <a:gd name="connsiteX6431" fmla="*/ 1695146 w 6884782"/>
              <a:gd name="connsiteY6431" fmla="*/ 5010246 h 5973007"/>
              <a:gd name="connsiteX6432" fmla="*/ 1701652 w 6884782"/>
              <a:gd name="connsiteY6432" fmla="*/ 5012724 h 5973007"/>
              <a:gd name="connsiteX6433" fmla="*/ 830767 w 6884782"/>
              <a:gd name="connsiteY6433" fmla="*/ 5009794 h 5973007"/>
              <a:gd name="connsiteX6434" fmla="*/ 836092 w 6884782"/>
              <a:gd name="connsiteY6434" fmla="*/ 5010659 h 5973007"/>
              <a:gd name="connsiteX6435" fmla="*/ 830670 w 6884782"/>
              <a:gd name="connsiteY6435" fmla="*/ 5016131 h 5973007"/>
              <a:gd name="connsiteX6436" fmla="*/ 828346 w 6884782"/>
              <a:gd name="connsiteY6436" fmla="*/ 5015512 h 5973007"/>
              <a:gd name="connsiteX6437" fmla="*/ 830767 w 6884782"/>
              <a:gd name="connsiteY6437" fmla="*/ 5009794 h 5973007"/>
              <a:gd name="connsiteX6438" fmla="*/ 2198404 w 6884782"/>
              <a:gd name="connsiteY6438" fmla="*/ 5009110 h 5973007"/>
              <a:gd name="connsiteX6439" fmla="*/ 2199333 w 6884782"/>
              <a:gd name="connsiteY6439" fmla="*/ 5015305 h 5973007"/>
              <a:gd name="connsiteX6440" fmla="*/ 2200109 w 6884782"/>
              <a:gd name="connsiteY6440" fmla="*/ 5016235 h 5973007"/>
              <a:gd name="connsiteX6441" fmla="*/ 2200263 w 6884782"/>
              <a:gd name="connsiteY6441" fmla="*/ 5016235 h 5973007"/>
              <a:gd name="connsiteX6442" fmla="*/ 2200573 w 6884782"/>
              <a:gd name="connsiteY6442" fmla="*/ 5016648 h 5973007"/>
              <a:gd name="connsiteX6443" fmla="*/ 2201192 w 6884782"/>
              <a:gd name="connsiteY6443" fmla="*/ 5017371 h 5973007"/>
              <a:gd name="connsiteX6444" fmla="*/ 2201192 w 6884782"/>
              <a:gd name="connsiteY6444" fmla="*/ 5017783 h 5973007"/>
              <a:gd name="connsiteX6445" fmla="*/ 2202587 w 6884782"/>
              <a:gd name="connsiteY6445" fmla="*/ 5019642 h 5973007"/>
              <a:gd name="connsiteX6446" fmla="*/ 2205530 w 6884782"/>
              <a:gd name="connsiteY6446" fmla="*/ 5022637 h 5973007"/>
              <a:gd name="connsiteX6447" fmla="*/ 2202277 w 6884782"/>
              <a:gd name="connsiteY6447" fmla="*/ 5024805 h 5973007"/>
              <a:gd name="connsiteX6448" fmla="*/ 2199488 w 6884782"/>
              <a:gd name="connsiteY6448" fmla="*/ 5022843 h 5973007"/>
              <a:gd name="connsiteX6449" fmla="*/ 2198559 w 6884782"/>
              <a:gd name="connsiteY6449" fmla="*/ 5022843 h 5973007"/>
              <a:gd name="connsiteX6450" fmla="*/ 2196855 w 6884782"/>
              <a:gd name="connsiteY6450" fmla="*/ 5020778 h 5973007"/>
              <a:gd name="connsiteX6451" fmla="*/ 2196700 w 6884782"/>
              <a:gd name="connsiteY6451" fmla="*/ 5019642 h 5973007"/>
              <a:gd name="connsiteX6452" fmla="*/ 2194997 w 6884782"/>
              <a:gd name="connsiteY6452" fmla="*/ 5016544 h 5973007"/>
              <a:gd name="connsiteX6453" fmla="*/ 2196545 w 6884782"/>
              <a:gd name="connsiteY6453" fmla="*/ 5016544 h 5973007"/>
              <a:gd name="connsiteX6454" fmla="*/ 2198095 w 6884782"/>
              <a:gd name="connsiteY6454" fmla="*/ 5013756 h 5973007"/>
              <a:gd name="connsiteX6455" fmla="*/ 2198404 w 6884782"/>
              <a:gd name="connsiteY6455" fmla="*/ 5009110 h 5973007"/>
              <a:gd name="connsiteX6456" fmla="*/ 1576960 w 6884782"/>
              <a:gd name="connsiteY6456" fmla="*/ 5008697 h 5973007"/>
              <a:gd name="connsiteX6457" fmla="*/ 1584705 w 6884782"/>
              <a:gd name="connsiteY6457" fmla="*/ 5014066 h 5973007"/>
              <a:gd name="connsiteX6458" fmla="*/ 1578819 w 6884782"/>
              <a:gd name="connsiteY6458" fmla="*/ 5020262 h 5973007"/>
              <a:gd name="connsiteX6459" fmla="*/ 1573243 w 6884782"/>
              <a:gd name="connsiteY6459" fmla="*/ 5017474 h 5973007"/>
              <a:gd name="connsiteX6460" fmla="*/ 1576960 w 6884782"/>
              <a:gd name="connsiteY6460" fmla="*/ 5008697 h 5973007"/>
              <a:gd name="connsiteX6461" fmla="*/ 1230612 w 6884782"/>
              <a:gd name="connsiteY6461" fmla="*/ 5007871 h 5973007"/>
              <a:gd name="connsiteX6462" fmla="*/ 1238047 w 6884782"/>
              <a:gd name="connsiteY6462" fmla="*/ 5007974 h 5973007"/>
              <a:gd name="connsiteX6463" fmla="*/ 1238666 w 6884782"/>
              <a:gd name="connsiteY6463" fmla="*/ 5010555 h 5973007"/>
              <a:gd name="connsiteX6464" fmla="*/ 1233245 w 6884782"/>
              <a:gd name="connsiteY6464" fmla="*/ 5013653 h 5973007"/>
              <a:gd name="connsiteX6465" fmla="*/ 1231077 w 6884782"/>
              <a:gd name="connsiteY6465" fmla="*/ 5012208 h 5973007"/>
              <a:gd name="connsiteX6466" fmla="*/ 1230148 w 6884782"/>
              <a:gd name="connsiteY6466" fmla="*/ 5010349 h 5973007"/>
              <a:gd name="connsiteX6467" fmla="*/ 1230612 w 6884782"/>
              <a:gd name="connsiteY6467" fmla="*/ 5007871 h 5973007"/>
              <a:gd name="connsiteX6468" fmla="*/ 1852366 w 6884782"/>
              <a:gd name="connsiteY6468" fmla="*/ 5007768 h 5973007"/>
              <a:gd name="connsiteX6469" fmla="*/ 1853760 w 6884782"/>
              <a:gd name="connsiteY6469" fmla="*/ 5011381 h 5973007"/>
              <a:gd name="connsiteX6470" fmla="*/ 1854070 w 6884782"/>
              <a:gd name="connsiteY6470" fmla="*/ 5010865 h 5973007"/>
              <a:gd name="connsiteX6471" fmla="*/ 1855154 w 6884782"/>
              <a:gd name="connsiteY6471" fmla="*/ 5034201 h 5973007"/>
              <a:gd name="connsiteX6472" fmla="*/ 1850662 w 6884782"/>
              <a:gd name="connsiteY6472" fmla="*/ 5021501 h 5973007"/>
              <a:gd name="connsiteX6473" fmla="*/ 1851281 w 6884782"/>
              <a:gd name="connsiteY6473" fmla="*/ 5017267 h 5973007"/>
              <a:gd name="connsiteX6474" fmla="*/ 1848184 w 6884782"/>
              <a:gd name="connsiteY6474" fmla="*/ 5016338 h 5973007"/>
              <a:gd name="connsiteX6475" fmla="*/ 1842607 w 6884782"/>
              <a:gd name="connsiteY6475" fmla="*/ 5013343 h 5973007"/>
              <a:gd name="connsiteX6476" fmla="*/ 1852366 w 6884782"/>
              <a:gd name="connsiteY6476" fmla="*/ 5007768 h 5973007"/>
              <a:gd name="connsiteX6477" fmla="*/ 1468223 w 6884782"/>
              <a:gd name="connsiteY6477" fmla="*/ 5007561 h 5973007"/>
              <a:gd name="connsiteX6478" fmla="*/ 1468843 w 6884782"/>
              <a:gd name="connsiteY6478" fmla="*/ 5008077 h 5973007"/>
              <a:gd name="connsiteX6479" fmla="*/ 1469307 w 6884782"/>
              <a:gd name="connsiteY6479" fmla="*/ 5007768 h 5973007"/>
              <a:gd name="connsiteX6480" fmla="*/ 1472095 w 6884782"/>
              <a:gd name="connsiteY6480" fmla="*/ 5007871 h 5973007"/>
              <a:gd name="connsiteX6481" fmla="*/ 1476278 w 6884782"/>
              <a:gd name="connsiteY6481" fmla="*/ 5007561 h 5973007"/>
              <a:gd name="connsiteX6482" fmla="*/ 1489909 w 6884782"/>
              <a:gd name="connsiteY6482" fmla="*/ 5010349 h 5973007"/>
              <a:gd name="connsiteX6483" fmla="*/ 1484332 w 6884782"/>
              <a:gd name="connsiteY6483" fmla="*/ 5011691 h 5973007"/>
              <a:gd name="connsiteX6484" fmla="*/ 1477052 w 6884782"/>
              <a:gd name="connsiteY6484" fmla="*/ 5011691 h 5973007"/>
              <a:gd name="connsiteX6485" fmla="*/ 1471476 w 6884782"/>
              <a:gd name="connsiteY6485" fmla="*/ 5012311 h 5973007"/>
              <a:gd name="connsiteX6486" fmla="*/ 1470547 w 6884782"/>
              <a:gd name="connsiteY6486" fmla="*/ 5013963 h 5973007"/>
              <a:gd name="connsiteX6487" fmla="*/ 1468843 w 6884782"/>
              <a:gd name="connsiteY6487" fmla="*/ 5015615 h 5973007"/>
              <a:gd name="connsiteX6488" fmla="*/ 1467449 w 6884782"/>
              <a:gd name="connsiteY6488" fmla="*/ 5015718 h 5973007"/>
              <a:gd name="connsiteX6489" fmla="*/ 1466364 w 6884782"/>
              <a:gd name="connsiteY6489" fmla="*/ 5014789 h 5973007"/>
              <a:gd name="connsiteX6490" fmla="*/ 1468223 w 6884782"/>
              <a:gd name="connsiteY6490" fmla="*/ 5007561 h 5973007"/>
              <a:gd name="connsiteX6491" fmla="*/ 2203748 w 6884782"/>
              <a:gd name="connsiteY6491" fmla="*/ 5007432 h 5973007"/>
              <a:gd name="connsiteX6492" fmla="*/ 2205220 w 6884782"/>
              <a:gd name="connsiteY6492" fmla="*/ 5012208 h 5973007"/>
              <a:gd name="connsiteX6493" fmla="*/ 2199024 w 6884782"/>
              <a:gd name="connsiteY6493" fmla="*/ 5010555 h 5973007"/>
              <a:gd name="connsiteX6494" fmla="*/ 2203748 w 6884782"/>
              <a:gd name="connsiteY6494" fmla="*/ 5007432 h 5973007"/>
              <a:gd name="connsiteX6495" fmla="*/ 2210951 w 6884782"/>
              <a:gd name="connsiteY6495" fmla="*/ 5007354 h 5973007"/>
              <a:gd name="connsiteX6496" fmla="*/ 2216992 w 6884782"/>
              <a:gd name="connsiteY6496" fmla="*/ 5008800 h 5973007"/>
              <a:gd name="connsiteX6497" fmla="*/ 2219006 w 6884782"/>
              <a:gd name="connsiteY6497" fmla="*/ 5011795 h 5973007"/>
              <a:gd name="connsiteX6498" fmla="*/ 2220709 w 6884782"/>
              <a:gd name="connsiteY6498" fmla="*/ 5010452 h 5973007"/>
              <a:gd name="connsiteX6499" fmla="*/ 2233876 w 6884782"/>
              <a:gd name="connsiteY6499" fmla="*/ 5016854 h 5973007"/>
              <a:gd name="connsiteX6500" fmla="*/ 2234341 w 6884782"/>
              <a:gd name="connsiteY6500" fmla="*/ 5019229 h 5973007"/>
              <a:gd name="connsiteX6501" fmla="*/ 2236044 w 6884782"/>
              <a:gd name="connsiteY6501" fmla="*/ 5022430 h 5973007"/>
              <a:gd name="connsiteX6502" fmla="*/ 2226750 w 6884782"/>
              <a:gd name="connsiteY6502" fmla="*/ 5029348 h 5973007"/>
              <a:gd name="connsiteX6503" fmla="*/ 2221639 w 6884782"/>
              <a:gd name="connsiteY6503" fmla="*/ 5030587 h 5973007"/>
              <a:gd name="connsiteX6504" fmla="*/ 2220399 w 6884782"/>
              <a:gd name="connsiteY6504" fmla="*/ 5030277 h 5973007"/>
              <a:gd name="connsiteX6505" fmla="*/ 2220864 w 6884782"/>
              <a:gd name="connsiteY6505" fmla="*/ 5030587 h 5973007"/>
              <a:gd name="connsiteX6506" fmla="*/ 2224272 w 6884782"/>
              <a:gd name="connsiteY6506" fmla="*/ 5036163 h 5973007"/>
              <a:gd name="connsiteX6507" fmla="*/ 2221639 w 6884782"/>
              <a:gd name="connsiteY6507" fmla="*/ 5035440 h 5973007"/>
              <a:gd name="connsiteX6508" fmla="*/ 2220709 w 6884782"/>
              <a:gd name="connsiteY6508" fmla="*/ 5034614 h 5973007"/>
              <a:gd name="connsiteX6509" fmla="*/ 2219780 w 6884782"/>
              <a:gd name="connsiteY6509" fmla="*/ 5034717 h 5973007"/>
              <a:gd name="connsiteX6510" fmla="*/ 2219625 w 6884782"/>
              <a:gd name="connsiteY6510" fmla="*/ 5033788 h 5973007"/>
              <a:gd name="connsiteX6511" fmla="*/ 2217766 w 6884782"/>
              <a:gd name="connsiteY6511" fmla="*/ 5032136 h 5973007"/>
              <a:gd name="connsiteX6512" fmla="*/ 2212345 w 6884782"/>
              <a:gd name="connsiteY6512" fmla="*/ 5029968 h 5973007"/>
              <a:gd name="connsiteX6513" fmla="*/ 2208318 w 6884782"/>
              <a:gd name="connsiteY6513" fmla="*/ 5024908 h 5973007"/>
              <a:gd name="connsiteX6514" fmla="*/ 2209712 w 6884782"/>
              <a:gd name="connsiteY6514" fmla="*/ 5023049 h 5973007"/>
              <a:gd name="connsiteX6515" fmla="*/ 2207853 w 6884782"/>
              <a:gd name="connsiteY6515" fmla="*/ 5021501 h 5973007"/>
              <a:gd name="connsiteX6516" fmla="*/ 2207078 w 6884782"/>
              <a:gd name="connsiteY6516" fmla="*/ 5010143 h 5973007"/>
              <a:gd name="connsiteX6517" fmla="*/ 2210951 w 6884782"/>
              <a:gd name="connsiteY6517" fmla="*/ 5007354 h 5973007"/>
              <a:gd name="connsiteX6518" fmla="*/ 2055203 w 6884782"/>
              <a:gd name="connsiteY6518" fmla="*/ 5005418 h 5973007"/>
              <a:gd name="connsiteX6519" fmla="*/ 2055590 w 6884782"/>
              <a:gd name="connsiteY6519" fmla="*/ 5010865 h 5973007"/>
              <a:gd name="connsiteX6520" fmla="*/ 2051562 w 6884782"/>
              <a:gd name="connsiteY6520" fmla="*/ 5007251 h 5973007"/>
              <a:gd name="connsiteX6521" fmla="*/ 2055203 w 6884782"/>
              <a:gd name="connsiteY6521" fmla="*/ 5005418 h 5973007"/>
              <a:gd name="connsiteX6522" fmla="*/ 902697 w 6884782"/>
              <a:gd name="connsiteY6522" fmla="*/ 5004980 h 5973007"/>
              <a:gd name="connsiteX6523" fmla="*/ 906569 w 6884782"/>
              <a:gd name="connsiteY6523" fmla="*/ 5007561 h 5973007"/>
              <a:gd name="connsiteX6524" fmla="*/ 904711 w 6884782"/>
              <a:gd name="connsiteY6524" fmla="*/ 5017990 h 5973007"/>
              <a:gd name="connsiteX6525" fmla="*/ 895261 w 6884782"/>
              <a:gd name="connsiteY6525" fmla="*/ 5019642 h 5973007"/>
              <a:gd name="connsiteX6526" fmla="*/ 894332 w 6884782"/>
              <a:gd name="connsiteY6526" fmla="*/ 5021294 h 5973007"/>
              <a:gd name="connsiteX6527" fmla="*/ 890770 w 6884782"/>
              <a:gd name="connsiteY6527" fmla="*/ 5022946 h 5973007"/>
              <a:gd name="connsiteX6528" fmla="*/ 889995 w 6884782"/>
              <a:gd name="connsiteY6528" fmla="*/ 5021191 h 5973007"/>
              <a:gd name="connsiteX6529" fmla="*/ 893713 w 6884782"/>
              <a:gd name="connsiteY6529" fmla="*/ 5018713 h 5973007"/>
              <a:gd name="connsiteX6530" fmla="*/ 893868 w 6884782"/>
              <a:gd name="connsiteY6530" fmla="*/ 5017783 h 5973007"/>
              <a:gd name="connsiteX6531" fmla="*/ 892319 w 6884782"/>
              <a:gd name="connsiteY6531" fmla="*/ 5016028 h 5973007"/>
              <a:gd name="connsiteX6532" fmla="*/ 893093 w 6884782"/>
              <a:gd name="connsiteY6532" fmla="*/ 5007354 h 5973007"/>
              <a:gd name="connsiteX6533" fmla="*/ 902697 w 6884782"/>
              <a:gd name="connsiteY6533" fmla="*/ 5004980 h 5973007"/>
              <a:gd name="connsiteX6534" fmla="*/ 1863674 w 6884782"/>
              <a:gd name="connsiteY6534" fmla="*/ 5004773 h 5973007"/>
              <a:gd name="connsiteX6535" fmla="*/ 1865687 w 6884782"/>
              <a:gd name="connsiteY6535" fmla="*/ 5007664 h 5973007"/>
              <a:gd name="connsiteX6536" fmla="*/ 1857942 w 6884782"/>
              <a:gd name="connsiteY6536" fmla="*/ 5019332 h 5973007"/>
              <a:gd name="connsiteX6537" fmla="*/ 1863674 w 6884782"/>
              <a:gd name="connsiteY6537" fmla="*/ 5004773 h 5973007"/>
              <a:gd name="connsiteX6538" fmla="*/ 1685233 w 6884782"/>
              <a:gd name="connsiteY6538" fmla="*/ 5003741 h 5973007"/>
              <a:gd name="connsiteX6539" fmla="*/ 1684768 w 6884782"/>
              <a:gd name="connsiteY6539" fmla="*/ 5004463 h 5973007"/>
              <a:gd name="connsiteX6540" fmla="*/ 1686162 w 6884782"/>
              <a:gd name="connsiteY6540" fmla="*/ 5005393 h 5973007"/>
              <a:gd name="connsiteX6541" fmla="*/ 1686627 w 6884782"/>
              <a:gd name="connsiteY6541" fmla="*/ 5004670 h 5973007"/>
              <a:gd name="connsiteX6542" fmla="*/ 1687556 w 6884782"/>
              <a:gd name="connsiteY6542" fmla="*/ 5006219 h 5973007"/>
              <a:gd name="connsiteX6543" fmla="*/ 1686162 w 6884782"/>
              <a:gd name="connsiteY6543" fmla="*/ 5012931 h 5973007"/>
              <a:gd name="connsiteX6544" fmla="*/ 1682755 w 6884782"/>
              <a:gd name="connsiteY6544" fmla="*/ 5010762 h 5973007"/>
              <a:gd name="connsiteX6545" fmla="*/ 1682599 w 6884782"/>
              <a:gd name="connsiteY6545" fmla="*/ 5007148 h 5973007"/>
              <a:gd name="connsiteX6546" fmla="*/ 1685233 w 6884782"/>
              <a:gd name="connsiteY6546" fmla="*/ 5003741 h 5973007"/>
              <a:gd name="connsiteX6547" fmla="*/ 2554356 w 6884782"/>
              <a:gd name="connsiteY6547" fmla="*/ 5003534 h 5973007"/>
              <a:gd name="connsiteX6548" fmla="*/ 2558228 w 6884782"/>
              <a:gd name="connsiteY6548" fmla="*/ 5006425 h 5973007"/>
              <a:gd name="connsiteX6549" fmla="*/ 2554201 w 6884782"/>
              <a:gd name="connsiteY6549" fmla="*/ 5004773 h 5973007"/>
              <a:gd name="connsiteX6550" fmla="*/ 2554356 w 6884782"/>
              <a:gd name="connsiteY6550" fmla="*/ 5003534 h 5973007"/>
              <a:gd name="connsiteX6551" fmla="*/ 1576341 w 6884782"/>
              <a:gd name="connsiteY6551" fmla="*/ 5002605 h 5973007"/>
              <a:gd name="connsiteX6552" fmla="*/ 1578200 w 6884782"/>
              <a:gd name="connsiteY6552" fmla="*/ 5004257 h 5973007"/>
              <a:gd name="connsiteX6553" fmla="*/ 1578354 w 6884782"/>
              <a:gd name="connsiteY6553" fmla="*/ 5005186 h 5973007"/>
              <a:gd name="connsiteX6554" fmla="*/ 1576651 w 6884782"/>
              <a:gd name="connsiteY6554" fmla="*/ 5005909 h 5973007"/>
              <a:gd name="connsiteX6555" fmla="*/ 1571849 w 6884782"/>
              <a:gd name="connsiteY6555" fmla="*/ 5006012 h 5973007"/>
              <a:gd name="connsiteX6556" fmla="*/ 1568441 w 6884782"/>
              <a:gd name="connsiteY6556" fmla="*/ 5005703 h 5973007"/>
              <a:gd name="connsiteX6557" fmla="*/ 1566737 w 6884782"/>
              <a:gd name="connsiteY6557" fmla="*/ 5005806 h 5973007"/>
              <a:gd name="connsiteX6558" fmla="*/ 1564879 w 6884782"/>
              <a:gd name="connsiteY6558" fmla="*/ 5004153 h 5973007"/>
              <a:gd name="connsiteX6559" fmla="*/ 1572158 w 6884782"/>
              <a:gd name="connsiteY6559" fmla="*/ 5002914 h 5973007"/>
              <a:gd name="connsiteX6560" fmla="*/ 1576341 w 6884782"/>
              <a:gd name="connsiteY6560" fmla="*/ 5002605 h 5973007"/>
              <a:gd name="connsiteX6561" fmla="*/ 1527858 w 6884782"/>
              <a:gd name="connsiteY6561" fmla="*/ 5001882 h 5973007"/>
              <a:gd name="connsiteX6562" fmla="*/ 1506018 w 6884782"/>
              <a:gd name="connsiteY6562" fmla="*/ 5016028 h 5973007"/>
              <a:gd name="connsiteX6563" fmla="*/ 1527858 w 6884782"/>
              <a:gd name="connsiteY6563" fmla="*/ 5001882 h 5973007"/>
              <a:gd name="connsiteX6564" fmla="*/ 975653 w 6884782"/>
              <a:gd name="connsiteY6564" fmla="*/ 5001676 h 5973007"/>
              <a:gd name="connsiteX6565" fmla="*/ 975343 w 6884782"/>
              <a:gd name="connsiteY6565" fmla="*/ 5005186 h 5973007"/>
              <a:gd name="connsiteX6566" fmla="*/ 968528 w 6884782"/>
              <a:gd name="connsiteY6566" fmla="*/ 5009110 h 5973007"/>
              <a:gd name="connsiteX6567" fmla="*/ 966669 w 6884782"/>
              <a:gd name="connsiteY6567" fmla="*/ 5008594 h 5973007"/>
              <a:gd name="connsiteX6568" fmla="*/ 967908 w 6884782"/>
              <a:gd name="connsiteY6568" fmla="*/ 5004153 h 5973007"/>
              <a:gd name="connsiteX6569" fmla="*/ 975653 w 6884782"/>
              <a:gd name="connsiteY6569" fmla="*/ 5001676 h 5973007"/>
              <a:gd name="connsiteX6570" fmla="*/ 1740531 w 6884782"/>
              <a:gd name="connsiteY6570" fmla="*/ 5001366 h 5973007"/>
              <a:gd name="connsiteX6571" fmla="*/ 1740376 w 6884782"/>
              <a:gd name="connsiteY6571" fmla="*/ 5011485 h 5973007"/>
              <a:gd name="connsiteX6572" fmla="*/ 1736039 w 6884782"/>
              <a:gd name="connsiteY6572" fmla="*/ 5009007 h 5973007"/>
              <a:gd name="connsiteX6573" fmla="*/ 1740531 w 6884782"/>
              <a:gd name="connsiteY6573" fmla="*/ 5001366 h 5973007"/>
              <a:gd name="connsiteX6574" fmla="*/ 2311355 w 6884782"/>
              <a:gd name="connsiteY6574" fmla="*/ 5000070 h 5973007"/>
              <a:gd name="connsiteX6575" fmla="*/ 2310239 w 6884782"/>
              <a:gd name="connsiteY6575" fmla="*/ 5000643 h 5973007"/>
              <a:gd name="connsiteX6576" fmla="*/ 2311168 w 6884782"/>
              <a:gd name="connsiteY6576" fmla="*/ 5002605 h 5973007"/>
              <a:gd name="connsiteX6577" fmla="*/ 2312098 w 6884782"/>
              <a:gd name="connsiteY6577" fmla="*/ 5001572 h 5973007"/>
              <a:gd name="connsiteX6578" fmla="*/ 2312252 w 6884782"/>
              <a:gd name="connsiteY6578" fmla="*/ 5001472 h 5973007"/>
              <a:gd name="connsiteX6579" fmla="*/ 2238678 w 6884782"/>
              <a:gd name="connsiteY6579" fmla="*/ 4999507 h 5973007"/>
              <a:gd name="connsiteX6580" fmla="*/ 2246732 w 6884782"/>
              <a:gd name="connsiteY6580" fmla="*/ 5001469 h 5973007"/>
              <a:gd name="connsiteX6581" fmla="*/ 2251379 w 6884782"/>
              <a:gd name="connsiteY6581" fmla="*/ 5001159 h 5973007"/>
              <a:gd name="connsiteX6582" fmla="*/ 2251224 w 6884782"/>
              <a:gd name="connsiteY6582" fmla="*/ 5001159 h 5973007"/>
              <a:gd name="connsiteX6583" fmla="*/ 2258659 w 6884782"/>
              <a:gd name="connsiteY6583" fmla="*/ 5000643 h 5973007"/>
              <a:gd name="connsiteX6584" fmla="*/ 2262996 w 6884782"/>
              <a:gd name="connsiteY6584" fmla="*/ 5000849 h 5973007"/>
              <a:gd name="connsiteX6585" fmla="*/ 2263151 w 6884782"/>
              <a:gd name="connsiteY6585" fmla="*/ 5001056 h 5973007"/>
              <a:gd name="connsiteX6586" fmla="*/ 2263461 w 6884782"/>
              <a:gd name="connsiteY6586" fmla="*/ 5001366 h 5973007"/>
              <a:gd name="connsiteX6587" fmla="*/ 2270741 w 6884782"/>
              <a:gd name="connsiteY6587" fmla="*/ 5004463 h 5973007"/>
              <a:gd name="connsiteX6588" fmla="*/ 2253702 w 6884782"/>
              <a:gd name="connsiteY6588" fmla="*/ 5009316 h 5973007"/>
              <a:gd name="connsiteX6589" fmla="*/ 2238678 w 6884782"/>
              <a:gd name="connsiteY6589" fmla="*/ 4999507 h 5973007"/>
              <a:gd name="connsiteX6590" fmla="*/ 2039016 w 6884782"/>
              <a:gd name="connsiteY6590" fmla="*/ 4998991 h 5973007"/>
              <a:gd name="connsiteX6591" fmla="*/ 2040410 w 6884782"/>
              <a:gd name="connsiteY6591" fmla="*/ 5007561 h 5973007"/>
              <a:gd name="connsiteX6592" fmla="*/ 2036693 w 6884782"/>
              <a:gd name="connsiteY6592" fmla="*/ 5009213 h 5973007"/>
              <a:gd name="connsiteX6593" fmla="*/ 2029567 w 6884782"/>
              <a:gd name="connsiteY6593" fmla="*/ 5004773 h 5973007"/>
              <a:gd name="connsiteX6594" fmla="*/ 2030651 w 6884782"/>
              <a:gd name="connsiteY6594" fmla="*/ 4999817 h 5973007"/>
              <a:gd name="connsiteX6595" fmla="*/ 2039016 w 6884782"/>
              <a:gd name="connsiteY6595" fmla="*/ 4998991 h 5973007"/>
              <a:gd name="connsiteX6596" fmla="*/ 2573098 w 6884782"/>
              <a:gd name="connsiteY6596" fmla="*/ 4998784 h 5973007"/>
              <a:gd name="connsiteX6597" fmla="*/ 2580223 w 6884782"/>
              <a:gd name="connsiteY6597" fmla="*/ 5003638 h 5973007"/>
              <a:gd name="connsiteX6598" fmla="*/ 2575421 w 6884782"/>
              <a:gd name="connsiteY6598" fmla="*/ 5010349 h 5973007"/>
              <a:gd name="connsiteX6599" fmla="*/ 2567831 w 6884782"/>
              <a:gd name="connsiteY6599" fmla="*/ 5005703 h 5973007"/>
              <a:gd name="connsiteX6600" fmla="*/ 2573098 w 6884782"/>
              <a:gd name="connsiteY6600" fmla="*/ 4998784 h 5973007"/>
              <a:gd name="connsiteX6601" fmla="*/ 985257 w 6884782"/>
              <a:gd name="connsiteY6601" fmla="*/ 4998268 h 5973007"/>
              <a:gd name="connsiteX6602" fmla="*/ 984947 w 6884782"/>
              <a:gd name="connsiteY6602" fmla="*/ 5000953 h 5973007"/>
              <a:gd name="connsiteX6603" fmla="*/ 983243 w 6884782"/>
              <a:gd name="connsiteY6603" fmla="*/ 5001882 h 5973007"/>
              <a:gd name="connsiteX6604" fmla="*/ 982159 w 6884782"/>
              <a:gd name="connsiteY6604" fmla="*/ 5004567 h 5973007"/>
              <a:gd name="connsiteX6605" fmla="*/ 980455 w 6884782"/>
              <a:gd name="connsiteY6605" fmla="*/ 5004463 h 5973007"/>
              <a:gd name="connsiteX6606" fmla="*/ 982778 w 6884782"/>
              <a:gd name="connsiteY6606" fmla="*/ 4999094 h 5973007"/>
              <a:gd name="connsiteX6607" fmla="*/ 985257 w 6884782"/>
              <a:gd name="connsiteY6607" fmla="*/ 4998268 h 5973007"/>
              <a:gd name="connsiteX6608" fmla="*/ 1631484 w 6884782"/>
              <a:gd name="connsiteY6608" fmla="*/ 4996822 h 5973007"/>
              <a:gd name="connsiteX6609" fmla="*/ 1630400 w 6884782"/>
              <a:gd name="connsiteY6609" fmla="*/ 5008904 h 5973007"/>
              <a:gd name="connsiteX6610" fmla="*/ 1624978 w 6884782"/>
              <a:gd name="connsiteY6610" fmla="*/ 5021191 h 5973007"/>
              <a:gd name="connsiteX6611" fmla="*/ 1631484 w 6884782"/>
              <a:gd name="connsiteY6611" fmla="*/ 4996822 h 5973007"/>
              <a:gd name="connsiteX6612" fmla="*/ 2219625 w 6884782"/>
              <a:gd name="connsiteY6612" fmla="*/ 4996203 h 5973007"/>
              <a:gd name="connsiteX6613" fmla="*/ 2222103 w 6884782"/>
              <a:gd name="connsiteY6613" fmla="*/ 4997029 h 5973007"/>
              <a:gd name="connsiteX6614" fmla="*/ 2225047 w 6884782"/>
              <a:gd name="connsiteY6614" fmla="*/ 4996203 h 5973007"/>
              <a:gd name="connsiteX6615" fmla="*/ 2229693 w 6884782"/>
              <a:gd name="connsiteY6615" fmla="*/ 5001366 h 5973007"/>
              <a:gd name="connsiteX6616" fmla="*/ 2227525 w 6884782"/>
              <a:gd name="connsiteY6616" fmla="*/ 5003741 h 5973007"/>
              <a:gd name="connsiteX6617" fmla="*/ 2227370 w 6884782"/>
              <a:gd name="connsiteY6617" fmla="*/ 5003844 h 5973007"/>
              <a:gd name="connsiteX6618" fmla="*/ 2227525 w 6884782"/>
              <a:gd name="connsiteY6618" fmla="*/ 5004360 h 5973007"/>
              <a:gd name="connsiteX6619" fmla="*/ 2222258 w 6884782"/>
              <a:gd name="connsiteY6619" fmla="*/ 5006425 h 5973007"/>
              <a:gd name="connsiteX6620" fmla="*/ 2216837 w 6884782"/>
              <a:gd name="connsiteY6620" fmla="*/ 5005186 h 5973007"/>
              <a:gd name="connsiteX6621" fmla="*/ 2219625 w 6884782"/>
              <a:gd name="connsiteY6621" fmla="*/ 4996203 h 5973007"/>
              <a:gd name="connsiteX6622" fmla="*/ 2157821 w 6884782"/>
              <a:gd name="connsiteY6622" fmla="*/ 4995067 h 5973007"/>
              <a:gd name="connsiteX6623" fmla="*/ 2161849 w 6884782"/>
              <a:gd name="connsiteY6623" fmla="*/ 4995274 h 5973007"/>
              <a:gd name="connsiteX6624" fmla="*/ 2175325 w 6884782"/>
              <a:gd name="connsiteY6624" fmla="*/ 4999404 h 5973007"/>
              <a:gd name="connsiteX6625" fmla="*/ 2169594 w 6884782"/>
              <a:gd name="connsiteY6625" fmla="*/ 5000127 h 5973007"/>
              <a:gd name="connsiteX6626" fmla="*/ 2156273 w 6884782"/>
              <a:gd name="connsiteY6626" fmla="*/ 4999404 h 5973007"/>
              <a:gd name="connsiteX6627" fmla="*/ 2154569 w 6884782"/>
              <a:gd name="connsiteY6627" fmla="*/ 4997545 h 5973007"/>
              <a:gd name="connsiteX6628" fmla="*/ 2153639 w 6884782"/>
              <a:gd name="connsiteY6628" fmla="*/ 4997545 h 5973007"/>
              <a:gd name="connsiteX6629" fmla="*/ 2152865 w 6884782"/>
              <a:gd name="connsiteY6629" fmla="*/ 4995686 h 5973007"/>
              <a:gd name="connsiteX6630" fmla="*/ 2157821 w 6884782"/>
              <a:gd name="connsiteY6630" fmla="*/ 4995067 h 5973007"/>
              <a:gd name="connsiteX6631" fmla="*/ 2066433 w 6884782"/>
              <a:gd name="connsiteY6631" fmla="*/ 4994447 h 5973007"/>
              <a:gd name="connsiteX6632" fmla="*/ 2076965 w 6884782"/>
              <a:gd name="connsiteY6632" fmla="*/ 5000333 h 5973007"/>
              <a:gd name="connsiteX6633" fmla="*/ 2085950 w 6884782"/>
              <a:gd name="connsiteY6633" fmla="*/ 5010349 h 5973007"/>
              <a:gd name="connsiteX6634" fmla="*/ 2082542 w 6884782"/>
              <a:gd name="connsiteY6634" fmla="*/ 5010659 h 5973007"/>
              <a:gd name="connsiteX6635" fmla="*/ 2066433 w 6884782"/>
              <a:gd name="connsiteY6635" fmla="*/ 4994447 h 5973007"/>
              <a:gd name="connsiteX6636" fmla="*/ 1310694 w 6884782"/>
              <a:gd name="connsiteY6636" fmla="*/ 4994447 h 5973007"/>
              <a:gd name="connsiteX6637" fmla="*/ 1313636 w 6884782"/>
              <a:gd name="connsiteY6637" fmla="*/ 5004257 h 5973007"/>
              <a:gd name="connsiteX6638" fmla="*/ 1307441 w 6884782"/>
              <a:gd name="connsiteY6638" fmla="*/ 5005393 h 5973007"/>
              <a:gd name="connsiteX6639" fmla="*/ 1310694 w 6884782"/>
              <a:gd name="connsiteY6639" fmla="*/ 4994447 h 5973007"/>
              <a:gd name="connsiteX6640" fmla="*/ 2128391 w 6884782"/>
              <a:gd name="connsiteY6640" fmla="*/ 4994344 h 5973007"/>
              <a:gd name="connsiteX6641" fmla="*/ 2131799 w 6884782"/>
              <a:gd name="connsiteY6641" fmla="*/ 4994447 h 5973007"/>
              <a:gd name="connsiteX6642" fmla="*/ 2134432 w 6884782"/>
              <a:gd name="connsiteY6642" fmla="*/ 5007561 h 5973007"/>
              <a:gd name="connsiteX6643" fmla="*/ 2128236 w 6884782"/>
              <a:gd name="connsiteY6643" fmla="*/ 5002914 h 5973007"/>
              <a:gd name="connsiteX6644" fmla="*/ 2128391 w 6884782"/>
              <a:gd name="connsiteY6644" fmla="*/ 4994344 h 5973007"/>
              <a:gd name="connsiteX6645" fmla="*/ 1819992 w 6884782"/>
              <a:gd name="connsiteY6645" fmla="*/ 4992589 h 5973007"/>
              <a:gd name="connsiteX6646" fmla="*/ 1825414 w 6884782"/>
              <a:gd name="connsiteY6646" fmla="*/ 4997752 h 5973007"/>
              <a:gd name="connsiteX6647" fmla="*/ 1820768 w 6884782"/>
              <a:gd name="connsiteY6647" fmla="*/ 4999610 h 5973007"/>
              <a:gd name="connsiteX6648" fmla="*/ 1818134 w 6884782"/>
              <a:gd name="connsiteY6648" fmla="*/ 4998165 h 5973007"/>
              <a:gd name="connsiteX6649" fmla="*/ 1817824 w 6884782"/>
              <a:gd name="connsiteY6649" fmla="*/ 4995067 h 5973007"/>
              <a:gd name="connsiteX6650" fmla="*/ 1819992 w 6884782"/>
              <a:gd name="connsiteY6650" fmla="*/ 4992589 h 5973007"/>
              <a:gd name="connsiteX6651" fmla="*/ 1619247 w 6884782"/>
              <a:gd name="connsiteY6651" fmla="*/ 4992279 h 5973007"/>
              <a:gd name="connsiteX6652" fmla="*/ 1625443 w 6884782"/>
              <a:gd name="connsiteY6652" fmla="*/ 4994551 h 5973007"/>
              <a:gd name="connsiteX6653" fmla="*/ 1624823 w 6884782"/>
              <a:gd name="connsiteY6653" fmla="*/ 4996306 h 5973007"/>
              <a:gd name="connsiteX6654" fmla="*/ 1622500 w 6884782"/>
              <a:gd name="connsiteY6654" fmla="*/ 4997855 h 5973007"/>
              <a:gd name="connsiteX6655" fmla="*/ 1620021 w 6884782"/>
              <a:gd name="connsiteY6655" fmla="*/ 4997442 h 5973007"/>
              <a:gd name="connsiteX6656" fmla="*/ 1619247 w 6884782"/>
              <a:gd name="connsiteY6656" fmla="*/ 4992279 h 5973007"/>
              <a:gd name="connsiteX6657" fmla="*/ 1170145 w 6884782"/>
              <a:gd name="connsiteY6657" fmla="*/ 4991892 h 5973007"/>
              <a:gd name="connsiteX6658" fmla="*/ 1176088 w 6884782"/>
              <a:gd name="connsiteY6658" fmla="*/ 4991970 h 5973007"/>
              <a:gd name="connsiteX6659" fmla="*/ 1173611 w 6884782"/>
              <a:gd name="connsiteY6659" fmla="*/ 4999817 h 5973007"/>
              <a:gd name="connsiteX6660" fmla="*/ 1170357 w 6884782"/>
              <a:gd name="connsiteY6660" fmla="*/ 5001572 h 5973007"/>
              <a:gd name="connsiteX6661" fmla="*/ 1166795 w 6884782"/>
              <a:gd name="connsiteY6661" fmla="*/ 5001366 h 5973007"/>
              <a:gd name="connsiteX6662" fmla="*/ 1163852 w 6884782"/>
              <a:gd name="connsiteY6662" fmla="*/ 5001985 h 5973007"/>
              <a:gd name="connsiteX6663" fmla="*/ 1161064 w 6884782"/>
              <a:gd name="connsiteY6663" fmla="*/ 5001263 h 5973007"/>
              <a:gd name="connsiteX6664" fmla="*/ 1159980 w 6884782"/>
              <a:gd name="connsiteY6664" fmla="*/ 4998784 h 5973007"/>
              <a:gd name="connsiteX6665" fmla="*/ 1160599 w 6884782"/>
              <a:gd name="connsiteY6665" fmla="*/ 4996925 h 5973007"/>
              <a:gd name="connsiteX6666" fmla="*/ 1170145 w 6884782"/>
              <a:gd name="connsiteY6666" fmla="*/ 4991892 h 5973007"/>
              <a:gd name="connsiteX6667" fmla="*/ 2093985 w 6884782"/>
              <a:gd name="connsiteY6667" fmla="*/ 4991685 h 5973007"/>
              <a:gd name="connsiteX6668" fmla="*/ 2100200 w 6884782"/>
              <a:gd name="connsiteY6668" fmla="*/ 4993931 h 5973007"/>
              <a:gd name="connsiteX6669" fmla="*/ 2107170 w 6884782"/>
              <a:gd name="connsiteY6669" fmla="*/ 5001676 h 5973007"/>
              <a:gd name="connsiteX6670" fmla="*/ 2107635 w 6884782"/>
              <a:gd name="connsiteY6670" fmla="*/ 5002811 h 5973007"/>
              <a:gd name="connsiteX6671" fmla="*/ 2109339 w 6884782"/>
              <a:gd name="connsiteY6671" fmla="*/ 5001366 h 5973007"/>
              <a:gd name="connsiteX6672" fmla="*/ 2113676 w 6884782"/>
              <a:gd name="connsiteY6672" fmla="*/ 5001263 h 5973007"/>
              <a:gd name="connsiteX6673" fmla="*/ 2116774 w 6884782"/>
              <a:gd name="connsiteY6673" fmla="*/ 5011381 h 5973007"/>
              <a:gd name="connsiteX6674" fmla="*/ 2116619 w 6884782"/>
              <a:gd name="connsiteY6674" fmla="*/ 5014789 h 5973007"/>
              <a:gd name="connsiteX6675" fmla="*/ 2121575 w 6884782"/>
              <a:gd name="connsiteY6675" fmla="*/ 5019229 h 5973007"/>
              <a:gd name="connsiteX6676" fmla="*/ 2121575 w 6884782"/>
              <a:gd name="connsiteY6676" fmla="*/ 5022017 h 5973007"/>
              <a:gd name="connsiteX6677" fmla="*/ 2114451 w 6884782"/>
              <a:gd name="connsiteY6677" fmla="*/ 5030277 h 5973007"/>
              <a:gd name="connsiteX6678" fmla="*/ 2113676 w 6884782"/>
              <a:gd name="connsiteY6678" fmla="*/ 5030484 h 5973007"/>
              <a:gd name="connsiteX6679" fmla="*/ 2115844 w 6884782"/>
              <a:gd name="connsiteY6679" fmla="*/ 5031826 h 5973007"/>
              <a:gd name="connsiteX6680" fmla="*/ 2109649 w 6884782"/>
              <a:gd name="connsiteY6680" fmla="*/ 5036370 h 5973007"/>
              <a:gd name="connsiteX6681" fmla="*/ 2109184 w 6884782"/>
              <a:gd name="connsiteY6681" fmla="*/ 5033066 h 5973007"/>
              <a:gd name="connsiteX6682" fmla="*/ 2109029 w 6884782"/>
              <a:gd name="connsiteY6682" fmla="*/ 5031826 h 5973007"/>
              <a:gd name="connsiteX6683" fmla="*/ 2103608 w 6884782"/>
              <a:gd name="connsiteY6683" fmla="*/ 5033272 h 5973007"/>
              <a:gd name="connsiteX6684" fmla="*/ 2087498 w 6884782"/>
              <a:gd name="connsiteY6684" fmla="*/ 5027799 h 5973007"/>
              <a:gd name="connsiteX6685" fmla="*/ 2087034 w 6884782"/>
              <a:gd name="connsiteY6685" fmla="*/ 5027077 h 5973007"/>
              <a:gd name="connsiteX6686" fmla="*/ 2087498 w 6884782"/>
              <a:gd name="connsiteY6686" fmla="*/ 5028522 h 5973007"/>
              <a:gd name="connsiteX6687" fmla="*/ 2086569 w 6884782"/>
              <a:gd name="connsiteY6687" fmla="*/ 5030174 h 5973007"/>
              <a:gd name="connsiteX6688" fmla="*/ 2083627 w 6884782"/>
              <a:gd name="connsiteY6688" fmla="*/ 5033169 h 5973007"/>
              <a:gd name="connsiteX6689" fmla="*/ 2080838 w 6884782"/>
              <a:gd name="connsiteY6689" fmla="*/ 5031620 h 5973007"/>
              <a:gd name="connsiteX6690" fmla="*/ 2080063 w 6884782"/>
              <a:gd name="connsiteY6690" fmla="*/ 5027799 h 5973007"/>
              <a:gd name="connsiteX6691" fmla="*/ 2082852 w 6884782"/>
              <a:gd name="connsiteY6691" fmla="*/ 5021604 h 5973007"/>
              <a:gd name="connsiteX6692" fmla="*/ 2084246 w 6884782"/>
              <a:gd name="connsiteY6692" fmla="*/ 5022533 h 5973007"/>
              <a:gd name="connsiteX6693" fmla="*/ 2088428 w 6884782"/>
              <a:gd name="connsiteY6693" fmla="*/ 5015305 h 5973007"/>
              <a:gd name="connsiteX6694" fmla="*/ 2095243 w 6884782"/>
              <a:gd name="connsiteY6694" fmla="*/ 5010969 h 5973007"/>
              <a:gd name="connsiteX6695" fmla="*/ 2100045 w 6884782"/>
              <a:gd name="connsiteY6695" fmla="*/ 5010143 h 5973007"/>
              <a:gd name="connsiteX6696" fmla="*/ 2097102 w 6884782"/>
              <a:gd name="connsiteY6696" fmla="*/ 5007974 h 5973007"/>
              <a:gd name="connsiteX6697" fmla="*/ 2089048 w 6884782"/>
              <a:gd name="connsiteY6697" fmla="*/ 4995480 h 5973007"/>
              <a:gd name="connsiteX6698" fmla="*/ 2093985 w 6884782"/>
              <a:gd name="connsiteY6698" fmla="*/ 4991685 h 5973007"/>
              <a:gd name="connsiteX6699" fmla="*/ 980145 w 6884782"/>
              <a:gd name="connsiteY6699" fmla="*/ 4991453 h 5973007"/>
              <a:gd name="connsiteX6700" fmla="*/ 982778 w 6884782"/>
              <a:gd name="connsiteY6700" fmla="*/ 4991453 h 5973007"/>
              <a:gd name="connsiteX6701" fmla="*/ 981694 w 6884782"/>
              <a:gd name="connsiteY6701" fmla="*/ 4993209 h 5973007"/>
              <a:gd name="connsiteX6702" fmla="*/ 977822 w 6884782"/>
              <a:gd name="connsiteY6702" fmla="*/ 4997545 h 5973007"/>
              <a:gd name="connsiteX6703" fmla="*/ 976582 w 6884782"/>
              <a:gd name="connsiteY6703" fmla="*/ 4996203 h 5973007"/>
              <a:gd name="connsiteX6704" fmla="*/ 977202 w 6884782"/>
              <a:gd name="connsiteY6704" fmla="*/ 4994861 h 5973007"/>
              <a:gd name="connsiteX6705" fmla="*/ 979061 w 6884782"/>
              <a:gd name="connsiteY6705" fmla="*/ 4993105 h 5973007"/>
              <a:gd name="connsiteX6706" fmla="*/ 980145 w 6884782"/>
              <a:gd name="connsiteY6706" fmla="*/ 4991453 h 5973007"/>
              <a:gd name="connsiteX6707" fmla="*/ 2233256 w 6884782"/>
              <a:gd name="connsiteY6707" fmla="*/ 4991350 h 5973007"/>
              <a:gd name="connsiteX6708" fmla="*/ 2235115 w 6884782"/>
              <a:gd name="connsiteY6708" fmla="*/ 4991556 h 5973007"/>
              <a:gd name="connsiteX6709" fmla="*/ 2237128 w 6884782"/>
              <a:gd name="connsiteY6709" fmla="*/ 4993621 h 5973007"/>
              <a:gd name="connsiteX6710" fmla="*/ 2236509 w 6884782"/>
              <a:gd name="connsiteY6710" fmla="*/ 4997236 h 5973007"/>
              <a:gd name="connsiteX6711" fmla="*/ 2234650 w 6884782"/>
              <a:gd name="connsiteY6711" fmla="*/ 4997029 h 5973007"/>
              <a:gd name="connsiteX6712" fmla="*/ 2232172 w 6884782"/>
              <a:gd name="connsiteY6712" fmla="*/ 4995790 h 5973007"/>
              <a:gd name="connsiteX6713" fmla="*/ 2233256 w 6884782"/>
              <a:gd name="connsiteY6713" fmla="*/ 4991350 h 5973007"/>
              <a:gd name="connsiteX6714" fmla="*/ 2122660 w 6884782"/>
              <a:gd name="connsiteY6714" fmla="*/ 4989904 h 5973007"/>
              <a:gd name="connsiteX6715" fmla="*/ 2124519 w 6884782"/>
              <a:gd name="connsiteY6715" fmla="*/ 4990111 h 5973007"/>
              <a:gd name="connsiteX6716" fmla="*/ 2125758 w 6884782"/>
              <a:gd name="connsiteY6716" fmla="*/ 4992073 h 5973007"/>
              <a:gd name="connsiteX6717" fmla="*/ 2125758 w 6884782"/>
              <a:gd name="connsiteY6717" fmla="*/ 5000540 h 5973007"/>
              <a:gd name="connsiteX6718" fmla="*/ 2125448 w 6884782"/>
              <a:gd name="connsiteY6718" fmla="*/ 5002605 h 5973007"/>
              <a:gd name="connsiteX6719" fmla="*/ 2125139 w 6884782"/>
              <a:gd name="connsiteY6719" fmla="*/ 5004463 h 5973007"/>
              <a:gd name="connsiteX6720" fmla="*/ 2122195 w 6884782"/>
              <a:gd name="connsiteY6720" fmla="*/ 5006632 h 5973007"/>
              <a:gd name="connsiteX6721" fmla="*/ 2122195 w 6884782"/>
              <a:gd name="connsiteY6721" fmla="*/ 5000333 h 5973007"/>
              <a:gd name="connsiteX6722" fmla="*/ 2120957 w 6884782"/>
              <a:gd name="connsiteY6722" fmla="*/ 5002502 h 5973007"/>
              <a:gd name="connsiteX6723" fmla="*/ 2117239 w 6884782"/>
              <a:gd name="connsiteY6723" fmla="*/ 5004153 h 5973007"/>
              <a:gd name="connsiteX6724" fmla="*/ 2114760 w 6884782"/>
              <a:gd name="connsiteY6724" fmla="*/ 4999714 h 5973007"/>
              <a:gd name="connsiteX6725" fmla="*/ 2118942 w 6884782"/>
              <a:gd name="connsiteY6725" fmla="*/ 4997236 h 5973007"/>
              <a:gd name="connsiteX6726" fmla="*/ 2122195 w 6884782"/>
              <a:gd name="connsiteY6726" fmla="*/ 4998475 h 5973007"/>
              <a:gd name="connsiteX6727" fmla="*/ 2122195 w 6884782"/>
              <a:gd name="connsiteY6727" fmla="*/ 4997648 h 5973007"/>
              <a:gd name="connsiteX6728" fmla="*/ 2122350 w 6884782"/>
              <a:gd name="connsiteY6728" fmla="*/ 4993415 h 5973007"/>
              <a:gd name="connsiteX6729" fmla="*/ 2115225 w 6884782"/>
              <a:gd name="connsiteY6729" fmla="*/ 4989801 h 5973007"/>
              <a:gd name="connsiteX6730" fmla="*/ 2119252 w 6884782"/>
              <a:gd name="connsiteY6730" fmla="*/ 4990524 h 5973007"/>
              <a:gd name="connsiteX6731" fmla="*/ 2122350 w 6884782"/>
              <a:gd name="connsiteY6731" fmla="*/ 4993415 h 5973007"/>
              <a:gd name="connsiteX6732" fmla="*/ 2119097 w 6884782"/>
              <a:gd name="connsiteY6732" fmla="*/ 4992692 h 5973007"/>
              <a:gd name="connsiteX6733" fmla="*/ 2115844 w 6884782"/>
              <a:gd name="connsiteY6733" fmla="*/ 4991247 h 5973007"/>
              <a:gd name="connsiteX6734" fmla="*/ 2115225 w 6884782"/>
              <a:gd name="connsiteY6734" fmla="*/ 4989801 h 5973007"/>
              <a:gd name="connsiteX6735" fmla="*/ 1845705 w 6884782"/>
              <a:gd name="connsiteY6735" fmla="*/ 4989285 h 5973007"/>
              <a:gd name="connsiteX6736" fmla="*/ 1845551 w 6884782"/>
              <a:gd name="connsiteY6736" fmla="*/ 5002708 h 5973007"/>
              <a:gd name="connsiteX6737" fmla="*/ 1838580 w 6884782"/>
              <a:gd name="connsiteY6737" fmla="*/ 4998475 h 5973007"/>
              <a:gd name="connsiteX6738" fmla="*/ 1845705 w 6884782"/>
              <a:gd name="connsiteY6738" fmla="*/ 4989285 h 5973007"/>
              <a:gd name="connsiteX6739" fmla="*/ 942815 w 6884782"/>
              <a:gd name="connsiteY6739" fmla="*/ 4988975 h 5973007"/>
              <a:gd name="connsiteX6740" fmla="*/ 927635 w 6884782"/>
              <a:gd name="connsiteY6740" fmla="*/ 4996719 h 5973007"/>
              <a:gd name="connsiteX6741" fmla="*/ 928100 w 6884782"/>
              <a:gd name="connsiteY6741" fmla="*/ 4993105 h 5973007"/>
              <a:gd name="connsiteX6742" fmla="*/ 929804 w 6884782"/>
              <a:gd name="connsiteY6742" fmla="*/ 4993105 h 5973007"/>
              <a:gd name="connsiteX6743" fmla="*/ 942815 w 6884782"/>
              <a:gd name="connsiteY6743" fmla="*/ 4988975 h 5973007"/>
              <a:gd name="connsiteX6744" fmla="*/ 2003235 w 6884782"/>
              <a:gd name="connsiteY6744" fmla="*/ 4988665 h 5973007"/>
              <a:gd name="connsiteX6745" fmla="*/ 2003390 w 6884782"/>
              <a:gd name="connsiteY6745" fmla="*/ 4991350 h 5973007"/>
              <a:gd name="connsiteX6746" fmla="*/ 2000912 w 6884782"/>
              <a:gd name="connsiteY6746" fmla="*/ 4991763 h 5973007"/>
              <a:gd name="connsiteX6747" fmla="*/ 1998123 w 6884782"/>
              <a:gd name="connsiteY6747" fmla="*/ 4991763 h 5973007"/>
              <a:gd name="connsiteX6748" fmla="*/ 2003235 w 6884782"/>
              <a:gd name="connsiteY6748" fmla="*/ 4988665 h 5973007"/>
              <a:gd name="connsiteX6749" fmla="*/ 1353135 w 6884782"/>
              <a:gd name="connsiteY6749" fmla="*/ 4988458 h 5973007"/>
              <a:gd name="connsiteX6750" fmla="*/ 1359331 w 6884782"/>
              <a:gd name="connsiteY6750" fmla="*/ 4990008 h 5973007"/>
              <a:gd name="connsiteX6751" fmla="*/ 1356388 w 6884782"/>
              <a:gd name="connsiteY6751" fmla="*/ 4996925 h 5973007"/>
              <a:gd name="connsiteX6752" fmla="*/ 1351896 w 6884782"/>
              <a:gd name="connsiteY6752" fmla="*/ 4995480 h 5973007"/>
              <a:gd name="connsiteX6753" fmla="*/ 1353135 w 6884782"/>
              <a:gd name="connsiteY6753" fmla="*/ 4988458 h 5973007"/>
              <a:gd name="connsiteX6754" fmla="*/ 1613826 w 6884782"/>
              <a:gd name="connsiteY6754" fmla="*/ 4988355 h 5973007"/>
              <a:gd name="connsiteX6755" fmla="*/ 1612276 w 6884782"/>
              <a:gd name="connsiteY6755" fmla="*/ 4993621 h 5973007"/>
              <a:gd name="connsiteX6756" fmla="*/ 1613826 w 6884782"/>
              <a:gd name="connsiteY6756" fmla="*/ 4988355 h 5973007"/>
              <a:gd name="connsiteX6757" fmla="*/ 1485727 w 6884782"/>
              <a:gd name="connsiteY6757" fmla="*/ 4987013 h 5973007"/>
              <a:gd name="connsiteX6758" fmla="*/ 1489599 w 6884782"/>
              <a:gd name="connsiteY6758" fmla="*/ 4988458 h 5973007"/>
              <a:gd name="connsiteX6759" fmla="*/ 1485261 w 6884782"/>
              <a:gd name="connsiteY6759" fmla="*/ 4995171 h 5973007"/>
              <a:gd name="connsiteX6760" fmla="*/ 1482784 w 6884782"/>
              <a:gd name="connsiteY6760" fmla="*/ 4994654 h 5973007"/>
              <a:gd name="connsiteX6761" fmla="*/ 1483248 w 6884782"/>
              <a:gd name="connsiteY6761" fmla="*/ 4988355 h 5973007"/>
              <a:gd name="connsiteX6762" fmla="*/ 1485727 w 6884782"/>
              <a:gd name="connsiteY6762" fmla="*/ 4987013 h 5973007"/>
              <a:gd name="connsiteX6763" fmla="*/ 1239596 w 6884782"/>
              <a:gd name="connsiteY6763" fmla="*/ 4986600 h 5973007"/>
              <a:gd name="connsiteX6764" fmla="*/ 1244863 w 6884782"/>
              <a:gd name="connsiteY6764" fmla="*/ 4992073 h 5973007"/>
              <a:gd name="connsiteX6765" fmla="*/ 1241765 w 6884782"/>
              <a:gd name="connsiteY6765" fmla="*/ 4995480 h 5973007"/>
              <a:gd name="connsiteX6766" fmla="*/ 1235724 w 6884782"/>
              <a:gd name="connsiteY6766" fmla="*/ 4991763 h 5973007"/>
              <a:gd name="connsiteX6767" fmla="*/ 1239596 w 6884782"/>
              <a:gd name="connsiteY6767" fmla="*/ 4986600 h 5973007"/>
              <a:gd name="connsiteX6768" fmla="*/ 2099116 w 6884782"/>
              <a:gd name="connsiteY6768" fmla="*/ 4986084 h 5973007"/>
              <a:gd name="connsiteX6769" fmla="*/ 2102678 w 6884782"/>
              <a:gd name="connsiteY6769" fmla="*/ 4986394 h 5973007"/>
              <a:gd name="connsiteX6770" fmla="*/ 2104227 w 6884782"/>
              <a:gd name="connsiteY6770" fmla="*/ 4987633 h 5973007"/>
              <a:gd name="connsiteX6771" fmla="*/ 2104537 w 6884782"/>
              <a:gd name="connsiteY6771" fmla="*/ 4989285 h 5973007"/>
              <a:gd name="connsiteX6772" fmla="*/ 2103143 w 6884782"/>
              <a:gd name="connsiteY6772" fmla="*/ 4990730 h 5973007"/>
              <a:gd name="connsiteX6773" fmla="*/ 2101439 w 6884782"/>
              <a:gd name="connsiteY6773" fmla="*/ 4992073 h 5973007"/>
              <a:gd name="connsiteX6774" fmla="*/ 2099891 w 6884782"/>
              <a:gd name="connsiteY6774" fmla="*/ 4992073 h 5973007"/>
              <a:gd name="connsiteX6775" fmla="*/ 2097877 w 6884782"/>
              <a:gd name="connsiteY6775" fmla="*/ 4991143 h 5973007"/>
              <a:gd name="connsiteX6776" fmla="*/ 2098186 w 6884782"/>
              <a:gd name="connsiteY6776" fmla="*/ 4989181 h 5973007"/>
              <a:gd name="connsiteX6777" fmla="*/ 2097722 w 6884782"/>
              <a:gd name="connsiteY6777" fmla="*/ 4987633 h 5973007"/>
              <a:gd name="connsiteX6778" fmla="*/ 2098497 w 6884782"/>
              <a:gd name="connsiteY6778" fmla="*/ 4987219 h 5973007"/>
              <a:gd name="connsiteX6779" fmla="*/ 2099116 w 6884782"/>
              <a:gd name="connsiteY6779" fmla="*/ 4986084 h 5973007"/>
              <a:gd name="connsiteX6780" fmla="*/ 1660604 w 6884782"/>
              <a:gd name="connsiteY6780" fmla="*/ 4985154 h 5973007"/>
              <a:gd name="connsiteX6781" fmla="*/ 1660295 w 6884782"/>
              <a:gd name="connsiteY6781" fmla="*/ 4988458 h 5973007"/>
              <a:gd name="connsiteX6782" fmla="*/ 1659675 w 6884782"/>
              <a:gd name="connsiteY6782" fmla="*/ 4989078 h 5973007"/>
              <a:gd name="connsiteX6783" fmla="*/ 1659365 w 6884782"/>
              <a:gd name="connsiteY6783" fmla="*/ 4988458 h 5973007"/>
              <a:gd name="connsiteX6784" fmla="*/ 1660604 w 6884782"/>
              <a:gd name="connsiteY6784" fmla="*/ 4985154 h 5973007"/>
              <a:gd name="connsiteX6785" fmla="*/ 949785 w 6884782"/>
              <a:gd name="connsiteY6785" fmla="*/ 4984845 h 5973007"/>
              <a:gd name="connsiteX6786" fmla="*/ 946223 w 6884782"/>
              <a:gd name="connsiteY6786" fmla="*/ 4987426 h 5973007"/>
              <a:gd name="connsiteX6787" fmla="*/ 945448 w 6884782"/>
              <a:gd name="connsiteY6787" fmla="*/ 4986600 h 5973007"/>
              <a:gd name="connsiteX6788" fmla="*/ 949785 w 6884782"/>
              <a:gd name="connsiteY6788" fmla="*/ 4984845 h 5973007"/>
              <a:gd name="connsiteX6789" fmla="*/ 936735 w 6884782"/>
              <a:gd name="connsiteY6789" fmla="*/ 4984574 h 5973007"/>
              <a:gd name="connsiteX6790" fmla="*/ 941421 w 6884782"/>
              <a:gd name="connsiteY6790" fmla="*/ 4984742 h 5973007"/>
              <a:gd name="connsiteX6791" fmla="*/ 941266 w 6884782"/>
              <a:gd name="connsiteY6791" fmla="*/ 4985568 h 5973007"/>
              <a:gd name="connsiteX6792" fmla="*/ 932437 w 6884782"/>
              <a:gd name="connsiteY6792" fmla="*/ 4987426 h 5973007"/>
              <a:gd name="connsiteX6793" fmla="*/ 929339 w 6884782"/>
              <a:gd name="connsiteY6793" fmla="*/ 4987116 h 5973007"/>
              <a:gd name="connsiteX6794" fmla="*/ 930269 w 6884782"/>
              <a:gd name="connsiteY6794" fmla="*/ 4987116 h 5973007"/>
              <a:gd name="connsiteX6795" fmla="*/ 929494 w 6884782"/>
              <a:gd name="connsiteY6795" fmla="*/ 4986187 h 5973007"/>
              <a:gd name="connsiteX6796" fmla="*/ 936735 w 6884782"/>
              <a:gd name="connsiteY6796" fmla="*/ 4984574 h 5973007"/>
              <a:gd name="connsiteX6797" fmla="*/ 1747346 w 6884782"/>
              <a:gd name="connsiteY6797" fmla="*/ 4984535 h 5973007"/>
              <a:gd name="connsiteX6798" fmla="*/ 1753387 w 6884782"/>
              <a:gd name="connsiteY6798" fmla="*/ 4986497 h 5973007"/>
              <a:gd name="connsiteX6799" fmla="*/ 1754317 w 6884782"/>
              <a:gd name="connsiteY6799" fmla="*/ 4989181 h 5973007"/>
              <a:gd name="connsiteX6800" fmla="*/ 1753697 w 6884782"/>
              <a:gd name="connsiteY6800" fmla="*/ 4994344 h 5973007"/>
              <a:gd name="connsiteX6801" fmla="*/ 1754471 w 6884782"/>
              <a:gd name="connsiteY6801" fmla="*/ 4994344 h 5973007"/>
              <a:gd name="connsiteX6802" fmla="*/ 1749515 w 6884782"/>
              <a:gd name="connsiteY6802" fmla="*/ 4994964 h 5973007"/>
              <a:gd name="connsiteX6803" fmla="*/ 1749050 w 6884782"/>
              <a:gd name="connsiteY6803" fmla="*/ 4994447 h 5973007"/>
              <a:gd name="connsiteX6804" fmla="*/ 1749360 w 6884782"/>
              <a:gd name="connsiteY6804" fmla="*/ 4995171 h 5973007"/>
              <a:gd name="connsiteX6805" fmla="*/ 1743938 w 6884782"/>
              <a:gd name="connsiteY6805" fmla="*/ 4997958 h 5973007"/>
              <a:gd name="connsiteX6806" fmla="*/ 1737743 w 6884782"/>
              <a:gd name="connsiteY6806" fmla="*/ 4995480 h 5973007"/>
              <a:gd name="connsiteX6807" fmla="*/ 1744093 w 6884782"/>
              <a:gd name="connsiteY6807" fmla="*/ 4987219 h 5973007"/>
              <a:gd name="connsiteX6808" fmla="*/ 1745177 w 6884782"/>
              <a:gd name="connsiteY6808" fmla="*/ 4988458 h 5973007"/>
              <a:gd name="connsiteX6809" fmla="*/ 1745797 w 6884782"/>
              <a:gd name="connsiteY6809" fmla="*/ 4986704 h 5973007"/>
              <a:gd name="connsiteX6810" fmla="*/ 1747346 w 6884782"/>
              <a:gd name="connsiteY6810" fmla="*/ 4984535 h 5973007"/>
              <a:gd name="connsiteX6811" fmla="*/ 2219780 w 6884782"/>
              <a:gd name="connsiteY6811" fmla="*/ 4984225 h 5973007"/>
              <a:gd name="connsiteX6812" fmla="*/ 2225821 w 6884782"/>
              <a:gd name="connsiteY6812" fmla="*/ 4987633 h 5973007"/>
              <a:gd name="connsiteX6813" fmla="*/ 2223963 w 6884782"/>
              <a:gd name="connsiteY6813" fmla="*/ 4987633 h 5973007"/>
              <a:gd name="connsiteX6814" fmla="*/ 2221794 w 6884782"/>
              <a:gd name="connsiteY6814" fmla="*/ 4987116 h 5973007"/>
              <a:gd name="connsiteX6815" fmla="*/ 2219470 w 6884782"/>
              <a:gd name="connsiteY6815" fmla="*/ 4986600 h 5973007"/>
              <a:gd name="connsiteX6816" fmla="*/ 2217612 w 6884782"/>
              <a:gd name="connsiteY6816" fmla="*/ 4986704 h 5973007"/>
              <a:gd name="connsiteX6817" fmla="*/ 2214358 w 6884782"/>
              <a:gd name="connsiteY6817" fmla="*/ 4984742 h 5973007"/>
              <a:gd name="connsiteX6818" fmla="*/ 2216217 w 6884782"/>
              <a:gd name="connsiteY6818" fmla="*/ 4984535 h 5973007"/>
              <a:gd name="connsiteX6819" fmla="*/ 2218541 w 6884782"/>
              <a:gd name="connsiteY6819" fmla="*/ 4985154 h 5973007"/>
              <a:gd name="connsiteX6820" fmla="*/ 2219780 w 6884782"/>
              <a:gd name="connsiteY6820" fmla="*/ 4984225 h 5973007"/>
              <a:gd name="connsiteX6821" fmla="*/ 1319678 w 6884782"/>
              <a:gd name="connsiteY6821" fmla="*/ 4983296 h 5973007"/>
              <a:gd name="connsiteX6822" fmla="*/ 1320917 w 6884782"/>
              <a:gd name="connsiteY6822" fmla="*/ 4986807 h 5973007"/>
              <a:gd name="connsiteX6823" fmla="*/ 1313172 w 6884782"/>
              <a:gd name="connsiteY6823" fmla="*/ 4988872 h 5973007"/>
              <a:gd name="connsiteX6824" fmla="*/ 1306821 w 6884782"/>
              <a:gd name="connsiteY6824" fmla="*/ 4986187 h 5973007"/>
              <a:gd name="connsiteX6825" fmla="*/ 1307131 w 6884782"/>
              <a:gd name="connsiteY6825" fmla="*/ 4983812 h 5973007"/>
              <a:gd name="connsiteX6826" fmla="*/ 1319678 w 6884782"/>
              <a:gd name="connsiteY6826" fmla="*/ 4983296 h 5973007"/>
              <a:gd name="connsiteX6827" fmla="*/ 1673151 w 6884782"/>
              <a:gd name="connsiteY6827" fmla="*/ 4982367 h 5973007"/>
              <a:gd name="connsiteX6828" fmla="*/ 1677333 w 6884782"/>
              <a:gd name="connsiteY6828" fmla="*/ 4985051 h 5973007"/>
              <a:gd name="connsiteX6829" fmla="*/ 1672996 w 6884782"/>
              <a:gd name="connsiteY6829" fmla="*/ 4991763 h 5973007"/>
              <a:gd name="connsiteX6830" fmla="*/ 1668659 w 6884782"/>
              <a:gd name="connsiteY6830" fmla="*/ 4987942 h 5973007"/>
              <a:gd name="connsiteX6831" fmla="*/ 1668814 w 6884782"/>
              <a:gd name="connsiteY6831" fmla="*/ 4985258 h 5973007"/>
              <a:gd name="connsiteX6832" fmla="*/ 1670828 w 6884782"/>
              <a:gd name="connsiteY6832" fmla="*/ 4982986 h 5973007"/>
              <a:gd name="connsiteX6833" fmla="*/ 1673151 w 6884782"/>
              <a:gd name="connsiteY6833" fmla="*/ 4982367 h 5973007"/>
              <a:gd name="connsiteX6834" fmla="*/ 2299861 w 6884782"/>
              <a:gd name="connsiteY6834" fmla="*/ 4982263 h 5973007"/>
              <a:gd name="connsiteX6835" fmla="*/ 2296609 w 6884782"/>
              <a:gd name="connsiteY6835" fmla="*/ 4987116 h 5973007"/>
              <a:gd name="connsiteX6836" fmla="*/ 2294750 w 6884782"/>
              <a:gd name="connsiteY6836" fmla="*/ 4983606 h 5973007"/>
              <a:gd name="connsiteX6837" fmla="*/ 2299861 w 6884782"/>
              <a:gd name="connsiteY6837" fmla="*/ 4982263 h 5973007"/>
              <a:gd name="connsiteX6838" fmla="*/ 1980620 w 6884782"/>
              <a:gd name="connsiteY6838" fmla="*/ 4981953 h 5973007"/>
              <a:gd name="connsiteX6839" fmla="*/ 1979536 w 6884782"/>
              <a:gd name="connsiteY6839" fmla="*/ 4983606 h 5973007"/>
              <a:gd name="connsiteX6840" fmla="*/ 1978916 w 6884782"/>
              <a:gd name="connsiteY6840" fmla="*/ 4984328 h 5973007"/>
              <a:gd name="connsiteX6841" fmla="*/ 1977987 w 6884782"/>
              <a:gd name="connsiteY6841" fmla="*/ 4987633 h 5973007"/>
              <a:gd name="connsiteX6842" fmla="*/ 1980001 w 6884782"/>
              <a:gd name="connsiteY6842" fmla="*/ 5011381 h 5973007"/>
              <a:gd name="connsiteX6843" fmla="*/ 1973340 w 6884782"/>
              <a:gd name="connsiteY6843" fmla="*/ 5000953 h 5973007"/>
              <a:gd name="connsiteX6844" fmla="*/ 1971171 w 6884782"/>
              <a:gd name="connsiteY6844" fmla="*/ 4986497 h 5973007"/>
              <a:gd name="connsiteX6845" fmla="*/ 1974889 w 6884782"/>
              <a:gd name="connsiteY6845" fmla="*/ 4983709 h 5973007"/>
              <a:gd name="connsiteX6846" fmla="*/ 1976593 w 6884782"/>
              <a:gd name="connsiteY6846" fmla="*/ 4982986 h 5973007"/>
              <a:gd name="connsiteX6847" fmla="*/ 1977213 w 6884782"/>
              <a:gd name="connsiteY6847" fmla="*/ 4982263 h 5973007"/>
              <a:gd name="connsiteX6848" fmla="*/ 1980620 w 6884782"/>
              <a:gd name="connsiteY6848" fmla="*/ 4981953 h 5973007"/>
              <a:gd name="connsiteX6849" fmla="*/ 1854224 w 6884782"/>
              <a:gd name="connsiteY6849" fmla="*/ 4979682 h 5973007"/>
              <a:gd name="connsiteX6850" fmla="*/ 1862589 w 6884782"/>
              <a:gd name="connsiteY6850" fmla="*/ 4979992 h 5973007"/>
              <a:gd name="connsiteX6851" fmla="*/ 1865842 w 6884782"/>
              <a:gd name="connsiteY6851" fmla="*/ 4984122 h 5973007"/>
              <a:gd name="connsiteX6852" fmla="*/ 1865997 w 6884782"/>
              <a:gd name="connsiteY6852" fmla="*/ 4985877 h 5973007"/>
              <a:gd name="connsiteX6853" fmla="*/ 1865997 w 6884782"/>
              <a:gd name="connsiteY6853" fmla="*/ 4985774 h 5973007"/>
              <a:gd name="connsiteX6854" fmla="*/ 1874516 w 6884782"/>
              <a:gd name="connsiteY6854" fmla="*/ 4991453 h 5973007"/>
              <a:gd name="connsiteX6855" fmla="*/ 1869714 w 6884782"/>
              <a:gd name="connsiteY6855" fmla="*/ 4997442 h 5973007"/>
              <a:gd name="connsiteX6856" fmla="*/ 1864293 w 6884782"/>
              <a:gd name="connsiteY6856" fmla="*/ 4994757 h 5973007"/>
              <a:gd name="connsiteX6857" fmla="*/ 1859491 w 6884782"/>
              <a:gd name="connsiteY6857" fmla="*/ 4997752 h 5973007"/>
              <a:gd name="connsiteX6858" fmla="*/ 1854224 w 6884782"/>
              <a:gd name="connsiteY6858" fmla="*/ 4979682 h 5973007"/>
              <a:gd name="connsiteX6859" fmla="*/ 1788394 w 6884782"/>
              <a:gd name="connsiteY6859" fmla="*/ 4978030 h 5973007"/>
              <a:gd name="connsiteX6860" fmla="*/ 1790253 w 6884782"/>
              <a:gd name="connsiteY6860" fmla="*/ 4983606 h 5973007"/>
              <a:gd name="connsiteX6861" fmla="*/ 1785606 w 6884782"/>
              <a:gd name="connsiteY6861" fmla="*/ 4989285 h 5973007"/>
              <a:gd name="connsiteX6862" fmla="*/ 1783902 w 6884782"/>
              <a:gd name="connsiteY6862" fmla="*/ 4986497 h 5973007"/>
              <a:gd name="connsiteX6863" fmla="*/ 1788394 w 6884782"/>
              <a:gd name="connsiteY6863" fmla="*/ 4978030 h 5973007"/>
              <a:gd name="connsiteX6864" fmla="*/ 1170590 w 6884782"/>
              <a:gd name="connsiteY6864" fmla="*/ 4976791 h 5973007"/>
              <a:gd name="connsiteX6865" fmla="*/ 1173611 w 6884782"/>
              <a:gd name="connsiteY6865" fmla="*/ 4986910 h 5973007"/>
              <a:gd name="connsiteX6866" fmla="*/ 1164781 w 6884782"/>
              <a:gd name="connsiteY6866" fmla="*/ 4984328 h 5973007"/>
              <a:gd name="connsiteX6867" fmla="*/ 1170590 w 6884782"/>
              <a:gd name="connsiteY6867" fmla="*/ 4976791 h 5973007"/>
              <a:gd name="connsiteX6868" fmla="*/ 6732364 w 6884782"/>
              <a:gd name="connsiteY6868" fmla="*/ 4976602 h 5973007"/>
              <a:gd name="connsiteX6869" fmla="*/ 6739954 w 6884782"/>
              <a:gd name="connsiteY6869" fmla="*/ 4996117 h 5973007"/>
              <a:gd name="connsiteX6870" fmla="*/ 6735152 w 6884782"/>
              <a:gd name="connsiteY6870" fmla="*/ 5005720 h 5973007"/>
              <a:gd name="connsiteX6871" fmla="*/ 6725858 w 6884782"/>
              <a:gd name="connsiteY6871" fmla="*/ 5015530 h 5973007"/>
              <a:gd name="connsiteX6872" fmla="*/ 6720902 w 6884782"/>
              <a:gd name="connsiteY6872" fmla="*/ 5005307 h 5973007"/>
              <a:gd name="connsiteX6873" fmla="*/ 6722605 w 6884782"/>
              <a:gd name="connsiteY6873" fmla="*/ 4990748 h 5973007"/>
              <a:gd name="connsiteX6874" fmla="*/ 6732364 w 6884782"/>
              <a:gd name="connsiteY6874" fmla="*/ 4976602 h 5973007"/>
              <a:gd name="connsiteX6875" fmla="*/ 1735729 w 6884782"/>
              <a:gd name="connsiteY6875" fmla="*/ 4975242 h 5973007"/>
              <a:gd name="connsiteX6876" fmla="*/ 1730308 w 6884782"/>
              <a:gd name="connsiteY6876" fmla="*/ 4981644 h 5973007"/>
              <a:gd name="connsiteX6877" fmla="*/ 1728139 w 6884782"/>
              <a:gd name="connsiteY6877" fmla="*/ 4980714 h 5973007"/>
              <a:gd name="connsiteX6878" fmla="*/ 1735729 w 6884782"/>
              <a:gd name="connsiteY6878" fmla="*/ 4975242 h 5973007"/>
              <a:gd name="connsiteX6879" fmla="*/ 2068291 w 6884782"/>
              <a:gd name="connsiteY6879" fmla="*/ 4974829 h 5973007"/>
              <a:gd name="connsiteX6880" fmla="*/ 2070460 w 6884782"/>
              <a:gd name="connsiteY6880" fmla="*/ 4977204 h 5973007"/>
              <a:gd name="connsiteX6881" fmla="*/ 2069066 w 6884782"/>
              <a:gd name="connsiteY6881" fmla="*/ 4978133 h 5973007"/>
              <a:gd name="connsiteX6882" fmla="*/ 2069376 w 6884782"/>
              <a:gd name="connsiteY6882" fmla="*/ 4978856 h 5973007"/>
              <a:gd name="connsiteX6883" fmla="*/ 2067672 w 6884782"/>
              <a:gd name="connsiteY6883" fmla="*/ 4978959 h 5973007"/>
              <a:gd name="connsiteX6884" fmla="*/ 2067363 w 6884782"/>
              <a:gd name="connsiteY6884" fmla="*/ 4978236 h 5973007"/>
              <a:gd name="connsiteX6885" fmla="*/ 2067052 w 6884782"/>
              <a:gd name="connsiteY6885" fmla="*/ 4978133 h 5973007"/>
              <a:gd name="connsiteX6886" fmla="*/ 2067363 w 6884782"/>
              <a:gd name="connsiteY6886" fmla="*/ 4976378 h 5973007"/>
              <a:gd name="connsiteX6887" fmla="*/ 2068291 w 6884782"/>
              <a:gd name="connsiteY6887" fmla="*/ 4974829 h 5973007"/>
              <a:gd name="connsiteX6888" fmla="*/ 1964801 w 6884782"/>
              <a:gd name="connsiteY6888" fmla="*/ 4974764 h 5973007"/>
              <a:gd name="connsiteX6889" fmla="*/ 1975354 w 6884782"/>
              <a:gd name="connsiteY6889" fmla="*/ 4978546 h 5973007"/>
              <a:gd name="connsiteX6890" fmla="*/ 1964976 w 6884782"/>
              <a:gd name="connsiteY6890" fmla="*/ 4982780 h 5973007"/>
              <a:gd name="connsiteX6891" fmla="*/ 1953668 w 6884782"/>
              <a:gd name="connsiteY6891" fmla="*/ 4978340 h 5973007"/>
              <a:gd name="connsiteX6892" fmla="*/ 1964801 w 6884782"/>
              <a:gd name="connsiteY6892" fmla="*/ 4974764 h 5973007"/>
              <a:gd name="connsiteX6893" fmla="*/ 1396661 w 6884782"/>
              <a:gd name="connsiteY6893" fmla="*/ 4973900 h 5973007"/>
              <a:gd name="connsiteX6894" fmla="*/ 1404871 w 6884782"/>
              <a:gd name="connsiteY6894" fmla="*/ 4975036 h 5973007"/>
              <a:gd name="connsiteX6895" fmla="*/ 1402082 w 6884782"/>
              <a:gd name="connsiteY6895" fmla="*/ 4988769 h 5973007"/>
              <a:gd name="connsiteX6896" fmla="*/ 1398675 w 6884782"/>
              <a:gd name="connsiteY6896" fmla="*/ 4988975 h 5973007"/>
              <a:gd name="connsiteX6897" fmla="*/ 1396661 w 6884782"/>
              <a:gd name="connsiteY6897" fmla="*/ 4973900 h 5973007"/>
              <a:gd name="connsiteX6898" fmla="*/ 975188 w 6884782"/>
              <a:gd name="connsiteY6898" fmla="*/ 4973900 h 5973007"/>
              <a:gd name="connsiteX6899" fmla="*/ 969148 w 6884782"/>
              <a:gd name="connsiteY6899" fmla="*/ 4979888 h 5973007"/>
              <a:gd name="connsiteX6900" fmla="*/ 967288 w 6884782"/>
              <a:gd name="connsiteY6900" fmla="*/ 4979785 h 5973007"/>
              <a:gd name="connsiteX6901" fmla="*/ 967444 w 6884782"/>
              <a:gd name="connsiteY6901" fmla="*/ 4977204 h 5973007"/>
              <a:gd name="connsiteX6902" fmla="*/ 975188 w 6884782"/>
              <a:gd name="connsiteY6902" fmla="*/ 4973900 h 5973007"/>
              <a:gd name="connsiteX6903" fmla="*/ 2289328 w 6884782"/>
              <a:gd name="connsiteY6903" fmla="*/ 4973486 h 5973007"/>
              <a:gd name="connsiteX6904" fmla="*/ 2291187 w 6884782"/>
              <a:gd name="connsiteY6904" fmla="*/ 4978649 h 5973007"/>
              <a:gd name="connsiteX6905" fmla="*/ 2287005 w 6884782"/>
              <a:gd name="connsiteY6905" fmla="*/ 4975965 h 5973007"/>
              <a:gd name="connsiteX6906" fmla="*/ 2289328 w 6884782"/>
              <a:gd name="connsiteY6906" fmla="*/ 4973486 h 5973007"/>
              <a:gd name="connsiteX6907" fmla="*/ 6178145 w 6884782"/>
              <a:gd name="connsiteY6907" fmla="*/ 4971956 h 5973007"/>
              <a:gd name="connsiteX6908" fmla="*/ 6177990 w 6884782"/>
              <a:gd name="connsiteY6908" fmla="*/ 4973504 h 5973007"/>
              <a:gd name="connsiteX6909" fmla="*/ 6178765 w 6884782"/>
              <a:gd name="connsiteY6909" fmla="*/ 4973504 h 5973007"/>
              <a:gd name="connsiteX6910" fmla="*/ 6177836 w 6884782"/>
              <a:gd name="connsiteY6910" fmla="*/ 4975157 h 5973007"/>
              <a:gd name="connsiteX6911" fmla="*/ 6177061 w 6884782"/>
              <a:gd name="connsiteY6911" fmla="*/ 4975157 h 5973007"/>
              <a:gd name="connsiteX6912" fmla="*/ 6176751 w 6884782"/>
              <a:gd name="connsiteY6912" fmla="*/ 4975363 h 5973007"/>
              <a:gd name="connsiteX6913" fmla="*/ 6175512 w 6884782"/>
              <a:gd name="connsiteY6913" fmla="*/ 4974331 h 5973007"/>
              <a:gd name="connsiteX6914" fmla="*/ 6174582 w 6884782"/>
              <a:gd name="connsiteY6914" fmla="*/ 4973504 h 5973007"/>
              <a:gd name="connsiteX6915" fmla="*/ 6174737 w 6884782"/>
              <a:gd name="connsiteY6915" fmla="*/ 4972678 h 5973007"/>
              <a:gd name="connsiteX6916" fmla="*/ 6178145 w 6884782"/>
              <a:gd name="connsiteY6916" fmla="*/ 4971956 h 5973007"/>
              <a:gd name="connsiteX6917" fmla="*/ 1062085 w 6884782"/>
              <a:gd name="connsiteY6917" fmla="*/ 4971628 h 5973007"/>
              <a:gd name="connsiteX6918" fmla="*/ 1062705 w 6884782"/>
              <a:gd name="connsiteY6918" fmla="*/ 4972041 h 5973007"/>
              <a:gd name="connsiteX6919" fmla="*/ 1065493 w 6884782"/>
              <a:gd name="connsiteY6919" fmla="*/ 4973796 h 5973007"/>
              <a:gd name="connsiteX6920" fmla="*/ 1064408 w 6884782"/>
              <a:gd name="connsiteY6920" fmla="*/ 4978340 h 5973007"/>
              <a:gd name="connsiteX6921" fmla="*/ 1061155 w 6884782"/>
              <a:gd name="connsiteY6921" fmla="*/ 4978546 h 5973007"/>
              <a:gd name="connsiteX6922" fmla="*/ 1059297 w 6884782"/>
              <a:gd name="connsiteY6922" fmla="*/ 4977307 h 5973007"/>
              <a:gd name="connsiteX6923" fmla="*/ 1060071 w 6884782"/>
              <a:gd name="connsiteY6923" fmla="*/ 4972557 h 5973007"/>
              <a:gd name="connsiteX6924" fmla="*/ 1062085 w 6884782"/>
              <a:gd name="connsiteY6924" fmla="*/ 4971628 h 5973007"/>
              <a:gd name="connsiteX6925" fmla="*/ 1473025 w 6884782"/>
              <a:gd name="connsiteY6925" fmla="*/ 4971421 h 5973007"/>
              <a:gd name="connsiteX6926" fmla="*/ 1479995 w 6884782"/>
              <a:gd name="connsiteY6926" fmla="*/ 4975552 h 5973007"/>
              <a:gd name="connsiteX6927" fmla="*/ 1470702 w 6884782"/>
              <a:gd name="connsiteY6927" fmla="*/ 4986910 h 5973007"/>
              <a:gd name="connsiteX6928" fmla="*/ 1465900 w 6884782"/>
              <a:gd name="connsiteY6928" fmla="*/ 4984432 h 5973007"/>
              <a:gd name="connsiteX6929" fmla="*/ 1473025 w 6884782"/>
              <a:gd name="connsiteY6929" fmla="*/ 4971421 h 5973007"/>
              <a:gd name="connsiteX6930" fmla="*/ 2165876 w 6884782"/>
              <a:gd name="connsiteY6930" fmla="*/ 4970389 h 5973007"/>
              <a:gd name="connsiteX6931" fmla="*/ 2165102 w 6884782"/>
              <a:gd name="connsiteY6931" fmla="*/ 4976584 h 5973007"/>
              <a:gd name="connsiteX6932" fmla="*/ 2162469 w 6884782"/>
              <a:gd name="connsiteY6932" fmla="*/ 4976997 h 5973007"/>
              <a:gd name="connsiteX6933" fmla="*/ 2160920 w 6884782"/>
              <a:gd name="connsiteY6933" fmla="*/ 4975965 h 5973007"/>
              <a:gd name="connsiteX6934" fmla="*/ 2160454 w 6884782"/>
              <a:gd name="connsiteY6934" fmla="*/ 4970802 h 5973007"/>
              <a:gd name="connsiteX6935" fmla="*/ 2165876 w 6884782"/>
              <a:gd name="connsiteY6935" fmla="*/ 4970389 h 5973007"/>
              <a:gd name="connsiteX6936" fmla="*/ 1509271 w 6884782"/>
              <a:gd name="connsiteY6936" fmla="*/ 4970389 h 5973007"/>
              <a:gd name="connsiteX6937" fmla="*/ 1518874 w 6884782"/>
              <a:gd name="connsiteY6937" fmla="*/ 4972454 h 5973007"/>
              <a:gd name="connsiteX6938" fmla="*/ 1516550 w 6884782"/>
              <a:gd name="connsiteY6938" fmla="*/ 4980095 h 5973007"/>
              <a:gd name="connsiteX6939" fmla="*/ 1510045 w 6884782"/>
              <a:gd name="connsiteY6939" fmla="*/ 4979682 h 5973007"/>
              <a:gd name="connsiteX6940" fmla="*/ 1509271 w 6884782"/>
              <a:gd name="connsiteY6940" fmla="*/ 4970389 h 5973007"/>
              <a:gd name="connsiteX6941" fmla="*/ 2206149 w 6884782"/>
              <a:gd name="connsiteY6941" fmla="*/ 4968737 h 5973007"/>
              <a:gd name="connsiteX6942" fmla="*/ 2204600 w 6884782"/>
              <a:gd name="connsiteY6942" fmla="*/ 4981231 h 5973007"/>
              <a:gd name="connsiteX6943" fmla="*/ 2200109 w 6884782"/>
              <a:gd name="connsiteY6943" fmla="*/ 4969356 h 5973007"/>
              <a:gd name="connsiteX6944" fmla="*/ 2206149 w 6884782"/>
              <a:gd name="connsiteY6944" fmla="*/ 4968737 h 5973007"/>
              <a:gd name="connsiteX6945" fmla="*/ 1566466 w 6884782"/>
              <a:gd name="connsiteY6945" fmla="*/ 4967549 h 5973007"/>
              <a:gd name="connsiteX6946" fmla="*/ 1574482 w 6884782"/>
              <a:gd name="connsiteY6946" fmla="*/ 4971421 h 5973007"/>
              <a:gd name="connsiteX6947" fmla="*/ 1573708 w 6884782"/>
              <a:gd name="connsiteY6947" fmla="*/ 4974829 h 5973007"/>
              <a:gd name="connsiteX6948" fmla="*/ 1569370 w 6884782"/>
              <a:gd name="connsiteY6948" fmla="*/ 4977823 h 5973007"/>
              <a:gd name="connsiteX6949" fmla="*/ 1565343 w 6884782"/>
              <a:gd name="connsiteY6949" fmla="*/ 4979475 h 5973007"/>
              <a:gd name="connsiteX6950" fmla="*/ 1565653 w 6884782"/>
              <a:gd name="connsiteY6950" fmla="*/ 4985671 h 5973007"/>
              <a:gd name="connsiteX6951" fmla="*/ 1562400 w 6884782"/>
              <a:gd name="connsiteY6951" fmla="*/ 4990627 h 5973007"/>
              <a:gd name="connsiteX6952" fmla="*/ 1560232 w 6884782"/>
              <a:gd name="connsiteY6952" fmla="*/ 4985051 h 5973007"/>
              <a:gd name="connsiteX6953" fmla="*/ 1559922 w 6884782"/>
              <a:gd name="connsiteY6953" fmla="*/ 4978340 h 5973007"/>
              <a:gd name="connsiteX6954" fmla="*/ 1557598 w 6884782"/>
              <a:gd name="connsiteY6954" fmla="*/ 4976894 h 5973007"/>
              <a:gd name="connsiteX6955" fmla="*/ 1557288 w 6884782"/>
              <a:gd name="connsiteY6955" fmla="*/ 4974209 h 5973007"/>
              <a:gd name="connsiteX6956" fmla="*/ 1566466 w 6884782"/>
              <a:gd name="connsiteY6956" fmla="*/ 4967549 h 5973007"/>
              <a:gd name="connsiteX6957" fmla="*/ 1760048 w 6884782"/>
              <a:gd name="connsiteY6957" fmla="*/ 4967188 h 5973007"/>
              <a:gd name="connsiteX6958" fmla="*/ 1770271 w 6884782"/>
              <a:gd name="connsiteY6958" fmla="*/ 4971938 h 5973007"/>
              <a:gd name="connsiteX6959" fmla="*/ 1773524 w 6884782"/>
              <a:gd name="connsiteY6959" fmla="*/ 4986704 h 5973007"/>
              <a:gd name="connsiteX6960" fmla="*/ 1764695 w 6884782"/>
              <a:gd name="connsiteY6960" fmla="*/ 4990214 h 5973007"/>
              <a:gd name="connsiteX6961" fmla="*/ 1759273 w 6884782"/>
              <a:gd name="connsiteY6961" fmla="*/ 4987736 h 5973007"/>
              <a:gd name="connsiteX6962" fmla="*/ 1756795 w 6884782"/>
              <a:gd name="connsiteY6962" fmla="*/ 4972144 h 5973007"/>
              <a:gd name="connsiteX6963" fmla="*/ 1758499 w 6884782"/>
              <a:gd name="connsiteY6963" fmla="*/ 4970492 h 5973007"/>
              <a:gd name="connsiteX6964" fmla="*/ 1760048 w 6884782"/>
              <a:gd name="connsiteY6964" fmla="*/ 4967188 h 5973007"/>
              <a:gd name="connsiteX6965" fmla="*/ 1900229 w 6884782"/>
              <a:gd name="connsiteY6965" fmla="*/ 4966672 h 5973007"/>
              <a:gd name="connsiteX6966" fmla="*/ 1899300 w 6884782"/>
              <a:gd name="connsiteY6966" fmla="*/ 4971834 h 5973007"/>
              <a:gd name="connsiteX6967" fmla="*/ 1900229 w 6884782"/>
              <a:gd name="connsiteY6967" fmla="*/ 4966672 h 5973007"/>
              <a:gd name="connsiteX6968" fmla="*/ 1825782 w 6884782"/>
              <a:gd name="connsiteY6968" fmla="*/ 4966142 h 5973007"/>
              <a:gd name="connsiteX6969" fmla="*/ 1839045 w 6884782"/>
              <a:gd name="connsiteY6969" fmla="*/ 4969873 h 5973007"/>
              <a:gd name="connsiteX6970" fmla="*/ 1841988 w 6884782"/>
              <a:gd name="connsiteY6970" fmla="*/ 4977204 h 5973007"/>
              <a:gd name="connsiteX6971" fmla="*/ 1840439 w 6884782"/>
              <a:gd name="connsiteY6971" fmla="*/ 4981953 h 5973007"/>
              <a:gd name="connsiteX6972" fmla="*/ 1840594 w 6884782"/>
              <a:gd name="connsiteY6972" fmla="*/ 4982676 h 5973007"/>
              <a:gd name="connsiteX6973" fmla="*/ 1840129 w 6884782"/>
              <a:gd name="connsiteY6973" fmla="*/ 4982780 h 5973007"/>
              <a:gd name="connsiteX6974" fmla="*/ 1839974 w 6884782"/>
              <a:gd name="connsiteY6974" fmla="*/ 4983296 h 5973007"/>
              <a:gd name="connsiteX6975" fmla="*/ 1827582 w 6884782"/>
              <a:gd name="connsiteY6975" fmla="*/ 4988665 h 5973007"/>
              <a:gd name="connsiteX6976" fmla="*/ 1812402 w 6884782"/>
              <a:gd name="connsiteY6976" fmla="*/ 4974726 h 5973007"/>
              <a:gd name="connsiteX6977" fmla="*/ 1825782 w 6884782"/>
              <a:gd name="connsiteY6977" fmla="*/ 4966142 h 5973007"/>
              <a:gd name="connsiteX6978" fmla="*/ 1711255 w 6884782"/>
              <a:gd name="connsiteY6978" fmla="*/ 4966052 h 5973007"/>
              <a:gd name="connsiteX6979" fmla="*/ 1717142 w 6884782"/>
              <a:gd name="connsiteY6979" fmla="*/ 4967704 h 5973007"/>
              <a:gd name="connsiteX6980" fmla="*/ 1713734 w 6884782"/>
              <a:gd name="connsiteY6980" fmla="*/ 4967808 h 5973007"/>
              <a:gd name="connsiteX6981" fmla="*/ 1711255 w 6884782"/>
              <a:gd name="connsiteY6981" fmla="*/ 4966052 h 5973007"/>
              <a:gd name="connsiteX6982" fmla="*/ 2173931 w 6884782"/>
              <a:gd name="connsiteY6982" fmla="*/ 4963987 h 5973007"/>
              <a:gd name="connsiteX6983" fmla="*/ 2177029 w 6884782"/>
              <a:gd name="connsiteY6983" fmla="*/ 4979166 h 5973007"/>
              <a:gd name="connsiteX6984" fmla="*/ 2176099 w 6884782"/>
              <a:gd name="connsiteY6984" fmla="*/ 4979888 h 5973007"/>
              <a:gd name="connsiteX6985" fmla="*/ 2175944 w 6884782"/>
              <a:gd name="connsiteY6985" fmla="*/ 4981024 h 5973007"/>
              <a:gd name="connsiteX6986" fmla="*/ 2174861 w 6884782"/>
              <a:gd name="connsiteY6986" fmla="*/ 4983089 h 5973007"/>
              <a:gd name="connsiteX6987" fmla="*/ 2173621 w 6884782"/>
              <a:gd name="connsiteY6987" fmla="*/ 4982263 h 5973007"/>
              <a:gd name="connsiteX6988" fmla="*/ 2173001 w 6884782"/>
              <a:gd name="connsiteY6988" fmla="*/ 4982986 h 5973007"/>
              <a:gd name="connsiteX6989" fmla="*/ 2172227 w 6884782"/>
              <a:gd name="connsiteY6989" fmla="*/ 4981437 h 5973007"/>
              <a:gd name="connsiteX6990" fmla="*/ 2172692 w 6884782"/>
              <a:gd name="connsiteY6990" fmla="*/ 4980714 h 5973007"/>
              <a:gd name="connsiteX6991" fmla="*/ 2172692 w 6884782"/>
              <a:gd name="connsiteY6991" fmla="*/ 4980405 h 5973007"/>
              <a:gd name="connsiteX6992" fmla="*/ 2172846 w 6884782"/>
              <a:gd name="connsiteY6992" fmla="*/ 4980302 h 5973007"/>
              <a:gd name="connsiteX6993" fmla="*/ 2172692 w 6884782"/>
              <a:gd name="connsiteY6993" fmla="*/ 4972867 h 5973007"/>
              <a:gd name="connsiteX6994" fmla="*/ 2173931 w 6884782"/>
              <a:gd name="connsiteY6994" fmla="*/ 4963987 h 5973007"/>
              <a:gd name="connsiteX6995" fmla="*/ 1954907 w 6884782"/>
              <a:gd name="connsiteY6995" fmla="*/ 4963884 h 5973007"/>
              <a:gd name="connsiteX6996" fmla="*/ 1950260 w 6884782"/>
              <a:gd name="connsiteY6996" fmla="*/ 4968220 h 5973007"/>
              <a:gd name="connsiteX6997" fmla="*/ 1952119 w 6884782"/>
              <a:gd name="connsiteY6997" fmla="*/ 4966465 h 5973007"/>
              <a:gd name="connsiteX6998" fmla="*/ 1952274 w 6884782"/>
              <a:gd name="connsiteY6998" fmla="*/ 4964710 h 5973007"/>
              <a:gd name="connsiteX6999" fmla="*/ 1954907 w 6884782"/>
              <a:gd name="connsiteY6999" fmla="*/ 4963884 h 5973007"/>
              <a:gd name="connsiteX7000" fmla="*/ 1342912 w 6884782"/>
              <a:gd name="connsiteY7000" fmla="*/ 4963780 h 5973007"/>
              <a:gd name="connsiteX7001" fmla="*/ 1353600 w 6884782"/>
              <a:gd name="connsiteY7001" fmla="*/ 4964297 h 5973007"/>
              <a:gd name="connsiteX7002" fmla="*/ 1348953 w 6884782"/>
              <a:gd name="connsiteY7002" fmla="*/ 4970285 h 5973007"/>
              <a:gd name="connsiteX7003" fmla="*/ 1345546 w 6884782"/>
              <a:gd name="connsiteY7003" fmla="*/ 4969769 h 5973007"/>
              <a:gd name="connsiteX7004" fmla="*/ 1342912 w 6884782"/>
              <a:gd name="connsiteY7004" fmla="*/ 4963780 h 5973007"/>
              <a:gd name="connsiteX7005" fmla="*/ 2067517 w 6884782"/>
              <a:gd name="connsiteY7005" fmla="*/ 4963264 h 5973007"/>
              <a:gd name="connsiteX7006" fmla="*/ 2070460 w 6884782"/>
              <a:gd name="connsiteY7006" fmla="*/ 4964916 h 5973007"/>
              <a:gd name="connsiteX7007" fmla="*/ 2070150 w 6884782"/>
              <a:gd name="connsiteY7007" fmla="*/ 4965639 h 5973007"/>
              <a:gd name="connsiteX7008" fmla="*/ 2067517 w 6884782"/>
              <a:gd name="connsiteY7008" fmla="*/ 4963264 h 5973007"/>
              <a:gd name="connsiteX7009" fmla="*/ 2085020 w 6884782"/>
              <a:gd name="connsiteY7009" fmla="*/ 4963058 h 5973007"/>
              <a:gd name="connsiteX7010" fmla="*/ 2086724 w 6884782"/>
              <a:gd name="connsiteY7010" fmla="*/ 4964607 h 5973007"/>
              <a:gd name="connsiteX7011" fmla="*/ 2082542 w 6884782"/>
              <a:gd name="connsiteY7011" fmla="*/ 4972867 h 5973007"/>
              <a:gd name="connsiteX7012" fmla="*/ 2080838 w 6884782"/>
              <a:gd name="connsiteY7012" fmla="*/ 4970905 h 5973007"/>
              <a:gd name="connsiteX7013" fmla="*/ 2085020 w 6884782"/>
              <a:gd name="connsiteY7013" fmla="*/ 4963058 h 5973007"/>
              <a:gd name="connsiteX7014" fmla="*/ 1636441 w 6884782"/>
              <a:gd name="connsiteY7014" fmla="*/ 4962335 h 5973007"/>
              <a:gd name="connsiteX7015" fmla="*/ 1637370 w 6884782"/>
              <a:gd name="connsiteY7015" fmla="*/ 4965742 h 5973007"/>
              <a:gd name="connsiteX7016" fmla="*/ 1635976 w 6884782"/>
              <a:gd name="connsiteY7016" fmla="*/ 4966259 h 5973007"/>
              <a:gd name="connsiteX7017" fmla="*/ 1633962 w 6884782"/>
              <a:gd name="connsiteY7017" fmla="*/ 4964813 h 5973007"/>
              <a:gd name="connsiteX7018" fmla="*/ 1750715 w 6884782"/>
              <a:gd name="connsiteY7018" fmla="*/ 4961818 h 5973007"/>
              <a:gd name="connsiteX7019" fmla="*/ 1752613 w 6884782"/>
              <a:gd name="connsiteY7019" fmla="*/ 4967188 h 5973007"/>
              <a:gd name="connsiteX7020" fmla="*/ 1745797 w 6884782"/>
              <a:gd name="connsiteY7020" fmla="*/ 4962335 h 5973007"/>
              <a:gd name="connsiteX7021" fmla="*/ 1750715 w 6884782"/>
              <a:gd name="connsiteY7021" fmla="*/ 4961818 h 5973007"/>
              <a:gd name="connsiteX7022" fmla="*/ 1630245 w 6884782"/>
              <a:gd name="connsiteY7022" fmla="*/ 4961818 h 5973007"/>
              <a:gd name="connsiteX7023" fmla="*/ 1631329 w 6884782"/>
              <a:gd name="connsiteY7023" fmla="*/ 4963574 h 5973007"/>
              <a:gd name="connsiteX7024" fmla="*/ 1631019 w 6884782"/>
              <a:gd name="connsiteY7024" fmla="*/ 4965123 h 5973007"/>
              <a:gd name="connsiteX7025" fmla="*/ 1633187 w 6884782"/>
              <a:gd name="connsiteY7025" fmla="*/ 4965536 h 5973007"/>
              <a:gd name="connsiteX7026" fmla="*/ 1635976 w 6884782"/>
              <a:gd name="connsiteY7026" fmla="*/ 4972661 h 5973007"/>
              <a:gd name="connsiteX7027" fmla="*/ 1634272 w 6884782"/>
              <a:gd name="connsiteY7027" fmla="*/ 4973486 h 5973007"/>
              <a:gd name="connsiteX7028" fmla="*/ 1632258 w 6884782"/>
              <a:gd name="connsiteY7028" fmla="*/ 4973900 h 5973007"/>
              <a:gd name="connsiteX7029" fmla="*/ 1627611 w 6884782"/>
              <a:gd name="connsiteY7029" fmla="*/ 4972351 h 5973007"/>
              <a:gd name="connsiteX7030" fmla="*/ 1625753 w 6884782"/>
              <a:gd name="connsiteY7030" fmla="*/ 4968737 h 5973007"/>
              <a:gd name="connsiteX7031" fmla="*/ 1625753 w 6884782"/>
              <a:gd name="connsiteY7031" fmla="*/ 4966981 h 5973007"/>
              <a:gd name="connsiteX7032" fmla="*/ 1626837 w 6884782"/>
              <a:gd name="connsiteY7032" fmla="*/ 4966259 h 5973007"/>
              <a:gd name="connsiteX7033" fmla="*/ 1626372 w 6884782"/>
              <a:gd name="connsiteY7033" fmla="*/ 4965639 h 5973007"/>
              <a:gd name="connsiteX7034" fmla="*/ 1626063 w 6884782"/>
              <a:gd name="connsiteY7034" fmla="*/ 4962954 h 5973007"/>
              <a:gd name="connsiteX7035" fmla="*/ 1630245 w 6884782"/>
              <a:gd name="connsiteY7035" fmla="*/ 4961818 h 5973007"/>
              <a:gd name="connsiteX7036" fmla="*/ 1396661 w 6884782"/>
              <a:gd name="connsiteY7036" fmla="*/ 4961096 h 5973007"/>
              <a:gd name="connsiteX7037" fmla="*/ 1394803 w 6884782"/>
              <a:gd name="connsiteY7037" fmla="*/ 4965949 h 5973007"/>
              <a:gd name="connsiteX7038" fmla="*/ 1386902 w 6884782"/>
              <a:gd name="connsiteY7038" fmla="*/ 4962128 h 5973007"/>
              <a:gd name="connsiteX7039" fmla="*/ 1396661 w 6884782"/>
              <a:gd name="connsiteY7039" fmla="*/ 4961096 h 5973007"/>
              <a:gd name="connsiteX7040" fmla="*/ 1914944 w 6884782"/>
              <a:gd name="connsiteY7040" fmla="*/ 4959341 h 5973007"/>
              <a:gd name="connsiteX7041" fmla="*/ 1915874 w 6884782"/>
              <a:gd name="connsiteY7041" fmla="*/ 4962025 h 5973007"/>
              <a:gd name="connsiteX7042" fmla="*/ 1915099 w 6884782"/>
              <a:gd name="connsiteY7042" fmla="*/ 4964607 h 5973007"/>
              <a:gd name="connsiteX7043" fmla="*/ 1913705 w 6884782"/>
              <a:gd name="connsiteY7043" fmla="*/ 4964813 h 5973007"/>
              <a:gd name="connsiteX7044" fmla="*/ 1911691 w 6884782"/>
              <a:gd name="connsiteY7044" fmla="*/ 4964400 h 5973007"/>
              <a:gd name="connsiteX7045" fmla="*/ 1912311 w 6884782"/>
              <a:gd name="connsiteY7045" fmla="*/ 4960063 h 5973007"/>
              <a:gd name="connsiteX7046" fmla="*/ 1914944 w 6884782"/>
              <a:gd name="connsiteY7046" fmla="*/ 4959341 h 5973007"/>
              <a:gd name="connsiteX7047" fmla="*/ 2031891 w 6884782"/>
              <a:gd name="connsiteY7047" fmla="*/ 4958927 h 5973007"/>
              <a:gd name="connsiteX7048" fmla="*/ 2034679 w 6884782"/>
              <a:gd name="connsiteY7048" fmla="*/ 4960993 h 5973007"/>
              <a:gd name="connsiteX7049" fmla="*/ 2034989 w 6884782"/>
              <a:gd name="connsiteY7049" fmla="*/ 4960270 h 5973007"/>
              <a:gd name="connsiteX7050" fmla="*/ 2043353 w 6884782"/>
              <a:gd name="connsiteY7050" fmla="*/ 4964193 h 5973007"/>
              <a:gd name="connsiteX7051" fmla="*/ 2043198 w 6884782"/>
              <a:gd name="connsiteY7051" fmla="*/ 4967291 h 5973007"/>
              <a:gd name="connsiteX7052" fmla="*/ 2050633 w 6884782"/>
              <a:gd name="connsiteY7052" fmla="*/ 4972764 h 5973007"/>
              <a:gd name="connsiteX7053" fmla="*/ 2067363 w 6884782"/>
              <a:gd name="connsiteY7053" fmla="*/ 4985464 h 5973007"/>
              <a:gd name="connsiteX7054" fmla="*/ 2062251 w 6884782"/>
              <a:gd name="connsiteY7054" fmla="*/ 4985568 h 5973007"/>
              <a:gd name="connsiteX7055" fmla="*/ 2026779 w 6884782"/>
              <a:gd name="connsiteY7055" fmla="*/ 4966465 h 5973007"/>
              <a:gd name="connsiteX7056" fmla="*/ 2031891 w 6884782"/>
              <a:gd name="connsiteY7056" fmla="*/ 4958927 h 5973007"/>
              <a:gd name="connsiteX7057" fmla="*/ 1954598 w 6884782"/>
              <a:gd name="connsiteY7057" fmla="*/ 4958514 h 5973007"/>
              <a:gd name="connsiteX7058" fmla="*/ 1969777 w 6884782"/>
              <a:gd name="connsiteY7058" fmla="*/ 4974313 h 5973007"/>
              <a:gd name="connsiteX7059" fmla="*/ 1955682 w 6884782"/>
              <a:gd name="connsiteY7059" fmla="*/ 4963677 h 5973007"/>
              <a:gd name="connsiteX7060" fmla="*/ 1954598 w 6884782"/>
              <a:gd name="connsiteY7060" fmla="*/ 4958514 h 5973007"/>
              <a:gd name="connsiteX7061" fmla="*/ 1006632 w 6884782"/>
              <a:gd name="connsiteY7061" fmla="*/ 4958514 h 5973007"/>
              <a:gd name="connsiteX7062" fmla="*/ 999662 w 6884782"/>
              <a:gd name="connsiteY7062" fmla="*/ 4986084 h 5973007"/>
              <a:gd name="connsiteX7063" fmla="*/ 996873 w 6884782"/>
              <a:gd name="connsiteY7063" fmla="*/ 4979682 h 5973007"/>
              <a:gd name="connsiteX7064" fmla="*/ 1006632 w 6884782"/>
              <a:gd name="connsiteY7064" fmla="*/ 4958514 h 5973007"/>
              <a:gd name="connsiteX7065" fmla="*/ 1900539 w 6884782"/>
              <a:gd name="connsiteY7065" fmla="*/ 4955623 h 5973007"/>
              <a:gd name="connsiteX7066" fmla="*/ 1904876 w 6884782"/>
              <a:gd name="connsiteY7066" fmla="*/ 4956346 h 5973007"/>
              <a:gd name="connsiteX7067" fmla="*/ 1901778 w 6884782"/>
              <a:gd name="connsiteY7067" fmla="*/ 4958205 h 5973007"/>
              <a:gd name="connsiteX7068" fmla="*/ 1900539 w 6884782"/>
              <a:gd name="connsiteY7068" fmla="*/ 4955623 h 5973007"/>
              <a:gd name="connsiteX7069" fmla="*/ 980145 w 6884782"/>
              <a:gd name="connsiteY7069" fmla="*/ 4954901 h 5973007"/>
              <a:gd name="connsiteX7070" fmla="*/ 978286 w 6884782"/>
              <a:gd name="connsiteY7070" fmla="*/ 4962128 h 5973007"/>
              <a:gd name="connsiteX7071" fmla="*/ 974414 w 6884782"/>
              <a:gd name="connsiteY7071" fmla="*/ 4962851 h 5973007"/>
              <a:gd name="connsiteX7072" fmla="*/ 970541 w 6884782"/>
              <a:gd name="connsiteY7072" fmla="*/ 4961509 h 5973007"/>
              <a:gd name="connsiteX7073" fmla="*/ 980145 w 6884782"/>
              <a:gd name="connsiteY7073" fmla="*/ 4954901 h 5973007"/>
              <a:gd name="connsiteX7074" fmla="*/ 2217301 w 6884782"/>
              <a:gd name="connsiteY7074" fmla="*/ 4952319 h 5973007"/>
              <a:gd name="connsiteX7075" fmla="*/ 2219653 w 6884782"/>
              <a:gd name="connsiteY7075" fmla="*/ 4952922 h 5973007"/>
              <a:gd name="connsiteX7076" fmla="*/ 2219625 w 6884782"/>
              <a:gd name="connsiteY7076" fmla="*/ 4952939 h 5973007"/>
              <a:gd name="connsiteX7077" fmla="*/ 2217301 w 6884782"/>
              <a:gd name="connsiteY7077" fmla="*/ 4952319 h 5973007"/>
              <a:gd name="connsiteX7078" fmla="*/ 1578084 w 6884782"/>
              <a:gd name="connsiteY7078" fmla="*/ 4952112 h 5973007"/>
              <a:gd name="connsiteX7079" fmla="*/ 1580213 w 6884782"/>
              <a:gd name="connsiteY7079" fmla="*/ 4957998 h 5973007"/>
              <a:gd name="connsiteX7080" fmla="*/ 1577270 w 6884782"/>
              <a:gd name="connsiteY7080" fmla="*/ 4962851 h 5973007"/>
              <a:gd name="connsiteX7081" fmla="*/ 1575257 w 6884782"/>
              <a:gd name="connsiteY7081" fmla="*/ 4962025 h 5973007"/>
              <a:gd name="connsiteX7082" fmla="*/ 1574947 w 6884782"/>
              <a:gd name="connsiteY7082" fmla="*/ 4961818 h 5973007"/>
              <a:gd name="connsiteX7083" fmla="*/ 1572004 w 6884782"/>
              <a:gd name="connsiteY7083" fmla="*/ 4966052 h 5973007"/>
              <a:gd name="connsiteX7084" fmla="*/ 1570145 w 6884782"/>
              <a:gd name="connsiteY7084" fmla="*/ 4963574 h 5973007"/>
              <a:gd name="connsiteX7085" fmla="*/ 1570145 w 6884782"/>
              <a:gd name="connsiteY7085" fmla="*/ 4958514 h 5973007"/>
              <a:gd name="connsiteX7086" fmla="*/ 1571539 w 6884782"/>
              <a:gd name="connsiteY7086" fmla="*/ 4956346 h 5973007"/>
              <a:gd name="connsiteX7087" fmla="*/ 1571074 w 6884782"/>
              <a:gd name="connsiteY7087" fmla="*/ 4955210 h 5973007"/>
              <a:gd name="connsiteX7088" fmla="*/ 1578084 w 6884782"/>
              <a:gd name="connsiteY7088" fmla="*/ 4952112 h 5973007"/>
              <a:gd name="connsiteX7089" fmla="*/ 2221175 w 6884782"/>
              <a:gd name="connsiteY7089" fmla="*/ 4952009 h 5973007"/>
              <a:gd name="connsiteX7090" fmla="*/ 2223343 w 6884782"/>
              <a:gd name="connsiteY7090" fmla="*/ 4953868 h 5973007"/>
              <a:gd name="connsiteX7091" fmla="*/ 2219653 w 6884782"/>
              <a:gd name="connsiteY7091" fmla="*/ 4952922 h 5973007"/>
              <a:gd name="connsiteX7092" fmla="*/ 2207853 w 6884782"/>
              <a:gd name="connsiteY7092" fmla="*/ 4951183 h 5973007"/>
              <a:gd name="connsiteX7093" fmla="*/ 2210641 w 6884782"/>
              <a:gd name="connsiteY7093" fmla="*/ 4952525 h 5973007"/>
              <a:gd name="connsiteX7094" fmla="*/ 2213894 w 6884782"/>
              <a:gd name="connsiteY7094" fmla="*/ 4951493 h 5973007"/>
              <a:gd name="connsiteX7095" fmla="*/ 2216682 w 6884782"/>
              <a:gd name="connsiteY7095" fmla="*/ 4952835 h 5973007"/>
              <a:gd name="connsiteX7096" fmla="*/ 2215908 w 6884782"/>
              <a:gd name="connsiteY7096" fmla="*/ 4953351 h 5973007"/>
              <a:gd name="connsiteX7097" fmla="*/ 2213584 w 6884782"/>
              <a:gd name="connsiteY7097" fmla="*/ 4952732 h 5973007"/>
              <a:gd name="connsiteX7098" fmla="*/ 2208008 w 6884782"/>
              <a:gd name="connsiteY7098" fmla="*/ 4954281 h 5973007"/>
              <a:gd name="connsiteX7099" fmla="*/ 2206304 w 6884782"/>
              <a:gd name="connsiteY7099" fmla="*/ 4953248 h 5973007"/>
              <a:gd name="connsiteX7100" fmla="*/ 2207853 w 6884782"/>
              <a:gd name="connsiteY7100" fmla="*/ 4951183 h 5973007"/>
              <a:gd name="connsiteX7101" fmla="*/ 1602518 w 6884782"/>
              <a:gd name="connsiteY7101" fmla="*/ 4950357 h 5973007"/>
              <a:gd name="connsiteX7102" fmla="*/ 1602363 w 6884782"/>
              <a:gd name="connsiteY7102" fmla="*/ 4960993 h 5973007"/>
              <a:gd name="connsiteX7103" fmla="*/ 1601124 w 6884782"/>
              <a:gd name="connsiteY7103" fmla="*/ 4962128 h 5973007"/>
              <a:gd name="connsiteX7104" fmla="*/ 1598956 w 6884782"/>
              <a:gd name="connsiteY7104" fmla="*/ 4961199 h 5973007"/>
              <a:gd name="connsiteX7105" fmla="*/ 1598491 w 6884782"/>
              <a:gd name="connsiteY7105" fmla="*/ 4956862 h 5973007"/>
              <a:gd name="connsiteX7106" fmla="*/ 1601280 w 6884782"/>
              <a:gd name="connsiteY7106" fmla="*/ 4953145 h 5973007"/>
              <a:gd name="connsiteX7107" fmla="*/ 1601744 w 6884782"/>
              <a:gd name="connsiteY7107" fmla="*/ 4950460 h 5973007"/>
              <a:gd name="connsiteX7108" fmla="*/ 1602518 w 6884782"/>
              <a:gd name="connsiteY7108" fmla="*/ 4950357 h 5973007"/>
              <a:gd name="connsiteX7109" fmla="*/ 1641087 w 6884782"/>
              <a:gd name="connsiteY7109" fmla="*/ 4949221 h 5973007"/>
              <a:gd name="connsiteX7110" fmla="*/ 1650072 w 6884782"/>
              <a:gd name="connsiteY7110" fmla="*/ 4950977 h 5973007"/>
              <a:gd name="connsiteX7111" fmla="*/ 1647593 w 6884782"/>
              <a:gd name="connsiteY7111" fmla="*/ 4962335 h 5973007"/>
              <a:gd name="connsiteX7112" fmla="*/ 1647903 w 6884782"/>
              <a:gd name="connsiteY7112" fmla="*/ 4963884 h 5973007"/>
              <a:gd name="connsiteX7113" fmla="*/ 1647438 w 6884782"/>
              <a:gd name="connsiteY7113" fmla="*/ 4966155 h 5973007"/>
              <a:gd name="connsiteX7114" fmla="*/ 1646509 w 6884782"/>
              <a:gd name="connsiteY7114" fmla="*/ 4966465 h 5973007"/>
              <a:gd name="connsiteX7115" fmla="*/ 1644960 w 6884782"/>
              <a:gd name="connsiteY7115" fmla="*/ 4973486 h 5973007"/>
              <a:gd name="connsiteX7116" fmla="*/ 1640158 w 6884782"/>
              <a:gd name="connsiteY7116" fmla="*/ 4994138 h 5973007"/>
              <a:gd name="connsiteX7117" fmla="*/ 1641087 w 6884782"/>
              <a:gd name="connsiteY7117" fmla="*/ 4949221 h 5973007"/>
              <a:gd name="connsiteX7118" fmla="*/ 2238058 w 6884782"/>
              <a:gd name="connsiteY7118" fmla="*/ 4948395 h 5973007"/>
              <a:gd name="connsiteX7119" fmla="*/ 2255561 w 6884782"/>
              <a:gd name="connsiteY7119" fmla="*/ 4964710 h 5973007"/>
              <a:gd name="connsiteX7120" fmla="*/ 2243634 w 6884782"/>
              <a:gd name="connsiteY7120" fmla="*/ 4958824 h 5973007"/>
              <a:gd name="connsiteX7121" fmla="*/ 2241775 w 6884782"/>
              <a:gd name="connsiteY7121" fmla="*/ 4956346 h 5973007"/>
              <a:gd name="connsiteX7122" fmla="*/ 2240226 w 6884782"/>
              <a:gd name="connsiteY7122" fmla="*/ 4957895 h 5973007"/>
              <a:gd name="connsiteX7123" fmla="*/ 2240846 w 6884782"/>
              <a:gd name="connsiteY7123" fmla="*/ 4957895 h 5973007"/>
              <a:gd name="connsiteX7124" fmla="*/ 2237438 w 6884782"/>
              <a:gd name="connsiteY7124" fmla="*/ 4962128 h 5973007"/>
              <a:gd name="connsiteX7125" fmla="*/ 2237128 w 6884782"/>
              <a:gd name="connsiteY7125" fmla="*/ 4963367 h 5973007"/>
              <a:gd name="connsiteX7126" fmla="*/ 2235734 w 6884782"/>
              <a:gd name="connsiteY7126" fmla="*/ 4967498 h 5973007"/>
              <a:gd name="connsiteX7127" fmla="*/ 2231862 w 6884782"/>
              <a:gd name="connsiteY7127" fmla="*/ 4965949 h 5973007"/>
              <a:gd name="connsiteX7128" fmla="*/ 2231088 w 6884782"/>
              <a:gd name="connsiteY7128" fmla="*/ 4966465 h 5973007"/>
              <a:gd name="connsiteX7129" fmla="*/ 2219935 w 6884782"/>
              <a:gd name="connsiteY7129" fmla="*/ 4968324 h 5973007"/>
              <a:gd name="connsiteX7130" fmla="*/ 2223963 w 6884782"/>
              <a:gd name="connsiteY7130" fmla="*/ 4962851 h 5973007"/>
              <a:gd name="connsiteX7131" fmla="*/ 2228610 w 6884782"/>
              <a:gd name="connsiteY7131" fmla="*/ 4959857 h 5973007"/>
              <a:gd name="connsiteX7132" fmla="*/ 2228144 w 6884782"/>
              <a:gd name="connsiteY7132" fmla="*/ 4957275 h 5973007"/>
              <a:gd name="connsiteX7133" fmla="*/ 2225821 w 6884782"/>
              <a:gd name="connsiteY7133" fmla="*/ 4961096 h 5973007"/>
              <a:gd name="connsiteX7134" fmla="*/ 2209866 w 6884782"/>
              <a:gd name="connsiteY7134" fmla="*/ 4966981 h 5973007"/>
              <a:gd name="connsiteX7135" fmla="*/ 2216837 w 6884782"/>
              <a:gd name="connsiteY7135" fmla="*/ 4957895 h 5973007"/>
              <a:gd name="connsiteX7136" fmla="*/ 2228144 w 6884782"/>
              <a:gd name="connsiteY7136" fmla="*/ 4955623 h 5973007"/>
              <a:gd name="connsiteX7137" fmla="*/ 2228144 w 6884782"/>
              <a:gd name="connsiteY7137" fmla="*/ 4953042 h 5973007"/>
              <a:gd name="connsiteX7138" fmla="*/ 2231707 w 6884782"/>
              <a:gd name="connsiteY7138" fmla="*/ 4952422 h 5973007"/>
              <a:gd name="connsiteX7139" fmla="*/ 2233566 w 6884782"/>
              <a:gd name="connsiteY7139" fmla="*/ 4953764 h 5973007"/>
              <a:gd name="connsiteX7140" fmla="*/ 2234031 w 6884782"/>
              <a:gd name="connsiteY7140" fmla="*/ 4948499 h 5973007"/>
              <a:gd name="connsiteX7141" fmla="*/ 2239142 w 6884782"/>
              <a:gd name="connsiteY7141" fmla="*/ 4954281 h 5973007"/>
              <a:gd name="connsiteX7142" fmla="*/ 2240381 w 6884782"/>
              <a:gd name="connsiteY7142" fmla="*/ 4954487 h 5973007"/>
              <a:gd name="connsiteX7143" fmla="*/ 2239762 w 6884782"/>
              <a:gd name="connsiteY7143" fmla="*/ 4953558 h 5973007"/>
              <a:gd name="connsiteX7144" fmla="*/ 2238058 w 6884782"/>
              <a:gd name="connsiteY7144" fmla="*/ 4948395 h 5973007"/>
              <a:gd name="connsiteX7145" fmla="*/ 2074023 w 6884782"/>
              <a:gd name="connsiteY7145" fmla="*/ 4947879 h 5973007"/>
              <a:gd name="connsiteX7146" fmla="*/ 2077120 w 6884782"/>
              <a:gd name="connsiteY7146" fmla="*/ 4950770 h 5973007"/>
              <a:gd name="connsiteX7147" fmla="*/ 2077895 w 6884782"/>
              <a:gd name="connsiteY7147" fmla="*/ 4952939 h 5973007"/>
              <a:gd name="connsiteX7148" fmla="*/ 2078670 w 6884782"/>
              <a:gd name="connsiteY7148" fmla="*/ 4952009 h 5973007"/>
              <a:gd name="connsiteX7149" fmla="*/ 2083007 w 6884782"/>
              <a:gd name="connsiteY7149" fmla="*/ 4952319 h 5973007"/>
              <a:gd name="connsiteX7150" fmla="*/ 2077276 w 6884782"/>
              <a:gd name="connsiteY7150" fmla="*/ 4956449 h 5973007"/>
              <a:gd name="connsiteX7151" fmla="*/ 2077430 w 6884782"/>
              <a:gd name="connsiteY7151" fmla="*/ 4956036 h 5973007"/>
              <a:gd name="connsiteX7152" fmla="*/ 2076656 w 6884782"/>
              <a:gd name="connsiteY7152" fmla="*/ 4956862 h 5973007"/>
              <a:gd name="connsiteX7153" fmla="*/ 2073403 w 6884782"/>
              <a:gd name="connsiteY7153" fmla="*/ 4956966 h 5973007"/>
              <a:gd name="connsiteX7154" fmla="*/ 2070925 w 6884782"/>
              <a:gd name="connsiteY7154" fmla="*/ 4955726 h 5973007"/>
              <a:gd name="connsiteX7155" fmla="*/ 2069685 w 6884782"/>
              <a:gd name="connsiteY7155" fmla="*/ 4952835 h 5973007"/>
              <a:gd name="connsiteX7156" fmla="*/ 2070150 w 6884782"/>
              <a:gd name="connsiteY7156" fmla="*/ 4950460 h 5973007"/>
              <a:gd name="connsiteX7157" fmla="*/ 2074023 w 6884782"/>
              <a:gd name="connsiteY7157" fmla="*/ 4947879 h 5973007"/>
              <a:gd name="connsiteX7158" fmla="*/ 871098 w 6884782"/>
              <a:gd name="connsiteY7158" fmla="*/ 4947776 h 5973007"/>
              <a:gd name="connsiteX7159" fmla="*/ 877603 w 6884782"/>
              <a:gd name="connsiteY7159" fmla="*/ 4949841 h 5973007"/>
              <a:gd name="connsiteX7160" fmla="*/ 871253 w 6884782"/>
              <a:gd name="connsiteY7160" fmla="*/ 4962232 h 5973007"/>
              <a:gd name="connsiteX7161" fmla="*/ 866915 w 6884782"/>
              <a:gd name="connsiteY7161" fmla="*/ 4959237 h 5973007"/>
              <a:gd name="connsiteX7162" fmla="*/ 871098 w 6884782"/>
              <a:gd name="connsiteY7162" fmla="*/ 4947776 h 5973007"/>
              <a:gd name="connsiteX7163" fmla="*/ 1854012 w 6884782"/>
              <a:gd name="connsiteY7163" fmla="*/ 4947647 h 5973007"/>
              <a:gd name="connsiteX7164" fmla="*/ 1859956 w 6884782"/>
              <a:gd name="connsiteY7164" fmla="*/ 4948085 h 5973007"/>
              <a:gd name="connsiteX7165" fmla="*/ 1859801 w 6884782"/>
              <a:gd name="connsiteY7165" fmla="*/ 4950667 h 5973007"/>
              <a:gd name="connsiteX7166" fmla="*/ 1853450 w 6884782"/>
              <a:gd name="connsiteY7166" fmla="*/ 4954591 h 5973007"/>
              <a:gd name="connsiteX7167" fmla="*/ 1851436 w 6884782"/>
              <a:gd name="connsiteY7167" fmla="*/ 4953558 h 5973007"/>
              <a:gd name="connsiteX7168" fmla="*/ 1854012 w 6884782"/>
              <a:gd name="connsiteY7168" fmla="*/ 4947647 h 5973007"/>
              <a:gd name="connsiteX7169" fmla="*/ 2097722 w 6884782"/>
              <a:gd name="connsiteY7169" fmla="*/ 4947053 h 5973007"/>
              <a:gd name="connsiteX7170" fmla="*/ 2103298 w 6884782"/>
              <a:gd name="connsiteY7170" fmla="*/ 4951080 h 5973007"/>
              <a:gd name="connsiteX7171" fmla="*/ 2099891 w 6884782"/>
              <a:gd name="connsiteY7171" fmla="*/ 4953351 h 5973007"/>
              <a:gd name="connsiteX7172" fmla="*/ 2096483 w 6884782"/>
              <a:gd name="connsiteY7172" fmla="*/ 4952009 h 5973007"/>
              <a:gd name="connsiteX7173" fmla="*/ 2094469 w 6884782"/>
              <a:gd name="connsiteY7173" fmla="*/ 4948189 h 5973007"/>
              <a:gd name="connsiteX7174" fmla="*/ 2094934 w 6884782"/>
              <a:gd name="connsiteY7174" fmla="*/ 4948912 h 5973007"/>
              <a:gd name="connsiteX7175" fmla="*/ 2096328 w 6884782"/>
              <a:gd name="connsiteY7175" fmla="*/ 4947982 h 5973007"/>
              <a:gd name="connsiteX7176" fmla="*/ 2095864 w 6884782"/>
              <a:gd name="connsiteY7176" fmla="*/ 4947259 h 5973007"/>
              <a:gd name="connsiteX7177" fmla="*/ 2097722 w 6884782"/>
              <a:gd name="connsiteY7177" fmla="*/ 4947053 h 5973007"/>
              <a:gd name="connsiteX7178" fmla="*/ 1381017 w 6884782"/>
              <a:gd name="connsiteY7178" fmla="*/ 4945917 h 5973007"/>
              <a:gd name="connsiteX7179" fmla="*/ 1396816 w 6884782"/>
              <a:gd name="connsiteY7179" fmla="*/ 4950254 h 5973007"/>
              <a:gd name="connsiteX7180" fmla="*/ 1396196 w 6884782"/>
              <a:gd name="connsiteY7180" fmla="*/ 4952112 h 5973007"/>
              <a:gd name="connsiteX7181" fmla="*/ 1394028 w 6884782"/>
              <a:gd name="connsiteY7181" fmla="*/ 4952835 h 5973007"/>
              <a:gd name="connsiteX7182" fmla="*/ 1385973 w 6884782"/>
              <a:gd name="connsiteY7182" fmla="*/ 4950977 h 5973007"/>
              <a:gd name="connsiteX7183" fmla="*/ 1384114 w 6884782"/>
              <a:gd name="connsiteY7183" fmla="*/ 4950150 h 5973007"/>
              <a:gd name="connsiteX7184" fmla="*/ 1382256 w 6884782"/>
              <a:gd name="connsiteY7184" fmla="*/ 4949428 h 5973007"/>
              <a:gd name="connsiteX7185" fmla="*/ 1381017 w 6884782"/>
              <a:gd name="connsiteY7185" fmla="*/ 4945917 h 5973007"/>
              <a:gd name="connsiteX7186" fmla="*/ 2191434 w 6884782"/>
              <a:gd name="connsiteY7186" fmla="*/ 4945297 h 5973007"/>
              <a:gd name="connsiteX7187" fmla="*/ 2196855 w 6884782"/>
              <a:gd name="connsiteY7187" fmla="*/ 4947156 h 5973007"/>
              <a:gd name="connsiteX7188" fmla="*/ 2197320 w 6884782"/>
              <a:gd name="connsiteY7188" fmla="*/ 4946743 h 5973007"/>
              <a:gd name="connsiteX7189" fmla="*/ 2202896 w 6884782"/>
              <a:gd name="connsiteY7189" fmla="*/ 4953351 h 5973007"/>
              <a:gd name="connsiteX7190" fmla="*/ 2202431 w 6884782"/>
              <a:gd name="connsiteY7190" fmla="*/ 4955520 h 5973007"/>
              <a:gd name="connsiteX7191" fmla="*/ 2202587 w 6884782"/>
              <a:gd name="connsiteY7191" fmla="*/ 4955726 h 5973007"/>
              <a:gd name="connsiteX7192" fmla="*/ 2198869 w 6884782"/>
              <a:gd name="connsiteY7192" fmla="*/ 4958927 h 5973007"/>
              <a:gd name="connsiteX7193" fmla="*/ 2195306 w 6884782"/>
              <a:gd name="connsiteY7193" fmla="*/ 4958411 h 5973007"/>
              <a:gd name="connsiteX7194" fmla="*/ 2192208 w 6884782"/>
              <a:gd name="connsiteY7194" fmla="*/ 4956759 h 5973007"/>
              <a:gd name="connsiteX7195" fmla="*/ 2190659 w 6884782"/>
              <a:gd name="connsiteY7195" fmla="*/ 4953455 h 5973007"/>
              <a:gd name="connsiteX7196" fmla="*/ 2188026 w 6884782"/>
              <a:gd name="connsiteY7196" fmla="*/ 4948395 h 5973007"/>
              <a:gd name="connsiteX7197" fmla="*/ 2191434 w 6884782"/>
              <a:gd name="connsiteY7197" fmla="*/ 4945297 h 5973007"/>
              <a:gd name="connsiteX7198" fmla="*/ 6418680 w 6884782"/>
              <a:gd name="connsiteY7198" fmla="*/ 4945096 h 5973007"/>
              <a:gd name="connsiteX7199" fmla="*/ 6428458 w 6884782"/>
              <a:gd name="connsiteY7199" fmla="*/ 4950169 h 5973007"/>
              <a:gd name="connsiteX7200" fmla="*/ 6416841 w 6884782"/>
              <a:gd name="connsiteY7200" fmla="*/ 4964211 h 5973007"/>
              <a:gd name="connsiteX7201" fmla="*/ 6410025 w 6884782"/>
              <a:gd name="connsiteY7201" fmla="*/ 4956674 h 5973007"/>
              <a:gd name="connsiteX7202" fmla="*/ 6408321 w 6884782"/>
              <a:gd name="connsiteY7202" fmla="*/ 4949239 h 5973007"/>
              <a:gd name="connsiteX7203" fmla="*/ 6418680 w 6884782"/>
              <a:gd name="connsiteY7203" fmla="*/ 4945096 h 5973007"/>
              <a:gd name="connsiteX7204" fmla="*/ 1756640 w 6884782"/>
              <a:gd name="connsiteY7204" fmla="*/ 4944988 h 5973007"/>
              <a:gd name="connsiteX7205" fmla="*/ 1759273 w 6884782"/>
              <a:gd name="connsiteY7205" fmla="*/ 4945814 h 5973007"/>
              <a:gd name="connsiteX7206" fmla="*/ 1759583 w 6884782"/>
              <a:gd name="connsiteY7206" fmla="*/ 4945607 h 5973007"/>
              <a:gd name="connsiteX7207" fmla="*/ 1765934 w 6884782"/>
              <a:gd name="connsiteY7207" fmla="*/ 4950770 h 5973007"/>
              <a:gd name="connsiteX7208" fmla="*/ 1762216 w 6884782"/>
              <a:gd name="connsiteY7208" fmla="*/ 4955313 h 5973007"/>
              <a:gd name="connsiteX7209" fmla="*/ 1761597 w 6884782"/>
              <a:gd name="connsiteY7209" fmla="*/ 4954901 h 5973007"/>
              <a:gd name="connsiteX7210" fmla="*/ 1761287 w 6884782"/>
              <a:gd name="connsiteY7210" fmla="*/ 4955933 h 5973007"/>
              <a:gd name="connsiteX7211" fmla="*/ 1756331 w 6884782"/>
              <a:gd name="connsiteY7211" fmla="*/ 4960476 h 5973007"/>
              <a:gd name="connsiteX7212" fmla="*/ 1756640 w 6884782"/>
              <a:gd name="connsiteY7212" fmla="*/ 4944988 h 5973007"/>
              <a:gd name="connsiteX7213" fmla="*/ 1181510 w 6884782"/>
              <a:gd name="connsiteY7213" fmla="*/ 4944884 h 5973007"/>
              <a:gd name="connsiteX7214" fmla="*/ 1183214 w 6884782"/>
              <a:gd name="connsiteY7214" fmla="*/ 4947569 h 5973007"/>
              <a:gd name="connsiteX7215" fmla="*/ 1172991 w 6884782"/>
              <a:gd name="connsiteY7215" fmla="*/ 4961199 h 5973007"/>
              <a:gd name="connsiteX7216" fmla="*/ 1170667 w 6884782"/>
              <a:gd name="connsiteY7216" fmla="*/ 4959857 h 5973007"/>
              <a:gd name="connsiteX7217" fmla="*/ 1181510 w 6884782"/>
              <a:gd name="connsiteY7217" fmla="*/ 4944884 h 5973007"/>
              <a:gd name="connsiteX7218" fmla="*/ 1333773 w 6884782"/>
              <a:gd name="connsiteY7218" fmla="*/ 4944472 h 5973007"/>
              <a:gd name="connsiteX7219" fmla="*/ 1345391 w 6884782"/>
              <a:gd name="connsiteY7219" fmla="*/ 4950977 h 5973007"/>
              <a:gd name="connsiteX7220" fmla="*/ 1341828 w 6884782"/>
              <a:gd name="connsiteY7220" fmla="*/ 4957275 h 5973007"/>
              <a:gd name="connsiteX7221" fmla="*/ 1339660 w 6884782"/>
              <a:gd name="connsiteY7221" fmla="*/ 4957069 h 5973007"/>
              <a:gd name="connsiteX7222" fmla="*/ 1330521 w 6884782"/>
              <a:gd name="connsiteY7222" fmla="*/ 4952732 h 5973007"/>
              <a:gd name="connsiteX7223" fmla="*/ 1333773 w 6884782"/>
              <a:gd name="connsiteY7223" fmla="*/ 4944472 h 5973007"/>
              <a:gd name="connsiteX7224" fmla="*/ 1459472 w 6884782"/>
              <a:gd name="connsiteY7224" fmla="*/ 4943981 h 5973007"/>
              <a:gd name="connsiteX7225" fmla="*/ 1463266 w 6884782"/>
              <a:gd name="connsiteY7225" fmla="*/ 4946020 h 5973007"/>
              <a:gd name="connsiteX7226" fmla="*/ 1460943 w 6884782"/>
              <a:gd name="connsiteY7226" fmla="*/ 4951080 h 5973007"/>
              <a:gd name="connsiteX7227" fmla="*/ 1456606 w 6884782"/>
              <a:gd name="connsiteY7227" fmla="*/ 4945814 h 5973007"/>
              <a:gd name="connsiteX7228" fmla="*/ 1459472 w 6884782"/>
              <a:gd name="connsiteY7228" fmla="*/ 4943981 h 5973007"/>
              <a:gd name="connsiteX7229" fmla="*/ 6103175 w 6884782"/>
              <a:gd name="connsiteY7229" fmla="*/ 4943560 h 5973007"/>
              <a:gd name="connsiteX7230" fmla="*/ 6101781 w 6884782"/>
              <a:gd name="connsiteY7230" fmla="*/ 4948723 h 5973007"/>
              <a:gd name="connsiteX7231" fmla="*/ 6099148 w 6884782"/>
              <a:gd name="connsiteY7231" fmla="*/ 4950272 h 5973007"/>
              <a:gd name="connsiteX7232" fmla="*/ 6096670 w 6884782"/>
              <a:gd name="connsiteY7232" fmla="*/ 4948620 h 5973007"/>
              <a:gd name="connsiteX7233" fmla="*/ 6096205 w 6884782"/>
              <a:gd name="connsiteY7233" fmla="*/ 4945109 h 5973007"/>
              <a:gd name="connsiteX7234" fmla="*/ 6103175 w 6884782"/>
              <a:gd name="connsiteY7234" fmla="*/ 4943560 h 5973007"/>
              <a:gd name="connsiteX7235" fmla="*/ 1429189 w 6884782"/>
              <a:gd name="connsiteY7235" fmla="*/ 4943026 h 5973007"/>
              <a:gd name="connsiteX7236" fmla="*/ 1438638 w 6884782"/>
              <a:gd name="connsiteY7236" fmla="*/ 4947363 h 5973007"/>
              <a:gd name="connsiteX7237" fmla="*/ 1434301 w 6884782"/>
              <a:gd name="connsiteY7237" fmla="*/ 4951493 h 5973007"/>
              <a:gd name="connsiteX7238" fmla="*/ 1428725 w 6884782"/>
              <a:gd name="connsiteY7238" fmla="*/ 4949428 h 5973007"/>
              <a:gd name="connsiteX7239" fmla="*/ 1429189 w 6884782"/>
              <a:gd name="connsiteY7239" fmla="*/ 4943026 h 5973007"/>
              <a:gd name="connsiteX7240" fmla="*/ 1509116 w 6884782"/>
              <a:gd name="connsiteY7240" fmla="*/ 4941993 h 5973007"/>
              <a:gd name="connsiteX7241" fmla="*/ 1521198 w 6884782"/>
              <a:gd name="connsiteY7241" fmla="*/ 4946434 h 5973007"/>
              <a:gd name="connsiteX7242" fmla="*/ 1518874 w 6884782"/>
              <a:gd name="connsiteY7242" fmla="*/ 4946846 h 5973007"/>
              <a:gd name="connsiteX7243" fmla="*/ 1509116 w 6884782"/>
              <a:gd name="connsiteY7243" fmla="*/ 4941993 h 5973007"/>
              <a:gd name="connsiteX7244" fmla="*/ 1044272 w 6884782"/>
              <a:gd name="connsiteY7244" fmla="*/ 4941683 h 5973007"/>
              <a:gd name="connsiteX7245" fmla="*/ 1034823 w 6884782"/>
              <a:gd name="connsiteY7245" fmla="*/ 4960476 h 5973007"/>
              <a:gd name="connsiteX7246" fmla="*/ 1031106 w 6884782"/>
              <a:gd name="connsiteY7246" fmla="*/ 4961612 h 5973007"/>
              <a:gd name="connsiteX7247" fmla="*/ 1029557 w 6884782"/>
              <a:gd name="connsiteY7247" fmla="*/ 4961302 h 5973007"/>
              <a:gd name="connsiteX7248" fmla="*/ 1044272 w 6884782"/>
              <a:gd name="connsiteY7248" fmla="*/ 4941683 h 5973007"/>
              <a:gd name="connsiteX7249" fmla="*/ 1416894 w 6884782"/>
              <a:gd name="connsiteY7249" fmla="*/ 4941258 h 5973007"/>
              <a:gd name="connsiteX7250" fmla="*/ 1423768 w 6884782"/>
              <a:gd name="connsiteY7250" fmla="*/ 4948602 h 5973007"/>
              <a:gd name="connsiteX7251" fmla="*/ 1422064 w 6884782"/>
              <a:gd name="connsiteY7251" fmla="*/ 4952732 h 5973007"/>
              <a:gd name="connsiteX7252" fmla="*/ 1416953 w 6884782"/>
              <a:gd name="connsiteY7252" fmla="*/ 4953248 h 5973007"/>
              <a:gd name="connsiteX7253" fmla="*/ 1412770 w 6884782"/>
              <a:gd name="connsiteY7253" fmla="*/ 4953351 h 5973007"/>
              <a:gd name="connsiteX7254" fmla="*/ 1404096 w 6884782"/>
              <a:gd name="connsiteY7254" fmla="*/ 4945917 h 5973007"/>
              <a:gd name="connsiteX7255" fmla="*/ 1416894 w 6884782"/>
              <a:gd name="connsiteY7255" fmla="*/ 4941258 h 5973007"/>
              <a:gd name="connsiteX7256" fmla="*/ 1324789 w 6884782"/>
              <a:gd name="connsiteY7256" fmla="*/ 4940548 h 5973007"/>
              <a:gd name="connsiteX7257" fmla="*/ 1321846 w 6884782"/>
              <a:gd name="connsiteY7257" fmla="*/ 4967911 h 5973007"/>
              <a:gd name="connsiteX7258" fmla="*/ 1324789 w 6884782"/>
              <a:gd name="connsiteY7258" fmla="*/ 4940548 h 5973007"/>
              <a:gd name="connsiteX7259" fmla="*/ 1093684 w 6884782"/>
              <a:gd name="connsiteY7259" fmla="*/ 4940341 h 5973007"/>
              <a:gd name="connsiteX7260" fmla="*/ 1107780 w 6884782"/>
              <a:gd name="connsiteY7260" fmla="*/ 4949428 h 5973007"/>
              <a:gd name="connsiteX7261" fmla="*/ 1107315 w 6884782"/>
              <a:gd name="connsiteY7261" fmla="*/ 4968220 h 5973007"/>
              <a:gd name="connsiteX7262" fmla="*/ 1102203 w 6884782"/>
              <a:gd name="connsiteY7262" fmla="*/ 4969046 h 5973007"/>
              <a:gd name="connsiteX7263" fmla="*/ 1093684 w 6884782"/>
              <a:gd name="connsiteY7263" fmla="*/ 4959341 h 5973007"/>
              <a:gd name="connsiteX7264" fmla="*/ 1092135 w 6884782"/>
              <a:gd name="connsiteY7264" fmla="*/ 4953248 h 5973007"/>
              <a:gd name="connsiteX7265" fmla="*/ 1091516 w 6884782"/>
              <a:gd name="connsiteY7265" fmla="*/ 4942407 h 5973007"/>
              <a:gd name="connsiteX7266" fmla="*/ 1093684 w 6884782"/>
              <a:gd name="connsiteY7266" fmla="*/ 4940341 h 5973007"/>
              <a:gd name="connsiteX7267" fmla="*/ 2001531 w 6884782"/>
              <a:gd name="connsiteY7267" fmla="*/ 4940238 h 5973007"/>
              <a:gd name="connsiteX7268" fmla="*/ 2005713 w 6884782"/>
              <a:gd name="connsiteY7268" fmla="*/ 4944988 h 5973007"/>
              <a:gd name="connsiteX7269" fmla="*/ 2002770 w 6884782"/>
              <a:gd name="connsiteY7269" fmla="*/ 4946846 h 5973007"/>
              <a:gd name="connsiteX7270" fmla="*/ 2000292 w 6884782"/>
              <a:gd name="connsiteY7270" fmla="*/ 4945297 h 5973007"/>
              <a:gd name="connsiteX7271" fmla="*/ 2001531 w 6884782"/>
              <a:gd name="connsiteY7271" fmla="*/ 4940238 h 5973007"/>
              <a:gd name="connsiteX7272" fmla="*/ 2227370 w 6884782"/>
              <a:gd name="connsiteY7272" fmla="*/ 4939928 h 5973007"/>
              <a:gd name="connsiteX7273" fmla="*/ 2226285 w 6884782"/>
              <a:gd name="connsiteY7273" fmla="*/ 4944058 h 5973007"/>
              <a:gd name="connsiteX7274" fmla="*/ 2224737 w 6884782"/>
              <a:gd name="connsiteY7274" fmla="*/ 4940341 h 5973007"/>
              <a:gd name="connsiteX7275" fmla="*/ 2227370 w 6884782"/>
              <a:gd name="connsiteY7275" fmla="*/ 4939928 h 5973007"/>
              <a:gd name="connsiteX7276" fmla="*/ 1594309 w 6884782"/>
              <a:gd name="connsiteY7276" fmla="*/ 4939618 h 5973007"/>
              <a:gd name="connsiteX7277" fmla="*/ 1589817 w 6884782"/>
              <a:gd name="connsiteY7277" fmla="*/ 4943336 h 5973007"/>
              <a:gd name="connsiteX7278" fmla="*/ 1589197 w 6884782"/>
              <a:gd name="connsiteY7278" fmla="*/ 4946020 h 5973007"/>
              <a:gd name="connsiteX7279" fmla="*/ 1584550 w 6884782"/>
              <a:gd name="connsiteY7279" fmla="*/ 4947982 h 5973007"/>
              <a:gd name="connsiteX7280" fmla="*/ 1583776 w 6884782"/>
              <a:gd name="connsiteY7280" fmla="*/ 4943749 h 5973007"/>
              <a:gd name="connsiteX7281" fmla="*/ 1590437 w 6884782"/>
              <a:gd name="connsiteY7281" fmla="*/ 4941580 h 5973007"/>
              <a:gd name="connsiteX7282" fmla="*/ 1594309 w 6884782"/>
              <a:gd name="connsiteY7282" fmla="*/ 4939618 h 5973007"/>
              <a:gd name="connsiteX7283" fmla="*/ 1867081 w 6884782"/>
              <a:gd name="connsiteY7283" fmla="*/ 4938379 h 5973007"/>
              <a:gd name="connsiteX7284" fmla="*/ 1874516 w 6884782"/>
              <a:gd name="connsiteY7284" fmla="*/ 4938792 h 5973007"/>
              <a:gd name="connsiteX7285" fmla="*/ 1875446 w 6884782"/>
              <a:gd name="connsiteY7285" fmla="*/ 4941374 h 5973007"/>
              <a:gd name="connsiteX7286" fmla="*/ 1870489 w 6884782"/>
              <a:gd name="connsiteY7286" fmla="*/ 4944265 h 5973007"/>
              <a:gd name="connsiteX7287" fmla="*/ 1868011 w 6884782"/>
              <a:gd name="connsiteY7287" fmla="*/ 4942716 h 5973007"/>
              <a:gd name="connsiteX7288" fmla="*/ 1867081 w 6884782"/>
              <a:gd name="connsiteY7288" fmla="*/ 4938379 h 5973007"/>
              <a:gd name="connsiteX7289" fmla="*/ 2252638 w 6884782"/>
              <a:gd name="connsiteY7289" fmla="*/ 4937863 h 5973007"/>
              <a:gd name="connsiteX7290" fmla="*/ 2257110 w 6884782"/>
              <a:gd name="connsiteY7290" fmla="*/ 4941580 h 5973007"/>
              <a:gd name="connsiteX7291" fmla="*/ 2250604 w 6884782"/>
              <a:gd name="connsiteY7291" fmla="*/ 4950977 h 5973007"/>
              <a:gd name="connsiteX7292" fmla="*/ 2244718 w 6884782"/>
              <a:gd name="connsiteY7292" fmla="*/ 4946950 h 5973007"/>
              <a:gd name="connsiteX7293" fmla="*/ 2245957 w 6884782"/>
              <a:gd name="connsiteY7293" fmla="*/ 4938792 h 5973007"/>
              <a:gd name="connsiteX7294" fmla="*/ 2252638 w 6884782"/>
              <a:gd name="connsiteY7294" fmla="*/ 4937863 h 5973007"/>
              <a:gd name="connsiteX7295" fmla="*/ 1137674 w 6884782"/>
              <a:gd name="connsiteY7295" fmla="*/ 4937244 h 5973007"/>
              <a:gd name="connsiteX7296" fmla="*/ 1139688 w 6884782"/>
              <a:gd name="connsiteY7296" fmla="*/ 4945814 h 5973007"/>
              <a:gd name="connsiteX7297" fmla="*/ 1133802 w 6884782"/>
              <a:gd name="connsiteY7297" fmla="*/ 4940445 h 5973007"/>
              <a:gd name="connsiteX7298" fmla="*/ 1137674 w 6884782"/>
              <a:gd name="connsiteY7298" fmla="*/ 4937244 h 5973007"/>
              <a:gd name="connsiteX7299" fmla="*/ 1489754 w 6884782"/>
              <a:gd name="connsiteY7299" fmla="*/ 4937140 h 5973007"/>
              <a:gd name="connsiteX7300" fmla="*/ 1491922 w 6884782"/>
              <a:gd name="connsiteY7300" fmla="*/ 4940445 h 5973007"/>
              <a:gd name="connsiteX7301" fmla="*/ 1487276 w 6884782"/>
              <a:gd name="connsiteY7301" fmla="*/ 4942510 h 5973007"/>
              <a:gd name="connsiteX7302" fmla="*/ 1485107 w 6884782"/>
              <a:gd name="connsiteY7302" fmla="*/ 4939102 h 5973007"/>
              <a:gd name="connsiteX7303" fmla="*/ 1489754 w 6884782"/>
              <a:gd name="connsiteY7303" fmla="*/ 4937140 h 5973007"/>
              <a:gd name="connsiteX7304" fmla="*/ 2051873 w 6884782"/>
              <a:gd name="connsiteY7304" fmla="*/ 4937037 h 5973007"/>
              <a:gd name="connsiteX7305" fmla="*/ 2034369 w 6884782"/>
              <a:gd name="connsiteY7305" fmla="*/ 4946950 h 5973007"/>
              <a:gd name="connsiteX7306" fmla="*/ 2041805 w 6884782"/>
              <a:gd name="connsiteY7306" fmla="*/ 4939309 h 5973007"/>
              <a:gd name="connsiteX7307" fmla="*/ 2051873 w 6884782"/>
              <a:gd name="connsiteY7307" fmla="*/ 4937037 h 5973007"/>
              <a:gd name="connsiteX7308" fmla="*/ 1027543 w 6884782"/>
              <a:gd name="connsiteY7308" fmla="*/ 4937037 h 5973007"/>
              <a:gd name="connsiteX7309" fmla="*/ 1030641 w 6884782"/>
              <a:gd name="connsiteY7309" fmla="*/ 4938173 h 5973007"/>
              <a:gd name="connsiteX7310" fmla="*/ 1026769 w 6884782"/>
              <a:gd name="connsiteY7310" fmla="*/ 4941993 h 5973007"/>
              <a:gd name="connsiteX7311" fmla="*/ 1027543 w 6884782"/>
              <a:gd name="connsiteY7311" fmla="*/ 4937037 h 5973007"/>
              <a:gd name="connsiteX7312" fmla="*/ 1844001 w 6884782"/>
              <a:gd name="connsiteY7312" fmla="*/ 4936727 h 5973007"/>
              <a:gd name="connsiteX7313" fmla="*/ 1845705 w 6884782"/>
              <a:gd name="connsiteY7313" fmla="*/ 4937760 h 5973007"/>
              <a:gd name="connsiteX7314" fmla="*/ 1845396 w 6884782"/>
              <a:gd name="connsiteY7314" fmla="*/ 4940135 h 5973007"/>
              <a:gd name="connsiteX7315" fmla="*/ 1841368 w 6884782"/>
              <a:gd name="connsiteY7315" fmla="*/ 4942819 h 5973007"/>
              <a:gd name="connsiteX7316" fmla="*/ 1839664 w 6884782"/>
              <a:gd name="connsiteY7316" fmla="*/ 4941683 h 5973007"/>
              <a:gd name="connsiteX7317" fmla="*/ 1844001 w 6884782"/>
              <a:gd name="connsiteY7317" fmla="*/ 4936727 h 5973007"/>
              <a:gd name="connsiteX7318" fmla="*/ 863972 w 6884782"/>
              <a:gd name="connsiteY7318" fmla="*/ 4936727 h 5973007"/>
              <a:gd name="connsiteX7319" fmla="*/ 859325 w 6884782"/>
              <a:gd name="connsiteY7319" fmla="*/ 4946537 h 5973007"/>
              <a:gd name="connsiteX7320" fmla="*/ 863972 w 6884782"/>
              <a:gd name="connsiteY7320" fmla="*/ 4936727 h 5973007"/>
              <a:gd name="connsiteX7321" fmla="*/ 1250594 w 6884782"/>
              <a:gd name="connsiteY7321" fmla="*/ 4936417 h 5973007"/>
              <a:gd name="connsiteX7322" fmla="*/ 1250439 w 6884782"/>
              <a:gd name="connsiteY7322" fmla="*/ 4945504 h 5973007"/>
              <a:gd name="connsiteX7323" fmla="*/ 1247341 w 6884782"/>
              <a:gd name="connsiteY7323" fmla="*/ 4943852 h 5973007"/>
              <a:gd name="connsiteX7324" fmla="*/ 1250594 w 6884782"/>
              <a:gd name="connsiteY7324" fmla="*/ 4936417 h 5973007"/>
              <a:gd name="connsiteX7325" fmla="*/ 2179662 w 6884782"/>
              <a:gd name="connsiteY7325" fmla="*/ 4936314 h 5973007"/>
              <a:gd name="connsiteX7326" fmla="*/ 2179817 w 6884782"/>
              <a:gd name="connsiteY7326" fmla="*/ 4938070 h 5973007"/>
              <a:gd name="connsiteX7327" fmla="*/ 2179352 w 6884782"/>
              <a:gd name="connsiteY7327" fmla="*/ 4937863 h 5973007"/>
              <a:gd name="connsiteX7328" fmla="*/ 2179042 w 6884782"/>
              <a:gd name="connsiteY7328" fmla="*/ 4936727 h 5973007"/>
              <a:gd name="connsiteX7329" fmla="*/ 2179662 w 6884782"/>
              <a:gd name="connsiteY7329" fmla="*/ 4936314 h 5973007"/>
              <a:gd name="connsiteX7330" fmla="*/ 1686782 w 6884782"/>
              <a:gd name="connsiteY7330" fmla="*/ 4936314 h 5973007"/>
              <a:gd name="connsiteX7331" fmla="*/ 1703976 w 6884782"/>
              <a:gd name="connsiteY7331" fmla="*/ 4937863 h 5973007"/>
              <a:gd name="connsiteX7332" fmla="*/ 1717297 w 6884782"/>
              <a:gd name="connsiteY7332" fmla="*/ 4963264 h 5973007"/>
              <a:gd name="connsiteX7333" fmla="*/ 1715438 w 6884782"/>
              <a:gd name="connsiteY7333" fmla="*/ 4964916 h 5973007"/>
              <a:gd name="connsiteX7334" fmla="*/ 1709861 w 6884782"/>
              <a:gd name="connsiteY7334" fmla="*/ 4965536 h 5973007"/>
              <a:gd name="connsiteX7335" fmla="*/ 1686782 w 6884782"/>
              <a:gd name="connsiteY7335" fmla="*/ 4936314 h 5973007"/>
              <a:gd name="connsiteX7336" fmla="*/ 1404096 w 6884782"/>
              <a:gd name="connsiteY7336" fmla="*/ 4934456 h 5973007"/>
              <a:gd name="connsiteX7337" fmla="*/ 1405335 w 6884782"/>
              <a:gd name="connsiteY7337" fmla="*/ 4936108 h 5973007"/>
              <a:gd name="connsiteX7338" fmla="*/ 1404871 w 6884782"/>
              <a:gd name="connsiteY7338" fmla="*/ 4938379 h 5973007"/>
              <a:gd name="connsiteX7339" fmla="*/ 1399449 w 6884782"/>
              <a:gd name="connsiteY7339" fmla="*/ 4944368 h 5973007"/>
              <a:gd name="connsiteX7340" fmla="*/ 1398055 w 6884782"/>
              <a:gd name="connsiteY7340" fmla="*/ 4945504 h 5973007"/>
              <a:gd name="connsiteX7341" fmla="*/ 1396506 w 6884782"/>
              <a:gd name="connsiteY7341" fmla="*/ 4946537 h 5973007"/>
              <a:gd name="connsiteX7342" fmla="*/ 1394803 w 6884782"/>
              <a:gd name="connsiteY7342" fmla="*/ 4946846 h 5973007"/>
              <a:gd name="connsiteX7343" fmla="*/ 1393099 w 6884782"/>
              <a:gd name="connsiteY7343" fmla="*/ 4945504 h 5973007"/>
              <a:gd name="connsiteX7344" fmla="*/ 1404096 w 6884782"/>
              <a:gd name="connsiteY7344" fmla="*/ 4934456 h 5973007"/>
              <a:gd name="connsiteX7345" fmla="*/ 2161694 w 6884782"/>
              <a:gd name="connsiteY7345" fmla="*/ 4934249 h 5973007"/>
              <a:gd name="connsiteX7346" fmla="*/ 2161539 w 6884782"/>
              <a:gd name="connsiteY7346" fmla="*/ 4935488 h 5973007"/>
              <a:gd name="connsiteX7347" fmla="*/ 2155963 w 6884782"/>
              <a:gd name="connsiteY7347" fmla="*/ 4937863 h 5973007"/>
              <a:gd name="connsiteX7348" fmla="*/ 2154259 w 6884782"/>
              <a:gd name="connsiteY7348" fmla="*/ 4938379 h 5973007"/>
              <a:gd name="connsiteX7349" fmla="*/ 2157821 w 6884782"/>
              <a:gd name="connsiteY7349" fmla="*/ 4938999 h 5973007"/>
              <a:gd name="connsiteX7350" fmla="*/ 2163398 w 6884782"/>
              <a:gd name="connsiteY7350" fmla="*/ 4943439 h 5973007"/>
              <a:gd name="connsiteX7351" fmla="*/ 2162469 w 6884782"/>
              <a:gd name="connsiteY7351" fmla="*/ 4963574 h 5973007"/>
              <a:gd name="connsiteX7352" fmla="*/ 2142332 w 6884782"/>
              <a:gd name="connsiteY7352" fmla="*/ 4954074 h 5973007"/>
              <a:gd name="connsiteX7353" fmla="*/ 2141248 w 6884782"/>
              <a:gd name="connsiteY7353" fmla="*/ 4947363 h 5973007"/>
              <a:gd name="connsiteX7354" fmla="*/ 2145120 w 6884782"/>
              <a:gd name="connsiteY7354" fmla="*/ 4940445 h 5973007"/>
              <a:gd name="connsiteX7355" fmla="*/ 2147444 w 6884782"/>
              <a:gd name="connsiteY7355" fmla="*/ 4939412 h 5973007"/>
              <a:gd name="connsiteX7356" fmla="*/ 2147133 w 6884782"/>
              <a:gd name="connsiteY7356" fmla="*/ 4938276 h 5973007"/>
              <a:gd name="connsiteX7357" fmla="*/ 2147753 w 6884782"/>
              <a:gd name="connsiteY7357" fmla="*/ 4939309 h 5973007"/>
              <a:gd name="connsiteX7358" fmla="*/ 2150696 w 6884782"/>
              <a:gd name="connsiteY7358" fmla="*/ 4938070 h 5973007"/>
              <a:gd name="connsiteX7359" fmla="*/ 2151006 w 6884782"/>
              <a:gd name="connsiteY7359" fmla="*/ 4937244 h 5973007"/>
              <a:gd name="connsiteX7360" fmla="*/ 2154104 w 6884782"/>
              <a:gd name="connsiteY7360" fmla="*/ 4935798 h 5973007"/>
              <a:gd name="connsiteX7361" fmla="*/ 2161694 w 6884782"/>
              <a:gd name="connsiteY7361" fmla="*/ 4934249 h 5973007"/>
              <a:gd name="connsiteX7362" fmla="*/ 2201347 w 6884782"/>
              <a:gd name="connsiteY7362" fmla="*/ 4934043 h 5973007"/>
              <a:gd name="connsiteX7363" fmla="*/ 2213120 w 6884782"/>
              <a:gd name="connsiteY7363" fmla="*/ 4939618 h 5973007"/>
              <a:gd name="connsiteX7364" fmla="*/ 2210641 w 6884782"/>
              <a:gd name="connsiteY7364" fmla="*/ 4939825 h 5973007"/>
              <a:gd name="connsiteX7365" fmla="*/ 2201347 w 6884782"/>
              <a:gd name="connsiteY7365" fmla="*/ 4934043 h 5973007"/>
              <a:gd name="connsiteX7366" fmla="*/ 1799236 w 6884782"/>
              <a:gd name="connsiteY7366" fmla="*/ 4931565 h 5973007"/>
              <a:gd name="connsiteX7367" fmla="*/ 1800011 w 6884782"/>
              <a:gd name="connsiteY7367" fmla="*/ 4933630 h 5973007"/>
              <a:gd name="connsiteX7368" fmla="*/ 1800940 w 6884782"/>
              <a:gd name="connsiteY7368" fmla="*/ 4933113 h 5973007"/>
              <a:gd name="connsiteX7369" fmla="*/ 1806517 w 6884782"/>
              <a:gd name="connsiteY7369" fmla="*/ 4938792 h 5973007"/>
              <a:gd name="connsiteX7370" fmla="*/ 1805587 w 6884782"/>
              <a:gd name="connsiteY7370" fmla="*/ 4942303 h 5973007"/>
              <a:gd name="connsiteX7371" fmla="*/ 1810079 w 6884782"/>
              <a:gd name="connsiteY7371" fmla="*/ 4945711 h 5973007"/>
              <a:gd name="connsiteX7372" fmla="*/ 1814106 w 6884782"/>
              <a:gd name="connsiteY7372" fmla="*/ 4949635 h 5973007"/>
              <a:gd name="connsiteX7373" fmla="*/ 1816430 w 6884782"/>
              <a:gd name="connsiteY7373" fmla="*/ 4956966 h 5973007"/>
              <a:gd name="connsiteX7374" fmla="*/ 1794125 w 6884782"/>
              <a:gd name="connsiteY7374" fmla="*/ 4977410 h 5973007"/>
              <a:gd name="connsiteX7375" fmla="*/ 1780494 w 6884782"/>
              <a:gd name="connsiteY7375" fmla="*/ 4966775 h 5973007"/>
              <a:gd name="connsiteX7376" fmla="*/ 1780494 w 6884782"/>
              <a:gd name="connsiteY7376" fmla="*/ 4957482 h 5973007"/>
              <a:gd name="connsiteX7377" fmla="*/ 1799236 w 6884782"/>
              <a:gd name="connsiteY7377" fmla="*/ 4931565 h 5973007"/>
              <a:gd name="connsiteX7378" fmla="*/ 2148838 w 6884782"/>
              <a:gd name="connsiteY7378" fmla="*/ 4930842 h 5973007"/>
              <a:gd name="connsiteX7379" fmla="*/ 2148063 w 6884782"/>
              <a:gd name="connsiteY7379" fmla="*/ 4935488 h 5973007"/>
              <a:gd name="connsiteX7380" fmla="*/ 2148373 w 6884782"/>
              <a:gd name="connsiteY7380" fmla="*/ 4937450 h 5973007"/>
              <a:gd name="connsiteX7381" fmla="*/ 2146669 w 6884782"/>
              <a:gd name="connsiteY7381" fmla="*/ 4936417 h 5973007"/>
              <a:gd name="connsiteX7382" fmla="*/ 2147753 w 6884782"/>
              <a:gd name="connsiteY7382" fmla="*/ 4933630 h 5973007"/>
              <a:gd name="connsiteX7383" fmla="*/ 2146049 w 6884782"/>
              <a:gd name="connsiteY7383" fmla="*/ 4932597 h 5973007"/>
              <a:gd name="connsiteX7384" fmla="*/ 2146205 w 6884782"/>
              <a:gd name="connsiteY7384" fmla="*/ 4931358 h 5973007"/>
              <a:gd name="connsiteX7385" fmla="*/ 2148838 w 6884782"/>
              <a:gd name="connsiteY7385" fmla="*/ 4930842 h 5973007"/>
              <a:gd name="connsiteX7386" fmla="*/ 924382 w 6884782"/>
              <a:gd name="connsiteY7386" fmla="*/ 4930532 h 5973007"/>
              <a:gd name="connsiteX7387" fmla="*/ 928565 w 6884782"/>
              <a:gd name="connsiteY7387" fmla="*/ 4930532 h 5973007"/>
              <a:gd name="connsiteX7388" fmla="*/ 929959 w 6884782"/>
              <a:gd name="connsiteY7388" fmla="*/ 4932287 h 5973007"/>
              <a:gd name="connsiteX7389" fmla="*/ 929959 w 6884782"/>
              <a:gd name="connsiteY7389" fmla="*/ 4933216 h 5973007"/>
              <a:gd name="connsiteX7390" fmla="*/ 928100 w 6884782"/>
              <a:gd name="connsiteY7390" fmla="*/ 4933940 h 5973007"/>
              <a:gd name="connsiteX7391" fmla="*/ 919890 w 6884782"/>
              <a:gd name="connsiteY7391" fmla="*/ 4933010 h 5973007"/>
              <a:gd name="connsiteX7392" fmla="*/ 918186 w 6884782"/>
              <a:gd name="connsiteY7392" fmla="*/ 4933010 h 5973007"/>
              <a:gd name="connsiteX7393" fmla="*/ 916792 w 6884782"/>
              <a:gd name="connsiteY7393" fmla="*/ 4931255 h 5973007"/>
              <a:gd name="connsiteX7394" fmla="*/ 924382 w 6884782"/>
              <a:gd name="connsiteY7394" fmla="*/ 4930532 h 5973007"/>
              <a:gd name="connsiteX7395" fmla="*/ 1834088 w 6884782"/>
              <a:gd name="connsiteY7395" fmla="*/ 4930429 h 5973007"/>
              <a:gd name="connsiteX7396" fmla="*/ 1837496 w 6884782"/>
              <a:gd name="connsiteY7396" fmla="*/ 4931358 h 5973007"/>
              <a:gd name="connsiteX7397" fmla="*/ 1835327 w 6884782"/>
              <a:gd name="connsiteY7397" fmla="*/ 4933940 h 5973007"/>
              <a:gd name="connsiteX7398" fmla="*/ 1834088 w 6884782"/>
              <a:gd name="connsiteY7398" fmla="*/ 4932907 h 5973007"/>
              <a:gd name="connsiteX7399" fmla="*/ 1834088 w 6884782"/>
              <a:gd name="connsiteY7399" fmla="*/ 4930429 h 5973007"/>
              <a:gd name="connsiteX7400" fmla="*/ 1170164 w 6884782"/>
              <a:gd name="connsiteY7400" fmla="*/ 4930416 h 5973007"/>
              <a:gd name="connsiteX7401" fmla="*/ 1176088 w 6884782"/>
              <a:gd name="connsiteY7401" fmla="*/ 4932287 h 5973007"/>
              <a:gd name="connsiteX7402" fmla="*/ 1177328 w 6884782"/>
              <a:gd name="connsiteY7402" fmla="*/ 4937553 h 5973007"/>
              <a:gd name="connsiteX7403" fmla="*/ 1172216 w 6884782"/>
              <a:gd name="connsiteY7403" fmla="*/ 4938999 h 5973007"/>
              <a:gd name="connsiteX7404" fmla="*/ 1167260 w 6884782"/>
              <a:gd name="connsiteY7404" fmla="*/ 4937760 h 5973007"/>
              <a:gd name="connsiteX7405" fmla="*/ 1170164 w 6884782"/>
              <a:gd name="connsiteY7405" fmla="*/ 4930416 h 5973007"/>
              <a:gd name="connsiteX7406" fmla="*/ 1941741 w 6884782"/>
              <a:gd name="connsiteY7406" fmla="*/ 4929603 h 5973007"/>
              <a:gd name="connsiteX7407" fmla="*/ 1950415 w 6884782"/>
              <a:gd name="connsiteY7407" fmla="*/ 4944781 h 5973007"/>
              <a:gd name="connsiteX7408" fmla="*/ 1947163 w 6884782"/>
              <a:gd name="connsiteY7408" fmla="*/ 4945297 h 5973007"/>
              <a:gd name="connsiteX7409" fmla="*/ 1937559 w 6884782"/>
              <a:gd name="connsiteY7409" fmla="*/ 4939825 h 5973007"/>
              <a:gd name="connsiteX7410" fmla="*/ 1936784 w 6884782"/>
              <a:gd name="connsiteY7410" fmla="*/ 4938276 h 5973007"/>
              <a:gd name="connsiteX7411" fmla="*/ 1933532 w 6884782"/>
              <a:gd name="connsiteY7411" fmla="*/ 4939825 h 5973007"/>
              <a:gd name="connsiteX7412" fmla="*/ 1933996 w 6884782"/>
              <a:gd name="connsiteY7412" fmla="*/ 4938586 h 5973007"/>
              <a:gd name="connsiteX7413" fmla="*/ 1935701 w 6884782"/>
              <a:gd name="connsiteY7413" fmla="*/ 4937967 h 5973007"/>
              <a:gd name="connsiteX7414" fmla="*/ 1936630 w 6884782"/>
              <a:gd name="connsiteY7414" fmla="*/ 4937760 h 5973007"/>
              <a:gd name="connsiteX7415" fmla="*/ 1935701 w 6884782"/>
              <a:gd name="connsiteY7415" fmla="*/ 4936005 h 5973007"/>
              <a:gd name="connsiteX7416" fmla="*/ 1941741 w 6884782"/>
              <a:gd name="connsiteY7416" fmla="*/ 4929603 h 5973007"/>
              <a:gd name="connsiteX7417" fmla="*/ 1856393 w 6884782"/>
              <a:gd name="connsiteY7417" fmla="*/ 4929086 h 5973007"/>
              <a:gd name="connsiteX7418" fmla="*/ 1860731 w 6884782"/>
              <a:gd name="connsiteY7418" fmla="*/ 4932597 h 5973007"/>
              <a:gd name="connsiteX7419" fmla="*/ 1861040 w 6884782"/>
              <a:gd name="connsiteY7419" fmla="*/ 4936417 h 5973007"/>
              <a:gd name="connsiteX7420" fmla="*/ 1862434 w 6884782"/>
              <a:gd name="connsiteY7420" fmla="*/ 4935282 h 5973007"/>
              <a:gd name="connsiteX7421" fmla="*/ 1866461 w 6884782"/>
              <a:gd name="connsiteY7421" fmla="*/ 4938792 h 5973007"/>
              <a:gd name="connsiteX7422" fmla="*/ 1862899 w 6884782"/>
              <a:gd name="connsiteY7422" fmla="*/ 4939928 h 5973007"/>
              <a:gd name="connsiteX7423" fmla="*/ 1861195 w 6884782"/>
              <a:gd name="connsiteY7423" fmla="*/ 4938379 h 5973007"/>
              <a:gd name="connsiteX7424" fmla="*/ 1861350 w 6884782"/>
              <a:gd name="connsiteY7424" fmla="*/ 4939102 h 5973007"/>
              <a:gd name="connsiteX7425" fmla="*/ 1856393 w 6884782"/>
              <a:gd name="connsiteY7425" fmla="*/ 4940651 h 5973007"/>
              <a:gd name="connsiteX7426" fmla="*/ 1855154 w 6884782"/>
              <a:gd name="connsiteY7426" fmla="*/ 4942923 h 5973007"/>
              <a:gd name="connsiteX7427" fmla="*/ 1852676 w 6884782"/>
              <a:gd name="connsiteY7427" fmla="*/ 4933630 h 5973007"/>
              <a:gd name="connsiteX7428" fmla="*/ 1853296 w 6884782"/>
              <a:gd name="connsiteY7428" fmla="*/ 4932804 h 5973007"/>
              <a:gd name="connsiteX7429" fmla="*/ 1853296 w 6884782"/>
              <a:gd name="connsiteY7429" fmla="*/ 4930429 h 5973007"/>
              <a:gd name="connsiteX7430" fmla="*/ 1856393 w 6884782"/>
              <a:gd name="connsiteY7430" fmla="*/ 4929086 h 5973007"/>
              <a:gd name="connsiteX7431" fmla="*/ 1733096 w 6884782"/>
              <a:gd name="connsiteY7431" fmla="*/ 4929022 h 5973007"/>
              <a:gd name="connsiteX7432" fmla="*/ 1745642 w 6884782"/>
              <a:gd name="connsiteY7432" fmla="*/ 4931151 h 5973007"/>
              <a:gd name="connsiteX7433" fmla="*/ 1729068 w 6884782"/>
              <a:gd name="connsiteY7433" fmla="*/ 4940548 h 5973007"/>
              <a:gd name="connsiteX7434" fmla="*/ 1724267 w 6884782"/>
              <a:gd name="connsiteY7434" fmla="*/ 4937657 h 5973007"/>
              <a:gd name="connsiteX7435" fmla="*/ 1733096 w 6884782"/>
              <a:gd name="connsiteY7435" fmla="*/ 4929022 h 5973007"/>
              <a:gd name="connsiteX7436" fmla="*/ 2115535 w 6884782"/>
              <a:gd name="connsiteY7436" fmla="*/ 4928983 h 5973007"/>
              <a:gd name="connsiteX7437" fmla="*/ 2125293 w 6884782"/>
              <a:gd name="connsiteY7437" fmla="*/ 4932701 h 5973007"/>
              <a:gd name="connsiteX7438" fmla="*/ 2126223 w 6884782"/>
              <a:gd name="connsiteY7438" fmla="*/ 4935591 h 5973007"/>
              <a:gd name="connsiteX7439" fmla="*/ 2128856 w 6884782"/>
              <a:gd name="connsiteY7439" fmla="*/ 4935488 h 5973007"/>
              <a:gd name="connsiteX7440" fmla="*/ 2142952 w 6884782"/>
              <a:gd name="connsiteY7440" fmla="*/ 4929293 h 5973007"/>
              <a:gd name="connsiteX7441" fmla="*/ 2144810 w 6884782"/>
              <a:gd name="connsiteY7441" fmla="*/ 4929190 h 5973007"/>
              <a:gd name="connsiteX7442" fmla="*/ 2146205 w 6884782"/>
              <a:gd name="connsiteY7442" fmla="*/ 4931358 h 5973007"/>
              <a:gd name="connsiteX7443" fmla="*/ 2138924 w 6884782"/>
              <a:gd name="connsiteY7443" fmla="*/ 4935488 h 5973007"/>
              <a:gd name="connsiteX7444" fmla="*/ 2137530 w 6884782"/>
              <a:gd name="connsiteY7444" fmla="*/ 4936727 h 5973007"/>
              <a:gd name="connsiteX7445" fmla="*/ 2138150 w 6884782"/>
              <a:gd name="connsiteY7445" fmla="*/ 4940445 h 5973007"/>
              <a:gd name="connsiteX7446" fmla="*/ 2138305 w 6884782"/>
              <a:gd name="connsiteY7446" fmla="*/ 4946950 h 5973007"/>
              <a:gd name="connsiteX7447" fmla="*/ 2130095 w 6884782"/>
              <a:gd name="connsiteY7447" fmla="*/ 4956862 h 5973007"/>
              <a:gd name="connsiteX7448" fmla="*/ 2127307 w 6884782"/>
              <a:gd name="connsiteY7448" fmla="*/ 4956966 h 5973007"/>
              <a:gd name="connsiteX7449" fmla="*/ 2126532 w 6884782"/>
              <a:gd name="connsiteY7449" fmla="*/ 4959547 h 5973007"/>
              <a:gd name="connsiteX7450" fmla="*/ 2117394 w 6884782"/>
              <a:gd name="connsiteY7450" fmla="*/ 4963058 h 5973007"/>
              <a:gd name="connsiteX7451" fmla="*/ 2113986 w 6884782"/>
              <a:gd name="connsiteY7451" fmla="*/ 4963058 h 5973007"/>
              <a:gd name="connsiteX7452" fmla="*/ 2109339 w 6884782"/>
              <a:gd name="connsiteY7452" fmla="*/ 4956552 h 5973007"/>
              <a:gd name="connsiteX7453" fmla="*/ 2109339 w 6884782"/>
              <a:gd name="connsiteY7453" fmla="*/ 4953248 h 5973007"/>
              <a:gd name="connsiteX7454" fmla="*/ 2118013 w 6884782"/>
              <a:gd name="connsiteY7454" fmla="*/ 4953455 h 5973007"/>
              <a:gd name="connsiteX7455" fmla="*/ 2115690 w 6884782"/>
              <a:gd name="connsiteY7455" fmla="*/ 4953248 h 5973007"/>
              <a:gd name="connsiteX7456" fmla="*/ 2114760 w 6884782"/>
              <a:gd name="connsiteY7456" fmla="*/ 4951183 h 5973007"/>
              <a:gd name="connsiteX7457" fmla="*/ 2116619 w 6884782"/>
              <a:gd name="connsiteY7457" fmla="*/ 4946640 h 5973007"/>
              <a:gd name="connsiteX7458" fmla="*/ 2115380 w 6884782"/>
              <a:gd name="connsiteY7458" fmla="*/ 4943852 h 5973007"/>
              <a:gd name="connsiteX7459" fmla="*/ 2113986 w 6884782"/>
              <a:gd name="connsiteY7459" fmla="*/ 4942613 h 5973007"/>
              <a:gd name="connsiteX7460" fmla="*/ 2112282 w 6884782"/>
              <a:gd name="connsiteY7460" fmla="*/ 4943749 h 5973007"/>
              <a:gd name="connsiteX7461" fmla="*/ 2110268 w 6884782"/>
              <a:gd name="connsiteY7461" fmla="*/ 4943749 h 5973007"/>
              <a:gd name="connsiteX7462" fmla="*/ 2110733 w 6884782"/>
              <a:gd name="connsiteY7462" fmla="*/ 4944472 h 5973007"/>
              <a:gd name="connsiteX7463" fmla="*/ 2110113 w 6884782"/>
              <a:gd name="connsiteY7463" fmla="*/ 4943749 h 5973007"/>
              <a:gd name="connsiteX7464" fmla="*/ 2109959 w 6884782"/>
              <a:gd name="connsiteY7464" fmla="*/ 4945297 h 5973007"/>
              <a:gd name="connsiteX7465" fmla="*/ 2111043 w 6884782"/>
              <a:gd name="connsiteY7465" fmla="*/ 4946124 h 5973007"/>
              <a:gd name="connsiteX7466" fmla="*/ 2111663 w 6884782"/>
              <a:gd name="connsiteY7466" fmla="*/ 4948912 h 5973007"/>
              <a:gd name="connsiteX7467" fmla="*/ 2110733 w 6884782"/>
              <a:gd name="connsiteY7467" fmla="*/ 4949738 h 5973007"/>
              <a:gd name="connsiteX7468" fmla="*/ 2109184 w 6884782"/>
              <a:gd name="connsiteY7468" fmla="*/ 4949324 h 5973007"/>
              <a:gd name="connsiteX7469" fmla="*/ 2108100 w 6884782"/>
              <a:gd name="connsiteY7469" fmla="*/ 4948705 h 5973007"/>
              <a:gd name="connsiteX7470" fmla="*/ 2107790 w 6884782"/>
              <a:gd name="connsiteY7470" fmla="*/ 4949221 h 5973007"/>
              <a:gd name="connsiteX7471" fmla="*/ 2104692 w 6884782"/>
              <a:gd name="connsiteY7471" fmla="*/ 4950770 h 5973007"/>
              <a:gd name="connsiteX7472" fmla="*/ 2104382 w 6884782"/>
              <a:gd name="connsiteY7472" fmla="*/ 4941890 h 5973007"/>
              <a:gd name="connsiteX7473" fmla="*/ 2108409 w 6884782"/>
              <a:gd name="connsiteY7473" fmla="*/ 4937553 h 5973007"/>
              <a:gd name="connsiteX7474" fmla="*/ 2109029 w 6884782"/>
              <a:gd name="connsiteY7474" fmla="*/ 4935695 h 5973007"/>
              <a:gd name="connsiteX7475" fmla="*/ 2108409 w 6884782"/>
              <a:gd name="connsiteY7475" fmla="*/ 4932597 h 5973007"/>
              <a:gd name="connsiteX7476" fmla="*/ 2115535 w 6884782"/>
              <a:gd name="connsiteY7476" fmla="*/ 4928983 h 5973007"/>
              <a:gd name="connsiteX7477" fmla="*/ 1922070 w 6884782"/>
              <a:gd name="connsiteY7477" fmla="*/ 4928467 h 5973007"/>
              <a:gd name="connsiteX7478" fmla="*/ 1931363 w 6884782"/>
              <a:gd name="connsiteY7478" fmla="*/ 4930532 h 5973007"/>
              <a:gd name="connsiteX7479" fmla="*/ 1929349 w 6884782"/>
              <a:gd name="connsiteY7479" fmla="*/ 4952939 h 5973007"/>
              <a:gd name="connsiteX7480" fmla="*/ 1928265 w 6884782"/>
              <a:gd name="connsiteY7480" fmla="*/ 4964400 h 5973007"/>
              <a:gd name="connsiteX7481" fmla="*/ 1931673 w 6884782"/>
              <a:gd name="connsiteY7481" fmla="*/ 4964400 h 5973007"/>
              <a:gd name="connsiteX7482" fmla="*/ 1943135 w 6884782"/>
              <a:gd name="connsiteY7482" fmla="*/ 4968117 h 5973007"/>
              <a:gd name="connsiteX7483" fmla="*/ 1946079 w 6884782"/>
              <a:gd name="connsiteY7483" fmla="*/ 4970285 h 5973007"/>
              <a:gd name="connsiteX7484" fmla="*/ 1947627 w 6884782"/>
              <a:gd name="connsiteY7484" fmla="*/ 4969873 h 5973007"/>
              <a:gd name="connsiteX7485" fmla="*/ 1948866 w 6884782"/>
              <a:gd name="connsiteY7485" fmla="*/ 4969976 h 5973007"/>
              <a:gd name="connsiteX7486" fmla="*/ 1949176 w 6884782"/>
              <a:gd name="connsiteY7486" fmla="*/ 4969666 h 5973007"/>
              <a:gd name="connsiteX7487" fmla="*/ 1950260 w 6884782"/>
              <a:gd name="connsiteY7487" fmla="*/ 4969150 h 5973007"/>
              <a:gd name="connsiteX7488" fmla="*/ 1950105 w 6884782"/>
              <a:gd name="connsiteY7488" fmla="*/ 4969976 h 5973007"/>
              <a:gd name="connsiteX7489" fmla="*/ 1950105 w 6884782"/>
              <a:gd name="connsiteY7489" fmla="*/ 4970079 h 5973007"/>
              <a:gd name="connsiteX7490" fmla="*/ 1952584 w 6884782"/>
              <a:gd name="connsiteY7490" fmla="*/ 4970389 h 5973007"/>
              <a:gd name="connsiteX7491" fmla="*/ 1950105 w 6884782"/>
              <a:gd name="connsiteY7491" fmla="*/ 4976584 h 5973007"/>
              <a:gd name="connsiteX7492" fmla="*/ 1946543 w 6884782"/>
              <a:gd name="connsiteY7492" fmla="*/ 4982057 h 5973007"/>
              <a:gd name="connsiteX7493" fmla="*/ 1946079 w 6884782"/>
              <a:gd name="connsiteY7493" fmla="*/ 4977720 h 5973007"/>
              <a:gd name="connsiteX7494" fmla="*/ 1944374 w 6884782"/>
              <a:gd name="connsiteY7494" fmla="*/ 4978546 h 5973007"/>
              <a:gd name="connsiteX7495" fmla="*/ 1943755 w 6884782"/>
              <a:gd name="connsiteY7495" fmla="*/ 4975965 h 5973007"/>
              <a:gd name="connsiteX7496" fmla="*/ 1942361 w 6884782"/>
              <a:gd name="connsiteY7496" fmla="*/ 4976171 h 5973007"/>
              <a:gd name="connsiteX7497" fmla="*/ 1936939 w 6884782"/>
              <a:gd name="connsiteY7497" fmla="*/ 4975345 h 5973007"/>
              <a:gd name="connsiteX7498" fmla="*/ 1936939 w 6884782"/>
              <a:gd name="connsiteY7498" fmla="*/ 4976791 h 5973007"/>
              <a:gd name="connsiteX7499" fmla="*/ 1940812 w 6884782"/>
              <a:gd name="connsiteY7499" fmla="*/ 4978340 h 5973007"/>
              <a:gd name="connsiteX7500" fmla="*/ 1946543 w 6884782"/>
              <a:gd name="connsiteY7500" fmla="*/ 4982057 h 5973007"/>
              <a:gd name="connsiteX7501" fmla="*/ 1947627 w 6884782"/>
              <a:gd name="connsiteY7501" fmla="*/ 4982780 h 5973007"/>
              <a:gd name="connsiteX7502" fmla="*/ 1955682 w 6884782"/>
              <a:gd name="connsiteY7502" fmla="*/ 4987013 h 5973007"/>
              <a:gd name="connsiteX7503" fmla="*/ 1961723 w 6884782"/>
              <a:gd name="connsiteY7503" fmla="*/ 5005806 h 5973007"/>
              <a:gd name="connsiteX7504" fmla="*/ 1952893 w 6884782"/>
              <a:gd name="connsiteY7504" fmla="*/ 5031413 h 5973007"/>
              <a:gd name="connsiteX7505" fmla="*/ 1925942 w 6884782"/>
              <a:gd name="connsiteY7505" fmla="*/ 5047108 h 5973007"/>
              <a:gd name="connsiteX7506" fmla="*/ 1918043 w 6884782"/>
              <a:gd name="connsiteY7506" fmla="*/ 5043701 h 5973007"/>
              <a:gd name="connsiteX7507" fmla="*/ 1911381 w 6884782"/>
              <a:gd name="connsiteY7507" fmla="*/ 5042255 h 5973007"/>
              <a:gd name="connsiteX7508" fmla="*/ 1912466 w 6884782"/>
              <a:gd name="connsiteY7508" fmla="*/ 5046076 h 5973007"/>
              <a:gd name="connsiteX7509" fmla="*/ 1913705 w 6884782"/>
              <a:gd name="connsiteY7509" fmla="*/ 5052581 h 5973007"/>
              <a:gd name="connsiteX7510" fmla="*/ 1903791 w 6884782"/>
              <a:gd name="connsiteY7510" fmla="*/ 5062390 h 5973007"/>
              <a:gd name="connsiteX7511" fmla="*/ 1902862 w 6884782"/>
              <a:gd name="connsiteY7511" fmla="*/ 5061771 h 5973007"/>
              <a:gd name="connsiteX7512" fmla="*/ 1901158 w 6884782"/>
              <a:gd name="connsiteY7512" fmla="*/ 5060945 h 5973007"/>
              <a:gd name="connsiteX7513" fmla="*/ 1898525 w 6884782"/>
              <a:gd name="connsiteY7513" fmla="*/ 5062080 h 5973007"/>
              <a:gd name="connsiteX7514" fmla="*/ 1896046 w 6884782"/>
              <a:gd name="connsiteY7514" fmla="*/ 5060738 h 5973007"/>
              <a:gd name="connsiteX7515" fmla="*/ 1894653 w 6884782"/>
              <a:gd name="connsiteY7515" fmla="*/ 5056401 h 5973007"/>
              <a:gd name="connsiteX7516" fmla="*/ 1895272 w 6884782"/>
              <a:gd name="connsiteY7516" fmla="*/ 5055678 h 5973007"/>
              <a:gd name="connsiteX7517" fmla="*/ 1893878 w 6884782"/>
              <a:gd name="connsiteY7517" fmla="*/ 5050516 h 5973007"/>
              <a:gd name="connsiteX7518" fmla="*/ 1894343 w 6884782"/>
              <a:gd name="connsiteY7518" fmla="*/ 5047315 h 5973007"/>
              <a:gd name="connsiteX7519" fmla="*/ 1893103 w 6884782"/>
              <a:gd name="connsiteY7519" fmla="*/ 5052271 h 5973007"/>
              <a:gd name="connsiteX7520" fmla="*/ 1892329 w 6884782"/>
              <a:gd name="connsiteY7520" fmla="*/ 5054026 h 5973007"/>
              <a:gd name="connsiteX7521" fmla="*/ 1893258 w 6884782"/>
              <a:gd name="connsiteY7521" fmla="*/ 5054026 h 5973007"/>
              <a:gd name="connsiteX7522" fmla="*/ 1892329 w 6884782"/>
              <a:gd name="connsiteY7522" fmla="*/ 5054956 h 5973007"/>
              <a:gd name="connsiteX7523" fmla="*/ 1892174 w 6884782"/>
              <a:gd name="connsiteY7523" fmla="*/ 5055162 h 5973007"/>
              <a:gd name="connsiteX7524" fmla="*/ 1892174 w 6884782"/>
              <a:gd name="connsiteY7524" fmla="*/ 5055988 h 5973007"/>
              <a:gd name="connsiteX7525" fmla="*/ 1889696 w 6884782"/>
              <a:gd name="connsiteY7525" fmla="*/ 5058879 h 5973007"/>
              <a:gd name="connsiteX7526" fmla="*/ 1888921 w 6884782"/>
              <a:gd name="connsiteY7526" fmla="*/ 5058776 h 5973007"/>
              <a:gd name="connsiteX7527" fmla="*/ 1889076 w 6884782"/>
              <a:gd name="connsiteY7527" fmla="*/ 5063629 h 5973007"/>
              <a:gd name="connsiteX7528" fmla="*/ 1888767 w 6884782"/>
              <a:gd name="connsiteY7528" fmla="*/ 5064972 h 5973007"/>
              <a:gd name="connsiteX7529" fmla="*/ 1889231 w 6884782"/>
              <a:gd name="connsiteY7529" fmla="*/ 5065384 h 5973007"/>
              <a:gd name="connsiteX7530" fmla="*/ 1888612 w 6884782"/>
              <a:gd name="connsiteY7530" fmla="*/ 5066107 h 5973007"/>
              <a:gd name="connsiteX7531" fmla="*/ 1887837 w 6884782"/>
              <a:gd name="connsiteY7531" fmla="*/ 5070444 h 5973007"/>
              <a:gd name="connsiteX7532" fmla="*/ 1884120 w 6884782"/>
              <a:gd name="connsiteY7532" fmla="*/ 5073748 h 5973007"/>
              <a:gd name="connsiteX7533" fmla="*/ 1883346 w 6884782"/>
              <a:gd name="connsiteY7533" fmla="*/ 5067966 h 5973007"/>
              <a:gd name="connsiteX7534" fmla="*/ 1883035 w 6884782"/>
              <a:gd name="connsiteY7534" fmla="*/ 5067553 h 5973007"/>
              <a:gd name="connsiteX7535" fmla="*/ 1883191 w 6884782"/>
              <a:gd name="connsiteY7535" fmla="*/ 5067243 h 5973007"/>
              <a:gd name="connsiteX7536" fmla="*/ 1882571 w 6884782"/>
              <a:gd name="connsiteY7536" fmla="*/ 5060325 h 5973007"/>
              <a:gd name="connsiteX7537" fmla="*/ 1883655 w 6884782"/>
              <a:gd name="connsiteY7537" fmla="*/ 5053820 h 5973007"/>
              <a:gd name="connsiteX7538" fmla="*/ 1882726 w 6884782"/>
              <a:gd name="connsiteY7538" fmla="*/ 5053613 h 5973007"/>
              <a:gd name="connsiteX7539" fmla="*/ 1870489 w 6884782"/>
              <a:gd name="connsiteY7539" fmla="*/ 5052994 h 5973007"/>
              <a:gd name="connsiteX7540" fmla="*/ 1872193 w 6884782"/>
              <a:gd name="connsiteY7540" fmla="*/ 5044320 h 5973007"/>
              <a:gd name="connsiteX7541" fmla="*/ 1884120 w 6884782"/>
              <a:gd name="connsiteY7541" fmla="*/ 5038538 h 5973007"/>
              <a:gd name="connsiteX7542" fmla="*/ 1884275 w 6884782"/>
              <a:gd name="connsiteY7542" fmla="*/ 5038641 h 5973007"/>
              <a:gd name="connsiteX7543" fmla="*/ 1889231 w 6884782"/>
              <a:gd name="connsiteY7543" fmla="*/ 5038641 h 5973007"/>
              <a:gd name="connsiteX7544" fmla="*/ 1890006 w 6884782"/>
              <a:gd name="connsiteY7544" fmla="*/ 5040293 h 5973007"/>
              <a:gd name="connsiteX7545" fmla="*/ 1892949 w 6884782"/>
              <a:gd name="connsiteY7545" fmla="*/ 5039467 h 5973007"/>
              <a:gd name="connsiteX7546" fmla="*/ 1894807 w 6884782"/>
              <a:gd name="connsiteY7546" fmla="*/ 5045869 h 5973007"/>
              <a:gd name="connsiteX7547" fmla="*/ 1905031 w 6884782"/>
              <a:gd name="connsiteY7547" fmla="*/ 5041016 h 5973007"/>
              <a:gd name="connsiteX7548" fmla="*/ 1907354 w 6884782"/>
              <a:gd name="connsiteY7548" fmla="*/ 5041636 h 5973007"/>
              <a:gd name="connsiteX7549" fmla="*/ 1908593 w 6884782"/>
              <a:gd name="connsiteY7549" fmla="*/ 5041636 h 5973007"/>
              <a:gd name="connsiteX7550" fmla="*/ 1900384 w 6884782"/>
              <a:gd name="connsiteY7550" fmla="*/ 5038744 h 5973007"/>
              <a:gd name="connsiteX7551" fmla="*/ 1894498 w 6884782"/>
              <a:gd name="connsiteY7551" fmla="*/ 5032343 h 5973007"/>
              <a:gd name="connsiteX7552" fmla="*/ 1894033 w 6884782"/>
              <a:gd name="connsiteY7552" fmla="*/ 5020158 h 5973007"/>
              <a:gd name="connsiteX7553" fmla="*/ 1893878 w 6884782"/>
              <a:gd name="connsiteY7553" fmla="*/ 5019745 h 5973007"/>
              <a:gd name="connsiteX7554" fmla="*/ 1893723 w 6884782"/>
              <a:gd name="connsiteY7554" fmla="*/ 5020055 h 5973007"/>
              <a:gd name="connsiteX7555" fmla="*/ 1893258 w 6884782"/>
              <a:gd name="connsiteY7555" fmla="*/ 5019436 h 5973007"/>
              <a:gd name="connsiteX7556" fmla="*/ 1892484 w 6884782"/>
              <a:gd name="connsiteY7556" fmla="*/ 5018610 h 5973007"/>
              <a:gd name="connsiteX7557" fmla="*/ 1892329 w 6884782"/>
              <a:gd name="connsiteY7557" fmla="*/ 5018300 h 5973007"/>
              <a:gd name="connsiteX7558" fmla="*/ 1892949 w 6884782"/>
              <a:gd name="connsiteY7558" fmla="*/ 5017267 h 5973007"/>
              <a:gd name="connsiteX7559" fmla="*/ 1892329 w 6884782"/>
              <a:gd name="connsiteY7559" fmla="*/ 5015821 h 5973007"/>
              <a:gd name="connsiteX7560" fmla="*/ 1890935 w 6884782"/>
              <a:gd name="connsiteY7560" fmla="*/ 5011175 h 5973007"/>
              <a:gd name="connsiteX7561" fmla="*/ 1896046 w 6884782"/>
              <a:gd name="connsiteY7561" fmla="*/ 4999817 h 5973007"/>
              <a:gd name="connsiteX7562" fmla="*/ 1898215 w 6884782"/>
              <a:gd name="connsiteY7562" fmla="*/ 4996513 h 5973007"/>
              <a:gd name="connsiteX7563" fmla="*/ 1899765 w 6884782"/>
              <a:gd name="connsiteY7563" fmla="*/ 4993518 h 5973007"/>
              <a:gd name="connsiteX7564" fmla="*/ 1899919 w 6884782"/>
              <a:gd name="connsiteY7564" fmla="*/ 4993209 h 5973007"/>
              <a:gd name="connsiteX7565" fmla="*/ 1901003 w 6884782"/>
              <a:gd name="connsiteY7565" fmla="*/ 4986084 h 5973007"/>
              <a:gd name="connsiteX7566" fmla="*/ 1905185 w 6884782"/>
              <a:gd name="connsiteY7566" fmla="*/ 4980198 h 5973007"/>
              <a:gd name="connsiteX7567" fmla="*/ 1912311 w 6884782"/>
              <a:gd name="connsiteY7567" fmla="*/ 4978133 h 5973007"/>
              <a:gd name="connsiteX7568" fmla="*/ 1914789 w 6884782"/>
              <a:gd name="connsiteY7568" fmla="*/ 4979372 h 5973007"/>
              <a:gd name="connsiteX7569" fmla="*/ 1924547 w 6884782"/>
              <a:gd name="connsiteY7569" fmla="*/ 4975345 h 5973007"/>
              <a:gd name="connsiteX7570" fmla="*/ 1924858 w 6884782"/>
              <a:gd name="connsiteY7570" fmla="*/ 4975345 h 5973007"/>
              <a:gd name="connsiteX7571" fmla="*/ 1926096 w 6884782"/>
              <a:gd name="connsiteY7571" fmla="*/ 4974313 h 5973007"/>
              <a:gd name="connsiteX7572" fmla="*/ 1925477 w 6884782"/>
              <a:gd name="connsiteY7572" fmla="*/ 4972661 h 5973007"/>
              <a:gd name="connsiteX7573" fmla="*/ 1917887 w 6884782"/>
              <a:gd name="connsiteY7573" fmla="*/ 4964710 h 5973007"/>
              <a:gd name="connsiteX7574" fmla="*/ 1923308 w 6884782"/>
              <a:gd name="connsiteY7574" fmla="*/ 4964607 h 5973007"/>
              <a:gd name="connsiteX7575" fmla="*/ 1922844 w 6884782"/>
              <a:gd name="connsiteY7575" fmla="*/ 4963367 h 5973007"/>
              <a:gd name="connsiteX7576" fmla="*/ 1921449 w 6884782"/>
              <a:gd name="connsiteY7576" fmla="*/ 4955107 h 5973007"/>
              <a:gd name="connsiteX7577" fmla="*/ 1921449 w 6884782"/>
              <a:gd name="connsiteY7577" fmla="*/ 4950254 h 5973007"/>
              <a:gd name="connsiteX7578" fmla="*/ 1919746 w 6884782"/>
              <a:gd name="connsiteY7578" fmla="*/ 4951700 h 5973007"/>
              <a:gd name="connsiteX7579" fmla="*/ 1912775 w 6884782"/>
              <a:gd name="connsiteY7579" fmla="*/ 4953248 h 5973007"/>
              <a:gd name="connsiteX7580" fmla="*/ 1912466 w 6884782"/>
              <a:gd name="connsiteY7580" fmla="*/ 4945297 h 5973007"/>
              <a:gd name="connsiteX7581" fmla="*/ 1916338 w 6884782"/>
              <a:gd name="connsiteY7581" fmla="*/ 4942407 h 5973007"/>
              <a:gd name="connsiteX7582" fmla="*/ 1919746 w 6884782"/>
              <a:gd name="connsiteY7582" fmla="*/ 4942716 h 5973007"/>
              <a:gd name="connsiteX7583" fmla="*/ 1921604 w 6884782"/>
              <a:gd name="connsiteY7583" fmla="*/ 4942716 h 5973007"/>
              <a:gd name="connsiteX7584" fmla="*/ 824009 w 6884782"/>
              <a:gd name="connsiteY7584" fmla="*/ 4927950 h 5973007"/>
              <a:gd name="connsiteX7585" fmla="*/ 828191 w 6884782"/>
              <a:gd name="connsiteY7585" fmla="*/ 4927950 h 5973007"/>
              <a:gd name="connsiteX7586" fmla="*/ 841048 w 6884782"/>
              <a:gd name="connsiteY7586" fmla="*/ 4931668 h 5973007"/>
              <a:gd name="connsiteX7587" fmla="*/ 835162 w 6884782"/>
              <a:gd name="connsiteY7587" fmla="*/ 4932597 h 5973007"/>
              <a:gd name="connsiteX7588" fmla="*/ 821996 w 6884782"/>
              <a:gd name="connsiteY7588" fmla="*/ 4932287 h 5973007"/>
              <a:gd name="connsiteX7589" fmla="*/ 820446 w 6884782"/>
              <a:gd name="connsiteY7589" fmla="*/ 4930532 h 5973007"/>
              <a:gd name="connsiteX7590" fmla="*/ 819672 w 6884782"/>
              <a:gd name="connsiteY7590" fmla="*/ 4930532 h 5973007"/>
              <a:gd name="connsiteX7591" fmla="*/ 819053 w 6884782"/>
              <a:gd name="connsiteY7591" fmla="*/ 4929603 h 5973007"/>
              <a:gd name="connsiteX7592" fmla="*/ 819053 w 6884782"/>
              <a:gd name="connsiteY7592" fmla="*/ 4928777 h 5973007"/>
              <a:gd name="connsiteX7593" fmla="*/ 824009 w 6884782"/>
              <a:gd name="connsiteY7593" fmla="*/ 4927950 h 5973007"/>
              <a:gd name="connsiteX7594" fmla="*/ 2214978 w 6884782"/>
              <a:gd name="connsiteY7594" fmla="*/ 4927538 h 5973007"/>
              <a:gd name="connsiteX7595" fmla="*/ 2219935 w 6884782"/>
              <a:gd name="connsiteY7595" fmla="*/ 4935385 h 5973007"/>
              <a:gd name="connsiteX7596" fmla="*/ 2215443 w 6884782"/>
              <a:gd name="connsiteY7596" fmla="*/ 4935488 h 5973007"/>
              <a:gd name="connsiteX7597" fmla="*/ 2206923 w 6884782"/>
              <a:gd name="connsiteY7597" fmla="*/ 4927950 h 5973007"/>
              <a:gd name="connsiteX7598" fmla="*/ 2214978 w 6884782"/>
              <a:gd name="connsiteY7598" fmla="*/ 4927538 h 5973007"/>
              <a:gd name="connsiteX7599" fmla="*/ 2182295 w 6884782"/>
              <a:gd name="connsiteY7599" fmla="*/ 4927228 h 5973007"/>
              <a:gd name="connsiteX7600" fmla="*/ 2184154 w 6884782"/>
              <a:gd name="connsiteY7600" fmla="*/ 4930739 h 5973007"/>
              <a:gd name="connsiteX7601" fmla="*/ 2179197 w 6884782"/>
              <a:gd name="connsiteY7601" fmla="*/ 4932184 h 5973007"/>
              <a:gd name="connsiteX7602" fmla="*/ 2177494 w 6884782"/>
              <a:gd name="connsiteY7602" fmla="*/ 4928673 h 5973007"/>
              <a:gd name="connsiteX7603" fmla="*/ 2182295 w 6884782"/>
              <a:gd name="connsiteY7603" fmla="*/ 4927228 h 5973007"/>
              <a:gd name="connsiteX7604" fmla="*/ 1566582 w 6884782"/>
              <a:gd name="connsiteY7604" fmla="*/ 4926918 h 5973007"/>
              <a:gd name="connsiteX7605" fmla="*/ 1567821 w 6884782"/>
              <a:gd name="connsiteY7605" fmla="*/ 4935798 h 5973007"/>
              <a:gd name="connsiteX7606" fmla="*/ 1566582 w 6884782"/>
              <a:gd name="connsiteY7606" fmla="*/ 4926918 h 5973007"/>
              <a:gd name="connsiteX7607" fmla="*/ 1005393 w 6884782"/>
              <a:gd name="connsiteY7607" fmla="*/ 4926918 h 5973007"/>
              <a:gd name="connsiteX7608" fmla="*/ 1002450 w 6884782"/>
              <a:gd name="connsiteY7608" fmla="*/ 4933423 h 5973007"/>
              <a:gd name="connsiteX7609" fmla="*/ 999817 w 6884782"/>
              <a:gd name="connsiteY7609" fmla="*/ 4933320 h 5973007"/>
              <a:gd name="connsiteX7610" fmla="*/ 1005393 w 6884782"/>
              <a:gd name="connsiteY7610" fmla="*/ 4926918 h 5973007"/>
              <a:gd name="connsiteX7611" fmla="*/ 1848648 w 6884782"/>
              <a:gd name="connsiteY7611" fmla="*/ 4926505 h 5973007"/>
              <a:gd name="connsiteX7612" fmla="*/ 1849733 w 6884782"/>
              <a:gd name="connsiteY7612" fmla="*/ 4928157 h 5973007"/>
              <a:gd name="connsiteX7613" fmla="*/ 1851281 w 6884782"/>
              <a:gd name="connsiteY7613" fmla="*/ 4932494 h 5973007"/>
              <a:gd name="connsiteX7614" fmla="*/ 1848803 w 6884782"/>
              <a:gd name="connsiteY7614" fmla="*/ 4934249 h 5973007"/>
              <a:gd name="connsiteX7615" fmla="*/ 1845241 w 6884782"/>
              <a:gd name="connsiteY7615" fmla="*/ 4932907 h 5973007"/>
              <a:gd name="connsiteX7616" fmla="*/ 1841058 w 6884782"/>
              <a:gd name="connsiteY7616" fmla="*/ 4926918 h 5973007"/>
              <a:gd name="connsiteX7617" fmla="*/ 1848648 w 6884782"/>
              <a:gd name="connsiteY7617" fmla="*/ 4926505 h 5973007"/>
              <a:gd name="connsiteX7618" fmla="*/ 1537462 w 6884782"/>
              <a:gd name="connsiteY7618" fmla="*/ 4925885 h 5973007"/>
              <a:gd name="connsiteX7619" fmla="*/ 1541799 w 6884782"/>
              <a:gd name="connsiteY7619" fmla="*/ 4928673 h 5973007"/>
              <a:gd name="connsiteX7620" fmla="*/ 1542418 w 6884782"/>
              <a:gd name="connsiteY7620" fmla="*/ 4931048 h 5973007"/>
              <a:gd name="connsiteX7621" fmla="*/ 1547220 w 6884782"/>
              <a:gd name="connsiteY7621" fmla="*/ 4932907 h 5973007"/>
              <a:gd name="connsiteX7622" fmla="*/ 1549543 w 6884782"/>
              <a:gd name="connsiteY7622" fmla="*/ 4937967 h 5973007"/>
              <a:gd name="connsiteX7623" fmla="*/ 1547220 w 6884782"/>
              <a:gd name="connsiteY7623" fmla="*/ 4938999 h 5973007"/>
              <a:gd name="connsiteX7624" fmla="*/ 1542418 w 6884782"/>
              <a:gd name="connsiteY7624" fmla="*/ 4936831 h 5973007"/>
              <a:gd name="connsiteX7625" fmla="*/ 1541489 w 6884782"/>
              <a:gd name="connsiteY7625" fmla="*/ 4938999 h 5973007"/>
              <a:gd name="connsiteX7626" fmla="*/ 1538391 w 6884782"/>
              <a:gd name="connsiteY7626" fmla="*/ 4941168 h 5973007"/>
              <a:gd name="connsiteX7627" fmla="*/ 1537152 w 6884782"/>
              <a:gd name="connsiteY7627" fmla="*/ 4941168 h 5973007"/>
              <a:gd name="connsiteX7628" fmla="*/ 1537462 w 6884782"/>
              <a:gd name="connsiteY7628" fmla="*/ 4942200 h 5973007"/>
              <a:gd name="connsiteX7629" fmla="*/ 1534828 w 6884782"/>
              <a:gd name="connsiteY7629" fmla="*/ 4943542 h 5973007"/>
              <a:gd name="connsiteX7630" fmla="*/ 1533899 w 6884782"/>
              <a:gd name="connsiteY7630" fmla="*/ 4945091 h 5973007"/>
              <a:gd name="connsiteX7631" fmla="*/ 1531111 w 6884782"/>
              <a:gd name="connsiteY7631" fmla="*/ 4945504 h 5973007"/>
              <a:gd name="connsiteX7632" fmla="*/ 1529717 w 6884782"/>
              <a:gd name="connsiteY7632" fmla="*/ 4943336 h 5973007"/>
              <a:gd name="connsiteX7633" fmla="*/ 1529717 w 6884782"/>
              <a:gd name="connsiteY7633" fmla="*/ 4942923 h 5973007"/>
              <a:gd name="connsiteX7634" fmla="*/ 1528168 w 6884782"/>
              <a:gd name="connsiteY7634" fmla="*/ 4943542 h 5973007"/>
              <a:gd name="connsiteX7635" fmla="*/ 1527239 w 6884782"/>
              <a:gd name="connsiteY7635" fmla="*/ 4941787 h 5973007"/>
              <a:gd name="connsiteX7636" fmla="*/ 1528943 w 6884782"/>
              <a:gd name="connsiteY7636" fmla="*/ 4940445 h 5973007"/>
              <a:gd name="connsiteX7637" fmla="*/ 1528788 w 6884782"/>
              <a:gd name="connsiteY7637" fmla="*/ 4939722 h 5973007"/>
              <a:gd name="connsiteX7638" fmla="*/ 1528943 w 6884782"/>
              <a:gd name="connsiteY7638" fmla="*/ 4936934 h 5973007"/>
              <a:gd name="connsiteX7639" fmla="*/ 1528633 w 6884782"/>
              <a:gd name="connsiteY7639" fmla="*/ 4936727 h 5973007"/>
              <a:gd name="connsiteX7640" fmla="*/ 1528323 w 6884782"/>
              <a:gd name="connsiteY7640" fmla="*/ 4928054 h 5973007"/>
              <a:gd name="connsiteX7641" fmla="*/ 1537462 w 6884782"/>
              <a:gd name="connsiteY7641" fmla="*/ 4925885 h 5973007"/>
              <a:gd name="connsiteX7642" fmla="*/ 1187396 w 6884782"/>
              <a:gd name="connsiteY7642" fmla="*/ 4925266 h 5973007"/>
              <a:gd name="connsiteX7643" fmla="*/ 1194212 w 6884782"/>
              <a:gd name="connsiteY7643" fmla="*/ 4927641 h 5973007"/>
              <a:gd name="connsiteX7644" fmla="*/ 1189565 w 6884782"/>
              <a:gd name="connsiteY7644" fmla="*/ 4939825 h 5973007"/>
              <a:gd name="connsiteX7645" fmla="*/ 1187396 w 6884782"/>
              <a:gd name="connsiteY7645" fmla="*/ 4925266 h 5973007"/>
              <a:gd name="connsiteX7646" fmla="*/ 1610263 w 6884782"/>
              <a:gd name="connsiteY7646" fmla="*/ 4924749 h 5973007"/>
              <a:gd name="connsiteX7647" fmla="*/ 1610573 w 6884782"/>
              <a:gd name="connsiteY7647" fmla="*/ 4928260 h 5973007"/>
              <a:gd name="connsiteX7648" fmla="*/ 1604377 w 6884782"/>
              <a:gd name="connsiteY7648" fmla="*/ 4931978 h 5973007"/>
              <a:gd name="connsiteX7649" fmla="*/ 1602208 w 6884782"/>
              <a:gd name="connsiteY7649" fmla="*/ 4931358 h 5973007"/>
              <a:gd name="connsiteX7650" fmla="*/ 1602828 w 6884782"/>
              <a:gd name="connsiteY7650" fmla="*/ 4927021 h 5973007"/>
              <a:gd name="connsiteX7651" fmla="*/ 1610263 w 6884782"/>
              <a:gd name="connsiteY7651" fmla="*/ 4924749 h 5973007"/>
              <a:gd name="connsiteX7652" fmla="*/ 2072319 w 6884782"/>
              <a:gd name="connsiteY7652" fmla="*/ 4924543 h 5973007"/>
              <a:gd name="connsiteX7653" fmla="*/ 2087808 w 6884782"/>
              <a:gd name="connsiteY7653" fmla="*/ 4930532 h 5973007"/>
              <a:gd name="connsiteX7654" fmla="*/ 2087034 w 6884782"/>
              <a:gd name="connsiteY7654" fmla="*/ 4932184 h 5973007"/>
              <a:gd name="connsiteX7655" fmla="*/ 2084710 w 6884782"/>
              <a:gd name="connsiteY7655" fmla="*/ 4932701 h 5973007"/>
              <a:gd name="connsiteX7656" fmla="*/ 2076656 w 6884782"/>
              <a:gd name="connsiteY7656" fmla="*/ 4930016 h 5973007"/>
              <a:gd name="connsiteX7657" fmla="*/ 2075726 w 6884782"/>
              <a:gd name="connsiteY7657" fmla="*/ 4929500 h 5973007"/>
              <a:gd name="connsiteX7658" fmla="*/ 2080838 w 6884782"/>
              <a:gd name="connsiteY7658" fmla="*/ 4934146 h 5973007"/>
              <a:gd name="connsiteX7659" fmla="*/ 2086879 w 6884782"/>
              <a:gd name="connsiteY7659" fmla="*/ 4947776 h 5973007"/>
              <a:gd name="connsiteX7660" fmla="*/ 2069066 w 6884782"/>
              <a:gd name="connsiteY7660" fmla="*/ 4929293 h 5973007"/>
              <a:gd name="connsiteX7661" fmla="*/ 2072164 w 6884782"/>
              <a:gd name="connsiteY7661" fmla="*/ 4928260 h 5973007"/>
              <a:gd name="connsiteX7662" fmla="*/ 2074797 w 6884782"/>
              <a:gd name="connsiteY7662" fmla="*/ 4928983 h 5973007"/>
              <a:gd name="connsiteX7663" fmla="*/ 2073248 w 6884782"/>
              <a:gd name="connsiteY7663" fmla="*/ 4928157 h 5973007"/>
              <a:gd name="connsiteX7664" fmla="*/ 2072319 w 6884782"/>
              <a:gd name="connsiteY7664" fmla="*/ 4924543 h 5973007"/>
              <a:gd name="connsiteX7665" fmla="*/ 1413525 w 6884782"/>
              <a:gd name="connsiteY7665" fmla="*/ 4924427 h 5973007"/>
              <a:gd name="connsiteX7666" fmla="*/ 1418811 w 6884782"/>
              <a:gd name="connsiteY7666" fmla="*/ 4929293 h 5973007"/>
              <a:gd name="connsiteX7667" fmla="*/ 1416023 w 6884782"/>
              <a:gd name="connsiteY7667" fmla="*/ 4936314 h 5973007"/>
              <a:gd name="connsiteX7668" fmla="*/ 1410447 w 6884782"/>
              <a:gd name="connsiteY7668" fmla="*/ 4938173 h 5973007"/>
              <a:gd name="connsiteX7669" fmla="*/ 1405955 w 6884782"/>
              <a:gd name="connsiteY7669" fmla="*/ 4935695 h 5973007"/>
              <a:gd name="connsiteX7670" fmla="*/ 1404560 w 6884782"/>
              <a:gd name="connsiteY7670" fmla="*/ 4932081 h 5973007"/>
              <a:gd name="connsiteX7671" fmla="*/ 1404716 w 6884782"/>
              <a:gd name="connsiteY7671" fmla="*/ 4931874 h 5973007"/>
              <a:gd name="connsiteX7672" fmla="*/ 1403477 w 6884782"/>
              <a:gd name="connsiteY7672" fmla="*/ 4932701 h 5973007"/>
              <a:gd name="connsiteX7673" fmla="*/ 1401773 w 6884782"/>
              <a:gd name="connsiteY7673" fmla="*/ 4932701 h 5973007"/>
              <a:gd name="connsiteX7674" fmla="*/ 1400688 w 6884782"/>
              <a:gd name="connsiteY7674" fmla="*/ 4930945 h 5973007"/>
              <a:gd name="connsiteX7675" fmla="*/ 1400224 w 6884782"/>
              <a:gd name="connsiteY7675" fmla="*/ 4927434 h 5973007"/>
              <a:gd name="connsiteX7676" fmla="*/ 1401618 w 6884782"/>
              <a:gd name="connsiteY7676" fmla="*/ 4925576 h 5973007"/>
              <a:gd name="connsiteX7677" fmla="*/ 1403322 w 6884782"/>
              <a:gd name="connsiteY7677" fmla="*/ 4926402 h 5973007"/>
              <a:gd name="connsiteX7678" fmla="*/ 1405025 w 6884782"/>
              <a:gd name="connsiteY7678" fmla="*/ 4926299 h 5973007"/>
              <a:gd name="connsiteX7679" fmla="*/ 1405180 w 6884782"/>
              <a:gd name="connsiteY7679" fmla="*/ 4927124 h 5973007"/>
              <a:gd name="connsiteX7680" fmla="*/ 1405025 w 6884782"/>
              <a:gd name="connsiteY7680" fmla="*/ 4927228 h 5973007"/>
              <a:gd name="connsiteX7681" fmla="*/ 1405645 w 6884782"/>
              <a:gd name="connsiteY7681" fmla="*/ 4927744 h 5973007"/>
              <a:gd name="connsiteX7682" fmla="*/ 1406264 w 6884782"/>
              <a:gd name="connsiteY7682" fmla="*/ 4925369 h 5973007"/>
              <a:gd name="connsiteX7683" fmla="*/ 1413525 w 6884782"/>
              <a:gd name="connsiteY7683" fmla="*/ 4924427 h 5973007"/>
              <a:gd name="connsiteX7684" fmla="*/ 1827118 w 6884782"/>
              <a:gd name="connsiteY7684" fmla="*/ 4924337 h 5973007"/>
              <a:gd name="connsiteX7685" fmla="*/ 1832849 w 6884782"/>
              <a:gd name="connsiteY7685" fmla="*/ 4930119 h 5973007"/>
              <a:gd name="connsiteX7686" fmla="*/ 1828977 w 6884782"/>
              <a:gd name="connsiteY7686" fmla="*/ 4935901 h 5973007"/>
              <a:gd name="connsiteX7687" fmla="*/ 1827273 w 6884782"/>
              <a:gd name="connsiteY7687" fmla="*/ 4934869 h 5973007"/>
              <a:gd name="connsiteX7688" fmla="*/ 1825724 w 6884782"/>
              <a:gd name="connsiteY7688" fmla="*/ 4933320 h 5973007"/>
              <a:gd name="connsiteX7689" fmla="*/ 1824020 w 6884782"/>
              <a:gd name="connsiteY7689" fmla="*/ 4928467 h 5973007"/>
              <a:gd name="connsiteX7690" fmla="*/ 1825724 w 6884782"/>
              <a:gd name="connsiteY7690" fmla="*/ 4925266 h 5973007"/>
              <a:gd name="connsiteX7691" fmla="*/ 1827118 w 6884782"/>
              <a:gd name="connsiteY7691" fmla="*/ 4924337 h 5973007"/>
              <a:gd name="connsiteX7692" fmla="*/ 973484 w 6884782"/>
              <a:gd name="connsiteY7692" fmla="*/ 4923511 h 5973007"/>
              <a:gd name="connsiteX7693" fmla="*/ 979061 w 6884782"/>
              <a:gd name="connsiteY7693" fmla="*/ 4926195 h 5973007"/>
              <a:gd name="connsiteX7694" fmla="*/ 977976 w 6884782"/>
              <a:gd name="connsiteY7694" fmla="*/ 4927950 h 5973007"/>
              <a:gd name="connsiteX7695" fmla="*/ 975498 w 6884782"/>
              <a:gd name="connsiteY7695" fmla="*/ 4929293 h 5973007"/>
              <a:gd name="connsiteX7696" fmla="*/ 973019 w 6884782"/>
              <a:gd name="connsiteY7696" fmla="*/ 4928777 h 5973007"/>
              <a:gd name="connsiteX7697" fmla="*/ 973484 w 6884782"/>
              <a:gd name="connsiteY7697" fmla="*/ 4923511 h 5973007"/>
              <a:gd name="connsiteX7698" fmla="*/ 2172537 w 6884782"/>
              <a:gd name="connsiteY7698" fmla="*/ 4922788 h 5973007"/>
              <a:gd name="connsiteX7699" fmla="*/ 2177184 w 6884782"/>
              <a:gd name="connsiteY7699" fmla="*/ 4927124 h 5973007"/>
              <a:gd name="connsiteX7700" fmla="*/ 2173931 w 6884782"/>
              <a:gd name="connsiteY7700" fmla="*/ 4929293 h 5973007"/>
              <a:gd name="connsiteX7701" fmla="*/ 2169439 w 6884782"/>
              <a:gd name="connsiteY7701" fmla="*/ 4926918 h 5973007"/>
              <a:gd name="connsiteX7702" fmla="*/ 2166341 w 6884782"/>
              <a:gd name="connsiteY7702" fmla="*/ 4925782 h 5973007"/>
              <a:gd name="connsiteX7703" fmla="*/ 2165102 w 6884782"/>
              <a:gd name="connsiteY7703" fmla="*/ 4923304 h 5973007"/>
              <a:gd name="connsiteX7704" fmla="*/ 2172537 w 6884782"/>
              <a:gd name="connsiteY7704" fmla="*/ 4922788 h 5973007"/>
              <a:gd name="connsiteX7705" fmla="*/ 1586718 w 6884782"/>
              <a:gd name="connsiteY7705" fmla="*/ 4921755 h 5973007"/>
              <a:gd name="connsiteX7706" fmla="*/ 1586099 w 6884782"/>
              <a:gd name="connsiteY7706" fmla="*/ 4922478 h 5973007"/>
              <a:gd name="connsiteX7707" fmla="*/ 1585170 w 6884782"/>
              <a:gd name="connsiteY7707" fmla="*/ 4921858 h 5973007"/>
              <a:gd name="connsiteX7708" fmla="*/ 1586718 w 6884782"/>
              <a:gd name="connsiteY7708" fmla="*/ 4921755 h 5973007"/>
              <a:gd name="connsiteX7709" fmla="*/ 1619402 w 6884782"/>
              <a:gd name="connsiteY7709" fmla="*/ 4921549 h 5973007"/>
              <a:gd name="connsiteX7710" fmla="*/ 1619402 w 6884782"/>
              <a:gd name="connsiteY7710" fmla="*/ 4924337 h 5973007"/>
              <a:gd name="connsiteX7711" fmla="*/ 1617853 w 6884782"/>
              <a:gd name="connsiteY7711" fmla="*/ 4925163 h 5973007"/>
              <a:gd name="connsiteX7712" fmla="*/ 1617233 w 6884782"/>
              <a:gd name="connsiteY7712" fmla="*/ 4927744 h 5973007"/>
              <a:gd name="connsiteX7713" fmla="*/ 1615530 w 6884782"/>
              <a:gd name="connsiteY7713" fmla="*/ 4927744 h 5973007"/>
              <a:gd name="connsiteX7714" fmla="*/ 1617079 w 6884782"/>
              <a:gd name="connsiteY7714" fmla="*/ 4922375 h 5973007"/>
              <a:gd name="connsiteX7715" fmla="*/ 1619402 w 6884782"/>
              <a:gd name="connsiteY7715" fmla="*/ 4921549 h 5973007"/>
              <a:gd name="connsiteX7716" fmla="*/ 1482319 w 6884782"/>
              <a:gd name="connsiteY7716" fmla="*/ 4920723 h 5973007"/>
              <a:gd name="connsiteX7717" fmla="*/ 1483868 w 6884782"/>
              <a:gd name="connsiteY7717" fmla="*/ 4933423 h 5973007"/>
              <a:gd name="connsiteX7718" fmla="*/ 1479066 w 6884782"/>
              <a:gd name="connsiteY7718" fmla="*/ 4922478 h 5973007"/>
              <a:gd name="connsiteX7719" fmla="*/ 1482319 w 6884782"/>
              <a:gd name="connsiteY7719" fmla="*/ 4920723 h 5973007"/>
              <a:gd name="connsiteX7720" fmla="*/ 1803961 w 6884782"/>
              <a:gd name="connsiteY7720" fmla="*/ 4920684 h 5973007"/>
              <a:gd name="connsiteX7721" fmla="*/ 1809924 w 6884782"/>
              <a:gd name="connsiteY7721" fmla="*/ 4920929 h 5973007"/>
              <a:gd name="connsiteX7722" fmla="*/ 1810854 w 6884782"/>
              <a:gd name="connsiteY7722" fmla="*/ 4925679 h 5973007"/>
              <a:gd name="connsiteX7723" fmla="*/ 1809150 w 6884782"/>
              <a:gd name="connsiteY7723" fmla="*/ 4927847 h 5973007"/>
              <a:gd name="connsiteX7724" fmla="*/ 1810389 w 6884782"/>
              <a:gd name="connsiteY7724" fmla="*/ 4929809 h 5973007"/>
              <a:gd name="connsiteX7725" fmla="*/ 1808066 w 6884782"/>
              <a:gd name="connsiteY7725" fmla="*/ 4932184 h 5973007"/>
              <a:gd name="connsiteX7726" fmla="*/ 1804503 w 6884782"/>
              <a:gd name="connsiteY7726" fmla="*/ 4930222 h 5973007"/>
              <a:gd name="connsiteX7727" fmla="*/ 1802025 w 6884782"/>
              <a:gd name="connsiteY7727" fmla="*/ 4930016 h 5973007"/>
              <a:gd name="connsiteX7728" fmla="*/ 1796293 w 6884782"/>
              <a:gd name="connsiteY7728" fmla="*/ 4929809 h 5973007"/>
              <a:gd name="connsiteX7729" fmla="*/ 1795209 w 6884782"/>
              <a:gd name="connsiteY7729" fmla="*/ 4925473 h 5973007"/>
              <a:gd name="connsiteX7730" fmla="*/ 1803961 w 6884782"/>
              <a:gd name="connsiteY7730" fmla="*/ 4920684 h 5973007"/>
              <a:gd name="connsiteX7731" fmla="*/ 1092445 w 6884782"/>
              <a:gd name="connsiteY7731" fmla="*/ 4920413 h 5973007"/>
              <a:gd name="connsiteX7732" fmla="*/ 1092599 w 6884782"/>
              <a:gd name="connsiteY7732" fmla="*/ 4921962 h 5973007"/>
              <a:gd name="connsiteX7733" fmla="*/ 1093529 w 6884782"/>
              <a:gd name="connsiteY7733" fmla="*/ 4921962 h 5973007"/>
              <a:gd name="connsiteX7734" fmla="*/ 1092909 w 6884782"/>
              <a:gd name="connsiteY7734" fmla="*/ 4923614 h 5973007"/>
              <a:gd name="connsiteX7735" fmla="*/ 1092135 w 6884782"/>
              <a:gd name="connsiteY7735" fmla="*/ 4923614 h 5973007"/>
              <a:gd name="connsiteX7736" fmla="*/ 1091980 w 6884782"/>
              <a:gd name="connsiteY7736" fmla="*/ 4923923 h 5973007"/>
              <a:gd name="connsiteX7737" fmla="*/ 1090431 w 6884782"/>
              <a:gd name="connsiteY7737" fmla="*/ 4922994 h 5973007"/>
              <a:gd name="connsiteX7738" fmla="*/ 1089347 w 6884782"/>
              <a:gd name="connsiteY7738" fmla="*/ 4921445 h 5973007"/>
              <a:gd name="connsiteX7739" fmla="*/ 1092445 w 6884782"/>
              <a:gd name="connsiteY7739" fmla="*/ 4920413 h 5973007"/>
              <a:gd name="connsiteX7740" fmla="*/ 1311313 w 6884782"/>
              <a:gd name="connsiteY7740" fmla="*/ 4920206 h 5973007"/>
              <a:gd name="connsiteX7741" fmla="*/ 1319988 w 6884782"/>
              <a:gd name="connsiteY7741" fmla="*/ 4925782 h 5973007"/>
              <a:gd name="connsiteX7742" fmla="*/ 1316270 w 6884782"/>
              <a:gd name="connsiteY7742" fmla="*/ 4928467 h 5973007"/>
              <a:gd name="connsiteX7743" fmla="*/ 1311313 w 6884782"/>
              <a:gd name="connsiteY7743" fmla="*/ 4920206 h 5973007"/>
              <a:gd name="connsiteX7744" fmla="*/ 1268910 w 6884782"/>
              <a:gd name="connsiteY7744" fmla="*/ 4919626 h 5973007"/>
              <a:gd name="connsiteX7745" fmla="*/ 1273983 w 6884782"/>
              <a:gd name="connsiteY7745" fmla="*/ 4923304 h 5973007"/>
              <a:gd name="connsiteX7746" fmla="*/ 1272434 w 6884782"/>
              <a:gd name="connsiteY7746" fmla="*/ 4945297 h 5973007"/>
              <a:gd name="connsiteX7747" fmla="*/ 1265619 w 6884782"/>
              <a:gd name="connsiteY7747" fmla="*/ 4935901 h 5973007"/>
              <a:gd name="connsiteX7748" fmla="*/ 1262676 w 6884782"/>
              <a:gd name="connsiteY7748" fmla="*/ 4922065 h 5973007"/>
              <a:gd name="connsiteX7749" fmla="*/ 1268910 w 6884782"/>
              <a:gd name="connsiteY7749" fmla="*/ 4919626 h 5973007"/>
              <a:gd name="connsiteX7750" fmla="*/ 2155866 w 6884782"/>
              <a:gd name="connsiteY7750" fmla="*/ 4919019 h 5973007"/>
              <a:gd name="connsiteX7751" fmla="*/ 2162778 w 6884782"/>
              <a:gd name="connsiteY7751" fmla="*/ 4921033 h 5973007"/>
              <a:gd name="connsiteX7752" fmla="*/ 2163863 w 6884782"/>
              <a:gd name="connsiteY7752" fmla="*/ 4928983 h 5973007"/>
              <a:gd name="connsiteX7753" fmla="*/ 2157512 w 6884782"/>
              <a:gd name="connsiteY7753" fmla="*/ 4931874 h 5973007"/>
              <a:gd name="connsiteX7754" fmla="*/ 2152090 w 6884782"/>
              <a:gd name="connsiteY7754" fmla="*/ 4929706 h 5973007"/>
              <a:gd name="connsiteX7755" fmla="*/ 2155866 w 6884782"/>
              <a:gd name="connsiteY7755" fmla="*/ 4919019 h 5973007"/>
              <a:gd name="connsiteX7756" fmla="*/ 2221019 w 6884782"/>
              <a:gd name="connsiteY7756" fmla="*/ 4918967 h 5973007"/>
              <a:gd name="connsiteX7757" fmla="*/ 2230313 w 6884782"/>
              <a:gd name="connsiteY7757" fmla="*/ 4923098 h 5973007"/>
              <a:gd name="connsiteX7758" fmla="*/ 2231088 w 6884782"/>
              <a:gd name="connsiteY7758" fmla="*/ 4924853 h 5973007"/>
              <a:gd name="connsiteX7759" fmla="*/ 2231088 w 6884782"/>
              <a:gd name="connsiteY7759" fmla="*/ 4924233 h 5973007"/>
              <a:gd name="connsiteX7760" fmla="*/ 2240381 w 6884782"/>
              <a:gd name="connsiteY7760" fmla="*/ 4928983 h 5973007"/>
              <a:gd name="connsiteX7761" fmla="*/ 2242395 w 6884782"/>
              <a:gd name="connsiteY7761" fmla="*/ 4934249 h 5973007"/>
              <a:gd name="connsiteX7762" fmla="*/ 2239916 w 6884782"/>
              <a:gd name="connsiteY7762" fmla="*/ 4935075 h 5973007"/>
              <a:gd name="connsiteX7763" fmla="*/ 2234805 w 6884782"/>
              <a:gd name="connsiteY7763" fmla="*/ 4932184 h 5973007"/>
              <a:gd name="connsiteX7764" fmla="*/ 2232636 w 6884782"/>
              <a:gd name="connsiteY7764" fmla="*/ 4929706 h 5973007"/>
              <a:gd name="connsiteX7765" fmla="*/ 2231862 w 6884782"/>
              <a:gd name="connsiteY7765" fmla="*/ 4934559 h 5973007"/>
              <a:gd name="connsiteX7766" fmla="*/ 2227370 w 6884782"/>
              <a:gd name="connsiteY7766" fmla="*/ 4934766 h 5973007"/>
              <a:gd name="connsiteX7767" fmla="*/ 2215908 w 6884782"/>
              <a:gd name="connsiteY7767" fmla="*/ 4925369 h 5973007"/>
              <a:gd name="connsiteX7768" fmla="*/ 2221019 w 6884782"/>
              <a:gd name="connsiteY7768" fmla="*/ 4918967 h 5973007"/>
              <a:gd name="connsiteX7769" fmla="*/ 1767425 w 6884782"/>
              <a:gd name="connsiteY7769" fmla="*/ 4918967 h 5973007"/>
              <a:gd name="connsiteX7770" fmla="*/ 1777861 w 6884782"/>
              <a:gd name="connsiteY7770" fmla="*/ 4922581 h 5973007"/>
              <a:gd name="connsiteX7771" fmla="*/ 1766708 w 6884782"/>
              <a:gd name="connsiteY7771" fmla="*/ 4933630 h 5973007"/>
              <a:gd name="connsiteX7772" fmla="*/ 1762216 w 6884782"/>
              <a:gd name="connsiteY7772" fmla="*/ 4928364 h 5973007"/>
              <a:gd name="connsiteX7773" fmla="*/ 1767425 w 6884782"/>
              <a:gd name="connsiteY7773" fmla="*/ 4918967 h 5973007"/>
              <a:gd name="connsiteX7774" fmla="*/ 1292261 w 6884782"/>
              <a:gd name="connsiteY7774" fmla="*/ 4918038 h 5973007"/>
              <a:gd name="connsiteX7775" fmla="*/ 1288853 w 6884782"/>
              <a:gd name="connsiteY7775" fmla="*/ 4924337 h 5973007"/>
              <a:gd name="connsiteX7776" fmla="*/ 1286220 w 6884782"/>
              <a:gd name="connsiteY7776" fmla="*/ 4918348 h 5973007"/>
              <a:gd name="connsiteX7777" fmla="*/ 1292261 w 6884782"/>
              <a:gd name="connsiteY7777" fmla="*/ 4918038 h 5973007"/>
              <a:gd name="connsiteX7778" fmla="*/ 774288 w 6884782"/>
              <a:gd name="connsiteY7778" fmla="*/ 4917728 h 5973007"/>
              <a:gd name="connsiteX7779" fmla="*/ 776766 w 6884782"/>
              <a:gd name="connsiteY7779" fmla="*/ 4924027 h 5973007"/>
              <a:gd name="connsiteX7780" fmla="*/ 774133 w 6884782"/>
              <a:gd name="connsiteY7780" fmla="*/ 4924543 h 5973007"/>
              <a:gd name="connsiteX7781" fmla="*/ 771190 w 6884782"/>
              <a:gd name="connsiteY7781" fmla="*/ 4923923 h 5973007"/>
              <a:gd name="connsiteX7782" fmla="*/ 774288 w 6884782"/>
              <a:gd name="connsiteY7782" fmla="*/ 4917728 h 5973007"/>
              <a:gd name="connsiteX7783" fmla="*/ 2101749 w 6884782"/>
              <a:gd name="connsiteY7783" fmla="*/ 4917315 h 5973007"/>
              <a:gd name="connsiteX7784" fmla="*/ 2109494 w 6884782"/>
              <a:gd name="connsiteY7784" fmla="*/ 4923304 h 5973007"/>
              <a:gd name="connsiteX7785" fmla="*/ 2108874 w 6884782"/>
              <a:gd name="connsiteY7785" fmla="*/ 4927331 h 5973007"/>
              <a:gd name="connsiteX7786" fmla="*/ 2104227 w 6884782"/>
              <a:gd name="connsiteY7786" fmla="*/ 4932494 h 5973007"/>
              <a:gd name="connsiteX7787" fmla="*/ 2096018 w 6884782"/>
              <a:gd name="connsiteY7787" fmla="*/ 4925679 h 5973007"/>
              <a:gd name="connsiteX7788" fmla="*/ 2096018 w 6884782"/>
              <a:gd name="connsiteY7788" fmla="*/ 4922065 h 5973007"/>
              <a:gd name="connsiteX7789" fmla="*/ 2101749 w 6884782"/>
              <a:gd name="connsiteY7789" fmla="*/ 4917315 h 5973007"/>
              <a:gd name="connsiteX7790" fmla="*/ 1699793 w 6884782"/>
              <a:gd name="connsiteY7790" fmla="*/ 4917109 h 5973007"/>
              <a:gd name="connsiteX7791" fmla="*/ 1702426 w 6884782"/>
              <a:gd name="connsiteY7791" fmla="*/ 4925266 h 5973007"/>
              <a:gd name="connsiteX7792" fmla="*/ 1693908 w 6884782"/>
              <a:gd name="connsiteY7792" fmla="*/ 4932701 h 5973007"/>
              <a:gd name="connsiteX7793" fmla="*/ 1682755 w 6884782"/>
              <a:gd name="connsiteY7793" fmla="*/ 4928880 h 5973007"/>
              <a:gd name="connsiteX7794" fmla="*/ 1699793 w 6884782"/>
              <a:gd name="connsiteY7794" fmla="*/ 4917109 h 5973007"/>
              <a:gd name="connsiteX7795" fmla="*/ 1302020 w 6884782"/>
              <a:gd name="connsiteY7795" fmla="*/ 4916696 h 5973007"/>
              <a:gd name="connsiteX7796" fmla="*/ 1304033 w 6884782"/>
              <a:gd name="connsiteY7796" fmla="*/ 4918451 h 5973007"/>
              <a:gd name="connsiteX7797" fmla="*/ 1302484 w 6884782"/>
              <a:gd name="connsiteY7797" fmla="*/ 4920516 h 5973007"/>
              <a:gd name="connsiteX7798" fmla="*/ 1300006 w 6884782"/>
              <a:gd name="connsiteY7798" fmla="*/ 4921239 h 5973007"/>
              <a:gd name="connsiteX7799" fmla="*/ 1298922 w 6884782"/>
              <a:gd name="connsiteY7799" fmla="*/ 4920103 h 5973007"/>
              <a:gd name="connsiteX7800" fmla="*/ 1298147 w 6884782"/>
              <a:gd name="connsiteY7800" fmla="*/ 4918141 h 5973007"/>
              <a:gd name="connsiteX7801" fmla="*/ 1302020 w 6884782"/>
              <a:gd name="connsiteY7801" fmla="*/ 4916696 h 5973007"/>
              <a:gd name="connsiteX7802" fmla="*/ 1241455 w 6884782"/>
              <a:gd name="connsiteY7802" fmla="*/ 4915870 h 5973007"/>
              <a:gd name="connsiteX7803" fmla="*/ 1249355 w 6884782"/>
              <a:gd name="connsiteY7803" fmla="*/ 4923923 h 5973007"/>
              <a:gd name="connsiteX7804" fmla="*/ 1254156 w 6884782"/>
              <a:gd name="connsiteY7804" fmla="*/ 4935591 h 5973007"/>
              <a:gd name="connsiteX7805" fmla="*/ 1244089 w 6884782"/>
              <a:gd name="connsiteY7805" fmla="*/ 4928364 h 5973007"/>
              <a:gd name="connsiteX7806" fmla="*/ 1241455 w 6884782"/>
              <a:gd name="connsiteY7806" fmla="*/ 4915870 h 5973007"/>
              <a:gd name="connsiteX7807" fmla="*/ 2127985 w 6884782"/>
              <a:gd name="connsiteY7807" fmla="*/ 4914850 h 5973007"/>
              <a:gd name="connsiteX7808" fmla="*/ 2129011 w 6884782"/>
              <a:gd name="connsiteY7808" fmla="*/ 4921136 h 5973007"/>
              <a:gd name="connsiteX7809" fmla="*/ 2122195 w 6884782"/>
              <a:gd name="connsiteY7809" fmla="*/ 4917935 h 5973007"/>
              <a:gd name="connsiteX7810" fmla="*/ 2127985 w 6884782"/>
              <a:gd name="connsiteY7810" fmla="*/ 4914850 h 5973007"/>
              <a:gd name="connsiteX7811" fmla="*/ 1613361 w 6884782"/>
              <a:gd name="connsiteY7811" fmla="*/ 4914631 h 5973007"/>
              <a:gd name="connsiteX7812" fmla="*/ 1615839 w 6884782"/>
              <a:gd name="connsiteY7812" fmla="*/ 4914734 h 5973007"/>
              <a:gd name="connsiteX7813" fmla="*/ 1615065 w 6884782"/>
              <a:gd name="connsiteY7813" fmla="*/ 4916386 h 5973007"/>
              <a:gd name="connsiteX7814" fmla="*/ 1611812 w 6884782"/>
              <a:gd name="connsiteY7814" fmla="*/ 4920619 h 5973007"/>
              <a:gd name="connsiteX7815" fmla="*/ 1610883 w 6884782"/>
              <a:gd name="connsiteY7815" fmla="*/ 4917935 h 5973007"/>
              <a:gd name="connsiteX7816" fmla="*/ 1612587 w 6884782"/>
              <a:gd name="connsiteY7816" fmla="*/ 4916283 h 5973007"/>
              <a:gd name="connsiteX7817" fmla="*/ 1613361 w 6884782"/>
              <a:gd name="connsiteY7817" fmla="*/ 4914631 h 5973007"/>
              <a:gd name="connsiteX7818" fmla="*/ 1508651 w 6884782"/>
              <a:gd name="connsiteY7818" fmla="*/ 4914527 h 5973007"/>
              <a:gd name="connsiteX7819" fmla="*/ 1510510 w 6884782"/>
              <a:gd name="connsiteY7819" fmla="*/ 4916283 h 5973007"/>
              <a:gd name="connsiteX7820" fmla="*/ 1508651 w 6884782"/>
              <a:gd name="connsiteY7820" fmla="*/ 4918451 h 5973007"/>
              <a:gd name="connsiteX7821" fmla="*/ 1506173 w 6884782"/>
              <a:gd name="connsiteY7821" fmla="*/ 4919071 h 5973007"/>
              <a:gd name="connsiteX7822" fmla="*/ 1505243 w 6884782"/>
              <a:gd name="connsiteY7822" fmla="*/ 4918038 h 5973007"/>
              <a:gd name="connsiteX7823" fmla="*/ 1504624 w 6884782"/>
              <a:gd name="connsiteY7823" fmla="*/ 4916076 h 5973007"/>
              <a:gd name="connsiteX7824" fmla="*/ 1508651 w 6884782"/>
              <a:gd name="connsiteY7824" fmla="*/ 4914527 h 5973007"/>
              <a:gd name="connsiteX7825" fmla="*/ 1388607 w 6884782"/>
              <a:gd name="connsiteY7825" fmla="*/ 4912255 h 5973007"/>
              <a:gd name="connsiteX7826" fmla="*/ 1389226 w 6884782"/>
              <a:gd name="connsiteY7826" fmla="*/ 4912772 h 5973007"/>
              <a:gd name="connsiteX7827" fmla="*/ 1390465 w 6884782"/>
              <a:gd name="connsiteY7827" fmla="*/ 4912462 h 5973007"/>
              <a:gd name="connsiteX7828" fmla="*/ 1392789 w 6884782"/>
              <a:gd name="connsiteY7828" fmla="*/ 4915663 h 5973007"/>
              <a:gd name="connsiteX7829" fmla="*/ 1392944 w 6884782"/>
              <a:gd name="connsiteY7829" fmla="*/ 4916696 h 5973007"/>
              <a:gd name="connsiteX7830" fmla="*/ 1394183 w 6884782"/>
              <a:gd name="connsiteY7830" fmla="*/ 4917418 h 5973007"/>
              <a:gd name="connsiteX7831" fmla="*/ 1394803 w 6884782"/>
              <a:gd name="connsiteY7831" fmla="*/ 4924646 h 5973007"/>
              <a:gd name="connsiteX7832" fmla="*/ 1389381 w 6884782"/>
              <a:gd name="connsiteY7832" fmla="*/ 4925369 h 5973007"/>
              <a:gd name="connsiteX7833" fmla="*/ 1385354 w 6884782"/>
              <a:gd name="connsiteY7833" fmla="*/ 4926195 h 5973007"/>
              <a:gd name="connsiteX7834" fmla="*/ 1386128 w 6884782"/>
              <a:gd name="connsiteY7834" fmla="*/ 4927950 h 5973007"/>
              <a:gd name="connsiteX7835" fmla="*/ 1378228 w 6884782"/>
              <a:gd name="connsiteY7835" fmla="*/ 4935901 h 5973007"/>
              <a:gd name="connsiteX7836" fmla="*/ 1377145 w 6884782"/>
              <a:gd name="connsiteY7836" fmla="*/ 4933216 h 5973007"/>
              <a:gd name="connsiteX7837" fmla="*/ 1378538 w 6884782"/>
              <a:gd name="connsiteY7837" fmla="*/ 4923511 h 5973007"/>
              <a:gd name="connsiteX7838" fmla="*/ 1382101 w 6884782"/>
              <a:gd name="connsiteY7838" fmla="*/ 4923201 h 5973007"/>
              <a:gd name="connsiteX7839" fmla="*/ 1382256 w 6884782"/>
              <a:gd name="connsiteY7839" fmla="*/ 4923304 h 5973007"/>
              <a:gd name="connsiteX7840" fmla="*/ 1382875 w 6884782"/>
              <a:gd name="connsiteY7840" fmla="*/ 4919690 h 5973007"/>
              <a:gd name="connsiteX7841" fmla="*/ 1386283 w 6884782"/>
              <a:gd name="connsiteY7841" fmla="*/ 4916386 h 5973007"/>
              <a:gd name="connsiteX7842" fmla="*/ 1386748 w 6884782"/>
              <a:gd name="connsiteY7842" fmla="*/ 4916283 h 5973007"/>
              <a:gd name="connsiteX7843" fmla="*/ 1386283 w 6884782"/>
              <a:gd name="connsiteY7843" fmla="*/ 4914837 h 5973007"/>
              <a:gd name="connsiteX7844" fmla="*/ 1387832 w 6884782"/>
              <a:gd name="connsiteY7844" fmla="*/ 4913805 h 5973007"/>
              <a:gd name="connsiteX7845" fmla="*/ 1388607 w 6884782"/>
              <a:gd name="connsiteY7845" fmla="*/ 4912255 h 5973007"/>
              <a:gd name="connsiteX7846" fmla="*/ 1355613 w 6884782"/>
              <a:gd name="connsiteY7846" fmla="*/ 4912152 h 5973007"/>
              <a:gd name="connsiteX7847" fmla="*/ 1347869 w 6884782"/>
              <a:gd name="connsiteY7847" fmla="*/ 4929190 h 5973007"/>
              <a:gd name="connsiteX7848" fmla="*/ 1355613 w 6884782"/>
              <a:gd name="connsiteY7848" fmla="*/ 4912152 h 5973007"/>
              <a:gd name="connsiteX7849" fmla="*/ 897585 w 6884782"/>
              <a:gd name="connsiteY7849" fmla="*/ 4911636 h 5973007"/>
              <a:gd name="connsiteX7850" fmla="*/ 898979 w 6884782"/>
              <a:gd name="connsiteY7850" fmla="*/ 4914837 h 5973007"/>
              <a:gd name="connsiteX7851" fmla="*/ 889530 w 6884782"/>
              <a:gd name="connsiteY7851" fmla="*/ 4920206 h 5973007"/>
              <a:gd name="connsiteX7852" fmla="*/ 887826 w 6884782"/>
              <a:gd name="connsiteY7852" fmla="*/ 4915250 h 5973007"/>
              <a:gd name="connsiteX7853" fmla="*/ 897585 w 6884782"/>
              <a:gd name="connsiteY7853" fmla="*/ 4911636 h 5973007"/>
              <a:gd name="connsiteX7854" fmla="*/ 6170865 w 6884782"/>
              <a:gd name="connsiteY7854" fmla="*/ 4911551 h 5973007"/>
              <a:gd name="connsiteX7855" fmla="*/ 6176596 w 6884782"/>
              <a:gd name="connsiteY7855" fmla="*/ 4913409 h 5973007"/>
              <a:gd name="connsiteX7856" fmla="*/ 6177061 w 6884782"/>
              <a:gd name="connsiteY7856" fmla="*/ 4915991 h 5973007"/>
              <a:gd name="connsiteX7857" fmla="*/ 6175822 w 6884782"/>
              <a:gd name="connsiteY7857" fmla="*/ 4921257 h 5973007"/>
              <a:gd name="connsiteX7858" fmla="*/ 6176596 w 6884782"/>
              <a:gd name="connsiteY7858" fmla="*/ 4921257 h 5973007"/>
              <a:gd name="connsiteX7859" fmla="*/ 6171485 w 6884782"/>
              <a:gd name="connsiteY7859" fmla="*/ 4922083 h 5973007"/>
              <a:gd name="connsiteX7860" fmla="*/ 6168542 w 6884782"/>
              <a:gd name="connsiteY7860" fmla="*/ 4918572 h 5973007"/>
              <a:gd name="connsiteX7861" fmla="*/ 6170865 w 6884782"/>
              <a:gd name="connsiteY7861" fmla="*/ 4911551 h 5973007"/>
              <a:gd name="connsiteX7862" fmla="*/ 1575411 w 6884782"/>
              <a:gd name="connsiteY7862" fmla="*/ 4911016 h 5973007"/>
              <a:gd name="connsiteX7863" fmla="*/ 1561471 w 6884782"/>
              <a:gd name="connsiteY7863" fmla="*/ 4918348 h 5973007"/>
              <a:gd name="connsiteX7864" fmla="*/ 1561316 w 6884782"/>
              <a:gd name="connsiteY7864" fmla="*/ 4914734 h 5973007"/>
              <a:gd name="connsiteX7865" fmla="*/ 1563020 w 6884782"/>
              <a:gd name="connsiteY7865" fmla="*/ 4914837 h 5973007"/>
              <a:gd name="connsiteX7866" fmla="*/ 1575411 w 6884782"/>
              <a:gd name="connsiteY7866" fmla="*/ 4911016 h 5973007"/>
              <a:gd name="connsiteX7867" fmla="*/ 1227824 w 6884782"/>
              <a:gd name="connsiteY7867" fmla="*/ 4910810 h 5973007"/>
              <a:gd name="connsiteX7868" fmla="*/ 1231077 w 6884782"/>
              <a:gd name="connsiteY7868" fmla="*/ 4914217 h 5973007"/>
              <a:gd name="connsiteX7869" fmla="*/ 1220854 w 6884782"/>
              <a:gd name="connsiteY7869" fmla="*/ 4928157 h 5973007"/>
              <a:gd name="connsiteX7870" fmla="*/ 1217446 w 6884782"/>
              <a:gd name="connsiteY7870" fmla="*/ 4927744 h 5973007"/>
              <a:gd name="connsiteX7871" fmla="*/ 1227824 w 6884782"/>
              <a:gd name="connsiteY7871" fmla="*/ 4910810 h 5973007"/>
              <a:gd name="connsiteX7872" fmla="*/ 1857168 w 6884782"/>
              <a:gd name="connsiteY7872" fmla="*/ 4910397 h 5973007"/>
              <a:gd name="connsiteX7873" fmla="*/ 1863518 w 6884782"/>
              <a:gd name="connsiteY7873" fmla="*/ 4918657 h 5973007"/>
              <a:gd name="connsiteX7874" fmla="*/ 1861040 w 6884782"/>
              <a:gd name="connsiteY7874" fmla="*/ 4918864 h 5973007"/>
              <a:gd name="connsiteX7875" fmla="*/ 1857168 w 6884782"/>
              <a:gd name="connsiteY7875" fmla="*/ 4910397 h 5973007"/>
              <a:gd name="connsiteX7876" fmla="*/ 1483248 w 6884782"/>
              <a:gd name="connsiteY7876" fmla="*/ 4909571 h 5973007"/>
              <a:gd name="connsiteX7877" fmla="*/ 1485417 w 6884782"/>
              <a:gd name="connsiteY7877" fmla="*/ 4917728 h 5973007"/>
              <a:gd name="connsiteX7878" fmla="*/ 1481235 w 6884782"/>
              <a:gd name="connsiteY7878" fmla="*/ 4919690 h 5973007"/>
              <a:gd name="connsiteX7879" fmla="*/ 1475813 w 6884782"/>
              <a:gd name="connsiteY7879" fmla="*/ 4918761 h 5973007"/>
              <a:gd name="connsiteX7880" fmla="*/ 1483248 w 6884782"/>
              <a:gd name="connsiteY7880" fmla="*/ 4909571 h 5973007"/>
              <a:gd name="connsiteX7881" fmla="*/ 1260662 w 6884782"/>
              <a:gd name="connsiteY7881" fmla="*/ 4908332 h 5973007"/>
              <a:gd name="connsiteX7882" fmla="*/ 1264844 w 6884782"/>
              <a:gd name="connsiteY7882" fmla="*/ 4909261 h 5973007"/>
              <a:gd name="connsiteX7883" fmla="*/ 1261281 w 6884782"/>
              <a:gd name="connsiteY7883" fmla="*/ 4911016 h 5973007"/>
              <a:gd name="connsiteX7884" fmla="*/ 1260662 w 6884782"/>
              <a:gd name="connsiteY7884" fmla="*/ 4908332 h 5973007"/>
              <a:gd name="connsiteX7885" fmla="*/ 6738715 w 6884782"/>
              <a:gd name="connsiteY7885" fmla="*/ 4908246 h 5973007"/>
              <a:gd name="connsiteX7886" fmla="*/ 6742432 w 6884782"/>
              <a:gd name="connsiteY7886" fmla="*/ 4935300 h 5973007"/>
              <a:gd name="connsiteX7887" fmla="*/ 6735617 w 6884782"/>
              <a:gd name="connsiteY7887" fmla="*/ 4939430 h 5973007"/>
              <a:gd name="connsiteX7888" fmla="*/ 6729111 w 6884782"/>
              <a:gd name="connsiteY7888" fmla="*/ 4939533 h 5973007"/>
              <a:gd name="connsiteX7889" fmla="*/ 6715635 w 6884782"/>
              <a:gd name="connsiteY7889" fmla="*/ 4929104 h 5973007"/>
              <a:gd name="connsiteX7890" fmla="*/ 6716255 w 6884782"/>
              <a:gd name="connsiteY7890" fmla="*/ 4924354 h 5973007"/>
              <a:gd name="connsiteX7891" fmla="*/ 6738715 w 6884782"/>
              <a:gd name="connsiteY7891" fmla="*/ 4908246 h 5973007"/>
              <a:gd name="connsiteX7892" fmla="*/ 1208307 w 6884782"/>
              <a:gd name="connsiteY7892" fmla="*/ 4907609 h 5973007"/>
              <a:gd name="connsiteX7893" fmla="*/ 1213574 w 6884782"/>
              <a:gd name="connsiteY7893" fmla="*/ 4912978 h 5973007"/>
              <a:gd name="connsiteX7894" fmla="*/ 1208927 w 6884782"/>
              <a:gd name="connsiteY7894" fmla="*/ 4921962 h 5973007"/>
              <a:gd name="connsiteX7895" fmla="*/ 1205054 w 6884782"/>
              <a:gd name="connsiteY7895" fmla="*/ 4921755 h 5973007"/>
              <a:gd name="connsiteX7896" fmla="*/ 1199633 w 6884782"/>
              <a:gd name="connsiteY7896" fmla="*/ 4917522 h 5973007"/>
              <a:gd name="connsiteX7897" fmla="*/ 1208307 w 6884782"/>
              <a:gd name="connsiteY7897" fmla="*/ 4907609 h 5973007"/>
              <a:gd name="connsiteX7898" fmla="*/ 1581917 w 6884782"/>
              <a:gd name="connsiteY7898" fmla="*/ 4907093 h 5973007"/>
              <a:gd name="connsiteX7899" fmla="*/ 1578665 w 6884782"/>
              <a:gd name="connsiteY7899" fmla="*/ 4909674 h 5973007"/>
              <a:gd name="connsiteX7900" fmla="*/ 1577735 w 6884782"/>
              <a:gd name="connsiteY7900" fmla="*/ 4908642 h 5973007"/>
              <a:gd name="connsiteX7901" fmla="*/ 1581917 w 6884782"/>
              <a:gd name="connsiteY7901" fmla="*/ 4907093 h 5973007"/>
              <a:gd name="connsiteX7902" fmla="*/ 2094934 w 6884782"/>
              <a:gd name="connsiteY7902" fmla="*/ 4906680 h 5973007"/>
              <a:gd name="connsiteX7903" fmla="*/ 2096637 w 6884782"/>
              <a:gd name="connsiteY7903" fmla="*/ 4907609 h 5973007"/>
              <a:gd name="connsiteX7904" fmla="*/ 2098342 w 6884782"/>
              <a:gd name="connsiteY7904" fmla="*/ 4907712 h 5973007"/>
              <a:gd name="connsiteX7905" fmla="*/ 2098342 w 6884782"/>
              <a:gd name="connsiteY7905" fmla="*/ 4908539 h 5973007"/>
              <a:gd name="connsiteX7906" fmla="*/ 2099271 w 6884782"/>
              <a:gd name="connsiteY7906" fmla="*/ 4909468 h 5973007"/>
              <a:gd name="connsiteX7907" fmla="*/ 2097722 w 6884782"/>
              <a:gd name="connsiteY7907" fmla="*/ 4912978 h 5973007"/>
              <a:gd name="connsiteX7908" fmla="*/ 2096173 w 6884782"/>
              <a:gd name="connsiteY7908" fmla="*/ 4913908 h 5973007"/>
              <a:gd name="connsiteX7909" fmla="*/ 2094469 w 6884782"/>
              <a:gd name="connsiteY7909" fmla="*/ 4913701 h 5973007"/>
              <a:gd name="connsiteX7910" fmla="*/ 2093540 w 6884782"/>
              <a:gd name="connsiteY7910" fmla="*/ 4911843 h 5973007"/>
              <a:gd name="connsiteX7911" fmla="*/ 2093385 w 6884782"/>
              <a:gd name="connsiteY7911" fmla="*/ 4908332 h 5973007"/>
              <a:gd name="connsiteX7912" fmla="*/ 2094934 w 6884782"/>
              <a:gd name="connsiteY7912" fmla="*/ 4906680 h 5973007"/>
              <a:gd name="connsiteX7913" fmla="*/ 1568789 w 6884782"/>
              <a:gd name="connsiteY7913" fmla="*/ 4906422 h 5973007"/>
              <a:gd name="connsiteX7914" fmla="*/ 1573397 w 6884782"/>
              <a:gd name="connsiteY7914" fmla="*/ 4906783 h 5973007"/>
              <a:gd name="connsiteX7915" fmla="*/ 1573397 w 6884782"/>
              <a:gd name="connsiteY7915" fmla="*/ 4907609 h 5973007"/>
              <a:gd name="connsiteX7916" fmla="*/ 1564879 w 6884782"/>
              <a:gd name="connsiteY7916" fmla="*/ 4909158 h 5973007"/>
              <a:gd name="connsiteX7917" fmla="*/ 1562555 w 6884782"/>
              <a:gd name="connsiteY7917" fmla="*/ 4908848 h 5973007"/>
              <a:gd name="connsiteX7918" fmla="*/ 1561626 w 6884782"/>
              <a:gd name="connsiteY7918" fmla="*/ 4907919 h 5973007"/>
              <a:gd name="connsiteX7919" fmla="*/ 1568789 w 6884782"/>
              <a:gd name="connsiteY7919" fmla="*/ 4906422 h 5973007"/>
              <a:gd name="connsiteX7920" fmla="*/ 1827273 w 6884782"/>
              <a:gd name="connsiteY7920" fmla="*/ 4906267 h 5973007"/>
              <a:gd name="connsiteX7921" fmla="*/ 1825879 w 6884782"/>
              <a:gd name="connsiteY7921" fmla="*/ 4917832 h 5973007"/>
              <a:gd name="connsiteX7922" fmla="*/ 1822161 w 6884782"/>
              <a:gd name="connsiteY7922" fmla="*/ 4913495 h 5973007"/>
              <a:gd name="connsiteX7923" fmla="*/ 1827273 w 6884782"/>
              <a:gd name="connsiteY7923" fmla="*/ 4906267 h 5973007"/>
              <a:gd name="connsiteX7924" fmla="*/ 1058677 w 6884782"/>
              <a:gd name="connsiteY7924" fmla="*/ 4906267 h 5973007"/>
              <a:gd name="connsiteX7925" fmla="*/ 1067196 w 6884782"/>
              <a:gd name="connsiteY7925" fmla="*/ 4912772 h 5973007"/>
              <a:gd name="connsiteX7926" fmla="*/ 1067507 w 6884782"/>
              <a:gd name="connsiteY7926" fmla="*/ 4915147 h 5973007"/>
              <a:gd name="connsiteX7927" fmla="*/ 1068436 w 6884782"/>
              <a:gd name="connsiteY7927" fmla="*/ 4916799 h 5973007"/>
              <a:gd name="connsiteX7928" fmla="*/ 1067662 w 6884782"/>
              <a:gd name="connsiteY7928" fmla="*/ 4922581 h 5973007"/>
              <a:gd name="connsiteX7929" fmla="*/ 1057438 w 6884782"/>
              <a:gd name="connsiteY7929" fmla="*/ 4909674 h 5973007"/>
              <a:gd name="connsiteX7930" fmla="*/ 1057128 w 6884782"/>
              <a:gd name="connsiteY7930" fmla="*/ 4907816 h 5973007"/>
              <a:gd name="connsiteX7931" fmla="*/ 1058677 w 6884782"/>
              <a:gd name="connsiteY7931" fmla="*/ 4906267 h 5973007"/>
              <a:gd name="connsiteX7932" fmla="*/ 1778325 w 6884782"/>
              <a:gd name="connsiteY7932" fmla="*/ 4905957 h 5973007"/>
              <a:gd name="connsiteX7933" fmla="*/ 1783437 w 6884782"/>
              <a:gd name="connsiteY7933" fmla="*/ 4908848 h 5973007"/>
              <a:gd name="connsiteX7934" fmla="*/ 1780184 w 6884782"/>
              <a:gd name="connsiteY7934" fmla="*/ 4912978 h 5973007"/>
              <a:gd name="connsiteX7935" fmla="*/ 1778325 w 6884782"/>
              <a:gd name="connsiteY7935" fmla="*/ 4905957 h 5973007"/>
              <a:gd name="connsiteX7936" fmla="*/ 1871263 w 6884782"/>
              <a:gd name="connsiteY7936" fmla="*/ 4905131 h 5973007"/>
              <a:gd name="connsiteX7937" fmla="*/ 1877459 w 6884782"/>
              <a:gd name="connsiteY7937" fmla="*/ 4914527 h 5973007"/>
              <a:gd name="connsiteX7938" fmla="*/ 1872193 w 6884782"/>
              <a:gd name="connsiteY7938" fmla="*/ 4914321 h 5973007"/>
              <a:gd name="connsiteX7939" fmla="*/ 1870179 w 6884782"/>
              <a:gd name="connsiteY7939" fmla="*/ 4910190 h 5973007"/>
              <a:gd name="connsiteX7940" fmla="*/ 1871263 w 6884782"/>
              <a:gd name="connsiteY7940" fmla="*/ 4905131 h 5973007"/>
              <a:gd name="connsiteX7941" fmla="*/ 1414164 w 6884782"/>
              <a:gd name="connsiteY7941" fmla="*/ 4903685 h 5973007"/>
              <a:gd name="connsiteX7942" fmla="*/ 1439567 w 6884782"/>
              <a:gd name="connsiteY7942" fmla="*/ 4908848 h 5973007"/>
              <a:gd name="connsiteX7943" fmla="*/ 1433991 w 6884782"/>
              <a:gd name="connsiteY7943" fmla="*/ 4912462 h 5973007"/>
              <a:gd name="connsiteX7944" fmla="*/ 1414164 w 6884782"/>
              <a:gd name="connsiteY7944" fmla="*/ 4903685 h 5973007"/>
              <a:gd name="connsiteX7945" fmla="*/ 2133038 w 6884782"/>
              <a:gd name="connsiteY7945" fmla="*/ 4903479 h 5973007"/>
              <a:gd name="connsiteX7946" fmla="*/ 2132419 w 6884782"/>
              <a:gd name="connsiteY7946" fmla="*/ 4911223 h 5973007"/>
              <a:gd name="connsiteX7947" fmla="*/ 2129941 w 6884782"/>
              <a:gd name="connsiteY7947" fmla="*/ 4911636 h 5973007"/>
              <a:gd name="connsiteX7948" fmla="*/ 2127152 w 6884782"/>
              <a:gd name="connsiteY7948" fmla="*/ 4905854 h 5973007"/>
              <a:gd name="connsiteX7949" fmla="*/ 2128701 w 6884782"/>
              <a:gd name="connsiteY7949" fmla="*/ 4903685 h 5973007"/>
              <a:gd name="connsiteX7950" fmla="*/ 2133038 w 6884782"/>
              <a:gd name="connsiteY7950" fmla="*/ 4903479 h 5973007"/>
              <a:gd name="connsiteX7951" fmla="*/ 986496 w 6884782"/>
              <a:gd name="connsiteY7951" fmla="*/ 4902343 h 5973007"/>
              <a:gd name="connsiteX7952" fmla="*/ 994860 w 6884782"/>
              <a:gd name="connsiteY7952" fmla="*/ 4933630 h 5973007"/>
              <a:gd name="connsiteX7953" fmla="*/ 983552 w 6884782"/>
              <a:gd name="connsiteY7953" fmla="*/ 4920000 h 5973007"/>
              <a:gd name="connsiteX7954" fmla="*/ 986496 w 6884782"/>
              <a:gd name="connsiteY7954" fmla="*/ 4902343 h 5973007"/>
              <a:gd name="connsiteX7955" fmla="*/ 6120834 w 6884782"/>
              <a:gd name="connsiteY7955" fmla="*/ 4901948 h 5973007"/>
              <a:gd name="connsiteX7956" fmla="*/ 6122537 w 6884782"/>
              <a:gd name="connsiteY7956" fmla="*/ 4905975 h 5973007"/>
              <a:gd name="connsiteX7957" fmla="*/ 6110146 w 6884782"/>
              <a:gd name="connsiteY7957" fmla="*/ 4916817 h 5973007"/>
              <a:gd name="connsiteX7958" fmla="*/ 6104414 w 6884782"/>
              <a:gd name="connsiteY7958" fmla="*/ 4915681 h 5973007"/>
              <a:gd name="connsiteX7959" fmla="*/ 6120834 w 6884782"/>
              <a:gd name="connsiteY7959" fmla="*/ 4901948 h 5973007"/>
              <a:gd name="connsiteX7960" fmla="*/ 1160754 w 6884782"/>
              <a:gd name="connsiteY7960" fmla="*/ 4901001 h 5973007"/>
              <a:gd name="connsiteX7961" fmla="*/ 1163542 w 6884782"/>
              <a:gd name="connsiteY7961" fmla="*/ 4904924 h 5973007"/>
              <a:gd name="connsiteX7962" fmla="*/ 1162458 w 6884782"/>
              <a:gd name="connsiteY7962" fmla="*/ 4908229 h 5973007"/>
              <a:gd name="connsiteX7963" fmla="*/ 1163077 w 6884782"/>
              <a:gd name="connsiteY7963" fmla="*/ 4908125 h 5973007"/>
              <a:gd name="connsiteX7964" fmla="*/ 1162923 w 6884782"/>
              <a:gd name="connsiteY7964" fmla="*/ 4908745 h 5973007"/>
              <a:gd name="connsiteX7965" fmla="*/ 1166175 w 6884782"/>
              <a:gd name="connsiteY7965" fmla="*/ 4909778 h 5973007"/>
              <a:gd name="connsiteX7966" fmla="*/ 1163697 w 6884782"/>
              <a:gd name="connsiteY7966" fmla="*/ 4913701 h 5973007"/>
              <a:gd name="connsiteX7967" fmla="*/ 1161374 w 6884782"/>
              <a:gd name="connsiteY7967" fmla="*/ 4911120 h 5973007"/>
              <a:gd name="connsiteX7968" fmla="*/ 1161684 w 6884782"/>
              <a:gd name="connsiteY7968" fmla="*/ 4909674 h 5973007"/>
              <a:gd name="connsiteX7969" fmla="*/ 1162148 w 6884782"/>
              <a:gd name="connsiteY7969" fmla="*/ 4908332 h 5973007"/>
              <a:gd name="connsiteX7970" fmla="*/ 1160754 w 6884782"/>
              <a:gd name="connsiteY7970" fmla="*/ 4907609 h 5973007"/>
              <a:gd name="connsiteX7971" fmla="*/ 1156727 w 6884782"/>
              <a:gd name="connsiteY7971" fmla="*/ 4905441 h 5973007"/>
              <a:gd name="connsiteX7972" fmla="*/ 1160754 w 6884782"/>
              <a:gd name="connsiteY7972" fmla="*/ 4901001 h 5973007"/>
              <a:gd name="connsiteX7973" fmla="*/ 2142545 w 6884782"/>
              <a:gd name="connsiteY7973" fmla="*/ 4900600 h 5973007"/>
              <a:gd name="connsiteX7974" fmla="*/ 2147598 w 6884782"/>
              <a:gd name="connsiteY7974" fmla="*/ 4907196 h 5973007"/>
              <a:gd name="connsiteX7975" fmla="*/ 2141248 w 6884782"/>
              <a:gd name="connsiteY7975" fmla="*/ 4909881 h 5973007"/>
              <a:gd name="connsiteX7976" fmla="*/ 2135516 w 6884782"/>
              <a:gd name="connsiteY7976" fmla="*/ 4906577 h 5973007"/>
              <a:gd name="connsiteX7977" fmla="*/ 2134587 w 6884782"/>
              <a:gd name="connsiteY7977" fmla="*/ 4902446 h 5973007"/>
              <a:gd name="connsiteX7978" fmla="*/ 2142545 w 6884782"/>
              <a:gd name="connsiteY7978" fmla="*/ 4900600 h 5973007"/>
              <a:gd name="connsiteX7979" fmla="*/ 1790601 w 6884782"/>
              <a:gd name="connsiteY7979" fmla="*/ 4900549 h 5973007"/>
              <a:gd name="connsiteX7980" fmla="*/ 1792111 w 6884782"/>
              <a:gd name="connsiteY7980" fmla="*/ 4903479 h 5973007"/>
              <a:gd name="connsiteX7981" fmla="*/ 1790408 w 6884782"/>
              <a:gd name="connsiteY7981" fmla="*/ 4905544 h 5973007"/>
              <a:gd name="connsiteX7982" fmla="*/ 1787000 w 6884782"/>
              <a:gd name="connsiteY7982" fmla="*/ 4901723 h 5973007"/>
              <a:gd name="connsiteX7983" fmla="*/ 1790601 w 6884782"/>
              <a:gd name="connsiteY7983" fmla="*/ 4900549 h 5973007"/>
              <a:gd name="connsiteX7984" fmla="*/ 1735303 w 6884782"/>
              <a:gd name="connsiteY7984" fmla="*/ 4899594 h 5973007"/>
              <a:gd name="connsiteX7985" fmla="*/ 1749670 w 6884782"/>
              <a:gd name="connsiteY7985" fmla="*/ 4902756 h 5973007"/>
              <a:gd name="connsiteX7986" fmla="*/ 1750754 w 6884782"/>
              <a:gd name="connsiteY7986" fmla="*/ 4905338 h 5973007"/>
              <a:gd name="connsiteX7987" fmla="*/ 1727674 w 6884782"/>
              <a:gd name="connsiteY7987" fmla="*/ 4925369 h 5973007"/>
              <a:gd name="connsiteX7988" fmla="*/ 1722253 w 6884782"/>
              <a:gd name="connsiteY7988" fmla="*/ 4924130 h 5973007"/>
              <a:gd name="connsiteX7989" fmla="*/ 1717606 w 6884782"/>
              <a:gd name="connsiteY7989" fmla="*/ 4921445 h 5973007"/>
              <a:gd name="connsiteX7990" fmla="*/ 1716987 w 6884782"/>
              <a:gd name="connsiteY7990" fmla="*/ 4922478 h 5973007"/>
              <a:gd name="connsiteX7991" fmla="*/ 1708932 w 6884782"/>
              <a:gd name="connsiteY7991" fmla="*/ 4921342 h 5973007"/>
              <a:gd name="connsiteX7992" fmla="*/ 1708622 w 6884782"/>
              <a:gd name="connsiteY7992" fmla="*/ 4915044 h 5973007"/>
              <a:gd name="connsiteX7993" fmla="*/ 1713734 w 6884782"/>
              <a:gd name="connsiteY7993" fmla="*/ 4915560 h 5973007"/>
              <a:gd name="connsiteX7994" fmla="*/ 1717606 w 6884782"/>
              <a:gd name="connsiteY7994" fmla="*/ 4918761 h 5973007"/>
              <a:gd name="connsiteX7995" fmla="*/ 1718536 w 6884782"/>
              <a:gd name="connsiteY7995" fmla="*/ 4911946 h 5973007"/>
              <a:gd name="connsiteX7996" fmla="*/ 1723028 w 6884782"/>
              <a:gd name="connsiteY7996" fmla="*/ 4905028 h 5973007"/>
              <a:gd name="connsiteX7997" fmla="*/ 1735303 w 6884782"/>
              <a:gd name="connsiteY7997" fmla="*/ 4899594 h 5973007"/>
              <a:gd name="connsiteX7998" fmla="*/ 6319565 w 6884782"/>
              <a:gd name="connsiteY7998" fmla="*/ 4899573 h 5973007"/>
              <a:gd name="connsiteX7999" fmla="*/ 6324367 w 6884782"/>
              <a:gd name="connsiteY7999" fmla="*/ 4904736 h 5973007"/>
              <a:gd name="connsiteX8000" fmla="*/ 6320030 w 6884782"/>
              <a:gd name="connsiteY8000" fmla="*/ 4906595 h 5973007"/>
              <a:gd name="connsiteX8001" fmla="*/ 6318326 w 6884782"/>
              <a:gd name="connsiteY8001" fmla="*/ 4905872 h 5973007"/>
              <a:gd name="connsiteX8002" fmla="*/ 6319565 w 6884782"/>
              <a:gd name="connsiteY8002" fmla="*/ 4899573 h 5973007"/>
              <a:gd name="connsiteX8003" fmla="*/ 1675009 w 6884782"/>
              <a:gd name="connsiteY8003" fmla="*/ 4898936 h 5973007"/>
              <a:gd name="connsiteX8004" fmla="*/ 1686008 w 6884782"/>
              <a:gd name="connsiteY8004" fmla="*/ 4899762 h 5973007"/>
              <a:gd name="connsiteX8005" fmla="*/ 1681206 w 6884782"/>
              <a:gd name="connsiteY8005" fmla="*/ 4904511 h 5973007"/>
              <a:gd name="connsiteX8006" fmla="*/ 1675009 w 6884782"/>
              <a:gd name="connsiteY8006" fmla="*/ 4898936 h 5973007"/>
              <a:gd name="connsiteX8007" fmla="*/ 1011279 w 6884782"/>
              <a:gd name="connsiteY8007" fmla="*/ 4897903 h 5973007"/>
              <a:gd name="connsiteX8008" fmla="*/ 1011124 w 6884782"/>
              <a:gd name="connsiteY8008" fmla="*/ 4903169 h 5973007"/>
              <a:gd name="connsiteX8009" fmla="*/ 1008956 w 6884782"/>
              <a:gd name="connsiteY8009" fmla="*/ 4904924 h 5973007"/>
              <a:gd name="connsiteX8010" fmla="*/ 1006168 w 6884782"/>
              <a:gd name="connsiteY8010" fmla="*/ 4903376 h 5973007"/>
              <a:gd name="connsiteX8011" fmla="*/ 1004773 w 6884782"/>
              <a:gd name="connsiteY8011" fmla="*/ 4900072 h 5973007"/>
              <a:gd name="connsiteX8012" fmla="*/ 1011279 w 6884782"/>
              <a:gd name="connsiteY8012" fmla="*/ 4897903 h 5973007"/>
              <a:gd name="connsiteX8013" fmla="*/ 1605771 w 6884782"/>
              <a:gd name="connsiteY8013" fmla="*/ 4896974 h 5973007"/>
              <a:gd name="connsiteX8014" fmla="*/ 1600659 w 6884782"/>
              <a:gd name="connsiteY8014" fmla="*/ 4902859 h 5973007"/>
              <a:gd name="connsiteX8015" fmla="*/ 1598646 w 6884782"/>
              <a:gd name="connsiteY8015" fmla="*/ 4902549 h 5973007"/>
              <a:gd name="connsiteX8016" fmla="*/ 1598491 w 6884782"/>
              <a:gd name="connsiteY8016" fmla="*/ 4899968 h 5973007"/>
              <a:gd name="connsiteX8017" fmla="*/ 1605771 w 6884782"/>
              <a:gd name="connsiteY8017" fmla="*/ 4896974 h 5973007"/>
              <a:gd name="connsiteX8018" fmla="*/ 1232781 w 6884782"/>
              <a:gd name="connsiteY8018" fmla="*/ 4896767 h 5973007"/>
              <a:gd name="connsiteX8019" fmla="*/ 1230612 w 6884782"/>
              <a:gd name="connsiteY8019" fmla="*/ 4906783 h 5973007"/>
              <a:gd name="connsiteX8020" fmla="*/ 1225036 w 6884782"/>
              <a:gd name="connsiteY8020" fmla="*/ 4903685 h 5973007"/>
              <a:gd name="connsiteX8021" fmla="*/ 1232781 w 6884782"/>
              <a:gd name="connsiteY8021" fmla="*/ 4896767 h 5973007"/>
              <a:gd name="connsiteX8022" fmla="*/ 2036228 w 6884782"/>
              <a:gd name="connsiteY8022" fmla="*/ 4896457 h 5973007"/>
              <a:gd name="connsiteX8023" fmla="*/ 2044592 w 6884782"/>
              <a:gd name="connsiteY8023" fmla="*/ 4900794 h 5973007"/>
              <a:gd name="connsiteX8024" fmla="*/ 2037002 w 6884782"/>
              <a:gd name="connsiteY8024" fmla="*/ 4906989 h 5973007"/>
              <a:gd name="connsiteX8025" fmla="*/ 2034059 w 6884782"/>
              <a:gd name="connsiteY8025" fmla="*/ 4905131 h 5973007"/>
              <a:gd name="connsiteX8026" fmla="*/ 2036228 w 6884782"/>
              <a:gd name="connsiteY8026" fmla="*/ 4896457 h 5973007"/>
              <a:gd name="connsiteX8027" fmla="*/ 1279560 w 6884782"/>
              <a:gd name="connsiteY8027" fmla="*/ 4896251 h 5973007"/>
              <a:gd name="connsiteX8028" fmla="*/ 1286839 w 6884782"/>
              <a:gd name="connsiteY8028" fmla="*/ 4898213 h 5973007"/>
              <a:gd name="connsiteX8029" fmla="*/ 1285600 w 6884782"/>
              <a:gd name="connsiteY8029" fmla="*/ 4902653 h 5973007"/>
              <a:gd name="connsiteX8030" fmla="*/ 1273364 w 6884782"/>
              <a:gd name="connsiteY8030" fmla="*/ 4906886 h 5973007"/>
              <a:gd name="connsiteX8031" fmla="*/ 1275067 w 6884782"/>
              <a:gd name="connsiteY8031" fmla="*/ 4898936 h 5973007"/>
              <a:gd name="connsiteX8032" fmla="*/ 1279560 w 6884782"/>
              <a:gd name="connsiteY8032" fmla="*/ 4896251 h 5973007"/>
              <a:gd name="connsiteX8033" fmla="*/ 6059185 w 6884782"/>
              <a:gd name="connsiteY8033" fmla="*/ 4895959 h 5973007"/>
              <a:gd name="connsiteX8034" fmla="*/ 6061044 w 6884782"/>
              <a:gd name="connsiteY8034" fmla="*/ 4902980 h 5973007"/>
              <a:gd name="connsiteX8035" fmla="*/ 6059340 w 6884782"/>
              <a:gd name="connsiteY8035" fmla="*/ 4903806 h 5973007"/>
              <a:gd name="connsiteX8036" fmla="*/ 6057171 w 6884782"/>
              <a:gd name="connsiteY8036" fmla="*/ 4904323 h 5973007"/>
              <a:gd name="connsiteX8037" fmla="*/ 6052834 w 6884782"/>
              <a:gd name="connsiteY8037" fmla="*/ 4902774 h 5973007"/>
              <a:gd name="connsiteX8038" fmla="*/ 6051595 w 6884782"/>
              <a:gd name="connsiteY8038" fmla="*/ 4900709 h 5973007"/>
              <a:gd name="connsiteX8039" fmla="*/ 6051440 w 6884782"/>
              <a:gd name="connsiteY8039" fmla="*/ 4899367 h 5973007"/>
              <a:gd name="connsiteX8040" fmla="*/ 6051595 w 6884782"/>
              <a:gd name="connsiteY8040" fmla="*/ 4897611 h 5973007"/>
              <a:gd name="connsiteX8041" fmla="*/ 6059185 w 6884782"/>
              <a:gd name="connsiteY8041" fmla="*/ 4895959 h 5973007"/>
              <a:gd name="connsiteX8042" fmla="*/ 1857632 w 6884782"/>
              <a:gd name="connsiteY8042" fmla="*/ 4895528 h 5973007"/>
              <a:gd name="connsiteX8043" fmla="*/ 1859801 w 6884782"/>
              <a:gd name="connsiteY8043" fmla="*/ 4897180 h 5973007"/>
              <a:gd name="connsiteX8044" fmla="*/ 1857632 w 6884782"/>
              <a:gd name="connsiteY8044" fmla="*/ 4898626 h 5973007"/>
              <a:gd name="connsiteX8045" fmla="*/ 1855928 w 6884782"/>
              <a:gd name="connsiteY8045" fmla="*/ 4897696 h 5973007"/>
              <a:gd name="connsiteX8046" fmla="*/ 1853450 w 6884782"/>
              <a:gd name="connsiteY8046" fmla="*/ 4898316 h 5973007"/>
              <a:gd name="connsiteX8047" fmla="*/ 1852521 w 6884782"/>
              <a:gd name="connsiteY8047" fmla="*/ 4896767 h 5973007"/>
              <a:gd name="connsiteX8048" fmla="*/ 1857632 w 6884782"/>
              <a:gd name="connsiteY8048" fmla="*/ 4895528 h 5973007"/>
              <a:gd name="connsiteX8049" fmla="*/ 1960174 w 6884782"/>
              <a:gd name="connsiteY8049" fmla="*/ 4895218 h 5973007"/>
              <a:gd name="connsiteX8050" fmla="*/ 1965130 w 6884782"/>
              <a:gd name="connsiteY8050" fmla="*/ 4918967 h 5973007"/>
              <a:gd name="connsiteX8051" fmla="*/ 1960174 w 6884782"/>
              <a:gd name="connsiteY8051" fmla="*/ 4895218 h 5973007"/>
              <a:gd name="connsiteX8052" fmla="*/ 1782043 w 6884782"/>
              <a:gd name="connsiteY8052" fmla="*/ 4894496 h 5973007"/>
              <a:gd name="connsiteX8053" fmla="*/ 1782043 w 6884782"/>
              <a:gd name="connsiteY8053" fmla="*/ 4900587 h 5973007"/>
              <a:gd name="connsiteX8054" fmla="*/ 1780029 w 6884782"/>
              <a:gd name="connsiteY8054" fmla="*/ 4902137 h 5973007"/>
              <a:gd name="connsiteX8055" fmla="*/ 1777241 w 6884782"/>
              <a:gd name="connsiteY8055" fmla="*/ 4901723 h 5973007"/>
              <a:gd name="connsiteX8056" fmla="*/ 1775228 w 6884782"/>
              <a:gd name="connsiteY8056" fmla="*/ 4900072 h 5973007"/>
              <a:gd name="connsiteX8057" fmla="*/ 1774608 w 6884782"/>
              <a:gd name="connsiteY8057" fmla="*/ 4894909 h 5973007"/>
              <a:gd name="connsiteX8058" fmla="*/ 1782043 w 6884782"/>
              <a:gd name="connsiteY8058" fmla="*/ 4894496 h 5973007"/>
              <a:gd name="connsiteX8059" fmla="*/ 991607 w 6884782"/>
              <a:gd name="connsiteY8059" fmla="*/ 4894082 h 5973007"/>
              <a:gd name="connsiteX8060" fmla="*/ 992382 w 6884782"/>
              <a:gd name="connsiteY8060" fmla="*/ 4895941 h 5973007"/>
              <a:gd name="connsiteX8061" fmla="*/ 991297 w 6884782"/>
              <a:gd name="connsiteY8061" fmla="*/ 4898626 h 5973007"/>
              <a:gd name="connsiteX8062" fmla="*/ 987735 w 6884782"/>
              <a:gd name="connsiteY8062" fmla="*/ 4899452 h 5973007"/>
              <a:gd name="connsiteX8063" fmla="*/ 986960 w 6884782"/>
              <a:gd name="connsiteY8063" fmla="*/ 4897696 h 5973007"/>
              <a:gd name="connsiteX8064" fmla="*/ 987270 w 6884782"/>
              <a:gd name="connsiteY8064" fmla="*/ 4894909 h 5973007"/>
              <a:gd name="connsiteX8065" fmla="*/ 991607 w 6884782"/>
              <a:gd name="connsiteY8065" fmla="*/ 4894082 h 5973007"/>
              <a:gd name="connsiteX8066" fmla="*/ 6186045 w 6884782"/>
              <a:gd name="connsiteY8066" fmla="*/ 4893791 h 5973007"/>
              <a:gd name="connsiteX8067" fmla="*/ 6195648 w 6884782"/>
              <a:gd name="connsiteY8067" fmla="*/ 4898231 h 5973007"/>
              <a:gd name="connsiteX8068" fmla="*/ 6196733 w 6884782"/>
              <a:gd name="connsiteY8068" fmla="*/ 4913100 h 5973007"/>
              <a:gd name="connsiteX8069" fmla="*/ 6187284 w 6884782"/>
              <a:gd name="connsiteY8069" fmla="*/ 4916817 h 5973007"/>
              <a:gd name="connsiteX8070" fmla="*/ 6182327 w 6884782"/>
              <a:gd name="connsiteY8070" fmla="*/ 4914545 h 5973007"/>
              <a:gd name="connsiteX8071" fmla="*/ 6179694 w 6884782"/>
              <a:gd name="connsiteY8071" fmla="*/ 4911551 h 5973007"/>
              <a:gd name="connsiteX8072" fmla="*/ 6182172 w 6884782"/>
              <a:gd name="connsiteY8072" fmla="*/ 4898850 h 5973007"/>
              <a:gd name="connsiteX8073" fmla="*/ 6184031 w 6884782"/>
              <a:gd name="connsiteY8073" fmla="*/ 4897198 h 5973007"/>
              <a:gd name="connsiteX8074" fmla="*/ 6186045 w 6884782"/>
              <a:gd name="connsiteY8074" fmla="*/ 4893791 h 5973007"/>
              <a:gd name="connsiteX8075" fmla="*/ 6062902 w 6884782"/>
              <a:gd name="connsiteY8075" fmla="*/ 4892655 h 5973007"/>
              <a:gd name="connsiteX8076" fmla="*/ 6063367 w 6884782"/>
              <a:gd name="connsiteY8076" fmla="*/ 4896062 h 5973007"/>
              <a:gd name="connsiteX8077" fmla="*/ 6061973 w 6884782"/>
              <a:gd name="connsiteY8077" fmla="*/ 4896578 h 5973007"/>
              <a:gd name="connsiteX8078" fmla="*/ 6060114 w 6884782"/>
              <a:gd name="connsiteY8078" fmla="*/ 4895133 h 5973007"/>
              <a:gd name="connsiteX8079" fmla="*/ 1980620 w 6884782"/>
              <a:gd name="connsiteY8079" fmla="*/ 4892224 h 5973007"/>
              <a:gd name="connsiteX8080" fmla="*/ 1979691 w 6884782"/>
              <a:gd name="connsiteY8080" fmla="*/ 4895115 h 5973007"/>
              <a:gd name="connsiteX8081" fmla="*/ 1980465 w 6884782"/>
              <a:gd name="connsiteY8081" fmla="*/ 4895115 h 5973007"/>
              <a:gd name="connsiteX8082" fmla="*/ 1980775 w 6884782"/>
              <a:gd name="connsiteY8082" fmla="*/ 4899245 h 5973007"/>
              <a:gd name="connsiteX8083" fmla="*/ 1977832 w 6884782"/>
              <a:gd name="connsiteY8083" fmla="*/ 4900278 h 5973007"/>
              <a:gd name="connsiteX8084" fmla="*/ 1977058 w 6884782"/>
              <a:gd name="connsiteY8084" fmla="*/ 4902446 h 5973007"/>
              <a:gd name="connsiteX8085" fmla="*/ 1973804 w 6884782"/>
              <a:gd name="connsiteY8085" fmla="*/ 4908848 h 5973007"/>
              <a:gd name="connsiteX8086" fmla="*/ 1972411 w 6884782"/>
              <a:gd name="connsiteY8086" fmla="*/ 4910190 h 5973007"/>
              <a:gd name="connsiteX8087" fmla="*/ 1970397 w 6884782"/>
              <a:gd name="connsiteY8087" fmla="*/ 4909674 h 5973007"/>
              <a:gd name="connsiteX8088" fmla="*/ 1972411 w 6884782"/>
              <a:gd name="connsiteY8088" fmla="*/ 4898213 h 5973007"/>
              <a:gd name="connsiteX8089" fmla="*/ 1974269 w 6884782"/>
              <a:gd name="connsiteY8089" fmla="*/ 4896561 h 5973007"/>
              <a:gd name="connsiteX8090" fmla="*/ 1975354 w 6884782"/>
              <a:gd name="connsiteY8090" fmla="*/ 4894805 h 5973007"/>
              <a:gd name="connsiteX8091" fmla="*/ 1980620 w 6884782"/>
              <a:gd name="connsiteY8091" fmla="*/ 4892224 h 5973007"/>
              <a:gd name="connsiteX8092" fmla="*/ 1547530 w 6884782"/>
              <a:gd name="connsiteY8092" fmla="*/ 4891605 h 5973007"/>
              <a:gd name="connsiteX8093" fmla="*/ 1559612 w 6884782"/>
              <a:gd name="connsiteY8093" fmla="*/ 4934352 h 5973007"/>
              <a:gd name="connsiteX8094" fmla="*/ 1538546 w 6884782"/>
              <a:gd name="connsiteY8094" fmla="*/ 4893360 h 5973007"/>
              <a:gd name="connsiteX8095" fmla="*/ 1547530 w 6884782"/>
              <a:gd name="connsiteY8095" fmla="*/ 4891605 h 5973007"/>
              <a:gd name="connsiteX8096" fmla="*/ 1304033 w 6884782"/>
              <a:gd name="connsiteY8096" fmla="*/ 4891295 h 5973007"/>
              <a:gd name="connsiteX8097" fmla="*/ 1305582 w 6884782"/>
              <a:gd name="connsiteY8097" fmla="*/ 4898832 h 5973007"/>
              <a:gd name="connsiteX8098" fmla="*/ 1304033 w 6884782"/>
              <a:gd name="connsiteY8098" fmla="*/ 4891295 h 5973007"/>
              <a:gd name="connsiteX8099" fmla="*/ 1496414 w 6884782"/>
              <a:gd name="connsiteY8099" fmla="*/ 4890262 h 5973007"/>
              <a:gd name="connsiteX8100" fmla="*/ 1494865 w 6884782"/>
              <a:gd name="connsiteY8100" fmla="*/ 4896044 h 5973007"/>
              <a:gd name="connsiteX8101" fmla="*/ 1489134 w 6884782"/>
              <a:gd name="connsiteY8101" fmla="*/ 4908022 h 5973007"/>
              <a:gd name="connsiteX8102" fmla="*/ 1486966 w 6884782"/>
              <a:gd name="connsiteY8102" fmla="*/ 4908642 h 5973007"/>
              <a:gd name="connsiteX8103" fmla="*/ 1486656 w 6884782"/>
              <a:gd name="connsiteY8103" fmla="*/ 4909365 h 5973007"/>
              <a:gd name="connsiteX8104" fmla="*/ 1485571 w 6884782"/>
              <a:gd name="connsiteY8104" fmla="*/ 4909674 h 5973007"/>
              <a:gd name="connsiteX8105" fmla="*/ 1484797 w 6884782"/>
              <a:gd name="connsiteY8105" fmla="*/ 4909261 h 5973007"/>
              <a:gd name="connsiteX8106" fmla="*/ 1486036 w 6884782"/>
              <a:gd name="connsiteY8106" fmla="*/ 4904408 h 5973007"/>
              <a:gd name="connsiteX8107" fmla="*/ 1487740 w 6884782"/>
              <a:gd name="connsiteY8107" fmla="*/ 4900587 h 5973007"/>
              <a:gd name="connsiteX8108" fmla="*/ 1496414 w 6884782"/>
              <a:gd name="connsiteY8108" fmla="*/ 4890262 h 5973007"/>
              <a:gd name="connsiteX8109" fmla="*/ 904246 w 6884782"/>
              <a:gd name="connsiteY8109" fmla="*/ 4889539 h 5973007"/>
              <a:gd name="connsiteX8110" fmla="*/ 904401 w 6884782"/>
              <a:gd name="connsiteY8110" fmla="*/ 4902963 h 5973007"/>
              <a:gd name="connsiteX8111" fmla="*/ 897276 w 6884782"/>
              <a:gd name="connsiteY8111" fmla="*/ 4889952 h 5973007"/>
              <a:gd name="connsiteX8112" fmla="*/ 904246 w 6884782"/>
              <a:gd name="connsiteY8112" fmla="*/ 4889539 h 5973007"/>
              <a:gd name="connsiteX8113" fmla="*/ 6072506 w 6884782"/>
              <a:gd name="connsiteY8113" fmla="*/ 4889247 h 5973007"/>
              <a:gd name="connsiteX8114" fmla="*/ 6073900 w 6884782"/>
              <a:gd name="connsiteY8114" fmla="*/ 4890900 h 5973007"/>
              <a:gd name="connsiteX8115" fmla="*/ 6073435 w 6884782"/>
              <a:gd name="connsiteY8115" fmla="*/ 4896062 h 5973007"/>
              <a:gd name="connsiteX8116" fmla="*/ 6071732 w 6884782"/>
              <a:gd name="connsiteY8116" fmla="*/ 4896992 h 5973007"/>
              <a:gd name="connsiteX8117" fmla="*/ 6069253 w 6884782"/>
              <a:gd name="connsiteY8117" fmla="*/ 4893791 h 5973007"/>
              <a:gd name="connsiteX8118" fmla="*/ 6070802 w 6884782"/>
              <a:gd name="connsiteY8118" fmla="*/ 4890073 h 5973007"/>
              <a:gd name="connsiteX8119" fmla="*/ 6072506 w 6884782"/>
              <a:gd name="connsiteY8119" fmla="*/ 4889247 h 5973007"/>
              <a:gd name="connsiteX8120" fmla="*/ 2034524 w 6884782"/>
              <a:gd name="connsiteY8120" fmla="*/ 4889230 h 5973007"/>
              <a:gd name="connsiteX8121" fmla="*/ 2034369 w 6884782"/>
              <a:gd name="connsiteY8121" fmla="*/ 4892017 h 5973007"/>
              <a:gd name="connsiteX8122" fmla="*/ 2033905 w 6884782"/>
              <a:gd name="connsiteY8122" fmla="*/ 4893153 h 5973007"/>
              <a:gd name="connsiteX8123" fmla="*/ 2034059 w 6884782"/>
              <a:gd name="connsiteY8123" fmla="*/ 4894082 h 5973007"/>
              <a:gd name="connsiteX8124" fmla="*/ 2033285 w 6884782"/>
              <a:gd name="connsiteY8124" fmla="*/ 4894392 h 5973007"/>
              <a:gd name="connsiteX8125" fmla="*/ 2032201 w 6884782"/>
              <a:gd name="connsiteY8125" fmla="*/ 4896664 h 5973007"/>
              <a:gd name="connsiteX8126" fmla="*/ 2031426 w 6884782"/>
              <a:gd name="connsiteY8126" fmla="*/ 4902446 h 5973007"/>
              <a:gd name="connsiteX8127" fmla="*/ 2031117 w 6884782"/>
              <a:gd name="connsiteY8127" fmla="*/ 4902859 h 5973007"/>
              <a:gd name="connsiteX8128" fmla="*/ 2032820 w 6884782"/>
              <a:gd name="connsiteY8128" fmla="*/ 4905441 h 5973007"/>
              <a:gd name="connsiteX8129" fmla="*/ 2025075 w 6884782"/>
              <a:gd name="connsiteY8129" fmla="*/ 4920103 h 5973007"/>
              <a:gd name="connsiteX8130" fmla="*/ 2021049 w 6884782"/>
              <a:gd name="connsiteY8130" fmla="*/ 4916076 h 5973007"/>
              <a:gd name="connsiteX8131" fmla="*/ 2020273 w 6884782"/>
              <a:gd name="connsiteY8131" fmla="*/ 4913185 h 5973007"/>
              <a:gd name="connsiteX8132" fmla="*/ 2013768 w 6884782"/>
              <a:gd name="connsiteY8132" fmla="*/ 4912462 h 5973007"/>
              <a:gd name="connsiteX8133" fmla="*/ 2010205 w 6884782"/>
              <a:gd name="connsiteY8133" fmla="*/ 4909365 h 5973007"/>
              <a:gd name="connsiteX8134" fmla="*/ 2010050 w 6884782"/>
              <a:gd name="connsiteY8134" fmla="*/ 4902963 h 5973007"/>
              <a:gd name="connsiteX8135" fmla="*/ 2019809 w 6884782"/>
              <a:gd name="connsiteY8135" fmla="*/ 4897180 h 5973007"/>
              <a:gd name="connsiteX8136" fmla="*/ 2021203 w 6884782"/>
              <a:gd name="connsiteY8136" fmla="*/ 4897800 h 5973007"/>
              <a:gd name="connsiteX8137" fmla="*/ 2023991 w 6884782"/>
              <a:gd name="connsiteY8137" fmla="*/ 4895218 h 5973007"/>
              <a:gd name="connsiteX8138" fmla="*/ 2026779 w 6884782"/>
              <a:gd name="connsiteY8138" fmla="*/ 4895632 h 5973007"/>
              <a:gd name="connsiteX8139" fmla="*/ 2028328 w 6884782"/>
              <a:gd name="connsiteY8139" fmla="*/ 4897180 h 5973007"/>
              <a:gd name="connsiteX8140" fmla="*/ 2030032 w 6884782"/>
              <a:gd name="connsiteY8140" fmla="*/ 4893979 h 5973007"/>
              <a:gd name="connsiteX8141" fmla="*/ 2034524 w 6884782"/>
              <a:gd name="connsiteY8141" fmla="*/ 4889230 h 5973007"/>
              <a:gd name="connsiteX8142" fmla="*/ 2053577 w 6884782"/>
              <a:gd name="connsiteY8142" fmla="*/ 4888816 h 5973007"/>
              <a:gd name="connsiteX8143" fmla="*/ 2058068 w 6884782"/>
              <a:gd name="connsiteY8143" fmla="*/ 4893876 h 5973007"/>
              <a:gd name="connsiteX8144" fmla="*/ 2053421 w 6884782"/>
              <a:gd name="connsiteY8144" fmla="*/ 4895941 h 5973007"/>
              <a:gd name="connsiteX8145" fmla="*/ 2050788 w 6884782"/>
              <a:gd name="connsiteY8145" fmla="*/ 4894599 h 5973007"/>
              <a:gd name="connsiteX8146" fmla="*/ 2051098 w 6884782"/>
              <a:gd name="connsiteY8146" fmla="*/ 4891398 h 5973007"/>
              <a:gd name="connsiteX8147" fmla="*/ 2053577 w 6884782"/>
              <a:gd name="connsiteY8147" fmla="*/ 4888816 h 5973007"/>
              <a:gd name="connsiteX8148" fmla="*/ 1580368 w 6884782"/>
              <a:gd name="connsiteY8148" fmla="*/ 4888610 h 5973007"/>
              <a:gd name="connsiteX8149" fmla="*/ 1574637 w 6884782"/>
              <a:gd name="connsiteY8149" fmla="*/ 4895941 h 5973007"/>
              <a:gd name="connsiteX8150" fmla="*/ 1580368 w 6884782"/>
              <a:gd name="connsiteY8150" fmla="*/ 4888610 h 5973007"/>
              <a:gd name="connsiteX8151" fmla="*/ 1857323 w 6884782"/>
              <a:gd name="connsiteY8151" fmla="*/ 4888093 h 5973007"/>
              <a:gd name="connsiteX8152" fmla="*/ 1859801 w 6884782"/>
              <a:gd name="connsiteY8152" fmla="*/ 4888713 h 5973007"/>
              <a:gd name="connsiteX8153" fmla="*/ 1861660 w 6884782"/>
              <a:gd name="connsiteY8153" fmla="*/ 4888610 h 5973007"/>
              <a:gd name="connsiteX8154" fmla="*/ 1863209 w 6884782"/>
              <a:gd name="connsiteY8154" fmla="*/ 4890985 h 5973007"/>
              <a:gd name="connsiteX8155" fmla="*/ 1861350 w 6884782"/>
              <a:gd name="connsiteY8155" fmla="*/ 4891088 h 5973007"/>
              <a:gd name="connsiteX8156" fmla="*/ 1855928 w 6884782"/>
              <a:gd name="connsiteY8156" fmla="*/ 4890262 h 5973007"/>
              <a:gd name="connsiteX8157" fmla="*/ 1857323 w 6884782"/>
              <a:gd name="connsiteY8157" fmla="*/ 4888093 h 5973007"/>
              <a:gd name="connsiteX8158" fmla="*/ 1912930 w 6884782"/>
              <a:gd name="connsiteY8158" fmla="*/ 4887887 h 5973007"/>
              <a:gd name="connsiteX8159" fmla="*/ 1914015 w 6884782"/>
              <a:gd name="connsiteY8159" fmla="*/ 4892740 h 5973007"/>
              <a:gd name="connsiteX8160" fmla="*/ 1915254 w 6884782"/>
              <a:gd name="connsiteY8160" fmla="*/ 4891811 h 5973007"/>
              <a:gd name="connsiteX8161" fmla="*/ 1917422 w 6884782"/>
              <a:gd name="connsiteY8161" fmla="*/ 4893153 h 5973007"/>
              <a:gd name="connsiteX8162" fmla="*/ 1916028 w 6884782"/>
              <a:gd name="connsiteY8162" fmla="*/ 4895115 h 5973007"/>
              <a:gd name="connsiteX8163" fmla="*/ 1915099 w 6884782"/>
              <a:gd name="connsiteY8163" fmla="*/ 4895941 h 5973007"/>
              <a:gd name="connsiteX8164" fmla="*/ 1918043 w 6884782"/>
              <a:gd name="connsiteY8164" fmla="*/ 4902033 h 5973007"/>
              <a:gd name="connsiteX8165" fmla="*/ 1920365 w 6884782"/>
              <a:gd name="connsiteY8165" fmla="*/ 4914321 h 5973007"/>
              <a:gd name="connsiteX8166" fmla="*/ 1914325 w 6884782"/>
              <a:gd name="connsiteY8166" fmla="*/ 4907403 h 5973007"/>
              <a:gd name="connsiteX8167" fmla="*/ 1909987 w 6884782"/>
              <a:gd name="connsiteY8167" fmla="*/ 4902653 h 5973007"/>
              <a:gd name="connsiteX8168" fmla="*/ 1909987 w 6884782"/>
              <a:gd name="connsiteY8168" fmla="*/ 4902859 h 5973007"/>
              <a:gd name="connsiteX8169" fmla="*/ 1907664 w 6884782"/>
              <a:gd name="connsiteY8169" fmla="*/ 4903995 h 5973007"/>
              <a:gd name="connsiteX8170" fmla="*/ 1907199 w 6884782"/>
              <a:gd name="connsiteY8170" fmla="*/ 4901827 h 5973007"/>
              <a:gd name="connsiteX8171" fmla="*/ 1908439 w 6884782"/>
              <a:gd name="connsiteY8171" fmla="*/ 4900587 h 5973007"/>
              <a:gd name="connsiteX8172" fmla="*/ 1908129 w 6884782"/>
              <a:gd name="connsiteY8172" fmla="*/ 4900278 h 5973007"/>
              <a:gd name="connsiteX8173" fmla="*/ 1912930 w 6884782"/>
              <a:gd name="connsiteY8173" fmla="*/ 4887887 h 5973007"/>
              <a:gd name="connsiteX8174" fmla="*/ 2100142 w 6884782"/>
              <a:gd name="connsiteY8174" fmla="*/ 4887138 h 5973007"/>
              <a:gd name="connsiteX8175" fmla="*/ 2106861 w 6884782"/>
              <a:gd name="connsiteY8175" fmla="*/ 4887887 h 5973007"/>
              <a:gd name="connsiteX8176" fmla="*/ 2096483 w 6884782"/>
              <a:gd name="connsiteY8176" fmla="*/ 4897180 h 5973007"/>
              <a:gd name="connsiteX8177" fmla="*/ 2092455 w 6884782"/>
              <a:gd name="connsiteY8177" fmla="*/ 4900898 h 5973007"/>
              <a:gd name="connsiteX8178" fmla="*/ 2093385 w 6884782"/>
              <a:gd name="connsiteY8178" fmla="*/ 4902549 h 5973007"/>
              <a:gd name="connsiteX8179" fmla="*/ 2090752 w 6884782"/>
              <a:gd name="connsiteY8179" fmla="*/ 4905441 h 5973007"/>
              <a:gd name="connsiteX8180" fmla="*/ 2087963 w 6884782"/>
              <a:gd name="connsiteY8180" fmla="*/ 4903892 h 5973007"/>
              <a:gd name="connsiteX8181" fmla="*/ 2087963 w 6884782"/>
              <a:gd name="connsiteY8181" fmla="*/ 4903685 h 5973007"/>
              <a:gd name="connsiteX8182" fmla="*/ 2084555 w 6884782"/>
              <a:gd name="connsiteY8182" fmla="*/ 4905647 h 5973007"/>
              <a:gd name="connsiteX8183" fmla="*/ 2086724 w 6884782"/>
              <a:gd name="connsiteY8183" fmla="*/ 4898522 h 5973007"/>
              <a:gd name="connsiteX8184" fmla="*/ 2088428 w 6884782"/>
              <a:gd name="connsiteY8184" fmla="*/ 4896457 h 5973007"/>
              <a:gd name="connsiteX8185" fmla="*/ 2087808 w 6884782"/>
              <a:gd name="connsiteY8185" fmla="*/ 4893670 h 5973007"/>
              <a:gd name="connsiteX8186" fmla="*/ 2088893 w 6884782"/>
              <a:gd name="connsiteY8186" fmla="*/ 4890469 h 5973007"/>
              <a:gd name="connsiteX8187" fmla="*/ 2090132 w 6884782"/>
              <a:gd name="connsiteY8187" fmla="*/ 4891398 h 5973007"/>
              <a:gd name="connsiteX8188" fmla="*/ 2091217 w 6884782"/>
              <a:gd name="connsiteY8188" fmla="*/ 4893153 h 5973007"/>
              <a:gd name="connsiteX8189" fmla="*/ 2092610 w 6884782"/>
              <a:gd name="connsiteY8189" fmla="*/ 4891501 h 5973007"/>
              <a:gd name="connsiteX8190" fmla="*/ 2100142 w 6884782"/>
              <a:gd name="connsiteY8190" fmla="*/ 4887138 h 5973007"/>
              <a:gd name="connsiteX8191" fmla="*/ 1437554 w 6884782"/>
              <a:gd name="connsiteY8191" fmla="*/ 4886132 h 5973007"/>
              <a:gd name="connsiteX8192" fmla="*/ 1440961 w 6884782"/>
              <a:gd name="connsiteY8192" fmla="*/ 4892843 h 5973007"/>
              <a:gd name="connsiteX8193" fmla="*/ 1432132 w 6884782"/>
              <a:gd name="connsiteY8193" fmla="*/ 4896767 h 5973007"/>
              <a:gd name="connsiteX8194" fmla="*/ 1428879 w 6884782"/>
              <a:gd name="connsiteY8194" fmla="*/ 4896664 h 5973007"/>
              <a:gd name="connsiteX8195" fmla="*/ 1437554 w 6884782"/>
              <a:gd name="connsiteY8195" fmla="*/ 4886132 h 5973007"/>
              <a:gd name="connsiteX8196" fmla="*/ 1845086 w 6884782"/>
              <a:gd name="connsiteY8196" fmla="*/ 4885409 h 5973007"/>
              <a:gd name="connsiteX8197" fmla="*/ 1851591 w 6884782"/>
              <a:gd name="connsiteY8197" fmla="*/ 4890778 h 5973007"/>
              <a:gd name="connsiteX8198" fmla="*/ 1848803 w 6884782"/>
              <a:gd name="connsiteY8198" fmla="*/ 4892637 h 5973007"/>
              <a:gd name="connsiteX8199" fmla="*/ 1841988 w 6884782"/>
              <a:gd name="connsiteY8199" fmla="*/ 4889023 h 5973007"/>
              <a:gd name="connsiteX8200" fmla="*/ 1841213 w 6884782"/>
              <a:gd name="connsiteY8200" fmla="*/ 4886958 h 5973007"/>
              <a:gd name="connsiteX8201" fmla="*/ 1845086 w 6884782"/>
              <a:gd name="connsiteY8201" fmla="*/ 4885409 h 5973007"/>
              <a:gd name="connsiteX8202" fmla="*/ 1307964 w 6884782"/>
              <a:gd name="connsiteY8202" fmla="*/ 4883034 h 5973007"/>
              <a:gd name="connsiteX8203" fmla="*/ 1312707 w 6884782"/>
              <a:gd name="connsiteY8203" fmla="*/ 4883344 h 5973007"/>
              <a:gd name="connsiteX8204" fmla="*/ 1307286 w 6884782"/>
              <a:gd name="connsiteY8204" fmla="*/ 4890469 h 5973007"/>
              <a:gd name="connsiteX8205" fmla="*/ 1305892 w 6884782"/>
              <a:gd name="connsiteY8205" fmla="*/ 4887061 h 5973007"/>
              <a:gd name="connsiteX8206" fmla="*/ 1307964 w 6884782"/>
              <a:gd name="connsiteY8206" fmla="*/ 4883034 h 5973007"/>
              <a:gd name="connsiteX8207" fmla="*/ 6342180 w 6884782"/>
              <a:gd name="connsiteY8207" fmla="*/ 4881400 h 5973007"/>
              <a:gd name="connsiteX8208" fmla="*/ 6342800 w 6884782"/>
              <a:gd name="connsiteY8208" fmla="*/ 4884084 h 5973007"/>
              <a:gd name="connsiteX8209" fmla="*/ 6341716 w 6884782"/>
              <a:gd name="connsiteY8209" fmla="*/ 4886666 h 5973007"/>
              <a:gd name="connsiteX8210" fmla="*/ 6340322 w 6884782"/>
              <a:gd name="connsiteY8210" fmla="*/ 4886976 h 5973007"/>
              <a:gd name="connsiteX8211" fmla="*/ 6338308 w 6884782"/>
              <a:gd name="connsiteY8211" fmla="*/ 4886563 h 5973007"/>
              <a:gd name="connsiteX8212" fmla="*/ 6337843 w 6884782"/>
              <a:gd name="connsiteY8212" fmla="*/ 4885634 h 5973007"/>
              <a:gd name="connsiteX8213" fmla="*/ 6339702 w 6884782"/>
              <a:gd name="connsiteY8213" fmla="*/ 4882226 h 5973007"/>
              <a:gd name="connsiteX8214" fmla="*/ 6342180 w 6884782"/>
              <a:gd name="connsiteY8214" fmla="*/ 4881400 h 5973007"/>
              <a:gd name="connsiteX8215" fmla="*/ 1399914 w 6884782"/>
              <a:gd name="connsiteY8215" fmla="*/ 4881279 h 5973007"/>
              <a:gd name="connsiteX8216" fmla="*/ 1405645 w 6884782"/>
              <a:gd name="connsiteY8216" fmla="*/ 4883241 h 5973007"/>
              <a:gd name="connsiteX8217" fmla="*/ 1405025 w 6884782"/>
              <a:gd name="connsiteY8217" fmla="*/ 4884789 h 5973007"/>
              <a:gd name="connsiteX8218" fmla="*/ 1405180 w 6884782"/>
              <a:gd name="connsiteY8218" fmla="*/ 4884686 h 5973007"/>
              <a:gd name="connsiteX8219" fmla="*/ 1408743 w 6884782"/>
              <a:gd name="connsiteY8219" fmla="*/ 4887164 h 5973007"/>
              <a:gd name="connsiteX8220" fmla="*/ 1410447 w 6884782"/>
              <a:gd name="connsiteY8220" fmla="*/ 4895838 h 5973007"/>
              <a:gd name="connsiteX8221" fmla="*/ 1401153 w 6884782"/>
              <a:gd name="connsiteY8221" fmla="*/ 4890159 h 5973007"/>
              <a:gd name="connsiteX8222" fmla="*/ 1400998 w 6884782"/>
              <a:gd name="connsiteY8222" fmla="*/ 4887474 h 5973007"/>
              <a:gd name="connsiteX8223" fmla="*/ 1399449 w 6884782"/>
              <a:gd name="connsiteY8223" fmla="*/ 4887681 h 5973007"/>
              <a:gd name="connsiteX8224" fmla="*/ 1399914 w 6884782"/>
              <a:gd name="connsiteY8224" fmla="*/ 4881279 h 5973007"/>
              <a:gd name="connsiteX8225" fmla="*/ 1032964 w 6884782"/>
              <a:gd name="connsiteY8225" fmla="*/ 4881176 h 5973007"/>
              <a:gd name="connsiteX8226" fmla="*/ 1025065 w 6884782"/>
              <a:gd name="connsiteY8226" fmla="*/ 4903685 h 5973007"/>
              <a:gd name="connsiteX8227" fmla="*/ 1032964 w 6884782"/>
              <a:gd name="connsiteY8227" fmla="*/ 4881176 h 5973007"/>
              <a:gd name="connsiteX8228" fmla="*/ 966205 w 6884782"/>
              <a:gd name="connsiteY8228" fmla="*/ 4880659 h 5973007"/>
              <a:gd name="connsiteX8229" fmla="*/ 966979 w 6884782"/>
              <a:gd name="connsiteY8229" fmla="*/ 4880659 h 5973007"/>
              <a:gd name="connsiteX8230" fmla="*/ 964191 w 6884782"/>
              <a:gd name="connsiteY8230" fmla="*/ 4891295 h 5973007"/>
              <a:gd name="connsiteX8231" fmla="*/ 962796 w 6884782"/>
              <a:gd name="connsiteY8231" fmla="*/ 4892224 h 5973007"/>
              <a:gd name="connsiteX8232" fmla="*/ 960938 w 6884782"/>
              <a:gd name="connsiteY8232" fmla="*/ 4891191 h 5973007"/>
              <a:gd name="connsiteX8233" fmla="*/ 959854 w 6884782"/>
              <a:gd name="connsiteY8233" fmla="*/ 4889643 h 5973007"/>
              <a:gd name="connsiteX8234" fmla="*/ 961403 w 6884782"/>
              <a:gd name="connsiteY8234" fmla="*/ 4886854 h 5973007"/>
              <a:gd name="connsiteX8235" fmla="*/ 964965 w 6884782"/>
              <a:gd name="connsiteY8235" fmla="*/ 4883344 h 5973007"/>
              <a:gd name="connsiteX8236" fmla="*/ 966205 w 6884782"/>
              <a:gd name="connsiteY8236" fmla="*/ 4880659 h 5973007"/>
              <a:gd name="connsiteX8237" fmla="*/ 1197929 w 6884782"/>
              <a:gd name="connsiteY8237" fmla="*/ 4880349 h 5973007"/>
              <a:gd name="connsiteX8238" fmla="*/ 1182904 w 6884782"/>
              <a:gd name="connsiteY8238" fmla="*/ 4901414 h 5973007"/>
              <a:gd name="connsiteX8239" fmla="*/ 1197929 w 6884782"/>
              <a:gd name="connsiteY8239" fmla="*/ 4880349 h 5973007"/>
              <a:gd name="connsiteX8240" fmla="*/ 1774453 w 6884782"/>
              <a:gd name="connsiteY8240" fmla="*/ 4876942 h 5973007"/>
              <a:gd name="connsiteX8241" fmla="*/ 1781268 w 6884782"/>
              <a:gd name="connsiteY8241" fmla="*/ 4880969 h 5973007"/>
              <a:gd name="connsiteX8242" fmla="*/ 1762061 w 6884782"/>
              <a:gd name="connsiteY8242" fmla="*/ 4902137 h 5973007"/>
              <a:gd name="connsiteX8243" fmla="*/ 1774453 w 6884782"/>
              <a:gd name="connsiteY8243" fmla="*/ 4876942 h 5973007"/>
              <a:gd name="connsiteX8244" fmla="*/ 1326803 w 6884782"/>
              <a:gd name="connsiteY8244" fmla="*/ 4876736 h 5973007"/>
              <a:gd name="connsiteX8245" fmla="*/ 1338110 w 6884782"/>
              <a:gd name="connsiteY8245" fmla="*/ 4887681 h 5973007"/>
              <a:gd name="connsiteX8246" fmla="*/ 1335942 w 6884782"/>
              <a:gd name="connsiteY8246" fmla="*/ 4892637 h 5973007"/>
              <a:gd name="connsiteX8247" fmla="*/ 1326803 w 6884782"/>
              <a:gd name="connsiteY8247" fmla="*/ 4876736 h 5973007"/>
              <a:gd name="connsiteX8248" fmla="*/ 1503694 w 6884782"/>
              <a:gd name="connsiteY8248" fmla="*/ 4875806 h 5973007"/>
              <a:gd name="connsiteX8249" fmla="*/ 1503075 w 6884782"/>
              <a:gd name="connsiteY8249" fmla="*/ 4876013 h 5973007"/>
              <a:gd name="connsiteX8250" fmla="*/ 1503850 w 6884782"/>
              <a:gd name="connsiteY8250" fmla="*/ 4875909 h 5973007"/>
              <a:gd name="connsiteX8251" fmla="*/ 1208617 w 6884782"/>
              <a:gd name="connsiteY8251" fmla="*/ 4875290 h 5973007"/>
              <a:gd name="connsiteX8252" fmla="*/ 1216362 w 6884782"/>
              <a:gd name="connsiteY8252" fmla="*/ 4875497 h 5973007"/>
              <a:gd name="connsiteX8253" fmla="*/ 1216981 w 6884782"/>
              <a:gd name="connsiteY8253" fmla="*/ 4877252 h 5973007"/>
              <a:gd name="connsiteX8254" fmla="*/ 1217446 w 6884782"/>
              <a:gd name="connsiteY8254" fmla="*/ 4881692 h 5973007"/>
              <a:gd name="connsiteX8255" fmla="*/ 1214658 w 6884782"/>
              <a:gd name="connsiteY8255" fmla="*/ 4883241 h 5973007"/>
              <a:gd name="connsiteX8256" fmla="*/ 1211560 w 6884782"/>
              <a:gd name="connsiteY8256" fmla="*/ 4881485 h 5973007"/>
              <a:gd name="connsiteX8257" fmla="*/ 1209701 w 6884782"/>
              <a:gd name="connsiteY8257" fmla="*/ 4878387 h 5973007"/>
              <a:gd name="connsiteX8258" fmla="*/ 1208617 w 6884782"/>
              <a:gd name="connsiteY8258" fmla="*/ 4875290 h 5973007"/>
              <a:gd name="connsiteX8259" fmla="*/ 1832229 w 6884782"/>
              <a:gd name="connsiteY8259" fmla="*/ 4875083 h 5973007"/>
              <a:gd name="connsiteX8260" fmla="*/ 1827737 w 6884782"/>
              <a:gd name="connsiteY8260" fmla="*/ 4880040 h 5973007"/>
              <a:gd name="connsiteX8261" fmla="*/ 1826189 w 6884782"/>
              <a:gd name="connsiteY8261" fmla="*/ 4879833 h 5973007"/>
              <a:gd name="connsiteX8262" fmla="*/ 1832229 w 6884782"/>
              <a:gd name="connsiteY8262" fmla="*/ 4875083 h 5973007"/>
              <a:gd name="connsiteX8263" fmla="*/ 1358711 w 6884782"/>
              <a:gd name="connsiteY8263" fmla="*/ 4874464 h 5973007"/>
              <a:gd name="connsiteX8264" fmla="*/ 1363203 w 6884782"/>
              <a:gd name="connsiteY8264" fmla="*/ 4876632 h 5973007"/>
              <a:gd name="connsiteX8265" fmla="*/ 1356078 w 6884782"/>
              <a:gd name="connsiteY8265" fmla="*/ 4882002 h 5973007"/>
              <a:gd name="connsiteX8266" fmla="*/ 1358711 w 6884782"/>
              <a:gd name="connsiteY8266" fmla="*/ 4874464 h 5973007"/>
              <a:gd name="connsiteX8267" fmla="*/ 990058 w 6884782"/>
              <a:gd name="connsiteY8267" fmla="*/ 4874154 h 5973007"/>
              <a:gd name="connsiteX8268" fmla="*/ 990987 w 6884782"/>
              <a:gd name="connsiteY8268" fmla="*/ 4875703 h 5973007"/>
              <a:gd name="connsiteX8269" fmla="*/ 991452 w 6884782"/>
              <a:gd name="connsiteY8269" fmla="*/ 4878078 h 5973007"/>
              <a:gd name="connsiteX8270" fmla="*/ 992846 w 6884782"/>
              <a:gd name="connsiteY8270" fmla="*/ 4878904 h 5973007"/>
              <a:gd name="connsiteX8271" fmla="*/ 992227 w 6884782"/>
              <a:gd name="connsiteY8271" fmla="*/ 4885822 h 5973007"/>
              <a:gd name="connsiteX8272" fmla="*/ 991297 w 6884782"/>
              <a:gd name="connsiteY8272" fmla="*/ 4884067 h 5973007"/>
              <a:gd name="connsiteX8273" fmla="*/ 990833 w 6884782"/>
              <a:gd name="connsiteY8273" fmla="*/ 4881795 h 5973007"/>
              <a:gd name="connsiteX8274" fmla="*/ 990523 w 6884782"/>
              <a:gd name="connsiteY8274" fmla="*/ 4879523 h 5973007"/>
              <a:gd name="connsiteX8275" fmla="*/ 989594 w 6884782"/>
              <a:gd name="connsiteY8275" fmla="*/ 4877871 h 5973007"/>
              <a:gd name="connsiteX8276" fmla="*/ 990058 w 6884782"/>
              <a:gd name="connsiteY8276" fmla="*/ 4874154 h 5973007"/>
              <a:gd name="connsiteX8277" fmla="*/ 1685581 w 6884782"/>
              <a:gd name="connsiteY8277" fmla="*/ 4873870 h 5973007"/>
              <a:gd name="connsiteX8278" fmla="*/ 1687711 w 6884782"/>
              <a:gd name="connsiteY8278" fmla="*/ 4878078 h 5973007"/>
              <a:gd name="connsiteX8279" fmla="*/ 1683994 w 6884782"/>
              <a:gd name="connsiteY8279" fmla="*/ 4879937 h 5973007"/>
              <a:gd name="connsiteX8280" fmla="*/ 1681360 w 6884782"/>
              <a:gd name="connsiteY8280" fmla="*/ 4877148 h 5973007"/>
              <a:gd name="connsiteX8281" fmla="*/ 1680896 w 6884782"/>
              <a:gd name="connsiteY8281" fmla="*/ 4874774 h 5973007"/>
              <a:gd name="connsiteX8282" fmla="*/ 1685581 w 6884782"/>
              <a:gd name="connsiteY8282" fmla="*/ 4873870 h 5973007"/>
              <a:gd name="connsiteX8283" fmla="*/ 1458929 w 6884782"/>
              <a:gd name="connsiteY8283" fmla="*/ 4873638 h 5973007"/>
              <a:gd name="connsiteX8284" fmla="*/ 1464506 w 6884782"/>
              <a:gd name="connsiteY8284" fmla="*/ 4882828 h 5973007"/>
              <a:gd name="connsiteX8285" fmla="*/ 1464351 w 6884782"/>
              <a:gd name="connsiteY8285" fmla="*/ 4893256 h 5973007"/>
              <a:gd name="connsiteX8286" fmla="*/ 1458929 w 6884782"/>
              <a:gd name="connsiteY8286" fmla="*/ 4873638 h 5973007"/>
              <a:gd name="connsiteX8287" fmla="*/ 1948712 w 6884782"/>
              <a:gd name="connsiteY8287" fmla="*/ 4872399 h 5973007"/>
              <a:gd name="connsiteX8288" fmla="*/ 1949021 w 6884782"/>
              <a:gd name="connsiteY8288" fmla="*/ 4873225 h 5973007"/>
              <a:gd name="connsiteX8289" fmla="*/ 1947627 w 6884782"/>
              <a:gd name="connsiteY8289" fmla="*/ 4874361 h 5973007"/>
              <a:gd name="connsiteX8290" fmla="*/ 1945769 w 6884782"/>
              <a:gd name="connsiteY8290" fmla="*/ 4873638 h 5973007"/>
              <a:gd name="connsiteX8291" fmla="*/ 1948712 w 6884782"/>
              <a:gd name="connsiteY8291" fmla="*/ 4872399 h 5973007"/>
              <a:gd name="connsiteX8292" fmla="*/ 1304962 w 6884782"/>
              <a:gd name="connsiteY8292" fmla="*/ 4870643 h 5973007"/>
              <a:gd name="connsiteX8293" fmla="*/ 1294739 w 6884782"/>
              <a:gd name="connsiteY8293" fmla="*/ 4883138 h 5973007"/>
              <a:gd name="connsiteX8294" fmla="*/ 1304962 w 6884782"/>
              <a:gd name="connsiteY8294" fmla="*/ 4870643 h 5973007"/>
              <a:gd name="connsiteX8295" fmla="*/ 1275377 w 6884782"/>
              <a:gd name="connsiteY8295" fmla="*/ 4870437 h 5973007"/>
              <a:gd name="connsiteX8296" fmla="*/ 1282038 w 6884782"/>
              <a:gd name="connsiteY8296" fmla="*/ 4883550 h 5973007"/>
              <a:gd name="connsiteX8297" fmla="*/ 1277856 w 6884782"/>
              <a:gd name="connsiteY8297" fmla="*/ 4886854 h 5973007"/>
              <a:gd name="connsiteX8298" fmla="*/ 1268872 w 6884782"/>
              <a:gd name="connsiteY8298" fmla="*/ 4875083 h 5973007"/>
              <a:gd name="connsiteX8299" fmla="*/ 1275377 w 6884782"/>
              <a:gd name="connsiteY8299" fmla="*/ 4870437 h 5973007"/>
              <a:gd name="connsiteX8300" fmla="*/ 1788549 w 6884782"/>
              <a:gd name="connsiteY8300" fmla="*/ 4869714 h 5973007"/>
              <a:gd name="connsiteX8301" fmla="*/ 1789168 w 6884782"/>
              <a:gd name="connsiteY8301" fmla="*/ 4874154 h 5973007"/>
              <a:gd name="connsiteX8302" fmla="*/ 1786690 w 6884782"/>
              <a:gd name="connsiteY8302" fmla="*/ 4876426 h 5973007"/>
              <a:gd name="connsiteX8303" fmla="*/ 1782663 w 6884782"/>
              <a:gd name="connsiteY8303" fmla="*/ 4876219 h 5973007"/>
              <a:gd name="connsiteX8304" fmla="*/ 1783437 w 6884782"/>
              <a:gd name="connsiteY8304" fmla="*/ 4876219 h 5973007"/>
              <a:gd name="connsiteX8305" fmla="*/ 1783282 w 6884782"/>
              <a:gd name="connsiteY8305" fmla="*/ 4874464 h 5973007"/>
              <a:gd name="connsiteX8306" fmla="*/ 1782508 w 6884782"/>
              <a:gd name="connsiteY8306" fmla="*/ 4874464 h 5973007"/>
              <a:gd name="connsiteX8307" fmla="*/ 1782972 w 6884782"/>
              <a:gd name="connsiteY8307" fmla="*/ 4872709 h 5973007"/>
              <a:gd name="connsiteX8308" fmla="*/ 1788549 w 6884782"/>
              <a:gd name="connsiteY8308" fmla="*/ 4869714 h 5973007"/>
              <a:gd name="connsiteX8309" fmla="*/ 953193 w 6884782"/>
              <a:gd name="connsiteY8309" fmla="*/ 4869301 h 5973007"/>
              <a:gd name="connsiteX8310" fmla="*/ 953813 w 6884782"/>
              <a:gd name="connsiteY8310" fmla="*/ 4870643 h 5973007"/>
              <a:gd name="connsiteX8311" fmla="*/ 957065 w 6884782"/>
              <a:gd name="connsiteY8311" fmla="*/ 4871056 h 5973007"/>
              <a:gd name="connsiteX8312" fmla="*/ 961403 w 6884782"/>
              <a:gd name="connsiteY8312" fmla="*/ 4869508 h 5973007"/>
              <a:gd name="connsiteX8313" fmla="*/ 955981 w 6884782"/>
              <a:gd name="connsiteY8313" fmla="*/ 4872709 h 5973007"/>
              <a:gd name="connsiteX8314" fmla="*/ 955516 w 6884782"/>
              <a:gd name="connsiteY8314" fmla="*/ 4873948 h 5973007"/>
              <a:gd name="connsiteX8315" fmla="*/ 955671 w 6884782"/>
              <a:gd name="connsiteY8315" fmla="*/ 4874051 h 5973007"/>
              <a:gd name="connsiteX8316" fmla="*/ 955361 w 6884782"/>
              <a:gd name="connsiteY8316" fmla="*/ 4874464 h 5973007"/>
              <a:gd name="connsiteX8317" fmla="*/ 954897 w 6884782"/>
              <a:gd name="connsiteY8317" fmla="*/ 4875290 h 5973007"/>
              <a:gd name="connsiteX8318" fmla="*/ 954587 w 6884782"/>
              <a:gd name="connsiteY8318" fmla="*/ 4875497 h 5973007"/>
              <a:gd name="connsiteX8319" fmla="*/ 953503 w 6884782"/>
              <a:gd name="connsiteY8319" fmla="*/ 4877562 h 5973007"/>
              <a:gd name="connsiteX8320" fmla="*/ 951799 w 6884782"/>
              <a:gd name="connsiteY8320" fmla="*/ 4881279 h 5973007"/>
              <a:gd name="connsiteX8321" fmla="*/ 949785 w 6884782"/>
              <a:gd name="connsiteY8321" fmla="*/ 4881588 h 5973007"/>
              <a:gd name="connsiteX8322" fmla="*/ 948546 w 6884782"/>
              <a:gd name="connsiteY8322" fmla="*/ 4879214 h 5973007"/>
              <a:gd name="connsiteX8323" fmla="*/ 949321 w 6884782"/>
              <a:gd name="connsiteY8323" fmla="*/ 4876013 h 5973007"/>
              <a:gd name="connsiteX8324" fmla="*/ 948856 w 6884782"/>
              <a:gd name="connsiteY8324" fmla="*/ 4875083 h 5973007"/>
              <a:gd name="connsiteX8325" fmla="*/ 950095 w 6884782"/>
              <a:gd name="connsiteY8325" fmla="*/ 4872709 h 5973007"/>
              <a:gd name="connsiteX8326" fmla="*/ 951024 w 6884782"/>
              <a:gd name="connsiteY8326" fmla="*/ 4872089 h 5973007"/>
              <a:gd name="connsiteX8327" fmla="*/ 2088893 w 6884782"/>
              <a:gd name="connsiteY8327" fmla="*/ 4867959 h 5973007"/>
              <a:gd name="connsiteX8328" fmla="*/ 2089977 w 6884782"/>
              <a:gd name="connsiteY8328" fmla="*/ 4870230 h 5973007"/>
              <a:gd name="connsiteX8329" fmla="*/ 2087653 w 6884782"/>
              <a:gd name="connsiteY8329" fmla="*/ 4880969 h 5973007"/>
              <a:gd name="connsiteX8330" fmla="*/ 2086724 w 6884782"/>
              <a:gd name="connsiteY8330" fmla="*/ 4878697 h 5973007"/>
              <a:gd name="connsiteX8331" fmla="*/ 2088893 w 6884782"/>
              <a:gd name="connsiteY8331" fmla="*/ 4867959 h 5973007"/>
              <a:gd name="connsiteX8332" fmla="*/ 1909987 w 6884782"/>
              <a:gd name="connsiteY8332" fmla="*/ 4866926 h 5973007"/>
              <a:gd name="connsiteX8333" fmla="*/ 1909832 w 6884782"/>
              <a:gd name="connsiteY8333" fmla="*/ 4870540 h 5973007"/>
              <a:gd name="connsiteX8334" fmla="*/ 1908903 w 6884782"/>
              <a:gd name="connsiteY8334" fmla="*/ 4871160 h 5973007"/>
              <a:gd name="connsiteX8335" fmla="*/ 1907354 w 6884782"/>
              <a:gd name="connsiteY8335" fmla="*/ 4871056 h 5973007"/>
              <a:gd name="connsiteX8336" fmla="*/ 1909987 w 6884782"/>
              <a:gd name="connsiteY8336" fmla="*/ 4866926 h 5973007"/>
              <a:gd name="connsiteX8337" fmla="*/ 1291022 w 6884782"/>
              <a:gd name="connsiteY8337" fmla="*/ 4866926 h 5973007"/>
              <a:gd name="connsiteX8338" fmla="*/ 1295513 w 6884782"/>
              <a:gd name="connsiteY8338" fmla="*/ 4873535 h 5973007"/>
              <a:gd name="connsiteX8339" fmla="*/ 1293965 w 6884782"/>
              <a:gd name="connsiteY8339" fmla="*/ 4875600 h 5973007"/>
              <a:gd name="connsiteX8340" fmla="*/ 1288389 w 6884782"/>
              <a:gd name="connsiteY8340" fmla="*/ 4872709 h 5973007"/>
              <a:gd name="connsiteX8341" fmla="*/ 1288078 w 6884782"/>
              <a:gd name="connsiteY8341" fmla="*/ 4869817 h 5973007"/>
              <a:gd name="connsiteX8342" fmla="*/ 1291022 w 6884782"/>
              <a:gd name="connsiteY8342" fmla="*/ 4866926 h 5973007"/>
              <a:gd name="connsiteX8343" fmla="*/ 1838735 w 6884782"/>
              <a:gd name="connsiteY8343" fmla="*/ 4866616 h 5973007"/>
              <a:gd name="connsiteX8344" fmla="*/ 1839355 w 6884782"/>
              <a:gd name="connsiteY8344" fmla="*/ 4867752 h 5973007"/>
              <a:gd name="connsiteX8345" fmla="*/ 1838735 w 6884782"/>
              <a:gd name="connsiteY8345" fmla="*/ 4869508 h 5973007"/>
              <a:gd name="connsiteX8346" fmla="*/ 1837031 w 6884782"/>
              <a:gd name="connsiteY8346" fmla="*/ 4872915 h 5973007"/>
              <a:gd name="connsiteX8347" fmla="*/ 1838735 w 6884782"/>
              <a:gd name="connsiteY8347" fmla="*/ 4866616 h 5973007"/>
              <a:gd name="connsiteX8348" fmla="*/ 6593422 w 6884782"/>
              <a:gd name="connsiteY8348" fmla="*/ 4865395 h 5973007"/>
              <a:gd name="connsiteX8349" fmla="*/ 6595126 w 6884782"/>
              <a:gd name="connsiteY8349" fmla="*/ 4889557 h 5973007"/>
              <a:gd name="connsiteX8350" fmla="*/ 6575764 w 6884782"/>
              <a:gd name="connsiteY8350" fmla="*/ 4907214 h 5973007"/>
              <a:gd name="connsiteX8351" fmla="*/ 6580101 w 6884782"/>
              <a:gd name="connsiteY8351" fmla="*/ 4882949 h 5973007"/>
              <a:gd name="connsiteX8352" fmla="*/ 6593422 w 6884782"/>
              <a:gd name="connsiteY8352" fmla="*/ 4865395 h 5973007"/>
              <a:gd name="connsiteX8353" fmla="*/ 876519 w 6884782"/>
              <a:gd name="connsiteY8353" fmla="*/ 4865377 h 5973007"/>
              <a:gd name="connsiteX8354" fmla="*/ 887517 w 6884782"/>
              <a:gd name="connsiteY8354" fmla="*/ 4870643 h 5973007"/>
              <a:gd name="connsiteX8355" fmla="*/ 885039 w 6884782"/>
              <a:gd name="connsiteY8355" fmla="*/ 4870953 h 5973007"/>
              <a:gd name="connsiteX8356" fmla="*/ 876519 w 6884782"/>
              <a:gd name="connsiteY8356" fmla="*/ 4865377 h 5973007"/>
              <a:gd name="connsiteX8357" fmla="*/ 1910142 w 6884782"/>
              <a:gd name="connsiteY8357" fmla="*/ 4864448 h 5973007"/>
              <a:gd name="connsiteX8358" fmla="*/ 1909987 w 6884782"/>
              <a:gd name="connsiteY8358" fmla="*/ 4866307 h 5973007"/>
              <a:gd name="connsiteX8359" fmla="*/ 1909213 w 6884782"/>
              <a:gd name="connsiteY8359" fmla="*/ 4866204 h 5973007"/>
              <a:gd name="connsiteX8360" fmla="*/ 1910142 w 6884782"/>
              <a:gd name="connsiteY8360" fmla="*/ 4864448 h 5973007"/>
              <a:gd name="connsiteX8361" fmla="*/ 1020883 w 6884782"/>
              <a:gd name="connsiteY8361" fmla="*/ 4863725 h 5973007"/>
              <a:gd name="connsiteX8362" fmla="*/ 1021348 w 6884782"/>
              <a:gd name="connsiteY8362" fmla="*/ 4866204 h 5973007"/>
              <a:gd name="connsiteX8363" fmla="*/ 1022741 w 6884782"/>
              <a:gd name="connsiteY8363" fmla="*/ 4867029 h 5973007"/>
              <a:gd name="connsiteX8364" fmla="*/ 1021967 w 6884782"/>
              <a:gd name="connsiteY8364" fmla="*/ 4869817 h 5973007"/>
              <a:gd name="connsiteX8365" fmla="*/ 1020883 w 6884782"/>
              <a:gd name="connsiteY8365" fmla="*/ 4863725 h 5973007"/>
              <a:gd name="connsiteX8366" fmla="*/ 5897415 w 6884782"/>
              <a:gd name="connsiteY8366" fmla="*/ 4863704 h 5973007"/>
              <a:gd name="connsiteX8367" fmla="*/ 5902740 w 6884782"/>
              <a:gd name="connsiteY8367" fmla="*/ 4864569 h 5973007"/>
              <a:gd name="connsiteX8368" fmla="*/ 5897318 w 6884782"/>
              <a:gd name="connsiteY8368" fmla="*/ 4870145 h 5973007"/>
              <a:gd name="connsiteX8369" fmla="*/ 5894995 w 6884782"/>
              <a:gd name="connsiteY8369" fmla="*/ 4869422 h 5973007"/>
              <a:gd name="connsiteX8370" fmla="*/ 5897415 w 6884782"/>
              <a:gd name="connsiteY8370" fmla="*/ 4863704 h 5973007"/>
              <a:gd name="connsiteX8371" fmla="*/ 2028793 w 6884782"/>
              <a:gd name="connsiteY8371" fmla="*/ 4863622 h 5973007"/>
              <a:gd name="connsiteX8372" fmla="*/ 2029877 w 6884782"/>
              <a:gd name="connsiteY8372" fmla="*/ 4868785 h 5973007"/>
              <a:gd name="connsiteX8373" fmla="*/ 2025695 w 6884782"/>
              <a:gd name="connsiteY8373" fmla="*/ 4870747 h 5973007"/>
              <a:gd name="connsiteX8374" fmla="*/ 2023991 w 6884782"/>
              <a:gd name="connsiteY8374" fmla="*/ 4869508 h 5973007"/>
              <a:gd name="connsiteX8375" fmla="*/ 2024146 w 6884782"/>
              <a:gd name="connsiteY8375" fmla="*/ 4868681 h 5973007"/>
              <a:gd name="connsiteX8376" fmla="*/ 2024456 w 6884782"/>
              <a:gd name="connsiteY8376" fmla="*/ 4865171 h 5973007"/>
              <a:gd name="connsiteX8377" fmla="*/ 2028793 w 6884782"/>
              <a:gd name="connsiteY8377" fmla="*/ 4863622 h 5973007"/>
              <a:gd name="connsiteX8378" fmla="*/ 1553726 w 6884782"/>
              <a:gd name="connsiteY8378" fmla="*/ 4862899 h 5973007"/>
              <a:gd name="connsiteX8379" fmla="*/ 1553726 w 6884782"/>
              <a:gd name="connsiteY8379" fmla="*/ 4868475 h 5973007"/>
              <a:gd name="connsiteX8380" fmla="*/ 1545361 w 6884782"/>
              <a:gd name="connsiteY8380" fmla="*/ 4869198 h 5973007"/>
              <a:gd name="connsiteX8381" fmla="*/ 1540560 w 6884782"/>
              <a:gd name="connsiteY8381" fmla="*/ 4865997 h 5973007"/>
              <a:gd name="connsiteX8382" fmla="*/ 1553726 w 6884782"/>
              <a:gd name="connsiteY8382" fmla="*/ 4862899 h 5973007"/>
              <a:gd name="connsiteX8383" fmla="*/ 1213574 w 6884782"/>
              <a:gd name="connsiteY8383" fmla="*/ 4862383 h 5973007"/>
              <a:gd name="connsiteX8384" fmla="*/ 1216052 w 6884782"/>
              <a:gd name="connsiteY8384" fmla="*/ 4863002 h 5973007"/>
              <a:gd name="connsiteX8385" fmla="*/ 1213264 w 6884782"/>
              <a:gd name="connsiteY8385" fmla="*/ 4864345 h 5973007"/>
              <a:gd name="connsiteX8386" fmla="*/ 1213109 w 6884782"/>
              <a:gd name="connsiteY8386" fmla="*/ 4863209 h 5973007"/>
              <a:gd name="connsiteX8387" fmla="*/ 1212644 w 6884782"/>
              <a:gd name="connsiteY8387" fmla="*/ 4863932 h 5973007"/>
              <a:gd name="connsiteX8388" fmla="*/ 1212955 w 6884782"/>
              <a:gd name="connsiteY8388" fmla="*/ 4862796 h 5973007"/>
              <a:gd name="connsiteX8389" fmla="*/ 1213574 w 6884782"/>
              <a:gd name="connsiteY8389" fmla="*/ 4862383 h 5973007"/>
              <a:gd name="connsiteX8390" fmla="*/ 6297261 w 6884782"/>
              <a:gd name="connsiteY8390" fmla="*/ 4861781 h 5973007"/>
              <a:gd name="connsiteX8391" fmla="*/ 6304695 w 6884782"/>
              <a:gd name="connsiteY8391" fmla="*/ 4861884 h 5973007"/>
              <a:gd name="connsiteX8392" fmla="*/ 6305315 w 6884782"/>
              <a:gd name="connsiteY8392" fmla="*/ 4864569 h 5973007"/>
              <a:gd name="connsiteX8393" fmla="*/ 6299894 w 6884782"/>
              <a:gd name="connsiteY8393" fmla="*/ 4867667 h 5973007"/>
              <a:gd name="connsiteX8394" fmla="*/ 6297880 w 6884782"/>
              <a:gd name="connsiteY8394" fmla="*/ 4866221 h 5973007"/>
              <a:gd name="connsiteX8395" fmla="*/ 6299894 w 6884782"/>
              <a:gd name="connsiteY8395" fmla="*/ 4870145 h 5973007"/>
              <a:gd name="connsiteX8396" fmla="*/ 6299274 w 6884782"/>
              <a:gd name="connsiteY8396" fmla="*/ 4874998 h 5973007"/>
              <a:gd name="connsiteX8397" fmla="*/ 6270618 w 6884782"/>
              <a:gd name="connsiteY8397" fmla="*/ 4894204 h 5973007"/>
              <a:gd name="connsiteX8398" fmla="*/ 6270308 w 6884782"/>
              <a:gd name="connsiteY8398" fmla="*/ 4883878 h 5973007"/>
              <a:gd name="connsiteX8399" fmla="*/ 6290290 w 6884782"/>
              <a:gd name="connsiteY8399" fmla="*/ 4867564 h 5973007"/>
              <a:gd name="connsiteX8400" fmla="*/ 6297416 w 6884782"/>
              <a:gd name="connsiteY8400" fmla="*/ 4865395 h 5973007"/>
              <a:gd name="connsiteX8401" fmla="*/ 6296951 w 6884782"/>
              <a:gd name="connsiteY8401" fmla="*/ 4864259 h 5973007"/>
              <a:gd name="connsiteX8402" fmla="*/ 6297261 w 6884782"/>
              <a:gd name="connsiteY8402" fmla="*/ 4861781 h 5973007"/>
              <a:gd name="connsiteX8403" fmla="*/ 1796758 w 6884782"/>
              <a:gd name="connsiteY8403" fmla="*/ 4861660 h 5973007"/>
              <a:gd name="connsiteX8404" fmla="*/ 1797533 w 6884782"/>
              <a:gd name="connsiteY8404" fmla="*/ 4861763 h 5973007"/>
              <a:gd name="connsiteX8405" fmla="*/ 1800786 w 6884782"/>
              <a:gd name="connsiteY8405" fmla="*/ 4862383 h 5973007"/>
              <a:gd name="connsiteX8406" fmla="*/ 1802179 w 6884782"/>
              <a:gd name="connsiteY8406" fmla="*/ 4866926 h 5973007"/>
              <a:gd name="connsiteX8407" fmla="*/ 1799392 w 6884782"/>
              <a:gd name="connsiteY8407" fmla="*/ 4868269 h 5973007"/>
              <a:gd name="connsiteX8408" fmla="*/ 1797223 w 6884782"/>
              <a:gd name="connsiteY8408" fmla="*/ 4867855 h 5973007"/>
              <a:gd name="connsiteX8409" fmla="*/ 1795519 w 6884782"/>
              <a:gd name="connsiteY8409" fmla="*/ 4863312 h 5973007"/>
              <a:gd name="connsiteX8410" fmla="*/ 1796758 w 6884782"/>
              <a:gd name="connsiteY8410" fmla="*/ 4861660 h 5973007"/>
              <a:gd name="connsiteX8411" fmla="*/ 1220234 w 6884782"/>
              <a:gd name="connsiteY8411" fmla="*/ 4861247 h 5973007"/>
              <a:gd name="connsiteX8412" fmla="*/ 1223022 w 6884782"/>
              <a:gd name="connsiteY8412" fmla="*/ 4863106 h 5973007"/>
              <a:gd name="connsiteX8413" fmla="*/ 1219305 w 6884782"/>
              <a:gd name="connsiteY8413" fmla="*/ 4863932 h 5973007"/>
              <a:gd name="connsiteX8414" fmla="*/ 1216207 w 6884782"/>
              <a:gd name="connsiteY8414" fmla="*/ 4862899 h 5973007"/>
              <a:gd name="connsiteX8415" fmla="*/ 1220234 w 6884782"/>
              <a:gd name="connsiteY8415" fmla="*/ 4861247 h 5973007"/>
              <a:gd name="connsiteX8416" fmla="*/ 1070914 w 6884782"/>
              <a:gd name="connsiteY8416" fmla="*/ 4861247 h 5973007"/>
              <a:gd name="connsiteX8417" fmla="*/ 1076955 w 6884782"/>
              <a:gd name="connsiteY8417" fmla="*/ 4862589 h 5973007"/>
              <a:gd name="connsiteX8418" fmla="*/ 1078039 w 6884782"/>
              <a:gd name="connsiteY8418" fmla="*/ 4865171 h 5973007"/>
              <a:gd name="connsiteX8419" fmla="*/ 1078039 w 6884782"/>
              <a:gd name="connsiteY8419" fmla="*/ 4870334 h 5973007"/>
              <a:gd name="connsiteX8420" fmla="*/ 1078814 w 6884782"/>
              <a:gd name="connsiteY8420" fmla="*/ 4870334 h 5973007"/>
              <a:gd name="connsiteX8421" fmla="*/ 1074012 w 6884782"/>
              <a:gd name="connsiteY8421" fmla="*/ 4871573 h 5973007"/>
              <a:gd name="connsiteX8422" fmla="*/ 1070914 w 6884782"/>
              <a:gd name="connsiteY8422" fmla="*/ 4861247 h 5973007"/>
              <a:gd name="connsiteX8423" fmla="*/ 1910297 w 6884782"/>
              <a:gd name="connsiteY8423" fmla="*/ 4860008 h 5973007"/>
              <a:gd name="connsiteX8424" fmla="*/ 1910917 w 6884782"/>
              <a:gd name="connsiteY8424" fmla="*/ 4861041 h 5973007"/>
              <a:gd name="connsiteX8425" fmla="*/ 1910452 w 6884782"/>
              <a:gd name="connsiteY8425" fmla="*/ 4861867 h 5973007"/>
              <a:gd name="connsiteX8426" fmla="*/ 1909368 w 6884782"/>
              <a:gd name="connsiteY8426" fmla="*/ 4861867 h 5973007"/>
              <a:gd name="connsiteX8427" fmla="*/ 1910297 w 6884782"/>
              <a:gd name="connsiteY8427" fmla="*/ 4860008 h 5973007"/>
              <a:gd name="connsiteX8428" fmla="*/ 748730 w 6884782"/>
              <a:gd name="connsiteY8428" fmla="*/ 4859698 h 5973007"/>
              <a:gd name="connsiteX8429" fmla="*/ 763290 w 6884782"/>
              <a:gd name="connsiteY8429" fmla="*/ 4865171 h 5973007"/>
              <a:gd name="connsiteX8430" fmla="*/ 762361 w 6884782"/>
              <a:gd name="connsiteY8430" fmla="*/ 4866926 h 5973007"/>
              <a:gd name="connsiteX8431" fmla="*/ 760037 w 6884782"/>
              <a:gd name="connsiteY8431" fmla="*/ 4867546 h 5973007"/>
              <a:gd name="connsiteX8432" fmla="*/ 752447 w 6884782"/>
              <a:gd name="connsiteY8432" fmla="*/ 4864964 h 5973007"/>
              <a:gd name="connsiteX8433" fmla="*/ 750899 w 6884782"/>
              <a:gd name="connsiteY8433" fmla="*/ 4864138 h 5973007"/>
              <a:gd name="connsiteX8434" fmla="*/ 749194 w 6884782"/>
              <a:gd name="connsiteY8434" fmla="*/ 4863209 h 5973007"/>
              <a:gd name="connsiteX8435" fmla="*/ 748265 w 6884782"/>
              <a:gd name="connsiteY8435" fmla="*/ 4861763 h 5973007"/>
              <a:gd name="connsiteX8436" fmla="*/ 748730 w 6884782"/>
              <a:gd name="connsiteY8436" fmla="*/ 4859698 h 5973007"/>
              <a:gd name="connsiteX8437" fmla="*/ 858551 w 6884782"/>
              <a:gd name="connsiteY8437" fmla="*/ 4859079 h 5973007"/>
              <a:gd name="connsiteX8438" fmla="*/ 859946 w 6884782"/>
              <a:gd name="connsiteY8438" fmla="*/ 4862589 h 5973007"/>
              <a:gd name="connsiteX8439" fmla="*/ 854679 w 6884782"/>
              <a:gd name="connsiteY8439" fmla="*/ 4864242 h 5973007"/>
              <a:gd name="connsiteX8440" fmla="*/ 853285 w 6884782"/>
              <a:gd name="connsiteY8440" fmla="*/ 4860731 h 5973007"/>
              <a:gd name="connsiteX8441" fmla="*/ 858551 w 6884782"/>
              <a:gd name="connsiteY8441" fmla="*/ 4859079 h 5973007"/>
              <a:gd name="connsiteX8442" fmla="*/ 5969345 w 6884782"/>
              <a:gd name="connsiteY8442" fmla="*/ 4858890 h 5973007"/>
              <a:gd name="connsiteX8443" fmla="*/ 5973217 w 6884782"/>
              <a:gd name="connsiteY8443" fmla="*/ 4861575 h 5973007"/>
              <a:gd name="connsiteX8444" fmla="*/ 5971359 w 6884782"/>
              <a:gd name="connsiteY8444" fmla="*/ 4872004 h 5973007"/>
              <a:gd name="connsiteX8445" fmla="*/ 5961910 w 6884782"/>
              <a:gd name="connsiteY8445" fmla="*/ 4873552 h 5973007"/>
              <a:gd name="connsiteX8446" fmla="*/ 5960981 w 6884782"/>
              <a:gd name="connsiteY8446" fmla="*/ 4875308 h 5973007"/>
              <a:gd name="connsiteX8447" fmla="*/ 5957418 w 6884782"/>
              <a:gd name="connsiteY8447" fmla="*/ 4876960 h 5973007"/>
              <a:gd name="connsiteX8448" fmla="*/ 5956798 w 6884782"/>
              <a:gd name="connsiteY8448" fmla="*/ 4875205 h 5973007"/>
              <a:gd name="connsiteX8449" fmla="*/ 5960361 w 6884782"/>
              <a:gd name="connsiteY8449" fmla="*/ 4872726 h 5973007"/>
              <a:gd name="connsiteX8450" fmla="*/ 5960361 w 6884782"/>
              <a:gd name="connsiteY8450" fmla="*/ 4871797 h 5973007"/>
              <a:gd name="connsiteX8451" fmla="*/ 5958967 w 6884782"/>
              <a:gd name="connsiteY8451" fmla="*/ 4870042 h 5973007"/>
              <a:gd name="connsiteX8452" fmla="*/ 5959896 w 6884782"/>
              <a:gd name="connsiteY8452" fmla="*/ 4861368 h 5973007"/>
              <a:gd name="connsiteX8453" fmla="*/ 5969345 w 6884782"/>
              <a:gd name="connsiteY8453" fmla="*/ 4858890 h 5973007"/>
              <a:gd name="connsiteX8454" fmla="*/ 1420050 w 6884782"/>
              <a:gd name="connsiteY8454" fmla="*/ 4858769 h 5973007"/>
              <a:gd name="connsiteX8455" fmla="*/ 1418657 w 6884782"/>
              <a:gd name="connsiteY8455" fmla="*/ 4871160 h 5973007"/>
              <a:gd name="connsiteX8456" fmla="*/ 1413700 w 6884782"/>
              <a:gd name="connsiteY8456" fmla="*/ 4869611 h 5973007"/>
              <a:gd name="connsiteX8457" fmla="*/ 1420050 w 6884782"/>
              <a:gd name="connsiteY8457" fmla="*/ 4858769 h 5973007"/>
              <a:gd name="connsiteX8458" fmla="*/ 1493491 w 6884782"/>
              <a:gd name="connsiteY8458" fmla="*/ 4858743 h 5973007"/>
              <a:gd name="connsiteX8459" fmla="*/ 1495020 w 6884782"/>
              <a:gd name="connsiteY8459" fmla="*/ 4863519 h 5973007"/>
              <a:gd name="connsiteX8460" fmla="*/ 1488824 w 6884782"/>
              <a:gd name="connsiteY8460" fmla="*/ 4861867 h 5973007"/>
              <a:gd name="connsiteX8461" fmla="*/ 1493491 w 6884782"/>
              <a:gd name="connsiteY8461" fmla="*/ 4858743 h 5973007"/>
              <a:gd name="connsiteX8462" fmla="*/ 1500751 w 6884782"/>
              <a:gd name="connsiteY8462" fmla="*/ 4858666 h 5973007"/>
              <a:gd name="connsiteX8463" fmla="*/ 1506792 w 6884782"/>
              <a:gd name="connsiteY8463" fmla="*/ 4860111 h 5973007"/>
              <a:gd name="connsiteX8464" fmla="*/ 1508806 w 6884782"/>
              <a:gd name="connsiteY8464" fmla="*/ 4863106 h 5973007"/>
              <a:gd name="connsiteX8465" fmla="*/ 1510510 w 6884782"/>
              <a:gd name="connsiteY8465" fmla="*/ 4861763 h 5973007"/>
              <a:gd name="connsiteX8466" fmla="*/ 1523676 w 6884782"/>
              <a:gd name="connsiteY8466" fmla="*/ 4868165 h 5973007"/>
              <a:gd name="connsiteX8467" fmla="*/ 1523831 w 6884782"/>
              <a:gd name="connsiteY8467" fmla="*/ 4868681 h 5973007"/>
              <a:gd name="connsiteX8468" fmla="*/ 1527858 w 6884782"/>
              <a:gd name="connsiteY8468" fmla="*/ 4864242 h 5973007"/>
              <a:gd name="connsiteX8469" fmla="*/ 1536532 w 6884782"/>
              <a:gd name="connsiteY8469" fmla="*/ 4874980 h 5973007"/>
              <a:gd name="connsiteX8470" fmla="*/ 1532040 w 6884782"/>
              <a:gd name="connsiteY8470" fmla="*/ 4877768 h 5973007"/>
              <a:gd name="connsiteX8471" fmla="*/ 1525690 w 6884782"/>
              <a:gd name="connsiteY8471" fmla="*/ 4875497 h 5973007"/>
              <a:gd name="connsiteX8472" fmla="*/ 1525225 w 6884782"/>
              <a:gd name="connsiteY8472" fmla="*/ 4874257 h 5973007"/>
              <a:gd name="connsiteX8473" fmla="*/ 1521972 w 6884782"/>
              <a:gd name="connsiteY8473" fmla="*/ 4877045 h 5973007"/>
              <a:gd name="connsiteX8474" fmla="*/ 1516550 w 6884782"/>
              <a:gd name="connsiteY8474" fmla="*/ 4880659 h 5973007"/>
              <a:gd name="connsiteX8475" fmla="*/ 1511284 w 6884782"/>
              <a:gd name="connsiteY8475" fmla="*/ 4881898 h 5973007"/>
              <a:gd name="connsiteX8476" fmla="*/ 1510200 w 6884782"/>
              <a:gd name="connsiteY8476" fmla="*/ 4881692 h 5973007"/>
              <a:gd name="connsiteX8477" fmla="*/ 1510510 w 6884782"/>
              <a:gd name="connsiteY8477" fmla="*/ 4881898 h 5973007"/>
              <a:gd name="connsiteX8478" fmla="*/ 1513918 w 6884782"/>
              <a:gd name="connsiteY8478" fmla="*/ 4887474 h 5973007"/>
              <a:gd name="connsiteX8479" fmla="*/ 1511439 w 6884782"/>
              <a:gd name="connsiteY8479" fmla="*/ 4886854 h 5973007"/>
              <a:gd name="connsiteX8480" fmla="*/ 1510355 w 6884782"/>
              <a:gd name="connsiteY8480" fmla="*/ 4885925 h 5973007"/>
              <a:gd name="connsiteX8481" fmla="*/ 1509581 w 6884782"/>
              <a:gd name="connsiteY8481" fmla="*/ 4886029 h 5973007"/>
              <a:gd name="connsiteX8482" fmla="*/ 1509426 w 6884782"/>
              <a:gd name="connsiteY8482" fmla="*/ 4885099 h 5973007"/>
              <a:gd name="connsiteX8483" fmla="*/ 1507567 w 6884782"/>
              <a:gd name="connsiteY8483" fmla="*/ 4883550 h 5973007"/>
              <a:gd name="connsiteX8484" fmla="*/ 1502145 w 6884782"/>
              <a:gd name="connsiteY8484" fmla="*/ 4881279 h 5973007"/>
              <a:gd name="connsiteX8485" fmla="*/ 1497963 w 6884782"/>
              <a:gd name="connsiteY8485" fmla="*/ 4876219 h 5973007"/>
              <a:gd name="connsiteX8486" fmla="*/ 1499512 w 6884782"/>
              <a:gd name="connsiteY8486" fmla="*/ 4874464 h 5973007"/>
              <a:gd name="connsiteX8487" fmla="*/ 1497653 w 6884782"/>
              <a:gd name="connsiteY8487" fmla="*/ 4872812 h 5973007"/>
              <a:gd name="connsiteX8488" fmla="*/ 1496879 w 6884782"/>
              <a:gd name="connsiteY8488" fmla="*/ 4861557 h 5973007"/>
              <a:gd name="connsiteX8489" fmla="*/ 1500751 w 6884782"/>
              <a:gd name="connsiteY8489" fmla="*/ 4858666 h 5973007"/>
              <a:gd name="connsiteX8490" fmla="*/ 1673635 w 6884782"/>
              <a:gd name="connsiteY8490" fmla="*/ 4858478 h 5973007"/>
              <a:gd name="connsiteX8491" fmla="*/ 1679192 w 6884782"/>
              <a:gd name="connsiteY8491" fmla="*/ 4859492 h 5973007"/>
              <a:gd name="connsiteX8492" fmla="*/ 1661689 w 6884782"/>
              <a:gd name="connsiteY8492" fmla="*/ 4874567 h 5973007"/>
              <a:gd name="connsiteX8493" fmla="*/ 1659520 w 6884782"/>
              <a:gd name="connsiteY8493" fmla="*/ 4873638 h 5973007"/>
              <a:gd name="connsiteX8494" fmla="*/ 1673635 w 6884782"/>
              <a:gd name="connsiteY8494" fmla="*/ 4858478 h 5973007"/>
              <a:gd name="connsiteX8495" fmla="*/ 1257254 w 6884782"/>
              <a:gd name="connsiteY8495" fmla="*/ 4857323 h 5973007"/>
              <a:gd name="connsiteX8496" fmla="*/ 1259888 w 6884782"/>
              <a:gd name="connsiteY8496" fmla="*/ 4859079 h 5973007"/>
              <a:gd name="connsiteX8497" fmla="*/ 1259113 w 6884782"/>
              <a:gd name="connsiteY8497" fmla="*/ 4861763 h 5973007"/>
              <a:gd name="connsiteX8498" fmla="*/ 1257719 w 6884782"/>
              <a:gd name="connsiteY8498" fmla="*/ 4859698 h 5973007"/>
              <a:gd name="connsiteX8499" fmla="*/ 1257254 w 6884782"/>
              <a:gd name="connsiteY8499" fmla="*/ 4857323 h 5973007"/>
              <a:gd name="connsiteX8500" fmla="*/ 1255241 w 6884782"/>
              <a:gd name="connsiteY8500" fmla="*/ 4855981 h 5973007"/>
              <a:gd name="connsiteX8501" fmla="*/ 1256790 w 6884782"/>
              <a:gd name="connsiteY8501" fmla="*/ 4856910 h 5973007"/>
              <a:gd name="connsiteX8502" fmla="*/ 1256325 w 6884782"/>
              <a:gd name="connsiteY8502" fmla="*/ 4857633 h 5973007"/>
              <a:gd name="connsiteX8503" fmla="*/ 1255241 w 6884782"/>
              <a:gd name="connsiteY8503" fmla="*/ 4856910 h 5973007"/>
              <a:gd name="connsiteX8504" fmla="*/ 1255241 w 6884782"/>
              <a:gd name="connsiteY8504" fmla="*/ 4855981 h 5973007"/>
              <a:gd name="connsiteX8505" fmla="*/ 6042301 w 6884782"/>
              <a:gd name="connsiteY8505" fmla="*/ 4855689 h 5973007"/>
              <a:gd name="connsiteX8506" fmla="*/ 6041991 w 6884782"/>
              <a:gd name="connsiteY8506" fmla="*/ 4859097 h 5973007"/>
              <a:gd name="connsiteX8507" fmla="*/ 6035176 w 6884782"/>
              <a:gd name="connsiteY8507" fmla="*/ 4863124 h 5973007"/>
              <a:gd name="connsiteX8508" fmla="*/ 6033317 w 6884782"/>
              <a:gd name="connsiteY8508" fmla="*/ 4862504 h 5973007"/>
              <a:gd name="connsiteX8509" fmla="*/ 6034556 w 6884782"/>
              <a:gd name="connsiteY8509" fmla="*/ 4858167 h 5973007"/>
              <a:gd name="connsiteX8510" fmla="*/ 6042301 w 6884782"/>
              <a:gd name="connsiteY8510" fmla="*/ 4855689 h 5973007"/>
              <a:gd name="connsiteX8511" fmla="*/ 1844157 w 6884782"/>
              <a:gd name="connsiteY8511" fmla="*/ 4854845 h 5973007"/>
              <a:gd name="connsiteX8512" fmla="*/ 1848029 w 6884782"/>
              <a:gd name="connsiteY8512" fmla="*/ 4857737 h 5973007"/>
              <a:gd name="connsiteX8513" fmla="*/ 1844001 w 6884782"/>
              <a:gd name="connsiteY8513" fmla="*/ 4856084 h 5973007"/>
              <a:gd name="connsiteX8514" fmla="*/ 1844157 w 6884782"/>
              <a:gd name="connsiteY8514" fmla="*/ 4854845 h 5973007"/>
              <a:gd name="connsiteX8515" fmla="*/ 998423 w 6884782"/>
              <a:gd name="connsiteY8515" fmla="*/ 4854845 h 5973007"/>
              <a:gd name="connsiteX8516" fmla="*/ 1001366 w 6884782"/>
              <a:gd name="connsiteY8516" fmla="*/ 4860111 h 5973007"/>
              <a:gd name="connsiteX8517" fmla="*/ 995480 w 6884782"/>
              <a:gd name="connsiteY8517" fmla="*/ 4866926 h 5973007"/>
              <a:gd name="connsiteX8518" fmla="*/ 992537 w 6884782"/>
              <a:gd name="connsiteY8518" fmla="*/ 4866926 h 5973007"/>
              <a:gd name="connsiteX8519" fmla="*/ 989283 w 6884782"/>
              <a:gd name="connsiteY8519" fmla="*/ 4863829 h 5973007"/>
              <a:gd name="connsiteX8520" fmla="*/ 998423 w 6884782"/>
              <a:gd name="connsiteY8520" fmla="*/ 4854845 h 5973007"/>
              <a:gd name="connsiteX8521" fmla="*/ 907653 w 6884782"/>
              <a:gd name="connsiteY8521" fmla="*/ 4854535 h 5973007"/>
              <a:gd name="connsiteX8522" fmla="*/ 907963 w 6884782"/>
              <a:gd name="connsiteY8522" fmla="*/ 4854845 h 5973007"/>
              <a:gd name="connsiteX8523" fmla="*/ 916328 w 6884782"/>
              <a:gd name="connsiteY8523" fmla="*/ 4859182 h 5973007"/>
              <a:gd name="connsiteX8524" fmla="*/ 917567 w 6884782"/>
              <a:gd name="connsiteY8524" fmla="*/ 4864448 h 5973007"/>
              <a:gd name="connsiteX8525" fmla="*/ 914934 w 6884782"/>
              <a:gd name="connsiteY8525" fmla="*/ 4865274 h 5973007"/>
              <a:gd name="connsiteX8526" fmla="*/ 911216 w 6884782"/>
              <a:gd name="connsiteY8526" fmla="*/ 4863106 h 5973007"/>
              <a:gd name="connsiteX8527" fmla="*/ 911216 w 6884782"/>
              <a:gd name="connsiteY8527" fmla="*/ 4864964 h 5973007"/>
              <a:gd name="connsiteX8528" fmla="*/ 909048 w 6884782"/>
              <a:gd name="connsiteY8528" fmla="*/ 4869095 h 5973007"/>
              <a:gd name="connsiteX8529" fmla="*/ 903006 w 6884782"/>
              <a:gd name="connsiteY8529" fmla="*/ 4865171 h 5973007"/>
              <a:gd name="connsiteX8530" fmla="*/ 903161 w 6884782"/>
              <a:gd name="connsiteY8530" fmla="*/ 4855671 h 5973007"/>
              <a:gd name="connsiteX8531" fmla="*/ 907653 w 6884782"/>
              <a:gd name="connsiteY8531" fmla="*/ 4854535 h 5973007"/>
              <a:gd name="connsiteX8532" fmla="*/ 956446 w 6884782"/>
              <a:gd name="connsiteY8532" fmla="*/ 4854122 h 5973007"/>
              <a:gd name="connsiteX8533" fmla="*/ 959854 w 6884782"/>
              <a:gd name="connsiteY8533" fmla="*/ 4860937 h 5973007"/>
              <a:gd name="connsiteX8534" fmla="*/ 958304 w 6884782"/>
              <a:gd name="connsiteY8534" fmla="*/ 4861867 h 5973007"/>
              <a:gd name="connsiteX8535" fmla="*/ 956291 w 6884782"/>
              <a:gd name="connsiteY8535" fmla="*/ 4862589 h 5973007"/>
              <a:gd name="connsiteX8536" fmla="*/ 954122 w 6884782"/>
              <a:gd name="connsiteY8536" fmla="*/ 4862486 h 5973007"/>
              <a:gd name="connsiteX8537" fmla="*/ 951489 w 6884782"/>
              <a:gd name="connsiteY8537" fmla="*/ 4861350 h 5973007"/>
              <a:gd name="connsiteX8538" fmla="*/ 949475 w 6884782"/>
              <a:gd name="connsiteY8538" fmla="*/ 4857943 h 5973007"/>
              <a:gd name="connsiteX8539" fmla="*/ 949166 w 6884782"/>
              <a:gd name="connsiteY8539" fmla="*/ 4856187 h 5973007"/>
              <a:gd name="connsiteX8540" fmla="*/ 956446 w 6884782"/>
              <a:gd name="connsiteY8540" fmla="*/ 4854122 h 5973007"/>
              <a:gd name="connsiteX8541" fmla="*/ 1015616 w 6884782"/>
              <a:gd name="connsiteY8541" fmla="*/ 4854019 h 5973007"/>
              <a:gd name="connsiteX8542" fmla="*/ 1018095 w 6884782"/>
              <a:gd name="connsiteY8542" fmla="*/ 4854639 h 5973007"/>
              <a:gd name="connsiteX8543" fmla="*/ 1018095 w 6884782"/>
              <a:gd name="connsiteY8543" fmla="*/ 4857737 h 5973007"/>
              <a:gd name="connsiteX8544" fmla="*/ 1020263 w 6884782"/>
              <a:gd name="connsiteY8544" fmla="*/ 4860214 h 5973007"/>
              <a:gd name="connsiteX8545" fmla="*/ 1020263 w 6884782"/>
              <a:gd name="connsiteY8545" fmla="*/ 4863312 h 5973007"/>
              <a:gd name="connsiteX8546" fmla="*/ 1019179 w 6884782"/>
              <a:gd name="connsiteY8546" fmla="*/ 4863519 h 5973007"/>
              <a:gd name="connsiteX8547" fmla="*/ 1019488 w 6884782"/>
              <a:gd name="connsiteY8547" fmla="*/ 4862899 h 5973007"/>
              <a:gd name="connsiteX8548" fmla="*/ 1019179 w 6884782"/>
              <a:gd name="connsiteY8548" fmla="*/ 4860524 h 5973007"/>
              <a:gd name="connsiteX8549" fmla="*/ 1015307 w 6884782"/>
              <a:gd name="connsiteY8549" fmla="*/ 4855981 h 5973007"/>
              <a:gd name="connsiteX8550" fmla="*/ 1015616 w 6884782"/>
              <a:gd name="connsiteY8550" fmla="*/ 4854019 h 5973007"/>
              <a:gd name="connsiteX8551" fmla="*/ 1880228 w 6884782"/>
              <a:gd name="connsiteY8551" fmla="*/ 4853645 h 5973007"/>
              <a:gd name="connsiteX8552" fmla="*/ 1897441 w 6884782"/>
              <a:gd name="connsiteY8552" fmla="*/ 4856394 h 5973007"/>
              <a:gd name="connsiteX8553" fmla="*/ 1901623 w 6884782"/>
              <a:gd name="connsiteY8553" fmla="*/ 4861350 h 5973007"/>
              <a:gd name="connsiteX8554" fmla="*/ 1903172 w 6884782"/>
              <a:gd name="connsiteY8554" fmla="*/ 4860008 h 5973007"/>
              <a:gd name="connsiteX8555" fmla="*/ 1907354 w 6884782"/>
              <a:gd name="connsiteY8555" fmla="*/ 4859285 h 5973007"/>
              <a:gd name="connsiteX8556" fmla="*/ 1908439 w 6884782"/>
              <a:gd name="connsiteY8556" fmla="*/ 4867029 h 5973007"/>
              <a:gd name="connsiteX8557" fmla="*/ 1905340 w 6884782"/>
              <a:gd name="connsiteY8557" fmla="*/ 4869817 h 5973007"/>
              <a:gd name="connsiteX8558" fmla="*/ 1902398 w 6884782"/>
              <a:gd name="connsiteY8558" fmla="*/ 4872089 h 5973007"/>
              <a:gd name="connsiteX8559" fmla="*/ 1900849 w 6884782"/>
              <a:gd name="connsiteY8559" fmla="*/ 4877975 h 5973007"/>
              <a:gd name="connsiteX8560" fmla="*/ 1876065 w 6884782"/>
              <a:gd name="connsiteY8560" fmla="*/ 4897696 h 5973007"/>
              <a:gd name="connsiteX8561" fmla="*/ 1867391 w 6884782"/>
              <a:gd name="connsiteY8561" fmla="*/ 4875497 h 5973007"/>
              <a:gd name="connsiteX8562" fmla="*/ 1866926 w 6884782"/>
              <a:gd name="connsiteY8562" fmla="*/ 4873225 h 5973007"/>
              <a:gd name="connsiteX8563" fmla="*/ 1863209 w 6884782"/>
              <a:gd name="connsiteY8563" fmla="*/ 4871882 h 5973007"/>
              <a:gd name="connsiteX8564" fmla="*/ 1862124 w 6884782"/>
              <a:gd name="connsiteY8564" fmla="*/ 4870127 h 5973007"/>
              <a:gd name="connsiteX8565" fmla="*/ 1864138 w 6884782"/>
              <a:gd name="connsiteY8565" fmla="*/ 4868785 h 5973007"/>
              <a:gd name="connsiteX8566" fmla="*/ 1866771 w 6884782"/>
              <a:gd name="connsiteY8566" fmla="*/ 4870024 h 5973007"/>
              <a:gd name="connsiteX8567" fmla="*/ 1867081 w 6884782"/>
              <a:gd name="connsiteY8567" fmla="*/ 4867546 h 5973007"/>
              <a:gd name="connsiteX8568" fmla="*/ 1880228 w 6884782"/>
              <a:gd name="connsiteY8568" fmla="*/ 4853645 h 5973007"/>
              <a:gd name="connsiteX8569" fmla="*/ 1252917 w 6884782"/>
              <a:gd name="connsiteY8569" fmla="*/ 4853503 h 5973007"/>
              <a:gd name="connsiteX8570" fmla="*/ 1252763 w 6884782"/>
              <a:gd name="connsiteY8570" fmla="*/ 4855361 h 5973007"/>
              <a:gd name="connsiteX8571" fmla="*/ 1251833 w 6884782"/>
              <a:gd name="connsiteY8571" fmla="*/ 4853709 h 5973007"/>
              <a:gd name="connsiteX8572" fmla="*/ 1252917 w 6884782"/>
              <a:gd name="connsiteY8572" fmla="*/ 4853503 h 5973007"/>
              <a:gd name="connsiteX8573" fmla="*/ 1670518 w 6884782"/>
              <a:gd name="connsiteY8573" fmla="*/ 4852264 h 5973007"/>
              <a:gd name="connsiteX8574" fmla="*/ 1676559 w 6884782"/>
              <a:gd name="connsiteY8574" fmla="*/ 4854329 h 5973007"/>
              <a:gd name="connsiteX8575" fmla="*/ 1670828 w 6884782"/>
              <a:gd name="connsiteY8575" fmla="*/ 4858666 h 5973007"/>
              <a:gd name="connsiteX8576" fmla="*/ 1670518 w 6884782"/>
              <a:gd name="connsiteY8576" fmla="*/ 4852264 h 5973007"/>
              <a:gd name="connsiteX8577" fmla="*/ 6051905 w 6884782"/>
              <a:gd name="connsiteY8577" fmla="*/ 4852178 h 5973007"/>
              <a:gd name="connsiteX8578" fmla="*/ 6051595 w 6884782"/>
              <a:gd name="connsiteY8578" fmla="*/ 4854966 h 5973007"/>
              <a:gd name="connsiteX8579" fmla="*/ 6049891 w 6884782"/>
              <a:gd name="connsiteY8579" fmla="*/ 4855792 h 5973007"/>
              <a:gd name="connsiteX8580" fmla="*/ 6048807 w 6884782"/>
              <a:gd name="connsiteY8580" fmla="*/ 4858477 h 5973007"/>
              <a:gd name="connsiteX8581" fmla="*/ 6047258 w 6884782"/>
              <a:gd name="connsiteY8581" fmla="*/ 4858477 h 5973007"/>
              <a:gd name="connsiteX8582" fmla="*/ 6049426 w 6884782"/>
              <a:gd name="connsiteY8582" fmla="*/ 4853108 h 5973007"/>
              <a:gd name="connsiteX8583" fmla="*/ 6051905 w 6884782"/>
              <a:gd name="connsiteY8583" fmla="*/ 4852178 h 5973007"/>
              <a:gd name="connsiteX8584" fmla="*/ 1111497 w 6884782"/>
              <a:gd name="connsiteY8584" fmla="*/ 4852161 h 5973007"/>
              <a:gd name="connsiteX8585" fmla="*/ 1134112 w 6884782"/>
              <a:gd name="connsiteY8585" fmla="*/ 4861350 h 5973007"/>
              <a:gd name="connsiteX8586" fmla="*/ 1138604 w 6884782"/>
              <a:gd name="connsiteY8586" fmla="*/ 4867339 h 5973007"/>
              <a:gd name="connsiteX8587" fmla="*/ 1122340 w 6884782"/>
              <a:gd name="connsiteY8587" fmla="*/ 4865481 h 5973007"/>
              <a:gd name="connsiteX8588" fmla="*/ 1115834 w 6884782"/>
              <a:gd name="connsiteY8588" fmla="*/ 4881279 h 5973007"/>
              <a:gd name="connsiteX8589" fmla="*/ 1113820 w 6884782"/>
              <a:gd name="connsiteY8589" fmla="*/ 4877355 h 5973007"/>
              <a:gd name="connsiteX8590" fmla="*/ 1115679 w 6884782"/>
              <a:gd name="connsiteY8590" fmla="*/ 4861557 h 5973007"/>
              <a:gd name="connsiteX8591" fmla="*/ 1111497 w 6884782"/>
              <a:gd name="connsiteY8591" fmla="*/ 4852161 h 5973007"/>
              <a:gd name="connsiteX8592" fmla="*/ 1548459 w 6884782"/>
              <a:gd name="connsiteY8592" fmla="*/ 4851954 h 5973007"/>
              <a:gd name="connsiteX8593" fmla="*/ 1552642 w 6884782"/>
              <a:gd name="connsiteY8593" fmla="*/ 4852161 h 5973007"/>
              <a:gd name="connsiteX8594" fmla="*/ 1554500 w 6884782"/>
              <a:gd name="connsiteY8594" fmla="*/ 4854019 h 5973007"/>
              <a:gd name="connsiteX8595" fmla="*/ 1554500 w 6884782"/>
              <a:gd name="connsiteY8595" fmla="*/ 4854845 h 5973007"/>
              <a:gd name="connsiteX8596" fmla="*/ 1552642 w 6884782"/>
              <a:gd name="connsiteY8596" fmla="*/ 4855465 h 5973007"/>
              <a:gd name="connsiteX8597" fmla="*/ 1544432 w 6884782"/>
              <a:gd name="connsiteY8597" fmla="*/ 4854329 h 5973007"/>
              <a:gd name="connsiteX8598" fmla="*/ 1542728 w 6884782"/>
              <a:gd name="connsiteY8598" fmla="*/ 4854329 h 5973007"/>
              <a:gd name="connsiteX8599" fmla="*/ 1541024 w 6884782"/>
              <a:gd name="connsiteY8599" fmla="*/ 4852470 h 5973007"/>
              <a:gd name="connsiteX8600" fmla="*/ 1548459 w 6884782"/>
              <a:gd name="connsiteY8600" fmla="*/ 4851954 h 5973007"/>
              <a:gd name="connsiteX8601" fmla="*/ 1144954 w 6884782"/>
              <a:gd name="connsiteY8601" fmla="*/ 4851541 h 5973007"/>
              <a:gd name="connsiteX8602" fmla="*/ 1150531 w 6884782"/>
              <a:gd name="connsiteY8602" fmla="*/ 4856084 h 5973007"/>
              <a:gd name="connsiteX8603" fmla="*/ 1146349 w 6884782"/>
              <a:gd name="connsiteY8603" fmla="*/ 4855361 h 5973007"/>
              <a:gd name="connsiteX8604" fmla="*/ 1144954 w 6884782"/>
              <a:gd name="connsiteY8604" fmla="*/ 4851541 h 5973007"/>
              <a:gd name="connsiteX8605" fmla="*/ 1045046 w 6884782"/>
              <a:gd name="connsiteY8605" fmla="*/ 4851438 h 5973007"/>
              <a:gd name="connsiteX8606" fmla="*/ 1052946 w 6884782"/>
              <a:gd name="connsiteY8606" fmla="*/ 4853606 h 5973007"/>
              <a:gd name="connsiteX8607" fmla="*/ 1043033 w 6884782"/>
              <a:gd name="connsiteY8607" fmla="*/ 4869817 h 5973007"/>
              <a:gd name="connsiteX8608" fmla="*/ 1041174 w 6884782"/>
              <a:gd name="connsiteY8608" fmla="*/ 4865894 h 5973007"/>
              <a:gd name="connsiteX8609" fmla="*/ 1045046 w 6884782"/>
              <a:gd name="connsiteY8609" fmla="*/ 4851438 h 5973007"/>
              <a:gd name="connsiteX8610" fmla="*/ 1025529 w 6884782"/>
              <a:gd name="connsiteY8610" fmla="*/ 4851025 h 5973007"/>
              <a:gd name="connsiteX8611" fmla="*/ 1032655 w 6884782"/>
              <a:gd name="connsiteY8611" fmla="*/ 4878387 h 5973007"/>
              <a:gd name="connsiteX8612" fmla="*/ 1025529 w 6884782"/>
              <a:gd name="connsiteY8612" fmla="*/ 4851025 h 5973007"/>
              <a:gd name="connsiteX8613" fmla="*/ 956601 w 6884782"/>
              <a:gd name="connsiteY8613" fmla="*/ 4851025 h 5973007"/>
              <a:gd name="connsiteX8614" fmla="*/ 958149 w 6884782"/>
              <a:gd name="connsiteY8614" fmla="*/ 4851025 h 5973007"/>
              <a:gd name="connsiteX8615" fmla="*/ 957220 w 6884782"/>
              <a:gd name="connsiteY8615" fmla="*/ 4851747 h 5973007"/>
              <a:gd name="connsiteX8616" fmla="*/ 956601 w 6884782"/>
              <a:gd name="connsiteY8616" fmla="*/ 4851025 h 5973007"/>
              <a:gd name="connsiteX8617" fmla="*/ 959234 w 6884782"/>
              <a:gd name="connsiteY8617" fmla="*/ 4850508 h 5973007"/>
              <a:gd name="connsiteX8618" fmla="*/ 960473 w 6884782"/>
              <a:gd name="connsiteY8618" fmla="*/ 4853813 h 5973007"/>
              <a:gd name="connsiteX8619" fmla="*/ 959234 w 6884782"/>
              <a:gd name="connsiteY8619" fmla="*/ 4854535 h 5973007"/>
              <a:gd name="connsiteX8620" fmla="*/ 957065 w 6884782"/>
              <a:gd name="connsiteY8620" fmla="*/ 4853193 h 5973007"/>
              <a:gd name="connsiteX8621" fmla="*/ 1862861 w 6884782"/>
              <a:gd name="connsiteY8621" fmla="*/ 4850121 h 5973007"/>
              <a:gd name="connsiteX8622" fmla="*/ 1869869 w 6884782"/>
              <a:gd name="connsiteY8622" fmla="*/ 4855052 h 5973007"/>
              <a:gd name="connsiteX8623" fmla="*/ 1865222 w 6884782"/>
              <a:gd name="connsiteY8623" fmla="*/ 4861660 h 5973007"/>
              <a:gd name="connsiteX8624" fmla="*/ 1857478 w 6884782"/>
              <a:gd name="connsiteY8624" fmla="*/ 4857117 h 5973007"/>
              <a:gd name="connsiteX8625" fmla="*/ 1862861 w 6884782"/>
              <a:gd name="connsiteY8625" fmla="*/ 4850121 h 5973007"/>
              <a:gd name="connsiteX8626" fmla="*/ 1310132 w 6884782"/>
              <a:gd name="connsiteY8626" fmla="*/ 4849502 h 5973007"/>
              <a:gd name="connsiteX8627" fmla="*/ 1316424 w 6884782"/>
              <a:gd name="connsiteY8627" fmla="*/ 4852264 h 5973007"/>
              <a:gd name="connsiteX8628" fmla="*/ 1311158 w 6884782"/>
              <a:gd name="connsiteY8628" fmla="*/ 4856187 h 5973007"/>
              <a:gd name="connsiteX8629" fmla="*/ 1305272 w 6884782"/>
              <a:gd name="connsiteY8629" fmla="*/ 4854535 h 5973007"/>
              <a:gd name="connsiteX8630" fmla="*/ 1304653 w 6884782"/>
              <a:gd name="connsiteY8630" fmla="*/ 4850612 h 5973007"/>
              <a:gd name="connsiteX8631" fmla="*/ 1310132 w 6884782"/>
              <a:gd name="connsiteY8631" fmla="*/ 4849502 h 5973007"/>
              <a:gd name="connsiteX8632" fmla="*/ 6377342 w 6884782"/>
              <a:gd name="connsiteY8632" fmla="*/ 4848461 h 5973007"/>
              <a:gd name="connsiteX8633" fmla="*/ 6380285 w 6884782"/>
              <a:gd name="connsiteY8633" fmla="*/ 4858271 h 5973007"/>
              <a:gd name="connsiteX8634" fmla="*/ 6374244 w 6884782"/>
              <a:gd name="connsiteY8634" fmla="*/ 4859406 h 5973007"/>
              <a:gd name="connsiteX8635" fmla="*/ 6377342 w 6884782"/>
              <a:gd name="connsiteY8635" fmla="*/ 4848461 h 5973007"/>
              <a:gd name="connsiteX8636" fmla="*/ 1517325 w 6884782"/>
              <a:gd name="connsiteY8636" fmla="*/ 4848030 h 5973007"/>
              <a:gd name="connsiteX8637" fmla="*/ 1519339 w 6884782"/>
              <a:gd name="connsiteY8637" fmla="*/ 4852677 h 5973007"/>
              <a:gd name="connsiteX8638" fmla="*/ 1514692 w 6884782"/>
              <a:gd name="connsiteY8638" fmla="*/ 4857117 h 5973007"/>
              <a:gd name="connsiteX8639" fmla="*/ 1513918 w 6884782"/>
              <a:gd name="connsiteY8639" fmla="*/ 4857117 h 5973007"/>
              <a:gd name="connsiteX8640" fmla="*/ 1512059 w 6884782"/>
              <a:gd name="connsiteY8640" fmla="*/ 4856497 h 5973007"/>
              <a:gd name="connsiteX8641" fmla="*/ 1508496 w 6884782"/>
              <a:gd name="connsiteY8641" fmla="*/ 4853090 h 5973007"/>
              <a:gd name="connsiteX8642" fmla="*/ 1508032 w 6884782"/>
              <a:gd name="connsiteY8642" fmla="*/ 4853916 h 5973007"/>
              <a:gd name="connsiteX8643" fmla="*/ 1510200 w 6884782"/>
              <a:gd name="connsiteY8643" fmla="*/ 4848960 h 5973007"/>
              <a:gd name="connsiteX8644" fmla="*/ 1517325 w 6884782"/>
              <a:gd name="connsiteY8644" fmla="*/ 4848030 h 5973007"/>
              <a:gd name="connsiteX8645" fmla="*/ 1913240 w 6884782"/>
              <a:gd name="connsiteY8645" fmla="*/ 4846585 h 5973007"/>
              <a:gd name="connsiteX8646" fmla="*/ 1910452 w 6884782"/>
              <a:gd name="connsiteY8646" fmla="*/ 4860008 h 5973007"/>
              <a:gd name="connsiteX8647" fmla="*/ 1913240 w 6884782"/>
              <a:gd name="connsiteY8647" fmla="*/ 4846585 h 5973007"/>
              <a:gd name="connsiteX8648" fmla="*/ 1447467 w 6884782"/>
              <a:gd name="connsiteY8648" fmla="*/ 4846378 h 5973007"/>
              <a:gd name="connsiteX8649" fmla="*/ 1451649 w 6884782"/>
              <a:gd name="connsiteY8649" fmla="*/ 4846585 h 5973007"/>
              <a:gd name="connsiteX8650" fmla="*/ 1465125 w 6884782"/>
              <a:gd name="connsiteY8650" fmla="*/ 4850715 h 5973007"/>
              <a:gd name="connsiteX8651" fmla="*/ 1459394 w 6884782"/>
              <a:gd name="connsiteY8651" fmla="*/ 4851541 h 5973007"/>
              <a:gd name="connsiteX8652" fmla="*/ 1446073 w 6884782"/>
              <a:gd name="connsiteY8652" fmla="*/ 4850715 h 5973007"/>
              <a:gd name="connsiteX8653" fmla="*/ 1444369 w 6884782"/>
              <a:gd name="connsiteY8653" fmla="*/ 4848960 h 5973007"/>
              <a:gd name="connsiteX8654" fmla="*/ 1443439 w 6884782"/>
              <a:gd name="connsiteY8654" fmla="*/ 4848856 h 5973007"/>
              <a:gd name="connsiteX8655" fmla="*/ 1442510 w 6884782"/>
              <a:gd name="connsiteY8655" fmla="*/ 4847101 h 5973007"/>
              <a:gd name="connsiteX8656" fmla="*/ 1447467 w 6884782"/>
              <a:gd name="connsiteY8656" fmla="*/ 4846378 h 5973007"/>
              <a:gd name="connsiteX8657" fmla="*/ 967908 w 6884782"/>
              <a:gd name="connsiteY8657" fmla="*/ 4846378 h 5973007"/>
              <a:gd name="connsiteX8658" fmla="*/ 969767 w 6884782"/>
              <a:gd name="connsiteY8658" fmla="*/ 4848030 h 5973007"/>
              <a:gd name="connsiteX8659" fmla="*/ 970386 w 6884782"/>
              <a:gd name="connsiteY8659" fmla="*/ 4853193 h 5973007"/>
              <a:gd name="connsiteX8660" fmla="*/ 968838 w 6884782"/>
              <a:gd name="connsiteY8660" fmla="*/ 4854122 h 5973007"/>
              <a:gd name="connsiteX8661" fmla="*/ 966360 w 6884782"/>
              <a:gd name="connsiteY8661" fmla="*/ 4847411 h 5973007"/>
              <a:gd name="connsiteX8662" fmla="*/ 967908 w 6884782"/>
              <a:gd name="connsiteY8662" fmla="*/ 4846378 h 5973007"/>
              <a:gd name="connsiteX8663" fmla="*/ 6236793 w 6884782"/>
              <a:gd name="connsiteY8663" fmla="*/ 4845906 h 5973007"/>
              <a:gd name="connsiteX8664" fmla="*/ 6242737 w 6884782"/>
              <a:gd name="connsiteY8664" fmla="*/ 4845983 h 5973007"/>
              <a:gd name="connsiteX8665" fmla="*/ 6240259 w 6884782"/>
              <a:gd name="connsiteY8665" fmla="*/ 4853727 h 5973007"/>
              <a:gd name="connsiteX8666" fmla="*/ 6237006 w 6884782"/>
              <a:gd name="connsiteY8666" fmla="*/ 4855482 h 5973007"/>
              <a:gd name="connsiteX8667" fmla="*/ 6233443 w 6884782"/>
              <a:gd name="connsiteY8667" fmla="*/ 4855276 h 5973007"/>
              <a:gd name="connsiteX8668" fmla="*/ 6230500 w 6884782"/>
              <a:gd name="connsiteY8668" fmla="*/ 4855999 h 5973007"/>
              <a:gd name="connsiteX8669" fmla="*/ 6227712 w 6884782"/>
              <a:gd name="connsiteY8669" fmla="*/ 4855276 h 5973007"/>
              <a:gd name="connsiteX8670" fmla="*/ 6226628 w 6884782"/>
              <a:gd name="connsiteY8670" fmla="*/ 4852695 h 5973007"/>
              <a:gd name="connsiteX8671" fmla="*/ 6227247 w 6884782"/>
              <a:gd name="connsiteY8671" fmla="*/ 4850939 h 5973007"/>
              <a:gd name="connsiteX8672" fmla="*/ 6236793 w 6884782"/>
              <a:gd name="connsiteY8672" fmla="*/ 4845906 h 5973007"/>
              <a:gd name="connsiteX8673" fmla="*/ 833807 w 6884782"/>
              <a:gd name="connsiteY8673" fmla="*/ 4845823 h 5973007"/>
              <a:gd name="connsiteX8674" fmla="*/ 839035 w 6884782"/>
              <a:gd name="connsiteY8674" fmla="*/ 4849166 h 5973007"/>
              <a:gd name="connsiteX8675" fmla="*/ 833303 w 6884782"/>
              <a:gd name="connsiteY8675" fmla="*/ 4855361 h 5973007"/>
              <a:gd name="connsiteX8676" fmla="*/ 826953 w 6884782"/>
              <a:gd name="connsiteY8676" fmla="*/ 4852780 h 5973007"/>
              <a:gd name="connsiteX8677" fmla="*/ 826488 w 6884782"/>
              <a:gd name="connsiteY8677" fmla="*/ 4847824 h 5973007"/>
              <a:gd name="connsiteX8678" fmla="*/ 833807 w 6884782"/>
              <a:gd name="connsiteY8678" fmla="*/ 4845823 h 5973007"/>
              <a:gd name="connsiteX8679" fmla="*/ 6046793 w 6884782"/>
              <a:gd name="connsiteY8679" fmla="*/ 4845364 h 5973007"/>
              <a:gd name="connsiteX8680" fmla="*/ 6049426 w 6884782"/>
              <a:gd name="connsiteY8680" fmla="*/ 4845467 h 5973007"/>
              <a:gd name="connsiteX8681" fmla="*/ 6048342 w 6884782"/>
              <a:gd name="connsiteY8681" fmla="*/ 4847222 h 5973007"/>
              <a:gd name="connsiteX8682" fmla="*/ 6044470 w 6884782"/>
              <a:gd name="connsiteY8682" fmla="*/ 4851456 h 5973007"/>
              <a:gd name="connsiteX8683" fmla="*/ 6043231 w 6884782"/>
              <a:gd name="connsiteY8683" fmla="*/ 4850216 h 5973007"/>
              <a:gd name="connsiteX8684" fmla="*/ 6043850 w 6884782"/>
              <a:gd name="connsiteY8684" fmla="*/ 4848771 h 5973007"/>
              <a:gd name="connsiteX8685" fmla="*/ 6045709 w 6884782"/>
              <a:gd name="connsiteY8685" fmla="*/ 4847119 h 5973007"/>
              <a:gd name="connsiteX8686" fmla="*/ 6046793 w 6884782"/>
              <a:gd name="connsiteY8686" fmla="*/ 4845364 h 5973007"/>
              <a:gd name="connsiteX8687" fmla="*/ 1437089 w 6884782"/>
              <a:gd name="connsiteY8687" fmla="*/ 4844933 h 5973007"/>
              <a:gd name="connsiteX8688" fmla="*/ 1440806 w 6884782"/>
              <a:gd name="connsiteY8688" fmla="*/ 4845139 h 5973007"/>
              <a:gd name="connsiteX8689" fmla="*/ 1440187 w 6884782"/>
              <a:gd name="connsiteY8689" fmla="*/ 4850508 h 5973007"/>
              <a:gd name="connsiteX8690" fmla="*/ 1436469 w 6884782"/>
              <a:gd name="connsiteY8690" fmla="*/ 4850302 h 5973007"/>
              <a:gd name="connsiteX8691" fmla="*/ 1437089 w 6884782"/>
              <a:gd name="connsiteY8691" fmla="*/ 4844933 h 5973007"/>
              <a:gd name="connsiteX8692" fmla="*/ 1039160 w 6884782"/>
              <a:gd name="connsiteY8692" fmla="*/ 4844313 h 5973007"/>
              <a:gd name="connsiteX8693" fmla="*/ 1042723 w 6884782"/>
              <a:gd name="connsiteY8693" fmla="*/ 4851541 h 5973007"/>
              <a:gd name="connsiteX8694" fmla="*/ 1037457 w 6884782"/>
              <a:gd name="connsiteY8694" fmla="*/ 4859285 h 5973007"/>
              <a:gd name="connsiteX8695" fmla="*/ 1035598 w 6884782"/>
              <a:gd name="connsiteY8695" fmla="*/ 4855258 h 5973007"/>
              <a:gd name="connsiteX8696" fmla="*/ 1039160 w 6884782"/>
              <a:gd name="connsiteY8696" fmla="*/ 4844313 h 5973007"/>
              <a:gd name="connsiteX8697" fmla="*/ 1879008 w 6884782"/>
              <a:gd name="connsiteY8697" fmla="*/ 4844107 h 5973007"/>
              <a:gd name="connsiteX8698" fmla="*/ 1881022 w 6884782"/>
              <a:gd name="connsiteY8698" fmla="*/ 4846481 h 5973007"/>
              <a:gd name="connsiteX8699" fmla="*/ 1878543 w 6884782"/>
              <a:gd name="connsiteY8699" fmla="*/ 4844829 h 5973007"/>
              <a:gd name="connsiteX8700" fmla="*/ 1879008 w 6884782"/>
              <a:gd name="connsiteY8700" fmla="*/ 4844107 h 5973007"/>
              <a:gd name="connsiteX8701" fmla="*/ 912145 w 6884782"/>
              <a:gd name="connsiteY8701" fmla="*/ 4843694 h 5973007"/>
              <a:gd name="connsiteX8702" fmla="*/ 920200 w 6884782"/>
              <a:gd name="connsiteY8702" fmla="*/ 4853090 h 5973007"/>
              <a:gd name="connsiteX8703" fmla="*/ 918341 w 6884782"/>
              <a:gd name="connsiteY8703" fmla="*/ 4856704 h 5973007"/>
              <a:gd name="connsiteX8704" fmla="*/ 910596 w 6884782"/>
              <a:gd name="connsiteY8704" fmla="*/ 4850199 h 5973007"/>
              <a:gd name="connsiteX8705" fmla="*/ 909668 w 6884782"/>
              <a:gd name="connsiteY8705" fmla="*/ 4847204 h 5973007"/>
              <a:gd name="connsiteX8706" fmla="*/ 912145 w 6884782"/>
              <a:gd name="connsiteY8706" fmla="*/ 4843694 h 5973007"/>
              <a:gd name="connsiteX8707" fmla="*/ 2091991 w 6884782"/>
              <a:gd name="connsiteY8707" fmla="*/ 4843487 h 5973007"/>
              <a:gd name="connsiteX8708" fmla="*/ 2098186 w 6884782"/>
              <a:gd name="connsiteY8708" fmla="*/ 4858149 h 5973007"/>
              <a:gd name="connsiteX8709" fmla="*/ 2095864 w 6884782"/>
              <a:gd name="connsiteY8709" fmla="*/ 4859698 h 5973007"/>
              <a:gd name="connsiteX8710" fmla="*/ 2087498 w 6884782"/>
              <a:gd name="connsiteY8710" fmla="*/ 4853606 h 5973007"/>
              <a:gd name="connsiteX8711" fmla="*/ 2088738 w 6884782"/>
              <a:gd name="connsiteY8711" fmla="*/ 4844210 h 5973007"/>
              <a:gd name="connsiteX8712" fmla="*/ 2091991 w 6884782"/>
              <a:gd name="connsiteY8712" fmla="*/ 4843487 h 5973007"/>
              <a:gd name="connsiteX8713" fmla="*/ 6009463 w 6884782"/>
              <a:gd name="connsiteY8713" fmla="*/ 4842885 h 5973007"/>
              <a:gd name="connsiteX8714" fmla="*/ 5994283 w 6884782"/>
              <a:gd name="connsiteY8714" fmla="*/ 4850630 h 5973007"/>
              <a:gd name="connsiteX8715" fmla="*/ 5994748 w 6884782"/>
              <a:gd name="connsiteY8715" fmla="*/ 4847119 h 5973007"/>
              <a:gd name="connsiteX8716" fmla="*/ 5996452 w 6884782"/>
              <a:gd name="connsiteY8716" fmla="*/ 4847119 h 5973007"/>
              <a:gd name="connsiteX8717" fmla="*/ 6009463 w 6884782"/>
              <a:gd name="connsiteY8717" fmla="*/ 4842885 h 5973007"/>
              <a:gd name="connsiteX8718" fmla="*/ 1058774 w 6884782"/>
              <a:gd name="connsiteY8718" fmla="*/ 4842493 h 5973007"/>
              <a:gd name="connsiteX8719" fmla="*/ 1064874 w 6884782"/>
              <a:gd name="connsiteY8719" fmla="*/ 4844107 h 5973007"/>
              <a:gd name="connsiteX8720" fmla="*/ 1059297 w 6884782"/>
              <a:gd name="connsiteY8720" fmla="*/ 4849166 h 5973007"/>
              <a:gd name="connsiteX8721" fmla="*/ 1058774 w 6884782"/>
              <a:gd name="connsiteY8721" fmla="*/ 4842493 h 5973007"/>
              <a:gd name="connsiteX8722" fmla="*/ 1375595 w 6884782"/>
              <a:gd name="connsiteY8722" fmla="*/ 4842454 h 5973007"/>
              <a:gd name="connsiteX8723" fmla="*/ 1378074 w 6884782"/>
              <a:gd name="connsiteY8723" fmla="*/ 4845759 h 5973007"/>
              <a:gd name="connsiteX8724" fmla="*/ 1375905 w 6884782"/>
              <a:gd name="connsiteY8724" fmla="*/ 4853090 h 5973007"/>
              <a:gd name="connsiteX8725" fmla="*/ 1367231 w 6884782"/>
              <a:gd name="connsiteY8725" fmla="*/ 4850818 h 5973007"/>
              <a:gd name="connsiteX8726" fmla="*/ 1375595 w 6884782"/>
              <a:gd name="connsiteY8726" fmla="*/ 4842454 h 5973007"/>
              <a:gd name="connsiteX8727" fmla="*/ 1081602 w 6884782"/>
              <a:gd name="connsiteY8727" fmla="*/ 4842454 h 5973007"/>
              <a:gd name="connsiteX8728" fmla="*/ 1092135 w 6884782"/>
              <a:gd name="connsiteY8728" fmla="*/ 4846172 h 5973007"/>
              <a:gd name="connsiteX8729" fmla="*/ 1098021 w 6884782"/>
              <a:gd name="connsiteY8729" fmla="*/ 4857633 h 5973007"/>
              <a:gd name="connsiteX8730" fmla="*/ 1096937 w 6884782"/>
              <a:gd name="connsiteY8730" fmla="*/ 4860214 h 5973007"/>
              <a:gd name="connsiteX8731" fmla="*/ 1098951 w 6884782"/>
              <a:gd name="connsiteY8731" fmla="*/ 4861970 h 5973007"/>
              <a:gd name="connsiteX8732" fmla="*/ 1097091 w 6884782"/>
              <a:gd name="connsiteY8732" fmla="*/ 4874774 h 5973007"/>
              <a:gd name="connsiteX8733" fmla="*/ 1089347 w 6884782"/>
              <a:gd name="connsiteY8733" fmla="*/ 4876426 h 5973007"/>
              <a:gd name="connsiteX8734" fmla="*/ 1086249 w 6884782"/>
              <a:gd name="connsiteY8734" fmla="*/ 4875186 h 5973007"/>
              <a:gd name="connsiteX8735" fmla="*/ 1090276 w 6884782"/>
              <a:gd name="connsiteY8735" fmla="*/ 4866719 h 5973007"/>
              <a:gd name="connsiteX8736" fmla="*/ 1091051 w 6884782"/>
              <a:gd name="connsiteY8736" fmla="*/ 4864448 h 5973007"/>
              <a:gd name="connsiteX8737" fmla="*/ 1088417 w 6884782"/>
              <a:gd name="connsiteY8737" fmla="*/ 4865171 h 5973007"/>
              <a:gd name="connsiteX8738" fmla="*/ 1082841 w 6884782"/>
              <a:gd name="connsiteY8738" fmla="*/ 4863312 h 5973007"/>
              <a:gd name="connsiteX8739" fmla="*/ 1078969 w 6884782"/>
              <a:gd name="connsiteY8739" fmla="*/ 4847824 h 5973007"/>
              <a:gd name="connsiteX8740" fmla="*/ 1080363 w 6884782"/>
              <a:gd name="connsiteY8740" fmla="*/ 4845965 h 5973007"/>
              <a:gd name="connsiteX8741" fmla="*/ 1081602 w 6884782"/>
              <a:gd name="connsiteY8741" fmla="*/ 4842454 h 5973007"/>
              <a:gd name="connsiteX8742" fmla="*/ 1600659 w 6884782"/>
              <a:gd name="connsiteY8742" fmla="*/ 4842145 h 5973007"/>
              <a:gd name="connsiteX8743" fmla="*/ 1602363 w 6884782"/>
              <a:gd name="connsiteY8743" fmla="*/ 4844003 h 5973007"/>
              <a:gd name="connsiteX8744" fmla="*/ 1600350 w 6884782"/>
              <a:gd name="connsiteY8744" fmla="*/ 4845965 h 5973007"/>
              <a:gd name="connsiteX8745" fmla="*/ 1597717 w 6884782"/>
              <a:gd name="connsiteY8745" fmla="*/ 4846378 h 5973007"/>
              <a:gd name="connsiteX8746" fmla="*/ 1596942 w 6884782"/>
              <a:gd name="connsiteY8746" fmla="*/ 4845242 h 5973007"/>
              <a:gd name="connsiteX8747" fmla="*/ 1596477 w 6884782"/>
              <a:gd name="connsiteY8747" fmla="*/ 4843280 h 5973007"/>
              <a:gd name="connsiteX8748" fmla="*/ 1600659 w 6884782"/>
              <a:gd name="connsiteY8748" fmla="*/ 4842145 h 5973007"/>
              <a:gd name="connsiteX8749" fmla="*/ 1198394 w 6884782"/>
              <a:gd name="connsiteY8749" fmla="*/ 4841938 h 5973007"/>
              <a:gd name="connsiteX8750" fmla="*/ 1201957 w 6884782"/>
              <a:gd name="connsiteY8750" fmla="*/ 4841938 h 5973007"/>
              <a:gd name="connsiteX8751" fmla="*/ 1201492 w 6884782"/>
              <a:gd name="connsiteY8751" fmla="*/ 4852677 h 5973007"/>
              <a:gd name="connsiteX8752" fmla="*/ 1196226 w 6884782"/>
              <a:gd name="connsiteY8752" fmla="*/ 4852470 h 5973007"/>
              <a:gd name="connsiteX8753" fmla="*/ 1198394 w 6884782"/>
              <a:gd name="connsiteY8753" fmla="*/ 4841938 h 5973007"/>
              <a:gd name="connsiteX8754" fmla="*/ 1906270 w 6884782"/>
              <a:gd name="connsiteY8754" fmla="*/ 4841732 h 5973007"/>
              <a:gd name="connsiteX8755" fmla="*/ 1907664 w 6884782"/>
              <a:gd name="connsiteY8755" fmla="*/ 4848340 h 5973007"/>
              <a:gd name="connsiteX8756" fmla="*/ 1905805 w 6884782"/>
              <a:gd name="connsiteY8756" fmla="*/ 4848443 h 5973007"/>
              <a:gd name="connsiteX8757" fmla="*/ 1903172 w 6884782"/>
              <a:gd name="connsiteY8757" fmla="*/ 4846998 h 5973007"/>
              <a:gd name="connsiteX8758" fmla="*/ 1902243 w 6884782"/>
              <a:gd name="connsiteY8758" fmla="*/ 4844519 h 5973007"/>
              <a:gd name="connsiteX8759" fmla="*/ 1906270 w 6884782"/>
              <a:gd name="connsiteY8759" fmla="*/ 4841732 h 5973007"/>
              <a:gd name="connsiteX8760" fmla="*/ 774133 w 6884782"/>
              <a:gd name="connsiteY8760" fmla="*/ 4841112 h 5973007"/>
              <a:gd name="connsiteX8761" fmla="*/ 775682 w 6884782"/>
              <a:gd name="connsiteY8761" fmla="*/ 4841938 h 5973007"/>
              <a:gd name="connsiteX8762" fmla="*/ 777231 w 6884782"/>
              <a:gd name="connsiteY8762" fmla="*/ 4841938 h 5973007"/>
              <a:gd name="connsiteX8763" fmla="*/ 777231 w 6884782"/>
              <a:gd name="connsiteY8763" fmla="*/ 4842868 h 5973007"/>
              <a:gd name="connsiteX8764" fmla="*/ 777850 w 6884782"/>
              <a:gd name="connsiteY8764" fmla="*/ 4843694 h 5973007"/>
              <a:gd name="connsiteX8765" fmla="*/ 775992 w 6884782"/>
              <a:gd name="connsiteY8765" fmla="*/ 4847308 h 5973007"/>
              <a:gd name="connsiteX8766" fmla="*/ 774133 w 6884782"/>
              <a:gd name="connsiteY8766" fmla="*/ 4848340 h 5973007"/>
              <a:gd name="connsiteX8767" fmla="*/ 772584 w 6884782"/>
              <a:gd name="connsiteY8767" fmla="*/ 4848030 h 5973007"/>
              <a:gd name="connsiteX8768" fmla="*/ 771809 w 6884782"/>
              <a:gd name="connsiteY8768" fmla="*/ 4846275 h 5973007"/>
              <a:gd name="connsiteX8769" fmla="*/ 772119 w 6884782"/>
              <a:gd name="connsiteY8769" fmla="*/ 4842764 h 5973007"/>
              <a:gd name="connsiteX8770" fmla="*/ 774133 w 6884782"/>
              <a:gd name="connsiteY8770" fmla="*/ 4841112 h 5973007"/>
              <a:gd name="connsiteX8771" fmla="*/ 1395887 w 6884782"/>
              <a:gd name="connsiteY8771" fmla="*/ 4840699 h 5973007"/>
              <a:gd name="connsiteX8772" fmla="*/ 1400379 w 6884782"/>
              <a:gd name="connsiteY8772" fmla="*/ 4843074 h 5973007"/>
              <a:gd name="connsiteX8773" fmla="*/ 1403477 w 6884782"/>
              <a:gd name="connsiteY8773" fmla="*/ 4850715 h 5973007"/>
              <a:gd name="connsiteX8774" fmla="*/ 1399604 w 6884782"/>
              <a:gd name="connsiteY8774" fmla="*/ 4852264 h 5973007"/>
              <a:gd name="connsiteX8775" fmla="*/ 1389226 w 6884782"/>
              <a:gd name="connsiteY8775" fmla="*/ 4844003 h 5973007"/>
              <a:gd name="connsiteX8776" fmla="*/ 1395887 w 6884782"/>
              <a:gd name="connsiteY8776" fmla="*/ 4840699 h 5973007"/>
              <a:gd name="connsiteX8777" fmla="*/ 1216207 w 6884782"/>
              <a:gd name="connsiteY8777" fmla="*/ 4840699 h 5973007"/>
              <a:gd name="connsiteX8778" fmla="*/ 1224726 w 6884782"/>
              <a:gd name="connsiteY8778" fmla="*/ 4841938 h 5973007"/>
              <a:gd name="connsiteX8779" fmla="*/ 1221784 w 6884782"/>
              <a:gd name="connsiteY8779" fmla="*/ 4851231 h 5973007"/>
              <a:gd name="connsiteX8780" fmla="*/ 1216207 w 6884782"/>
              <a:gd name="connsiteY8780" fmla="*/ 4840699 h 5973007"/>
              <a:gd name="connsiteX8781" fmla="*/ 6306244 w 6884782"/>
              <a:gd name="connsiteY8781" fmla="*/ 4840510 h 5973007"/>
              <a:gd name="connsiteX8782" fmla="*/ 6311511 w 6884782"/>
              <a:gd name="connsiteY8782" fmla="*/ 4846086 h 5973007"/>
              <a:gd name="connsiteX8783" fmla="*/ 6308413 w 6884782"/>
              <a:gd name="connsiteY8783" fmla="*/ 4849494 h 5973007"/>
              <a:gd name="connsiteX8784" fmla="*/ 6302372 w 6884782"/>
              <a:gd name="connsiteY8784" fmla="*/ 4845673 h 5973007"/>
              <a:gd name="connsiteX8785" fmla="*/ 6306244 w 6884782"/>
              <a:gd name="connsiteY8785" fmla="*/ 4840510 h 5973007"/>
              <a:gd name="connsiteX8786" fmla="*/ 1880713 w 6884782"/>
              <a:gd name="connsiteY8786" fmla="*/ 4839150 h 5973007"/>
              <a:gd name="connsiteX8787" fmla="*/ 1885514 w 6884782"/>
              <a:gd name="connsiteY8787" fmla="*/ 4839150 h 5973007"/>
              <a:gd name="connsiteX8788" fmla="*/ 1886443 w 6884782"/>
              <a:gd name="connsiteY8788" fmla="*/ 4840079 h 5973007"/>
              <a:gd name="connsiteX8789" fmla="*/ 1887063 w 6884782"/>
              <a:gd name="connsiteY8789" fmla="*/ 4840699 h 5973007"/>
              <a:gd name="connsiteX8790" fmla="*/ 1888612 w 6884782"/>
              <a:gd name="connsiteY8790" fmla="*/ 4842454 h 5973007"/>
              <a:gd name="connsiteX8791" fmla="*/ 1886443 w 6884782"/>
              <a:gd name="connsiteY8791" fmla="*/ 4844623 h 5973007"/>
              <a:gd name="connsiteX8792" fmla="*/ 1884120 w 6884782"/>
              <a:gd name="connsiteY8792" fmla="*/ 4844519 h 5973007"/>
              <a:gd name="connsiteX8793" fmla="*/ 1880713 w 6884782"/>
              <a:gd name="connsiteY8793" fmla="*/ 4839150 h 5973007"/>
              <a:gd name="connsiteX8794" fmla="*/ 6016434 w 6884782"/>
              <a:gd name="connsiteY8794" fmla="*/ 4838858 h 5973007"/>
              <a:gd name="connsiteX8795" fmla="*/ 6012871 w 6884782"/>
              <a:gd name="connsiteY8795" fmla="*/ 4841440 h 5973007"/>
              <a:gd name="connsiteX8796" fmla="*/ 6012096 w 6884782"/>
              <a:gd name="connsiteY8796" fmla="*/ 4840510 h 5973007"/>
              <a:gd name="connsiteX8797" fmla="*/ 6016434 w 6884782"/>
              <a:gd name="connsiteY8797" fmla="*/ 4838858 h 5973007"/>
              <a:gd name="connsiteX8798" fmla="*/ 1150531 w 6884782"/>
              <a:gd name="connsiteY8798" fmla="*/ 4838634 h 5973007"/>
              <a:gd name="connsiteX8799" fmla="*/ 1158121 w 6884782"/>
              <a:gd name="connsiteY8799" fmla="*/ 4838737 h 5973007"/>
              <a:gd name="connsiteX8800" fmla="*/ 1156572 w 6884782"/>
              <a:gd name="connsiteY8800" fmla="*/ 4844726 h 5973007"/>
              <a:gd name="connsiteX8801" fmla="*/ 1154248 w 6884782"/>
              <a:gd name="connsiteY8801" fmla="*/ 4846069 h 5973007"/>
              <a:gd name="connsiteX8802" fmla="*/ 1151615 w 6884782"/>
              <a:gd name="connsiteY8802" fmla="*/ 4845552 h 5973007"/>
              <a:gd name="connsiteX8803" fmla="*/ 1150066 w 6884782"/>
              <a:gd name="connsiteY8803" fmla="*/ 4843797 h 5973007"/>
              <a:gd name="connsiteX8804" fmla="*/ 1150531 w 6884782"/>
              <a:gd name="connsiteY8804" fmla="*/ 4838634 h 5973007"/>
              <a:gd name="connsiteX8805" fmla="*/ 6003384 w 6884782"/>
              <a:gd name="connsiteY8805" fmla="*/ 4838497 h 5973007"/>
              <a:gd name="connsiteX8806" fmla="*/ 6008069 w 6884782"/>
              <a:gd name="connsiteY8806" fmla="*/ 4838652 h 5973007"/>
              <a:gd name="connsiteX8807" fmla="*/ 6007914 w 6884782"/>
              <a:gd name="connsiteY8807" fmla="*/ 4839581 h 5973007"/>
              <a:gd name="connsiteX8808" fmla="*/ 5999085 w 6884782"/>
              <a:gd name="connsiteY8808" fmla="*/ 4841440 h 5973007"/>
              <a:gd name="connsiteX8809" fmla="*/ 5995987 w 6884782"/>
              <a:gd name="connsiteY8809" fmla="*/ 4841027 h 5973007"/>
              <a:gd name="connsiteX8810" fmla="*/ 5996917 w 6884782"/>
              <a:gd name="connsiteY8810" fmla="*/ 4841027 h 5973007"/>
              <a:gd name="connsiteX8811" fmla="*/ 5996142 w 6884782"/>
              <a:gd name="connsiteY8811" fmla="*/ 4840201 h 5973007"/>
              <a:gd name="connsiteX8812" fmla="*/ 6003384 w 6884782"/>
              <a:gd name="connsiteY8812" fmla="*/ 4838497 h 5973007"/>
              <a:gd name="connsiteX8813" fmla="*/ 6386326 w 6884782"/>
              <a:gd name="connsiteY8813" fmla="*/ 4837206 h 5973007"/>
              <a:gd name="connsiteX8814" fmla="*/ 6387565 w 6884782"/>
              <a:gd name="connsiteY8814" fmla="*/ 4840820 h 5973007"/>
              <a:gd name="connsiteX8815" fmla="*/ 6379820 w 6884782"/>
              <a:gd name="connsiteY8815" fmla="*/ 4842782 h 5973007"/>
              <a:gd name="connsiteX8816" fmla="*/ 6373469 w 6884782"/>
              <a:gd name="connsiteY8816" fmla="*/ 4840201 h 5973007"/>
              <a:gd name="connsiteX8817" fmla="*/ 6373779 w 6884782"/>
              <a:gd name="connsiteY8817" fmla="*/ 4837723 h 5973007"/>
              <a:gd name="connsiteX8818" fmla="*/ 6386326 w 6884782"/>
              <a:gd name="connsiteY8818" fmla="*/ 4837206 h 5973007"/>
              <a:gd name="connsiteX8819" fmla="*/ 1935081 w 6884782"/>
              <a:gd name="connsiteY8819" fmla="*/ 4836775 h 5973007"/>
              <a:gd name="connsiteX8820" fmla="*/ 1938334 w 6884782"/>
              <a:gd name="connsiteY8820" fmla="*/ 4840183 h 5973007"/>
              <a:gd name="connsiteX8821" fmla="*/ 1937404 w 6884782"/>
              <a:gd name="connsiteY8821" fmla="*/ 4841938 h 5973007"/>
              <a:gd name="connsiteX8822" fmla="*/ 1934771 w 6884782"/>
              <a:gd name="connsiteY8822" fmla="*/ 4842558 h 5973007"/>
              <a:gd name="connsiteX8823" fmla="*/ 1932138 w 6884782"/>
              <a:gd name="connsiteY8823" fmla="*/ 4839873 h 5973007"/>
              <a:gd name="connsiteX8824" fmla="*/ 1932912 w 6884782"/>
              <a:gd name="connsiteY8824" fmla="*/ 4838221 h 5973007"/>
              <a:gd name="connsiteX8825" fmla="*/ 1935081 w 6884782"/>
              <a:gd name="connsiteY8825" fmla="*/ 4836775 h 5973007"/>
              <a:gd name="connsiteX8826" fmla="*/ 1614136 w 6884782"/>
              <a:gd name="connsiteY8826" fmla="*/ 4836156 h 5973007"/>
              <a:gd name="connsiteX8827" fmla="*/ 1618318 w 6884782"/>
              <a:gd name="connsiteY8827" fmla="*/ 4838531 h 5973007"/>
              <a:gd name="connsiteX8828" fmla="*/ 1619402 w 6884782"/>
              <a:gd name="connsiteY8828" fmla="*/ 4841835 h 5973007"/>
              <a:gd name="connsiteX8829" fmla="*/ 1620176 w 6884782"/>
              <a:gd name="connsiteY8829" fmla="*/ 4843384 h 5973007"/>
              <a:gd name="connsiteX8830" fmla="*/ 1633497 w 6884782"/>
              <a:gd name="connsiteY8830" fmla="*/ 4838118 h 5973007"/>
              <a:gd name="connsiteX8831" fmla="*/ 1635356 w 6884782"/>
              <a:gd name="connsiteY8831" fmla="*/ 4847411 h 5973007"/>
              <a:gd name="connsiteX8832" fmla="*/ 1613981 w 6884782"/>
              <a:gd name="connsiteY8832" fmla="*/ 4854742 h 5973007"/>
              <a:gd name="connsiteX8833" fmla="*/ 1603138 w 6884782"/>
              <a:gd name="connsiteY8833" fmla="*/ 4858459 h 5973007"/>
              <a:gd name="connsiteX8834" fmla="*/ 1604377 w 6884782"/>
              <a:gd name="connsiteY8834" fmla="*/ 4861350 h 5973007"/>
              <a:gd name="connsiteX8835" fmla="*/ 1605771 w 6884782"/>
              <a:gd name="connsiteY8835" fmla="*/ 4873431 h 5973007"/>
              <a:gd name="connsiteX8836" fmla="*/ 1604067 w 6884782"/>
              <a:gd name="connsiteY8836" fmla="*/ 4881176 h 5973007"/>
              <a:gd name="connsiteX8837" fmla="*/ 1600195 w 6884782"/>
              <a:gd name="connsiteY8837" fmla="*/ 4879420 h 5973007"/>
              <a:gd name="connsiteX8838" fmla="*/ 1599730 w 6884782"/>
              <a:gd name="connsiteY8838" fmla="*/ 4878697 h 5973007"/>
              <a:gd name="connsiteX8839" fmla="*/ 1599730 w 6884782"/>
              <a:gd name="connsiteY8839" fmla="*/ 4879730 h 5973007"/>
              <a:gd name="connsiteX8840" fmla="*/ 1600040 w 6884782"/>
              <a:gd name="connsiteY8840" fmla="*/ 4881795 h 5973007"/>
              <a:gd name="connsiteX8841" fmla="*/ 1598181 w 6884782"/>
              <a:gd name="connsiteY8841" fmla="*/ 4881795 h 5973007"/>
              <a:gd name="connsiteX8842" fmla="*/ 1597252 w 6884782"/>
              <a:gd name="connsiteY8842" fmla="*/ 4877458 h 5973007"/>
              <a:gd name="connsiteX8843" fmla="*/ 1596477 w 6884782"/>
              <a:gd name="connsiteY8843" fmla="*/ 4877045 h 5973007"/>
              <a:gd name="connsiteX8844" fmla="*/ 1594309 w 6884782"/>
              <a:gd name="connsiteY8844" fmla="*/ 4877665 h 5973007"/>
              <a:gd name="connsiteX8845" fmla="*/ 1588887 w 6884782"/>
              <a:gd name="connsiteY8845" fmla="*/ 4876219 h 5973007"/>
              <a:gd name="connsiteX8846" fmla="*/ 1587184 w 6884782"/>
              <a:gd name="connsiteY8846" fmla="*/ 4874051 h 5973007"/>
              <a:gd name="connsiteX8847" fmla="*/ 1583931 w 6884782"/>
              <a:gd name="connsiteY8847" fmla="*/ 4875290 h 5973007"/>
              <a:gd name="connsiteX8848" fmla="*/ 1580523 w 6884782"/>
              <a:gd name="connsiteY8848" fmla="*/ 4873741 h 5973007"/>
              <a:gd name="connsiteX8849" fmla="*/ 1585790 w 6884782"/>
              <a:gd name="connsiteY8849" fmla="*/ 4865997 h 5973007"/>
              <a:gd name="connsiteX8850" fmla="*/ 1587958 w 6884782"/>
              <a:gd name="connsiteY8850" fmla="*/ 4864242 h 5973007"/>
              <a:gd name="connsiteX8851" fmla="*/ 1588268 w 6884782"/>
              <a:gd name="connsiteY8851" fmla="*/ 4863622 h 5973007"/>
              <a:gd name="connsiteX8852" fmla="*/ 1590437 w 6884782"/>
              <a:gd name="connsiteY8852" fmla="*/ 4862383 h 5973007"/>
              <a:gd name="connsiteX8853" fmla="*/ 1594464 w 6884782"/>
              <a:gd name="connsiteY8853" fmla="*/ 4859182 h 5973007"/>
              <a:gd name="connsiteX8854" fmla="*/ 1595858 w 6884782"/>
              <a:gd name="connsiteY8854" fmla="*/ 4851747 h 5973007"/>
              <a:gd name="connsiteX8855" fmla="*/ 1596942 w 6884782"/>
              <a:gd name="connsiteY8855" fmla="*/ 4850715 h 5973007"/>
              <a:gd name="connsiteX8856" fmla="*/ 1596787 w 6884782"/>
              <a:gd name="connsiteY8856" fmla="*/ 4846378 h 5973007"/>
              <a:gd name="connsiteX8857" fmla="*/ 1602828 w 6884782"/>
              <a:gd name="connsiteY8857" fmla="*/ 4849373 h 5973007"/>
              <a:gd name="connsiteX8858" fmla="*/ 1602053 w 6884782"/>
              <a:gd name="connsiteY8858" fmla="*/ 4851025 h 5973007"/>
              <a:gd name="connsiteX8859" fmla="*/ 1600040 w 6884782"/>
              <a:gd name="connsiteY8859" fmla="*/ 4852057 h 5973007"/>
              <a:gd name="connsiteX8860" fmla="*/ 1600969 w 6884782"/>
              <a:gd name="connsiteY8860" fmla="*/ 4853916 h 5973007"/>
              <a:gd name="connsiteX8861" fmla="*/ 1601744 w 6884782"/>
              <a:gd name="connsiteY8861" fmla="*/ 4852986 h 5973007"/>
              <a:gd name="connsiteX8862" fmla="*/ 1608869 w 6884782"/>
              <a:gd name="connsiteY8862" fmla="*/ 4848340 h 5973007"/>
              <a:gd name="connsiteX8863" fmla="*/ 1613206 w 6884782"/>
              <a:gd name="connsiteY8863" fmla="*/ 4846378 h 5973007"/>
              <a:gd name="connsiteX8864" fmla="*/ 1611347 w 6884782"/>
              <a:gd name="connsiteY8864" fmla="*/ 4845346 h 5973007"/>
              <a:gd name="connsiteX8865" fmla="*/ 1607010 w 6884782"/>
              <a:gd name="connsiteY8865" fmla="*/ 4839667 h 5973007"/>
              <a:gd name="connsiteX8866" fmla="*/ 1614136 w 6884782"/>
              <a:gd name="connsiteY8866" fmla="*/ 4836156 h 5973007"/>
              <a:gd name="connsiteX8867" fmla="*/ 1232626 w 6884782"/>
              <a:gd name="connsiteY8867" fmla="*/ 4836052 h 5973007"/>
              <a:gd name="connsiteX8868" fmla="*/ 1237892 w 6884782"/>
              <a:gd name="connsiteY8868" fmla="*/ 4839460 h 5973007"/>
              <a:gd name="connsiteX8869" fmla="*/ 1238202 w 6884782"/>
              <a:gd name="connsiteY8869" fmla="*/ 4840596 h 5973007"/>
              <a:gd name="connsiteX8870" fmla="*/ 1232626 w 6884782"/>
              <a:gd name="connsiteY8870" fmla="*/ 4836052 h 5973007"/>
              <a:gd name="connsiteX8871" fmla="*/ 1915254 w 6884782"/>
              <a:gd name="connsiteY8871" fmla="*/ 4833265 h 5973007"/>
              <a:gd name="connsiteX8872" fmla="*/ 1915099 w 6884782"/>
              <a:gd name="connsiteY8872" fmla="*/ 4839976 h 5973007"/>
              <a:gd name="connsiteX8873" fmla="*/ 1914325 w 6884782"/>
              <a:gd name="connsiteY8873" fmla="*/ 4840699 h 5973007"/>
              <a:gd name="connsiteX8874" fmla="*/ 1915254 w 6884782"/>
              <a:gd name="connsiteY8874" fmla="*/ 4833265 h 5973007"/>
              <a:gd name="connsiteX8875" fmla="*/ 1371103 w 6884782"/>
              <a:gd name="connsiteY8875" fmla="*/ 4832439 h 5973007"/>
              <a:gd name="connsiteX8876" fmla="*/ 1381171 w 6884782"/>
              <a:gd name="connsiteY8876" fmla="*/ 4833368 h 5973007"/>
              <a:gd name="connsiteX8877" fmla="*/ 1389536 w 6884782"/>
              <a:gd name="connsiteY8877" fmla="*/ 4840079 h 5973007"/>
              <a:gd name="connsiteX8878" fmla="*/ 1384734 w 6884782"/>
              <a:gd name="connsiteY8878" fmla="*/ 4840596 h 5973007"/>
              <a:gd name="connsiteX8879" fmla="*/ 1371103 w 6884782"/>
              <a:gd name="connsiteY8879" fmla="*/ 4832439 h 5973007"/>
              <a:gd name="connsiteX8880" fmla="*/ 1085165 w 6884782"/>
              <a:gd name="connsiteY8880" fmla="*/ 4832336 h 5973007"/>
              <a:gd name="connsiteX8881" fmla="*/ 1089037 w 6884782"/>
              <a:gd name="connsiteY8881" fmla="*/ 4839253 h 5973007"/>
              <a:gd name="connsiteX8882" fmla="*/ 1084545 w 6884782"/>
              <a:gd name="connsiteY8882" fmla="*/ 4834504 h 5973007"/>
              <a:gd name="connsiteX8883" fmla="*/ 1085165 w 6884782"/>
              <a:gd name="connsiteY8883" fmla="*/ 4832336 h 5973007"/>
              <a:gd name="connsiteX8884" fmla="*/ 1583156 w 6884782"/>
              <a:gd name="connsiteY8884" fmla="*/ 4831303 h 5973007"/>
              <a:gd name="connsiteX8885" fmla="*/ 1582692 w 6884782"/>
              <a:gd name="connsiteY8885" fmla="*/ 4832026 h 5973007"/>
              <a:gd name="connsiteX8886" fmla="*/ 1583149 w 6884782"/>
              <a:gd name="connsiteY8886" fmla="*/ 4831305 h 5973007"/>
              <a:gd name="connsiteX8887" fmla="*/ 1464041 w 6884782"/>
              <a:gd name="connsiteY8887" fmla="*/ 4830993 h 5973007"/>
              <a:gd name="connsiteX8888" fmla="*/ 1465900 w 6884782"/>
              <a:gd name="connsiteY8888" fmla="*/ 4831096 h 5973007"/>
              <a:gd name="connsiteX8889" fmla="*/ 1464660 w 6884782"/>
              <a:gd name="connsiteY8889" fmla="*/ 4834401 h 5973007"/>
              <a:gd name="connsiteX8890" fmla="*/ 1463266 w 6884782"/>
              <a:gd name="connsiteY8890" fmla="*/ 4833574 h 5973007"/>
              <a:gd name="connsiteX8891" fmla="*/ 1462802 w 6884782"/>
              <a:gd name="connsiteY8891" fmla="*/ 4834401 h 5973007"/>
              <a:gd name="connsiteX8892" fmla="*/ 1462027 w 6884782"/>
              <a:gd name="connsiteY8892" fmla="*/ 4832851 h 5973007"/>
              <a:gd name="connsiteX8893" fmla="*/ 1462492 w 6884782"/>
              <a:gd name="connsiteY8893" fmla="*/ 4832026 h 5973007"/>
              <a:gd name="connsiteX8894" fmla="*/ 1462492 w 6884782"/>
              <a:gd name="connsiteY8894" fmla="*/ 4831819 h 5973007"/>
              <a:gd name="connsiteX8895" fmla="*/ 1464041 w 6884782"/>
              <a:gd name="connsiteY8895" fmla="*/ 4830993 h 5973007"/>
              <a:gd name="connsiteX8896" fmla="*/ 6237258 w 6884782"/>
              <a:gd name="connsiteY8896" fmla="*/ 4830753 h 5973007"/>
              <a:gd name="connsiteX8897" fmla="*/ 6240259 w 6884782"/>
              <a:gd name="connsiteY8897" fmla="*/ 4840820 h 5973007"/>
              <a:gd name="connsiteX8898" fmla="*/ 6231584 w 6884782"/>
              <a:gd name="connsiteY8898" fmla="*/ 4838342 h 5973007"/>
              <a:gd name="connsiteX8899" fmla="*/ 6237258 w 6884782"/>
              <a:gd name="connsiteY8899" fmla="*/ 4830753 h 5973007"/>
              <a:gd name="connsiteX8900" fmla="*/ 1500906 w 6884782"/>
              <a:gd name="connsiteY8900" fmla="*/ 4830477 h 5973007"/>
              <a:gd name="connsiteX8901" fmla="*/ 1504469 w 6884782"/>
              <a:gd name="connsiteY8901" fmla="*/ 4830580 h 5973007"/>
              <a:gd name="connsiteX8902" fmla="*/ 1505553 w 6884782"/>
              <a:gd name="connsiteY8902" fmla="*/ 4841318 h 5973007"/>
              <a:gd name="connsiteX8903" fmla="*/ 1500286 w 6884782"/>
              <a:gd name="connsiteY8903" fmla="*/ 4840906 h 5973007"/>
              <a:gd name="connsiteX8904" fmla="*/ 1500906 w 6884782"/>
              <a:gd name="connsiteY8904" fmla="*/ 4830477 h 5973007"/>
              <a:gd name="connsiteX8905" fmla="*/ 1885824 w 6884782"/>
              <a:gd name="connsiteY8905" fmla="*/ 4830270 h 5973007"/>
              <a:gd name="connsiteX8906" fmla="*/ 1889076 w 6884782"/>
              <a:gd name="connsiteY8906" fmla="*/ 4833368 h 5973007"/>
              <a:gd name="connsiteX8907" fmla="*/ 1888921 w 6884782"/>
              <a:gd name="connsiteY8907" fmla="*/ 4836982 h 5973007"/>
              <a:gd name="connsiteX8908" fmla="*/ 1885824 w 6884782"/>
              <a:gd name="connsiteY8908" fmla="*/ 4830270 h 5973007"/>
              <a:gd name="connsiteX8909" fmla="*/ 6284637 w 6884782"/>
              <a:gd name="connsiteY8909" fmla="*/ 4829694 h 5973007"/>
              <a:gd name="connsiteX8910" fmla="*/ 6299739 w 6884782"/>
              <a:gd name="connsiteY8910" fmla="*/ 4831217 h 5973007"/>
              <a:gd name="connsiteX8911" fmla="*/ 6303611 w 6884782"/>
              <a:gd name="connsiteY8911" fmla="*/ 4838755 h 5973007"/>
              <a:gd name="connsiteX8912" fmla="*/ 6279912 w 6884782"/>
              <a:gd name="connsiteY8912" fmla="*/ 4860026 h 5973007"/>
              <a:gd name="connsiteX8913" fmla="*/ 6275110 w 6884782"/>
              <a:gd name="connsiteY8913" fmla="*/ 4860026 h 5973007"/>
              <a:gd name="connsiteX8914" fmla="*/ 6269069 w 6884782"/>
              <a:gd name="connsiteY8914" fmla="*/ 4858064 h 5973007"/>
              <a:gd name="connsiteX8915" fmla="*/ 6271393 w 6884782"/>
              <a:gd name="connsiteY8915" fmla="*/ 4844744 h 5973007"/>
              <a:gd name="connsiteX8916" fmla="*/ 6284637 w 6884782"/>
              <a:gd name="connsiteY8916" fmla="*/ 4829694 h 5973007"/>
              <a:gd name="connsiteX8917" fmla="*/ 1599885 w 6884782"/>
              <a:gd name="connsiteY8917" fmla="*/ 4829444 h 5973007"/>
              <a:gd name="connsiteX8918" fmla="*/ 1601124 w 6884782"/>
              <a:gd name="connsiteY8918" fmla="*/ 4833678 h 5973007"/>
              <a:gd name="connsiteX8919" fmla="*/ 1598026 w 6884782"/>
              <a:gd name="connsiteY8919" fmla="*/ 4831612 h 5973007"/>
              <a:gd name="connsiteX8920" fmla="*/ 1599885 w 6884782"/>
              <a:gd name="connsiteY8920" fmla="*/ 4829444 h 5973007"/>
              <a:gd name="connsiteX8921" fmla="*/ 1344925 w 6884782"/>
              <a:gd name="connsiteY8921" fmla="*/ 4829031 h 5973007"/>
              <a:gd name="connsiteX8922" fmla="*/ 1349573 w 6884782"/>
              <a:gd name="connsiteY8922" fmla="*/ 4829135 h 5973007"/>
              <a:gd name="connsiteX8923" fmla="*/ 1348179 w 6884782"/>
              <a:gd name="connsiteY8923" fmla="*/ 4832955 h 5973007"/>
              <a:gd name="connsiteX8924" fmla="*/ 1344925 w 6884782"/>
              <a:gd name="connsiteY8924" fmla="*/ 4831716 h 5973007"/>
              <a:gd name="connsiteX8925" fmla="*/ 1344925 w 6884782"/>
              <a:gd name="connsiteY8925" fmla="*/ 4829031 h 5973007"/>
              <a:gd name="connsiteX8926" fmla="*/ 992692 w 6884782"/>
              <a:gd name="connsiteY8926" fmla="*/ 4828721 h 5973007"/>
              <a:gd name="connsiteX8927" fmla="*/ 980145 w 6884782"/>
              <a:gd name="connsiteY8927" fmla="*/ 4837808 h 5973007"/>
              <a:gd name="connsiteX8928" fmla="*/ 975808 w 6884782"/>
              <a:gd name="connsiteY8928" fmla="*/ 4835226 h 5973007"/>
              <a:gd name="connsiteX8929" fmla="*/ 992692 w 6884782"/>
              <a:gd name="connsiteY8929" fmla="*/ 4828721 h 5973007"/>
              <a:gd name="connsiteX8930" fmla="*/ 1899919 w 6884782"/>
              <a:gd name="connsiteY8930" fmla="*/ 4828205 h 5973007"/>
              <a:gd name="connsiteX8931" fmla="*/ 1907509 w 6884782"/>
              <a:gd name="connsiteY8931" fmla="*/ 4830374 h 5973007"/>
              <a:gd name="connsiteX8932" fmla="*/ 1906890 w 6884782"/>
              <a:gd name="connsiteY8932" fmla="*/ 4834710 h 5973007"/>
              <a:gd name="connsiteX8933" fmla="*/ 1902398 w 6884782"/>
              <a:gd name="connsiteY8933" fmla="*/ 4837602 h 5973007"/>
              <a:gd name="connsiteX8934" fmla="*/ 1899145 w 6884782"/>
              <a:gd name="connsiteY8934" fmla="*/ 4838531 h 5973007"/>
              <a:gd name="connsiteX8935" fmla="*/ 1899300 w 6884782"/>
              <a:gd name="connsiteY8935" fmla="*/ 4840183 h 5973007"/>
              <a:gd name="connsiteX8936" fmla="*/ 1896666 w 6884782"/>
              <a:gd name="connsiteY8936" fmla="*/ 4842145 h 5973007"/>
              <a:gd name="connsiteX8937" fmla="*/ 1894498 w 6884782"/>
              <a:gd name="connsiteY8937" fmla="*/ 4840596 h 5973007"/>
              <a:gd name="connsiteX8938" fmla="*/ 1896046 w 6884782"/>
              <a:gd name="connsiteY8938" fmla="*/ 4838531 h 5973007"/>
              <a:gd name="connsiteX8939" fmla="*/ 1895272 w 6884782"/>
              <a:gd name="connsiteY8939" fmla="*/ 4838634 h 5973007"/>
              <a:gd name="connsiteX8940" fmla="*/ 1895737 w 6884782"/>
              <a:gd name="connsiteY8940" fmla="*/ 4830683 h 5973007"/>
              <a:gd name="connsiteX8941" fmla="*/ 1899919 w 6884782"/>
              <a:gd name="connsiteY8941" fmla="*/ 4828205 h 5973007"/>
              <a:gd name="connsiteX8942" fmla="*/ 6041836 w 6884782"/>
              <a:gd name="connsiteY8942" fmla="*/ 4827913 h 5973007"/>
              <a:gd name="connsiteX8943" fmla="*/ 6035796 w 6884782"/>
              <a:gd name="connsiteY8943" fmla="*/ 4833902 h 5973007"/>
              <a:gd name="connsiteX8944" fmla="*/ 6033937 w 6884782"/>
              <a:gd name="connsiteY8944" fmla="*/ 4833696 h 5973007"/>
              <a:gd name="connsiteX8945" fmla="*/ 6034092 w 6884782"/>
              <a:gd name="connsiteY8945" fmla="*/ 4831217 h 5973007"/>
              <a:gd name="connsiteX8946" fmla="*/ 6041836 w 6884782"/>
              <a:gd name="connsiteY8946" fmla="*/ 4827913 h 5973007"/>
              <a:gd name="connsiteX8947" fmla="*/ 1884430 w 6884782"/>
              <a:gd name="connsiteY8947" fmla="*/ 4827173 h 5973007"/>
              <a:gd name="connsiteX8948" fmla="*/ 1884894 w 6884782"/>
              <a:gd name="connsiteY8948" fmla="*/ 4827585 h 5973007"/>
              <a:gd name="connsiteX8949" fmla="*/ 1885669 w 6884782"/>
              <a:gd name="connsiteY8949" fmla="*/ 4830270 h 5973007"/>
              <a:gd name="connsiteX8950" fmla="*/ 1883191 w 6884782"/>
              <a:gd name="connsiteY8950" fmla="*/ 4828205 h 5973007"/>
              <a:gd name="connsiteX8951" fmla="*/ 1884120 w 6884782"/>
              <a:gd name="connsiteY8951" fmla="*/ 4827482 h 5973007"/>
              <a:gd name="connsiteX8952" fmla="*/ 1883191 w 6884782"/>
              <a:gd name="connsiteY8952" fmla="*/ 4827379 h 5973007"/>
              <a:gd name="connsiteX8953" fmla="*/ 1884430 w 6884782"/>
              <a:gd name="connsiteY8953" fmla="*/ 4827173 h 5973007"/>
              <a:gd name="connsiteX8954" fmla="*/ 1358092 w 6884782"/>
              <a:gd name="connsiteY8954" fmla="*/ 4826140 h 5973007"/>
              <a:gd name="connsiteX8955" fmla="*/ 1359176 w 6884782"/>
              <a:gd name="connsiteY8955" fmla="*/ 4826656 h 5973007"/>
              <a:gd name="connsiteX8956" fmla="*/ 1359796 w 6884782"/>
              <a:gd name="connsiteY8956" fmla="*/ 4827689 h 5973007"/>
              <a:gd name="connsiteX8957" fmla="*/ 1360880 w 6884782"/>
              <a:gd name="connsiteY8957" fmla="*/ 4826553 h 5973007"/>
              <a:gd name="connsiteX8958" fmla="*/ 1367231 w 6884782"/>
              <a:gd name="connsiteY8958" fmla="*/ 4830786 h 5973007"/>
              <a:gd name="connsiteX8959" fmla="*/ 1365062 w 6884782"/>
              <a:gd name="connsiteY8959" fmla="*/ 4837498 h 5973007"/>
              <a:gd name="connsiteX8960" fmla="*/ 1362119 w 6884782"/>
              <a:gd name="connsiteY8960" fmla="*/ 4838944 h 5973007"/>
              <a:gd name="connsiteX8961" fmla="*/ 1359641 w 6884782"/>
              <a:gd name="connsiteY8961" fmla="*/ 4838944 h 5973007"/>
              <a:gd name="connsiteX8962" fmla="*/ 1356543 w 6884782"/>
              <a:gd name="connsiteY8962" fmla="*/ 4835949 h 5973007"/>
              <a:gd name="connsiteX8963" fmla="*/ 1356698 w 6884782"/>
              <a:gd name="connsiteY8963" fmla="*/ 4830890 h 5973007"/>
              <a:gd name="connsiteX8964" fmla="*/ 1357317 w 6884782"/>
              <a:gd name="connsiteY8964" fmla="*/ 4830167 h 5973007"/>
              <a:gd name="connsiteX8965" fmla="*/ 1357007 w 6884782"/>
              <a:gd name="connsiteY8965" fmla="*/ 4829547 h 5973007"/>
              <a:gd name="connsiteX8966" fmla="*/ 1356853 w 6884782"/>
              <a:gd name="connsiteY8966" fmla="*/ 4829547 h 5973007"/>
              <a:gd name="connsiteX8967" fmla="*/ 1357007 w 6884782"/>
              <a:gd name="connsiteY8967" fmla="*/ 4827689 h 5973007"/>
              <a:gd name="connsiteX8968" fmla="*/ 1358092 w 6884782"/>
              <a:gd name="connsiteY8968" fmla="*/ 4826140 h 5973007"/>
              <a:gd name="connsiteX8969" fmla="*/ 1731857 w 6884782"/>
              <a:gd name="connsiteY8969" fmla="*/ 4826101 h 5973007"/>
              <a:gd name="connsiteX8970" fmla="*/ 1754317 w 6884782"/>
              <a:gd name="connsiteY8970" fmla="*/ 4832439 h 5973007"/>
              <a:gd name="connsiteX8971" fmla="*/ 1764695 w 6884782"/>
              <a:gd name="connsiteY8971" fmla="*/ 4865274 h 5973007"/>
              <a:gd name="connsiteX8972" fmla="*/ 1755091 w 6884782"/>
              <a:gd name="connsiteY8972" fmla="*/ 4883860 h 5973007"/>
              <a:gd name="connsiteX8973" fmla="*/ 1731392 w 6884782"/>
              <a:gd name="connsiteY8973" fmla="*/ 4895941 h 5973007"/>
              <a:gd name="connsiteX8974" fmla="*/ 1717606 w 6884782"/>
              <a:gd name="connsiteY8974" fmla="*/ 4891088 h 5973007"/>
              <a:gd name="connsiteX8975" fmla="*/ 1710171 w 6884782"/>
              <a:gd name="connsiteY8975" fmla="*/ 4888507 h 5973007"/>
              <a:gd name="connsiteX8976" fmla="*/ 1708312 w 6884782"/>
              <a:gd name="connsiteY8976" fmla="*/ 4891811 h 5973007"/>
              <a:gd name="connsiteX8977" fmla="*/ 1706454 w 6884782"/>
              <a:gd name="connsiteY8977" fmla="*/ 4887371 h 5973007"/>
              <a:gd name="connsiteX8978" fmla="*/ 1703820 w 6884782"/>
              <a:gd name="connsiteY8978" fmla="*/ 4886338 h 5973007"/>
              <a:gd name="connsiteX8979" fmla="*/ 1695456 w 6884782"/>
              <a:gd name="connsiteY8979" fmla="*/ 4851128 h 5973007"/>
              <a:gd name="connsiteX8980" fmla="*/ 1708467 w 6884782"/>
              <a:gd name="connsiteY8980" fmla="*/ 4832851 h 5973007"/>
              <a:gd name="connsiteX8981" fmla="*/ 1731857 w 6884782"/>
              <a:gd name="connsiteY8981" fmla="*/ 4826101 h 5973007"/>
              <a:gd name="connsiteX8982" fmla="*/ 6128733 w 6884782"/>
              <a:gd name="connsiteY8982" fmla="*/ 4825538 h 5973007"/>
              <a:gd name="connsiteX8983" fmla="*/ 6129353 w 6884782"/>
              <a:gd name="connsiteY8983" fmla="*/ 4825951 h 5973007"/>
              <a:gd name="connsiteX8984" fmla="*/ 6132141 w 6884782"/>
              <a:gd name="connsiteY8984" fmla="*/ 4827707 h 5973007"/>
              <a:gd name="connsiteX8985" fmla="*/ 6131057 w 6884782"/>
              <a:gd name="connsiteY8985" fmla="*/ 4832353 h 5973007"/>
              <a:gd name="connsiteX8986" fmla="*/ 6127804 w 6884782"/>
              <a:gd name="connsiteY8986" fmla="*/ 4832456 h 5973007"/>
              <a:gd name="connsiteX8987" fmla="*/ 6126100 w 6884782"/>
              <a:gd name="connsiteY8987" fmla="*/ 4831217 h 5973007"/>
              <a:gd name="connsiteX8988" fmla="*/ 6126875 w 6884782"/>
              <a:gd name="connsiteY8988" fmla="*/ 4826468 h 5973007"/>
              <a:gd name="connsiteX8989" fmla="*/ 6128733 w 6884782"/>
              <a:gd name="connsiteY8989" fmla="*/ 4825538 h 5973007"/>
              <a:gd name="connsiteX8990" fmla="*/ 1137519 w 6884782"/>
              <a:gd name="connsiteY8990" fmla="*/ 4824901 h 5973007"/>
              <a:gd name="connsiteX8991" fmla="*/ 1140154 w 6884782"/>
              <a:gd name="connsiteY8991" fmla="*/ 4827276 h 5973007"/>
              <a:gd name="connsiteX8992" fmla="*/ 1138759 w 6884782"/>
              <a:gd name="connsiteY8992" fmla="*/ 4828205 h 5973007"/>
              <a:gd name="connsiteX8993" fmla="*/ 1139378 w 6884782"/>
              <a:gd name="connsiteY8993" fmla="*/ 4828825 h 5973007"/>
              <a:gd name="connsiteX8994" fmla="*/ 1137519 w 6884782"/>
              <a:gd name="connsiteY8994" fmla="*/ 4829031 h 5973007"/>
              <a:gd name="connsiteX8995" fmla="*/ 1137055 w 6884782"/>
              <a:gd name="connsiteY8995" fmla="*/ 4828308 h 5973007"/>
              <a:gd name="connsiteX8996" fmla="*/ 1136745 w 6884782"/>
              <a:gd name="connsiteY8996" fmla="*/ 4828205 h 5973007"/>
              <a:gd name="connsiteX8997" fmla="*/ 1136745 w 6884782"/>
              <a:gd name="connsiteY8997" fmla="*/ 4826450 h 5973007"/>
              <a:gd name="connsiteX8998" fmla="*/ 1137519 w 6884782"/>
              <a:gd name="connsiteY8998" fmla="*/ 4824901 h 5973007"/>
              <a:gd name="connsiteX8999" fmla="*/ 858241 w 6884782"/>
              <a:gd name="connsiteY8999" fmla="*/ 4824178 h 5973007"/>
              <a:gd name="connsiteX9000" fmla="*/ 862733 w 6884782"/>
              <a:gd name="connsiteY9000" fmla="*/ 4826553 h 5973007"/>
              <a:gd name="connsiteX9001" fmla="*/ 863353 w 6884782"/>
              <a:gd name="connsiteY9001" fmla="*/ 4836982 h 5973007"/>
              <a:gd name="connsiteX9002" fmla="*/ 854524 w 6884782"/>
              <a:gd name="connsiteY9002" fmla="*/ 4839150 h 5973007"/>
              <a:gd name="connsiteX9003" fmla="*/ 853904 w 6884782"/>
              <a:gd name="connsiteY9003" fmla="*/ 4841009 h 5973007"/>
              <a:gd name="connsiteX9004" fmla="*/ 850806 w 6884782"/>
              <a:gd name="connsiteY9004" fmla="*/ 4842971 h 5973007"/>
              <a:gd name="connsiteX9005" fmla="*/ 849723 w 6884782"/>
              <a:gd name="connsiteY9005" fmla="*/ 4841215 h 5973007"/>
              <a:gd name="connsiteX9006" fmla="*/ 852665 w 6884782"/>
              <a:gd name="connsiteY9006" fmla="*/ 4838531 h 5973007"/>
              <a:gd name="connsiteX9007" fmla="*/ 852511 w 6884782"/>
              <a:gd name="connsiteY9007" fmla="*/ 4837602 h 5973007"/>
              <a:gd name="connsiteX9008" fmla="*/ 850651 w 6884782"/>
              <a:gd name="connsiteY9008" fmla="*/ 4835949 h 5973007"/>
              <a:gd name="connsiteX9009" fmla="*/ 849412 w 6884782"/>
              <a:gd name="connsiteY9009" fmla="*/ 4827276 h 5973007"/>
              <a:gd name="connsiteX9010" fmla="*/ 858241 w 6884782"/>
              <a:gd name="connsiteY9010" fmla="*/ 4824178 h 5973007"/>
              <a:gd name="connsiteX9011" fmla="*/ 1459394 w 6884782"/>
              <a:gd name="connsiteY9011" fmla="*/ 4823145 h 5973007"/>
              <a:gd name="connsiteX9012" fmla="*/ 1458620 w 6884782"/>
              <a:gd name="connsiteY9012" fmla="*/ 4825624 h 5973007"/>
              <a:gd name="connsiteX9013" fmla="*/ 1450100 w 6884782"/>
              <a:gd name="connsiteY9013" fmla="*/ 4831096 h 5973007"/>
              <a:gd name="connsiteX9014" fmla="*/ 1459394 w 6884782"/>
              <a:gd name="connsiteY9014" fmla="*/ 4823145 h 5973007"/>
              <a:gd name="connsiteX9015" fmla="*/ 1207223 w 6884782"/>
              <a:gd name="connsiteY9015" fmla="*/ 4823042 h 5973007"/>
              <a:gd name="connsiteX9016" fmla="*/ 1207843 w 6884782"/>
              <a:gd name="connsiteY9016" fmla="*/ 4824901 h 5973007"/>
              <a:gd name="connsiteX9017" fmla="*/ 1208307 w 6884782"/>
              <a:gd name="connsiteY9017" fmla="*/ 4824384 h 5973007"/>
              <a:gd name="connsiteX9018" fmla="*/ 1212334 w 6884782"/>
              <a:gd name="connsiteY9018" fmla="*/ 4823249 h 5973007"/>
              <a:gd name="connsiteX9019" fmla="*/ 1209701 w 6884782"/>
              <a:gd name="connsiteY9019" fmla="*/ 4825830 h 5973007"/>
              <a:gd name="connsiteX9020" fmla="*/ 1208462 w 6884782"/>
              <a:gd name="connsiteY9020" fmla="*/ 4826759 h 5973007"/>
              <a:gd name="connsiteX9021" fmla="*/ 1209237 w 6884782"/>
              <a:gd name="connsiteY9021" fmla="*/ 4829031 h 5973007"/>
              <a:gd name="connsiteX9022" fmla="*/ 1206138 w 6884782"/>
              <a:gd name="connsiteY9022" fmla="*/ 4835226 h 5973007"/>
              <a:gd name="connsiteX9023" fmla="*/ 1199169 w 6884782"/>
              <a:gd name="connsiteY9023" fmla="*/ 4827585 h 5973007"/>
              <a:gd name="connsiteX9024" fmla="*/ 1207223 w 6884782"/>
              <a:gd name="connsiteY9024" fmla="*/ 4823042 h 5973007"/>
              <a:gd name="connsiteX9025" fmla="*/ 1302794 w 6884782"/>
              <a:gd name="connsiteY9025" fmla="*/ 4821803 h 5973007"/>
              <a:gd name="connsiteX9026" fmla="*/ 1301090 w 6884782"/>
              <a:gd name="connsiteY9026" fmla="*/ 4830993 h 5973007"/>
              <a:gd name="connsiteX9027" fmla="*/ 1299696 w 6884782"/>
              <a:gd name="connsiteY9027" fmla="*/ 4829135 h 5973007"/>
              <a:gd name="connsiteX9028" fmla="*/ 1302794 w 6884782"/>
              <a:gd name="connsiteY9028" fmla="*/ 4821803 h 5973007"/>
              <a:gd name="connsiteX9029" fmla="*/ 1059762 w 6884782"/>
              <a:gd name="connsiteY9029" fmla="*/ 4821597 h 5973007"/>
              <a:gd name="connsiteX9030" fmla="*/ 1054340 w 6884782"/>
              <a:gd name="connsiteY9030" fmla="*/ 4832336 h 5973007"/>
              <a:gd name="connsiteX9031" fmla="*/ 1050003 w 6884782"/>
              <a:gd name="connsiteY9031" fmla="*/ 4831406 h 5973007"/>
              <a:gd name="connsiteX9032" fmla="*/ 1059762 w 6884782"/>
              <a:gd name="connsiteY9032" fmla="*/ 4821597 h 5973007"/>
              <a:gd name="connsiteX9033" fmla="*/ 1756795 w 6884782"/>
              <a:gd name="connsiteY9033" fmla="*/ 4820564 h 5973007"/>
              <a:gd name="connsiteX9034" fmla="*/ 1758034 w 6884782"/>
              <a:gd name="connsiteY9034" fmla="*/ 4832129 h 5973007"/>
              <a:gd name="connsiteX9035" fmla="*/ 1753852 w 6884782"/>
              <a:gd name="connsiteY9035" fmla="*/ 4831819 h 5973007"/>
              <a:gd name="connsiteX9036" fmla="*/ 1749515 w 6884782"/>
              <a:gd name="connsiteY9036" fmla="*/ 4825417 h 5973007"/>
              <a:gd name="connsiteX9037" fmla="*/ 1756795 w 6884782"/>
              <a:gd name="connsiteY9037" fmla="*/ 4820564 h 5973007"/>
              <a:gd name="connsiteX9038" fmla="*/ 1589972 w 6884782"/>
              <a:gd name="connsiteY9038" fmla="*/ 4820461 h 5973007"/>
              <a:gd name="connsiteX9039" fmla="*/ 1590901 w 6884782"/>
              <a:gd name="connsiteY9039" fmla="*/ 4837395 h 5973007"/>
              <a:gd name="connsiteX9040" fmla="*/ 1589197 w 6884782"/>
              <a:gd name="connsiteY9040" fmla="*/ 4837085 h 5973007"/>
              <a:gd name="connsiteX9041" fmla="*/ 1588113 w 6884782"/>
              <a:gd name="connsiteY9041" fmla="*/ 4838427 h 5973007"/>
              <a:gd name="connsiteX9042" fmla="*/ 1586409 w 6884782"/>
              <a:gd name="connsiteY9042" fmla="*/ 4838531 h 5973007"/>
              <a:gd name="connsiteX9043" fmla="*/ 1584550 w 6884782"/>
              <a:gd name="connsiteY9043" fmla="*/ 4834917 h 5973007"/>
              <a:gd name="connsiteX9044" fmla="*/ 1587958 w 6884782"/>
              <a:gd name="connsiteY9044" fmla="*/ 4833368 h 5973007"/>
              <a:gd name="connsiteX9045" fmla="*/ 1588268 w 6884782"/>
              <a:gd name="connsiteY9045" fmla="*/ 4833471 h 5973007"/>
              <a:gd name="connsiteX9046" fmla="*/ 1587649 w 6884782"/>
              <a:gd name="connsiteY9046" fmla="*/ 4831200 h 5973007"/>
              <a:gd name="connsiteX9047" fmla="*/ 1589972 w 6884782"/>
              <a:gd name="connsiteY9047" fmla="*/ 4820461 h 5973007"/>
              <a:gd name="connsiteX9048" fmla="*/ 1585480 w 6884782"/>
              <a:gd name="connsiteY9048" fmla="*/ 4820151 h 5973007"/>
              <a:gd name="connsiteX9049" fmla="*/ 1586254 w 6884782"/>
              <a:gd name="connsiteY9049" fmla="*/ 4820461 h 5973007"/>
              <a:gd name="connsiteX9050" fmla="*/ 1584395 w 6884782"/>
              <a:gd name="connsiteY9050" fmla="*/ 4829341 h 5973007"/>
              <a:gd name="connsiteX9051" fmla="*/ 1583149 w 6884782"/>
              <a:gd name="connsiteY9051" fmla="*/ 4831305 h 5973007"/>
              <a:gd name="connsiteX9052" fmla="*/ 1582072 w 6884782"/>
              <a:gd name="connsiteY9052" fmla="*/ 4831612 h 5973007"/>
              <a:gd name="connsiteX9053" fmla="*/ 1585480 w 6884782"/>
              <a:gd name="connsiteY9053" fmla="*/ 4820151 h 5973007"/>
              <a:gd name="connsiteX9054" fmla="*/ 1700239 w 6884782"/>
              <a:gd name="connsiteY9054" fmla="*/ 4819054 h 5973007"/>
              <a:gd name="connsiteX9055" fmla="*/ 1707538 w 6884782"/>
              <a:gd name="connsiteY9055" fmla="*/ 4822526 h 5973007"/>
              <a:gd name="connsiteX9056" fmla="*/ 1701187 w 6884782"/>
              <a:gd name="connsiteY9056" fmla="*/ 4827173 h 5973007"/>
              <a:gd name="connsiteX9057" fmla="*/ 1693287 w 6884782"/>
              <a:gd name="connsiteY9057" fmla="*/ 4822629 h 5973007"/>
              <a:gd name="connsiteX9058" fmla="*/ 1700239 w 6884782"/>
              <a:gd name="connsiteY9058" fmla="*/ 4819054 h 5973007"/>
              <a:gd name="connsiteX9059" fmla="*/ 1026304 w 6884782"/>
              <a:gd name="connsiteY9059" fmla="*/ 4817983 h 5973007"/>
              <a:gd name="connsiteX9060" fmla="*/ 1028783 w 6884782"/>
              <a:gd name="connsiteY9060" fmla="*/ 4820771 h 5973007"/>
              <a:gd name="connsiteX9061" fmla="*/ 1021812 w 6884782"/>
              <a:gd name="connsiteY9061" fmla="*/ 4827999 h 5973007"/>
              <a:gd name="connsiteX9062" fmla="*/ 1018249 w 6884782"/>
              <a:gd name="connsiteY9062" fmla="*/ 4823662 h 5973007"/>
              <a:gd name="connsiteX9063" fmla="*/ 1026304 w 6884782"/>
              <a:gd name="connsiteY9063" fmla="*/ 4817983 h 5973007"/>
              <a:gd name="connsiteX9064" fmla="*/ 1610728 w 6884782"/>
              <a:gd name="connsiteY9064" fmla="*/ 4817570 h 5973007"/>
              <a:gd name="connsiteX9065" fmla="*/ 1611657 w 6884782"/>
              <a:gd name="connsiteY9065" fmla="*/ 4819428 h 5973007"/>
              <a:gd name="connsiteX9066" fmla="*/ 1610883 w 6884782"/>
              <a:gd name="connsiteY9066" fmla="*/ 4822010 h 5973007"/>
              <a:gd name="connsiteX9067" fmla="*/ 1607475 w 6884782"/>
              <a:gd name="connsiteY9067" fmla="*/ 4822733 h 5973007"/>
              <a:gd name="connsiteX9068" fmla="*/ 1606700 w 6884782"/>
              <a:gd name="connsiteY9068" fmla="*/ 4820977 h 5973007"/>
              <a:gd name="connsiteX9069" fmla="*/ 1606546 w 6884782"/>
              <a:gd name="connsiteY9069" fmla="*/ 4818189 h 5973007"/>
              <a:gd name="connsiteX9070" fmla="*/ 1610728 w 6884782"/>
              <a:gd name="connsiteY9070" fmla="*/ 4817570 h 5973007"/>
              <a:gd name="connsiteX9071" fmla="*/ 1788703 w 6884782"/>
              <a:gd name="connsiteY9071" fmla="*/ 4816640 h 5973007"/>
              <a:gd name="connsiteX9072" fmla="*/ 1792576 w 6884782"/>
              <a:gd name="connsiteY9072" fmla="*/ 4819945 h 5973007"/>
              <a:gd name="connsiteX9073" fmla="*/ 1794280 w 6884782"/>
              <a:gd name="connsiteY9073" fmla="*/ 4820668 h 5973007"/>
              <a:gd name="connsiteX9074" fmla="*/ 1792731 w 6884782"/>
              <a:gd name="connsiteY9074" fmla="*/ 4821597 h 5973007"/>
              <a:gd name="connsiteX9075" fmla="*/ 1790717 w 6884782"/>
              <a:gd name="connsiteY9075" fmla="*/ 4819118 h 5973007"/>
              <a:gd name="connsiteX9076" fmla="*/ 1789168 w 6884782"/>
              <a:gd name="connsiteY9076" fmla="*/ 4820151 h 5973007"/>
              <a:gd name="connsiteX9077" fmla="*/ 1788239 w 6884782"/>
              <a:gd name="connsiteY9077" fmla="*/ 4819222 h 5973007"/>
              <a:gd name="connsiteX9078" fmla="*/ 1788084 w 6884782"/>
              <a:gd name="connsiteY9078" fmla="*/ 4819118 h 5973007"/>
              <a:gd name="connsiteX9079" fmla="*/ 1787929 w 6884782"/>
              <a:gd name="connsiteY9079" fmla="*/ 4819222 h 5973007"/>
              <a:gd name="connsiteX9080" fmla="*/ 1788239 w 6884782"/>
              <a:gd name="connsiteY9080" fmla="*/ 4819222 h 5973007"/>
              <a:gd name="connsiteX9081" fmla="*/ 1788858 w 6884782"/>
              <a:gd name="connsiteY9081" fmla="*/ 4827792 h 5973007"/>
              <a:gd name="connsiteX9082" fmla="*/ 1789788 w 6884782"/>
              <a:gd name="connsiteY9082" fmla="*/ 4828308 h 5973007"/>
              <a:gd name="connsiteX9083" fmla="*/ 1790562 w 6884782"/>
              <a:gd name="connsiteY9083" fmla="*/ 4827792 h 5973007"/>
              <a:gd name="connsiteX9084" fmla="*/ 1790873 w 6884782"/>
              <a:gd name="connsiteY9084" fmla="*/ 4825417 h 5973007"/>
              <a:gd name="connsiteX9085" fmla="*/ 1797533 w 6884782"/>
              <a:gd name="connsiteY9085" fmla="*/ 4820977 h 5973007"/>
              <a:gd name="connsiteX9086" fmla="*/ 1803574 w 6884782"/>
              <a:gd name="connsiteY9086" fmla="*/ 4825417 h 5973007"/>
              <a:gd name="connsiteX9087" fmla="*/ 1804038 w 6884782"/>
              <a:gd name="connsiteY9087" fmla="*/ 4826037 h 5973007"/>
              <a:gd name="connsiteX9088" fmla="*/ 1804967 w 6884782"/>
              <a:gd name="connsiteY9088" fmla="*/ 4826553 h 5973007"/>
              <a:gd name="connsiteX9089" fmla="*/ 1808066 w 6884782"/>
              <a:gd name="connsiteY9089" fmla="*/ 4828515 h 5973007"/>
              <a:gd name="connsiteX9090" fmla="*/ 1808221 w 6884782"/>
              <a:gd name="connsiteY9090" fmla="*/ 4829341 h 5973007"/>
              <a:gd name="connsiteX9091" fmla="*/ 1806517 w 6884782"/>
              <a:gd name="connsiteY9091" fmla="*/ 4830270 h 5973007"/>
              <a:gd name="connsiteX9092" fmla="*/ 1805278 w 6884782"/>
              <a:gd name="connsiteY9092" fmla="*/ 4829754 h 5973007"/>
              <a:gd name="connsiteX9093" fmla="*/ 1805587 w 6884782"/>
              <a:gd name="connsiteY9093" fmla="*/ 4833058 h 5973007"/>
              <a:gd name="connsiteX9094" fmla="*/ 1802799 w 6884782"/>
              <a:gd name="connsiteY9094" fmla="*/ 4835949 h 5973007"/>
              <a:gd name="connsiteX9095" fmla="*/ 1801405 w 6884782"/>
              <a:gd name="connsiteY9095" fmla="*/ 4836775 h 5973007"/>
              <a:gd name="connsiteX9096" fmla="*/ 1803419 w 6884782"/>
              <a:gd name="connsiteY9096" fmla="*/ 4836672 h 5973007"/>
              <a:gd name="connsiteX9097" fmla="*/ 1806517 w 6884782"/>
              <a:gd name="connsiteY9097" fmla="*/ 4839563 h 5973007"/>
              <a:gd name="connsiteX9098" fmla="*/ 1798462 w 6884782"/>
              <a:gd name="connsiteY9098" fmla="*/ 4854122 h 5973007"/>
              <a:gd name="connsiteX9099" fmla="*/ 1797533 w 6884782"/>
              <a:gd name="connsiteY9099" fmla="*/ 4854329 h 5973007"/>
              <a:gd name="connsiteX9100" fmla="*/ 1796758 w 6884782"/>
              <a:gd name="connsiteY9100" fmla="*/ 4855258 h 5973007"/>
              <a:gd name="connsiteX9101" fmla="*/ 1796758 w 6884782"/>
              <a:gd name="connsiteY9101" fmla="*/ 4855465 h 5973007"/>
              <a:gd name="connsiteX9102" fmla="*/ 1796913 w 6884782"/>
              <a:gd name="connsiteY9102" fmla="*/ 4856394 h 5973007"/>
              <a:gd name="connsiteX9103" fmla="*/ 1795209 w 6884782"/>
              <a:gd name="connsiteY9103" fmla="*/ 4859388 h 5973007"/>
              <a:gd name="connsiteX9104" fmla="*/ 1794280 w 6884782"/>
              <a:gd name="connsiteY9104" fmla="*/ 4859802 h 5973007"/>
              <a:gd name="connsiteX9105" fmla="*/ 1793041 w 6884782"/>
              <a:gd name="connsiteY9105" fmla="*/ 4859182 h 5973007"/>
              <a:gd name="connsiteX9106" fmla="*/ 1789943 w 6884782"/>
              <a:gd name="connsiteY9106" fmla="*/ 4855052 h 5973007"/>
              <a:gd name="connsiteX9107" fmla="*/ 1774763 w 6884782"/>
              <a:gd name="connsiteY9107" fmla="*/ 4855052 h 5973007"/>
              <a:gd name="connsiteX9108" fmla="*/ 1774298 w 6884782"/>
              <a:gd name="connsiteY9108" fmla="*/ 4846275 h 5973007"/>
              <a:gd name="connsiteX9109" fmla="*/ 1788858 w 6884782"/>
              <a:gd name="connsiteY9109" fmla="*/ 4841112 h 5973007"/>
              <a:gd name="connsiteX9110" fmla="*/ 1789013 w 6884782"/>
              <a:gd name="connsiteY9110" fmla="*/ 4841938 h 5973007"/>
              <a:gd name="connsiteX9111" fmla="*/ 1793660 w 6884782"/>
              <a:gd name="connsiteY9111" fmla="*/ 4839873 h 5973007"/>
              <a:gd name="connsiteX9112" fmla="*/ 1794280 w 6884782"/>
              <a:gd name="connsiteY9112" fmla="*/ 4840596 h 5973007"/>
              <a:gd name="connsiteX9113" fmla="*/ 1794589 w 6884782"/>
              <a:gd name="connsiteY9113" fmla="*/ 4840596 h 5973007"/>
              <a:gd name="connsiteX9114" fmla="*/ 1797378 w 6884782"/>
              <a:gd name="connsiteY9114" fmla="*/ 4837602 h 5973007"/>
              <a:gd name="connsiteX9115" fmla="*/ 1796913 w 6884782"/>
              <a:gd name="connsiteY9115" fmla="*/ 4837602 h 5973007"/>
              <a:gd name="connsiteX9116" fmla="*/ 1790098 w 6884782"/>
              <a:gd name="connsiteY9116" fmla="*/ 4830270 h 5973007"/>
              <a:gd name="connsiteX9117" fmla="*/ 1789478 w 6884782"/>
              <a:gd name="connsiteY9117" fmla="*/ 4830064 h 5973007"/>
              <a:gd name="connsiteX9118" fmla="*/ 1789633 w 6884782"/>
              <a:gd name="connsiteY9118" fmla="*/ 4831096 h 5973007"/>
              <a:gd name="connsiteX9119" fmla="*/ 1790098 w 6884782"/>
              <a:gd name="connsiteY9119" fmla="*/ 4832129 h 5973007"/>
              <a:gd name="connsiteX9120" fmla="*/ 1789478 w 6884782"/>
              <a:gd name="connsiteY9120" fmla="*/ 4833884 h 5973007"/>
              <a:gd name="connsiteX9121" fmla="*/ 1784986 w 6884782"/>
              <a:gd name="connsiteY9121" fmla="*/ 4837602 h 5973007"/>
              <a:gd name="connsiteX9122" fmla="*/ 1784211 w 6884782"/>
              <a:gd name="connsiteY9122" fmla="*/ 4824281 h 5973007"/>
              <a:gd name="connsiteX9123" fmla="*/ 1785141 w 6884782"/>
              <a:gd name="connsiteY9123" fmla="*/ 4821493 h 5973007"/>
              <a:gd name="connsiteX9124" fmla="*/ 1783128 w 6884782"/>
              <a:gd name="connsiteY9124" fmla="*/ 4819532 h 5973007"/>
              <a:gd name="connsiteX9125" fmla="*/ 1786380 w 6884782"/>
              <a:gd name="connsiteY9125" fmla="*/ 4816744 h 5973007"/>
              <a:gd name="connsiteX9126" fmla="*/ 1788239 w 6884782"/>
              <a:gd name="connsiteY9126" fmla="*/ 4818189 h 5973007"/>
              <a:gd name="connsiteX9127" fmla="*/ 1602983 w 6884782"/>
              <a:gd name="connsiteY9127" fmla="*/ 4815917 h 5973007"/>
              <a:gd name="connsiteX9128" fmla="*/ 1603758 w 6884782"/>
              <a:gd name="connsiteY9128" fmla="*/ 4816847 h 5973007"/>
              <a:gd name="connsiteX9129" fmla="*/ 1607320 w 6884782"/>
              <a:gd name="connsiteY9129" fmla="*/ 4827069 h 5973007"/>
              <a:gd name="connsiteX9130" fmla="*/ 1603758 w 6884782"/>
              <a:gd name="connsiteY9130" fmla="*/ 4828205 h 5973007"/>
              <a:gd name="connsiteX9131" fmla="*/ 1599885 w 6884782"/>
              <a:gd name="connsiteY9131" fmla="*/ 4825830 h 5973007"/>
              <a:gd name="connsiteX9132" fmla="*/ 1595393 w 6884782"/>
              <a:gd name="connsiteY9132" fmla="*/ 4817260 h 5973007"/>
              <a:gd name="connsiteX9133" fmla="*/ 1602983 w 6884782"/>
              <a:gd name="connsiteY9133" fmla="*/ 4815917 h 5973007"/>
              <a:gd name="connsiteX9134" fmla="*/ 929959 w 6884782"/>
              <a:gd name="connsiteY9134" fmla="*/ 4815505 h 5973007"/>
              <a:gd name="connsiteX9135" fmla="*/ 930423 w 6884782"/>
              <a:gd name="connsiteY9135" fmla="*/ 4818912 h 5973007"/>
              <a:gd name="connsiteX9136" fmla="*/ 924693 w 6884782"/>
              <a:gd name="connsiteY9136" fmla="*/ 4823352 h 5973007"/>
              <a:gd name="connsiteX9137" fmla="*/ 922678 w 6884782"/>
              <a:gd name="connsiteY9137" fmla="*/ 4822939 h 5973007"/>
              <a:gd name="connsiteX9138" fmla="*/ 922833 w 6884782"/>
              <a:gd name="connsiteY9138" fmla="*/ 4818602 h 5973007"/>
              <a:gd name="connsiteX9139" fmla="*/ 929959 w 6884782"/>
              <a:gd name="connsiteY9139" fmla="*/ 4815505 h 5973007"/>
              <a:gd name="connsiteX9140" fmla="*/ 6463310 w 6884782"/>
              <a:gd name="connsiteY9140" fmla="*/ 4815109 h 5973007"/>
              <a:gd name="connsiteX9141" fmla="*/ 6461451 w 6884782"/>
              <a:gd name="connsiteY9141" fmla="*/ 4819859 h 5973007"/>
              <a:gd name="connsiteX9142" fmla="*/ 6453551 w 6884782"/>
              <a:gd name="connsiteY9142" fmla="*/ 4816142 h 5973007"/>
              <a:gd name="connsiteX9143" fmla="*/ 6463310 w 6884782"/>
              <a:gd name="connsiteY9143" fmla="*/ 4815109 h 5973007"/>
              <a:gd name="connsiteX9144" fmla="*/ 839964 w 6884782"/>
              <a:gd name="connsiteY9144" fmla="*/ 4814988 h 5973007"/>
              <a:gd name="connsiteX9145" fmla="*/ 845850 w 6884782"/>
              <a:gd name="connsiteY9145" fmla="*/ 4819738 h 5973007"/>
              <a:gd name="connsiteX9146" fmla="*/ 845385 w 6884782"/>
              <a:gd name="connsiteY9146" fmla="*/ 4824798 h 5973007"/>
              <a:gd name="connsiteX9147" fmla="*/ 839654 w 6884782"/>
              <a:gd name="connsiteY9147" fmla="*/ 4830786 h 5973007"/>
              <a:gd name="connsiteX9148" fmla="*/ 836711 w 6884782"/>
              <a:gd name="connsiteY9148" fmla="*/ 4827792 h 5973007"/>
              <a:gd name="connsiteX9149" fmla="*/ 839964 w 6884782"/>
              <a:gd name="connsiteY9149" fmla="*/ 4814988 h 5973007"/>
              <a:gd name="connsiteX9150" fmla="*/ 1234639 w 6884782"/>
              <a:gd name="connsiteY9150" fmla="*/ 4814782 h 5973007"/>
              <a:gd name="connsiteX9151" fmla="*/ 1242539 w 6884782"/>
              <a:gd name="connsiteY9151" fmla="*/ 4817570 h 5973007"/>
              <a:gd name="connsiteX9152" fmla="*/ 1230612 w 6884782"/>
              <a:gd name="connsiteY9152" fmla="*/ 4835020 h 5973007"/>
              <a:gd name="connsiteX9153" fmla="*/ 1228289 w 6884782"/>
              <a:gd name="connsiteY9153" fmla="*/ 4830270 h 5973007"/>
              <a:gd name="connsiteX9154" fmla="*/ 1229992 w 6884782"/>
              <a:gd name="connsiteY9154" fmla="*/ 4821597 h 5973007"/>
              <a:gd name="connsiteX9155" fmla="*/ 1230922 w 6884782"/>
              <a:gd name="connsiteY9155" fmla="*/ 4820151 h 5973007"/>
              <a:gd name="connsiteX9156" fmla="*/ 1231232 w 6884782"/>
              <a:gd name="connsiteY9156" fmla="*/ 4819428 h 5973007"/>
              <a:gd name="connsiteX9157" fmla="*/ 1232161 w 6884782"/>
              <a:gd name="connsiteY9157" fmla="*/ 4818602 h 5973007"/>
              <a:gd name="connsiteX9158" fmla="*/ 1982673 w 6884782"/>
              <a:gd name="connsiteY9158" fmla="*/ 4814730 h 5973007"/>
              <a:gd name="connsiteX9159" fmla="*/ 2000137 w 6884782"/>
              <a:gd name="connsiteY9159" fmla="*/ 4819428 h 5973007"/>
              <a:gd name="connsiteX9160" fmla="*/ 2013148 w 6884782"/>
              <a:gd name="connsiteY9160" fmla="*/ 4835846 h 5973007"/>
              <a:gd name="connsiteX9161" fmla="*/ 2014542 w 6884782"/>
              <a:gd name="connsiteY9161" fmla="*/ 4862383 h 5973007"/>
              <a:gd name="connsiteX9162" fmla="*/ 2004629 w 6884782"/>
              <a:gd name="connsiteY9162" fmla="*/ 4873018 h 5973007"/>
              <a:gd name="connsiteX9163" fmla="*/ 1999363 w 6884782"/>
              <a:gd name="connsiteY9163" fmla="*/ 4878594 h 5973007"/>
              <a:gd name="connsiteX9164" fmla="*/ 1999053 w 6884782"/>
              <a:gd name="connsiteY9164" fmla="*/ 4881279 h 5973007"/>
              <a:gd name="connsiteX9165" fmla="*/ 1996729 w 6884782"/>
              <a:gd name="connsiteY9165" fmla="*/ 4881485 h 5973007"/>
              <a:gd name="connsiteX9166" fmla="*/ 1994715 w 6884782"/>
              <a:gd name="connsiteY9166" fmla="*/ 4883757 h 5973007"/>
              <a:gd name="connsiteX9167" fmla="*/ 1959090 w 6884782"/>
              <a:gd name="connsiteY9167" fmla="*/ 4877045 h 5973007"/>
              <a:gd name="connsiteX9168" fmla="*/ 1947627 w 6884782"/>
              <a:gd name="connsiteY9168" fmla="*/ 4857737 h 5973007"/>
              <a:gd name="connsiteX9169" fmla="*/ 1965905 w 6884782"/>
              <a:gd name="connsiteY9169" fmla="*/ 4815608 h 5973007"/>
              <a:gd name="connsiteX9170" fmla="*/ 1982673 w 6884782"/>
              <a:gd name="connsiteY9170" fmla="*/ 4814730 h 5973007"/>
              <a:gd name="connsiteX9171" fmla="*/ 1170357 w 6884782"/>
              <a:gd name="connsiteY9171" fmla="*/ 4814575 h 5973007"/>
              <a:gd name="connsiteX9172" fmla="*/ 1170048 w 6884782"/>
              <a:gd name="connsiteY9172" fmla="*/ 4819118 h 5973007"/>
              <a:gd name="connsiteX9173" fmla="*/ 1166950 w 6884782"/>
              <a:gd name="connsiteY9173" fmla="*/ 4821184 h 5973007"/>
              <a:gd name="connsiteX9174" fmla="*/ 1163077 w 6884782"/>
              <a:gd name="connsiteY9174" fmla="*/ 4820668 h 5973007"/>
              <a:gd name="connsiteX9175" fmla="*/ 1163852 w 6884782"/>
              <a:gd name="connsiteY9175" fmla="*/ 4820668 h 5973007"/>
              <a:gd name="connsiteX9176" fmla="*/ 1164007 w 6884782"/>
              <a:gd name="connsiteY9176" fmla="*/ 4818912 h 5973007"/>
              <a:gd name="connsiteX9177" fmla="*/ 1163232 w 6884782"/>
              <a:gd name="connsiteY9177" fmla="*/ 4818912 h 5973007"/>
              <a:gd name="connsiteX9178" fmla="*/ 1164162 w 6884782"/>
              <a:gd name="connsiteY9178" fmla="*/ 4817157 h 5973007"/>
              <a:gd name="connsiteX9179" fmla="*/ 1170357 w 6884782"/>
              <a:gd name="connsiteY9179" fmla="*/ 4814575 h 5973007"/>
              <a:gd name="connsiteX9180" fmla="*/ 1889076 w 6884782"/>
              <a:gd name="connsiteY9180" fmla="*/ 4814266 h 5973007"/>
              <a:gd name="connsiteX9181" fmla="*/ 1889696 w 6884782"/>
              <a:gd name="connsiteY9181" fmla="*/ 4818499 h 5973007"/>
              <a:gd name="connsiteX9182" fmla="*/ 1885204 w 6884782"/>
              <a:gd name="connsiteY9182" fmla="*/ 4820874 h 5973007"/>
              <a:gd name="connsiteX9183" fmla="*/ 1882261 w 6884782"/>
              <a:gd name="connsiteY9183" fmla="*/ 4821287 h 5973007"/>
              <a:gd name="connsiteX9184" fmla="*/ 1879937 w 6884782"/>
              <a:gd name="connsiteY9184" fmla="*/ 4820771 h 5973007"/>
              <a:gd name="connsiteX9185" fmla="*/ 1881641 w 6884782"/>
              <a:gd name="connsiteY9185" fmla="*/ 4815505 h 5973007"/>
              <a:gd name="connsiteX9186" fmla="*/ 1889076 w 6884782"/>
              <a:gd name="connsiteY9186" fmla="*/ 4814266 h 5973007"/>
              <a:gd name="connsiteX9187" fmla="*/ 6073280 w 6884782"/>
              <a:gd name="connsiteY9187" fmla="*/ 4812425 h 5973007"/>
              <a:gd name="connsiteX9188" fmla="*/ 6066310 w 6884782"/>
              <a:gd name="connsiteY9188" fmla="*/ 4839994 h 5973007"/>
              <a:gd name="connsiteX9189" fmla="*/ 6063522 w 6884782"/>
              <a:gd name="connsiteY9189" fmla="*/ 4833592 h 5973007"/>
              <a:gd name="connsiteX9190" fmla="*/ 6073280 w 6884782"/>
              <a:gd name="connsiteY9190" fmla="*/ 4812425 h 5973007"/>
              <a:gd name="connsiteX9191" fmla="*/ 1589042 w 6884782"/>
              <a:gd name="connsiteY9191" fmla="*/ 4812407 h 5973007"/>
              <a:gd name="connsiteX9192" fmla="*/ 1589972 w 6884782"/>
              <a:gd name="connsiteY9192" fmla="*/ 4816847 h 5973007"/>
              <a:gd name="connsiteX9193" fmla="*/ 1588887 w 6884782"/>
              <a:gd name="connsiteY9193" fmla="*/ 4817157 h 5973007"/>
              <a:gd name="connsiteX9194" fmla="*/ 1589042 w 6884782"/>
              <a:gd name="connsiteY9194" fmla="*/ 4812407 h 5973007"/>
              <a:gd name="connsiteX9195" fmla="*/ 1285600 w 6884782"/>
              <a:gd name="connsiteY9195" fmla="*/ 4811994 h 5973007"/>
              <a:gd name="connsiteX9196" fmla="*/ 1295049 w 6884782"/>
              <a:gd name="connsiteY9196" fmla="*/ 4819118 h 5973007"/>
              <a:gd name="connsiteX9197" fmla="*/ 1293655 w 6884782"/>
              <a:gd name="connsiteY9197" fmla="*/ 4823352 h 5973007"/>
              <a:gd name="connsiteX9198" fmla="*/ 1289318 w 6884782"/>
              <a:gd name="connsiteY9198" fmla="*/ 4823559 h 5973007"/>
              <a:gd name="connsiteX9199" fmla="*/ 1287924 w 6884782"/>
              <a:gd name="connsiteY9199" fmla="*/ 4822216 h 5973007"/>
              <a:gd name="connsiteX9200" fmla="*/ 1286065 w 6884782"/>
              <a:gd name="connsiteY9200" fmla="*/ 4823559 h 5973007"/>
              <a:gd name="connsiteX9201" fmla="*/ 1281728 w 6884782"/>
              <a:gd name="connsiteY9201" fmla="*/ 4826140 h 5973007"/>
              <a:gd name="connsiteX9202" fmla="*/ 1278785 w 6884782"/>
              <a:gd name="connsiteY9202" fmla="*/ 4822733 h 5973007"/>
              <a:gd name="connsiteX9203" fmla="*/ 1280024 w 6884782"/>
              <a:gd name="connsiteY9203" fmla="*/ 4818189 h 5973007"/>
              <a:gd name="connsiteX9204" fmla="*/ 1280799 w 6884782"/>
              <a:gd name="connsiteY9204" fmla="*/ 4817363 h 5973007"/>
              <a:gd name="connsiteX9205" fmla="*/ 1285291 w 6884782"/>
              <a:gd name="connsiteY9205" fmla="*/ 4814266 h 5973007"/>
              <a:gd name="connsiteX9206" fmla="*/ 1119706 w 6884782"/>
              <a:gd name="connsiteY9206" fmla="*/ 4811994 h 5973007"/>
              <a:gd name="connsiteX9207" fmla="*/ 1120636 w 6884782"/>
              <a:gd name="connsiteY9207" fmla="*/ 4818292 h 5973007"/>
              <a:gd name="connsiteX9208" fmla="*/ 1119242 w 6884782"/>
              <a:gd name="connsiteY9208" fmla="*/ 4815505 h 5973007"/>
              <a:gd name="connsiteX9209" fmla="*/ 1119706 w 6884782"/>
              <a:gd name="connsiteY9209" fmla="*/ 4811994 h 5973007"/>
              <a:gd name="connsiteX9210" fmla="*/ 1324789 w 6884782"/>
              <a:gd name="connsiteY9210" fmla="*/ 4811581 h 5973007"/>
              <a:gd name="connsiteX9211" fmla="*/ 1324789 w 6884782"/>
              <a:gd name="connsiteY9211" fmla="*/ 4821184 h 5973007"/>
              <a:gd name="connsiteX9212" fmla="*/ 1324789 w 6884782"/>
              <a:gd name="connsiteY9212" fmla="*/ 4811581 h 5973007"/>
              <a:gd name="connsiteX9213" fmla="*/ 1718381 w 6884782"/>
              <a:gd name="connsiteY9213" fmla="*/ 4811374 h 5973007"/>
              <a:gd name="connsiteX9214" fmla="*/ 1720394 w 6884782"/>
              <a:gd name="connsiteY9214" fmla="*/ 4811478 h 5973007"/>
              <a:gd name="connsiteX9215" fmla="*/ 1722563 w 6884782"/>
              <a:gd name="connsiteY9215" fmla="*/ 4812923 h 5973007"/>
              <a:gd name="connsiteX9216" fmla="*/ 1720704 w 6884782"/>
              <a:gd name="connsiteY9216" fmla="*/ 4817260 h 5973007"/>
              <a:gd name="connsiteX9217" fmla="*/ 1718690 w 6884782"/>
              <a:gd name="connsiteY9217" fmla="*/ 4817157 h 5973007"/>
              <a:gd name="connsiteX9218" fmla="*/ 1717142 w 6884782"/>
              <a:gd name="connsiteY9218" fmla="*/ 4814988 h 5973007"/>
              <a:gd name="connsiteX9219" fmla="*/ 1718381 w 6884782"/>
              <a:gd name="connsiteY9219" fmla="*/ 4811374 h 5973007"/>
              <a:gd name="connsiteX9220" fmla="*/ 938478 w 6884782"/>
              <a:gd name="connsiteY9220" fmla="*/ 4811374 h 5973007"/>
              <a:gd name="connsiteX9221" fmla="*/ 938943 w 6884782"/>
              <a:gd name="connsiteY9221" fmla="*/ 4814059 h 5973007"/>
              <a:gd name="connsiteX9222" fmla="*/ 937393 w 6884782"/>
              <a:gd name="connsiteY9222" fmla="*/ 4815091 h 5973007"/>
              <a:gd name="connsiteX9223" fmla="*/ 937083 w 6884782"/>
              <a:gd name="connsiteY9223" fmla="*/ 4817879 h 5973007"/>
              <a:gd name="connsiteX9224" fmla="*/ 935380 w 6884782"/>
              <a:gd name="connsiteY9224" fmla="*/ 4817879 h 5973007"/>
              <a:gd name="connsiteX9225" fmla="*/ 936309 w 6884782"/>
              <a:gd name="connsiteY9225" fmla="*/ 4812407 h 5973007"/>
              <a:gd name="connsiteX9226" fmla="*/ 938478 w 6884782"/>
              <a:gd name="connsiteY9226" fmla="*/ 4811374 h 5973007"/>
              <a:gd name="connsiteX9227" fmla="*/ 2021203 w 6884782"/>
              <a:gd name="connsiteY9227" fmla="*/ 4810651 h 5973007"/>
              <a:gd name="connsiteX9228" fmla="*/ 2022288 w 6884782"/>
              <a:gd name="connsiteY9228" fmla="*/ 4814575 h 5973007"/>
              <a:gd name="connsiteX9229" fmla="*/ 2026315 w 6884782"/>
              <a:gd name="connsiteY9229" fmla="*/ 4813543 h 5973007"/>
              <a:gd name="connsiteX9230" fmla="*/ 2042269 w 6884782"/>
              <a:gd name="connsiteY9230" fmla="*/ 4825107 h 5973007"/>
              <a:gd name="connsiteX9231" fmla="*/ 2033439 w 6884782"/>
              <a:gd name="connsiteY9231" fmla="*/ 4821907 h 5973007"/>
              <a:gd name="connsiteX9232" fmla="*/ 2025075 w 6884782"/>
              <a:gd name="connsiteY9232" fmla="*/ 4820564 h 5973007"/>
              <a:gd name="connsiteX9233" fmla="*/ 2028018 w 6884782"/>
              <a:gd name="connsiteY9233" fmla="*/ 4824488 h 5973007"/>
              <a:gd name="connsiteX9234" fmla="*/ 2032665 w 6884782"/>
              <a:gd name="connsiteY9234" fmla="*/ 4836775 h 5973007"/>
              <a:gd name="connsiteX9235" fmla="*/ 2014697 w 6884782"/>
              <a:gd name="connsiteY9235" fmla="*/ 4815195 h 5973007"/>
              <a:gd name="connsiteX9236" fmla="*/ 2021203 w 6884782"/>
              <a:gd name="connsiteY9236" fmla="*/ 4810651 h 5973007"/>
              <a:gd name="connsiteX9237" fmla="*/ 1894033 w 6884782"/>
              <a:gd name="connsiteY9237" fmla="*/ 4810445 h 5973007"/>
              <a:gd name="connsiteX9238" fmla="*/ 1919436 w 6884782"/>
              <a:gd name="connsiteY9238" fmla="*/ 4820254 h 5973007"/>
              <a:gd name="connsiteX9239" fmla="*/ 1916338 w 6884782"/>
              <a:gd name="connsiteY9239" fmla="*/ 4827895 h 5973007"/>
              <a:gd name="connsiteX9240" fmla="*/ 1894033 w 6884782"/>
              <a:gd name="connsiteY9240" fmla="*/ 4810445 h 5973007"/>
              <a:gd name="connsiteX9241" fmla="*/ 1875755 w 6884782"/>
              <a:gd name="connsiteY9241" fmla="*/ 4810445 h 5973007"/>
              <a:gd name="connsiteX9242" fmla="*/ 1875601 w 6884782"/>
              <a:gd name="connsiteY9242" fmla="*/ 4813233 h 5973007"/>
              <a:gd name="connsiteX9243" fmla="*/ 1876065 w 6884782"/>
              <a:gd name="connsiteY9243" fmla="*/ 4813336 h 5973007"/>
              <a:gd name="connsiteX9244" fmla="*/ 1876839 w 6884782"/>
              <a:gd name="connsiteY9244" fmla="*/ 4829547 h 5973007"/>
              <a:gd name="connsiteX9245" fmla="*/ 1865068 w 6884782"/>
              <a:gd name="connsiteY9245" fmla="*/ 4819428 h 5973007"/>
              <a:gd name="connsiteX9246" fmla="*/ 1868630 w 6884782"/>
              <a:gd name="connsiteY9246" fmla="*/ 4814885 h 5973007"/>
              <a:gd name="connsiteX9247" fmla="*/ 1868011 w 6884782"/>
              <a:gd name="connsiteY9247" fmla="*/ 4814575 h 5973007"/>
              <a:gd name="connsiteX9248" fmla="*/ 1871573 w 6884782"/>
              <a:gd name="connsiteY9248" fmla="*/ 4810651 h 5973007"/>
              <a:gd name="connsiteX9249" fmla="*/ 1875755 w 6884782"/>
              <a:gd name="connsiteY9249" fmla="*/ 4810445 h 5973007"/>
              <a:gd name="connsiteX9250" fmla="*/ 2046141 w 6884782"/>
              <a:gd name="connsiteY9250" fmla="*/ 4809825 h 5973007"/>
              <a:gd name="connsiteX9251" fmla="*/ 2047381 w 6884782"/>
              <a:gd name="connsiteY9251" fmla="*/ 4812201 h 5973007"/>
              <a:gd name="connsiteX9252" fmla="*/ 2042424 w 6884782"/>
              <a:gd name="connsiteY9252" fmla="*/ 4813852 h 5973007"/>
              <a:gd name="connsiteX9253" fmla="*/ 2046141 w 6884782"/>
              <a:gd name="connsiteY9253" fmla="*/ 4809825 h 5973007"/>
              <a:gd name="connsiteX9254" fmla="*/ 1307441 w 6884782"/>
              <a:gd name="connsiteY9254" fmla="*/ 4809516 h 5973007"/>
              <a:gd name="connsiteX9255" fmla="*/ 1311468 w 6884782"/>
              <a:gd name="connsiteY9255" fmla="*/ 4816124 h 5973007"/>
              <a:gd name="connsiteX9256" fmla="*/ 1308060 w 6884782"/>
              <a:gd name="connsiteY9256" fmla="*/ 4817570 h 5973007"/>
              <a:gd name="connsiteX9257" fmla="*/ 1305272 w 6884782"/>
              <a:gd name="connsiteY9257" fmla="*/ 4815711 h 5973007"/>
              <a:gd name="connsiteX9258" fmla="*/ 1307441 w 6884782"/>
              <a:gd name="connsiteY9258" fmla="*/ 4809516 h 5973007"/>
              <a:gd name="connsiteX9259" fmla="*/ 1658804 w 6884782"/>
              <a:gd name="connsiteY9259" fmla="*/ 4809464 h 5973007"/>
              <a:gd name="connsiteX9260" fmla="*/ 1666800 w 6884782"/>
              <a:gd name="connsiteY9260" fmla="*/ 4813336 h 5973007"/>
              <a:gd name="connsiteX9261" fmla="*/ 1645734 w 6884782"/>
              <a:gd name="connsiteY9261" fmla="*/ 4830786 h 5973007"/>
              <a:gd name="connsiteX9262" fmla="*/ 1649607 w 6884782"/>
              <a:gd name="connsiteY9262" fmla="*/ 4822526 h 5973007"/>
              <a:gd name="connsiteX9263" fmla="*/ 1648058 w 6884782"/>
              <a:gd name="connsiteY9263" fmla="*/ 4821287 h 5973007"/>
              <a:gd name="connsiteX9264" fmla="*/ 1646354 w 6884782"/>
              <a:gd name="connsiteY9264" fmla="*/ 4816124 h 5973007"/>
              <a:gd name="connsiteX9265" fmla="*/ 1647128 w 6884782"/>
              <a:gd name="connsiteY9265" fmla="*/ 4810651 h 5973007"/>
              <a:gd name="connsiteX9266" fmla="*/ 1651775 w 6884782"/>
              <a:gd name="connsiteY9266" fmla="*/ 4814059 h 5973007"/>
              <a:gd name="connsiteX9267" fmla="*/ 1651621 w 6884782"/>
              <a:gd name="connsiteY9267" fmla="*/ 4817983 h 5973007"/>
              <a:gd name="connsiteX9268" fmla="*/ 1653479 w 6884782"/>
              <a:gd name="connsiteY9268" fmla="*/ 4813956 h 5973007"/>
              <a:gd name="connsiteX9269" fmla="*/ 1658804 w 6884782"/>
              <a:gd name="connsiteY9269" fmla="*/ 4809464 h 5973007"/>
              <a:gd name="connsiteX9270" fmla="*/ 2049549 w 6884782"/>
              <a:gd name="connsiteY9270" fmla="*/ 4809309 h 5973007"/>
              <a:gd name="connsiteX9271" fmla="*/ 2050014 w 6884782"/>
              <a:gd name="connsiteY9271" fmla="*/ 4810755 h 5973007"/>
              <a:gd name="connsiteX9272" fmla="*/ 2049549 w 6884782"/>
              <a:gd name="connsiteY9272" fmla="*/ 4810135 h 5973007"/>
              <a:gd name="connsiteX9273" fmla="*/ 2049549 w 6884782"/>
              <a:gd name="connsiteY9273" fmla="*/ 4809309 h 5973007"/>
              <a:gd name="connsiteX9274" fmla="*/ 6046793 w 6884782"/>
              <a:gd name="connsiteY9274" fmla="*/ 4808914 h 5973007"/>
              <a:gd name="connsiteX9275" fmla="*/ 6044935 w 6884782"/>
              <a:gd name="connsiteY9275" fmla="*/ 4816142 h 5973007"/>
              <a:gd name="connsiteX9276" fmla="*/ 6041062 w 6884782"/>
              <a:gd name="connsiteY9276" fmla="*/ 4816762 h 5973007"/>
              <a:gd name="connsiteX9277" fmla="*/ 6037190 w 6884782"/>
              <a:gd name="connsiteY9277" fmla="*/ 4815419 h 5973007"/>
              <a:gd name="connsiteX9278" fmla="*/ 6046793 w 6884782"/>
              <a:gd name="connsiteY9278" fmla="*/ 4808914 h 5973007"/>
              <a:gd name="connsiteX9279" fmla="*/ 1597717 w 6884782"/>
              <a:gd name="connsiteY9279" fmla="*/ 4808070 h 5973007"/>
              <a:gd name="connsiteX9280" fmla="*/ 1591675 w 6884782"/>
              <a:gd name="connsiteY9280" fmla="*/ 4813440 h 5973007"/>
              <a:gd name="connsiteX9281" fmla="*/ 1589197 w 6884782"/>
              <a:gd name="connsiteY9281" fmla="*/ 4813130 h 5973007"/>
              <a:gd name="connsiteX9282" fmla="*/ 1597717 w 6884782"/>
              <a:gd name="connsiteY9282" fmla="*/ 4808070 h 5973007"/>
              <a:gd name="connsiteX9283" fmla="*/ 2042269 w 6884782"/>
              <a:gd name="connsiteY9283" fmla="*/ 4806728 h 5973007"/>
              <a:gd name="connsiteX9284" fmla="*/ 2041959 w 6884782"/>
              <a:gd name="connsiteY9284" fmla="*/ 4810239 h 5973007"/>
              <a:gd name="connsiteX9285" fmla="*/ 2037467 w 6884782"/>
              <a:gd name="connsiteY9285" fmla="*/ 4807141 h 5973007"/>
              <a:gd name="connsiteX9286" fmla="*/ 2042269 w 6884782"/>
              <a:gd name="connsiteY9286" fmla="*/ 4806728 h 5973007"/>
              <a:gd name="connsiteX9287" fmla="*/ 934450 w 6884782"/>
              <a:gd name="connsiteY9287" fmla="*/ 4804766 h 5973007"/>
              <a:gd name="connsiteX9288" fmla="*/ 933831 w 6884782"/>
              <a:gd name="connsiteY9288" fmla="*/ 4806624 h 5973007"/>
              <a:gd name="connsiteX9289" fmla="*/ 931043 w 6884782"/>
              <a:gd name="connsiteY9289" fmla="*/ 4811168 h 5973007"/>
              <a:gd name="connsiteX9290" fmla="*/ 929804 w 6884782"/>
              <a:gd name="connsiteY9290" fmla="*/ 4808586 h 5973007"/>
              <a:gd name="connsiteX9291" fmla="*/ 931353 w 6884782"/>
              <a:gd name="connsiteY9291" fmla="*/ 4806831 h 5973007"/>
              <a:gd name="connsiteX9292" fmla="*/ 931972 w 6884782"/>
              <a:gd name="connsiteY9292" fmla="*/ 4804973 h 5973007"/>
              <a:gd name="connsiteX9293" fmla="*/ 934450 w 6884782"/>
              <a:gd name="connsiteY9293" fmla="*/ 4804766 h 5973007"/>
              <a:gd name="connsiteX9294" fmla="*/ 1026459 w 6884782"/>
              <a:gd name="connsiteY9294" fmla="*/ 4804250 h 5973007"/>
              <a:gd name="connsiteX9295" fmla="*/ 1029866 w 6884782"/>
              <a:gd name="connsiteY9295" fmla="*/ 4810755 h 5973007"/>
              <a:gd name="connsiteX9296" fmla="*/ 1027853 w 6884782"/>
              <a:gd name="connsiteY9296" fmla="*/ 4816847 h 5973007"/>
              <a:gd name="connsiteX9297" fmla="*/ 1024445 w 6884782"/>
              <a:gd name="connsiteY9297" fmla="*/ 4814678 h 5973007"/>
              <a:gd name="connsiteX9298" fmla="*/ 1024910 w 6884782"/>
              <a:gd name="connsiteY9298" fmla="*/ 4809619 h 5973007"/>
              <a:gd name="connsiteX9299" fmla="*/ 1024600 w 6884782"/>
              <a:gd name="connsiteY9299" fmla="*/ 4806315 h 5973007"/>
              <a:gd name="connsiteX9300" fmla="*/ 1026459 w 6884782"/>
              <a:gd name="connsiteY9300" fmla="*/ 4804250 h 5973007"/>
              <a:gd name="connsiteX9301" fmla="*/ 1829596 w 6884782"/>
              <a:gd name="connsiteY9301" fmla="*/ 4803734 h 5973007"/>
              <a:gd name="connsiteX9302" fmla="*/ 1829906 w 6884782"/>
              <a:gd name="connsiteY9302" fmla="*/ 4804043 h 5973007"/>
              <a:gd name="connsiteX9303" fmla="*/ 1830990 w 6884782"/>
              <a:gd name="connsiteY9303" fmla="*/ 4804146 h 5973007"/>
              <a:gd name="connsiteX9304" fmla="*/ 1833468 w 6884782"/>
              <a:gd name="connsiteY9304" fmla="*/ 4805489 h 5973007"/>
              <a:gd name="connsiteX9305" fmla="*/ 1834398 w 6884782"/>
              <a:gd name="connsiteY9305" fmla="*/ 4807244 h 5973007"/>
              <a:gd name="connsiteX9306" fmla="*/ 1835637 w 6884782"/>
              <a:gd name="connsiteY9306" fmla="*/ 4809516 h 5973007"/>
              <a:gd name="connsiteX9307" fmla="*/ 1835637 w 6884782"/>
              <a:gd name="connsiteY9307" fmla="*/ 4809929 h 5973007"/>
              <a:gd name="connsiteX9308" fmla="*/ 1836722 w 6884782"/>
              <a:gd name="connsiteY9308" fmla="*/ 4810858 h 5973007"/>
              <a:gd name="connsiteX9309" fmla="*/ 1845396 w 6884782"/>
              <a:gd name="connsiteY9309" fmla="*/ 4814575 h 5973007"/>
              <a:gd name="connsiteX9310" fmla="*/ 1846170 w 6884782"/>
              <a:gd name="connsiteY9310" fmla="*/ 4813026 h 5973007"/>
              <a:gd name="connsiteX9311" fmla="*/ 1849578 w 6884782"/>
              <a:gd name="connsiteY9311" fmla="*/ 4810032 h 5973007"/>
              <a:gd name="connsiteX9312" fmla="*/ 1853296 w 6884782"/>
              <a:gd name="connsiteY9312" fmla="*/ 4817157 h 5973007"/>
              <a:gd name="connsiteX9313" fmla="*/ 1852366 w 6884782"/>
              <a:gd name="connsiteY9313" fmla="*/ 4818809 h 5973007"/>
              <a:gd name="connsiteX9314" fmla="*/ 1853605 w 6884782"/>
              <a:gd name="connsiteY9314" fmla="*/ 4820048 h 5973007"/>
              <a:gd name="connsiteX9315" fmla="*/ 1855774 w 6884782"/>
              <a:gd name="connsiteY9315" fmla="*/ 4823765 h 5973007"/>
              <a:gd name="connsiteX9316" fmla="*/ 1857478 w 6884782"/>
              <a:gd name="connsiteY9316" fmla="*/ 4831612 h 5973007"/>
              <a:gd name="connsiteX9317" fmla="*/ 1856703 w 6884782"/>
              <a:gd name="connsiteY9317" fmla="*/ 4835536 h 5973007"/>
              <a:gd name="connsiteX9318" fmla="*/ 1856858 w 6884782"/>
              <a:gd name="connsiteY9318" fmla="*/ 4835743 h 5973007"/>
              <a:gd name="connsiteX9319" fmla="*/ 1856393 w 6884782"/>
              <a:gd name="connsiteY9319" fmla="*/ 4841938 h 5973007"/>
              <a:gd name="connsiteX9320" fmla="*/ 1854380 w 6884782"/>
              <a:gd name="connsiteY9320" fmla="*/ 4840699 h 5973007"/>
              <a:gd name="connsiteX9321" fmla="*/ 1852057 w 6884782"/>
              <a:gd name="connsiteY9321" fmla="*/ 4843694 h 5973007"/>
              <a:gd name="connsiteX9322" fmla="*/ 1849113 w 6884782"/>
              <a:gd name="connsiteY9322" fmla="*/ 4845552 h 5973007"/>
              <a:gd name="connsiteX9323" fmla="*/ 1848339 w 6884782"/>
              <a:gd name="connsiteY9323" fmla="*/ 4847927 h 5973007"/>
              <a:gd name="connsiteX9324" fmla="*/ 1850662 w 6884782"/>
              <a:gd name="connsiteY9324" fmla="*/ 4847411 h 5973007"/>
              <a:gd name="connsiteX9325" fmla="*/ 1853605 w 6884782"/>
              <a:gd name="connsiteY9325" fmla="*/ 4848960 h 5973007"/>
              <a:gd name="connsiteX9326" fmla="*/ 1848184 w 6884782"/>
              <a:gd name="connsiteY9326" fmla="*/ 4855671 h 5973007"/>
              <a:gd name="connsiteX9327" fmla="*/ 1845551 w 6884782"/>
              <a:gd name="connsiteY9327" fmla="*/ 4852986 h 5973007"/>
              <a:gd name="connsiteX9328" fmla="*/ 1846170 w 6884782"/>
              <a:gd name="connsiteY9328" fmla="*/ 4851747 h 5973007"/>
              <a:gd name="connsiteX9329" fmla="*/ 1843537 w 6884782"/>
              <a:gd name="connsiteY9329" fmla="*/ 4855568 h 5973007"/>
              <a:gd name="connsiteX9330" fmla="*/ 1830061 w 6884782"/>
              <a:gd name="connsiteY9330" fmla="*/ 4860524 h 5973007"/>
              <a:gd name="connsiteX9331" fmla="*/ 1822006 w 6884782"/>
              <a:gd name="connsiteY9331" fmla="*/ 4857117 h 5973007"/>
              <a:gd name="connsiteX9332" fmla="*/ 1817979 w 6884782"/>
              <a:gd name="connsiteY9332" fmla="*/ 4851954 h 5973007"/>
              <a:gd name="connsiteX9333" fmla="*/ 1816275 w 6884782"/>
              <a:gd name="connsiteY9333" fmla="*/ 4847308 h 5973007"/>
              <a:gd name="connsiteX9334" fmla="*/ 1815036 w 6884782"/>
              <a:gd name="connsiteY9334" fmla="*/ 4846378 h 5973007"/>
              <a:gd name="connsiteX9335" fmla="*/ 1815811 w 6884782"/>
              <a:gd name="connsiteY9335" fmla="*/ 4845759 h 5973007"/>
              <a:gd name="connsiteX9336" fmla="*/ 1814261 w 6884782"/>
              <a:gd name="connsiteY9336" fmla="*/ 4841732 h 5973007"/>
              <a:gd name="connsiteX9337" fmla="*/ 1809924 w 6884782"/>
              <a:gd name="connsiteY9337" fmla="*/ 4829857 h 5973007"/>
              <a:gd name="connsiteX9338" fmla="*/ 1811318 w 6884782"/>
              <a:gd name="connsiteY9338" fmla="*/ 4829960 h 5973007"/>
              <a:gd name="connsiteX9339" fmla="*/ 1810544 w 6884782"/>
              <a:gd name="connsiteY9339" fmla="*/ 4829031 h 5973007"/>
              <a:gd name="connsiteX9340" fmla="*/ 1808530 w 6884782"/>
              <a:gd name="connsiteY9340" fmla="*/ 4824281 h 5973007"/>
              <a:gd name="connsiteX9341" fmla="*/ 1809460 w 6884782"/>
              <a:gd name="connsiteY9341" fmla="*/ 4821597 h 5973007"/>
              <a:gd name="connsiteX9342" fmla="*/ 1822316 w 6884782"/>
              <a:gd name="connsiteY9342" fmla="*/ 4820771 h 5973007"/>
              <a:gd name="connsiteX9343" fmla="*/ 1823091 w 6884782"/>
              <a:gd name="connsiteY9343" fmla="*/ 4821493 h 5973007"/>
              <a:gd name="connsiteX9344" fmla="*/ 1826963 w 6884782"/>
              <a:gd name="connsiteY9344" fmla="*/ 4811891 h 5973007"/>
              <a:gd name="connsiteX9345" fmla="*/ 1827892 w 6884782"/>
              <a:gd name="connsiteY9345" fmla="*/ 4809103 h 5973007"/>
              <a:gd name="connsiteX9346" fmla="*/ 1827273 w 6884782"/>
              <a:gd name="connsiteY9346" fmla="*/ 4808277 h 5973007"/>
              <a:gd name="connsiteX9347" fmla="*/ 1825724 w 6884782"/>
              <a:gd name="connsiteY9347" fmla="*/ 4805179 h 5973007"/>
              <a:gd name="connsiteX9348" fmla="*/ 1828822 w 6884782"/>
              <a:gd name="connsiteY9348" fmla="*/ 4803940 h 5973007"/>
              <a:gd name="connsiteX9349" fmla="*/ 1829596 w 6884782"/>
              <a:gd name="connsiteY9349" fmla="*/ 4804043 h 5973007"/>
              <a:gd name="connsiteX9350" fmla="*/ 1583156 w 6884782"/>
              <a:gd name="connsiteY9350" fmla="*/ 4803320 h 5973007"/>
              <a:gd name="connsiteX9351" fmla="*/ 1584085 w 6884782"/>
              <a:gd name="connsiteY9351" fmla="*/ 4803423 h 5973007"/>
              <a:gd name="connsiteX9352" fmla="*/ 1582847 w 6884782"/>
              <a:gd name="connsiteY9352" fmla="*/ 4813852 h 5973007"/>
              <a:gd name="connsiteX9353" fmla="*/ 1581452 w 6884782"/>
              <a:gd name="connsiteY9353" fmla="*/ 4814782 h 5973007"/>
              <a:gd name="connsiteX9354" fmla="*/ 1579439 w 6884782"/>
              <a:gd name="connsiteY9354" fmla="*/ 4813749 h 5973007"/>
              <a:gd name="connsiteX9355" fmla="*/ 1579284 w 6884782"/>
              <a:gd name="connsiteY9355" fmla="*/ 4809309 h 5973007"/>
              <a:gd name="connsiteX9356" fmla="*/ 1582537 w 6884782"/>
              <a:gd name="connsiteY9356" fmla="*/ 4806005 h 5973007"/>
              <a:gd name="connsiteX9357" fmla="*/ 1583156 w 6884782"/>
              <a:gd name="connsiteY9357" fmla="*/ 4803320 h 5973007"/>
              <a:gd name="connsiteX9358" fmla="*/ 5937746 w 6884782"/>
              <a:gd name="connsiteY9358" fmla="*/ 4801789 h 5973007"/>
              <a:gd name="connsiteX9359" fmla="*/ 5944407 w 6884782"/>
              <a:gd name="connsiteY9359" fmla="*/ 4803854 h 5973007"/>
              <a:gd name="connsiteX9360" fmla="*/ 5937901 w 6884782"/>
              <a:gd name="connsiteY9360" fmla="*/ 4816245 h 5973007"/>
              <a:gd name="connsiteX9361" fmla="*/ 5933564 w 6884782"/>
              <a:gd name="connsiteY9361" fmla="*/ 4813251 h 5973007"/>
              <a:gd name="connsiteX9362" fmla="*/ 5937746 w 6884782"/>
              <a:gd name="connsiteY9362" fmla="*/ 4801789 h 5973007"/>
              <a:gd name="connsiteX9363" fmla="*/ 1685233 w 6884782"/>
              <a:gd name="connsiteY9363" fmla="*/ 4801255 h 5973007"/>
              <a:gd name="connsiteX9364" fmla="*/ 1687092 w 6884782"/>
              <a:gd name="connsiteY9364" fmla="*/ 4801255 h 5973007"/>
              <a:gd name="connsiteX9365" fmla="*/ 1686782 w 6884782"/>
              <a:gd name="connsiteY9365" fmla="*/ 4802081 h 5973007"/>
              <a:gd name="connsiteX9366" fmla="*/ 1685388 w 6884782"/>
              <a:gd name="connsiteY9366" fmla="*/ 4801978 h 5973007"/>
              <a:gd name="connsiteX9367" fmla="*/ 1685233 w 6884782"/>
              <a:gd name="connsiteY9367" fmla="*/ 4801255 h 5973007"/>
              <a:gd name="connsiteX9368" fmla="*/ 2073566 w 6884782"/>
              <a:gd name="connsiteY9368" fmla="*/ 4801102 h 5973007"/>
              <a:gd name="connsiteX9369" fmla="*/ 2072938 w 6884782"/>
              <a:gd name="connsiteY9369" fmla="*/ 4801668 h 5973007"/>
              <a:gd name="connsiteX9370" fmla="*/ 2073868 w 6884782"/>
              <a:gd name="connsiteY9370" fmla="*/ 4802907 h 5973007"/>
              <a:gd name="connsiteX9371" fmla="*/ 2075107 w 6884782"/>
              <a:gd name="connsiteY9371" fmla="*/ 4805179 h 5973007"/>
              <a:gd name="connsiteX9372" fmla="*/ 2071234 w 6884782"/>
              <a:gd name="connsiteY9372" fmla="*/ 4806728 h 5973007"/>
              <a:gd name="connsiteX9373" fmla="*/ 2069221 w 6884782"/>
              <a:gd name="connsiteY9373" fmla="*/ 4805179 h 5973007"/>
              <a:gd name="connsiteX9374" fmla="*/ 2065194 w 6884782"/>
              <a:gd name="connsiteY9374" fmla="*/ 4808793 h 5973007"/>
              <a:gd name="connsiteX9375" fmla="*/ 2058688 w 6884782"/>
              <a:gd name="connsiteY9375" fmla="*/ 4819635 h 5973007"/>
              <a:gd name="connsiteX9376" fmla="*/ 2056055 w 6884782"/>
              <a:gd name="connsiteY9376" fmla="*/ 4830890 h 5973007"/>
              <a:gd name="connsiteX9377" fmla="*/ 2057759 w 6884782"/>
              <a:gd name="connsiteY9377" fmla="*/ 4830786 h 5973007"/>
              <a:gd name="connsiteX9378" fmla="*/ 2061166 w 6884782"/>
              <a:gd name="connsiteY9378" fmla="*/ 4834710 h 5973007"/>
              <a:gd name="connsiteX9379" fmla="*/ 2061786 w 6884782"/>
              <a:gd name="connsiteY9379" fmla="*/ 4836775 h 5973007"/>
              <a:gd name="connsiteX9380" fmla="*/ 2063335 w 6884782"/>
              <a:gd name="connsiteY9380" fmla="*/ 4831612 h 5973007"/>
              <a:gd name="connsiteX9381" fmla="*/ 2067363 w 6884782"/>
              <a:gd name="connsiteY9381" fmla="*/ 4825417 h 5973007"/>
              <a:gd name="connsiteX9382" fmla="*/ 2067363 w 6884782"/>
              <a:gd name="connsiteY9382" fmla="*/ 4824591 h 5973007"/>
              <a:gd name="connsiteX9383" fmla="*/ 2069685 w 6884782"/>
              <a:gd name="connsiteY9383" fmla="*/ 4821184 h 5973007"/>
              <a:gd name="connsiteX9384" fmla="*/ 2071080 w 6884782"/>
              <a:gd name="connsiteY9384" fmla="*/ 4820254 h 5973007"/>
              <a:gd name="connsiteX9385" fmla="*/ 2076036 w 6884782"/>
              <a:gd name="connsiteY9385" fmla="*/ 4825934 h 5973007"/>
              <a:gd name="connsiteX9386" fmla="*/ 2075417 w 6884782"/>
              <a:gd name="connsiteY9386" fmla="*/ 4827482 h 5973007"/>
              <a:gd name="connsiteX9387" fmla="*/ 2076811 w 6884782"/>
              <a:gd name="connsiteY9387" fmla="*/ 4828412 h 5973007"/>
              <a:gd name="connsiteX9388" fmla="*/ 2076965 w 6884782"/>
              <a:gd name="connsiteY9388" fmla="*/ 4826243 h 5973007"/>
              <a:gd name="connsiteX9389" fmla="*/ 2080373 w 6884782"/>
              <a:gd name="connsiteY9389" fmla="*/ 4827173 h 5973007"/>
              <a:gd name="connsiteX9390" fmla="*/ 2079444 w 6884782"/>
              <a:gd name="connsiteY9390" fmla="*/ 4828928 h 5973007"/>
              <a:gd name="connsiteX9391" fmla="*/ 2077895 w 6884782"/>
              <a:gd name="connsiteY9391" fmla="*/ 4829651 h 5973007"/>
              <a:gd name="connsiteX9392" fmla="*/ 2081612 w 6884782"/>
              <a:gd name="connsiteY9392" fmla="*/ 4835536 h 5973007"/>
              <a:gd name="connsiteX9393" fmla="*/ 2082387 w 6884782"/>
              <a:gd name="connsiteY9393" fmla="*/ 4833368 h 5973007"/>
              <a:gd name="connsiteX9394" fmla="*/ 2083781 w 6884782"/>
              <a:gd name="connsiteY9394" fmla="*/ 4832955 h 5973007"/>
              <a:gd name="connsiteX9395" fmla="*/ 2082387 w 6884782"/>
              <a:gd name="connsiteY9395" fmla="*/ 4830374 h 5973007"/>
              <a:gd name="connsiteX9396" fmla="*/ 2074642 w 6884782"/>
              <a:gd name="connsiteY9396" fmla="*/ 4814782 h 5973007"/>
              <a:gd name="connsiteX9397" fmla="*/ 2076811 w 6884782"/>
              <a:gd name="connsiteY9397" fmla="*/ 4814885 h 5973007"/>
              <a:gd name="connsiteX9398" fmla="*/ 2076656 w 6884782"/>
              <a:gd name="connsiteY9398" fmla="*/ 4813852 h 5973007"/>
              <a:gd name="connsiteX9399" fmla="*/ 2082039 w 6884782"/>
              <a:gd name="connsiteY9399" fmla="*/ 4811802 h 5973007"/>
              <a:gd name="connsiteX9400" fmla="*/ 1682909 w 6884782"/>
              <a:gd name="connsiteY9400" fmla="*/ 4801049 h 5973007"/>
              <a:gd name="connsiteX9401" fmla="*/ 1684149 w 6884782"/>
              <a:gd name="connsiteY9401" fmla="*/ 4801875 h 5973007"/>
              <a:gd name="connsiteX9402" fmla="*/ 1684768 w 6884782"/>
              <a:gd name="connsiteY9402" fmla="*/ 4802184 h 5973007"/>
              <a:gd name="connsiteX9403" fmla="*/ 1684613 w 6884782"/>
              <a:gd name="connsiteY9403" fmla="*/ 4802288 h 5973007"/>
              <a:gd name="connsiteX9404" fmla="*/ 1686008 w 6884782"/>
              <a:gd name="connsiteY9404" fmla="*/ 4804146 h 5973007"/>
              <a:gd name="connsiteX9405" fmla="*/ 1687711 w 6884782"/>
              <a:gd name="connsiteY9405" fmla="*/ 4804456 h 5973007"/>
              <a:gd name="connsiteX9406" fmla="*/ 1690654 w 6884782"/>
              <a:gd name="connsiteY9406" fmla="*/ 4810858 h 5973007"/>
              <a:gd name="connsiteX9407" fmla="*/ 1687401 w 6884782"/>
              <a:gd name="connsiteY9407" fmla="*/ 4807760 h 5973007"/>
              <a:gd name="connsiteX9408" fmla="*/ 1685853 w 6884782"/>
              <a:gd name="connsiteY9408" fmla="*/ 4805799 h 5973007"/>
              <a:gd name="connsiteX9409" fmla="*/ 1684303 w 6884782"/>
              <a:gd name="connsiteY9409" fmla="*/ 4804663 h 5973007"/>
              <a:gd name="connsiteX9410" fmla="*/ 1683374 w 6884782"/>
              <a:gd name="connsiteY9410" fmla="*/ 4803114 h 5973007"/>
              <a:gd name="connsiteX9411" fmla="*/ 1683219 w 6884782"/>
              <a:gd name="connsiteY9411" fmla="*/ 4803114 h 5973007"/>
              <a:gd name="connsiteX9412" fmla="*/ 1681515 w 6884782"/>
              <a:gd name="connsiteY9412" fmla="*/ 4803527 h 5973007"/>
              <a:gd name="connsiteX9413" fmla="*/ 1680586 w 6884782"/>
              <a:gd name="connsiteY9413" fmla="*/ 4802907 h 5973007"/>
              <a:gd name="connsiteX9414" fmla="*/ 1679966 w 6884782"/>
              <a:gd name="connsiteY9414" fmla="*/ 4801358 h 5973007"/>
              <a:gd name="connsiteX9415" fmla="*/ 1682599 w 6884782"/>
              <a:gd name="connsiteY9415" fmla="*/ 4801358 h 5973007"/>
              <a:gd name="connsiteX9416" fmla="*/ 1682909 w 6884782"/>
              <a:gd name="connsiteY9416" fmla="*/ 4801462 h 5973007"/>
              <a:gd name="connsiteX9417" fmla="*/ 863353 w 6884782"/>
              <a:gd name="connsiteY9417" fmla="*/ 4801049 h 5973007"/>
              <a:gd name="connsiteX9418" fmla="*/ 858861 w 6884782"/>
              <a:gd name="connsiteY9418" fmla="*/ 4808380 h 5973007"/>
              <a:gd name="connsiteX9419" fmla="*/ 863353 w 6884782"/>
              <a:gd name="connsiteY9419" fmla="*/ 4801049 h 5973007"/>
              <a:gd name="connsiteX9420" fmla="*/ 900218 w 6884782"/>
              <a:gd name="connsiteY9420" fmla="*/ 4800739 h 5973007"/>
              <a:gd name="connsiteX9421" fmla="*/ 897276 w 6884782"/>
              <a:gd name="connsiteY9421" fmla="*/ 4803630 h 5973007"/>
              <a:gd name="connsiteX9422" fmla="*/ 896192 w 6884782"/>
              <a:gd name="connsiteY9422" fmla="*/ 4802701 h 5973007"/>
              <a:gd name="connsiteX9423" fmla="*/ 900218 w 6884782"/>
              <a:gd name="connsiteY9423" fmla="*/ 4800739 h 5973007"/>
              <a:gd name="connsiteX9424" fmla="*/ 1823246 w 6884782"/>
              <a:gd name="connsiteY9424" fmla="*/ 4800326 h 5973007"/>
              <a:gd name="connsiteX9425" fmla="*/ 1823246 w 6884782"/>
              <a:gd name="connsiteY9425" fmla="*/ 4801152 h 5973007"/>
              <a:gd name="connsiteX9426" fmla="*/ 1824020 w 6884782"/>
              <a:gd name="connsiteY9426" fmla="*/ 4804869 h 5973007"/>
              <a:gd name="connsiteX9427" fmla="*/ 1822161 w 6884782"/>
              <a:gd name="connsiteY9427" fmla="*/ 4805282 h 5973007"/>
              <a:gd name="connsiteX9428" fmla="*/ 1819838 w 6884782"/>
              <a:gd name="connsiteY9428" fmla="*/ 4804353 h 5973007"/>
              <a:gd name="connsiteX9429" fmla="*/ 1820768 w 6884782"/>
              <a:gd name="connsiteY9429" fmla="*/ 4800842 h 5973007"/>
              <a:gd name="connsiteX9430" fmla="*/ 1823246 w 6884782"/>
              <a:gd name="connsiteY9430" fmla="*/ 4800326 h 5973007"/>
              <a:gd name="connsiteX9431" fmla="*/ 1523676 w 6884782"/>
              <a:gd name="connsiteY9431" fmla="*/ 4799810 h 5973007"/>
              <a:gd name="connsiteX9432" fmla="*/ 1532815 w 6884782"/>
              <a:gd name="connsiteY9432" fmla="*/ 4806418 h 5973007"/>
              <a:gd name="connsiteX9433" fmla="*/ 1530027 w 6884782"/>
              <a:gd name="connsiteY9433" fmla="*/ 4809206 h 5973007"/>
              <a:gd name="connsiteX9434" fmla="*/ 1530491 w 6884782"/>
              <a:gd name="connsiteY9434" fmla="*/ 4809309 h 5973007"/>
              <a:gd name="connsiteX9435" fmla="*/ 1527239 w 6884782"/>
              <a:gd name="connsiteY9435" fmla="*/ 4813543 h 5973007"/>
              <a:gd name="connsiteX9436" fmla="*/ 1526929 w 6884782"/>
              <a:gd name="connsiteY9436" fmla="*/ 4814782 h 5973007"/>
              <a:gd name="connsiteX9437" fmla="*/ 1526774 w 6884782"/>
              <a:gd name="connsiteY9437" fmla="*/ 4816537 h 5973007"/>
              <a:gd name="connsiteX9438" fmla="*/ 1529098 w 6884782"/>
              <a:gd name="connsiteY9438" fmla="*/ 4813749 h 5973007"/>
              <a:gd name="connsiteX9439" fmla="*/ 1530801 w 6884782"/>
              <a:gd name="connsiteY9439" fmla="*/ 4809929 h 5973007"/>
              <a:gd name="connsiteX9440" fmla="*/ 1532970 w 6884782"/>
              <a:gd name="connsiteY9440" fmla="*/ 4809309 h 5973007"/>
              <a:gd name="connsiteX9441" fmla="*/ 1533744 w 6884782"/>
              <a:gd name="connsiteY9441" fmla="*/ 4809722 h 5973007"/>
              <a:gd name="connsiteX9442" fmla="*/ 1533589 w 6884782"/>
              <a:gd name="connsiteY9442" fmla="*/ 4811684 h 5973007"/>
              <a:gd name="connsiteX9443" fmla="*/ 1529562 w 6884782"/>
              <a:gd name="connsiteY9443" fmla="*/ 4818706 h 5973007"/>
              <a:gd name="connsiteX9444" fmla="*/ 1528943 w 6884782"/>
              <a:gd name="connsiteY9444" fmla="*/ 4820254 h 5973007"/>
              <a:gd name="connsiteX9445" fmla="*/ 1526619 w 6884782"/>
              <a:gd name="connsiteY9445" fmla="*/ 4820874 h 5973007"/>
              <a:gd name="connsiteX9446" fmla="*/ 1526774 w 6884782"/>
              <a:gd name="connsiteY9446" fmla="*/ 4816950 h 5973007"/>
              <a:gd name="connsiteX9447" fmla="*/ 1525535 w 6884782"/>
              <a:gd name="connsiteY9447" fmla="*/ 4818809 h 5973007"/>
              <a:gd name="connsiteX9448" fmla="*/ 1521662 w 6884782"/>
              <a:gd name="connsiteY9448" fmla="*/ 4817363 h 5973007"/>
              <a:gd name="connsiteX9449" fmla="*/ 1520888 w 6884782"/>
              <a:gd name="connsiteY9449" fmla="*/ 4817879 h 5973007"/>
              <a:gd name="connsiteX9450" fmla="*/ 1509581 w 6884782"/>
              <a:gd name="connsiteY9450" fmla="*/ 4819738 h 5973007"/>
              <a:gd name="connsiteX9451" fmla="*/ 1513763 w 6884782"/>
              <a:gd name="connsiteY9451" fmla="*/ 4814162 h 5973007"/>
              <a:gd name="connsiteX9452" fmla="*/ 1518409 w 6884782"/>
              <a:gd name="connsiteY9452" fmla="*/ 4811168 h 5973007"/>
              <a:gd name="connsiteX9453" fmla="*/ 1517945 w 6884782"/>
              <a:gd name="connsiteY9453" fmla="*/ 4808586 h 5973007"/>
              <a:gd name="connsiteX9454" fmla="*/ 1515466 w 6884782"/>
              <a:gd name="connsiteY9454" fmla="*/ 4812407 h 5973007"/>
              <a:gd name="connsiteX9455" fmla="*/ 1499512 w 6884782"/>
              <a:gd name="connsiteY9455" fmla="*/ 4818396 h 5973007"/>
              <a:gd name="connsiteX9456" fmla="*/ 1506638 w 6884782"/>
              <a:gd name="connsiteY9456" fmla="*/ 4809309 h 5973007"/>
              <a:gd name="connsiteX9457" fmla="*/ 1517790 w 6884782"/>
              <a:gd name="connsiteY9457" fmla="*/ 4807038 h 5973007"/>
              <a:gd name="connsiteX9458" fmla="*/ 1517790 w 6884782"/>
              <a:gd name="connsiteY9458" fmla="*/ 4804456 h 5973007"/>
              <a:gd name="connsiteX9459" fmla="*/ 1521507 w 6884782"/>
              <a:gd name="connsiteY9459" fmla="*/ 4803734 h 5973007"/>
              <a:gd name="connsiteX9460" fmla="*/ 1523211 w 6884782"/>
              <a:gd name="connsiteY9460" fmla="*/ 4805076 h 5973007"/>
              <a:gd name="connsiteX9461" fmla="*/ 1689260 w 6884782"/>
              <a:gd name="connsiteY9461" fmla="*/ 4799603 h 5973007"/>
              <a:gd name="connsiteX9462" fmla="*/ 1691274 w 6884782"/>
              <a:gd name="connsiteY9462" fmla="*/ 4799603 h 5973007"/>
              <a:gd name="connsiteX9463" fmla="*/ 1690499 w 6884782"/>
              <a:gd name="connsiteY9463" fmla="*/ 4800636 h 5973007"/>
              <a:gd name="connsiteX9464" fmla="*/ 1689260 w 6884782"/>
              <a:gd name="connsiteY9464" fmla="*/ 4799603 h 5973007"/>
              <a:gd name="connsiteX9465" fmla="*/ 1336116 w 6884782"/>
              <a:gd name="connsiteY9465" fmla="*/ 4799383 h 5973007"/>
              <a:gd name="connsiteX9466" fmla="*/ 1339039 w 6884782"/>
              <a:gd name="connsiteY9466" fmla="*/ 4803630 h 5973007"/>
              <a:gd name="connsiteX9467" fmla="*/ 1335477 w 6884782"/>
              <a:gd name="connsiteY9467" fmla="*/ 4804146 h 5973007"/>
              <a:gd name="connsiteX9468" fmla="*/ 1333773 w 6884782"/>
              <a:gd name="connsiteY9468" fmla="*/ 4803423 h 5973007"/>
              <a:gd name="connsiteX9469" fmla="*/ 1336116 w 6884782"/>
              <a:gd name="connsiteY9469" fmla="*/ 4799383 h 5973007"/>
              <a:gd name="connsiteX9470" fmla="*/ 6248158 w 6884782"/>
              <a:gd name="connsiteY9470" fmla="*/ 4798898 h 5973007"/>
              <a:gd name="connsiteX9471" fmla="*/ 6249862 w 6884782"/>
              <a:gd name="connsiteY9471" fmla="*/ 4801479 h 5973007"/>
              <a:gd name="connsiteX9472" fmla="*/ 6239639 w 6884782"/>
              <a:gd name="connsiteY9472" fmla="*/ 4815109 h 5973007"/>
              <a:gd name="connsiteX9473" fmla="*/ 6237316 w 6884782"/>
              <a:gd name="connsiteY9473" fmla="*/ 4813870 h 5973007"/>
              <a:gd name="connsiteX9474" fmla="*/ 6248158 w 6884782"/>
              <a:gd name="connsiteY9474" fmla="*/ 4798898 h 5973007"/>
              <a:gd name="connsiteX9475" fmla="*/ 6400421 w 6884782"/>
              <a:gd name="connsiteY9475" fmla="*/ 4798485 h 5973007"/>
              <a:gd name="connsiteX9476" fmla="*/ 6412039 w 6884782"/>
              <a:gd name="connsiteY9476" fmla="*/ 4804990 h 5973007"/>
              <a:gd name="connsiteX9477" fmla="*/ 6408476 w 6884782"/>
              <a:gd name="connsiteY9477" fmla="*/ 4811289 h 5973007"/>
              <a:gd name="connsiteX9478" fmla="*/ 6406308 w 6884782"/>
              <a:gd name="connsiteY9478" fmla="*/ 4811082 h 5973007"/>
              <a:gd name="connsiteX9479" fmla="*/ 6397169 w 6884782"/>
              <a:gd name="connsiteY9479" fmla="*/ 4806642 h 5973007"/>
              <a:gd name="connsiteX9480" fmla="*/ 6400421 w 6884782"/>
              <a:gd name="connsiteY9480" fmla="*/ 4798485 h 5973007"/>
              <a:gd name="connsiteX9481" fmla="*/ 1256480 w 6884782"/>
              <a:gd name="connsiteY9481" fmla="*/ 4798157 h 5973007"/>
              <a:gd name="connsiteX9482" fmla="*/ 1269336 w 6884782"/>
              <a:gd name="connsiteY9482" fmla="*/ 4808793 h 5973007"/>
              <a:gd name="connsiteX9483" fmla="*/ 1266084 w 6884782"/>
              <a:gd name="connsiteY9483" fmla="*/ 4811891 h 5973007"/>
              <a:gd name="connsiteX9484" fmla="*/ 1262211 w 6884782"/>
              <a:gd name="connsiteY9484" fmla="*/ 4811374 h 5973007"/>
              <a:gd name="connsiteX9485" fmla="*/ 1259113 w 6884782"/>
              <a:gd name="connsiteY9485" fmla="*/ 4809619 h 5973007"/>
              <a:gd name="connsiteX9486" fmla="*/ 1257100 w 6884782"/>
              <a:gd name="connsiteY9486" fmla="*/ 4806315 h 5973007"/>
              <a:gd name="connsiteX9487" fmla="*/ 1253692 w 6884782"/>
              <a:gd name="connsiteY9487" fmla="*/ 4801152 h 5973007"/>
              <a:gd name="connsiteX9488" fmla="*/ 1256480 w 6884782"/>
              <a:gd name="connsiteY9488" fmla="*/ 4798157 h 5973007"/>
              <a:gd name="connsiteX9489" fmla="*/ 6526177 w 6884782"/>
              <a:gd name="connsiteY9489" fmla="*/ 4797943 h 5973007"/>
              <a:gd name="connsiteX9490" fmla="*/ 6529914 w 6884782"/>
              <a:gd name="connsiteY9490" fmla="*/ 4800034 h 5973007"/>
              <a:gd name="connsiteX9491" fmla="*/ 6527591 w 6884782"/>
              <a:gd name="connsiteY9491" fmla="*/ 4805094 h 5973007"/>
              <a:gd name="connsiteX9492" fmla="*/ 6523254 w 6884782"/>
              <a:gd name="connsiteY9492" fmla="*/ 4799724 h 5973007"/>
              <a:gd name="connsiteX9493" fmla="*/ 6526177 w 6884782"/>
              <a:gd name="connsiteY9493" fmla="*/ 4797943 h 5973007"/>
              <a:gd name="connsiteX9494" fmla="*/ 1005238 w 6884782"/>
              <a:gd name="connsiteY9494" fmla="*/ 4797125 h 5973007"/>
              <a:gd name="connsiteX9495" fmla="*/ 1010350 w 6884782"/>
              <a:gd name="connsiteY9495" fmla="*/ 4799293 h 5973007"/>
              <a:gd name="connsiteX9496" fmla="*/ 1014841 w 6884782"/>
              <a:gd name="connsiteY9496" fmla="*/ 4805489 h 5973007"/>
              <a:gd name="connsiteX9497" fmla="*/ 1013758 w 6884782"/>
              <a:gd name="connsiteY9497" fmla="*/ 4805799 h 5973007"/>
              <a:gd name="connsiteX9498" fmla="*/ 1005238 w 6884782"/>
              <a:gd name="connsiteY9498" fmla="*/ 4797125 h 5973007"/>
              <a:gd name="connsiteX9499" fmla="*/ 1704750 w 6884782"/>
              <a:gd name="connsiteY9499" fmla="*/ 4796815 h 5973007"/>
              <a:gd name="connsiteX9500" fmla="*/ 1691274 w 6884782"/>
              <a:gd name="connsiteY9500" fmla="*/ 4799706 h 5973007"/>
              <a:gd name="connsiteX9501" fmla="*/ 1704750 w 6884782"/>
              <a:gd name="connsiteY9501" fmla="*/ 4796815 h 5973007"/>
              <a:gd name="connsiteX9502" fmla="*/ 1481235 w 6884782"/>
              <a:gd name="connsiteY9502" fmla="*/ 4796712 h 5973007"/>
              <a:gd name="connsiteX9503" fmla="*/ 1486501 w 6884782"/>
              <a:gd name="connsiteY9503" fmla="*/ 4798571 h 5973007"/>
              <a:gd name="connsiteX9504" fmla="*/ 1487121 w 6884782"/>
              <a:gd name="connsiteY9504" fmla="*/ 4798054 h 5973007"/>
              <a:gd name="connsiteX9505" fmla="*/ 1492697 w 6884782"/>
              <a:gd name="connsiteY9505" fmla="*/ 4804766 h 5973007"/>
              <a:gd name="connsiteX9506" fmla="*/ 1492232 w 6884782"/>
              <a:gd name="connsiteY9506" fmla="*/ 4806831 h 5973007"/>
              <a:gd name="connsiteX9507" fmla="*/ 1492387 w 6884782"/>
              <a:gd name="connsiteY9507" fmla="*/ 4807038 h 5973007"/>
              <a:gd name="connsiteX9508" fmla="*/ 1488670 w 6884782"/>
              <a:gd name="connsiteY9508" fmla="*/ 4810239 h 5973007"/>
              <a:gd name="connsiteX9509" fmla="*/ 1484952 w 6884782"/>
              <a:gd name="connsiteY9509" fmla="*/ 4809825 h 5973007"/>
              <a:gd name="connsiteX9510" fmla="*/ 1482009 w 6884782"/>
              <a:gd name="connsiteY9510" fmla="*/ 4808070 h 5973007"/>
              <a:gd name="connsiteX9511" fmla="*/ 1480460 w 6884782"/>
              <a:gd name="connsiteY9511" fmla="*/ 4804766 h 5973007"/>
              <a:gd name="connsiteX9512" fmla="*/ 1477827 w 6884782"/>
              <a:gd name="connsiteY9512" fmla="*/ 4799706 h 5973007"/>
              <a:gd name="connsiteX9513" fmla="*/ 1481235 w 6884782"/>
              <a:gd name="connsiteY9513" fmla="*/ 4796712 h 5973007"/>
              <a:gd name="connsiteX9514" fmla="*/ 1658590 w 6884782"/>
              <a:gd name="connsiteY9514" fmla="*/ 4796402 h 5973007"/>
              <a:gd name="connsiteX9515" fmla="*/ 1665716 w 6884782"/>
              <a:gd name="connsiteY9515" fmla="*/ 4797641 h 5973007"/>
              <a:gd name="connsiteX9516" fmla="*/ 1665716 w 6884782"/>
              <a:gd name="connsiteY9516" fmla="*/ 4799603 h 5973007"/>
              <a:gd name="connsiteX9517" fmla="*/ 1665406 w 6884782"/>
              <a:gd name="connsiteY9517" fmla="*/ 4801668 h 5973007"/>
              <a:gd name="connsiteX9518" fmla="*/ 1662308 w 6884782"/>
              <a:gd name="connsiteY9518" fmla="*/ 4805179 h 5973007"/>
              <a:gd name="connsiteX9519" fmla="*/ 1659830 w 6884782"/>
              <a:gd name="connsiteY9519" fmla="*/ 4805385 h 5973007"/>
              <a:gd name="connsiteX9520" fmla="*/ 1658436 w 6884782"/>
              <a:gd name="connsiteY9520" fmla="*/ 4804869 h 5973007"/>
              <a:gd name="connsiteX9521" fmla="*/ 1657042 w 6884782"/>
              <a:gd name="connsiteY9521" fmla="*/ 4804043 h 5973007"/>
              <a:gd name="connsiteX9522" fmla="*/ 1658590 w 6884782"/>
              <a:gd name="connsiteY9522" fmla="*/ 4796402 h 5973007"/>
              <a:gd name="connsiteX9523" fmla="*/ 1866461 w 6884782"/>
              <a:gd name="connsiteY9523" fmla="*/ 4796196 h 5973007"/>
              <a:gd name="connsiteX9524" fmla="*/ 1871573 w 6884782"/>
              <a:gd name="connsiteY9524" fmla="*/ 4802391 h 5973007"/>
              <a:gd name="connsiteX9525" fmla="*/ 1874051 w 6884782"/>
              <a:gd name="connsiteY9525" fmla="*/ 4806211 h 5973007"/>
              <a:gd name="connsiteX9526" fmla="*/ 1873742 w 6884782"/>
              <a:gd name="connsiteY9526" fmla="*/ 4808483 h 5973007"/>
              <a:gd name="connsiteX9527" fmla="*/ 1872967 w 6884782"/>
              <a:gd name="connsiteY9527" fmla="*/ 4808896 h 5973007"/>
              <a:gd name="connsiteX9528" fmla="*/ 1871418 w 6884782"/>
              <a:gd name="connsiteY9528" fmla="*/ 4807760 h 5973007"/>
              <a:gd name="connsiteX9529" fmla="*/ 1867081 w 6884782"/>
              <a:gd name="connsiteY9529" fmla="*/ 4800016 h 5973007"/>
              <a:gd name="connsiteX9530" fmla="*/ 1865997 w 6884782"/>
              <a:gd name="connsiteY9530" fmla="*/ 4798467 h 5973007"/>
              <a:gd name="connsiteX9531" fmla="*/ 1866461 w 6884782"/>
              <a:gd name="connsiteY9531" fmla="*/ 4796196 h 5973007"/>
              <a:gd name="connsiteX9532" fmla="*/ 6110920 w 6884782"/>
              <a:gd name="connsiteY9532" fmla="*/ 4795697 h 5973007"/>
              <a:gd name="connsiteX9533" fmla="*/ 6101471 w 6884782"/>
              <a:gd name="connsiteY9533" fmla="*/ 4814490 h 5973007"/>
              <a:gd name="connsiteX9534" fmla="*/ 6097754 w 6884782"/>
              <a:gd name="connsiteY9534" fmla="*/ 4815626 h 5973007"/>
              <a:gd name="connsiteX9535" fmla="*/ 6096205 w 6884782"/>
              <a:gd name="connsiteY9535" fmla="*/ 4815213 h 5973007"/>
              <a:gd name="connsiteX9536" fmla="*/ 6110920 w 6884782"/>
              <a:gd name="connsiteY9536" fmla="*/ 4795697 h 5973007"/>
              <a:gd name="connsiteX9537" fmla="*/ 1614910 w 6884782"/>
              <a:gd name="connsiteY9537" fmla="*/ 4795576 h 5973007"/>
              <a:gd name="connsiteX9538" fmla="*/ 1618008 w 6884782"/>
              <a:gd name="connsiteY9538" fmla="*/ 4797332 h 5973007"/>
              <a:gd name="connsiteX9539" fmla="*/ 1618937 w 6884782"/>
              <a:gd name="connsiteY9539" fmla="*/ 4805076 h 5973007"/>
              <a:gd name="connsiteX9540" fmla="*/ 1617544 w 6884782"/>
              <a:gd name="connsiteY9540" fmla="*/ 4806624 h 5973007"/>
              <a:gd name="connsiteX9541" fmla="*/ 1613981 w 6884782"/>
              <a:gd name="connsiteY9541" fmla="*/ 4803630 h 5973007"/>
              <a:gd name="connsiteX9542" fmla="*/ 1614910 w 6884782"/>
              <a:gd name="connsiteY9542" fmla="*/ 4795576 h 5973007"/>
              <a:gd name="connsiteX9543" fmla="*/ 6391592 w 6884782"/>
              <a:gd name="connsiteY9543" fmla="*/ 4794562 h 5973007"/>
              <a:gd name="connsiteX9544" fmla="*/ 6388495 w 6884782"/>
              <a:gd name="connsiteY9544" fmla="*/ 4821924 h 5973007"/>
              <a:gd name="connsiteX9545" fmla="*/ 6391592 w 6884782"/>
              <a:gd name="connsiteY9545" fmla="*/ 4794562 h 5973007"/>
              <a:gd name="connsiteX9546" fmla="*/ 6160332 w 6884782"/>
              <a:gd name="connsiteY9546" fmla="*/ 4794252 h 5973007"/>
              <a:gd name="connsiteX9547" fmla="*/ 6174428 w 6884782"/>
              <a:gd name="connsiteY9547" fmla="*/ 4803338 h 5973007"/>
              <a:gd name="connsiteX9548" fmla="*/ 6173963 w 6884782"/>
              <a:gd name="connsiteY9548" fmla="*/ 4822234 h 5973007"/>
              <a:gd name="connsiteX9549" fmla="*/ 6168851 w 6884782"/>
              <a:gd name="connsiteY9549" fmla="*/ 4822957 h 5973007"/>
              <a:gd name="connsiteX9550" fmla="*/ 6160487 w 6884782"/>
              <a:gd name="connsiteY9550" fmla="*/ 4813354 h 5973007"/>
              <a:gd name="connsiteX9551" fmla="*/ 6158783 w 6884782"/>
              <a:gd name="connsiteY9551" fmla="*/ 4807159 h 5973007"/>
              <a:gd name="connsiteX9552" fmla="*/ 6158164 w 6884782"/>
              <a:gd name="connsiteY9552" fmla="*/ 4796317 h 5973007"/>
              <a:gd name="connsiteX9553" fmla="*/ 6160332 w 6884782"/>
              <a:gd name="connsiteY9553" fmla="*/ 4794252 h 5973007"/>
              <a:gd name="connsiteX9554" fmla="*/ 1005393 w 6884782"/>
              <a:gd name="connsiteY9554" fmla="*/ 4793924 h 5973007"/>
              <a:gd name="connsiteX9555" fmla="*/ 992537 w 6884782"/>
              <a:gd name="connsiteY9555" fmla="*/ 4801875 h 5973007"/>
              <a:gd name="connsiteX9556" fmla="*/ 991762 w 6884782"/>
              <a:gd name="connsiteY9556" fmla="*/ 4801358 h 5973007"/>
              <a:gd name="connsiteX9557" fmla="*/ 992227 w 6884782"/>
              <a:gd name="connsiteY9557" fmla="*/ 4799293 h 5973007"/>
              <a:gd name="connsiteX9558" fmla="*/ 995480 w 6884782"/>
              <a:gd name="connsiteY9558" fmla="*/ 4797228 h 5973007"/>
              <a:gd name="connsiteX9559" fmla="*/ 1003690 w 6884782"/>
              <a:gd name="connsiteY9559" fmla="*/ 4794956 h 5973007"/>
              <a:gd name="connsiteX9560" fmla="*/ 1005393 w 6884782"/>
              <a:gd name="connsiteY9560" fmla="*/ 4793924 h 5973007"/>
              <a:gd name="connsiteX9561" fmla="*/ 843217 w 6884782"/>
              <a:gd name="connsiteY9561" fmla="*/ 4793717 h 5973007"/>
              <a:gd name="connsiteX9562" fmla="*/ 846469 w 6884782"/>
              <a:gd name="connsiteY9562" fmla="*/ 4803320 h 5973007"/>
              <a:gd name="connsiteX9563" fmla="*/ 843836 w 6884782"/>
              <a:gd name="connsiteY9563" fmla="*/ 4813749 h 5973007"/>
              <a:gd name="connsiteX9564" fmla="*/ 841357 w 6884782"/>
              <a:gd name="connsiteY9564" fmla="*/ 4809412 h 5973007"/>
              <a:gd name="connsiteX9565" fmla="*/ 843217 w 6884782"/>
              <a:gd name="connsiteY9565" fmla="*/ 4793717 h 5973007"/>
              <a:gd name="connsiteX9566" fmla="*/ 1717761 w 6884782"/>
              <a:gd name="connsiteY9566" fmla="*/ 4793305 h 5973007"/>
              <a:gd name="connsiteX9567" fmla="*/ 1711565 w 6884782"/>
              <a:gd name="connsiteY9567" fmla="*/ 4795886 h 5973007"/>
              <a:gd name="connsiteX9568" fmla="*/ 1710481 w 6884782"/>
              <a:gd name="connsiteY9568" fmla="*/ 4795473 h 5973007"/>
              <a:gd name="connsiteX9569" fmla="*/ 1717761 w 6884782"/>
              <a:gd name="connsiteY9569" fmla="*/ 4793305 h 5973007"/>
              <a:gd name="connsiteX9570" fmla="*/ 711690 w 6884782"/>
              <a:gd name="connsiteY9570" fmla="*/ 4793124 h 5973007"/>
              <a:gd name="connsiteX9571" fmla="*/ 725650 w 6884782"/>
              <a:gd name="connsiteY9571" fmla="*/ 4795163 h 5973007"/>
              <a:gd name="connsiteX9572" fmla="*/ 699473 w 6884782"/>
              <a:gd name="connsiteY9572" fmla="*/ 4803630 h 5973007"/>
              <a:gd name="connsiteX9573" fmla="*/ 711690 w 6884782"/>
              <a:gd name="connsiteY9573" fmla="*/ 4793124 h 5973007"/>
              <a:gd name="connsiteX9574" fmla="*/ 1460633 w 6884782"/>
              <a:gd name="connsiteY9574" fmla="*/ 4792066 h 5973007"/>
              <a:gd name="connsiteX9575" fmla="*/ 1465900 w 6884782"/>
              <a:gd name="connsiteY9575" fmla="*/ 4793098 h 5973007"/>
              <a:gd name="connsiteX9576" fmla="*/ 1465590 w 6884782"/>
              <a:gd name="connsiteY9576" fmla="*/ 4795886 h 5973007"/>
              <a:gd name="connsiteX9577" fmla="*/ 1462027 w 6884782"/>
              <a:gd name="connsiteY9577" fmla="*/ 4798467 h 5973007"/>
              <a:gd name="connsiteX9578" fmla="*/ 1463731 w 6884782"/>
              <a:gd name="connsiteY9578" fmla="*/ 4799190 h 5973007"/>
              <a:gd name="connsiteX9579" fmla="*/ 1466674 w 6884782"/>
              <a:gd name="connsiteY9579" fmla="*/ 4802701 h 5973007"/>
              <a:gd name="connsiteX9580" fmla="*/ 1462957 w 6884782"/>
              <a:gd name="connsiteY9580" fmla="*/ 4806831 h 5973007"/>
              <a:gd name="connsiteX9581" fmla="*/ 1460633 w 6884782"/>
              <a:gd name="connsiteY9581" fmla="*/ 4806728 h 5973007"/>
              <a:gd name="connsiteX9582" fmla="*/ 1452114 w 6884782"/>
              <a:gd name="connsiteY9582" fmla="*/ 4802701 h 5973007"/>
              <a:gd name="connsiteX9583" fmla="*/ 1452734 w 6884782"/>
              <a:gd name="connsiteY9583" fmla="*/ 4798157 h 5973007"/>
              <a:gd name="connsiteX9584" fmla="*/ 1453198 w 6884782"/>
              <a:gd name="connsiteY9584" fmla="*/ 4797951 h 5973007"/>
              <a:gd name="connsiteX9585" fmla="*/ 1602053 w 6884782"/>
              <a:gd name="connsiteY9585" fmla="*/ 4791859 h 5973007"/>
              <a:gd name="connsiteX9586" fmla="*/ 1604841 w 6884782"/>
              <a:gd name="connsiteY9586" fmla="*/ 4798777 h 5973007"/>
              <a:gd name="connsiteX9587" fmla="*/ 1602828 w 6884782"/>
              <a:gd name="connsiteY9587" fmla="*/ 4800636 h 5973007"/>
              <a:gd name="connsiteX9588" fmla="*/ 1598026 w 6884782"/>
              <a:gd name="connsiteY9588" fmla="*/ 4797332 h 5973007"/>
              <a:gd name="connsiteX9589" fmla="*/ 1598491 w 6884782"/>
              <a:gd name="connsiteY9589" fmla="*/ 4794544 h 5973007"/>
              <a:gd name="connsiteX9590" fmla="*/ 1602053 w 6884782"/>
              <a:gd name="connsiteY9590" fmla="*/ 4791859 h 5973007"/>
              <a:gd name="connsiteX9591" fmla="*/ 1576806 w 6884782"/>
              <a:gd name="connsiteY9591" fmla="*/ 4791859 h 5973007"/>
              <a:gd name="connsiteX9592" fmla="*/ 1571849 w 6884782"/>
              <a:gd name="connsiteY9592" fmla="*/ 4795163 h 5973007"/>
              <a:gd name="connsiteX9593" fmla="*/ 1571074 w 6884782"/>
              <a:gd name="connsiteY9593" fmla="*/ 4797641 h 5973007"/>
              <a:gd name="connsiteX9594" fmla="*/ 1569526 w 6884782"/>
              <a:gd name="connsiteY9594" fmla="*/ 4798364 h 5973007"/>
              <a:gd name="connsiteX9595" fmla="*/ 1569835 w 6884782"/>
              <a:gd name="connsiteY9595" fmla="*/ 4799397 h 5973007"/>
              <a:gd name="connsiteX9596" fmla="*/ 1571074 w 6884782"/>
              <a:gd name="connsiteY9596" fmla="*/ 4801772 h 5973007"/>
              <a:gd name="connsiteX9597" fmla="*/ 1564879 w 6884782"/>
              <a:gd name="connsiteY9597" fmla="*/ 4803837 h 5973007"/>
              <a:gd name="connsiteX9598" fmla="*/ 1562245 w 6884782"/>
              <a:gd name="connsiteY9598" fmla="*/ 4804250 h 5973007"/>
              <a:gd name="connsiteX9599" fmla="*/ 1562245 w 6884782"/>
              <a:gd name="connsiteY9599" fmla="*/ 4804559 h 5973007"/>
              <a:gd name="connsiteX9600" fmla="*/ 1559767 w 6884782"/>
              <a:gd name="connsiteY9600" fmla="*/ 4809206 h 5973007"/>
              <a:gd name="connsiteX9601" fmla="*/ 1558373 w 6884782"/>
              <a:gd name="connsiteY9601" fmla="*/ 4810135 h 5973007"/>
              <a:gd name="connsiteX9602" fmla="*/ 1556669 w 6884782"/>
              <a:gd name="connsiteY9602" fmla="*/ 4820254 h 5973007"/>
              <a:gd name="connsiteX9603" fmla="*/ 1549234 w 6884782"/>
              <a:gd name="connsiteY9603" fmla="*/ 4818086 h 5973007"/>
              <a:gd name="connsiteX9604" fmla="*/ 1549389 w 6884782"/>
              <a:gd name="connsiteY9604" fmla="*/ 4812097 h 5973007"/>
              <a:gd name="connsiteX9605" fmla="*/ 1544742 w 6884782"/>
              <a:gd name="connsiteY9605" fmla="*/ 4808896 h 5973007"/>
              <a:gd name="connsiteX9606" fmla="*/ 1559147 w 6884782"/>
              <a:gd name="connsiteY9606" fmla="*/ 4796918 h 5973007"/>
              <a:gd name="connsiteX9607" fmla="*/ 1560696 w 6884782"/>
              <a:gd name="connsiteY9607" fmla="*/ 4799293 h 5973007"/>
              <a:gd name="connsiteX9608" fmla="*/ 1561626 w 6884782"/>
              <a:gd name="connsiteY9608" fmla="*/ 4798777 h 5973007"/>
              <a:gd name="connsiteX9609" fmla="*/ 1565343 w 6884782"/>
              <a:gd name="connsiteY9609" fmla="*/ 4797641 h 5973007"/>
              <a:gd name="connsiteX9610" fmla="*/ 1565034 w 6884782"/>
              <a:gd name="connsiteY9610" fmla="*/ 4797228 h 5973007"/>
              <a:gd name="connsiteX9611" fmla="*/ 1565963 w 6884782"/>
              <a:gd name="connsiteY9611" fmla="*/ 4794853 h 5973007"/>
              <a:gd name="connsiteX9612" fmla="*/ 1572623 w 6884782"/>
              <a:gd name="connsiteY9612" fmla="*/ 4793408 h 5973007"/>
              <a:gd name="connsiteX9613" fmla="*/ 1576806 w 6884782"/>
              <a:gd name="connsiteY9613" fmla="*/ 4791859 h 5973007"/>
              <a:gd name="connsiteX9614" fmla="*/ 1657042 w 6884782"/>
              <a:gd name="connsiteY9614" fmla="*/ 4791756 h 5973007"/>
              <a:gd name="connsiteX9615" fmla="*/ 1660295 w 6884782"/>
              <a:gd name="connsiteY9615" fmla="*/ 4792582 h 5973007"/>
              <a:gd name="connsiteX9616" fmla="*/ 1660295 w 6884782"/>
              <a:gd name="connsiteY9616" fmla="*/ 4794131 h 5973007"/>
              <a:gd name="connsiteX9617" fmla="*/ 1658281 w 6884782"/>
              <a:gd name="connsiteY9617" fmla="*/ 4795267 h 5973007"/>
              <a:gd name="connsiteX9618" fmla="*/ 1517170 w 6884782"/>
              <a:gd name="connsiteY9618" fmla="*/ 4791239 h 5973007"/>
              <a:gd name="connsiteX9619" fmla="*/ 1515931 w 6884782"/>
              <a:gd name="connsiteY9619" fmla="*/ 4795473 h 5973007"/>
              <a:gd name="connsiteX9620" fmla="*/ 1514537 w 6884782"/>
              <a:gd name="connsiteY9620" fmla="*/ 4791756 h 5973007"/>
              <a:gd name="connsiteX9621" fmla="*/ 1517170 w 6884782"/>
              <a:gd name="connsiteY9621" fmla="*/ 4791239 h 5973007"/>
              <a:gd name="connsiteX9622" fmla="*/ 6204323 w 6884782"/>
              <a:gd name="connsiteY9622" fmla="*/ 4791154 h 5973007"/>
              <a:gd name="connsiteX9623" fmla="*/ 6206337 w 6884782"/>
              <a:gd name="connsiteY9623" fmla="*/ 4799724 h 5973007"/>
              <a:gd name="connsiteX9624" fmla="*/ 6200450 w 6884782"/>
              <a:gd name="connsiteY9624" fmla="*/ 4794355 h 5973007"/>
              <a:gd name="connsiteX9625" fmla="*/ 6204323 w 6884782"/>
              <a:gd name="connsiteY9625" fmla="*/ 4791154 h 5973007"/>
              <a:gd name="connsiteX9626" fmla="*/ 6094191 w 6884782"/>
              <a:gd name="connsiteY9626" fmla="*/ 4790947 h 5973007"/>
              <a:gd name="connsiteX9627" fmla="*/ 6097444 w 6884782"/>
              <a:gd name="connsiteY9627" fmla="*/ 4792186 h 5973007"/>
              <a:gd name="connsiteX9628" fmla="*/ 6093417 w 6884782"/>
              <a:gd name="connsiteY9628" fmla="*/ 4795904 h 5973007"/>
              <a:gd name="connsiteX9629" fmla="*/ 6094191 w 6884782"/>
              <a:gd name="connsiteY9629" fmla="*/ 4790947 h 5973007"/>
              <a:gd name="connsiteX9630" fmla="*/ 5930621 w 6884782"/>
              <a:gd name="connsiteY9630" fmla="*/ 4790638 h 5973007"/>
              <a:gd name="connsiteX9631" fmla="*/ 5925974 w 6884782"/>
              <a:gd name="connsiteY9631" fmla="*/ 4800550 h 5973007"/>
              <a:gd name="connsiteX9632" fmla="*/ 5930621 w 6884782"/>
              <a:gd name="connsiteY9632" fmla="*/ 4790638 h 5973007"/>
              <a:gd name="connsiteX9633" fmla="*/ 1869405 w 6884782"/>
              <a:gd name="connsiteY9633" fmla="*/ 4790620 h 5973007"/>
              <a:gd name="connsiteX9634" fmla="*/ 1871728 w 6884782"/>
              <a:gd name="connsiteY9634" fmla="*/ 4792375 h 5973007"/>
              <a:gd name="connsiteX9635" fmla="*/ 1870799 w 6884782"/>
              <a:gd name="connsiteY9635" fmla="*/ 4793305 h 5973007"/>
              <a:gd name="connsiteX9636" fmla="*/ 1871573 w 6884782"/>
              <a:gd name="connsiteY9636" fmla="*/ 4793305 h 5973007"/>
              <a:gd name="connsiteX9637" fmla="*/ 1870489 w 6884782"/>
              <a:gd name="connsiteY9637" fmla="*/ 4793614 h 5973007"/>
              <a:gd name="connsiteX9638" fmla="*/ 1870024 w 6884782"/>
              <a:gd name="connsiteY9638" fmla="*/ 4793305 h 5973007"/>
              <a:gd name="connsiteX9639" fmla="*/ 1869095 w 6884782"/>
              <a:gd name="connsiteY9639" fmla="*/ 4791962 h 5973007"/>
              <a:gd name="connsiteX9640" fmla="*/ 1869405 w 6884782"/>
              <a:gd name="connsiteY9640" fmla="*/ 4790620 h 5973007"/>
              <a:gd name="connsiteX9641" fmla="*/ 1681670 w 6884782"/>
              <a:gd name="connsiteY9641" fmla="*/ 4790516 h 5973007"/>
              <a:gd name="connsiteX9642" fmla="*/ 1682755 w 6884782"/>
              <a:gd name="connsiteY9642" fmla="*/ 4790723 h 5973007"/>
              <a:gd name="connsiteX9643" fmla="*/ 1690809 w 6884782"/>
              <a:gd name="connsiteY9643" fmla="*/ 4796506 h 5973007"/>
              <a:gd name="connsiteX9644" fmla="*/ 1686472 w 6884782"/>
              <a:gd name="connsiteY9644" fmla="*/ 4800739 h 5973007"/>
              <a:gd name="connsiteX9645" fmla="*/ 1683994 w 6884782"/>
              <a:gd name="connsiteY9645" fmla="*/ 4800739 h 5973007"/>
              <a:gd name="connsiteX9646" fmla="*/ 1676249 w 6884782"/>
              <a:gd name="connsiteY9646" fmla="*/ 4796918 h 5973007"/>
              <a:gd name="connsiteX9647" fmla="*/ 1681670 w 6884782"/>
              <a:gd name="connsiteY9647" fmla="*/ 4790516 h 5973007"/>
              <a:gd name="connsiteX9648" fmla="*/ 6317242 w 6884782"/>
              <a:gd name="connsiteY9648" fmla="*/ 4790431 h 5973007"/>
              <a:gd name="connsiteX9649" fmla="*/ 6317087 w 6884782"/>
              <a:gd name="connsiteY9649" fmla="*/ 4799414 h 5973007"/>
              <a:gd name="connsiteX9650" fmla="*/ 6313989 w 6884782"/>
              <a:gd name="connsiteY9650" fmla="*/ 4797763 h 5973007"/>
              <a:gd name="connsiteX9651" fmla="*/ 6317242 w 6884782"/>
              <a:gd name="connsiteY9651" fmla="*/ 4790431 h 5973007"/>
              <a:gd name="connsiteX9652" fmla="*/ 1740531 w 6884782"/>
              <a:gd name="connsiteY9652" fmla="*/ 4790310 h 5973007"/>
              <a:gd name="connsiteX9653" fmla="*/ 1743938 w 6884782"/>
              <a:gd name="connsiteY9653" fmla="*/ 4792582 h 5973007"/>
              <a:gd name="connsiteX9654" fmla="*/ 1744868 w 6884782"/>
              <a:gd name="connsiteY9654" fmla="*/ 4797435 h 5973007"/>
              <a:gd name="connsiteX9655" fmla="*/ 1746417 w 6884782"/>
              <a:gd name="connsiteY9655" fmla="*/ 4799500 h 5973007"/>
              <a:gd name="connsiteX9656" fmla="*/ 1745952 w 6884782"/>
              <a:gd name="connsiteY9656" fmla="*/ 4800223 h 5973007"/>
              <a:gd name="connsiteX9657" fmla="*/ 1738672 w 6884782"/>
              <a:gd name="connsiteY9657" fmla="*/ 4793408 h 5973007"/>
              <a:gd name="connsiteX9658" fmla="*/ 1738672 w 6884782"/>
              <a:gd name="connsiteY9658" fmla="*/ 4791652 h 5973007"/>
              <a:gd name="connsiteX9659" fmla="*/ 1740531 w 6884782"/>
              <a:gd name="connsiteY9659" fmla="*/ 4790310 h 5973007"/>
              <a:gd name="connsiteX9660" fmla="*/ 1011434 w 6884782"/>
              <a:gd name="connsiteY9660" fmla="*/ 4790310 h 5973007"/>
              <a:gd name="connsiteX9661" fmla="*/ 1012828 w 6884782"/>
              <a:gd name="connsiteY9661" fmla="*/ 4792375 h 5973007"/>
              <a:gd name="connsiteX9662" fmla="*/ 1008336 w 6884782"/>
              <a:gd name="connsiteY9662" fmla="*/ 4793614 h 5973007"/>
              <a:gd name="connsiteX9663" fmla="*/ 1006632 w 6884782"/>
              <a:gd name="connsiteY9663" fmla="*/ 4794647 h 5973007"/>
              <a:gd name="connsiteX9664" fmla="*/ 1006942 w 6884782"/>
              <a:gd name="connsiteY9664" fmla="*/ 4792788 h 5973007"/>
              <a:gd name="connsiteX9665" fmla="*/ 1009885 w 6884782"/>
              <a:gd name="connsiteY9665" fmla="*/ 4792582 h 5973007"/>
              <a:gd name="connsiteX9666" fmla="*/ 1010195 w 6884782"/>
              <a:gd name="connsiteY9666" fmla="*/ 4790620 h 5973007"/>
              <a:gd name="connsiteX9667" fmla="*/ 1011434 w 6884782"/>
              <a:gd name="connsiteY9667" fmla="*/ 4790310 h 5973007"/>
              <a:gd name="connsiteX9668" fmla="*/ 1124353 w 6884782"/>
              <a:gd name="connsiteY9668" fmla="*/ 4789690 h 5973007"/>
              <a:gd name="connsiteX9669" fmla="*/ 1126058 w 6884782"/>
              <a:gd name="connsiteY9669" fmla="*/ 4790826 h 5973007"/>
              <a:gd name="connsiteX9670" fmla="*/ 1126367 w 6884782"/>
              <a:gd name="connsiteY9670" fmla="*/ 4790826 h 5973007"/>
              <a:gd name="connsiteX9671" fmla="*/ 1125748 w 6884782"/>
              <a:gd name="connsiteY9671" fmla="*/ 4798777 h 5973007"/>
              <a:gd name="connsiteX9672" fmla="*/ 1123114 w 6884782"/>
              <a:gd name="connsiteY9672" fmla="*/ 4800739 h 5973007"/>
              <a:gd name="connsiteX9673" fmla="*/ 1119397 w 6884782"/>
              <a:gd name="connsiteY9673" fmla="*/ 4800842 h 5973007"/>
              <a:gd name="connsiteX9674" fmla="*/ 1116608 w 6884782"/>
              <a:gd name="connsiteY9674" fmla="*/ 4801668 h 5973007"/>
              <a:gd name="connsiteX9675" fmla="*/ 1113665 w 6884782"/>
              <a:gd name="connsiteY9675" fmla="*/ 4801152 h 5973007"/>
              <a:gd name="connsiteX9676" fmla="*/ 1112271 w 6884782"/>
              <a:gd name="connsiteY9676" fmla="*/ 4796918 h 5973007"/>
              <a:gd name="connsiteX9677" fmla="*/ 1116144 w 6884782"/>
              <a:gd name="connsiteY9677" fmla="*/ 4792788 h 5973007"/>
              <a:gd name="connsiteX9678" fmla="*/ 1115989 w 6884782"/>
              <a:gd name="connsiteY9678" fmla="*/ 4792066 h 5973007"/>
              <a:gd name="connsiteX9679" fmla="*/ 1124353 w 6884782"/>
              <a:gd name="connsiteY9679" fmla="*/ 4789690 h 5973007"/>
              <a:gd name="connsiteX9680" fmla="*/ 1542419 w 6884782"/>
              <a:gd name="connsiteY9680" fmla="*/ 4789174 h 5973007"/>
              <a:gd name="connsiteX9681" fmla="*/ 1546911 w 6884782"/>
              <a:gd name="connsiteY9681" fmla="*/ 4792891 h 5973007"/>
              <a:gd name="connsiteX9682" fmla="*/ 1540405 w 6884782"/>
              <a:gd name="connsiteY9682" fmla="*/ 4802391 h 5973007"/>
              <a:gd name="connsiteX9683" fmla="*/ 1534518 w 6884782"/>
              <a:gd name="connsiteY9683" fmla="*/ 4798261 h 5973007"/>
              <a:gd name="connsiteX9684" fmla="*/ 1535603 w 6884782"/>
              <a:gd name="connsiteY9684" fmla="*/ 4790104 h 5973007"/>
              <a:gd name="connsiteX9685" fmla="*/ 1542419 w 6884782"/>
              <a:gd name="connsiteY9685" fmla="*/ 4789174 h 5973007"/>
              <a:gd name="connsiteX9686" fmla="*/ 1051126 w 6884782"/>
              <a:gd name="connsiteY9686" fmla="*/ 4788477 h 5973007"/>
              <a:gd name="connsiteX9687" fmla="*/ 1054650 w 6884782"/>
              <a:gd name="connsiteY9687" fmla="*/ 4792891 h 5973007"/>
              <a:gd name="connsiteX9688" fmla="*/ 1053876 w 6884782"/>
              <a:gd name="connsiteY9688" fmla="*/ 4797228 h 5973007"/>
              <a:gd name="connsiteX9689" fmla="*/ 1047215 w 6884782"/>
              <a:gd name="connsiteY9689" fmla="*/ 4800945 h 5973007"/>
              <a:gd name="connsiteX9690" fmla="*/ 1044891 w 6884782"/>
              <a:gd name="connsiteY9690" fmla="*/ 4796712 h 5973007"/>
              <a:gd name="connsiteX9691" fmla="*/ 1043652 w 6884782"/>
              <a:gd name="connsiteY9691" fmla="*/ 4792582 h 5973007"/>
              <a:gd name="connsiteX9692" fmla="*/ 1051126 w 6884782"/>
              <a:gd name="connsiteY9692" fmla="*/ 4788477 h 5973007"/>
              <a:gd name="connsiteX9693" fmla="*/ 6470745 w 6884782"/>
              <a:gd name="connsiteY9693" fmla="*/ 4788469 h 5973007"/>
              <a:gd name="connsiteX9694" fmla="*/ 6471984 w 6884782"/>
              <a:gd name="connsiteY9694" fmla="*/ 4790018 h 5973007"/>
              <a:gd name="connsiteX9695" fmla="*/ 6471519 w 6884782"/>
              <a:gd name="connsiteY9695" fmla="*/ 4792393 h 5973007"/>
              <a:gd name="connsiteX9696" fmla="*/ 6466252 w 6884782"/>
              <a:gd name="connsiteY9696" fmla="*/ 4798382 h 5973007"/>
              <a:gd name="connsiteX9697" fmla="*/ 6464703 w 6884782"/>
              <a:gd name="connsiteY9697" fmla="*/ 4799414 h 5973007"/>
              <a:gd name="connsiteX9698" fmla="*/ 6463155 w 6884782"/>
              <a:gd name="connsiteY9698" fmla="*/ 4800550 h 5973007"/>
              <a:gd name="connsiteX9699" fmla="*/ 6461606 w 6884782"/>
              <a:gd name="connsiteY9699" fmla="*/ 4800757 h 5973007"/>
              <a:gd name="connsiteX9700" fmla="*/ 6459747 w 6884782"/>
              <a:gd name="connsiteY9700" fmla="*/ 4799518 h 5973007"/>
              <a:gd name="connsiteX9701" fmla="*/ 6470745 w 6884782"/>
              <a:gd name="connsiteY9701" fmla="*/ 4788469 h 5973007"/>
              <a:gd name="connsiteX9702" fmla="*/ 1421135 w 6884782"/>
              <a:gd name="connsiteY9702" fmla="*/ 4786903 h 5973007"/>
              <a:gd name="connsiteX9703" fmla="*/ 1423458 w 6884782"/>
              <a:gd name="connsiteY9703" fmla="*/ 4787419 h 5973007"/>
              <a:gd name="connsiteX9704" fmla="*/ 1427176 w 6884782"/>
              <a:gd name="connsiteY9704" fmla="*/ 4787109 h 5973007"/>
              <a:gd name="connsiteX9705" fmla="*/ 1428105 w 6884782"/>
              <a:gd name="connsiteY9705" fmla="*/ 4798261 h 5973007"/>
              <a:gd name="connsiteX9706" fmla="*/ 1419896 w 6884782"/>
              <a:gd name="connsiteY9706" fmla="*/ 4808173 h 5973007"/>
              <a:gd name="connsiteX9707" fmla="*/ 1417108 w 6884782"/>
              <a:gd name="connsiteY9707" fmla="*/ 4808277 h 5973007"/>
              <a:gd name="connsiteX9708" fmla="*/ 1416333 w 6884782"/>
              <a:gd name="connsiteY9708" fmla="*/ 4810858 h 5973007"/>
              <a:gd name="connsiteX9709" fmla="*/ 1407194 w 6884782"/>
              <a:gd name="connsiteY9709" fmla="*/ 4814369 h 5973007"/>
              <a:gd name="connsiteX9710" fmla="*/ 1403786 w 6884782"/>
              <a:gd name="connsiteY9710" fmla="*/ 4814369 h 5973007"/>
              <a:gd name="connsiteX9711" fmla="*/ 1399139 w 6884782"/>
              <a:gd name="connsiteY9711" fmla="*/ 4807864 h 5973007"/>
              <a:gd name="connsiteX9712" fmla="*/ 1399139 w 6884782"/>
              <a:gd name="connsiteY9712" fmla="*/ 4804663 h 5973007"/>
              <a:gd name="connsiteX9713" fmla="*/ 1408279 w 6884782"/>
              <a:gd name="connsiteY9713" fmla="*/ 4804869 h 5973007"/>
              <a:gd name="connsiteX9714" fmla="*/ 1410757 w 6884782"/>
              <a:gd name="connsiteY9714" fmla="*/ 4804663 h 5973007"/>
              <a:gd name="connsiteX9715" fmla="*/ 1409053 w 6884782"/>
              <a:gd name="connsiteY9715" fmla="*/ 4802494 h 5973007"/>
              <a:gd name="connsiteX9716" fmla="*/ 1408588 w 6884782"/>
              <a:gd name="connsiteY9716" fmla="*/ 4796609 h 5973007"/>
              <a:gd name="connsiteX9717" fmla="*/ 1421135 w 6884782"/>
              <a:gd name="connsiteY9717" fmla="*/ 4786903 h 5973007"/>
              <a:gd name="connsiteX9718" fmla="*/ 1456451 w 6884782"/>
              <a:gd name="connsiteY9718" fmla="*/ 4786180 h 5973007"/>
              <a:gd name="connsiteX9719" fmla="*/ 1459084 w 6884782"/>
              <a:gd name="connsiteY9719" fmla="*/ 4789277 h 5973007"/>
              <a:gd name="connsiteX9720" fmla="*/ 1450100 w 6884782"/>
              <a:gd name="connsiteY9720" fmla="*/ 4793717 h 5973007"/>
              <a:gd name="connsiteX9721" fmla="*/ 1446848 w 6884782"/>
              <a:gd name="connsiteY9721" fmla="*/ 4793408 h 5973007"/>
              <a:gd name="connsiteX9722" fmla="*/ 1444679 w 6884782"/>
              <a:gd name="connsiteY9722" fmla="*/ 4789690 h 5973007"/>
              <a:gd name="connsiteX9723" fmla="*/ 1456451 w 6884782"/>
              <a:gd name="connsiteY9723" fmla="*/ 4786180 h 5973007"/>
              <a:gd name="connsiteX9724" fmla="*/ 1702117 w 6884782"/>
              <a:gd name="connsiteY9724" fmla="*/ 4785870 h 5973007"/>
              <a:gd name="connsiteX9725" fmla="*/ 1706298 w 6884782"/>
              <a:gd name="connsiteY9725" fmla="*/ 4788555 h 5973007"/>
              <a:gd name="connsiteX9726" fmla="*/ 1700877 w 6884782"/>
              <a:gd name="connsiteY9726" fmla="*/ 4792478 h 5973007"/>
              <a:gd name="connsiteX9727" fmla="*/ 1699948 w 6884782"/>
              <a:gd name="connsiteY9727" fmla="*/ 4790826 h 5973007"/>
              <a:gd name="connsiteX9728" fmla="*/ 1700258 w 6884782"/>
              <a:gd name="connsiteY9728" fmla="*/ 4787935 h 5973007"/>
              <a:gd name="connsiteX9729" fmla="*/ 1702117 w 6884782"/>
              <a:gd name="connsiteY9729" fmla="*/ 4785870 h 5973007"/>
              <a:gd name="connsiteX9730" fmla="*/ 1615530 w 6884782"/>
              <a:gd name="connsiteY9730" fmla="*/ 4785457 h 5973007"/>
              <a:gd name="connsiteX9731" fmla="*/ 1618008 w 6884782"/>
              <a:gd name="connsiteY9731" fmla="*/ 4786800 h 5973007"/>
              <a:gd name="connsiteX9732" fmla="*/ 1618163 w 6884782"/>
              <a:gd name="connsiteY9732" fmla="*/ 4788761 h 5973007"/>
              <a:gd name="connsiteX9733" fmla="*/ 1619092 w 6884782"/>
              <a:gd name="connsiteY9733" fmla="*/ 4789794 h 5973007"/>
              <a:gd name="connsiteX9734" fmla="*/ 1620021 w 6884782"/>
              <a:gd name="connsiteY9734" fmla="*/ 4788658 h 5973007"/>
              <a:gd name="connsiteX9735" fmla="*/ 1624049 w 6884782"/>
              <a:gd name="connsiteY9735" fmla="*/ 4789277 h 5973007"/>
              <a:gd name="connsiteX9736" fmla="*/ 1621571 w 6884782"/>
              <a:gd name="connsiteY9736" fmla="*/ 4793305 h 5973007"/>
              <a:gd name="connsiteX9737" fmla="*/ 1617388 w 6884782"/>
              <a:gd name="connsiteY9737" fmla="*/ 4791549 h 5973007"/>
              <a:gd name="connsiteX9738" fmla="*/ 1618163 w 6884782"/>
              <a:gd name="connsiteY9738" fmla="*/ 4790826 h 5973007"/>
              <a:gd name="connsiteX9739" fmla="*/ 1617699 w 6884782"/>
              <a:gd name="connsiteY9739" fmla="*/ 4790310 h 5973007"/>
              <a:gd name="connsiteX9740" fmla="*/ 1615375 w 6884782"/>
              <a:gd name="connsiteY9740" fmla="*/ 4788142 h 5973007"/>
              <a:gd name="connsiteX9741" fmla="*/ 1615530 w 6884782"/>
              <a:gd name="connsiteY9741" fmla="*/ 4785457 h 5973007"/>
              <a:gd name="connsiteX9742" fmla="*/ 945293 w 6884782"/>
              <a:gd name="connsiteY9742" fmla="*/ 4785457 h 5973007"/>
              <a:gd name="connsiteX9743" fmla="*/ 944829 w 6884782"/>
              <a:gd name="connsiteY9743" fmla="*/ 4793614 h 5973007"/>
              <a:gd name="connsiteX9744" fmla="*/ 944209 w 6884782"/>
              <a:gd name="connsiteY9744" fmla="*/ 4786696 h 5973007"/>
              <a:gd name="connsiteX9745" fmla="*/ 945293 w 6884782"/>
              <a:gd name="connsiteY9745" fmla="*/ 4785457 h 5973007"/>
              <a:gd name="connsiteX9746" fmla="*/ 1490993 w 6884782"/>
              <a:gd name="connsiteY9746" fmla="*/ 4785354 h 5973007"/>
              <a:gd name="connsiteX9747" fmla="*/ 1502765 w 6884782"/>
              <a:gd name="connsiteY9747" fmla="*/ 4791033 h 5973007"/>
              <a:gd name="connsiteX9748" fmla="*/ 1500286 w 6884782"/>
              <a:gd name="connsiteY9748" fmla="*/ 4791239 h 5973007"/>
              <a:gd name="connsiteX9749" fmla="*/ 1490993 w 6884782"/>
              <a:gd name="connsiteY9749" fmla="*/ 4785354 h 5973007"/>
              <a:gd name="connsiteX9750" fmla="*/ 1815656 w 6884782"/>
              <a:gd name="connsiteY9750" fmla="*/ 4785250 h 5973007"/>
              <a:gd name="connsiteX9751" fmla="*/ 1821696 w 6884782"/>
              <a:gd name="connsiteY9751" fmla="*/ 4792375 h 5973007"/>
              <a:gd name="connsiteX9752" fmla="*/ 1815656 w 6884782"/>
              <a:gd name="connsiteY9752" fmla="*/ 4785250 h 5973007"/>
              <a:gd name="connsiteX9753" fmla="*/ 1608404 w 6884782"/>
              <a:gd name="connsiteY9753" fmla="*/ 4785044 h 5973007"/>
              <a:gd name="connsiteX9754" fmla="*/ 1609643 w 6884782"/>
              <a:gd name="connsiteY9754" fmla="*/ 4786593 h 5973007"/>
              <a:gd name="connsiteX9755" fmla="*/ 1611967 w 6884782"/>
              <a:gd name="connsiteY9755" fmla="*/ 4791859 h 5973007"/>
              <a:gd name="connsiteX9756" fmla="*/ 1610263 w 6884782"/>
              <a:gd name="connsiteY9756" fmla="*/ 4792582 h 5973007"/>
              <a:gd name="connsiteX9757" fmla="*/ 1609333 w 6884782"/>
              <a:gd name="connsiteY9757" fmla="*/ 4791343 h 5973007"/>
              <a:gd name="connsiteX9758" fmla="*/ 1608559 w 6884782"/>
              <a:gd name="connsiteY9758" fmla="*/ 4788968 h 5973007"/>
              <a:gd name="connsiteX9759" fmla="*/ 1607320 w 6884782"/>
              <a:gd name="connsiteY9759" fmla="*/ 4787316 h 5973007"/>
              <a:gd name="connsiteX9760" fmla="*/ 1608404 w 6884782"/>
              <a:gd name="connsiteY9760" fmla="*/ 4785044 h 5973007"/>
              <a:gd name="connsiteX9761" fmla="*/ 1589197 w 6884782"/>
              <a:gd name="connsiteY9761" fmla="*/ 4784838 h 5973007"/>
              <a:gd name="connsiteX9762" fmla="*/ 1592295 w 6884782"/>
              <a:gd name="connsiteY9762" fmla="*/ 4792788 h 5973007"/>
              <a:gd name="connsiteX9763" fmla="*/ 1591366 w 6884782"/>
              <a:gd name="connsiteY9763" fmla="*/ 4794440 h 5973007"/>
              <a:gd name="connsiteX9764" fmla="*/ 1589197 w 6884782"/>
              <a:gd name="connsiteY9764" fmla="*/ 4793201 h 5973007"/>
              <a:gd name="connsiteX9765" fmla="*/ 1589197 w 6884782"/>
              <a:gd name="connsiteY9765" fmla="*/ 4784838 h 5973007"/>
              <a:gd name="connsiteX9766" fmla="*/ 5991031 w 6884782"/>
              <a:gd name="connsiteY9766" fmla="*/ 4784442 h 5973007"/>
              <a:gd name="connsiteX9767" fmla="*/ 5995213 w 6884782"/>
              <a:gd name="connsiteY9767" fmla="*/ 4784545 h 5973007"/>
              <a:gd name="connsiteX9768" fmla="*/ 5996607 w 6884782"/>
              <a:gd name="connsiteY9768" fmla="*/ 4786301 h 5973007"/>
              <a:gd name="connsiteX9769" fmla="*/ 5996607 w 6884782"/>
              <a:gd name="connsiteY9769" fmla="*/ 4787127 h 5973007"/>
              <a:gd name="connsiteX9770" fmla="*/ 5994748 w 6884782"/>
              <a:gd name="connsiteY9770" fmla="*/ 4787850 h 5973007"/>
              <a:gd name="connsiteX9771" fmla="*/ 5986539 w 6884782"/>
              <a:gd name="connsiteY9771" fmla="*/ 4787024 h 5973007"/>
              <a:gd name="connsiteX9772" fmla="*/ 5984989 w 6884782"/>
              <a:gd name="connsiteY9772" fmla="*/ 4786920 h 5973007"/>
              <a:gd name="connsiteX9773" fmla="*/ 5983441 w 6884782"/>
              <a:gd name="connsiteY9773" fmla="*/ 4785165 h 5973007"/>
              <a:gd name="connsiteX9774" fmla="*/ 5991031 w 6884782"/>
              <a:gd name="connsiteY9774" fmla="*/ 4784442 h 5973007"/>
              <a:gd name="connsiteX9775" fmla="*/ 6236812 w 6884782"/>
              <a:gd name="connsiteY9775" fmla="*/ 4784365 h 5973007"/>
              <a:gd name="connsiteX9776" fmla="*/ 6242737 w 6884782"/>
              <a:gd name="connsiteY9776" fmla="*/ 4786198 h 5973007"/>
              <a:gd name="connsiteX9777" fmla="*/ 6243976 w 6884782"/>
              <a:gd name="connsiteY9777" fmla="*/ 4791464 h 5973007"/>
              <a:gd name="connsiteX9778" fmla="*/ 6238865 w 6884782"/>
              <a:gd name="connsiteY9778" fmla="*/ 4792909 h 5973007"/>
              <a:gd name="connsiteX9779" fmla="*/ 6233908 w 6884782"/>
              <a:gd name="connsiteY9779" fmla="*/ 4791670 h 5973007"/>
              <a:gd name="connsiteX9780" fmla="*/ 6236812 w 6884782"/>
              <a:gd name="connsiteY9780" fmla="*/ 4784365 h 5973007"/>
              <a:gd name="connsiteX9781" fmla="*/ 1841523 w 6884782"/>
              <a:gd name="connsiteY9781" fmla="*/ 4783185 h 5973007"/>
              <a:gd name="connsiteX9782" fmla="*/ 1840903 w 6884782"/>
              <a:gd name="connsiteY9782" fmla="*/ 4787316 h 5973007"/>
              <a:gd name="connsiteX9783" fmla="*/ 1839974 w 6884782"/>
              <a:gd name="connsiteY9783" fmla="*/ 4790516 h 5973007"/>
              <a:gd name="connsiteX9784" fmla="*/ 1840284 w 6884782"/>
              <a:gd name="connsiteY9784" fmla="*/ 4790620 h 5973007"/>
              <a:gd name="connsiteX9785" fmla="*/ 1849578 w 6884782"/>
              <a:gd name="connsiteY9785" fmla="*/ 4798054 h 5973007"/>
              <a:gd name="connsiteX9786" fmla="*/ 1843227 w 6884782"/>
              <a:gd name="connsiteY9786" fmla="*/ 4798777 h 5973007"/>
              <a:gd name="connsiteX9787" fmla="*/ 1828047 w 6884782"/>
              <a:gd name="connsiteY9787" fmla="*/ 4789174 h 5973007"/>
              <a:gd name="connsiteX9788" fmla="*/ 1834244 w 6884782"/>
              <a:gd name="connsiteY9788" fmla="*/ 4788555 h 5973007"/>
              <a:gd name="connsiteX9789" fmla="*/ 1839819 w 6884782"/>
              <a:gd name="connsiteY9789" fmla="*/ 4790413 h 5973007"/>
              <a:gd name="connsiteX9790" fmla="*/ 1839355 w 6884782"/>
              <a:gd name="connsiteY9790" fmla="*/ 4787419 h 5973007"/>
              <a:gd name="connsiteX9791" fmla="*/ 1840594 w 6884782"/>
              <a:gd name="connsiteY9791" fmla="*/ 4784011 h 5973007"/>
              <a:gd name="connsiteX9792" fmla="*/ 1841523 w 6884782"/>
              <a:gd name="connsiteY9792" fmla="*/ 4783185 h 5973007"/>
              <a:gd name="connsiteX9793" fmla="*/ 1343532 w 6884782"/>
              <a:gd name="connsiteY9793" fmla="*/ 4782669 h 5973007"/>
              <a:gd name="connsiteX9794" fmla="*/ 1348798 w 6884782"/>
              <a:gd name="connsiteY9794" fmla="*/ 4784631 h 5973007"/>
              <a:gd name="connsiteX9795" fmla="*/ 1349573 w 6884782"/>
              <a:gd name="connsiteY9795" fmla="*/ 4790826 h 5973007"/>
              <a:gd name="connsiteX9796" fmla="*/ 1352980 w 6884782"/>
              <a:gd name="connsiteY9796" fmla="*/ 4790310 h 5973007"/>
              <a:gd name="connsiteX9797" fmla="*/ 1356233 w 6884782"/>
              <a:gd name="connsiteY9797" fmla="*/ 4798054 h 5973007"/>
              <a:gd name="connsiteX9798" fmla="*/ 1351431 w 6884782"/>
              <a:gd name="connsiteY9798" fmla="*/ 4802184 h 5973007"/>
              <a:gd name="connsiteX9799" fmla="*/ 1344925 w 6884782"/>
              <a:gd name="connsiteY9799" fmla="*/ 4795163 h 5973007"/>
              <a:gd name="connsiteX9800" fmla="*/ 1347249 w 6884782"/>
              <a:gd name="connsiteY9800" fmla="*/ 4791343 h 5973007"/>
              <a:gd name="connsiteX9801" fmla="*/ 1346320 w 6884782"/>
              <a:gd name="connsiteY9801" fmla="*/ 4791239 h 5973007"/>
              <a:gd name="connsiteX9802" fmla="*/ 1344771 w 6884782"/>
              <a:gd name="connsiteY9802" fmla="*/ 4789174 h 5973007"/>
              <a:gd name="connsiteX9803" fmla="*/ 1343532 w 6884782"/>
              <a:gd name="connsiteY9803" fmla="*/ 4782669 h 5973007"/>
              <a:gd name="connsiteX9804" fmla="*/ 888136 w 6884782"/>
              <a:gd name="connsiteY9804" fmla="*/ 4782049 h 5973007"/>
              <a:gd name="connsiteX9805" fmla="*/ 893868 w 6884782"/>
              <a:gd name="connsiteY9805" fmla="*/ 4783908 h 5973007"/>
              <a:gd name="connsiteX9806" fmla="*/ 894332 w 6884782"/>
              <a:gd name="connsiteY9806" fmla="*/ 4795163 h 5973007"/>
              <a:gd name="connsiteX9807" fmla="*/ 886433 w 6884782"/>
              <a:gd name="connsiteY9807" fmla="*/ 4799397 h 5973007"/>
              <a:gd name="connsiteX9808" fmla="*/ 887207 w 6884782"/>
              <a:gd name="connsiteY9808" fmla="*/ 4799500 h 5973007"/>
              <a:gd name="connsiteX9809" fmla="*/ 888756 w 6884782"/>
              <a:gd name="connsiteY9809" fmla="*/ 4801358 h 5973007"/>
              <a:gd name="connsiteX9810" fmla="*/ 890150 w 6884782"/>
              <a:gd name="connsiteY9810" fmla="*/ 4801255 h 5973007"/>
              <a:gd name="connsiteX9811" fmla="*/ 891854 w 6884782"/>
              <a:gd name="connsiteY9811" fmla="*/ 4801255 h 5973007"/>
              <a:gd name="connsiteX9812" fmla="*/ 892009 w 6884782"/>
              <a:gd name="connsiteY9812" fmla="*/ 4802081 h 5973007"/>
              <a:gd name="connsiteX9813" fmla="*/ 889685 w 6884782"/>
              <a:gd name="connsiteY9813" fmla="*/ 4802598 h 5973007"/>
              <a:gd name="connsiteX9814" fmla="*/ 892164 w 6884782"/>
              <a:gd name="connsiteY9814" fmla="*/ 4805695 h 5973007"/>
              <a:gd name="connsiteX9815" fmla="*/ 894177 w 6884782"/>
              <a:gd name="connsiteY9815" fmla="*/ 4805282 h 5973007"/>
              <a:gd name="connsiteX9816" fmla="*/ 892938 w 6884782"/>
              <a:gd name="connsiteY9816" fmla="*/ 4806831 h 5973007"/>
              <a:gd name="connsiteX9817" fmla="*/ 894177 w 6884782"/>
              <a:gd name="connsiteY9817" fmla="*/ 4809206 h 5973007"/>
              <a:gd name="connsiteX9818" fmla="*/ 894332 w 6884782"/>
              <a:gd name="connsiteY9818" fmla="*/ 4811684 h 5973007"/>
              <a:gd name="connsiteX9819" fmla="*/ 892009 w 6884782"/>
              <a:gd name="connsiteY9819" fmla="*/ 4810755 h 5973007"/>
              <a:gd name="connsiteX9820" fmla="*/ 891235 w 6884782"/>
              <a:gd name="connsiteY9820" fmla="*/ 4809929 h 5973007"/>
              <a:gd name="connsiteX9821" fmla="*/ 890460 w 6884782"/>
              <a:gd name="connsiteY9821" fmla="*/ 4809929 h 5973007"/>
              <a:gd name="connsiteX9822" fmla="*/ 890460 w 6884782"/>
              <a:gd name="connsiteY9822" fmla="*/ 4809619 h 5973007"/>
              <a:gd name="connsiteX9823" fmla="*/ 886897 w 6884782"/>
              <a:gd name="connsiteY9823" fmla="*/ 4811065 h 5973007"/>
              <a:gd name="connsiteX9824" fmla="*/ 881166 w 6884782"/>
              <a:gd name="connsiteY9824" fmla="*/ 4814059 h 5973007"/>
              <a:gd name="connsiteX9825" fmla="*/ 880701 w 6884782"/>
              <a:gd name="connsiteY9825" fmla="*/ 4810548 h 5973007"/>
              <a:gd name="connsiteX9826" fmla="*/ 882251 w 6884782"/>
              <a:gd name="connsiteY9826" fmla="*/ 4810445 h 5973007"/>
              <a:gd name="connsiteX9827" fmla="*/ 887362 w 6884782"/>
              <a:gd name="connsiteY9827" fmla="*/ 4806624 h 5973007"/>
              <a:gd name="connsiteX9828" fmla="*/ 887826 w 6884782"/>
              <a:gd name="connsiteY9828" fmla="*/ 4806521 h 5973007"/>
              <a:gd name="connsiteX9829" fmla="*/ 886278 w 6884782"/>
              <a:gd name="connsiteY9829" fmla="*/ 4805592 h 5973007"/>
              <a:gd name="connsiteX9830" fmla="*/ 884264 w 6884782"/>
              <a:gd name="connsiteY9830" fmla="*/ 4804559 h 5973007"/>
              <a:gd name="connsiteX9831" fmla="*/ 884109 w 6884782"/>
              <a:gd name="connsiteY9831" fmla="*/ 4804456 h 5973007"/>
              <a:gd name="connsiteX9832" fmla="*/ 883645 w 6884782"/>
              <a:gd name="connsiteY9832" fmla="*/ 4804663 h 5973007"/>
              <a:gd name="connsiteX9833" fmla="*/ 880392 w 6884782"/>
              <a:gd name="connsiteY9833" fmla="*/ 4804456 h 5973007"/>
              <a:gd name="connsiteX9834" fmla="*/ 881321 w 6884782"/>
              <a:gd name="connsiteY9834" fmla="*/ 4804456 h 5973007"/>
              <a:gd name="connsiteX9835" fmla="*/ 880392 w 6884782"/>
              <a:gd name="connsiteY9835" fmla="*/ 4803630 h 5973007"/>
              <a:gd name="connsiteX9836" fmla="*/ 883025 w 6884782"/>
              <a:gd name="connsiteY9836" fmla="*/ 4802804 h 5973007"/>
              <a:gd name="connsiteX9837" fmla="*/ 882715 w 6884782"/>
              <a:gd name="connsiteY9837" fmla="*/ 4802288 h 5973007"/>
              <a:gd name="connsiteX9838" fmla="*/ 881321 w 6884782"/>
              <a:gd name="connsiteY9838" fmla="*/ 4799293 h 5973007"/>
              <a:gd name="connsiteX9839" fmla="*/ 883180 w 6884782"/>
              <a:gd name="connsiteY9839" fmla="*/ 4797641 h 5973007"/>
              <a:gd name="connsiteX9840" fmla="*/ 881631 w 6884782"/>
              <a:gd name="connsiteY9840" fmla="*/ 4795886 h 5973007"/>
              <a:gd name="connsiteX9841" fmla="*/ 883645 w 6884782"/>
              <a:gd name="connsiteY9841" fmla="*/ 4784631 h 5973007"/>
              <a:gd name="connsiteX9842" fmla="*/ 888136 w 6884782"/>
              <a:gd name="connsiteY9842" fmla="*/ 4782049 h 5973007"/>
              <a:gd name="connsiteX9843" fmla="*/ 5890658 w 6884782"/>
              <a:gd name="connsiteY9843" fmla="*/ 4781861 h 5973007"/>
              <a:gd name="connsiteX9844" fmla="*/ 5894840 w 6884782"/>
              <a:gd name="connsiteY9844" fmla="*/ 4781964 h 5973007"/>
              <a:gd name="connsiteX9845" fmla="*/ 5907696 w 6884782"/>
              <a:gd name="connsiteY9845" fmla="*/ 4785681 h 5973007"/>
              <a:gd name="connsiteX9846" fmla="*/ 5901810 w 6884782"/>
              <a:gd name="connsiteY9846" fmla="*/ 4786611 h 5973007"/>
              <a:gd name="connsiteX9847" fmla="*/ 5888644 w 6884782"/>
              <a:gd name="connsiteY9847" fmla="*/ 4786198 h 5973007"/>
              <a:gd name="connsiteX9848" fmla="*/ 5887095 w 6884782"/>
              <a:gd name="connsiteY9848" fmla="*/ 4784442 h 5973007"/>
              <a:gd name="connsiteX9849" fmla="*/ 5886321 w 6884782"/>
              <a:gd name="connsiteY9849" fmla="*/ 4784442 h 5973007"/>
              <a:gd name="connsiteX9850" fmla="*/ 5885701 w 6884782"/>
              <a:gd name="connsiteY9850" fmla="*/ 4783616 h 5973007"/>
              <a:gd name="connsiteX9851" fmla="*/ 5885701 w 6884782"/>
              <a:gd name="connsiteY9851" fmla="*/ 4782687 h 5973007"/>
              <a:gd name="connsiteX9852" fmla="*/ 5890658 w 6884782"/>
              <a:gd name="connsiteY9852" fmla="*/ 4781861 h 5973007"/>
              <a:gd name="connsiteX9853" fmla="*/ 1659985 w 6884782"/>
              <a:gd name="connsiteY9853" fmla="*/ 4780914 h 5973007"/>
              <a:gd name="connsiteX9854" fmla="*/ 1664476 w 6884782"/>
              <a:gd name="connsiteY9854" fmla="*/ 4783495 h 5973007"/>
              <a:gd name="connsiteX9855" fmla="*/ 1664476 w 6884782"/>
              <a:gd name="connsiteY9855" fmla="*/ 4785457 h 5973007"/>
              <a:gd name="connsiteX9856" fmla="*/ 1660759 w 6884782"/>
              <a:gd name="connsiteY9856" fmla="*/ 4786386 h 5973007"/>
              <a:gd name="connsiteX9857" fmla="*/ 1657816 w 6884782"/>
              <a:gd name="connsiteY9857" fmla="*/ 4783599 h 5973007"/>
              <a:gd name="connsiteX9858" fmla="*/ 1657816 w 6884782"/>
              <a:gd name="connsiteY9858" fmla="*/ 4781637 h 5973007"/>
              <a:gd name="connsiteX9859" fmla="*/ 1659985 w 6884782"/>
              <a:gd name="connsiteY9859" fmla="*/ 4780914 h 5973007"/>
              <a:gd name="connsiteX9860" fmla="*/ 6633230 w 6884782"/>
              <a:gd name="connsiteY9860" fmla="*/ 4780828 h 5973007"/>
              <a:gd name="connsiteX9861" fmla="*/ 6634469 w 6884782"/>
              <a:gd name="connsiteY9861" fmla="*/ 4789811 h 5973007"/>
              <a:gd name="connsiteX9862" fmla="*/ 6633230 w 6884782"/>
              <a:gd name="connsiteY9862" fmla="*/ 4780828 h 5973007"/>
              <a:gd name="connsiteX9863" fmla="*/ 6072041 w 6884782"/>
              <a:gd name="connsiteY9863" fmla="*/ 4780828 h 5973007"/>
              <a:gd name="connsiteX9864" fmla="*/ 6069098 w 6884782"/>
              <a:gd name="connsiteY9864" fmla="*/ 4787437 h 5973007"/>
              <a:gd name="connsiteX9865" fmla="*/ 6066465 w 6884782"/>
              <a:gd name="connsiteY9865" fmla="*/ 4787230 h 5973007"/>
              <a:gd name="connsiteX9866" fmla="*/ 6072041 w 6884782"/>
              <a:gd name="connsiteY9866" fmla="*/ 4780828 h 5973007"/>
              <a:gd name="connsiteX9867" fmla="*/ 1706454 w 6884782"/>
              <a:gd name="connsiteY9867" fmla="*/ 4780707 h 5973007"/>
              <a:gd name="connsiteX9868" fmla="*/ 1705989 w 6884782"/>
              <a:gd name="connsiteY9868" fmla="*/ 4780914 h 5973007"/>
              <a:gd name="connsiteX9869" fmla="*/ 1707073 w 6884782"/>
              <a:gd name="connsiteY9869" fmla="*/ 4782153 h 5973007"/>
              <a:gd name="connsiteX9870" fmla="*/ 1707693 w 6884782"/>
              <a:gd name="connsiteY9870" fmla="*/ 4782256 h 5973007"/>
              <a:gd name="connsiteX9871" fmla="*/ 692502 w 6884782"/>
              <a:gd name="connsiteY9871" fmla="*/ 4780398 h 5973007"/>
              <a:gd name="connsiteX9872" fmla="*/ 695910 w 6884782"/>
              <a:gd name="connsiteY9872" fmla="*/ 4790104 h 5973007"/>
              <a:gd name="connsiteX9873" fmla="*/ 693742 w 6884782"/>
              <a:gd name="connsiteY9873" fmla="*/ 4790000 h 5973007"/>
              <a:gd name="connsiteX9874" fmla="*/ 691108 w 6884782"/>
              <a:gd name="connsiteY9874" fmla="*/ 4789484 h 5973007"/>
              <a:gd name="connsiteX9875" fmla="*/ 692502 w 6884782"/>
              <a:gd name="connsiteY9875" fmla="*/ 4780398 h 5973007"/>
              <a:gd name="connsiteX9876" fmla="*/ 6254044 w 6884782"/>
              <a:gd name="connsiteY9876" fmla="*/ 4779279 h 5973007"/>
              <a:gd name="connsiteX9877" fmla="*/ 6260860 w 6884782"/>
              <a:gd name="connsiteY9877" fmla="*/ 4781551 h 5973007"/>
              <a:gd name="connsiteX9878" fmla="*/ 6256368 w 6884782"/>
              <a:gd name="connsiteY9878" fmla="*/ 4793735 h 5973007"/>
              <a:gd name="connsiteX9879" fmla="*/ 6254044 w 6884782"/>
              <a:gd name="connsiteY9879" fmla="*/ 4779279 h 5973007"/>
              <a:gd name="connsiteX9880" fmla="*/ 1472095 w 6884782"/>
              <a:gd name="connsiteY9880" fmla="*/ 4778539 h 5973007"/>
              <a:gd name="connsiteX9881" fmla="*/ 1473954 w 6884782"/>
              <a:gd name="connsiteY9881" fmla="*/ 4782049 h 5973007"/>
              <a:gd name="connsiteX9882" fmla="*/ 1468997 w 6884782"/>
              <a:gd name="connsiteY9882" fmla="*/ 4783599 h 5973007"/>
              <a:gd name="connsiteX9883" fmla="*/ 1467139 w 6884782"/>
              <a:gd name="connsiteY9883" fmla="*/ 4779984 h 5973007"/>
              <a:gd name="connsiteX9884" fmla="*/ 1472095 w 6884782"/>
              <a:gd name="connsiteY9884" fmla="*/ 4778539 h 5973007"/>
              <a:gd name="connsiteX9885" fmla="*/ 6445187 w 6884782"/>
              <a:gd name="connsiteY9885" fmla="*/ 4777524 h 5973007"/>
              <a:gd name="connsiteX9886" fmla="*/ 6451073 w 6884782"/>
              <a:gd name="connsiteY9886" fmla="*/ 4778350 h 5973007"/>
              <a:gd name="connsiteX9887" fmla="*/ 6444876 w 6884782"/>
              <a:gd name="connsiteY9887" fmla="*/ 4789915 h 5973007"/>
              <a:gd name="connsiteX9888" fmla="*/ 6443792 w 6884782"/>
              <a:gd name="connsiteY9888" fmla="*/ 4787230 h 5973007"/>
              <a:gd name="connsiteX9889" fmla="*/ 6445187 w 6884782"/>
              <a:gd name="connsiteY9889" fmla="*/ 4777524 h 5973007"/>
              <a:gd name="connsiteX9890" fmla="*/ 6040133 w 6884782"/>
              <a:gd name="connsiteY9890" fmla="*/ 4777421 h 5973007"/>
              <a:gd name="connsiteX9891" fmla="*/ 6045709 w 6884782"/>
              <a:gd name="connsiteY9891" fmla="*/ 4780209 h 5973007"/>
              <a:gd name="connsiteX9892" fmla="*/ 6044624 w 6884782"/>
              <a:gd name="connsiteY9892" fmla="*/ 4781861 h 5973007"/>
              <a:gd name="connsiteX9893" fmla="*/ 6042146 w 6884782"/>
              <a:gd name="connsiteY9893" fmla="*/ 4783306 h 5973007"/>
              <a:gd name="connsiteX9894" fmla="*/ 6039668 w 6884782"/>
              <a:gd name="connsiteY9894" fmla="*/ 4782687 h 5973007"/>
              <a:gd name="connsiteX9895" fmla="*/ 6040133 w 6884782"/>
              <a:gd name="connsiteY9895" fmla="*/ 4777421 h 5973007"/>
              <a:gd name="connsiteX9896" fmla="*/ 1603758 w 6884782"/>
              <a:gd name="connsiteY9896" fmla="*/ 4775957 h 5973007"/>
              <a:gd name="connsiteX9897" fmla="*/ 1606236 w 6884782"/>
              <a:gd name="connsiteY9897" fmla="*/ 4778333 h 5973007"/>
              <a:gd name="connsiteX9898" fmla="*/ 1599111 w 6884782"/>
              <a:gd name="connsiteY9898" fmla="*/ 4786800 h 5973007"/>
              <a:gd name="connsiteX9899" fmla="*/ 1595703 w 6884782"/>
              <a:gd name="connsiteY9899" fmla="*/ 4783082 h 5973007"/>
              <a:gd name="connsiteX9900" fmla="*/ 1595703 w 6884782"/>
              <a:gd name="connsiteY9900" fmla="*/ 4782979 h 5973007"/>
              <a:gd name="connsiteX9901" fmla="*/ 1593069 w 6884782"/>
              <a:gd name="connsiteY9901" fmla="*/ 4782772 h 5973007"/>
              <a:gd name="connsiteX9902" fmla="*/ 1600505 w 6884782"/>
              <a:gd name="connsiteY9902" fmla="*/ 4776680 h 5973007"/>
              <a:gd name="connsiteX9903" fmla="*/ 1601589 w 6884782"/>
              <a:gd name="connsiteY9903" fmla="*/ 4776887 h 5973007"/>
              <a:gd name="connsiteX9904" fmla="*/ 1361965 w 6884782"/>
              <a:gd name="connsiteY9904" fmla="*/ 4775854 h 5973007"/>
              <a:gd name="connsiteX9905" fmla="*/ 1370483 w 6884782"/>
              <a:gd name="connsiteY9905" fmla="*/ 4778849 h 5973007"/>
              <a:gd name="connsiteX9906" fmla="*/ 1376680 w 6884782"/>
              <a:gd name="connsiteY9906" fmla="*/ 4781533 h 5973007"/>
              <a:gd name="connsiteX9907" fmla="*/ 1376989 w 6884782"/>
              <a:gd name="connsiteY9907" fmla="*/ 4779881 h 5973007"/>
              <a:gd name="connsiteX9908" fmla="*/ 1385044 w 6884782"/>
              <a:gd name="connsiteY9908" fmla="*/ 4781740 h 5973007"/>
              <a:gd name="connsiteX9909" fmla="*/ 1386283 w 6884782"/>
              <a:gd name="connsiteY9909" fmla="*/ 4782463 h 5973007"/>
              <a:gd name="connsiteX9910" fmla="*/ 1388761 w 6884782"/>
              <a:gd name="connsiteY9910" fmla="*/ 4782566 h 5973007"/>
              <a:gd name="connsiteX9911" fmla="*/ 1393253 w 6884782"/>
              <a:gd name="connsiteY9911" fmla="*/ 4786283 h 5973007"/>
              <a:gd name="connsiteX9912" fmla="*/ 1393718 w 6884782"/>
              <a:gd name="connsiteY9912" fmla="*/ 4795370 h 5973007"/>
              <a:gd name="connsiteX9913" fmla="*/ 1394183 w 6884782"/>
              <a:gd name="connsiteY9913" fmla="*/ 4794544 h 5973007"/>
              <a:gd name="connsiteX9914" fmla="*/ 1398675 w 6884782"/>
              <a:gd name="connsiteY9914" fmla="*/ 4793408 h 5973007"/>
              <a:gd name="connsiteX9915" fmla="*/ 1397436 w 6884782"/>
              <a:gd name="connsiteY9915" fmla="*/ 4791859 h 5973007"/>
              <a:gd name="connsiteX9916" fmla="*/ 1405645 w 6884782"/>
              <a:gd name="connsiteY9916" fmla="*/ 4784838 h 5973007"/>
              <a:gd name="connsiteX9917" fmla="*/ 1406729 w 6884782"/>
              <a:gd name="connsiteY9917" fmla="*/ 4790930 h 5973007"/>
              <a:gd name="connsiteX9918" fmla="*/ 1406419 w 6884782"/>
              <a:gd name="connsiteY9918" fmla="*/ 4791652 h 5973007"/>
              <a:gd name="connsiteX9919" fmla="*/ 1405955 w 6884782"/>
              <a:gd name="connsiteY9919" fmla="*/ 4792169 h 5973007"/>
              <a:gd name="connsiteX9920" fmla="*/ 1408279 w 6884782"/>
              <a:gd name="connsiteY9920" fmla="*/ 4792891 h 5973007"/>
              <a:gd name="connsiteX9921" fmla="*/ 1406419 w 6884782"/>
              <a:gd name="connsiteY9921" fmla="*/ 4794853 h 5973007"/>
              <a:gd name="connsiteX9922" fmla="*/ 1405335 w 6884782"/>
              <a:gd name="connsiteY9922" fmla="*/ 4795163 h 5973007"/>
              <a:gd name="connsiteX9923" fmla="*/ 1405025 w 6884782"/>
              <a:gd name="connsiteY9923" fmla="*/ 4795886 h 5973007"/>
              <a:gd name="connsiteX9924" fmla="*/ 1404251 w 6884782"/>
              <a:gd name="connsiteY9924" fmla="*/ 4795473 h 5973007"/>
              <a:gd name="connsiteX9925" fmla="*/ 1401928 w 6884782"/>
              <a:gd name="connsiteY9925" fmla="*/ 4796196 h 5973007"/>
              <a:gd name="connsiteX9926" fmla="*/ 1400379 w 6884782"/>
              <a:gd name="connsiteY9926" fmla="*/ 4797228 h 5973007"/>
              <a:gd name="connsiteX9927" fmla="*/ 1400844 w 6884782"/>
              <a:gd name="connsiteY9927" fmla="*/ 4797538 h 5973007"/>
              <a:gd name="connsiteX9928" fmla="*/ 1401463 w 6884782"/>
              <a:gd name="connsiteY9928" fmla="*/ 4800223 h 5973007"/>
              <a:gd name="connsiteX9929" fmla="*/ 1400533 w 6884782"/>
              <a:gd name="connsiteY9929" fmla="*/ 4801152 h 5973007"/>
              <a:gd name="connsiteX9930" fmla="*/ 1398985 w 6884782"/>
              <a:gd name="connsiteY9930" fmla="*/ 4800636 h 5973007"/>
              <a:gd name="connsiteX9931" fmla="*/ 1396816 w 6884782"/>
              <a:gd name="connsiteY9931" fmla="*/ 4799603 h 5973007"/>
              <a:gd name="connsiteX9932" fmla="*/ 1394957 w 6884782"/>
              <a:gd name="connsiteY9932" fmla="*/ 4799810 h 5973007"/>
              <a:gd name="connsiteX9933" fmla="*/ 1391704 w 6884782"/>
              <a:gd name="connsiteY9933" fmla="*/ 4799913 h 5973007"/>
              <a:gd name="connsiteX9934" fmla="*/ 1390930 w 6884782"/>
              <a:gd name="connsiteY9934" fmla="*/ 4797538 h 5973007"/>
              <a:gd name="connsiteX9935" fmla="*/ 1388607 w 6884782"/>
              <a:gd name="connsiteY9935" fmla="*/ 4798157 h 5973007"/>
              <a:gd name="connsiteX9936" fmla="*/ 1379158 w 6884782"/>
              <a:gd name="connsiteY9936" fmla="*/ 4791859 h 5973007"/>
              <a:gd name="connsiteX9937" fmla="*/ 1378693 w 6884782"/>
              <a:gd name="connsiteY9937" fmla="*/ 4786696 h 5973007"/>
              <a:gd name="connsiteX9938" fmla="*/ 1379003 w 6884782"/>
              <a:gd name="connsiteY9938" fmla="*/ 4786180 h 5973007"/>
              <a:gd name="connsiteX9939" fmla="*/ 1375595 w 6884782"/>
              <a:gd name="connsiteY9939" fmla="*/ 4785354 h 5973007"/>
              <a:gd name="connsiteX9940" fmla="*/ 1376214 w 6884782"/>
              <a:gd name="connsiteY9940" fmla="*/ 4783702 h 5973007"/>
              <a:gd name="connsiteX9941" fmla="*/ 1374511 w 6884782"/>
              <a:gd name="connsiteY9941" fmla="*/ 4784115 h 5973007"/>
              <a:gd name="connsiteX9942" fmla="*/ 1366456 w 6884782"/>
              <a:gd name="connsiteY9942" fmla="*/ 4781430 h 5973007"/>
              <a:gd name="connsiteX9943" fmla="*/ 1364753 w 6884782"/>
              <a:gd name="connsiteY9943" fmla="*/ 4780398 h 5973007"/>
              <a:gd name="connsiteX9944" fmla="*/ 1363049 w 6884782"/>
              <a:gd name="connsiteY9944" fmla="*/ 4779468 h 5973007"/>
              <a:gd name="connsiteX9945" fmla="*/ 1361965 w 6884782"/>
              <a:gd name="connsiteY9945" fmla="*/ 4775854 h 5973007"/>
              <a:gd name="connsiteX9946" fmla="*/ 1000591 w 6884782"/>
              <a:gd name="connsiteY9946" fmla="*/ 4775854 h 5973007"/>
              <a:gd name="connsiteX9947" fmla="*/ 1011898 w 6884782"/>
              <a:gd name="connsiteY9947" fmla="*/ 4786386 h 5973007"/>
              <a:gd name="connsiteX9948" fmla="*/ 1012828 w 6884782"/>
              <a:gd name="connsiteY9948" fmla="*/ 4788039 h 5973007"/>
              <a:gd name="connsiteX9949" fmla="*/ 1011434 w 6884782"/>
              <a:gd name="connsiteY9949" fmla="*/ 4790310 h 5973007"/>
              <a:gd name="connsiteX9950" fmla="*/ 1001211 w 6884782"/>
              <a:gd name="connsiteY9950" fmla="*/ 4783805 h 5973007"/>
              <a:gd name="connsiteX9951" fmla="*/ 1000282 w 6884782"/>
              <a:gd name="connsiteY9951" fmla="*/ 4782153 h 5973007"/>
              <a:gd name="connsiteX9952" fmla="*/ 1000591 w 6884782"/>
              <a:gd name="connsiteY9952" fmla="*/ 4775854 h 5973007"/>
              <a:gd name="connsiteX9953" fmla="*/ 1719930 w 6884782"/>
              <a:gd name="connsiteY9953" fmla="*/ 4775544 h 5973007"/>
              <a:gd name="connsiteX9954" fmla="*/ 1724112 w 6884782"/>
              <a:gd name="connsiteY9954" fmla="*/ 4778849 h 5973007"/>
              <a:gd name="connsiteX9955" fmla="*/ 1724421 w 6884782"/>
              <a:gd name="connsiteY9955" fmla="*/ 4782049 h 5973007"/>
              <a:gd name="connsiteX9956" fmla="*/ 1721943 w 6884782"/>
              <a:gd name="connsiteY9956" fmla="*/ 4783495 h 5973007"/>
              <a:gd name="connsiteX9957" fmla="*/ 1718536 w 6884782"/>
              <a:gd name="connsiteY9957" fmla="*/ 4782566 h 5973007"/>
              <a:gd name="connsiteX9958" fmla="*/ 1719930 w 6884782"/>
              <a:gd name="connsiteY9958" fmla="*/ 4775544 h 5973007"/>
              <a:gd name="connsiteX9959" fmla="*/ 1520888 w 6884782"/>
              <a:gd name="connsiteY9959" fmla="*/ 4775544 h 5973007"/>
              <a:gd name="connsiteX9960" fmla="*/ 1530182 w 6884782"/>
              <a:gd name="connsiteY9960" fmla="*/ 4780398 h 5973007"/>
              <a:gd name="connsiteX9961" fmla="*/ 1532040 w 6884782"/>
              <a:gd name="connsiteY9961" fmla="*/ 4785664 h 5973007"/>
              <a:gd name="connsiteX9962" fmla="*/ 1529717 w 6884782"/>
              <a:gd name="connsiteY9962" fmla="*/ 4786386 h 5973007"/>
              <a:gd name="connsiteX9963" fmla="*/ 1524450 w 6884782"/>
              <a:gd name="connsiteY9963" fmla="*/ 4783599 h 5973007"/>
              <a:gd name="connsiteX9964" fmla="*/ 1520888 w 6884782"/>
              <a:gd name="connsiteY9964" fmla="*/ 4775544 h 5973007"/>
              <a:gd name="connsiteX9965" fmla="*/ 1047370 w 6884782"/>
              <a:gd name="connsiteY9965" fmla="*/ 4774821 h 5973007"/>
              <a:gd name="connsiteX9966" fmla="*/ 1041639 w 6884782"/>
              <a:gd name="connsiteY9966" fmla="*/ 4785664 h 5973007"/>
              <a:gd name="connsiteX9967" fmla="*/ 1039935 w 6884782"/>
              <a:gd name="connsiteY9967" fmla="*/ 4780604 h 5973007"/>
              <a:gd name="connsiteX9968" fmla="*/ 1047370 w 6884782"/>
              <a:gd name="connsiteY9968" fmla="*/ 4774821 h 5973007"/>
              <a:gd name="connsiteX9969" fmla="*/ 738817 w 6884782"/>
              <a:gd name="connsiteY9969" fmla="*/ 4774615 h 5973007"/>
              <a:gd name="connsiteX9970" fmla="*/ 737267 w 6884782"/>
              <a:gd name="connsiteY9970" fmla="*/ 4784734 h 5973007"/>
              <a:gd name="connsiteX9971" fmla="*/ 733240 w 6884782"/>
              <a:gd name="connsiteY9971" fmla="*/ 4782463 h 5973007"/>
              <a:gd name="connsiteX9972" fmla="*/ 738817 w 6884782"/>
              <a:gd name="connsiteY9972" fmla="*/ 4774615 h 5973007"/>
              <a:gd name="connsiteX9973" fmla="*/ 6159093 w 6884782"/>
              <a:gd name="connsiteY9973" fmla="*/ 4774323 h 5973007"/>
              <a:gd name="connsiteX9974" fmla="*/ 6159248 w 6884782"/>
              <a:gd name="connsiteY9974" fmla="*/ 4775975 h 5973007"/>
              <a:gd name="connsiteX9975" fmla="*/ 6160177 w 6884782"/>
              <a:gd name="connsiteY9975" fmla="*/ 4775872 h 5973007"/>
              <a:gd name="connsiteX9976" fmla="*/ 6159558 w 6884782"/>
              <a:gd name="connsiteY9976" fmla="*/ 4777628 h 5973007"/>
              <a:gd name="connsiteX9977" fmla="*/ 6158783 w 6884782"/>
              <a:gd name="connsiteY9977" fmla="*/ 4777628 h 5973007"/>
              <a:gd name="connsiteX9978" fmla="*/ 6158628 w 6884782"/>
              <a:gd name="connsiteY9978" fmla="*/ 4777834 h 5973007"/>
              <a:gd name="connsiteX9979" fmla="*/ 6157079 w 6884782"/>
              <a:gd name="connsiteY9979" fmla="*/ 4776905 h 5973007"/>
              <a:gd name="connsiteX9980" fmla="*/ 6155995 w 6884782"/>
              <a:gd name="connsiteY9980" fmla="*/ 4775356 h 5973007"/>
              <a:gd name="connsiteX9981" fmla="*/ 6159093 w 6884782"/>
              <a:gd name="connsiteY9981" fmla="*/ 4774323 h 5973007"/>
              <a:gd name="connsiteX9982" fmla="*/ 6378116 w 6884782"/>
              <a:gd name="connsiteY9982" fmla="*/ 4774116 h 5973007"/>
              <a:gd name="connsiteX9983" fmla="*/ 6386636 w 6884782"/>
              <a:gd name="connsiteY9983" fmla="*/ 4779693 h 5973007"/>
              <a:gd name="connsiteX9984" fmla="*/ 6382918 w 6884782"/>
              <a:gd name="connsiteY9984" fmla="*/ 4782480 h 5973007"/>
              <a:gd name="connsiteX9985" fmla="*/ 6378116 w 6884782"/>
              <a:gd name="connsiteY9985" fmla="*/ 4774116 h 5973007"/>
              <a:gd name="connsiteX9986" fmla="*/ 6335559 w 6884782"/>
              <a:gd name="connsiteY9986" fmla="*/ 4773626 h 5973007"/>
              <a:gd name="connsiteX9987" fmla="*/ 6340631 w 6884782"/>
              <a:gd name="connsiteY9987" fmla="*/ 4777214 h 5973007"/>
              <a:gd name="connsiteX9988" fmla="*/ 6339083 w 6884782"/>
              <a:gd name="connsiteY9988" fmla="*/ 4799208 h 5973007"/>
              <a:gd name="connsiteX9989" fmla="*/ 6332267 w 6884782"/>
              <a:gd name="connsiteY9989" fmla="*/ 4789915 h 5973007"/>
              <a:gd name="connsiteX9990" fmla="*/ 6329324 w 6884782"/>
              <a:gd name="connsiteY9990" fmla="*/ 4776078 h 5973007"/>
              <a:gd name="connsiteX9991" fmla="*/ 6335559 w 6884782"/>
              <a:gd name="connsiteY9991" fmla="*/ 4773626 h 5973007"/>
              <a:gd name="connsiteX9992" fmla="*/ 1569370 w 6884782"/>
              <a:gd name="connsiteY9992" fmla="*/ 4773376 h 5973007"/>
              <a:gd name="connsiteX9993" fmla="*/ 1570919 w 6884782"/>
              <a:gd name="connsiteY9993" fmla="*/ 4773479 h 5973007"/>
              <a:gd name="connsiteX9994" fmla="*/ 1570145 w 6884782"/>
              <a:gd name="connsiteY9994" fmla="*/ 4774202 h 5973007"/>
              <a:gd name="connsiteX9995" fmla="*/ 1569370 w 6884782"/>
              <a:gd name="connsiteY9995" fmla="*/ 4773376 h 5973007"/>
              <a:gd name="connsiteX9996" fmla="*/ 1424542 w 6884782"/>
              <a:gd name="connsiteY9996" fmla="*/ 4773273 h 5973007"/>
              <a:gd name="connsiteX9997" fmla="*/ 1420360 w 6884782"/>
              <a:gd name="connsiteY9997" fmla="*/ 4779365 h 5973007"/>
              <a:gd name="connsiteX9998" fmla="*/ 1419276 w 6884782"/>
              <a:gd name="connsiteY9998" fmla="*/ 4773686 h 5973007"/>
              <a:gd name="connsiteX9999" fmla="*/ 1424542 w 6884782"/>
              <a:gd name="connsiteY9999" fmla="*/ 4773273 h 5973007"/>
              <a:gd name="connsiteX10000" fmla="*/ 1682755 w 6884782"/>
              <a:gd name="connsiteY10000" fmla="*/ 4773066 h 5973007"/>
              <a:gd name="connsiteX10001" fmla="*/ 1692358 w 6884782"/>
              <a:gd name="connsiteY10001" fmla="*/ 4781327 h 5973007"/>
              <a:gd name="connsiteX10002" fmla="*/ 1687866 w 6884782"/>
              <a:gd name="connsiteY10002" fmla="*/ 4785147 h 5973007"/>
              <a:gd name="connsiteX10003" fmla="*/ 1682755 w 6884782"/>
              <a:gd name="connsiteY10003" fmla="*/ 4773066 h 5973007"/>
              <a:gd name="connsiteX10004" fmla="*/ 1698244 w 6884782"/>
              <a:gd name="connsiteY10004" fmla="*/ 4772963 h 5973007"/>
              <a:gd name="connsiteX10005" fmla="*/ 1699793 w 6884782"/>
              <a:gd name="connsiteY10005" fmla="*/ 4775854 h 5973007"/>
              <a:gd name="connsiteX10006" fmla="*/ 1703046 w 6884782"/>
              <a:gd name="connsiteY10006" fmla="*/ 4777300 h 5973007"/>
              <a:gd name="connsiteX10007" fmla="*/ 1703201 w 6884782"/>
              <a:gd name="connsiteY10007" fmla="*/ 4777403 h 5973007"/>
              <a:gd name="connsiteX10008" fmla="*/ 1705059 w 6884782"/>
              <a:gd name="connsiteY10008" fmla="*/ 4777919 h 5973007"/>
              <a:gd name="connsiteX10009" fmla="*/ 1704750 w 6884782"/>
              <a:gd name="connsiteY10009" fmla="*/ 4777197 h 5973007"/>
              <a:gd name="connsiteX10010" fmla="*/ 1712185 w 6884782"/>
              <a:gd name="connsiteY10010" fmla="*/ 4774409 h 5973007"/>
              <a:gd name="connsiteX10011" fmla="*/ 1716057 w 6884782"/>
              <a:gd name="connsiteY10011" fmla="*/ 4777197 h 5973007"/>
              <a:gd name="connsiteX10012" fmla="*/ 1717297 w 6884782"/>
              <a:gd name="connsiteY10012" fmla="*/ 4785044 h 5973007"/>
              <a:gd name="connsiteX10013" fmla="*/ 1712960 w 6884782"/>
              <a:gd name="connsiteY10013" fmla="*/ 4786180 h 5973007"/>
              <a:gd name="connsiteX10014" fmla="*/ 1709397 w 6884782"/>
              <a:gd name="connsiteY10014" fmla="*/ 4784011 h 5973007"/>
              <a:gd name="connsiteX10015" fmla="*/ 1709397 w 6884782"/>
              <a:gd name="connsiteY10015" fmla="*/ 4785147 h 5973007"/>
              <a:gd name="connsiteX10016" fmla="*/ 1706764 w 6884782"/>
              <a:gd name="connsiteY10016" fmla="*/ 4782566 h 5973007"/>
              <a:gd name="connsiteX10017" fmla="*/ 1705524 w 6884782"/>
              <a:gd name="connsiteY10017" fmla="*/ 4781223 h 5973007"/>
              <a:gd name="connsiteX10018" fmla="*/ 1704905 w 6884782"/>
              <a:gd name="connsiteY10018" fmla="*/ 4781430 h 5973007"/>
              <a:gd name="connsiteX10019" fmla="*/ 1702117 w 6884782"/>
              <a:gd name="connsiteY10019" fmla="*/ 4779984 h 5973007"/>
              <a:gd name="connsiteX10020" fmla="*/ 1702426 w 6884782"/>
              <a:gd name="connsiteY10020" fmla="*/ 4778436 h 5973007"/>
              <a:gd name="connsiteX10021" fmla="*/ 1702117 w 6884782"/>
              <a:gd name="connsiteY10021" fmla="*/ 4777919 h 5973007"/>
              <a:gd name="connsiteX10022" fmla="*/ 1696540 w 6884782"/>
              <a:gd name="connsiteY10022" fmla="*/ 4775235 h 5973007"/>
              <a:gd name="connsiteX10023" fmla="*/ 1695766 w 6884782"/>
              <a:gd name="connsiteY10023" fmla="*/ 4773479 h 5973007"/>
              <a:gd name="connsiteX10024" fmla="*/ 1698244 w 6884782"/>
              <a:gd name="connsiteY10024" fmla="*/ 4772963 h 5973007"/>
              <a:gd name="connsiteX10025" fmla="*/ 1573862 w 6884782"/>
              <a:gd name="connsiteY10025" fmla="*/ 4772550 h 5973007"/>
              <a:gd name="connsiteX10026" fmla="*/ 1579748 w 6884782"/>
              <a:gd name="connsiteY10026" fmla="*/ 4777197 h 5973007"/>
              <a:gd name="connsiteX10027" fmla="*/ 1576031 w 6884782"/>
              <a:gd name="connsiteY10027" fmla="*/ 4784011 h 5973007"/>
              <a:gd name="connsiteX10028" fmla="*/ 1573862 w 6884782"/>
              <a:gd name="connsiteY10028" fmla="*/ 4772550 h 5973007"/>
              <a:gd name="connsiteX10029" fmla="*/ 1106385 w 6884782"/>
              <a:gd name="connsiteY10029" fmla="*/ 4771518 h 5973007"/>
              <a:gd name="connsiteX10030" fmla="*/ 1117848 w 6884782"/>
              <a:gd name="connsiteY10030" fmla="*/ 4779572 h 5973007"/>
              <a:gd name="connsiteX10031" fmla="*/ 1117538 w 6884782"/>
              <a:gd name="connsiteY10031" fmla="*/ 4782256 h 5973007"/>
              <a:gd name="connsiteX10032" fmla="*/ 1097866 w 6884782"/>
              <a:gd name="connsiteY10032" fmla="*/ 4794234 h 5973007"/>
              <a:gd name="connsiteX10033" fmla="*/ 1079433 w 6884782"/>
              <a:gd name="connsiteY10033" fmla="*/ 4784734 h 5973007"/>
              <a:gd name="connsiteX10034" fmla="*/ 1092599 w 6884782"/>
              <a:gd name="connsiteY10034" fmla="*/ 4772137 h 5973007"/>
              <a:gd name="connsiteX10035" fmla="*/ 1106385 w 6884782"/>
              <a:gd name="connsiteY10035" fmla="*/ 4771518 h 5973007"/>
              <a:gd name="connsiteX10036" fmla="*/ 784821 w 6884782"/>
              <a:gd name="connsiteY10036" fmla="*/ 4771208 h 5973007"/>
              <a:gd name="connsiteX10037" fmla="*/ 779399 w 6884782"/>
              <a:gd name="connsiteY10037" fmla="*/ 4785973 h 5973007"/>
              <a:gd name="connsiteX10038" fmla="*/ 773823 w 6884782"/>
              <a:gd name="connsiteY10038" fmla="*/ 4785870 h 5973007"/>
              <a:gd name="connsiteX10039" fmla="*/ 784821 w 6884782"/>
              <a:gd name="connsiteY10039" fmla="*/ 4771208 h 5973007"/>
              <a:gd name="connsiteX10040" fmla="*/ 6368668 w 6884782"/>
              <a:gd name="connsiteY10040" fmla="*/ 4770709 h 5973007"/>
              <a:gd name="connsiteX10041" fmla="*/ 6370681 w 6884782"/>
              <a:gd name="connsiteY10041" fmla="*/ 4772465 h 5973007"/>
              <a:gd name="connsiteX10042" fmla="*/ 6369132 w 6884782"/>
              <a:gd name="connsiteY10042" fmla="*/ 4774530 h 5973007"/>
              <a:gd name="connsiteX10043" fmla="*/ 6366654 w 6884782"/>
              <a:gd name="connsiteY10043" fmla="*/ 4775149 h 5973007"/>
              <a:gd name="connsiteX10044" fmla="*/ 6365725 w 6884782"/>
              <a:gd name="connsiteY10044" fmla="*/ 4774116 h 5973007"/>
              <a:gd name="connsiteX10045" fmla="*/ 6364795 w 6884782"/>
              <a:gd name="connsiteY10045" fmla="*/ 4772155 h 5973007"/>
              <a:gd name="connsiteX10046" fmla="*/ 6368668 w 6884782"/>
              <a:gd name="connsiteY10046" fmla="*/ 4770709 h 5973007"/>
              <a:gd name="connsiteX10047" fmla="*/ 6308103 w 6884782"/>
              <a:gd name="connsiteY10047" fmla="*/ 4769780 h 5973007"/>
              <a:gd name="connsiteX10048" fmla="*/ 6316003 w 6884782"/>
              <a:gd name="connsiteY10048" fmla="*/ 4777937 h 5973007"/>
              <a:gd name="connsiteX10049" fmla="*/ 6320805 w 6884782"/>
              <a:gd name="connsiteY10049" fmla="*/ 4789605 h 5973007"/>
              <a:gd name="connsiteX10050" fmla="*/ 6310737 w 6884782"/>
              <a:gd name="connsiteY10050" fmla="*/ 4782274 h 5973007"/>
              <a:gd name="connsiteX10051" fmla="*/ 6308103 w 6884782"/>
              <a:gd name="connsiteY10051" fmla="*/ 4769780 h 5973007"/>
              <a:gd name="connsiteX10052" fmla="*/ 1530337 w 6884782"/>
              <a:gd name="connsiteY10052" fmla="*/ 4769762 h 5973007"/>
              <a:gd name="connsiteX10053" fmla="*/ 1533589 w 6884782"/>
              <a:gd name="connsiteY10053" fmla="*/ 4770691 h 5973007"/>
              <a:gd name="connsiteX10054" fmla="*/ 1530956 w 6884782"/>
              <a:gd name="connsiteY10054" fmla="*/ 4777713 h 5973007"/>
              <a:gd name="connsiteX10055" fmla="*/ 1527394 w 6884782"/>
              <a:gd name="connsiteY10055" fmla="*/ 4774305 h 5973007"/>
              <a:gd name="connsiteX10056" fmla="*/ 1527549 w 6884782"/>
              <a:gd name="connsiteY10056" fmla="*/ 4771208 h 5973007"/>
              <a:gd name="connsiteX10057" fmla="*/ 1530337 w 6884782"/>
              <a:gd name="connsiteY10057" fmla="*/ 4769762 h 5973007"/>
              <a:gd name="connsiteX10058" fmla="*/ 1587958 w 6884782"/>
              <a:gd name="connsiteY10058" fmla="*/ 4768213 h 5973007"/>
              <a:gd name="connsiteX10059" fmla="*/ 1594309 w 6884782"/>
              <a:gd name="connsiteY10059" fmla="*/ 4770175 h 5973007"/>
              <a:gd name="connsiteX10060" fmla="*/ 1593999 w 6884782"/>
              <a:gd name="connsiteY10060" fmla="*/ 4772137 h 5973007"/>
              <a:gd name="connsiteX10061" fmla="*/ 1591675 w 6884782"/>
              <a:gd name="connsiteY10061" fmla="*/ 4772756 h 5973007"/>
              <a:gd name="connsiteX10062" fmla="*/ 1587649 w 6884782"/>
              <a:gd name="connsiteY10062" fmla="*/ 4770175 h 5973007"/>
              <a:gd name="connsiteX10063" fmla="*/ 1587958 w 6884782"/>
              <a:gd name="connsiteY10063" fmla="*/ 4768213 h 5973007"/>
              <a:gd name="connsiteX10064" fmla="*/ 1136900 w 6884782"/>
              <a:gd name="connsiteY10064" fmla="*/ 4766354 h 5973007"/>
              <a:gd name="connsiteX10065" fmla="*/ 1139533 w 6884782"/>
              <a:gd name="connsiteY10065" fmla="*/ 4788865 h 5973007"/>
              <a:gd name="connsiteX10066" fmla="*/ 1135351 w 6884782"/>
              <a:gd name="connsiteY10066" fmla="*/ 4784631 h 5973007"/>
              <a:gd name="connsiteX10067" fmla="*/ 1135197 w 6884782"/>
              <a:gd name="connsiteY10067" fmla="*/ 4783805 h 5973007"/>
              <a:gd name="connsiteX10068" fmla="*/ 1135041 w 6884782"/>
              <a:gd name="connsiteY10068" fmla="*/ 4785147 h 5973007"/>
              <a:gd name="connsiteX10069" fmla="*/ 1133028 w 6884782"/>
              <a:gd name="connsiteY10069" fmla="*/ 4804663 h 5973007"/>
              <a:gd name="connsiteX10070" fmla="*/ 1129000 w 6884782"/>
              <a:gd name="connsiteY10070" fmla="*/ 4794440 h 5973007"/>
              <a:gd name="connsiteX10071" fmla="*/ 1126367 w 6884782"/>
              <a:gd name="connsiteY10071" fmla="*/ 4784631 h 5973007"/>
              <a:gd name="connsiteX10072" fmla="*/ 1127452 w 6884782"/>
              <a:gd name="connsiteY10072" fmla="*/ 4781637 h 5973007"/>
              <a:gd name="connsiteX10073" fmla="*/ 1126986 w 6884782"/>
              <a:gd name="connsiteY10073" fmla="*/ 4781327 h 5973007"/>
              <a:gd name="connsiteX10074" fmla="*/ 1130240 w 6884782"/>
              <a:gd name="connsiteY10074" fmla="*/ 4776267 h 5973007"/>
              <a:gd name="connsiteX10075" fmla="*/ 1132408 w 6884782"/>
              <a:gd name="connsiteY10075" fmla="*/ 4778642 h 5973007"/>
              <a:gd name="connsiteX10076" fmla="*/ 1134112 w 6884782"/>
              <a:gd name="connsiteY10076" fmla="*/ 4778229 h 5973007"/>
              <a:gd name="connsiteX10077" fmla="*/ 1134886 w 6884782"/>
              <a:gd name="connsiteY10077" fmla="*/ 4772137 h 5973007"/>
              <a:gd name="connsiteX10078" fmla="*/ 1136900 w 6884782"/>
              <a:gd name="connsiteY10078" fmla="*/ 4766354 h 5973007"/>
              <a:gd name="connsiteX10079" fmla="*/ 6455255 w 6884782"/>
              <a:gd name="connsiteY10079" fmla="*/ 4766269 h 5973007"/>
              <a:gd name="connsiteX10080" fmla="*/ 6455874 w 6884782"/>
              <a:gd name="connsiteY10080" fmla="*/ 4766785 h 5973007"/>
              <a:gd name="connsiteX10081" fmla="*/ 6457113 w 6884782"/>
              <a:gd name="connsiteY10081" fmla="*/ 4766372 h 5973007"/>
              <a:gd name="connsiteX10082" fmla="*/ 6459437 w 6884782"/>
              <a:gd name="connsiteY10082" fmla="*/ 4769677 h 5973007"/>
              <a:gd name="connsiteX10083" fmla="*/ 6459747 w 6884782"/>
              <a:gd name="connsiteY10083" fmla="*/ 4771742 h 5973007"/>
              <a:gd name="connsiteX10084" fmla="*/ 6458817 w 6884782"/>
              <a:gd name="connsiteY10084" fmla="*/ 4773084 h 5973007"/>
              <a:gd name="connsiteX10085" fmla="*/ 6456959 w 6884782"/>
              <a:gd name="connsiteY10085" fmla="*/ 4772981 h 5973007"/>
              <a:gd name="connsiteX10086" fmla="*/ 6453861 w 6884782"/>
              <a:gd name="connsiteY10086" fmla="*/ 4771226 h 5973007"/>
              <a:gd name="connsiteX10087" fmla="*/ 6453086 w 6884782"/>
              <a:gd name="connsiteY10087" fmla="*/ 4768850 h 5973007"/>
              <a:gd name="connsiteX10088" fmla="*/ 6454480 w 6884782"/>
              <a:gd name="connsiteY10088" fmla="*/ 4767818 h 5973007"/>
              <a:gd name="connsiteX10089" fmla="*/ 6455255 w 6884782"/>
              <a:gd name="connsiteY10089" fmla="*/ 4766269 h 5973007"/>
              <a:gd name="connsiteX10090" fmla="*/ 1417766 w 6884782"/>
              <a:gd name="connsiteY10090" fmla="*/ 4766213 h 5973007"/>
              <a:gd name="connsiteX10091" fmla="*/ 1418811 w 6884782"/>
              <a:gd name="connsiteY10091" fmla="*/ 4772447 h 5973007"/>
              <a:gd name="connsiteX10092" fmla="*/ 1411841 w 6884782"/>
              <a:gd name="connsiteY10092" fmla="*/ 4769349 h 5973007"/>
              <a:gd name="connsiteX10093" fmla="*/ 1417766 w 6884782"/>
              <a:gd name="connsiteY10093" fmla="*/ 4766213 h 5973007"/>
              <a:gd name="connsiteX10094" fmla="*/ 6422262 w 6884782"/>
              <a:gd name="connsiteY10094" fmla="*/ 4766166 h 5973007"/>
              <a:gd name="connsiteX10095" fmla="*/ 6414517 w 6884782"/>
              <a:gd name="connsiteY10095" fmla="*/ 4783100 h 5973007"/>
              <a:gd name="connsiteX10096" fmla="*/ 6422262 w 6884782"/>
              <a:gd name="connsiteY10096" fmla="*/ 4766166 h 5973007"/>
              <a:gd name="connsiteX10097" fmla="*/ 1833779 w 6884782"/>
              <a:gd name="connsiteY10097" fmla="*/ 4765942 h 5973007"/>
              <a:gd name="connsiteX10098" fmla="*/ 1833933 w 6884782"/>
              <a:gd name="connsiteY10098" fmla="*/ 4766768 h 5973007"/>
              <a:gd name="connsiteX10099" fmla="*/ 1832384 w 6884782"/>
              <a:gd name="connsiteY10099" fmla="*/ 4768626 h 5973007"/>
              <a:gd name="connsiteX10100" fmla="*/ 1831610 w 6884782"/>
              <a:gd name="connsiteY10100" fmla="*/ 4774718 h 5973007"/>
              <a:gd name="connsiteX10101" fmla="*/ 1830061 w 6884782"/>
              <a:gd name="connsiteY10101" fmla="*/ 4775751 h 5973007"/>
              <a:gd name="connsiteX10102" fmla="*/ 1828822 w 6884782"/>
              <a:gd name="connsiteY10102" fmla="*/ 4773170 h 5973007"/>
              <a:gd name="connsiteX10103" fmla="*/ 1831145 w 6884782"/>
              <a:gd name="connsiteY10103" fmla="*/ 4771311 h 5973007"/>
              <a:gd name="connsiteX10104" fmla="*/ 1831455 w 6884782"/>
              <a:gd name="connsiteY10104" fmla="*/ 4767800 h 5973007"/>
              <a:gd name="connsiteX10105" fmla="*/ 1833779 w 6884782"/>
              <a:gd name="connsiteY10105" fmla="*/ 4765942 h 5973007"/>
              <a:gd name="connsiteX10106" fmla="*/ 6294627 w 6884782"/>
              <a:gd name="connsiteY10106" fmla="*/ 4764824 h 5973007"/>
              <a:gd name="connsiteX10107" fmla="*/ 6297725 w 6884782"/>
              <a:gd name="connsiteY10107" fmla="*/ 4768128 h 5973007"/>
              <a:gd name="connsiteX10108" fmla="*/ 6287502 w 6884782"/>
              <a:gd name="connsiteY10108" fmla="*/ 4782068 h 5973007"/>
              <a:gd name="connsiteX10109" fmla="*/ 6284094 w 6884782"/>
              <a:gd name="connsiteY10109" fmla="*/ 4781758 h 5973007"/>
              <a:gd name="connsiteX10110" fmla="*/ 6294627 w 6884782"/>
              <a:gd name="connsiteY10110" fmla="*/ 4764824 h 5973007"/>
              <a:gd name="connsiteX10111" fmla="*/ 1729998 w 6884782"/>
              <a:gd name="connsiteY10111" fmla="*/ 4764703 h 5973007"/>
              <a:gd name="connsiteX10112" fmla="*/ 1731392 w 6884782"/>
              <a:gd name="connsiteY10112" fmla="*/ 4769969 h 5973007"/>
              <a:gd name="connsiteX10113" fmla="*/ 1732941 w 6884782"/>
              <a:gd name="connsiteY10113" fmla="*/ 4770381 h 5973007"/>
              <a:gd name="connsiteX10114" fmla="*/ 1736503 w 6884782"/>
              <a:gd name="connsiteY10114" fmla="*/ 4776887 h 5973007"/>
              <a:gd name="connsiteX10115" fmla="*/ 1733251 w 6884782"/>
              <a:gd name="connsiteY10115" fmla="*/ 4778126 h 5973007"/>
              <a:gd name="connsiteX10116" fmla="*/ 1733406 w 6884782"/>
              <a:gd name="connsiteY10116" fmla="*/ 4783805 h 5973007"/>
              <a:gd name="connsiteX10117" fmla="*/ 1731237 w 6884782"/>
              <a:gd name="connsiteY10117" fmla="*/ 4791859 h 5973007"/>
              <a:gd name="connsiteX10118" fmla="*/ 1724886 w 6884782"/>
              <a:gd name="connsiteY10118" fmla="*/ 4793717 h 5973007"/>
              <a:gd name="connsiteX10119" fmla="*/ 1723028 w 6884782"/>
              <a:gd name="connsiteY10119" fmla="*/ 4792272 h 5973007"/>
              <a:gd name="connsiteX10120" fmla="*/ 1726125 w 6884782"/>
              <a:gd name="connsiteY10120" fmla="*/ 4777300 h 5973007"/>
              <a:gd name="connsiteX10121" fmla="*/ 1726280 w 6884782"/>
              <a:gd name="connsiteY10121" fmla="*/ 4772240 h 5973007"/>
              <a:gd name="connsiteX10122" fmla="*/ 1726125 w 6884782"/>
              <a:gd name="connsiteY10122" fmla="*/ 4770691 h 5973007"/>
              <a:gd name="connsiteX10123" fmla="*/ 1726280 w 6884782"/>
              <a:gd name="connsiteY10123" fmla="*/ 4770588 h 5973007"/>
              <a:gd name="connsiteX10124" fmla="*/ 1726280 w 6884782"/>
              <a:gd name="connsiteY10124" fmla="*/ 4770278 h 5973007"/>
              <a:gd name="connsiteX10125" fmla="*/ 1729998 w 6884782"/>
              <a:gd name="connsiteY10125" fmla="*/ 4764703 h 5973007"/>
              <a:gd name="connsiteX10126" fmla="*/ 1179806 w 6884782"/>
              <a:gd name="connsiteY10126" fmla="*/ 4764599 h 5973007"/>
              <a:gd name="connsiteX10127" fmla="*/ 1182285 w 6884782"/>
              <a:gd name="connsiteY10127" fmla="*/ 4764599 h 5973007"/>
              <a:gd name="connsiteX10128" fmla="*/ 1180890 w 6884782"/>
              <a:gd name="connsiteY10128" fmla="*/ 4777506 h 5973007"/>
              <a:gd name="connsiteX10129" fmla="*/ 1179961 w 6884782"/>
              <a:gd name="connsiteY10129" fmla="*/ 4779158 h 5973007"/>
              <a:gd name="connsiteX10130" fmla="*/ 1174540 w 6884782"/>
              <a:gd name="connsiteY10130" fmla="*/ 4782566 h 5973007"/>
              <a:gd name="connsiteX10131" fmla="*/ 1178722 w 6884782"/>
              <a:gd name="connsiteY10131" fmla="*/ 4766251 h 5973007"/>
              <a:gd name="connsiteX10132" fmla="*/ 1179806 w 6884782"/>
              <a:gd name="connsiteY10132" fmla="*/ 4764599 h 5973007"/>
              <a:gd name="connsiteX10133" fmla="*/ 1698244 w 6884782"/>
              <a:gd name="connsiteY10133" fmla="*/ 4764083 h 5973007"/>
              <a:gd name="connsiteX10134" fmla="*/ 1700258 w 6884782"/>
              <a:gd name="connsiteY10134" fmla="*/ 4768523 h 5973007"/>
              <a:gd name="connsiteX10135" fmla="*/ 1699793 w 6884782"/>
              <a:gd name="connsiteY10135" fmla="*/ 4769659 h 5973007"/>
              <a:gd name="connsiteX10136" fmla="*/ 1699484 w 6884782"/>
              <a:gd name="connsiteY10136" fmla="*/ 4770588 h 5973007"/>
              <a:gd name="connsiteX10137" fmla="*/ 1698554 w 6884782"/>
              <a:gd name="connsiteY10137" fmla="*/ 4772756 h 5973007"/>
              <a:gd name="connsiteX10138" fmla="*/ 1694836 w 6884782"/>
              <a:gd name="connsiteY10138" fmla="*/ 4769349 h 5973007"/>
              <a:gd name="connsiteX10139" fmla="*/ 1698244 w 6884782"/>
              <a:gd name="connsiteY10139" fmla="*/ 4764083 h 5973007"/>
              <a:gd name="connsiteX10140" fmla="*/ 929494 w 6884782"/>
              <a:gd name="connsiteY10140" fmla="*/ 4763876 h 5973007"/>
              <a:gd name="connsiteX10141" fmla="*/ 935535 w 6884782"/>
              <a:gd name="connsiteY10141" fmla="*/ 4773479 h 5973007"/>
              <a:gd name="connsiteX10142" fmla="*/ 924072 w 6884782"/>
              <a:gd name="connsiteY10142" fmla="*/ 4788968 h 5973007"/>
              <a:gd name="connsiteX10143" fmla="*/ 923608 w 6884782"/>
              <a:gd name="connsiteY10143" fmla="*/ 4788968 h 5973007"/>
              <a:gd name="connsiteX10144" fmla="*/ 923298 w 6884782"/>
              <a:gd name="connsiteY10144" fmla="*/ 4795783 h 5973007"/>
              <a:gd name="connsiteX10145" fmla="*/ 920975 w 6884782"/>
              <a:gd name="connsiteY10145" fmla="*/ 4803320 h 5973007"/>
              <a:gd name="connsiteX10146" fmla="*/ 918496 w 6884782"/>
              <a:gd name="connsiteY10146" fmla="*/ 4804456 h 5973007"/>
              <a:gd name="connsiteX10147" fmla="*/ 900838 w 6884782"/>
              <a:gd name="connsiteY10147" fmla="*/ 4792582 h 5973007"/>
              <a:gd name="connsiteX10148" fmla="*/ 899444 w 6884782"/>
              <a:gd name="connsiteY10148" fmla="*/ 4775648 h 5973007"/>
              <a:gd name="connsiteX10149" fmla="*/ 899754 w 6884782"/>
              <a:gd name="connsiteY10149" fmla="*/ 4774821 h 5973007"/>
              <a:gd name="connsiteX10150" fmla="*/ 898670 w 6884782"/>
              <a:gd name="connsiteY10150" fmla="*/ 4775854 h 5973007"/>
              <a:gd name="connsiteX10151" fmla="*/ 896811 w 6884782"/>
              <a:gd name="connsiteY10151" fmla="*/ 4775751 h 5973007"/>
              <a:gd name="connsiteX10152" fmla="*/ 892938 w 6884782"/>
              <a:gd name="connsiteY10152" fmla="*/ 4774305 h 5973007"/>
              <a:gd name="connsiteX10153" fmla="*/ 893248 w 6884782"/>
              <a:gd name="connsiteY10153" fmla="*/ 4771105 h 5973007"/>
              <a:gd name="connsiteX10154" fmla="*/ 896347 w 6884782"/>
              <a:gd name="connsiteY10154" fmla="*/ 4768833 h 5973007"/>
              <a:gd name="connsiteX10155" fmla="*/ 903161 w 6884782"/>
              <a:gd name="connsiteY10155" fmla="*/ 4768833 h 5973007"/>
              <a:gd name="connsiteX10156" fmla="*/ 902851 w 6884782"/>
              <a:gd name="connsiteY10156" fmla="*/ 4770381 h 5973007"/>
              <a:gd name="connsiteX10157" fmla="*/ 911216 w 6884782"/>
              <a:gd name="connsiteY10157" fmla="*/ 4771414 h 5973007"/>
              <a:gd name="connsiteX10158" fmla="*/ 917876 w 6884782"/>
              <a:gd name="connsiteY10158" fmla="*/ 4775854 h 5973007"/>
              <a:gd name="connsiteX10159" fmla="*/ 920665 w 6884782"/>
              <a:gd name="connsiteY10159" fmla="*/ 4779881 h 5973007"/>
              <a:gd name="connsiteX10160" fmla="*/ 921439 w 6884782"/>
              <a:gd name="connsiteY10160" fmla="*/ 4776267 h 5973007"/>
              <a:gd name="connsiteX10161" fmla="*/ 929494 w 6884782"/>
              <a:gd name="connsiteY10161" fmla="*/ 4763876 h 5973007"/>
              <a:gd name="connsiteX10162" fmla="*/ 1846790 w 6884782"/>
              <a:gd name="connsiteY10162" fmla="*/ 4763360 h 5973007"/>
              <a:gd name="connsiteX10163" fmla="*/ 1842917 w 6884782"/>
              <a:gd name="connsiteY10163" fmla="*/ 4777197 h 5973007"/>
              <a:gd name="connsiteX10164" fmla="*/ 1846790 w 6884782"/>
              <a:gd name="connsiteY10164" fmla="*/ 4763360 h 5973007"/>
              <a:gd name="connsiteX10165" fmla="*/ 5953081 w 6884782"/>
              <a:gd name="connsiteY10165" fmla="*/ 4762759 h 5973007"/>
              <a:gd name="connsiteX10166" fmla="*/ 5956643 w 6884782"/>
              <a:gd name="connsiteY10166" fmla="*/ 4767405 h 5973007"/>
              <a:gd name="connsiteX10167" fmla="*/ 5958812 w 6884782"/>
              <a:gd name="connsiteY10167" fmla="*/ 4765753 h 5973007"/>
              <a:gd name="connsiteX10168" fmla="*/ 5964233 w 6884782"/>
              <a:gd name="connsiteY10168" fmla="*/ 4765546 h 5973007"/>
              <a:gd name="connsiteX10169" fmla="*/ 5965628 w 6884782"/>
              <a:gd name="connsiteY10169" fmla="*/ 4768850 h 5973007"/>
              <a:gd name="connsiteX10170" fmla="*/ 5962530 w 6884782"/>
              <a:gd name="connsiteY10170" fmla="*/ 4773394 h 5973007"/>
              <a:gd name="connsiteX10171" fmla="*/ 5961445 w 6884782"/>
              <a:gd name="connsiteY10171" fmla="*/ 4773497 h 5973007"/>
              <a:gd name="connsiteX10172" fmla="*/ 5961445 w 6884782"/>
              <a:gd name="connsiteY10172" fmla="*/ 4773704 h 5973007"/>
              <a:gd name="connsiteX10173" fmla="*/ 5954165 w 6884782"/>
              <a:gd name="connsiteY10173" fmla="*/ 4779899 h 5973007"/>
              <a:gd name="connsiteX10174" fmla="*/ 5943787 w 6884782"/>
              <a:gd name="connsiteY10174" fmla="*/ 4772258 h 5973007"/>
              <a:gd name="connsiteX10175" fmla="*/ 5953081 w 6884782"/>
              <a:gd name="connsiteY10175" fmla="*/ 4762759 h 5973007"/>
              <a:gd name="connsiteX10176" fmla="*/ 6327465 w 6884782"/>
              <a:gd name="connsiteY10176" fmla="*/ 4762242 h 5973007"/>
              <a:gd name="connsiteX10177" fmla="*/ 6331493 w 6884782"/>
              <a:gd name="connsiteY10177" fmla="*/ 4763275 h 5973007"/>
              <a:gd name="connsiteX10178" fmla="*/ 6327930 w 6884782"/>
              <a:gd name="connsiteY10178" fmla="*/ 4764927 h 5973007"/>
              <a:gd name="connsiteX10179" fmla="*/ 6327465 w 6884782"/>
              <a:gd name="connsiteY10179" fmla="*/ 4762242 h 5973007"/>
              <a:gd name="connsiteX10180" fmla="*/ 1641552 w 6884782"/>
              <a:gd name="connsiteY10180" fmla="*/ 4762121 h 5973007"/>
              <a:gd name="connsiteX10181" fmla="*/ 1644185 w 6884782"/>
              <a:gd name="connsiteY10181" fmla="*/ 4762638 h 5973007"/>
              <a:gd name="connsiteX10182" fmla="*/ 1644495 w 6884782"/>
              <a:gd name="connsiteY10182" fmla="*/ 4765115 h 5973007"/>
              <a:gd name="connsiteX10183" fmla="*/ 1645425 w 6884782"/>
              <a:gd name="connsiteY10183" fmla="*/ 4766768 h 5973007"/>
              <a:gd name="connsiteX10184" fmla="*/ 1643876 w 6884782"/>
              <a:gd name="connsiteY10184" fmla="*/ 4769039 h 5973007"/>
              <a:gd name="connsiteX10185" fmla="*/ 1642946 w 6884782"/>
              <a:gd name="connsiteY10185" fmla="*/ 4767387 h 5973007"/>
              <a:gd name="connsiteX10186" fmla="*/ 1641552 w 6884782"/>
              <a:gd name="connsiteY10186" fmla="*/ 4762121 h 5973007"/>
              <a:gd name="connsiteX10187" fmla="*/ 735254 w 6884782"/>
              <a:gd name="connsiteY10187" fmla="*/ 4761605 h 5973007"/>
              <a:gd name="connsiteX10188" fmla="*/ 738197 w 6884782"/>
              <a:gd name="connsiteY10188" fmla="*/ 4764599 h 5973007"/>
              <a:gd name="connsiteX10189" fmla="*/ 737422 w 6884782"/>
              <a:gd name="connsiteY10189" fmla="*/ 4767284 h 5973007"/>
              <a:gd name="connsiteX10190" fmla="*/ 736028 w 6884782"/>
              <a:gd name="connsiteY10190" fmla="*/ 4767800 h 5973007"/>
              <a:gd name="connsiteX10191" fmla="*/ 734944 w 6884782"/>
              <a:gd name="connsiteY10191" fmla="*/ 4766768 h 5973007"/>
              <a:gd name="connsiteX10192" fmla="*/ 733395 w 6884782"/>
              <a:gd name="connsiteY10192" fmla="*/ 4764703 h 5973007"/>
              <a:gd name="connsiteX10193" fmla="*/ 733860 w 6884782"/>
              <a:gd name="connsiteY10193" fmla="*/ 4763257 h 5973007"/>
              <a:gd name="connsiteX10194" fmla="*/ 735254 w 6884782"/>
              <a:gd name="connsiteY10194" fmla="*/ 4761605 h 5973007"/>
              <a:gd name="connsiteX10195" fmla="*/ 6274955 w 6884782"/>
              <a:gd name="connsiteY10195" fmla="*/ 4761519 h 5973007"/>
              <a:gd name="connsiteX10196" fmla="*/ 6280222 w 6884782"/>
              <a:gd name="connsiteY10196" fmla="*/ 4766889 h 5973007"/>
              <a:gd name="connsiteX10197" fmla="*/ 6275575 w 6884782"/>
              <a:gd name="connsiteY10197" fmla="*/ 4775872 h 5973007"/>
              <a:gd name="connsiteX10198" fmla="*/ 6271703 w 6884782"/>
              <a:gd name="connsiteY10198" fmla="*/ 4775666 h 5973007"/>
              <a:gd name="connsiteX10199" fmla="*/ 6266281 w 6884782"/>
              <a:gd name="connsiteY10199" fmla="*/ 4771535 h 5973007"/>
              <a:gd name="connsiteX10200" fmla="*/ 6274955 w 6884782"/>
              <a:gd name="connsiteY10200" fmla="*/ 4761519 h 5973007"/>
              <a:gd name="connsiteX10201" fmla="*/ 1335167 w 6884782"/>
              <a:gd name="connsiteY10201" fmla="*/ 4761295 h 5973007"/>
              <a:gd name="connsiteX10202" fmla="*/ 1334703 w 6884782"/>
              <a:gd name="connsiteY10202" fmla="*/ 4764909 h 5973007"/>
              <a:gd name="connsiteX10203" fmla="*/ 1330366 w 6884782"/>
              <a:gd name="connsiteY10203" fmla="*/ 4766458 h 5973007"/>
              <a:gd name="connsiteX10204" fmla="*/ 1327113 w 6884782"/>
              <a:gd name="connsiteY10204" fmla="*/ 4764909 h 5973007"/>
              <a:gd name="connsiteX10205" fmla="*/ 1326338 w 6884782"/>
              <a:gd name="connsiteY10205" fmla="*/ 4761708 h 5973007"/>
              <a:gd name="connsiteX10206" fmla="*/ 1335167 w 6884782"/>
              <a:gd name="connsiteY10206" fmla="*/ 4761295 h 5973007"/>
              <a:gd name="connsiteX10207" fmla="*/ 973794 w 6884782"/>
              <a:gd name="connsiteY10207" fmla="*/ 4760469 h 5973007"/>
              <a:gd name="connsiteX10208" fmla="*/ 973175 w 6884782"/>
              <a:gd name="connsiteY10208" fmla="*/ 4765529 h 5973007"/>
              <a:gd name="connsiteX10209" fmla="*/ 970696 w 6884782"/>
              <a:gd name="connsiteY10209" fmla="*/ 4767077 h 5973007"/>
              <a:gd name="connsiteX10210" fmla="*/ 968063 w 6884782"/>
              <a:gd name="connsiteY10210" fmla="*/ 4765425 h 5973007"/>
              <a:gd name="connsiteX10211" fmla="*/ 967134 w 6884782"/>
              <a:gd name="connsiteY10211" fmla="*/ 4761914 h 5973007"/>
              <a:gd name="connsiteX10212" fmla="*/ 973794 w 6884782"/>
              <a:gd name="connsiteY10212" fmla="*/ 4760469 h 5973007"/>
              <a:gd name="connsiteX10213" fmla="*/ 1837031 w 6884782"/>
              <a:gd name="connsiteY10213" fmla="*/ 4760366 h 5973007"/>
              <a:gd name="connsiteX10214" fmla="*/ 1833468 w 6884782"/>
              <a:gd name="connsiteY10214" fmla="*/ 4765115 h 5973007"/>
              <a:gd name="connsiteX10215" fmla="*/ 1835017 w 6884782"/>
              <a:gd name="connsiteY10215" fmla="*/ 4763153 h 5973007"/>
              <a:gd name="connsiteX10216" fmla="*/ 1834708 w 6884782"/>
              <a:gd name="connsiteY10216" fmla="*/ 4761398 h 5973007"/>
              <a:gd name="connsiteX10217" fmla="*/ 1837031 w 6884782"/>
              <a:gd name="connsiteY10217" fmla="*/ 4760366 h 5973007"/>
              <a:gd name="connsiteX10218" fmla="*/ 6125325 w 6884782"/>
              <a:gd name="connsiteY10218" fmla="*/ 4760177 h 5973007"/>
              <a:gd name="connsiteX10219" fmla="*/ 6133845 w 6884782"/>
              <a:gd name="connsiteY10219" fmla="*/ 4766682 h 5973007"/>
              <a:gd name="connsiteX10220" fmla="*/ 6134155 w 6884782"/>
              <a:gd name="connsiteY10220" fmla="*/ 4769057 h 5973007"/>
              <a:gd name="connsiteX10221" fmla="*/ 6135084 w 6884782"/>
              <a:gd name="connsiteY10221" fmla="*/ 4770709 h 5973007"/>
              <a:gd name="connsiteX10222" fmla="*/ 6134310 w 6884782"/>
              <a:gd name="connsiteY10222" fmla="*/ 4776595 h 5973007"/>
              <a:gd name="connsiteX10223" fmla="*/ 6124086 w 6884782"/>
              <a:gd name="connsiteY10223" fmla="*/ 4763688 h 5973007"/>
              <a:gd name="connsiteX10224" fmla="*/ 6123777 w 6884782"/>
              <a:gd name="connsiteY10224" fmla="*/ 4761726 h 5973007"/>
              <a:gd name="connsiteX10225" fmla="*/ 6125325 w 6884782"/>
              <a:gd name="connsiteY10225" fmla="*/ 4760177 h 5973007"/>
              <a:gd name="connsiteX10226" fmla="*/ 1662618 w 6884782"/>
              <a:gd name="connsiteY10226" fmla="*/ 4759746 h 5973007"/>
              <a:gd name="connsiteX10227" fmla="*/ 1664632 w 6884782"/>
              <a:gd name="connsiteY10227" fmla="*/ 4760985 h 5973007"/>
              <a:gd name="connsiteX10228" fmla="*/ 1662928 w 6884782"/>
              <a:gd name="connsiteY10228" fmla="*/ 4769349 h 5973007"/>
              <a:gd name="connsiteX10229" fmla="*/ 1661224 w 6884782"/>
              <a:gd name="connsiteY10229" fmla="*/ 4761398 h 5973007"/>
              <a:gd name="connsiteX10230" fmla="*/ 1662618 w 6884782"/>
              <a:gd name="connsiteY10230" fmla="*/ 4759746 h 5973007"/>
              <a:gd name="connsiteX10231" fmla="*/ 1045821 w 6884782"/>
              <a:gd name="connsiteY10231" fmla="*/ 4759230 h 5973007"/>
              <a:gd name="connsiteX10232" fmla="*/ 1048454 w 6884782"/>
              <a:gd name="connsiteY10232" fmla="*/ 4762947 h 5973007"/>
              <a:gd name="connsiteX10233" fmla="*/ 1045976 w 6884782"/>
              <a:gd name="connsiteY10233" fmla="*/ 4765012 h 5973007"/>
              <a:gd name="connsiteX10234" fmla="*/ 1044272 w 6884782"/>
              <a:gd name="connsiteY10234" fmla="*/ 4763773 h 5973007"/>
              <a:gd name="connsiteX10235" fmla="*/ 1045821 w 6884782"/>
              <a:gd name="connsiteY10235" fmla="*/ 4759230 h 5973007"/>
              <a:gd name="connsiteX10236" fmla="*/ 1295978 w 6884782"/>
              <a:gd name="connsiteY10236" fmla="*/ 4757475 h 5973007"/>
              <a:gd name="connsiteX10237" fmla="*/ 1297218 w 6884782"/>
              <a:gd name="connsiteY10237" fmla="*/ 4766458 h 5973007"/>
              <a:gd name="connsiteX10238" fmla="*/ 1296288 w 6884782"/>
              <a:gd name="connsiteY10238" fmla="*/ 4770588 h 5973007"/>
              <a:gd name="connsiteX10239" fmla="*/ 1296598 w 6884782"/>
              <a:gd name="connsiteY10239" fmla="*/ 4770485 h 5973007"/>
              <a:gd name="connsiteX10240" fmla="*/ 1299851 w 6884782"/>
              <a:gd name="connsiteY10240" fmla="*/ 4771724 h 5973007"/>
              <a:gd name="connsiteX10241" fmla="*/ 1302794 w 6884782"/>
              <a:gd name="connsiteY10241" fmla="*/ 4775751 h 5973007"/>
              <a:gd name="connsiteX10242" fmla="*/ 1317045 w 6884782"/>
              <a:gd name="connsiteY10242" fmla="*/ 4775235 h 5973007"/>
              <a:gd name="connsiteX10243" fmla="*/ 1336871 w 6884782"/>
              <a:gd name="connsiteY10243" fmla="*/ 4774718 h 5973007"/>
              <a:gd name="connsiteX10244" fmla="*/ 1331140 w 6884782"/>
              <a:gd name="connsiteY10244" fmla="*/ 4778539 h 5973007"/>
              <a:gd name="connsiteX10245" fmla="*/ 1331759 w 6884782"/>
              <a:gd name="connsiteY10245" fmla="*/ 4779158 h 5973007"/>
              <a:gd name="connsiteX10246" fmla="*/ 1340589 w 6884782"/>
              <a:gd name="connsiteY10246" fmla="*/ 4779984 h 5973007"/>
              <a:gd name="connsiteX10247" fmla="*/ 1341053 w 6884782"/>
              <a:gd name="connsiteY10247" fmla="*/ 4788245 h 5973007"/>
              <a:gd name="connsiteX10248" fmla="*/ 1339504 w 6884782"/>
              <a:gd name="connsiteY10248" fmla="*/ 4791239 h 5973007"/>
              <a:gd name="connsiteX10249" fmla="*/ 1324479 w 6884782"/>
              <a:gd name="connsiteY10249" fmla="*/ 4782049 h 5973007"/>
              <a:gd name="connsiteX10250" fmla="*/ 1324635 w 6884782"/>
              <a:gd name="connsiteY10250" fmla="*/ 4781533 h 5973007"/>
              <a:gd name="connsiteX10251" fmla="*/ 1317199 w 6884782"/>
              <a:gd name="connsiteY10251" fmla="*/ 4783495 h 5973007"/>
              <a:gd name="connsiteX10252" fmla="*/ 1312088 w 6884782"/>
              <a:gd name="connsiteY10252" fmla="*/ 4784115 h 5973007"/>
              <a:gd name="connsiteX10253" fmla="*/ 1312553 w 6884782"/>
              <a:gd name="connsiteY10253" fmla="*/ 4784528 h 5973007"/>
              <a:gd name="connsiteX10254" fmla="*/ 1308060 w 6884782"/>
              <a:gd name="connsiteY10254" fmla="*/ 4800016 h 5973007"/>
              <a:gd name="connsiteX10255" fmla="*/ 1305427 w 6884782"/>
              <a:gd name="connsiteY10255" fmla="*/ 4799190 h 5973007"/>
              <a:gd name="connsiteX10256" fmla="*/ 1302639 w 6884782"/>
              <a:gd name="connsiteY10256" fmla="*/ 4794234 h 5973007"/>
              <a:gd name="connsiteX10257" fmla="*/ 1302949 w 6884782"/>
              <a:gd name="connsiteY10257" fmla="*/ 4790516 h 5973007"/>
              <a:gd name="connsiteX10258" fmla="*/ 1298457 w 6884782"/>
              <a:gd name="connsiteY10258" fmla="*/ 4790104 h 5973007"/>
              <a:gd name="connsiteX10259" fmla="*/ 1299076 w 6884782"/>
              <a:gd name="connsiteY10259" fmla="*/ 4785457 h 5973007"/>
              <a:gd name="connsiteX10260" fmla="*/ 1299231 w 6884782"/>
              <a:gd name="connsiteY10260" fmla="*/ 4785250 h 5973007"/>
              <a:gd name="connsiteX10261" fmla="*/ 1294275 w 6884782"/>
              <a:gd name="connsiteY10261" fmla="*/ 4785664 h 5973007"/>
              <a:gd name="connsiteX10262" fmla="*/ 1294275 w 6884782"/>
              <a:gd name="connsiteY10262" fmla="*/ 4781430 h 5973007"/>
              <a:gd name="connsiteX10263" fmla="*/ 1294585 w 6884782"/>
              <a:gd name="connsiteY10263" fmla="*/ 4778952 h 5973007"/>
              <a:gd name="connsiteX10264" fmla="*/ 1293655 w 6884782"/>
              <a:gd name="connsiteY10264" fmla="*/ 4778952 h 5973007"/>
              <a:gd name="connsiteX10265" fmla="*/ 1292261 w 6884782"/>
              <a:gd name="connsiteY10265" fmla="*/ 4774099 h 5973007"/>
              <a:gd name="connsiteX10266" fmla="*/ 1292880 w 6884782"/>
              <a:gd name="connsiteY10266" fmla="*/ 4772756 h 5973007"/>
              <a:gd name="connsiteX10267" fmla="*/ 1288699 w 6884782"/>
              <a:gd name="connsiteY10267" fmla="*/ 4773066 h 5973007"/>
              <a:gd name="connsiteX10268" fmla="*/ 1284826 w 6884782"/>
              <a:gd name="connsiteY10268" fmla="*/ 4771517 h 5973007"/>
              <a:gd name="connsiteX10269" fmla="*/ 1283896 w 6884782"/>
              <a:gd name="connsiteY10269" fmla="*/ 4769659 h 5973007"/>
              <a:gd name="connsiteX10270" fmla="*/ 1282812 w 6884782"/>
              <a:gd name="connsiteY10270" fmla="*/ 4771414 h 5973007"/>
              <a:gd name="connsiteX10271" fmla="*/ 1277856 w 6884782"/>
              <a:gd name="connsiteY10271" fmla="*/ 4773376 h 5973007"/>
              <a:gd name="connsiteX10272" fmla="*/ 1272589 w 6884782"/>
              <a:gd name="connsiteY10272" fmla="*/ 4772963 h 5973007"/>
              <a:gd name="connsiteX10273" fmla="*/ 1275533 w 6884782"/>
              <a:gd name="connsiteY10273" fmla="*/ 4767904 h 5973007"/>
              <a:gd name="connsiteX10274" fmla="*/ 1283277 w 6884782"/>
              <a:gd name="connsiteY10274" fmla="*/ 4767181 h 5973007"/>
              <a:gd name="connsiteX10275" fmla="*/ 1284052 w 6884782"/>
              <a:gd name="connsiteY10275" fmla="*/ 4768523 h 5973007"/>
              <a:gd name="connsiteX10276" fmla="*/ 1284826 w 6884782"/>
              <a:gd name="connsiteY10276" fmla="*/ 4764909 h 5973007"/>
              <a:gd name="connsiteX10277" fmla="*/ 1295978 w 6884782"/>
              <a:gd name="connsiteY10277" fmla="*/ 4757475 h 5973007"/>
              <a:gd name="connsiteX10278" fmla="*/ 1847564 w 6884782"/>
              <a:gd name="connsiteY10278" fmla="*/ 4756958 h 5973007"/>
              <a:gd name="connsiteX10279" fmla="*/ 1848339 w 6884782"/>
              <a:gd name="connsiteY10279" fmla="*/ 4756958 h 5973007"/>
              <a:gd name="connsiteX10280" fmla="*/ 1847409 w 6884782"/>
              <a:gd name="connsiteY10280" fmla="*/ 4758920 h 5973007"/>
              <a:gd name="connsiteX10281" fmla="*/ 1846945 w 6884782"/>
              <a:gd name="connsiteY10281" fmla="*/ 4758301 h 5973007"/>
              <a:gd name="connsiteX10282" fmla="*/ 1847564 w 6884782"/>
              <a:gd name="connsiteY10282" fmla="*/ 4756958 h 5973007"/>
              <a:gd name="connsiteX10283" fmla="*/ 1546755 w 6884782"/>
              <a:gd name="connsiteY10283" fmla="*/ 4756648 h 5973007"/>
              <a:gd name="connsiteX10284" fmla="*/ 1561935 w 6884782"/>
              <a:gd name="connsiteY10284" fmla="*/ 4778952 h 5973007"/>
              <a:gd name="connsiteX10285" fmla="*/ 1553261 w 6884782"/>
              <a:gd name="connsiteY10285" fmla="*/ 4785457 h 5973007"/>
              <a:gd name="connsiteX10286" fmla="*/ 1550008 w 6884782"/>
              <a:gd name="connsiteY10286" fmla="*/ 4785250 h 5973007"/>
              <a:gd name="connsiteX10287" fmla="*/ 1546601 w 6884782"/>
              <a:gd name="connsiteY10287" fmla="*/ 4783392 h 5973007"/>
              <a:gd name="connsiteX10288" fmla="*/ 1546291 w 6884782"/>
              <a:gd name="connsiteY10288" fmla="*/ 4783495 h 5973007"/>
              <a:gd name="connsiteX10289" fmla="*/ 1539320 w 6884782"/>
              <a:gd name="connsiteY10289" fmla="*/ 4779984 h 5973007"/>
              <a:gd name="connsiteX10290" fmla="*/ 1540095 w 6884782"/>
              <a:gd name="connsiteY10290" fmla="*/ 4775648 h 5973007"/>
              <a:gd name="connsiteX10291" fmla="*/ 1539785 w 6884782"/>
              <a:gd name="connsiteY10291" fmla="*/ 4766768 h 5973007"/>
              <a:gd name="connsiteX10292" fmla="*/ 1546755 w 6884782"/>
              <a:gd name="connsiteY10292" fmla="*/ 4756648 h 5973007"/>
              <a:gd name="connsiteX10293" fmla="*/ 6053144 w 6884782"/>
              <a:gd name="connsiteY10293" fmla="*/ 4756253 h 5973007"/>
              <a:gd name="connsiteX10294" fmla="*/ 6061508 w 6884782"/>
              <a:gd name="connsiteY10294" fmla="*/ 4787540 h 5973007"/>
              <a:gd name="connsiteX10295" fmla="*/ 6050201 w 6884782"/>
              <a:gd name="connsiteY10295" fmla="*/ 4774013 h 5973007"/>
              <a:gd name="connsiteX10296" fmla="*/ 6053144 w 6884782"/>
              <a:gd name="connsiteY10296" fmla="*/ 4756253 h 5973007"/>
              <a:gd name="connsiteX10297" fmla="*/ 994860 w 6884782"/>
              <a:gd name="connsiteY10297" fmla="*/ 4756132 h 5973007"/>
              <a:gd name="connsiteX10298" fmla="*/ 1001211 w 6884782"/>
              <a:gd name="connsiteY10298" fmla="*/ 4761192 h 5973007"/>
              <a:gd name="connsiteX10299" fmla="*/ 995790 w 6884782"/>
              <a:gd name="connsiteY10299" fmla="*/ 4777093 h 5973007"/>
              <a:gd name="connsiteX10300" fmla="*/ 995170 w 6884782"/>
              <a:gd name="connsiteY10300" fmla="*/ 4776680 h 5973007"/>
              <a:gd name="connsiteX10301" fmla="*/ 993466 w 6884782"/>
              <a:gd name="connsiteY10301" fmla="*/ 4782153 h 5973007"/>
              <a:gd name="connsiteX10302" fmla="*/ 990058 w 6884782"/>
              <a:gd name="connsiteY10302" fmla="*/ 4782463 h 5973007"/>
              <a:gd name="connsiteX10303" fmla="*/ 982778 w 6884782"/>
              <a:gd name="connsiteY10303" fmla="*/ 4776990 h 5973007"/>
              <a:gd name="connsiteX10304" fmla="*/ 982313 w 6884782"/>
              <a:gd name="connsiteY10304" fmla="*/ 4776577 h 5973007"/>
              <a:gd name="connsiteX10305" fmla="*/ 981229 w 6884782"/>
              <a:gd name="connsiteY10305" fmla="*/ 4776061 h 5973007"/>
              <a:gd name="connsiteX10306" fmla="*/ 981074 w 6884782"/>
              <a:gd name="connsiteY10306" fmla="*/ 4776371 h 5973007"/>
              <a:gd name="connsiteX10307" fmla="*/ 981074 w 6884782"/>
              <a:gd name="connsiteY10307" fmla="*/ 4776061 h 5973007"/>
              <a:gd name="connsiteX10308" fmla="*/ 979061 w 6884782"/>
              <a:gd name="connsiteY10308" fmla="*/ 4775235 h 5973007"/>
              <a:gd name="connsiteX10309" fmla="*/ 979835 w 6884782"/>
              <a:gd name="connsiteY10309" fmla="*/ 4773789 h 5973007"/>
              <a:gd name="connsiteX10310" fmla="*/ 978906 w 6884782"/>
              <a:gd name="connsiteY10310" fmla="*/ 4771208 h 5973007"/>
              <a:gd name="connsiteX10311" fmla="*/ 980455 w 6884782"/>
              <a:gd name="connsiteY10311" fmla="*/ 4769452 h 5973007"/>
              <a:gd name="connsiteX10312" fmla="*/ 985411 w 6884782"/>
              <a:gd name="connsiteY10312" fmla="*/ 4769349 h 5973007"/>
              <a:gd name="connsiteX10313" fmla="*/ 988509 w 6884782"/>
              <a:gd name="connsiteY10313" fmla="*/ 4763360 h 5973007"/>
              <a:gd name="connsiteX10314" fmla="*/ 990058 w 6884782"/>
              <a:gd name="connsiteY10314" fmla="*/ 4760366 h 5973007"/>
              <a:gd name="connsiteX10315" fmla="*/ 989129 w 6884782"/>
              <a:gd name="connsiteY10315" fmla="*/ 4761192 h 5973007"/>
              <a:gd name="connsiteX10316" fmla="*/ 976737 w 6884782"/>
              <a:gd name="connsiteY10316" fmla="*/ 4760056 h 5973007"/>
              <a:gd name="connsiteX10317" fmla="*/ 984792 w 6884782"/>
              <a:gd name="connsiteY10317" fmla="*/ 4756236 h 5973007"/>
              <a:gd name="connsiteX10318" fmla="*/ 991452 w 6884782"/>
              <a:gd name="connsiteY10318" fmla="*/ 4758714 h 5973007"/>
              <a:gd name="connsiteX10319" fmla="*/ 1862899 w 6884782"/>
              <a:gd name="connsiteY10319" fmla="*/ 4755616 h 5973007"/>
              <a:gd name="connsiteX10320" fmla="*/ 1863364 w 6884782"/>
              <a:gd name="connsiteY10320" fmla="*/ 4757991 h 5973007"/>
              <a:gd name="connsiteX10321" fmla="*/ 1865687 w 6884782"/>
              <a:gd name="connsiteY10321" fmla="*/ 4757371 h 5973007"/>
              <a:gd name="connsiteX10322" fmla="*/ 1874051 w 6884782"/>
              <a:gd name="connsiteY10322" fmla="*/ 4763670 h 5973007"/>
              <a:gd name="connsiteX10323" fmla="*/ 1873587 w 6884782"/>
              <a:gd name="connsiteY10323" fmla="*/ 4768833 h 5973007"/>
              <a:gd name="connsiteX10324" fmla="*/ 1871418 w 6884782"/>
              <a:gd name="connsiteY10324" fmla="*/ 4771621 h 5973007"/>
              <a:gd name="connsiteX10325" fmla="*/ 1871418 w 6884782"/>
              <a:gd name="connsiteY10325" fmla="*/ 4771724 h 5973007"/>
              <a:gd name="connsiteX10326" fmla="*/ 1871728 w 6884782"/>
              <a:gd name="connsiteY10326" fmla="*/ 4777403 h 5973007"/>
              <a:gd name="connsiteX10327" fmla="*/ 1869249 w 6884782"/>
              <a:gd name="connsiteY10327" fmla="*/ 4783805 h 5973007"/>
              <a:gd name="connsiteX10328" fmla="*/ 1867081 w 6884782"/>
              <a:gd name="connsiteY10328" fmla="*/ 4784734 h 5973007"/>
              <a:gd name="connsiteX10329" fmla="*/ 1868940 w 6884782"/>
              <a:gd name="connsiteY10329" fmla="*/ 4787109 h 5973007"/>
              <a:gd name="connsiteX10330" fmla="*/ 1869249 w 6884782"/>
              <a:gd name="connsiteY10330" fmla="*/ 4790620 h 5973007"/>
              <a:gd name="connsiteX10331" fmla="*/ 1866307 w 6884782"/>
              <a:gd name="connsiteY10331" fmla="*/ 4787935 h 5973007"/>
              <a:gd name="connsiteX10332" fmla="*/ 1865222 w 6884782"/>
              <a:gd name="connsiteY10332" fmla="*/ 4786386 h 5973007"/>
              <a:gd name="connsiteX10333" fmla="*/ 1865997 w 6884782"/>
              <a:gd name="connsiteY10333" fmla="*/ 4785147 h 5973007"/>
              <a:gd name="connsiteX10334" fmla="*/ 1865687 w 6884782"/>
              <a:gd name="connsiteY10334" fmla="*/ 4785250 h 5973007"/>
              <a:gd name="connsiteX10335" fmla="*/ 1861350 w 6884782"/>
              <a:gd name="connsiteY10335" fmla="*/ 4785044 h 5973007"/>
              <a:gd name="connsiteX10336" fmla="*/ 1861350 w 6884782"/>
              <a:gd name="connsiteY10336" fmla="*/ 4785147 h 5973007"/>
              <a:gd name="connsiteX10337" fmla="*/ 1860111 w 6884782"/>
              <a:gd name="connsiteY10337" fmla="*/ 4785354 h 5973007"/>
              <a:gd name="connsiteX10338" fmla="*/ 1860111 w 6884782"/>
              <a:gd name="connsiteY10338" fmla="*/ 4785044 h 5973007"/>
              <a:gd name="connsiteX10339" fmla="*/ 1860266 w 6884782"/>
              <a:gd name="connsiteY10339" fmla="*/ 4784941 h 5973007"/>
              <a:gd name="connsiteX10340" fmla="*/ 1860576 w 6884782"/>
              <a:gd name="connsiteY10340" fmla="*/ 4783599 h 5973007"/>
              <a:gd name="connsiteX10341" fmla="*/ 1861040 w 6884782"/>
              <a:gd name="connsiteY10341" fmla="*/ 4783185 h 5973007"/>
              <a:gd name="connsiteX10342" fmla="*/ 1861814 w 6884782"/>
              <a:gd name="connsiteY10342" fmla="*/ 4781120 h 5973007"/>
              <a:gd name="connsiteX10343" fmla="*/ 1861814 w 6884782"/>
              <a:gd name="connsiteY10343" fmla="*/ 4780088 h 5973007"/>
              <a:gd name="connsiteX10344" fmla="*/ 1863364 w 6884782"/>
              <a:gd name="connsiteY10344" fmla="*/ 4777300 h 5973007"/>
              <a:gd name="connsiteX10345" fmla="*/ 1864293 w 6884782"/>
              <a:gd name="connsiteY10345" fmla="*/ 4772963 h 5973007"/>
              <a:gd name="connsiteX10346" fmla="*/ 1862744 w 6884782"/>
              <a:gd name="connsiteY10346" fmla="*/ 4772963 h 5973007"/>
              <a:gd name="connsiteX10347" fmla="*/ 1860266 w 6884782"/>
              <a:gd name="connsiteY10347" fmla="*/ 4771414 h 5973007"/>
              <a:gd name="connsiteX10348" fmla="*/ 1859181 w 6884782"/>
              <a:gd name="connsiteY10348" fmla="*/ 4769555 h 5973007"/>
              <a:gd name="connsiteX10349" fmla="*/ 1859181 w 6884782"/>
              <a:gd name="connsiteY10349" fmla="*/ 4771208 h 5973007"/>
              <a:gd name="connsiteX10350" fmla="*/ 1855774 w 6884782"/>
              <a:gd name="connsiteY10350" fmla="*/ 4769865 h 5973007"/>
              <a:gd name="connsiteX10351" fmla="*/ 1855154 w 6884782"/>
              <a:gd name="connsiteY10351" fmla="*/ 4767077 h 5973007"/>
              <a:gd name="connsiteX10352" fmla="*/ 1855928 w 6884782"/>
              <a:gd name="connsiteY10352" fmla="*/ 4767181 h 5973007"/>
              <a:gd name="connsiteX10353" fmla="*/ 1858717 w 6884782"/>
              <a:gd name="connsiteY10353" fmla="*/ 4766974 h 5973007"/>
              <a:gd name="connsiteX10354" fmla="*/ 1858562 w 6884782"/>
              <a:gd name="connsiteY10354" fmla="*/ 4763980 h 5973007"/>
              <a:gd name="connsiteX10355" fmla="*/ 1859026 w 6884782"/>
              <a:gd name="connsiteY10355" fmla="*/ 4762534 h 5973007"/>
              <a:gd name="connsiteX10356" fmla="*/ 1858717 w 6884782"/>
              <a:gd name="connsiteY10356" fmla="*/ 4761088 h 5973007"/>
              <a:gd name="connsiteX10357" fmla="*/ 1853296 w 6884782"/>
              <a:gd name="connsiteY10357" fmla="*/ 4762534 h 5973007"/>
              <a:gd name="connsiteX10358" fmla="*/ 1847409 w 6884782"/>
              <a:gd name="connsiteY10358" fmla="*/ 4763153 h 5973007"/>
              <a:gd name="connsiteX10359" fmla="*/ 1847100 w 6884782"/>
              <a:gd name="connsiteY10359" fmla="*/ 4763050 h 5973007"/>
              <a:gd name="connsiteX10360" fmla="*/ 1846945 w 6884782"/>
              <a:gd name="connsiteY10360" fmla="*/ 4763360 h 5973007"/>
              <a:gd name="connsiteX10361" fmla="*/ 1846635 w 6884782"/>
              <a:gd name="connsiteY10361" fmla="*/ 4763050 h 5973007"/>
              <a:gd name="connsiteX10362" fmla="*/ 1845086 w 6884782"/>
              <a:gd name="connsiteY10362" fmla="*/ 4762431 h 5973007"/>
              <a:gd name="connsiteX10363" fmla="*/ 1847254 w 6884782"/>
              <a:gd name="connsiteY10363" fmla="*/ 4760572 h 5973007"/>
              <a:gd name="connsiteX10364" fmla="*/ 1848493 w 6884782"/>
              <a:gd name="connsiteY10364" fmla="*/ 4760263 h 5973007"/>
              <a:gd name="connsiteX10365" fmla="*/ 1848958 w 6884782"/>
              <a:gd name="connsiteY10365" fmla="*/ 4759437 h 5973007"/>
              <a:gd name="connsiteX10366" fmla="*/ 1849578 w 6884782"/>
              <a:gd name="connsiteY10366" fmla="*/ 4759953 h 5973007"/>
              <a:gd name="connsiteX10367" fmla="*/ 1851901 w 6884782"/>
              <a:gd name="connsiteY10367" fmla="*/ 4759230 h 5973007"/>
              <a:gd name="connsiteX10368" fmla="*/ 1856858 w 6884782"/>
              <a:gd name="connsiteY10368" fmla="*/ 4755926 h 5973007"/>
              <a:gd name="connsiteX10369" fmla="*/ 1862899 w 6884782"/>
              <a:gd name="connsiteY10369" fmla="*/ 4755616 h 5973007"/>
              <a:gd name="connsiteX10370" fmla="*/ 1720240 w 6884782"/>
              <a:gd name="connsiteY10370" fmla="*/ 4755409 h 5973007"/>
              <a:gd name="connsiteX10371" fmla="*/ 1724576 w 6884782"/>
              <a:gd name="connsiteY10371" fmla="*/ 4761708 h 5973007"/>
              <a:gd name="connsiteX10372" fmla="*/ 1720859 w 6884782"/>
              <a:gd name="connsiteY10372" fmla="*/ 4763980 h 5973007"/>
              <a:gd name="connsiteX10373" fmla="*/ 1716987 w 6884782"/>
              <a:gd name="connsiteY10373" fmla="*/ 4760882 h 5973007"/>
              <a:gd name="connsiteX10374" fmla="*/ 1714818 w 6884782"/>
              <a:gd name="connsiteY10374" fmla="*/ 4755926 h 5973007"/>
              <a:gd name="connsiteX10375" fmla="*/ 1720240 w 6884782"/>
              <a:gd name="connsiteY10375" fmla="*/ 4755409 h 5973007"/>
              <a:gd name="connsiteX10376" fmla="*/ 1488204 w 6884782"/>
              <a:gd name="connsiteY10376" fmla="*/ 4755100 h 5973007"/>
              <a:gd name="connsiteX10377" fmla="*/ 1489134 w 6884782"/>
              <a:gd name="connsiteY10377" fmla="*/ 4761295 h 5973007"/>
              <a:gd name="connsiteX10378" fmla="*/ 1489909 w 6884782"/>
              <a:gd name="connsiteY10378" fmla="*/ 4762224 h 5973007"/>
              <a:gd name="connsiteX10379" fmla="*/ 1490064 w 6884782"/>
              <a:gd name="connsiteY10379" fmla="*/ 4762224 h 5973007"/>
              <a:gd name="connsiteX10380" fmla="*/ 1490218 w 6884782"/>
              <a:gd name="connsiteY10380" fmla="*/ 4762638 h 5973007"/>
              <a:gd name="connsiteX10381" fmla="*/ 1490993 w 6884782"/>
              <a:gd name="connsiteY10381" fmla="*/ 4763360 h 5973007"/>
              <a:gd name="connsiteX10382" fmla="*/ 1490993 w 6884782"/>
              <a:gd name="connsiteY10382" fmla="*/ 4763773 h 5973007"/>
              <a:gd name="connsiteX10383" fmla="*/ 1492387 w 6884782"/>
              <a:gd name="connsiteY10383" fmla="*/ 4765529 h 5973007"/>
              <a:gd name="connsiteX10384" fmla="*/ 1495330 w 6884782"/>
              <a:gd name="connsiteY10384" fmla="*/ 4768626 h 5973007"/>
              <a:gd name="connsiteX10385" fmla="*/ 1491922 w 6884782"/>
              <a:gd name="connsiteY10385" fmla="*/ 4770691 h 5973007"/>
              <a:gd name="connsiteX10386" fmla="*/ 1489289 w 6884782"/>
              <a:gd name="connsiteY10386" fmla="*/ 4768833 h 5973007"/>
              <a:gd name="connsiteX10387" fmla="*/ 1488360 w 6884782"/>
              <a:gd name="connsiteY10387" fmla="*/ 4768833 h 5973007"/>
              <a:gd name="connsiteX10388" fmla="*/ 1486501 w 6884782"/>
              <a:gd name="connsiteY10388" fmla="*/ 4766768 h 5973007"/>
              <a:gd name="connsiteX10389" fmla="*/ 1486501 w 6884782"/>
              <a:gd name="connsiteY10389" fmla="*/ 4765632 h 5973007"/>
              <a:gd name="connsiteX10390" fmla="*/ 1484642 w 6884782"/>
              <a:gd name="connsiteY10390" fmla="*/ 4762534 h 5973007"/>
              <a:gd name="connsiteX10391" fmla="*/ 1486191 w 6884782"/>
              <a:gd name="connsiteY10391" fmla="*/ 4762534 h 5973007"/>
              <a:gd name="connsiteX10392" fmla="*/ 1487895 w 6884782"/>
              <a:gd name="connsiteY10392" fmla="*/ 4759746 h 5973007"/>
              <a:gd name="connsiteX10393" fmla="*/ 1488204 w 6884782"/>
              <a:gd name="connsiteY10393" fmla="*/ 4755100 h 5973007"/>
              <a:gd name="connsiteX10394" fmla="*/ 6227402 w 6884782"/>
              <a:gd name="connsiteY10394" fmla="*/ 4755014 h 5973007"/>
              <a:gd name="connsiteX10395" fmla="*/ 6230190 w 6884782"/>
              <a:gd name="connsiteY10395" fmla="*/ 4758835 h 5973007"/>
              <a:gd name="connsiteX10396" fmla="*/ 6229106 w 6884782"/>
              <a:gd name="connsiteY10396" fmla="*/ 4762242 h 5973007"/>
              <a:gd name="connsiteX10397" fmla="*/ 6229726 w 6884782"/>
              <a:gd name="connsiteY10397" fmla="*/ 4762139 h 5973007"/>
              <a:gd name="connsiteX10398" fmla="*/ 6229571 w 6884782"/>
              <a:gd name="connsiteY10398" fmla="*/ 4762759 h 5973007"/>
              <a:gd name="connsiteX10399" fmla="*/ 6232824 w 6884782"/>
              <a:gd name="connsiteY10399" fmla="*/ 4763791 h 5973007"/>
              <a:gd name="connsiteX10400" fmla="*/ 6230345 w 6884782"/>
              <a:gd name="connsiteY10400" fmla="*/ 4767611 h 5973007"/>
              <a:gd name="connsiteX10401" fmla="*/ 6228022 w 6884782"/>
              <a:gd name="connsiteY10401" fmla="*/ 4765030 h 5973007"/>
              <a:gd name="connsiteX10402" fmla="*/ 6228486 w 6884782"/>
              <a:gd name="connsiteY10402" fmla="*/ 4763688 h 5973007"/>
              <a:gd name="connsiteX10403" fmla="*/ 6228796 w 6884782"/>
              <a:gd name="connsiteY10403" fmla="*/ 4762345 h 5973007"/>
              <a:gd name="connsiteX10404" fmla="*/ 6227402 w 6884782"/>
              <a:gd name="connsiteY10404" fmla="*/ 4761623 h 5973007"/>
              <a:gd name="connsiteX10405" fmla="*/ 6223375 w 6884782"/>
              <a:gd name="connsiteY10405" fmla="*/ 4759351 h 5973007"/>
              <a:gd name="connsiteX10406" fmla="*/ 6227402 w 6884782"/>
              <a:gd name="connsiteY10406" fmla="*/ 4755014 h 5973007"/>
              <a:gd name="connsiteX10407" fmla="*/ 1422683 w 6884782"/>
              <a:gd name="connsiteY10407" fmla="*/ 4754893 h 5973007"/>
              <a:gd name="connsiteX10408" fmla="*/ 1422219 w 6884782"/>
              <a:gd name="connsiteY10408" fmla="*/ 4762534 h 5973007"/>
              <a:gd name="connsiteX10409" fmla="*/ 1419586 w 6884782"/>
              <a:gd name="connsiteY10409" fmla="*/ 4763050 h 5973007"/>
              <a:gd name="connsiteX10410" fmla="*/ 1416953 w 6884782"/>
              <a:gd name="connsiteY10410" fmla="*/ 4757165 h 5973007"/>
              <a:gd name="connsiteX10411" fmla="*/ 1418502 w 6884782"/>
              <a:gd name="connsiteY10411" fmla="*/ 4755100 h 5973007"/>
              <a:gd name="connsiteX10412" fmla="*/ 1422683 w 6884782"/>
              <a:gd name="connsiteY10412" fmla="*/ 4754893 h 5973007"/>
              <a:gd name="connsiteX10413" fmla="*/ 866761 w 6884782"/>
              <a:gd name="connsiteY10413" fmla="*/ 4754686 h 5973007"/>
              <a:gd name="connsiteX10414" fmla="*/ 874506 w 6884782"/>
              <a:gd name="connsiteY10414" fmla="*/ 4760056 h 5973007"/>
              <a:gd name="connsiteX10415" fmla="*/ 868620 w 6884782"/>
              <a:gd name="connsiteY10415" fmla="*/ 4766251 h 5973007"/>
              <a:gd name="connsiteX10416" fmla="*/ 862888 w 6884782"/>
              <a:gd name="connsiteY10416" fmla="*/ 4763464 h 5973007"/>
              <a:gd name="connsiteX10417" fmla="*/ 866761 w 6884782"/>
              <a:gd name="connsiteY10417" fmla="*/ 4754686 h 5973007"/>
              <a:gd name="connsiteX10418" fmla="*/ 1500751 w 6884782"/>
              <a:gd name="connsiteY10418" fmla="*/ 4754583 h 5973007"/>
              <a:gd name="connsiteX10419" fmla="*/ 1509271 w 6884782"/>
              <a:gd name="connsiteY10419" fmla="*/ 4761295 h 5973007"/>
              <a:gd name="connsiteX10420" fmla="*/ 1509581 w 6884782"/>
              <a:gd name="connsiteY10420" fmla="*/ 4763050 h 5973007"/>
              <a:gd name="connsiteX10421" fmla="*/ 1507876 w 6884782"/>
              <a:gd name="connsiteY10421" fmla="*/ 4764393 h 5973007"/>
              <a:gd name="connsiteX10422" fmla="*/ 1506018 w 6884782"/>
              <a:gd name="connsiteY10422" fmla="*/ 4764703 h 5973007"/>
              <a:gd name="connsiteX10423" fmla="*/ 1504004 w 6884782"/>
              <a:gd name="connsiteY10423" fmla="*/ 4762121 h 5973007"/>
              <a:gd name="connsiteX10424" fmla="*/ 1502300 w 6884782"/>
              <a:gd name="connsiteY10424" fmla="*/ 4757371 h 5973007"/>
              <a:gd name="connsiteX10425" fmla="*/ 1500441 w 6884782"/>
              <a:gd name="connsiteY10425" fmla="*/ 4755306 h 5973007"/>
              <a:gd name="connsiteX10426" fmla="*/ 1500751 w 6884782"/>
              <a:gd name="connsiteY10426" fmla="*/ 4754583 h 5973007"/>
              <a:gd name="connsiteX10427" fmla="*/ 1142011 w 6884782"/>
              <a:gd name="connsiteY10427" fmla="*/ 4753757 h 5973007"/>
              <a:gd name="connsiteX10428" fmla="*/ 1143560 w 6884782"/>
              <a:gd name="connsiteY10428" fmla="*/ 4757371 h 5973007"/>
              <a:gd name="connsiteX10429" fmla="*/ 1143716 w 6884782"/>
              <a:gd name="connsiteY10429" fmla="*/ 4756855 h 5973007"/>
              <a:gd name="connsiteX10430" fmla="*/ 1144799 w 6884782"/>
              <a:gd name="connsiteY10430" fmla="*/ 4780191 h 5973007"/>
              <a:gd name="connsiteX10431" fmla="*/ 1140463 w 6884782"/>
              <a:gd name="connsiteY10431" fmla="*/ 4767387 h 5973007"/>
              <a:gd name="connsiteX10432" fmla="*/ 1140927 w 6884782"/>
              <a:gd name="connsiteY10432" fmla="*/ 4763257 h 5973007"/>
              <a:gd name="connsiteX10433" fmla="*/ 1137984 w 6884782"/>
              <a:gd name="connsiteY10433" fmla="*/ 4762328 h 5973007"/>
              <a:gd name="connsiteX10434" fmla="*/ 1132408 w 6884782"/>
              <a:gd name="connsiteY10434" fmla="*/ 4759333 h 5973007"/>
              <a:gd name="connsiteX10435" fmla="*/ 1142011 w 6884782"/>
              <a:gd name="connsiteY10435" fmla="*/ 4753757 h 5973007"/>
              <a:gd name="connsiteX10436" fmla="*/ 758023 w 6884782"/>
              <a:gd name="connsiteY10436" fmla="*/ 4753551 h 5973007"/>
              <a:gd name="connsiteX10437" fmla="*/ 758643 w 6884782"/>
              <a:gd name="connsiteY10437" fmla="*/ 4754067 h 5973007"/>
              <a:gd name="connsiteX10438" fmla="*/ 758953 w 6884782"/>
              <a:gd name="connsiteY10438" fmla="*/ 4753757 h 5973007"/>
              <a:gd name="connsiteX10439" fmla="*/ 761896 w 6884782"/>
              <a:gd name="connsiteY10439" fmla="*/ 4753861 h 5973007"/>
              <a:gd name="connsiteX10440" fmla="*/ 765923 w 6884782"/>
              <a:gd name="connsiteY10440" fmla="*/ 4753551 h 5973007"/>
              <a:gd name="connsiteX10441" fmla="*/ 779709 w 6884782"/>
              <a:gd name="connsiteY10441" fmla="*/ 4756339 h 5973007"/>
              <a:gd name="connsiteX10442" fmla="*/ 774133 w 6884782"/>
              <a:gd name="connsiteY10442" fmla="*/ 4757681 h 5973007"/>
              <a:gd name="connsiteX10443" fmla="*/ 766698 w 6884782"/>
              <a:gd name="connsiteY10443" fmla="*/ 4757578 h 5973007"/>
              <a:gd name="connsiteX10444" fmla="*/ 761276 w 6884782"/>
              <a:gd name="connsiteY10444" fmla="*/ 4758301 h 5973007"/>
              <a:gd name="connsiteX10445" fmla="*/ 760347 w 6884782"/>
              <a:gd name="connsiteY10445" fmla="*/ 4759953 h 5973007"/>
              <a:gd name="connsiteX10446" fmla="*/ 758643 w 6884782"/>
              <a:gd name="connsiteY10446" fmla="*/ 4761502 h 5973007"/>
              <a:gd name="connsiteX10447" fmla="*/ 757094 w 6884782"/>
              <a:gd name="connsiteY10447" fmla="*/ 4761708 h 5973007"/>
              <a:gd name="connsiteX10448" fmla="*/ 756010 w 6884782"/>
              <a:gd name="connsiteY10448" fmla="*/ 4760779 h 5973007"/>
              <a:gd name="connsiteX10449" fmla="*/ 758023 w 6884782"/>
              <a:gd name="connsiteY10449" fmla="*/ 4753551 h 5973007"/>
              <a:gd name="connsiteX10450" fmla="*/ 1822006 w 6884782"/>
              <a:gd name="connsiteY10450" fmla="*/ 4753035 h 5973007"/>
              <a:gd name="connsiteX10451" fmla="*/ 1816895 w 6884782"/>
              <a:gd name="connsiteY10451" fmla="*/ 4757475 h 5973007"/>
              <a:gd name="connsiteX10452" fmla="*/ 1815501 w 6884782"/>
              <a:gd name="connsiteY10452" fmla="*/ 4757165 h 5973007"/>
              <a:gd name="connsiteX10453" fmla="*/ 1822006 w 6884782"/>
              <a:gd name="connsiteY10453" fmla="*/ 4753035 h 5973007"/>
              <a:gd name="connsiteX10454" fmla="*/ 1850662 w 6884782"/>
              <a:gd name="connsiteY10454" fmla="*/ 4752002 h 5973007"/>
              <a:gd name="connsiteX10455" fmla="*/ 1847719 w 6884782"/>
              <a:gd name="connsiteY10455" fmla="*/ 4756339 h 5973007"/>
              <a:gd name="connsiteX10456" fmla="*/ 1848029 w 6884782"/>
              <a:gd name="connsiteY10456" fmla="*/ 4752828 h 5973007"/>
              <a:gd name="connsiteX10457" fmla="*/ 1850662 w 6884782"/>
              <a:gd name="connsiteY10457" fmla="*/ 4752002 h 5973007"/>
              <a:gd name="connsiteX10458" fmla="*/ 1432345 w 6884782"/>
              <a:gd name="connsiteY10458" fmla="*/ 4751950 h 5973007"/>
              <a:gd name="connsiteX10459" fmla="*/ 1437399 w 6884782"/>
              <a:gd name="connsiteY10459" fmla="*/ 4758507 h 5973007"/>
              <a:gd name="connsiteX10460" fmla="*/ 1431048 w 6884782"/>
              <a:gd name="connsiteY10460" fmla="*/ 4761295 h 5973007"/>
              <a:gd name="connsiteX10461" fmla="*/ 1425317 w 6884782"/>
              <a:gd name="connsiteY10461" fmla="*/ 4757991 h 5973007"/>
              <a:gd name="connsiteX10462" fmla="*/ 1424388 w 6884782"/>
              <a:gd name="connsiteY10462" fmla="*/ 4753757 h 5973007"/>
              <a:gd name="connsiteX10463" fmla="*/ 1432345 w 6884782"/>
              <a:gd name="connsiteY10463" fmla="*/ 4751950 h 5973007"/>
              <a:gd name="connsiteX10464" fmla="*/ 6077927 w 6884782"/>
              <a:gd name="connsiteY10464" fmla="*/ 4751916 h 5973007"/>
              <a:gd name="connsiteX10465" fmla="*/ 6077772 w 6884782"/>
              <a:gd name="connsiteY10465" fmla="*/ 4757079 h 5973007"/>
              <a:gd name="connsiteX10466" fmla="*/ 6075604 w 6884782"/>
              <a:gd name="connsiteY10466" fmla="*/ 4758835 h 5973007"/>
              <a:gd name="connsiteX10467" fmla="*/ 6072816 w 6884782"/>
              <a:gd name="connsiteY10467" fmla="*/ 4757389 h 5973007"/>
              <a:gd name="connsiteX10468" fmla="*/ 6071422 w 6884782"/>
              <a:gd name="connsiteY10468" fmla="*/ 4753982 h 5973007"/>
              <a:gd name="connsiteX10469" fmla="*/ 6077927 w 6884782"/>
              <a:gd name="connsiteY10469" fmla="*/ 4751916 h 5973007"/>
              <a:gd name="connsiteX10470" fmla="*/ 1344984 w 6884782"/>
              <a:gd name="connsiteY10470" fmla="*/ 4751408 h 5973007"/>
              <a:gd name="connsiteX10471" fmla="*/ 1345391 w 6884782"/>
              <a:gd name="connsiteY10471" fmla="*/ 4756855 h 5973007"/>
              <a:gd name="connsiteX10472" fmla="*/ 1341208 w 6884782"/>
              <a:gd name="connsiteY10472" fmla="*/ 4753241 h 5973007"/>
              <a:gd name="connsiteX10473" fmla="*/ 1344984 w 6884782"/>
              <a:gd name="connsiteY10473" fmla="*/ 4751408 h 5973007"/>
              <a:gd name="connsiteX10474" fmla="*/ 6299429 w 6884782"/>
              <a:gd name="connsiteY10474" fmla="*/ 4750781 h 5973007"/>
              <a:gd name="connsiteX10475" fmla="*/ 6297261 w 6884782"/>
              <a:gd name="connsiteY10475" fmla="*/ 4760694 h 5973007"/>
              <a:gd name="connsiteX10476" fmla="*/ 6291684 w 6884782"/>
              <a:gd name="connsiteY10476" fmla="*/ 4757596 h 5973007"/>
              <a:gd name="connsiteX10477" fmla="*/ 6299429 w 6884782"/>
              <a:gd name="connsiteY10477" fmla="*/ 4750781 h 5973007"/>
              <a:gd name="connsiteX10478" fmla="*/ 1153474 w 6884782"/>
              <a:gd name="connsiteY10478" fmla="*/ 4750763 h 5973007"/>
              <a:gd name="connsiteX10479" fmla="*/ 1155487 w 6884782"/>
              <a:gd name="connsiteY10479" fmla="*/ 4753654 h 5973007"/>
              <a:gd name="connsiteX10480" fmla="*/ 1147743 w 6884782"/>
              <a:gd name="connsiteY10480" fmla="*/ 4765322 h 5973007"/>
              <a:gd name="connsiteX10481" fmla="*/ 1153474 w 6884782"/>
              <a:gd name="connsiteY10481" fmla="*/ 4750763 h 5973007"/>
              <a:gd name="connsiteX10482" fmla="*/ 6346208 w 6884782"/>
              <a:gd name="connsiteY10482" fmla="*/ 4750265 h 5973007"/>
              <a:gd name="connsiteX10483" fmla="*/ 6353488 w 6884782"/>
              <a:gd name="connsiteY10483" fmla="*/ 4752227 h 5973007"/>
              <a:gd name="connsiteX10484" fmla="*/ 6352249 w 6884782"/>
              <a:gd name="connsiteY10484" fmla="*/ 4756563 h 5973007"/>
              <a:gd name="connsiteX10485" fmla="*/ 6340012 w 6884782"/>
              <a:gd name="connsiteY10485" fmla="*/ 4760900 h 5973007"/>
              <a:gd name="connsiteX10486" fmla="*/ 6341716 w 6884782"/>
              <a:gd name="connsiteY10486" fmla="*/ 4752846 h 5973007"/>
              <a:gd name="connsiteX10487" fmla="*/ 6346208 w 6884782"/>
              <a:gd name="connsiteY10487" fmla="*/ 4750265 h 5973007"/>
              <a:gd name="connsiteX10488" fmla="*/ 1672687 w 6884782"/>
              <a:gd name="connsiteY10488" fmla="*/ 4750247 h 5973007"/>
              <a:gd name="connsiteX10489" fmla="*/ 1679501 w 6884782"/>
              <a:gd name="connsiteY10489" fmla="*/ 4760676 h 5973007"/>
              <a:gd name="connsiteX10490" fmla="*/ 1674855 w 6884782"/>
              <a:gd name="connsiteY10490" fmla="*/ 4761088 h 5973007"/>
              <a:gd name="connsiteX10491" fmla="*/ 1671602 w 6884782"/>
              <a:gd name="connsiteY10491" fmla="*/ 4759023 h 5973007"/>
              <a:gd name="connsiteX10492" fmla="*/ 1672687 w 6884782"/>
              <a:gd name="connsiteY10492" fmla="*/ 4750247 h 5973007"/>
              <a:gd name="connsiteX10493" fmla="*/ 975034 w 6884782"/>
              <a:gd name="connsiteY10493" fmla="*/ 4749730 h 5973007"/>
              <a:gd name="connsiteX10494" fmla="*/ 974569 w 6884782"/>
              <a:gd name="connsiteY10494" fmla="*/ 4750453 h 5973007"/>
              <a:gd name="connsiteX10495" fmla="*/ 975962 w 6884782"/>
              <a:gd name="connsiteY10495" fmla="*/ 4751382 h 5973007"/>
              <a:gd name="connsiteX10496" fmla="*/ 976427 w 6884782"/>
              <a:gd name="connsiteY10496" fmla="*/ 4750660 h 5973007"/>
              <a:gd name="connsiteX10497" fmla="*/ 977357 w 6884782"/>
              <a:gd name="connsiteY10497" fmla="*/ 4752209 h 5973007"/>
              <a:gd name="connsiteX10498" fmla="*/ 975962 w 6884782"/>
              <a:gd name="connsiteY10498" fmla="*/ 4758920 h 5973007"/>
              <a:gd name="connsiteX10499" fmla="*/ 972400 w 6884782"/>
              <a:gd name="connsiteY10499" fmla="*/ 4756752 h 5973007"/>
              <a:gd name="connsiteX10500" fmla="*/ 972400 w 6884782"/>
              <a:gd name="connsiteY10500" fmla="*/ 4753138 h 5973007"/>
              <a:gd name="connsiteX10501" fmla="*/ 975034 w 6884782"/>
              <a:gd name="connsiteY10501" fmla="*/ 4749730 h 5973007"/>
              <a:gd name="connsiteX10502" fmla="*/ 1593689 w 6884782"/>
              <a:gd name="connsiteY10502" fmla="*/ 4748595 h 5973007"/>
              <a:gd name="connsiteX10503" fmla="*/ 1597407 w 6884782"/>
              <a:gd name="connsiteY10503" fmla="*/ 4748801 h 5973007"/>
              <a:gd name="connsiteX10504" fmla="*/ 1598801 w 6884782"/>
              <a:gd name="connsiteY10504" fmla="*/ 4749627 h 5973007"/>
              <a:gd name="connsiteX10505" fmla="*/ 1598646 w 6884782"/>
              <a:gd name="connsiteY10505" fmla="*/ 4754274 h 5973007"/>
              <a:gd name="connsiteX10506" fmla="*/ 1596942 w 6884782"/>
              <a:gd name="connsiteY10506" fmla="*/ 4756132 h 5973007"/>
              <a:gd name="connsiteX10507" fmla="*/ 1599265 w 6884782"/>
              <a:gd name="connsiteY10507" fmla="*/ 4757578 h 5973007"/>
              <a:gd name="connsiteX10508" fmla="*/ 1610263 w 6884782"/>
              <a:gd name="connsiteY10508" fmla="*/ 4767284 h 5973007"/>
              <a:gd name="connsiteX10509" fmla="*/ 1604996 w 6884782"/>
              <a:gd name="connsiteY10509" fmla="*/ 4767284 h 5973007"/>
              <a:gd name="connsiteX10510" fmla="*/ 1605462 w 6884782"/>
              <a:gd name="connsiteY10510" fmla="*/ 4770175 h 5973007"/>
              <a:gd name="connsiteX10511" fmla="*/ 1604377 w 6884782"/>
              <a:gd name="connsiteY10511" fmla="*/ 4771931 h 5973007"/>
              <a:gd name="connsiteX10512" fmla="*/ 1601124 w 6884782"/>
              <a:gd name="connsiteY10512" fmla="*/ 4775028 h 5973007"/>
              <a:gd name="connsiteX10513" fmla="*/ 1598491 w 6884782"/>
              <a:gd name="connsiteY10513" fmla="*/ 4773479 h 5973007"/>
              <a:gd name="connsiteX10514" fmla="*/ 1598336 w 6884782"/>
              <a:gd name="connsiteY10514" fmla="*/ 4769659 h 5973007"/>
              <a:gd name="connsiteX10515" fmla="*/ 1600040 w 6884782"/>
              <a:gd name="connsiteY10515" fmla="*/ 4766251 h 5973007"/>
              <a:gd name="connsiteX10516" fmla="*/ 1600350 w 6884782"/>
              <a:gd name="connsiteY10516" fmla="*/ 4765942 h 5973007"/>
              <a:gd name="connsiteX10517" fmla="*/ 1597252 w 6884782"/>
              <a:gd name="connsiteY10517" fmla="*/ 4764599 h 5973007"/>
              <a:gd name="connsiteX10518" fmla="*/ 1592915 w 6884782"/>
              <a:gd name="connsiteY10518" fmla="*/ 4761088 h 5973007"/>
              <a:gd name="connsiteX10519" fmla="*/ 1593069 w 6884782"/>
              <a:gd name="connsiteY10519" fmla="*/ 4761295 h 5973007"/>
              <a:gd name="connsiteX10520" fmla="*/ 1590746 w 6884782"/>
              <a:gd name="connsiteY10520" fmla="*/ 4765425 h 5973007"/>
              <a:gd name="connsiteX10521" fmla="*/ 1587649 w 6884782"/>
              <a:gd name="connsiteY10521" fmla="*/ 4762534 h 5973007"/>
              <a:gd name="connsiteX10522" fmla="*/ 1590282 w 6884782"/>
              <a:gd name="connsiteY10522" fmla="*/ 4760263 h 5973007"/>
              <a:gd name="connsiteX10523" fmla="*/ 1591675 w 6884782"/>
              <a:gd name="connsiteY10523" fmla="*/ 4760056 h 5973007"/>
              <a:gd name="connsiteX10524" fmla="*/ 1588268 w 6884782"/>
              <a:gd name="connsiteY10524" fmla="*/ 4755100 h 5973007"/>
              <a:gd name="connsiteX10525" fmla="*/ 1587958 w 6884782"/>
              <a:gd name="connsiteY10525" fmla="*/ 4749834 h 5973007"/>
              <a:gd name="connsiteX10526" fmla="*/ 1590282 w 6884782"/>
              <a:gd name="connsiteY10526" fmla="*/ 4751692 h 5973007"/>
              <a:gd name="connsiteX10527" fmla="*/ 865987 w 6884782"/>
              <a:gd name="connsiteY10527" fmla="*/ 4748595 h 5973007"/>
              <a:gd name="connsiteX10528" fmla="*/ 868000 w 6884782"/>
              <a:gd name="connsiteY10528" fmla="*/ 4750247 h 5973007"/>
              <a:gd name="connsiteX10529" fmla="*/ 868155 w 6884782"/>
              <a:gd name="connsiteY10529" fmla="*/ 4751176 h 5973007"/>
              <a:gd name="connsiteX10530" fmla="*/ 866451 w 6884782"/>
              <a:gd name="connsiteY10530" fmla="*/ 4751899 h 5973007"/>
              <a:gd name="connsiteX10531" fmla="*/ 861494 w 6884782"/>
              <a:gd name="connsiteY10531" fmla="*/ 4752002 h 5973007"/>
              <a:gd name="connsiteX10532" fmla="*/ 858241 w 6884782"/>
              <a:gd name="connsiteY10532" fmla="*/ 4751692 h 5973007"/>
              <a:gd name="connsiteX10533" fmla="*/ 856538 w 6884782"/>
              <a:gd name="connsiteY10533" fmla="*/ 4751796 h 5973007"/>
              <a:gd name="connsiteX10534" fmla="*/ 854679 w 6884782"/>
              <a:gd name="connsiteY10534" fmla="*/ 4750143 h 5973007"/>
              <a:gd name="connsiteX10535" fmla="*/ 861959 w 6884782"/>
              <a:gd name="connsiteY10535" fmla="*/ 4748904 h 5973007"/>
              <a:gd name="connsiteX10536" fmla="*/ 865987 w 6884782"/>
              <a:gd name="connsiteY10536" fmla="*/ 4748595 h 5973007"/>
              <a:gd name="connsiteX10537" fmla="*/ 1778016 w 6884782"/>
              <a:gd name="connsiteY10537" fmla="*/ 4748181 h 5973007"/>
              <a:gd name="connsiteX10538" fmla="*/ 1776777 w 6884782"/>
              <a:gd name="connsiteY10538" fmla="*/ 4749214 h 5973007"/>
              <a:gd name="connsiteX10539" fmla="*/ 1777706 w 6884782"/>
              <a:gd name="connsiteY10539" fmla="*/ 4749008 h 5973007"/>
              <a:gd name="connsiteX10540" fmla="*/ 6058411 w 6884782"/>
              <a:gd name="connsiteY10540" fmla="*/ 4748096 h 5973007"/>
              <a:gd name="connsiteX10541" fmla="*/ 6059030 w 6884782"/>
              <a:gd name="connsiteY10541" fmla="*/ 4749851 h 5973007"/>
              <a:gd name="connsiteX10542" fmla="*/ 6057946 w 6884782"/>
              <a:gd name="connsiteY10542" fmla="*/ 4752536 h 5973007"/>
              <a:gd name="connsiteX10543" fmla="*/ 6054383 w 6884782"/>
              <a:gd name="connsiteY10543" fmla="*/ 4753362 h 5973007"/>
              <a:gd name="connsiteX10544" fmla="*/ 6053764 w 6884782"/>
              <a:gd name="connsiteY10544" fmla="*/ 4751607 h 5973007"/>
              <a:gd name="connsiteX10545" fmla="*/ 6053918 w 6884782"/>
              <a:gd name="connsiteY10545" fmla="*/ 4748922 h 5973007"/>
              <a:gd name="connsiteX10546" fmla="*/ 6058411 w 6884782"/>
              <a:gd name="connsiteY10546" fmla="*/ 4748096 h 5973007"/>
              <a:gd name="connsiteX10547" fmla="*/ 817504 w 6884782"/>
              <a:gd name="connsiteY10547" fmla="*/ 4747872 h 5973007"/>
              <a:gd name="connsiteX10548" fmla="*/ 795664 w 6884782"/>
              <a:gd name="connsiteY10548" fmla="*/ 4762018 h 5973007"/>
              <a:gd name="connsiteX10549" fmla="*/ 817504 w 6884782"/>
              <a:gd name="connsiteY10549" fmla="*/ 4747872 h 5973007"/>
              <a:gd name="connsiteX10550" fmla="*/ 1638609 w 6884782"/>
              <a:gd name="connsiteY10550" fmla="*/ 4747355 h 5973007"/>
              <a:gd name="connsiteX10551" fmla="*/ 1641552 w 6884782"/>
              <a:gd name="connsiteY10551" fmla="*/ 4750247 h 5973007"/>
              <a:gd name="connsiteX10552" fmla="*/ 1639384 w 6884782"/>
              <a:gd name="connsiteY10552" fmla="*/ 4758404 h 5973007"/>
              <a:gd name="connsiteX10553" fmla="*/ 1638299 w 6884782"/>
              <a:gd name="connsiteY10553" fmla="*/ 4757578 h 5973007"/>
              <a:gd name="connsiteX10554" fmla="*/ 1640932 w 6884782"/>
              <a:gd name="connsiteY10554" fmla="*/ 4762328 h 5973007"/>
              <a:gd name="connsiteX10555" fmla="*/ 1636905 w 6884782"/>
              <a:gd name="connsiteY10555" fmla="*/ 4765115 h 5973007"/>
              <a:gd name="connsiteX10556" fmla="*/ 1637525 w 6884782"/>
              <a:gd name="connsiteY10556" fmla="*/ 4765838 h 5973007"/>
              <a:gd name="connsiteX10557" fmla="*/ 1636751 w 6884782"/>
              <a:gd name="connsiteY10557" fmla="*/ 4768523 h 5973007"/>
              <a:gd name="connsiteX10558" fmla="*/ 1634737 w 6884782"/>
              <a:gd name="connsiteY10558" fmla="*/ 4767077 h 5973007"/>
              <a:gd name="connsiteX10559" fmla="*/ 1634582 w 6884782"/>
              <a:gd name="connsiteY10559" fmla="*/ 4766665 h 5973007"/>
              <a:gd name="connsiteX10560" fmla="*/ 1624514 w 6884782"/>
              <a:gd name="connsiteY10560" fmla="*/ 4773582 h 5973007"/>
              <a:gd name="connsiteX10561" fmla="*/ 1624823 w 6884782"/>
              <a:gd name="connsiteY10561" fmla="*/ 4773996 h 5973007"/>
              <a:gd name="connsiteX10562" fmla="*/ 1618627 w 6884782"/>
              <a:gd name="connsiteY10562" fmla="*/ 4780501 h 5973007"/>
              <a:gd name="connsiteX10563" fmla="*/ 1617388 w 6884782"/>
              <a:gd name="connsiteY10563" fmla="*/ 4778436 h 5973007"/>
              <a:gd name="connsiteX10564" fmla="*/ 1607320 w 6884782"/>
              <a:gd name="connsiteY10564" fmla="*/ 4785147 h 5973007"/>
              <a:gd name="connsiteX10565" fmla="*/ 1635666 w 6884782"/>
              <a:gd name="connsiteY10565" fmla="*/ 4753861 h 5973007"/>
              <a:gd name="connsiteX10566" fmla="*/ 1636441 w 6884782"/>
              <a:gd name="connsiteY10566" fmla="*/ 4754893 h 5973007"/>
              <a:gd name="connsiteX10567" fmla="*/ 1636130 w 6884782"/>
              <a:gd name="connsiteY10567" fmla="*/ 4752518 h 5973007"/>
              <a:gd name="connsiteX10568" fmla="*/ 1637060 w 6884782"/>
              <a:gd name="connsiteY10568" fmla="*/ 4748904 h 5973007"/>
              <a:gd name="connsiteX10569" fmla="*/ 1638609 w 6884782"/>
              <a:gd name="connsiteY10569" fmla="*/ 4747355 h 5973007"/>
              <a:gd name="connsiteX10570" fmla="*/ 1030331 w 6884782"/>
              <a:gd name="connsiteY10570" fmla="*/ 4747355 h 5973007"/>
              <a:gd name="connsiteX10571" fmla="*/ 1030022 w 6884782"/>
              <a:gd name="connsiteY10571" fmla="*/ 4757475 h 5973007"/>
              <a:gd name="connsiteX10572" fmla="*/ 1025684 w 6884782"/>
              <a:gd name="connsiteY10572" fmla="*/ 4754997 h 5973007"/>
              <a:gd name="connsiteX10573" fmla="*/ 1030331 w 6884782"/>
              <a:gd name="connsiteY10573" fmla="*/ 4747355 h 5973007"/>
              <a:gd name="connsiteX10574" fmla="*/ 1316483 w 6884782"/>
              <a:gd name="connsiteY10574" fmla="*/ 4746930 h 5973007"/>
              <a:gd name="connsiteX10575" fmla="*/ 1319058 w 6884782"/>
              <a:gd name="connsiteY10575" fmla="*/ 4751692 h 5973007"/>
              <a:gd name="connsiteX10576" fmla="*/ 1316424 w 6884782"/>
              <a:gd name="connsiteY10576" fmla="*/ 4753241 h 5973007"/>
              <a:gd name="connsiteX10577" fmla="*/ 1311003 w 6884782"/>
              <a:gd name="connsiteY10577" fmla="*/ 4749214 h 5973007"/>
              <a:gd name="connsiteX10578" fmla="*/ 1316483 w 6884782"/>
              <a:gd name="connsiteY10578" fmla="*/ 4746930 h 5973007"/>
              <a:gd name="connsiteX10579" fmla="*/ 1898835 w 6884782"/>
              <a:gd name="connsiteY10579" fmla="*/ 4745290 h 5973007"/>
              <a:gd name="connsiteX10580" fmla="*/ 1899145 w 6884782"/>
              <a:gd name="connsiteY10580" fmla="*/ 4753035 h 5973007"/>
              <a:gd name="connsiteX10581" fmla="*/ 1891865 w 6884782"/>
              <a:gd name="connsiteY10581" fmla="*/ 4757991 h 5973007"/>
              <a:gd name="connsiteX10582" fmla="*/ 1888921 w 6884782"/>
              <a:gd name="connsiteY10582" fmla="*/ 4750040 h 5973007"/>
              <a:gd name="connsiteX10583" fmla="*/ 1889851 w 6884782"/>
              <a:gd name="connsiteY10583" fmla="*/ 4749214 h 5973007"/>
              <a:gd name="connsiteX10584" fmla="*/ 1898835 w 6884782"/>
              <a:gd name="connsiteY10584" fmla="*/ 4745290 h 5973007"/>
              <a:gd name="connsiteX10585" fmla="*/ 6370681 w 6884782"/>
              <a:gd name="connsiteY10585" fmla="*/ 4745205 h 5973007"/>
              <a:gd name="connsiteX10586" fmla="*/ 6372230 w 6884782"/>
              <a:gd name="connsiteY10586" fmla="*/ 4752846 h 5973007"/>
              <a:gd name="connsiteX10587" fmla="*/ 6370681 w 6884782"/>
              <a:gd name="connsiteY10587" fmla="*/ 4745205 h 5973007"/>
              <a:gd name="connsiteX10588" fmla="*/ 1328816 w 6884782"/>
              <a:gd name="connsiteY10588" fmla="*/ 4744980 h 5973007"/>
              <a:gd name="connsiteX10589" fmla="*/ 1330211 w 6884782"/>
              <a:gd name="connsiteY10589" fmla="*/ 4753551 h 5973007"/>
              <a:gd name="connsiteX10590" fmla="*/ 1326493 w 6884782"/>
              <a:gd name="connsiteY10590" fmla="*/ 4755203 h 5973007"/>
              <a:gd name="connsiteX10591" fmla="*/ 1319213 w 6884782"/>
              <a:gd name="connsiteY10591" fmla="*/ 4750763 h 5973007"/>
              <a:gd name="connsiteX10592" fmla="*/ 1320452 w 6884782"/>
              <a:gd name="connsiteY10592" fmla="*/ 4745807 h 5973007"/>
              <a:gd name="connsiteX10593" fmla="*/ 1328816 w 6884782"/>
              <a:gd name="connsiteY10593" fmla="*/ 4744980 h 5973007"/>
              <a:gd name="connsiteX10594" fmla="*/ 1573708 w 6884782"/>
              <a:gd name="connsiteY10594" fmla="*/ 4744671 h 5973007"/>
              <a:gd name="connsiteX10595" fmla="*/ 1572469 w 6884782"/>
              <a:gd name="connsiteY10595" fmla="*/ 4746426 h 5973007"/>
              <a:gd name="connsiteX10596" fmla="*/ 1569526 w 6884782"/>
              <a:gd name="connsiteY10596" fmla="*/ 4745704 h 5973007"/>
              <a:gd name="connsiteX10597" fmla="*/ 1569526 w 6884782"/>
              <a:gd name="connsiteY10597" fmla="*/ 4744877 h 5973007"/>
              <a:gd name="connsiteX10598" fmla="*/ 1573708 w 6884782"/>
              <a:gd name="connsiteY10598" fmla="*/ 4744671 h 5973007"/>
              <a:gd name="connsiteX10599" fmla="*/ 6563062 w 6884782"/>
              <a:gd name="connsiteY10599" fmla="*/ 4744276 h 5973007"/>
              <a:gd name="connsiteX10600" fmla="*/ 6561513 w 6884782"/>
              <a:gd name="connsiteY10600" fmla="*/ 4750058 h 5973007"/>
              <a:gd name="connsiteX10601" fmla="*/ 6555782 w 6884782"/>
              <a:gd name="connsiteY10601" fmla="*/ 4761933 h 5973007"/>
              <a:gd name="connsiteX10602" fmla="*/ 6553613 w 6884782"/>
              <a:gd name="connsiteY10602" fmla="*/ 4762655 h 5973007"/>
              <a:gd name="connsiteX10603" fmla="*/ 6553304 w 6884782"/>
              <a:gd name="connsiteY10603" fmla="*/ 4763378 h 5973007"/>
              <a:gd name="connsiteX10604" fmla="*/ 6552220 w 6884782"/>
              <a:gd name="connsiteY10604" fmla="*/ 4763584 h 5973007"/>
              <a:gd name="connsiteX10605" fmla="*/ 6551445 w 6884782"/>
              <a:gd name="connsiteY10605" fmla="*/ 4763275 h 5973007"/>
              <a:gd name="connsiteX10606" fmla="*/ 6552684 w 6884782"/>
              <a:gd name="connsiteY10606" fmla="*/ 4758318 h 5973007"/>
              <a:gd name="connsiteX10607" fmla="*/ 6554388 w 6884782"/>
              <a:gd name="connsiteY10607" fmla="*/ 4754498 h 5973007"/>
              <a:gd name="connsiteX10608" fmla="*/ 6563062 w 6884782"/>
              <a:gd name="connsiteY10608" fmla="*/ 4744276 h 5973007"/>
              <a:gd name="connsiteX10609" fmla="*/ 5970894 w 6884782"/>
              <a:gd name="connsiteY10609" fmla="*/ 4743449 h 5973007"/>
              <a:gd name="connsiteX10610" fmla="*/ 5971049 w 6884782"/>
              <a:gd name="connsiteY10610" fmla="*/ 4756976 h 5973007"/>
              <a:gd name="connsiteX10611" fmla="*/ 5963924 w 6884782"/>
              <a:gd name="connsiteY10611" fmla="*/ 4743863 h 5973007"/>
              <a:gd name="connsiteX10612" fmla="*/ 5970894 w 6884782"/>
              <a:gd name="connsiteY10612" fmla="*/ 4743449 h 5973007"/>
              <a:gd name="connsiteX10613" fmla="*/ 1683529 w 6884782"/>
              <a:gd name="connsiteY10613" fmla="*/ 4743432 h 5973007"/>
              <a:gd name="connsiteX10614" fmla="*/ 1684303 w 6884782"/>
              <a:gd name="connsiteY10614" fmla="*/ 4743535 h 5973007"/>
              <a:gd name="connsiteX10615" fmla="*/ 1683374 w 6884782"/>
              <a:gd name="connsiteY10615" fmla="*/ 4744980 h 5973007"/>
              <a:gd name="connsiteX10616" fmla="*/ 1683219 w 6884782"/>
              <a:gd name="connsiteY10616" fmla="*/ 4744464 h 5973007"/>
              <a:gd name="connsiteX10617" fmla="*/ 1683529 w 6884782"/>
              <a:gd name="connsiteY10617" fmla="*/ 4743432 h 5973007"/>
              <a:gd name="connsiteX10618" fmla="*/ 1778635 w 6884782"/>
              <a:gd name="connsiteY10618" fmla="*/ 4743225 h 5973007"/>
              <a:gd name="connsiteX10619" fmla="*/ 1779720 w 6884782"/>
              <a:gd name="connsiteY10619" fmla="*/ 4745807 h 5973007"/>
              <a:gd name="connsiteX10620" fmla="*/ 1779100 w 6884782"/>
              <a:gd name="connsiteY10620" fmla="*/ 4746942 h 5973007"/>
              <a:gd name="connsiteX10621" fmla="*/ 1780339 w 6884782"/>
              <a:gd name="connsiteY10621" fmla="*/ 4748388 h 5973007"/>
              <a:gd name="connsiteX10622" fmla="*/ 1790253 w 6884782"/>
              <a:gd name="connsiteY10622" fmla="*/ 4745910 h 5973007"/>
              <a:gd name="connsiteX10623" fmla="*/ 1815345 w 6884782"/>
              <a:gd name="connsiteY10623" fmla="*/ 4769865 h 5973007"/>
              <a:gd name="connsiteX10624" fmla="*/ 1815036 w 6884782"/>
              <a:gd name="connsiteY10624" fmla="*/ 4771001 h 5973007"/>
              <a:gd name="connsiteX10625" fmla="*/ 1816120 w 6884782"/>
              <a:gd name="connsiteY10625" fmla="*/ 4772137 h 5973007"/>
              <a:gd name="connsiteX10626" fmla="*/ 1817514 w 6884782"/>
              <a:gd name="connsiteY10626" fmla="*/ 4778229 h 5973007"/>
              <a:gd name="connsiteX10627" fmla="*/ 1813642 w 6884782"/>
              <a:gd name="connsiteY10627" fmla="*/ 4780191 h 5973007"/>
              <a:gd name="connsiteX10628" fmla="*/ 1812712 w 6884782"/>
              <a:gd name="connsiteY10628" fmla="*/ 4780191 h 5973007"/>
              <a:gd name="connsiteX10629" fmla="*/ 1812557 w 6884782"/>
              <a:gd name="connsiteY10629" fmla="*/ 4781946 h 5973007"/>
              <a:gd name="connsiteX10630" fmla="*/ 1812868 w 6884782"/>
              <a:gd name="connsiteY10630" fmla="*/ 4791756 h 5973007"/>
              <a:gd name="connsiteX10631" fmla="*/ 1804967 w 6884782"/>
              <a:gd name="connsiteY10631" fmla="*/ 4801358 h 5973007"/>
              <a:gd name="connsiteX10632" fmla="*/ 1797533 w 6884782"/>
              <a:gd name="connsiteY10632" fmla="*/ 4807760 h 5973007"/>
              <a:gd name="connsiteX10633" fmla="*/ 1797533 w 6884782"/>
              <a:gd name="connsiteY10633" fmla="*/ 4813852 h 5973007"/>
              <a:gd name="connsiteX10634" fmla="*/ 1796758 w 6884782"/>
              <a:gd name="connsiteY10634" fmla="*/ 4820254 h 5973007"/>
              <a:gd name="connsiteX10635" fmla="*/ 1795209 w 6884782"/>
              <a:gd name="connsiteY10635" fmla="*/ 4814472 h 5973007"/>
              <a:gd name="connsiteX10636" fmla="*/ 1795829 w 6884782"/>
              <a:gd name="connsiteY10636" fmla="*/ 4810548 h 5973007"/>
              <a:gd name="connsiteX10637" fmla="*/ 1796138 w 6884782"/>
              <a:gd name="connsiteY10637" fmla="*/ 4809000 h 5973007"/>
              <a:gd name="connsiteX10638" fmla="*/ 1795055 w 6884782"/>
              <a:gd name="connsiteY10638" fmla="*/ 4809929 h 5973007"/>
              <a:gd name="connsiteX10639" fmla="*/ 1771665 w 6884782"/>
              <a:gd name="connsiteY10639" fmla="*/ 4816950 h 5973007"/>
              <a:gd name="connsiteX10640" fmla="*/ 1745797 w 6884782"/>
              <a:gd name="connsiteY10640" fmla="*/ 4795989 h 5973007"/>
              <a:gd name="connsiteX10641" fmla="*/ 1748121 w 6884782"/>
              <a:gd name="connsiteY10641" fmla="*/ 4784321 h 5973007"/>
              <a:gd name="connsiteX10642" fmla="*/ 1747501 w 6884782"/>
              <a:gd name="connsiteY10642" fmla="*/ 4782153 h 5973007"/>
              <a:gd name="connsiteX10643" fmla="*/ 1742699 w 6884782"/>
              <a:gd name="connsiteY10643" fmla="*/ 4780501 h 5973007"/>
              <a:gd name="connsiteX10644" fmla="*/ 1743784 w 6884782"/>
              <a:gd name="connsiteY10644" fmla="*/ 4774099 h 5973007"/>
              <a:gd name="connsiteX10645" fmla="*/ 1746107 w 6884782"/>
              <a:gd name="connsiteY10645" fmla="*/ 4771931 h 5973007"/>
              <a:gd name="connsiteX10646" fmla="*/ 1745332 w 6884782"/>
              <a:gd name="connsiteY10646" fmla="*/ 4770485 h 5973007"/>
              <a:gd name="connsiteX10647" fmla="*/ 1753542 w 6884782"/>
              <a:gd name="connsiteY10647" fmla="*/ 4754790 h 5973007"/>
              <a:gd name="connsiteX10648" fmla="*/ 1762061 w 6884782"/>
              <a:gd name="connsiteY10648" fmla="*/ 4749008 h 5973007"/>
              <a:gd name="connsiteX10649" fmla="*/ 1764695 w 6884782"/>
              <a:gd name="connsiteY10649" fmla="*/ 4750143 h 5973007"/>
              <a:gd name="connsiteX10650" fmla="*/ 1765470 w 6884782"/>
              <a:gd name="connsiteY10650" fmla="*/ 4751176 h 5973007"/>
              <a:gd name="connsiteX10651" fmla="*/ 1766708 w 6884782"/>
              <a:gd name="connsiteY10651" fmla="*/ 4751692 h 5973007"/>
              <a:gd name="connsiteX10652" fmla="*/ 1775383 w 6884782"/>
              <a:gd name="connsiteY10652" fmla="*/ 4749627 h 5973007"/>
              <a:gd name="connsiteX10653" fmla="*/ 1772130 w 6884782"/>
              <a:gd name="connsiteY10653" fmla="*/ 4749111 h 5973007"/>
              <a:gd name="connsiteX10654" fmla="*/ 1772904 w 6884782"/>
              <a:gd name="connsiteY10654" fmla="*/ 4749111 h 5973007"/>
              <a:gd name="connsiteX10655" fmla="*/ 1772904 w 6884782"/>
              <a:gd name="connsiteY10655" fmla="*/ 4747355 h 5973007"/>
              <a:gd name="connsiteX10656" fmla="*/ 1771975 w 6884782"/>
              <a:gd name="connsiteY10656" fmla="*/ 4747355 h 5973007"/>
              <a:gd name="connsiteX10657" fmla="*/ 1772749 w 6884782"/>
              <a:gd name="connsiteY10657" fmla="*/ 4745600 h 5973007"/>
              <a:gd name="connsiteX10658" fmla="*/ 1778635 w 6884782"/>
              <a:gd name="connsiteY10658" fmla="*/ 4743225 h 5973007"/>
              <a:gd name="connsiteX10659" fmla="*/ 1560077 w 6884782"/>
              <a:gd name="connsiteY10659" fmla="*/ 4742915 h 5973007"/>
              <a:gd name="connsiteX10660" fmla="*/ 1564414 w 6884782"/>
              <a:gd name="connsiteY10660" fmla="*/ 4743432 h 5973007"/>
              <a:gd name="connsiteX10661" fmla="*/ 1563949 w 6884782"/>
              <a:gd name="connsiteY10661" fmla="*/ 4746116 h 5973007"/>
              <a:gd name="connsiteX10662" fmla="*/ 1560387 w 6884782"/>
              <a:gd name="connsiteY10662" fmla="*/ 4745497 h 5973007"/>
              <a:gd name="connsiteX10663" fmla="*/ 1560077 w 6884782"/>
              <a:gd name="connsiteY10663" fmla="*/ 4742915 h 5973007"/>
              <a:gd name="connsiteX10664" fmla="*/ 921284 w 6884782"/>
              <a:gd name="connsiteY10664" fmla="*/ 4742812 h 5973007"/>
              <a:gd name="connsiteX10665" fmla="*/ 920200 w 6884782"/>
              <a:gd name="connsiteY10665" fmla="*/ 4754790 h 5973007"/>
              <a:gd name="connsiteX10666" fmla="*/ 914779 w 6884782"/>
              <a:gd name="connsiteY10666" fmla="*/ 4767181 h 5973007"/>
              <a:gd name="connsiteX10667" fmla="*/ 921284 w 6884782"/>
              <a:gd name="connsiteY10667" fmla="*/ 4742812 h 5973007"/>
              <a:gd name="connsiteX10668" fmla="*/ 1689105 w 6884782"/>
              <a:gd name="connsiteY10668" fmla="*/ 4742606 h 5973007"/>
              <a:gd name="connsiteX10669" fmla="*/ 1693287 w 6884782"/>
              <a:gd name="connsiteY10669" fmla="*/ 4742606 h 5973007"/>
              <a:gd name="connsiteX10670" fmla="*/ 1694991 w 6884782"/>
              <a:gd name="connsiteY10670" fmla="*/ 4763153 h 5973007"/>
              <a:gd name="connsiteX10671" fmla="*/ 1689105 w 6884782"/>
              <a:gd name="connsiteY10671" fmla="*/ 4742606 h 5973007"/>
              <a:gd name="connsiteX10672" fmla="*/ 1509426 w 6884782"/>
              <a:gd name="connsiteY10672" fmla="*/ 4742193 h 5973007"/>
              <a:gd name="connsiteX10673" fmla="*/ 1515002 w 6884782"/>
              <a:gd name="connsiteY10673" fmla="*/ 4744258 h 5973007"/>
              <a:gd name="connsiteX10674" fmla="*/ 1517325 w 6884782"/>
              <a:gd name="connsiteY10674" fmla="*/ 4750350 h 5973007"/>
              <a:gd name="connsiteX10675" fmla="*/ 1511904 w 6884782"/>
              <a:gd name="connsiteY10675" fmla="*/ 4752415 h 5973007"/>
              <a:gd name="connsiteX10676" fmla="*/ 1506638 w 6884782"/>
              <a:gd name="connsiteY10676" fmla="*/ 4751176 h 5973007"/>
              <a:gd name="connsiteX10677" fmla="*/ 1509426 w 6884782"/>
              <a:gd name="connsiteY10677" fmla="*/ 4742193 h 5973007"/>
              <a:gd name="connsiteX10678" fmla="*/ 1710016 w 6884782"/>
              <a:gd name="connsiteY10678" fmla="*/ 4741780 h 5973007"/>
              <a:gd name="connsiteX10679" fmla="*/ 1711410 w 6884782"/>
              <a:gd name="connsiteY10679" fmla="*/ 4757165 h 5973007"/>
              <a:gd name="connsiteX10680" fmla="*/ 1709242 w 6884782"/>
              <a:gd name="connsiteY10680" fmla="*/ 4757475 h 5973007"/>
              <a:gd name="connsiteX10681" fmla="*/ 1712649 w 6884782"/>
              <a:gd name="connsiteY10681" fmla="*/ 4763360 h 5973007"/>
              <a:gd name="connsiteX10682" fmla="*/ 1716212 w 6884782"/>
              <a:gd name="connsiteY10682" fmla="*/ 4772137 h 5973007"/>
              <a:gd name="connsiteX10683" fmla="*/ 1711565 w 6884782"/>
              <a:gd name="connsiteY10683" fmla="*/ 4769452 h 5973007"/>
              <a:gd name="connsiteX10684" fmla="*/ 1708312 w 6884782"/>
              <a:gd name="connsiteY10684" fmla="*/ 4765735 h 5973007"/>
              <a:gd name="connsiteX10685" fmla="*/ 1707073 w 6884782"/>
              <a:gd name="connsiteY10685" fmla="*/ 4769349 h 5973007"/>
              <a:gd name="connsiteX10686" fmla="*/ 1703665 w 6884782"/>
              <a:gd name="connsiteY10686" fmla="*/ 4770691 h 5973007"/>
              <a:gd name="connsiteX10687" fmla="*/ 1705524 w 6884782"/>
              <a:gd name="connsiteY10687" fmla="*/ 4767181 h 5973007"/>
              <a:gd name="connsiteX10688" fmla="*/ 1708003 w 6884782"/>
              <a:gd name="connsiteY10688" fmla="*/ 4765425 h 5973007"/>
              <a:gd name="connsiteX10689" fmla="*/ 1707693 w 6884782"/>
              <a:gd name="connsiteY10689" fmla="*/ 4765115 h 5973007"/>
              <a:gd name="connsiteX10690" fmla="*/ 1705989 w 6884782"/>
              <a:gd name="connsiteY10690" fmla="*/ 4760056 h 5973007"/>
              <a:gd name="connsiteX10691" fmla="*/ 1707073 w 6884782"/>
              <a:gd name="connsiteY10691" fmla="*/ 4757371 h 5973007"/>
              <a:gd name="connsiteX10692" fmla="*/ 1705524 w 6884782"/>
              <a:gd name="connsiteY10692" fmla="*/ 4756648 h 5973007"/>
              <a:gd name="connsiteX10693" fmla="*/ 1710016 w 6884782"/>
              <a:gd name="connsiteY10693" fmla="*/ 4741780 h 5973007"/>
              <a:gd name="connsiteX10694" fmla="*/ 1812694 w 6884782"/>
              <a:gd name="connsiteY10694" fmla="*/ 4740334 h 5973007"/>
              <a:gd name="connsiteX10695" fmla="*/ 1816740 w 6884782"/>
              <a:gd name="connsiteY10695" fmla="*/ 4742915 h 5973007"/>
              <a:gd name="connsiteX10696" fmla="*/ 1813023 w 6884782"/>
              <a:gd name="connsiteY10696" fmla="*/ 4746219 h 5973007"/>
              <a:gd name="connsiteX10697" fmla="*/ 1808995 w 6884782"/>
              <a:gd name="connsiteY10697" fmla="*/ 4743948 h 5973007"/>
              <a:gd name="connsiteX10698" fmla="*/ 1812694 w 6884782"/>
              <a:gd name="connsiteY10698" fmla="*/ 4740334 h 5973007"/>
              <a:gd name="connsiteX10699" fmla="*/ 1418036 w 6884782"/>
              <a:gd name="connsiteY10699" fmla="*/ 4740334 h 5973007"/>
              <a:gd name="connsiteX10700" fmla="*/ 1421600 w 6884782"/>
              <a:gd name="connsiteY10700" fmla="*/ 4740437 h 5973007"/>
              <a:gd name="connsiteX10701" fmla="*/ 1424233 w 6884782"/>
              <a:gd name="connsiteY10701" fmla="*/ 4753551 h 5973007"/>
              <a:gd name="connsiteX10702" fmla="*/ 1418036 w 6884782"/>
              <a:gd name="connsiteY10702" fmla="*/ 4748904 h 5973007"/>
              <a:gd name="connsiteX10703" fmla="*/ 1418036 w 6884782"/>
              <a:gd name="connsiteY10703" fmla="*/ 4740334 h 5973007"/>
              <a:gd name="connsiteX10704" fmla="*/ 1343377 w 6884782"/>
              <a:gd name="connsiteY10704" fmla="*/ 4740128 h 5973007"/>
              <a:gd name="connsiteX10705" fmla="*/ 1347869 w 6884782"/>
              <a:gd name="connsiteY10705" fmla="*/ 4745290 h 5973007"/>
              <a:gd name="connsiteX10706" fmla="*/ 1343067 w 6884782"/>
              <a:gd name="connsiteY10706" fmla="*/ 4747252 h 5973007"/>
              <a:gd name="connsiteX10707" fmla="*/ 1340589 w 6884782"/>
              <a:gd name="connsiteY10707" fmla="*/ 4745910 h 5973007"/>
              <a:gd name="connsiteX10708" fmla="*/ 1340744 w 6884782"/>
              <a:gd name="connsiteY10708" fmla="*/ 4742709 h 5973007"/>
              <a:gd name="connsiteX10709" fmla="*/ 1343377 w 6884782"/>
              <a:gd name="connsiteY10709" fmla="*/ 4740128 h 5973007"/>
              <a:gd name="connsiteX10710" fmla="*/ 1611328 w 6884782"/>
              <a:gd name="connsiteY10710" fmla="*/ 4739856 h 5973007"/>
              <a:gd name="connsiteX10711" fmla="*/ 1615375 w 6884782"/>
              <a:gd name="connsiteY10711" fmla="*/ 4742399 h 5973007"/>
              <a:gd name="connsiteX10712" fmla="*/ 1609798 w 6884782"/>
              <a:gd name="connsiteY10712" fmla="*/ 4748078 h 5973007"/>
              <a:gd name="connsiteX10713" fmla="*/ 1607165 w 6884782"/>
              <a:gd name="connsiteY10713" fmla="*/ 4748078 h 5973007"/>
              <a:gd name="connsiteX10714" fmla="*/ 1604222 w 6884782"/>
              <a:gd name="connsiteY10714" fmla="*/ 4745807 h 5973007"/>
              <a:gd name="connsiteX10715" fmla="*/ 1606700 w 6884782"/>
              <a:gd name="connsiteY10715" fmla="*/ 4740644 h 5973007"/>
              <a:gd name="connsiteX10716" fmla="*/ 1611328 w 6884782"/>
              <a:gd name="connsiteY10716" fmla="*/ 4739856 h 5973007"/>
              <a:gd name="connsiteX10717" fmla="*/ 6467646 w 6884782"/>
              <a:gd name="connsiteY10717" fmla="*/ 4739526 h 5973007"/>
              <a:gd name="connsiteX10718" fmla="*/ 6475391 w 6884782"/>
              <a:gd name="connsiteY10718" fmla="*/ 4741075 h 5973007"/>
              <a:gd name="connsiteX10719" fmla="*/ 6477095 w 6884782"/>
              <a:gd name="connsiteY10719" fmla="*/ 4749748 h 5973007"/>
              <a:gd name="connsiteX10720" fmla="*/ 6467801 w 6884782"/>
              <a:gd name="connsiteY10720" fmla="*/ 4744069 h 5973007"/>
              <a:gd name="connsiteX10721" fmla="*/ 6467646 w 6884782"/>
              <a:gd name="connsiteY10721" fmla="*/ 4739526 h 5973007"/>
              <a:gd name="connsiteX10722" fmla="*/ 1551712 w 6884782"/>
              <a:gd name="connsiteY10722" fmla="*/ 4739198 h 5973007"/>
              <a:gd name="connsiteX10723" fmla="*/ 1552642 w 6884782"/>
              <a:gd name="connsiteY10723" fmla="*/ 4742709 h 5973007"/>
              <a:gd name="connsiteX10724" fmla="*/ 1551867 w 6884782"/>
              <a:gd name="connsiteY10724" fmla="*/ 4744774 h 5973007"/>
              <a:gd name="connsiteX10725" fmla="*/ 1553106 w 6884782"/>
              <a:gd name="connsiteY10725" fmla="*/ 4745084 h 5973007"/>
              <a:gd name="connsiteX10726" fmla="*/ 1555429 w 6884782"/>
              <a:gd name="connsiteY10726" fmla="*/ 4748285 h 5973007"/>
              <a:gd name="connsiteX10727" fmla="*/ 1560387 w 6884782"/>
              <a:gd name="connsiteY10727" fmla="*/ 4750453 h 5973007"/>
              <a:gd name="connsiteX10728" fmla="*/ 1555585 w 6884782"/>
              <a:gd name="connsiteY10728" fmla="*/ 4753344 h 5973007"/>
              <a:gd name="connsiteX10729" fmla="*/ 1555429 w 6884782"/>
              <a:gd name="connsiteY10729" fmla="*/ 4755100 h 5973007"/>
              <a:gd name="connsiteX10730" fmla="*/ 1550938 w 6884782"/>
              <a:gd name="connsiteY10730" fmla="*/ 4755306 h 5973007"/>
              <a:gd name="connsiteX10731" fmla="*/ 1548305 w 6884782"/>
              <a:gd name="connsiteY10731" fmla="*/ 4754893 h 5973007"/>
              <a:gd name="connsiteX10732" fmla="*/ 1543503 w 6884782"/>
              <a:gd name="connsiteY10732" fmla="*/ 4755306 h 5973007"/>
              <a:gd name="connsiteX10733" fmla="*/ 1528323 w 6884782"/>
              <a:gd name="connsiteY10733" fmla="*/ 4745497 h 5973007"/>
              <a:gd name="connsiteX10734" fmla="*/ 1544432 w 6884782"/>
              <a:gd name="connsiteY10734" fmla="*/ 4746942 h 5973007"/>
              <a:gd name="connsiteX10735" fmla="*/ 1544742 w 6884782"/>
              <a:gd name="connsiteY10735" fmla="*/ 4746942 h 5973007"/>
              <a:gd name="connsiteX10736" fmla="*/ 1543658 w 6884782"/>
              <a:gd name="connsiteY10736" fmla="*/ 4744980 h 5973007"/>
              <a:gd name="connsiteX10737" fmla="*/ 1545516 w 6884782"/>
              <a:gd name="connsiteY10737" fmla="*/ 4741780 h 5973007"/>
              <a:gd name="connsiteX10738" fmla="*/ 1551712 w 6884782"/>
              <a:gd name="connsiteY10738" fmla="*/ 4739198 h 5973007"/>
              <a:gd name="connsiteX10739" fmla="*/ 1109793 w 6884782"/>
              <a:gd name="connsiteY10739" fmla="*/ 4738579 h 5973007"/>
              <a:gd name="connsiteX10740" fmla="*/ 1115060 w 6884782"/>
              <a:gd name="connsiteY10740" fmla="*/ 4743742 h 5973007"/>
              <a:gd name="connsiteX10741" fmla="*/ 1110568 w 6884782"/>
              <a:gd name="connsiteY10741" fmla="*/ 4745600 h 5973007"/>
              <a:gd name="connsiteX10742" fmla="*/ 1107780 w 6884782"/>
              <a:gd name="connsiteY10742" fmla="*/ 4744154 h 5973007"/>
              <a:gd name="connsiteX10743" fmla="*/ 1107625 w 6884782"/>
              <a:gd name="connsiteY10743" fmla="*/ 4741057 h 5973007"/>
              <a:gd name="connsiteX10744" fmla="*/ 1109793 w 6884782"/>
              <a:gd name="connsiteY10744" fmla="*/ 4738579 h 5973007"/>
              <a:gd name="connsiteX10745" fmla="*/ 1598026 w 6884782"/>
              <a:gd name="connsiteY10745" fmla="*/ 4738269 h 5973007"/>
              <a:gd name="connsiteX10746" fmla="*/ 1601589 w 6884782"/>
              <a:gd name="connsiteY10746" fmla="*/ 4745807 h 5973007"/>
              <a:gd name="connsiteX10747" fmla="*/ 1597562 w 6884782"/>
              <a:gd name="connsiteY10747" fmla="*/ 4739818 h 5973007"/>
              <a:gd name="connsiteX10748" fmla="*/ 1598026 w 6884782"/>
              <a:gd name="connsiteY10748" fmla="*/ 4738269 h 5973007"/>
              <a:gd name="connsiteX10749" fmla="*/ 909048 w 6884782"/>
              <a:gd name="connsiteY10749" fmla="*/ 4738269 h 5973007"/>
              <a:gd name="connsiteX10750" fmla="*/ 915089 w 6884782"/>
              <a:gd name="connsiteY10750" fmla="*/ 4740541 h 5973007"/>
              <a:gd name="connsiteX10751" fmla="*/ 914624 w 6884782"/>
              <a:gd name="connsiteY10751" fmla="*/ 4742296 h 5973007"/>
              <a:gd name="connsiteX10752" fmla="*/ 912301 w 6884782"/>
              <a:gd name="connsiteY10752" fmla="*/ 4743845 h 5973007"/>
              <a:gd name="connsiteX10753" fmla="*/ 909668 w 6884782"/>
              <a:gd name="connsiteY10753" fmla="*/ 4743432 h 5973007"/>
              <a:gd name="connsiteX10754" fmla="*/ 909048 w 6884782"/>
              <a:gd name="connsiteY10754" fmla="*/ 4738269 h 5973007"/>
              <a:gd name="connsiteX10755" fmla="*/ 1383804 w 6884782"/>
              <a:gd name="connsiteY10755" fmla="*/ 4737649 h 5973007"/>
              <a:gd name="connsiteX10756" fmla="*/ 1388452 w 6884782"/>
              <a:gd name="connsiteY10756" fmla="*/ 4739302 h 5973007"/>
              <a:gd name="connsiteX10757" fmla="*/ 1390001 w 6884782"/>
              <a:gd name="connsiteY10757" fmla="*/ 4738475 h 5973007"/>
              <a:gd name="connsiteX10758" fmla="*/ 1396506 w 6884782"/>
              <a:gd name="connsiteY10758" fmla="*/ 4739302 h 5973007"/>
              <a:gd name="connsiteX10759" fmla="*/ 1392634 w 6884782"/>
              <a:gd name="connsiteY10759" fmla="*/ 4742812 h 5973007"/>
              <a:gd name="connsiteX10760" fmla="*/ 1396971 w 6884782"/>
              <a:gd name="connsiteY10760" fmla="*/ 4747665 h 5973007"/>
              <a:gd name="connsiteX10761" fmla="*/ 1397436 w 6884782"/>
              <a:gd name="connsiteY10761" fmla="*/ 4748801 h 5973007"/>
              <a:gd name="connsiteX10762" fmla="*/ 1399139 w 6884782"/>
              <a:gd name="connsiteY10762" fmla="*/ 4747355 h 5973007"/>
              <a:gd name="connsiteX10763" fmla="*/ 1403322 w 6884782"/>
              <a:gd name="connsiteY10763" fmla="*/ 4747252 h 5973007"/>
              <a:gd name="connsiteX10764" fmla="*/ 1406574 w 6884782"/>
              <a:gd name="connsiteY10764" fmla="*/ 4757371 h 5973007"/>
              <a:gd name="connsiteX10765" fmla="*/ 1406419 w 6884782"/>
              <a:gd name="connsiteY10765" fmla="*/ 4760779 h 5973007"/>
              <a:gd name="connsiteX10766" fmla="*/ 1411376 w 6884782"/>
              <a:gd name="connsiteY10766" fmla="*/ 4765219 h 5973007"/>
              <a:gd name="connsiteX10767" fmla="*/ 1411376 w 6884782"/>
              <a:gd name="connsiteY10767" fmla="*/ 4768007 h 5973007"/>
              <a:gd name="connsiteX10768" fmla="*/ 1393408 w 6884782"/>
              <a:gd name="connsiteY10768" fmla="*/ 4779262 h 5973007"/>
              <a:gd name="connsiteX10769" fmla="*/ 1377299 w 6884782"/>
              <a:gd name="connsiteY10769" fmla="*/ 4773789 h 5973007"/>
              <a:gd name="connsiteX10770" fmla="*/ 1376680 w 6884782"/>
              <a:gd name="connsiteY10770" fmla="*/ 4773066 h 5973007"/>
              <a:gd name="connsiteX10771" fmla="*/ 1377299 w 6884782"/>
              <a:gd name="connsiteY10771" fmla="*/ 4774512 h 5973007"/>
              <a:gd name="connsiteX10772" fmla="*/ 1376370 w 6884782"/>
              <a:gd name="connsiteY10772" fmla="*/ 4776164 h 5973007"/>
              <a:gd name="connsiteX10773" fmla="*/ 1373427 w 6884782"/>
              <a:gd name="connsiteY10773" fmla="*/ 4779158 h 5973007"/>
              <a:gd name="connsiteX10774" fmla="*/ 1370638 w 6884782"/>
              <a:gd name="connsiteY10774" fmla="*/ 4777610 h 5973007"/>
              <a:gd name="connsiteX10775" fmla="*/ 1369864 w 6884782"/>
              <a:gd name="connsiteY10775" fmla="*/ 4773789 h 5973007"/>
              <a:gd name="connsiteX10776" fmla="*/ 1372652 w 6884782"/>
              <a:gd name="connsiteY10776" fmla="*/ 4767594 h 5973007"/>
              <a:gd name="connsiteX10777" fmla="*/ 1373891 w 6884782"/>
              <a:gd name="connsiteY10777" fmla="*/ 4768523 h 5973007"/>
              <a:gd name="connsiteX10778" fmla="*/ 1378228 w 6884782"/>
              <a:gd name="connsiteY10778" fmla="*/ 4761295 h 5973007"/>
              <a:gd name="connsiteX10779" fmla="*/ 1385044 w 6884782"/>
              <a:gd name="connsiteY10779" fmla="*/ 4756958 h 5973007"/>
              <a:gd name="connsiteX10780" fmla="*/ 1389846 w 6884782"/>
              <a:gd name="connsiteY10780" fmla="*/ 4756132 h 5973007"/>
              <a:gd name="connsiteX10781" fmla="*/ 1386748 w 6884782"/>
              <a:gd name="connsiteY10781" fmla="*/ 4753861 h 5973007"/>
              <a:gd name="connsiteX10782" fmla="*/ 1383959 w 6884782"/>
              <a:gd name="connsiteY10782" fmla="*/ 4750453 h 5973007"/>
              <a:gd name="connsiteX10783" fmla="*/ 1381171 w 6884782"/>
              <a:gd name="connsiteY10783" fmla="*/ 4753035 h 5973007"/>
              <a:gd name="connsiteX10784" fmla="*/ 1375750 w 6884782"/>
              <a:gd name="connsiteY10784" fmla="*/ 4756236 h 5973007"/>
              <a:gd name="connsiteX10785" fmla="*/ 1375750 w 6884782"/>
              <a:gd name="connsiteY10785" fmla="*/ 4756339 h 5973007"/>
              <a:gd name="connsiteX10786" fmla="*/ 1375595 w 6884782"/>
              <a:gd name="connsiteY10786" fmla="*/ 4756339 h 5973007"/>
              <a:gd name="connsiteX10787" fmla="*/ 1374356 w 6884782"/>
              <a:gd name="connsiteY10787" fmla="*/ 4756958 h 5973007"/>
              <a:gd name="connsiteX10788" fmla="*/ 1374666 w 6884782"/>
              <a:gd name="connsiteY10788" fmla="*/ 4756236 h 5973007"/>
              <a:gd name="connsiteX10789" fmla="*/ 1369090 w 6884782"/>
              <a:gd name="connsiteY10789" fmla="*/ 4755822 h 5973007"/>
              <a:gd name="connsiteX10790" fmla="*/ 1356233 w 6884782"/>
              <a:gd name="connsiteY10790" fmla="*/ 4740437 h 5973007"/>
              <a:gd name="connsiteX10791" fmla="*/ 1366766 w 6884782"/>
              <a:gd name="connsiteY10791" fmla="*/ 4746323 h 5973007"/>
              <a:gd name="connsiteX10792" fmla="*/ 1371568 w 6884782"/>
              <a:gd name="connsiteY10792" fmla="*/ 4750453 h 5973007"/>
              <a:gd name="connsiteX10793" fmla="*/ 1374975 w 6884782"/>
              <a:gd name="connsiteY10793" fmla="*/ 4755100 h 5973007"/>
              <a:gd name="connsiteX10794" fmla="*/ 1376370 w 6884782"/>
              <a:gd name="connsiteY10794" fmla="*/ 4749834 h 5973007"/>
              <a:gd name="connsiteX10795" fmla="*/ 1380552 w 6884782"/>
              <a:gd name="connsiteY10795" fmla="*/ 4744980 h 5973007"/>
              <a:gd name="connsiteX10796" fmla="*/ 1378848 w 6884782"/>
              <a:gd name="connsiteY10796" fmla="*/ 4741470 h 5973007"/>
              <a:gd name="connsiteX10797" fmla="*/ 1383804 w 6884782"/>
              <a:gd name="connsiteY10797" fmla="*/ 4737649 h 5973007"/>
              <a:gd name="connsiteX10798" fmla="*/ 1460633 w 6884782"/>
              <a:gd name="connsiteY10798" fmla="*/ 4737546 h 5973007"/>
              <a:gd name="connsiteX10799" fmla="*/ 1462492 w 6884782"/>
              <a:gd name="connsiteY10799" fmla="*/ 4740334 h 5973007"/>
              <a:gd name="connsiteX10800" fmla="*/ 1461098 w 6884782"/>
              <a:gd name="connsiteY10800" fmla="*/ 4740953 h 5973007"/>
              <a:gd name="connsiteX10801" fmla="*/ 1461408 w 6884782"/>
              <a:gd name="connsiteY10801" fmla="*/ 4741780 h 5973007"/>
              <a:gd name="connsiteX10802" fmla="*/ 1459549 w 6884782"/>
              <a:gd name="connsiteY10802" fmla="*/ 4741676 h 5973007"/>
              <a:gd name="connsiteX10803" fmla="*/ 1459394 w 6884782"/>
              <a:gd name="connsiteY10803" fmla="*/ 4740953 h 5973007"/>
              <a:gd name="connsiteX10804" fmla="*/ 1459084 w 6884782"/>
              <a:gd name="connsiteY10804" fmla="*/ 4740850 h 5973007"/>
              <a:gd name="connsiteX10805" fmla="*/ 1459394 w 6884782"/>
              <a:gd name="connsiteY10805" fmla="*/ 4739095 h 5973007"/>
              <a:gd name="connsiteX10806" fmla="*/ 1460633 w 6884782"/>
              <a:gd name="connsiteY10806" fmla="*/ 4737546 h 5973007"/>
              <a:gd name="connsiteX10807" fmla="*/ 1523056 w 6884782"/>
              <a:gd name="connsiteY10807" fmla="*/ 4737340 h 5973007"/>
              <a:gd name="connsiteX10808" fmla="*/ 1524915 w 6884782"/>
              <a:gd name="connsiteY10808" fmla="*/ 4737546 h 5973007"/>
              <a:gd name="connsiteX10809" fmla="*/ 1526929 w 6884782"/>
              <a:gd name="connsiteY10809" fmla="*/ 4739611 h 5973007"/>
              <a:gd name="connsiteX10810" fmla="*/ 1526309 w 6884782"/>
              <a:gd name="connsiteY10810" fmla="*/ 4743225 h 5973007"/>
              <a:gd name="connsiteX10811" fmla="*/ 1524295 w 6884782"/>
              <a:gd name="connsiteY10811" fmla="*/ 4743019 h 5973007"/>
              <a:gd name="connsiteX10812" fmla="*/ 1521972 w 6884782"/>
              <a:gd name="connsiteY10812" fmla="*/ 4741780 h 5973007"/>
              <a:gd name="connsiteX10813" fmla="*/ 1523056 w 6884782"/>
              <a:gd name="connsiteY10813" fmla="*/ 4737340 h 5973007"/>
              <a:gd name="connsiteX10814" fmla="*/ 6374631 w 6884782"/>
              <a:gd name="connsiteY10814" fmla="*/ 4737048 h 5973007"/>
              <a:gd name="connsiteX10815" fmla="*/ 6379355 w 6884782"/>
              <a:gd name="connsiteY10815" fmla="*/ 4737358 h 5973007"/>
              <a:gd name="connsiteX10816" fmla="*/ 6373934 w 6884782"/>
              <a:gd name="connsiteY10816" fmla="*/ 4744482 h 5973007"/>
              <a:gd name="connsiteX10817" fmla="*/ 6372695 w 6884782"/>
              <a:gd name="connsiteY10817" fmla="*/ 4741075 h 5973007"/>
              <a:gd name="connsiteX10818" fmla="*/ 6374631 w 6884782"/>
              <a:gd name="connsiteY10818" fmla="*/ 4737048 h 5973007"/>
              <a:gd name="connsiteX10819" fmla="*/ 1412306 w 6884782"/>
              <a:gd name="connsiteY10819" fmla="*/ 4735894 h 5973007"/>
              <a:gd name="connsiteX10820" fmla="*/ 1414164 w 6884782"/>
              <a:gd name="connsiteY10820" fmla="*/ 4736101 h 5973007"/>
              <a:gd name="connsiteX10821" fmla="*/ 1415403 w 6884782"/>
              <a:gd name="connsiteY10821" fmla="*/ 4738062 h 5973007"/>
              <a:gd name="connsiteX10822" fmla="*/ 1415558 w 6884782"/>
              <a:gd name="connsiteY10822" fmla="*/ 4746530 h 5973007"/>
              <a:gd name="connsiteX10823" fmla="*/ 1415248 w 6884782"/>
              <a:gd name="connsiteY10823" fmla="*/ 4748491 h 5973007"/>
              <a:gd name="connsiteX10824" fmla="*/ 1414939 w 6884782"/>
              <a:gd name="connsiteY10824" fmla="*/ 4750453 h 5973007"/>
              <a:gd name="connsiteX10825" fmla="*/ 1411841 w 6884782"/>
              <a:gd name="connsiteY10825" fmla="*/ 4752621 h 5973007"/>
              <a:gd name="connsiteX10826" fmla="*/ 1411841 w 6884782"/>
              <a:gd name="connsiteY10826" fmla="*/ 4746323 h 5973007"/>
              <a:gd name="connsiteX10827" fmla="*/ 1410757 w 6884782"/>
              <a:gd name="connsiteY10827" fmla="*/ 4748491 h 5973007"/>
              <a:gd name="connsiteX10828" fmla="*/ 1407039 w 6884782"/>
              <a:gd name="connsiteY10828" fmla="*/ 4750143 h 5973007"/>
              <a:gd name="connsiteX10829" fmla="*/ 1404560 w 6884782"/>
              <a:gd name="connsiteY10829" fmla="*/ 4745704 h 5973007"/>
              <a:gd name="connsiteX10830" fmla="*/ 1408743 w 6884782"/>
              <a:gd name="connsiteY10830" fmla="*/ 4743225 h 5973007"/>
              <a:gd name="connsiteX10831" fmla="*/ 1411996 w 6884782"/>
              <a:gd name="connsiteY10831" fmla="*/ 4744464 h 5973007"/>
              <a:gd name="connsiteX10832" fmla="*/ 1411996 w 6884782"/>
              <a:gd name="connsiteY10832" fmla="*/ 4743638 h 5973007"/>
              <a:gd name="connsiteX10833" fmla="*/ 1412150 w 6884782"/>
              <a:gd name="connsiteY10833" fmla="*/ 4739405 h 5973007"/>
              <a:gd name="connsiteX10834" fmla="*/ 1404871 w 6884782"/>
              <a:gd name="connsiteY10834" fmla="*/ 4735791 h 5973007"/>
              <a:gd name="connsiteX10835" fmla="*/ 1409053 w 6884782"/>
              <a:gd name="connsiteY10835" fmla="*/ 4736513 h 5973007"/>
              <a:gd name="connsiteX10836" fmla="*/ 1412150 w 6884782"/>
              <a:gd name="connsiteY10836" fmla="*/ 4739405 h 5973007"/>
              <a:gd name="connsiteX10837" fmla="*/ 1408743 w 6884782"/>
              <a:gd name="connsiteY10837" fmla="*/ 4738682 h 5973007"/>
              <a:gd name="connsiteX10838" fmla="*/ 1405645 w 6884782"/>
              <a:gd name="connsiteY10838" fmla="*/ 4737236 h 5973007"/>
              <a:gd name="connsiteX10839" fmla="*/ 1404871 w 6884782"/>
              <a:gd name="connsiteY10839" fmla="*/ 4735791 h 5973007"/>
              <a:gd name="connsiteX10840" fmla="*/ 1783282 w 6884782"/>
              <a:gd name="connsiteY10840" fmla="*/ 4735584 h 5973007"/>
              <a:gd name="connsiteX10841" fmla="*/ 1784211 w 6884782"/>
              <a:gd name="connsiteY10841" fmla="*/ 4735997 h 5973007"/>
              <a:gd name="connsiteX10842" fmla="*/ 1791492 w 6884782"/>
              <a:gd name="connsiteY10842" fmla="*/ 4742709 h 5973007"/>
              <a:gd name="connsiteX10843" fmla="*/ 1786845 w 6884782"/>
              <a:gd name="connsiteY10843" fmla="*/ 4746426 h 5973007"/>
              <a:gd name="connsiteX10844" fmla="*/ 1784521 w 6884782"/>
              <a:gd name="connsiteY10844" fmla="*/ 4746116 h 5973007"/>
              <a:gd name="connsiteX10845" fmla="*/ 1777086 w 6884782"/>
              <a:gd name="connsiteY10845" fmla="*/ 4741470 h 5973007"/>
              <a:gd name="connsiteX10846" fmla="*/ 1783282 w 6884782"/>
              <a:gd name="connsiteY10846" fmla="*/ 4735584 h 5973007"/>
              <a:gd name="connsiteX10847" fmla="*/ 6655071 w 6884782"/>
              <a:gd name="connsiteY10847" fmla="*/ 4735499 h 5973007"/>
              <a:gd name="connsiteX10848" fmla="*/ 6654141 w 6884782"/>
              <a:gd name="connsiteY10848" fmla="*/ 4742520 h 5973007"/>
              <a:gd name="connsiteX10849" fmla="*/ 6635399 w 6884782"/>
              <a:gd name="connsiteY10849" fmla="*/ 4758112 h 5973007"/>
              <a:gd name="connsiteX10850" fmla="*/ 6632301 w 6884782"/>
              <a:gd name="connsiteY10850" fmla="*/ 4753569 h 5973007"/>
              <a:gd name="connsiteX10851" fmla="*/ 6633540 w 6884782"/>
              <a:gd name="connsiteY10851" fmla="*/ 4746547 h 5973007"/>
              <a:gd name="connsiteX10852" fmla="*/ 6655071 w 6884782"/>
              <a:gd name="connsiteY10852" fmla="*/ 4735499 h 5973007"/>
              <a:gd name="connsiteX10853" fmla="*/ 1135506 w 6884782"/>
              <a:gd name="connsiteY10853" fmla="*/ 4735275 h 5973007"/>
              <a:gd name="connsiteX10854" fmla="*/ 1135351 w 6884782"/>
              <a:gd name="connsiteY10854" fmla="*/ 4748698 h 5973007"/>
              <a:gd name="connsiteX10855" fmla="*/ 1128381 w 6884782"/>
              <a:gd name="connsiteY10855" fmla="*/ 4744464 h 5973007"/>
              <a:gd name="connsiteX10856" fmla="*/ 1135506 w 6884782"/>
              <a:gd name="connsiteY10856" fmla="*/ 4735275 h 5973007"/>
              <a:gd name="connsiteX10857" fmla="*/ 6099613 w 6884782"/>
              <a:gd name="connsiteY10857" fmla="*/ 4735086 h 5973007"/>
              <a:gd name="connsiteX10858" fmla="*/ 6091713 w 6884782"/>
              <a:gd name="connsiteY10858" fmla="*/ 4757596 h 5973007"/>
              <a:gd name="connsiteX10859" fmla="*/ 6099613 w 6884782"/>
              <a:gd name="connsiteY10859" fmla="*/ 4735086 h 5973007"/>
              <a:gd name="connsiteX10860" fmla="*/ 6032853 w 6884782"/>
              <a:gd name="connsiteY10860" fmla="*/ 4734673 h 5973007"/>
              <a:gd name="connsiteX10861" fmla="*/ 6033627 w 6884782"/>
              <a:gd name="connsiteY10861" fmla="*/ 4734673 h 5973007"/>
              <a:gd name="connsiteX10862" fmla="*/ 6030994 w 6884782"/>
              <a:gd name="connsiteY10862" fmla="*/ 4745205 h 5973007"/>
              <a:gd name="connsiteX10863" fmla="*/ 6029445 w 6884782"/>
              <a:gd name="connsiteY10863" fmla="*/ 4746134 h 5973007"/>
              <a:gd name="connsiteX10864" fmla="*/ 6027586 w 6884782"/>
              <a:gd name="connsiteY10864" fmla="*/ 4745205 h 5973007"/>
              <a:gd name="connsiteX10865" fmla="*/ 6026502 w 6884782"/>
              <a:gd name="connsiteY10865" fmla="*/ 4743553 h 5973007"/>
              <a:gd name="connsiteX10866" fmla="*/ 6028051 w 6884782"/>
              <a:gd name="connsiteY10866" fmla="*/ 4740765 h 5973007"/>
              <a:gd name="connsiteX10867" fmla="*/ 6031768 w 6884782"/>
              <a:gd name="connsiteY10867" fmla="*/ 4737358 h 5973007"/>
              <a:gd name="connsiteX10868" fmla="*/ 6032853 w 6884782"/>
              <a:gd name="connsiteY10868" fmla="*/ 4734673 h 5973007"/>
              <a:gd name="connsiteX10869" fmla="*/ 1292880 w 6884782"/>
              <a:gd name="connsiteY10869" fmla="*/ 4734655 h 5973007"/>
              <a:gd name="connsiteX10870" fmla="*/ 1293190 w 6884782"/>
              <a:gd name="connsiteY10870" fmla="*/ 4737340 h 5973007"/>
              <a:gd name="connsiteX10871" fmla="*/ 1290712 w 6884782"/>
              <a:gd name="connsiteY10871" fmla="*/ 4737752 h 5973007"/>
              <a:gd name="connsiteX10872" fmla="*/ 1287769 w 6884782"/>
              <a:gd name="connsiteY10872" fmla="*/ 4737752 h 5973007"/>
              <a:gd name="connsiteX10873" fmla="*/ 1292880 w 6884782"/>
              <a:gd name="connsiteY10873" fmla="*/ 4734655 h 5973007"/>
              <a:gd name="connsiteX10874" fmla="*/ 642781 w 6884782"/>
              <a:gd name="connsiteY10874" fmla="*/ 4734448 h 5973007"/>
              <a:gd name="connsiteX10875" fmla="*/ 649131 w 6884782"/>
              <a:gd name="connsiteY10875" fmla="*/ 4735997 h 5973007"/>
              <a:gd name="connsiteX10876" fmla="*/ 646188 w 6884782"/>
              <a:gd name="connsiteY10876" fmla="*/ 4742915 h 5973007"/>
              <a:gd name="connsiteX10877" fmla="*/ 641697 w 6884782"/>
              <a:gd name="connsiteY10877" fmla="*/ 4741470 h 5973007"/>
              <a:gd name="connsiteX10878" fmla="*/ 642781 w 6884782"/>
              <a:gd name="connsiteY10878" fmla="*/ 4734448 h 5973007"/>
              <a:gd name="connsiteX10879" fmla="*/ 6264577 w 6884782"/>
              <a:gd name="connsiteY10879" fmla="*/ 4734363 h 5973007"/>
              <a:gd name="connsiteX10880" fmla="*/ 6249552 w 6884782"/>
              <a:gd name="connsiteY10880" fmla="*/ 4755427 h 5973007"/>
              <a:gd name="connsiteX10881" fmla="*/ 6264577 w 6884782"/>
              <a:gd name="connsiteY10881" fmla="*/ 4734363 h 5973007"/>
              <a:gd name="connsiteX10882" fmla="*/ 903471 w 6884782"/>
              <a:gd name="connsiteY10882" fmla="*/ 4734345 h 5973007"/>
              <a:gd name="connsiteX10883" fmla="*/ 901922 w 6884782"/>
              <a:gd name="connsiteY10883" fmla="*/ 4739611 h 5973007"/>
              <a:gd name="connsiteX10884" fmla="*/ 903471 w 6884782"/>
              <a:gd name="connsiteY10884" fmla="*/ 4734345 h 5973007"/>
              <a:gd name="connsiteX10885" fmla="*/ 1731857 w 6884782"/>
              <a:gd name="connsiteY10885" fmla="*/ 4733622 h 5973007"/>
              <a:gd name="connsiteX10886" fmla="*/ 1731082 w 6884782"/>
              <a:gd name="connsiteY10886" fmla="*/ 4737856 h 5973007"/>
              <a:gd name="connsiteX10887" fmla="*/ 1728294 w 6884782"/>
              <a:gd name="connsiteY10887" fmla="*/ 4740850 h 5973007"/>
              <a:gd name="connsiteX10888" fmla="*/ 1729223 w 6884782"/>
              <a:gd name="connsiteY10888" fmla="*/ 4742296 h 5973007"/>
              <a:gd name="connsiteX10889" fmla="*/ 1729223 w 6884782"/>
              <a:gd name="connsiteY10889" fmla="*/ 4745497 h 5973007"/>
              <a:gd name="connsiteX10890" fmla="*/ 1727210 w 6884782"/>
              <a:gd name="connsiteY10890" fmla="*/ 4742503 h 5973007"/>
              <a:gd name="connsiteX10891" fmla="*/ 1727210 w 6884782"/>
              <a:gd name="connsiteY10891" fmla="*/ 4741676 h 5973007"/>
              <a:gd name="connsiteX10892" fmla="*/ 1726435 w 6884782"/>
              <a:gd name="connsiteY10892" fmla="*/ 4742399 h 5973007"/>
              <a:gd name="connsiteX10893" fmla="*/ 1725816 w 6884782"/>
              <a:gd name="connsiteY10893" fmla="*/ 4744568 h 5973007"/>
              <a:gd name="connsiteX10894" fmla="*/ 1723492 w 6884782"/>
              <a:gd name="connsiteY10894" fmla="*/ 4745290 h 5973007"/>
              <a:gd name="connsiteX10895" fmla="*/ 1722873 w 6884782"/>
              <a:gd name="connsiteY10895" fmla="*/ 4744774 h 5973007"/>
              <a:gd name="connsiteX10896" fmla="*/ 1723337 w 6884782"/>
              <a:gd name="connsiteY10896" fmla="*/ 4742915 h 5973007"/>
              <a:gd name="connsiteX10897" fmla="*/ 1728604 w 6884782"/>
              <a:gd name="connsiteY10897" fmla="*/ 4735791 h 5973007"/>
              <a:gd name="connsiteX10898" fmla="*/ 1729533 w 6884782"/>
              <a:gd name="connsiteY10898" fmla="*/ 4734242 h 5973007"/>
              <a:gd name="connsiteX10899" fmla="*/ 1731857 w 6884782"/>
              <a:gd name="connsiteY10899" fmla="*/ 4733622 h 5973007"/>
              <a:gd name="connsiteX10900" fmla="*/ 1722563 w 6884782"/>
              <a:gd name="connsiteY10900" fmla="*/ 4733416 h 5973007"/>
              <a:gd name="connsiteX10901" fmla="*/ 1724421 w 6884782"/>
              <a:gd name="connsiteY10901" fmla="*/ 4734758 h 5973007"/>
              <a:gd name="connsiteX10902" fmla="*/ 1724267 w 6884782"/>
              <a:gd name="connsiteY10902" fmla="*/ 4735687 h 5973007"/>
              <a:gd name="connsiteX10903" fmla="*/ 1724267 w 6884782"/>
              <a:gd name="connsiteY10903" fmla="*/ 4739095 h 5973007"/>
              <a:gd name="connsiteX10904" fmla="*/ 1722098 w 6884782"/>
              <a:gd name="connsiteY10904" fmla="*/ 4740334 h 5973007"/>
              <a:gd name="connsiteX10905" fmla="*/ 1719930 w 6884782"/>
              <a:gd name="connsiteY10905" fmla="*/ 4740334 h 5973007"/>
              <a:gd name="connsiteX10906" fmla="*/ 1718381 w 6884782"/>
              <a:gd name="connsiteY10906" fmla="*/ 4734965 h 5973007"/>
              <a:gd name="connsiteX10907" fmla="*/ 1722563 w 6884782"/>
              <a:gd name="connsiteY10907" fmla="*/ 4733416 h 5973007"/>
              <a:gd name="connsiteX10908" fmla="*/ 1852831 w 6884782"/>
              <a:gd name="connsiteY10908" fmla="*/ 4733209 h 5973007"/>
              <a:gd name="connsiteX10909" fmla="*/ 1853760 w 6884782"/>
              <a:gd name="connsiteY10909" fmla="*/ 4736617 h 5973007"/>
              <a:gd name="connsiteX10910" fmla="*/ 1851591 w 6884782"/>
              <a:gd name="connsiteY10910" fmla="*/ 4738372 h 5973007"/>
              <a:gd name="connsiteX10911" fmla="*/ 1852831 w 6884782"/>
              <a:gd name="connsiteY10911" fmla="*/ 4733209 h 5973007"/>
              <a:gd name="connsiteX10912" fmla="*/ 1531885 w 6884782"/>
              <a:gd name="connsiteY10912" fmla="*/ 4733106 h 5973007"/>
              <a:gd name="connsiteX10913" fmla="*/ 1530956 w 6884782"/>
              <a:gd name="connsiteY10913" fmla="*/ 4739921 h 5973007"/>
              <a:gd name="connsiteX10914" fmla="*/ 1526464 w 6884782"/>
              <a:gd name="connsiteY10914" fmla="*/ 4736204 h 5973007"/>
              <a:gd name="connsiteX10915" fmla="*/ 1531885 w 6884782"/>
              <a:gd name="connsiteY10915" fmla="*/ 4733106 h 5973007"/>
              <a:gd name="connsiteX10916" fmla="*/ 775527 w 6884782"/>
              <a:gd name="connsiteY10916" fmla="*/ 4733003 h 5973007"/>
              <a:gd name="connsiteX10917" fmla="*/ 779399 w 6884782"/>
              <a:gd name="connsiteY10917" fmla="*/ 4734448 h 5973007"/>
              <a:gd name="connsiteX10918" fmla="*/ 775062 w 6884782"/>
              <a:gd name="connsiteY10918" fmla="*/ 4741160 h 5973007"/>
              <a:gd name="connsiteX10919" fmla="*/ 772584 w 6884782"/>
              <a:gd name="connsiteY10919" fmla="*/ 4740644 h 5973007"/>
              <a:gd name="connsiteX10920" fmla="*/ 772893 w 6884782"/>
              <a:gd name="connsiteY10920" fmla="*/ 4734345 h 5973007"/>
              <a:gd name="connsiteX10921" fmla="*/ 775527 w 6884782"/>
              <a:gd name="connsiteY10921" fmla="*/ 4733003 h 5973007"/>
              <a:gd name="connsiteX10922" fmla="*/ 1836567 w 6884782"/>
              <a:gd name="connsiteY10922" fmla="*/ 4732280 h 5973007"/>
              <a:gd name="connsiteX10923" fmla="*/ 1825879 w 6884782"/>
              <a:gd name="connsiteY10923" fmla="*/ 4754377 h 5973007"/>
              <a:gd name="connsiteX10924" fmla="*/ 1836567 w 6884782"/>
              <a:gd name="connsiteY10924" fmla="*/ 4732280 h 5973007"/>
              <a:gd name="connsiteX10925" fmla="*/ 1388761 w 6884782"/>
              <a:gd name="connsiteY10925" fmla="*/ 4732074 h 5973007"/>
              <a:gd name="connsiteX10926" fmla="*/ 1392479 w 6884782"/>
              <a:gd name="connsiteY10926" fmla="*/ 4732383 h 5973007"/>
              <a:gd name="connsiteX10927" fmla="*/ 1394028 w 6884782"/>
              <a:gd name="connsiteY10927" fmla="*/ 4733622 h 5973007"/>
              <a:gd name="connsiteX10928" fmla="*/ 1394338 w 6884782"/>
              <a:gd name="connsiteY10928" fmla="*/ 4735275 h 5973007"/>
              <a:gd name="connsiteX10929" fmla="*/ 1392944 w 6884782"/>
              <a:gd name="connsiteY10929" fmla="*/ 4736720 h 5973007"/>
              <a:gd name="connsiteX10930" fmla="*/ 1391239 w 6884782"/>
              <a:gd name="connsiteY10930" fmla="*/ 4738062 h 5973007"/>
              <a:gd name="connsiteX10931" fmla="*/ 1389691 w 6884782"/>
              <a:gd name="connsiteY10931" fmla="*/ 4738062 h 5973007"/>
              <a:gd name="connsiteX10932" fmla="*/ 1387522 w 6884782"/>
              <a:gd name="connsiteY10932" fmla="*/ 4737133 h 5973007"/>
              <a:gd name="connsiteX10933" fmla="*/ 1387832 w 6884782"/>
              <a:gd name="connsiteY10933" fmla="*/ 4735171 h 5973007"/>
              <a:gd name="connsiteX10934" fmla="*/ 1387522 w 6884782"/>
              <a:gd name="connsiteY10934" fmla="*/ 4733622 h 5973007"/>
              <a:gd name="connsiteX10935" fmla="*/ 1388296 w 6884782"/>
              <a:gd name="connsiteY10935" fmla="*/ 4733209 h 5973007"/>
              <a:gd name="connsiteX10936" fmla="*/ 1388761 w 6884782"/>
              <a:gd name="connsiteY10936" fmla="*/ 4732074 h 5973007"/>
              <a:gd name="connsiteX10937" fmla="*/ 1858562 w 6884782"/>
              <a:gd name="connsiteY10937" fmla="*/ 4731247 h 5973007"/>
              <a:gd name="connsiteX10938" fmla="*/ 1871728 w 6884782"/>
              <a:gd name="connsiteY10938" fmla="*/ 4747355 h 5973007"/>
              <a:gd name="connsiteX10939" fmla="*/ 1864448 w 6884782"/>
              <a:gd name="connsiteY10939" fmla="*/ 4751279 h 5973007"/>
              <a:gd name="connsiteX10940" fmla="*/ 1858562 w 6884782"/>
              <a:gd name="connsiteY10940" fmla="*/ 4731247 h 5973007"/>
              <a:gd name="connsiteX10941" fmla="*/ 950250 w 6884782"/>
              <a:gd name="connsiteY10941" fmla="*/ 4731144 h 5973007"/>
              <a:gd name="connsiteX10942" fmla="*/ 949940 w 6884782"/>
              <a:gd name="connsiteY10942" fmla="*/ 4734448 h 5973007"/>
              <a:gd name="connsiteX10943" fmla="*/ 949475 w 6884782"/>
              <a:gd name="connsiteY10943" fmla="*/ 4735068 h 5973007"/>
              <a:gd name="connsiteX10944" fmla="*/ 949166 w 6884782"/>
              <a:gd name="connsiteY10944" fmla="*/ 4734448 h 5973007"/>
              <a:gd name="connsiteX10945" fmla="*/ 950250 w 6884782"/>
              <a:gd name="connsiteY10945" fmla="*/ 4731144 h 5973007"/>
              <a:gd name="connsiteX10946" fmla="*/ 1852366 w 6884782"/>
              <a:gd name="connsiteY10946" fmla="*/ 4730835 h 5973007"/>
              <a:gd name="connsiteX10947" fmla="*/ 1852831 w 6884782"/>
              <a:gd name="connsiteY10947" fmla="*/ 4732693 h 5973007"/>
              <a:gd name="connsiteX10948" fmla="*/ 1852057 w 6884782"/>
              <a:gd name="connsiteY10948" fmla="*/ 4732900 h 5973007"/>
              <a:gd name="connsiteX10949" fmla="*/ 1852366 w 6884782"/>
              <a:gd name="connsiteY10949" fmla="*/ 4730835 h 5973007"/>
              <a:gd name="connsiteX10950" fmla="*/ 6393451 w 6884782"/>
              <a:gd name="connsiteY10950" fmla="*/ 4730749 h 5973007"/>
              <a:gd name="connsiteX10951" fmla="*/ 6404759 w 6884782"/>
              <a:gd name="connsiteY10951" fmla="*/ 4741591 h 5973007"/>
              <a:gd name="connsiteX10952" fmla="*/ 6402590 w 6884782"/>
              <a:gd name="connsiteY10952" fmla="*/ 4746650 h 5973007"/>
              <a:gd name="connsiteX10953" fmla="*/ 6393451 w 6884782"/>
              <a:gd name="connsiteY10953" fmla="*/ 4730749 h 5973007"/>
              <a:gd name="connsiteX10954" fmla="*/ 1037147 w 6884782"/>
              <a:gd name="connsiteY10954" fmla="*/ 4730525 h 5973007"/>
              <a:gd name="connsiteX10955" fmla="*/ 1043033 w 6884782"/>
              <a:gd name="connsiteY10955" fmla="*/ 4732486 h 5973007"/>
              <a:gd name="connsiteX10956" fmla="*/ 1044117 w 6884782"/>
              <a:gd name="connsiteY10956" fmla="*/ 4735171 h 5973007"/>
              <a:gd name="connsiteX10957" fmla="*/ 1043497 w 6884782"/>
              <a:gd name="connsiteY10957" fmla="*/ 4740334 h 5973007"/>
              <a:gd name="connsiteX10958" fmla="*/ 1044272 w 6884782"/>
              <a:gd name="connsiteY10958" fmla="*/ 4740334 h 5973007"/>
              <a:gd name="connsiteX10959" fmla="*/ 1039316 w 6884782"/>
              <a:gd name="connsiteY10959" fmla="*/ 4740953 h 5973007"/>
              <a:gd name="connsiteX10960" fmla="*/ 1038851 w 6884782"/>
              <a:gd name="connsiteY10960" fmla="*/ 4740437 h 5973007"/>
              <a:gd name="connsiteX10961" fmla="*/ 1039160 w 6884782"/>
              <a:gd name="connsiteY10961" fmla="*/ 4741160 h 5973007"/>
              <a:gd name="connsiteX10962" fmla="*/ 1033739 w 6884782"/>
              <a:gd name="connsiteY10962" fmla="*/ 4743948 h 5973007"/>
              <a:gd name="connsiteX10963" fmla="*/ 1027543 w 6884782"/>
              <a:gd name="connsiteY10963" fmla="*/ 4741470 h 5973007"/>
              <a:gd name="connsiteX10964" fmla="*/ 1033739 w 6884782"/>
              <a:gd name="connsiteY10964" fmla="*/ 4733209 h 5973007"/>
              <a:gd name="connsiteX10965" fmla="*/ 1034979 w 6884782"/>
              <a:gd name="connsiteY10965" fmla="*/ 4734448 h 5973007"/>
              <a:gd name="connsiteX10966" fmla="*/ 1035598 w 6884782"/>
              <a:gd name="connsiteY10966" fmla="*/ 4732693 h 5973007"/>
              <a:gd name="connsiteX10967" fmla="*/ 1037147 w 6884782"/>
              <a:gd name="connsiteY10967" fmla="*/ 4730525 h 5973007"/>
              <a:gd name="connsiteX10968" fmla="*/ 1509581 w 6884782"/>
              <a:gd name="connsiteY10968" fmla="*/ 4730215 h 5973007"/>
              <a:gd name="connsiteX10969" fmla="*/ 1515621 w 6884782"/>
              <a:gd name="connsiteY10969" fmla="*/ 4733622 h 5973007"/>
              <a:gd name="connsiteX10970" fmla="*/ 1513763 w 6884782"/>
              <a:gd name="connsiteY10970" fmla="*/ 4733622 h 5973007"/>
              <a:gd name="connsiteX10971" fmla="*/ 1511594 w 6884782"/>
              <a:gd name="connsiteY10971" fmla="*/ 4733106 h 5973007"/>
              <a:gd name="connsiteX10972" fmla="*/ 1509271 w 6884782"/>
              <a:gd name="connsiteY10972" fmla="*/ 4732590 h 5973007"/>
              <a:gd name="connsiteX10973" fmla="*/ 1507412 w 6884782"/>
              <a:gd name="connsiteY10973" fmla="*/ 4732693 h 5973007"/>
              <a:gd name="connsiteX10974" fmla="*/ 1504159 w 6884782"/>
              <a:gd name="connsiteY10974" fmla="*/ 4730628 h 5973007"/>
              <a:gd name="connsiteX10975" fmla="*/ 1505863 w 6884782"/>
              <a:gd name="connsiteY10975" fmla="*/ 4730525 h 5973007"/>
              <a:gd name="connsiteX10976" fmla="*/ 1508186 w 6884782"/>
              <a:gd name="connsiteY10976" fmla="*/ 4731041 h 5973007"/>
              <a:gd name="connsiteX10977" fmla="*/ 1509581 w 6884782"/>
              <a:gd name="connsiteY10977" fmla="*/ 4730215 h 5973007"/>
              <a:gd name="connsiteX10978" fmla="*/ 6275265 w 6884782"/>
              <a:gd name="connsiteY10978" fmla="*/ 4729304 h 5973007"/>
              <a:gd name="connsiteX10979" fmla="*/ 6283010 w 6884782"/>
              <a:gd name="connsiteY10979" fmla="*/ 4729407 h 5973007"/>
              <a:gd name="connsiteX10980" fmla="*/ 6283784 w 6884782"/>
              <a:gd name="connsiteY10980" fmla="*/ 4731162 h 5973007"/>
              <a:gd name="connsiteX10981" fmla="*/ 6284094 w 6884782"/>
              <a:gd name="connsiteY10981" fmla="*/ 4735602 h 5973007"/>
              <a:gd name="connsiteX10982" fmla="*/ 6281306 w 6884782"/>
              <a:gd name="connsiteY10982" fmla="*/ 4737151 h 5973007"/>
              <a:gd name="connsiteX10983" fmla="*/ 6278208 w 6884782"/>
              <a:gd name="connsiteY10983" fmla="*/ 4735499 h 5973007"/>
              <a:gd name="connsiteX10984" fmla="*/ 6276350 w 6884782"/>
              <a:gd name="connsiteY10984" fmla="*/ 4732401 h 5973007"/>
              <a:gd name="connsiteX10985" fmla="*/ 6275265 w 6884782"/>
              <a:gd name="connsiteY10985" fmla="*/ 4729304 h 5973007"/>
              <a:gd name="connsiteX10986" fmla="*/ 962951 w 6884782"/>
              <a:gd name="connsiteY10986" fmla="*/ 4728356 h 5973007"/>
              <a:gd name="connsiteX10987" fmla="*/ 966979 w 6884782"/>
              <a:gd name="connsiteY10987" fmla="*/ 4730938 h 5973007"/>
              <a:gd name="connsiteX10988" fmla="*/ 962642 w 6884782"/>
              <a:gd name="connsiteY10988" fmla="*/ 4737752 h 5973007"/>
              <a:gd name="connsiteX10989" fmla="*/ 958459 w 6884782"/>
              <a:gd name="connsiteY10989" fmla="*/ 4733932 h 5973007"/>
              <a:gd name="connsiteX10990" fmla="*/ 958615 w 6884782"/>
              <a:gd name="connsiteY10990" fmla="*/ 4731247 h 5973007"/>
              <a:gd name="connsiteX10991" fmla="*/ 960628 w 6884782"/>
              <a:gd name="connsiteY10991" fmla="*/ 4728976 h 5973007"/>
              <a:gd name="connsiteX10992" fmla="*/ 962951 w 6884782"/>
              <a:gd name="connsiteY10992" fmla="*/ 4728356 h 5973007"/>
              <a:gd name="connsiteX10993" fmla="*/ 6056861 w 6884782"/>
              <a:gd name="connsiteY10993" fmla="*/ 4728065 h 5973007"/>
              <a:gd name="connsiteX10994" fmla="*/ 6057636 w 6884782"/>
              <a:gd name="connsiteY10994" fmla="*/ 4729613 h 5973007"/>
              <a:gd name="connsiteX10995" fmla="*/ 6058100 w 6884782"/>
              <a:gd name="connsiteY10995" fmla="*/ 4731988 h 5973007"/>
              <a:gd name="connsiteX10996" fmla="*/ 6059495 w 6884782"/>
              <a:gd name="connsiteY10996" fmla="*/ 4732917 h 5973007"/>
              <a:gd name="connsiteX10997" fmla="*/ 6058875 w 6884782"/>
              <a:gd name="connsiteY10997" fmla="*/ 4739732 h 5973007"/>
              <a:gd name="connsiteX10998" fmla="*/ 6057946 w 6884782"/>
              <a:gd name="connsiteY10998" fmla="*/ 4738080 h 5973007"/>
              <a:gd name="connsiteX10999" fmla="*/ 6057636 w 6884782"/>
              <a:gd name="connsiteY10999" fmla="*/ 4735809 h 5973007"/>
              <a:gd name="connsiteX11000" fmla="*/ 6057171 w 6884782"/>
              <a:gd name="connsiteY11000" fmla="*/ 4733434 h 5973007"/>
              <a:gd name="connsiteX11001" fmla="*/ 6056242 w 6884782"/>
              <a:gd name="connsiteY11001" fmla="*/ 4731885 h 5973007"/>
              <a:gd name="connsiteX11002" fmla="*/ 6056861 w 6884782"/>
              <a:gd name="connsiteY11002" fmla="*/ 4728065 h 5973007"/>
              <a:gd name="connsiteX11003" fmla="*/ 1270421 w 6884782"/>
              <a:gd name="connsiteY11003" fmla="*/ 4727943 h 5973007"/>
              <a:gd name="connsiteX11004" fmla="*/ 1269336 w 6884782"/>
              <a:gd name="connsiteY11004" fmla="*/ 4729595 h 5973007"/>
              <a:gd name="connsiteX11005" fmla="*/ 1268717 w 6884782"/>
              <a:gd name="connsiteY11005" fmla="*/ 4730318 h 5973007"/>
              <a:gd name="connsiteX11006" fmla="*/ 1267787 w 6884782"/>
              <a:gd name="connsiteY11006" fmla="*/ 4733622 h 5973007"/>
              <a:gd name="connsiteX11007" fmla="*/ 1269801 w 6884782"/>
              <a:gd name="connsiteY11007" fmla="*/ 4757371 h 5973007"/>
              <a:gd name="connsiteX11008" fmla="*/ 1263141 w 6884782"/>
              <a:gd name="connsiteY11008" fmla="*/ 4746942 h 5973007"/>
              <a:gd name="connsiteX11009" fmla="*/ 1260817 w 6884782"/>
              <a:gd name="connsiteY11009" fmla="*/ 4732486 h 5973007"/>
              <a:gd name="connsiteX11010" fmla="*/ 1264534 w 6884782"/>
              <a:gd name="connsiteY11010" fmla="*/ 4729595 h 5973007"/>
              <a:gd name="connsiteX11011" fmla="*/ 1266393 w 6884782"/>
              <a:gd name="connsiteY11011" fmla="*/ 4728976 h 5973007"/>
              <a:gd name="connsiteX11012" fmla="*/ 1266858 w 6884782"/>
              <a:gd name="connsiteY11012" fmla="*/ 4728253 h 5973007"/>
              <a:gd name="connsiteX11013" fmla="*/ 1270421 w 6884782"/>
              <a:gd name="connsiteY11013" fmla="*/ 4727943 h 5973007"/>
              <a:gd name="connsiteX11014" fmla="*/ 1851281 w 6884782"/>
              <a:gd name="connsiteY11014" fmla="*/ 4726704 h 5973007"/>
              <a:gd name="connsiteX11015" fmla="*/ 1852211 w 6884782"/>
              <a:gd name="connsiteY11015" fmla="*/ 4727324 h 5973007"/>
              <a:gd name="connsiteX11016" fmla="*/ 1850972 w 6884782"/>
              <a:gd name="connsiteY11016" fmla="*/ 4728769 h 5973007"/>
              <a:gd name="connsiteX11017" fmla="*/ 1851281 w 6884782"/>
              <a:gd name="connsiteY11017" fmla="*/ 4726704 h 5973007"/>
              <a:gd name="connsiteX11018" fmla="*/ 6565076 w 6884782"/>
              <a:gd name="connsiteY11018" fmla="*/ 4726619 h 5973007"/>
              <a:gd name="connsiteX11019" fmla="*/ 6568948 w 6884782"/>
              <a:gd name="connsiteY11019" fmla="*/ 4741384 h 5973007"/>
              <a:gd name="connsiteX11020" fmla="*/ 6566005 w 6884782"/>
              <a:gd name="connsiteY11020" fmla="*/ 4742520 h 5973007"/>
              <a:gd name="connsiteX11021" fmla="*/ 6563372 w 6884782"/>
              <a:gd name="connsiteY11021" fmla="*/ 4742520 h 5973007"/>
              <a:gd name="connsiteX11022" fmla="*/ 6557951 w 6884782"/>
              <a:gd name="connsiteY11022" fmla="*/ 4730130 h 5973007"/>
              <a:gd name="connsiteX11023" fmla="*/ 6565076 w 6884782"/>
              <a:gd name="connsiteY11023" fmla="*/ 4726619 h 5973007"/>
              <a:gd name="connsiteX11024" fmla="*/ 1144025 w 6884782"/>
              <a:gd name="connsiteY11024" fmla="*/ 4725672 h 5973007"/>
              <a:gd name="connsiteX11025" fmla="*/ 1152390 w 6884782"/>
              <a:gd name="connsiteY11025" fmla="*/ 4725981 h 5973007"/>
              <a:gd name="connsiteX11026" fmla="*/ 1155487 w 6884782"/>
              <a:gd name="connsiteY11026" fmla="*/ 4730112 h 5973007"/>
              <a:gd name="connsiteX11027" fmla="*/ 1155798 w 6884782"/>
              <a:gd name="connsiteY11027" fmla="*/ 4731867 h 5973007"/>
              <a:gd name="connsiteX11028" fmla="*/ 1155798 w 6884782"/>
              <a:gd name="connsiteY11028" fmla="*/ 4731764 h 5973007"/>
              <a:gd name="connsiteX11029" fmla="*/ 1164317 w 6884782"/>
              <a:gd name="connsiteY11029" fmla="*/ 4737443 h 5973007"/>
              <a:gd name="connsiteX11030" fmla="*/ 1159360 w 6884782"/>
              <a:gd name="connsiteY11030" fmla="*/ 4743432 h 5973007"/>
              <a:gd name="connsiteX11031" fmla="*/ 1153938 w 6884782"/>
              <a:gd name="connsiteY11031" fmla="*/ 4740747 h 5973007"/>
              <a:gd name="connsiteX11032" fmla="*/ 1149137 w 6884782"/>
              <a:gd name="connsiteY11032" fmla="*/ 4743638 h 5973007"/>
              <a:gd name="connsiteX11033" fmla="*/ 1144025 w 6884782"/>
              <a:gd name="connsiteY11033" fmla="*/ 4725672 h 5973007"/>
              <a:gd name="connsiteX11034" fmla="*/ 6576848 w 6884782"/>
              <a:gd name="connsiteY11034" fmla="*/ 4725380 h 5973007"/>
              <a:gd name="connsiteX11035" fmla="*/ 6584128 w 6884782"/>
              <a:gd name="connsiteY11035" fmla="*/ 4733640 h 5973007"/>
              <a:gd name="connsiteX11036" fmla="*/ 6576848 w 6884782"/>
              <a:gd name="connsiteY11036" fmla="*/ 4725380 h 5973007"/>
              <a:gd name="connsiteX11037" fmla="*/ 6371611 w 6884782"/>
              <a:gd name="connsiteY11037" fmla="*/ 4724657 h 5973007"/>
              <a:gd name="connsiteX11038" fmla="*/ 6361387 w 6884782"/>
              <a:gd name="connsiteY11038" fmla="*/ 4737151 h 5973007"/>
              <a:gd name="connsiteX11039" fmla="*/ 6371611 w 6884782"/>
              <a:gd name="connsiteY11039" fmla="*/ 4724657 h 5973007"/>
              <a:gd name="connsiteX11040" fmla="*/ 6342026 w 6884782"/>
              <a:gd name="connsiteY11040" fmla="*/ 4724450 h 5973007"/>
              <a:gd name="connsiteX11041" fmla="*/ 6348686 w 6884782"/>
              <a:gd name="connsiteY11041" fmla="*/ 4737564 h 5973007"/>
              <a:gd name="connsiteX11042" fmla="*/ 6344504 w 6884782"/>
              <a:gd name="connsiteY11042" fmla="*/ 4740765 h 5973007"/>
              <a:gd name="connsiteX11043" fmla="*/ 6335520 w 6884782"/>
              <a:gd name="connsiteY11043" fmla="*/ 4729097 h 5973007"/>
              <a:gd name="connsiteX11044" fmla="*/ 6342026 w 6884782"/>
              <a:gd name="connsiteY11044" fmla="*/ 4724450 h 5973007"/>
              <a:gd name="connsiteX11045" fmla="*/ 1810079 w 6884782"/>
              <a:gd name="connsiteY11045" fmla="*/ 4724019 h 5973007"/>
              <a:gd name="connsiteX11046" fmla="*/ 1799392 w 6884782"/>
              <a:gd name="connsiteY11046" fmla="*/ 4731867 h 5973007"/>
              <a:gd name="connsiteX11047" fmla="*/ 1800631 w 6884782"/>
              <a:gd name="connsiteY11047" fmla="*/ 4729492 h 5973007"/>
              <a:gd name="connsiteX11048" fmla="*/ 1810079 w 6884782"/>
              <a:gd name="connsiteY11048" fmla="*/ 4724019 h 5973007"/>
              <a:gd name="connsiteX11049" fmla="*/ 1078195 w 6884782"/>
              <a:gd name="connsiteY11049" fmla="*/ 4724019 h 5973007"/>
              <a:gd name="connsiteX11050" fmla="*/ 1079898 w 6884782"/>
              <a:gd name="connsiteY11050" fmla="*/ 4729595 h 5973007"/>
              <a:gd name="connsiteX11051" fmla="*/ 1075406 w 6884782"/>
              <a:gd name="connsiteY11051" fmla="*/ 4735275 h 5973007"/>
              <a:gd name="connsiteX11052" fmla="*/ 1073702 w 6884782"/>
              <a:gd name="connsiteY11052" fmla="*/ 4732486 h 5973007"/>
              <a:gd name="connsiteX11053" fmla="*/ 1078195 w 6884782"/>
              <a:gd name="connsiteY11053" fmla="*/ 4724019 h 5973007"/>
              <a:gd name="connsiteX11054" fmla="*/ 6019841 w 6884782"/>
              <a:gd name="connsiteY11054" fmla="*/ 4723211 h 5973007"/>
              <a:gd name="connsiteX11055" fmla="*/ 6020461 w 6884782"/>
              <a:gd name="connsiteY11055" fmla="*/ 4724657 h 5973007"/>
              <a:gd name="connsiteX11056" fmla="*/ 6023713 w 6884782"/>
              <a:gd name="connsiteY11056" fmla="*/ 4725070 h 5973007"/>
              <a:gd name="connsiteX11057" fmla="*/ 6028051 w 6884782"/>
              <a:gd name="connsiteY11057" fmla="*/ 4723418 h 5973007"/>
              <a:gd name="connsiteX11058" fmla="*/ 6022629 w 6884782"/>
              <a:gd name="connsiteY11058" fmla="*/ 4726722 h 5973007"/>
              <a:gd name="connsiteX11059" fmla="*/ 6022165 w 6884782"/>
              <a:gd name="connsiteY11059" fmla="*/ 4727858 h 5973007"/>
              <a:gd name="connsiteX11060" fmla="*/ 6022320 w 6884782"/>
              <a:gd name="connsiteY11060" fmla="*/ 4728065 h 5973007"/>
              <a:gd name="connsiteX11061" fmla="*/ 6022010 w 6884782"/>
              <a:gd name="connsiteY11061" fmla="*/ 4728374 h 5973007"/>
              <a:gd name="connsiteX11062" fmla="*/ 6021545 w 6884782"/>
              <a:gd name="connsiteY11062" fmla="*/ 4729304 h 5973007"/>
              <a:gd name="connsiteX11063" fmla="*/ 6021235 w 6884782"/>
              <a:gd name="connsiteY11063" fmla="*/ 4729407 h 5973007"/>
              <a:gd name="connsiteX11064" fmla="*/ 6020151 w 6884782"/>
              <a:gd name="connsiteY11064" fmla="*/ 4731472 h 5973007"/>
              <a:gd name="connsiteX11065" fmla="*/ 6018602 w 6884782"/>
              <a:gd name="connsiteY11065" fmla="*/ 4735292 h 5973007"/>
              <a:gd name="connsiteX11066" fmla="*/ 6016434 w 6884782"/>
              <a:gd name="connsiteY11066" fmla="*/ 4735602 h 5973007"/>
              <a:gd name="connsiteX11067" fmla="*/ 6015194 w 6884782"/>
              <a:gd name="connsiteY11067" fmla="*/ 4733227 h 5973007"/>
              <a:gd name="connsiteX11068" fmla="*/ 6015969 w 6884782"/>
              <a:gd name="connsiteY11068" fmla="*/ 4729923 h 5973007"/>
              <a:gd name="connsiteX11069" fmla="*/ 6015504 w 6884782"/>
              <a:gd name="connsiteY11069" fmla="*/ 4729097 h 5973007"/>
              <a:gd name="connsiteX11070" fmla="*/ 6016743 w 6884782"/>
              <a:gd name="connsiteY11070" fmla="*/ 4726619 h 5973007"/>
              <a:gd name="connsiteX11071" fmla="*/ 6017673 w 6884782"/>
              <a:gd name="connsiteY11071" fmla="*/ 4725999 h 5973007"/>
              <a:gd name="connsiteX11072" fmla="*/ 1744558 w 6884782"/>
              <a:gd name="connsiteY11072" fmla="*/ 4722884 h 5973007"/>
              <a:gd name="connsiteX11073" fmla="*/ 1750289 w 6884782"/>
              <a:gd name="connsiteY11073" fmla="*/ 4726085 h 5973007"/>
              <a:gd name="connsiteX11074" fmla="*/ 1748276 w 6884782"/>
              <a:gd name="connsiteY11074" fmla="*/ 4726188 h 5973007"/>
              <a:gd name="connsiteX11075" fmla="*/ 1746107 w 6884782"/>
              <a:gd name="connsiteY11075" fmla="*/ 4725775 h 5973007"/>
              <a:gd name="connsiteX11076" fmla="*/ 1743938 w 6884782"/>
              <a:gd name="connsiteY11076" fmla="*/ 4725259 h 5973007"/>
              <a:gd name="connsiteX11077" fmla="*/ 1742080 w 6884782"/>
              <a:gd name="connsiteY11077" fmla="*/ 4725465 h 5973007"/>
              <a:gd name="connsiteX11078" fmla="*/ 1739137 w 6884782"/>
              <a:gd name="connsiteY11078" fmla="*/ 4723400 h 5973007"/>
              <a:gd name="connsiteX11079" fmla="*/ 1740996 w 6884782"/>
              <a:gd name="connsiteY11079" fmla="*/ 4723297 h 5973007"/>
              <a:gd name="connsiteX11080" fmla="*/ 1743164 w 6884782"/>
              <a:gd name="connsiteY11080" fmla="*/ 4723813 h 5973007"/>
              <a:gd name="connsiteX11081" fmla="*/ 1744558 w 6884782"/>
              <a:gd name="connsiteY11081" fmla="*/ 4722884 h 5973007"/>
              <a:gd name="connsiteX11082" fmla="*/ 1418502 w 6884782"/>
              <a:gd name="connsiteY11082" fmla="*/ 4721541 h 5973007"/>
              <a:gd name="connsiteX11083" fmla="*/ 1427021 w 6884782"/>
              <a:gd name="connsiteY11083" fmla="*/ 4726498 h 5973007"/>
              <a:gd name="connsiteX11084" fmla="*/ 1425627 w 6884782"/>
              <a:gd name="connsiteY11084" fmla="*/ 4730112 h 5973007"/>
              <a:gd name="connsiteX11085" fmla="*/ 1422838 w 6884782"/>
              <a:gd name="connsiteY11085" fmla="*/ 4731351 h 5973007"/>
              <a:gd name="connsiteX11086" fmla="*/ 1416023 w 6884782"/>
              <a:gd name="connsiteY11086" fmla="*/ 4726601 h 5973007"/>
              <a:gd name="connsiteX11087" fmla="*/ 1418502 w 6884782"/>
              <a:gd name="connsiteY11087" fmla="*/ 4721541 h 5973007"/>
              <a:gd name="connsiteX11088" fmla="*/ 1025529 w 6884782"/>
              <a:gd name="connsiteY11088" fmla="*/ 4721232 h 5973007"/>
              <a:gd name="connsiteX11089" fmla="*/ 1019953 w 6884782"/>
              <a:gd name="connsiteY11089" fmla="*/ 4727634 h 5973007"/>
              <a:gd name="connsiteX11090" fmla="*/ 1017939 w 6884782"/>
              <a:gd name="connsiteY11090" fmla="*/ 4726704 h 5973007"/>
              <a:gd name="connsiteX11091" fmla="*/ 1025529 w 6884782"/>
              <a:gd name="connsiteY11091" fmla="*/ 4721232 h 5973007"/>
              <a:gd name="connsiteX11092" fmla="*/ 6357670 w 6884782"/>
              <a:gd name="connsiteY11092" fmla="*/ 4720837 h 5973007"/>
              <a:gd name="connsiteX11093" fmla="*/ 6362162 w 6884782"/>
              <a:gd name="connsiteY11093" fmla="*/ 4727548 h 5973007"/>
              <a:gd name="connsiteX11094" fmla="*/ 6360613 w 6884782"/>
              <a:gd name="connsiteY11094" fmla="*/ 4729613 h 5973007"/>
              <a:gd name="connsiteX11095" fmla="*/ 6355037 w 6884782"/>
              <a:gd name="connsiteY11095" fmla="*/ 4726619 h 5973007"/>
              <a:gd name="connsiteX11096" fmla="*/ 6354882 w 6884782"/>
              <a:gd name="connsiteY11096" fmla="*/ 4723728 h 5973007"/>
              <a:gd name="connsiteX11097" fmla="*/ 6357670 w 6884782"/>
              <a:gd name="connsiteY11097" fmla="*/ 4720837 h 5973007"/>
              <a:gd name="connsiteX11098" fmla="*/ 1584860 w 6884782"/>
              <a:gd name="connsiteY11098" fmla="*/ 4720818 h 5973007"/>
              <a:gd name="connsiteX11099" fmla="*/ 1594929 w 6884782"/>
              <a:gd name="connsiteY11099" fmla="*/ 4732486 h 5973007"/>
              <a:gd name="connsiteX11100" fmla="*/ 1590901 w 6884782"/>
              <a:gd name="connsiteY11100" fmla="*/ 4735275 h 5973007"/>
              <a:gd name="connsiteX11101" fmla="*/ 1588268 w 6884782"/>
              <a:gd name="connsiteY11101" fmla="*/ 4734655 h 5973007"/>
              <a:gd name="connsiteX11102" fmla="*/ 1587029 w 6884782"/>
              <a:gd name="connsiteY11102" fmla="*/ 4736617 h 5973007"/>
              <a:gd name="connsiteX11103" fmla="*/ 1583776 w 6884782"/>
              <a:gd name="connsiteY11103" fmla="*/ 4735378 h 5973007"/>
              <a:gd name="connsiteX11104" fmla="*/ 1584240 w 6884782"/>
              <a:gd name="connsiteY11104" fmla="*/ 4731351 h 5973007"/>
              <a:gd name="connsiteX11105" fmla="*/ 1583466 w 6884782"/>
              <a:gd name="connsiteY11105" fmla="*/ 4728976 h 5973007"/>
              <a:gd name="connsiteX11106" fmla="*/ 1581297 w 6884782"/>
              <a:gd name="connsiteY11106" fmla="*/ 4723607 h 5973007"/>
              <a:gd name="connsiteX11107" fmla="*/ 1584860 w 6884782"/>
              <a:gd name="connsiteY11107" fmla="*/ 4720818 h 5973007"/>
              <a:gd name="connsiteX11108" fmla="*/ 1254582 w 6884782"/>
              <a:gd name="connsiteY11108" fmla="*/ 4720741 h 5973007"/>
              <a:gd name="connsiteX11109" fmla="*/ 1265000 w 6884782"/>
              <a:gd name="connsiteY11109" fmla="*/ 4724433 h 5973007"/>
              <a:gd name="connsiteX11110" fmla="*/ 1254776 w 6884782"/>
              <a:gd name="connsiteY11110" fmla="*/ 4728769 h 5973007"/>
              <a:gd name="connsiteX11111" fmla="*/ 1243469 w 6884782"/>
              <a:gd name="connsiteY11111" fmla="*/ 4724329 h 5973007"/>
              <a:gd name="connsiteX11112" fmla="*/ 1254582 w 6884782"/>
              <a:gd name="connsiteY11112" fmla="*/ 4720741 h 5973007"/>
              <a:gd name="connsiteX11113" fmla="*/ 686307 w 6884782"/>
              <a:gd name="connsiteY11113" fmla="*/ 4719889 h 5973007"/>
              <a:gd name="connsiteX11114" fmla="*/ 694671 w 6884782"/>
              <a:gd name="connsiteY11114" fmla="*/ 4721025 h 5973007"/>
              <a:gd name="connsiteX11115" fmla="*/ 691728 w 6884782"/>
              <a:gd name="connsiteY11115" fmla="*/ 4734758 h 5973007"/>
              <a:gd name="connsiteX11116" fmla="*/ 688321 w 6884782"/>
              <a:gd name="connsiteY11116" fmla="*/ 4734965 h 5973007"/>
              <a:gd name="connsiteX11117" fmla="*/ 686307 w 6884782"/>
              <a:gd name="connsiteY11117" fmla="*/ 4719889 h 5973007"/>
              <a:gd name="connsiteX11118" fmla="*/ 6551600 w 6884782"/>
              <a:gd name="connsiteY11118" fmla="*/ 4719494 h 5973007"/>
              <a:gd name="connsiteX11119" fmla="*/ 6548967 w 6884782"/>
              <a:gd name="connsiteY11119" fmla="*/ 4739836 h 5973007"/>
              <a:gd name="connsiteX11120" fmla="*/ 6532703 w 6884782"/>
              <a:gd name="connsiteY11120" fmla="*/ 4754601 h 5973007"/>
              <a:gd name="connsiteX11121" fmla="*/ 6533322 w 6884782"/>
              <a:gd name="connsiteY11121" fmla="*/ 4744689 h 5973007"/>
              <a:gd name="connsiteX11122" fmla="*/ 6535955 w 6884782"/>
              <a:gd name="connsiteY11122" fmla="*/ 4738080 h 5973007"/>
              <a:gd name="connsiteX11123" fmla="*/ 6537040 w 6884782"/>
              <a:gd name="connsiteY11123" fmla="*/ 4736428 h 5973007"/>
              <a:gd name="connsiteX11124" fmla="*/ 6537040 w 6884782"/>
              <a:gd name="connsiteY11124" fmla="*/ 4735705 h 5973007"/>
              <a:gd name="connsiteX11125" fmla="*/ 6541377 w 6884782"/>
              <a:gd name="connsiteY11125" fmla="*/ 4728891 h 5973007"/>
              <a:gd name="connsiteX11126" fmla="*/ 6551600 w 6884782"/>
              <a:gd name="connsiteY11126" fmla="*/ 4719494 h 5973007"/>
              <a:gd name="connsiteX11127" fmla="*/ 1579129 w 6884782"/>
              <a:gd name="connsiteY11127" fmla="*/ 4719476 h 5973007"/>
              <a:gd name="connsiteX11128" fmla="*/ 1580987 w 6884782"/>
              <a:gd name="connsiteY11128" fmla="*/ 4724639 h 5973007"/>
              <a:gd name="connsiteX11129" fmla="*/ 1576806 w 6884782"/>
              <a:gd name="connsiteY11129" fmla="*/ 4721954 h 5973007"/>
              <a:gd name="connsiteX11130" fmla="*/ 1579129 w 6884782"/>
              <a:gd name="connsiteY11130" fmla="*/ 4719476 h 5973007"/>
              <a:gd name="connsiteX11131" fmla="*/ 5943167 w 6884782"/>
              <a:gd name="connsiteY11131" fmla="*/ 4719288 h 5973007"/>
              <a:gd name="connsiteX11132" fmla="*/ 5954165 w 6884782"/>
              <a:gd name="connsiteY11132" fmla="*/ 4724657 h 5973007"/>
              <a:gd name="connsiteX11133" fmla="*/ 5951687 w 6884782"/>
              <a:gd name="connsiteY11133" fmla="*/ 4724864 h 5973007"/>
              <a:gd name="connsiteX11134" fmla="*/ 5943167 w 6884782"/>
              <a:gd name="connsiteY11134" fmla="*/ 4719288 h 5973007"/>
              <a:gd name="connsiteX11135" fmla="*/ 6594506 w 6884782"/>
              <a:gd name="connsiteY11135" fmla="*/ 4718152 h 5973007"/>
              <a:gd name="connsiteX11136" fmla="*/ 6603180 w 6884782"/>
              <a:gd name="connsiteY11136" fmla="*/ 4728994 h 5973007"/>
              <a:gd name="connsiteX11137" fmla="*/ 6598689 w 6884782"/>
              <a:gd name="connsiteY11137" fmla="*/ 4731781 h 5973007"/>
              <a:gd name="connsiteX11138" fmla="*/ 6589859 w 6884782"/>
              <a:gd name="connsiteY11138" fmla="*/ 4723314 h 5973007"/>
              <a:gd name="connsiteX11139" fmla="*/ 6594506 w 6884782"/>
              <a:gd name="connsiteY11139" fmla="*/ 4718152 h 5973007"/>
              <a:gd name="connsiteX11140" fmla="*/ 6087531 w 6884782"/>
              <a:gd name="connsiteY11140" fmla="*/ 4717636 h 5973007"/>
              <a:gd name="connsiteX11141" fmla="*/ 6087996 w 6884782"/>
              <a:gd name="connsiteY11141" fmla="*/ 4720114 h 5973007"/>
              <a:gd name="connsiteX11142" fmla="*/ 6089390 w 6884782"/>
              <a:gd name="connsiteY11142" fmla="*/ 4721043 h 5973007"/>
              <a:gd name="connsiteX11143" fmla="*/ 6088615 w 6884782"/>
              <a:gd name="connsiteY11143" fmla="*/ 4723728 h 5973007"/>
              <a:gd name="connsiteX11144" fmla="*/ 6087531 w 6884782"/>
              <a:gd name="connsiteY11144" fmla="*/ 4717636 h 5973007"/>
              <a:gd name="connsiteX11145" fmla="*/ 6523409 w 6884782"/>
              <a:gd name="connsiteY11145" fmla="*/ 4717429 h 5973007"/>
              <a:gd name="connsiteX11146" fmla="*/ 6537195 w 6884782"/>
              <a:gd name="connsiteY11146" fmla="*/ 4729613 h 5973007"/>
              <a:gd name="connsiteX11147" fmla="*/ 6537040 w 6884782"/>
              <a:gd name="connsiteY11147" fmla="*/ 4735705 h 5973007"/>
              <a:gd name="connsiteX11148" fmla="*/ 6536575 w 6884782"/>
              <a:gd name="connsiteY11148" fmla="*/ 4736532 h 5973007"/>
              <a:gd name="connsiteX11149" fmla="*/ 6535955 w 6884782"/>
              <a:gd name="connsiteY11149" fmla="*/ 4738080 h 5973007"/>
              <a:gd name="connsiteX11150" fmla="*/ 6532238 w 6884782"/>
              <a:gd name="connsiteY11150" fmla="*/ 4743553 h 5973007"/>
              <a:gd name="connsiteX11151" fmla="*/ 6519846 w 6884782"/>
              <a:gd name="connsiteY11151" fmla="*/ 4724967 h 5973007"/>
              <a:gd name="connsiteX11152" fmla="*/ 6523409 w 6884782"/>
              <a:gd name="connsiteY11152" fmla="*/ 4717429 h 5973007"/>
              <a:gd name="connsiteX11153" fmla="*/ 762825 w 6884782"/>
              <a:gd name="connsiteY11153" fmla="*/ 4717411 h 5973007"/>
              <a:gd name="connsiteX11154" fmla="*/ 769796 w 6884782"/>
              <a:gd name="connsiteY11154" fmla="*/ 4721541 h 5973007"/>
              <a:gd name="connsiteX11155" fmla="*/ 760502 w 6884782"/>
              <a:gd name="connsiteY11155" fmla="*/ 4732900 h 5973007"/>
              <a:gd name="connsiteX11156" fmla="*/ 755701 w 6884782"/>
              <a:gd name="connsiteY11156" fmla="*/ 4730421 h 5973007"/>
              <a:gd name="connsiteX11157" fmla="*/ 762825 w 6884782"/>
              <a:gd name="connsiteY11157" fmla="*/ 4717411 h 5973007"/>
              <a:gd name="connsiteX11158" fmla="*/ 6280222 w 6884782"/>
              <a:gd name="connsiteY11158" fmla="*/ 4716397 h 5973007"/>
              <a:gd name="connsiteX11159" fmla="*/ 6282700 w 6884782"/>
              <a:gd name="connsiteY11159" fmla="*/ 4716913 h 5973007"/>
              <a:gd name="connsiteX11160" fmla="*/ 6279912 w 6884782"/>
              <a:gd name="connsiteY11160" fmla="*/ 4718358 h 5973007"/>
              <a:gd name="connsiteX11161" fmla="*/ 6279757 w 6884782"/>
              <a:gd name="connsiteY11161" fmla="*/ 4717119 h 5973007"/>
              <a:gd name="connsiteX11162" fmla="*/ 6279293 w 6884782"/>
              <a:gd name="connsiteY11162" fmla="*/ 4717945 h 5973007"/>
              <a:gd name="connsiteX11163" fmla="*/ 6279602 w 6884782"/>
              <a:gd name="connsiteY11163" fmla="*/ 4716706 h 5973007"/>
              <a:gd name="connsiteX11164" fmla="*/ 6280222 w 6884782"/>
              <a:gd name="connsiteY11164" fmla="*/ 4716397 h 5973007"/>
              <a:gd name="connsiteX11165" fmla="*/ 798916 w 6884782"/>
              <a:gd name="connsiteY11165" fmla="*/ 4716379 h 5973007"/>
              <a:gd name="connsiteX11166" fmla="*/ 808675 w 6884782"/>
              <a:gd name="connsiteY11166" fmla="*/ 4718444 h 5973007"/>
              <a:gd name="connsiteX11167" fmla="*/ 806351 w 6884782"/>
              <a:gd name="connsiteY11167" fmla="*/ 4725981 h 5973007"/>
              <a:gd name="connsiteX11168" fmla="*/ 799846 w 6884782"/>
              <a:gd name="connsiteY11168" fmla="*/ 4725672 h 5973007"/>
              <a:gd name="connsiteX11169" fmla="*/ 798916 w 6884782"/>
              <a:gd name="connsiteY11169" fmla="*/ 4716379 h 5973007"/>
              <a:gd name="connsiteX11170" fmla="*/ 6659098 w 6884782"/>
              <a:gd name="connsiteY11170" fmla="*/ 4715157 h 5973007"/>
              <a:gd name="connsiteX11171" fmla="*/ 6667772 w 6884782"/>
              <a:gd name="connsiteY11171" fmla="*/ 4721043 h 5973007"/>
              <a:gd name="connsiteX11172" fmla="*/ 6665294 w 6884782"/>
              <a:gd name="connsiteY11172" fmla="*/ 4730336 h 5973007"/>
              <a:gd name="connsiteX11173" fmla="*/ 6666533 w 6884782"/>
              <a:gd name="connsiteY11173" fmla="*/ 4731885 h 5973007"/>
              <a:gd name="connsiteX11174" fmla="*/ 6666688 w 6884782"/>
              <a:gd name="connsiteY11174" fmla="*/ 4735809 h 5973007"/>
              <a:gd name="connsiteX11175" fmla="*/ 6664829 w 6884782"/>
              <a:gd name="connsiteY11175" fmla="*/ 4735809 h 5973007"/>
              <a:gd name="connsiteX11176" fmla="*/ 6663900 w 6884782"/>
              <a:gd name="connsiteY11176" fmla="*/ 4731369 h 5973007"/>
              <a:gd name="connsiteX11177" fmla="*/ 6663126 w 6884782"/>
              <a:gd name="connsiteY11177" fmla="*/ 4730956 h 5973007"/>
              <a:gd name="connsiteX11178" fmla="*/ 6660957 w 6884782"/>
              <a:gd name="connsiteY11178" fmla="*/ 4731678 h 5973007"/>
              <a:gd name="connsiteX11179" fmla="*/ 6653367 w 6884782"/>
              <a:gd name="connsiteY11179" fmla="*/ 4727342 h 5973007"/>
              <a:gd name="connsiteX11180" fmla="*/ 6654916 w 6884782"/>
              <a:gd name="connsiteY11180" fmla="*/ 4717636 h 5973007"/>
              <a:gd name="connsiteX11181" fmla="*/ 6659098 w 6884782"/>
              <a:gd name="connsiteY11181" fmla="*/ 4715157 h 5973007"/>
              <a:gd name="connsiteX11182" fmla="*/ 6286883 w 6884782"/>
              <a:gd name="connsiteY11182" fmla="*/ 4715157 h 5973007"/>
              <a:gd name="connsiteX11183" fmla="*/ 6289671 w 6884782"/>
              <a:gd name="connsiteY11183" fmla="*/ 4717016 h 5973007"/>
              <a:gd name="connsiteX11184" fmla="*/ 6285953 w 6884782"/>
              <a:gd name="connsiteY11184" fmla="*/ 4717945 h 5973007"/>
              <a:gd name="connsiteX11185" fmla="*/ 6282855 w 6884782"/>
              <a:gd name="connsiteY11185" fmla="*/ 4716809 h 5973007"/>
              <a:gd name="connsiteX11186" fmla="*/ 6286883 w 6884782"/>
              <a:gd name="connsiteY11186" fmla="*/ 4715157 h 5973007"/>
              <a:gd name="connsiteX11187" fmla="*/ 6137562 w 6884782"/>
              <a:gd name="connsiteY11187" fmla="*/ 4715157 h 5973007"/>
              <a:gd name="connsiteX11188" fmla="*/ 6143603 w 6884782"/>
              <a:gd name="connsiteY11188" fmla="*/ 4716500 h 5973007"/>
              <a:gd name="connsiteX11189" fmla="*/ 6144688 w 6884782"/>
              <a:gd name="connsiteY11189" fmla="*/ 4719081 h 5973007"/>
              <a:gd name="connsiteX11190" fmla="*/ 6144688 w 6884782"/>
              <a:gd name="connsiteY11190" fmla="*/ 4724347 h 5973007"/>
              <a:gd name="connsiteX11191" fmla="*/ 6145462 w 6884782"/>
              <a:gd name="connsiteY11191" fmla="*/ 4724244 h 5973007"/>
              <a:gd name="connsiteX11192" fmla="*/ 6140660 w 6884782"/>
              <a:gd name="connsiteY11192" fmla="*/ 4725483 h 5973007"/>
              <a:gd name="connsiteX11193" fmla="*/ 6137562 w 6884782"/>
              <a:gd name="connsiteY11193" fmla="*/ 4715157 h 5973007"/>
              <a:gd name="connsiteX11194" fmla="*/ 5815378 w 6884782"/>
              <a:gd name="connsiteY11194" fmla="*/ 4713608 h 5973007"/>
              <a:gd name="connsiteX11195" fmla="*/ 5829938 w 6884782"/>
              <a:gd name="connsiteY11195" fmla="*/ 4719184 h 5973007"/>
              <a:gd name="connsiteX11196" fmla="*/ 5829009 w 6884782"/>
              <a:gd name="connsiteY11196" fmla="*/ 4720940 h 5973007"/>
              <a:gd name="connsiteX11197" fmla="*/ 5826686 w 6884782"/>
              <a:gd name="connsiteY11197" fmla="*/ 4721456 h 5973007"/>
              <a:gd name="connsiteX11198" fmla="*/ 5819095 w 6884782"/>
              <a:gd name="connsiteY11198" fmla="*/ 4718978 h 5973007"/>
              <a:gd name="connsiteX11199" fmla="*/ 5817547 w 6884782"/>
              <a:gd name="connsiteY11199" fmla="*/ 4718048 h 5973007"/>
              <a:gd name="connsiteX11200" fmla="*/ 5815843 w 6884782"/>
              <a:gd name="connsiteY11200" fmla="*/ 4717119 h 5973007"/>
              <a:gd name="connsiteX11201" fmla="*/ 5814913 w 6884782"/>
              <a:gd name="connsiteY11201" fmla="*/ 4715674 h 5973007"/>
              <a:gd name="connsiteX11202" fmla="*/ 5815378 w 6884782"/>
              <a:gd name="connsiteY11202" fmla="*/ 4713608 h 5973007"/>
              <a:gd name="connsiteX11203" fmla="*/ 856189 w 6884782"/>
              <a:gd name="connsiteY11203" fmla="*/ 4713539 h 5973007"/>
              <a:gd name="connsiteX11204" fmla="*/ 864127 w 6884782"/>
              <a:gd name="connsiteY11204" fmla="*/ 4717411 h 5973007"/>
              <a:gd name="connsiteX11205" fmla="*/ 863353 w 6884782"/>
              <a:gd name="connsiteY11205" fmla="*/ 4720715 h 5973007"/>
              <a:gd name="connsiteX11206" fmla="*/ 859171 w 6884782"/>
              <a:gd name="connsiteY11206" fmla="*/ 4723813 h 5973007"/>
              <a:gd name="connsiteX11207" fmla="*/ 855144 w 6884782"/>
              <a:gd name="connsiteY11207" fmla="*/ 4725465 h 5973007"/>
              <a:gd name="connsiteX11208" fmla="*/ 855453 w 6884782"/>
              <a:gd name="connsiteY11208" fmla="*/ 4731661 h 5973007"/>
              <a:gd name="connsiteX11209" fmla="*/ 852201 w 6884782"/>
              <a:gd name="connsiteY11209" fmla="*/ 4736617 h 5973007"/>
              <a:gd name="connsiteX11210" fmla="*/ 849877 w 6884782"/>
              <a:gd name="connsiteY11210" fmla="*/ 4731041 h 5973007"/>
              <a:gd name="connsiteX11211" fmla="*/ 849723 w 6884782"/>
              <a:gd name="connsiteY11211" fmla="*/ 4724329 h 5973007"/>
              <a:gd name="connsiteX11212" fmla="*/ 847399 w 6884782"/>
              <a:gd name="connsiteY11212" fmla="*/ 4722884 h 5973007"/>
              <a:gd name="connsiteX11213" fmla="*/ 847089 w 6884782"/>
              <a:gd name="connsiteY11213" fmla="*/ 4720199 h 5973007"/>
              <a:gd name="connsiteX11214" fmla="*/ 856189 w 6884782"/>
              <a:gd name="connsiteY11214" fmla="*/ 4713539 h 5973007"/>
              <a:gd name="connsiteX11215" fmla="*/ 5925199 w 6884782"/>
              <a:gd name="connsiteY11215" fmla="*/ 4713092 h 5973007"/>
              <a:gd name="connsiteX11216" fmla="*/ 5926594 w 6884782"/>
              <a:gd name="connsiteY11216" fmla="*/ 4716500 h 5973007"/>
              <a:gd name="connsiteX11217" fmla="*/ 5921327 w 6884782"/>
              <a:gd name="connsiteY11217" fmla="*/ 4718255 h 5973007"/>
              <a:gd name="connsiteX11218" fmla="*/ 5920088 w 6884782"/>
              <a:gd name="connsiteY11218" fmla="*/ 4714744 h 5973007"/>
              <a:gd name="connsiteX11219" fmla="*/ 5925199 w 6884782"/>
              <a:gd name="connsiteY11219" fmla="*/ 4713092 h 5973007"/>
              <a:gd name="connsiteX11220" fmla="*/ 1772130 w 6884782"/>
              <a:gd name="connsiteY11220" fmla="*/ 4713074 h 5973007"/>
              <a:gd name="connsiteX11221" fmla="*/ 1771355 w 6884782"/>
              <a:gd name="connsiteY11221" fmla="*/ 4713797 h 5973007"/>
              <a:gd name="connsiteX11222" fmla="*/ 1772130 w 6884782"/>
              <a:gd name="connsiteY11222" fmla="*/ 4713487 h 5973007"/>
              <a:gd name="connsiteX11223" fmla="*/ 1049693 w 6884782"/>
              <a:gd name="connsiteY11223" fmla="*/ 4713074 h 5973007"/>
              <a:gd name="connsiteX11224" fmla="*/ 1060071 w 6884782"/>
              <a:gd name="connsiteY11224" fmla="*/ 4717927 h 5973007"/>
              <a:gd name="connsiteX11225" fmla="*/ 1063169 w 6884782"/>
              <a:gd name="connsiteY11225" fmla="*/ 4732693 h 5973007"/>
              <a:gd name="connsiteX11226" fmla="*/ 1054340 w 6884782"/>
              <a:gd name="connsiteY11226" fmla="*/ 4736204 h 5973007"/>
              <a:gd name="connsiteX11227" fmla="*/ 1048919 w 6884782"/>
              <a:gd name="connsiteY11227" fmla="*/ 4733726 h 5973007"/>
              <a:gd name="connsiteX11228" fmla="*/ 1046595 w 6884782"/>
              <a:gd name="connsiteY11228" fmla="*/ 4718134 h 5973007"/>
              <a:gd name="connsiteX11229" fmla="*/ 1048144 w 6884782"/>
              <a:gd name="connsiteY11229" fmla="*/ 4716482 h 5973007"/>
              <a:gd name="connsiteX11230" fmla="*/ 1049693 w 6884782"/>
              <a:gd name="connsiteY11230" fmla="*/ 4713074 h 5973007"/>
              <a:gd name="connsiteX11231" fmla="*/ 6486699 w 6884782"/>
              <a:gd name="connsiteY11231" fmla="*/ 4712782 h 5973007"/>
              <a:gd name="connsiteX11232" fmla="*/ 6485305 w 6884782"/>
              <a:gd name="connsiteY11232" fmla="*/ 4725173 h 5973007"/>
              <a:gd name="connsiteX11233" fmla="*/ 6480503 w 6884782"/>
              <a:gd name="connsiteY11233" fmla="*/ 4723624 h 5973007"/>
              <a:gd name="connsiteX11234" fmla="*/ 6486699 w 6884782"/>
              <a:gd name="connsiteY11234" fmla="*/ 4712782 h 5973007"/>
              <a:gd name="connsiteX11235" fmla="*/ 1850352 w 6884782"/>
              <a:gd name="connsiteY11235" fmla="*/ 4712661 h 5973007"/>
              <a:gd name="connsiteX11236" fmla="*/ 1851436 w 6884782"/>
              <a:gd name="connsiteY11236" fmla="*/ 4726704 h 5973007"/>
              <a:gd name="connsiteX11237" fmla="*/ 1850352 w 6884782"/>
              <a:gd name="connsiteY11237" fmla="*/ 4712661 h 5973007"/>
              <a:gd name="connsiteX11238" fmla="*/ 1447312 w 6884782"/>
              <a:gd name="connsiteY11238" fmla="*/ 4712661 h 5973007"/>
              <a:gd name="connsiteX11239" fmla="*/ 1449636 w 6884782"/>
              <a:gd name="connsiteY11239" fmla="*/ 4717205 h 5973007"/>
              <a:gd name="connsiteX11240" fmla="*/ 1450410 w 6884782"/>
              <a:gd name="connsiteY11240" fmla="*/ 4718960 h 5973007"/>
              <a:gd name="connsiteX11241" fmla="*/ 1450255 w 6884782"/>
              <a:gd name="connsiteY11241" fmla="*/ 4716792 h 5973007"/>
              <a:gd name="connsiteX11242" fmla="*/ 1455522 w 6884782"/>
              <a:gd name="connsiteY11242" fmla="*/ 4716379 h 5973007"/>
              <a:gd name="connsiteX11243" fmla="*/ 1454902 w 6884782"/>
              <a:gd name="connsiteY11243" fmla="*/ 4722574 h 5973007"/>
              <a:gd name="connsiteX11244" fmla="*/ 1452269 w 6884782"/>
              <a:gd name="connsiteY11244" fmla="*/ 4722884 h 5973007"/>
              <a:gd name="connsiteX11245" fmla="*/ 1451959 w 6884782"/>
              <a:gd name="connsiteY11245" fmla="*/ 4722780 h 5973007"/>
              <a:gd name="connsiteX11246" fmla="*/ 1451649 w 6884782"/>
              <a:gd name="connsiteY11246" fmla="*/ 4727220 h 5973007"/>
              <a:gd name="connsiteX11247" fmla="*/ 1450720 w 6884782"/>
              <a:gd name="connsiteY11247" fmla="*/ 4732693 h 5973007"/>
              <a:gd name="connsiteX11248" fmla="*/ 1447312 w 6884782"/>
              <a:gd name="connsiteY11248" fmla="*/ 4712661 h 5973007"/>
              <a:gd name="connsiteX11249" fmla="*/ 1190029 w 6884782"/>
              <a:gd name="connsiteY11249" fmla="*/ 4712661 h 5973007"/>
              <a:gd name="connsiteX11250" fmla="*/ 1189100 w 6884782"/>
              <a:gd name="connsiteY11250" fmla="*/ 4717824 h 5973007"/>
              <a:gd name="connsiteX11251" fmla="*/ 1190029 w 6884782"/>
              <a:gd name="connsiteY11251" fmla="*/ 4712661 h 5973007"/>
              <a:gd name="connsiteX11252" fmla="*/ 1765624 w 6884782"/>
              <a:gd name="connsiteY11252" fmla="*/ 4712351 h 5973007"/>
              <a:gd name="connsiteX11253" fmla="*/ 1762681 w 6884782"/>
              <a:gd name="connsiteY11253" fmla="*/ 4714417 h 5973007"/>
              <a:gd name="connsiteX11254" fmla="*/ 1758344 w 6884782"/>
              <a:gd name="connsiteY11254" fmla="*/ 4714417 h 5973007"/>
              <a:gd name="connsiteX11255" fmla="*/ 1765624 w 6884782"/>
              <a:gd name="connsiteY11255" fmla="*/ 4712351 h 5973007"/>
              <a:gd name="connsiteX11256" fmla="*/ 1115524 w 6884782"/>
              <a:gd name="connsiteY11256" fmla="*/ 4712132 h 5973007"/>
              <a:gd name="connsiteX11257" fmla="*/ 1128845 w 6884782"/>
              <a:gd name="connsiteY11257" fmla="*/ 4715862 h 5973007"/>
              <a:gd name="connsiteX11258" fmla="*/ 1131634 w 6884782"/>
              <a:gd name="connsiteY11258" fmla="*/ 4723194 h 5973007"/>
              <a:gd name="connsiteX11259" fmla="*/ 1130085 w 6884782"/>
              <a:gd name="connsiteY11259" fmla="*/ 4727943 h 5973007"/>
              <a:gd name="connsiteX11260" fmla="*/ 1130395 w 6884782"/>
              <a:gd name="connsiteY11260" fmla="*/ 4728563 h 5973007"/>
              <a:gd name="connsiteX11261" fmla="*/ 1129930 w 6884782"/>
              <a:gd name="connsiteY11261" fmla="*/ 4728769 h 5973007"/>
              <a:gd name="connsiteX11262" fmla="*/ 1129619 w 6884782"/>
              <a:gd name="connsiteY11262" fmla="*/ 4729285 h 5973007"/>
              <a:gd name="connsiteX11263" fmla="*/ 1117228 w 6884782"/>
              <a:gd name="connsiteY11263" fmla="*/ 4734655 h 5973007"/>
              <a:gd name="connsiteX11264" fmla="*/ 1102203 w 6884782"/>
              <a:gd name="connsiteY11264" fmla="*/ 4720715 h 5973007"/>
              <a:gd name="connsiteX11265" fmla="*/ 1115524 w 6884782"/>
              <a:gd name="connsiteY11265" fmla="*/ 4712132 h 5973007"/>
              <a:gd name="connsiteX11266" fmla="*/ 1001056 w 6884782"/>
              <a:gd name="connsiteY11266" fmla="*/ 4712042 h 5973007"/>
              <a:gd name="connsiteX11267" fmla="*/ 1006942 w 6884782"/>
              <a:gd name="connsiteY11267" fmla="*/ 4713694 h 5973007"/>
              <a:gd name="connsiteX11268" fmla="*/ 1003379 w 6884782"/>
              <a:gd name="connsiteY11268" fmla="*/ 4713694 h 5973007"/>
              <a:gd name="connsiteX11269" fmla="*/ 1001056 w 6884782"/>
              <a:gd name="connsiteY11269" fmla="*/ 4712042 h 5973007"/>
              <a:gd name="connsiteX11270" fmla="*/ 1753852 w 6884782"/>
              <a:gd name="connsiteY11270" fmla="*/ 4711526 h 5973007"/>
              <a:gd name="connsiteX11271" fmla="*/ 1754162 w 6884782"/>
              <a:gd name="connsiteY11271" fmla="*/ 4712351 h 5973007"/>
              <a:gd name="connsiteX11272" fmla="*/ 1755866 w 6884782"/>
              <a:gd name="connsiteY11272" fmla="*/ 4715346 h 5973007"/>
              <a:gd name="connsiteX11273" fmla="*/ 1751683 w 6884782"/>
              <a:gd name="connsiteY11273" fmla="*/ 4716895 h 5973007"/>
              <a:gd name="connsiteX11274" fmla="*/ 1751683 w 6884782"/>
              <a:gd name="connsiteY11274" fmla="*/ 4713281 h 5973007"/>
              <a:gd name="connsiteX11275" fmla="*/ 1753852 w 6884782"/>
              <a:gd name="connsiteY11275" fmla="*/ 4711526 h 5973007"/>
              <a:gd name="connsiteX11276" fmla="*/ 6323903 w 6884782"/>
              <a:gd name="connsiteY11276" fmla="*/ 4711234 h 5973007"/>
              <a:gd name="connsiteX11277" fmla="*/ 6326691 w 6884782"/>
              <a:gd name="connsiteY11277" fmla="*/ 4713092 h 5973007"/>
              <a:gd name="connsiteX11278" fmla="*/ 6325916 w 6884782"/>
              <a:gd name="connsiteY11278" fmla="*/ 4715777 h 5973007"/>
              <a:gd name="connsiteX11279" fmla="*/ 6324367 w 6884782"/>
              <a:gd name="connsiteY11279" fmla="*/ 4713608 h 5973007"/>
              <a:gd name="connsiteX11280" fmla="*/ 6323903 w 6884782"/>
              <a:gd name="connsiteY11280" fmla="*/ 4711234 h 5973007"/>
              <a:gd name="connsiteX11281" fmla="*/ 6321889 w 6884782"/>
              <a:gd name="connsiteY11281" fmla="*/ 4709995 h 5973007"/>
              <a:gd name="connsiteX11282" fmla="*/ 6323438 w 6884782"/>
              <a:gd name="connsiteY11282" fmla="*/ 4710821 h 5973007"/>
              <a:gd name="connsiteX11283" fmla="*/ 6322973 w 6884782"/>
              <a:gd name="connsiteY11283" fmla="*/ 4711543 h 5973007"/>
              <a:gd name="connsiteX11284" fmla="*/ 6322044 w 6884782"/>
              <a:gd name="connsiteY11284" fmla="*/ 4710821 h 5973007"/>
              <a:gd name="connsiteX11285" fmla="*/ 6321889 w 6884782"/>
              <a:gd name="connsiteY11285" fmla="*/ 4709995 h 5973007"/>
              <a:gd name="connsiteX11286" fmla="*/ 1463576 w 6884782"/>
              <a:gd name="connsiteY11286" fmla="*/ 4709977 h 5973007"/>
              <a:gd name="connsiteX11287" fmla="*/ 1462802 w 6884782"/>
              <a:gd name="connsiteY11287" fmla="*/ 4727943 h 5973007"/>
              <a:gd name="connsiteX11288" fmla="*/ 1463576 w 6884782"/>
              <a:gd name="connsiteY11288" fmla="*/ 4709977 h 5973007"/>
              <a:gd name="connsiteX11289" fmla="*/ 1244708 w 6884782"/>
              <a:gd name="connsiteY11289" fmla="*/ 4709770 h 5973007"/>
              <a:gd name="connsiteX11290" fmla="*/ 1240061 w 6884782"/>
              <a:gd name="connsiteY11290" fmla="*/ 4714210 h 5973007"/>
              <a:gd name="connsiteX11291" fmla="*/ 1241920 w 6884782"/>
              <a:gd name="connsiteY11291" fmla="*/ 4712455 h 5973007"/>
              <a:gd name="connsiteX11292" fmla="*/ 1242075 w 6884782"/>
              <a:gd name="connsiteY11292" fmla="*/ 4710700 h 5973007"/>
              <a:gd name="connsiteX11293" fmla="*/ 1244708 w 6884782"/>
              <a:gd name="connsiteY11293" fmla="*/ 4709770 h 5973007"/>
              <a:gd name="connsiteX11294" fmla="*/ 632558 w 6884782"/>
              <a:gd name="connsiteY11294" fmla="*/ 4709770 h 5973007"/>
              <a:gd name="connsiteX11295" fmla="*/ 643400 w 6884782"/>
              <a:gd name="connsiteY11295" fmla="*/ 4710286 h 5973007"/>
              <a:gd name="connsiteX11296" fmla="*/ 638753 w 6884782"/>
              <a:gd name="connsiteY11296" fmla="*/ 4716275 h 5973007"/>
              <a:gd name="connsiteX11297" fmla="*/ 635346 w 6884782"/>
              <a:gd name="connsiteY11297" fmla="*/ 4715759 h 5973007"/>
              <a:gd name="connsiteX11298" fmla="*/ 632558 w 6884782"/>
              <a:gd name="connsiteY11298" fmla="*/ 4709770 h 5973007"/>
              <a:gd name="connsiteX11299" fmla="*/ 1607940 w 6884782"/>
              <a:gd name="connsiteY11299" fmla="*/ 4709460 h 5973007"/>
              <a:gd name="connsiteX11300" fmla="*/ 1617853 w 6884782"/>
              <a:gd name="connsiteY11300" fmla="*/ 4718753 h 5973007"/>
              <a:gd name="connsiteX11301" fmla="*/ 1613826 w 6884782"/>
              <a:gd name="connsiteY11301" fmla="*/ 4721025 h 5973007"/>
              <a:gd name="connsiteX11302" fmla="*/ 1606236 w 6884782"/>
              <a:gd name="connsiteY11302" fmla="*/ 4714004 h 5973007"/>
              <a:gd name="connsiteX11303" fmla="*/ 1607940 w 6884782"/>
              <a:gd name="connsiteY11303" fmla="*/ 4709460 h 5973007"/>
              <a:gd name="connsiteX11304" fmla="*/ 1357317 w 6884782"/>
              <a:gd name="connsiteY11304" fmla="*/ 4709254 h 5973007"/>
              <a:gd name="connsiteX11305" fmla="*/ 1360106 w 6884782"/>
              <a:gd name="connsiteY11305" fmla="*/ 4710906 h 5973007"/>
              <a:gd name="connsiteX11306" fmla="*/ 1359796 w 6884782"/>
              <a:gd name="connsiteY11306" fmla="*/ 4711629 h 5973007"/>
              <a:gd name="connsiteX11307" fmla="*/ 1357317 w 6884782"/>
              <a:gd name="connsiteY11307" fmla="*/ 4709254 h 5973007"/>
              <a:gd name="connsiteX11308" fmla="*/ 1374666 w 6884782"/>
              <a:gd name="connsiteY11308" fmla="*/ 4709047 h 5973007"/>
              <a:gd name="connsiteX11309" fmla="*/ 1376524 w 6884782"/>
              <a:gd name="connsiteY11309" fmla="*/ 4710596 h 5973007"/>
              <a:gd name="connsiteX11310" fmla="*/ 1372342 w 6884782"/>
              <a:gd name="connsiteY11310" fmla="*/ 4718857 h 5973007"/>
              <a:gd name="connsiteX11311" fmla="*/ 1370638 w 6884782"/>
              <a:gd name="connsiteY11311" fmla="*/ 4716895 h 5973007"/>
              <a:gd name="connsiteX11312" fmla="*/ 1374666 w 6884782"/>
              <a:gd name="connsiteY11312" fmla="*/ 4709047 h 5973007"/>
              <a:gd name="connsiteX11313" fmla="*/ 6065071 w 6884782"/>
              <a:gd name="connsiteY11313" fmla="*/ 4708755 h 5973007"/>
              <a:gd name="connsiteX11314" fmla="*/ 6068014 w 6884782"/>
              <a:gd name="connsiteY11314" fmla="*/ 4714125 h 5973007"/>
              <a:gd name="connsiteX11315" fmla="*/ 6062283 w 6884782"/>
              <a:gd name="connsiteY11315" fmla="*/ 4720837 h 5973007"/>
              <a:gd name="connsiteX11316" fmla="*/ 6059185 w 6884782"/>
              <a:gd name="connsiteY11316" fmla="*/ 4720837 h 5973007"/>
              <a:gd name="connsiteX11317" fmla="*/ 6056087 w 6884782"/>
              <a:gd name="connsiteY11317" fmla="*/ 4717739 h 5973007"/>
              <a:gd name="connsiteX11318" fmla="*/ 6065071 w 6884782"/>
              <a:gd name="connsiteY11318" fmla="*/ 4708755 h 5973007"/>
              <a:gd name="connsiteX11319" fmla="*/ 1587803 w 6884782"/>
              <a:gd name="connsiteY11319" fmla="*/ 4708635 h 5973007"/>
              <a:gd name="connsiteX11320" fmla="*/ 1601280 w 6884782"/>
              <a:gd name="connsiteY11320" fmla="*/ 4724846 h 5973007"/>
              <a:gd name="connsiteX11321" fmla="*/ 1599730 w 6884782"/>
              <a:gd name="connsiteY11321" fmla="*/ 4730008 h 5973007"/>
              <a:gd name="connsiteX11322" fmla="*/ 1587803 w 6884782"/>
              <a:gd name="connsiteY11322" fmla="*/ 4708635 h 5973007"/>
              <a:gd name="connsiteX11323" fmla="*/ 5974302 w 6884782"/>
              <a:gd name="connsiteY11323" fmla="*/ 4708446 h 5973007"/>
              <a:gd name="connsiteX11324" fmla="*/ 5974611 w 6884782"/>
              <a:gd name="connsiteY11324" fmla="*/ 4708755 h 5973007"/>
              <a:gd name="connsiteX11325" fmla="*/ 5982976 w 6884782"/>
              <a:gd name="connsiteY11325" fmla="*/ 4713092 h 5973007"/>
              <a:gd name="connsiteX11326" fmla="*/ 5984215 w 6884782"/>
              <a:gd name="connsiteY11326" fmla="*/ 4718462 h 5973007"/>
              <a:gd name="connsiteX11327" fmla="*/ 5981582 w 6884782"/>
              <a:gd name="connsiteY11327" fmla="*/ 4719288 h 5973007"/>
              <a:gd name="connsiteX11328" fmla="*/ 5977864 w 6884782"/>
              <a:gd name="connsiteY11328" fmla="*/ 4717016 h 5973007"/>
              <a:gd name="connsiteX11329" fmla="*/ 5977864 w 6884782"/>
              <a:gd name="connsiteY11329" fmla="*/ 4718875 h 5973007"/>
              <a:gd name="connsiteX11330" fmla="*/ 5975696 w 6884782"/>
              <a:gd name="connsiteY11330" fmla="*/ 4723005 h 5973007"/>
              <a:gd name="connsiteX11331" fmla="*/ 5969655 w 6884782"/>
              <a:gd name="connsiteY11331" fmla="*/ 4719081 h 5973007"/>
              <a:gd name="connsiteX11332" fmla="*/ 5969809 w 6884782"/>
              <a:gd name="connsiteY11332" fmla="*/ 4709685 h 5973007"/>
              <a:gd name="connsiteX11333" fmla="*/ 5974302 w 6884782"/>
              <a:gd name="connsiteY11333" fmla="*/ 4708446 h 5973007"/>
              <a:gd name="connsiteX11334" fmla="*/ 926086 w 6884782"/>
              <a:gd name="connsiteY11334" fmla="*/ 4708325 h 5973007"/>
              <a:gd name="connsiteX11335" fmla="*/ 927170 w 6884782"/>
              <a:gd name="connsiteY11335" fmla="*/ 4711732 h 5973007"/>
              <a:gd name="connsiteX11336" fmla="*/ 925776 w 6884782"/>
              <a:gd name="connsiteY11336" fmla="*/ 4712248 h 5973007"/>
              <a:gd name="connsiteX11337" fmla="*/ 923608 w 6884782"/>
              <a:gd name="connsiteY11337" fmla="*/ 4710803 h 5973007"/>
              <a:gd name="connsiteX11338" fmla="*/ 1818134 w 6884782"/>
              <a:gd name="connsiteY11338" fmla="*/ 4708118 h 5973007"/>
              <a:gd name="connsiteX11339" fmla="*/ 1818753 w 6884782"/>
              <a:gd name="connsiteY11339" fmla="*/ 4708221 h 5973007"/>
              <a:gd name="connsiteX11340" fmla="*/ 1820147 w 6884782"/>
              <a:gd name="connsiteY11340" fmla="*/ 4710390 h 5973007"/>
              <a:gd name="connsiteX11341" fmla="*/ 1819528 w 6884782"/>
              <a:gd name="connsiteY11341" fmla="*/ 4710390 h 5973007"/>
              <a:gd name="connsiteX11342" fmla="*/ 1817359 w 6884782"/>
              <a:gd name="connsiteY11342" fmla="*/ 4709667 h 5973007"/>
              <a:gd name="connsiteX11343" fmla="*/ 1817979 w 6884782"/>
              <a:gd name="connsiteY11343" fmla="*/ 4708531 h 5973007"/>
              <a:gd name="connsiteX11344" fmla="*/ 1817204 w 6884782"/>
              <a:gd name="connsiteY11344" fmla="*/ 4708841 h 5973007"/>
              <a:gd name="connsiteX11345" fmla="*/ 1818134 w 6884782"/>
              <a:gd name="connsiteY11345" fmla="*/ 4708118 h 5973007"/>
              <a:gd name="connsiteX11346" fmla="*/ 6082264 w 6884782"/>
              <a:gd name="connsiteY11346" fmla="*/ 4708033 h 5973007"/>
              <a:gd name="connsiteX11347" fmla="*/ 6084743 w 6884782"/>
              <a:gd name="connsiteY11347" fmla="*/ 4708549 h 5973007"/>
              <a:gd name="connsiteX11348" fmla="*/ 6084743 w 6884782"/>
              <a:gd name="connsiteY11348" fmla="*/ 4711750 h 5973007"/>
              <a:gd name="connsiteX11349" fmla="*/ 6086911 w 6884782"/>
              <a:gd name="connsiteY11349" fmla="*/ 4714125 h 5973007"/>
              <a:gd name="connsiteX11350" fmla="*/ 6086911 w 6884782"/>
              <a:gd name="connsiteY11350" fmla="*/ 4717326 h 5973007"/>
              <a:gd name="connsiteX11351" fmla="*/ 6085827 w 6884782"/>
              <a:gd name="connsiteY11351" fmla="*/ 4717429 h 5973007"/>
              <a:gd name="connsiteX11352" fmla="*/ 6086137 w 6884782"/>
              <a:gd name="connsiteY11352" fmla="*/ 4716913 h 5973007"/>
              <a:gd name="connsiteX11353" fmla="*/ 6085827 w 6884782"/>
              <a:gd name="connsiteY11353" fmla="*/ 4714435 h 5973007"/>
              <a:gd name="connsiteX11354" fmla="*/ 6081955 w 6884782"/>
              <a:gd name="connsiteY11354" fmla="*/ 4709995 h 5973007"/>
              <a:gd name="connsiteX11355" fmla="*/ 6082264 w 6884782"/>
              <a:gd name="connsiteY11355" fmla="*/ 4708033 h 5973007"/>
              <a:gd name="connsiteX11356" fmla="*/ 6022939 w 6884782"/>
              <a:gd name="connsiteY11356" fmla="*/ 4708033 h 5973007"/>
              <a:gd name="connsiteX11357" fmla="*/ 6026502 w 6884782"/>
              <a:gd name="connsiteY11357" fmla="*/ 4714847 h 5973007"/>
              <a:gd name="connsiteX11358" fmla="*/ 6024953 w 6884782"/>
              <a:gd name="connsiteY11358" fmla="*/ 4715880 h 5973007"/>
              <a:gd name="connsiteX11359" fmla="*/ 6022939 w 6884782"/>
              <a:gd name="connsiteY11359" fmla="*/ 4716500 h 5973007"/>
              <a:gd name="connsiteX11360" fmla="*/ 6020925 w 6884782"/>
              <a:gd name="connsiteY11360" fmla="*/ 4716500 h 5973007"/>
              <a:gd name="connsiteX11361" fmla="*/ 6018137 w 6884782"/>
              <a:gd name="connsiteY11361" fmla="*/ 4715364 h 5973007"/>
              <a:gd name="connsiteX11362" fmla="*/ 6016124 w 6884782"/>
              <a:gd name="connsiteY11362" fmla="*/ 4711957 h 5973007"/>
              <a:gd name="connsiteX11363" fmla="*/ 6015814 w 6884782"/>
              <a:gd name="connsiteY11363" fmla="*/ 4710201 h 5973007"/>
              <a:gd name="connsiteX11364" fmla="*/ 6022939 w 6884782"/>
              <a:gd name="connsiteY11364" fmla="*/ 4708033 h 5973007"/>
              <a:gd name="connsiteX11365" fmla="*/ 1809150 w 6884782"/>
              <a:gd name="connsiteY11365" fmla="*/ 4707808 h 5973007"/>
              <a:gd name="connsiteX11366" fmla="*/ 1812712 w 6884782"/>
              <a:gd name="connsiteY11366" fmla="*/ 4711835 h 5973007"/>
              <a:gd name="connsiteX11367" fmla="*/ 1815191 w 6884782"/>
              <a:gd name="connsiteY11367" fmla="*/ 4715552 h 5973007"/>
              <a:gd name="connsiteX11368" fmla="*/ 1820302 w 6884782"/>
              <a:gd name="connsiteY11368" fmla="*/ 4729285 h 5973007"/>
              <a:gd name="connsiteX11369" fmla="*/ 1816430 w 6884782"/>
              <a:gd name="connsiteY11369" fmla="*/ 4724846 h 5973007"/>
              <a:gd name="connsiteX11370" fmla="*/ 1814261 w 6884782"/>
              <a:gd name="connsiteY11370" fmla="*/ 4725362 h 5973007"/>
              <a:gd name="connsiteX11371" fmla="*/ 1811164 w 6884782"/>
              <a:gd name="connsiteY11371" fmla="*/ 4722471 h 5973007"/>
              <a:gd name="connsiteX11372" fmla="*/ 1814571 w 6884782"/>
              <a:gd name="connsiteY11372" fmla="*/ 4722264 h 5973007"/>
              <a:gd name="connsiteX11373" fmla="*/ 1814881 w 6884782"/>
              <a:gd name="connsiteY11373" fmla="*/ 4722368 h 5973007"/>
              <a:gd name="connsiteX11374" fmla="*/ 1812248 w 6884782"/>
              <a:gd name="connsiteY11374" fmla="*/ 4717824 h 5973007"/>
              <a:gd name="connsiteX11375" fmla="*/ 1808375 w 6884782"/>
              <a:gd name="connsiteY11375" fmla="*/ 4712558 h 5973007"/>
              <a:gd name="connsiteX11376" fmla="*/ 1808840 w 6884782"/>
              <a:gd name="connsiteY11376" fmla="*/ 4710183 h 5973007"/>
              <a:gd name="connsiteX11377" fmla="*/ 1808221 w 6884782"/>
              <a:gd name="connsiteY11377" fmla="*/ 4709460 h 5973007"/>
              <a:gd name="connsiteX11378" fmla="*/ 1809150 w 6884782"/>
              <a:gd name="connsiteY11378" fmla="*/ 4707808 h 5973007"/>
              <a:gd name="connsiteX11379" fmla="*/ 1040438 w 6884782"/>
              <a:gd name="connsiteY11379" fmla="*/ 4707808 h 5973007"/>
              <a:gd name="connsiteX11380" fmla="*/ 1042413 w 6884782"/>
              <a:gd name="connsiteY11380" fmla="*/ 4713178 h 5973007"/>
              <a:gd name="connsiteX11381" fmla="*/ 1035443 w 6884782"/>
              <a:gd name="connsiteY11381" fmla="*/ 4708325 h 5973007"/>
              <a:gd name="connsiteX11382" fmla="*/ 1040438 w 6884782"/>
              <a:gd name="connsiteY11382" fmla="*/ 4707808 h 5973007"/>
              <a:gd name="connsiteX11383" fmla="*/ 920045 w 6884782"/>
              <a:gd name="connsiteY11383" fmla="*/ 4707808 h 5973007"/>
              <a:gd name="connsiteX11384" fmla="*/ 921129 w 6884782"/>
              <a:gd name="connsiteY11384" fmla="*/ 4709564 h 5973007"/>
              <a:gd name="connsiteX11385" fmla="*/ 920819 w 6884782"/>
              <a:gd name="connsiteY11385" fmla="*/ 4711009 h 5973007"/>
              <a:gd name="connsiteX11386" fmla="*/ 922833 w 6884782"/>
              <a:gd name="connsiteY11386" fmla="*/ 4711526 h 5973007"/>
              <a:gd name="connsiteX11387" fmla="*/ 925622 w 6884782"/>
              <a:gd name="connsiteY11387" fmla="*/ 4718650 h 5973007"/>
              <a:gd name="connsiteX11388" fmla="*/ 924072 w 6884782"/>
              <a:gd name="connsiteY11388" fmla="*/ 4719476 h 5973007"/>
              <a:gd name="connsiteX11389" fmla="*/ 922059 w 6884782"/>
              <a:gd name="connsiteY11389" fmla="*/ 4719889 h 5973007"/>
              <a:gd name="connsiteX11390" fmla="*/ 917412 w 6884782"/>
              <a:gd name="connsiteY11390" fmla="*/ 4718237 h 5973007"/>
              <a:gd name="connsiteX11391" fmla="*/ 915553 w 6884782"/>
              <a:gd name="connsiteY11391" fmla="*/ 4714623 h 5973007"/>
              <a:gd name="connsiteX11392" fmla="*/ 915553 w 6884782"/>
              <a:gd name="connsiteY11392" fmla="*/ 4712971 h 5973007"/>
              <a:gd name="connsiteX11393" fmla="*/ 916637 w 6884782"/>
              <a:gd name="connsiteY11393" fmla="*/ 4712248 h 5973007"/>
              <a:gd name="connsiteX11394" fmla="*/ 916173 w 6884782"/>
              <a:gd name="connsiteY11394" fmla="*/ 4711629 h 5973007"/>
              <a:gd name="connsiteX11395" fmla="*/ 915863 w 6884782"/>
              <a:gd name="connsiteY11395" fmla="*/ 4708944 h 5973007"/>
              <a:gd name="connsiteX11396" fmla="*/ 920045 w 6884782"/>
              <a:gd name="connsiteY11396" fmla="*/ 4707808 h 5973007"/>
              <a:gd name="connsiteX11397" fmla="*/ 6319565 w 6884782"/>
              <a:gd name="connsiteY11397" fmla="*/ 4707516 h 5973007"/>
              <a:gd name="connsiteX11398" fmla="*/ 6319411 w 6884782"/>
              <a:gd name="connsiteY11398" fmla="*/ 4709375 h 5973007"/>
              <a:gd name="connsiteX11399" fmla="*/ 6318481 w 6884782"/>
              <a:gd name="connsiteY11399" fmla="*/ 4707723 h 5973007"/>
              <a:gd name="connsiteX11400" fmla="*/ 6319565 w 6884782"/>
              <a:gd name="connsiteY11400" fmla="*/ 4707516 h 5973007"/>
              <a:gd name="connsiteX11401" fmla="*/ 6178145 w 6884782"/>
              <a:gd name="connsiteY11401" fmla="*/ 4706174 h 5973007"/>
              <a:gd name="connsiteX11402" fmla="*/ 6200760 w 6884782"/>
              <a:gd name="connsiteY11402" fmla="*/ 4715364 h 5973007"/>
              <a:gd name="connsiteX11403" fmla="*/ 6205252 w 6884782"/>
              <a:gd name="connsiteY11403" fmla="*/ 4721353 h 5973007"/>
              <a:gd name="connsiteX11404" fmla="*/ 6188988 w 6884782"/>
              <a:gd name="connsiteY11404" fmla="*/ 4719494 h 5973007"/>
              <a:gd name="connsiteX11405" fmla="*/ 6182482 w 6884782"/>
              <a:gd name="connsiteY11405" fmla="*/ 4735189 h 5973007"/>
              <a:gd name="connsiteX11406" fmla="*/ 6180469 w 6884782"/>
              <a:gd name="connsiteY11406" fmla="*/ 4731265 h 5973007"/>
              <a:gd name="connsiteX11407" fmla="*/ 6182482 w 6884782"/>
              <a:gd name="connsiteY11407" fmla="*/ 4715467 h 5973007"/>
              <a:gd name="connsiteX11408" fmla="*/ 6178145 w 6884782"/>
              <a:gd name="connsiteY11408" fmla="*/ 4706174 h 5973007"/>
              <a:gd name="connsiteX11409" fmla="*/ 1880867 w 6884782"/>
              <a:gd name="connsiteY11409" fmla="*/ 4705950 h 5973007"/>
              <a:gd name="connsiteX11410" fmla="*/ 1879008 w 6884782"/>
              <a:gd name="connsiteY11410" fmla="*/ 4708325 h 5973007"/>
              <a:gd name="connsiteX11411" fmla="*/ 1878234 w 6884782"/>
              <a:gd name="connsiteY11411" fmla="*/ 4707292 h 5973007"/>
              <a:gd name="connsiteX11412" fmla="*/ 1878234 w 6884782"/>
              <a:gd name="connsiteY11412" fmla="*/ 4708118 h 5973007"/>
              <a:gd name="connsiteX11413" fmla="*/ 1877924 w 6884782"/>
              <a:gd name="connsiteY11413" fmla="*/ 4706982 h 5973007"/>
              <a:gd name="connsiteX11414" fmla="*/ 1878389 w 6884782"/>
              <a:gd name="connsiteY11414" fmla="*/ 4706466 h 5973007"/>
              <a:gd name="connsiteX11415" fmla="*/ 1880867 w 6884782"/>
              <a:gd name="connsiteY11415" fmla="*/ 4705950 h 5973007"/>
              <a:gd name="connsiteX11416" fmla="*/ 6211603 w 6884782"/>
              <a:gd name="connsiteY11416" fmla="*/ 4705555 h 5973007"/>
              <a:gd name="connsiteX11417" fmla="*/ 6217179 w 6884782"/>
              <a:gd name="connsiteY11417" fmla="*/ 4710098 h 5973007"/>
              <a:gd name="connsiteX11418" fmla="*/ 6212997 w 6884782"/>
              <a:gd name="connsiteY11418" fmla="*/ 4709272 h 5973007"/>
              <a:gd name="connsiteX11419" fmla="*/ 6211603 w 6884782"/>
              <a:gd name="connsiteY11419" fmla="*/ 4705555 h 5973007"/>
              <a:gd name="connsiteX11420" fmla="*/ 6111695 w 6884782"/>
              <a:gd name="connsiteY11420" fmla="*/ 4705451 h 5973007"/>
              <a:gd name="connsiteX11421" fmla="*/ 6119594 w 6884782"/>
              <a:gd name="connsiteY11421" fmla="*/ 4707620 h 5973007"/>
              <a:gd name="connsiteX11422" fmla="*/ 6109836 w 6884782"/>
              <a:gd name="connsiteY11422" fmla="*/ 4723728 h 5973007"/>
              <a:gd name="connsiteX11423" fmla="*/ 6107822 w 6884782"/>
              <a:gd name="connsiteY11423" fmla="*/ 4719804 h 5973007"/>
              <a:gd name="connsiteX11424" fmla="*/ 6111695 w 6884782"/>
              <a:gd name="connsiteY11424" fmla="*/ 4705451 h 5973007"/>
              <a:gd name="connsiteX11425" fmla="*/ 1204590 w 6884782"/>
              <a:gd name="connsiteY11425" fmla="*/ 4705330 h 5973007"/>
              <a:gd name="connsiteX11426" fmla="*/ 1205519 w 6884782"/>
              <a:gd name="connsiteY11426" fmla="*/ 4708015 h 5973007"/>
              <a:gd name="connsiteX11427" fmla="*/ 1204900 w 6884782"/>
              <a:gd name="connsiteY11427" fmla="*/ 4710493 h 5973007"/>
              <a:gd name="connsiteX11428" fmla="*/ 1203506 w 6884782"/>
              <a:gd name="connsiteY11428" fmla="*/ 4710803 h 5973007"/>
              <a:gd name="connsiteX11429" fmla="*/ 1201492 w 6884782"/>
              <a:gd name="connsiteY11429" fmla="*/ 4710390 h 5973007"/>
              <a:gd name="connsiteX11430" fmla="*/ 1202111 w 6884782"/>
              <a:gd name="connsiteY11430" fmla="*/ 4706053 h 5973007"/>
              <a:gd name="connsiteX11431" fmla="*/ 1204590 w 6884782"/>
              <a:gd name="connsiteY11431" fmla="*/ 4705330 h 5973007"/>
              <a:gd name="connsiteX11432" fmla="*/ 6023249 w 6884782"/>
              <a:gd name="connsiteY11432" fmla="*/ 4705038 h 5973007"/>
              <a:gd name="connsiteX11433" fmla="*/ 6024798 w 6884782"/>
              <a:gd name="connsiteY11433" fmla="*/ 4705038 h 5973007"/>
              <a:gd name="connsiteX11434" fmla="*/ 6024023 w 6884782"/>
              <a:gd name="connsiteY11434" fmla="*/ 4705761 h 5973007"/>
              <a:gd name="connsiteX11435" fmla="*/ 6023249 w 6884782"/>
              <a:gd name="connsiteY11435" fmla="*/ 4705038 h 5973007"/>
              <a:gd name="connsiteX11436" fmla="*/ 6092178 w 6884782"/>
              <a:gd name="connsiteY11436" fmla="*/ 4704935 h 5973007"/>
              <a:gd name="connsiteX11437" fmla="*/ 6099303 w 6884782"/>
              <a:gd name="connsiteY11437" fmla="*/ 4732401 h 5973007"/>
              <a:gd name="connsiteX11438" fmla="*/ 6092178 w 6884782"/>
              <a:gd name="connsiteY11438" fmla="*/ 4704935 h 5973007"/>
              <a:gd name="connsiteX11439" fmla="*/ 1824639 w 6884782"/>
              <a:gd name="connsiteY11439" fmla="*/ 4704917 h 5973007"/>
              <a:gd name="connsiteX11440" fmla="*/ 1824794 w 6884782"/>
              <a:gd name="connsiteY11440" fmla="*/ 4705227 h 5973007"/>
              <a:gd name="connsiteX11441" fmla="*/ 1824949 w 6884782"/>
              <a:gd name="connsiteY11441" fmla="*/ 4705227 h 5973007"/>
              <a:gd name="connsiteX11442" fmla="*/ 1826344 w 6884782"/>
              <a:gd name="connsiteY11442" fmla="*/ 4705020 h 5973007"/>
              <a:gd name="connsiteX11443" fmla="*/ 1321691 w 6884782"/>
              <a:gd name="connsiteY11443" fmla="*/ 4704917 h 5973007"/>
              <a:gd name="connsiteX11444" fmla="*/ 1357163 w 6884782"/>
              <a:gd name="connsiteY11444" fmla="*/ 4731454 h 5973007"/>
              <a:gd name="connsiteX11445" fmla="*/ 1352051 w 6884782"/>
              <a:gd name="connsiteY11445" fmla="*/ 4731557 h 5973007"/>
              <a:gd name="connsiteX11446" fmla="*/ 1316580 w 6884782"/>
              <a:gd name="connsiteY11446" fmla="*/ 4712455 h 5973007"/>
              <a:gd name="connsiteX11447" fmla="*/ 1321691 w 6884782"/>
              <a:gd name="connsiteY11447" fmla="*/ 4704917 h 5973007"/>
              <a:gd name="connsiteX11448" fmla="*/ 1526619 w 6884782"/>
              <a:gd name="connsiteY11448" fmla="*/ 4704711 h 5973007"/>
              <a:gd name="connsiteX11449" fmla="*/ 1528788 w 6884782"/>
              <a:gd name="connsiteY11449" fmla="*/ 4705537 h 5973007"/>
              <a:gd name="connsiteX11450" fmla="*/ 1532505 w 6884782"/>
              <a:gd name="connsiteY11450" fmla="*/ 4705537 h 5973007"/>
              <a:gd name="connsiteX11451" fmla="*/ 1532195 w 6884782"/>
              <a:gd name="connsiteY11451" fmla="*/ 4716895 h 5973007"/>
              <a:gd name="connsiteX11452" fmla="*/ 1523211 w 6884782"/>
              <a:gd name="connsiteY11452" fmla="*/ 4725981 h 5973007"/>
              <a:gd name="connsiteX11453" fmla="*/ 1519959 w 6884782"/>
              <a:gd name="connsiteY11453" fmla="*/ 4725878 h 5973007"/>
              <a:gd name="connsiteX11454" fmla="*/ 1513143 w 6884782"/>
              <a:gd name="connsiteY11454" fmla="*/ 4719167 h 5973007"/>
              <a:gd name="connsiteX11455" fmla="*/ 1513298 w 6884782"/>
              <a:gd name="connsiteY11455" fmla="*/ 4713281 h 5973007"/>
              <a:gd name="connsiteX11456" fmla="*/ 1526619 w 6884782"/>
              <a:gd name="connsiteY11456" fmla="*/ 4704711 h 5973007"/>
              <a:gd name="connsiteX11457" fmla="*/ 6025882 w 6884782"/>
              <a:gd name="connsiteY11457" fmla="*/ 4704522 h 5973007"/>
              <a:gd name="connsiteX11458" fmla="*/ 6027121 w 6884782"/>
              <a:gd name="connsiteY11458" fmla="*/ 4707826 h 5973007"/>
              <a:gd name="connsiteX11459" fmla="*/ 6025882 w 6884782"/>
              <a:gd name="connsiteY11459" fmla="*/ 4708446 h 5973007"/>
              <a:gd name="connsiteX11460" fmla="*/ 6023713 w 6884782"/>
              <a:gd name="connsiteY11460" fmla="*/ 4707207 h 5973007"/>
              <a:gd name="connsiteX11461" fmla="*/ 1244398 w 6884782"/>
              <a:gd name="connsiteY11461" fmla="*/ 4704504 h 5973007"/>
              <a:gd name="connsiteX11462" fmla="*/ 1259578 w 6884782"/>
              <a:gd name="connsiteY11462" fmla="*/ 4720302 h 5973007"/>
              <a:gd name="connsiteX11463" fmla="*/ 1245327 w 6884782"/>
              <a:gd name="connsiteY11463" fmla="*/ 4709667 h 5973007"/>
              <a:gd name="connsiteX11464" fmla="*/ 1244398 w 6884782"/>
              <a:gd name="connsiteY11464" fmla="*/ 4704504 h 5973007"/>
              <a:gd name="connsiteX11465" fmla="*/ 1583776 w 6884782"/>
              <a:gd name="connsiteY11465" fmla="*/ 4703059 h 5973007"/>
              <a:gd name="connsiteX11466" fmla="*/ 1586718 w 6884782"/>
              <a:gd name="connsiteY11466" fmla="*/ 4705950 h 5973007"/>
              <a:gd name="connsiteX11467" fmla="*/ 1575876 w 6884782"/>
              <a:gd name="connsiteY11467" fmla="*/ 4710700 h 5973007"/>
              <a:gd name="connsiteX11468" fmla="*/ 1583776 w 6884782"/>
              <a:gd name="connsiteY11468" fmla="*/ 4703059 h 5973007"/>
              <a:gd name="connsiteX11469" fmla="*/ 1615684 w 6884782"/>
              <a:gd name="connsiteY11469" fmla="*/ 4702129 h 5973007"/>
              <a:gd name="connsiteX11470" fmla="*/ 1613516 w 6884782"/>
              <a:gd name="connsiteY11470" fmla="*/ 4704711 h 5973007"/>
              <a:gd name="connsiteX11471" fmla="*/ 1612432 w 6884782"/>
              <a:gd name="connsiteY11471" fmla="*/ 4704504 h 5973007"/>
              <a:gd name="connsiteX11472" fmla="*/ 1615684 w 6884782"/>
              <a:gd name="connsiteY11472" fmla="*/ 4702129 h 5973007"/>
              <a:gd name="connsiteX11473" fmla="*/ 1190340 w 6884782"/>
              <a:gd name="connsiteY11473" fmla="*/ 4701613 h 5973007"/>
              <a:gd name="connsiteX11474" fmla="*/ 1194676 w 6884782"/>
              <a:gd name="connsiteY11474" fmla="*/ 4702336 h 5973007"/>
              <a:gd name="connsiteX11475" fmla="*/ 1191578 w 6884782"/>
              <a:gd name="connsiteY11475" fmla="*/ 4704194 h 5973007"/>
              <a:gd name="connsiteX11476" fmla="*/ 1190340 w 6884782"/>
              <a:gd name="connsiteY11476" fmla="*/ 4701613 h 5973007"/>
              <a:gd name="connsiteX11477" fmla="*/ 1484487 w 6884782"/>
              <a:gd name="connsiteY11477" fmla="*/ 4700580 h 5973007"/>
              <a:gd name="connsiteX11478" fmla="*/ 1493316 w 6884782"/>
              <a:gd name="connsiteY11478" fmla="*/ 4701716 h 5973007"/>
              <a:gd name="connsiteX11479" fmla="*/ 1492851 w 6884782"/>
              <a:gd name="connsiteY11479" fmla="*/ 4702645 h 5973007"/>
              <a:gd name="connsiteX11480" fmla="*/ 1493936 w 6884782"/>
              <a:gd name="connsiteY11480" fmla="*/ 4702749 h 5973007"/>
              <a:gd name="connsiteX11481" fmla="*/ 1496569 w 6884782"/>
              <a:gd name="connsiteY11481" fmla="*/ 4704401 h 5973007"/>
              <a:gd name="connsiteX11482" fmla="*/ 1498738 w 6884782"/>
              <a:gd name="connsiteY11482" fmla="*/ 4715656 h 5973007"/>
              <a:gd name="connsiteX11483" fmla="*/ 1497653 w 6884782"/>
              <a:gd name="connsiteY11483" fmla="*/ 4716585 h 5973007"/>
              <a:gd name="connsiteX11484" fmla="*/ 1498738 w 6884782"/>
              <a:gd name="connsiteY11484" fmla="*/ 4717721 h 5973007"/>
              <a:gd name="connsiteX11485" fmla="*/ 1498428 w 6884782"/>
              <a:gd name="connsiteY11485" fmla="*/ 4725465 h 5973007"/>
              <a:gd name="connsiteX11486" fmla="*/ 1497808 w 6884782"/>
              <a:gd name="connsiteY11486" fmla="*/ 4725775 h 5973007"/>
              <a:gd name="connsiteX11487" fmla="*/ 1498273 w 6884782"/>
              <a:gd name="connsiteY11487" fmla="*/ 4726291 h 5973007"/>
              <a:gd name="connsiteX11488" fmla="*/ 1501216 w 6884782"/>
              <a:gd name="connsiteY11488" fmla="*/ 4732177 h 5973007"/>
              <a:gd name="connsiteX11489" fmla="*/ 1498582 w 6884782"/>
              <a:gd name="connsiteY11489" fmla="*/ 4731144 h 5973007"/>
              <a:gd name="connsiteX11490" fmla="*/ 1497808 w 6884782"/>
              <a:gd name="connsiteY11490" fmla="*/ 4730318 h 5973007"/>
              <a:gd name="connsiteX11491" fmla="*/ 1496879 w 6884782"/>
              <a:gd name="connsiteY11491" fmla="*/ 4730215 h 5973007"/>
              <a:gd name="connsiteX11492" fmla="*/ 1496879 w 6884782"/>
              <a:gd name="connsiteY11492" fmla="*/ 4729389 h 5973007"/>
              <a:gd name="connsiteX11493" fmla="*/ 1495175 w 6884782"/>
              <a:gd name="connsiteY11493" fmla="*/ 4727530 h 5973007"/>
              <a:gd name="connsiteX11494" fmla="*/ 1494401 w 6884782"/>
              <a:gd name="connsiteY11494" fmla="*/ 4727220 h 5973007"/>
              <a:gd name="connsiteX11495" fmla="*/ 1494091 w 6884782"/>
              <a:gd name="connsiteY11495" fmla="*/ 4727014 h 5973007"/>
              <a:gd name="connsiteX11496" fmla="*/ 1492232 w 6884782"/>
              <a:gd name="connsiteY11496" fmla="*/ 4725878 h 5973007"/>
              <a:gd name="connsiteX11497" fmla="*/ 1489909 w 6884782"/>
              <a:gd name="connsiteY11497" fmla="*/ 4724742 h 5973007"/>
              <a:gd name="connsiteX11498" fmla="*/ 1486346 w 6884782"/>
              <a:gd name="connsiteY11498" fmla="*/ 4719373 h 5973007"/>
              <a:gd name="connsiteX11499" fmla="*/ 1487895 w 6884782"/>
              <a:gd name="connsiteY11499" fmla="*/ 4717721 h 5973007"/>
              <a:gd name="connsiteX11500" fmla="*/ 1486191 w 6884782"/>
              <a:gd name="connsiteY11500" fmla="*/ 4715966 h 5973007"/>
              <a:gd name="connsiteX11501" fmla="*/ 1483558 w 6884782"/>
              <a:gd name="connsiteY11501" fmla="*/ 4710906 h 5973007"/>
              <a:gd name="connsiteX11502" fmla="*/ 1485727 w 6884782"/>
              <a:gd name="connsiteY11502" fmla="*/ 4706569 h 5973007"/>
              <a:gd name="connsiteX11503" fmla="*/ 1484023 w 6884782"/>
              <a:gd name="connsiteY11503" fmla="*/ 4705537 h 5973007"/>
              <a:gd name="connsiteX11504" fmla="*/ 1484487 w 6884782"/>
              <a:gd name="connsiteY11504" fmla="*/ 4700580 h 5973007"/>
              <a:gd name="connsiteX11505" fmla="*/ 6034556 w 6884782"/>
              <a:gd name="connsiteY11505" fmla="*/ 4700392 h 5973007"/>
              <a:gd name="connsiteX11506" fmla="*/ 6036415 w 6884782"/>
              <a:gd name="connsiteY11506" fmla="*/ 4702044 h 5973007"/>
              <a:gd name="connsiteX11507" fmla="*/ 6037190 w 6884782"/>
              <a:gd name="connsiteY11507" fmla="*/ 4707103 h 5973007"/>
              <a:gd name="connsiteX11508" fmla="*/ 6035641 w 6884782"/>
              <a:gd name="connsiteY11508" fmla="*/ 4708136 h 5973007"/>
              <a:gd name="connsiteX11509" fmla="*/ 6033007 w 6884782"/>
              <a:gd name="connsiteY11509" fmla="*/ 4701424 h 5973007"/>
              <a:gd name="connsiteX11510" fmla="*/ 6034556 w 6884782"/>
              <a:gd name="connsiteY11510" fmla="*/ 4700392 h 5973007"/>
              <a:gd name="connsiteX11511" fmla="*/ 5900455 w 6884782"/>
              <a:gd name="connsiteY11511" fmla="*/ 4699772 h 5973007"/>
              <a:gd name="connsiteX11512" fmla="*/ 5905683 w 6884782"/>
              <a:gd name="connsiteY11512" fmla="*/ 4703076 h 5973007"/>
              <a:gd name="connsiteX11513" fmla="*/ 5899951 w 6884782"/>
              <a:gd name="connsiteY11513" fmla="*/ 4709375 h 5973007"/>
              <a:gd name="connsiteX11514" fmla="*/ 5893756 w 6884782"/>
              <a:gd name="connsiteY11514" fmla="*/ 4706794 h 5973007"/>
              <a:gd name="connsiteX11515" fmla="*/ 5893136 w 6884782"/>
              <a:gd name="connsiteY11515" fmla="*/ 4701734 h 5973007"/>
              <a:gd name="connsiteX11516" fmla="*/ 5900455 w 6884782"/>
              <a:gd name="connsiteY11516" fmla="*/ 4699772 h 5973007"/>
              <a:gd name="connsiteX11517" fmla="*/ 1848648 w 6884782"/>
              <a:gd name="connsiteY11517" fmla="*/ 4699341 h 5973007"/>
              <a:gd name="connsiteX11518" fmla="*/ 1850352 w 6884782"/>
              <a:gd name="connsiteY11518" fmla="*/ 4705640 h 5973007"/>
              <a:gd name="connsiteX11519" fmla="*/ 1849733 w 6884782"/>
              <a:gd name="connsiteY11519" fmla="*/ 4706776 h 5973007"/>
              <a:gd name="connsiteX11520" fmla="*/ 1848648 w 6884782"/>
              <a:gd name="connsiteY11520" fmla="*/ 4699341 h 5973007"/>
              <a:gd name="connsiteX11521" fmla="*/ 6503737 w 6884782"/>
              <a:gd name="connsiteY11521" fmla="*/ 4698946 h 5973007"/>
              <a:gd name="connsiteX11522" fmla="*/ 6507455 w 6884782"/>
              <a:gd name="connsiteY11522" fmla="*/ 4699153 h 5973007"/>
              <a:gd name="connsiteX11523" fmla="*/ 6506835 w 6884782"/>
              <a:gd name="connsiteY11523" fmla="*/ 4704522 h 5973007"/>
              <a:gd name="connsiteX11524" fmla="*/ 6503117 w 6884782"/>
              <a:gd name="connsiteY11524" fmla="*/ 4704315 h 5973007"/>
              <a:gd name="connsiteX11525" fmla="*/ 6503737 w 6884782"/>
              <a:gd name="connsiteY11525" fmla="*/ 4698946 h 5973007"/>
              <a:gd name="connsiteX11526" fmla="*/ 6105809 w 6884782"/>
              <a:gd name="connsiteY11526" fmla="*/ 4698327 h 5973007"/>
              <a:gd name="connsiteX11527" fmla="*/ 6109371 w 6884782"/>
              <a:gd name="connsiteY11527" fmla="*/ 4705555 h 5973007"/>
              <a:gd name="connsiteX11528" fmla="*/ 6104105 w 6884782"/>
              <a:gd name="connsiteY11528" fmla="*/ 4713196 h 5973007"/>
              <a:gd name="connsiteX11529" fmla="*/ 6102246 w 6884782"/>
              <a:gd name="connsiteY11529" fmla="*/ 4709169 h 5973007"/>
              <a:gd name="connsiteX11530" fmla="*/ 6105809 w 6884782"/>
              <a:gd name="connsiteY11530" fmla="*/ 4698327 h 5973007"/>
              <a:gd name="connsiteX11531" fmla="*/ 1507102 w 6884782"/>
              <a:gd name="connsiteY11531" fmla="*/ 4698309 h 5973007"/>
              <a:gd name="connsiteX11532" fmla="*/ 1509452 w 6884782"/>
              <a:gd name="connsiteY11532" fmla="*/ 4698911 h 5973007"/>
              <a:gd name="connsiteX11533" fmla="*/ 1509426 w 6884782"/>
              <a:gd name="connsiteY11533" fmla="*/ 4698928 h 5973007"/>
              <a:gd name="connsiteX11534" fmla="*/ 1507102 w 6884782"/>
              <a:gd name="connsiteY11534" fmla="*/ 4698309 h 5973007"/>
              <a:gd name="connsiteX11535" fmla="*/ 867826 w 6884782"/>
              <a:gd name="connsiteY11535" fmla="*/ 4698102 h 5973007"/>
              <a:gd name="connsiteX11536" fmla="*/ 870014 w 6884782"/>
              <a:gd name="connsiteY11536" fmla="*/ 4703988 h 5973007"/>
              <a:gd name="connsiteX11537" fmla="*/ 867070 w 6884782"/>
              <a:gd name="connsiteY11537" fmla="*/ 4708841 h 5973007"/>
              <a:gd name="connsiteX11538" fmla="*/ 864902 w 6884782"/>
              <a:gd name="connsiteY11538" fmla="*/ 4708015 h 5973007"/>
              <a:gd name="connsiteX11539" fmla="*/ 864747 w 6884782"/>
              <a:gd name="connsiteY11539" fmla="*/ 4707808 h 5973007"/>
              <a:gd name="connsiteX11540" fmla="*/ 861804 w 6884782"/>
              <a:gd name="connsiteY11540" fmla="*/ 4712042 h 5973007"/>
              <a:gd name="connsiteX11541" fmla="*/ 859946 w 6884782"/>
              <a:gd name="connsiteY11541" fmla="*/ 4709564 h 5973007"/>
              <a:gd name="connsiteX11542" fmla="*/ 859946 w 6884782"/>
              <a:gd name="connsiteY11542" fmla="*/ 4704401 h 5973007"/>
              <a:gd name="connsiteX11543" fmla="*/ 861339 w 6884782"/>
              <a:gd name="connsiteY11543" fmla="*/ 4702336 h 5973007"/>
              <a:gd name="connsiteX11544" fmla="*/ 860875 w 6884782"/>
              <a:gd name="connsiteY11544" fmla="*/ 4701200 h 5973007"/>
              <a:gd name="connsiteX11545" fmla="*/ 867826 w 6884782"/>
              <a:gd name="connsiteY11545" fmla="*/ 4698102 h 5973007"/>
              <a:gd name="connsiteX11546" fmla="*/ 1510819 w 6884782"/>
              <a:gd name="connsiteY11546" fmla="*/ 4697999 h 5973007"/>
              <a:gd name="connsiteX11547" fmla="*/ 1513143 w 6884782"/>
              <a:gd name="connsiteY11547" fmla="*/ 4699858 h 5973007"/>
              <a:gd name="connsiteX11548" fmla="*/ 1509452 w 6884782"/>
              <a:gd name="connsiteY11548" fmla="*/ 4698911 h 5973007"/>
              <a:gd name="connsiteX11549" fmla="*/ 5978794 w 6884782"/>
              <a:gd name="connsiteY11549" fmla="*/ 4697707 h 5973007"/>
              <a:gd name="connsiteX11550" fmla="*/ 5986848 w 6884782"/>
              <a:gd name="connsiteY11550" fmla="*/ 4707000 h 5973007"/>
              <a:gd name="connsiteX11551" fmla="*/ 5984989 w 6884782"/>
              <a:gd name="connsiteY11551" fmla="*/ 4710717 h 5973007"/>
              <a:gd name="connsiteX11552" fmla="*/ 5977245 w 6884782"/>
              <a:gd name="connsiteY11552" fmla="*/ 4704109 h 5973007"/>
              <a:gd name="connsiteX11553" fmla="*/ 5976315 w 6884782"/>
              <a:gd name="connsiteY11553" fmla="*/ 4701114 h 5973007"/>
              <a:gd name="connsiteX11554" fmla="*/ 5978794 w 6884782"/>
              <a:gd name="connsiteY11554" fmla="*/ 4697707 h 5973007"/>
              <a:gd name="connsiteX11555" fmla="*/ 6397769 w 6884782"/>
              <a:gd name="connsiteY11555" fmla="*/ 4697591 h 5973007"/>
              <a:gd name="connsiteX11556" fmla="*/ 6404449 w 6884782"/>
              <a:gd name="connsiteY11556" fmla="*/ 4701837 h 5973007"/>
              <a:gd name="connsiteX11557" fmla="*/ 6398408 w 6884782"/>
              <a:gd name="connsiteY11557" fmla="*/ 4711234 h 5973007"/>
              <a:gd name="connsiteX11558" fmla="*/ 6391437 w 6884782"/>
              <a:gd name="connsiteY11558" fmla="*/ 4700702 h 5973007"/>
              <a:gd name="connsiteX11559" fmla="*/ 6397769 w 6884782"/>
              <a:gd name="connsiteY11559" fmla="*/ 4697591 h 5973007"/>
              <a:gd name="connsiteX11560" fmla="*/ 1595858 w 6884782"/>
              <a:gd name="connsiteY11560" fmla="*/ 4697586 h 5973007"/>
              <a:gd name="connsiteX11561" fmla="*/ 1595238 w 6884782"/>
              <a:gd name="connsiteY11561" fmla="*/ 4703472 h 5973007"/>
              <a:gd name="connsiteX11562" fmla="*/ 1590127 w 6884782"/>
              <a:gd name="connsiteY11562" fmla="*/ 4702233 h 5973007"/>
              <a:gd name="connsiteX11563" fmla="*/ 1595858 w 6884782"/>
              <a:gd name="connsiteY11563" fmla="*/ 4697586 h 5973007"/>
              <a:gd name="connsiteX11564" fmla="*/ 6804507 w 6884782"/>
              <a:gd name="connsiteY11564" fmla="*/ 4697126 h 5973007"/>
              <a:gd name="connsiteX11565" fmla="*/ 6814614 w 6884782"/>
              <a:gd name="connsiteY11565" fmla="*/ 4697604 h 5973007"/>
              <a:gd name="connsiteX11566" fmla="*/ 6817712 w 6884782"/>
              <a:gd name="connsiteY11566" fmla="*/ 4704315 h 5973007"/>
              <a:gd name="connsiteX11567" fmla="*/ 6800054 w 6884782"/>
              <a:gd name="connsiteY11567" fmla="*/ 4708652 h 5973007"/>
              <a:gd name="connsiteX11568" fmla="*/ 6789985 w 6884782"/>
              <a:gd name="connsiteY11568" fmla="*/ 4699049 h 5973007"/>
              <a:gd name="connsiteX11569" fmla="*/ 6804507 w 6884782"/>
              <a:gd name="connsiteY11569" fmla="*/ 4697126 h 5973007"/>
              <a:gd name="connsiteX11570" fmla="*/ 1789168 w 6884782"/>
              <a:gd name="connsiteY11570" fmla="*/ 4696967 h 5973007"/>
              <a:gd name="connsiteX11571" fmla="*/ 1802179 w 6884782"/>
              <a:gd name="connsiteY11571" fmla="*/ 4704607 h 5973007"/>
              <a:gd name="connsiteX11572" fmla="*/ 1802179 w 6884782"/>
              <a:gd name="connsiteY11572" fmla="*/ 4705434 h 5973007"/>
              <a:gd name="connsiteX11573" fmla="*/ 1800321 w 6884782"/>
              <a:gd name="connsiteY11573" fmla="*/ 4706259 h 5973007"/>
              <a:gd name="connsiteX11574" fmla="*/ 1797068 w 6884782"/>
              <a:gd name="connsiteY11574" fmla="*/ 4704401 h 5973007"/>
              <a:gd name="connsiteX11575" fmla="*/ 1790873 w 6884782"/>
              <a:gd name="connsiteY11575" fmla="*/ 4697999 h 5973007"/>
              <a:gd name="connsiteX11576" fmla="*/ 1789168 w 6884782"/>
              <a:gd name="connsiteY11576" fmla="*/ 4696967 h 5973007"/>
              <a:gd name="connsiteX11577" fmla="*/ 6125422 w 6884782"/>
              <a:gd name="connsiteY11577" fmla="*/ 4696494 h 5973007"/>
              <a:gd name="connsiteX11578" fmla="*/ 6131522 w 6884782"/>
              <a:gd name="connsiteY11578" fmla="*/ 4698120 h 5973007"/>
              <a:gd name="connsiteX11579" fmla="*/ 6125945 w 6884782"/>
              <a:gd name="connsiteY11579" fmla="*/ 4703076 h 5973007"/>
              <a:gd name="connsiteX11580" fmla="*/ 6125422 w 6884782"/>
              <a:gd name="connsiteY11580" fmla="*/ 4696494 h 5973007"/>
              <a:gd name="connsiteX11581" fmla="*/ 1576960 w 6884782"/>
              <a:gd name="connsiteY11581" fmla="*/ 4696450 h 5973007"/>
              <a:gd name="connsiteX11582" fmla="*/ 1582537 w 6884782"/>
              <a:gd name="connsiteY11582" fmla="*/ 4699651 h 5973007"/>
              <a:gd name="connsiteX11583" fmla="*/ 1581297 w 6884782"/>
              <a:gd name="connsiteY11583" fmla="*/ 4699961 h 5973007"/>
              <a:gd name="connsiteX11584" fmla="*/ 1579903 w 6884782"/>
              <a:gd name="connsiteY11584" fmla="*/ 4698928 h 5973007"/>
              <a:gd name="connsiteX11585" fmla="*/ 1576960 w 6884782"/>
              <a:gd name="connsiteY11585" fmla="*/ 4696450 h 5973007"/>
              <a:gd name="connsiteX11586" fmla="*/ 1502939 w 6884782"/>
              <a:gd name="connsiteY11586" fmla="*/ 4696373 h 5973007"/>
              <a:gd name="connsiteX11587" fmla="*/ 1507567 w 6884782"/>
              <a:gd name="connsiteY11587" fmla="*/ 4699238 h 5973007"/>
              <a:gd name="connsiteX11588" fmla="*/ 1506947 w 6884782"/>
              <a:gd name="connsiteY11588" fmla="*/ 4700683 h 5973007"/>
              <a:gd name="connsiteX11589" fmla="*/ 1508806 w 6884782"/>
              <a:gd name="connsiteY11589" fmla="*/ 4700580 h 5973007"/>
              <a:gd name="connsiteX11590" fmla="*/ 1511439 w 6884782"/>
              <a:gd name="connsiteY11590" fmla="*/ 4701097 h 5973007"/>
              <a:gd name="connsiteX11591" fmla="*/ 1512059 w 6884782"/>
              <a:gd name="connsiteY11591" fmla="*/ 4707292 h 5973007"/>
              <a:gd name="connsiteX11592" fmla="*/ 1510045 w 6884782"/>
              <a:gd name="connsiteY11592" fmla="*/ 4709357 h 5973007"/>
              <a:gd name="connsiteX11593" fmla="*/ 1505089 w 6884782"/>
              <a:gd name="connsiteY11593" fmla="*/ 4710803 h 5973007"/>
              <a:gd name="connsiteX11594" fmla="*/ 1505398 w 6884782"/>
              <a:gd name="connsiteY11594" fmla="*/ 4711526 h 5973007"/>
              <a:gd name="connsiteX11595" fmla="*/ 1502765 w 6884782"/>
              <a:gd name="connsiteY11595" fmla="*/ 4707292 h 5973007"/>
              <a:gd name="connsiteX11596" fmla="*/ 1503075 w 6884782"/>
              <a:gd name="connsiteY11596" fmla="*/ 4706673 h 5973007"/>
              <a:gd name="connsiteX11597" fmla="*/ 1502455 w 6884782"/>
              <a:gd name="connsiteY11597" fmla="*/ 4707292 h 5973007"/>
              <a:gd name="connsiteX11598" fmla="*/ 1497808 w 6884782"/>
              <a:gd name="connsiteY11598" fmla="*/ 4703472 h 5973007"/>
              <a:gd name="connsiteX11599" fmla="*/ 1497653 w 6884782"/>
              <a:gd name="connsiteY11599" fmla="*/ 4700271 h 5973007"/>
              <a:gd name="connsiteX11600" fmla="*/ 1496105 w 6884782"/>
              <a:gd name="connsiteY11600" fmla="*/ 4699238 h 5973007"/>
              <a:gd name="connsiteX11601" fmla="*/ 1497499 w 6884782"/>
              <a:gd name="connsiteY11601" fmla="*/ 4697276 h 5973007"/>
              <a:gd name="connsiteX11602" fmla="*/ 1497499 w 6884782"/>
              <a:gd name="connsiteY11602" fmla="*/ 4696760 h 5973007"/>
              <a:gd name="connsiteX11603" fmla="*/ 1502939 w 6884782"/>
              <a:gd name="connsiteY11603" fmla="*/ 4696373 h 5973007"/>
              <a:gd name="connsiteX11604" fmla="*/ 6442243 w 6884782"/>
              <a:gd name="connsiteY11604" fmla="*/ 4696365 h 5973007"/>
              <a:gd name="connsiteX11605" fmla="*/ 6444722 w 6884782"/>
              <a:gd name="connsiteY11605" fmla="*/ 4699669 h 5973007"/>
              <a:gd name="connsiteX11606" fmla="*/ 6442553 w 6884782"/>
              <a:gd name="connsiteY11606" fmla="*/ 4707103 h 5973007"/>
              <a:gd name="connsiteX11607" fmla="*/ 6433879 w 6884782"/>
              <a:gd name="connsiteY11607" fmla="*/ 4704832 h 5973007"/>
              <a:gd name="connsiteX11608" fmla="*/ 6442243 w 6884782"/>
              <a:gd name="connsiteY11608" fmla="*/ 4696365 h 5973007"/>
              <a:gd name="connsiteX11609" fmla="*/ 6148250 w 6884782"/>
              <a:gd name="connsiteY11609" fmla="*/ 4696365 h 5973007"/>
              <a:gd name="connsiteX11610" fmla="*/ 6158938 w 6884782"/>
              <a:gd name="connsiteY11610" fmla="*/ 4700082 h 5973007"/>
              <a:gd name="connsiteX11611" fmla="*/ 6164669 w 6884782"/>
              <a:gd name="connsiteY11611" fmla="*/ 4711543 h 5973007"/>
              <a:gd name="connsiteX11612" fmla="*/ 6163585 w 6884782"/>
              <a:gd name="connsiteY11612" fmla="*/ 4714228 h 5973007"/>
              <a:gd name="connsiteX11613" fmla="*/ 6165599 w 6884782"/>
              <a:gd name="connsiteY11613" fmla="*/ 4715983 h 5973007"/>
              <a:gd name="connsiteX11614" fmla="*/ 6163740 w 6884782"/>
              <a:gd name="connsiteY11614" fmla="*/ 4728787 h 5973007"/>
              <a:gd name="connsiteX11615" fmla="*/ 6155995 w 6884782"/>
              <a:gd name="connsiteY11615" fmla="*/ 4730336 h 5973007"/>
              <a:gd name="connsiteX11616" fmla="*/ 6152897 w 6884782"/>
              <a:gd name="connsiteY11616" fmla="*/ 4729200 h 5973007"/>
              <a:gd name="connsiteX11617" fmla="*/ 6156925 w 6884782"/>
              <a:gd name="connsiteY11617" fmla="*/ 4720733 h 5973007"/>
              <a:gd name="connsiteX11618" fmla="*/ 6157699 w 6884782"/>
              <a:gd name="connsiteY11618" fmla="*/ 4718462 h 5973007"/>
              <a:gd name="connsiteX11619" fmla="*/ 6155066 w 6884782"/>
              <a:gd name="connsiteY11619" fmla="*/ 4719081 h 5973007"/>
              <a:gd name="connsiteX11620" fmla="*/ 6149490 w 6884782"/>
              <a:gd name="connsiteY11620" fmla="*/ 4717223 h 5973007"/>
              <a:gd name="connsiteX11621" fmla="*/ 6145617 w 6884782"/>
              <a:gd name="connsiteY11621" fmla="*/ 4701734 h 5973007"/>
              <a:gd name="connsiteX11622" fmla="*/ 6147011 w 6884782"/>
              <a:gd name="connsiteY11622" fmla="*/ 4699979 h 5973007"/>
              <a:gd name="connsiteX11623" fmla="*/ 6148250 w 6884782"/>
              <a:gd name="connsiteY11623" fmla="*/ 4696365 h 5973007"/>
              <a:gd name="connsiteX11624" fmla="*/ 892319 w 6884782"/>
              <a:gd name="connsiteY11624" fmla="*/ 4696347 h 5973007"/>
              <a:gd name="connsiteX11625" fmla="*/ 892164 w 6884782"/>
              <a:gd name="connsiteY11625" fmla="*/ 4706982 h 5973007"/>
              <a:gd name="connsiteX11626" fmla="*/ 890925 w 6884782"/>
              <a:gd name="connsiteY11626" fmla="*/ 4708118 h 5973007"/>
              <a:gd name="connsiteX11627" fmla="*/ 888756 w 6884782"/>
              <a:gd name="connsiteY11627" fmla="*/ 4707189 h 5973007"/>
              <a:gd name="connsiteX11628" fmla="*/ 888136 w 6884782"/>
              <a:gd name="connsiteY11628" fmla="*/ 4702852 h 5973007"/>
              <a:gd name="connsiteX11629" fmla="*/ 891080 w 6884782"/>
              <a:gd name="connsiteY11629" fmla="*/ 4699135 h 5973007"/>
              <a:gd name="connsiteX11630" fmla="*/ 891544 w 6884782"/>
              <a:gd name="connsiteY11630" fmla="*/ 4696450 h 5973007"/>
              <a:gd name="connsiteX11631" fmla="*/ 892319 w 6884782"/>
              <a:gd name="connsiteY11631" fmla="*/ 4696347 h 5973007"/>
              <a:gd name="connsiteX11632" fmla="*/ 6268605 w 6884782"/>
              <a:gd name="connsiteY11632" fmla="*/ 4695848 h 5973007"/>
              <a:gd name="connsiteX11633" fmla="*/ 6268140 w 6884782"/>
              <a:gd name="connsiteY11633" fmla="*/ 4706690 h 5973007"/>
              <a:gd name="connsiteX11634" fmla="*/ 6262873 w 6884782"/>
              <a:gd name="connsiteY11634" fmla="*/ 4706380 h 5973007"/>
              <a:gd name="connsiteX11635" fmla="*/ 6265042 w 6884782"/>
              <a:gd name="connsiteY11635" fmla="*/ 4695952 h 5973007"/>
              <a:gd name="connsiteX11636" fmla="*/ 6268605 w 6884782"/>
              <a:gd name="connsiteY11636" fmla="*/ 4695848 h 5973007"/>
              <a:gd name="connsiteX11637" fmla="*/ 1722718 w 6884782"/>
              <a:gd name="connsiteY11637" fmla="*/ 4695727 h 5973007"/>
              <a:gd name="connsiteX11638" fmla="*/ 1723028 w 6884782"/>
              <a:gd name="connsiteY11638" fmla="*/ 4696244 h 5973007"/>
              <a:gd name="connsiteX11639" fmla="*/ 1724732 w 6884782"/>
              <a:gd name="connsiteY11639" fmla="*/ 4696760 h 5973007"/>
              <a:gd name="connsiteX11640" fmla="*/ 1728913 w 6884782"/>
              <a:gd name="connsiteY11640" fmla="*/ 4700168 h 5973007"/>
              <a:gd name="connsiteX11641" fmla="*/ 1729223 w 6884782"/>
              <a:gd name="connsiteY11641" fmla="*/ 4699341 h 5973007"/>
              <a:gd name="connsiteX11642" fmla="*/ 1727985 w 6884782"/>
              <a:gd name="connsiteY11642" fmla="*/ 4704401 h 5973007"/>
              <a:gd name="connsiteX11643" fmla="*/ 1726125 w 6884782"/>
              <a:gd name="connsiteY11643" fmla="*/ 4704917 h 5973007"/>
              <a:gd name="connsiteX11644" fmla="*/ 1726435 w 6884782"/>
              <a:gd name="connsiteY11644" fmla="*/ 4707602 h 5973007"/>
              <a:gd name="connsiteX11645" fmla="*/ 1723337 w 6884782"/>
              <a:gd name="connsiteY11645" fmla="*/ 4718960 h 5973007"/>
              <a:gd name="connsiteX11646" fmla="*/ 1720085 w 6884782"/>
              <a:gd name="connsiteY11646" fmla="*/ 4713487 h 5973007"/>
              <a:gd name="connsiteX11647" fmla="*/ 1719465 w 6884782"/>
              <a:gd name="connsiteY11647" fmla="*/ 4703678 h 5973007"/>
              <a:gd name="connsiteX11648" fmla="*/ 1719465 w 6884782"/>
              <a:gd name="connsiteY11648" fmla="*/ 4703368 h 5973007"/>
              <a:gd name="connsiteX11649" fmla="*/ 1718071 w 6884782"/>
              <a:gd name="connsiteY11649" fmla="*/ 4700683 h 5973007"/>
              <a:gd name="connsiteX11650" fmla="*/ 1722098 w 6884782"/>
              <a:gd name="connsiteY11650" fmla="*/ 4696244 h 5973007"/>
              <a:gd name="connsiteX11651" fmla="*/ 1722563 w 6884782"/>
              <a:gd name="connsiteY11651" fmla="*/ 4696244 h 5973007"/>
              <a:gd name="connsiteX11652" fmla="*/ 930888 w 6884782"/>
              <a:gd name="connsiteY11652" fmla="*/ 4695211 h 5973007"/>
              <a:gd name="connsiteX11653" fmla="*/ 939872 w 6884782"/>
              <a:gd name="connsiteY11653" fmla="*/ 4696967 h 5973007"/>
              <a:gd name="connsiteX11654" fmla="*/ 937238 w 6884782"/>
              <a:gd name="connsiteY11654" fmla="*/ 4708325 h 5973007"/>
              <a:gd name="connsiteX11655" fmla="*/ 937703 w 6884782"/>
              <a:gd name="connsiteY11655" fmla="*/ 4709874 h 5973007"/>
              <a:gd name="connsiteX11656" fmla="*/ 937238 w 6884782"/>
              <a:gd name="connsiteY11656" fmla="*/ 4712042 h 5973007"/>
              <a:gd name="connsiteX11657" fmla="*/ 936309 w 6884782"/>
              <a:gd name="connsiteY11657" fmla="*/ 4712455 h 5973007"/>
              <a:gd name="connsiteX11658" fmla="*/ 934760 w 6884782"/>
              <a:gd name="connsiteY11658" fmla="*/ 4719476 h 5973007"/>
              <a:gd name="connsiteX11659" fmla="*/ 929959 w 6884782"/>
              <a:gd name="connsiteY11659" fmla="*/ 4740128 h 5973007"/>
              <a:gd name="connsiteX11660" fmla="*/ 930888 w 6884782"/>
              <a:gd name="connsiteY11660" fmla="*/ 4695211 h 5973007"/>
              <a:gd name="connsiteX11661" fmla="*/ 5840781 w 6884782"/>
              <a:gd name="connsiteY11661" fmla="*/ 4695022 h 5973007"/>
              <a:gd name="connsiteX11662" fmla="*/ 5842330 w 6884782"/>
              <a:gd name="connsiteY11662" fmla="*/ 4695848 h 5973007"/>
              <a:gd name="connsiteX11663" fmla="*/ 5843879 w 6884782"/>
              <a:gd name="connsiteY11663" fmla="*/ 4695952 h 5973007"/>
              <a:gd name="connsiteX11664" fmla="*/ 5843879 w 6884782"/>
              <a:gd name="connsiteY11664" fmla="*/ 4696778 h 5973007"/>
              <a:gd name="connsiteX11665" fmla="*/ 5844653 w 6884782"/>
              <a:gd name="connsiteY11665" fmla="*/ 4697707 h 5973007"/>
              <a:gd name="connsiteX11666" fmla="*/ 5842640 w 6884782"/>
              <a:gd name="connsiteY11666" fmla="*/ 4701218 h 5973007"/>
              <a:gd name="connsiteX11667" fmla="*/ 5840781 w 6884782"/>
              <a:gd name="connsiteY11667" fmla="*/ 4702250 h 5973007"/>
              <a:gd name="connsiteX11668" fmla="*/ 5839232 w 6884782"/>
              <a:gd name="connsiteY11668" fmla="*/ 4702044 h 5973007"/>
              <a:gd name="connsiteX11669" fmla="*/ 5838458 w 6884782"/>
              <a:gd name="connsiteY11669" fmla="*/ 4700185 h 5973007"/>
              <a:gd name="connsiteX11670" fmla="*/ 5838922 w 6884782"/>
              <a:gd name="connsiteY11670" fmla="*/ 4696778 h 5973007"/>
              <a:gd name="connsiteX11671" fmla="*/ 5840781 w 6884782"/>
              <a:gd name="connsiteY11671" fmla="*/ 4695022 h 5973007"/>
              <a:gd name="connsiteX11672" fmla="*/ 6283010 w 6884782"/>
              <a:gd name="connsiteY11672" fmla="*/ 4694712 h 5973007"/>
              <a:gd name="connsiteX11673" fmla="*/ 6291374 w 6884782"/>
              <a:gd name="connsiteY11673" fmla="*/ 4695848 h 5973007"/>
              <a:gd name="connsiteX11674" fmla="*/ 6288431 w 6884782"/>
              <a:gd name="connsiteY11674" fmla="*/ 4705141 h 5973007"/>
              <a:gd name="connsiteX11675" fmla="*/ 6283010 w 6884782"/>
              <a:gd name="connsiteY11675" fmla="*/ 4694712 h 5973007"/>
              <a:gd name="connsiteX11676" fmla="*/ 6462535 w 6884782"/>
              <a:gd name="connsiteY11676" fmla="*/ 4694609 h 5973007"/>
              <a:gd name="connsiteX11677" fmla="*/ 6467027 w 6884782"/>
              <a:gd name="connsiteY11677" fmla="*/ 4696984 h 5973007"/>
              <a:gd name="connsiteX11678" fmla="*/ 6470125 w 6884782"/>
              <a:gd name="connsiteY11678" fmla="*/ 4704729 h 5973007"/>
              <a:gd name="connsiteX11679" fmla="*/ 6466252 w 6884782"/>
              <a:gd name="connsiteY11679" fmla="*/ 4706174 h 5973007"/>
              <a:gd name="connsiteX11680" fmla="*/ 6455874 w 6884782"/>
              <a:gd name="connsiteY11680" fmla="*/ 4697913 h 5973007"/>
              <a:gd name="connsiteX11681" fmla="*/ 6462535 w 6884782"/>
              <a:gd name="connsiteY11681" fmla="*/ 4694609 h 5973007"/>
              <a:gd name="connsiteX11682" fmla="*/ 1363823 w 6884782"/>
              <a:gd name="connsiteY11682" fmla="*/ 4693869 h 5973007"/>
              <a:gd name="connsiteX11683" fmla="*/ 1366921 w 6884782"/>
              <a:gd name="connsiteY11683" fmla="*/ 4696760 h 5973007"/>
              <a:gd name="connsiteX11684" fmla="*/ 1367695 w 6884782"/>
              <a:gd name="connsiteY11684" fmla="*/ 4698928 h 5973007"/>
              <a:gd name="connsiteX11685" fmla="*/ 1368470 w 6884782"/>
              <a:gd name="connsiteY11685" fmla="*/ 4697999 h 5973007"/>
              <a:gd name="connsiteX11686" fmla="*/ 1372807 w 6884782"/>
              <a:gd name="connsiteY11686" fmla="*/ 4698309 h 5973007"/>
              <a:gd name="connsiteX11687" fmla="*/ 1367076 w 6884782"/>
              <a:gd name="connsiteY11687" fmla="*/ 4702439 h 5973007"/>
              <a:gd name="connsiteX11688" fmla="*/ 1367076 w 6884782"/>
              <a:gd name="connsiteY11688" fmla="*/ 4702026 h 5973007"/>
              <a:gd name="connsiteX11689" fmla="*/ 1366456 w 6884782"/>
              <a:gd name="connsiteY11689" fmla="*/ 4702852 h 5973007"/>
              <a:gd name="connsiteX11690" fmla="*/ 1363049 w 6884782"/>
              <a:gd name="connsiteY11690" fmla="*/ 4702955 h 5973007"/>
              <a:gd name="connsiteX11691" fmla="*/ 1360725 w 6884782"/>
              <a:gd name="connsiteY11691" fmla="*/ 4701716 h 5973007"/>
              <a:gd name="connsiteX11692" fmla="*/ 1359486 w 6884782"/>
              <a:gd name="connsiteY11692" fmla="*/ 4698825 h 5973007"/>
              <a:gd name="connsiteX11693" fmla="*/ 1359796 w 6884782"/>
              <a:gd name="connsiteY11693" fmla="*/ 4696450 h 5973007"/>
              <a:gd name="connsiteX11694" fmla="*/ 1363823 w 6884782"/>
              <a:gd name="connsiteY11694" fmla="*/ 4693869 h 5973007"/>
              <a:gd name="connsiteX11695" fmla="*/ 1709087 w 6884782"/>
              <a:gd name="connsiteY11695" fmla="*/ 4693766 h 5973007"/>
              <a:gd name="connsiteX11696" fmla="*/ 1710636 w 6884782"/>
              <a:gd name="connsiteY11696" fmla="*/ 4695934 h 5973007"/>
              <a:gd name="connsiteX11697" fmla="*/ 1709861 w 6884782"/>
              <a:gd name="connsiteY11697" fmla="*/ 4696244 h 5973007"/>
              <a:gd name="connsiteX11698" fmla="*/ 1706764 w 6884782"/>
              <a:gd name="connsiteY11698" fmla="*/ 4698412 h 5973007"/>
              <a:gd name="connsiteX11699" fmla="*/ 1705524 w 6884782"/>
              <a:gd name="connsiteY11699" fmla="*/ 4694385 h 5973007"/>
              <a:gd name="connsiteX11700" fmla="*/ 1709087 w 6884782"/>
              <a:gd name="connsiteY11700" fmla="*/ 4693766 h 5973007"/>
              <a:gd name="connsiteX11701" fmla="*/ 1143754 w 6884782"/>
              <a:gd name="connsiteY11701" fmla="*/ 4693636 h 5973007"/>
              <a:gd name="connsiteX11702" fmla="*/ 1149756 w 6884782"/>
              <a:gd name="connsiteY11702" fmla="*/ 4694075 h 5973007"/>
              <a:gd name="connsiteX11703" fmla="*/ 1149601 w 6884782"/>
              <a:gd name="connsiteY11703" fmla="*/ 4696657 h 5973007"/>
              <a:gd name="connsiteX11704" fmla="*/ 1143251 w 6884782"/>
              <a:gd name="connsiteY11704" fmla="*/ 4700580 h 5973007"/>
              <a:gd name="connsiteX11705" fmla="*/ 1141237 w 6884782"/>
              <a:gd name="connsiteY11705" fmla="*/ 4699548 h 5973007"/>
              <a:gd name="connsiteX11706" fmla="*/ 1143754 w 6884782"/>
              <a:gd name="connsiteY11706" fmla="*/ 4693636 h 5973007"/>
              <a:gd name="connsiteX11707" fmla="*/ 1780649 w 6884782"/>
              <a:gd name="connsiteY11707" fmla="*/ 4693352 h 5973007"/>
              <a:gd name="connsiteX11708" fmla="*/ 1783128 w 6884782"/>
              <a:gd name="connsiteY11708" fmla="*/ 4693456 h 5973007"/>
              <a:gd name="connsiteX11709" fmla="*/ 1782972 w 6884782"/>
              <a:gd name="connsiteY11709" fmla="*/ 4699858 h 5973007"/>
              <a:gd name="connsiteX11710" fmla="*/ 1788084 w 6884782"/>
              <a:gd name="connsiteY11710" fmla="*/ 4700168 h 5973007"/>
              <a:gd name="connsiteX11711" fmla="*/ 1782817 w 6884782"/>
              <a:gd name="connsiteY11711" fmla="*/ 4715656 h 5973007"/>
              <a:gd name="connsiteX11712" fmla="*/ 1782508 w 6884782"/>
              <a:gd name="connsiteY11712" fmla="*/ 4716069 h 5973007"/>
              <a:gd name="connsiteX11713" fmla="*/ 1782817 w 6884782"/>
              <a:gd name="connsiteY11713" fmla="*/ 4716172 h 5973007"/>
              <a:gd name="connsiteX11714" fmla="*/ 1786690 w 6884782"/>
              <a:gd name="connsiteY11714" fmla="*/ 4714313 h 5973007"/>
              <a:gd name="connsiteX11715" fmla="*/ 1788703 w 6884782"/>
              <a:gd name="connsiteY11715" fmla="*/ 4727117 h 5973007"/>
              <a:gd name="connsiteX11716" fmla="*/ 1788239 w 6884782"/>
              <a:gd name="connsiteY11716" fmla="*/ 4728976 h 5973007"/>
              <a:gd name="connsiteX11717" fmla="*/ 1789013 w 6884782"/>
              <a:gd name="connsiteY11717" fmla="*/ 4728976 h 5973007"/>
              <a:gd name="connsiteX11718" fmla="*/ 1788239 w 6884782"/>
              <a:gd name="connsiteY11718" fmla="*/ 4729802 h 5973007"/>
              <a:gd name="connsiteX11719" fmla="*/ 1788239 w 6884782"/>
              <a:gd name="connsiteY11719" fmla="*/ 4730008 h 5973007"/>
              <a:gd name="connsiteX11720" fmla="*/ 1788239 w 6884782"/>
              <a:gd name="connsiteY11720" fmla="*/ 4730938 h 5973007"/>
              <a:gd name="connsiteX11721" fmla="*/ 1786225 w 6884782"/>
              <a:gd name="connsiteY11721" fmla="*/ 4733726 h 5973007"/>
              <a:gd name="connsiteX11722" fmla="*/ 1785296 w 6884782"/>
              <a:gd name="connsiteY11722" fmla="*/ 4734139 h 5973007"/>
              <a:gd name="connsiteX11723" fmla="*/ 1784056 w 6884782"/>
              <a:gd name="connsiteY11723" fmla="*/ 4733313 h 5973007"/>
              <a:gd name="connsiteX11724" fmla="*/ 1781423 w 6884782"/>
              <a:gd name="connsiteY11724" fmla="*/ 4728873 h 5973007"/>
              <a:gd name="connsiteX11725" fmla="*/ 1766088 w 6884782"/>
              <a:gd name="connsiteY11725" fmla="*/ 4727324 h 5973007"/>
              <a:gd name="connsiteX11726" fmla="*/ 1766553 w 6884782"/>
              <a:gd name="connsiteY11726" fmla="*/ 4718650 h 5973007"/>
              <a:gd name="connsiteX11727" fmla="*/ 1768257 w 6884782"/>
              <a:gd name="connsiteY11727" fmla="*/ 4716895 h 5973007"/>
              <a:gd name="connsiteX11728" fmla="*/ 1766244 w 6884782"/>
              <a:gd name="connsiteY11728" fmla="*/ 4716585 h 5973007"/>
              <a:gd name="connsiteX11729" fmla="*/ 1771820 w 6884782"/>
              <a:gd name="connsiteY11729" fmla="*/ 4700683 h 5973007"/>
              <a:gd name="connsiteX11730" fmla="*/ 1773214 w 6884782"/>
              <a:gd name="connsiteY11730" fmla="*/ 4699445 h 5973007"/>
              <a:gd name="connsiteX11731" fmla="*/ 1775228 w 6884782"/>
              <a:gd name="connsiteY11731" fmla="*/ 4700271 h 5973007"/>
              <a:gd name="connsiteX11732" fmla="*/ 1776157 w 6884782"/>
              <a:gd name="connsiteY11732" fmla="*/ 4702955 h 5973007"/>
              <a:gd name="connsiteX11733" fmla="*/ 1776777 w 6884782"/>
              <a:gd name="connsiteY11733" fmla="*/ 4702645 h 5973007"/>
              <a:gd name="connsiteX11734" fmla="*/ 1776777 w 6884782"/>
              <a:gd name="connsiteY11734" fmla="*/ 4702439 h 5973007"/>
              <a:gd name="connsiteX11735" fmla="*/ 1779875 w 6884782"/>
              <a:gd name="connsiteY11735" fmla="*/ 4695108 h 5973007"/>
              <a:gd name="connsiteX11736" fmla="*/ 1780649 w 6884782"/>
              <a:gd name="connsiteY11736" fmla="*/ 4693352 h 5973007"/>
              <a:gd name="connsiteX11737" fmla="*/ 1387522 w 6884782"/>
              <a:gd name="connsiteY11737" fmla="*/ 4693043 h 5973007"/>
              <a:gd name="connsiteX11738" fmla="*/ 1393099 w 6884782"/>
              <a:gd name="connsiteY11738" fmla="*/ 4697070 h 5973007"/>
              <a:gd name="connsiteX11739" fmla="*/ 1389691 w 6884782"/>
              <a:gd name="connsiteY11739" fmla="*/ 4699341 h 5973007"/>
              <a:gd name="connsiteX11740" fmla="*/ 1386283 w 6884782"/>
              <a:gd name="connsiteY11740" fmla="*/ 4697999 h 5973007"/>
              <a:gd name="connsiteX11741" fmla="*/ 1384269 w 6884782"/>
              <a:gd name="connsiteY11741" fmla="*/ 4694075 h 5973007"/>
              <a:gd name="connsiteX11742" fmla="*/ 1384734 w 6884782"/>
              <a:gd name="connsiteY11742" fmla="*/ 4694901 h 5973007"/>
              <a:gd name="connsiteX11743" fmla="*/ 1386128 w 6884782"/>
              <a:gd name="connsiteY11743" fmla="*/ 4693972 h 5973007"/>
              <a:gd name="connsiteX11744" fmla="*/ 1385664 w 6884782"/>
              <a:gd name="connsiteY11744" fmla="*/ 4693249 h 5973007"/>
              <a:gd name="connsiteX11745" fmla="*/ 1387522 w 6884782"/>
              <a:gd name="connsiteY11745" fmla="*/ 4693043 h 5973007"/>
              <a:gd name="connsiteX11746" fmla="*/ 6217179 w 6884782"/>
              <a:gd name="connsiteY11746" fmla="*/ 4692544 h 5973007"/>
              <a:gd name="connsiteX11747" fmla="*/ 6224614 w 6884782"/>
              <a:gd name="connsiteY11747" fmla="*/ 4692647 h 5973007"/>
              <a:gd name="connsiteX11748" fmla="*/ 6223220 w 6884782"/>
              <a:gd name="connsiteY11748" fmla="*/ 4698740 h 5973007"/>
              <a:gd name="connsiteX11749" fmla="*/ 6220897 w 6884782"/>
              <a:gd name="connsiteY11749" fmla="*/ 4700082 h 5973007"/>
              <a:gd name="connsiteX11750" fmla="*/ 6218263 w 6884782"/>
              <a:gd name="connsiteY11750" fmla="*/ 4699463 h 5973007"/>
              <a:gd name="connsiteX11751" fmla="*/ 6216715 w 6884782"/>
              <a:gd name="connsiteY11751" fmla="*/ 4697810 h 5973007"/>
              <a:gd name="connsiteX11752" fmla="*/ 6217179 w 6884782"/>
              <a:gd name="connsiteY11752" fmla="*/ 4692544 h 5973007"/>
              <a:gd name="connsiteX11753" fmla="*/ 1865068 w 6884782"/>
              <a:gd name="connsiteY11753" fmla="*/ 4692113 h 5973007"/>
              <a:gd name="connsiteX11754" fmla="*/ 1868476 w 6884782"/>
              <a:gd name="connsiteY11754" fmla="*/ 4694901 h 5973007"/>
              <a:gd name="connsiteX11755" fmla="*/ 1864758 w 6884782"/>
              <a:gd name="connsiteY11755" fmla="*/ 4699238 h 5973007"/>
              <a:gd name="connsiteX11756" fmla="*/ 1861195 w 6884782"/>
              <a:gd name="connsiteY11756" fmla="*/ 4696657 h 5973007"/>
              <a:gd name="connsiteX11757" fmla="*/ 1861350 w 6884782"/>
              <a:gd name="connsiteY11757" fmla="*/ 4694488 h 5973007"/>
              <a:gd name="connsiteX11758" fmla="*/ 1862124 w 6884782"/>
              <a:gd name="connsiteY11758" fmla="*/ 4694075 h 5973007"/>
              <a:gd name="connsiteX11759" fmla="*/ 1865068 w 6884782"/>
              <a:gd name="connsiteY11759" fmla="*/ 4692113 h 5973007"/>
              <a:gd name="connsiteX11760" fmla="*/ 670817 w 6884782"/>
              <a:gd name="connsiteY11760" fmla="*/ 4691907 h 5973007"/>
              <a:gd name="connsiteX11761" fmla="*/ 686617 w 6884782"/>
              <a:gd name="connsiteY11761" fmla="*/ 4696244 h 5973007"/>
              <a:gd name="connsiteX11762" fmla="*/ 685997 w 6884782"/>
              <a:gd name="connsiteY11762" fmla="*/ 4698102 h 5973007"/>
              <a:gd name="connsiteX11763" fmla="*/ 683828 w 6884782"/>
              <a:gd name="connsiteY11763" fmla="*/ 4698825 h 5973007"/>
              <a:gd name="connsiteX11764" fmla="*/ 675619 w 6884782"/>
              <a:gd name="connsiteY11764" fmla="*/ 4696967 h 5973007"/>
              <a:gd name="connsiteX11765" fmla="*/ 673915 w 6884782"/>
              <a:gd name="connsiteY11765" fmla="*/ 4696140 h 5973007"/>
              <a:gd name="connsiteX11766" fmla="*/ 672056 w 6884782"/>
              <a:gd name="connsiteY11766" fmla="*/ 4695417 h 5973007"/>
              <a:gd name="connsiteX11767" fmla="*/ 670817 w 6884782"/>
              <a:gd name="connsiteY11767" fmla="*/ 4691907 h 5973007"/>
              <a:gd name="connsiteX11768" fmla="*/ 1783902 w 6884782"/>
              <a:gd name="connsiteY11768" fmla="*/ 4690978 h 5973007"/>
              <a:gd name="connsiteX11769" fmla="*/ 1787310 w 6884782"/>
              <a:gd name="connsiteY11769" fmla="*/ 4694592 h 5973007"/>
              <a:gd name="connsiteX11770" fmla="*/ 1789013 w 6884782"/>
              <a:gd name="connsiteY11770" fmla="*/ 4695417 h 5973007"/>
              <a:gd name="connsiteX11771" fmla="*/ 1787464 w 6884782"/>
              <a:gd name="connsiteY11771" fmla="*/ 4696244 h 5973007"/>
              <a:gd name="connsiteX11772" fmla="*/ 1785606 w 6884782"/>
              <a:gd name="connsiteY11772" fmla="*/ 4693559 h 5973007"/>
              <a:gd name="connsiteX11773" fmla="*/ 1784056 w 6884782"/>
              <a:gd name="connsiteY11773" fmla="*/ 4694385 h 5973007"/>
              <a:gd name="connsiteX11774" fmla="*/ 1783128 w 6884782"/>
              <a:gd name="connsiteY11774" fmla="*/ 4693456 h 5973007"/>
              <a:gd name="connsiteX11775" fmla="*/ 1783902 w 6884782"/>
              <a:gd name="connsiteY11775" fmla="*/ 4690978 h 5973007"/>
              <a:gd name="connsiteX11776" fmla="*/ 1046285 w 6884782"/>
              <a:gd name="connsiteY11776" fmla="*/ 4690978 h 5973007"/>
              <a:gd name="connsiteX11777" fmla="*/ 1048919 w 6884782"/>
              <a:gd name="connsiteY11777" fmla="*/ 4691804 h 5973007"/>
              <a:gd name="connsiteX11778" fmla="*/ 1049384 w 6884782"/>
              <a:gd name="connsiteY11778" fmla="*/ 4691597 h 5973007"/>
              <a:gd name="connsiteX11779" fmla="*/ 1055734 w 6884782"/>
              <a:gd name="connsiteY11779" fmla="*/ 4696760 h 5973007"/>
              <a:gd name="connsiteX11780" fmla="*/ 1052017 w 6884782"/>
              <a:gd name="connsiteY11780" fmla="*/ 4701303 h 5973007"/>
              <a:gd name="connsiteX11781" fmla="*/ 1051397 w 6884782"/>
              <a:gd name="connsiteY11781" fmla="*/ 4700890 h 5973007"/>
              <a:gd name="connsiteX11782" fmla="*/ 1050932 w 6884782"/>
              <a:gd name="connsiteY11782" fmla="*/ 4701923 h 5973007"/>
              <a:gd name="connsiteX11783" fmla="*/ 1046130 w 6884782"/>
              <a:gd name="connsiteY11783" fmla="*/ 4706363 h 5973007"/>
              <a:gd name="connsiteX11784" fmla="*/ 1046285 w 6884782"/>
              <a:gd name="connsiteY11784" fmla="*/ 4690978 h 5973007"/>
              <a:gd name="connsiteX11785" fmla="*/ 1530956 w 6884782"/>
              <a:gd name="connsiteY11785" fmla="*/ 4690565 h 5973007"/>
              <a:gd name="connsiteX11786" fmla="*/ 1533589 w 6884782"/>
              <a:gd name="connsiteY11786" fmla="*/ 4694901 h 5973007"/>
              <a:gd name="connsiteX11787" fmla="*/ 1532505 w 6884782"/>
              <a:gd name="connsiteY11787" fmla="*/ 4695831 h 5973007"/>
              <a:gd name="connsiteX11788" fmla="*/ 1533899 w 6884782"/>
              <a:gd name="connsiteY11788" fmla="*/ 4696244 h 5973007"/>
              <a:gd name="connsiteX11789" fmla="*/ 1537152 w 6884782"/>
              <a:gd name="connsiteY11789" fmla="*/ 4698928 h 5973007"/>
              <a:gd name="connsiteX11790" fmla="*/ 1537462 w 6884782"/>
              <a:gd name="connsiteY11790" fmla="*/ 4693869 h 5973007"/>
              <a:gd name="connsiteX11791" fmla="*/ 1551248 w 6884782"/>
              <a:gd name="connsiteY11791" fmla="*/ 4693456 h 5973007"/>
              <a:gd name="connsiteX11792" fmla="*/ 1550473 w 6884782"/>
              <a:gd name="connsiteY11792" fmla="*/ 4702129 h 5973007"/>
              <a:gd name="connsiteX11793" fmla="*/ 1543193 w 6884782"/>
              <a:gd name="connsiteY11793" fmla="*/ 4702129 h 5973007"/>
              <a:gd name="connsiteX11794" fmla="*/ 1538856 w 6884782"/>
              <a:gd name="connsiteY11794" fmla="*/ 4700271 h 5973007"/>
              <a:gd name="connsiteX11795" fmla="*/ 1539011 w 6884782"/>
              <a:gd name="connsiteY11795" fmla="*/ 4700477 h 5973007"/>
              <a:gd name="connsiteX11796" fmla="*/ 1545207 w 6884782"/>
              <a:gd name="connsiteY11796" fmla="*/ 4710700 h 5973007"/>
              <a:gd name="connsiteX11797" fmla="*/ 1527858 w 6884782"/>
              <a:gd name="connsiteY11797" fmla="*/ 4694385 h 5973007"/>
              <a:gd name="connsiteX11798" fmla="*/ 1528633 w 6884782"/>
              <a:gd name="connsiteY11798" fmla="*/ 4694695 h 5973007"/>
              <a:gd name="connsiteX11799" fmla="*/ 1528633 w 6884782"/>
              <a:gd name="connsiteY11799" fmla="*/ 4693869 h 5973007"/>
              <a:gd name="connsiteX11800" fmla="*/ 1530956 w 6884782"/>
              <a:gd name="connsiteY11800" fmla="*/ 4690565 h 5973007"/>
              <a:gd name="connsiteX11801" fmla="*/ 6299274 w 6884782"/>
              <a:gd name="connsiteY11801" fmla="*/ 4690066 h 5973007"/>
              <a:gd name="connsiteX11802" fmla="*/ 6304540 w 6884782"/>
              <a:gd name="connsiteY11802" fmla="*/ 4693370 h 5973007"/>
              <a:gd name="connsiteX11803" fmla="*/ 6304851 w 6884782"/>
              <a:gd name="connsiteY11803" fmla="*/ 4694506 h 5973007"/>
              <a:gd name="connsiteX11804" fmla="*/ 6299274 w 6884782"/>
              <a:gd name="connsiteY11804" fmla="*/ 4690066 h 5973007"/>
              <a:gd name="connsiteX11805" fmla="*/ 1691584 w 6884782"/>
              <a:gd name="connsiteY11805" fmla="*/ 4689945 h 5973007"/>
              <a:gd name="connsiteX11806" fmla="*/ 1688486 w 6884782"/>
              <a:gd name="connsiteY11806" fmla="*/ 4694488 h 5973007"/>
              <a:gd name="connsiteX11807" fmla="*/ 1690344 w 6884782"/>
              <a:gd name="connsiteY11807" fmla="*/ 4695934 h 5973007"/>
              <a:gd name="connsiteX11808" fmla="*/ 1691429 w 6884782"/>
              <a:gd name="connsiteY11808" fmla="*/ 4703368 h 5973007"/>
              <a:gd name="connsiteX11809" fmla="*/ 1691274 w 6884782"/>
              <a:gd name="connsiteY11809" fmla="*/ 4704298 h 5973007"/>
              <a:gd name="connsiteX11810" fmla="*/ 1701497 w 6884782"/>
              <a:gd name="connsiteY11810" fmla="*/ 4703988 h 5973007"/>
              <a:gd name="connsiteX11811" fmla="*/ 1704440 w 6884782"/>
              <a:gd name="connsiteY11811" fmla="*/ 4703678 h 5973007"/>
              <a:gd name="connsiteX11812" fmla="*/ 1704905 w 6884782"/>
              <a:gd name="connsiteY11812" fmla="*/ 4702749 h 5973007"/>
              <a:gd name="connsiteX11813" fmla="*/ 1707228 w 6884782"/>
              <a:gd name="connsiteY11813" fmla="*/ 4700064 h 5973007"/>
              <a:gd name="connsiteX11814" fmla="*/ 1709552 w 6884782"/>
              <a:gd name="connsiteY11814" fmla="*/ 4702542 h 5973007"/>
              <a:gd name="connsiteX11815" fmla="*/ 1709706 w 6884782"/>
              <a:gd name="connsiteY11815" fmla="*/ 4703059 h 5973007"/>
              <a:gd name="connsiteX11816" fmla="*/ 1710171 w 6884782"/>
              <a:gd name="connsiteY11816" fmla="*/ 4703059 h 5973007"/>
              <a:gd name="connsiteX11817" fmla="*/ 1709861 w 6884782"/>
              <a:gd name="connsiteY11817" fmla="*/ 4703472 h 5973007"/>
              <a:gd name="connsiteX11818" fmla="*/ 1710171 w 6884782"/>
              <a:gd name="connsiteY11818" fmla="*/ 4704504 h 5973007"/>
              <a:gd name="connsiteX11819" fmla="*/ 1710016 w 6884782"/>
              <a:gd name="connsiteY11819" fmla="*/ 4707292 h 5973007"/>
              <a:gd name="connsiteX11820" fmla="*/ 1708777 w 6884782"/>
              <a:gd name="connsiteY11820" fmla="*/ 4708944 h 5973007"/>
              <a:gd name="connsiteX11821" fmla="*/ 1707228 w 6884782"/>
              <a:gd name="connsiteY11821" fmla="*/ 4710906 h 5973007"/>
              <a:gd name="connsiteX11822" fmla="*/ 1706764 w 6884782"/>
              <a:gd name="connsiteY11822" fmla="*/ 4711009 h 5973007"/>
              <a:gd name="connsiteX11823" fmla="*/ 1706454 w 6884782"/>
              <a:gd name="connsiteY11823" fmla="*/ 4712455 h 5973007"/>
              <a:gd name="connsiteX11824" fmla="*/ 1706454 w 6884782"/>
              <a:gd name="connsiteY11824" fmla="*/ 4721851 h 5973007"/>
              <a:gd name="connsiteX11825" fmla="*/ 1708158 w 6884782"/>
              <a:gd name="connsiteY11825" fmla="*/ 4721954 h 5973007"/>
              <a:gd name="connsiteX11826" fmla="*/ 1712340 w 6884782"/>
              <a:gd name="connsiteY11826" fmla="*/ 4723813 h 5973007"/>
              <a:gd name="connsiteX11827" fmla="*/ 1707383 w 6884782"/>
              <a:gd name="connsiteY11827" fmla="*/ 4730112 h 5973007"/>
              <a:gd name="connsiteX11828" fmla="*/ 1705370 w 6884782"/>
              <a:gd name="connsiteY11828" fmla="*/ 4729905 h 5973007"/>
              <a:gd name="connsiteX11829" fmla="*/ 1704750 w 6884782"/>
              <a:gd name="connsiteY11829" fmla="*/ 4731557 h 5973007"/>
              <a:gd name="connsiteX11830" fmla="*/ 1702272 w 6884782"/>
              <a:gd name="connsiteY11830" fmla="*/ 4735171 h 5973007"/>
              <a:gd name="connsiteX11831" fmla="*/ 1677178 w 6884782"/>
              <a:gd name="connsiteY11831" fmla="*/ 4736204 h 5973007"/>
              <a:gd name="connsiteX11832" fmla="*/ 1676714 w 6884782"/>
              <a:gd name="connsiteY11832" fmla="*/ 4735687 h 5973007"/>
              <a:gd name="connsiteX11833" fmla="*/ 1675474 w 6884782"/>
              <a:gd name="connsiteY11833" fmla="*/ 4737856 h 5973007"/>
              <a:gd name="connsiteX11834" fmla="*/ 1677178 w 6884782"/>
              <a:gd name="connsiteY11834" fmla="*/ 4737959 h 5973007"/>
              <a:gd name="connsiteX11835" fmla="*/ 1678417 w 6884782"/>
              <a:gd name="connsiteY11835" fmla="*/ 4743329 h 5973007"/>
              <a:gd name="connsiteX11836" fmla="*/ 1673770 w 6884782"/>
              <a:gd name="connsiteY11836" fmla="*/ 4743432 h 5973007"/>
              <a:gd name="connsiteX11837" fmla="*/ 1671912 w 6884782"/>
              <a:gd name="connsiteY11837" fmla="*/ 4742193 h 5973007"/>
              <a:gd name="connsiteX11838" fmla="*/ 1667110 w 6884782"/>
              <a:gd name="connsiteY11838" fmla="*/ 4744980 h 5973007"/>
              <a:gd name="connsiteX11839" fmla="*/ 1662928 w 6884782"/>
              <a:gd name="connsiteY11839" fmla="*/ 4745394 h 5973007"/>
              <a:gd name="connsiteX11840" fmla="*/ 1658126 w 6884782"/>
              <a:gd name="connsiteY11840" fmla="*/ 4744774 h 5973007"/>
              <a:gd name="connsiteX11841" fmla="*/ 1646199 w 6884782"/>
              <a:gd name="connsiteY11841" fmla="*/ 4736513 h 5973007"/>
              <a:gd name="connsiteX11842" fmla="*/ 1643720 w 6884782"/>
              <a:gd name="connsiteY11842" fmla="*/ 4733932 h 5973007"/>
              <a:gd name="connsiteX11843" fmla="*/ 1642636 w 6884782"/>
              <a:gd name="connsiteY11843" fmla="*/ 4733622 h 5973007"/>
              <a:gd name="connsiteX11844" fmla="*/ 1639539 w 6884782"/>
              <a:gd name="connsiteY11844" fmla="*/ 4732280 h 5973007"/>
              <a:gd name="connsiteX11845" fmla="*/ 1639074 w 6884782"/>
              <a:gd name="connsiteY11845" fmla="*/ 4730835 h 5973007"/>
              <a:gd name="connsiteX11846" fmla="*/ 1641242 w 6884782"/>
              <a:gd name="connsiteY11846" fmla="*/ 4731144 h 5973007"/>
              <a:gd name="connsiteX11847" fmla="*/ 1640622 w 6884782"/>
              <a:gd name="connsiteY11847" fmla="*/ 4730525 h 5973007"/>
              <a:gd name="connsiteX11848" fmla="*/ 1633652 w 6884782"/>
              <a:gd name="connsiteY11848" fmla="*/ 4724433 h 5973007"/>
              <a:gd name="connsiteX11849" fmla="*/ 1644030 w 6884782"/>
              <a:gd name="connsiteY11849" fmla="*/ 4718444 h 5973007"/>
              <a:gd name="connsiteX11850" fmla="*/ 1646819 w 6884782"/>
              <a:gd name="connsiteY11850" fmla="*/ 4715036 h 5973007"/>
              <a:gd name="connsiteX11851" fmla="*/ 1646044 w 6884782"/>
              <a:gd name="connsiteY11851" fmla="*/ 4714313 h 5973007"/>
              <a:gd name="connsiteX11852" fmla="*/ 1645889 w 6884782"/>
              <a:gd name="connsiteY11852" fmla="*/ 4714520 h 5973007"/>
              <a:gd name="connsiteX11853" fmla="*/ 1642946 w 6884782"/>
              <a:gd name="connsiteY11853" fmla="*/ 4708841 h 5973007"/>
              <a:gd name="connsiteX11854" fmla="*/ 1651466 w 6884782"/>
              <a:gd name="connsiteY11854" fmla="*/ 4709254 h 5973007"/>
              <a:gd name="connsiteX11855" fmla="*/ 1651931 w 6884782"/>
              <a:gd name="connsiteY11855" fmla="*/ 4709564 h 5973007"/>
              <a:gd name="connsiteX11856" fmla="*/ 1654719 w 6884782"/>
              <a:gd name="connsiteY11856" fmla="*/ 4707912 h 5973007"/>
              <a:gd name="connsiteX11857" fmla="*/ 1658745 w 6884782"/>
              <a:gd name="connsiteY11857" fmla="*/ 4707395 h 5973007"/>
              <a:gd name="connsiteX11858" fmla="*/ 1664786 w 6884782"/>
              <a:gd name="connsiteY11858" fmla="*/ 4708841 h 5973007"/>
              <a:gd name="connsiteX11859" fmla="*/ 1665097 w 6884782"/>
              <a:gd name="connsiteY11859" fmla="*/ 4706982 h 5973007"/>
              <a:gd name="connsiteX11860" fmla="*/ 1668969 w 6884782"/>
              <a:gd name="connsiteY11860" fmla="*/ 4710803 h 5973007"/>
              <a:gd name="connsiteX11861" fmla="*/ 1668814 w 6884782"/>
              <a:gd name="connsiteY11861" fmla="*/ 4711009 h 5973007"/>
              <a:gd name="connsiteX11862" fmla="*/ 1672222 w 6884782"/>
              <a:gd name="connsiteY11862" fmla="*/ 4713797 h 5973007"/>
              <a:gd name="connsiteX11863" fmla="*/ 1673770 w 6884782"/>
              <a:gd name="connsiteY11863" fmla="*/ 4707602 h 5973007"/>
              <a:gd name="connsiteX11864" fmla="*/ 1676404 w 6884782"/>
              <a:gd name="connsiteY11864" fmla="*/ 4701407 h 5973007"/>
              <a:gd name="connsiteX11865" fmla="*/ 1682755 w 6884782"/>
              <a:gd name="connsiteY11865" fmla="*/ 4692113 h 5973007"/>
              <a:gd name="connsiteX11866" fmla="*/ 1683064 w 6884782"/>
              <a:gd name="connsiteY11866" fmla="*/ 4692113 h 5973007"/>
              <a:gd name="connsiteX11867" fmla="*/ 1684458 w 6884782"/>
              <a:gd name="connsiteY11867" fmla="*/ 4690048 h 5973007"/>
              <a:gd name="connsiteX11868" fmla="*/ 1691584 w 6884782"/>
              <a:gd name="connsiteY11868" fmla="*/ 4689945 h 5973007"/>
              <a:gd name="connsiteX11869" fmla="*/ 1744558 w 6884782"/>
              <a:gd name="connsiteY11869" fmla="*/ 4689739 h 5973007"/>
              <a:gd name="connsiteX11870" fmla="*/ 1769032 w 6884782"/>
              <a:gd name="connsiteY11870" fmla="*/ 4697792 h 5973007"/>
              <a:gd name="connsiteX11871" fmla="*/ 1760822 w 6884782"/>
              <a:gd name="connsiteY11871" fmla="*/ 4705227 h 5973007"/>
              <a:gd name="connsiteX11872" fmla="*/ 1744713 w 6884782"/>
              <a:gd name="connsiteY11872" fmla="*/ 4695211 h 5973007"/>
              <a:gd name="connsiteX11873" fmla="*/ 1744558 w 6884782"/>
              <a:gd name="connsiteY11873" fmla="*/ 4691907 h 5973007"/>
              <a:gd name="connsiteX11874" fmla="*/ 1744093 w 6884782"/>
              <a:gd name="connsiteY11874" fmla="*/ 4691907 h 5973007"/>
              <a:gd name="connsiteX11875" fmla="*/ 1743319 w 6884782"/>
              <a:gd name="connsiteY11875" fmla="*/ 4691494 h 5973007"/>
              <a:gd name="connsiteX11876" fmla="*/ 1737278 w 6884782"/>
              <a:gd name="connsiteY11876" fmla="*/ 4693146 h 5973007"/>
              <a:gd name="connsiteX11877" fmla="*/ 1735884 w 6884782"/>
              <a:gd name="connsiteY11877" fmla="*/ 4692113 h 5973007"/>
              <a:gd name="connsiteX11878" fmla="*/ 1737743 w 6884782"/>
              <a:gd name="connsiteY11878" fmla="*/ 4690048 h 5973007"/>
              <a:gd name="connsiteX11879" fmla="*/ 1740376 w 6884782"/>
              <a:gd name="connsiteY11879" fmla="*/ 4691287 h 5973007"/>
              <a:gd name="connsiteX11880" fmla="*/ 1743629 w 6884782"/>
              <a:gd name="connsiteY11880" fmla="*/ 4690255 h 5973007"/>
              <a:gd name="connsiteX11881" fmla="*/ 1744558 w 6884782"/>
              <a:gd name="connsiteY11881" fmla="*/ 4690565 h 5973007"/>
              <a:gd name="connsiteX11882" fmla="*/ 1604377 w 6884782"/>
              <a:gd name="connsiteY11882" fmla="*/ 4689739 h 5973007"/>
              <a:gd name="connsiteX11883" fmla="*/ 1606855 w 6884782"/>
              <a:gd name="connsiteY11883" fmla="*/ 4692526 h 5973007"/>
              <a:gd name="connsiteX11884" fmla="*/ 1607785 w 6884782"/>
              <a:gd name="connsiteY11884" fmla="*/ 4696140 h 5973007"/>
              <a:gd name="connsiteX11885" fmla="*/ 1608404 w 6884782"/>
              <a:gd name="connsiteY11885" fmla="*/ 4696037 h 5973007"/>
              <a:gd name="connsiteX11886" fmla="*/ 1608404 w 6884782"/>
              <a:gd name="connsiteY11886" fmla="*/ 4695211 h 5973007"/>
              <a:gd name="connsiteX11887" fmla="*/ 1610108 w 6884782"/>
              <a:gd name="connsiteY11887" fmla="*/ 4696244 h 5973007"/>
              <a:gd name="connsiteX11888" fmla="*/ 1612122 w 6884782"/>
              <a:gd name="connsiteY11888" fmla="*/ 4702852 h 5973007"/>
              <a:gd name="connsiteX11889" fmla="*/ 1609798 w 6884782"/>
              <a:gd name="connsiteY11889" fmla="*/ 4703472 h 5973007"/>
              <a:gd name="connsiteX11890" fmla="*/ 1607940 w 6884782"/>
              <a:gd name="connsiteY11890" fmla="*/ 4702129 h 5973007"/>
              <a:gd name="connsiteX11891" fmla="*/ 1606081 w 6884782"/>
              <a:gd name="connsiteY11891" fmla="*/ 4699032 h 5973007"/>
              <a:gd name="connsiteX11892" fmla="*/ 1606236 w 6884782"/>
              <a:gd name="connsiteY11892" fmla="*/ 4697999 h 5973007"/>
              <a:gd name="connsiteX11893" fmla="*/ 1605617 w 6884782"/>
              <a:gd name="connsiteY11893" fmla="*/ 4698722 h 5973007"/>
              <a:gd name="connsiteX11894" fmla="*/ 1602208 w 6884782"/>
              <a:gd name="connsiteY11894" fmla="*/ 4698825 h 5973007"/>
              <a:gd name="connsiteX11895" fmla="*/ 1600040 w 6884782"/>
              <a:gd name="connsiteY11895" fmla="*/ 4697586 h 5973007"/>
              <a:gd name="connsiteX11896" fmla="*/ 1599265 w 6884782"/>
              <a:gd name="connsiteY11896" fmla="*/ 4694798 h 5973007"/>
              <a:gd name="connsiteX11897" fmla="*/ 1599885 w 6884782"/>
              <a:gd name="connsiteY11897" fmla="*/ 4692423 h 5973007"/>
              <a:gd name="connsiteX11898" fmla="*/ 1604377 w 6884782"/>
              <a:gd name="connsiteY11898" fmla="*/ 4689739 h 5973007"/>
              <a:gd name="connsiteX11899" fmla="*/ 718989 w 6884782"/>
              <a:gd name="connsiteY11899" fmla="*/ 4689016 h 5973007"/>
              <a:gd name="connsiteX11900" fmla="*/ 728439 w 6884782"/>
              <a:gd name="connsiteY11900" fmla="*/ 4693352 h 5973007"/>
              <a:gd name="connsiteX11901" fmla="*/ 724101 w 6884782"/>
              <a:gd name="connsiteY11901" fmla="*/ 4697483 h 5973007"/>
              <a:gd name="connsiteX11902" fmla="*/ 718370 w 6884782"/>
              <a:gd name="connsiteY11902" fmla="*/ 4695417 h 5973007"/>
              <a:gd name="connsiteX11903" fmla="*/ 718989 w 6884782"/>
              <a:gd name="connsiteY11903" fmla="*/ 4689016 h 5973007"/>
              <a:gd name="connsiteX11904" fmla="*/ 1679501 w 6884782"/>
              <a:gd name="connsiteY11904" fmla="*/ 4688396 h 5973007"/>
              <a:gd name="connsiteX11905" fmla="*/ 1679347 w 6884782"/>
              <a:gd name="connsiteY11905" fmla="*/ 4688706 h 5973007"/>
              <a:gd name="connsiteX11906" fmla="*/ 1679192 w 6884782"/>
              <a:gd name="connsiteY11906" fmla="*/ 4689429 h 5973007"/>
              <a:gd name="connsiteX11907" fmla="*/ 1628076 w 6884782"/>
              <a:gd name="connsiteY11907" fmla="*/ 4688396 h 5973007"/>
              <a:gd name="connsiteX11908" fmla="*/ 1633033 w 6884782"/>
              <a:gd name="connsiteY11908" fmla="*/ 4692216 h 5973007"/>
              <a:gd name="connsiteX11909" fmla="*/ 1631794 w 6884782"/>
              <a:gd name="connsiteY11909" fmla="*/ 4693869 h 5973007"/>
              <a:gd name="connsiteX11910" fmla="*/ 1633962 w 6884782"/>
              <a:gd name="connsiteY11910" fmla="*/ 4694075 h 5973007"/>
              <a:gd name="connsiteX11911" fmla="*/ 1635976 w 6884782"/>
              <a:gd name="connsiteY11911" fmla="*/ 4695417 h 5973007"/>
              <a:gd name="connsiteX11912" fmla="*/ 1638764 w 6884782"/>
              <a:gd name="connsiteY11912" fmla="*/ 4698722 h 5973007"/>
              <a:gd name="connsiteX11913" fmla="*/ 1639694 w 6884782"/>
              <a:gd name="connsiteY11913" fmla="*/ 4697070 h 5973007"/>
              <a:gd name="connsiteX11914" fmla="*/ 1641862 w 6884782"/>
              <a:gd name="connsiteY11914" fmla="*/ 4695934 h 5973007"/>
              <a:gd name="connsiteX11915" fmla="*/ 1643720 w 6884782"/>
              <a:gd name="connsiteY11915" fmla="*/ 4696450 h 5973007"/>
              <a:gd name="connsiteX11916" fmla="*/ 1644030 w 6884782"/>
              <a:gd name="connsiteY11916" fmla="*/ 4697276 h 5973007"/>
              <a:gd name="connsiteX11917" fmla="*/ 1644805 w 6884782"/>
              <a:gd name="connsiteY11917" fmla="*/ 4700580 h 5973007"/>
              <a:gd name="connsiteX11918" fmla="*/ 1643101 w 6884782"/>
              <a:gd name="connsiteY11918" fmla="*/ 4702645 h 5973007"/>
              <a:gd name="connsiteX11919" fmla="*/ 1641397 w 6884782"/>
              <a:gd name="connsiteY11919" fmla="*/ 4703575 h 5973007"/>
              <a:gd name="connsiteX11920" fmla="*/ 1641707 w 6884782"/>
              <a:gd name="connsiteY11920" fmla="*/ 4704504 h 5973007"/>
              <a:gd name="connsiteX11921" fmla="*/ 1639229 w 6884782"/>
              <a:gd name="connsiteY11921" fmla="*/ 4711732 h 5973007"/>
              <a:gd name="connsiteX11922" fmla="*/ 1638299 w 6884782"/>
              <a:gd name="connsiteY11922" fmla="*/ 4711526 h 5973007"/>
              <a:gd name="connsiteX11923" fmla="*/ 1639694 w 6884782"/>
              <a:gd name="connsiteY11923" fmla="*/ 4717102 h 5973007"/>
              <a:gd name="connsiteX11924" fmla="*/ 1636751 w 6884782"/>
              <a:gd name="connsiteY11924" fmla="*/ 4718650 h 5973007"/>
              <a:gd name="connsiteX11925" fmla="*/ 1633343 w 6884782"/>
              <a:gd name="connsiteY11925" fmla="*/ 4718650 h 5973007"/>
              <a:gd name="connsiteX11926" fmla="*/ 1627456 w 6884782"/>
              <a:gd name="connsiteY11926" fmla="*/ 4716585 h 5973007"/>
              <a:gd name="connsiteX11927" fmla="*/ 1625598 w 6884782"/>
              <a:gd name="connsiteY11927" fmla="*/ 4715759 h 5973007"/>
              <a:gd name="connsiteX11928" fmla="*/ 1625598 w 6884782"/>
              <a:gd name="connsiteY11928" fmla="*/ 4716585 h 5973007"/>
              <a:gd name="connsiteX11929" fmla="*/ 1624823 w 6884782"/>
              <a:gd name="connsiteY11929" fmla="*/ 4715552 h 5973007"/>
              <a:gd name="connsiteX11930" fmla="*/ 1624668 w 6884782"/>
              <a:gd name="connsiteY11930" fmla="*/ 4715552 h 5973007"/>
              <a:gd name="connsiteX11931" fmla="*/ 1623739 w 6884782"/>
              <a:gd name="connsiteY11931" fmla="*/ 4715346 h 5973007"/>
              <a:gd name="connsiteX11932" fmla="*/ 1621106 w 6884782"/>
              <a:gd name="connsiteY11932" fmla="*/ 4712765 h 5973007"/>
              <a:gd name="connsiteX11933" fmla="*/ 1621571 w 6884782"/>
              <a:gd name="connsiteY11933" fmla="*/ 4710596 h 5973007"/>
              <a:gd name="connsiteX11934" fmla="*/ 1623430 w 6884782"/>
              <a:gd name="connsiteY11934" fmla="*/ 4709564 h 5973007"/>
              <a:gd name="connsiteX11935" fmla="*/ 1625443 w 6884782"/>
              <a:gd name="connsiteY11935" fmla="*/ 4708841 h 5973007"/>
              <a:gd name="connsiteX11936" fmla="*/ 1624049 w 6884782"/>
              <a:gd name="connsiteY11936" fmla="*/ 4708325 h 5973007"/>
              <a:gd name="connsiteX11937" fmla="*/ 1622500 w 6884782"/>
              <a:gd name="connsiteY11937" fmla="*/ 4706569 h 5973007"/>
              <a:gd name="connsiteX11938" fmla="*/ 1622345 w 6884782"/>
              <a:gd name="connsiteY11938" fmla="*/ 4704401 h 5973007"/>
              <a:gd name="connsiteX11939" fmla="*/ 1622964 w 6884782"/>
              <a:gd name="connsiteY11939" fmla="*/ 4703988 h 5973007"/>
              <a:gd name="connsiteX11940" fmla="*/ 1625753 w 6884782"/>
              <a:gd name="connsiteY11940" fmla="*/ 4702129 h 5973007"/>
              <a:gd name="connsiteX11941" fmla="*/ 1626063 w 6884782"/>
              <a:gd name="connsiteY11941" fmla="*/ 4702336 h 5973007"/>
              <a:gd name="connsiteX11942" fmla="*/ 1625598 w 6884782"/>
              <a:gd name="connsiteY11942" fmla="*/ 4697689 h 5973007"/>
              <a:gd name="connsiteX11943" fmla="*/ 1627456 w 6884782"/>
              <a:gd name="connsiteY11943" fmla="*/ 4693869 h 5973007"/>
              <a:gd name="connsiteX11944" fmla="*/ 1626217 w 6884782"/>
              <a:gd name="connsiteY11944" fmla="*/ 4693352 h 5973007"/>
              <a:gd name="connsiteX11945" fmla="*/ 1624823 w 6884782"/>
              <a:gd name="connsiteY11945" fmla="*/ 4689532 h 5973007"/>
              <a:gd name="connsiteX11946" fmla="*/ 1625133 w 6884782"/>
              <a:gd name="connsiteY11946" fmla="*/ 4690255 h 5973007"/>
              <a:gd name="connsiteX11947" fmla="*/ 1626682 w 6884782"/>
              <a:gd name="connsiteY11947" fmla="*/ 4689325 h 5973007"/>
              <a:gd name="connsiteX11948" fmla="*/ 1626217 w 6884782"/>
              <a:gd name="connsiteY11948" fmla="*/ 4688500 h 5973007"/>
              <a:gd name="connsiteX11949" fmla="*/ 1628076 w 6884782"/>
              <a:gd name="connsiteY11949" fmla="*/ 4688396 h 5973007"/>
              <a:gd name="connsiteX11950" fmla="*/ 798916 w 6884782"/>
              <a:gd name="connsiteY11950" fmla="*/ 4687983 h 5973007"/>
              <a:gd name="connsiteX11951" fmla="*/ 810998 w 6884782"/>
              <a:gd name="connsiteY11951" fmla="*/ 4692423 h 5973007"/>
              <a:gd name="connsiteX11952" fmla="*/ 808520 w 6884782"/>
              <a:gd name="connsiteY11952" fmla="*/ 4692836 h 5973007"/>
              <a:gd name="connsiteX11953" fmla="*/ 798916 w 6884782"/>
              <a:gd name="connsiteY11953" fmla="*/ 4687983 h 5973007"/>
              <a:gd name="connsiteX11954" fmla="*/ 6373934 w 6884782"/>
              <a:gd name="connsiteY11954" fmla="*/ 4687795 h 5973007"/>
              <a:gd name="connsiteX11955" fmla="*/ 6374244 w 6884782"/>
              <a:gd name="connsiteY11955" fmla="*/ 4700185 h 5973007"/>
              <a:gd name="connsiteX11956" fmla="*/ 6371765 w 6884782"/>
              <a:gd name="connsiteY11956" fmla="*/ 4704315 h 5973007"/>
              <a:gd name="connsiteX11957" fmla="*/ 6374089 w 6884782"/>
              <a:gd name="connsiteY11957" fmla="*/ 4702973 h 5973007"/>
              <a:gd name="connsiteX11958" fmla="*/ 6383073 w 6884782"/>
              <a:gd name="connsiteY11958" fmla="*/ 4706277 h 5973007"/>
              <a:gd name="connsiteX11959" fmla="*/ 6377807 w 6884782"/>
              <a:gd name="connsiteY11959" fmla="*/ 4710098 h 5973007"/>
              <a:gd name="connsiteX11960" fmla="*/ 6371920 w 6884782"/>
              <a:gd name="connsiteY11960" fmla="*/ 4708446 h 5973007"/>
              <a:gd name="connsiteX11961" fmla="*/ 6371301 w 6884782"/>
              <a:gd name="connsiteY11961" fmla="*/ 4705038 h 5973007"/>
              <a:gd name="connsiteX11962" fmla="*/ 6371146 w 6884782"/>
              <a:gd name="connsiteY11962" fmla="*/ 4705348 h 5973007"/>
              <a:gd name="connsiteX11963" fmla="*/ 6365415 w 6884782"/>
              <a:gd name="connsiteY11963" fmla="*/ 4709685 h 5973007"/>
              <a:gd name="connsiteX11964" fmla="*/ 6356586 w 6884782"/>
              <a:gd name="connsiteY11964" fmla="*/ 4691099 h 5973007"/>
              <a:gd name="connsiteX11965" fmla="*/ 6373934 w 6884782"/>
              <a:gd name="connsiteY11965" fmla="*/ 4687795 h 5973007"/>
              <a:gd name="connsiteX11966" fmla="*/ 1845396 w 6884782"/>
              <a:gd name="connsiteY11966" fmla="*/ 4687570 h 5973007"/>
              <a:gd name="connsiteX11967" fmla="*/ 1842762 w 6884782"/>
              <a:gd name="connsiteY11967" fmla="*/ 4704504 h 5973007"/>
              <a:gd name="connsiteX11968" fmla="*/ 1841678 w 6884782"/>
              <a:gd name="connsiteY11968" fmla="*/ 4706053 h 5973007"/>
              <a:gd name="connsiteX11969" fmla="*/ 1839510 w 6884782"/>
              <a:gd name="connsiteY11969" fmla="*/ 4705537 h 5973007"/>
              <a:gd name="connsiteX11970" fmla="*/ 1838735 w 6884782"/>
              <a:gd name="connsiteY11970" fmla="*/ 4694178 h 5973007"/>
              <a:gd name="connsiteX11971" fmla="*/ 1840129 w 6884782"/>
              <a:gd name="connsiteY11971" fmla="*/ 4692320 h 5973007"/>
              <a:gd name="connsiteX11972" fmla="*/ 1840749 w 6884782"/>
              <a:gd name="connsiteY11972" fmla="*/ 4690461 h 5973007"/>
              <a:gd name="connsiteX11973" fmla="*/ 1845396 w 6884782"/>
              <a:gd name="connsiteY11973" fmla="*/ 4687570 h 5973007"/>
              <a:gd name="connsiteX11974" fmla="*/ 706695 w 6884782"/>
              <a:gd name="connsiteY11974" fmla="*/ 4687209 h 5973007"/>
              <a:gd name="connsiteX11975" fmla="*/ 713568 w 6884782"/>
              <a:gd name="connsiteY11975" fmla="*/ 4694592 h 5973007"/>
              <a:gd name="connsiteX11976" fmla="*/ 711865 w 6884782"/>
              <a:gd name="connsiteY11976" fmla="*/ 4698722 h 5973007"/>
              <a:gd name="connsiteX11977" fmla="*/ 706753 w 6884782"/>
              <a:gd name="connsiteY11977" fmla="*/ 4699238 h 5973007"/>
              <a:gd name="connsiteX11978" fmla="*/ 702571 w 6884782"/>
              <a:gd name="connsiteY11978" fmla="*/ 4699341 h 5973007"/>
              <a:gd name="connsiteX11979" fmla="*/ 693897 w 6884782"/>
              <a:gd name="connsiteY11979" fmla="*/ 4691907 h 5973007"/>
              <a:gd name="connsiteX11980" fmla="*/ 706695 w 6884782"/>
              <a:gd name="connsiteY11980" fmla="*/ 4687209 h 5973007"/>
              <a:gd name="connsiteX11981" fmla="*/ 6437752 w 6884782"/>
              <a:gd name="connsiteY11981" fmla="*/ 4686349 h 5973007"/>
              <a:gd name="connsiteX11982" fmla="*/ 6447820 w 6884782"/>
              <a:gd name="connsiteY11982" fmla="*/ 4687278 h 5973007"/>
              <a:gd name="connsiteX11983" fmla="*/ 6456184 w 6884782"/>
              <a:gd name="connsiteY11983" fmla="*/ 4693990 h 5973007"/>
              <a:gd name="connsiteX11984" fmla="*/ 6451382 w 6884782"/>
              <a:gd name="connsiteY11984" fmla="*/ 4694506 h 5973007"/>
              <a:gd name="connsiteX11985" fmla="*/ 6437752 w 6884782"/>
              <a:gd name="connsiteY11985" fmla="*/ 4686349 h 5973007"/>
              <a:gd name="connsiteX11986" fmla="*/ 6151813 w 6884782"/>
              <a:gd name="connsiteY11986" fmla="*/ 4686349 h 5973007"/>
              <a:gd name="connsiteX11987" fmla="*/ 6155685 w 6884782"/>
              <a:gd name="connsiteY11987" fmla="*/ 4693267 h 5973007"/>
              <a:gd name="connsiteX11988" fmla="*/ 6151193 w 6884782"/>
              <a:gd name="connsiteY11988" fmla="*/ 4688517 h 5973007"/>
              <a:gd name="connsiteX11989" fmla="*/ 6151813 w 6884782"/>
              <a:gd name="connsiteY11989" fmla="*/ 4686349 h 5973007"/>
              <a:gd name="connsiteX11990" fmla="*/ 1291177 w 6884782"/>
              <a:gd name="connsiteY11990" fmla="*/ 4686228 h 5973007"/>
              <a:gd name="connsiteX11991" fmla="*/ 1295513 w 6884782"/>
              <a:gd name="connsiteY11991" fmla="*/ 4690978 h 5973007"/>
              <a:gd name="connsiteX11992" fmla="*/ 1292571 w 6884782"/>
              <a:gd name="connsiteY11992" fmla="*/ 4692836 h 5973007"/>
              <a:gd name="connsiteX11993" fmla="*/ 1290092 w 6884782"/>
              <a:gd name="connsiteY11993" fmla="*/ 4691287 h 5973007"/>
              <a:gd name="connsiteX11994" fmla="*/ 1291177 w 6884782"/>
              <a:gd name="connsiteY11994" fmla="*/ 4686228 h 5973007"/>
              <a:gd name="connsiteX11995" fmla="*/ 884109 w 6884782"/>
              <a:gd name="connsiteY11995" fmla="*/ 4685608 h 5973007"/>
              <a:gd name="connsiteX11996" fmla="*/ 879617 w 6884782"/>
              <a:gd name="connsiteY11996" fmla="*/ 4689325 h 5973007"/>
              <a:gd name="connsiteX11997" fmla="*/ 878997 w 6884782"/>
              <a:gd name="connsiteY11997" fmla="*/ 4691907 h 5973007"/>
              <a:gd name="connsiteX11998" fmla="*/ 874196 w 6884782"/>
              <a:gd name="connsiteY11998" fmla="*/ 4693869 h 5973007"/>
              <a:gd name="connsiteX11999" fmla="*/ 873577 w 6884782"/>
              <a:gd name="connsiteY11999" fmla="*/ 4689635 h 5973007"/>
              <a:gd name="connsiteX12000" fmla="*/ 880082 w 6884782"/>
              <a:gd name="connsiteY12000" fmla="*/ 4687570 h 5973007"/>
              <a:gd name="connsiteX12001" fmla="*/ 884109 w 6884782"/>
              <a:gd name="connsiteY12001" fmla="*/ 4685608 h 5973007"/>
              <a:gd name="connsiteX12002" fmla="*/ 6567554 w 6884782"/>
              <a:gd name="connsiteY12002" fmla="*/ 4684490 h 5973007"/>
              <a:gd name="connsiteX12003" fmla="*/ 6571117 w 6884782"/>
              <a:gd name="connsiteY12003" fmla="*/ 4684490 h 5973007"/>
              <a:gd name="connsiteX12004" fmla="*/ 6572201 w 6884782"/>
              <a:gd name="connsiteY12004" fmla="*/ 4695332 h 5973007"/>
              <a:gd name="connsiteX12005" fmla="*/ 6566935 w 6884782"/>
              <a:gd name="connsiteY12005" fmla="*/ 4694816 h 5973007"/>
              <a:gd name="connsiteX12006" fmla="*/ 6567554 w 6884782"/>
              <a:gd name="connsiteY12006" fmla="*/ 4684490 h 5973007"/>
              <a:gd name="connsiteX12007" fmla="*/ 1156727 w 6884782"/>
              <a:gd name="connsiteY12007" fmla="*/ 4684369 h 5973007"/>
              <a:gd name="connsiteX12008" fmla="*/ 1164317 w 6884782"/>
              <a:gd name="connsiteY12008" fmla="*/ 4684782 h 5973007"/>
              <a:gd name="connsiteX12009" fmla="*/ 1165246 w 6884782"/>
              <a:gd name="connsiteY12009" fmla="*/ 4687364 h 5973007"/>
              <a:gd name="connsiteX12010" fmla="*/ 1160134 w 6884782"/>
              <a:gd name="connsiteY12010" fmla="*/ 4690255 h 5973007"/>
              <a:gd name="connsiteX12011" fmla="*/ 1157811 w 6884782"/>
              <a:gd name="connsiteY12011" fmla="*/ 4688706 h 5973007"/>
              <a:gd name="connsiteX12012" fmla="*/ 1156727 w 6884782"/>
              <a:gd name="connsiteY12012" fmla="*/ 4684369 h 5973007"/>
              <a:gd name="connsiteX12013" fmla="*/ 779555 w 6884782"/>
              <a:gd name="connsiteY12013" fmla="*/ 4683130 h 5973007"/>
              <a:gd name="connsiteX12014" fmla="*/ 781723 w 6884782"/>
              <a:gd name="connsiteY12014" fmla="*/ 4686434 h 5973007"/>
              <a:gd name="connsiteX12015" fmla="*/ 776921 w 6884782"/>
              <a:gd name="connsiteY12015" fmla="*/ 4688500 h 5973007"/>
              <a:gd name="connsiteX12016" fmla="*/ 774907 w 6884782"/>
              <a:gd name="connsiteY12016" fmla="*/ 4685092 h 5973007"/>
              <a:gd name="connsiteX12017" fmla="*/ 779555 w 6884782"/>
              <a:gd name="connsiteY12017" fmla="*/ 4683130 h 5973007"/>
              <a:gd name="connsiteX12018" fmla="*/ 6411574 w 6884782"/>
              <a:gd name="connsiteY12018" fmla="*/ 4683045 h 5973007"/>
              <a:gd name="connsiteX12019" fmla="*/ 6416376 w 6884782"/>
              <a:gd name="connsiteY12019" fmla="*/ 4683148 h 5973007"/>
              <a:gd name="connsiteX12020" fmla="*/ 6414827 w 6884782"/>
              <a:gd name="connsiteY12020" fmla="*/ 4686969 h 5973007"/>
              <a:gd name="connsiteX12021" fmla="*/ 6411574 w 6884782"/>
              <a:gd name="connsiteY12021" fmla="*/ 4685730 h 5973007"/>
              <a:gd name="connsiteX12022" fmla="*/ 6411574 w 6884782"/>
              <a:gd name="connsiteY12022" fmla="*/ 4683045 h 5973007"/>
              <a:gd name="connsiteX12023" fmla="*/ 1341673 w 6884782"/>
              <a:gd name="connsiteY12023" fmla="*/ 4683027 h 5973007"/>
              <a:gd name="connsiteX12024" fmla="*/ 1324169 w 6884782"/>
              <a:gd name="connsiteY12024" fmla="*/ 4692940 h 5973007"/>
              <a:gd name="connsiteX12025" fmla="*/ 1331605 w 6884782"/>
              <a:gd name="connsiteY12025" fmla="*/ 4685299 h 5973007"/>
              <a:gd name="connsiteX12026" fmla="*/ 1341673 w 6884782"/>
              <a:gd name="connsiteY12026" fmla="*/ 4683027 h 5973007"/>
              <a:gd name="connsiteX12027" fmla="*/ 6059340 w 6884782"/>
              <a:gd name="connsiteY12027" fmla="*/ 4682735 h 5973007"/>
              <a:gd name="connsiteX12028" fmla="*/ 6046793 w 6884782"/>
              <a:gd name="connsiteY12028" fmla="*/ 4691718 h 5973007"/>
              <a:gd name="connsiteX12029" fmla="*/ 6042611 w 6884782"/>
              <a:gd name="connsiteY12029" fmla="*/ 4689137 h 5973007"/>
              <a:gd name="connsiteX12030" fmla="*/ 6059340 w 6884782"/>
              <a:gd name="connsiteY12030" fmla="*/ 4682735 h 5973007"/>
              <a:gd name="connsiteX12031" fmla="*/ 1133802 w 6884782"/>
              <a:gd name="connsiteY12031" fmla="*/ 4682717 h 5973007"/>
              <a:gd name="connsiteX12032" fmla="*/ 1135506 w 6884782"/>
              <a:gd name="connsiteY12032" fmla="*/ 4683749 h 5973007"/>
              <a:gd name="connsiteX12033" fmla="*/ 1135041 w 6884782"/>
              <a:gd name="connsiteY12033" fmla="*/ 4686124 h 5973007"/>
              <a:gd name="connsiteX12034" fmla="*/ 1131169 w 6884782"/>
              <a:gd name="connsiteY12034" fmla="*/ 4688809 h 5973007"/>
              <a:gd name="connsiteX12035" fmla="*/ 1129465 w 6884782"/>
              <a:gd name="connsiteY12035" fmla="*/ 4687673 h 5973007"/>
              <a:gd name="connsiteX12036" fmla="*/ 1133802 w 6884782"/>
              <a:gd name="connsiteY12036" fmla="*/ 4682717 h 5973007"/>
              <a:gd name="connsiteX12037" fmla="*/ 1469462 w 6884782"/>
              <a:gd name="connsiteY12037" fmla="*/ 4682304 h 5973007"/>
              <a:gd name="connsiteX12038" fmla="*/ 1469617 w 6884782"/>
              <a:gd name="connsiteY12038" fmla="*/ 4684059 h 5973007"/>
              <a:gd name="connsiteX12039" fmla="*/ 1469153 w 6884782"/>
              <a:gd name="connsiteY12039" fmla="*/ 4683853 h 5973007"/>
              <a:gd name="connsiteX12040" fmla="*/ 1468688 w 6884782"/>
              <a:gd name="connsiteY12040" fmla="*/ 4682717 h 5973007"/>
              <a:gd name="connsiteX12041" fmla="*/ 1469462 w 6884782"/>
              <a:gd name="connsiteY12041" fmla="*/ 4682304 h 5973007"/>
              <a:gd name="connsiteX12042" fmla="*/ 976582 w 6884782"/>
              <a:gd name="connsiteY12042" fmla="*/ 4682304 h 5973007"/>
              <a:gd name="connsiteX12043" fmla="*/ 993621 w 6884782"/>
              <a:gd name="connsiteY12043" fmla="*/ 4683853 h 5973007"/>
              <a:gd name="connsiteX12044" fmla="*/ 1007097 w 6884782"/>
              <a:gd name="connsiteY12044" fmla="*/ 4709254 h 5973007"/>
              <a:gd name="connsiteX12045" fmla="*/ 1005238 w 6884782"/>
              <a:gd name="connsiteY12045" fmla="*/ 4710906 h 5973007"/>
              <a:gd name="connsiteX12046" fmla="*/ 999662 w 6884782"/>
              <a:gd name="connsiteY12046" fmla="*/ 4711526 h 5973007"/>
              <a:gd name="connsiteX12047" fmla="*/ 976582 w 6884782"/>
              <a:gd name="connsiteY12047" fmla="*/ 4682304 h 5973007"/>
              <a:gd name="connsiteX12048" fmla="*/ 1792731 w 6884782"/>
              <a:gd name="connsiteY12048" fmla="*/ 4681891 h 5973007"/>
              <a:gd name="connsiteX12049" fmla="*/ 1793660 w 6884782"/>
              <a:gd name="connsiteY12049" fmla="*/ 4682820 h 5973007"/>
              <a:gd name="connsiteX12050" fmla="*/ 1791646 w 6884782"/>
              <a:gd name="connsiteY12050" fmla="*/ 4695417 h 5973007"/>
              <a:gd name="connsiteX12051" fmla="*/ 1790562 w 6884782"/>
              <a:gd name="connsiteY12051" fmla="*/ 4689429 h 5973007"/>
              <a:gd name="connsiteX12052" fmla="*/ 1792731 w 6884782"/>
              <a:gd name="connsiteY12052" fmla="*/ 4681891 h 5973007"/>
              <a:gd name="connsiteX12053" fmla="*/ 6427528 w 6884782"/>
              <a:gd name="connsiteY12053" fmla="*/ 4680463 h 5973007"/>
              <a:gd name="connsiteX12054" fmla="*/ 6433879 w 6884782"/>
              <a:gd name="connsiteY12054" fmla="*/ 4684800 h 5973007"/>
              <a:gd name="connsiteX12055" fmla="*/ 6431710 w 6884782"/>
              <a:gd name="connsiteY12055" fmla="*/ 4691408 h 5973007"/>
              <a:gd name="connsiteX12056" fmla="*/ 6426289 w 6884782"/>
              <a:gd name="connsiteY12056" fmla="*/ 4692957 h 5973007"/>
              <a:gd name="connsiteX12057" fmla="*/ 6423191 w 6884782"/>
              <a:gd name="connsiteY12057" fmla="*/ 4689860 h 5973007"/>
              <a:gd name="connsiteX12058" fmla="*/ 6427528 w 6884782"/>
              <a:gd name="connsiteY12058" fmla="*/ 4680463 h 5973007"/>
              <a:gd name="connsiteX12059" fmla="*/ 1585170 w 6884782"/>
              <a:gd name="connsiteY12059" fmla="*/ 4680239 h 5973007"/>
              <a:gd name="connsiteX12060" fmla="*/ 1590127 w 6884782"/>
              <a:gd name="connsiteY12060" fmla="*/ 4681065 h 5973007"/>
              <a:gd name="connsiteX12061" fmla="*/ 1589662 w 6884782"/>
              <a:gd name="connsiteY12061" fmla="*/ 4688706 h 5973007"/>
              <a:gd name="connsiteX12062" fmla="*/ 1586564 w 6884782"/>
              <a:gd name="connsiteY12062" fmla="*/ 4689119 h 5973007"/>
              <a:gd name="connsiteX12063" fmla="*/ 1583776 w 6884782"/>
              <a:gd name="connsiteY12063" fmla="*/ 4686950 h 5973007"/>
              <a:gd name="connsiteX12064" fmla="*/ 1582692 w 6884782"/>
              <a:gd name="connsiteY12064" fmla="*/ 4684473 h 5973007"/>
              <a:gd name="connsiteX12065" fmla="*/ 1583466 w 6884782"/>
              <a:gd name="connsiteY12065" fmla="*/ 4681684 h 5973007"/>
              <a:gd name="connsiteX12066" fmla="*/ 1585170 w 6884782"/>
              <a:gd name="connsiteY12066" fmla="*/ 4680239 h 5973007"/>
              <a:gd name="connsiteX12067" fmla="*/ 1451339 w 6884782"/>
              <a:gd name="connsiteY12067" fmla="*/ 4680239 h 5973007"/>
              <a:gd name="connsiteX12068" fmla="*/ 1451185 w 6884782"/>
              <a:gd name="connsiteY12068" fmla="*/ 4681478 h 5973007"/>
              <a:gd name="connsiteX12069" fmla="*/ 1445763 w 6884782"/>
              <a:gd name="connsiteY12069" fmla="*/ 4683853 h 5973007"/>
              <a:gd name="connsiteX12070" fmla="*/ 1443904 w 6884782"/>
              <a:gd name="connsiteY12070" fmla="*/ 4684369 h 5973007"/>
              <a:gd name="connsiteX12071" fmla="*/ 1447622 w 6884782"/>
              <a:gd name="connsiteY12071" fmla="*/ 4684989 h 5973007"/>
              <a:gd name="connsiteX12072" fmla="*/ 1453198 w 6884782"/>
              <a:gd name="connsiteY12072" fmla="*/ 4689429 h 5973007"/>
              <a:gd name="connsiteX12073" fmla="*/ 1452114 w 6884782"/>
              <a:gd name="connsiteY12073" fmla="*/ 4709564 h 5973007"/>
              <a:gd name="connsiteX12074" fmla="*/ 1432132 w 6884782"/>
              <a:gd name="connsiteY12074" fmla="*/ 4700064 h 5973007"/>
              <a:gd name="connsiteX12075" fmla="*/ 1431048 w 6884782"/>
              <a:gd name="connsiteY12075" fmla="*/ 4693352 h 5973007"/>
              <a:gd name="connsiteX12076" fmla="*/ 1432132 w 6884782"/>
              <a:gd name="connsiteY12076" fmla="*/ 4691391 h 5973007"/>
              <a:gd name="connsiteX12077" fmla="*/ 1432287 w 6884782"/>
              <a:gd name="connsiteY12077" fmla="*/ 4689222 h 5973007"/>
              <a:gd name="connsiteX12078" fmla="*/ 1432752 w 6884782"/>
              <a:gd name="connsiteY12078" fmla="*/ 4683234 h 5973007"/>
              <a:gd name="connsiteX12079" fmla="*/ 1436934 w 6884782"/>
              <a:gd name="connsiteY12079" fmla="*/ 4683027 h 5973007"/>
              <a:gd name="connsiteX12080" fmla="*/ 1438173 w 6884782"/>
              <a:gd name="connsiteY12080" fmla="*/ 4684989 h 5973007"/>
              <a:gd name="connsiteX12081" fmla="*/ 1440497 w 6884782"/>
              <a:gd name="connsiteY12081" fmla="*/ 4684059 h 5973007"/>
              <a:gd name="connsiteX12082" fmla="*/ 1440806 w 6884782"/>
              <a:gd name="connsiteY12082" fmla="*/ 4683234 h 5973007"/>
              <a:gd name="connsiteX12083" fmla="*/ 1443904 w 6884782"/>
              <a:gd name="connsiteY12083" fmla="*/ 4681788 h 5973007"/>
              <a:gd name="connsiteX12084" fmla="*/ 1451339 w 6884782"/>
              <a:gd name="connsiteY12084" fmla="*/ 4680239 h 5973007"/>
              <a:gd name="connsiteX12085" fmla="*/ 1776409 w 6884782"/>
              <a:gd name="connsiteY12085" fmla="*/ 4680084 h 5973007"/>
              <a:gd name="connsiteX12086" fmla="*/ 1787929 w 6884782"/>
              <a:gd name="connsiteY12086" fmla="*/ 4686434 h 5973007"/>
              <a:gd name="connsiteX12087" fmla="*/ 1776312 w 6884782"/>
              <a:gd name="connsiteY12087" fmla="*/ 4686847 h 5973007"/>
              <a:gd name="connsiteX12088" fmla="*/ 1764075 w 6884782"/>
              <a:gd name="connsiteY12088" fmla="*/ 4682717 h 5973007"/>
              <a:gd name="connsiteX12089" fmla="*/ 1776409 w 6884782"/>
              <a:gd name="connsiteY12089" fmla="*/ 4680084 h 5973007"/>
              <a:gd name="connsiteX12090" fmla="*/ 1818134 w 6884782"/>
              <a:gd name="connsiteY12090" fmla="*/ 4679206 h 5973007"/>
              <a:gd name="connsiteX12091" fmla="*/ 1815811 w 6884782"/>
              <a:gd name="connsiteY12091" fmla="*/ 4695934 h 5973007"/>
              <a:gd name="connsiteX12092" fmla="*/ 1830835 w 6884782"/>
              <a:gd name="connsiteY12092" fmla="*/ 4703162 h 5973007"/>
              <a:gd name="connsiteX12093" fmla="*/ 1827118 w 6884782"/>
              <a:gd name="connsiteY12093" fmla="*/ 4704917 h 5973007"/>
              <a:gd name="connsiteX12094" fmla="*/ 1827428 w 6884782"/>
              <a:gd name="connsiteY12094" fmla="*/ 4708118 h 5973007"/>
              <a:gd name="connsiteX12095" fmla="*/ 1826654 w 6884782"/>
              <a:gd name="connsiteY12095" fmla="*/ 4708944 h 5973007"/>
              <a:gd name="connsiteX12096" fmla="*/ 1827428 w 6884782"/>
              <a:gd name="connsiteY12096" fmla="*/ 4710183 h 5973007"/>
              <a:gd name="connsiteX12097" fmla="*/ 1828202 w 6884782"/>
              <a:gd name="connsiteY12097" fmla="*/ 4711216 h 5973007"/>
              <a:gd name="connsiteX12098" fmla="*/ 1826963 w 6884782"/>
              <a:gd name="connsiteY12098" fmla="*/ 4713178 h 5973007"/>
              <a:gd name="connsiteX12099" fmla="*/ 1825569 w 6884782"/>
              <a:gd name="connsiteY12099" fmla="*/ 4713074 h 5973007"/>
              <a:gd name="connsiteX12100" fmla="*/ 1825104 w 6884782"/>
              <a:gd name="connsiteY12100" fmla="*/ 4715140 h 5973007"/>
              <a:gd name="connsiteX12101" fmla="*/ 1820302 w 6884782"/>
              <a:gd name="connsiteY12101" fmla="*/ 4710286 h 5973007"/>
              <a:gd name="connsiteX12102" fmla="*/ 1822316 w 6884782"/>
              <a:gd name="connsiteY12102" fmla="*/ 4711009 h 5973007"/>
              <a:gd name="connsiteX12103" fmla="*/ 1820768 w 6884782"/>
              <a:gd name="connsiteY12103" fmla="*/ 4709564 h 5973007"/>
              <a:gd name="connsiteX12104" fmla="*/ 1819218 w 6884782"/>
              <a:gd name="connsiteY12104" fmla="*/ 4704401 h 5973007"/>
              <a:gd name="connsiteX12105" fmla="*/ 1821387 w 6884782"/>
              <a:gd name="connsiteY12105" fmla="*/ 4704401 h 5973007"/>
              <a:gd name="connsiteX12106" fmla="*/ 1817204 w 6884782"/>
              <a:gd name="connsiteY12106" fmla="*/ 4703368 h 5973007"/>
              <a:gd name="connsiteX12107" fmla="*/ 1811938 w 6884782"/>
              <a:gd name="connsiteY12107" fmla="*/ 4702645 h 5973007"/>
              <a:gd name="connsiteX12108" fmla="*/ 1806362 w 6884782"/>
              <a:gd name="connsiteY12108" fmla="*/ 4706982 h 5973007"/>
              <a:gd name="connsiteX12109" fmla="*/ 1802644 w 6884782"/>
              <a:gd name="connsiteY12109" fmla="*/ 4706776 h 5973007"/>
              <a:gd name="connsiteX12110" fmla="*/ 1812248 w 6884782"/>
              <a:gd name="connsiteY12110" fmla="*/ 4683543 h 5973007"/>
              <a:gd name="connsiteX12111" fmla="*/ 1818134 w 6884782"/>
              <a:gd name="connsiteY12111" fmla="*/ 4679206 h 5973007"/>
              <a:gd name="connsiteX12112" fmla="*/ 6204168 w 6884782"/>
              <a:gd name="connsiteY12112" fmla="*/ 4678811 h 5973007"/>
              <a:gd name="connsiteX12113" fmla="*/ 6206801 w 6884782"/>
              <a:gd name="connsiteY12113" fmla="*/ 4681289 h 5973007"/>
              <a:gd name="connsiteX12114" fmla="*/ 6205407 w 6884782"/>
              <a:gd name="connsiteY12114" fmla="*/ 4682115 h 5973007"/>
              <a:gd name="connsiteX12115" fmla="*/ 6206027 w 6884782"/>
              <a:gd name="connsiteY12115" fmla="*/ 4682838 h 5973007"/>
              <a:gd name="connsiteX12116" fmla="*/ 6204168 w 6884782"/>
              <a:gd name="connsiteY12116" fmla="*/ 4683045 h 5973007"/>
              <a:gd name="connsiteX12117" fmla="*/ 6203703 w 6884782"/>
              <a:gd name="connsiteY12117" fmla="*/ 4682322 h 5973007"/>
              <a:gd name="connsiteX12118" fmla="*/ 6203394 w 6884782"/>
              <a:gd name="connsiteY12118" fmla="*/ 4682219 h 5973007"/>
              <a:gd name="connsiteX12119" fmla="*/ 6203394 w 6884782"/>
              <a:gd name="connsiteY12119" fmla="*/ 4680463 h 5973007"/>
              <a:gd name="connsiteX12120" fmla="*/ 6204168 w 6884782"/>
              <a:gd name="connsiteY12120" fmla="*/ 4678811 h 5973007"/>
              <a:gd name="connsiteX12121" fmla="*/ 6621458 w 6884782"/>
              <a:gd name="connsiteY12121" fmla="*/ 4678295 h 5973007"/>
              <a:gd name="connsiteX12122" fmla="*/ 6641285 w 6884782"/>
              <a:gd name="connsiteY12122" fmla="*/ 4692647 h 5973007"/>
              <a:gd name="connsiteX12123" fmla="*/ 6637722 w 6884782"/>
              <a:gd name="connsiteY12123" fmla="*/ 4708446 h 5973007"/>
              <a:gd name="connsiteX12124" fmla="*/ 6633385 w 6884782"/>
              <a:gd name="connsiteY12124" fmla="*/ 4712989 h 5973007"/>
              <a:gd name="connsiteX12125" fmla="*/ 6622543 w 6884782"/>
              <a:gd name="connsiteY12125" fmla="*/ 4698430 h 5973007"/>
              <a:gd name="connsiteX12126" fmla="*/ 6621303 w 6884782"/>
              <a:gd name="connsiteY12126" fmla="*/ 4697294 h 5973007"/>
              <a:gd name="connsiteX12127" fmla="*/ 6621303 w 6884782"/>
              <a:gd name="connsiteY12127" fmla="*/ 4698327 h 5973007"/>
              <a:gd name="connsiteX12128" fmla="*/ 6613094 w 6884782"/>
              <a:gd name="connsiteY12128" fmla="*/ 4702973 h 5973007"/>
              <a:gd name="connsiteX12129" fmla="*/ 6606743 w 6884782"/>
              <a:gd name="connsiteY12129" fmla="*/ 4686555 h 5973007"/>
              <a:gd name="connsiteX12130" fmla="*/ 6611080 w 6884782"/>
              <a:gd name="connsiteY12130" fmla="*/ 4685730 h 5973007"/>
              <a:gd name="connsiteX12131" fmla="*/ 6614023 w 6884782"/>
              <a:gd name="connsiteY12131" fmla="*/ 4682115 h 5973007"/>
              <a:gd name="connsiteX12132" fmla="*/ 6621458 w 6884782"/>
              <a:gd name="connsiteY12132" fmla="*/ 4678295 h 5973007"/>
              <a:gd name="connsiteX12133" fmla="*/ 5924890 w 6884782"/>
              <a:gd name="connsiteY12133" fmla="*/ 4678192 h 5973007"/>
              <a:gd name="connsiteX12134" fmla="*/ 5929382 w 6884782"/>
              <a:gd name="connsiteY12134" fmla="*/ 4680463 h 5973007"/>
              <a:gd name="connsiteX12135" fmla="*/ 5930001 w 6884782"/>
              <a:gd name="connsiteY12135" fmla="*/ 4690892 h 5973007"/>
              <a:gd name="connsiteX12136" fmla="*/ 5921172 w 6884782"/>
              <a:gd name="connsiteY12136" fmla="*/ 4693164 h 5973007"/>
              <a:gd name="connsiteX12137" fmla="*/ 5920552 w 6884782"/>
              <a:gd name="connsiteY12137" fmla="*/ 4695022 h 5973007"/>
              <a:gd name="connsiteX12138" fmla="*/ 5917455 w 6884782"/>
              <a:gd name="connsiteY12138" fmla="*/ 4696881 h 5973007"/>
              <a:gd name="connsiteX12139" fmla="*/ 5916370 w 6884782"/>
              <a:gd name="connsiteY12139" fmla="*/ 4695229 h 5973007"/>
              <a:gd name="connsiteX12140" fmla="*/ 5919313 w 6884782"/>
              <a:gd name="connsiteY12140" fmla="*/ 4692441 h 5973007"/>
              <a:gd name="connsiteX12141" fmla="*/ 5919159 w 6884782"/>
              <a:gd name="connsiteY12141" fmla="*/ 4691615 h 5973007"/>
              <a:gd name="connsiteX12142" fmla="*/ 5917300 w 6884782"/>
              <a:gd name="connsiteY12142" fmla="*/ 4689860 h 5973007"/>
              <a:gd name="connsiteX12143" fmla="*/ 5916061 w 6884782"/>
              <a:gd name="connsiteY12143" fmla="*/ 4681289 h 5973007"/>
              <a:gd name="connsiteX12144" fmla="*/ 5924890 w 6884782"/>
              <a:gd name="connsiteY12144" fmla="*/ 4678192 h 5973007"/>
              <a:gd name="connsiteX12145" fmla="*/ 1089037 w 6884782"/>
              <a:gd name="connsiteY12145" fmla="*/ 4677554 h 5973007"/>
              <a:gd name="connsiteX12146" fmla="*/ 1089811 w 6884782"/>
              <a:gd name="connsiteY12146" fmla="*/ 4679619 h 5973007"/>
              <a:gd name="connsiteX12147" fmla="*/ 1090586 w 6884782"/>
              <a:gd name="connsiteY12147" fmla="*/ 4679103 h 5973007"/>
              <a:gd name="connsiteX12148" fmla="*/ 1096317 w 6884782"/>
              <a:gd name="connsiteY12148" fmla="*/ 4684782 h 5973007"/>
              <a:gd name="connsiteX12149" fmla="*/ 1095388 w 6884782"/>
              <a:gd name="connsiteY12149" fmla="*/ 4688293 h 5973007"/>
              <a:gd name="connsiteX12150" fmla="*/ 1099880 w 6884782"/>
              <a:gd name="connsiteY12150" fmla="*/ 4691701 h 5973007"/>
              <a:gd name="connsiteX12151" fmla="*/ 1103752 w 6884782"/>
              <a:gd name="connsiteY12151" fmla="*/ 4695624 h 5973007"/>
              <a:gd name="connsiteX12152" fmla="*/ 1106230 w 6884782"/>
              <a:gd name="connsiteY12152" fmla="*/ 4702955 h 5973007"/>
              <a:gd name="connsiteX12153" fmla="*/ 1083926 w 6884782"/>
              <a:gd name="connsiteY12153" fmla="*/ 4723297 h 5973007"/>
              <a:gd name="connsiteX12154" fmla="*/ 1070295 w 6884782"/>
              <a:gd name="connsiteY12154" fmla="*/ 4712765 h 5973007"/>
              <a:gd name="connsiteX12155" fmla="*/ 1070140 w 6884782"/>
              <a:gd name="connsiteY12155" fmla="*/ 4703472 h 5973007"/>
              <a:gd name="connsiteX12156" fmla="*/ 1089037 w 6884782"/>
              <a:gd name="connsiteY12156" fmla="*/ 4677554 h 5973007"/>
              <a:gd name="connsiteX12157" fmla="*/ 6273871 w 6884782"/>
              <a:gd name="connsiteY12157" fmla="*/ 4676953 h 5973007"/>
              <a:gd name="connsiteX12158" fmla="*/ 6274491 w 6884782"/>
              <a:gd name="connsiteY12158" fmla="*/ 4678914 h 5973007"/>
              <a:gd name="connsiteX12159" fmla="*/ 6274955 w 6884782"/>
              <a:gd name="connsiteY12159" fmla="*/ 4678398 h 5973007"/>
              <a:gd name="connsiteX12160" fmla="*/ 6279138 w 6884782"/>
              <a:gd name="connsiteY12160" fmla="*/ 4677263 h 5973007"/>
              <a:gd name="connsiteX12161" fmla="*/ 6276350 w 6884782"/>
              <a:gd name="connsiteY12161" fmla="*/ 4679740 h 5973007"/>
              <a:gd name="connsiteX12162" fmla="*/ 6275110 w 6884782"/>
              <a:gd name="connsiteY12162" fmla="*/ 4680670 h 5973007"/>
              <a:gd name="connsiteX12163" fmla="*/ 6275885 w 6884782"/>
              <a:gd name="connsiteY12163" fmla="*/ 4683045 h 5973007"/>
              <a:gd name="connsiteX12164" fmla="*/ 6272787 w 6884782"/>
              <a:gd name="connsiteY12164" fmla="*/ 4689137 h 5973007"/>
              <a:gd name="connsiteX12165" fmla="*/ 6265817 w 6884782"/>
              <a:gd name="connsiteY12165" fmla="*/ 4681599 h 5973007"/>
              <a:gd name="connsiteX12166" fmla="*/ 6273871 w 6884782"/>
              <a:gd name="connsiteY12166" fmla="*/ 4676953 h 5973007"/>
              <a:gd name="connsiteX12167" fmla="*/ 1438483 w 6884782"/>
              <a:gd name="connsiteY12167" fmla="*/ 4676832 h 5973007"/>
              <a:gd name="connsiteX12168" fmla="*/ 1437864 w 6884782"/>
              <a:gd name="connsiteY12168" fmla="*/ 4681478 h 5973007"/>
              <a:gd name="connsiteX12169" fmla="*/ 1438173 w 6884782"/>
              <a:gd name="connsiteY12169" fmla="*/ 4683440 h 5973007"/>
              <a:gd name="connsiteX12170" fmla="*/ 1436469 w 6884782"/>
              <a:gd name="connsiteY12170" fmla="*/ 4682407 h 5973007"/>
              <a:gd name="connsiteX12171" fmla="*/ 1437554 w 6884782"/>
              <a:gd name="connsiteY12171" fmla="*/ 4679619 h 5973007"/>
              <a:gd name="connsiteX12172" fmla="*/ 1435850 w 6884782"/>
              <a:gd name="connsiteY12172" fmla="*/ 4678587 h 5973007"/>
              <a:gd name="connsiteX12173" fmla="*/ 1436005 w 6884782"/>
              <a:gd name="connsiteY12173" fmla="*/ 4677348 h 5973007"/>
              <a:gd name="connsiteX12174" fmla="*/ 1438483 w 6884782"/>
              <a:gd name="connsiteY12174" fmla="*/ 4676832 h 5973007"/>
              <a:gd name="connsiteX12175" fmla="*/ 1123888 w 6884782"/>
              <a:gd name="connsiteY12175" fmla="*/ 4676418 h 5973007"/>
              <a:gd name="connsiteX12176" fmla="*/ 1127296 w 6884782"/>
              <a:gd name="connsiteY12176" fmla="*/ 4677348 h 5973007"/>
              <a:gd name="connsiteX12177" fmla="*/ 1125128 w 6884782"/>
              <a:gd name="connsiteY12177" fmla="*/ 4679929 h 5973007"/>
              <a:gd name="connsiteX12178" fmla="*/ 1123888 w 6884782"/>
              <a:gd name="connsiteY12178" fmla="*/ 4678897 h 5973007"/>
              <a:gd name="connsiteX12179" fmla="*/ 1123888 w 6884782"/>
              <a:gd name="connsiteY12179" fmla="*/ 4676418 h 5973007"/>
              <a:gd name="connsiteX12180" fmla="*/ 6369442 w 6884782"/>
              <a:gd name="connsiteY12180" fmla="*/ 4675817 h 5973007"/>
              <a:gd name="connsiteX12181" fmla="*/ 6367738 w 6884782"/>
              <a:gd name="connsiteY12181" fmla="*/ 4685007 h 5973007"/>
              <a:gd name="connsiteX12182" fmla="*/ 6366344 w 6884782"/>
              <a:gd name="connsiteY12182" fmla="*/ 4683045 h 5973007"/>
              <a:gd name="connsiteX12183" fmla="*/ 6369442 w 6884782"/>
              <a:gd name="connsiteY12183" fmla="*/ 4675817 h 5973007"/>
              <a:gd name="connsiteX12184" fmla="*/ 1231542 w 6884782"/>
              <a:gd name="connsiteY12184" fmla="*/ 4675592 h 5973007"/>
              <a:gd name="connsiteX12185" fmla="*/ 1240216 w 6884782"/>
              <a:gd name="connsiteY12185" fmla="*/ 4690771 h 5973007"/>
              <a:gd name="connsiteX12186" fmla="*/ 1236808 w 6884782"/>
              <a:gd name="connsiteY12186" fmla="*/ 4691287 h 5973007"/>
              <a:gd name="connsiteX12187" fmla="*/ 1227359 w 6884782"/>
              <a:gd name="connsiteY12187" fmla="*/ 4685815 h 5973007"/>
              <a:gd name="connsiteX12188" fmla="*/ 1226585 w 6884782"/>
              <a:gd name="connsiteY12188" fmla="*/ 4684266 h 5973007"/>
              <a:gd name="connsiteX12189" fmla="*/ 1223177 w 6884782"/>
              <a:gd name="connsiteY12189" fmla="*/ 4685815 h 5973007"/>
              <a:gd name="connsiteX12190" fmla="*/ 1223797 w 6884782"/>
              <a:gd name="connsiteY12190" fmla="*/ 4684576 h 5973007"/>
              <a:gd name="connsiteX12191" fmla="*/ 1225501 w 6884782"/>
              <a:gd name="connsiteY12191" fmla="*/ 4683956 h 5973007"/>
              <a:gd name="connsiteX12192" fmla="*/ 1226275 w 6884782"/>
              <a:gd name="connsiteY12192" fmla="*/ 4683749 h 5973007"/>
              <a:gd name="connsiteX12193" fmla="*/ 1225501 w 6884782"/>
              <a:gd name="connsiteY12193" fmla="*/ 4681994 h 5973007"/>
              <a:gd name="connsiteX12194" fmla="*/ 1231542 w 6884782"/>
              <a:gd name="connsiteY12194" fmla="*/ 4675592 h 5973007"/>
              <a:gd name="connsiteX12195" fmla="*/ 6126410 w 6884782"/>
              <a:gd name="connsiteY12195" fmla="*/ 4675507 h 5973007"/>
              <a:gd name="connsiteX12196" fmla="*/ 6120989 w 6884782"/>
              <a:gd name="connsiteY12196" fmla="*/ 4686245 h 5973007"/>
              <a:gd name="connsiteX12197" fmla="*/ 6116806 w 6884782"/>
              <a:gd name="connsiteY12197" fmla="*/ 4685420 h 5973007"/>
              <a:gd name="connsiteX12198" fmla="*/ 6126410 w 6884782"/>
              <a:gd name="connsiteY12198" fmla="*/ 4675507 h 5973007"/>
              <a:gd name="connsiteX12199" fmla="*/ 1434611 w 6884782"/>
              <a:gd name="connsiteY12199" fmla="*/ 4675076 h 5973007"/>
              <a:gd name="connsiteX12200" fmla="*/ 1436005 w 6884782"/>
              <a:gd name="connsiteY12200" fmla="*/ 4677348 h 5973007"/>
              <a:gd name="connsiteX12201" fmla="*/ 1426092 w 6884782"/>
              <a:gd name="connsiteY12201" fmla="*/ 4683956 h 5973007"/>
              <a:gd name="connsiteX12202" fmla="*/ 1424233 w 6884782"/>
              <a:gd name="connsiteY12202" fmla="*/ 4684163 h 5973007"/>
              <a:gd name="connsiteX12203" fmla="*/ 1418502 w 6884782"/>
              <a:gd name="connsiteY12203" fmla="*/ 4681478 h 5973007"/>
              <a:gd name="connsiteX12204" fmla="*/ 1432752 w 6884782"/>
              <a:gd name="connsiteY12204" fmla="*/ 4675282 h 5973007"/>
              <a:gd name="connsiteX12205" fmla="*/ 1434611 w 6884782"/>
              <a:gd name="connsiteY12205" fmla="*/ 4675076 h 5973007"/>
              <a:gd name="connsiteX12206" fmla="*/ 1146194 w 6884782"/>
              <a:gd name="connsiteY12206" fmla="*/ 4675076 h 5973007"/>
              <a:gd name="connsiteX12207" fmla="*/ 1150531 w 6884782"/>
              <a:gd name="connsiteY12207" fmla="*/ 4678483 h 5973007"/>
              <a:gd name="connsiteX12208" fmla="*/ 1150841 w 6884782"/>
              <a:gd name="connsiteY12208" fmla="*/ 4682407 h 5973007"/>
              <a:gd name="connsiteX12209" fmla="*/ 1152234 w 6884782"/>
              <a:gd name="connsiteY12209" fmla="*/ 4681272 h 5973007"/>
              <a:gd name="connsiteX12210" fmla="*/ 1156262 w 6884782"/>
              <a:gd name="connsiteY12210" fmla="*/ 4684782 h 5973007"/>
              <a:gd name="connsiteX12211" fmla="*/ 1152699 w 6884782"/>
              <a:gd name="connsiteY12211" fmla="*/ 4685918 h 5973007"/>
              <a:gd name="connsiteX12212" fmla="*/ 1150996 w 6884782"/>
              <a:gd name="connsiteY12212" fmla="*/ 4684369 h 5973007"/>
              <a:gd name="connsiteX12213" fmla="*/ 1150996 w 6884782"/>
              <a:gd name="connsiteY12213" fmla="*/ 4685092 h 5973007"/>
              <a:gd name="connsiteX12214" fmla="*/ 1146194 w 6884782"/>
              <a:gd name="connsiteY12214" fmla="*/ 4686641 h 5973007"/>
              <a:gd name="connsiteX12215" fmla="*/ 1144799 w 6884782"/>
              <a:gd name="connsiteY12215" fmla="*/ 4688912 h 5973007"/>
              <a:gd name="connsiteX12216" fmla="*/ 1142476 w 6884782"/>
              <a:gd name="connsiteY12216" fmla="*/ 4679619 h 5973007"/>
              <a:gd name="connsiteX12217" fmla="*/ 1142941 w 6884782"/>
              <a:gd name="connsiteY12217" fmla="*/ 4678793 h 5973007"/>
              <a:gd name="connsiteX12218" fmla="*/ 1142941 w 6884782"/>
              <a:gd name="connsiteY12218" fmla="*/ 4676418 h 5973007"/>
              <a:gd name="connsiteX12219" fmla="*/ 1146194 w 6884782"/>
              <a:gd name="connsiteY12219" fmla="*/ 4675076 h 5973007"/>
              <a:gd name="connsiteX12220" fmla="*/ 1022896 w 6884782"/>
              <a:gd name="connsiteY12220" fmla="*/ 4674973 h 5973007"/>
              <a:gd name="connsiteX12221" fmla="*/ 1035443 w 6884782"/>
              <a:gd name="connsiteY12221" fmla="*/ 4677141 h 5973007"/>
              <a:gd name="connsiteX12222" fmla="*/ 1018714 w 6884782"/>
              <a:gd name="connsiteY12222" fmla="*/ 4686538 h 5973007"/>
              <a:gd name="connsiteX12223" fmla="*/ 1014067 w 6884782"/>
              <a:gd name="connsiteY12223" fmla="*/ 4683646 h 5973007"/>
              <a:gd name="connsiteX12224" fmla="*/ 1022896 w 6884782"/>
              <a:gd name="connsiteY12224" fmla="*/ 4674973 h 5973007"/>
              <a:gd name="connsiteX12225" fmla="*/ 1405335 w 6884782"/>
              <a:gd name="connsiteY12225" fmla="*/ 4674870 h 5973007"/>
              <a:gd name="connsiteX12226" fmla="*/ 1417727 w 6884782"/>
              <a:gd name="connsiteY12226" fmla="*/ 4686331 h 5973007"/>
              <a:gd name="connsiteX12227" fmla="*/ 1416953 w 6884782"/>
              <a:gd name="connsiteY12227" fmla="*/ 4686744 h 5973007"/>
              <a:gd name="connsiteX12228" fmla="*/ 1421444 w 6884782"/>
              <a:gd name="connsiteY12228" fmla="*/ 4690358 h 5973007"/>
              <a:gd name="connsiteX12229" fmla="*/ 1412306 w 6884782"/>
              <a:gd name="connsiteY12229" fmla="*/ 4698206 h 5973007"/>
              <a:gd name="connsiteX12230" fmla="*/ 1411686 w 6884782"/>
              <a:gd name="connsiteY12230" fmla="*/ 4698309 h 5973007"/>
              <a:gd name="connsiteX12231" fmla="*/ 1410912 w 6884782"/>
              <a:gd name="connsiteY12231" fmla="*/ 4699135 h 5973007"/>
              <a:gd name="connsiteX12232" fmla="*/ 1411067 w 6884782"/>
              <a:gd name="connsiteY12232" fmla="*/ 4699341 h 5973007"/>
              <a:gd name="connsiteX12233" fmla="*/ 1410757 w 6884782"/>
              <a:gd name="connsiteY12233" fmla="*/ 4699341 h 5973007"/>
              <a:gd name="connsiteX12234" fmla="*/ 1409208 w 6884782"/>
              <a:gd name="connsiteY12234" fmla="*/ 4700787 h 5973007"/>
              <a:gd name="connsiteX12235" fmla="*/ 1408124 w 6884782"/>
              <a:gd name="connsiteY12235" fmla="*/ 4699548 h 5973007"/>
              <a:gd name="connsiteX12236" fmla="*/ 1405490 w 6884782"/>
              <a:gd name="connsiteY12236" fmla="*/ 4699238 h 5973007"/>
              <a:gd name="connsiteX12237" fmla="*/ 1404406 w 6884782"/>
              <a:gd name="connsiteY12237" fmla="*/ 4697173 h 5973007"/>
              <a:gd name="connsiteX12238" fmla="*/ 1406419 w 6884782"/>
              <a:gd name="connsiteY12238" fmla="*/ 4692630 h 5973007"/>
              <a:gd name="connsiteX12239" fmla="*/ 1402237 w 6884782"/>
              <a:gd name="connsiteY12239" fmla="*/ 4687260 h 5973007"/>
              <a:gd name="connsiteX12240" fmla="*/ 1400069 w 6884782"/>
              <a:gd name="connsiteY12240" fmla="*/ 4684782 h 5973007"/>
              <a:gd name="connsiteX12241" fmla="*/ 1400379 w 6884782"/>
              <a:gd name="connsiteY12241" fmla="*/ 4685918 h 5973007"/>
              <a:gd name="connsiteX12242" fmla="*/ 1394492 w 6884782"/>
              <a:gd name="connsiteY12242" fmla="*/ 4696760 h 5973007"/>
              <a:gd name="connsiteX12243" fmla="*/ 1394183 w 6884782"/>
              <a:gd name="connsiteY12243" fmla="*/ 4687777 h 5973007"/>
              <a:gd name="connsiteX12244" fmla="*/ 1399139 w 6884782"/>
              <a:gd name="connsiteY12244" fmla="*/ 4682717 h 5973007"/>
              <a:gd name="connsiteX12245" fmla="*/ 1398055 w 6884782"/>
              <a:gd name="connsiteY12245" fmla="*/ 4678587 h 5973007"/>
              <a:gd name="connsiteX12246" fmla="*/ 1405335 w 6884782"/>
              <a:gd name="connsiteY12246" fmla="*/ 4674870 h 5973007"/>
              <a:gd name="connsiteX12247" fmla="*/ 6656620 w 6884782"/>
              <a:gd name="connsiteY12247" fmla="*/ 4674474 h 5973007"/>
              <a:gd name="connsiteX12248" fmla="*/ 6657549 w 6884782"/>
              <a:gd name="connsiteY12248" fmla="*/ 4691408 h 5973007"/>
              <a:gd name="connsiteX12249" fmla="*/ 6654451 w 6884782"/>
              <a:gd name="connsiteY12249" fmla="*/ 4689653 h 5973007"/>
              <a:gd name="connsiteX12250" fmla="*/ 6655225 w 6884782"/>
              <a:gd name="connsiteY12250" fmla="*/ 4688104 h 5973007"/>
              <a:gd name="connsiteX12251" fmla="*/ 6656620 w 6884782"/>
              <a:gd name="connsiteY12251" fmla="*/ 4674474 h 5973007"/>
              <a:gd name="connsiteX12252" fmla="*/ 1211870 w 6884782"/>
              <a:gd name="connsiteY12252" fmla="*/ 4674457 h 5973007"/>
              <a:gd name="connsiteX12253" fmla="*/ 1221164 w 6884782"/>
              <a:gd name="connsiteY12253" fmla="*/ 4676522 h 5973007"/>
              <a:gd name="connsiteX12254" fmla="*/ 1219150 w 6884782"/>
              <a:gd name="connsiteY12254" fmla="*/ 4698928 h 5973007"/>
              <a:gd name="connsiteX12255" fmla="*/ 1218066 w 6884782"/>
              <a:gd name="connsiteY12255" fmla="*/ 4710390 h 5973007"/>
              <a:gd name="connsiteX12256" fmla="*/ 1221318 w 6884782"/>
              <a:gd name="connsiteY12256" fmla="*/ 4710390 h 5973007"/>
              <a:gd name="connsiteX12257" fmla="*/ 1232935 w 6884782"/>
              <a:gd name="connsiteY12257" fmla="*/ 4714107 h 5973007"/>
              <a:gd name="connsiteX12258" fmla="*/ 1235879 w 6884782"/>
              <a:gd name="connsiteY12258" fmla="*/ 4716172 h 5973007"/>
              <a:gd name="connsiteX12259" fmla="*/ 1237428 w 6884782"/>
              <a:gd name="connsiteY12259" fmla="*/ 4715862 h 5973007"/>
              <a:gd name="connsiteX12260" fmla="*/ 1238666 w 6884782"/>
              <a:gd name="connsiteY12260" fmla="*/ 4715862 h 5973007"/>
              <a:gd name="connsiteX12261" fmla="*/ 1238977 w 6884782"/>
              <a:gd name="connsiteY12261" fmla="*/ 4715656 h 5973007"/>
              <a:gd name="connsiteX12262" fmla="*/ 1240061 w 6884782"/>
              <a:gd name="connsiteY12262" fmla="*/ 4715140 h 5973007"/>
              <a:gd name="connsiteX12263" fmla="*/ 1239906 w 6884782"/>
              <a:gd name="connsiteY12263" fmla="*/ 4715966 h 5973007"/>
              <a:gd name="connsiteX12264" fmla="*/ 1239751 w 6884782"/>
              <a:gd name="connsiteY12264" fmla="*/ 4716069 h 5973007"/>
              <a:gd name="connsiteX12265" fmla="*/ 1242384 w 6884782"/>
              <a:gd name="connsiteY12265" fmla="*/ 4716379 h 5973007"/>
              <a:gd name="connsiteX12266" fmla="*/ 1239906 w 6884782"/>
              <a:gd name="connsiteY12266" fmla="*/ 4722574 h 5973007"/>
              <a:gd name="connsiteX12267" fmla="*/ 1236343 w 6884782"/>
              <a:gd name="connsiteY12267" fmla="*/ 4728046 h 5973007"/>
              <a:gd name="connsiteX12268" fmla="*/ 1235879 w 6884782"/>
              <a:gd name="connsiteY12268" fmla="*/ 4723710 h 5973007"/>
              <a:gd name="connsiteX12269" fmla="*/ 1234020 w 6884782"/>
              <a:gd name="connsiteY12269" fmla="*/ 4724536 h 5973007"/>
              <a:gd name="connsiteX12270" fmla="*/ 1233555 w 6884782"/>
              <a:gd name="connsiteY12270" fmla="*/ 4721954 h 5973007"/>
              <a:gd name="connsiteX12271" fmla="*/ 1232161 w 6884782"/>
              <a:gd name="connsiteY12271" fmla="*/ 4722161 h 5973007"/>
              <a:gd name="connsiteX12272" fmla="*/ 1226740 w 6884782"/>
              <a:gd name="connsiteY12272" fmla="*/ 4721335 h 5973007"/>
              <a:gd name="connsiteX12273" fmla="*/ 1226740 w 6884782"/>
              <a:gd name="connsiteY12273" fmla="*/ 4722780 h 5973007"/>
              <a:gd name="connsiteX12274" fmla="*/ 1230612 w 6884782"/>
              <a:gd name="connsiteY12274" fmla="*/ 4724329 h 5973007"/>
              <a:gd name="connsiteX12275" fmla="*/ 1236343 w 6884782"/>
              <a:gd name="connsiteY12275" fmla="*/ 4728046 h 5973007"/>
              <a:gd name="connsiteX12276" fmla="*/ 1237428 w 6884782"/>
              <a:gd name="connsiteY12276" fmla="*/ 4728769 h 5973007"/>
              <a:gd name="connsiteX12277" fmla="*/ 1245327 w 6884782"/>
              <a:gd name="connsiteY12277" fmla="*/ 4732900 h 5973007"/>
              <a:gd name="connsiteX12278" fmla="*/ 1251523 w 6884782"/>
              <a:gd name="connsiteY12278" fmla="*/ 4751796 h 5973007"/>
              <a:gd name="connsiteX12279" fmla="*/ 1242694 w 6884782"/>
              <a:gd name="connsiteY12279" fmla="*/ 4777403 h 5973007"/>
              <a:gd name="connsiteX12280" fmla="*/ 1215588 w 6884782"/>
              <a:gd name="connsiteY12280" fmla="*/ 4793098 h 5973007"/>
              <a:gd name="connsiteX12281" fmla="*/ 1207687 w 6884782"/>
              <a:gd name="connsiteY12281" fmla="*/ 4789690 h 5973007"/>
              <a:gd name="connsiteX12282" fmla="*/ 1201182 w 6884782"/>
              <a:gd name="connsiteY12282" fmla="*/ 4788245 h 5973007"/>
              <a:gd name="connsiteX12283" fmla="*/ 1202266 w 6884782"/>
              <a:gd name="connsiteY12283" fmla="*/ 4792066 h 5973007"/>
              <a:gd name="connsiteX12284" fmla="*/ 1203506 w 6884782"/>
              <a:gd name="connsiteY12284" fmla="*/ 4798571 h 5973007"/>
              <a:gd name="connsiteX12285" fmla="*/ 1193437 w 6884782"/>
              <a:gd name="connsiteY12285" fmla="*/ 4808380 h 5973007"/>
              <a:gd name="connsiteX12286" fmla="*/ 1192663 w 6884782"/>
              <a:gd name="connsiteY12286" fmla="*/ 4807760 h 5973007"/>
              <a:gd name="connsiteX12287" fmla="*/ 1190959 w 6884782"/>
              <a:gd name="connsiteY12287" fmla="*/ 4806935 h 5973007"/>
              <a:gd name="connsiteX12288" fmla="*/ 1188325 w 6884782"/>
              <a:gd name="connsiteY12288" fmla="*/ 4808070 h 5973007"/>
              <a:gd name="connsiteX12289" fmla="*/ 1185692 w 6884782"/>
              <a:gd name="connsiteY12289" fmla="*/ 4806728 h 5973007"/>
              <a:gd name="connsiteX12290" fmla="*/ 1184298 w 6884782"/>
              <a:gd name="connsiteY12290" fmla="*/ 4802391 h 5973007"/>
              <a:gd name="connsiteX12291" fmla="*/ 1184918 w 6884782"/>
              <a:gd name="connsiteY12291" fmla="*/ 4801668 h 5973007"/>
              <a:gd name="connsiteX12292" fmla="*/ 1183678 w 6884782"/>
              <a:gd name="connsiteY12292" fmla="*/ 4796506 h 5973007"/>
              <a:gd name="connsiteX12293" fmla="*/ 1184143 w 6884782"/>
              <a:gd name="connsiteY12293" fmla="*/ 4793305 h 5973007"/>
              <a:gd name="connsiteX12294" fmla="*/ 1182904 w 6884782"/>
              <a:gd name="connsiteY12294" fmla="*/ 4798261 h 5973007"/>
              <a:gd name="connsiteX12295" fmla="*/ 1182130 w 6884782"/>
              <a:gd name="connsiteY12295" fmla="*/ 4800016 h 5973007"/>
              <a:gd name="connsiteX12296" fmla="*/ 1183059 w 6884782"/>
              <a:gd name="connsiteY12296" fmla="*/ 4800016 h 5973007"/>
              <a:gd name="connsiteX12297" fmla="*/ 1181975 w 6884782"/>
              <a:gd name="connsiteY12297" fmla="*/ 4800945 h 5973007"/>
              <a:gd name="connsiteX12298" fmla="*/ 1181975 w 6884782"/>
              <a:gd name="connsiteY12298" fmla="*/ 4801152 h 5973007"/>
              <a:gd name="connsiteX12299" fmla="*/ 1181820 w 6884782"/>
              <a:gd name="connsiteY12299" fmla="*/ 4801978 h 5973007"/>
              <a:gd name="connsiteX12300" fmla="*/ 1179496 w 6884782"/>
              <a:gd name="connsiteY12300" fmla="*/ 4804869 h 5973007"/>
              <a:gd name="connsiteX12301" fmla="*/ 1178722 w 6884782"/>
              <a:gd name="connsiteY12301" fmla="*/ 4804766 h 5973007"/>
              <a:gd name="connsiteX12302" fmla="*/ 1178722 w 6884782"/>
              <a:gd name="connsiteY12302" fmla="*/ 4809619 h 5973007"/>
              <a:gd name="connsiteX12303" fmla="*/ 1178567 w 6884782"/>
              <a:gd name="connsiteY12303" fmla="*/ 4810961 h 5973007"/>
              <a:gd name="connsiteX12304" fmla="*/ 1179031 w 6884782"/>
              <a:gd name="connsiteY12304" fmla="*/ 4811374 h 5973007"/>
              <a:gd name="connsiteX12305" fmla="*/ 1178412 w 6884782"/>
              <a:gd name="connsiteY12305" fmla="*/ 4812097 h 5973007"/>
              <a:gd name="connsiteX12306" fmla="*/ 1177638 w 6884782"/>
              <a:gd name="connsiteY12306" fmla="*/ 4816434 h 5973007"/>
              <a:gd name="connsiteX12307" fmla="*/ 1173920 w 6884782"/>
              <a:gd name="connsiteY12307" fmla="*/ 4819738 h 5973007"/>
              <a:gd name="connsiteX12308" fmla="*/ 1173146 w 6884782"/>
              <a:gd name="connsiteY12308" fmla="*/ 4813956 h 5973007"/>
              <a:gd name="connsiteX12309" fmla="*/ 1172836 w 6884782"/>
              <a:gd name="connsiteY12309" fmla="*/ 4813543 h 5973007"/>
              <a:gd name="connsiteX12310" fmla="*/ 1172991 w 6884782"/>
              <a:gd name="connsiteY12310" fmla="*/ 4813233 h 5973007"/>
              <a:gd name="connsiteX12311" fmla="*/ 1172371 w 6884782"/>
              <a:gd name="connsiteY12311" fmla="*/ 4806315 h 5973007"/>
              <a:gd name="connsiteX12312" fmla="*/ 1173455 w 6884782"/>
              <a:gd name="connsiteY12312" fmla="*/ 4799810 h 5973007"/>
              <a:gd name="connsiteX12313" fmla="*/ 1172526 w 6884782"/>
              <a:gd name="connsiteY12313" fmla="*/ 4799603 h 5973007"/>
              <a:gd name="connsiteX12314" fmla="*/ 1160289 w 6884782"/>
              <a:gd name="connsiteY12314" fmla="*/ 4798983 h 5973007"/>
              <a:gd name="connsiteX12315" fmla="*/ 1161993 w 6884782"/>
              <a:gd name="connsiteY12315" fmla="*/ 4790310 h 5973007"/>
              <a:gd name="connsiteX12316" fmla="*/ 1173765 w 6884782"/>
              <a:gd name="connsiteY12316" fmla="*/ 4784528 h 5973007"/>
              <a:gd name="connsiteX12317" fmla="*/ 1174076 w 6884782"/>
              <a:gd name="connsiteY12317" fmla="*/ 4784631 h 5973007"/>
              <a:gd name="connsiteX12318" fmla="*/ 1179031 w 6884782"/>
              <a:gd name="connsiteY12318" fmla="*/ 4784631 h 5973007"/>
              <a:gd name="connsiteX12319" fmla="*/ 1179806 w 6884782"/>
              <a:gd name="connsiteY12319" fmla="*/ 4786283 h 5973007"/>
              <a:gd name="connsiteX12320" fmla="*/ 1182749 w 6884782"/>
              <a:gd name="connsiteY12320" fmla="*/ 4785457 h 5973007"/>
              <a:gd name="connsiteX12321" fmla="*/ 1184608 w 6884782"/>
              <a:gd name="connsiteY12321" fmla="*/ 4791859 h 5973007"/>
              <a:gd name="connsiteX12322" fmla="*/ 1194831 w 6884782"/>
              <a:gd name="connsiteY12322" fmla="*/ 4786903 h 5973007"/>
              <a:gd name="connsiteX12323" fmla="*/ 1197154 w 6884782"/>
              <a:gd name="connsiteY12323" fmla="*/ 4787625 h 5973007"/>
              <a:gd name="connsiteX12324" fmla="*/ 1198394 w 6884782"/>
              <a:gd name="connsiteY12324" fmla="*/ 4787625 h 5973007"/>
              <a:gd name="connsiteX12325" fmla="*/ 1190184 w 6884782"/>
              <a:gd name="connsiteY12325" fmla="*/ 4784734 h 5973007"/>
              <a:gd name="connsiteX12326" fmla="*/ 1184298 w 6884782"/>
              <a:gd name="connsiteY12326" fmla="*/ 4778333 h 5973007"/>
              <a:gd name="connsiteX12327" fmla="*/ 1183833 w 6884782"/>
              <a:gd name="connsiteY12327" fmla="*/ 4766148 h 5973007"/>
              <a:gd name="connsiteX12328" fmla="*/ 1183678 w 6884782"/>
              <a:gd name="connsiteY12328" fmla="*/ 4765735 h 5973007"/>
              <a:gd name="connsiteX12329" fmla="*/ 1183369 w 6884782"/>
              <a:gd name="connsiteY12329" fmla="*/ 4765942 h 5973007"/>
              <a:gd name="connsiteX12330" fmla="*/ 1183059 w 6884782"/>
              <a:gd name="connsiteY12330" fmla="*/ 4765425 h 5973007"/>
              <a:gd name="connsiteX12331" fmla="*/ 1182285 w 6884782"/>
              <a:gd name="connsiteY12331" fmla="*/ 4764599 h 5973007"/>
              <a:gd name="connsiteX12332" fmla="*/ 1182130 w 6884782"/>
              <a:gd name="connsiteY12332" fmla="*/ 4764186 h 5973007"/>
              <a:gd name="connsiteX12333" fmla="*/ 1182595 w 6884782"/>
              <a:gd name="connsiteY12333" fmla="*/ 4763153 h 5973007"/>
              <a:gd name="connsiteX12334" fmla="*/ 1182130 w 6884782"/>
              <a:gd name="connsiteY12334" fmla="*/ 4761811 h 5973007"/>
              <a:gd name="connsiteX12335" fmla="*/ 1180736 w 6884782"/>
              <a:gd name="connsiteY12335" fmla="*/ 4757165 h 5973007"/>
              <a:gd name="connsiteX12336" fmla="*/ 1185847 w 6884782"/>
              <a:gd name="connsiteY12336" fmla="*/ 4745807 h 5973007"/>
              <a:gd name="connsiteX12337" fmla="*/ 1188016 w 6884782"/>
              <a:gd name="connsiteY12337" fmla="*/ 4742503 h 5973007"/>
              <a:gd name="connsiteX12338" fmla="*/ 1189565 w 6884782"/>
              <a:gd name="connsiteY12338" fmla="*/ 4739508 h 5973007"/>
              <a:gd name="connsiteX12339" fmla="*/ 1189720 w 6884782"/>
              <a:gd name="connsiteY12339" fmla="*/ 4739198 h 5973007"/>
              <a:gd name="connsiteX12340" fmla="*/ 1190804 w 6884782"/>
              <a:gd name="connsiteY12340" fmla="*/ 4732074 h 5973007"/>
              <a:gd name="connsiteX12341" fmla="*/ 1194986 w 6884782"/>
              <a:gd name="connsiteY12341" fmla="*/ 4726188 h 5973007"/>
              <a:gd name="connsiteX12342" fmla="*/ 1202111 w 6884782"/>
              <a:gd name="connsiteY12342" fmla="*/ 4724123 h 5973007"/>
              <a:gd name="connsiteX12343" fmla="*/ 1204590 w 6884782"/>
              <a:gd name="connsiteY12343" fmla="*/ 4725362 h 5973007"/>
              <a:gd name="connsiteX12344" fmla="*/ 1214348 w 6884782"/>
              <a:gd name="connsiteY12344" fmla="*/ 4721335 h 5973007"/>
              <a:gd name="connsiteX12345" fmla="*/ 1214658 w 6884782"/>
              <a:gd name="connsiteY12345" fmla="*/ 4721335 h 5973007"/>
              <a:gd name="connsiteX12346" fmla="*/ 1215897 w 6884782"/>
              <a:gd name="connsiteY12346" fmla="*/ 4720302 h 5973007"/>
              <a:gd name="connsiteX12347" fmla="*/ 1215277 w 6884782"/>
              <a:gd name="connsiteY12347" fmla="*/ 4718650 h 5973007"/>
              <a:gd name="connsiteX12348" fmla="*/ 1207687 w 6884782"/>
              <a:gd name="connsiteY12348" fmla="*/ 4710700 h 5973007"/>
              <a:gd name="connsiteX12349" fmla="*/ 1213109 w 6884782"/>
              <a:gd name="connsiteY12349" fmla="*/ 4710493 h 5973007"/>
              <a:gd name="connsiteX12350" fmla="*/ 1212489 w 6884782"/>
              <a:gd name="connsiteY12350" fmla="*/ 4709357 h 5973007"/>
              <a:gd name="connsiteX12351" fmla="*/ 1211250 w 6884782"/>
              <a:gd name="connsiteY12351" fmla="*/ 4701097 h 5973007"/>
              <a:gd name="connsiteX12352" fmla="*/ 1211250 w 6884782"/>
              <a:gd name="connsiteY12352" fmla="*/ 4696244 h 5973007"/>
              <a:gd name="connsiteX12353" fmla="*/ 1209546 w 6884782"/>
              <a:gd name="connsiteY12353" fmla="*/ 4697586 h 5973007"/>
              <a:gd name="connsiteX12354" fmla="*/ 1202576 w 6884782"/>
              <a:gd name="connsiteY12354" fmla="*/ 4699238 h 5973007"/>
              <a:gd name="connsiteX12355" fmla="*/ 1202266 w 6884782"/>
              <a:gd name="connsiteY12355" fmla="*/ 4691287 h 5973007"/>
              <a:gd name="connsiteX12356" fmla="*/ 1206138 w 6884782"/>
              <a:gd name="connsiteY12356" fmla="*/ 4688396 h 5973007"/>
              <a:gd name="connsiteX12357" fmla="*/ 1209546 w 6884782"/>
              <a:gd name="connsiteY12357" fmla="*/ 4688706 h 5973007"/>
              <a:gd name="connsiteX12358" fmla="*/ 1211250 w 6884782"/>
              <a:gd name="connsiteY12358" fmla="*/ 4688706 h 5973007"/>
              <a:gd name="connsiteX12359" fmla="*/ 1846325 w 6884782"/>
              <a:gd name="connsiteY12359" fmla="*/ 4674353 h 5973007"/>
              <a:gd name="connsiteX12360" fmla="*/ 1848029 w 6884782"/>
              <a:gd name="connsiteY12360" fmla="*/ 4674353 h 5973007"/>
              <a:gd name="connsiteX12361" fmla="*/ 1850197 w 6884782"/>
              <a:gd name="connsiteY12361" fmla="*/ 4675076 h 5973007"/>
              <a:gd name="connsiteX12362" fmla="*/ 1851746 w 6884782"/>
              <a:gd name="connsiteY12362" fmla="*/ 4674353 h 5973007"/>
              <a:gd name="connsiteX12363" fmla="*/ 1857013 w 6884782"/>
              <a:gd name="connsiteY12363" fmla="*/ 4678174 h 5973007"/>
              <a:gd name="connsiteX12364" fmla="*/ 1852985 w 6884782"/>
              <a:gd name="connsiteY12364" fmla="*/ 4677348 h 5973007"/>
              <a:gd name="connsiteX12365" fmla="*/ 1850817 w 6884782"/>
              <a:gd name="connsiteY12365" fmla="*/ 4676625 h 5973007"/>
              <a:gd name="connsiteX12366" fmla="*/ 1848958 w 6884782"/>
              <a:gd name="connsiteY12366" fmla="*/ 4676625 h 5973007"/>
              <a:gd name="connsiteX12367" fmla="*/ 1846325 w 6884782"/>
              <a:gd name="connsiteY12367" fmla="*/ 4674353 h 5973007"/>
              <a:gd name="connsiteX12368" fmla="*/ 6652128 w 6884782"/>
              <a:gd name="connsiteY12368" fmla="*/ 4674062 h 5973007"/>
              <a:gd name="connsiteX12369" fmla="*/ 6652902 w 6884782"/>
              <a:gd name="connsiteY12369" fmla="*/ 4674474 h 5973007"/>
              <a:gd name="connsiteX12370" fmla="*/ 6651043 w 6884782"/>
              <a:gd name="connsiteY12370" fmla="*/ 4683354 h 5973007"/>
              <a:gd name="connsiteX12371" fmla="*/ 6649339 w 6884782"/>
              <a:gd name="connsiteY12371" fmla="*/ 4686039 h 5973007"/>
              <a:gd name="connsiteX12372" fmla="*/ 6649804 w 6884782"/>
              <a:gd name="connsiteY12372" fmla="*/ 4685213 h 5973007"/>
              <a:gd name="connsiteX12373" fmla="*/ 6648720 w 6884782"/>
              <a:gd name="connsiteY12373" fmla="*/ 4685626 h 5973007"/>
              <a:gd name="connsiteX12374" fmla="*/ 6652128 w 6884782"/>
              <a:gd name="connsiteY12374" fmla="*/ 4674062 h 5973007"/>
              <a:gd name="connsiteX12375" fmla="*/ 1694063 w 6884782"/>
              <a:gd name="connsiteY12375" fmla="*/ 4674044 h 5973007"/>
              <a:gd name="connsiteX12376" fmla="*/ 1693597 w 6884782"/>
              <a:gd name="connsiteY12376" fmla="*/ 4675282 h 5973007"/>
              <a:gd name="connsiteX12377" fmla="*/ 1681670 w 6884782"/>
              <a:gd name="connsiteY12377" fmla="*/ 4679723 h 5973007"/>
              <a:gd name="connsiteX12378" fmla="*/ 1686317 w 6884782"/>
              <a:gd name="connsiteY12378" fmla="*/ 4675799 h 5973007"/>
              <a:gd name="connsiteX12379" fmla="*/ 1694063 w 6884782"/>
              <a:gd name="connsiteY12379" fmla="*/ 4674044 h 5973007"/>
              <a:gd name="connsiteX12380" fmla="*/ 1504779 w 6884782"/>
              <a:gd name="connsiteY12380" fmla="*/ 4673527 h 5973007"/>
              <a:gd name="connsiteX12381" fmla="*/ 1509735 w 6884782"/>
              <a:gd name="connsiteY12381" fmla="*/ 4681375 h 5973007"/>
              <a:gd name="connsiteX12382" fmla="*/ 1505243 w 6884782"/>
              <a:gd name="connsiteY12382" fmla="*/ 4681478 h 5973007"/>
              <a:gd name="connsiteX12383" fmla="*/ 1496724 w 6884782"/>
              <a:gd name="connsiteY12383" fmla="*/ 4673837 h 5973007"/>
              <a:gd name="connsiteX12384" fmla="*/ 1504779 w 6884782"/>
              <a:gd name="connsiteY12384" fmla="*/ 4673527 h 5973007"/>
              <a:gd name="connsiteX12385" fmla="*/ 1138449 w 6884782"/>
              <a:gd name="connsiteY12385" fmla="*/ 4672495 h 5973007"/>
              <a:gd name="connsiteX12386" fmla="*/ 1139533 w 6884782"/>
              <a:gd name="connsiteY12386" fmla="*/ 4674147 h 5973007"/>
              <a:gd name="connsiteX12387" fmla="*/ 1141082 w 6884782"/>
              <a:gd name="connsiteY12387" fmla="*/ 4678483 h 5973007"/>
              <a:gd name="connsiteX12388" fmla="*/ 1138604 w 6884782"/>
              <a:gd name="connsiteY12388" fmla="*/ 4680239 h 5973007"/>
              <a:gd name="connsiteX12389" fmla="*/ 1135041 w 6884782"/>
              <a:gd name="connsiteY12389" fmla="*/ 4678793 h 5973007"/>
              <a:gd name="connsiteX12390" fmla="*/ 1130859 w 6884782"/>
              <a:gd name="connsiteY12390" fmla="*/ 4672908 h 5973007"/>
              <a:gd name="connsiteX12391" fmla="*/ 1138449 w 6884782"/>
              <a:gd name="connsiteY12391" fmla="*/ 4672495 h 5973007"/>
              <a:gd name="connsiteX12392" fmla="*/ 6092952 w 6884782"/>
              <a:gd name="connsiteY12392" fmla="*/ 4671893 h 5973007"/>
              <a:gd name="connsiteX12393" fmla="*/ 6095431 w 6884782"/>
              <a:gd name="connsiteY12393" fmla="*/ 4674784 h 5973007"/>
              <a:gd name="connsiteX12394" fmla="*/ 6088615 w 6884782"/>
              <a:gd name="connsiteY12394" fmla="*/ 4682012 h 5973007"/>
              <a:gd name="connsiteX12395" fmla="*/ 6084898 w 6884782"/>
              <a:gd name="connsiteY12395" fmla="*/ 4677675 h 5973007"/>
              <a:gd name="connsiteX12396" fmla="*/ 6092952 w 6884782"/>
              <a:gd name="connsiteY12396" fmla="*/ 4671893 h 5973007"/>
              <a:gd name="connsiteX12397" fmla="*/ 827262 w 6884782"/>
              <a:gd name="connsiteY12397" fmla="*/ 4671875 h 5973007"/>
              <a:gd name="connsiteX12398" fmla="*/ 831599 w 6884782"/>
              <a:gd name="connsiteY12398" fmla="*/ 4674560 h 5973007"/>
              <a:gd name="connsiteX12399" fmla="*/ 832219 w 6884782"/>
              <a:gd name="connsiteY12399" fmla="*/ 4677038 h 5973007"/>
              <a:gd name="connsiteX12400" fmla="*/ 837021 w 6884782"/>
              <a:gd name="connsiteY12400" fmla="*/ 4678897 h 5973007"/>
              <a:gd name="connsiteX12401" fmla="*/ 839344 w 6884782"/>
              <a:gd name="connsiteY12401" fmla="*/ 4683956 h 5973007"/>
              <a:gd name="connsiteX12402" fmla="*/ 837021 w 6884782"/>
              <a:gd name="connsiteY12402" fmla="*/ 4684989 h 5973007"/>
              <a:gd name="connsiteX12403" fmla="*/ 832065 w 6884782"/>
              <a:gd name="connsiteY12403" fmla="*/ 4682820 h 5973007"/>
              <a:gd name="connsiteX12404" fmla="*/ 831290 w 6884782"/>
              <a:gd name="connsiteY12404" fmla="*/ 4684989 h 5973007"/>
              <a:gd name="connsiteX12405" fmla="*/ 828191 w 6884782"/>
              <a:gd name="connsiteY12405" fmla="*/ 4687157 h 5973007"/>
              <a:gd name="connsiteX12406" fmla="*/ 826953 w 6884782"/>
              <a:gd name="connsiteY12406" fmla="*/ 4687157 h 5973007"/>
              <a:gd name="connsiteX12407" fmla="*/ 827108 w 6884782"/>
              <a:gd name="connsiteY12407" fmla="*/ 4688190 h 5973007"/>
              <a:gd name="connsiteX12408" fmla="*/ 824629 w 6884782"/>
              <a:gd name="connsiteY12408" fmla="*/ 4689429 h 5973007"/>
              <a:gd name="connsiteX12409" fmla="*/ 823545 w 6884782"/>
              <a:gd name="connsiteY12409" fmla="*/ 4691081 h 5973007"/>
              <a:gd name="connsiteX12410" fmla="*/ 820912 w 6884782"/>
              <a:gd name="connsiteY12410" fmla="*/ 4691494 h 5973007"/>
              <a:gd name="connsiteX12411" fmla="*/ 819517 w 6884782"/>
              <a:gd name="connsiteY12411" fmla="*/ 4689325 h 5973007"/>
              <a:gd name="connsiteX12412" fmla="*/ 819363 w 6884782"/>
              <a:gd name="connsiteY12412" fmla="*/ 4688912 h 5973007"/>
              <a:gd name="connsiteX12413" fmla="*/ 817969 w 6884782"/>
              <a:gd name="connsiteY12413" fmla="*/ 4689532 h 5973007"/>
              <a:gd name="connsiteX12414" fmla="*/ 817039 w 6884782"/>
              <a:gd name="connsiteY12414" fmla="*/ 4687777 h 5973007"/>
              <a:gd name="connsiteX12415" fmla="*/ 818743 w 6884782"/>
              <a:gd name="connsiteY12415" fmla="*/ 4686434 h 5973007"/>
              <a:gd name="connsiteX12416" fmla="*/ 818434 w 6884782"/>
              <a:gd name="connsiteY12416" fmla="*/ 4685711 h 5973007"/>
              <a:gd name="connsiteX12417" fmla="*/ 818743 w 6884782"/>
              <a:gd name="connsiteY12417" fmla="*/ 4682924 h 5973007"/>
              <a:gd name="connsiteX12418" fmla="*/ 818434 w 6884782"/>
              <a:gd name="connsiteY12418" fmla="*/ 4682717 h 5973007"/>
              <a:gd name="connsiteX12419" fmla="*/ 818123 w 6884782"/>
              <a:gd name="connsiteY12419" fmla="*/ 4674044 h 5973007"/>
              <a:gd name="connsiteX12420" fmla="*/ 827262 w 6884782"/>
              <a:gd name="connsiteY12420" fmla="*/ 4671875 h 5973007"/>
              <a:gd name="connsiteX12421" fmla="*/ 1360880 w 6884782"/>
              <a:gd name="connsiteY12421" fmla="*/ 4671669 h 5973007"/>
              <a:gd name="connsiteX12422" fmla="*/ 1364598 w 6884782"/>
              <a:gd name="connsiteY12422" fmla="*/ 4673527 h 5973007"/>
              <a:gd name="connsiteX12423" fmla="*/ 1365062 w 6884782"/>
              <a:gd name="connsiteY12423" fmla="*/ 4675076 h 5973007"/>
              <a:gd name="connsiteX12424" fmla="*/ 1368315 w 6884782"/>
              <a:gd name="connsiteY12424" fmla="*/ 4677967 h 5973007"/>
              <a:gd name="connsiteX12425" fmla="*/ 1370019 w 6884782"/>
              <a:gd name="connsiteY12425" fmla="*/ 4678483 h 5973007"/>
              <a:gd name="connsiteX12426" fmla="*/ 1369709 w 6884782"/>
              <a:gd name="connsiteY12426" fmla="*/ 4679206 h 5973007"/>
              <a:gd name="connsiteX12427" fmla="*/ 1370638 w 6884782"/>
              <a:gd name="connsiteY12427" fmla="*/ 4680136 h 5973007"/>
              <a:gd name="connsiteX12428" fmla="*/ 1373117 w 6884782"/>
              <a:gd name="connsiteY12428" fmla="*/ 4684473 h 5973007"/>
              <a:gd name="connsiteX12429" fmla="*/ 1375905 w 6884782"/>
              <a:gd name="connsiteY12429" fmla="*/ 4683749 h 5973007"/>
              <a:gd name="connsiteX12430" fmla="*/ 1377454 w 6884782"/>
              <a:gd name="connsiteY12430" fmla="*/ 4684679 h 5973007"/>
              <a:gd name="connsiteX12431" fmla="*/ 1376680 w 6884782"/>
              <a:gd name="connsiteY12431" fmla="*/ 4687054 h 5973007"/>
              <a:gd name="connsiteX12432" fmla="*/ 1375130 w 6884782"/>
              <a:gd name="connsiteY12432" fmla="*/ 4688500 h 5973007"/>
              <a:gd name="connsiteX12433" fmla="*/ 1376680 w 6884782"/>
              <a:gd name="connsiteY12433" fmla="*/ 4693766 h 5973007"/>
              <a:gd name="connsiteX12434" fmla="*/ 1366301 w 6884782"/>
              <a:gd name="connsiteY12434" fmla="*/ 4685815 h 5973007"/>
              <a:gd name="connsiteX12435" fmla="*/ 1362739 w 6884782"/>
              <a:gd name="connsiteY12435" fmla="*/ 4681994 h 5973007"/>
              <a:gd name="connsiteX12436" fmla="*/ 1360880 w 6884782"/>
              <a:gd name="connsiteY12436" fmla="*/ 4683234 h 5973007"/>
              <a:gd name="connsiteX12437" fmla="*/ 1359331 w 6884782"/>
              <a:gd name="connsiteY12437" fmla="*/ 4682201 h 5973007"/>
              <a:gd name="connsiteX12438" fmla="*/ 1357937 w 6884782"/>
              <a:gd name="connsiteY12438" fmla="*/ 4680652 h 5973007"/>
              <a:gd name="connsiteX12439" fmla="*/ 1357163 w 6884782"/>
              <a:gd name="connsiteY12439" fmla="*/ 4678690 h 5973007"/>
              <a:gd name="connsiteX12440" fmla="*/ 1357163 w 6884782"/>
              <a:gd name="connsiteY12440" fmla="*/ 4675902 h 5973007"/>
              <a:gd name="connsiteX12441" fmla="*/ 1359331 w 6884782"/>
              <a:gd name="connsiteY12441" fmla="*/ 4672495 h 5973007"/>
              <a:gd name="connsiteX12442" fmla="*/ 1360880 w 6884782"/>
              <a:gd name="connsiteY12442" fmla="*/ 4671669 h 5973007"/>
              <a:gd name="connsiteX12443" fmla="*/ 1746882 w 6884782"/>
              <a:gd name="connsiteY12443" fmla="*/ 4671256 h 5973007"/>
              <a:gd name="connsiteX12444" fmla="*/ 1753232 w 6884782"/>
              <a:gd name="connsiteY12444" fmla="*/ 4675592 h 5973007"/>
              <a:gd name="connsiteX12445" fmla="*/ 1747191 w 6884782"/>
              <a:gd name="connsiteY12445" fmla="*/ 4672805 h 5973007"/>
              <a:gd name="connsiteX12446" fmla="*/ 1746882 w 6884782"/>
              <a:gd name="connsiteY12446" fmla="*/ 4671256 h 5973007"/>
              <a:gd name="connsiteX12447" fmla="*/ 900064 w 6884782"/>
              <a:gd name="connsiteY12447" fmla="*/ 4670739 h 5973007"/>
              <a:gd name="connsiteX12448" fmla="*/ 900218 w 6884782"/>
              <a:gd name="connsiteY12448" fmla="*/ 4674250 h 5973007"/>
              <a:gd name="connsiteX12449" fmla="*/ 894023 w 6884782"/>
              <a:gd name="connsiteY12449" fmla="*/ 4677967 h 5973007"/>
              <a:gd name="connsiteX12450" fmla="*/ 892009 w 6884782"/>
              <a:gd name="connsiteY12450" fmla="*/ 4677348 h 5973007"/>
              <a:gd name="connsiteX12451" fmla="*/ 892628 w 6884782"/>
              <a:gd name="connsiteY12451" fmla="*/ 4673011 h 5973007"/>
              <a:gd name="connsiteX12452" fmla="*/ 900064 w 6884782"/>
              <a:gd name="connsiteY12452" fmla="*/ 4670739 h 5973007"/>
              <a:gd name="connsiteX12453" fmla="*/ 703249 w 6884782"/>
              <a:gd name="connsiteY12453" fmla="*/ 4670417 h 5973007"/>
              <a:gd name="connsiteX12454" fmla="*/ 708612 w 6884782"/>
              <a:gd name="connsiteY12454" fmla="*/ 4675282 h 5973007"/>
              <a:gd name="connsiteX12455" fmla="*/ 705824 w 6884782"/>
              <a:gd name="connsiteY12455" fmla="*/ 4682304 h 5973007"/>
              <a:gd name="connsiteX12456" fmla="*/ 700247 w 6884782"/>
              <a:gd name="connsiteY12456" fmla="*/ 4684163 h 5973007"/>
              <a:gd name="connsiteX12457" fmla="*/ 695755 w 6884782"/>
              <a:gd name="connsiteY12457" fmla="*/ 4681684 h 5973007"/>
              <a:gd name="connsiteX12458" fmla="*/ 694361 w 6884782"/>
              <a:gd name="connsiteY12458" fmla="*/ 4678071 h 5973007"/>
              <a:gd name="connsiteX12459" fmla="*/ 694361 w 6884782"/>
              <a:gd name="connsiteY12459" fmla="*/ 4677864 h 5973007"/>
              <a:gd name="connsiteX12460" fmla="*/ 693277 w 6884782"/>
              <a:gd name="connsiteY12460" fmla="*/ 4678690 h 5973007"/>
              <a:gd name="connsiteX12461" fmla="*/ 691573 w 6884782"/>
              <a:gd name="connsiteY12461" fmla="*/ 4678587 h 5973007"/>
              <a:gd name="connsiteX12462" fmla="*/ 690489 w 6884782"/>
              <a:gd name="connsiteY12462" fmla="*/ 4676935 h 5973007"/>
              <a:gd name="connsiteX12463" fmla="*/ 690024 w 6884782"/>
              <a:gd name="connsiteY12463" fmla="*/ 4673424 h 5973007"/>
              <a:gd name="connsiteX12464" fmla="*/ 691418 w 6884782"/>
              <a:gd name="connsiteY12464" fmla="*/ 4671566 h 5973007"/>
              <a:gd name="connsiteX12465" fmla="*/ 693122 w 6884782"/>
              <a:gd name="connsiteY12465" fmla="*/ 4672391 h 5973007"/>
              <a:gd name="connsiteX12466" fmla="*/ 694826 w 6884782"/>
              <a:gd name="connsiteY12466" fmla="*/ 4672288 h 5973007"/>
              <a:gd name="connsiteX12467" fmla="*/ 694981 w 6884782"/>
              <a:gd name="connsiteY12467" fmla="*/ 4673114 h 5973007"/>
              <a:gd name="connsiteX12468" fmla="*/ 694826 w 6884782"/>
              <a:gd name="connsiteY12468" fmla="*/ 4673217 h 5973007"/>
              <a:gd name="connsiteX12469" fmla="*/ 695445 w 6884782"/>
              <a:gd name="connsiteY12469" fmla="*/ 4673734 h 5973007"/>
              <a:gd name="connsiteX12470" fmla="*/ 695910 w 6884782"/>
              <a:gd name="connsiteY12470" fmla="*/ 4671359 h 5973007"/>
              <a:gd name="connsiteX12471" fmla="*/ 703249 w 6884782"/>
              <a:gd name="connsiteY12471" fmla="*/ 4670417 h 5973007"/>
              <a:gd name="connsiteX12472" fmla="*/ 1116918 w 6884782"/>
              <a:gd name="connsiteY12472" fmla="*/ 4670326 h 5973007"/>
              <a:gd name="connsiteX12473" fmla="*/ 1122649 w 6884782"/>
              <a:gd name="connsiteY12473" fmla="*/ 4676109 h 5973007"/>
              <a:gd name="connsiteX12474" fmla="*/ 1118777 w 6884782"/>
              <a:gd name="connsiteY12474" fmla="*/ 4681891 h 5973007"/>
              <a:gd name="connsiteX12475" fmla="*/ 1117074 w 6884782"/>
              <a:gd name="connsiteY12475" fmla="*/ 4680858 h 5973007"/>
              <a:gd name="connsiteX12476" fmla="*/ 1115369 w 6884782"/>
              <a:gd name="connsiteY12476" fmla="*/ 4679310 h 5973007"/>
              <a:gd name="connsiteX12477" fmla="*/ 1113820 w 6884782"/>
              <a:gd name="connsiteY12477" fmla="*/ 4674457 h 5973007"/>
              <a:gd name="connsiteX12478" fmla="*/ 1115524 w 6884782"/>
              <a:gd name="connsiteY12478" fmla="*/ 4671152 h 5973007"/>
              <a:gd name="connsiteX12479" fmla="*/ 1116918 w 6884782"/>
              <a:gd name="connsiteY12479" fmla="*/ 4670326 h 5973007"/>
              <a:gd name="connsiteX12480" fmla="*/ 1648833 w 6884782"/>
              <a:gd name="connsiteY12480" fmla="*/ 4669810 h 5973007"/>
              <a:gd name="connsiteX12481" fmla="*/ 1659365 w 6884782"/>
              <a:gd name="connsiteY12481" fmla="*/ 4680858 h 5973007"/>
              <a:gd name="connsiteX12482" fmla="*/ 1658590 w 6884782"/>
              <a:gd name="connsiteY12482" fmla="*/ 4681272 h 5973007"/>
              <a:gd name="connsiteX12483" fmla="*/ 1662463 w 6884782"/>
              <a:gd name="connsiteY12483" fmla="*/ 4684885 h 5973007"/>
              <a:gd name="connsiteX12484" fmla="*/ 1652240 w 6884782"/>
              <a:gd name="connsiteY12484" fmla="*/ 4692940 h 5973007"/>
              <a:gd name="connsiteX12485" fmla="*/ 1650381 w 6884782"/>
              <a:gd name="connsiteY12485" fmla="*/ 4693456 h 5973007"/>
              <a:gd name="connsiteX12486" fmla="*/ 1650846 w 6884782"/>
              <a:gd name="connsiteY12486" fmla="*/ 4694178 h 5973007"/>
              <a:gd name="connsiteX12487" fmla="*/ 1649607 w 6884782"/>
              <a:gd name="connsiteY12487" fmla="*/ 4693869 h 5973007"/>
              <a:gd name="connsiteX12488" fmla="*/ 1649452 w 6884782"/>
              <a:gd name="connsiteY12488" fmla="*/ 4693972 h 5973007"/>
              <a:gd name="connsiteX12489" fmla="*/ 1648677 w 6884782"/>
              <a:gd name="connsiteY12489" fmla="*/ 4694385 h 5973007"/>
              <a:gd name="connsiteX12490" fmla="*/ 1645270 w 6884782"/>
              <a:gd name="connsiteY12490" fmla="*/ 4694178 h 5973007"/>
              <a:gd name="connsiteX12491" fmla="*/ 1644495 w 6884782"/>
              <a:gd name="connsiteY12491" fmla="*/ 4692113 h 5973007"/>
              <a:gd name="connsiteX12492" fmla="*/ 1647128 w 6884782"/>
              <a:gd name="connsiteY12492" fmla="*/ 4687467 h 5973007"/>
              <a:gd name="connsiteX12493" fmla="*/ 1640932 w 6884782"/>
              <a:gd name="connsiteY12493" fmla="*/ 4673631 h 5973007"/>
              <a:gd name="connsiteX12494" fmla="*/ 1648833 w 6884782"/>
              <a:gd name="connsiteY12494" fmla="*/ 4669810 h 5973007"/>
              <a:gd name="connsiteX12495" fmla="*/ 5996607 w 6884782"/>
              <a:gd name="connsiteY12495" fmla="*/ 4669415 h 5973007"/>
              <a:gd name="connsiteX12496" fmla="*/ 5997071 w 6884782"/>
              <a:gd name="connsiteY12496" fmla="*/ 4672926 h 5973007"/>
              <a:gd name="connsiteX12497" fmla="*/ 5991340 w 6884782"/>
              <a:gd name="connsiteY12497" fmla="*/ 4677366 h 5973007"/>
              <a:gd name="connsiteX12498" fmla="*/ 5989327 w 6884782"/>
              <a:gd name="connsiteY12498" fmla="*/ 4676953 h 5973007"/>
              <a:gd name="connsiteX12499" fmla="*/ 5989481 w 6884782"/>
              <a:gd name="connsiteY12499" fmla="*/ 4672512 h 5973007"/>
              <a:gd name="connsiteX12500" fmla="*/ 5996607 w 6884782"/>
              <a:gd name="connsiteY12500" fmla="*/ 4669415 h 5973007"/>
              <a:gd name="connsiteX12501" fmla="*/ 5906612 w 6884782"/>
              <a:gd name="connsiteY12501" fmla="*/ 4668899 h 5973007"/>
              <a:gd name="connsiteX12502" fmla="*/ 5912498 w 6884782"/>
              <a:gd name="connsiteY12502" fmla="*/ 4673648 h 5973007"/>
              <a:gd name="connsiteX12503" fmla="*/ 5912033 w 6884782"/>
              <a:gd name="connsiteY12503" fmla="*/ 4678811 h 5973007"/>
              <a:gd name="connsiteX12504" fmla="*/ 5906302 w 6884782"/>
              <a:gd name="connsiteY12504" fmla="*/ 4684697 h 5973007"/>
              <a:gd name="connsiteX12505" fmla="*/ 5903359 w 6884782"/>
              <a:gd name="connsiteY12505" fmla="*/ 4681806 h 5973007"/>
              <a:gd name="connsiteX12506" fmla="*/ 5906612 w 6884782"/>
              <a:gd name="connsiteY12506" fmla="*/ 4668899 h 5973007"/>
              <a:gd name="connsiteX12507" fmla="*/ 1462182 w 6884782"/>
              <a:gd name="connsiteY12507" fmla="*/ 4668777 h 5973007"/>
              <a:gd name="connsiteX12508" fmla="*/ 1466984 w 6884782"/>
              <a:gd name="connsiteY12508" fmla="*/ 4673011 h 5973007"/>
              <a:gd name="connsiteX12509" fmla="*/ 1463576 w 6884782"/>
              <a:gd name="connsiteY12509" fmla="*/ 4675282 h 5973007"/>
              <a:gd name="connsiteX12510" fmla="*/ 1459239 w 6884782"/>
              <a:gd name="connsiteY12510" fmla="*/ 4672908 h 5973007"/>
              <a:gd name="connsiteX12511" fmla="*/ 1455986 w 6884782"/>
              <a:gd name="connsiteY12511" fmla="*/ 4671772 h 5973007"/>
              <a:gd name="connsiteX12512" fmla="*/ 1454902 w 6884782"/>
              <a:gd name="connsiteY12512" fmla="*/ 4669294 h 5973007"/>
              <a:gd name="connsiteX12513" fmla="*/ 1462182 w 6884782"/>
              <a:gd name="connsiteY12513" fmla="*/ 4668777 h 5973007"/>
              <a:gd name="connsiteX12514" fmla="*/ 6301288 w 6884782"/>
              <a:gd name="connsiteY12514" fmla="*/ 4668692 h 5973007"/>
              <a:gd name="connsiteX12515" fmla="*/ 6309187 w 6884782"/>
              <a:gd name="connsiteY12515" fmla="*/ 4671583 h 5973007"/>
              <a:gd name="connsiteX12516" fmla="*/ 6297261 w 6884782"/>
              <a:gd name="connsiteY12516" fmla="*/ 4689034 h 5973007"/>
              <a:gd name="connsiteX12517" fmla="*/ 6294937 w 6884782"/>
              <a:gd name="connsiteY12517" fmla="*/ 4684180 h 5973007"/>
              <a:gd name="connsiteX12518" fmla="*/ 6296641 w 6884782"/>
              <a:gd name="connsiteY12518" fmla="*/ 4675610 h 5973007"/>
              <a:gd name="connsiteX12519" fmla="*/ 6297725 w 6884782"/>
              <a:gd name="connsiteY12519" fmla="*/ 4674062 h 5973007"/>
              <a:gd name="connsiteX12520" fmla="*/ 6297880 w 6884782"/>
              <a:gd name="connsiteY12520" fmla="*/ 4673442 h 5973007"/>
              <a:gd name="connsiteX12521" fmla="*/ 6298809 w 6884782"/>
              <a:gd name="connsiteY12521" fmla="*/ 4672512 h 5973007"/>
              <a:gd name="connsiteX12522" fmla="*/ 6237006 w 6884782"/>
              <a:gd name="connsiteY12522" fmla="*/ 4668589 h 5973007"/>
              <a:gd name="connsiteX12523" fmla="*/ 6236696 w 6884782"/>
              <a:gd name="connsiteY12523" fmla="*/ 4673029 h 5973007"/>
              <a:gd name="connsiteX12524" fmla="*/ 6233598 w 6884782"/>
              <a:gd name="connsiteY12524" fmla="*/ 4675094 h 5973007"/>
              <a:gd name="connsiteX12525" fmla="*/ 6229726 w 6884782"/>
              <a:gd name="connsiteY12525" fmla="*/ 4674681 h 5973007"/>
              <a:gd name="connsiteX12526" fmla="*/ 6230500 w 6884782"/>
              <a:gd name="connsiteY12526" fmla="*/ 4674681 h 5973007"/>
              <a:gd name="connsiteX12527" fmla="*/ 6230810 w 6884782"/>
              <a:gd name="connsiteY12527" fmla="*/ 4672926 h 5973007"/>
              <a:gd name="connsiteX12528" fmla="*/ 6229881 w 6884782"/>
              <a:gd name="connsiteY12528" fmla="*/ 4672822 h 5973007"/>
              <a:gd name="connsiteX12529" fmla="*/ 6230810 w 6884782"/>
              <a:gd name="connsiteY12529" fmla="*/ 4671170 h 5973007"/>
              <a:gd name="connsiteX12530" fmla="*/ 6237006 w 6884782"/>
              <a:gd name="connsiteY12530" fmla="*/ 4668589 h 5973007"/>
              <a:gd name="connsiteX12531" fmla="*/ 6785610 w 6884782"/>
              <a:gd name="connsiteY12531" fmla="*/ 4667879 h 5973007"/>
              <a:gd name="connsiteX12532" fmla="*/ 6792464 w 6884782"/>
              <a:gd name="connsiteY12532" fmla="*/ 4673235 h 5973007"/>
              <a:gd name="connsiteX12533" fmla="*/ 6782550 w 6884782"/>
              <a:gd name="connsiteY12533" fmla="*/ 4680050 h 5973007"/>
              <a:gd name="connsiteX12534" fmla="*/ 6778833 w 6884782"/>
              <a:gd name="connsiteY12534" fmla="*/ 4679740 h 5973007"/>
              <a:gd name="connsiteX12535" fmla="*/ 6776664 w 6884782"/>
              <a:gd name="connsiteY12535" fmla="*/ 4669725 h 5973007"/>
              <a:gd name="connsiteX12536" fmla="*/ 6785610 w 6884782"/>
              <a:gd name="connsiteY12536" fmla="*/ 4667879 h 5973007"/>
              <a:gd name="connsiteX12537" fmla="*/ 874970 w 6884782"/>
              <a:gd name="connsiteY12537" fmla="*/ 4667745 h 5973007"/>
              <a:gd name="connsiteX12538" fmla="*/ 876519 w 6884782"/>
              <a:gd name="connsiteY12538" fmla="*/ 4667745 h 5973007"/>
              <a:gd name="connsiteX12539" fmla="*/ 875745 w 6884782"/>
              <a:gd name="connsiteY12539" fmla="*/ 4668468 h 5973007"/>
              <a:gd name="connsiteX12540" fmla="*/ 874970 w 6884782"/>
              <a:gd name="connsiteY12540" fmla="*/ 4667745 h 5973007"/>
              <a:gd name="connsiteX12541" fmla="*/ 1802954 w 6884782"/>
              <a:gd name="connsiteY12541" fmla="*/ 4667538 h 5973007"/>
              <a:gd name="connsiteX12542" fmla="*/ 1804503 w 6884782"/>
              <a:gd name="connsiteY12542" fmla="*/ 4668365 h 5973007"/>
              <a:gd name="connsiteX12543" fmla="*/ 1804194 w 6884782"/>
              <a:gd name="connsiteY12543" fmla="*/ 4668674 h 5973007"/>
              <a:gd name="connsiteX12544" fmla="*/ 1802954 w 6884782"/>
              <a:gd name="connsiteY12544" fmla="*/ 4668365 h 5973007"/>
              <a:gd name="connsiteX12545" fmla="*/ 1802954 w 6884782"/>
              <a:gd name="connsiteY12545" fmla="*/ 4667538 h 5973007"/>
              <a:gd name="connsiteX12546" fmla="*/ 909202 w 6884782"/>
              <a:gd name="connsiteY12546" fmla="*/ 4667538 h 5973007"/>
              <a:gd name="connsiteX12547" fmla="*/ 909202 w 6884782"/>
              <a:gd name="connsiteY12547" fmla="*/ 4670326 h 5973007"/>
              <a:gd name="connsiteX12548" fmla="*/ 907653 w 6884782"/>
              <a:gd name="connsiteY12548" fmla="*/ 4671152 h 5973007"/>
              <a:gd name="connsiteX12549" fmla="*/ 907034 w 6884782"/>
              <a:gd name="connsiteY12549" fmla="*/ 4673734 h 5973007"/>
              <a:gd name="connsiteX12550" fmla="*/ 905330 w 6884782"/>
              <a:gd name="connsiteY12550" fmla="*/ 4673734 h 5973007"/>
              <a:gd name="connsiteX12551" fmla="*/ 906724 w 6884782"/>
              <a:gd name="connsiteY12551" fmla="*/ 4668365 h 5973007"/>
              <a:gd name="connsiteX12552" fmla="*/ 909202 w 6884782"/>
              <a:gd name="connsiteY12552" fmla="*/ 4667538 h 5973007"/>
              <a:gd name="connsiteX12553" fmla="*/ 1813952 w 6884782"/>
              <a:gd name="connsiteY12553" fmla="*/ 4667022 h 5973007"/>
              <a:gd name="connsiteX12554" fmla="*/ 1816120 w 6884782"/>
              <a:gd name="connsiteY12554" fmla="*/ 4667642 h 5973007"/>
              <a:gd name="connsiteX12555" fmla="*/ 1818134 w 6884782"/>
              <a:gd name="connsiteY12555" fmla="*/ 4667435 h 5973007"/>
              <a:gd name="connsiteX12556" fmla="*/ 1822626 w 6884782"/>
              <a:gd name="connsiteY12556" fmla="*/ 4670430 h 5973007"/>
              <a:gd name="connsiteX12557" fmla="*/ 1806052 w 6884782"/>
              <a:gd name="connsiteY12557" fmla="*/ 4674870 h 5973007"/>
              <a:gd name="connsiteX12558" fmla="*/ 1804194 w 6884782"/>
              <a:gd name="connsiteY12558" fmla="*/ 4674457 h 5973007"/>
              <a:gd name="connsiteX12559" fmla="*/ 1803729 w 6884782"/>
              <a:gd name="connsiteY12559" fmla="*/ 4672391 h 5973007"/>
              <a:gd name="connsiteX12560" fmla="*/ 1813952 w 6884782"/>
              <a:gd name="connsiteY12560" fmla="*/ 4667022 h 5973007"/>
              <a:gd name="connsiteX12561" fmla="*/ 1676869 w 6884782"/>
              <a:gd name="connsiteY12561" fmla="*/ 4667022 h 5973007"/>
              <a:gd name="connsiteX12562" fmla="*/ 1680741 w 6884782"/>
              <a:gd name="connsiteY12562" fmla="*/ 4668881 h 5973007"/>
              <a:gd name="connsiteX12563" fmla="*/ 1680121 w 6884782"/>
              <a:gd name="connsiteY12563" fmla="*/ 4671152 h 5973007"/>
              <a:gd name="connsiteX12564" fmla="*/ 1681670 w 6884782"/>
              <a:gd name="connsiteY12564" fmla="*/ 4670946 h 5973007"/>
              <a:gd name="connsiteX12565" fmla="*/ 1680276 w 6884782"/>
              <a:gd name="connsiteY12565" fmla="*/ 4675696 h 5973007"/>
              <a:gd name="connsiteX12566" fmla="*/ 1680276 w 6884782"/>
              <a:gd name="connsiteY12566" fmla="*/ 4677657 h 5973007"/>
              <a:gd name="connsiteX12567" fmla="*/ 1678727 w 6884782"/>
              <a:gd name="connsiteY12567" fmla="*/ 4676625 h 5973007"/>
              <a:gd name="connsiteX12568" fmla="*/ 1680276 w 6884782"/>
              <a:gd name="connsiteY12568" fmla="*/ 4673734 h 5973007"/>
              <a:gd name="connsiteX12569" fmla="*/ 1678727 w 6884782"/>
              <a:gd name="connsiteY12569" fmla="*/ 4672701 h 5973007"/>
              <a:gd name="connsiteX12570" fmla="*/ 1679038 w 6884782"/>
              <a:gd name="connsiteY12570" fmla="*/ 4671462 h 5973007"/>
              <a:gd name="connsiteX12571" fmla="*/ 1679192 w 6884782"/>
              <a:gd name="connsiteY12571" fmla="*/ 4671359 h 5973007"/>
              <a:gd name="connsiteX12572" fmla="*/ 1679038 w 6884782"/>
              <a:gd name="connsiteY12572" fmla="*/ 4671152 h 5973007"/>
              <a:gd name="connsiteX12573" fmla="*/ 1679038 w 6884782"/>
              <a:gd name="connsiteY12573" fmla="*/ 4671462 h 5973007"/>
              <a:gd name="connsiteX12574" fmla="*/ 1671602 w 6884782"/>
              <a:gd name="connsiteY12574" fmla="*/ 4675592 h 5973007"/>
              <a:gd name="connsiteX12575" fmla="*/ 1671447 w 6884782"/>
              <a:gd name="connsiteY12575" fmla="*/ 4676625 h 5973007"/>
              <a:gd name="connsiteX12576" fmla="*/ 1672222 w 6884782"/>
              <a:gd name="connsiteY12576" fmla="*/ 4677038 h 5973007"/>
              <a:gd name="connsiteX12577" fmla="*/ 1674545 w 6884782"/>
              <a:gd name="connsiteY12577" fmla="*/ 4676418 h 5973007"/>
              <a:gd name="connsiteX12578" fmla="*/ 1681206 w 6884782"/>
              <a:gd name="connsiteY12578" fmla="*/ 4680755 h 5973007"/>
              <a:gd name="connsiteX12579" fmla="*/ 1680586 w 6884782"/>
              <a:gd name="connsiteY12579" fmla="*/ 4683337 h 5973007"/>
              <a:gd name="connsiteX12580" fmla="*/ 1680121 w 6884782"/>
              <a:gd name="connsiteY12580" fmla="*/ 4685918 h 5973007"/>
              <a:gd name="connsiteX12581" fmla="*/ 1680431 w 6884782"/>
              <a:gd name="connsiteY12581" fmla="*/ 4684782 h 5973007"/>
              <a:gd name="connsiteX12582" fmla="*/ 1684149 w 6884782"/>
              <a:gd name="connsiteY12582" fmla="*/ 4683234 h 5973007"/>
              <a:gd name="connsiteX12583" fmla="*/ 1682599 w 6884782"/>
              <a:gd name="connsiteY12583" fmla="*/ 4689842 h 5973007"/>
              <a:gd name="connsiteX12584" fmla="*/ 1679192 w 6884782"/>
              <a:gd name="connsiteY12584" fmla="*/ 4689635 h 5973007"/>
              <a:gd name="connsiteX12585" fmla="*/ 1679192 w 6884782"/>
              <a:gd name="connsiteY12585" fmla="*/ 4689739 h 5973007"/>
              <a:gd name="connsiteX12586" fmla="*/ 1678727 w 6884782"/>
              <a:gd name="connsiteY12586" fmla="*/ 4693456 h 5973007"/>
              <a:gd name="connsiteX12587" fmla="*/ 1677953 w 6884782"/>
              <a:gd name="connsiteY12587" fmla="*/ 4693869 h 5973007"/>
              <a:gd name="connsiteX12588" fmla="*/ 1676404 w 6884782"/>
              <a:gd name="connsiteY12588" fmla="*/ 4692630 h 5973007"/>
              <a:gd name="connsiteX12589" fmla="*/ 1676404 w 6884782"/>
              <a:gd name="connsiteY12589" fmla="*/ 4691287 h 5973007"/>
              <a:gd name="connsiteX12590" fmla="*/ 1673461 w 6884782"/>
              <a:gd name="connsiteY12590" fmla="*/ 4692940 h 5973007"/>
              <a:gd name="connsiteX12591" fmla="*/ 1665716 w 6884782"/>
              <a:gd name="connsiteY12591" fmla="*/ 4686950 h 5973007"/>
              <a:gd name="connsiteX12592" fmla="*/ 1669898 w 6884782"/>
              <a:gd name="connsiteY12592" fmla="*/ 4677657 h 5973007"/>
              <a:gd name="connsiteX12593" fmla="*/ 1669588 w 6884782"/>
              <a:gd name="connsiteY12593" fmla="*/ 4676935 h 5973007"/>
              <a:gd name="connsiteX12594" fmla="*/ 1668814 w 6884782"/>
              <a:gd name="connsiteY12594" fmla="*/ 4677657 h 5973007"/>
              <a:gd name="connsiteX12595" fmla="*/ 1668039 w 6884782"/>
              <a:gd name="connsiteY12595" fmla="*/ 4678380 h 5973007"/>
              <a:gd name="connsiteX12596" fmla="*/ 1666180 w 6884782"/>
              <a:gd name="connsiteY12596" fmla="*/ 4678587 h 5973007"/>
              <a:gd name="connsiteX12597" fmla="*/ 1660914 w 6884782"/>
              <a:gd name="connsiteY12597" fmla="*/ 4676006 h 5973007"/>
              <a:gd name="connsiteX12598" fmla="*/ 1672841 w 6884782"/>
              <a:gd name="connsiteY12598" fmla="*/ 4669810 h 5973007"/>
              <a:gd name="connsiteX12599" fmla="*/ 1675784 w 6884782"/>
              <a:gd name="connsiteY12599" fmla="*/ 4669604 h 5973007"/>
              <a:gd name="connsiteX12600" fmla="*/ 772119 w 6884782"/>
              <a:gd name="connsiteY12600" fmla="*/ 4666712 h 5973007"/>
              <a:gd name="connsiteX12601" fmla="*/ 773668 w 6884782"/>
              <a:gd name="connsiteY12601" fmla="*/ 4679413 h 5973007"/>
              <a:gd name="connsiteX12602" fmla="*/ 768712 w 6884782"/>
              <a:gd name="connsiteY12602" fmla="*/ 4668468 h 5973007"/>
              <a:gd name="connsiteX12603" fmla="*/ 772119 w 6884782"/>
              <a:gd name="connsiteY12603" fmla="*/ 4666712 h 5973007"/>
              <a:gd name="connsiteX12604" fmla="*/ 1093742 w 6884782"/>
              <a:gd name="connsiteY12604" fmla="*/ 4666674 h 5973007"/>
              <a:gd name="connsiteX12605" fmla="*/ 1099570 w 6884782"/>
              <a:gd name="connsiteY12605" fmla="*/ 4666919 h 5973007"/>
              <a:gd name="connsiteX12606" fmla="*/ 1100654 w 6884782"/>
              <a:gd name="connsiteY12606" fmla="*/ 4671669 h 5973007"/>
              <a:gd name="connsiteX12607" fmla="*/ 1098951 w 6884782"/>
              <a:gd name="connsiteY12607" fmla="*/ 4673837 h 5973007"/>
              <a:gd name="connsiteX12608" fmla="*/ 1100190 w 6884782"/>
              <a:gd name="connsiteY12608" fmla="*/ 4675799 h 5973007"/>
              <a:gd name="connsiteX12609" fmla="*/ 1097866 w 6884782"/>
              <a:gd name="connsiteY12609" fmla="*/ 4678174 h 5973007"/>
              <a:gd name="connsiteX12610" fmla="*/ 1094303 w 6884782"/>
              <a:gd name="connsiteY12610" fmla="*/ 4676212 h 5973007"/>
              <a:gd name="connsiteX12611" fmla="*/ 1091825 w 6884782"/>
              <a:gd name="connsiteY12611" fmla="*/ 4676006 h 5973007"/>
              <a:gd name="connsiteX12612" fmla="*/ 1085939 w 6884782"/>
              <a:gd name="connsiteY12612" fmla="*/ 4675799 h 5973007"/>
              <a:gd name="connsiteX12613" fmla="*/ 1085010 w 6884782"/>
              <a:gd name="connsiteY12613" fmla="*/ 4671462 h 5973007"/>
              <a:gd name="connsiteX12614" fmla="*/ 1093742 w 6884782"/>
              <a:gd name="connsiteY12614" fmla="*/ 4666674 h 5973007"/>
              <a:gd name="connsiteX12615" fmla="*/ 6655690 w 6884782"/>
              <a:gd name="connsiteY12615" fmla="*/ 4666317 h 5973007"/>
              <a:gd name="connsiteX12616" fmla="*/ 6656620 w 6884782"/>
              <a:gd name="connsiteY12616" fmla="*/ 4670757 h 5973007"/>
              <a:gd name="connsiteX12617" fmla="*/ 6655536 w 6884782"/>
              <a:gd name="connsiteY12617" fmla="*/ 4671067 h 5973007"/>
              <a:gd name="connsiteX12618" fmla="*/ 6655690 w 6884782"/>
              <a:gd name="connsiteY12618" fmla="*/ 4666317 h 5973007"/>
              <a:gd name="connsiteX12619" fmla="*/ 6352249 w 6884782"/>
              <a:gd name="connsiteY12619" fmla="*/ 4666007 h 5973007"/>
              <a:gd name="connsiteX12620" fmla="*/ 6361697 w 6884782"/>
              <a:gd name="connsiteY12620" fmla="*/ 4673029 h 5973007"/>
              <a:gd name="connsiteX12621" fmla="*/ 6360303 w 6884782"/>
              <a:gd name="connsiteY12621" fmla="*/ 4677366 h 5973007"/>
              <a:gd name="connsiteX12622" fmla="*/ 6355966 w 6884782"/>
              <a:gd name="connsiteY12622" fmla="*/ 4677469 h 5973007"/>
              <a:gd name="connsiteX12623" fmla="*/ 6354572 w 6884782"/>
              <a:gd name="connsiteY12623" fmla="*/ 4676127 h 5973007"/>
              <a:gd name="connsiteX12624" fmla="*/ 6352713 w 6884782"/>
              <a:gd name="connsiteY12624" fmla="*/ 4677469 h 5973007"/>
              <a:gd name="connsiteX12625" fmla="*/ 6348376 w 6884782"/>
              <a:gd name="connsiteY12625" fmla="*/ 4680050 h 5973007"/>
              <a:gd name="connsiteX12626" fmla="*/ 6345588 w 6884782"/>
              <a:gd name="connsiteY12626" fmla="*/ 4676746 h 5973007"/>
              <a:gd name="connsiteX12627" fmla="*/ 6346673 w 6884782"/>
              <a:gd name="connsiteY12627" fmla="*/ 4672203 h 5973007"/>
              <a:gd name="connsiteX12628" fmla="*/ 6347447 w 6884782"/>
              <a:gd name="connsiteY12628" fmla="*/ 4671273 h 5973007"/>
              <a:gd name="connsiteX12629" fmla="*/ 6351939 w 6884782"/>
              <a:gd name="connsiteY12629" fmla="*/ 4668176 h 5973007"/>
              <a:gd name="connsiteX12630" fmla="*/ 6186355 w 6884782"/>
              <a:gd name="connsiteY12630" fmla="*/ 4666007 h 5973007"/>
              <a:gd name="connsiteX12631" fmla="*/ 6187284 w 6884782"/>
              <a:gd name="connsiteY12631" fmla="*/ 4672306 h 5973007"/>
              <a:gd name="connsiteX12632" fmla="*/ 6185890 w 6884782"/>
              <a:gd name="connsiteY12632" fmla="*/ 4669415 h 5973007"/>
              <a:gd name="connsiteX12633" fmla="*/ 6186355 w 6884782"/>
              <a:gd name="connsiteY12633" fmla="*/ 4666007 h 5973007"/>
              <a:gd name="connsiteX12634" fmla="*/ 6005126 w 6884782"/>
              <a:gd name="connsiteY12634" fmla="*/ 4665284 h 5973007"/>
              <a:gd name="connsiteX12635" fmla="*/ 6005591 w 6884782"/>
              <a:gd name="connsiteY12635" fmla="*/ 4668073 h 5973007"/>
              <a:gd name="connsiteX12636" fmla="*/ 6004042 w 6884782"/>
              <a:gd name="connsiteY12636" fmla="*/ 4669105 h 5973007"/>
              <a:gd name="connsiteX12637" fmla="*/ 6003732 w 6884782"/>
              <a:gd name="connsiteY12637" fmla="*/ 4671790 h 5973007"/>
              <a:gd name="connsiteX12638" fmla="*/ 6002028 w 6884782"/>
              <a:gd name="connsiteY12638" fmla="*/ 4671893 h 5973007"/>
              <a:gd name="connsiteX12639" fmla="*/ 6002957 w 6884782"/>
              <a:gd name="connsiteY12639" fmla="*/ 4666317 h 5973007"/>
              <a:gd name="connsiteX12640" fmla="*/ 6005126 w 6884782"/>
              <a:gd name="connsiteY12640" fmla="*/ 4665284 h 5973007"/>
              <a:gd name="connsiteX12641" fmla="*/ 1445608 w 6884782"/>
              <a:gd name="connsiteY12641" fmla="*/ 4665008 h 5973007"/>
              <a:gd name="connsiteX12642" fmla="*/ 1452579 w 6884782"/>
              <a:gd name="connsiteY12642" fmla="*/ 4667022 h 5973007"/>
              <a:gd name="connsiteX12643" fmla="*/ 1453663 w 6884782"/>
              <a:gd name="connsiteY12643" fmla="*/ 4674973 h 5973007"/>
              <a:gd name="connsiteX12644" fmla="*/ 1447312 w 6884782"/>
              <a:gd name="connsiteY12644" fmla="*/ 4677864 h 5973007"/>
              <a:gd name="connsiteX12645" fmla="*/ 1441891 w 6884782"/>
              <a:gd name="connsiteY12645" fmla="*/ 4675696 h 5973007"/>
              <a:gd name="connsiteX12646" fmla="*/ 1445608 w 6884782"/>
              <a:gd name="connsiteY12646" fmla="*/ 4665008 h 5973007"/>
              <a:gd name="connsiteX12647" fmla="*/ 1510819 w 6884782"/>
              <a:gd name="connsiteY12647" fmla="*/ 4664957 h 5973007"/>
              <a:gd name="connsiteX12648" fmla="*/ 1522437 w 6884782"/>
              <a:gd name="connsiteY12648" fmla="*/ 4674457 h 5973007"/>
              <a:gd name="connsiteX12649" fmla="*/ 1521972 w 6884782"/>
              <a:gd name="connsiteY12649" fmla="*/ 4678380 h 5973007"/>
              <a:gd name="connsiteX12650" fmla="*/ 1522282 w 6884782"/>
              <a:gd name="connsiteY12650" fmla="*/ 4678793 h 5973007"/>
              <a:gd name="connsiteX12651" fmla="*/ 1521817 w 6884782"/>
              <a:gd name="connsiteY12651" fmla="*/ 4679723 h 5973007"/>
              <a:gd name="connsiteX12652" fmla="*/ 1521662 w 6884782"/>
              <a:gd name="connsiteY12652" fmla="*/ 4680445 h 5973007"/>
              <a:gd name="connsiteX12653" fmla="*/ 1517170 w 6884782"/>
              <a:gd name="connsiteY12653" fmla="*/ 4680755 h 5973007"/>
              <a:gd name="connsiteX12654" fmla="*/ 1505708 w 6884782"/>
              <a:gd name="connsiteY12654" fmla="*/ 4671256 h 5973007"/>
              <a:gd name="connsiteX12655" fmla="*/ 1510819 w 6884782"/>
              <a:gd name="connsiteY12655" fmla="*/ 4664957 h 5973007"/>
              <a:gd name="connsiteX12656" fmla="*/ 1057206 w 6884782"/>
              <a:gd name="connsiteY12656" fmla="*/ 4664957 h 5973007"/>
              <a:gd name="connsiteX12657" fmla="*/ 1067507 w 6884782"/>
              <a:gd name="connsiteY12657" fmla="*/ 4668571 h 5973007"/>
              <a:gd name="connsiteX12658" fmla="*/ 1056509 w 6884782"/>
              <a:gd name="connsiteY12658" fmla="*/ 4679619 h 5973007"/>
              <a:gd name="connsiteX12659" fmla="*/ 1052017 w 6884782"/>
              <a:gd name="connsiteY12659" fmla="*/ 4674353 h 5973007"/>
              <a:gd name="connsiteX12660" fmla="*/ 1057206 w 6884782"/>
              <a:gd name="connsiteY12660" fmla="*/ 4664957 h 5973007"/>
              <a:gd name="connsiteX12661" fmla="*/ 581907 w 6884782"/>
              <a:gd name="connsiteY12661" fmla="*/ 4663924 h 5973007"/>
              <a:gd name="connsiteX12662" fmla="*/ 578499 w 6884782"/>
              <a:gd name="connsiteY12662" fmla="*/ 4670326 h 5973007"/>
              <a:gd name="connsiteX12663" fmla="*/ 575865 w 6884782"/>
              <a:gd name="connsiteY12663" fmla="*/ 4664234 h 5973007"/>
              <a:gd name="connsiteX12664" fmla="*/ 581907 w 6884782"/>
              <a:gd name="connsiteY12664" fmla="*/ 4663924 h 5973007"/>
              <a:gd name="connsiteX12665" fmla="*/ 1794435 w 6884782"/>
              <a:gd name="connsiteY12665" fmla="*/ 4663821 h 5973007"/>
              <a:gd name="connsiteX12666" fmla="*/ 1794589 w 6884782"/>
              <a:gd name="connsiteY12666" fmla="*/ 4668055 h 5973007"/>
              <a:gd name="connsiteX12667" fmla="*/ 1790562 w 6884782"/>
              <a:gd name="connsiteY12667" fmla="*/ 4670430 h 5973007"/>
              <a:gd name="connsiteX12668" fmla="*/ 1788084 w 6884782"/>
              <a:gd name="connsiteY12668" fmla="*/ 4672495 h 5973007"/>
              <a:gd name="connsiteX12669" fmla="*/ 1786845 w 6884782"/>
              <a:gd name="connsiteY12669" fmla="*/ 4672701 h 5973007"/>
              <a:gd name="connsiteX12670" fmla="*/ 1785606 w 6884782"/>
              <a:gd name="connsiteY12670" fmla="*/ 4671978 h 5973007"/>
              <a:gd name="connsiteX12671" fmla="*/ 1788703 w 6884782"/>
              <a:gd name="connsiteY12671" fmla="*/ 4665267 h 5973007"/>
              <a:gd name="connsiteX12672" fmla="*/ 1794435 w 6884782"/>
              <a:gd name="connsiteY12672" fmla="*/ 4663821 h 5973007"/>
              <a:gd name="connsiteX12673" fmla="*/ 6374244 w 6884782"/>
              <a:gd name="connsiteY12673" fmla="*/ 4663529 h 5973007"/>
              <a:gd name="connsiteX12674" fmla="*/ 6378116 w 6884782"/>
              <a:gd name="connsiteY12674" fmla="*/ 4670034 h 5973007"/>
              <a:gd name="connsiteX12675" fmla="*/ 6374708 w 6884782"/>
              <a:gd name="connsiteY12675" fmla="*/ 4671480 h 5973007"/>
              <a:gd name="connsiteX12676" fmla="*/ 6371920 w 6884782"/>
              <a:gd name="connsiteY12676" fmla="*/ 4669725 h 5973007"/>
              <a:gd name="connsiteX12677" fmla="*/ 6374244 w 6884782"/>
              <a:gd name="connsiteY12677" fmla="*/ 4663529 h 5973007"/>
              <a:gd name="connsiteX12678" fmla="*/ 1732011 w 6884782"/>
              <a:gd name="connsiteY12678" fmla="*/ 4663408 h 5973007"/>
              <a:gd name="connsiteX12679" fmla="*/ 1733561 w 6884782"/>
              <a:gd name="connsiteY12679" fmla="*/ 4677864 h 5973007"/>
              <a:gd name="connsiteX12680" fmla="*/ 1732166 w 6884782"/>
              <a:gd name="connsiteY12680" fmla="*/ 4678897 h 5973007"/>
              <a:gd name="connsiteX12681" fmla="*/ 1738827 w 6884782"/>
              <a:gd name="connsiteY12681" fmla="*/ 4680239 h 5973007"/>
              <a:gd name="connsiteX12682" fmla="*/ 1757569 w 6884782"/>
              <a:gd name="connsiteY12682" fmla="*/ 4682820 h 5973007"/>
              <a:gd name="connsiteX12683" fmla="*/ 1738053 w 6884782"/>
              <a:gd name="connsiteY12683" fmla="*/ 4689119 h 5973007"/>
              <a:gd name="connsiteX12684" fmla="*/ 1733870 w 6884782"/>
              <a:gd name="connsiteY12684" fmla="*/ 4686538 h 5973007"/>
              <a:gd name="connsiteX12685" fmla="*/ 1731857 w 6884782"/>
              <a:gd name="connsiteY12685" fmla="*/ 4679206 h 5973007"/>
              <a:gd name="connsiteX12686" fmla="*/ 1730153 w 6884782"/>
              <a:gd name="connsiteY12686" fmla="*/ 4680445 h 5973007"/>
              <a:gd name="connsiteX12687" fmla="*/ 1730308 w 6884782"/>
              <a:gd name="connsiteY12687" fmla="*/ 4681168 h 5973007"/>
              <a:gd name="connsiteX12688" fmla="*/ 1729533 w 6884782"/>
              <a:gd name="connsiteY12688" fmla="*/ 4687777 h 5973007"/>
              <a:gd name="connsiteX12689" fmla="*/ 1725351 w 6884782"/>
              <a:gd name="connsiteY12689" fmla="*/ 4691494 h 5973007"/>
              <a:gd name="connsiteX12690" fmla="*/ 1721634 w 6884782"/>
              <a:gd name="connsiteY12690" fmla="*/ 4692630 h 5973007"/>
              <a:gd name="connsiteX12691" fmla="*/ 1718690 w 6884782"/>
              <a:gd name="connsiteY12691" fmla="*/ 4692630 h 5973007"/>
              <a:gd name="connsiteX12692" fmla="*/ 1711100 w 6884782"/>
              <a:gd name="connsiteY12692" fmla="*/ 4685299 h 5973007"/>
              <a:gd name="connsiteX12693" fmla="*/ 1710171 w 6884782"/>
              <a:gd name="connsiteY12693" fmla="*/ 4682820 h 5973007"/>
              <a:gd name="connsiteX12694" fmla="*/ 1707848 w 6884782"/>
              <a:gd name="connsiteY12694" fmla="*/ 4679619 h 5973007"/>
              <a:gd name="connsiteX12695" fmla="*/ 1711100 w 6884782"/>
              <a:gd name="connsiteY12695" fmla="*/ 4676418 h 5973007"/>
              <a:gd name="connsiteX12696" fmla="*/ 1710945 w 6884782"/>
              <a:gd name="connsiteY12696" fmla="*/ 4676212 h 5973007"/>
              <a:gd name="connsiteX12697" fmla="*/ 1711565 w 6884782"/>
              <a:gd name="connsiteY12697" fmla="*/ 4675799 h 5973007"/>
              <a:gd name="connsiteX12698" fmla="*/ 1712649 w 6884782"/>
              <a:gd name="connsiteY12698" fmla="*/ 4674560 h 5973007"/>
              <a:gd name="connsiteX12699" fmla="*/ 1715902 w 6884782"/>
              <a:gd name="connsiteY12699" fmla="*/ 4672701 h 5973007"/>
              <a:gd name="connsiteX12700" fmla="*/ 1721014 w 6884782"/>
              <a:gd name="connsiteY12700" fmla="*/ 4671359 h 5973007"/>
              <a:gd name="connsiteX12701" fmla="*/ 1723028 w 6884782"/>
              <a:gd name="connsiteY12701" fmla="*/ 4671875 h 5973007"/>
              <a:gd name="connsiteX12702" fmla="*/ 1722718 w 6884782"/>
              <a:gd name="connsiteY12702" fmla="*/ 4668881 h 5973007"/>
              <a:gd name="connsiteX12703" fmla="*/ 1723802 w 6884782"/>
              <a:gd name="connsiteY12703" fmla="*/ 4664441 h 5973007"/>
              <a:gd name="connsiteX12704" fmla="*/ 1732011 w 6884782"/>
              <a:gd name="connsiteY12704" fmla="*/ 4663408 h 5973007"/>
              <a:gd name="connsiteX12705" fmla="*/ 6599618 w 6884782"/>
              <a:gd name="connsiteY12705" fmla="*/ 4663219 h 5973007"/>
              <a:gd name="connsiteX12706" fmla="*/ 6600392 w 6884782"/>
              <a:gd name="connsiteY12706" fmla="*/ 4663633 h 5973007"/>
              <a:gd name="connsiteX12707" fmla="*/ 6600237 w 6884782"/>
              <a:gd name="connsiteY12707" fmla="*/ 4665595 h 5973007"/>
              <a:gd name="connsiteX12708" fmla="*/ 6596210 w 6884782"/>
              <a:gd name="connsiteY12708" fmla="*/ 4672719 h 5973007"/>
              <a:gd name="connsiteX12709" fmla="*/ 6595435 w 6884782"/>
              <a:gd name="connsiteY12709" fmla="*/ 4674268 h 5973007"/>
              <a:gd name="connsiteX12710" fmla="*/ 6593267 w 6884782"/>
              <a:gd name="connsiteY12710" fmla="*/ 4674887 h 5973007"/>
              <a:gd name="connsiteX12711" fmla="*/ 6595590 w 6884782"/>
              <a:gd name="connsiteY12711" fmla="*/ 4667660 h 5973007"/>
              <a:gd name="connsiteX12712" fmla="*/ 6597449 w 6884782"/>
              <a:gd name="connsiteY12712" fmla="*/ 4663942 h 5973007"/>
              <a:gd name="connsiteX12713" fmla="*/ 6599618 w 6884782"/>
              <a:gd name="connsiteY12713" fmla="*/ 4663219 h 5973007"/>
              <a:gd name="connsiteX12714" fmla="*/ 1391549 w 6884782"/>
              <a:gd name="connsiteY12714" fmla="*/ 4663202 h 5973007"/>
              <a:gd name="connsiteX12715" fmla="*/ 1399294 w 6884782"/>
              <a:gd name="connsiteY12715" fmla="*/ 4669294 h 5973007"/>
              <a:gd name="connsiteX12716" fmla="*/ 1398675 w 6884782"/>
              <a:gd name="connsiteY12716" fmla="*/ 4673321 h 5973007"/>
              <a:gd name="connsiteX12717" fmla="*/ 1394028 w 6884782"/>
              <a:gd name="connsiteY12717" fmla="*/ 4678483 h 5973007"/>
              <a:gd name="connsiteX12718" fmla="*/ 1385819 w 6884782"/>
              <a:gd name="connsiteY12718" fmla="*/ 4671669 h 5973007"/>
              <a:gd name="connsiteX12719" fmla="*/ 1385664 w 6884782"/>
              <a:gd name="connsiteY12719" fmla="*/ 4668055 h 5973007"/>
              <a:gd name="connsiteX12720" fmla="*/ 1391549 w 6884782"/>
              <a:gd name="connsiteY12720" fmla="*/ 4663202 h 5973007"/>
              <a:gd name="connsiteX12721" fmla="*/ 989438 w 6884782"/>
              <a:gd name="connsiteY12721" fmla="*/ 4663099 h 5973007"/>
              <a:gd name="connsiteX12722" fmla="*/ 992227 w 6884782"/>
              <a:gd name="connsiteY12722" fmla="*/ 4671256 h 5973007"/>
              <a:gd name="connsiteX12723" fmla="*/ 983552 w 6884782"/>
              <a:gd name="connsiteY12723" fmla="*/ 4678690 h 5973007"/>
              <a:gd name="connsiteX12724" fmla="*/ 972555 w 6884782"/>
              <a:gd name="connsiteY12724" fmla="*/ 4674870 h 5973007"/>
              <a:gd name="connsiteX12725" fmla="*/ 989438 w 6884782"/>
              <a:gd name="connsiteY12725" fmla="*/ 4663099 h 5973007"/>
              <a:gd name="connsiteX12726" fmla="*/ 675987 w 6884782"/>
              <a:gd name="connsiteY12726" fmla="*/ 4662337 h 5973007"/>
              <a:gd name="connsiteX12727" fmla="*/ 683983 w 6884782"/>
              <a:gd name="connsiteY12727" fmla="*/ 4663408 h 5973007"/>
              <a:gd name="connsiteX12728" fmla="*/ 684603 w 6884782"/>
              <a:gd name="connsiteY12728" fmla="*/ 4670636 h 5973007"/>
              <a:gd name="connsiteX12729" fmla="*/ 674689 w 6884782"/>
              <a:gd name="connsiteY12729" fmla="*/ 4672185 h 5973007"/>
              <a:gd name="connsiteX12730" fmla="*/ 671591 w 6884782"/>
              <a:gd name="connsiteY12730" fmla="*/ 4671256 h 5973007"/>
              <a:gd name="connsiteX12731" fmla="*/ 675987 w 6884782"/>
              <a:gd name="connsiteY12731" fmla="*/ 4662337 h 5973007"/>
              <a:gd name="connsiteX12732" fmla="*/ 1706609 w 6884782"/>
              <a:gd name="connsiteY12732" fmla="*/ 4662272 h 5973007"/>
              <a:gd name="connsiteX12733" fmla="*/ 1710636 w 6884782"/>
              <a:gd name="connsiteY12733" fmla="*/ 4666506 h 5973007"/>
              <a:gd name="connsiteX12734" fmla="*/ 1707073 w 6884782"/>
              <a:gd name="connsiteY12734" fmla="*/ 4668881 h 5973007"/>
              <a:gd name="connsiteX12735" fmla="*/ 1702891 w 6884782"/>
              <a:gd name="connsiteY12735" fmla="*/ 4666506 h 5973007"/>
              <a:gd name="connsiteX12736" fmla="*/ 1699948 w 6884782"/>
              <a:gd name="connsiteY12736" fmla="*/ 4665473 h 5973007"/>
              <a:gd name="connsiteX12737" fmla="*/ 1699174 w 6884782"/>
              <a:gd name="connsiteY12737" fmla="*/ 4662995 h 5973007"/>
              <a:gd name="connsiteX12738" fmla="*/ 1706609 w 6884782"/>
              <a:gd name="connsiteY12738" fmla="*/ 4662272 h 5973007"/>
              <a:gd name="connsiteX12739" fmla="*/ 5769219 w 6884782"/>
              <a:gd name="connsiteY12739" fmla="*/ 4661361 h 5973007"/>
              <a:gd name="connsiteX12740" fmla="*/ 5770303 w 6884782"/>
              <a:gd name="connsiteY12740" fmla="*/ 4677882 h 5973007"/>
              <a:gd name="connsiteX12741" fmla="*/ 5760545 w 6884782"/>
              <a:gd name="connsiteY12741" fmla="*/ 4667246 h 5973007"/>
              <a:gd name="connsiteX12742" fmla="*/ 5769219 w 6884782"/>
              <a:gd name="connsiteY12742" fmla="*/ 4661361 h 5973007"/>
              <a:gd name="connsiteX12743" fmla="*/ 903161 w 6884782"/>
              <a:gd name="connsiteY12743" fmla="*/ 4660620 h 5973007"/>
              <a:gd name="connsiteX12744" fmla="*/ 905640 w 6884782"/>
              <a:gd name="connsiteY12744" fmla="*/ 4660723 h 5973007"/>
              <a:gd name="connsiteX12745" fmla="*/ 904866 w 6884782"/>
              <a:gd name="connsiteY12745" fmla="*/ 4662376 h 5973007"/>
              <a:gd name="connsiteX12746" fmla="*/ 901612 w 6884782"/>
              <a:gd name="connsiteY12746" fmla="*/ 4666609 h 5973007"/>
              <a:gd name="connsiteX12747" fmla="*/ 900683 w 6884782"/>
              <a:gd name="connsiteY12747" fmla="*/ 4663924 h 5973007"/>
              <a:gd name="connsiteX12748" fmla="*/ 902387 w 6884782"/>
              <a:gd name="connsiteY12748" fmla="*/ 4662272 h 5973007"/>
              <a:gd name="connsiteX12749" fmla="*/ 903161 w 6884782"/>
              <a:gd name="connsiteY12749" fmla="*/ 4660620 h 5973007"/>
              <a:gd name="connsiteX12750" fmla="*/ 798452 w 6884782"/>
              <a:gd name="connsiteY12750" fmla="*/ 4660517 h 5973007"/>
              <a:gd name="connsiteX12751" fmla="*/ 800311 w 6884782"/>
              <a:gd name="connsiteY12751" fmla="*/ 4662272 h 5973007"/>
              <a:gd name="connsiteX12752" fmla="*/ 798452 w 6884782"/>
              <a:gd name="connsiteY12752" fmla="*/ 4664441 h 5973007"/>
              <a:gd name="connsiteX12753" fmla="*/ 795818 w 6884782"/>
              <a:gd name="connsiteY12753" fmla="*/ 4665060 h 5973007"/>
              <a:gd name="connsiteX12754" fmla="*/ 794889 w 6884782"/>
              <a:gd name="connsiteY12754" fmla="*/ 4664028 h 5973007"/>
              <a:gd name="connsiteX12755" fmla="*/ 794269 w 6884782"/>
              <a:gd name="connsiteY12755" fmla="*/ 4662066 h 5973007"/>
              <a:gd name="connsiteX12756" fmla="*/ 798452 w 6884782"/>
              <a:gd name="connsiteY12756" fmla="*/ 4660517 h 5973007"/>
              <a:gd name="connsiteX12757" fmla="*/ 6001254 w 6884782"/>
              <a:gd name="connsiteY12757" fmla="*/ 4658779 h 5973007"/>
              <a:gd name="connsiteX12758" fmla="*/ 6000479 w 6884782"/>
              <a:gd name="connsiteY12758" fmla="*/ 4660638 h 5973007"/>
              <a:gd name="connsiteX12759" fmla="*/ 5997691 w 6884782"/>
              <a:gd name="connsiteY12759" fmla="*/ 4665078 h 5973007"/>
              <a:gd name="connsiteX12760" fmla="*/ 5996452 w 6884782"/>
              <a:gd name="connsiteY12760" fmla="*/ 4662600 h 5973007"/>
              <a:gd name="connsiteX12761" fmla="*/ 5998001 w 6884782"/>
              <a:gd name="connsiteY12761" fmla="*/ 4660741 h 5973007"/>
              <a:gd name="connsiteX12762" fmla="*/ 5998620 w 6884782"/>
              <a:gd name="connsiteY12762" fmla="*/ 4658883 h 5973007"/>
              <a:gd name="connsiteX12763" fmla="*/ 6001254 w 6884782"/>
              <a:gd name="connsiteY12763" fmla="*/ 4658779 h 5973007"/>
              <a:gd name="connsiteX12764" fmla="*/ 6093107 w 6884782"/>
              <a:gd name="connsiteY12764" fmla="*/ 4658263 h 5973007"/>
              <a:gd name="connsiteX12765" fmla="*/ 6096515 w 6884782"/>
              <a:gd name="connsiteY12765" fmla="*/ 4664665 h 5973007"/>
              <a:gd name="connsiteX12766" fmla="*/ 6094501 w 6884782"/>
              <a:gd name="connsiteY12766" fmla="*/ 4670757 h 5973007"/>
              <a:gd name="connsiteX12767" fmla="*/ 6091093 w 6884782"/>
              <a:gd name="connsiteY12767" fmla="*/ 4668692 h 5973007"/>
              <a:gd name="connsiteX12768" fmla="*/ 6091558 w 6884782"/>
              <a:gd name="connsiteY12768" fmla="*/ 4663633 h 5973007"/>
              <a:gd name="connsiteX12769" fmla="*/ 6091248 w 6884782"/>
              <a:gd name="connsiteY12769" fmla="*/ 4660329 h 5973007"/>
              <a:gd name="connsiteX12770" fmla="*/ 6093107 w 6884782"/>
              <a:gd name="connsiteY12770" fmla="*/ 4658263 h 5973007"/>
              <a:gd name="connsiteX12771" fmla="*/ 1331915 w 6884782"/>
              <a:gd name="connsiteY12771" fmla="*/ 4658039 h 5973007"/>
              <a:gd name="connsiteX12772" fmla="*/ 1331759 w 6884782"/>
              <a:gd name="connsiteY12772" fmla="*/ 4661549 h 5973007"/>
              <a:gd name="connsiteX12773" fmla="*/ 1327268 w 6884782"/>
              <a:gd name="connsiteY12773" fmla="*/ 4658452 h 5973007"/>
              <a:gd name="connsiteX12774" fmla="*/ 1331915 w 6884782"/>
              <a:gd name="connsiteY12774" fmla="*/ 4658039 h 5973007"/>
              <a:gd name="connsiteX12775" fmla="*/ 1449481 w 6884782"/>
              <a:gd name="connsiteY12775" fmla="*/ 4657213 h 5973007"/>
              <a:gd name="connsiteX12776" fmla="*/ 1445143 w 6884782"/>
              <a:gd name="connsiteY12776" fmla="*/ 4663924 h 5973007"/>
              <a:gd name="connsiteX12777" fmla="*/ 1442201 w 6884782"/>
              <a:gd name="connsiteY12777" fmla="*/ 4663099 h 5973007"/>
              <a:gd name="connsiteX12778" fmla="*/ 1440651 w 6884782"/>
              <a:gd name="connsiteY12778" fmla="*/ 4658245 h 5973007"/>
              <a:gd name="connsiteX12779" fmla="*/ 1449481 w 6884782"/>
              <a:gd name="connsiteY12779" fmla="*/ 4657213 h 5973007"/>
              <a:gd name="connsiteX12780" fmla="*/ 865212 w 6884782"/>
              <a:gd name="connsiteY12780" fmla="*/ 4657006 h 5973007"/>
              <a:gd name="connsiteX12781" fmla="*/ 851271 w 6884782"/>
              <a:gd name="connsiteY12781" fmla="*/ 4664234 h 5973007"/>
              <a:gd name="connsiteX12782" fmla="*/ 850962 w 6884782"/>
              <a:gd name="connsiteY12782" fmla="*/ 4660723 h 5973007"/>
              <a:gd name="connsiteX12783" fmla="*/ 852820 w 6884782"/>
              <a:gd name="connsiteY12783" fmla="*/ 4660827 h 5973007"/>
              <a:gd name="connsiteX12784" fmla="*/ 865212 w 6884782"/>
              <a:gd name="connsiteY12784" fmla="*/ 4657006 h 5973007"/>
              <a:gd name="connsiteX12785" fmla="*/ 1146968 w 6884782"/>
              <a:gd name="connsiteY12785" fmla="*/ 4656387 h 5973007"/>
              <a:gd name="connsiteX12786" fmla="*/ 1153164 w 6884782"/>
              <a:gd name="connsiteY12786" fmla="*/ 4664647 h 5973007"/>
              <a:gd name="connsiteX12787" fmla="*/ 1150841 w 6884782"/>
              <a:gd name="connsiteY12787" fmla="*/ 4664854 h 5973007"/>
              <a:gd name="connsiteX12788" fmla="*/ 1146968 w 6884782"/>
              <a:gd name="connsiteY12788" fmla="*/ 4656387 h 5973007"/>
              <a:gd name="connsiteX12789" fmla="*/ 772893 w 6884782"/>
              <a:gd name="connsiteY12789" fmla="*/ 4655457 h 5973007"/>
              <a:gd name="connsiteX12790" fmla="*/ 775217 w 6884782"/>
              <a:gd name="connsiteY12790" fmla="*/ 4663615 h 5973007"/>
              <a:gd name="connsiteX12791" fmla="*/ 771035 w 6884782"/>
              <a:gd name="connsiteY12791" fmla="*/ 4665680 h 5973007"/>
              <a:gd name="connsiteX12792" fmla="*/ 765614 w 6884782"/>
              <a:gd name="connsiteY12792" fmla="*/ 4664750 h 5973007"/>
              <a:gd name="connsiteX12793" fmla="*/ 772893 w 6884782"/>
              <a:gd name="connsiteY12793" fmla="*/ 4655457 h 5973007"/>
              <a:gd name="connsiteX12794" fmla="*/ 5930001 w 6884782"/>
              <a:gd name="connsiteY12794" fmla="*/ 4655062 h 5973007"/>
              <a:gd name="connsiteX12795" fmla="*/ 5925509 w 6884782"/>
              <a:gd name="connsiteY12795" fmla="*/ 4662394 h 5973007"/>
              <a:gd name="connsiteX12796" fmla="*/ 5930001 w 6884782"/>
              <a:gd name="connsiteY12796" fmla="*/ 4655062 h 5973007"/>
              <a:gd name="connsiteX12797" fmla="*/ 5966867 w 6884782"/>
              <a:gd name="connsiteY12797" fmla="*/ 4654752 h 5973007"/>
              <a:gd name="connsiteX12798" fmla="*/ 5963924 w 6884782"/>
              <a:gd name="connsiteY12798" fmla="*/ 4657540 h 5973007"/>
              <a:gd name="connsiteX12799" fmla="*/ 5962994 w 6884782"/>
              <a:gd name="connsiteY12799" fmla="*/ 4656714 h 5973007"/>
              <a:gd name="connsiteX12800" fmla="*/ 5966867 w 6884782"/>
              <a:gd name="connsiteY12800" fmla="*/ 4654752 h 5973007"/>
              <a:gd name="connsiteX12801" fmla="*/ 6402764 w 6884782"/>
              <a:gd name="connsiteY12801" fmla="*/ 4653333 h 5973007"/>
              <a:gd name="connsiteX12802" fmla="*/ 6405688 w 6884782"/>
              <a:gd name="connsiteY12802" fmla="*/ 4657540 h 5973007"/>
              <a:gd name="connsiteX12803" fmla="*/ 6402125 w 6884782"/>
              <a:gd name="connsiteY12803" fmla="*/ 4658057 h 5973007"/>
              <a:gd name="connsiteX12804" fmla="*/ 6400421 w 6884782"/>
              <a:gd name="connsiteY12804" fmla="*/ 4657334 h 5973007"/>
              <a:gd name="connsiteX12805" fmla="*/ 6402764 w 6884782"/>
              <a:gd name="connsiteY12805" fmla="*/ 4653333 h 5973007"/>
              <a:gd name="connsiteX12806" fmla="*/ 1545671 w 6884782"/>
              <a:gd name="connsiteY12806" fmla="*/ 4653186 h 5973007"/>
              <a:gd name="connsiteX12807" fmla="*/ 1545826 w 6884782"/>
              <a:gd name="connsiteY12807" fmla="*/ 4656490 h 5973007"/>
              <a:gd name="connsiteX12808" fmla="*/ 1545361 w 6884782"/>
              <a:gd name="connsiteY12808" fmla="*/ 4657110 h 5973007"/>
              <a:gd name="connsiteX12809" fmla="*/ 1544897 w 6884782"/>
              <a:gd name="connsiteY12809" fmla="*/ 4656490 h 5973007"/>
              <a:gd name="connsiteX12810" fmla="*/ 1545671 w 6884782"/>
              <a:gd name="connsiteY12810" fmla="*/ 4653186 h 5973007"/>
              <a:gd name="connsiteX12811" fmla="*/ 871717 w 6884782"/>
              <a:gd name="connsiteY12811" fmla="*/ 4653082 h 5973007"/>
              <a:gd name="connsiteX12812" fmla="*/ 868465 w 6884782"/>
              <a:gd name="connsiteY12812" fmla="*/ 4655664 h 5973007"/>
              <a:gd name="connsiteX12813" fmla="*/ 867536 w 6884782"/>
              <a:gd name="connsiteY12813" fmla="*/ 4654632 h 5973007"/>
              <a:gd name="connsiteX12814" fmla="*/ 871717 w 6884782"/>
              <a:gd name="connsiteY12814" fmla="*/ 4653082 h 5973007"/>
              <a:gd name="connsiteX12815" fmla="*/ 858590 w 6884782"/>
              <a:gd name="connsiteY12815" fmla="*/ 4652412 h 5973007"/>
              <a:gd name="connsiteX12816" fmla="*/ 863198 w 6884782"/>
              <a:gd name="connsiteY12816" fmla="*/ 4652773 h 5973007"/>
              <a:gd name="connsiteX12817" fmla="*/ 863198 w 6884782"/>
              <a:gd name="connsiteY12817" fmla="*/ 4653599 h 5973007"/>
              <a:gd name="connsiteX12818" fmla="*/ 854679 w 6884782"/>
              <a:gd name="connsiteY12818" fmla="*/ 4655148 h 5973007"/>
              <a:gd name="connsiteX12819" fmla="*/ 851426 w 6884782"/>
              <a:gd name="connsiteY12819" fmla="*/ 4654735 h 5973007"/>
              <a:gd name="connsiteX12820" fmla="*/ 852356 w 6884782"/>
              <a:gd name="connsiteY12820" fmla="*/ 4654838 h 5973007"/>
              <a:gd name="connsiteX12821" fmla="*/ 851426 w 6884782"/>
              <a:gd name="connsiteY12821" fmla="*/ 4653909 h 5973007"/>
              <a:gd name="connsiteX12822" fmla="*/ 858590 w 6884782"/>
              <a:gd name="connsiteY12822" fmla="*/ 4652412 h 5973007"/>
              <a:gd name="connsiteX12823" fmla="*/ 6323128 w 6884782"/>
              <a:gd name="connsiteY12823" fmla="*/ 4652171 h 5973007"/>
              <a:gd name="connsiteX12824" fmla="*/ 6335985 w 6884782"/>
              <a:gd name="connsiteY12824" fmla="*/ 4662806 h 5973007"/>
              <a:gd name="connsiteX12825" fmla="*/ 6332732 w 6884782"/>
              <a:gd name="connsiteY12825" fmla="*/ 4665801 h 5973007"/>
              <a:gd name="connsiteX12826" fmla="*/ 6329014 w 6884782"/>
              <a:gd name="connsiteY12826" fmla="*/ 4665284 h 5973007"/>
              <a:gd name="connsiteX12827" fmla="*/ 6325762 w 6884782"/>
              <a:gd name="connsiteY12827" fmla="*/ 4663529 h 5973007"/>
              <a:gd name="connsiteX12828" fmla="*/ 6323748 w 6884782"/>
              <a:gd name="connsiteY12828" fmla="*/ 4660329 h 5973007"/>
              <a:gd name="connsiteX12829" fmla="*/ 6320340 w 6884782"/>
              <a:gd name="connsiteY12829" fmla="*/ 4655062 h 5973007"/>
              <a:gd name="connsiteX12830" fmla="*/ 6323128 w 6884782"/>
              <a:gd name="connsiteY12830" fmla="*/ 4652171 h 5973007"/>
              <a:gd name="connsiteX12831" fmla="*/ 1116918 w 6884782"/>
              <a:gd name="connsiteY12831" fmla="*/ 4652153 h 5973007"/>
              <a:gd name="connsiteX12832" fmla="*/ 1115679 w 6884782"/>
              <a:gd name="connsiteY12832" fmla="*/ 4663821 h 5973007"/>
              <a:gd name="connsiteX12833" fmla="*/ 1111807 w 6884782"/>
              <a:gd name="connsiteY12833" fmla="*/ 4659484 h 5973007"/>
              <a:gd name="connsiteX12834" fmla="*/ 1116918 w 6884782"/>
              <a:gd name="connsiteY12834" fmla="*/ 4652153 h 5973007"/>
              <a:gd name="connsiteX12835" fmla="*/ 1067971 w 6884782"/>
              <a:gd name="connsiteY12835" fmla="*/ 4651947 h 5973007"/>
              <a:gd name="connsiteX12836" fmla="*/ 1073238 w 6884782"/>
              <a:gd name="connsiteY12836" fmla="*/ 4654838 h 5973007"/>
              <a:gd name="connsiteX12837" fmla="*/ 1069985 w 6884782"/>
              <a:gd name="connsiteY12837" fmla="*/ 4658968 h 5973007"/>
              <a:gd name="connsiteX12838" fmla="*/ 1067971 w 6884782"/>
              <a:gd name="connsiteY12838" fmla="*/ 4651947 h 5973007"/>
              <a:gd name="connsiteX12839" fmla="*/ 1160909 w 6884782"/>
              <a:gd name="connsiteY12839" fmla="*/ 4651121 h 5973007"/>
              <a:gd name="connsiteX12840" fmla="*/ 1167105 w 6884782"/>
              <a:gd name="connsiteY12840" fmla="*/ 4660517 h 5973007"/>
              <a:gd name="connsiteX12841" fmla="*/ 1161839 w 6884782"/>
              <a:gd name="connsiteY12841" fmla="*/ 4660310 h 5973007"/>
              <a:gd name="connsiteX12842" fmla="*/ 1159824 w 6884782"/>
              <a:gd name="connsiteY12842" fmla="*/ 4656180 h 5973007"/>
              <a:gd name="connsiteX12843" fmla="*/ 1160909 w 6884782"/>
              <a:gd name="connsiteY12843" fmla="*/ 4651121 h 5973007"/>
              <a:gd name="connsiteX12844" fmla="*/ 6071886 w 6884782"/>
              <a:gd name="connsiteY12844" fmla="*/ 4651035 h 5973007"/>
              <a:gd name="connsiteX12845" fmla="*/ 6076998 w 6884782"/>
              <a:gd name="connsiteY12845" fmla="*/ 4653307 h 5973007"/>
              <a:gd name="connsiteX12846" fmla="*/ 6081645 w 6884782"/>
              <a:gd name="connsiteY12846" fmla="*/ 4659399 h 5973007"/>
              <a:gd name="connsiteX12847" fmla="*/ 6080406 w 6884782"/>
              <a:gd name="connsiteY12847" fmla="*/ 4659812 h 5973007"/>
              <a:gd name="connsiteX12848" fmla="*/ 6071886 w 6884782"/>
              <a:gd name="connsiteY12848" fmla="*/ 4651035 h 5973007"/>
              <a:gd name="connsiteX12849" fmla="*/ 1617388 w 6884782"/>
              <a:gd name="connsiteY12849" fmla="*/ 4650501 h 5973007"/>
              <a:gd name="connsiteX12850" fmla="*/ 1614290 w 6884782"/>
              <a:gd name="connsiteY12850" fmla="*/ 4651843 h 5973007"/>
              <a:gd name="connsiteX12851" fmla="*/ 1611193 w 6884782"/>
              <a:gd name="connsiteY12851" fmla="*/ 4651224 h 5973007"/>
              <a:gd name="connsiteX12852" fmla="*/ 1617388 w 6884782"/>
              <a:gd name="connsiteY12852" fmla="*/ 4650501 h 5973007"/>
              <a:gd name="connsiteX12853" fmla="*/ 6725239 w 6884782"/>
              <a:gd name="connsiteY12853" fmla="*/ 4650416 h 5973007"/>
              <a:gd name="connsiteX12854" fmla="*/ 6732364 w 6884782"/>
              <a:gd name="connsiteY12854" fmla="*/ 4651655 h 5973007"/>
              <a:gd name="connsiteX12855" fmla="*/ 6732519 w 6884782"/>
              <a:gd name="connsiteY12855" fmla="*/ 4653617 h 5973007"/>
              <a:gd name="connsiteX12856" fmla="*/ 6732054 w 6884782"/>
              <a:gd name="connsiteY12856" fmla="*/ 4655682 h 5973007"/>
              <a:gd name="connsiteX12857" fmla="*/ 6728956 w 6884782"/>
              <a:gd name="connsiteY12857" fmla="*/ 4659089 h 5973007"/>
              <a:gd name="connsiteX12858" fmla="*/ 6726478 w 6884782"/>
              <a:gd name="connsiteY12858" fmla="*/ 4659399 h 5973007"/>
              <a:gd name="connsiteX12859" fmla="*/ 6725084 w 6884782"/>
              <a:gd name="connsiteY12859" fmla="*/ 4658883 h 5973007"/>
              <a:gd name="connsiteX12860" fmla="*/ 6723690 w 6884782"/>
              <a:gd name="connsiteY12860" fmla="*/ 4658057 h 5973007"/>
              <a:gd name="connsiteX12861" fmla="*/ 6725239 w 6884782"/>
              <a:gd name="connsiteY12861" fmla="*/ 4650416 h 5973007"/>
              <a:gd name="connsiteX12862" fmla="*/ 703965 w 6884782"/>
              <a:gd name="connsiteY12862" fmla="*/ 4649675 h 5973007"/>
              <a:gd name="connsiteX12863" fmla="*/ 729213 w 6884782"/>
              <a:gd name="connsiteY12863" fmla="*/ 4654838 h 5973007"/>
              <a:gd name="connsiteX12864" fmla="*/ 723791 w 6884782"/>
              <a:gd name="connsiteY12864" fmla="*/ 4658452 h 5973007"/>
              <a:gd name="connsiteX12865" fmla="*/ 703965 w 6884782"/>
              <a:gd name="connsiteY12865" fmla="*/ 4649675 h 5973007"/>
              <a:gd name="connsiteX12866" fmla="*/ 6681558 w 6884782"/>
              <a:gd name="connsiteY12866" fmla="*/ 4649590 h 5973007"/>
              <a:gd name="connsiteX12867" fmla="*/ 6684656 w 6884782"/>
              <a:gd name="connsiteY12867" fmla="*/ 4651345 h 5973007"/>
              <a:gd name="connsiteX12868" fmla="*/ 6685585 w 6884782"/>
              <a:gd name="connsiteY12868" fmla="*/ 4659089 h 5973007"/>
              <a:gd name="connsiteX12869" fmla="*/ 6684191 w 6884782"/>
              <a:gd name="connsiteY12869" fmla="*/ 4660535 h 5973007"/>
              <a:gd name="connsiteX12870" fmla="*/ 6680629 w 6884782"/>
              <a:gd name="connsiteY12870" fmla="*/ 4657644 h 5973007"/>
              <a:gd name="connsiteX12871" fmla="*/ 6681558 w 6884782"/>
              <a:gd name="connsiteY12871" fmla="*/ 4649590 h 5973007"/>
              <a:gd name="connsiteX12872" fmla="*/ 6072041 w 6884782"/>
              <a:gd name="connsiteY12872" fmla="*/ 4647834 h 5973007"/>
              <a:gd name="connsiteX12873" fmla="*/ 6059185 w 6884782"/>
              <a:gd name="connsiteY12873" fmla="*/ 4655785 h 5973007"/>
              <a:gd name="connsiteX12874" fmla="*/ 6058411 w 6884782"/>
              <a:gd name="connsiteY12874" fmla="*/ 4655372 h 5973007"/>
              <a:gd name="connsiteX12875" fmla="*/ 6058875 w 6884782"/>
              <a:gd name="connsiteY12875" fmla="*/ 4653204 h 5973007"/>
              <a:gd name="connsiteX12876" fmla="*/ 6062128 w 6884782"/>
              <a:gd name="connsiteY12876" fmla="*/ 4651242 h 5973007"/>
              <a:gd name="connsiteX12877" fmla="*/ 6070337 w 6884782"/>
              <a:gd name="connsiteY12877" fmla="*/ 4648970 h 5973007"/>
              <a:gd name="connsiteX12878" fmla="*/ 6072041 w 6884782"/>
              <a:gd name="connsiteY12878" fmla="*/ 4647834 h 5973007"/>
              <a:gd name="connsiteX12879" fmla="*/ 5910020 w 6884782"/>
              <a:gd name="connsiteY12879" fmla="*/ 4647731 h 5973007"/>
              <a:gd name="connsiteX12880" fmla="*/ 5913118 w 6884782"/>
              <a:gd name="connsiteY12880" fmla="*/ 4657231 h 5973007"/>
              <a:gd name="connsiteX12881" fmla="*/ 5910485 w 6884782"/>
              <a:gd name="connsiteY12881" fmla="*/ 4667660 h 5973007"/>
              <a:gd name="connsiteX12882" fmla="*/ 5908006 w 6884782"/>
              <a:gd name="connsiteY12882" fmla="*/ 4663426 h 5973007"/>
              <a:gd name="connsiteX12883" fmla="*/ 5910020 w 6884782"/>
              <a:gd name="connsiteY12883" fmla="*/ 4647731 h 5973007"/>
              <a:gd name="connsiteX12884" fmla="*/ 5778397 w 6884782"/>
              <a:gd name="connsiteY12884" fmla="*/ 4647086 h 5973007"/>
              <a:gd name="connsiteX12885" fmla="*/ 5792298 w 6884782"/>
              <a:gd name="connsiteY12885" fmla="*/ 4649177 h 5973007"/>
              <a:gd name="connsiteX12886" fmla="*/ 5766121 w 6884782"/>
              <a:gd name="connsiteY12886" fmla="*/ 4657540 h 5973007"/>
              <a:gd name="connsiteX12887" fmla="*/ 5778397 w 6884782"/>
              <a:gd name="connsiteY12887" fmla="*/ 4647086 h 5973007"/>
              <a:gd name="connsiteX12888" fmla="*/ 1080382 w 6884782"/>
              <a:gd name="connsiteY12888" fmla="*/ 4646539 h 5973007"/>
              <a:gd name="connsiteX12889" fmla="*/ 1081912 w 6884782"/>
              <a:gd name="connsiteY12889" fmla="*/ 4649469 h 5973007"/>
              <a:gd name="connsiteX12890" fmla="*/ 1080208 w 6884782"/>
              <a:gd name="connsiteY12890" fmla="*/ 4651534 h 5973007"/>
              <a:gd name="connsiteX12891" fmla="*/ 1076645 w 6884782"/>
              <a:gd name="connsiteY12891" fmla="*/ 4647713 h 5973007"/>
              <a:gd name="connsiteX12892" fmla="*/ 1080382 w 6884782"/>
              <a:gd name="connsiteY12892" fmla="*/ 4646539 h 5973007"/>
              <a:gd name="connsiteX12893" fmla="*/ 6723690 w 6884782"/>
              <a:gd name="connsiteY12893" fmla="*/ 4645666 h 5973007"/>
              <a:gd name="connsiteX12894" fmla="*/ 6727097 w 6884782"/>
              <a:gd name="connsiteY12894" fmla="*/ 4646595 h 5973007"/>
              <a:gd name="connsiteX12895" fmla="*/ 6726943 w 6884782"/>
              <a:gd name="connsiteY12895" fmla="*/ 4648041 h 5973007"/>
              <a:gd name="connsiteX12896" fmla="*/ 6724929 w 6884782"/>
              <a:gd name="connsiteY12896" fmla="*/ 4649280 h 5973007"/>
              <a:gd name="connsiteX12897" fmla="*/ 1833933 w 6884782"/>
              <a:gd name="connsiteY12897" fmla="*/ 4645648 h 5973007"/>
              <a:gd name="connsiteX12898" fmla="*/ 1833933 w 6884782"/>
              <a:gd name="connsiteY12898" fmla="*/ 4646577 h 5973007"/>
              <a:gd name="connsiteX12899" fmla="*/ 1832384 w 6884782"/>
              <a:gd name="connsiteY12899" fmla="*/ 4648126 h 5973007"/>
              <a:gd name="connsiteX12900" fmla="*/ 1830990 w 6884782"/>
              <a:gd name="connsiteY12900" fmla="*/ 4654115 h 5973007"/>
              <a:gd name="connsiteX12901" fmla="*/ 1829287 w 6884782"/>
              <a:gd name="connsiteY12901" fmla="*/ 4654838 h 5973007"/>
              <a:gd name="connsiteX12902" fmla="*/ 1828357 w 6884782"/>
              <a:gd name="connsiteY12902" fmla="*/ 4652256 h 5973007"/>
              <a:gd name="connsiteX12903" fmla="*/ 1830835 w 6884782"/>
              <a:gd name="connsiteY12903" fmla="*/ 4650708 h 5973007"/>
              <a:gd name="connsiteX12904" fmla="*/ 1831610 w 6884782"/>
              <a:gd name="connsiteY12904" fmla="*/ 4647300 h 5973007"/>
              <a:gd name="connsiteX12905" fmla="*/ 1833933 w 6884782"/>
              <a:gd name="connsiteY12905" fmla="*/ 4645648 h 5973007"/>
              <a:gd name="connsiteX12906" fmla="*/ 1025046 w 6884782"/>
              <a:gd name="connsiteY12906" fmla="*/ 4645545 h 5973007"/>
              <a:gd name="connsiteX12907" fmla="*/ 1039470 w 6884782"/>
              <a:gd name="connsiteY12907" fmla="*/ 4648746 h 5973007"/>
              <a:gd name="connsiteX12908" fmla="*/ 1040400 w 6884782"/>
              <a:gd name="connsiteY12908" fmla="*/ 4651327 h 5973007"/>
              <a:gd name="connsiteX12909" fmla="*/ 1017475 w 6884782"/>
              <a:gd name="connsiteY12909" fmla="*/ 4671359 h 5973007"/>
              <a:gd name="connsiteX12910" fmla="*/ 1012054 w 6884782"/>
              <a:gd name="connsiteY12910" fmla="*/ 4670120 h 5973007"/>
              <a:gd name="connsiteX12911" fmla="*/ 1007407 w 6884782"/>
              <a:gd name="connsiteY12911" fmla="*/ 4667332 h 5973007"/>
              <a:gd name="connsiteX12912" fmla="*/ 1006787 w 6884782"/>
              <a:gd name="connsiteY12912" fmla="*/ 4668468 h 5973007"/>
              <a:gd name="connsiteX12913" fmla="*/ 998577 w 6884782"/>
              <a:gd name="connsiteY12913" fmla="*/ 4667332 h 5973007"/>
              <a:gd name="connsiteX12914" fmla="*/ 998268 w 6884782"/>
              <a:gd name="connsiteY12914" fmla="*/ 4661033 h 5973007"/>
              <a:gd name="connsiteX12915" fmla="*/ 1003379 w 6884782"/>
              <a:gd name="connsiteY12915" fmla="*/ 4661549 h 5973007"/>
              <a:gd name="connsiteX12916" fmla="*/ 1007407 w 6884782"/>
              <a:gd name="connsiteY12916" fmla="*/ 4664750 h 5973007"/>
              <a:gd name="connsiteX12917" fmla="*/ 1008336 w 6884782"/>
              <a:gd name="connsiteY12917" fmla="*/ 4657936 h 5973007"/>
              <a:gd name="connsiteX12918" fmla="*/ 1012828 w 6884782"/>
              <a:gd name="connsiteY12918" fmla="*/ 4651017 h 5973007"/>
              <a:gd name="connsiteX12919" fmla="*/ 1025046 w 6884782"/>
              <a:gd name="connsiteY12919" fmla="*/ 4645545 h 5973007"/>
              <a:gd name="connsiteX12920" fmla="*/ 964810 w 6884782"/>
              <a:gd name="connsiteY12920" fmla="*/ 4644925 h 5973007"/>
              <a:gd name="connsiteX12921" fmla="*/ 975808 w 6884782"/>
              <a:gd name="connsiteY12921" fmla="*/ 4645751 h 5973007"/>
              <a:gd name="connsiteX12922" fmla="*/ 970851 w 6884782"/>
              <a:gd name="connsiteY12922" fmla="*/ 4650501 h 5973007"/>
              <a:gd name="connsiteX12923" fmla="*/ 964810 w 6884782"/>
              <a:gd name="connsiteY12923" fmla="*/ 4644925 h 5973007"/>
              <a:gd name="connsiteX12924" fmla="*/ 6078082 w 6884782"/>
              <a:gd name="connsiteY12924" fmla="*/ 4644220 h 5973007"/>
              <a:gd name="connsiteX12925" fmla="*/ 6079476 w 6884782"/>
              <a:gd name="connsiteY12925" fmla="*/ 4646285 h 5973007"/>
              <a:gd name="connsiteX12926" fmla="*/ 6074984 w 6884782"/>
              <a:gd name="connsiteY12926" fmla="*/ 4647525 h 5973007"/>
              <a:gd name="connsiteX12927" fmla="*/ 6073280 w 6884782"/>
              <a:gd name="connsiteY12927" fmla="*/ 4648661 h 5973007"/>
              <a:gd name="connsiteX12928" fmla="*/ 6073590 w 6884782"/>
              <a:gd name="connsiteY12928" fmla="*/ 4646699 h 5973007"/>
              <a:gd name="connsiteX12929" fmla="*/ 6076533 w 6884782"/>
              <a:gd name="connsiteY12929" fmla="*/ 4646492 h 5973007"/>
              <a:gd name="connsiteX12930" fmla="*/ 6076843 w 6884782"/>
              <a:gd name="connsiteY12930" fmla="*/ 4644530 h 5973007"/>
              <a:gd name="connsiteX12931" fmla="*/ 6078082 w 6884782"/>
              <a:gd name="connsiteY12931" fmla="*/ 4644220 h 5973007"/>
              <a:gd name="connsiteX12932" fmla="*/ 6191002 w 6884782"/>
              <a:gd name="connsiteY12932" fmla="*/ 4643601 h 5973007"/>
              <a:gd name="connsiteX12933" fmla="*/ 6192705 w 6884782"/>
              <a:gd name="connsiteY12933" fmla="*/ 4644840 h 5973007"/>
              <a:gd name="connsiteX12934" fmla="*/ 6193015 w 6884782"/>
              <a:gd name="connsiteY12934" fmla="*/ 4644840 h 5973007"/>
              <a:gd name="connsiteX12935" fmla="*/ 6192396 w 6884782"/>
              <a:gd name="connsiteY12935" fmla="*/ 4652687 h 5973007"/>
              <a:gd name="connsiteX12936" fmla="*/ 6189762 w 6884782"/>
              <a:gd name="connsiteY12936" fmla="*/ 4654649 h 5973007"/>
              <a:gd name="connsiteX12937" fmla="*/ 6186045 w 6884782"/>
              <a:gd name="connsiteY12937" fmla="*/ 4654752 h 5973007"/>
              <a:gd name="connsiteX12938" fmla="*/ 6183257 w 6884782"/>
              <a:gd name="connsiteY12938" fmla="*/ 4655578 h 5973007"/>
              <a:gd name="connsiteX12939" fmla="*/ 6180314 w 6884782"/>
              <a:gd name="connsiteY12939" fmla="*/ 4655166 h 5973007"/>
              <a:gd name="connsiteX12940" fmla="*/ 6178920 w 6884782"/>
              <a:gd name="connsiteY12940" fmla="*/ 4650829 h 5973007"/>
              <a:gd name="connsiteX12941" fmla="*/ 6182792 w 6884782"/>
              <a:gd name="connsiteY12941" fmla="*/ 4646699 h 5973007"/>
              <a:gd name="connsiteX12942" fmla="*/ 6182637 w 6884782"/>
              <a:gd name="connsiteY12942" fmla="*/ 4646079 h 5973007"/>
              <a:gd name="connsiteX12943" fmla="*/ 6191002 w 6884782"/>
              <a:gd name="connsiteY12943" fmla="*/ 4643601 h 5973007"/>
              <a:gd name="connsiteX12944" fmla="*/ 895417 w 6884782"/>
              <a:gd name="connsiteY12944" fmla="*/ 4642964 h 5973007"/>
              <a:gd name="connsiteX12945" fmla="*/ 890460 w 6884782"/>
              <a:gd name="connsiteY12945" fmla="*/ 4648849 h 5973007"/>
              <a:gd name="connsiteX12946" fmla="*/ 888447 w 6884782"/>
              <a:gd name="connsiteY12946" fmla="*/ 4648539 h 5973007"/>
              <a:gd name="connsiteX12947" fmla="*/ 888291 w 6884782"/>
              <a:gd name="connsiteY12947" fmla="*/ 4645958 h 5973007"/>
              <a:gd name="connsiteX12948" fmla="*/ 895417 w 6884782"/>
              <a:gd name="connsiteY12948" fmla="*/ 4642964 h 5973007"/>
              <a:gd name="connsiteX12949" fmla="*/ 1326028 w 6884782"/>
              <a:gd name="connsiteY12949" fmla="*/ 4642447 h 5973007"/>
              <a:gd name="connsiteX12950" fmla="*/ 1334392 w 6884782"/>
              <a:gd name="connsiteY12950" fmla="*/ 4646784 h 5973007"/>
              <a:gd name="connsiteX12951" fmla="*/ 1326803 w 6884782"/>
              <a:gd name="connsiteY12951" fmla="*/ 4652979 h 5973007"/>
              <a:gd name="connsiteX12952" fmla="*/ 1323705 w 6884782"/>
              <a:gd name="connsiteY12952" fmla="*/ 4651017 h 5973007"/>
              <a:gd name="connsiteX12953" fmla="*/ 1326028 w 6884782"/>
              <a:gd name="connsiteY12953" fmla="*/ 4642447 h 5973007"/>
              <a:gd name="connsiteX12954" fmla="*/ 6117794 w 6884782"/>
              <a:gd name="connsiteY12954" fmla="*/ 4642439 h 5973007"/>
              <a:gd name="connsiteX12955" fmla="*/ 6121453 w 6884782"/>
              <a:gd name="connsiteY12955" fmla="*/ 4646905 h 5973007"/>
              <a:gd name="connsiteX12956" fmla="*/ 6120524 w 6884782"/>
              <a:gd name="connsiteY12956" fmla="*/ 4651139 h 5973007"/>
              <a:gd name="connsiteX12957" fmla="*/ 6113863 w 6884782"/>
              <a:gd name="connsiteY12957" fmla="*/ 4654959 h 5973007"/>
              <a:gd name="connsiteX12958" fmla="*/ 6111540 w 6884782"/>
              <a:gd name="connsiteY12958" fmla="*/ 4650622 h 5973007"/>
              <a:gd name="connsiteX12959" fmla="*/ 6110301 w 6884782"/>
              <a:gd name="connsiteY12959" fmla="*/ 4646492 h 5973007"/>
              <a:gd name="connsiteX12960" fmla="*/ 6117794 w 6884782"/>
              <a:gd name="connsiteY12960" fmla="*/ 4642439 h 5973007"/>
              <a:gd name="connsiteX12961" fmla="*/ 1147433 w 6884782"/>
              <a:gd name="connsiteY12961" fmla="*/ 4641518 h 5973007"/>
              <a:gd name="connsiteX12962" fmla="*/ 1149446 w 6884782"/>
              <a:gd name="connsiteY12962" fmla="*/ 4643170 h 5973007"/>
              <a:gd name="connsiteX12963" fmla="*/ 1147433 w 6884782"/>
              <a:gd name="connsiteY12963" fmla="*/ 4644615 h 5973007"/>
              <a:gd name="connsiteX12964" fmla="*/ 1145729 w 6884782"/>
              <a:gd name="connsiteY12964" fmla="*/ 4643583 h 5973007"/>
              <a:gd name="connsiteX12965" fmla="*/ 1143251 w 6884782"/>
              <a:gd name="connsiteY12965" fmla="*/ 4644306 h 5973007"/>
              <a:gd name="connsiteX12966" fmla="*/ 1142166 w 6884782"/>
              <a:gd name="connsiteY12966" fmla="*/ 4642757 h 5973007"/>
              <a:gd name="connsiteX12967" fmla="*/ 1147433 w 6884782"/>
              <a:gd name="connsiteY12967" fmla="*/ 4641518 h 5973007"/>
              <a:gd name="connsiteX12968" fmla="*/ 1249819 w 6884782"/>
              <a:gd name="connsiteY12968" fmla="*/ 4641208 h 5973007"/>
              <a:gd name="connsiteX12969" fmla="*/ 1254931 w 6884782"/>
              <a:gd name="connsiteY12969" fmla="*/ 4664957 h 5973007"/>
              <a:gd name="connsiteX12970" fmla="*/ 1249819 w 6884782"/>
              <a:gd name="connsiteY12970" fmla="*/ 4641208 h 5973007"/>
              <a:gd name="connsiteX12971" fmla="*/ 1071843 w 6884782"/>
              <a:gd name="connsiteY12971" fmla="*/ 4640485 h 5973007"/>
              <a:gd name="connsiteX12972" fmla="*/ 1071843 w 6884782"/>
              <a:gd name="connsiteY12972" fmla="*/ 4646577 h 5973007"/>
              <a:gd name="connsiteX12973" fmla="*/ 1069830 w 6884782"/>
              <a:gd name="connsiteY12973" fmla="*/ 4648126 h 5973007"/>
              <a:gd name="connsiteX12974" fmla="*/ 1067041 w 6884782"/>
              <a:gd name="connsiteY12974" fmla="*/ 4647713 h 5973007"/>
              <a:gd name="connsiteX12975" fmla="*/ 1065028 w 6884782"/>
              <a:gd name="connsiteY12975" fmla="*/ 4646061 h 5973007"/>
              <a:gd name="connsiteX12976" fmla="*/ 1064408 w 6884782"/>
              <a:gd name="connsiteY12976" fmla="*/ 4640898 h 5973007"/>
              <a:gd name="connsiteX12977" fmla="*/ 1071843 w 6884782"/>
              <a:gd name="connsiteY12977" fmla="*/ 4640485 h 5973007"/>
              <a:gd name="connsiteX12978" fmla="*/ 1681825 w 6884782"/>
              <a:gd name="connsiteY12978" fmla="*/ 4640382 h 5973007"/>
              <a:gd name="connsiteX12979" fmla="*/ 1683839 w 6884782"/>
              <a:gd name="connsiteY12979" fmla="*/ 4651431 h 5973007"/>
              <a:gd name="connsiteX12980" fmla="*/ 1682599 w 6884782"/>
              <a:gd name="connsiteY12980" fmla="*/ 4653599 h 5973007"/>
              <a:gd name="connsiteX12981" fmla="*/ 1682290 w 6884782"/>
              <a:gd name="connsiteY12981" fmla="*/ 4655561 h 5973007"/>
              <a:gd name="connsiteX12982" fmla="*/ 1677953 w 6884782"/>
              <a:gd name="connsiteY12982" fmla="*/ 4659794 h 5973007"/>
              <a:gd name="connsiteX12983" fmla="*/ 1678727 w 6884782"/>
              <a:gd name="connsiteY12983" fmla="*/ 4642344 h 5973007"/>
              <a:gd name="connsiteX12984" fmla="*/ 1679656 w 6884782"/>
              <a:gd name="connsiteY12984" fmla="*/ 4640588 h 5973007"/>
              <a:gd name="connsiteX12985" fmla="*/ 1681825 w 6884782"/>
              <a:gd name="connsiteY12985" fmla="*/ 4640382 h 5973007"/>
              <a:gd name="connsiteX12986" fmla="*/ 6682178 w 6884782"/>
              <a:gd name="connsiteY12986" fmla="*/ 4639471 h 5973007"/>
              <a:gd name="connsiteX12987" fmla="*/ 6684656 w 6884782"/>
              <a:gd name="connsiteY12987" fmla="*/ 4640813 h 5973007"/>
              <a:gd name="connsiteX12988" fmla="*/ 6684811 w 6884782"/>
              <a:gd name="connsiteY12988" fmla="*/ 4642775 h 5973007"/>
              <a:gd name="connsiteX12989" fmla="*/ 6686825 w 6884782"/>
              <a:gd name="connsiteY12989" fmla="*/ 4644840 h 5973007"/>
              <a:gd name="connsiteX12990" fmla="*/ 6686050 w 6884782"/>
              <a:gd name="connsiteY12990" fmla="*/ 4646285 h 5973007"/>
              <a:gd name="connsiteX12991" fmla="*/ 6682023 w 6884782"/>
              <a:gd name="connsiteY12991" fmla="*/ 4642052 h 5973007"/>
              <a:gd name="connsiteX12992" fmla="*/ 6682178 w 6884782"/>
              <a:gd name="connsiteY12992" fmla="*/ 4639471 h 5973007"/>
              <a:gd name="connsiteX12993" fmla="*/ 6011942 w 6884782"/>
              <a:gd name="connsiteY12993" fmla="*/ 4639471 h 5973007"/>
              <a:gd name="connsiteX12994" fmla="*/ 6011631 w 6884782"/>
              <a:gd name="connsiteY12994" fmla="*/ 4647628 h 5973007"/>
              <a:gd name="connsiteX12995" fmla="*/ 6010857 w 6884782"/>
              <a:gd name="connsiteY12995" fmla="*/ 4640710 h 5973007"/>
              <a:gd name="connsiteX12996" fmla="*/ 6011942 w 6884782"/>
              <a:gd name="connsiteY12996" fmla="*/ 4639471 h 5973007"/>
              <a:gd name="connsiteX12997" fmla="*/ 6675052 w 6884782"/>
              <a:gd name="connsiteY12997" fmla="*/ 4638954 h 5973007"/>
              <a:gd name="connsiteX12998" fmla="*/ 6676292 w 6884782"/>
              <a:gd name="connsiteY12998" fmla="*/ 4640606 h 5973007"/>
              <a:gd name="connsiteX12999" fmla="*/ 6678615 w 6884782"/>
              <a:gd name="connsiteY12999" fmla="*/ 4645872 h 5973007"/>
              <a:gd name="connsiteX13000" fmla="*/ 6676911 w 6884782"/>
              <a:gd name="connsiteY13000" fmla="*/ 4646492 h 5973007"/>
              <a:gd name="connsiteX13001" fmla="*/ 6675982 w 6884782"/>
              <a:gd name="connsiteY13001" fmla="*/ 4645356 h 5973007"/>
              <a:gd name="connsiteX13002" fmla="*/ 6675207 w 6884782"/>
              <a:gd name="connsiteY13002" fmla="*/ 4642878 h 5973007"/>
              <a:gd name="connsiteX13003" fmla="*/ 6673968 w 6884782"/>
              <a:gd name="connsiteY13003" fmla="*/ 4641329 h 5973007"/>
              <a:gd name="connsiteX13004" fmla="*/ 6675052 w 6884782"/>
              <a:gd name="connsiteY13004" fmla="*/ 4638954 h 5973007"/>
              <a:gd name="connsiteX13005" fmla="*/ 6656000 w 6884782"/>
              <a:gd name="connsiteY13005" fmla="*/ 4638748 h 5973007"/>
              <a:gd name="connsiteX13006" fmla="*/ 6659098 w 6884782"/>
              <a:gd name="connsiteY13006" fmla="*/ 4646699 h 5973007"/>
              <a:gd name="connsiteX13007" fmla="*/ 6658014 w 6884782"/>
              <a:gd name="connsiteY13007" fmla="*/ 4648454 h 5973007"/>
              <a:gd name="connsiteX13008" fmla="*/ 6655845 w 6884782"/>
              <a:gd name="connsiteY13008" fmla="*/ 4647111 h 5973007"/>
              <a:gd name="connsiteX13009" fmla="*/ 6656000 w 6884782"/>
              <a:gd name="connsiteY13009" fmla="*/ 4638748 h 5973007"/>
              <a:gd name="connsiteX13010" fmla="*/ 1270421 w 6884782"/>
              <a:gd name="connsiteY13010" fmla="*/ 4638214 h 5973007"/>
              <a:gd name="connsiteX13011" fmla="*/ 1269336 w 6884782"/>
              <a:gd name="connsiteY13011" fmla="*/ 4641105 h 5973007"/>
              <a:gd name="connsiteX13012" fmla="*/ 1270266 w 6884782"/>
              <a:gd name="connsiteY13012" fmla="*/ 4641105 h 5973007"/>
              <a:gd name="connsiteX13013" fmla="*/ 1270576 w 6884782"/>
              <a:gd name="connsiteY13013" fmla="*/ 4645235 h 5973007"/>
              <a:gd name="connsiteX13014" fmla="*/ 1267632 w 6884782"/>
              <a:gd name="connsiteY13014" fmla="*/ 4646268 h 5973007"/>
              <a:gd name="connsiteX13015" fmla="*/ 1266858 w 6884782"/>
              <a:gd name="connsiteY13015" fmla="*/ 4648436 h 5973007"/>
              <a:gd name="connsiteX13016" fmla="*/ 1263605 w 6884782"/>
              <a:gd name="connsiteY13016" fmla="*/ 4654838 h 5973007"/>
              <a:gd name="connsiteX13017" fmla="*/ 1262211 w 6884782"/>
              <a:gd name="connsiteY13017" fmla="*/ 4656180 h 5973007"/>
              <a:gd name="connsiteX13018" fmla="*/ 1260197 w 6884782"/>
              <a:gd name="connsiteY13018" fmla="*/ 4655664 h 5973007"/>
              <a:gd name="connsiteX13019" fmla="*/ 1262211 w 6884782"/>
              <a:gd name="connsiteY13019" fmla="*/ 4644203 h 5973007"/>
              <a:gd name="connsiteX13020" fmla="*/ 1264070 w 6884782"/>
              <a:gd name="connsiteY13020" fmla="*/ 4642550 h 5973007"/>
              <a:gd name="connsiteX13021" fmla="*/ 1265000 w 6884782"/>
              <a:gd name="connsiteY13021" fmla="*/ 4640795 h 5973007"/>
              <a:gd name="connsiteX13022" fmla="*/ 1270421 w 6884782"/>
              <a:gd name="connsiteY13022" fmla="*/ 4638214 h 5973007"/>
              <a:gd name="connsiteX13023" fmla="*/ 1436624 w 6884782"/>
              <a:gd name="connsiteY13023" fmla="*/ 4638110 h 5973007"/>
              <a:gd name="connsiteX13024" fmla="*/ 1444059 w 6884782"/>
              <a:gd name="connsiteY13024" fmla="*/ 4647713 h 5973007"/>
              <a:gd name="connsiteX13025" fmla="*/ 1438793 w 6884782"/>
              <a:gd name="connsiteY13025" fmla="*/ 4647404 h 5973007"/>
              <a:gd name="connsiteX13026" fmla="*/ 1436624 w 6884782"/>
              <a:gd name="connsiteY13026" fmla="*/ 4638110 h 5973007"/>
              <a:gd name="connsiteX13027" fmla="*/ 1481389 w 6884782"/>
              <a:gd name="connsiteY13027" fmla="*/ 4637801 h 5973007"/>
              <a:gd name="connsiteX13028" fmla="*/ 1465435 w 6884782"/>
              <a:gd name="connsiteY13028" fmla="*/ 4654425 h 5973007"/>
              <a:gd name="connsiteX13029" fmla="*/ 1466984 w 6884782"/>
              <a:gd name="connsiteY13029" fmla="*/ 4649262 h 5973007"/>
              <a:gd name="connsiteX13030" fmla="*/ 1465900 w 6884782"/>
              <a:gd name="connsiteY13030" fmla="*/ 4648643 h 5973007"/>
              <a:gd name="connsiteX13031" fmla="*/ 1464196 w 6884782"/>
              <a:gd name="connsiteY13031" fmla="*/ 4645648 h 5973007"/>
              <a:gd name="connsiteX13032" fmla="*/ 1470082 w 6884782"/>
              <a:gd name="connsiteY13032" fmla="*/ 4640898 h 5973007"/>
              <a:gd name="connsiteX13033" fmla="*/ 1471321 w 6884782"/>
              <a:gd name="connsiteY13033" fmla="*/ 4643067 h 5973007"/>
              <a:gd name="connsiteX13034" fmla="*/ 1471631 w 6884782"/>
              <a:gd name="connsiteY13034" fmla="*/ 4643273 h 5973007"/>
              <a:gd name="connsiteX13035" fmla="*/ 6464703 w 6884782"/>
              <a:gd name="connsiteY13035" fmla="*/ 4637715 h 5973007"/>
              <a:gd name="connsiteX13036" fmla="*/ 6464084 w 6884782"/>
              <a:gd name="connsiteY13036" fmla="*/ 4642672 h 5973007"/>
              <a:gd name="connsiteX13037" fmla="*/ 6461141 w 6884782"/>
              <a:gd name="connsiteY13037" fmla="*/ 4645976 h 5973007"/>
              <a:gd name="connsiteX13038" fmla="*/ 6460366 w 6884782"/>
              <a:gd name="connsiteY13038" fmla="*/ 4649280 h 5973007"/>
              <a:gd name="connsiteX13039" fmla="*/ 6460831 w 6884782"/>
              <a:gd name="connsiteY13039" fmla="*/ 4648557 h 5973007"/>
              <a:gd name="connsiteX13040" fmla="*/ 6468886 w 6884782"/>
              <a:gd name="connsiteY13040" fmla="*/ 4646492 h 5973007"/>
              <a:gd name="connsiteX13041" fmla="*/ 6470125 w 6884782"/>
              <a:gd name="connsiteY13041" fmla="*/ 4646389 h 5973007"/>
              <a:gd name="connsiteX13042" fmla="*/ 837331 w 6884782"/>
              <a:gd name="connsiteY13042" fmla="*/ 4637594 h 5973007"/>
              <a:gd name="connsiteX13043" fmla="*/ 849412 w 6884782"/>
              <a:gd name="connsiteY13043" fmla="*/ 4680342 h 5973007"/>
              <a:gd name="connsiteX13044" fmla="*/ 828191 w 6884782"/>
              <a:gd name="connsiteY13044" fmla="*/ 4639349 h 5973007"/>
              <a:gd name="connsiteX13045" fmla="*/ 837331 w 6884782"/>
              <a:gd name="connsiteY13045" fmla="*/ 4637594 h 5973007"/>
              <a:gd name="connsiteX13046" fmla="*/ 1550202 w 6884782"/>
              <a:gd name="connsiteY13046" fmla="*/ 4636807 h 5973007"/>
              <a:gd name="connsiteX13047" fmla="*/ 1563949 w 6884782"/>
              <a:gd name="connsiteY13047" fmla="*/ 4637594 h 5973007"/>
              <a:gd name="connsiteX13048" fmla="*/ 1560232 w 6884782"/>
              <a:gd name="connsiteY13048" fmla="*/ 4640485 h 5973007"/>
              <a:gd name="connsiteX13049" fmla="*/ 1560851 w 6884782"/>
              <a:gd name="connsiteY13049" fmla="*/ 4642344 h 5973007"/>
              <a:gd name="connsiteX13050" fmla="*/ 1559457 w 6884782"/>
              <a:gd name="connsiteY13050" fmla="*/ 4647300 h 5973007"/>
              <a:gd name="connsiteX13051" fmla="*/ 1566117 w 6884782"/>
              <a:gd name="connsiteY13051" fmla="*/ 4645338 h 5973007"/>
              <a:gd name="connsiteX13052" fmla="*/ 1574328 w 6884782"/>
              <a:gd name="connsiteY13052" fmla="*/ 4646681 h 5973007"/>
              <a:gd name="connsiteX13053" fmla="*/ 1587184 w 6884782"/>
              <a:gd name="connsiteY13053" fmla="*/ 4670016 h 5973007"/>
              <a:gd name="connsiteX13054" fmla="*/ 1585170 w 6884782"/>
              <a:gd name="connsiteY13054" fmla="*/ 4671978 h 5973007"/>
              <a:gd name="connsiteX13055" fmla="*/ 1576806 w 6884782"/>
              <a:gd name="connsiteY13055" fmla="*/ 4673527 h 5973007"/>
              <a:gd name="connsiteX13056" fmla="*/ 1571694 w 6884782"/>
              <a:gd name="connsiteY13056" fmla="*/ 4672495 h 5973007"/>
              <a:gd name="connsiteX13057" fmla="*/ 1573243 w 6884782"/>
              <a:gd name="connsiteY13057" fmla="*/ 4675179 h 5973007"/>
              <a:gd name="connsiteX13058" fmla="*/ 1572158 w 6884782"/>
              <a:gd name="connsiteY13058" fmla="*/ 4676315 h 5973007"/>
              <a:gd name="connsiteX13059" fmla="*/ 1572933 w 6884782"/>
              <a:gd name="connsiteY13059" fmla="*/ 4676522 h 5973007"/>
              <a:gd name="connsiteX13060" fmla="*/ 1574792 w 6884782"/>
              <a:gd name="connsiteY13060" fmla="*/ 4676315 h 5973007"/>
              <a:gd name="connsiteX13061" fmla="*/ 1579903 w 6884782"/>
              <a:gd name="connsiteY13061" fmla="*/ 4679516 h 5973007"/>
              <a:gd name="connsiteX13062" fmla="*/ 1563949 w 6884782"/>
              <a:gd name="connsiteY13062" fmla="*/ 4683543 h 5973007"/>
              <a:gd name="connsiteX13063" fmla="*/ 1561935 w 6884782"/>
              <a:gd name="connsiteY13063" fmla="*/ 4683027 h 5973007"/>
              <a:gd name="connsiteX13064" fmla="*/ 1561316 w 6884782"/>
              <a:gd name="connsiteY13064" fmla="*/ 4680962 h 5973007"/>
              <a:gd name="connsiteX13065" fmla="*/ 1563795 w 6884782"/>
              <a:gd name="connsiteY13065" fmla="*/ 4678587 h 5973007"/>
              <a:gd name="connsiteX13066" fmla="*/ 1561780 w 6884782"/>
              <a:gd name="connsiteY13066" fmla="*/ 4677761 h 5973007"/>
              <a:gd name="connsiteX13067" fmla="*/ 1559767 w 6884782"/>
              <a:gd name="connsiteY13067" fmla="*/ 4675386 h 5973007"/>
              <a:gd name="connsiteX13068" fmla="*/ 1559612 w 6884782"/>
              <a:gd name="connsiteY13068" fmla="*/ 4677864 h 5973007"/>
              <a:gd name="connsiteX13069" fmla="*/ 1544277 w 6884782"/>
              <a:gd name="connsiteY13069" fmla="*/ 4666506 h 5973007"/>
              <a:gd name="connsiteX13070" fmla="*/ 1544897 w 6884782"/>
              <a:gd name="connsiteY13070" fmla="*/ 4661033 h 5973007"/>
              <a:gd name="connsiteX13071" fmla="*/ 1560077 w 6884782"/>
              <a:gd name="connsiteY13071" fmla="*/ 4671462 h 5973007"/>
              <a:gd name="connsiteX13072" fmla="*/ 1559922 w 6884782"/>
              <a:gd name="connsiteY13072" fmla="*/ 4674044 h 5973007"/>
              <a:gd name="connsiteX13073" fmla="*/ 1564569 w 6884782"/>
              <a:gd name="connsiteY13073" fmla="*/ 4670326 h 5973007"/>
              <a:gd name="connsiteX13074" fmla="*/ 1568441 w 6884782"/>
              <a:gd name="connsiteY13074" fmla="*/ 4671049 h 5973007"/>
              <a:gd name="connsiteX13075" fmla="*/ 1565034 w 6884782"/>
              <a:gd name="connsiteY13075" fmla="*/ 4669190 h 5973007"/>
              <a:gd name="connsiteX13076" fmla="*/ 1557598 w 6884782"/>
              <a:gd name="connsiteY13076" fmla="*/ 4659175 h 5973007"/>
              <a:gd name="connsiteX13077" fmla="*/ 1556360 w 6884782"/>
              <a:gd name="connsiteY13077" fmla="*/ 4653702 h 5973007"/>
              <a:gd name="connsiteX13078" fmla="*/ 1557133 w 6884782"/>
              <a:gd name="connsiteY13078" fmla="*/ 4648333 h 5973007"/>
              <a:gd name="connsiteX13079" fmla="*/ 1555895 w 6884782"/>
              <a:gd name="connsiteY13079" fmla="*/ 4648230 h 5973007"/>
              <a:gd name="connsiteX13080" fmla="*/ 1553416 w 6884782"/>
              <a:gd name="connsiteY13080" fmla="*/ 4645545 h 5973007"/>
              <a:gd name="connsiteX13081" fmla="*/ 1553571 w 6884782"/>
              <a:gd name="connsiteY13081" fmla="*/ 4643273 h 5973007"/>
              <a:gd name="connsiteX13082" fmla="*/ 1549543 w 6884782"/>
              <a:gd name="connsiteY13082" fmla="*/ 4644099 h 5973007"/>
              <a:gd name="connsiteX13083" fmla="*/ 1537152 w 6884782"/>
              <a:gd name="connsiteY13083" fmla="*/ 4637801 h 5973007"/>
              <a:gd name="connsiteX13084" fmla="*/ 1550202 w 6884782"/>
              <a:gd name="connsiteY13084" fmla="*/ 4636807 h 5973007"/>
              <a:gd name="connsiteX13085" fmla="*/ 6410180 w 6884782"/>
              <a:gd name="connsiteY13085" fmla="*/ 4636579 h 5973007"/>
              <a:gd name="connsiteX13086" fmla="*/ 6415446 w 6884782"/>
              <a:gd name="connsiteY13086" fmla="*/ 4638644 h 5973007"/>
              <a:gd name="connsiteX13087" fmla="*/ 6416221 w 6884782"/>
              <a:gd name="connsiteY13087" fmla="*/ 4644840 h 5973007"/>
              <a:gd name="connsiteX13088" fmla="*/ 6419629 w 6884782"/>
              <a:gd name="connsiteY13088" fmla="*/ 4644324 h 5973007"/>
              <a:gd name="connsiteX13089" fmla="*/ 6422881 w 6884782"/>
              <a:gd name="connsiteY13089" fmla="*/ 4652068 h 5973007"/>
              <a:gd name="connsiteX13090" fmla="*/ 6418080 w 6884782"/>
              <a:gd name="connsiteY13090" fmla="*/ 4656198 h 5973007"/>
              <a:gd name="connsiteX13091" fmla="*/ 6411574 w 6884782"/>
              <a:gd name="connsiteY13091" fmla="*/ 4649177 h 5973007"/>
              <a:gd name="connsiteX13092" fmla="*/ 6414052 w 6884782"/>
              <a:gd name="connsiteY13092" fmla="*/ 4645356 h 5973007"/>
              <a:gd name="connsiteX13093" fmla="*/ 6412968 w 6884782"/>
              <a:gd name="connsiteY13093" fmla="*/ 4645150 h 5973007"/>
              <a:gd name="connsiteX13094" fmla="*/ 6411419 w 6884782"/>
              <a:gd name="connsiteY13094" fmla="*/ 4643084 h 5973007"/>
              <a:gd name="connsiteX13095" fmla="*/ 6410180 w 6884782"/>
              <a:gd name="connsiteY13095" fmla="*/ 4636579 h 5973007"/>
              <a:gd name="connsiteX13096" fmla="*/ 5954785 w 6884782"/>
              <a:gd name="connsiteY13096" fmla="*/ 4636063 h 5973007"/>
              <a:gd name="connsiteX13097" fmla="*/ 5960516 w 6884782"/>
              <a:gd name="connsiteY13097" fmla="*/ 4637922 h 5973007"/>
              <a:gd name="connsiteX13098" fmla="*/ 5960981 w 6884782"/>
              <a:gd name="connsiteY13098" fmla="*/ 4649177 h 5973007"/>
              <a:gd name="connsiteX13099" fmla="*/ 5953081 w 6884782"/>
              <a:gd name="connsiteY13099" fmla="*/ 4653410 h 5973007"/>
              <a:gd name="connsiteX13100" fmla="*/ 5953855 w 6884782"/>
              <a:gd name="connsiteY13100" fmla="*/ 4653410 h 5973007"/>
              <a:gd name="connsiteX13101" fmla="*/ 5955404 w 6884782"/>
              <a:gd name="connsiteY13101" fmla="*/ 4655269 h 5973007"/>
              <a:gd name="connsiteX13102" fmla="*/ 5956798 w 6884782"/>
              <a:gd name="connsiteY13102" fmla="*/ 4655269 h 5973007"/>
              <a:gd name="connsiteX13103" fmla="*/ 5958502 w 6884782"/>
              <a:gd name="connsiteY13103" fmla="*/ 4655269 h 5973007"/>
              <a:gd name="connsiteX13104" fmla="*/ 5958657 w 6884782"/>
              <a:gd name="connsiteY13104" fmla="*/ 4656095 h 5973007"/>
              <a:gd name="connsiteX13105" fmla="*/ 5956334 w 6884782"/>
              <a:gd name="connsiteY13105" fmla="*/ 4656508 h 5973007"/>
              <a:gd name="connsiteX13106" fmla="*/ 5958812 w 6884782"/>
              <a:gd name="connsiteY13106" fmla="*/ 4659606 h 5973007"/>
              <a:gd name="connsiteX13107" fmla="*/ 5960826 w 6884782"/>
              <a:gd name="connsiteY13107" fmla="*/ 4659296 h 5973007"/>
              <a:gd name="connsiteX13108" fmla="*/ 5959586 w 6884782"/>
              <a:gd name="connsiteY13108" fmla="*/ 4660844 h 5973007"/>
              <a:gd name="connsiteX13109" fmla="*/ 5960826 w 6884782"/>
              <a:gd name="connsiteY13109" fmla="*/ 4663116 h 5973007"/>
              <a:gd name="connsiteX13110" fmla="*/ 5960981 w 6884782"/>
              <a:gd name="connsiteY13110" fmla="*/ 4665595 h 5973007"/>
              <a:gd name="connsiteX13111" fmla="*/ 5958657 w 6884782"/>
              <a:gd name="connsiteY13111" fmla="*/ 4664768 h 5973007"/>
              <a:gd name="connsiteX13112" fmla="*/ 5957883 w 6884782"/>
              <a:gd name="connsiteY13112" fmla="*/ 4663839 h 5973007"/>
              <a:gd name="connsiteX13113" fmla="*/ 5957108 w 6884782"/>
              <a:gd name="connsiteY13113" fmla="*/ 4663839 h 5973007"/>
              <a:gd name="connsiteX13114" fmla="*/ 5957108 w 6884782"/>
              <a:gd name="connsiteY13114" fmla="*/ 4663529 h 5973007"/>
              <a:gd name="connsiteX13115" fmla="*/ 5953545 w 6884782"/>
              <a:gd name="connsiteY13115" fmla="*/ 4665078 h 5973007"/>
              <a:gd name="connsiteX13116" fmla="*/ 5947814 w 6884782"/>
              <a:gd name="connsiteY13116" fmla="*/ 4668073 h 5973007"/>
              <a:gd name="connsiteX13117" fmla="*/ 5947350 w 6884782"/>
              <a:gd name="connsiteY13117" fmla="*/ 4664562 h 5973007"/>
              <a:gd name="connsiteX13118" fmla="*/ 5949053 w 6884782"/>
              <a:gd name="connsiteY13118" fmla="*/ 4664459 h 5973007"/>
              <a:gd name="connsiteX13119" fmla="*/ 5954010 w 6884782"/>
              <a:gd name="connsiteY13119" fmla="*/ 4660535 h 5973007"/>
              <a:gd name="connsiteX13120" fmla="*/ 5954475 w 6884782"/>
              <a:gd name="connsiteY13120" fmla="*/ 4660432 h 5973007"/>
              <a:gd name="connsiteX13121" fmla="*/ 5952926 w 6884782"/>
              <a:gd name="connsiteY13121" fmla="*/ 4659606 h 5973007"/>
              <a:gd name="connsiteX13122" fmla="*/ 5950912 w 6884782"/>
              <a:gd name="connsiteY13122" fmla="*/ 4658573 h 5973007"/>
              <a:gd name="connsiteX13123" fmla="*/ 5950757 w 6884782"/>
              <a:gd name="connsiteY13123" fmla="*/ 4658367 h 5973007"/>
              <a:gd name="connsiteX13124" fmla="*/ 5950293 w 6884782"/>
              <a:gd name="connsiteY13124" fmla="*/ 4658573 h 5973007"/>
              <a:gd name="connsiteX13125" fmla="*/ 5947040 w 6884782"/>
              <a:gd name="connsiteY13125" fmla="*/ 4658470 h 5973007"/>
              <a:gd name="connsiteX13126" fmla="*/ 5947969 w 6884782"/>
              <a:gd name="connsiteY13126" fmla="*/ 4658367 h 5973007"/>
              <a:gd name="connsiteX13127" fmla="*/ 5947040 w 6884782"/>
              <a:gd name="connsiteY13127" fmla="*/ 4657644 h 5973007"/>
              <a:gd name="connsiteX13128" fmla="*/ 5949673 w 6884782"/>
              <a:gd name="connsiteY13128" fmla="*/ 4656714 h 5973007"/>
              <a:gd name="connsiteX13129" fmla="*/ 5949364 w 6884782"/>
              <a:gd name="connsiteY13129" fmla="*/ 4656198 h 5973007"/>
              <a:gd name="connsiteX13130" fmla="*/ 5947969 w 6884782"/>
              <a:gd name="connsiteY13130" fmla="*/ 4653307 h 5973007"/>
              <a:gd name="connsiteX13131" fmla="*/ 5949828 w 6884782"/>
              <a:gd name="connsiteY13131" fmla="*/ 4651551 h 5973007"/>
              <a:gd name="connsiteX13132" fmla="*/ 5948279 w 6884782"/>
              <a:gd name="connsiteY13132" fmla="*/ 4649796 h 5973007"/>
              <a:gd name="connsiteX13133" fmla="*/ 5950293 w 6884782"/>
              <a:gd name="connsiteY13133" fmla="*/ 4638644 h 5973007"/>
              <a:gd name="connsiteX13134" fmla="*/ 5954785 w 6884782"/>
              <a:gd name="connsiteY13134" fmla="*/ 4636063 h 5973007"/>
              <a:gd name="connsiteX13135" fmla="*/ 1501836 w 6884782"/>
              <a:gd name="connsiteY13135" fmla="*/ 4635632 h 5973007"/>
              <a:gd name="connsiteX13136" fmla="*/ 1504314 w 6884782"/>
              <a:gd name="connsiteY13136" fmla="*/ 4643996 h 5973007"/>
              <a:gd name="connsiteX13137" fmla="*/ 1497344 w 6884782"/>
              <a:gd name="connsiteY13137" fmla="*/ 4645854 h 5973007"/>
              <a:gd name="connsiteX13138" fmla="*/ 1490683 w 6884782"/>
              <a:gd name="connsiteY13138" fmla="*/ 4644719 h 5973007"/>
              <a:gd name="connsiteX13139" fmla="*/ 1501836 w 6884782"/>
              <a:gd name="connsiteY13139" fmla="*/ 4635632 h 5973007"/>
              <a:gd name="connsiteX13140" fmla="*/ 1324169 w 6884782"/>
              <a:gd name="connsiteY13140" fmla="*/ 4635219 h 5973007"/>
              <a:gd name="connsiteX13141" fmla="*/ 1324169 w 6884782"/>
              <a:gd name="connsiteY13141" fmla="*/ 4638007 h 5973007"/>
              <a:gd name="connsiteX13142" fmla="*/ 1323705 w 6884782"/>
              <a:gd name="connsiteY13142" fmla="*/ 4639143 h 5973007"/>
              <a:gd name="connsiteX13143" fmla="*/ 1323860 w 6884782"/>
              <a:gd name="connsiteY13143" fmla="*/ 4640072 h 5973007"/>
              <a:gd name="connsiteX13144" fmla="*/ 1323085 w 6884782"/>
              <a:gd name="connsiteY13144" fmla="*/ 4640382 h 5973007"/>
              <a:gd name="connsiteX13145" fmla="*/ 1322002 w 6884782"/>
              <a:gd name="connsiteY13145" fmla="*/ 4642654 h 5973007"/>
              <a:gd name="connsiteX13146" fmla="*/ 1321071 w 6884782"/>
              <a:gd name="connsiteY13146" fmla="*/ 4648436 h 5973007"/>
              <a:gd name="connsiteX13147" fmla="*/ 1320917 w 6884782"/>
              <a:gd name="connsiteY13147" fmla="*/ 4648849 h 5973007"/>
              <a:gd name="connsiteX13148" fmla="*/ 1322466 w 6884782"/>
              <a:gd name="connsiteY13148" fmla="*/ 4651431 h 5973007"/>
              <a:gd name="connsiteX13149" fmla="*/ 1319058 w 6884782"/>
              <a:gd name="connsiteY13149" fmla="*/ 4664131 h 5973007"/>
              <a:gd name="connsiteX13150" fmla="*/ 1317045 w 6884782"/>
              <a:gd name="connsiteY13150" fmla="*/ 4665060 h 5973007"/>
              <a:gd name="connsiteX13151" fmla="*/ 1323240 w 6884782"/>
              <a:gd name="connsiteY13151" fmla="*/ 4666300 h 5973007"/>
              <a:gd name="connsiteX13152" fmla="*/ 1332069 w 6884782"/>
              <a:gd name="connsiteY13152" fmla="*/ 4676418 h 5973007"/>
              <a:gd name="connsiteX13153" fmla="*/ 1312553 w 6884782"/>
              <a:gd name="connsiteY13153" fmla="*/ 4671566 h 5973007"/>
              <a:gd name="connsiteX13154" fmla="*/ 1310539 w 6884782"/>
              <a:gd name="connsiteY13154" fmla="*/ 4666300 h 5973007"/>
              <a:gd name="connsiteX13155" fmla="*/ 1314101 w 6884782"/>
              <a:gd name="connsiteY13155" fmla="*/ 4665370 h 5973007"/>
              <a:gd name="connsiteX13156" fmla="*/ 1310849 w 6884782"/>
              <a:gd name="connsiteY13156" fmla="*/ 4662066 h 5973007"/>
              <a:gd name="connsiteX13157" fmla="*/ 1309919 w 6884782"/>
              <a:gd name="connsiteY13157" fmla="*/ 4659175 h 5973007"/>
              <a:gd name="connsiteX13158" fmla="*/ 1303569 w 6884782"/>
              <a:gd name="connsiteY13158" fmla="*/ 4658452 h 5973007"/>
              <a:gd name="connsiteX13159" fmla="*/ 1300006 w 6884782"/>
              <a:gd name="connsiteY13159" fmla="*/ 4655354 h 5973007"/>
              <a:gd name="connsiteX13160" fmla="*/ 1299851 w 6884782"/>
              <a:gd name="connsiteY13160" fmla="*/ 4648952 h 5973007"/>
              <a:gd name="connsiteX13161" fmla="*/ 1298767 w 6884782"/>
              <a:gd name="connsiteY13161" fmla="*/ 4644203 h 5973007"/>
              <a:gd name="connsiteX13162" fmla="*/ 1308989 w 6884782"/>
              <a:gd name="connsiteY13162" fmla="*/ 4637698 h 5973007"/>
              <a:gd name="connsiteX13163" fmla="*/ 1312243 w 6884782"/>
              <a:gd name="connsiteY13163" fmla="*/ 4643893 h 5973007"/>
              <a:gd name="connsiteX13164" fmla="*/ 1311778 w 6884782"/>
              <a:gd name="connsiteY13164" fmla="*/ 4644203 h 5973007"/>
              <a:gd name="connsiteX13165" fmla="*/ 1313946 w 6884782"/>
              <a:gd name="connsiteY13165" fmla="*/ 4645442 h 5973007"/>
              <a:gd name="connsiteX13166" fmla="*/ 1315805 w 6884782"/>
              <a:gd name="connsiteY13166" fmla="*/ 4645235 h 5973007"/>
              <a:gd name="connsiteX13167" fmla="*/ 1316734 w 6884782"/>
              <a:gd name="connsiteY13167" fmla="*/ 4645648 h 5973007"/>
              <a:gd name="connsiteX13168" fmla="*/ 1319833 w 6884782"/>
              <a:gd name="connsiteY13168" fmla="*/ 4639969 h 5973007"/>
              <a:gd name="connsiteX13169" fmla="*/ 1324169 w 6884782"/>
              <a:gd name="connsiteY13169" fmla="*/ 4635219 h 5973007"/>
              <a:gd name="connsiteX13170" fmla="*/ 6726633 w 6884782"/>
              <a:gd name="connsiteY13170" fmla="*/ 4634928 h 5973007"/>
              <a:gd name="connsiteX13171" fmla="*/ 6731125 w 6884782"/>
              <a:gd name="connsiteY13171" fmla="*/ 4637509 h 5973007"/>
              <a:gd name="connsiteX13172" fmla="*/ 6731125 w 6884782"/>
              <a:gd name="connsiteY13172" fmla="*/ 4639471 h 5973007"/>
              <a:gd name="connsiteX13173" fmla="*/ 6727407 w 6884782"/>
              <a:gd name="connsiteY13173" fmla="*/ 4640297 h 5973007"/>
              <a:gd name="connsiteX13174" fmla="*/ 6724464 w 6884782"/>
              <a:gd name="connsiteY13174" fmla="*/ 4637509 h 5973007"/>
              <a:gd name="connsiteX13175" fmla="*/ 6724464 w 6884782"/>
              <a:gd name="connsiteY13175" fmla="*/ 4635547 h 5973007"/>
              <a:gd name="connsiteX13176" fmla="*/ 6726633 w 6884782"/>
              <a:gd name="connsiteY13176" fmla="*/ 4634928 h 5973007"/>
              <a:gd name="connsiteX13177" fmla="*/ 1760048 w 6884782"/>
              <a:gd name="connsiteY13177" fmla="*/ 4634909 h 5973007"/>
              <a:gd name="connsiteX13178" fmla="*/ 1759893 w 6884782"/>
              <a:gd name="connsiteY13178" fmla="*/ 4635529 h 5973007"/>
              <a:gd name="connsiteX13179" fmla="*/ 1761597 w 6884782"/>
              <a:gd name="connsiteY13179" fmla="*/ 4635529 h 5973007"/>
              <a:gd name="connsiteX13180" fmla="*/ 1760822 w 6884782"/>
              <a:gd name="connsiteY13180" fmla="*/ 4635219 h 5973007"/>
              <a:gd name="connsiteX13181" fmla="*/ 1760668 w 6884782"/>
              <a:gd name="connsiteY13181" fmla="*/ 4635426 h 5973007"/>
              <a:gd name="connsiteX13182" fmla="*/ 1760048 w 6884782"/>
              <a:gd name="connsiteY13182" fmla="*/ 4634909 h 5973007"/>
              <a:gd name="connsiteX13183" fmla="*/ 870169 w 6884782"/>
              <a:gd name="connsiteY13183" fmla="*/ 4634600 h 5973007"/>
              <a:gd name="connsiteX13184" fmla="*/ 864438 w 6884782"/>
              <a:gd name="connsiteY13184" fmla="*/ 4641931 h 5973007"/>
              <a:gd name="connsiteX13185" fmla="*/ 870169 w 6884782"/>
              <a:gd name="connsiteY13185" fmla="*/ 4634600 h 5973007"/>
              <a:gd name="connsiteX13186" fmla="*/ 5759151 w 6884782"/>
              <a:gd name="connsiteY13186" fmla="*/ 4634308 h 5973007"/>
              <a:gd name="connsiteX13187" fmla="*/ 5762559 w 6884782"/>
              <a:gd name="connsiteY13187" fmla="*/ 4644117 h 5973007"/>
              <a:gd name="connsiteX13188" fmla="*/ 5760390 w 6884782"/>
              <a:gd name="connsiteY13188" fmla="*/ 4644014 h 5973007"/>
              <a:gd name="connsiteX13189" fmla="*/ 5757757 w 6884782"/>
              <a:gd name="connsiteY13189" fmla="*/ 4643395 h 5973007"/>
              <a:gd name="connsiteX13190" fmla="*/ 5759151 w 6884782"/>
              <a:gd name="connsiteY13190" fmla="*/ 4634308 h 5973007"/>
              <a:gd name="connsiteX13191" fmla="*/ 1147123 w 6884782"/>
              <a:gd name="connsiteY13191" fmla="*/ 4634083 h 5973007"/>
              <a:gd name="connsiteX13192" fmla="*/ 1149446 w 6884782"/>
              <a:gd name="connsiteY13192" fmla="*/ 4634703 h 5973007"/>
              <a:gd name="connsiteX13193" fmla="*/ 1151305 w 6884782"/>
              <a:gd name="connsiteY13193" fmla="*/ 4634600 h 5973007"/>
              <a:gd name="connsiteX13194" fmla="*/ 1152854 w 6884782"/>
              <a:gd name="connsiteY13194" fmla="*/ 4636975 h 5973007"/>
              <a:gd name="connsiteX13195" fmla="*/ 1150996 w 6884782"/>
              <a:gd name="connsiteY13195" fmla="*/ 4637078 h 5973007"/>
              <a:gd name="connsiteX13196" fmla="*/ 1145574 w 6884782"/>
              <a:gd name="connsiteY13196" fmla="*/ 4636252 h 5973007"/>
              <a:gd name="connsiteX13197" fmla="*/ 1147123 w 6884782"/>
              <a:gd name="connsiteY13197" fmla="*/ 4634083 h 5973007"/>
              <a:gd name="connsiteX13198" fmla="*/ 1202731 w 6884782"/>
              <a:gd name="connsiteY13198" fmla="*/ 4633877 h 5973007"/>
              <a:gd name="connsiteX13199" fmla="*/ 1203816 w 6884782"/>
              <a:gd name="connsiteY13199" fmla="*/ 4638730 h 5973007"/>
              <a:gd name="connsiteX13200" fmla="*/ 1205054 w 6884782"/>
              <a:gd name="connsiteY13200" fmla="*/ 4637801 h 5973007"/>
              <a:gd name="connsiteX13201" fmla="*/ 1207223 w 6884782"/>
              <a:gd name="connsiteY13201" fmla="*/ 4639143 h 5973007"/>
              <a:gd name="connsiteX13202" fmla="*/ 1205829 w 6884782"/>
              <a:gd name="connsiteY13202" fmla="*/ 4641105 h 5973007"/>
              <a:gd name="connsiteX13203" fmla="*/ 1204744 w 6884782"/>
              <a:gd name="connsiteY13203" fmla="*/ 4641931 h 5973007"/>
              <a:gd name="connsiteX13204" fmla="*/ 1207687 w 6884782"/>
              <a:gd name="connsiteY13204" fmla="*/ 4648023 h 5973007"/>
              <a:gd name="connsiteX13205" fmla="*/ 1210011 w 6884782"/>
              <a:gd name="connsiteY13205" fmla="*/ 4660310 h 5973007"/>
              <a:gd name="connsiteX13206" fmla="*/ 1203970 w 6884782"/>
              <a:gd name="connsiteY13206" fmla="*/ 4653289 h 5973007"/>
              <a:gd name="connsiteX13207" fmla="*/ 1199788 w 6884782"/>
              <a:gd name="connsiteY13207" fmla="*/ 4648539 h 5973007"/>
              <a:gd name="connsiteX13208" fmla="*/ 1199788 w 6884782"/>
              <a:gd name="connsiteY13208" fmla="*/ 4648849 h 5973007"/>
              <a:gd name="connsiteX13209" fmla="*/ 1197310 w 6884782"/>
              <a:gd name="connsiteY13209" fmla="*/ 4649985 h 5973007"/>
              <a:gd name="connsiteX13210" fmla="*/ 1196845 w 6884782"/>
              <a:gd name="connsiteY13210" fmla="*/ 4647816 h 5973007"/>
              <a:gd name="connsiteX13211" fmla="*/ 1198084 w 6884782"/>
              <a:gd name="connsiteY13211" fmla="*/ 4646577 h 5973007"/>
              <a:gd name="connsiteX13212" fmla="*/ 1197774 w 6884782"/>
              <a:gd name="connsiteY13212" fmla="*/ 4646268 h 5973007"/>
              <a:gd name="connsiteX13213" fmla="*/ 1202731 w 6884782"/>
              <a:gd name="connsiteY13213" fmla="*/ 4633877 h 5973007"/>
              <a:gd name="connsiteX13214" fmla="*/ 1426092 w 6884782"/>
              <a:gd name="connsiteY13214" fmla="*/ 4632328 h 5973007"/>
              <a:gd name="connsiteX13215" fmla="*/ 1425162 w 6884782"/>
              <a:gd name="connsiteY13215" fmla="*/ 4636562 h 5973007"/>
              <a:gd name="connsiteX13216" fmla="*/ 1421600 w 6884782"/>
              <a:gd name="connsiteY13216" fmla="*/ 4633257 h 5973007"/>
              <a:gd name="connsiteX13217" fmla="*/ 1426092 w 6884782"/>
              <a:gd name="connsiteY13217" fmla="*/ 4632328 h 5973007"/>
              <a:gd name="connsiteX13218" fmla="*/ 727354 w 6884782"/>
              <a:gd name="connsiteY13218" fmla="*/ 4632121 h 5973007"/>
              <a:gd name="connsiteX13219" fmla="*/ 730762 w 6884782"/>
              <a:gd name="connsiteY13219" fmla="*/ 4638833 h 5973007"/>
              <a:gd name="connsiteX13220" fmla="*/ 721933 w 6884782"/>
              <a:gd name="connsiteY13220" fmla="*/ 4642757 h 5973007"/>
              <a:gd name="connsiteX13221" fmla="*/ 718525 w 6884782"/>
              <a:gd name="connsiteY13221" fmla="*/ 4642550 h 5973007"/>
              <a:gd name="connsiteX13222" fmla="*/ 727354 w 6884782"/>
              <a:gd name="connsiteY13222" fmla="*/ 4632121 h 5973007"/>
              <a:gd name="connsiteX13223" fmla="*/ 1644805 w 6884782"/>
              <a:gd name="connsiteY13223" fmla="*/ 4631605 h 5973007"/>
              <a:gd name="connsiteX13224" fmla="*/ 1652240 w 6884782"/>
              <a:gd name="connsiteY13224" fmla="*/ 4634497 h 5973007"/>
              <a:gd name="connsiteX13225" fmla="*/ 1656887 w 6884782"/>
              <a:gd name="connsiteY13225" fmla="*/ 4639556 h 5973007"/>
              <a:gd name="connsiteX13226" fmla="*/ 1657816 w 6884782"/>
              <a:gd name="connsiteY13226" fmla="*/ 4638523 h 5973007"/>
              <a:gd name="connsiteX13227" fmla="*/ 1665251 w 6884782"/>
              <a:gd name="connsiteY13227" fmla="*/ 4643376 h 5973007"/>
              <a:gd name="connsiteX13228" fmla="*/ 1657506 w 6884782"/>
              <a:gd name="connsiteY13228" fmla="*/ 4650811 h 5973007"/>
              <a:gd name="connsiteX13229" fmla="*/ 1655028 w 6884782"/>
              <a:gd name="connsiteY13229" fmla="*/ 4649159 h 5973007"/>
              <a:gd name="connsiteX13230" fmla="*/ 1654253 w 6884782"/>
              <a:gd name="connsiteY13230" fmla="*/ 4646474 h 5973007"/>
              <a:gd name="connsiteX13231" fmla="*/ 1651931 w 6884782"/>
              <a:gd name="connsiteY13231" fmla="*/ 4648436 h 5973007"/>
              <a:gd name="connsiteX13232" fmla="*/ 1650381 w 6884782"/>
              <a:gd name="connsiteY13232" fmla="*/ 4650604 h 5973007"/>
              <a:gd name="connsiteX13233" fmla="*/ 1652240 w 6884782"/>
              <a:gd name="connsiteY13233" fmla="*/ 4651017 h 5973007"/>
              <a:gd name="connsiteX13234" fmla="*/ 1651466 w 6884782"/>
              <a:gd name="connsiteY13234" fmla="*/ 4651947 h 5973007"/>
              <a:gd name="connsiteX13235" fmla="*/ 1651775 w 6884782"/>
              <a:gd name="connsiteY13235" fmla="*/ 4652050 h 5973007"/>
              <a:gd name="connsiteX13236" fmla="*/ 1649916 w 6884782"/>
              <a:gd name="connsiteY13236" fmla="*/ 4652979 h 5973007"/>
              <a:gd name="connsiteX13237" fmla="*/ 1648833 w 6884782"/>
              <a:gd name="connsiteY13237" fmla="*/ 4652566 h 5973007"/>
              <a:gd name="connsiteX13238" fmla="*/ 1647128 w 6884782"/>
              <a:gd name="connsiteY13238" fmla="*/ 4654632 h 5973007"/>
              <a:gd name="connsiteX13239" fmla="*/ 1642017 w 6884782"/>
              <a:gd name="connsiteY13239" fmla="*/ 4659588 h 5973007"/>
              <a:gd name="connsiteX13240" fmla="*/ 1637370 w 6884782"/>
              <a:gd name="connsiteY13240" fmla="*/ 4661549 h 5973007"/>
              <a:gd name="connsiteX13241" fmla="*/ 1637525 w 6884782"/>
              <a:gd name="connsiteY13241" fmla="*/ 4661756 h 5973007"/>
              <a:gd name="connsiteX13242" fmla="*/ 1628851 w 6884782"/>
              <a:gd name="connsiteY13242" fmla="*/ 4670533 h 5973007"/>
              <a:gd name="connsiteX13243" fmla="*/ 1624049 w 6884782"/>
              <a:gd name="connsiteY13243" fmla="*/ 4670430 h 5973007"/>
              <a:gd name="connsiteX13244" fmla="*/ 1617699 w 6884782"/>
              <a:gd name="connsiteY13244" fmla="*/ 4669500 h 5973007"/>
              <a:gd name="connsiteX13245" fmla="*/ 1607630 w 6884782"/>
              <a:gd name="connsiteY13245" fmla="*/ 4665680 h 5973007"/>
              <a:gd name="connsiteX13246" fmla="*/ 1606700 w 6884782"/>
              <a:gd name="connsiteY13246" fmla="*/ 4662892 h 5973007"/>
              <a:gd name="connsiteX13247" fmla="*/ 1620641 w 6884782"/>
              <a:gd name="connsiteY13247" fmla="*/ 4653599 h 5973007"/>
              <a:gd name="connsiteX13248" fmla="*/ 1627456 w 6884782"/>
              <a:gd name="connsiteY13248" fmla="*/ 4655457 h 5973007"/>
              <a:gd name="connsiteX13249" fmla="*/ 1625907 w 6884782"/>
              <a:gd name="connsiteY13249" fmla="*/ 4652463 h 5973007"/>
              <a:gd name="connsiteX13250" fmla="*/ 1644805 w 6884782"/>
              <a:gd name="connsiteY13250" fmla="*/ 4631605 h 5973007"/>
              <a:gd name="connsiteX13251" fmla="*/ 1134886 w 6884782"/>
              <a:gd name="connsiteY13251" fmla="*/ 4631399 h 5973007"/>
              <a:gd name="connsiteX13252" fmla="*/ 1141237 w 6884782"/>
              <a:gd name="connsiteY13252" fmla="*/ 4636768 h 5973007"/>
              <a:gd name="connsiteX13253" fmla="*/ 1138604 w 6884782"/>
              <a:gd name="connsiteY13253" fmla="*/ 4638627 h 5973007"/>
              <a:gd name="connsiteX13254" fmla="*/ 1131634 w 6884782"/>
              <a:gd name="connsiteY13254" fmla="*/ 4635013 h 5973007"/>
              <a:gd name="connsiteX13255" fmla="*/ 1131014 w 6884782"/>
              <a:gd name="connsiteY13255" fmla="*/ 4632947 h 5973007"/>
              <a:gd name="connsiteX13256" fmla="*/ 1134886 w 6884782"/>
              <a:gd name="connsiteY13256" fmla="*/ 4631399 h 5973007"/>
              <a:gd name="connsiteX13257" fmla="*/ 6320030 w 6884782"/>
              <a:gd name="connsiteY13257" fmla="*/ 4629868 h 5973007"/>
              <a:gd name="connsiteX13258" fmla="*/ 6320185 w 6884782"/>
              <a:gd name="connsiteY13258" fmla="*/ 4644220 h 5973007"/>
              <a:gd name="connsiteX13259" fmla="*/ 6310427 w 6884782"/>
              <a:gd name="connsiteY13259" fmla="*/ 4637612 h 5973007"/>
              <a:gd name="connsiteX13260" fmla="*/ 6320030 w 6884782"/>
              <a:gd name="connsiteY13260" fmla="*/ 4629868 h 5973007"/>
              <a:gd name="connsiteX13261" fmla="*/ 6067239 w 6884782"/>
              <a:gd name="connsiteY13261" fmla="*/ 4629868 h 5973007"/>
              <a:gd name="connsiteX13262" fmla="*/ 6078547 w 6884782"/>
              <a:gd name="connsiteY13262" fmla="*/ 4640297 h 5973007"/>
              <a:gd name="connsiteX13263" fmla="*/ 6079476 w 6884782"/>
              <a:gd name="connsiteY13263" fmla="*/ 4641949 h 5973007"/>
              <a:gd name="connsiteX13264" fmla="*/ 6078082 w 6884782"/>
              <a:gd name="connsiteY13264" fmla="*/ 4644220 h 5973007"/>
              <a:gd name="connsiteX13265" fmla="*/ 6067859 w 6884782"/>
              <a:gd name="connsiteY13265" fmla="*/ 4637715 h 5973007"/>
              <a:gd name="connsiteX13266" fmla="*/ 6066930 w 6884782"/>
              <a:gd name="connsiteY13266" fmla="*/ 4636166 h 5973007"/>
              <a:gd name="connsiteX13267" fmla="*/ 6067239 w 6884782"/>
              <a:gd name="connsiteY13267" fmla="*/ 4629868 h 5973007"/>
              <a:gd name="connsiteX13268" fmla="*/ 1447157 w 6884782"/>
              <a:gd name="connsiteY13268" fmla="*/ 4629540 h 5973007"/>
              <a:gd name="connsiteX13269" fmla="*/ 1449791 w 6884782"/>
              <a:gd name="connsiteY13269" fmla="*/ 4634806 h 5973007"/>
              <a:gd name="connsiteX13270" fmla="*/ 1451030 w 6884782"/>
              <a:gd name="connsiteY13270" fmla="*/ 4640072 h 5973007"/>
              <a:gd name="connsiteX13271" fmla="*/ 1455986 w 6884782"/>
              <a:gd name="connsiteY13271" fmla="*/ 4638730 h 5973007"/>
              <a:gd name="connsiteX13272" fmla="*/ 1459704 w 6884782"/>
              <a:gd name="connsiteY13272" fmla="*/ 4641311 h 5973007"/>
              <a:gd name="connsiteX13273" fmla="*/ 1460323 w 6884782"/>
              <a:gd name="connsiteY13273" fmla="*/ 4648849 h 5973007"/>
              <a:gd name="connsiteX13274" fmla="*/ 1455522 w 6884782"/>
              <a:gd name="connsiteY13274" fmla="*/ 4649366 h 5973007"/>
              <a:gd name="connsiteX13275" fmla="*/ 1453043 w 6884782"/>
              <a:gd name="connsiteY13275" fmla="*/ 4648952 h 5973007"/>
              <a:gd name="connsiteX13276" fmla="*/ 1452579 w 6884782"/>
              <a:gd name="connsiteY13276" fmla="*/ 4649985 h 5973007"/>
              <a:gd name="connsiteX13277" fmla="*/ 1452734 w 6884782"/>
              <a:gd name="connsiteY13277" fmla="*/ 4650708 h 5973007"/>
              <a:gd name="connsiteX13278" fmla="*/ 1453353 w 6884782"/>
              <a:gd name="connsiteY13278" fmla="*/ 4649985 h 5973007"/>
              <a:gd name="connsiteX13279" fmla="*/ 1454282 w 6884782"/>
              <a:gd name="connsiteY13279" fmla="*/ 4649778 h 5973007"/>
              <a:gd name="connsiteX13280" fmla="*/ 1457690 w 6884782"/>
              <a:gd name="connsiteY13280" fmla="*/ 4651534 h 5973007"/>
              <a:gd name="connsiteX13281" fmla="*/ 1458929 w 6884782"/>
              <a:gd name="connsiteY13281" fmla="*/ 4650501 h 5973007"/>
              <a:gd name="connsiteX13282" fmla="*/ 1462802 w 6884782"/>
              <a:gd name="connsiteY13282" fmla="*/ 4662272 h 5973007"/>
              <a:gd name="connsiteX13283" fmla="*/ 1451959 w 6884782"/>
              <a:gd name="connsiteY13283" fmla="*/ 4658865 h 5973007"/>
              <a:gd name="connsiteX13284" fmla="*/ 1453198 w 6884782"/>
              <a:gd name="connsiteY13284" fmla="*/ 4656697 h 5973007"/>
              <a:gd name="connsiteX13285" fmla="*/ 1451030 w 6884782"/>
              <a:gd name="connsiteY13285" fmla="*/ 4655148 h 5973007"/>
              <a:gd name="connsiteX13286" fmla="*/ 1451649 w 6884782"/>
              <a:gd name="connsiteY13286" fmla="*/ 4652153 h 5973007"/>
              <a:gd name="connsiteX13287" fmla="*/ 1451339 w 6884782"/>
              <a:gd name="connsiteY13287" fmla="*/ 4652256 h 5973007"/>
              <a:gd name="connsiteX13288" fmla="*/ 1449791 w 6884782"/>
              <a:gd name="connsiteY13288" fmla="*/ 4650604 h 5973007"/>
              <a:gd name="connsiteX13289" fmla="*/ 1449171 w 6884782"/>
              <a:gd name="connsiteY13289" fmla="*/ 4647816 h 5973007"/>
              <a:gd name="connsiteX13290" fmla="*/ 1447932 w 6884782"/>
              <a:gd name="connsiteY13290" fmla="*/ 4643789 h 5973007"/>
              <a:gd name="connsiteX13291" fmla="*/ 1447157 w 6884782"/>
              <a:gd name="connsiteY13291" fmla="*/ 4629540 h 5973007"/>
              <a:gd name="connsiteX13292" fmla="*/ 1384424 w 6884782"/>
              <a:gd name="connsiteY13292" fmla="*/ 4629321 h 5973007"/>
              <a:gd name="connsiteX13293" fmla="*/ 1392944 w 6884782"/>
              <a:gd name="connsiteY13293" fmla="*/ 4633877 h 5973007"/>
              <a:gd name="connsiteX13294" fmla="*/ 1394492 w 6884782"/>
              <a:gd name="connsiteY13294" fmla="*/ 4635839 h 5973007"/>
              <a:gd name="connsiteX13295" fmla="*/ 1394803 w 6884782"/>
              <a:gd name="connsiteY13295" fmla="*/ 4636045 h 5973007"/>
              <a:gd name="connsiteX13296" fmla="*/ 1395267 w 6884782"/>
              <a:gd name="connsiteY13296" fmla="*/ 4634806 h 5973007"/>
              <a:gd name="connsiteX13297" fmla="*/ 1396506 w 6884782"/>
              <a:gd name="connsiteY13297" fmla="*/ 4634600 h 5973007"/>
              <a:gd name="connsiteX13298" fmla="*/ 1398829 w 6884782"/>
              <a:gd name="connsiteY13298" fmla="*/ 4635219 h 5973007"/>
              <a:gd name="connsiteX13299" fmla="*/ 1400688 w 6884782"/>
              <a:gd name="connsiteY13299" fmla="*/ 4635013 h 5973007"/>
              <a:gd name="connsiteX13300" fmla="*/ 1401928 w 6884782"/>
              <a:gd name="connsiteY13300" fmla="*/ 4637284 h 5973007"/>
              <a:gd name="connsiteX13301" fmla="*/ 1400069 w 6884782"/>
              <a:gd name="connsiteY13301" fmla="*/ 4637491 h 5973007"/>
              <a:gd name="connsiteX13302" fmla="*/ 1397281 w 6884782"/>
              <a:gd name="connsiteY13302" fmla="*/ 4636871 h 5973007"/>
              <a:gd name="connsiteX13303" fmla="*/ 1395887 w 6884782"/>
              <a:gd name="connsiteY13303" fmla="*/ 4636768 h 5973007"/>
              <a:gd name="connsiteX13304" fmla="*/ 1397745 w 6884782"/>
              <a:gd name="connsiteY13304" fmla="*/ 4638110 h 5973007"/>
              <a:gd name="connsiteX13305" fmla="*/ 1396351 w 6884782"/>
              <a:gd name="connsiteY13305" fmla="*/ 4640279 h 5973007"/>
              <a:gd name="connsiteX13306" fmla="*/ 1396042 w 6884782"/>
              <a:gd name="connsiteY13306" fmla="*/ 4642241 h 5973007"/>
              <a:gd name="connsiteX13307" fmla="*/ 1397590 w 6884782"/>
              <a:gd name="connsiteY13307" fmla="*/ 4643686 h 5973007"/>
              <a:gd name="connsiteX13308" fmla="*/ 1395267 w 6884782"/>
              <a:gd name="connsiteY13308" fmla="*/ 4645132 h 5973007"/>
              <a:gd name="connsiteX13309" fmla="*/ 1394957 w 6884782"/>
              <a:gd name="connsiteY13309" fmla="*/ 4645029 h 5973007"/>
              <a:gd name="connsiteX13310" fmla="*/ 1392944 w 6884782"/>
              <a:gd name="connsiteY13310" fmla="*/ 4647816 h 5973007"/>
              <a:gd name="connsiteX13311" fmla="*/ 1384889 w 6884782"/>
              <a:gd name="connsiteY13311" fmla="*/ 4651431 h 5973007"/>
              <a:gd name="connsiteX13312" fmla="*/ 1381326 w 6884782"/>
              <a:gd name="connsiteY13312" fmla="*/ 4650191 h 5973007"/>
              <a:gd name="connsiteX13313" fmla="*/ 1381171 w 6884782"/>
              <a:gd name="connsiteY13313" fmla="*/ 4650088 h 5973007"/>
              <a:gd name="connsiteX13314" fmla="*/ 1380552 w 6884782"/>
              <a:gd name="connsiteY13314" fmla="*/ 4651431 h 5973007"/>
              <a:gd name="connsiteX13315" fmla="*/ 1377764 w 6884782"/>
              <a:gd name="connsiteY13315" fmla="*/ 4649881 h 5973007"/>
              <a:gd name="connsiteX13316" fmla="*/ 1377454 w 6884782"/>
              <a:gd name="connsiteY13316" fmla="*/ 4647300 h 5973007"/>
              <a:gd name="connsiteX13317" fmla="*/ 1377919 w 6884782"/>
              <a:gd name="connsiteY13317" fmla="*/ 4646681 h 5973007"/>
              <a:gd name="connsiteX13318" fmla="*/ 1376989 w 6884782"/>
              <a:gd name="connsiteY13318" fmla="*/ 4644822 h 5973007"/>
              <a:gd name="connsiteX13319" fmla="*/ 1375440 w 6884782"/>
              <a:gd name="connsiteY13319" fmla="*/ 4638214 h 5973007"/>
              <a:gd name="connsiteX13320" fmla="*/ 1377764 w 6884782"/>
              <a:gd name="connsiteY13320" fmla="*/ 4633051 h 5973007"/>
              <a:gd name="connsiteX13321" fmla="*/ 1384424 w 6884782"/>
              <a:gd name="connsiteY13321" fmla="*/ 4629321 h 5973007"/>
              <a:gd name="connsiteX13322" fmla="*/ 6114018 w 6884782"/>
              <a:gd name="connsiteY13322" fmla="*/ 4628835 h 5973007"/>
              <a:gd name="connsiteX13323" fmla="*/ 6108287 w 6884782"/>
              <a:gd name="connsiteY13323" fmla="*/ 4639677 h 5973007"/>
              <a:gd name="connsiteX13324" fmla="*/ 6106583 w 6884782"/>
              <a:gd name="connsiteY13324" fmla="*/ 4634617 h 5973007"/>
              <a:gd name="connsiteX13325" fmla="*/ 6114018 w 6884782"/>
              <a:gd name="connsiteY13325" fmla="*/ 4628835 h 5973007"/>
              <a:gd name="connsiteX13326" fmla="*/ 5805465 w 6884782"/>
              <a:gd name="connsiteY13326" fmla="*/ 4628629 h 5973007"/>
              <a:gd name="connsiteX13327" fmla="*/ 5803916 w 6884782"/>
              <a:gd name="connsiteY13327" fmla="*/ 4638748 h 5973007"/>
              <a:gd name="connsiteX13328" fmla="*/ 5799888 w 6884782"/>
              <a:gd name="connsiteY13328" fmla="*/ 4636373 h 5973007"/>
              <a:gd name="connsiteX13329" fmla="*/ 5805465 w 6884782"/>
              <a:gd name="connsiteY13329" fmla="*/ 4628629 h 5973007"/>
              <a:gd name="connsiteX13330" fmla="*/ 1738362 w 6884782"/>
              <a:gd name="connsiteY13330" fmla="*/ 4627475 h 5973007"/>
              <a:gd name="connsiteX13331" fmla="*/ 1740222 w 6884782"/>
              <a:gd name="connsiteY13331" fmla="*/ 4627475 h 5973007"/>
              <a:gd name="connsiteX13332" fmla="*/ 1744713 w 6884782"/>
              <a:gd name="connsiteY13332" fmla="*/ 4631915 h 5973007"/>
              <a:gd name="connsiteX13333" fmla="*/ 1742699 w 6884782"/>
              <a:gd name="connsiteY13333" fmla="*/ 4633877 h 5973007"/>
              <a:gd name="connsiteX13334" fmla="*/ 1741460 w 6884782"/>
              <a:gd name="connsiteY13334" fmla="*/ 4633877 h 5973007"/>
              <a:gd name="connsiteX13335" fmla="*/ 1739446 w 6884782"/>
              <a:gd name="connsiteY13335" fmla="*/ 4638317 h 5973007"/>
              <a:gd name="connsiteX13336" fmla="*/ 1728759 w 6884782"/>
              <a:gd name="connsiteY13336" fmla="*/ 4642654 h 5973007"/>
              <a:gd name="connsiteX13337" fmla="*/ 1736968 w 6884782"/>
              <a:gd name="connsiteY13337" fmla="*/ 4633361 h 5973007"/>
              <a:gd name="connsiteX13338" fmla="*/ 1739911 w 6884782"/>
              <a:gd name="connsiteY13338" fmla="*/ 4633464 h 5973007"/>
              <a:gd name="connsiteX13339" fmla="*/ 1737743 w 6884782"/>
              <a:gd name="connsiteY13339" fmla="*/ 4632328 h 5973007"/>
              <a:gd name="connsiteX13340" fmla="*/ 1736658 w 6884782"/>
              <a:gd name="connsiteY13340" fmla="*/ 4628301 h 5973007"/>
              <a:gd name="connsiteX13341" fmla="*/ 1736968 w 6884782"/>
              <a:gd name="connsiteY13341" fmla="*/ 4629024 h 5973007"/>
              <a:gd name="connsiteX13342" fmla="*/ 1738517 w 6884782"/>
              <a:gd name="connsiteY13342" fmla="*/ 4628301 h 5973007"/>
              <a:gd name="connsiteX13343" fmla="*/ 1738362 w 6884782"/>
              <a:gd name="connsiteY13343" fmla="*/ 4627475 h 5973007"/>
              <a:gd name="connsiteX13344" fmla="*/ 689714 w 6884782"/>
              <a:gd name="connsiteY13344" fmla="*/ 4627269 h 5973007"/>
              <a:gd name="connsiteX13345" fmla="*/ 695291 w 6884782"/>
              <a:gd name="connsiteY13345" fmla="*/ 4629231 h 5973007"/>
              <a:gd name="connsiteX13346" fmla="*/ 689095 w 6884782"/>
              <a:gd name="connsiteY13346" fmla="*/ 4633670 h 5973007"/>
              <a:gd name="connsiteX13347" fmla="*/ 689714 w 6884782"/>
              <a:gd name="connsiteY13347" fmla="*/ 4627269 h 5973007"/>
              <a:gd name="connsiteX13348" fmla="*/ 6607208 w 6884782"/>
              <a:gd name="connsiteY13348" fmla="*/ 4626770 h 5973007"/>
              <a:gd name="connsiteX13349" fmla="*/ 6619600 w 6884782"/>
              <a:gd name="connsiteY13349" fmla="*/ 4629971 h 5973007"/>
              <a:gd name="connsiteX13350" fmla="*/ 6613094 w 6884782"/>
              <a:gd name="connsiteY13350" fmla="*/ 4637405 h 5973007"/>
              <a:gd name="connsiteX13351" fmla="*/ 6605969 w 6884782"/>
              <a:gd name="connsiteY13351" fmla="*/ 4633998 h 5973007"/>
              <a:gd name="connsiteX13352" fmla="*/ 6607208 w 6884782"/>
              <a:gd name="connsiteY13352" fmla="*/ 4626770 h 5973007"/>
              <a:gd name="connsiteX13353" fmla="*/ 6640511 w 6884782"/>
              <a:gd name="connsiteY13353" fmla="*/ 4626564 h 5973007"/>
              <a:gd name="connsiteX13354" fmla="*/ 6646397 w 6884782"/>
              <a:gd name="connsiteY13354" fmla="*/ 4631107 h 5973007"/>
              <a:gd name="connsiteX13355" fmla="*/ 6642679 w 6884782"/>
              <a:gd name="connsiteY13355" fmla="*/ 4637922 h 5973007"/>
              <a:gd name="connsiteX13356" fmla="*/ 6640511 w 6884782"/>
              <a:gd name="connsiteY13356" fmla="*/ 4626564 h 5973007"/>
              <a:gd name="connsiteX13357" fmla="*/ 1530956 w 6884782"/>
              <a:gd name="connsiteY13357" fmla="*/ 4626133 h 5973007"/>
              <a:gd name="connsiteX13358" fmla="*/ 1536532 w 6884782"/>
              <a:gd name="connsiteY13358" fmla="*/ 4642447 h 5973007"/>
              <a:gd name="connsiteX13359" fmla="*/ 1518720 w 6884782"/>
              <a:gd name="connsiteY13359" fmla="*/ 4665060 h 5973007"/>
              <a:gd name="connsiteX13360" fmla="*/ 1516396 w 6884782"/>
              <a:gd name="connsiteY13360" fmla="*/ 4663924 h 5973007"/>
              <a:gd name="connsiteX13361" fmla="*/ 1513607 w 6884782"/>
              <a:gd name="connsiteY13361" fmla="*/ 4659071 h 5973007"/>
              <a:gd name="connsiteX13362" fmla="*/ 1530956 w 6884782"/>
              <a:gd name="connsiteY13362" fmla="*/ 4626133 h 5973007"/>
              <a:gd name="connsiteX13363" fmla="*/ 6173034 w 6884782"/>
              <a:gd name="connsiteY13363" fmla="*/ 4625518 h 5973007"/>
              <a:gd name="connsiteX13364" fmla="*/ 6184496 w 6884782"/>
              <a:gd name="connsiteY13364" fmla="*/ 4633585 h 5973007"/>
              <a:gd name="connsiteX13365" fmla="*/ 6184186 w 6884782"/>
              <a:gd name="connsiteY13365" fmla="*/ 4636270 h 5973007"/>
              <a:gd name="connsiteX13366" fmla="*/ 6164515 w 6884782"/>
              <a:gd name="connsiteY13366" fmla="*/ 4648247 h 5973007"/>
              <a:gd name="connsiteX13367" fmla="*/ 6146082 w 6884782"/>
              <a:gd name="connsiteY13367" fmla="*/ 4638748 h 5973007"/>
              <a:gd name="connsiteX13368" fmla="*/ 6159248 w 6884782"/>
              <a:gd name="connsiteY13368" fmla="*/ 4626047 h 5973007"/>
              <a:gd name="connsiteX13369" fmla="*/ 6173034 w 6884782"/>
              <a:gd name="connsiteY13369" fmla="*/ 4625518 h 5973007"/>
              <a:gd name="connsiteX13370" fmla="*/ 5851469 w 6884782"/>
              <a:gd name="connsiteY13370" fmla="*/ 4625221 h 5973007"/>
              <a:gd name="connsiteX13371" fmla="*/ 5846048 w 6884782"/>
              <a:gd name="connsiteY13371" fmla="*/ 4639883 h 5973007"/>
              <a:gd name="connsiteX13372" fmla="*/ 5840471 w 6884782"/>
              <a:gd name="connsiteY13372" fmla="*/ 4639883 h 5973007"/>
              <a:gd name="connsiteX13373" fmla="*/ 5851469 w 6884782"/>
              <a:gd name="connsiteY13373" fmla="*/ 4625221 h 5973007"/>
              <a:gd name="connsiteX13374" fmla="*/ 1507489 w 6884782"/>
              <a:gd name="connsiteY13374" fmla="*/ 4623100 h 5973007"/>
              <a:gd name="connsiteX13375" fmla="*/ 1512369 w 6884782"/>
              <a:gd name="connsiteY13375" fmla="*/ 4626133 h 5973007"/>
              <a:gd name="connsiteX13376" fmla="*/ 1506173 w 6884782"/>
              <a:gd name="connsiteY13376" fmla="*/ 4628301 h 5973007"/>
              <a:gd name="connsiteX13377" fmla="*/ 1504469 w 6884782"/>
              <a:gd name="connsiteY13377" fmla="*/ 4626959 h 5973007"/>
              <a:gd name="connsiteX13378" fmla="*/ 1507489 w 6884782"/>
              <a:gd name="connsiteY13378" fmla="*/ 4623100 h 5973007"/>
              <a:gd name="connsiteX13379" fmla="*/ 1791182 w 6884782"/>
              <a:gd name="connsiteY13379" fmla="*/ 4622829 h 5973007"/>
              <a:gd name="connsiteX13380" fmla="*/ 1790408 w 6884782"/>
              <a:gd name="connsiteY13380" fmla="*/ 4634186 h 5973007"/>
              <a:gd name="connsiteX13381" fmla="*/ 1789788 w 6884782"/>
              <a:gd name="connsiteY13381" fmla="*/ 4637284 h 5973007"/>
              <a:gd name="connsiteX13382" fmla="*/ 1790873 w 6884782"/>
              <a:gd name="connsiteY13382" fmla="*/ 4637387 h 5973007"/>
              <a:gd name="connsiteX13383" fmla="*/ 1792266 w 6884782"/>
              <a:gd name="connsiteY13383" fmla="*/ 4638317 h 5973007"/>
              <a:gd name="connsiteX13384" fmla="*/ 1794125 w 6884782"/>
              <a:gd name="connsiteY13384" fmla="*/ 4638007 h 5973007"/>
              <a:gd name="connsiteX13385" fmla="*/ 1794435 w 6884782"/>
              <a:gd name="connsiteY13385" fmla="*/ 4637594 h 5973007"/>
              <a:gd name="connsiteX13386" fmla="*/ 1794589 w 6884782"/>
              <a:gd name="connsiteY13386" fmla="*/ 4634600 h 5973007"/>
              <a:gd name="connsiteX13387" fmla="*/ 1796448 w 6884782"/>
              <a:gd name="connsiteY13387" fmla="*/ 4633877 h 5973007"/>
              <a:gd name="connsiteX13388" fmla="*/ 1797223 w 6884782"/>
              <a:gd name="connsiteY13388" fmla="*/ 4636562 h 5973007"/>
              <a:gd name="connsiteX13389" fmla="*/ 1794900 w 6884782"/>
              <a:gd name="connsiteY13389" fmla="*/ 4637904 h 5973007"/>
              <a:gd name="connsiteX13390" fmla="*/ 1801560 w 6884782"/>
              <a:gd name="connsiteY13390" fmla="*/ 4636665 h 5973007"/>
              <a:gd name="connsiteX13391" fmla="*/ 1804194 w 6884782"/>
              <a:gd name="connsiteY13391" fmla="*/ 4637078 h 5973007"/>
              <a:gd name="connsiteX13392" fmla="*/ 1804038 w 6884782"/>
              <a:gd name="connsiteY13392" fmla="*/ 4636045 h 5973007"/>
              <a:gd name="connsiteX13393" fmla="*/ 1808685 w 6884782"/>
              <a:gd name="connsiteY13393" fmla="*/ 4637491 h 5973007"/>
              <a:gd name="connsiteX13394" fmla="*/ 1808530 w 6884782"/>
              <a:gd name="connsiteY13394" fmla="*/ 4637801 h 5973007"/>
              <a:gd name="connsiteX13395" fmla="*/ 1812868 w 6884782"/>
              <a:gd name="connsiteY13395" fmla="*/ 4638523 h 5973007"/>
              <a:gd name="connsiteX13396" fmla="*/ 1819218 w 6884782"/>
              <a:gd name="connsiteY13396" fmla="*/ 4642137 h 5973007"/>
              <a:gd name="connsiteX13397" fmla="*/ 1802954 w 6884782"/>
              <a:gd name="connsiteY13397" fmla="*/ 4646784 h 5973007"/>
              <a:gd name="connsiteX13398" fmla="*/ 1802489 w 6884782"/>
              <a:gd name="connsiteY13398" fmla="*/ 4663408 h 5973007"/>
              <a:gd name="connsiteX13399" fmla="*/ 1796758 w 6884782"/>
              <a:gd name="connsiteY13399" fmla="*/ 4651017 h 5973007"/>
              <a:gd name="connsiteX13400" fmla="*/ 1796138 w 6884782"/>
              <a:gd name="connsiteY13400" fmla="*/ 4648849 h 5973007"/>
              <a:gd name="connsiteX13401" fmla="*/ 1794744 w 6884782"/>
              <a:gd name="connsiteY13401" fmla="*/ 4647713 h 5973007"/>
              <a:gd name="connsiteX13402" fmla="*/ 1789788 w 6884782"/>
              <a:gd name="connsiteY13402" fmla="*/ 4644822 h 5973007"/>
              <a:gd name="connsiteX13403" fmla="*/ 1789478 w 6884782"/>
              <a:gd name="connsiteY13403" fmla="*/ 4645235 h 5973007"/>
              <a:gd name="connsiteX13404" fmla="*/ 1789478 w 6884782"/>
              <a:gd name="connsiteY13404" fmla="*/ 4645442 h 5973007"/>
              <a:gd name="connsiteX13405" fmla="*/ 1789478 w 6884782"/>
              <a:gd name="connsiteY13405" fmla="*/ 4645545 h 5973007"/>
              <a:gd name="connsiteX13406" fmla="*/ 1789323 w 6884782"/>
              <a:gd name="connsiteY13406" fmla="*/ 4646165 h 5973007"/>
              <a:gd name="connsiteX13407" fmla="*/ 1789323 w 6884782"/>
              <a:gd name="connsiteY13407" fmla="*/ 4646990 h 5973007"/>
              <a:gd name="connsiteX13408" fmla="*/ 1789168 w 6884782"/>
              <a:gd name="connsiteY13408" fmla="*/ 4647094 h 5973007"/>
              <a:gd name="connsiteX13409" fmla="*/ 1789013 w 6884782"/>
              <a:gd name="connsiteY13409" fmla="*/ 4648023 h 5973007"/>
              <a:gd name="connsiteX13410" fmla="*/ 1787310 w 6884782"/>
              <a:gd name="connsiteY13410" fmla="*/ 4650501 h 5973007"/>
              <a:gd name="connsiteX13411" fmla="*/ 1784831 w 6884782"/>
              <a:gd name="connsiteY13411" fmla="*/ 4654218 h 5973007"/>
              <a:gd name="connsiteX13412" fmla="*/ 1774453 w 6884782"/>
              <a:gd name="connsiteY13412" fmla="*/ 4664441 h 5973007"/>
              <a:gd name="connsiteX13413" fmla="*/ 1776777 w 6884782"/>
              <a:gd name="connsiteY13413" fmla="*/ 4659071 h 5973007"/>
              <a:gd name="connsiteX13414" fmla="*/ 1775537 w 6884782"/>
              <a:gd name="connsiteY13414" fmla="*/ 4657316 h 5973007"/>
              <a:gd name="connsiteX13415" fmla="*/ 1776777 w 6884782"/>
              <a:gd name="connsiteY13415" fmla="*/ 4653289 h 5973007"/>
              <a:gd name="connsiteX13416" fmla="*/ 1778480 w 6884782"/>
              <a:gd name="connsiteY13416" fmla="*/ 4656180 h 5973007"/>
              <a:gd name="connsiteX13417" fmla="*/ 1778480 w 6884782"/>
              <a:gd name="connsiteY13417" fmla="*/ 4656697 h 5973007"/>
              <a:gd name="connsiteX13418" fmla="*/ 1781579 w 6884782"/>
              <a:gd name="connsiteY13418" fmla="*/ 4652360 h 5973007"/>
              <a:gd name="connsiteX13419" fmla="*/ 1784831 w 6884782"/>
              <a:gd name="connsiteY13419" fmla="*/ 4646784 h 5973007"/>
              <a:gd name="connsiteX13420" fmla="*/ 1787155 w 6884782"/>
              <a:gd name="connsiteY13420" fmla="*/ 4646165 h 5973007"/>
              <a:gd name="connsiteX13421" fmla="*/ 1787619 w 6884782"/>
              <a:gd name="connsiteY13421" fmla="*/ 4645338 h 5973007"/>
              <a:gd name="connsiteX13422" fmla="*/ 1788703 w 6884782"/>
              <a:gd name="connsiteY13422" fmla="*/ 4645235 h 5973007"/>
              <a:gd name="connsiteX13423" fmla="*/ 1789013 w 6884782"/>
              <a:gd name="connsiteY13423" fmla="*/ 4644925 h 5973007"/>
              <a:gd name="connsiteX13424" fmla="*/ 1789323 w 6884782"/>
              <a:gd name="connsiteY13424" fmla="*/ 4644512 h 5973007"/>
              <a:gd name="connsiteX13425" fmla="*/ 1785141 w 6884782"/>
              <a:gd name="connsiteY13425" fmla="*/ 4642034 h 5973007"/>
              <a:gd name="connsiteX13426" fmla="*/ 1784986 w 6884782"/>
              <a:gd name="connsiteY13426" fmla="*/ 4636562 h 5973007"/>
              <a:gd name="connsiteX13427" fmla="*/ 1787310 w 6884782"/>
              <a:gd name="connsiteY13427" fmla="*/ 4636871 h 5973007"/>
              <a:gd name="connsiteX13428" fmla="*/ 1787774 w 6884782"/>
              <a:gd name="connsiteY13428" fmla="*/ 4633154 h 5973007"/>
              <a:gd name="connsiteX13429" fmla="*/ 1791027 w 6884782"/>
              <a:gd name="connsiteY13429" fmla="*/ 4624790 h 5973007"/>
              <a:gd name="connsiteX13430" fmla="*/ 1791182 w 6884782"/>
              <a:gd name="connsiteY13430" fmla="*/ 4622829 h 5973007"/>
              <a:gd name="connsiteX13431" fmla="*/ 1064254 w 6884782"/>
              <a:gd name="connsiteY13431" fmla="*/ 4622829 h 5973007"/>
              <a:gd name="connsiteX13432" fmla="*/ 1071069 w 6884782"/>
              <a:gd name="connsiteY13432" fmla="*/ 4626959 h 5973007"/>
              <a:gd name="connsiteX13433" fmla="*/ 1051707 w 6884782"/>
              <a:gd name="connsiteY13433" fmla="*/ 4648126 h 5973007"/>
              <a:gd name="connsiteX13434" fmla="*/ 1064254 w 6884782"/>
              <a:gd name="connsiteY13434" fmla="*/ 4622829 h 5973007"/>
              <a:gd name="connsiteX13435" fmla="*/ 1322156 w 6884782"/>
              <a:gd name="connsiteY13435" fmla="*/ 4622312 h 5973007"/>
              <a:gd name="connsiteX13436" fmla="*/ 1322776 w 6884782"/>
              <a:gd name="connsiteY13436" fmla="*/ 4625719 h 5973007"/>
              <a:gd name="connsiteX13437" fmla="*/ 1321227 w 6884782"/>
              <a:gd name="connsiteY13437" fmla="*/ 4625513 h 5973007"/>
              <a:gd name="connsiteX13438" fmla="*/ 1321071 w 6884782"/>
              <a:gd name="connsiteY13438" fmla="*/ 4626339 h 5973007"/>
              <a:gd name="connsiteX13439" fmla="*/ 1319678 w 6884782"/>
              <a:gd name="connsiteY13439" fmla="*/ 4625203 h 5973007"/>
              <a:gd name="connsiteX13440" fmla="*/ 1319678 w 6884782"/>
              <a:gd name="connsiteY13440" fmla="*/ 4624377 h 5973007"/>
              <a:gd name="connsiteX13441" fmla="*/ 1319523 w 6884782"/>
              <a:gd name="connsiteY13441" fmla="*/ 4624171 h 5973007"/>
              <a:gd name="connsiteX13442" fmla="*/ 1320607 w 6884782"/>
              <a:gd name="connsiteY13442" fmla="*/ 4622829 h 5973007"/>
              <a:gd name="connsiteX13443" fmla="*/ 1322156 w 6884782"/>
              <a:gd name="connsiteY13443" fmla="*/ 4622312 h 5973007"/>
              <a:gd name="connsiteX13444" fmla="*/ 793495 w 6884782"/>
              <a:gd name="connsiteY13444" fmla="*/ 4621796 h 5973007"/>
              <a:gd name="connsiteX13445" fmla="*/ 792875 w 6884782"/>
              <a:gd name="connsiteY13445" fmla="*/ 4622003 h 5973007"/>
              <a:gd name="connsiteX13446" fmla="*/ 793495 w 6884782"/>
              <a:gd name="connsiteY13446" fmla="*/ 4621899 h 5973007"/>
              <a:gd name="connsiteX13447" fmla="*/ 1122030 w 6884782"/>
              <a:gd name="connsiteY13447" fmla="*/ 4621073 h 5973007"/>
              <a:gd name="connsiteX13448" fmla="*/ 1117538 w 6884782"/>
              <a:gd name="connsiteY13448" fmla="*/ 4626030 h 5973007"/>
              <a:gd name="connsiteX13449" fmla="*/ 1115989 w 6884782"/>
              <a:gd name="connsiteY13449" fmla="*/ 4625823 h 5973007"/>
              <a:gd name="connsiteX13450" fmla="*/ 1122030 w 6884782"/>
              <a:gd name="connsiteY13450" fmla="*/ 4621073 h 5973007"/>
              <a:gd name="connsiteX13451" fmla="*/ 648512 w 6884782"/>
              <a:gd name="connsiteY13451" fmla="*/ 4620453 h 5973007"/>
              <a:gd name="connsiteX13452" fmla="*/ 653004 w 6884782"/>
              <a:gd name="connsiteY13452" fmla="*/ 4622622 h 5973007"/>
              <a:gd name="connsiteX13453" fmla="*/ 645879 w 6884782"/>
              <a:gd name="connsiteY13453" fmla="*/ 4627991 h 5973007"/>
              <a:gd name="connsiteX13454" fmla="*/ 648512 w 6884782"/>
              <a:gd name="connsiteY13454" fmla="*/ 4620453 h 5973007"/>
              <a:gd name="connsiteX13455" fmla="*/ 6203548 w 6884782"/>
              <a:gd name="connsiteY13455" fmla="*/ 4620368 h 5973007"/>
              <a:gd name="connsiteX13456" fmla="*/ 6206182 w 6884782"/>
              <a:gd name="connsiteY13456" fmla="*/ 4642775 h 5973007"/>
              <a:gd name="connsiteX13457" fmla="*/ 6201999 w 6884782"/>
              <a:gd name="connsiteY13457" fmla="*/ 4638644 h 5973007"/>
              <a:gd name="connsiteX13458" fmla="*/ 6201844 w 6884782"/>
              <a:gd name="connsiteY13458" fmla="*/ 4637818 h 5973007"/>
              <a:gd name="connsiteX13459" fmla="*/ 6201690 w 6884782"/>
              <a:gd name="connsiteY13459" fmla="*/ 4639058 h 5973007"/>
              <a:gd name="connsiteX13460" fmla="*/ 6199676 w 6884782"/>
              <a:gd name="connsiteY13460" fmla="*/ 4658573 h 5973007"/>
              <a:gd name="connsiteX13461" fmla="*/ 6195648 w 6884782"/>
              <a:gd name="connsiteY13461" fmla="*/ 4648454 h 5973007"/>
              <a:gd name="connsiteX13462" fmla="*/ 6193015 w 6884782"/>
              <a:gd name="connsiteY13462" fmla="*/ 4638644 h 5973007"/>
              <a:gd name="connsiteX13463" fmla="*/ 6194100 w 6884782"/>
              <a:gd name="connsiteY13463" fmla="*/ 4635547 h 5973007"/>
              <a:gd name="connsiteX13464" fmla="*/ 6193635 w 6884782"/>
              <a:gd name="connsiteY13464" fmla="*/ 4635237 h 5973007"/>
              <a:gd name="connsiteX13465" fmla="*/ 6196888 w 6884782"/>
              <a:gd name="connsiteY13465" fmla="*/ 4630177 h 5973007"/>
              <a:gd name="connsiteX13466" fmla="*/ 6199056 w 6884782"/>
              <a:gd name="connsiteY13466" fmla="*/ 4632656 h 5973007"/>
              <a:gd name="connsiteX13467" fmla="*/ 6200760 w 6884782"/>
              <a:gd name="connsiteY13467" fmla="*/ 4632243 h 5973007"/>
              <a:gd name="connsiteX13468" fmla="*/ 6201535 w 6884782"/>
              <a:gd name="connsiteY13468" fmla="*/ 4626150 h 5973007"/>
              <a:gd name="connsiteX13469" fmla="*/ 6203548 w 6884782"/>
              <a:gd name="connsiteY13469" fmla="*/ 4620368 h 5973007"/>
              <a:gd name="connsiteX13470" fmla="*/ 975363 w 6884782"/>
              <a:gd name="connsiteY13470" fmla="*/ 4619860 h 5973007"/>
              <a:gd name="connsiteX13471" fmla="*/ 977357 w 6884782"/>
              <a:gd name="connsiteY13471" fmla="*/ 4624068 h 5973007"/>
              <a:gd name="connsiteX13472" fmla="*/ 973794 w 6884782"/>
              <a:gd name="connsiteY13472" fmla="*/ 4625926 h 5973007"/>
              <a:gd name="connsiteX13473" fmla="*/ 971161 w 6884782"/>
              <a:gd name="connsiteY13473" fmla="*/ 4623138 h 5973007"/>
              <a:gd name="connsiteX13474" fmla="*/ 970696 w 6884782"/>
              <a:gd name="connsiteY13474" fmla="*/ 4620763 h 5973007"/>
              <a:gd name="connsiteX13475" fmla="*/ 975363 w 6884782"/>
              <a:gd name="connsiteY13475" fmla="*/ 4619860 h 5973007"/>
              <a:gd name="connsiteX13476" fmla="*/ 748730 w 6884782"/>
              <a:gd name="connsiteY13476" fmla="*/ 4619524 h 5973007"/>
              <a:gd name="connsiteX13477" fmla="*/ 754306 w 6884782"/>
              <a:gd name="connsiteY13477" fmla="*/ 4628817 h 5973007"/>
              <a:gd name="connsiteX13478" fmla="*/ 753996 w 6884782"/>
              <a:gd name="connsiteY13478" fmla="*/ 4639246 h 5973007"/>
              <a:gd name="connsiteX13479" fmla="*/ 748730 w 6884782"/>
              <a:gd name="connsiteY13479" fmla="*/ 4619524 h 5973007"/>
              <a:gd name="connsiteX13480" fmla="*/ 6246454 w 6884782"/>
              <a:gd name="connsiteY13480" fmla="*/ 4618509 h 5973007"/>
              <a:gd name="connsiteX13481" fmla="*/ 6248933 w 6884782"/>
              <a:gd name="connsiteY13481" fmla="*/ 4618509 h 5973007"/>
              <a:gd name="connsiteX13482" fmla="*/ 6247539 w 6884782"/>
              <a:gd name="connsiteY13482" fmla="*/ 4631416 h 5973007"/>
              <a:gd name="connsiteX13483" fmla="*/ 6246609 w 6884782"/>
              <a:gd name="connsiteY13483" fmla="*/ 4633172 h 5973007"/>
              <a:gd name="connsiteX13484" fmla="*/ 6241188 w 6884782"/>
              <a:gd name="connsiteY13484" fmla="*/ 4636579 h 5973007"/>
              <a:gd name="connsiteX13485" fmla="*/ 6245370 w 6884782"/>
              <a:gd name="connsiteY13485" fmla="*/ 4620265 h 5973007"/>
              <a:gd name="connsiteX13486" fmla="*/ 6246454 w 6884782"/>
              <a:gd name="connsiteY13486" fmla="*/ 4618509 h 5973007"/>
              <a:gd name="connsiteX13487" fmla="*/ 1238512 w 6884782"/>
              <a:gd name="connsiteY13487" fmla="*/ 4618388 h 5973007"/>
              <a:gd name="connsiteX13488" fmla="*/ 1238822 w 6884782"/>
              <a:gd name="connsiteY13488" fmla="*/ 4619214 h 5973007"/>
              <a:gd name="connsiteX13489" fmla="*/ 1237428 w 6884782"/>
              <a:gd name="connsiteY13489" fmla="*/ 4620350 h 5973007"/>
              <a:gd name="connsiteX13490" fmla="*/ 1235569 w 6884782"/>
              <a:gd name="connsiteY13490" fmla="*/ 4619628 h 5973007"/>
              <a:gd name="connsiteX13491" fmla="*/ 1238512 w 6884782"/>
              <a:gd name="connsiteY13491" fmla="*/ 4618388 h 5973007"/>
              <a:gd name="connsiteX13492" fmla="*/ 1481912 w 6884782"/>
              <a:gd name="connsiteY13492" fmla="*/ 4617730 h 5973007"/>
              <a:gd name="connsiteX13493" fmla="*/ 1485571 w 6884782"/>
              <a:gd name="connsiteY13493" fmla="*/ 4618698 h 5973007"/>
              <a:gd name="connsiteX13494" fmla="*/ 1482319 w 6884782"/>
              <a:gd name="connsiteY13494" fmla="*/ 4623035 h 5973007"/>
              <a:gd name="connsiteX13495" fmla="*/ 1477672 w 6884782"/>
              <a:gd name="connsiteY13495" fmla="*/ 4620557 h 5973007"/>
              <a:gd name="connsiteX13496" fmla="*/ 1481912 w 6884782"/>
              <a:gd name="connsiteY13496" fmla="*/ 4617730 h 5973007"/>
              <a:gd name="connsiteX13497" fmla="*/ 1606197 w 6884782"/>
              <a:gd name="connsiteY13497" fmla="*/ 4616930 h 5973007"/>
              <a:gd name="connsiteX13498" fmla="*/ 1612276 w 6884782"/>
              <a:gd name="connsiteY13498" fmla="*/ 4622003 h 5973007"/>
              <a:gd name="connsiteX13499" fmla="*/ 1607165 w 6884782"/>
              <a:gd name="connsiteY13499" fmla="*/ 4622415 h 5973007"/>
              <a:gd name="connsiteX13500" fmla="*/ 1604996 w 6884782"/>
              <a:gd name="connsiteY13500" fmla="*/ 4624377 h 5973007"/>
              <a:gd name="connsiteX13501" fmla="*/ 1597717 w 6884782"/>
              <a:gd name="connsiteY13501" fmla="*/ 4627062 h 5973007"/>
              <a:gd name="connsiteX13502" fmla="*/ 1596323 w 6884782"/>
              <a:gd name="connsiteY13502" fmla="*/ 4625926 h 5973007"/>
              <a:gd name="connsiteX13503" fmla="*/ 1588887 w 6884782"/>
              <a:gd name="connsiteY13503" fmla="*/ 4628508 h 5973007"/>
              <a:gd name="connsiteX13504" fmla="*/ 1584705 w 6884782"/>
              <a:gd name="connsiteY13504" fmla="*/ 4628817 h 5973007"/>
              <a:gd name="connsiteX13505" fmla="*/ 1580368 w 6884782"/>
              <a:gd name="connsiteY13505" fmla="*/ 4627888 h 5973007"/>
              <a:gd name="connsiteX13506" fmla="*/ 1596167 w 6884782"/>
              <a:gd name="connsiteY13506" fmla="*/ 4617356 h 5973007"/>
              <a:gd name="connsiteX13507" fmla="*/ 1606197 w 6884782"/>
              <a:gd name="connsiteY13507" fmla="*/ 4616930 h 5973007"/>
              <a:gd name="connsiteX13508" fmla="*/ 6613868 w 6884782"/>
              <a:gd name="connsiteY13508" fmla="*/ 4615928 h 5973007"/>
              <a:gd name="connsiteX13509" fmla="*/ 6615107 w 6884782"/>
              <a:gd name="connsiteY13509" fmla="*/ 4617477 h 5973007"/>
              <a:gd name="connsiteX13510" fmla="*/ 6615262 w 6884782"/>
              <a:gd name="connsiteY13510" fmla="*/ 4620471 h 5973007"/>
              <a:gd name="connsiteX13511" fmla="*/ 6613713 w 6884782"/>
              <a:gd name="connsiteY13511" fmla="*/ 4622433 h 5973007"/>
              <a:gd name="connsiteX13512" fmla="*/ 6609222 w 6884782"/>
              <a:gd name="connsiteY13512" fmla="*/ 4619852 h 5973007"/>
              <a:gd name="connsiteX13513" fmla="*/ 6613868 w 6884782"/>
              <a:gd name="connsiteY13513" fmla="*/ 4615928 h 5973007"/>
              <a:gd name="connsiteX13514" fmla="*/ 1078195 w 6884782"/>
              <a:gd name="connsiteY13514" fmla="*/ 4615704 h 5973007"/>
              <a:gd name="connsiteX13515" fmla="*/ 1078969 w 6884782"/>
              <a:gd name="connsiteY13515" fmla="*/ 4620041 h 5973007"/>
              <a:gd name="connsiteX13516" fmla="*/ 1076491 w 6884782"/>
              <a:gd name="connsiteY13516" fmla="*/ 4622415 h 5973007"/>
              <a:gd name="connsiteX13517" fmla="*/ 1072463 w 6884782"/>
              <a:gd name="connsiteY13517" fmla="*/ 4622209 h 5973007"/>
              <a:gd name="connsiteX13518" fmla="*/ 1073238 w 6884782"/>
              <a:gd name="connsiteY13518" fmla="*/ 4622106 h 5973007"/>
              <a:gd name="connsiteX13519" fmla="*/ 1073083 w 6884782"/>
              <a:gd name="connsiteY13519" fmla="*/ 4620453 h 5973007"/>
              <a:gd name="connsiteX13520" fmla="*/ 1072153 w 6884782"/>
              <a:gd name="connsiteY13520" fmla="*/ 4620453 h 5973007"/>
              <a:gd name="connsiteX13521" fmla="*/ 1072773 w 6884782"/>
              <a:gd name="connsiteY13521" fmla="*/ 4618698 h 5973007"/>
              <a:gd name="connsiteX13522" fmla="*/ 1078195 w 6884782"/>
              <a:gd name="connsiteY13522" fmla="*/ 4615704 h 5973007"/>
              <a:gd name="connsiteX13523" fmla="*/ 5801902 w 6884782"/>
              <a:gd name="connsiteY13523" fmla="*/ 4615618 h 5973007"/>
              <a:gd name="connsiteX13524" fmla="*/ 5804845 w 6884782"/>
              <a:gd name="connsiteY13524" fmla="*/ 4618509 h 5973007"/>
              <a:gd name="connsiteX13525" fmla="*/ 5804071 w 6884782"/>
              <a:gd name="connsiteY13525" fmla="*/ 4621298 h 5973007"/>
              <a:gd name="connsiteX13526" fmla="*/ 5802676 w 6884782"/>
              <a:gd name="connsiteY13526" fmla="*/ 4621710 h 5973007"/>
              <a:gd name="connsiteX13527" fmla="*/ 5801592 w 6884782"/>
              <a:gd name="connsiteY13527" fmla="*/ 4620678 h 5973007"/>
              <a:gd name="connsiteX13528" fmla="*/ 5800043 w 6884782"/>
              <a:gd name="connsiteY13528" fmla="*/ 4618613 h 5973007"/>
              <a:gd name="connsiteX13529" fmla="*/ 5800508 w 6884782"/>
              <a:gd name="connsiteY13529" fmla="*/ 4617270 h 5973007"/>
              <a:gd name="connsiteX13530" fmla="*/ 5801902 w 6884782"/>
              <a:gd name="connsiteY13530" fmla="*/ 4615618 h 5973007"/>
              <a:gd name="connsiteX13531" fmla="*/ 1794589 w 6884782"/>
              <a:gd name="connsiteY13531" fmla="*/ 4615601 h 5973007"/>
              <a:gd name="connsiteX13532" fmla="*/ 1792886 w 6884782"/>
              <a:gd name="connsiteY13532" fmla="*/ 4620247 h 5973007"/>
              <a:gd name="connsiteX13533" fmla="*/ 1792576 w 6884782"/>
              <a:gd name="connsiteY13533" fmla="*/ 4622106 h 5973007"/>
              <a:gd name="connsiteX13534" fmla="*/ 1791337 w 6884782"/>
              <a:gd name="connsiteY13534" fmla="*/ 4620970 h 5973007"/>
              <a:gd name="connsiteX13535" fmla="*/ 1792886 w 6884782"/>
              <a:gd name="connsiteY13535" fmla="*/ 4618285 h 5973007"/>
              <a:gd name="connsiteX13536" fmla="*/ 1791646 w 6884782"/>
              <a:gd name="connsiteY13536" fmla="*/ 4617149 h 5973007"/>
              <a:gd name="connsiteX13537" fmla="*/ 1792111 w 6884782"/>
              <a:gd name="connsiteY13537" fmla="*/ 4615910 h 5973007"/>
              <a:gd name="connsiteX13538" fmla="*/ 1794589 w 6884782"/>
              <a:gd name="connsiteY13538" fmla="*/ 4615601 h 5973007"/>
              <a:gd name="connsiteX13539" fmla="*/ 6401816 w 6884782"/>
              <a:gd name="connsiteY13539" fmla="*/ 4615205 h 5973007"/>
              <a:gd name="connsiteX13540" fmla="*/ 6401351 w 6884782"/>
              <a:gd name="connsiteY13540" fmla="*/ 4618923 h 5973007"/>
              <a:gd name="connsiteX13541" fmla="*/ 6397014 w 6884782"/>
              <a:gd name="connsiteY13541" fmla="*/ 4620368 h 5973007"/>
              <a:gd name="connsiteX13542" fmla="*/ 6393761 w 6884782"/>
              <a:gd name="connsiteY13542" fmla="*/ 4618819 h 5973007"/>
              <a:gd name="connsiteX13543" fmla="*/ 6393141 w 6884782"/>
              <a:gd name="connsiteY13543" fmla="*/ 4615722 h 5973007"/>
              <a:gd name="connsiteX13544" fmla="*/ 6401816 w 6884782"/>
              <a:gd name="connsiteY13544" fmla="*/ 4615205 h 5973007"/>
              <a:gd name="connsiteX13545" fmla="*/ 1406264 w 6884782"/>
              <a:gd name="connsiteY13545" fmla="*/ 4615084 h 5973007"/>
              <a:gd name="connsiteX13546" fmla="*/ 1412615 w 6884782"/>
              <a:gd name="connsiteY13546" fmla="*/ 4619731 h 5973007"/>
              <a:gd name="connsiteX13547" fmla="*/ 1404871 w 6884782"/>
              <a:gd name="connsiteY13547" fmla="*/ 4618285 h 5973007"/>
              <a:gd name="connsiteX13548" fmla="*/ 1404096 w 6884782"/>
              <a:gd name="connsiteY13548" fmla="*/ 4616427 h 5973007"/>
              <a:gd name="connsiteX13549" fmla="*/ 1406264 w 6884782"/>
              <a:gd name="connsiteY13549" fmla="*/ 4615084 h 5973007"/>
              <a:gd name="connsiteX13550" fmla="*/ 6040443 w 6884782"/>
              <a:gd name="connsiteY13550" fmla="*/ 4614482 h 5973007"/>
              <a:gd name="connsiteX13551" fmla="*/ 6039823 w 6884782"/>
              <a:gd name="connsiteY13551" fmla="*/ 4619542 h 5973007"/>
              <a:gd name="connsiteX13552" fmla="*/ 6037345 w 6884782"/>
              <a:gd name="connsiteY13552" fmla="*/ 4621091 h 5973007"/>
              <a:gd name="connsiteX13553" fmla="*/ 6034866 w 6884782"/>
              <a:gd name="connsiteY13553" fmla="*/ 4619336 h 5973007"/>
              <a:gd name="connsiteX13554" fmla="*/ 6033782 w 6884782"/>
              <a:gd name="connsiteY13554" fmla="*/ 4615825 h 5973007"/>
              <a:gd name="connsiteX13555" fmla="*/ 6040443 w 6884782"/>
              <a:gd name="connsiteY13555" fmla="*/ 4614482 h 5973007"/>
              <a:gd name="connsiteX13556" fmla="*/ 1378693 w 6884782"/>
              <a:gd name="connsiteY13556" fmla="*/ 4613845 h 5973007"/>
              <a:gd name="connsiteX13557" fmla="*/ 1379778 w 6884782"/>
              <a:gd name="connsiteY13557" fmla="*/ 4616220 h 5973007"/>
              <a:gd name="connsiteX13558" fmla="*/ 1379313 w 6884782"/>
              <a:gd name="connsiteY13558" fmla="*/ 4619524 h 5973007"/>
              <a:gd name="connsiteX13559" fmla="*/ 1381326 w 6884782"/>
              <a:gd name="connsiteY13559" fmla="*/ 4621486 h 5973007"/>
              <a:gd name="connsiteX13560" fmla="*/ 1379313 w 6884782"/>
              <a:gd name="connsiteY13560" fmla="*/ 4627269 h 5973007"/>
              <a:gd name="connsiteX13561" fmla="*/ 1376680 w 6884782"/>
              <a:gd name="connsiteY13561" fmla="*/ 4627681 h 5973007"/>
              <a:gd name="connsiteX13562" fmla="*/ 1374821 w 6884782"/>
              <a:gd name="connsiteY13562" fmla="*/ 4627991 h 5973007"/>
              <a:gd name="connsiteX13563" fmla="*/ 1371723 w 6884782"/>
              <a:gd name="connsiteY13563" fmla="*/ 4626030 h 5973007"/>
              <a:gd name="connsiteX13564" fmla="*/ 1371723 w 6884782"/>
              <a:gd name="connsiteY13564" fmla="*/ 4626855 h 5973007"/>
              <a:gd name="connsiteX13565" fmla="*/ 1371258 w 6884782"/>
              <a:gd name="connsiteY13565" fmla="*/ 4621589 h 5973007"/>
              <a:gd name="connsiteX13566" fmla="*/ 1377145 w 6884782"/>
              <a:gd name="connsiteY13566" fmla="*/ 4618079 h 5973007"/>
              <a:gd name="connsiteX13567" fmla="*/ 1377299 w 6884782"/>
              <a:gd name="connsiteY13567" fmla="*/ 4618182 h 5973007"/>
              <a:gd name="connsiteX13568" fmla="*/ 5974147 w 6884782"/>
              <a:gd name="connsiteY13568" fmla="*/ 4613657 h 5973007"/>
              <a:gd name="connsiteX13569" fmla="*/ 5977245 w 6884782"/>
              <a:gd name="connsiteY13569" fmla="*/ 4619852 h 5973007"/>
              <a:gd name="connsiteX13570" fmla="*/ 5976935 w 6884782"/>
              <a:gd name="connsiteY13570" fmla="*/ 4625221 h 5973007"/>
              <a:gd name="connsiteX13571" fmla="*/ 5977864 w 6884782"/>
              <a:gd name="connsiteY13571" fmla="*/ 4625428 h 5973007"/>
              <a:gd name="connsiteX13572" fmla="*/ 5984525 w 6884782"/>
              <a:gd name="connsiteY13572" fmla="*/ 4629868 h 5973007"/>
              <a:gd name="connsiteX13573" fmla="*/ 5987313 w 6884782"/>
              <a:gd name="connsiteY13573" fmla="*/ 4633895 h 5973007"/>
              <a:gd name="connsiteX13574" fmla="*/ 5988087 w 6884782"/>
              <a:gd name="connsiteY13574" fmla="*/ 4630177 h 5973007"/>
              <a:gd name="connsiteX13575" fmla="*/ 5996142 w 6884782"/>
              <a:gd name="connsiteY13575" fmla="*/ 4617890 h 5973007"/>
              <a:gd name="connsiteX13576" fmla="*/ 6002183 w 6884782"/>
              <a:gd name="connsiteY13576" fmla="*/ 4627493 h 5973007"/>
              <a:gd name="connsiteX13577" fmla="*/ 5990721 w 6884782"/>
              <a:gd name="connsiteY13577" fmla="*/ 4642878 h 5973007"/>
              <a:gd name="connsiteX13578" fmla="*/ 5990256 w 6884782"/>
              <a:gd name="connsiteY13578" fmla="*/ 4642878 h 5973007"/>
              <a:gd name="connsiteX13579" fmla="*/ 5989946 w 6884782"/>
              <a:gd name="connsiteY13579" fmla="*/ 4649796 h 5973007"/>
              <a:gd name="connsiteX13580" fmla="*/ 5987623 w 6884782"/>
              <a:gd name="connsiteY13580" fmla="*/ 4657334 h 5973007"/>
              <a:gd name="connsiteX13581" fmla="*/ 5985144 w 6884782"/>
              <a:gd name="connsiteY13581" fmla="*/ 4658367 h 5973007"/>
              <a:gd name="connsiteX13582" fmla="*/ 5967486 w 6884782"/>
              <a:gd name="connsiteY13582" fmla="*/ 4646492 h 5973007"/>
              <a:gd name="connsiteX13583" fmla="*/ 5965163 w 6884782"/>
              <a:gd name="connsiteY13583" fmla="*/ 4638232 h 5973007"/>
              <a:gd name="connsiteX13584" fmla="*/ 5965628 w 6884782"/>
              <a:gd name="connsiteY13584" fmla="*/ 4633998 h 5973007"/>
              <a:gd name="connsiteX13585" fmla="*/ 5964543 w 6884782"/>
              <a:gd name="connsiteY13585" fmla="*/ 4634411 h 5973007"/>
              <a:gd name="connsiteX13586" fmla="*/ 5952926 w 6884782"/>
              <a:gd name="connsiteY13586" fmla="*/ 4624499 h 5973007"/>
              <a:gd name="connsiteX13587" fmla="*/ 5974147 w 6884782"/>
              <a:gd name="connsiteY13587" fmla="*/ 4613657 h 5973007"/>
              <a:gd name="connsiteX13588" fmla="*/ 1789323 w 6884782"/>
              <a:gd name="connsiteY13588" fmla="*/ 4613536 h 5973007"/>
              <a:gd name="connsiteX13589" fmla="*/ 1791182 w 6884782"/>
              <a:gd name="connsiteY13589" fmla="*/ 4613536 h 5973007"/>
              <a:gd name="connsiteX13590" fmla="*/ 1792111 w 6884782"/>
              <a:gd name="connsiteY13590" fmla="*/ 4615910 h 5973007"/>
              <a:gd name="connsiteX13591" fmla="*/ 1780494 w 6884782"/>
              <a:gd name="connsiteY13591" fmla="*/ 4621693 h 5973007"/>
              <a:gd name="connsiteX13592" fmla="*/ 1778635 w 6884782"/>
              <a:gd name="connsiteY13592" fmla="*/ 4621589 h 5973007"/>
              <a:gd name="connsiteX13593" fmla="*/ 1773679 w 6884782"/>
              <a:gd name="connsiteY13593" fmla="*/ 4618492 h 5973007"/>
              <a:gd name="connsiteX13594" fmla="*/ 1789323 w 6884782"/>
              <a:gd name="connsiteY13594" fmla="*/ 4613536 h 5973007"/>
              <a:gd name="connsiteX13595" fmla="*/ 6112469 w 6884782"/>
              <a:gd name="connsiteY13595" fmla="*/ 4613140 h 5973007"/>
              <a:gd name="connsiteX13596" fmla="*/ 6115258 w 6884782"/>
              <a:gd name="connsiteY13596" fmla="*/ 4616961 h 5973007"/>
              <a:gd name="connsiteX13597" fmla="*/ 6112624 w 6884782"/>
              <a:gd name="connsiteY13597" fmla="*/ 4619026 h 5973007"/>
              <a:gd name="connsiteX13598" fmla="*/ 6110920 w 6884782"/>
              <a:gd name="connsiteY13598" fmla="*/ 4617787 h 5973007"/>
              <a:gd name="connsiteX13599" fmla="*/ 6112469 w 6884782"/>
              <a:gd name="connsiteY13599" fmla="*/ 4613140 h 5973007"/>
              <a:gd name="connsiteX13600" fmla="*/ 1199788 w 6884782"/>
              <a:gd name="connsiteY13600" fmla="*/ 4612916 h 5973007"/>
              <a:gd name="connsiteX13601" fmla="*/ 1199633 w 6884782"/>
              <a:gd name="connsiteY13601" fmla="*/ 4616427 h 5973007"/>
              <a:gd name="connsiteX13602" fmla="*/ 1198703 w 6884782"/>
              <a:gd name="connsiteY13602" fmla="*/ 4617149 h 5973007"/>
              <a:gd name="connsiteX13603" fmla="*/ 1197154 w 6884782"/>
              <a:gd name="connsiteY13603" fmla="*/ 4616943 h 5973007"/>
              <a:gd name="connsiteX13604" fmla="*/ 1199788 w 6884782"/>
              <a:gd name="connsiteY13604" fmla="*/ 4612916 h 5973007"/>
              <a:gd name="connsiteX13605" fmla="*/ 1842453 w 6884782"/>
              <a:gd name="connsiteY13605" fmla="*/ 4612813 h 5973007"/>
              <a:gd name="connsiteX13606" fmla="*/ 1841678 w 6884782"/>
              <a:gd name="connsiteY13606" fmla="*/ 4614258 h 5973007"/>
              <a:gd name="connsiteX13607" fmla="*/ 1841213 w 6884782"/>
              <a:gd name="connsiteY13607" fmla="*/ 4614671 h 5973007"/>
              <a:gd name="connsiteX13608" fmla="*/ 1842453 w 6884782"/>
              <a:gd name="connsiteY13608" fmla="*/ 4614465 h 5973007"/>
              <a:gd name="connsiteX13609" fmla="*/ 1844776 w 6884782"/>
              <a:gd name="connsiteY13609" fmla="*/ 4615084 h 5973007"/>
              <a:gd name="connsiteX13610" fmla="*/ 1845086 w 6884782"/>
              <a:gd name="connsiteY13610" fmla="*/ 4616013 h 5973007"/>
              <a:gd name="connsiteX13611" fmla="*/ 1846015 w 6884782"/>
              <a:gd name="connsiteY13611" fmla="*/ 4615807 h 5973007"/>
              <a:gd name="connsiteX13612" fmla="*/ 1846170 w 6884782"/>
              <a:gd name="connsiteY13612" fmla="*/ 4615807 h 5973007"/>
              <a:gd name="connsiteX13613" fmla="*/ 1844312 w 6884782"/>
              <a:gd name="connsiteY13613" fmla="*/ 4613845 h 5973007"/>
              <a:gd name="connsiteX13614" fmla="*/ 1128535 w 6884782"/>
              <a:gd name="connsiteY13614" fmla="*/ 4612606 h 5973007"/>
              <a:gd name="connsiteX13615" fmla="*/ 1129155 w 6884782"/>
              <a:gd name="connsiteY13615" fmla="*/ 4613742 h 5973007"/>
              <a:gd name="connsiteX13616" fmla="*/ 1128535 w 6884782"/>
              <a:gd name="connsiteY13616" fmla="*/ 4615394 h 5973007"/>
              <a:gd name="connsiteX13617" fmla="*/ 1126832 w 6884782"/>
              <a:gd name="connsiteY13617" fmla="*/ 4618905 h 5973007"/>
              <a:gd name="connsiteX13618" fmla="*/ 1128535 w 6884782"/>
              <a:gd name="connsiteY13618" fmla="*/ 4612606 h 5973007"/>
              <a:gd name="connsiteX13619" fmla="*/ 1576651 w 6884782"/>
              <a:gd name="connsiteY13619" fmla="*/ 4612503 h 5973007"/>
              <a:gd name="connsiteX13620" fmla="*/ 1583001 w 6884782"/>
              <a:gd name="connsiteY13620" fmla="*/ 4617149 h 5973007"/>
              <a:gd name="connsiteX13621" fmla="*/ 1583931 w 6884782"/>
              <a:gd name="connsiteY13621" fmla="*/ 4620144 h 5973007"/>
              <a:gd name="connsiteX13622" fmla="*/ 1566273 w 6884782"/>
              <a:gd name="connsiteY13622" fmla="*/ 4626339 h 5973007"/>
              <a:gd name="connsiteX13623" fmla="*/ 1565188 w 6884782"/>
              <a:gd name="connsiteY13623" fmla="*/ 4623861 h 5973007"/>
              <a:gd name="connsiteX13624" fmla="*/ 1565343 w 6884782"/>
              <a:gd name="connsiteY13624" fmla="*/ 4619524 h 5973007"/>
              <a:gd name="connsiteX13625" fmla="*/ 1576651 w 6884782"/>
              <a:gd name="connsiteY13625" fmla="*/ 4612503 h 5973007"/>
              <a:gd name="connsiteX13626" fmla="*/ 6362627 w 6884782"/>
              <a:gd name="connsiteY13626" fmla="*/ 4611488 h 5973007"/>
              <a:gd name="connsiteX13627" fmla="*/ 6363866 w 6884782"/>
              <a:gd name="connsiteY13627" fmla="*/ 4620471 h 5973007"/>
              <a:gd name="connsiteX13628" fmla="*/ 6362937 w 6884782"/>
              <a:gd name="connsiteY13628" fmla="*/ 4624499 h 5973007"/>
              <a:gd name="connsiteX13629" fmla="*/ 6363246 w 6884782"/>
              <a:gd name="connsiteY13629" fmla="*/ 4624499 h 5973007"/>
              <a:gd name="connsiteX13630" fmla="*/ 6366499 w 6884782"/>
              <a:gd name="connsiteY13630" fmla="*/ 4625634 h 5973007"/>
              <a:gd name="connsiteX13631" fmla="*/ 6369442 w 6884782"/>
              <a:gd name="connsiteY13631" fmla="*/ 4629661 h 5973007"/>
              <a:gd name="connsiteX13632" fmla="*/ 6383693 w 6884782"/>
              <a:gd name="connsiteY13632" fmla="*/ 4629145 h 5973007"/>
              <a:gd name="connsiteX13633" fmla="*/ 6403520 w 6884782"/>
              <a:gd name="connsiteY13633" fmla="*/ 4628629 h 5973007"/>
              <a:gd name="connsiteX13634" fmla="*/ 6397788 w 6884782"/>
              <a:gd name="connsiteY13634" fmla="*/ 4632552 h 5973007"/>
              <a:gd name="connsiteX13635" fmla="*/ 6398408 w 6884782"/>
              <a:gd name="connsiteY13635" fmla="*/ 4633069 h 5973007"/>
              <a:gd name="connsiteX13636" fmla="*/ 6407237 w 6884782"/>
              <a:gd name="connsiteY13636" fmla="*/ 4633895 h 5973007"/>
              <a:gd name="connsiteX13637" fmla="*/ 6407702 w 6884782"/>
              <a:gd name="connsiteY13637" fmla="*/ 4642259 h 5973007"/>
              <a:gd name="connsiteX13638" fmla="*/ 6406153 w 6884782"/>
              <a:gd name="connsiteY13638" fmla="*/ 4645150 h 5973007"/>
              <a:gd name="connsiteX13639" fmla="*/ 6391128 w 6884782"/>
              <a:gd name="connsiteY13639" fmla="*/ 4635960 h 5973007"/>
              <a:gd name="connsiteX13640" fmla="*/ 6391283 w 6884782"/>
              <a:gd name="connsiteY13640" fmla="*/ 4635547 h 5973007"/>
              <a:gd name="connsiteX13641" fmla="*/ 6383848 w 6884782"/>
              <a:gd name="connsiteY13641" fmla="*/ 4637509 h 5973007"/>
              <a:gd name="connsiteX13642" fmla="*/ 6378736 w 6884782"/>
              <a:gd name="connsiteY13642" fmla="*/ 4638025 h 5973007"/>
              <a:gd name="connsiteX13643" fmla="*/ 6379201 w 6884782"/>
              <a:gd name="connsiteY13643" fmla="*/ 4638438 h 5973007"/>
              <a:gd name="connsiteX13644" fmla="*/ 6374708 w 6884782"/>
              <a:gd name="connsiteY13644" fmla="*/ 4653927 h 5973007"/>
              <a:gd name="connsiteX13645" fmla="*/ 6372075 w 6884782"/>
              <a:gd name="connsiteY13645" fmla="*/ 4653204 h 5973007"/>
              <a:gd name="connsiteX13646" fmla="*/ 6369287 w 6884782"/>
              <a:gd name="connsiteY13646" fmla="*/ 4648144 h 5973007"/>
              <a:gd name="connsiteX13647" fmla="*/ 6369597 w 6884782"/>
              <a:gd name="connsiteY13647" fmla="*/ 4644530 h 5973007"/>
              <a:gd name="connsiteX13648" fmla="*/ 6365105 w 6884782"/>
              <a:gd name="connsiteY13648" fmla="*/ 4644117 h 5973007"/>
              <a:gd name="connsiteX13649" fmla="*/ 6365725 w 6884782"/>
              <a:gd name="connsiteY13649" fmla="*/ 4639471 h 5973007"/>
              <a:gd name="connsiteX13650" fmla="*/ 6365880 w 6884782"/>
              <a:gd name="connsiteY13650" fmla="*/ 4639264 h 5973007"/>
              <a:gd name="connsiteX13651" fmla="*/ 6360923 w 6884782"/>
              <a:gd name="connsiteY13651" fmla="*/ 4639677 h 5973007"/>
              <a:gd name="connsiteX13652" fmla="*/ 6360923 w 6884782"/>
              <a:gd name="connsiteY13652" fmla="*/ 4635340 h 5973007"/>
              <a:gd name="connsiteX13653" fmla="*/ 6361233 w 6884782"/>
              <a:gd name="connsiteY13653" fmla="*/ 4632966 h 5973007"/>
              <a:gd name="connsiteX13654" fmla="*/ 6360303 w 6884782"/>
              <a:gd name="connsiteY13654" fmla="*/ 4632862 h 5973007"/>
              <a:gd name="connsiteX13655" fmla="*/ 6358909 w 6884782"/>
              <a:gd name="connsiteY13655" fmla="*/ 4628009 h 5973007"/>
              <a:gd name="connsiteX13656" fmla="*/ 6359529 w 6884782"/>
              <a:gd name="connsiteY13656" fmla="*/ 4626770 h 5973007"/>
              <a:gd name="connsiteX13657" fmla="*/ 6355347 w 6884782"/>
              <a:gd name="connsiteY13657" fmla="*/ 4626976 h 5973007"/>
              <a:gd name="connsiteX13658" fmla="*/ 6351474 w 6884782"/>
              <a:gd name="connsiteY13658" fmla="*/ 4625428 h 5973007"/>
              <a:gd name="connsiteX13659" fmla="*/ 6350545 w 6884782"/>
              <a:gd name="connsiteY13659" fmla="*/ 4623569 h 5973007"/>
              <a:gd name="connsiteX13660" fmla="*/ 6349461 w 6884782"/>
              <a:gd name="connsiteY13660" fmla="*/ 4625428 h 5973007"/>
              <a:gd name="connsiteX13661" fmla="*/ 6344504 w 6884782"/>
              <a:gd name="connsiteY13661" fmla="*/ 4627390 h 5973007"/>
              <a:gd name="connsiteX13662" fmla="*/ 6339237 w 6884782"/>
              <a:gd name="connsiteY13662" fmla="*/ 4626873 h 5973007"/>
              <a:gd name="connsiteX13663" fmla="*/ 6342180 w 6884782"/>
              <a:gd name="connsiteY13663" fmla="*/ 4621814 h 5973007"/>
              <a:gd name="connsiteX13664" fmla="*/ 6349925 w 6884782"/>
              <a:gd name="connsiteY13664" fmla="*/ 4621091 h 5973007"/>
              <a:gd name="connsiteX13665" fmla="*/ 6350700 w 6884782"/>
              <a:gd name="connsiteY13665" fmla="*/ 4622433 h 5973007"/>
              <a:gd name="connsiteX13666" fmla="*/ 6351474 w 6884782"/>
              <a:gd name="connsiteY13666" fmla="*/ 4618819 h 5973007"/>
              <a:gd name="connsiteX13667" fmla="*/ 6362627 w 6884782"/>
              <a:gd name="connsiteY13667" fmla="*/ 4611488 h 5973007"/>
              <a:gd name="connsiteX13668" fmla="*/ 1199943 w 6884782"/>
              <a:gd name="connsiteY13668" fmla="*/ 4610438 h 5973007"/>
              <a:gd name="connsiteX13669" fmla="*/ 1199788 w 6884782"/>
              <a:gd name="connsiteY13669" fmla="*/ 4612296 h 5973007"/>
              <a:gd name="connsiteX13670" fmla="*/ 1199013 w 6884782"/>
              <a:gd name="connsiteY13670" fmla="*/ 4612193 h 5973007"/>
              <a:gd name="connsiteX13671" fmla="*/ 1199943 w 6884782"/>
              <a:gd name="connsiteY13671" fmla="*/ 4610438 h 5973007"/>
              <a:gd name="connsiteX13672" fmla="*/ 5917455 w 6884782"/>
              <a:gd name="connsiteY13672" fmla="*/ 4610249 h 5973007"/>
              <a:gd name="connsiteX13673" fmla="*/ 5925974 w 6884782"/>
              <a:gd name="connsiteY13673" fmla="*/ 4620884 h 5973007"/>
              <a:gd name="connsiteX13674" fmla="*/ 5913892 w 6884782"/>
              <a:gd name="connsiteY13674" fmla="*/ 4637612 h 5973007"/>
              <a:gd name="connsiteX13675" fmla="*/ 5910174 w 6884782"/>
              <a:gd name="connsiteY13675" fmla="*/ 4637715 h 5973007"/>
              <a:gd name="connsiteX13676" fmla="*/ 5906457 w 6884782"/>
              <a:gd name="connsiteY13676" fmla="*/ 4636889 h 5973007"/>
              <a:gd name="connsiteX13677" fmla="*/ 5897008 w 6884782"/>
              <a:gd name="connsiteY13677" fmla="*/ 4628526 h 5973007"/>
              <a:gd name="connsiteX13678" fmla="*/ 5898093 w 6884782"/>
              <a:gd name="connsiteY13678" fmla="*/ 4621710 h 5973007"/>
              <a:gd name="connsiteX13679" fmla="*/ 5917455 w 6884782"/>
              <a:gd name="connsiteY13679" fmla="*/ 4610249 h 5973007"/>
              <a:gd name="connsiteX13680" fmla="*/ 6061508 w 6884782"/>
              <a:gd name="connsiteY13680" fmla="*/ 4610042 h 5973007"/>
              <a:gd name="connsiteX13681" fmla="*/ 6067859 w 6884782"/>
              <a:gd name="connsiteY13681" fmla="*/ 4615205 h 5973007"/>
              <a:gd name="connsiteX13682" fmla="*/ 6062438 w 6884782"/>
              <a:gd name="connsiteY13682" fmla="*/ 4631107 h 5973007"/>
              <a:gd name="connsiteX13683" fmla="*/ 6061818 w 6884782"/>
              <a:gd name="connsiteY13683" fmla="*/ 4630694 h 5973007"/>
              <a:gd name="connsiteX13684" fmla="*/ 6060114 w 6884782"/>
              <a:gd name="connsiteY13684" fmla="*/ 4636063 h 5973007"/>
              <a:gd name="connsiteX13685" fmla="*/ 6056707 w 6884782"/>
              <a:gd name="connsiteY13685" fmla="*/ 4636373 h 5973007"/>
              <a:gd name="connsiteX13686" fmla="*/ 6051440 w 6884782"/>
              <a:gd name="connsiteY13686" fmla="*/ 4643395 h 5973007"/>
              <a:gd name="connsiteX13687" fmla="*/ 6043540 w 6884782"/>
              <a:gd name="connsiteY13687" fmla="*/ 4646905 h 5973007"/>
              <a:gd name="connsiteX13688" fmla="*/ 6042921 w 6884782"/>
              <a:gd name="connsiteY13688" fmla="*/ 4630900 h 5973007"/>
              <a:gd name="connsiteX13689" fmla="*/ 6046019 w 6884782"/>
              <a:gd name="connsiteY13689" fmla="*/ 4626150 h 5973007"/>
              <a:gd name="connsiteX13690" fmla="*/ 6045709 w 6884782"/>
              <a:gd name="connsiteY13690" fmla="*/ 4625221 h 5973007"/>
              <a:gd name="connsiteX13691" fmla="*/ 6047103 w 6884782"/>
              <a:gd name="connsiteY13691" fmla="*/ 4623466 h 5973007"/>
              <a:gd name="connsiteX13692" fmla="*/ 6049271 w 6884782"/>
              <a:gd name="connsiteY13692" fmla="*/ 4623156 h 5973007"/>
              <a:gd name="connsiteX13693" fmla="*/ 6049426 w 6884782"/>
              <a:gd name="connsiteY13693" fmla="*/ 4623156 h 5973007"/>
              <a:gd name="connsiteX13694" fmla="*/ 6054228 w 6884782"/>
              <a:gd name="connsiteY13694" fmla="*/ 4620265 h 5973007"/>
              <a:gd name="connsiteX13695" fmla="*/ 6055312 w 6884782"/>
              <a:gd name="connsiteY13695" fmla="*/ 4617270 h 5973007"/>
              <a:gd name="connsiteX13696" fmla="*/ 6056707 w 6884782"/>
              <a:gd name="connsiteY13696" fmla="*/ 4614379 h 5973007"/>
              <a:gd name="connsiteX13697" fmla="*/ 6055777 w 6884782"/>
              <a:gd name="connsiteY13697" fmla="*/ 4615102 h 5973007"/>
              <a:gd name="connsiteX13698" fmla="*/ 6043385 w 6884782"/>
              <a:gd name="connsiteY13698" fmla="*/ 4614070 h 5973007"/>
              <a:gd name="connsiteX13699" fmla="*/ 6051440 w 6884782"/>
              <a:gd name="connsiteY13699" fmla="*/ 4610249 h 5973007"/>
              <a:gd name="connsiteX13700" fmla="*/ 6058100 w 6884782"/>
              <a:gd name="connsiteY13700" fmla="*/ 4612624 h 5973007"/>
              <a:gd name="connsiteX13701" fmla="*/ 1318593 w 6884782"/>
              <a:gd name="connsiteY13701" fmla="*/ 4609612 h 5973007"/>
              <a:gd name="connsiteX13702" fmla="*/ 1319678 w 6884782"/>
              <a:gd name="connsiteY13702" fmla="*/ 4614775 h 5973007"/>
              <a:gd name="connsiteX13703" fmla="*/ 1315341 w 6884782"/>
              <a:gd name="connsiteY13703" fmla="*/ 4616736 h 5973007"/>
              <a:gd name="connsiteX13704" fmla="*/ 1313791 w 6884782"/>
              <a:gd name="connsiteY13704" fmla="*/ 4615497 h 5973007"/>
              <a:gd name="connsiteX13705" fmla="*/ 1313946 w 6884782"/>
              <a:gd name="connsiteY13705" fmla="*/ 4614671 h 5973007"/>
              <a:gd name="connsiteX13706" fmla="*/ 1314257 w 6884782"/>
              <a:gd name="connsiteY13706" fmla="*/ 4611161 h 5973007"/>
              <a:gd name="connsiteX13707" fmla="*/ 1318593 w 6884782"/>
              <a:gd name="connsiteY13707" fmla="*/ 4609612 h 5973007"/>
              <a:gd name="connsiteX13708" fmla="*/ 843371 w 6884782"/>
              <a:gd name="connsiteY13708" fmla="*/ 4608889 h 5973007"/>
              <a:gd name="connsiteX13709" fmla="*/ 843526 w 6884782"/>
              <a:gd name="connsiteY13709" fmla="*/ 4614465 h 5973007"/>
              <a:gd name="connsiteX13710" fmla="*/ 835162 w 6884782"/>
              <a:gd name="connsiteY13710" fmla="*/ 4615187 h 5973007"/>
              <a:gd name="connsiteX13711" fmla="*/ 830205 w 6884782"/>
              <a:gd name="connsiteY13711" fmla="*/ 4611986 h 5973007"/>
              <a:gd name="connsiteX13712" fmla="*/ 843371 w 6884782"/>
              <a:gd name="connsiteY13712" fmla="*/ 4608889 h 5973007"/>
              <a:gd name="connsiteX13713" fmla="*/ 5933409 w 6884782"/>
              <a:gd name="connsiteY13713" fmla="*/ 4608700 h 5973007"/>
              <a:gd name="connsiteX13714" fmla="*/ 5941154 w 6884782"/>
              <a:gd name="connsiteY13714" fmla="*/ 4614070 h 5973007"/>
              <a:gd name="connsiteX13715" fmla="*/ 5935268 w 6884782"/>
              <a:gd name="connsiteY13715" fmla="*/ 4620162 h 5973007"/>
              <a:gd name="connsiteX13716" fmla="*/ 5929692 w 6884782"/>
              <a:gd name="connsiteY13716" fmla="*/ 4617477 h 5973007"/>
              <a:gd name="connsiteX13717" fmla="*/ 5933409 w 6884782"/>
              <a:gd name="connsiteY13717" fmla="*/ 4608700 h 5973007"/>
              <a:gd name="connsiteX13718" fmla="*/ 1774240 w 6884782"/>
              <a:gd name="connsiteY13718" fmla="*/ 4608463 h 5973007"/>
              <a:gd name="connsiteX13719" fmla="*/ 1780804 w 6884782"/>
              <a:gd name="connsiteY13719" fmla="*/ 4608476 h 5973007"/>
              <a:gd name="connsiteX13720" fmla="*/ 1782508 w 6884782"/>
              <a:gd name="connsiteY13720" fmla="*/ 4609199 h 5973007"/>
              <a:gd name="connsiteX13721" fmla="*/ 1782663 w 6884782"/>
              <a:gd name="connsiteY13721" fmla="*/ 4611367 h 5973007"/>
              <a:gd name="connsiteX13722" fmla="*/ 1771975 w 6884782"/>
              <a:gd name="connsiteY13722" fmla="*/ 4614878 h 5973007"/>
              <a:gd name="connsiteX13723" fmla="*/ 1769806 w 6884782"/>
              <a:gd name="connsiteY13723" fmla="*/ 4613948 h 5973007"/>
              <a:gd name="connsiteX13724" fmla="*/ 1768722 w 6884782"/>
              <a:gd name="connsiteY13724" fmla="*/ 4613432 h 5973007"/>
              <a:gd name="connsiteX13725" fmla="*/ 1770890 w 6884782"/>
              <a:gd name="connsiteY13725" fmla="*/ 4615497 h 5973007"/>
              <a:gd name="connsiteX13726" fmla="*/ 1771665 w 6884782"/>
              <a:gd name="connsiteY13726" fmla="*/ 4623242 h 5973007"/>
              <a:gd name="connsiteX13727" fmla="*/ 1770890 w 6884782"/>
              <a:gd name="connsiteY13727" fmla="*/ 4623654 h 5973007"/>
              <a:gd name="connsiteX13728" fmla="*/ 1774453 w 6884782"/>
              <a:gd name="connsiteY13728" fmla="*/ 4627681 h 5973007"/>
              <a:gd name="connsiteX13729" fmla="*/ 1763455 w 6884782"/>
              <a:gd name="connsiteY13729" fmla="*/ 4634600 h 5973007"/>
              <a:gd name="connsiteX13730" fmla="*/ 1761597 w 6884782"/>
              <a:gd name="connsiteY13730" fmla="*/ 4634909 h 5973007"/>
              <a:gd name="connsiteX13731" fmla="*/ 1761907 w 6884782"/>
              <a:gd name="connsiteY13731" fmla="*/ 4635529 h 5973007"/>
              <a:gd name="connsiteX13732" fmla="*/ 1763765 w 6884782"/>
              <a:gd name="connsiteY13732" fmla="*/ 4635529 h 5973007"/>
              <a:gd name="connsiteX13733" fmla="*/ 1773369 w 6884782"/>
              <a:gd name="connsiteY13733" fmla="*/ 4640898 h 5973007"/>
              <a:gd name="connsiteX13734" fmla="*/ 1760357 w 6884782"/>
              <a:gd name="connsiteY13734" fmla="*/ 4642241 h 5973007"/>
              <a:gd name="connsiteX13735" fmla="*/ 1750599 w 6884782"/>
              <a:gd name="connsiteY13735" fmla="*/ 4635736 h 5973007"/>
              <a:gd name="connsiteX13736" fmla="*/ 1756331 w 6884782"/>
              <a:gd name="connsiteY13736" fmla="*/ 4635529 h 5973007"/>
              <a:gd name="connsiteX13737" fmla="*/ 1758964 w 6884782"/>
              <a:gd name="connsiteY13737" fmla="*/ 4635529 h 5973007"/>
              <a:gd name="connsiteX13738" fmla="*/ 1756486 w 6884782"/>
              <a:gd name="connsiteY13738" fmla="*/ 4635013 h 5973007"/>
              <a:gd name="connsiteX13739" fmla="*/ 1756021 w 6884782"/>
              <a:gd name="connsiteY13739" fmla="*/ 4632947 h 5973007"/>
              <a:gd name="connsiteX13740" fmla="*/ 1758964 w 6884782"/>
              <a:gd name="connsiteY13740" fmla="*/ 4628714 h 5973007"/>
              <a:gd name="connsiteX13741" fmla="*/ 1756175 w 6884782"/>
              <a:gd name="connsiteY13741" fmla="*/ 4623035 h 5973007"/>
              <a:gd name="connsiteX13742" fmla="*/ 1755866 w 6884782"/>
              <a:gd name="connsiteY13742" fmla="*/ 4622519 h 5973007"/>
              <a:gd name="connsiteX13743" fmla="*/ 1754626 w 6884782"/>
              <a:gd name="connsiteY13743" fmla="*/ 4620247 h 5973007"/>
              <a:gd name="connsiteX13744" fmla="*/ 1754626 w 6884782"/>
              <a:gd name="connsiteY13744" fmla="*/ 4620144 h 5973007"/>
              <a:gd name="connsiteX13745" fmla="*/ 1754162 w 6884782"/>
              <a:gd name="connsiteY13745" fmla="*/ 4619421 h 5973007"/>
              <a:gd name="connsiteX13746" fmla="*/ 1754317 w 6884782"/>
              <a:gd name="connsiteY13746" fmla="*/ 4614051 h 5973007"/>
              <a:gd name="connsiteX13747" fmla="*/ 1762371 w 6884782"/>
              <a:gd name="connsiteY13747" fmla="*/ 4610954 h 5973007"/>
              <a:gd name="connsiteX13748" fmla="*/ 1764695 w 6884782"/>
              <a:gd name="connsiteY13748" fmla="*/ 4611780 h 5973007"/>
              <a:gd name="connsiteX13749" fmla="*/ 1764075 w 6884782"/>
              <a:gd name="connsiteY13749" fmla="*/ 4609921 h 5973007"/>
              <a:gd name="connsiteX13750" fmla="*/ 1774240 w 6884782"/>
              <a:gd name="connsiteY13750" fmla="*/ 4608463 h 5973007"/>
              <a:gd name="connsiteX13751" fmla="*/ 6208815 w 6884782"/>
              <a:gd name="connsiteY13751" fmla="*/ 4607668 h 5973007"/>
              <a:gd name="connsiteX13752" fmla="*/ 6210209 w 6884782"/>
              <a:gd name="connsiteY13752" fmla="*/ 4611281 h 5973007"/>
              <a:gd name="connsiteX13753" fmla="*/ 6210364 w 6884782"/>
              <a:gd name="connsiteY13753" fmla="*/ 4610765 h 5973007"/>
              <a:gd name="connsiteX13754" fmla="*/ 6211448 w 6884782"/>
              <a:gd name="connsiteY13754" fmla="*/ 4634101 h 5973007"/>
              <a:gd name="connsiteX13755" fmla="*/ 6207111 w 6884782"/>
              <a:gd name="connsiteY13755" fmla="*/ 4621401 h 5973007"/>
              <a:gd name="connsiteX13756" fmla="*/ 6207575 w 6884782"/>
              <a:gd name="connsiteY13756" fmla="*/ 4617167 h 5973007"/>
              <a:gd name="connsiteX13757" fmla="*/ 6204633 w 6884782"/>
              <a:gd name="connsiteY13757" fmla="*/ 4616341 h 5973007"/>
              <a:gd name="connsiteX13758" fmla="*/ 6199056 w 6884782"/>
              <a:gd name="connsiteY13758" fmla="*/ 4613243 h 5973007"/>
              <a:gd name="connsiteX13759" fmla="*/ 6208815 w 6884782"/>
              <a:gd name="connsiteY13759" fmla="*/ 4607668 h 5973007"/>
              <a:gd name="connsiteX13760" fmla="*/ 1086404 w 6884782"/>
              <a:gd name="connsiteY13760" fmla="*/ 4607650 h 5973007"/>
              <a:gd name="connsiteX13761" fmla="*/ 1087333 w 6884782"/>
              <a:gd name="connsiteY13761" fmla="*/ 4607753 h 5973007"/>
              <a:gd name="connsiteX13762" fmla="*/ 1090586 w 6884782"/>
              <a:gd name="connsiteY13762" fmla="*/ 4608373 h 5973007"/>
              <a:gd name="connsiteX13763" fmla="*/ 1091980 w 6884782"/>
              <a:gd name="connsiteY13763" fmla="*/ 4612813 h 5973007"/>
              <a:gd name="connsiteX13764" fmla="*/ 1089037 w 6884782"/>
              <a:gd name="connsiteY13764" fmla="*/ 4614258 h 5973007"/>
              <a:gd name="connsiteX13765" fmla="*/ 1086869 w 6884782"/>
              <a:gd name="connsiteY13765" fmla="*/ 4613742 h 5973007"/>
              <a:gd name="connsiteX13766" fmla="*/ 1085165 w 6884782"/>
              <a:gd name="connsiteY13766" fmla="*/ 4609199 h 5973007"/>
              <a:gd name="connsiteX13767" fmla="*/ 1086404 w 6884782"/>
              <a:gd name="connsiteY13767" fmla="*/ 4607650 h 5973007"/>
              <a:gd name="connsiteX13768" fmla="*/ 5824672 w 6884782"/>
              <a:gd name="connsiteY13768" fmla="*/ 4607565 h 5973007"/>
              <a:gd name="connsiteX13769" fmla="*/ 5825291 w 6884782"/>
              <a:gd name="connsiteY13769" fmla="*/ 4607977 h 5973007"/>
              <a:gd name="connsiteX13770" fmla="*/ 5825756 w 6884782"/>
              <a:gd name="connsiteY13770" fmla="*/ 4607771 h 5973007"/>
              <a:gd name="connsiteX13771" fmla="*/ 5828544 w 6884782"/>
              <a:gd name="connsiteY13771" fmla="*/ 4607874 h 5973007"/>
              <a:gd name="connsiteX13772" fmla="*/ 5832727 w 6884782"/>
              <a:gd name="connsiteY13772" fmla="*/ 4607565 h 5973007"/>
              <a:gd name="connsiteX13773" fmla="*/ 5846357 w 6884782"/>
              <a:gd name="connsiteY13773" fmla="*/ 4610249 h 5973007"/>
              <a:gd name="connsiteX13774" fmla="*/ 5840781 w 6884782"/>
              <a:gd name="connsiteY13774" fmla="*/ 4611592 h 5973007"/>
              <a:gd name="connsiteX13775" fmla="*/ 5833501 w 6884782"/>
              <a:gd name="connsiteY13775" fmla="*/ 4611592 h 5973007"/>
              <a:gd name="connsiteX13776" fmla="*/ 5827925 w 6884782"/>
              <a:gd name="connsiteY13776" fmla="*/ 4612211 h 5973007"/>
              <a:gd name="connsiteX13777" fmla="*/ 5826995 w 6884782"/>
              <a:gd name="connsiteY13777" fmla="*/ 4613863 h 5973007"/>
              <a:gd name="connsiteX13778" fmla="*/ 5825291 w 6884782"/>
              <a:gd name="connsiteY13778" fmla="*/ 4615515 h 5973007"/>
              <a:gd name="connsiteX13779" fmla="*/ 5823742 w 6884782"/>
              <a:gd name="connsiteY13779" fmla="*/ 4615618 h 5973007"/>
              <a:gd name="connsiteX13780" fmla="*/ 5822658 w 6884782"/>
              <a:gd name="connsiteY13780" fmla="*/ 4614689 h 5973007"/>
              <a:gd name="connsiteX13781" fmla="*/ 5824672 w 6884782"/>
              <a:gd name="connsiteY13781" fmla="*/ 4607565 h 5973007"/>
              <a:gd name="connsiteX13782" fmla="*/ 1199943 w 6884782"/>
              <a:gd name="connsiteY13782" fmla="*/ 4605998 h 5973007"/>
              <a:gd name="connsiteX13783" fmla="*/ 1200717 w 6884782"/>
              <a:gd name="connsiteY13783" fmla="*/ 4607030 h 5973007"/>
              <a:gd name="connsiteX13784" fmla="*/ 1200253 w 6884782"/>
              <a:gd name="connsiteY13784" fmla="*/ 4607856 h 5973007"/>
              <a:gd name="connsiteX13785" fmla="*/ 1199169 w 6884782"/>
              <a:gd name="connsiteY13785" fmla="*/ 4607856 h 5973007"/>
              <a:gd name="connsiteX13786" fmla="*/ 1199943 w 6884782"/>
              <a:gd name="connsiteY13786" fmla="*/ 4605998 h 5973007"/>
              <a:gd name="connsiteX13787" fmla="*/ 6411632 w 6884782"/>
              <a:gd name="connsiteY13787" fmla="*/ 4605370 h 5973007"/>
              <a:gd name="connsiteX13788" fmla="*/ 6412039 w 6884782"/>
              <a:gd name="connsiteY13788" fmla="*/ 4610765 h 5973007"/>
              <a:gd name="connsiteX13789" fmla="*/ 6407856 w 6884782"/>
              <a:gd name="connsiteY13789" fmla="*/ 4607255 h 5973007"/>
              <a:gd name="connsiteX13790" fmla="*/ 6411632 w 6884782"/>
              <a:gd name="connsiteY13790" fmla="*/ 4605370 h 5973007"/>
              <a:gd name="connsiteX13791" fmla="*/ 6220122 w 6884782"/>
              <a:gd name="connsiteY13791" fmla="*/ 4604776 h 5973007"/>
              <a:gd name="connsiteX13792" fmla="*/ 6222136 w 6884782"/>
              <a:gd name="connsiteY13792" fmla="*/ 4607668 h 5973007"/>
              <a:gd name="connsiteX13793" fmla="*/ 6214391 w 6884782"/>
              <a:gd name="connsiteY13793" fmla="*/ 4619336 h 5973007"/>
              <a:gd name="connsiteX13794" fmla="*/ 6220122 w 6884782"/>
              <a:gd name="connsiteY13794" fmla="*/ 4604776 h 5973007"/>
              <a:gd name="connsiteX13795" fmla="*/ 783291 w 6884782"/>
              <a:gd name="connsiteY13795" fmla="*/ 4604720 h 5973007"/>
              <a:gd name="connsiteX13796" fmla="*/ 784821 w 6884782"/>
              <a:gd name="connsiteY13796" fmla="*/ 4609405 h 5973007"/>
              <a:gd name="connsiteX13797" fmla="*/ 778625 w 6884782"/>
              <a:gd name="connsiteY13797" fmla="*/ 4607856 h 5973007"/>
              <a:gd name="connsiteX13798" fmla="*/ 783291 w 6884782"/>
              <a:gd name="connsiteY13798" fmla="*/ 4604720 h 5973007"/>
              <a:gd name="connsiteX13799" fmla="*/ 790397 w 6884782"/>
              <a:gd name="connsiteY13799" fmla="*/ 4604655 h 5973007"/>
              <a:gd name="connsiteX13800" fmla="*/ 796438 w 6884782"/>
              <a:gd name="connsiteY13800" fmla="*/ 4606101 h 5973007"/>
              <a:gd name="connsiteX13801" fmla="*/ 798452 w 6884782"/>
              <a:gd name="connsiteY13801" fmla="*/ 4609095 h 5973007"/>
              <a:gd name="connsiteX13802" fmla="*/ 800311 w 6884782"/>
              <a:gd name="connsiteY13802" fmla="*/ 4607753 h 5973007"/>
              <a:gd name="connsiteX13803" fmla="*/ 813477 w 6884782"/>
              <a:gd name="connsiteY13803" fmla="*/ 4614051 h 5973007"/>
              <a:gd name="connsiteX13804" fmla="*/ 813786 w 6884782"/>
              <a:gd name="connsiteY13804" fmla="*/ 4616427 h 5973007"/>
              <a:gd name="connsiteX13805" fmla="*/ 815490 w 6884782"/>
              <a:gd name="connsiteY13805" fmla="*/ 4619731 h 5973007"/>
              <a:gd name="connsiteX13806" fmla="*/ 806351 w 6884782"/>
              <a:gd name="connsiteY13806" fmla="*/ 4626649 h 5973007"/>
              <a:gd name="connsiteX13807" fmla="*/ 801085 w 6884782"/>
              <a:gd name="connsiteY13807" fmla="*/ 4627888 h 5973007"/>
              <a:gd name="connsiteX13808" fmla="*/ 800001 w 6884782"/>
              <a:gd name="connsiteY13808" fmla="*/ 4627681 h 5973007"/>
              <a:gd name="connsiteX13809" fmla="*/ 800311 w 6884782"/>
              <a:gd name="connsiteY13809" fmla="*/ 4627888 h 5973007"/>
              <a:gd name="connsiteX13810" fmla="*/ 803718 w 6884782"/>
              <a:gd name="connsiteY13810" fmla="*/ 4633464 h 5973007"/>
              <a:gd name="connsiteX13811" fmla="*/ 801085 w 6884782"/>
              <a:gd name="connsiteY13811" fmla="*/ 4632844 h 5973007"/>
              <a:gd name="connsiteX13812" fmla="*/ 800155 w 6884782"/>
              <a:gd name="connsiteY13812" fmla="*/ 4631915 h 5973007"/>
              <a:gd name="connsiteX13813" fmla="*/ 799381 w 6884782"/>
              <a:gd name="connsiteY13813" fmla="*/ 4632018 h 5973007"/>
              <a:gd name="connsiteX13814" fmla="*/ 799226 w 6884782"/>
              <a:gd name="connsiteY13814" fmla="*/ 4631089 h 5973007"/>
              <a:gd name="connsiteX13815" fmla="*/ 797213 w 6884782"/>
              <a:gd name="connsiteY13815" fmla="*/ 4629540 h 5973007"/>
              <a:gd name="connsiteX13816" fmla="*/ 791946 w 6884782"/>
              <a:gd name="connsiteY13816" fmla="*/ 4627269 h 5973007"/>
              <a:gd name="connsiteX13817" fmla="*/ 787764 w 6884782"/>
              <a:gd name="connsiteY13817" fmla="*/ 4622209 h 5973007"/>
              <a:gd name="connsiteX13818" fmla="*/ 789312 w 6884782"/>
              <a:gd name="connsiteY13818" fmla="*/ 4620453 h 5973007"/>
              <a:gd name="connsiteX13819" fmla="*/ 787299 w 6884782"/>
              <a:gd name="connsiteY13819" fmla="*/ 4618802 h 5973007"/>
              <a:gd name="connsiteX13820" fmla="*/ 786680 w 6884782"/>
              <a:gd name="connsiteY13820" fmla="*/ 4607546 h 5973007"/>
              <a:gd name="connsiteX13821" fmla="*/ 790397 w 6884782"/>
              <a:gd name="connsiteY13821" fmla="*/ 4604655 h 5973007"/>
              <a:gd name="connsiteX13822" fmla="*/ 963414 w 6884782"/>
              <a:gd name="connsiteY13822" fmla="*/ 4604468 h 5973007"/>
              <a:gd name="connsiteX13823" fmla="*/ 968992 w 6884782"/>
              <a:gd name="connsiteY13823" fmla="*/ 4605481 h 5973007"/>
              <a:gd name="connsiteX13824" fmla="*/ 951489 w 6884782"/>
              <a:gd name="connsiteY13824" fmla="*/ 4620557 h 5973007"/>
              <a:gd name="connsiteX13825" fmla="*/ 949321 w 6884782"/>
              <a:gd name="connsiteY13825" fmla="*/ 4619628 h 5973007"/>
              <a:gd name="connsiteX13826" fmla="*/ 963414 w 6884782"/>
              <a:gd name="connsiteY13826" fmla="*/ 4604468 h 5973007"/>
              <a:gd name="connsiteX13827" fmla="*/ 1673734 w 6884782"/>
              <a:gd name="connsiteY13827" fmla="*/ 4604391 h 5973007"/>
              <a:gd name="connsiteX13828" fmla="*/ 1681515 w 6884782"/>
              <a:gd name="connsiteY13828" fmla="*/ 4608579 h 5973007"/>
              <a:gd name="connsiteX13829" fmla="*/ 1675629 w 6884782"/>
              <a:gd name="connsiteY13829" fmla="*/ 4615601 h 5973007"/>
              <a:gd name="connsiteX13830" fmla="*/ 1673734 w 6884782"/>
              <a:gd name="connsiteY13830" fmla="*/ 4604391 h 5973007"/>
              <a:gd name="connsiteX13831" fmla="*/ 1344636 w 6884782"/>
              <a:gd name="connsiteY13831" fmla="*/ 4604371 h 5973007"/>
              <a:gd name="connsiteX13832" fmla="*/ 1352670 w 6884782"/>
              <a:gd name="connsiteY13832" fmla="*/ 4606720 h 5973007"/>
              <a:gd name="connsiteX13833" fmla="*/ 1326493 w 6884782"/>
              <a:gd name="connsiteY13833" fmla="*/ 4623551 h 5973007"/>
              <a:gd name="connsiteX13834" fmla="*/ 1335787 w 6884782"/>
              <a:gd name="connsiteY13834" fmla="*/ 4608373 h 5973007"/>
              <a:gd name="connsiteX13835" fmla="*/ 1344636 w 6884782"/>
              <a:gd name="connsiteY13835" fmla="*/ 4604371 h 5973007"/>
              <a:gd name="connsiteX13836" fmla="*/ 6654606 w 6884782"/>
              <a:gd name="connsiteY13836" fmla="*/ 4603847 h 5973007"/>
              <a:gd name="connsiteX13837" fmla="*/ 6676911 w 6884782"/>
              <a:gd name="connsiteY13837" fmla="*/ 4621298 h 5973007"/>
              <a:gd name="connsiteX13838" fmla="*/ 6673813 w 6884782"/>
              <a:gd name="connsiteY13838" fmla="*/ 4621917 h 5973007"/>
              <a:gd name="connsiteX13839" fmla="*/ 6669941 w 6884782"/>
              <a:gd name="connsiteY13839" fmla="*/ 4621298 h 5973007"/>
              <a:gd name="connsiteX13840" fmla="*/ 6654606 w 6884782"/>
              <a:gd name="connsiteY13840" fmla="*/ 4603847 h 5973007"/>
              <a:gd name="connsiteX13841" fmla="*/ 6041681 w 6884782"/>
              <a:gd name="connsiteY13841" fmla="*/ 4603744 h 5973007"/>
              <a:gd name="connsiteX13842" fmla="*/ 6041217 w 6884782"/>
              <a:gd name="connsiteY13842" fmla="*/ 4604467 h 5973007"/>
              <a:gd name="connsiteX13843" fmla="*/ 6042611 w 6884782"/>
              <a:gd name="connsiteY13843" fmla="*/ 4605293 h 5973007"/>
              <a:gd name="connsiteX13844" fmla="*/ 6043076 w 6884782"/>
              <a:gd name="connsiteY13844" fmla="*/ 4604570 h 5973007"/>
              <a:gd name="connsiteX13845" fmla="*/ 6044005 w 6884782"/>
              <a:gd name="connsiteY13845" fmla="*/ 4606222 h 5973007"/>
              <a:gd name="connsiteX13846" fmla="*/ 6042611 w 6884782"/>
              <a:gd name="connsiteY13846" fmla="*/ 4612934 h 5973007"/>
              <a:gd name="connsiteX13847" fmla="*/ 6039048 w 6884782"/>
              <a:gd name="connsiteY13847" fmla="*/ 4610662 h 5973007"/>
              <a:gd name="connsiteX13848" fmla="*/ 6039048 w 6884782"/>
              <a:gd name="connsiteY13848" fmla="*/ 4607151 h 5973007"/>
              <a:gd name="connsiteX13849" fmla="*/ 6041681 w 6884782"/>
              <a:gd name="connsiteY13849" fmla="*/ 4603744 h 5973007"/>
              <a:gd name="connsiteX13850" fmla="*/ 5932789 w 6884782"/>
              <a:gd name="connsiteY13850" fmla="*/ 4602608 h 5973007"/>
              <a:gd name="connsiteX13851" fmla="*/ 5934648 w 6884782"/>
              <a:gd name="connsiteY13851" fmla="*/ 4604260 h 5973007"/>
              <a:gd name="connsiteX13852" fmla="*/ 5934803 w 6884782"/>
              <a:gd name="connsiteY13852" fmla="*/ 4605086 h 5973007"/>
              <a:gd name="connsiteX13853" fmla="*/ 5933099 w 6884782"/>
              <a:gd name="connsiteY13853" fmla="*/ 4605912 h 5973007"/>
              <a:gd name="connsiteX13854" fmla="*/ 5928143 w 6884782"/>
              <a:gd name="connsiteY13854" fmla="*/ 4605912 h 5973007"/>
              <a:gd name="connsiteX13855" fmla="*/ 5924890 w 6884782"/>
              <a:gd name="connsiteY13855" fmla="*/ 4605603 h 5973007"/>
              <a:gd name="connsiteX13856" fmla="*/ 5923186 w 6884782"/>
              <a:gd name="connsiteY13856" fmla="*/ 4605809 h 5973007"/>
              <a:gd name="connsiteX13857" fmla="*/ 5921327 w 6884782"/>
              <a:gd name="connsiteY13857" fmla="*/ 4604157 h 5973007"/>
              <a:gd name="connsiteX13858" fmla="*/ 5928607 w 6884782"/>
              <a:gd name="connsiteY13858" fmla="*/ 4602814 h 5973007"/>
              <a:gd name="connsiteX13859" fmla="*/ 5932789 w 6884782"/>
              <a:gd name="connsiteY13859" fmla="*/ 4602608 h 5973007"/>
              <a:gd name="connsiteX13860" fmla="*/ 5884152 w 6884782"/>
              <a:gd name="connsiteY13860" fmla="*/ 4601782 h 5973007"/>
              <a:gd name="connsiteX13861" fmla="*/ 5862466 w 6884782"/>
              <a:gd name="connsiteY13861" fmla="*/ 4615928 h 5973007"/>
              <a:gd name="connsiteX13862" fmla="*/ 5884152 w 6884782"/>
              <a:gd name="connsiteY13862" fmla="*/ 4601782 h 5973007"/>
              <a:gd name="connsiteX13863" fmla="*/ 6096980 w 6884782"/>
              <a:gd name="connsiteY13863" fmla="*/ 4601369 h 5973007"/>
              <a:gd name="connsiteX13864" fmla="*/ 6096670 w 6884782"/>
              <a:gd name="connsiteY13864" fmla="*/ 4611488 h 5973007"/>
              <a:gd name="connsiteX13865" fmla="*/ 6092333 w 6884782"/>
              <a:gd name="connsiteY13865" fmla="*/ 4609010 h 5973007"/>
              <a:gd name="connsiteX13866" fmla="*/ 6096980 w 6884782"/>
              <a:gd name="connsiteY13866" fmla="*/ 4601369 h 5973007"/>
              <a:gd name="connsiteX13867" fmla="*/ 1133957 w 6884782"/>
              <a:gd name="connsiteY13867" fmla="*/ 4600835 h 5973007"/>
              <a:gd name="connsiteX13868" fmla="*/ 1137830 w 6884782"/>
              <a:gd name="connsiteY13868" fmla="*/ 4603726 h 5973007"/>
              <a:gd name="connsiteX13869" fmla="*/ 1133647 w 6884782"/>
              <a:gd name="connsiteY13869" fmla="*/ 4602074 h 5973007"/>
              <a:gd name="connsiteX13870" fmla="*/ 1133957 w 6884782"/>
              <a:gd name="connsiteY13870" fmla="*/ 4600835 h 5973007"/>
              <a:gd name="connsiteX13871" fmla="*/ 1560387 w 6884782"/>
              <a:gd name="connsiteY13871" fmla="*/ 4600318 h 5973007"/>
              <a:gd name="connsiteX13872" fmla="*/ 1564104 w 6884782"/>
              <a:gd name="connsiteY13872" fmla="*/ 4610747 h 5973007"/>
              <a:gd name="connsiteX13873" fmla="*/ 1557753 w 6884782"/>
              <a:gd name="connsiteY13873" fmla="*/ 4608166 h 5973007"/>
              <a:gd name="connsiteX13874" fmla="*/ 1560387 w 6884782"/>
              <a:gd name="connsiteY13874" fmla="*/ 4600318 h 5973007"/>
              <a:gd name="connsiteX13875" fmla="*/ 1170028 w 6884782"/>
              <a:gd name="connsiteY13875" fmla="*/ 4599635 h 5973007"/>
              <a:gd name="connsiteX13876" fmla="*/ 1187242 w 6884782"/>
              <a:gd name="connsiteY13876" fmla="*/ 4602384 h 5973007"/>
              <a:gd name="connsiteX13877" fmla="*/ 1191423 w 6884782"/>
              <a:gd name="connsiteY13877" fmla="*/ 4607340 h 5973007"/>
              <a:gd name="connsiteX13878" fmla="*/ 1192818 w 6884782"/>
              <a:gd name="connsiteY13878" fmla="*/ 4605998 h 5973007"/>
              <a:gd name="connsiteX13879" fmla="*/ 1197000 w 6884782"/>
              <a:gd name="connsiteY13879" fmla="*/ 4605275 h 5973007"/>
              <a:gd name="connsiteX13880" fmla="*/ 1198084 w 6884782"/>
              <a:gd name="connsiteY13880" fmla="*/ 4613019 h 5973007"/>
              <a:gd name="connsiteX13881" fmla="*/ 1195141 w 6884782"/>
              <a:gd name="connsiteY13881" fmla="*/ 4615807 h 5973007"/>
              <a:gd name="connsiteX13882" fmla="*/ 1192198 w 6884782"/>
              <a:gd name="connsiteY13882" fmla="*/ 4618079 h 5973007"/>
              <a:gd name="connsiteX13883" fmla="*/ 1190649 w 6884782"/>
              <a:gd name="connsiteY13883" fmla="*/ 4623964 h 5973007"/>
              <a:gd name="connsiteX13884" fmla="*/ 1165865 w 6884782"/>
              <a:gd name="connsiteY13884" fmla="*/ 4643686 h 5973007"/>
              <a:gd name="connsiteX13885" fmla="*/ 1157037 w 6884782"/>
              <a:gd name="connsiteY13885" fmla="*/ 4621486 h 5973007"/>
              <a:gd name="connsiteX13886" fmla="*/ 1156727 w 6884782"/>
              <a:gd name="connsiteY13886" fmla="*/ 4619214 h 5973007"/>
              <a:gd name="connsiteX13887" fmla="*/ 1152854 w 6884782"/>
              <a:gd name="connsiteY13887" fmla="*/ 4617872 h 5973007"/>
              <a:gd name="connsiteX13888" fmla="*/ 1151925 w 6884782"/>
              <a:gd name="connsiteY13888" fmla="*/ 4616117 h 5973007"/>
              <a:gd name="connsiteX13889" fmla="*/ 1153938 w 6884782"/>
              <a:gd name="connsiteY13889" fmla="*/ 4614775 h 5973007"/>
              <a:gd name="connsiteX13890" fmla="*/ 1156572 w 6884782"/>
              <a:gd name="connsiteY13890" fmla="*/ 4615910 h 5973007"/>
              <a:gd name="connsiteX13891" fmla="*/ 1156882 w 6884782"/>
              <a:gd name="connsiteY13891" fmla="*/ 4613536 h 5973007"/>
              <a:gd name="connsiteX13892" fmla="*/ 1170028 w 6884782"/>
              <a:gd name="connsiteY13892" fmla="*/ 4599635 h 5973007"/>
              <a:gd name="connsiteX13893" fmla="*/ 960318 w 6884782"/>
              <a:gd name="connsiteY13893" fmla="*/ 4598253 h 5973007"/>
              <a:gd name="connsiteX13894" fmla="*/ 966205 w 6884782"/>
              <a:gd name="connsiteY13894" fmla="*/ 4600318 h 5973007"/>
              <a:gd name="connsiteX13895" fmla="*/ 960628 w 6884782"/>
              <a:gd name="connsiteY13895" fmla="*/ 4604552 h 5973007"/>
              <a:gd name="connsiteX13896" fmla="*/ 960318 w 6884782"/>
              <a:gd name="connsiteY13896" fmla="*/ 4598253 h 5973007"/>
              <a:gd name="connsiteX13897" fmla="*/ 838260 w 6884782"/>
              <a:gd name="connsiteY13897" fmla="*/ 4597944 h 5973007"/>
              <a:gd name="connsiteX13898" fmla="*/ 842442 w 6884782"/>
              <a:gd name="connsiteY13898" fmla="*/ 4598150 h 5973007"/>
              <a:gd name="connsiteX13899" fmla="*/ 844146 w 6884782"/>
              <a:gd name="connsiteY13899" fmla="*/ 4600009 h 5973007"/>
              <a:gd name="connsiteX13900" fmla="*/ 844301 w 6884782"/>
              <a:gd name="connsiteY13900" fmla="*/ 4600835 h 5973007"/>
              <a:gd name="connsiteX13901" fmla="*/ 842442 w 6884782"/>
              <a:gd name="connsiteY13901" fmla="*/ 4601454 h 5973007"/>
              <a:gd name="connsiteX13902" fmla="*/ 834233 w 6884782"/>
              <a:gd name="connsiteY13902" fmla="*/ 4600318 h 5973007"/>
              <a:gd name="connsiteX13903" fmla="*/ 832529 w 6884782"/>
              <a:gd name="connsiteY13903" fmla="*/ 4600318 h 5973007"/>
              <a:gd name="connsiteX13904" fmla="*/ 830825 w 6884782"/>
              <a:gd name="connsiteY13904" fmla="*/ 4598460 h 5973007"/>
              <a:gd name="connsiteX13905" fmla="*/ 838260 w 6884782"/>
              <a:gd name="connsiteY13905" fmla="*/ 4597944 h 5973007"/>
              <a:gd name="connsiteX13906" fmla="*/ 1570764 w 6884782"/>
              <a:gd name="connsiteY13906" fmla="*/ 4597324 h 5973007"/>
              <a:gd name="connsiteX13907" fmla="*/ 1574947 w 6884782"/>
              <a:gd name="connsiteY13907" fmla="*/ 4597531 h 5973007"/>
              <a:gd name="connsiteX13908" fmla="*/ 1573553 w 6884782"/>
              <a:gd name="connsiteY13908" fmla="*/ 4599079 h 5973007"/>
              <a:gd name="connsiteX13909" fmla="*/ 1570764 w 6884782"/>
              <a:gd name="connsiteY13909" fmla="*/ 4598150 h 5973007"/>
              <a:gd name="connsiteX13910" fmla="*/ 1570764 w 6884782"/>
              <a:gd name="connsiteY13910" fmla="*/ 4597324 h 5973007"/>
              <a:gd name="connsiteX13911" fmla="*/ 5987932 w 6884782"/>
              <a:gd name="connsiteY13911" fmla="*/ 4596723 h 5973007"/>
              <a:gd name="connsiteX13912" fmla="*/ 5986848 w 6884782"/>
              <a:gd name="connsiteY13912" fmla="*/ 4608803 h 5973007"/>
              <a:gd name="connsiteX13913" fmla="*/ 5981427 w 6884782"/>
              <a:gd name="connsiteY13913" fmla="*/ 4621091 h 5973007"/>
              <a:gd name="connsiteX13914" fmla="*/ 5987932 w 6884782"/>
              <a:gd name="connsiteY13914" fmla="*/ 4596723 h 5973007"/>
              <a:gd name="connsiteX13915" fmla="*/ 6755753 w 6884782"/>
              <a:gd name="connsiteY13915" fmla="*/ 4596619 h 5973007"/>
              <a:gd name="connsiteX13916" fmla="*/ 6759936 w 6884782"/>
              <a:gd name="connsiteY13916" fmla="*/ 4596619 h 5973007"/>
              <a:gd name="connsiteX13917" fmla="*/ 6761639 w 6884782"/>
              <a:gd name="connsiteY13917" fmla="*/ 4617167 h 5973007"/>
              <a:gd name="connsiteX13918" fmla="*/ 6755753 w 6884782"/>
              <a:gd name="connsiteY13918" fmla="*/ 4596619 h 5973007"/>
              <a:gd name="connsiteX13919" fmla="*/ 1491922 w 6884782"/>
              <a:gd name="connsiteY13919" fmla="*/ 4596498 h 5973007"/>
              <a:gd name="connsiteX13920" fmla="*/ 1493316 w 6884782"/>
              <a:gd name="connsiteY13920" fmla="*/ 4597634 h 5973007"/>
              <a:gd name="connsiteX13921" fmla="*/ 1492387 w 6884782"/>
              <a:gd name="connsiteY13921" fmla="*/ 4600009 h 5973007"/>
              <a:gd name="connsiteX13922" fmla="*/ 1487740 w 6884782"/>
              <a:gd name="connsiteY13922" fmla="*/ 4602177 h 5973007"/>
              <a:gd name="connsiteX13923" fmla="*/ 1486346 w 6884782"/>
              <a:gd name="connsiteY13923" fmla="*/ 4601041 h 5973007"/>
              <a:gd name="connsiteX13924" fmla="*/ 1491922 w 6884782"/>
              <a:gd name="connsiteY13924" fmla="*/ 4596498 h 5973007"/>
              <a:gd name="connsiteX13925" fmla="*/ 1152602 w 6884782"/>
              <a:gd name="connsiteY13925" fmla="*/ 4596085 h 5973007"/>
              <a:gd name="connsiteX13926" fmla="*/ 1159670 w 6884782"/>
              <a:gd name="connsiteY13926" fmla="*/ 4600938 h 5973007"/>
              <a:gd name="connsiteX13927" fmla="*/ 1155023 w 6884782"/>
              <a:gd name="connsiteY13927" fmla="*/ 4607650 h 5973007"/>
              <a:gd name="connsiteX13928" fmla="*/ 1147278 w 6884782"/>
              <a:gd name="connsiteY13928" fmla="*/ 4603003 h 5973007"/>
              <a:gd name="connsiteX13929" fmla="*/ 1152602 w 6884782"/>
              <a:gd name="connsiteY13929" fmla="*/ 4596085 h 5973007"/>
              <a:gd name="connsiteX13930" fmla="*/ 1561471 w 6884782"/>
              <a:gd name="connsiteY13930" fmla="*/ 4594330 h 5973007"/>
              <a:gd name="connsiteX13931" fmla="*/ 1565808 w 6884782"/>
              <a:gd name="connsiteY13931" fmla="*/ 4595362 h 5973007"/>
              <a:gd name="connsiteX13932" fmla="*/ 1565034 w 6884782"/>
              <a:gd name="connsiteY13932" fmla="*/ 4598047 h 5973007"/>
              <a:gd name="connsiteX13933" fmla="*/ 1561471 w 6884782"/>
              <a:gd name="connsiteY13933" fmla="*/ 4597014 h 5973007"/>
              <a:gd name="connsiteX13934" fmla="*/ 1561471 w 6884782"/>
              <a:gd name="connsiteY13934" fmla="*/ 4594330 h 5973007"/>
              <a:gd name="connsiteX13935" fmla="*/ 1794125 w 6884782"/>
              <a:gd name="connsiteY13935" fmla="*/ 4594123 h 5973007"/>
              <a:gd name="connsiteX13936" fmla="*/ 1801560 w 6884782"/>
              <a:gd name="connsiteY13936" fmla="*/ 4604346 h 5973007"/>
              <a:gd name="connsiteX13937" fmla="*/ 1801560 w 6884782"/>
              <a:gd name="connsiteY13937" fmla="*/ 4607340 h 5973007"/>
              <a:gd name="connsiteX13938" fmla="*/ 1804194 w 6884782"/>
              <a:gd name="connsiteY13938" fmla="*/ 4609095 h 5973007"/>
              <a:gd name="connsiteX13939" fmla="*/ 1804348 w 6884782"/>
              <a:gd name="connsiteY13939" fmla="*/ 4623654 h 5973007"/>
              <a:gd name="connsiteX13940" fmla="*/ 1801095 w 6884782"/>
              <a:gd name="connsiteY13940" fmla="*/ 4623138 h 5973007"/>
              <a:gd name="connsiteX13941" fmla="*/ 1800786 w 6884782"/>
              <a:gd name="connsiteY13941" fmla="*/ 4622829 h 5973007"/>
              <a:gd name="connsiteX13942" fmla="*/ 1800011 w 6884782"/>
              <a:gd name="connsiteY13942" fmla="*/ 4623138 h 5973007"/>
              <a:gd name="connsiteX13943" fmla="*/ 1793660 w 6884782"/>
              <a:gd name="connsiteY13943" fmla="*/ 4624480 h 5973007"/>
              <a:gd name="connsiteX13944" fmla="*/ 1798772 w 6884782"/>
              <a:gd name="connsiteY13944" fmla="*/ 4621073 h 5973007"/>
              <a:gd name="connsiteX13945" fmla="*/ 1799236 w 6884782"/>
              <a:gd name="connsiteY13945" fmla="*/ 4620970 h 5973007"/>
              <a:gd name="connsiteX13946" fmla="*/ 1797688 w 6884782"/>
              <a:gd name="connsiteY13946" fmla="*/ 4619214 h 5973007"/>
              <a:gd name="connsiteX13947" fmla="*/ 1795209 w 6884782"/>
              <a:gd name="connsiteY13947" fmla="*/ 4611057 h 5973007"/>
              <a:gd name="connsiteX13948" fmla="*/ 1796138 w 6884782"/>
              <a:gd name="connsiteY13948" fmla="*/ 4608889 h 5973007"/>
              <a:gd name="connsiteX13949" fmla="*/ 1795365 w 6884782"/>
              <a:gd name="connsiteY13949" fmla="*/ 4607134 h 5973007"/>
              <a:gd name="connsiteX13950" fmla="*/ 1794125 w 6884782"/>
              <a:gd name="connsiteY13950" fmla="*/ 4594123 h 5973007"/>
              <a:gd name="connsiteX13951" fmla="*/ 807068 w 6884782"/>
              <a:gd name="connsiteY13951" fmla="*/ 4594020 h 5973007"/>
              <a:gd name="connsiteX13952" fmla="*/ 809139 w 6884782"/>
              <a:gd name="connsiteY13952" fmla="*/ 4598667 h 5973007"/>
              <a:gd name="connsiteX13953" fmla="*/ 804492 w 6884782"/>
              <a:gd name="connsiteY13953" fmla="*/ 4603003 h 5973007"/>
              <a:gd name="connsiteX13954" fmla="*/ 803718 w 6884782"/>
              <a:gd name="connsiteY13954" fmla="*/ 4603107 h 5973007"/>
              <a:gd name="connsiteX13955" fmla="*/ 801859 w 6884782"/>
              <a:gd name="connsiteY13955" fmla="*/ 4602487 h 5973007"/>
              <a:gd name="connsiteX13956" fmla="*/ 798297 w 6884782"/>
              <a:gd name="connsiteY13956" fmla="*/ 4599079 h 5973007"/>
              <a:gd name="connsiteX13957" fmla="*/ 797832 w 6884782"/>
              <a:gd name="connsiteY13957" fmla="*/ 4599906 h 5973007"/>
              <a:gd name="connsiteX13958" fmla="*/ 800001 w 6884782"/>
              <a:gd name="connsiteY13958" fmla="*/ 4594949 h 5973007"/>
              <a:gd name="connsiteX13959" fmla="*/ 807068 w 6884782"/>
              <a:gd name="connsiteY13959" fmla="*/ 4594020 h 5973007"/>
              <a:gd name="connsiteX13960" fmla="*/ 1475658 w 6884782"/>
              <a:gd name="connsiteY13960" fmla="*/ 4592884 h 5973007"/>
              <a:gd name="connsiteX13961" fmla="*/ 1475349 w 6884782"/>
              <a:gd name="connsiteY13961" fmla="*/ 4594227 h 5973007"/>
              <a:gd name="connsiteX13962" fmla="*/ 1476742 w 6884782"/>
              <a:gd name="connsiteY13962" fmla="*/ 4594123 h 5973007"/>
              <a:gd name="connsiteX13963" fmla="*/ 1476433 w 6884782"/>
              <a:gd name="connsiteY13963" fmla="*/ 4593813 h 5973007"/>
              <a:gd name="connsiteX13964" fmla="*/ 1475813 w 6884782"/>
              <a:gd name="connsiteY13964" fmla="*/ 4593297 h 5973007"/>
              <a:gd name="connsiteX13965" fmla="*/ 1203041 w 6884782"/>
              <a:gd name="connsiteY13965" fmla="*/ 4592574 h 5973007"/>
              <a:gd name="connsiteX13966" fmla="*/ 1200098 w 6884782"/>
              <a:gd name="connsiteY13966" fmla="*/ 4605998 h 5973007"/>
              <a:gd name="connsiteX13967" fmla="*/ 1203041 w 6884782"/>
              <a:gd name="connsiteY13967" fmla="*/ 4592574 h 5973007"/>
              <a:gd name="connsiteX13968" fmla="*/ 6176441 w 6884782"/>
              <a:gd name="connsiteY13968" fmla="*/ 4592489 h 5973007"/>
              <a:gd name="connsiteX13969" fmla="*/ 6181708 w 6884782"/>
              <a:gd name="connsiteY13969" fmla="*/ 4597652 h 5973007"/>
              <a:gd name="connsiteX13970" fmla="*/ 6177216 w 6884782"/>
              <a:gd name="connsiteY13970" fmla="*/ 4599613 h 5973007"/>
              <a:gd name="connsiteX13971" fmla="*/ 6174428 w 6884782"/>
              <a:gd name="connsiteY13971" fmla="*/ 4598168 h 5973007"/>
              <a:gd name="connsiteX13972" fmla="*/ 6174273 w 6884782"/>
              <a:gd name="connsiteY13972" fmla="*/ 4595070 h 5973007"/>
              <a:gd name="connsiteX13973" fmla="*/ 6176441 w 6884782"/>
              <a:gd name="connsiteY13973" fmla="*/ 4592489 h 5973007"/>
              <a:gd name="connsiteX13974" fmla="*/ 737267 w 6884782"/>
              <a:gd name="connsiteY13974" fmla="*/ 4592368 h 5973007"/>
              <a:gd name="connsiteX13975" fmla="*/ 741450 w 6884782"/>
              <a:gd name="connsiteY13975" fmla="*/ 4592574 h 5973007"/>
              <a:gd name="connsiteX13976" fmla="*/ 754925 w 6884782"/>
              <a:gd name="connsiteY13976" fmla="*/ 4596705 h 5973007"/>
              <a:gd name="connsiteX13977" fmla="*/ 749194 w 6884782"/>
              <a:gd name="connsiteY13977" fmla="*/ 4597531 h 5973007"/>
              <a:gd name="connsiteX13978" fmla="*/ 735719 w 6884782"/>
              <a:gd name="connsiteY13978" fmla="*/ 4596705 h 5973007"/>
              <a:gd name="connsiteX13979" fmla="*/ 734014 w 6884782"/>
              <a:gd name="connsiteY13979" fmla="*/ 4594949 h 5973007"/>
              <a:gd name="connsiteX13980" fmla="*/ 733240 w 6884782"/>
              <a:gd name="connsiteY13980" fmla="*/ 4594846 h 5973007"/>
              <a:gd name="connsiteX13981" fmla="*/ 732311 w 6884782"/>
              <a:gd name="connsiteY13981" fmla="*/ 4593091 h 5973007"/>
              <a:gd name="connsiteX13982" fmla="*/ 737267 w 6884782"/>
              <a:gd name="connsiteY13982" fmla="*/ 4592368 h 5973007"/>
              <a:gd name="connsiteX13983" fmla="*/ 1558063 w 6884782"/>
              <a:gd name="connsiteY13983" fmla="*/ 4592265 h 5973007"/>
              <a:gd name="connsiteX13984" fmla="*/ 1549853 w 6884782"/>
              <a:gd name="connsiteY13984" fmla="*/ 4606307 h 5973007"/>
              <a:gd name="connsiteX13985" fmla="*/ 1561626 w 6884782"/>
              <a:gd name="connsiteY13985" fmla="*/ 4618595 h 5973007"/>
              <a:gd name="connsiteX13986" fmla="*/ 1557133 w 6884782"/>
              <a:gd name="connsiteY13986" fmla="*/ 4618802 h 5973007"/>
              <a:gd name="connsiteX13987" fmla="*/ 1543503 w 6884782"/>
              <a:gd name="connsiteY13987" fmla="*/ 4610747 h 5973007"/>
              <a:gd name="connsiteX13988" fmla="*/ 1533125 w 6884782"/>
              <a:gd name="connsiteY13988" fmla="*/ 4610747 h 5973007"/>
              <a:gd name="connsiteX13989" fmla="*/ 1550783 w 6884782"/>
              <a:gd name="connsiteY13989" fmla="*/ 4593917 h 5973007"/>
              <a:gd name="connsiteX13990" fmla="*/ 1558063 w 6884782"/>
              <a:gd name="connsiteY13990" fmla="*/ 4592265 h 5973007"/>
              <a:gd name="connsiteX13991" fmla="*/ 5975696 w 6884782"/>
              <a:gd name="connsiteY13991" fmla="*/ 4592179 h 5973007"/>
              <a:gd name="connsiteX13992" fmla="*/ 5981892 w 6884782"/>
              <a:gd name="connsiteY13992" fmla="*/ 4594451 h 5973007"/>
              <a:gd name="connsiteX13993" fmla="*/ 5981272 w 6884782"/>
              <a:gd name="connsiteY13993" fmla="*/ 4596309 h 5973007"/>
              <a:gd name="connsiteX13994" fmla="*/ 5978949 w 6884782"/>
              <a:gd name="connsiteY13994" fmla="*/ 4597858 h 5973007"/>
              <a:gd name="connsiteX13995" fmla="*/ 5976470 w 6884782"/>
              <a:gd name="connsiteY13995" fmla="*/ 4597445 h 5973007"/>
              <a:gd name="connsiteX13996" fmla="*/ 5975696 w 6884782"/>
              <a:gd name="connsiteY13996" fmla="*/ 4592179 h 5973007"/>
              <a:gd name="connsiteX13997" fmla="*/ 6463464 w 6884782"/>
              <a:gd name="connsiteY13997" fmla="*/ 4591663 h 5973007"/>
              <a:gd name="connsiteX13998" fmla="*/ 6453861 w 6884782"/>
              <a:gd name="connsiteY13998" fmla="*/ 4592799 h 5973007"/>
              <a:gd name="connsiteX13999" fmla="*/ 6456649 w 6884782"/>
              <a:gd name="connsiteY13999" fmla="*/ 4593831 h 5973007"/>
              <a:gd name="connsiteX14000" fmla="*/ 6460676 w 6884782"/>
              <a:gd name="connsiteY14000" fmla="*/ 4598271 h 5973007"/>
              <a:gd name="connsiteX14001" fmla="*/ 6460676 w 6884782"/>
              <a:gd name="connsiteY14001" fmla="*/ 4597962 h 5973007"/>
              <a:gd name="connsiteX14002" fmla="*/ 1846325 w 6884782"/>
              <a:gd name="connsiteY14002" fmla="*/ 4590200 h 5973007"/>
              <a:gd name="connsiteX14003" fmla="*/ 1837960 w 6884782"/>
              <a:gd name="connsiteY14003" fmla="*/ 4592368 h 5973007"/>
              <a:gd name="connsiteX14004" fmla="*/ 1840903 w 6884782"/>
              <a:gd name="connsiteY14004" fmla="*/ 4593091 h 5973007"/>
              <a:gd name="connsiteX14005" fmla="*/ 1846015 w 6884782"/>
              <a:gd name="connsiteY14005" fmla="*/ 4593091 h 5973007"/>
              <a:gd name="connsiteX14006" fmla="*/ 1846325 w 6884782"/>
              <a:gd name="connsiteY14006" fmla="*/ 4590303 h 5973007"/>
              <a:gd name="connsiteX14007" fmla="*/ 1168809 w 6884782"/>
              <a:gd name="connsiteY14007" fmla="*/ 4590096 h 5973007"/>
              <a:gd name="connsiteX14008" fmla="*/ 1170822 w 6884782"/>
              <a:gd name="connsiteY14008" fmla="*/ 4592471 h 5973007"/>
              <a:gd name="connsiteX14009" fmla="*/ 1168344 w 6884782"/>
              <a:gd name="connsiteY14009" fmla="*/ 4590819 h 5973007"/>
              <a:gd name="connsiteX14010" fmla="*/ 1168809 w 6884782"/>
              <a:gd name="connsiteY14010" fmla="*/ 4590096 h 5973007"/>
              <a:gd name="connsiteX14011" fmla="*/ 1402547 w 6884782"/>
              <a:gd name="connsiteY14011" fmla="*/ 4589477 h 5973007"/>
              <a:gd name="connsiteX14012" fmla="*/ 1408279 w 6884782"/>
              <a:gd name="connsiteY14012" fmla="*/ 4590096 h 5973007"/>
              <a:gd name="connsiteX14013" fmla="*/ 1411686 w 6884782"/>
              <a:gd name="connsiteY14013" fmla="*/ 4596498 h 5973007"/>
              <a:gd name="connsiteX14014" fmla="*/ 1408434 w 6884782"/>
              <a:gd name="connsiteY14014" fmla="*/ 4596911 h 5973007"/>
              <a:gd name="connsiteX14015" fmla="*/ 1402547 w 6884782"/>
              <a:gd name="connsiteY14015" fmla="*/ 4589477 h 5973007"/>
              <a:gd name="connsiteX14016" fmla="*/ 1483558 w 6884782"/>
              <a:gd name="connsiteY14016" fmla="*/ 4589373 h 5973007"/>
              <a:gd name="connsiteX14017" fmla="*/ 1486811 w 6884782"/>
              <a:gd name="connsiteY14017" fmla="*/ 4590612 h 5973007"/>
              <a:gd name="connsiteX14018" fmla="*/ 1484023 w 6884782"/>
              <a:gd name="connsiteY14018" fmla="*/ 4592884 h 5973007"/>
              <a:gd name="connsiteX14019" fmla="*/ 1483093 w 6884782"/>
              <a:gd name="connsiteY14019" fmla="*/ 4591851 h 5973007"/>
              <a:gd name="connsiteX14020" fmla="*/ 1483558 w 6884782"/>
              <a:gd name="connsiteY14020" fmla="*/ 4589373 h 5973007"/>
              <a:gd name="connsiteX14021" fmla="*/ 6202154 w 6884782"/>
              <a:gd name="connsiteY14021" fmla="*/ 4589288 h 5973007"/>
              <a:gd name="connsiteX14022" fmla="*/ 6201999 w 6884782"/>
              <a:gd name="connsiteY14022" fmla="*/ 4602711 h 5973007"/>
              <a:gd name="connsiteX14023" fmla="*/ 6195029 w 6884782"/>
              <a:gd name="connsiteY14023" fmla="*/ 4598375 h 5973007"/>
              <a:gd name="connsiteX14024" fmla="*/ 6202154 w 6884782"/>
              <a:gd name="connsiteY14024" fmla="*/ 4589288 h 5973007"/>
              <a:gd name="connsiteX14025" fmla="*/ 5709429 w 6884782"/>
              <a:gd name="connsiteY14025" fmla="*/ 4588359 h 5973007"/>
              <a:gd name="connsiteX14026" fmla="*/ 5715780 w 6884782"/>
              <a:gd name="connsiteY14026" fmla="*/ 4589908 h 5973007"/>
              <a:gd name="connsiteX14027" fmla="*/ 5712836 w 6884782"/>
              <a:gd name="connsiteY14027" fmla="*/ 4596929 h 5973007"/>
              <a:gd name="connsiteX14028" fmla="*/ 5708345 w 6884782"/>
              <a:gd name="connsiteY14028" fmla="*/ 4595380 h 5973007"/>
              <a:gd name="connsiteX14029" fmla="*/ 5709429 w 6884782"/>
              <a:gd name="connsiteY14029" fmla="*/ 4588359 h 5973007"/>
              <a:gd name="connsiteX14030" fmla="*/ 890460 w 6884782"/>
              <a:gd name="connsiteY14030" fmla="*/ 4588135 h 5973007"/>
              <a:gd name="connsiteX14031" fmla="*/ 892009 w 6884782"/>
              <a:gd name="connsiteY14031" fmla="*/ 4589993 h 5973007"/>
              <a:gd name="connsiteX14032" fmla="*/ 889995 w 6884782"/>
              <a:gd name="connsiteY14032" fmla="*/ 4591955 h 5973007"/>
              <a:gd name="connsiteX14033" fmla="*/ 887362 w 6884782"/>
              <a:gd name="connsiteY14033" fmla="*/ 4592368 h 5973007"/>
              <a:gd name="connsiteX14034" fmla="*/ 886587 w 6884782"/>
              <a:gd name="connsiteY14034" fmla="*/ 4591232 h 5973007"/>
              <a:gd name="connsiteX14035" fmla="*/ 886123 w 6884782"/>
              <a:gd name="connsiteY14035" fmla="*/ 4589270 h 5973007"/>
              <a:gd name="connsiteX14036" fmla="*/ 890460 w 6884782"/>
              <a:gd name="connsiteY14036" fmla="*/ 4588135 h 5973007"/>
              <a:gd name="connsiteX14037" fmla="*/ 1196070 w 6884782"/>
              <a:gd name="connsiteY14037" fmla="*/ 4587721 h 5973007"/>
              <a:gd name="connsiteX14038" fmla="*/ 1197464 w 6884782"/>
              <a:gd name="connsiteY14038" fmla="*/ 4594330 h 5973007"/>
              <a:gd name="connsiteX14039" fmla="*/ 1195606 w 6884782"/>
              <a:gd name="connsiteY14039" fmla="*/ 4594433 h 5973007"/>
              <a:gd name="connsiteX14040" fmla="*/ 1192973 w 6884782"/>
              <a:gd name="connsiteY14040" fmla="*/ 4592987 h 5973007"/>
              <a:gd name="connsiteX14041" fmla="*/ 1191888 w 6884782"/>
              <a:gd name="connsiteY14041" fmla="*/ 4590509 h 5973007"/>
              <a:gd name="connsiteX14042" fmla="*/ 1196070 w 6884782"/>
              <a:gd name="connsiteY14042" fmla="*/ 4587721 h 5973007"/>
              <a:gd name="connsiteX14043" fmla="*/ 1853605 w 6884782"/>
              <a:gd name="connsiteY14043" fmla="*/ 4587618 h 5973007"/>
              <a:gd name="connsiteX14044" fmla="*/ 1853296 w 6884782"/>
              <a:gd name="connsiteY14044" fmla="*/ 4587721 h 5973007"/>
              <a:gd name="connsiteX14045" fmla="*/ 1853140 w 6884782"/>
              <a:gd name="connsiteY14045" fmla="*/ 4588031 h 5973007"/>
              <a:gd name="connsiteX14046" fmla="*/ 1499667 w 6884782"/>
              <a:gd name="connsiteY14046" fmla="*/ 4587102 h 5973007"/>
              <a:gd name="connsiteX14047" fmla="*/ 1506018 w 6884782"/>
              <a:gd name="connsiteY14047" fmla="*/ 4588754 h 5973007"/>
              <a:gd name="connsiteX14048" fmla="*/ 1502765 w 6884782"/>
              <a:gd name="connsiteY14048" fmla="*/ 4588960 h 5973007"/>
              <a:gd name="connsiteX14049" fmla="*/ 1499667 w 6884782"/>
              <a:gd name="connsiteY14049" fmla="*/ 4587102 h 5973007"/>
              <a:gd name="connsiteX14050" fmla="*/ 5842175 w 6884782"/>
              <a:gd name="connsiteY14050" fmla="*/ 4587016 h 5973007"/>
              <a:gd name="connsiteX14051" fmla="*/ 5846048 w 6884782"/>
              <a:gd name="connsiteY14051" fmla="*/ 4588359 h 5973007"/>
              <a:gd name="connsiteX14052" fmla="*/ 5841710 w 6884782"/>
              <a:gd name="connsiteY14052" fmla="*/ 4595070 h 5973007"/>
              <a:gd name="connsiteX14053" fmla="*/ 5839232 w 6884782"/>
              <a:gd name="connsiteY14053" fmla="*/ 4594554 h 5973007"/>
              <a:gd name="connsiteX14054" fmla="*/ 5839542 w 6884782"/>
              <a:gd name="connsiteY14054" fmla="*/ 4588359 h 5973007"/>
              <a:gd name="connsiteX14055" fmla="*/ 5842175 w 6884782"/>
              <a:gd name="connsiteY14055" fmla="*/ 4587016 h 5973007"/>
              <a:gd name="connsiteX14056" fmla="*/ 1592450 w 6884782"/>
              <a:gd name="connsiteY14056" fmla="*/ 4585411 h 5973007"/>
              <a:gd name="connsiteX14057" fmla="*/ 1597252 w 6884782"/>
              <a:gd name="connsiteY14057" fmla="*/ 4591129 h 5973007"/>
              <a:gd name="connsiteX14058" fmla="*/ 1591675 w 6884782"/>
              <a:gd name="connsiteY14058" fmla="*/ 4593091 h 5973007"/>
              <a:gd name="connsiteX14059" fmla="*/ 1589972 w 6884782"/>
              <a:gd name="connsiteY14059" fmla="*/ 4590612 h 5973007"/>
              <a:gd name="connsiteX14060" fmla="*/ 1592450 w 6884782"/>
              <a:gd name="connsiteY14060" fmla="*/ 4585411 h 5973007"/>
              <a:gd name="connsiteX14061" fmla="*/ 6017053 w 6884782"/>
              <a:gd name="connsiteY14061" fmla="*/ 4585158 h 5973007"/>
              <a:gd name="connsiteX14062" fmla="*/ 6016589 w 6884782"/>
              <a:gd name="connsiteY14062" fmla="*/ 4588359 h 5973007"/>
              <a:gd name="connsiteX14063" fmla="*/ 6016124 w 6884782"/>
              <a:gd name="connsiteY14063" fmla="*/ 4589081 h 5973007"/>
              <a:gd name="connsiteX14064" fmla="*/ 6015814 w 6884782"/>
              <a:gd name="connsiteY14064" fmla="*/ 4588359 h 5973007"/>
              <a:gd name="connsiteX14065" fmla="*/ 6017053 w 6884782"/>
              <a:gd name="connsiteY14065" fmla="*/ 4585158 h 5973007"/>
              <a:gd name="connsiteX14066" fmla="*/ 1170357 w 6884782"/>
              <a:gd name="connsiteY14066" fmla="*/ 4585140 h 5973007"/>
              <a:gd name="connsiteX14067" fmla="*/ 1175314 w 6884782"/>
              <a:gd name="connsiteY14067" fmla="*/ 4585140 h 5973007"/>
              <a:gd name="connsiteX14068" fmla="*/ 1176088 w 6884782"/>
              <a:gd name="connsiteY14068" fmla="*/ 4586069 h 5973007"/>
              <a:gd name="connsiteX14069" fmla="*/ 1176863 w 6884782"/>
              <a:gd name="connsiteY14069" fmla="*/ 4586689 h 5973007"/>
              <a:gd name="connsiteX14070" fmla="*/ 1178412 w 6884782"/>
              <a:gd name="connsiteY14070" fmla="*/ 4588444 h 5973007"/>
              <a:gd name="connsiteX14071" fmla="*/ 1176243 w 6884782"/>
              <a:gd name="connsiteY14071" fmla="*/ 4590509 h 5973007"/>
              <a:gd name="connsiteX14072" fmla="*/ 1173765 w 6884782"/>
              <a:gd name="connsiteY14072" fmla="*/ 4590509 h 5973007"/>
              <a:gd name="connsiteX14073" fmla="*/ 1170357 w 6884782"/>
              <a:gd name="connsiteY14073" fmla="*/ 4585140 h 5973007"/>
              <a:gd name="connsiteX14074" fmla="*/ 1416643 w 6884782"/>
              <a:gd name="connsiteY14074" fmla="*/ 4584624 h 5973007"/>
              <a:gd name="connsiteX14075" fmla="*/ 1412615 w 6884782"/>
              <a:gd name="connsiteY14075" fmla="*/ 4590509 h 5973007"/>
              <a:gd name="connsiteX14076" fmla="*/ 1410447 w 6884782"/>
              <a:gd name="connsiteY14076" fmla="*/ 4590509 h 5973007"/>
              <a:gd name="connsiteX14077" fmla="*/ 1416643 w 6884782"/>
              <a:gd name="connsiteY14077" fmla="*/ 4584624 h 5973007"/>
              <a:gd name="connsiteX14078" fmla="*/ 6103795 w 6884782"/>
              <a:gd name="connsiteY14078" fmla="*/ 4584435 h 5973007"/>
              <a:gd name="connsiteX14079" fmla="*/ 6106738 w 6884782"/>
              <a:gd name="connsiteY14079" fmla="*/ 4585158 h 5973007"/>
              <a:gd name="connsiteX14080" fmla="*/ 6109681 w 6884782"/>
              <a:gd name="connsiteY14080" fmla="*/ 4586397 h 5973007"/>
              <a:gd name="connsiteX14081" fmla="*/ 6110456 w 6884782"/>
              <a:gd name="connsiteY14081" fmla="*/ 4586087 h 5973007"/>
              <a:gd name="connsiteX14082" fmla="*/ 6110920 w 6884782"/>
              <a:gd name="connsiteY14082" fmla="*/ 4600543 h 5973007"/>
              <a:gd name="connsiteX14083" fmla="*/ 6102401 w 6884782"/>
              <a:gd name="connsiteY14083" fmla="*/ 4598168 h 5973007"/>
              <a:gd name="connsiteX14084" fmla="*/ 6101626 w 6884782"/>
              <a:gd name="connsiteY14084" fmla="*/ 4597239 h 5973007"/>
              <a:gd name="connsiteX14085" fmla="*/ 6100387 w 6884782"/>
              <a:gd name="connsiteY14085" fmla="*/ 4597962 h 5973007"/>
              <a:gd name="connsiteX14086" fmla="*/ 6094191 w 6884782"/>
              <a:gd name="connsiteY14086" fmla="*/ 4595483 h 5973007"/>
              <a:gd name="connsiteX14087" fmla="*/ 6100542 w 6884782"/>
              <a:gd name="connsiteY14087" fmla="*/ 4587223 h 5973007"/>
              <a:gd name="connsiteX14088" fmla="*/ 6101626 w 6884782"/>
              <a:gd name="connsiteY14088" fmla="*/ 4588462 h 5973007"/>
              <a:gd name="connsiteX14089" fmla="*/ 6102246 w 6884782"/>
              <a:gd name="connsiteY14089" fmla="*/ 4586707 h 5973007"/>
              <a:gd name="connsiteX14090" fmla="*/ 6103795 w 6884782"/>
              <a:gd name="connsiteY14090" fmla="*/ 4584435 h 5973007"/>
              <a:gd name="connsiteX14091" fmla="*/ 1632568 w 6884782"/>
              <a:gd name="connsiteY14091" fmla="*/ 4584314 h 5973007"/>
              <a:gd name="connsiteX14092" fmla="*/ 1637835 w 6884782"/>
              <a:gd name="connsiteY14092" fmla="*/ 4585140 h 5973007"/>
              <a:gd name="connsiteX14093" fmla="*/ 1637680 w 6884782"/>
              <a:gd name="connsiteY14093" fmla="*/ 4586276 h 5973007"/>
              <a:gd name="connsiteX14094" fmla="*/ 1643720 w 6884782"/>
              <a:gd name="connsiteY14094" fmla="*/ 4590922 h 5973007"/>
              <a:gd name="connsiteX14095" fmla="*/ 1643411 w 6884782"/>
              <a:gd name="connsiteY14095" fmla="*/ 4598976 h 5973007"/>
              <a:gd name="connsiteX14096" fmla="*/ 1641242 w 6884782"/>
              <a:gd name="connsiteY14096" fmla="*/ 4599286 h 5973007"/>
              <a:gd name="connsiteX14097" fmla="*/ 1636751 w 6884782"/>
              <a:gd name="connsiteY14097" fmla="*/ 4595156 h 5973007"/>
              <a:gd name="connsiteX14098" fmla="*/ 1636285 w 6884782"/>
              <a:gd name="connsiteY14098" fmla="*/ 4592265 h 5973007"/>
              <a:gd name="connsiteX14099" fmla="*/ 1635666 w 6884782"/>
              <a:gd name="connsiteY14099" fmla="*/ 4593091 h 5973007"/>
              <a:gd name="connsiteX14100" fmla="*/ 1633962 w 6884782"/>
              <a:gd name="connsiteY14100" fmla="*/ 4594536 h 5973007"/>
              <a:gd name="connsiteX14101" fmla="*/ 1632568 w 6884782"/>
              <a:gd name="connsiteY14101" fmla="*/ 4584314 h 5973007"/>
              <a:gd name="connsiteX14102" fmla="*/ 1607940 w 6884782"/>
              <a:gd name="connsiteY14102" fmla="*/ 4584211 h 5973007"/>
              <a:gd name="connsiteX14103" fmla="*/ 1610573 w 6884782"/>
              <a:gd name="connsiteY14103" fmla="*/ 4588031 h 5973007"/>
              <a:gd name="connsiteX14104" fmla="*/ 1607165 w 6884782"/>
              <a:gd name="connsiteY14104" fmla="*/ 4589167 h 5973007"/>
              <a:gd name="connsiteX14105" fmla="*/ 1604996 w 6884782"/>
              <a:gd name="connsiteY14105" fmla="*/ 4587308 h 5973007"/>
              <a:gd name="connsiteX14106" fmla="*/ 1605771 w 6884782"/>
              <a:gd name="connsiteY14106" fmla="*/ 4586895 h 5973007"/>
              <a:gd name="connsiteX14107" fmla="*/ 1607940 w 6884782"/>
              <a:gd name="connsiteY14107" fmla="*/ 4584211 h 5973007"/>
              <a:gd name="connsiteX14108" fmla="*/ 1649452 w 6884782"/>
              <a:gd name="connsiteY14108" fmla="*/ 4584004 h 5973007"/>
              <a:gd name="connsiteX14109" fmla="*/ 1657816 w 6884782"/>
              <a:gd name="connsiteY14109" fmla="*/ 4598873 h 5973007"/>
              <a:gd name="connsiteX14110" fmla="*/ 1655648 w 6884782"/>
              <a:gd name="connsiteY14110" fmla="*/ 4600318 h 5973007"/>
              <a:gd name="connsiteX14111" fmla="*/ 1646354 w 6884782"/>
              <a:gd name="connsiteY14111" fmla="*/ 4584520 h 5973007"/>
              <a:gd name="connsiteX14112" fmla="*/ 1649452 w 6884782"/>
              <a:gd name="connsiteY14112" fmla="*/ 4584004 h 5973007"/>
              <a:gd name="connsiteX14113" fmla="*/ 1224726 w 6884782"/>
              <a:gd name="connsiteY14113" fmla="*/ 4582765 h 5973007"/>
              <a:gd name="connsiteX14114" fmla="*/ 1228134 w 6884782"/>
              <a:gd name="connsiteY14114" fmla="*/ 4586173 h 5973007"/>
              <a:gd name="connsiteX14115" fmla="*/ 1227204 w 6884782"/>
              <a:gd name="connsiteY14115" fmla="*/ 4587928 h 5973007"/>
              <a:gd name="connsiteX14116" fmla="*/ 1224571 w 6884782"/>
              <a:gd name="connsiteY14116" fmla="*/ 4588547 h 5973007"/>
              <a:gd name="connsiteX14117" fmla="*/ 1221784 w 6884782"/>
              <a:gd name="connsiteY14117" fmla="*/ 4585863 h 5973007"/>
              <a:gd name="connsiteX14118" fmla="*/ 1222712 w 6884782"/>
              <a:gd name="connsiteY14118" fmla="*/ 4584211 h 5973007"/>
              <a:gd name="connsiteX14119" fmla="*/ 1224726 w 6884782"/>
              <a:gd name="connsiteY14119" fmla="*/ 4582765 h 5973007"/>
              <a:gd name="connsiteX14120" fmla="*/ 6029600 w 6884782"/>
              <a:gd name="connsiteY14120" fmla="*/ 4582370 h 5973007"/>
              <a:gd name="connsiteX14121" fmla="*/ 6033627 w 6884782"/>
              <a:gd name="connsiteY14121" fmla="*/ 4584951 h 5973007"/>
              <a:gd name="connsiteX14122" fmla="*/ 6029445 w 6884782"/>
              <a:gd name="connsiteY14122" fmla="*/ 4591663 h 5973007"/>
              <a:gd name="connsiteX14123" fmla="*/ 6025108 w 6884782"/>
              <a:gd name="connsiteY14123" fmla="*/ 4587842 h 5973007"/>
              <a:gd name="connsiteX14124" fmla="*/ 6025263 w 6884782"/>
              <a:gd name="connsiteY14124" fmla="*/ 4585261 h 5973007"/>
              <a:gd name="connsiteX14125" fmla="*/ 6027276 w 6884782"/>
              <a:gd name="connsiteY14125" fmla="*/ 4582989 h 5973007"/>
              <a:gd name="connsiteX14126" fmla="*/ 6029600 w 6884782"/>
              <a:gd name="connsiteY14126" fmla="*/ 4582370 h 5973007"/>
              <a:gd name="connsiteX14127" fmla="*/ 903936 w 6884782"/>
              <a:gd name="connsiteY14127" fmla="*/ 4582145 h 5973007"/>
              <a:gd name="connsiteX14128" fmla="*/ 908118 w 6884782"/>
              <a:gd name="connsiteY14128" fmla="*/ 4584520 h 5973007"/>
              <a:gd name="connsiteX14129" fmla="*/ 909202 w 6884782"/>
              <a:gd name="connsiteY14129" fmla="*/ 4587825 h 5973007"/>
              <a:gd name="connsiteX14130" fmla="*/ 909977 w 6884782"/>
              <a:gd name="connsiteY14130" fmla="*/ 4589373 h 5973007"/>
              <a:gd name="connsiteX14131" fmla="*/ 923298 w 6884782"/>
              <a:gd name="connsiteY14131" fmla="*/ 4584107 h 5973007"/>
              <a:gd name="connsiteX14132" fmla="*/ 925157 w 6884782"/>
              <a:gd name="connsiteY14132" fmla="*/ 4593401 h 5973007"/>
              <a:gd name="connsiteX14133" fmla="*/ 903781 w 6884782"/>
              <a:gd name="connsiteY14133" fmla="*/ 4600732 h 5973007"/>
              <a:gd name="connsiteX14134" fmla="*/ 892783 w 6884782"/>
              <a:gd name="connsiteY14134" fmla="*/ 4604449 h 5973007"/>
              <a:gd name="connsiteX14135" fmla="*/ 894177 w 6884782"/>
              <a:gd name="connsiteY14135" fmla="*/ 4607340 h 5973007"/>
              <a:gd name="connsiteX14136" fmla="*/ 895417 w 6884782"/>
              <a:gd name="connsiteY14136" fmla="*/ 4619421 h 5973007"/>
              <a:gd name="connsiteX14137" fmla="*/ 893868 w 6884782"/>
              <a:gd name="connsiteY14137" fmla="*/ 4627165 h 5973007"/>
              <a:gd name="connsiteX14138" fmla="*/ 885348 w 6884782"/>
              <a:gd name="connsiteY14138" fmla="*/ 4613226 h 5973007"/>
              <a:gd name="connsiteX14139" fmla="*/ 870324 w 6884782"/>
              <a:gd name="connsiteY14139" fmla="*/ 4619731 h 5973007"/>
              <a:gd name="connsiteX14140" fmla="*/ 884264 w 6884782"/>
              <a:gd name="connsiteY14140" fmla="*/ 4605172 h 5973007"/>
              <a:gd name="connsiteX14141" fmla="*/ 885658 w 6884782"/>
              <a:gd name="connsiteY14141" fmla="*/ 4597737 h 5973007"/>
              <a:gd name="connsiteX14142" fmla="*/ 886743 w 6884782"/>
              <a:gd name="connsiteY14142" fmla="*/ 4596705 h 5973007"/>
              <a:gd name="connsiteX14143" fmla="*/ 886587 w 6884782"/>
              <a:gd name="connsiteY14143" fmla="*/ 4592368 h 5973007"/>
              <a:gd name="connsiteX14144" fmla="*/ 892474 w 6884782"/>
              <a:gd name="connsiteY14144" fmla="*/ 4595362 h 5973007"/>
              <a:gd name="connsiteX14145" fmla="*/ 891699 w 6884782"/>
              <a:gd name="connsiteY14145" fmla="*/ 4597014 h 5973007"/>
              <a:gd name="connsiteX14146" fmla="*/ 889840 w 6884782"/>
              <a:gd name="connsiteY14146" fmla="*/ 4597944 h 5973007"/>
              <a:gd name="connsiteX14147" fmla="*/ 890770 w 6884782"/>
              <a:gd name="connsiteY14147" fmla="*/ 4599906 h 5973007"/>
              <a:gd name="connsiteX14148" fmla="*/ 891544 w 6884782"/>
              <a:gd name="connsiteY14148" fmla="*/ 4598976 h 5973007"/>
              <a:gd name="connsiteX14149" fmla="*/ 898670 w 6884782"/>
              <a:gd name="connsiteY14149" fmla="*/ 4594330 h 5973007"/>
              <a:gd name="connsiteX14150" fmla="*/ 903006 w 6884782"/>
              <a:gd name="connsiteY14150" fmla="*/ 4592368 h 5973007"/>
              <a:gd name="connsiteX14151" fmla="*/ 901148 w 6884782"/>
              <a:gd name="connsiteY14151" fmla="*/ 4591335 h 5973007"/>
              <a:gd name="connsiteX14152" fmla="*/ 896811 w 6884782"/>
              <a:gd name="connsiteY14152" fmla="*/ 4585656 h 5973007"/>
              <a:gd name="connsiteX14153" fmla="*/ 903936 w 6884782"/>
              <a:gd name="connsiteY14153" fmla="*/ 4582145 h 5973007"/>
              <a:gd name="connsiteX14154" fmla="*/ 1351896 w 6884782"/>
              <a:gd name="connsiteY14154" fmla="*/ 4581733 h 5973007"/>
              <a:gd name="connsiteX14155" fmla="*/ 1351276 w 6884782"/>
              <a:gd name="connsiteY14155" fmla="*/ 4582145 h 5973007"/>
              <a:gd name="connsiteX14156" fmla="*/ 1351586 w 6884782"/>
              <a:gd name="connsiteY14156" fmla="*/ 4582765 h 5973007"/>
              <a:gd name="connsiteX14157" fmla="*/ 6210673 w 6884782"/>
              <a:gd name="connsiteY14157" fmla="*/ 4579685 h 5973007"/>
              <a:gd name="connsiteX14158" fmla="*/ 6219038 w 6884782"/>
              <a:gd name="connsiteY14158" fmla="*/ 4579892 h 5973007"/>
              <a:gd name="connsiteX14159" fmla="*/ 6222291 w 6884782"/>
              <a:gd name="connsiteY14159" fmla="*/ 4584022 h 5973007"/>
              <a:gd name="connsiteX14160" fmla="*/ 6222446 w 6884782"/>
              <a:gd name="connsiteY14160" fmla="*/ 4585777 h 5973007"/>
              <a:gd name="connsiteX14161" fmla="*/ 6230965 w 6884782"/>
              <a:gd name="connsiteY14161" fmla="*/ 4591353 h 5973007"/>
              <a:gd name="connsiteX14162" fmla="*/ 6226163 w 6884782"/>
              <a:gd name="connsiteY14162" fmla="*/ 4597342 h 5973007"/>
              <a:gd name="connsiteX14163" fmla="*/ 6220742 w 6884782"/>
              <a:gd name="connsiteY14163" fmla="*/ 4594761 h 5973007"/>
              <a:gd name="connsiteX14164" fmla="*/ 6215785 w 6884782"/>
              <a:gd name="connsiteY14164" fmla="*/ 4597652 h 5973007"/>
              <a:gd name="connsiteX14165" fmla="*/ 6210673 w 6884782"/>
              <a:gd name="connsiteY14165" fmla="*/ 4579685 h 5973007"/>
              <a:gd name="connsiteX14166" fmla="*/ 6854112 w 6884782"/>
              <a:gd name="connsiteY14166" fmla="*/ 4579582 h 5973007"/>
              <a:gd name="connsiteX14167" fmla="*/ 6854577 w 6884782"/>
              <a:gd name="connsiteY14167" fmla="*/ 4641123 h 5973007"/>
              <a:gd name="connsiteX14168" fmla="*/ 6839552 w 6884782"/>
              <a:gd name="connsiteY14168" fmla="*/ 4656714 h 5973007"/>
              <a:gd name="connsiteX14169" fmla="*/ 6824992 w 6884782"/>
              <a:gd name="connsiteY14169" fmla="*/ 4661671 h 5973007"/>
              <a:gd name="connsiteX14170" fmla="*/ 6791689 w 6884782"/>
              <a:gd name="connsiteY14170" fmla="*/ 4641536 h 5973007"/>
              <a:gd name="connsiteX14171" fmla="*/ 6790140 w 6884782"/>
              <a:gd name="connsiteY14171" fmla="*/ 4636476 h 5973007"/>
              <a:gd name="connsiteX14172" fmla="*/ 6788591 w 6884782"/>
              <a:gd name="connsiteY14172" fmla="*/ 4637405 h 5973007"/>
              <a:gd name="connsiteX14173" fmla="*/ 6785184 w 6884782"/>
              <a:gd name="connsiteY14173" fmla="*/ 4636579 h 5973007"/>
              <a:gd name="connsiteX14174" fmla="*/ 6786578 w 6884782"/>
              <a:gd name="connsiteY14174" fmla="*/ 4629558 h 5973007"/>
              <a:gd name="connsiteX14175" fmla="*/ 6788437 w 6884782"/>
              <a:gd name="connsiteY14175" fmla="*/ 4630384 h 5973007"/>
              <a:gd name="connsiteX14176" fmla="*/ 6786733 w 6884782"/>
              <a:gd name="connsiteY14176" fmla="*/ 4624499 h 5973007"/>
              <a:gd name="connsiteX14177" fmla="*/ 6789056 w 6884782"/>
              <a:gd name="connsiteY14177" fmla="*/ 4605706 h 5973007"/>
              <a:gd name="connsiteX14178" fmla="*/ 6854112 w 6884782"/>
              <a:gd name="connsiteY14178" fmla="*/ 4579582 h 5973007"/>
              <a:gd name="connsiteX14179" fmla="*/ 879462 w 6884782"/>
              <a:gd name="connsiteY14179" fmla="*/ 4579564 h 5973007"/>
              <a:gd name="connsiteX14180" fmla="*/ 876055 w 6884782"/>
              <a:gd name="connsiteY14180" fmla="*/ 4584520 h 5973007"/>
              <a:gd name="connsiteX14181" fmla="*/ 874351 w 6884782"/>
              <a:gd name="connsiteY14181" fmla="*/ 4580906 h 5973007"/>
              <a:gd name="connsiteX14182" fmla="*/ 879462 w 6884782"/>
              <a:gd name="connsiteY14182" fmla="*/ 4579564 h 5973007"/>
              <a:gd name="connsiteX14183" fmla="*/ 1205054 w 6884782"/>
              <a:gd name="connsiteY14183" fmla="*/ 4579254 h 5973007"/>
              <a:gd name="connsiteX14184" fmla="*/ 1204900 w 6884782"/>
              <a:gd name="connsiteY14184" fmla="*/ 4585966 h 5973007"/>
              <a:gd name="connsiteX14185" fmla="*/ 1203970 w 6884782"/>
              <a:gd name="connsiteY14185" fmla="*/ 4586689 h 5973007"/>
              <a:gd name="connsiteX14186" fmla="*/ 1205054 w 6884782"/>
              <a:gd name="connsiteY14186" fmla="*/ 4579254 h 5973007"/>
              <a:gd name="connsiteX14187" fmla="*/ 6707348 w 6884782"/>
              <a:gd name="connsiteY14187" fmla="*/ 4578511 h 5973007"/>
              <a:gd name="connsiteX14188" fmla="*/ 6717804 w 6884782"/>
              <a:gd name="connsiteY14188" fmla="*/ 4585158 h 5973007"/>
              <a:gd name="connsiteX14189" fmla="*/ 6717339 w 6884782"/>
              <a:gd name="connsiteY14189" fmla="*/ 4627080 h 5973007"/>
              <a:gd name="connsiteX14190" fmla="*/ 6695499 w 6884782"/>
              <a:gd name="connsiteY14190" fmla="*/ 4583402 h 5973007"/>
              <a:gd name="connsiteX14191" fmla="*/ 6707348 w 6884782"/>
              <a:gd name="connsiteY14191" fmla="*/ 4578511 h 5973007"/>
              <a:gd name="connsiteX14192" fmla="*/ 6144843 w 6884782"/>
              <a:gd name="connsiteY14192" fmla="*/ 4577930 h 5973007"/>
              <a:gd name="connsiteX14193" fmla="*/ 6146547 w 6884782"/>
              <a:gd name="connsiteY14193" fmla="*/ 4583609 h 5973007"/>
              <a:gd name="connsiteX14194" fmla="*/ 6142054 w 6884782"/>
              <a:gd name="connsiteY14194" fmla="*/ 4589288 h 5973007"/>
              <a:gd name="connsiteX14195" fmla="*/ 6140350 w 6884782"/>
              <a:gd name="connsiteY14195" fmla="*/ 4586397 h 5973007"/>
              <a:gd name="connsiteX14196" fmla="*/ 6144843 w 6884782"/>
              <a:gd name="connsiteY14196" fmla="*/ 4577930 h 5973007"/>
              <a:gd name="connsiteX14197" fmla="*/ 5975696 w 6884782"/>
              <a:gd name="connsiteY14197" fmla="*/ 4577517 h 5973007"/>
              <a:gd name="connsiteX14198" fmla="*/ 5978794 w 6884782"/>
              <a:gd name="connsiteY14198" fmla="*/ 4583815 h 5973007"/>
              <a:gd name="connsiteX14199" fmla="*/ 5973063 w 6884782"/>
              <a:gd name="connsiteY14199" fmla="*/ 4592592 h 5973007"/>
              <a:gd name="connsiteX14200" fmla="*/ 5972908 w 6884782"/>
              <a:gd name="connsiteY14200" fmla="*/ 4592696 h 5973007"/>
              <a:gd name="connsiteX14201" fmla="*/ 5972598 w 6884782"/>
              <a:gd name="connsiteY14201" fmla="*/ 4593212 h 5973007"/>
              <a:gd name="connsiteX14202" fmla="*/ 5969809 w 6884782"/>
              <a:gd name="connsiteY14202" fmla="*/ 4593418 h 5973007"/>
              <a:gd name="connsiteX14203" fmla="*/ 5967486 w 6884782"/>
              <a:gd name="connsiteY14203" fmla="*/ 4594038 h 5973007"/>
              <a:gd name="connsiteX14204" fmla="*/ 5960826 w 6884782"/>
              <a:gd name="connsiteY14204" fmla="*/ 4594244 h 5973007"/>
              <a:gd name="connsiteX14205" fmla="*/ 5956798 w 6884782"/>
              <a:gd name="connsiteY14205" fmla="*/ 4584848 h 5973007"/>
              <a:gd name="connsiteX14206" fmla="*/ 5975696 w 6884782"/>
              <a:gd name="connsiteY14206" fmla="*/ 4577517 h 5973007"/>
              <a:gd name="connsiteX14207" fmla="*/ 1601280 w 6884782"/>
              <a:gd name="connsiteY14207" fmla="*/ 4577293 h 5973007"/>
              <a:gd name="connsiteX14208" fmla="*/ 1601744 w 6884782"/>
              <a:gd name="connsiteY14208" fmla="*/ 4583488 h 5973007"/>
              <a:gd name="connsiteX14209" fmla="*/ 1599111 w 6884782"/>
              <a:gd name="connsiteY14209" fmla="*/ 4584107 h 5973007"/>
              <a:gd name="connsiteX14210" fmla="*/ 1595548 w 6884782"/>
              <a:gd name="connsiteY14210" fmla="*/ 4580183 h 5973007"/>
              <a:gd name="connsiteX14211" fmla="*/ 1601280 w 6884782"/>
              <a:gd name="connsiteY14211" fmla="*/ 4577293 h 5973007"/>
              <a:gd name="connsiteX14212" fmla="*/ 753841 w 6884782"/>
              <a:gd name="connsiteY14212" fmla="*/ 4576983 h 5973007"/>
              <a:gd name="connsiteX14213" fmla="*/ 755545 w 6884782"/>
              <a:gd name="connsiteY14213" fmla="*/ 4577086 h 5973007"/>
              <a:gd name="connsiteX14214" fmla="*/ 754306 w 6884782"/>
              <a:gd name="connsiteY14214" fmla="*/ 4580390 h 5973007"/>
              <a:gd name="connsiteX14215" fmla="*/ 753067 w 6884782"/>
              <a:gd name="connsiteY14215" fmla="*/ 4579564 h 5973007"/>
              <a:gd name="connsiteX14216" fmla="*/ 752602 w 6884782"/>
              <a:gd name="connsiteY14216" fmla="*/ 4580390 h 5973007"/>
              <a:gd name="connsiteX14217" fmla="*/ 751828 w 6884782"/>
              <a:gd name="connsiteY14217" fmla="*/ 4578738 h 5973007"/>
              <a:gd name="connsiteX14218" fmla="*/ 752293 w 6884782"/>
              <a:gd name="connsiteY14218" fmla="*/ 4578015 h 5973007"/>
              <a:gd name="connsiteX14219" fmla="*/ 752138 w 6884782"/>
              <a:gd name="connsiteY14219" fmla="*/ 4577809 h 5973007"/>
              <a:gd name="connsiteX14220" fmla="*/ 753841 w 6884782"/>
              <a:gd name="connsiteY14220" fmla="*/ 4576983 h 5973007"/>
              <a:gd name="connsiteX14221" fmla="*/ 1552487 w 6884782"/>
              <a:gd name="connsiteY14221" fmla="*/ 4576776 h 5973007"/>
              <a:gd name="connsiteX14222" fmla="*/ 1550163 w 6884782"/>
              <a:gd name="connsiteY14222" fmla="*/ 4580183 h 5973007"/>
              <a:gd name="connsiteX14223" fmla="*/ 1546291 w 6884782"/>
              <a:gd name="connsiteY14223" fmla="*/ 4579977 h 5973007"/>
              <a:gd name="connsiteX14224" fmla="*/ 1552487 w 6884782"/>
              <a:gd name="connsiteY14224" fmla="*/ 4576776 h 5973007"/>
              <a:gd name="connsiteX14225" fmla="*/ 1175624 w 6884782"/>
              <a:gd name="connsiteY14225" fmla="*/ 4576260 h 5973007"/>
              <a:gd name="connsiteX14226" fmla="*/ 1178722 w 6884782"/>
              <a:gd name="connsiteY14226" fmla="*/ 4579358 h 5973007"/>
              <a:gd name="connsiteX14227" fmla="*/ 1178722 w 6884782"/>
              <a:gd name="connsiteY14227" fmla="*/ 4582972 h 5973007"/>
              <a:gd name="connsiteX14228" fmla="*/ 1175624 w 6884782"/>
              <a:gd name="connsiteY14228" fmla="*/ 4576260 h 5973007"/>
              <a:gd name="connsiteX14229" fmla="*/ 1469462 w 6884782"/>
              <a:gd name="connsiteY14229" fmla="*/ 4575640 h 5973007"/>
              <a:gd name="connsiteX14230" fmla="*/ 1471786 w 6884782"/>
              <a:gd name="connsiteY14230" fmla="*/ 4577086 h 5973007"/>
              <a:gd name="connsiteX14231" fmla="*/ 1475038 w 6884782"/>
              <a:gd name="connsiteY14231" fmla="*/ 4585140 h 5973007"/>
              <a:gd name="connsiteX14232" fmla="*/ 1475504 w 6884782"/>
              <a:gd name="connsiteY14232" fmla="*/ 4584314 h 5973007"/>
              <a:gd name="connsiteX14233" fmla="*/ 1476742 w 6884782"/>
              <a:gd name="connsiteY14233" fmla="*/ 4583591 h 5973007"/>
              <a:gd name="connsiteX14234" fmla="*/ 1478292 w 6884782"/>
              <a:gd name="connsiteY14234" fmla="*/ 4582765 h 5973007"/>
              <a:gd name="connsiteX14235" fmla="*/ 1479375 w 6884782"/>
              <a:gd name="connsiteY14235" fmla="*/ 4583488 h 5973007"/>
              <a:gd name="connsiteX14236" fmla="*/ 1479840 w 6884782"/>
              <a:gd name="connsiteY14236" fmla="*/ 4582868 h 5973007"/>
              <a:gd name="connsiteX14237" fmla="*/ 1482009 w 6884782"/>
              <a:gd name="connsiteY14237" fmla="*/ 4581423 h 5973007"/>
              <a:gd name="connsiteX14238" fmla="*/ 1483403 w 6884782"/>
              <a:gd name="connsiteY14238" fmla="*/ 4583075 h 5973007"/>
              <a:gd name="connsiteX14239" fmla="*/ 1484177 w 6884782"/>
              <a:gd name="connsiteY14239" fmla="*/ 4584004 h 5973007"/>
              <a:gd name="connsiteX14240" fmla="*/ 1485727 w 6884782"/>
              <a:gd name="connsiteY14240" fmla="*/ 4582662 h 5973007"/>
              <a:gd name="connsiteX14241" fmla="*/ 1487895 w 6884782"/>
              <a:gd name="connsiteY14241" fmla="*/ 4580390 h 5973007"/>
              <a:gd name="connsiteX14242" fmla="*/ 1492077 w 6884782"/>
              <a:gd name="connsiteY14242" fmla="*/ 4591026 h 5973007"/>
              <a:gd name="connsiteX14243" fmla="*/ 1488824 w 6884782"/>
              <a:gd name="connsiteY14243" fmla="*/ 4591439 h 5973007"/>
              <a:gd name="connsiteX14244" fmla="*/ 1485417 w 6884782"/>
              <a:gd name="connsiteY14244" fmla="*/ 4589373 h 5973007"/>
              <a:gd name="connsiteX14245" fmla="*/ 1484177 w 6884782"/>
              <a:gd name="connsiteY14245" fmla="*/ 4585760 h 5973007"/>
              <a:gd name="connsiteX14246" fmla="*/ 1483713 w 6884782"/>
              <a:gd name="connsiteY14246" fmla="*/ 4586585 h 5973007"/>
              <a:gd name="connsiteX14247" fmla="*/ 1482164 w 6884782"/>
              <a:gd name="connsiteY14247" fmla="*/ 4586895 h 5973007"/>
              <a:gd name="connsiteX14248" fmla="*/ 1482474 w 6884782"/>
              <a:gd name="connsiteY14248" fmla="*/ 4588960 h 5973007"/>
              <a:gd name="connsiteX14249" fmla="*/ 1480615 w 6884782"/>
              <a:gd name="connsiteY14249" fmla="*/ 4592678 h 5973007"/>
              <a:gd name="connsiteX14250" fmla="*/ 1477827 w 6884782"/>
              <a:gd name="connsiteY14250" fmla="*/ 4594020 h 5973007"/>
              <a:gd name="connsiteX14251" fmla="*/ 1479840 w 6884782"/>
              <a:gd name="connsiteY14251" fmla="*/ 4593917 h 5973007"/>
              <a:gd name="connsiteX14252" fmla="*/ 1477672 w 6884782"/>
              <a:gd name="connsiteY14252" fmla="*/ 4598047 h 5973007"/>
              <a:gd name="connsiteX14253" fmla="*/ 1475038 w 6884782"/>
              <a:gd name="connsiteY14253" fmla="*/ 4597531 h 5973007"/>
              <a:gd name="connsiteX14254" fmla="*/ 1474729 w 6884782"/>
              <a:gd name="connsiteY14254" fmla="*/ 4599802 h 5973007"/>
              <a:gd name="connsiteX14255" fmla="*/ 1458620 w 6884782"/>
              <a:gd name="connsiteY14255" fmla="*/ 4612813 h 5973007"/>
              <a:gd name="connsiteX14256" fmla="*/ 1452424 w 6884782"/>
              <a:gd name="connsiteY14256" fmla="*/ 4595672 h 5973007"/>
              <a:gd name="connsiteX14257" fmla="*/ 1452734 w 6884782"/>
              <a:gd name="connsiteY14257" fmla="*/ 4593607 h 5973007"/>
              <a:gd name="connsiteX14258" fmla="*/ 1451030 w 6884782"/>
              <a:gd name="connsiteY14258" fmla="*/ 4593813 h 5973007"/>
              <a:gd name="connsiteX14259" fmla="*/ 1448706 w 6884782"/>
              <a:gd name="connsiteY14259" fmla="*/ 4592368 h 5973007"/>
              <a:gd name="connsiteX14260" fmla="*/ 1447932 w 6884782"/>
              <a:gd name="connsiteY14260" fmla="*/ 4589786 h 5973007"/>
              <a:gd name="connsiteX14261" fmla="*/ 1452424 w 6884782"/>
              <a:gd name="connsiteY14261" fmla="*/ 4587102 h 5973007"/>
              <a:gd name="connsiteX14262" fmla="*/ 1452889 w 6884782"/>
              <a:gd name="connsiteY14262" fmla="*/ 4592884 h 5973007"/>
              <a:gd name="connsiteX14263" fmla="*/ 1469462 w 6884782"/>
              <a:gd name="connsiteY14263" fmla="*/ 4575640 h 5973007"/>
              <a:gd name="connsiteX14264" fmla="*/ 889685 w 6884782"/>
              <a:gd name="connsiteY14264" fmla="*/ 4575434 h 5973007"/>
              <a:gd name="connsiteX14265" fmla="*/ 890770 w 6884782"/>
              <a:gd name="connsiteY14265" fmla="*/ 4579668 h 5973007"/>
              <a:gd name="connsiteX14266" fmla="*/ 887672 w 6884782"/>
              <a:gd name="connsiteY14266" fmla="*/ 4577602 h 5973007"/>
              <a:gd name="connsiteX14267" fmla="*/ 889685 w 6884782"/>
              <a:gd name="connsiteY14267" fmla="*/ 4575434 h 5973007"/>
              <a:gd name="connsiteX14268" fmla="*/ 6092178 w 6884782"/>
              <a:gd name="connsiteY14268" fmla="*/ 4575142 h 5973007"/>
              <a:gd name="connsiteX14269" fmla="*/ 6086602 w 6884782"/>
              <a:gd name="connsiteY14269" fmla="*/ 4581647 h 5973007"/>
              <a:gd name="connsiteX14270" fmla="*/ 6084588 w 6884782"/>
              <a:gd name="connsiteY14270" fmla="*/ 4580614 h 5973007"/>
              <a:gd name="connsiteX14271" fmla="*/ 6092178 w 6884782"/>
              <a:gd name="connsiteY14271" fmla="*/ 4575142 h 5973007"/>
              <a:gd name="connsiteX14272" fmla="*/ 1189565 w 6884782"/>
              <a:gd name="connsiteY14272" fmla="*/ 4574195 h 5973007"/>
              <a:gd name="connsiteX14273" fmla="*/ 1197310 w 6884782"/>
              <a:gd name="connsiteY14273" fmla="*/ 4576260 h 5973007"/>
              <a:gd name="connsiteX14274" fmla="*/ 1196535 w 6884782"/>
              <a:gd name="connsiteY14274" fmla="*/ 4580700 h 5973007"/>
              <a:gd name="connsiteX14275" fmla="*/ 1192198 w 6884782"/>
              <a:gd name="connsiteY14275" fmla="*/ 4583591 h 5973007"/>
              <a:gd name="connsiteX14276" fmla="*/ 1188945 w 6884782"/>
              <a:gd name="connsiteY14276" fmla="*/ 4584520 h 5973007"/>
              <a:gd name="connsiteX14277" fmla="*/ 1188945 w 6884782"/>
              <a:gd name="connsiteY14277" fmla="*/ 4586173 h 5973007"/>
              <a:gd name="connsiteX14278" fmla="*/ 1186466 w 6884782"/>
              <a:gd name="connsiteY14278" fmla="*/ 4588135 h 5973007"/>
              <a:gd name="connsiteX14279" fmla="*/ 1184143 w 6884782"/>
              <a:gd name="connsiteY14279" fmla="*/ 4586585 h 5973007"/>
              <a:gd name="connsiteX14280" fmla="*/ 1185692 w 6884782"/>
              <a:gd name="connsiteY14280" fmla="*/ 4584520 h 5973007"/>
              <a:gd name="connsiteX14281" fmla="*/ 1184918 w 6884782"/>
              <a:gd name="connsiteY14281" fmla="*/ 4584520 h 5973007"/>
              <a:gd name="connsiteX14282" fmla="*/ 1185538 w 6884782"/>
              <a:gd name="connsiteY14282" fmla="*/ 4576673 h 5973007"/>
              <a:gd name="connsiteX14283" fmla="*/ 1189565 w 6884782"/>
              <a:gd name="connsiteY14283" fmla="*/ 4574195 h 5973007"/>
              <a:gd name="connsiteX14284" fmla="*/ 5753110 w 6884782"/>
              <a:gd name="connsiteY14284" fmla="*/ 4573800 h 5973007"/>
              <a:gd name="connsiteX14285" fmla="*/ 5761319 w 6884782"/>
              <a:gd name="connsiteY14285" fmla="*/ 4575039 h 5973007"/>
              <a:gd name="connsiteX14286" fmla="*/ 5758376 w 6884782"/>
              <a:gd name="connsiteY14286" fmla="*/ 4588772 h 5973007"/>
              <a:gd name="connsiteX14287" fmla="*/ 5754969 w 6884782"/>
              <a:gd name="connsiteY14287" fmla="*/ 4588875 h 5973007"/>
              <a:gd name="connsiteX14288" fmla="*/ 5753110 w 6884782"/>
              <a:gd name="connsiteY14288" fmla="*/ 4573800 h 5973007"/>
              <a:gd name="connsiteX14289" fmla="*/ 6645777 w 6884782"/>
              <a:gd name="connsiteY14289" fmla="*/ 4573490 h 5973007"/>
              <a:gd name="connsiteX14290" fmla="*/ 6647636 w 6884782"/>
              <a:gd name="connsiteY14290" fmla="*/ 4578549 h 5973007"/>
              <a:gd name="connsiteX14291" fmla="*/ 6643454 w 6884782"/>
              <a:gd name="connsiteY14291" fmla="*/ 4575865 h 5973007"/>
              <a:gd name="connsiteX14292" fmla="*/ 6645777 w 6884782"/>
              <a:gd name="connsiteY14292" fmla="*/ 4573490 h 5973007"/>
              <a:gd name="connsiteX14293" fmla="*/ 1174076 w 6884782"/>
              <a:gd name="connsiteY14293" fmla="*/ 4573162 h 5973007"/>
              <a:gd name="connsiteX14294" fmla="*/ 1174695 w 6884782"/>
              <a:gd name="connsiteY14294" fmla="*/ 4573575 h 5973007"/>
              <a:gd name="connsiteX14295" fmla="*/ 1175469 w 6884782"/>
              <a:gd name="connsiteY14295" fmla="*/ 4576260 h 5973007"/>
              <a:gd name="connsiteX14296" fmla="*/ 1172991 w 6884782"/>
              <a:gd name="connsiteY14296" fmla="*/ 4574195 h 5973007"/>
              <a:gd name="connsiteX14297" fmla="*/ 1173765 w 6884782"/>
              <a:gd name="connsiteY14297" fmla="*/ 4573472 h 5973007"/>
              <a:gd name="connsiteX14298" fmla="*/ 1172991 w 6884782"/>
              <a:gd name="connsiteY14298" fmla="*/ 4573369 h 5973007"/>
              <a:gd name="connsiteX14299" fmla="*/ 1174076 w 6884782"/>
              <a:gd name="connsiteY14299" fmla="*/ 4573162 h 5973007"/>
              <a:gd name="connsiteX14300" fmla="*/ 6842805 w 6884782"/>
              <a:gd name="connsiteY14300" fmla="*/ 4572457 h 5973007"/>
              <a:gd name="connsiteX14301" fmla="*/ 6844199 w 6884782"/>
              <a:gd name="connsiteY14301" fmla="*/ 4573283 h 5973007"/>
              <a:gd name="connsiteX14302" fmla="*/ 6844509 w 6884782"/>
              <a:gd name="connsiteY14302" fmla="*/ 4572561 h 5973007"/>
              <a:gd name="connsiteX14303" fmla="*/ 6845748 w 6884782"/>
              <a:gd name="connsiteY14303" fmla="*/ 4574109 h 5973007"/>
              <a:gd name="connsiteX14304" fmla="*/ 6845284 w 6884782"/>
              <a:gd name="connsiteY14304" fmla="*/ 4574832 h 5973007"/>
              <a:gd name="connsiteX14305" fmla="*/ 6845438 w 6884782"/>
              <a:gd name="connsiteY14305" fmla="*/ 4575142 h 5973007"/>
              <a:gd name="connsiteX14306" fmla="*/ 6843889 w 6884782"/>
              <a:gd name="connsiteY14306" fmla="*/ 4575865 h 5973007"/>
              <a:gd name="connsiteX14307" fmla="*/ 6842805 w 6884782"/>
              <a:gd name="connsiteY14307" fmla="*/ 4576381 h 5973007"/>
              <a:gd name="connsiteX14308" fmla="*/ 6842185 w 6884782"/>
              <a:gd name="connsiteY14308" fmla="*/ 4575865 h 5973007"/>
              <a:gd name="connsiteX14309" fmla="*/ 6842805 w 6884782"/>
              <a:gd name="connsiteY14309" fmla="*/ 4572457 h 5973007"/>
              <a:gd name="connsiteX14310" fmla="*/ 647892 w 6884782"/>
              <a:gd name="connsiteY14310" fmla="*/ 4572130 h 5973007"/>
              <a:gd name="connsiteX14311" fmla="*/ 650061 w 6884782"/>
              <a:gd name="connsiteY14311" fmla="*/ 4574505 h 5973007"/>
              <a:gd name="connsiteX14312" fmla="*/ 648667 w 6884782"/>
              <a:gd name="connsiteY14312" fmla="*/ 4575434 h 5973007"/>
              <a:gd name="connsiteX14313" fmla="*/ 648976 w 6884782"/>
              <a:gd name="connsiteY14313" fmla="*/ 4576157 h 5973007"/>
              <a:gd name="connsiteX14314" fmla="*/ 647273 w 6884782"/>
              <a:gd name="connsiteY14314" fmla="*/ 4576260 h 5973007"/>
              <a:gd name="connsiteX14315" fmla="*/ 646809 w 6884782"/>
              <a:gd name="connsiteY14315" fmla="*/ 4575537 h 5973007"/>
              <a:gd name="connsiteX14316" fmla="*/ 646498 w 6884782"/>
              <a:gd name="connsiteY14316" fmla="*/ 4575537 h 5973007"/>
              <a:gd name="connsiteX14317" fmla="*/ 646809 w 6884782"/>
              <a:gd name="connsiteY14317" fmla="*/ 4573678 h 5973007"/>
              <a:gd name="connsiteX14318" fmla="*/ 647892 w 6884782"/>
              <a:gd name="connsiteY14318" fmla="*/ 4572130 h 5973007"/>
              <a:gd name="connsiteX14319" fmla="*/ 1021599 w 6884782"/>
              <a:gd name="connsiteY14319" fmla="*/ 4572091 h 5973007"/>
              <a:gd name="connsiteX14320" fmla="*/ 1044117 w 6884782"/>
              <a:gd name="connsiteY14320" fmla="*/ 4578428 h 5973007"/>
              <a:gd name="connsiteX14321" fmla="*/ 1054495 w 6884782"/>
              <a:gd name="connsiteY14321" fmla="*/ 4611264 h 5973007"/>
              <a:gd name="connsiteX14322" fmla="*/ 1044737 w 6884782"/>
              <a:gd name="connsiteY14322" fmla="*/ 4629850 h 5973007"/>
              <a:gd name="connsiteX14323" fmla="*/ 1021038 w 6884782"/>
              <a:gd name="connsiteY14323" fmla="*/ 4641931 h 5973007"/>
              <a:gd name="connsiteX14324" fmla="*/ 1007407 w 6884782"/>
              <a:gd name="connsiteY14324" fmla="*/ 4637078 h 5973007"/>
              <a:gd name="connsiteX14325" fmla="*/ 999817 w 6884782"/>
              <a:gd name="connsiteY14325" fmla="*/ 4634497 h 5973007"/>
              <a:gd name="connsiteX14326" fmla="*/ 998113 w 6884782"/>
              <a:gd name="connsiteY14326" fmla="*/ 4637801 h 5973007"/>
              <a:gd name="connsiteX14327" fmla="*/ 996255 w 6884782"/>
              <a:gd name="connsiteY14327" fmla="*/ 4633361 h 5973007"/>
              <a:gd name="connsiteX14328" fmla="*/ 993621 w 6884782"/>
              <a:gd name="connsiteY14328" fmla="*/ 4632328 h 5973007"/>
              <a:gd name="connsiteX14329" fmla="*/ 985102 w 6884782"/>
              <a:gd name="connsiteY14329" fmla="*/ 4597117 h 5973007"/>
              <a:gd name="connsiteX14330" fmla="*/ 998268 w 6884782"/>
              <a:gd name="connsiteY14330" fmla="*/ 4578841 h 5973007"/>
              <a:gd name="connsiteX14331" fmla="*/ 1021599 w 6884782"/>
              <a:gd name="connsiteY14331" fmla="*/ 4572091 h 5973007"/>
              <a:gd name="connsiteX14332" fmla="*/ 5829474 w 6884782"/>
              <a:gd name="connsiteY14332" fmla="*/ 4571425 h 5973007"/>
              <a:gd name="connsiteX14333" fmla="*/ 5836444 w 6884782"/>
              <a:gd name="connsiteY14333" fmla="*/ 4575555 h 5973007"/>
              <a:gd name="connsiteX14334" fmla="*/ 5827150 w 6884782"/>
              <a:gd name="connsiteY14334" fmla="*/ 4586913 h 5973007"/>
              <a:gd name="connsiteX14335" fmla="*/ 5822348 w 6884782"/>
              <a:gd name="connsiteY14335" fmla="*/ 4584435 h 5973007"/>
              <a:gd name="connsiteX14336" fmla="*/ 5829474 w 6884782"/>
              <a:gd name="connsiteY14336" fmla="*/ 4571425 h 5973007"/>
              <a:gd name="connsiteX14337" fmla="*/ 5865565 w 6884782"/>
              <a:gd name="connsiteY14337" fmla="*/ 4570289 h 5973007"/>
              <a:gd name="connsiteX14338" fmla="*/ 5875323 w 6884782"/>
              <a:gd name="connsiteY14338" fmla="*/ 4572457 h 5973007"/>
              <a:gd name="connsiteX14339" fmla="*/ 5872999 w 6884782"/>
              <a:gd name="connsiteY14339" fmla="*/ 4579995 h 5973007"/>
              <a:gd name="connsiteX14340" fmla="*/ 5866494 w 6884782"/>
              <a:gd name="connsiteY14340" fmla="*/ 4579582 h 5973007"/>
              <a:gd name="connsiteX14341" fmla="*/ 5865565 w 6884782"/>
              <a:gd name="connsiteY14341" fmla="*/ 4570289 h 5973007"/>
              <a:gd name="connsiteX14342" fmla="*/ 1210785 w 6884782"/>
              <a:gd name="connsiteY14342" fmla="*/ 4569651 h 5973007"/>
              <a:gd name="connsiteX14343" fmla="*/ 1232316 w 6884782"/>
              <a:gd name="connsiteY14343" fmla="*/ 4582559 h 5973007"/>
              <a:gd name="connsiteX14344" fmla="*/ 1219150 w 6884782"/>
              <a:gd name="connsiteY14344" fmla="*/ 4582559 h 5973007"/>
              <a:gd name="connsiteX14345" fmla="*/ 1209546 w 6884782"/>
              <a:gd name="connsiteY14345" fmla="*/ 4579048 h 5973007"/>
              <a:gd name="connsiteX14346" fmla="*/ 1210785 w 6884782"/>
              <a:gd name="connsiteY14346" fmla="*/ 4569651 h 5973007"/>
              <a:gd name="connsiteX14347" fmla="*/ 1810854 w 6884782"/>
              <a:gd name="connsiteY14347" fmla="*/ 4568103 h 5973007"/>
              <a:gd name="connsiteX14348" fmla="*/ 1808066 w 6884782"/>
              <a:gd name="connsiteY14348" fmla="*/ 4571510 h 5973007"/>
              <a:gd name="connsiteX14349" fmla="*/ 1804038 w 6884782"/>
              <a:gd name="connsiteY14349" fmla="*/ 4571407 h 5973007"/>
              <a:gd name="connsiteX14350" fmla="*/ 1810854 w 6884782"/>
              <a:gd name="connsiteY14350" fmla="*/ 4568103 h 5973007"/>
              <a:gd name="connsiteX14351" fmla="*/ 1682444 w 6884782"/>
              <a:gd name="connsiteY14351" fmla="*/ 4568103 h 5973007"/>
              <a:gd name="connsiteX14352" fmla="*/ 1681980 w 6884782"/>
              <a:gd name="connsiteY14352" fmla="*/ 4570065 h 5973007"/>
              <a:gd name="connsiteX14353" fmla="*/ 1681051 w 6884782"/>
              <a:gd name="connsiteY14353" fmla="*/ 4569135 h 5973007"/>
              <a:gd name="connsiteX14354" fmla="*/ 1682444 w 6884782"/>
              <a:gd name="connsiteY14354" fmla="*/ 4568103 h 5973007"/>
              <a:gd name="connsiteX14355" fmla="*/ 1653014 w 6884782"/>
              <a:gd name="connsiteY14355" fmla="*/ 4567793 h 5973007"/>
              <a:gd name="connsiteX14356" fmla="*/ 1652705 w 6884782"/>
              <a:gd name="connsiteY14356" fmla="*/ 4569755 h 5973007"/>
              <a:gd name="connsiteX14357" fmla="*/ 1651466 w 6884782"/>
              <a:gd name="connsiteY14357" fmla="*/ 4571923 h 5973007"/>
              <a:gd name="connsiteX14358" fmla="*/ 1651931 w 6884782"/>
              <a:gd name="connsiteY14358" fmla="*/ 4573575 h 5973007"/>
              <a:gd name="connsiteX14359" fmla="*/ 1647283 w 6884782"/>
              <a:gd name="connsiteY14359" fmla="*/ 4578841 h 5973007"/>
              <a:gd name="connsiteX14360" fmla="*/ 1648833 w 6884782"/>
              <a:gd name="connsiteY14360" fmla="*/ 4574711 h 5973007"/>
              <a:gd name="connsiteX14361" fmla="*/ 1649916 w 6884782"/>
              <a:gd name="connsiteY14361" fmla="*/ 4572543 h 5973007"/>
              <a:gd name="connsiteX14362" fmla="*/ 1650381 w 6884782"/>
              <a:gd name="connsiteY14362" fmla="*/ 4570581 h 5973007"/>
              <a:gd name="connsiteX14363" fmla="*/ 1653014 w 6884782"/>
              <a:gd name="connsiteY14363" fmla="*/ 4567793 h 5973007"/>
              <a:gd name="connsiteX14364" fmla="*/ 5922837 w 6884782"/>
              <a:gd name="connsiteY14364" fmla="*/ 4567501 h 5973007"/>
              <a:gd name="connsiteX14365" fmla="*/ 5930776 w 6884782"/>
              <a:gd name="connsiteY14365" fmla="*/ 4571425 h 5973007"/>
              <a:gd name="connsiteX14366" fmla="*/ 5930001 w 6884782"/>
              <a:gd name="connsiteY14366" fmla="*/ 4574729 h 5973007"/>
              <a:gd name="connsiteX14367" fmla="*/ 5925819 w 6884782"/>
              <a:gd name="connsiteY14367" fmla="*/ 4577723 h 5973007"/>
              <a:gd name="connsiteX14368" fmla="*/ 5921792 w 6884782"/>
              <a:gd name="connsiteY14368" fmla="*/ 4579375 h 5973007"/>
              <a:gd name="connsiteX14369" fmla="*/ 5922102 w 6884782"/>
              <a:gd name="connsiteY14369" fmla="*/ 4585674 h 5973007"/>
              <a:gd name="connsiteX14370" fmla="*/ 5918849 w 6884782"/>
              <a:gd name="connsiteY14370" fmla="*/ 4590631 h 5973007"/>
              <a:gd name="connsiteX14371" fmla="*/ 5916525 w 6884782"/>
              <a:gd name="connsiteY14371" fmla="*/ 4584951 h 5973007"/>
              <a:gd name="connsiteX14372" fmla="*/ 5916370 w 6884782"/>
              <a:gd name="connsiteY14372" fmla="*/ 4578343 h 5973007"/>
              <a:gd name="connsiteX14373" fmla="*/ 5914047 w 6884782"/>
              <a:gd name="connsiteY14373" fmla="*/ 4576897 h 5973007"/>
              <a:gd name="connsiteX14374" fmla="*/ 5913737 w 6884782"/>
              <a:gd name="connsiteY14374" fmla="*/ 4574109 h 5973007"/>
              <a:gd name="connsiteX14375" fmla="*/ 5922837 w 6884782"/>
              <a:gd name="connsiteY14375" fmla="*/ 4567501 h 5973007"/>
              <a:gd name="connsiteX14376" fmla="*/ 6116342 w 6884782"/>
              <a:gd name="connsiteY14376" fmla="*/ 4567088 h 5973007"/>
              <a:gd name="connsiteX14377" fmla="*/ 6126720 w 6884782"/>
              <a:gd name="connsiteY14377" fmla="*/ 4571838 h 5973007"/>
              <a:gd name="connsiteX14378" fmla="*/ 6129972 w 6884782"/>
              <a:gd name="connsiteY14378" fmla="*/ 4586707 h 5973007"/>
              <a:gd name="connsiteX14379" fmla="*/ 6120989 w 6884782"/>
              <a:gd name="connsiteY14379" fmla="*/ 4590114 h 5973007"/>
              <a:gd name="connsiteX14380" fmla="*/ 6115567 w 6884782"/>
              <a:gd name="connsiteY14380" fmla="*/ 4587739 h 5973007"/>
              <a:gd name="connsiteX14381" fmla="*/ 6113244 w 6884782"/>
              <a:gd name="connsiteY14381" fmla="*/ 4572044 h 5973007"/>
              <a:gd name="connsiteX14382" fmla="*/ 6114792 w 6884782"/>
              <a:gd name="connsiteY14382" fmla="*/ 4570496 h 5973007"/>
              <a:gd name="connsiteX14383" fmla="*/ 6116342 w 6884782"/>
              <a:gd name="connsiteY14383" fmla="*/ 4567088 h 5973007"/>
              <a:gd name="connsiteX14384" fmla="*/ 1046595 w 6884782"/>
              <a:gd name="connsiteY14384" fmla="*/ 4566554 h 5973007"/>
              <a:gd name="connsiteX14385" fmla="*/ 1047680 w 6884782"/>
              <a:gd name="connsiteY14385" fmla="*/ 4578118 h 5973007"/>
              <a:gd name="connsiteX14386" fmla="*/ 1043497 w 6884782"/>
              <a:gd name="connsiteY14386" fmla="*/ 4577809 h 5973007"/>
              <a:gd name="connsiteX14387" fmla="*/ 1039160 w 6884782"/>
              <a:gd name="connsiteY14387" fmla="*/ 4571407 h 5973007"/>
              <a:gd name="connsiteX14388" fmla="*/ 1046595 w 6884782"/>
              <a:gd name="connsiteY14388" fmla="*/ 4566554 h 5973007"/>
              <a:gd name="connsiteX14389" fmla="*/ 6067704 w 6884782"/>
              <a:gd name="connsiteY14389" fmla="*/ 4566055 h 5973007"/>
              <a:gd name="connsiteX14390" fmla="*/ 6073590 w 6884782"/>
              <a:gd name="connsiteY14390" fmla="*/ 4567707 h 5973007"/>
              <a:gd name="connsiteX14391" fmla="*/ 6070028 w 6884782"/>
              <a:gd name="connsiteY14391" fmla="*/ 4567707 h 5973007"/>
              <a:gd name="connsiteX14392" fmla="*/ 6067704 w 6884782"/>
              <a:gd name="connsiteY14392" fmla="*/ 4566055 h 5973007"/>
              <a:gd name="connsiteX14393" fmla="*/ 989962 w 6884782"/>
              <a:gd name="connsiteY14393" fmla="*/ 4565044 h 5973007"/>
              <a:gd name="connsiteX14394" fmla="*/ 997183 w 6884782"/>
              <a:gd name="connsiteY14394" fmla="*/ 4568516 h 5973007"/>
              <a:gd name="connsiteX14395" fmla="*/ 990987 w 6884782"/>
              <a:gd name="connsiteY14395" fmla="*/ 4573162 h 5973007"/>
              <a:gd name="connsiteX14396" fmla="*/ 983088 w 6884782"/>
              <a:gd name="connsiteY14396" fmla="*/ 4568619 h 5973007"/>
              <a:gd name="connsiteX14397" fmla="*/ 989962 w 6884782"/>
              <a:gd name="connsiteY14397" fmla="*/ 4565044 h 5973007"/>
              <a:gd name="connsiteX14398" fmla="*/ 5699361 w 6884782"/>
              <a:gd name="connsiteY14398" fmla="*/ 4563784 h 5973007"/>
              <a:gd name="connsiteX14399" fmla="*/ 5710048 w 6884782"/>
              <a:gd name="connsiteY14399" fmla="*/ 4564300 h 5973007"/>
              <a:gd name="connsiteX14400" fmla="*/ 5705402 w 6884782"/>
              <a:gd name="connsiteY14400" fmla="*/ 4570289 h 5973007"/>
              <a:gd name="connsiteX14401" fmla="*/ 5701994 w 6884782"/>
              <a:gd name="connsiteY14401" fmla="*/ 4569669 h 5973007"/>
              <a:gd name="connsiteX14402" fmla="*/ 5699361 w 6884782"/>
              <a:gd name="connsiteY14402" fmla="*/ 4563784 h 5973007"/>
              <a:gd name="connsiteX14403" fmla="*/ 1681051 w 6884782"/>
              <a:gd name="connsiteY14403" fmla="*/ 4563663 h 5973007"/>
              <a:gd name="connsiteX14404" fmla="*/ 1681825 w 6884782"/>
              <a:gd name="connsiteY14404" fmla="*/ 4563663 h 5973007"/>
              <a:gd name="connsiteX14405" fmla="*/ 1681360 w 6884782"/>
              <a:gd name="connsiteY14405" fmla="*/ 4565521 h 5973007"/>
              <a:gd name="connsiteX14406" fmla="*/ 1681051 w 6884782"/>
              <a:gd name="connsiteY14406" fmla="*/ 4563663 h 5973007"/>
              <a:gd name="connsiteX14407" fmla="*/ 900528 w 6884782"/>
              <a:gd name="connsiteY14407" fmla="*/ 4563456 h 5973007"/>
              <a:gd name="connsiteX14408" fmla="*/ 901458 w 6884782"/>
              <a:gd name="connsiteY14408" fmla="*/ 4565315 h 5973007"/>
              <a:gd name="connsiteX14409" fmla="*/ 900683 w 6884782"/>
              <a:gd name="connsiteY14409" fmla="*/ 4568000 h 5973007"/>
              <a:gd name="connsiteX14410" fmla="*/ 897276 w 6884782"/>
              <a:gd name="connsiteY14410" fmla="*/ 4568722 h 5973007"/>
              <a:gd name="connsiteX14411" fmla="*/ 896347 w 6884782"/>
              <a:gd name="connsiteY14411" fmla="*/ 4566864 h 5973007"/>
              <a:gd name="connsiteX14412" fmla="*/ 896192 w 6884782"/>
              <a:gd name="connsiteY14412" fmla="*/ 4564179 h 5973007"/>
              <a:gd name="connsiteX14413" fmla="*/ 900528 w 6884782"/>
              <a:gd name="connsiteY14413" fmla="*/ 4563456 h 5973007"/>
              <a:gd name="connsiteX14414" fmla="*/ 5628883 w 6884782"/>
              <a:gd name="connsiteY14414" fmla="*/ 4563164 h 5973007"/>
              <a:gd name="connsiteX14415" fmla="*/ 5628728 w 6884782"/>
              <a:gd name="connsiteY14415" fmla="*/ 4564816 h 5973007"/>
              <a:gd name="connsiteX14416" fmla="*/ 5629503 w 6884782"/>
              <a:gd name="connsiteY14416" fmla="*/ 4564816 h 5973007"/>
              <a:gd name="connsiteX14417" fmla="*/ 5628573 w 6884782"/>
              <a:gd name="connsiteY14417" fmla="*/ 4566365 h 5973007"/>
              <a:gd name="connsiteX14418" fmla="*/ 5627799 w 6884782"/>
              <a:gd name="connsiteY14418" fmla="*/ 4566365 h 5973007"/>
              <a:gd name="connsiteX14419" fmla="*/ 5627489 w 6884782"/>
              <a:gd name="connsiteY14419" fmla="*/ 4566572 h 5973007"/>
              <a:gd name="connsiteX14420" fmla="*/ 5626250 w 6884782"/>
              <a:gd name="connsiteY14420" fmla="*/ 4565539 h 5973007"/>
              <a:gd name="connsiteX14421" fmla="*/ 5625320 w 6884782"/>
              <a:gd name="connsiteY14421" fmla="*/ 4564713 h 5973007"/>
              <a:gd name="connsiteX14422" fmla="*/ 5625630 w 6884782"/>
              <a:gd name="connsiteY14422" fmla="*/ 4563887 h 5973007"/>
              <a:gd name="connsiteX14423" fmla="*/ 5628883 w 6884782"/>
              <a:gd name="connsiteY14423" fmla="*/ 4563164 h 5973007"/>
              <a:gd name="connsiteX14424" fmla="*/ 1784521 w 6884782"/>
              <a:gd name="connsiteY14424" fmla="*/ 4562940 h 5973007"/>
              <a:gd name="connsiteX14425" fmla="*/ 1789323 w 6884782"/>
              <a:gd name="connsiteY14425" fmla="*/ 4576260 h 5973007"/>
              <a:gd name="connsiteX14426" fmla="*/ 1790562 w 6884782"/>
              <a:gd name="connsiteY14426" fmla="*/ 4579358 h 5973007"/>
              <a:gd name="connsiteX14427" fmla="*/ 1791957 w 6884782"/>
              <a:gd name="connsiteY14427" fmla="*/ 4576260 h 5973007"/>
              <a:gd name="connsiteX14428" fmla="*/ 1797223 w 6884782"/>
              <a:gd name="connsiteY14428" fmla="*/ 4586895 h 5973007"/>
              <a:gd name="connsiteX14429" fmla="*/ 1793970 w 6884782"/>
              <a:gd name="connsiteY14429" fmla="*/ 4586069 h 5973007"/>
              <a:gd name="connsiteX14430" fmla="*/ 1791646 w 6884782"/>
              <a:gd name="connsiteY14430" fmla="*/ 4584830 h 5973007"/>
              <a:gd name="connsiteX14431" fmla="*/ 1791337 w 6884782"/>
              <a:gd name="connsiteY14431" fmla="*/ 4588238 h 5973007"/>
              <a:gd name="connsiteX14432" fmla="*/ 1787929 w 6884782"/>
              <a:gd name="connsiteY14432" fmla="*/ 4584520 h 5973007"/>
              <a:gd name="connsiteX14433" fmla="*/ 1787310 w 6884782"/>
              <a:gd name="connsiteY14433" fmla="*/ 4583901 h 5973007"/>
              <a:gd name="connsiteX14434" fmla="*/ 1785141 w 6884782"/>
              <a:gd name="connsiteY14434" fmla="*/ 4584830 h 5973007"/>
              <a:gd name="connsiteX14435" fmla="*/ 1781423 w 6884782"/>
              <a:gd name="connsiteY14435" fmla="*/ 4584004 h 5973007"/>
              <a:gd name="connsiteX14436" fmla="*/ 1783592 w 6884782"/>
              <a:gd name="connsiteY14436" fmla="*/ 4590406 h 5973007"/>
              <a:gd name="connsiteX14437" fmla="*/ 1782353 w 6884782"/>
              <a:gd name="connsiteY14437" fmla="*/ 4604759 h 5973007"/>
              <a:gd name="connsiteX14438" fmla="*/ 1778790 w 6884782"/>
              <a:gd name="connsiteY14438" fmla="*/ 4605998 h 5973007"/>
              <a:gd name="connsiteX14439" fmla="*/ 1772130 w 6884782"/>
              <a:gd name="connsiteY14439" fmla="*/ 4600318 h 5973007"/>
              <a:gd name="connsiteX14440" fmla="*/ 1774918 w 6884782"/>
              <a:gd name="connsiteY14440" fmla="*/ 4581526 h 5973007"/>
              <a:gd name="connsiteX14441" fmla="*/ 1775073 w 6884782"/>
              <a:gd name="connsiteY14441" fmla="*/ 4581423 h 5973007"/>
              <a:gd name="connsiteX14442" fmla="*/ 1770426 w 6884782"/>
              <a:gd name="connsiteY14442" fmla="*/ 4577912 h 5973007"/>
              <a:gd name="connsiteX14443" fmla="*/ 1773369 w 6884782"/>
              <a:gd name="connsiteY14443" fmla="*/ 4569858 h 5973007"/>
              <a:gd name="connsiteX14444" fmla="*/ 1778325 w 6884782"/>
              <a:gd name="connsiteY14444" fmla="*/ 4568825 h 5973007"/>
              <a:gd name="connsiteX14445" fmla="*/ 1778480 w 6884782"/>
              <a:gd name="connsiteY14445" fmla="*/ 4568103 h 5973007"/>
              <a:gd name="connsiteX14446" fmla="*/ 1784521 w 6884782"/>
              <a:gd name="connsiteY14446" fmla="*/ 4562940 h 5973007"/>
              <a:gd name="connsiteX14447" fmla="*/ 1539785 w 6884782"/>
              <a:gd name="connsiteY14447" fmla="*/ 4562837 h 5973007"/>
              <a:gd name="connsiteX14448" fmla="*/ 1544742 w 6884782"/>
              <a:gd name="connsiteY14448" fmla="*/ 4566554 h 5973007"/>
              <a:gd name="connsiteX14449" fmla="*/ 1545052 w 6884782"/>
              <a:gd name="connsiteY14449" fmla="*/ 4569239 h 5973007"/>
              <a:gd name="connsiteX14450" fmla="*/ 1543348 w 6884782"/>
              <a:gd name="connsiteY14450" fmla="*/ 4571613 h 5973007"/>
              <a:gd name="connsiteX14451" fmla="*/ 1541180 w 6884782"/>
              <a:gd name="connsiteY14451" fmla="*/ 4572233 h 5973007"/>
              <a:gd name="connsiteX14452" fmla="*/ 1536687 w 6884782"/>
              <a:gd name="connsiteY14452" fmla="*/ 4569651 h 5973007"/>
              <a:gd name="connsiteX14453" fmla="*/ 1539785 w 6884782"/>
              <a:gd name="connsiteY14453" fmla="*/ 4562837 h 5973007"/>
              <a:gd name="connsiteX14454" fmla="*/ 1078504 w 6884782"/>
              <a:gd name="connsiteY14454" fmla="*/ 4562630 h 5973007"/>
              <a:gd name="connsiteX14455" fmla="*/ 1082222 w 6884782"/>
              <a:gd name="connsiteY14455" fmla="*/ 4565934 h 5973007"/>
              <a:gd name="connsiteX14456" fmla="*/ 1084081 w 6884782"/>
              <a:gd name="connsiteY14456" fmla="*/ 4566554 h 5973007"/>
              <a:gd name="connsiteX14457" fmla="*/ 1082531 w 6884782"/>
              <a:gd name="connsiteY14457" fmla="*/ 4567586 h 5973007"/>
              <a:gd name="connsiteX14458" fmla="*/ 1080518 w 6884782"/>
              <a:gd name="connsiteY14458" fmla="*/ 4565108 h 5973007"/>
              <a:gd name="connsiteX14459" fmla="*/ 1078969 w 6884782"/>
              <a:gd name="connsiteY14459" fmla="*/ 4566038 h 5973007"/>
              <a:gd name="connsiteX14460" fmla="*/ 1078039 w 6884782"/>
              <a:gd name="connsiteY14460" fmla="*/ 4565211 h 5973007"/>
              <a:gd name="connsiteX14461" fmla="*/ 1077885 w 6884782"/>
              <a:gd name="connsiteY14461" fmla="*/ 4565005 h 5973007"/>
              <a:gd name="connsiteX14462" fmla="*/ 1077729 w 6884782"/>
              <a:gd name="connsiteY14462" fmla="*/ 4565211 h 5973007"/>
              <a:gd name="connsiteX14463" fmla="*/ 1078039 w 6884782"/>
              <a:gd name="connsiteY14463" fmla="*/ 4565211 h 5973007"/>
              <a:gd name="connsiteX14464" fmla="*/ 1078659 w 6884782"/>
              <a:gd name="connsiteY14464" fmla="*/ 4573782 h 5973007"/>
              <a:gd name="connsiteX14465" fmla="*/ 1079588 w 6884782"/>
              <a:gd name="connsiteY14465" fmla="*/ 4574298 h 5973007"/>
              <a:gd name="connsiteX14466" fmla="*/ 1080208 w 6884782"/>
              <a:gd name="connsiteY14466" fmla="*/ 4573782 h 5973007"/>
              <a:gd name="connsiteX14467" fmla="*/ 1080518 w 6884782"/>
              <a:gd name="connsiteY14467" fmla="*/ 4571407 h 5973007"/>
              <a:gd name="connsiteX14468" fmla="*/ 1087333 w 6884782"/>
              <a:gd name="connsiteY14468" fmla="*/ 4566967 h 5973007"/>
              <a:gd name="connsiteX14469" fmla="*/ 1093374 w 6884782"/>
              <a:gd name="connsiteY14469" fmla="*/ 4571407 h 5973007"/>
              <a:gd name="connsiteX14470" fmla="*/ 1093684 w 6884782"/>
              <a:gd name="connsiteY14470" fmla="*/ 4572026 h 5973007"/>
              <a:gd name="connsiteX14471" fmla="*/ 1094613 w 6884782"/>
              <a:gd name="connsiteY14471" fmla="*/ 4572543 h 5973007"/>
              <a:gd name="connsiteX14472" fmla="*/ 1097866 w 6884782"/>
              <a:gd name="connsiteY14472" fmla="*/ 4574401 h 5973007"/>
              <a:gd name="connsiteX14473" fmla="*/ 1098021 w 6884782"/>
              <a:gd name="connsiteY14473" fmla="*/ 4575331 h 5973007"/>
              <a:gd name="connsiteX14474" fmla="*/ 1096163 w 6884782"/>
              <a:gd name="connsiteY14474" fmla="*/ 4576260 h 5973007"/>
              <a:gd name="connsiteX14475" fmla="*/ 1094923 w 6884782"/>
              <a:gd name="connsiteY14475" fmla="*/ 4575744 h 5973007"/>
              <a:gd name="connsiteX14476" fmla="*/ 1095233 w 6884782"/>
              <a:gd name="connsiteY14476" fmla="*/ 4579048 h 5973007"/>
              <a:gd name="connsiteX14477" fmla="*/ 1092599 w 6884782"/>
              <a:gd name="connsiteY14477" fmla="*/ 4581939 h 5973007"/>
              <a:gd name="connsiteX14478" fmla="*/ 1091206 w 6884782"/>
              <a:gd name="connsiteY14478" fmla="*/ 4582765 h 5973007"/>
              <a:gd name="connsiteX14479" fmla="*/ 1093219 w 6884782"/>
              <a:gd name="connsiteY14479" fmla="*/ 4582662 h 5973007"/>
              <a:gd name="connsiteX14480" fmla="*/ 1096163 w 6884782"/>
              <a:gd name="connsiteY14480" fmla="*/ 4585553 h 5973007"/>
              <a:gd name="connsiteX14481" fmla="*/ 1088263 w 6884782"/>
              <a:gd name="connsiteY14481" fmla="*/ 4600112 h 5973007"/>
              <a:gd name="connsiteX14482" fmla="*/ 1087178 w 6884782"/>
              <a:gd name="connsiteY14482" fmla="*/ 4600318 h 5973007"/>
              <a:gd name="connsiteX14483" fmla="*/ 1086404 w 6884782"/>
              <a:gd name="connsiteY14483" fmla="*/ 4601248 h 5973007"/>
              <a:gd name="connsiteX14484" fmla="*/ 1086559 w 6884782"/>
              <a:gd name="connsiteY14484" fmla="*/ 4601454 h 5973007"/>
              <a:gd name="connsiteX14485" fmla="*/ 1086714 w 6884782"/>
              <a:gd name="connsiteY14485" fmla="*/ 4602384 h 5973007"/>
              <a:gd name="connsiteX14486" fmla="*/ 1085010 w 6884782"/>
              <a:gd name="connsiteY14486" fmla="*/ 4605378 h 5973007"/>
              <a:gd name="connsiteX14487" fmla="*/ 1084081 w 6884782"/>
              <a:gd name="connsiteY14487" fmla="*/ 4605791 h 5973007"/>
              <a:gd name="connsiteX14488" fmla="*/ 1082841 w 6884782"/>
              <a:gd name="connsiteY14488" fmla="*/ 4605172 h 5973007"/>
              <a:gd name="connsiteX14489" fmla="*/ 1079743 w 6884782"/>
              <a:gd name="connsiteY14489" fmla="*/ 4600938 h 5973007"/>
              <a:gd name="connsiteX14490" fmla="*/ 1064408 w 6884782"/>
              <a:gd name="connsiteY14490" fmla="*/ 4600938 h 5973007"/>
              <a:gd name="connsiteX14491" fmla="*/ 1064099 w 6884782"/>
              <a:gd name="connsiteY14491" fmla="*/ 4592265 h 5973007"/>
              <a:gd name="connsiteX14492" fmla="*/ 1078659 w 6884782"/>
              <a:gd name="connsiteY14492" fmla="*/ 4587102 h 5973007"/>
              <a:gd name="connsiteX14493" fmla="*/ 1078659 w 6884782"/>
              <a:gd name="connsiteY14493" fmla="*/ 4587928 h 5973007"/>
              <a:gd name="connsiteX14494" fmla="*/ 1083461 w 6884782"/>
              <a:gd name="connsiteY14494" fmla="*/ 4585863 h 5973007"/>
              <a:gd name="connsiteX14495" fmla="*/ 1084081 w 6884782"/>
              <a:gd name="connsiteY14495" fmla="*/ 4586585 h 5973007"/>
              <a:gd name="connsiteX14496" fmla="*/ 1084390 w 6884782"/>
              <a:gd name="connsiteY14496" fmla="*/ 4586585 h 5973007"/>
              <a:gd name="connsiteX14497" fmla="*/ 1087178 w 6884782"/>
              <a:gd name="connsiteY14497" fmla="*/ 4583591 h 5973007"/>
              <a:gd name="connsiteX14498" fmla="*/ 1086714 w 6884782"/>
              <a:gd name="connsiteY14498" fmla="*/ 4583591 h 5973007"/>
              <a:gd name="connsiteX14499" fmla="*/ 1079898 w 6884782"/>
              <a:gd name="connsiteY14499" fmla="*/ 4576260 h 5973007"/>
              <a:gd name="connsiteX14500" fmla="*/ 1079124 w 6884782"/>
              <a:gd name="connsiteY14500" fmla="*/ 4576053 h 5973007"/>
              <a:gd name="connsiteX14501" fmla="*/ 1079433 w 6884782"/>
              <a:gd name="connsiteY14501" fmla="*/ 4577086 h 5973007"/>
              <a:gd name="connsiteX14502" fmla="*/ 1079743 w 6884782"/>
              <a:gd name="connsiteY14502" fmla="*/ 4578118 h 5973007"/>
              <a:gd name="connsiteX14503" fmla="*/ 1079278 w 6884782"/>
              <a:gd name="connsiteY14503" fmla="*/ 4579874 h 5973007"/>
              <a:gd name="connsiteX14504" fmla="*/ 1074786 w 6884782"/>
              <a:gd name="connsiteY14504" fmla="*/ 4583591 h 5973007"/>
              <a:gd name="connsiteX14505" fmla="*/ 1074012 w 6884782"/>
              <a:gd name="connsiteY14505" fmla="*/ 4570271 h 5973007"/>
              <a:gd name="connsiteX14506" fmla="*/ 1074786 w 6884782"/>
              <a:gd name="connsiteY14506" fmla="*/ 4567483 h 5973007"/>
              <a:gd name="connsiteX14507" fmla="*/ 1072928 w 6884782"/>
              <a:gd name="connsiteY14507" fmla="*/ 4565521 h 5973007"/>
              <a:gd name="connsiteX14508" fmla="*/ 1076181 w 6884782"/>
              <a:gd name="connsiteY14508" fmla="*/ 4562734 h 5973007"/>
              <a:gd name="connsiteX14509" fmla="*/ 1078039 w 6884782"/>
              <a:gd name="connsiteY14509" fmla="*/ 4564179 h 5973007"/>
              <a:gd name="connsiteX14510" fmla="*/ 6654451 w 6884782"/>
              <a:gd name="connsiteY14510" fmla="*/ 4562545 h 5973007"/>
              <a:gd name="connsiteX14511" fmla="*/ 6667927 w 6884782"/>
              <a:gd name="connsiteY14511" fmla="*/ 4578756 h 5973007"/>
              <a:gd name="connsiteX14512" fmla="*/ 6666378 w 6884782"/>
              <a:gd name="connsiteY14512" fmla="*/ 4583919 h 5973007"/>
              <a:gd name="connsiteX14513" fmla="*/ 6665449 w 6884782"/>
              <a:gd name="connsiteY14513" fmla="*/ 4583506 h 5973007"/>
              <a:gd name="connsiteX14514" fmla="*/ 6669476 w 6884782"/>
              <a:gd name="connsiteY14514" fmla="*/ 4587326 h 5973007"/>
              <a:gd name="connsiteX14515" fmla="*/ 6680319 w 6884782"/>
              <a:gd name="connsiteY14515" fmla="*/ 4609423 h 5973007"/>
              <a:gd name="connsiteX14516" fmla="*/ 6653057 w 6884782"/>
              <a:gd name="connsiteY14516" fmla="*/ 4572251 h 5973007"/>
              <a:gd name="connsiteX14517" fmla="*/ 6655225 w 6884782"/>
              <a:gd name="connsiteY14517" fmla="*/ 4574109 h 5973007"/>
              <a:gd name="connsiteX14518" fmla="*/ 6653057 w 6884782"/>
              <a:gd name="connsiteY14518" fmla="*/ 4568637 h 5973007"/>
              <a:gd name="connsiteX14519" fmla="*/ 6654451 w 6884782"/>
              <a:gd name="connsiteY14519" fmla="*/ 4562545 h 5973007"/>
              <a:gd name="connsiteX14520" fmla="*/ 5992734 w 6884782"/>
              <a:gd name="connsiteY14520" fmla="*/ 4562338 h 5973007"/>
              <a:gd name="connsiteX14521" fmla="*/ 5993819 w 6884782"/>
              <a:gd name="connsiteY14521" fmla="*/ 4565745 h 5973007"/>
              <a:gd name="connsiteX14522" fmla="*/ 5992424 w 6884782"/>
              <a:gd name="connsiteY14522" fmla="*/ 4566262 h 5973007"/>
              <a:gd name="connsiteX14523" fmla="*/ 5990411 w 6884782"/>
              <a:gd name="connsiteY14523" fmla="*/ 4564713 h 5973007"/>
              <a:gd name="connsiteX14524" fmla="*/ 892783 w 6884782"/>
              <a:gd name="connsiteY14524" fmla="*/ 4561907 h 5973007"/>
              <a:gd name="connsiteX14525" fmla="*/ 893558 w 6884782"/>
              <a:gd name="connsiteY14525" fmla="*/ 4562837 h 5973007"/>
              <a:gd name="connsiteX14526" fmla="*/ 897120 w 6884782"/>
              <a:gd name="connsiteY14526" fmla="*/ 4573059 h 5973007"/>
              <a:gd name="connsiteX14527" fmla="*/ 893558 w 6884782"/>
              <a:gd name="connsiteY14527" fmla="*/ 4574092 h 5973007"/>
              <a:gd name="connsiteX14528" fmla="*/ 889685 w 6884782"/>
              <a:gd name="connsiteY14528" fmla="*/ 4571820 h 5973007"/>
              <a:gd name="connsiteX14529" fmla="*/ 885039 w 6884782"/>
              <a:gd name="connsiteY14529" fmla="*/ 4563249 h 5973007"/>
              <a:gd name="connsiteX14530" fmla="*/ 892783 w 6884782"/>
              <a:gd name="connsiteY14530" fmla="*/ 4561907 h 5973007"/>
              <a:gd name="connsiteX14531" fmla="*/ 6107087 w 6884782"/>
              <a:gd name="connsiteY14531" fmla="*/ 4561783 h 5973007"/>
              <a:gd name="connsiteX14532" fmla="*/ 6109061 w 6884782"/>
              <a:gd name="connsiteY14532" fmla="*/ 4567191 h 5973007"/>
              <a:gd name="connsiteX14533" fmla="*/ 6102091 w 6884782"/>
              <a:gd name="connsiteY14533" fmla="*/ 4562338 h 5973007"/>
              <a:gd name="connsiteX14534" fmla="*/ 6107087 w 6884782"/>
              <a:gd name="connsiteY14534" fmla="*/ 4561783 h 5973007"/>
              <a:gd name="connsiteX14535" fmla="*/ 5986693 w 6884782"/>
              <a:gd name="connsiteY14535" fmla="*/ 4561719 h 5973007"/>
              <a:gd name="connsiteX14536" fmla="*/ 5987778 w 6884782"/>
              <a:gd name="connsiteY14536" fmla="*/ 4563474 h 5973007"/>
              <a:gd name="connsiteX14537" fmla="*/ 5987468 w 6884782"/>
              <a:gd name="connsiteY14537" fmla="*/ 4565023 h 5973007"/>
              <a:gd name="connsiteX14538" fmla="*/ 5989636 w 6884782"/>
              <a:gd name="connsiteY14538" fmla="*/ 4565539 h 5973007"/>
              <a:gd name="connsiteX14539" fmla="*/ 5992270 w 6884782"/>
              <a:gd name="connsiteY14539" fmla="*/ 4572561 h 5973007"/>
              <a:gd name="connsiteX14540" fmla="*/ 5990721 w 6884782"/>
              <a:gd name="connsiteY14540" fmla="*/ 4573490 h 5973007"/>
              <a:gd name="connsiteX14541" fmla="*/ 5988707 w 6884782"/>
              <a:gd name="connsiteY14541" fmla="*/ 4573903 h 5973007"/>
              <a:gd name="connsiteX14542" fmla="*/ 5984060 w 6884782"/>
              <a:gd name="connsiteY14542" fmla="*/ 4572251 h 5973007"/>
              <a:gd name="connsiteX14543" fmla="*/ 5982201 w 6884782"/>
              <a:gd name="connsiteY14543" fmla="*/ 4568637 h 5973007"/>
              <a:gd name="connsiteX14544" fmla="*/ 5982201 w 6884782"/>
              <a:gd name="connsiteY14544" fmla="*/ 4566881 h 5973007"/>
              <a:gd name="connsiteX14545" fmla="*/ 5983286 w 6884782"/>
              <a:gd name="connsiteY14545" fmla="*/ 4566262 h 5973007"/>
              <a:gd name="connsiteX14546" fmla="*/ 5982821 w 6884782"/>
              <a:gd name="connsiteY14546" fmla="*/ 4565539 h 5973007"/>
              <a:gd name="connsiteX14547" fmla="*/ 5982511 w 6884782"/>
              <a:gd name="connsiteY14547" fmla="*/ 4562958 h 5973007"/>
              <a:gd name="connsiteX14548" fmla="*/ 5986693 w 6884782"/>
              <a:gd name="connsiteY14548" fmla="*/ 4561719 h 5973007"/>
              <a:gd name="connsiteX14549" fmla="*/ 6877192 w 6884782"/>
              <a:gd name="connsiteY14549" fmla="*/ 4560893 h 5973007"/>
              <a:gd name="connsiteX14550" fmla="*/ 6863871 w 6884782"/>
              <a:gd name="connsiteY14550" fmla="*/ 4593522 h 5973007"/>
              <a:gd name="connsiteX14551" fmla="*/ 6869292 w 6884782"/>
              <a:gd name="connsiteY14551" fmla="*/ 4576691 h 5973007"/>
              <a:gd name="connsiteX14552" fmla="*/ 6877192 w 6884782"/>
              <a:gd name="connsiteY14552" fmla="*/ 4560893 h 5973007"/>
              <a:gd name="connsiteX14553" fmla="*/ 1272454 w 6884782"/>
              <a:gd name="connsiteY14553" fmla="*/ 4560720 h 5973007"/>
              <a:gd name="connsiteX14554" fmla="*/ 1289782 w 6884782"/>
              <a:gd name="connsiteY14554" fmla="*/ 4565418 h 5973007"/>
              <a:gd name="connsiteX14555" fmla="*/ 1302794 w 6884782"/>
              <a:gd name="connsiteY14555" fmla="*/ 4581836 h 5973007"/>
              <a:gd name="connsiteX14556" fmla="*/ 1304343 w 6884782"/>
              <a:gd name="connsiteY14556" fmla="*/ 4608373 h 5973007"/>
              <a:gd name="connsiteX14557" fmla="*/ 1301710 w 6884782"/>
              <a:gd name="connsiteY14557" fmla="*/ 4611057 h 5973007"/>
              <a:gd name="connsiteX14558" fmla="*/ 1303413 w 6884782"/>
              <a:gd name="connsiteY14558" fmla="*/ 4613845 h 5973007"/>
              <a:gd name="connsiteX14559" fmla="*/ 1300316 w 6884782"/>
              <a:gd name="connsiteY14559" fmla="*/ 4614362 h 5973007"/>
              <a:gd name="connsiteX14560" fmla="*/ 1298922 w 6884782"/>
              <a:gd name="connsiteY14560" fmla="*/ 4614155 h 5973007"/>
              <a:gd name="connsiteX14561" fmla="*/ 1294430 w 6884782"/>
              <a:gd name="connsiteY14561" fmla="*/ 4619008 h 5973007"/>
              <a:gd name="connsiteX14562" fmla="*/ 1289163 w 6884782"/>
              <a:gd name="connsiteY14562" fmla="*/ 4624584 h 5973007"/>
              <a:gd name="connsiteX14563" fmla="*/ 1288853 w 6884782"/>
              <a:gd name="connsiteY14563" fmla="*/ 4627269 h 5973007"/>
              <a:gd name="connsiteX14564" fmla="*/ 1286530 w 6884782"/>
              <a:gd name="connsiteY14564" fmla="*/ 4627475 h 5973007"/>
              <a:gd name="connsiteX14565" fmla="*/ 1284516 w 6884782"/>
              <a:gd name="connsiteY14565" fmla="*/ 4629747 h 5973007"/>
              <a:gd name="connsiteX14566" fmla="*/ 1248890 w 6884782"/>
              <a:gd name="connsiteY14566" fmla="*/ 4623035 h 5973007"/>
              <a:gd name="connsiteX14567" fmla="*/ 1237428 w 6884782"/>
              <a:gd name="connsiteY14567" fmla="*/ 4603726 h 5973007"/>
              <a:gd name="connsiteX14568" fmla="*/ 1255706 w 6884782"/>
              <a:gd name="connsiteY14568" fmla="*/ 4561598 h 5973007"/>
              <a:gd name="connsiteX14569" fmla="*/ 1272454 w 6884782"/>
              <a:gd name="connsiteY14569" fmla="*/ 4560720 h 5973007"/>
              <a:gd name="connsiteX14570" fmla="*/ 1178877 w 6884782"/>
              <a:gd name="connsiteY14570" fmla="*/ 4560255 h 5973007"/>
              <a:gd name="connsiteX14571" fmla="*/ 1179496 w 6884782"/>
              <a:gd name="connsiteY14571" fmla="*/ 4564489 h 5973007"/>
              <a:gd name="connsiteX14572" fmla="*/ 1175004 w 6884782"/>
              <a:gd name="connsiteY14572" fmla="*/ 4566760 h 5973007"/>
              <a:gd name="connsiteX14573" fmla="*/ 1172061 w 6884782"/>
              <a:gd name="connsiteY14573" fmla="*/ 4567277 h 5973007"/>
              <a:gd name="connsiteX14574" fmla="*/ 1169583 w 6884782"/>
              <a:gd name="connsiteY14574" fmla="*/ 4566760 h 5973007"/>
              <a:gd name="connsiteX14575" fmla="*/ 1171443 w 6884782"/>
              <a:gd name="connsiteY14575" fmla="*/ 4561494 h 5973007"/>
              <a:gd name="connsiteX14576" fmla="*/ 1178877 w 6884782"/>
              <a:gd name="connsiteY14576" fmla="*/ 4560255 h 5973007"/>
              <a:gd name="connsiteX14577" fmla="*/ 1682909 w 6884782"/>
              <a:gd name="connsiteY14577" fmla="*/ 4558500 h 5973007"/>
              <a:gd name="connsiteX14578" fmla="*/ 1681051 w 6884782"/>
              <a:gd name="connsiteY14578" fmla="*/ 4563043 h 5973007"/>
              <a:gd name="connsiteX14579" fmla="*/ 1680586 w 6884782"/>
              <a:gd name="connsiteY14579" fmla="*/ 4559533 h 5973007"/>
              <a:gd name="connsiteX14580" fmla="*/ 1682909 w 6884782"/>
              <a:gd name="connsiteY14580" fmla="*/ 4558500 h 5973007"/>
              <a:gd name="connsiteX14581" fmla="*/ 1726900 w 6884782"/>
              <a:gd name="connsiteY14581" fmla="*/ 4558190 h 5973007"/>
              <a:gd name="connsiteX14582" fmla="*/ 1729533 w 6884782"/>
              <a:gd name="connsiteY14582" fmla="*/ 4558706 h 5973007"/>
              <a:gd name="connsiteX14583" fmla="*/ 1730153 w 6884782"/>
              <a:gd name="connsiteY14583" fmla="*/ 4564902 h 5973007"/>
              <a:gd name="connsiteX14584" fmla="*/ 1728294 w 6884782"/>
              <a:gd name="connsiteY14584" fmla="*/ 4566038 h 5973007"/>
              <a:gd name="connsiteX14585" fmla="*/ 1734645 w 6884782"/>
              <a:gd name="connsiteY14585" fmla="*/ 4568309 h 5973007"/>
              <a:gd name="connsiteX14586" fmla="*/ 1741925 w 6884782"/>
              <a:gd name="connsiteY14586" fmla="*/ 4582559 h 5973007"/>
              <a:gd name="connsiteX14587" fmla="*/ 1742544 w 6884782"/>
              <a:gd name="connsiteY14587" fmla="*/ 4584004 h 5973007"/>
              <a:gd name="connsiteX14588" fmla="*/ 1743784 w 6884782"/>
              <a:gd name="connsiteY14588" fmla="*/ 4581733 h 5973007"/>
              <a:gd name="connsiteX14589" fmla="*/ 1748740 w 6884782"/>
              <a:gd name="connsiteY14589" fmla="*/ 4580287 h 5973007"/>
              <a:gd name="connsiteX14590" fmla="*/ 1754007 w 6884782"/>
              <a:gd name="connsiteY14590" fmla="*/ 4581319 h 5973007"/>
              <a:gd name="connsiteX14591" fmla="*/ 1751374 w 6884782"/>
              <a:gd name="connsiteY14591" fmla="*/ 4586069 h 5973007"/>
              <a:gd name="connsiteX14592" fmla="*/ 1743784 w 6884782"/>
              <a:gd name="connsiteY14592" fmla="*/ 4585966 h 5973007"/>
              <a:gd name="connsiteX14593" fmla="*/ 1742699 w 6884782"/>
              <a:gd name="connsiteY14593" fmla="*/ 4584417 h 5973007"/>
              <a:gd name="connsiteX14594" fmla="*/ 1749050 w 6884782"/>
              <a:gd name="connsiteY14594" fmla="*/ 4596911 h 5973007"/>
              <a:gd name="connsiteX14595" fmla="*/ 1733870 w 6884782"/>
              <a:gd name="connsiteY14595" fmla="*/ 4628920 h 5973007"/>
              <a:gd name="connsiteX14596" fmla="*/ 1730927 w 6884782"/>
              <a:gd name="connsiteY14596" fmla="*/ 4628508 h 5973007"/>
              <a:gd name="connsiteX14597" fmla="*/ 1730772 w 6884782"/>
              <a:gd name="connsiteY14597" fmla="*/ 4628817 h 5973007"/>
              <a:gd name="connsiteX14598" fmla="*/ 1727985 w 6884782"/>
              <a:gd name="connsiteY14598" fmla="*/ 4629747 h 5973007"/>
              <a:gd name="connsiteX14599" fmla="*/ 1726280 w 6884782"/>
              <a:gd name="connsiteY14599" fmla="*/ 4628714 h 5973007"/>
              <a:gd name="connsiteX14600" fmla="*/ 1721478 w 6884782"/>
              <a:gd name="connsiteY14600" fmla="*/ 4629643 h 5973007"/>
              <a:gd name="connsiteX14601" fmla="*/ 1720549 w 6884782"/>
              <a:gd name="connsiteY14601" fmla="*/ 4629540 h 5973007"/>
              <a:gd name="connsiteX14602" fmla="*/ 1719000 w 6884782"/>
              <a:gd name="connsiteY14602" fmla="*/ 4630056 h 5973007"/>
              <a:gd name="connsiteX14603" fmla="*/ 1719310 w 6884782"/>
              <a:gd name="connsiteY14603" fmla="*/ 4633361 h 5973007"/>
              <a:gd name="connsiteX14604" fmla="*/ 1716987 w 6884782"/>
              <a:gd name="connsiteY14604" fmla="*/ 4635529 h 5973007"/>
              <a:gd name="connsiteX14605" fmla="*/ 1713734 w 6884782"/>
              <a:gd name="connsiteY14605" fmla="*/ 4635219 h 5973007"/>
              <a:gd name="connsiteX14606" fmla="*/ 1711565 w 6884782"/>
              <a:gd name="connsiteY14606" fmla="*/ 4633877 h 5973007"/>
              <a:gd name="connsiteX14607" fmla="*/ 1711100 w 6884782"/>
              <a:gd name="connsiteY14607" fmla="*/ 4630986 h 5973007"/>
              <a:gd name="connsiteX14608" fmla="*/ 1711100 w 6884782"/>
              <a:gd name="connsiteY14608" fmla="*/ 4630779 h 5973007"/>
              <a:gd name="connsiteX14609" fmla="*/ 1702426 w 6884782"/>
              <a:gd name="connsiteY14609" fmla="*/ 4626236 h 5973007"/>
              <a:gd name="connsiteX14610" fmla="*/ 1693287 w 6884782"/>
              <a:gd name="connsiteY14610" fmla="*/ 4618285 h 5973007"/>
              <a:gd name="connsiteX14611" fmla="*/ 1692048 w 6884782"/>
              <a:gd name="connsiteY14611" fmla="*/ 4620660 h 5973007"/>
              <a:gd name="connsiteX14612" fmla="*/ 1689570 w 6884782"/>
              <a:gd name="connsiteY14612" fmla="*/ 4625926 h 5973007"/>
              <a:gd name="connsiteX14613" fmla="*/ 1686937 w 6884782"/>
              <a:gd name="connsiteY14613" fmla="*/ 4625926 h 5973007"/>
              <a:gd name="connsiteX14614" fmla="*/ 1685543 w 6884782"/>
              <a:gd name="connsiteY14614" fmla="*/ 4624584 h 5973007"/>
              <a:gd name="connsiteX14615" fmla="*/ 1684768 w 6884782"/>
              <a:gd name="connsiteY14615" fmla="*/ 4613845 h 5973007"/>
              <a:gd name="connsiteX14616" fmla="*/ 1686008 w 6884782"/>
              <a:gd name="connsiteY14616" fmla="*/ 4610851 h 5973007"/>
              <a:gd name="connsiteX14617" fmla="*/ 1682599 w 6884782"/>
              <a:gd name="connsiteY14617" fmla="*/ 4605275 h 5973007"/>
              <a:gd name="connsiteX14618" fmla="*/ 1679811 w 6884782"/>
              <a:gd name="connsiteY14618" fmla="*/ 4595982 h 5973007"/>
              <a:gd name="connsiteX14619" fmla="*/ 1680121 w 6884782"/>
              <a:gd name="connsiteY14619" fmla="*/ 4586585 h 5973007"/>
              <a:gd name="connsiteX14620" fmla="*/ 1681360 w 6884782"/>
              <a:gd name="connsiteY14620" fmla="*/ 4583798 h 5973007"/>
              <a:gd name="connsiteX14621" fmla="*/ 1681206 w 6884782"/>
              <a:gd name="connsiteY14621" fmla="*/ 4581526 h 5973007"/>
              <a:gd name="connsiteX14622" fmla="*/ 1681051 w 6884782"/>
              <a:gd name="connsiteY14622" fmla="*/ 4580390 h 5973007"/>
              <a:gd name="connsiteX14623" fmla="*/ 1680121 w 6884782"/>
              <a:gd name="connsiteY14623" fmla="*/ 4582249 h 5973007"/>
              <a:gd name="connsiteX14624" fmla="*/ 1680586 w 6884782"/>
              <a:gd name="connsiteY14624" fmla="*/ 4583901 h 5973007"/>
              <a:gd name="connsiteX14625" fmla="*/ 1678263 w 6884782"/>
              <a:gd name="connsiteY14625" fmla="*/ 4585656 h 5973007"/>
              <a:gd name="connsiteX14626" fmla="*/ 1680431 w 6884782"/>
              <a:gd name="connsiteY14626" fmla="*/ 4580493 h 5973007"/>
              <a:gd name="connsiteX14627" fmla="*/ 1681051 w 6884782"/>
              <a:gd name="connsiteY14627" fmla="*/ 4580080 h 5973007"/>
              <a:gd name="connsiteX14628" fmla="*/ 1681051 w 6884782"/>
              <a:gd name="connsiteY14628" fmla="*/ 4579151 h 5973007"/>
              <a:gd name="connsiteX14629" fmla="*/ 1680896 w 6884782"/>
              <a:gd name="connsiteY14629" fmla="*/ 4578325 h 5973007"/>
              <a:gd name="connsiteX14630" fmla="*/ 1681051 w 6884782"/>
              <a:gd name="connsiteY14630" fmla="*/ 4577602 h 5973007"/>
              <a:gd name="connsiteX14631" fmla="*/ 1681051 w 6884782"/>
              <a:gd name="connsiteY14631" fmla="*/ 4575227 h 5973007"/>
              <a:gd name="connsiteX14632" fmla="*/ 1681825 w 6884782"/>
              <a:gd name="connsiteY14632" fmla="*/ 4570065 h 5973007"/>
              <a:gd name="connsiteX14633" fmla="*/ 1682135 w 6884782"/>
              <a:gd name="connsiteY14633" fmla="*/ 4575537 h 5973007"/>
              <a:gd name="connsiteX14634" fmla="*/ 1682755 w 6884782"/>
              <a:gd name="connsiteY14634" fmla="*/ 4572749 h 5973007"/>
              <a:gd name="connsiteX14635" fmla="*/ 1682135 w 6884782"/>
              <a:gd name="connsiteY14635" fmla="*/ 4569858 h 5973007"/>
              <a:gd name="connsiteX14636" fmla="*/ 1683529 w 6884782"/>
              <a:gd name="connsiteY14636" fmla="*/ 4568412 h 5973007"/>
              <a:gd name="connsiteX14637" fmla="*/ 1685078 w 6884782"/>
              <a:gd name="connsiteY14637" fmla="*/ 4570581 h 5973007"/>
              <a:gd name="connsiteX14638" fmla="*/ 1683064 w 6884782"/>
              <a:gd name="connsiteY14638" fmla="*/ 4573059 h 5973007"/>
              <a:gd name="connsiteX14639" fmla="*/ 1683064 w 6884782"/>
              <a:gd name="connsiteY14639" fmla="*/ 4576570 h 5973007"/>
              <a:gd name="connsiteX14640" fmla="*/ 1682135 w 6884782"/>
              <a:gd name="connsiteY14640" fmla="*/ 4577809 h 5973007"/>
              <a:gd name="connsiteX14641" fmla="*/ 1681360 w 6884782"/>
              <a:gd name="connsiteY14641" fmla="*/ 4583591 h 5973007"/>
              <a:gd name="connsiteX14642" fmla="*/ 1683219 w 6884782"/>
              <a:gd name="connsiteY14642" fmla="*/ 4579151 h 5973007"/>
              <a:gd name="connsiteX14643" fmla="*/ 1692048 w 6884782"/>
              <a:gd name="connsiteY14643" fmla="*/ 4564076 h 5973007"/>
              <a:gd name="connsiteX14644" fmla="*/ 1710171 w 6884782"/>
              <a:gd name="connsiteY14644" fmla="*/ 4558293 h 5973007"/>
              <a:gd name="connsiteX14645" fmla="*/ 1721788 w 6884782"/>
              <a:gd name="connsiteY14645" fmla="*/ 4563869 h 5973007"/>
              <a:gd name="connsiteX14646" fmla="*/ 1723802 w 6884782"/>
              <a:gd name="connsiteY14646" fmla="*/ 4564489 h 5973007"/>
              <a:gd name="connsiteX14647" fmla="*/ 1723957 w 6884782"/>
              <a:gd name="connsiteY14647" fmla="*/ 4561391 h 5973007"/>
              <a:gd name="connsiteX14648" fmla="*/ 1726900 w 6884782"/>
              <a:gd name="connsiteY14648" fmla="*/ 4558190 h 5973007"/>
              <a:gd name="connsiteX14649" fmla="*/ 5905992 w 6884782"/>
              <a:gd name="connsiteY14649" fmla="*/ 4557795 h 5973007"/>
              <a:gd name="connsiteX14650" fmla="*/ 5869592 w 6884782"/>
              <a:gd name="connsiteY14650" fmla="*/ 4596723 h 5973007"/>
              <a:gd name="connsiteX14651" fmla="*/ 5905992 w 6884782"/>
              <a:gd name="connsiteY14651" fmla="*/ 4557795 h 5973007"/>
              <a:gd name="connsiteX14652" fmla="*/ 614435 w 6884782"/>
              <a:gd name="connsiteY14652" fmla="*/ 4557467 h 5973007"/>
              <a:gd name="connsiteX14653" fmla="*/ 614589 w 6884782"/>
              <a:gd name="connsiteY14653" fmla="*/ 4567173 h 5973007"/>
              <a:gd name="connsiteX14654" fmla="*/ 614435 w 6884782"/>
              <a:gd name="connsiteY14654" fmla="*/ 4557467 h 5973007"/>
              <a:gd name="connsiteX14655" fmla="*/ 1008181 w 6884782"/>
              <a:gd name="connsiteY14655" fmla="*/ 4557364 h 5973007"/>
              <a:gd name="connsiteX14656" fmla="*/ 1010195 w 6884782"/>
              <a:gd name="connsiteY14656" fmla="*/ 4557467 h 5973007"/>
              <a:gd name="connsiteX14657" fmla="*/ 1012208 w 6884782"/>
              <a:gd name="connsiteY14657" fmla="*/ 4558810 h 5973007"/>
              <a:gd name="connsiteX14658" fmla="*/ 1010505 w 6884782"/>
              <a:gd name="connsiteY14658" fmla="*/ 4563249 h 5973007"/>
              <a:gd name="connsiteX14659" fmla="*/ 1008491 w 6884782"/>
              <a:gd name="connsiteY14659" fmla="*/ 4563146 h 5973007"/>
              <a:gd name="connsiteX14660" fmla="*/ 1006942 w 6884782"/>
              <a:gd name="connsiteY14660" fmla="*/ 4560978 h 5973007"/>
              <a:gd name="connsiteX14661" fmla="*/ 1008181 w 6884782"/>
              <a:gd name="connsiteY14661" fmla="*/ 4557364 h 5973007"/>
              <a:gd name="connsiteX14662" fmla="*/ 1515466 w 6884782"/>
              <a:gd name="connsiteY14662" fmla="*/ 4556744 h 5973007"/>
              <a:gd name="connsiteX14663" fmla="*/ 1517170 w 6884782"/>
              <a:gd name="connsiteY14663" fmla="*/ 4558603 h 5973007"/>
              <a:gd name="connsiteX14664" fmla="*/ 1514692 w 6884782"/>
              <a:gd name="connsiteY14664" fmla="*/ 4559739 h 5973007"/>
              <a:gd name="connsiteX14665" fmla="*/ 1513298 w 6884782"/>
              <a:gd name="connsiteY14665" fmla="*/ 4558706 h 5973007"/>
              <a:gd name="connsiteX14666" fmla="*/ 1510665 w 6884782"/>
              <a:gd name="connsiteY14666" fmla="*/ 4559119 h 5973007"/>
              <a:gd name="connsiteX14667" fmla="*/ 1510045 w 6884782"/>
              <a:gd name="connsiteY14667" fmla="*/ 4557674 h 5973007"/>
              <a:gd name="connsiteX14668" fmla="*/ 1515466 w 6884782"/>
              <a:gd name="connsiteY14668" fmla="*/ 4556744 h 5973007"/>
              <a:gd name="connsiteX14669" fmla="*/ 1770193 w 6884782"/>
              <a:gd name="connsiteY14669" fmla="*/ 4556732 h 5973007"/>
              <a:gd name="connsiteX14670" fmla="*/ 1773989 w 6884782"/>
              <a:gd name="connsiteY14670" fmla="*/ 4557571 h 5973007"/>
              <a:gd name="connsiteX14671" fmla="*/ 1772440 w 6884782"/>
              <a:gd name="connsiteY14671" fmla="*/ 4563663 h 5973007"/>
              <a:gd name="connsiteX14672" fmla="*/ 1767328 w 6884782"/>
              <a:gd name="connsiteY14672" fmla="*/ 4559842 h 5973007"/>
              <a:gd name="connsiteX14673" fmla="*/ 1770193 w 6884782"/>
              <a:gd name="connsiteY14673" fmla="*/ 4556732 h 5973007"/>
              <a:gd name="connsiteX14674" fmla="*/ 1311003 w 6884782"/>
              <a:gd name="connsiteY14674" fmla="*/ 4556641 h 5973007"/>
              <a:gd name="connsiteX14675" fmla="*/ 1322466 w 6884782"/>
              <a:gd name="connsiteY14675" fmla="*/ 4582765 h 5973007"/>
              <a:gd name="connsiteX14676" fmla="*/ 1304343 w 6884782"/>
              <a:gd name="connsiteY14676" fmla="*/ 4561184 h 5973007"/>
              <a:gd name="connsiteX14677" fmla="*/ 1311003 w 6884782"/>
              <a:gd name="connsiteY14677" fmla="*/ 4556641 h 5973007"/>
              <a:gd name="connsiteX14678" fmla="*/ 1183833 w 6884782"/>
              <a:gd name="connsiteY14678" fmla="*/ 4556435 h 5973007"/>
              <a:gd name="connsiteX14679" fmla="*/ 1209237 w 6884782"/>
              <a:gd name="connsiteY14679" fmla="*/ 4566244 h 5973007"/>
              <a:gd name="connsiteX14680" fmla="*/ 1206138 w 6884782"/>
              <a:gd name="connsiteY14680" fmla="*/ 4573885 h 5973007"/>
              <a:gd name="connsiteX14681" fmla="*/ 1183833 w 6884782"/>
              <a:gd name="connsiteY14681" fmla="*/ 4556435 h 5973007"/>
              <a:gd name="connsiteX14682" fmla="*/ 1165556 w 6884782"/>
              <a:gd name="connsiteY14682" fmla="*/ 4556435 h 5973007"/>
              <a:gd name="connsiteX14683" fmla="*/ 1165401 w 6884782"/>
              <a:gd name="connsiteY14683" fmla="*/ 4559223 h 5973007"/>
              <a:gd name="connsiteX14684" fmla="*/ 1165711 w 6884782"/>
              <a:gd name="connsiteY14684" fmla="*/ 4559326 h 5973007"/>
              <a:gd name="connsiteX14685" fmla="*/ 1166486 w 6884782"/>
              <a:gd name="connsiteY14685" fmla="*/ 4575537 h 5973007"/>
              <a:gd name="connsiteX14686" fmla="*/ 1154713 w 6884782"/>
              <a:gd name="connsiteY14686" fmla="*/ 4565418 h 5973007"/>
              <a:gd name="connsiteX14687" fmla="*/ 1158431 w 6884782"/>
              <a:gd name="connsiteY14687" fmla="*/ 4560875 h 5973007"/>
              <a:gd name="connsiteX14688" fmla="*/ 1157811 w 6884782"/>
              <a:gd name="connsiteY14688" fmla="*/ 4560565 h 5973007"/>
              <a:gd name="connsiteX14689" fmla="*/ 1161374 w 6884782"/>
              <a:gd name="connsiteY14689" fmla="*/ 4556641 h 5973007"/>
              <a:gd name="connsiteX14690" fmla="*/ 1165556 w 6884782"/>
              <a:gd name="connsiteY14690" fmla="*/ 4556435 h 5973007"/>
              <a:gd name="connsiteX14691" fmla="*/ 1678572 w 6884782"/>
              <a:gd name="connsiteY14691" fmla="*/ 4556332 h 5973007"/>
              <a:gd name="connsiteX14692" fmla="*/ 1675009 w 6884782"/>
              <a:gd name="connsiteY14692" fmla="*/ 4568516 h 5973007"/>
              <a:gd name="connsiteX14693" fmla="*/ 1669588 w 6884782"/>
              <a:gd name="connsiteY14693" fmla="*/ 4565831 h 5973007"/>
              <a:gd name="connsiteX14694" fmla="*/ 1678572 w 6884782"/>
              <a:gd name="connsiteY14694" fmla="*/ 4556332 h 5973007"/>
              <a:gd name="connsiteX14695" fmla="*/ 6692401 w 6884782"/>
              <a:gd name="connsiteY14695" fmla="*/ 4556143 h 5973007"/>
              <a:gd name="connsiteX14696" fmla="*/ 6696118 w 6884782"/>
              <a:gd name="connsiteY14696" fmla="*/ 4559034 h 5973007"/>
              <a:gd name="connsiteX14697" fmla="*/ 6693175 w 6884782"/>
              <a:gd name="connsiteY14697" fmla="*/ 4563164 h 5973007"/>
              <a:gd name="connsiteX14698" fmla="*/ 6689148 w 6884782"/>
              <a:gd name="connsiteY14698" fmla="*/ 4560583 h 5973007"/>
              <a:gd name="connsiteX14699" fmla="*/ 6688993 w 6884782"/>
              <a:gd name="connsiteY14699" fmla="*/ 4558311 h 5973007"/>
              <a:gd name="connsiteX14700" fmla="*/ 6689613 w 6884782"/>
              <a:gd name="connsiteY14700" fmla="*/ 4557898 h 5973007"/>
              <a:gd name="connsiteX14701" fmla="*/ 6692401 w 6884782"/>
              <a:gd name="connsiteY14701" fmla="*/ 4556143 h 5973007"/>
              <a:gd name="connsiteX14702" fmla="*/ 1335942 w 6884782"/>
              <a:gd name="connsiteY14702" fmla="*/ 4555712 h 5973007"/>
              <a:gd name="connsiteX14703" fmla="*/ 1337181 w 6884782"/>
              <a:gd name="connsiteY14703" fmla="*/ 4558190 h 5973007"/>
              <a:gd name="connsiteX14704" fmla="*/ 1332224 w 6884782"/>
              <a:gd name="connsiteY14704" fmla="*/ 4559842 h 5973007"/>
              <a:gd name="connsiteX14705" fmla="*/ 1335942 w 6884782"/>
              <a:gd name="connsiteY14705" fmla="*/ 4555712 h 5973007"/>
              <a:gd name="connsiteX14706" fmla="*/ 948585 w 6884782"/>
              <a:gd name="connsiteY14706" fmla="*/ 4555441 h 5973007"/>
              <a:gd name="connsiteX14707" fmla="*/ 956446 w 6884782"/>
              <a:gd name="connsiteY14707" fmla="*/ 4559326 h 5973007"/>
              <a:gd name="connsiteX14708" fmla="*/ 935380 w 6884782"/>
              <a:gd name="connsiteY14708" fmla="*/ 4576776 h 5973007"/>
              <a:gd name="connsiteX14709" fmla="*/ 939252 w 6884782"/>
              <a:gd name="connsiteY14709" fmla="*/ 4568516 h 5973007"/>
              <a:gd name="connsiteX14710" fmla="*/ 937858 w 6884782"/>
              <a:gd name="connsiteY14710" fmla="*/ 4567277 h 5973007"/>
              <a:gd name="connsiteX14711" fmla="*/ 935999 w 6884782"/>
              <a:gd name="connsiteY14711" fmla="*/ 4562114 h 5973007"/>
              <a:gd name="connsiteX14712" fmla="*/ 936774 w 6884782"/>
              <a:gd name="connsiteY14712" fmla="*/ 4556641 h 5973007"/>
              <a:gd name="connsiteX14713" fmla="*/ 941576 w 6884782"/>
              <a:gd name="connsiteY14713" fmla="*/ 4560049 h 5973007"/>
              <a:gd name="connsiteX14714" fmla="*/ 941421 w 6884782"/>
              <a:gd name="connsiteY14714" fmla="*/ 4563972 h 5973007"/>
              <a:gd name="connsiteX14715" fmla="*/ 943280 w 6884782"/>
              <a:gd name="connsiteY14715" fmla="*/ 4559842 h 5973007"/>
              <a:gd name="connsiteX14716" fmla="*/ 948585 w 6884782"/>
              <a:gd name="connsiteY14716" fmla="*/ 4555441 h 5973007"/>
              <a:gd name="connsiteX14717" fmla="*/ 1339349 w 6884782"/>
              <a:gd name="connsiteY14717" fmla="*/ 4555196 h 5973007"/>
              <a:gd name="connsiteX14718" fmla="*/ 1339814 w 6884782"/>
              <a:gd name="connsiteY14718" fmla="*/ 4556744 h 5973007"/>
              <a:gd name="connsiteX14719" fmla="*/ 1339349 w 6884782"/>
              <a:gd name="connsiteY14719" fmla="*/ 4556125 h 5973007"/>
              <a:gd name="connsiteX14720" fmla="*/ 1339349 w 6884782"/>
              <a:gd name="connsiteY14720" fmla="*/ 4555196 h 5973007"/>
              <a:gd name="connsiteX14721" fmla="*/ 1214967 w 6884782"/>
              <a:gd name="connsiteY14721" fmla="*/ 4554886 h 5973007"/>
              <a:gd name="connsiteX14722" fmla="*/ 1218066 w 6884782"/>
              <a:gd name="connsiteY14722" fmla="*/ 4555402 h 5973007"/>
              <a:gd name="connsiteX14723" fmla="*/ 1218995 w 6884782"/>
              <a:gd name="connsiteY14723" fmla="*/ 4555815 h 5973007"/>
              <a:gd name="connsiteX14724" fmla="*/ 1218995 w 6884782"/>
              <a:gd name="connsiteY14724" fmla="*/ 4555609 h 5973007"/>
              <a:gd name="connsiteX14725" fmla="*/ 1221474 w 6884782"/>
              <a:gd name="connsiteY14725" fmla="*/ 4555712 h 5973007"/>
              <a:gd name="connsiteX14726" fmla="*/ 1222248 w 6884782"/>
              <a:gd name="connsiteY14726" fmla="*/ 4555505 h 5973007"/>
              <a:gd name="connsiteX14727" fmla="*/ 1222402 w 6884782"/>
              <a:gd name="connsiteY14727" fmla="*/ 4555712 h 5973007"/>
              <a:gd name="connsiteX14728" fmla="*/ 1223332 w 6884782"/>
              <a:gd name="connsiteY14728" fmla="*/ 4555712 h 5973007"/>
              <a:gd name="connsiteX14729" fmla="*/ 1222093 w 6884782"/>
              <a:gd name="connsiteY14729" fmla="*/ 4559223 h 5973007"/>
              <a:gd name="connsiteX14730" fmla="*/ 1219460 w 6884782"/>
              <a:gd name="connsiteY14730" fmla="*/ 4560152 h 5973007"/>
              <a:gd name="connsiteX14731" fmla="*/ 1218995 w 6884782"/>
              <a:gd name="connsiteY14731" fmla="*/ 4559326 h 5973007"/>
              <a:gd name="connsiteX14732" fmla="*/ 1219614 w 6884782"/>
              <a:gd name="connsiteY14732" fmla="*/ 4559223 h 5973007"/>
              <a:gd name="connsiteX14733" fmla="*/ 1219305 w 6884782"/>
              <a:gd name="connsiteY14733" fmla="*/ 4557983 h 5973007"/>
              <a:gd name="connsiteX14734" fmla="*/ 1218066 w 6884782"/>
              <a:gd name="connsiteY14734" fmla="*/ 4558706 h 5973007"/>
              <a:gd name="connsiteX14735" fmla="*/ 1213574 w 6884782"/>
              <a:gd name="connsiteY14735" fmla="*/ 4560152 h 5973007"/>
              <a:gd name="connsiteX14736" fmla="*/ 1212025 w 6884782"/>
              <a:gd name="connsiteY14736" fmla="*/ 4559429 h 5973007"/>
              <a:gd name="connsiteX14737" fmla="*/ 1211560 w 6884782"/>
              <a:gd name="connsiteY14737" fmla="*/ 4557157 h 5973007"/>
              <a:gd name="connsiteX14738" fmla="*/ 1214967 w 6884782"/>
              <a:gd name="connsiteY14738" fmla="*/ 4554886 h 5973007"/>
              <a:gd name="connsiteX14739" fmla="*/ 1386902 w 6884782"/>
              <a:gd name="connsiteY14739" fmla="*/ 4554473 h 5973007"/>
              <a:gd name="connsiteX14740" fmla="*/ 1394647 w 6884782"/>
              <a:gd name="connsiteY14740" fmla="*/ 4555196 h 5973007"/>
              <a:gd name="connsiteX14741" fmla="*/ 1389071 w 6884782"/>
              <a:gd name="connsiteY14741" fmla="*/ 4592058 h 5973007"/>
              <a:gd name="connsiteX14742" fmla="*/ 1382875 w 6884782"/>
              <a:gd name="connsiteY14742" fmla="*/ 4589373 h 5973007"/>
              <a:gd name="connsiteX14743" fmla="*/ 1385819 w 6884782"/>
              <a:gd name="connsiteY14743" fmla="*/ 4592781 h 5973007"/>
              <a:gd name="connsiteX14744" fmla="*/ 1386438 w 6884782"/>
              <a:gd name="connsiteY14744" fmla="*/ 4593917 h 5973007"/>
              <a:gd name="connsiteX14745" fmla="*/ 1388142 w 6884782"/>
              <a:gd name="connsiteY14745" fmla="*/ 4595466 h 5973007"/>
              <a:gd name="connsiteX14746" fmla="*/ 1387987 w 6884782"/>
              <a:gd name="connsiteY14746" fmla="*/ 4602487 h 5973007"/>
              <a:gd name="connsiteX14747" fmla="*/ 1388296 w 6884782"/>
              <a:gd name="connsiteY14747" fmla="*/ 4601558 h 5973007"/>
              <a:gd name="connsiteX14748" fmla="*/ 1391704 w 6884782"/>
              <a:gd name="connsiteY14748" fmla="*/ 4604449 h 5973007"/>
              <a:gd name="connsiteX14749" fmla="*/ 1387987 w 6884782"/>
              <a:gd name="connsiteY14749" fmla="*/ 4602797 h 5973007"/>
              <a:gd name="connsiteX14750" fmla="*/ 1387987 w 6884782"/>
              <a:gd name="connsiteY14750" fmla="*/ 4604139 h 5973007"/>
              <a:gd name="connsiteX14751" fmla="*/ 1385664 w 6884782"/>
              <a:gd name="connsiteY14751" fmla="*/ 4605688 h 5973007"/>
              <a:gd name="connsiteX14752" fmla="*/ 1377145 w 6884782"/>
              <a:gd name="connsiteY14752" fmla="*/ 4599596 h 5973007"/>
              <a:gd name="connsiteX14753" fmla="*/ 1376524 w 6884782"/>
              <a:gd name="connsiteY14753" fmla="*/ 4595879 h 5973007"/>
              <a:gd name="connsiteX14754" fmla="*/ 1374821 w 6884782"/>
              <a:gd name="connsiteY14754" fmla="*/ 4593813 h 5973007"/>
              <a:gd name="connsiteX14755" fmla="*/ 1373117 w 6884782"/>
              <a:gd name="connsiteY14755" fmla="*/ 4592884 h 5973007"/>
              <a:gd name="connsiteX14756" fmla="*/ 1372342 w 6884782"/>
              <a:gd name="connsiteY14756" fmla="*/ 4599286 h 5973007"/>
              <a:gd name="connsiteX14757" fmla="*/ 1370174 w 6884782"/>
              <a:gd name="connsiteY14757" fmla="*/ 4602384 h 5973007"/>
              <a:gd name="connsiteX14758" fmla="*/ 1371103 w 6884782"/>
              <a:gd name="connsiteY14758" fmla="*/ 4604139 h 5973007"/>
              <a:gd name="connsiteX14759" fmla="*/ 1369244 w 6884782"/>
              <a:gd name="connsiteY14759" fmla="*/ 4605998 h 5973007"/>
              <a:gd name="connsiteX14760" fmla="*/ 1367540 w 6884782"/>
              <a:gd name="connsiteY14760" fmla="*/ 4606411 h 5973007"/>
              <a:gd name="connsiteX14761" fmla="*/ 1365837 w 6884782"/>
              <a:gd name="connsiteY14761" fmla="*/ 4608992 h 5973007"/>
              <a:gd name="connsiteX14762" fmla="*/ 1352670 w 6884782"/>
              <a:gd name="connsiteY14762" fmla="*/ 4598770 h 5973007"/>
              <a:gd name="connsiteX14763" fmla="*/ 1350657 w 6884782"/>
              <a:gd name="connsiteY14763" fmla="*/ 4592058 h 5973007"/>
              <a:gd name="connsiteX14764" fmla="*/ 1350657 w 6884782"/>
              <a:gd name="connsiteY14764" fmla="*/ 4591955 h 5973007"/>
              <a:gd name="connsiteX14765" fmla="*/ 1346475 w 6884782"/>
              <a:gd name="connsiteY14765" fmla="*/ 4593297 h 5973007"/>
              <a:gd name="connsiteX14766" fmla="*/ 1339969 w 6884782"/>
              <a:gd name="connsiteY14766" fmla="*/ 4584727 h 5973007"/>
              <a:gd name="connsiteX14767" fmla="*/ 1340434 w 6884782"/>
              <a:gd name="connsiteY14767" fmla="*/ 4583798 h 5973007"/>
              <a:gd name="connsiteX14768" fmla="*/ 1340279 w 6884782"/>
              <a:gd name="connsiteY14768" fmla="*/ 4583798 h 5973007"/>
              <a:gd name="connsiteX14769" fmla="*/ 1337955 w 6884782"/>
              <a:gd name="connsiteY14769" fmla="*/ 4578118 h 5973007"/>
              <a:gd name="connsiteX14770" fmla="*/ 1336096 w 6884782"/>
              <a:gd name="connsiteY14770" fmla="*/ 4578325 h 5973007"/>
              <a:gd name="connsiteX14771" fmla="*/ 1333153 w 6884782"/>
              <a:gd name="connsiteY14771" fmla="*/ 4576260 h 5973007"/>
              <a:gd name="connsiteX14772" fmla="*/ 1334238 w 6884782"/>
              <a:gd name="connsiteY14772" fmla="*/ 4574505 h 5973007"/>
              <a:gd name="connsiteX14773" fmla="*/ 1337955 w 6884782"/>
              <a:gd name="connsiteY14773" fmla="*/ 4576157 h 5973007"/>
              <a:gd name="connsiteX14774" fmla="*/ 1338730 w 6884782"/>
              <a:gd name="connsiteY14774" fmla="*/ 4575744 h 5973007"/>
              <a:gd name="connsiteX14775" fmla="*/ 1339504 w 6884782"/>
              <a:gd name="connsiteY14775" fmla="*/ 4573266 h 5973007"/>
              <a:gd name="connsiteX14776" fmla="*/ 1346939 w 6884782"/>
              <a:gd name="connsiteY14776" fmla="*/ 4568619 h 5973007"/>
              <a:gd name="connsiteX14777" fmla="*/ 1353291 w 6884782"/>
              <a:gd name="connsiteY14777" fmla="*/ 4575434 h 5973007"/>
              <a:gd name="connsiteX14778" fmla="*/ 1353291 w 6884782"/>
              <a:gd name="connsiteY14778" fmla="*/ 4577396 h 5973007"/>
              <a:gd name="connsiteX14779" fmla="*/ 1357472 w 6884782"/>
              <a:gd name="connsiteY14779" fmla="*/ 4570891 h 5973007"/>
              <a:gd name="connsiteX14780" fmla="*/ 1360106 w 6884782"/>
              <a:gd name="connsiteY14780" fmla="*/ 4570478 h 5973007"/>
              <a:gd name="connsiteX14781" fmla="*/ 1373427 w 6884782"/>
              <a:gd name="connsiteY14781" fmla="*/ 4590509 h 5973007"/>
              <a:gd name="connsiteX14782" fmla="*/ 1373427 w 6884782"/>
              <a:gd name="connsiteY14782" fmla="*/ 4590716 h 5973007"/>
              <a:gd name="connsiteX14783" fmla="*/ 1374821 w 6884782"/>
              <a:gd name="connsiteY14783" fmla="*/ 4590406 h 5973007"/>
              <a:gd name="connsiteX14784" fmla="*/ 1375595 w 6884782"/>
              <a:gd name="connsiteY14784" fmla="*/ 4591851 h 5973007"/>
              <a:gd name="connsiteX14785" fmla="*/ 1377145 w 6884782"/>
              <a:gd name="connsiteY14785" fmla="*/ 4592368 h 5973007"/>
              <a:gd name="connsiteX14786" fmla="*/ 1378538 w 6884782"/>
              <a:gd name="connsiteY14786" fmla="*/ 4590200 h 5973007"/>
              <a:gd name="connsiteX14787" fmla="*/ 1381017 w 6884782"/>
              <a:gd name="connsiteY14787" fmla="*/ 4589683 h 5973007"/>
              <a:gd name="connsiteX14788" fmla="*/ 1380552 w 6884782"/>
              <a:gd name="connsiteY14788" fmla="*/ 4588444 h 5973007"/>
              <a:gd name="connsiteX14789" fmla="*/ 1364443 w 6884782"/>
              <a:gd name="connsiteY14789" fmla="*/ 4560772 h 5973007"/>
              <a:gd name="connsiteX14790" fmla="*/ 1366611 w 6884782"/>
              <a:gd name="connsiteY14790" fmla="*/ 4560875 h 5973007"/>
              <a:gd name="connsiteX14791" fmla="*/ 1366456 w 6884782"/>
              <a:gd name="connsiteY14791" fmla="*/ 4559842 h 5973007"/>
              <a:gd name="connsiteX14792" fmla="*/ 1373891 w 6884782"/>
              <a:gd name="connsiteY14792" fmla="*/ 4556951 h 5973007"/>
              <a:gd name="connsiteX14793" fmla="*/ 1376835 w 6884782"/>
              <a:gd name="connsiteY14793" fmla="*/ 4559223 h 5973007"/>
              <a:gd name="connsiteX14794" fmla="*/ 1381791 w 6884782"/>
              <a:gd name="connsiteY14794" fmla="*/ 4556641 h 5973007"/>
              <a:gd name="connsiteX14795" fmla="*/ 1386902 w 6884782"/>
              <a:gd name="connsiteY14795" fmla="*/ 4554473 h 5973007"/>
              <a:gd name="connsiteX14796" fmla="*/ 887517 w 6884782"/>
              <a:gd name="connsiteY14796" fmla="*/ 4554060 h 5973007"/>
              <a:gd name="connsiteX14797" fmla="*/ 881476 w 6884782"/>
              <a:gd name="connsiteY14797" fmla="*/ 4559429 h 5973007"/>
              <a:gd name="connsiteX14798" fmla="*/ 878997 w 6884782"/>
              <a:gd name="connsiteY14798" fmla="*/ 4559119 h 5973007"/>
              <a:gd name="connsiteX14799" fmla="*/ 887517 w 6884782"/>
              <a:gd name="connsiteY14799" fmla="*/ 4554060 h 5973007"/>
              <a:gd name="connsiteX14800" fmla="*/ 1476433 w 6884782"/>
              <a:gd name="connsiteY14800" fmla="*/ 4553647 h 5973007"/>
              <a:gd name="connsiteX14801" fmla="*/ 1481080 w 6884782"/>
              <a:gd name="connsiteY14801" fmla="*/ 4554782 h 5973007"/>
              <a:gd name="connsiteX14802" fmla="*/ 1483558 w 6884782"/>
              <a:gd name="connsiteY14802" fmla="*/ 4554060 h 5973007"/>
              <a:gd name="connsiteX14803" fmla="*/ 1484023 w 6884782"/>
              <a:gd name="connsiteY14803" fmla="*/ 4554886 h 5973007"/>
              <a:gd name="connsiteX14804" fmla="*/ 1478911 w 6884782"/>
              <a:gd name="connsiteY14804" fmla="*/ 4557364 h 5973007"/>
              <a:gd name="connsiteX14805" fmla="*/ 1475658 w 6884782"/>
              <a:gd name="connsiteY14805" fmla="*/ 4558500 h 5973007"/>
              <a:gd name="connsiteX14806" fmla="*/ 1481389 w 6884782"/>
              <a:gd name="connsiteY14806" fmla="*/ 4562217 h 5973007"/>
              <a:gd name="connsiteX14807" fmla="*/ 1498428 w 6884782"/>
              <a:gd name="connsiteY14807" fmla="*/ 4571923 h 5973007"/>
              <a:gd name="connsiteX14808" fmla="*/ 1487585 w 6884782"/>
              <a:gd name="connsiteY14808" fmla="*/ 4571510 h 5973007"/>
              <a:gd name="connsiteX14809" fmla="*/ 1477517 w 6884782"/>
              <a:gd name="connsiteY14809" fmla="*/ 4569858 h 5973007"/>
              <a:gd name="connsiteX14810" fmla="*/ 1475193 w 6884782"/>
              <a:gd name="connsiteY14810" fmla="*/ 4567586 h 5973007"/>
              <a:gd name="connsiteX14811" fmla="*/ 1474574 w 6884782"/>
              <a:gd name="connsiteY14811" fmla="*/ 4568103 h 5973007"/>
              <a:gd name="connsiteX14812" fmla="*/ 1471321 w 6884782"/>
              <a:gd name="connsiteY14812" fmla="*/ 4562940 h 5973007"/>
              <a:gd name="connsiteX14813" fmla="*/ 1474419 w 6884782"/>
              <a:gd name="connsiteY14813" fmla="*/ 4561907 h 5973007"/>
              <a:gd name="connsiteX14814" fmla="*/ 1475038 w 6884782"/>
              <a:gd name="connsiteY14814" fmla="*/ 4558706 h 5973007"/>
              <a:gd name="connsiteX14815" fmla="*/ 1474109 w 6884782"/>
              <a:gd name="connsiteY14815" fmla="*/ 4559016 h 5973007"/>
              <a:gd name="connsiteX14816" fmla="*/ 1472715 w 6884782"/>
              <a:gd name="connsiteY14816" fmla="*/ 4558293 h 5973007"/>
              <a:gd name="connsiteX14817" fmla="*/ 1472715 w 6884782"/>
              <a:gd name="connsiteY14817" fmla="*/ 4556022 h 5973007"/>
              <a:gd name="connsiteX14818" fmla="*/ 1476433 w 6884782"/>
              <a:gd name="connsiteY14818" fmla="*/ 4553647 h 5973007"/>
              <a:gd name="connsiteX14819" fmla="*/ 5934474 w 6884782"/>
              <a:gd name="connsiteY14819" fmla="*/ 4552077 h 5973007"/>
              <a:gd name="connsiteX14820" fmla="*/ 5936662 w 6884782"/>
              <a:gd name="connsiteY14820" fmla="*/ 4558001 h 5973007"/>
              <a:gd name="connsiteX14821" fmla="*/ 5933719 w 6884782"/>
              <a:gd name="connsiteY14821" fmla="*/ 4562855 h 5973007"/>
              <a:gd name="connsiteX14822" fmla="*/ 5931550 w 6884782"/>
              <a:gd name="connsiteY14822" fmla="*/ 4561925 h 5973007"/>
              <a:gd name="connsiteX14823" fmla="*/ 5931396 w 6884782"/>
              <a:gd name="connsiteY14823" fmla="*/ 4561719 h 5973007"/>
              <a:gd name="connsiteX14824" fmla="*/ 5928452 w 6884782"/>
              <a:gd name="connsiteY14824" fmla="*/ 4566055 h 5973007"/>
              <a:gd name="connsiteX14825" fmla="*/ 5926594 w 6884782"/>
              <a:gd name="connsiteY14825" fmla="*/ 4563577 h 5973007"/>
              <a:gd name="connsiteX14826" fmla="*/ 5926594 w 6884782"/>
              <a:gd name="connsiteY14826" fmla="*/ 4558414 h 5973007"/>
              <a:gd name="connsiteX14827" fmla="*/ 5927988 w 6884782"/>
              <a:gd name="connsiteY14827" fmla="*/ 4556246 h 5973007"/>
              <a:gd name="connsiteX14828" fmla="*/ 5927523 w 6884782"/>
              <a:gd name="connsiteY14828" fmla="*/ 4555213 h 5973007"/>
              <a:gd name="connsiteX14829" fmla="*/ 5934474 w 6884782"/>
              <a:gd name="connsiteY14829" fmla="*/ 4552077 h 5973007"/>
              <a:gd name="connsiteX14830" fmla="*/ 1240061 w 6884782"/>
              <a:gd name="connsiteY14830" fmla="*/ 4551685 h 5973007"/>
              <a:gd name="connsiteX14831" fmla="*/ 1240370 w 6884782"/>
              <a:gd name="connsiteY14831" fmla="*/ 4557261 h 5973007"/>
              <a:gd name="connsiteX14832" fmla="*/ 1234485 w 6884782"/>
              <a:gd name="connsiteY14832" fmla="*/ 4561288 h 5973007"/>
              <a:gd name="connsiteX14833" fmla="*/ 1231696 w 6884782"/>
              <a:gd name="connsiteY14833" fmla="*/ 4560565 h 5973007"/>
              <a:gd name="connsiteX14834" fmla="*/ 1240061 w 6884782"/>
              <a:gd name="connsiteY14834" fmla="*/ 4551685 h 5973007"/>
              <a:gd name="connsiteX14835" fmla="*/ 5958192 w 6884782"/>
              <a:gd name="connsiteY14835" fmla="*/ 4550361 h 5973007"/>
              <a:gd name="connsiteX14836" fmla="*/ 5958967 w 6884782"/>
              <a:gd name="connsiteY14836" fmla="*/ 4550361 h 5973007"/>
              <a:gd name="connsiteX14837" fmla="*/ 5959277 w 6884782"/>
              <a:gd name="connsiteY14837" fmla="*/ 4555936 h 5973007"/>
              <a:gd name="connsiteX14838" fmla="*/ 5958812 w 6884782"/>
              <a:gd name="connsiteY14838" fmla="*/ 4560893 h 5973007"/>
              <a:gd name="connsiteX14839" fmla="*/ 5960361 w 6884782"/>
              <a:gd name="connsiteY14839" fmla="*/ 4560686 h 5973007"/>
              <a:gd name="connsiteX14840" fmla="*/ 5977554 w 6884782"/>
              <a:gd name="connsiteY14840" fmla="*/ 4561512 h 5973007"/>
              <a:gd name="connsiteX14841" fmla="*/ 5959432 w 6884782"/>
              <a:gd name="connsiteY14841" fmla="*/ 4571425 h 5973007"/>
              <a:gd name="connsiteX14842" fmla="*/ 5954320 w 6884782"/>
              <a:gd name="connsiteY14842" fmla="*/ 4571528 h 5973007"/>
              <a:gd name="connsiteX14843" fmla="*/ 5943322 w 6884782"/>
              <a:gd name="connsiteY14843" fmla="*/ 4562751 h 5973007"/>
              <a:gd name="connsiteX14844" fmla="*/ 5955714 w 6884782"/>
              <a:gd name="connsiteY14844" fmla="*/ 4561202 h 5973007"/>
              <a:gd name="connsiteX14845" fmla="*/ 5955404 w 6884782"/>
              <a:gd name="connsiteY14845" fmla="*/ 4561202 h 5973007"/>
              <a:gd name="connsiteX14846" fmla="*/ 5954785 w 6884782"/>
              <a:gd name="connsiteY14846" fmla="*/ 4556763 h 5973007"/>
              <a:gd name="connsiteX14847" fmla="*/ 5957728 w 6884782"/>
              <a:gd name="connsiteY14847" fmla="*/ 4553045 h 5973007"/>
              <a:gd name="connsiteX14848" fmla="*/ 5958192 w 6884782"/>
              <a:gd name="connsiteY14848" fmla="*/ 4550361 h 5973007"/>
              <a:gd name="connsiteX14849" fmla="*/ 1582847 w 6884782"/>
              <a:gd name="connsiteY14849" fmla="*/ 4550343 h 5973007"/>
              <a:gd name="connsiteX14850" fmla="*/ 1588113 w 6884782"/>
              <a:gd name="connsiteY14850" fmla="*/ 4554060 h 5973007"/>
              <a:gd name="connsiteX14851" fmla="*/ 1586874 w 6884782"/>
              <a:gd name="connsiteY14851" fmla="*/ 4554267 h 5973007"/>
              <a:gd name="connsiteX14852" fmla="*/ 1585635 w 6884782"/>
              <a:gd name="connsiteY14852" fmla="*/ 4553027 h 5973007"/>
              <a:gd name="connsiteX14853" fmla="*/ 1582847 w 6884782"/>
              <a:gd name="connsiteY14853" fmla="*/ 4550343 h 5973007"/>
              <a:gd name="connsiteX14854" fmla="*/ 6788746 w 6884782"/>
              <a:gd name="connsiteY14854" fmla="*/ 4550257 h 5973007"/>
              <a:gd name="connsiteX14855" fmla="*/ 6791380 w 6884782"/>
              <a:gd name="connsiteY14855" fmla="*/ 4550773 h 5973007"/>
              <a:gd name="connsiteX14856" fmla="*/ 6795561 w 6884782"/>
              <a:gd name="connsiteY14856" fmla="*/ 4554078 h 5973007"/>
              <a:gd name="connsiteX14857" fmla="*/ 6795872 w 6884782"/>
              <a:gd name="connsiteY14857" fmla="*/ 4553355 h 5973007"/>
              <a:gd name="connsiteX14858" fmla="*/ 6794632 w 6884782"/>
              <a:gd name="connsiteY14858" fmla="*/ 4558311 h 5973007"/>
              <a:gd name="connsiteX14859" fmla="*/ 6790140 w 6884782"/>
              <a:gd name="connsiteY14859" fmla="*/ 4559757 h 5973007"/>
              <a:gd name="connsiteX14860" fmla="*/ 6784719 w 6884782"/>
              <a:gd name="connsiteY14860" fmla="*/ 4554594 h 5973007"/>
              <a:gd name="connsiteX14861" fmla="*/ 6788746 w 6884782"/>
              <a:gd name="connsiteY14861" fmla="*/ 4550257 h 5973007"/>
              <a:gd name="connsiteX14862" fmla="*/ 1525686 w 6884782"/>
              <a:gd name="connsiteY14862" fmla="*/ 4550237 h 5973007"/>
              <a:gd name="connsiteX14863" fmla="*/ 1525690 w 6884782"/>
              <a:gd name="connsiteY14863" fmla="*/ 4550239 h 5973007"/>
              <a:gd name="connsiteX14864" fmla="*/ 1525225 w 6884782"/>
              <a:gd name="connsiteY14864" fmla="*/ 4550962 h 5973007"/>
              <a:gd name="connsiteX14865" fmla="*/ 1119397 w 6884782"/>
              <a:gd name="connsiteY14865" fmla="*/ 4549723 h 5973007"/>
              <a:gd name="connsiteX14866" fmla="*/ 1119552 w 6884782"/>
              <a:gd name="connsiteY14866" fmla="*/ 4550033 h 5973007"/>
              <a:gd name="connsiteX14867" fmla="*/ 1120791 w 6884782"/>
              <a:gd name="connsiteY14867" fmla="*/ 4550033 h 5973007"/>
              <a:gd name="connsiteX14868" fmla="*/ 1123269 w 6884782"/>
              <a:gd name="connsiteY14868" fmla="*/ 4551478 h 5973007"/>
              <a:gd name="connsiteX14869" fmla="*/ 1124198 w 6884782"/>
              <a:gd name="connsiteY14869" fmla="*/ 4553234 h 5973007"/>
              <a:gd name="connsiteX14870" fmla="*/ 1125438 w 6884782"/>
              <a:gd name="connsiteY14870" fmla="*/ 4555505 h 5973007"/>
              <a:gd name="connsiteX14871" fmla="*/ 1125438 w 6884782"/>
              <a:gd name="connsiteY14871" fmla="*/ 4555918 h 5973007"/>
              <a:gd name="connsiteX14872" fmla="*/ 1126522 w 6884782"/>
              <a:gd name="connsiteY14872" fmla="*/ 4556744 h 5973007"/>
              <a:gd name="connsiteX14873" fmla="*/ 1135041 w 6884782"/>
              <a:gd name="connsiteY14873" fmla="*/ 4560565 h 5973007"/>
              <a:gd name="connsiteX14874" fmla="*/ 1135816 w 6884782"/>
              <a:gd name="connsiteY14874" fmla="*/ 4559016 h 5973007"/>
              <a:gd name="connsiteX14875" fmla="*/ 1139378 w 6884782"/>
              <a:gd name="connsiteY14875" fmla="*/ 4556022 h 5973007"/>
              <a:gd name="connsiteX14876" fmla="*/ 1142941 w 6884782"/>
              <a:gd name="connsiteY14876" fmla="*/ 4563146 h 5973007"/>
              <a:gd name="connsiteX14877" fmla="*/ 1142011 w 6884782"/>
              <a:gd name="connsiteY14877" fmla="*/ 4564799 h 5973007"/>
              <a:gd name="connsiteX14878" fmla="*/ 1143406 w 6884782"/>
              <a:gd name="connsiteY14878" fmla="*/ 4566038 h 5973007"/>
              <a:gd name="connsiteX14879" fmla="*/ 1145574 w 6884782"/>
              <a:gd name="connsiteY14879" fmla="*/ 4569755 h 5973007"/>
              <a:gd name="connsiteX14880" fmla="*/ 1147278 w 6884782"/>
              <a:gd name="connsiteY14880" fmla="*/ 4577602 h 5973007"/>
              <a:gd name="connsiteX14881" fmla="*/ 1146349 w 6884782"/>
              <a:gd name="connsiteY14881" fmla="*/ 4581526 h 5973007"/>
              <a:gd name="connsiteX14882" fmla="*/ 1146659 w 6884782"/>
              <a:gd name="connsiteY14882" fmla="*/ 4581733 h 5973007"/>
              <a:gd name="connsiteX14883" fmla="*/ 1146039 w 6884782"/>
              <a:gd name="connsiteY14883" fmla="*/ 4587928 h 5973007"/>
              <a:gd name="connsiteX14884" fmla="*/ 1144025 w 6884782"/>
              <a:gd name="connsiteY14884" fmla="*/ 4586689 h 5973007"/>
              <a:gd name="connsiteX14885" fmla="*/ 1141857 w 6884782"/>
              <a:gd name="connsiteY14885" fmla="*/ 4589683 h 5973007"/>
              <a:gd name="connsiteX14886" fmla="*/ 1138914 w 6884782"/>
              <a:gd name="connsiteY14886" fmla="*/ 4591542 h 5973007"/>
              <a:gd name="connsiteX14887" fmla="*/ 1138139 w 6884782"/>
              <a:gd name="connsiteY14887" fmla="*/ 4593917 h 5973007"/>
              <a:gd name="connsiteX14888" fmla="*/ 1140463 w 6884782"/>
              <a:gd name="connsiteY14888" fmla="*/ 4593401 h 5973007"/>
              <a:gd name="connsiteX14889" fmla="*/ 1143406 w 6884782"/>
              <a:gd name="connsiteY14889" fmla="*/ 4594949 h 5973007"/>
              <a:gd name="connsiteX14890" fmla="*/ 1137830 w 6884782"/>
              <a:gd name="connsiteY14890" fmla="*/ 4601661 h 5973007"/>
              <a:gd name="connsiteX14891" fmla="*/ 1135351 w 6884782"/>
              <a:gd name="connsiteY14891" fmla="*/ 4598976 h 5973007"/>
              <a:gd name="connsiteX14892" fmla="*/ 1135971 w 6884782"/>
              <a:gd name="connsiteY14892" fmla="*/ 4597737 h 5973007"/>
              <a:gd name="connsiteX14893" fmla="*/ 1133183 w 6884782"/>
              <a:gd name="connsiteY14893" fmla="*/ 4601454 h 5973007"/>
              <a:gd name="connsiteX14894" fmla="*/ 1119861 w 6884782"/>
              <a:gd name="connsiteY14894" fmla="*/ 4606514 h 5973007"/>
              <a:gd name="connsiteX14895" fmla="*/ 1111807 w 6884782"/>
              <a:gd name="connsiteY14895" fmla="*/ 4603107 h 5973007"/>
              <a:gd name="connsiteX14896" fmla="*/ 1107625 w 6884782"/>
              <a:gd name="connsiteY14896" fmla="*/ 4597944 h 5973007"/>
              <a:gd name="connsiteX14897" fmla="*/ 1106075 w 6884782"/>
              <a:gd name="connsiteY14897" fmla="*/ 4593297 h 5973007"/>
              <a:gd name="connsiteX14898" fmla="*/ 1104681 w 6884782"/>
              <a:gd name="connsiteY14898" fmla="*/ 4592368 h 5973007"/>
              <a:gd name="connsiteX14899" fmla="*/ 1105456 w 6884782"/>
              <a:gd name="connsiteY14899" fmla="*/ 4591748 h 5973007"/>
              <a:gd name="connsiteX14900" fmla="*/ 1104062 w 6884782"/>
              <a:gd name="connsiteY14900" fmla="*/ 4587721 h 5973007"/>
              <a:gd name="connsiteX14901" fmla="*/ 1099725 w 6884782"/>
              <a:gd name="connsiteY14901" fmla="*/ 4575847 h 5973007"/>
              <a:gd name="connsiteX14902" fmla="*/ 1101119 w 6884782"/>
              <a:gd name="connsiteY14902" fmla="*/ 4575950 h 5973007"/>
              <a:gd name="connsiteX14903" fmla="*/ 1100345 w 6884782"/>
              <a:gd name="connsiteY14903" fmla="*/ 4575021 h 5973007"/>
              <a:gd name="connsiteX14904" fmla="*/ 1098330 w 6884782"/>
              <a:gd name="connsiteY14904" fmla="*/ 4570271 h 5973007"/>
              <a:gd name="connsiteX14905" fmla="*/ 1099260 w 6884782"/>
              <a:gd name="connsiteY14905" fmla="*/ 4567586 h 5973007"/>
              <a:gd name="connsiteX14906" fmla="*/ 1112117 w 6884782"/>
              <a:gd name="connsiteY14906" fmla="*/ 4566760 h 5973007"/>
              <a:gd name="connsiteX14907" fmla="*/ 1112891 w 6884782"/>
              <a:gd name="connsiteY14907" fmla="*/ 4567483 h 5973007"/>
              <a:gd name="connsiteX14908" fmla="*/ 1116763 w 6884782"/>
              <a:gd name="connsiteY14908" fmla="*/ 4557880 h 5973007"/>
              <a:gd name="connsiteX14909" fmla="*/ 1117693 w 6884782"/>
              <a:gd name="connsiteY14909" fmla="*/ 4555092 h 5973007"/>
              <a:gd name="connsiteX14910" fmla="*/ 1117074 w 6884782"/>
              <a:gd name="connsiteY14910" fmla="*/ 4554163 h 5973007"/>
              <a:gd name="connsiteX14911" fmla="*/ 1115524 w 6884782"/>
              <a:gd name="connsiteY14911" fmla="*/ 4551066 h 5973007"/>
              <a:gd name="connsiteX14912" fmla="*/ 1118622 w 6884782"/>
              <a:gd name="connsiteY14912" fmla="*/ 4549930 h 5973007"/>
              <a:gd name="connsiteX14913" fmla="*/ 1119242 w 6884782"/>
              <a:gd name="connsiteY14913" fmla="*/ 4550033 h 5973007"/>
              <a:gd name="connsiteX14914" fmla="*/ 1517016 w 6884782"/>
              <a:gd name="connsiteY14914" fmla="*/ 4549310 h 5973007"/>
              <a:gd name="connsiteX14915" fmla="*/ 1519184 w 6884782"/>
              <a:gd name="connsiteY14915" fmla="*/ 4550239 h 5973007"/>
              <a:gd name="connsiteX14916" fmla="*/ 1521043 w 6884782"/>
              <a:gd name="connsiteY14916" fmla="*/ 4550239 h 5973007"/>
              <a:gd name="connsiteX14917" fmla="*/ 1521972 w 6884782"/>
              <a:gd name="connsiteY14917" fmla="*/ 4552614 h 5973007"/>
              <a:gd name="connsiteX14918" fmla="*/ 1520114 w 6884782"/>
              <a:gd name="connsiteY14918" fmla="*/ 4552614 h 5973007"/>
              <a:gd name="connsiteX14919" fmla="*/ 1515002 w 6884782"/>
              <a:gd name="connsiteY14919" fmla="*/ 4551272 h 5973007"/>
              <a:gd name="connsiteX14920" fmla="*/ 1517016 w 6884782"/>
              <a:gd name="connsiteY14920" fmla="*/ 4549310 h 5973007"/>
              <a:gd name="connsiteX14921" fmla="*/ 872957 w 6884782"/>
              <a:gd name="connsiteY14921" fmla="*/ 4549310 h 5973007"/>
              <a:gd name="connsiteX14922" fmla="*/ 873732 w 6884782"/>
              <a:gd name="connsiteY14922" fmla="*/ 4549413 h 5973007"/>
              <a:gd name="connsiteX14923" fmla="*/ 872647 w 6884782"/>
              <a:gd name="connsiteY14923" fmla="*/ 4559842 h 5973007"/>
              <a:gd name="connsiteX14924" fmla="*/ 871253 w 6884782"/>
              <a:gd name="connsiteY14924" fmla="*/ 4560772 h 5973007"/>
              <a:gd name="connsiteX14925" fmla="*/ 869239 w 6884782"/>
              <a:gd name="connsiteY14925" fmla="*/ 4559739 h 5973007"/>
              <a:gd name="connsiteX14926" fmla="*/ 869084 w 6884782"/>
              <a:gd name="connsiteY14926" fmla="*/ 4555299 h 5973007"/>
              <a:gd name="connsiteX14927" fmla="*/ 872182 w 6884782"/>
              <a:gd name="connsiteY14927" fmla="*/ 4551995 h 5973007"/>
              <a:gd name="connsiteX14928" fmla="*/ 872957 w 6884782"/>
              <a:gd name="connsiteY14928" fmla="*/ 4549310 h 5973007"/>
              <a:gd name="connsiteX14929" fmla="*/ 5997536 w 6884782"/>
              <a:gd name="connsiteY14929" fmla="*/ 4549225 h 5973007"/>
              <a:gd name="connsiteX14930" fmla="*/ 6006520 w 6884782"/>
              <a:gd name="connsiteY14930" fmla="*/ 4550877 h 5973007"/>
              <a:gd name="connsiteX14931" fmla="*/ 6003887 w 6884782"/>
              <a:gd name="connsiteY14931" fmla="*/ 4562338 h 5973007"/>
              <a:gd name="connsiteX14932" fmla="*/ 6004352 w 6884782"/>
              <a:gd name="connsiteY14932" fmla="*/ 4563887 h 5973007"/>
              <a:gd name="connsiteX14933" fmla="*/ 6003887 w 6884782"/>
              <a:gd name="connsiteY14933" fmla="*/ 4566055 h 5973007"/>
              <a:gd name="connsiteX14934" fmla="*/ 6002957 w 6884782"/>
              <a:gd name="connsiteY14934" fmla="*/ 4566468 h 5973007"/>
              <a:gd name="connsiteX14935" fmla="*/ 6001409 w 6884782"/>
              <a:gd name="connsiteY14935" fmla="*/ 4573490 h 5973007"/>
              <a:gd name="connsiteX14936" fmla="*/ 5996607 w 6884782"/>
              <a:gd name="connsiteY14936" fmla="*/ 4594038 h 5973007"/>
              <a:gd name="connsiteX14937" fmla="*/ 5997536 w 6884782"/>
              <a:gd name="connsiteY14937" fmla="*/ 4549225 h 5973007"/>
              <a:gd name="connsiteX14938" fmla="*/ 6210402 w 6884782"/>
              <a:gd name="connsiteY14938" fmla="*/ 4547585 h 5973007"/>
              <a:gd name="connsiteX14939" fmla="*/ 6216405 w 6884782"/>
              <a:gd name="connsiteY14939" fmla="*/ 4547985 h 5973007"/>
              <a:gd name="connsiteX14940" fmla="*/ 6216250 w 6884782"/>
              <a:gd name="connsiteY14940" fmla="*/ 4550567 h 5973007"/>
              <a:gd name="connsiteX14941" fmla="*/ 6209899 w 6884782"/>
              <a:gd name="connsiteY14941" fmla="*/ 4554594 h 5973007"/>
              <a:gd name="connsiteX14942" fmla="*/ 6207885 w 6884782"/>
              <a:gd name="connsiteY14942" fmla="*/ 4553458 h 5973007"/>
              <a:gd name="connsiteX14943" fmla="*/ 6210402 w 6884782"/>
              <a:gd name="connsiteY14943" fmla="*/ 4547585 h 5973007"/>
              <a:gd name="connsiteX14944" fmla="*/ 975034 w 6884782"/>
              <a:gd name="connsiteY14944" fmla="*/ 4547245 h 5973007"/>
              <a:gd name="connsiteX14945" fmla="*/ 976892 w 6884782"/>
              <a:gd name="connsiteY14945" fmla="*/ 4547245 h 5973007"/>
              <a:gd name="connsiteX14946" fmla="*/ 976582 w 6884782"/>
              <a:gd name="connsiteY14946" fmla="*/ 4547968 h 5973007"/>
              <a:gd name="connsiteX14947" fmla="*/ 975188 w 6884782"/>
              <a:gd name="connsiteY14947" fmla="*/ 4547968 h 5973007"/>
              <a:gd name="connsiteX14948" fmla="*/ 975034 w 6884782"/>
              <a:gd name="connsiteY14948" fmla="*/ 4547245 h 5973007"/>
              <a:gd name="connsiteX14949" fmla="*/ 972710 w 6884782"/>
              <a:gd name="connsiteY14949" fmla="*/ 4547038 h 5973007"/>
              <a:gd name="connsiteX14950" fmla="*/ 973949 w 6884782"/>
              <a:gd name="connsiteY14950" fmla="*/ 4547865 h 5973007"/>
              <a:gd name="connsiteX14951" fmla="*/ 974569 w 6884782"/>
              <a:gd name="connsiteY14951" fmla="*/ 4548174 h 5973007"/>
              <a:gd name="connsiteX14952" fmla="*/ 974259 w 6884782"/>
              <a:gd name="connsiteY14952" fmla="*/ 4548277 h 5973007"/>
              <a:gd name="connsiteX14953" fmla="*/ 975808 w 6884782"/>
              <a:gd name="connsiteY14953" fmla="*/ 4550033 h 5973007"/>
              <a:gd name="connsiteX14954" fmla="*/ 977512 w 6884782"/>
              <a:gd name="connsiteY14954" fmla="*/ 4550446 h 5973007"/>
              <a:gd name="connsiteX14955" fmla="*/ 980455 w 6884782"/>
              <a:gd name="connsiteY14955" fmla="*/ 4556744 h 5973007"/>
              <a:gd name="connsiteX14956" fmla="*/ 977202 w 6884782"/>
              <a:gd name="connsiteY14956" fmla="*/ 4553750 h 5973007"/>
              <a:gd name="connsiteX14957" fmla="*/ 975653 w 6884782"/>
              <a:gd name="connsiteY14957" fmla="*/ 4551788 h 5973007"/>
              <a:gd name="connsiteX14958" fmla="*/ 974104 w 6884782"/>
              <a:gd name="connsiteY14958" fmla="*/ 4550652 h 5973007"/>
              <a:gd name="connsiteX14959" fmla="*/ 973175 w 6884782"/>
              <a:gd name="connsiteY14959" fmla="*/ 4549000 h 5973007"/>
              <a:gd name="connsiteX14960" fmla="*/ 973019 w 6884782"/>
              <a:gd name="connsiteY14960" fmla="*/ 4549104 h 5973007"/>
              <a:gd name="connsiteX14961" fmla="*/ 971316 w 6884782"/>
              <a:gd name="connsiteY14961" fmla="*/ 4549413 h 5973007"/>
              <a:gd name="connsiteX14962" fmla="*/ 970386 w 6884782"/>
              <a:gd name="connsiteY14962" fmla="*/ 4548897 h 5973007"/>
              <a:gd name="connsiteX14963" fmla="*/ 969767 w 6884782"/>
              <a:gd name="connsiteY14963" fmla="*/ 4547348 h 5973007"/>
              <a:gd name="connsiteX14964" fmla="*/ 972400 w 6884782"/>
              <a:gd name="connsiteY14964" fmla="*/ 4547348 h 5973007"/>
              <a:gd name="connsiteX14965" fmla="*/ 972710 w 6884782"/>
              <a:gd name="connsiteY14965" fmla="*/ 4547451 h 5973007"/>
              <a:gd name="connsiteX14966" fmla="*/ 1113046 w 6884782"/>
              <a:gd name="connsiteY14966" fmla="*/ 4546315 h 5973007"/>
              <a:gd name="connsiteX14967" fmla="*/ 1113046 w 6884782"/>
              <a:gd name="connsiteY14967" fmla="*/ 4547142 h 5973007"/>
              <a:gd name="connsiteX14968" fmla="*/ 1113820 w 6884782"/>
              <a:gd name="connsiteY14968" fmla="*/ 4550859 h 5973007"/>
              <a:gd name="connsiteX14969" fmla="*/ 1111962 w 6884782"/>
              <a:gd name="connsiteY14969" fmla="*/ 4551272 h 5973007"/>
              <a:gd name="connsiteX14970" fmla="*/ 1109638 w 6884782"/>
              <a:gd name="connsiteY14970" fmla="*/ 4550343 h 5973007"/>
              <a:gd name="connsiteX14971" fmla="*/ 1110413 w 6884782"/>
              <a:gd name="connsiteY14971" fmla="*/ 4546832 h 5973007"/>
              <a:gd name="connsiteX14972" fmla="*/ 1113046 w 6884782"/>
              <a:gd name="connsiteY14972" fmla="*/ 4546315 h 5973007"/>
              <a:gd name="connsiteX14973" fmla="*/ 5737465 w 6884782"/>
              <a:gd name="connsiteY14973" fmla="*/ 4545817 h 5973007"/>
              <a:gd name="connsiteX14974" fmla="*/ 5753265 w 6884782"/>
              <a:gd name="connsiteY14974" fmla="*/ 4550257 h 5973007"/>
              <a:gd name="connsiteX14975" fmla="*/ 5752645 w 6884782"/>
              <a:gd name="connsiteY14975" fmla="*/ 4552116 h 5973007"/>
              <a:gd name="connsiteX14976" fmla="*/ 5750476 w 6884782"/>
              <a:gd name="connsiteY14976" fmla="*/ 4552839 h 5973007"/>
              <a:gd name="connsiteX14977" fmla="*/ 5742267 w 6884782"/>
              <a:gd name="connsiteY14977" fmla="*/ 4550877 h 5973007"/>
              <a:gd name="connsiteX14978" fmla="*/ 5740563 w 6884782"/>
              <a:gd name="connsiteY14978" fmla="*/ 4550154 h 5973007"/>
              <a:gd name="connsiteX14979" fmla="*/ 5738705 w 6884782"/>
              <a:gd name="connsiteY14979" fmla="*/ 4549328 h 5973007"/>
              <a:gd name="connsiteX14980" fmla="*/ 5737465 w 6884782"/>
              <a:gd name="connsiteY14980" fmla="*/ 4545817 h 5973007"/>
              <a:gd name="connsiteX14981" fmla="*/ 813477 w 6884782"/>
              <a:gd name="connsiteY14981" fmla="*/ 4545800 h 5973007"/>
              <a:gd name="connsiteX14982" fmla="*/ 822460 w 6884782"/>
              <a:gd name="connsiteY14982" fmla="*/ 4552408 h 5973007"/>
              <a:gd name="connsiteX14983" fmla="*/ 819672 w 6884782"/>
              <a:gd name="connsiteY14983" fmla="*/ 4555196 h 5973007"/>
              <a:gd name="connsiteX14984" fmla="*/ 820292 w 6884782"/>
              <a:gd name="connsiteY14984" fmla="*/ 4555196 h 5973007"/>
              <a:gd name="connsiteX14985" fmla="*/ 817039 w 6884782"/>
              <a:gd name="connsiteY14985" fmla="*/ 4559533 h 5973007"/>
              <a:gd name="connsiteX14986" fmla="*/ 816729 w 6884782"/>
              <a:gd name="connsiteY14986" fmla="*/ 4560772 h 5973007"/>
              <a:gd name="connsiteX14987" fmla="*/ 815180 w 6884782"/>
              <a:gd name="connsiteY14987" fmla="*/ 4564799 h 5973007"/>
              <a:gd name="connsiteX14988" fmla="*/ 811308 w 6884782"/>
              <a:gd name="connsiteY14988" fmla="*/ 4563353 h 5973007"/>
              <a:gd name="connsiteX14989" fmla="*/ 810533 w 6884782"/>
              <a:gd name="connsiteY14989" fmla="*/ 4563869 h 5973007"/>
              <a:gd name="connsiteX14990" fmla="*/ 799381 w 6884782"/>
              <a:gd name="connsiteY14990" fmla="*/ 4565728 h 5973007"/>
              <a:gd name="connsiteX14991" fmla="*/ 803563 w 6884782"/>
              <a:gd name="connsiteY14991" fmla="*/ 4560152 h 5973007"/>
              <a:gd name="connsiteX14992" fmla="*/ 808055 w 6884782"/>
              <a:gd name="connsiteY14992" fmla="*/ 4557157 h 5973007"/>
              <a:gd name="connsiteX14993" fmla="*/ 807745 w 6884782"/>
              <a:gd name="connsiteY14993" fmla="*/ 4554576 h 5973007"/>
              <a:gd name="connsiteX14994" fmla="*/ 805267 w 6884782"/>
              <a:gd name="connsiteY14994" fmla="*/ 4558397 h 5973007"/>
              <a:gd name="connsiteX14995" fmla="*/ 789312 w 6884782"/>
              <a:gd name="connsiteY14995" fmla="*/ 4564385 h 5973007"/>
              <a:gd name="connsiteX14996" fmla="*/ 796438 w 6884782"/>
              <a:gd name="connsiteY14996" fmla="*/ 4555196 h 5973007"/>
              <a:gd name="connsiteX14997" fmla="*/ 807590 w 6884782"/>
              <a:gd name="connsiteY14997" fmla="*/ 4553027 h 5973007"/>
              <a:gd name="connsiteX14998" fmla="*/ 807590 w 6884782"/>
              <a:gd name="connsiteY14998" fmla="*/ 4550446 h 5973007"/>
              <a:gd name="connsiteX14999" fmla="*/ 811153 w 6884782"/>
              <a:gd name="connsiteY14999" fmla="*/ 4549723 h 5973007"/>
              <a:gd name="connsiteX15000" fmla="*/ 813012 w 6884782"/>
              <a:gd name="connsiteY15000" fmla="*/ 4551066 h 5973007"/>
              <a:gd name="connsiteX15001" fmla="*/ 1505553 w 6884782"/>
              <a:gd name="connsiteY15001" fmla="*/ 4545696 h 5973007"/>
              <a:gd name="connsiteX15002" fmla="*/ 1510665 w 6884782"/>
              <a:gd name="connsiteY15002" fmla="*/ 4551582 h 5973007"/>
              <a:gd name="connsiteX15003" fmla="*/ 1507412 w 6884782"/>
              <a:gd name="connsiteY15003" fmla="*/ 4553131 h 5973007"/>
              <a:gd name="connsiteX15004" fmla="*/ 1501526 w 6884782"/>
              <a:gd name="connsiteY15004" fmla="*/ 4549000 h 5973007"/>
              <a:gd name="connsiteX15005" fmla="*/ 1501371 w 6884782"/>
              <a:gd name="connsiteY15005" fmla="*/ 4546832 h 5973007"/>
              <a:gd name="connsiteX15006" fmla="*/ 1505553 w 6884782"/>
              <a:gd name="connsiteY15006" fmla="*/ 4545696 h 5973007"/>
              <a:gd name="connsiteX15007" fmla="*/ 979061 w 6884782"/>
              <a:gd name="connsiteY15007" fmla="*/ 4545593 h 5973007"/>
              <a:gd name="connsiteX15008" fmla="*/ 980919 w 6884782"/>
              <a:gd name="connsiteY15008" fmla="*/ 4545593 h 5973007"/>
              <a:gd name="connsiteX15009" fmla="*/ 980300 w 6884782"/>
              <a:gd name="connsiteY15009" fmla="*/ 4546625 h 5973007"/>
              <a:gd name="connsiteX15010" fmla="*/ 979061 w 6884782"/>
              <a:gd name="connsiteY15010" fmla="*/ 4545593 h 5973007"/>
              <a:gd name="connsiteX15011" fmla="*/ 6498625 w 6884782"/>
              <a:gd name="connsiteY15011" fmla="*/ 4545507 h 5973007"/>
              <a:gd name="connsiteX15012" fmla="*/ 6494753 w 6884782"/>
              <a:gd name="connsiteY15012" fmla="*/ 4546850 h 5973007"/>
              <a:gd name="connsiteX15013" fmla="*/ 6497386 w 6884782"/>
              <a:gd name="connsiteY15013" fmla="*/ 4547572 h 5973007"/>
              <a:gd name="connsiteX15014" fmla="*/ 6497696 w 6884782"/>
              <a:gd name="connsiteY15014" fmla="*/ 4547366 h 5973007"/>
              <a:gd name="connsiteX15015" fmla="*/ 6497696 w 6884782"/>
              <a:gd name="connsiteY15015" fmla="*/ 4547263 h 5973007"/>
              <a:gd name="connsiteX15016" fmla="*/ 6112934 w 6884782"/>
              <a:gd name="connsiteY15016" fmla="*/ 4544888 h 5973007"/>
              <a:gd name="connsiteX15017" fmla="*/ 6115567 w 6884782"/>
              <a:gd name="connsiteY15017" fmla="*/ 4545817 h 5973007"/>
              <a:gd name="connsiteX15018" fmla="*/ 6116032 w 6884782"/>
              <a:gd name="connsiteY15018" fmla="*/ 4545507 h 5973007"/>
              <a:gd name="connsiteX15019" fmla="*/ 6122382 w 6884782"/>
              <a:gd name="connsiteY15019" fmla="*/ 4550773 h 5973007"/>
              <a:gd name="connsiteX15020" fmla="*/ 6118665 w 6884782"/>
              <a:gd name="connsiteY15020" fmla="*/ 4555213 h 5973007"/>
              <a:gd name="connsiteX15021" fmla="*/ 6118046 w 6884782"/>
              <a:gd name="connsiteY15021" fmla="*/ 4554801 h 5973007"/>
              <a:gd name="connsiteX15022" fmla="*/ 6117581 w 6884782"/>
              <a:gd name="connsiteY15022" fmla="*/ 4555936 h 5973007"/>
              <a:gd name="connsiteX15023" fmla="*/ 6112779 w 6884782"/>
              <a:gd name="connsiteY15023" fmla="*/ 4560376 h 5973007"/>
              <a:gd name="connsiteX15024" fmla="*/ 6112934 w 6884782"/>
              <a:gd name="connsiteY15024" fmla="*/ 4544888 h 5973007"/>
              <a:gd name="connsiteX15025" fmla="*/ 1354685 w 6884782"/>
              <a:gd name="connsiteY15025" fmla="*/ 4543424 h 5973007"/>
              <a:gd name="connsiteX15026" fmla="*/ 1359331 w 6884782"/>
              <a:gd name="connsiteY15026" fmla="*/ 4546935 h 5973007"/>
              <a:gd name="connsiteX15027" fmla="*/ 1361965 w 6884782"/>
              <a:gd name="connsiteY15027" fmla="*/ 4546832 h 5973007"/>
              <a:gd name="connsiteX15028" fmla="*/ 1364907 w 6884782"/>
              <a:gd name="connsiteY15028" fmla="*/ 4551066 h 5973007"/>
              <a:gd name="connsiteX15029" fmla="*/ 1363513 w 6884782"/>
              <a:gd name="connsiteY15029" fmla="*/ 4552717 h 5973007"/>
              <a:gd name="connsiteX15030" fmla="*/ 1361035 w 6884782"/>
              <a:gd name="connsiteY15030" fmla="*/ 4552717 h 5973007"/>
              <a:gd name="connsiteX15031" fmla="*/ 1357472 w 6884782"/>
              <a:gd name="connsiteY15031" fmla="*/ 4546832 h 5973007"/>
              <a:gd name="connsiteX15032" fmla="*/ 1354685 w 6884782"/>
              <a:gd name="connsiteY15032" fmla="*/ 4543424 h 5973007"/>
              <a:gd name="connsiteX15033" fmla="*/ 5785638 w 6884782"/>
              <a:gd name="connsiteY15033" fmla="*/ 4542926 h 5973007"/>
              <a:gd name="connsiteX15034" fmla="*/ 5795087 w 6884782"/>
              <a:gd name="connsiteY15034" fmla="*/ 4547263 h 5973007"/>
              <a:gd name="connsiteX15035" fmla="*/ 5790749 w 6884782"/>
              <a:gd name="connsiteY15035" fmla="*/ 4551393 h 5973007"/>
              <a:gd name="connsiteX15036" fmla="*/ 5785173 w 6884782"/>
              <a:gd name="connsiteY15036" fmla="*/ 4549328 h 5973007"/>
              <a:gd name="connsiteX15037" fmla="*/ 5785638 w 6884782"/>
              <a:gd name="connsiteY15037" fmla="*/ 4542926 h 5973007"/>
              <a:gd name="connsiteX15038" fmla="*/ 994550 w 6884782"/>
              <a:gd name="connsiteY15038" fmla="*/ 4542805 h 5973007"/>
              <a:gd name="connsiteX15039" fmla="*/ 981074 w 6884782"/>
              <a:gd name="connsiteY15039" fmla="*/ 4545696 h 5973007"/>
              <a:gd name="connsiteX15040" fmla="*/ 994550 w 6884782"/>
              <a:gd name="connsiteY15040" fmla="*/ 4542805 h 5973007"/>
              <a:gd name="connsiteX15041" fmla="*/ 771035 w 6884782"/>
              <a:gd name="connsiteY15041" fmla="*/ 4542702 h 5973007"/>
              <a:gd name="connsiteX15042" fmla="*/ 776301 w 6884782"/>
              <a:gd name="connsiteY15042" fmla="*/ 4544560 h 5973007"/>
              <a:gd name="connsiteX15043" fmla="*/ 776766 w 6884782"/>
              <a:gd name="connsiteY15043" fmla="*/ 4544044 h 5973007"/>
              <a:gd name="connsiteX15044" fmla="*/ 782497 w 6884782"/>
              <a:gd name="connsiteY15044" fmla="*/ 4550756 h 5973007"/>
              <a:gd name="connsiteX15045" fmla="*/ 782033 w 6884782"/>
              <a:gd name="connsiteY15045" fmla="*/ 4552821 h 5973007"/>
              <a:gd name="connsiteX15046" fmla="*/ 782188 w 6884782"/>
              <a:gd name="connsiteY15046" fmla="*/ 4553027 h 5973007"/>
              <a:gd name="connsiteX15047" fmla="*/ 778315 w 6884782"/>
              <a:gd name="connsiteY15047" fmla="*/ 4556228 h 5973007"/>
              <a:gd name="connsiteX15048" fmla="*/ 774753 w 6884782"/>
              <a:gd name="connsiteY15048" fmla="*/ 4555712 h 5973007"/>
              <a:gd name="connsiteX15049" fmla="*/ 771809 w 6884782"/>
              <a:gd name="connsiteY15049" fmla="*/ 4554060 h 5973007"/>
              <a:gd name="connsiteX15050" fmla="*/ 770260 w 6884782"/>
              <a:gd name="connsiteY15050" fmla="*/ 4550756 h 5973007"/>
              <a:gd name="connsiteX15051" fmla="*/ 767627 w 6884782"/>
              <a:gd name="connsiteY15051" fmla="*/ 4545696 h 5973007"/>
              <a:gd name="connsiteX15052" fmla="*/ 771035 w 6884782"/>
              <a:gd name="connsiteY15052" fmla="*/ 4542702 h 5973007"/>
              <a:gd name="connsiteX15053" fmla="*/ 1352825 w 6884782"/>
              <a:gd name="connsiteY15053" fmla="*/ 4542495 h 5973007"/>
              <a:gd name="connsiteX15054" fmla="*/ 1354064 w 6884782"/>
              <a:gd name="connsiteY15054" fmla="*/ 4549723 h 5973007"/>
              <a:gd name="connsiteX15055" fmla="*/ 1349108 w 6884782"/>
              <a:gd name="connsiteY15055" fmla="*/ 4548071 h 5973007"/>
              <a:gd name="connsiteX15056" fmla="*/ 1347714 w 6884782"/>
              <a:gd name="connsiteY15056" fmla="*/ 4545180 h 5973007"/>
              <a:gd name="connsiteX15057" fmla="*/ 1349418 w 6884782"/>
              <a:gd name="connsiteY15057" fmla="*/ 4542805 h 5973007"/>
              <a:gd name="connsiteX15058" fmla="*/ 1352825 w 6884782"/>
              <a:gd name="connsiteY15058" fmla="*/ 4542495 h 5973007"/>
              <a:gd name="connsiteX15059" fmla="*/ 1419586 w 6884782"/>
              <a:gd name="connsiteY15059" fmla="*/ 4542185 h 5973007"/>
              <a:gd name="connsiteX15060" fmla="*/ 1422683 w 6884782"/>
              <a:gd name="connsiteY15060" fmla="*/ 4544560 h 5973007"/>
              <a:gd name="connsiteX15061" fmla="*/ 1423613 w 6884782"/>
              <a:gd name="connsiteY15061" fmla="*/ 4543528 h 5973007"/>
              <a:gd name="connsiteX15062" fmla="*/ 1427795 w 6884782"/>
              <a:gd name="connsiteY15062" fmla="*/ 4543528 h 5973007"/>
              <a:gd name="connsiteX15063" fmla="*/ 1423923 w 6884782"/>
              <a:gd name="connsiteY15063" fmla="*/ 4548897 h 5973007"/>
              <a:gd name="connsiteX15064" fmla="*/ 1423768 w 6884782"/>
              <a:gd name="connsiteY15064" fmla="*/ 4548794 h 5973007"/>
              <a:gd name="connsiteX15065" fmla="*/ 1424078 w 6884782"/>
              <a:gd name="connsiteY15065" fmla="*/ 4550549 h 5973007"/>
              <a:gd name="connsiteX15066" fmla="*/ 1425627 w 6884782"/>
              <a:gd name="connsiteY15066" fmla="*/ 4551995 h 5973007"/>
              <a:gd name="connsiteX15067" fmla="*/ 1424852 w 6884782"/>
              <a:gd name="connsiteY15067" fmla="*/ 4554370 h 5973007"/>
              <a:gd name="connsiteX15068" fmla="*/ 1424388 w 6884782"/>
              <a:gd name="connsiteY15068" fmla="*/ 4554679 h 5973007"/>
              <a:gd name="connsiteX15069" fmla="*/ 1423304 w 6884782"/>
              <a:gd name="connsiteY15069" fmla="*/ 4556951 h 5973007"/>
              <a:gd name="connsiteX15070" fmla="*/ 1420670 w 6884782"/>
              <a:gd name="connsiteY15070" fmla="*/ 4554060 h 5973007"/>
              <a:gd name="connsiteX15071" fmla="*/ 1420360 w 6884782"/>
              <a:gd name="connsiteY15071" fmla="*/ 4550033 h 5973007"/>
              <a:gd name="connsiteX15072" fmla="*/ 1420360 w 6884782"/>
              <a:gd name="connsiteY15072" fmla="*/ 4547968 h 5973007"/>
              <a:gd name="connsiteX15073" fmla="*/ 1420205 w 6884782"/>
              <a:gd name="connsiteY15073" fmla="*/ 4547658 h 5973007"/>
              <a:gd name="connsiteX15074" fmla="*/ 1419121 w 6884782"/>
              <a:gd name="connsiteY15074" fmla="*/ 4546006 h 5973007"/>
              <a:gd name="connsiteX15075" fmla="*/ 1419121 w 6884782"/>
              <a:gd name="connsiteY15075" fmla="*/ 4545800 h 5973007"/>
              <a:gd name="connsiteX15076" fmla="*/ 1419276 w 6884782"/>
              <a:gd name="connsiteY15076" fmla="*/ 4545490 h 5973007"/>
              <a:gd name="connsiteX15077" fmla="*/ 1418811 w 6884782"/>
              <a:gd name="connsiteY15077" fmla="*/ 4544560 h 5973007"/>
              <a:gd name="connsiteX15078" fmla="*/ 1419586 w 6884782"/>
              <a:gd name="connsiteY15078" fmla="*/ 4542185 h 5973007"/>
              <a:gd name="connsiteX15079" fmla="*/ 5865565 w 6884782"/>
              <a:gd name="connsiteY15079" fmla="*/ 4541997 h 5973007"/>
              <a:gd name="connsiteX15080" fmla="*/ 5877646 w 6884782"/>
              <a:gd name="connsiteY15080" fmla="*/ 4546437 h 5973007"/>
              <a:gd name="connsiteX15081" fmla="*/ 5875168 w 6884782"/>
              <a:gd name="connsiteY15081" fmla="*/ 4546746 h 5973007"/>
              <a:gd name="connsiteX15082" fmla="*/ 5865565 w 6884782"/>
              <a:gd name="connsiteY15082" fmla="*/ 4541997 h 5973007"/>
              <a:gd name="connsiteX15083" fmla="*/ 686462 w 6884782"/>
              <a:gd name="connsiteY15083" fmla="*/ 4541979 h 5973007"/>
              <a:gd name="connsiteX15084" fmla="*/ 690644 w 6884782"/>
              <a:gd name="connsiteY15084" fmla="*/ 4543528 h 5973007"/>
              <a:gd name="connsiteX15085" fmla="*/ 691264 w 6884782"/>
              <a:gd name="connsiteY15085" fmla="*/ 4546212 h 5973007"/>
              <a:gd name="connsiteX15086" fmla="*/ 690179 w 6884782"/>
              <a:gd name="connsiteY15086" fmla="*/ 4547142 h 5973007"/>
              <a:gd name="connsiteX15087" fmla="*/ 688630 w 6884782"/>
              <a:gd name="connsiteY15087" fmla="*/ 4546625 h 5973007"/>
              <a:gd name="connsiteX15088" fmla="*/ 686307 w 6884782"/>
              <a:gd name="connsiteY15088" fmla="*/ 4545386 h 5973007"/>
              <a:gd name="connsiteX15089" fmla="*/ 685997 w 6884782"/>
              <a:gd name="connsiteY15089" fmla="*/ 4543941 h 5973007"/>
              <a:gd name="connsiteX15090" fmla="*/ 686462 w 6884782"/>
              <a:gd name="connsiteY15090" fmla="*/ 4541979 h 5973007"/>
              <a:gd name="connsiteX15091" fmla="*/ 1522747 w 6884782"/>
              <a:gd name="connsiteY15091" fmla="*/ 4541772 h 5973007"/>
              <a:gd name="connsiteX15092" fmla="*/ 1526619 w 6884782"/>
              <a:gd name="connsiteY15092" fmla="*/ 4543941 h 5973007"/>
              <a:gd name="connsiteX15093" fmla="*/ 1527394 w 6884782"/>
              <a:gd name="connsiteY15093" fmla="*/ 4547555 h 5973007"/>
              <a:gd name="connsiteX15094" fmla="*/ 1525686 w 6884782"/>
              <a:gd name="connsiteY15094" fmla="*/ 4550237 h 5973007"/>
              <a:gd name="connsiteX15095" fmla="*/ 1524140 w 6884782"/>
              <a:gd name="connsiteY15095" fmla="*/ 4549310 h 5973007"/>
              <a:gd name="connsiteX15096" fmla="*/ 1523676 w 6884782"/>
              <a:gd name="connsiteY15096" fmla="*/ 4550033 h 5973007"/>
              <a:gd name="connsiteX15097" fmla="*/ 1522592 w 6884782"/>
              <a:gd name="connsiteY15097" fmla="*/ 4548484 h 5973007"/>
              <a:gd name="connsiteX15098" fmla="*/ 1522747 w 6884782"/>
              <a:gd name="connsiteY15098" fmla="*/ 4541772 h 5973007"/>
              <a:gd name="connsiteX15099" fmla="*/ 5773343 w 6884782"/>
              <a:gd name="connsiteY15099" fmla="*/ 4541196 h 5973007"/>
              <a:gd name="connsiteX15100" fmla="*/ 5780216 w 6884782"/>
              <a:gd name="connsiteY15100" fmla="*/ 4548502 h 5973007"/>
              <a:gd name="connsiteX15101" fmla="*/ 5778513 w 6884782"/>
              <a:gd name="connsiteY15101" fmla="*/ 4552735 h 5973007"/>
              <a:gd name="connsiteX15102" fmla="*/ 5773401 w 6884782"/>
              <a:gd name="connsiteY15102" fmla="*/ 4553148 h 5973007"/>
              <a:gd name="connsiteX15103" fmla="*/ 5769219 w 6884782"/>
              <a:gd name="connsiteY15103" fmla="*/ 4553252 h 5973007"/>
              <a:gd name="connsiteX15104" fmla="*/ 5760545 w 6884782"/>
              <a:gd name="connsiteY15104" fmla="*/ 4545817 h 5973007"/>
              <a:gd name="connsiteX15105" fmla="*/ 5773343 w 6884782"/>
              <a:gd name="connsiteY15105" fmla="*/ 4541196 h 5973007"/>
              <a:gd name="connsiteX15106" fmla="*/ 6468731 w 6884782"/>
              <a:gd name="connsiteY15106" fmla="*/ 4541067 h 5973007"/>
              <a:gd name="connsiteX15107" fmla="*/ 6466872 w 6884782"/>
              <a:gd name="connsiteY15107" fmla="*/ 4541790 h 5973007"/>
              <a:gd name="connsiteX15108" fmla="*/ 6466252 w 6884782"/>
              <a:gd name="connsiteY15108" fmla="*/ 4546437 h 5973007"/>
              <a:gd name="connsiteX15109" fmla="*/ 6461141 w 6884782"/>
              <a:gd name="connsiteY15109" fmla="*/ 4550773 h 5973007"/>
              <a:gd name="connsiteX15110" fmla="*/ 6459902 w 6884782"/>
              <a:gd name="connsiteY15110" fmla="*/ 4545507 h 5973007"/>
              <a:gd name="connsiteX15111" fmla="*/ 6460676 w 6884782"/>
              <a:gd name="connsiteY15111" fmla="*/ 4542203 h 5973007"/>
              <a:gd name="connsiteX15112" fmla="*/ 6460366 w 6884782"/>
              <a:gd name="connsiteY15112" fmla="*/ 4542203 h 5973007"/>
              <a:gd name="connsiteX15113" fmla="*/ 6458043 w 6884782"/>
              <a:gd name="connsiteY15113" fmla="*/ 4542513 h 5973007"/>
              <a:gd name="connsiteX15114" fmla="*/ 6458972 w 6884782"/>
              <a:gd name="connsiteY15114" fmla="*/ 4542823 h 5973007"/>
              <a:gd name="connsiteX15115" fmla="*/ 6454170 w 6884782"/>
              <a:gd name="connsiteY15115" fmla="*/ 4547056 h 5973007"/>
              <a:gd name="connsiteX15116" fmla="*/ 6457733 w 6884782"/>
              <a:gd name="connsiteY15116" fmla="*/ 4548502 h 5973007"/>
              <a:gd name="connsiteX15117" fmla="*/ 6459747 w 6884782"/>
              <a:gd name="connsiteY15117" fmla="*/ 4550980 h 5973007"/>
              <a:gd name="connsiteX15118" fmla="*/ 6456339 w 6884782"/>
              <a:gd name="connsiteY15118" fmla="*/ 4553252 h 5973007"/>
              <a:gd name="connsiteX15119" fmla="*/ 6452931 w 6884782"/>
              <a:gd name="connsiteY15119" fmla="*/ 4551909 h 5973007"/>
              <a:gd name="connsiteX15120" fmla="*/ 6451537 w 6884782"/>
              <a:gd name="connsiteY15120" fmla="*/ 4549328 h 5973007"/>
              <a:gd name="connsiteX15121" fmla="*/ 6449678 w 6884782"/>
              <a:gd name="connsiteY15121" fmla="*/ 4551083 h 5973007"/>
              <a:gd name="connsiteX15122" fmla="*/ 6440695 w 6884782"/>
              <a:gd name="connsiteY15122" fmla="*/ 4558001 h 5973007"/>
              <a:gd name="connsiteX15123" fmla="*/ 6434963 w 6884782"/>
              <a:gd name="connsiteY15123" fmla="*/ 4561719 h 5973007"/>
              <a:gd name="connsiteX15124" fmla="*/ 6436048 w 6884782"/>
              <a:gd name="connsiteY15124" fmla="*/ 4561822 h 5973007"/>
              <a:gd name="connsiteX15125" fmla="*/ 6447510 w 6884782"/>
              <a:gd name="connsiteY15125" fmla="*/ 4560067 h 5973007"/>
              <a:gd name="connsiteX15126" fmla="*/ 6477715 w 6884782"/>
              <a:gd name="connsiteY15126" fmla="*/ 4560376 h 5973007"/>
              <a:gd name="connsiteX15127" fmla="*/ 6484530 w 6884782"/>
              <a:gd name="connsiteY15127" fmla="*/ 4558828 h 5973007"/>
              <a:gd name="connsiteX15128" fmla="*/ 6484840 w 6884782"/>
              <a:gd name="connsiteY15128" fmla="*/ 4558621 h 5973007"/>
              <a:gd name="connsiteX15129" fmla="*/ 6492895 w 6884782"/>
              <a:gd name="connsiteY15129" fmla="*/ 4551600 h 5973007"/>
              <a:gd name="connsiteX15130" fmla="*/ 6490881 w 6884782"/>
              <a:gd name="connsiteY15130" fmla="*/ 4551703 h 5973007"/>
              <a:gd name="connsiteX15131" fmla="*/ 6487783 w 6884782"/>
              <a:gd name="connsiteY15131" fmla="*/ 4544991 h 5973007"/>
              <a:gd name="connsiteX15132" fmla="*/ 6487628 w 6884782"/>
              <a:gd name="connsiteY15132" fmla="*/ 4544991 h 5973007"/>
              <a:gd name="connsiteX15133" fmla="*/ 6484530 w 6884782"/>
              <a:gd name="connsiteY15133" fmla="*/ 4549844 h 5973007"/>
              <a:gd name="connsiteX15134" fmla="*/ 6478954 w 6884782"/>
              <a:gd name="connsiteY15134" fmla="*/ 4552116 h 5973007"/>
              <a:gd name="connsiteX15135" fmla="*/ 6478334 w 6884782"/>
              <a:gd name="connsiteY15135" fmla="*/ 4552322 h 5973007"/>
              <a:gd name="connsiteX15136" fmla="*/ 6477560 w 6884782"/>
              <a:gd name="connsiteY15136" fmla="*/ 4553045 h 5973007"/>
              <a:gd name="connsiteX15137" fmla="*/ 6477715 w 6884782"/>
              <a:gd name="connsiteY15137" fmla="*/ 4553355 h 5973007"/>
              <a:gd name="connsiteX15138" fmla="*/ 6477405 w 6884782"/>
              <a:gd name="connsiteY15138" fmla="*/ 4553252 h 5973007"/>
              <a:gd name="connsiteX15139" fmla="*/ 6475856 w 6884782"/>
              <a:gd name="connsiteY15139" fmla="*/ 4554697 h 5973007"/>
              <a:gd name="connsiteX15140" fmla="*/ 6474772 w 6884782"/>
              <a:gd name="connsiteY15140" fmla="*/ 4553458 h 5973007"/>
              <a:gd name="connsiteX15141" fmla="*/ 6472138 w 6884782"/>
              <a:gd name="connsiteY15141" fmla="*/ 4553148 h 5973007"/>
              <a:gd name="connsiteX15142" fmla="*/ 6471209 w 6884782"/>
              <a:gd name="connsiteY15142" fmla="*/ 4551083 h 5973007"/>
              <a:gd name="connsiteX15143" fmla="*/ 6473068 w 6884782"/>
              <a:gd name="connsiteY15143" fmla="*/ 4546643 h 5973007"/>
              <a:gd name="connsiteX15144" fmla="*/ 6468886 w 6884782"/>
              <a:gd name="connsiteY15144" fmla="*/ 4541274 h 5973007"/>
              <a:gd name="connsiteX15145" fmla="*/ 5950757 w 6884782"/>
              <a:gd name="connsiteY15145" fmla="*/ 4539518 h 5973007"/>
              <a:gd name="connsiteX15146" fmla="*/ 5946265 w 6884782"/>
              <a:gd name="connsiteY15146" fmla="*/ 4543339 h 5973007"/>
              <a:gd name="connsiteX15147" fmla="*/ 5945646 w 6884782"/>
              <a:gd name="connsiteY15147" fmla="*/ 4545920 h 5973007"/>
              <a:gd name="connsiteX15148" fmla="*/ 5940844 w 6884782"/>
              <a:gd name="connsiteY15148" fmla="*/ 4547882 h 5973007"/>
              <a:gd name="connsiteX15149" fmla="*/ 5940224 w 6884782"/>
              <a:gd name="connsiteY15149" fmla="*/ 4543649 h 5973007"/>
              <a:gd name="connsiteX15150" fmla="*/ 5946730 w 6884782"/>
              <a:gd name="connsiteY15150" fmla="*/ 4541480 h 5973007"/>
              <a:gd name="connsiteX15151" fmla="*/ 5950757 w 6884782"/>
              <a:gd name="connsiteY15151" fmla="*/ 4539518 h 5973007"/>
              <a:gd name="connsiteX15152" fmla="*/ 1007561 w 6884782"/>
              <a:gd name="connsiteY15152" fmla="*/ 4539294 h 5973007"/>
              <a:gd name="connsiteX15153" fmla="*/ 1001366 w 6884782"/>
              <a:gd name="connsiteY15153" fmla="*/ 4541876 h 5973007"/>
              <a:gd name="connsiteX15154" fmla="*/ 1000282 w 6884782"/>
              <a:gd name="connsiteY15154" fmla="*/ 4541463 h 5973007"/>
              <a:gd name="connsiteX15155" fmla="*/ 1007561 w 6884782"/>
              <a:gd name="connsiteY15155" fmla="*/ 4539294 h 5973007"/>
              <a:gd name="connsiteX15156" fmla="*/ 1802025 w 6884782"/>
              <a:gd name="connsiteY15156" fmla="*/ 4539191 h 5973007"/>
              <a:gd name="connsiteX15157" fmla="*/ 1798307 w 6884782"/>
              <a:gd name="connsiteY15157" fmla="*/ 4543941 h 5973007"/>
              <a:gd name="connsiteX15158" fmla="*/ 1798152 w 6884782"/>
              <a:gd name="connsiteY15158" fmla="*/ 4542495 h 5973007"/>
              <a:gd name="connsiteX15159" fmla="*/ 1799392 w 6884782"/>
              <a:gd name="connsiteY15159" fmla="*/ 4541463 h 5973007"/>
              <a:gd name="connsiteX15160" fmla="*/ 1802025 w 6884782"/>
              <a:gd name="connsiteY15160" fmla="*/ 4539191 h 5973007"/>
              <a:gd name="connsiteX15161" fmla="*/ 6467027 w 6884782"/>
              <a:gd name="connsiteY15161" fmla="*/ 4539105 h 5973007"/>
              <a:gd name="connsiteX15162" fmla="*/ 6466872 w 6884782"/>
              <a:gd name="connsiteY15162" fmla="*/ 4539209 h 5973007"/>
              <a:gd name="connsiteX15163" fmla="*/ 6467027 w 6884782"/>
              <a:gd name="connsiteY15163" fmla="*/ 4539828 h 5973007"/>
              <a:gd name="connsiteX15164" fmla="*/ 6467027 w 6884782"/>
              <a:gd name="connsiteY15164" fmla="*/ 4540035 h 5973007"/>
              <a:gd name="connsiteX15165" fmla="*/ 6467956 w 6884782"/>
              <a:gd name="connsiteY15165" fmla="*/ 4540035 h 5973007"/>
              <a:gd name="connsiteX15166" fmla="*/ 1629780 w 6884782"/>
              <a:gd name="connsiteY15166" fmla="*/ 4538984 h 5973007"/>
              <a:gd name="connsiteX15167" fmla="*/ 1628541 w 6884782"/>
              <a:gd name="connsiteY15167" fmla="*/ 4544664 h 5973007"/>
              <a:gd name="connsiteX15168" fmla="*/ 1621416 w 6884782"/>
              <a:gd name="connsiteY15168" fmla="*/ 4548174 h 5973007"/>
              <a:gd name="connsiteX15169" fmla="*/ 1619712 w 6884782"/>
              <a:gd name="connsiteY15169" fmla="*/ 4546935 h 5973007"/>
              <a:gd name="connsiteX15170" fmla="*/ 1620332 w 6884782"/>
              <a:gd name="connsiteY15170" fmla="*/ 4544147 h 5973007"/>
              <a:gd name="connsiteX15171" fmla="*/ 1624514 w 6884782"/>
              <a:gd name="connsiteY15171" fmla="*/ 4540533 h 5973007"/>
              <a:gd name="connsiteX15172" fmla="*/ 1629780 w 6884782"/>
              <a:gd name="connsiteY15172" fmla="*/ 4538984 h 5973007"/>
              <a:gd name="connsiteX15173" fmla="*/ 5822039 w 6884782"/>
              <a:gd name="connsiteY15173" fmla="*/ 4537970 h 5973007"/>
              <a:gd name="connsiteX15174" fmla="*/ 5831487 w 6884782"/>
              <a:gd name="connsiteY15174" fmla="*/ 4560376 h 5973007"/>
              <a:gd name="connsiteX15175" fmla="*/ 5826376 w 6884782"/>
              <a:gd name="connsiteY15175" fmla="*/ 4566159 h 5973007"/>
              <a:gd name="connsiteX15176" fmla="*/ 5815533 w 6884782"/>
              <a:gd name="connsiteY15176" fmla="*/ 4542823 h 5973007"/>
              <a:gd name="connsiteX15177" fmla="*/ 5822039 w 6884782"/>
              <a:gd name="connsiteY15177" fmla="*/ 4537970 h 5973007"/>
              <a:gd name="connsiteX15178" fmla="*/ 866606 w 6884782"/>
              <a:gd name="connsiteY15178" fmla="*/ 4537848 h 5973007"/>
              <a:gd name="connsiteX15179" fmla="*/ 861649 w 6884782"/>
              <a:gd name="connsiteY15179" fmla="*/ 4541153 h 5973007"/>
              <a:gd name="connsiteX15180" fmla="*/ 860875 w 6884782"/>
              <a:gd name="connsiteY15180" fmla="*/ 4543631 h 5973007"/>
              <a:gd name="connsiteX15181" fmla="*/ 859325 w 6884782"/>
              <a:gd name="connsiteY15181" fmla="*/ 4544250 h 5973007"/>
              <a:gd name="connsiteX15182" fmla="*/ 859636 w 6884782"/>
              <a:gd name="connsiteY15182" fmla="*/ 4545386 h 5973007"/>
              <a:gd name="connsiteX15183" fmla="*/ 860875 w 6884782"/>
              <a:gd name="connsiteY15183" fmla="*/ 4547761 h 5973007"/>
              <a:gd name="connsiteX15184" fmla="*/ 854679 w 6884782"/>
              <a:gd name="connsiteY15184" fmla="*/ 4549826 h 5973007"/>
              <a:gd name="connsiteX15185" fmla="*/ 852046 w 6884782"/>
              <a:gd name="connsiteY15185" fmla="*/ 4550239 h 5973007"/>
              <a:gd name="connsiteX15186" fmla="*/ 852046 w 6884782"/>
              <a:gd name="connsiteY15186" fmla="*/ 4550549 h 5973007"/>
              <a:gd name="connsiteX15187" fmla="*/ 849567 w 6884782"/>
              <a:gd name="connsiteY15187" fmla="*/ 4555196 h 5973007"/>
              <a:gd name="connsiteX15188" fmla="*/ 848174 w 6884782"/>
              <a:gd name="connsiteY15188" fmla="*/ 4556125 h 5973007"/>
              <a:gd name="connsiteX15189" fmla="*/ 846314 w 6884782"/>
              <a:gd name="connsiteY15189" fmla="*/ 4566141 h 5973007"/>
              <a:gd name="connsiteX15190" fmla="*/ 839035 w 6884782"/>
              <a:gd name="connsiteY15190" fmla="*/ 4564076 h 5973007"/>
              <a:gd name="connsiteX15191" fmla="*/ 839190 w 6884782"/>
              <a:gd name="connsiteY15191" fmla="*/ 4558087 h 5973007"/>
              <a:gd name="connsiteX15192" fmla="*/ 834543 w 6884782"/>
              <a:gd name="connsiteY15192" fmla="*/ 4554886 h 5973007"/>
              <a:gd name="connsiteX15193" fmla="*/ 848793 w 6884782"/>
              <a:gd name="connsiteY15193" fmla="*/ 4542908 h 5973007"/>
              <a:gd name="connsiteX15194" fmla="*/ 850497 w 6884782"/>
              <a:gd name="connsiteY15194" fmla="*/ 4545283 h 5973007"/>
              <a:gd name="connsiteX15195" fmla="*/ 851426 w 6884782"/>
              <a:gd name="connsiteY15195" fmla="*/ 4544767 h 5973007"/>
              <a:gd name="connsiteX15196" fmla="*/ 855144 w 6884782"/>
              <a:gd name="connsiteY15196" fmla="*/ 4543631 h 5973007"/>
              <a:gd name="connsiteX15197" fmla="*/ 854834 w 6884782"/>
              <a:gd name="connsiteY15197" fmla="*/ 4543218 h 5973007"/>
              <a:gd name="connsiteX15198" fmla="*/ 855763 w 6884782"/>
              <a:gd name="connsiteY15198" fmla="*/ 4540843 h 5973007"/>
              <a:gd name="connsiteX15199" fmla="*/ 862424 w 6884782"/>
              <a:gd name="connsiteY15199" fmla="*/ 4539398 h 5973007"/>
              <a:gd name="connsiteX15200" fmla="*/ 866606 w 6884782"/>
              <a:gd name="connsiteY15200" fmla="*/ 4537848 h 5973007"/>
              <a:gd name="connsiteX15201" fmla="*/ 891854 w 6884782"/>
              <a:gd name="connsiteY15201" fmla="*/ 4537745 h 5973007"/>
              <a:gd name="connsiteX15202" fmla="*/ 894642 w 6884782"/>
              <a:gd name="connsiteY15202" fmla="*/ 4544767 h 5973007"/>
              <a:gd name="connsiteX15203" fmla="*/ 892474 w 6884782"/>
              <a:gd name="connsiteY15203" fmla="*/ 4546625 h 5973007"/>
              <a:gd name="connsiteX15204" fmla="*/ 887826 w 6884782"/>
              <a:gd name="connsiteY15204" fmla="*/ 4543321 h 5973007"/>
              <a:gd name="connsiteX15205" fmla="*/ 888291 w 6884782"/>
              <a:gd name="connsiteY15205" fmla="*/ 4540430 h 5973007"/>
              <a:gd name="connsiteX15206" fmla="*/ 891854 w 6884782"/>
              <a:gd name="connsiteY15206" fmla="*/ 4537745 h 5973007"/>
              <a:gd name="connsiteX15207" fmla="*/ 806971 w 6884782"/>
              <a:gd name="connsiteY15207" fmla="*/ 4537229 h 5973007"/>
              <a:gd name="connsiteX15208" fmla="*/ 805732 w 6884782"/>
              <a:gd name="connsiteY15208" fmla="*/ 4541463 h 5973007"/>
              <a:gd name="connsiteX15209" fmla="*/ 804182 w 6884782"/>
              <a:gd name="connsiteY15209" fmla="*/ 4537745 h 5973007"/>
              <a:gd name="connsiteX15210" fmla="*/ 806971 w 6884782"/>
              <a:gd name="connsiteY15210" fmla="*/ 4537229 h 5973007"/>
              <a:gd name="connsiteX15211" fmla="*/ 5846202 w 6884782"/>
              <a:gd name="connsiteY15211" fmla="*/ 4537040 h 5973007"/>
              <a:gd name="connsiteX15212" fmla="*/ 5848371 w 6884782"/>
              <a:gd name="connsiteY15212" fmla="*/ 4540448 h 5973007"/>
              <a:gd name="connsiteX15213" fmla="*/ 5843569 w 6884782"/>
              <a:gd name="connsiteY15213" fmla="*/ 4542513 h 5973007"/>
              <a:gd name="connsiteX15214" fmla="*/ 5841555 w 6884782"/>
              <a:gd name="connsiteY15214" fmla="*/ 4539105 h 5973007"/>
              <a:gd name="connsiteX15215" fmla="*/ 5846202 w 6884782"/>
              <a:gd name="connsiteY15215" fmla="*/ 4537040 h 5973007"/>
              <a:gd name="connsiteX15216" fmla="*/ 1159205 w 6884782"/>
              <a:gd name="connsiteY15216" fmla="*/ 4536609 h 5973007"/>
              <a:gd name="connsiteX15217" fmla="*/ 1159824 w 6884782"/>
              <a:gd name="connsiteY15217" fmla="*/ 4536816 h 5973007"/>
              <a:gd name="connsiteX15218" fmla="*/ 1160599 w 6884782"/>
              <a:gd name="connsiteY15218" fmla="*/ 4537745 h 5973007"/>
              <a:gd name="connsiteX15219" fmla="*/ 1163232 w 6884782"/>
              <a:gd name="connsiteY15219" fmla="*/ 4537022 h 5973007"/>
              <a:gd name="connsiteX15220" fmla="*/ 1162613 w 6884782"/>
              <a:gd name="connsiteY15220" fmla="*/ 4547968 h 5973007"/>
              <a:gd name="connsiteX15221" fmla="*/ 1161374 w 6884782"/>
              <a:gd name="connsiteY15221" fmla="*/ 4548587 h 5973007"/>
              <a:gd name="connsiteX15222" fmla="*/ 1161993 w 6884782"/>
              <a:gd name="connsiteY15222" fmla="*/ 4550549 h 5973007"/>
              <a:gd name="connsiteX15223" fmla="*/ 1163697 w 6884782"/>
              <a:gd name="connsiteY15223" fmla="*/ 4552098 h 5973007"/>
              <a:gd name="connsiteX15224" fmla="*/ 1163387 w 6884782"/>
              <a:gd name="connsiteY15224" fmla="*/ 4554473 h 5973007"/>
              <a:gd name="connsiteX15225" fmla="*/ 1162767 w 6884782"/>
              <a:gd name="connsiteY15225" fmla="*/ 4554886 h 5973007"/>
              <a:gd name="connsiteX15226" fmla="*/ 1161064 w 6884782"/>
              <a:gd name="connsiteY15226" fmla="*/ 4553647 h 5973007"/>
              <a:gd name="connsiteX15227" fmla="*/ 1158431 w 6884782"/>
              <a:gd name="connsiteY15227" fmla="*/ 4549207 h 5973007"/>
              <a:gd name="connsiteX15228" fmla="*/ 1158275 w 6884782"/>
              <a:gd name="connsiteY15228" fmla="*/ 4549000 h 5973007"/>
              <a:gd name="connsiteX15229" fmla="*/ 1155177 w 6884782"/>
              <a:gd name="connsiteY15229" fmla="*/ 4545490 h 5973007"/>
              <a:gd name="connsiteX15230" fmla="*/ 1155798 w 6884782"/>
              <a:gd name="connsiteY15230" fmla="*/ 4541359 h 5973007"/>
              <a:gd name="connsiteX15231" fmla="*/ 1159050 w 6884782"/>
              <a:gd name="connsiteY15231" fmla="*/ 4538158 h 5973007"/>
              <a:gd name="connsiteX15232" fmla="*/ 1158741 w 6884782"/>
              <a:gd name="connsiteY15232" fmla="*/ 4537952 h 5973007"/>
              <a:gd name="connsiteX15233" fmla="*/ 1159205 w 6884782"/>
              <a:gd name="connsiteY15233" fmla="*/ 4536609 h 5973007"/>
              <a:gd name="connsiteX15234" fmla="*/ 971471 w 6884782"/>
              <a:gd name="connsiteY15234" fmla="*/ 4536403 h 5973007"/>
              <a:gd name="connsiteX15235" fmla="*/ 972555 w 6884782"/>
              <a:gd name="connsiteY15235" fmla="*/ 4536713 h 5973007"/>
              <a:gd name="connsiteX15236" fmla="*/ 980455 w 6884782"/>
              <a:gd name="connsiteY15236" fmla="*/ 4542495 h 5973007"/>
              <a:gd name="connsiteX15237" fmla="*/ 976272 w 6884782"/>
              <a:gd name="connsiteY15237" fmla="*/ 4546729 h 5973007"/>
              <a:gd name="connsiteX15238" fmla="*/ 973794 w 6884782"/>
              <a:gd name="connsiteY15238" fmla="*/ 4546729 h 5973007"/>
              <a:gd name="connsiteX15239" fmla="*/ 965894 w 6884782"/>
              <a:gd name="connsiteY15239" fmla="*/ 4542805 h 5973007"/>
              <a:gd name="connsiteX15240" fmla="*/ 971471 w 6884782"/>
              <a:gd name="connsiteY15240" fmla="*/ 4536403 h 5973007"/>
              <a:gd name="connsiteX15241" fmla="*/ 6043231 w 6884782"/>
              <a:gd name="connsiteY15241" fmla="*/ 4536317 h 5973007"/>
              <a:gd name="connsiteX15242" fmla="*/ 6060269 w 6884782"/>
              <a:gd name="connsiteY15242" fmla="*/ 4537867 h 5973007"/>
              <a:gd name="connsiteX15243" fmla="*/ 6073745 w 6884782"/>
              <a:gd name="connsiteY15243" fmla="*/ 4563268 h 5973007"/>
              <a:gd name="connsiteX15244" fmla="*/ 6071886 w 6884782"/>
              <a:gd name="connsiteY15244" fmla="*/ 4564919 h 5973007"/>
              <a:gd name="connsiteX15245" fmla="*/ 6066310 w 6884782"/>
              <a:gd name="connsiteY15245" fmla="*/ 4565539 h 5973007"/>
              <a:gd name="connsiteX15246" fmla="*/ 6043231 w 6884782"/>
              <a:gd name="connsiteY15246" fmla="*/ 4536317 h 5973007"/>
              <a:gd name="connsiteX15247" fmla="*/ 1030331 w 6884782"/>
              <a:gd name="connsiteY15247" fmla="*/ 4536300 h 5973007"/>
              <a:gd name="connsiteX15248" fmla="*/ 1033739 w 6884782"/>
              <a:gd name="connsiteY15248" fmla="*/ 4538571 h 5973007"/>
              <a:gd name="connsiteX15249" fmla="*/ 1034513 w 6884782"/>
              <a:gd name="connsiteY15249" fmla="*/ 4543424 h 5973007"/>
              <a:gd name="connsiteX15250" fmla="*/ 1036217 w 6884782"/>
              <a:gd name="connsiteY15250" fmla="*/ 4545490 h 5973007"/>
              <a:gd name="connsiteX15251" fmla="*/ 1035752 w 6884782"/>
              <a:gd name="connsiteY15251" fmla="*/ 4546212 h 5973007"/>
              <a:gd name="connsiteX15252" fmla="*/ 1028317 w 6884782"/>
              <a:gd name="connsiteY15252" fmla="*/ 4539398 h 5973007"/>
              <a:gd name="connsiteX15253" fmla="*/ 1028317 w 6884782"/>
              <a:gd name="connsiteY15253" fmla="*/ 4537642 h 5973007"/>
              <a:gd name="connsiteX15254" fmla="*/ 1030331 w 6884782"/>
              <a:gd name="connsiteY15254" fmla="*/ 4536300 h 5973007"/>
              <a:gd name="connsiteX15255" fmla="*/ 6486079 w 6884782"/>
              <a:gd name="connsiteY15255" fmla="*/ 4536111 h 5973007"/>
              <a:gd name="connsiteX15256" fmla="*/ 6482981 w 6884782"/>
              <a:gd name="connsiteY15256" fmla="*/ 4536214 h 5973007"/>
              <a:gd name="connsiteX15257" fmla="*/ 6484375 w 6884782"/>
              <a:gd name="connsiteY15257" fmla="*/ 4540241 h 5973007"/>
              <a:gd name="connsiteX15258" fmla="*/ 6483601 w 6884782"/>
              <a:gd name="connsiteY15258" fmla="*/ 4540654 h 5973007"/>
              <a:gd name="connsiteX15259" fmla="*/ 6485614 w 6884782"/>
              <a:gd name="connsiteY15259" fmla="*/ 4542203 h 5973007"/>
              <a:gd name="connsiteX15260" fmla="*/ 6486699 w 6884782"/>
              <a:gd name="connsiteY15260" fmla="*/ 4542616 h 5973007"/>
              <a:gd name="connsiteX15261" fmla="*/ 6487163 w 6884782"/>
              <a:gd name="connsiteY15261" fmla="*/ 4542306 h 5973007"/>
              <a:gd name="connsiteX15262" fmla="*/ 6493669 w 6884782"/>
              <a:gd name="connsiteY15262" fmla="*/ 4539725 h 5973007"/>
              <a:gd name="connsiteX15263" fmla="*/ 6492120 w 6884782"/>
              <a:gd name="connsiteY15263" fmla="*/ 4537867 h 5973007"/>
              <a:gd name="connsiteX15264" fmla="*/ 6490881 w 6884782"/>
              <a:gd name="connsiteY15264" fmla="*/ 4537867 h 5973007"/>
              <a:gd name="connsiteX15265" fmla="*/ 6490881 w 6884782"/>
              <a:gd name="connsiteY15265" fmla="*/ 4538073 h 5973007"/>
              <a:gd name="connsiteX15266" fmla="*/ 6487318 w 6884782"/>
              <a:gd name="connsiteY15266" fmla="*/ 4537247 h 5973007"/>
              <a:gd name="connsiteX15267" fmla="*/ 913849 w 6884782"/>
              <a:gd name="connsiteY15267" fmla="*/ 4535267 h 5973007"/>
              <a:gd name="connsiteX15268" fmla="*/ 911216 w 6884782"/>
              <a:gd name="connsiteY15268" fmla="*/ 4539294 h 5973007"/>
              <a:gd name="connsiteX15269" fmla="*/ 907189 w 6884782"/>
              <a:gd name="connsiteY15269" fmla="*/ 4537539 h 5973007"/>
              <a:gd name="connsiteX15270" fmla="*/ 913849 w 6884782"/>
              <a:gd name="connsiteY15270" fmla="*/ 4535267 h 5973007"/>
              <a:gd name="connsiteX15271" fmla="*/ 1604686 w 6884782"/>
              <a:gd name="connsiteY15271" fmla="*/ 4535164 h 5973007"/>
              <a:gd name="connsiteX15272" fmla="*/ 1604222 w 6884782"/>
              <a:gd name="connsiteY15272" fmla="*/ 4543011 h 5973007"/>
              <a:gd name="connsiteX15273" fmla="*/ 1599111 w 6884782"/>
              <a:gd name="connsiteY15273" fmla="*/ 4542185 h 5973007"/>
              <a:gd name="connsiteX15274" fmla="*/ 1604686 w 6884782"/>
              <a:gd name="connsiteY15274" fmla="*/ 4535164 h 5973007"/>
              <a:gd name="connsiteX15275" fmla="*/ 832219 w 6884782"/>
              <a:gd name="connsiteY15275" fmla="*/ 4535164 h 5973007"/>
              <a:gd name="connsiteX15276" fmla="*/ 836711 w 6884782"/>
              <a:gd name="connsiteY15276" fmla="*/ 4538881 h 5973007"/>
              <a:gd name="connsiteX15277" fmla="*/ 830205 w 6884782"/>
              <a:gd name="connsiteY15277" fmla="*/ 4548381 h 5973007"/>
              <a:gd name="connsiteX15278" fmla="*/ 824319 w 6884782"/>
              <a:gd name="connsiteY15278" fmla="*/ 4544250 h 5973007"/>
              <a:gd name="connsiteX15279" fmla="*/ 825403 w 6884782"/>
              <a:gd name="connsiteY15279" fmla="*/ 4536093 h 5973007"/>
              <a:gd name="connsiteX15280" fmla="*/ 832219 w 6884782"/>
              <a:gd name="connsiteY15280" fmla="*/ 4535164 h 5973007"/>
              <a:gd name="connsiteX15281" fmla="*/ 1482628 w 6884782"/>
              <a:gd name="connsiteY15281" fmla="*/ 4535061 h 5973007"/>
              <a:gd name="connsiteX15282" fmla="*/ 1487121 w 6884782"/>
              <a:gd name="connsiteY15282" fmla="*/ 4540120 h 5973007"/>
              <a:gd name="connsiteX15283" fmla="*/ 1490528 w 6884782"/>
              <a:gd name="connsiteY15283" fmla="*/ 4543011 h 5973007"/>
              <a:gd name="connsiteX15284" fmla="*/ 1485261 w 6884782"/>
              <a:gd name="connsiteY15284" fmla="*/ 4540327 h 5973007"/>
              <a:gd name="connsiteX15285" fmla="*/ 1482628 w 6884782"/>
              <a:gd name="connsiteY15285" fmla="*/ 4540946 h 5973007"/>
              <a:gd name="connsiteX15286" fmla="*/ 1478911 w 6884782"/>
              <a:gd name="connsiteY15286" fmla="*/ 4537333 h 5973007"/>
              <a:gd name="connsiteX15287" fmla="*/ 1482628 w 6884782"/>
              <a:gd name="connsiteY15287" fmla="*/ 4535061 h 5973007"/>
              <a:gd name="connsiteX15288" fmla="*/ 5553913 w 6884782"/>
              <a:gd name="connsiteY15288" fmla="*/ 4534769 h 5973007"/>
              <a:gd name="connsiteX15289" fmla="*/ 5552519 w 6884782"/>
              <a:gd name="connsiteY15289" fmla="*/ 4539932 h 5973007"/>
              <a:gd name="connsiteX15290" fmla="*/ 5549886 w 6884782"/>
              <a:gd name="connsiteY15290" fmla="*/ 4541480 h 5973007"/>
              <a:gd name="connsiteX15291" fmla="*/ 5547562 w 6884782"/>
              <a:gd name="connsiteY15291" fmla="*/ 4539828 h 5973007"/>
              <a:gd name="connsiteX15292" fmla="*/ 5546943 w 6884782"/>
              <a:gd name="connsiteY15292" fmla="*/ 4536421 h 5973007"/>
              <a:gd name="connsiteX15293" fmla="*/ 5553913 w 6884782"/>
              <a:gd name="connsiteY15293" fmla="*/ 4534769 h 5973007"/>
              <a:gd name="connsiteX15294" fmla="*/ 1721943 w 6884782"/>
              <a:gd name="connsiteY15294" fmla="*/ 4534648 h 5973007"/>
              <a:gd name="connsiteX15295" fmla="*/ 1720394 w 6884782"/>
              <a:gd name="connsiteY15295" fmla="*/ 4542289 h 5973007"/>
              <a:gd name="connsiteX15296" fmla="*/ 1715128 w 6884782"/>
              <a:gd name="connsiteY15296" fmla="*/ 4545903 h 5973007"/>
              <a:gd name="connsiteX15297" fmla="*/ 1714043 w 6884782"/>
              <a:gd name="connsiteY15297" fmla="*/ 4544457 h 5973007"/>
              <a:gd name="connsiteX15298" fmla="*/ 1714043 w 6884782"/>
              <a:gd name="connsiteY15298" fmla="*/ 4541876 h 5973007"/>
              <a:gd name="connsiteX15299" fmla="*/ 1716057 w 6884782"/>
              <a:gd name="connsiteY15299" fmla="*/ 4539810 h 5973007"/>
              <a:gd name="connsiteX15300" fmla="*/ 1705989 w 6884782"/>
              <a:gd name="connsiteY15300" fmla="*/ 4546109 h 5973007"/>
              <a:gd name="connsiteX15301" fmla="*/ 1699793 w 6884782"/>
              <a:gd name="connsiteY15301" fmla="*/ 4548071 h 5973007"/>
              <a:gd name="connsiteX15302" fmla="*/ 1692048 w 6884782"/>
              <a:gd name="connsiteY15302" fmla="*/ 4547968 h 5973007"/>
              <a:gd name="connsiteX15303" fmla="*/ 1689570 w 6884782"/>
              <a:gd name="connsiteY15303" fmla="*/ 4539707 h 5973007"/>
              <a:gd name="connsiteX15304" fmla="*/ 1713269 w 6884782"/>
              <a:gd name="connsiteY15304" fmla="*/ 4537745 h 5973007"/>
              <a:gd name="connsiteX15305" fmla="*/ 1716212 w 6884782"/>
              <a:gd name="connsiteY15305" fmla="*/ 4539604 h 5973007"/>
              <a:gd name="connsiteX15306" fmla="*/ 1717606 w 6884782"/>
              <a:gd name="connsiteY15306" fmla="*/ 4538055 h 5973007"/>
              <a:gd name="connsiteX15307" fmla="*/ 1719465 w 6884782"/>
              <a:gd name="connsiteY15307" fmla="*/ 4535164 h 5973007"/>
              <a:gd name="connsiteX15308" fmla="*/ 1721943 w 6884782"/>
              <a:gd name="connsiteY15308" fmla="*/ 4534648 h 5973007"/>
              <a:gd name="connsiteX15309" fmla="*/ 1816120 w 6884782"/>
              <a:gd name="connsiteY15309" fmla="*/ 4533202 h 5973007"/>
              <a:gd name="connsiteX15310" fmla="*/ 1817514 w 6884782"/>
              <a:gd name="connsiteY15310" fmla="*/ 4533718 h 5973007"/>
              <a:gd name="connsiteX15311" fmla="*/ 1813023 w 6884782"/>
              <a:gd name="connsiteY15311" fmla="*/ 4537436 h 5973007"/>
              <a:gd name="connsiteX15312" fmla="*/ 1810699 w 6884782"/>
              <a:gd name="connsiteY15312" fmla="*/ 4537229 h 5973007"/>
              <a:gd name="connsiteX15313" fmla="*/ 1816120 w 6884782"/>
              <a:gd name="connsiteY15313" fmla="*/ 4533202 h 5973007"/>
              <a:gd name="connsiteX15314" fmla="*/ 710935 w 6884782"/>
              <a:gd name="connsiteY15314" fmla="*/ 4532892 h 5973007"/>
              <a:gd name="connsiteX15315" fmla="*/ 713103 w 6884782"/>
              <a:gd name="connsiteY15315" fmla="*/ 4533409 h 5973007"/>
              <a:gd name="connsiteX15316" fmla="*/ 716821 w 6884782"/>
              <a:gd name="connsiteY15316" fmla="*/ 4533099 h 5973007"/>
              <a:gd name="connsiteX15317" fmla="*/ 717750 w 6884782"/>
              <a:gd name="connsiteY15317" fmla="*/ 4544250 h 5973007"/>
              <a:gd name="connsiteX15318" fmla="*/ 709696 w 6884782"/>
              <a:gd name="connsiteY15318" fmla="*/ 4554163 h 5973007"/>
              <a:gd name="connsiteX15319" fmla="*/ 706753 w 6884782"/>
              <a:gd name="connsiteY15319" fmla="*/ 4554267 h 5973007"/>
              <a:gd name="connsiteX15320" fmla="*/ 705978 w 6884782"/>
              <a:gd name="connsiteY15320" fmla="*/ 4556848 h 5973007"/>
              <a:gd name="connsiteX15321" fmla="*/ 696839 w 6884782"/>
              <a:gd name="connsiteY15321" fmla="*/ 4560358 h 5973007"/>
              <a:gd name="connsiteX15322" fmla="*/ 693587 w 6884782"/>
              <a:gd name="connsiteY15322" fmla="*/ 4560255 h 5973007"/>
              <a:gd name="connsiteX15323" fmla="*/ 688940 w 6884782"/>
              <a:gd name="connsiteY15323" fmla="*/ 4553853 h 5973007"/>
              <a:gd name="connsiteX15324" fmla="*/ 688785 w 6884782"/>
              <a:gd name="connsiteY15324" fmla="*/ 4550549 h 5973007"/>
              <a:gd name="connsiteX15325" fmla="*/ 698079 w 6884782"/>
              <a:gd name="connsiteY15325" fmla="*/ 4550859 h 5973007"/>
              <a:gd name="connsiteX15326" fmla="*/ 700557 w 6884782"/>
              <a:gd name="connsiteY15326" fmla="*/ 4550549 h 5973007"/>
              <a:gd name="connsiteX15327" fmla="*/ 698853 w 6884782"/>
              <a:gd name="connsiteY15327" fmla="*/ 4548484 h 5973007"/>
              <a:gd name="connsiteX15328" fmla="*/ 698234 w 6884782"/>
              <a:gd name="connsiteY15328" fmla="*/ 4542599 h 5973007"/>
              <a:gd name="connsiteX15329" fmla="*/ 710935 w 6884782"/>
              <a:gd name="connsiteY15329" fmla="*/ 4532892 h 5973007"/>
              <a:gd name="connsiteX15330" fmla="*/ 1759893 w 6884782"/>
              <a:gd name="connsiteY15330" fmla="*/ 4531860 h 5973007"/>
              <a:gd name="connsiteX15331" fmla="*/ 1762526 w 6884782"/>
              <a:gd name="connsiteY15331" fmla="*/ 4532376 h 5973007"/>
              <a:gd name="connsiteX15332" fmla="*/ 1764385 w 6884782"/>
              <a:gd name="connsiteY15332" fmla="*/ 4534441 h 5973007"/>
              <a:gd name="connsiteX15333" fmla="*/ 1764230 w 6884782"/>
              <a:gd name="connsiteY15333" fmla="*/ 4535783 h 5973007"/>
              <a:gd name="connsiteX15334" fmla="*/ 1762991 w 6884782"/>
              <a:gd name="connsiteY15334" fmla="*/ 4537436 h 5973007"/>
              <a:gd name="connsiteX15335" fmla="*/ 1762061 w 6884782"/>
              <a:gd name="connsiteY15335" fmla="*/ 4537539 h 5973007"/>
              <a:gd name="connsiteX15336" fmla="*/ 1759583 w 6884782"/>
              <a:gd name="connsiteY15336" fmla="*/ 4534544 h 5973007"/>
              <a:gd name="connsiteX15337" fmla="*/ 1759893 w 6884782"/>
              <a:gd name="connsiteY15337" fmla="*/ 4531860 h 5973007"/>
              <a:gd name="connsiteX15338" fmla="*/ 991917 w 6884782"/>
              <a:gd name="connsiteY15338" fmla="*/ 4531860 h 5973007"/>
              <a:gd name="connsiteX15339" fmla="*/ 995944 w 6884782"/>
              <a:gd name="connsiteY15339" fmla="*/ 4534544 h 5973007"/>
              <a:gd name="connsiteX15340" fmla="*/ 990523 w 6884782"/>
              <a:gd name="connsiteY15340" fmla="*/ 4538468 h 5973007"/>
              <a:gd name="connsiteX15341" fmla="*/ 989748 w 6884782"/>
              <a:gd name="connsiteY15341" fmla="*/ 4536816 h 5973007"/>
              <a:gd name="connsiteX15342" fmla="*/ 990058 w 6884782"/>
              <a:gd name="connsiteY15342" fmla="*/ 4533925 h 5973007"/>
              <a:gd name="connsiteX15343" fmla="*/ 991917 w 6884782"/>
              <a:gd name="connsiteY15343" fmla="*/ 4531860 h 5973007"/>
              <a:gd name="connsiteX15344" fmla="*/ 6155685 w 6884782"/>
              <a:gd name="connsiteY15344" fmla="*/ 4531568 h 5973007"/>
              <a:gd name="connsiteX15345" fmla="*/ 6156460 w 6884782"/>
              <a:gd name="connsiteY15345" fmla="*/ 4533530 h 5973007"/>
              <a:gd name="connsiteX15346" fmla="*/ 6157389 w 6884782"/>
              <a:gd name="connsiteY15346" fmla="*/ 4533013 h 5973007"/>
              <a:gd name="connsiteX15347" fmla="*/ 6162965 w 6884782"/>
              <a:gd name="connsiteY15347" fmla="*/ 4538693 h 5973007"/>
              <a:gd name="connsiteX15348" fmla="*/ 6162036 w 6884782"/>
              <a:gd name="connsiteY15348" fmla="*/ 4542203 h 5973007"/>
              <a:gd name="connsiteX15349" fmla="*/ 6166528 w 6884782"/>
              <a:gd name="connsiteY15349" fmla="*/ 4545714 h 5973007"/>
              <a:gd name="connsiteX15350" fmla="*/ 6170555 w 6884782"/>
              <a:gd name="connsiteY15350" fmla="*/ 4549534 h 5973007"/>
              <a:gd name="connsiteX15351" fmla="*/ 6172879 w 6884782"/>
              <a:gd name="connsiteY15351" fmla="*/ 4556969 h 5973007"/>
              <a:gd name="connsiteX15352" fmla="*/ 6171020 w 6884782"/>
              <a:gd name="connsiteY15352" fmla="*/ 4565952 h 5973007"/>
              <a:gd name="connsiteX15353" fmla="*/ 6170865 w 6884782"/>
              <a:gd name="connsiteY15353" fmla="*/ 4566262 h 5973007"/>
              <a:gd name="connsiteX15354" fmla="*/ 6171949 w 6884782"/>
              <a:gd name="connsiteY15354" fmla="*/ 4567398 h 5973007"/>
              <a:gd name="connsiteX15355" fmla="*/ 6173653 w 6884782"/>
              <a:gd name="connsiteY15355" fmla="*/ 4570392 h 5973007"/>
              <a:gd name="connsiteX15356" fmla="*/ 6175047 w 6884782"/>
              <a:gd name="connsiteY15356" fmla="*/ 4569050 h 5973007"/>
              <a:gd name="connsiteX15357" fmla="*/ 6195493 w 6884782"/>
              <a:gd name="connsiteY15357" fmla="*/ 4569876 h 5973007"/>
              <a:gd name="connsiteX15358" fmla="*/ 6198282 w 6884782"/>
              <a:gd name="connsiteY15358" fmla="*/ 4577104 h 5973007"/>
              <a:gd name="connsiteX15359" fmla="*/ 6196733 w 6884782"/>
              <a:gd name="connsiteY15359" fmla="*/ 4581957 h 5973007"/>
              <a:gd name="connsiteX15360" fmla="*/ 6197043 w 6884782"/>
              <a:gd name="connsiteY15360" fmla="*/ 4582576 h 5973007"/>
              <a:gd name="connsiteX15361" fmla="*/ 6196578 w 6884782"/>
              <a:gd name="connsiteY15361" fmla="*/ 4582679 h 5973007"/>
              <a:gd name="connsiteX15362" fmla="*/ 6196423 w 6884782"/>
              <a:gd name="connsiteY15362" fmla="*/ 4583196 h 5973007"/>
              <a:gd name="connsiteX15363" fmla="*/ 6184031 w 6884782"/>
              <a:gd name="connsiteY15363" fmla="*/ 4588565 h 5973007"/>
              <a:gd name="connsiteX15364" fmla="*/ 6179539 w 6884782"/>
              <a:gd name="connsiteY15364" fmla="*/ 4587636 h 5973007"/>
              <a:gd name="connsiteX15365" fmla="*/ 6175822 w 6884782"/>
              <a:gd name="connsiteY15365" fmla="*/ 4585468 h 5973007"/>
              <a:gd name="connsiteX15366" fmla="*/ 6175357 w 6884782"/>
              <a:gd name="connsiteY15366" fmla="*/ 4586397 h 5973007"/>
              <a:gd name="connsiteX15367" fmla="*/ 6172259 w 6884782"/>
              <a:gd name="connsiteY15367" fmla="*/ 4591146 h 5973007"/>
              <a:gd name="connsiteX15368" fmla="*/ 6165908 w 6884782"/>
              <a:gd name="connsiteY15368" fmla="*/ 4583093 h 5973007"/>
              <a:gd name="connsiteX15369" fmla="*/ 6160487 w 6884782"/>
              <a:gd name="connsiteY15369" fmla="*/ 4575245 h 5973007"/>
              <a:gd name="connsiteX15370" fmla="*/ 6158473 w 6884782"/>
              <a:gd name="connsiteY15370" fmla="*/ 4576381 h 5973007"/>
              <a:gd name="connsiteX15371" fmla="*/ 6150574 w 6884782"/>
              <a:gd name="connsiteY15371" fmla="*/ 4577310 h 5973007"/>
              <a:gd name="connsiteX15372" fmla="*/ 6136943 w 6884782"/>
              <a:gd name="connsiteY15372" fmla="*/ 4566778 h 5973007"/>
              <a:gd name="connsiteX15373" fmla="*/ 6136788 w 6884782"/>
              <a:gd name="connsiteY15373" fmla="*/ 4557485 h 5973007"/>
              <a:gd name="connsiteX15374" fmla="*/ 6155685 w 6884782"/>
              <a:gd name="connsiteY15374" fmla="*/ 4531568 h 5973007"/>
              <a:gd name="connsiteX15375" fmla="*/ 780793 w 6884782"/>
              <a:gd name="connsiteY15375" fmla="*/ 4531343 h 5973007"/>
              <a:gd name="connsiteX15376" fmla="*/ 792565 w 6884782"/>
              <a:gd name="connsiteY15376" fmla="*/ 4537022 h 5973007"/>
              <a:gd name="connsiteX15377" fmla="*/ 790087 w 6884782"/>
              <a:gd name="connsiteY15377" fmla="*/ 4537229 h 5973007"/>
              <a:gd name="connsiteX15378" fmla="*/ 780793 w 6884782"/>
              <a:gd name="connsiteY15378" fmla="*/ 4531343 h 5973007"/>
              <a:gd name="connsiteX15379" fmla="*/ 1105301 w 6884782"/>
              <a:gd name="connsiteY15379" fmla="*/ 4531240 h 5973007"/>
              <a:gd name="connsiteX15380" fmla="*/ 1111497 w 6884782"/>
              <a:gd name="connsiteY15380" fmla="*/ 4538365 h 5973007"/>
              <a:gd name="connsiteX15381" fmla="*/ 1105301 w 6884782"/>
              <a:gd name="connsiteY15381" fmla="*/ 4531240 h 5973007"/>
              <a:gd name="connsiteX15382" fmla="*/ 695445 w 6884782"/>
              <a:gd name="connsiteY15382" fmla="*/ 4530827 h 5973007"/>
              <a:gd name="connsiteX15383" fmla="*/ 696530 w 6884782"/>
              <a:gd name="connsiteY15383" fmla="*/ 4536919 h 5973007"/>
              <a:gd name="connsiteX15384" fmla="*/ 694671 w 6884782"/>
              <a:gd name="connsiteY15384" fmla="*/ 4539088 h 5973007"/>
              <a:gd name="connsiteX15385" fmla="*/ 689869 w 6884782"/>
              <a:gd name="connsiteY15385" fmla="*/ 4541049 h 5973007"/>
              <a:gd name="connsiteX15386" fmla="*/ 690179 w 6884782"/>
              <a:gd name="connsiteY15386" fmla="*/ 4541876 h 5973007"/>
              <a:gd name="connsiteX15387" fmla="*/ 687236 w 6884782"/>
              <a:gd name="connsiteY15387" fmla="*/ 4537848 h 5973007"/>
              <a:gd name="connsiteX15388" fmla="*/ 695445 w 6884782"/>
              <a:gd name="connsiteY15388" fmla="*/ 4530827 h 5973007"/>
              <a:gd name="connsiteX15389" fmla="*/ 1460943 w 6884782"/>
              <a:gd name="connsiteY15389" fmla="*/ 4530724 h 5973007"/>
              <a:gd name="connsiteX15390" fmla="*/ 1464816 w 6884782"/>
              <a:gd name="connsiteY15390" fmla="*/ 4537126 h 5973007"/>
              <a:gd name="connsiteX15391" fmla="*/ 1467604 w 6884782"/>
              <a:gd name="connsiteY15391" fmla="*/ 4541463 h 5973007"/>
              <a:gd name="connsiteX15392" fmla="*/ 1467449 w 6884782"/>
              <a:gd name="connsiteY15392" fmla="*/ 4540946 h 5973007"/>
              <a:gd name="connsiteX15393" fmla="*/ 1476742 w 6884782"/>
              <a:gd name="connsiteY15393" fmla="*/ 4537022 h 5973007"/>
              <a:gd name="connsiteX15394" fmla="*/ 1472095 w 6884782"/>
              <a:gd name="connsiteY15394" fmla="*/ 4547865 h 5973007"/>
              <a:gd name="connsiteX15395" fmla="*/ 1468997 w 6884782"/>
              <a:gd name="connsiteY15395" fmla="*/ 4545593 h 5973007"/>
              <a:gd name="connsiteX15396" fmla="*/ 1467913 w 6884782"/>
              <a:gd name="connsiteY15396" fmla="*/ 4542392 h 5973007"/>
              <a:gd name="connsiteX15397" fmla="*/ 1460788 w 6884782"/>
              <a:gd name="connsiteY15397" fmla="*/ 4539604 h 5973007"/>
              <a:gd name="connsiteX15398" fmla="*/ 1457535 w 6884782"/>
              <a:gd name="connsiteY15398" fmla="*/ 4531550 h 5973007"/>
              <a:gd name="connsiteX15399" fmla="*/ 1460943 w 6884782"/>
              <a:gd name="connsiteY15399" fmla="*/ 4530724 h 5973007"/>
              <a:gd name="connsiteX15400" fmla="*/ 1373117 w 6884782"/>
              <a:gd name="connsiteY15400" fmla="*/ 4530311 h 5973007"/>
              <a:gd name="connsiteX15401" fmla="*/ 1374356 w 6884782"/>
              <a:gd name="connsiteY15401" fmla="*/ 4531240 h 5973007"/>
              <a:gd name="connsiteX15402" fmla="*/ 1374047 w 6884782"/>
              <a:gd name="connsiteY15402" fmla="*/ 4533615 h 5973007"/>
              <a:gd name="connsiteX15403" fmla="*/ 1373117 w 6884782"/>
              <a:gd name="connsiteY15403" fmla="*/ 4535371 h 5973007"/>
              <a:gd name="connsiteX15404" fmla="*/ 1370019 w 6884782"/>
              <a:gd name="connsiteY15404" fmla="*/ 4535267 h 5973007"/>
              <a:gd name="connsiteX15405" fmla="*/ 1365837 w 6884782"/>
              <a:gd name="connsiteY15405" fmla="*/ 4533305 h 5973007"/>
              <a:gd name="connsiteX15406" fmla="*/ 1363203 w 6884782"/>
              <a:gd name="connsiteY15406" fmla="*/ 4533512 h 5973007"/>
              <a:gd name="connsiteX15407" fmla="*/ 1362894 w 6884782"/>
              <a:gd name="connsiteY15407" fmla="*/ 4532686 h 5973007"/>
              <a:gd name="connsiteX15408" fmla="*/ 1373117 w 6884782"/>
              <a:gd name="connsiteY15408" fmla="*/ 4530311 h 5973007"/>
              <a:gd name="connsiteX15409" fmla="*/ 1383650 w 6884782"/>
              <a:gd name="connsiteY15409" fmla="*/ 4530001 h 5973007"/>
              <a:gd name="connsiteX15410" fmla="*/ 1388142 w 6884782"/>
              <a:gd name="connsiteY15410" fmla="*/ 4532996 h 5973007"/>
              <a:gd name="connsiteX15411" fmla="*/ 1375440 w 6884782"/>
              <a:gd name="connsiteY15411" fmla="*/ 4541153 h 5973007"/>
              <a:gd name="connsiteX15412" fmla="*/ 1371878 w 6884782"/>
              <a:gd name="connsiteY15412" fmla="*/ 4540327 h 5973007"/>
              <a:gd name="connsiteX15413" fmla="*/ 1383650 w 6884782"/>
              <a:gd name="connsiteY15413" fmla="*/ 4530001 h 5973007"/>
              <a:gd name="connsiteX15414" fmla="*/ 1131169 w 6884782"/>
              <a:gd name="connsiteY15414" fmla="*/ 4529175 h 5973007"/>
              <a:gd name="connsiteX15415" fmla="*/ 1130704 w 6884782"/>
              <a:gd name="connsiteY15415" fmla="*/ 4533305 h 5973007"/>
              <a:gd name="connsiteX15416" fmla="*/ 1129775 w 6884782"/>
              <a:gd name="connsiteY15416" fmla="*/ 4536506 h 5973007"/>
              <a:gd name="connsiteX15417" fmla="*/ 1130085 w 6884782"/>
              <a:gd name="connsiteY15417" fmla="*/ 4536609 h 5973007"/>
              <a:gd name="connsiteX15418" fmla="*/ 1139378 w 6884782"/>
              <a:gd name="connsiteY15418" fmla="*/ 4544044 h 5973007"/>
              <a:gd name="connsiteX15419" fmla="*/ 1133028 w 6884782"/>
              <a:gd name="connsiteY15419" fmla="*/ 4544767 h 5973007"/>
              <a:gd name="connsiteX15420" fmla="*/ 1117848 w 6884782"/>
              <a:gd name="connsiteY15420" fmla="*/ 4535164 h 5973007"/>
              <a:gd name="connsiteX15421" fmla="*/ 1124044 w 6884782"/>
              <a:gd name="connsiteY15421" fmla="*/ 4534544 h 5973007"/>
              <a:gd name="connsiteX15422" fmla="*/ 1129619 w 6884782"/>
              <a:gd name="connsiteY15422" fmla="*/ 4536403 h 5973007"/>
              <a:gd name="connsiteX15423" fmla="*/ 1129155 w 6884782"/>
              <a:gd name="connsiteY15423" fmla="*/ 4533409 h 5973007"/>
              <a:gd name="connsiteX15424" fmla="*/ 1130395 w 6884782"/>
              <a:gd name="connsiteY15424" fmla="*/ 4530001 h 5973007"/>
              <a:gd name="connsiteX15425" fmla="*/ 1131169 w 6884782"/>
              <a:gd name="connsiteY15425" fmla="*/ 4529175 h 5973007"/>
              <a:gd name="connsiteX15426" fmla="*/ 1740996 w 6884782"/>
              <a:gd name="connsiteY15426" fmla="*/ 4527007 h 5973007"/>
              <a:gd name="connsiteX15427" fmla="*/ 1743319 w 6884782"/>
              <a:gd name="connsiteY15427" fmla="*/ 4535164 h 5973007"/>
              <a:gd name="connsiteX15428" fmla="*/ 1742389 w 6884782"/>
              <a:gd name="connsiteY15428" fmla="*/ 4535887 h 5973007"/>
              <a:gd name="connsiteX15429" fmla="*/ 1737278 w 6884782"/>
              <a:gd name="connsiteY15429" fmla="*/ 4539088 h 5973007"/>
              <a:gd name="connsiteX15430" fmla="*/ 1733096 w 6884782"/>
              <a:gd name="connsiteY15430" fmla="*/ 4539088 h 5973007"/>
              <a:gd name="connsiteX15431" fmla="*/ 1733251 w 6884782"/>
              <a:gd name="connsiteY15431" fmla="*/ 4531343 h 5973007"/>
              <a:gd name="connsiteX15432" fmla="*/ 1740996 w 6884782"/>
              <a:gd name="connsiteY15432" fmla="*/ 4527007 h 5973007"/>
              <a:gd name="connsiteX15433" fmla="*/ 1442510 w 6884782"/>
              <a:gd name="connsiteY15433" fmla="*/ 4526697 h 5973007"/>
              <a:gd name="connsiteX15434" fmla="*/ 1444524 w 6884782"/>
              <a:gd name="connsiteY15434" fmla="*/ 4531550 h 5973007"/>
              <a:gd name="connsiteX15435" fmla="*/ 1433837 w 6884782"/>
              <a:gd name="connsiteY15435" fmla="*/ 4536093 h 5973007"/>
              <a:gd name="connsiteX15436" fmla="*/ 1430893 w 6884782"/>
              <a:gd name="connsiteY15436" fmla="*/ 4534441 h 5973007"/>
              <a:gd name="connsiteX15437" fmla="*/ 1442510 w 6884782"/>
              <a:gd name="connsiteY15437" fmla="*/ 4526697 h 5973007"/>
              <a:gd name="connsiteX15438" fmla="*/ 996255 w 6884782"/>
              <a:gd name="connsiteY15438" fmla="*/ 4526697 h 5973007"/>
              <a:gd name="connsiteX15439" fmla="*/ 995790 w 6884782"/>
              <a:gd name="connsiteY15439" fmla="*/ 4526904 h 5973007"/>
              <a:gd name="connsiteX15440" fmla="*/ 996719 w 6884782"/>
              <a:gd name="connsiteY15440" fmla="*/ 4528142 h 5973007"/>
              <a:gd name="connsiteX15441" fmla="*/ 997494 w 6884782"/>
              <a:gd name="connsiteY15441" fmla="*/ 4528246 h 5973007"/>
              <a:gd name="connsiteX15442" fmla="*/ 5893910 w 6884782"/>
              <a:gd name="connsiteY15442" fmla="*/ 4525785 h 5973007"/>
              <a:gd name="connsiteX15443" fmla="*/ 5898248 w 6884782"/>
              <a:gd name="connsiteY15443" fmla="*/ 4528573 h 5973007"/>
              <a:gd name="connsiteX15444" fmla="*/ 5898867 w 6884782"/>
              <a:gd name="connsiteY15444" fmla="*/ 4530948 h 5973007"/>
              <a:gd name="connsiteX15445" fmla="*/ 5903669 w 6884782"/>
              <a:gd name="connsiteY15445" fmla="*/ 4532807 h 5973007"/>
              <a:gd name="connsiteX15446" fmla="*/ 5905992 w 6884782"/>
              <a:gd name="connsiteY15446" fmla="*/ 4537970 h 5973007"/>
              <a:gd name="connsiteX15447" fmla="*/ 5903669 w 6884782"/>
              <a:gd name="connsiteY15447" fmla="*/ 4538899 h 5973007"/>
              <a:gd name="connsiteX15448" fmla="*/ 5898712 w 6884782"/>
              <a:gd name="connsiteY15448" fmla="*/ 4536834 h 5973007"/>
              <a:gd name="connsiteX15449" fmla="*/ 5897938 w 6884782"/>
              <a:gd name="connsiteY15449" fmla="*/ 4538899 h 5973007"/>
              <a:gd name="connsiteX15450" fmla="*/ 5894840 w 6884782"/>
              <a:gd name="connsiteY15450" fmla="*/ 4541067 h 5973007"/>
              <a:gd name="connsiteX15451" fmla="*/ 5893601 w 6884782"/>
              <a:gd name="connsiteY15451" fmla="*/ 4541067 h 5973007"/>
              <a:gd name="connsiteX15452" fmla="*/ 5893756 w 6884782"/>
              <a:gd name="connsiteY15452" fmla="*/ 4542100 h 5973007"/>
              <a:gd name="connsiteX15453" fmla="*/ 5891277 w 6884782"/>
              <a:gd name="connsiteY15453" fmla="*/ 4543442 h 5973007"/>
              <a:gd name="connsiteX15454" fmla="*/ 5890193 w 6884782"/>
              <a:gd name="connsiteY15454" fmla="*/ 4545095 h 5973007"/>
              <a:gd name="connsiteX15455" fmla="*/ 5887560 w 6884782"/>
              <a:gd name="connsiteY15455" fmla="*/ 4545404 h 5973007"/>
              <a:gd name="connsiteX15456" fmla="*/ 5886166 w 6884782"/>
              <a:gd name="connsiteY15456" fmla="*/ 4543339 h 5973007"/>
              <a:gd name="connsiteX15457" fmla="*/ 5886011 w 6884782"/>
              <a:gd name="connsiteY15457" fmla="*/ 4542823 h 5973007"/>
              <a:gd name="connsiteX15458" fmla="*/ 5884617 w 6884782"/>
              <a:gd name="connsiteY15458" fmla="*/ 4543545 h 5973007"/>
              <a:gd name="connsiteX15459" fmla="*/ 5883687 w 6884782"/>
              <a:gd name="connsiteY15459" fmla="*/ 4541790 h 5973007"/>
              <a:gd name="connsiteX15460" fmla="*/ 5885391 w 6884782"/>
              <a:gd name="connsiteY15460" fmla="*/ 4540448 h 5973007"/>
              <a:gd name="connsiteX15461" fmla="*/ 5885236 w 6884782"/>
              <a:gd name="connsiteY15461" fmla="*/ 4539622 h 5973007"/>
              <a:gd name="connsiteX15462" fmla="*/ 5885391 w 6884782"/>
              <a:gd name="connsiteY15462" fmla="*/ 4536834 h 5973007"/>
              <a:gd name="connsiteX15463" fmla="*/ 5885081 w 6884782"/>
              <a:gd name="connsiteY15463" fmla="*/ 4536628 h 5973007"/>
              <a:gd name="connsiteX15464" fmla="*/ 5884772 w 6884782"/>
              <a:gd name="connsiteY15464" fmla="*/ 4527954 h 5973007"/>
              <a:gd name="connsiteX15465" fmla="*/ 5893910 w 6884782"/>
              <a:gd name="connsiteY15465" fmla="*/ 4525785 h 5973007"/>
              <a:gd name="connsiteX15466" fmla="*/ 5966712 w 6884782"/>
              <a:gd name="connsiteY15466" fmla="*/ 4524649 h 5973007"/>
              <a:gd name="connsiteX15467" fmla="*/ 5966867 w 6884782"/>
              <a:gd name="connsiteY15467" fmla="*/ 4528161 h 5973007"/>
              <a:gd name="connsiteX15468" fmla="*/ 5960671 w 6884782"/>
              <a:gd name="connsiteY15468" fmla="*/ 4531981 h 5973007"/>
              <a:gd name="connsiteX15469" fmla="*/ 5958657 w 6884782"/>
              <a:gd name="connsiteY15469" fmla="*/ 4531258 h 5973007"/>
              <a:gd name="connsiteX15470" fmla="*/ 5959277 w 6884782"/>
              <a:gd name="connsiteY15470" fmla="*/ 4527025 h 5973007"/>
              <a:gd name="connsiteX15471" fmla="*/ 5966712 w 6884782"/>
              <a:gd name="connsiteY15471" fmla="*/ 4524649 h 5973007"/>
              <a:gd name="connsiteX15472" fmla="*/ 761896 w 6884782"/>
              <a:gd name="connsiteY15472" fmla="*/ 4524529 h 5973007"/>
              <a:gd name="connsiteX15473" fmla="*/ 763755 w 6884782"/>
              <a:gd name="connsiteY15473" fmla="*/ 4528039 h 5973007"/>
              <a:gd name="connsiteX15474" fmla="*/ 758798 w 6884782"/>
              <a:gd name="connsiteY15474" fmla="*/ 4529588 h 5973007"/>
              <a:gd name="connsiteX15475" fmla="*/ 756940 w 6884782"/>
              <a:gd name="connsiteY15475" fmla="*/ 4525974 h 5973007"/>
              <a:gd name="connsiteX15476" fmla="*/ 761896 w 6884782"/>
              <a:gd name="connsiteY15476" fmla="*/ 4524529 h 5973007"/>
              <a:gd name="connsiteX15477" fmla="*/ 1596942 w 6884782"/>
              <a:gd name="connsiteY15477" fmla="*/ 4524425 h 5973007"/>
              <a:gd name="connsiteX15478" fmla="*/ 1598956 w 6884782"/>
              <a:gd name="connsiteY15478" fmla="*/ 4524425 h 5973007"/>
              <a:gd name="connsiteX15479" fmla="*/ 1603138 w 6884782"/>
              <a:gd name="connsiteY15479" fmla="*/ 4525871 h 5973007"/>
              <a:gd name="connsiteX15480" fmla="*/ 1603293 w 6884782"/>
              <a:gd name="connsiteY15480" fmla="*/ 4529072 h 5973007"/>
              <a:gd name="connsiteX15481" fmla="*/ 1600505 w 6884782"/>
              <a:gd name="connsiteY15481" fmla="*/ 4531343 h 5973007"/>
              <a:gd name="connsiteX15482" fmla="*/ 1596942 w 6884782"/>
              <a:gd name="connsiteY15482" fmla="*/ 4531653 h 5973007"/>
              <a:gd name="connsiteX15483" fmla="*/ 1593689 w 6884782"/>
              <a:gd name="connsiteY15483" fmla="*/ 4531343 h 5973007"/>
              <a:gd name="connsiteX15484" fmla="*/ 1596942 w 6884782"/>
              <a:gd name="connsiteY15484" fmla="*/ 4524425 h 5973007"/>
              <a:gd name="connsiteX15485" fmla="*/ 5769916 w 6884782"/>
              <a:gd name="connsiteY15485" fmla="*/ 4524379 h 5973007"/>
              <a:gd name="connsiteX15486" fmla="*/ 5775260 w 6884782"/>
              <a:gd name="connsiteY15486" fmla="*/ 4529296 h 5973007"/>
              <a:gd name="connsiteX15487" fmla="*/ 5772472 w 6884782"/>
              <a:gd name="connsiteY15487" fmla="*/ 4536317 h 5973007"/>
              <a:gd name="connsiteX15488" fmla="*/ 5766895 w 6884782"/>
              <a:gd name="connsiteY15488" fmla="*/ 4538073 h 5973007"/>
              <a:gd name="connsiteX15489" fmla="*/ 5762404 w 6884782"/>
              <a:gd name="connsiteY15489" fmla="*/ 4535595 h 5973007"/>
              <a:gd name="connsiteX15490" fmla="*/ 5761009 w 6884782"/>
              <a:gd name="connsiteY15490" fmla="*/ 4531981 h 5973007"/>
              <a:gd name="connsiteX15491" fmla="*/ 5761164 w 6884782"/>
              <a:gd name="connsiteY15491" fmla="*/ 4531774 h 5973007"/>
              <a:gd name="connsiteX15492" fmla="*/ 5759925 w 6884782"/>
              <a:gd name="connsiteY15492" fmla="*/ 4532704 h 5973007"/>
              <a:gd name="connsiteX15493" fmla="*/ 5758221 w 6884782"/>
              <a:gd name="connsiteY15493" fmla="*/ 4532600 h 5973007"/>
              <a:gd name="connsiteX15494" fmla="*/ 5757137 w 6884782"/>
              <a:gd name="connsiteY15494" fmla="*/ 4530948 h 5973007"/>
              <a:gd name="connsiteX15495" fmla="*/ 5756672 w 6884782"/>
              <a:gd name="connsiteY15495" fmla="*/ 4527334 h 5973007"/>
              <a:gd name="connsiteX15496" fmla="*/ 5758066 w 6884782"/>
              <a:gd name="connsiteY15496" fmla="*/ 4525579 h 5973007"/>
              <a:gd name="connsiteX15497" fmla="*/ 5759770 w 6884782"/>
              <a:gd name="connsiteY15497" fmla="*/ 4526302 h 5973007"/>
              <a:gd name="connsiteX15498" fmla="*/ 5761474 w 6884782"/>
              <a:gd name="connsiteY15498" fmla="*/ 4526199 h 5973007"/>
              <a:gd name="connsiteX15499" fmla="*/ 5761629 w 6884782"/>
              <a:gd name="connsiteY15499" fmla="*/ 4527128 h 5973007"/>
              <a:gd name="connsiteX15500" fmla="*/ 5761474 w 6884782"/>
              <a:gd name="connsiteY15500" fmla="*/ 4527231 h 5973007"/>
              <a:gd name="connsiteX15501" fmla="*/ 5762093 w 6884782"/>
              <a:gd name="connsiteY15501" fmla="*/ 4527644 h 5973007"/>
              <a:gd name="connsiteX15502" fmla="*/ 5762713 w 6884782"/>
              <a:gd name="connsiteY15502" fmla="*/ 4525269 h 5973007"/>
              <a:gd name="connsiteX15503" fmla="*/ 5769916 w 6884782"/>
              <a:gd name="connsiteY15503" fmla="*/ 4524379 h 5973007"/>
              <a:gd name="connsiteX15504" fmla="*/ 1565614 w 6884782"/>
              <a:gd name="connsiteY15504" fmla="*/ 4523922 h 5973007"/>
              <a:gd name="connsiteX15505" fmla="*/ 1570145 w 6884782"/>
              <a:gd name="connsiteY15505" fmla="*/ 4528866 h 5973007"/>
              <a:gd name="connsiteX15506" fmla="*/ 1567821 w 6884782"/>
              <a:gd name="connsiteY15506" fmla="*/ 4533512 h 5973007"/>
              <a:gd name="connsiteX15507" fmla="*/ 1558992 w 6884782"/>
              <a:gd name="connsiteY15507" fmla="*/ 4527420 h 5973007"/>
              <a:gd name="connsiteX15508" fmla="*/ 1560387 w 6884782"/>
              <a:gd name="connsiteY15508" fmla="*/ 4524012 h 5973007"/>
              <a:gd name="connsiteX15509" fmla="*/ 1565614 w 6884782"/>
              <a:gd name="connsiteY15509" fmla="*/ 4523922 h 5973007"/>
              <a:gd name="connsiteX15510" fmla="*/ 6105963 w 6884782"/>
              <a:gd name="connsiteY15510" fmla="*/ 4523862 h 5973007"/>
              <a:gd name="connsiteX15511" fmla="*/ 6110146 w 6884782"/>
              <a:gd name="connsiteY15511" fmla="*/ 4534356 h 5973007"/>
              <a:gd name="connsiteX15512" fmla="*/ 6106273 w 6884782"/>
              <a:gd name="connsiteY15512" fmla="*/ 4541790 h 5973007"/>
              <a:gd name="connsiteX15513" fmla="*/ 6100542 w 6884782"/>
              <a:gd name="connsiteY15513" fmla="*/ 4544681 h 5973007"/>
              <a:gd name="connsiteX15514" fmla="*/ 6092178 w 6884782"/>
              <a:gd name="connsiteY15514" fmla="*/ 4544578 h 5973007"/>
              <a:gd name="connsiteX15515" fmla="*/ 6090474 w 6884782"/>
              <a:gd name="connsiteY15515" fmla="*/ 4536937 h 5973007"/>
              <a:gd name="connsiteX15516" fmla="*/ 6085517 w 6884782"/>
              <a:gd name="connsiteY15516" fmla="*/ 4540448 h 5973007"/>
              <a:gd name="connsiteX15517" fmla="*/ 6080715 w 6884782"/>
              <a:gd name="connsiteY15517" fmla="*/ 4537660 h 5973007"/>
              <a:gd name="connsiteX15518" fmla="*/ 6089545 w 6884782"/>
              <a:gd name="connsiteY15518" fmla="*/ 4528883 h 5973007"/>
              <a:gd name="connsiteX15519" fmla="*/ 6090164 w 6884782"/>
              <a:gd name="connsiteY15519" fmla="*/ 4528883 h 5973007"/>
              <a:gd name="connsiteX15520" fmla="*/ 6090164 w 6884782"/>
              <a:gd name="connsiteY15520" fmla="*/ 4526611 h 5973007"/>
              <a:gd name="connsiteX15521" fmla="*/ 6105963 w 6884782"/>
              <a:gd name="connsiteY15521" fmla="*/ 4523862 h 5973007"/>
              <a:gd name="connsiteX15522" fmla="*/ 1746107 w 6884782"/>
              <a:gd name="connsiteY15522" fmla="*/ 4523599 h 5973007"/>
              <a:gd name="connsiteX15523" fmla="*/ 1758189 w 6884782"/>
              <a:gd name="connsiteY15523" fmla="*/ 4530827 h 5973007"/>
              <a:gd name="connsiteX15524" fmla="*/ 1759119 w 6884782"/>
              <a:gd name="connsiteY15524" fmla="*/ 4533202 h 5973007"/>
              <a:gd name="connsiteX15525" fmla="*/ 1756950 w 6884782"/>
              <a:gd name="connsiteY15525" fmla="*/ 4536506 h 5973007"/>
              <a:gd name="connsiteX15526" fmla="*/ 1756021 w 6884782"/>
              <a:gd name="connsiteY15526" fmla="*/ 4533099 h 5973007"/>
              <a:gd name="connsiteX15527" fmla="*/ 1756950 w 6884782"/>
              <a:gd name="connsiteY15527" fmla="*/ 4530621 h 5973007"/>
              <a:gd name="connsiteX15528" fmla="*/ 1751064 w 6884782"/>
              <a:gd name="connsiteY15528" fmla="*/ 4529485 h 5973007"/>
              <a:gd name="connsiteX15529" fmla="*/ 1746417 w 6884782"/>
              <a:gd name="connsiteY15529" fmla="*/ 4527523 h 5973007"/>
              <a:gd name="connsiteX15530" fmla="*/ 1746107 w 6884782"/>
              <a:gd name="connsiteY15530" fmla="*/ 4523599 h 5973007"/>
              <a:gd name="connsiteX15531" fmla="*/ 1618473 w 6884782"/>
              <a:gd name="connsiteY15531" fmla="*/ 4523289 h 5973007"/>
              <a:gd name="connsiteX15532" fmla="*/ 1616614 w 6884782"/>
              <a:gd name="connsiteY15532" fmla="*/ 4533718 h 5973007"/>
              <a:gd name="connsiteX15533" fmla="*/ 1609643 w 6884782"/>
              <a:gd name="connsiteY15533" fmla="*/ 4525871 h 5973007"/>
              <a:gd name="connsiteX15534" fmla="*/ 1618473 w 6884782"/>
              <a:gd name="connsiteY15534" fmla="*/ 4523289 h 5973007"/>
              <a:gd name="connsiteX15535" fmla="*/ 893558 w 6884782"/>
              <a:gd name="connsiteY15535" fmla="*/ 4521947 h 5973007"/>
              <a:gd name="connsiteX15536" fmla="*/ 896037 w 6884782"/>
              <a:gd name="connsiteY15536" fmla="*/ 4524322 h 5973007"/>
              <a:gd name="connsiteX15537" fmla="*/ 888911 w 6884782"/>
              <a:gd name="connsiteY15537" fmla="*/ 4532789 h 5973007"/>
              <a:gd name="connsiteX15538" fmla="*/ 885348 w 6884782"/>
              <a:gd name="connsiteY15538" fmla="*/ 4529072 h 5973007"/>
              <a:gd name="connsiteX15539" fmla="*/ 885348 w 6884782"/>
              <a:gd name="connsiteY15539" fmla="*/ 4528969 h 5973007"/>
              <a:gd name="connsiteX15540" fmla="*/ 882870 w 6884782"/>
              <a:gd name="connsiteY15540" fmla="*/ 4528762 h 5973007"/>
              <a:gd name="connsiteX15541" fmla="*/ 890305 w 6884782"/>
              <a:gd name="connsiteY15541" fmla="*/ 4522670 h 5973007"/>
              <a:gd name="connsiteX15542" fmla="*/ 891390 w 6884782"/>
              <a:gd name="connsiteY15542" fmla="*/ 4522876 h 5973007"/>
              <a:gd name="connsiteX15543" fmla="*/ 651765 w 6884782"/>
              <a:gd name="connsiteY15543" fmla="*/ 4521844 h 5973007"/>
              <a:gd name="connsiteX15544" fmla="*/ 667254 w 6884782"/>
              <a:gd name="connsiteY15544" fmla="*/ 4527833 h 5973007"/>
              <a:gd name="connsiteX15545" fmla="*/ 666480 w 6884782"/>
              <a:gd name="connsiteY15545" fmla="*/ 4529588 h 5973007"/>
              <a:gd name="connsiteX15546" fmla="*/ 664312 w 6884782"/>
              <a:gd name="connsiteY15546" fmla="*/ 4530104 h 5973007"/>
              <a:gd name="connsiteX15547" fmla="*/ 656257 w 6884782"/>
              <a:gd name="connsiteY15547" fmla="*/ 4527420 h 5973007"/>
              <a:gd name="connsiteX15548" fmla="*/ 654553 w 6884782"/>
              <a:gd name="connsiteY15548" fmla="*/ 4526387 h 5973007"/>
              <a:gd name="connsiteX15549" fmla="*/ 652849 w 6884782"/>
              <a:gd name="connsiteY15549" fmla="*/ 4525458 h 5973007"/>
              <a:gd name="connsiteX15550" fmla="*/ 651765 w 6884782"/>
              <a:gd name="connsiteY15550" fmla="*/ 4521844 h 5973007"/>
              <a:gd name="connsiteX15551" fmla="*/ 5943167 w 6884782"/>
              <a:gd name="connsiteY15551" fmla="*/ 4521655 h 5973007"/>
              <a:gd name="connsiteX15552" fmla="*/ 5942393 w 6884782"/>
              <a:gd name="connsiteY15552" fmla="*/ 4522378 h 5973007"/>
              <a:gd name="connsiteX15553" fmla="*/ 5941619 w 6884782"/>
              <a:gd name="connsiteY15553" fmla="*/ 4521759 h 5973007"/>
              <a:gd name="connsiteX15554" fmla="*/ 5943167 w 6884782"/>
              <a:gd name="connsiteY15554" fmla="*/ 4521655 h 5973007"/>
              <a:gd name="connsiteX15555" fmla="*/ 5975851 w 6884782"/>
              <a:gd name="connsiteY15555" fmla="*/ 4521552 h 5973007"/>
              <a:gd name="connsiteX15556" fmla="*/ 5975851 w 6884782"/>
              <a:gd name="connsiteY15556" fmla="*/ 4524237 h 5973007"/>
              <a:gd name="connsiteX15557" fmla="*/ 5974302 w 6884782"/>
              <a:gd name="connsiteY15557" fmla="*/ 4525063 h 5973007"/>
              <a:gd name="connsiteX15558" fmla="*/ 5973682 w 6884782"/>
              <a:gd name="connsiteY15558" fmla="*/ 4527747 h 5973007"/>
              <a:gd name="connsiteX15559" fmla="*/ 5971978 w 6884782"/>
              <a:gd name="connsiteY15559" fmla="*/ 4527644 h 5973007"/>
              <a:gd name="connsiteX15560" fmla="*/ 5973372 w 6884782"/>
              <a:gd name="connsiteY15560" fmla="*/ 4522378 h 5973007"/>
              <a:gd name="connsiteX15561" fmla="*/ 5975851 w 6884782"/>
              <a:gd name="connsiteY15561" fmla="*/ 4521552 h 5973007"/>
              <a:gd name="connsiteX15562" fmla="*/ 810533 w 6884782"/>
              <a:gd name="connsiteY15562" fmla="*/ 4521534 h 5973007"/>
              <a:gd name="connsiteX15563" fmla="*/ 819982 w 6884782"/>
              <a:gd name="connsiteY15563" fmla="*/ 4526387 h 5973007"/>
              <a:gd name="connsiteX15564" fmla="*/ 821841 w 6884782"/>
              <a:gd name="connsiteY15564" fmla="*/ 4531653 h 5973007"/>
              <a:gd name="connsiteX15565" fmla="*/ 819363 w 6884782"/>
              <a:gd name="connsiteY15565" fmla="*/ 4532376 h 5973007"/>
              <a:gd name="connsiteX15566" fmla="*/ 814251 w 6884782"/>
              <a:gd name="connsiteY15566" fmla="*/ 4529588 h 5973007"/>
              <a:gd name="connsiteX15567" fmla="*/ 810533 w 6884782"/>
              <a:gd name="connsiteY15567" fmla="*/ 4521534 h 5973007"/>
              <a:gd name="connsiteX15568" fmla="*/ 5838767 w 6884782"/>
              <a:gd name="connsiteY15568" fmla="*/ 4520726 h 5973007"/>
              <a:gd name="connsiteX15569" fmla="*/ 5840317 w 6884782"/>
              <a:gd name="connsiteY15569" fmla="*/ 4533323 h 5973007"/>
              <a:gd name="connsiteX15570" fmla="*/ 5835360 w 6884782"/>
              <a:gd name="connsiteY15570" fmla="*/ 4522378 h 5973007"/>
              <a:gd name="connsiteX15571" fmla="*/ 5838767 w 6884782"/>
              <a:gd name="connsiteY15571" fmla="*/ 4520726 h 5973007"/>
              <a:gd name="connsiteX15572" fmla="*/ 1263450 w 6884782"/>
              <a:gd name="connsiteY15572" fmla="*/ 4520708 h 5973007"/>
              <a:gd name="connsiteX15573" fmla="*/ 1262211 w 6884782"/>
              <a:gd name="connsiteY15573" fmla="*/ 4528762 h 5973007"/>
              <a:gd name="connsiteX15574" fmla="*/ 1260197 w 6884782"/>
              <a:gd name="connsiteY15574" fmla="*/ 4527110 h 5973007"/>
              <a:gd name="connsiteX15575" fmla="*/ 1263450 w 6884782"/>
              <a:gd name="connsiteY15575" fmla="*/ 4520708 h 5973007"/>
              <a:gd name="connsiteX15576" fmla="*/ 6160390 w 6884782"/>
              <a:gd name="connsiteY15576" fmla="*/ 4520597 h 5973007"/>
              <a:gd name="connsiteX15577" fmla="*/ 6166218 w 6884782"/>
              <a:gd name="connsiteY15577" fmla="*/ 4520933 h 5973007"/>
              <a:gd name="connsiteX15578" fmla="*/ 6167303 w 6884782"/>
              <a:gd name="connsiteY15578" fmla="*/ 4525579 h 5973007"/>
              <a:gd name="connsiteX15579" fmla="*/ 6165599 w 6884782"/>
              <a:gd name="connsiteY15579" fmla="*/ 4527850 h 5973007"/>
              <a:gd name="connsiteX15580" fmla="*/ 6166838 w 6884782"/>
              <a:gd name="connsiteY15580" fmla="*/ 4529709 h 5973007"/>
              <a:gd name="connsiteX15581" fmla="*/ 6164515 w 6884782"/>
              <a:gd name="connsiteY15581" fmla="*/ 4532187 h 5973007"/>
              <a:gd name="connsiteX15582" fmla="*/ 6160952 w 6884782"/>
              <a:gd name="connsiteY15582" fmla="*/ 4530226 h 5973007"/>
              <a:gd name="connsiteX15583" fmla="*/ 6158473 w 6884782"/>
              <a:gd name="connsiteY15583" fmla="*/ 4530019 h 5973007"/>
              <a:gd name="connsiteX15584" fmla="*/ 6152742 w 6884782"/>
              <a:gd name="connsiteY15584" fmla="*/ 4529709 h 5973007"/>
              <a:gd name="connsiteX15585" fmla="*/ 6151658 w 6884782"/>
              <a:gd name="connsiteY15585" fmla="*/ 4525372 h 5973007"/>
              <a:gd name="connsiteX15586" fmla="*/ 6160390 w 6884782"/>
              <a:gd name="connsiteY15586" fmla="*/ 4520597 h 5973007"/>
              <a:gd name="connsiteX15587" fmla="*/ 1585480 w 6884782"/>
              <a:gd name="connsiteY15587" fmla="*/ 4519675 h 5973007"/>
              <a:gd name="connsiteX15588" fmla="*/ 1585480 w 6884782"/>
              <a:gd name="connsiteY15588" fmla="*/ 4522773 h 5973007"/>
              <a:gd name="connsiteX15589" fmla="*/ 1584395 w 6884782"/>
              <a:gd name="connsiteY15589" fmla="*/ 4522464 h 5973007"/>
              <a:gd name="connsiteX15590" fmla="*/ 1584860 w 6884782"/>
              <a:gd name="connsiteY15590" fmla="*/ 4523186 h 5973007"/>
              <a:gd name="connsiteX15591" fmla="*/ 1583931 w 6884782"/>
              <a:gd name="connsiteY15591" fmla="*/ 4522360 h 5973007"/>
              <a:gd name="connsiteX15592" fmla="*/ 1583931 w 6884782"/>
              <a:gd name="connsiteY15592" fmla="*/ 4521741 h 5973007"/>
              <a:gd name="connsiteX15593" fmla="*/ 1585480 w 6884782"/>
              <a:gd name="connsiteY15593" fmla="*/ 4519675 h 5973007"/>
              <a:gd name="connsiteX15594" fmla="*/ 859171 w 6884782"/>
              <a:gd name="connsiteY15594" fmla="*/ 4519366 h 5973007"/>
              <a:gd name="connsiteX15595" fmla="*/ 860565 w 6884782"/>
              <a:gd name="connsiteY15595" fmla="*/ 4519469 h 5973007"/>
              <a:gd name="connsiteX15596" fmla="*/ 859946 w 6884782"/>
              <a:gd name="connsiteY15596" fmla="*/ 4520192 h 5973007"/>
              <a:gd name="connsiteX15597" fmla="*/ 859171 w 6884782"/>
              <a:gd name="connsiteY15597" fmla="*/ 4519366 h 5973007"/>
              <a:gd name="connsiteX15598" fmla="*/ 972555 w 6884782"/>
              <a:gd name="connsiteY15598" fmla="*/ 4519056 h 5973007"/>
              <a:gd name="connsiteX15599" fmla="*/ 982004 w 6884782"/>
              <a:gd name="connsiteY15599" fmla="*/ 4527316 h 5973007"/>
              <a:gd name="connsiteX15600" fmla="*/ 977512 w 6884782"/>
              <a:gd name="connsiteY15600" fmla="*/ 4531137 h 5973007"/>
              <a:gd name="connsiteX15601" fmla="*/ 972555 w 6884782"/>
              <a:gd name="connsiteY15601" fmla="*/ 4519056 h 5973007"/>
              <a:gd name="connsiteX15602" fmla="*/ 988044 w 6884782"/>
              <a:gd name="connsiteY15602" fmla="*/ 4518953 h 5973007"/>
              <a:gd name="connsiteX15603" fmla="*/ 989594 w 6884782"/>
              <a:gd name="connsiteY15603" fmla="*/ 4521844 h 5973007"/>
              <a:gd name="connsiteX15604" fmla="*/ 992846 w 6884782"/>
              <a:gd name="connsiteY15604" fmla="*/ 4523289 h 5973007"/>
              <a:gd name="connsiteX15605" fmla="*/ 992846 w 6884782"/>
              <a:gd name="connsiteY15605" fmla="*/ 4523393 h 5973007"/>
              <a:gd name="connsiteX15606" fmla="*/ 994860 w 6884782"/>
              <a:gd name="connsiteY15606" fmla="*/ 4523909 h 5973007"/>
              <a:gd name="connsiteX15607" fmla="*/ 994550 w 6884782"/>
              <a:gd name="connsiteY15607" fmla="*/ 4523186 h 5973007"/>
              <a:gd name="connsiteX15608" fmla="*/ 1001985 w 6884782"/>
              <a:gd name="connsiteY15608" fmla="*/ 4520399 h 5973007"/>
              <a:gd name="connsiteX15609" fmla="*/ 1005858 w 6884782"/>
              <a:gd name="connsiteY15609" fmla="*/ 4523186 h 5973007"/>
              <a:gd name="connsiteX15610" fmla="*/ 1007097 w 6884782"/>
              <a:gd name="connsiteY15610" fmla="*/ 4531034 h 5973007"/>
              <a:gd name="connsiteX15611" fmla="*/ 1002760 w 6884782"/>
              <a:gd name="connsiteY15611" fmla="*/ 4532170 h 5973007"/>
              <a:gd name="connsiteX15612" fmla="*/ 999197 w 6884782"/>
              <a:gd name="connsiteY15612" fmla="*/ 4530001 h 5973007"/>
              <a:gd name="connsiteX15613" fmla="*/ 999197 w 6884782"/>
              <a:gd name="connsiteY15613" fmla="*/ 4531137 h 5973007"/>
              <a:gd name="connsiteX15614" fmla="*/ 996564 w 6884782"/>
              <a:gd name="connsiteY15614" fmla="*/ 4528555 h 5973007"/>
              <a:gd name="connsiteX15615" fmla="*/ 995325 w 6884782"/>
              <a:gd name="connsiteY15615" fmla="*/ 4527213 h 5973007"/>
              <a:gd name="connsiteX15616" fmla="*/ 994705 w 6884782"/>
              <a:gd name="connsiteY15616" fmla="*/ 4527420 h 5973007"/>
              <a:gd name="connsiteX15617" fmla="*/ 991762 w 6884782"/>
              <a:gd name="connsiteY15617" fmla="*/ 4525974 h 5973007"/>
              <a:gd name="connsiteX15618" fmla="*/ 992072 w 6884782"/>
              <a:gd name="connsiteY15618" fmla="*/ 4524425 h 5973007"/>
              <a:gd name="connsiteX15619" fmla="*/ 991917 w 6884782"/>
              <a:gd name="connsiteY15619" fmla="*/ 4523909 h 5973007"/>
              <a:gd name="connsiteX15620" fmla="*/ 986186 w 6884782"/>
              <a:gd name="connsiteY15620" fmla="*/ 4521224 h 5973007"/>
              <a:gd name="connsiteX15621" fmla="*/ 985566 w 6884782"/>
              <a:gd name="connsiteY15621" fmla="*/ 4519469 h 5973007"/>
              <a:gd name="connsiteX15622" fmla="*/ 988044 w 6884782"/>
              <a:gd name="connsiteY15622" fmla="*/ 4518953 h 5973007"/>
              <a:gd name="connsiteX15623" fmla="*/ 1276926 w 6884782"/>
              <a:gd name="connsiteY15623" fmla="*/ 4518746 h 5973007"/>
              <a:gd name="connsiteX15624" fmla="*/ 1275842 w 6884782"/>
              <a:gd name="connsiteY15624" fmla="*/ 4521018 h 5973007"/>
              <a:gd name="connsiteX15625" fmla="*/ 1274912 w 6884782"/>
              <a:gd name="connsiteY15625" fmla="*/ 4521224 h 5973007"/>
              <a:gd name="connsiteX15626" fmla="*/ 1274448 w 6884782"/>
              <a:gd name="connsiteY15626" fmla="*/ 4520192 h 5973007"/>
              <a:gd name="connsiteX15627" fmla="*/ 1275842 w 6884782"/>
              <a:gd name="connsiteY15627" fmla="*/ 4519159 h 5973007"/>
              <a:gd name="connsiteX15628" fmla="*/ 1276926 w 6884782"/>
              <a:gd name="connsiteY15628" fmla="*/ 4518746 h 5973007"/>
              <a:gd name="connsiteX15629" fmla="*/ 5648710 w 6884782"/>
              <a:gd name="connsiteY15629" fmla="*/ 4517938 h 5973007"/>
              <a:gd name="connsiteX15630" fmla="*/ 5645147 w 6884782"/>
              <a:gd name="connsiteY15630" fmla="*/ 4524237 h 5973007"/>
              <a:gd name="connsiteX15631" fmla="*/ 5642514 w 6884782"/>
              <a:gd name="connsiteY15631" fmla="*/ 4518248 h 5973007"/>
              <a:gd name="connsiteX15632" fmla="*/ 5648710 w 6884782"/>
              <a:gd name="connsiteY15632" fmla="*/ 4517938 h 5973007"/>
              <a:gd name="connsiteX15633" fmla="*/ 1671641 w 6884782"/>
              <a:gd name="connsiteY15633" fmla="*/ 4517288 h 5973007"/>
              <a:gd name="connsiteX15634" fmla="*/ 1674700 w 6884782"/>
              <a:gd name="connsiteY15634" fmla="*/ 4521534 h 5973007"/>
              <a:gd name="connsiteX15635" fmla="*/ 1672067 w 6884782"/>
              <a:gd name="connsiteY15635" fmla="*/ 4523703 h 5973007"/>
              <a:gd name="connsiteX15636" fmla="*/ 1666490 w 6884782"/>
              <a:gd name="connsiteY15636" fmla="*/ 4517920 h 5973007"/>
              <a:gd name="connsiteX15637" fmla="*/ 1671641 w 6884782"/>
              <a:gd name="connsiteY15637" fmla="*/ 4517288 h 5973007"/>
              <a:gd name="connsiteX15638" fmla="*/ 6056087 w 6884782"/>
              <a:gd name="connsiteY15638" fmla="*/ 4517009 h 5973007"/>
              <a:gd name="connsiteX15639" fmla="*/ 6058875 w 6884782"/>
              <a:gd name="connsiteY15639" fmla="*/ 4525269 h 5973007"/>
              <a:gd name="connsiteX15640" fmla="*/ 6050201 w 6884782"/>
              <a:gd name="connsiteY15640" fmla="*/ 4532704 h 5973007"/>
              <a:gd name="connsiteX15641" fmla="*/ 6039203 w 6884782"/>
              <a:gd name="connsiteY15641" fmla="*/ 4528883 h 5973007"/>
              <a:gd name="connsiteX15642" fmla="*/ 6056087 w 6884782"/>
              <a:gd name="connsiteY15642" fmla="*/ 4517009 h 5973007"/>
              <a:gd name="connsiteX15643" fmla="*/ 1756486 w 6884782"/>
              <a:gd name="connsiteY15643" fmla="*/ 4516887 h 5973007"/>
              <a:gd name="connsiteX15644" fmla="*/ 1757260 w 6884782"/>
              <a:gd name="connsiteY15644" fmla="*/ 4516991 h 5973007"/>
              <a:gd name="connsiteX15645" fmla="*/ 1758189 w 6884782"/>
              <a:gd name="connsiteY15645" fmla="*/ 4518540 h 5973007"/>
              <a:gd name="connsiteX15646" fmla="*/ 1758344 w 6884782"/>
              <a:gd name="connsiteY15646" fmla="*/ 4518437 h 5973007"/>
              <a:gd name="connsiteX15647" fmla="*/ 1761442 w 6884782"/>
              <a:gd name="connsiteY15647" fmla="*/ 4521328 h 5973007"/>
              <a:gd name="connsiteX15648" fmla="*/ 1757879 w 6884782"/>
              <a:gd name="connsiteY15648" fmla="*/ 4524219 h 5973007"/>
              <a:gd name="connsiteX15649" fmla="*/ 1754626 w 6884782"/>
              <a:gd name="connsiteY15649" fmla="*/ 4522567 h 5973007"/>
              <a:gd name="connsiteX15650" fmla="*/ 1753387 w 6884782"/>
              <a:gd name="connsiteY15650" fmla="*/ 4519263 h 5973007"/>
              <a:gd name="connsiteX15651" fmla="*/ 1755711 w 6884782"/>
              <a:gd name="connsiteY15651" fmla="*/ 4518953 h 5973007"/>
              <a:gd name="connsiteX15652" fmla="*/ 1283123 w 6884782"/>
              <a:gd name="connsiteY15652" fmla="*/ 4516784 h 5973007"/>
              <a:gd name="connsiteX15653" fmla="*/ 1292106 w 6884782"/>
              <a:gd name="connsiteY15653" fmla="*/ 4535990 h 5973007"/>
              <a:gd name="connsiteX15654" fmla="*/ 1285445 w 6884782"/>
              <a:gd name="connsiteY15654" fmla="*/ 4534028 h 5973007"/>
              <a:gd name="connsiteX15655" fmla="*/ 1280644 w 6884782"/>
              <a:gd name="connsiteY15655" fmla="*/ 4529795 h 5973007"/>
              <a:gd name="connsiteX15656" fmla="*/ 1280179 w 6884782"/>
              <a:gd name="connsiteY15656" fmla="*/ 4530311 h 5973007"/>
              <a:gd name="connsiteX15657" fmla="*/ 1279095 w 6884782"/>
              <a:gd name="connsiteY15657" fmla="*/ 4528762 h 5973007"/>
              <a:gd name="connsiteX15658" fmla="*/ 1279405 w 6884782"/>
              <a:gd name="connsiteY15658" fmla="*/ 4528039 h 5973007"/>
              <a:gd name="connsiteX15659" fmla="*/ 1277391 w 6884782"/>
              <a:gd name="connsiteY15659" fmla="*/ 4523393 h 5973007"/>
              <a:gd name="connsiteX15660" fmla="*/ 1279249 w 6884782"/>
              <a:gd name="connsiteY15660" fmla="*/ 4518437 h 5973007"/>
              <a:gd name="connsiteX15661" fmla="*/ 1283123 w 6884782"/>
              <a:gd name="connsiteY15661" fmla="*/ 4516784 h 5973007"/>
              <a:gd name="connsiteX15662" fmla="*/ 5742654 w 6884782"/>
              <a:gd name="connsiteY15662" fmla="*/ 4516312 h 5973007"/>
              <a:gd name="connsiteX15663" fmla="*/ 5750631 w 6884782"/>
              <a:gd name="connsiteY15663" fmla="*/ 4517422 h 5973007"/>
              <a:gd name="connsiteX15664" fmla="*/ 5751251 w 6884782"/>
              <a:gd name="connsiteY15664" fmla="*/ 4524546 h 5973007"/>
              <a:gd name="connsiteX15665" fmla="*/ 5741337 w 6884782"/>
              <a:gd name="connsiteY15665" fmla="*/ 4526199 h 5973007"/>
              <a:gd name="connsiteX15666" fmla="*/ 5738394 w 6884782"/>
              <a:gd name="connsiteY15666" fmla="*/ 4525269 h 5973007"/>
              <a:gd name="connsiteX15667" fmla="*/ 5742654 w 6884782"/>
              <a:gd name="connsiteY15667" fmla="*/ 4516312 h 5973007"/>
              <a:gd name="connsiteX15668" fmla="*/ 819982 w 6884782"/>
              <a:gd name="connsiteY15668" fmla="*/ 4515752 h 5973007"/>
              <a:gd name="connsiteX15669" fmla="*/ 823235 w 6884782"/>
              <a:gd name="connsiteY15669" fmla="*/ 4516681 h 5973007"/>
              <a:gd name="connsiteX15670" fmla="*/ 820757 w 6884782"/>
              <a:gd name="connsiteY15670" fmla="*/ 4523703 h 5973007"/>
              <a:gd name="connsiteX15671" fmla="*/ 817194 w 6884782"/>
              <a:gd name="connsiteY15671" fmla="*/ 4520295 h 5973007"/>
              <a:gd name="connsiteX15672" fmla="*/ 817349 w 6884782"/>
              <a:gd name="connsiteY15672" fmla="*/ 4517198 h 5973007"/>
              <a:gd name="connsiteX15673" fmla="*/ 819982 w 6884782"/>
              <a:gd name="connsiteY15673" fmla="*/ 4515752 h 5973007"/>
              <a:gd name="connsiteX15674" fmla="*/ 1512059 w 6884782"/>
              <a:gd name="connsiteY15674" fmla="*/ 4515339 h 5973007"/>
              <a:gd name="connsiteX15675" fmla="*/ 1515157 w 6884782"/>
              <a:gd name="connsiteY15675" fmla="*/ 4518437 h 5973007"/>
              <a:gd name="connsiteX15676" fmla="*/ 1511594 w 6884782"/>
              <a:gd name="connsiteY15676" fmla="*/ 4516578 h 5973007"/>
              <a:gd name="connsiteX15677" fmla="*/ 1512059 w 6884782"/>
              <a:gd name="connsiteY15677" fmla="*/ 4515339 h 5973007"/>
              <a:gd name="connsiteX15678" fmla="*/ 5969809 w 6884782"/>
              <a:gd name="connsiteY15678" fmla="*/ 4514531 h 5973007"/>
              <a:gd name="connsiteX15679" fmla="*/ 5972288 w 6884782"/>
              <a:gd name="connsiteY15679" fmla="*/ 4514634 h 5973007"/>
              <a:gd name="connsiteX15680" fmla="*/ 5971513 w 6884782"/>
              <a:gd name="connsiteY15680" fmla="*/ 4516389 h 5973007"/>
              <a:gd name="connsiteX15681" fmla="*/ 5968261 w 6884782"/>
              <a:gd name="connsiteY15681" fmla="*/ 4520519 h 5973007"/>
              <a:gd name="connsiteX15682" fmla="*/ 5967331 w 6884782"/>
              <a:gd name="connsiteY15682" fmla="*/ 4517938 h 5973007"/>
              <a:gd name="connsiteX15683" fmla="*/ 5969035 w 6884782"/>
              <a:gd name="connsiteY15683" fmla="*/ 4516286 h 5973007"/>
              <a:gd name="connsiteX15684" fmla="*/ 5969809 w 6884782"/>
              <a:gd name="connsiteY15684" fmla="*/ 4514531 h 5973007"/>
              <a:gd name="connsiteX15685" fmla="*/ 5865100 w 6884782"/>
              <a:gd name="connsiteY15685" fmla="*/ 4514427 h 5973007"/>
              <a:gd name="connsiteX15686" fmla="*/ 5866959 w 6884782"/>
              <a:gd name="connsiteY15686" fmla="*/ 4516182 h 5973007"/>
              <a:gd name="connsiteX15687" fmla="*/ 5865100 w 6884782"/>
              <a:gd name="connsiteY15687" fmla="*/ 4518351 h 5973007"/>
              <a:gd name="connsiteX15688" fmla="*/ 5862466 w 6884782"/>
              <a:gd name="connsiteY15688" fmla="*/ 4519074 h 5973007"/>
              <a:gd name="connsiteX15689" fmla="*/ 5861692 w 6884782"/>
              <a:gd name="connsiteY15689" fmla="*/ 4518041 h 5973007"/>
              <a:gd name="connsiteX15690" fmla="*/ 5860917 w 6884782"/>
              <a:gd name="connsiteY15690" fmla="*/ 4516079 h 5973007"/>
              <a:gd name="connsiteX15691" fmla="*/ 5865100 w 6884782"/>
              <a:gd name="connsiteY15691" fmla="*/ 4514427 h 5973007"/>
              <a:gd name="connsiteX15692" fmla="*/ 877758 w 6884782"/>
              <a:gd name="connsiteY15692" fmla="*/ 4514203 h 5973007"/>
              <a:gd name="connsiteX15693" fmla="*/ 884109 w 6884782"/>
              <a:gd name="connsiteY15693" fmla="*/ 4516165 h 5973007"/>
              <a:gd name="connsiteX15694" fmla="*/ 883800 w 6884782"/>
              <a:gd name="connsiteY15694" fmla="*/ 4518127 h 5973007"/>
              <a:gd name="connsiteX15695" fmla="*/ 881476 w 6884782"/>
              <a:gd name="connsiteY15695" fmla="*/ 4518746 h 5973007"/>
              <a:gd name="connsiteX15696" fmla="*/ 877449 w 6884782"/>
              <a:gd name="connsiteY15696" fmla="*/ 4516165 h 5973007"/>
              <a:gd name="connsiteX15697" fmla="*/ 877758 w 6884782"/>
              <a:gd name="connsiteY15697" fmla="*/ 4514203 h 5973007"/>
              <a:gd name="connsiteX15698" fmla="*/ 1588268 w 6884782"/>
              <a:gd name="connsiteY15698" fmla="*/ 4513274 h 5973007"/>
              <a:gd name="connsiteX15699" fmla="*/ 1585325 w 6884782"/>
              <a:gd name="connsiteY15699" fmla="*/ 4519469 h 5973007"/>
              <a:gd name="connsiteX15700" fmla="*/ 1585480 w 6884782"/>
              <a:gd name="connsiteY15700" fmla="*/ 4515132 h 5973007"/>
              <a:gd name="connsiteX15701" fmla="*/ 1588268 w 6884782"/>
              <a:gd name="connsiteY15701" fmla="*/ 4513274 h 5973007"/>
              <a:gd name="connsiteX15702" fmla="*/ 1504934 w 6884782"/>
              <a:gd name="connsiteY15702" fmla="*/ 4513067 h 5973007"/>
              <a:gd name="connsiteX15703" fmla="*/ 1507876 w 6884782"/>
              <a:gd name="connsiteY15703" fmla="*/ 4518953 h 5973007"/>
              <a:gd name="connsiteX15704" fmla="*/ 1506947 w 6884782"/>
              <a:gd name="connsiteY15704" fmla="*/ 4519366 h 5973007"/>
              <a:gd name="connsiteX15705" fmla="*/ 1507722 w 6884782"/>
              <a:gd name="connsiteY15705" fmla="*/ 4519675 h 5973007"/>
              <a:gd name="connsiteX15706" fmla="*/ 1512679 w 6884782"/>
              <a:gd name="connsiteY15706" fmla="*/ 4523806 h 5973007"/>
              <a:gd name="connsiteX15707" fmla="*/ 1514072 w 6884782"/>
              <a:gd name="connsiteY15707" fmla="*/ 4525148 h 5973007"/>
              <a:gd name="connsiteX15708" fmla="*/ 1514537 w 6884782"/>
              <a:gd name="connsiteY15708" fmla="*/ 4524425 h 5973007"/>
              <a:gd name="connsiteX15709" fmla="*/ 1514847 w 6884782"/>
              <a:gd name="connsiteY15709" fmla="*/ 4525665 h 5973007"/>
              <a:gd name="connsiteX15710" fmla="*/ 1515002 w 6884782"/>
              <a:gd name="connsiteY15710" fmla="*/ 4525768 h 5973007"/>
              <a:gd name="connsiteX15711" fmla="*/ 1515776 w 6884782"/>
              <a:gd name="connsiteY15711" fmla="*/ 4526181 h 5973007"/>
              <a:gd name="connsiteX15712" fmla="*/ 1517481 w 6884782"/>
              <a:gd name="connsiteY15712" fmla="*/ 4529588 h 5973007"/>
              <a:gd name="connsiteX15713" fmla="*/ 1517016 w 6884782"/>
              <a:gd name="connsiteY15713" fmla="*/ 4530208 h 5973007"/>
              <a:gd name="connsiteX15714" fmla="*/ 1518874 w 6884782"/>
              <a:gd name="connsiteY15714" fmla="*/ 4531034 h 5973007"/>
              <a:gd name="connsiteX15715" fmla="*/ 1519494 w 6884782"/>
              <a:gd name="connsiteY15715" fmla="*/ 4530311 h 5973007"/>
              <a:gd name="connsiteX15716" fmla="*/ 1541489 w 6884782"/>
              <a:gd name="connsiteY15716" fmla="*/ 4532582 h 5973007"/>
              <a:gd name="connsiteX15717" fmla="*/ 1533125 w 6884782"/>
              <a:gd name="connsiteY15717" fmla="*/ 4534544 h 5973007"/>
              <a:gd name="connsiteX15718" fmla="*/ 1534209 w 6884782"/>
              <a:gd name="connsiteY15718" fmla="*/ 4536197 h 5973007"/>
              <a:gd name="connsiteX15719" fmla="*/ 1530182 w 6884782"/>
              <a:gd name="connsiteY15719" fmla="*/ 4535474 h 5973007"/>
              <a:gd name="connsiteX15720" fmla="*/ 1530027 w 6884782"/>
              <a:gd name="connsiteY15720" fmla="*/ 4535267 h 5973007"/>
              <a:gd name="connsiteX15721" fmla="*/ 1528168 w 6884782"/>
              <a:gd name="connsiteY15721" fmla="*/ 4535783 h 5973007"/>
              <a:gd name="connsiteX15722" fmla="*/ 1527239 w 6884782"/>
              <a:gd name="connsiteY15722" fmla="*/ 4535783 h 5973007"/>
              <a:gd name="connsiteX15723" fmla="*/ 1527239 w 6884782"/>
              <a:gd name="connsiteY15723" fmla="*/ 4535887 h 5973007"/>
              <a:gd name="connsiteX15724" fmla="*/ 1528943 w 6884782"/>
              <a:gd name="connsiteY15724" fmla="*/ 4540637 h 5973007"/>
              <a:gd name="connsiteX15725" fmla="*/ 1515931 w 6884782"/>
              <a:gd name="connsiteY15725" fmla="*/ 4536713 h 5973007"/>
              <a:gd name="connsiteX15726" fmla="*/ 1510355 w 6884782"/>
              <a:gd name="connsiteY15726" fmla="*/ 4532996 h 5973007"/>
              <a:gd name="connsiteX15727" fmla="*/ 1509891 w 6884782"/>
              <a:gd name="connsiteY15727" fmla="*/ 4533718 h 5973007"/>
              <a:gd name="connsiteX15728" fmla="*/ 1509426 w 6884782"/>
              <a:gd name="connsiteY15728" fmla="*/ 4535887 h 5973007"/>
              <a:gd name="connsiteX15729" fmla="*/ 1510200 w 6884782"/>
              <a:gd name="connsiteY15729" fmla="*/ 4535990 h 5973007"/>
              <a:gd name="connsiteX15730" fmla="*/ 1512679 w 6884782"/>
              <a:gd name="connsiteY15730" fmla="*/ 4538571 h 5973007"/>
              <a:gd name="connsiteX15731" fmla="*/ 1511439 w 6884782"/>
              <a:gd name="connsiteY15731" fmla="*/ 4540017 h 5973007"/>
              <a:gd name="connsiteX15732" fmla="*/ 1509271 w 6884782"/>
              <a:gd name="connsiteY15732" fmla="*/ 4538778 h 5973007"/>
              <a:gd name="connsiteX15733" fmla="*/ 1508961 w 6884782"/>
              <a:gd name="connsiteY15733" fmla="*/ 4538571 h 5973007"/>
              <a:gd name="connsiteX15734" fmla="*/ 1508806 w 6884782"/>
              <a:gd name="connsiteY15734" fmla="*/ 4539398 h 5973007"/>
              <a:gd name="connsiteX15735" fmla="*/ 1504314 w 6884782"/>
              <a:gd name="connsiteY15735" fmla="*/ 4544767 h 5973007"/>
              <a:gd name="connsiteX15736" fmla="*/ 1503075 w 6884782"/>
              <a:gd name="connsiteY15736" fmla="*/ 4543424 h 5973007"/>
              <a:gd name="connsiteX15737" fmla="*/ 1502610 w 6884782"/>
              <a:gd name="connsiteY15737" fmla="*/ 4543321 h 5973007"/>
              <a:gd name="connsiteX15738" fmla="*/ 1501526 w 6884782"/>
              <a:gd name="connsiteY15738" fmla="*/ 4543838 h 5973007"/>
              <a:gd name="connsiteX15739" fmla="*/ 1498118 w 6884782"/>
              <a:gd name="connsiteY15739" fmla="*/ 4543631 h 5973007"/>
              <a:gd name="connsiteX15740" fmla="*/ 1493626 w 6884782"/>
              <a:gd name="connsiteY15740" fmla="*/ 4538365 h 5973007"/>
              <a:gd name="connsiteX15741" fmla="*/ 1493006 w 6884782"/>
              <a:gd name="connsiteY15741" fmla="*/ 4535680 h 5973007"/>
              <a:gd name="connsiteX15742" fmla="*/ 1494091 w 6884782"/>
              <a:gd name="connsiteY15742" fmla="*/ 4530621 h 5973007"/>
              <a:gd name="connsiteX15743" fmla="*/ 1494865 w 6884782"/>
              <a:gd name="connsiteY15743" fmla="*/ 4530208 h 5973007"/>
              <a:gd name="connsiteX15744" fmla="*/ 1494865 w 6884782"/>
              <a:gd name="connsiteY15744" fmla="*/ 4529278 h 5973007"/>
              <a:gd name="connsiteX15745" fmla="*/ 1499667 w 6884782"/>
              <a:gd name="connsiteY15745" fmla="*/ 4523806 h 5973007"/>
              <a:gd name="connsiteX15746" fmla="*/ 1500441 w 6884782"/>
              <a:gd name="connsiteY15746" fmla="*/ 4524115 h 5973007"/>
              <a:gd name="connsiteX15747" fmla="*/ 1501061 w 6884782"/>
              <a:gd name="connsiteY15747" fmla="*/ 4518746 h 5973007"/>
              <a:gd name="connsiteX15748" fmla="*/ 1502145 w 6884782"/>
              <a:gd name="connsiteY15748" fmla="*/ 4518643 h 5973007"/>
              <a:gd name="connsiteX15749" fmla="*/ 1500751 w 6884782"/>
              <a:gd name="connsiteY15749" fmla="*/ 4517198 h 5973007"/>
              <a:gd name="connsiteX15750" fmla="*/ 1504934 w 6884782"/>
              <a:gd name="connsiteY15750" fmla="*/ 4513067 h 5973007"/>
              <a:gd name="connsiteX15751" fmla="*/ 1646799 w 6884782"/>
              <a:gd name="connsiteY15751" fmla="*/ 4512280 h 5973007"/>
              <a:gd name="connsiteX15752" fmla="*/ 1653169 w 6884782"/>
              <a:gd name="connsiteY15752" fmla="*/ 4514409 h 5973007"/>
              <a:gd name="connsiteX15753" fmla="*/ 1654563 w 6884782"/>
              <a:gd name="connsiteY15753" fmla="*/ 4513790 h 5973007"/>
              <a:gd name="connsiteX15754" fmla="*/ 1657971 w 6884782"/>
              <a:gd name="connsiteY15754" fmla="*/ 4513480 h 5973007"/>
              <a:gd name="connsiteX15755" fmla="*/ 1658436 w 6884782"/>
              <a:gd name="connsiteY15755" fmla="*/ 4512447 h 5973007"/>
              <a:gd name="connsiteX15756" fmla="*/ 1662774 w 6884782"/>
              <a:gd name="connsiteY15756" fmla="*/ 4513377 h 5973007"/>
              <a:gd name="connsiteX15757" fmla="*/ 1662618 w 6884782"/>
              <a:gd name="connsiteY15757" fmla="*/ 4513480 h 5973007"/>
              <a:gd name="connsiteX15758" fmla="*/ 1667265 w 6884782"/>
              <a:gd name="connsiteY15758" fmla="*/ 4514203 h 5973007"/>
              <a:gd name="connsiteX15759" fmla="*/ 1656422 w 6884782"/>
              <a:gd name="connsiteY15759" fmla="*/ 4520502 h 5973007"/>
              <a:gd name="connsiteX15760" fmla="*/ 1652705 w 6884782"/>
              <a:gd name="connsiteY15760" fmla="*/ 4520088 h 5973007"/>
              <a:gd name="connsiteX15761" fmla="*/ 1651155 w 6884782"/>
              <a:gd name="connsiteY15761" fmla="*/ 4522670 h 5973007"/>
              <a:gd name="connsiteX15762" fmla="*/ 1642636 w 6884782"/>
              <a:gd name="connsiteY15762" fmla="*/ 4517198 h 5973007"/>
              <a:gd name="connsiteX15763" fmla="*/ 1646799 w 6884782"/>
              <a:gd name="connsiteY15763" fmla="*/ 4512280 h 5973007"/>
              <a:gd name="connsiteX15764" fmla="*/ 707566 w 6884782"/>
              <a:gd name="connsiteY15764" fmla="*/ 4512203 h 5973007"/>
              <a:gd name="connsiteX15765" fmla="*/ 708612 w 6884782"/>
              <a:gd name="connsiteY15765" fmla="*/ 4518437 h 5973007"/>
              <a:gd name="connsiteX15766" fmla="*/ 701641 w 6884782"/>
              <a:gd name="connsiteY15766" fmla="*/ 4515339 h 5973007"/>
              <a:gd name="connsiteX15767" fmla="*/ 707566 w 6884782"/>
              <a:gd name="connsiteY15767" fmla="*/ 4512203 h 5973007"/>
              <a:gd name="connsiteX15768" fmla="*/ 1404096 w 6884782"/>
              <a:gd name="connsiteY15768" fmla="*/ 4511931 h 5973007"/>
              <a:gd name="connsiteX15769" fmla="*/ 1406419 w 6884782"/>
              <a:gd name="connsiteY15769" fmla="*/ 4512964 h 5973007"/>
              <a:gd name="connsiteX15770" fmla="*/ 1407969 w 6884782"/>
              <a:gd name="connsiteY15770" fmla="*/ 4518127 h 5973007"/>
              <a:gd name="connsiteX15771" fmla="*/ 1407969 w 6884782"/>
              <a:gd name="connsiteY15771" fmla="*/ 4518746 h 5973007"/>
              <a:gd name="connsiteX15772" fmla="*/ 1409363 w 6884782"/>
              <a:gd name="connsiteY15772" fmla="*/ 4518953 h 5973007"/>
              <a:gd name="connsiteX15773" fmla="*/ 1408124 w 6884782"/>
              <a:gd name="connsiteY15773" fmla="*/ 4520192 h 5973007"/>
              <a:gd name="connsiteX15774" fmla="*/ 1408279 w 6884782"/>
              <a:gd name="connsiteY15774" fmla="*/ 4520399 h 5973007"/>
              <a:gd name="connsiteX15775" fmla="*/ 1407969 w 6884782"/>
              <a:gd name="connsiteY15775" fmla="*/ 4520914 h 5973007"/>
              <a:gd name="connsiteX15776" fmla="*/ 1406264 w 6884782"/>
              <a:gd name="connsiteY15776" fmla="*/ 4522360 h 5973007"/>
              <a:gd name="connsiteX15777" fmla="*/ 1405955 w 6884782"/>
              <a:gd name="connsiteY15777" fmla="*/ 4522360 h 5973007"/>
              <a:gd name="connsiteX15778" fmla="*/ 1404251 w 6884782"/>
              <a:gd name="connsiteY15778" fmla="*/ 4523909 h 5973007"/>
              <a:gd name="connsiteX15779" fmla="*/ 1397745 w 6884782"/>
              <a:gd name="connsiteY15779" fmla="*/ 4525665 h 5973007"/>
              <a:gd name="connsiteX15780" fmla="*/ 1385664 w 6884782"/>
              <a:gd name="connsiteY15780" fmla="*/ 4523289 h 5973007"/>
              <a:gd name="connsiteX15781" fmla="*/ 1396816 w 6884782"/>
              <a:gd name="connsiteY15781" fmla="*/ 4518953 h 5973007"/>
              <a:gd name="connsiteX15782" fmla="*/ 1401928 w 6884782"/>
              <a:gd name="connsiteY15782" fmla="*/ 4518230 h 5973007"/>
              <a:gd name="connsiteX15783" fmla="*/ 1401308 w 6884782"/>
              <a:gd name="connsiteY15783" fmla="*/ 4517198 h 5973007"/>
              <a:gd name="connsiteX15784" fmla="*/ 1404096 w 6884782"/>
              <a:gd name="connsiteY15784" fmla="*/ 4511931 h 5973007"/>
              <a:gd name="connsiteX15785" fmla="*/ 1123424 w 6884782"/>
              <a:gd name="connsiteY15785" fmla="*/ 4511931 h 5973007"/>
              <a:gd name="connsiteX15786" fmla="*/ 1123579 w 6884782"/>
              <a:gd name="connsiteY15786" fmla="*/ 4512757 h 5973007"/>
              <a:gd name="connsiteX15787" fmla="*/ 1122185 w 6884782"/>
              <a:gd name="connsiteY15787" fmla="*/ 4514616 h 5973007"/>
              <a:gd name="connsiteX15788" fmla="*/ 1121410 w 6884782"/>
              <a:gd name="connsiteY15788" fmla="*/ 4520708 h 5973007"/>
              <a:gd name="connsiteX15789" fmla="*/ 1119861 w 6884782"/>
              <a:gd name="connsiteY15789" fmla="*/ 4521741 h 5973007"/>
              <a:gd name="connsiteX15790" fmla="*/ 1118622 w 6884782"/>
              <a:gd name="connsiteY15790" fmla="*/ 4519159 h 5973007"/>
              <a:gd name="connsiteX15791" fmla="*/ 1120945 w 6884782"/>
              <a:gd name="connsiteY15791" fmla="*/ 4517301 h 5973007"/>
              <a:gd name="connsiteX15792" fmla="*/ 1121255 w 6884782"/>
              <a:gd name="connsiteY15792" fmla="*/ 4513790 h 5973007"/>
              <a:gd name="connsiteX15793" fmla="*/ 1123424 w 6884782"/>
              <a:gd name="connsiteY15793" fmla="*/ 4511931 h 5973007"/>
              <a:gd name="connsiteX15794" fmla="*/ 1521043 w 6884782"/>
              <a:gd name="connsiteY15794" fmla="*/ 4511002 h 5973007"/>
              <a:gd name="connsiteX15795" fmla="*/ 1521043 w 6884782"/>
              <a:gd name="connsiteY15795" fmla="*/ 4519056 h 5973007"/>
              <a:gd name="connsiteX15796" fmla="*/ 1521043 w 6884782"/>
              <a:gd name="connsiteY15796" fmla="*/ 4511002 h 5973007"/>
              <a:gd name="connsiteX15797" fmla="*/ 5931860 w 6884782"/>
              <a:gd name="connsiteY15797" fmla="*/ 4510916 h 5973007"/>
              <a:gd name="connsiteX15798" fmla="*/ 5917919 w 6884782"/>
              <a:gd name="connsiteY15798" fmla="*/ 4518248 h 5973007"/>
              <a:gd name="connsiteX15799" fmla="*/ 5917764 w 6884782"/>
              <a:gd name="connsiteY15799" fmla="*/ 4514737 h 5973007"/>
              <a:gd name="connsiteX15800" fmla="*/ 5919468 w 6884782"/>
              <a:gd name="connsiteY15800" fmla="*/ 4514840 h 5973007"/>
              <a:gd name="connsiteX15801" fmla="*/ 5931860 w 6884782"/>
              <a:gd name="connsiteY15801" fmla="*/ 4510916 h 5973007"/>
              <a:gd name="connsiteX15802" fmla="*/ 1481854 w 6884782"/>
              <a:gd name="connsiteY15802" fmla="*/ 4510692 h 5973007"/>
              <a:gd name="connsiteX15803" fmla="*/ 1493006 w 6884782"/>
              <a:gd name="connsiteY15803" fmla="*/ 4517094 h 5973007"/>
              <a:gd name="connsiteX15804" fmla="*/ 1494091 w 6884782"/>
              <a:gd name="connsiteY15804" fmla="*/ 4518746 h 5973007"/>
              <a:gd name="connsiteX15805" fmla="*/ 1495020 w 6884782"/>
              <a:gd name="connsiteY15805" fmla="*/ 4524942 h 5973007"/>
              <a:gd name="connsiteX15806" fmla="*/ 1493006 w 6884782"/>
              <a:gd name="connsiteY15806" fmla="*/ 4525355 h 5973007"/>
              <a:gd name="connsiteX15807" fmla="*/ 1481854 w 6884782"/>
              <a:gd name="connsiteY15807" fmla="*/ 4514616 h 5973007"/>
              <a:gd name="connsiteX15808" fmla="*/ 1480615 w 6884782"/>
              <a:gd name="connsiteY15808" fmla="*/ 4512964 h 5973007"/>
              <a:gd name="connsiteX15809" fmla="*/ 1481854 w 6884782"/>
              <a:gd name="connsiteY15809" fmla="*/ 4510692 h 5973007"/>
              <a:gd name="connsiteX15810" fmla="*/ 1019798 w 6884782"/>
              <a:gd name="connsiteY15810" fmla="*/ 4510692 h 5973007"/>
              <a:gd name="connsiteX15811" fmla="*/ 1021038 w 6884782"/>
              <a:gd name="connsiteY15811" fmla="*/ 4515958 h 5973007"/>
              <a:gd name="connsiteX15812" fmla="*/ 1022587 w 6884782"/>
              <a:gd name="connsiteY15812" fmla="*/ 4516371 h 5973007"/>
              <a:gd name="connsiteX15813" fmla="*/ 1026149 w 6884782"/>
              <a:gd name="connsiteY15813" fmla="*/ 4522876 h 5973007"/>
              <a:gd name="connsiteX15814" fmla="*/ 1023051 w 6884782"/>
              <a:gd name="connsiteY15814" fmla="*/ 4524115 h 5973007"/>
              <a:gd name="connsiteX15815" fmla="*/ 1023206 w 6884782"/>
              <a:gd name="connsiteY15815" fmla="*/ 4529795 h 5973007"/>
              <a:gd name="connsiteX15816" fmla="*/ 1021038 w 6884782"/>
              <a:gd name="connsiteY15816" fmla="*/ 4537848 h 5973007"/>
              <a:gd name="connsiteX15817" fmla="*/ 1014687 w 6884782"/>
              <a:gd name="connsiteY15817" fmla="*/ 4539604 h 5973007"/>
              <a:gd name="connsiteX15818" fmla="*/ 1012828 w 6884782"/>
              <a:gd name="connsiteY15818" fmla="*/ 4538262 h 5973007"/>
              <a:gd name="connsiteX15819" fmla="*/ 1015926 w 6884782"/>
              <a:gd name="connsiteY15819" fmla="*/ 4523289 h 5973007"/>
              <a:gd name="connsiteX15820" fmla="*/ 1016081 w 6884782"/>
              <a:gd name="connsiteY15820" fmla="*/ 4518230 h 5973007"/>
              <a:gd name="connsiteX15821" fmla="*/ 1015926 w 6884782"/>
              <a:gd name="connsiteY15821" fmla="*/ 4516681 h 5973007"/>
              <a:gd name="connsiteX15822" fmla="*/ 1016081 w 6884782"/>
              <a:gd name="connsiteY15822" fmla="*/ 4516578 h 5973007"/>
              <a:gd name="connsiteX15823" fmla="*/ 1016081 w 6884782"/>
              <a:gd name="connsiteY15823" fmla="*/ 4516268 h 5973007"/>
              <a:gd name="connsiteX15824" fmla="*/ 1019798 w 6884782"/>
              <a:gd name="connsiteY15824" fmla="*/ 4510692 h 5973007"/>
              <a:gd name="connsiteX15825" fmla="*/ 6213616 w 6884782"/>
              <a:gd name="connsiteY15825" fmla="*/ 4510400 h 5973007"/>
              <a:gd name="connsiteX15826" fmla="*/ 6219967 w 6884782"/>
              <a:gd name="connsiteY15826" fmla="*/ 4518558 h 5973007"/>
              <a:gd name="connsiteX15827" fmla="*/ 6217489 w 6884782"/>
              <a:gd name="connsiteY15827" fmla="*/ 4518764 h 5973007"/>
              <a:gd name="connsiteX15828" fmla="*/ 6213616 w 6884782"/>
              <a:gd name="connsiteY15828" fmla="*/ 4510400 h 5973007"/>
              <a:gd name="connsiteX15829" fmla="*/ 988044 w 6884782"/>
              <a:gd name="connsiteY15829" fmla="*/ 4509970 h 5973007"/>
              <a:gd name="connsiteX15830" fmla="*/ 990058 w 6884782"/>
              <a:gd name="connsiteY15830" fmla="*/ 4514513 h 5973007"/>
              <a:gd name="connsiteX15831" fmla="*/ 989594 w 6884782"/>
              <a:gd name="connsiteY15831" fmla="*/ 4515648 h 5973007"/>
              <a:gd name="connsiteX15832" fmla="*/ 989283 w 6884782"/>
              <a:gd name="connsiteY15832" fmla="*/ 4516578 h 5973007"/>
              <a:gd name="connsiteX15833" fmla="*/ 988354 w 6884782"/>
              <a:gd name="connsiteY15833" fmla="*/ 4518746 h 5973007"/>
              <a:gd name="connsiteX15834" fmla="*/ 984482 w 6884782"/>
              <a:gd name="connsiteY15834" fmla="*/ 4515339 h 5973007"/>
              <a:gd name="connsiteX15835" fmla="*/ 988044 w 6884782"/>
              <a:gd name="connsiteY15835" fmla="*/ 4509970 h 5973007"/>
              <a:gd name="connsiteX15836" fmla="*/ 6729886 w 6884782"/>
              <a:gd name="connsiteY15836" fmla="*/ 4509574 h 5973007"/>
              <a:gd name="connsiteX15837" fmla="*/ 6752965 w 6884782"/>
              <a:gd name="connsiteY15837" fmla="*/ 4555213 h 5973007"/>
              <a:gd name="connsiteX15838" fmla="*/ 6729886 w 6884782"/>
              <a:gd name="connsiteY15838" fmla="*/ 4509574 h 5973007"/>
              <a:gd name="connsiteX15839" fmla="*/ 5839542 w 6884782"/>
              <a:gd name="connsiteY15839" fmla="*/ 4509471 h 5973007"/>
              <a:gd name="connsiteX15840" fmla="*/ 5841865 w 6884782"/>
              <a:gd name="connsiteY15840" fmla="*/ 4517628 h 5973007"/>
              <a:gd name="connsiteX15841" fmla="*/ 5837683 w 6884782"/>
              <a:gd name="connsiteY15841" fmla="*/ 4519590 h 5973007"/>
              <a:gd name="connsiteX15842" fmla="*/ 5832262 w 6884782"/>
              <a:gd name="connsiteY15842" fmla="*/ 4518764 h 5973007"/>
              <a:gd name="connsiteX15843" fmla="*/ 5839542 w 6884782"/>
              <a:gd name="connsiteY15843" fmla="*/ 4509471 h 5973007"/>
              <a:gd name="connsiteX15844" fmla="*/ 1136590 w 6884782"/>
              <a:gd name="connsiteY15844" fmla="*/ 4509350 h 5973007"/>
              <a:gd name="connsiteX15845" fmla="*/ 1132718 w 6884782"/>
              <a:gd name="connsiteY15845" fmla="*/ 4523186 h 5973007"/>
              <a:gd name="connsiteX15846" fmla="*/ 1136590 w 6884782"/>
              <a:gd name="connsiteY15846" fmla="*/ 4509350 h 5973007"/>
              <a:gd name="connsiteX15847" fmla="*/ 891854 w 6884782"/>
              <a:gd name="connsiteY15847" fmla="*/ 4509350 h 5973007"/>
              <a:gd name="connsiteX15848" fmla="*/ 895261 w 6884782"/>
              <a:gd name="connsiteY15848" fmla="*/ 4516165 h 5973007"/>
              <a:gd name="connsiteX15849" fmla="*/ 894177 w 6884782"/>
              <a:gd name="connsiteY15849" fmla="*/ 4517920 h 5973007"/>
              <a:gd name="connsiteX15850" fmla="*/ 890770 w 6884782"/>
              <a:gd name="connsiteY15850" fmla="*/ 4521018 h 5973007"/>
              <a:gd name="connsiteX15851" fmla="*/ 888136 w 6884782"/>
              <a:gd name="connsiteY15851" fmla="*/ 4519469 h 5973007"/>
              <a:gd name="connsiteX15852" fmla="*/ 888136 w 6884782"/>
              <a:gd name="connsiteY15852" fmla="*/ 4515648 h 5973007"/>
              <a:gd name="connsiteX15853" fmla="*/ 891854 w 6884782"/>
              <a:gd name="connsiteY15853" fmla="*/ 4509350 h 5973007"/>
              <a:gd name="connsiteX15854" fmla="*/ 5707416 w 6884782"/>
              <a:gd name="connsiteY15854" fmla="*/ 4508129 h 5973007"/>
              <a:gd name="connsiteX15855" fmla="*/ 5717948 w 6884782"/>
              <a:gd name="connsiteY15855" fmla="*/ 4515563 h 5973007"/>
              <a:gd name="connsiteX15856" fmla="*/ 5710048 w 6884782"/>
              <a:gd name="connsiteY15856" fmla="*/ 4539932 h 5973007"/>
              <a:gd name="connsiteX15857" fmla="*/ 5698276 w 6884782"/>
              <a:gd name="connsiteY15857" fmla="*/ 4542513 h 5973007"/>
              <a:gd name="connsiteX15858" fmla="*/ 5694249 w 6884782"/>
              <a:gd name="connsiteY15858" fmla="*/ 4542306 h 5973007"/>
              <a:gd name="connsiteX15859" fmla="*/ 5688828 w 6884782"/>
              <a:gd name="connsiteY15859" fmla="*/ 4539828 h 5973007"/>
              <a:gd name="connsiteX15860" fmla="*/ 5707416 w 6884782"/>
              <a:gd name="connsiteY15860" fmla="*/ 4508129 h 5973007"/>
              <a:gd name="connsiteX15861" fmla="*/ 931353 w 6884782"/>
              <a:gd name="connsiteY15861" fmla="*/ 4508111 h 5973007"/>
              <a:gd name="connsiteX15862" fmla="*/ 933986 w 6884782"/>
              <a:gd name="connsiteY15862" fmla="*/ 4508627 h 5973007"/>
              <a:gd name="connsiteX15863" fmla="*/ 934296 w 6884782"/>
              <a:gd name="connsiteY15863" fmla="*/ 4511002 h 5973007"/>
              <a:gd name="connsiteX15864" fmla="*/ 935225 w 6884782"/>
              <a:gd name="connsiteY15864" fmla="*/ 4512654 h 5973007"/>
              <a:gd name="connsiteX15865" fmla="*/ 933676 w 6884782"/>
              <a:gd name="connsiteY15865" fmla="*/ 4515029 h 5973007"/>
              <a:gd name="connsiteX15866" fmla="*/ 932747 w 6884782"/>
              <a:gd name="connsiteY15866" fmla="*/ 4513377 h 5973007"/>
              <a:gd name="connsiteX15867" fmla="*/ 931353 w 6884782"/>
              <a:gd name="connsiteY15867" fmla="*/ 4508111 h 5973007"/>
              <a:gd name="connsiteX15868" fmla="*/ 1403012 w 6884782"/>
              <a:gd name="connsiteY15868" fmla="*/ 4507801 h 5973007"/>
              <a:gd name="connsiteX15869" fmla="*/ 1405180 w 6884782"/>
              <a:gd name="connsiteY15869" fmla="*/ 4510899 h 5973007"/>
              <a:gd name="connsiteX15870" fmla="*/ 1403477 w 6884782"/>
              <a:gd name="connsiteY15870" fmla="*/ 4511725 h 5973007"/>
              <a:gd name="connsiteX15871" fmla="*/ 1401928 w 6884782"/>
              <a:gd name="connsiteY15871" fmla="*/ 4511208 h 5973007"/>
              <a:gd name="connsiteX15872" fmla="*/ 1401463 w 6884782"/>
              <a:gd name="connsiteY15872" fmla="*/ 4509660 h 5973007"/>
              <a:gd name="connsiteX15873" fmla="*/ 1403012 w 6884782"/>
              <a:gd name="connsiteY15873" fmla="*/ 4507801 h 5973007"/>
              <a:gd name="connsiteX15874" fmla="*/ 6789366 w 6884782"/>
              <a:gd name="connsiteY15874" fmla="*/ 4507715 h 5973007"/>
              <a:gd name="connsiteX15875" fmla="*/ 6788437 w 6884782"/>
              <a:gd name="connsiteY15875" fmla="*/ 4511020 h 5973007"/>
              <a:gd name="connsiteX15876" fmla="*/ 6796336 w 6884782"/>
              <a:gd name="connsiteY15876" fmla="*/ 4507922 h 5973007"/>
              <a:gd name="connsiteX15877" fmla="*/ 6807489 w 6884782"/>
              <a:gd name="connsiteY15877" fmla="*/ 4524237 h 5973007"/>
              <a:gd name="connsiteX15878" fmla="*/ 6804081 w 6884782"/>
              <a:gd name="connsiteY15878" fmla="*/ 4531155 h 5973007"/>
              <a:gd name="connsiteX15879" fmla="*/ 6796801 w 6884782"/>
              <a:gd name="connsiteY15879" fmla="*/ 4535388 h 5973007"/>
              <a:gd name="connsiteX15880" fmla="*/ 6796181 w 6884782"/>
              <a:gd name="connsiteY15880" fmla="*/ 4541790 h 5973007"/>
              <a:gd name="connsiteX15881" fmla="*/ 6791999 w 6884782"/>
              <a:gd name="connsiteY15881" fmla="*/ 4545404 h 5973007"/>
              <a:gd name="connsiteX15882" fmla="*/ 6788282 w 6884782"/>
              <a:gd name="connsiteY15882" fmla="*/ 4546643 h 5973007"/>
              <a:gd name="connsiteX15883" fmla="*/ 6777749 w 6884782"/>
              <a:gd name="connsiteY15883" fmla="*/ 4539209 h 5973007"/>
              <a:gd name="connsiteX15884" fmla="*/ 6776974 w 6884782"/>
              <a:gd name="connsiteY15884" fmla="*/ 4536834 h 5973007"/>
              <a:gd name="connsiteX15885" fmla="*/ 6774650 w 6884782"/>
              <a:gd name="connsiteY15885" fmla="*/ 4533633 h 5973007"/>
              <a:gd name="connsiteX15886" fmla="*/ 6779297 w 6884782"/>
              <a:gd name="connsiteY15886" fmla="*/ 4528470 h 5973007"/>
              <a:gd name="connsiteX15887" fmla="*/ 6782550 w 6884782"/>
              <a:gd name="connsiteY15887" fmla="*/ 4526611 h 5973007"/>
              <a:gd name="connsiteX15888" fmla="*/ 6781466 w 6884782"/>
              <a:gd name="connsiteY15888" fmla="*/ 4520519 h 5973007"/>
              <a:gd name="connsiteX15889" fmla="*/ 6779607 w 6884782"/>
              <a:gd name="connsiteY15889" fmla="*/ 4521449 h 5973007"/>
              <a:gd name="connsiteX15890" fmla="*/ 6777904 w 6884782"/>
              <a:gd name="connsiteY15890" fmla="*/ 4509265 h 5973007"/>
              <a:gd name="connsiteX15891" fmla="*/ 6789366 w 6884782"/>
              <a:gd name="connsiteY15891" fmla="*/ 4507715 h 5973007"/>
              <a:gd name="connsiteX15892" fmla="*/ 1463886 w 6884782"/>
              <a:gd name="connsiteY15892" fmla="*/ 4507698 h 5973007"/>
              <a:gd name="connsiteX15893" fmla="*/ 1468223 w 6884782"/>
              <a:gd name="connsiteY15893" fmla="*/ 4515339 h 5973007"/>
              <a:gd name="connsiteX15894" fmla="*/ 1468997 w 6884782"/>
              <a:gd name="connsiteY15894" fmla="*/ 4518437 h 5973007"/>
              <a:gd name="connsiteX15895" fmla="*/ 1468688 w 6884782"/>
              <a:gd name="connsiteY15895" fmla="*/ 4517610 h 5973007"/>
              <a:gd name="connsiteX15896" fmla="*/ 1468223 w 6884782"/>
              <a:gd name="connsiteY15896" fmla="*/ 4518746 h 5973007"/>
              <a:gd name="connsiteX15897" fmla="*/ 1464351 w 6884782"/>
              <a:gd name="connsiteY15897" fmla="*/ 4512551 h 5973007"/>
              <a:gd name="connsiteX15898" fmla="*/ 1463111 w 6884782"/>
              <a:gd name="connsiteY15898" fmla="*/ 4508008 h 5973007"/>
              <a:gd name="connsiteX15899" fmla="*/ 1463886 w 6884782"/>
              <a:gd name="connsiteY15899" fmla="*/ 4507698 h 5973007"/>
              <a:gd name="connsiteX15900" fmla="*/ 1757724 w 6884782"/>
              <a:gd name="connsiteY15900" fmla="*/ 4507595 h 5973007"/>
              <a:gd name="connsiteX15901" fmla="*/ 1760357 w 6884782"/>
              <a:gd name="connsiteY15901" fmla="*/ 4508008 h 5973007"/>
              <a:gd name="connsiteX15902" fmla="*/ 1759273 w 6884782"/>
              <a:gd name="connsiteY15902" fmla="*/ 4512241 h 5973007"/>
              <a:gd name="connsiteX15903" fmla="*/ 1756640 w 6884782"/>
              <a:gd name="connsiteY15903" fmla="*/ 4511002 h 5973007"/>
              <a:gd name="connsiteX15904" fmla="*/ 1757724 w 6884782"/>
              <a:gd name="connsiteY15904" fmla="*/ 4507595 h 5973007"/>
              <a:gd name="connsiteX15905" fmla="*/ 1576651 w 6884782"/>
              <a:gd name="connsiteY15905" fmla="*/ 4507491 h 5973007"/>
              <a:gd name="connsiteX15906" fmla="*/ 1576496 w 6884782"/>
              <a:gd name="connsiteY15906" fmla="*/ 4514100 h 5973007"/>
              <a:gd name="connsiteX15907" fmla="*/ 1574637 w 6884782"/>
              <a:gd name="connsiteY15907" fmla="*/ 4514100 h 5973007"/>
              <a:gd name="connsiteX15908" fmla="*/ 1572469 w 6884782"/>
              <a:gd name="connsiteY15908" fmla="*/ 4512344 h 5973007"/>
              <a:gd name="connsiteX15909" fmla="*/ 1572004 w 6884782"/>
              <a:gd name="connsiteY15909" fmla="*/ 4509763 h 5973007"/>
              <a:gd name="connsiteX15910" fmla="*/ 1576651 w 6884782"/>
              <a:gd name="connsiteY15910" fmla="*/ 4507491 h 5973007"/>
              <a:gd name="connsiteX15911" fmla="*/ 5938366 w 6884782"/>
              <a:gd name="connsiteY15911" fmla="*/ 4507096 h 5973007"/>
              <a:gd name="connsiteX15912" fmla="*/ 5935113 w 6884782"/>
              <a:gd name="connsiteY15912" fmla="*/ 4509574 h 5973007"/>
              <a:gd name="connsiteX15913" fmla="*/ 5934184 w 6884782"/>
              <a:gd name="connsiteY15913" fmla="*/ 4508645 h 5973007"/>
              <a:gd name="connsiteX15914" fmla="*/ 5938366 w 6884782"/>
              <a:gd name="connsiteY15914" fmla="*/ 4507096 h 5973007"/>
              <a:gd name="connsiteX15915" fmla="*/ 1547685 w 6884782"/>
              <a:gd name="connsiteY15915" fmla="*/ 4506872 h 5973007"/>
              <a:gd name="connsiteX15916" fmla="*/ 1548924 w 6884782"/>
              <a:gd name="connsiteY15916" fmla="*/ 4510382 h 5973007"/>
              <a:gd name="connsiteX15917" fmla="*/ 1549234 w 6884782"/>
              <a:gd name="connsiteY15917" fmla="*/ 4511931 h 5973007"/>
              <a:gd name="connsiteX15918" fmla="*/ 1551557 w 6884782"/>
              <a:gd name="connsiteY15918" fmla="*/ 4512241 h 5973007"/>
              <a:gd name="connsiteX15919" fmla="*/ 1556049 w 6884782"/>
              <a:gd name="connsiteY15919" fmla="*/ 4517507 h 5973007"/>
              <a:gd name="connsiteX15920" fmla="*/ 1546136 w 6884782"/>
              <a:gd name="connsiteY15920" fmla="*/ 4520811 h 5973007"/>
              <a:gd name="connsiteX15921" fmla="*/ 1545361 w 6884782"/>
              <a:gd name="connsiteY15921" fmla="*/ 4511518 h 5973007"/>
              <a:gd name="connsiteX15922" fmla="*/ 1547220 w 6884782"/>
              <a:gd name="connsiteY15922" fmla="*/ 4511725 h 5973007"/>
              <a:gd name="connsiteX15923" fmla="*/ 1547065 w 6884782"/>
              <a:gd name="connsiteY15923" fmla="*/ 4511002 h 5973007"/>
              <a:gd name="connsiteX15924" fmla="*/ 1547685 w 6884782"/>
              <a:gd name="connsiteY15924" fmla="*/ 4506872 h 5973007"/>
              <a:gd name="connsiteX15925" fmla="*/ 5925238 w 6884782"/>
              <a:gd name="connsiteY15925" fmla="*/ 4506412 h 5973007"/>
              <a:gd name="connsiteX15926" fmla="*/ 5929846 w 6884782"/>
              <a:gd name="connsiteY15926" fmla="*/ 4506683 h 5973007"/>
              <a:gd name="connsiteX15927" fmla="*/ 5929846 w 6884782"/>
              <a:gd name="connsiteY15927" fmla="*/ 4507612 h 5973007"/>
              <a:gd name="connsiteX15928" fmla="*/ 5921327 w 6884782"/>
              <a:gd name="connsiteY15928" fmla="*/ 4509161 h 5973007"/>
              <a:gd name="connsiteX15929" fmla="*/ 5918074 w 6884782"/>
              <a:gd name="connsiteY15929" fmla="*/ 4508748 h 5973007"/>
              <a:gd name="connsiteX15930" fmla="*/ 5919004 w 6884782"/>
              <a:gd name="connsiteY15930" fmla="*/ 4508748 h 5973007"/>
              <a:gd name="connsiteX15931" fmla="*/ 5918074 w 6884782"/>
              <a:gd name="connsiteY15931" fmla="*/ 4507922 h 5973007"/>
              <a:gd name="connsiteX15932" fmla="*/ 5925238 w 6884782"/>
              <a:gd name="connsiteY15932" fmla="*/ 4506412 h 5973007"/>
              <a:gd name="connsiteX15933" fmla="*/ 1126832 w 6884782"/>
              <a:gd name="connsiteY15933" fmla="*/ 4506355 h 5973007"/>
              <a:gd name="connsiteX15934" fmla="*/ 1123269 w 6884782"/>
              <a:gd name="connsiteY15934" fmla="*/ 4511002 h 5973007"/>
              <a:gd name="connsiteX15935" fmla="*/ 1124663 w 6884782"/>
              <a:gd name="connsiteY15935" fmla="*/ 4509143 h 5973007"/>
              <a:gd name="connsiteX15936" fmla="*/ 1124508 w 6884782"/>
              <a:gd name="connsiteY15936" fmla="*/ 4507388 h 5973007"/>
              <a:gd name="connsiteX15937" fmla="*/ 1126832 w 6884782"/>
              <a:gd name="connsiteY15937" fmla="*/ 4506355 h 5973007"/>
              <a:gd name="connsiteX15938" fmla="*/ 1784406 w 6884782"/>
              <a:gd name="connsiteY15938" fmla="*/ 4506252 h 5973007"/>
              <a:gd name="connsiteX15939" fmla="*/ 1788239 w 6884782"/>
              <a:gd name="connsiteY15939" fmla="*/ 4509453 h 5973007"/>
              <a:gd name="connsiteX15940" fmla="*/ 1786380 w 6884782"/>
              <a:gd name="connsiteY15940" fmla="*/ 4510899 h 5973007"/>
              <a:gd name="connsiteX15941" fmla="*/ 1779410 w 6884782"/>
              <a:gd name="connsiteY15941" fmla="*/ 4507388 h 5973007"/>
              <a:gd name="connsiteX15942" fmla="*/ 1784406 w 6884782"/>
              <a:gd name="connsiteY15942" fmla="*/ 4506252 h 5973007"/>
              <a:gd name="connsiteX15943" fmla="*/ 6134619 w 6884782"/>
              <a:gd name="connsiteY15943" fmla="*/ 4505960 h 5973007"/>
              <a:gd name="connsiteX15944" fmla="*/ 6139886 w 6884782"/>
              <a:gd name="connsiteY15944" fmla="*/ 4508748 h 5973007"/>
              <a:gd name="connsiteX15945" fmla="*/ 6136633 w 6884782"/>
              <a:gd name="connsiteY15945" fmla="*/ 4512981 h 5973007"/>
              <a:gd name="connsiteX15946" fmla="*/ 6134619 w 6884782"/>
              <a:gd name="connsiteY15946" fmla="*/ 4505960 h 5973007"/>
              <a:gd name="connsiteX15947" fmla="*/ 881786 w 6884782"/>
              <a:gd name="connsiteY15947" fmla="*/ 4505942 h 5973007"/>
              <a:gd name="connsiteX15948" fmla="*/ 880547 w 6884782"/>
              <a:gd name="connsiteY15948" fmla="*/ 4511415 h 5973007"/>
              <a:gd name="connsiteX15949" fmla="*/ 877449 w 6884782"/>
              <a:gd name="connsiteY15949" fmla="*/ 4508420 h 5973007"/>
              <a:gd name="connsiteX15950" fmla="*/ 881786 w 6884782"/>
              <a:gd name="connsiteY15950" fmla="*/ 4505942 h 5973007"/>
              <a:gd name="connsiteX15951" fmla="*/ 952264 w 6884782"/>
              <a:gd name="connsiteY15951" fmla="*/ 4505736 h 5973007"/>
              <a:gd name="connsiteX15952" fmla="*/ 954277 w 6884782"/>
              <a:gd name="connsiteY15952" fmla="*/ 4506872 h 5973007"/>
              <a:gd name="connsiteX15953" fmla="*/ 952728 w 6884782"/>
              <a:gd name="connsiteY15953" fmla="*/ 4515339 h 5973007"/>
              <a:gd name="connsiteX15954" fmla="*/ 951024 w 6884782"/>
              <a:gd name="connsiteY15954" fmla="*/ 4507388 h 5973007"/>
              <a:gd name="connsiteX15955" fmla="*/ 952264 w 6884782"/>
              <a:gd name="connsiteY15955" fmla="*/ 4505736 h 5973007"/>
              <a:gd name="connsiteX15956" fmla="*/ 1606391 w 6884782"/>
              <a:gd name="connsiteY15956" fmla="*/ 4504910 h 5973007"/>
              <a:gd name="connsiteX15957" fmla="*/ 1608869 w 6884782"/>
              <a:gd name="connsiteY15957" fmla="*/ 4508627 h 5973007"/>
              <a:gd name="connsiteX15958" fmla="*/ 1607475 w 6884782"/>
              <a:gd name="connsiteY15958" fmla="*/ 4510176 h 5973007"/>
              <a:gd name="connsiteX15959" fmla="*/ 1604841 w 6884782"/>
              <a:gd name="connsiteY15959" fmla="*/ 4510486 h 5973007"/>
              <a:gd name="connsiteX15960" fmla="*/ 1602828 w 6884782"/>
              <a:gd name="connsiteY15960" fmla="*/ 4507698 h 5973007"/>
              <a:gd name="connsiteX15961" fmla="*/ 1604067 w 6884782"/>
              <a:gd name="connsiteY15961" fmla="*/ 4506149 h 5973007"/>
              <a:gd name="connsiteX15962" fmla="*/ 1606391 w 6884782"/>
              <a:gd name="connsiteY15962" fmla="*/ 4504910 h 5973007"/>
              <a:gd name="connsiteX15963" fmla="*/ 1466364 w 6884782"/>
              <a:gd name="connsiteY15963" fmla="*/ 4504703 h 5973007"/>
              <a:gd name="connsiteX15964" fmla="*/ 1477982 w 6884782"/>
              <a:gd name="connsiteY15964" fmla="*/ 4515545 h 5973007"/>
              <a:gd name="connsiteX15965" fmla="*/ 1474729 w 6884782"/>
              <a:gd name="connsiteY15965" fmla="*/ 4516887 h 5973007"/>
              <a:gd name="connsiteX15966" fmla="*/ 1474109 w 6884782"/>
              <a:gd name="connsiteY15966" fmla="*/ 4515132 h 5973007"/>
              <a:gd name="connsiteX15967" fmla="*/ 1466364 w 6884782"/>
              <a:gd name="connsiteY15967" fmla="*/ 4504703 h 5973007"/>
              <a:gd name="connsiteX15968" fmla="*/ 885813 w 6884782"/>
              <a:gd name="connsiteY15968" fmla="*/ 4504394 h 5973007"/>
              <a:gd name="connsiteX15969" fmla="*/ 886278 w 6884782"/>
              <a:gd name="connsiteY15969" fmla="*/ 4507904 h 5973007"/>
              <a:gd name="connsiteX15970" fmla="*/ 884264 w 6884782"/>
              <a:gd name="connsiteY15970" fmla="*/ 4508111 h 5973007"/>
              <a:gd name="connsiteX15971" fmla="*/ 883180 w 6884782"/>
              <a:gd name="connsiteY15971" fmla="*/ 4507078 h 5973007"/>
              <a:gd name="connsiteX15972" fmla="*/ 883490 w 6884782"/>
              <a:gd name="connsiteY15972" fmla="*/ 4505530 h 5973007"/>
              <a:gd name="connsiteX15973" fmla="*/ 885813 w 6884782"/>
              <a:gd name="connsiteY15973" fmla="*/ 4504394 h 5973007"/>
              <a:gd name="connsiteX15974" fmla="*/ 674535 w 6884782"/>
              <a:gd name="connsiteY15974" fmla="*/ 4503980 h 5973007"/>
              <a:gd name="connsiteX15975" fmla="*/ 676238 w 6884782"/>
              <a:gd name="connsiteY15975" fmla="*/ 4504910 h 5973007"/>
              <a:gd name="connsiteX15976" fmla="*/ 677788 w 6884782"/>
              <a:gd name="connsiteY15976" fmla="*/ 4505013 h 5973007"/>
              <a:gd name="connsiteX15977" fmla="*/ 677943 w 6884782"/>
              <a:gd name="connsiteY15977" fmla="*/ 4505839 h 5973007"/>
              <a:gd name="connsiteX15978" fmla="*/ 678717 w 6884782"/>
              <a:gd name="connsiteY15978" fmla="*/ 4506769 h 5973007"/>
              <a:gd name="connsiteX15979" fmla="*/ 677322 w 6884782"/>
              <a:gd name="connsiteY15979" fmla="*/ 4510176 h 5973007"/>
              <a:gd name="connsiteX15980" fmla="*/ 675619 w 6884782"/>
              <a:gd name="connsiteY15980" fmla="*/ 4511208 h 5973007"/>
              <a:gd name="connsiteX15981" fmla="*/ 673915 w 6884782"/>
              <a:gd name="connsiteY15981" fmla="*/ 4511002 h 5973007"/>
              <a:gd name="connsiteX15982" fmla="*/ 673141 w 6884782"/>
              <a:gd name="connsiteY15982" fmla="*/ 4509143 h 5973007"/>
              <a:gd name="connsiteX15983" fmla="*/ 672831 w 6884782"/>
              <a:gd name="connsiteY15983" fmla="*/ 4505633 h 5973007"/>
              <a:gd name="connsiteX15984" fmla="*/ 674535 w 6884782"/>
              <a:gd name="connsiteY15984" fmla="*/ 4503980 h 5973007"/>
              <a:gd name="connsiteX15985" fmla="*/ 5770613 w 6884782"/>
              <a:gd name="connsiteY15985" fmla="*/ 4503585 h 5973007"/>
              <a:gd name="connsiteX15986" fmla="*/ 5796016 w 6884782"/>
              <a:gd name="connsiteY15986" fmla="*/ 4508748 h 5973007"/>
              <a:gd name="connsiteX15987" fmla="*/ 5790440 w 6884782"/>
              <a:gd name="connsiteY15987" fmla="*/ 4512362 h 5973007"/>
              <a:gd name="connsiteX15988" fmla="*/ 5770613 w 6884782"/>
              <a:gd name="connsiteY15988" fmla="*/ 4503585 h 5973007"/>
              <a:gd name="connsiteX15989" fmla="*/ 1137364 w 6884782"/>
              <a:gd name="connsiteY15989" fmla="*/ 4502948 h 5973007"/>
              <a:gd name="connsiteX15990" fmla="*/ 1138139 w 6884782"/>
              <a:gd name="connsiteY15990" fmla="*/ 4502948 h 5973007"/>
              <a:gd name="connsiteX15991" fmla="*/ 1137209 w 6884782"/>
              <a:gd name="connsiteY15991" fmla="*/ 4504807 h 5973007"/>
              <a:gd name="connsiteX15992" fmla="*/ 1136590 w 6884782"/>
              <a:gd name="connsiteY15992" fmla="*/ 4504290 h 5973007"/>
              <a:gd name="connsiteX15993" fmla="*/ 1137364 w 6884782"/>
              <a:gd name="connsiteY15993" fmla="*/ 4502948 h 5973007"/>
              <a:gd name="connsiteX15994" fmla="*/ 5621758 w 6884782"/>
              <a:gd name="connsiteY15994" fmla="*/ 4502759 h 5973007"/>
              <a:gd name="connsiteX15995" fmla="*/ 5627334 w 6884782"/>
              <a:gd name="connsiteY15995" fmla="*/ 4504618 h 5973007"/>
              <a:gd name="connsiteX15996" fmla="*/ 5627954 w 6884782"/>
              <a:gd name="connsiteY15996" fmla="*/ 4507199 h 5973007"/>
              <a:gd name="connsiteX15997" fmla="*/ 5626560 w 6884782"/>
              <a:gd name="connsiteY15997" fmla="*/ 4512466 h 5973007"/>
              <a:gd name="connsiteX15998" fmla="*/ 5627489 w 6884782"/>
              <a:gd name="connsiteY15998" fmla="*/ 4512466 h 5973007"/>
              <a:gd name="connsiteX15999" fmla="*/ 5622377 w 6884782"/>
              <a:gd name="connsiteY15999" fmla="*/ 4513292 h 5973007"/>
              <a:gd name="connsiteX16000" fmla="*/ 5619279 w 6884782"/>
              <a:gd name="connsiteY16000" fmla="*/ 4509884 h 5973007"/>
              <a:gd name="connsiteX16001" fmla="*/ 5621758 w 6884782"/>
              <a:gd name="connsiteY16001" fmla="*/ 4502759 h 5973007"/>
              <a:gd name="connsiteX16002" fmla="*/ 836556 w 6884782"/>
              <a:gd name="connsiteY16002" fmla="*/ 4502638 h 5973007"/>
              <a:gd name="connsiteX16003" fmla="*/ 851736 w 6884782"/>
              <a:gd name="connsiteY16003" fmla="*/ 4524942 h 5973007"/>
              <a:gd name="connsiteX16004" fmla="*/ 843061 w 6884782"/>
              <a:gd name="connsiteY16004" fmla="*/ 4531447 h 5973007"/>
              <a:gd name="connsiteX16005" fmla="*/ 839809 w 6884782"/>
              <a:gd name="connsiteY16005" fmla="*/ 4531240 h 5973007"/>
              <a:gd name="connsiteX16006" fmla="*/ 829896 w 6884782"/>
              <a:gd name="connsiteY16006" fmla="*/ 4522050 h 5973007"/>
              <a:gd name="connsiteX16007" fmla="*/ 836556 w 6884782"/>
              <a:gd name="connsiteY16007" fmla="*/ 4502638 h 5973007"/>
              <a:gd name="connsiteX16008" fmla="*/ 1152699 w 6884782"/>
              <a:gd name="connsiteY16008" fmla="*/ 4501606 h 5973007"/>
              <a:gd name="connsiteX16009" fmla="*/ 1153009 w 6884782"/>
              <a:gd name="connsiteY16009" fmla="*/ 4503980 h 5973007"/>
              <a:gd name="connsiteX16010" fmla="*/ 1155487 w 6884782"/>
              <a:gd name="connsiteY16010" fmla="*/ 4503258 h 5973007"/>
              <a:gd name="connsiteX16011" fmla="*/ 1163697 w 6884782"/>
              <a:gd name="connsiteY16011" fmla="*/ 4509660 h 5973007"/>
              <a:gd name="connsiteX16012" fmla="*/ 1163232 w 6884782"/>
              <a:gd name="connsiteY16012" fmla="*/ 4514822 h 5973007"/>
              <a:gd name="connsiteX16013" fmla="*/ 1161219 w 6884782"/>
              <a:gd name="connsiteY16013" fmla="*/ 4517610 h 5973007"/>
              <a:gd name="connsiteX16014" fmla="*/ 1161219 w 6884782"/>
              <a:gd name="connsiteY16014" fmla="*/ 4517714 h 5973007"/>
              <a:gd name="connsiteX16015" fmla="*/ 1161529 w 6884782"/>
              <a:gd name="connsiteY16015" fmla="*/ 4523393 h 5973007"/>
              <a:gd name="connsiteX16016" fmla="*/ 1159050 w 6884782"/>
              <a:gd name="connsiteY16016" fmla="*/ 4529795 h 5973007"/>
              <a:gd name="connsiteX16017" fmla="*/ 1156727 w 6884782"/>
              <a:gd name="connsiteY16017" fmla="*/ 4530724 h 5973007"/>
              <a:gd name="connsiteX16018" fmla="*/ 1158586 w 6884782"/>
              <a:gd name="connsiteY16018" fmla="*/ 4533099 h 5973007"/>
              <a:gd name="connsiteX16019" fmla="*/ 1159050 w 6884782"/>
              <a:gd name="connsiteY16019" fmla="*/ 4536609 h 5973007"/>
              <a:gd name="connsiteX16020" fmla="*/ 1155952 w 6884782"/>
              <a:gd name="connsiteY16020" fmla="*/ 4533822 h 5973007"/>
              <a:gd name="connsiteX16021" fmla="*/ 1154868 w 6884782"/>
              <a:gd name="connsiteY16021" fmla="*/ 4532376 h 5973007"/>
              <a:gd name="connsiteX16022" fmla="*/ 1155798 w 6884782"/>
              <a:gd name="connsiteY16022" fmla="*/ 4531137 h 5973007"/>
              <a:gd name="connsiteX16023" fmla="*/ 1155487 w 6884782"/>
              <a:gd name="connsiteY16023" fmla="*/ 4531240 h 5973007"/>
              <a:gd name="connsiteX16024" fmla="*/ 1151150 w 6884782"/>
              <a:gd name="connsiteY16024" fmla="*/ 4531034 h 5973007"/>
              <a:gd name="connsiteX16025" fmla="*/ 1150996 w 6884782"/>
              <a:gd name="connsiteY16025" fmla="*/ 4531137 h 5973007"/>
              <a:gd name="connsiteX16026" fmla="*/ 1149756 w 6884782"/>
              <a:gd name="connsiteY16026" fmla="*/ 4531343 h 5973007"/>
              <a:gd name="connsiteX16027" fmla="*/ 1149911 w 6884782"/>
              <a:gd name="connsiteY16027" fmla="*/ 4531034 h 5973007"/>
              <a:gd name="connsiteX16028" fmla="*/ 1149911 w 6884782"/>
              <a:gd name="connsiteY16028" fmla="*/ 4530931 h 5973007"/>
              <a:gd name="connsiteX16029" fmla="*/ 1150376 w 6884782"/>
              <a:gd name="connsiteY16029" fmla="*/ 4529588 h 5973007"/>
              <a:gd name="connsiteX16030" fmla="*/ 1150686 w 6884782"/>
              <a:gd name="connsiteY16030" fmla="*/ 4529072 h 5973007"/>
              <a:gd name="connsiteX16031" fmla="*/ 1151615 w 6884782"/>
              <a:gd name="connsiteY16031" fmla="*/ 4527110 h 5973007"/>
              <a:gd name="connsiteX16032" fmla="*/ 1151460 w 6884782"/>
              <a:gd name="connsiteY16032" fmla="*/ 4526077 h 5973007"/>
              <a:gd name="connsiteX16033" fmla="*/ 1153164 w 6884782"/>
              <a:gd name="connsiteY16033" fmla="*/ 4523289 h 5973007"/>
              <a:gd name="connsiteX16034" fmla="*/ 1153938 w 6884782"/>
              <a:gd name="connsiteY16034" fmla="*/ 4518953 h 5973007"/>
              <a:gd name="connsiteX16035" fmla="*/ 1152544 w 6884782"/>
              <a:gd name="connsiteY16035" fmla="*/ 4518953 h 5973007"/>
              <a:gd name="connsiteX16036" fmla="*/ 1150066 w 6884782"/>
              <a:gd name="connsiteY16036" fmla="*/ 4517404 h 5973007"/>
              <a:gd name="connsiteX16037" fmla="*/ 1148982 w 6884782"/>
              <a:gd name="connsiteY16037" fmla="*/ 4515545 h 5973007"/>
              <a:gd name="connsiteX16038" fmla="*/ 1148982 w 6884782"/>
              <a:gd name="connsiteY16038" fmla="*/ 4517198 h 5973007"/>
              <a:gd name="connsiteX16039" fmla="*/ 1145574 w 6884782"/>
              <a:gd name="connsiteY16039" fmla="*/ 4515855 h 5973007"/>
              <a:gd name="connsiteX16040" fmla="*/ 1144799 w 6884782"/>
              <a:gd name="connsiteY16040" fmla="*/ 4513067 h 5973007"/>
              <a:gd name="connsiteX16041" fmla="*/ 1145729 w 6884782"/>
              <a:gd name="connsiteY16041" fmla="*/ 4513170 h 5973007"/>
              <a:gd name="connsiteX16042" fmla="*/ 1148517 w 6884782"/>
              <a:gd name="connsiteY16042" fmla="*/ 4512964 h 5973007"/>
              <a:gd name="connsiteX16043" fmla="*/ 1148207 w 6884782"/>
              <a:gd name="connsiteY16043" fmla="*/ 4509970 h 5973007"/>
              <a:gd name="connsiteX16044" fmla="*/ 1148827 w 6884782"/>
              <a:gd name="connsiteY16044" fmla="*/ 4508420 h 5973007"/>
              <a:gd name="connsiteX16045" fmla="*/ 1148363 w 6884782"/>
              <a:gd name="connsiteY16045" fmla="*/ 4507078 h 5973007"/>
              <a:gd name="connsiteX16046" fmla="*/ 1143096 w 6884782"/>
              <a:gd name="connsiteY16046" fmla="*/ 4508420 h 5973007"/>
              <a:gd name="connsiteX16047" fmla="*/ 1137055 w 6884782"/>
              <a:gd name="connsiteY16047" fmla="*/ 4509143 h 5973007"/>
              <a:gd name="connsiteX16048" fmla="*/ 1136745 w 6884782"/>
              <a:gd name="connsiteY16048" fmla="*/ 4509040 h 5973007"/>
              <a:gd name="connsiteX16049" fmla="*/ 1136745 w 6884782"/>
              <a:gd name="connsiteY16049" fmla="*/ 4509350 h 5973007"/>
              <a:gd name="connsiteX16050" fmla="*/ 1136435 w 6884782"/>
              <a:gd name="connsiteY16050" fmla="*/ 4508937 h 5973007"/>
              <a:gd name="connsiteX16051" fmla="*/ 1134886 w 6884782"/>
              <a:gd name="connsiteY16051" fmla="*/ 4508420 h 5973007"/>
              <a:gd name="connsiteX16052" fmla="*/ 1137055 w 6884782"/>
              <a:gd name="connsiteY16052" fmla="*/ 4506562 h 5973007"/>
              <a:gd name="connsiteX16053" fmla="*/ 1138139 w 6884782"/>
              <a:gd name="connsiteY16053" fmla="*/ 4506252 h 5973007"/>
              <a:gd name="connsiteX16054" fmla="*/ 1138759 w 6884782"/>
              <a:gd name="connsiteY16054" fmla="*/ 4505426 h 5973007"/>
              <a:gd name="connsiteX16055" fmla="*/ 1139378 w 6884782"/>
              <a:gd name="connsiteY16055" fmla="*/ 4505839 h 5973007"/>
              <a:gd name="connsiteX16056" fmla="*/ 1141702 w 6884782"/>
              <a:gd name="connsiteY16056" fmla="*/ 4505219 h 5973007"/>
              <a:gd name="connsiteX16057" fmla="*/ 1146659 w 6884782"/>
              <a:gd name="connsiteY16057" fmla="*/ 4501915 h 5973007"/>
              <a:gd name="connsiteX16058" fmla="*/ 1152699 w 6884782"/>
              <a:gd name="connsiteY16058" fmla="*/ 4501606 h 5973007"/>
              <a:gd name="connsiteX16059" fmla="*/ 1010040 w 6884782"/>
              <a:gd name="connsiteY16059" fmla="*/ 4501399 h 5973007"/>
              <a:gd name="connsiteX16060" fmla="*/ 1014222 w 6884782"/>
              <a:gd name="connsiteY16060" fmla="*/ 4507698 h 5973007"/>
              <a:gd name="connsiteX16061" fmla="*/ 1010659 w 6884782"/>
              <a:gd name="connsiteY16061" fmla="*/ 4509866 h 5973007"/>
              <a:gd name="connsiteX16062" fmla="*/ 1006787 w 6884782"/>
              <a:gd name="connsiteY16062" fmla="*/ 4506872 h 5973007"/>
              <a:gd name="connsiteX16063" fmla="*/ 1004618 w 6884782"/>
              <a:gd name="connsiteY16063" fmla="*/ 4501915 h 5973007"/>
              <a:gd name="connsiteX16064" fmla="*/ 1010040 w 6884782"/>
              <a:gd name="connsiteY16064" fmla="*/ 4501399 h 5973007"/>
              <a:gd name="connsiteX16065" fmla="*/ 1748121 w 6884782"/>
              <a:gd name="connsiteY16065" fmla="*/ 4501089 h 5973007"/>
              <a:gd name="connsiteX16066" fmla="*/ 1748740 w 6884782"/>
              <a:gd name="connsiteY16066" fmla="*/ 4510899 h 5973007"/>
              <a:gd name="connsiteX16067" fmla="*/ 1742699 w 6884782"/>
              <a:gd name="connsiteY16067" fmla="*/ 4501296 h 5973007"/>
              <a:gd name="connsiteX16068" fmla="*/ 1748121 w 6884782"/>
              <a:gd name="connsiteY16068" fmla="*/ 4501089 h 5973007"/>
              <a:gd name="connsiteX16069" fmla="*/ 1371258 w 6884782"/>
              <a:gd name="connsiteY16069" fmla="*/ 4500883 h 5973007"/>
              <a:gd name="connsiteX16070" fmla="*/ 1373117 w 6884782"/>
              <a:gd name="connsiteY16070" fmla="*/ 4503877 h 5973007"/>
              <a:gd name="connsiteX16071" fmla="*/ 1371723 w 6884782"/>
              <a:gd name="connsiteY16071" fmla="*/ 4505426 h 5973007"/>
              <a:gd name="connsiteX16072" fmla="*/ 1370328 w 6884782"/>
              <a:gd name="connsiteY16072" fmla="*/ 4506665 h 5973007"/>
              <a:gd name="connsiteX16073" fmla="*/ 1369244 w 6884782"/>
              <a:gd name="connsiteY16073" fmla="*/ 4506355 h 5973007"/>
              <a:gd name="connsiteX16074" fmla="*/ 1367076 w 6884782"/>
              <a:gd name="connsiteY16074" fmla="*/ 4502638 h 5973007"/>
              <a:gd name="connsiteX16075" fmla="*/ 1368470 w 6884782"/>
              <a:gd name="connsiteY16075" fmla="*/ 4501089 h 5973007"/>
              <a:gd name="connsiteX16076" fmla="*/ 1371258 w 6884782"/>
              <a:gd name="connsiteY16076" fmla="*/ 4500883 h 5973007"/>
              <a:gd name="connsiteX16077" fmla="*/ 712484 w 6884782"/>
              <a:gd name="connsiteY16077" fmla="*/ 4500883 h 5973007"/>
              <a:gd name="connsiteX16078" fmla="*/ 712020 w 6884782"/>
              <a:gd name="connsiteY16078" fmla="*/ 4508524 h 5973007"/>
              <a:gd name="connsiteX16079" fmla="*/ 709387 w 6884782"/>
              <a:gd name="connsiteY16079" fmla="*/ 4508937 h 5973007"/>
              <a:gd name="connsiteX16080" fmla="*/ 706753 w 6884782"/>
              <a:gd name="connsiteY16080" fmla="*/ 4503154 h 5973007"/>
              <a:gd name="connsiteX16081" fmla="*/ 708302 w 6884782"/>
              <a:gd name="connsiteY16081" fmla="*/ 4501089 h 5973007"/>
              <a:gd name="connsiteX16082" fmla="*/ 712484 w 6884782"/>
              <a:gd name="connsiteY16082" fmla="*/ 4500883 h 5973007"/>
              <a:gd name="connsiteX16083" fmla="*/ 1540715 w 6884782"/>
              <a:gd name="connsiteY16083" fmla="*/ 4500160 h 5973007"/>
              <a:gd name="connsiteX16084" fmla="*/ 1543038 w 6884782"/>
              <a:gd name="connsiteY16084" fmla="*/ 4503154 h 5973007"/>
              <a:gd name="connsiteX16085" fmla="*/ 1543193 w 6884782"/>
              <a:gd name="connsiteY16085" fmla="*/ 4508420 h 5973007"/>
              <a:gd name="connsiteX16086" fmla="*/ 1543348 w 6884782"/>
              <a:gd name="connsiteY16086" fmla="*/ 4508317 h 5973007"/>
              <a:gd name="connsiteX16087" fmla="*/ 1544277 w 6884782"/>
              <a:gd name="connsiteY16087" fmla="*/ 4509143 h 5973007"/>
              <a:gd name="connsiteX16088" fmla="*/ 1544897 w 6884782"/>
              <a:gd name="connsiteY16088" fmla="*/ 4513790 h 5973007"/>
              <a:gd name="connsiteX16089" fmla="*/ 1543038 w 6884782"/>
              <a:gd name="connsiteY16089" fmla="*/ 4514409 h 5973007"/>
              <a:gd name="connsiteX16090" fmla="*/ 1540560 w 6884782"/>
              <a:gd name="connsiteY16090" fmla="*/ 4513067 h 5973007"/>
              <a:gd name="connsiteX16091" fmla="*/ 1540405 w 6884782"/>
              <a:gd name="connsiteY16091" fmla="*/ 4512241 h 5973007"/>
              <a:gd name="connsiteX16092" fmla="*/ 1536378 w 6884782"/>
              <a:gd name="connsiteY16092" fmla="*/ 4512964 h 5973007"/>
              <a:gd name="connsiteX16093" fmla="*/ 1529717 w 6884782"/>
              <a:gd name="connsiteY16093" fmla="*/ 4509970 h 5973007"/>
              <a:gd name="connsiteX16094" fmla="*/ 1530491 w 6884782"/>
              <a:gd name="connsiteY16094" fmla="*/ 4502638 h 5973007"/>
              <a:gd name="connsiteX16095" fmla="*/ 1540715 w 6884782"/>
              <a:gd name="connsiteY16095" fmla="*/ 4500160 h 5973007"/>
              <a:gd name="connsiteX16096" fmla="*/ 1460633 w 6884782"/>
              <a:gd name="connsiteY16096" fmla="*/ 4499850 h 5973007"/>
              <a:gd name="connsiteX16097" fmla="*/ 1464041 w 6884782"/>
              <a:gd name="connsiteY16097" fmla="*/ 4502122 h 5973007"/>
              <a:gd name="connsiteX16098" fmla="*/ 1463421 w 6884782"/>
              <a:gd name="connsiteY16098" fmla="*/ 4503258 h 5973007"/>
              <a:gd name="connsiteX16099" fmla="*/ 1460478 w 6884782"/>
              <a:gd name="connsiteY16099" fmla="*/ 4501089 h 5973007"/>
              <a:gd name="connsiteX16100" fmla="*/ 1460633 w 6884782"/>
              <a:gd name="connsiteY16100" fmla="*/ 4499850 h 5973007"/>
              <a:gd name="connsiteX16101" fmla="*/ 1111652 w 6884782"/>
              <a:gd name="connsiteY16101" fmla="*/ 4499024 h 5973007"/>
              <a:gd name="connsiteX16102" fmla="*/ 1106695 w 6884782"/>
              <a:gd name="connsiteY16102" fmla="*/ 4503464 h 5973007"/>
              <a:gd name="connsiteX16103" fmla="*/ 1105301 w 6884782"/>
              <a:gd name="connsiteY16103" fmla="*/ 4503154 h 5973007"/>
              <a:gd name="connsiteX16104" fmla="*/ 1111652 w 6884782"/>
              <a:gd name="connsiteY16104" fmla="*/ 4499024 h 5973007"/>
              <a:gd name="connsiteX16105" fmla="*/ 6031458 w 6884782"/>
              <a:gd name="connsiteY16105" fmla="*/ 4498836 h 5973007"/>
              <a:gd name="connsiteX16106" fmla="*/ 6042456 w 6884782"/>
              <a:gd name="connsiteY16106" fmla="*/ 4499765 h 5973007"/>
              <a:gd name="connsiteX16107" fmla="*/ 6037500 w 6884782"/>
              <a:gd name="connsiteY16107" fmla="*/ 4504515 h 5973007"/>
              <a:gd name="connsiteX16108" fmla="*/ 6031458 w 6884782"/>
              <a:gd name="connsiteY16108" fmla="*/ 4498836 h 5973007"/>
              <a:gd name="connsiteX16109" fmla="*/ 1322311 w 6884782"/>
              <a:gd name="connsiteY16109" fmla="*/ 4498198 h 5973007"/>
              <a:gd name="connsiteX16110" fmla="*/ 1323705 w 6884782"/>
              <a:gd name="connsiteY16110" fmla="*/ 4499437 h 5973007"/>
              <a:gd name="connsiteX16111" fmla="*/ 1326184 w 6884782"/>
              <a:gd name="connsiteY16111" fmla="*/ 4502432 h 5973007"/>
              <a:gd name="connsiteX16112" fmla="*/ 1321071 w 6884782"/>
              <a:gd name="connsiteY16112" fmla="*/ 4498302 h 5973007"/>
              <a:gd name="connsiteX16113" fmla="*/ 1322311 w 6884782"/>
              <a:gd name="connsiteY16113" fmla="*/ 4498198 h 5973007"/>
              <a:gd name="connsiteX16114" fmla="*/ 1140463 w 6884782"/>
              <a:gd name="connsiteY16114" fmla="*/ 4497992 h 5973007"/>
              <a:gd name="connsiteX16115" fmla="*/ 1137519 w 6884782"/>
              <a:gd name="connsiteY16115" fmla="*/ 4502329 h 5973007"/>
              <a:gd name="connsiteX16116" fmla="*/ 1137830 w 6884782"/>
              <a:gd name="connsiteY16116" fmla="*/ 4498818 h 5973007"/>
              <a:gd name="connsiteX16117" fmla="*/ 1140463 w 6884782"/>
              <a:gd name="connsiteY16117" fmla="*/ 4497992 h 5973007"/>
              <a:gd name="connsiteX16118" fmla="*/ 722068 w 6884782"/>
              <a:gd name="connsiteY16118" fmla="*/ 4497940 h 5973007"/>
              <a:gd name="connsiteX16119" fmla="*/ 727045 w 6884782"/>
              <a:gd name="connsiteY16119" fmla="*/ 4504497 h 5973007"/>
              <a:gd name="connsiteX16120" fmla="*/ 720849 w 6884782"/>
              <a:gd name="connsiteY16120" fmla="*/ 4507285 h 5973007"/>
              <a:gd name="connsiteX16121" fmla="*/ 715117 w 6884782"/>
              <a:gd name="connsiteY16121" fmla="*/ 4503980 h 5973007"/>
              <a:gd name="connsiteX16122" fmla="*/ 714188 w 6884782"/>
              <a:gd name="connsiteY16122" fmla="*/ 4499747 h 5973007"/>
              <a:gd name="connsiteX16123" fmla="*/ 722068 w 6884782"/>
              <a:gd name="connsiteY16123" fmla="*/ 4497940 h 5973007"/>
              <a:gd name="connsiteX16124" fmla="*/ 1438948 w 6884782"/>
              <a:gd name="connsiteY16124" fmla="*/ 4496443 h 5973007"/>
              <a:gd name="connsiteX16125" fmla="*/ 1444059 w 6884782"/>
              <a:gd name="connsiteY16125" fmla="*/ 4498921 h 5973007"/>
              <a:gd name="connsiteX16126" fmla="*/ 1444834 w 6884782"/>
              <a:gd name="connsiteY16126" fmla="*/ 4501606 h 5973007"/>
              <a:gd name="connsiteX16127" fmla="*/ 1443130 w 6884782"/>
              <a:gd name="connsiteY16127" fmla="*/ 4501606 h 5973007"/>
              <a:gd name="connsiteX16128" fmla="*/ 1442201 w 6884782"/>
              <a:gd name="connsiteY16128" fmla="*/ 4501089 h 5973007"/>
              <a:gd name="connsiteX16129" fmla="*/ 1441426 w 6884782"/>
              <a:gd name="connsiteY16129" fmla="*/ 4499334 h 5973007"/>
              <a:gd name="connsiteX16130" fmla="*/ 1438948 w 6884782"/>
              <a:gd name="connsiteY16130" fmla="*/ 4498095 h 5973007"/>
              <a:gd name="connsiteX16131" fmla="*/ 1438948 w 6884782"/>
              <a:gd name="connsiteY16131" fmla="*/ 4496443 h 5973007"/>
              <a:gd name="connsiteX16132" fmla="*/ 962332 w 6884782"/>
              <a:gd name="connsiteY16132" fmla="*/ 4496236 h 5973007"/>
              <a:gd name="connsiteX16133" fmla="*/ 969302 w 6884782"/>
              <a:gd name="connsiteY16133" fmla="*/ 4506665 h 5973007"/>
              <a:gd name="connsiteX16134" fmla="*/ 964655 w 6884782"/>
              <a:gd name="connsiteY16134" fmla="*/ 4507078 h 5973007"/>
              <a:gd name="connsiteX16135" fmla="*/ 961248 w 6884782"/>
              <a:gd name="connsiteY16135" fmla="*/ 4505013 h 5973007"/>
              <a:gd name="connsiteX16136" fmla="*/ 962332 w 6884782"/>
              <a:gd name="connsiteY16136" fmla="*/ 4496236 h 5973007"/>
              <a:gd name="connsiteX16137" fmla="*/ 6253270 w 6884782"/>
              <a:gd name="connsiteY16137" fmla="*/ 4495944 h 5973007"/>
              <a:gd name="connsiteX16138" fmla="*/ 6253270 w 6884782"/>
              <a:gd name="connsiteY16138" fmla="*/ 4497080 h 5973007"/>
              <a:gd name="connsiteX16139" fmla="*/ 6254044 w 6884782"/>
              <a:gd name="connsiteY16139" fmla="*/ 4499662 h 5973007"/>
              <a:gd name="connsiteX16140" fmla="*/ 6257762 w 6884782"/>
              <a:gd name="connsiteY16140" fmla="*/ 4497597 h 5973007"/>
              <a:gd name="connsiteX16141" fmla="*/ 6256833 w 6884782"/>
              <a:gd name="connsiteY16141" fmla="*/ 4497493 h 5973007"/>
              <a:gd name="connsiteX16142" fmla="*/ 6263184 w 6884782"/>
              <a:gd name="connsiteY16142" fmla="*/ 4495738 h 5973007"/>
              <a:gd name="connsiteX16143" fmla="*/ 6262099 w 6884782"/>
              <a:gd name="connsiteY16143" fmla="*/ 4496048 h 5973007"/>
              <a:gd name="connsiteX16144" fmla="*/ 6262254 w 6884782"/>
              <a:gd name="connsiteY16144" fmla="*/ 4497597 h 5973007"/>
              <a:gd name="connsiteX16145" fmla="*/ 6259311 w 6884782"/>
              <a:gd name="connsiteY16145" fmla="*/ 4497597 h 5973007"/>
              <a:gd name="connsiteX16146" fmla="*/ 6259930 w 6884782"/>
              <a:gd name="connsiteY16146" fmla="*/ 4497803 h 5973007"/>
              <a:gd name="connsiteX16147" fmla="*/ 6261944 w 6884782"/>
              <a:gd name="connsiteY16147" fmla="*/ 4499868 h 5973007"/>
              <a:gd name="connsiteX16148" fmla="*/ 6263958 w 6884782"/>
              <a:gd name="connsiteY16148" fmla="*/ 4498629 h 5973007"/>
              <a:gd name="connsiteX16149" fmla="*/ 6214081 w 6884782"/>
              <a:gd name="connsiteY16149" fmla="*/ 4495428 h 5973007"/>
              <a:gd name="connsiteX16150" fmla="*/ 6216095 w 6884782"/>
              <a:gd name="connsiteY16150" fmla="*/ 4497183 h 5973007"/>
              <a:gd name="connsiteX16151" fmla="*/ 6214081 w 6884782"/>
              <a:gd name="connsiteY16151" fmla="*/ 4498526 h 5973007"/>
              <a:gd name="connsiteX16152" fmla="*/ 6212377 w 6884782"/>
              <a:gd name="connsiteY16152" fmla="*/ 4497597 h 5973007"/>
              <a:gd name="connsiteX16153" fmla="*/ 6209899 w 6884782"/>
              <a:gd name="connsiteY16153" fmla="*/ 4498216 h 5973007"/>
              <a:gd name="connsiteX16154" fmla="*/ 6208815 w 6884782"/>
              <a:gd name="connsiteY16154" fmla="*/ 4496770 h 5973007"/>
              <a:gd name="connsiteX16155" fmla="*/ 6214081 w 6884782"/>
              <a:gd name="connsiteY16155" fmla="*/ 4495428 h 5973007"/>
              <a:gd name="connsiteX16156" fmla="*/ 883490 w 6884782"/>
              <a:gd name="connsiteY16156" fmla="*/ 4494481 h 5973007"/>
              <a:gd name="connsiteX16157" fmla="*/ 887207 w 6884782"/>
              <a:gd name="connsiteY16157" fmla="*/ 4494791 h 5973007"/>
              <a:gd name="connsiteX16158" fmla="*/ 888447 w 6884782"/>
              <a:gd name="connsiteY16158" fmla="*/ 4495617 h 5973007"/>
              <a:gd name="connsiteX16159" fmla="*/ 885658 w 6884782"/>
              <a:gd name="connsiteY16159" fmla="*/ 4503258 h 5973007"/>
              <a:gd name="connsiteX16160" fmla="*/ 881631 w 6884782"/>
              <a:gd name="connsiteY16160" fmla="*/ 4503877 h 5973007"/>
              <a:gd name="connsiteX16161" fmla="*/ 878688 w 6884782"/>
              <a:gd name="connsiteY16161" fmla="*/ 4501915 h 5973007"/>
              <a:gd name="connsiteX16162" fmla="*/ 878997 w 6884782"/>
              <a:gd name="connsiteY16162" fmla="*/ 4500057 h 5973007"/>
              <a:gd name="connsiteX16163" fmla="*/ 879772 w 6884782"/>
              <a:gd name="connsiteY16163" fmla="*/ 4497888 h 5973007"/>
              <a:gd name="connsiteX16164" fmla="*/ 883490 w 6884782"/>
              <a:gd name="connsiteY16164" fmla="*/ 4494481 h 5973007"/>
              <a:gd name="connsiteX16165" fmla="*/ 1602828 w 6884782"/>
              <a:gd name="connsiteY16165" fmla="*/ 4494378 h 5973007"/>
              <a:gd name="connsiteX16166" fmla="*/ 1607165 w 6884782"/>
              <a:gd name="connsiteY16166" fmla="*/ 4500780 h 5973007"/>
              <a:gd name="connsiteX16167" fmla="*/ 1606546 w 6884782"/>
              <a:gd name="connsiteY16167" fmla="*/ 4501915 h 5973007"/>
              <a:gd name="connsiteX16168" fmla="*/ 1598646 w 6884782"/>
              <a:gd name="connsiteY16168" fmla="*/ 4509350 h 5973007"/>
              <a:gd name="connsiteX16169" fmla="*/ 1596323 w 6884782"/>
              <a:gd name="connsiteY16169" fmla="*/ 4506459 h 5973007"/>
              <a:gd name="connsiteX16170" fmla="*/ 1596787 w 6884782"/>
              <a:gd name="connsiteY16170" fmla="*/ 4501915 h 5973007"/>
              <a:gd name="connsiteX16171" fmla="*/ 1602828 w 6884782"/>
              <a:gd name="connsiteY16171" fmla="*/ 4494378 h 5973007"/>
              <a:gd name="connsiteX16172" fmla="*/ 1067816 w 6884782"/>
              <a:gd name="connsiteY16172" fmla="*/ 4494171 h 5973007"/>
              <a:gd name="connsiteX16173" fmla="*/ 1066422 w 6884782"/>
              <a:gd name="connsiteY16173" fmla="*/ 4495204 h 5973007"/>
              <a:gd name="connsiteX16174" fmla="*/ 1067507 w 6884782"/>
              <a:gd name="connsiteY16174" fmla="*/ 4494997 h 5973007"/>
              <a:gd name="connsiteX16175" fmla="*/ 1448551 w 6884782"/>
              <a:gd name="connsiteY16175" fmla="*/ 4493448 h 5973007"/>
              <a:gd name="connsiteX16176" fmla="*/ 1450100 w 6884782"/>
              <a:gd name="connsiteY16176" fmla="*/ 4495513 h 5973007"/>
              <a:gd name="connsiteX16177" fmla="*/ 1451649 w 6884782"/>
              <a:gd name="connsiteY16177" fmla="*/ 4496752 h 5973007"/>
              <a:gd name="connsiteX16178" fmla="*/ 1451495 w 6884782"/>
              <a:gd name="connsiteY16178" fmla="*/ 4499334 h 5973007"/>
              <a:gd name="connsiteX16179" fmla="*/ 1449791 w 6884782"/>
              <a:gd name="connsiteY16179" fmla="*/ 4498198 h 5973007"/>
              <a:gd name="connsiteX16180" fmla="*/ 1445918 w 6884782"/>
              <a:gd name="connsiteY16180" fmla="*/ 4493965 h 5973007"/>
              <a:gd name="connsiteX16181" fmla="*/ 1448551 w 6884782"/>
              <a:gd name="connsiteY16181" fmla="*/ 4493448 h 5973007"/>
              <a:gd name="connsiteX16182" fmla="*/ 928409 w 6884782"/>
              <a:gd name="connsiteY16182" fmla="*/ 4493345 h 5973007"/>
              <a:gd name="connsiteX16183" fmla="*/ 931353 w 6884782"/>
              <a:gd name="connsiteY16183" fmla="*/ 4496236 h 5973007"/>
              <a:gd name="connsiteX16184" fmla="*/ 929029 w 6884782"/>
              <a:gd name="connsiteY16184" fmla="*/ 4504394 h 5973007"/>
              <a:gd name="connsiteX16185" fmla="*/ 928100 w 6884782"/>
              <a:gd name="connsiteY16185" fmla="*/ 4503568 h 5973007"/>
              <a:gd name="connsiteX16186" fmla="*/ 930733 w 6884782"/>
              <a:gd name="connsiteY16186" fmla="*/ 4508317 h 5973007"/>
              <a:gd name="connsiteX16187" fmla="*/ 926706 w 6884782"/>
              <a:gd name="connsiteY16187" fmla="*/ 4511105 h 5973007"/>
              <a:gd name="connsiteX16188" fmla="*/ 927170 w 6884782"/>
              <a:gd name="connsiteY16188" fmla="*/ 4511828 h 5973007"/>
              <a:gd name="connsiteX16189" fmla="*/ 926551 w 6884782"/>
              <a:gd name="connsiteY16189" fmla="*/ 4514513 h 5973007"/>
              <a:gd name="connsiteX16190" fmla="*/ 924382 w 6884782"/>
              <a:gd name="connsiteY16190" fmla="*/ 4513067 h 5973007"/>
              <a:gd name="connsiteX16191" fmla="*/ 924382 w 6884782"/>
              <a:gd name="connsiteY16191" fmla="*/ 4512654 h 5973007"/>
              <a:gd name="connsiteX16192" fmla="*/ 914314 w 6884782"/>
              <a:gd name="connsiteY16192" fmla="*/ 4519572 h 5973007"/>
              <a:gd name="connsiteX16193" fmla="*/ 914469 w 6884782"/>
              <a:gd name="connsiteY16193" fmla="*/ 4519985 h 5973007"/>
              <a:gd name="connsiteX16194" fmla="*/ 908428 w 6884782"/>
              <a:gd name="connsiteY16194" fmla="*/ 4526490 h 5973007"/>
              <a:gd name="connsiteX16195" fmla="*/ 907189 w 6884782"/>
              <a:gd name="connsiteY16195" fmla="*/ 4524425 h 5973007"/>
              <a:gd name="connsiteX16196" fmla="*/ 897120 w 6884782"/>
              <a:gd name="connsiteY16196" fmla="*/ 4531137 h 5973007"/>
              <a:gd name="connsiteX16197" fmla="*/ 925312 w 6884782"/>
              <a:gd name="connsiteY16197" fmla="*/ 4499850 h 5973007"/>
              <a:gd name="connsiteX16198" fmla="*/ 926241 w 6884782"/>
              <a:gd name="connsiteY16198" fmla="*/ 4500883 h 5973007"/>
              <a:gd name="connsiteX16199" fmla="*/ 925931 w 6884782"/>
              <a:gd name="connsiteY16199" fmla="*/ 4498508 h 5973007"/>
              <a:gd name="connsiteX16200" fmla="*/ 926706 w 6884782"/>
              <a:gd name="connsiteY16200" fmla="*/ 4494894 h 5973007"/>
              <a:gd name="connsiteX16201" fmla="*/ 928409 w 6884782"/>
              <a:gd name="connsiteY16201" fmla="*/ 4493345 h 5973007"/>
              <a:gd name="connsiteX16202" fmla="*/ 5571571 w 6884782"/>
              <a:gd name="connsiteY16202" fmla="*/ 4493260 h 5973007"/>
              <a:gd name="connsiteX16203" fmla="*/ 5573275 w 6884782"/>
              <a:gd name="connsiteY16203" fmla="*/ 4497183 h 5973007"/>
              <a:gd name="connsiteX16204" fmla="*/ 5560883 w 6884782"/>
              <a:gd name="connsiteY16204" fmla="*/ 4508129 h 5973007"/>
              <a:gd name="connsiteX16205" fmla="*/ 5555152 w 6884782"/>
              <a:gd name="connsiteY16205" fmla="*/ 4506993 h 5973007"/>
              <a:gd name="connsiteX16206" fmla="*/ 5571571 w 6884782"/>
              <a:gd name="connsiteY16206" fmla="*/ 4493260 h 5973007"/>
              <a:gd name="connsiteX16207" fmla="*/ 1384889 w 6884782"/>
              <a:gd name="connsiteY16207" fmla="*/ 4493139 h 5973007"/>
              <a:gd name="connsiteX16208" fmla="*/ 1399759 w 6884782"/>
              <a:gd name="connsiteY16208" fmla="*/ 4494997 h 5973007"/>
              <a:gd name="connsiteX16209" fmla="*/ 1403942 w 6884782"/>
              <a:gd name="connsiteY16209" fmla="*/ 4499024 h 5973007"/>
              <a:gd name="connsiteX16210" fmla="*/ 1409517 w 6884782"/>
              <a:gd name="connsiteY16210" fmla="*/ 4495823 h 5973007"/>
              <a:gd name="connsiteX16211" fmla="*/ 1427485 w 6884782"/>
              <a:gd name="connsiteY16211" fmla="*/ 4505530 h 5973007"/>
              <a:gd name="connsiteX16212" fmla="*/ 1415713 w 6884782"/>
              <a:gd name="connsiteY16212" fmla="*/ 4508420 h 5973007"/>
              <a:gd name="connsiteX16213" fmla="*/ 1409363 w 6884782"/>
              <a:gd name="connsiteY16213" fmla="*/ 4508008 h 5973007"/>
              <a:gd name="connsiteX16214" fmla="*/ 1406574 w 6884782"/>
              <a:gd name="connsiteY16214" fmla="*/ 4507181 h 5973007"/>
              <a:gd name="connsiteX16215" fmla="*/ 1406729 w 6884782"/>
              <a:gd name="connsiteY16215" fmla="*/ 4507388 h 5973007"/>
              <a:gd name="connsiteX16216" fmla="*/ 1405955 w 6884782"/>
              <a:gd name="connsiteY16216" fmla="*/ 4506975 h 5973007"/>
              <a:gd name="connsiteX16217" fmla="*/ 1402547 w 6884782"/>
              <a:gd name="connsiteY16217" fmla="*/ 4505839 h 5973007"/>
              <a:gd name="connsiteX16218" fmla="*/ 1402237 w 6884782"/>
              <a:gd name="connsiteY16218" fmla="*/ 4506872 h 5973007"/>
              <a:gd name="connsiteX16219" fmla="*/ 1397125 w 6884782"/>
              <a:gd name="connsiteY16219" fmla="*/ 4509247 h 5973007"/>
              <a:gd name="connsiteX16220" fmla="*/ 1395267 w 6884782"/>
              <a:gd name="connsiteY16220" fmla="*/ 4508317 h 5973007"/>
              <a:gd name="connsiteX16221" fmla="*/ 1394803 w 6884782"/>
              <a:gd name="connsiteY16221" fmla="*/ 4507181 h 5973007"/>
              <a:gd name="connsiteX16222" fmla="*/ 1394338 w 6884782"/>
              <a:gd name="connsiteY16222" fmla="*/ 4507388 h 5973007"/>
              <a:gd name="connsiteX16223" fmla="*/ 1393873 w 6884782"/>
              <a:gd name="connsiteY16223" fmla="*/ 4502845 h 5973007"/>
              <a:gd name="connsiteX16224" fmla="*/ 1394803 w 6884782"/>
              <a:gd name="connsiteY16224" fmla="*/ 4502741 h 5973007"/>
              <a:gd name="connsiteX16225" fmla="*/ 1395422 w 6884782"/>
              <a:gd name="connsiteY16225" fmla="*/ 4501089 h 5973007"/>
              <a:gd name="connsiteX16226" fmla="*/ 1390155 w 6884782"/>
              <a:gd name="connsiteY16226" fmla="*/ 4498095 h 5973007"/>
              <a:gd name="connsiteX16227" fmla="*/ 1384889 w 6884782"/>
              <a:gd name="connsiteY16227" fmla="*/ 4493139 h 5973007"/>
              <a:gd name="connsiteX16228" fmla="*/ 606245 w 6884782"/>
              <a:gd name="connsiteY16228" fmla="*/ 4492906 h 5973007"/>
              <a:gd name="connsiteX16229" fmla="*/ 608703 w 6884782"/>
              <a:gd name="connsiteY16229" fmla="*/ 4497579 h 5973007"/>
              <a:gd name="connsiteX16230" fmla="*/ 606225 w 6884782"/>
              <a:gd name="connsiteY16230" fmla="*/ 4499128 h 5973007"/>
              <a:gd name="connsiteX16231" fmla="*/ 600649 w 6884782"/>
              <a:gd name="connsiteY16231" fmla="*/ 4495204 h 5973007"/>
              <a:gd name="connsiteX16232" fmla="*/ 606245 w 6884782"/>
              <a:gd name="connsiteY16232" fmla="*/ 4492906 h 5973007"/>
              <a:gd name="connsiteX16233" fmla="*/ 6239484 w 6884782"/>
              <a:gd name="connsiteY16233" fmla="*/ 4492434 h 5973007"/>
              <a:gd name="connsiteX16234" fmla="*/ 6238555 w 6884782"/>
              <a:gd name="connsiteY16234" fmla="*/ 4493157 h 5973007"/>
              <a:gd name="connsiteX16235" fmla="*/ 6238865 w 6884782"/>
              <a:gd name="connsiteY16235" fmla="*/ 4493673 h 5973007"/>
              <a:gd name="connsiteX16236" fmla="*/ 6239329 w 6884782"/>
              <a:gd name="connsiteY16236" fmla="*/ 4495841 h 5973007"/>
              <a:gd name="connsiteX16237" fmla="*/ 6245370 w 6884782"/>
              <a:gd name="connsiteY16237" fmla="*/ 4496358 h 5973007"/>
              <a:gd name="connsiteX16238" fmla="*/ 6250482 w 6884782"/>
              <a:gd name="connsiteY16238" fmla="*/ 4495325 h 5973007"/>
              <a:gd name="connsiteX16239" fmla="*/ 6250637 w 6884782"/>
              <a:gd name="connsiteY16239" fmla="*/ 4494809 h 5973007"/>
              <a:gd name="connsiteX16240" fmla="*/ 6244131 w 6884782"/>
              <a:gd name="connsiteY16240" fmla="*/ 4492743 h 5973007"/>
              <a:gd name="connsiteX16241" fmla="*/ 1703201 w 6884782"/>
              <a:gd name="connsiteY16241" fmla="*/ 4491900 h 5973007"/>
              <a:gd name="connsiteX16242" fmla="*/ 1712960 w 6884782"/>
              <a:gd name="connsiteY16242" fmla="*/ 4498818 h 5973007"/>
              <a:gd name="connsiteX16243" fmla="*/ 1717142 w 6884782"/>
              <a:gd name="connsiteY16243" fmla="*/ 4499850 h 5973007"/>
              <a:gd name="connsiteX16244" fmla="*/ 1717451 w 6884782"/>
              <a:gd name="connsiteY16244" fmla="*/ 4499024 h 5973007"/>
              <a:gd name="connsiteX16245" fmla="*/ 1717142 w 6884782"/>
              <a:gd name="connsiteY16245" fmla="*/ 4498921 h 5973007"/>
              <a:gd name="connsiteX16246" fmla="*/ 1721169 w 6884782"/>
              <a:gd name="connsiteY16246" fmla="*/ 4493965 h 5973007"/>
              <a:gd name="connsiteX16247" fmla="*/ 1724267 w 6884782"/>
              <a:gd name="connsiteY16247" fmla="*/ 4501915 h 5973007"/>
              <a:gd name="connsiteX16248" fmla="*/ 1724112 w 6884782"/>
              <a:gd name="connsiteY16248" fmla="*/ 4502329 h 5973007"/>
              <a:gd name="connsiteX16249" fmla="*/ 1726900 w 6884782"/>
              <a:gd name="connsiteY16249" fmla="*/ 4504394 h 5973007"/>
              <a:gd name="connsiteX16250" fmla="*/ 1728913 w 6884782"/>
              <a:gd name="connsiteY16250" fmla="*/ 4507801 h 5973007"/>
              <a:gd name="connsiteX16251" fmla="*/ 1729843 w 6884782"/>
              <a:gd name="connsiteY16251" fmla="*/ 4512551 h 5973007"/>
              <a:gd name="connsiteX16252" fmla="*/ 1731857 w 6884782"/>
              <a:gd name="connsiteY16252" fmla="*/ 4513170 h 5973007"/>
              <a:gd name="connsiteX16253" fmla="*/ 1727520 w 6884782"/>
              <a:gd name="connsiteY16253" fmla="*/ 4525458 h 5973007"/>
              <a:gd name="connsiteX16254" fmla="*/ 1726900 w 6884782"/>
              <a:gd name="connsiteY16254" fmla="*/ 4525148 h 5973007"/>
              <a:gd name="connsiteX16255" fmla="*/ 1723802 w 6884782"/>
              <a:gd name="connsiteY16255" fmla="*/ 4529381 h 5973007"/>
              <a:gd name="connsiteX16256" fmla="*/ 1710481 w 6884782"/>
              <a:gd name="connsiteY16256" fmla="*/ 4535783 h 5973007"/>
              <a:gd name="connsiteX16257" fmla="*/ 1696850 w 6884782"/>
              <a:gd name="connsiteY16257" fmla="*/ 4528969 h 5973007"/>
              <a:gd name="connsiteX16258" fmla="*/ 1696076 w 6884782"/>
              <a:gd name="connsiteY16258" fmla="*/ 4526697 h 5973007"/>
              <a:gd name="connsiteX16259" fmla="*/ 1693908 w 6884782"/>
              <a:gd name="connsiteY16259" fmla="*/ 4525458 h 5973007"/>
              <a:gd name="connsiteX16260" fmla="*/ 1688795 w 6884782"/>
              <a:gd name="connsiteY16260" fmla="*/ 4517610 h 5973007"/>
              <a:gd name="connsiteX16261" fmla="*/ 1694836 w 6884782"/>
              <a:gd name="connsiteY16261" fmla="*/ 4512964 h 5973007"/>
              <a:gd name="connsiteX16262" fmla="*/ 1695920 w 6884782"/>
              <a:gd name="connsiteY16262" fmla="*/ 4512551 h 5973007"/>
              <a:gd name="connsiteX16263" fmla="*/ 1698864 w 6884782"/>
              <a:gd name="connsiteY16263" fmla="*/ 4504497 h 5973007"/>
              <a:gd name="connsiteX16264" fmla="*/ 1703201 w 6884782"/>
              <a:gd name="connsiteY16264" fmla="*/ 4491900 h 5973007"/>
              <a:gd name="connsiteX16265" fmla="*/ 5903979 w 6884782"/>
              <a:gd name="connsiteY16265" fmla="*/ 4491608 h 5973007"/>
              <a:gd name="connsiteX16266" fmla="*/ 5916061 w 6884782"/>
              <a:gd name="connsiteY16266" fmla="*/ 4534356 h 5973007"/>
              <a:gd name="connsiteX16267" fmla="*/ 5894840 w 6884782"/>
              <a:gd name="connsiteY16267" fmla="*/ 4493260 h 5973007"/>
              <a:gd name="connsiteX16268" fmla="*/ 5903979 w 6884782"/>
              <a:gd name="connsiteY16268" fmla="*/ 4491608 h 5973007"/>
              <a:gd name="connsiteX16269" fmla="*/ 1188635 w 6884782"/>
              <a:gd name="connsiteY16269" fmla="*/ 4491280 h 5973007"/>
              <a:gd name="connsiteX16270" fmla="*/ 1188945 w 6884782"/>
              <a:gd name="connsiteY16270" fmla="*/ 4499024 h 5973007"/>
              <a:gd name="connsiteX16271" fmla="*/ 1181665 w 6884782"/>
              <a:gd name="connsiteY16271" fmla="*/ 4503980 h 5973007"/>
              <a:gd name="connsiteX16272" fmla="*/ 1178722 w 6884782"/>
              <a:gd name="connsiteY16272" fmla="*/ 4496030 h 5973007"/>
              <a:gd name="connsiteX16273" fmla="*/ 1179496 w 6884782"/>
              <a:gd name="connsiteY16273" fmla="*/ 4495204 h 5973007"/>
              <a:gd name="connsiteX16274" fmla="*/ 1188635 w 6884782"/>
              <a:gd name="connsiteY16274" fmla="*/ 4491280 h 5973007"/>
              <a:gd name="connsiteX16275" fmla="*/ 1664012 w 6884782"/>
              <a:gd name="connsiteY16275" fmla="*/ 4491074 h 5973007"/>
              <a:gd name="connsiteX16276" fmla="*/ 1683529 w 6884782"/>
              <a:gd name="connsiteY16276" fmla="*/ 4501399 h 5973007"/>
              <a:gd name="connsiteX16277" fmla="*/ 1673461 w 6884782"/>
              <a:gd name="connsiteY16277" fmla="*/ 4503568 h 5973007"/>
              <a:gd name="connsiteX16278" fmla="*/ 1677023 w 6884782"/>
              <a:gd name="connsiteY16278" fmla="*/ 4505530 h 5973007"/>
              <a:gd name="connsiteX16279" fmla="*/ 1671602 w 6884782"/>
              <a:gd name="connsiteY16279" fmla="*/ 4513790 h 5973007"/>
              <a:gd name="connsiteX16280" fmla="*/ 1647128 w 6884782"/>
              <a:gd name="connsiteY16280" fmla="*/ 4499128 h 5973007"/>
              <a:gd name="connsiteX16281" fmla="*/ 1649916 w 6884782"/>
              <a:gd name="connsiteY16281" fmla="*/ 4508317 h 5973007"/>
              <a:gd name="connsiteX16282" fmla="*/ 1646974 w 6884782"/>
              <a:gd name="connsiteY16282" fmla="*/ 4499024 h 5973007"/>
              <a:gd name="connsiteX16283" fmla="*/ 1637060 w 6884782"/>
              <a:gd name="connsiteY16283" fmla="*/ 4492313 h 5973007"/>
              <a:gd name="connsiteX16284" fmla="*/ 1657352 w 6884782"/>
              <a:gd name="connsiteY16284" fmla="*/ 4494997 h 5973007"/>
              <a:gd name="connsiteX16285" fmla="*/ 1658590 w 6884782"/>
              <a:gd name="connsiteY16285" fmla="*/ 4495720 h 5973007"/>
              <a:gd name="connsiteX16286" fmla="*/ 1658590 w 6884782"/>
              <a:gd name="connsiteY16286" fmla="*/ 4494274 h 5973007"/>
              <a:gd name="connsiteX16287" fmla="*/ 1664012 w 6884782"/>
              <a:gd name="connsiteY16287" fmla="*/ 4491074 h 5973007"/>
              <a:gd name="connsiteX16288" fmla="*/ 5770458 w 6884782"/>
              <a:gd name="connsiteY16288" fmla="*/ 4490678 h 5973007"/>
              <a:gd name="connsiteX16289" fmla="*/ 5775105 w 6884782"/>
              <a:gd name="connsiteY16289" fmla="*/ 4495944 h 5973007"/>
              <a:gd name="connsiteX16290" fmla="*/ 5770768 w 6884782"/>
              <a:gd name="connsiteY16290" fmla="*/ 4497803 h 5973007"/>
              <a:gd name="connsiteX16291" fmla="*/ 5769064 w 6884782"/>
              <a:gd name="connsiteY16291" fmla="*/ 4497080 h 5973007"/>
              <a:gd name="connsiteX16292" fmla="*/ 5770458 w 6884782"/>
              <a:gd name="connsiteY16292" fmla="*/ 4490678 h 5973007"/>
              <a:gd name="connsiteX16293" fmla="*/ 863508 w 6884782"/>
              <a:gd name="connsiteY16293" fmla="*/ 4490661 h 5973007"/>
              <a:gd name="connsiteX16294" fmla="*/ 862114 w 6884782"/>
              <a:gd name="connsiteY16294" fmla="*/ 4492416 h 5973007"/>
              <a:gd name="connsiteX16295" fmla="*/ 859325 w 6884782"/>
              <a:gd name="connsiteY16295" fmla="*/ 4491693 h 5973007"/>
              <a:gd name="connsiteX16296" fmla="*/ 859171 w 6884782"/>
              <a:gd name="connsiteY16296" fmla="*/ 4490867 h 5973007"/>
              <a:gd name="connsiteX16297" fmla="*/ 863508 w 6884782"/>
              <a:gd name="connsiteY16297" fmla="*/ 4490661 h 5973007"/>
              <a:gd name="connsiteX16298" fmla="*/ 1572778 w 6884782"/>
              <a:gd name="connsiteY16298" fmla="*/ 4490041 h 5973007"/>
              <a:gd name="connsiteX16299" fmla="*/ 1573862 w 6884782"/>
              <a:gd name="connsiteY16299" fmla="*/ 4490351 h 5973007"/>
              <a:gd name="connsiteX16300" fmla="*/ 1567512 w 6884782"/>
              <a:gd name="connsiteY16300" fmla="*/ 4493448 h 5973007"/>
              <a:gd name="connsiteX16301" fmla="*/ 1572778 w 6884782"/>
              <a:gd name="connsiteY16301" fmla="*/ 4490041 h 5973007"/>
              <a:gd name="connsiteX16302" fmla="*/ 973175 w 6884782"/>
              <a:gd name="connsiteY16302" fmla="*/ 4489421 h 5973007"/>
              <a:gd name="connsiteX16303" fmla="*/ 973949 w 6884782"/>
              <a:gd name="connsiteY16303" fmla="*/ 4489525 h 5973007"/>
              <a:gd name="connsiteX16304" fmla="*/ 973175 w 6884782"/>
              <a:gd name="connsiteY16304" fmla="*/ 4490970 h 5973007"/>
              <a:gd name="connsiteX16305" fmla="*/ 972865 w 6884782"/>
              <a:gd name="connsiteY16305" fmla="*/ 4490454 h 5973007"/>
              <a:gd name="connsiteX16306" fmla="*/ 973175 w 6884782"/>
              <a:gd name="connsiteY16306" fmla="*/ 4489421 h 5973007"/>
              <a:gd name="connsiteX16307" fmla="*/ 1068281 w 6884782"/>
              <a:gd name="connsiteY16307" fmla="*/ 4489215 h 5973007"/>
              <a:gd name="connsiteX16308" fmla="*/ 1069365 w 6884782"/>
              <a:gd name="connsiteY16308" fmla="*/ 4491796 h 5973007"/>
              <a:gd name="connsiteX16309" fmla="*/ 1068901 w 6884782"/>
              <a:gd name="connsiteY16309" fmla="*/ 4492932 h 5973007"/>
              <a:gd name="connsiteX16310" fmla="*/ 1070140 w 6884782"/>
              <a:gd name="connsiteY16310" fmla="*/ 4494378 h 5973007"/>
              <a:gd name="connsiteX16311" fmla="*/ 1080053 w 6884782"/>
              <a:gd name="connsiteY16311" fmla="*/ 4491900 h 5973007"/>
              <a:gd name="connsiteX16312" fmla="*/ 1105146 w 6884782"/>
              <a:gd name="connsiteY16312" fmla="*/ 4515855 h 5973007"/>
              <a:gd name="connsiteX16313" fmla="*/ 1104837 w 6884782"/>
              <a:gd name="connsiteY16313" fmla="*/ 4516887 h 5973007"/>
              <a:gd name="connsiteX16314" fmla="*/ 1105920 w 6884782"/>
              <a:gd name="connsiteY16314" fmla="*/ 4518127 h 5973007"/>
              <a:gd name="connsiteX16315" fmla="*/ 1107315 w 6884782"/>
              <a:gd name="connsiteY16315" fmla="*/ 4524115 h 5973007"/>
              <a:gd name="connsiteX16316" fmla="*/ 1103442 w 6884782"/>
              <a:gd name="connsiteY16316" fmla="*/ 4526181 h 5973007"/>
              <a:gd name="connsiteX16317" fmla="*/ 1102358 w 6884782"/>
              <a:gd name="connsiteY16317" fmla="*/ 4526181 h 5973007"/>
              <a:gd name="connsiteX16318" fmla="*/ 1102203 w 6884782"/>
              <a:gd name="connsiteY16318" fmla="*/ 4527936 h 5973007"/>
              <a:gd name="connsiteX16319" fmla="*/ 1102668 w 6884782"/>
              <a:gd name="connsiteY16319" fmla="*/ 4537745 h 5973007"/>
              <a:gd name="connsiteX16320" fmla="*/ 1094768 w 6884782"/>
              <a:gd name="connsiteY16320" fmla="*/ 4547348 h 5973007"/>
              <a:gd name="connsiteX16321" fmla="*/ 1087333 w 6884782"/>
              <a:gd name="connsiteY16321" fmla="*/ 4553750 h 5973007"/>
              <a:gd name="connsiteX16322" fmla="*/ 1087333 w 6884782"/>
              <a:gd name="connsiteY16322" fmla="*/ 4559842 h 5973007"/>
              <a:gd name="connsiteX16323" fmla="*/ 1086559 w 6884782"/>
              <a:gd name="connsiteY16323" fmla="*/ 4566244 h 5973007"/>
              <a:gd name="connsiteX16324" fmla="*/ 1084855 w 6884782"/>
              <a:gd name="connsiteY16324" fmla="*/ 4560358 h 5973007"/>
              <a:gd name="connsiteX16325" fmla="*/ 1085629 w 6884782"/>
              <a:gd name="connsiteY16325" fmla="*/ 4556538 h 5973007"/>
              <a:gd name="connsiteX16326" fmla="*/ 1085939 w 6884782"/>
              <a:gd name="connsiteY16326" fmla="*/ 4554989 h 5973007"/>
              <a:gd name="connsiteX16327" fmla="*/ 1084855 w 6884782"/>
              <a:gd name="connsiteY16327" fmla="*/ 4555918 h 5973007"/>
              <a:gd name="connsiteX16328" fmla="*/ 1061311 w 6884782"/>
              <a:gd name="connsiteY16328" fmla="*/ 4562940 h 5973007"/>
              <a:gd name="connsiteX16329" fmla="*/ 1035598 w 6884782"/>
              <a:gd name="connsiteY16329" fmla="*/ 4541979 h 5973007"/>
              <a:gd name="connsiteX16330" fmla="*/ 1037921 w 6884782"/>
              <a:gd name="connsiteY16330" fmla="*/ 4530311 h 5973007"/>
              <a:gd name="connsiteX16331" fmla="*/ 1037302 w 6884782"/>
              <a:gd name="connsiteY16331" fmla="*/ 4528142 h 5973007"/>
              <a:gd name="connsiteX16332" fmla="*/ 1032500 w 6884782"/>
              <a:gd name="connsiteY16332" fmla="*/ 4526490 h 5973007"/>
              <a:gd name="connsiteX16333" fmla="*/ 1033584 w 6884782"/>
              <a:gd name="connsiteY16333" fmla="*/ 4520088 h 5973007"/>
              <a:gd name="connsiteX16334" fmla="*/ 1035907 w 6884782"/>
              <a:gd name="connsiteY16334" fmla="*/ 4517920 h 5973007"/>
              <a:gd name="connsiteX16335" fmla="*/ 1034979 w 6884782"/>
              <a:gd name="connsiteY16335" fmla="*/ 4516475 h 5973007"/>
              <a:gd name="connsiteX16336" fmla="*/ 1043343 w 6884782"/>
              <a:gd name="connsiteY16336" fmla="*/ 4500676 h 5973007"/>
              <a:gd name="connsiteX16337" fmla="*/ 1051707 w 6884782"/>
              <a:gd name="connsiteY16337" fmla="*/ 4494997 h 5973007"/>
              <a:gd name="connsiteX16338" fmla="*/ 1054340 w 6884782"/>
              <a:gd name="connsiteY16338" fmla="*/ 4496030 h 5973007"/>
              <a:gd name="connsiteX16339" fmla="*/ 1055270 w 6884782"/>
              <a:gd name="connsiteY16339" fmla="*/ 4497166 h 5973007"/>
              <a:gd name="connsiteX16340" fmla="*/ 1056509 w 6884782"/>
              <a:gd name="connsiteY16340" fmla="*/ 4497579 h 5973007"/>
              <a:gd name="connsiteX16341" fmla="*/ 1065183 w 6884782"/>
              <a:gd name="connsiteY16341" fmla="*/ 4495513 h 5973007"/>
              <a:gd name="connsiteX16342" fmla="*/ 1061775 w 6884782"/>
              <a:gd name="connsiteY16342" fmla="*/ 4494997 h 5973007"/>
              <a:gd name="connsiteX16343" fmla="*/ 1062705 w 6884782"/>
              <a:gd name="connsiteY16343" fmla="*/ 4495101 h 5973007"/>
              <a:gd name="connsiteX16344" fmla="*/ 1062550 w 6884782"/>
              <a:gd name="connsiteY16344" fmla="*/ 4493345 h 5973007"/>
              <a:gd name="connsiteX16345" fmla="*/ 1061775 w 6884782"/>
              <a:gd name="connsiteY16345" fmla="*/ 4493345 h 5973007"/>
              <a:gd name="connsiteX16346" fmla="*/ 1062550 w 6884782"/>
              <a:gd name="connsiteY16346" fmla="*/ 4491590 h 5973007"/>
              <a:gd name="connsiteX16347" fmla="*/ 1068281 w 6884782"/>
              <a:gd name="connsiteY16347" fmla="*/ 4489215 h 5973007"/>
              <a:gd name="connsiteX16348" fmla="*/ 849877 w 6884782"/>
              <a:gd name="connsiteY16348" fmla="*/ 4488905 h 5973007"/>
              <a:gd name="connsiteX16349" fmla="*/ 854214 w 6884782"/>
              <a:gd name="connsiteY16349" fmla="*/ 4489421 h 5973007"/>
              <a:gd name="connsiteX16350" fmla="*/ 853750 w 6884782"/>
              <a:gd name="connsiteY16350" fmla="*/ 4492106 h 5973007"/>
              <a:gd name="connsiteX16351" fmla="*/ 850187 w 6884782"/>
              <a:gd name="connsiteY16351" fmla="*/ 4491486 h 5973007"/>
              <a:gd name="connsiteX16352" fmla="*/ 849877 w 6884782"/>
              <a:gd name="connsiteY16352" fmla="*/ 4488905 h 5973007"/>
              <a:gd name="connsiteX16353" fmla="*/ 5936817 w 6884782"/>
              <a:gd name="connsiteY16353" fmla="*/ 4488613 h 5973007"/>
              <a:gd name="connsiteX16354" fmla="*/ 5931086 w 6884782"/>
              <a:gd name="connsiteY16354" fmla="*/ 4495841 h 5973007"/>
              <a:gd name="connsiteX16355" fmla="*/ 5936817 w 6884782"/>
              <a:gd name="connsiteY16355" fmla="*/ 4488613 h 5973007"/>
              <a:gd name="connsiteX16356" fmla="*/ 6213771 w 6884782"/>
              <a:gd name="connsiteY16356" fmla="*/ 4487994 h 5973007"/>
              <a:gd name="connsiteX16357" fmla="*/ 6216095 w 6884782"/>
              <a:gd name="connsiteY16357" fmla="*/ 4488716 h 5973007"/>
              <a:gd name="connsiteX16358" fmla="*/ 6217954 w 6884782"/>
              <a:gd name="connsiteY16358" fmla="*/ 4488613 h 5973007"/>
              <a:gd name="connsiteX16359" fmla="*/ 6219503 w 6884782"/>
              <a:gd name="connsiteY16359" fmla="*/ 4490885 h 5973007"/>
              <a:gd name="connsiteX16360" fmla="*/ 6217644 w 6884782"/>
              <a:gd name="connsiteY16360" fmla="*/ 4491091 h 5973007"/>
              <a:gd name="connsiteX16361" fmla="*/ 6212222 w 6884782"/>
              <a:gd name="connsiteY16361" fmla="*/ 4490162 h 5973007"/>
              <a:gd name="connsiteX16362" fmla="*/ 6213771 w 6884782"/>
              <a:gd name="connsiteY16362" fmla="*/ 4487994 h 5973007"/>
              <a:gd name="connsiteX16363" fmla="*/ 999817 w 6884782"/>
              <a:gd name="connsiteY16363" fmla="*/ 4487769 h 5973007"/>
              <a:gd name="connsiteX16364" fmla="*/ 1001056 w 6884782"/>
              <a:gd name="connsiteY16364" fmla="*/ 4503154 h 5973007"/>
              <a:gd name="connsiteX16365" fmla="*/ 999042 w 6884782"/>
              <a:gd name="connsiteY16365" fmla="*/ 4503464 h 5973007"/>
              <a:gd name="connsiteX16366" fmla="*/ 1002450 w 6884782"/>
              <a:gd name="connsiteY16366" fmla="*/ 4509350 h 5973007"/>
              <a:gd name="connsiteX16367" fmla="*/ 1006013 w 6884782"/>
              <a:gd name="connsiteY16367" fmla="*/ 4518023 h 5973007"/>
              <a:gd name="connsiteX16368" fmla="*/ 1001366 w 6884782"/>
              <a:gd name="connsiteY16368" fmla="*/ 4515339 h 5973007"/>
              <a:gd name="connsiteX16369" fmla="*/ 998113 w 6884782"/>
              <a:gd name="connsiteY16369" fmla="*/ 4511725 h 5973007"/>
              <a:gd name="connsiteX16370" fmla="*/ 996719 w 6884782"/>
              <a:gd name="connsiteY16370" fmla="*/ 4515339 h 5973007"/>
              <a:gd name="connsiteX16371" fmla="*/ 993466 w 6884782"/>
              <a:gd name="connsiteY16371" fmla="*/ 4516681 h 5973007"/>
              <a:gd name="connsiteX16372" fmla="*/ 995325 w 6884782"/>
              <a:gd name="connsiteY16372" fmla="*/ 4513170 h 5973007"/>
              <a:gd name="connsiteX16373" fmla="*/ 997803 w 6884782"/>
              <a:gd name="connsiteY16373" fmla="*/ 4511415 h 5973007"/>
              <a:gd name="connsiteX16374" fmla="*/ 997494 w 6884782"/>
              <a:gd name="connsiteY16374" fmla="*/ 4511105 h 5973007"/>
              <a:gd name="connsiteX16375" fmla="*/ 995790 w 6884782"/>
              <a:gd name="connsiteY16375" fmla="*/ 4506046 h 5973007"/>
              <a:gd name="connsiteX16376" fmla="*/ 996873 w 6884782"/>
              <a:gd name="connsiteY16376" fmla="*/ 4503361 h 5973007"/>
              <a:gd name="connsiteX16377" fmla="*/ 995325 w 6884782"/>
              <a:gd name="connsiteY16377" fmla="*/ 4502638 h 5973007"/>
              <a:gd name="connsiteX16378" fmla="*/ 999817 w 6884782"/>
              <a:gd name="connsiteY16378" fmla="*/ 4487769 h 5973007"/>
              <a:gd name="connsiteX16379" fmla="*/ 5510077 w 6884782"/>
              <a:gd name="connsiteY16379" fmla="*/ 4487168 h 5973007"/>
              <a:gd name="connsiteX16380" fmla="*/ 5511781 w 6884782"/>
              <a:gd name="connsiteY16380" fmla="*/ 4494189 h 5973007"/>
              <a:gd name="connsiteX16381" fmla="*/ 5510077 w 6884782"/>
              <a:gd name="connsiteY16381" fmla="*/ 4495015 h 5973007"/>
              <a:gd name="connsiteX16382" fmla="*/ 5507909 w 6884782"/>
              <a:gd name="connsiteY16382" fmla="*/ 4495532 h 5973007"/>
              <a:gd name="connsiteX16383" fmla="*/ 5503572 w 6884782"/>
              <a:gd name="connsiteY16383" fmla="*/ 4494086 h 5973007"/>
              <a:gd name="connsiteX16384" fmla="*/ 5502332 w 6884782"/>
              <a:gd name="connsiteY16384" fmla="*/ 4491917 h 5973007"/>
              <a:gd name="connsiteX16385" fmla="*/ 5502332 w 6884782"/>
              <a:gd name="connsiteY16385" fmla="*/ 4490575 h 5973007"/>
              <a:gd name="connsiteX16386" fmla="*/ 5502488 w 6884782"/>
              <a:gd name="connsiteY16386" fmla="*/ 4488820 h 5973007"/>
              <a:gd name="connsiteX16387" fmla="*/ 5510077 w 6884782"/>
              <a:gd name="connsiteY16387" fmla="*/ 4487168 h 5973007"/>
              <a:gd name="connsiteX16388" fmla="*/ 1604067 w 6884782"/>
              <a:gd name="connsiteY16388" fmla="*/ 4487150 h 5973007"/>
              <a:gd name="connsiteX16389" fmla="*/ 1612276 w 6884782"/>
              <a:gd name="connsiteY16389" fmla="*/ 4492829 h 5973007"/>
              <a:gd name="connsiteX16390" fmla="*/ 1604686 w 6884782"/>
              <a:gd name="connsiteY16390" fmla="*/ 4489421 h 5973007"/>
              <a:gd name="connsiteX16391" fmla="*/ 1604067 w 6884782"/>
              <a:gd name="connsiteY16391" fmla="*/ 4487150 h 5973007"/>
              <a:gd name="connsiteX16392" fmla="*/ 1102494 w 6884782"/>
              <a:gd name="connsiteY16392" fmla="*/ 4486324 h 5973007"/>
              <a:gd name="connsiteX16393" fmla="*/ 1106541 w 6884782"/>
              <a:gd name="connsiteY16393" fmla="*/ 4488905 h 5973007"/>
              <a:gd name="connsiteX16394" fmla="*/ 1102668 w 6884782"/>
              <a:gd name="connsiteY16394" fmla="*/ 4492209 h 5973007"/>
              <a:gd name="connsiteX16395" fmla="*/ 1098796 w 6884782"/>
              <a:gd name="connsiteY16395" fmla="*/ 4489938 h 5973007"/>
              <a:gd name="connsiteX16396" fmla="*/ 1102494 w 6884782"/>
              <a:gd name="connsiteY16396" fmla="*/ 4486324 h 5973007"/>
              <a:gd name="connsiteX16397" fmla="*/ 6492740 w 6884782"/>
              <a:gd name="connsiteY16397" fmla="*/ 4486238 h 5973007"/>
              <a:gd name="connsiteX16398" fmla="*/ 6491810 w 6884782"/>
              <a:gd name="connsiteY16398" fmla="*/ 4490575 h 5973007"/>
              <a:gd name="connsiteX16399" fmla="*/ 6488248 w 6884782"/>
              <a:gd name="connsiteY16399" fmla="*/ 4487271 h 5973007"/>
              <a:gd name="connsiteX16400" fmla="*/ 6492740 w 6884782"/>
              <a:gd name="connsiteY16400" fmla="*/ 4486238 h 5973007"/>
              <a:gd name="connsiteX16401" fmla="*/ 1758499 w 6884782"/>
              <a:gd name="connsiteY16401" fmla="*/ 4486220 h 5973007"/>
              <a:gd name="connsiteX16402" fmla="*/ 1760822 w 6884782"/>
              <a:gd name="connsiteY16402" fmla="*/ 4490764 h 5973007"/>
              <a:gd name="connsiteX16403" fmla="*/ 1757569 w 6884782"/>
              <a:gd name="connsiteY16403" fmla="*/ 4491383 h 5973007"/>
              <a:gd name="connsiteX16404" fmla="*/ 1758499 w 6884782"/>
              <a:gd name="connsiteY16404" fmla="*/ 4486220 h 5973007"/>
              <a:gd name="connsiteX16405" fmla="*/ 633177 w 6884782"/>
              <a:gd name="connsiteY16405" fmla="*/ 4486117 h 5973007"/>
              <a:gd name="connsiteX16406" fmla="*/ 637669 w 6884782"/>
              <a:gd name="connsiteY16406" fmla="*/ 4491280 h 5973007"/>
              <a:gd name="connsiteX16407" fmla="*/ 632867 w 6884782"/>
              <a:gd name="connsiteY16407" fmla="*/ 4493242 h 5973007"/>
              <a:gd name="connsiteX16408" fmla="*/ 630234 w 6884782"/>
              <a:gd name="connsiteY16408" fmla="*/ 4491900 h 5973007"/>
              <a:gd name="connsiteX16409" fmla="*/ 630544 w 6884782"/>
              <a:gd name="connsiteY16409" fmla="*/ 4488699 h 5973007"/>
              <a:gd name="connsiteX16410" fmla="*/ 633177 w 6884782"/>
              <a:gd name="connsiteY16410" fmla="*/ 4486117 h 5973007"/>
              <a:gd name="connsiteX16411" fmla="*/ 5794002 w 6884782"/>
              <a:gd name="connsiteY16411" fmla="*/ 4486032 h 5973007"/>
              <a:gd name="connsiteX16412" fmla="*/ 5797410 w 6884782"/>
              <a:gd name="connsiteY16412" fmla="*/ 4492743 h 5973007"/>
              <a:gd name="connsiteX16413" fmla="*/ 5788581 w 6884782"/>
              <a:gd name="connsiteY16413" fmla="*/ 4496770 h 5973007"/>
              <a:gd name="connsiteX16414" fmla="*/ 5785173 w 6884782"/>
              <a:gd name="connsiteY16414" fmla="*/ 4496564 h 5973007"/>
              <a:gd name="connsiteX16415" fmla="*/ 5794002 w 6884782"/>
              <a:gd name="connsiteY16415" fmla="*/ 4486032 h 5973007"/>
              <a:gd name="connsiteX16416" fmla="*/ 901070 w 6884782"/>
              <a:gd name="connsiteY16416" fmla="*/ 4485846 h 5973007"/>
              <a:gd name="connsiteX16417" fmla="*/ 905175 w 6884782"/>
              <a:gd name="connsiteY16417" fmla="*/ 4488389 h 5973007"/>
              <a:gd name="connsiteX16418" fmla="*/ 899599 w 6884782"/>
              <a:gd name="connsiteY16418" fmla="*/ 4494068 h 5973007"/>
              <a:gd name="connsiteX16419" fmla="*/ 896965 w 6884782"/>
              <a:gd name="connsiteY16419" fmla="*/ 4493965 h 5973007"/>
              <a:gd name="connsiteX16420" fmla="*/ 893868 w 6884782"/>
              <a:gd name="connsiteY16420" fmla="*/ 4491796 h 5973007"/>
              <a:gd name="connsiteX16421" fmla="*/ 896501 w 6884782"/>
              <a:gd name="connsiteY16421" fmla="*/ 4486634 h 5973007"/>
              <a:gd name="connsiteX16422" fmla="*/ 901070 w 6884782"/>
              <a:gd name="connsiteY16422" fmla="*/ 4485846 h 5973007"/>
              <a:gd name="connsiteX16423" fmla="*/ 6201535 w 6884782"/>
              <a:gd name="connsiteY16423" fmla="*/ 4485412 h 5973007"/>
              <a:gd name="connsiteX16424" fmla="*/ 6208040 w 6884782"/>
              <a:gd name="connsiteY16424" fmla="*/ 4490781 h 5973007"/>
              <a:gd name="connsiteX16425" fmla="*/ 6205252 w 6884782"/>
              <a:gd name="connsiteY16425" fmla="*/ 4492640 h 5973007"/>
              <a:gd name="connsiteX16426" fmla="*/ 6198282 w 6884782"/>
              <a:gd name="connsiteY16426" fmla="*/ 4489027 h 5973007"/>
              <a:gd name="connsiteX16427" fmla="*/ 6197662 w 6884782"/>
              <a:gd name="connsiteY16427" fmla="*/ 4486961 h 5973007"/>
              <a:gd name="connsiteX16428" fmla="*/ 6201535 w 6884782"/>
              <a:gd name="connsiteY16428" fmla="*/ 4485412 h 5973007"/>
              <a:gd name="connsiteX16429" fmla="*/ 1789788 w 6884782"/>
              <a:gd name="connsiteY16429" fmla="*/ 4485395 h 5973007"/>
              <a:gd name="connsiteX16430" fmla="*/ 1794125 w 6884782"/>
              <a:gd name="connsiteY16430" fmla="*/ 4485601 h 5973007"/>
              <a:gd name="connsiteX16431" fmla="*/ 1793350 w 6884782"/>
              <a:gd name="connsiteY16431" fmla="*/ 4489112 h 5973007"/>
              <a:gd name="connsiteX16432" fmla="*/ 1790873 w 6884782"/>
              <a:gd name="connsiteY16432" fmla="*/ 4489938 h 5973007"/>
              <a:gd name="connsiteX16433" fmla="*/ 1790873 w 6884782"/>
              <a:gd name="connsiteY16433" fmla="*/ 4489008 h 5973007"/>
              <a:gd name="connsiteX16434" fmla="*/ 1789788 w 6884782"/>
              <a:gd name="connsiteY16434" fmla="*/ 4485395 h 5973007"/>
              <a:gd name="connsiteX16435" fmla="*/ 841357 w 6884782"/>
              <a:gd name="connsiteY16435" fmla="*/ 4485188 h 5973007"/>
              <a:gd name="connsiteX16436" fmla="*/ 842442 w 6884782"/>
              <a:gd name="connsiteY16436" fmla="*/ 4488699 h 5973007"/>
              <a:gd name="connsiteX16437" fmla="*/ 841668 w 6884782"/>
              <a:gd name="connsiteY16437" fmla="*/ 4490764 h 5973007"/>
              <a:gd name="connsiteX16438" fmla="*/ 842907 w 6884782"/>
              <a:gd name="connsiteY16438" fmla="*/ 4491074 h 5973007"/>
              <a:gd name="connsiteX16439" fmla="*/ 845230 w 6884782"/>
              <a:gd name="connsiteY16439" fmla="*/ 4501089 h 5973007"/>
              <a:gd name="connsiteX16440" fmla="*/ 840583 w 6884782"/>
              <a:gd name="connsiteY16440" fmla="*/ 4501296 h 5973007"/>
              <a:gd name="connsiteX16441" fmla="*/ 837331 w 6884782"/>
              <a:gd name="connsiteY16441" fmla="*/ 4500780 h 5973007"/>
              <a:gd name="connsiteX16442" fmla="*/ 834852 w 6884782"/>
              <a:gd name="connsiteY16442" fmla="*/ 4494274 h 5973007"/>
              <a:gd name="connsiteX16443" fmla="*/ 835007 w 6884782"/>
              <a:gd name="connsiteY16443" fmla="*/ 4493965 h 5973007"/>
              <a:gd name="connsiteX16444" fmla="*/ 834852 w 6884782"/>
              <a:gd name="connsiteY16444" fmla="*/ 4493862 h 5973007"/>
              <a:gd name="connsiteX16445" fmla="*/ 833458 w 6884782"/>
              <a:gd name="connsiteY16445" fmla="*/ 4490867 h 5973007"/>
              <a:gd name="connsiteX16446" fmla="*/ 835317 w 6884782"/>
              <a:gd name="connsiteY16446" fmla="*/ 4487769 h 5973007"/>
              <a:gd name="connsiteX16447" fmla="*/ 841357 w 6884782"/>
              <a:gd name="connsiteY16447" fmla="*/ 4485188 h 5973007"/>
              <a:gd name="connsiteX16448" fmla="*/ 679687 w 6884782"/>
              <a:gd name="connsiteY16448" fmla="*/ 4484463 h 5973007"/>
              <a:gd name="connsiteX16449" fmla="*/ 686307 w 6884782"/>
              <a:gd name="connsiteY16449" fmla="*/ 4485291 h 5973007"/>
              <a:gd name="connsiteX16450" fmla="*/ 664156 w 6884782"/>
              <a:gd name="connsiteY16450" fmla="*/ 4502948 h 5973007"/>
              <a:gd name="connsiteX16451" fmla="*/ 679687 w 6884782"/>
              <a:gd name="connsiteY16451" fmla="*/ 4484463 h 5973007"/>
              <a:gd name="connsiteX16452" fmla="*/ 887672 w 6884782"/>
              <a:gd name="connsiteY16452" fmla="*/ 4484259 h 5973007"/>
              <a:gd name="connsiteX16453" fmla="*/ 891390 w 6884782"/>
              <a:gd name="connsiteY16453" fmla="*/ 4491796 h 5973007"/>
              <a:gd name="connsiteX16454" fmla="*/ 887362 w 6884782"/>
              <a:gd name="connsiteY16454" fmla="*/ 4485807 h 5973007"/>
              <a:gd name="connsiteX16455" fmla="*/ 887672 w 6884782"/>
              <a:gd name="connsiteY16455" fmla="*/ 4484259 h 5973007"/>
              <a:gd name="connsiteX16456" fmla="*/ 5513795 w 6884782"/>
              <a:gd name="connsiteY16456" fmla="*/ 4483864 h 5973007"/>
              <a:gd name="connsiteX16457" fmla="*/ 5514260 w 6884782"/>
              <a:gd name="connsiteY16457" fmla="*/ 4487271 h 5973007"/>
              <a:gd name="connsiteX16458" fmla="*/ 5512865 w 6884782"/>
              <a:gd name="connsiteY16458" fmla="*/ 4487787 h 5973007"/>
              <a:gd name="connsiteX16459" fmla="*/ 5511007 w 6884782"/>
              <a:gd name="connsiteY16459" fmla="*/ 4486445 h 5973007"/>
              <a:gd name="connsiteX16460" fmla="*/ 750433 w 6884782"/>
              <a:gd name="connsiteY16460" fmla="*/ 4483536 h 5973007"/>
              <a:gd name="connsiteX16461" fmla="*/ 752293 w 6884782"/>
              <a:gd name="connsiteY16461" fmla="*/ 4486220 h 5973007"/>
              <a:gd name="connsiteX16462" fmla="*/ 750899 w 6884782"/>
              <a:gd name="connsiteY16462" fmla="*/ 4486943 h 5973007"/>
              <a:gd name="connsiteX16463" fmla="*/ 751208 w 6884782"/>
              <a:gd name="connsiteY16463" fmla="*/ 4487666 h 5973007"/>
              <a:gd name="connsiteX16464" fmla="*/ 749349 w 6884782"/>
              <a:gd name="connsiteY16464" fmla="*/ 4487666 h 5973007"/>
              <a:gd name="connsiteX16465" fmla="*/ 749040 w 6884782"/>
              <a:gd name="connsiteY16465" fmla="*/ 4486943 h 5973007"/>
              <a:gd name="connsiteX16466" fmla="*/ 748885 w 6884782"/>
              <a:gd name="connsiteY16466" fmla="*/ 4486840 h 5973007"/>
              <a:gd name="connsiteX16467" fmla="*/ 749194 w 6884782"/>
              <a:gd name="connsiteY16467" fmla="*/ 4485084 h 5973007"/>
              <a:gd name="connsiteX16468" fmla="*/ 750433 w 6884782"/>
              <a:gd name="connsiteY16468" fmla="*/ 4483536 h 5973007"/>
              <a:gd name="connsiteX16469" fmla="*/ 5962413 w 6884782"/>
              <a:gd name="connsiteY16469" fmla="*/ 4482624 h 5973007"/>
              <a:gd name="connsiteX16470" fmla="*/ 5970739 w 6884782"/>
              <a:gd name="connsiteY16470" fmla="*/ 4486548 h 5973007"/>
              <a:gd name="connsiteX16471" fmla="*/ 5962065 w 6884782"/>
              <a:gd name="connsiteY16471" fmla="*/ 4503999 h 5973007"/>
              <a:gd name="connsiteX16472" fmla="*/ 5957573 w 6884782"/>
              <a:gd name="connsiteY16472" fmla="*/ 4502553 h 5973007"/>
              <a:gd name="connsiteX16473" fmla="*/ 5957418 w 6884782"/>
              <a:gd name="connsiteY16473" fmla="*/ 4502449 h 5973007"/>
              <a:gd name="connsiteX16474" fmla="*/ 5957108 w 6884782"/>
              <a:gd name="connsiteY16474" fmla="*/ 4502759 h 5973007"/>
              <a:gd name="connsiteX16475" fmla="*/ 5955095 w 6884782"/>
              <a:gd name="connsiteY16475" fmla="*/ 4502449 h 5973007"/>
              <a:gd name="connsiteX16476" fmla="*/ 5954630 w 6884782"/>
              <a:gd name="connsiteY16476" fmla="*/ 4501210 h 5973007"/>
              <a:gd name="connsiteX16477" fmla="*/ 5954785 w 6884782"/>
              <a:gd name="connsiteY16477" fmla="*/ 4500178 h 5973007"/>
              <a:gd name="connsiteX16478" fmla="*/ 5953700 w 6884782"/>
              <a:gd name="connsiteY16478" fmla="*/ 4499248 h 5973007"/>
              <a:gd name="connsiteX16479" fmla="*/ 5950912 w 6884782"/>
              <a:gd name="connsiteY16479" fmla="*/ 4489852 h 5973007"/>
              <a:gd name="connsiteX16480" fmla="*/ 5954785 w 6884782"/>
              <a:gd name="connsiteY16480" fmla="*/ 4483657 h 5973007"/>
              <a:gd name="connsiteX16481" fmla="*/ 5962413 w 6884782"/>
              <a:gd name="connsiteY16481" fmla="*/ 4482624 h 5973007"/>
              <a:gd name="connsiteX16482" fmla="*/ 1591675 w 6884782"/>
              <a:gd name="connsiteY16482" fmla="*/ 4482090 h 5973007"/>
              <a:gd name="connsiteX16483" fmla="*/ 1593379 w 6884782"/>
              <a:gd name="connsiteY16483" fmla="*/ 4482916 h 5973007"/>
              <a:gd name="connsiteX16484" fmla="*/ 1591521 w 6884782"/>
              <a:gd name="connsiteY16484" fmla="*/ 4483226 h 5973007"/>
              <a:gd name="connsiteX16485" fmla="*/ 1591675 w 6884782"/>
              <a:gd name="connsiteY16485" fmla="*/ 4482090 h 5973007"/>
              <a:gd name="connsiteX16486" fmla="*/ 1435850 w 6884782"/>
              <a:gd name="connsiteY16486" fmla="*/ 4481780 h 5973007"/>
              <a:gd name="connsiteX16487" fmla="*/ 1440032 w 6884782"/>
              <a:gd name="connsiteY16487" fmla="*/ 4483329 h 5973007"/>
              <a:gd name="connsiteX16488" fmla="*/ 1442046 w 6884782"/>
              <a:gd name="connsiteY16488" fmla="*/ 4491486 h 5973007"/>
              <a:gd name="connsiteX16489" fmla="*/ 1438638 w 6884782"/>
              <a:gd name="connsiteY16489" fmla="*/ 4490970 h 5973007"/>
              <a:gd name="connsiteX16490" fmla="*/ 1435075 w 6884782"/>
              <a:gd name="connsiteY16490" fmla="*/ 4483846 h 5973007"/>
              <a:gd name="connsiteX16491" fmla="*/ 1435850 w 6884782"/>
              <a:gd name="connsiteY16491" fmla="*/ 4481780 h 5973007"/>
              <a:gd name="connsiteX16492" fmla="*/ 1072928 w 6884782"/>
              <a:gd name="connsiteY16492" fmla="*/ 4481574 h 5973007"/>
              <a:gd name="connsiteX16493" fmla="*/ 1074012 w 6884782"/>
              <a:gd name="connsiteY16493" fmla="*/ 4481987 h 5973007"/>
              <a:gd name="connsiteX16494" fmla="*/ 1081292 w 6884782"/>
              <a:gd name="connsiteY16494" fmla="*/ 4488699 h 5973007"/>
              <a:gd name="connsiteX16495" fmla="*/ 1076645 w 6884782"/>
              <a:gd name="connsiteY16495" fmla="*/ 4492416 h 5973007"/>
              <a:gd name="connsiteX16496" fmla="*/ 1074322 w 6884782"/>
              <a:gd name="connsiteY16496" fmla="*/ 4492106 h 5973007"/>
              <a:gd name="connsiteX16497" fmla="*/ 1066887 w 6884782"/>
              <a:gd name="connsiteY16497" fmla="*/ 4487356 h 5973007"/>
              <a:gd name="connsiteX16498" fmla="*/ 1072928 w 6884782"/>
              <a:gd name="connsiteY16498" fmla="*/ 4481574 h 5973007"/>
              <a:gd name="connsiteX16499" fmla="*/ 5756362 w 6884782"/>
              <a:gd name="connsiteY16499" fmla="*/ 4481282 h 5973007"/>
              <a:gd name="connsiteX16500" fmla="*/ 5761939 w 6884782"/>
              <a:gd name="connsiteY16500" fmla="*/ 4483141 h 5973007"/>
              <a:gd name="connsiteX16501" fmla="*/ 5755743 w 6884782"/>
              <a:gd name="connsiteY16501" fmla="*/ 4487581 h 5973007"/>
              <a:gd name="connsiteX16502" fmla="*/ 5756362 w 6884782"/>
              <a:gd name="connsiteY16502" fmla="*/ 4481282 h 5973007"/>
              <a:gd name="connsiteX16503" fmla="*/ 1443130 w 6884782"/>
              <a:gd name="connsiteY16503" fmla="*/ 4480645 h 5973007"/>
              <a:gd name="connsiteX16504" fmla="*/ 1450255 w 6884782"/>
              <a:gd name="connsiteY16504" fmla="*/ 4483536 h 5973007"/>
              <a:gd name="connsiteX16505" fmla="*/ 1450720 w 6884782"/>
              <a:gd name="connsiteY16505" fmla="*/ 4485498 h 5973007"/>
              <a:gd name="connsiteX16506" fmla="*/ 1448396 w 6884782"/>
              <a:gd name="connsiteY16506" fmla="*/ 4486427 h 5973007"/>
              <a:gd name="connsiteX16507" fmla="*/ 1443439 w 6884782"/>
              <a:gd name="connsiteY16507" fmla="*/ 4481987 h 5973007"/>
              <a:gd name="connsiteX16508" fmla="*/ 1443130 w 6884782"/>
              <a:gd name="connsiteY16508" fmla="*/ 4480645 h 5973007"/>
              <a:gd name="connsiteX16509" fmla="*/ 5523244 w 6884782"/>
              <a:gd name="connsiteY16509" fmla="*/ 4480456 h 5973007"/>
              <a:gd name="connsiteX16510" fmla="*/ 5524793 w 6884782"/>
              <a:gd name="connsiteY16510" fmla="*/ 4482211 h 5973007"/>
              <a:gd name="connsiteX16511" fmla="*/ 5524173 w 6884782"/>
              <a:gd name="connsiteY16511" fmla="*/ 4487271 h 5973007"/>
              <a:gd name="connsiteX16512" fmla="*/ 5522469 w 6884782"/>
              <a:gd name="connsiteY16512" fmla="*/ 4488097 h 5973007"/>
              <a:gd name="connsiteX16513" fmla="*/ 5520146 w 6884782"/>
              <a:gd name="connsiteY16513" fmla="*/ 4484999 h 5973007"/>
              <a:gd name="connsiteX16514" fmla="*/ 5521540 w 6884782"/>
              <a:gd name="connsiteY16514" fmla="*/ 4481282 h 5973007"/>
              <a:gd name="connsiteX16515" fmla="*/ 5523244 w 6884782"/>
              <a:gd name="connsiteY16515" fmla="*/ 4480456 h 5973007"/>
              <a:gd name="connsiteX16516" fmla="*/ 1596323 w 6884782"/>
              <a:gd name="connsiteY16516" fmla="*/ 4480025 h 5973007"/>
              <a:gd name="connsiteX16517" fmla="*/ 1596787 w 6884782"/>
              <a:gd name="connsiteY16517" fmla="*/ 4480645 h 5973007"/>
              <a:gd name="connsiteX16518" fmla="*/ 1595703 w 6884782"/>
              <a:gd name="connsiteY16518" fmla="*/ 4481264 h 5973007"/>
              <a:gd name="connsiteX16519" fmla="*/ 1594929 w 6884782"/>
              <a:gd name="connsiteY16519" fmla="*/ 4480954 h 5973007"/>
              <a:gd name="connsiteX16520" fmla="*/ 1596323 w 6884782"/>
              <a:gd name="connsiteY16520" fmla="*/ 4480025 h 5973007"/>
              <a:gd name="connsiteX16521" fmla="*/ 1021657 w 6884782"/>
              <a:gd name="connsiteY16521" fmla="*/ 4479612 h 5973007"/>
              <a:gd name="connsiteX16522" fmla="*/ 1020883 w 6884782"/>
              <a:gd name="connsiteY16522" fmla="*/ 4483846 h 5973007"/>
              <a:gd name="connsiteX16523" fmla="*/ 1018095 w 6884782"/>
              <a:gd name="connsiteY16523" fmla="*/ 4486840 h 5973007"/>
              <a:gd name="connsiteX16524" fmla="*/ 1018870 w 6884782"/>
              <a:gd name="connsiteY16524" fmla="*/ 4488285 h 5973007"/>
              <a:gd name="connsiteX16525" fmla="*/ 1019024 w 6884782"/>
              <a:gd name="connsiteY16525" fmla="*/ 4491383 h 5973007"/>
              <a:gd name="connsiteX16526" fmla="*/ 1017010 w 6884782"/>
              <a:gd name="connsiteY16526" fmla="*/ 4488492 h 5973007"/>
              <a:gd name="connsiteX16527" fmla="*/ 1017010 w 6884782"/>
              <a:gd name="connsiteY16527" fmla="*/ 4487666 h 5973007"/>
              <a:gd name="connsiteX16528" fmla="*/ 1016236 w 6884782"/>
              <a:gd name="connsiteY16528" fmla="*/ 4488389 h 5973007"/>
              <a:gd name="connsiteX16529" fmla="*/ 1015616 w 6884782"/>
              <a:gd name="connsiteY16529" fmla="*/ 4490557 h 5973007"/>
              <a:gd name="connsiteX16530" fmla="*/ 1013293 w 6884782"/>
              <a:gd name="connsiteY16530" fmla="*/ 4491280 h 5973007"/>
              <a:gd name="connsiteX16531" fmla="*/ 1012518 w 6884782"/>
              <a:gd name="connsiteY16531" fmla="*/ 4490764 h 5973007"/>
              <a:gd name="connsiteX16532" fmla="*/ 1012983 w 6884782"/>
              <a:gd name="connsiteY16532" fmla="*/ 4488905 h 5973007"/>
              <a:gd name="connsiteX16533" fmla="*/ 1018404 w 6884782"/>
              <a:gd name="connsiteY16533" fmla="*/ 4481780 h 5973007"/>
              <a:gd name="connsiteX16534" fmla="*/ 1019334 w 6884782"/>
              <a:gd name="connsiteY16534" fmla="*/ 4480232 h 5973007"/>
              <a:gd name="connsiteX16535" fmla="*/ 1021657 w 6884782"/>
              <a:gd name="connsiteY16535" fmla="*/ 4479612 h 5973007"/>
              <a:gd name="connsiteX16536" fmla="*/ 1012364 w 6884782"/>
              <a:gd name="connsiteY16536" fmla="*/ 4479406 h 5973007"/>
              <a:gd name="connsiteX16537" fmla="*/ 1014067 w 6884782"/>
              <a:gd name="connsiteY16537" fmla="*/ 4480748 h 5973007"/>
              <a:gd name="connsiteX16538" fmla="*/ 1014067 w 6884782"/>
              <a:gd name="connsiteY16538" fmla="*/ 4481677 h 5973007"/>
              <a:gd name="connsiteX16539" fmla="*/ 1014067 w 6884782"/>
              <a:gd name="connsiteY16539" fmla="*/ 4485084 h 5973007"/>
              <a:gd name="connsiteX16540" fmla="*/ 1011898 w 6884782"/>
              <a:gd name="connsiteY16540" fmla="*/ 4486324 h 5973007"/>
              <a:gd name="connsiteX16541" fmla="*/ 1009730 w 6884782"/>
              <a:gd name="connsiteY16541" fmla="*/ 4486220 h 5973007"/>
              <a:gd name="connsiteX16542" fmla="*/ 1008181 w 6884782"/>
              <a:gd name="connsiteY16542" fmla="*/ 4480954 h 5973007"/>
              <a:gd name="connsiteX16543" fmla="*/ 1012364 w 6884782"/>
              <a:gd name="connsiteY16543" fmla="*/ 4479406 h 5973007"/>
              <a:gd name="connsiteX16544" fmla="*/ 1373872 w 6884782"/>
              <a:gd name="connsiteY16544" fmla="*/ 4479315 h 5973007"/>
              <a:gd name="connsiteX16545" fmla="*/ 1380552 w 6884782"/>
              <a:gd name="connsiteY16545" fmla="*/ 4482297 h 5973007"/>
              <a:gd name="connsiteX16546" fmla="*/ 1378228 w 6884782"/>
              <a:gd name="connsiteY16546" fmla="*/ 4487150 h 5973007"/>
              <a:gd name="connsiteX16547" fmla="*/ 1373582 w 6884782"/>
              <a:gd name="connsiteY16547" fmla="*/ 4487253 h 5973007"/>
              <a:gd name="connsiteX16548" fmla="*/ 1369399 w 6884782"/>
              <a:gd name="connsiteY16548" fmla="*/ 4484155 h 5973007"/>
              <a:gd name="connsiteX16549" fmla="*/ 1373872 w 6884782"/>
              <a:gd name="connsiteY16549" fmla="*/ 4479315 h 5973007"/>
              <a:gd name="connsiteX16550" fmla="*/ 1142631 w 6884782"/>
              <a:gd name="connsiteY16550" fmla="*/ 4479199 h 5973007"/>
              <a:gd name="connsiteX16551" fmla="*/ 1143560 w 6884782"/>
              <a:gd name="connsiteY16551" fmla="*/ 4482607 h 5973007"/>
              <a:gd name="connsiteX16552" fmla="*/ 1141237 w 6884782"/>
              <a:gd name="connsiteY16552" fmla="*/ 4484362 h 5973007"/>
              <a:gd name="connsiteX16553" fmla="*/ 1142631 w 6884782"/>
              <a:gd name="connsiteY16553" fmla="*/ 4479199 h 5973007"/>
              <a:gd name="connsiteX16554" fmla="*/ 1776622 w 6884782"/>
              <a:gd name="connsiteY16554" fmla="*/ 4479096 h 5973007"/>
              <a:gd name="connsiteX16555" fmla="*/ 1777086 w 6884782"/>
              <a:gd name="connsiteY16555" fmla="*/ 4479406 h 5973007"/>
              <a:gd name="connsiteX16556" fmla="*/ 1776622 w 6884782"/>
              <a:gd name="connsiteY16556" fmla="*/ 4479715 h 5973007"/>
              <a:gd name="connsiteX16557" fmla="*/ 821531 w 6884782"/>
              <a:gd name="connsiteY16557" fmla="*/ 4479096 h 5973007"/>
              <a:gd name="connsiteX16558" fmla="*/ 820757 w 6884782"/>
              <a:gd name="connsiteY16558" fmla="*/ 4485807 h 5973007"/>
              <a:gd name="connsiteX16559" fmla="*/ 816265 w 6884782"/>
              <a:gd name="connsiteY16559" fmla="*/ 4482194 h 5973007"/>
              <a:gd name="connsiteX16560" fmla="*/ 821531 w 6884782"/>
              <a:gd name="connsiteY16560" fmla="*/ 4479096 h 5973007"/>
              <a:gd name="connsiteX16561" fmla="*/ 1680121 w 6884782"/>
              <a:gd name="connsiteY16561" fmla="*/ 4478579 h 5973007"/>
              <a:gd name="connsiteX16562" fmla="*/ 1684458 w 6884782"/>
              <a:gd name="connsiteY16562" fmla="*/ 4483949 h 5973007"/>
              <a:gd name="connsiteX16563" fmla="*/ 1680121 w 6884782"/>
              <a:gd name="connsiteY16563" fmla="*/ 4478579 h 5973007"/>
              <a:gd name="connsiteX16564" fmla="*/ 1701032 w 6884782"/>
              <a:gd name="connsiteY16564" fmla="*/ 4478270 h 5973007"/>
              <a:gd name="connsiteX16565" fmla="*/ 1704130 w 6884782"/>
              <a:gd name="connsiteY16565" fmla="*/ 4479715 h 5973007"/>
              <a:gd name="connsiteX16566" fmla="*/ 1701652 w 6884782"/>
              <a:gd name="connsiteY16566" fmla="*/ 4479612 h 5973007"/>
              <a:gd name="connsiteX16567" fmla="*/ 1701032 w 6884782"/>
              <a:gd name="connsiteY16567" fmla="*/ 4479199 h 5973007"/>
              <a:gd name="connsiteX16568" fmla="*/ 1701032 w 6884782"/>
              <a:gd name="connsiteY16568" fmla="*/ 4478270 h 5973007"/>
              <a:gd name="connsiteX16569" fmla="*/ 1126367 w 6884782"/>
              <a:gd name="connsiteY16569" fmla="*/ 4478270 h 5973007"/>
              <a:gd name="connsiteX16570" fmla="*/ 1115679 w 6884782"/>
              <a:gd name="connsiteY16570" fmla="*/ 4500367 h 5973007"/>
              <a:gd name="connsiteX16571" fmla="*/ 1126367 w 6884782"/>
              <a:gd name="connsiteY16571" fmla="*/ 4478270 h 5973007"/>
              <a:gd name="connsiteX16572" fmla="*/ 1427950 w 6884782"/>
              <a:gd name="connsiteY16572" fmla="*/ 4477547 h 5973007"/>
              <a:gd name="connsiteX16573" fmla="*/ 1429964 w 6884782"/>
              <a:gd name="connsiteY16573" fmla="*/ 4487253 h 5973007"/>
              <a:gd name="connsiteX16574" fmla="*/ 1422064 w 6884782"/>
              <a:gd name="connsiteY16574" fmla="*/ 4488285 h 5973007"/>
              <a:gd name="connsiteX16575" fmla="*/ 1419741 w 6884782"/>
              <a:gd name="connsiteY16575" fmla="*/ 4482194 h 5973007"/>
              <a:gd name="connsiteX16576" fmla="*/ 1427950 w 6884782"/>
              <a:gd name="connsiteY16576" fmla="*/ 4477547 h 5973007"/>
              <a:gd name="connsiteX16577" fmla="*/ 1148207 w 6884782"/>
              <a:gd name="connsiteY16577" fmla="*/ 4477237 h 5973007"/>
              <a:gd name="connsiteX16578" fmla="*/ 1161529 w 6884782"/>
              <a:gd name="connsiteY16578" fmla="*/ 4493345 h 5973007"/>
              <a:gd name="connsiteX16579" fmla="*/ 1154248 w 6884782"/>
              <a:gd name="connsiteY16579" fmla="*/ 4497269 h 5973007"/>
              <a:gd name="connsiteX16580" fmla="*/ 1148207 w 6884782"/>
              <a:gd name="connsiteY16580" fmla="*/ 4477237 h 5973007"/>
              <a:gd name="connsiteX16581" fmla="*/ 1554655 w 6884782"/>
              <a:gd name="connsiteY16581" fmla="*/ 4477031 h 5973007"/>
              <a:gd name="connsiteX16582" fmla="*/ 1565808 w 6884782"/>
              <a:gd name="connsiteY16582" fmla="*/ 4494997 h 5973007"/>
              <a:gd name="connsiteX16583" fmla="*/ 1560541 w 6884782"/>
              <a:gd name="connsiteY16583" fmla="*/ 4495101 h 5973007"/>
              <a:gd name="connsiteX16584" fmla="*/ 1553261 w 6884782"/>
              <a:gd name="connsiteY16584" fmla="*/ 4490247 h 5973007"/>
              <a:gd name="connsiteX16585" fmla="*/ 1550938 w 6884782"/>
              <a:gd name="connsiteY16585" fmla="*/ 4486324 h 5973007"/>
              <a:gd name="connsiteX16586" fmla="*/ 1549079 w 6884782"/>
              <a:gd name="connsiteY16586" fmla="*/ 4485601 h 5973007"/>
              <a:gd name="connsiteX16587" fmla="*/ 1548305 w 6884782"/>
              <a:gd name="connsiteY16587" fmla="*/ 4484052 h 5973007"/>
              <a:gd name="connsiteX16588" fmla="*/ 1549234 w 6884782"/>
              <a:gd name="connsiteY16588" fmla="*/ 4482194 h 5973007"/>
              <a:gd name="connsiteX16589" fmla="*/ 1549543 w 6884782"/>
              <a:gd name="connsiteY16589" fmla="*/ 4481987 h 5973007"/>
              <a:gd name="connsiteX16590" fmla="*/ 1551403 w 6884782"/>
              <a:gd name="connsiteY16590" fmla="*/ 4478889 h 5973007"/>
              <a:gd name="connsiteX16591" fmla="*/ 1554655 w 6884782"/>
              <a:gd name="connsiteY16591" fmla="*/ 4477031 h 5973007"/>
              <a:gd name="connsiteX16592" fmla="*/ 1581607 w 6884782"/>
              <a:gd name="connsiteY16592" fmla="*/ 4476824 h 5973007"/>
              <a:gd name="connsiteX16593" fmla="*/ 1588113 w 6884782"/>
              <a:gd name="connsiteY16593" fmla="*/ 4480748 h 5973007"/>
              <a:gd name="connsiteX16594" fmla="*/ 1588113 w 6884782"/>
              <a:gd name="connsiteY16594" fmla="*/ 4480851 h 5973007"/>
              <a:gd name="connsiteX16595" fmla="*/ 1588268 w 6884782"/>
              <a:gd name="connsiteY16595" fmla="*/ 4479818 h 5973007"/>
              <a:gd name="connsiteX16596" fmla="*/ 1588422 w 6884782"/>
              <a:gd name="connsiteY16596" fmla="*/ 4480645 h 5973007"/>
              <a:gd name="connsiteX16597" fmla="*/ 1588268 w 6884782"/>
              <a:gd name="connsiteY16597" fmla="*/ 4481161 h 5973007"/>
              <a:gd name="connsiteX16598" fmla="*/ 1589662 w 6884782"/>
              <a:gd name="connsiteY16598" fmla="*/ 4483742 h 5973007"/>
              <a:gd name="connsiteX16599" fmla="*/ 1591366 w 6884782"/>
              <a:gd name="connsiteY16599" fmla="*/ 4483123 h 5973007"/>
              <a:gd name="connsiteX16600" fmla="*/ 1589662 w 6884782"/>
              <a:gd name="connsiteY16600" fmla="*/ 4483949 h 5973007"/>
              <a:gd name="connsiteX16601" fmla="*/ 1590127 w 6884782"/>
              <a:gd name="connsiteY16601" fmla="*/ 4484775 h 5973007"/>
              <a:gd name="connsiteX16602" fmla="*/ 1590282 w 6884782"/>
              <a:gd name="connsiteY16602" fmla="*/ 4488389 h 5973007"/>
              <a:gd name="connsiteX16603" fmla="*/ 1584705 w 6884782"/>
              <a:gd name="connsiteY16603" fmla="*/ 4492416 h 5973007"/>
              <a:gd name="connsiteX16604" fmla="*/ 1576651 w 6884782"/>
              <a:gd name="connsiteY16604" fmla="*/ 4485188 h 5973007"/>
              <a:gd name="connsiteX16605" fmla="*/ 1577115 w 6884782"/>
              <a:gd name="connsiteY16605" fmla="*/ 4481264 h 5973007"/>
              <a:gd name="connsiteX16606" fmla="*/ 1581607 w 6884782"/>
              <a:gd name="connsiteY16606" fmla="*/ 4476824 h 5973007"/>
              <a:gd name="connsiteX16607" fmla="*/ 1142011 w 6884782"/>
              <a:gd name="connsiteY16607" fmla="*/ 4476824 h 5973007"/>
              <a:gd name="connsiteX16608" fmla="*/ 1142476 w 6884782"/>
              <a:gd name="connsiteY16608" fmla="*/ 4478683 h 5973007"/>
              <a:gd name="connsiteX16609" fmla="*/ 1141857 w 6884782"/>
              <a:gd name="connsiteY16609" fmla="*/ 4478889 h 5973007"/>
              <a:gd name="connsiteX16610" fmla="*/ 1142011 w 6884782"/>
              <a:gd name="connsiteY16610" fmla="*/ 4476824 h 5973007"/>
              <a:gd name="connsiteX16611" fmla="*/ 1789788 w 6884782"/>
              <a:gd name="connsiteY16611" fmla="*/ 4476514 h 5973007"/>
              <a:gd name="connsiteX16612" fmla="*/ 1797997 w 6884782"/>
              <a:gd name="connsiteY16612" fmla="*/ 4476824 h 5973007"/>
              <a:gd name="connsiteX16613" fmla="*/ 1801250 w 6884782"/>
              <a:gd name="connsiteY16613" fmla="*/ 4478476 h 5973007"/>
              <a:gd name="connsiteX16614" fmla="*/ 1801250 w 6884782"/>
              <a:gd name="connsiteY16614" fmla="*/ 4478167 h 5973007"/>
              <a:gd name="connsiteX16615" fmla="*/ 1804038 w 6884782"/>
              <a:gd name="connsiteY16615" fmla="*/ 4476824 h 5973007"/>
              <a:gd name="connsiteX16616" fmla="*/ 1807291 w 6884782"/>
              <a:gd name="connsiteY16616" fmla="*/ 4478889 h 5973007"/>
              <a:gd name="connsiteX16617" fmla="*/ 1809305 w 6884782"/>
              <a:gd name="connsiteY16617" fmla="*/ 4482194 h 5973007"/>
              <a:gd name="connsiteX16618" fmla="*/ 1810234 w 6884782"/>
              <a:gd name="connsiteY16618" fmla="*/ 4484362 h 5973007"/>
              <a:gd name="connsiteX16619" fmla="*/ 1815036 w 6884782"/>
              <a:gd name="connsiteY16619" fmla="*/ 4489421 h 5973007"/>
              <a:gd name="connsiteX16620" fmla="*/ 1816275 w 6884782"/>
              <a:gd name="connsiteY16620" fmla="*/ 4497785 h 5973007"/>
              <a:gd name="connsiteX16621" fmla="*/ 1789788 w 6884782"/>
              <a:gd name="connsiteY16621" fmla="*/ 4476514 h 5973007"/>
              <a:gd name="connsiteX16622" fmla="*/ 5860143 w 6884782"/>
              <a:gd name="connsiteY16622" fmla="*/ 4475706 h 5973007"/>
              <a:gd name="connsiteX16623" fmla="*/ 5859524 w 6884782"/>
              <a:gd name="connsiteY16623" fmla="*/ 4475913 h 5973007"/>
              <a:gd name="connsiteX16624" fmla="*/ 5860143 w 6884782"/>
              <a:gd name="connsiteY16624" fmla="*/ 4475913 h 5973007"/>
              <a:gd name="connsiteX16625" fmla="*/ 1785606 w 6884782"/>
              <a:gd name="connsiteY16625" fmla="*/ 4475172 h 5973007"/>
              <a:gd name="connsiteX16626" fmla="*/ 1785606 w 6884782"/>
              <a:gd name="connsiteY16626" fmla="*/ 4477031 h 5973007"/>
              <a:gd name="connsiteX16627" fmla="*/ 1785296 w 6884782"/>
              <a:gd name="connsiteY16627" fmla="*/ 4478167 h 5973007"/>
              <a:gd name="connsiteX16628" fmla="*/ 1784211 w 6884782"/>
              <a:gd name="connsiteY16628" fmla="*/ 4475998 h 5973007"/>
              <a:gd name="connsiteX16629" fmla="*/ 1785606 w 6884782"/>
              <a:gd name="connsiteY16629" fmla="*/ 4475172 h 5973007"/>
              <a:gd name="connsiteX16630" fmla="*/ 6188678 w 6884782"/>
              <a:gd name="connsiteY16630" fmla="*/ 4475087 h 5973007"/>
              <a:gd name="connsiteX16631" fmla="*/ 6184186 w 6884782"/>
              <a:gd name="connsiteY16631" fmla="*/ 4479940 h 5973007"/>
              <a:gd name="connsiteX16632" fmla="*/ 6182637 w 6884782"/>
              <a:gd name="connsiteY16632" fmla="*/ 4479733 h 5973007"/>
              <a:gd name="connsiteX16633" fmla="*/ 6188678 w 6884782"/>
              <a:gd name="connsiteY16633" fmla="*/ 4475087 h 5973007"/>
              <a:gd name="connsiteX16634" fmla="*/ 1296303 w 6884782"/>
              <a:gd name="connsiteY16634" fmla="*/ 4474767 h 5973007"/>
              <a:gd name="connsiteX16635" fmla="*/ 1305582 w 6884782"/>
              <a:gd name="connsiteY16635" fmla="*/ 4509660 h 5973007"/>
              <a:gd name="connsiteX16636" fmla="*/ 1299231 w 6884782"/>
              <a:gd name="connsiteY16636" fmla="*/ 4511415 h 5973007"/>
              <a:gd name="connsiteX16637" fmla="*/ 1275842 w 6884782"/>
              <a:gd name="connsiteY16637" fmla="*/ 4509763 h 5973007"/>
              <a:gd name="connsiteX16638" fmla="*/ 1278785 w 6884782"/>
              <a:gd name="connsiteY16638" fmla="*/ 4485498 h 5973007"/>
              <a:gd name="connsiteX16639" fmla="*/ 1282348 w 6884782"/>
              <a:gd name="connsiteY16639" fmla="*/ 4478786 h 5973007"/>
              <a:gd name="connsiteX16640" fmla="*/ 1296303 w 6884782"/>
              <a:gd name="connsiteY16640" fmla="*/ 4474767 h 5973007"/>
              <a:gd name="connsiteX16641" fmla="*/ 1776622 w 6884782"/>
              <a:gd name="connsiteY16641" fmla="*/ 4474759 h 5973007"/>
              <a:gd name="connsiteX16642" fmla="*/ 1777861 w 6884782"/>
              <a:gd name="connsiteY16642" fmla="*/ 4478993 h 5973007"/>
              <a:gd name="connsiteX16643" fmla="*/ 1776777 w 6884782"/>
              <a:gd name="connsiteY16643" fmla="*/ 4478683 h 5973007"/>
              <a:gd name="connsiteX16644" fmla="*/ 1776622 w 6884782"/>
              <a:gd name="connsiteY16644" fmla="*/ 4479096 h 5973007"/>
              <a:gd name="connsiteX16645" fmla="*/ 1775228 w 6884782"/>
              <a:gd name="connsiteY16645" fmla="*/ 4477650 h 5973007"/>
              <a:gd name="connsiteX16646" fmla="*/ 1774763 w 6884782"/>
              <a:gd name="connsiteY16646" fmla="*/ 4474966 h 5973007"/>
              <a:gd name="connsiteX16647" fmla="*/ 1776622 w 6884782"/>
              <a:gd name="connsiteY16647" fmla="*/ 4474759 h 5973007"/>
              <a:gd name="connsiteX16648" fmla="*/ 5715160 w 6884782"/>
              <a:gd name="connsiteY16648" fmla="*/ 4474364 h 5973007"/>
              <a:gd name="connsiteX16649" fmla="*/ 5719652 w 6884782"/>
              <a:gd name="connsiteY16649" fmla="*/ 4476636 h 5973007"/>
              <a:gd name="connsiteX16650" fmla="*/ 5712527 w 6884782"/>
              <a:gd name="connsiteY16650" fmla="*/ 4481902 h 5973007"/>
              <a:gd name="connsiteX16651" fmla="*/ 5715160 w 6884782"/>
              <a:gd name="connsiteY16651" fmla="*/ 4474364 h 5973007"/>
              <a:gd name="connsiteX16652" fmla="*/ 5648458 w 6884782"/>
              <a:gd name="connsiteY16652" fmla="*/ 4473964 h 5973007"/>
              <a:gd name="connsiteX16653" fmla="*/ 5656919 w 6884782"/>
              <a:gd name="connsiteY16653" fmla="*/ 4479217 h 5973007"/>
              <a:gd name="connsiteX16654" fmla="*/ 5649794 w 6884782"/>
              <a:gd name="connsiteY16654" fmla="*/ 4484896 h 5973007"/>
              <a:gd name="connsiteX16655" fmla="*/ 5644527 w 6884782"/>
              <a:gd name="connsiteY16655" fmla="*/ 4488097 h 5973007"/>
              <a:gd name="connsiteX16656" fmla="*/ 5646386 w 6884782"/>
              <a:gd name="connsiteY16656" fmla="*/ 4489542 h 5973007"/>
              <a:gd name="connsiteX16657" fmla="*/ 5647470 w 6884782"/>
              <a:gd name="connsiteY16657" fmla="*/ 4504308 h 5973007"/>
              <a:gd name="connsiteX16658" fmla="*/ 5638177 w 6884782"/>
              <a:gd name="connsiteY16658" fmla="*/ 4508026 h 5973007"/>
              <a:gd name="connsiteX16659" fmla="*/ 5633065 w 6884782"/>
              <a:gd name="connsiteY16659" fmla="*/ 4505754 h 5973007"/>
              <a:gd name="connsiteX16660" fmla="*/ 5630432 w 6884782"/>
              <a:gd name="connsiteY16660" fmla="*/ 4502759 h 5973007"/>
              <a:gd name="connsiteX16661" fmla="*/ 5632910 w 6884782"/>
              <a:gd name="connsiteY16661" fmla="*/ 4490162 h 5973007"/>
              <a:gd name="connsiteX16662" fmla="*/ 5634769 w 6884782"/>
              <a:gd name="connsiteY16662" fmla="*/ 4488407 h 5973007"/>
              <a:gd name="connsiteX16663" fmla="*/ 5636782 w 6884782"/>
              <a:gd name="connsiteY16663" fmla="*/ 4484999 h 5973007"/>
              <a:gd name="connsiteX16664" fmla="*/ 5643443 w 6884782"/>
              <a:gd name="connsiteY16664" fmla="*/ 4487271 h 5973007"/>
              <a:gd name="connsiteX16665" fmla="*/ 5644063 w 6884782"/>
              <a:gd name="connsiteY16665" fmla="*/ 4487684 h 5973007"/>
              <a:gd name="connsiteX16666" fmla="*/ 5641739 w 6884782"/>
              <a:gd name="connsiteY16666" fmla="*/ 4481798 h 5973007"/>
              <a:gd name="connsiteX16667" fmla="*/ 5648458 w 6884782"/>
              <a:gd name="connsiteY16667" fmla="*/ 4473964 h 5973007"/>
              <a:gd name="connsiteX16668" fmla="*/ 6042030 w 6884782"/>
              <a:gd name="connsiteY16668" fmla="*/ 4473809 h 5973007"/>
              <a:gd name="connsiteX16669" fmla="*/ 6044160 w 6884782"/>
              <a:gd name="connsiteY16669" fmla="*/ 4477978 h 5973007"/>
              <a:gd name="connsiteX16670" fmla="*/ 6040443 w 6884782"/>
              <a:gd name="connsiteY16670" fmla="*/ 4479836 h 5973007"/>
              <a:gd name="connsiteX16671" fmla="*/ 6037809 w 6884782"/>
              <a:gd name="connsiteY16671" fmla="*/ 4477048 h 5973007"/>
              <a:gd name="connsiteX16672" fmla="*/ 6037345 w 6884782"/>
              <a:gd name="connsiteY16672" fmla="*/ 4474674 h 5973007"/>
              <a:gd name="connsiteX16673" fmla="*/ 6042030 w 6884782"/>
              <a:gd name="connsiteY16673" fmla="*/ 4473809 h 5973007"/>
              <a:gd name="connsiteX16674" fmla="*/ 5815378 w 6884782"/>
              <a:gd name="connsiteY16674" fmla="*/ 4473538 h 5973007"/>
              <a:gd name="connsiteX16675" fmla="*/ 5820954 w 6884782"/>
              <a:gd name="connsiteY16675" fmla="*/ 4482831 h 5973007"/>
              <a:gd name="connsiteX16676" fmla="*/ 5820644 w 6884782"/>
              <a:gd name="connsiteY16676" fmla="*/ 4493260 h 5973007"/>
              <a:gd name="connsiteX16677" fmla="*/ 5815378 w 6884782"/>
              <a:gd name="connsiteY16677" fmla="*/ 4473538 h 5973007"/>
              <a:gd name="connsiteX16678" fmla="*/ 1140927 w 6884782"/>
              <a:gd name="connsiteY16678" fmla="*/ 4472694 h 5973007"/>
              <a:gd name="connsiteX16679" fmla="*/ 1142011 w 6884782"/>
              <a:gd name="connsiteY16679" fmla="*/ 4473313 h 5973007"/>
              <a:gd name="connsiteX16680" fmla="*/ 1140772 w 6884782"/>
              <a:gd name="connsiteY16680" fmla="*/ 4474759 h 5973007"/>
              <a:gd name="connsiteX16681" fmla="*/ 1140927 w 6884782"/>
              <a:gd name="connsiteY16681" fmla="*/ 4472694 h 5973007"/>
              <a:gd name="connsiteX16682" fmla="*/ 5793073 w 6884782"/>
              <a:gd name="connsiteY16682" fmla="*/ 4472608 h 5973007"/>
              <a:gd name="connsiteX16683" fmla="*/ 5793538 w 6884782"/>
              <a:gd name="connsiteY16683" fmla="*/ 4475190 h 5973007"/>
              <a:gd name="connsiteX16684" fmla="*/ 5792453 w 6884782"/>
              <a:gd name="connsiteY16684" fmla="*/ 4477771 h 5973007"/>
              <a:gd name="connsiteX16685" fmla="*/ 5791059 w 6884782"/>
              <a:gd name="connsiteY16685" fmla="*/ 4478184 h 5973007"/>
              <a:gd name="connsiteX16686" fmla="*/ 5789201 w 6884782"/>
              <a:gd name="connsiteY16686" fmla="*/ 4477771 h 5973007"/>
              <a:gd name="connsiteX16687" fmla="*/ 5788581 w 6884782"/>
              <a:gd name="connsiteY16687" fmla="*/ 4476842 h 5973007"/>
              <a:gd name="connsiteX16688" fmla="*/ 5790440 w 6884782"/>
              <a:gd name="connsiteY16688" fmla="*/ 4473435 h 5973007"/>
              <a:gd name="connsiteX16689" fmla="*/ 5793073 w 6884782"/>
              <a:gd name="connsiteY16689" fmla="*/ 4472608 h 5973007"/>
              <a:gd name="connsiteX16690" fmla="*/ 6305160 w 6884782"/>
              <a:gd name="connsiteY16690" fmla="*/ 4472402 h 5973007"/>
              <a:gd name="connsiteX16691" fmla="*/ 6305470 w 6884782"/>
              <a:gd name="connsiteY16691" fmla="*/ 4473125 h 5973007"/>
              <a:gd name="connsiteX16692" fmla="*/ 6304076 w 6884782"/>
              <a:gd name="connsiteY16692" fmla="*/ 4474364 h 5973007"/>
              <a:gd name="connsiteX16693" fmla="*/ 6302217 w 6884782"/>
              <a:gd name="connsiteY16693" fmla="*/ 4473641 h 5973007"/>
              <a:gd name="connsiteX16694" fmla="*/ 6305160 w 6884782"/>
              <a:gd name="connsiteY16694" fmla="*/ 4472402 h 5973007"/>
              <a:gd name="connsiteX16695" fmla="*/ 1744093 w 6884782"/>
              <a:gd name="connsiteY16695" fmla="*/ 4471868 h 5973007"/>
              <a:gd name="connsiteX16696" fmla="*/ 1747811 w 6884782"/>
              <a:gd name="connsiteY16696" fmla="*/ 4476824 h 5973007"/>
              <a:gd name="connsiteX16697" fmla="*/ 1749515 w 6884782"/>
              <a:gd name="connsiteY16697" fmla="*/ 4484052 h 5973007"/>
              <a:gd name="connsiteX16698" fmla="*/ 1751528 w 6884782"/>
              <a:gd name="connsiteY16698" fmla="*/ 4484878 h 5973007"/>
              <a:gd name="connsiteX16699" fmla="*/ 1754007 w 6884782"/>
              <a:gd name="connsiteY16699" fmla="*/ 4487666 h 5973007"/>
              <a:gd name="connsiteX16700" fmla="*/ 1752768 w 6884782"/>
              <a:gd name="connsiteY16700" fmla="*/ 4493655 h 5973007"/>
              <a:gd name="connsiteX16701" fmla="*/ 1748121 w 6884782"/>
              <a:gd name="connsiteY16701" fmla="*/ 4491796 h 5973007"/>
              <a:gd name="connsiteX16702" fmla="*/ 1744249 w 6884782"/>
              <a:gd name="connsiteY16702" fmla="*/ 4495513 h 5973007"/>
              <a:gd name="connsiteX16703" fmla="*/ 1743319 w 6884782"/>
              <a:gd name="connsiteY16703" fmla="*/ 4486117 h 5973007"/>
              <a:gd name="connsiteX16704" fmla="*/ 1740841 w 6884782"/>
              <a:gd name="connsiteY16704" fmla="*/ 4477547 h 5973007"/>
              <a:gd name="connsiteX16705" fmla="*/ 1739911 w 6884782"/>
              <a:gd name="connsiteY16705" fmla="*/ 4481780 h 5973007"/>
              <a:gd name="connsiteX16706" fmla="*/ 1734954 w 6884782"/>
              <a:gd name="connsiteY16706" fmla="*/ 4486634 h 5973007"/>
              <a:gd name="connsiteX16707" fmla="*/ 1732631 w 6884782"/>
              <a:gd name="connsiteY16707" fmla="*/ 4485291 h 5973007"/>
              <a:gd name="connsiteX16708" fmla="*/ 1737278 w 6884782"/>
              <a:gd name="connsiteY16708" fmla="*/ 4473623 h 5973007"/>
              <a:gd name="connsiteX16709" fmla="*/ 1741151 w 6884782"/>
              <a:gd name="connsiteY16709" fmla="*/ 4473933 h 5973007"/>
              <a:gd name="connsiteX16710" fmla="*/ 1741151 w 6884782"/>
              <a:gd name="connsiteY16710" fmla="*/ 4474243 h 5973007"/>
              <a:gd name="connsiteX16711" fmla="*/ 1741925 w 6884782"/>
              <a:gd name="connsiteY16711" fmla="*/ 4473417 h 5973007"/>
              <a:gd name="connsiteX16712" fmla="*/ 1744093 w 6884782"/>
              <a:gd name="connsiteY16712" fmla="*/ 4471868 h 5973007"/>
              <a:gd name="connsiteX16713" fmla="*/ 1722098 w 6884782"/>
              <a:gd name="connsiteY16713" fmla="*/ 4471868 h 5973007"/>
              <a:gd name="connsiteX16714" fmla="*/ 1725661 w 6884782"/>
              <a:gd name="connsiteY16714" fmla="*/ 4472487 h 5973007"/>
              <a:gd name="connsiteX16715" fmla="*/ 1725816 w 6884782"/>
              <a:gd name="connsiteY16715" fmla="*/ 4473623 h 5973007"/>
              <a:gd name="connsiteX16716" fmla="*/ 1729379 w 6884782"/>
              <a:gd name="connsiteY16716" fmla="*/ 4473727 h 5973007"/>
              <a:gd name="connsiteX16717" fmla="*/ 1730772 w 6884782"/>
              <a:gd name="connsiteY16717" fmla="*/ 4482194 h 5973007"/>
              <a:gd name="connsiteX16718" fmla="*/ 1717142 w 6884782"/>
              <a:gd name="connsiteY16718" fmla="*/ 4491693 h 5973007"/>
              <a:gd name="connsiteX16719" fmla="*/ 1716832 w 6884782"/>
              <a:gd name="connsiteY16719" fmla="*/ 4490867 h 5973007"/>
              <a:gd name="connsiteX16720" fmla="*/ 1712340 w 6884782"/>
              <a:gd name="connsiteY16720" fmla="*/ 4494378 h 5973007"/>
              <a:gd name="connsiteX16721" fmla="*/ 1708312 w 6884782"/>
              <a:gd name="connsiteY16721" fmla="*/ 4489215 h 5973007"/>
              <a:gd name="connsiteX16722" fmla="*/ 1708158 w 6884782"/>
              <a:gd name="connsiteY16722" fmla="*/ 4487046 h 5973007"/>
              <a:gd name="connsiteX16723" fmla="*/ 1706764 w 6884782"/>
              <a:gd name="connsiteY16723" fmla="*/ 4486634 h 5973007"/>
              <a:gd name="connsiteX16724" fmla="*/ 1706144 w 6884782"/>
              <a:gd name="connsiteY16724" fmla="*/ 4478063 h 5973007"/>
              <a:gd name="connsiteX16725" fmla="*/ 1708467 w 6884782"/>
              <a:gd name="connsiteY16725" fmla="*/ 4476411 h 5973007"/>
              <a:gd name="connsiteX16726" fmla="*/ 1708777 w 6884782"/>
              <a:gd name="connsiteY16726" fmla="*/ 4475585 h 5973007"/>
              <a:gd name="connsiteX16727" fmla="*/ 1710945 w 6884782"/>
              <a:gd name="connsiteY16727" fmla="*/ 4475069 h 5973007"/>
              <a:gd name="connsiteX16728" fmla="*/ 1712649 w 6884782"/>
              <a:gd name="connsiteY16728" fmla="*/ 4476411 h 5973007"/>
              <a:gd name="connsiteX16729" fmla="*/ 1712804 w 6884782"/>
              <a:gd name="connsiteY16729" fmla="*/ 4476514 h 5973007"/>
              <a:gd name="connsiteX16730" fmla="*/ 1714508 w 6884782"/>
              <a:gd name="connsiteY16730" fmla="*/ 4476824 h 5973007"/>
              <a:gd name="connsiteX16731" fmla="*/ 1714973 w 6884782"/>
              <a:gd name="connsiteY16731" fmla="*/ 4478167 h 5973007"/>
              <a:gd name="connsiteX16732" fmla="*/ 1717297 w 6884782"/>
              <a:gd name="connsiteY16732" fmla="*/ 4477753 h 5973007"/>
              <a:gd name="connsiteX16733" fmla="*/ 1720549 w 6884782"/>
              <a:gd name="connsiteY16733" fmla="*/ 4475585 h 5973007"/>
              <a:gd name="connsiteX16734" fmla="*/ 1721169 w 6884782"/>
              <a:gd name="connsiteY16734" fmla="*/ 4475275 h 5973007"/>
              <a:gd name="connsiteX16735" fmla="*/ 1563640 w 6884782"/>
              <a:gd name="connsiteY16735" fmla="*/ 4471248 h 5973007"/>
              <a:gd name="connsiteX16736" fmla="*/ 1567667 w 6884782"/>
              <a:gd name="connsiteY16736" fmla="*/ 4471971 h 5973007"/>
              <a:gd name="connsiteX16737" fmla="*/ 1568906 w 6884782"/>
              <a:gd name="connsiteY16737" fmla="*/ 4479199 h 5973007"/>
              <a:gd name="connsiteX16738" fmla="*/ 1570300 w 6884782"/>
              <a:gd name="connsiteY16738" fmla="*/ 4483846 h 5973007"/>
              <a:gd name="connsiteX16739" fmla="*/ 1567357 w 6884782"/>
              <a:gd name="connsiteY16739" fmla="*/ 4478063 h 5973007"/>
              <a:gd name="connsiteX16740" fmla="*/ 1564879 w 6884782"/>
              <a:gd name="connsiteY16740" fmla="*/ 4476824 h 5973007"/>
              <a:gd name="connsiteX16741" fmla="*/ 1563640 w 6884782"/>
              <a:gd name="connsiteY16741" fmla="*/ 4471248 h 5973007"/>
              <a:gd name="connsiteX16742" fmla="*/ 1099880 w 6884782"/>
              <a:gd name="connsiteY16742" fmla="*/ 4470009 h 5973007"/>
              <a:gd name="connsiteX16743" fmla="*/ 1089192 w 6884782"/>
              <a:gd name="connsiteY16743" fmla="*/ 4477857 h 5973007"/>
              <a:gd name="connsiteX16744" fmla="*/ 1090431 w 6884782"/>
              <a:gd name="connsiteY16744" fmla="*/ 4475482 h 5973007"/>
              <a:gd name="connsiteX16745" fmla="*/ 1099880 w 6884782"/>
              <a:gd name="connsiteY16745" fmla="*/ 4470009 h 5973007"/>
              <a:gd name="connsiteX16746" fmla="*/ 6144997 w 6884782"/>
              <a:gd name="connsiteY16746" fmla="*/ 4469717 h 5973007"/>
              <a:gd name="connsiteX16747" fmla="*/ 6145617 w 6884782"/>
              <a:gd name="connsiteY16747" fmla="*/ 4474054 h 5973007"/>
              <a:gd name="connsiteX16748" fmla="*/ 6143139 w 6884782"/>
              <a:gd name="connsiteY16748" fmla="*/ 4476429 h 5973007"/>
              <a:gd name="connsiteX16749" fmla="*/ 6139111 w 6884782"/>
              <a:gd name="connsiteY16749" fmla="*/ 4476223 h 5973007"/>
              <a:gd name="connsiteX16750" fmla="*/ 6139886 w 6884782"/>
              <a:gd name="connsiteY16750" fmla="*/ 4476119 h 5973007"/>
              <a:gd name="connsiteX16751" fmla="*/ 6139731 w 6884782"/>
              <a:gd name="connsiteY16751" fmla="*/ 4474364 h 5973007"/>
              <a:gd name="connsiteX16752" fmla="*/ 6138802 w 6884782"/>
              <a:gd name="connsiteY16752" fmla="*/ 4474467 h 5973007"/>
              <a:gd name="connsiteX16753" fmla="*/ 6139421 w 6884782"/>
              <a:gd name="connsiteY16753" fmla="*/ 4472608 h 5973007"/>
              <a:gd name="connsiteX16754" fmla="*/ 6144997 w 6884782"/>
              <a:gd name="connsiteY16754" fmla="*/ 4469717 h 5973007"/>
              <a:gd name="connsiteX16755" fmla="*/ 1646354 w 6884782"/>
              <a:gd name="connsiteY16755" fmla="*/ 4469183 h 5973007"/>
              <a:gd name="connsiteX16756" fmla="*/ 1649916 w 6884782"/>
              <a:gd name="connsiteY16756" fmla="*/ 4472178 h 5973007"/>
              <a:gd name="connsiteX16757" fmla="*/ 1648833 w 6884782"/>
              <a:gd name="connsiteY16757" fmla="*/ 4484981 h 5973007"/>
              <a:gd name="connsiteX16758" fmla="*/ 1646664 w 6884782"/>
              <a:gd name="connsiteY16758" fmla="*/ 4485084 h 5973007"/>
              <a:gd name="connsiteX16759" fmla="*/ 1642172 w 6884782"/>
              <a:gd name="connsiteY16759" fmla="*/ 4480232 h 5973007"/>
              <a:gd name="connsiteX16760" fmla="*/ 1641552 w 6884782"/>
              <a:gd name="connsiteY16760" fmla="*/ 4475069 h 5973007"/>
              <a:gd name="connsiteX16761" fmla="*/ 1646354 w 6884782"/>
              <a:gd name="connsiteY16761" fmla="*/ 4469183 h 5973007"/>
              <a:gd name="connsiteX16762" fmla="*/ 1300141 w 6884782"/>
              <a:gd name="connsiteY16762" fmla="*/ 4469170 h 5973007"/>
              <a:gd name="connsiteX16763" fmla="*/ 1305582 w 6884782"/>
              <a:gd name="connsiteY16763" fmla="*/ 4472178 h 5973007"/>
              <a:gd name="connsiteX16764" fmla="*/ 1301710 w 6884782"/>
              <a:gd name="connsiteY16764" fmla="*/ 4474862 h 5973007"/>
              <a:gd name="connsiteX16765" fmla="*/ 1297373 w 6884782"/>
              <a:gd name="connsiteY16765" fmla="*/ 4473520 h 5973007"/>
              <a:gd name="connsiteX16766" fmla="*/ 1300141 w 6884782"/>
              <a:gd name="connsiteY16766" fmla="*/ 4469170 h 5973007"/>
              <a:gd name="connsiteX16767" fmla="*/ 1034359 w 6884782"/>
              <a:gd name="connsiteY16767" fmla="*/ 4468873 h 5973007"/>
              <a:gd name="connsiteX16768" fmla="*/ 1039935 w 6884782"/>
              <a:gd name="connsiteY16768" fmla="*/ 4472074 h 5973007"/>
              <a:gd name="connsiteX16769" fmla="*/ 1038076 w 6884782"/>
              <a:gd name="connsiteY16769" fmla="*/ 4472178 h 5973007"/>
              <a:gd name="connsiteX16770" fmla="*/ 1035907 w 6884782"/>
              <a:gd name="connsiteY16770" fmla="*/ 4471765 h 5973007"/>
              <a:gd name="connsiteX16771" fmla="*/ 1033739 w 6884782"/>
              <a:gd name="connsiteY16771" fmla="*/ 4471248 h 5973007"/>
              <a:gd name="connsiteX16772" fmla="*/ 1031880 w 6884782"/>
              <a:gd name="connsiteY16772" fmla="*/ 4471455 h 5973007"/>
              <a:gd name="connsiteX16773" fmla="*/ 1028783 w 6884782"/>
              <a:gd name="connsiteY16773" fmla="*/ 4469390 h 5973007"/>
              <a:gd name="connsiteX16774" fmla="*/ 1030641 w 6884782"/>
              <a:gd name="connsiteY16774" fmla="*/ 4469286 h 5973007"/>
              <a:gd name="connsiteX16775" fmla="*/ 1032964 w 6884782"/>
              <a:gd name="connsiteY16775" fmla="*/ 4469803 h 5973007"/>
              <a:gd name="connsiteX16776" fmla="*/ 1034359 w 6884782"/>
              <a:gd name="connsiteY16776" fmla="*/ 4468873 h 5973007"/>
              <a:gd name="connsiteX16777" fmla="*/ 1199013 w 6884782"/>
              <a:gd name="connsiteY16777" fmla="*/ 4468254 h 5973007"/>
              <a:gd name="connsiteX16778" fmla="*/ 1196845 w 6884782"/>
              <a:gd name="connsiteY16778" fmla="*/ 4475792 h 5973007"/>
              <a:gd name="connsiteX16779" fmla="*/ 1199013 w 6884782"/>
              <a:gd name="connsiteY16779" fmla="*/ 4468254 h 5973007"/>
              <a:gd name="connsiteX16780" fmla="*/ 708302 w 6884782"/>
              <a:gd name="connsiteY16780" fmla="*/ 4467531 h 5973007"/>
              <a:gd name="connsiteX16781" fmla="*/ 716821 w 6884782"/>
              <a:gd name="connsiteY16781" fmla="*/ 4472487 h 5973007"/>
              <a:gd name="connsiteX16782" fmla="*/ 715272 w 6884782"/>
              <a:gd name="connsiteY16782" fmla="*/ 4476102 h 5973007"/>
              <a:gd name="connsiteX16783" fmla="*/ 712639 w 6884782"/>
              <a:gd name="connsiteY16783" fmla="*/ 4477340 h 5973007"/>
              <a:gd name="connsiteX16784" fmla="*/ 705824 w 6884782"/>
              <a:gd name="connsiteY16784" fmla="*/ 4472591 h 5973007"/>
              <a:gd name="connsiteX16785" fmla="*/ 708302 w 6884782"/>
              <a:gd name="connsiteY16785" fmla="*/ 4467531 h 5973007"/>
              <a:gd name="connsiteX16786" fmla="*/ 874506 w 6884782"/>
              <a:gd name="connsiteY16786" fmla="*/ 4466808 h 5973007"/>
              <a:gd name="connsiteX16787" fmla="*/ 884574 w 6884782"/>
              <a:gd name="connsiteY16787" fmla="*/ 4478476 h 5973007"/>
              <a:gd name="connsiteX16788" fmla="*/ 880701 w 6884782"/>
              <a:gd name="connsiteY16788" fmla="*/ 4481264 h 5973007"/>
              <a:gd name="connsiteX16789" fmla="*/ 878069 w 6884782"/>
              <a:gd name="connsiteY16789" fmla="*/ 4480645 h 5973007"/>
              <a:gd name="connsiteX16790" fmla="*/ 876829 w 6884782"/>
              <a:gd name="connsiteY16790" fmla="*/ 4482607 h 5973007"/>
              <a:gd name="connsiteX16791" fmla="*/ 873577 w 6884782"/>
              <a:gd name="connsiteY16791" fmla="*/ 4481368 h 5973007"/>
              <a:gd name="connsiteX16792" fmla="*/ 874041 w 6884782"/>
              <a:gd name="connsiteY16792" fmla="*/ 4477340 h 5973007"/>
              <a:gd name="connsiteX16793" fmla="*/ 873112 w 6884782"/>
              <a:gd name="connsiteY16793" fmla="*/ 4474966 h 5973007"/>
              <a:gd name="connsiteX16794" fmla="*/ 871098 w 6884782"/>
              <a:gd name="connsiteY16794" fmla="*/ 4469596 h 5973007"/>
              <a:gd name="connsiteX16795" fmla="*/ 874506 w 6884782"/>
              <a:gd name="connsiteY16795" fmla="*/ 4466808 h 5973007"/>
              <a:gd name="connsiteX16796" fmla="*/ 1179031 w 6884782"/>
              <a:gd name="connsiteY16796" fmla="*/ 4466705 h 5973007"/>
              <a:gd name="connsiteX16797" fmla="*/ 1181820 w 6884782"/>
              <a:gd name="connsiteY16797" fmla="*/ 4479612 h 5973007"/>
              <a:gd name="connsiteX16798" fmla="*/ 1180271 w 6884782"/>
              <a:gd name="connsiteY16798" fmla="*/ 4477547 h 5973007"/>
              <a:gd name="connsiteX16799" fmla="*/ 1179013 w 6884782"/>
              <a:gd name="connsiteY16799" fmla="*/ 4472010 h 5973007"/>
              <a:gd name="connsiteX16800" fmla="*/ 1179022 w 6884782"/>
              <a:gd name="connsiteY16800" fmla="*/ 4469182 h 5973007"/>
              <a:gd name="connsiteX16801" fmla="*/ 1179031 w 6884782"/>
              <a:gd name="connsiteY16801" fmla="*/ 4469183 h 5973007"/>
              <a:gd name="connsiteX16802" fmla="*/ 1179022 w 6884782"/>
              <a:gd name="connsiteY16802" fmla="*/ 4469175 h 5973007"/>
              <a:gd name="connsiteX16803" fmla="*/ 6195184 w 6884782"/>
              <a:gd name="connsiteY16803" fmla="*/ 4466620 h 5973007"/>
              <a:gd name="connsiteX16804" fmla="*/ 6195804 w 6884782"/>
              <a:gd name="connsiteY16804" fmla="*/ 4467755 h 5973007"/>
              <a:gd name="connsiteX16805" fmla="*/ 6195184 w 6884782"/>
              <a:gd name="connsiteY16805" fmla="*/ 4469408 h 5973007"/>
              <a:gd name="connsiteX16806" fmla="*/ 6193480 w 6884782"/>
              <a:gd name="connsiteY16806" fmla="*/ 4472918 h 5973007"/>
              <a:gd name="connsiteX16807" fmla="*/ 6195184 w 6884782"/>
              <a:gd name="connsiteY16807" fmla="*/ 4466620 h 5973007"/>
              <a:gd name="connsiteX16808" fmla="*/ 1649762 w 6884782"/>
              <a:gd name="connsiteY16808" fmla="*/ 4465156 h 5973007"/>
              <a:gd name="connsiteX16809" fmla="*/ 1653789 w 6884782"/>
              <a:gd name="connsiteY16809" fmla="*/ 4468150 h 5973007"/>
              <a:gd name="connsiteX16810" fmla="*/ 1651311 w 6884782"/>
              <a:gd name="connsiteY16810" fmla="*/ 4470422 h 5973007"/>
              <a:gd name="connsiteX16811" fmla="*/ 1648367 w 6884782"/>
              <a:gd name="connsiteY16811" fmla="*/ 4469183 h 5973007"/>
              <a:gd name="connsiteX16812" fmla="*/ 1649762 w 6884782"/>
              <a:gd name="connsiteY16812" fmla="*/ 4465156 h 5973007"/>
              <a:gd name="connsiteX16813" fmla="*/ 1676094 w 6884782"/>
              <a:gd name="connsiteY16813" fmla="*/ 4464743 h 5973007"/>
              <a:gd name="connsiteX16814" fmla="*/ 1670673 w 6884782"/>
              <a:gd name="connsiteY16814" fmla="*/ 4471145 h 5973007"/>
              <a:gd name="connsiteX16815" fmla="*/ 1674545 w 6884782"/>
              <a:gd name="connsiteY16815" fmla="*/ 4464950 h 5973007"/>
              <a:gd name="connsiteX16816" fmla="*/ 1676094 w 6884782"/>
              <a:gd name="connsiteY16816" fmla="*/ 4464743 h 5973007"/>
              <a:gd name="connsiteX16817" fmla="*/ 1726900 w 6884782"/>
              <a:gd name="connsiteY16817" fmla="*/ 4464640 h 5973007"/>
              <a:gd name="connsiteX16818" fmla="*/ 1729533 w 6884782"/>
              <a:gd name="connsiteY16818" fmla="*/ 4466499 h 5973007"/>
              <a:gd name="connsiteX16819" fmla="*/ 1728759 w 6884782"/>
              <a:gd name="connsiteY16819" fmla="*/ 4467325 h 5973007"/>
              <a:gd name="connsiteX16820" fmla="*/ 1729533 w 6884782"/>
              <a:gd name="connsiteY16820" fmla="*/ 4467325 h 5973007"/>
              <a:gd name="connsiteX16821" fmla="*/ 1728449 w 6884782"/>
              <a:gd name="connsiteY16821" fmla="*/ 4467531 h 5973007"/>
              <a:gd name="connsiteX16822" fmla="*/ 1727985 w 6884782"/>
              <a:gd name="connsiteY16822" fmla="*/ 4467221 h 5973007"/>
              <a:gd name="connsiteX16823" fmla="*/ 1726900 w 6884782"/>
              <a:gd name="connsiteY16823" fmla="*/ 4464640 h 5973007"/>
              <a:gd name="connsiteX16824" fmla="*/ 1819992 w 6884782"/>
              <a:gd name="connsiteY16824" fmla="*/ 4464434 h 5973007"/>
              <a:gd name="connsiteX16825" fmla="*/ 1828822 w 6884782"/>
              <a:gd name="connsiteY16825" fmla="*/ 4470422 h 5973007"/>
              <a:gd name="connsiteX16826" fmla="*/ 1819992 w 6884782"/>
              <a:gd name="connsiteY16826" fmla="*/ 4464434 h 5973007"/>
              <a:gd name="connsiteX16827" fmla="*/ 1413216 w 6884782"/>
              <a:gd name="connsiteY16827" fmla="*/ 4464278 h 5973007"/>
              <a:gd name="connsiteX16828" fmla="*/ 1419276 w 6884782"/>
              <a:gd name="connsiteY16828" fmla="*/ 4465466 h 5973007"/>
              <a:gd name="connsiteX16829" fmla="*/ 1419586 w 6884782"/>
              <a:gd name="connsiteY16829" fmla="*/ 4470835 h 5973007"/>
              <a:gd name="connsiteX16830" fmla="*/ 1414474 w 6884782"/>
              <a:gd name="connsiteY16830" fmla="*/ 4473004 h 5973007"/>
              <a:gd name="connsiteX16831" fmla="*/ 1409363 w 6884782"/>
              <a:gd name="connsiteY16831" fmla="*/ 4471455 h 5973007"/>
              <a:gd name="connsiteX16832" fmla="*/ 1408898 w 6884782"/>
              <a:gd name="connsiteY16832" fmla="*/ 4467738 h 5973007"/>
              <a:gd name="connsiteX16833" fmla="*/ 1413216 w 6884782"/>
              <a:gd name="connsiteY16833" fmla="*/ 4464278 h 5973007"/>
              <a:gd name="connsiteX16834" fmla="*/ 1598336 w 6884782"/>
              <a:gd name="connsiteY16834" fmla="*/ 4463917 h 5973007"/>
              <a:gd name="connsiteX16835" fmla="*/ 1617079 w 6884782"/>
              <a:gd name="connsiteY16835" fmla="*/ 4485084 h 5973007"/>
              <a:gd name="connsiteX16836" fmla="*/ 1613981 w 6884782"/>
              <a:gd name="connsiteY16836" fmla="*/ 4485601 h 5973007"/>
              <a:gd name="connsiteX16837" fmla="*/ 1608559 w 6884782"/>
              <a:gd name="connsiteY16837" fmla="*/ 4482710 h 5973007"/>
              <a:gd name="connsiteX16838" fmla="*/ 1606546 w 6884782"/>
              <a:gd name="connsiteY16838" fmla="*/ 4480129 h 5973007"/>
              <a:gd name="connsiteX16839" fmla="*/ 1605771 w 6884782"/>
              <a:gd name="connsiteY16839" fmla="*/ 4480438 h 5973007"/>
              <a:gd name="connsiteX16840" fmla="*/ 1600814 w 6884782"/>
              <a:gd name="connsiteY16840" fmla="*/ 4481471 h 5973007"/>
              <a:gd name="connsiteX16841" fmla="*/ 1599420 w 6884782"/>
              <a:gd name="connsiteY16841" fmla="*/ 4480748 h 5973007"/>
              <a:gd name="connsiteX16842" fmla="*/ 1599575 w 6884782"/>
              <a:gd name="connsiteY16842" fmla="*/ 4480129 h 5973007"/>
              <a:gd name="connsiteX16843" fmla="*/ 1599265 w 6884782"/>
              <a:gd name="connsiteY16843" fmla="*/ 4480232 h 5973007"/>
              <a:gd name="connsiteX16844" fmla="*/ 1596942 w 6884782"/>
              <a:gd name="connsiteY16844" fmla="*/ 4479715 h 5973007"/>
              <a:gd name="connsiteX16845" fmla="*/ 1599730 w 6884782"/>
              <a:gd name="connsiteY16845" fmla="*/ 4477960 h 5973007"/>
              <a:gd name="connsiteX16846" fmla="*/ 1599885 w 6884782"/>
              <a:gd name="connsiteY16846" fmla="*/ 4478063 h 5973007"/>
              <a:gd name="connsiteX16847" fmla="*/ 1600505 w 6884782"/>
              <a:gd name="connsiteY16847" fmla="*/ 4476514 h 5973007"/>
              <a:gd name="connsiteX16848" fmla="*/ 1603602 w 6884782"/>
              <a:gd name="connsiteY16848" fmla="*/ 4476514 h 5973007"/>
              <a:gd name="connsiteX16849" fmla="*/ 1600040 w 6884782"/>
              <a:gd name="connsiteY16849" fmla="*/ 4469596 h 5973007"/>
              <a:gd name="connsiteX16850" fmla="*/ 1598336 w 6884782"/>
              <a:gd name="connsiteY16850" fmla="*/ 4463917 h 5973007"/>
              <a:gd name="connsiteX16851" fmla="*/ 5910020 w 6884782"/>
              <a:gd name="connsiteY16851" fmla="*/ 4462902 h 5973007"/>
              <a:gd name="connsiteX16852" fmla="*/ 5910174 w 6884782"/>
              <a:gd name="connsiteY16852" fmla="*/ 4468478 h 5973007"/>
              <a:gd name="connsiteX16853" fmla="*/ 5901810 w 6884782"/>
              <a:gd name="connsiteY16853" fmla="*/ 4469201 h 5973007"/>
              <a:gd name="connsiteX16854" fmla="*/ 5896854 w 6884782"/>
              <a:gd name="connsiteY16854" fmla="*/ 4465897 h 5973007"/>
              <a:gd name="connsiteX16855" fmla="*/ 5910020 w 6884782"/>
              <a:gd name="connsiteY16855" fmla="*/ 4462902 h 5973007"/>
              <a:gd name="connsiteX16856" fmla="*/ 1706454 w 6884782"/>
              <a:gd name="connsiteY16856" fmla="*/ 4462265 h 5973007"/>
              <a:gd name="connsiteX16857" fmla="*/ 1701962 w 6884782"/>
              <a:gd name="connsiteY16857" fmla="*/ 4475069 h 5973007"/>
              <a:gd name="connsiteX16858" fmla="*/ 1698244 w 6884782"/>
              <a:gd name="connsiteY16858" fmla="*/ 4472384 h 5973007"/>
              <a:gd name="connsiteX16859" fmla="*/ 1701652 w 6884782"/>
              <a:gd name="connsiteY16859" fmla="*/ 4462368 h 5973007"/>
              <a:gd name="connsiteX16860" fmla="*/ 1706454 w 6884782"/>
              <a:gd name="connsiteY16860" fmla="*/ 4462265 h 5973007"/>
              <a:gd name="connsiteX16861" fmla="*/ 6153052 w 6884782"/>
              <a:gd name="connsiteY16861" fmla="*/ 4461664 h 5973007"/>
              <a:gd name="connsiteX16862" fmla="*/ 6153981 w 6884782"/>
              <a:gd name="connsiteY16862" fmla="*/ 4461767 h 5973007"/>
              <a:gd name="connsiteX16863" fmla="*/ 6157234 w 6884782"/>
              <a:gd name="connsiteY16863" fmla="*/ 4462283 h 5973007"/>
              <a:gd name="connsiteX16864" fmla="*/ 6158628 w 6884782"/>
              <a:gd name="connsiteY16864" fmla="*/ 4466826 h 5973007"/>
              <a:gd name="connsiteX16865" fmla="*/ 6155840 w 6884782"/>
              <a:gd name="connsiteY16865" fmla="*/ 4468169 h 5973007"/>
              <a:gd name="connsiteX16866" fmla="*/ 6153517 w 6884782"/>
              <a:gd name="connsiteY16866" fmla="*/ 4467755 h 5973007"/>
              <a:gd name="connsiteX16867" fmla="*/ 6151968 w 6884782"/>
              <a:gd name="connsiteY16867" fmla="*/ 4463212 h 5973007"/>
              <a:gd name="connsiteX16868" fmla="*/ 6153052 w 6884782"/>
              <a:gd name="connsiteY16868" fmla="*/ 4461664 h 5973007"/>
              <a:gd name="connsiteX16869" fmla="*/ 1161839 w 6884782"/>
              <a:gd name="connsiteY16869" fmla="*/ 4461439 h 5973007"/>
              <a:gd name="connsiteX16870" fmla="*/ 1172352 w 6884782"/>
              <a:gd name="connsiteY16870" fmla="*/ 4462911 h 5973007"/>
              <a:gd name="connsiteX16871" fmla="*/ 1179022 w 6884782"/>
              <a:gd name="connsiteY16871" fmla="*/ 4469175 h 5973007"/>
              <a:gd name="connsiteX16872" fmla="*/ 1179022 w 6884782"/>
              <a:gd name="connsiteY16872" fmla="*/ 4469182 h 5973007"/>
              <a:gd name="connsiteX16873" fmla="*/ 1174308 w 6884782"/>
              <a:gd name="connsiteY16873" fmla="*/ 4468822 h 5973007"/>
              <a:gd name="connsiteX16874" fmla="*/ 1169119 w 6884782"/>
              <a:gd name="connsiteY16874" fmla="*/ 4468150 h 5973007"/>
              <a:gd name="connsiteX16875" fmla="*/ 1161839 w 6884782"/>
              <a:gd name="connsiteY16875" fmla="*/ 4461439 h 5973007"/>
              <a:gd name="connsiteX16876" fmla="*/ 1787929 w 6884782"/>
              <a:gd name="connsiteY16876" fmla="*/ 4459064 h 5973007"/>
              <a:gd name="connsiteX16877" fmla="*/ 1790253 w 6884782"/>
              <a:gd name="connsiteY16877" fmla="*/ 4464124 h 5973007"/>
              <a:gd name="connsiteX16878" fmla="*/ 1787619 w 6884782"/>
              <a:gd name="connsiteY16878" fmla="*/ 4463917 h 5973007"/>
              <a:gd name="connsiteX16879" fmla="*/ 1787929 w 6884782"/>
              <a:gd name="connsiteY16879" fmla="*/ 4459064 h 5973007"/>
              <a:gd name="connsiteX16880" fmla="*/ 1061930 w 6884782"/>
              <a:gd name="connsiteY16880" fmla="*/ 4459064 h 5973007"/>
              <a:gd name="connsiteX16881" fmla="*/ 1061155 w 6884782"/>
              <a:gd name="connsiteY16881" fmla="*/ 4459787 h 5973007"/>
              <a:gd name="connsiteX16882" fmla="*/ 1061930 w 6884782"/>
              <a:gd name="connsiteY16882" fmla="*/ 4459477 h 5973007"/>
              <a:gd name="connsiteX16883" fmla="*/ 1548615 w 6884782"/>
              <a:gd name="connsiteY16883" fmla="*/ 4458961 h 5973007"/>
              <a:gd name="connsiteX16884" fmla="*/ 1552177 w 6884782"/>
              <a:gd name="connsiteY16884" fmla="*/ 4465569 h 5973007"/>
              <a:gd name="connsiteX16885" fmla="*/ 1553571 w 6884782"/>
              <a:gd name="connsiteY16885" fmla="*/ 4469493 h 5973007"/>
              <a:gd name="connsiteX16886" fmla="*/ 1552642 w 6884782"/>
              <a:gd name="connsiteY16886" fmla="*/ 4471868 h 5973007"/>
              <a:gd name="connsiteX16887" fmla="*/ 1551867 w 6884782"/>
              <a:gd name="connsiteY16887" fmla="*/ 4472178 h 5973007"/>
              <a:gd name="connsiteX16888" fmla="*/ 1550628 w 6884782"/>
              <a:gd name="connsiteY16888" fmla="*/ 4470835 h 5973007"/>
              <a:gd name="connsiteX16889" fmla="*/ 1548305 w 6884782"/>
              <a:gd name="connsiteY16889" fmla="*/ 4462884 h 5973007"/>
              <a:gd name="connsiteX16890" fmla="*/ 1547685 w 6884782"/>
              <a:gd name="connsiteY16890" fmla="*/ 4461336 h 5973007"/>
              <a:gd name="connsiteX16891" fmla="*/ 1548615 w 6884782"/>
              <a:gd name="connsiteY16891" fmla="*/ 4458961 h 5973007"/>
              <a:gd name="connsiteX16892" fmla="*/ 5849939 w 6884782"/>
              <a:gd name="connsiteY16892" fmla="*/ 4458734 h 5973007"/>
              <a:gd name="connsiteX16893" fmla="*/ 5851469 w 6884782"/>
              <a:gd name="connsiteY16893" fmla="*/ 4463419 h 5973007"/>
              <a:gd name="connsiteX16894" fmla="*/ 5845273 w 6884782"/>
              <a:gd name="connsiteY16894" fmla="*/ 4461870 h 5973007"/>
              <a:gd name="connsiteX16895" fmla="*/ 5849939 w 6884782"/>
              <a:gd name="connsiteY16895" fmla="*/ 4458734 h 5973007"/>
              <a:gd name="connsiteX16896" fmla="*/ 5857045 w 6884782"/>
              <a:gd name="connsiteY16896" fmla="*/ 4458669 h 5973007"/>
              <a:gd name="connsiteX16897" fmla="*/ 5863241 w 6884782"/>
              <a:gd name="connsiteY16897" fmla="*/ 4460011 h 5973007"/>
              <a:gd name="connsiteX16898" fmla="*/ 5865100 w 6884782"/>
              <a:gd name="connsiteY16898" fmla="*/ 4463109 h 5973007"/>
              <a:gd name="connsiteX16899" fmla="*/ 5866959 w 6884782"/>
              <a:gd name="connsiteY16899" fmla="*/ 4461767 h 5973007"/>
              <a:gd name="connsiteX16900" fmla="*/ 5880125 w 6884782"/>
              <a:gd name="connsiteY16900" fmla="*/ 4468065 h 5973007"/>
              <a:gd name="connsiteX16901" fmla="*/ 5880434 w 6884782"/>
              <a:gd name="connsiteY16901" fmla="*/ 4470440 h 5973007"/>
              <a:gd name="connsiteX16902" fmla="*/ 5882138 w 6884782"/>
              <a:gd name="connsiteY16902" fmla="*/ 4473744 h 5973007"/>
              <a:gd name="connsiteX16903" fmla="*/ 5872999 w 6884782"/>
              <a:gd name="connsiteY16903" fmla="*/ 4480663 h 5973007"/>
              <a:gd name="connsiteX16904" fmla="*/ 5867733 w 6884782"/>
              <a:gd name="connsiteY16904" fmla="*/ 4481902 h 5973007"/>
              <a:gd name="connsiteX16905" fmla="*/ 5866649 w 6884782"/>
              <a:gd name="connsiteY16905" fmla="*/ 4481592 h 5973007"/>
              <a:gd name="connsiteX16906" fmla="*/ 5866959 w 6884782"/>
              <a:gd name="connsiteY16906" fmla="*/ 4481902 h 5973007"/>
              <a:gd name="connsiteX16907" fmla="*/ 5870366 w 6884782"/>
              <a:gd name="connsiteY16907" fmla="*/ 4487477 h 5973007"/>
              <a:gd name="connsiteX16908" fmla="*/ 5867888 w 6884782"/>
              <a:gd name="connsiteY16908" fmla="*/ 4486755 h 5973007"/>
              <a:gd name="connsiteX16909" fmla="*/ 5866804 w 6884782"/>
              <a:gd name="connsiteY16909" fmla="*/ 4485929 h 5973007"/>
              <a:gd name="connsiteX16910" fmla="*/ 5866029 w 6884782"/>
              <a:gd name="connsiteY16910" fmla="*/ 4485929 h 5973007"/>
              <a:gd name="connsiteX16911" fmla="*/ 5865874 w 6884782"/>
              <a:gd name="connsiteY16911" fmla="*/ 4485103 h 5973007"/>
              <a:gd name="connsiteX16912" fmla="*/ 5864016 w 6884782"/>
              <a:gd name="connsiteY16912" fmla="*/ 4483450 h 5973007"/>
              <a:gd name="connsiteX16913" fmla="*/ 5858594 w 6884782"/>
              <a:gd name="connsiteY16913" fmla="*/ 4481179 h 5973007"/>
              <a:gd name="connsiteX16914" fmla="*/ 5854412 w 6884782"/>
              <a:gd name="connsiteY16914" fmla="*/ 4476223 h 5973007"/>
              <a:gd name="connsiteX16915" fmla="*/ 5855961 w 6884782"/>
              <a:gd name="connsiteY16915" fmla="*/ 4474364 h 5973007"/>
              <a:gd name="connsiteX16916" fmla="*/ 5853947 w 6884782"/>
              <a:gd name="connsiteY16916" fmla="*/ 4472712 h 5973007"/>
              <a:gd name="connsiteX16917" fmla="*/ 5853328 w 6884782"/>
              <a:gd name="connsiteY16917" fmla="*/ 4461457 h 5973007"/>
              <a:gd name="connsiteX16918" fmla="*/ 5857045 w 6884782"/>
              <a:gd name="connsiteY16918" fmla="*/ 4458669 h 5973007"/>
              <a:gd name="connsiteX16919" fmla="*/ 1140154 w 6884782"/>
              <a:gd name="connsiteY16919" fmla="*/ 4458651 h 5973007"/>
              <a:gd name="connsiteX16920" fmla="*/ 1141237 w 6884782"/>
              <a:gd name="connsiteY16920" fmla="*/ 4472694 h 5973007"/>
              <a:gd name="connsiteX16921" fmla="*/ 1140154 w 6884782"/>
              <a:gd name="connsiteY16921" fmla="*/ 4458651 h 5973007"/>
              <a:gd name="connsiteX16922" fmla="*/ 737113 w 6884782"/>
              <a:gd name="connsiteY16922" fmla="*/ 4458651 h 5973007"/>
              <a:gd name="connsiteX16923" fmla="*/ 741759 w 6884782"/>
              <a:gd name="connsiteY16923" fmla="*/ 4468357 h 5973007"/>
              <a:gd name="connsiteX16924" fmla="*/ 740520 w 6884782"/>
              <a:gd name="connsiteY16924" fmla="*/ 4478683 h 5973007"/>
              <a:gd name="connsiteX16925" fmla="*/ 737113 w 6884782"/>
              <a:gd name="connsiteY16925" fmla="*/ 4458651 h 5973007"/>
              <a:gd name="connsiteX16926" fmla="*/ 1055425 w 6884782"/>
              <a:gd name="connsiteY16926" fmla="*/ 4458341 h 5973007"/>
              <a:gd name="connsiteX16927" fmla="*/ 1052327 w 6884782"/>
              <a:gd name="connsiteY16927" fmla="*/ 4460406 h 5973007"/>
              <a:gd name="connsiteX16928" fmla="*/ 1048144 w 6884782"/>
              <a:gd name="connsiteY16928" fmla="*/ 4460406 h 5973007"/>
              <a:gd name="connsiteX16929" fmla="*/ 1055425 w 6884782"/>
              <a:gd name="connsiteY16929" fmla="*/ 4458341 h 5973007"/>
              <a:gd name="connsiteX16930" fmla="*/ 1782817 w 6884782"/>
              <a:gd name="connsiteY16930" fmla="*/ 4458135 h 5973007"/>
              <a:gd name="connsiteX16931" fmla="*/ 1776002 w 6884782"/>
              <a:gd name="connsiteY16931" fmla="*/ 4465466 h 5973007"/>
              <a:gd name="connsiteX16932" fmla="*/ 1782817 w 6884782"/>
              <a:gd name="connsiteY16932" fmla="*/ 4458135 h 5973007"/>
              <a:gd name="connsiteX16933" fmla="*/ 1723337 w 6884782"/>
              <a:gd name="connsiteY16933" fmla="*/ 4458135 h 5973007"/>
              <a:gd name="connsiteX16934" fmla="*/ 1726900 w 6884782"/>
              <a:gd name="connsiteY16934" fmla="*/ 4464640 h 5973007"/>
              <a:gd name="connsiteX16935" fmla="*/ 1723337 w 6884782"/>
              <a:gd name="connsiteY16935" fmla="*/ 4461749 h 5973007"/>
              <a:gd name="connsiteX16936" fmla="*/ 1723337 w 6884782"/>
              <a:gd name="connsiteY16936" fmla="*/ 4458135 h 5973007"/>
              <a:gd name="connsiteX16937" fmla="*/ 1043652 w 6884782"/>
              <a:gd name="connsiteY16937" fmla="*/ 4457515 h 5973007"/>
              <a:gd name="connsiteX16938" fmla="*/ 1043807 w 6884782"/>
              <a:gd name="connsiteY16938" fmla="*/ 4458341 h 5973007"/>
              <a:gd name="connsiteX16939" fmla="*/ 1045511 w 6884782"/>
              <a:gd name="connsiteY16939" fmla="*/ 4461336 h 5973007"/>
              <a:gd name="connsiteX16940" fmla="*/ 1041484 w 6884782"/>
              <a:gd name="connsiteY16940" fmla="*/ 4462884 h 5973007"/>
              <a:gd name="connsiteX16941" fmla="*/ 1041484 w 6884782"/>
              <a:gd name="connsiteY16941" fmla="*/ 4459271 h 5973007"/>
              <a:gd name="connsiteX16942" fmla="*/ 1043652 w 6884782"/>
              <a:gd name="connsiteY16942" fmla="*/ 4457515 h 5973007"/>
              <a:gd name="connsiteX16943" fmla="*/ 1697779 w 6884782"/>
              <a:gd name="connsiteY16943" fmla="*/ 4456379 h 5973007"/>
              <a:gd name="connsiteX16944" fmla="*/ 1697470 w 6884782"/>
              <a:gd name="connsiteY16944" fmla="*/ 4463917 h 5973007"/>
              <a:gd name="connsiteX16945" fmla="*/ 1697005 w 6884782"/>
              <a:gd name="connsiteY16945" fmla="*/ 4457102 h 5973007"/>
              <a:gd name="connsiteX16946" fmla="*/ 1697779 w 6884782"/>
              <a:gd name="connsiteY16946" fmla="*/ 4456379 h 5973007"/>
              <a:gd name="connsiteX16947" fmla="*/ 6543081 w 6884782"/>
              <a:gd name="connsiteY16947" fmla="*/ 4456294 h 5973007"/>
              <a:gd name="connsiteX16948" fmla="*/ 6537814 w 6884782"/>
              <a:gd name="connsiteY16948" fmla="*/ 4459185 h 5973007"/>
              <a:gd name="connsiteX16949" fmla="*/ 6537659 w 6884782"/>
              <a:gd name="connsiteY16949" fmla="*/ 4459185 h 5973007"/>
              <a:gd name="connsiteX16950" fmla="*/ 6535181 w 6884782"/>
              <a:gd name="connsiteY16950" fmla="*/ 4463006 h 5973007"/>
              <a:gd name="connsiteX16951" fmla="*/ 6525267 w 6884782"/>
              <a:gd name="connsiteY16951" fmla="*/ 4466826 h 5973007"/>
              <a:gd name="connsiteX16952" fmla="*/ 6521860 w 6884782"/>
              <a:gd name="connsiteY16952" fmla="*/ 4460941 h 5973007"/>
              <a:gd name="connsiteX16953" fmla="*/ 6519691 w 6884782"/>
              <a:gd name="connsiteY16953" fmla="*/ 4461147 h 5973007"/>
              <a:gd name="connsiteX16954" fmla="*/ 6509313 w 6884782"/>
              <a:gd name="connsiteY16954" fmla="*/ 4468478 h 5973007"/>
              <a:gd name="connsiteX16955" fmla="*/ 6508539 w 6884782"/>
              <a:gd name="connsiteY16955" fmla="*/ 4468272 h 5973007"/>
              <a:gd name="connsiteX16956" fmla="*/ 6507764 w 6884782"/>
              <a:gd name="connsiteY16956" fmla="*/ 4468685 h 5973007"/>
              <a:gd name="connsiteX16957" fmla="*/ 6506990 w 6884782"/>
              <a:gd name="connsiteY16957" fmla="*/ 4468478 h 5973007"/>
              <a:gd name="connsiteX16958" fmla="*/ 6503272 w 6884782"/>
              <a:gd name="connsiteY16958" fmla="*/ 4468891 h 5973007"/>
              <a:gd name="connsiteX16959" fmla="*/ 6495837 w 6884782"/>
              <a:gd name="connsiteY16959" fmla="*/ 4469511 h 5973007"/>
              <a:gd name="connsiteX16960" fmla="*/ 6481432 w 6884782"/>
              <a:gd name="connsiteY16960" fmla="*/ 4471163 h 5973007"/>
              <a:gd name="connsiteX16961" fmla="*/ 6474307 w 6884782"/>
              <a:gd name="connsiteY16961" fmla="*/ 4472712 h 5973007"/>
              <a:gd name="connsiteX16962" fmla="*/ 6472758 w 6884782"/>
              <a:gd name="connsiteY16962" fmla="*/ 4473022 h 5973007"/>
              <a:gd name="connsiteX16963" fmla="*/ 6471519 w 6884782"/>
              <a:gd name="connsiteY16963" fmla="*/ 4472608 h 5973007"/>
              <a:gd name="connsiteX16964" fmla="*/ 6468421 w 6884782"/>
              <a:gd name="connsiteY16964" fmla="*/ 4473125 h 5973007"/>
              <a:gd name="connsiteX16965" fmla="*/ 6456339 w 6884782"/>
              <a:gd name="connsiteY16965" fmla="*/ 4474674 h 5973007"/>
              <a:gd name="connsiteX16966" fmla="*/ 6445806 w 6884782"/>
              <a:gd name="connsiteY16966" fmla="*/ 4475397 h 5973007"/>
              <a:gd name="connsiteX16967" fmla="*/ 6445806 w 6884782"/>
              <a:gd name="connsiteY16967" fmla="*/ 4475809 h 5973007"/>
              <a:gd name="connsiteX16968" fmla="*/ 6444102 w 6884782"/>
              <a:gd name="connsiteY16968" fmla="*/ 4480972 h 5973007"/>
              <a:gd name="connsiteX16969" fmla="*/ 6443018 w 6884782"/>
              <a:gd name="connsiteY16969" fmla="*/ 4478701 h 5973007"/>
              <a:gd name="connsiteX16970" fmla="*/ 6443328 w 6884782"/>
              <a:gd name="connsiteY16970" fmla="*/ 4475603 h 5973007"/>
              <a:gd name="connsiteX16971" fmla="*/ 6437752 w 6884782"/>
              <a:gd name="connsiteY16971" fmla="*/ 4475603 h 5973007"/>
              <a:gd name="connsiteX16972" fmla="*/ 6444722 w 6884782"/>
              <a:gd name="connsiteY16972" fmla="*/ 4483967 h 5973007"/>
              <a:gd name="connsiteX16973" fmla="*/ 6412658 w 6884782"/>
              <a:gd name="connsiteY16973" fmla="*/ 4481075 h 5973007"/>
              <a:gd name="connsiteX16974" fmla="*/ 6411729 w 6884782"/>
              <a:gd name="connsiteY16974" fmla="*/ 4499145 h 5973007"/>
              <a:gd name="connsiteX16975" fmla="*/ 6416841 w 6884782"/>
              <a:gd name="connsiteY16975" fmla="*/ 4500384 h 5973007"/>
              <a:gd name="connsiteX16976" fmla="*/ 6418699 w 6884782"/>
              <a:gd name="connsiteY16976" fmla="*/ 4502243 h 5973007"/>
              <a:gd name="connsiteX16977" fmla="*/ 6422881 w 6884782"/>
              <a:gd name="connsiteY16977" fmla="*/ 4500488 h 5973007"/>
              <a:gd name="connsiteX16978" fmla="*/ 6421177 w 6884782"/>
              <a:gd name="connsiteY16978" fmla="*/ 4503069 h 5973007"/>
              <a:gd name="connsiteX16979" fmla="*/ 6430316 w 6884782"/>
              <a:gd name="connsiteY16979" fmla="*/ 4499868 h 5973007"/>
              <a:gd name="connsiteX16980" fmla="*/ 6437132 w 6884782"/>
              <a:gd name="connsiteY16980" fmla="*/ 4502553 h 5973007"/>
              <a:gd name="connsiteX16981" fmla="*/ 6440075 w 6884782"/>
              <a:gd name="connsiteY16981" fmla="*/ 4503585 h 5973007"/>
              <a:gd name="connsiteX16982" fmla="*/ 6444102 w 6884782"/>
              <a:gd name="connsiteY16982" fmla="*/ 4501933 h 5973007"/>
              <a:gd name="connsiteX16983" fmla="*/ 6444102 w 6884782"/>
              <a:gd name="connsiteY16983" fmla="*/ 4501210 h 5973007"/>
              <a:gd name="connsiteX16984" fmla="*/ 6446271 w 6884782"/>
              <a:gd name="connsiteY16984" fmla="*/ 4498836 h 5973007"/>
              <a:gd name="connsiteX16985" fmla="*/ 6445187 w 6884782"/>
              <a:gd name="connsiteY16985" fmla="*/ 4498009 h 5973007"/>
              <a:gd name="connsiteX16986" fmla="*/ 6445342 w 6884782"/>
              <a:gd name="connsiteY16986" fmla="*/ 4490369 h 5973007"/>
              <a:gd name="connsiteX16987" fmla="*/ 6448904 w 6884782"/>
              <a:gd name="connsiteY16987" fmla="*/ 4498009 h 5973007"/>
              <a:gd name="connsiteX16988" fmla="*/ 6447510 w 6884782"/>
              <a:gd name="connsiteY16988" fmla="*/ 4499248 h 5973007"/>
              <a:gd name="connsiteX16989" fmla="*/ 6448439 w 6884782"/>
              <a:gd name="connsiteY16989" fmla="*/ 4500281 h 5973007"/>
              <a:gd name="connsiteX16990" fmla="*/ 6452466 w 6884782"/>
              <a:gd name="connsiteY16990" fmla="*/ 4498629 h 5973007"/>
              <a:gd name="connsiteX16991" fmla="*/ 6453086 w 6884782"/>
              <a:gd name="connsiteY16991" fmla="*/ 4498836 h 5973007"/>
              <a:gd name="connsiteX16992" fmla="*/ 6456184 w 6884782"/>
              <a:gd name="connsiteY16992" fmla="*/ 4496461 h 5973007"/>
              <a:gd name="connsiteX16993" fmla="*/ 6467337 w 6884782"/>
              <a:gd name="connsiteY16993" fmla="*/ 4497700 h 5973007"/>
              <a:gd name="connsiteX16994" fmla="*/ 6472293 w 6884782"/>
              <a:gd name="connsiteY16994" fmla="*/ 4497803 h 5973007"/>
              <a:gd name="connsiteX16995" fmla="*/ 6473688 w 6884782"/>
              <a:gd name="connsiteY16995" fmla="*/ 4498113 h 5973007"/>
              <a:gd name="connsiteX16996" fmla="*/ 6475391 w 6884782"/>
              <a:gd name="connsiteY16996" fmla="*/ 4497183 h 5973007"/>
              <a:gd name="connsiteX16997" fmla="*/ 6478179 w 6884782"/>
              <a:gd name="connsiteY16997" fmla="*/ 4495738 h 5973007"/>
              <a:gd name="connsiteX16998" fmla="*/ 6488867 w 6884782"/>
              <a:gd name="connsiteY16998" fmla="*/ 4498319 h 5973007"/>
              <a:gd name="connsiteX16999" fmla="*/ 6501878 w 6884782"/>
              <a:gd name="connsiteY16999" fmla="*/ 4494086 h 5973007"/>
              <a:gd name="connsiteX17000" fmla="*/ 6502498 w 6884782"/>
              <a:gd name="connsiteY17000" fmla="*/ 4493879 h 5973007"/>
              <a:gd name="connsiteX17001" fmla="*/ 6503272 w 6884782"/>
              <a:gd name="connsiteY17001" fmla="*/ 4492124 h 5973007"/>
              <a:gd name="connsiteX17002" fmla="*/ 6506835 w 6884782"/>
              <a:gd name="connsiteY17002" fmla="*/ 4492227 h 5973007"/>
              <a:gd name="connsiteX17003" fmla="*/ 6507145 w 6884782"/>
              <a:gd name="connsiteY17003" fmla="*/ 4492640 h 5973007"/>
              <a:gd name="connsiteX17004" fmla="*/ 6508384 w 6884782"/>
              <a:gd name="connsiteY17004" fmla="*/ 4492227 h 5973007"/>
              <a:gd name="connsiteX17005" fmla="*/ 6510088 w 6884782"/>
              <a:gd name="connsiteY17005" fmla="*/ 4491298 h 5973007"/>
              <a:gd name="connsiteX17006" fmla="*/ 6510862 w 6884782"/>
              <a:gd name="connsiteY17006" fmla="*/ 4491504 h 5973007"/>
              <a:gd name="connsiteX17007" fmla="*/ 6511637 w 6884782"/>
              <a:gd name="connsiteY17007" fmla="*/ 4491091 h 5973007"/>
              <a:gd name="connsiteX17008" fmla="*/ 6513186 w 6884782"/>
              <a:gd name="connsiteY17008" fmla="*/ 4490781 h 5973007"/>
              <a:gd name="connsiteX17009" fmla="*/ 6513805 w 6884782"/>
              <a:gd name="connsiteY17009" fmla="*/ 4490472 h 5973007"/>
              <a:gd name="connsiteX17010" fmla="*/ 6513341 w 6884782"/>
              <a:gd name="connsiteY17010" fmla="*/ 4488200 h 5973007"/>
              <a:gd name="connsiteX17011" fmla="*/ 6513805 w 6884782"/>
              <a:gd name="connsiteY17011" fmla="*/ 4483554 h 5973007"/>
              <a:gd name="connsiteX17012" fmla="*/ 6516439 w 6884782"/>
              <a:gd name="connsiteY17012" fmla="*/ 4488820 h 5973007"/>
              <a:gd name="connsiteX17013" fmla="*/ 6516593 w 6884782"/>
              <a:gd name="connsiteY17013" fmla="*/ 4489130 h 5973007"/>
              <a:gd name="connsiteX17014" fmla="*/ 6526352 w 6884782"/>
              <a:gd name="connsiteY17014" fmla="*/ 4484276 h 5973007"/>
              <a:gd name="connsiteX17015" fmla="*/ 6524958 w 6884782"/>
              <a:gd name="connsiteY17015" fmla="*/ 4471060 h 5973007"/>
              <a:gd name="connsiteX17016" fmla="*/ 6527436 w 6884782"/>
              <a:gd name="connsiteY17016" fmla="*/ 4470234 h 5973007"/>
              <a:gd name="connsiteX17017" fmla="*/ 6533632 w 6884782"/>
              <a:gd name="connsiteY17017" fmla="*/ 4469201 h 5973007"/>
              <a:gd name="connsiteX17018" fmla="*/ 6534252 w 6884782"/>
              <a:gd name="connsiteY17018" fmla="*/ 4469408 h 5973007"/>
              <a:gd name="connsiteX17019" fmla="*/ 6535181 w 6884782"/>
              <a:gd name="connsiteY17019" fmla="*/ 4468891 h 5973007"/>
              <a:gd name="connsiteX17020" fmla="*/ 6536885 w 6884782"/>
              <a:gd name="connsiteY17020" fmla="*/ 4467962 h 5973007"/>
              <a:gd name="connsiteX17021" fmla="*/ 6544165 w 6884782"/>
              <a:gd name="connsiteY17021" fmla="*/ 4464141 h 5973007"/>
              <a:gd name="connsiteX17022" fmla="*/ 6543081 w 6884782"/>
              <a:gd name="connsiteY17022" fmla="*/ 4456294 h 5973007"/>
              <a:gd name="connsiteX17023" fmla="*/ 897740 w 6884782"/>
              <a:gd name="connsiteY17023" fmla="*/ 4455450 h 5973007"/>
              <a:gd name="connsiteX17024" fmla="*/ 907653 w 6884782"/>
              <a:gd name="connsiteY17024" fmla="*/ 4464743 h 5973007"/>
              <a:gd name="connsiteX17025" fmla="*/ 903626 w 6884782"/>
              <a:gd name="connsiteY17025" fmla="*/ 4467015 h 5973007"/>
              <a:gd name="connsiteX17026" fmla="*/ 895881 w 6884782"/>
              <a:gd name="connsiteY17026" fmla="*/ 4459993 h 5973007"/>
              <a:gd name="connsiteX17027" fmla="*/ 897740 w 6884782"/>
              <a:gd name="connsiteY17027" fmla="*/ 4455450 h 5973007"/>
              <a:gd name="connsiteX17028" fmla="*/ 1719310 w 6884782"/>
              <a:gd name="connsiteY17028" fmla="*/ 4455244 h 5973007"/>
              <a:gd name="connsiteX17029" fmla="*/ 1718536 w 6884782"/>
              <a:gd name="connsiteY17029" fmla="*/ 4455450 h 5973007"/>
              <a:gd name="connsiteX17030" fmla="*/ 1719000 w 6884782"/>
              <a:gd name="connsiteY17030" fmla="*/ 4457206 h 5973007"/>
              <a:gd name="connsiteX17031" fmla="*/ 1719775 w 6884782"/>
              <a:gd name="connsiteY17031" fmla="*/ 4456896 h 5973007"/>
              <a:gd name="connsiteX17032" fmla="*/ 1719310 w 6884782"/>
              <a:gd name="connsiteY17032" fmla="*/ 4458754 h 5973007"/>
              <a:gd name="connsiteX17033" fmla="*/ 1714199 w 6884782"/>
              <a:gd name="connsiteY17033" fmla="*/ 4463401 h 5973007"/>
              <a:gd name="connsiteX17034" fmla="*/ 1712649 w 6884782"/>
              <a:gd name="connsiteY17034" fmla="*/ 4461336 h 5973007"/>
              <a:gd name="connsiteX17035" fmla="*/ 1713115 w 6884782"/>
              <a:gd name="connsiteY17035" fmla="*/ 4459271 h 5973007"/>
              <a:gd name="connsiteX17036" fmla="*/ 1715283 w 6884782"/>
              <a:gd name="connsiteY17036" fmla="*/ 4456173 h 5973007"/>
              <a:gd name="connsiteX17037" fmla="*/ 1719310 w 6884782"/>
              <a:gd name="connsiteY17037" fmla="*/ 4455244 h 5973007"/>
              <a:gd name="connsiteX17038" fmla="*/ 1375595 w 6884782"/>
              <a:gd name="connsiteY17038" fmla="*/ 4454934 h 5973007"/>
              <a:gd name="connsiteX17039" fmla="*/ 1378538 w 6884782"/>
              <a:gd name="connsiteY17039" fmla="*/ 4458858 h 5973007"/>
              <a:gd name="connsiteX17040" fmla="*/ 1380552 w 6884782"/>
              <a:gd name="connsiteY17040" fmla="*/ 4462575 h 5973007"/>
              <a:gd name="connsiteX17041" fmla="*/ 1383650 w 6884782"/>
              <a:gd name="connsiteY17041" fmla="*/ 4476102 h 5973007"/>
              <a:gd name="connsiteX17042" fmla="*/ 1380087 w 6884782"/>
              <a:gd name="connsiteY17042" fmla="*/ 4471558 h 5973007"/>
              <a:gd name="connsiteX17043" fmla="*/ 1374047 w 6884782"/>
              <a:gd name="connsiteY17043" fmla="*/ 4459683 h 5973007"/>
              <a:gd name="connsiteX17044" fmla="*/ 1374821 w 6884782"/>
              <a:gd name="connsiteY17044" fmla="*/ 4457309 h 5973007"/>
              <a:gd name="connsiteX17045" fmla="*/ 1374511 w 6884782"/>
              <a:gd name="connsiteY17045" fmla="*/ 4456483 h 5973007"/>
              <a:gd name="connsiteX17046" fmla="*/ 1375595 w 6884782"/>
              <a:gd name="connsiteY17046" fmla="*/ 4454934 h 5973007"/>
              <a:gd name="connsiteX17047" fmla="*/ 5348269 w 6884782"/>
              <a:gd name="connsiteY17047" fmla="*/ 4454926 h 5973007"/>
              <a:gd name="connsiteX17048" fmla="*/ 5353477 w 6884782"/>
              <a:gd name="connsiteY17048" fmla="*/ 4455881 h 5973007"/>
              <a:gd name="connsiteX17049" fmla="*/ 5348211 w 6884782"/>
              <a:gd name="connsiteY17049" fmla="*/ 4461354 h 5973007"/>
              <a:gd name="connsiteX17050" fmla="*/ 5345732 w 6884782"/>
              <a:gd name="connsiteY17050" fmla="*/ 4460631 h 5973007"/>
              <a:gd name="connsiteX17051" fmla="*/ 5348269 w 6884782"/>
              <a:gd name="connsiteY17051" fmla="*/ 4454926 h 5973007"/>
              <a:gd name="connsiteX17052" fmla="*/ 1107934 w 6884782"/>
              <a:gd name="connsiteY17052" fmla="*/ 4454108 h 5973007"/>
              <a:gd name="connsiteX17053" fmla="*/ 1108554 w 6884782"/>
              <a:gd name="connsiteY17053" fmla="*/ 4454211 h 5973007"/>
              <a:gd name="connsiteX17054" fmla="*/ 1109948 w 6884782"/>
              <a:gd name="connsiteY17054" fmla="*/ 4456379 h 5973007"/>
              <a:gd name="connsiteX17055" fmla="*/ 1109328 w 6884782"/>
              <a:gd name="connsiteY17055" fmla="*/ 4456379 h 5973007"/>
              <a:gd name="connsiteX17056" fmla="*/ 1107160 w 6884782"/>
              <a:gd name="connsiteY17056" fmla="*/ 4455553 h 5973007"/>
              <a:gd name="connsiteX17057" fmla="*/ 1107625 w 6884782"/>
              <a:gd name="connsiteY17057" fmla="*/ 4454417 h 5973007"/>
              <a:gd name="connsiteX17058" fmla="*/ 1106850 w 6884782"/>
              <a:gd name="connsiteY17058" fmla="*/ 4454831 h 5973007"/>
              <a:gd name="connsiteX17059" fmla="*/ 1107934 w 6884782"/>
              <a:gd name="connsiteY17059" fmla="*/ 4454108 h 5973007"/>
              <a:gd name="connsiteX17060" fmla="*/ 1600969 w 6884782"/>
              <a:gd name="connsiteY17060" fmla="*/ 4453798 h 5973007"/>
              <a:gd name="connsiteX17061" fmla="*/ 1606081 w 6884782"/>
              <a:gd name="connsiteY17061" fmla="*/ 4456070 h 5973007"/>
              <a:gd name="connsiteX17062" fmla="*/ 1608559 w 6884782"/>
              <a:gd name="connsiteY17062" fmla="*/ 4458961 h 5973007"/>
              <a:gd name="connsiteX17063" fmla="*/ 1608869 w 6884782"/>
              <a:gd name="connsiteY17063" fmla="*/ 4458548 h 5973007"/>
              <a:gd name="connsiteX17064" fmla="*/ 1611347 w 6884782"/>
              <a:gd name="connsiteY17064" fmla="*/ 4458444 h 5973007"/>
              <a:gd name="connsiteX17065" fmla="*/ 1615375 w 6884782"/>
              <a:gd name="connsiteY17065" fmla="*/ 4463917 h 5973007"/>
              <a:gd name="connsiteX17066" fmla="*/ 1618473 w 6884782"/>
              <a:gd name="connsiteY17066" fmla="*/ 4467221 h 5973007"/>
              <a:gd name="connsiteX17067" fmla="*/ 1613516 w 6884782"/>
              <a:gd name="connsiteY17067" fmla="*/ 4463917 h 5973007"/>
              <a:gd name="connsiteX17068" fmla="*/ 1610883 w 6884782"/>
              <a:gd name="connsiteY17068" fmla="*/ 4464227 h 5973007"/>
              <a:gd name="connsiteX17069" fmla="*/ 1609643 w 6884782"/>
              <a:gd name="connsiteY17069" fmla="*/ 4463091 h 5973007"/>
              <a:gd name="connsiteX17070" fmla="*/ 1608869 w 6884782"/>
              <a:gd name="connsiteY17070" fmla="*/ 4463814 h 5973007"/>
              <a:gd name="connsiteX17071" fmla="*/ 1607165 w 6884782"/>
              <a:gd name="connsiteY17071" fmla="*/ 4465879 h 5973007"/>
              <a:gd name="connsiteX17072" fmla="*/ 1600350 w 6884782"/>
              <a:gd name="connsiteY17072" fmla="*/ 4457412 h 5973007"/>
              <a:gd name="connsiteX17073" fmla="*/ 1600969 w 6884782"/>
              <a:gd name="connsiteY17073" fmla="*/ 4453798 h 5973007"/>
              <a:gd name="connsiteX17074" fmla="*/ 1098951 w 6884782"/>
              <a:gd name="connsiteY17074" fmla="*/ 4453798 h 5973007"/>
              <a:gd name="connsiteX17075" fmla="*/ 1102513 w 6884782"/>
              <a:gd name="connsiteY17075" fmla="*/ 4457825 h 5973007"/>
              <a:gd name="connsiteX17076" fmla="*/ 1104991 w 6884782"/>
              <a:gd name="connsiteY17076" fmla="*/ 4461542 h 5973007"/>
              <a:gd name="connsiteX17077" fmla="*/ 1110103 w 6884782"/>
              <a:gd name="connsiteY17077" fmla="*/ 4475275 h 5973007"/>
              <a:gd name="connsiteX17078" fmla="*/ 1106230 w 6884782"/>
              <a:gd name="connsiteY17078" fmla="*/ 4470835 h 5973007"/>
              <a:gd name="connsiteX17079" fmla="*/ 1104062 w 6884782"/>
              <a:gd name="connsiteY17079" fmla="*/ 4471351 h 5973007"/>
              <a:gd name="connsiteX17080" fmla="*/ 1100809 w 6884782"/>
              <a:gd name="connsiteY17080" fmla="*/ 4468461 h 5973007"/>
              <a:gd name="connsiteX17081" fmla="*/ 1104217 w 6884782"/>
              <a:gd name="connsiteY17081" fmla="*/ 4468150 h 5973007"/>
              <a:gd name="connsiteX17082" fmla="*/ 1104681 w 6884782"/>
              <a:gd name="connsiteY17082" fmla="*/ 4468357 h 5973007"/>
              <a:gd name="connsiteX17083" fmla="*/ 1102048 w 6884782"/>
              <a:gd name="connsiteY17083" fmla="*/ 4463814 h 5973007"/>
              <a:gd name="connsiteX17084" fmla="*/ 1098176 w 6884782"/>
              <a:gd name="connsiteY17084" fmla="*/ 4458548 h 5973007"/>
              <a:gd name="connsiteX17085" fmla="*/ 1098485 w 6884782"/>
              <a:gd name="connsiteY17085" fmla="*/ 4456173 h 5973007"/>
              <a:gd name="connsiteX17086" fmla="*/ 1098021 w 6884782"/>
              <a:gd name="connsiteY17086" fmla="*/ 4455450 h 5973007"/>
              <a:gd name="connsiteX17087" fmla="*/ 1098951 w 6884782"/>
              <a:gd name="connsiteY17087" fmla="*/ 4453798 h 5973007"/>
              <a:gd name="connsiteX17088" fmla="*/ 5748153 w 6884782"/>
              <a:gd name="connsiteY17088" fmla="*/ 4453093 h 5973007"/>
              <a:gd name="connsiteX17089" fmla="*/ 5755588 w 6884782"/>
              <a:gd name="connsiteY17089" fmla="*/ 4453197 h 5973007"/>
              <a:gd name="connsiteX17090" fmla="*/ 5756053 w 6884782"/>
              <a:gd name="connsiteY17090" fmla="*/ 4455778 h 5973007"/>
              <a:gd name="connsiteX17091" fmla="*/ 5750786 w 6884782"/>
              <a:gd name="connsiteY17091" fmla="*/ 4458875 h 5973007"/>
              <a:gd name="connsiteX17092" fmla="*/ 5748463 w 6884782"/>
              <a:gd name="connsiteY17092" fmla="*/ 4457327 h 5973007"/>
              <a:gd name="connsiteX17093" fmla="*/ 5747688 w 6884782"/>
              <a:gd name="connsiteY17093" fmla="*/ 4455468 h 5973007"/>
              <a:gd name="connsiteX17094" fmla="*/ 5748153 w 6884782"/>
              <a:gd name="connsiteY17094" fmla="*/ 4453093 h 5973007"/>
              <a:gd name="connsiteX17095" fmla="*/ 5904908 w 6884782"/>
              <a:gd name="connsiteY17095" fmla="*/ 4451957 h 5973007"/>
              <a:gd name="connsiteX17096" fmla="*/ 5909090 w 6884782"/>
              <a:gd name="connsiteY17096" fmla="*/ 4452164 h 5973007"/>
              <a:gd name="connsiteX17097" fmla="*/ 5910794 w 6884782"/>
              <a:gd name="connsiteY17097" fmla="*/ 4453919 h 5973007"/>
              <a:gd name="connsiteX17098" fmla="*/ 5910949 w 6884782"/>
              <a:gd name="connsiteY17098" fmla="*/ 4454745 h 5973007"/>
              <a:gd name="connsiteX17099" fmla="*/ 5909090 w 6884782"/>
              <a:gd name="connsiteY17099" fmla="*/ 4455468 h 5973007"/>
              <a:gd name="connsiteX17100" fmla="*/ 5900881 w 6884782"/>
              <a:gd name="connsiteY17100" fmla="*/ 4454332 h 5973007"/>
              <a:gd name="connsiteX17101" fmla="*/ 5899177 w 6884782"/>
              <a:gd name="connsiteY17101" fmla="*/ 4454229 h 5973007"/>
              <a:gd name="connsiteX17102" fmla="*/ 5897473 w 6884782"/>
              <a:gd name="connsiteY17102" fmla="*/ 4452474 h 5973007"/>
              <a:gd name="connsiteX17103" fmla="*/ 5904908 w 6884782"/>
              <a:gd name="connsiteY17103" fmla="*/ 4451957 h 5973007"/>
              <a:gd name="connsiteX17104" fmla="*/ 1170667 w 6884782"/>
              <a:gd name="connsiteY17104" fmla="*/ 4451939 h 5973007"/>
              <a:gd name="connsiteX17105" fmla="*/ 1168809 w 6884782"/>
              <a:gd name="connsiteY17105" fmla="*/ 4454314 h 5973007"/>
              <a:gd name="connsiteX17106" fmla="*/ 1168034 w 6884782"/>
              <a:gd name="connsiteY17106" fmla="*/ 4453282 h 5973007"/>
              <a:gd name="connsiteX17107" fmla="*/ 1167879 w 6884782"/>
              <a:gd name="connsiteY17107" fmla="*/ 4454108 h 5973007"/>
              <a:gd name="connsiteX17108" fmla="*/ 1167724 w 6884782"/>
              <a:gd name="connsiteY17108" fmla="*/ 4452869 h 5973007"/>
              <a:gd name="connsiteX17109" fmla="*/ 1168034 w 6884782"/>
              <a:gd name="connsiteY17109" fmla="*/ 4452352 h 5973007"/>
              <a:gd name="connsiteX17110" fmla="*/ 1170667 w 6884782"/>
              <a:gd name="connsiteY17110" fmla="*/ 4451939 h 5973007"/>
              <a:gd name="connsiteX17111" fmla="*/ 1319833 w 6884782"/>
              <a:gd name="connsiteY17111" fmla="*/ 4451320 h 5973007"/>
              <a:gd name="connsiteX17112" fmla="*/ 1317199 w 6884782"/>
              <a:gd name="connsiteY17112" fmla="*/ 4453075 h 5973007"/>
              <a:gd name="connsiteX17113" fmla="*/ 1316734 w 6884782"/>
              <a:gd name="connsiteY17113" fmla="*/ 4452352 h 5973007"/>
              <a:gd name="connsiteX17114" fmla="*/ 1319833 w 6884782"/>
              <a:gd name="connsiteY17114" fmla="*/ 4451320 h 5973007"/>
              <a:gd name="connsiteX17115" fmla="*/ 1455677 w 6884782"/>
              <a:gd name="connsiteY17115" fmla="*/ 4451216 h 5973007"/>
              <a:gd name="connsiteX17116" fmla="*/ 1455832 w 6884782"/>
              <a:gd name="connsiteY17116" fmla="*/ 4452766 h 5973007"/>
              <a:gd name="connsiteX17117" fmla="*/ 1458000 w 6884782"/>
              <a:gd name="connsiteY17117" fmla="*/ 4451836 h 5973007"/>
              <a:gd name="connsiteX17118" fmla="*/ 1458465 w 6884782"/>
              <a:gd name="connsiteY17118" fmla="*/ 4452043 h 5973007"/>
              <a:gd name="connsiteX17119" fmla="*/ 1458774 w 6884782"/>
              <a:gd name="connsiteY17119" fmla="*/ 4451939 h 5973007"/>
              <a:gd name="connsiteX17120" fmla="*/ 1458929 w 6884782"/>
              <a:gd name="connsiteY17120" fmla="*/ 4452043 h 5973007"/>
              <a:gd name="connsiteX17121" fmla="*/ 1458929 w 6884782"/>
              <a:gd name="connsiteY17121" fmla="*/ 4451939 h 5973007"/>
              <a:gd name="connsiteX17122" fmla="*/ 1458774 w 6884782"/>
              <a:gd name="connsiteY17122" fmla="*/ 4451939 h 5973007"/>
              <a:gd name="connsiteX17123" fmla="*/ 1458310 w 6884782"/>
              <a:gd name="connsiteY17123" fmla="*/ 4451733 h 5973007"/>
              <a:gd name="connsiteX17124" fmla="*/ 1458000 w 6884782"/>
              <a:gd name="connsiteY17124" fmla="*/ 4451836 h 5973007"/>
              <a:gd name="connsiteX17125" fmla="*/ 1114440 w 6884782"/>
              <a:gd name="connsiteY17125" fmla="*/ 4450804 h 5973007"/>
              <a:gd name="connsiteX17126" fmla="*/ 1114595 w 6884782"/>
              <a:gd name="connsiteY17126" fmla="*/ 4451216 h 5973007"/>
              <a:gd name="connsiteX17127" fmla="*/ 1116144 w 6884782"/>
              <a:gd name="connsiteY17127" fmla="*/ 4451010 h 5973007"/>
              <a:gd name="connsiteX17128" fmla="*/ 816420 w 6884782"/>
              <a:gd name="connsiteY17128" fmla="*/ 4450701 h 5973007"/>
              <a:gd name="connsiteX17129" fmla="*/ 818434 w 6884782"/>
              <a:gd name="connsiteY17129" fmla="*/ 4451526 h 5973007"/>
              <a:gd name="connsiteX17130" fmla="*/ 822306 w 6884782"/>
              <a:gd name="connsiteY17130" fmla="*/ 4451526 h 5973007"/>
              <a:gd name="connsiteX17131" fmla="*/ 821996 w 6884782"/>
              <a:gd name="connsiteY17131" fmla="*/ 4462884 h 5973007"/>
              <a:gd name="connsiteX17132" fmla="*/ 813012 w 6884782"/>
              <a:gd name="connsiteY17132" fmla="*/ 4471971 h 5973007"/>
              <a:gd name="connsiteX17133" fmla="*/ 809759 w 6884782"/>
              <a:gd name="connsiteY17133" fmla="*/ 4471868 h 5973007"/>
              <a:gd name="connsiteX17134" fmla="*/ 802944 w 6884782"/>
              <a:gd name="connsiteY17134" fmla="*/ 4465156 h 5973007"/>
              <a:gd name="connsiteX17135" fmla="*/ 803098 w 6884782"/>
              <a:gd name="connsiteY17135" fmla="*/ 4459271 h 5973007"/>
              <a:gd name="connsiteX17136" fmla="*/ 816420 w 6884782"/>
              <a:gd name="connsiteY17136" fmla="*/ 4450701 h 5973007"/>
              <a:gd name="connsiteX17137" fmla="*/ 5420083 w 6884782"/>
              <a:gd name="connsiteY17137" fmla="*/ 4450099 h 5973007"/>
              <a:gd name="connsiteX17138" fmla="*/ 5424110 w 6884782"/>
              <a:gd name="connsiteY17138" fmla="*/ 4452783 h 5973007"/>
              <a:gd name="connsiteX17139" fmla="*/ 5422096 w 6884782"/>
              <a:gd name="connsiteY17139" fmla="*/ 4463212 h 5973007"/>
              <a:gd name="connsiteX17140" fmla="*/ 5412803 w 6884782"/>
              <a:gd name="connsiteY17140" fmla="*/ 4464761 h 5973007"/>
              <a:gd name="connsiteX17141" fmla="*/ 5411718 w 6884782"/>
              <a:gd name="connsiteY17141" fmla="*/ 4466516 h 5973007"/>
              <a:gd name="connsiteX17142" fmla="*/ 5408156 w 6884782"/>
              <a:gd name="connsiteY17142" fmla="*/ 4468169 h 5973007"/>
              <a:gd name="connsiteX17143" fmla="*/ 5407536 w 6884782"/>
              <a:gd name="connsiteY17143" fmla="*/ 4466413 h 5973007"/>
              <a:gd name="connsiteX17144" fmla="*/ 5411099 w 6884782"/>
              <a:gd name="connsiteY17144" fmla="*/ 4463935 h 5973007"/>
              <a:gd name="connsiteX17145" fmla="*/ 5411254 w 6884782"/>
              <a:gd name="connsiteY17145" fmla="*/ 4463006 h 5973007"/>
              <a:gd name="connsiteX17146" fmla="*/ 5409705 w 6884782"/>
              <a:gd name="connsiteY17146" fmla="*/ 4461250 h 5973007"/>
              <a:gd name="connsiteX17147" fmla="*/ 5410634 w 6884782"/>
              <a:gd name="connsiteY17147" fmla="*/ 4452577 h 5973007"/>
              <a:gd name="connsiteX17148" fmla="*/ 5420083 w 6884782"/>
              <a:gd name="connsiteY17148" fmla="*/ 4450099 h 5973007"/>
              <a:gd name="connsiteX17149" fmla="*/ 6274181 w 6884782"/>
              <a:gd name="connsiteY17149" fmla="*/ 4449996 h 5973007"/>
              <a:gd name="connsiteX17150" fmla="*/ 6273097 w 6884782"/>
              <a:gd name="connsiteY17150" fmla="*/ 4450099 h 5973007"/>
              <a:gd name="connsiteX17151" fmla="*/ 6272167 w 6884782"/>
              <a:gd name="connsiteY17151" fmla="*/ 4450305 h 5973007"/>
              <a:gd name="connsiteX17152" fmla="*/ 6271703 w 6884782"/>
              <a:gd name="connsiteY17152" fmla="*/ 4450099 h 5973007"/>
              <a:gd name="connsiteX17153" fmla="*/ 6269689 w 6884782"/>
              <a:gd name="connsiteY17153" fmla="*/ 4450305 h 5973007"/>
              <a:gd name="connsiteX17154" fmla="*/ 6270463 w 6884782"/>
              <a:gd name="connsiteY17154" fmla="*/ 4456501 h 5973007"/>
              <a:gd name="connsiteX17155" fmla="*/ 6281771 w 6884782"/>
              <a:gd name="connsiteY17155" fmla="*/ 4463729 h 5973007"/>
              <a:gd name="connsiteX17156" fmla="*/ 6291374 w 6884782"/>
              <a:gd name="connsiteY17156" fmla="*/ 4471989 h 5973007"/>
              <a:gd name="connsiteX17157" fmla="*/ 6281461 w 6884782"/>
              <a:gd name="connsiteY17157" fmla="*/ 4469201 h 5973007"/>
              <a:gd name="connsiteX17158" fmla="*/ 6277124 w 6884782"/>
              <a:gd name="connsiteY17158" fmla="*/ 4467446 h 5973007"/>
              <a:gd name="connsiteX17159" fmla="*/ 6278208 w 6884782"/>
              <a:gd name="connsiteY17159" fmla="*/ 4470131 h 5973007"/>
              <a:gd name="connsiteX17160" fmla="*/ 6277589 w 6884782"/>
              <a:gd name="connsiteY17160" fmla="*/ 4472608 h 5973007"/>
              <a:gd name="connsiteX17161" fmla="*/ 6282545 w 6884782"/>
              <a:gd name="connsiteY17161" fmla="*/ 4476119 h 5973007"/>
              <a:gd name="connsiteX17162" fmla="*/ 6298654 w 6884782"/>
              <a:gd name="connsiteY17162" fmla="*/ 4480249 h 5973007"/>
              <a:gd name="connsiteX17163" fmla="*/ 6285333 w 6884782"/>
              <a:gd name="connsiteY17163" fmla="*/ 4480766 h 5973007"/>
              <a:gd name="connsiteX17164" fmla="*/ 6287657 w 6884782"/>
              <a:gd name="connsiteY17164" fmla="*/ 4482831 h 5973007"/>
              <a:gd name="connsiteX17165" fmla="*/ 6283165 w 6884782"/>
              <a:gd name="connsiteY17165" fmla="*/ 4483037 h 5973007"/>
              <a:gd name="connsiteX17166" fmla="*/ 6296021 w 6884782"/>
              <a:gd name="connsiteY17166" fmla="*/ 4490059 h 5973007"/>
              <a:gd name="connsiteX17167" fmla="*/ 6301907 w 6884782"/>
              <a:gd name="connsiteY17167" fmla="*/ 4494086 h 5973007"/>
              <a:gd name="connsiteX17168" fmla="*/ 6309962 w 6884782"/>
              <a:gd name="connsiteY17168" fmla="*/ 4498113 h 5973007"/>
              <a:gd name="connsiteX17169" fmla="*/ 6309807 w 6884782"/>
              <a:gd name="connsiteY17169" fmla="*/ 4502966 h 5973007"/>
              <a:gd name="connsiteX17170" fmla="*/ 6314299 w 6884782"/>
              <a:gd name="connsiteY17170" fmla="*/ 4505031 h 5973007"/>
              <a:gd name="connsiteX17171" fmla="*/ 6314454 w 6884782"/>
              <a:gd name="connsiteY17171" fmla="*/ 4504928 h 5973007"/>
              <a:gd name="connsiteX17172" fmla="*/ 6313370 w 6884782"/>
              <a:gd name="connsiteY17172" fmla="*/ 4499971 h 5973007"/>
              <a:gd name="connsiteX17173" fmla="*/ 6316622 w 6884782"/>
              <a:gd name="connsiteY17173" fmla="*/ 4495222 h 5973007"/>
              <a:gd name="connsiteX17174" fmla="*/ 6319101 w 6884782"/>
              <a:gd name="connsiteY17174" fmla="*/ 4500798 h 5973007"/>
              <a:gd name="connsiteX17175" fmla="*/ 6320805 w 6884782"/>
              <a:gd name="connsiteY17175" fmla="*/ 4504825 h 5973007"/>
              <a:gd name="connsiteX17176" fmla="*/ 6322508 w 6884782"/>
              <a:gd name="connsiteY17176" fmla="*/ 4504928 h 5973007"/>
              <a:gd name="connsiteX17177" fmla="*/ 6326691 w 6884782"/>
              <a:gd name="connsiteY17177" fmla="*/ 4505341 h 5973007"/>
              <a:gd name="connsiteX17178" fmla="*/ 6326691 w 6884782"/>
              <a:gd name="connsiteY17178" fmla="*/ 4504205 h 5973007"/>
              <a:gd name="connsiteX17179" fmla="*/ 6328859 w 6884782"/>
              <a:gd name="connsiteY17179" fmla="*/ 4498216 h 5973007"/>
              <a:gd name="connsiteX17180" fmla="*/ 6330718 w 6884782"/>
              <a:gd name="connsiteY17180" fmla="*/ 4496461 h 5973007"/>
              <a:gd name="connsiteX17181" fmla="*/ 6331648 w 6884782"/>
              <a:gd name="connsiteY17181" fmla="*/ 4494705 h 5973007"/>
              <a:gd name="connsiteX17182" fmla="*/ 6337069 w 6884782"/>
              <a:gd name="connsiteY17182" fmla="*/ 4492227 h 5973007"/>
              <a:gd name="connsiteX17183" fmla="*/ 6335985 w 6884782"/>
              <a:gd name="connsiteY17183" fmla="*/ 4495015 h 5973007"/>
              <a:gd name="connsiteX17184" fmla="*/ 6336914 w 6884782"/>
              <a:gd name="connsiteY17184" fmla="*/ 4495015 h 5973007"/>
              <a:gd name="connsiteX17185" fmla="*/ 6337224 w 6884782"/>
              <a:gd name="connsiteY17185" fmla="*/ 4499145 h 5973007"/>
              <a:gd name="connsiteX17186" fmla="*/ 6334281 w 6884782"/>
              <a:gd name="connsiteY17186" fmla="*/ 4500178 h 5973007"/>
              <a:gd name="connsiteX17187" fmla="*/ 6333971 w 6884782"/>
              <a:gd name="connsiteY17187" fmla="*/ 4501210 h 5973007"/>
              <a:gd name="connsiteX17188" fmla="*/ 6337533 w 6884782"/>
              <a:gd name="connsiteY17188" fmla="*/ 4501520 h 5973007"/>
              <a:gd name="connsiteX17189" fmla="*/ 6347757 w 6884782"/>
              <a:gd name="connsiteY17189" fmla="*/ 4501417 h 5973007"/>
              <a:gd name="connsiteX17190" fmla="*/ 6367584 w 6884782"/>
              <a:gd name="connsiteY17190" fmla="*/ 4498526 h 5973007"/>
              <a:gd name="connsiteX17191" fmla="*/ 6368048 w 6884782"/>
              <a:gd name="connsiteY17191" fmla="*/ 4501210 h 5973007"/>
              <a:gd name="connsiteX17192" fmla="*/ 6370836 w 6884782"/>
              <a:gd name="connsiteY17192" fmla="*/ 4498113 h 5973007"/>
              <a:gd name="connsiteX17193" fmla="*/ 6376258 w 6884782"/>
              <a:gd name="connsiteY17193" fmla="*/ 4497080 h 5973007"/>
              <a:gd name="connsiteX17194" fmla="*/ 6380595 w 6884782"/>
              <a:gd name="connsiteY17194" fmla="*/ 4499455 h 5973007"/>
              <a:gd name="connsiteX17195" fmla="*/ 6382453 w 6884782"/>
              <a:gd name="connsiteY17195" fmla="*/ 4499145 h 5973007"/>
              <a:gd name="connsiteX17196" fmla="*/ 6383383 w 6884782"/>
              <a:gd name="connsiteY17196" fmla="*/ 4499558 h 5973007"/>
              <a:gd name="connsiteX17197" fmla="*/ 6386481 w 6884782"/>
              <a:gd name="connsiteY17197" fmla="*/ 4493982 h 5973007"/>
              <a:gd name="connsiteX17198" fmla="*/ 6390818 w 6884782"/>
              <a:gd name="connsiteY17198" fmla="*/ 4489233 h 5973007"/>
              <a:gd name="connsiteX17199" fmla="*/ 6390818 w 6884782"/>
              <a:gd name="connsiteY17199" fmla="*/ 4492021 h 5973007"/>
              <a:gd name="connsiteX17200" fmla="*/ 6390353 w 6884782"/>
              <a:gd name="connsiteY17200" fmla="*/ 4493157 h 5973007"/>
              <a:gd name="connsiteX17201" fmla="*/ 6390508 w 6884782"/>
              <a:gd name="connsiteY17201" fmla="*/ 4493982 h 5973007"/>
              <a:gd name="connsiteX17202" fmla="*/ 6389733 w 6884782"/>
              <a:gd name="connsiteY17202" fmla="*/ 4494292 h 5973007"/>
              <a:gd name="connsiteX17203" fmla="*/ 6388649 w 6884782"/>
              <a:gd name="connsiteY17203" fmla="*/ 4496564 h 5973007"/>
              <a:gd name="connsiteX17204" fmla="*/ 6387720 w 6884782"/>
              <a:gd name="connsiteY17204" fmla="*/ 4502449 h 5973007"/>
              <a:gd name="connsiteX17205" fmla="*/ 6387565 w 6884782"/>
              <a:gd name="connsiteY17205" fmla="*/ 4502759 h 5973007"/>
              <a:gd name="connsiteX17206" fmla="*/ 6387720 w 6884782"/>
              <a:gd name="connsiteY17206" fmla="*/ 4503172 h 5973007"/>
              <a:gd name="connsiteX17207" fmla="*/ 6389733 w 6884782"/>
              <a:gd name="connsiteY17207" fmla="*/ 4501933 h 5973007"/>
              <a:gd name="connsiteX17208" fmla="*/ 6390353 w 6884782"/>
              <a:gd name="connsiteY17208" fmla="*/ 4501004 h 5973007"/>
              <a:gd name="connsiteX17209" fmla="*/ 6390198 w 6884782"/>
              <a:gd name="connsiteY17209" fmla="*/ 4501004 h 5973007"/>
              <a:gd name="connsiteX17210" fmla="*/ 6392676 w 6884782"/>
              <a:gd name="connsiteY17210" fmla="*/ 4496461 h 5973007"/>
              <a:gd name="connsiteX17211" fmla="*/ 6397169 w 6884782"/>
              <a:gd name="connsiteY17211" fmla="*/ 4496977 h 5973007"/>
              <a:gd name="connsiteX17212" fmla="*/ 6397633 w 6884782"/>
              <a:gd name="connsiteY17212" fmla="*/ 4497493 h 5973007"/>
              <a:gd name="connsiteX17213" fmla="*/ 6398098 w 6884782"/>
              <a:gd name="connsiteY17213" fmla="*/ 4489646 h 5973007"/>
              <a:gd name="connsiteX17214" fmla="*/ 6399182 w 6884782"/>
              <a:gd name="connsiteY17214" fmla="*/ 4473847 h 5973007"/>
              <a:gd name="connsiteX17215" fmla="*/ 6392522 w 6884782"/>
              <a:gd name="connsiteY17215" fmla="*/ 4467652 h 5973007"/>
              <a:gd name="connsiteX17216" fmla="*/ 6390043 w 6884782"/>
              <a:gd name="connsiteY17216" fmla="*/ 4463625 h 5973007"/>
              <a:gd name="connsiteX17217" fmla="*/ 6388030 w 6884782"/>
              <a:gd name="connsiteY17217" fmla="*/ 4463935 h 5973007"/>
              <a:gd name="connsiteX17218" fmla="*/ 6385706 w 6884782"/>
              <a:gd name="connsiteY17218" fmla="*/ 4464555 h 5973007"/>
              <a:gd name="connsiteX17219" fmla="*/ 6386636 w 6884782"/>
              <a:gd name="connsiteY17219" fmla="*/ 4466413 h 5973007"/>
              <a:gd name="connsiteX17220" fmla="*/ 6386326 w 6884782"/>
              <a:gd name="connsiteY17220" fmla="*/ 4468685 h 5973007"/>
              <a:gd name="connsiteX17221" fmla="*/ 6381989 w 6884782"/>
              <a:gd name="connsiteY17221" fmla="*/ 4470750 h 5973007"/>
              <a:gd name="connsiteX17222" fmla="*/ 6380440 w 6884782"/>
              <a:gd name="connsiteY17222" fmla="*/ 4469511 h 5973007"/>
              <a:gd name="connsiteX17223" fmla="*/ 6380595 w 6884782"/>
              <a:gd name="connsiteY17223" fmla="*/ 4468581 h 5973007"/>
              <a:gd name="connsiteX17224" fmla="*/ 6380750 w 6884782"/>
              <a:gd name="connsiteY17224" fmla="*/ 4466207 h 5973007"/>
              <a:gd name="connsiteX17225" fmla="*/ 6379201 w 6884782"/>
              <a:gd name="connsiteY17225" fmla="*/ 4466723 h 5973007"/>
              <a:gd name="connsiteX17226" fmla="*/ 6368048 w 6884782"/>
              <a:gd name="connsiteY17226" fmla="*/ 4465484 h 5973007"/>
              <a:gd name="connsiteX17227" fmla="*/ 6361078 w 6884782"/>
              <a:gd name="connsiteY17227" fmla="*/ 4473022 h 5973007"/>
              <a:gd name="connsiteX17228" fmla="*/ 6355811 w 6884782"/>
              <a:gd name="connsiteY17228" fmla="*/ 4478598 h 5973007"/>
              <a:gd name="connsiteX17229" fmla="*/ 6355501 w 6884782"/>
              <a:gd name="connsiteY17229" fmla="*/ 4481282 h 5973007"/>
              <a:gd name="connsiteX17230" fmla="*/ 6353178 w 6884782"/>
              <a:gd name="connsiteY17230" fmla="*/ 4481385 h 5973007"/>
              <a:gd name="connsiteX17231" fmla="*/ 6351164 w 6884782"/>
              <a:gd name="connsiteY17231" fmla="*/ 4483657 h 5973007"/>
              <a:gd name="connsiteX17232" fmla="*/ 6350235 w 6884782"/>
              <a:gd name="connsiteY17232" fmla="*/ 4483450 h 5973007"/>
              <a:gd name="connsiteX17233" fmla="*/ 6350235 w 6884782"/>
              <a:gd name="connsiteY17233" fmla="*/ 4485309 h 5973007"/>
              <a:gd name="connsiteX17234" fmla="*/ 6349306 w 6884782"/>
              <a:gd name="connsiteY17234" fmla="*/ 4486858 h 5973007"/>
              <a:gd name="connsiteX17235" fmla="*/ 6342955 w 6884782"/>
              <a:gd name="connsiteY17235" fmla="*/ 4488613 h 5973007"/>
              <a:gd name="connsiteX17236" fmla="*/ 6339083 w 6884782"/>
              <a:gd name="connsiteY17236" fmla="*/ 4487271 h 5973007"/>
              <a:gd name="connsiteX17237" fmla="*/ 6337224 w 6884782"/>
              <a:gd name="connsiteY17237" fmla="*/ 4482624 h 5973007"/>
              <a:gd name="connsiteX17238" fmla="*/ 6337224 w 6884782"/>
              <a:gd name="connsiteY17238" fmla="*/ 4482418 h 5973007"/>
              <a:gd name="connsiteX17239" fmla="*/ 6332886 w 6884782"/>
              <a:gd name="connsiteY17239" fmla="*/ 4482624 h 5973007"/>
              <a:gd name="connsiteX17240" fmla="*/ 6315538 w 6884782"/>
              <a:gd name="connsiteY17240" fmla="*/ 4477048 h 5973007"/>
              <a:gd name="connsiteX17241" fmla="*/ 6310427 w 6884782"/>
              <a:gd name="connsiteY17241" fmla="*/ 4465587 h 5973007"/>
              <a:gd name="connsiteX17242" fmla="*/ 6306554 w 6884782"/>
              <a:gd name="connsiteY17242" fmla="*/ 4460631 h 5973007"/>
              <a:gd name="connsiteX17243" fmla="*/ 6302217 w 6884782"/>
              <a:gd name="connsiteY17243" fmla="*/ 4460321 h 5973007"/>
              <a:gd name="connsiteX17244" fmla="*/ 6302992 w 6884782"/>
              <a:gd name="connsiteY17244" fmla="*/ 4455984 h 5973007"/>
              <a:gd name="connsiteX17245" fmla="*/ 6298190 w 6884782"/>
              <a:gd name="connsiteY17245" fmla="*/ 4459805 h 5973007"/>
              <a:gd name="connsiteX17246" fmla="*/ 6292923 w 6884782"/>
              <a:gd name="connsiteY17246" fmla="*/ 4456604 h 5973007"/>
              <a:gd name="connsiteX17247" fmla="*/ 6291374 w 6884782"/>
              <a:gd name="connsiteY17247" fmla="*/ 4456191 h 5973007"/>
              <a:gd name="connsiteX17248" fmla="*/ 6288431 w 6884782"/>
              <a:gd name="connsiteY17248" fmla="*/ 4456810 h 5973007"/>
              <a:gd name="connsiteX17249" fmla="*/ 6287502 w 6884782"/>
              <a:gd name="connsiteY17249" fmla="*/ 4455262 h 5973007"/>
              <a:gd name="connsiteX17250" fmla="*/ 6287657 w 6884782"/>
              <a:gd name="connsiteY17250" fmla="*/ 4455055 h 5973007"/>
              <a:gd name="connsiteX17251" fmla="*/ 6285643 w 6884782"/>
              <a:gd name="connsiteY17251" fmla="*/ 4454539 h 5973007"/>
              <a:gd name="connsiteX17252" fmla="*/ 6282390 w 6884782"/>
              <a:gd name="connsiteY17252" fmla="*/ 4453093 h 5973007"/>
              <a:gd name="connsiteX17253" fmla="*/ 6283010 w 6884782"/>
              <a:gd name="connsiteY17253" fmla="*/ 4453609 h 5973007"/>
              <a:gd name="connsiteX17254" fmla="*/ 6274181 w 6884782"/>
              <a:gd name="connsiteY17254" fmla="*/ 4449996 h 5973007"/>
              <a:gd name="connsiteX17255" fmla="*/ 1752613 w 6884782"/>
              <a:gd name="connsiteY17255" fmla="*/ 4449771 h 5973007"/>
              <a:gd name="connsiteX17256" fmla="*/ 1760513 w 6884782"/>
              <a:gd name="connsiteY17256" fmla="*/ 4459580 h 5973007"/>
              <a:gd name="connsiteX17257" fmla="*/ 1750754 w 6884782"/>
              <a:gd name="connsiteY17257" fmla="*/ 4463091 h 5973007"/>
              <a:gd name="connsiteX17258" fmla="*/ 1749979 w 6884782"/>
              <a:gd name="connsiteY17258" fmla="*/ 4462265 h 5973007"/>
              <a:gd name="connsiteX17259" fmla="*/ 1749205 w 6884782"/>
              <a:gd name="connsiteY17259" fmla="*/ 4462884 h 5973007"/>
              <a:gd name="connsiteX17260" fmla="*/ 1742855 w 6884782"/>
              <a:gd name="connsiteY17260" fmla="*/ 4463917 h 5973007"/>
              <a:gd name="connsiteX17261" fmla="*/ 1745023 w 6884782"/>
              <a:gd name="connsiteY17261" fmla="*/ 4458444 h 5973007"/>
              <a:gd name="connsiteX17262" fmla="*/ 1747966 w 6884782"/>
              <a:gd name="connsiteY17262" fmla="*/ 4458238 h 5973007"/>
              <a:gd name="connsiteX17263" fmla="*/ 1747811 w 6884782"/>
              <a:gd name="connsiteY17263" fmla="*/ 4455863 h 5973007"/>
              <a:gd name="connsiteX17264" fmla="*/ 1752613 w 6884782"/>
              <a:gd name="connsiteY17264" fmla="*/ 4449771 h 5973007"/>
              <a:gd name="connsiteX17265" fmla="*/ 873422 w 6884782"/>
              <a:gd name="connsiteY17265" fmla="*/ 4449048 h 5973007"/>
              <a:gd name="connsiteX17266" fmla="*/ 876519 w 6884782"/>
              <a:gd name="connsiteY17266" fmla="*/ 4451939 h 5973007"/>
              <a:gd name="connsiteX17267" fmla="*/ 865676 w 6884782"/>
              <a:gd name="connsiteY17267" fmla="*/ 4456689 h 5973007"/>
              <a:gd name="connsiteX17268" fmla="*/ 873422 w 6884782"/>
              <a:gd name="connsiteY17268" fmla="*/ 4449048 h 5973007"/>
              <a:gd name="connsiteX17269" fmla="*/ 5873716 w 6884782"/>
              <a:gd name="connsiteY17269" fmla="*/ 4447982 h 5973007"/>
              <a:gd name="connsiteX17270" fmla="*/ 5875788 w 6884782"/>
              <a:gd name="connsiteY17270" fmla="*/ 4452680 h 5973007"/>
              <a:gd name="connsiteX17271" fmla="*/ 5871141 w 6884782"/>
              <a:gd name="connsiteY17271" fmla="*/ 4457017 h 5973007"/>
              <a:gd name="connsiteX17272" fmla="*/ 5870366 w 6884782"/>
              <a:gd name="connsiteY17272" fmla="*/ 4457017 h 5973007"/>
              <a:gd name="connsiteX17273" fmla="*/ 5868508 w 6884782"/>
              <a:gd name="connsiteY17273" fmla="*/ 4456501 h 5973007"/>
              <a:gd name="connsiteX17274" fmla="*/ 5864945 w 6884782"/>
              <a:gd name="connsiteY17274" fmla="*/ 4453093 h 5973007"/>
              <a:gd name="connsiteX17275" fmla="*/ 5864480 w 6884782"/>
              <a:gd name="connsiteY17275" fmla="*/ 4453816 h 5973007"/>
              <a:gd name="connsiteX17276" fmla="*/ 5866649 w 6884782"/>
              <a:gd name="connsiteY17276" fmla="*/ 4448860 h 5973007"/>
              <a:gd name="connsiteX17277" fmla="*/ 5873716 w 6884782"/>
              <a:gd name="connsiteY17277" fmla="*/ 4447982 h 5973007"/>
              <a:gd name="connsiteX17278" fmla="*/ 1596942 w 6884782"/>
              <a:gd name="connsiteY17278" fmla="*/ 4447603 h 5973007"/>
              <a:gd name="connsiteX17279" fmla="*/ 1594154 w 6884782"/>
              <a:gd name="connsiteY17279" fmla="*/ 4449255 h 5973007"/>
              <a:gd name="connsiteX17280" fmla="*/ 1593844 w 6884782"/>
              <a:gd name="connsiteY17280" fmla="*/ 4448532 h 5973007"/>
              <a:gd name="connsiteX17281" fmla="*/ 1596942 w 6884782"/>
              <a:gd name="connsiteY17281" fmla="*/ 4447603 h 5973007"/>
              <a:gd name="connsiteX17282" fmla="*/ 915243 w 6884782"/>
              <a:gd name="connsiteY17282" fmla="*/ 4447190 h 5973007"/>
              <a:gd name="connsiteX17283" fmla="*/ 912145 w 6884782"/>
              <a:gd name="connsiteY17283" fmla="*/ 4448119 h 5973007"/>
              <a:gd name="connsiteX17284" fmla="*/ 914004 w 6884782"/>
              <a:gd name="connsiteY17284" fmla="*/ 4454314 h 5973007"/>
              <a:gd name="connsiteX17285" fmla="*/ 914004 w 6884782"/>
              <a:gd name="connsiteY17285" fmla="*/ 4455244 h 5973007"/>
              <a:gd name="connsiteX17286" fmla="*/ 915708 w 6884782"/>
              <a:gd name="connsiteY17286" fmla="*/ 4454624 h 5973007"/>
              <a:gd name="connsiteX17287" fmla="*/ 916018 w 6884782"/>
              <a:gd name="connsiteY17287" fmla="*/ 4449977 h 5973007"/>
              <a:gd name="connsiteX17288" fmla="*/ 915708 w 6884782"/>
              <a:gd name="connsiteY17288" fmla="*/ 4447190 h 5973007"/>
              <a:gd name="connsiteX17289" fmla="*/ 5493194 w 6884782"/>
              <a:gd name="connsiteY17289" fmla="*/ 4446898 h 5973007"/>
              <a:gd name="connsiteX17290" fmla="*/ 5492729 w 6884782"/>
              <a:gd name="connsiteY17290" fmla="*/ 4450408 h 5973007"/>
              <a:gd name="connsiteX17291" fmla="*/ 5486068 w 6884782"/>
              <a:gd name="connsiteY17291" fmla="*/ 4454332 h 5973007"/>
              <a:gd name="connsiteX17292" fmla="*/ 5484055 w 6884782"/>
              <a:gd name="connsiteY17292" fmla="*/ 4453712 h 5973007"/>
              <a:gd name="connsiteX17293" fmla="*/ 5485449 w 6884782"/>
              <a:gd name="connsiteY17293" fmla="*/ 4449376 h 5973007"/>
              <a:gd name="connsiteX17294" fmla="*/ 5493194 w 6884782"/>
              <a:gd name="connsiteY17294" fmla="*/ 4446898 h 5973007"/>
              <a:gd name="connsiteX17295" fmla="*/ 1380552 w 6884782"/>
              <a:gd name="connsiteY17295" fmla="*/ 4446673 h 5973007"/>
              <a:gd name="connsiteX17296" fmla="*/ 1383030 w 6884782"/>
              <a:gd name="connsiteY17296" fmla="*/ 4447706 h 5973007"/>
              <a:gd name="connsiteX17297" fmla="*/ 1383030 w 6884782"/>
              <a:gd name="connsiteY17297" fmla="*/ 4448532 h 5973007"/>
              <a:gd name="connsiteX17298" fmla="*/ 1383650 w 6884782"/>
              <a:gd name="connsiteY17298" fmla="*/ 4448842 h 5973007"/>
              <a:gd name="connsiteX17299" fmla="*/ 1385973 w 6884782"/>
              <a:gd name="connsiteY17299" fmla="*/ 4461439 h 5973007"/>
              <a:gd name="connsiteX17300" fmla="*/ 1380397 w 6884782"/>
              <a:gd name="connsiteY17300" fmla="*/ 4455244 h 5973007"/>
              <a:gd name="connsiteX17301" fmla="*/ 1380707 w 6884782"/>
              <a:gd name="connsiteY17301" fmla="*/ 4449255 h 5973007"/>
              <a:gd name="connsiteX17302" fmla="*/ 1379932 w 6884782"/>
              <a:gd name="connsiteY17302" fmla="*/ 4447086 h 5973007"/>
              <a:gd name="connsiteX17303" fmla="*/ 1380552 w 6884782"/>
              <a:gd name="connsiteY17303" fmla="*/ 4446673 h 5973007"/>
              <a:gd name="connsiteX17304" fmla="*/ 5803916 w 6884782"/>
              <a:gd name="connsiteY17304" fmla="*/ 4446381 h 5973007"/>
              <a:gd name="connsiteX17305" fmla="*/ 5808098 w 6884782"/>
              <a:gd name="connsiteY17305" fmla="*/ 4446588 h 5973007"/>
              <a:gd name="connsiteX17306" fmla="*/ 5821574 w 6884782"/>
              <a:gd name="connsiteY17306" fmla="*/ 4450718 h 5973007"/>
              <a:gd name="connsiteX17307" fmla="*/ 5815843 w 6884782"/>
              <a:gd name="connsiteY17307" fmla="*/ 4451441 h 5973007"/>
              <a:gd name="connsiteX17308" fmla="*/ 5802522 w 6884782"/>
              <a:gd name="connsiteY17308" fmla="*/ 4450718 h 5973007"/>
              <a:gd name="connsiteX17309" fmla="*/ 5800663 w 6884782"/>
              <a:gd name="connsiteY17309" fmla="*/ 4448860 h 5973007"/>
              <a:gd name="connsiteX17310" fmla="*/ 5799888 w 6884782"/>
              <a:gd name="connsiteY17310" fmla="*/ 4448860 h 5973007"/>
              <a:gd name="connsiteX17311" fmla="*/ 5798959 w 6884782"/>
              <a:gd name="connsiteY17311" fmla="*/ 4447001 h 5973007"/>
              <a:gd name="connsiteX17312" fmla="*/ 5803916 w 6884782"/>
              <a:gd name="connsiteY17312" fmla="*/ 4446381 h 5973007"/>
              <a:gd name="connsiteX17313" fmla="*/ 1197310 w 6884782"/>
              <a:gd name="connsiteY17313" fmla="*/ 4445847 h 5973007"/>
              <a:gd name="connsiteX17314" fmla="*/ 1214038 w 6884782"/>
              <a:gd name="connsiteY17314" fmla="*/ 4461542 h 5973007"/>
              <a:gd name="connsiteX17315" fmla="*/ 1213574 w 6884782"/>
              <a:gd name="connsiteY17315" fmla="*/ 4463194 h 5973007"/>
              <a:gd name="connsiteX17316" fmla="*/ 1215432 w 6884782"/>
              <a:gd name="connsiteY17316" fmla="*/ 4461645 h 5973007"/>
              <a:gd name="connsiteX17317" fmla="*/ 1230767 w 6884782"/>
              <a:gd name="connsiteY17317" fmla="*/ 4451010 h 5973007"/>
              <a:gd name="connsiteX17318" fmla="*/ 1232781 w 6884782"/>
              <a:gd name="connsiteY17318" fmla="*/ 4452146 h 5973007"/>
              <a:gd name="connsiteX17319" fmla="*/ 1232161 w 6884782"/>
              <a:gd name="connsiteY17319" fmla="*/ 4451526 h 5973007"/>
              <a:gd name="connsiteX17320" fmla="*/ 1229838 w 6884782"/>
              <a:gd name="connsiteY17320" fmla="*/ 4449151 h 5973007"/>
              <a:gd name="connsiteX17321" fmla="*/ 1236033 w 6884782"/>
              <a:gd name="connsiteY17321" fmla="*/ 4453282 h 5973007"/>
              <a:gd name="connsiteX17322" fmla="*/ 1236808 w 6884782"/>
              <a:gd name="connsiteY17322" fmla="*/ 4454108 h 5973007"/>
              <a:gd name="connsiteX17323" fmla="*/ 1241300 w 6884782"/>
              <a:gd name="connsiteY17323" fmla="*/ 4454417 h 5973007"/>
              <a:gd name="connsiteX17324" fmla="*/ 1250129 w 6884782"/>
              <a:gd name="connsiteY17324" fmla="*/ 4452352 h 5973007"/>
              <a:gd name="connsiteX17325" fmla="*/ 1267478 w 6884782"/>
              <a:gd name="connsiteY17325" fmla="*/ 4470112 h 5973007"/>
              <a:gd name="connsiteX17326" fmla="*/ 1266548 w 6884782"/>
              <a:gd name="connsiteY17326" fmla="*/ 4501296 h 5973007"/>
              <a:gd name="connsiteX17327" fmla="*/ 1252763 w 6884782"/>
              <a:gd name="connsiteY17327" fmla="*/ 4515132 h 5973007"/>
              <a:gd name="connsiteX17328" fmla="*/ 1251523 w 6884782"/>
              <a:gd name="connsiteY17328" fmla="*/ 4516371 h 5973007"/>
              <a:gd name="connsiteX17329" fmla="*/ 1252143 w 6884782"/>
              <a:gd name="connsiteY17329" fmla="*/ 4527936 h 5973007"/>
              <a:gd name="connsiteX17330" fmla="*/ 1249045 w 6884782"/>
              <a:gd name="connsiteY17330" fmla="*/ 4537229 h 5973007"/>
              <a:gd name="connsiteX17331" fmla="*/ 1254156 w 6884782"/>
              <a:gd name="connsiteY17331" fmla="*/ 4539088 h 5973007"/>
              <a:gd name="connsiteX17332" fmla="*/ 1256015 w 6884782"/>
              <a:gd name="connsiteY17332" fmla="*/ 4539810 h 5973007"/>
              <a:gd name="connsiteX17333" fmla="*/ 1255860 w 6884782"/>
              <a:gd name="connsiteY17333" fmla="*/ 4538881 h 5973007"/>
              <a:gd name="connsiteX17334" fmla="*/ 1256325 w 6884782"/>
              <a:gd name="connsiteY17334" fmla="*/ 4539914 h 5973007"/>
              <a:gd name="connsiteX17335" fmla="*/ 1260972 w 6884782"/>
              <a:gd name="connsiteY17335" fmla="*/ 4541876 h 5973007"/>
              <a:gd name="connsiteX17336" fmla="*/ 1267168 w 6884782"/>
              <a:gd name="connsiteY17336" fmla="*/ 4550136 h 5973007"/>
              <a:gd name="connsiteX17337" fmla="*/ 1262211 w 6884782"/>
              <a:gd name="connsiteY17337" fmla="*/ 4548897 h 5973007"/>
              <a:gd name="connsiteX17338" fmla="*/ 1258339 w 6884782"/>
              <a:gd name="connsiteY17338" fmla="*/ 4547761 h 5973007"/>
              <a:gd name="connsiteX17339" fmla="*/ 1258184 w 6884782"/>
              <a:gd name="connsiteY17339" fmla="*/ 4548587 h 5973007"/>
              <a:gd name="connsiteX17340" fmla="*/ 1257874 w 6884782"/>
              <a:gd name="connsiteY17340" fmla="*/ 4547658 h 5973007"/>
              <a:gd name="connsiteX17341" fmla="*/ 1256325 w 6884782"/>
              <a:gd name="connsiteY17341" fmla="*/ 4547245 h 5973007"/>
              <a:gd name="connsiteX17342" fmla="*/ 1248580 w 6884782"/>
              <a:gd name="connsiteY17342" fmla="*/ 4540430 h 5973007"/>
              <a:gd name="connsiteX17343" fmla="*/ 1248890 w 6884782"/>
              <a:gd name="connsiteY17343" fmla="*/ 4538158 h 5973007"/>
              <a:gd name="connsiteX17344" fmla="*/ 1248425 w 6884782"/>
              <a:gd name="connsiteY17344" fmla="*/ 4539501 h 5973007"/>
              <a:gd name="connsiteX17345" fmla="*/ 1218995 w 6884782"/>
              <a:gd name="connsiteY17345" fmla="*/ 4554576 h 5973007"/>
              <a:gd name="connsiteX17346" fmla="*/ 1200098 w 6884782"/>
              <a:gd name="connsiteY17346" fmla="*/ 4546832 h 5973007"/>
              <a:gd name="connsiteX17347" fmla="*/ 1185692 w 6884782"/>
              <a:gd name="connsiteY17347" fmla="*/ 4523703 h 5973007"/>
              <a:gd name="connsiteX17348" fmla="*/ 1191113 w 6884782"/>
              <a:gd name="connsiteY17348" fmla="*/ 4493655 h 5973007"/>
              <a:gd name="connsiteX17349" fmla="*/ 1198859 w 6884782"/>
              <a:gd name="connsiteY17349" fmla="*/ 4490144 h 5973007"/>
              <a:gd name="connsiteX17350" fmla="*/ 1202111 w 6884782"/>
              <a:gd name="connsiteY17350" fmla="*/ 4487769 h 5973007"/>
              <a:gd name="connsiteX17351" fmla="*/ 1204125 w 6884782"/>
              <a:gd name="connsiteY17351" fmla="*/ 4475585 h 5973007"/>
              <a:gd name="connsiteX17352" fmla="*/ 1208927 w 6884782"/>
              <a:gd name="connsiteY17352" fmla="*/ 4467221 h 5973007"/>
              <a:gd name="connsiteX17353" fmla="*/ 1212644 w 6884782"/>
              <a:gd name="connsiteY17353" fmla="*/ 4464124 h 5973007"/>
              <a:gd name="connsiteX17354" fmla="*/ 1208307 w 6884782"/>
              <a:gd name="connsiteY17354" fmla="*/ 4460923 h 5973007"/>
              <a:gd name="connsiteX17355" fmla="*/ 1197310 w 6884782"/>
              <a:gd name="connsiteY17355" fmla="*/ 4445847 h 5973007"/>
              <a:gd name="connsiteX17356" fmla="*/ 1138449 w 6884782"/>
              <a:gd name="connsiteY17356" fmla="*/ 4445331 h 5973007"/>
              <a:gd name="connsiteX17357" fmla="*/ 1140154 w 6884782"/>
              <a:gd name="connsiteY17357" fmla="*/ 4451630 h 5973007"/>
              <a:gd name="connsiteX17358" fmla="*/ 1139533 w 6884782"/>
              <a:gd name="connsiteY17358" fmla="*/ 4452766 h 5973007"/>
              <a:gd name="connsiteX17359" fmla="*/ 1138449 w 6884782"/>
              <a:gd name="connsiteY17359" fmla="*/ 4445331 h 5973007"/>
              <a:gd name="connsiteX17360" fmla="*/ 1224726 w 6884782"/>
              <a:gd name="connsiteY17360" fmla="*/ 4445125 h 5973007"/>
              <a:gd name="connsiteX17361" fmla="*/ 1226120 w 6884782"/>
              <a:gd name="connsiteY17361" fmla="*/ 4446673 h 5973007"/>
              <a:gd name="connsiteX17362" fmla="*/ 1225345 w 6884782"/>
              <a:gd name="connsiteY17362" fmla="*/ 4446983 h 5973007"/>
              <a:gd name="connsiteX17363" fmla="*/ 1224417 w 6884782"/>
              <a:gd name="connsiteY17363" fmla="*/ 4445847 h 5973007"/>
              <a:gd name="connsiteX17364" fmla="*/ 1224726 w 6884782"/>
              <a:gd name="connsiteY17364" fmla="*/ 4445125 h 5973007"/>
              <a:gd name="connsiteX17365" fmla="*/ 1395887 w 6884782"/>
              <a:gd name="connsiteY17365" fmla="*/ 4444711 h 5973007"/>
              <a:gd name="connsiteX17366" fmla="*/ 1399139 w 6884782"/>
              <a:gd name="connsiteY17366" fmla="*/ 4452456 h 5973007"/>
              <a:gd name="connsiteX17367" fmla="*/ 1393253 w 6884782"/>
              <a:gd name="connsiteY17367" fmla="*/ 4450494 h 5973007"/>
              <a:gd name="connsiteX17368" fmla="*/ 1395887 w 6884782"/>
              <a:gd name="connsiteY17368" fmla="*/ 4444711 h 5973007"/>
              <a:gd name="connsiteX17369" fmla="*/ 1755091 w 6884782"/>
              <a:gd name="connsiteY17369" fmla="*/ 4444092 h 5973007"/>
              <a:gd name="connsiteX17370" fmla="*/ 1755866 w 6884782"/>
              <a:gd name="connsiteY17370" fmla="*/ 4446777 h 5973007"/>
              <a:gd name="connsiteX17371" fmla="*/ 1754471 w 6884782"/>
              <a:gd name="connsiteY17371" fmla="*/ 4447396 h 5973007"/>
              <a:gd name="connsiteX17372" fmla="*/ 1753077 w 6884782"/>
              <a:gd name="connsiteY17372" fmla="*/ 4446983 h 5973007"/>
              <a:gd name="connsiteX17373" fmla="*/ 1751528 w 6884782"/>
              <a:gd name="connsiteY17373" fmla="*/ 4445331 h 5973007"/>
              <a:gd name="connsiteX17374" fmla="*/ 1755091 w 6884782"/>
              <a:gd name="connsiteY17374" fmla="*/ 4444092 h 5973007"/>
              <a:gd name="connsiteX17375" fmla="*/ 885503 w 6884782"/>
              <a:gd name="connsiteY17375" fmla="*/ 4443472 h 5973007"/>
              <a:gd name="connsiteX17376" fmla="*/ 885039 w 6884782"/>
              <a:gd name="connsiteY17376" fmla="*/ 4449461 h 5973007"/>
              <a:gd name="connsiteX17377" fmla="*/ 879927 w 6884782"/>
              <a:gd name="connsiteY17377" fmla="*/ 4448222 h 5973007"/>
              <a:gd name="connsiteX17378" fmla="*/ 885503 w 6884782"/>
              <a:gd name="connsiteY17378" fmla="*/ 4443472 h 5973007"/>
              <a:gd name="connsiteX17379" fmla="*/ 5502643 w 6884782"/>
              <a:gd name="connsiteY17379" fmla="*/ 4443387 h 5973007"/>
              <a:gd name="connsiteX17380" fmla="*/ 5502332 w 6884782"/>
              <a:gd name="connsiteY17380" fmla="*/ 4446175 h 5973007"/>
              <a:gd name="connsiteX17381" fmla="*/ 5500629 w 6884782"/>
              <a:gd name="connsiteY17381" fmla="*/ 4447001 h 5973007"/>
              <a:gd name="connsiteX17382" fmla="*/ 5499544 w 6884782"/>
              <a:gd name="connsiteY17382" fmla="*/ 4449789 h 5973007"/>
              <a:gd name="connsiteX17383" fmla="*/ 5497996 w 6884782"/>
              <a:gd name="connsiteY17383" fmla="*/ 4449686 h 5973007"/>
              <a:gd name="connsiteX17384" fmla="*/ 5500164 w 6884782"/>
              <a:gd name="connsiteY17384" fmla="*/ 4444316 h 5973007"/>
              <a:gd name="connsiteX17385" fmla="*/ 5502643 w 6884782"/>
              <a:gd name="connsiteY17385" fmla="*/ 4443387 h 5973007"/>
              <a:gd name="connsiteX17386" fmla="*/ 1078969 w 6884782"/>
              <a:gd name="connsiteY17386" fmla="*/ 4442956 h 5973007"/>
              <a:gd name="connsiteX17387" fmla="*/ 1091980 w 6884782"/>
              <a:gd name="connsiteY17387" fmla="*/ 4450597 h 5973007"/>
              <a:gd name="connsiteX17388" fmla="*/ 1091980 w 6884782"/>
              <a:gd name="connsiteY17388" fmla="*/ 4451423 h 5973007"/>
              <a:gd name="connsiteX17389" fmla="*/ 1090121 w 6884782"/>
              <a:gd name="connsiteY17389" fmla="*/ 4452249 h 5973007"/>
              <a:gd name="connsiteX17390" fmla="*/ 1086869 w 6884782"/>
              <a:gd name="connsiteY17390" fmla="*/ 4450287 h 5973007"/>
              <a:gd name="connsiteX17391" fmla="*/ 1080673 w 6884782"/>
              <a:gd name="connsiteY17391" fmla="*/ 4443989 h 5973007"/>
              <a:gd name="connsiteX17392" fmla="*/ 1078969 w 6884782"/>
              <a:gd name="connsiteY17392" fmla="*/ 4442956 h 5973007"/>
              <a:gd name="connsiteX17393" fmla="*/ 1446693 w 6884782"/>
              <a:gd name="connsiteY17393" fmla="*/ 4442853 h 5973007"/>
              <a:gd name="connsiteX17394" fmla="*/ 1450410 w 6884782"/>
              <a:gd name="connsiteY17394" fmla="*/ 4446364 h 5973007"/>
              <a:gd name="connsiteX17395" fmla="*/ 1448241 w 6884782"/>
              <a:gd name="connsiteY17395" fmla="*/ 4449668 h 5973007"/>
              <a:gd name="connsiteX17396" fmla="*/ 1444524 w 6884782"/>
              <a:gd name="connsiteY17396" fmla="*/ 4446157 h 5973007"/>
              <a:gd name="connsiteX17397" fmla="*/ 1446693 w 6884782"/>
              <a:gd name="connsiteY17397" fmla="*/ 4442853 h 5973007"/>
              <a:gd name="connsiteX17398" fmla="*/ 1806362 w 6884782"/>
              <a:gd name="connsiteY17398" fmla="*/ 4442543 h 5973007"/>
              <a:gd name="connsiteX17399" fmla="*/ 1806362 w 6884782"/>
              <a:gd name="connsiteY17399" fmla="*/ 4463401 h 5973007"/>
              <a:gd name="connsiteX17400" fmla="*/ 1802179 w 6884782"/>
              <a:gd name="connsiteY17400" fmla="*/ 4462162 h 5973007"/>
              <a:gd name="connsiteX17401" fmla="*/ 1806362 w 6884782"/>
              <a:gd name="connsiteY17401" fmla="*/ 4442543 h 5973007"/>
              <a:gd name="connsiteX17402" fmla="*/ 866761 w 6884782"/>
              <a:gd name="connsiteY17402" fmla="*/ 4442440 h 5973007"/>
              <a:gd name="connsiteX17403" fmla="*/ 872337 w 6884782"/>
              <a:gd name="connsiteY17403" fmla="*/ 4445641 h 5973007"/>
              <a:gd name="connsiteX17404" fmla="*/ 871098 w 6884782"/>
              <a:gd name="connsiteY17404" fmla="*/ 4445950 h 5973007"/>
              <a:gd name="connsiteX17405" fmla="*/ 869549 w 6884782"/>
              <a:gd name="connsiteY17405" fmla="*/ 4444918 h 5973007"/>
              <a:gd name="connsiteX17406" fmla="*/ 866761 w 6884782"/>
              <a:gd name="connsiteY17406" fmla="*/ 4442440 h 5973007"/>
              <a:gd name="connsiteX17407" fmla="*/ 792663 w 6884782"/>
              <a:gd name="connsiteY17407" fmla="*/ 4442349 h 5973007"/>
              <a:gd name="connsiteX17408" fmla="*/ 797367 w 6884782"/>
              <a:gd name="connsiteY17408" fmla="*/ 4445125 h 5973007"/>
              <a:gd name="connsiteX17409" fmla="*/ 796593 w 6884782"/>
              <a:gd name="connsiteY17409" fmla="*/ 4446673 h 5973007"/>
              <a:gd name="connsiteX17410" fmla="*/ 798452 w 6884782"/>
              <a:gd name="connsiteY17410" fmla="*/ 4446570 h 5973007"/>
              <a:gd name="connsiteX17411" fmla="*/ 801240 w 6884782"/>
              <a:gd name="connsiteY17411" fmla="*/ 4447086 h 5973007"/>
              <a:gd name="connsiteX17412" fmla="*/ 801859 w 6884782"/>
              <a:gd name="connsiteY17412" fmla="*/ 4453282 h 5973007"/>
              <a:gd name="connsiteX17413" fmla="*/ 799846 w 6884782"/>
              <a:gd name="connsiteY17413" fmla="*/ 4455244 h 5973007"/>
              <a:gd name="connsiteX17414" fmla="*/ 794889 w 6884782"/>
              <a:gd name="connsiteY17414" fmla="*/ 4456793 h 5973007"/>
              <a:gd name="connsiteX17415" fmla="*/ 795044 w 6884782"/>
              <a:gd name="connsiteY17415" fmla="*/ 4457515 h 5973007"/>
              <a:gd name="connsiteX17416" fmla="*/ 792565 w 6884782"/>
              <a:gd name="connsiteY17416" fmla="*/ 4453282 h 5973007"/>
              <a:gd name="connsiteX17417" fmla="*/ 792720 w 6884782"/>
              <a:gd name="connsiteY17417" fmla="*/ 4452662 h 5973007"/>
              <a:gd name="connsiteX17418" fmla="*/ 792256 w 6884782"/>
              <a:gd name="connsiteY17418" fmla="*/ 4453282 h 5973007"/>
              <a:gd name="connsiteX17419" fmla="*/ 787609 w 6884782"/>
              <a:gd name="connsiteY17419" fmla="*/ 4449461 h 5973007"/>
              <a:gd name="connsiteX17420" fmla="*/ 787144 w 6884782"/>
              <a:gd name="connsiteY17420" fmla="*/ 4442749 h 5973007"/>
              <a:gd name="connsiteX17421" fmla="*/ 792663 w 6884782"/>
              <a:gd name="connsiteY17421" fmla="*/ 4442349 h 5973007"/>
              <a:gd name="connsiteX17422" fmla="*/ 5957108 w 6884782"/>
              <a:gd name="connsiteY17422" fmla="*/ 4442045 h 5973007"/>
              <a:gd name="connsiteX17423" fmla="*/ 5958657 w 6884782"/>
              <a:gd name="connsiteY17423" fmla="*/ 4444007 h 5973007"/>
              <a:gd name="connsiteX17424" fmla="*/ 5956798 w 6884782"/>
              <a:gd name="connsiteY17424" fmla="*/ 4445968 h 5973007"/>
              <a:gd name="connsiteX17425" fmla="*/ 5954010 w 6884782"/>
              <a:gd name="connsiteY17425" fmla="*/ 4446381 h 5973007"/>
              <a:gd name="connsiteX17426" fmla="*/ 5953236 w 6884782"/>
              <a:gd name="connsiteY17426" fmla="*/ 4445142 h 5973007"/>
              <a:gd name="connsiteX17427" fmla="*/ 5952926 w 6884782"/>
              <a:gd name="connsiteY17427" fmla="*/ 4443180 h 5973007"/>
              <a:gd name="connsiteX17428" fmla="*/ 5957108 w 6884782"/>
              <a:gd name="connsiteY17428" fmla="*/ 4442045 h 5973007"/>
              <a:gd name="connsiteX17429" fmla="*/ 1012518 w 6884782"/>
              <a:gd name="connsiteY17429" fmla="*/ 4441717 h 5973007"/>
              <a:gd name="connsiteX17430" fmla="*/ 1013138 w 6884782"/>
              <a:gd name="connsiteY17430" fmla="*/ 4464950 h 5973007"/>
              <a:gd name="connsiteX17431" fmla="*/ 1009885 w 6884782"/>
              <a:gd name="connsiteY17431" fmla="*/ 4459477 h 5973007"/>
              <a:gd name="connsiteX17432" fmla="*/ 1012518 w 6884782"/>
              <a:gd name="connsiteY17432" fmla="*/ 4441717 h 5973007"/>
              <a:gd name="connsiteX17433" fmla="*/ 1628386 w 6884782"/>
              <a:gd name="connsiteY17433" fmla="*/ 4441510 h 5973007"/>
              <a:gd name="connsiteX17434" fmla="*/ 1635666 w 6884782"/>
              <a:gd name="connsiteY17434" fmla="*/ 4455863 h 5973007"/>
              <a:gd name="connsiteX17435" fmla="*/ 1632878 w 6884782"/>
              <a:gd name="connsiteY17435" fmla="*/ 4454108 h 5973007"/>
              <a:gd name="connsiteX17436" fmla="*/ 1632878 w 6884782"/>
              <a:gd name="connsiteY17436" fmla="*/ 4454314 h 5973007"/>
              <a:gd name="connsiteX17437" fmla="*/ 1632103 w 6884782"/>
              <a:gd name="connsiteY17437" fmla="*/ 4453901 h 5973007"/>
              <a:gd name="connsiteX17438" fmla="*/ 1632103 w 6884782"/>
              <a:gd name="connsiteY17438" fmla="*/ 4453592 h 5973007"/>
              <a:gd name="connsiteX17439" fmla="*/ 1631329 w 6884782"/>
              <a:gd name="connsiteY17439" fmla="*/ 4452972 h 5973007"/>
              <a:gd name="connsiteX17440" fmla="*/ 1628386 w 6884782"/>
              <a:gd name="connsiteY17440" fmla="*/ 4441510 h 5973007"/>
              <a:gd name="connsiteX17441" fmla="*/ 1658436 w 6884782"/>
              <a:gd name="connsiteY17441" fmla="*/ 4441407 h 5973007"/>
              <a:gd name="connsiteX17442" fmla="*/ 1660450 w 6884782"/>
              <a:gd name="connsiteY17442" fmla="*/ 4445125 h 5973007"/>
              <a:gd name="connsiteX17443" fmla="*/ 1658281 w 6884782"/>
              <a:gd name="connsiteY17443" fmla="*/ 4444711 h 5973007"/>
              <a:gd name="connsiteX17444" fmla="*/ 1657816 w 6884782"/>
              <a:gd name="connsiteY17444" fmla="*/ 4441820 h 5973007"/>
              <a:gd name="connsiteX17445" fmla="*/ 1658436 w 6884782"/>
              <a:gd name="connsiteY17445" fmla="*/ 4441407 h 5973007"/>
              <a:gd name="connsiteX17446" fmla="*/ 897276 w 6884782"/>
              <a:gd name="connsiteY17446" fmla="*/ 4441201 h 5973007"/>
              <a:gd name="connsiteX17447" fmla="*/ 897585 w 6884782"/>
              <a:gd name="connsiteY17447" fmla="*/ 4442130 h 5973007"/>
              <a:gd name="connsiteX17448" fmla="*/ 897895 w 6884782"/>
              <a:gd name="connsiteY17448" fmla="*/ 4442027 h 5973007"/>
              <a:gd name="connsiteX17449" fmla="*/ 897585 w 6884782"/>
              <a:gd name="connsiteY17449" fmla="*/ 4441614 h 5973007"/>
              <a:gd name="connsiteX17450" fmla="*/ 1221009 w 6884782"/>
              <a:gd name="connsiteY17450" fmla="*/ 4440994 h 5973007"/>
              <a:gd name="connsiteX17451" fmla="*/ 1223952 w 6884782"/>
              <a:gd name="connsiteY17451" fmla="*/ 4445434 h 5973007"/>
              <a:gd name="connsiteX17452" fmla="*/ 1220854 w 6884782"/>
              <a:gd name="connsiteY17452" fmla="*/ 4443576 h 5973007"/>
              <a:gd name="connsiteX17453" fmla="*/ 1221009 w 6884782"/>
              <a:gd name="connsiteY17453" fmla="*/ 4440994 h 5973007"/>
              <a:gd name="connsiteX17454" fmla="*/ 1792576 w 6884782"/>
              <a:gd name="connsiteY17454" fmla="*/ 4440891 h 5973007"/>
              <a:gd name="connsiteX17455" fmla="*/ 1788703 w 6884782"/>
              <a:gd name="connsiteY17455" fmla="*/ 4451320 h 5973007"/>
              <a:gd name="connsiteX17456" fmla="*/ 1785760 w 6884782"/>
              <a:gd name="connsiteY17456" fmla="*/ 4444402 h 5973007"/>
              <a:gd name="connsiteX17457" fmla="*/ 1792576 w 6884782"/>
              <a:gd name="connsiteY17457" fmla="*/ 4440891 h 5973007"/>
              <a:gd name="connsiteX17458" fmla="*/ 1288389 w 6884782"/>
              <a:gd name="connsiteY17458" fmla="*/ 4440788 h 5973007"/>
              <a:gd name="connsiteX17459" fmla="*/ 1287924 w 6884782"/>
              <a:gd name="connsiteY17459" fmla="*/ 4443989 h 5973007"/>
              <a:gd name="connsiteX17460" fmla="*/ 1288699 w 6884782"/>
              <a:gd name="connsiteY17460" fmla="*/ 4445538 h 5973007"/>
              <a:gd name="connsiteX17461" fmla="*/ 1287924 w 6884782"/>
              <a:gd name="connsiteY17461" fmla="*/ 4448222 h 5973007"/>
              <a:gd name="connsiteX17462" fmla="*/ 1286375 w 6884782"/>
              <a:gd name="connsiteY17462" fmla="*/ 4449461 h 5973007"/>
              <a:gd name="connsiteX17463" fmla="*/ 1284206 w 6884782"/>
              <a:gd name="connsiteY17463" fmla="*/ 4453592 h 5973007"/>
              <a:gd name="connsiteX17464" fmla="*/ 1274758 w 6884782"/>
              <a:gd name="connsiteY17464" fmla="*/ 4460510 h 5973007"/>
              <a:gd name="connsiteX17465" fmla="*/ 1283896 w 6884782"/>
              <a:gd name="connsiteY17465" fmla="*/ 4443782 h 5973007"/>
              <a:gd name="connsiteX17466" fmla="*/ 1284671 w 6884782"/>
              <a:gd name="connsiteY17466" fmla="*/ 4441717 h 5973007"/>
              <a:gd name="connsiteX17467" fmla="*/ 1286065 w 6884782"/>
              <a:gd name="connsiteY17467" fmla="*/ 4442337 h 5973007"/>
              <a:gd name="connsiteX17468" fmla="*/ 6369597 w 6884782"/>
              <a:gd name="connsiteY17468" fmla="*/ 4440393 h 5973007"/>
              <a:gd name="connsiteX17469" fmla="*/ 6369442 w 6884782"/>
              <a:gd name="connsiteY17469" fmla="*/ 4448446 h 5973007"/>
              <a:gd name="connsiteX17470" fmla="*/ 6370681 w 6884782"/>
              <a:gd name="connsiteY17470" fmla="*/ 4460424 h 5973007"/>
              <a:gd name="connsiteX17471" fmla="*/ 6376722 w 6884782"/>
              <a:gd name="connsiteY17471" fmla="*/ 4461457 h 5973007"/>
              <a:gd name="connsiteX17472" fmla="*/ 6387410 w 6884782"/>
              <a:gd name="connsiteY17472" fmla="*/ 4461767 h 5973007"/>
              <a:gd name="connsiteX17473" fmla="*/ 6389888 w 6884782"/>
              <a:gd name="connsiteY17473" fmla="*/ 4461354 h 5973007"/>
              <a:gd name="connsiteX17474" fmla="*/ 6389733 w 6884782"/>
              <a:gd name="connsiteY17474" fmla="*/ 4456191 h 5973007"/>
              <a:gd name="connsiteX17475" fmla="*/ 6397943 w 6884782"/>
              <a:gd name="connsiteY17475" fmla="*/ 4457740 h 5973007"/>
              <a:gd name="connsiteX17476" fmla="*/ 6396084 w 6884782"/>
              <a:gd name="connsiteY17476" fmla="*/ 4445349 h 5973007"/>
              <a:gd name="connsiteX17477" fmla="*/ 6396859 w 6884782"/>
              <a:gd name="connsiteY17477" fmla="*/ 4440599 h 5973007"/>
              <a:gd name="connsiteX17478" fmla="*/ 6384777 w 6884782"/>
              <a:gd name="connsiteY17478" fmla="*/ 4440599 h 5973007"/>
              <a:gd name="connsiteX17479" fmla="*/ 998733 w 6884782"/>
              <a:gd name="connsiteY17479" fmla="*/ 4439755 h 5973007"/>
              <a:gd name="connsiteX17480" fmla="*/ 1000437 w 6884782"/>
              <a:gd name="connsiteY17480" fmla="*/ 4441924 h 5973007"/>
              <a:gd name="connsiteX17481" fmla="*/ 999507 w 6884782"/>
              <a:gd name="connsiteY17481" fmla="*/ 4442234 h 5973007"/>
              <a:gd name="connsiteX17482" fmla="*/ 996564 w 6884782"/>
              <a:gd name="connsiteY17482" fmla="*/ 4444402 h 5973007"/>
              <a:gd name="connsiteX17483" fmla="*/ 995170 w 6884782"/>
              <a:gd name="connsiteY17483" fmla="*/ 4440375 h 5973007"/>
              <a:gd name="connsiteX17484" fmla="*/ 998733 w 6884782"/>
              <a:gd name="connsiteY17484" fmla="*/ 4439755 h 5973007"/>
              <a:gd name="connsiteX17485" fmla="*/ 5828234 w 6884782"/>
              <a:gd name="connsiteY17485" fmla="*/ 4439670 h 5973007"/>
              <a:gd name="connsiteX17486" fmla="*/ 5831023 w 6884782"/>
              <a:gd name="connsiteY17486" fmla="*/ 4449479 h 5973007"/>
              <a:gd name="connsiteX17487" fmla="*/ 5824982 w 6884782"/>
              <a:gd name="connsiteY17487" fmla="*/ 4450615 h 5973007"/>
              <a:gd name="connsiteX17488" fmla="*/ 5828234 w 6884782"/>
              <a:gd name="connsiteY17488" fmla="*/ 4439670 h 5973007"/>
              <a:gd name="connsiteX17489" fmla="*/ 1643256 w 6884782"/>
              <a:gd name="connsiteY17489" fmla="*/ 4439445 h 5973007"/>
              <a:gd name="connsiteX17490" fmla="*/ 1647593 w 6884782"/>
              <a:gd name="connsiteY17490" fmla="*/ 4447293 h 5973007"/>
              <a:gd name="connsiteX17491" fmla="*/ 1643876 w 6884782"/>
              <a:gd name="connsiteY17491" fmla="*/ 4447190 h 5973007"/>
              <a:gd name="connsiteX17492" fmla="*/ 1643256 w 6884782"/>
              <a:gd name="connsiteY17492" fmla="*/ 4439445 h 5973007"/>
              <a:gd name="connsiteX17493" fmla="*/ 1070450 w 6884782"/>
              <a:gd name="connsiteY17493" fmla="*/ 4439342 h 5973007"/>
              <a:gd name="connsiteX17494" fmla="*/ 1072928 w 6884782"/>
              <a:gd name="connsiteY17494" fmla="*/ 4439445 h 5973007"/>
              <a:gd name="connsiteX17495" fmla="*/ 1072773 w 6884782"/>
              <a:gd name="connsiteY17495" fmla="*/ 4445847 h 5973007"/>
              <a:gd name="connsiteX17496" fmla="*/ 1077885 w 6884782"/>
              <a:gd name="connsiteY17496" fmla="*/ 4446157 h 5973007"/>
              <a:gd name="connsiteX17497" fmla="*/ 1072618 w 6884782"/>
              <a:gd name="connsiteY17497" fmla="*/ 4461645 h 5973007"/>
              <a:gd name="connsiteX17498" fmla="*/ 1072153 w 6884782"/>
              <a:gd name="connsiteY17498" fmla="*/ 4462059 h 5973007"/>
              <a:gd name="connsiteX17499" fmla="*/ 1072618 w 6884782"/>
              <a:gd name="connsiteY17499" fmla="*/ 4462162 h 5973007"/>
              <a:gd name="connsiteX17500" fmla="*/ 1076335 w 6884782"/>
              <a:gd name="connsiteY17500" fmla="*/ 4460303 h 5973007"/>
              <a:gd name="connsiteX17501" fmla="*/ 1078349 w 6884782"/>
              <a:gd name="connsiteY17501" fmla="*/ 4473107 h 5973007"/>
              <a:gd name="connsiteX17502" fmla="*/ 1077885 w 6884782"/>
              <a:gd name="connsiteY17502" fmla="*/ 4474966 h 5973007"/>
              <a:gd name="connsiteX17503" fmla="*/ 1078814 w 6884782"/>
              <a:gd name="connsiteY17503" fmla="*/ 4474966 h 5973007"/>
              <a:gd name="connsiteX17504" fmla="*/ 1077885 w 6884782"/>
              <a:gd name="connsiteY17504" fmla="*/ 4475792 h 5973007"/>
              <a:gd name="connsiteX17505" fmla="*/ 1077885 w 6884782"/>
              <a:gd name="connsiteY17505" fmla="*/ 4475998 h 5973007"/>
              <a:gd name="connsiteX17506" fmla="*/ 1078039 w 6884782"/>
              <a:gd name="connsiteY17506" fmla="*/ 4476928 h 5973007"/>
              <a:gd name="connsiteX17507" fmla="*/ 1076026 w 6884782"/>
              <a:gd name="connsiteY17507" fmla="*/ 4479715 h 5973007"/>
              <a:gd name="connsiteX17508" fmla="*/ 1075096 w 6884782"/>
              <a:gd name="connsiteY17508" fmla="*/ 4480025 h 5973007"/>
              <a:gd name="connsiteX17509" fmla="*/ 1073857 w 6884782"/>
              <a:gd name="connsiteY17509" fmla="*/ 4479302 h 5973007"/>
              <a:gd name="connsiteX17510" fmla="*/ 1071224 w 6884782"/>
              <a:gd name="connsiteY17510" fmla="*/ 4474862 h 5973007"/>
              <a:gd name="connsiteX17511" fmla="*/ 1055889 w 6884782"/>
              <a:gd name="connsiteY17511" fmla="*/ 4473313 h 5973007"/>
              <a:gd name="connsiteX17512" fmla="*/ 1056354 w 6884782"/>
              <a:gd name="connsiteY17512" fmla="*/ 4464640 h 5973007"/>
              <a:gd name="connsiteX17513" fmla="*/ 1058058 w 6884782"/>
              <a:gd name="connsiteY17513" fmla="*/ 4462884 h 5973007"/>
              <a:gd name="connsiteX17514" fmla="*/ 1056044 w 6884782"/>
              <a:gd name="connsiteY17514" fmla="*/ 4462575 h 5973007"/>
              <a:gd name="connsiteX17515" fmla="*/ 1061620 w 6884782"/>
              <a:gd name="connsiteY17515" fmla="*/ 4446673 h 5973007"/>
              <a:gd name="connsiteX17516" fmla="*/ 1063014 w 6884782"/>
              <a:gd name="connsiteY17516" fmla="*/ 4445434 h 5973007"/>
              <a:gd name="connsiteX17517" fmla="*/ 1065028 w 6884782"/>
              <a:gd name="connsiteY17517" fmla="*/ 4446157 h 5973007"/>
              <a:gd name="connsiteX17518" fmla="*/ 1065957 w 6884782"/>
              <a:gd name="connsiteY17518" fmla="*/ 4448945 h 5973007"/>
              <a:gd name="connsiteX17519" fmla="*/ 1066577 w 6884782"/>
              <a:gd name="connsiteY17519" fmla="*/ 4448635 h 5973007"/>
              <a:gd name="connsiteX17520" fmla="*/ 1066577 w 6884782"/>
              <a:gd name="connsiteY17520" fmla="*/ 4448326 h 5973007"/>
              <a:gd name="connsiteX17521" fmla="*/ 1069675 w 6884782"/>
              <a:gd name="connsiteY17521" fmla="*/ 4440994 h 5973007"/>
              <a:gd name="connsiteX17522" fmla="*/ 1070450 w 6884782"/>
              <a:gd name="connsiteY17522" fmla="*/ 4439342 h 5973007"/>
              <a:gd name="connsiteX17523" fmla="*/ 1341869 w 6884782"/>
              <a:gd name="connsiteY17523" fmla="*/ 4438528 h 5973007"/>
              <a:gd name="connsiteX17524" fmla="*/ 1356543 w 6884782"/>
              <a:gd name="connsiteY17524" fmla="*/ 4446054 h 5973007"/>
              <a:gd name="connsiteX17525" fmla="*/ 1364598 w 6884782"/>
              <a:gd name="connsiteY17525" fmla="*/ 4476721 h 5973007"/>
              <a:gd name="connsiteX17526" fmla="*/ 1340744 w 6884782"/>
              <a:gd name="connsiteY17526" fmla="*/ 4475792 h 5973007"/>
              <a:gd name="connsiteX17527" fmla="*/ 1333309 w 6884782"/>
              <a:gd name="connsiteY17527" fmla="*/ 4472694 h 5973007"/>
              <a:gd name="connsiteX17528" fmla="*/ 1341869 w 6884782"/>
              <a:gd name="connsiteY17528" fmla="*/ 4438528 h 5973007"/>
              <a:gd name="connsiteX17529" fmla="*/ 830864 w 6884782"/>
              <a:gd name="connsiteY17529" fmla="*/ 4438155 h 5973007"/>
              <a:gd name="connsiteX17530" fmla="*/ 841048 w 6884782"/>
              <a:gd name="connsiteY17530" fmla="*/ 4439445 h 5973007"/>
              <a:gd name="connsiteX17531" fmla="*/ 840119 w 6884782"/>
              <a:gd name="connsiteY17531" fmla="*/ 4448119 h 5973007"/>
              <a:gd name="connsiteX17532" fmla="*/ 836401 w 6884782"/>
              <a:gd name="connsiteY17532" fmla="*/ 4448635 h 5973007"/>
              <a:gd name="connsiteX17533" fmla="*/ 832993 w 6884782"/>
              <a:gd name="connsiteY17533" fmla="*/ 4448119 h 5973007"/>
              <a:gd name="connsiteX17534" fmla="*/ 826953 w 6884782"/>
              <a:gd name="connsiteY17534" fmla="*/ 4445538 h 5973007"/>
              <a:gd name="connsiteX17535" fmla="*/ 830864 w 6884782"/>
              <a:gd name="connsiteY17535" fmla="*/ 4438155 h 5973007"/>
              <a:gd name="connsiteX17536" fmla="*/ 1266548 w 6884782"/>
              <a:gd name="connsiteY17536" fmla="*/ 4438103 h 5973007"/>
              <a:gd name="connsiteX17537" fmla="*/ 1267013 w 6884782"/>
              <a:gd name="connsiteY17537" fmla="*/ 4439239 h 5973007"/>
              <a:gd name="connsiteX17538" fmla="*/ 1267322 w 6884782"/>
              <a:gd name="connsiteY17538" fmla="*/ 4438516 h 5973007"/>
              <a:gd name="connsiteX17539" fmla="*/ 1267168 w 6884782"/>
              <a:gd name="connsiteY17539" fmla="*/ 4439652 h 5973007"/>
              <a:gd name="connsiteX17540" fmla="*/ 1266548 w 6884782"/>
              <a:gd name="connsiteY17540" fmla="*/ 4439962 h 5973007"/>
              <a:gd name="connsiteX17541" fmla="*/ 1265000 w 6884782"/>
              <a:gd name="connsiteY17541" fmla="*/ 4440375 h 5973007"/>
              <a:gd name="connsiteX17542" fmla="*/ 1263915 w 6884782"/>
              <a:gd name="connsiteY17542" fmla="*/ 4439445 h 5973007"/>
              <a:gd name="connsiteX17543" fmla="*/ 1266548 w 6884782"/>
              <a:gd name="connsiteY17543" fmla="*/ 4438103 h 5973007"/>
              <a:gd name="connsiteX17544" fmla="*/ 1154868 w 6884782"/>
              <a:gd name="connsiteY17544" fmla="*/ 4438103 h 5973007"/>
              <a:gd name="connsiteX17545" fmla="*/ 1158275 w 6884782"/>
              <a:gd name="connsiteY17545" fmla="*/ 4440891 h 5973007"/>
              <a:gd name="connsiteX17546" fmla="*/ 1154558 w 6884782"/>
              <a:gd name="connsiteY17546" fmla="*/ 4445125 h 5973007"/>
              <a:gd name="connsiteX17547" fmla="*/ 1150996 w 6884782"/>
              <a:gd name="connsiteY17547" fmla="*/ 4442543 h 5973007"/>
              <a:gd name="connsiteX17548" fmla="*/ 1151150 w 6884782"/>
              <a:gd name="connsiteY17548" fmla="*/ 4440478 h 5973007"/>
              <a:gd name="connsiteX17549" fmla="*/ 1151925 w 6884782"/>
              <a:gd name="connsiteY17549" fmla="*/ 4439962 h 5973007"/>
              <a:gd name="connsiteX17550" fmla="*/ 1154868 w 6884782"/>
              <a:gd name="connsiteY17550" fmla="*/ 4438103 h 5973007"/>
              <a:gd name="connsiteX17551" fmla="*/ 5687608 w 6884782"/>
              <a:gd name="connsiteY17551" fmla="*/ 4437075 h 5973007"/>
              <a:gd name="connsiteX17552" fmla="*/ 5693475 w 6884782"/>
              <a:gd name="connsiteY17552" fmla="*/ 4437192 h 5973007"/>
              <a:gd name="connsiteX17553" fmla="*/ 5690996 w 6884782"/>
              <a:gd name="connsiteY17553" fmla="*/ 4444936 h 5973007"/>
              <a:gd name="connsiteX17554" fmla="*/ 5687898 w 6884782"/>
              <a:gd name="connsiteY17554" fmla="*/ 4446691 h 5973007"/>
              <a:gd name="connsiteX17555" fmla="*/ 5684181 w 6884782"/>
              <a:gd name="connsiteY17555" fmla="*/ 4446588 h 5973007"/>
              <a:gd name="connsiteX17556" fmla="*/ 5681393 w 6884782"/>
              <a:gd name="connsiteY17556" fmla="*/ 4447207 h 5973007"/>
              <a:gd name="connsiteX17557" fmla="*/ 5678450 w 6884782"/>
              <a:gd name="connsiteY17557" fmla="*/ 4446485 h 5973007"/>
              <a:gd name="connsiteX17558" fmla="*/ 5677365 w 6884782"/>
              <a:gd name="connsiteY17558" fmla="*/ 4443903 h 5973007"/>
              <a:gd name="connsiteX17559" fmla="*/ 5678140 w 6884782"/>
              <a:gd name="connsiteY17559" fmla="*/ 4442148 h 5973007"/>
              <a:gd name="connsiteX17560" fmla="*/ 5687608 w 6884782"/>
              <a:gd name="connsiteY17560" fmla="*/ 4437075 h 5973007"/>
              <a:gd name="connsiteX17561" fmla="*/ 1377145 w 6884782"/>
              <a:gd name="connsiteY17561" fmla="*/ 4437071 h 5973007"/>
              <a:gd name="connsiteX17562" fmla="*/ 1379003 w 6884782"/>
              <a:gd name="connsiteY17562" fmla="*/ 4441407 h 5973007"/>
              <a:gd name="connsiteX17563" fmla="*/ 1377764 w 6884782"/>
              <a:gd name="connsiteY17563" fmla="*/ 4441717 h 5973007"/>
              <a:gd name="connsiteX17564" fmla="*/ 1378383 w 6884782"/>
              <a:gd name="connsiteY17564" fmla="*/ 4443885 h 5973007"/>
              <a:gd name="connsiteX17565" fmla="*/ 1376370 w 6884782"/>
              <a:gd name="connsiteY17565" fmla="*/ 4448739 h 5973007"/>
              <a:gd name="connsiteX17566" fmla="*/ 1367386 w 6884782"/>
              <a:gd name="connsiteY17566" fmla="*/ 4444402 h 5973007"/>
              <a:gd name="connsiteX17567" fmla="*/ 1366921 w 6884782"/>
              <a:gd name="connsiteY17567" fmla="*/ 4440684 h 5973007"/>
              <a:gd name="connsiteX17568" fmla="*/ 1374666 w 6884782"/>
              <a:gd name="connsiteY17568" fmla="*/ 4438103 h 5973007"/>
              <a:gd name="connsiteX17569" fmla="*/ 1375130 w 6884782"/>
              <a:gd name="connsiteY17569" fmla="*/ 4438516 h 5973007"/>
              <a:gd name="connsiteX17570" fmla="*/ 1375130 w 6884782"/>
              <a:gd name="connsiteY17570" fmla="*/ 4438413 h 5973007"/>
              <a:gd name="connsiteX17571" fmla="*/ 1377145 w 6884782"/>
              <a:gd name="connsiteY17571" fmla="*/ 4437071 h 5973007"/>
              <a:gd name="connsiteX17572" fmla="*/ 1073548 w 6884782"/>
              <a:gd name="connsiteY17572" fmla="*/ 4436864 h 5973007"/>
              <a:gd name="connsiteX17573" fmla="*/ 1077110 w 6884782"/>
              <a:gd name="connsiteY17573" fmla="*/ 4440478 h 5973007"/>
              <a:gd name="connsiteX17574" fmla="*/ 1078814 w 6884782"/>
              <a:gd name="connsiteY17574" fmla="*/ 4441407 h 5973007"/>
              <a:gd name="connsiteX17575" fmla="*/ 1077265 w 6884782"/>
              <a:gd name="connsiteY17575" fmla="*/ 4442234 h 5973007"/>
              <a:gd name="connsiteX17576" fmla="*/ 1075406 w 6884782"/>
              <a:gd name="connsiteY17576" fmla="*/ 4439549 h 5973007"/>
              <a:gd name="connsiteX17577" fmla="*/ 1073857 w 6884782"/>
              <a:gd name="connsiteY17577" fmla="*/ 4440375 h 5973007"/>
              <a:gd name="connsiteX17578" fmla="*/ 1072928 w 6884782"/>
              <a:gd name="connsiteY17578" fmla="*/ 4439445 h 5973007"/>
              <a:gd name="connsiteX17579" fmla="*/ 1073548 w 6884782"/>
              <a:gd name="connsiteY17579" fmla="*/ 4436864 h 5973007"/>
              <a:gd name="connsiteX17580" fmla="*/ 5497686 w 6884782"/>
              <a:gd name="connsiteY17580" fmla="*/ 4436675 h 5973007"/>
              <a:gd name="connsiteX17581" fmla="*/ 5500319 w 6884782"/>
              <a:gd name="connsiteY17581" fmla="*/ 4436675 h 5973007"/>
              <a:gd name="connsiteX17582" fmla="*/ 5499235 w 6884782"/>
              <a:gd name="connsiteY17582" fmla="*/ 4438431 h 5973007"/>
              <a:gd name="connsiteX17583" fmla="*/ 5495207 w 6884782"/>
              <a:gd name="connsiteY17583" fmla="*/ 4442768 h 5973007"/>
              <a:gd name="connsiteX17584" fmla="*/ 5494123 w 6884782"/>
              <a:gd name="connsiteY17584" fmla="*/ 4441322 h 5973007"/>
              <a:gd name="connsiteX17585" fmla="*/ 5494743 w 6884782"/>
              <a:gd name="connsiteY17585" fmla="*/ 4440083 h 5973007"/>
              <a:gd name="connsiteX17586" fmla="*/ 5496601 w 6884782"/>
              <a:gd name="connsiteY17586" fmla="*/ 4438328 h 5973007"/>
              <a:gd name="connsiteX17587" fmla="*/ 5497686 w 6884782"/>
              <a:gd name="connsiteY17587" fmla="*/ 4436675 h 5973007"/>
              <a:gd name="connsiteX17588" fmla="*/ 5970584 w 6884782"/>
              <a:gd name="connsiteY17588" fmla="*/ 4436159 h 5973007"/>
              <a:gd name="connsiteX17589" fmla="*/ 5974767 w 6884782"/>
              <a:gd name="connsiteY17589" fmla="*/ 4438431 h 5973007"/>
              <a:gd name="connsiteX17590" fmla="*/ 5975851 w 6884782"/>
              <a:gd name="connsiteY17590" fmla="*/ 4441838 h 5973007"/>
              <a:gd name="connsiteX17591" fmla="*/ 5976625 w 6884782"/>
              <a:gd name="connsiteY17591" fmla="*/ 4443284 h 5973007"/>
              <a:gd name="connsiteX17592" fmla="*/ 5989946 w 6884782"/>
              <a:gd name="connsiteY17592" fmla="*/ 4438121 h 5973007"/>
              <a:gd name="connsiteX17593" fmla="*/ 5991185 w 6884782"/>
              <a:gd name="connsiteY17593" fmla="*/ 4442045 h 5973007"/>
              <a:gd name="connsiteX17594" fmla="*/ 5991650 w 6884782"/>
              <a:gd name="connsiteY17594" fmla="*/ 4446691 h 5973007"/>
              <a:gd name="connsiteX17595" fmla="*/ 5995832 w 6884782"/>
              <a:gd name="connsiteY17595" fmla="*/ 4449686 h 5973007"/>
              <a:gd name="connsiteX17596" fmla="*/ 5996762 w 6884782"/>
              <a:gd name="connsiteY17596" fmla="*/ 4456707 h 5973007"/>
              <a:gd name="connsiteX17597" fmla="*/ 5991031 w 6884782"/>
              <a:gd name="connsiteY17597" fmla="*/ 4458359 h 5973007"/>
              <a:gd name="connsiteX17598" fmla="*/ 5986693 w 6884782"/>
              <a:gd name="connsiteY17598" fmla="*/ 4458153 h 5973007"/>
              <a:gd name="connsiteX17599" fmla="*/ 5980807 w 6884782"/>
              <a:gd name="connsiteY17599" fmla="*/ 4453197 h 5973007"/>
              <a:gd name="connsiteX17600" fmla="*/ 5983596 w 6884782"/>
              <a:gd name="connsiteY17600" fmla="*/ 4450202 h 5973007"/>
              <a:gd name="connsiteX17601" fmla="*/ 5970429 w 6884782"/>
              <a:gd name="connsiteY17601" fmla="*/ 4454745 h 5973007"/>
              <a:gd name="connsiteX17602" fmla="*/ 5959432 w 6884782"/>
              <a:gd name="connsiteY17602" fmla="*/ 4458359 h 5973007"/>
              <a:gd name="connsiteX17603" fmla="*/ 5960826 w 6884782"/>
              <a:gd name="connsiteY17603" fmla="*/ 4461354 h 5973007"/>
              <a:gd name="connsiteX17604" fmla="*/ 5962220 w 6884782"/>
              <a:gd name="connsiteY17604" fmla="*/ 4473331 h 5973007"/>
              <a:gd name="connsiteX17605" fmla="*/ 5960516 w 6884782"/>
              <a:gd name="connsiteY17605" fmla="*/ 4481075 h 5973007"/>
              <a:gd name="connsiteX17606" fmla="*/ 5952152 w 6884782"/>
              <a:gd name="connsiteY17606" fmla="*/ 4467136 h 5973007"/>
              <a:gd name="connsiteX17607" fmla="*/ 5936972 w 6884782"/>
              <a:gd name="connsiteY17607" fmla="*/ 4473744 h 5973007"/>
              <a:gd name="connsiteX17608" fmla="*/ 5950912 w 6884782"/>
              <a:gd name="connsiteY17608" fmla="*/ 4459082 h 5973007"/>
              <a:gd name="connsiteX17609" fmla="*/ 5952307 w 6884782"/>
              <a:gd name="connsiteY17609" fmla="*/ 4451647 h 5973007"/>
              <a:gd name="connsiteX17610" fmla="*/ 5953391 w 6884782"/>
              <a:gd name="connsiteY17610" fmla="*/ 4450615 h 5973007"/>
              <a:gd name="connsiteX17611" fmla="*/ 5953236 w 6884782"/>
              <a:gd name="connsiteY17611" fmla="*/ 4446381 h 5973007"/>
              <a:gd name="connsiteX17612" fmla="*/ 5959122 w 6884782"/>
              <a:gd name="connsiteY17612" fmla="*/ 4449273 h 5973007"/>
              <a:gd name="connsiteX17613" fmla="*/ 5958347 w 6884782"/>
              <a:gd name="connsiteY17613" fmla="*/ 4450925 h 5973007"/>
              <a:gd name="connsiteX17614" fmla="*/ 5956489 w 6884782"/>
              <a:gd name="connsiteY17614" fmla="*/ 4451957 h 5973007"/>
              <a:gd name="connsiteX17615" fmla="*/ 5957418 w 6884782"/>
              <a:gd name="connsiteY17615" fmla="*/ 4453816 h 5973007"/>
              <a:gd name="connsiteX17616" fmla="*/ 5958192 w 6884782"/>
              <a:gd name="connsiteY17616" fmla="*/ 4452887 h 5973007"/>
              <a:gd name="connsiteX17617" fmla="*/ 5965318 w 6884782"/>
              <a:gd name="connsiteY17617" fmla="*/ 4448343 h 5973007"/>
              <a:gd name="connsiteX17618" fmla="*/ 5969655 w 6884782"/>
              <a:gd name="connsiteY17618" fmla="*/ 4446278 h 5973007"/>
              <a:gd name="connsiteX17619" fmla="*/ 5967796 w 6884782"/>
              <a:gd name="connsiteY17619" fmla="*/ 4445349 h 5973007"/>
              <a:gd name="connsiteX17620" fmla="*/ 5963459 w 6884782"/>
              <a:gd name="connsiteY17620" fmla="*/ 4439670 h 5973007"/>
              <a:gd name="connsiteX17621" fmla="*/ 5970584 w 6884782"/>
              <a:gd name="connsiteY17621" fmla="*/ 4436159 h 5973007"/>
              <a:gd name="connsiteX17622" fmla="*/ 1462027 w 6884782"/>
              <a:gd name="connsiteY17622" fmla="*/ 4436141 h 5973007"/>
              <a:gd name="connsiteX17623" fmla="*/ 1466674 w 6884782"/>
              <a:gd name="connsiteY17623" fmla="*/ 4440994 h 5973007"/>
              <a:gd name="connsiteX17624" fmla="*/ 1470237 w 6884782"/>
              <a:gd name="connsiteY17624" fmla="*/ 4446467 h 5973007"/>
              <a:gd name="connsiteX17625" fmla="*/ 1465900 w 6884782"/>
              <a:gd name="connsiteY17625" fmla="*/ 4445021 h 5973007"/>
              <a:gd name="connsiteX17626" fmla="*/ 1466055 w 6884782"/>
              <a:gd name="connsiteY17626" fmla="*/ 4445125 h 5973007"/>
              <a:gd name="connsiteX17627" fmla="*/ 1466055 w 6884782"/>
              <a:gd name="connsiteY17627" fmla="*/ 4447086 h 5973007"/>
              <a:gd name="connsiteX17628" fmla="*/ 1463576 w 6884782"/>
              <a:gd name="connsiteY17628" fmla="*/ 4446570 h 5973007"/>
              <a:gd name="connsiteX17629" fmla="*/ 1463266 w 6884782"/>
              <a:gd name="connsiteY17629" fmla="*/ 4444608 h 5973007"/>
              <a:gd name="connsiteX17630" fmla="*/ 1462338 w 6884782"/>
              <a:gd name="connsiteY17630" fmla="*/ 4444505 h 5973007"/>
              <a:gd name="connsiteX17631" fmla="*/ 1459704 w 6884782"/>
              <a:gd name="connsiteY17631" fmla="*/ 4445434 h 5973007"/>
              <a:gd name="connsiteX17632" fmla="*/ 1461098 w 6884782"/>
              <a:gd name="connsiteY17632" fmla="*/ 4447190 h 5973007"/>
              <a:gd name="connsiteX17633" fmla="*/ 1460788 w 6884782"/>
              <a:gd name="connsiteY17633" fmla="*/ 4451320 h 5973007"/>
              <a:gd name="connsiteX17634" fmla="*/ 1460478 w 6884782"/>
              <a:gd name="connsiteY17634" fmla="*/ 4451526 h 5973007"/>
              <a:gd name="connsiteX17635" fmla="*/ 1460478 w 6884782"/>
              <a:gd name="connsiteY17635" fmla="*/ 4452249 h 5973007"/>
              <a:gd name="connsiteX17636" fmla="*/ 1460478 w 6884782"/>
              <a:gd name="connsiteY17636" fmla="*/ 4452662 h 5973007"/>
              <a:gd name="connsiteX17637" fmla="*/ 1461562 w 6884782"/>
              <a:gd name="connsiteY17637" fmla="*/ 4453075 h 5973007"/>
              <a:gd name="connsiteX17638" fmla="*/ 1464506 w 6884782"/>
              <a:gd name="connsiteY17638" fmla="*/ 4450184 h 5973007"/>
              <a:gd name="connsiteX17639" fmla="*/ 1470237 w 6884782"/>
              <a:gd name="connsiteY17639" fmla="*/ 4446467 h 5973007"/>
              <a:gd name="connsiteX17640" fmla="*/ 1471321 w 6884782"/>
              <a:gd name="connsiteY17640" fmla="*/ 4445641 h 5973007"/>
              <a:gd name="connsiteX17641" fmla="*/ 1478447 w 6884782"/>
              <a:gd name="connsiteY17641" fmla="*/ 4440168 h 5973007"/>
              <a:gd name="connsiteX17642" fmla="*/ 1498118 w 6884782"/>
              <a:gd name="connsiteY17642" fmla="*/ 4442130 h 5973007"/>
              <a:gd name="connsiteX17643" fmla="*/ 1517945 w 6884782"/>
              <a:gd name="connsiteY17643" fmla="*/ 4460613 h 5973007"/>
              <a:gd name="connsiteX17644" fmla="*/ 1521353 w 6884782"/>
              <a:gd name="connsiteY17644" fmla="*/ 4491693 h 5973007"/>
              <a:gd name="connsiteX17645" fmla="*/ 1516706 w 6884782"/>
              <a:gd name="connsiteY17645" fmla="*/ 4496030 h 5973007"/>
              <a:gd name="connsiteX17646" fmla="*/ 1516550 w 6884782"/>
              <a:gd name="connsiteY17646" fmla="*/ 4496340 h 5973007"/>
              <a:gd name="connsiteX17647" fmla="*/ 1514537 w 6884782"/>
              <a:gd name="connsiteY17647" fmla="*/ 4499024 h 5973007"/>
              <a:gd name="connsiteX17648" fmla="*/ 1514227 w 6884782"/>
              <a:gd name="connsiteY17648" fmla="*/ 4498611 h 5973007"/>
              <a:gd name="connsiteX17649" fmla="*/ 1509581 w 6884782"/>
              <a:gd name="connsiteY17649" fmla="*/ 4505013 h 5973007"/>
              <a:gd name="connsiteX17650" fmla="*/ 1510510 w 6884782"/>
              <a:gd name="connsiteY17650" fmla="*/ 4506252 h 5973007"/>
              <a:gd name="connsiteX17651" fmla="*/ 1512059 w 6884782"/>
              <a:gd name="connsiteY17651" fmla="*/ 4510589 h 5973007"/>
              <a:gd name="connsiteX17652" fmla="*/ 1511284 w 6884782"/>
              <a:gd name="connsiteY17652" fmla="*/ 4510899 h 5973007"/>
              <a:gd name="connsiteX17653" fmla="*/ 1509271 w 6884782"/>
              <a:gd name="connsiteY17653" fmla="*/ 4507388 h 5973007"/>
              <a:gd name="connsiteX17654" fmla="*/ 1508496 w 6884782"/>
              <a:gd name="connsiteY17654" fmla="*/ 4506252 h 5973007"/>
              <a:gd name="connsiteX17655" fmla="*/ 1506173 w 6884782"/>
              <a:gd name="connsiteY17655" fmla="*/ 4508834 h 5973007"/>
              <a:gd name="connsiteX17656" fmla="*/ 1508961 w 6884782"/>
              <a:gd name="connsiteY17656" fmla="*/ 4514100 h 5973007"/>
              <a:gd name="connsiteX17657" fmla="*/ 1503850 w 6884782"/>
              <a:gd name="connsiteY17657" fmla="*/ 4511931 h 5973007"/>
              <a:gd name="connsiteX17658" fmla="*/ 1503539 w 6884782"/>
              <a:gd name="connsiteY17658" fmla="*/ 4511518 h 5973007"/>
              <a:gd name="connsiteX17659" fmla="*/ 1503385 w 6884782"/>
              <a:gd name="connsiteY17659" fmla="*/ 4511621 h 5973007"/>
              <a:gd name="connsiteX17660" fmla="*/ 1495175 w 6884782"/>
              <a:gd name="connsiteY17660" fmla="*/ 4514409 h 5973007"/>
              <a:gd name="connsiteX17661" fmla="*/ 1483868 w 6884782"/>
              <a:gd name="connsiteY17661" fmla="*/ 4509866 h 5973007"/>
              <a:gd name="connsiteX17662" fmla="*/ 1483403 w 6884782"/>
              <a:gd name="connsiteY17662" fmla="*/ 4509866 h 5973007"/>
              <a:gd name="connsiteX17663" fmla="*/ 1483558 w 6884782"/>
              <a:gd name="connsiteY17663" fmla="*/ 4510176 h 5973007"/>
              <a:gd name="connsiteX17664" fmla="*/ 1482938 w 6884782"/>
              <a:gd name="connsiteY17664" fmla="*/ 4510382 h 5973007"/>
              <a:gd name="connsiteX17665" fmla="*/ 1481854 w 6884782"/>
              <a:gd name="connsiteY17665" fmla="*/ 4510692 h 5973007"/>
              <a:gd name="connsiteX17666" fmla="*/ 1481389 w 6884782"/>
              <a:gd name="connsiteY17666" fmla="*/ 4510692 h 5973007"/>
              <a:gd name="connsiteX17667" fmla="*/ 1480615 w 6884782"/>
              <a:gd name="connsiteY17667" fmla="*/ 4509763 h 5973007"/>
              <a:gd name="connsiteX17668" fmla="*/ 1479066 w 6884782"/>
              <a:gd name="connsiteY17668" fmla="*/ 4509660 h 5973007"/>
              <a:gd name="connsiteX17669" fmla="*/ 1474419 w 6884782"/>
              <a:gd name="connsiteY17669" fmla="*/ 4509040 h 5973007"/>
              <a:gd name="connsiteX17670" fmla="*/ 1466055 w 6884782"/>
              <a:gd name="connsiteY17670" fmla="*/ 4499850 h 5973007"/>
              <a:gd name="connsiteX17671" fmla="*/ 1463886 w 6884782"/>
              <a:gd name="connsiteY17671" fmla="*/ 4496443 h 5973007"/>
              <a:gd name="connsiteX17672" fmla="*/ 1461717 w 6884782"/>
              <a:gd name="connsiteY17672" fmla="*/ 4493862 h 5973007"/>
              <a:gd name="connsiteX17673" fmla="*/ 1461562 w 6884782"/>
              <a:gd name="connsiteY17673" fmla="*/ 4493552 h 5973007"/>
              <a:gd name="connsiteX17674" fmla="*/ 1455522 w 6884782"/>
              <a:gd name="connsiteY17674" fmla="*/ 4489731 h 5973007"/>
              <a:gd name="connsiteX17675" fmla="*/ 1451804 w 6884782"/>
              <a:gd name="connsiteY17675" fmla="*/ 4483536 h 5973007"/>
              <a:gd name="connsiteX17676" fmla="*/ 1452889 w 6884782"/>
              <a:gd name="connsiteY17676" fmla="*/ 4476102 h 5973007"/>
              <a:gd name="connsiteX17677" fmla="*/ 1453198 w 6884782"/>
              <a:gd name="connsiteY17677" fmla="*/ 4475792 h 5973007"/>
              <a:gd name="connsiteX17678" fmla="*/ 1452889 w 6884782"/>
              <a:gd name="connsiteY17678" fmla="*/ 4471351 h 5973007"/>
              <a:gd name="connsiteX17679" fmla="*/ 1453818 w 6884782"/>
              <a:gd name="connsiteY17679" fmla="*/ 4465982 h 5973007"/>
              <a:gd name="connsiteX17680" fmla="*/ 1455057 w 6884782"/>
              <a:gd name="connsiteY17680" fmla="*/ 4467841 h 5973007"/>
              <a:gd name="connsiteX17681" fmla="*/ 1455057 w 6884782"/>
              <a:gd name="connsiteY17681" fmla="*/ 4463917 h 5973007"/>
              <a:gd name="connsiteX17682" fmla="*/ 1455212 w 6884782"/>
              <a:gd name="connsiteY17682" fmla="*/ 4463607 h 5973007"/>
              <a:gd name="connsiteX17683" fmla="*/ 1453508 w 6884782"/>
              <a:gd name="connsiteY17683" fmla="*/ 4457412 h 5973007"/>
              <a:gd name="connsiteX17684" fmla="*/ 1454127 w 6884782"/>
              <a:gd name="connsiteY17684" fmla="*/ 4455553 h 5973007"/>
              <a:gd name="connsiteX17685" fmla="*/ 1452424 w 6884782"/>
              <a:gd name="connsiteY17685" fmla="*/ 4453178 h 5973007"/>
              <a:gd name="connsiteX17686" fmla="*/ 1449326 w 6884782"/>
              <a:gd name="connsiteY17686" fmla="*/ 4442234 h 5973007"/>
              <a:gd name="connsiteX17687" fmla="*/ 1452734 w 6884782"/>
              <a:gd name="connsiteY17687" fmla="*/ 4442749 h 5973007"/>
              <a:gd name="connsiteX17688" fmla="*/ 1452579 w 6884782"/>
              <a:gd name="connsiteY17688" fmla="*/ 4444505 h 5973007"/>
              <a:gd name="connsiteX17689" fmla="*/ 1454282 w 6884782"/>
              <a:gd name="connsiteY17689" fmla="*/ 4447086 h 5973007"/>
              <a:gd name="connsiteX17690" fmla="*/ 1454902 w 6884782"/>
              <a:gd name="connsiteY17690" fmla="*/ 4448739 h 5973007"/>
              <a:gd name="connsiteX17691" fmla="*/ 1455367 w 6884782"/>
              <a:gd name="connsiteY17691" fmla="*/ 4446880 h 5973007"/>
              <a:gd name="connsiteX17692" fmla="*/ 1456606 w 6884782"/>
              <a:gd name="connsiteY17692" fmla="*/ 4444815 h 5973007"/>
              <a:gd name="connsiteX17693" fmla="*/ 1458465 w 6884782"/>
              <a:gd name="connsiteY17693" fmla="*/ 4444815 h 5973007"/>
              <a:gd name="connsiteX17694" fmla="*/ 1458929 w 6884782"/>
              <a:gd name="connsiteY17694" fmla="*/ 4444815 h 5973007"/>
              <a:gd name="connsiteX17695" fmla="*/ 1459549 w 6884782"/>
              <a:gd name="connsiteY17695" fmla="*/ 4440478 h 5973007"/>
              <a:gd name="connsiteX17696" fmla="*/ 1460169 w 6884782"/>
              <a:gd name="connsiteY17696" fmla="*/ 4439445 h 5973007"/>
              <a:gd name="connsiteX17697" fmla="*/ 1460014 w 6884782"/>
              <a:gd name="connsiteY17697" fmla="*/ 4438929 h 5973007"/>
              <a:gd name="connsiteX17698" fmla="*/ 1459859 w 6884782"/>
              <a:gd name="connsiteY17698" fmla="*/ 4437793 h 5973007"/>
              <a:gd name="connsiteX17699" fmla="*/ 1460633 w 6884782"/>
              <a:gd name="connsiteY17699" fmla="*/ 4438310 h 5973007"/>
              <a:gd name="connsiteX17700" fmla="*/ 1460788 w 6884782"/>
              <a:gd name="connsiteY17700" fmla="*/ 4438413 h 5973007"/>
              <a:gd name="connsiteX17701" fmla="*/ 5653976 w 6884782"/>
              <a:gd name="connsiteY17701" fmla="*/ 4435849 h 5973007"/>
              <a:gd name="connsiteX17702" fmla="*/ 5640036 w 6884782"/>
              <a:gd name="connsiteY17702" fmla="*/ 4455881 h 5973007"/>
              <a:gd name="connsiteX17703" fmla="*/ 5631981 w 6884782"/>
              <a:gd name="connsiteY17703" fmla="*/ 4453919 h 5973007"/>
              <a:gd name="connsiteX17704" fmla="*/ 5631981 w 6884782"/>
              <a:gd name="connsiteY17704" fmla="*/ 4445452 h 5973007"/>
              <a:gd name="connsiteX17705" fmla="*/ 5653976 w 6884782"/>
              <a:gd name="connsiteY17705" fmla="*/ 4435849 h 5973007"/>
              <a:gd name="connsiteX17706" fmla="*/ 981384 w 6884782"/>
              <a:gd name="connsiteY17706" fmla="*/ 4435832 h 5973007"/>
              <a:gd name="connsiteX17707" fmla="*/ 978286 w 6884782"/>
              <a:gd name="connsiteY17707" fmla="*/ 4440478 h 5973007"/>
              <a:gd name="connsiteX17708" fmla="*/ 980145 w 6884782"/>
              <a:gd name="connsiteY17708" fmla="*/ 4441924 h 5973007"/>
              <a:gd name="connsiteX17709" fmla="*/ 981229 w 6884782"/>
              <a:gd name="connsiteY17709" fmla="*/ 4449255 h 5973007"/>
              <a:gd name="connsiteX17710" fmla="*/ 980919 w 6884782"/>
              <a:gd name="connsiteY17710" fmla="*/ 4450287 h 5973007"/>
              <a:gd name="connsiteX17711" fmla="*/ 991297 w 6884782"/>
              <a:gd name="connsiteY17711" fmla="*/ 4449977 h 5973007"/>
              <a:gd name="connsiteX17712" fmla="*/ 994240 w 6884782"/>
              <a:gd name="connsiteY17712" fmla="*/ 4449668 h 5973007"/>
              <a:gd name="connsiteX17713" fmla="*/ 994705 w 6884782"/>
              <a:gd name="connsiteY17713" fmla="*/ 4448739 h 5973007"/>
              <a:gd name="connsiteX17714" fmla="*/ 997028 w 6884782"/>
              <a:gd name="connsiteY17714" fmla="*/ 4446054 h 5973007"/>
              <a:gd name="connsiteX17715" fmla="*/ 999352 w 6884782"/>
              <a:gd name="connsiteY17715" fmla="*/ 4448532 h 5973007"/>
              <a:gd name="connsiteX17716" fmla="*/ 999507 w 6884782"/>
              <a:gd name="connsiteY17716" fmla="*/ 4449048 h 5973007"/>
              <a:gd name="connsiteX17717" fmla="*/ 999817 w 6884782"/>
              <a:gd name="connsiteY17717" fmla="*/ 4449048 h 5973007"/>
              <a:gd name="connsiteX17718" fmla="*/ 999662 w 6884782"/>
              <a:gd name="connsiteY17718" fmla="*/ 4449461 h 5973007"/>
              <a:gd name="connsiteX17719" fmla="*/ 999972 w 6884782"/>
              <a:gd name="connsiteY17719" fmla="*/ 4450494 h 5973007"/>
              <a:gd name="connsiteX17720" fmla="*/ 999817 w 6884782"/>
              <a:gd name="connsiteY17720" fmla="*/ 4453282 h 5973007"/>
              <a:gd name="connsiteX17721" fmla="*/ 998577 w 6884782"/>
              <a:gd name="connsiteY17721" fmla="*/ 4454934 h 5973007"/>
              <a:gd name="connsiteX17722" fmla="*/ 997028 w 6884782"/>
              <a:gd name="connsiteY17722" fmla="*/ 4456896 h 5973007"/>
              <a:gd name="connsiteX17723" fmla="*/ 996564 w 6884782"/>
              <a:gd name="connsiteY17723" fmla="*/ 4456999 h 5973007"/>
              <a:gd name="connsiteX17724" fmla="*/ 996255 w 6884782"/>
              <a:gd name="connsiteY17724" fmla="*/ 4458444 h 5973007"/>
              <a:gd name="connsiteX17725" fmla="*/ 996255 w 6884782"/>
              <a:gd name="connsiteY17725" fmla="*/ 4467841 h 5973007"/>
              <a:gd name="connsiteX17726" fmla="*/ 997958 w 6884782"/>
              <a:gd name="connsiteY17726" fmla="*/ 4467944 h 5973007"/>
              <a:gd name="connsiteX17727" fmla="*/ 1002140 w 6884782"/>
              <a:gd name="connsiteY17727" fmla="*/ 4469803 h 5973007"/>
              <a:gd name="connsiteX17728" fmla="*/ 997028 w 6884782"/>
              <a:gd name="connsiteY17728" fmla="*/ 4476102 h 5973007"/>
              <a:gd name="connsiteX17729" fmla="*/ 995170 w 6884782"/>
              <a:gd name="connsiteY17729" fmla="*/ 4475895 h 5973007"/>
              <a:gd name="connsiteX17730" fmla="*/ 994550 w 6884782"/>
              <a:gd name="connsiteY17730" fmla="*/ 4477547 h 5973007"/>
              <a:gd name="connsiteX17731" fmla="*/ 992072 w 6884782"/>
              <a:gd name="connsiteY17731" fmla="*/ 4481161 h 5973007"/>
              <a:gd name="connsiteX17732" fmla="*/ 966979 w 6884782"/>
              <a:gd name="connsiteY17732" fmla="*/ 4482194 h 5973007"/>
              <a:gd name="connsiteX17733" fmla="*/ 966514 w 6884782"/>
              <a:gd name="connsiteY17733" fmla="*/ 4481677 h 5973007"/>
              <a:gd name="connsiteX17734" fmla="*/ 965275 w 6884782"/>
              <a:gd name="connsiteY17734" fmla="*/ 4483846 h 5973007"/>
              <a:gd name="connsiteX17735" fmla="*/ 966979 w 6884782"/>
              <a:gd name="connsiteY17735" fmla="*/ 4483949 h 5973007"/>
              <a:gd name="connsiteX17736" fmla="*/ 968218 w 6884782"/>
              <a:gd name="connsiteY17736" fmla="*/ 4489215 h 5973007"/>
              <a:gd name="connsiteX17737" fmla="*/ 963416 w 6884782"/>
              <a:gd name="connsiteY17737" fmla="*/ 4489421 h 5973007"/>
              <a:gd name="connsiteX17738" fmla="*/ 961712 w 6884782"/>
              <a:gd name="connsiteY17738" fmla="*/ 4488182 h 5973007"/>
              <a:gd name="connsiteX17739" fmla="*/ 956911 w 6884782"/>
              <a:gd name="connsiteY17739" fmla="*/ 4490867 h 5973007"/>
              <a:gd name="connsiteX17740" fmla="*/ 952728 w 6884782"/>
              <a:gd name="connsiteY17740" fmla="*/ 4491280 h 5973007"/>
              <a:gd name="connsiteX17741" fmla="*/ 947927 w 6884782"/>
              <a:gd name="connsiteY17741" fmla="*/ 4490764 h 5973007"/>
              <a:gd name="connsiteX17742" fmla="*/ 935999 w 6884782"/>
              <a:gd name="connsiteY17742" fmla="*/ 4482503 h 5973007"/>
              <a:gd name="connsiteX17743" fmla="*/ 933521 w 6884782"/>
              <a:gd name="connsiteY17743" fmla="*/ 4479922 h 5973007"/>
              <a:gd name="connsiteX17744" fmla="*/ 932282 w 6884782"/>
              <a:gd name="connsiteY17744" fmla="*/ 4479612 h 5973007"/>
              <a:gd name="connsiteX17745" fmla="*/ 929339 w 6884782"/>
              <a:gd name="connsiteY17745" fmla="*/ 4478270 h 5973007"/>
              <a:gd name="connsiteX17746" fmla="*/ 928874 w 6884782"/>
              <a:gd name="connsiteY17746" fmla="*/ 4476824 h 5973007"/>
              <a:gd name="connsiteX17747" fmla="*/ 931043 w 6884782"/>
              <a:gd name="connsiteY17747" fmla="*/ 4477134 h 5973007"/>
              <a:gd name="connsiteX17748" fmla="*/ 930269 w 6884782"/>
              <a:gd name="connsiteY17748" fmla="*/ 4476514 h 5973007"/>
              <a:gd name="connsiteX17749" fmla="*/ 923453 w 6884782"/>
              <a:gd name="connsiteY17749" fmla="*/ 4470422 h 5973007"/>
              <a:gd name="connsiteX17750" fmla="*/ 933831 w 6884782"/>
              <a:gd name="connsiteY17750" fmla="*/ 4464434 h 5973007"/>
              <a:gd name="connsiteX17751" fmla="*/ 936464 w 6884782"/>
              <a:gd name="connsiteY17751" fmla="*/ 4461026 h 5973007"/>
              <a:gd name="connsiteX17752" fmla="*/ 935844 w 6884782"/>
              <a:gd name="connsiteY17752" fmla="*/ 4460303 h 5973007"/>
              <a:gd name="connsiteX17753" fmla="*/ 935690 w 6884782"/>
              <a:gd name="connsiteY17753" fmla="*/ 4460510 h 5973007"/>
              <a:gd name="connsiteX17754" fmla="*/ 932592 w 6884782"/>
              <a:gd name="connsiteY17754" fmla="*/ 4454831 h 5973007"/>
              <a:gd name="connsiteX17755" fmla="*/ 941266 w 6884782"/>
              <a:gd name="connsiteY17755" fmla="*/ 4455244 h 5973007"/>
              <a:gd name="connsiteX17756" fmla="*/ 941576 w 6884782"/>
              <a:gd name="connsiteY17756" fmla="*/ 4455450 h 5973007"/>
              <a:gd name="connsiteX17757" fmla="*/ 944519 w 6884782"/>
              <a:gd name="connsiteY17757" fmla="*/ 4453901 h 5973007"/>
              <a:gd name="connsiteX17758" fmla="*/ 948546 w 6884782"/>
              <a:gd name="connsiteY17758" fmla="*/ 4453385 h 5973007"/>
              <a:gd name="connsiteX17759" fmla="*/ 954587 w 6884782"/>
              <a:gd name="connsiteY17759" fmla="*/ 4454831 h 5973007"/>
              <a:gd name="connsiteX17760" fmla="*/ 954897 w 6884782"/>
              <a:gd name="connsiteY17760" fmla="*/ 4452869 h 5973007"/>
              <a:gd name="connsiteX17761" fmla="*/ 958770 w 6884782"/>
              <a:gd name="connsiteY17761" fmla="*/ 4456793 h 5973007"/>
              <a:gd name="connsiteX17762" fmla="*/ 958615 w 6884782"/>
              <a:gd name="connsiteY17762" fmla="*/ 4456999 h 5973007"/>
              <a:gd name="connsiteX17763" fmla="*/ 962022 w 6884782"/>
              <a:gd name="connsiteY17763" fmla="*/ 4459787 h 5973007"/>
              <a:gd name="connsiteX17764" fmla="*/ 963571 w 6884782"/>
              <a:gd name="connsiteY17764" fmla="*/ 4453592 h 5973007"/>
              <a:gd name="connsiteX17765" fmla="*/ 966205 w 6884782"/>
              <a:gd name="connsiteY17765" fmla="*/ 4447396 h 5973007"/>
              <a:gd name="connsiteX17766" fmla="*/ 972555 w 6884782"/>
              <a:gd name="connsiteY17766" fmla="*/ 4438103 h 5973007"/>
              <a:gd name="connsiteX17767" fmla="*/ 972865 w 6884782"/>
              <a:gd name="connsiteY17767" fmla="*/ 4438103 h 5973007"/>
              <a:gd name="connsiteX17768" fmla="*/ 974259 w 6884782"/>
              <a:gd name="connsiteY17768" fmla="*/ 4436038 h 5973007"/>
              <a:gd name="connsiteX17769" fmla="*/ 981384 w 6884782"/>
              <a:gd name="connsiteY17769" fmla="*/ 4435832 h 5973007"/>
              <a:gd name="connsiteX17770" fmla="*/ 1034204 w 6884782"/>
              <a:gd name="connsiteY17770" fmla="*/ 4435728 h 5973007"/>
              <a:gd name="connsiteX17771" fmla="*/ 1058832 w 6884782"/>
              <a:gd name="connsiteY17771" fmla="*/ 4443782 h 5973007"/>
              <a:gd name="connsiteX17772" fmla="*/ 1050468 w 6884782"/>
              <a:gd name="connsiteY17772" fmla="*/ 4451216 h 5973007"/>
              <a:gd name="connsiteX17773" fmla="*/ 1034513 w 6884782"/>
              <a:gd name="connsiteY17773" fmla="*/ 4441201 h 5973007"/>
              <a:gd name="connsiteX17774" fmla="*/ 1034359 w 6884782"/>
              <a:gd name="connsiteY17774" fmla="*/ 4437897 h 5973007"/>
              <a:gd name="connsiteX17775" fmla="*/ 1033894 w 6884782"/>
              <a:gd name="connsiteY17775" fmla="*/ 4437897 h 5973007"/>
              <a:gd name="connsiteX17776" fmla="*/ 1032964 w 6884782"/>
              <a:gd name="connsiteY17776" fmla="*/ 4437380 h 5973007"/>
              <a:gd name="connsiteX17777" fmla="*/ 1027078 w 6884782"/>
              <a:gd name="connsiteY17777" fmla="*/ 4439136 h 5973007"/>
              <a:gd name="connsiteX17778" fmla="*/ 1025684 w 6884782"/>
              <a:gd name="connsiteY17778" fmla="*/ 4438103 h 5973007"/>
              <a:gd name="connsiteX17779" fmla="*/ 1027388 w 6884782"/>
              <a:gd name="connsiteY17779" fmla="*/ 4436038 h 5973007"/>
              <a:gd name="connsiteX17780" fmla="*/ 1030022 w 6884782"/>
              <a:gd name="connsiteY17780" fmla="*/ 4437277 h 5973007"/>
              <a:gd name="connsiteX17781" fmla="*/ 1033429 w 6884782"/>
              <a:gd name="connsiteY17781" fmla="*/ 4436244 h 5973007"/>
              <a:gd name="connsiteX17782" fmla="*/ 1034359 w 6884782"/>
              <a:gd name="connsiteY17782" fmla="*/ 4436554 h 5973007"/>
              <a:gd name="connsiteX17783" fmla="*/ 1197619 w 6884782"/>
              <a:gd name="connsiteY17783" fmla="*/ 4435418 h 5973007"/>
              <a:gd name="connsiteX17784" fmla="*/ 1192198 w 6884782"/>
              <a:gd name="connsiteY17784" fmla="*/ 4454727 h 5973007"/>
              <a:gd name="connsiteX17785" fmla="*/ 1193437 w 6884782"/>
              <a:gd name="connsiteY17785" fmla="*/ 4465260 h 5973007"/>
              <a:gd name="connsiteX17786" fmla="*/ 1182130 w 6884782"/>
              <a:gd name="connsiteY17786" fmla="*/ 4458341 h 5973007"/>
              <a:gd name="connsiteX17787" fmla="*/ 1179806 w 6884782"/>
              <a:gd name="connsiteY17787" fmla="*/ 4455347 h 5973007"/>
              <a:gd name="connsiteX17788" fmla="*/ 1179651 w 6884782"/>
              <a:gd name="connsiteY17788" fmla="*/ 4455450 h 5973007"/>
              <a:gd name="connsiteX17789" fmla="*/ 1175934 w 6884782"/>
              <a:gd name="connsiteY17789" fmla="*/ 4458548 h 5973007"/>
              <a:gd name="connsiteX17790" fmla="*/ 1173301 w 6884782"/>
              <a:gd name="connsiteY17790" fmla="*/ 4458238 h 5973007"/>
              <a:gd name="connsiteX17791" fmla="*/ 1170667 w 6884782"/>
              <a:gd name="connsiteY17791" fmla="*/ 4453592 h 5973007"/>
              <a:gd name="connsiteX17792" fmla="*/ 1170822 w 6884782"/>
              <a:gd name="connsiteY17792" fmla="*/ 4451836 h 5973007"/>
              <a:gd name="connsiteX17793" fmla="*/ 1170667 w 6884782"/>
              <a:gd name="connsiteY17793" fmla="*/ 4451836 h 5973007"/>
              <a:gd name="connsiteX17794" fmla="*/ 1170977 w 6884782"/>
              <a:gd name="connsiteY17794" fmla="*/ 4451526 h 5973007"/>
              <a:gd name="connsiteX17795" fmla="*/ 1170977 w 6884782"/>
              <a:gd name="connsiteY17795" fmla="*/ 4450804 h 5973007"/>
              <a:gd name="connsiteX17796" fmla="*/ 1170203 w 6884782"/>
              <a:gd name="connsiteY17796" fmla="*/ 4451113 h 5973007"/>
              <a:gd name="connsiteX17797" fmla="*/ 1164781 w 6884782"/>
              <a:gd name="connsiteY17797" fmla="*/ 4450494 h 5973007"/>
              <a:gd name="connsiteX17798" fmla="*/ 1167105 w 6884782"/>
              <a:gd name="connsiteY17798" fmla="*/ 4445538 h 5973007"/>
              <a:gd name="connsiteX17799" fmla="*/ 1167724 w 6884782"/>
              <a:gd name="connsiteY17799" fmla="*/ 4445641 h 5973007"/>
              <a:gd name="connsiteX17800" fmla="*/ 1167879 w 6884782"/>
              <a:gd name="connsiteY17800" fmla="*/ 4445538 h 5973007"/>
              <a:gd name="connsiteX17801" fmla="*/ 1168344 w 6884782"/>
              <a:gd name="connsiteY17801" fmla="*/ 4443369 h 5973007"/>
              <a:gd name="connsiteX17802" fmla="*/ 1171597 w 6884782"/>
              <a:gd name="connsiteY17802" fmla="*/ 4444505 h 5973007"/>
              <a:gd name="connsiteX17803" fmla="*/ 1171907 w 6884782"/>
              <a:gd name="connsiteY17803" fmla="*/ 4445434 h 5973007"/>
              <a:gd name="connsiteX17804" fmla="*/ 1172371 w 6884782"/>
              <a:gd name="connsiteY17804" fmla="*/ 4445331 h 5973007"/>
              <a:gd name="connsiteX17805" fmla="*/ 1173146 w 6884782"/>
              <a:gd name="connsiteY17805" fmla="*/ 4443885 h 5973007"/>
              <a:gd name="connsiteX17806" fmla="*/ 1172526 w 6884782"/>
              <a:gd name="connsiteY17806" fmla="*/ 4442234 h 5973007"/>
              <a:gd name="connsiteX17807" fmla="*/ 1175624 w 6884782"/>
              <a:gd name="connsiteY17807" fmla="*/ 4441614 h 5973007"/>
              <a:gd name="connsiteX17808" fmla="*/ 1178257 w 6884782"/>
              <a:gd name="connsiteY17808" fmla="*/ 4440684 h 5973007"/>
              <a:gd name="connsiteX17809" fmla="*/ 1180890 w 6884782"/>
              <a:gd name="connsiteY17809" fmla="*/ 4442234 h 5973007"/>
              <a:gd name="connsiteX17810" fmla="*/ 1180890 w 6884782"/>
              <a:gd name="connsiteY17810" fmla="*/ 4443266 h 5973007"/>
              <a:gd name="connsiteX17811" fmla="*/ 1187242 w 6884782"/>
              <a:gd name="connsiteY17811" fmla="*/ 4448945 h 5973007"/>
              <a:gd name="connsiteX17812" fmla="*/ 1197619 w 6884782"/>
              <a:gd name="connsiteY17812" fmla="*/ 4435418 h 5973007"/>
              <a:gd name="connsiteX17813" fmla="*/ 969302 w 6884782"/>
              <a:gd name="connsiteY17813" fmla="*/ 4434386 h 5973007"/>
              <a:gd name="connsiteX17814" fmla="*/ 968992 w 6884782"/>
              <a:gd name="connsiteY17814" fmla="*/ 4434696 h 5973007"/>
              <a:gd name="connsiteX17815" fmla="*/ 968992 w 6884782"/>
              <a:gd name="connsiteY17815" fmla="*/ 4435418 h 5973007"/>
              <a:gd name="connsiteX17816" fmla="*/ 5460201 w 6884782"/>
              <a:gd name="connsiteY17816" fmla="*/ 4434094 h 5973007"/>
              <a:gd name="connsiteX17817" fmla="*/ 5445176 w 6884782"/>
              <a:gd name="connsiteY17817" fmla="*/ 4441838 h 5973007"/>
              <a:gd name="connsiteX17818" fmla="*/ 5445486 w 6884782"/>
              <a:gd name="connsiteY17818" fmla="*/ 4438328 h 5973007"/>
              <a:gd name="connsiteX17819" fmla="*/ 5447189 w 6884782"/>
              <a:gd name="connsiteY17819" fmla="*/ 4438328 h 5973007"/>
              <a:gd name="connsiteX17820" fmla="*/ 5460201 w 6884782"/>
              <a:gd name="connsiteY17820" fmla="*/ 4434094 h 5973007"/>
              <a:gd name="connsiteX17821" fmla="*/ 1511749 w 6884782"/>
              <a:gd name="connsiteY17821" fmla="*/ 4433766 h 5973007"/>
              <a:gd name="connsiteX17822" fmla="*/ 1512214 w 6884782"/>
              <a:gd name="connsiteY17822" fmla="*/ 4434489 h 5973007"/>
              <a:gd name="connsiteX17823" fmla="*/ 1511904 w 6884782"/>
              <a:gd name="connsiteY17823" fmla="*/ 4435212 h 5973007"/>
              <a:gd name="connsiteX17824" fmla="*/ 1512524 w 6884782"/>
              <a:gd name="connsiteY17824" fmla="*/ 4434696 h 5973007"/>
              <a:gd name="connsiteX17825" fmla="*/ 5946110 w 6884782"/>
              <a:gd name="connsiteY17825" fmla="*/ 4433578 h 5973007"/>
              <a:gd name="connsiteX17826" fmla="*/ 5942858 w 6884782"/>
              <a:gd name="connsiteY17826" fmla="*/ 4438431 h 5973007"/>
              <a:gd name="connsiteX17827" fmla="*/ 5940999 w 6884782"/>
              <a:gd name="connsiteY17827" fmla="*/ 4434920 h 5973007"/>
              <a:gd name="connsiteX17828" fmla="*/ 5946110 w 6884782"/>
              <a:gd name="connsiteY17828" fmla="*/ 4433578 h 5973007"/>
              <a:gd name="connsiteX17829" fmla="*/ 1135197 w 6884782"/>
              <a:gd name="connsiteY17829" fmla="*/ 4433560 h 5973007"/>
              <a:gd name="connsiteX17830" fmla="*/ 1132563 w 6884782"/>
              <a:gd name="connsiteY17830" fmla="*/ 4450494 h 5973007"/>
              <a:gd name="connsiteX17831" fmla="*/ 1131324 w 6884782"/>
              <a:gd name="connsiteY17831" fmla="*/ 4451939 h 5973007"/>
              <a:gd name="connsiteX17832" fmla="*/ 1129310 w 6884782"/>
              <a:gd name="connsiteY17832" fmla="*/ 4451526 h 5973007"/>
              <a:gd name="connsiteX17833" fmla="*/ 1128535 w 6884782"/>
              <a:gd name="connsiteY17833" fmla="*/ 4440168 h 5973007"/>
              <a:gd name="connsiteX17834" fmla="*/ 1129930 w 6884782"/>
              <a:gd name="connsiteY17834" fmla="*/ 4438310 h 5973007"/>
              <a:gd name="connsiteX17835" fmla="*/ 1130549 w 6884782"/>
              <a:gd name="connsiteY17835" fmla="*/ 4436451 h 5973007"/>
              <a:gd name="connsiteX17836" fmla="*/ 1135197 w 6884782"/>
              <a:gd name="connsiteY17836" fmla="*/ 4433560 h 5973007"/>
              <a:gd name="connsiteX17837" fmla="*/ 1698554 w 6884782"/>
              <a:gd name="connsiteY17837" fmla="*/ 4432837 h 5973007"/>
              <a:gd name="connsiteX17838" fmla="*/ 1701187 w 6884782"/>
              <a:gd name="connsiteY17838" fmla="*/ 4434696 h 5973007"/>
              <a:gd name="connsiteX17839" fmla="*/ 1701187 w 6884782"/>
              <a:gd name="connsiteY17839" fmla="*/ 4434799 h 5973007"/>
              <a:gd name="connsiteX17840" fmla="*/ 1702426 w 6884782"/>
              <a:gd name="connsiteY17840" fmla="*/ 4437483 h 5973007"/>
              <a:gd name="connsiteX17841" fmla="*/ 1701032 w 6884782"/>
              <a:gd name="connsiteY17841" fmla="*/ 4441407 h 5973007"/>
              <a:gd name="connsiteX17842" fmla="*/ 1700103 w 6884782"/>
              <a:gd name="connsiteY17842" fmla="*/ 4441304 h 5973007"/>
              <a:gd name="connsiteX17843" fmla="*/ 1700103 w 6884782"/>
              <a:gd name="connsiteY17843" fmla="*/ 4443782 h 5973007"/>
              <a:gd name="connsiteX17844" fmla="*/ 1698554 w 6884782"/>
              <a:gd name="connsiteY17844" fmla="*/ 4450391 h 5973007"/>
              <a:gd name="connsiteX17845" fmla="*/ 1698864 w 6884782"/>
              <a:gd name="connsiteY17845" fmla="*/ 4443782 h 5973007"/>
              <a:gd name="connsiteX17846" fmla="*/ 1699174 w 6884782"/>
              <a:gd name="connsiteY17846" fmla="*/ 4441304 h 5973007"/>
              <a:gd name="connsiteX17847" fmla="*/ 1697934 w 6884782"/>
              <a:gd name="connsiteY17847" fmla="*/ 4441201 h 5973007"/>
              <a:gd name="connsiteX17848" fmla="*/ 1692358 w 6884782"/>
              <a:gd name="connsiteY17848" fmla="*/ 4433457 h 5973007"/>
              <a:gd name="connsiteX17849" fmla="*/ 1698554 w 6884782"/>
              <a:gd name="connsiteY17849" fmla="*/ 4432837 h 5973007"/>
              <a:gd name="connsiteX17850" fmla="*/ 1656577 w 6884782"/>
              <a:gd name="connsiteY17850" fmla="*/ 4431908 h 5973007"/>
              <a:gd name="connsiteX17851" fmla="*/ 1657662 w 6884782"/>
              <a:gd name="connsiteY17851" fmla="*/ 4436244 h 5973007"/>
              <a:gd name="connsiteX17852" fmla="*/ 1655028 w 6884782"/>
              <a:gd name="connsiteY17852" fmla="*/ 4436864 h 5973007"/>
              <a:gd name="connsiteX17853" fmla="*/ 1654253 w 6884782"/>
              <a:gd name="connsiteY17853" fmla="*/ 4433353 h 5973007"/>
              <a:gd name="connsiteX17854" fmla="*/ 1656577 w 6884782"/>
              <a:gd name="connsiteY17854" fmla="*/ 4431908 h 5973007"/>
              <a:gd name="connsiteX17855" fmla="*/ 5757137 w 6884782"/>
              <a:gd name="connsiteY17855" fmla="*/ 4431822 h 5973007"/>
              <a:gd name="connsiteX17856" fmla="*/ 5762249 w 6884782"/>
              <a:gd name="connsiteY17856" fmla="*/ 4437295 h 5973007"/>
              <a:gd name="connsiteX17857" fmla="*/ 5759151 w 6884782"/>
              <a:gd name="connsiteY17857" fmla="*/ 4440702 h 5973007"/>
              <a:gd name="connsiteX17858" fmla="*/ 5753265 w 6884782"/>
              <a:gd name="connsiteY17858" fmla="*/ 4436882 h 5973007"/>
              <a:gd name="connsiteX17859" fmla="*/ 5757137 w 6884782"/>
              <a:gd name="connsiteY17859" fmla="*/ 4431822 h 5973007"/>
              <a:gd name="connsiteX17860" fmla="*/ 1168498 w 6884782"/>
              <a:gd name="connsiteY17860" fmla="*/ 4431495 h 5973007"/>
              <a:gd name="connsiteX17861" fmla="*/ 1171597 w 6884782"/>
              <a:gd name="connsiteY17861" fmla="*/ 4435625 h 5973007"/>
              <a:gd name="connsiteX17862" fmla="*/ 1164317 w 6884782"/>
              <a:gd name="connsiteY17862" fmla="*/ 4439858 h 5973007"/>
              <a:gd name="connsiteX17863" fmla="*/ 1161993 w 6884782"/>
              <a:gd name="connsiteY17863" fmla="*/ 4439755 h 5973007"/>
              <a:gd name="connsiteX17864" fmla="*/ 1168498 w 6884782"/>
              <a:gd name="connsiteY17864" fmla="*/ 4431495 h 5973007"/>
              <a:gd name="connsiteX17865" fmla="*/ 1204900 w 6884782"/>
              <a:gd name="connsiteY17865" fmla="*/ 4431391 h 5973007"/>
              <a:gd name="connsiteX17866" fmla="*/ 1208152 w 6884782"/>
              <a:gd name="connsiteY17866" fmla="*/ 4431908 h 5973007"/>
              <a:gd name="connsiteX17867" fmla="*/ 1208927 w 6884782"/>
              <a:gd name="connsiteY17867" fmla="*/ 4434696 h 5973007"/>
              <a:gd name="connsiteX17868" fmla="*/ 1204900 w 6884782"/>
              <a:gd name="connsiteY17868" fmla="*/ 4431391 h 5973007"/>
              <a:gd name="connsiteX17869" fmla="*/ 5820490 w 6884782"/>
              <a:gd name="connsiteY17869" fmla="*/ 4430996 h 5973007"/>
              <a:gd name="connsiteX17870" fmla="*/ 5822194 w 6884782"/>
              <a:gd name="connsiteY17870" fmla="*/ 4430996 h 5973007"/>
              <a:gd name="connsiteX17871" fmla="*/ 5821109 w 6884782"/>
              <a:gd name="connsiteY17871" fmla="*/ 4434404 h 5973007"/>
              <a:gd name="connsiteX17872" fmla="*/ 5819715 w 6884782"/>
              <a:gd name="connsiteY17872" fmla="*/ 4433578 h 5973007"/>
              <a:gd name="connsiteX17873" fmla="*/ 5819250 w 6884782"/>
              <a:gd name="connsiteY17873" fmla="*/ 4434301 h 5973007"/>
              <a:gd name="connsiteX17874" fmla="*/ 5818476 w 6884782"/>
              <a:gd name="connsiteY17874" fmla="*/ 4432752 h 5973007"/>
              <a:gd name="connsiteX17875" fmla="*/ 5818941 w 6884782"/>
              <a:gd name="connsiteY17875" fmla="*/ 4432029 h 5973007"/>
              <a:gd name="connsiteX17876" fmla="*/ 5818786 w 6884782"/>
              <a:gd name="connsiteY17876" fmla="*/ 4431719 h 5973007"/>
              <a:gd name="connsiteX17877" fmla="*/ 5820490 w 6884782"/>
              <a:gd name="connsiteY17877" fmla="*/ 4430996 h 5973007"/>
              <a:gd name="connsiteX17878" fmla="*/ 1337646 w 6884782"/>
              <a:gd name="connsiteY17878" fmla="*/ 4430978 h 5973007"/>
              <a:gd name="connsiteX17879" fmla="*/ 1344771 w 6884782"/>
              <a:gd name="connsiteY17879" fmla="*/ 4435935 h 5973007"/>
              <a:gd name="connsiteX17880" fmla="*/ 1342912 w 6884782"/>
              <a:gd name="connsiteY17880" fmla="*/ 4436554 h 5973007"/>
              <a:gd name="connsiteX17881" fmla="*/ 1341053 w 6884782"/>
              <a:gd name="connsiteY17881" fmla="*/ 4436038 h 5973007"/>
              <a:gd name="connsiteX17882" fmla="*/ 1338110 w 6884782"/>
              <a:gd name="connsiteY17882" fmla="*/ 4432940 h 5973007"/>
              <a:gd name="connsiteX17883" fmla="*/ 1337646 w 6884782"/>
              <a:gd name="connsiteY17883" fmla="*/ 4430978 h 5973007"/>
              <a:gd name="connsiteX17884" fmla="*/ 1202421 w 6884782"/>
              <a:gd name="connsiteY17884" fmla="*/ 4430875 h 5973007"/>
              <a:gd name="connsiteX17885" fmla="*/ 1204280 w 6884782"/>
              <a:gd name="connsiteY17885" fmla="*/ 4431185 h 5973007"/>
              <a:gd name="connsiteX17886" fmla="*/ 1204280 w 6884782"/>
              <a:gd name="connsiteY17886" fmla="*/ 4431908 h 5973007"/>
              <a:gd name="connsiteX17887" fmla="*/ 1202421 w 6884782"/>
              <a:gd name="connsiteY17887" fmla="*/ 4430875 h 5973007"/>
              <a:gd name="connsiteX17888" fmla="*/ 1459549 w 6884782"/>
              <a:gd name="connsiteY17888" fmla="*/ 4430566 h 5973007"/>
              <a:gd name="connsiteX17889" fmla="*/ 1462492 w 6884782"/>
              <a:gd name="connsiteY17889" fmla="*/ 4432940 h 5973007"/>
              <a:gd name="connsiteX17890" fmla="*/ 1460943 w 6884782"/>
              <a:gd name="connsiteY17890" fmla="*/ 4435935 h 5973007"/>
              <a:gd name="connsiteX17891" fmla="*/ 1458929 w 6884782"/>
              <a:gd name="connsiteY17891" fmla="*/ 4437071 h 5973007"/>
              <a:gd name="connsiteX17892" fmla="*/ 1458465 w 6884782"/>
              <a:gd name="connsiteY17892" fmla="*/ 4437380 h 5973007"/>
              <a:gd name="connsiteX17893" fmla="*/ 1451495 w 6884782"/>
              <a:gd name="connsiteY17893" fmla="*/ 4439445 h 5973007"/>
              <a:gd name="connsiteX17894" fmla="*/ 1459549 w 6884782"/>
              <a:gd name="connsiteY17894" fmla="*/ 4430566 h 5973007"/>
              <a:gd name="connsiteX17895" fmla="*/ 1700103 w 6884782"/>
              <a:gd name="connsiteY17895" fmla="*/ 4430256 h 5973007"/>
              <a:gd name="connsiteX17896" fmla="*/ 1700877 w 6884782"/>
              <a:gd name="connsiteY17896" fmla="*/ 4430359 h 5973007"/>
              <a:gd name="connsiteX17897" fmla="*/ 1700258 w 6884782"/>
              <a:gd name="connsiteY17897" fmla="*/ 4432217 h 5973007"/>
              <a:gd name="connsiteX17898" fmla="*/ 1700103 w 6884782"/>
              <a:gd name="connsiteY17898" fmla="*/ 4430256 h 5973007"/>
              <a:gd name="connsiteX17899" fmla="*/ 1804813 w 6884782"/>
              <a:gd name="connsiteY17899" fmla="*/ 4430152 h 5973007"/>
              <a:gd name="connsiteX17900" fmla="*/ 1811783 w 6884782"/>
              <a:gd name="connsiteY17900" fmla="*/ 4432631 h 5973007"/>
              <a:gd name="connsiteX17901" fmla="*/ 1809305 w 6884782"/>
              <a:gd name="connsiteY17901" fmla="*/ 4441510 h 5973007"/>
              <a:gd name="connsiteX17902" fmla="*/ 1801405 w 6884782"/>
              <a:gd name="connsiteY17902" fmla="*/ 4432631 h 5973007"/>
              <a:gd name="connsiteX17903" fmla="*/ 1804813 w 6884782"/>
              <a:gd name="connsiteY17903" fmla="*/ 4430152 h 5973007"/>
              <a:gd name="connsiteX17904" fmla="*/ 5467326 w 6884782"/>
              <a:gd name="connsiteY17904" fmla="*/ 4430067 h 5973007"/>
              <a:gd name="connsiteX17905" fmla="*/ 5463609 w 6884782"/>
              <a:gd name="connsiteY17905" fmla="*/ 4432648 h 5973007"/>
              <a:gd name="connsiteX17906" fmla="*/ 5462834 w 6884782"/>
              <a:gd name="connsiteY17906" fmla="*/ 4431719 h 5973007"/>
              <a:gd name="connsiteX17907" fmla="*/ 5467326 w 6884782"/>
              <a:gd name="connsiteY17907" fmla="*/ 4430067 h 5973007"/>
              <a:gd name="connsiteX17908" fmla="*/ 5454237 w 6884782"/>
              <a:gd name="connsiteY17908" fmla="*/ 4429757 h 5973007"/>
              <a:gd name="connsiteX17909" fmla="*/ 5458807 w 6884782"/>
              <a:gd name="connsiteY17909" fmla="*/ 4429964 h 5973007"/>
              <a:gd name="connsiteX17910" fmla="*/ 5458807 w 6884782"/>
              <a:gd name="connsiteY17910" fmla="*/ 4430790 h 5973007"/>
              <a:gd name="connsiteX17911" fmla="*/ 5449978 w 6884782"/>
              <a:gd name="connsiteY17911" fmla="*/ 4432648 h 5973007"/>
              <a:gd name="connsiteX17912" fmla="*/ 5446880 w 6884782"/>
              <a:gd name="connsiteY17912" fmla="*/ 4432235 h 5973007"/>
              <a:gd name="connsiteX17913" fmla="*/ 5447654 w 6884782"/>
              <a:gd name="connsiteY17913" fmla="*/ 4432235 h 5973007"/>
              <a:gd name="connsiteX17914" fmla="*/ 5446880 w 6884782"/>
              <a:gd name="connsiteY17914" fmla="*/ 4431409 h 5973007"/>
              <a:gd name="connsiteX17915" fmla="*/ 5454237 w 6884782"/>
              <a:gd name="connsiteY17915" fmla="*/ 4429757 h 5973007"/>
              <a:gd name="connsiteX17916" fmla="*/ 665706 w 6884782"/>
              <a:gd name="connsiteY17916" fmla="*/ 4429739 h 5973007"/>
              <a:gd name="connsiteX17917" fmla="*/ 667099 w 6884782"/>
              <a:gd name="connsiteY17917" fmla="*/ 4430669 h 5973007"/>
              <a:gd name="connsiteX17918" fmla="*/ 666480 w 6884782"/>
              <a:gd name="connsiteY17918" fmla="*/ 4433043 h 5973007"/>
              <a:gd name="connsiteX17919" fmla="*/ 661988 w 6884782"/>
              <a:gd name="connsiteY17919" fmla="*/ 4435832 h 5973007"/>
              <a:gd name="connsiteX17920" fmla="*/ 660594 w 6884782"/>
              <a:gd name="connsiteY17920" fmla="*/ 4434799 h 5973007"/>
              <a:gd name="connsiteX17921" fmla="*/ 665706 w 6884782"/>
              <a:gd name="connsiteY17921" fmla="*/ 4429739 h 5973007"/>
              <a:gd name="connsiteX17922" fmla="*/ 1199169 w 6884782"/>
              <a:gd name="connsiteY17922" fmla="*/ 4429533 h 5973007"/>
              <a:gd name="connsiteX17923" fmla="*/ 1199943 w 6884782"/>
              <a:gd name="connsiteY17923" fmla="*/ 4431288 h 5973007"/>
              <a:gd name="connsiteX17924" fmla="*/ 1198084 w 6884782"/>
              <a:gd name="connsiteY17924" fmla="*/ 4430256 h 5973007"/>
              <a:gd name="connsiteX17925" fmla="*/ 1199169 w 6884782"/>
              <a:gd name="connsiteY17925" fmla="*/ 4429533 h 5973007"/>
              <a:gd name="connsiteX17926" fmla="*/ 5956334 w 6884782"/>
              <a:gd name="connsiteY17926" fmla="*/ 4429447 h 5973007"/>
              <a:gd name="connsiteX17927" fmla="*/ 5957573 w 6884782"/>
              <a:gd name="connsiteY17927" fmla="*/ 4433578 h 5973007"/>
              <a:gd name="connsiteX17928" fmla="*/ 5954475 w 6884782"/>
              <a:gd name="connsiteY17928" fmla="*/ 4431512 h 5973007"/>
              <a:gd name="connsiteX17929" fmla="*/ 5956334 w 6884782"/>
              <a:gd name="connsiteY17929" fmla="*/ 4429447 h 5973007"/>
              <a:gd name="connsiteX17930" fmla="*/ 1777396 w 6884782"/>
              <a:gd name="connsiteY17930" fmla="*/ 4429326 h 5973007"/>
              <a:gd name="connsiteX17931" fmla="*/ 1779720 w 6884782"/>
              <a:gd name="connsiteY17931" fmla="*/ 4457928 h 5973007"/>
              <a:gd name="connsiteX17932" fmla="*/ 1776002 w 6884782"/>
              <a:gd name="connsiteY17932" fmla="*/ 4459064 h 5973007"/>
              <a:gd name="connsiteX17933" fmla="*/ 1763146 w 6884782"/>
              <a:gd name="connsiteY17933" fmla="*/ 4447706 h 5973007"/>
              <a:gd name="connsiteX17934" fmla="*/ 1762991 w 6884782"/>
              <a:gd name="connsiteY17934" fmla="*/ 4445847 h 5973007"/>
              <a:gd name="connsiteX17935" fmla="*/ 1761752 w 6884782"/>
              <a:gd name="connsiteY17935" fmla="*/ 4444608 h 5973007"/>
              <a:gd name="connsiteX17936" fmla="*/ 1761132 w 6884782"/>
              <a:gd name="connsiteY17936" fmla="*/ 4441614 h 5973007"/>
              <a:gd name="connsiteX17937" fmla="*/ 1762836 w 6884782"/>
              <a:gd name="connsiteY17937" fmla="*/ 4443163 h 5973007"/>
              <a:gd name="connsiteX17938" fmla="*/ 1762836 w 6884782"/>
              <a:gd name="connsiteY17938" fmla="*/ 4441098 h 5973007"/>
              <a:gd name="connsiteX17939" fmla="*/ 1777396 w 6884782"/>
              <a:gd name="connsiteY17939" fmla="*/ 4429326 h 5973007"/>
              <a:gd name="connsiteX17940" fmla="*/ 726580 w 6884782"/>
              <a:gd name="connsiteY17940" fmla="*/ 4429016 h 5973007"/>
              <a:gd name="connsiteX17941" fmla="*/ 730607 w 6884782"/>
              <a:gd name="connsiteY17941" fmla="*/ 4445125 h 5973007"/>
              <a:gd name="connsiteX17942" fmla="*/ 727664 w 6884782"/>
              <a:gd name="connsiteY17942" fmla="*/ 4446364 h 5973007"/>
              <a:gd name="connsiteX17943" fmla="*/ 723327 w 6884782"/>
              <a:gd name="connsiteY17943" fmla="*/ 4442234 h 5973007"/>
              <a:gd name="connsiteX17944" fmla="*/ 721623 w 6884782"/>
              <a:gd name="connsiteY17944" fmla="*/ 4438826 h 5973007"/>
              <a:gd name="connsiteX17945" fmla="*/ 722088 w 6884782"/>
              <a:gd name="connsiteY17945" fmla="*/ 4435212 h 5973007"/>
              <a:gd name="connsiteX17946" fmla="*/ 722397 w 6884782"/>
              <a:gd name="connsiteY17946" fmla="*/ 4429223 h 5973007"/>
              <a:gd name="connsiteX17947" fmla="*/ 726580 w 6884782"/>
              <a:gd name="connsiteY17947" fmla="*/ 4429016 h 5973007"/>
              <a:gd name="connsiteX17948" fmla="*/ 1010969 w 6884782"/>
              <a:gd name="connsiteY17948" fmla="*/ 4428810 h 5973007"/>
              <a:gd name="connsiteX17949" fmla="*/ 1006942 w 6884782"/>
              <a:gd name="connsiteY17949" fmla="*/ 4437277 h 5973007"/>
              <a:gd name="connsiteX17950" fmla="*/ 1010969 w 6884782"/>
              <a:gd name="connsiteY17950" fmla="*/ 4428810 h 5973007"/>
              <a:gd name="connsiteX17951" fmla="*/ 1705834 w 6884782"/>
              <a:gd name="connsiteY17951" fmla="*/ 4428604 h 5973007"/>
              <a:gd name="connsiteX17952" fmla="*/ 1705215 w 6884782"/>
              <a:gd name="connsiteY17952" fmla="*/ 4435005 h 5973007"/>
              <a:gd name="connsiteX17953" fmla="*/ 1704440 w 6884782"/>
              <a:gd name="connsiteY17953" fmla="*/ 4433973 h 5973007"/>
              <a:gd name="connsiteX17954" fmla="*/ 1704750 w 6884782"/>
              <a:gd name="connsiteY17954" fmla="*/ 4432321 h 5973007"/>
              <a:gd name="connsiteX17955" fmla="*/ 1705834 w 6884782"/>
              <a:gd name="connsiteY17955" fmla="*/ 4428604 h 5973007"/>
              <a:gd name="connsiteX17956" fmla="*/ 1721943 w 6884782"/>
              <a:gd name="connsiteY17956" fmla="*/ 4428500 h 5973007"/>
              <a:gd name="connsiteX17957" fmla="*/ 1723957 w 6884782"/>
              <a:gd name="connsiteY17957" fmla="*/ 4429533 h 5973007"/>
              <a:gd name="connsiteX17958" fmla="*/ 1725197 w 6884782"/>
              <a:gd name="connsiteY17958" fmla="*/ 4434386 h 5973007"/>
              <a:gd name="connsiteX17959" fmla="*/ 1721788 w 6884782"/>
              <a:gd name="connsiteY17959" fmla="*/ 4436658 h 5973007"/>
              <a:gd name="connsiteX17960" fmla="*/ 1718381 w 6884782"/>
              <a:gd name="connsiteY17960" fmla="*/ 4436967 h 5973007"/>
              <a:gd name="connsiteX17961" fmla="*/ 1722563 w 6884782"/>
              <a:gd name="connsiteY17961" fmla="*/ 4440994 h 5973007"/>
              <a:gd name="connsiteX17962" fmla="*/ 1721478 w 6884782"/>
              <a:gd name="connsiteY17962" fmla="*/ 4444711 h 5973007"/>
              <a:gd name="connsiteX17963" fmla="*/ 1719000 w 6884782"/>
              <a:gd name="connsiteY17963" fmla="*/ 4446880 h 5973007"/>
              <a:gd name="connsiteX17964" fmla="*/ 1725661 w 6884782"/>
              <a:gd name="connsiteY17964" fmla="*/ 4449151 h 5973007"/>
              <a:gd name="connsiteX17965" fmla="*/ 1730772 w 6884782"/>
              <a:gd name="connsiteY17965" fmla="*/ 4452559 h 5973007"/>
              <a:gd name="connsiteX17966" fmla="*/ 1731237 w 6884782"/>
              <a:gd name="connsiteY17966" fmla="*/ 4449771 h 5973007"/>
              <a:gd name="connsiteX17967" fmla="*/ 1743164 w 6884782"/>
              <a:gd name="connsiteY17967" fmla="*/ 4446880 h 5973007"/>
              <a:gd name="connsiteX17968" fmla="*/ 1742234 w 6884782"/>
              <a:gd name="connsiteY17968" fmla="*/ 4454727 h 5973007"/>
              <a:gd name="connsiteX17969" fmla="*/ 1740066 w 6884782"/>
              <a:gd name="connsiteY17969" fmla="*/ 4455140 h 5973007"/>
              <a:gd name="connsiteX17970" fmla="*/ 1738982 w 6884782"/>
              <a:gd name="connsiteY17970" fmla="*/ 4455967 h 5973007"/>
              <a:gd name="connsiteX17971" fmla="*/ 1739756 w 6884782"/>
              <a:gd name="connsiteY17971" fmla="*/ 4458238 h 5973007"/>
              <a:gd name="connsiteX17972" fmla="*/ 1742544 w 6884782"/>
              <a:gd name="connsiteY17972" fmla="*/ 4461439 h 5973007"/>
              <a:gd name="connsiteX17973" fmla="*/ 1737278 w 6884782"/>
              <a:gd name="connsiteY17973" fmla="*/ 4462059 h 5973007"/>
              <a:gd name="connsiteX17974" fmla="*/ 1732321 w 6884782"/>
              <a:gd name="connsiteY17974" fmla="*/ 4460819 h 5973007"/>
              <a:gd name="connsiteX17975" fmla="*/ 1734335 w 6884782"/>
              <a:gd name="connsiteY17975" fmla="*/ 4455863 h 5973007"/>
              <a:gd name="connsiteX17976" fmla="*/ 1732321 w 6884782"/>
              <a:gd name="connsiteY17976" fmla="*/ 4455450 h 5973007"/>
              <a:gd name="connsiteX17977" fmla="*/ 1730308 w 6884782"/>
              <a:gd name="connsiteY17977" fmla="*/ 4454108 h 5973007"/>
              <a:gd name="connsiteX17978" fmla="*/ 1730617 w 6884782"/>
              <a:gd name="connsiteY17978" fmla="*/ 4452766 h 5973007"/>
              <a:gd name="connsiteX17979" fmla="*/ 1725351 w 6884782"/>
              <a:gd name="connsiteY17979" fmla="*/ 4455037 h 5973007"/>
              <a:gd name="connsiteX17980" fmla="*/ 1721323 w 6884782"/>
              <a:gd name="connsiteY17980" fmla="*/ 4454934 h 5973007"/>
              <a:gd name="connsiteX17981" fmla="*/ 1709397 w 6884782"/>
              <a:gd name="connsiteY17981" fmla="*/ 4449461 h 5973007"/>
              <a:gd name="connsiteX17982" fmla="*/ 1710171 w 6884782"/>
              <a:gd name="connsiteY17982" fmla="*/ 4448739 h 5973007"/>
              <a:gd name="connsiteX17983" fmla="*/ 1707538 w 6884782"/>
              <a:gd name="connsiteY17983" fmla="*/ 4445021 h 5973007"/>
              <a:gd name="connsiteX17984" fmla="*/ 1712185 w 6884782"/>
              <a:gd name="connsiteY17984" fmla="*/ 4439652 h 5973007"/>
              <a:gd name="connsiteX17985" fmla="*/ 1718226 w 6884782"/>
              <a:gd name="connsiteY17985" fmla="*/ 4437071 h 5973007"/>
              <a:gd name="connsiteX17986" fmla="*/ 1717916 w 6884782"/>
              <a:gd name="connsiteY17986" fmla="*/ 4437071 h 5973007"/>
              <a:gd name="connsiteX17987" fmla="*/ 1716367 w 6884782"/>
              <a:gd name="connsiteY17987" fmla="*/ 4434489 h 5973007"/>
              <a:gd name="connsiteX17988" fmla="*/ 1717297 w 6884782"/>
              <a:gd name="connsiteY17988" fmla="*/ 4431082 h 5973007"/>
              <a:gd name="connsiteX17989" fmla="*/ 1719155 w 6884782"/>
              <a:gd name="connsiteY17989" fmla="*/ 4429016 h 5973007"/>
              <a:gd name="connsiteX17990" fmla="*/ 1721943 w 6884782"/>
              <a:gd name="connsiteY17990" fmla="*/ 4428500 h 5973007"/>
              <a:gd name="connsiteX17991" fmla="*/ 5837063 w 6884782"/>
              <a:gd name="connsiteY17991" fmla="*/ 4428415 h 5973007"/>
              <a:gd name="connsiteX17992" fmla="*/ 5838458 w 6884782"/>
              <a:gd name="connsiteY17992" fmla="*/ 4432029 h 5973007"/>
              <a:gd name="connsiteX17993" fmla="*/ 5830713 w 6884782"/>
              <a:gd name="connsiteY17993" fmla="*/ 4434094 h 5973007"/>
              <a:gd name="connsiteX17994" fmla="*/ 5824207 w 6884782"/>
              <a:gd name="connsiteY17994" fmla="*/ 4431409 h 5973007"/>
              <a:gd name="connsiteX17995" fmla="*/ 5824517 w 6884782"/>
              <a:gd name="connsiteY17995" fmla="*/ 4428931 h 5973007"/>
              <a:gd name="connsiteX17996" fmla="*/ 5837063 w 6884782"/>
              <a:gd name="connsiteY17996" fmla="*/ 4428415 h 5973007"/>
              <a:gd name="connsiteX17997" fmla="*/ 1360415 w 6884782"/>
              <a:gd name="connsiteY17997" fmla="*/ 4427984 h 5973007"/>
              <a:gd name="connsiteX17998" fmla="*/ 1362429 w 6884782"/>
              <a:gd name="connsiteY17998" fmla="*/ 4441201 h 5973007"/>
              <a:gd name="connsiteX17999" fmla="*/ 1356078 w 6884782"/>
              <a:gd name="connsiteY17999" fmla="*/ 4429843 h 5973007"/>
              <a:gd name="connsiteX18000" fmla="*/ 1360415 w 6884782"/>
              <a:gd name="connsiteY18000" fmla="*/ 4427984 h 5973007"/>
              <a:gd name="connsiteX18001" fmla="*/ 1082531 w 6884782"/>
              <a:gd name="connsiteY18001" fmla="*/ 4427881 h 5973007"/>
              <a:gd name="connsiteX18002" fmla="*/ 1083461 w 6884782"/>
              <a:gd name="connsiteY18002" fmla="*/ 4428707 h 5973007"/>
              <a:gd name="connsiteX18003" fmla="*/ 1081447 w 6884782"/>
              <a:gd name="connsiteY18003" fmla="*/ 4441407 h 5973007"/>
              <a:gd name="connsiteX18004" fmla="*/ 1080208 w 6884782"/>
              <a:gd name="connsiteY18004" fmla="*/ 4435418 h 5973007"/>
              <a:gd name="connsiteX18005" fmla="*/ 1082531 w 6884782"/>
              <a:gd name="connsiteY18005" fmla="*/ 4427881 h 5973007"/>
              <a:gd name="connsiteX18006" fmla="*/ 6289826 w 6884782"/>
              <a:gd name="connsiteY18006" fmla="*/ 4427796 h 5973007"/>
              <a:gd name="connsiteX18007" fmla="*/ 6288276 w 6884782"/>
              <a:gd name="connsiteY18007" fmla="*/ 4429138 h 5973007"/>
              <a:gd name="connsiteX18008" fmla="*/ 6289671 w 6884782"/>
              <a:gd name="connsiteY18008" fmla="*/ 4429654 h 5973007"/>
              <a:gd name="connsiteX18009" fmla="*/ 6295557 w 6884782"/>
              <a:gd name="connsiteY18009" fmla="*/ 4432029 h 5973007"/>
              <a:gd name="connsiteX18010" fmla="*/ 6298345 w 6884782"/>
              <a:gd name="connsiteY18010" fmla="*/ 4435746 h 5973007"/>
              <a:gd name="connsiteX18011" fmla="*/ 6298500 w 6884782"/>
              <a:gd name="connsiteY18011" fmla="*/ 4435849 h 5973007"/>
              <a:gd name="connsiteX18012" fmla="*/ 6306090 w 6884782"/>
              <a:gd name="connsiteY18012" fmla="*/ 4438637 h 5973007"/>
              <a:gd name="connsiteX18013" fmla="*/ 6307329 w 6884782"/>
              <a:gd name="connsiteY18013" fmla="*/ 4433578 h 5973007"/>
              <a:gd name="connsiteX18014" fmla="*/ 6307484 w 6884782"/>
              <a:gd name="connsiteY18014" fmla="*/ 4433268 h 5973007"/>
              <a:gd name="connsiteX18015" fmla="*/ 1674545 w 6884782"/>
              <a:gd name="connsiteY18015" fmla="*/ 4427468 h 5973007"/>
              <a:gd name="connsiteX18016" fmla="*/ 1682444 w 6884782"/>
              <a:gd name="connsiteY18016" fmla="*/ 4432011 h 5973007"/>
              <a:gd name="connsiteX18017" fmla="*/ 1677023 w 6884782"/>
              <a:gd name="connsiteY18017" fmla="*/ 4434179 h 5973007"/>
              <a:gd name="connsiteX18018" fmla="*/ 1672996 w 6884782"/>
              <a:gd name="connsiteY18018" fmla="*/ 4429223 h 5973007"/>
              <a:gd name="connsiteX18019" fmla="*/ 1674545 w 6884782"/>
              <a:gd name="connsiteY18019" fmla="*/ 4427468 h 5973007"/>
              <a:gd name="connsiteX18020" fmla="*/ 1066132 w 6884782"/>
              <a:gd name="connsiteY18020" fmla="*/ 4426074 h 5973007"/>
              <a:gd name="connsiteX18021" fmla="*/ 1077575 w 6884782"/>
              <a:gd name="connsiteY18021" fmla="*/ 4432424 h 5973007"/>
              <a:gd name="connsiteX18022" fmla="*/ 1066112 w 6884782"/>
              <a:gd name="connsiteY18022" fmla="*/ 4432837 h 5973007"/>
              <a:gd name="connsiteX18023" fmla="*/ 1053876 w 6884782"/>
              <a:gd name="connsiteY18023" fmla="*/ 4428707 h 5973007"/>
              <a:gd name="connsiteX18024" fmla="*/ 1066132 w 6884782"/>
              <a:gd name="connsiteY18024" fmla="*/ 4426074 h 5973007"/>
              <a:gd name="connsiteX18025" fmla="*/ 5714540 w 6884782"/>
              <a:gd name="connsiteY18025" fmla="*/ 4426040 h 5973007"/>
              <a:gd name="connsiteX18026" fmla="*/ 5716709 w 6884782"/>
              <a:gd name="connsiteY18026" fmla="*/ 4428518 h 5973007"/>
              <a:gd name="connsiteX18027" fmla="*/ 5715315 w 6884782"/>
              <a:gd name="connsiteY18027" fmla="*/ 4429344 h 5973007"/>
              <a:gd name="connsiteX18028" fmla="*/ 5715625 w 6884782"/>
              <a:gd name="connsiteY18028" fmla="*/ 4430067 h 5973007"/>
              <a:gd name="connsiteX18029" fmla="*/ 5713921 w 6884782"/>
              <a:gd name="connsiteY18029" fmla="*/ 4430273 h 5973007"/>
              <a:gd name="connsiteX18030" fmla="*/ 5713456 w 6884782"/>
              <a:gd name="connsiteY18030" fmla="*/ 4429551 h 5973007"/>
              <a:gd name="connsiteX18031" fmla="*/ 5713301 w 6884782"/>
              <a:gd name="connsiteY18031" fmla="*/ 4429447 h 5973007"/>
              <a:gd name="connsiteX18032" fmla="*/ 5713456 w 6884782"/>
              <a:gd name="connsiteY18032" fmla="*/ 4427692 h 5973007"/>
              <a:gd name="connsiteX18033" fmla="*/ 5714540 w 6884782"/>
              <a:gd name="connsiteY18033" fmla="*/ 4426040 h 5973007"/>
              <a:gd name="connsiteX18034" fmla="*/ 1702581 w 6884782"/>
              <a:gd name="connsiteY18034" fmla="*/ 4425403 h 5973007"/>
              <a:gd name="connsiteX18035" fmla="*/ 1700258 w 6884782"/>
              <a:gd name="connsiteY18035" fmla="*/ 4429739 h 5973007"/>
              <a:gd name="connsiteX18036" fmla="*/ 1700103 w 6884782"/>
              <a:gd name="connsiteY18036" fmla="*/ 4426125 h 5973007"/>
              <a:gd name="connsiteX18037" fmla="*/ 1702581 w 6884782"/>
              <a:gd name="connsiteY18037" fmla="*/ 4425403 h 5973007"/>
              <a:gd name="connsiteX18038" fmla="*/ 1184918 w 6884782"/>
              <a:gd name="connsiteY18038" fmla="*/ 4425403 h 5973007"/>
              <a:gd name="connsiteX18039" fmla="*/ 1198084 w 6884782"/>
              <a:gd name="connsiteY18039" fmla="*/ 4430049 h 5973007"/>
              <a:gd name="connsiteX18040" fmla="*/ 1184918 w 6884782"/>
              <a:gd name="connsiteY18040" fmla="*/ 4425403 h 5973007"/>
              <a:gd name="connsiteX18041" fmla="*/ 1107934 w 6884782"/>
              <a:gd name="connsiteY18041" fmla="*/ 4425196 h 5973007"/>
              <a:gd name="connsiteX18042" fmla="*/ 1105611 w 6884782"/>
              <a:gd name="connsiteY18042" fmla="*/ 4441924 h 5973007"/>
              <a:gd name="connsiteX18043" fmla="*/ 1120636 w 6884782"/>
              <a:gd name="connsiteY18043" fmla="*/ 4449151 h 5973007"/>
              <a:gd name="connsiteX18044" fmla="*/ 1116918 w 6884782"/>
              <a:gd name="connsiteY18044" fmla="*/ 4450907 h 5973007"/>
              <a:gd name="connsiteX18045" fmla="*/ 1117228 w 6884782"/>
              <a:gd name="connsiteY18045" fmla="*/ 4454108 h 5973007"/>
              <a:gd name="connsiteX18046" fmla="*/ 1116454 w 6884782"/>
              <a:gd name="connsiteY18046" fmla="*/ 4454934 h 5973007"/>
              <a:gd name="connsiteX18047" fmla="*/ 1117228 w 6884782"/>
              <a:gd name="connsiteY18047" fmla="*/ 4456173 h 5973007"/>
              <a:gd name="connsiteX18048" fmla="*/ 1118003 w 6884782"/>
              <a:gd name="connsiteY18048" fmla="*/ 4457206 h 5973007"/>
              <a:gd name="connsiteX18049" fmla="*/ 1116763 w 6884782"/>
              <a:gd name="connsiteY18049" fmla="*/ 4459168 h 5973007"/>
              <a:gd name="connsiteX18050" fmla="*/ 1115369 w 6884782"/>
              <a:gd name="connsiteY18050" fmla="*/ 4459064 h 5973007"/>
              <a:gd name="connsiteX18051" fmla="*/ 1114905 w 6884782"/>
              <a:gd name="connsiteY18051" fmla="*/ 4461026 h 5973007"/>
              <a:gd name="connsiteX18052" fmla="*/ 1110103 w 6884782"/>
              <a:gd name="connsiteY18052" fmla="*/ 4456276 h 5973007"/>
              <a:gd name="connsiteX18053" fmla="*/ 1111962 w 6884782"/>
              <a:gd name="connsiteY18053" fmla="*/ 4456999 h 5973007"/>
              <a:gd name="connsiteX18054" fmla="*/ 1110568 w 6884782"/>
              <a:gd name="connsiteY18054" fmla="*/ 4455553 h 5973007"/>
              <a:gd name="connsiteX18055" fmla="*/ 1109019 w 6884782"/>
              <a:gd name="connsiteY18055" fmla="*/ 4450287 h 5973007"/>
              <a:gd name="connsiteX18056" fmla="*/ 1111032 w 6884782"/>
              <a:gd name="connsiteY18056" fmla="*/ 4450287 h 5973007"/>
              <a:gd name="connsiteX18057" fmla="*/ 1106850 w 6884782"/>
              <a:gd name="connsiteY18057" fmla="*/ 4449255 h 5973007"/>
              <a:gd name="connsiteX18058" fmla="*/ 1101584 w 6884782"/>
              <a:gd name="connsiteY18058" fmla="*/ 4448635 h 5973007"/>
              <a:gd name="connsiteX18059" fmla="*/ 1096163 w 6884782"/>
              <a:gd name="connsiteY18059" fmla="*/ 4452869 h 5973007"/>
              <a:gd name="connsiteX18060" fmla="*/ 1092445 w 6884782"/>
              <a:gd name="connsiteY18060" fmla="*/ 4452662 h 5973007"/>
              <a:gd name="connsiteX18061" fmla="*/ 1102048 w 6884782"/>
              <a:gd name="connsiteY18061" fmla="*/ 4429533 h 5973007"/>
              <a:gd name="connsiteX18062" fmla="*/ 1107934 w 6884782"/>
              <a:gd name="connsiteY18062" fmla="*/ 4425196 h 5973007"/>
              <a:gd name="connsiteX18063" fmla="*/ 6275575 w 6884782"/>
              <a:gd name="connsiteY18063" fmla="*/ 4424595 h 5973007"/>
              <a:gd name="connsiteX18064" fmla="*/ 6275575 w 6884782"/>
              <a:gd name="connsiteY18064" fmla="*/ 4424698 h 5973007"/>
              <a:gd name="connsiteX18065" fmla="*/ 6274181 w 6884782"/>
              <a:gd name="connsiteY18065" fmla="*/ 4426350 h 5973007"/>
              <a:gd name="connsiteX18066" fmla="*/ 6276350 w 6884782"/>
              <a:gd name="connsiteY18066" fmla="*/ 4427589 h 5973007"/>
              <a:gd name="connsiteX18067" fmla="*/ 6276814 w 6884782"/>
              <a:gd name="connsiteY18067" fmla="*/ 4425834 h 5973007"/>
              <a:gd name="connsiteX18068" fmla="*/ 1241145 w 6884782"/>
              <a:gd name="connsiteY18068" fmla="*/ 4424370 h 5973007"/>
              <a:gd name="connsiteX18069" fmla="*/ 1245637 w 6884782"/>
              <a:gd name="connsiteY18069" fmla="*/ 4426848 h 5973007"/>
              <a:gd name="connsiteX18070" fmla="*/ 1247496 w 6884782"/>
              <a:gd name="connsiteY18070" fmla="*/ 4429843 h 5973007"/>
              <a:gd name="connsiteX18071" fmla="*/ 1247496 w 6884782"/>
              <a:gd name="connsiteY18071" fmla="*/ 4430049 h 5973007"/>
              <a:gd name="connsiteX18072" fmla="*/ 1252917 w 6884782"/>
              <a:gd name="connsiteY18072" fmla="*/ 4431908 h 5973007"/>
              <a:gd name="connsiteX18073" fmla="*/ 1253382 w 6884782"/>
              <a:gd name="connsiteY18073" fmla="*/ 4432321 h 5973007"/>
              <a:gd name="connsiteX18074" fmla="*/ 1253692 w 6884782"/>
              <a:gd name="connsiteY18074" fmla="*/ 4432424 h 5973007"/>
              <a:gd name="connsiteX18075" fmla="*/ 1264689 w 6884782"/>
              <a:gd name="connsiteY18075" fmla="*/ 4437483 h 5973007"/>
              <a:gd name="connsiteX18076" fmla="*/ 1257564 w 6884782"/>
              <a:gd name="connsiteY18076" fmla="*/ 4438826 h 5973007"/>
              <a:gd name="connsiteX18077" fmla="*/ 1257564 w 6884782"/>
              <a:gd name="connsiteY18077" fmla="*/ 4439342 h 5973007"/>
              <a:gd name="connsiteX18078" fmla="*/ 1260507 w 6884782"/>
              <a:gd name="connsiteY18078" fmla="*/ 4438516 h 5973007"/>
              <a:gd name="connsiteX18079" fmla="*/ 1263915 w 6884782"/>
              <a:gd name="connsiteY18079" fmla="*/ 4439652 h 5973007"/>
              <a:gd name="connsiteX18080" fmla="*/ 1260197 w 6884782"/>
              <a:gd name="connsiteY18080" fmla="*/ 4441201 h 5973007"/>
              <a:gd name="connsiteX18081" fmla="*/ 1258339 w 6884782"/>
              <a:gd name="connsiteY18081" fmla="*/ 4441614 h 5973007"/>
              <a:gd name="connsiteX18082" fmla="*/ 1257564 w 6884782"/>
              <a:gd name="connsiteY18082" fmla="*/ 4440375 h 5973007"/>
              <a:gd name="connsiteX18083" fmla="*/ 1257564 w 6884782"/>
              <a:gd name="connsiteY18083" fmla="*/ 4440684 h 5973007"/>
              <a:gd name="connsiteX18084" fmla="*/ 1255086 w 6884782"/>
              <a:gd name="connsiteY18084" fmla="*/ 4445641 h 5973007"/>
              <a:gd name="connsiteX18085" fmla="*/ 1249974 w 6884782"/>
              <a:gd name="connsiteY18085" fmla="*/ 4440065 h 5973007"/>
              <a:gd name="connsiteX18086" fmla="*/ 1249355 w 6884782"/>
              <a:gd name="connsiteY18086" fmla="*/ 4439549 h 5973007"/>
              <a:gd name="connsiteX18087" fmla="*/ 1245637 w 6884782"/>
              <a:gd name="connsiteY18087" fmla="*/ 4439342 h 5973007"/>
              <a:gd name="connsiteX18088" fmla="*/ 1244398 w 6884782"/>
              <a:gd name="connsiteY18088" fmla="*/ 4438826 h 5973007"/>
              <a:gd name="connsiteX18089" fmla="*/ 1242694 w 6884782"/>
              <a:gd name="connsiteY18089" fmla="*/ 4440065 h 5973007"/>
              <a:gd name="connsiteX18090" fmla="*/ 1240061 w 6884782"/>
              <a:gd name="connsiteY18090" fmla="*/ 4440272 h 5973007"/>
              <a:gd name="connsiteX18091" fmla="*/ 1232316 w 6884782"/>
              <a:gd name="connsiteY18091" fmla="*/ 4435728 h 5973007"/>
              <a:gd name="connsiteX18092" fmla="*/ 1232781 w 6884782"/>
              <a:gd name="connsiteY18092" fmla="*/ 4436451 h 5973007"/>
              <a:gd name="connsiteX18093" fmla="*/ 1229992 w 6884782"/>
              <a:gd name="connsiteY18093" fmla="*/ 4448532 h 5973007"/>
              <a:gd name="connsiteX18094" fmla="*/ 1229683 w 6884782"/>
              <a:gd name="connsiteY18094" fmla="*/ 4448739 h 5973007"/>
              <a:gd name="connsiteX18095" fmla="*/ 1229838 w 6884782"/>
              <a:gd name="connsiteY18095" fmla="*/ 4448945 h 5973007"/>
              <a:gd name="connsiteX18096" fmla="*/ 1229528 w 6884782"/>
              <a:gd name="connsiteY18096" fmla="*/ 4449048 h 5973007"/>
              <a:gd name="connsiteX18097" fmla="*/ 1228289 w 6884782"/>
              <a:gd name="connsiteY18097" fmla="*/ 4450184 h 5973007"/>
              <a:gd name="connsiteX18098" fmla="*/ 1227514 w 6884782"/>
              <a:gd name="connsiteY18098" fmla="*/ 4447500 h 5973007"/>
              <a:gd name="connsiteX18099" fmla="*/ 1227669 w 6884782"/>
              <a:gd name="connsiteY18099" fmla="*/ 4446364 h 5973007"/>
              <a:gd name="connsiteX18100" fmla="*/ 1227204 w 6884782"/>
              <a:gd name="connsiteY18100" fmla="*/ 4445538 h 5973007"/>
              <a:gd name="connsiteX18101" fmla="*/ 1227824 w 6884782"/>
              <a:gd name="connsiteY18101" fmla="*/ 4445125 h 5973007"/>
              <a:gd name="connsiteX18102" fmla="*/ 1228289 w 6884782"/>
              <a:gd name="connsiteY18102" fmla="*/ 4442749 h 5973007"/>
              <a:gd name="connsiteX18103" fmla="*/ 1227204 w 6884782"/>
              <a:gd name="connsiteY18103" fmla="*/ 4436864 h 5973007"/>
              <a:gd name="connsiteX18104" fmla="*/ 1229373 w 6884782"/>
              <a:gd name="connsiteY18104" fmla="*/ 4431185 h 5973007"/>
              <a:gd name="connsiteX18105" fmla="*/ 1231696 w 6884782"/>
              <a:gd name="connsiteY18105" fmla="*/ 4431805 h 5973007"/>
              <a:gd name="connsiteX18106" fmla="*/ 1232006 w 6884782"/>
              <a:gd name="connsiteY18106" fmla="*/ 4429430 h 5973007"/>
              <a:gd name="connsiteX18107" fmla="*/ 1241145 w 6884782"/>
              <a:gd name="connsiteY18107" fmla="*/ 4424370 h 5973007"/>
              <a:gd name="connsiteX18108" fmla="*/ 1616304 w 6884782"/>
              <a:gd name="connsiteY18108" fmla="*/ 4423544 h 5973007"/>
              <a:gd name="connsiteX18109" fmla="*/ 1613826 w 6884782"/>
              <a:gd name="connsiteY18109" fmla="*/ 4434696 h 5973007"/>
              <a:gd name="connsiteX18110" fmla="*/ 1611967 w 6884782"/>
              <a:gd name="connsiteY18110" fmla="*/ 4434696 h 5973007"/>
              <a:gd name="connsiteX18111" fmla="*/ 1609953 w 6884782"/>
              <a:gd name="connsiteY18111" fmla="*/ 4433663 h 5973007"/>
              <a:gd name="connsiteX18112" fmla="*/ 1616304 w 6884782"/>
              <a:gd name="connsiteY18112" fmla="*/ 4423544 h 5973007"/>
              <a:gd name="connsiteX18113" fmla="*/ 656566 w 6884782"/>
              <a:gd name="connsiteY18113" fmla="*/ 4423544 h 5973007"/>
              <a:gd name="connsiteX18114" fmla="*/ 659819 w 6884782"/>
              <a:gd name="connsiteY18114" fmla="*/ 4424473 h 5973007"/>
              <a:gd name="connsiteX18115" fmla="*/ 657341 w 6884782"/>
              <a:gd name="connsiteY18115" fmla="*/ 4426951 h 5973007"/>
              <a:gd name="connsiteX18116" fmla="*/ 656257 w 6884782"/>
              <a:gd name="connsiteY18116" fmla="*/ 4426125 h 5973007"/>
              <a:gd name="connsiteX18117" fmla="*/ 656566 w 6884782"/>
              <a:gd name="connsiteY18117" fmla="*/ 4423544 h 5973007"/>
              <a:gd name="connsiteX18118" fmla="*/ 1427350 w 6884782"/>
              <a:gd name="connsiteY18118" fmla="*/ 4423157 h 5973007"/>
              <a:gd name="connsiteX18119" fmla="*/ 1437708 w 6884782"/>
              <a:gd name="connsiteY18119" fmla="*/ 4427777 h 5973007"/>
              <a:gd name="connsiteX18120" fmla="*/ 1434611 w 6884782"/>
              <a:gd name="connsiteY18120" fmla="*/ 4433973 h 5973007"/>
              <a:gd name="connsiteX18121" fmla="*/ 1433681 w 6884782"/>
              <a:gd name="connsiteY18121" fmla="*/ 4434489 h 5973007"/>
              <a:gd name="connsiteX18122" fmla="*/ 1433217 w 6884782"/>
              <a:gd name="connsiteY18122" fmla="*/ 4437277 h 5973007"/>
              <a:gd name="connsiteX18123" fmla="*/ 1428105 w 6884782"/>
              <a:gd name="connsiteY18123" fmla="*/ 4443679 h 5973007"/>
              <a:gd name="connsiteX18124" fmla="*/ 1426401 w 6884782"/>
              <a:gd name="connsiteY18124" fmla="*/ 4440478 h 5973007"/>
              <a:gd name="connsiteX18125" fmla="*/ 1426711 w 6884782"/>
              <a:gd name="connsiteY18125" fmla="*/ 4437587 h 5973007"/>
              <a:gd name="connsiteX18126" fmla="*/ 1426246 w 6884782"/>
              <a:gd name="connsiteY18126" fmla="*/ 4437587 h 5973007"/>
              <a:gd name="connsiteX18127" fmla="*/ 1426401 w 6884782"/>
              <a:gd name="connsiteY18127" fmla="*/ 4441304 h 5973007"/>
              <a:gd name="connsiteX18128" fmla="*/ 1425472 w 6884782"/>
              <a:gd name="connsiteY18128" fmla="*/ 4440272 h 5973007"/>
              <a:gd name="connsiteX18129" fmla="*/ 1425627 w 6884782"/>
              <a:gd name="connsiteY18129" fmla="*/ 4438516 h 5973007"/>
              <a:gd name="connsiteX18130" fmla="*/ 1425781 w 6884782"/>
              <a:gd name="connsiteY18130" fmla="*/ 4437587 h 5973007"/>
              <a:gd name="connsiteX18131" fmla="*/ 1423768 w 6884782"/>
              <a:gd name="connsiteY18131" fmla="*/ 4437690 h 5973007"/>
              <a:gd name="connsiteX18132" fmla="*/ 1420360 w 6884782"/>
              <a:gd name="connsiteY18132" fmla="*/ 4429533 h 5973007"/>
              <a:gd name="connsiteX18133" fmla="*/ 1427350 w 6884782"/>
              <a:gd name="connsiteY18133" fmla="*/ 4423157 h 5973007"/>
              <a:gd name="connsiteX18134" fmla="*/ 5688111 w 6884782"/>
              <a:gd name="connsiteY18134" fmla="*/ 4422000 h 5973007"/>
              <a:gd name="connsiteX18135" fmla="*/ 5690996 w 6884782"/>
              <a:gd name="connsiteY18135" fmla="*/ 4432029 h 5973007"/>
              <a:gd name="connsiteX18136" fmla="*/ 5682322 w 6884782"/>
              <a:gd name="connsiteY18136" fmla="*/ 4429551 h 5973007"/>
              <a:gd name="connsiteX18137" fmla="*/ 5688111 w 6884782"/>
              <a:gd name="connsiteY18137" fmla="*/ 4422000 h 5973007"/>
              <a:gd name="connsiteX18138" fmla="*/ 1001366 w 6884782"/>
              <a:gd name="connsiteY18138" fmla="*/ 4421789 h 5973007"/>
              <a:gd name="connsiteX18139" fmla="*/ 1001521 w 6884782"/>
              <a:gd name="connsiteY18139" fmla="*/ 4423544 h 5973007"/>
              <a:gd name="connsiteX18140" fmla="*/ 1000901 w 6884782"/>
              <a:gd name="connsiteY18140" fmla="*/ 4423234 h 5973007"/>
              <a:gd name="connsiteX18141" fmla="*/ 1000746 w 6884782"/>
              <a:gd name="connsiteY18141" fmla="*/ 4422099 h 5973007"/>
              <a:gd name="connsiteX18142" fmla="*/ 1001366 w 6884782"/>
              <a:gd name="connsiteY18142" fmla="*/ 4421789 h 5973007"/>
              <a:gd name="connsiteX18143" fmla="*/ 1172061 w 6884782"/>
              <a:gd name="connsiteY18143" fmla="*/ 4421479 h 5973007"/>
              <a:gd name="connsiteX18144" fmla="*/ 1178567 w 6884782"/>
              <a:gd name="connsiteY18144" fmla="*/ 4422511 h 5973007"/>
              <a:gd name="connsiteX18145" fmla="*/ 1179342 w 6884782"/>
              <a:gd name="connsiteY18145" fmla="*/ 4423544 h 5973007"/>
              <a:gd name="connsiteX18146" fmla="*/ 1172061 w 6884782"/>
              <a:gd name="connsiteY18146" fmla="*/ 4421479 h 5973007"/>
              <a:gd name="connsiteX18147" fmla="*/ 1324789 w 6884782"/>
              <a:gd name="connsiteY18147" fmla="*/ 4420859 h 5973007"/>
              <a:gd name="connsiteX18148" fmla="*/ 1327422 w 6884782"/>
              <a:gd name="connsiteY18148" fmla="*/ 4423544 h 5973007"/>
              <a:gd name="connsiteX18149" fmla="*/ 1316580 w 6884782"/>
              <a:gd name="connsiteY18149" fmla="*/ 4429739 h 5973007"/>
              <a:gd name="connsiteX18150" fmla="*/ 1313636 w 6884782"/>
              <a:gd name="connsiteY18150" fmla="*/ 4428500 h 5973007"/>
              <a:gd name="connsiteX18151" fmla="*/ 1313018 w 6884782"/>
              <a:gd name="connsiteY18151" fmla="*/ 4426229 h 5973007"/>
              <a:gd name="connsiteX18152" fmla="*/ 1324789 w 6884782"/>
              <a:gd name="connsiteY18152" fmla="*/ 4420859 h 5973007"/>
              <a:gd name="connsiteX18153" fmla="*/ 6113244 w 6884782"/>
              <a:gd name="connsiteY18153" fmla="*/ 4420567 h 5973007"/>
              <a:gd name="connsiteX18154" fmla="*/ 6114483 w 6884782"/>
              <a:gd name="connsiteY18154" fmla="*/ 4432132 h 5973007"/>
              <a:gd name="connsiteX18155" fmla="*/ 6110146 w 6884782"/>
              <a:gd name="connsiteY18155" fmla="*/ 4431719 h 5973007"/>
              <a:gd name="connsiteX18156" fmla="*/ 6105964 w 6884782"/>
              <a:gd name="connsiteY18156" fmla="*/ 4425317 h 5973007"/>
              <a:gd name="connsiteX18157" fmla="*/ 6113244 w 6884782"/>
              <a:gd name="connsiteY18157" fmla="*/ 4420567 h 5973007"/>
              <a:gd name="connsiteX18158" fmla="*/ 983862 w 6884782"/>
              <a:gd name="connsiteY18158" fmla="*/ 4420033 h 5973007"/>
              <a:gd name="connsiteX18159" fmla="*/ 983398 w 6884782"/>
              <a:gd name="connsiteY18159" fmla="*/ 4421272 h 5973007"/>
              <a:gd name="connsiteX18160" fmla="*/ 971316 w 6884782"/>
              <a:gd name="connsiteY18160" fmla="*/ 4425712 h 5973007"/>
              <a:gd name="connsiteX18161" fmla="*/ 976118 w 6884782"/>
              <a:gd name="connsiteY18161" fmla="*/ 4421789 h 5973007"/>
              <a:gd name="connsiteX18162" fmla="*/ 983862 w 6884782"/>
              <a:gd name="connsiteY18162" fmla="*/ 4420033 h 5973007"/>
              <a:gd name="connsiteX18163" fmla="*/ 5492574 w 6884782"/>
              <a:gd name="connsiteY18163" fmla="*/ 4419122 h 5973007"/>
              <a:gd name="connsiteX18164" fmla="*/ 5486688 w 6884782"/>
              <a:gd name="connsiteY18164" fmla="*/ 4425214 h 5973007"/>
              <a:gd name="connsiteX18165" fmla="*/ 5484675 w 6884782"/>
              <a:gd name="connsiteY18165" fmla="*/ 4425007 h 5973007"/>
              <a:gd name="connsiteX18166" fmla="*/ 5484984 w 6884782"/>
              <a:gd name="connsiteY18166" fmla="*/ 4422426 h 5973007"/>
              <a:gd name="connsiteX18167" fmla="*/ 5492574 w 6884782"/>
              <a:gd name="connsiteY18167" fmla="*/ 4419122 h 5973007"/>
              <a:gd name="connsiteX18168" fmla="*/ 6056610 w 6884782"/>
              <a:gd name="connsiteY18168" fmla="*/ 4419006 h 5973007"/>
              <a:gd name="connsiteX18169" fmla="*/ 6063832 w 6884782"/>
              <a:gd name="connsiteY18169" fmla="*/ 4422426 h 5973007"/>
              <a:gd name="connsiteX18170" fmla="*/ 6057636 w 6884782"/>
              <a:gd name="connsiteY18170" fmla="*/ 4427072 h 5973007"/>
              <a:gd name="connsiteX18171" fmla="*/ 6049736 w 6884782"/>
              <a:gd name="connsiteY18171" fmla="*/ 4422633 h 5973007"/>
              <a:gd name="connsiteX18172" fmla="*/ 6056610 w 6884782"/>
              <a:gd name="connsiteY18172" fmla="*/ 4419006 h 5973007"/>
              <a:gd name="connsiteX18173" fmla="*/ 1478602 w 6884782"/>
              <a:gd name="connsiteY18173" fmla="*/ 4418691 h 5973007"/>
              <a:gd name="connsiteX18174" fmla="*/ 1469772 w 6884782"/>
              <a:gd name="connsiteY18174" fmla="*/ 4438413 h 5973007"/>
              <a:gd name="connsiteX18175" fmla="*/ 1478602 w 6884782"/>
              <a:gd name="connsiteY18175" fmla="*/ 4418691 h 5973007"/>
              <a:gd name="connsiteX18176" fmla="*/ 1583156 w 6884782"/>
              <a:gd name="connsiteY18176" fmla="*/ 4418278 h 5973007"/>
              <a:gd name="connsiteX18177" fmla="*/ 1585170 w 6884782"/>
              <a:gd name="connsiteY18177" fmla="*/ 4421272 h 5973007"/>
              <a:gd name="connsiteX18178" fmla="*/ 1584705 w 6884782"/>
              <a:gd name="connsiteY18178" fmla="*/ 4423544 h 5973007"/>
              <a:gd name="connsiteX18179" fmla="*/ 1585015 w 6884782"/>
              <a:gd name="connsiteY18179" fmla="*/ 4423544 h 5973007"/>
              <a:gd name="connsiteX18180" fmla="*/ 1590746 w 6884782"/>
              <a:gd name="connsiteY18180" fmla="*/ 4428913 h 5973007"/>
              <a:gd name="connsiteX18181" fmla="*/ 1588268 w 6884782"/>
              <a:gd name="connsiteY18181" fmla="*/ 4429430 h 5973007"/>
              <a:gd name="connsiteX18182" fmla="*/ 1584550 w 6884782"/>
              <a:gd name="connsiteY18182" fmla="*/ 4426848 h 5973007"/>
              <a:gd name="connsiteX18183" fmla="*/ 1584240 w 6884782"/>
              <a:gd name="connsiteY18183" fmla="*/ 4426125 h 5973007"/>
              <a:gd name="connsiteX18184" fmla="*/ 1582382 w 6884782"/>
              <a:gd name="connsiteY18184" fmla="*/ 4427468 h 5973007"/>
              <a:gd name="connsiteX18185" fmla="*/ 1580833 w 6884782"/>
              <a:gd name="connsiteY18185" fmla="*/ 4430049 h 5973007"/>
              <a:gd name="connsiteX18186" fmla="*/ 1578354 w 6884782"/>
              <a:gd name="connsiteY18186" fmla="*/ 4430359 h 5973007"/>
              <a:gd name="connsiteX18187" fmla="*/ 1578200 w 6884782"/>
              <a:gd name="connsiteY18187" fmla="*/ 4430359 h 5973007"/>
              <a:gd name="connsiteX18188" fmla="*/ 1578200 w 6884782"/>
              <a:gd name="connsiteY18188" fmla="*/ 4430462 h 5973007"/>
              <a:gd name="connsiteX18189" fmla="*/ 1579439 w 6884782"/>
              <a:gd name="connsiteY18189" fmla="*/ 4431598 h 5973007"/>
              <a:gd name="connsiteX18190" fmla="*/ 1579594 w 6884782"/>
              <a:gd name="connsiteY18190" fmla="*/ 4431288 h 5973007"/>
              <a:gd name="connsiteX18191" fmla="*/ 1587338 w 6884782"/>
              <a:gd name="connsiteY18191" fmla="*/ 4429016 h 5973007"/>
              <a:gd name="connsiteX18192" fmla="*/ 1582537 w 6884782"/>
              <a:gd name="connsiteY18192" fmla="*/ 4437793 h 5973007"/>
              <a:gd name="connsiteX18193" fmla="*/ 1579903 w 6884782"/>
              <a:gd name="connsiteY18193" fmla="*/ 4438929 h 5973007"/>
              <a:gd name="connsiteX18194" fmla="*/ 1577580 w 6884782"/>
              <a:gd name="connsiteY18194" fmla="*/ 4438723 h 5973007"/>
              <a:gd name="connsiteX18195" fmla="*/ 1577580 w 6884782"/>
              <a:gd name="connsiteY18195" fmla="*/ 4439652 h 5973007"/>
              <a:gd name="connsiteX18196" fmla="*/ 1578200 w 6884782"/>
              <a:gd name="connsiteY18196" fmla="*/ 4444608 h 5973007"/>
              <a:gd name="connsiteX18197" fmla="*/ 1574173 w 6884782"/>
              <a:gd name="connsiteY18197" fmla="*/ 4445847 h 5973007"/>
              <a:gd name="connsiteX18198" fmla="*/ 1570300 w 6884782"/>
              <a:gd name="connsiteY18198" fmla="*/ 4443059 h 5973007"/>
              <a:gd name="connsiteX18199" fmla="*/ 1569990 w 6884782"/>
              <a:gd name="connsiteY18199" fmla="*/ 4441924 h 5973007"/>
              <a:gd name="connsiteX18200" fmla="*/ 1568906 w 6884782"/>
              <a:gd name="connsiteY18200" fmla="*/ 4436658 h 5973007"/>
              <a:gd name="connsiteX18201" fmla="*/ 1567047 w 6884782"/>
              <a:gd name="connsiteY18201" fmla="*/ 4435418 h 5973007"/>
              <a:gd name="connsiteX18202" fmla="*/ 1570454 w 6884782"/>
              <a:gd name="connsiteY18202" fmla="*/ 4429946 h 5973007"/>
              <a:gd name="connsiteX18203" fmla="*/ 1572158 w 6884782"/>
              <a:gd name="connsiteY18203" fmla="*/ 4429843 h 5973007"/>
              <a:gd name="connsiteX18204" fmla="*/ 1572313 w 6884782"/>
              <a:gd name="connsiteY18204" fmla="*/ 4428087 h 5973007"/>
              <a:gd name="connsiteX18205" fmla="*/ 1572778 w 6884782"/>
              <a:gd name="connsiteY18205" fmla="*/ 4428191 h 5973007"/>
              <a:gd name="connsiteX18206" fmla="*/ 1572778 w 6884782"/>
              <a:gd name="connsiteY18206" fmla="*/ 4426642 h 5973007"/>
              <a:gd name="connsiteX18207" fmla="*/ 1583156 w 6884782"/>
              <a:gd name="connsiteY18207" fmla="*/ 4418278 h 5973007"/>
              <a:gd name="connsiteX18208" fmla="*/ 650681 w 6884782"/>
              <a:gd name="connsiteY18208" fmla="*/ 4417658 h 5973007"/>
              <a:gd name="connsiteX18209" fmla="*/ 655482 w 6884782"/>
              <a:gd name="connsiteY18209" fmla="*/ 4423234 h 5973007"/>
              <a:gd name="connsiteX18210" fmla="*/ 650681 w 6884782"/>
              <a:gd name="connsiteY18210" fmla="*/ 4429223 h 5973007"/>
              <a:gd name="connsiteX18211" fmla="*/ 649131 w 6884782"/>
              <a:gd name="connsiteY18211" fmla="*/ 4428191 h 5973007"/>
              <a:gd name="connsiteX18212" fmla="*/ 647738 w 6884782"/>
              <a:gd name="connsiteY18212" fmla="*/ 4426642 h 5973007"/>
              <a:gd name="connsiteX18213" fmla="*/ 646963 w 6884782"/>
              <a:gd name="connsiteY18213" fmla="*/ 4424680 h 5973007"/>
              <a:gd name="connsiteX18214" fmla="*/ 646963 w 6884782"/>
              <a:gd name="connsiteY18214" fmla="*/ 4421892 h 5973007"/>
              <a:gd name="connsiteX18215" fmla="*/ 649131 w 6884782"/>
              <a:gd name="connsiteY18215" fmla="*/ 4418484 h 5973007"/>
              <a:gd name="connsiteX18216" fmla="*/ 650681 w 6884782"/>
              <a:gd name="connsiteY18216" fmla="*/ 4417658 h 5973007"/>
              <a:gd name="connsiteX18217" fmla="*/ 5967177 w 6884782"/>
              <a:gd name="connsiteY18217" fmla="*/ 4417470 h 5973007"/>
              <a:gd name="connsiteX18218" fmla="*/ 5968106 w 6884782"/>
              <a:gd name="connsiteY18218" fmla="*/ 4419329 h 5973007"/>
              <a:gd name="connsiteX18219" fmla="*/ 5967331 w 6884782"/>
              <a:gd name="connsiteY18219" fmla="*/ 4421910 h 5973007"/>
              <a:gd name="connsiteX18220" fmla="*/ 5963924 w 6884782"/>
              <a:gd name="connsiteY18220" fmla="*/ 4422633 h 5973007"/>
              <a:gd name="connsiteX18221" fmla="*/ 5962994 w 6884782"/>
              <a:gd name="connsiteY18221" fmla="*/ 4420877 h 5973007"/>
              <a:gd name="connsiteX18222" fmla="*/ 5962994 w 6884782"/>
              <a:gd name="connsiteY18222" fmla="*/ 4418089 h 5973007"/>
              <a:gd name="connsiteX18223" fmla="*/ 5967177 w 6884782"/>
              <a:gd name="connsiteY18223" fmla="*/ 4417470 h 5973007"/>
              <a:gd name="connsiteX18224" fmla="*/ 1036682 w 6884782"/>
              <a:gd name="connsiteY18224" fmla="*/ 4417245 h 5973007"/>
              <a:gd name="connsiteX18225" fmla="*/ 1043033 w 6884782"/>
              <a:gd name="connsiteY18225" fmla="*/ 4421479 h 5973007"/>
              <a:gd name="connsiteX18226" fmla="*/ 1036992 w 6884782"/>
              <a:gd name="connsiteY18226" fmla="*/ 4418794 h 5973007"/>
              <a:gd name="connsiteX18227" fmla="*/ 1036682 w 6884782"/>
              <a:gd name="connsiteY18227" fmla="*/ 4417245 h 5973007"/>
              <a:gd name="connsiteX18228" fmla="*/ 5579471 w 6884782"/>
              <a:gd name="connsiteY18228" fmla="*/ 4416747 h 5973007"/>
              <a:gd name="connsiteX18229" fmla="*/ 5580245 w 6884782"/>
              <a:gd name="connsiteY18229" fmla="*/ 4417263 h 5973007"/>
              <a:gd name="connsiteX18230" fmla="*/ 5582879 w 6884782"/>
              <a:gd name="connsiteY18230" fmla="*/ 4419018 h 5973007"/>
              <a:gd name="connsiteX18231" fmla="*/ 5581794 w 6884782"/>
              <a:gd name="connsiteY18231" fmla="*/ 4423562 h 5973007"/>
              <a:gd name="connsiteX18232" fmla="*/ 5578542 w 6884782"/>
              <a:gd name="connsiteY18232" fmla="*/ 4423665 h 5973007"/>
              <a:gd name="connsiteX18233" fmla="*/ 5576838 w 6884782"/>
              <a:gd name="connsiteY18233" fmla="*/ 4422426 h 5973007"/>
              <a:gd name="connsiteX18234" fmla="*/ 5577612 w 6884782"/>
              <a:gd name="connsiteY18234" fmla="*/ 4417779 h 5973007"/>
              <a:gd name="connsiteX18235" fmla="*/ 5579471 w 6884782"/>
              <a:gd name="connsiteY18235" fmla="*/ 4416747 h 5973007"/>
              <a:gd name="connsiteX18236" fmla="*/ 5959432 w 6884782"/>
              <a:gd name="connsiteY18236" fmla="*/ 4415921 h 5973007"/>
              <a:gd name="connsiteX18237" fmla="*/ 5960206 w 6884782"/>
              <a:gd name="connsiteY18237" fmla="*/ 4416850 h 5973007"/>
              <a:gd name="connsiteX18238" fmla="*/ 5963769 w 6884782"/>
              <a:gd name="connsiteY18238" fmla="*/ 4427072 h 5973007"/>
              <a:gd name="connsiteX18239" fmla="*/ 5960206 w 6884782"/>
              <a:gd name="connsiteY18239" fmla="*/ 4428105 h 5973007"/>
              <a:gd name="connsiteX18240" fmla="*/ 5956334 w 6884782"/>
              <a:gd name="connsiteY18240" fmla="*/ 4425834 h 5973007"/>
              <a:gd name="connsiteX18241" fmla="*/ 5951687 w 6884782"/>
              <a:gd name="connsiteY18241" fmla="*/ 4417263 h 5973007"/>
              <a:gd name="connsiteX18242" fmla="*/ 5959432 w 6884782"/>
              <a:gd name="connsiteY18242" fmla="*/ 4415921 h 5973007"/>
              <a:gd name="connsiteX18243" fmla="*/ 1443595 w 6884782"/>
              <a:gd name="connsiteY18243" fmla="*/ 4415593 h 5973007"/>
              <a:gd name="connsiteX18244" fmla="*/ 1455057 w 6884782"/>
              <a:gd name="connsiteY18244" fmla="*/ 4423957 h 5973007"/>
              <a:gd name="connsiteX18245" fmla="*/ 1454437 w 6884782"/>
              <a:gd name="connsiteY18245" fmla="*/ 4426538 h 5973007"/>
              <a:gd name="connsiteX18246" fmla="*/ 1455832 w 6884782"/>
              <a:gd name="connsiteY18246" fmla="*/ 4424783 h 5973007"/>
              <a:gd name="connsiteX18247" fmla="*/ 1472560 w 6884782"/>
              <a:gd name="connsiteY18247" fmla="*/ 4421995 h 5973007"/>
              <a:gd name="connsiteX18248" fmla="*/ 1457071 w 6884782"/>
              <a:gd name="connsiteY18248" fmla="*/ 4430772 h 5973007"/>
              <a:gd name="connsiteX18249" fmla="*/ 1451959 w 6884782"/>
              <a:gd name="connsiteY18249" fmla="*/ 4429533 h 5973007"/>
              <a:gd name="connsiteX18250" fmla="*/ 1453043 w 6884782"/>
              <a:gd name="connsiteY18250" fmla="*/ 4428294 h 5973007"/>
              <a:gd name="connsiteX18251" fmla="*/ 1448086 w 6884782"/>
              <a:gd name="connsiteY18251" fmla="*/ 4422924 h 5973007"/>
              <a:gd name="connsiteX18252" fmla="*/ 1443595 w 6884782"/>
              <a:gd name="connsiteY18252" fmla="*/ 4415593 h 5973007"/>
              <a:gd name="connsiteX18253" fmla="*/ 1483868 w 6884782"/>
              <a:gd name="connsiteY18253" fmla="*/ 4415283 h 5973007"/>
              <a:gd name="connsiteX18254" fmla="*/ 1485107 w 6884782"/>
              <a:gd name="connsiteY18254" fmla="*/ 4416936 h 5973007"/>
              <a:gd name="connsiteX18255" fmla="*/ 1485417 w 6884782"/>
              <a:gd name="connsiteY18255" fmla="*/ 4417762 h 5973007"/>
              <a:gd name="connsiteX18256" fmla="*/ 1488050 w 6884782"/>
              <a:gd name="connsiteY18256" fmla="*/ 4419930 h 5973007"/>
              <a:gd name="connsiteX18257" fmla="*/ 1488824 w 6884782"/>
              <a:gd name="connsiteY18257" fmla="*/ 4420240 h 5973007"/>
              <a:gd name="connsiteX18258" fmla="*/ 1488979 w 6884782"/>
              <a:gd name="connsiteY18258" fmla="*/ 4419827 h 5973007"/>
              <a:gd name="connsiteX18259" fmla="*/ 1493781 w 6884782"/>
              <a:gd name="connsiteY18259" fmla="*/ 4417865 h 5973007"/>
              <a:gd name="connsiteX18260" fmla="*/ 1495020 w 6884782"/>
              <a:gd name="connsiteY18260" fmla="*/ 4419207 h 5973007"/>
              <a:gd name="connsiteX18261" fmla="*/ 1493626 w 6884782"/>
              <a:gd name="connsiteY18261" fmla="*/ 4421685 h 5973007"/>
              <a:gd name="connsiteX18262" fmla="*/ 1494401 w 6884782"/>
              <a:gd name="connsiteY18262" fmla="*/ 4421892 h 5973007"/>
              <a:gd name="connsiteX18263" fmla="*/ 1510665 w 6884782"/>
              <a:gd name="connsiteY18263" fmla="*/ 4427777 h 5973007"/>
              <a:gd name="connsiteX18264" fmla="*/ 1505398 w 6884782"/>
              <a:gd name="connsiteY18264" fmla="*/ 4428500 h 5973007"/>
              <a:gd name="connsiteX18265" fmla="*/ 1506173 w 6884782"/>
              <a:gd name="connsiteY18265" fmla="*/ 4429636 h 5973007"/>
              <a:gd name="connsiteX18266" fmla="*/ 1506173 w 6884782"/>
              <a:gd name="connsiteY18266" fmla="*/ 4434489 h 5973007"/>
              <a:gd name="connsiteX18267" fmla="*/ 1503385 w 6884782"/>
              <a:gd name="connsiteY18267" fmla="*/ 4437380 h 5973007"/>
              <a:gd name="connsiteX18268" fmla="*/ 1501836 w 6884782"/>
              <a:gd name="connsiteY18268" fmla="*/ 4438103 h 5973007"/>
              <a:gd name="connsiteX18269" fmla="*/ 1498428 w 6884782"/>
              <a:gd name="connsiteY18269" fmla="*/ 4435522 h 5973007"/>
              <a:gd name="connsiteX18270" fmla="*/ 1497963 w 6884782"/>
              <a:gd name="connsiteY18270" fmla="*/ 4431598 h 5973007"/>
              <a:gd name="connsiteX18271" fmla="*/ 1499202 w 6884782"/>
              <a:gd name="connsiteY18271" fmla="*/ 4429533 h 5973007"/>
              <a:gd name="connsiteX18272" fmla="*/ 1498428 w 6884782"/>
              <a:gd name="connsiteY18272" fmla="*/ 4429636 h 5973007"/>
              <a:gd name="connsiteX18273" fmla="*/ 1497344 w 6884782"/>
              <a:gd name="connsiteY18273" fmla="*/ 4429533 h 5973007"/>
              <a:gd name="connsiteX18274" fmla="*/ 1497034 w 6884782"/>
              <a:gd name="connsiteY18274" fmla="*/ 4431082 h 5973007"/>
              <a:gd name="connsiteX18275" fmla="*/ 1493936 w 6884782"/>
              <a:gd name="connsiteY18275" fmla="*/ 4429533 h 5973007"/>
              <a:gd name="connsiteX18276" fmla="*/ 1494246 w 6884782"/>
              <a:gd name="connsiteY18276" fmla="*/ 4429223 h 5973007"/>
              <a:gd name="connsiteX18277" fmla="*/ 1491767 w 6884782"/>
              <a:gd name="connsiteY18277" fmla="*/ 4428913 h 5973007"/>
              <a:gd name="connsiteX18278" fmla="*/ 1484177 w 6884782"/>
              <a:gd name="connsiteY18278" fmla="*/ 4425712 h 5973007"/>
              <a:gd name="connsiteX18279" fmla="*/ 1483248 w 6884782"/>
              <a:gd name="connsiteY18279" fmla="*/ 4421272 h 5973007"/>
              <a:gd name="connsiteX18280" fmla="*/ 1483248 w 6884782"/>
              <a:gd name="connsiteY18280" fmla="*/ 4419414 h 5973007"/>
              <a:gd name="connsiteX18281" fmla="*/ 1482784 w 6884782"/>
              <a:gd name="connsiteY18281" fmla="*/ 4418588 h 5973007"/>
              <a:gd name="connsiteX18282" fmla="*/ 1483868 w 6884782"/>
              <a:gd name="connsiteY18282" fmla="*/ 4415283 h 5973007"/>
              <a:gd name="connsiteX18283" fmla="*/ 6253115 w 6884782"/>
              <a:gd name="connsiteY18283" fmla="*/ 4414475 h 5973007"/>
              <a:gd name="connsiteX18284" fmla="*/ 6254199 w 6884782"/>
              <a:gd name="connsiteY18284" fmla="*/ 4418193 h 5973007"/>
              <a:gd name="connsiteX18285" fmla="*/ 6254509 w 6884782"/>
              <a:gd name="connsiteY18285" fmla="*/ 4417676 h 5973007"/>
              <a:gd name="connsiteX18286" fmla="*/ 6259775 w 6884782"/>
              <a:gd name="connsiteY18286" fmla="*/ 4422116 h 5973007"/>
              <a:gd name="connsiteX18287" fmla="*/ 6263958 w 6884782"/>
              <a:gd name="connsiteY18287" fmla="*/ 4423252 h 5973007"/>
              <a:gd name="connsiteX18288" fmla="*/ 6269069 w 6884782"/>
              <a:gd name="connsiteY18288" fmla="*/ 4424491 h 5973007"/>
              <a:gd name="connsiteX18289" fmla="*/ 6269844 w 6884782"/>
              <a:gd name="connsiteY18289" fmla="*/ 4424698 h 5973007"/>
              <a:gd name="connsiteX18290" fmla="*/ 6267365 w 6884782"/>
              <a:gd name="connsiteY18290" fmla="*/ 4422116 h 5973007"/>
              <a:gd name="connsiteX18291" fmla="*/ 6254044 w 6884782"/>
              <a:gd name="connsiteY18291" fmla="*/ 4416024 h 5973007"/>
              <a:gd name="connsiteX18292" fmla="*/ 4918683 w 6884782"/>
              <a:gd name="connsiteY18292" fmla="*/ 4414475 h 5973007"/>
              <a:gd name="connsiteX18293" fmla="*/ 4918529 w 6884782"/>
              <a:gd name="connsiteY18293" fmla="*/ 4416128 h 5973007"/>
              <a:gd name="connsiteX18294" fmla="*/ 4919303 w 6884782"/>
              <a:gd name="connsiteY18294" fmla="*/ 4416128 h 5973007"/>
              <a:gd name="connsiteX18295" fmla="*/ 4918374 w 6884782"/>
              <a:gd name="connsiteY18295" fmla="*/ 4417779 h 5973007"/>
              <a:gd name="connsiteX18296" fmla="*/ 4917599 w 6884782"/>
              <a:gd name="connsiteY18296" fmla="*/ 4417779 h 5973007"/>
              <a:gd name="connsiteX18297" fmla="*/ 4917289 w 6884782"/>
              <a:gd name="connsiteY18297" fmla="*/ 4417986 h 5973007"/>
              <a:gd name="connsiteX18298" fmla="*/ 4916050 w 6884782"/>
              <a:gd name="connsiteY18298" fmla="*/ 4416953 h 5973007"/>
              <a:gd name="connsiteX18299" fmla="*/ 4915121 w 6884782"/>
              <a:gd name="connsiteY18299" fmla="*/ 4416024 h 5973007"/>
              <a:gd name="connsiteX18300" fmla="*/ 4915431 w 6884782"/>
              <a:gd name="connsiteY18300" fmla="*/ 4415198 h 5973007"/>
              <a:gd name="connsiteX18301" fmla="*/ 4918683 w 6884782"/>
              <a:gd name="connsiteY18301" fmla="*/ 4414475 h 5973007"/>
              <a:gd name="connsiteX18302" fmla="*/ 1779100 w 6884782"/>
              <a:gd name="connsiteY18302" fmla="*/ 4413735 h 5973007"/>
              <a:gd name="connsiteX18303" fmla="*/ 1790253 w 6884782"/>
              <a:gd name="connsiteY18303" fmla="*/ 4426229 h 5973007"/>
              <a:gd name="connsiteX18304" fmla="*/ 1786690 w 6884782"/>
              <a:gd name="connsiteY18304" fmla="*/ 4426745 h 5973007"/>
              <a:gd name="connsiteX18305" fmla="*/ 1784211 w 6884782"/>
              <a:gd name="connsiteY18305" fmla="*/ 4425609 h 5973007"/>
              <a:gd name="connsiteX18306" fmla="*/ 1783592 w 6884782"/>
              <a:gd name="connsiteY18306" fmla="*/ 4426229 h 5973007"/>
              <a:gd name="connsiteX18307" fmla="*/ 1780029 w 6884782"/>
              <a:gd name="connsiteY18307" fmla="*/ 4421892 h 5973007"/>
              <a:gd name="connsiteX18308" fmla="*/ 1777706 w 6884782"/>
              <a:gd name="connsiteY18308" fmla="*/ 4419414 h 5973007"/>
              <a:gd name="connsiteX18309" fmla="*/ 1779100 w 6884782"/>
              <a:gd name="connsiteY18309" fmla="*/ 4413735 h 5973007"/>
              <a:gd name="connsiteX18310" fmla="*/ 1092755 w 6884782"/>
              <a:gd name="connsiteY18310" fmla="*/ 4413528 h 5973007"/>
              <a:gd name="connsiteX18311" fmla="*/ 1094303 w 6884782"/>
              <a:gd name="connsiteY18311" fmla="*/ 4414354 h 5973007"/>
              <a:gd name="connsiteX18312" fmla="*/ 1093839 w 6884782"/>
              <a:gd name="connsiteY18312" fmla="*/ 4414664 h 5973007"/>
              <a:gd name="connsiteX18313" fmla="*/ 1092755 w 6884782"/>
              <a:gd name="connsiteY18313" fmla="*/ 4414354 h 5973007"/>
              <a:gd name="connsiteX18314" fmla="*/ 1092755 w 6884782"/>
              <a:gd name="connsiteY18314" fmla="*/ 4413528 h 5973007"/>
              <a:gd name="connsiteX18315" fmla="*/ 1581143 w 6884782"/>
              <a:gd name="connsiteY18315" fmla="*/ 4413322 h 5973007"/>
              <a:gd name="connsiteX18316" fmla="*/ 1578354 w 6884782"/>
              <a:gd name="connsiteY18316" fmla="*/ 4419001 h 5973007"/>
              <a:gd name="connsiteX18317" fmla="*/ 1573553 w 6884782"/>
              <a:gd name="connsiteY18317" fmla="*/ 4414354 h 5973007"/>
              <a:gd name="connsiteX18318" fmla="*/ 1581143 w 6884782"/>
              <a:gd name="connsiteY18318" fmla="*/ 4413322 h 5973007"/>
              <a:gd name="connsiteX18319" fmla="*/ 1299076 w 6884782"/>
              <a:gd name="connsiteY18319" fmla="*/ 4413218 h 5973007"/>
              <a:gd name="connsiteX18320" fmla="*/ 1299076 w 6884782"/>
              <a:gd name="connsiteY18320" fmla="*/ 4415593 h 5973007"/>
              <a:gd name="connsiteX18321" fmla="*/ 1300470 w 6884782"/>
              <a:gd name="connsiteY18321" fmla="*/ 4415593 h 5973007"/>
              <a:gd name="connsiteX18322" fmla="*/ 1299076 w 6884782"/>
              <a:gd name="connsiteY18322" fmla="*/ 4417968 h 5973007"/>
              <a:gd name="connsiteX18323" fmla="*/ 1297837 w 6884782"/>
              <a:gd name="connsiteY18323" fmla="*/ 4417968 h 5973007"/>
              <a:gd name="connsiteX18324" fmla="*/ 1297527 w 6884782"/>
              <a:gd name="connsiteY18324" fmla="*/ 4418381 h 5973007"/>
              <a:gd name="connsiteX18325" fmla="*/ 1295204 w 6884782"/>
              <a:gd name="connsiteY18325" fmla="*/ 4416832 h 5973007"/>
              <a:gd name="connsiteX18326" fmla="*/ 1293965 w 6884782"/>
              <a:gd name="connsiteY18326" fmla="*/ 4414354 h 5973007"/>
              <a:gd name="connsiteX18327" fmla="*/ 1299076 w 6884782"/>
              <a:gd name="connsiteY18327" fmla="*/ 4413218 h 5973007"/>
              <a:gd name="connsiteX18328" fmla="*/ 1278785 w 6884782"/>
              <a:gd name="connsiteY18328" fmla="*/ 4413115 h 5973007"/>
              <a:gd name="connsiteX18329" fmla="*/ 1291642 w 6884782"/>
              <a:gd name="connsiteY18329" fmla="*/ 4419001 h 5973007"/>
              <a:gd name="connsiteX18330" fmla="*/ 1284981 w 6884782"/>
              <a:gd name="connsiteY18330" fmla="*/ 4428707 h 5973007"/>
              <a:gd name="connsiteX18331" fmla="*/ 1279405 w 6884782"/>
              <a:gd name="connsiteY18331" fmla="*/ 4426435 h 5973007"/>
              <a:gd name="connsiteX18332" fmla="*/ 1278785 w 6884782"/>
              <a:gd name="connsiteY18332" fmla="*/ 4413115 h 5973007"/>
              <a:gd name="connsiteX18333" fmla="*/ 1103752 w 6884782"/>
              <a:gd name="connsiteY18333" fmla="*/ 4413012 h 5973007"/>
              <a:gd name="connsiteX18334" fmla="*/ 1105920 w 6884782"/>
              <a:gd name="connsiteY18334" fmla="*/ 4413528 h 5973007"/>
              <a:gd name="connsiteX18335" fmla="*/ 1107934 w 6884782"/>
              <a:gd name="connsiteY18335" fmla="*/ 4413322 h 5973007"/>
              <a:gd name="connsiteX18336" fmla="*/ 1112427 w 6884782"/>
              <a:gd name="connsiteY18336" fmla="*/ 4416419 h 5973007"/>
              <a:gd name="connsiteX18337" fmla="*/ 1095853 w 6884782"/>
              <a:gd name="connsiteY18337" fmla="*/ 4420859 h 5973007"/>
              <a:gd name="connsiteX18338" fmla="*/ 1093994 w 6884782"/>
              <a:gd name="connsiteY18338" fmla="*/ 4420446 h 5973007"/>
              <a:gd name="connsiteX18339" fmla="*/ 1093529 w 6884782"/>
              <a:gd name="connsiteY18339" fmla="*/ 4418381 h 5973007"/>
              <a:gd name="connsiteX18340" fmla="*/ 1103752 w 6884782"/>
              <a:gd name="connsiteY18340" fmla="*/ 4413012 h 5973007"/>
              <a:gd name="connsiteX18341" fmla="*/ 966514 w 6884782"/>
              <a:gd name="connsiteY18341" fmla="*/ 4412909 h 5973007"/>
              <a:gd name="connsiteX18342" fmla="*/ 970386 w 6884782"/>
              <a:gd name="connsiteY18342" fmla="*/ 4414871 h 5973007"/>
              <a:gd name="connsiteX18343" fmla="*/ 969767 w 6884782"/>
              <a:gd name="connsiteY18343" fmla="*/ 4417039 h 5973007"/>
              <a:gd name="connsiteX18344" fmla="*/ 971471 w 6884782"/>
              <a:gd name="connsiteY18344" fmla="*/ 4416832 h 5973007"/>
              <a:gd name="connsiteX18345" fmla="*/ 970077 w 6884782"/>
              <a:gd name="connsiteY18345" fmla="*/ 4421685 h 5973007"/>
              <a:gd name="connsiteX18346" fmla="*/ 970077 w 6884782"/>
              <a:gd name="connsiteY18346" fmla="*/ 4423544 h 5973007"/>
              <a:gd name="connsiteX18347" fmla="*/ 968528 w 6884782"/>
              <a:gd name="connsiteY18347" fmla="*/ 4422615 h 5973007"/>
              <a:gd name="connsiteX18348" fmla="*/ 970077 w 6884782"/>
              <a:gd name="connsiteY18348" fmla="*/ 4419723 h 5973007"/>
              <a:gd name="connsiteX18349" fmla="*/ 968528 w 6884782"/>
              <a:gd name="connsiteY18349" fmla="*/ 4418691 h 5973007"/>
              <a:gd name="connsiteX18350" fmla="*/ 968838 w 6884782"/>
              <a:gd name="connsiteY18350" fmla="*/ 4417452 h 5973007"/>
              <a:gd name="connsiteX18351" fmla="*/ 968992 w 6884782"/>
              <a:gd name="connsiteY18351" fmla="*/ 4417245 h 5973007"/>
              <a:gd name="connsiteX18352" fmla="*/ 968838 w 6884782"/>
              <a:gd name="connsiteY18352" fmla="*/ 4417142 h 5973007"/>
              <a:gd name="connsiteX18353" fmla="*/ 968838 w 6884782"/>
              <a:gd name="connsiteY18353" fmla="*/ 4417452 h 5973007"/>
              <a:gd name="connsiteX18354" fmla="*/ 961248 w 6884782"/>
              <a:gd name="connsiteY18354" fmla="*/ 4421582 h 5973007"/>
              <a:gd name="connsiteX18355" fmla="*/ 961248 w 6884782"/>
              <a:gd name="connsiteY18355" fmla="*/ 4422615 h 5973007"/>
              <a:gd name="connsiteX18356" fmla="*/ 961867 w 6884782"/>
              <a:gd name="connsiteY18356" fmla="*/ 4423028 h 5973007"/>
              <a:gd name="connsiteX18357" fmla="*/ 964191 w 6884782"/>
              <a:gd name="connsiteY18357" fmla="*/ 4422408 h 5973007"/>
              <a:gd name="connsiteX18358" fmla="*/ 971006 w 6884782"/>
              <a:gd name="connsiteY18358" fmla="*/ 4426745 h 5973007"/>
              <a:gd name="connsiteX18359" fmla="*/ 970386 w 6884782"/>
              <a:gd name="connsiteY18359" fmla="*/ 4429326 h 5973007"/>
              <a:gd name="connsiteX18360" fmla="*/ 969922 w 6884782"/>
              <a:gd name="connsiteY18360" fmla="*/ 4431908 h 5973007"/>
              <a:gd name="connsiteX18361" fmla="*/ 970232 w 6884782"/>
              <a:gd name="connsiteY18361" fmla="*/ 4430772 h 5973007"/>
              <a:gd name="connsiteX18362" fmla="*/ 973949 w 6884782"/>
              <a:gd name="connsiteY18362" fmla="*/ 4429223 h 5973007"/>
              <a:gd name="connsiteX18363" fmla="*/ 972400 w 6884782"/>
              <a:gd name="connsiteY18363" fmla="*/ 4435832 h 5973007"/>
              <a:gd name="connsiteX18364" fmla="*/ 968992 w 6884782"/>
              <a:gd name="connsiteY18364" fmla="*/ 4435625 h 5973007"/>
              <a:gd name="connsiteX18365" fmla="*/ 968838 w 6884782"/>
              <a:gd name="connsiteY18365" fmla="*/ 4435728 h 5973007"/>
              <a:gd name="connsiteX18366" fmla="*/ 968528 w 6884782"/>
              <a:gd name="connsiteY18366" fmla="*/ 4439445 h 5973007"/>
              <a:gd name="connsiteX18367" fmla="*/ 967753 w 6884782"/>
              <a:gd name="connsiteY18367" fmla="*/ 4439858 h 5973007"/>
              <a:gd name="connsiteX18368" fmla="*/ 966205 w 6884782"/>
              <a:gd name="connsiteY18368" fmla="*/ 4438619 h 5973007"/>
              <a:gd name="connsiteX18369" fmla="*/ 966205 w 6884782"/>
              <a:gd name="connsiteY18369" fmla="*/ 4437277 h 5973007"/>
              <a:gd name="connsiteX18370" fmla="*/ 963261 w 6884782"/>
              <a:gd name="connsiteY18370" fmla="*/ 4438929 h 5973007"/>
              <a:gd name="connsiteX18371" fmla="*/ 955516 w 6884782"/>
              <a:gd name="connsiteY18371" fmla="*/ 4432940 h 5973007"/>
              <a:gd name="connsiteX18372" fmla="*/ 959544 w 6884782"/>
              <a:gd name="connsiteY18372" fmla="*/ 4423647 h 5973007"/>
              <a:gd name="connsiteX18373" fmla="*/ 959389 w 6884782"/>
              <a:gd name="connsiteY18373" fmla="*/ 4422924 h 5973007"/>
              <a:gd name="connsiteX18374" fmla="*/ 958615 w 6884782"/>
              <a:gd name="connsiteY18374" fmla="*/ 4423647 h 5973007"/>
              <a:gd name="connsiteX18375" fmla="*/ 957840 w 6884782"/>
              <a:gd name="connsiteY18375" fmla="*/ 4424370 h 5973007"/>
              <a:gd name="connsiteX18376" fmla="*/ 955981 w 6884782"/>
              <a:gd name="connsiteY18376" fmla="*/ 4424576 h 5973007"/>
              <a:gd name="connsiteX18377" fmla="*/ 950715 w 6884782"/>
              <a:gd name="connsiteY18377" fmla="*/ 4421995 h 5973007"/>
              <a:gd name="connsiteX18378" fmla="*/ 962642 w 6884782"/>
              <a:gd name="connsiteY18378" fmla="*/ 4415800 h 5973007"/>
              <a:gd name="connsiteX18379" fmla="*/ 965430 w 6884782"/>
              <a:gd name="connsiteY18379" fmla="*/ 4415490 h 5973007"/>
              <a:gd name="connsiteX18380" fmla="*/ 600185 w 6884782"/>
              <a:gd name="connsiteY18380" fmla="*/ 4412289 h 5973007"/>
              <a:gd name="connsiteX18381" fmla="*/ 621715 w 6884782"/>
              <a:gd name="connsiteY18381" fmla="*/ 4422408 h 5973007"/>
              <a:gd name="connsiteX18382" fmla="*/ 602352 w 6884782"/>
              <a:gd name="connsiteY18382" fmla="*/ 4417555 h 5973007"/>
              <a:gd name="connsiteX18383" fmla="*/ 600185 w 6884782"/>
              <a:gd name="connsiteY18383" fmla="*/ 4412289 h 5973007"/>
              <a:gd name="connsiteX18384" fmla="*/ 1307441 w 6884782"/>
              <a:gd name="connsiteY18384" fmla="*/ 4412186 h 5973007"/>
              <a:gd name="connsiteX18385" fmla="*/ 1312553 w 6884782"/>
              <a:gd name="connsiteY18385" fmla="*/ 4413838 h 5973007"/>
              <a:gd name="connsiteX18386" fmla="*/ 1308215 w 6884782"/>
              <a:gd name="connsiteY18386" fmla="*/ 4423131 h 5973007"/>
              <a:gd name="connsiteX18387" fmla="*/ 1304498 w 6884782"/>
              <a:gd name="connsiteY18387" fmla="*/ 4420756 h 5973007"/>
              <a:gd name="connsiteX18388" fmla="*/ 1307441 w 6884782"/>
              <a:gd name="connsiteY18388" fmla="*/ 4412186 h 5973007"/>
              <a:gd name="connsiteX18389" fmla="*/ 1686937 w 6884782"/>
              <a:gd name="connsiteY18389" fmla="*/ 4411979 h 5973007"/>
              <a:gd name="connsiteX18390" fmla="*/ 1699328 w 6884782"/>
              <a:gd name="connsiteY18390" fmla="*/ 4425919 h 5973007"/>
              <a:gd name="connsiteX18391" fmla="*/ 1686937 w 6884782"/>
              <a:gd name="connsiteY18391" fmla="*/ 4411979 h 5973007"/>
              <a:gd name="connsiteX18392" fmla="*/ 5681083 w 6884782"/>
              <a:gd name="connsiteY18392" fmla="*/ 4411481 h 5973007"/>
              <a:gd name="connsiteX18393" fmla="*/ 5681238 w 6884782"/>
              <a:gd name="connsiteY18393" fmla="*/ 4421187 h 5973007"/>
              <a:gd name="connsiteX18394" fmla="*/ 5681083 w 6884782"/>
              <a:gd name="connsiteY18394" fmla="*/ 4411481 h 5973007"/>
              <a:gd name="connsiteX18395" fmla="*/ 6074829 w 6884782"/>
              <a:gd name="connsiteY18395" fmla="*/ 4411377 h 5973007"/>
              <a:gd name="connsiteX18396" fmla="*/ 6076843 w 6884782"/>
              <a:gd name="connsiteY18396" fmla="*/ 4411481 h 5973007"/>
              <a:gd name="connsiteX18397" fmla="*/ 6078857 w 6884782"/>
              <a:gd name="connsiteY18397" fmla="*/ 4412823 h 5973007"/>
              <a:gd name="connsiteX18398" fmla="*/ 6077153 w 6884782"/>
              <a:gd name="connsiteY18398" fmla="*/ 4417160 h 5973007"/>
              <a:gd name="connsiteX18399" fmla="*/ 6075139 w 6884782"/>
              <a:gd name="connsiteY18399" fmla="*/ 4417057 h 5973007"/>
              <a:gd name="connsiteX18400" fmla="*/ 6073590 w 6884782"/>
              <a:gd name="connsiteY18400" fmla="*/ 4414888 h 5973007"/>
              <a:gd name="connsiteX18401" fmla="*/ 6074829 w 6884782"/>
              <a:gd name="connsiteY18401" fmla="*/ 4411377 h 5973007"/>
              <a:gd name="connsiteX18402" fmla="*/ 1593534 w 6884782"/>
              <a:gd name="connsiteY18402" fmla="*/ 4410121 h 5973007"/>
              <a:gd name="connsiteX18403" fmla="*/ 1594929 w 6884782"/>
              <a:gd name="connsiteY18403" fmla="*/ 4412289 h 5973007"/>
              <a:gd name="connsiteX18404" fmla="*/ 1592295 w 6884782"/>
              <a:gd name="connsiteY18404" fmla="*/ 4413838 h 5973007"/>
              <a:gd name="connsiteX18405" fmla="*/ 1590591 w 6884782"/>
              <a:gd name="connsiteY18405" fmla="*/ 4413012 h 5973007"/>
              <a:gd name="connsiteX18406" fmla="*/ 1593534 w 6884782"/>
              <a:gd name="connsiteY18406" fmla="*/ 4410121 h 5973007"/>
              <a:gd name="connsiteX18407" fmla="*/ 1084235 w 6884782"/>
              <a:gd name="connsiteY18407" fmla="*/ 4409811 h 5973007"/>
              <a:gd name="connsiteX18408" fmla="*/ 1084390 w 6884782"/>
              <a:gd name="connsiteY18408" fmla="*/ 4414044 h 5973007"/>
              <a:gd name="connsiteX18409" fmla="*/ 1080363 w 6884782"/>
              <a:gd name="connsiteY18409" fmla="*/ 4416419 h 5973007"/>
              <a:gd name="connsiteX18410" fmla="*/ 1077885 w 6884782"/>
              <a:gd name="connsiteY18410" fmla="*/ 4418484 h 5973007"/>
              <a:gd name="connsiteX18411" fmla="*/ 1076645 w 6884782"/>
              <a:gd name="connsiteY18411" fmla="*/ 4418691 h 5973007"/>
              <a:gd name="connsiteX18412" fmla="*/ 1075406 w 6884782"/>
              <a:gd name="connsiteY18412" fmla="*/ 4417968 h 5973007"/>
              <a:gd name="connsiteX18413" fmla="*/ 1078349 w 6884782"/>
              <a:gd name="connsiteY18413" fmla="*/ 4411256 h 5973007"/>
              <a:gd name="connsiteX18414" fmla="*/ 1084235 w 6884782"/>
              <a:gd name="connsiteY18414" fmla="*/ 4409811 h 5973007"/>
              <a:gd name="connsiteX18415" fmla="*/ 1021812 w 6884782"/>
              <a:gd name="connsiteY18415" fmla="*/ 4409398 h 5973007"/>
              <a:gd name="connsiteX18416" fmla="*/ 1023361 w 6884782"/>
              <a:gd name="connsiteY18416" fmla="*/ 4423854 h 5973007"/>
              <a:gd name="connsiteX18417" fmla="*/ 1021967 w 6884782"/>
              <a:gd name="connsiteY18417" fmla="*/ 4424886 h 5973007"/>
              <a:gd name="connsiteX18418" fmla="*/ 1028473 w 6884782"/>
              <a:gd name="connsiteY18418" fmla="*/ 4426229 h 5973007"/>
              <a:gd name="connsiteX18419" fmla="*/ 1047370 w 6884782"/>
              <a:gd name="connsiteY18419" fmla="*/ 4428810 h 5973007"/>
              <a:gd name="connsiteX18420" fmla="*/ 1027853 w 6884782"/>
              <a:gd name="connsiteY18420" fmla="*/ 4435109 h 5973007"/>
              <a:gd name="connsiteX18421" fmla="*/ 1023671 w 6884782"/>
              <a:gd name="connsiteY18421" fmla="*/ 4432424 h 5973007"/>
              <a:gd name="connsiteX18422" fmla="*/ 1021502 w 6884782"/>
              <a:gd name="connsiteY18422" fmla="*/ 4425196 h 5973007"/>
              <a:gd name="connsiteX18423" fmla="*/ 1018249 w 6884782"/>
              <a:gd name="connsiteY18423" fmla="*/ 4427674 h 5973007"/>
              <a:gd name="connsiteX18424" fmla="*/ 1012983 w 6884782"/>
              <a:gd name="connsiteY18424" fmla="*/ 4420137 h 5973007"/>
              <a:gd name="connsiteX18425" fmla="*/ 1013602 w 6884782"/>
              <a:gd name="connsiteY18425" fmla="*/ 4410431 h 5973007"/>
              <a:gd name="connsiteX18426" fmla="*/ 1021812 w 6884782"/>
              <a:gd name="connsiteY18426" fmla="*/ 4409398 h 5973007"/>
              <a:gd name="connsiteX18427" fmla="*/ 1610728 w 6884782"/>
              <a:gd name="connsiteY18427" fmla="*/ 4409295 h 5973007"/>
              <a:gd name="connsiteX18428" fmla="*/ 1610108 w 6884782"/>
              <a:gd name="connsiteY18428" fmla="*/ 4419827 h 5973007"/>
              <a:gd name="connsiteX18429" fmla="*/ 1606081 w 6884782"/>
              <a:gd name="connsiteY18429" fmla="*/ 4423647 h 5973007"/>
              <a:gd name="connsiteX18430" fmla="*/ 1604377 w 6884782"/>
              <a:gd name="connsiteY18430" fmla="*/ 4421789 h 5973007"/>
              <a:gd name="connsiteX18431" fmla="*/ 1604996 w 6884782"/>
              <a:gd name="connsiteY18431" fmla="*/ 4415903 h 5973007"/>
              <a:gd name="connsiteX18432" fmla="*/ 1610728 w 6884782"/>
              <a:gd name="connsiteY18432" fmla="*/ 4409295 h 5973007"/>
              <a:gd name="connsiteX18433" fmla="*/ 996255 w 6884782"/>
              <a:gd name="connsiteY18433" fmla="*/ 4408262 h 5973007"/>
              <a:gd name="connsiteX18434" fmla="*/ 1000437 w 6884782"/>
              <a:gd name="connsiteY18434" fmla="*/ 4412496 h 5973007"/>
              <a:gd name="connsiteX18435" fmla="*/ 996719 w 6884782"/>
              <a:gd name="connsiteY18435" fmla="*/ 4414767 h 5973007"/>
              <a:gd name="connsiteX18436" fmla="*/ 992692 w 6884782"/>
              <a:gd name="connsiteY18436" fmla="*/ 4412496 h 5973007"/>
              <a:gd name="connsiteX18437" fmla="*/ 989748 w 6884782"/>
              <a:gd name="connsiteY18437" fmla="*/ 4411463 h 5973007"/>
              <a:gd name="connsiteX18438" fmla="*/ 988974 w 6884782"/>
              <a:gd name="connsiteY18438" fmla="*/ 4408985 h 5973007"/>
              <a:gd name="connsiteX18439" fmla="*/ 996255 w 6884782"/>
              <a:gd name="connsiteY18439" fmla="*/ 4408262 h 5973007"/>
              <a:gd name="connsiteX18440" fmla="*/ 5954165 w 6884782"/>
              <a:gd name="connsiteY18440" fmla="*/ 4407970 h 5973007"/>
              <a:gd name="connsiteX18441" fmla="*/ 5948124 w 6884782"/>
              <a:gd name="connsiteY18441" fmla="*/ 4413443 h 5973007"/>
              <a:gd name="connsiteX18442" fmla="*/ 5945646 w 6884782"/>
              <a:gd name="connsiteY18442" fmla="*/ 4413133 h 5973007"/>
              <a:gd name="connsiteX18443" fmla="*/ 5954165 w 6884782"/>
              <a:gd name="connsiteY18443" fmla="*/ 4407970 h 5973007"/>
              <a:gd name="connsiteX18444" fmla="*/ 1257564 w 6884782"/>
              <a:gd name="connsiteY18444" fmla="*/ 4407436 h 5973007"/>
              <a:gd name="connsiteX18445" fmla="*/ 1260043 w 6884782"/>
              <a:gd name="connsiteY18445" fmla="*/ 4408159 h 5973007"/>
              <a:gd name="connsiteX18446" fmla="*/ 1257564 w 6884782"/>
              <a:gd name="connsiteY18446" fmla="*/ 4413322 h 5973007"/>
              <a:gd name="connsiteX18447" fmla="*/ 1255706 w 6884782"/>
              <a:gd name="connsiteY18447" fmla="*/ 4412082 h 5973007"/>
              <a:gd name="connsiteX18448" fmla="*/ 1257564 w 6884782"/>
              <a:gd name="connsiteY18448" fmla="*/ 4407436 h 5973007"/>
              <a:gd name="connsiteX18449" fmla="*/ 1454747 w 6884782"/>
              <a:gd name="connsiteY18449" fmla="*/ 4407023 h 5973007"/>
              <a:gd name="connsiteX18450" fmla="*/ 1459084 w 6884782"/>
              <a:gd name="connsiteY18450" fmla="*/ 4410017 h 5973007"/>
              <a:gd name="connsiteX18451" fmla="*/ 1453508 w 6884782"/>
              <a:gd name="connsiteY18451" fmla="*/ 4413941 h 5973007"/>
              <a:gd name="connsiteX18452" fmla="*/ 1452269 w 6884782"/>
              <a:gd name="connsiteY18452" fmla="*/ 4412289 h 5973007"/>
              <a:gd name="connsiteX18453" fmla="*/ 1454747 w 6884782"/>
              <a:gd name="connsiteY18453" fmla="*/ 4407023 h 5973007"/>
              <a:gd name="connsiteX18454" fmla="*/ 1119087 w 6884782"/>
              <a:gd name="connsiteY18454" fmla="*/ 4405577 h 5973007"/>
              <a:gd name="connsiteX18455" fmla="*/ 1136590 w 6884782"/>
              <a:gd name="connsiteY18455" fmla="*/ 4414871 h 5973007"/>
              <a:gd name="connsiteX18456" fmla="*/ 1136126 w 6884782"/>
              <a:gd name="connsiteY18456" fmla="*/ 4420343 h 5973007"/>
              <a:gd name="connsiteX18457" fmla="*/ 1137830 w 6884782"/>
              <a:gd name="connsiteY18457" fmla="*/ 4420343 h 5973007"/>
              <a:gd name="connsiteX18458" fmla="*/ 1139998 w 6884782"/>
              <a:gd name="connsiteY18458" fmla="*/ 4421066 h 5973007"/>
              <a:gd name="connsiteX18459" fmla="*/ 1141547 w 6884782"/>
              <a:gd name="connsiteY18459" fmla="*/ 4420343 h 5973007"/>
              <a:gd name="connsiteX18460" fmla="*/ 1146659 w 6884782"/>
              <a:gd name="connsiteY18460" fmla="*/ 4424164 h 5973007"/>
              <a:gd name="connsiteX18461" fmla="*/ 1142786 w 6884782"/>
              <a:gd name="connsiteY18461" fmla="*/ 4423338 h 5973007"/>
              <a:gd name="connsiteX18462" fmla="*/ 1140618 w 6884782"/>
              <a:gd name="connsiteY18462" fmla="*/ 4422615 h 5973007"/>
              <a:gd name="connsiteX18463" fmla="*/ 1138759 w 6884782"/>
              <a:gd name="connsiteY18463" fmla="*/ 4422615 h 5973007"/>
              <a:gd name="connsiteX18464" fmla="*/ 1136590 w 6884782"/>
              <a:gd name="connsiteY18464" fmla="*/ 4421479 h 5973007"/>
              <a:gd name="connsiteX18465" fmla="*/ 1136126 w 6884782"/>
              <a:gd name="connsiteY18465" fmla="*/ 4420446 h 5973007"/>
              <a:gd name="connsiteX18466" fmla="*/ 1135971 w 6884782"/>
              <a:gd name="connsiteY18466" fmla="*/ 4420549 h 5973007"/>
              <a:gd name="connsiteX18467" fmla="*/ 1119087 w 6884782"/>
              <a:gd name="connsiteY18467" fmla="*/ 4405577 h 5973007"/>
              <a:gd name="connsiteX18468" fmla="*/ 621715 w 6884782"/>
              <a:gd name="connsiteY18468" fmla="*/ 4404029 h 5973007"/>
              <a:gd name="connsiteX18469" fmla="*/ 621405 w 6884782"/>
              <a:gd name="connsiteY18469" fmla="*/ 4407539 h 5973007"/>
              <a:gd name="connsiteX18470" fmla="*/ 617068 w 6884782"/>
              <a:gd name="connsiteY18470" fmla="*/ 4404442 h 5973007"/>
              <a:gd name="connsiteX18471" fmla="*/ 621715 w 6884782"/>
              <a:gd name="connsiteY18471" fmla="*/ 4404029 h 5973007"/>
              <a:gd name="connsiteX18472" fmla="*/ 1521353 w 6884782"/>
              <a:gd name="connsiteY18472" fmla="*/ 4403822 h 5973007"/>
              <a:gd name="connsiteX18473" fmla="*/ 1535139 w 6884782"/>
              <a:gd name="connsiteY18473" fmla="*/ 4410224 h 5973007"/>
              <a:gd name="connsiteX18474" fmla="*/ 1529717 w 6884782"/>
              <a:gd name="connsiteY18474" fmla="*/ 4419620 h 5973007"/>
              <a:gd name="connsiteX18475" fmla="*/ 1527549 w 6884782"/>
              <a:gd name="connsiteY18475" fmla="*/ 4419723 h 5973007"/>
              <a:gd name="connsiteX18476" fmla="*/ 1528633 w 6884782"/>
              <a:gd name="connsiteY18476" fmla="*/ 4421479 h 5973007"/>
              <a:gd name="connsiteX18477" fmla="*/ 1528633 w 6884782"/>
              <a:gd name="connsiteY18477" fmla="*/ 4426848 h 5973007"/>
              <a:gd name="connsiteX18478" fmla="*/ 1527549 w 6884782"/>
              <a:gd name="connsiteY18478" fmla="*/ 4429636 h 5973007"/>
              <a:gd name="connsiteX18479" fmla="*/ 1527858 w 6884782"/>
              <a:gd name="connsiteY18479" fmla="*/ 4430772 h 5973007"/>
              <a:gd name="connsiteX18480" fmla="*/ 1518874 w 6884782"/>
              <a:gd name="connsiteY18480" fmla="*/ 4438206 h 5973007"/>
              <a:gd name="connsiteX18481" fmla="*/ 1514227 w 6884782"/>
              <a:gd name="connsiteY18481" fmla="*/ 4436658 h 5973007"/>
              <a:gd name="connsiteX18482" fmla="*/ 1513453 w 6884782"/>
              <a:gd name="connsiteY18482" fmla="*/ 4435728 h 5973007"/>
              <a:gd name="connsiteX18483" fmla="*/ 1514382 w 6884782"/>
              <a:gd name="connsiteY18483" fmla="*/ 4438516 h 5973007"/>
              <a:gd name="connsiteX18484" fmla="*/ 1513298 w 6884782"/>
              <a:gd name="connsiteY18484" fmla="*/ 4442234 h 5973007"/>
              <a:gd name="connsiteX18485" fmla="*/ 1512989 w 6884782"/>
              <a:gd name="connsiteY18485" fmla="*/ 4446570 h 5973007"/>
              <a:gd name="connsiteX18486" fmla="*/ 1511284 w 6884782"/>
              <a:gd name="connsiteY18486" fmla="*/ 4448016 h 5973007"/>
              <a:gd name="connsiteX18487" fmla="*/ 1510355 w 6884782"/>
              <a:gd name="connsiteY18487" fmla="*/ 4447809 h 5973007"/>
              <a:gd name="connsiteX18488" fmla="*/ 1509891 w 6884782"/>
              <a:gd name="connsiteY18488" fmla="*/ 4445847 h 5973007"/>
              <a:gd name="connsiteX18489" fmla="*/ 1510355 w 6884782"/>
              <a:gd name="connsiteY18489" fmla="*/ 4440891 h 5973007"/>
              <a:gd name="connsiteX18490" fmla="*/ 1510974 w 6884782"/>
              <a:gd name="connsiteY18490" fmla="*/ 4437897 h 5973007"/>
              <a:gd name="connsiteX18491" fmla="*/ 1509271 w 6884782"/>
              <a:gd name="connsiteY18491" fmla="*/ 4443059 h 5973007"/>
              <a:gd name="connsiteX18492" fmla="*/ 1505708 w 6884782"/>
              <a:gd name="connsiteY18492" fmla="*/ 4448429 h 5973007"/>
              <a:gd name="connsiteX18493" fmla="*/ 1505243 w 6884782"/>
              <a:gd name="connsiteY18493" fmla="*/ 4445641 h 5973007"/>
              <a:gd name="connsiteX18494" fmla="*/ 1505553 w 6884782"/>
              <a:gd name="connsiteY18494" fmla="*/ 4444505 h 5973007"/>
              <a:gd name="connsiteX18495" fmla="*/ 1505243 w 6884782"/>
              <a:gd name="connsiteY18495" fmla="*/ 4443782 h 5973007"/>
              <a:gd name="connsiteX18496" fmla="*/ 1505863 w 6884782"/>
              <a:gd name="connsiteY18496" fmla="*/ 4443266 h 5973007"/>
              <a:gd name="connsiteX18497" fmla="*/ 1506638 w 6884782"/>
              <a:gd name="connsiteY18497" fmla="*/ 4440891 h 5973007"/>
              <a:gd name="connsiteX18498" fmla="*/ 1506483 w 6884782"/>
              <a:gd name="connsiteY18498" fmla="*/ 4435005 h 5973007"/>
              <a:gd name="connsiteX18499" fmla="*/ 1509426 w 6884782"/>
              <a:gd name="connsiteY18499" fmla="*/ 4429326 h 5973007"/>
              <a:gd name="connsiteX18500" fmla="*/ 1511749 w 6884782"/>
              <a:gd name="connsiteY18500" fmla="*/ 4429843 h 5973007"/>
              <a:gd name="connsiteX18501" fmla="*/ 1512369 w 6884782"/>
              <a:gd name="connsiteY18501" fmla="*/ 4427468 h 5973007"/>
              <a:gd name="connsiteX18502" fmla="*/ 1522437 w 6884782"/>
              <a:gd name="connsiteY18502" fmla="*/ 4422202 h 5973007"/>
              <a:gd name="connsiteX18503" fmla="*/ 1523831 w 6884782"/>
              <a:gd name="connsiteY18503" fmla="*/ 4423441 h 5973007"/>
              <a:gd name="connsiteX18504" fmla="*/ 1523986 w 6884782"/>
              <a:gd name="connsiteY18504" fmla="*/ 4423544 h 5973007"/>
              <a:gd name="connsiteX18505" fmla="*/ 1524140 w 6884782"/>
              <a:gd name="connsiteY18505" fmla="*/ 4423131 h 5973007"/>
              <a:gd name="connsiteX18506" fmla="*/ 1525070 w 6884782"/>
              <a:gd name="connsiteY18506" fmla="*/ 4419414 h 5973007"/>
              <a:gd name="connsiteX18507" fmla="*/ 1526619 w 6884782"/>
              <a:gd name="connsiteY18507" fmla="*/ 4419207 h 5973007"/>
              <a:gd name="connsiteX18508" fmla="*/ 1523521 w 6884782"/>
              <a:gd name="connsiteY18508" fmla="*/ 4417039 h 5973007"/>
              <a:gd name="connsiteX18509" fmla="*/ 1521353 w 6884782"/>
              <a:gd name="connsiteY18509" fmla="*/ 4403822 h 5973007"/>
              <a:gd name="connsiteX18510" fmla="*/ 5524018 w 6884782"/>
              <a:gd name="connsiteY18510" fmla="*/ 4403737 h 5973007"/>
              <a:gd name="connsiteX18511" fmla="*/ 5517203 w 6884782"/>
              <a:gd name="connsiteY18511" fmla="*/ 4431203 h 5973007"/>
              <a:gd name="connsiteX18512" fmla="*/ 5514260 w 6884782"/>
              <a:gd name="connsiteY18512" fmla="*/ 4424801 h 5973007"/>
              <a:gd name="connsiteX18513" fmla="*/ 5524018 w 6884782"/>
              <a:gd name="connsiteY18513" fmla="*/ 4403737 h 5973007"/>
              <a:gd name="connsiteX18514" fmla="*/ 5939605 w 6884782"/>
              <a:gd name="connsiteY18514" fmla="*/ 4403324 h 5973007"/>
              <a:gd name="connsiteX18515" fmla="*/ 5940534 w 6884782"/>
              <a:gd name="connsiteY18515" fmla="*/ 4403324 h 5973007"/>
              <a:gd name="connsiteX18516" fmla="*/ 5939295 w 6884782"/>
              <a:gd name="connsiteY18516" fmla="*/ 4413856 h 5973007"/>
              <a:gd name="connsiteX18517" fmla="*/ 5937901 w 6884782"/>
              <a:gd name="connsiteY18517" fmla="*/ 4414682 h 5973007"/>
              <a:gd name="connsiteX18518" fmla="*/ 5935888 w 6884782"/>
              <a:gd name="connsiteY18518" fmla="*/ 4413649 h 5973007"/>
              <a:gd name="connsiteX18519" fmla="*/ 5935732 w 6884782"/>
              <a:gd name="connsiteY18519" fmla="*/ 4409209 h 5973007"/>
              <a:gd name="connsiteX18520" fmla="*/ 5938985 w 6884782"/>
              <a:gd name="connsiteY18520" fmla="*/ 4405905 h 5973007"/>
              <a:gd name="connsiteX18521" fmla="*/ 5939605 w 6884782"/>
              <a:gd name="connsiteY18521" fmla="*/ 4403324 h 5973007"/>
              <a:gd name="connsiteX18522" fmla="*/ 739281 w 6884782"/>
              <a:gd name="connsiteY18522" fmla="*/ 4403203 h 5973007"/>
              <a:gd name="connsiteX18523" fmla="*/ 734789 w 6884782"/>
              <a:gd name="connsiteY18523" fmla="*/ 4409914 h 5973007"/>
              <a:gd name="connsiteX18524" fmla="*/ 732001 w 6884782"/>
              <a:gd name="connsiteY18524" fmla="*/ 4409088 h 5973007"/>
              <a:gd name="connsiteX18525" fmla="*/ 730452 w 6884782"/>
              <a:gd name="connsiteY18525" fmla="*/ 4404235 h 5973007"/>
              <a:gd name="connsiteX18526" fmla="*/ 739281 w 6884782"/>
              <a:gd name="connsiteY18526" fmla="*/ 4403203 h 5973007"/>
              <a:gd name="connsiteX18527" fmla="*/ 1565653 w 6884782"/>
              <a:gd name="connsiteY18527" fmla="*/ 4402996 h 5973007"/>
              <a:gd name="connsiteX18528" fmla="*/ 1568441 w 6884782"/>
              <a:gd name="connsiteY18528" fmla="*/ 4407952 h 5973007"/>
              <a:gd name="connsiteX18529" fmla="*/ 1564414 w 6884782"/>
              <a:gd name="connsiteY18529" fmla="*/ 4409708 h 5973007"/>
              <a:gd name="connsiteX18530" fmla="*/ 1560077 w 6884782"/>
              <a:gd name="connsiteY18530" fmla="*/ 4407642 h 5973007"/>
              <a:gd name="connsiteX18531" fmla="*/ 1565653 w 6884782"/>
              <a:gd name="connsiteY18531" fmla="*/ 4402996 h 5973007"/>
              <a:gd name="connsiteX18532" fmla="*/ 1427640 w 6884782"/>
              <a:gd name="connsiteY18532" fmla="*/ 4401964 h 5973007"/>
              <a:gd name="connsiteX18533" fmla="*/ 1429809 w 6884782"/>
              <a:gd name="connsiteY18533" fmla="*/ 4405784 h 5973007"/>
              <a:gd name="connsiteX18534" fmla="*/ 1430738 w 6884782"/>
              <a:gd name="connsiteY18534" fmla="*/ 4405990 h 5973007"/>
              <a:gd name="connsiteX18535" fmla="*/ 1432442 w 6884782"/>
              <a:gd name="connsiteY18535" fmla="*/ 4404545 h 5973007"/>
              <a:gd name="connsiteX18536" fmla="*/ 1440806 w 6884782"/>
              <a:gd name="connsiteY18536" fmla="*/ 4405887 h 5973007"/>
              <a:gd name="connsiteX18537" fmla="*/ 1442665 w 6884782"/>
              <a:gd name="connsiteY18537" fmla="*/ 4415800 h 5973007"/>
              <a:gd name="connsiteX18538" fmla="*/ 1439877 w 6884782"/>
              <a:gd name="connsiteY18538" fmla="*/ 4419723 h 5973007"/>
              <a:gd name="connsiteX18539" fmla="*/ 1435850 w 6884782"/>
              <a:gd name="connsiteY18539" fmla="*/ 4419930 h 5973007"/>
              <a:gd name="connsiteX18540" fmla="*/ 1429964 w 6884782"/>
              <a:gd name="connsiteY18540" fmla="*/ 4417245 h 5973007"/>
              <a:gd name="connsiteX18541" fmla="*/ 1428879 w 6884782"/>
              <a:gd name="connsiteY18541" fmla="*/ 4407436 h 5973007"/>
              <a:gd name="connsiteX18542" fmla="*/ 1427331 w 6884782"/>
              <a:gd name="connsiteY18542" fmla="*/ 4406300 h 5973007"/>
              <a:gd name="connsiteX18543" fmla="*/ 1425937 w 6884782"/>
              <a:gd name="connsiteY18543" fmla="*/ 4402480 h 5973007"/>
              <a:gd name="connsiteX18544" fmla="*/ 1427640 w 6884782"/>
              <a:gd name="connsiteY18544" fmla="*/ 4401964 h 5973007"/>
              <a:gd name="connsiteX18545" fmla="*/ 1176088 w 6884782"/>
              <a:gd name="connsiteY18545" fmla="*/ 4401550 h 5973007"/>
              <a:gd name="connsiteX18546" fmla="*/ 1178412 w 6884782"/>
              <a:gd name="connsiteY18546" fmla="*/ 4406610 h 5973007"/>
              <a:gd name="connsiteX18547" fmla="*/ 1174695 w 6884782"/>
              <a:gd name="connsiteY18547" fmla="*/ 4408881 h 5973007"/>
              <a:gd name="connsiteX18548" fmla="*/ 1172836 w 6884782"/>
              <a:gd name="connsiteY18548" fmla="*/ 4407849 h 5973007"/>
              <a:gd name="connsiteX18549" fmla="*/ 1172681 w 6884782"/>
              <a:gd name="connsiteY18549" fmla="*/ 4407023 h 5973007"/>
              <a:gd name="connsiteX18550" fmla="*/ 1172216 w 6884782"/>
              <a:gd name="connsiteY18550" fmla="*/ 4403512 h 5973007"/>
              <a:gd name="connsiteX18551" fmla="*/ 1176088 w 6884782"/>
              <a:gd name="connsiteY18551" fmla="*/ 4401550 h 5973007"/>
              <a:gd name="connsiteX18552" fmla="*/ 6041681 w 6884782"/>
              <a:gd name="connsiteY18552" fmla="*/ 4401155 h 5973007"/>
              <a:gd name="connsiteX18553" fmla="*/ 6043540 w 6884782"/>
              <a:gd name="connsiteY18553" fmla="*/ 4401259 h 5973007"/>
              <a:gd name="connsiteX18554" fmla="*/ 6043231 w 6884782"/>
              <a:gd name="connsiteY18554" fmla="*/ 4401981 h 5973007"/>
              <a:gd name="connsiteX18555" fmla="*/ 6041836 w 6884782"/>
              <a:gd name="connsiteY18555" fmla="*/ 4401981 h 5973007"/>
              <a:gd name="connsiteX18556" fmla="*/ 6041681 w 6884782"/>
              <a:gd name="connsiteY18556" fmla="*/ 4401155 h 5973007"/>
              <a:gd name="connsiteX18557" fmla="*/ 6039358 w 6884782"/>
              <a:gd name="connsiteY18557" fmla="*/ 4400949 h 5973007"/>
              <a:gd name="connsiteX18558" fmla="*/ 6040597 w 6884782"/>
              <a:gd name="connsiteY18558" fmla="*/ 4401775 h 5973007"/>
              <a:gd name="connsiteX18559" fmla="*/ 6041217 w 6884782"/>
              <a:gd name="connsiteY18559" fmla="*/ 4402084 h 5973007"/>
              <a:gd name="connsiteX18560" fmla="*/ 6041062 w 6884782"/>
              <a:gd name="connsiteY18560" fmla="*/ 4402188 h 5973007"/>
              <a:gd name="connsiteX18561" fmla="*/ 6042456 w 6884782"/>
              <a:gd name="connsiteY18561" fmla="*/ 4404046 h 5973007"/>
              <a:gd name="connsiteX18562" fmla="*/ 6044160 w 6884782"/>
              <a:gd name="connsiteY18562" fmla="*/ 4404356 h 5973007"/>
              <a:gd name="connsiteX18563" fmla="*/ 6047103 w 6884782"/>
              <a:gd name="connsiteY18563" fmla="*/ 4410758 h 5973007"/>
              <a:gd name="connsiteX18564" fmla="*/ 6043850 w 6884782"/>
              <a:gd name="connsiteY18564" fmla="*/ 4407764 h 5973007"/>
              <a:gd name="connsiteX18565" fmla="*/ 6042301 w 6884782"/>
              <a:gd name="connsiteY18565" fmla="*/ 4405802 h 5973007"/>
              <a:gd name="connsiteX18566" fmla="*/ 6040752 w 6884782"/>
              <a:gd name="connsiteY18566" fmla="*/ 4404666 h 5973007"/>
              <a:gd name="connsiteX18567" fmla="*/ 6039823 w 6884782"/>
              <a:gd name="connsiteY18567" fmla="*/ 4403014 h 5973007"/>
              <a:gd name="connsiteX18568" fmla="*/ 6039668 w 6884782"/>
              <a:gd name="connsiteY18568" fmla="*/ 4403014 h 5973007"/>
              <a:gd name="connsiteX18569" fmla="*/ 6037964 w 6884782"/>
              <a:gd name="connsiteY18569" fmla="*/ 4403427 h 5973007"/>
              <a:gd name="connsiteX18570" fmla="*/ 6037035 w 6884782"/>
              <a:gd name="connsiteY18570" fmla="*/ 4402807 h 5973007"/>
              <a:gd name="connsiteX18571" fmla="*/ 6036415 w 6884782"/>
              <a:gd name="connsiteY18571" fmla="*/ 4401362 h 5973007"/>
              <a:gd name="connsiteX18572" fmla="*/ 6039048 w 6884782"/>
              <a:gd name="connsiteY18572" fmla="*/ 4401259 h 5973007"/>
              <a:gd name="connsiteX18573" fmla="*/ 6039358 w 6884782"/>
              <a:gd name="connsiteY18573" fmla="*/ 4401465 h 5973007"/>
              <a:gd name="connsiteX18574" fmla="*/ 5497531 w 6884782"/>
              <a:gd name="connsiteY18574" fmla="*/ 4400123 h 5973007"/>
              <a:gd name="connsiteX18575" fmla="*/ 5495672 w 6884782"/>
              <a:gd name="connsiteY18575" fmla="*/ 4407350 h 5973007"/>
              <a:gd name="connsiteX18576" fmla="*/ 5491955 w 6884782"/>
              <a:gd name="connsiteY18576" fmla="*/ 4407970 h 5973007"/>
              <a:gd name="connsiteX18577" fmla="*/ 5487927 w 6884782"/>
              <a:gd name="connsiteY18577" fmla="*/ 4406628 h 5973007"/>
              <a:gd name="connsiteX18578" fmla="*/ 5497531 w 6884782"/>
              <a:gd name="connsiteY18578" fmla="*/ 4400123 h 5973007"/>
              <a:gd name="connsiteX18579" fmla="*/ 1370949 w 6884782"/>
              <a:gd name="connsiteY18579" fmla="*/ 4400002 h 5973007"/>
              <a:gd name="connsiteX18580" fmla="*/ 1371723 w 6884782"/>
              <a:gd name="connsiteY18580" fmla="*/ 4400105 h 5973007"/>
              <a:gd name="connsiteX18581" fmla="*/ 1370793 w 6884782"/>
              <a:gd name="connsiteY18581" fmla="*/ 4403306 h 5973007"/>
              <a:gd name="connsiteX18582" fmla="*/ 1370949 w 6884782"/>
              <a:gd name="connsiteY18582" fmla="*/ 4400002 h 5973007"/>
              <a:gd name="connsiteX18583" fmla="*/ 6045709 w 6884782"/>
              <a:gd name="connsiteY18583" fmla="*/ 4399503 h 5973007"/>
              <a:gd name="connsiteX18584" fmla="*/ 6047568 w 6884782"/>
              <a:gd name="connsiteY18584" fmla="*/ 4399606 h 5973007"/>
              <a:gd name="connsiteX18585" fmla="*/ 6046948 w 6884782"/>
              <a:gd name="connsiteY18585" fmla="*/ 4400639 h 5973007"/>
              <a:gd name="connsiteX18586" fmla="*/ 6045709 w 6884782"/>
              <a:gd name="connsiteY18586" fmla="*/ 4399503 h 5973007"/>
              <a:gd name="connsiteX18587" fmla="*/ 1648987 w 6884782"/>
              <a:gd name="connsiteY18587" fmla="*/ 4398556 h 5973007"/>
              <a:gd name="connsiteX18588" fmla="*/ 1654099 w 6884782"/>
              <a:gd name="connsiteY18588" fmla="*/ 4402170 h 5973007"/>
              <a:gd name="connsiteX18589" fmla="*/ 1651775 w 6884782"/>
              <a:gd name="connsiteY18589" fmla="*/ 4404545 h 5973007"/>
              <a:gd name="connsiteX18590" fmla="*/ 1656112 w 6884782"/>
              <a:gd name="connsiteY18590" fmla="*/ 4407849 h 5973007"/>
              <a:gd name="connsiteX18591" fmla="*/ 1658281 w 6884782"/>
              <a:gd name="connsiteY18591" fmla="*/ 4412702 h 5973007"/>
              <a:gd name="connsiteX18592" fmla="*/ 1656267 w 6884782"/>
              <a:gd name="connsiteY18592" fmla="*/ 4418484 h 5973007"/>
              <a:gd name="connsiteX18593" fmla="*/ 1653324 w 6884782"/>
              <a:gd name="connsiteY18593" fmla="*/ 4419517 h 5973007"/>
              <a:gd name="connsiteX18594" fmla="*/ 1654408 w 6884782"/>
              <a:gd name="connsiteY18594" fmla="*/ 4420446 h 5973007"/>
              <a:gd name="connsiteX18595" fmla="*/ 1656422 w 6884782"/>
              <a:gd name="connsiteY18595" fmla="*/ 4422821 h 5973007"/>
              <a:gd name="connsiteX18596" fmla="*/ 1653789 w 6884782"/>
              <a:gd name="connsiteY18596" fmla="*/ 4425196 h 5973007"/>
              <a:gd name="connsiteX18597" fmla="*/ 1651466 w 6884782"/>
              <a:gd name="connsiteY18597" fmla="*/ 4425299 h 5973007"/>
              <a:gd name="connsiteX18598" fmla="*/ 1651775 w 6884782"/>
              <a:gd name="connsiteY18598" fmla="*/ 4426538 h 5973007"/>
              <a:gd name="connsiteX18599" fmla="*/ 1643411 w 6884782"/>
              <a:gd name="connsiteY18599" fmla="*/ 4432631 h 5973007"/>
              <a:gd name="connsiteX18600" fmla="*/ 1641397 w 6884782"/>
              <a:gd name="connsiteY18600" fmla="*/ 4428604 h 5973007"/>
              <a:gd name="connsiteX18601" fmla="*/ 1640468 w 6884782"/>
              <a:gd name="connsiteY18601" fmla="*/ 4425299 h 5973007"/>
              <a:gd name="connsiteX18602" fmla="*/ 1645579 w 6884782"/>
              <a:gd name="connsiteY18602" fmla="*/ 4420446 h 5973007"/>
              <a:gd name="connsiteX18603" fmla="*/ 1645889 w 6884782"/>
              <a:gd name="connsiteY18603" fmla="*/ 4420549 h 5973007"/>
              <a:gd name="connsiteX18604" fmla="*/ 1645889 w 6884782"/>
              <a:gd name="connsiteY18604" fmla="*/ 4420343 h 5973007"/>
              <a:gd name="connsiteX18605" fmla="*/ 1646974 w 6884782"/>
              <a:gd name="connsiteY18605" fmla="*/ 4419001 h 5973007"/>
              <a:gd name="connsiteX18606" fmla="*/ 1645270 w 6884782"/>
              <a:gd name="connsiteY18606" fmla="*/ 4418381 h 5973007"/>
              <a:gd name="connsiteX18607" fmla="*/ 1641707 w 6884782"/>
              <a:gd name="connsiteY18607" fmla="*/ 4409914 h 5973007"/>
              <a:gd name="connsiteX18608" fmla="*/ 1641707 w 6884782"/>
              <a:gd name="connsiteY18608" fmla="*/ 4410740 h 5973007"/>
              <a:gd name="connsiteX18609" fmla="*/ 1629470 w 6884782"/>
              <a:gd name="connsiteY18609" fmla="*/ 4417555 h 5973007"/>
              <a:gd name="connsiteX18610" fmla="*/ 1630400 w 6884782"/>
              <a:gd name="connsiteY18610" fmla="*/ 4415077 h 5973007"/>
              <a:gd name="connsiteX18611" fmla="*/ 1631329 w 6884782"/>
              <a:gd name="connsiteY18611" fmla="*/ 4414354 h 5973007"/>
              <a:gd name="connsiteX18612" fmla="*/ 1631329 w 6884782"/>
              <a:gd name="connsiteY18612" fmla="*/ 4413528 h 5973007"/>
              <a:gd name="connsiteX18613" fmla="*/ 1632258 w 6884782"/>
              <a:gd name="connsiteY18613" fmla="*/ 4413632 h 5973007"/>
              <a:gd name="connsiteX18614" fmla="*/ 1633962 w 6884782"/>
              <a:gd name="connsiteY18614" fmla="*/ 4412186 h 5973007"/>
              <a:gd name="connsiteX18615" fmla="*/ 1636751 w 6884782"/>
              <a:gd name="connsiteY18615" fmla="*/ 4407333 h 5973007"/>
              <a:gd name="connsiteX18616" fmla="*/ 1642017 w 6884782"/>
              <a:gd name="connsiteY18616" fmla="*/ 4404751 h 5973007"/>
              <a:gd name="connsiteX18617" fmla="*/ 1643565 w 6884782"/>
              <a:gd name="connsiteY18617" fmla="*/ 4406713 h 5973007"/>
              <a:gd name="connsiteX18618" fmla="*/ 1645425 w 6884782"/>
              <a:gd name="connsiteY18618" fmla="*/ 4405268 h 5973007"/>
              <a:gd name="connsiteX18619" fmla="*/ 1647593 w 6884782"/>
              <a:gd name="connsiteY18619" fmla="*/ 4403512 h 5973007"/>
              <a:gd name="connsiteX18620" fmla="*/ 1647593 w 6884782"/>
              <a:gd name="connsiteY18620" fmla="*/ 4401447 h 5973007"/>
              <a:gd name="connsiteX18621" fmla="*/ 1648987 w 6884782"/>
              <a:gd name="connsiteY18621" fmla="*/ 4398556 h 5973007"/>
              <a:gd name="connsiteX18622" fmla="*/ 1499202 w 6884782"/>
              <a:gd name="connsiteY18622" fmla="*/ 4397317 h 5973007"/>
              <a:gd name="connsiteX18623" fmla="*/ 1501836 w 6884782"/>
              <a:gd name="connsiteY18623" fmla="*/ 4398246 h 5973007"/>
              <a:gd name="connsiteX18624" fmla="*/ 1499977 w 6884782"/>
              <a:gd name="connsiteY18624" fmla="*/ 4403306 h 5973007"/>
              <a:gd name="connsiteX18625" fmla="*/ 1499202 w 6884782"/>
              <a:gd name="connsiteY18625" fmla="*/ 4397317 h 5973007"/>
              <a:gd name="connsiteX18626" fmla="*/ 6061199 w 6884782"/>
              <a:gd name="connsiteY18626" fmla="*/ 4396818 h 5973007"/>
              <a:gd name="connsiteX18627" fmla="*/ 6047723 w 6884782"/>
              <a:gd name="connsiteY18627" fmla="*/ 4399710 h 5973007"/>
              <a:gd name="connsiteX18628" fmla="*/ 6061199 w 6884782"/>
              <a:gd name="connsiteY18628" fmla="*/ 4396818 h 5973007"/>
              <a:gd name="connsiteX18629" fmla="*/ 1578665 w 6884782"/>
              <a:gd name="connsiteY18629" fmla="*/ 4396284 h 5973007"/>
              <a:gd name="connsiteX18630" fmla="*/ 1572933 w 6884782"/>
              <a:gd name="connsiteY18630" fmla="*/ 4407333 h 5973007"/>
              <a:gd name="connsiteX18631" fmla="*/ 1572778 w 6884782"/>
              <a:gd name="connsiteY18631" fmla="*/ 4404648 h 5973007"/>
              <a:gd name="connsiteX18632" fmla="*/ 1578665 w 6884782"/>
              <a:gd name="connsiteY18632" fmla="*/ 4396284 h 5973007"/>
              <a:gd name="connsiteX18633" fmla="*/ 5753110 w 6884782"/>
              <a:gd name="connsiteY18633" fmla="*/ 4395993 h 5973007"/>
              <a:gd name="connsiteX18634" fmla="*/ 5757292 w 6884782"/>
              <a:gd name="connsiteY18634" fmla="*/ 4397438 h 5973007"/>
              <a:gd name="connsiteX18635" fmla="*/ 5757912 w 6884782"/>
              <a:gd name="connsiteY18635" fmla="*/ 4400123 h 5973007"/>
              <a:gd name="connsiteX18636" fmla="*/ 5756827 w 6884782"/>
              <a:gd name="connsiteY18636" fmla="*/ 4401155 h 5973007"/>
              <a:gd name="connsiteX18637" fmla="*/ 5755433 w 6884782"/>
              <a:gd name="connsiteY18637" fmla="*/ 4400639 h 5973007"/>
              <a:gd name="connsiteX18638" fmla="*/ 5752955 w 6884782"/>
              <a:gd name="connsiteY18638" fmla="*/ 4399400 h 5973007"/>
              <a:gd name="connsiteX18639" fmla="*/ 5752645 w 6884782"/>
              <a:gd name="connsiteY18639" fmla="*/ 4397851 h 5973007"/>
              <a:gd name="connsiteX18640" fmla="*/ 5753110 w 6884782"/>
              <a:gd name="connsiteY18640" fmla="*/ 4395993 h 5973007"/>
              <a:gd name="connsiteX18641" fmla="*/ 744083 w 6884782"/>
              <a:gd name="connsiteY18641" fmla="*/ 4395768 h 5973007"/>
              <a:gd name="connsiteX18642" fmla="*/ 748111 w 6884782"/>
              <a:gd name="connsiteY18642" fmla="*/ 4401344 h 5973007"/>
              <a:gd name="connsiteX18643" fmla="*/ 743154 w 6884782"/>
              <a:gd name="connsiteY18643" fmla="*/ 4402893 h 5973007"/>
              <a:gd name="connsiteX18644" fmla="*/ 740831 w 6884782"/>
              <a:gd name="connsiteY18644" fmla="*/ 4401137 h 5973007"/>
              <a:gd name="connsiteX18645" fmla="*/ 741295 w 6884782"/>
              <a:gd name="connsiteY18645" fmla="*/ 4398040 h 5973007"/>
              <a:gd name="connsiteX18646" fmla="*/ 744083 w 6884782"/>
              <a:gd name="connsiteY18646" fmla="*/ 4395768 h 5973007"/>
              <a:gd name="connsiteX18647" fmla="*/ 1748276 w 6884782"/>
              <a:gd name="connsiteY18647" fmla="*/ 4394219 h 5973007"/>
              <a:gd name="connsiteX18648" fmla="*/ 1751993 w 6884782"/>
              <a:gd name="connsiteY18648" fmla="*/ 4397833 h 5973007"/>
              <a:gd name="connsiteX18649" fmla="*/ 1745332 w 6884782"/>
              <a:gd name="connsiteY18649" fmla="*/ 4403512 h 5973007"/>
              <a:gd name="connsiteX18650" fmla="*/ 1748276 w 6884782"/>
              <a:gd name="connsiteY18650" fmla="*/ 4394219 h 5973007"/>
              <a:gd name="connsiteX18651" fmla="*/ 1210321 w 6884782"/>
              <a:gd name="connsiteY18651" fmla="*/ 4394013 h 5973007"/>
              <a:gd name="connsiteX18652" fmla="*/ 1205365 w 6884782"/>
              <a:gd name="connsiteY18652" fmla="*/ 4402686 h 5973007"/>
              <a:gd name="connsiteX18653" fmla="*/ 1196380 w 6884782"/>
              <a:gd name="connsiteY18653" fmla="*/ 4406507 h 5973007"/>
              <a:gd name="connsiteX18654" fmla="*/ 1210321 w 6884782"/>
              <a:gd name="connsiteY18654" fmla="*/ 4394013 h 5973007"/>
              <a:gd name="connsiteX18655" fmla="*/ 1469307 w 6884782"/>
              <a:gd name="connsiteY18655" fmla="*/ 4393290 h 5973007"/>
              <a:gd name="connsiteX18656" fmla="*/ 1475968 w 6884782"/>
              <a:gd name="connsiteY18656" fmla="*/ 4403409 h 5973007"/>
              <a:gd name="connsiteX18657" fmla="*/ 1465435 w 6884782"/>
              <a:gd name="connsiteY18657" fmla="*/ 4398556 h 5973007"/>
              <a:gd name="connsiteX18658" fmla="*/ 1469307 w 6884782"/>
              <a:gd name="connsiteY18658" fmla="*/ 4393290 h 5973007"/>
              <a:gd name="connsiteX18659" fmla="*/ 5388484 w 6884782"/>
              <a:gd name="connsiteY18659" fmla="*/ 4392998 h 5973007"/>
              <a:gd name="connsiteX18660" fmla="*/ 5395144 w 6884782"/>
              <a:gd name="connsiteY18660" fmla="*/ 4395063 h 5973007"/>
              <a:gd name="connsiteX18661" fmla="*/ 5388794 w 6884782"/>
              <a:gd name="connsiteY18661" fmla="*/ 4407454 h 5973007"/>
              <a:gd name="connsiteX18662" fmla="*/ 5384456 w 6884782"/>
              <a:gd name="connsiteY18662" fmla="*/ 4404563 h 5973007"/>
              <a:gd name="connsiteX18663" fmla="*/ 5388484 w 6884782"/>
              <a:gd name="connsiteY18663" fmla="*/ 4392998 h 5973007"/>
              <a:gd name="connsiteX18664" fmla="*/ 5958502 w 6884782"/>
              <a:gd name="connsiteY18664" fmla="*/ 4391759 h 5973007"/>
              <a:gd name="connsiteX18665" fmla="*/ 5961290 w 6884782"/>
              <a:gd name="connsiteY18665" fmla="*/ 4398677 h 5973007"/>
              <a:gd name="connsiteX18666" fmla="*/ 5959122 w 6884782"/>
              <a:gd name="connsiteY18666" fmla="*/ 4400639 h 5973007"/>
              <a:gd name="connsiteX18667" fmla="*/ 5954475 w 6884782"/>
              <a:gd name="connsiteY18667" fmla="*/ 4397335 h 5973007"/>
              <a:gd name="connsiteX18668" fmla="*/ 5954940 w 6884782"/>
              <a:gd name="connsiteY18668" fmla="*/ 4394443 h 5973007"/>
              <a:gd name="connsiteX18669" fmla="*/ 5958502 w 6884782"/>
              <a:gd name="connsiteY18669" fmla="*/ 4391759 h 5973007"/>
              <a:gd name="connsiteX18670" fmla="*/ 1123734 w 6884782"/>
              <a:gd name="connsiteY18670" fmla="*/ 4391638 h 5973007"/>
              <a:gd name="connsiteX18671" fmla="*/ 1123734 w 6884782"/>
              <a:gd name="connsiteY18671" fmla="*/ 4392464 h 5973007"/>
              <a:gd name="connsiteX18672" fmla="*/ 1122185 w 6884782"/>
              <a:gd name="connsiteY18672" fmla="*/ 4394116 h 5973007"/>
              <a:gd name="connsiteX18673" fmla="*/ 1120791 w 6884782"/>
              <a:gd name="connsiteY18673" fmla="*/ 4400105 h 5973007"/>
              <a:gd name="connsiteX18674" fmla="*/ 1119087 w 6884782"/>
              <a:gd name="connsiteY18674" fmla="*/ 4400828 h 5973007"/>
              <a:gd name="connsiteX18675" fmla="*/ 1118157 w 6884782"/>
              <a:gd name="connsiteY18675" fmla="*/ 4398246 h 5973007"/>
              <a:gd name="connsiteX18676" fmla="*/ 1120636 w 6884782"/>
              <a:gd name="connsiteY18676" fmla="*/ 4396698 h 5973007"/>
              <a:gd name="connsiteX18677" fmla="*/ 1121255 w 6884782"/>
              <a:gd name="connsiteY18677" fmla="*/ 4393187 h 5973007"/>
              <a:gd name="connsiteX18678" fmla="*/ 1123734 w 6884782"/>
              <a:gd name="connsiteY18678" fmla="*/ 4391638 h 5973007"/>
              <a:gd name="connsiteX18679" fmla="*/ 1335633 w 6884782"/>
              <a:gd name="connsiteY18679" fmla="*/ 4391225 h 5973007"/>
              <a:gd name="connsiteX18680" fmla="*/ 1327268 w 6884782"/>
              <a:gd name="connsiteY18680" fmla="*/ 4408469 h 5973007"/>
              <a:gd name="connsiteX18681" fmla="*/ 1325719 w 6884782"/>
              <a:gd name="connsiteY18681" fmla="*/ 4409191 h 5973007"/>
              <a:gd name="connsiteX18682" fmla="*/ 1325409 w 6884782"/>
              <a:gd name="connsiteY18682" fmla="*/ 4410947 h 5973007"/>
              <a:gd name="connsiteX18683" fmla="*/ 1321691 w 6884782"/>
              <a:gd name="connsiteY18683" fmla="*/ 4413528 h 5973007"/>
              <a:gd name="connsiteX18684" fmla="*/ 1318748 w 6884782"/>
              <a:gd name="connsiteY18684" fmla="*/ 4413218 h 5973007"/>
              <a:gd name="connsiteX18685" fmla="*/ 1317974 w 6884782"/>
              <a:gd name="connsiteY18685" fmla="*/ 4411256 h 5973007"/>
              <a:gd name="connsiteX18686" fmla="*/ 1317509 w 6884782"/>
              <a:gd name="connsiteY18686" fmla="*/ 4408572 h 5973007"/>
              <a:gd name="connsiteX18687" fmla="*/ 1317974 w 6884782"/>
              <a:gd name="connsiteY18687" fmla="*/ 4408159 h 5973007"/>
              <a:gd name="connsiteX18688" fmla="*/ 1315031 w 6884782"/>
              <a:gd name="connsiteY18688" fmla="*/ 4405577 h 5973007"/>
              <a:gd name="connsiteX18689" fmla="*/ 1335633 w 6884782"/>
              <a:gd name="connsiteY18689" fmla="*/ 4391225 h 5973007"/>
              <a:gd name="connsiteX18690" fmla="*/ 1225501 w 6884782"/>
              <a:gd name="connsiteY18690" fmla="*/ 4391121 h 5973007"/>
              <a:gd name="connsiteX18691" fmla="*/ 1235879 w 6884782"/>
              <a:gd name="connsiteY18691" fmla="*/ 4395252 h 5973007"/>
              <a:gd name="connsiteX18692" fmla="*/ 1244708 w 6884782"/>
              <a:gd name="connsiteY18692" fmla="*/ 4403925 h 5973007"/>
              <a:gd name="connsiteX18693" fmla="*/ 1241300 w 6884782"/>
              <a:gd name="connsiteY18693" fmla="*/ 4404751 h 5973007"/>
              <a:gd name="connsiteX18694" fmla="*/ 1238047 w 6884782"/>
              <a:gd name="connsiteY18694" fmla="*/ 4404442 h 5973007"/>
              <a:gd name="connsiteX18695" fmla="*/ 1225501 w 6884782"/>
              <a:gd name="connsiteY18695" fmla="*/ 4391121 h 5973007"/>
              <a:gd name="connsiteX18696" fmla="*/ 1277081 w 6884782"/>
              <a:gd name="connsiteY18696" fmla="*/ 4390812 h 5973007"/>
              <a:gd name="connsiteX18697" fmla="*/ 1283432 w 6884782"/>
              <a:gd name="connsiteY18697" fmla="*/ 4392361 h 5973007"/>
              <a:gd name="connsiteX18698" fmla="*/ 1278475 w 6884782"/>
              <a:gd name="connsiteY18698" fmla="*/ 4396491 h 5973007"/>
              <a:gd name="connsiteX18699" fmla="*/ 1277081 w 6884782"/>
              <a:gd name="connsiteY18699" fmla="*/ 4390812 h 5973007"/>
              <a:gd name="connsiteX18700" fmla="*/ 1709706 w 6884782"/>
              <a:gd name="connsiteY18700" fmla="*/ 4390502 h 5973007"/>
              <a:gd name="connsiteX18701" fmla="*/ 1717761 w 6884782"/>
              <a:gd name="connsiteY18701" fmla="*/ 4400828 h 5973007"/>
              <a:gd name="connsiteX18702" fmla="*/ 1714973 w 6884782"/>
              <a:gd name="connsiteY18702" fmla="*/ 4400724 h 5973007"/>
              <a:gd name="connsiteX18703" fmla="*/ 1706609 w 6884782"/>
              <a:gd name="connsiteY18703" fmla="*/ 4395665 h 5973007"/>
              <a:gd name="connsiteX18704" fmla="*/ 1709706 w 6884782"/>
              <a:gd name="connsiteY18704" fmla="*/ 4390502 h 5973007"/>
              <a:gd name="connsiteX18705" fmla="*/ 6038119 w 6884782"/>
              <a:gd name="connsiteY18705" fmla="*/ 4390416 h 5973007"/>
              <a:gd name="connsiteX18706" fmla="*/ 6039203 w 6884782"/>
              <a:gd name="connsiteY18706" fmla="*/ 4390623 h 5973007"/>
              <a:gd name="connsiteX18707" fmla="*/ 6047258 w 6884782"/>
              <a:gd name="connsiteY18707" fmla="*/ 4396509 h 5973007"/>
              <a:gd name="connsiteX18708" fmla="*/ 6042921 w 6884782"/>
              <a:gd name="connsiteY18708" fmla="*/ 4400742 h 5973007"/>
              <a:gd name="connsiteX18709" fmla="*/ 6040443 w 6884782"/>
              <a:gd name="connsiteY18709" fmla="*/ 4400639 h 5973007"/>
              <a:gd name="connsiteX18710" fmla="*/ 6032543 w 6884782"/>
              <a:gd name="connsiteY18710" fmla="*/ 4396818 h 5973007"/>
              <a:gd name="connsiteX18711" fmla="*/ 6038119 w 6884782"/>
              <a:gd name="connsiteY18711" fmla="*/ 4390416 h 5973007"/>
              <a:gd name="connsiteX18712" fmla="*/ 1502765 w 6884782"/>
              <a:gd name="connsiteY18712" fmla="*/ 4390296 h 5973007"/>
              <a:gd name="connsiteX18713" fmla="*/ 1498893 w 6884782"/>
              <a:gd name="connsiteY18713" fmla="*/ 4395148 h 5973007"/>
              <a:gd name="connsiteX18714" fmla="*/ 1496105 w 6884782"/>
              <a:gd name="connsiteY18714" fmla="*/ 4394529 h 5973007"/>
              <a:gd name="connsiteX18715" fmla="*/ 1495330 w 6884782"/>
              <a:gd name="connsiteY18715" fmla="*/ 4393703 h 5973007"/>
              <a:gd name="connsiteX18716" fmla="*/ 1493316 w 6884782"/>
              <a:gd name="connsiteY18716" fmla="*/ 4396698 h 5973007"/>
              <a:gd name="connsiteX18717" fmla="*/ 1489909 w 6884782"/>
              <a:gd name="connsiteY18717" fmla="*/ 4401241 h 5973007"/>
              <a:gd name="connsiteX18718" fmla="*/ 1480305 w 6884782"/>
              <a:gd name="connsiteY18718" fmla="*/ 4405268 h 5973007"/>
              <a:gd name="connsiteX18719" fmla="*/ 1492232 w 6884782"/>
              <a:gd name="connsiteY18719" fmla="*/ 4393187 h 5973007"/>
              <a:gd name="connsiteX18720" fmla="*/ 1494401 w 6884782"/>
              <a:gd name="connsiteY18720" fmla="*/ 4392774 h 5973007"/>
              <a:gd name="connsiteX18721" fmla="*/ 1494246 w 6884782"/>
              <a:gd name="connsiteY18721" fmla="*/ 4392670 h 5973007"/>
              <a:gd name="connsiteX18722" fmla="*/ 1502765 w 6884782"/>
              <a:gd name="connsiteY18722" fmla="*/ 4390296 h 5973007"/>
              <a:gd name="connsiteX18723" fmla="*/ 5698896 w 6884782"/>
              <a:gd name="connsiteY18723" fmla="*/ 4390107 h 5973007"/>
              <a:gd name="connsiteX18724" fmla="*/ 5700600 w 6884782"/>
              <a:gd name="connsiteY18724" fmla="*/ 4392688 h 5973007"/>
              <a:gd name="connsiteX18725" fmla="*/ 5690377 w 6884782"/>
              <a:gd name="connsiteY18725" fmla="*/ 4406421 h 5973007"/>
              <a:gd name="connsiteX18726" fmla="*/ 5688208 w 6884782"/>
              <a:gd name="connsiteY18726" fmla="*/ 4405079 h 5973007"/>
              <a:gd name="connsiteX18727" fmla="*/ 5698896 w 6884782"/>
              <a:gd name="connsiteY18727" fmla="*/ 4390107 h 5973007"/>
              <a:gd name="connsiteX18728" fmla="*/ 1368935 w 6884782"/>
              <a:gd name="connsiteY18728" fmla="*/ 4390089 h 5973007"/>
              <a:gd name="connsiteX18729" fmla="*/ 1368625 w 6884782"/>
              <a:gd name="connsiteY18729" fmla="*/ 4395458 h 5973007"/>
              <a:gd name="connsiteX18730" fmla="*/ 1366301 w 6884782"/>
              <a:gd name="connsiteY18730" fmla="*/ 4394426 h 5973007"/>
              <a:gd name="connsiteX18731" fmla="*/ 1368935 w 6884782"/>
              <a:gd name="connsiteY18731" fmla="*/ 4390089 h 5973007"/>
              <a:gd name="connsiteX18732" fmla="*/ 5851159 w 6884782"/>
              <a:gd name="connsiteY18732" fmla="*/ 4389694 h 5973007"/>
              <a:gd name="connsiteX18733" fmla="*/ 5862931 w 6884782"/>
              <a:gd name="connsiteY18733" fmla="*/ 4396199 h 5973007"/>
              <a:gd name="connsiteX18734" fmla="*/ 5859214 w 6884782"/>
              <a:gd name="connsiteY18734" fmla="*/ 4402498 h 5973007"/>
              <a:gd name="connsiteX18735" fmla="*/ 5857200 w 6884782"/>
              <a:gd name="connsiteY18735" fmla="*/ 4402291 h 5973007"/>
              <a:gd name="connsiteX18736" fmla="*/ 5848061 w 6884782"/>
              <a:gd name="connsiteY18736" fmla="*/ 4397954 h 5973007"/>
              <a:gd name="connsiteX18737" fmla="*/ 5851159 w 6884782"/>
              <a:gd name="connsiteY18737" fmla="*/ 4389694 h 5973007"/>
              <a:gd name="connsiteX18738" fmla="*/ 5898867 w 6884782"/>
              <a:gd name="connsiteY18738" fmla="*/ 4389177 h 5973007"/>
              <a:gd name="connsiteX18739" fmla="*/ 5903359 w 6884782"/>
              <a:gd name="connsiteY18739" fmla="*/ 4392895 h 5973007"/>
              <a:gd name="connsiteX18740" fmla="*/ 5900571 w 6884782"/>
              <a:gd name="connsiteY18740" fmla="*/ 4399606 h 5973007"/>
              <a:gd name="connsiteX18741" fmla="*/ 5897783 w 6884782"/>
              <a:gd name="connsiteY18741" fmla="*/ 4401671 h 5973007"/>
              <a:gd name="connsiteX18742" fmla="*/ 5901810 w 6884782"/>
              <a:gd name="connsiteY18742" fmla="*/ 4404253 h 5973007"/>
              <a:gd name="connsiteX18743" fmla="*/ 5902430 w 6884782"/>
              <a:gd name="connsiteY18743" fmla="*/ 4405389 h 5973007"/>
              <a:gd name="connsiteX18744" fmla="*/ 5902895 w 6884782"/>
              <a:gd name="connsiteY18744" fmla="*/ 4404253 h 5973007"/>
              <a:gd name="connsiteX18745" fmla="*/ 5915441 w 6884782"/>
              <a:gd name="connsiteY18745" fmla="*/ 4396818 h 5973007"/>
              <a:gd name="connsiteX18746" fmla="*/ 5917145 w 6884782"/>
              <a:gd name="connsiteY18746" fmla="*/ 4399297 h 5973007"/>
              <a:gd name="connsiteX18747" fmla="*/ 5918074 w 6884782"/>
              <a:gd name="connsiteY18747" fmla="*/ 4398780 h 5973007"/>
              <a:gd name="connsiteX18748" fmla="*/ 5921792 w 6884782"/>
              <a:gd name="connsiteY18748" fmla="*/ 4397644 h 5973007"/>
              <a:gd name="connsiteX18749" fmla="*/ 5921482 w 6884782"/>
              <a:gd name="connsiteY18749" fmla="*/ 4397128 h 5973007"/>
              <a:gd name="connsiteX18750" fmla="*/ 5922411 w 6884782"/>
              <a:gd name="connsiteY18750" fmla="*/ 4394753 h 5973007"/>
              <a:gd name="connsiteX18751" fmla="*/ 5929072 w 6884782"/>
              <a:gd name="connsiteY18751" fmla="*/ 4393411 h 5973007"/>
              <a:gd name="connsiteX18752" fmla="*/ 5933254 w 6884782"/>
              <a:gd name="connsiteY18752" fmla="*/ 4391862 h 5973007"/>
              <a:gd name="connsiteX18753" fmla="*/ 5928297 w 6884782"/>
              <a:gd name="connsiteY18753" fmla="*/ 4395063 h 5973007"/>
              <a:gd name="connsiteX18754" fmla="*/ 5927523 w 6884782"/>
              <a:gd name="connsiteY18754" fmla="*/ 4397541 h 5973007"/>
              <a:gd name="connsiteX18755" fmla="*/ 5925974 w 6884782"/>
              <a:gd name="connsiteY18755" fmla="*/ 4398264 h 5973007"/>
              <a:gd name="connsiteX18756" fmla="*/ 5926284 w 6884782"/>
              <a:gd name="connsiteY18756" fmla="*/ 4399400 h 5973007"/>
              <a:gd name="connsiteX18757" fmla="*/ 5927523 w 6884782"/>
              <a:gd name="connsiteY18757" fmla="*/ 4401671 h 5973007"/>
              <a:gd name="connsiteX18758" fmla="*/ 5921327 w 6884782"/>
              <a:gd name="connsiteY18758" fmla="*/ 4403840 h 5973007"/>
              <a:gd name="connsiteX18759" fmla="*/ 5918694 w 6884782"/>
              <a:gd name="connsiteY18759" fmla="*/ 4404253 h 5973007"/>
              <a:gd name="connsiteX18760" fmla="*/ 5918694 w 6884782"/>
              <a:gd name="connsiteY18760" fmla="*/ 4404563 h 5973007"/>
              <a:gd name="connsiteX18761" fmla="*/ 5916216 w 6884782"/>
              <a:gd name="connsiteY18761" fmla="*/ 4409209 h 5973007"/>
              <a:gd name="connsiteX18762" fmla="*/ 5914821 w 6884782"/>
              <a:gd name="connsiteY18762" fmla="*/ 4410035 h 5973007"/>
              <a:gd name="connsiteX18763" fmla="*/ 5913118 w 6884782"/>
              <a:gd name="connsiteY18763" fmla="*/ 4420154 h 5973007"/>
              <a:gd name="connsiteX18764" fmla="*/ 5905683 w 6884782"/>
              <a:gd name="connsiteY18764" fmla="*/ 4418089 h 5973007"/>
              <a:gd name="connsiteX18765" fmla="*/ 5905838 w 6884782"/>
              <a:gd name="connsiteY18765" fmla="*/ 4412100 h 5973007"/>
              <a:gd name="connsiteX18766" fmla="*/ 5904443 w 6884782"/>
              <a:gd name="connsiteY18766" fmla="*/ 4411068 h 5973007"/>
              <a:gd name="connsiteX18767" fmla="*/ 5904288 w 6884782"/>
              <a:gd name="connsiteY18767" fmla="*/ 4415611 h 5973007"/>
              <a:gd name="connsiteX18768" fmla="*/ 5901810 w 6884782"/>
              <a:gd name="connsiteY18768" fmla="*/ 4422219 h 5973007"/>
              <a:gd name="connsiteX18769" fmla="*/ 5872535 w 6884782"/>
              <a:gd name="connsiteY18769" fmla="*/ 4443594 h 5973007"/>
              <a:gd name="connsiteX18770" fmla="*/ 5863396 w 6884782"/>
              <a:gd name="connsiteY18770" fmla="*/ 4439360 h 5973007"/>
              <a:gd name="connsiteX18771" fmla="*/ 5867888 w 6884782"/>
              <a:gd name="connsiteY18771" fmla="*/ 4428621 h 5973007"/>
              <a:gd name="connsiteX18772" fmla="*/ 5874394 w 6884782"/>
              <a:gd name="connsiteY18772" fmla="*/ 4418605 h 5973007"/>
              <a:gd name="connsiteX18773" fmla="*/ 5871296 w 6884782"/>
              <a:gd name="connsiteY18773" fmla="*/ 4419432 h 5973007"/>
              <a:gd name="connsiteX18774" fmla="*/ 5866029 w 6884782"/>
              <a:gd name="connsiteY18774" fmla="*/ 4419638 h 5973007"/>
              <a:gd name="connsiteX18775" fmla="*/ 5870211 w 6884782"/>
              <a:gd name="connsiteY18775" fmla="*/ 4414166 h 5973007"/>
              <a:gd name="connsiteX18776" fmla="*/ 5874858 w 6884782"/>
              <a:gd name="connsiteY18776" fmla="*/ 4411171 h 5973007"/>
              <a:gd name="connsiteX18777" fmla="*/ 5874394 w 6884782"/>
              <a:gd name="connsiteY18777" fmla="*/ 4408590 h 5973007"/>
              <a:gd name="connsiteX18778" fmla="*/ 5871915 w 6884782"/>
              <a:gd name="connsiteY18778" fmla="*/ 4412307 h 5973007"/>
              <a:gd name="connsiteX18779" fmla="*/ 5855961 w 6884782"/>
              <a:gd name="connsiteY18779" fmla="*/ 4418296 h 5973007"/>
              <a:gd name="connsiteX18780" fmla="*/ 5863086 w 6884782"/>
              <a:gd name="connsiteY18780" fmla="*/ 4409209 h 5973007"/>
              <a:gd name="connsiteX18781" fmla="*/ 5874239 w 6884782"/>
              <a:gd name="connsiteY18781" fmla="*/ 4406938 h 5973007"/>
              <a:gd name="connsiteX18782" fmla="*/ 5874239 w 6884782"/>
              <a:gd name="connsiteY18782" fmla="*/ 4404356 h 5973007"/>
              <a:gd name="connsiteX18783" fmla="*/ 5877956 w 6884782"/>
              <a:gd name="connsiteY18783" fmla="*/ 4403737 h 5973007"/>
              <a:gd name="connsiteX18784" fmla="*/ 5879660 w 6884782"/>
              <a:gd name="connsiteY18784" fmla="*/ 4404976 h 5973007"/>
              <a:gd name="connsiteX18785" fmla="*/ 5880125 w 6884782"/>
              <a:gd name="connsiteY18785" fmla="*/ 4399813 h 5973007"/>
              <a:gd name="connsiteX18786" fmla="*/ 5885391 w 6884782"/>
              <a:gd name="connsiteY18786" fmla="*/ 4405595 h 5973007"/>
              <a:gd name="connsiteX18787" fmla="*/ 5887715 w 6884782"/>
              <a:gd name="connsiteY18787" fmla="*/ 4406111 h 5973007"/>
              <a:gd name="connsiteX18788" fmla="*/ 5894065 w 6884782"/>
              <a:gd name="connsiteY18788" fmla="*/ 4401775 h 5973007"/>
              <a:gd name="connsiteX18789" fmla="*/ 5893291 w 6884782"/>
              <a:gd name="connsiteY18789" fmla="*/ 4401671 h 5973007"/>
              <a:gd name="connsiteX18790" fmla="*/ 5890967 w 6884782"/>
              <a:gd name="connsiteY18790" fmla="*/ 4398264 h 5973007"/>
              <a:gd name="connsiteX18791" fmla="*/ 5892052 w 6884782"/>
              <a:gd name="connsiteY18791" fmla="*/ 4390107 h 5973007"/>
              <a:gd name="connsiteX18792" fmla="*/ 5898867 w 6884782"/>
              <a:gd name="connsiteY18792" fmla="*/ 4389177 h 5973007"/>
              <a:gd name="connsiteX18793" fmla="*/ 1307441 w 6884782"/>
              <a:gd name="connsiteY18793" fmla="*/ 4388540 h 5973007"/>
              <a:gd name="connsiteX18794" fmla="*/ 1310229 w 6884782"/>
              <a:gd name="connsiteY18794" fmla="*/ 4391121 h 5973007"/>
              <a:gd name="connsiteX18795" fmla="*/ 1309919 w 6884782"/>
              <a:gd name="connsiteY18795" fmla="*/ 4393909 h 5973007"/>
              <a:gd name="connsiteX18796" fmla="*/ 1308989 w 6884782"/>
              <a:gd name="connsiteY18796" fmla="*/ 4394116 h 5973007"/>
              <a:gd name="connsiteX18797" fmla="*/ 1309145 w 6884782"/>
              <a:gd name="connsiteY18797" fmla="*/ 4393393 h 5973007"/>
              <a:gd name="connsiteX18798" fmla="*/ 1305582 w 6884782"/>
              <a:gd name="connsiteY18798" fmla="*/ 4392361 h 5973007"/>
              <a:gd name="connsiteX18799" fmla="*/ 1307441 w 6884782"/>
              <a:gd name="connsiteY18799" fmla="*/ 4388540 h 5973007"/>
              <a:gd name="connsiteX18800" fmla="*/ 5561658 w 6884782"/>
              <a:gd name="connsiteY18800" fmla="*/ 4386906 h 5973007"/>
              <a:gd name="connsiteX18801" fmla="*/ 5552364 w 6884782"/>
              <a:gd name="connsiteY18801" fmla="*/ 4405699 h 5973007"/>
              <a:gd name="connsiteX18802" fmla="*/ 5548492 w 6884782"/>
              <a:gd name="connsiteY18802" fmla="*/ 4406938 h 5973007"/>
              <a:gd name="connsiteX18803" fmla="*/ 5546943 w 6884782"/>
              <a:gd name="connsiteY18803" fmla="*/ 4406421 h 5973007"/>
              <a:gd name="connsiteX18804" fmla="*/ 5561658 w 6884782"/>
              <a:gd name="connsiteY18804" fmla="*/ 4386906 h 5973007"/>
              <a:gd name="connsiteX18805" fmla="*/ 4843714 w 6884782"/>
              <a:gd name="connsiteY18805" fmla="*/ 4386183 h 5973007"/>
              <a:gd name="connsiteX18806" fmla="*/ 4842319 w 6884782"/>
              <a:gd name="connsiteY18806" fmla="*/ 4391346 h 5973007"/>
              <a:gd name="connsiteX18807" fmla="*/ 4839686 w 6884782"/>
              <a:gd name="connsiteY18807" fmla="*/ 4392895 h 5973007"/>
              <a:gd name="connsiteX18808" fmla="*/ 4837363 w 6884782"/>
              <a:gd name="connsiteY18808" fmla="*/ 4391139 h 5973007"/>
              <a:gd name="connsiteX18809" fmla="*/ 4836743 w 6884782"/>
              <a:gd name="connsiteY18809" fmla="*/ 4387732 h 5973007"/>
              <a:gd name="connsiteX18810" fmla="*/ 4843714 w 6884782"/>
              <a:gd name="connsiteY18810" fmla="*/ 4386183 h 5973007"/>
              <a:gd name="connsiteX18811" fmla="*/ 1589662 w 6884782"/>
              <a:gd name="connsiteY18811" fmla="*/ 4386062 h 5973007"/>
              <a:gd name="connsiteX18812" fmla="*/ 1589352 w 6884782"/>
              <a:gd name="connsiteY18812" fmla="*/ 4399175 h 5973007"/>
              <a:gd name="connsiteX18813" fmla="*/ 1588113 w 6884782"/>
              <a:gd name="connsiteY18813" fmla="*/ 4396904 h 5973007"/>
              <a:gd name="connsiteX18814" fmla="*/ 1589662 w 6884782"/>
              <a:gd name="connsiteY18814" fmla="*/ 4386062 h 5973007"/>
              <a:gd name="connsiteX18815" fmla="*/ 5842330 w 6884782"/>
              <a:gd name="connsiteY18815" fmla="*/ 4385770 h 5973007"/>
              <a:gd name="connsiteX18816" fmla="*/ 5841710 w 6884782"/>
              <a:gd name="connsiteY18816" fmla="*/ 4398058 h 5973007"/>
              <a:gd name="connsiteX18817" fmla="*/ 5842950 w 6884782"/>
              <a:gd name="connsiteY18817" fmla="*/ 4398574 h 5973007"/>
              <a:gd name="connsiteX18818" fmla="*/ 5843414 w 6884782"/>
              <a:gd name="connsiteY18818" fmla="*/ 4398058 h 5973007"/>
              <a:gd name="connsiteX18819" fmla="*/ 5849145 w 6884782"/>
              <a:gd name="connsiteY18819" fmla="*/ 4404769 h 5973007"/>
              <a:gd name="connsiteX18820" fmla="*/ 5848681 w 6884782"/>
              <a:gd name="connsiteY18820" fmla="*/ 4406834 h 5973007"/>
              <a:gd name="connsiteX18821" fmla="*/ 5848836 w 6884782"/>
              <a:gd name="connsiteY18821" fmla="*/ 4407041 h 5973007"/>
              <a:gd name="connsiteX18822" fmla="*/ 5844964 w 6884782"/>
              <a:gd name="connsiteY18822" fmla="*/ 4410138 h 5973007"/>
              <a:gd name="connsiteX18823" fmla="*/ 5841401 w 6884782"/>
              <a:gd name="connsiteY18823" fmla="*/ 4409726 h 5973007"/>
              <a:gd name="connsiteX18824" fmla="*/ 5840317 w 6884782"/>
              <a:gd name="connsiteY18824" fmla="*/ 4409209 h 5973007"/>
              <a:gd name="connsiteX18825" fmla="*/ 5839232 w 6884782"/>
              <a:gd name="connsiteY18825" fmla="*/ 4413133 h 5973007"/>
              <a:gd name="connsiteX18826" fmla="*/ 5835515 w 6884782"/>
              <a:gd name="connsiteY18826" fmla="*/ 4406628 h 5973007"/>
              <a:gd name="connsiteX18827" fmla="*/ 5835205 w 6884782"/>
              <a:gd name="connsiteY18827" fmla="*/ 4402807 h 5973007"/>
              <a:gd name="connsiteX18828" fmla="*/ 5835050 w 6884782"/>
              <a:gd name="connsiteY18828" fmla="*/ 4402601 h 5973007"/>
              <a:gd name="connsiteX18829" fmla="*/ 5834275 w 6884782"/>
              <a:gd name="connsiteY18829" fmla="*/ 4399710 h 5973007"/>
              <a:gd name="connsiteX18830" fmla="*/ 5834895 w 6884782"/>
              <a:gd name="connsiteY18830" fmla="*/ 4398677 h 5973007"/>
              <a:gd name="connsiteX18831" fmla="*/ 5834740 w 6884782"/>
              <a:gd name="connsiteY18831" fmla="*/ 4397644 h 5973007"/>
              <a:gd name="connsiteX18832" fmla="*/ 5842330 w 6884782"/>
              <a:gd name="connsiteY18832" fmla="*/ 4385770 h 5973007"/>
              <a:gd name="connsiteX18833" fmla="*/ 5611225 w 6884782"/>
              <a:gd name="connsiteY18833" fmla="*/ 4385564 h 5973007"/>
              <a:gd name="connsiteX18834" fmla="*/ 5625320 w 6884782"/>
              <a:gd name="connsiteY18834" fmla="*/ 4394650 h 5973007"/>
              <a:gd name="connsiteX18835" fmla="*/ 5624701 w 6884782"/>
              <a:gd name="connsiteY18835" fmla="*/ 4413443 h 5973007"/>
              <a:gd name="connsiteX18836" fmla="*/ 5619589 w 6884782"/>
              <a:gd name="connsiteY18836" fmla="*/ 4414166 h 5973007"/>
              <a:gd name="connsiteX18837" fmla="*/ 5611225 w 6884782"/>
              <a:gd name="connsiteY18837" fmla="*/ 4404563 h 5973007"/>
              <a:gd name="connsiteX18838" fmla="*/ 5609521 w 6884782"/>
              <a:gd name="connsiteY18838" fmla="*/ 4398367 h 5973007"/>
              <a:gd name="connsiteX18839" fmla="*/ 5609056 w 6884782"/>
              <a:gd name="connsiteY18839" fmla="*/ 4387526 h 5973007"/>
              <a:gd name="connsiteX18840" fmla="*/ 5611225 w 6884782"/>
              <a:gd name="connsiteY18840" fmla="*/ 4385564 h 5973007"/>
              <a:gd name="connsiteX18841" fmla="*/ 5847442 w 6884782"/>
              <a:gd name="connsiteY18841" fmla="*/ 4385254 h 5973007"/>
              <a:gd name="connsiteX18842" fmla="*/ 5859214 w 6884782"/>
              <a:gd name="connsiteY18842" fmla="*/ 4390933 h 5973007"/>
              <a:gd name="connsiteX18843" fmla="*/ 5856735 w 6884782"/>
              <a:gd name="connsiteY18843" fmla="*/ 4391139 h 5973007"/>
              <a:gd name="connsiteX18844" fmla="*/ 5847442 w 6884782"/>
              <a:gd name="connsiteY18844" fmla="*/ 4385254 h 5973007"/>
              <a:gd name="connsiteX18845" fmla="*/ 5762093 w 6884782"/>
              <a:gd name="connsiteY18845" fmla="*/ 4384737 h 5973007"/>
              <a:gd name="connsiteX18846" fmla="*/ 5763178 w 6884782"/>
              <a:gd name="connsiteY18846" fmla="*/ 4390830 h 5973007"/>
              <a:gd name="connsiteX18847" fmla="*/ 5761319 w 6884782"/>
              <a:gd name="connsiteY18847" fmla="*/ 4392998 h 5973007"/>
              <a:gd name="connsiteX18848" fmla="*/ 5756518 w 6884782"/>
              <a:gd name="connsiteY18848" fmla="*/ 4395063 h 5973007"/>
              <a:gd name="connsiteX18849" fmla="*/ 5756827 w 6884782"/>
              <a:gd name="connsiteY18849" fmla="*/ 4395786 h 5973007"/>
              <a:gd name="connsiteX18850" fmla="*/ 5753884 w 6884782"/>
              <a:gd name="connsiteY18850" fmla="*/ 4391862 h 5973007"/>
              <a:gd name="connsiteX18851" fmla="*/ 5762093 w 6884782"/>
              <a:gd name="connsiteY18851" fmla="*/ 4384737 h 5973007"/>
              <a:gd name="connsiteX18852" fmla="*/ 1608559 w 6884782"/>
              <a:gd name="connsiteY18852" fmla="*/ 4383790 h 5973007"/>
              <a:gd name="connsiteX18853" fmla="*/ 1609024 w 6884782"/>
              <a:gd name="connsiteY18853" fmla="*/ 4389160 h 5973007"/>
              <a:gd name="connsiteX18854" fmla="*/ 1606546 w 6884782"/>
              <a:gd name="connsiteY18854" fmla="*/ 4388024 h 5973007"/>
              <a:gd name="connsiteX18855" fmla="*/ 1608559 w 6884782"/>
              <a:gd name="connsiteY18855" fmla="*/ 4383790 h 5973007"/>
              <a:gd name="connsiteX18856" fmla="*/ 598790 w 6884782"/>
              <a:gd name="connsiteY18856" fmla="*/ 4383687 h 5973007"/>
              <a:gd name="connsiteX18857" fmla="*/ 602043 w 6884782"/>
              <a:gd name="connsiteY18857" fmla="*/ 4389882 h 5973007"/>
              <a:gd name="connsiteX18858" fmla="*/ 589651 w 6884782"/>
              <a:gd name="connsiteY18858" fmla="*/ 4395562 h 5973007"/>
              <a:gd name="connsiteX18859" fmla="*/ 598790 w 6884782"/>
              <a:gd name="connsiteY18859" fmla="*/ 4383687 h 5973007"/>
              <a:gd name="connsiteX18860" fmla="*/ 1580833 w 6884782"/>
              <a:gd name="connsiteY18860" fmla="*/ 4383171 h 5973007"/>
              <a:gd name="connsiteX18861" fmla="*/ 1578665 w 6884782"/>
              <a:gd name="connsiteY18861" fmla="*/ 4387714 h 5973007"/>
              <a:gd name="connsiteX18862" fmla="*/ 1580833 w 6884782"/>
              <a:gd name="connsiteY18862" fmla="*/ 4383171 h 5973007"/>
              <a:gd name="connsiteX18863" fmla="*/ 1793970 w 6884782"/>
              <a:gd name="connsiteY18863" fmla="*/ 4382758 h 5973007"/>
              <a:gd name="connsiteX18864" fmla="*/ 1795519 w 6884782"/>
              <a:gd name="connsiteY18864" fmla="*/ 4386681 h 5973007"/>
              <a:gd name="connsiteX18865" fmla="*/ 1793350 w 6884782"/>
              <a:gd name="connsiteY18865" fmla="*/ 4386062 h 5973007"/>
              <a:gd name="connsiteX18866" fmla="*/ 1793196 w 6884782"/>
              <a:gd name="connsiteY18866" fmla="*/ 4383068 h 5973007"/>
              <a:gd name="connsiteX18867" fmla="*/ 1793970 w 6884782"/>
              <a:gd name="connsiteY18867" fmla="*/ 4382758 h 5973007"/>
              <a:gd name="connsiteX18868" fmla="*/ 1732631 w 6884782"/>
              <a:gd name="connsiteY18868" fmla="*/ 4382448 h 5973007"/>
              <a:gd name="connsiteX18869" fmla="*/ 1729688 w 6884782"/>
              <a:gd name="connsiteY18869" fmla="*/ 4383894 h 5973007"/>
              <a:gd name="connsiteX18870" fmla="*/ 1729379 w 6884782"/>
              <a:gd name="connsiteY18870" fmla="*/ 4383171 h 5973007"/>
              <a:gd name="connsiteX18871" fmla="*/ 1732631 w 6884782"/>
              <a:gd name="connsiteY18871" fmla="*/ 4382448 h 5973007"/>
              <a:gd name="connsiteX18872" fmla="*/ 5655060 w 6884782"/>
              <a:gd name="connsiteY18872" fmla="*/ 4382363 h 5973007"/>
              <a:gd name="connsiteX18873" fmla="*/ 5657074 w 6884782"/>
              <a:gd name="connsiteY18873" fmla="*/ 4390933 h 5973007"/>
              <a:gd name="connsiteX18874" fmla="*/ 5651188 w 6884782"/>
              <a:gd name="connsiteY18874" fmla="*/ 4385667 h 5973007"/>
              <a:gd name="connsiteX18875" fmla="*/ 5655060 w 6884782"/>
              <a:gd name="connsiteY18875" fmla="*/ 4382363 h 5973007"/>
              <a:gd name="connsiteX18876" fmla="*/ 5545084 w 6884782"/>
              <a:gd name="connsiteY18876" fmla="*/ 4382156 h 5973007"/>
              <a:gd name="connsiteX18877" fmla="*/ 5548182 w 6884782"/>
              <a:gd name="connsiteY18877" fmla="*/ 4383395 h 5973007"/>
              <a:gd name="connsiteX18878" fmla="*/ 5544310 w 6884782"/>
              <a:gd name="connsiteY18878" fmla="*/ 4387216 h 5973007"/>
              <a:gd name="connsiteX18879" fmla="*/ 5545084 w 6884782"/>
              <a:gd name="connsiteY18879" fmla="*/ 4382156 h 5973007"/>
              <a:gd name="connsiteX18880" fmla="*/ 5381359 w 6884782"/>
              <a:gd name="connsiteY18880" fmla="*/ 4381846 h 5973007"/>
              <a:gd name="connsiteX18881" fmla="*/ 5376712 w 6884782"/>
              <a:gd name="connsiteY18881" fmla="*/ 4391759 h 5973007"/>
              <a:gd name="connsiteX18882" fmla="*/ 5381359 w 6884782"/>
              <a:gd name="connsiteY18882" fmla="*/ 4381846 h 5973007"/>
              <a:gd name="connsiteX18883" fmla="*/ 5767980 w 6884782"/>
              <a:gd name="connsiteY18883" fmla="*/ 4381640 h 5973007"/>
              <a:gd name="connsiteX18884" fmla="*/ 5770613 w 6884782"/>
              <a:gd name="connsiteY18884" fmla="*/ 4386080 h 5973007"/>
              <a:gd name="connsiteX18885" fmla="*/ 5769064 w 6884782"/>
              <a:gd name="connsiteY18885" fmla="*/ 4388661 h 5973007"/>
              <a:gd name="connsiteX18886" fmla="*/ 5772162 w 6884782"/>
              <a:gd name="connsiteY18886" fmla="*/ 4386906 h 5973007"/>
              <a:gd name="connsiteX18887" fmla="*/ 5777584 w 6884782"/>
              <a:gd name="connsiteY18887" fmla="*/ 4386803 h 5973007"/>
              <a:gd name="connsiteX18888" fmla="*/ 5779752 w 6884782"/>
              <a:gd name="connsiteY18888" fmla="*/ 4387319 h 5973007"/>
              <a:gd name="connsiteX18889" fmla="*/ 5783624 w 6884782"/>
              <a:gd name="connsiteY18889" fmla="*/ 4387009 h 5973007"/>
              <a:gd name="connsiteX18890" fmla="*/ 5784399 w 6884782"/>
              <a:gd name="connsiteY18890" fmla="*/ 4398161 h 5973007"/>
              <a:gd name="connsiteX18891" fmla="*/ 5776344 w 6884782"/>
              <a:gd name="connsiteY18891" fmla="*/ 4408177 h 5973007"/>
              <a:gd name="connsiteX18892" fmla="*/ 5773556 w 6884782"/>
              <a:gd name="connsiteY18892" fmla="*/ 4408280 h 5973007"/>
              <a:gd name="connsiteX18893" fmla="*/ 5772782 w 6884782"/>
              <a:gd name="connsiteY18893" fmla="*/ 4410862 h 5973007"/>
              <a:gd name="connsiteX18894" fmla="*/ 5763488 w 6884782"/>
              <a:gd name="connsiteY18894" fmla="*/ 4414372 h 5973007"/>
              <a:gd name="connsiteX18895" fmla="*/ 5760235 w 6884782"/>
              <a:gd name="connsiteY18895" fmla="*/ 4414269 h 5973007"/>
              <a:gd name="connsiteX18896" fmla="*/ 5755588 w 6884782"/>
              <a:gd name="connsiteY18896" fmla="*/ 4407867 h 5973007"/>
              <a:gd name="connsiteX18897" fmla="*/ 5755433 w 6884782"/>
              <a:gd name="connsiteY18897" fmla="*/ 4404563 h 5973007"/>
              <a:gd name="connsiteX18898" fmla="*/ 5764727 w 6884782"/>
              <a:gd name="connsiteY18898" fmla="*/ 4404769 h 5973007"/>
              <a:gd name="connsiteX18899" fmla="*/ 5767205 w 6884782"/>
              <a:gd name="connsiteY18899" fmla="*/ 4404563 h 5973007"/>
              <a:gd name="connsiteX18900" fmla="*/ 5765502 w 6884782"/>
              <a:gd name="connsiteY18900" fmla="*/ 4402394 h 5973007"/>
              <a:gd name="connsiteX18901" fmla="*/ 5765037 w 6884782"/>
              <a:gd name="connsiteY18901" fmla="*/ 4396612 h 5973007"/>
              <a:gd name="connsiteX18902" fmla="*/ 5767670 w 6884782"/>
              <a:gd name="connsiteY18902" fmla="*/ 4390520 h 5973007"/>
              <a:gd name="connsiteX18903" fmla="*/ 5764882 w 6884782"/>
              <a:gd name="connsiteY18903" fmla="*/ 4389074 h 5973007"/>
              <a:gd name="connsiteX18904" fmla="*/ 5767980 w 6884782"/>
              <a:gd name="connsiteY18904" fmla="*/ 4381640 h 5973007"/>
              <a:gd name="connsiteX18905" fmla="*/ 1049848 w 6884782"/>
              <a:gd name="connsiteY18905" fmla="*/ 4380899 h 5973007"/>
              <a:gd name="connsiteX18906" fmla="*/ 1049693 w 6884782"/>
              <a:gd name="connsiteY18906" fmla="*/ 4381519 h 5973007"/>
              <a:gd name="connsiteX18907" fmla="*/ 1051397 w 6884782"/>
              <a:gd name="connsiteY18907" fmla="*/ 4381519 h 5973007"/>
              <a:gd name="connsiteX18908" fmla="*/ 1050623 w 6884782"/>
              <a:gd name="connsiteY18908" fmla="*/ 4381209 h 5973007"/>
              <a:gd name="connsiteX18909" fmla="*/ 1050468 w 6884782"/>
              <a:gd name="connsiteY18909" fmla="*/ 4381312 h 5973007"/>
              <a:gd name="connsiteX18910" fmla="*/ 1049848 w 6884782"/>
              <a:gd name="connsiteY18910" fmla="*/ 4380899 h 5973007"/>
              <a:gd name="connsiteX18911" fmla="*/ 1356969 w 6884782"/>
              <a:gd name="connsiteY18911" fmla="*/ 4379880 h 5973007"/>
              <a:gd name="connsiteX18912" fmla="*/ 1363823 w 6884782"/>
              <a:gd name="connsiteY18912" fmla="*/ 4380383 h 5973007"/>
              <a:gd name="connsiteX18913" fmla="*/ 1365837 w 6884782"/>
              <a:gd name="connsiteY18913" fmla="*/ 4384926 h 5973007"/>
              <a:gd name="connsiteX18914" fmla="*/ 1356078 w 6884782"/>
              <a:gd name="connsiteY18914" fmla="*/ 4389366 h 5973007"/>
              <a:gd name="connsiteX18915" fmla="*/ 1353135 w 6884782"/>
              <a:gd name="connsiteY18915" fmla="*/ 4387508 h 5973007"/>
              <a:gd name="connsiteX18916" fmla="*/ 1356969 w 6884782"/>
              <a:gd name="connsiteY18916" fmla="*/ 4379880 h 5973007"/>
              <a:gd name="connsiteX18917" fmla="*/ 5921637 w 6884782"/>
              <a:gd name="connsiteY18917" fmla="*/ 4379575 h 5973007"/>
              <a:gd name="connsiteX18918" fmla="*/ 5922721 w 6884782"/>
              <a:gd name="connsiteY18918" fmla="*/ 4381330 h 5973007"/>
              <a:gd name="connsiteX18919" fmla="*/ 5922411 w 6884782"/>
              <a:gd name="connsiteY18919" fmla="*/ 4383602 h 5973007"/>
              <a:gd name="connsiteX18920" fmla="*/ 5916990 w 6884782"/>
              <a:gd name="connsiteY18920" fmla="*/ 4389591 h 5973007"/>
              <a:gd name="connsiteX18921" fmla="*/ 5915441 w 6884782"/>
              <a:gd name="connsiteY18921" fmla="*/ 4390623 h 5973007"/>
              <a:gd name="connsiteX18922" fmla="*/ 5914047 w 6884782"/>
              <a:gd name="connsiteY18922" fmla="*/ 4391759 h 5973007"/>
              <a:gd name="connsiteX18923" fmla="*/ 5912343 w 6884782"/>
              <a:gd name="connsiteY18923" fmla="*/ 4391966 h 5973007"/>
              <a:gd name="connsiteX18924" fmla="*/ 5910639 w 6884782"/>
              <a:gd name="connsiteY18924" fmla="*/ 4390830 h 5973007"/>
              <a:gd name="connsiteX18925" fmla="*/ 5921637 w 6884782"/>
              <a:gd name="connsiteY18925" fmla="*/ 4379575 h 5973007"/>
              <a:gd name="connsiteX18926" fmla="*/ 1736503 w 6884782"/>
              <a:gd name="connsiteY18926" fmla="*/ 4379557 h 5973007"/>
              <a:gd name="connsiteX18927" fmla="*/ 1742080 w 6884782"/>
              <a:gd name="connsiteY18927" fmla="*/ 4384100 h 5973007"/>
              <a:gd name="connsiteX18928" fmla="*/ 1736658 w 6884782"/>
              <a:gd name="connsiteY18928" fmla="*/ 4385133 h 5973007"/>
              <a:gd name="connsiteX18929" fmla="*/ 1736503 w 6884782"/>
              <a:gd name="connsiteY18929" fmla="*/ 4379557 h 5973007"/>
              <a:gd name="connsiteX18930" fmla="*/ 1717451 w 6884782"/>
              <a:gd name="connsiteY18930" fmla="*/ 4379350 h 5973007"/>
              <a:gd name="connsiteX18931" fmla="*/ 1709087 w 6884782"/>
              <a:gd name="connsiteY18931" fmla="*/ 4386888 h 5973007"/>
              <a:gd name="connsiteX18932" fmla="*/ 1704440 w 6884782"/>
              <a:gd name="connsiteY18932" fmla="*/ 4385236 h 5973007"/>
              <a:gd name="connsiteX18933" fmla="*/ 1704750 w 6884782"/>
              <a:gd name="connsiteY18933" fmla="*/ 4381622 h 5973007"/>
              <a:gd name="connsiteX18934" fmla="*/ 1717451 w 6884782"/>
              <a:gd name="connsiteY18934" fmla="*/ 4379350 h 5973007"/>
              <a:gd name="connsiteX18935" fmla="*/ 1401928 w 6884782"/>
              <a:gd name="connsiteY18935" fmla="*/ 4378937 h 5973007"/>
              <a:gd name="connsiteX18936" fmla="*/ 1414319 w 6884782"/>
              <a:gd name="connsiteY18936" fmla="*/ 4391844 h 5973007"/>
              <a:gd name="connsiteX18937" fmla="*/ 1415093 w 6884782"/>
              <a:gd name="connsiteY18937" fmla="*/ 4393703 h 5973007"/>
              <a:gd name="connsiteX18938" fmla="*/ 1413700 w 6884782"/>
              <a:gd name="connsiteY18938" fmla="*/ 4395252 h 5973007"/>
              <a:gd name="connsiteX18939" fmla="*/ 1404096 w 6884782"/>
              <a:gd name="connsiteY18939" fmla="*/ 4388850 h 5973007"/>
              <a:gd name="connsiteX18940" fmla="*/ 1403322 w 6884782"/>
              <a:gd name="connsiteY18940" fmla="*/ 4386475 h 5973007"/>
              <a:gd name="connsiteX18941" fmla="*/ 1402082 w 6884782"/>
              <a:gd name="connsiteY18941" fmla="*/ 4384823 h 5973007"/>
              <a:gd name="connsiteX18942" fmla="*/ 1401928 w 6884782"/>
              <a:gd name="connsiteY18942" fmla="*/ 4378937 h 5973007"/>
              <a:gd name="connsiteX18943" fmla="*/ 5828544 w 6884782"/>
              <a:gd name="connsiteY18943" fmla="*/ 4378542 h 5973007"/>
              <a:gd name="connsiteX18944" fmla="*/ 5830403 w 6884782"/>
              <a:gd name="connsiteY18944" fmla="*/ 4382053 h 5973007"/>
              <a:gd name="connsiteX18945" fmla="*/ 5825446 w 6884782"/>
              <a:gd name="connsiteY18945" fmla="*/ 4383602 h 5973007"/>
              <a:gd name="connsiteX18946" fmla="*/ 5823587 w 6884782"/>
              <a:gd name="connsiteY18946" fmla="*/ 4379988 h 5973007"/>
              <a:gd name="connsiteX18947" fmla="*/ 5828544 w 6884782"/>
              <a:gd name="connsiteY18947" fmla="*/ 4378542 h 5973007"/>
              <a:gd name="connsiteX18948" fmla="*/ 1303104 w 6884782"/>
              <a:gd name="connsiteY18948" fmla="*/ 4378008 h 5973007"/>
              <a:gd name="connsiteX18949" fmla="*/ 1305892 w 6884782"/>
              <a:gd name="connsiteY18949" fmla="*/ 4379867 h 5973007"/>
              <a:gd name="connsiteX18950" fmla="*/ 1301710 w 6884782"/>
              <a:gd name="connsiteY18950" fmla="*/ 4386888 h 5973007"/>
              <a:gd name="connsiteX18951" fmla="*/ 1298612 w 6884782"/>
              <a:gd name="connsiteY18951" fmla="*/ 4386372 h 5973007"/>
              <a:gd name="connsiteX18952" fmla="*/ 1303104 w 6884782"/>
              <a:gd name="connsiteY18952" fmla="*/ 4378008 h 5973007"/>
              <a:gd name="connsiteX18953" fmla="*/ 1285445 w 6884782"/>
              <a:gd name="connsiteY18953" fmla="*/ 4377905 h 5973007"/>
              <a:gd name="connsiteX18954" fmla="*/ 1293655 w 6884782"/>
              <a:gd name="connsiteY18954" fmla="*/ 4379867 h 5973007"/>
              <a:gd name="connsiteX18955" fmla="*/ 1285445 w 6884782"/>
              <a:gd name="connsiteY18955" fmla="*/ 4388953 h 5973007"/>
              <a:gd name="connsiteX18956" fmla="*/ 1281883 w 6884782"/>
              <a:gd name="connsiteY18956" fmla="*/ 4385959 h 5973007"/>
              <a:gd name="connsiteX18957" fmla="*/ 1285445 w 6884782"/>
              <a:gd name="connsiteY18957" fmla="*/ 4377905 h 5973007"/>
              <a:gd name="connsiteX18958" fmla="*/ 1379003 w 6884782"/>
              <a:gd name="connsiteY18958" fmla="*/ 4376046 h 5973007"/>
              <a:gd name="connsiteX18959" fmla="*/ 1381326 w 6884782"/>
              <a:gd name="connsiteY18959" fmla="*/ 4384100 h 5973007"/>
              <a:gd name="connsiteX18960" fmla="*/ 1374511 w 6884782"/>
              <a:gd name="connsiteY18960" fmla="*/ 4386991 h 5973007"/>
              <a:gd name="connsiteX18961" fmla="*/ 1367695 w 6884782"/>
              <a:gd name="connsiteY18961" fmla="*/ 4386991 h 5973007"/>
              <a:gd name="connsiteX18962" fmla="*/ 1379003 w 6884782"/>
              <a:gd name="connsiteY18962" fmla="*/ 4376046 h 5973007"/>
              <a:gd name="connsiteX18963" fmla="*/ 5718413 w 6884782"/>
              <a:gd name="connsiteY18963" fmla="*/ 4375858 h 5973007"/>
              <a:gd name="connsiteX18964" fmla="*/ 5733903 w 6884782"/>
              <a:gd name="connsiteY18964" fmla="*/ 4381846 h 5973007"/>
              <a:gd name="connsiteX18965" fmla="*/ 5733128 w 6884782"/>
              <a:gd name="connsiteY18965" fmla="*/ 4383602 h 5973007"/>
              <a:gd name="connsiteX18966" fmla="*/ 5730960 w 6884782"/>
              <a:gd name="connsiteY18966" fmla="*/ 4384014 h 5973007"/>
              <a:gd name="connsiteX18967" fmla="*/ 5722905 w 6884782"/>
              <a:gd name="connsiteY18967" fmla="*/ 4381330 h 5973007"/>
              <a:gd name="connsiteX18968" fmla="*/ 5721201 w 6884782"/>
              <a:gd name="connsiteY18968" fmla="*/ 4380298 h 5973007"/>
              <a:gd name="connsiteX18969" fmla="*/ 5719497 w 6884782"/>
              <a:gd name="connsiteY18969" fmla="*/ 4379368 h 5973007"/>
              <a:gd name="connsiteX18970" fmla="*/ 5718413 w 6884782"/>
              <a:gd name="connsiteY18970" fmla="*/ 4375858 h 5973007"/>
              <a:gd name="connsiteX18971" fmla="*/ 5441923 w 6884782"/>
              <a:gd name="connsiteY18971" fmla="*/ 4375651 h 5973007"/>
              <a:gd name="connsiteX18972" fmla="*/ 5445950 w 6884782"/>
              <a:gd name="connsiteY18972" fmla="*/ 4375754 h 5973007"/>
              <a:gd name="connsiteX18973" fmla="*/ 5447499 w 6884782"/>
              <a:gd name="connsiteY18973" fmla="*/ 4377509 h 5973007"/>
              <a:gd name="connsiteX18974" fmla="*/ 5447345 w 6884782"/>
              <a:gd name="connsiteY18974" fmla="*/ 4378439 h 5973007"/>
              <a:gd name="connsiteX18975" fmla="*/ 5445486 w 6884782"/>
              <a:gd name="connsiteY18975" fmla="*/ 4379059 h 5973007"/>
              <a:gd name="connsiteX18976" fmla="*/ 5437431 w 6884782"/>
              <a:gd name="connsiteY18976" fmla="*/ 4378232 h 5973007"/>
              <a:gd name="connsiteX18977" fmla="*/ 5435727 w 6884782"/>
              <a:gd name="connsiteY18977" fmla="*/ 4378232 h 5973007"/>
              <a:gd name="connsiteX18978" fmla="*/ 5434178 w 6884782"/>
              <a:gd name="connsiteY18978" fmla="*/ 4376477 h 5973007"/>
              <a:gd name="connsiteX18979" fmla="*/ 5441923 w 6884782"/>
              <a:gd name="connsiteY18979" fmla="*/ 4375651 h 5973007"/>
              <a:gd name="connsiteX18980" fmla="*/ 5687666 w 6884782"/>
              <a:gd name="connsiteY18980" fmla="*/ 4375625 h 5973007"/>
              <a:gd name="connsiteX18981" fmla="*/ 5693475 w 6884782"/>
              <a:gd name="connsiteY18981" fmla="*/ 4377509 h 5973007"/>
              <a:gd name="connsiteX18982" fmla="*/ 5694869 w 6884782"/>
              <a:gd name="connsiteY18982" fmla="*/ 4382672 h 5973007"/>
              <a:gd name="connsiteX18983" fmla="*/ 5689602 w 6884782"/>
              <a:gd name="connsiteY18983" fmla="*/ 4384221 h 5973007"/>
              <a:gd name="connsiteX18984" fmla="*/ 5684646 w 6884782"/>
              <a:gd name="connsiteY18984" fmla="*/ 4382879 h 5973007"/>
              <a:gd name="connsiteX18985" fmla="*/ 5687666 w 6884782"/>
              <a:gd name="connsiteY18985" fmla="*/ 4375625 h 5973007"/>
              <a:gd name="connsiteX18986" fmla="*/ 5884462 w 6884782"/>
              <a:gd name="connsiteY18986" fmla="*/ 4375444 h 5973007"/>
              <a:gd name="connsiteX18987" fmla="*/ 5883687 w 6884782"/>
              <a:gd name="connsiteY18987" fmla="*/ 4377613 h 5973007"/>
              <a:gd name="connsiteX18988" fmla="*/ 5883068 w 6884782"/>
              <a:gd name="connsiteY18988" fmla="*/ 4378542 h 5973007"/>
              <a:gd name="connsiteX18989" fmla="*/ 5886630 w 6884782"/>
              <a:gd name="connsiteY18989" fmla="*/ 4380298 h 5973007"/>
              <a:gd name="connsiteX18990" fmla="*/ 5887560 w 6884782"/>
              <a:gd name="connsiteY18990" fmla="*/ 4382053 h 5973007"/>
              <a:gd name="connsiteX18991" fmla="*/ 5888489 w 6884782"/>
              <a:gd name="connsiteY18991" fmla="*/ 4376477 h 5973007"/>
              <a:gd name="connsiteX18992" fmla="*/ 5887405 w 6884782"/>
              <a:gd name="connsiteY18992" fmla="*/ 4377716 h 5973007"/>
              <a:gd name="connsiteX18993" fmla="*/ 5885236 w 6884782"/>
              <a:gd name="connsiteY18993" fmla="*/ 4376580 h 5973007"/>
              <a:gd name="connsiteX18994" fmla="*/ 674167 w 6884782"/>
              <a:gd name="connsiteY18994" fmla="*/ 4375297 h 5973007"/>
              <a:gd name="connsiteX18995" fmla="*/ 682744 w 6884782"/>
              <a:gd name="connsiteY18995" fmla="*/ 4379764 h 5973007"/>
              <a:gd name="connsiteX18996" fmla="*/ 684293 w 6884782"/>
              <a:gd name="connsiteY18996" fmla="*/ 4381829 h 5973007"/>
              <a:gd name="connsiteX18997" fmla="*/ 684603 w 6884782"/>
              <a:gd name="connsiteY18997" fmla="*/ 4382035 h 5973007"/>
              <a:gd name="connsiteX18998" fmla="*/ 684912 w 6884782"/>
              <a:gd name="connsiteY18998" fmla="*/ 4380796 h 5973007"/>
              <a:gd name="connsiteX18999" fmla="*/ 686307 w 6884782"/>
              <a:gd name="connsiteY18999" fmla="*/ 4380589 h 5973007"/>
              <a:gd name="connsiteX19000" fmla="*/ 688630 w 6884782"/>
              <a:gd name="connsiteY19000" fmla="*/ 4381209 h 5973007"/>
              <a:gd name="connsiteX19001" fmla="*/ 690489 w 6884782"/>
              <a:gd name="connsiteY19001" fmla="*/ 4381003 h 5973007"/>
              <a:gd name="connsiteX19002" fmla="*/ 691728 w 6884782"/>
              <a:gd name="connsiteY19002" fmla="*/ 4383274 h 5973007"/>
              <a:gd name="connsiteX19003" fmla="*/ 689869 w 6884782"/>
              <a:gd name="connsiteY19003" fmla="*/ 4383480 h 5973007"/>
              <a:gd name="connsiteX19004" fmla="*/ 687081 w 6884782"/>
              <a:gd name="connsiteY19004" fmla="*/ 4382861 h 5973007"/>
              <a:gd name="connsiteX19005" fmla="*/ 685687 w 6884782"/>
              <a:gd name="connsiteY19005" fmla="*/ 4382758 h 5973007"/>
              <a:gd name="connsiteX19006" fmla="*/ 687546 w 6884782"/>
              <a:gd name="connsiteY19006" fmla="*/ 4384100 h 5973007"/>
              <a:gd name="connsiteX19007" fmla="*/ 686152 w 6884782"/>
              <a:gd name="connsiteY19007" fmla="*/ 4386165 h 5973007"/>
              <a:gd name="connsiteX19008" fmla="*/ 685687 w 6884782"/>
              <a:gd name="connsiteY19008" fmla="*/ 4388231 h 5973007"/>
              <a:gd name="connsiteX19009" fmla="*/ 687391 w 6884782"/>
              <a:gd name="connsiteY19009" fmla="*/ 4389676 h 5973007"/>
              <a:gd name="connsiteX19010" fmla="*/ 685067 w 6884782"/>
              <a:gd name="connsiteY19010" fmla="*/ 4391121 h 5973007"/>
              <a:gd name="connsiteX19011" fmla="*/ 684757 w 6884782"/>
              <a:gd name="connsiteY19011" fmla="*/ 4391018 h 5973007"/>
              <a:gd name="connsiteX19012" fmla="*/ 682589 w 6884782"/>
              <a:gd name="connsiteY19012" fmla="*/ 4393703 h 5973007"/>
              <a:gd name="connsiteX19013" fmla="*/ 674689 w 6884782"/>
              <a:gd name="connsiteY19013" fmla="*/ 4397317 h 5973007"/>
              <a:gd name="connsiteX19014" fmla="*/ 668339 w 6884782"/>
              <a:gd name="connsiteY19014" fmla="*/ 4394116 h 5973007"/>
              <a:gd name="connsiteX19015" fmla="*/ 665086 w 6884782"/>
              <a:gd name="connsiteY19015" fmla="*/ 4384203 h 5973007"/>
              <a:gd name="connsiteX19016" fmla="*/ 667564 w 6884782"/>
              <a:gd name="connsiteY19016" fmla="*/ 4379041 h 5973007"/>
              <a:gd name="connsiteX19017" fmla="*/ 674167 w 6884782"/>
              <a:gd name="connsiteY19017" fmla="*/ 4375297 h 5973007"/>
              <a:gd name="connsiteX19018" fmla="*/ 1330366 w 6884782"/>
              <a:gd name="connsiteY19018" fmla="*/ 4374084 h 5973007"/>
              <a:gd name="connsiteX19019" fmla="*/ 1336716 w 6884782"/>
              <a:gd name="connsiteY19019" fmla="*/ 4375943 h 5973007"/>
              <a:gd name="connsiteX19020" fmla="*/ 1332069 w 6884782"/>
              <a:gd name="connsiteY19020" fmla="*/ 4379557 h 5973007"/>
              <a:gd name="connsiteX19021" fmla="*/ 1325874 w 6884782"/>
              <a:gd name="connsiteY19021" fmla="*/ 4378318 h 5973007"/>
              <a:gd name="connsiteX19022" fmla="*/ 1330366 w 6884782"/>
              <a:gd name="connsiteY19022" fmla="*/ 4374084 h 5973007"/>
              <a:gd name="connsiteX19023" fmla="*/ 1174695 w 6884782"/>
              <a:gd name="connsiteY19023" fmla="*/ 4373671 h 5973007"/>
              <a:gd name="connsiteX19024" fmla="*/ 1173301 w 6884782"/>
              <a:gd name="connsiteY19024" fmla="*/ 4381209 h 5973007"/>
              <a:gd name="connsiteX19025" fmla="*/ 1171597 w 6884782"/>
              <a:gd name="connsiteY19025" fmla="*/ 4382861 h 5973007"/>
              <a:gd name="connsiteX19026" fmla="*/ 1171907 w 6884782"/>
              <a:gd name="connsiteY19026" fmla="*/ 4383068 h 5973007"/>
              <a:gd name="connsiteX19027" fmla="*/ 1172216 w 6884782"/>
              <a:gd name="connsiteY19027" fmla="*/ 4385030 h 5973007"/>
              <a:gd name="connsiteX19028" fmla="*/ 1172216 w 6884782"/>
              <a:gd name="connsiteY19028" fmla="*/ 4383584 h 5973007"/>
              <a:gd name="connsiteX19029" fmla="*/ 1173455 w 6884782"/>
              <a:gd name="connsiteY19029" fmla="*/ 4382241 h 5973007"/>
              <a:gd name="connsiteX19030" fmla="*/ 1175314 w 6884782"/>
              <a:gd name="connsiteY19030" fmla="*/ 4382345 h 5973007"/>
              <a:gd name="connsiteX19031" fmla="*/ 1177948 w 6884782"/>
              <a:gd name="connsiteY19031" fmla="*/ 4384100 h 5973007"/>
              <a:gd name="connsiteX19032" fmla="*/ 1178412 w 6884782"/>
              <a:gd name="connsiteY19032" fmla="*/ 4386475 h 5973007"/>
              <a:gd name="connsiteX19033" fmla="*/ 1177638 w 6884782"/>
              <a:gd name="connsiteY19033" fmla="*/ 4387198 h 5973007"/>
              <a:gd name="connsiteX19034" fmla="*/ 1178412 w 6884782"/>
              <a:gd name="connsiteY19034" fmla="*/ 4388024 h 5973007"/>
              <a:gd name="connsiteX19035" fmla="*/ 1179651 w 6884782"/>
              <a:gd name="connsiteY19035" fmla="*/ 4391638 h 5973007"/>
              <a:gd name="connsiteX19036" fmla="*/ 1176863 w 6884782"/>
              <a:gd name="connsiteY19036" fmla="*/ 4388231 h 5973007"/>
              <a:gd name="connsiteX19037" fmla="*/ 1177948 w 6884782"/>
              <a:gd name="connsiteY19037" fmla="*/ 4392567 h 5973007"/>
              <a:gd name="connsiteX19038" fmla="*/ 1176554 w 6884782"/>
              <a:gd name="connsiteY19038" fmla="*/ 4397627 h 5973007"/>
              <a:gd name="connsiteX19039" fmla="*/ 1172526 w 6884782"/>
              <a:gd name="connsiteY19039" fmla="*/ 4397007 h 5973007"/>
              <a:gd name="connsiteX19040" fmla="*/ 1172836 w 6884782"/>
              <a:gd name="connsiteY19040" fmla="*/ 4397317 h 5973007"/>
              <a:gd name="connsiteX19041" fmla="*/ 1157966 w 6884782"/>
              <a:gd name="connsiteY19041" fmla="*/ 4406404 h 5973007"/>
              <a:gd name="connsiteX19042" fmla="*/ 1155642 w 6884782"/>
              <a:gd name="connsiteY19042" fmla="*/ 4406094 h 5973007"/>
              <a:gd name="connsiteX19043" fmla="*/ 1155177 w 6884782"/>
              <a:gd name="connsiteY19043" fmla="*/ 4407023 h 5973007"/>
              <a:gd name="connsiteX19044" fmla="*/ 1153784 w 6884782"/>
              <a:gd name="connsiteY19044" fmla="*/ 4408675 h 5973007"/>
              <a:gd name="connsiteX19045" fmla="*/ 1152234 w 6884782"/>
              <a:gd name="connsiteY19045" fmla="*/ 4410224 h 5973007"/>
              <a:gd name="connsiteX19046" fmla="*/ 1151460 w 6884782"/>
              <a:gd name="connsiteY19046" fmla="*/ 4411979 h 5973007"/>
              <a:gd name="connsiteX19047" fmla="*/ 1148207 w 6884782"/>
              <a:gd name="connsiteY19047" fmla="*/ 4413528 h 5973007"/>
              <a:gd name="connsiteX19048" fmla="*/ 1148982 w 6884782"/>
              <a:gd name="connsiteY19048" fmla="*/ 4411876 h 5973007"/>
              <a:gd name="connsiteX19049" fmla="*/ 1150531 w 6884782"/>
              <a:gd name="connsiteY19049" fmla="*/ 4410224 h 5973007"/>
              <a:gd name="connsiteX19050" fmla="*/ 1150531 w 6884782"/>
              <a:gd name="connsiteY19050" fmla="*/ 4408572 h 5973007"/>
              <a:gd name="connsiteX19051" fmla="*/ 1152544 w 6884782"/>
              <a:gd name="connsiteY19051" fmla="*/ 4405680 h 5973007"/>
              <a:gd name="connsiteX19052" fmla="*/ 1151770 w 6884782"/>
              <a:gd name="connsiteY19052" fmla="*/ 4405577 h 5973007"/>
              <a:gd name="connsiteX19053" fmla="*/ 1142321 w 6884782"/>
              <a:gd name="connsiteY19053" fmla="*/ 4401860 h 5973007"/>
              <a:gd name="connsiteX19054" fmla="*/ 1141702 w 6884782"/>
              <a:gd name="connsiteY19054" fmla="*/ 4399175 h 5973007"/>
              <a:gd name="connsiteX19055" fmla="*/ 1146968 w 6884782"/>
              <a:gd name="connsiteY19055" fmla="*/ 4391535 h 5973007"/>
              <a:gd name="connsiteX19056" fmla="*/ 1150531 w 6884782"/>
              <a:gd name="connsiteY19056" fmla="*/ 4390089 h 5973007"/>
              <a:gd name="connsiteX19057" fmla="*/ 1148982 w 6884782"/>
              <a:gd name="connsiteY19057" fmla="*/ 4389779 h 5973007"/>
              <a:gd name="connsiteX19058" fmla="*/ 1146813 w 6884782"/>
              <a:gd name="connsiteY19058" fmla="*/ 4388540 h 5973007"/>
              <a:gd name="connsiteX19059" fmla="*/ 1149137 w 6884782"/>
              <a:gd name="connsiteY19059" fmla="*/ 4389263 h 5973007"/>
              <a:gd name="connsiteX19060" fmla="*/ 1150686 w 6884782"/>
              <a:gd name="connsiteY19060" fmla="*/ 4388540 h 5973007"/>
              <a:gd name="connsiteX19061" fmla="*/ 1151770 w 6884782"/>
              <a:gd name="connsiteY19061" fmla="*/ 4389056 h 5973007"/>
              <a:gd name="connsiteX19062" fmla="*/ 1152080 w 6884782"/>
              <a:gd name="connsiteY19062" fmla="*/ 4389573 h 5973007"/>
              <a:gd name="connsiteX19063" fmla="*/ 1157191 w 6884782"/>
              <a:gd name="connsiteY19063" fmla="*/ 4389573 h 5973007"/>
              <a:gd name="connsiteX19064" fmla="*/ 1162303 w 6884782"/>
              <a:gd name="connsiteY19064" fmla="*/ 4390915 h 5973007"/>
              <a:gd name="connsiteX19065" fmla="*/ 1162458 w 6884782"/>
              <a:gd name="connsiteY19065" fmla="*/ 4390915 h 5973007"/>
              <a:gd name="connsiteX19066" fmla="*/ 1164472 w 6884782"/>
              <a:gd name="connsiteY19066" fmla="*/ 4391431 h 5973007"/>
              <a:gd name="connsiteX19067" fmla="*/ 1169893 w 6884782"/>
              <a:gd name="connsiteY19067" fmla="*/ 4394736 h 5973007"/>
              <a:gd name="connsiteX19068" fmla="*/ 1169583 w 6884782"/>
              <a:gd name="connsiteY19068" fmla="*/ 4394426 h 5973007"/>
              <a:gd name="connsiteX19069" fmla="*/ 1171597 w 6884782"/>
              <a:gd name="connsiteY19069" fmla="*/ 4388437 h 5973007"/>
              <a:gd name="connsiteX19070" fmla="*/ 1173455 w 6884782"/>
              <a:gd name="connsiteY19070" fmla="*/ 4387920 h 5973007"/>
              <a:gd name="connsiteX19071" fmla="*/ 1172216 w 6884782"/>
              <a:gd name="connsiteY19071" fmla="*/ 4385649 h 5973007"/>
              <a:gd name="connsiteX19072" fmla="*/ 1164937 w 6884782"/>
              <a:gd name="connsiteY19072" fmla="*/ 4384926 h 5973007"/>
              <a:gd name="connsiteX19073" fmla="*/ 1163232 w 6884782"/>
              <a:gd name="connsiteY19073" fmla="*/ 4383790 h 5973007"/>
              <a:gd name="connsiteX19074" fmla="*/ 1161529 w 6884782"/>
              <a:gd name="connsiteY19074" fmla="*/ 4383894 h 5973007"/>
              <a:gd name="connsiteX19075" fmla="*/ 1162148 w 6884782"/>
              <a:gd name="connsiteY19075" fmla="*/ 4382861 h 5973007"/>
              <a:gd name="connsiteX19076" fmla="*/ 1161839 w 6884782"/>
              <a:gd name="connsiteY19076" fmla="*/ 4382758 h 5973007"/>
              <a:gd name="connsiteX19077" fmla="*/ 1162148 w 6884782"/>
              <a:gd name="connsiteY19077" fmla="*/ 4382551 h 5973007"/>
              <a:gd name="connsiteX19078" fmla="*/ 1161839 w 6884782"/>
              <a:gd name="connsiteY19078" fmla="*/ 4382035 h 5973007"/>
              <a:gd name="connsiteX19079" fmla="*/ 1161684 w 6884782"/>
              <a:gd name="connsiteY19079" fmla="*/ 4379970 h 5973007"/>
              <a:gd name="connsiteX19080" fmla="*/ 1163232 w 6884782"/>
              <a:gd name="connsiteY19080" fmla="*/ 4378731 h 5973007"/>
              <a:gd name="connsiteX19081" fmla="*/ 1164007 w 6884782"/>
              <a:gd name="connsiteY19081" fmla="*/ 4378628 h 5973007"/>
              <a:gd name="connsiteX19082" fmla="*/ 1163542 w 6884782"/>
              <a:gd name="connsiteY19082" fmla="*/ 4377802 h 5973007"/>
              <a:gd name="connsiteX19083" fmla="*/ 1163852 w 6884782"/>
              <a:gd name="connsiteY19083" fmla="*/ 4376253 h 5973007"/>
              <a:gd name="connsiteX19084" fmla="*/ 1174695 w 6884782"/>
              <a:gd name="connsiteY19084" fmla="*/ 4373671 h 5973007"/>
              <a:gd name="connsiteX19085" fmla="*/ 1028008 w 6884782"/>
              <a:gd name="connsiteY19085" fmla="*/ 4373465 h 5973007"/>
              <a:gd name="connsiteX19086" fmla="*/ 1029866 w 6884782"/>
              <a:gd name="connsiteY19086" fmla="*/ 4373465 h 5973007"/>
              <a:gd name="connsiteX19087" fmla="*/ 1034513 w 6884782"/>
              <a:gd name="connsiteY19087" fmla="*/ 4377905 h 5973007"/>
              <a:gd name="connsiteX19088" fmla="*/ 1032500 w 6884782"/>
              <a:gd name="connsiteY19088" fmla="*/ 4379867 h 5973007"/>
              <a:gd name="connsiteX19089" fmla="*/ 1031261 w 6884782"/>
              <a:gd name="connsiteY19089" fmla="*/ 4379867 h 5973007"/>
              <a:gd name="connsiteX19090" fmla="*/ 1029247 w 6884782"/>
              <a:gd name="connsiteY19090" fmla="*/ 4384307 h 5973007"/>
              <a:gd name="connsiteX19091" fmla="*/ 1018559 w 6884782"/>
              <a:gd name="connsiteY19091" fmla="*/ 4388643 h 5973007"/>
              <a:gd name="connsiteX19092" fmla="*/ 1026769 w 6884782"/>
              <a:gd name="connsiteY19092" fmla="*/ 4379350 h 5973007"/>
              <a:gd name="connsiteX19093" fmla="*/ 1029712 w 6884782"/>
              <a:gd name="connsiteY19093" fmla="*/ 4379453 h 5973007"/>
              <a:gd name="connsiteX19094" fmla="*/ 1027543 w 6884782"/>
              <a:gd name="connsiteY19094" fmla="*/ 4378214 h 5973007"/>
              <a:gd name="connsiteX19095" fmla="*/ 1026459 w 6884782"/>
              <a:gd name="connsiteY19095" fmla="*/ 4374291 h 5973007"/>
              <a:gd name="connsiteX19096" fmla="*/ 1026769 w 6884782"/>
              <a:gd name="connsiteY19096" fmla="*/ 4375013 h 5973007"/>
              <a:gd name="connsiteX19097" fmla="*/ 1028317 w 6884782"/>
              <a:gd name="connsiteY19097" fmla="*/ 4374291 h 5973007"/>
              <a:gd name="connsiteX19098" fmla="*/ 1028008 w 6884782"/>
              <a:gd name="connsiteY19098" fmla="*/ 4373465 h 5973007"/>
              <a:gd name="connsiteX19099" fmla="*/ 5925819 w 6884782"/>
              <a:gd name="connsiteY19099" fmla="*/ 4373379 h 5973007"/>
              <a:gd name="connsiteX19100" fmla="*/ 5927368 w 6884782"/>
              <a:gd name="connsiteY19100" fmla="*/ 4373379 h 5973007"/>
              <a:gd name="connsiteX19101" fmla="*/ 5926594 w 6884782"/>
              <a:gd name="connsiteY19101" fmla="*/ 4374102 h 5973007"/>
              <a:gd name="connsiteX19102" fmla="*/ 5925819 w 6884782"/>
              <a:gd name="connsiteY19102" fmla="*/ 4373379 h 5973007"/>
              <a:gd name="connsiteX19103" fmla="*/ 5341550 w 6884782"/>
              <a:gd name="connsiteY19103" fmla="*/ 4373070 h 5973007"/>
              <a:gd name="connsiteX19104" fmla="*/ 5345578 w 6884782"/>
              <a:gd name="connsiteY19104" fmla="*/ 4373173 h 5973007"/>
              <a:gd name="connsiteX19105" fmla="*/ 5358589 w 6884782"/>
              <a:gd name="connsiteY19105" fmla="*/ 4376890 h 5973007"/>
              <a:gd name="connsiteX19106" fmla="*/ 5352703 w 6884782"/>
              <a:gd name="connsiteY19106" fmla="*/ 4377819 h 5973007"/>
              <a:gd name="connsiteX19107" fmla="*/ 5339382 w 6884782"/>
              <a:gd name="connsiteY19107" fmla="*/ 4377509 h 5973007"/>
              <a:gd name="connsiteX19108" fmla="*/ 5337988 w 6884782"/>
              <a:gd name="connsiteY19108" fmla="*/ 4375651 h 5973007"/>
              <a:gd name="connsiteX19109" fmla="*/ 5337213 w 6884782"/>
              <a:gd name="connsiteY19109" fmla="*/ 4375651 h 5973007"/>
              <a:gd name="connsiteX19110" fmla="*/ 5336439 w 6884782"/>
              <a:gd name="connsiteY19110" fmla="*/ 4374825 h 5973007"/>
              <a:gd name="connsiteX19111" fmla="*/ 5336439 w 6884782"/>
              <a:gd name="connsiteY19111" fmla="*/ 4373896 h 5973007"/>
              <a:gd name="connsiteX19112" fmla="*/ 5341550 w 6884782"/>
              <a:gd name="connsiteY19112" fmla="*/ 4373070 h 5973007"/>
              <a:gd name="connsiteX19113" fmla="*/ 5522934 w 6884782"/>
              <a:gd name="connsiteY19113" fmla="*/ 4372140 h 5973007"/>
              <a:gd name="connsiteX19114" fmla="*/ 5519991 w 6884782"/>
              <a:gd name="connsiteY19114" fmla="*/ 4378542 h 5973007"/>
              <a:gd name="connsiteX19115" fmla="*/ 5517357 w 6884782"/>
              <a:gd name="connsiteY19115" fmla="*/ 4378542 h 5973007"/>
              <a:gd name="connsiteX19116" fmla="*/ 5522934 w 6884782"/>
              <a:gd name="connsiteY19116" fmla="*/ 4372140 h 5973007"/>
              <a:gd name="connsiteX19117" fmla="*/ 1559922 w 6884782"/>
              <a:gd name="connsiteY19117" fmla="*/ 4372122 h 5973007"/>
              <a:gd name="connsiteX19118" fmla="*/ 1567667 w 6884782"/>
              <a:gd name="connsiteY19118" fmla="*/ 4375013 h 5973007"/>
              <a:gd name="connsiteX19119" fmla="*/ 1569835 w 6884782"/>
              <a:gd name="connsiteY19119" fmla="*/ 4377698 h 5973007"/>
              <a:gd name="connsiteX19120" fmla="*/ 1555275 w 6884782"/>
              <a:gd name="connsiteY19120" fmla="*/ 4387714 h 5973007"/>
              <a:gd name="connsiteX19121" fmla="*/ 1554965 w 6884782"/>
              <a:gd name="connsiteY19121" fmla="*/ 4387404 h 5973007"/>
              <a:gd name="connsiteX19122" fmla="*/ 1553726 w 6884782"/>
              <a:gd name="connsiteY19122" fmla="*/ 4394942 h 5973007"/>
              <a:gd name="connsiteX19123" fmla="*/ 1550783 w 6884782"/>
              <a:gd name="connsiteY19123" fmla="*/ 4403925 h 5973007"/>
              <a:gd name="connsiteX19124" fmla="*/ 1552332 w 6884782"/>
              <a:gd name="connsiteY19124" fmla="*/ 4404029 h 5973007"/>
              <a:gd name="connsiteX19125" fmla="*/ 1555275 w 6884782"/>
              <a:gd name="connsiteY19125" fmla="*/ 4405784 h 5973007"/>
              <a:gd name="connsiteX19126" fmla="*/ 1552177 w 6884782"/>
              <a:gd name="connsiteY19126" fmla="*/ 4414767 h 5973007"/>
              <a:gd name="connsiteX19127" fmla="*/ 1548150 w 6884782"/>
              <a:gd name="connsiteY19127" fmla="*/ 4412289 h 5973007"/>
              <a:gd name="connsiteX19128" fmla="*/ 1547995 w 6884782"/>
              <a:gd name="connsiteY19128" fmla="*/ 4412082 h 5973007"/>
              <a:gd name="connsiteX19129" fmla="*/ 1546446 w 6884782"/>
              <a:gd name="connsiteY19129" fmla="*/ 4416832 h 5973007"/>
              <a:gd name="connsiteX19130" fmla="*/ 1537927 w 6884782"/>
              <a:gd name="connsiteY19130" fmla="*/ 4412186 h 5973007"/>
              <a:gd name="connsiteX19131" fmla="*/ 1553726 w 6884782"/>
              <a:gd name="connsiteY19131" fmla="*/ 4373362 h 5973007"/>
              <a:gd name="connsiteX19132" fmla="*/ 1554810 w 6884782"/>
              <a:gd name="connsiteY19132" fmla="*/ 4380279 h 5973007"/>
              <a:gd name="connsiteX19133" fmla="*/ 1555585 w 6884782"/>
              <a:gd name="connsiteY19133" fmla="*/ 4379970 h 5973007"/>
              <a:gd name="connsiteX19134" fmla="*/ 1559922 w 6884782"/>
              <a:gd name="connsiteY19134" fmla="*/ 4372122 h 5973007"/>
              <a:gd name="connsiteX19135" fmla="*/ 1310539 w 6884782"/>
              <a:gd name="connsiteY19135" fmla="*/ 4371606 h 5973007"/>
              <a:gd name="connsiteX19136" fmla="*/ 1315650 w 6884782"/>
              <a:gd name="connsiteY19136" fmla="*/ 4373568 h 5973007"/>
              <a:gd name="connsiteX19137" fmla="*/ 1315341 w 6884782"/>
              <a:gd name="connsiteY19137" fmla="*/ 4382861 h 5973007"/>
              <a:gd name="connsiteX19138" fmla="*/ 1310539 w 6884782"/>
              <a:gd name="connsiteY19138" fmla="*/ 4371606 h 5973007"/>
              <a:gd name="connsiteX19139" fmla="*/ 1142166 w 6884782"/>
              <a:gd name="connsiteY19139" fmla="*/ 4370574 h 5973007"/>
              <a:gd name="connsiteX19140" fmla="*/ 1144335 w 6884782"/>
              <a:gd name="connsiteY19140" fmla="*/ 4387817 h 5973007"/>
              <a:gd name="connsiteX19141" fmla="*/ 1145265 w 6884782"/>
              <a:gd name="connsiteY19141" fmla="*/ 4388334 h 5973007"/>
              <a:gd name="connsiteX19142" fmla="*/ 1146039 w 6884782"/>
              <a:gd name="connsiteY19142" fmla="*/ 4388953 h 5973007"/>
              <a:gd name="connsiteX19143" fmla="*/ 1145265 w 6884782"/>
              <a:gd name="connsiteY19143" fmla="*/ 4389366 h 5973007"/>
              <a:gd name="connsiteX19144" fmla="*/ 1144025 w 6884782"/>
              <a:gd name="connsiteY19144" fmla="*/ 4389056 h 5973007"/>
              <a:gd name="connsiteX19145" fmla="*/ 1143716 w 6884782"/>
              <a:gd name="connsiteY19145" fmla="*/ 4388953 h 5973007"/>
              <a:gd name="connsiteX19146" fmla="*/ 1141237 w 6884782"/>
              <a:gd name="connsiteY19146" fmla="*/ 4393083 h 5973007"/>
              <a:gd name="connsiteX19147" fmla="*/ 1133957 w 6884782"/>
              <a:gd name="connsiteY19147" fmla="*/ 4400414 h 5973007"/>
              <a:gd name="connsiteX19148" fmla="*/ 1131169 w 6884782"/>
              <a:gd name="connsiteY19148" fmla="*/ 4399795 h 5973007"/>
              <a:gd name="connsiteX19149" fmla="*/ 1126367 w 6884782"/>
              <a:gd name="connsiteY19149" fmla="*/ 4391947 h 5973007"/>
              <a:gd name="connsiteX19150" fmla="*/ 1126522 w 6884782"/>
              <a:gd name="connsiteY19150" fmla="*/ 4389056 h 5973007"/>
              <a:gd name="connsiteX19151" fmla="*/ 1126367 w 6884782"/>
              <a:gd name="connsiteY19151" fmla="*/ 4389056 h 5973007"/>
              <a:gd name="connsiteX19152" fmla="*/ 1125902 w 6884782"/>
              <a:gd name="connsiteY19152" fmla="*/ 4388850 h 5973007"/>
              <a:gd name="connsiteX19153" fmla="*/ 1125593 w 6884782"/>
              <a:gd name="connsiteY19153" fmla="*/ 4389263 h 5973007"/>
              <a:gd name="connsiteX19154" fmla="*/ 1123579 w 6884782"/>
              <a:gd name="connsiteY19154" fmla="*/ 4390708 h 5973007"/>
              <a:gd name="connsiteX19155" fmla="*/ 1125283 w 6884782"/>
              <a:gd name="connsiteY19155" fmla="*/ 4389056 h 5973007"/>
              <a:gd name="connsiteX19156" fmla="*/ 1125128 w 6884782"/>
              <a:gd name="connsiteY19156" fmla="*/ 4388540 h 5973007"/>
              <a:gd name="connsiteX19157" fmla="*/ 1122649 w 6884782"/>
              <a:gd name="connsiteY19157" fmla="*/ 4387404 h 5973007"/>
              <a:gd name="connsiteX19158" fmla="*/ 1130549 w 6884782"/>
              <a:gd name="connsiteY19158" fmla="*/ 4373981 h 5973007"/>
              <a:gd name="connsiteX19159" fmla="*/ 1133183 w 6884782"/>
              <a:gd name="connsiteY19159" fmla="*/ 4374187 h 5973007"/>
              <a:gd name="connsiteX19160" fmla="*/ 1134576 w 6884782"/>
              <a:gd name="connsiteY19160" fmla="*/ 4375013 h 5973007"/>
              <a:gd name="connsiteX19161" fmla="*/ 1139533 w 6884782"/>
              <a:gd name="connsiteY19161" fmla="*/ 4371503 h 5973007"/>
              <a:gd name="connsiteX19162" fmla="*/ 1142166 w 6884782"/>
              <a:gd name="connsiteY19162" fmla="*/ 4370574 h 5973007"/>
              <a:gd name="connsiteX19163" fmla="*/ 5704937 w 6884782"/>
              <a:gd name="connsiteY19163" fmla="*/ 4370488 h 5973007"/>
              <a:gd name="connsiteX19164" fmla="*/ 5711752 w 6884782"/>
              <a:gd name="connsiteY19164" fmla="*/ 4372760 h 5973007"/>
              <a:gd name="connsiteX19165" fmla="*/ 5707105 w 6884782"/>
              <a:gd name="connsiteY19165" fmla="*/ 4384944 h 5973007"/>
              <a:gd name="connsiteX19166" fmla="*/ 5704937 w 6884782"/>
              <a:gd name="connsiteY19166" fmla="*/ 4370488 h 5973007"/>
              <a:gd name="connsiteX19167" fmla="*/ 1398365 w 6884782"/>
              <a:gd name="connsiteY19167" fmla="*/ 4369851 h 5973007"/>
              <a:gd name="connsiteX19168" fmla="*/ 1403477 w 6884782"/>
              <a:gd name="connsiteY19168" fmla="*/ 4374601 h 5973007"/>
              <a:gd name="connsiteX19169" fmla="*/ 1396971 w 6884782"/>
              <a:gd name="connsiteY19169" fmla="*/ 4381829 h 5973007"/>
              <a:gd name="connsiteX19170" fmla="*/ 1391239 w 6884782"/>
              <a:gd name="connsiteY19170" fmla="*/ 4376253 h 5973007"/>
              <a:gd name="connsiteX19171" fmla="*/ 1394183 w 6884782"/>
              <a:gd name="connsiteY19171" fmla="*/ 4370883 h 5973007"/>
              <a:gd name="connsiteX19172" fmla="*/ 1398365 w 6884782"/>
              <a:gd name="connsiteY19172" fmla="*/ 4369851 h 5973007"/>
              <a:gd name="connsiteX19173" fmla="*/ 1540715 w 6884782"/>
              <a:gd name="connsiteY19173" fmla="*/ 4369541 h 5973007"/>
              <a:gd name="connsiteX19174" fmla="*/ 1543813 w 6884782"/>
              <a:gd name="connsiteY19174" fmla="*/ 4371400 h 5973007"/>
              <a:gd name="connsiteX19175" fmla="*/ 1540715 w 6884782"/>
              <a:gd name="connsiteY19175" fmla="*/ 4378318 h 5973007"/>
              <a:gd name="connsiteX19176" fmla="*/ 1537462 w 6884782"/>
              <a:gd name="connsiteY19176" fmla="*/ 4377802 h 5973007"/>
              <a:gd name="connsiteX19177" fmla="*/ 1540715 w 6884782"/>
              <a:gd name="connsiteY19177" fmla="*/ 4369541 h 5973007"/>
              <a:gd name="connsiteX19178" fmla="*/ 1080982 w 6884782"/>
              <a:gd name="connsiteY19178" fmla="*/ 4368818 h 5973007"/>
              <a:gd name="connsiteX19179" fmla="*/ 1080208 w 6884782"/>
              <a:gd name="connsiteY19179" fmla="*/ 4380176 h 5973007"/>
              <a:gd name="connsiteX19180" fmla="*/ 1079433 w 6884782"/>
              <a:gd name="connsiteY19180" fmla="*/ 4383274 h 5973007"/>
              <a:gd name="connsiteX19181" fmla="*/ 1080518 w 6884782"/>
              <a:gd name="connsiteY19181" fmla="*/ 4383377 h 5973007"/>
              <a:gd name="connsiteX19182" fmla="*/ 1082066 w 6884782"/>
              <a:gd name="connsiteY19182" fmla="*/ 4384307 h 5973007"/>
              <a:gd name="connsiteX19183" fmla="*/ 1083926 w 6884782"/>
              <a:gd name="connsiteY19183" fmla="*/ 4383894 h 5973007"/>
              <a:gd name="connsiteX19184" fmla="*/ 1084081 w 6884782"/>
              <a:gd name="connsiteY19184" fmla="*/ 4383584 h 5973007"/>
              <a:gd name="connsiteX19185" fmla="*/ 1084390 w 6884782"/>
              <a:gd name="connsiteY19185" fmla="*/ 4380486 h 5973007"/>
              <a:gd name="connsiteX19186" fmla="*/ 1086094 w 6884782"/>
              <a:gd name="connsiteY19186" fmla="*/ 4379867 h 5973007"/>
              <a:gd name="connsiteX19187" fmla="*/ 1086869 w 6884782"/>
              <a:gd name="connsiteY19187" fmla="*/ 4382551 h 5973007"/>
              <a:gd name="connsiteX19188" fmla="*/ 1084545 w 6884782"/>
              <a:gd name="connsiteY19188" fmla="*/ 4383894 h 5973007"/>
              <a:gd name="connsiteX19189" fmla="*/ 1091360 w 6884782"/>
              <a:gd name="connsiteY19189" fmla="*/ 4382654 h 5973007"/>
              <a:gd name="connsiteX19190" fmla="*/ 1093839 w 6884782"/>
              <a:gd name="connsiteY19190" fmla="*/ 4383068 h 5973007"/>
              <a:gd name="connsiteX19191" fmla="*/ 1093684 w 6884782"/>
              <a:gd name="connsiteY19191" fmla="*/ 4382035 h 5973007"/>
              <a:gd name="connsiteX19192" fmla="*/ 1098330 w 6884782"/>
              <a:gd name="connsiteY19192" fmla="*/ 4383480 h 5973007"/>
              <a:gd name="connsiteX19193" fmla="*/ 1098330 w 6884782"/>
              <a:gd name="connsiteY19193" fmla="*/ 4383790 h 5973007"/>
              <a:gd name="connsiteX19194" fmla="*/ 1102668 w 6884782"/>
              <a:gd name="connsiteY19194" fmla="*/ 4384513 h 5973007"/>
              <a:gd name="connsiteX19195" fmla="*/ 1109019 w 6884782"/>
              <a:gd name="connsiteY19195" fmla="*/ 4388024 h 5973007"/>
              <a:gd name="connsiteX19196" fmla="*/ 1092755 w 6884782"/>
              <a:gd name="connsiteY19196" fmla="*/ 4392774 h 5973007"/>
              <a:gd name="connsiteX19197" fmla="*/ 1092290 w 6884782"/>
              <a:gd name="connsiteY19197" fmla="*/ 4409398 h 5973007"/>
              <a:gd name="connsiteX19198" fmla="*/ 1086559 w 6884782"/>
              <a:gd name="connsiteY19198" fmla="*/ 4397007 h 5973007"/>
              <a:gd name="connsiteX19199" fmla="*/ 1085939 w 6884782"/>
              <a:gd name="connsiteY19199" fmla="*/ 4394839 h 5973007"/>
              <a:gd name="connsiteX19200" fmla="*/ 1084545 w 6884782"/>
              <a:gd name="connsiteY19200" fmla="*/ 4393703 h 5973007"/>
              <a:gd name="connsiteX19201" fmla="*/ 1079588 w 6884782"/>
              <a:gd name="connsiteY19201" fmla="*/ 4390812 h 5973007"/>
              <a:gd name="connsiteX19202" fmla="*/ 1079124 w 6884782"/>
              <a:gd name="connsiteY19202" fmla="*/ 4391121 h 5973007"/>
              <a:gd name="connsiteX19203" fmla="*/ 1079124 w 6884782"/>
              <a:gd name="connsiteY19203" fmla="*/ 4391431 h 5973007"/>
              <a:gd name="connsiteX19204" fmla="*/ 1079278 w 6884782"/>
              <a:gd name="connsiteY19204" fmla="*/ 4391535 h 5973007"/>
              <a:gd name="connsiteX19205" fmla="*/ 1079124 w 6884782"/>
              <a:gd name="connsiteY19205" fmla="*/ 4392154 h 5973007"/>
              <a:gd name="connsiteX19206" fmla="*/ 1079124 w 6884782"/>
              <a:gd name="connsiteY19206" fmla="*/ 4392980 h 5973007"/>
              <a:gd name="connsiteX19207" fmla="*/ 1078969 w 6884782"/>
              <a:gd name="connsiteY19207" fmla="*/ 4393083 h 5973007"/>
              <a:gd name="connsiteX19208" fmla="*/ 1078814 w 6884782"/>
              <a:gd name="connsiteY19208" fmla="*/ 4394013 h 5973007"/>
              <a:gd name="connsiteX19209" fmla="*/ 1077110 w 6884782"/>
              <a:gd name="connsiteY19209" fmla="*/ 4396388 h 5973007"/>
              <a:gd name="connsiteX19210" fmla="*/ 1074631 w 6884782"/>
              <a:gd name="connsiteY19210" fmla="*/ 4400208 h 5973007"/>
              <a:gd name="connsiteX19211" fmla="*/ 1064099 w 6884782"/>
              <a:gd name="connsiteY19211" fmla="*/ 4410431 h 5973007"/>
              <a:gd name="connsiteX19212" fmla="*/ 1066577 w 6884782"/>
              <a:gd name="connsiteY19212" fmla="*/ 4405061 h 5973007"/>
              <a:gd name="connsiteX19213" fmla="*/ 1065338 w 6884782"/>
              <a:gd name="connsiteY19213" fmla="*/ 4403306 h 5973007"/>
              <a:gd name="connsiteX19214" fmla="*/ 1066577 w 6884782"/>
              <a:gd name="connsiteY19214" fmla="*/ 4399279 h 5973007"/>
              <a:gd name="connsiteX19215" fmla="*/ 1068281 w 6884782"/>
              <a:gd name="connsiteY19215" fmla="*/ 4402170 h 5973007"/>
              <a:gd name="connsiteX19216" fmla="*/ 1068281 w 6884782"/>
              <a:gd name="connsiteY19216" fmla="*/ 4402686 h 5973007"/>
              <a:gd name="connsiteX19217" fmla="*/ 1071224 w 6884782"/>
              <a:gd name="connsiteY19217" fmla="*/ 4398349 h 5973007"/>
              <a:gd name="connsiteX19218" fmla="*/ 1074477 w 6884782"/>
              <a:gd name="connsiteY19218" fmla="*/ 4392670 h 5973007"/>
              <a:gd name="connsiteX19219" fmla="*/ 1076955 w 6884782"/>
              <a:gd name="connsiteY19219" fmla="*/ 4392051 h 5973007"/>
              <a:gd name="connsiteX19220" fmla="*/ 1077419 w 6884782"/>
              <a:gd name="connsiteY19220" fmla="*/ 4391328 h 5973007"/>
              <a:gd name="connsiteX19221" fmla="*/ 1078504 w 6884782"/>
              <a:gd name="connsiteY19221" fmla="*/ 4391121 h 5973007"/>
              <a:gd name="connsiteX19222" fmla="*/ 1078659 w 6884782"/>
              <a:gd name="connsiteY19222" fmla="*/ 4390915 h 5973007"/>
              <a:gd name="connsiteX19223" fmla="*/ 1079124 w 6884782"/>
              <a:gd name="connsiteY19223" fmla="*/ 4390502 h 5973007"/>
              <a:gd name="connsiteX19224" fmla="*/ 1074786 w 6884782"/>
              <a:gd name="connsiteY19224" fmla="*/ 4388024 h 5973007"/>
              <a:gd name="connsiteX19225" fmla="*/ 1074786 w 6884782"/>
              <a:gd name="connsiteY19225" fmla="*/ 4382551 h 5973007"/>
              <a:gd name="connsiteX19226" fmla="*/ 1077110 w 6884782"/>
              <a:gd name="connsiteY19226" fmla="*/ 4382861 h 5973007"/>
              <a:gd name="connsiteX19227" fmla="*/ 1077419 w 6884782"/>
              <a:gd name="connsiteY19227" fmla="*/ 4379144 h 5973007"/>
              <a:gd name="connsiteX19228" fmla="*/ 1080827 w 6884782"/>
              <a:gd name="connsiteY19228" fmla="*/ 4370780 h 5973007"/>
              <a:gd name="connsiteX19229" fmla="*/ 1080982 w 6884782"/>
              <a:gd name="connsiteY19229" fmla="*/ 4368818 h 5973007"/>
              <a:gd name="connsiteX19230" fmla="*/ 5491025 w 6884782"/>
              <a:gd name="connsiteY19230" fmla="*/ 4368733 h 5973007"/>
              <a:gd name="connsiteX19231" fmla="*/ 5496446 w 6884782"/>
              <a:gd name="connsiteY19231" fmla="*/ 4371417 h 5973007"/>
              <a:gd name="connsiteX19232" fmla="*/ 5495517 w 6884782"/>
              <a:gd name="connsiteY19232" fmla="*/ 4373173 h 5973007"/>
              <a:gd name="connsiteX19233" fmla="*/ 5492884 w 6884782"/>
              <a:gd name="connsiteY19233" fmla="*/ 4374515 h 5973007"/>
              <a:gd name="connsiteX19234" fmla="*/ 5490406 w 6884782"/>
              <a:gd name="connsiteY19234" fmla="*/ 4373896 h 5973007"/>
              <a:gd name="connsiteX19235" fmla="*/ 5491025 w 6884782"/>
              <a:gd name="connsiteY19235" fmla="*/ 4368733 h 5973007"/>
              <a:gd name="connsiteX19236" fmla="*/ 611956 w 6884782"/>
              <a:gd name="connsiteY19236" fmla="*/ 4368302 h 5973007"/>
              <a:gd name="connsiteX19237" fmla="*/ 612576 w 6884782"/>
              <a:gd name="connsiteY19237" fmla="*/ 4371709 h 5973007"/>
              <a:gd name="connsiteX19238" fmla="*/ 610872 w 6884782"/>
              <a:gd name="connsiteY19238" fmla="*/ 4371503 h 5973007"/>
              <a:gd name="connsiteX19239" fmla="*/ 610872 w 6884782"/>
              <a:gd name="connsiteY19239" fmla="*/ 4372226 h 5973007"/>
              <a:gd name="connsiteX19240" fmla="*/ 609323 w 6884782"/>
              <a:gd name="connsiteY19240" fmla="*/ 4371193 h 5973007"/>
              <a:gd name="connsiteX19241" fmla="*/ 609323 w 6884782"/>
              <a:gd name="connsiteY19241" fmla="*/ 4370367 h 5973007"/>
              <a:gd name="connsiteX19242" fmla="*/ 609323 w 6884782"/>
              <a:gd name="connsiteY19242" fmla="*/ 4370161 h 5973007"/>
              <a:gd name="connsiteX19243" fmla="*/ 610253 w 6884782"/>
              <a:gd name="connsiteY19243" fmla="*/ 4368818 h 5973007"/>
              <a:gd name="connsiteX19244" fmla="*/ 611956 w 6884782"/>
              <a:gd name="connsiteY19244" fmla="*/ 4368302 h 5973007"/>
              <a:gd name="connsiteX19245" fmla="*/ 1513607 w 6884782"/>
              <a:gd name="connsiteY19245" fmla="*/ 4366753 h 5973007"/>
              <a:gd name="connsiteX19246" fmla="*/ 1516241 w 6884782"/>
              <a:gd name="connsiteY19246" fmla="*/ 4370986 h 5973007"/>
              <a:gd name="connsiteX19247" fmla="*/ 1517790 w 6884782"/>
              <a:gd name="connsiteY19247" fmla="*/ 4374910 h 5973007"/>
              <a:gd name="connsiteX19248" fmla="*/ 1519494 w 6884782"/>
              <a:gd name="connsiteY19248" fmla="*/ 4388850 h 5973007"/>
              <a:gd name="connsiteX19249" fmla="*/ 1516396 w 6884782"/>
              <a:gd name="connsiteY19249" fmla="*/ 4383894 h 5973007"/>
              <a:gd name="connsiteX19250" fmla="*/ 1511749 w 6884782"/>
              <a:gd name="connsiteY19250" fmla="*/ 4371400 h 5973007"/>
              <a:gd name="connsiteX19251" fmla="*/ 1512679 w 6884782"/>
              <a:gd name="connsiteY19251" fmla="*/ 4369025 h 5973007"/>
              <a:gd name="connsiteX19252" fmla="*/ 1512369 w 6884782"/>
              <a:gd name="connsiteY19252" fmla="*/ 4368302 h 5973007"/>
              <a:gd name="connsiteX19253" fmla="*/ 1513607 w 6884782"/>
              <a:gd name="connsiteY19253" fmla="*/ 4366753 h 5973007"/>
              <a:gd name="connsiteX19254" fmla="*/ 1567512 w 6884782"/>
              <a:gd name="connsiteY19254" fmla="*/ 4366546 h 5973007"/>
              <a:gd name="connsiteX19255" fmla="*/ 1574173 w 6884782"/>
              <a:gd name="connsiteY19255" fmla="*/ 4368612 h 5973007"/>
              <a:gd name="connsiteX19256" fmla="*/ 1569990 w 6884782"/>
              <a:gd name="connsiteY19256" fmla="*/ 4372019 h 5973007"/>
              <a:gd name="connsiteX19257" fmla="*/ 1563640 w 6884782"/>
              <a:gd name="connsiteY19257" fmla="*/ 4370574 h 5973007"/>
              <a:gd name="connsiteX19258" fmla="*/ 1567512 w 6884782"/>
              <a:gd name="connsiteY19258" fmla="*/ 4366546 h 5973007"/>
              <a:gd name="connsiteX19259" fmla="*/ 5774214 w 6884782"/>
              <a:gd name="connsiteY19259" fmla="*/ 4366164 h 5973007"/>
              <a:gd name="connsiteX19260" fmla="*/ 5775260 w 6884782"/>
              <a:gd name="connsiteY19260" fmla="*/ 4372450 h 5973007"/>
              <a:gd name="connsiteX19261" fmla="*/ 5768290 w 6884782"/>
              <a:gd name="connsiteY19261" fmla="*/ 4369249 h 5973007"/>
              <a:gd name="connsiteX19262" fmla="*/ 5774214 w 6884782"/>
              <a:gd name="connsiteY19262" fmla="*/ 4366164 h 5973007"/>
              <a:gd name="connsiteX19263" fmla="*/ 1531575 w 6884782"/>
              <a:gd name="connsiteY19263" fmla="*/ 4365617 h 5973007"/>
              <a:gd name="connsiteX19264" fmla="*/ 1533744 w 6884782"/>
              <a:gd name="connsiteY19264" fmla="*/ 4367476 h 5973007"/>
              <a:gd name="connsiteX19265" fmla="*/ 1533125 w 6884782"/>
              <a:gd name="connsiteY19265" fmla="*/ 4370574 h 5973007"/>
              <a:gd name="connsiteX19266" fmla="*/ 1531575 w 6884782"/>
              <a:gd name="connsiteY19266" fmla="*/ 4372122 h 5973007"/>
              <a:gd name="connsiteX19267" fmla="*/ 1531575 w 6884782"/>
              <a:gd name="connsiteY19267" fmla="*/ 4375013 h 5973007"/>
              <a:gd name="connsiteX19268" fmla="*/ 1526929 w 6884782"/>
              <a:gd name="connsiteY19268" fmla="*/ 4379970 h 5973007"/>
              <a:gd name="connsiteX19269" fmla="*/ 1524605 w 6884782"/>
              <a:gd name="connsiteY19269" fmla="*/ 4379867 h 5973007"/>
              <a:gd name="connsiteX19270" fmla="*/ 1520578 w 6884782"/>
              <a:gd name="connsiteY19270" fmla="*/ 4376769 h 5973007"/>
              <a:gd name="connsiteX19271" fmla="*/ 1523211 w 6884782"/>
              <a:gd name="connsiteY19271" fmla="*/ 4368818 h 5973007"/>
              <a:gd name="connsiteX19272" fmla="*/ 1526619 w 6884782"/>
              <a:gd name="connsiteY19272" fmla="*/ 4368096 h 5973007"/>
              <a:gd name="connsiteX19273" fmla="*/ 1526619 w 6884782"/>
              <a:gd name="connsiteY19273" fmla="*/ 4366753 h 5973007"/>
              <a:gd name="connsiteX19274" fmla="*/ 1531575 w 6884782"/>
              <a:gd name="connsiteY19274" fmla="*/ 4365617 h 5973007"/>
              <a:gd name="connsiteX19275" fmla="*/ 5828854 w 6884782"/>
              <a:gd name="connsiteY19275" fmla="*/ 4365325 h 5973007"/>
              <a:gd name="connsiteX19276" fmla="*/ 5837373 w 6884782"/>
              <a:gd name="connsiteY19276" fmla="*/ 4371004 h 5973007"/>
              <a:gd name="connsiteX19277" fmla="*/ 5833656 w 6884782"/>
              <a:gd name="connsiteY19277" fmla="*/ 4373689 h 5973007"/>
              <a:gd name="connsiteX19278" fmla="*/ 5828854 w 6884782"/>
              <a:gd name="connsiteY19278" fmla="*/ 4365325 h 5973007"/>
              <a:gd name="connsiteX19279" fmla="*/ 5786335 w 6884782"/>
              <a:gd name="connsiteY19279" fmla="*/ 4364835 h 5973007"/>
              <a:gd name="connsiteX19280" fmla="*/ 5791524 w 6884782"/>
              <a:gd name="connsiteY19280" fmla="*/ 4368423 h 5973007"/>
              <a:gd name="connsiteX19281" fmla="*/ 5789975 w 6884782"/>
              <a:gd name="connsiteY19281" fmla="*/ 4390416 h 5973007"/>
              <a:gd name="connsiteX19282" fmla="*/ 5783004 w 6884782"/>
              <a:gd name="connsiteY19282" fmla="*/ 4381124 h 5973007"/>
              <a:gd name="connsiteX19283" fmla="*/ 5780216 w 6884782"/>
              <a:gd name="connsiteY19283" fmla="*/ 4367287 h 5973007"/>
              <a:gd name="connsiteX19284" fmla="*/ 5786335 w 6884782"/>
              <a:gd name="connsiteY19284" fmla="*/ 4364835 h 5973007"/>
              <a:gd name="connsiteX19285" fmla="*/ 666886 w 6884782"/>
              <a:gd name="connsiteY19285" fmla="*/ 4364081 h 5973007"/>
              <a:gd name="connsiteX19286" fmla="*/ 671127 w 6884782"/>
              <a:gd name="connsiteY19286" fmla="*/ 4367476 h 5973007"/>
              <a:gd name="connsiteX19287" fmla="*/ 668958 w 6884782"/>
              <a:gd name="connsiteY19287" fmla="*/ 4373258 h 5973007"/>
              <a:gd name="connsiteX19288" fmla="*/ 666480 w 6884782"/>
              <a:gd name="connsiteY19288" fmla="*/ 4373671 h 5973007"/>
              <a:gd name="connsiteX19289" fmla="*/ 664621 w 6884782"/>
              <a:gd name="connsiteY19289" fmla="*/ 4373981 h 5973007"/>
              <a:gd name="connsiteX19290" fmla="*/ 661523 w 6884782"/>
              <a:gd name="connsiteY19290" fmla="*/ 4372019 h 5973007"/>
              <a:gd name="connsiteX19291" fmla="*/ 661523 w 6884782"/>
              <a:gd name="connsiteY19291" fmla="*/ 4372845 h 5973007"/>
              <a:gd name="connsiteX19292" fmla="*/ 660904 w 6884782"/>
              <a:gd name="connsiteY19292" fmla="*/ 4367579 h 5973007"/>
              <a:gd name="connsiteX19293" fmla="*/ 666886 w 6884782"/>
              <a:gd name="connsiteY19293" fmla="*/ 4364081 h 5973007"/>
              <a:gd name="connsiteX19294" fmla="*/ 5291673 w 6884782"/>
              <a:gd name="connsiteY19294" fmla="*/ 4362950 h 5973007"/>
              <a:gd name="connsiteX19295" fmla="*/ 5294152 w 6884782"/>
              <a:gd name="connsiteY19295" fmla="*/ 4369146 h 5973007"/>
              <a:gd name="connsiteX19296" fmla="*/ 5291519 w 6884782"/>
              <a:gd name="connsiteY19296" fmla="*/ 4369765 h 5973007"/>
              <a:gd name="connsiteX19297" fmla="*/ 5288576 w 6884782"/>
              <a:gd name="connsiteY19297" fmla="*/ 4369146 h 5973007"/>
              <a:gd name="connsiteX19298" fmla="*/ 5291673 w 6884782"/>
              <a:gd name="connsiteY19298" fmla="*/ 4362950 h 5973007"/>
              <a:gd name="connsiteX19299" fmla="*/ 1084390 w 6884782"/>
              <a:gd name="connsiteY19299" fmla="*/ 4361590 h 5973007"/>
              <a:gd name="connsiteX19300" fmla="*/ 1082531 w 6884782"/>
              <a:gd name="connsiteY19300" fmla="*/ 4366237 h 5973007"/>
              <a:gd name="connsiteX19301" fmla="*/ 1082376 w 6884782"/>
              <a:gd name="connsiteY19301" fmla="*/ 4368096 h 5973007"/>
              <a:gd name="connsiteX19302" fmla="*/ 1080982 w 6884782"/>
              <a:gd name="connsiteY19302" fmla="*/ 4366960 h 5973007"/>
              <a:gd name="connsiteX19303" fmla="*/ 1082686 w 6884782"/>
              <a:gd name="connsiteY19303" fmla="*/ 4364275 h 5973007"/>
              <a:gd name="connsiteX19304" fmla="*/ 1081292 w 6884782"/>
              <a:gd name="connsiteY19304" fmla="*/ 4363139 h 5973007"/>
              <a:gd name="connsiteX19305" fmla="*/ 1081757 w 6884782"/>
              <a:gd name="connsiteY19305" fmla="*/ 4361900 h 5973007"/>
              <a:gd name="connsiteX19306" fmla="*/ 1084390 w 6884782"/>
              <a:gd name="connsiteY19306" fmla="*/ 4361590 h 5973007"/>
              <a:gd name="connsiteX19307" fmla="*/ 1470856 w 6884782"/>
              <a:gd name="connsiteY19307" fmla="*/ 4361177 h 5973007"/>
              <a:gd name="connsiteX19308" fmla="*/ 1477207 w 6884782"/>
              <a:gd name="connsiteY19308" fmla="*/ 4363552 h 5973007"/>
              <a:gd name="connsiteX19309" fmla="*/ 1477207 w 6884782"/>
              <a:gd name="connsiteY19309" fmla="*/ 4379660 h 5973007"/>
              <a:gd name="connsiteX19310" fmla="*/ 1475193 w 6884782"/>
              <a:gd name="connsiteY19310" fmla="*/ 4384307 h 5973007"/>
              <a:gd name="connsiteX19311" fmla="*/ 1475193 w 6884782"/>
              <a:gd name="connsiteY19311" fmla="*/ 4387404 h 5973007"/>
              <a:gd name="connsiteX19312" fmla="*/ 1471786 w 6884782"/>
              <a:gd name="connsiteY19312" fmla="*/ 4388231 h 5973007"/>
              <a:gd name="connsiteX19313" fmla="*/ 1465590 w 6884782"/>
              <a:gd name="connsiteY19313" fmla="*/ 4391535 h 5973007"/>
              <a:gd name="connsiteX19314" fmla="*/ 1463421 w 6884782"/>
              <a:gd name="connsiteY19314" fmla="*/ 4387920 h 5973007"/>
              <a:gd name="connsiteX19315" fmla="*/ 1461872 w 6884782"/>
              <a:gd name="connsiteY19315" fmla="*/ 4387301 h 5973007"/>
              <a:gd name="connsiteX19316" fmla="*/ 1458310 w 6884782"/>
              <a:gd name="connsiteY19316" fmla="*/ 4382345 h 5973007"/>
              <a:gd name="connsiteX19317" fmla="*/ 1455367 w 6884782"/>
              <a:gd name="connsiteY19317" fmla="*/ 4382035 h 5973007"/>
              <a:gd name="connsiteX19318" fmla="*/ 1454282 w 6884782"/>
              <a:gd name="connsiteY19318" fmla="*/ 4379350 h 5973007"/>
              <a:gd name="connsiteX19319" fmla="*/ 1457690 w 6884782"/>
              <a:gd name="connsiteY19319" fmla="*/ 4378214 h 5973007"/>
              <a:gd name="connsiteX19320" fmla="*/ 1458000 w 6884782"/>
              <a:gd name="connsiteY19320" fmla="*/ 4373981 h 5973007"/>
              <a:gd name="connsiteX19321" fmla="*/ 1459239 w 6884782"/>
              <a:gd name="connsiteY19321" fmla="*/ 4372845 h 5973007"/>
              <a:gd name="connsiteX19322" fmla="*/ 1459239 w 6884782"/>
              <a:gd name="connsiteY19322" fmla="*/ 4372226 h 5973007"/>
              <a:gd name="connsiteX19323" fmla="*/ 1470856 w 6884782"/>
              <a:gd name="connsiteY19323" fmla="*/ 4361177 h 5973007"/>
              <a:gd name="connsiteX19324" fmla="*/ 695910 w 6884782"/>
              <a:gd name="connsiteY19324" fmla="*/ 4361074 h 5973007"/>
              <a:gd name="connsiteX19325" fmla="*/ 702261 w 6884782"/>
              <a:gd name="connsiteY19325" fmla="*/ 4365720 h 5973007"/>
              <a:gd name="connsiteX19326" fmla="*/ 694516 w 6884782"/>
              <a:gd name="connsiteY19326" fmla="*/ 4364172 h 5973007"/>
              <a:gd name="connsiteX19327" fmla="*/ 693742 w 6884782"/>
              <a:gd name="connsiteY19327" fmla="*/ 4362416 h 5973007"/>
              <a:gd name="connsiteX19328" fmla="*/ 695910 w 6884782"/>
              <a:gd name="connsiteY19328" fmla="*/ 4361074 h 5973007"/>
              <a:gd name="connsiteX19329" fmla="*/ 5758996 w 6884782"/>
              <a:gd name="connsiteY19329" fmla="*/ 4360989 h 5973007"/>
              <a:gd name="connsiteX19330" fmla="*/ 5766895 w 6884782"/>
              <a:gd name="connsiteY19330" fmla="*/ 4369146 h 5973007"/>
              <a:gd name="connsiteX19331" fmla="*/ 5771542 w 6884782"/>
              <a:gd name="connsiteY19331" fmla="*/ 4380814 h 5973007"/>
              <a:gd name="connsiteX19332" fmla="*/ 5761474 w 6884782"/>
              <a:gd name="connsiteY19332" fmla="*/ 4373586 h 5973007"/>
              <a:gd name="connsiteX19333" fmla="*/ 5758996 w 6884782"/>
              <a:gd name="connsiteY19333" fmla="*/ 4360989 h 5973007"/>
              <a:gd name="connsiteX19334" fmla="*/ 1422993 w 6884782"/>
              <a:gd name="connsiteY19334" fmla="*/ 4360558 h 5973007"/>
              <a:gd name="connsiteX19335" fmla="*/ 1425317 w 6884782"/>
              <a:gd name="connsiteY19335" fmla="*/ 4361074 h 5973007"/>
              <a:gd name="connsiteX19336" fmla="*/ 1425317 w 6884782"/>
              <a:gd name="connsiteY19336" fmla="*/ 4363036 h 5973007"/>
              <a:gd name="connsiteX19337" fmla="*/ 1426092 w 6884782"/>
              <a:gd name="connsiteY19337" fmla="*/ 4364481 h 5973007"/>
              <a:gd name="connsiteX19338" fmla="*/ 1425317 w 6884782"/>
              <a:gd name="connsiteY19338" fmla="*/ 4364998 h 5973007"/>
              <a:gd name="connsiteX19339" fmla="*/ 1425007 w 6884782"/>
              <a:gd name="connsiteY19339" fmla="*/ 4366237 h 5973007"/>
              <a:gd name="connsiteX19340" fmla="*/ 1421135 w 6884782"/>
              <a:gd name="connsiteY19340" fmla="*/ 4366546 h 5973007"/>
              <a:gd name="connsiteX19341" fmla="*/ 1419431 w 6884782"/>
              <a:gd name="connsiteY19341" fmla="*/ 4365720 h 5973007"/>
              <a:gd name="connsiteX19342" fmla="*/ 1418967 w 6884782"/>
              <a:gd name="connsiteY19342" fmla="*/ 4364172 h 5973007"/>
              <a:gd name="connsiteX19343" fmla="*/ 1420050 w 6884782"/>
              <a:gd name="connsiteY19343" fmla="*/ 4362416 h 5973007"/>
              <a:gd name="connsiteX19344" fmla="*/ 1422993 w 6884782"/>
              <a:gd name="connsiteY19344" fmla="*/ 4360558 h 5973007"/>
              <a:gd name="connsiteX19345" fmla="*/ 6018912 w 6884782"/>
              <a:gd name="connsiteY19345" fmla="*/ 4359646 h 5973007"/>
              <a:gd name="connsiteX19346" fmla="*/ 6020925 w 6884782"/>
              <a:gd name="connsiteY19346" fmla="*/ 4360885 h 5973007"/>
              <a:gd name="connsiteX19347" fmla="*/ 6019377 w 6884782"/>
              <a:gd name="connsiteY19347" fmla="*/ 4369249 h 5973007"/>
              <a:gd name="connsiteX19348" fmla="*/ 6017673 w 6884782"/>
              <a:gd name="connsiteY19348" fmla="*/ 4361298 h 5973007"/>
              <a:gd name="connsiteX19349" fmla="*/ 6018912 w 6884782"/>
              <a:gd name="connsiteY19349" fmla="*/ 4359646 h 5973007"/>
              <a:gd name="connsiteX19350" fmla="*/ 1645221 w 6884782"/>
              <a:gd name="connsiteY19350" fmla="*/ 4359554 h 5973007"/>
              <a:gd name="connsiteX19351" fmla="*/ 1640880 w 6884782"/>
              <a:gd name="connsiteY19351" fmla="*/ 4362631 h 5973007"/>
              <a:gd name="connsiteX19352" fmla="*/ 1644495 w 6884782"/>
              <a:gd name="connsiteY19352" fmla="*/ 4363345 h 5973007"/>
              <a:gd name="connsiteX19353" fmla="*/ 1644650 w 6884782"/>
              <a:gd name="connsiteY19353" fmla="*/ 4362933 h 5973007"/>
              <a:gd name="connsiteX19354" fmla="*/ 1644650 w 6884782"/>
              <a:gd name="connsiteY19354" fmla="*/ 4360454 h 5973007"/>
              <a:gd name="connsiteX19355" fmla="*/ 1078969 w 6884782"/>
              <a:gd name="connsiteY19355" fmla="*/ 4359525 h 5973007"/>
              <a:gd name="connsiteX19356" fmla="*/ 1080982 w 6884782"/>
              <a:gd name="connsiteY19356" fmla="*/ 4359525 h 5973007"/>
              <a:gd name="connsiteX19357" fmla="*/ 1081757 w 6884782"/>
              <a:gd name="connsiteY19357" fmla="*/ 4361900 h 5973007"/>
              <a:gd name="connsiteX19358" fmla="*/ 1070295 w 6884782"/>
              <a:gd name="connsiteY19358" fmla="*/ 4367579 h 5973007"/>
              <a:gd name="connsiteX19359" fmla="*/ 1068436 w 6884782"/>
              <a:gd name="connsiteY19359" fmla="*/ 4367579 h 5973007"/>
              <a:gd name="connsiteX19360" fmla="*/ 1063479 w 6884782"/>
              <a:gd name="connsiteY19360" fmla="*/ 4364481 h 5973007"/>
              <a:gd name="connsiteX19361" fmla="*/ 1078969 w 6884782"/>
              <a:gd name="connsiteY19361" fmla="*/ 4359525 h 5973007"/>
              <a:gd name="connsiteX19362" fmla="*/ 1402857 w 6884782"/>
              <a:gd name="connsiteY19362" fmla="*/ 4357873 h 5973007"/>
              <a:gd name="connsiteX19363" fmla="*/ 1418967 w 6884782"/>
              <a:gd name="connsiteY19363" fmla="*/ 4365307 h 5973007"/>
              <a:gd name="connsiteX19364" fmla="*/ 1415868 w 6884782"/>
              <a:gd name="connsiteY19364" fmla="*/ 4366960 h 5973007"/>
              <a:gd name="connsiteX19365" fmla="*/ 1411841 w 6884782"/>
              <a:gd name="connsiteY19365" fmla="*/ 4366753 h 5973007"/>
              <a:gd name="connsiteX19366" fmla="*/ 1404251 w 6884782"/>
              <a:gd name="connsiteY19366" fmla="*/ 4363552 h 5973007"/>
              <a:gd name="connsiteX19367" fmla="*/ 1402857 w 6884782"/>
              <a:gd name="connsiteY19367" fmla="*/ 4357873 h 5973007"/>
              <a:gd name="connsiteX19368" fmla="*/ 1142786 w 6884782"/>
              <a:gd name="connsiteY19368" fmla="*/ 4357667 h 5973007"/>
              <a:gd name="connsiteX19369" fmla="*/ 1143251 w 6884782"/>
              <a:gd name="connsiteY19369" fmla="*/ 4362623 h 5973007"/>
              <a:gd name="connsiteX19370" fmla="*/ 1139843 w 6884782"/>
              <a:gd name="connsiteY19370" fmla="*/ 4362416 h 5973007"/>
              <a:gd name="connsiteX19371" fmla="*/ 1142786 w 6884782"/>
              <a:gd name="connsiteY19371" fmla="*/ 4357667 h 5973007"/>
              <a:gd name="connsiteX19372" fmla="*/ 5873154 w 6884782"/>
              <a:gd name="connsiteY19372" fmla="*/ 4357374 h 5973007"/>
              <a:gd name="connsiteX19373" fmla="*/ 5865255 w 6884782"/>
              <a:gd name="connsiteY19373" fmla="*/ 4374309 h 5973007"/>
              <a:gd name="connsiteX19374" fmla="*/ 5873154 w 6884782"/>
              <a:gd name="connsiteY19374" fmla="*/ 4357374 h 5973007"/>
              <a:gd name="connsiteX19375" fmla="*/ 5415126 w 6884782"/>
              <a:gd name="connsiteY19375" fmla="*/ 4356755 h 5973007"/>
              <a:gd name="connsiteX19376" fmla="*/ 5416520 w 6884782"/>
              <a:gd name="connsiteY19376" fmla="*/ 4360059 h 5973007"/>
              <a:gd name="connsiteX19377" fmla="*/ 5407071 w 6884782"/>
              <a:gd name="connsiteY19377" fmla="*/ 4365325 h 5973007"/>
              <a:gd name="connsiteX19378" fmla="*/ 5405213 w 6884782"/>
              <a:gd name="connsiteY19378" fmla="*/ 4360369 h 5973007"/>
              <a:gd name="connsiteX19379" fmla="*/ 5415126 w 6884782"/>
              <a:gd name="connsiteY19379" fmla="*/ 4356755 h 5973007"/>
              <a:gd name="connsiteX19380" fmla="*/ 1450410 w 6884782"/>
              <a:gd name="connsiteY19380" fmla="*/ 4356737 h 5973007"/>
              <a:gd name="connsiteX19381" fmla="*/ 1458620 w 6884782"/>
              <a:gd name="connsiteY19381" fmla="*/ 4358493 h 5973007"/>
              <a:gd name="connsiteX19382" fmla="*/ 1448861 w 6884782"/>
              <a:gd name="connsiteY19382" fmla="*/ 4364895 h 5973007"/>
              <a:gd name="connsiteX19383" fmla="*/ 1444834 w 6884782"/>
              <a:gd name="connsiteY19383" fmla="*/ 4363449 h 5973007"/>
              <a:gd name="connsiteX19384" fmla="*/ 1450410 w 6884782"/>
              <a:gd name="connsiteY19384" fmla="*/ 4356737 h 5973007"/>
              <a:gd name="connsiteX19385" fmla="*/ 5745365 w 6884782"/>
              <a:gd name="connsiteY19385" fmla="*/ 4356032 h 5973007"/>
              <a:gd name="connsiteX19386" fmla="*/ 5748463 w 6884782"/>
              <a:gd name="connsiteY19386" fmla="*/ 4359336 h 5973007"/>
              <a:gd name="connsiteX19387" fmla="*/ 5738240 w 6884782"/>
              <a:gd name="connsiteY19387" fmla="*/ 4373379 h 5973007"/>
              <a:gd name="connsiteX19388" fmla="*/ 5734987 w 6884782"/>
              <a:gd name="connsiteY19388" fmla="*/ 4373070 h 5973007"/>
              <a:gd name="connsiteX19389" fmla="*/ 5745365 w 6884782"/>
              <a:gd name="connsiteY19389" fmla="*/ 4356032 h 5973007"/>
              <a:gd name="connsiteX19390" fmla="*/ 5891897 w 6884782"/>
              <a:gd name="connsiteY19390" fmla="*/ 4355929 h 5973007"/>
              <a:gd name="connsiteX19391" fmla="*/ 5886785 w 6884782"/>
              <a:gd name="connsiteY19391" fmla="*/ 4369662 h 5973007"/>
              <a:gd name="connsiteX19392" fmla="*/ 5889883 w 6884782"/>
              <a:gd name="connsiteY19392" fmla="*/ 4370695 h 5973007"/>
              <a:gd name="connsiteX19393" fmla="*/ 5889883 w 6884782"/>
              <a:gd name="connsiteY19393" fmla="*/ 4371624 h 5973007"/>
              <a:gd name="connsiteX19394" fmla="*/ 5891277 w 6884782"/>
              <a:gd name="connsiteY19394" fmla="*/ 4369765 h 5973007"/>
              <a:gd name="connsiteX19395" fmla="*/ 5895460 w 6884782"/>
              <a:gd name="connsiteY19395" fmla="*/ 4368630 h 5973007"/>
              <a:gd name="connsiteX19396" fmla="*/ 5895769 w 6884782"/>
              <a:gd name="connsiteY19396" fmla="*/ 4369249 h 5973007"/>
              <a:gd name="connsiteX19397" fmla="*/ 5895924 w 6884782"/>
              <a:gd name="connsiteY19397" fmla="*/ 4368733 h 5973007"/>
              <a:gd name="connsiteX19398" fmla="*/ 5896234 w 6884782"/>
              <a:gd name="connsiteY19398" fmla="*/ 4368733 h 5973007"/>
              <a:gd name="connsiteX19399" fmla="*/ 5896234 w 6884782"/>
              <a:gd name="connsiteY19399" fmla="*/ 4366668 h 5973007"/>
              <a:gd name="connsiteX19400" fmla="*/ 5903204 w 6884782"/>
              <a:gd name="connsiteY19400" fmla="*/ 4356548 h 5973007"/>
              <a:gd name="connsiteX19401" fmla="*/ 5906147 w 6884782"/>
              <a:gd name="connsiteY19401" fmla="*/ 4357788 h 5973007"/>
              <a:gd name="connsiteX19402" fmla="*/ 5905992 w 6884782"/>
              <a:gd name="connsiteY19402" fmla="*/ 4357478 h 5973007"/>
              <a:gd name="connsiteX19403" fmla="*/ 5906767 w 6884782"/>
              <a:gd name="connsiteY19403" fmla="*/ 4357891 h 5973007"/>
              <a:gd name="connsiteX19404" fmla="*/ 5906767 w 6884782"/>
              <a:gd name="connsiteY19404" fmla="*/ 4358098 h 5973007"/>
              <a:gd name="connsiteX19405" fmla="*/ 5907851 w 6884782"/>
              <a:gd name="connsiteY19405" fmla="*/ 4357581 h 5973007"/>
              <a:gd name="connsiteX19406" fmla="*/ 5909245 w 6884782"/>
              <a:gd name="connsiteY19406" fmla="*/ 4359233 h 5973007"/>
              <a:gd name="connsiteX19407" fmla="*/ 5910794 w 6884782"/>
              <a:gd name="connsiteY19407" fmla="*/ 4359956 h 5973007"/>
              <a:gd name="connsiteX19408" fmla="*/ 5918384 w 6884782"/>
              <a:gd name="connsiteY19408" fmla="*/ 4378955 h 5973007"/>
              <a:gd name="connsiteX19409" fmla="*/ 5906457 w 6884782"/>
              <a:gd name="connsiteY19409" fmla="*/ 4385150 h 5973007"/>
              <a:gd name="connsiteX19410" fmla="*/ 5900571 w 6884782"/>
              <a:gd name="connsiteY19410" fmla="*/ 4382053 h 5973007"/>
              <a:gd name="connsiteX19411" fmla="*/ 5899487 w 6884782"/>
              <a:gd name="connsiteY19411" fmla="*/ 4380607 h 5973007"/>
              <a:gd name="connsiteX19412" fmla="*/ 5895614 w 6884782"/>
              <a:gd name="connsiteY19412" fmla="*/ 4381124 h 5973007"/>
              <a:gd name="connsiteX19413" fmla="*/ 5895305 w 6884782"/>
              <a:gd name="connsiteY19413" fmla="*/ 4380298 h 5973007"/>
              <a:gd name="connsiteX19414" fmla="*/ 5893910 w 6884782"/>
              <a:gd name="connsiteY19414" fmla="*/ 4381743 h 5973007"/>
              <a:gd name="connsiteX19415" fmla="*/ 5887870 w 6884782"/>
              <a:gd name="connsiteY19415" fmla="*/ 4382569 h 5973007"/>
              <a:gd name="connsiteX19416" fmla="*/ 5888179 w 6884782"/>
              <a:gd name="connsiteY19416" fmla="*/ 4382982 h 5973007"/>
              <a:gd name="connsiteX19417" fmla="*/ 5888489 w 6884782"/>
              <a:gd name="connsiteY19417" fmla="*/ 4385564 h 5973007"/>
              <a:gd name="connsiteX19418" fmla="*/ 5886011 w 6884782"/>
              <a:gd name="connsiteY19418" fmla="*/ 4386286 h 5973007"/>
              <a:gd name="connsiteX19419" fmla="*/ 5880899 w 6884782"/>
              <a:gd name="connsiteY19419" fmla="*/ 4383499 h 5973007"/>
              <a:gd name="connsiteX19420" fmla="*/ 5880280 w 6884782"/>
              <a:gd name="connsiteY19420" fmla="*/ 4382776 h 5973007"/>
              <a:gd name="connsiteX19421" fmla="*/ 5877027 w 6884782"/>
              <a:gd name="connsiteY19421" fmla="*/ 4387835 h 5973007"/>
              <a:gd name="connsiteX19422" fmla="*/ 5873619 w 6884782"/>
              <a:gd name="connsiteY19422" fmla="*/ 4391139 h 5973007"/>
              <a:gd name="connsiteX19423" fmla="*/ 5872380 w 6884782"/>
              <a:gd name="connsiteY19423" fmla="*/ 4395476 h 5973007"/>
              <a:gd name="connsiteX19424" fmla="*/ 5871451 w 6884782"/>
              <a:gd name="connsiteY19424" fmla="*/ 4392998 h 5973007"/>
              <a:gd name="connsiteX19425" fmla="*/ 5867113 w 6884782"/>
              <a:gd name="connsiteY19425" fmla="*/ 4397128 h 5973007"/>
              <a:gd name="connsiteX19426" fmla="*/ 5866339 w 6884782"/>
              <a:gd name="connsiteY19426" fmla="*/ 4383808 h 5973007"/>
              <a:gd name="connsiteX19427" fmla="*/ 5891897 w 6884782"/>
              <a:gd name="connsiteY19427" fmla="*/ 4355929 h 5973007"/>
              <a:gd name="connsiteX19428" fmla="*/ 1064041 w 6884782"/>
              <a:gd name="connsiteY19428" fmla="*/ 4354414 h 5973007"/>
              <a:gd name="connsiteX19429" fmla="*/ 1070604 w 6884782"/>
              <a:gd name="connsiteY19429" fmla="*/ 4354466 h 5973007"/>
              <a:gd name="connsiteX19430" fmla="*/ 1072308 w 6884782"/>
              <a:gd name="connsiteY19430" fmla="*/ 4355188 h 5973007"/>
              <a:gd name="connsiteX19431" fmla="*/ 1072463 w 6884782"/>
              <a:gd name="connsiteY19431" fmla="*/ 4357357 h 5973007"/>
              <a:gd name="connsiteX19432" fmla="*/ 1061620 w 6884782"/>
              <a:gd name="connsiteY19432" fmla="*/ 4360868 h 5973007"/>
              <a:gd name="connsiteX19433" fmla="*/ 1059607 w 6884782"/>
              <a:gd name="connsiteY19433" fmla="*/ 4359835 h 5973007"/>
              <a:gd name="connsiteX19434" fmla="*/ 1058522 w 6884782"/>
              <a:gd name="connsiteY19434" fmla="*/ 4359422 h 5973007"/>
              <a:gd name="connsiteX19435" fmla="*/ 1060691 w 6884782"/>
              <a:gd name="connsiteY19435" fmla="*/ 4361487 h 5973007"/>
              <a:gd name="connsiteX19436" fmla="*/ 1061466 w 6884782"/>
              <a:gd name="connsiteY19436" fmla="*/ 4369231 h 5973007"/>
              <a:gd name="connsiteX19437" fmla="*/ 1060691 w 6884782"/>
              <a:gd name="connsiteY19437" fmla="*/ 4369644 h 5973007"/>
              <a:gd name="connsiteX19438" fmla="*/ 1064099 w 6884782"/>
              <a:gd name="connsiteY19438" fmla="*/ 4373568 h 5973007"/>
              <a:gd name="connsiteX19439" fmla="*/ 1053256 w 6884782"/>
              <a:gd name="connsiteY19439" fmla="*/ 4380589 h 5973007"/>
              <a:gd name="connsiteX19440" fmla="*/ 1051397 w 6884782"/>
              <a:gd name="connsiteY19440" fmla="*/ 4380899 h 5973007"/>
              <a:gd name="connsiteX19441" fmla="*/ 1051707 w 6884782"/>
              <a:gd name="connsiteY19441" fmla="*/ 4381519 h 5973007"/>
              <a:gd name="connsiteX19442" fmla="*/ 1053566 w 6884782"/>
              <a:gd name="connsiteY19442" fmla="*/ 4381519 h 5973007"/>
              <a:gd name="connsiteX19443" fmla="*/ 1063169 w 6884782"/>
              <a:gd name="connsiteY19443" fmla="*/ 4386888 h 5973007"/>
              <a:gd name="connsiteX19444" fmla="*/ 1050158 w 6884782"/>
              <a:gd name="connsiteY19444" fmla="*/ 4388127 h 5973007"/>
              <a:gd name="connsiteX19445" fmla="*/ 1040400 w 6884782"/>
              <a:gd name="connsiteY19445" fmla="*/ 4381725 h 5973007"/>
              <a:gd name="connsiteX19446" fmla="*/ 1046130 w 6884782"/>
              <a:gd name="connsiteY19446" fmla="*/ 4381519 h 5973007"/>
              <a:gd name="connsiteX19447" fmla="*/ 1048764 w 6884782"/>
              <a:gd name="connsiteY19447" fmla="*/ 4381519 h 5973007"/>
              <a:gd name="connsiteX19448" fmla="*/ 1046285 w 6884782"/>
              <a:gd name="connsiteY19448" fmla="*/ 4381003 h 5973007"/>
              <a:gd name="connsiteX19449" fmla="*/ 1045821 w 6884782"/>
              <a:gd name="connsiteY19449" fmla="*/ 4378937 h 5973007"/>
              <a:gd name="connsiteX19450" fmla="*/ 1048764 w 6884782"/>
              <a:gd name="connsiteY19450" fmla="*/ 4374704 h 5973007"/>
              <a:gd name="connsiteX19451" fmla="*/ 1045976 w 6884782"/>
              <a:gd name="connsiteY19451" fmla="*/ 4369025 h 5973007"/>
              <a:gd name="connsiteX19452" fmla="*/ 1045666 w 6884782"/>
              <a:gd name="connsiteY19452" fmla="*/ 4368508 h 5973007"/>
              <a:gd name="connsiteX19453" fmla="*/ 1044427 w 6884782"/>
              <a:gd name="connsiteY19453" fmla="*/ 4366237 h 5973007"/>
              <a:gd name="connsiteX19454" fmla="*/ 1044427 w 6884782"/>
              <a:gd name="connsiteY19454" fmla="*/ 4366030 h 5973007"/>
              <a:gd name="connsiteX19455" fmla="*/ 1043962 w 6884782"/>
              <a:gd name="connsiteY19455" fmla="*/ 4365411 h 5973007"/>
              <a:gd name="connsiteX19456" fmla="*/ 1043962 w 6884782"/>
              <a:gd name="connsiteY19456" fmla="*/ 4360041 h 5973007"/>
              <a:gd name="connsiteX19457" fmla="*/ 1052017 w 6884782"/>
              <a:gd name="connsiteY19457" fmla="*/ 4356944 h 5973007"/>
              <a:gd name="connsiteX19458" fmla="*/ 1054340 w 6884782"/>
              <a:gd name="connsiteY19458" fmla="*/ 4357770 h 5973007"/>
              <a:gd name="connsiteX19459" fmla="*/ 1053876 w 6884782"/>
              <a:gd name="connsiteY19459" fmla="*/ 4355911 h 5973007"/>
              <a:gd name="connsiteX19460" fmla="*/ 1064041 w 6884782"/>
              <a:gd name="connsiteY19460" fmla="*/ 4354414 h 5973007"/>
              <a:gd name="connsiteX19461" fmla="*/ 4911558 w 6884782"/>
              <a:gd name="connsiteY19461" fmla="*/ 4354174 h 5973007"/>
              <a:gd name="connsiteX19462" fmla="*/ 4917134 w 6884782"/>
              <a:gd name="connsiteY19462" fmla="*/ 4356032 h 5973007"/>
              <a:gd name="connsiteX19463" fmla="*/ 4917754 w 6884782"/>
              <a:gd name="connsiteY19463" fmla="*/ 4358613 h 5973007"/>
              <a:gd name="connsiteX19464" fmla="*/ 4916360 w 6884782"/>
              <a:gd name="connsiteY19464" fmla="*/ 4363776 h 5973007"/>
              <a:gd name="connsiteX19465" fmla="*/ 4917134 w 6884782"/>
              <a:gd name="connsiteY19465" fmla="*/ 4363776 h 5973007"/>
              <a:gd name="connsiteX19466" fmla="*/ 4912023 w 6884782"/>
              <a:gd name="connsiteY19466" fmla="*/ 4364603 h 5973007"/>
              <a:gd name="connsiteX19467" fmla="*/ 4909080 w 6884782"/>
              <a:gd name="connsiteY19467" fmla="*/ 4361195 h 5973007"/>
              <a:gd name="connsiteX19468" fmla="*/ 4911558 w 6884782"/>
              <a:gd name="connsiteY19468" fmla="*/ 4354174 h 5973007"/>
              <a:gd name="connsiteX19469" fmla="*/ 5725848 w 6884782"/>
              <a:gd name="connsiteY19469" fmla="*/ 4352831 h 5973007"/>
              <a:gd name="connsiteX19470" fmla="*/ 5731115 w 6884782"/>
              <a:gd name="connsiteY19470" fmla="*/ 4358201 h 5973007"/>
              <a:gd name="connsiteX19471" fmla="*/ 5726313 w 6884782"/>
              <a:gd name="connsiteY19471" fmla="*/ 4367080 h 5973007"/>
              <a:gd name="connsiteX19472" fmla="*/ 5722440 w 6884782"/>
              <a:gd name="connsiteY19472" fmla="*/ 4366874 h 5973007"/>
              <a:gd name="connsiteX19473" fmla="*/ 5717019 w 6884782"/>
              <a:gd name="connsiteY19473" fmla="*/ 4362744 h 5973007"/>
              <a:gd name="connsiteX19474" fmla="*/ 5725848 w 6884782"/>
              <a:gd name="connsiteY19474" fmla="*/ 4352831 h 5973007"/>
              <a:gd name="connsiteX19475" fmla="*/ 6025882 w 6884782"/>
              <a:gd name="connsiteY19475" fmla="*/ 4352418 h 5973007"/>
              <a:gd name="connsiteX19476" fmla="*/ 6026037 w 6884782"/>
              <a:gd name="connsiteY19476" fmla="*/ 4355000 h 5973007"/>
              <a:gd name="connsiteX19477" fmla="*/ 6027276 w 6884782"/>
              <a:gd name="connsiteY19477" fmla="*/ 4356755 h 5973007"/>
              <a:gd name="connsiteX19478" fmla="*/ 6026812 w 6884782"/>
              <a:gd name="connsiteY19478" fmla="*/ 4355206 h 5973007"/>
              <a:gd name="connsiteX19479" fmla="*/ 6027741 w 6884782"/>
              <a:gd name="connsiteY19479" fmla="*/ 4353141 h 5973007"/>
              <a:gd name="connsiteX19480" fmla="*/ 584695 w 6884782"/>
              <a:gd name="connsiteY19480" fmla="*/ 4351678 h 5973007"/>
              <a:gd name="connsiteX19481" fmla="*/ 593214 w 6884782"/>
              <a:gd name="connsiteY19481" fmla="*/ 4359835 h 5973007"/>
              <a:gd name="connsiteX19482" fmla="*/ 590116 w 6884782"/>
              <a:gd name="connsiteY19482" fmla="*/ 4360351 h 5973007"/>
              <a:gd name="connsiteX19483" fmla="*/ 586088 w 6884782"/>
              <a:gd name="connsiteY19483" fmla="*/ 4359835 h 5973007"/>
              <a:gd name="connsiteX19484" fmla="*/ 584695 w 6884782"/>
              <a:gd name="connsiteY19484" fmla="*/ 4351678 h 5973007"/>
              <a:gd name="connsiteX19485" fmla="*/ 5576218 w 6884782"/>
              <a:gd name="connsiteY19485" fmla="*/ 4351386 h 5973007"/>
              <a:gd name="connsiteX19486" fmla="*/ 5584582 w 6884782"/>
              <a:gd name="connsiteY19486" fmla="*/ 4357891 h 5973007"/>
              <a:gd name="connsiteX19487" fmla="*/ 5585047 w 6884782"/>
              <a:gd name="connsiteY19487" fmla="*/ 4360369 h 5973007"/>
              <a:gd name="connsiteX19488" fmla="*/ 5585977 w 6884782"/>
              <a:gd name="connsiteY19488" fmla="*/ 4361918 h 5973007"/>
              <a:gd name="connsiteX19489" fmla="*/ 5586441 w 6884782"/>
              <a:gd name="connsiteY19489" fmla="*/ 4364809 h 5973007"/>
              <a:gd name="connsiteX19490" fmla="*/ 5595890 w 6884782"/>
              <a:gd name="connsiteY19490" fmla="*/ 4359336 h 5973007"/>
              <a:gd name="connsiteX19491" fmla="*/ 5623616 w 6884782"/>
              <a:gd name="connsiteY19491" fmla="*/ 4362744 h 5973007"/>
              <a:gd name="connsiteX19492" fmla="*/ 5610915 w 6884782"/>
              <a:gd name="connsiteY19492" fmla="*/ 4367184 h 5973007"/>
              <a:gd name="connsiteX19493" fmla="*/ 5610450 w 6884782"/>
              <a:gd name="connsiteY19493" fmla="*/ 4368836 h 5973007"/>
              <a:gd name="connsiteX19494" fmla="*/ 5609676 w 6884782"/>
              <a:gd name="connsiteY19494" fmla="*/ 4368939 h 5973007"/>
              <a:gd name="connsiteX19495" fmla="*/ 5609366 w 6884782"/>
              <a:gd name="connsiteY19495" fmla="*/ 4369146 h 5973007"/>
              <a:gd name="connsiteX19496" fmla="*/ 5608282 w 6884782"/>
              <a:gd name="connsiteY19496" fmla="*/ 4368423 h 5973007"/>
              <a:gd name="connsiteX19497" fmla="*/ 5599608 w 6884782"/>
              <a:gd name="connsiteY19497" fmla="*/ 4372553 h 5973007"/>
              <a:gd name="connsiteX19498" fmla="*/ 5572965 w 6884782"/>
              <a:gd name="connsiteY19498" fmla="*/ 4379678 h 5973007"/>
              <a:gd name="connsiteX19499" fmla="*/ 5581020 w 6884782"/>
              <a:gd name="connsiteY19499" fmla="*/ 4367907 h 5973007"/>
              <a:gd name="connsiteX19500" fmla="*/ 5583808 w 6884782"/>
              <a:gd name="connsiteY19500" fmla="*/ 4366358 h 5973007"/>
              <a:gd name="connsiteX19501" fmla="*/ 5578387 w 6884782"/>
              <a:gd name="connsiteY19501" fmla="*/ 4360369 h 5973007"/>
              <a:gd name="connsiteX19502" fmla="*/ 5574824 w 6884782"/>
              <a:gd name="connsiteY19502" fmla="*/ 4354897 h 5973007"/>
              <a:gd name="connsiteX19503" fmla="*/ 5574514 w 6884782"/>
              <a:gd name="connsiteY19503" fmla="*/ 4352935 h 5973007"/>
              <a:gd name="connsiteX19504" fmla="*/ 5576218 w 6884782"/>
              <a:gd name="connsiteY19504" fmla="*/ 4351386 h 5973007"/>
              <a:gd name="connsiteX19505" fmla="*/ 5784554 w 6884782"/>
              <a:gd name="connsiteY19505" fmla="*/ 4351282 h 5973007"/>
              <a:gd name="connsiteX19506" fmla="*/ 5793693 w 6884782"/>
              <a:gd name="connsiteY19506" fmla="*/ 4358510 h 5973007"/>
              <a:gd name="connsiteX19507" fmla="*/ 5787497 w 6884782"/>
              <a:gd name="connsiteY19507" fmla="*/ 4361195 h 5973007"/>
              <a:gd name="connsiteX19508" fmla="*/ 5781766 w 6884782"/>
              <a:gd name="connsiteY19508" fmla="*/ 4357891 h 5973007"/>
              <a:gd name="connsiteX19509" fmla="*/ 5781146 w 6884782"/>
              <a:gd name="connsiteY19509" fmla="*/ 4355000 h 5973007"/>
              <a:gd name="connsiteX19510" fmla="*/ 5779442 w 6884782"/>
              <a:gd name="connsiteY19510" fmla="*/ 4355929 h 5973007"/>
              <a:gd name="connsiteX19511" fmla="*/ 5780216 w 6884782"/>
              <a:gd name="connsiteY19511" fmla="*/ 4358201 h 5973007"/>
              <a:gd name="connsiteX19512" fmla="*/ 5778668 w 6884782"/>
              <a:gd name="connsiteY19512" fmla="*/ 4362434 h 5973007"/>
              <a:gd name="connsiteX19513" fmla="*/ 5776034 w 6884782"/>
              <a:gd name="connsiteY19513" fmla="*/ 4362950 h 5973007"/>
              <a:gd name="connsiteX19514" fmla="*/ 5773401 w 6884782"/>
              <a:gd name="connsiteY19514" fmla="*/ 4357168 h 5973007"/>
              <a:gd name="connsiteX19515" fmla="*/ 5774950 w 6884782"/>
              <a:gd name="connsiteY19515" fmla="*/ 4355000 h 5973007"/>
              <a:gd name="connsiteX19516" fmla="*/ 5776809 w 6884782"/>
              <a:gd name="connsiteY19516" fmla="*/ 4354174 h 5973007"/>
              <a:gd name="connsiteX19517" fmla="*/ 5778513 w 6884782"/>
              <a:gd name="connsiteY19517" fmla="*/ 4354690 h 5973007"/>
              <a:gd name="connsiteX19518" fmla="*/ 5778203 w 6884782"/>
              <a:gd name="connsiteY19518" fmla="*/ 4353451 h 5973007"/>
              <a:gd name="connsiteX19519" fmla="*/ 5780991 w 6884782"/>
              <a:gd name="connsiteY19519" fmla="*/ 4352935 h 5973007"/>
              <a:gd name="connsiteX19520" fmla="*/ 5781301 w 6884782"/>
              <a:gd name="connsiteY19520" fmla="*/ 4353451 h 5973007"/>
              <a:gd name="connsiteX19521" fmla="*/ 634436 w 6884782"/>
              <a:gd name="connsiteY19521" fmla="*/ 4350361 h 5973007"/>
              <a:gd name="connsiteX19522" fmla="*/ 642471 w 6884782"/>
              <a:gd name="connsiteY19522" fmla="*/ 4352710 h 5973007"/>
              <a:gd name="connsiteX19523" fmla="*/ 616293 w 6884782"/>
              <a:gd name="connsiteY19523" fmla="*/ 4369541 h 5973007"/>
              <a:gd name="connsiteX19524" fmla="*/ 625587 w 6884782"/>
              <a:gd name="connsiteY19524" fmla="*/ 4354362 h 5973007"/>
              <a:gd name="connsiteX19525" fmla="*/ 634436 w 6884782"/>
              <a:gd name="connsiteY19525" fmla="*/ 4350361 h 5973007"/>
              <a:gd name="connsiteX19526" fmla="*/ 678098 w 6884782"/>
              <a:gd name="connsiteY19526" fmla="*/ 4347547 h 5973007"/>
              <a:gd name="connsiteX19527" fmla="*/ 681505 w 6884782"/>
              <a:gd name="connsiteY19527" fmla="*/ 4350335 h 5973007"/>
              <a:gd name="connsiteX19528" fmla="*/ 677788 w 6884782"/>
              <a:gd name="connsiteY19528" fmla="*/ 4348786 h 5973007"/>
              <a:gd name="connsiteX19529" fmla="*/ 678098 w 6884782"/>
              <a:gd name="connsiteY19529" fmla="*/ 4347547 h 5973007"/>
              <a:gd name="connsiteX19530" fmla="*/ 5503882 w 6884782"/>
              <a:gd name="connsiteY19530" fmla="*/ 4347462 h 5973007"/>
              <a:gd name="connsiteX19531" fmla="*/ 5512401 w 6884782"/>
              <a:gd name="connsiteY19531" fmla="*/ 4378749 h 5973007"/>
              <a:gd name="connsiteX19532" fmla="*/ 5501093 w 6884782"/>
              <a:gd name="connsiteY19532" fmla="*/ 4365325 h 5973007"/>
              <a:gd name="connsiteX19533" fmla="*/ 5503882 w 6884782"/>
              <a:gd name="connsiteY19533" fmla="*/ 4347462 h 5973007"/>
              <a:gd name="connsiteX19534" fmla="*/ 1319988 w 6884782"/>
              <a:gd name="connsiteY19534" fmla="*/ 4346308 h 5973007"/>
              <a:gd name="connsiteX19535" fmla="*/ 1316890 w 6884782"/>
              <a:gd name="connsiteY19535" fmla="*/ 4350232 h 5973007"/>
              <a:gd name="connsiteX19536" fmla="*/ 1316734 w 6884782"/>
              <a:gd name="connsiteY19536" fmla="*/ 4350542 h 5973007"/>
              <a:gd name="connsiteX19537" fmla="*/ 1317354 w 6884782"/>
              <a:gd name="connsiteY19537" fmla="*/ 4350542 h 5973007"/>
              <a:gd name="connsiteX19538" fmla="*/ 1323240 w 6884782"/>
              <a:gd name="connsiteY19538" fmla="*/ 4358286 h 5973007"/>
              <a:gd name="connsiteX19539" fmla="*/ 1319833 w 6884782"/>
              <a:gd name="connsiteY19539" fmla="*/ 4371193 h 5973007"/>
              <a:gd name="connsiteX19540" fmla="*/ 1311468 w 6884782"/>
              <a:gd name="connsiteY19540" fmla="*/ 4361797 h 5973007"/>
              <a:gd name="connsiteX19541" fmla="*/ 1311003 w 6884782"/>
              <a:gd name="connsiteY19541" fmla="*/ 4356634 h 5973007"/>
              <a:gd name="connsiteX19542" fmla="*/ 1308525 w 6884782"/>
              <a:gd name="connsiteY19542" fmla="*/ 4358596 h 5973007"/>
              <a:gd name="connsiteX19543" fmla="*/ 1303723 w 6884782"/>
              <a:gd name="connsiteY19543" fmla="*/ 4359318 h 5973007"/>
              <a:gd name="connsiteX19544" fmla="*/ 1300935 w 6884782"/>
              <a:gd name="connsiteY19544" fmla="*/ 4357563 h 5973007"/>
              <a:gd name="connsiteX19545" fmla="*/ 1319988 w 6884782"/>
              <a:gd name="connsiteY19545" fmla="*/ 4346308 h 5973007"/>
              <a:gd name="connsiteX19546" fmla="*/ 5678295 w 6884782"/>
              <a:gd name="connsiteY19546" fmla="*/ 4346223 h 5973007"/>
              <a:gd name="connsiteX19547" fmla="*/ 5680928 w 6884782"/>
              <a:gd name="connsiteY19547" fmla="*/ 4350043 h 5973007"/>
              <a:gd name="connsiteX19548" fmla="*/ 5679999 w 6884782"/>
              <a:gd name="connsiteY19548" fmla="*/ 4353451 h 5973007"/>
              <a:gd name="connsiteX19549" fmla="*/ 5680618 w 6884782"/>
              <a:gd name="connsiteY19549" fmla="*/ 4353347 h 5973007"/>
              <a:gd name="connsiteX19550" fmla="*/ 5680308 w 6884782"/>
              <a:gd name="connsiteY19550" fmla="*/ 4353967 h 5973007"/>
              <a:gd name="connsiteX19551" fmla="*/ 5683561 w 6884782"/>
              <a:gd name="connsiteY19551" fmla="*/ 4355000 h 5973007"/>
              <a:gd name="connsiteX19552" fmla="*/ 5681083 w 6884782"/>
              <a:gd name="connsiteY19552" fmla="*/ 4358820 h 5973007"/>
              <a:gd name="connsiteX19553" fmla="*/ 5678759 w 6884782"/>
              <a:gd name="connsiteY19553" fmla="*/ 4356239 h 5973007"/>
              <a:gd name="connsiteX19554" fmla="*/ 5679224 w 6884782"/>
              <a:gd name="connsiteY19554" fmla="*/ 4354897 h 5973007"/>
              <a:gd name="connsiteX19555" fmla="*/ 5679534 w 6884782"/>
              <a:gd name="connsiteY19555" fmla="*/ 4353554 h 5973007"/>
              <a:gd name="connsiteX19556" fmla="*/ 5678140 w 6884782"/>
              <a:gd name="connsiteY19556" fmla="*/ 4352831 h 5973007"/>
              <a:gd name="connsiteX19557" fmla="*/ 5675971 w 6884782"/>
              <a:gd name="connsiteY19557" fmla="*/ 4352625 h 5973007"/>
              <a:gd name="connsiteX19558" fmla="*/ 5675197 w 6884782"/>
              <a:gd name="connsiteY19558" fmla="*/ 4351799 h 5973007"/>
              <a:gd name="connsiteX19559" fmla="*/ 5672873 w 6884782"/>
              <a:gd name="connsiteY19559" fmla="*/ 4353141 h 5973007"/>
              <a:gd name="connsiteX19560" fmla="*/ 5667297 w 6884782"/>
              <a:gd name="connsiteY19560" fmla="*/ 4349114 h 5973007"/>
              <a:gd name="connsiteX19561" fmla="*/ 5674887 w 6884782"/>
              <a:gd name="connsiteY19561" fmla="*/ 4348907 h 5973007"/>
              <a:gd name="connsiteX19562" fmla="*/ 5674887 w 6884782"/>
              <a:gd name="connsiteY19562" fmla="*/ 4349011 h 5973007"/>
              <a:gd name="connsiteX19563" fmla="*/ 5675352 w 6884782"/>
              <a:gd name="connsiteY19563" fmla="*/ 4348185 h 5973007"/>
              <a:gd name="connsiteX19564" fmla="*/ 5678295 w 6884782"/>
              <a:gd name="connsiteY19564" fmla="*/ 4346223 h 5973007"/>
              <a:gd name="connsiteX19565" fmla="*/ 1129310 w 6884782"/>
              <a:gd name="connsiteY19565" fmla="*/ 4346102 h 5973007"/>
              <a:gd name="connsiteX19566" fmla="*/ 1127916 w 6884782"/>
              <a:gd name="connsiteY19566" fmla="*/ 4346618 h 5973007"/>
              <a:gd name="connsiteX19567" fmla="*/ 1127761 w 6884782"/>
              <a:gd name="connsiteY19567" fmla="*/ 4347341 h 5973007"/>
              <a:gd name="connsiteX19568" fmla="*/ 1128535 w 6884782"/>
              <a:gd name="connsiteY19568" fmla="*/ 4347547 h 5973007"/>
              <a:gd name="connsiteX19569" fmla="*/ 1129000 w 6884782"/>
              <a:gd name="connsiteY19569" fmla="*/ 4347857 h 5973007"/>
              <a:gd name="connsiteX19570" fmla="*/ 6012406 w 6884782"/>
              <a:gd name="connsiteY19570" fmla="*/ 4343641 h 5973007"/>
              <a:gd name="connsiteX19571" fmla="*/ 6012871 w 6884782"/>
              <a:gd name="connsiteY19571" fmla="*/ 4356136 h 5973007"/>
              <a:gd name="connsiteX19572" fmla="*/ 6008999 w 6884782"/>
              <a:gd name="connsiteY19572" fmla="*/ 4370592 h 5973007"/>
              <a:gd name="connsiteX19573" fmla="*/ 6004352 w 6884782"/>
              <a:gd name="connsiteY19573" fmla="*/ 4372863 h 5973007"/>
              <a:gd name="connsiteX19574" fmla="*/ 5993354 w 6884782"/>
              <a:gd name="connsiteY19574" fmla="*/ 4371624 h 5973007"/>
              <a:gd name="connsiteX19575" fmla="*/ 5987623 w 6884782"/>
              <a:gd name="connsiteY19575" fmla="*/ 4368939 h 5973007"/>
              <a:gd name="connsiteX19576" fmla="*/ 5980962 w 6884782"/>
              <a:gd name="connsiteY19576" fmla="*/ 4373482 h 5973007"/>
              <a:gd name="connsiteX19577" fmla="*/ 5981117 w 6884782"/>
              <a:gd name="connsiteY19577" fmla="*/ 4373896 h 5973007"/>
              <a:gd name="connsiteX19578" fmla="*/ 5979878 w 6884782"/>
              <a:gd name="connsiteY19578" fmla="*/ 4379265 h 5973007"/>
              <a:gd name="connsiteX19579" fmla="*/ 5978949 w 6884782"/>
              <a:gd name="connsiteY19579" fmla="*/ 4379988 h 5973007"/>
              <a:gd name="connsiteX19580" fmla="*/ 5983441 w 6884782"/>
              <a:gd name="connsiteY19580" fmla="*/ 4386080 h 5973007"/>
              <a:gd name="connsiteX19581" fmla="*/ 5995987 w 6884782"/>
              <a:gd name="connsiteY19581" fmla="*/ 4399710 h 5973007"/>
              <a:gd name="connsiteX19582" fmla="*/ 5981117 w 6884782"/>
              <a:gd name="connsiteY19582" fmla="*/ 4390830 h 5973007"/>
              <a:gd name="connsiteX19583" fmla="*/ 5980033 w 6884782"/>
              <a:gd name="connsiteY19583" fmla="*/ 4390313 h 5973007"/>
              <a:gd name="connsiteX19584" fmla="*/ 5979878 w 6884782"/>
              <a:gd name="connsiteY19584" fmla="*/ 4390830 h 5973007"/>
              <a:gd name="connsiteX19585" fmla="*/ 5980653 w 6884782"/>
              <a:gd name="connsiteY19585" fmla="*/ 4391243 h 5973007"/>
              <a:gd name="connsiteX19586" fmla="*/ 5980188 w 6884782"/>
              <a:gd name="connsiteY19586" fmla="*/ 4393824 h 5973007"/>
              <a:gd name="connsiteX19587" fmla="*/ 5980033 w 6884782"/>
              <a:gd name="connsiteY19587" fmla="*/ 4393927 h 5973007"/>
              <a:gd name="connsiteX19588" fmla="*/ 5984215 w 6884782"/>
              <a:gd name="connsiteY19588" fmla="*/ 4398264 h 5973007"/>
              <a:gd name="connsiteX19589" fmla="*/ 5992270 w 6884782"/>
              <a:gd name="connsiteY19589" fmla="*/ 4406111 h 5973007"/>
              <a:gd name="connsiteX19590" fmla="*/ 6000944 w 6884782"/>
              <a:gd name="connsiteY19590" fmla="*/ 4412410 h 5973007"/>
              <a:gd name="connsiteX19591" fmla="*/ 6003112 w 6884782"/>
              <a:gd name="connsiteY19591" fmla="*/ 4413339 h 5973007"/>
              <a:gd name="connsiteX19592" fmla="*/ 6003577 w 6884782"/>
              <a:gd name="connsiteY19592" fmla="*/ 4410551 h 5973007"/>
              <a:gd name="connsiteX19593" fmla="*/ 6008224 w 6884782"/>
              <a:gd name="connsiteY19593" fmla="*/ 4413959 h 5973007"/>
              <a:gd name="connsiteX19594" fmla="*/ 6007914 w 6884782"/>
              <a:gd name="connsiteY19594" fmla="*/ 4415198 h 5973007"/>
              <a:gd name="connsiteX19595" fmla="*/ 6008999 w 6884782"/>
              <a:gd name="connsiteY19595" fmla="*/ 4415714 h 5973007"/>
              <a:gd name="connsiteX19596" fmla="*/ 6009928 w 6884782"/>
              <a:gd name="connsiteY19596" fmla="*/ 4413856 h 5973007"/>
              <a:gd name="connsiteX19597" fmla="*/ 6023249 w 6884782"/>
              <a:gd name="connsiteY19597" fmla="*/ 4413236 h 5973007"/>
              <a:gd name="connsiteX19598" fmla="*/ 6017208 w 6884782"/>
              <a:gd name="connsiteY19598" fmla="*/ 4417883 h 5973007"/>
              <a:gd name="connsiteX19599" fmla="*/ 6013335 w 6884782"/>
              <a:gd name="connsiteY19599" fmla="*/ 4422529 h 5973007"/>
              <a:gd name="connsiteX19600" fmla="*/ 6015349 w 6884782"/>
              <a:gd name="connsiteY19600" fmla="*/ 4425834 h 5973007"/>
              <a:gd name="connsiteX19601" fmla="*/ 6023094 w 6884782"/>
              <a:gd name="connsiteY19601" fmla="*/ 4435127 h 5973007"/>
              <a:gd name="connsiteX19602" fmla="*/ 6041681 w 6884782"/>
              <a:gd name="connsiteY19602" fmla="*/ 4450718 h 5973007"/>
              <a:gd name="connsiteX19603" fmla="*/ 6051130 w 6884782"/>
              <a:gd name="connsiteY19603" fmla="*/ 4457533 h 5973007"/>
              <a:gd name="connsiteX19604" fmla="*/ 6051750 w 6884782"/>
              <a:gd name="connsiteY19604" fmla="*/ 4451131 h 5973007"/>
              <a:gd name="connsiteX19605" fmla="*/ 6064916 w 6884782"/>
              <a:gd name="connsiteY19605" fmla="*/ 4432752 h 5973007"/>
              <a:gd name="connsiteX19606" fmla="*/ 6110765 w 6884782"/>
              <a:gd name="connsiteY19606" fmla="*/ 4432442 h 5973007"/>
              <a:gd name="connsiteX19607" fmla="*/ 6121143 w 6884782"/>
              <a:gd name="connsiteY19607" fmla="*/ 4465174 h 5973007"/>
              <a:gd name="connsiteX19608" fmla="*/ 6116032 w 6884782"/>
              <a:gd name="connsiteY19608" fmla="*/ 4469924 h 5973007"/>
              <a:gd name="connsiteX19609" fmla="*/ 6114328 w 6884782"/>
              <a:gd name="connsiteY19609" fmla="*/ 4473022 h 5973007"/>
              <a:gd name="connsiteX19610" fmla="*/ 6114792 w 6884782"/>
              <a:gd name="connsiteY19610" fmla="*/ 4474674 h 5973007"/>
              <a:gd name="connsiteX19611" fmla="*/ 6113244 w 6884782"/>
              <a:gd name="connsiteY19611" fmla="*/ 4475397 h 5973007"/>
              <a:gd name="connsiteX19612" fmla="*/ 6112159 w 6884782"/>
              <a:gd name="connsiteY19612" fmla="*/ 4480663 h 5973007"/>
              <a:gd name="connsiteX19613" fmla="*/ 6112469 w 6884782"/>
              <a:gd name="connsiteY19613" fmla="*/ 4480766 h 5973007"/>
              <a:gd name="connsiteX19614" fmla="*/ 6123002 w 6884782"/>
              <a:gd name="connsiteY19614" fmla="*/ 4487065 h 5973007"/>
              <a:gd name="connsiteX19615" fmla="*/ 6125171 w 6884782"/>
              <a:gd name="connsiteY19615" fmla="*/ 4482934 h 5973007"/>
              <a:gd name="connsiteX19616" fmla="*/ 6130902 w 6884782"/>
              <a:gd name="connsiteY19616" fmla="*/ 4476842 h 5973007"/>
              <a:gd name="connsiteX19617" fmla="*/ 6137717 w 6884782"/>
              <a:gd name="connsiteY19617" fmla="*/ 4480972 h 5973007"/>
              <a:gd name="connsiteX19618" fmla="*/ 6131676 w 6884782"/>
              <a:gd name="connsiteY19618" fmla="*/ 4485929 h 5973007"/>
              <a:gd name="connsiteX19619" fmla="*/ 6129043 w 6884782"/>
              <a:gd name="connsiteY19619" fmla="*/ 4490678 h 5973007"/>
              <a:gd name="connsiteX19620" fmla="*/ 6130592 w 6884782"/>
              <a:gd name="connsiteY19620" fmla="*/ 4491608 h 5973007"/>
              <a:gd name="connsiteX19621" fmla="*/ 6134310 w 6884782"/>
              <a:gd name="connsiteY19621" fmla="*/ 4493776 h 5973007"/>
              <a:gd name="connsiteX19622" fmla="*/ 6134619 w 6884782"/>
              <a:gd name="connsiteY19622" fmla="*/ 4493673 h 5973007"/>
              <a:gd name="connsiteX19623" fmla="*/ 6138492 w 6884782"/>
              <a:gd name="connsiteY19623" fmla="*/ 4494499 h 5973007"/>
              <a:gd name="connsiteX19624" fmla="*/ 6139266 w 6884782"/>
              <a:gd name="connsiteY19624" fmla="*/ 4496564 h 5973007"/>
              <a:gd name="connsiteX19625" fmla="*/ 6146392 w 6884782"/>
              <a:gd name="connsiteY19625" fmla="*/ 4500384 h 5973007"/>
              <a:gd name="connsiteX19626" fmla="*/ 6147011 w 6884782"/>
              <a:gd name="connsiteY19626" fmla="*/ 4500488 h 5973007"/>
              <a:gd name="connsiteX19627" fmla="*/ 6147321 w 6884782"/>
              <a:gd name="connsiteY19627" fmla="*/ 4500901 h 5973007"/>
              <a:gd name="connsiteX19628" fmla="*/ 6149954 w 6884782"/>
              <a:gd name="connsiteY19628" fmla="*/ 4502346 h 5973007"/>
              <a:gd name="connsiteX19629" fmla="*/ 6168697 w 6884782"/>
              <a:gd name="connsiteY19629" fmla="*/ 4511743 h 5973007"/>
              <a:gd name="connsiteX19630" fmla="*/ 6174118 w 6884782"/>
              <a:gd name="connsiteY19630" fmla="*/ 4512878 h 5973007"/>
              <a:gd name="connsiteX19631" fmla="*/ 6178920 w 6884782"/>
              <a:gd name="connsiteY19631" fmla="*/ 4513808 h 5973007"/>
              <a:gd name="connsiteX19632" fmla="*/ 6178610 w 6884782"/>
              <a:gd name="connsiteY19632" fmla="*/ 4513395 h 5973007"/>
              <a:gd name="connsiteX19633" fmla="*/ 6183567 w 6884782"/>
              <a:gd name="connsiteY19633" fmla="*/ 4506167 h 5973007"/>
              <a:gd name="connsiteX19634" fmla="*/ 6185580 w 6884782"/>
              <a:gd name="connsiteY19634" fmla="*/ 4515976 h 5973007"/>
              <a:gd name="connsiteX19635" fmla="*/ 6184341 w 6884782"/>
              <a:gd name="connsiteY19635" fmla="*/ 4516596 h 5973007"/>
              <a:gd name="connsiteX19636" fmla="*/ 6184651 w 6884782"/>
              <a:gd name="connsiteY19636" fmla="*/ 4516802 h 5973007"/>
              <a:gd name="connsiteX19637" fmla="*/ 6185115 w 6884782"/>
              <a:gd name="connsiteY19637" fmla="*/ 4522894 h 5973007"/>
              <a:gd name="connsiteX19638" fmla="*/ 6198747 w 6884782"/>
              <a:gd name="connsiteY19638" fmla="*/ 4525992 h 5973007"/>
              <a:gd name="connsiteX19639" fmla="*/ 6200295 w 6884782"/>
              <a:gd name="connsiteY19639" fmla="*/ 4525476 h 5973007"/>
              <a:gd name="connsiteX19640" fmla="*/ 6200450 w 6884782"/>
              <a:gd name="connsiteY19640" fmla="*/ 4525372 h 5973007"/>
              <a:gd name="connsiteX19641" fmla="*/ 6200605 w 6884782"/>
              <a:gd name="connsiteY19641" fmla="*/ 4525372 h 5973007"/>
              <a:gd name="connsiteX19642" fmla="*/ 6201844 w 6884782"/>
              <a:gd name="connsiteY19642" fmla="*/ 4524960 h 5973007"/>
              <a:gd name="connsiteX19643" fmla="*/ 6202464 w 6884782"/>
              <a:gd name="connsiteY19643" fmla="*/ 4525785 h 5973007"/>
              <a:gd name="connsiteX19644" fmla="*/ 6205097 w 6884782"/>
              <a:gd name="connsiteY19644" fmla="*/ 4526405 h 5973007"/>
              <a:gd name="connsiteX19645" fmla="*/ 6206182 w 6884782"/>
              <a:gd name="connsiteY19645" fmla="*/ 4528161 h 5973007"/>
              <a:gd name="connsiteX19646" fmla="*/ 6207266 w 6884782"/>
              <a:gd name="connsiteY19646" fmla="*/ 4531155 h 5973007"/>
              <a:gd name="connsiteX19647" fmla="*/ 6209589 w 6884782"/>
              <a:gd name="connsiteY19647" fmla="*/ 4531877 h 5973007"/>
              <a:gd name="connsiteX19648" fmla="*/ 6209589 w 6884782"/>
              <a:gd name="connsiteY19648" fmla="*/ 4530432 h 5973007"/>
              <a:gd name="connsiteX19649" fmla="*/ 6212842 w 6884782"/>
              <a:gd name="connsiteY19649" fmla="*/ 4528986 h 5973007"/>
              <a:gd name="connsiteX19650" fmla="*/ 6214546 w 6884782"/>
              <a:gd name="connsiteY19650" fmla="*/ 4530226 h 5973007"/>
              <a:gd name="connsiteX19651" fmla="*/ 6214546 w 6884782"/>
              <a:gd name="connsiteY19651" fmla="*/ 4528677 h 5973007"/>
              <a:gd name="connsiteX19652" fmla="*/ 6217024 w 6884782"/>
              <a:gd name="connsiteY19652" fmla="*/ 4525063 h 5973007"/>
              <a:gd name="connsiteX19653" fmla="*/ 6222601 w 6884782"/>
              <a:gd name="connsiteY19653" fmla="*/ 4529916 h 5973007"/>
              <a:gd name="connsiteX19654" fmla="*/ 6225698 w 6884782"/>
              <a:gd name="connsiteY19654" fmla="*/ 4531671 h 5973007"/>
              <a:gd name="connsiteX19655" fmla="*/ 6229416 w 6884782"/>
              <a:gd name="connsiteY19655" fmla="*/ 4524030 h 5973007"/>
              <a:gd name="connsiteX19656" fmla="*/ 6227867 w 6884782"/>
              <a:gd name="connsiteY19656" fmla="*/ 4520623 h 5973007"/>
              <a:gd name="connsiteX19657" fmla="*/ 6230036 w 6884782"/>
              <a:gd name="connsiteY19657" fmla="*/ 4517215 h 5973007"/>
              <a:gd name="connsiteX19658" fmla="*/ 6232049 w 6884782"/>
              <a:gd name="connsiteY19658" fmla="*/ 4520313 h 5973007"/>
              <a:gd name="connsiteX19659" fmla="*/ 6238400 w 6884782"/>
              <a:gd name="connsiteY19659" fmla="*/ 4514324 h 5973007"/>
              <a:gd name="connsiteX19660" fmla="*/ 6240723 w 6884782"/>
              <a:gd name="connsiteY19660" fmla="*/ 4526405 h 5973007"/>
              <a:gd name="connsiteX19661" fmla="*/ 6237935 w 6884782"/>
              <a:gd name="connsiteY19661" fmla="*/ 4538486 h 5973007"/>
              <a:gd name="connsiteX19662" fmla="*/ 6251411 w 6884782"/>
              <a:gd name="connsiteY19662" fmla="*/ 4543339 h 5973007"/>
              <a:gd name="connsiteX19663" fmla="*/ 6268295 w 6884782"/>
              <a:gd name="connsiteY19663" fmla="*/ 4547160 h 5973007"/>
              <a:gd name="connsiteX19664" fmla="*/ 6268915 w 6884782"/>
              <a:gd name="connsiteY19664" fmla="*/ 4545198 h 5973007"/>
              <a:gd name="connsiteX19665" fmla="*/ 6272787 w 6884782"/>
              <a:gd name="connsiteY19665" fmla="*/ 4542306 h 5973007"/>
              <a:gd name="connsiteX19666" fmla="*/ 6276195 w 6884782"/>
              <a:gd name="connsiteY19666" fmla="*/ 4542616 h 5973007"/>
              <a:gd name="connsiteX19667" fmla="*/ 6277898 w 6884782"/>
              <a:gd name="connsiteY19667" fmla="*/ 4542616 h 5973007"/>
              <a:gd name="connsiteX19668" fmla="*/ 6278518 w 6884782"/>
              <a:gd name="connsiteY19668" fmla="*/ 4528367 h 5973007"/>
              <a:gd name="connsiteX19669" fmla="*/ 6287812 w 6884782"/>
              <a:gd name="connsiteY19669" fmla="*/ 4530432 h 5973007"/>
              <a:gd name="connsiteX19670" fmla="*/ 6286108 w 6884782"/>
              <a:gd name="connsiteY19670" fmla="*/ 4549741 h 5973007"/>
              <a:gd name="connsiteX19671" fmla="*/ 6291219 w 6884782"/>
              <a:gd name="connsiteY19671" fmla="*/ 4550257 h 5973007"/>
              <a:gd name="connsiteX19672" fmla="*/ 6304386 w 6884782"/>
              <a:gd name="connsiteY19672" fmla="*/ 4558105 h 5973007"/>
              <a:gd name="connsiteX19673" fmla="*/ 6311201 w 6884782"/>
              <a:gd name="connsiteY19673" fmla="*/ 4558621 h 5973007"/>
              <a:gd name="connsiteX19674" fmla="*/ 6311046 w 6884782"/>
              <a:gd name="connsiteY19674" fmla="*/ 4558518 h 5973007"/>
              <a:gd name="connsiteX19675" fmla="*/ 6311976 w 6884782"/>
              <a:gd name="connsiteY19675" fmla="*/ 4558724 h 5973007"/>
              <a:gd name="connsiteX19676" fmla="*/ 6312750 w 6884782"/>
              <a:gd name="connsiteY19676" fmla="*/ 4558828 h 5973007"/>
              <a:gd name="connsiteX19677" fmla="*/ 6320030 w 6884782"/>
              <a:gd name="connsiteY19677" fmla="*/ 4559137 h 5973007"/>
              <a:gd name="connsiteX19678" fmla="*/ 6312440 w 6884782"/>
              <a:gd name="connsiteY19678" fmla="*/ 4553871 h 5973007"/>
              <a:gd name="connsiteX19679" fmla="*/ 6325451 w 6884782"/>
              <a:gd name="connsiteY19679" fmla="*/ 4554078 h 5973007"/>
              <a:gd name="connsiteX19680" fmla="*/ 6348221 w 6884782"/>
              <a:gd name="connsiteY19680" fmla="*/ 4561822 h 5973007"/>
              <a:gd name="connsiteX19681" fmla="*/ 6344349 w 6884782"/>
              <a:gd name="connsiteY19681" fmla="*/ 4558311 h 5973007"/>
              <a:gd name="connsiteX19682" fmla="*/ 6336604 w 6884782"/>
              <a:gd name="connsiteY19682" fmla="*/ 4557485 h 5973007"/>
              <a:gd name="connsiteX19683" fmla="*/ 6343574 w 6884782"/>
              <a:gd name="connsiteY19683" fmla="*/ 4555936 h 5973007"/>
              <a:gd name="connsiteX19684" fmla="*/ 6350545 w 6884782"/>
              <a:gd name="connsiteY19684" fmla="*/ 4555007 h 5973007"/>
              <a:gd name="connsiteX19685" fmla="*/ 6364950 w 6884782"/>
              <a:gd name="connsiteY19685" fmla="*/ 4557278 h 5973007"/>
              <a:gd name="connsiteX19686" fmla="*/ 6372385 w 6884782"/>
              <a:gd name="connsiteY19686" fmla="*/ 4558724 h 5973007"/>
              <a:gd name="connsiteX19687" fmla="*/ 6375948 w 6884782"/>
              <a:gd name="connsiteY19687" fmla="*/ 4556452 h 5973007"/>
              <a:gd name="connsiteX19688" fmla="*/ 6377497 w 6884782"/>
              <a:gd name="connsiteY19688" fmla="*/ 4559653 h 5973007"/>
              <a:gd name="connsiteX19689" fmla="*/ 6380440 w 6884782"/>
              <a:gd name="connsiteY19689" fmla="*/ 4560273 h 5973007"/>
              <a:gd name="connsiteX19690" fmla="*/ 6386945 w 6884782"/>
              <a:gd name="connsiteY19690" fmla="*/ 4560686 h 5973007"/>
              <a:gd name="connsiteX19691" fmla="*/ 6388340 w 6884782"/>
              <a:gd name="connsiteY19691" fmla="*/ 4558931 h 5973007"/>
              <a:gd name="connsiteX19692" fmla="*/ 6390663 w 6884782"/>
              <a:gd name="connsiteY19692" fmla="*/ 4560583 h 5973007"/>
              <a:gd name="connsiteX19693" fmla="*/ 6395930 w 6884782"/>
              <a:gd name="connsiteY19693" fmla="*/ 4560067 h 5973007"/>
              <a:gd name="connsiteX19694" fmla="*/ 6400886 w 6884782"/>
              <a:gd name="connsiteY19694" fmla="*/ 4564507 h 5973007"/>
              <a:gd name="connsiteX19695" fmla="*/ 6412658 w 6884782"/>
              <a:gd name="connsiteY19695" fmla="*/ 4561512 h 5973007"/>
              <a:gd name="connsiteX19696" fmla="*/ 6423811 w 6884782"/>
              <a:gd name="connsiteY19696" fmla="*/ 4561306 h 5973007"/>
              <a:gd name="connsiteX19697" fmla="*/ 6424276 w 6884782"/>
              <a:gd name="connsiteY19697" fmla="*/ 4559034 h 5973007"/>
              <a:gd name="connsiteX19698" fmla="*/ 6427374 w 6884782"/>
              <a:gd name="connsiteY19698" fmla="*/ 4555420 h 5973007"/>
              <a:gd name="connsiteX19699" fmla="*/ 6426134 w 6884782"/>
              <a:gd name="connsiteY19699" fmla="*/ 4552839 h 5973007"/>
              <a:gd name="connsiteX19700" fmla="*/ 6426444 w 6884782"/>
              <a:gd name="connsiteY19700" fmla="*/ 4550464 h 5973007"/>
              <a:gd name="connsiteX19701" fmla="*/ 6430471 w 6884782"/>
              <a:gd name="connsiteY19701" fmla="*/ 4547779 h 5973007"/>
              <a:gd name="connsiteX19702" fmla="*/ 6432330 w 6884782"/>
              <a:gd name="connsiteY19702" fmla="*/ 4549638 h 5973007"/>
              <a:gd name="connsiteX19703" fmla="*/ 6433879 w 6884782"/>
              <a:gd name="connsiteY19703" fmla="*/ 4547882 h 5973007"/>
              <a:gd name="connsiteX19704" fmla="*/ 6439610 w 6884782"/>
              <a:gd name="connsiteY19704" fmla="*/ 4544888 h 5973007"/>
              <a:gd name="connsiteX19705" fmla="*/ 6437906 w 6884782"/>
              <a:gd name="connsiteY19705" fmla="*/ 4543545 h 5973007"/>
              <a:gd name="connsiteX19706" fmla="*/ 6432175 w 6884782"/>
              <a:gd name="connsiteY19706" fmla="*/ 4543339 h 5973007"/>
              <a:gd name="connsiteX19707" fmla="*/ 6415911 w 6884782"/>
              <a:gd name="connsiteY19707" fmla="*/ 4552632 h 5973007"/>
              <a:gd name="connsiteX19708" fmla="*/ 6416221 w 6884782"/>
              <a:gd name="connsiteY19708" fmla="*/ 4549741 h 5973007"/>
              <a:gd name="connsiteX19709" fmla="*/ 6403364 w 6884782"/>
              <a:gd name="connsiteY19709" fmla="*/ 4553458 h 5973007"/>
              <a:gd name="connsiteX19710" fmla="*/ 6403055 w 6884782"/>
              <a:gd name="connsiteY19710" fmla="*/ 4552942 h 5973007"/>
              <a:gd name="connsiteX19711" fmla="*/ 6401970 w 6884782"/>
              <a:gd name="connsiteY19711" fmla="*/ 4553252 h 5973007"/>
              <a:gd name="connsiteX19712" fmla="*/ 6389579 w 6884782"/>
              <a:gd name="connsiteY19712" fmla="*/ 4553148 h 5973007"/>
              <a:gd name="connsiteX19713" fmla="*/ 6387255 w 6884782"/>
              <a:gd name="connsiteY19713" fmla="*/ 4544681 h 5973007"/>
              <a:gd name="connsiteX19714" fmla="*/ 6376722 w 6884782"/>
              <a:gd name="connsiteY19714" fmla="*/ 4544268 h 5973007"/>
              <a:gd name="connsiteX19715" fmla="*/ 6362627 w 6884782"/>
              <a:gd name="connsiteY19715" fmla="*/ 4545198 h 5973007"/>
              <a:gd name="connsiteX19716" fmla="*/ 6361387 w 6884782"/>
              <a:gd name="connsiteY19716" fmla="*/ 4540241 h 5973007"/>
              <a:gd name="connsiteX19717" fmla="*/ 6358135 w 6884782"/>
              <a:gd name="connsiteY19717" fmla="*/ 4540448 h 5973007"/>
              <a:gd name="connsiteX19718" fmla="*/ 6362162 w 6884782"/>
              <a:gd name="connsiteY19718" fmla="*/ 4544888 h 5973007"/>
              <a:gd name="connsiteX19719" fmla="*/ 6359219 w 6884782"/>
              <a:gd name="connsiteY19719" fmla="*/ 4546850 h 5973007"/>
              <a:gd name="connsiteX19720" fmla="*/ 6356740 w 6884782"/>
              <a:gd name="connsiteY19720" fmla="*/ 4545198 h 5973007"/>
              <a:gd name="connsiteX19721" fmla="*/ 6355811 w 6884782"/>
              <a:gd name="connsiteY19721" fmla="*/ 4542306 h 5973007"/>
              <a:gd name="connsiteX19722" fmla="*/ 6357670 w 6884782"/>
              <a:gd name="connsiteY19722" fmla="*/ 4540448 h 5973007"/>
              <a:gd name="connsiteX19723" fmla="*/ 6353178 w 6884782"/>
              <a:gd name="connsiteY19723" fmla="*/ 4540654 h 5973007"/>
              <a:gd name="connsiteX19724" fmla="*/ 6352558 w 6884782"/>
              <a:gd name="connsiteY19724" fmla="*/ 4547572 h 5973007"/>
              <a:gd name="connsiteX19725" fmla="*/ 6341251 w 6884782"/>
              <a:gd name="connsiteY19725" fmla="*/ 4556143 h 5973007"/>
              <a:gd name="connsiteX19726" fmla="*/ 6332422 w 6884782"/>
              <a:gd name="connsiteY19726" fmla="*/ 4552942 h 5973007"/>
              <a:gd name="connsiteX19727" fmla="*/ 6336914 w 6884782"/>
              <a:gd name="connsiteY19727" fmla="*/ 4539415 h 5973007"/>
              <a:gd name="connsiteX19728" fmla="*/ 6330873 w 6884782"/>
              <a:gd name="connsiteY19728" fmla="*/ 4538383 h 5973007"/>
              <a:gd name="connsiteX19729" fmla="*/ 6316622 w 6884782"/>
              <a:gd name="connsiteY19729" fmla="*/ 4535492 h 5973007"/>
              <a:gd name="connsiteX19730" fmla="*/ 6307329 w 6884782"/>
              <a:gd name="connsiteY19730" fmla="*/ 4534975 h 5973007"/>
              <a:gd name="connsiteX19731" fmla="*/ 6308568 w 6884782"/>
              <a:gd name="connsiteY19731" fmla="*/ 4538693 h 5973007"/>
              <a:gd name="connsiteX19732" fmla="*/ 6306864 w 6884782"/>
              <a:gd name="connsiteY19732" fmla="*/ 4544681 h 5973007"/>
              <a:gd name="connsiteX19733" fmla="*/ 6303456 w 6884782"/>
              <a:gd name="connsiteY19733" fmla="*/ 4545301 h 5973007"/>
              <a:gd name="connsiteX19734" fmla="*/ 6298345 w 6884782"/>
              <a:gd name="connsiteY19734" fmla="*/ 4543545 h 5973007"/>
              <a:gd name="connsiteX19735" fmla="*/ 6296176 w 6884782"/>
              <a:gd name="connsiteY19735" fmla="*/ 4541584 h 5973007"/>
              <a:gd name="connsiteX19736" fmla="*/ 6295247 w 6884782"/>
              <a:gd name="connsiteY19736" fmla="*/ 4542306 h 5973007"/>
              <a:gd name="connsiteX19737" fmla="*/ 6295402 w 6884782"/>
              <a:gd name="connsiteY19737" fmla="*/ 4540964 h 5973007"/>
              <a:gd name="connsiteX19738" fmla="*/ 6294008 w 6884782"/>
              <a:gd name="connsiteY19738" fmla="*/ 4539828 h 5973007"/>
              <a:gd name="connsiteX19739" fmla="*/ 6293233 w 6884782"/>
              <a:gd name="connsiteY19739" fmla="*/ 4538176 h 5973007"/>
              <a:gd name="connsiteX19740" fmla="*/ 6289980 w 6884782"/>
              <a:gd name="connsiteY19740" fmla="*/ 4539828 h 5973007"/>
              <a:gd name="connsiteX19741" fmla="*/ 6290445 w 6884782"/>
              <a:gd name="connsiteY19741" fmla="*/ 4538486 h 5973007"/>
              <a:gd name="connsiteX19742" fmla="*/ 6292149 w 6884782"/>
              <a:gd name="connsiteY19742" fmla="*/ 4537970 h 5973007"/>
              <a:gd name="connsiteX19743" fmla="*/ 6293078 w 6884782"/>
              <a:gd name="connsiteY19743" fmla="*/ 4537660 h 5973007"/>
              <a:gd name="connsiteX19744" fmla="*/ 6292149 w 6884782"/>
              <a:gd name="connsiteY19744" fmla="*/ 4536008 h 5973007"/>
              <a:gd name="connsiteX19745" fmla="*/ 6294782 w 6884782"/>
              <a:gd name="connsiteY19745" fmla="*/ 4531981 h 5973007"/>
              <a:gd name="connsiteX19746" fmla="*/ 6288896 w 6884782"/>
              <a:gd name="connsiteY19746" fmla="*/ 4529193 h 5973007"/>
              <a:gd name="connsiteX19747" fmla="*/ 6296951 w 6884782"/>
              <a:gd name="connsiteY19747" fmla="*/ 4526611 h 5973007"/>
              <a:gd name="connsiteX19748" fmla="*/ 6298809 w 6884782"/>
              <a:gd name="connsiteY19748" fmla="*/ 4526818 h 5973007"/>
              <a:gd name="connsiteX19749" fmla="*/ 6299119 w 6884782"/>
              <a:gd name="connsiteY19749" fmla="*/ 4526508 h 5973007"/>
              <a:gd name="connsiteX19750" fmla="*/ 6289206 w 6884782"/>
              <a:gd name="connsiteY19750" fmla="*/ 4523720 h 5973007"/>
              <a:gd name="connsiteX19751" fmla="*/ 6278673 w 6884782"/>
              <a:gd name="connsiteY19751" fmla="*/ 4517009 h 5973007"/>
              <a:gd name="connsiteX19752" fmla="*/ 6279138 w 6884782"/>
              <a:gd name="connsiteY19752" fmla="*/ 4521655 h 5973007"/>
              <a:gd name="connsiteX19753" fmla="*/ 6266281 w 6884782"/>
              <a:gd name="connsiteY19753" fmla="*/ 4514737 h 5973007"/>
              <a:gd name="connsiteX19754" fmla="*/ 6259001 w 6884782"/>
              <a:gd name="connsiteY19754" fmla="*/ 4519280 h 5973007"/>
              <a:gd name="connsiteX19755" fmla="*/ 6241653 w 6884782"/>
              <a:gd name="connsiteY19755" fmla="*/ 4514634 h 5973007"/>
              <a:gd name="connsiteX19756" fmla="*/ 6234372 w 6884782"/>
              <a:gd name="connsiteY19756" fmla="*/ 4512775 h 5973007"/>
              <a:gd name="connsiteX19757" fmla="*/ 6233908 w 6884782"/>
              <a:gd name="connsiteY19757" fmla="*/ 4514427 h 5973007"/>
              <a:gd name="connsiteX19758" fmla="*/ 6228486 w 6884782"/>
              <a:gd name="connsiteY19758" fmla="*/ 4514324 h 5973007"/>
              <a:gd name="connsiteX19759" fmla="*/ 6226783 w 6884782"/>
              <a:gd name="connsiteY19759" fmla="*/ 4510710 h 5973007"/>
              <a:gd name="connsiteX19760" fmla="*/ 6223685 w 6884782"/>
              <a:gd name="connsiteY19760" fmla="*/ 4509884 h 5973007"/>
              <a:gd name="connsiteX19761" fmla="*/ 6225698 w 6884782"/>
              <a:gd name="connsiteY19761" fmla="*/ 4507096 h 5973007"/>
              <a:gd name="connsiteX19762" fmla="*/ 6226938 w 6884782"/>
              <a:gd name="connsiteY19762" fmla="*/ 4506580 h 5973007"/>
              <a:gd name="connsiteX19763" fmla="*/ 6227712 w 6884782"/>
              <a:gd name="connsiteY19763" fmla="*/ 4505031 h 5973007"/>
              <a:gd name="connsiteX19764" fmla="*/ 6229106 w 6884782"/>
              <a:gd name="connsiteY19764" fmla="*/ 4505134 h 5973007"/>
              <a:gd name="connsiteX19765" fmla="*/ 6229881 w 6884782"/>
              <a:gd name="connsiteY19765" fmla="*/ 4504515 h 5973007"/>
              <a:gd name="connsiteX19766" fmla="*/ 6229571 w 6884782"/>
              <a:gd name="connsiteY19766" fmla="*/ 4501107 h 5973007"/>
              <a:gd name="connsiteX19767" fmla="*/ 6245525 w 6884782"/>
              <a:gd name="connsiteY19767" fmla="*/ 4507612 h 5973007"/>
              <a:gd name="connsiteX19768" fmla="*/ 6260550 w 6884782"/>
              <a:gd name="connsiteY19768" fmla="*/ 4506167 h 5973007"/>
              <a:gd name="connsiteX19769" fmla="*/ 6261170 w 6884782"/>
              <a:gd name="connsiteY19769" fmla="*/ 4510813 h 5973007"/>
              <a:gd name="connsiteX19770" fmla="*/ 6264887 w 6884782"/>
              <a:gd name="connsiteY19770" fmla="*/ 4508232 h 5973007"/>
              <a:gd name="connsiteX19771" fmla="*/ 6254199 w 6884782"/>
              <a:gd name="connsiteY19771" fmla="*/ 4501210 h 5973007"/>
              <a:gd name="connsiteX19772" fmla="*/ 6242117 w 6884782"/>
              <a:gd name="connsiteY19772" fmla="*/ 4502759 h 5973007"/>
              <a:gd name="connsiteX19773" fmla="*/ 6235922 w 6884782"/>
              <a:gd name="connsiteY19773" fmla="*/ 4498939 h 5973007"/>
              <a:gd name="connsiteX19774" fmla="*/ 6233133 w 6884782"/>
              <a:gd name="connsiteY19774" fmla="*/ 4497183 h 5973007"/>
              <a:gd name="connsiteX19775" fmla="*/ 6232514 w 6884782"/>
              <a:gd name="connsiteY19775" fmla="*/ 4497700 h 5973007"/>
              <a:gd name="connsiteX19776" fmla="*/ 6232514 w 6884782"/>
              <a:gd name="connsiteY19776" fmla="*/ 4496770 h 5973007"/>
              <a:gd name="connsiteX19777" fmla="*/ 6230190 w 6884782"/>
              <a:gd name="connsiteY19777" fmla="*/ 4495325 h 5973007"/>
              <a:gd name="connsiteX19778" fmla="*/ 6232204 w 6884782"/>
              <a:gd name="connsiteY19778" fmla="*/ 4490885 h 5973007"/>
              <a:gd name="connsiteX19779" fmla="*/ 6229726 w 6884782"/>
              <a:gd name="connsiteY19779" fmla="*/ 4485515 h 5973007"/>
              <a:gd name="connsiteX19780" fmla="*/ 6228177 w 6884782"/>
              <a:gd name="connsiteY19780" fmla="*/ 4482934 h 5973007"/>
              <a:gd name="connsiteX19781" fmla="*/ 6226163 w 6884782"/>
              <a:gd name="connsiteY19781" fmla="*/ 4482005 h 5973007"/>
              <a:gd name="connsiteX19782" fmla="*/ 6208815 w 6884782"/>
              <a:gd name="connsiteY19782" fmla="*/ 4477462 h 5973007"/>
              <a:gd name="connsiteX19783" fmla="*/ 6202929 w 6884782"/>
              <a:gd name="connsiteY19783" fmla="*/ 4471782 h 5973007"/>
              <a:gd name="connsiteX19784" fmla="*/ 6198747 w 6884782"/>
              <a:gd name="connsiteY19784" fmla="*/ 4468995 h 5973007"/>
              <a:gd name="connsiteX19785" fmla="*/ 6194874 w 6884782"/>
              <a:gd name="connsiteY19785" fmla="*/ 4465587 h 5973007"/>
              <a:gd name="connsiteX19786" fmla="*/ 6186974 w 6884782"/>
              <a:gd name="connsiteY19786" fmla="*/ 4460424 h 5973007"/>
              <a:gd name="connsiteX19787" fmla="*/ 6186510 w 6884782"/>
              <a:gd name="connsiteY19787" fmla="*/ 4460424 h 5973007"/>
              <a:gd name="connsiteX19788" fmla="*/ 6178455 w 6884782"/>
              <a:gd name="connsiteY19788" fmla="*/ 4457120 h 5973007"/>
              <a:gd name="connsiteX19789" fmla="*/ 6174737 w 6884782"/>
              <a:gd name="connsiteY19789" fmla="*/ 4452370 h 5973007"/>
              <a:gd name="connsiteX19790" fmla="*/ 6161571 w 6884782"/>
              <a:gd name="connsiteY19790" fmla="*/ 4443284 h 5973007"/>
              <a:gd name="connsiteX19791" fmla="*/ 6160022 w 6884782"/>
              <a:gd name="connsiteY19791" fmla="*/ 4447311 h 5973007"/>
              <a:gd name="connsiteX19792" fmla="*/ 6154911 w 6884782"/>
              <a:gd name="connsiteY19792" fmla="*/ 4454126 h 5973007"/>
              <a:gd name="connsiteX19793" fmla="*/ 6153826 w 6884782"/>
              <a:gd name="connsiteY19793" fmla="*/ 4454229 h 5973007"/>
              <a:gd name="connsiteX19794" fmla="*/ 6153052 w 6884782"/>
              <a:gd name="connsiteY19794" fmla="*/ 4455262 h 5973007"/>
              <a:gd name="connsiteX19795" fmla="*/ 6153207 w 6884782"/>
              <a:gd name="connsiteY19795" fmla="*/ 4455468 h 5973007"/>
              <a:gd name="connsiteX19796" fmla="*/ 6153362 w 6884782"/>
              <a:gd name="connsiteY19796" fmla="*/ 4456294 h 5973007"/>
              <a:gd name="connsiteX19797" fmla="*/ 6151658 w 6884782"/>
              <a:gd name="connsiteY19797" fmla="*/ 4459288 h 5973007"/>
              <a:gd name="connsiteX19798" fmla="*/ 6149490 w 6884782"/>
              <a:gd name="connsiteY19798" fmla="*/ 4459082 h 5973007"/>
              <a:gd name="connsiteX19799" fmla="*/ 6146392 w 6884782"/>
              <a:gd name="connsiteY19799" fmla="*/ 4454952 h 5973007"/>
              <a:gd name="connsiteX19800" fmla="*/ 6131057 w 6884782"/>
              <a:gd name="connsiteY19800" fmla="*/ 4454952 h 5973007"/>
              <a:gd name="connsiteX19801" fmla="*/ 6130747 w 6884782"/>
              <a:gd name="connsiteY19801" fmla="*/ 4446175 h 5973007"/>
              <a:gd name="connsiteX19802" fmla="*/ 6145307 w 6884782"/>
              <a:gd name="connsiteY19802" fmla="*/ 4441012 h 5973007"/>
              <a:gd name="connsiteX19803" fmla="*/ 6145307 w 6884782"/>
              <a:gd name="connsiteY19803" fmla="*/ 4441838 h 5973007"/>
              <a:gd name="connsiteX19804" fmla="*/ 6150109 w 6884782"/>
              <a:gd name="connsiteY19804" fmla="*/ 4439773 h 5973007"/>
              <a:gd name="connsiteX19805" fmla="*/ 6150728 w 6884782"/>
              <a:gd name="connsiteY19805" fmla="*/ 4440599 h 5973007"/>
              <a:gd name="connsiteX19806" fmla="*/ 6151038 w 6884782"/>
              <a:gd name="connsiteY19806" fmla="*/ 4440599 h 5973007"/>
              <a:gd name="connsiteX19807" fmla="*/ 6153826 w 6884782"/>
              <a:gd name="connsiteY19807" fmla="*/ 4437605 h 5973007"/>
              <a:gd name="connsiteX19808" fmla="*/ 6153671 w 6884782"/>
              <a:gd name="connsiteY19808" fmla="*/ 4437605 h 5973007"/>
              <a:gd name="connsiteX19809" fmla="*/ 6153362 w 6884782"/>
              <a:gd name="connsiteY19809" fmla="*/ 4437605 h 5973007"/>
              <a:gd name="connsiteX19810" fmla="*/ 6147786 w 6884782"/>
              <a:gd name="connsiteY19810" fmla="*/ 4433268 h 5973007"/>
              <a:gd name="connsiteX19811" fmla="*/ 6147166 w 6884782"/>
              <a:gd name="connsiteY19811" fmla="*/ 4431409 h 5973007"/>
              <a:gd name="connsiteX19812" fmla="*/ 6145772 w 6884782"/>
              <a:gd name="connsiteY19812" fmla="*/ 4430170 h 5973007"/>
              <a:gd name="connsiteX19813" fmla="*/ 6146082 w 6884782"/>
              <a:gd name="connsiteY19813" fmla="*/ 4430996 h 5973007"/>
              <a:gd name="connsiteX19814" fmla="*/ 6146547 w 6884782"/>
              <a:gd name="connsiteY19814" fmla="*/ 4432029 h 5973007"/>
              <a:gd name="connsiteX19815" fmla="*/ 6145927 w 6884782"/>
              <a:gd name="connsiteY19815" fmla="*/ 4433887 h 5973007"/>
              <a:gd name="connsiteX19816" fmla="*/ 6141435 w 6884782"/>
              <a:gd name="connsiteY19816" fmla="*/ 4437605 h 5973007"/>
              <a:gd name="connsiteX19817" fmla="*/ 6138802 w 6884782"/>
              <a:gd name="connsiteY19817" fmla="*/ 4431306 h 5973007"/>
              <a:gd name="connsiteX19818" fmla="*/ 6140196 w 6884782"/>
              <a:gd name="connsiteY19818" fmla="*/ 4425834 h 5973007"/>
              <a:gd name="connsiteX19819" fmla="*/ 6137872 w 6884782"/>
              <a:gd name="connsiteY19819" fmla="*/ 4426763 h 5973007"/>
              <a:gd name="connsiteX19820" fmla="*/ 6134929 w 6884782"/>
              <a:gd name="connsiteY19820" fmla="*/ 4424491 h 5973007"/>
              <a:gd name="connsiteX19821" fmla="*/ 6130747 w 6884782"/>
              <a:gd name="connsiteY19821" fmla="*/ 4421703 h 5973007"/>
              <a:gd name="connsiteX19822" fmla="*/ 6123932 w 6884782"/>
              <a:gd name="connsiteY19822" fmla="*/ 4420361 h 5973007"/>
              <a:gd name="connsiteX19823" fmla="*/ 6128733 w 6884782"/>
              <a:gd name="connsiteY19823" fmla="*/ 4418812 h 5973007"/>
              <a:gd name="connsiteX19824" fmla="*/ 6106118 w 6884782"/>
              <a:gd name="connsiteY19824" fmla="*/ 4408796 h 5973007"/>
              <a:gd name="connsiteX19825" fmla="*/ 6083658 w 6884782"/>
              <a:gd name="connsiteY19825" fmla="*/ 4398058 h 5973007"/>
              <a:gd name="connsiteX19826" fmla="*/ 6087066 w 6884782"/>
              <a:gd name="connsiteY19826" fmla="*/ 4407454 h 5973007"/>
              <a:gd name="connsiteX19827" fmla="*/ 6078547 w 6884782"/>
              <a:gd name="connsiteY19827" fmla="*/ 4400226 h 5973007"/>
              <a:gd name="connsiteX19828" fmla="*/ 6073125 w 6884782"/>
              <a:gd name="connsiteY19828" fmla="*/ 4394031 h 5973007"/>
              <a:gd name="connsiteX19829" fmla="*/ 6071267 w 6884782"/>
              <a:gd name="connsiteY19829" fmla="*/ 4395476 h 5973007"/>
              <a:gd name="connsiteX19830" fmla="*/ 6068014 w 6884782"/>
              <a:gd name="connsiteY19830" fmla="*/ 4395889 h 5973007"/>
              <a:gd name="connsiteX19831" fmla="*/ 6066930 w 6884782"/>
              <a:gd name="connsiteY19831" fmla="*/ 4395373 h 5973007"/>
              <a:gd name="connsiteX19832" fmla="*/ 6070802 w 6884782"/>
              <a:gd name="connsiteY19832" fmla="*/ 4393927 h 5973007"/>
              <a:gd name="connsiteX19833" fmla="*/ 6072661 w 6884782"/>
              <a:gd name="connsiteY19833" fmla="*/ 4393514 h 5973007"/>
              <a:gd name="connsiteX19834" fmla="*/ 6072351 w 6884782"/>
              <a:gd name="connsiteY19834" fmla="*/ 4393101 h 5973007"/>
              <a:gd name="connsiteX19835" fmla="*/ 6065071 w 6884782"/>
              <a:gd name="connsiteY19835" fmla="*/ 4388248 h 5973007"/>
              <a:gd name="connsiteX19836" fmla="*/ 6061044 w 6884782"/>
              <a:gd name="connsiteY19836" fmla="*/ 4386803 h 5973007"/>
              <a:gd name="connsiteX19837" fmla="*/ 6062592 w 6884782"/>
              <a:gd name="connsiteY19837" fmla="*/ 4388455 h 5973007"/>
              <a:gd name="connsiteX19838" fmla="*/ 6057171 w 6884782"/>
              <a:gd name="connsiteY19838" fmla="*/ 4392482 h 5973007"/>
              <a:gd name="connsiteX19839" fmla="*/ 6056397 w 6884782"/>
              <a:gd name="connsiteY19839" fmla="*/ 4390830 h 5973007"/>
              <a:gd name="connsiteX19840" fmla="*/ 6056707 w 6884782"/>
              <a:gd name="connsiteY19840" fmla="*/ 4387835 h 5973007"/>
              <a:gd name="connsiteX19841" fmla="*/ 6058565 w 6884782"/>
              <a:gd name="connsiteY19841" fmla="*/ 4385976 h 5973007"/>
              <a:gd name="connsiteX19842" fmla="*/ 6056087 w 6884782"/>
              <a:gd name="connsiteY19842" fmla="*/ 4385150 h 5973007"/>
              <a:gd name="connsiteX19843" fmla="*/ 6056397 w 6884782"/>
              <a:gd name="connsiteY19843" fmla="*/ 4380401 h 5973007"/>
              <a:gd name="connsiteX19844" fmla="*/ 6055003 w 6884782"/>
              <a:gd name="connsiteY19844" fmla="*/ 4375754 h 5973007"/>
              <a:gd name="connsiteX19845" fmla="*/ 6054848 w 6884782"/>
              <a:gd name="connsiteY19845" fmla="*/ 4375754 h 5973007"/>
              <a:gd name="connsiteX19846" fmla="*/ 6053144 w 6884782"/>
              <a:gd name="connsiteY19846" fmla="*/ 4375858 h 5973007"/>
              <a:gd name="connsiteX19847" fmla="*/ 6047103 w 6884782"/>
              <a:gd name="connsiteY19847" fmla="*/ 4375547 h 5973007"/>
              <a:gd name="connsiteX19848" fmla="*/ 6051285 w 6884782"/>
              <a:gd name="connsiteY19848" fmla="*/ 4374412 h 5973007"/>
              <a:gd name="connsiteX19849" fmla="*/ 6052369 w 6884782"/>
              <a:gd name="connsiteY19849" fmla="*/ 4373792 h 5973007"/>
              <a:gd name="connsiteX19850" fmla="*/ 6052214 w 6884782"/>
              <a:gd name="connsiteY19850" fmla="*/ 4373379 h 5973007"/>
              <a:gd name="connsiteX19851" fmla="*/ 6052524 w 6884782"/>
              <a:gd name="connsiteY19851" fmla="*/ 4373276 h 5973007"/>
              <a:gd name="connsiteX19852" fmla="*/ 6046019 w 6884782"/>
              <a:gd name="connsiteY19852" fmla="*/ 4368733 h 5973007"/>
              <a:gd name="connsiteX19853" fmla="*/ 6039048 w 6884782"/>
              <a:gd name="connsiteY19853" fmla="*/ 4360989 h 5973007"/>
              <a:gd name="connsiteX19854" fmla="*/ 6034711 w 6884782"/>
              <a:gd name="connsiteY19854" fmla="*/ 4369456 h 5973007"/>
              <a:gd name="connsiteX19855" fmla="*/ 6043850 w 6884782"/>
              <a:gd name="connsiteY19855" fmla="*/ 4374515 h 5973007"/>
              <a:gd name="connsiteX19856" fmla="*/ 6042611 w 6884782"/>
              <a:gd name="connsiteY19856" fmla="*/ 4374412 h 5973007"/>
              <a:gd name="connsiteX19857" fmla="*/ 6044935 w 6884782"/>
              <a:gd name="connsiteY19857" fmla="*/ 4376167 h 5973007"/>
              <a:gd name="connsiteX19858" fmla="*/ 6048652 w 6884782"/>
              <a:gd name="connsiteY19858" fmla="*/ 4381330 h 5973007"/>
              <a:gd name="connsiteX19859" fmla="*/ 6044160 w 6884782"/>
              <a:gd name="connsiteY19859" fmla="*/ 4385150 h 5973007"/>
              <a:gd name="connsiteX19860" fmla="*/ 6036725 w 6884782"/>
              <a:gd name="connsiteY19860" fmla="*/ 4376787 h 5973007"/>
              <a:gd name="connsiteX19861" fmla="*/ 6038584 w 6884782"/>
              <a:gd name="connsiteY19861" fmla="*/ 4373896 h 5973007"/>
              <a:gd name="connsiteX19862" fmla="*/ 6035176 w 6884782"/>
              <a:gd name="connsiteY19862" fmla="*/ 4372347 h 5973007"/>
              <a:gd name="connsiteX19863" fmla="*/ 6026347 w 6884782"/>
              <a:gd name="connsiteY19863" fmla="*/ 4370592 h 5973007"/>
              <a:gd name="connsiteX19864" fmla="*/ 6032698 w 6884782"/>
              <a:gd name="connsiteY19864" fmla="*/ 4368836 h 5973007"/>
              <a:gd name="connsiteX19865" fmla="*/ 6035486 w 6884782"/>
              <a:gd name="connsiteY19865" fmla="*/ 4364086 h 5973007"/>
              <a:gd name="connsiteX19866" fmla="*/ 6034866 w 6884782"/>
              <a:gd name="connsiteY19866" fmla="*/ 4360679 h 5973007"/>
              <a:gd name="connsiteX19867" fmla="*/ 6031303 w 6884782"/>
              <a:gd name="connsiteY19867" fmla="*/ 4360989 h 5973007"/>
              <a:gd name="connsiteX19868" fmla="*/ 6027896 w 6884782"/>
              <a:gd name="connsiteY19868" fmla="*/ 4359027 h 5973007"/>
              <a:gd name="connsiteX19869" fmla="*/ 6027431 w 6884782"/>
              <a:gd name="connsiteY19869" fmla="*/ 4357581 h 5973007"/>
              <a:gd name="connsiteX19870" fmla="*/ 6022629 w 6884782"/>
              <a:gd name="connsiteY19870" fmla="*/ 4357581 h 5973007"/>
              <a:gd name="connsiteX19871" fmla="*/ 6017363 w 6884782"/>
              <a:gd name="connsiteY19871" fmla="*/ 4356548 h 5973007"/>
              <a:gd name="connsiteX19872" fmla="*/ 6021080 w 6884782"/>
              <a:gd name="connsiteY19872" fmla="*/ 4351179 h 5973007"/>
              <a:gd name="connsiteX19873" fmla="*/ 6022165 w 6884782"/>
              <a:gd name="connsiteY19873" fmla="*/ 4344880 h 5973007"/>
              <a:gd name="connsiteX19874" fmla="*/ 6014575 w 6884782"/>
              <a:gd name="connsiteY19874" fmla="*/ 4344674 h 5973007"/>
              <a:gd name="connsiteX19875" fmla="*/ 1333773 w 6884782"/>
              <a:gd name="connsiteY19875" fmla="*/ 4343211 h 5973007"/>
              <a:gd name="connsiteX19876" fmla="*/ 1332379 w 6884782"/>
              <a:gd name="connsiteY19876" fmla="*/ 4361384 h 5973007"/>
              <a:gd name="connsiteX19877" fmla="*/ 1333773 w 6884782"/>
              <a:gd name="connsiteY19877" fmla="*/ 4343211 h 5973007"/>
              <a:gd name="connsiteX19878" fmla="*/ 5528820 w 6884782"/>
              <a:gd name="connsiteY19878" fmla="*/ 4343125 h 5973007"/>
              <a:gd name="connsiteX19879" fmla="*/ 5528665 w 6884782"/>
              <a:gd name="connsiteY19879" fmla="*/ 4348288 h 5973007"/>
              <a:gd name="connsiteX19880" fmla="*/ 5526342 w 6884782"/>
              <a:gd name="connsiteY19880" fmla="*/ 4350043 h 5973007"/>
              <a:gd name="connsiteX19881" fmla="*/ 5523554 w 6884782"/>
              <a:gd name="connsiteY19881" fmla="*/ 4348598 h 5973007"/>
              <a:gd name="connsiteX19882" fmla="*/ 5522314 w 6884782"/>
              <a:gd name="connsiteY19882" fmla="*/ 4345191 h 5973007"/>
              <a:gd name="connsiteX19883" fmla="*/ 5528820 w 6884782"/>
              <a:gd name="connsiteY19883" fmla="*/ 4343125 h 5973007"/>
              <a:gd name="connsiteX19884" fmla="*/ 5060104 w 6884782"/>
              <a:gd name="connsiteY19884" fmla="*/ 4342093 h 5973007"/>
              <a:gd name="connsiteX19885" fmla="*/ 5064905 w 6884782"/>
              <a:gd name="connsiteY19885" fmla="*/ 4347256 h 5973007"/>
              <a:gd name="connsiteX19886" fmla="*/ 5060568 w 6884782"/>
              <a:gd name="connsiteY19886" fmla="*/ 4349217 h 5973007"/>
              <a:gd name="connsiteX19887" fmla="*/ 5058865 w 6884782"/>
              <a:gd name="connsiteY19887" fmla="*/ 4348391 h 5973007"/>
              <a:gd name="connsiteX19888" fmla="*/ 5060104 w 6884782"/>
              <a:gd name="connsiteY19888" fmla="*/ 4342093 h 5973007"/>
              <a:gd name="connsiteX19889" fmla="*/ 1399139 w 6884782"/>
              <a:gd name="connsiteY19889" fmla="*/ 4341868 h 5973007"/>
              <a:gd name="connsiteX19890" fmla="*/ 1393253 w 6884782"/>
              <a:gd name="connsiteY19890" fmla="*/ 4348270 h 5973007"/>
              <a:gd name="connsiteX19891" fmla="*/ 1390465 w 6884782"/>
              <a:gd name="connsiteY19891" fmla="*/ 4348270 h 5973007"/>
              <a:gd name="connsiteX19892" fmla="*/ 1399139 w 6884782"/>
              <a:gd name="connsiteY19892" fmla="*/ 4341868 h 5973007"/>
              <a:gd name="connsiteX19893" fmla="*/ 5796945 w 6884782"/>
              <a:gd name="connsiteY19893" fmla="*/ 4341576 h 5973007"/>
              <a:gd name="connsiteX19894" fmla="*/ 5804380 w 6884782"/>
              <a:gd name="connsiteY19894" fmla="*/ 4343435 h 5973007"/>
              <a:gd name="connsiteX19895" fmla="*/ 5802986 w 6884782"/>
              <a:gd name="connsiteY19895" fmla="*/ 4347772 h 5973007"/>
              <a:gd name="connsiteX19896" fmla="*/ 5790905 w 6884782"/>
              <a:gd name="connsiteY19896" fmla="*/ 4352108 h 5973007"/>
              <a:gd name="connsiteX19897" fmla="*/ 5792453 w 6884782"/>
              <a:gd name="connsiteY19897" fmla="*/ 4344158 h 5973007"/>
              <a:gd name="connsiteX19898" fmla="*/ 5796945 w 6884782"/>
              <a:gd name="connsiteY19898" fmla="*/ 4341576 h 5973007"/>
              <a:gd name="connsiteX19899" fmla="*/ 1083926 w 6884782"/>
              <a:gd name="connsiteY19899" fmla="*/ 4340113 h 5973007"/>
              <a:gd name="connsiteX19900" fmla="*/ 1091360 w 6884782"/>
              <a:gd name="connsiteY19900" fmla="*/ 4350335 h 5973007"/>
              <a:gd name="connsiteX19901" fmla="*/ 1091360 w 6884782"/>
              <a:gd name="connsiteY19901" fmla="*/ 4353330 h 5973007"/>
              <a:gd name="connsiteX19902" fmla="*/ 1093994 w 6884782"/>
              <a:gd name="connsiteY19902" fmla="*/ 4355085 h 5973007"/>
              <a:gd name="connsiteX19903" fmla="*/ 1094149 w 6884782"/>
              <a:gd name="connsiteY19903" fmla="*/ 4369644 h 5973007"/>
              <a:gd name="connsiteX19904" fmla="*/ 1090896 w 6884782"/>
              <a:gd name="connsiteY19904" fmla="*/ 4369128 h 5973007"/>
              <a:gd name="connsiteX19905" fmla="*/ 1090586 w 6884782"/>
              <a:gd name="connsiteY19905" fmla="*/ 4368818 h 5973007"/>
              <a:gd name="connsiteX19906" fmla="*/ 1089811 w 6884782"/>
              <a:gd name="connsiteY19906" fmla="*/ 4369128 h 5973007"/>
              <a:gd name="connsiteX19907" fmla="*/ 1083461 w 6884782"/>
              <a:gd name="connsiteY19907" fmla="*/ 4370470 h 5973007"/>
              <a:gd name="connsiteX19908" fmla="*/ 1088572 w 6884782"/>
              <a:gd name="connsiteY19908" fmla="*/ 4367063 h 5973007"/>
              <a:gd name="connsiteX19909" fmla="*/ 1089037 w 6884782"/>
              <a:gd name="connsiteY19909" fmla="*/ 4366960 h 5973007"/>
              <a:gd name="connsiteX19910" fmla="*/ 1087488 w 6884782"/>
              <a:gd name="connsiteY19910" fmla="*/ 4365204 h 5973007"/>
              <a:gd name="connsiteX19911" fmla="*/ 1085010 w 6884782"/>
              <a:gd name="connsiteY19911" fmla="*/ 4357047 h 5973007"/>
              <a:gd name="connsiteX19912" fmla="*/ 1085939 w 6884782"/>
              <a:gd name="connsiteY19912" fmla="*/ 4354878 h 5973007"/>
              <a:gd name="connsiteX19913" fmla="*/ 1085165 w 6884782"/>
              <a:gd name="connsiteY19913" fmla="*/ 4353020 h 5973007"/>
              <a:gd name="connsiteX19914" fmla="*/ 1083926 w 6884782"/>
              <a:gd name="connsiteY19914" fmla="*/ 4340113 h 5973007"/>
              <a:gd name="connsiteX19915" fmla="*/ 1166640 w 6884782"/>
              <a:gd name="connsiteY19915" fmla="*/ 4339494 h 5973007"/>
              <a:gd name="connsiteX19916" fmla="*/ 1168344 w 6884782"/>
              <a:gd name="connsiteY19916" fmla="*/ 4341455 h 5973007"/>
              <a:gd name="connsiteX19917" fmla="*/ 1158275 w 6884782"/>
              <a:gd name="connsiteY19917" fmla="*/ 4354362 h 5973007"/>
              <a:gd name="connsiteX19918" fmla="*/ 1154248 w 6884782"/>
              <a:gd name="connsiteY19918" fmla="*/ 4353020 h 5973007"/>
              <a:gd name="connsiteX19919" fmla="*/ 1153319 w 6884782"/>
              <a:gd name="connsiteY19919" fmla="*/ 4349922 h 5973007"/>
              <a:gd name="connsiteX19920" fmla="*/ 1166640 w 6884782"/>
              <a:gd name="connsiteY19920" fmla="*/ 4339494 h 5973007"/>
              <a:gd name="connsiteX19921" fmla="*/ 5509148 w 6884782"/>
              <a:gd name="connsiteY19921" fmla="*/ 4339305 h 5973007"/>
              <a:gd name="connsiteX19922" fmla="*/ 5509922 w 6884782"/>
              <a:gd name="connsiteY19922" fmla="*/ 4341060 h 5973007"/>
              <a:gd name="connsiteX19923" fmla="*/ 5508683 w 6884782"/>
              <a:gd name="connsiteY19923" fmla="*/ 4343848 h 5973007"/>
              <a:gd name="connsiteX19924" fmla="*/ 5505121 w 6884782"/>
              <a:gd name="connsiteY19924" fmla="*/ 4344674 h 5973007"/>
              <a:gd name="connsiteX19925" fmla="*/ 5504501 w 6884782"/>
              <a:gd name="connsiteY19925" fmla="*/ 4342815 h 5973007"/>
              <a:gd name="connsiteX19926" fmla="*/ 5504811 w 6884782"/>
              <a:gd name="connsiteY19926" fmla="*/ 4340131 h 5973007"/>
              <a:gd name="connsiteX19927" fmla="*/ 5509148 w 6884782"/>
              <a:gd name="connsiteY19927" fmla="*/ 4339305 h 5973007"/>
              <a:gd name="connsiteX19928" fmla="*/ 5908006 w 6884782"/>
              <a:gd name="connsiteY19928" fmla="*/ 4339098 h 5973007"/>
              <a:gd name="connsiteX19929" fmla="*/ 5909090 w 6884782"/>
              <a:gd name="connsiteY19929" fmla="*/ 4342609 h 5973007"/>
              <a:gd name="connsiteX19930" fmla="*/ 5908316 w 6884782"/>
              <a:gd name="connsiteY19930" fmla="*/ 4344777 h 5973007"/>
              <a:gd name="connsiteX19931" fmla="*/ 5909555 w 6884782"/>
              <a:gd name="connsiteY19931" fmla="*/ 4344984 h 5973007"/>
              <a:gd name="connsiteX19932" fmla="*/ 5911878 w 6884782"/>
              <a:gd name="connsiteY19932" fmla="*/ 4355000 h 5973007"/>
              <a:gd name="connsiteX19933" fmla="*/ 5907231 w 6884782"/>
              <a:gd name="connsiteY19933" fmla="*/ 4355206 h 5973007"/>
              <a:gd name="connsiteX19934" fmla="*/ 5903979 w 6884782"/>
              <a:gd name="connsiteY19934" fmla="*/ 4354793 h 5973007"/>
              <a:gd name="connsiteX19935" fmla="*/ 5901500 w 6884782"/>
              <a:gd name="connsiteY19935" fmla="*/ 4348288 h 5973007"/>
              <a:gd name="connsiteX19936" fmla="*/ 5901655 w 6884782"/>
              <a:gd name="connsiteY19936" fmla="*/ 4347978 h 5973007"/>
              <a:gd name="connsiteX19937" fmla="*/ 5901500 w 6884782"/>
              <a:gd name="connsiteY19937" fmla="*/ 4347875 h 5973007"/>
              <a:gd name="connsiteX19938" fmla="*/ 5900106 w 6884782"/>
              <a:gd name="connsiteY19938" fmla="*/ 4344880 h 5973007"/>
              <a:gd name="connsiteX19939" fmla="*/ 5901965 w 6884782"/>
              <a:gd name="connsiteY19939" fmla="*/ 4341679 h 5973007"/>
              <a:gd name="connsiteX19940" fmla="*/ 5908006 w 6884782"/>
              <a:gd name="connsiteY19940" fmla="*/ 4339098 h 5973007"/>
              <a:gd name="connsiteX19941" fmla="*/ 4799878 w 6884782"/>
              <a:gd name="connsiteY19941" fmla="*/ 4338479 h 5973007"/>
              <a:gd name="connsiteX19942" fmla="*/ 4801582 w 6884782"/>
              <a:gd name="connsiteY19942" fmla="*/ 4345603 h 5973007"/>
              <a:gd name="connsiteX19943" fmla="*/ 4799878 w 6884782"/>
              <a:gd name="connsiteY19943" fmla="*/ 4346430 h 5973007"/>
              <a:gd name="connsiteX19944" fmla="*/ 4797709 w 6884782"/>
              <a:gd name="connsiteY19944" fmla="*/ 4346946 h 5973007"/>
              <a:gd name="connsiteX19945" fmla="*/ 4793372 w 6884782"/>
              <a:gd name="connsiteY19945" fmla="*/ 4345397 h 5973007"/>
              <a:gd name="connsiteX19946" fmla="*/ 4792133 w 6884782"/>
              <a:gd name="connsiteY19946" fmla="*/ 4343332 h 5973007"/>
              <a:gd name="connsiteX19947" fmla="*/ 4792133 w 6884782"/>
              <a:gd name="connsiteY19947" fmla="*/ 4341886 h 5973007"/>
              <a:gd name="connsiteX19948" fmla="*/ 4792133 w 6884782"/>
              <a:gd name="connsiteY19948" fmla="*/ 4340131 h 5973007"/>
              <a:gd name="connsiteX19949" fmla="*/ 4799878 w 6884782"/>
              <a:gd name="connsiteY19949" fmla="*/ 4338479 h 5973007"/>
              <a:gd name="connsiteX19950" fmla="*/ 5746335 w 6884782"/>
              <a:gd name="connsiteY19950" fmla="*/ 4338418 h 5973007"/>
              <a:gd name="connsiteX19951" fmla="*/ 5752955 w 6884782"/>
              <a:gd name="connsiteY19951" fmla="*/ 4339202 h 5973007"/>
              <a:gd name="connsiteX19952" fmla="*/ 5749857 w 6884782"/>
              <a:gd name="connsiteY19952" fmla="*/ 4342093 h 5973007"/>
              <a:gd name="connsiteX19953" fmla="*/ 5750322 w 6884782"/>
              <a:gd name="connsiteY19953" fmla="*/ 4341989 h 5973007"/>
              <a:gd name="connsiteX19954" fmla="*/ 5747998 w 6884782"/>
              <a:gd name="connsiteY19954" fmla="*/ 4351902 h 5973007"/>
              <a:gd name="connsiteX19955" fmla="*/ 5742422 w 6884782"/>
              <a:gd name="connsiteY19955" fmla="*/ 4348907 h 5973007"/>
              <a:gd name="connsiteX19956" fmla="*/ 5742732 w 6884782"/>
              <a:gd name="connsiteY19956" fmla="*/ 4348495 h 5973007"/>
              <a:gd name="connsiteX19957" fmla="*/ 5737620 w 6884782"/>
              <a:gd name="connsiteY19957" fmla="*/ 4353038 h 5973007"/>
              <a:gd name="connsiteX19958" fmla="*/ 5730804 w 6884782"/>
              <a:gd name="connsiteY19958" fmla="*/ 4356858 h 5973007"/>
              <a:gd name="connsiteX19959" fmla="*/ 5746335 w 6884782"/>
              <a:gd name="connsiteY19959" fmla="*/ 4338418 h 5973007"/>
              <a:gd name="connsiteX19960" fmla="*/ 5954475 w 6884782"/>
              <a:gd name="connsiteY19960" fmla="*/ 4338169 h 5973007"/>
              <a:gd name="connsiteX19961" fmla="*/ 5958038 w 6884782"/>
              <a:gd name="connsiteY19961" fmla="*/ 4345707 h 5973007"/>
              <a:gd name="connsiteX19962" fmla="*/ 5954010 w 6884782"/>
              <a:gd name="connsiteY19962" fmla="*/ 4339718 h 5973007"/>
              <a:gd name="connsiteX19963" fmla="*/ 5954475 w 6884782"/>
              <a:gd name="connsiteY19963" fmla="*/ 4338169 h 5973007"/>
              <a:gd name="connsiteX19964" fmla="*/ 1296405 w 6884782"/>
              <a:gd name="connsiteY19964" fmla="*/ 4337183 h 5973007"/>
              <a:gd name="connsiteX19965" fmla="*/ 1298612 w 6884782"/>
              <a:gd name="connsiteY19965" fmla="*/ 4341972 h 5973007"/>
              <a:gd name="connsiteX19966" fmla="*/ 1296133 w 6884782"/>
              <a:gd name="connsiteY19966" fmla="*/ 4343314 h 5973007"/>
              <a:gd name="connsiteX19967" fmla="*/ 1291642 w 6884782"/>
              <a:gd name="connsiteY19967" fmla="*/ 4337738 h 5973007"/>
              <a:gd name="connsiteX19968" fmla="*/ 1296405 w 6884782"/>
              <a:gd name="connsiteY19968" fmla="*/ 4337183 h 5973007"/>
              <a:gd name="connsiteX19969" fmla="*/ 1465745 w 6884782"/>
              <a:gd name="connsiteY19969" fmla="*/ 4337118 h 5973007"/>
              <a:gd name="connsiteX19970" fmla="*/ 1465280 w 6884782"/>
              <a:gd name="connsiteY19970" fmla="*/ 4338977 h 5973007"/>
              <a:gd name="connsiteX19971" fmla="*/ 1464816 w 6884782"/>
              <a:gd name="connsiteY19971" fmla="*/ 4338358 h 5973007"/>
              <a:gd name="connsiteX19972" fmla="*/ 1465745 w 6884782"/>
              <a:gd name="connsiteY19972" fmla="*/ 4337118 h 5973007"/>
              <a:gd name="connsiteX19973" fmla="*/ 5821574 w 6884782"/>
              <a:gd name="connsiteY19973" fmla="*/ 4336413 h 5973007"/>
              <a:gd name="connsiteX19974" fmla="*/ 5822503 w 6884782"/>
              <a:gd name="connsiteY19974" fmla="*/ 4337963 h 5973007"/>
              <a:gd name="connsiteX19975" fmla="*/ 5823278 w 6884782"/>
              <a:gd name="connsiteY19975" fmla="*/ 4336413 h 5973007"/>
              <a:gd name="connsiteX19976" fmla="*/ 5821109 w 6884782"/>
              <a:gd name="connsiteY19976" fmla="*/ 4379471 h 5973007"/>
              <a:gd name="connsiteX19977" fmla="*/ 5817547 w 6884782"/>
              <a:gd name="connsiteY19977" fmla="*/ 4347359 h 5973007"/>
              <a:gd name="connsiteX19978" fmla="*/ 5819560 w 6884782"/>
              <a:gd name="connsiteY19978" fmla="*/ 4343332 h 5973007"/>
              <a:gd name="connsiteX19979" fmla="*/ 5817392 w 6884782"/>
              <a:gd name="connsiteY19979" fmla="*/ 4341989 h 5973007"/>
              <a:gd name="connsiteX19980" fmla="*/ 5817392 w 6884782"/>
              <a:gd name="connsiteY19980" fmla="*/ 4341679 h 5973007"/>
              <a:gd name="connsiteX19981" fmla="*/ 5816927 w 6884782"/>
              <a:gd name="connsiteY19981" fmla="*/ 4341679 h 5973007"/>
              <a:gd name="connsiteX19982" fmla="*/ 5815998 w 6884782"/>
              <a:gd name="connsiteY19982" fmla="*/ 4341679 h 5973007"/>
              <a:gd name="connsiteX19983" fmla="*/ 5815688 w 6884782"/>
              <a:gd name="connsiteY19983" fmla="*/ 4340957 h 5973007"/>
              <a:gd name="connsiteX19984" fmla="*/ 5815533 w 6884782"/>
              <a:gd name="connsiteY19984" fmla="*/ 4340854 h 5973007"/>
              <a:gd name="connsiteX19985" fmla="*/ 5815843 w 6884782"/>
              <a:gd name="connsiteY19985" fmla="*/ 4338995 h 5973007"/>
              <a:gd name="connsiteX19986" fmla="*/ 5817082 w 6884782"/>
              <a:gd name="connsiteY19986" fmla="*/ 4337549 h 5973007"/>
              <a:gd name="connsiteX19987" fmla="*/ 5818011 w 6884782"/>
              <a:gd name="connsiteY19987" fmla="*/ 4338169 h 5973007"/>
              <a:gd name="connsiteX19988" fmla="*/ 5818321 w 6884782"/>
              <a:gd name="connsiteY19988" fmla="*/ 4338685 h 5973007"/>
              <a:gd name="connsiteX19989" fmla="*/ 664621 w 6884782"/>
              <a:gd name="connsiteY19989" fmla="*/ 4336396 h 5973007"/>
              <a:gd name="connsiteX19990" fmla="*/ 665396 w 6884782"/>
              <a:gd name="connsiteY19990" fmla="*/ 4337841 h 5973007"/>
              <a:gd name="connsiteX19991" fmla="*/ 674999 w 6884782"/>
              <a:gd name="connsiteY19991" fmla="*/ 4346721 h 5973007"/>
              <a:gd name="connsiteX19992" fmla="*/ 661523 w 6884782"/>
              <a:gd name="connsiteY19992" fmla="*/ 4338254 h 5973007"/>
              <a:gd name="connsiteX19993" fmla="*/ 664621 w 6884782"/>
              <a:gd name="connsiteY19993" fmla="*/ 4336396 h 5973007"/>
              <a:gd name="connsiteX19994" fmla="*/ 4926583 w 6884782"/>
              <a:gd name="connsiteY19994" fmla="*/ 4336310 h 5973007"/>
              <a:gd name="connsiteX19995" fmla="*/ 4936187 w 6884782"/>
              <a:gd name="connsiteY19995" fmla="*/ 4340854 h 5973007"/>
              <a:gd name="connsiteX19996" fmla="*/ 4937271 w 6884782"/>
              <a:gd name="connsiteY19996" fmla="*/ 4355619 h 5973007"/>
              <a:gd name="connsiteX19997" fmla="*/ 4927822 w 6884782"/>
              <a:gd name="connsiteY19997" fmla="*/ 4359336 h 5973007"/>
              <a:gd name="connsiteX19998" fmla="*/ 4922865 w 6884782"/>
              <a:gd name="connsiteY19998" fmla="*/ 4357065 h 5973007"/>
              <a:gd name="connsiteX19999" fmla="*/ 4920232 w 6884782"/>
              <a:gd name="connsiteY19999" fmla="*/ 4354174 h 5973007"/>
              <a:gd name="connsiteX20000" fmla="*/ 4922711 w 6884782"/>
              <a:gd name="connsiteY20000" fmla="*/ 4341473 h 5973007"/>
              <a:gd name="connsiteX20001" fmla="*/ 4924569 w 6884782"/>
              <a:gd name="connsiteY20001" fmla="*/ 4339718 h 5973007"/>
              <a:gd name="connsiteX20002" fmla="*/ 4926583 w 6884782"/>
              <a:gd name="connsiteY20002" fmla="*/ 4336310 h 5973007"/>
              <a:gd name="connsiteX20003" fmla="*/ 5421631 w 6884782"/>
              <a:gd name="connsiteY20003" fmla="*/ 4334762 h 5973007"/>
              <a:gd name="connsiteX20004" fmla="*/ 5421787 w 6884782"/>
              <a:gd name="connsiteY20004" fmla="*/ 4348185 h 5973007"/>
              <a:gd name="connsiteX20005" fmla="*/ 5414661 w 6884782"/>
              <a:gd name="connsiteY20005" fmla="*/ 4335174 h 5973007"/>
              <a:gd name="connsiteX20006" fmla="*/ 5421631 w 6884782"/>
              <a:gd name="connsiteY20006" fmla="*/ 4334762 h 5973007"/>
              <a:gd name="connsiteX20007" fmla="*/ 1354219 w 6884782"/>
              <a:gd name="connsiteY20007" fmla="*/ 4333711 h 5973007"/>
              <a:gd name="connsiteX20008" fmla="*/ 1372033 w 6884782"/>
              <a:gd name="connsiteY20008" fmla="*/ 4348580 h 5973007"/>
              <a:gd name="connsiteX20009" fmla="*/ 1374201 w 6884782"/>
              <a:gd name="connsiteY20009" fmla="*/ 4354259 h 5973007"/>
              <a:gd name="connsiteX20010" fmla="*/ 1375440 w 6884782"/>
              <a:gd name="connsiteY20010" fmla="*/ 4346825 h 5973007"/>
              <a:gd name="connsiteX20011" fmla="*/ 1384424 w 6884782"/>
              <a:gd name="connsiteY20011" fmla="*/ 4362003 h 5973007"/>
              <a:gd name="connsiteX20012" fmla="*/ 1392014 w 6884782"/>
              <a:gd name="connsiteY20012" fmla="*/ 4356531 h 5973007"/>
              <a:gd name="connsiteX20013" fmla="*/ 1395732 w 6884782"/>
              <a:gd name="connsiteY20013" fmla="*/ 4355601 h 5973007"/>
              <a:gd name="connsiteX20014" fmla="*/ 1395732 w 6884782"/>
              <a:gd name="connsiteY20014" fmla="*/ 4355085 h 5973007"/>
              <a:gd name="connsiteX20015" fmla="*/ 1395732 w 6884782"/>
              <a:gd name="connsiteY20015" fmla="*/ 4353123 h 5973007"/>
              <a:gd name="connsiteX20016" fmla="*/ 1398365 w 6884782"/>
              <a:gd name="connsiteY20016" fmla="*/ 4350439 h 5973007"/>
              <a:gd name="connsiteX20017" fmla="*/ 1400688 w 6884782"/>
              <a:gd name="connsiteY20017" fmla="*/ 4366753 h 5973007"/>
              <a:gd name="connsiteX20018" fmla="*/ 1398829 w 6884782"/>
              <a:gd name="connsiteY20018" fmla="*/ 4366960 h 5973007"/>
              <a:gd name="connsiteX20019" fmla="*/ 1397281 w 6884782"/>
              <a:gd name="connsiteY20019" fmla="*/ 4365204 h 5973007"/>
              <a:gd name="connsiteX20020" fmla="*/ 1396661 w 6884782"/>
              <a:gd name="connsiteY20020" fmla="*/ 4362933 h 5973007"/>
              <a:gd name="connsiteX20021" fmla="*/ 1394492 w 6884782"/>
              <a:gd name="connsiteY20021" fmla="*/ 4364688 h 5973007"/>
              <a:gd name="connsiteX20022" fmla="*/ 1385973 w 6884782"/>
              <a:gd name="connsiteY20022" fmla="*/ 4370161 h 5973007"/>
              <a:gd name="connsiteX20023" fmla="*/ 1382101 w 6884782"/>
              <a:gd name="connsiteY20023" fmla="*/ 4379764 h 5973007"/>
              <a:gd name="connsiteX20024" fmla="*/ 1375905 w 6884782"/>
              <a:gd name="connsiteY20024" fmla="*/ 4366546 h 5973007"/>
              <a:gd name="connsiteX20025" fmla="*/ 1374356 w 6884782"/>
              <a:gd name="connsiteY20025" fmla="*/ 4355395 h 5973007"/>
              <a:gd name="connsiteX20026" fmla="*/ 1374511 w 6884782"/>
              <a:gd name="connsiteY20026" fmla="*/ 4359422 h 5973007"/>
              <a:gd name="connsiteX20027" fmla="*/ 1372652 w 6884782"/>
              <a:gd name="connsiteY20027" fmla="*/ 4361384 h 5973007"/>
              <a:gd name="connsiteX20028" fmla="*/ 1356853 w 6884782"/>
              <a:gd name="connsiteY20028" fmla="*/ 4352504 h 5973007"/>
              <a:gd name="connsiteX20029" fmla="*/ 1354219 w 6884782"/>
              <a:gd name="connsiteY20029" fmla="*/ 4333711 h 5973007"/>
              <a:gd name="connsiteX20030" fmla="*/ 1520578 w 6884782"/>
              <a:gd name="connsiteY20030" fmla="*/ 4333401 h 5973007"/>
              <a:gd name="connsiteX20031" fmla="*/ 1521043 w 6884782"/>
              <a:gd name="connsiteY20031" fmla="*/ 4338667 h 5973007"/>
              <a:gd name="connsiteX20032" fmla="*/ 1520733 w 6884782"/>
              <a:gd name="connsiteY20032" fmla="*/ 4343004 h 5973007"/>
              <a:gd name="connsiteX20033" fmla="*/ 1516550 w 6884782"/>
              <a:gd name="connsiteY20033" fmla="*/ 4356117 h 5973007"/>
              <a:gd name="connsiteX20034" fmla="*/ 1515931 w 6884782"/>
              <a:gd name="connsiteY20034" fmla="*/ 4349922 h 5973007"/>
              <a:gd name="connsiteX20035" fmla="*/ 1517016 w 6884782"/>
              <a:gd name="connsiteY20035" fmla="*/ 4336293 h 5973007"/>
              <a:gd name="connsiteX20036" fmla="*/ 1518720 w 6884782"/>
              <a:gd name="connsiteY20036" fmla="*/ 4334847 h 5973007"/>
              <a:gd name="connsiteX20037" fmla="*/ 1518874 w 6884782"/>
              <a:gd name="connsiteY20037" fmla="*/ 4334021 h 5973007"/>
              <a:gd name="connsiteX20038" fmla="*/ 1520578 w 6884782"/>
              <a:gd name="connsiteY20038" fmla="*/ 4333401 h 5973007"/>
              <a:gd name="connsiteX20039" fmla="*/ 670817 w 6884782"/>
              <a:gd name="connsiteY20039" fmla="*/ 4333298 h 5973007"/>
              <a:gd name="connsiteX20040" fmla="*/ 677632 w 6884782"/>
              <a:gd name="connsiteY20040" fmla="*/ 4342798 h 5973007"/>
              <a:gd name="connsiteX20041" fmla="*/ 677013 w 6884782"/>
              <a:gd name="connsiteY20041" fmla="*/ 4343314 h 5973007"/>
              <a:gd name="connsiteX20042" fmla="*/ 671282 w 6884782"/>
              <a:gd name="connsiteY20042" fmla="*/ 4336706 h 5973007"/>
              <a:gd name="connsiteX20043" fmla="*/ 670043 w 6884782"/>
              <a:gd name="connsiteY20043" fmla="*/ 4333711 h 5973007"/>
              <a:gd name="connsiteX20044" fmla="*/ 670508 w 6884782"/>
              <a:gd name="connsiteY20044" fmla="*/ 4334537 h 5973007"/>
              <a:gd name="connsiteX20045" fmla="*/ 670817 w 6884782"/>
              <a:gd name="connsiteY20045" fmla="*/ 4333298 h 5973007"/>
              <a:gd name="connsiteX20046" fmla="*/ 5888334 w 6884782"/>
              <a:gd name="connsiteY20046" fmla="*/ 4333006 h 5973007"/>
              <a:gd name="connsiteX20047" fmla="*/ 5887405 w 6884782"/>
              <a:gd name="connsiteY20047" fmla="*/ 4339821 h 5973007"/>
              <a:gd name="connsiteX20048" fmla="*/ 5882913 w 6884782"/>
              <a:gd name="connsiteY20048" fmla="*/ 4336104 h 5973007"/>
              <a:gd name="connsiteX20049" fmla="*/ 5888334 w 6884782"/>
              <a:gd name="connsiteY20049" fmla="*/ 4333006 h 5973007"/>
              <a:gd name="connsiteX20050" fmla="*/ 1471786 w 6884782"/>
              <a:gd name="connsiteY20050" fmla="*/ 4331852 h 5973007"/>
              <a:gd name="connsiteX20051" fmla="*/ 1473645 w 6884782"/>
              <a:gd name="connsiteY20051" fmla="*/ 4351987 h 5973007"/>
              <a:gd name="connsiteX20052" fmla="*/ 1469772 w 6884782"/>
              <a:gd name="connsiteY20052" fmla="*/ 4341972 h 5973007"/>
              <a:gd name="connsiteX20053" fmla="*/ 1471786 w 6884782"/>
              <a:gd name="connsiteY20053" fmla="*/ 4331852 h 5973007"/>
              <a:gd name="connsiteX20054" fmla="*/ 1420980 w 6884782"/>
              <a:gd name="connsiteY20054" fmla="*/ 4328548 h 5973007"/>
              <a:gd name="connsiteX20055" fmla="*/ 1423458 w 6884782"/>
              <a:gd name="connsiteY20055" fmla="*/ 4329684 h 5973007"/>
              <a:gd name="connsiteX20056" fmla="*/ 1424388 w 6884782"/>
              <a:gd name="connsiteY20056" fmla="*/ 4330613 h 5973007"/>
              <a:gd name="connsiteX20057" fmla="*/ 1425162 w 6884782"/>
              <a:gd name="connsiteY20057" fmla="*/ 4330716 h 5973007"/>
              <a:gd name="connsiteX20058" fmla="*/ 1425162 w 6884782"/>
              <a:gd name="connsiteY20058" fmla="*/ 4331130 h 5973007"/>
              <a:gd name="connsiteX20059" fmla="*/ 1426401 w 6884782"/>
              <a:gd name="connsiteY20059" fmla="*/ 4331027 h 5973007"/>
              <a:gd name="connsiteX20060" fmla="*/ 1427950 w 6884782"/>
              <a:gd name="connsiteY20060" fmla="*/ 4333092 h 5973007"/>
              <a:gd name="connsiteX20061" fmla="*/ 1427640 w 6884782"/>
              <a:gd name="connsiteY20061" fmla="*/ 4334124 h 5973007"/>
              <a:gd name="connsiteX20062" fmla="*/ 1429654 w 6884782"/>
              <a:gd name="connsiteY20062" fmla="*/ 4335467 h 5973007"/>
              <a:gd name="connsiteX20063" fmla="*/ 1431822 w 6884782"/>
              <a:gd name="connsiteY20063" fmla="*/ 4336706 h 5973007"/>
              <a:gd name="connsiteX20064" fmla="*/ 1435075 w 6884782"/>
              <a:gd name="connsiteY20064" fmla="*/ 4342281 h 5973007"/>
              <a:gd name="connsiteX20065" fmla="*/ 1433371 w 6884782"/>
              <a:gd name="connsiteY20065" fmla="*/ 4343727 h 5973007"/>
              <a:gd name="connsiteX20066" fmla="*/ 1435075 w 6884782"/>
              <a:gd name="connsiteY20066" fmla="*/ 4345689 h 5973007"/>
              <a:gd name="connsiteX20067" fmla="*/ 1433837 w 6884782"/>
              <a:gd name="connsiteY20067" fmla="*/ 4356737 h 5973007"/>
              <a:gd name="connsiteX20068" fmla="*/ 1429499 w 6884782"/>
              <a:gd name="connsiteY20068" fmla="*/ 4358802 h 5973007"/>
              <a:gd name="connsiteX20069" fmla="*/ 1423613 w 6884782"/>
              <a:gd name="connsiteY20069" fmla="*/ 4356428 h 5973007"/>
              <a:gd name="connsiteX20070" fmla="*/ 1422219 w 6884782"/>
              <a:gd name="connsiteY20070" fmla="*/ 4345069 h 5973007"/>
              <a:gd name="connsiteX20071" fmla="*/ 1429964 w 6884782"/>
              <a:gd name="connsiteY20071" fmla="*/ 4341662 h 5973007"/>
              <a:gd name="connsiteX20072" fmla="*/ 1429189 w 6884782"/>
              <a:gd name="connsiteY20072" fmla="*/ 4341559 h 5973007"/>
              <a:gd name="connsiteX20073" fmla="*/ 1426556 w 6884782"/>
              <a:gd name="connsiteY20073" fmla="*/ 4338151 h 5973007"/>
              <a:gd name="connsiteX20074" fmla="*/ 1420980 w 6884782"/>
              <a:gd name="connsiteY20074" fmla="*/ 4335776 h 5973007"/>
              <a:gd name="connsiteX20075" fmla="*/ 1420980 w 6884782"/>
              <a:gd name="connsiteY20075" fmla="*/ 4332988 h 5973007"/>
              <a:gd name="connsiteX20076" fmla="*/ 1422064 w 6884782"/>
              <a:gd name="connsiteY20076" fmla="*/ 4332162 h 5973007"/>
              <a:gd name="connsiteX20077" fmla="*/ 1421444 w 6884782"/>
              <a:gd name="connsiteY20077" fmla="*/ 4331027 h 5973007"/>
              <a:gd name="connsiteX20078" fmla="*/ 1420980 w 6884782"/>
              <a:gd name="connsiteY20078" fmla="*/ 4328548 h 5973007"/>
              <a:gd name="connsiteX20079" fmla="*/ 598790 w 6884782"/>
              <a:gd name="connsiteY20079" fmla="*/ 4327309 h 5973007"/>
              <a:gd name="connsiteX20080" fmla="*/ 607464 w 6884782"/>
              <a:gd name="connsiteY20080" fmla="*/ 4334124 h 5973007"/>
              <a:gd name="connsiteX20081" fmla="*/ 592439 w 6884782"/>
              <a:gd name="connsiteY20081" fmla="*/ 4347650 h 5973007"/>
              <a:gd name="connsiteX20082" fmla="*/ 598790 w 6884782"/>
              <a:gd name="connsiteY20082" fmla="*/ 4327309 h 5973007"/>
              <a:gd name="connsiteX20083" fmla="*/ 5550350 w 6884782"/>
              <a:gd name="connsiteY20083" fmla="*/ 4326295 h 5973007"/>
              <a:gd name="connsiteX20084" fmla="*/ 5542451 w 6884782"/>
              <a:gd name="connsiteY20084" fmla="*/ 4348804 h 5973007"/>
              <a:gd name="connsiteX20085" fmla="*/ 5550350 w 6884782"/>
              <a:gd name="connsiteY20085" fmla="*/ 4326295 h 5973007"/>
              <a:gd name="connsiteX20086" fmla="*/ 5483590 w 6884782"/>
              <a:gd name="connsiteY20086" fmla="*/ 4325881 h 5973007"/>
              <a:gd name="connsiteX20087" fmla="*/ 5484365 w 6884782"/>
              <a:gd name="connsiteY20087" fmla="*/ 4325881 h 5973007"/>
              <a:gd name="connsiteX20088" fmla="*/ 5481731 w 6884782"/>
              <a:gd name="connsiteY20088" fmla="*/ 4336413 h 5973007"/>
              <a:gd name="connsiteX20089" fmla="*/ 5480182 w 6884782"/>
              <a:gd name="connsiteY20089" fmla="*/ 4337446 h 5973007"/>
              <a:gd name="connsiteX20090" fmla="*/ 5478324 w 6884782"/>
              <a:gd name="connsiteY20090" fmla="*/ 4336413 h 5973007"/>
              <a:gd name="connsiteX20091" fmla="*/ 5477239 w 6884782"/>
              <a:gd name="connsiteY20091" fmla="*/ 4334865 h 5973007"/>
              <a:gd name="connsiteX20092" fmla="*/ 5478788 w 6884782"/>
              <a:gd name="connsiteY20092" fmla="*/ 4331973 h 5973007"/>
              <a:gd name="connsiteX20093" fmla="*/ 5482506 w 6884782"/>
              <a:gd name="connsiteY20093" fmla="*/ 4328566 h 5973007"/>
              <a:gd name="connsiteX20094" fmla="*/ 5483590 w 6884782"/>
              <a:gd name="connsiteY20094" fmla="*/ 4325881 h 5973007"/>
              <a:gd name="connsiteX20095" fmla="*/ 5715470 w 6884782"/>
              <a:gd name="connsiteY20095" fmla="*/ 4325572 h 5973007"/>
              <a:gd name="connsiteX20096" fmla="*/ 5706021 w 6884782"/>
              <a:gd name="connsiteY20096" fmla="*/ 4343848 h 5973007"/>
              <a:gd name="connsiteX20097" fmla="*/ 5704162 w 6884782"/>
              <a:gd name="connsiteY20097" fmla="*/ 4344777 h 5973007"/>
              <a:gd name="connsiteX20098" fmla="*/ 5704317 w 6884782"/>
              <a:gd name="connsiteY20098" fmla="*/ 4345191 h 5973007"/>
              <a:gd name="connsiteX20099" fmla="*/ 5699515 w 6884782"/>
              <a:gd name="connsiteY20099" fmla="*/ 4347256 h 5973007"/>
              <a:gd name="connsiteX20100" fmla="*/ 5697037 w 6884782"/>
              <a:gd name="connsiteY20100" fmla="*/ 4345810 h 5973007"/>
              <a:gd name="connsiteX20101" fmla="*/ 5697192 w 6884782"/>
              <a:gd name="connsiteY20101" fmla="*/ 4342712 h 5973007"/>
              <a:gd name="connsiteX20102" fmla="*/ 5699825 w 6884782"/>
              <a:gd name="connsiteY20102" fmla="*/ 4340131 h 5973007"/>
              <a:gd name="connsiteX20103" fmla="*/ 5703078 w 6884782"/>
              <a:gd name="connsiteY20103" fmla="*/ 4341473 h 5973007"/>
              <a:gd name="connsiteX20104" fmla="*/ 5706641 w 6884782"/>
              <a:gd name="connsiteY20104" fmla="*/ 4334762 h 5973007"/>
              <a:gd name="connsiteX20105" fmla="*/ 5715470 w 6884782"/>
              <a:gd name="connsiteY20105" fmla="*/ 4325572 h 5973007"/>
              <a:gd name="connsiteX20106" fmla="*/ 5082873 w 6884782"/>
              <a:gd name="connsiteY20106" fmla="*/ 4324023 h 5973007"/>
              <a:gd name="connsiteX20107" fmla="*/ 5083338 w 6884782"/>
              <a:gd name="connsiteY20107" fmla="*/ 4326604 h 5973007"/>
              <a:gd name="connsiteX20108" fmla="*/ 5082254 w 6884782"/>
              <a:gd name="connsiteY20108" fmla="*/ 4329186 h 5973007"/>
              <a:gd name="connsiteX20109" fmla="*/ 5080860 w 6884782"/>
              <a:gd name="connsiteY20109" fmla="*/ 4329496 h 5973007"/>
              <a:gd name="connsiteX20110" fmla="*/ 5079001 w 6884782"/>
              <a:gd name="connsiteY20110" fmla="*/ 4329186 h 5973007"/>
              <a:gd name="connsiteX20111" fmla="*/ 5078381 w 6884782"/>
              <a:gd name="connsiteY20111" fmla="*/ 4328153 h 5973007"/>
              <a:gd name="connsiteX20112" fmla="*/ 5080240 w 6884782"/>
              <a:gd name="connsiteY20112" fmla="*/ 4324745 h 5973007"/>
              <a:gd name="connsiteX20113" fmla="*/ 5082873 w 6884782"/>
              <a:gd name="connsiteY20113" fmla="*/ 4324023 h 5973007"/>
              <a:gd name="connsiteX20114" fmla="*/ 1435695 w 6884782"/>
              <a:gd name="connsiteY20114" fmla="*/ 4323902 h 5973007"/>
              <a:gd name="connsiteX20115" fmla="*/ 1435385 w 6884782"/>
              <a:gd name="connsiteY20115" fmla="*/ 4335363 h 5973007"/>
              <a:gd name="connsiteX20116" fmla="*/ 1428414 w 6884782"/>
              <a:gd name="connsiteY20116" fmla="*/ 4329787 h 5973007"/>
              <a:gd name="connsiteX20117" fmla="*/ 1435695 w 6884782"/>
              <a:gd name="connsiteY20117" fmla="*/ 4323902 h 5973007"/>
              <a:gd name="connsiteX20118" fmla="*/ 1395267 w 6884782"/>
              <a:gd name="connsiteY20118" fmla="*/ 4323282 h 5973007"/>
              <a:gd name="connsiteX20119" fmla="*/ 1400379 w 6884782"/>
              <a:gd name="connsiteY20119" fmla="*/ 4324315 h 5973007"/>
              <a:gd name="connsiteX20120" fmla="*/ 1400533 w 6884782"/>
              <a:gd name="connsiteY20120" fmla="*/ 4329065 h 5973007"/>
              <a:gd name="connsiteX20121" fmla="*/ 1398675 w 6884782"/>
              <a:gd name="connsiteY20121" fmla="*/ 4330097 h 5973007"/>
              <a:gd name="connsiteX20122" fmla="*/ 1397900 w 6884782"/>
              <a:gd name="connsiteY20122" fmla="*/ 4329581 h 5973007"/>
              <a:gd name="connsiteX20123" fmla="*/ 1394957 w 6884782"/>
              <a:gd name="connsiteY20123" fmla="*/ 4327826 h 5973007"/>
              <a:gd name="connsiteX20124" fmla="*/ 1395267 w 6884782"/>
              <a:gd name="connsiteY20124" fmla="*/ 4323282 h 5973007"/>
              <a:gd name="connsiteX20125" fmla="*/ 1366611 w 6884782"/>
              <a:gd name="connsiteY20125" fmla="*/ 4322869 h 5973007"/>
              <a:gd name="connsiteX20126" fmla="*/ 1370483 w 6884782"/>
              <a:gd name="connsiteY20126" fmla="*/ 4332885 h 5973007"/>
              <a:gd name="connsiteX20127" fmla="*/ 1367076 w 6884782"/>
              <a:gd name="connsiteY20127" fmla="*/ 4333917 h 5973007"/>
              <a:gd name="connsiteX20128" fmla="*/ 1364753 w 6884782"/>
              <a:gd name="connsiteY20128" fmla="*/ 4333195 h 5973007"/>
              <a:gd name="connsiteX20129" fmla="*/ 1362119 w 6884782"/>
              <a:gd name="connsiteY20129" fmla="*/ 4327722 h 5973007"/>
              <a:gd name="connsiteX20130" fmla="*/ 1366611 w 6884782"/>
              <a:gd name="connsiteY20130" fmla="*/ 4322869 h 5973007"/>
              <a:gd name="connsiteX20131" fmla="*/ 1192508 w 6884782"/>
              <a:gd name="connsiteY20131" fmla="*/ 4322559 h 5973007"/>
              <a:gd name="connsiteX20132" fmla="*/ 1184918 w 6884782"/>
              <a:gd name="connsiteY20132" fmla="*/ 4331543 h 5973007"/>
              <a:gd name="connsiteX20133" fmla="*/ 1184763 w 6884782"/>
              <a:gd name="connsiteY20133" fmla="*/ 4324315 h 5973007"/>
              <a:gd name="connsiteX20134" fmla="*/ 1192508 w 6884782"/>
              <a:gd name="connsiteY20134" fmla="*/ 4322559 h 5973007"/>
              <a:gd name="connsiteX20135" fmla="*/ 5774950 w 6884782"/>
              <a:gd name="connsiteY20135" fmla="*/ 4321545 h 5973007"/>
              <a:gd name="connsiteX20136" fmla="*/ 5783470 w 6884782"/>
              <a:gd name="connsiteY20136" fmla="*/ 4326501 h 5973007"/>
              <a:gd name="connsiteX20137" fmla="*/ 5782075 w 6884782"/>
              <a:gd name="connsiteY20137" fmla="*/ 4330115 h 5973007"/>
              <a:gd name="connsiteX20138" fmla="*/ 5779287 w 6884782"/>
              <a:gd name="connsiteY20138" fmla="*/ 4331354 h 5973007"/>
              <a:gd name="connsiteX20139" fmla="*/ 5772472 w 6884782"/>
              <a:gd name="connsiteY20139" fmla="*/ 4326604 h 5973007"/>
              <a:gd name="connsiteX20140" fmla="*/ 5774950 w 6884782"/>
              <a:gd name="connsiteY20140" fmla="*/ 4321545 h 5973007"/>
              <a:gd name="connsiteX20141" fmla="*/ 5726158 w 6884782"/>
              <a:gd name="connsiteY20141" fmla="*/ 4320512 h 5973007"/>
              <a:gd name="connsiteX20142" fmla="*/ 5733903 w 6884782"/>
              <a:gd name="connsiteY20142" fmla="*/ 4320615 h 5973007"/>
              <a:gd name="connsiteX20143" fmla="*/ 5734522 w 6884782"/>
              <a:gd name="connsiteY20143" fmla="*/ 4322474 h 5973007"/>
              <a:gd name="connsiteX20144" fmla="*/ 5734987 w 6884782"/>
              <a:gd name="connsiteY20144" fmla="*/ 4326811 h 5973007"/>
              <a:gd name="connsiteX20145" fmla="*/ 5732199 w 6884782"/>
              <a:gd name="connsiteY20145" fmla="*/ 4328463 h 5973007"/>
              <a:gd name="connsiteX20146" fmla="*/ 5728946 w 6884782"/>
              <a:gd name="connsiteY20146" fmla="*/ 4326707 h 5973007"/>
              <a:gd name="connsiteX20147" fmla="*/ 5727242 w 6884782"/>
              <a:gd name="connsiteY20147" fmla="*/ 4323610 h 5973007"/>
              <a:gd name="connsiteX20148" fmla="*/ 5726158 w 6884782"/>
              <a:gd name="connsiteY20148" fmla="*/ 4320512 h 5973007"/>
              <a:gd name="connsiteX20149" fmla="*/ 5507599 w 6884782"/>
              <a:gd name="connsiteY20149" fmla="*/ 4319273 h 5973007"/>
              <a:gd name="connsiteX20150" fmla="*/ 5508529 w 6884782"/>
              <a:gd name="connsiteY20150" fmla="*/ 4320925 h 5973007"/>
              <a:gd name="connsiteX20151" fmla="*/ 5508838 w 6884782"/>
              <a:gd name="connsiteY20151" fmla="*/ 4323197 h 5973007"/>
              <a:gd name="connsiteX20152" fmla="*/ 5510233 w 6884782"/>
              <a:gd name="connsiteY20152" fmla="*/ 4324023 h 5973007"/>
              <a:gd name="connsiteX20153" fmla="*/ 5509613 w 6884782"/>
              <a:gd name="connsiteY20153" fmla="*/ 4330941 h 5973007"/>
              <a:gd name="connsiteX20154" fmla="*/ 5508838 w 6884782"/>
              <a:gd name="connsiteY20154" fmla="*/ 4329289 h 5973007"/>
              <a:gd name="connsiteX20155" fmla="*/ 5508374 w 6884782"/>
              <a:gd name="connsiteY20155" fmla="*/ 4327017 h 5973007"/>
              <a:gd name="connsiteX20156" fmla="*/ 5507909 w 6884782"/>
              <a:gd name="connsiteY20156" fmla="*/ 4324745 h 5973007"/>
              <a:gd name="connsiteX20157" fmla="*/ 5507134 w 6884782"/>
              <a:gd name="connsiteY20157" fmla="*/ 4323094 h 5973007"/>
              <a:gd name="connsiteX20158" fmla="*/ 5507599 w 6884782"/>
              <a:gd name="connsiteY20158" fmla="*/ 4319273 h 5973007"/>
              <a:gd name="connsiteX20159" fmla="*/ 5792763 w 6884782"/>
              <a:gd name="connsiteY20159" fmla="*/ 4315659 h 5973007"/>
              <a:gd name="connsiteX20160" fmla="*/ 5799424 w 6884782"/>
              <a:gd name="connsiteY20160" fmla="*/ 4328669 h 5973007"/>
              <a:gd name="connsiteX20161" fmla="*/ 5795241 w 6884782"/>
              <a:gd name="connsiteY20161" fmla="*/ 4332077 h 5973007"/>
              <a:gd name="connsiteX20162" fmla="*/ 5786258 w 6884782"/>
              <a:gd name="connsiteY20162" fmla="*/ 4320306 h 5973007"/>
              <a:gd name="connsiteX20163" fmla="*/ 5792763 w 6884782"/>
              <a:gd name="connsiteY20163" fmla="*/ 4315659 h 5973007"/>
              <a:gd name="connsiteX20164" fmla="*/ 636585 w 6884782"/>
              <a:gd name="connsiteY20164" fmla="*/ 4314609 h 5973007"/>
              <a:gd name="connsiteX20165" fmla="*/ 643091 w 6884782"/>
              <a:gd name="connsiteY20165" fmla="*/ 4321424 h 5973007"/>
              <a:gd name="connsiteX20166" fmla="*/ 642781 w 6884782"/>
              <a:gd name="connsiteY20166" fmla="*/ 4326586 h 5973007"/>
              <a:gd name="connsiteX20167" fmla="*/ 633487 w 6884782"/>
              <a:gd name="connsiteY20167" fmla="*/ 4331336 h 5973007"/>
              <a:gd name="connsiteX20168" fmla="*/ 627756 w 6884782"/>
              <a:gd name="connsiteY20168" fmla="*/ 4324108 h 5973007"/>
              <a:gd name="connsiteX20169" fmla="*/ 625897 w 6884782"/>
              <a:gd name="connsiteY20169" fmla="*/ 4324315 h 5973007"/>
              <a:gd name="connsiteX20170" fmla="*/ 622954 w 6884782"/>
              <a:gd name="connsiteY20170" fmla="*/ 4322249 h 5973007"/>
              <a:gd name="connsiteX20171" fmla="*/ 624038 w 6884782"/>
              <a:gd name="connsiteY20171" fmla="*/ 4320494 h 5973007"/>
              <a:gd name="connsiteX20172" fmla="*/ 627756 w 6884782"/>
              <a:gd name="connsiteY20172" fmla="*/ 4322146 h 5973007"/>
              <a:gd name="connsiteX20173" fmla="*/ 628530 w 6884782"/>
              <a:gd name="connsiteY20173" fmla="*/ 4321630 h 5973007"/>
              <a:gd name="connsiteX20174" fmla="*/ 629305 w 6884782"/>
              <a:gd name="connsiteY20174" fmla="*/ 4319255 h 5973007"/>
              <a:gd name="connsiteX20175" fmla="*/ 636585 w 6884782"/>
              <a:gd name="connsiteY20175" fmla="*/ 4314609 h 5973007"/>
              <a:gd name="connsiteX20176" fmla="*/ 1225965 w 6884782"/>
              <a:gd name="connsiteY20176" fmla="*/ 4314505 h 5973007"/>
              <a:gd name="connsiteX20177" fmla="*/ 1227359 w 6884782"/>
              <a:gd name="connsiteY20177" fmla="*/ 4315125 h 5973007"/>
              <a:gd name="connsiteX20178" fmla="*/ 1230612 w 6884782"/>
              <a:gd name="connsiteY20178" fmla="*/ 4316674 h 5973007"/>
              <a:gd name="connsiteX20179" fmla="*/ 1224726 w 6884782"/>
              <a:gd name="connsiteY20179" fmla="*/ 4315228 h 5973007"/>
              <a:gd name="connsiteX20180" fmla="*/ 1225965 w 6884782"/>
              <a:gd name="connsiteY20180" fmla="*/ 4314505 h 5973007"/>
              <a:gd name="connsiteX20181" fmla="*/ 5470579 w 6884782"/>
              <a:gd name="connsiteY20181" fmla="*/ 4314420 h 5973007"/>
              <a:gd name="connsiteX20182" fmla="*/ 5471354 w 6884782"/>
              <a:gd name="connsiteY20182" fmla="*/ 4315762 h 5973007"/>
              <a:gd name="connsiteX20183" fmla="*/ 5474451 w 6884782"/>
              <a:gd name="connsiteY20183" fmla="*/ 4316278 h 5973007"/>
              <a:gd name="connsiteX20184" fmla="*/ 5478943 w 6884782"/>
              <a:gd name="connsiteY20184" fmla="*/ 4314627 h 5973007"/>
              <a:gd name="connsiteX20185" fmla="*/ 5473522 w 6884782"/>
              <a:gd name="connsiteY20185" fmla="*/ 4317931 h 5973007"/>
              <a:gd name="connsiteX20186" fmla="*/ 5473057 w 6884782"/>
              <a:gd name="connsiteY20186" fmla="*/ 4319067 h 5973007"/>
              <a:gd name="connsiteX20187" fmla="*/ 5473057 w 6884782"/>
              <a:gd name="connsiteY20187" fmla="*/ 4319273 h 5973007"/>
              <a:gd name="connsiteX20188" fmla="*/ 5472747 w 6884782"/>
              <a:gd name="connsiteY20188" fmla="*/ 4319583 h 5973007"/>
              <a:gd name="connsiteX20189" fmla="*/ 5472438 w 6884782"/>
              <a:gd name="connsiteY20189" fmla="*/ 4320512 h 5973007"/>
              <a:gd name="connsiteX20190" fmla="*/ 5471973 w 6884782"/>
              <a:gd name="connsiteY20190" fmla="*/ 4320615 h 5973007"/>
              <a:gd name="connsiteX20191" fmla="*/ 5470889 w 6884782"/>
              <a:gd name="connsiteY20191" fmla="*/ 4322784 h 5973007"/>
              <a:gd name="connsiteX20192" fmla="*/ 5469340 w 6884782"/>
              <a:gd name="connsiteY20192" fmla="*/ 4326501 h 5973007"/>
              <a:gd name="connsiteX20193" fmla="*/ 5467171 w 6884782"/>
              <a:gd name="connsiteY20193" fmla="*/ 4326811 h 5973007"/>
              <a:gd name="connsiteX20194" fmla="*/ 5466087 w 6884782"/>
              <a:gd name="connsiteY20194" fmla="*/ 4324436 h 5973007"/>
              <a:gd name="connsiteX20195" fmla="*/ 5466707 w 6884782"/>
              <a:gd name="connsiteY20195" fmla="*/ 4321132 h 5973007"/>
              <a:gd name="connsiteX20196" fmla="*/ 5466397 w 6884782"/>
              <a:gd name="connsiteY20196" fmla="*/ 4320306 h 5973007"/>
              <a:gd name="connsiteX20197" fmla="*/ 5467636 w 6884782"/>
              <a:gd name="connsiteY20197" fmla="*/ 4317828 h 5973007"/>
              <a:gd name="connsiteX20198" fmla="*/ 5468565 w 6884782"/>
              <a:gd name="connsiteY20198" fmla="*/ 4317311 h 5973007"/>
              <a:gd name="connsiteX20199" fmla="*/ 1247186 w 6884782"/>
              <a:gd name="connsiteY20199" fmla="*/ 4313576 h 5973007"/>
              <a:gd name="connsiteX20200" fmla="*/ 1261127 w 6884782"/>
              <a:gd name="connsiteY20200" fmla="*/ 4320288 h 5973007"/>
              <a:gd name="connsiteX20201" fmla="*/ 1266703 w 6884782"/>
              <a:gd name="connsiteY20201" fmla="*/ 4322972 h 5973007"/>
              <a:gd name="connsiteX20202" fmla="*/ 1269027 w 6884782"/>
              <a:gd name="connsiteY20202" fmla="*/ 4319359 h 5973007"/>
              <a:gd name="connsiteX20203" fmla="*/ 1271195 w 6884782"/>
              <a:gd name="connsiteY20203" fmla="*/ 4322249 h 5973007"/>
              <a:gd name="connsiteX20204" fmla="*/ 1270111 w 6884782"/>
              <a:gd name="connsiteY20204" fmla="*/ 4324625 h 5973007"/>
              <a:gd name="connsiteX20205" fmla="*/ 1275222 w 6884782"/>
              <a:gd name="connsiteY20205" fmla="*/ 4327000 h 5973007"/>
              <a:gd name="connsiteX20206" fmla="*/ 1275533 w 6884782"/>
              <a:gd name="connsiteY20206" fmla="*/ 4328342 h 5973007"/>
              <a:gd name="connsiteX20207" fmla="*/ 1277856 w 6884782"/>
              <a:gd name="connsiteY20207" fmla="*/ 4325347 h 5973007"/>
              <a:gd name="connsiteX20208" fmla="*/ 1278475 w 6884782"/>
              <a:gd name="connsiteY20208" fmla="*/ 4325450 h 5973007"/>
              <a:gd name="connsiteX20209" fmla="*/ 1278321 w 6884782"/>
              <a:gd name="connsiteY20209" fmla="*/ 4325244 h 5973007"/>
              <a:gd name="connsiteX20210" fmla="*/ 1279249 w 6884782"/>
              <a:gd name="connsiteY20210" fmla="*/ 4321630 h 5973007"/>
              <a:gd name="connsiteX20211" fmla="*/ 1281573 w 6884782"/>
              <a:gd name="connsiteY20211" fmla="*/ 4320494 h 5973007"/>
              <a:gd name="connsiteX20212" fmla="*/ 1286530 w 6884782"/>
              <a:gd name="connsiteY20212" fmla="*/ 4327515 h 5973007"/>
              <a:gd name="connsiteX20213" fmla="*/ 1286375 w 6884782"/>
              <a:gd name="connsiteY20213" fmla="*/ 4327515 h 5973007"/>
              <a:gd name="connsiteX20214" fmla="*/ 1287304 w 6884782"/>
              <a:gd name="connsiteY20214" fmla="*/ 4327826 h 5973007"/>
              <a:gd name="connsiteX20215" fmla="*/ 1288543 w 6884782"/>
              <a:gd name="connsiteY20215" fmla="*/ 4331646 h 5973007"/>
              <a:gd name="connsiteX20216" fmla="*/ 1287304 w 6884782"/>
              <a:gd name="connsiteY20216" fmla="*/ 4339287 h 5973007"/>
              <a:gd name="connsiteX20217" fmla="*/ 1288543 w 6884782"/>
              <a:gd name="connsiteY20217" fmla="*/ 4339287 h 5973007"/>
              <a:gd name="connsiteX20218" fmla="*/ 1284516 w 6884782"/>
              <a:gd name="connsiteY20218" fmla="*/ 4339906 h 5973007"/>
              <a:gd name="connsiteX20219" fmla="*/ 1281573 w 6884782"/>
              <a:gd name="connsiteY20219" fmla="*/ 4340423 h 5973007"/>
              <a:gd name="connsiteX20220" fmla="*/ 1280489 w 6884782"/>
              <a:gd name="connsiteY20220" fmla="*/ 4341662 h 5973007"/>
              <a:gd name="connsiteX20221" fmla="*/ 1282348 w 6884782"/>
              <a:gd name="connsiteY20221" fmla="*/ 4345173 h 5973007"/>
              <a:gd name="connsiteX20222" fmla="*/ 1284826 w 6884782"/>
              <a:gd name="connsiteY20222" fmla="*/ 4363552 h 5973007"/>
              <a:gd name="connsiteX20223" fmla="*/ 1284361 w 6884782"/>
              <a:gd name="connsiteY20223" fmla="*/ 4363965 h 5973007"/>
              <a:gd name="connsiteX20224" fmla="*/ 1281263 w 6884782"/>
              <a:gd name="connsiteY20224" fmla="*/ 4368818 h 5973007"/>
              <a:gd name="connsiteX20225" fmla="*/ 1277856 w 6884782"/>
              <a:gd name="connsiteY20225" fmla="*/ 4370057 h 5973007"/>
              <a:gd name="connsiteX20226" fmla="*/ 1276771 w 6884782"/>
              <a:gd name="connsiteY20226" fmla="*/ 4371709 h 5973007"/>
              <a:gd name="connsiteX20227" fmla="*/ 1272434 w 6884782"/>
              <a:gd name="connsiteY20227" fmla="*/ 4379970 h 5973007"/>
              <a:gd name="connsiteX20228" fmla="*/ 1261436 w 6884782"/>
              <a:gd name="connsiteY20228" fmla="*/ 4382861 h 5973007"/>
              <a:gd name="connsiteX20229" fmla="*/ 1258493 w 6884782"/>
              <a:gd name="connsiteY20229" fmla="*/ 4382964 h 5973007"/>
              <a:gd name="connsiteX20230" fmla="*/ 1262521 w 6884782"/>
              <a:gd name="connsiteY20230" fmla="*/ 4384823 h 5973007"/>
              <a:gd name="connsiteX20231" fmla="*/ 1265154 w 6884782"/>
              <a:gd name="connsiteY20231" fmla="*/ 4388334 h 5973007"/>
              <a:gd name="connsiteX20232" fmla="*/ 1265309 w 6884782"/>
              <a:gd name="connsiteY20232" fmla="*/ 4390812 h 5973007"/>
              <a:gd name="connsiteX20233" fmla="*/ 1266084 w 6884782"/>
              <a:gd name="connsiteY20233" fmla="*/ 4391741 h 5973007"/>
              <a:gd name="connsiteX20234" fmla="*/ 1268407 w 6884782"/>
              <a:gd name="connsiteY20234" fmla="*/ 4400414 h 5973007"/>
              <a:gd name="connsiteX20235" fmla="*/ 1266084 w 6884782"/>
              <a:gd name="connsiteY20235" fmla="*/ 4404751 h 5973007"/>
              <a:gd name="connsiteX20236" fmla="*/ 1266393 w 6884782"/>
              <a:gd name="connsiteY20236" fmla="*/ 4405165 h 5973007"/>
              <a:gd name="connsiteX20237" fmla="*/ 1262211 w 6884782"/>
              <a:gd name="connsiteY20237" fmla="*/ 4409088 h 5973007"/>
              <a:gd name="connsiteX20238" fmla="*/ 1258958 w 6884782"/>
              <a:gd name="connsiteY20238" fmla="*/ 4406094 h 5973007"/>
              <a:gd name="connsiteX20239" fmla="*/ 1259423 w 6884782"/>
              <a:gd name="connsiteY20239" fmla="*/ 4404029 h 5973007"/>
              <a:gd name="connsiteX20240" fmla="*/ 1260197 w 6884782"/>
              <a:gd name="connsiteY20240" fmla="*/ 4403615 h 5973007"/>
              <a:gd name="connsiteX20241" fmla="*/ 1261591 w 6884782"/>
              <a:gd name="connsiteY20241" fmla="*/ 4402893 h 5973007"/>
              <a:gd name="connsiteX20242" fmla="*/ 1257874 w 6884782"/>
              <a:gd name="connsiteY20242" fmla="*/ 4400828 h 5973007"/>
              <a:gd name="connsiteX20243" fmla="*/ 1255551 w 6884782"/>
              <a:gd name="connsiteY20243" fmla="*/ 4401447 h 5973007"/>
              <a:gd name="connsiteX20244" fmla="*/ 1248735 w 6884782"/>
              <a:gd name="connsiteY20244" fmla="*/ 4398659 h 5973007"/>
              <a:gd name="connsiteX20245" fmla="*/ 1249045 w 6884782"/>
              <a:gd name="connsiteY20245" fmla="*/ 4394322 h 5973007"/>
              <a:gd name="connsiteX20246" fmla="*/ 1250129 w 6884782"/>
              <a:gd name="connsiteY20246" fmla="*/ 4392154 h 5973007"/>
              <a:gd name="connsiteX20247" fmla="*/ 1248116 w 6884782"/>
              <a:gd name="connsiteY20247" fmla="*/ 4388437 h 5973007"/>
              <a:gd name="connsiteX20248" fmla="*/ 1253072 w 6884782"/>
              <a:gd name="connsiteY20248" fmla="*/ 4383894 h 5973007"/>
              <a:gd name="connsiteX20249" fmla="*/ 1255396 w 6884782"/>
              <a:gd name="connsiteY20249" fmla="*/ 4384307 h 5973007"/>
              <a:gd name="connsiteX20250" fmla="*/ 1256790 w 6884782"/>
              <a:gd name="connsiteY20250" fmla="*/ 4383068 h 5973007"/>
              <a:gd name="connsiteX20251" fmla="*/ 1249200 w 6884782"/>
              <a:gd name="connsiteY20251" fmla="*/ 4383377 h 5973007"/>
              <a:gd name="connsiteX20252" fmla="*/ 1237118 w 6884782"/>
              <a:gd name="connsiteY20252" fmla="*/ 4380693 h 5973007"/>
              <a:gd name="connsiteX20253" fmla="*/ 1228289 w 6884782"/>
              <a:gd name="connsiteY20253" fmla="*/ 4374807 h 5973007"/>
              <a:gd name="connsiteX20254" fmla="*/ 1229218 w 6884782"/>
              <a:gd name="connsiteY20254" fmla="*/ 4376459 h 5973007"/>
              <a:gd name="connsiteX20255" fmla="*/ 1230612 w 6884782"/>
              <a:gd name="connsiteY20255" fmla="*/ 4385546 h 5973007"/>
              <a:gd name="connsiteX20256" fmla="*/ 1222402 w 6884782"/>
              <a:gd name="connsiteY20256" fmla="*/ 4388024 h 5973007"/>
              <a:gd name="connsiteX20257" fmla="*/ 1213574 w 6884782"/>
              <a:gd name="connsiteY20257" fmla="*/ 4379350 h 5973007"/>
              <a:gd name="connsiteX20258" fmla="*/ 1213574 w 6884782"/>
              <a:gd name="connsiteY20258" fmla="*/ 4378008 h 5973007"/>
              <a:gd name="connsiteX20259" fmla="*/ 1213264 w 6884782"/>
              <a:gd name="connsiteY20259" fmla="*/ 4378111 h 5973007"/>
              <a:gd name="connsiteX20260" fmla="*/ 1211560 w 6884782"/>
              <a:gd name="connsiteY20260" fmla="*/ 4378214 h 5973007"/>
              <a:gd name="connsiteX20261" fmla="*/ 1212644 w 6884782"/>
              <a:gd name="connsiteY20261" fmla="*/ 4379144 h 5973007"/>
              <a:gd name="connsiteX20262" fmla="*/ 1210321 w 6884782"/>
              <a:gd name="connsiteY20262" fmla="*/ 4380693 h 5973007"/>
              <a:gd name="connsiteX20263" fmla="*/ 1208307 w 6884782"/>
              <a:gd name="connsiteY20263" fmla="*/ 4382861 h 5973007"/>
              <a:gd name="connsiteX20264" fmla="*/ 1206913 w 6884782"/>
              <a:gd name="connsiteY20264" fmla="*/ 4383068 h 5973007"/>
              <a:gd name="connsiteX20265" fmla="*/ 1201646 w 6884782"/>
              <a:gd name="connsiteY20265" fmla="*/ 4386785 h 5973007"/>
              <a:gd name="connsiteX20266" fmla="*/ 1198084 w 6884782"/>
              <a:gd name="connsiteY20266" fmla="*/ 4387714 h 5973007"/>
              <a:gd name="connsiteX20267" fmla="*/ 1198084 w 6884782"/>
              <a:gd name="connsiteY20267" fmla="*/ 4387817 h 5973007"/>
              <a:gd name="connsiteX20268" fmla="*/ 1199323 w 6884782"/>
              <a:gd name="connsiteY20268" fmla="*/ 4392567 h 5973007"/>
              <a:gd name="connsiteX20269" fmla="*/ 1198084 w 6884782"/>
              <a:gd name="connsiteY20269" fmla="*/ 4394736 h 5973007"/>
              <a:gd name="connsiteX20270" fmla="*/ 1192818 w 6884782"/>
              <a:gd name="connsiteY20270" fmla="*/ 4395252 h 5973007"/>
              <a:gd name="connsiteX20271" fmla="*/ 1187396 w 6884782"/>
              <a:gd name="connsiteY20271" fmla="*/ 4392361 h 5973007"/>
              <a:gd name="connsiteX20272" fmla="*/ 1184918 w 6884782"/>
              <a:gd name="connsiteY20272" fmla="*/ 4389056 h 5973007"/>
              <a:gd name="connsiteX20273" fmla="*/ 1183059 w 6884782"/>
              <a:gd name="connsiteY20273" fmla="*/ 4388953 h 5973007"/>
              <a:gd name="connsiteX20274" fmla="*/ 1183833 w 6884782"/>
              <a:gd name="connsiteY20274" fmla="*/ 4385959 h 5973007"/>
              <a:gd name="connsiteX20275" fmla="*/ 1183988 w 6884782"/>
              <a:gd name="connsiteY20275" fmla="*/ 4383274 h 5973007"/>
              <a:gd name="connsiteX20276" fmla="*/ 1186466 w 6884782"/>
              <a:gd name="connsiteY20276" fmla="*/ 4381519 h 5973007"/>
              <a:gd name="connsiteX20277" fmla="*/ 1187396 w 6884782"/>
              <a:gd name="connsiteY20277" fmla="*/ 4381829 h 5973007"/>
              <a:gd name="connsiteX20278" fmla="*/ 1190959 w 6884782"/>
              <a:gd name="connsiteY20278" fmla="*/ 4380279 h 5973007"/>
              <a:gd name="connsiteX20279" fmla="*/ 1191578 w 6884782"/>
              <a:gd name="connsiteY20279" fmla="*/ 4378834 h 5973007"/>
              <a:gd name="connsiteX20280" fmla="*/ 1190340 w 6884782"/>
              <a:gd name="connsiteY20280" fmla="*/ 4376046 h 5973007"/>
              <a:gd name="connsiteX20281" fmla="*/ 1188945 w 6884782"/>
              <a:gd name="connsiteY20281" fmla="*/ 4374601 h 5973007"/>
              <a:gd name="connsiteX20282" fmla="*/ 1186932 w 6884782"/>
              <a:gd name="connsiteY20282" fmla="*/ 4375117 h 5973007"/>
              <a:gd name="connsiteX20283" fmla="*/ 1179187 w 6884782"/>
              <a:gd name="connsiteY20283" fmla="*/ 4375530 h 5973007"/>
              <a:gd name="connsiteX20284" fmla="*/ 1179651 w 6884782"/>
              <a:gd name="connsiteY20284" fmla="*/ 4374291 h 5973007"/>
              <a:gd name="connsiteX20285" fmla="*/ 1185847 w 6884782"/>
              <a:gd name="connsiteY20285" fmla="*/ 4372845 h 5973007"/>
              <a:gd name="connsiteX20286" fmla="*/ 1187087 w 6884782"/>
              <a:gd name="connsiteY20286" fmla="*/ 4372742 h 5973007"/>
              <a:gd name="connsiteX20287" fmla="*/ 1185538 w 6884782"/>
              <a:gd name="connsiteY20287" fmla="*/ 4371193 h 5973007"/>
              <a:gd name="connsiteX20288" fmla="*/ 1177173 w 6884782"/>
              <a:gd name="connsiteY20288" fmla="*/ 4360454 h 5973007"/>
              <a:gd name="connsiteX20289" fmla="*/ 1176398 w 6884782"/>
              <a:gd name="connsiteY20289" fmla="*/ 4356428 h 5973007"/>
              <a:gd name="connsiteX20290" fmla="*/ 1173301 w 6884782"/>
              <a:gd name="connsiteY20290" fmla="*/ 4359112 h 5973007"/>
              <a:gd name="connsiteX20291" fmla="*/ 1170203 w 6884782"/>
              <a:gd name="connsiteY20291" fmla="*/ 4361900 h 5973007"/>
              <a:gd name="connsiteX20292" fmla="*/ 1164472 w 6884782"/>
              <a:gd name="connsiteY20292" fmla="*/ 4366546 h 5973007"/>
              <a:gd name="connsiteX20293" fmla="*/ 1163542 w 6884782"/>
              <a:gd name="connsiteY20293" fmla="*/ 4369025 h 5973007"/>
              <a:gd name="connsiteX20294" fmla="*/ 1162923 w 6884782"/>
              <a:gd name="connsiteY20294" fmla="*/ 4369335 h 5973007"/>
              <a:gd name="connsiteX20295" fmla="*/ 1163077 w 6884782"/>
              <a:gd name="connsiteY20295" fmla="*/ 4370367 h 5973007"/>
              <a:gd name="connsiteX20296" fmla="*/ 1162303 w 6884782"/>
              <a:gd name="connsiteY20296" fmla="*/ 4370574 h 5973007"/>
              <a:gd name="connsiteX20297" fmla="*/ 1162458 w 6884782"/>
              <a:gd name="connsiteY20297" fmla="*/ 4369747 h 5973007"/>
              <a:gd name="connsiteX20298" fmla="*/ 1161374 w 6884782"/>
              <a:gd name="connsiteY20298" fmla="*/ 4370470 h 5973007"/>
              <a:gd name="connsiteX20299" fmla="*/ 1155798 w 6884782"/>
              <a:gd name="connsiteY20299" fmla="*/ 4366960 h 5973007"/>
              <a:gd name="connsiteX20300" fmla="*/ 1155952 w 6884782"/>
              <a:gd name="connsiteY20300" fmla="*/ 4361487 h 5973007"/>
              <a:gd name="connsiteX20301" fmla="*/ 1163852 w 6884782"/>
              <a:gd name="connsiteY20301" fmla="*/ 4362726 h 5973007"/>
              <a:gd name="connsiteX20302" fmla="*/ 1164007 w 6884782"/>
              <a:gd name="connsiteY20302" fmla="*/ 4362933 h 5973007"/>
              <a:gd name="connsiteX20303" fmla="*/ 1164162 w 6884782"/>
              <a:gd name="connsiteY20303" fmla="*/ 4362829 h 5973007"/>
              <a:gd name="connsiteX20304" fmla="*/ 1170513 w 6884782"/>
              <a:gd name="connsiteY20304" fmla="*/ 4356944 h 5973007"/>
              <a:gd name="connsiteX20305" fmla="*/ 1172216 w 6884782"/>
              <a:gd name="connsiteY20305" fmla="*/ 4355911 h 5973007"/>
              <a:gd name="connsiteX20306" fmla="*/ 1173920 w 6884782"/>
              <a:gd name="connsiteY20306" fmla="*/ 4354775 h 5973007"/>
              <a:gd name="connsiteX20307" fmla="*/ 1177173 w 6884782"/>
              <a:gd name="connsiteY20307" fmla="*/ 4355808 h 5973007"/>
              <a:gd name="connsiteX20308" fmla="*/ 1177018 w 6884782"/>
              <a:gd name="connsiteY20308" fmla="*/ 4355911 h 5973007"/>
              <a:gd name="connsiteX20309" fmla="*/ 1179961 w 6884782"/>
              <a:gd name="connsiteY20309" fmla="*/ 4356221 h 5973007"/>
              <a:gd name="connsiteX20310" fmla="*/ 1186002 w 6884782"/>
              <a:gd name="connsiteY20310" fmla="*/ 4359525 h 5973007"/>
              <a:gd name="connsiteX20311" fmla="*/ 1190649 w 6884782"/>
              <a:gd name="connsiteY20311" fmla="*/ 4364275 h 5973007"/>
              <a:gd name="connsiteX20312" fmla="*/ 1191269 w 6884782"/>
              <a:gd name="connsiteY20312" fmla="*/ 4364481 h 5973007"/>
              <a:gd name="connsiteX20313" fmla="*/ 1194831 w 6884782"/>
              <a:gd name="connsiteY20313" fmla="*/ 4367682 h 5973007"/>
              <a:gd name="connsiteX20314" fmla="*/ 1194831 w 6884782"/>
              <a:gd name="connsiteY20314" fmla="*/ 4367476 h 5973007"/>
              <a:gd name="connsiteX20315" fmla="*/ 1197154 w 6884782"/>
              <a:gd name="connsiteY20315" fmla="*/ 4358906 h 5973007"/>
              <a:gd name="connsiteX20316" fmla="*/ 1198084 w 6884782"/>
              <a:gd name="connsiteY20316" fmla="*/ 4358596 h 5973007"/>
              <a:gd name="connsiteX20317" fmla="*/ 1199323 w 6884782"/>
              <a:gd name="connsiteY20317" fmla="*/ 4360041 h 5973007"/>
              <a:gd name="connsiteX20318" fmla="*/ 1198703 w 6884782"/>
              <a:gd name="connsiteY20318" fmla="*/ 4363862 h 5973007"/>
              <a:gd name="connsiteX20319" fmla="*/ 1196535 w 6884782"/>
              <a:gd name="connsiteY20319" fmla="*/ 4368612 h 5973007"/>
              <a:gd name="connsiteX20320" fmla="*/ 1196226 w 6884782"/>
              <a:gd name="connsiteY20320" fmla="*/ 4369231 h 5973007"/>
              <a:gd name="connsiteX20321" fmla="*/ 1202576 w 6884782"/>
              <a:gd name="connsiteY20321" fmla="*/ 4376149 h 5973007"/>
              <a:gd name="connsiteX20322" fmla="*/ 1204744 w 6884782"/>
              <a:gd name="connsiteY20322" fmla="*/ 4376046 h 5973007"/>
              <a:gd name="connsiteX20323" fmla="*/ 1204744 w 6884782"/>
              <a:gd name="connsiteY20323" fmla="*/ 4375840 h 5973007"/>
              <a:gd name="connsiteX20324" fmla="*/ 1209237 w 6884782"/>
              <a:gd name="connsiteY20324" fmla="*/ 4372639 h 5973007"/>
              <a:gd name="connsiteX20325" fmla="*/ 1212025 w 6884782"/>
              <a:gd name="connsiteY20325" fmla="*/ 4372122 h 5973007"/>
              <a:gd name="connsiteX20326" fmla="*/ 1211870 w 6884782"/>
              <a:gd name="connsiteY20326" fmla="*/ 4372019 h 5973007"/>
              <a:gd name="connsiteX20327" fmla="*/ 1211560 w 6884782"/>
              <a:gd name="connsiteY20327" fmla="*/ 4370367 h 5973007"/>
              <a:gd name="connsiteX20328" fmla="*/ 1215123 w 6884782"/>
              <a:gd name="connsiteY20328" fmla="*/ 4367063 h 5973007"/>
              <a:gd name="connsiteX20329" fmla="*/ 1211715 w 6884782"/>
              <a:gd name="connsiteY20329" fmla="*/ 4365720 h 5973007"/>
              <a:gd name="connsiteX20330" fmla="*/ 1218840 w 6884782"/>
              <a:gd name="connsiteY20330" fmla="*/ 4359525 h 5973007"/>
              <a:gd name="connsiteX20331" fmla="*/ 1218221 w 6884782"/>
              <a:gd name="connsiteY20331" fmla="*/ 4357667 h 5973007"/>
              <a:gd name="connsiteX20332" fmla="*/ 1214658 w 6884782"/>
              <a:gd name="connsiteY20332" fmla="*/ 4339390 h 5973007"/>
              <a:gd name="connsiteX20333" fmla="*/ 1223797 w 6884782"/>
              <a:gd name="connsiteY20333" fmla="*/ 4322249 h 5973007"/>
              <a:gd name="connsiteX20334" fmla="*/ 1247186 w 6884782"/>
              <a:gd name="connsiteY20334" fmla="*/ 4313576 h 5973007"/>
              <a:gd name="connsiteX20335" fmla="*/ 5808562 w 6884782"/>
              <a:gd name="connsiteY20335" fmla="*/ 4312045 h 5973007"/>
              <a:gd name="connsiteX20336" fmla="*/ 5812900 w 6884782"/>
              <a:gd name="connsiteY20336" fmla="*/ 4318757 h 5973007"/>
              <a:gd name="connsiteX20337" fmla="*/ 5811351 w 6884782"/>
              <a:gd name="connsiteY20337" fmla="*/ 4320822 h 5973007"/>
              <a:gd name="connsiteX20338" fmla="*/ 5808253 w 6884782"/>
              <a:gd name="connsiteY20338" fmla="*/ 4319893 h 5973007"/>
              <a:gd name="connsiteX20339" fmla="*/ 5806704 w 6884782"/>
              <a:gd name="connsiteY20339" fmla="*/ 4318550 h 5973007"/>
              <a:gd name="connsiteX20340" fmla="*/ 5808408 w 6884782"/>
              <a:gd name="connsiteY20340" fmla="*/ 4322371 h 5973007"/>
              <a:gd name="connsiteX20341" fmla="*/ 5807169 w 6884782"/>
              <a:gd name="connsiteY20341" fmla="*/ 4332697 h 5973007"/>
              <a:gd name="connsiteX20342" fmla="*/ 5803761 w 6884782"/>
              <a:gd name="connsiteY20342" fmla="*/ 4312562 h 5973007"/>
              <a:gd name="connsiteX20343" fmla="*/ 5805774 w 6884782"/>
              <a:gd name="connsiteY20343" fmla="*/ 4316485 h 5973007"/>
              <a:gd name="connsiteX20344" fmla="*/ 5805619 w 6884782"/>
              <a:gd name="connsiteY20344" fmla="*/ 4315039 h 5973007"/>
              <a:gd name="connsiteX20345" fmla="*/ 5808562 w 6884782"/>
              <a:gd name="connsiteY20345" fmla="*/ 4312045 h 5973007"/>
              <a:gd name="connsiteX20346" fmla="*/ 5393905 w 6884782"/>
              <a:gd name="connsiteY20346" fmla="*/ 4310600 h 5973007"/>
              <a:gd name="connsiteX20347" fmla="*/ 5404903 w 6884782"/>
              <a:gd name="connsiteY20347" fmla="*/ 4315866 h 5973007"/>
              <a:gd name="connsiteX20348" fmla="*/ 5402424 w 6884782"/>
              <a:gd name="connsiteY20348" fmla="*/ 4316175 h 5973007"/>
              <a:gd name="connsiteX20349" fmla="*/ 5393905 w 6884782"/>
              <a:gd name="connsiteY20349" fmla="*/ 4310600 h 5973007"/>
              <a:gd name="connsiteX20350" fmla="*/ 5538423 w 6884782"/>
              <a:gd name="connsiteY20350" fmla="*/ 4308947 h 5973007"/>
              <a:gd name="connsiteX20351" fmla="*/ 5538888 w 6884782"/>
              <a:gd name="connsiteY20351" fmla="*/ 4311322 h 5973007"/>
              <a:gd name="connsiteX20352" fmla="*/ 5540127 w 6884782"/>
              <a:gd name="connsiteY20352" fmla="*/ 4312252 h 5973007"/>
              <a:gd name="connsiteX20353" fmla="*/ 5539353 w 6884782"/>
              <a:gd name="connsiteY20353" fmla="*/ 4314936 h 5973007"/>
              <a:gd name="connsiteX20354" fmla="*/ 5538423 w 6884782"/>
              <a:gd name="connsiteY20354" fmla="*/ 4308947 h 5973007"/>
              <a:gd name="connsiteX20355" fmla="*/ 1074322 w 6884782"/>
              <a:gd name="connsiteY20355" fmla="*/ 4308930 h 5973007"/>
              <a:gd name="connsiteX20356" fmla="*/ 1079124 w 6884782"/>
              <a:gd name="connsiteY20356" fmla="*/ 4322249 h 5973007"/>
              <a:gd name="connsiteX20357" fmla="*/ 1080363 w 6884782"/>
              <a:gd name="connsiteY20357" fmla="*/ 4325347 h 5973007"/>
              <a:gd name="connsiteX20358" fmla="*/ 1081757 w 6884782"/>
              <a:gd name="connsiteY20358" fmla="*/ 4322249 h 5973007"/>
              <a:gd name="connsiteX20359" fmla="*/ 1086869 w 6884782"/>
              <a:gd name="connsiteY20359" fmla="*/ 4332885 h 5973007"/>
              <a:gd name="connsiteX20360" fmla="*/ 1083771 w 6884782"/>
              <a:gd name="connsiteY20360" fmla="*/ 4332059 h 5973007"/>
              <a:gd name="connsiteX20361" fmla="*/ 1081292 w 6884782"/>
              <a:gd name="connsiteY20361" fmla="*/ 4330820 h 5973007"/>
              <a:gd name="connsiteX20362" fmla="*/ 1081137 w 6884782"/>
              <a:gd name="connsiteY20362" fmla="*/ 4334227 h 5973007"/>
              <a:gd name="connsiteX20363" fmla="*/ 1077729 w 6884782"/>
              <a:gd name="connsiteY20363" fmla="*/ 4330407 h 5973007"/>
              <a:gd name="connsiteX20364" fmla="*/ 1077110 w 6884782"/>
              <a:gd name="connsiteY20364" fmla="*/ 4329891 h 5973007"/>
              <a:gd name="connsiteX20365" fmla="*/ 1074941 w 6884782"/>
              <a:gd name="connsiteY20365" fmla="*/ 4330820 h 5973007"/>
              <a:gd name="connsiteX20366" fmla="*/ 1071224 w 6884782"/>
              <a:gd name="connsiteY20366" fmla="*/ 4329891 h 5973007"/>
              <a:gd name="connsiteX20367" fmla="*/ 1073392 w 6884782"/>
              <a:gd name="connsiteY20367" fmla="*/ 4336293 h 5973007"/>
              <a:gd name="connsiteX20368" fmla="*/ 1072153 w 6884782"/>
              <a:gd name="connsiteY20368" fmla="*/ 4350748 h 5973007"/>
              <a:gd name="connsiteX20369" fmla="*/ 1068591 w 6884782"/>
              <a:gd name="connsiteY20369" fmla="*/ 4351987 h 5973007"/>
              <a:gd name="connsiteX20370" fmla="*/ 1061930 w 6884782"/>
              <a:gd name="connsiteY20370" fmla="*/ 4346308 h 5973007"/>
              <a:gd name="connsiteX20371" fmla="*/ 1064718 w 6884782"/>
              <a:gd name="connsiteY20371" fmla="*/ 4327515 h 5973007"/>
              <a:gd name="connsiteX20372" fmla="*/ 1064718 w 6884782"/>
              <a:gd name="connsiteY20372" fmla="*/ 4327412 h 5973007"/>
              <a:gd name="connsiteX20373" fmla="*/ 1060227 w 6884782"/>
              <a:gd name="connsiteY20373" fmla="*/ 4323799 h 5973007"/>
              <a:gd name="connsiteX20374" fmla="*/ 1063169 w 6884782"/>
              <a:gd name="connsiteY20374" fmla="*/ 4315848 h 5973007"/>
              <a:gd name="connsiteX20375" fmla="*/ 1068126 w 6884782"/>
              <a:gd name="connsiteY20375" fmla="*/ 4314815 h 5973007"/>
              <a:gd name="connsiteX20376" fmla="*/ 1068281 w 6884782"/>
              <a:gd name="connsiteY20376" fmla="*/ 4314092 h 5973007"/>
              <a:gd name="connsiteX20377" fmla="*/ 1074322 w 6884782"/>
              <a:gd name="connsiteY20377" fmla="*/ 4308930 h 5973007"/>
              <a:gd name="connsiteX20378" fmla="*/ 1121410 w 6884782"/>
              <a:gd name="connsiteY20378" fmla="*/ 4308723 h 5973007"/>
              <a:gd name="connsiteX20379" fmla="*/ 1125902 w 6884782"/>
              <a:gd name="connsiteY20379" fmla="*/ 4331646 h 5973007"/>
              <a:gd name="connsiteX20380" fmla="*/ 1119552 w 6884782"/>
              <a:gd name="connsiteY20380" fmla="*/ 4320288 h 5973007"/>
              <a:gd name="connsiteX20381" fmla="*/ 1121410 w 6884782"/>
              <a:gd name="connsiteY20381" fmla="*/ 4308723 h 5973007"/>
              <a:gd name="connsiteX20382" fmla="*/ 5730960 w 6884782"/>
              <a:gd name="connsiteY20382" fmla="*/ 4307605 h 5973007"/>
              <a:gd name="connsiteX20383" fmla="*/ 5733593 w 6884782"/>
              <a:gd name="connsiteY20383" fmla="*/ 4308225 h 5973007"/>
              <a:gd name="connsiteX20384" fmla="*/ 5730650 w 6884782"/>
              <a:gd name="connsiteY20384" fmla="*/ 4309567 h 5973007"/>
              <a:gd name="connsiteX20385" fmla="*/ 5730495 w 6884782"/>
              <a:gd name="connsiteY20385" fmla="*/ 4308431 h 5973007"/>
              <a:gd name="connsiteX20386" fmla="*/ 5730030 w 6884782"/>
              <a:gd name="connsiteY20386" fmla="*/ 4309051 h 5973007"/>
              <a:gd name="connsiteX20387" fmla="*/ 5730495 w 6884782"/>
              <a:gd name="connsiteY20387" fmla="*/ 4307915 h 5973007"/>
              <a:gd name="connsiteX20388" fmla="*/ 5730960 w 6884782"/>
              <a:gd name="connsiteY20388" fmla="*/ 4307605 h 5973007"/>
              <a:gd name="connsiteX20389" fmla="*/ 1177173 w 6884782"/>
              <a:gd name="connsiteY20389" fmla="*/ 4307484 h 5973007"/>
              <a:gd name="connsiteX20390" fmla="*/ 1157811 w 6884782"/>
              <a:gd name="connsiteY20390" fmla="*/ 4319978 h 5973007"/>
              <a:gd name="connsiteX20391" fmla="*/ 1165865 w 6884782"/>
              <a:gd name="connsiteY20391" fmla="*/ 4312027 h 5973007"/>
              <a:gd name="connsiteX20392" fmla="*/ 1177173 w 6884782"/>
              <a:gd name="connsiteY20392" fmla="*/ 4307484 h 5973007"/>
              <a:gd name="connsiteX20393" fmla="*/ 5737620 w 6884782"/>
              <a:gd name="connsiteY20393" fmla="*/ 4306469 h 5973007"/>
              <a:gd name="connsiteX20394" fmla="*/ 5740408 w 6884782"/>
              <a:gd name="connsiteY20394" fmla="*/ 4308225 h 5973007"/>
              <a:gd name="connsiteX20395" fmla="*/ 5736846 w 6884782"/>
              <a:gd name="connsiteY20395" fmla="*/ 4309154 h 5973007"/>
              <a:gd name="connsiteX20396" fmla="*/ 5733593 w 6884782"/>
              <a:gd name="connsiteY20396" fmla="*/ 4308018 h 5973007"/>
              <a:gd name="connsiteX20397" fmla="*/ 5737620 w 6884782"/>
              <a:gd name="connsiteY20397" fmla="*/ 4306469 h 5973007"/>
              <a:gd name="connsiteX20398" fmla="*/ 5588300 w 6884782"/>
              <a:gd name="connsiteY20398" fmla="*/ 4306366 h 5973007"/>
              <a:gd name="connsiteX20399" fmla="*/ 5594341 w 6884782"/>
              <a:gd name="connsiteY20399" fmla="*/ 4307708 h 5973007"/>
              <a:gd name="connsiteX20400" fmla="*/ 5595580 w 6884782"/>
              <a:gd name="connsiteY20400" fmla="*/ 4310290 h 5973007"/>
              <a:gd name="connsiteX20401" fmla="*/ 5595426 w 6884782"/>
              <a:gd name="connsiteY20401" fmla="*/ 4315556 h 5973007"/>
              <a:gd name="connsiteX20402" fmla="*/ 5596355 w 6884782"/>
              <a:gd name="connsiteY20402" fmla="*/ 4315556 h 5973007"/>
              <a:gd name="connsiteX20403" fmla="*/ 5591398 w 6884782"/>
              <a:gd name="connsiteY20403" fmla="*/ 4316692 h 5973007"/>
              <a:gd name="connsiteX20404" fmla="*/ 5588300 w 6884782"/>
              <a:gd name="connsiteY20404" fmla="*/ 4306366 h 5973007"/>
              <a:gd name="connsiteX20405" fmla="*/ 4638070 w 6884782"/>
              <a:gd name="connsiteY20405" fmla="*/ 4306327 h 5973007"/>
              <a:gd name="connsiteX20406" fmla="*/ 4643278 w 6884782"/>
              <a:gd name="connsiteY20406" fmla="*/ 4307192 h 5973007"/>
              <a:gd name="connsiteX20407" fmla="*/ 4637856 w 6884782"/>
              <a:gd name="connsiteY20407" fmla="*/ 4312665 h 5973007"/>
              <a:gd name="connsiteX20408" fmla="*/ 4635533 w 6884782"/>
              <a:gd name="connsiteY20408" fmla="*/ 4312045 h 5973007"/>
              <a:gd name="connsiteX20409" fmla="*/ 4638070 w 6884782"/>
              <a:gd name="connsiteY20409" fmla="*/ 4306327 h 5973007"/>
              <a:gd name="connsiteX20410" fmla="*/ 1135041 w 6884782"/>
              <a:gd name="connsiteY20410" fmla="*/ 4305109 h 5973007"/>
              <a:gd name="connsiteX20411" fmla="*/ 1137055 w 6884782"/>
              <a:gd name="connsiteY20411" fmla="*/ 4305729 h 5973007"/>
              <a:gd name="connsiteX20412" fmla="*/ 1137364 w 6884782"/>
              <a:gd name="connsiteY20412" fmla="*/ 4306142 h 5973007"/>
              <a:gd name="connsiteX20413" fmla="*/ 1141857 w 6884782"/>
              <a:gd name="connsiteY20413" fmla="*/ 4305212 h 5973007"/>
              <a:gd name="connsiteX20414" fmla="*/ 1140927 w 6884782"/>
              <a:gd name="connsiteY20414" fmla="*/ 4310169 h 5973007"/>
              <a:gd name="connsiteX20415" fmla="*/ 1140154 w 6884782"/>
              <a:gd name="connsiteY20415" fmla="*/ 4310478 h 5973007"/>
              <a:gd name="connsiteX20416" fmla="*/ 1142321 w 6884782"/>
              <a:gd name="connsiteY20416" fmla="*/ 4311201 h 5973007"/>
              <a:gd name="connsiteX20417" fmla="*/ 1154713 w 6884782"/>
              <a:gd name="connsiteY20417" fmla="*/ 4313060 h 5973007"/>
              <a:gd name="connsiteX20418" fmla="*/ 1154713 w 6884782"/>
              <a:gd name="connsiteY20418" fmla="*/ 4319462 h 5973007"/>
              <a:gd name="connsiteX20419" fmla="*/ 1153938 w 6884782"/>
              <a:gd name="connsiteY20419" fmla="*/ 4321114 h 5973007"/>
              <a:gd name="connsiteX20420" fmla="*/ 1155023 w 6884782"/>
              <a:gd name="connsiteY20420" fmla="*/ 4320288 h 5973007"/>
              <a:gd name="connsiteX20421" fmla="*/ 1156882 w 6884782"/>
              <a:gd name="connsiteY20421" fmla="*/ 4324005 h 5973007"/>
              <a:gd name="connsiteX20422" fmla="*/ 1153474 w 6884782"/>
              <a:gd name="connsiteY20422" fmla="*/ 4325141 h 5973007"/>
              <a:gd name="connsiteX20423" fmla="*/ 1152544 w 6884782"/>
              <a:gd name="connsiteY20423" fmla="*/ 4324315 h 5973007"/>
              <a:gd name="connsiteX20424" fmla="*/ 1151770 w 6884782"/>
              <a:gd name="connsiteY20424" fmla="*/ 4323489 h 5973007"/>
              <a:gd name="connsiteX20425" fmla="*/ 1150221 w 6884782"/>
              <a:gd name="connsiteY20425" fmla="*/ 4324934 h 5973007"/>
              <a:gd name="connsiteX20426" fmla="*/ 1142166 w 6884782"/>
              <a:gd name="connsiteY20426" fmla="*/ 4326173 h 5973007"/>
              <a:gd name="connsiteX20427" fmla="*/ 1140927 w 6884782"/>
              <a:gd name="connsiteY20427" fmla="*/ 4325450 h 5973007"/>
              <a:gd name="connsiteX20428" fmla="*/ 1140927 w 6884782"/>
              <a:gd name="connsiteY20428" fmla="*/ 4325760 h 5973007"/>
              <a:gd name="connsiteX20429" fmla="*/ 1140154 w 6884782"/>
              <a:gd name="connsiteY20429" fmla="*/ 4328239 h 5973007"/>
              <a:gd name="connsiteX20430" fmla="*/ 1141547 w 6884782"/>
              <a:gd name="connsiteY20430" fmla="*/ 4328032 h 5973007"/>
              <a:gd name="connsiteX20431" fmla="*/ 1138604 w 6884782"/>
              <a:gd name="connsiteY20431" fmla="*/ 4343934 h 5973007"/>
              <a:gd name="connsiteX20432" fmla="*/ 1137830 w 6884782"/>
              <a:gd name="connsiteY20432" fmla="*/ 4345585 h 5973007"/>
              <a:gd name="connsiteX20433" fmla="*/ 1137055 w 6884782"/>
              <a:gd name="connsiteY20433" fmla="*/ 4346102 h 5973007"/>
              <a:gd name="connsiteX20434" fmla="*/ 1136590 w 6884782"/>
              <a:gd name="connsiteY20434" fmla="*/ 4345792 h 5973007"/>
              <a:gd name="connsiteX20435" fmla="*/ 1136126 w 6884782"/>
              <a:gd name="connsiteY20435" fmla="*/ 4345792 h 5973007"/>
              <a:gd name="connsiteX20436" fmla="*/ 1136280 w 6884782"/>
              <a:gd name="connsiteY20436" fmla="*/ 4346308 h 5973007"/>
              <a:gd name="connsiteX20437" fmla="*/ 1135661 w 6884782"/>
              <a:gd name="connsiteY20437" fmla="*/ 4349406 h 5973007"/>
              <a:gd name="connsiteX20438" fmla="*/ 1137519 w 6884782"/>
              <a:gd name="connsiteY20438" fmla="*/ 4349509 h 5973007"/>
              <a:gd name="connsiteX20439" fmla="*/ 1140308 w 6884782"/>
              <a:gd name="connsiteY20439" fmla="*/ 4348580 h 5973007"/>
              <a:gd name="connsiteX20440" fmla="*/ 1141702 w 6884782"/>
              <a:gd name="connsiteY20440" fmla="*/ 4349922 h 5973007"/>
              <a:gd name="connsiteX20441" fmla="*/ 1139533 w 6884782"/>
              <a:gd name="connsiteY20441" fmla="*/ 4351574 h 5973007"/>
              <a:gd name="connsiteX20442" fmla="*/ 1137209 w 6884782"/>
              <a:gd name="connsiteY20442" fmla="*/ 4349922 h 5973007"/>
              <a:gd name="connsiteX20443" fmla="*/ 1135506 w 6884782"/>
              <a:gd name="connsiteY20443" fmla="*/ 4350129 h 5973007"/>
              <a:gd name="connsiteX20444" fmla="*/ 1135041 w 6884782"/>
              <a:gd name="connsiteY20444" fmla="*/ 4353743 h 5973007"/>
              <a:gd name="connsiteX20445" fmla="*/ 1130859 w 6884782"/>
              <a:gd name="connsiteY20445" fmla="*/ 4360661 h 5973007"/>
              <a:gd name="connsiteX20446" fmla="*/ 1132253 w 6884782"/>
              <a:gd name="connsiteY20446" fmla="*/ 4360454 h 5973007"/>
              <a:gd name="connsiteX20447" fmla="*/ 1134576 w 6884782"/>
              <a:gd name="connsiteY20447" fmla="*/ 4361074 h 5973007"/>
              <a:gd name="connsiteX20448" fmla="*/ 1134731 w 6884782"/>
              <a:gd name="connsiteY20448" fmla="*/ 4362003 h 5973007"/>
              <a:gd name="connsiteX20449" fmla="*/ 1135816 w 6884782"/>
              <a:gd name="connsiteY20449" fmla="*/ 4361797 h 5973007"/>
              <a:gd name="connsiteX20450" fmla="*/ 1139843 w 6884782"/>
              <a:gd name="connsiteY20450" fmla="*/ 4362003 h 5973007"/>
              <a:gd name="connsiteX20451" fmla="*/ 1135041 w 6884782"/>
              <a:gd name="connsiteY20451" fmla="*/ 4363242 h 5973007"/>
              <a:gd name="connsiteX20452" fmla="*/ 1134886 w 6884782"/>
              <a:gd name="connsiteY20452" fmla="*/ 4363242 h 5973007"/>
              <a:gd name="connsiteX20453" fmla="*/ 1134886 w 6884782"/>
              <a:gd name="connsiteY20453" fmla="*/ 4364068 h 5973007"/>
              <a:gd name="connsiteX20454" fmla="*/ 1135816 w 6884782"/>
              <a:gd name="connsiteY20454" fmla="*/ 4364481 h 5973007"/>
              <a:gd name="connsiteX20455" fmla="*/ 1135197 w 6884782"/>
              <a:gd name="connsiteY20455" fmla="*/ 4364998 h 5973007"/>
              <a:gd name="connsiteX20456" fmla="*/ 1135041 w 6884782"/>
              <a:gd name="connsiteY20456" fmla="*/ 4366134 h 5973007"/>
              <a:gd name="connsiteX20457" fmla="*/ 1131169 w 6884782"/>
              <a:gd name="connsiteY20457" fmla="*/ 4366443 h 5973007"/>
              <a:gd name="connsiteX20458" fmla="*/ 1127761 w 6884782"/>
              <a:gd name="connsiteY20458" fmla="*/ 4372742 h 5973007"/>
              <a:gd name="connsiteX20459" fmla="*/ 1125902 w 6884782"/>
              <a:gd name="connsiteY20459" fmla="*/ 4373774 h 5973007"/>
              <a:gd name="connsiteX20460" fmla="*/ 1125438 w 6884782"/>
              <a:gd name="connsiteY20460" fmla="*/ 4375530 h 5973007"/>
              <a:gd name="connsiteX20461" fmla="*/ 1124663 w 6884782"/>
              <a:gd name="connsiteY20461" fmla="*/ 4374497 h 5973007"/>
              <a:gd name="connsiteX20462" fmla="*/ 1124353 w 6884782"/>
              <a:gd name="connsiteY20462" fmla="*/ 4374704 h 5973007"/>
              <a:gd name="connsiteX20463" fmla="*/ 1124198 w 6884782"/>
              <a:gd name="connsiteY20463" fmla="*/ 4374291 h 5973007"/>
              <a:gd name="connsiteX20464" fmla="*/ 1123734 w 6884782"/>
              <a:gd name="connsiteY20464" fmla="*/ 4374394 h 5973007"/>
              <a:gd name="connsiteX20465" fmla="*/ 1121875 w 6884782"/>
              <a:gd name="connsiteY20465" fmla="*/ 4373774 h 5973007"/>
              <a:gd name="connsiteX20466" fmla="*/ 1121875 w 6884782"/>
              <a:gd name="connsiteY20466" fmla="*/ 4369541 h 5973007"/>
              <a:gd name="connsiteX20467" fmla="*/ 1126212 w 6884782"/>
              <a:gd name="connsiteY20467" fmla="*/ 4367476 h 5973007"/>
              <a:gd name="connsiteX20468" fmla="*/ 1128690 w 6884782"/>
              <a:gd name="connsiteY20468" fmla="*/ 4365617 h 5973007"/>
              <a:gd name="connsiteX20469" fmla="*/ 1130704 w 6884782"/>
              <a:gd name="connsiteY20469" fmla="*/ 4366134 h 5973007"/>
              <a:gd name="connsiteX20470" fmla="*/ 1129465 w 6884782"/>
              <a:gd name="connsiteY20470" fmla="*/ 4365514 h 5973007"/>
              <a:gd name="connsiteX20471" fmla="*/ 1128535 w 6884782"/>
              <a:gd name="connsiteY20471" fmla="*/ 4363965 h 5973007"/>
              <a:gd name="connsiteX20472" fmla="*/ 1129465 w 6884782"/>
              <a:gd name="connsiteY20472" fmla="*/ 4362313 h 5973007"/>
              <a:gd name="connsiteX20473" fmla="*/ 1130395 w 6884782"/>
              <a:gd name="connsiteY20473" fmla="*/ 4360971 h 5973007"/>
              <a:gd name="connsiteX20474" fmla="*/ 1125593 w 6884782"/>
              <a:gd name="connsiteY20474" fmla="*/ 4363242 h 5973007"/>
              <a:gd name="connsiteX20475" fmla="*/ 1128381 w 6884782"/>
              <a:gd name="connsiteY20475" fmla="*/ 4354052 h 5973007"/>
              <a:gd name="connsiteX20476" fmla="*/ 1129000 w 6884782"/>
              <a:gd name="connsiteY20476" fmla="*/ 4348373 h 5973007"/>
              <a:gd name="connsiteX20477" fmla="*/ 1128535 w 6884782"/>
              <a:gd name="connsiteY20477" fmla="*/ 4348064 h 5973007"/>
              <a:gd name="connsiteX20478" fmla="*/ 1127606 w 6884782"/>
              <a:gd name="connsiteY20478" fmla="*/ 4348477 h 5973007"/>
              <a:gd name="connsiteX20479" fmla="*/ 1127606 w 6884782"/>
              <a:gd name="connsiteY20479" fmla="*/ 4348683 h 5973007"/>
              <a:gd name="connsiteX20480" fmla="*/ 1124663 w 6884782"/>
              <a:gd name="connsiteY20480" fmla="*/ 4355911 h 5973007"/>
              <a:gd name="connsiteX20481" fmla="*/ 1123888 w 6884782"/>
              <a:gd name="connsiteY20481" fmla="*/ 4355085 h 5973007"/>
              <a:gd name="connsiteX20482" fmla="*/ 1124973 w 6884782"/>
              <a:gd name="connsiteY20482" fmla="*/ 4348786 h 5973007"/>
              <a:gd name="connsiteX20483" fmla="*/ 1125438 w 6884782"/>
              <a:gd name="connsiteY20483" fmla="*/ 4347547 h 5973007"/>
              <a:gd name="connsiteX20484" fmla="*/ 1123424 w 6884782"/>
              <a:gd name="connsiteY20484" fmla="*/ 4348373 h 5973007"/>
              <a:gd name="connsiteX20485" fmla="*/ 1110258 w 6884782"/>
              <a:gd name="connsiteY20485" fmla="*/ 4351574 h 5973007"/>
              <a:gd name="connsiteX20486" fmla="*/ 1106230 w 6884782"/>
              <a:gd name="connsiteY20486" fmla="*/ 4350748 h 5973007"/>
              <a:gd name="connsiteX20487" fmla="*/ 1106850 w 6884782"/>
              <a:gd name="connsiteY20487" fmla="*/ 4353123 h 5973007"/>
              <a:gd name="connsiteX20488" fmla="*/ 1109638 w 6884782"/>
              <a:gd name="connsiteY20488" fmla="*/ 4353123 h 5973007"/>
              <a:gd name="connsiteX20489" fmla="*/ 1114595 w 6884782"/>
              <a:gd name="connsiteY20489" fmla="*/ 4364378 h 5973007"/>
              <a:gd name="connsiteX20490" fmla="*/ 1111342 w 6884782"/>
              <a:gd name="connsiteY20490" fmla="*/ 4365720 h 5973007"/>
              <a:gd name="connsiteX20491" fmla="*/ 1110723 w 6884782"/>
              <a:gd name="connsiteY20491" fmla="*/ 4365824 h 5973007"/>
              <a:gd name="connsiteX20492" fmla="*/ 1112427 w 6884782"/>
              <a:gd name="connsiteY20492" fmla="*/ 4367579 h 5973007"/>
              <a:gd name="connsiteX20493" fmla="*/ 1112581 w 6884782"/>
              <a:gd name="connsiteY20493" fmla="*/ 4368302 h 5973007"/>
              <a:gd name="connsiteX20494" fmla="*/ 1113511 w 6884782"/>
              <a:gd name="connsiteY20494" fmla="*/ 4368612 h 5973007"/>
              <a:gd name="connsiteX20495" fmla="*/ 1113511 w 6884782"/>
              <a:gd name="connsiteY20495" fmla="*/ 4369335 h 5973007"/>
              <a:gd name="connsiteX20496" fmla="*/ 1112736 w 6884782"/>
              <a:gd name="connsiteY20496" fmla="*/ 4368921 h 5973007"/>
              <a:gd name="connsiteX20497" fmla="*/ 1112891 w 6884782"/>
              <a:gd name="connsiteY20497" fmla="*/ 4369851 h 5973007"/>
              <a:gd name="connsiteX20498" fmla="*/ 1113511 w 6884782"/>
              <a:gd name="connsiteY20498" fmla="*/ 4369541 h 5973007"/>
              <a:gd name="connsiteX20499" fmla="*/ 1113356 w 6884782"/>
              <a:gd name="connsiteY20499" fmla="*/ 4371400 h 5973007"/>
              <a:gd name="connsiteX20500" fmla="*/ 1113046 w 6884782"/>
              <a:gd name="connsiteY20500" fmla="*/ 4371090 h 5973007"/>
              <a:gd name="connsiteX20501" fmla="*/ 1112891 w 6884782"/>
              <a:gd name="connsiteY20501" fmla="*/ 4370264 h 5973007"/>
              <a:gd name="connsiteX20502" fmla="*/ 1111187 w 6884782"/>
              <a:gd name="connsiteY20502" fmla="*/ 4372948 h 5973007"/>
              <a:gd name="connsiteX20503" fmla="*/ 1107470 w 6884782"/>
              <a:gd name="connsiteY20503" fmla="*/ 4373878 h 5973007"/>
              <a:gd name="connsiteX20504" fmla="*/ 1102513 w 6884782"/>
              <a:gd name="connsiteY20504" fmla="*/ 4371503 h 5973007"/>
              <a:gd name="connsiteX20505" fmla="*/ 1103907 w 6884782"/>
              <a:gd name="connsiteY20505" fmla="*/ 4367992 h 5973007"/>
              <a:gd name="connsiteX20506" fmla="*/ 1106385 w 6884782"/>
              <a:gd name="connsiteY20506" fmla="*/ 4365204 h 5973007"/>
              <a:gd name="connsiteX20507" fmla="*/ 1102978 w 6884782"/>
              <a:gd name="connsiteY20507" fmla="*/ 4360041 h 5973007"/>
              <a:gd name="connsiteX20508" fmla="*/ 1103442 w 6884782"/>
              <a:gd name="connsiteY20508" fmla="*/ 4358183 h 5973007"/>
              <a:gd name="connsiteX20509" fmla="*/ 1102978 w 6884782"/>
              <a:gd name="connsiteY20509" fmla="*/ 4357976 h 5973007"/>
              <a:gd name="connsiteX20510" fmla="*/ 1102513 w 6884782"/>
              <a:gd name="connsiteY20510" fmla="*/ 4355395 h 5973007"/>
              <a:gd name="connsiteX20511" fmla="*/ 1103907 w 6884782"/>
              <a:gd name="connsiteY20511" fmla="*/ 4355498 h 5973007"/>
              <a:gd name="connsiteX20512" fmla="*/ 1104062 w 6884782"/>
              <a:gd name="connsiteY20512" fmla="*/ 4354878 h 5973007"/>
              <a:gd name="connsiteX20513" fmla="*/ 1104062 w 6884782"/>
              <a:gd name="connsiteY20513" fmla="*/ 4354362 h 5973007"/>
              <a:gd name="connsiteX20514" fmla="*/ 1103752 w 6884782"/>
              <a:gd name="connsiteY20514" fmla="*/ 4352401 h 5973007"/>
              <a:gd name="connsiteX20515" fmla="*/ 1105920 w 6884782"/>
              <a:gd name="connsiteY20515" fmla="*/ 4349819 h 5973007"/>
              <a:gd name="connsiteX20516" fmla="*/ 1106075 w 6884782"/>
              <a:gd name="connsiteY20516" fmla="*/ 4350026 h 5973007"/>
              <a:gd name="connsiteX20517" fmla="*/ 1107470 w 6884782"/>
              <a:gd name="connsiteY20517" fmla="*/ 4347341 h 5973007"/>
              <a:gd name="connsiteX20518" fmla="*/ 1120171 w 6884782"/>
              <a:gd name="connsiteY20518" fmla="*/ 4340629 h 5973007"/>
              <a:gd name="connsiteX20519" fmla="*/ 1126986 w 6884782"/>
              <a:gd name="connsiteY20519" fmla="*/ 4340526 h 5973007"/>
              <a:gd name="connsiteX20520" fmla="*/ 1123734 w 6884782"/>
              <a:gd name="connsiteY20520" fmla="*/ 4338358 h 5973007"/>
              <a:gd name="connsiteX20521" fmla="*/ 1116918 w 6884782"/>
              <a:gd name="connsiteY20521" fmla="*/ 4332678 h 5973007"/>
              <a:gd name="connsiteX20522" fmla="*/ 1116918 w 6884782"/>
              <a:gd name="connsiteY20522" fmla="*/ 4331852 h 5973007"/>
              <a:gd name="connsiteX20523" fmla="*/ 1118777 w 6884782"/>
              <a:gd name="connsiteY20523" fmla="*/ 4331233 h 5973007"/>
              <a:gd name="connsiteX20524" fmla="*/ 1122030 w 6884782"/>
              <a:gd name="connsiteY20524" fmla="*/ 4333401 h 5973007"/>
              <a:gd name="connsiteX20525" fmla="*/ 1127761 w 6884782"/>
              <a:gd name="connsiteY20525" fmla="*/ 4340216 h 5973007"/>
              <a:gd name="connsiteX20526" fmla="*/ 1128381 w 6884782"/>
              <a:gd name="connsiteY20526" fmla="*/ 4340526 h 5973007"/>
              <a:gd name="connsiteX20527" fmla="*/ 1130085 w 6884782"/>
              <a:gd name="connsiteY20527" fmla="*/ 4340526 h 5973007"/>
              <a:gd name="connsiteX20528" fmla="*/ 1132098 w 6884782"/>
              <a:gd name="connsiteY20528" fmla="*/ 4341455 h 5973007"/>
              <a:gd name="connsiteX20529" fmla="*/ 1134576 w 6884782"/>
              <a:gd name="connsiteY20529" fmla="*/ 4340629 h 5973007"/>
              <a:gd name="connsiteX20530" fmla="*/ 1135506 w 6884782"/>
              <a:gd name="connsiteY20530" fmla="*/ 4343417 h 5973007"/>
              <a:gd name="connsiteX20531" fmla="*/ 1136126 w 6884782"/>
              <a:gd name="connsiteY20531" fmla="*/ 4336293 h 5973007"/>
              <a:gd name="connsiteX20532" fmla="*/ 1135816 w 6884782"/>
              <a:gd name="connsiteY20532" fmla="*/ 4333505 h 5973007"/>
              <a:gd name="connsiteX20533" fmla="*/ 1135661 w 6884782"/>
              <a:gd name="connsiteY20533" fmla="*/ 4332782 h 5973007"/>
              <a:gd name="connsiteX20534" fmla="*/ 1135351 w 6884782"/>
              <a:gd name="connsiteY20534" fmla="*/ 4332678 h 5973007"/>
              <a:gd name="connsiteX20535" fmla="*/ 1134267 w 6884782"/>
              <a:gd name="connsiteY20535" fmla="*/ 4327309 h 5973007"/>
              <a:gd name="connsiteX20536" fmla="*/ 1134886 w 6884782"/>
              <a:gd name="connsiteY20536" fmla="*/ 4324625 h 5973007"/>
              <a:gd name="connsiteX20537" fmla="*/ 1134731 w 6884782"/>
              <a:gd name="connsiteY20537" fmla="*/ 4324625 h 5973007"/>
              <a:gd name="connsiteX20538" fmla="*/ 1133183 w 6884782"/>
              <a:gd name="connsiteY20538" fmla="*/ 4324315 h 5973007"/>
              <a:gd name="connsiteX20539" fmla="*/ 1132098 w 6884782"/>
              <a:gd name="connsiteY20539" fmla="*/ 4311408 h 5973007"/>
              <a:gd name="connsiteX20540" fmla="*/ 1132718 w 6884782"/>
              <a:gd name="connsiteY20540" fmla="*/ 4309652 h 5973007"/>
              <a:gd name="connsiteX20541" fmla="*/ 1131788 w 6884782"/>
              <a:gd name="connsiteY20541" fmla="*/ 4309652 h 5973007"/>
              <a:gd name="connsiteX20542" fmla="*/ 1132718 w 6884782"/>
              <a:gd name="connsiteY20542" fmla="*/ 4308826 h 5973007"/>
              <a:gd name="connsiteX20543" fmla="*/ 1132718 w 6884782"/>
              <a:gd name="connsiteY20543" fmla="*/ 4308620 h 5973007"/>
              <a:gd name="connsiteX20544" fmla="*/ 1132718 w 6884782"/>
              <a:gd name="connsiteY20544" fmla="*/ 4307794 h 5973007"/>
              <a:gd name="connsiteX20545" fmla="*/ 1135041 w 6884782"/>
              <a:gd name="connsiteY20545" fmla="*/ 4305109 h 5973007"/>
              <a:gd name="connsiteX20546" fmla="*/ 5266116 w 6884782"/>
              <a:gd name="connsiteY20546" fmla="*/ 4304817 h 5973007"/>
              <a:gd name="connsiteX20547" fmla="*/ 5280831 w 6884782"/>
              <a:gd name="connsiteY20547" fmla="*/ 4310393 h 5973007"/>
              <a:gd name="connsiteX20548" fmla="*/ 5279747 w 6884782"/>
              <a:gd name="connsiteY20548" fmla="*/ 4312148 h 5973007"/>
              <a:gd name="connsiteX20549" fmla="*/ 5277423 w 6884782"/>
              <a:gd name="connsiteY20549" fmla="*/ 4312665 h 5973007"/>
              <a:gd name="connsiteX20550" fmla="*/ 5269833 w 6884782"/>
              <a:gd name="connsiteY20550" fmla="*/ 4310186 h 5973007"/>
              <a:gd name="connsiteX20551" fmla="*/ 5268285 w 6884782"/>
              <a:gd name="connsiteY20551" fmla="*/ 4309257 h 5973007"/>
              <a:gd name="connsiteX20552" fmla="*/ 5266735 w 6884782"/>
              <a:gd name="connsiteY20552" fmla="*/ 4308431 h 5973007"/>
              <a:gd name="connsiteX20553" fmla="*/ 5265806 w 6884782"/>
              <a:gd name="connsiteY20553" fmla="*/ 4306882 h 5973007"/>
              <a:gd name="connsiteX20554" fmla="*/ 5266116 w 6884782"/>
              <a:gd name="connsiteY20554" fmla="*/ 4304817 h 5973007"/>
              <a:gd name="connsiteX20555" fmla="*/ 5883068 w 6884782"/>
              <a:gd name="connsiteY20555" fmla="*/ 4304714 h 5973007"/>
              <a:gd name="connsiteX20556" fmla="*/ 5885236 w 6884782"/>
              <a:gd name="connsiteY20556" fmla="*/ 4305437 h 5973007"/>
              <a:gd name="connsiteX20557" fmla="*/ 5888954 w 6884782"/>
              <a:gd name="connsiteY20557" fmla="*/ 4305540 h 5973007"/>
              <a:gd name="connsiteX20558" fmla="*/ 5888644 w 6884782"/>
              <a:gd name="connsiteY20558" fmla="*/ 4316898 h 5973007"/>
              <a:gd name="connsiteX20559" fmla="*/ 5879660 w 6884782"/>
              <a:gd name="connsiteY20559" fmla="*/ 4325985 h 5973007"/>
              <a:gd name="connsiteX20560" fmla="*/ 5876407 w 6884782"/>
              <a:gd name="connsiteY20560" fmla="*/ 4325778 h 5973007"/>
              <a:gd name="connsiteX20561" fmla="*/ 5869592 w 6884782"/>
              <a:gd name="connsiteY20561" fmla="*/ 4319067 h 5973007"/>
              <a:gd name="connsiteX20562" fmla="*/ 5869747 w 6884782"/>
              <a:gd name="connsiteY20562" fmla="*/ 4313181 h 5973007"/>
              <a:gd name="connsiteX20563" fmla="*/ 5883068 w 6884782"/>
              <a:gd name="connsiteY20563" fmla="*/ 4304714 h 5973007"/>
              <a:gd name="connsiteX20564" fmla="*/ 5037954 w 6884782"/>
              <a:gd name="connsiteY20564" fmla="*/ 4304404 h 5973007"/>
              <a:gd name="connsiteX20565" fmla="*/ 5045234 w 6884782"/>
              <a:gd name="connsiteY20565" fmla="*/ 4304507 h 5973007"/>
              <a:gd name="connsiteX20566" fmla="*/ 5045853 w 6884782"/>
              <a:gd name="connsiteY20566" fmla="*/ 4307089 h 5973007"/>
              <a:gd name="connsiteX20567" fmla="*/ 5040432 w 6884782"/>
              <a:gd name="connsiteY20567" fmla="*/ 4310186 h 5973007"/>
              <a:gd name="connsiteX20568" fmla="*/ 5038263 w 6884782"/>
              <a:gd name="connsiteY20568" fmla="*/ 4308741 h 5973007"/>
              <a:gd name="connsiteX20569" fmla="*/ 5037489 w 6884782"/>
              <a:gd name="connsiteY20569" fmla="*/ 4306882 h 5973007"/>
              <a:gd name="connsiteX20570" fmla="*/ 5037954 w 6884782"/>
              <a:gd name="connsiteY20570" fmla="*/ 4304404 h 5973007"/>
              <a:gd name="connsiteX20571" fmla="*/ 5375937 w 6884782"/>
              <a:gd name="connsiteY20571" fmla="*/ 4304301 h 5973007"/>
              <a:gd name="connsiteX20572" fmla="*/ 5377331 w 6884782"/>
              <a:gd name="connsiteY20572" fmla="*/ 4307811 h 5973007"/>
              <a:gd name="connsiteX20573" fmla="*/ 5372220 w 6884782"/>
              <a:gd name="connsiteY20573" fmla="*/ 4309464 h 5973007"/>
              <a:gd name="connsiteX20574" fmla="*/ 5370826 w 6884782"/>
              <a:gd name="connsiteY20574" fmla="*/ 4305953 h 5973007"/>
              <a:gd name="connsiteX20575" fmla="*/ 5375937 w 6884782"/>
              <a:gd name="connsiteY20575" fmla="*/ 4304301 h 5973007"/>
              <a:gd name="connsiteX20576" fmla="*/ 1541799 w 6884782"/>
              <a:gd name="connsiteY20576" fmla="*/ 4304076 h 5973007"/>
              <a:gd name="connsiteX20577" fmla="*/ 1542108 w 6884782"/>
              <a:gd name="connsiteY20577" fmla="*/ 4308413 h 5973007"/>
              <a:gd name="connsiteX20578" fmla="*/ 1541489 w 6884782"/>
              <a:gd name="connsiteY20578" fmla="*/ 4309343 h 5973007"/>
              <a:gd name="connsiteX20579" fmla="*/ 1541489 w 6884782"/>
              <a:gd name="connsiteY20579" fmla="*/ 4310272 h 5973007"/>
              <a:gd name="connsiteX20580" fmla="*/ 1539785 w 6884782"/>
              <a:gd name="connsiteY20580" fmla="*/ 4311821 h 5973007"/>
              <a:gd name="connsiteX20581" fmla="*/ 1538237 w 6884782"/>
              <a:gd name="connsiteY20581" fmla="*/ 4310685 h 5973007"/>
              <a:gd name="connsiteX20582" fmla="*/ 1536532 w 6884782"/>
              <a:gd name="connsiteY20582" fmla="*/ 4310478 h 5973007"/>
              <a:gd name="connsiteX20583" fmla="*/ 1536532 w 6884782"/>
              <a:gd name="connsiteY20583" fmla="*/ 4309652 h 5973007"/>
              <a:gd name="connsiteX20584" fmla="*/ 1535758 w 6884782"/>
              <a:gd name="connsiteY20584" fmla="*/ 4308723 h 5973007"/>
              <a:gd name="connsiteX20585" fmla="*/ 1537462 w 6884782"/>
              <a:gd name="connsiteY20585" fmla="*/ 4305419 h 5973007"/>
              <a:gd name="connsiteX20586" fmla="*/ 1539165 w 6884782"/>
              <a:gd name="connsiteY20586" fmla="*/ 4304490 h 5973007"/>
              <a:gd name="connsiteX20587" fmla="*/ 1539630 w 6884782"/>
              <a:gd name="connsiteY20587" fmla="*/ 4304696 h 5973007"/>
              <a:gd name="connsiteX20588" fmla="*/ 1539785 w 6884782"/>
              <a:gd name="connsiteY20588" fmla="*/ 4304490 h 5973007"/>
              <a:gd name="connsiteX20589" fmla="*/ 1541799 w 6884782"/>
              <a:gd name="connsiteY20589" fmla="*/ 4304076 h 5973007"/>
              <a:gd name="connsiteX20590" fmla="*/ 5940070 w 6884782"/>
              <a:gd name="connsiteY20590" fmla="*/ 4303062 h 5973007"/>
              <a:gd name="connsiteX20591" fmla="*/ 5943167 w 6884782"/>
              <a:gd name="connsiteY20591" fmla="*/ 4305953 h 5973007"/>
              <a:gd name="connsiteX20592" fmla="*/ 5941774 w 6884782"/>
              <a:gd name="connsiteY20592" fmla="*/ 4308638 h 5973007"/>
              <a:gd name="connsiteX20593" fmla="*/ 5940844 w 6884782"/>
              <a:gd name="connsiteY20593" fmla="*/ 4309051 h 5973007"/>
              <a:gd name="connsiteX20594" fmla="*/ 5940999 w 6884782"/>
              <a:gd name="connsiteY20594" fmla="*/ 4311632 h 5973007"/>
              <a:gd name="connsiteX20595" fmla="*/ 5936042 w 6884782"/>
              <a:gd name="connsiteY20595" fmla="*/ 4316382 h 5973007"/>
              <a:gd name="connsiteX20596" fmla="*/ 5931241 w 6884782"/>
              <a:gd name="connsiteY20596" fmla="*/ 4314936 h 5973007"/>
              <a:gd name="connsiteX20597" fmla="*/ 5934184 w 6884782"/>
              <a:gd name="connsiteY20597" fmla="*/ 4304817 h 5973007"/>
              <a:gd name="connsiteX20598" fmla="*/ 5934338 w 6884782"/>
              <a:gd name="connsiteY20598" fmla="*/ 4304817 h 5973007"/>
              <a:gd name="connsiteX20599" fmla="*/ 5940070 w 6884782"/>
              <a:gd name="connsiteY20599" fmla="*/ 4303062 h 5973007"/>
              <a:gd name="connsiteX20600" fmla="*/ 1190959 w 6884782"/>
              <a:gd name="connsiteY20600" fmla="*/ 4302941 h 5973007"/>
              <a:gd name="connsiteX20601" fmla="*/ 1185847 w 6884782"/>
              <a:gd name="connsiteY20601" fmla="*/ 4323179 h 5973007"/>
              <a:gd name="connsiteX20602" fmla="*/ 1181975 w 6884782"/>
              <a:gd name="connsiteY20602" fmla="*/ 4319772 h 5973007"/>
              <a:gd name="connsiteX20603" fmla="*/ 1182439 w 6884782"/>
              <a:gd name="connsiteY20603" fmla="*/ 4303457 h 5973007"/>
              <a:gd name="connsiteX20604" fmla="*/ 1190959 w 6884782"/>
              <a:gd name="connsiteY20604" fmla="*/ 4302941 h 5973007"/>
              <a:gd name="connsiteX20605" fmla="*/ 1216052 w 6884782"/>
              <a:gd name="connsiteY20605" fmla="*/ 4302837 h 5973007"/>
              <a:gd name="connsiteX20606" fmla="*/ 1204590 w 6884782"/>
              <a:gd name="connsiteY20606" fmla="*/ 4326277 h 5973007"/>
              <a:gd name="connsiteX20607" fmla="*/ 1197619 w 6884782"/>
              <a:gd name="connsiteY20607" fmla="*/ 4321217 h 5973007"/>
              <a:gd name="connsiteX20608" fmla="*/ 1216052 w 6884782"/>
              <a:gd name="connsiteY20608" fmla="*/ 4302837 h 5973007"/>
              <a:gd name="connsiteX20609" fmla="*/ 5774640 w 6884782"/>
              <a:gd name="connsiteY20609" fmla="*/ 4302545 h 5973007"/>
              <a:gd name="connsiteX20610" fmla="*/ 5777428 w 6884782"/>
              <a:gd name="connsiteY20610" fmla="*/ 4304301 h 5973007"/>
              <a:gd name="connsiteX20611" fmla="*/ 5776654 w 6884782"/>
              <a:gd name="connsiteY20611" fmla="*/ 4306986 h 5973007"/>
              <a:gd name="connsiteX20612" fmla="*/ 5775260 w 6884782"/>
              <a:gd name="connsiteY20612" fmla="*/ 4304817 h 5973007"/>
              <a:gd name="connsiteX20613" fmla="*/ 5774640 w 6884782"/>
              <a:gd name="connsiteY20613" fmla="*/ 4302545 h 5973007"/>
              <a:gd name="connsiteX20614" fmla="*/ 1511459 w 6884782"/>
              <a:gd name="connsiteY20614" fmla="*/ 4302257 h 5973007"/>
              <a:gd name="connsiteX20615" fmla="*/ 1519494 w 6884782"/>
              <a:gd name="connsiteY20615" fmla="*/ 4308207 h 5973007"/>
              <a:gd name="connsiteX20616" fmla="*/ 1514072 w 6884782"/>
              <a:gd name="connsiteY20616" fmla="*/ 4312853 h 5973007"/>
              <a:gd name="connsiteX20617" fmla="*/ 1515776 w 6884782"/>
              <a:gd name="connsiteY20617" fmla="*/ 4313679 h 5973007"/>
              <a:gd name="connsiteX20618" fmla="*/ 1516706 w 6884782"/>
              <a:gd name="connsiteY20618" fmla="*/ 4317397 h 5973007"/>
              <a:gd name="connsiteX20619" fmla="*/ 1517016 w 6884782"/>
              <a:gd name="connsiteY20619" fmla="*/ 4317293 h 5973007"/>
              <a:gd name="connsiteX20620" fmla="*/ 1520733 w 6884782"/>
              <a:gd name="connsiteY20620" fmla="*/ 4323179 h 5973007"/>
              <a:gd name="connsiteX20621" fmla="*/ 1513918 w 6884782"/>
              <a:gd name="connsiteY20621" fmla="*/ 4327619 h 5973007"/>
              <a:gd name="connsiteX20622" fmla="*/ 1510355 w 6884782"/>
              <a:gd name="connsiteY20622" fmla="*/ 4317913 h 5973007"/>
              <a:gd name="connsiteX20623" fmla="*/ 1511129 w 6884782"/>
              <a:gd name="connsiteY20623" fmla="*/ 4317913 h 5973007"/>
              <a:gd name="connsiteX20624" fmla="*/ 1509426 w 6884782"/>
              <a:gd name="connsiteY20624" fmla="*/ 4317190 h 5973007"/>
              <a:gd name="connsiteX20625" fmla="*/ 1509271 w 6884782"/>
              <a:gd name="connsiteY20625" fmla="*/ 4316674 h 5973007"/>
              <a:gd name="connsiteX20626" fmla="*/ 1504159 w 6884782"/>
              <a:gd name="connsiteY20626" fmla="*/ 4319978 h 5973007"/>
              <a:gd name="connsiteX20627" fmla="*/ 1500596 w 6884782"/>
              <a:gd name="connsiteY20627" fmla="*/ 4316571 h 5973007"/>
              <a:gd name="connsiteX20628" fmla="*/ 1500286 w 6884782"/>
              <a:gd name="connsiteY20628" fmla="*/ 4315022 h 5973007"/>
              <a:gd name="connsiteX20629" fmla="*/ 1499822 w 6884782"/>
              <a:gd name="connsiteY20629" fmla="*/ 4316571 h 5973007"/>
              <a:gd name="connsiteX20630" fmla="*/ 1498428 w 6884782"/>
              <a:gd name="connsiteY20630" fmla="*/ 4309652 h 5973007"/>
              <a:gd name="connsiteX20631" fmla="*/ 1500132 w 6884782"/>
              <a:gd name="connsiteY20631" fmla="*/ 4311717 h 5973007"/>
              <a:gd name="connsiteX20632" fmla="*/ 1503539 w 6884782"/>
              <a:gd name="connsiteY20632" fmla="*/ 4305212 h 5973007"/>
              <a:gd name="connsiteX20633" fmla="*/ 1511459 w 6884782"/>
              <a:gd name="connsiteY20633" fmla="*/ 4302257 h 5973007"/>
              <a:gd name="connsiteX20634" fmla="*/ 5972133 w 6884782"/>
              <a:gd name="connsiteY20634" fmla="*/ 4302029 h 5973007"/>
              <a:gd name="connsiteX20635" fmla="*/ 5969965 w 6884782"/>
              <a:gd name="connsiteY20635" fmla="*/ 4304611 h 5973007"/>
              <a:gd name="connsiteX20636" fmla="*/ 5968880 w 6884782"/>
              <a:gd name="connsiteY20636" fmla="*/ 4304507 h 5973007"/>
              <a:gd name="connsiteX20637" fmla="*/ 5972133 w 6884782"/>
              <a:gd name="connsiteY20637" fmla="*/ 4302029 h 5973007"/>
              <a:gd name="connsiteX20638" fmla="*/ 5772782 w 6884782"/>
              <a:gd name="connsiteY20638" fmla="*/ 4301203 h 5973007"/>
              <a:gd name="connsiteX20639" fmla="*/ 5774176 w 6884782"/>
              <a:gd name="connsiteY20639" fmla="*/ 4302133 h 5973007"/>
              <a:gd name="connsiteX20640" fmla="*/ 5773711 w 6884782"/>
              <a:gd name="connsiteY20640" fmla="*/ 4302855 h 5973007"/>
              <a:gd name="connsiteX20641" fmla="*/ 5772782 w 6884782"/>
              <a:gd name="connsiteY20641" fmla="*/ 4302029 h 5973007"/>
              <a:gd name="connsiteX20642" fmla="*/ 5772782 w 6884782"/>
              <a:gd name="connsiteY20642" fmla="*/ 4301203 h 5973007"/>
              <a:gd name="connsiteX20643" fmla="*/ 1375750 w 6884782"/>
              <a:gd name="connsiteY20643" fmla="*/ 4300049 h 5973007"/>
              <a:gd name="connsiteX20644" fmla="*/ 1380552 w 6884782"/>
              <a:gd name="connsiteY20644" fmla="*/ 4307174 h 5973007"/>
              <a:gd name="connsiteX20645" fmla="*/ 1376060 w 6884782"/>
              <a:gd name="connsiteY20645" fmla="*/ 4308000 h 5973007"/>
              <a:gd name="connsiteX20646" fmla="*/ 1372342 w 6884782"/>
              <a:gd name="connsiteY20646" fmla="*/ 4307587 h 5973007"/>
              <a:gd name="connsiteX20647" fmla="*/ 1367695 w 6884782"/>
              <a:gd name="connsiteY20647" fmla="*/ 4301702 h 5973007"/>
              <a:gd name="connsiteX20648" fmla="*/ 1375750 w 6884782"/>
              <a:gd name="connsiteY20648" fmla="*/ 4300049 h 5973007"/>
              <a:gd name="connsiteX20649" fmla="*/ 5515809 w 6884782"/>
              <a:gd name="connsiteY20649" fmla="*/ 4299964 h 5973007"/>
              <a:gd name="connsiteX20650" fmla="*/ 5518907 w 6884782"/>
              <a:gd name="connsiteY20650" fmla="*/ 4305334 h 5973007"/>
              <a:gd name="connsiteX20651" fmla="*/ 5513021 w 6884782"/>
              <a:gd name="connsiteY20651" fmla="*/ 4312148 h 5973007"/>
              <a:gd name="connsiteX20652" fmla="*/ 5510077 w 6884782"/>
              <a:gd name="connsiteY20652" fmla="*/ 4312045 h 5973007"/>
              <a:gd name="connsiteX20653" fmla="*/ 5506825 w 6884782"/>
              <a:gd name="connsiteY20653" fmla="*/ 4308947 h 5973007"/>
              <a:gd name="connsiteX20654" fmla="*/ 5515809 w 6884782"/>
              <a:gd name="connsiteY20654" fmla="*/ 4299964 h 5973007"/>
              <a:gd name="connsiteX20655" fmla="*/ 5425039 w 6884782"/>
              <a:gd name="connsiteY20655" fmla="*/ 4299654 h 5973007"/>
              <a:gd name="connsiteX20656" fmla="*/ 5425504 w 6884782"/>
              <a:gd name="connsiteY20656" fmla="*/ 4300067 h 5973007"/>
              <a:gd name="connsiteX20657" fmla="*/ 5433868 w 6884782"/>
              <a:gd name="connsiteY20657" fmla="*/ 4304404 h 5973007"/>
              <a:gd name="connsiteX20658" fmla="*/ 5434952 w 6884782"/>
              <a:gd name="connsiteY20658" fmla="*/ 4309567 h 5973007"/>
              <a:gd name="connsiteX20659" fmla="*/ 5432475 w 6884782"/>
              <a:gd name="connsiteY20659" fmla="*/ 4310496 h 5973007"/>
              <a:gd name="connsiteX20660" fmla="*/ 5428602 w 6884782"/>
              <a:gd name="connsiteY20660" fmla="*/ 4308225 h 5973007"/>
              <a:gd name="connsiteX20661" fmla="*/ 5428602 w 6884782"/>
              <a:gd name="connsiteY20661" fmla="*/ 4310083 h 5973007"/>
              <a:gd name="connsiteX20662" fmla="*/ 5426589 w 6884782"/>
              <a:gd name="connsiteY20662" fmla="*/ 4314213 h 5973007"/>
              <a:gd name="connsiteX20663" fmla="*/ 5420392 w 6884782"/>
              <a:gd name="connsiteY20663" fmla="*/ 4310290 h 5973007"/>
              <a:gd name="connsiteX20664" fmla="*/ 5420702 w 6884782"/>
              <a:gd name="connsiteY20664" fmla="*/ 4300894 h 5973007"/>
              <a:gd name="connsiteX20665" fmla="*/ 5425039 w 6884782"/>
              <a:gd name="connsiteY20665" fmla="*/ 4299654 h 5973007"/>
              <a:gd name="connsiteX20666" fmla="*/ 5473831 w 6884782"/>
              <a:gd name="connsiteY20666" fmla="*/ 4299344 h 5973007"/>
              <a:gd name="connsiteX20667" fmla="*/ 5477239 w 6884782"/>
              <a:gd name="connsiteY20667" fmla="*/ 4306160 h 5973007"/>
              <a:gd name="connsiteX20668" fmla="*/ 5475690 w 6884782"/>
              <a:gd name="connsiteY20668" fmla="*/ 4307089 h 5973007"/>
              <a:gd name="connsiteX20669" fmla="*/ 5473831 w 6884782"/>
              <a:gd name="connsiteY20669" fmla="*/ 4307708 h 5973007"/>
              <a:gd name="connsiteX20670" fmla="*/ 5471663 w 6884782"/>
              <a:gd name="connsiteY20670" fmla="*/ 4307708 h 5973007"/>
              <a:gd name="connsiteX20671" fmla="*/ 5469030 w 6884782"/>
              <a:gd name="connsiteY20671" fmla="*/ 4306572 h 5973007"/>
              <a:gd name="connsiteX20672" fmla="*/ 5466861 w 6884782"/>
              <a:gd name="connsiteY20672" fmla="*/ 4303268 h 5973007"/>
              <a:gd name="connsiteX20673" fmla="*/ 5466707 w 6884782"/>
              <a:gd name="connsiteY20673" fmla="*/ 4301410 h 5973007"/>
              <a:gd name="connsiteX20674" fmla="*/ 5473831 w 6884782"/>
              <a:gd name="connsiteY20674" fmla="*/ 4299344 h 5973007"/>
              <a:gd name="connsiteX20675" fmla="*/ 1361190 w 6884782"/>
              <a:gd name="connsiteY20675" fmla="*/ 4299327 h 5973007"/>
              <a:gd name="connsiteX20676" fmla="*/ 1363978 w 6884782"/>
              <a:gd name="connsiteY20676" fmla="*/ 4305522 h 5973007"/>
              <a:gd name="connsiteX20677" fmla="*/ 1358557 w 6884782"/>
              <a:gd name="connsiteY20677" fmla="*/ 4304386 h 5973007"/>
              <a:gd name="connsiteX20678" fmla="*/ 1361190 w 6884782"/>
              <a:gd name="connsiteY20678" fmla="*/ 4299327 h 5973007"/>
              <a:gd name="connsiteX20679" fmla="*/ 5533157 w 6884782"/>
              <a:gd name="connsiteY20679" fmla="*/ 4299241 h 5973007"/>
              <a:gd name="connsiteX20680" fmla="*/ 5535635 w 6884782"/>
              <a:gd name="connsiteY20680" fmla="*/ 4299861 h 5973007"/>
              <a:gd name="connsiteX20681" fmla="*/ 5535480 w 6884782"/>
              <a:gd name="connsiteY20681" fmla="*/ 4302855 h 5973007"/>
              <a:gd name="connsiteX20682" fmla="*/ 5537804 w 6884782"/>
              <a:gd name="connsiteY20682" fmla="*/ 4305437 h 5973007"/>
              <a:gd name="connsiteX20683" fmla="*/ 5537649 w 6884782"/>
              <a:gd name="connsiteY20683" fmla="*/ 4308534 h 5973007"/>
              <a:gd name="connsiteX20684" fmla="*/ 5536720 w 6884782"/>
              <a:gd name="connsiteY20684" fmla="*/ 4308741 h 5973007"/>
              <a:gd name="connsiteX20685" fmla="*/ 5537029 w 6884782"/>
              <a:gd name="connsiteY20685" fmla="*/ 4308018 h 5973007"/>
              <a:gd name="connsiteX20686" fmla="*/ 5536565 w 6884782"/>
              <a:gd name="connsiteY20686" fmla="*/ 4305746 h 5973007"/>
              <a:gd name="connsiteX20687" fmla="*/ 5532847 w 6884782"/>
              <a:gd name="connsiteY20687" fmla="*/ 4301203 h 5973007"/>
              <a:gd name="connsiteX20688" fmla="*/ 5533157 w 6884782"/>
              <a:gd name="connsiteY20688" fmla="*/ 4299241 h 5973007"/>
              <a:gd name="connsiteX20689" fmla="*/ 1299231 w 6884782"/>
              <a:gd name="connsiteY20689" fmla="*/ 4299017 h 5973007"/>
              <a:gd name="connsiteX20690" fmla="*/ 1315341 w 6884782"/>
              <a:gd name="connsiteY20690" fmla="*/ 4305315 h 5973007"/>
              <a:gd name="connsiteX20691" fmla="*/ 1319367 w 6884782"/>
              <a:gd name="connsiteY20691" fmla="*/ 4326793 h 5973007"/>
              <a:gd name="connsiteX20692" fmla="*/ 1304962 w 6884782"/>
              <a:gd name="connsiteY20692" fmla="*/ 4332575 h 5973007"/>
              <a:gd name="connsiteX20693" fmla="*/ 1296598 w 6884782"/>
              <a:gd name="connsiteY20693" fmla="*/ 4329374 h 5973007"/>
              <a:gd name="connsiteX20694" fmla="*/ 1293810 w 6884782"/>
              <a:gd name="connsiteY20694" fmla="*/ 4306555 h 5973007"/>
              <a:gd name="connsiteX20695" fmla="*/ 1296598 w 6884782"/>
              <a:gd name="connsiteY20695" fmla="*/ 4304076 h 5973007"/>
              <a:gd name="connsiteX20696" fmla="*/ 1299231 w 6884782"/>
              <a:gd name="connsiteY20696" fmla="*/ 4299017 h 5973007"/>
              <a:gd name="connsiteX20697" fmla="*/ 5770458 w 6884782"/>
              <a:gd name="connsiteY20697" fmla="*/ 4298725 h 5973007"/>
              <a:gd name="connsiteX20698" fmla="*/ 5770303 w 6884782"/>
              <a:gd name="connsiteY20698" fmla="*/ 4300584 h 5973007"/>
              <a:gd name="connsiteX20699" fmla="*/ 5769219 w 6884782"/>
              <a:gd name="connsiteY20699" fmla="*/ 4298932 h 5973007"/>
              <a:gd name="connsiteX20700" fmla="*/ 5770458 w 6884782"/>
              <a:gd name="connsiteY20700" fmla="*/ 4298725 h 5973007"/>
              <a:gd name="connsiteX20701" fmla="*/ 725960 w 6884782"/>
              <a:gd name="connsiteY20701" fmla="*/ 4298501 h 5973007"/>
              <a:gd name="connsiteX20702" fmla="*/ 721623 w 6884782"/>
              <a:gd name="connsiteY20702" fmla="*/ 4300153 h 5973007"/>
              <a:gd name="connsiteX20703" fmla="*/ 716511 w 6884782"/>
              <a:gd name="connsiteY20703" fmla="*/ 4301599 h 5973007"/>
              <a:gd name="connsiteX20704" fmla="*/ 718216 w 6884782"/>
              <a:gd name="connsiteY20704" fmla="*/ 4302114 h 5973007"/>
              <a:gd name="connsiteX20705" fmla="*/ 721468 w 6884782"/>
              <a:gd name="connsiteY20705" fmla="*/ 4302114 h 5973007"/>
              <a:gd name="connsiteX20706" fmla="*/ 724101 w 6884782"/>
              <a:gd name="connsiteY20706" fmla="*/ 4300669 h 5973007"/>
              <a:gd name="connsiteX20707" fmla="*/ 5952152 w 6884782"/>
              <a:gd name="connsiteY20707" fmla="*/ 4297486 h 5973007"/>
              <a:gd name="connsiteX20708" fmla="*/ 5951687 w 6884782"/>
              <a:gd name="connsiteY20708" fmla="*/ 4303372 h 5973007"/>
              <a:gd name="connsiteX20709" fmla="*/ 5946575 w 6884782"/>
              <a:gd name="connsiteY20709" fmla="*/ 4302133 h 5973007"/>
              <a:gd name="connsiteX20710" fmla="*/ 5952152 w 6884782"/>
              <a:gd name="connsiteY20710" fmla="*/ 4297486 h 5973007"/>
              <a:gd name="connsiteX20711" fmla="*/ 5629038 w 6884782"/>
              <a:gd name="connsiteY20711" fmla="*/ 4297383 h 5973007"/>
              <a:gd name="connsiteX20712" fmla="*/ 5651653 w 6884782"/>
              <a:gd name="connsiteY20712" fmla="*/ 4306572 h 5973007"/>
              <a:gd name="connsiteX20713" fmla="*/ 5655990 w 6884782"/>
              <a:gd name="connsiteY20713" fmla="*/ 4312562 h 5973007"/>
              <a:gd name="connsiteX20714" fmla="*/ 5639725 w 6884782"/>
              <a:gd name="connsiteY20714" fmla="*/ 4310703 h 5973007"/>
              <a:gd name="connsiteX20715" fmla="*/ 5633375 w 6884782"/>
              <a:gd name="connsiteY20715" fmla="*/ 4326501 h 5973007"/>
              <a:gd name="connsiteX20716" fmla="*/ 5631361 w 6884782"/>
              <a:gd name="connsiteY20716" fmla="*/ 4322474 h 5973007"/>
              <a:gd name="connsiteX20717" fmla="*/ 5633220 w 6884782"/>
              <a:gd name="connsiteY20717" fmla="*/ 4306779 h 5973007"/>
              <a:gd name="connsiteX20718" fmla="*/ 5629038 w 6884782"/>
              <a:gd name="connsiteY20718" fmla="*/ 4297383 h 5973007"/>
              <a:gd name="connsiteX20719" fmla="*/ 1398985 w 6884782"/>
              <a:gd name="connsiteY20719" fmla="*/ 4297262 h 5973007"/>
              <a:gd name="connsiteX20720" fmla="*/ 1397745 w 6884782"/>
              <a:gd name="connsiteY20720" fmla="*/ 4303973 h 5973007"/>
              <a:gd name="connsiteX20721" fmla="*/ 1395577 w 6884782"/>
              <a:gd name="connsiteY20721" fmla="*/ 4304076 h 5973007"/>
              <a:gd name="connsiteX20722" fmla="*/ 1394492 w 6884782"/>
              <a:gd name="connsiteY20722" fmla="*/ 4302941 h 5973007"/>
              <a:gd name="connsiteX20723" fmla="*/ 1393563 w 6884782"/>
              <a:gd name="connsiteY20723" fmla="*/ 4298914 h 5973007"/>
              <a:gd name="connsiteX20724" fmla="*/ 1398985 w 6884782"/>
              <a:gd name="connsiteY20724" fmla="*/ 4297262 h 5973007"/>
              <a:gd name="connsiteX20725" fmla="*/ 5662495 w 6884782"/>
              <a:gd name="connsiteY20725" fmla="*/ 4296763 h 5973007"/>
              <a:gd name="connsiteX20726" fmla="*/ 5667917 w 6884782"/>
              <a:gd name="connsiteY20726" fmla="*/ 4301306 h 5973007"/>
              <a:gd name="connsiteX20727" fmla="*/ 5663890 w 6884782"/>
              <a:gd name="connsiteY20727" fmla="*/ 4300480 h 5973007"/>
              <a:gd name="connsiteX20728" fmla="*/ 5662495 w 6884782"/>
              <a:gd name="connsiteY20728" fmla="*/ 4296763 h 5973007"/>
              <a:gd name="connsiteX20729" fmla="*/ 5562587 w 6884782"/>
              <a:gd name="connsiteY20729" fmla="*/ 4296660 h 5973007"/>
              <a:gd name="connsiteX20730" fmla="*/ 5570332 w 6884782"/>
              <a:gd name="connsiteY20730" fmla="*/ 4298828 h 5973007"/>
              <a:gd name="connsiteX20731" fmla="*/ 5560574 w 6884782"/>
              <a:gd name="connsiteY20731" fmla="*/ 4315039 h 5973007"/>
              <a:gd name="connsiteX20732" fmla="*/ 5558560 w 6884782"/>
              <a:gd name="connsiteY20732" fmla="*/ 4311012 h 5973007"/>
              <a:gd name="connsiteX20733" fmla="*/ 5562587 w 6884782"/>
              <a:gd name="connsiteY20733" fmla="*/ 4296660 h 5973007"/>
              <a:gd name="connsiteX20734" fmla="*/ 5859330 w 6884782"/>
              <a:gd name="connsiteY20734" fmla="*/ 4296363 h 5973007"/>
              <a:gd name="connsiteX20735" fmla="*/ 5864016 w 6884782"/>
              <a:gd name="connsiteY20735" fmla="*/ 4299138 h 5973007"/>
              <a:gd name="connsiteX20736" fmla="*/ 5863241 w 6884782"/>
              <a:gd name="connsiteY20736" fmla="*/ 4300687 h 5973007"/>
              <a:gd name="connsiteX20737" fmla="*/ 5865100 w 6884782"/>
              <a:gd name="connsiteY20737" fmla="*/ 4300480 h 5973007"/>
              <a:gd name="connsiteX20738" fmla="*/ 5867888 w 6884782"/>
              <a:gd name="connsiteY20738" fmla="*/ 4300997 h 5973007"/>
              <a:gd name="connsiteX20739" fmla="*/ 5868508 w 6884782"/>
              <a:gd name="connsiteY20739" fmla="*/ 4307295 h 5973007"/>
              <a:gd name="connsiteX20740" fmla="*/ 5866494 w 6884782"/>
              <a:gd name="connsiteY20740" fmla="*/ 4309257 h 5973007"/>
              <a:gd name="connsiteX20741" fmla="*/ 5861537 w 6884782"/>
              <a:gd name="connsiteY20741" fmla="*/ 4310806 h 5973007"/>
              <a:gd name="connsiteX20742" fmla="*/ 5861692 w 6884782"/>
              <a:gd name="connsiteY20742" fmla="*/ 4311529 h 5973007"/>
              <a:gd name="connsiteX20743" fmla="*/ 5859214 w 6884782"/>
              <a:gd name="connsiteY20743" fmla="*/ 4307295 h 5973007"/>
              <a:gd name="connsiteX20744" fmla="*/ 5859369 w 6884782"/>
              <a:gd name="connsiteY20744" fmla="*/ 4306572 h 5973007"/>
              <a:gd name="connsiteX20745" fmla="*/ 5858904 w 6884782"/>
              <a:gd name="connsiteY20745" fmla="*/ 4307192 h 5973007"/>
              <a:gd name="connsiteX20746" fmla="*/ 5854257 w 6884782"/>
              <a:gd name="connsiteY20746" fmla="*/ 4303372 h 5973007"/>
              <a:gd name="connsiteX20747" fmla="*/ 5853947 w 6884782"/>
              <a:gd name="connsiteY20747" fmla="*/ 4296763 h 5973007"/>
              <a:gd name="connsiteX20748" fmla="*/ 5859330 w 6884782"/>
              <a:gd name="connsiteY20748" fmla="*/ 4296363 h 5973007"/>
              <a:gd name="connsiteX20749" fmla="*/ 5933409 w 6884782"/>
              <a:gd name="connsiteY20749" fmla="*/ 4296350 h 5973007"/>
              <a:gd name="connsiteX20750" fmla="*/ 5938985 w 6884782"/>
              <a:gd name="connsiteY20750" fmla="*/ 4299654 h 5973007"/>
              <a:gd name="connsiteX20751" fmla="*/ 5937746 w 6884782"/>
              <a:gd name="connsiteY20751" fmla="*/ 4299861 h 5973007"/>
              <a:gd name="connsiteX20752" fmla="*/ 5936197 w 6884782"/>
              <a:gd name="connsiteY20752" fmla="*/ 4298828 h 5973007"/>
              <a:gd name="connsiteX20753" fmla="*/ 5933409 w 6884782"/>
              <a:gd name="connsiteY20753" fmla="*/ 4296350 h 5973007"/>
              <a:gd name="connsiteX20754" fmla="*/ 5542915 w 6884782"/>
              <a:gd name="connsiteY20754" fmla="*/ 4296247 h 5973007"/>
              <a:gd name="connsiteX20755" fmla="*/ 5550196 w 6884782"/>
              <a:gd name="connsiteY20755" fmla="*/ 4323610 h 5973007"/>
              <a:gd name="connsiteX20756" fmla="*/ 5542915 w 6884782"/>
              <a:gd name="connsiteY20756" fmla="*/ 4296247 h 5973007"/>
              <a:gd name="connsiteX20757" fmla="*/ 5474142 w 6884782"/>
              <a:gd name="connsiteY20757" fmla="*/ 4296247 h 5973007"/>
              <a:gd name="connsiteX20758" fmla="*/ 5475535 w 6884782"/>
              <a:gd name="connsiteY20758" fmla="*/ 4296247 h 5973007"/>
              <a:gd name="connsiteX20759" fmla="*/ 5474761 w 6884782"/>
              <a:gd name="connsiteY20759" fmla="*/ 4296970 h 5973007"/>
              <a:gd name="connsiteX20760" fmla="*/ 5474142 w 6884782"/>
              <a:gd name="connsiteY20760" fmla="*/ 4296247 h 5973007"/>
              <a:gd name="connsiteX20761" fmla="*/ 5476620 w 6884782"/>
              <a:gd name="connsiteY20761" fmla="*/ 4295731 h 5973007"/>
              <a:gd name="connsiteX20762" fmla="*/ 5478014 w 6884782"/>
              <a:gd name="connsiteY20762" fmla="*/ 4299035 h 5973007"/>
              <a:gd name="connsiteX20763" fmla="*/ 5476620 w 6884782"/>
              <a:gd name="connsiteY20763" fmla="*/ 4299654 h 5973007"/>
              <a:gd name="connsiteX20764" fmla="*/ 5474451 w 6884782"/>
              <a:gd name="connsiteY20764" fmla="*/ 4298415 h 5973007"/>
              <a:gd name="connsiteX20765" fmla="*/ 1187396 w 6884782"/>
              <a:gd name="connsiteY20765" fmla="*/ 4295197 h 5973007"/>
              <a:gd name="connsiteX20766" fmla="*/ 1191113 w 6884782"/>
              <a:gd name="connsiteY20766" fmla="*/ 4299637 h 5973007"/>
              <a:gd name="connsiteX20767" fmla="*/ 1189255 w 6884782"/>
              <a:gd name="connsiteY20767" fmla="*/ 4300669 h 5973007"/>
              <a:gd name="connsiteX20768" fmla="*/ 1185692 w 6884782"/>
              <a:gd name="connsiteY20768" fmla="*/ 4297158 h 5973007"/>
              <a:gd name="connsiteX20769" fmla="*/ 1187396 w 6884782"/>
              <a:gd name="connsiteY20769" fmla="*/ 4295197 h 5973007"/>
              <a:gd name="connsiteX20770" fmla="*/ 5485294 w 6884782"/>
              <a:gd name="connsiteY20770" fmla="*/ 4291600 h 5973007"/>
              <a:gd name="connsiteX20771" fmla="*/ 5487153 w 6884782"/>
              <a:gd name="connsiteY20771" fmla="*/ 4293252 h 5973007"/>
              <a:gd name="connsiteX20772" fmla="*/ 5487927 w 6884782"/>
              <a:gd name="connsiteY20772" fmla="*/ 4298415 h 5973007"/>
              <a:gd name="connsiteX20773" fmla="*/ 5486378 w 6884782"/>
              <a:gd name="connsiteY20773" fmla="*/ 4299344 h 5973007"/>
              <a:gd name="connsiteX20774" fmla="*/ 5483745 w 6884782"/>
              <a:gd name="connsiteY20774" fmla="*/ 4292633 h 5973007"/>
              <a:gd name="connsiteX20775" fmla="*/ 5485294 w 6884782"/>
              <a:gd name="connsiteY20775" fmla="*/ 4291600 h 5973007"/>
              <a:gd name="connsiteX20776" fmla="*/ 1470547 w 6884782"/>
              <a:gd name="connsiteY20776" fmla="*/ 4291273 h 5973007"/>
              <a:gd name="connsiteX20777" fmla="*/ 1476742 w 6884782"/>
              <a:gd name="connsiteY20777" fmla="*/ 4298501 h 5973007"/>
              <a:gd name="connsiteX20778" fmla="*/ 1476433 w 6884782"/>
              <a:gd name="connsiteY20778" fmla="*/ 4304490 h 5973007"/>
              <a:gd name="connsiteX20779" fmla="*/ 1474729 w 6884782"/>
              <a:gd name="connsiteY20779" fmla="*/ 4306968 h 5973007"/>
              <a:gd name="connsiteX20780" fmla="*/ 1480925 w 6884782"/>
              <a:gd name="connsiteY20780" fmla="*/ 4304180 h 5973007"/>
              <a:gd name="connsiteX20781" fmla="*/ 1495639 w 6884782"/>
              <a:gd name="connsiteY20781" fmla="*/ 4304180 h 5973007"/>
              <a:gd name="connsiteX20782" fmla="*/ 1485571 w 6884782"/>
              <a:gd name="connsiteY20782" fmla="*/ 4309756 h 5973007"/>
              <a:gd name="connsiteX20783" fmla="*/ 1486346 w 6884782"/>
              <a:gd name="connsiteY20783" fmla="*/ 4311201 h 5973007"/>
              <a:gd name="connsiteX20784" fmla="*/ 1482164 w 6884782"/>
              <a:gd name="connsiteY20784" fmla="*/ 4317603 h 5973007"/>
              <a:gd name="connsiteX20785" fmla="*/ 1477207 w 6884782"/>
              <a:gd name="connsiteY20785" fmla="*/ 4316777 h 5973007"/>
              <a:gd name="connsiteX20786" fmla="*/ 1476897 w 6884782"/>
              <a:gd name="connsiteY20786" fmla="*/ 4313782 h 5973007"/>
              <a:gd name="connsiteX20787" fmla="*/ 1476897 w 6884782"/>
              <a:gd name="connsiteY20787" fmla="*/ 4312750 h 5973007"/>
              <a:gd name="connsiteX20788" fmla="*/ 1471631 w 6884782"/>
              <a:gd name="connsiteY20788" fmla="*/ 4313163 h 5973007"/>
              <a:gd name="connsiteX20789" fmla="*/ 1471770 w 6884782"/>
              <a:gd name="connsiteY20789" fmla="*/ 4311409 h 5973007"/>
              <a:gd name="connsiteX20790" fmla="*/ 1471786 w 6884782"/>
              <a:gd name="connsiteY20790" fmla="*/ 4311408 h 5973007"/>
              <a:gd name="connsiteX20791" fmla="*/ 1471786 w 6884782"/>
              <a:gd name="connsiteY20791" fmla="*/ 4311201 h 5973007"/>
              <a:gd name="connsiteX20792" fmla="*/ 1471770 w 6884782"/>
              <a:gd name="connsiteY20792" fmla="*/ 4311409 h 5973007"/>
              <a:gd name="connsiteX20793" fmla="*/ 1462492 w 6884782"/>
              <a:gd name="connsiteY20793" fmla="*/ 4311924 h 5973007"/>
              <a:gd name="connsiteX20794" fmla="*/ 1460478 w 6884782"/>
              <a:gd name="connsiteY20794" fmla="*/ 4310995 h 5973007"/>
              <a:gd name="connsiteX20795" fmla="*/ 1456761 w 6884782"/>
              <a:gd name="connsiteY20795" fmla="*/ 4310685 h 5973007"/>
              <a:gd name="connsiteX20796" fmla="*/ 1457690 w 6884782"/>
              <a:gd name="connsiteY20796" fmla="*/ 4299327 h 5973007"/>
              <a:gd name="connsiteX20797" fmla="*/ 1470547 w 6884782"/>
              <a:gd name="connsiteY20797" fmla="*/ 4291273 h 5973007"/>
              <a:gd name="connsiteX20798" fmla="*/ 5118035 w 6884782"/>
              <a:gd name="connsiteY20798" fmla="*/ 4291084 h 5973007"/>
              <a:gd name="connsiteX20799" fmla="*/ 5120823 w 6884782"/>
              <a:gd name="connsiteY20799" fmla="*/ 4300790 h 5973007"/>
              <a:gd name="connsiteX20800" fmla="*/ 5114782 w 6884782"/>
              <a:gd name="connsiteY20800" fmla="*/ 4301926 h 5973007"/>
              <a:gd name="connsiteX20801" fmla="*/ 5118035 w 6884782"/>
              <a:gd name="connsiteY20801" fmla="*/ 4291084 h 5973007"/>
              <a:gd name="connsiteX20802" fmla="*/ 5351328 w 6884782"/>
              <a:gd name="connsiteY20802" fmla="*/ 4291032 h 5973007"/>
              <a:gd name="connsiteX20803" fmla="*/ 5356421 w 6884782"/>
              <a:gd name="connsiteY20803" fmla="*/ 4294285 h 5973007"/>
              <a:gd name="connsiteX20804" fmla="*/ 5350844 w 6884782"/>
              <a:gd name="connsiteY20804" fmla="*/ 4300584 h 5973007"/>
              <a:gd name="connsiteX20805" fmla="*/ 5344493 w 6884782"/>
              <a:gd name="connsiteY20805" fmla="*/ 4298002 h 5973007"/>
              <a:gd name="connsiteX20806" fmla="*/ 5344028 w 6884782"/>
              <a:gd name="connsiteY20806" fmla="*/ 4293046 h 5973007"/>
              <a:gd name="connsiteX20807" fmla="*/ 5351328 w 6884782"/>
              <a:gd name="connsiteY20807" fmla="*/ 4291032 h 5973007"/>
              <a:gd name="connsiteX20808" fmla="*/ 1331295 w 6884782"/>
              <a:gd name="connsiteY20808" fmla="*/ 4289724 h 5973007"/>
              <a:gd name="connsiteX20809" fmla="*/ 1343996 w 6884782"/>
              <a:gd name="connsiteY20809" fmla="*/ 4292202 h 5973007"/>
              <a:gd name="connsiteX20810" fmla="*/ 1336716 w 6884782"/>
              <a:gd name="connsiteY20810" fmla="*/ 4296229 h 5973007"/>
              <a:gd name="connsiteX20811" fmla="*/ 1329281 w 6884782"/>
              <a:gd name="connsiteY20811" fmla="*/ 4292925 h 5973007"/>
              <a:gd name="connsiteX20812" fmla="*/ 1331295 w 6884782"/>
              <a:gd name="connsiteY20812" fmla="*/ 4289724 h 5973007"/>
              <a:gd name="connsiteX20813" fmla="*/ 5960826 w 6884782"/>
              <a:gd name="connsiteY20813" fmla="*/ 4289638 h 5973007"/>
              <a:gd name="connsiteX20814" fmla="*/ 5963304 w 6884782"/>
              <a:gd name="connsiteY20814" fmla="*/ 4292427 h 5973007"/>
              <a:gd name="connsiteX20815" fmla="*/ 5964233 w 6884782"/>
              <a:gd name="connsiteY20815" fmla="*/ 4296143 h 5973007"/>
              <a:gd name="connsiteX20816" fmla="*/ 5964853 w 6884782"/>
              <a:gd name="connsiteY20816" fmla="*/ 4296040 h 5973007"/>
              <a:gd name="connsiteX20817" fmla="*/ 5964853 w 6884782"/>
              <a:gd name="connsiteY20817" fmla="*/ 4295111 h 5973007"/>
              <a:gd name="connsiteX20818" fmla="*/ 5966402 w 6884782"/>
              <a:gd name="connsiteY20818" fmla="*/ 4296247 h 5973007"/>
              <a:gd name="connsiteX20819" fmla="*/ 5968571 w 6884782"/>
              <a:gd name="connsiteY20819" fmla="*/ 4302752 h 5973007"/>
              <a:gd name="connsiteX20820" fmla="*/ 5966092 w 6884782"/>
              <a:gd name="connsiteY20820" fmla="*/ 4303372 h 5973007"/>
              <a:gd name="connsiteX20821" fmla="*/ 5964388 w 6884782"/>
              <a:gd name="connsiteY20821" fmla="*/ 4302029 h 5973007"/>
              <a:gd name="connsiteX20822" fmla="*/ 5962530 w 6884782"/>
              <a:gd name="connsiteY20822" fmla="*/ 4298932 h 5973007"/>
              <a:gd name="connsiteX20823" fmla="*/ 5962685 w 6884782"/>
              <a:gd name="connsiteY20823" fmla="*/ 4297899 h 5973007"/>
              <a:gd name="connsiteX20824" fmla="*/ 5962065 w 6884782"/>
              <a:gd name="connsiteY20824" fmla="*/ 4298622 h 5973007"/>
              <a:gd name="connsiteX20825" fmla="*/ 5958657 w 6884782"/>
              <a:gd name="connsiteY20825" fmla="*/ 4298725 h 5973007"/>
              <a:gd name="connsiteX20826" fmla="*/ 5956489 w 6884782"/>
              <a:gd name="connsiteY20826" fmla="*/ 4297589 h 5973007"/>
              <a:gd name="connsiteX20827" fmla="*/ 5955714 w 6884782"/>
              <a:gd name="connsiteY20827" fmla="*/ 4295214 h 5973007"/>
              <a:gd name="connsiteX20828" fmla="*/ 5954010 w 6884782"/>
              <a:gd name="connsiteY20828" fmla="*/ 4295524 h 5973007"/>
              <a:gd name="connsiteX20829" fmla="*/ 5954475 w 6884782"/>
              <a:gd name="connsiteY20829" fmla="*/ 4290155 h 5973007"/>
              <a:gd name="connsiteX20830" fmla="*/ 5958347 w 6884782"/>
              <a:gd name="connsiteY20830" fmla="*/ 4290361 h 5973007"/>
              <a:gd name="connsiteX20831" fmla="*/ 5958347 w 6884782"/>
              <a:gd name="connsiteY20831" fmla="*/ 4290877 h 5973007"/>
              <a:gd name="connsiteX20832" fmla="*/ 5958502 w 6884782"/>
              <a:gd name="connsiteY20832" fmla="*/ 4290671 h 5973007"/>
              <a:gd name="connsiteX20833" fmla="*/ 5960826 w 6884782"/>
              <a:gd name="connsiteY20833" fmla="*/ 4289638 h 5973007"/>
              <a:gd name="connsiteX20834" fmla="*/ 5556546 w 6884782"/>
              <a:gd name="connsiteY20834" fmla="*/ 4289535 h 5973007"/>
              <a:gd name="connsiteX20835" fmla="*/ 5560109 w 6884782"/>
              <a:gd name="connsiteY20835" fmla="*/ 4296763 h 5973007"/>
              <a:gd name="connsiteX20836" fmla="*/ 5554997 w 6884782"/>
              <a:gd name="connsiteY20836" fmla="*/ 4304404 h 5973007"/>
              <a:gd name="connsiteX20837" fmla="*/ 5552984 w 6884782"/>
              <a:gd name="connsiteY20837" fmla="*/ 4300480 h 5973007"/>
              <a:gd name="connsiteX20838" fmla="*/ 5556546 w 6884782"/>
              <a:gd name="connsiteY20838" fmla="*/ 4289535 h 5973007"/>
              <a:gd name="connsiteX20839" fmla="*/ 1099880 w 6884782"/>
              <a:gd name="connsiteY20839" fmla="*/ 4289311 h 5973007"/>
              <a:gd name="connsiteX20840" fmla="*/ 1109948 w 6884782"/>
              <a:gd name="connsiteY20840" fmla="*/ 4290860 h 5973007"/>
              <a:gd name="connsiteX20841" fmla="*/ 1113356 w 6884782"/>
              <a:gd name="connsiteY20841" fmla="*/ 4297571 h 5973007"/>
              <a:gd name="connsiteX20842" fmla="*/ 1114130 w 6884782"/>
              <a:gd name="connsiteY20842" fmla="*/ 4296436 h 5973007"/>
              <a:gd name="connsiteX20843" fmla="*/ 1116918 w 6884782"/>
              <a:gd name="connsiteY20843" fmla="*/ 4295093 h 5973007"/>
              <a:gd name="connsiteX20844" fmla="*/ 1119552 w 6884782"/>
              <a:gd name="connsiteY20844" fmla="*/ 4297571 h 5973007"/>
              <a:gd name="connsiteX20845" fmla="*/ 1119552 w 6884782"/>
              <a:gd name="connsiteY20845" fmla="*/ 4305109 h 5973007"/>
              <a:gd name="connsiteX20846" fmla="*/ 1116918 w 6884782"/>
              <a:gd name="connsiteY20846" fmla="*/ 4306348 h 5973007"/>
              <a:gd name="connsiteX20847" fmla="*/ 1114595 w 6884782"/>
              <a:gd name="connsiteY20847" fmla="*/ 4303870 h 5973007"/>
              <a:gd name="connsiteX20848" fmla="*/ 1114595 w 6884782"/>
              <a:gd name="connsiteY20848" fmla="*/ 4309549 h 5973007"/>
              <a:gd name="connsiteX20849" fmla="*/ 1097556 w 6884782"/>
              <a:gd name="connsiteY20849" fmla="*/ 4327515 h 5973007"/>
              <a:gd name="connsiteX20850" fmla="*/ 1095853 w 6884782"/>
              <a:gd name="connsiteY20850" fmla="*/ 4317397 h 5973007"/>
              <a:gd name="connsiteX20851" fmla="*/ 1095388 w 6884782"/>
              <a:gd name="connsiteY20851" fmla="*/ 4317397 h 5973007"/>
              <a:gd name="connsiteX20852" fmla="*/ 1094923 w 6884782"/>
              <a:gd name="connsiteY20852" fmla="*/ 4317603 h 5973007"/>
              <a:gd name="connsiteX20853" fmla="*/ 1087488 w 6884782"/>
              <a:gd name="connsiteY20853" fmla="*/ 4315538 h 5973007"/>
              <a:gd name="connsiteX20854" fmla="*/ 1084855 w 6884782"/>
              <a:gd name="connsiteY20854" fmla="*/ 4310375 h 5973007"/>
              <a:gd name="connsiteX20855" fmla="*/ 1084855 w 6884782"/>
              <a:gd name="connsiteY20855" fmla="*/ 4307794 h 5973007"/>
              <a:gd name="connsiteX20856" fmla="*/ 1090896 w 6884782"/>
              <a:gd name="connsiteY20856" fmla="*/ 4304180 h 5973007"/>
              <a:gd name="connsiteX20857" fmla="*/ 1095078 w 6884782"/>
              <a:gd name="connsiteY20857" fmla="*/ 4304903 h 5973007"/>
              <a:gd name="connsiteX20858" fmla="*/ 1095697 w 6884782"/>
              <a:gd name="connsiteY20858" fmla="*/ 4299843 h 5973007"/>
              <a:gd name="connsiteX20859" fmla="*/ 1099880 w 6884782"/>
              <a:gd name="connsiteY20859" fmla="*/ 4289311 h 5973007"/>
              <a:gd name="connsiteX20860" fmla="*/ 5429686 w 6884782"/>
              <a:gd name="connsiteY20860" fmla="*/ 4288916 h 5973007"/>
              <a:gd name="connsiteX20861" fmla="*/ 5437586 w 6884782"/>
              <a:gd name="connsiteY20861" fmla="*/ 4298312 h 5973007"/>
              <a:gd name="connsiteX20862" fmla="*/ 5435882 w 6884782"/>
              <a:gd name="connsiteY20862" fmla="*/ 4301926 h 5973007"/>
              <a:gd name="connsiteX20863" fmla="*/ 5428137 w 6884782"/>
              <a:gd name="connsiteY20863" fmla="*/ 4295421 h 5973007"/>
              <a:gd name="connsiteX20864" fmla="*/ 5427053 w 6884782"/>
              <a:gd name="connsiteY20864" fmla="*/ 4292427 h 5973007"/>
              <a:gd name="connsiteX20865" fmla="*/ 5429686 w 6884782"/>
              <a:gd name="connsiteY20865" fmla="*/ 4288916 h 5973007"/>
              <a:gd name="connsiteX20866" fmla="*/ 642626 w 6884782"/>
              <a:gd name="connsiteY20866" fmla="*/ 4288485 h 5973007"/>
              <a:gd name="connsiteX20867" fmla="*/ 643865 w 6884782"/>
              <a:gd name="connsiteY20867" fmla="*/ 4295713 h 5973007"/>
              <a:gd name="connsiteX20868" fmla="*/ 638908 w 6884782"/>
              <a:gd name="connsiteY20868" fmla="*/ 4294061 h 5973007"/>
              <a:gd name="connsiteX20869" fmla="*/ 637514 w 6884782"/>
              <a:gd name="connsiteY20869" fmla="*/ 4291170 h 5973007"/>
              <a:gd name="connsiteX20870" fmla="*/ 639218 w 6884782"/>
              <a:gd name="connsiteY20870" fmla="*/ 4288795 h 5973007"/>
              <a:gd name="connsiteX20871" fmla="*/ 642626 w 6884782"/>
              <a:gd name="connsiteY20871" fmla="*/ 4288485 h 5973007"/>
              <a:gd name="connsiteX20872" fmla="*/ 4977409 w 6884782"/>
              <a:gd name="connsiteY20872" fmla="*/ 4288425 h 5973007"/>
              <a:gd name="connsiteX20873" fmla="*/ 4983275 w 6884782"/>
              <a:gd name="connsiteY20873" fmla="*/ 4288503 h 5973007"/>
              <a:gd name="connsiteX20874" fmla="*/ 4980797 w 6884782"/>
              <a:gd name="connsiteY20874" fmla="*/ 4296350 h 5973007"/>
              <a:gd name="connsiteX20875" fmla="*/ 4977699 w 6884782"/>
              <a:gd name="connsiteY20875" fmla="*/ 4298105 h 5973007"/>
              <a:gd name="connsiteX20876" fmla="*/ 4973981 w 6884782"/>
              <a:gd name="connsiteY20876" fmla="*/ 4297899 h 5973007"/>
              <a:gd name="connsiteX20877" fmla="*/ 4971038 w 6884782"/>
              <a:gd name="connsiteY20877" fmla="*/ 4298518 h 5973007"/>
              <a:gd name="connsiteX20878" fmla="*/ 4968250 w 6884782"/>
              <a:gd name="connsiteY20878" fmla="*/ 4297796 h 5973007"/>
              <a:gd name="connsiteX20879" fmla="*/ 4967166 w 6884782"/>
              <a:gd name="connsiteY20879" fmla="*/ 4295318 h 5973007"/>
              <a:gd name="connsiteX20880" fmla="*/ 4967940 w 6884782"/>
              <a:gd name="connsiteY20880" fmla="*/ 4293459 h 5973007"/>
              <a:gd name="connsiteX20881" fmla="*/ 4977409 w 6884782"/>
              <a:gd name="connsiteY20881" fmla="*/ 4288425 h 5973007"/>
              <a:gd name="connsiteX20882" fmla="*/ 5576238 w 6884782"/>
              <a:gd name="connsiteY20882" fmla="*/ 4287741 h 5973007"/>
              <a:gd name="connsiteX20883" fmla="*/ 5582414 w 6884782"/>
              <a:gd name="connsiteY20883" fmla="*/ 4289329 h 5973007"/>
              <a:gd name="connsiteX20884" fmla="*/ 5576683 w 6884782"/>
              <a:gd name="connsiteY20884" fmla="*/ 4294285 h 5973007"/>
              <a:gd name="connsiteX20885" fmla="*/ 5576238 w 6884782"/>
              <a:gd name="connsiteY20885" fmla="*/ 4287741 h 5973007"/>
              <a:gd name="connsiteX20886" fmla="*/ 5598988 w 6884782"/>
              <a:gd name="connsiteY20886" fmla="*/ 4287573 h 5973007"/>
              <a:gd name="connsiteX20887" fmla="*/ 5609676 w 6884782"/>
              <a:gd name="connsiteY20887" fmla="*/ 4291394 h 5973007"/>
              <a:gd name="connsiteX20888" fmla="*/ 5615407 w 6884782"/>
              <a:gd name="connsiteY20888" fmla="*/ 4302752 h 5973007"/>
              <a:gd name="connsiteX20889" fmla="*/ 5614478 w 6884782"/>
              <a:gd name="connsiteY20889" fmla="*/ 4305437 h 5973007"/>
              <a:gd name="connsiteX20890" fmla="*/ 5616491 w 6884782"/>
              <a:gd name="connsiteY20890" fmla="*/ 4307192 h 5973007"/>
              <a:gd name="connsiteX20891" fmla="*/ 5614478 w 6884782"/>
              <a:gd name="connsiteY20891" fmla="*/ 4319996 h 5973007"/>
              <a:gd name="connsiteX20892" fmla="*/ 5606733 w 6884782"/>
              <a:gd name="connsiteY20892" fmla="*/ 4321648 h 5973007"/>
              <a:gd name="connsiteX20893" fmla="*/ 5603789 w 6884782"/>
              <a:gd name="connsiteY20893" fmla="*/ 4320409 h 5973007"/>
              <a:gd name="connsiteX20894" fmla="*/ 5607662 w 6884782"/>
              <a:gd name="connsiteY20894" fmla="*/ 4311942 h 5973007"/>
              <a:gd name="connsiteX20895" fmla="*/ 5608437 w 6884782"/>
              <a:gd name="connsiteY20895" fmla="*/ 4309670 h 5973007"/>
              <a:gd name="connsiteX20896" fmla="*/ 5605803 w 6884782"/>
              <a:gd name="connsiteY20896" fmla="*/ 4310290 h 5973007"/>
              <a:gd name="connsiteX20897" fmla="*/ 5600382 w 6884782"/>
              <a:gd name="connsiteY20897" fmla="*/ 4308431 h 5973007"/>
              <a:gd name="connsiteX20898" fmla="*/ 5596510 w 6884782"/>
              <a:gd name="connsiteY20898" fmla="*/ 4292943 h 5973007"/>
              <a:gd name="connsiteX20899" fmla="*/ 5597904 w 6884782"/>
              <a:gd name="connsiteY20899" fmla="*/ 4291187 h 5973007"/>
              <a:gd name="connsiteX20900" fmla="*/ 5598988 w 6884782"/>
              <a:gd name="connsiteY20900" fmla="*/ 4287573 h 5973007"/>
              <a:gd name="connsiteX20901" fmla="*/ 5719342 w 6884782"/>
              <a:gd name="connsiteY20901" fmla="*/ 4287057 h 5973007"/>
              <a:gd name="connsiteX20902" fmla="*/ 5718878 w 6884782"/>
              <a:gd name="connsiteY20902" fmla="*/ 4297899 h 5973007"/>
              <a:gd name="connsiteX20903" fmla="*/ 5713611 w 6884782"/>
              <a:gd name="connsiteY20903" fmla="*/ 4297589 h 5973007"/>
              <a:gd name="connsiteX20904" fmla="*/ 5715780 w 6884782"/>
              <a:gd name="connsiteY20904" fmla="*/ 4287161 h 5973007"/>
              <a:gd name="connsiteX20905" fmla="*/ 5719342 w 6884782"/>
              <a:gd name="connsiteY20905" fmla="*/ 4287057 h 5973007"/>
              <a:gd name="connsiteX20906" fmla="*/ 5291519 w 6884782"/>
              <a:gd name="connsiteY20906" fmla="*/ 4286231 h 5973007"/>
              <a:gd name="connsiteX20907" fmla="*/ 5293068 w 6884782"/>
              <a:gd name="connsiteY20907" fmla="*/ 4287161 h 5973007"/>
              <a:gd name="connsiteX20908" fmla="*/ 5294772 w 6884782"/>
              <a:gd name="connsiteY20908" fmla="*/ 4287161 h 5973007"/>
              <a:gd name="connsiteX20909" fmla="*/ 5294616 w 6884782"/>
              <a:gd name="connsiteY20909" fmla="*/ 4288090 h 5973007"/>
              <a:gd name="connsiteX20910" fmla="*/ 5295391 w 6884782"/>
              <a:gd name="connsiteY20910" fmla="*/ 4289019 h 5973007"/>
              <a:gd name="connsiteX20911" fmla="*/ 5293377 w 6884782"/>
              <a:gd name="connsiteY20911" fmla="*/ 4292427 h 5973007"/>
              <a:gd name="connsiteX20912" fmla="*/ 5291519 w 6884782"/>
              <a:gd name="connsiteY20912" fmla="*/ 4293459 h 5973007"/>
              <a:gd name="connsiteX20913" fmla="*/ 5289970 w 6884782"/>
              <a:gd name="connsiteY20913" fmla="*/ 4293252 h 5973007"/>
              <a:gd name="connsiteX20914" fmla="*/ 5289350 w 6884782"/>
              <a:gd name="connsiteY20914" fmla="*/ 4291497 h 5973007"/>
              <a:gd name="connsiteX20915" fmla="*/ 5289660 w 6884782"/>
              <a:gd name="connsiteY20915" fmla="*/ 4287987 h 5973007"/>
              <a:gd name="connsiteX20916" fmla="*/ 5291519 w 6884782"/>
              <a:gd name="connsiteY20916" fmla="*/ 4286231 h 5973007"/>
              <a:gd name="connsiteX20917" fmla="*/ 5733748 w 6884782"/>
              <a:gd name="connsiteY20917" fmla="*/ 4285921 h 5973007"/>
              <a:gd name="connsiteX20918" fmla="*/ 5742112 w 6884782"/>
              <a:gd name="connsiteY20918" fmla="*/ 4287161 h 5973007"/>
              <a:gd name="connsiteX20919" fmla="*/ 5739169 w 6884782"/>
              <a:gd name="connsiteY20919" fmla="*/ 4296454 h 5973007"/>
              <a:gd name="connsiteX20920" fmla="*/ 5733748 w 6884782"/>
              <a:gd name="connsiteY20920" fmla="*/ 4285921 h 5973007"/>
              <a:gd name="connsiteX20921" fmla="*/ 1091825 w 6884782"/>
              <a:gd name="connsiteY20921" fmla="*/ 4285180 h 5973007"/>
              <a:gd name="connsiteX20922" fmla="*/ 1088108 w 6884782"/>
              <a:gd name="connsiteY20922" fmla="*/ 4289827 h 5973007"/>
              <a:gd name="connsiteX20923" fmla="*/ 1087953 w 6884782"/>
              <a:gd name="connsiteY20923" fmla="*/ 4288485 h 5973007"/>
              <a:gd name="connsiteX20924" fmla="*/ 1089037 w 6884782"/>
              <a:gd name="connsiteY20924" fmla="*/ 4287349 h 5973007"/>
              <a:gd name="connsiteX20925" fmla="*/ 1091825 w 6884782"/>
              <a:gd name="connsiteY20925" fmla="*/ 4285180 h 5973007"/>
              <a:gd name="connsiteX20926" fmla="*/ 5668072 w 6884782"/>
              <a:gd name="connsiteY20926" fmla="*/ 4283856 h 5973007"/>
              <a:gd name="connsiteX20927" fmla="*/ 5675507 w 6884782"/>
              <a:gd name="connsiteY20927" fmla="*/ 4283960 h 5973007"/>
              <a:gd name="connsiteX20928" fmla="*/ 5674113 w 6884782"/>
              <a:gd name="connsiteY20928" fmla="*/ 4289948 h 5973007"/>
              <a:gd name="connsiteX20929" fmla="*/ 5671789 w 6884782"/>
              <a:gd name="connsiteY20929" fmla="*/ 4291291 h 5973007"/>
              <a:gd name="connsiteX20930" fmla="*/ 5669001 w 6884782"/>
              <a:gd name="connsiteY20930" fmla="*/ 4290671 h 5973007"/>
              <a:gd name="connsiteX20931" fmla="*/ 5667607 w 6884782"/>
              <a:gd name="connsiteY20931" fmla="*/ 4289019 h 5973007"/>
              <a:gd name="connsiteX20932" fmla="*/ 5668072 w 6884782"/>
              <a:gd name="connsiteY20932" fmla="*/ 4283856 h 5973007"/>
              <a:gd name="connsiteX20933" fmla="*/ 5732354 w 6884782"/>
              <a:gd name="connsiteY20933" fmla="*/ 4283650 h 5973007"/>
              <a:gd name="connsiteX20934" fmla="*/ 5733748 w 6884782"/>
              <a:gd name="connsiteY20934" fmla="*/ 4284682 h 5973007"/>
              <a:gd name="connsiteX20935" fmla="*/ 5733128 w 6884782"/>
              <a:gd name="connsiteY20935" fmla="*/ 4287057 h 5973007"/>
              <a:gd name="connsiteX20936" fmla="*/ 5728636 w 6884782"/>
              <a:gd name="connsiteY20936" fmla="*/ 4289742 h 5973007"/>
              <a:gd name="connsiteX20937" fmla="*/ 5727242 w 6884782"/>
              <a:gd name="connsiteY20937" fmla="*/ 4288709 h 5973007"/>
              <a:gd name="connsiteX20938" fmla="*/ 5732354 w 6884782"/>
              <a:gd name="connsiteY20938" fmla="*/ 4283650 h 5973007"/>
              <a:gd name="connsiteX20939" fmla="*/ 5046783 w 6884782"/>
              <a:gd name="connsiteY20939" fmla="*/ 4283133 h 5973007"/>
              <a:gd name="connsiteX20940" fmla="*/ 5052049 w 6884782"/>
              <a:gd name="connsiteY20940" fmla="*/ 4288606 h 5973007"/>
              <a:gd name="connsiteX20941" fmla="*/ 5048951 w 6884782"/>
              <a:gd name="connsiteY20941" fmla="*/ 4292117 h 5973007"/>
              <a:gd name="connsiteX20942" fmla="*/ 5043065 w 6884782"/>
              <a:gd name="connsiteY20942" fmla="*/ 4288296 h 5973007"/>
              <a:gd name="connsiteX20943" fmla="*/ 5046783 w 6884782"/>
              <a:gd name="connsiteY20943" fmla="*/ 4283133 h 5973007"/>
              <a:gd name="connsiteX20944" fmla="*/ 1250284 w 6884782"/>
              <a:gd name="connsiteY20944" fmla="*/ 4283115 h 5973007"/>
              <a:gd name="connsiteX20945" fmla="*/ 1252143 w 6884782"/>
              <a:gd name="connsiteY20945" fmla="*/ 4291996 h 5973007"/>
              <a:gd name="connsiteX20946" fmla="*/ 1250129 w 6884782"/>
              <a:gd name="connsiteY20946" fmla="*/ 4290860 h 5973007"/>
              <a:gd name="connsiteX20947" fmla="*/ 1250284 w 6884782"/>
              <a:gd name="connsiteY20947" fmla="*/ 4283115 h 5973007"/>
              <a:gd name="connsiteX20948" fmla="*/ 5793228 w 6884782"/>
              <a:gd name="connsiteY20948" fmla="*/ 4282927 h 5973007"/>
              <a:gd name="connsiteX20949" fmla="*/ 5797255 w 6884782"/>
              <a:gd name="connsiteY20949" fmla="*/ 4299138 h 5973007"/>
              <a:gd name="connsiteX20950" fmla="*/ 5794312 w 6884782"/>
              <a:gd name="connsiteY20950" fmla="*/ 4300377 h 5973007"/>
              <a:gd name="connsiteX20951" fmla="*/ 5789975 w 6884782"/>
              <a:gd name="connsiteY20951" fmla="*/ 4296247 h 5973007"/>
              <a:gd name="connsiteX20952" fmla="*/ 5788271 w 6884782"/>
              <a:gd name="connsiteY20952" fmla="*/ 4292839 h 5973007"/>
              <a:gd name="connsiteX20953" fmla="*/ 5788736 w 6884782"/>
              <a:gd name="connsiteY20953" fmla="*/ 4289122 h 5973007"/>
              <a:gd name="connsiteX20954" fmla="*/ 5789046 w 6884782"/>
              <a:gd name="connsiteY20954" fmla="*/ 4283133 h 5973007"/>
              <a:gd name="connsiteX20955" fmla="*/ 5793228 w 6884782"/>
              <a:gd name="connsiteY20955" fmla="*/ 4282927 h 5973007"/>
              <a:gd name="connsiteX20956" fmla="*/ 1228599 w 6884782"/>
              <a:gd name="connsiteY20956" fmla="*/ 4282496 h 5973007"/>
              <a:gd name="connsiteX20957" fmla="*/ 1241300 w 6884782"/>
              <a:gd name="connsiteY20957" fmla="*/ 4302941 h 5973007"/>
              <a:gd name="connsiteX20958" fmla="*/ 1228599 w 6884782"/>
              <a:gd name="connsiteY20958" fmla="*/ 4282496 h 5973007"/>
              <a:gd name="connsiteX20959" fmla="*/ 1354064 w 6884782"/>
              <a:gd name="connsiteY20959" fmla="*/ 4282186 h 5973007"/>
              <a:gd name="connsiteX20960" fmla="*/ 1355459 w 6884782"/>
              <a:gd name="connsiteY20960" fmla="*/ 4282393 h 5973007"/>
              <a:gd name="connsiteX20961" fmla="*/ 1354685 w 6884782"/>
              <a:gd name="connsiteY20961" fmla="*/ 4282599 h 5973007"/>
              <a:gd name="connsiteX20962" fmla="*/ 1354064 w 6884782"/>
              <a:gd name="connsiteY20962" fmla="*/ 4282186 h 5973007"/>
              <a:gd name="connsiteX20963" fmla="*/ 5750167 w 6884782"/>
              <a:gd name="connsiteY20963" fmla="*/ 4281275 h 5973007"/>
              <a:gd name="connsiteX20964" fmla="*/ 5755433 w 6884782"/>
              <a:gd name="connsiteY20964" fmla="*/ 4284682 h 5973007"/>
              <a:gd name="connsiteX20965" fmla="*/ 5755588 w 6884782"/>
              <a:gd name="connsiteY20965" fmla="*/ 4285715 h 5973007"/>
              <a:gd name="connsiteX20966" fmla="*/ 5750167 w 6884782"/>
              <a:gd name="connsiteY20966" fmla="*/ 4281275 h 5973007"/>
              <a:gd name="connsiteX20967" fmla="*/ 5941619 w 6884782"/>
              <a:gd name="connsiteY20967" fmla="*/ 4280242 h 5973007"/>
              <a:gd name="connsiteX20968" fmla="*/ 5946575 w 6884782"/>
              <a:gd name="connsiteY20968" fmla="*/ 4280965 h 5973007"/>
              <a:gd name="connsiteX20969" fmla="*/ 5945956 w 6884782"/>
              <a:gd name="connsiteY20969" fmla="*/ 4288709 h 5973007"/>
              <a:gd name="connsiteX20970" fmla="*/ 5943013 w 6884782"/>
              <a:gd name="connsiteY20970" fmla="*/ 4289122 h 5973007"/>
              <a:gd name="connsiteX20971" fmla="*/ 5940224 w 6884782"/>
              <a:gd name="connsiteY20971" fmla="*/ 4286954 h 5973007"/>
              <a:gd name="connsiteX20972" fmla="*/ 5939140 w 6884782"/>
              <a:gd name="connsiteY20972" fmla="*/ 4284476 h 5973007"/>
              <a:gd name="connsiteX20973" fmla="*/ 5939760 w 6884782"/>
              <a:gd name="connsiteY20973" fmla="*/ 4281584 h 5973007"/>
              <a:gd name="connsiteX20974" fmla="*/ 5941619 w 6884782"/>
              <a:gd name="connsiteY20974" fmla="*/ 4280242 h 5973007"/>
              <a:gd name="connsiteX20975" fmla="*/ 1282812 w 6884782"/>
              <a:gd name="connsiteY20975" fmla="*/ 4280224 h 5973007"/>
              <a:gd name="connsiteX20976" fmla="*/ 1284206 w 6884782"/>
              <a:gd name="connsiteY20976" fmla="*/ 4282186 h 5973007"/>
              <a:gd name="connsiteX20977" fmla="*/ 1289473 w 6884782"/>
              <a:gd name="connsiteY20977" fmla="*/ 4283115 h 5973007"/>
              <a:gd name="connsiteX20978" fmla="*/ 1294585 w 6884782"/>
              <a:gd name="connsiteY20978" fmla="*/ 4287556 h 5973007"/>
              <a:gd name="connsiteX20979" fmla="*/ 1288389 w 6884782"/>
              <a:gd name="connsiteY20979" fmla="*/ 4295713 h 5973007"/>
              <a:gd name="connsiteX20980" fmla="*/ 1288078 w 6884782"/>
              <a:gd name="connsiteY20980" fmla="*/ 4295816 h 5973007"/>
              <a:gd name="connsiteX20981" fmla="*/ 1287769 w 6884782"/>
              <a:gd name="connsiteY20981" fmla="*/ 4297055 h 5973007"/>
              <a:gd name="connsiteX20982" fmla="*/ 1285600 w 6884782"/>
              <a:gd name="connsiteY20982" fmla="*/ 4300256 h 5973007"/>
              <a:gd name="connsiteX20983" fmla="*/ 1283896 w 6884782"/>
              <a:gd name="connsiteY20983" fmla="*/ 4302011 h 5973007"/>
              <a:gd name="connsiteX20984" fmla="*/ 1281418 w 6884782"/>
              <a:gd name="connsiteY20984" fmla="*/ 4308413 h 5973007"/>
              <a:gd name="connsiteX20985" fmla="*/ 1274138 w 6884782"/>
              <a:gd name="connsiteY20985" fmla="*/ 4312957 h 5973007"/>
              <a:gd name="connsiteX20986" fmla="*/ 1277546 w 6884782"/>
              <a:gd name="connsiteY20986" fmla="*/ 4296539 h 5973007"/>
              <a:gd name="connsiteX20987" fmla="*/ 1277701 w 6884782"/>
              <a:gd name="connsiteY20987" fmla="*/ 4296126 h 5973007"/>
              <a:gd name="connsiteX20988" fmla="*/ 1275377 w 6884782"/>
              <a:gd name="connsiteY20988" fmla="*/ 4292305 h 5973007"/>
              <a:gd name="connsiteX20989" fmla="*/ 1275067 w 6884782"/>
              <a:gd name="connsiteY20989" fmla="*/ 4288278 h 5973007"/>
              <a:gd name="connsiteX20990" fmla="*/ 1275222 w 6884782"/>
              <a:gd name="connsiteY20990" fmla="*/ 4287969 h 5973007"/>
              <a:gd name="connsiteX20991" fmla="*/ 1274603 w 6884782"/>
              <a:gd name="connsiteY20991" fmla="*/ 4288175 h 5973007"/>
              <a:gd name="connsiteX20992" fmla="*/ 1272744 w 6884782"/>
              <a:gd name="connsiteY20992" fmla="*/ 4288485 h 5973007"/>
              <a:gd name="connsiteX20993" fmla="*/ 1271040 w 6884782"/>
              <a:gd name="connsiteY20993" fmla="*/ 4286523 h 5973007"/>
              <a:gd name="connsiteX20994" fmla="*/ 1271815 w 6884782"/>
              <a:gd name="connsiteY20994" fmla="*/ 4286110 h 5973007"/>
              <a:gd name="connsiteX20995" fmla="*/ 1274758 w 6884782"/>
              <a:gd name="connsiteY20995" fmla="*/ 4283735 h 5973007"/>
              <a:gd name="connsiteX20996" fmla="*/ 1275997 w 6884782"/>
              <a:gd name="connsiteY20996" fmla="*/ 4286936 h 5973007"/>
              <a:gd name="connsiteX20997" fmla="*/ 1278011 w 6884782"/>
              <a:gd name="connsiteY20997" fmla="*/ 4284045 h 5973007"/>
              <a:gd name="connsiteX20998" fmla="*/ 1281573 w 6884782"/>
              <a:gd name="connsiteY20998" fmla="*/ 4282703 h 5973007"/>
              <a:gd name="connsiteX20999" fmla="*/ 1457071 w 6884782"/>
              <a:gd name="connsiteY20999" fmla="*/ 4280018 h 5973007"/>
              <a:gd name="connsiteX21000" fmla="*/ 1458620 w 6884782"/>
              <a:gd name="connsiteY21000" fmla="*/ 4283632 h 5973007"/>
              <a:gd name="connsiteX21001" fmla="*/ 1455986 w 6884782"/>
              <a:gd name="connsiteY21001" fmla="*/ 4285490 h 5973007"/>
              <a:gd name="connsiteX21002" fmla="*/ 1454747 w 6884782"/>
              <a:gd name="connsiteY21002" fmla="*/ 4285594 h 5973007"/>
              <a:gd name="connsiteX21003" fmla="*/ 1453508 w 6884782"/>
              <a:gd name="connsiteY21003" fmla="*/ 4284768 h 5973007"/>
              <a:gd name="connsiteX21004" fmla="*/ 1451959 w 6884782"/>
              <a:gd name="connsiteY21004" fmla="*/ 4281050 h 5973007"/>
              <a:gd name="connsiteX21005" fmla="*/ 1457071 w 6884782"/>
              <a:gd name="connsiteY21005" fmla="*/ 4280018 h 5973007"/>
              <a:gd name="connsiteX21006" fmla="*/ 5126864 w 6884782"/>
              <a:gd name="connsiteY21006" fmla="*/ 4279829 h 5973007"/>
              <a:gd name="connsiteX21007" fmla="*/ 5128103 w 6884782"/>
              <a:gd name="connsiteY21007" fmla="*/ 4283340 h 5973007"/>
              <a:gd name="connsiteX21008" fmla="*/ 5120359 w 6884782"/>
              <a:gd name="connsiteY21008" fmla="*/ 4285405 h 5973007"/>
              <a:gd name="connsiteX21009" fmla="*/ 5114008 w 6884782"/>
              <a:gd name="connsiteY21009" fmla="*/ 4282824 h 5973007"/>
              <a:gd name="connsiteX21010" fmla="*/ 5114317 w 6884782"/>
              <a:gd name="connsiteY21010" fmla="*/ 4280345 h 5973007"/>
              <a:gd name="connsiteX21011" fmla="*/ 5126864 w 6884782"/>
              <a:gd name="connsiteY21011" fmla="*/ 4279829 h 5973007"/>
              <a:gd name="connsiteX21012" fmla="*/ 1529717 w 6884782"/>
              <a:gd name="connsiteY21012" fmla="*/ 4279811 h 5973007"/>
              <a:gd name="connsiteX21013" fmla="*/ 1531421 w 6884782"/>
              <a:gd name="connsiteY21013" fmla="*/ 4280018 h 5973007"/>
              <a:gd name="connsiteX21014" fmla="*/ 1531730 w 6884782"/>
              <a:gd name="connsiteY21014" fmla="*/ 4280741 h 5973007"/>
              <a:gd name="connsiteX21015" fmla="*/ 1532040 w 6884782"/>
              <a:gd name="connsiteY21015" fmla="*/ 4280947 h 5973007"/>
              <a:gd name="connsiteX21016" fmla="*/ 1531421 w 6884782"/>
              <a:gd name="connsiteY21016" fmla="*/ 4282599 h 5973007"/>
              <a:gd name="connsiteX21017" fmla="*/ 1530182 w 6884782"/>
              <a:gd name="connsiteY21017" fmla="*/ 4284045 h 5973007"/>
              <a:gd name="connsiteX21018" fmla="*/ 1529252 w 6884782"/>
              <a:gd name="connsiteY21018" fmla="*/ 4283322 h 5973007"/>
              <a:gd name="connsiteX21019" fmla="*/ 1528478 w 6884782"/>
              <a:gd name="connsiteY21019" fmla="*/ 4281257 h 5973007"/>
              <a:gd name="connsiteX21020" fmla="*/ 1530027 w 6884782"/>
              <a:gd name="connsiteY21020" fmla="*/ 4280534 h 5973007"/>
              <a:gd name="connsiteX21021" fmla="*/ 1529717 w 6884782"/>
              <a:gd name="connsiteY21021" fmla="*/ 4279811 h 5973007"/>
              <a:gd name="connsiteX21022" fmla="*/ 1105766 w 6884782"/>
              <a:gd name="connsiteY21022" fmla="*/ 4279192 h 5973007"/>
              <a:gd name="connsiteX21023" fmla="*/ 1107315 w 6884782"/>
              <a:gd name="connsiteY21023" fmla="*/ 4279708 h 5973007"/>
              <a:gd name="connsiteX21024" fmla="*/ 1102668 w 6884782"/>
              <a:gd name="connsiteY21024" fmla="*/ 4283322 h 5973007"/>
              <a:gd name="connsiteX21025" fmla="*/ 1100499 w 6884782"/>
              <a:gd name="connsiteY21025" fmla="*/ 4283115 h 5973007"/>
              <a:gd name="connsiteX21026" fmla="*/ 1105766 w 6884782"/>
              <a:gd name="connsiteY21026" fmla="*/ 4279192 h 5973007"/>
              <a:gd name="connsiteX21027" fmla="*/ 5602705 w 6884782"/>
              <a:gd name="connsiteY21027" fmla="*/ 4277558 h 5973007"/>
              <a:gd name="connsiteX21028" fmla="*/ 5606578 w 6884782"/>
              <a:gd name="connsiteY21028" fmla="*/ 4284476 h 5973007"/>
              <a:gd name="connsiteX21029" fmla="*/ 5601931 w 6884782"/>
              <a:gd name="connsiteY21029" fmla="*/ 4279726 h 5973007"/>
              <a:gd name="connsiteX21030" fmla="*/ 5602705 w 6884782"/>
              <a:gd name="connsiteY21030" fmla="*/ 4277558 h 5973007"/>
              <a:gd name="connsiteX21031" fmla="*/ 5830713 w 6884782"/>
              <a:gd name="connsiteY21031" fmla="*/ 4277248 h 5973007"/>
              <a:gd name="connsiteX21032" fmla="*/ 5838767 w 6884782"/>
              <a:gd name="connsiteY21032" fmla="*/ 4287470 h 5973007"/>
              <a:gd name="connsiteX21033" fmla="*/ 5839232 w 6884782"/>
              <a:gd name="connsiteY21033" fmla="*/ 4295731 h 5973007"/>
              <a:gd name="connsiteX21034" fmla="*/ 5843414 w 6884782"/>
              <a:gd name="connsiteY21034" fmla="*/ 4299861 h 5973007"/>
              <a:gd name="connsiteX21035" fmla="*/ 5845893 w 6884782"/>
              <a:gd name="connsiteY21035" fmla="*/ 4299241 h 5973007"/>
              <a:gd name="connsiteX21036" fmla="*/ 5849610 w 6884782"/>
              <a:gd name="connsiteY21036" fmla="*/ 4301616 h 5973007"/>
              <a:gd name="connsiteX21037" fmla="*/ 5849300 w 6884782"/>
              <a:gd name="connsiteY21037" fmla="*/ 4302545 h 5973007"/>
              <a:gd name="connsiteX21038" fmla="*/ 5850384 w 6884782"/>
              <a:gd name="connsiteY21038" fmla="*/ 4302649 h 5973007"/>
              <a:gd name="connsiteX21039" fmla="*/ 5853018 w 6884782"/>
              <a:gd name="connsiteY21039" fmla="*/ 4304301 h 5973007"/>
              <a:gd name="connsiteX21040" fmla="*/ 5855186 w 6884782"/>
              <a:gd name="connsiteY21040" fmla="*/ 4315659 h 5973007"/>
              <a:gd name="connsiteX21041" fmla="*/ 5847752 w 6884782"/>
              <a:gd name="connsiteY21041" fmla="*/ 4319583 h 5973007"/>
              <a:gd name="connsiteX21042" fmla="*/ 5848681 w 6884782"/>
              <a:gd name="connsiteY21042" fmla="*/ 4319583 h 5973007"/>
              <a:gd name="connsiteX21043" fmla="*/ 5857665 w 6884782"/>
              <a:gd name="connsiteY21043" fmla="*/ 4332077 h 5973007"/>
              <a:gd name="connsiteX21044" fmla="*/ 5855031 w 6884782"/>
              <a:gd name="connsiteY21044" fmla="*/ 4331147 h 5973007"/>
              <a:gd name="connsiteX21045" fmla="*/ 5854257 w 6884782"/>
              <a:gd name="connsiteY21045" fmla="*/ 4330218 h 5973007"/>
              <a:gd name="connsiteX21046" fmla="*/ 5853947 w 6884782"/>
              <a:gd name="connsiteY21046" fmla="*/ 4330115 h 5973007"/>
              <a:gd name="connsiteX21047" fmla="*/ 5855651 w 6884782"/>
              <a:gd name="connsiteY21047" fmla="*/ 4332800 h 5973007"/>
              <a:gd name="connsiteX21048" fmla="*/ 5853328 w 6884782"/>
              <a:gd name="connsiteY21048" fmla="*/ 4337859 h 5973007"/>
              <a:gd name="connsiteX21049" fmla="*/ 5844344 w 6884782"/>
              <a:gd name="connsiteY21049" fmla="*/ 4321958 h 5973007"/>
              <a:gd name="connsiteX21050" fmla="*/ 5842640 w 6884782"/>
              <a:gd name="connsiteY21050" fmla="*/ 4319376 h 5973007"/>
              <a:gd name="connsiteX21051" fmla="*/ 5844344 w 6884782"/>
              <a:gd name="connsiteY21051" fmla="*/ 4317724 h 5973007"/>
              <a:gd name="connsiteX21052" fmla="*/ 5842950 w 6884782"/>
              <a:gd name="connsiteY21052" fmla="*/ 4316175 h 5973007"/>
              <a:gd name="connsiteX21053" fmla="*/ 5841555 w 6884782"/>
              <a:gd name="connsiteY21053" fmla="*/ 4320306 h 5973007"/>
              <a:gd name="connsiteX21054" fmla="*/ 5839697 w 6884782"/>
              <a:gd name="connsiteY21054" fmla="*/ 4322061 h 5973007"/>
              <a:gd name="connsiteX21055" fmla="*/ 5839851 w 6884782"/>
              <a:gd name="connsiteY21055" fmla="*/ 4322887 h 5973007"/>
              <a:gd name="connsiteX21056" fmla="*/ 5838458 w 6884782"/>
              <a:gd name="connsiteY21056" fmla="*/ 4332800 h 5973007"/>
              <a:gd name="connsiteX21057" fmla="*/ 5832572 w 6884782"/>
              <a:gd name="connsiteY21057" fmla="*/ 4331457 h 5973007"/>
              <a:gd name="connsiteX21058" fmla="*/ 5829629 w 6884782"/>
              <a:gd name="connsiteY21058" fmla="*/ 4330218 h 5973007"/>
              <a:gd name="connsiteX21059" fmla="*/ 5828389 w 6884782"/>
              <a:gd name="connsiteY21059" fmla="*/ 4333729 h 5973007"/>
              <a:gd name="connsiteX21060" fmla="*/ 5824827 w 6884782"/>
              <a:gd name="connsiteY21060" fmla="*/ 4335691 h 5973007"/>
              <a:gd name="connsiteX21061" fmla="*/ 5823433 w 6884782"/>
              <a:gd name="connsiteY21061" fmla="*/ 4332283 h 5973007"/>
              <a:gd name="connsiteX21062" fmla="*/ 5825446 w 6884782"/>
              <a:gd name="connsiteY21062" fmla="*/ 4328256 h 5973007"/>
              <a:gd name="connsiteX21063" fmla="*/ 5825756 w 6884782"/>
              <a:gd name="connsiteY21063" fmla="*/ 4328153 h 5973007"/>
              <a:gd name="connsiteX21064" fmla="*/ 5819406 w 6884782"/>
              <a:gd name="connsiteY21064" fmla="*/ 4324333 h 5973007"/>
              <a:gd name="connsiteX21065" fmla="*/ 5816772 w 6884782"/>
              <a:gd name="connsiteY21065" fmla="*/ 4327017 h 5973007"/>
              <a:gd name="connsiteX21066" fmla="*/ 5812125 w 6884782"/>
              <a:gd name="connsiteY21066" fmla="*/ 4328360 h 5973007"/>
              <a:gd name="connsiteX21067" fmla="*/ 5822348 w 6884782"/>
              <a:gd name="connsiteY21067" fmla="*/ 4315866 h 5973007"/>
              <a:gd name="connsiteX21068" fmla="*/ 5822039 w 6884782"/>
              <a:gd name="connsiteY21068" fmla="*/ 4319376 h 5973007"/>
              <a:gd name="connsiteX21069" fmla="*/ 5821109 w 6884782"/>
              <a:gd name="connsiteY21069" fmla="*/ 4321751 h 5973007"/>
              <a:gd name="connsiteX21070" fmla="*/ 5821884 w 6884782"/>
              <a:gd name="connsiteY21070" fmla="*/ 4321441 h 5973007"/>
              <a:gd name="connsiteX21071" fmla="*/ 5826840 w 6884782"/>
              <a:gd name="connsiteY21071" fmla="*/ 4320822 h 5973007"/>
              <a:gd name="connsiteX21072" fmla="*/ 5830713 w 6884782"/>
              <a:gd name="connsiteY21072" fmla="*/ 4319067 h 5973007"/>
              <a:gd name="connsiteX21073" fmla="*/ 5828080 w 6884782"/>
              <a:gd name="connsiteY21073" fmla="*/ 4309051 h 5973007"/>
              <a:gd name="connsiteX21074" fmla="*/ 5828544 w 6884782"/>
              <a:gd name="connsiteY21074" fmla="*/ 4302545 h 5973007"/>
              <a:gd name="connsiteX21075" fmla="*/ 5826066 w 6884782"/>
              <a:gd name="connsiteY21075" fmla="*/ 4302855 h 5973007"/>
              <a:gd name="connsiteX21076" fmla="*/ 5813674 w 6884782"/>
              <a:gd name="connsiteY21076" fmla="*/ 4293975 h 5973007"/>
              <a:gd name="connsiteX21077" fmla="*/ 5815223 w 6884782"/>
              <a:gd name="connsiteY21077" fmla="*/ 4287573 h 5973007"/>
              <a:gd name="connsiteX21078" fmla="*/ 5830713 w 6884782"/>
              <a:gd name="connsiteY21078" fmla="*/ 4277248 h 5973007"/>
              <a:gd name="connsiteX21079" fmla="*/ 5862466 w 6884782"/>
              <a:gd name="connsiteY21079" fmla="*/ 4274150 h 5973007"/>
              <a:gd name="connsiteX21080" fmla="*/ 5867113 w 6884782"/>
              <a:gd name="connsiteY21080" fmla="*/ 4274357 h 5973007"/>
              <a:gd name="connsiteX21081" fmla="*/ 5865720 w 6884782"/>
              <a:gd name="connsiteY21081" fmla="*/ 4278177 h 5973007"/>
              <a:gd name="connsiteX21082" fmla="*/ 5862312 w 6884782"/>
              <a:gd name="connsiteY21082" fmla="*/ 4276938 h 5973007"/>
              <a:gd name="connsiteX21083" fmla="*/ 5862466 w 6884782"/>
              <a:gd name="connsiteY21083" fmla="*/ 4274150 h 5973007"/>
              <a:gd name="connsiteX21084" fmla="*/ 5510233 w 6884782"/>
              <a:gd name="connsiteY21084" fmla="*/ 4273943 h 5973007"/>
              <a:gd name="connsiteX21085" fmla="*/ 5497531 w 6884782"/>
              <a:gd name="connsiteY21085" fmla="*/ 4282927 h 5973007"/>
              <a:gd name="connsiteX21086" fmla="*/ 5493349 w 6884782"/>
              <a:gd name="connsiteY21086" fmla="*/ 4280345 h 5973007"/>
              <a:gd name="connsiteX21087" fmla="*/ 5510233 w 6884782"/>
              <a:gd name="connsiteY21087" fmla="*/ 4273943 h 5973007"/>
              <a:gd name="connsiteX21088" fmla="*/ 1185886 w 6884782"/>
              <a:gd name="connsiteY21088" fmla="*/ 4273861 h 5973007"/>
              <a:gd name="connsiteX21089" fmla="*/ 1194366 w 6884782"/>
              <a:gd name="connsiteY21089" fmla="*/ 4277643 h 5973007"/>
              <a:gd name="connsiteX21090" fmla="*/ 1188480 w 6884782"/>
              <a:gd name="connsiteY21090" fmla="*/ 4283012 h 5973007"/>
              <a:gd name="connsiteX21091" fmla="*/ 1185383 w 6884782"/>
              <a:gd name="connsiteY21091" fmla="*/ 4283529 h 5973007"/>
              <a:gd name="connsiteX21092" fmla="*/ 1182285 w 6884782"/>
              <a:gd name="connsiteY21092" fmla="*/ 4282703 h 5973007"/>
              <a:gd name="connsiteX21093" fmla="*/ 1185886 w 6884782"/>
              <a:gd name="connsiteY21093" fmla="*/ 4273861 h 5973007"/>
              <a:gd name="connsiteX21094" fmla="*/ 4977912 w 6884782"/>
              <a:gd name="connsiteY21094" fmla="*/ 4273324 h 5973007"/>
              <a:gd name="connsiteX21095" fmla="*/ 4980797 w 6884782"/>
              <a:gd name="connsiteY21095" fmla="*/ 4283443 h 5973007"/>
              <a:gd name="connsiteX21096" fmla="*/ 4972122 w 6884782"/>
              <a:gd name="connsiteY21096" fmla="*/ 4280862 h 5973007"/>
              <a:gd name="connsiteX21097" fmla="*/ 4977912 w 6884782"/>
              <a:gd name="connsiteY21097" fmla="*/ 4273324 h 5973007"/>
              <a:gd name="connsiteX21098" fmla="*/ 1327732 w 6884782"/>
              <a:gd name="connsiteY21098" fmla="*/ 4272997 h 5973007"/>
              <a:gd name="connsiteX21099" fmla="*/ 1331295 w 6884782"/>
              <a:gd name="connsiteY21099" fmla="*/ 4275062 h 5973007"/>
              <a:gd name="connsiteX21100" fmla="*/ 1331759 w 6884782"/>
              <a:gd name="connsiteY21100" fmla="*/ 4282496 h 5973007"/>
              <a:gd name="connsiteX21101" fmla="*/ 1322776 w 6884782"/>
              <a:gd name="connsiteY21101" fmla="*/ 4283838 h 5973007"/>
              <a:gd name="connsiteX21102" fmla="*/ 1327732 w 6884782"/>
              <a:gd name="connsiteY21102" fmla="*/ 4272997 h 5973007"/>
              <a:gd name="connsiteX21103" fmla="*/ 1221784 w 6884782"/>
              <a:gd name="connsiteY21103" fmla="*/ 4271757 h 5973007"/>
              <a:gd name="connsiteX21104" fmla="*/ 1218530 w 6884782"/>
              <a:gd name="connsiteY21104" fmla="*/ 4274958 h 5973007"/>
              <a:gd name="connsiteX21105" fmla="*/ 1214658 w 6884782"/>
              <a:gd name="connsiteY21105" fmla="*/ 4274442 h 5973007"/>
              <a:gd name="connsiteX21106" fmla="*/ 1221784 w 6884782"/>
              <a:gd name="connsiteY21106" fmla="*/ 4271757 h 5973007"/>
              <a:gd name="connsiteX21107" fmla="*/ 1210166 w 6884782"/>
              <a:gd name="connsiteY21107" fmla="*/ 4270621 h 5973007"/>
              <a:gd name="connsiteX21108" fmla="*/ 1212025 w 6884782"/>
              <a:gd name="connsiteY21108" fmla="*/ 4284974 h 5973007"/>
              <a:gd name="connsiteX21109" fmla="*/ 1207998 w 6884782"/>
              <a:gd name="connsiteY21109" fmla="*/ 4285180 h 5973007"/>
              <a:gd name="connsiteX21110" fmla="*/ 1199478 w 6884782"/>
              <a:gd name="connsiteY21110" fmla="*/ 4280018 h 5973007"/>
              <a:gd name="connsiteX21111" fmla="*/ 1210166 w 6884782"/>
              <a:gd name="connsiteY21111" fmla="*/ 4270621 h 5973007"/>
              <a:gd name="connsiteX21112" fmla="*/ 1423613 w 6884782"/>
              <a:gd name="connsiteY21112" fmla="*/ 4270105 h 5973007"/>
              <a:gd name="connsiteX21113" fmla="*/ 1426092 w 6884782"/>
              <a:gd name="connsiteY21113" fmla="*/ 4270105 h 5973007"/>
              <a:gd name="connsiteX21114" fmla="*/ 1435075 w 6884782"/>
              <a:gd name="connsiteY21114" fmla="*/ 4276507 h 5973007"/>
              <a:gd name="connsiteX21115" fmla="*/ 1432442 w 6884782"/>
              <a:gd name="connsiteY21115" fmla="*/ 4276507 h 5973007"/>
              <a:gd name="connsiteX21116" fmla="*/ 1423613 w 6884782"/>
              <a:gd name="connsiteY21116" fmla="*/ 4270105 h 5973007"/>
              <a:gd name="connsiteX21117" fmla="*/ 5655060 w 6884782"/>
              <a:gd name="connsiteY21117" fmla="*/ 4270020 h 5973007"/>
              <a:gd name="connsiteX21118" fmla="*/ 5657539 w 6884782"/>
              <a:gd name="connsiteY21118" fmla="*/ 4272498 h 5973007"/>
              <a:gd name="connsiteX21119" fmla="*/ 5656300 w 6884782"/>
              <a:gd name="connsiteY21119" fmla="*/ 4273324 h 5973007"/>
              <a:gd name="connsiteX21120" fmla="*/ 5656764 w 6884782"/>
              <a:gd name="connsiteY21120" fmla="*/ 4274150 h 5973007"/>
              <a:gd name="connsiteX21121" fmla="*/ 5655060 w 6884782"/>
              <a:gd name="connsiteY21121" fmla="*/ 4274150 h 5973007"/>
              <a:gd name="connsiteX21122" fmla="*/ 5654441 w 6884782"/>
              <a:gd name="connsiteY21122" fmla="*/ 4273531 h 5973007"/>
              <a:gd name="connsiteX21123" fmla="*/ 5654286 w 6884782"/>
              <a:gd name="connsiteY21123" fmla="*/ 4273427 h 5973007"/>
              <a:gd name="connsiteX21124" fmla="*/ 5654131 w 6884782"/>
              <a:gd name="connsiteY21124" fmla="*/ 4271569 h 5973007"/>
              <a:gd name="connsiteX21125" fmla="*/ 5655060 w 6884782"/>
              <a:gd name="connsiteY21125" fmla="*/ 4270020 h 5973007"/>
              <a:gd name="connsiteX21126" fmla="*/ 5835824 w 6884782"/>
              <a:gd name="connsiteY21126" fmla="*/ 4269813 h 5973007"/>
              <a:gd name="connsiteX21127" fmla="*/ 5831487 w 6884782"/>
              <a:gd name="connsiteY21127" fmla="*/ 4277454 h 5973007"/>
              <a:gd name="connsiteX21128" fmla="*/ 5830558 w 6884782"/>
              <a:gd name="connsiteY21128" fmla="*/ 4270020 h 5973007"/>
              <a:gd name="connsiteX21129" fmla="*/ 5835824 w 6884782"/>
              <a:gd name="connsiteY21129" fmla="*/ 4269813 h 5973007"/>
              <a:gd name="connsiteX21130" fmla="*/ 1035907 w 6884782"/>
              <a:gd name="connsiteY21130" fmla="*/ 4269589 h 5973007"/>
              <a:gd name="connsiteX21131" fmla="*/ 1047990 w 6884782"/>
              <a:gd name="connsiteY21131" fmla="*/ 4276817 h 5973007"/>
              <a:gd name="connsiteX21132" fmla="*/ 1048919 w 6884782"/>
              <a:gd name="connsiteY21132" fmla="*/ 4279192 h 5973007"/>
              <a:gd name="connsiteX21133" fmla="*/ 1046750 w 6884782"/>
              <a:gd name="connsiteY21133" fmla="*/ 4282496 h 5973007"/>
              <a:gd name="connsiteX21134" fmla="*/ 1045821 w 6884782"/>
              <a:gd name="connsiteY21134" fmla="*/ 4278985 h 5973007"/>
              <a:gd name="connsiteX21135" fmla="*/ 1046595 w 6884782"/>
              <a:gd name="connsiteY21135" fmla="*/ 4276507 h 5973007"/>
              <a:gd name="connsiteX21136" fmla="*/ 1040864 w 6884782"/>
              <a:gd name="connsiteY21136" fmla="*/ 4275371 h 5973007"/>
              <a:gd name="connsiteX21137" fmla="*/ 1036062 w 6884782"/>
              <a:gd name="connsiteY21137" fmla="*/ 4273513 h 5973007"/>
              <a:gd name="connsiteX21138" fmla="*/ 1035907 w 6884782"/>
              <a:gd name="connsiteY21138" fmla="*/ 4269589 h 5973007"/>
              <a:gd name="connsiteX21139" fmla="*/ 5375782 w 6884782"/>
              <a:gd name="connsiteY21139" fmla="*/ 4269400 h 5973007"/>
              <a:gd name="connsiteX21140" fmla="*/ 5380274 w 6884782"/>
              <a:gd name="connsiteY21140" fmla="*/ 4271775 h 5973007"/>
              <a:gd name="connsiteX21141" fmla="*/ 5380894 w 6884782"/>
              <a:gd name="connsiteY21141" fmla="*/ 4282101 h 5973007"/>
              <a:gd name="connsiteX21142" fmla="*/ 5371910 w 6884782"/>
              <a:gd name="connsiteY21142" fmla="*/ 4284372 h 5973007"/>
              <a:gd name="connsiteX21143" fmla="*/ 5371290 w 6884782"/>
              <a:gd name="connsiteY21143" fmla="*/ 4286231 h 5973007"/>
              <a:gd name="connsiteX21144" fmla="*/ 5368192 w 6884782"/>
              <a:gd name="connsiteY21144" fmla="*/ 4288090 h 5973007"/>
              <a:gd name="connsiteX21145" fmla="*/ 5367108 w 6884782"/>
              <a:gd name="connsiteY21145" fmla="*/ 4286438 h 5973007"/>
              <a:gd name="connsiteX21146" fmla="*/ 5370051 w 6884782"/>
              <a:gd name="connsiteY21146" fmla="*/ 4283650 h 5973007"/>
              <a:gd name="connsiteX21147" fmla="*/ 5370051 w 6884782"/>
              <a:gd name="connsiteY21147" fmla="*/ 4282824 h 5973007"/>
              <a:gd name="connsiteX21148" fmla="*/ 5368038 w 6884782"/>
              <a:gd name="connsiteY21148" fmla="*/ 4281171 h 5973007"/>
              <a:gd name="connsiteX21149" fmla="*/ 5366954 w 6884782"/>
              <a:gd name="connsiteY21149" fmla="*/ 4272498 h 5973007"/>
              <a:gd name="connsiteX21150" fmla="*/ 5375782 w 6884782"/>
              <a:gd name="connsiteY21150" fmla="*/ 4269400 h 5973007"/>
              <a:gd name="connsiteX21151" fmla="*/ 1302445 w 6884782"/>
              <a:gd name="connsiteY21151" fmla="*/ 4268943 h 5973007"/>
              <a:gd name="connsiteX21152" fmla="*/ 1308060 w 6884782"/>
              <a:gd name="connsiteY21152" fmla="*/ 4273203 h 5973007"/>
              <a:gd name="connsiteX21153" fmla="*/ 1309145 w 6884782"/>
              <a:gd name="connsiteY21153" fmla="*/ 4279502 h 5973007"/>
              <a:gd name="connsiteX21154" fmla="*/ 1308525 w 6884782"/>
              <a:gd name="connsiteY21154" fmla="*/ 4280637 h 5973007"/>
              <a:gd name="connsiteX21155" fmla="*/ 1310384 w 6884782"/>
              <a:gd name="connsiteY21155" fmla="*/ 4279605 h 5973007"/>
              <a:gd name="connsiteX21156" fmla="*/ 1320607 w 6884782"/>
              <a:gd name="connsiteY21156" fmla="*/ 4281464 h 5973007"/>
              <a:gd name="connsiteX21157" fmla="*/ 1305427 w 6884782"/>
              <a:gd name="connsiteY21157" fmla="*/ 4293338 h 5973007"/>
              <a:gd name="connsiteX21158" fmla="*/ 1301555 w 6884782"/>
              <a:gd name="connsiteY21158" fmla="*/ 4290034 h 5973007"/>
              <a:gd name="connsiteX21159" fmla="*/ 1301245 w 6884782"/>
              <a:gd name="connsiteY21159" fmla="*/ 4287452 h 5973007"/>
              <a:gd name="connsiteX21160" fmla="*/ 1290867 w 6884782"/>
              <a:gd name="connsiteY21160" fmla="*/ 4277643 h 5973007"/>
              <a:gd name="connsiteX21161" fmla="*/ 1293655 w 6884782"/>
              <a:gd name="connsiteY21161" fmla="*/ 4273513 h 5973007"/>
              <a:gd name="connsiteX21162" fmla="*/ 1293500 w 6884782"/>
              <a:gd name="connsiteY21162" fmla="*/ 4273100 h 5973007"/>
              <a:gd name="connsiteX21163" fmla="*/ 1294120 w 6884782"/>
              <a:gd name="connsiteY21163" fmla="*/ 4272790 h 5973007"/>
              <a:gd name="connsiteX21164" fmla="*/ 1295204 w 6884782"/>
              <a:gd name="connsiteY21164" fmla="*/ 4271035 h 5973007"/>
              <a:gd name="connsiteX21165" fmla="*/ 1302445 w 6884782"/>
              <a:gd name="connsiteY21165" fmla="*/ 4268943 h 5973007"/>
              <a:gd name="connsiteX21166" fmla="*/ 5724764 w 6884782"/>
              <a:gd name="connsiteY21166" fmla="*/ 4268265 h 5973007"/>
              <a:gd name="connsiteX21167" fmla="*/ 5725228 w 6884782"/>
              <a:gd name="connsiteY21167" fmla="*/ 4270123 h 5973007"/>
              <a:gd name="connsiteX21168" fmla="*/ 5725848 w 6884782"/>
              <a:gd name="connsiteY21168" fmla="*/ 4269607 h 5973007"/>
              <a:gd name="connsiteX21169" fmla="*/ 5729875 w 6884782"/>
              <a:gd name="connsiteY21169" fmla="*/ 4268471 h 5973007"/>
              <a:gd name="connsiteX21170" fmla="*/ 5727242 w 6884782"/>
              <a:gd name="connsiteY21170" fmla="*/ 4271052 h 5973007"/>
              <a:gd name="connsiteX21171" fmla="*/ 5725848 w 6884782"/>
              <a:gd name="connsiteY21171" fmla="*/ 4271982 h 5973007"/>
              <a:gd name="connsiteX21172" fmla="*/ 5726623 w 6884782"/>
              <a:gd name="connsiteY21172" fmla="*/ 4274150 h 5973007"/>
              <a:gd name="connsiteX21173" fmla="*/ 5724764 w 6884782"/>
              <a:gd name="connsiteY21173" fmla="*/ 4277971 h 5973007"/>
              <a:gd name="connsiteX21174" fmla="*/ 5726468 w 6884782"/>
              <a:gd name="connsiteY21174" fmla="*/ 4278384 h 5973007"/>
              <a:gd name="connsiteX21175" fmla="*/ 5723989 w 6884782"/>
              <a:gd name="connsiteY21175" fmla="*/ 4280965 h 5973007"/>
              <a:gd name="connsiteX21176" fmla="*/ 5723370 w 6884782"/>
              <a:gd name="connsiteY21176" fmla="*/ 4280345 h 5973007"/>
              <a:gd name="connsiteX21177" fmla="*/ 5721046 w 6884782"/>
              <a:gd name="connsiteY21177" fmla="*/ 4279829 h 5973007"/>
              <a:gd name="connsiteX21178" fmla="*/ 5720581 w 6884782"/>
              <a:gd name="connsiteY21178" fmla="*/ 4281068 h 5973007"/>
              <a:gd name="connsiteX21179" fmla="*/ 5717329 w 6884782"/>
              <a:gd name="connsiteY21179" fmla="*/ 4283133 h 5973007"/>
              <a:gd name="connsiteX21180" fmla="*/ 5715780 w 6884782"/>
              <a:gd name="connsiteY21180" fmla="*/ 4282101 h 5973007"/>
              <a:gd name="connsiteX21181" fmla="*/ 5714386 w 6884782"/>
              <a:gd name="connsiteY21181" fmla="*/ 4280552 h 5973007"/>
              <a:gd name="connsiteX21182" fmla="*/ 5713611 w 6884782"/>
              <a:gd name="connsiteY21182" fmla="*/ 4278694 h 5973007"/>
              <a:gd name="connsiteX21183" fmla="*/ 5713611 w 6884782"/>
              <a:gd name="connsiteY21183" fmla="*/ 4275802 h 5973007"/>
              <a:gd name="connsiteX21184" fmla="*/ 5715780 w 6884782"/>
              <a:gd name="connsiteY21184" fmla="*/ 4272498 h 5973007"/>
              <a:gd name="connsiteX21185" fmla="*/ 5717329 w 6884782"/>
              <a:gd name="connsiteY21185" fmla="*/ 4271569 h 5973007"/>
              <a:gd name="connsiteX21186" fmla="*/ 5717793 w 6884782"/>
              <a:gd name="connsiteY21186" fmla="*/ 4271775 h 5973007"/>
              <a:gd name="connsiteX21187" fmla="*/ 5720737 w 6884782"/>
              <a:gd name="connsiteY21187" fmla="*/ 4269504 h 5973007"/>
              <a:gd name="connsiteX21188" fmla="*/ 5724764 w 6884782"/>
              <a:gd name="connsiteY21188" fmla="*/ 4268265 h 5973007"/>
              <a:gd name="connsiteX21189" fmla="*/ 4869272 w 6884782"/>
              <a:gd name="connsiteY21189" fmla="*/ 4268161 h 5973007"/>
              <a:gd name="connsiteX21190" fmla="*/ 4869891 w 6884782"/>
              <a:gd name="connsiteY21190" fmla="*/ 4268574 h 5973007"/>
              <a:gd name="connsiteX21191" fmla="*/ 4872679 w 6884782"/>
              <a:gd name="connsiteY21191" fmla="*/ 4270330 h 5973007"/>
              <a:gd name="connsiteX21192" fmla="*/ 4871595 w 6884782"/>
              <a:gd name="connsiteY21192" fmla="*/ 4274873 h 5973007"/>
              <a:gd name="connsiteX21193" fmla="*/ 4868342 w 6884782"/>
              <a:gd name="connsiteY21193" fmla="*/ 4275079 h 5973007"/>
              <a:gd name="connsiteX21194" fmla="*/ 4866638 w 6884782"/>
              <a:gd name="connsiteY21194" fmla="*/ 4273840 h 5973007"/>
              <a:gd name="connsiteX21195" fmla="*/ 4867413 w 6884782"/>
              <a:gd name="connsiteY21195" fmla="*/ 4269091 h 5973007"/>
              <a:gd name="connsiteX21196" fmla="*/ 4869272 w 6884782"/>
              <a:gd name="connsiteY21196" fmla="*/ 4268161 h 5973007"/>
              <a:gd name="connsiteX21197" fmla="*/ 5820180 w 6884782"/>
              <a:gd name="connsiteY21197" fmla="*/ 4267026 h 5973007"/>
              <a:gd name="connsiteX21198" fmla="*/ 5818631 w 6884782"/>
              <a:gd name="connsiteY21198" fmla="*/ 4276215 h 5973007"/>
              <a:gd name="connsiteX21199" fmla="*/ 5817237 w 6884782"/>
              <a:gd name="connsiteY21199" fmla="*/ 4274357 h 5973007"/>
              <a:gd name="connsiteX21200" fmla="*/ 5820180 w 6884782"/>
              <a:gd name="connsiteY21200" fmla="*/ 4267026 h 5973007"/>
              <a:gd name="connsiteX21201" fmla="*/ 5577147 w 6884782"/>
              <a:gd name="connsiteY21201" fmla="*/ 4266819 h 5973007"/>
              <a:gd name="connsiteX21202" fmla="*/ 5571726 w 6884782"/>
              <a:gd name="connsiteY21202" fmla="*/ 4277454 h 5973007"/>
              <a:gd name="connsiteX21203" fmla="*/ 5567544 w 6884782"/>
              <a:gd name="connsiteY21203" fmla="*/ 4276628 h 5973007"/>
              <a:gd name="connsiteX21204" fmla="*/ 5577147 w 6884782"/>
              <a:gd name="connsiteY21204" fmla="*/ 4266819 h 5973007"/>
              <a:gd name="connsiteX21205" fmla="*/ 5666833 w 6884782"/>
              <a:gd name="connsiteY21205" fmla="*/ 4266303 h 5973007"/>
              <a:gd name="connsiteX21206" fmla="*/ 5688518 w 6884782"/>
              <a:gd name="connsiteY21206" fmla="*/ 4276318 h 5973007"/>
              <a:gd name="connsiteX21207" fmla="*/ 5669001 w 6884782"/>
              <a:gd name="connsiteY21207" fmla="*/ 4271569 h 5973007"/>
              <a:gd name="connsiteX21208" fmla="*/ 5666833 w 6884782"/>
              <a:gd name="connsiteY21208" fmla="*/ 4266303 h 5973007"/>
              <a:gd name="connsiteX21209" fmla="*/ 5632136 w 6884782"/>
              <a:gd name="connsiteY21209" fmla="*/ 4266096 h 5973007"/>
              <a:gd name="connsiteX21210" fmla="*/ 5639880 w 6884782"/>
              <a:gd name="connsiteY21210" fmla="*/ 4281584 h 5973007"/>
              <a:gd name="connsiteX21211" fmla="*/ 5628573 w 6884782"/>
              <a:gd name="connsiteY21211" fmla="*/ 4286438 h 5973007"/>
              <a:gd name="connsiteX21212" fmla="*/ 5617111 w 6884782"/>
              <a:gd name="connsiteY21212" fmla="*/ 4281378 h 5973007"/>
              <a:gd name="connsiteX21213" fmla="*/ 5618505 w 6884782"/>
              <a:gd name="connsiteY21213" fmla="*/ 4275905 h 5973007"/>
              <a:gd name="connsiteX21214" fmla="*/ 5632136 w 6884782"/>
              <a:gd name="connsiteY21214" fmla="*/ 4266096 h 5973007"/>
              <a:gd name="connsiteX21215" fmla="*/ 1232471 w 6884782"/>
              <a:gd name="connsiteY21215" fmla="*/ 4265975 h 5973007"/>
              <a:gd name="connsiteX21216" fmla="*/ 1232626 w 6884782"/>
              <a:gd name="connsiteY21216" fmla="*/ 4266698 h 5973007"/>
              <a:gd name="connsiteX21217" fmla="*/ 1230922 w 6884782"/>
              <a:gd name="connsiteY21217" fmla="*/ 4268969 h 5973007"/>
              <a:gd name="connsiteX21218" fmla="*/ 1228599 w 6884782"/>
              <a:gd name="connsiteY21218" fmla="*/ 4268246 h 5973007"/>
              <a:gd name="connsiteX21219" fmla="*/ 1229528 w 6884782"/>
              <a:gd name="connsiteY21219" fmla="*/ 4266181 h 5973007"/>
              <a:gd name="connsiteX21220" fmla="*/ 1232471 w 6884782"/>
              <a:gd name="connsiteY21220" fmla="*/ 4265975 h 5973007"/>
              <a:gd name="connsiteX21221" fmla="*/ 697150 w 6884782"/>
              <a:gd name="connsiteY21221" fmla="*/ 4265046 h 5973007"/>
              <a:gd name="connsiteX21222" fmla="*/ 697769 w 6884782"/>
              <a:gd name="connsiteY21222" fmla="*/ 4266904 h 5973007"/>
              <a:gd name="connsiteX21223" fmla="*/ 696065 w 6884782"/>
              <a:gd name="connsiteY21223" fmla="*/ 4268350 h 5973007"/>
              <a:gd name="connsiteX21224" fmla="*/ 693277 w 6884782"/>
              <a:gd name="connsiteY21224" fmla="*/ 4268556 h 5973007"/>
              <a:gd name="connsiteX21225" fmla="*/ 691108 w 6884782"/>
              <a:gd name="connsiteY21225" fmla="*/ 4267524 h 5973007"/>
              <a:gd name="connsiteX21226" fmla="*/ 690334 w 6884782"/>
              <a:gd name="connsiteY21226" fmla="*/ 4265665 h 5973007"/>
              <a:gd name="connsiteX21227" fmla="*/ 697150 w 6884782"/>
              <a:gd name="connsiteY21227" fmla="*/ 4265046 h 5973007"/>
              <a:gd name="connsiteX21228" fmla="*/ 1397126 w 6884782"/>
              <a:gd name="connsiteY21228" fmla="*/ 4264426 h 5973007"/>
              <a:gd name="connsiteX21229" fmla="*/ 1413854 w 6884782"/>
              <a:gd name="connsiteY21229" fmla="*/ 4279811 h 5973007"/>
              <a:gd name="connsiteX21230" fmla="*/ 1408279 w 6884782"/>
              <a:gd name="connsiteY21230" fmla="*/ 4284561 h 5973007"/>
              <a:gd name="connsiteX21231" fmla="*/ 1409672 w 6884782"/>
              <a:gd name="connsiteY21231" fmla="*/ 4288795 h 5973007"/>
              <a:gd name="connsiteX21232" fmla="*/ 1405955 w 6884782"/>
              <a:gd name="connsiteY21232" fmla="*/ 4291273 h 5973007"/>
              <a:gd name="connsiteX21233" fmla="*/ 1400998 w 6884782"/>
              <a:gd name="connsiteY21233" fmla="*/ 4288381 h 5973007"/>
              <a:gd name="connsiteX21234" fmla="*/ 1400379 w 6884782"/>
              <a:gd name="connsiteY21234" fmla="*/ 4287452 h 5973007"/>
              <a:gd name="connsiteX21235" fmla="*/ 1399139 w 6884782"/>
              <a:gd name="connsiteY21235" fmla="*/ 4287762 h 5973007"/>
              <a:gd name="connsiteX21236" fmla="*/ 1375595 w 6884782"/>
              <a:gd name="connsiteY21236" fmla="*/ 4272067 h 5973007"/>
              <a:gd name="connsiteX21237" fmla="*/ 1376214 w 6884782"/>
              <a:gd name="connsiteY21237" fmla="*/ 4269486 h 5973007"/>
              <a:gd name="connsiteX21238" fmla="*/ 1397126 w 6884782"/>
              <a:gd name="connsiteY21238" fmla="*/ 4264426 h 5973007"/>
              <a:gd name="connsiteX21239" fmla="*/ 1074941 w 6884782"/>
              <a:gd name="connsiteY21239" fmla="*/ 4264220 h 5973007"/>
              <a:gd name="connsiteX21240" fmla="*/ 1076645 w 6884782"/>
              <a:gd name="connsiteY21240" fmla="*/ 4269692 h 5973007"/>
              <a:gd name="connsiteX21241" fmla="*/ 1077110 w 6884782"/>
              <a:gd name="connsiteY21241" fmla="*/ 4269589 h 5973007"/>
              <a:gd name="connsiteX21242" fmla="*/ 1080673 w 6884782"/>
              <a:gd name="connsiteY21242" fmla="*/ 4280018 h 5973007"/>
              <a:gd name="connsiteX21243" fmla="*/ 1080518 w 6884782"/>
              <a:gd name="connsiteY21243" fmla="*/ 4283322 h 5973007"/>
              <a:gd name="connsiteX21244" fmla="*/ 1080982 w 6884782"/>
              <a:gd name="connsiteY21244" fmla="*/ 4290240 h 5973007"/>
              <a:gd name="connsiteX21245" fmla="*/ 1078969 w 6884782"/>
              <a:gd name="connsiteY21245" fmla="*/ 4300256 h 5973007"/>
              <a:gd name="connsiteX21246" fmla="*/ 1072308 w 6884782"/>
              <a:gd name="connsiteY21246" fmla="*/ 4293132 h 5973007"/>
              <a:gd name="connsiteX21247" fmla="*/ 1071689 w 6884782"/>
              <a:gd name="connsiteY21247" fmla="*/ 4293132 h 5973007"/>
              <a:gd name="connsiteX21248" fmla="*/ 1064408 w 6884782"/>
              <a:gd name="connsiteY21248" fmla="*/ 4273306 h 5973007"/>
              <a:gd name="connsiteX21249" fmla="*/ 1070450 w 6884782"/>
              <a:gd name="connsiteY21249" fmla="*/ 4270208 h 5973007"/>
              <a:gd name="connsiteX21250" fmla="*/ 1072618 w 6884782"/>
              <a:gd name="connsiteY21250" fmla="*/ 4270002 h 5973007"/>
              <a:gd name="connsiteX21251" fmla="*/ 1310539 w 6884782"/>
              <a:gd name="connsiteY21251" fmla="*/ 4263394 h 5973007"/>
              <a:gd name="connsiteX21252" fmla="*/ 1316580 w 6884782"/>
              <a:gd name="connsiteY21252" fmla="*/ 4268246 h 5973007"/>
              <a:gd name="connsiteX21253" fmla="*/ 1311003 w 6884782"/>
              <a:gd name="connsiteY21253" fmla="*/ 4270518 h 5973007"/>
              <a:gd name="connsiteX21254" fmla="*/ 1305582 w 6884782"/>
              <a:gd name="connsiteY21254" fmla="*/ 4268969 h 5973007"/>
              <a:gd name="connsiteX21255" fmla="*/ 1310539 w 6884782"/>
              <a:gd name="connsiteY21255" fmla="*/ 4263394 h 5973007"/>
              <a:gd name="connsiteX21256" fmla="*/ 1241455 w 6884782"/>
              <a:gd name="connsiteY21256" fmla="*/ 4263394 h 5973007"/>
              <a:gd name="connsiteX21257" fmla="*/ 1242075 w 6884782"/>
              <a:gd name="connsiteY21257" fmla="*/ 4265975 h 5973007"/>
              <a:gd name="connsiteX21258" fmla="*/ 1237738 w 6884782"/>
              <a:gd name="connsiteY21258" fmla="*/ 4266698 h 5973007"/>
              <a:gd name="connsiteX21259" fmla="*/ 1237892 w 6884782"/>
              <a:gd name="connsiteY21259" fmla="*/ 4263807 h 5973007"/>
              <a:gd name="connsiteX21260" fmla="*/ 1241455 w 6884782"/>
              <a:gd name="connsiteY21260" fmla="*/ 4263394 h 5973007"/>
              <a:gd name="connsiteX21261" fmla="*/ 5543690 w 6884782"/>
              <a:gd name="connsiteY21261" fmla="*/ 4263205 h 5973007"/>
              <a:gd name="connsiteX21262" fmla="*/ 5546323 w 6884782"/>
              <a:gd name="connsiteY21262" fmla="*/ 4265890 h 5973007"/>
              <a:gd name="connsiteX21263" fmla="*/ 5539353 w 6884782"/>
              <a:gd name="connsiteY21263" fmla="*/ 4273221 h 5973007"/>
              <a:gd name="connsiteX21264" fmla="*/ 5535790 w 6884782"/>
              <a:gd name="connsiteY21264" fmla="*/ 4268884 h 5973007"/>
              <a:gd name="connsiteX21265" fmla="*/ 5543690 w 6884782"/>
              <a:gd name="connsiteY21265" fmla="*/ 4263205 h 5973007"/>
              <a:gd name="connsiteX21266" fmla="*/ 1046130 w 6884782"/>
              <a:gd name="connsiteY21266" fmla="*/ 4262877 h 5973007"/>
              <a:gd name="connsiteX21267" fmla="*/ 1046905 w 6884782"/>
              <a:gd name="connsiteY21267" fmla="*/ 4262980 h 5973007"/>
              <a:gd name="connsiteX21268" fmla="*/ 1047835 w 6884782"/>
              <a:gd name="connsiteY21268" fmla="*/ 4264530 h 5973007"/>
              <a:gd name="connsiteX21269" fmla="*/ 1048144 w 6884782"/>
              <a:gd name="connsiteY21269" fmla="*/ 4264426 h 5973007"/>
              <a:gd name="connsiteX21270" fmla="*/ 1051242 w 6884782"/>
              <a:gd name="connsiteY21270" fmla="*/ 4267214 h 5973007"/>
              <a:gd name="connsiteX21271" fmla="*/ 1047680 w 6884782"/>
              <a:gd name="connsiteY21271" fmla="*/ 4270105 h 5973007"/>
              <a:gd name="connsiteX21272" fmla="*/ 1044427 w 6884782"/>
              <a:gd name="connsiteY21272" fmla="*/ 4268556 h 5973007"/>
              <a:gd name="connsiteX21273" fmla="*/ 1043187 w 6884782"/>
              <a:gd name="connsiteY21273" fmla="*/ 4265252 h 5973007"/>
              <a:gd name="connsiteX21274" fmla="*/ 1045356 w 6884782"/>
              <a:gd name="connsiteY21274" fmla="*/ 4264942 h 5973007"/>
              <a:gd name="connsiteX21275" fmla="*/ 5901345 w 6884782"/>
              <a:gd name="connsiteY21275" fmla="*/ 4260933 h 5973007"/>
              <a:gd name="connsiteX21276" fmla="*/ 5916061 w 6884782"/>
              <a:gd name="connsiteY21276" fmla="*/ 4277764 h 5973007"/>
              <a:gd name="connsiteX21277" fmla="*/ 5900726 w 6884782"/>
              <a:gd name="connsiteY21277" fmla="*/ 4266406 h 5973007"/>
              <a:gd name="connsiteX21278" fmla="*/ 5901345 w 6884782"/>
              <a:gd name="connsiteY21278" fmla="*/ 4260933 h 5973007"/>
              <a:gd name="connsiteX21279" fmla="*/ 5447345 w 6884782"/>
              <a:gd name="connsiteY21279" fmla="*/ 4260624 h 5973007"/>
              <a:gd name="connsiteX21280" fmla="*/ 5447809 w 6884782"/>
              <a:gd name="connsiteY21280" fmla="*/ 4264134 h 5973007"/>
              <a:gd name="connsiteX21281" fmla="*/ 5442233 w 6884782"/>
              <a:gd name="connsiteY21281" fmla="*/ 4268574 h 5973007"/>
              <a:gd name="connsiteX21282" fmla="*/ 5440065 w 6884782"/>
              <a:gd name="connsiteY21282" fmla="*/ 4268161 h 5973007"/>
              <a:gd name="connsiteX21283" fmla="*/ 5440374 w 6884782"/>
              <a:gd name="connsiteY21283" fmla="*/ 4263721 h 5973007"/>
              <a:gd name="connsiteX21284" fmla="*/ 5447345 w 6884782"/>
              <a:gd name="connsiteY21284" fmla="*/ 4260624 h 5973007"/>
              <a:gd name="connsiteX21285" fmla="*/ 5357505 w 6884782"/>
              <a:gd name="connsiteY21285" fmla="*/ 4260107 h 5973007"/>
              <a:gd name="connsiteX21286" fmla="*/ 5363236 w 6884782"/>
              <a:gd name="connsiteY21286" fmla="*/ 4264857 h 5973007"/>
              <a:gd name="connsiteX21287" fmla="*/ 5362926 w 6884782"/>
              <a:gd name="connsiteY21287" fmla="*/ 4270020 h 5973007"/>
              <a:gd name="connsiteX21288" fmla="*/ 5357195 w 6884782"/>
              <a:gd name="connsiteY21288" fmla="*/ 4275905 h 5973007"/>
              <a:gd name="connsiteX21289" fmla="*/ 5354097 w 6884782"/>
              <a:gd name="connsiteY21289" fmla="*/ 4273014 h 5973007"/>
              <a:gd name="connsiteX21290" fmla="*/ 5357505 w 6884782"/>
              <a:gd name="connsiteY21290" fmla="*/ 4260107 h 5973007"/>
              <a:gd name="connsiteX21291" fmla="*/ 5752026 w 6884782"/>
              <a:gd name="connsiteY21291" fmla="*/ 4260004 h 5973007"/>
              <a:gd name="connsiteX21292" fmla="*/ 5759925 w 6884782"/>
              <a:gd name="connsiteY21292" fmla="*/ 4262792 h 5973007"/>
              <a:gd name="connsiteX21293" fmla="*/ 5748153 w 6884782"/>
              <a:gd name="connsiteY21293" fmla="*/ 4280242 h 5973007"/>
              <a:gd name="connsiteX21294" fmla="*/ 5745829 w 6884782"/>
              <a:gd name="connsiteY21294" fmla="*/ 4275493 h 5973007"/>
              <a:gd name="connsiteX21295" fmla="*/ 5747379 w 6884782"/>
              <a:gd name="connsiteY21295" fmla="*/ 4266819 h 5973007"/>
              <a:gd name="connsiteX21296" fmla="*/ 5748463 w 6884782"/>
              <a:gd name="connsiteY21296" fmla="*/ 4265373 h 5973007"/>
              <a:gd name="connsiteX21297" fmla="*/ 5748618 w 6884782"/>
              <a:gd name="connsiteY21297" fmla="*/ 4264650 h 5973007"/>
              <a:gd name="connsiteX21298" fmla="*/ 5749547 w 6884782"/>
              <a:gd name="connsiteY21298" fmla="*/ 4263721 h 5973007"/>
              <a:gd name="connsiteX21299" fmla="*/ 5688363 w 6884782"/>
              <a:gd name="connsiteY21299" fmla="*/ 4257939 h 5973007"/>
              <a:gd name="connsiteX21300" fmla="*/ 5688208 w 6884782"/>
              <a:gd name="connsiteY21300" fmla="*/ 4260830 h 5973007"/>
              <a:gd name="connsiteX21301" fmla="*/ 5688518 w 6884782"/>
              <a:gd name="connsiteY21301" fmla="*/ 4262379 h 5973007"/>
              <a:gd name="connsiteX21302" fmla="*/ 5687434 w 6884782"/>
              <a:gd name="connsiteY21302" fmla="*/ 4264237 h 5973007"/>
              <a:gd name="connsiteX21303" fmla="*/ 5684491 w 6884782"/>
              <a:gd name="connsiteY21303" fmla="*/ 4266406 h 5973007"/>
              <a:gd name="connsiteX21304" fmla="*/ 5680463 w 6884782"/>
              <a:gd name="connsiteY21304" fmla="*/ 4265890 h 5973007"/>
              <a:gd name="connsiteX21305" fmla="*/ 5681393 w 6884782"/>
              <a:gd name="connsiteY21305" fmla="*/ 4265890 h 5973007"/>
              <a:gd name="connsiteX21306" fmla="*/ 5681547 w 6884782"/>
              <a:gd name="connsiteY21306" fmla="*/ 4264134 h 5973007"/>
              <a:gd name="connsiteX21307" fmla="*/ 5680773 w 6884782"/>
              <a:gd name="connsiteY21307" fmla="*/ 4264134 h 5973007"/>
              <a:gd name="connsiteX21308" fmla="*/ 5681702 w 6884782"/>
              <a:gd name="connsiteY21308" fmla="*/ 4262379 h 5973007"/>
              <a:gd name="connsiteX21309" fmla="*/ 5684646 w 6884782"/>
              <a:gd name="connsiteY21309" fmla="*/ 4260210 h 5973007"/>
              <a:gd name="connsiteX21310" fmla="*/ 5683716 w 6884782"/>
              <a:gd name="connsiteY21310" fmla="*/ 4258455 h 5973007"/>
              <a:gd name="connsiteX21311" fmla="*/ 5688363 w 6884782"/>
              <a:gd name="connsiteY21311" fmla="*/ 4257939 h 5973007"/>
              <a:gd name="connsiteX21312" fmla="*/ 1360570 w 6884782"/>
              <a:gd name="connsiteY21312" fmla="*/ 4257198 h 5973007"/>
              <a:gd name="connsiteX21313" fmla="*/ 1360415 w 6884782"/>
              <a:gd name="connsiteY21313" fmla="*/ 4261432 h 5973007"/>
              <a:gd name="connsiteX21314" fmla="*/ 1353600 w 6884782"/>
              <a:gd name="connsiteY21314" fmla="*/ 4262361 h 5973007"/>
              <a:gd name="connsiteX21315" fmla="*/ 1351431 w 6884782"/>
              <a:gd name="connsiteY21315" fmla="*/ 4263600 h 5973007"/>
              <a:gd name="connsiteX21316" fmla="*/ 1349263 w 6884782"/>
              <a:gd name="connsiteY21316" fmla="*/ 4263497 h 5973007"/>
              <a:gd name="connsiteX21317" fmla="*/ 1354530 w 6884782"/>
              <a:gd name="connsiteY21317" fmla="*/ 4260709 h 5973007"/>
              <a:gd name="connsiteX21318" fmla="*/ 1355459 w 6884782"/>
              <a:gd name="connsiteY21318" fmla="*/ 4258231 h 5973007"/>
              <a:gd name="connsiteX21319" fmla="*/ 1360570 w 6884782"/>
              <a:gd name="connsiteY21319" fmla="*/ 4257198 h 5973007"/>
              <a:gd name="connsiteX21320" fmla="*/ 5637092 w 6884782"/>
              <a:gd name="connsiteY21320" fmla="*/ 4257113 h 5973007"/>
              <a:gd name="connsiteX21321" fmla="*/ 5638177 w 6884782"/>
              <a:gd name="connsiteY21321" fmla="*/ 4263515 h 5973007"/>
              <a:gd name="connsiteX21322" fmla="*/ 5636628 w 6884782"/>
              <a:gd name="connsiteY21322" fmla="*/ 4260624 h 5973007"/>
              <a:gd name="connsiteX21323" fmla="*/ 5637092 w 6884782"/>
              <a:gd name="connsiteY21323" fmla="*/ 4257113 h 5973007"/>
              <a:gd name="connsiteX21324" fmla="*/ 5456019 w 6884782"/>
              <a:gd name="connsiteY21324" fmla="*/ 4256597 h 5973007"/>
              <a:gd name="connsiteX21325" fmla="*/ 5456329 w 6884782"/>
              <a:gd name="connsiteY21325" fmla="*/ 4259281 h 5973007"/>
              <a:gd name="connsiteX21326" fmla="*/ 5454934 w 6884782"/>
              <a:gd name="connsiteY21326" fmla="*/ 4260210 h 5973007"/>
              <a:gd name="connsiteX21327" fmla="*/ 5454470 w 6884782"/>
              <a:gd name="connsiteY21327" fmla="*/ 4262999 h 5973007"/>
              <a:gd name="connsiteX21328" fmla="*/ 5452921 w 6884782"/>
              <a:gd name="connsiteY21328" fmla="*/ 4263102 h 5973007"/>
              <a:gd name="connsiteX21329" fmla="*/ 5453695 w 6884782"/>
              <a:gd name="connsiteY21329" fmla="*/ 4257629 h 5973007"/>
              <a:gd name="connsiteX21330" fmla="*/ 5456019 w 6884782"/>
              <a:gd name="connsiteY21330" fmla="*/ 4256597 h 5973007"/>
              <a:gd name="connsiteX21331" fmla="*/ 1261281 w 6884782"/>
              <a:gd name="connsiteY21331" fmla="*/ 4255340 h 5973007"/>
              <a:gd name="connsiteX21332" fmla="*/ 1258184 w 6884782"/>
              <a:gd name="connsiteY21332" fmla="*/ 4259470 h 5973007"/>
              <a:gd name="connsiteX21333" fmla="*/ 1256170 w 6884782"/>
              <a:gd name="connsiteY21333" fmla="*/ 4256682 h 5973007"/>
              <a:gd name="connsiteX21334" fmla="*/ 1261281 w 6884782"/>
              <a:gd name="connsiteY21334" fmla="*/ 4255340 h 5973007"/>
              <a:gd name="connsiteX21335" fmla="*/ 1410544 w 6884782"/>
              <a:gd name="connsiteY21335" fmla="*/ 4253946 h 5973007"/>
              <a:gd name="connsiteX21336" fmla="*/ 1418347 w 6884782"/>
              <a:gd name="connsiteY21336" fmla="*/ 4257611 h 5973007"/>
              <a:gd name="connsiteX21337" fmla="*/ 1418811 w 6884782"/>
              <a:gd name="connsiteY21337" fmla="*/ 4260296 h 5973007"/>
              <a:gd name="connsiteX21338" fmla="*/ 1409827 w 6884782"/>
              <a:gd name="connsiteY21338" fmla="*/ 4265665 h 5973007"/>
              <a:gd name="connsiteX21339" fmla="*/ 1401773 w 6884782"/>
              <a:gd name="connsiteY21339" fmla="*/ 4260606 h 5973007"/>
              <a:gd name="connsiteX21340" fmla="*/ 1402392 w 6884782"/>
              <a:gd name="connsiteY21340" fmla="*/ 4257405 h 5973007"/>
              <a:gd name="connsiteX21341" fmla="*/ 1410544 w 6884782"/>
              <a:gd name="connsiteY21341" fmla="*/ 4253946 h 5973007"/>
              <a:gd name="connsiteX21342" fmla="*/ 692657 w 6884782"/>
              <a:gd name="connsiteY21342" fmla="*/ 4253791 h 5973007"/>
              <a:gd name="connsiteX21343" fmla="*/ 694981 w 6884782"/>
              <a:gd name="connsiteY21343" fmla="*/ 4256888 h 5973007"/>
              <a:gd name="connsiteX21344" fmla="*/ 693277 w 6884782"/>
              <a:gd name="connsiteY21344" fmla="*/ 4257714 h 5973007"/>
              <a:gd name="connsiteX21345" fmla="*/ 691728 w 6884782"/>
              <a:gd name="connsiteY21345" fmla="*/ 4257198 h 5973007"/>
              <a:gd name="connsiteX21346" fmla="*/ 691264 w 6884782"/>
              <a:gd name="connsiteY21346" fmla="*/ 4255649 h 5973007"/>
              <a:gd name="connsiteX21347" fmla="*/ 692657 w 6884782"/>
              <a:gd name="connsiteY21347" fmla="*/ 4253791 h 5973007"/>
              <a:gd name="connsiteX21348" fmla="*/ 5902120 w 6884782"/>
              <a:gd name="connsiteY21348" fmla="*/ 4253189 h 5973007"/>
              <a:gd name="connsiteX21349" fmla="*/ 5902275 w 6884782"/>
              <a:gd name="connsiteY21349" fmla="*/ 4256493 h 5973007"/>
              <a:gd name="connsiteX21350" fmla="*/ 5901810 w 6884782"/>
              <a:gd name="connsiteY21350" fmla="*/ 4257009 h 5973007"/>
              <a:gd name="connsiteX21351" fmla="*/ 5901345 w 6884782"/>
              <a:gd name="connsiteY21351" fmla="*/ 4256390 h 5973007"/>
              <a:gd name="connsiteX21352" fmla="*/ 5902120 w 6884782"/>
              <a:gd name="connsiteY21352" fmla="*/ 4253189 h 5973007"/>
              <a:gd name="connsiteX21353" fmla="*/ 1385199 w 6884782"/>
              <a:gd name="connsiteY21353" fmla="*/ 4252552 h 5973007"/>
              <a:gd name="connsiteX21354" fmla="*/ 1387987 w 6884782"/>
              <a:gd name="connsiteY21354" fmla="*/ 4258024 h 5973007"/>
              <a:gd name="connsiteX21355" fmla="*/ 1383650 w 6884782"/>
              <a:gd name="connsiteY21355" fmla="*/ 4259676 h 5973007"/>
              <a:gd name="connsiteX21356" fmla="*/ 1380862 w 6884782"/>
              <a:gd name="connsiteY21356" fmla="*/ 4257405 h 5973007"/>
              <a:gd name="connsiteX21357" fmla="*/ 1385199 w 6884782"/>
              <a:gd name="connsiteY21357" fmla="*/ 4252552 h 5973007"/>
              <a:gd name="connsiteX21358" fmla="*/ 1074128 w 6884782"/>
              <a:gd name="connsiteY21358" fmla="*/ 4252242 h 5973007"/>
              <a:gd name="connsiteX21359" fmla="*/ 1077885 w 6884782"/>
              <a:gd name="connsiteY21359" fmla="*/ 4255443 h 5973007"/>
              <a:gd name="connsiteX21360" fmla="*/ 1076026 w 6884782"/>
              <a:gd name="connsiteY21360" fmla="*/ 4256888 h 5973007"/>
              <a:gd name="connsiteX21361" fmla="*/ 1069210 w 6884782"/>
              <a:gd name="connsiteY21361" fmla="*/ 4253378 h 5973007"/>
              <a:gd name="connsiteX21362" fmla="*/ 1074128 w 6884782"/>
              <a:gd name="connsiteY21362" fmla="*/ 4252242 h 5973007"/>
              <a:gd name="connsiteX21363" fmla="*/ 1508032 w 6884782"/>
              <a:gd name="connsiteY21363" fmla="*/ 4250590 h 5973007"/>
              <a:gd name="connsiteX21364" fmla="*/ 1510045 w 6884782"/>
              <a:gd name="connsiteY21364" fmla="*/ 4277953 h 5973007"/>
              <a:gd name="connsiteX21365" fmla="*/ 1506173 w 6884782"/>
              <a:gd name="connsiteY21365" fmla="*/ 4274339 h 5973007"/>
              <a:gd name="connsiteX21366" fmla="*/ 1501061 w 6884782"/>
              <a:gd name="connsiteY21366" fmla="*/ 4279295 h 5973007"/>
              <a:gd name="connsiteX21367" fmla="*/ 1493006 w 6884782"/>
              <a:gd name="connsiteY21367" fmla="*/ 4282599 h 5973007"/>
              <a:gd name="connsiteX21368" fmla="*/ 1488204 w 6884782"/>
              <a:gd name="connsiteY21368" fmla="*/ 4282806 h 5973007"/>
              <a:gd name="connsiteX21369" fmla="*/ 1485261 w 6884782"/>
              <a:gd name="connsiteY21369" fmla="*/ 4286110 h 5973007"/>
              <a:gd name="connsiteX21370" fmla="*/ 1479221 w 6884782"/>
              <a:gd name="connsiteY21370" fmla="*/ 4286936 h 5973007"/>
              <a:gd name="connsiteX21371" fmla="*/ 1475968 w 6884782"/>
              <a:gd name="connsiteY21371" fmla="*/ 4285594 h 5973007"/>
              <a:gd name="connsiteX21372" fmla="*/ 1473800 w 6884782"/>
              <a:gd name="connsiteY21372" fmla="*/ 4278366 h 5973007"/>
              <a:gd name="connsiteX21373" fmla="*/ 1477362 w 6884782"/>
              <a:gd name="connsiteY21373" fmla="*/ 4273926 h 5973007"/>
              <a:gd name="connsiteX21374" fmla="*/ 1480615 w 6884782"/>
              <a:gd name="connsiteY21374" fmla="*/ 4273719 h 5973007"/>
              <a:gd name="connsiteX21375" fmla="*/ 1480305 w 6884782"/>
              <a:gd name="connsiteY21375" fmla="*/ 4272480 h 5973007"/>
              <a:gd name="connsiteX21376" fmla="*/ 1503075 w 6884782"/>
              <a:gd name="connsiteY21376" fmla="*/ 4257302 h 5973007"/>
              <a:gd name="connsiteX21377" fmla="*/ 1505553 w 6884782"/>
              <a:gd name="connsiteY21377" fmla="*/ 4257611 h 5973007"/>
              <a:gd name="connsiteX21378" fmla="*/ 1505708 w 6884782"/>
              <a:gd name="connsiteY21378" fmla="*/ 4256682 h 5973007"/>
              <a:gd name="connsiteX21379" fmla="*/ 1508032 w 6884782"/>
              <a:gd name="connsiteY21379" fmla="*/ 4250590 h 5973007"/>
              <a:gd name="connsiteX21380" fmla="*/ 5451991 w 6884782"/>
              <a:gd name="connsiteY21380" fmla="*/ 4250092 h 5973007"/>
              <a:gd name="connsiteX21381" fmla="*/ 5451372 w 6884782"/>
              <a:gd name="connsiteY21381" fmla="*/ 4251847 h 5973007"/>
              <a:gd name="connsiteX21382" fmla="*/ 5448429 w 6884782"/>
              <a:gd name="connsiteY21382" fmla="*/ 4256390 h 5973007"/>
              <a:gd name="connsiteX21383" fmla="*/ 5447345 w 6884782"/>
              <a:gd name="connsiteY21383" fmla="*/ 4253808 h 5973007"/>
              <a:gd name="connsiteX21384" fmla="*/ 5448739 w 6884782"/>
              <a:gd name="connsiteY21384" fmla="*/ 4251950 h 5973007"/>
              <a:gd name="connsiteX21385" fmla="*/ 5449358 w 6884782"/>
              <a:gd name="connsiteY21385" fmla="*/ 4250195 h 5973007"/>
              <a:gd name="connsiteX21386" fmla="*/ 5451991 w 6884782"/>
              <a:gd name="connsiteY21386" fmla="*/ 4250092 h 5973007"/>
              <a:gd name="connsiteX21387" fmla="*/ 5543845 w 6884782"/>
              <a:gd name="connsiteY21387" fmla="*/ 4249472 h 5973007"/>
              <a:gd name="connsiteX21388" fmla="*/ 5547253 w 6884782"/>
              <a:gd name="connsiteY21388" fmla="*/ 4255977 h 5973007"/>
              <a:gd name="connsiteX21389" fmla="*/ 5545239 w 6884782"/>
              <a:gd name="connsiteY21389" fmla="*/ 4262069 h 5973007"/>
              <a:gd name="connsiteX21390" fmla="*/ 5541831 w 6884782"/>
              <a:gd name="connsiteY21390" fmla="*/ 4259901 h 5973007"/>
              <a:gd name="connsiteX21391" fmla="*/ 5542296 w 6884782"/>
              <a:gd name="connsiteY21391" fmla="*/ 4254841 h 5973007"/>
              <a:gd name="connsiteX21392" fmla="*/ 5541986 w 6884782"/>
              <a:gd name="connsiteY21392" fmla="*/ 4251434 h 5973007"/>
              <a:gd name="connsiteX21393" fmla="*/ 5543845 w 6884782"/>
              <a:gd name="connsiteY21393" fmla="*/ 4249472 h 5973007"/>
              <a:gd name="connsiteX21394" fmla="*/ 1328816 w 6884782"/>
              <a:gd name="connsiteY21394" fmla="*/ 4249041 h 5973007"/>
              <a:gd name="connsiteX21395" fmla="*/ 1333773 w 6884782"/>
              <a:gd name="connsiteY21395" fmla="*/ 4251932 h 5973007"/>
              <a:gd name="connsiteX21396" fmla="*/ 1330830 w 6884782"/>
              <a:gd name="connsiteY21396" fmla="*/ 4255753 h 5973007"/>
              <a:gd name="connsiteX21397" fmla="*/ 1326338 w 6884782"/>
              <a:gd name="connsiteY21397" fmla="*/ 4254101 h 5973007"/>
              <a:gd name="connsiteX21398" fmla="*/ 1328816 w 6884782"/>
              <a:gd name="connsiteY21398" fmla="*/ 4249041 h 5973007"/>
              <a:gd name="connsiteX21399" fmla="*/ 1048919 w 6884782"/>
              <a:gd name="connsiteY21399" fmla="*/ 4248938 h 5973007"/>
              <a:gd name="connsiteX21400" fmla="*/ 1050932 w 6884782"/>
              <a:gd name="connsiteY21400" fmla="*/ 4251209 h 5973007"/>
              <a:gd name="connsiteX21401" fmla="*/ 1051242 w 6884782"/>
              <a:gd name="connsiteY21401" fmla="*/ 4250693 h 5973007"/>
              <a:gd name="connsiteX21402" fmla="*/ 1051862 w 6884782"/>
              <a:gd name="connsiteY21402" fmla="*/ 4250177 h 5973007"/>
              <a:gd name="connsiteX21403" fmla="*/ 1175159 w 6884782"/>
              <a:gd name="connsiteY21403" fmla="*/ 4248628 h 5973007"/>
              <a:gd name="connsiteX21404" fmla="*/ 1175469 w 6884782"/>
              <a:gd name="connsiteY21404" fmla="*/ 4253274 h 5973007"/>
              <a:gd name="connsiteX21405" fmla="*/ 1176709 w 6884782"/>
              <a:gd name="connsiteY21405" fmla="*/ 4254101 h 5973007"/>
              <a:gd name="connsiteX21406" fmla="*/ 1177018 w 6884782"/>
              <a:gd name="connsiteY21406" fmla="*/ 4250486 h 5973007"/>
              <a:gd name="connsiteX21407" fmla="*/ 632093 w 6884782"/>
              <a:gd name="connsiteY21407" fmla="*/ 4247802 h 5973007"/>
              <a:gd name="connsiteX21408" fmla="*/ 634571 w 6884782"/>
              <a:gd name="connsiteY21408" fmla="*/ 4260296 h 5973007"/>
              <a:gd name="connsiteX21409" fmla="*/ 625587 w 6884782"/>
              <a:gd name="connsiteY21409" fmla="*/ 4252862 h 5973007"/>
              <a:gd name="connsiteX21410" fmla="*/ 632093 w 6884782"/>
              <a:gd name="connsiteY21410" fmla="*/ 4247802 h 5973007"/>
              <a:gd name="connsiteX21411" fmla="*/ 1477052 w 6884782"/>
              <a:gd name="connsiteY21411" fmla="*/ 4247699 h 5973007"/>
              <a:gd name="connsiteX21412" fmla="*/ 1479530 w 6884782"/>
              <a:gd name="connsiteY21412" fmla="*/ 4248421 h 5973007"/>
              <a:gd name="connsiteX21413" fmla="*/ 1479840 w 6884782"/>
              <a:gd name="connsiteY21413" fmla="*/ 4248112 h 5973007"/>
              <a:gd name="connsiteX21414" fmla="*/ 1486346 w 6884782"/>
              <a:gd name="connsiteY21414" fmla="*/ 4248008 h 5973007"/>
              <a:gd name="connsiteX21415" fmla="*/ 1486036 w 6884782"/>
              <a:gd name="connsiteY21415" fmla="*/ 4262051 h 5973007"/>
              <a:gd name="connsiteX21416" fmla="*/ 1478911 w 6884782"/>
              <a:gd name="connsiteY21416" fmla="*/ 4261019 h 5973007"/>
              <a:gd name="connsiteX21417" fmla="*/ 1477207 w 6884782"/>
              <a:gd name="connsiteY21417" fmla="*/ 4258024 h 5973007"/>
              <a:gd name="connsiteX21418" fmla="*/ 1473335 w 6884782"/>
              <a:gd name="connsiteY21418" fmla="*/ 4255959 h 5973007"/>
              <a:gd name="connsiteX21419" fmla="*/ 1472095 w 6884782"/>
              <a:gd name="connsiteY21419" fmla="*/ 4249661 h 5973007"/>
              <a:gd name="connsiteX21420" fmla="*/ 1477052 w 6884782"/>
              <a:gd name="connsiteY21420" fmla="*/ 4247699 h 5973007"/>
              <a:gd name="connsiteX21421" fmla="*/ 1241145 w 6884782"/>
              <a:gd name="connsiteY21421" fmla="*/ 4247079 h 5973007"/>
              <a:gd name="connsiteX21422" fmla="*/ 1243623 w 6884782"/>
              <a:gd name="connsiteY21422" fmla="*/ 4252035 h 5973007"/>
              <a:gd name="connsiteX21423" fmla="*/ 1234795 w 6884782"/>
              <a:gd name="connsiteY21423" fmla="*/ 4256475 h 5973007"/>
              <a:gd name="connsiteX21424" fmla="*/ 1241145 w 6884782"/>
              <a:gd name="connsiteY21424" fmla="*/ 4247079 h 5973007"/>
              <a:gd name="connsiteX21425" fmla="*/ 5600382 w 6884782"/>
              <a:gd name="connsiteY21425" fmla="*/ 4246684 h 5973007"/>
              <a:gd name="connsiteX21426" fmla="*/ 5607662 w 6884782"/>
              <a:gd name="connsiteY21426" fmla="*/ 4250608 h 5973007"/>
              <a:gd name="connsiteX21427" fmla="*/ 5607662 w 6884782"/>
              <a:gd name="connsiteY21427" fmla="*/ 4255977 h 5973007"/>
              <a:gd name="connsiteX21428" fmla="*/ 5605184 w 6884782"/>
              <a:gd name="connsiteY21428" fmla="*/ 4257319 h 5973007"/>
              <a:gd name="connsiteX21429" fmla="*/ 5602396 w 6884782"/>
              <a:gd name="connsiteY21429" fmla="*/ 4256080 h 5973007"/>
              <a:gd name="connsiteX21430" fmla="*/ 5598368 w 6884782"/>
              <a:gd name="connsiteY21430" fmla="*/ 4252982 h 5973007"/>
              <a:gd name="connsiteX21431" fmla="*/ 5598678 w 6884782"/>
              <a:gd name="connsiteY21431" fmla="*/ 4250298 h 5973007"/>
              <a:gd name="connsiteX21432" fmla="*/ 5600382 w 6884782"/>
              <a:gd name="connsiteY21432" fmla="*/ 4246684 h 5973007"/>
              <a:gd name="connsiteX21433" fmla="*/ 5380739 w 6884782"/>
              <a:gd name="connsiteY21433" fmla="*/ 4246271 h 5973007"/>
              <a:gd name="connsiteX21434" fmla="*/ 5376402 w 6884782"/>
              <a:gd name="connsiteY21434" fmla="*/ 4253602 h 5973007"/>
              <a:gd name="connsiteX21435" fmla="*/ 5380739 w 6884782"/>
              <a:gd name="connsiteY21435" fmla="*/ 4246271 h 5973007"/>
              <a:gd name="connsiteX21436" fmla="*/ 5417759 w 6884782"/>
              <a:gd name="connsiteY21436" fmla="*/ 4245961 h 5973007"/>
              <a:gd name="connsiteX21437" fmla="*/ 5414661 w 6884782"/>
              <a:gd name="connsiteY21437" fmla="*/ 4248749 h 5973007"/>
              <a:gd name="connsiteX21438" fmla="*/ 5413732 w 6884782"/>
              <a:gd name="connsiteY21438" fmla="*/ 4248026 h 5973007"/>
              <a:gd name="connsiteX21439" fmla="*/ 5417759 w 6884782"/>
              <a:gd name="connsiteY21439" fmla="*/ 4245961 h 5973007"/>
              <a:gd name="connsiteX21440" fmla="*/ 1498428 w 6884782"/>
              <a:gd name="connsiteY21440" fmla="*/ 4244601 h 5973007"/>
              <a:gd name="connsiteX21441" fmla="*/ 1496414 w 6884782"/>
              <a:gd name="connsiteY21441" fmla="*/ 4255340 h 5973007"/>
              <a:gd name="connsiteX21442" fmla="*/ 1494865 w 6884782"/>
              <a:gd name="connsiteY21442" fmla="*/ 4255546 h 5973007"/>
              <a:gd name="connsiteX21443" fmla="*/ 1489599 w 6884782"/>
              <a:gd name="connsiteY21443" fmla="*/ 4248628 h 5973007"/>
              <a:gd name="connsiteX21444" fmla="*/ 1498428 w 6884782"/>
              <a:gd name="connsiteY21444" fmla="*/ 4244601 h 5973007"/>
              <a:gd name="connsiteX21445" fmla="*/ 5522624 w 6884782"/>
              <a:gd name="connsiteY21445" fmla="*/ 4242347 h 5973007"/>
              <a:gd name="connsiteX21446" fmla="*/ 5527890 w 6884782"/>
              <a:gd name="connsiteY21446" fmla="*/ 4244515 h 5973007"/>
              <a:gd name="connsiteX21447" fmla="*/ 5532382 w 6884782"/>
              <a:gd name="connsiteY21447" fmla="*/ 4250711 h 5973007"/>
              <a:gd name="connsiteX21448" fmla="*/ 5531143 w 6884782"/>
              <a:gd name="connsiteY21448" fmla="*/ 4251021 h 5973007"/>
              <a:gd name="connsiteX21449" fmla="*/ 5522624 w 6884782"/>
              <a:gd name="connsiteY21449" fmla="*/ 4242347 h 5973007"/>
              <a:gd name="connsiteX21450" fmla="*/ 5918229 w 6884782"/>
              <a:gd name="connsiteY21450" fmla="*/ 4242141 h 5973007"/>
              <a:gd name="connsiteX21451" fmla="*/ 5917145 w 6884782"/>
              <a:gd name="connsiteY21451" fmla="*/ 4242967 h 5973007"/>
              <a:gd name="connsiteX21452" fmla="*/ 5915906 w 6884782"/>
              <a:gd name="connsiteY21452" fmla="*/ 4247200 h 5973007"/>
              <a:gd name="connsiteX21453" fmla="*/ 5920398 w 6884782"/>
              <a:gd name="connsiteY21453" fmla="*/ 4245961 h 5973007"/>
              <a:gd name="connsiteX21454" fmla="*/ 5919004 w 6884782"/>
              <a:gd name="connsiteY21454" fmla="*/ 4244412 h 5973007"/>
              <a:gd name="connsiteX21455" fmla="*/ 4988697 w 6884782"/>
              <a:gd name="connsiteY21455" fmla="*/ 4241418 h 5973007"/>
              <a:gd name="connsiteX21456" fmla="*/ 4990400 w 6884782"/>
              <a:gd name="connsiteY21456" fmla="*/ 4244103 h 5973007"/>
              <a:gd name="connsiteX21457" fmla="*/ 4980177 w 6884782"/>
              <a:gd name="connsiteY21457" fmla="*/ 4257732 h 5973007"/>
              <a:gd name="connsiteX21458" fmla="*/ 4978009 w 6884782"/>
              <a:gd name="connsiteY21458" fmla="*/ 4256390 h 5973007"/>
              <a:gd name="connsiteX21459" fmla="*/ 4988697 w 6884782"/>
              <a:gd name="connsiteY21459" fmla="*/ 4241418 h 5973007"/>
              <a:gd name="connsiteX21460" fmla="*/ 1304343 w 6884782"/>
              <a:gd name="connsiteY21460" fmla="*/ 4241090 h 5973007"/>
              <a:gd name="connsiteX21461" fmla="*/ 1321071 w 6884782"/>
              <a:gd name="connsiteY21461" fmla="*/ 4249661 h 5973007"/>
              <a:gd name="connsiteX21462" fmla="*/ 1302329 w 6884782"/>
              <a:gd name="connsiteY21462" fmla="*/ 4264736 h 5973007"/>
              <a:gd name="connsiteX21463" fmla="*/ 1295824 w 6884782"/>
              <a:gd name="connsiteY21463" fmla="*/ 4263290 h 5973007"/>
              <a:gd name="connsiteX21464" fmla="*/ 1293190 w 6884782"/>
              <a:gd name="connsiteY21464" fmla="*/ 4260399 h 5973007"/>
              <a:gd name="connsiteX21465" fmla="*/ 1304343 w 6884782"/>
              <a:gd name="connsiteY21465" fmla="*/ 4241090 h 5973007"/>
              <a:gd name="connsiteX21466" fmla="*/ 5266774 w 6884782"/>
              <a:gd name="connsiteY21466" fmla="*/ 4240514 h 5973007"/>
              <a:gd name="connsiteX21467" fmla="*/ 5270453 w 6884782"/>
              <a:gd name="connsiteY21467" fmla="*/ 4242554 h 5973007"/>
              <a:gd name="connsiteX21468" fmla="*/ 5268130 w 6884782"/>
              <a:gd name="connsiteY21468" fmla="*/ 4247613 h 5973007"/>
              <a:gd name="connsiteX21469" fmla="*/ 5263792 w 6884782"/>
              <a:gd name="connsiteY21469" fmla="*/ 4242347 h 5973007"/>
              <a:gd name="connsiteX21470" fmla="*/ 5266774 w 6884782"/>
              <a:gd name="connsiteY21470" fmla="*/ 4240514 h 5973007"/>
              <a:gd name="connsiteX21471" fmla="*/ 1346320 w 6884782"/>
              <a:gd name="connsiteY21471" fmla="*/ 4240471 h 5973007"/>
              <a:gd name="connsiteX21472" fmla="*/ 1348179 w 6884782"/>
              <a:gd name="connsiteY21472" fmla="*/ 4241710 h 5973007"/>
              <a:gd name="connsiteX21473" fmla="*/ 1348024 w 6884782"/>
              <a:gd name="connsiteY21473" fmla="*/ 4246046 h 5973007"/>
              <a:gd name="connsiteX21474" fmla="*/ 1344616 w 6884782"/>
              <a:gd name="connsiteY21474" fmla="*/ 4249144 h 5973007"/>
              <a:gd name="connsiteX21475" fmla="*/ 1343842 w 6884782"/>
              <a:gd name="connsiteY21475" fmla="*/ 4251726 h 5973007"/>
              <a:gd name="connsiteX21476" fmla="*/ 1342912 w 6884782"/>
              <a:gd name="connsiteY21476" fmla="*/ 4251622 h 5973007"/>
              <a:gd name="connsiteX21477" fmla="*/ 1344925 w 6884782"/>
              <a:gd name="connsiteY21477" fmla="*/ 4241297 h 5973007"/>
              <a:gd name="connsiteX21478" fmla="*/ 1346320 w 6884782"/>
              <a:gd name="connsiteY21478" fmla="*/ 4240471 h 5973007"/>
              <a:gd name="connsiteX21479" fmla="*/ 1383650 w 6884782"/>
              <a:gd name="connsiteY21479" fmla="*/ 4240058 h 5973007"/>
              <a:gd name="connsiteX21480" fmla="*/ 1381326 w 6884782"/>
              <a:gd name="connsiteY21480" fmla="*/ 4247079 h 5973007"/>
              <a:gd name="connsiteX21481" fmla="*/ 1383650 w 6884782"/>
              <a:gd name="connsiteY21481" fmla="*/ 4240058 h 5973007"/>
              <a:gd name="connsiteX21482" fmla="*/ 5522779 w 6884782"/>
              <a:gd name="connsiteY21482" fmla="*/ 4239146 h 5973007"/>
              <a:gd name="connsiteX21483" fmla="*/ 5509922 w 6884782"/>
              <a:gd name="connsiteY21483" fmla="*/ 4246994 h 5973007"/>
              <a:gd name="connsiteX21484" fmla="*/ 5509303 w 6884782"/>
              <a:gd name="connsiteY21484" fmla="*/ 4246580 h 5973007"/>
              <a:gd name="connsiteX21485" fmla="*/ 5509768 w 6884782"/>
              <a:gd name="connsiteY21485" fmla="*/ 4244412 h 5973007"/>
              <a:gd name="connsiteX21486" fmla="*/ 5513021 w 6884782"/>
              <a:gd name="connsiteY21486" fmla="*/ 4242450 h 5973007"/>
              <a:gd name="connsiteX21487" fmla="*/ 5521075 w 6884782"/>
              <a:gd name="connsiteY21487" fmla="*/ 4240179 h 5973007"/>
              <a:gd name="connsiteX21488" fmla="*/ 5522779 w 6884782"/>
              <a:gd name="connsiteY21488" fmla="*/ 4239146 h 5973007"/>
              <a:gd name="connsiteX21489" fmla="*/ 674689 w 6884782"/>
              <a:gd name="connsiteY21489" fmla="*/ 4239129 h 5973007"/>
              <a:gd name="connsiteX21490" fmla="*/ 696375 w 6884782"/>
              <a:gd name="connsiteY21490" fmla="*/ 4253378 h 5973007"/>
              <a:gd name="connsiteX21491" fmla="*/ 692502 w 6884782"/>
              <a:gd name="connsiteY21491" fmla="*/ 4250797 h 5973007"/>
              <a:gd name="connsiteX21492" fmla="*/ 692038 w 6884782"/>
              <a:gd name="connsiteY21492" fmla="*/ 4252862 h 5973007"/>
              <a:gd name="connsiteX21493" fmla="*/ 686927 w 6884782"/>
              <a:gd name="connsiteY21493" fmla="*/ 4255236 h 5973007"/>
              <a:gd name="connsiteX21494" fmla="*/ 685067 w 6884782"/>
              <a:gd name="connsiteY21494" fmla="*/ 4254307 h 5973007"/>
              <a:gd name="connsiteX21495" fmla="*/ 684448 w 6884782"/>
              <a:gd name="connsiteY21495" fmla="*/ 4252448 h 5973007"/>
              <a:gd name="connsiteX21496" fmla="*/ 683983 w 6884782"/>
              <a:gd name="connsiteY21496" fmla="*/ 4250280 h 5973007"/>
              <a:gd name="connsiteX21497" fmla="*/ 685222 w 6884782"/>
              <a:gd name="connsiteY21497" fmla="*/ 4247079 h 5973007"/>
              <a:gd name="connsiteX21498" fmla="*/ 679956 w 6884782"/>
              <a:gd name="connsiteY21498" fmla="*/ 4244085 h 5973007"/>
              <a:gd name="connsiteX21499" fmla="*/ 674689 w 6884782"/>
              <a:gd name="connsiteY21499" fmla="*/ 4239129 h 5973007"/>
              <a:gd name="connsiteX21500" fmla="*/ 5360757 w 6884782"/>
              <a:gd name="connsiteY21500" fmla="*/ 4238940 h 5973007"/>
              <a:gd name="connsiteX21501" fmla="*/ 5364010 w 6884782"/>
              <a:gd name="connsiteY21501" fmla="*/ 4248542 h 5973007"/>
              <a:gd name="connsiteX21502" fmla="*/ 5361222 w 6884782"/>
              <a:gd name="connsiteY21502" fmla="*/ 4258868 h 5973007"/>
              <a:gd name="connsiteX21503" fmla="*/ 5358744 w 6884782"/>
              <a:gd name="connsiteY21503" fmla="*/ 4254635 h 5973007"/>
              <a:gd name="connsiteX21504" fmla="*/ 5360757 w 6884782"/>
              <a:gd name="connsiteY21504" fmla="*/ 4238940 h 5973007"/>
              <a:gd name="connsiteX21505" fmla="*/ 5229135 w 6884782"/>
              <a:gd name="connsiteY21505" fmla="*/ 4238294 h 5973007"/>
              <a:gd name="connsiteX21506" fmla="*/ 5243036 w 6884782"/>
              <a:gd name="connsiteY21506" fmla="*/ 4240385 h 5973007"/>
              <a:gd name="connsiteX21507" fmla="*/ 5216859 w 6884782"/>
              <a:gd name="connsiteY21507" fmla="*/ 4248749 h 5973007"/>
              <a:gd name="connsiteX21508" fmla="*/ 5229135 w 6884782"/>
              <a:gd name="connsiteY21508" fmla="*/ 4238294 h 5973007"/>
              <a:gd name="connsiteX21509" fmla="*/ 5665438 w 6884782"/>
              <a:gd name="connsiteY21509" fmla="*/ 4237701 h 5973007"/>
              <a:gd name="connsiteX21510" fmla="*/ 5668691 w 6884782"/>
              <a:gd name="connsiteY21510" fmla="*/ 4243896 h 5973007"/>
              <a:gd name="connsiteX21511" fmla="*/ 5656455 w 6884782"/>
              <a:gd name="connsiteY21511" fmla="*/ 4249575 h 5973007"/>
              <a:gd name="connsiteX21512" fmla="*/ 5665438 w 6884782"/>
              <a:gd name="connsiteY21512" fmla="*/ 4237701 h 5973007"/>
              <a:gd name="connsiteX21513" fmla="*/ 4900870 w 6884782"/>
              <a:gd name="connsiteY21513" fmla="*/ 4236874 h 5973007"/>
              <a:gd name="connsiteX21514" fmla="*/ 4915121 w 6884782"/>
              <a:gd name="connsiteY21514" fmla="*/ 4245961 h 5973007"/>
              <a:gd name="connsiteX21515" fmla="*/ 4914501 w 6884782"/>
              <a:gd name="connsiteY21515" fmla="*/ 4264754 h 5973007"/>
              <a:gd name="connsiteX21516" fmla="*/ 4909389 w 6884782"/>
              <a:gd name="connsiteY21516" fmla="*/ 4265580 h 5973007"/>
              <a:gd name="connsiteX21517" fmla="*/ 4901025 w 6884782"/>
              <a:gd name="connsiteY21517" fmla="*/ 4255874 h 5973007"/>
              <a:gd name="connsiteX21518" fmla="*/ 4899321 w 6884782"/>
              <a:gd name="connsiteY21518" fmla="*/ 4249781 h 5973007"/>
              <a:gd name="connsiteX21519" fmla="*/ 4898857 w 6884782"/>
              <a:gd name="connsiteY21519" fmla="*/ 4238940 h 5973007"/>
              <a:gd name="connsiteX21520" fmla="*/ 4900870 w 6884782"/>
              <a:gd name="connsiteY21520" fmla="*/ 4236874 h 5973007"/>
              <a:gd name="connsiteX21521" fmla="*/ 5819250 w 6884782"/>
              <a:gd name="connsiteY21521" fmla="*/ 4235636 h 5973007"/>
              <a:gd name="connsiteX21522" fmla="*/ 5820335 w 6884782"/>
              <a:gd name="connsiteY21522" fmla="*/ 4236565 h 5973007"/>
              <a:gd name="connsiteX21523" fmla="*/ 5820335 w 6884782"/>
              <a:gd name="connsiteY21523" fmla="*/ 4235842 h 5973007"/>
              <a:gd name="connsiteX21524" fmla="*/ 5528820 w 6884782"/>
              <a:gd name="connsiteY21524" fmla="*/ 4235532 h 5973007"/>
              <a:gd name="connsiteX21525" fmla="*/ 5530369 w 6884782"/>
              <a:gd name="connsiteY21525" fmla="*/ 4237597 h 5973007"/>
              <a:gd name="connsiteX21526" fmla="*/ 5525722 w 6884782"/>
              <a:gd name="connsiteY21526" fmla="*/ 4238733 h 5973007"/>
              <a:gd name="connsiteX21527" fmla="*/ 5524018 w 6884782"/>
              <a:gd name="connsiteY21527" fmla="*/ 4239869 h 5973007"/>
              <a:gd name="connsiteX21528" fmla="*/ 5524328 w 6884782"/>
              <a:gd name="connsiteY21528" fmla="*/ 4237907 h 5973007"/>
              <a:gd name="connsiteX21529" fmla="*/ 5527271 w 6884782"/>
              <a:gd name="connsiteY21529" fmla="*/ 4237701 h 5973007"/>
              <a:gd name="connsiteX21530" fmla="*/ 5527735 w 6884782"/>
              <a:gd name="connsiteY21530" fmla="*/ 4235842 h 5973007"/>
              <a:gd name="connsiteX21531" fmla="*/ 5528820 w 6884782"/>
              <a:gd name="connsiteY21531" fmla="*/ 4235532 h 5973007"/>
              <a:gd name="connsiteX21532" fmla="*/ 5641739 w 6884782"/>
              <a:gd name="connsiteY21532" fmla="*/ 4234809 h 5973007"/>
              <a:gd name="connsiteX21533" fmla="*/ 5643598 w 6884782"/>
              <a:gd name="connsiteY21533" fmla="*/ 4236048 h 5973007"/>
              <a:gd name="connsiteX21534" fmla="*/ 5643753 w 6884782"/>
              <a:gd name="connsiteY21534" fmla="*/ 4236048 h 5973007"/>
              <a:gd name="connsiteX21535" fmla="*/ 5643288 w 6884782"/>
              <a:gd name="connsiteY21535" fmla="*/ 4243896 h 5973007"/>
              <a:gd name="connsiteX21536" fmla="*/ 5640500 w 6884782"/>
              <a:gd name="connsiteY21536" fmla="*/ 4245961 h 5973007"/>
              <a:gd name="connsiteX21537" fmla="*/ 5636937 w 6884782"/>
              <a:gd name="connsiteY21537" fmla="*/ 4245961 h 5973007"/>
              <a:gd name="connsiteX21538" fmla="*/ 5634149 w 6884782"/>
              <a:gd name="connsiteY21538" fmla="*/ 4246891 h 5973007"/>
              <a:gd name="connsiteX21539" fmla="*/ 5631206 w 6884782"/>
              <a:gd name="connsiteY21539" fmla="*/ 4246374 h 5973007"/>
              <a:gd name="connsiteX21540" fmla="*/ 5629812 w 6884782"/>
              <a:gd name="connsiteY21540" fmla="*/ 4242037 h 5973007"/>
              <a:gd name="connsiteX21541" fmla="*/ 5633530 w 6884782"/>
              <a:gd name="connsiteY21541" fmla="*/ 4237907 h 5973007"/>
              <a:gd name="connsiteX21542" fmla="*/ 5633375 w 6884782"/>
              <a:gd name="connsiteY21542" fmla="*/ 4237288 h 5973007"/>
              <a:gd name="connsiteX21543" fmla="*/ 5641739 w 6884782"/>
              <a:gd name="connsiteY21543" fmla="*/ 4234809 h 5973007"/>
              <a:gd name="connsiteX21544" fmla="*/ 1264070 w 6884782"/>
              <a:gd name="connsiteY21544" fmla="*/ 4234275 h 5973007"/>
              <a:gd name="connsiteX21545" fmla="*/ 1268717 w 6884782"/>
              <a:gd name="connsiteY21545" fmla="*/ 4236444 h 5973007"/>
              <a:gd name="connsiteX21546" fmla="*/ 1252607 w 6884782"/>
              <a:gd name="connsiteY21546" fmla="*/ 4248421 h 5973007"/>
              <a:gd name="connsiteX21547" fmla="*/ 1247032 w 6884782"/>
              <a:gd name="connsiteY21547" fmla="*/ 4246150 h 5973007"/>
              <a:gd name="connsiteX21548" fmla="*/ 1264070 w 6884782"/>
              <a:gd name="connsiteY21548" fmla="*/ 4234275 h 5973007"/>
              <a:gd name="connsiteX21549" fmla="*/ 4944861 w 6884782"/>
              <a:gd name="connsiteY21549" fmla="*/ 4233777 h 5973007"/>
              <a:gd name="connsiteX21550" fmla="*/ 4946875 w 6884782"/>
              <a:gd name="connsiteY21550" fmla="*/ 4242347 h 5973007"/>
              <a:gd name="connsiteX21551" fmla="*/ 4940988 w 6884782"/>
              <a:gd name="connsiteY21551" fmla="*/ 4236978 h 5973007"/>
              <a:gd name="connsiteX21552" fmla="*/ 4944861 w 6884782"/>
              <a:gd name="connsiteY21552" fmla="*/ 4233777 h 5973007"/>
              <a:gd name="connsiteX21553" fmla="*/ 5568590 w 6884782"/>
              <a:gd name="connsiteY21553" fmla="*/ 4233699 h 5973007"/>
              <a:gd name="connsiteX21554" fmla="*/ 5572191 w 6884782"/>
              <a:gd name="connsiteY21554" fmla="*/ 4238113 h 5973007"/>
              <a:gd name="connsiteX21555" fmla="*/ 5571261 w 6884782"/>
              <a:gd name="connsiteY21555" fmla="*/ 4242450 h 5973007"/>
              <a:gd name="connsiteX21556" fmla="*/ 5564756 w 6884782"/>
              <a:gd name="connsiteY21556" fmla="*/ 4246168 h 5973007"/>
              <a:gd name="connsiteX21557" fmla="*/ 5562278 w 6884782"/>
              <a:gd name="connsiteY21557" fmla="*/ 4241831 h 5973007"/>
              <a:gd name="connsiteX21558" fmla="*/ 5561038 w 6884782"/>
              <a:gd name="connsiteY21558" fmla="*/ 4237804 h 5973007"/>
              <a:gd name="connsiteX21559" fmla="*/ 5568590 w 6884782"/>
              <a:gd name="connsiteY21559" fmla="*/ 4233699 h 5973007"/>
              <a:gd name="connsiteX21560" fmla="*/ 569206 w 6884782"/>
              <a:gd name="connsiteY21560" fmla="*/ 4233243 h 5973007"/>
              <a:gd name="connsiteX21561" fmla="*/ 579428 w 6884782"/>
              <a:gd name="connsiteY21561" fmla="*/ 4235514 h 5973007"/>
              <a:gd name="connsiteX21562" fmla="*/ 573077 w 6884782"/>
              <a:gd name="connsiteY21562" fmla="*/ 4235411 h 5973007"/>
              <a:gd name="connsiteX21563" fmla="*/ 569206 w 6884782"/>
              <a:gd name="connsiteY21563" fmla="*/ 4233243 h 5973007"/>
              <a:gd name="connsiteX21564" fmla="*/ 1295824 w 6884782"/>
              <a:gd name="connsiteY21564" fmla="*/ 4232623 h 5973007"/>
              <a:gd name="connsiteX21565" fmla="*/ 1298457 w 6884782"/>
              <a:gd name="connsiteY21565" fmla="*/ 4235205 h 5973007"/>
              <a:gd name="connsiteX21566" fmla="*/ 1296288 w 6884782"/>
              <a:gd name="connsiteY21566" fmla="*/ 4237063 h 5973007"/>
              <a:gd name="connsiteX21567" fmla="*/ 1295049 w 6884782"/>
              <a:gd name="connsiteY21567" fmla="*/ 4234585 h 5973007"/>
              <a:gd name="connsiteX21568" fmla="*/ 1295824 w 6884782"/>
              <a:gd name="connsiteY21568" fmla="*/ 4232623 h 5973007"/>
              <a:gd name="connsiteX21569" fmla="*/ 5462834 w 6884782"/>
              <a:gd name="connsiteY21569" fmla="*/ 4230679 h 5973007"/>
              <a:gd name="connsiteX21570" fmla="*/ 5462369 w 6884782"/>
              <a:gd name="connsiteY21570" fmla="*/ 4238940 h 5973007"/>
              <a:gd name="connsiteX21571" fmla="*/ 5461750 w 6884782"/>
              <a:gd name="connsiteY21571" fmla="*/ 4231918 h 5973007"/>
              <a:gd name="connsiteX21572" fmla="*/ 5462834 w 6884782"/>
              <a:gd name="connsiteY21572" fmla="*/ 4230679 h 5973007"/>
              <a:gd name="connsiteX21573" fmla="*/ 1320762 w 6884782"/>
              <a:gd name="connsiteY21573" fmla="*/ 4230558 h 5973007"/>
              <a:gd name="connsiteX21574" fmla="*/ 1321536 w 6884782"/>
              <a:gd name="connsiteY21574" fmla="*/ 4232520 h 5973007"/>
              <a:gd name="connsiteX21575" fmla="*/ 1321381 w 6884782"/>
              <a:gd name="connsiteY21575" fmla="*/ 4235205 h 5973007"/>
              <a:gd name="connsiteX21576" fmla="*/ 1317045 w 6884782"/>
              <a:gd name="connsiteY21576" fmla="*/ 4235514 h 5973007"/>
              <a:gd name="connsiteX21577" fmla="*/ 1316270 w 6884782"/>
              <a:gd name="connsiteY21577" fmla="*/ 4233656 h 5973007"/>
              <a:gd name="connsiteX21578" fmla="*/ 1317199 w 6884782"/>
              <a:gd name="connsiteY21578" fmla="*/ 4231074 h 5973007"/>
              <a:gd name="connsiteX21579" fmla="*/ 1320762 w 6884782"/>
              <a:gd name="connsiteY21579" fmla="*/ 4230558 h 5973007"/>
              <a:gd name="connsiteX21580" fmla="*/ 1353445 w 6884782"/>
              <a:gd name="connsiteY21580" fmla="*/ 4228596 h 5973007"/>
              <a:gd name="connsiteX21581" fmla="*/ 1353600 w 6884782"/>
              <a:gd name="connsiteY21581" fmla="*/ 4246460 h 5973007"/>
              <a:gd name="connsiteX21582" fmla="*/ 1348798 w 6884782"/>
              <a:gd name="connsiteY21582" fmla="*/ 4231591 h 5973007"/>
              <a:gd name="connsiteX21583" fmla="*/ 1353445 w 6884782"/>
              <a:gd name="connsiteY21583" fmla="*/ 4228596 h 5973007"/>
              <a:gd name="connsiteX21584" fmla="*/ 1399101 w 6884782"/>
              <a:gd name="connsiteY21584" fmla="*/ 4228235 h 5973007"/>
              <a:gd name="connsiteX21585" fmla="*/ 1409827 w 6884782"/>
              <a:gd name="connsiteY21585" fmla="*/ 4236444 h 5973007"/>
              <a:gd name="connsiteX21586" fmla="*/ 1398365 w 6884782"/>
              <a:gd name="connsiteY21586" fmla="*/ 4242742 h 5973007"/>
              <a:gd name="connsiteX21587" fmla="*/ 1387213 w 6884782"/>
              <a:gd name="connsiteY21587" fmla="*/ 4236753 h 5973007"/>
              <a:gd name="connsiteX21588" fmla="*/ 1399101 w 6884782"/>
              <a:gd name="connsiteY21588" fmla="*/ 4228235 h 5973007"/>
              <a:gd name="connsiteX21589" fmla="*/ 1382101 w 6884782"/>
              <a:gd name="connsiteY21589" fmla="*/ 4227770 h 5973007"/>
              <a:gd name="connsiteX21590" fmla="*/ 1379468 w 6884782"/>
              <a:gd name="connsiteY21590" fmla="*/ 4239232 h 5973007"/>
              <a:gd name="connsiteX21591" fmla="*/ 1374666 w 6884782"/>
              <a:gd name="connsiteY21591" fmla="*/ 4241916 h 5973007"/>
              <a:gd name="connsiteX21592" fmla="*/ 1368935 w 6884782"/>
              <a:gd name="connsiteY21592" fmla="*/ 4241710 h 5973007"/>
              <a:gd name="connsiteX21593" fmla="*/ 1364288 w 6884782"/>
              <a:gd name="connsiteY21593" fmla="*/ 4242639 h 5973007"/>
              <a:gd name="connsiteX21594" fmla="*/ 1359641 w 6884782"/>
              <a:gd name="connsiteY21594" fmla="*/ 4241710 h 5973007"/>
              <a:gd name="connsiteX21595" fmla="*/ 1358402 w 6884782"/>
              <a:gd name="connsiteY21595" fmla="*/ 4235411 h 5973007"/>
              <a:gd name="connsiteX21596" fmla="*/ 1382101 w 6884782"/>
              <a:gd name="connsiteY21596" fmla="*/ 4227770 h 5973007"/>
              <a:gd name="connsiteX21597" fmla="*/ 725650 w 6884782"/>
              <a:gd name="connsiteY21597" fmla="*/ 4227770 h 5973007"/>
              <a:gd name="connsiteX21598" fmla="*/ 729678 w 6884782"/>
              <a:gd name="connsiteY21598" fmla="*/ 4229319 h 5973007"/>
              <a:gd name="connsiteX21599" fmla="*/ 731691 w 6884782"/>
              <a:gd name="connsiteY21599" fmla="*/ 4237476 h 5973007"/>
              <a:gd name="connsiteX21600" fmla="*/ 728439 w 6884782"/>
              <a:gd name="connsiteY21600" fmla="*/ 4236960 h 5973007"/>
              <a:gd name="connsiteX21601" fmla="*/ 724876 w 6884782"/>
              <a:gd name="connsiteY21601" fmla="*/ 4229835 h 5973007"/>
              <a:gd name="connsiteX21602" fmla="*/ 725650 w 6884782"/>
              <a:gd name="connsiteY21602" fmla="*/ 4227770 h 5973007"/>
              <a:gd name="connsiteX21603" fmla="*/ 5405522 w 6884782"/>
              <a:gd name="connsiteY21603" fmla="*/ 4227272 h 5973007"/>
              <a:gd name="connsiteX21604" fmla="*/ 5411254 w 6884782"/>
              <a:gd name="connsiteY21604" fmla="*/ 4229130 h 5973007"/>
              <a:gd name="connsiteX21605" fmla="*/ 5411873 w 6884782"/>
              <a:gd name="connsiteY21605" fmla="*/ 4240385 h 5973007"/>
              <a:gd name="connsiteX21606" fmla="*/ 5403819 w 6884782"/>
              <a:gd name="connsiteY21606" fmla="*/ 4244619 h 5973007"/>
              <a:gd name="connsiteX21607" fmla="*/ 5404748 w 6884782"/>
              <a:gd name="connsiteY21607" fmla="*/ 4244619 h 5973007"/>
              <a:gd name="connsiteX21608" fmla="*/ 5406142 w 6884782"/>
              <a:gd name="connsiteY21608" fmla="*/ 4246580 h 5973007"/>
              <a:gd name="connsiteX21609" fmla="*/ 5407691 w 6884782"/>
              <a:gd name="connsiteY21609" fmla="*/ 4246477 h 5973007"/>
              <a:gd name="connsiteX21610" fmla="*/ 5409240 w 6884782"/>
              <a:gd name="connsiteY21610" fmla="*/ 4246477 h 5973007"/>
              <a:gd name="connsiteX21611" fmla="*/ 5409395 w 6884782"/>
              <a:gd name="connsiteY21611" fmla="*/ 4247303 h 5973007"/>
              <a:gd name="connsiteX21612" fmla="*/ 5407226 w 6884782"/>
              <a:gd name="connsiteY21612" fmla="*/ 4247820 h 5973007"/>
              <a:gd name="connsiteX21613" fmla="*/ 5409705 w 6884782"/>
              <a:gd name="connsiteY21613" fmla="*/ 4250917 h 5973007"/>
              <a:gd name="connsiteX21614" fmla="*/ 5411718 w 6884782"/>
              <a:gd name="connsiteY21614" fmla="*/ 4250504 h 5973007"/>
              <a:gd name="connsiteX21615" fmla="*/ 5410324 w 6884782"/>
              <a:gd name="connsiteY21615" fmla="*/ 4252053 h 5973007"/>
              <a:gd name="connsiteX21616" fmla="*/ 5411564 w 6884782"/>
              <a:gd name="connsiteY21616" fmla="*/ 4254428 h 5973007"/>
              <a:gd name="connsiteX21617" fmla="*/ 5411873 w 6884782"/>
              <a:gd name="connsiteY21617" fmla="*/ 4256906 h 5973007"/>
              <a:gd name="connsiteX21618" fmla="*/ 5409395 w 6884782"/>
              <a:gd name="connsiteY21618" fmla="*/ 4255977 h 5973007"/>
              <a:gd name="connsiteX21619" fmla="*/ 5408620 w 6884782"/>
              <a:gd name="connsiteY21619" fmla="*/ 4255047 h 5973007"/>
              <a:gd name="connsiteX21620" fmla="*/ 5407846 w 6884782"/>
              <a:gd name="connsiteY21620" fmla="*/ 4255047 h 5973007"/>
              <a:gd name="connsiteX21621" fmla="*/ 5407846 w 6884782"/>
              <a:gd name="connsiteY21621" fmla="*/ 4254738 h 5973007"/>
              <a:gd name="connsiteX21622" fmla="*/ 5404438 w 6884782"/>
              <a:gd name="connsiteY21622" fmla="*/ 4256287 h 5973007"/>
              <a:gd name="connsiteX21623" fmla="*/ 5398552 w 6884782"/>
              <a:gd name="connsiteY21623" fmla="*/ 4259281 h 5973007"/>
              <a:gd name="connsiteX21624" fmla="*/ 5398087 w 6884782"/>
              <a:gd name="connsiteY21624" fmla="*/ 4255770 h 5973007"/>
              <a:gd name="connsiteX21625" fmla="*/ 5399791 w 6884782"/>
              <a:gd name="connsiteY21625" fmla="*/ 4255667 h 5973007"/>
              <a:gd name="connsiteX21626" fmla="*/ 5404903 w 6884782"/>
              <a:gd name="connsiteY21626" fmla="*/ 4251847 h 5973007"/>
              <a:gd name="connsiteX21627" fmla="*/ 5405213 w 6884782"/>
              <a:gd name="connsiteY21627" fmla="*/ 4251743 h 5973007"/>
              <a:gd name="connsiteX21628" fmla="*/ 5403663 w 6884782"/>
              <a:gd name="connsiteY21628" fmla="*/ 4250814 h 5973007"/>
              <a:gd name="connsiteX21629" fmla="*/ 5401650 w 6884782"/>
              <a:gd name="connsiteY21629" fmla="*/ 4249781 h 5973007"/>
              <a:gd name="connsiteX21630" fmla="*/ 5401495 w 6884782"/>
              <a:gd name="connsiteY21630" fmla="*/ 4249678 h 5973007"/>
              <a:gd name="connsiteX21631" fmla="*/ 5401031 w 6884782"/>
              <a:gd name="connsiteY21631" fmla="*/ 4249781 h 5973007"/>
              <a:gd name="connsiteX21632" fmla="*/ 5397932 w 6884782"/>
              <a:gd name="connsiteY21632" fmla="*/ 4249678 h 5973007"/>
              <a:gd name="connsiteX21633" fmla="*/ 5398707 w 6884782"/>
              <a:gd name="connsiteY21633" fmla="*/ 4249575 h 5973007"/>
              <a:gd name="connsiteX21634" fmla="*/ 5397778 w 6884782"/>
              <a:gd name="connsiteY21634" fmla="*/ 4248852 h 5973007"/>
              <a:gd name="connsiteX21635" fmla="*/ 5400566 w 6884782"/>
              <a:gd name="connsiteY21635" fmla="*/ 4248026 h 5973007"/>
              <a:gd name="connsiteX21636" fmla="*/ 5400101 w 6884782"/>
              <a:gd name="connsiteY21636" fmla="*/ 4247510 h 5973007"/>
              <a:gd name="connsiteX21637" fmla="*/ 5398707 w 6884782"/>
              <a:gd name="connsiteY21637" fmla="*/ 4244515 h 5973007"/>
              <a:gd name="connsiteX21638" fmla="*/ 5400566 w 6884782"/>
              <a:gd name="connsiteY21638" fmla="*/ 4242864 h 5973007"/>
              <a:gd name="connsiteX21639" fmla="*/ 5399172 w 6884782"/>
              <a:gd name="connsiteY21639" fmla="*/ 4241005 h 5973007"/>
              <a:gd name="connsiteX21640" fmla="*/ 5401031 w 6884782"/>
              <a:gd name="connsiteY21640" fmla="*/ 4229853 h 5973007"/>
              <a:gd name="connsiteX21641" fmla="*/ 5405522 w 6884782"/>
              <a:gd name="connsiteY21641" fmla="*/ 4227272 h 5973007"/>
              <a:gd name="connsiteX21642" fmla="*/ 4977467 w 6884782"/>
              <a:gd name="connsiteY21642" fmla="*/ 4226949 h 5973007"/>
              <a:gd name="connsiteX21643" fmla="*/ 4983275 w 6884782"/>
              <a:gd name="connsiteY21643" fmla="*/ 4228821 h 5973007"/>
              <a:gd name="connsiteX21644" fmla="*/ 4984669 w 6884782"/>
              <a:gd name="connsiteY21644" fmla="*/ 4234087 h 5973007"/>
              <a:gd name="connsiteX21645" fmla="*/ 4979403 w 6884782"/>
              <a:gd name="connsiteY21645" fmla="*/ 4235532 h 5973007"/>
              <a:gd name="connsiteX21646" fmla="*/ 4974446 w 6884782"/>
              <a:gd name="connsiteY21646" fmla="*/ 4234293 h 5973007"/>
              <a:gd name="connsiteX21647" fmla="*/ 4977467 w 6884782"/>
              <a:gd name="connsiteY21647" fmla="*/ 4226949 h 5973007"/>
              <a:gd name="connsiteX21648" fmla="*/ 1501991 w 6884782"/>
              <a:gd name="connsiteY21648" fmla="*/ 4224053 h 5973007"/>
              <a:gd name="connsiteX21649" fmla="*/ 1509735 w 6884782"/>
              <a:gd name="connsiteY21649" fmla="*/ 4226221 h 5973007"/>
              <a:gd name="connsiteX21650" fmla="*/ 1505708 w 6884782"/>
              <a:gd name="connsiteY21650" fmla="*/ 4237270 h 5973007"/>
              <a:gd name="connsiteX21651" fmla="*/ 1501991 w 6884782"/>
              <a:gd name="connsiteY21651" fmla="*/ 4224053 h 5973007"/>
              <a:gd name="connsiteX21652" fmla="*/ 717750 w 6884782"/>
              <a:gd name="connsiteY21652" fmla="*/ 4223537 h 5973007"/>
              <a:gd name="connsiteX21653" fmla="*/ 719764 w 6884782"/>
              <a:gd name="connsiteY21653" fmla="*/ 4233243 h 5973007"/>
              <a:gd name="connsiteX21654" fmla="*/ 711865 w 6884782"/>
              <a:gd name="connsiteY21654" fmla="*/ 4234275 h 5973007"/>
              <a:gd name="connsiteX21655" fmla="*/ 709542 w 6884782"/>
              <a:gd name="connsiteY21655" fmla="*/ 4228080 h 5973007"/>
              <a:gd name="connsiteX21656" fmla="*/ 717750 w 6884782"/>
              <a:gd name="connsiteY21656" fmla="*/ 4223537 h 5973007"/>
              <a:gd name="connsiteX21657" fmla="*/ 5373769 w 6884782"/>
              <a:gd name="connsiteY21657" fmla="*/ 4223451 h 5973007"/>
              <a:gd name="connsiteX21658" fmla="*/ 5375008 w 6884782"/>
              <a:gd name="connsiteY21658" fmla="*/ 4232435 h 5973007"/>
              <a:gd name="connsiteX21659" fmla="*/ 5373769 w 6884782"/>
              <a:gd name="connsiteY21659" fmla="*/ 4223451 h 5973007"/>
              <a:gd name="connsiteX21660" fmla="*/ 5915286 w 6884782"/>
              <a:gd name="connsiteY21660" fmla="*/ 4223245 h 5973007"/>
              <a:gd name="connsiteX21661" fmla="*/ 5913892 w 6884782"/>
              <a:gd name="connsiteY21661" fmla="*/ 4223658 h 5973007"/>
              <a:gd name="connsiteX21662" fmla="*/ 5914357 w 6884782"/>
              <a:gd name="connsiteY21662" fmla="*/ 4224690 h 5973007"/>
              <a:gd name="connsiteX21663" fmla="*/ 5678605 w 6884782"/>
              <a:gd name="connsiteY21663" fmla="*/ 4222212 h 5973007"/>
              <a:gd name="connsiteX21664" fmla="*/ 5679224 w 6884782"/>
              <a:gd name="connsiteY21664" fmla="*/ 4225723 h 5973007"/>
              <a:gd name="connsiteX21665" fmla="*/ 5677675 w 6884782"/>
              <a:gd name="connsiteY21665" fmla="*/ 4225413 h 5973007"/>
              <a:gd name="connsiteX21666" fmla="*/ 5677520 w 6884782"/>
              <a:gd name="connsiteY21666" fmla="*/ 4226239 h 5973007"/>
              <a:gd name="connsiteX21667" fmla="*/ 5676127 w 6884782"/>
              <a:gd name="connsiteY21667" fmla="*/ 4225207 h 5973007"/>
              <a:gd name="connsiteX21668" fmla="*/ 5676127 w 6884782"/>
              <a:gd name="connsiteY21668" fmla="*/ 4224277 h 5973007"/>
              <a:gd name="connsiteX21669" fmla="*/ 5675971 w 6884782"/>
              <a:gd name="connsiteY21669" fmla="*/ 4224174 h 5973007"/>
              <a:gd name="connsiteX21670" fmla="*/ 5676901 w 6884782"/>
              <a:gd name="connsiteY21670" fmla="*/ 4222832 h 5973007"/>
              <a:gd name="connsiteX21671" fmla="*/ 5678605 w 6884782"/>
              <a:gd name="connsiteY21671" fmla="*/ 4222212 h 5973007"/>
              <a:gd name="connsiteX21672" fmla="*/ 4994737 w 6884782"/>
              <a:gd name="connsiteY21672" fmla="*/ 4221902 h 5973007"/>
              <a:gd name="connsiteX21673" fmla="*/ 5001553 w 6884782"/>
              <a:gd name="connsiteY21673" fmla="*/ 4224174 h 5973007"/>
              <a:gd name="connsiteX21674" fmla="*/ 4996906 w 6884782"/>
              <a:gd name="connsiteY21674" fmla="*/ 4236358 h 5973007"/>
              <a:gd name="connsiteX21675" fmla="*/ 4994737 w 6884782"/>
              <a:gd name="connsiteY21675" fmla="*/ 4221902 h 5973007"/>
              <a:gd name="connsiteX21676" fmla="*/ 5852243 w 6884782"/>
              <a:gd name="connsiteY21676" fmla="*/ 4221386 h 5973007"/>
              <a:gd name="connsiteX21677" fmla="*/ 5848526 w 6884782"/>
              <a:gd name="connsiteY21677" fmla="*/ 4223761 h 5973007"/>
              <a:gd name="connsiteX21678" fmla="*/ 5849145 w 6884782"/>
              <a:gd name="connsiteY21678" fmla="*/ 4224380 h 5973007"/>
              <a:gd name="connsiteX21679" fmla="*/ 5853947 w 6884782"/>
              <a:gd name="connsiteY21679" fmla="*/ 4223451 h 5973007"/>
              <a:gd name="connsiteX21680" fmla="*/ 5854567 w 6884782"/>
              <a:gd name="connsiteY21680" fmla="*/ 4223451 h 5973007"/>
              <a:gd name="connsiteX21681" fmla="*/ 5853018 w 6884782"/>
              <a:gd name="connsiteY21681" fmla="*/ 4222625 h 5973007"/>
              <a:gd name="connsiteX21682" fmla="*/ 5517977 w 6884782"/>
              <a:gd name="connsiteY21682" fmla="*/ 4221076 h 5973007"/>
              <a:gd name="connsiteX21683" fmla="*/ 5529439 w 6884782"/>
              <a:gd name="connsiteY21683" fmla="*/ 4231608 h 5973007"/>
              <a:gd name="connsiteX21684" fmla="*/ 5530214 w 6884782"/>
              <a:gd name="connsiteY21684" fmla="*/ 4233261 h 5973007"/>
              <a:gd name="connsiteX21685" fmla="*/ 5528820 w 6884782"/>
              <a:gd name="connsiteY21685" fmla="*/ 4235532 h 5973007"/>
              <a:gd name="connsiteX21686" fmla="*/ 5518752 w 6884782"/>
              <a:gd name="connsiteY21686" fmla="*/ 4228924 h 5973007"/>
              <a:gd name="connsiteX21687" fmla="*/ 5517822 w 6884782"/>
              <a:gd name="connsiteY21687" fmla="*/ 4227375 h 5973007"/>
              <a:gd name="connsiteX21688" fmla="*/ 5517977 w 6884782"/>
              <a:gd name="connsiteY21688" fmla="*/ 4221076 h 5973007"/>
              <a:gd name="connsiteX21689" fmla="*/ 5564911 w 6884782"/>
              <a:gd name="connsiteY21689" fmla="*/ 4220044 h 5973007"/>
              <a:gd name="connsiteX21690" fmla="*/ 5559179 w 6884782"/>
              <a:gd name="connsiteY21690" fmla="*/ 4230886 h 5973007"/>
              <a:gd name="connsiteX21691" fmla="*/ 5557321 w 6884782"/>
              <a:gd name="connsiteY21691" fmla="*/ 4225826 h 5973007"/>
              <a:gd name="connsiteX21692" fmla="*/ 5564911 w 6884782"/>
              <a:gd name="connsiteY21692" fmla="*/ 4220044 h 5973007"/>
              <a:gd name="connsiteX21693" fmla="*/ 5256357 w 6884782"/>
              <a:gd name="connsiteY21693" fmla="*/ 4219837 h 5973007"/>
              <a:gd name="connsiteX21694" fmla="*/ 5254653 w 6884782"/>
              <a:gd name="connsiteY21694" fmla="*/ 4229957 h 5973007"/>
              <a:gd name="connsiteX21695" fmla="*/ 5250626 w 6884782"/>
              <a:gd name="connsiteY21695" fmla="*/ 4227581 h 5973007"/>
              <a:gd name="connsiteX21696" fmla="*/ 5256357 w 6884782"/>
              <a:gd name="connsiteY21696" fmla="*/ 4219837 h 5973007"/>
              <a:gd name="connsiteX21697" fmla="*/ 1414009 w 6884782"/>
              <a:gd name="connsiteY21697" fmla="*/ 4217032 h 5973007"/>
              <a:gd name="connsiteX21698" fmla="*/ 1421754 w 6884782"/>
              <a:gd name="connsiteY21698" fmla="*/ 4220749 h 5973007"/>
              <a:gd name="connsiteX21699" fmla="*/ 1418036 w 6884782"/>
              <a:gd name="connsiteY21699" fmla="*/ 4226221 h 5973007"/>
              <a:gd name="connsiteX21700" fmla="*/ 1415248 w 6884782"/>
              <a:gd name="connsiteY21700" fmla="*/ 4226634 h 5973007"/>
              <a:gd name="connsiteX21701" fmla="*/ 1414474 w 6884782"/>
              <a:gd name="connsiteY21701" fmla="*/ 4226428 h 5973007"/>
              <a:gd name="connsiteX21702" fmla="*/ 1415403 w 6884782"/>
              <a:gd name="connsiteY21702" fmla="*/ 4227564 h 5973007"/>
              <a:gd name="connsiteX21703" fmla="*/ 1414939 w 6884782"/>
              <a:gd name="connsiteY21703" fmla="*/ 4231487 h 5973007"/>
              <a:gd name="connsiteX21704" fmla="*/ 1412150 w 6884782"/>
              <a:gd name="connsiteY21704" fmla="*/ 4223434 h 5973007"/>
              <a:gd name="connsiteX21705" fmla="*/ 1412306 w 6884782"/>
              <a:gd name="connsiteY21705" fmla="*/ 4223640 h 5973007"/>
              <a:gd name="connsiteX21706" fmla="*/ 1412925 w 6884782"/>
              <a:gd name="connsiteY21706" fmla="*/ 4221162 h 5973007"/>
              <a:gd name="connsiteX21707" fmla="*/ 1414009 w 6884782"/>
              <a:gd name="connsiteY21707" fmla="*/ 4217032 h 5973007"/>
              <a:gd name="connsiteX21708" fmla="*/ 4899631 w 6884782"/>
              <a:gd name="connsiteY21708" fmla="*/ 4216946 h 5973007"/>
              <a:gd name="connsiteX21709" fmla="*/ 4899941 w 6884782"/>
              <a:gd name="connsiteY21709" fmla="*/ 4218495 h 5973007"/>
              <a:gd name="connsiteX21710" fmla="*/ 4900715 w 6884782"/>
              <a:gd name="connsiteY21710" fmla="*/ 4218495 h 5973007"/>
              <a:gd name="connsiteX21711" fmla="*/ 4900096 w 6884782"/>
              <a:gd name="connsiteY21711" fmla="*/ 4220147 h 5973007"/>
              <a:gd name="connsiteX21712" fmla="*/ 4899321 w 6884782"/>
              <a:gd name="connsiteY21712" fmla="*/ 4220250 h 5973007"/>
              <a:gd name="connsiteX21713" fmla="*/ 4899166 w 6884782"/>
              <a:gd name="connsiteY21713" fmla="*/ 4220457 h 5973007"/>
              <a:gd name="connsiteX21714" fmla="*/ 4897618 w 6884782"/>
              <a:gd name="connsiteY21714" fmla="*/ 4219528 h 5973007"/>
              <a:gd name="connsiteX21715" fmla="*/ 4896533 w 6884782"/>
              <a:gd name="connsiteY21715" fmla="*/ 4217978 h 5973007"/>
              <a:gd name="connsiteX21716" fmla="*/ 4899631 w 6884782"/>
              <a:gd name="connsiteY21716" fmla="*/ 4216946 h 5973007"/>
              <a:gd name="connsiteX21717" fmla="*/ 5623810 w 6884782"/>
              <a:gd name="connsiteY21717" fmla="*/ 4216727 h 5973007"/>
              <a:gd name="connsiteX21718" fmla="*/ 5635389 w 6884782"/>
              <a:gd name="connsiteY21718" fmla="*/ 4224794 h 5973007"/>
              <a:gd name="connsiteX21719" fmla="*/ 5634924 w 6884782"/>
              <a:gd name="connsiteY21719" fmla="*/ 4227478 h 5973007"/>
              <a:gd name="connsiteX21720" fmla="*/ 5615407 w 6884782"/>
              <a:gd name="connsiteY21720" fmla="*/ 4239456 h 5973007"/>
              <a:gd name="connsiteX21721" fmla="*/ 5596974 w 6884782"/>
              <a:gd name="connsiteY21721" fmla="*/ 4229957 h 5973007"/>
              <a:gd name="connsiteX21722" fmla="*/ 5610140 w 6884782"/>
              <a:gd name="connsiteY21722" fmla="*/ 4217256 h 5973007"/>
              <a:gd name="connsiteX21723" fmla="*/ 5623810 w 6884782"/>
              <a:gd name="connsiteY21723" fmla="*/ 4216727 h 5973007"/>
              <a:gd name="connsiteX21724" fmla="*/ 5302206 w 6884782"/>
              <a:gd name="connsiteY21724" fmla="*/ 4216430 h 5973007"/>
              <a:gd name="connsiteX21725" fmla="*/ 5296940 w 6884782"/>
              <a:gd name="connsiteY21725" fmla="*/ 4231196 h 5973007"/>
              <a:gd name="connsiteX21726" fmla="*/ 5291364 w 6884782"/>
              <a:gd name="connsiteY21726" fmla="*/ 4231092 h 5973007"/>
              <a:gd name="connsiteX21727" fmla="*/ 5302206 w 6884782"/>
              <a:gd name="connsiteY21727" fmla="*/ 4216430 h 5973007"/>
              <a:gd name="connsiteX21728" fmla="*/ 1471476 w 6884782"/>
              <a:gd name="connsiteY21728" fmla="*/ 4213521 h 5973007"/>
              <a:gd name="connsiteX21729" fmla="*/ 1484797 w 6884782"/>
              <a:gd name="connsiteY21729" fmla="*/ 4215276 h 5973007"/>
              <a:gd name="connsiteX21730" fmla="*/ 1486501 w 6884782"/>
              <a:gd name="connsiteY21730" fmla="*/ 4217135 h 5973007"/>
              <a:gd name="connsiteX21731" fmla="*/ 1487276 w 6884782"/>
              <a:gd name="connsiteY21731" fmla="*/ 4217238 h 5973007"/>
              <a:gd name="connsiteX21732" fmla="*/ 1488050 w 6884782"/>
              <a:gd name="connsiteY21732" fmla="*/ 4219097 h 5973007"/>
              <a:gd name="connsiteX21733" fmla="*/ 1485881 w 6884782"/>
              <a:gd name="connsiteY21733" fmla="*/ 4219923 h 5973007"/>
              <a:gd name="connsiteX21734" fmla="*/ 1483093 w 6884782"/>
              <a:gd name="connsiteY21734" fmla="*/ 4219303 h 5973007"/>
              <a:gd name="connsiteX21735" fmla="*/ 1478911 w 6884782"/>
              <a:gd name="connsiteY21735" fmla="*/ 4218890 h 5973007"/>
              <a:gd name="connsiteX21736" fmla="*/ 1465590 w 6884782"/>
              <a:gd name="connsiteY21736" fmla="*/ 4213727 h 5973007"/>
              <a:gd name="connsiteX21737" fmla="*/ 1471476 w 6884782"/>
              <a:gd name="connsiteY21737" fmla="*/ 4213521 h 5973007"/>
              <a:gd name="connsiteX21738" fmla="*/ 1489444 w 6884782"/>
              <a:gd name="connsiteY21738" fmla="*/ 4211559 h 5973007"/>
              <a:gd name="connsiteX21739" fmla="*/ 1501836 w 6884782"/>
              <a:gd name="connsiteY21739" fmla="*/ 4212798 h 5973007"/>
              <a:gd name="connsiteX21740" fmla="*/ 1494401 w 6884782"/>
              <a:gd name="connsiteY21740" fmla="*/ 4221265 h 5973007"/>
              <a:gd name="connsiteX21741" fmla="*/ 1489444 w 6884782"/>
              <a:gd name="connsiteY21741" fmla="*/ 4211559 h 5973007"/>
              <a:gd name="connsiteX21742" fmla="*/ 1393873 w 6884782"/>
              <a:gd name="connsiteY21742" fmla="*/ 4209804 h 5973007"/>
              <a:gd name="connsiteX21743" fmla="*/ 1398210 w 6884782"/>
              <a:gd name="connsiteY21743" fmla="*/ 4213521 h 5973007"/>
              <a:gd name="connsiteX21744" fmla="*/ 1397590 w 6884782"/>
              <a:gd name="connsiteY21744" fmla="*/ 4216309 h 5973007"/>
              <a:gd name="connsiteX21745" fmla="*/ 1393873 w 6884782"/>
              <a:gd name="connsiteY21745" fmla="*/ 4218787 h 5973007"/>
              <a:gd name="connsiteX21746" fmla="*/ 1392324 w 6884782"/>
              <a:gd name="connsiteY21746" fmla="*/ 4217858 h 5973007"/>
              <a:gd name="connsiteX21747" fmla="*/ 1391704 w 6884782"/>
              <a:gd name="connsiteY21747" fmla="*/ 4211559 h 5973007"/>
              <a:gd name="connsiteX21748" fmla="*/ 1393873 w 6884782"/>
              <a:gd name="connsiteY21748" fmla="*/ 4209804 h 5973007"/>
              <a:gd name="connsiteX21749" fmla="*/ 1415248 w 6884782"/>
              <a:gd name="connsiteY21749" fmla="*/ 4209597 h 5973007"/>
              <a:gd name="connsiteX21750" fmla="*/ 1415558 w 6884782"/>
              <a:gd name="connsiteY21750" fmla="*/ 4216412 h 5973007"/>
              <a:gd name="connsiteX21751" fmla="*/ 1408434 w 6884782"/>
              <a:gd name="connsiteY21751" fmla="*/ 4215276 h 5973007"/>
              <a:gd name="connsiteX21752" fmla="*/ 1408743 w 6884782"/>
              <a:gd name="connsiteY21752" fmla="*/ 4210320 h 5973007"/>
              <a:gd name="connsiteX21753" fmla="*/ 1415248 w 6884782"/>
              <a:gd name="connsiteY21753" fmla="*/ 4209597 h 5973007"/>
              <a:gd name="connsiteX21754" fmla="*/ 5447035 w 6884782"/>
              <a:gd name="connsiteY21754" fmla="*/ 4209099 h 5973007"/>
              <a:gd name="connsiteX21755" fmla="*/ 5453076 w 6884782"/>
              <a:gd name="connsiteY21755" fmla="*/ 4218702 h 5973007"/>
              <a:gd name="connsiteX21756" fmla="*/ 5441458 w 6884782"/>
              <a:gd name="connsiteY21756" fmla="*/ 4234190 h 5973007"/>
              <a:gd name="connsiteX21757" fmla="*/ 5440994 w 6884782"/>
              <a:gd name="connsiteY21757" fmla="*/ 4234087 h 5973007"/>
              <a:gd name="connsiteX21758" fmla="*/ 5440839 w 6884782"/>
              <a:gd name="connsiteY21758" fmla="*/ 4241005 h 5973007"/>
              <a:gd name="connsiteX21759" fmla="*/ 5438360 w 6884782"/>
              <a:gd name="connsiteY21759" fmla="*/ 4248542 h 5973007"/>
              <a:gd name="connsiteX21760" fmla="*/ 5436037 w 6884782"/>
              <a:gd name="connsiteY21760" fmla="*/ 4249678 h 5973007"/>
              <a:gd name="connsiteX21761" fmla="*/ 5418379 w 6884782"/>
              <a:gd name="connsiteY21761" fmla="*/ 4237701 h 5973007"/>
              <a:gd name="connsiteX21762" fmla="*/ 5416830 w 6884782"/>
              <a:gd name="connsiteY21762" fmla="*/ 4220870 h 5973007"/>
              <a:gd name="connsiteX21763" fmla="*/ 5417295 w 6884782"/>
              <a:gd name="connsiteY21763" fmla="*/ 4220044 h 5973007"/>
              <a:gd name="connsiteX21764" fmla="*/ 5416210 w 6884782"/>
              <a:gd name="connsiteY21764" fmla="*/ 4221076 h 5973007"/>
              <a:gd name="connsiteX21765" fmla="*/ 5414352 w 6884782"/>
              <a:gd name="connsiteY21765" fmla="*/ 4220870 h 5973007"/>
              <a:gd name="connsiteX21766" fmla="*/ 5410324 w 6884782"/>
              <a:gd name="connsiteY21766" fmla="*/ 4219528 h 5973007"/>
              <a:gd name="connsiteX21767" fmla="*/ 5410634 w 6884782"/>
              <a:gd name="connsiteY21767" fmla="*/ 4216223 h 5973007"/>
              <a:gd name="connsiteX21768" fmla="*/ 5413887 w 6884782"/>
              <a:gd name="connsiteY21768" fmla="*/ 4214055 h 5973007"/>
              <a:gd name="connsiteX21769" fmla="*/ 5420702 w 6884782"/>
              <a:gd name="connsiteY21769" fmla="*/ 4214055 h 5973007"/>
              <a:gd name="connsiteX21770" fmla="*/ 5420238 w 6884782"/>
              <a:gd name="connsiteY21770" fmla="*/ 4215604 h 5973007"/>
              <a:gd name="connsiteX21771" fmla="*/ 5428602 w 6884782"/>
              <a:gd name="connsiteY21771" fmla="*/ 4216533 h 5973007"/>
              <a:gd name="connsiteX21772" fmla="*/ 5435418 w 6884782"/>
              <a:gd name="connsiteY21772" fmla="*/ 4221076 h 5973007"/>
              <a:gd name="connsiteX21773" fmla="*/ 5438051 w 6884782"/>
              <a:gd name="connsiteY21773" fmla="*/ 4225103 h 5973007"/>
              <a:gd name="connsiteX21774" fmla="*/ 5438825 w 6884782"/>
              <a:gd name="connsiteY21774" fmla="*/ 4221489 h 5973007"/>
              <a:gd name="connsiteX21775" fmla="*/ 5447035 w 6884782"/>
              <a:gd name="connsiteY21775" fmla="*/ 4209099 h 5973007"/>
              <a:gd name="connsiteX21776" fmla="*/ 5195793 w 6884782"/>
              <a:gd name="connsiteY21776" fmla="*/ 4208789 h 5973007"/>
              <a:gd name="connsiteX21777" fmla="*/ 5196413 w 6884782"/>
              <a:gd name="connsiteY21777" fmla="*/ 4209305 h 5973007"/>
              <a:gd name="connsiteX21778" fmla="*/ 5197652 w 6884782"/>
              <a:gd name="connsiteY21778" fmla="*/ 4208996 h 5973007"/>
              <a:gd name="connsiteX21779" fmla="*/ 5199975 w 6884782"/>
              <a:gd name="connsiteY21779" fmla="*/ 4212300 h 5973007"/>
              <a:gd name="connsiteX21780" fmla="*/ 5200285 w 6884782"/>
              <a:gd name="connsiteY21780" fmla="*/ 4214262 h 5973007"/>
              <a:gd name="connsiteX21781" fmla="*/ 5199356 w 6884782"/>
              <a:gd name="connsiteY21781" fmla="*/ 4215707 h 5973007"/>
              <a:gd name="connsiteX21782" fmla="*/ 5197497 w 6884782"/>
              <a:gd name="connsiteY21782" fmla="*/ 4215501 h 5973007"/>
              <a:gd name="connsiteX21783" fmla="*/ 5194399 w 6884782"/>
              <a:gd name="connsiteY21783" fmla="*/ 4213848 h 5973007"/>
              <a:gd name="connsiteX21784" fmla="*/ 5193624 w 6884782"/>
              <a:gd name="connsiteY21784" fmla="*/ 4211370 h 5973007"/>
              <a:gd name="connsiteX21785" fmla="*/ 5195018 w 6884782"/>
              <a:gd name="connsiteY21785" fmla="*/ 4210338 h 5973007"/>
              <a:gd name="connsiteX21786" fmla="*/ 5195793 w 6884782"/>
              <a:gd name="connsiteY21786" fmla="*/ 4208789 h 5973007"/>
              <a:gd name="connsiteX21787" fmla="*/ 5252795 w 6884782"/>
              <a:gd name="connsiteY21787" fmla="*/ 4206827 h 5973007"/>
              <a:gd name="connsiteX21788" fmla="*/ 5255583 w 6884782"/>
              <a:gd name="connsiteY21788" fmla="*/ 4209822 h 5973007"/>
              <a:gd name="connsiteX21789" fmla="*/ 5254808 w 6884782"/>
              <a:gd name="connsiteY21789" fmla="*/ 4212506 h 5973007"/>
              <a:gd name="connsiteX21790" fmla="*/ 5253569 w 6884782"/>
              <a:gd name="connsiteY21790" fmla="*/ 4212919 h 5973007"/>
              <a:gd name="connsiteX21791" fmla="*/ 5252330 w 6884782"/>
              <a:gd name="connsiteY21791" fmla="*/ 4211887 h 5973007"/>
              <a:gd name="connsiteX21792" fmla="*/ 5250781 w 6884782"/>
              <a:gd name="connsiteY21792" fmla="*/ 4209822 h 5973007"/>
              <a:gd name="connsiteX21793" fmla="*/ 5251401 w 6884782"/>
              <a:gd name="connsiteY21793" fmla="*/ 4208479 h 5973007"/>
              <a:gd name="connsiteX21794" fmla="*/ 5252795 w 6884782"/>
              <a:gd name="connsiteY21794" fmla="*/ 4206827 h 5973007"/>
              <a:gd name="connsiteX21795" fmla="*/ 1228599 w 6884782"/>
              <a:gd name="connsiteY21795" fmla="*/ 4206809 h 5973007"/>
              <a:gd name="connsiteX21796" fmla="*/ 1228599 w 6884782"/>
              <a:gd name="connsiteY21796" fmla="*/ 4207429 h 5973007"/>
              <a:gd name="connsiteX21797" fmla="*/ 1229373 w 6884782"/>
              <a:gd name="connsiteY21797" fmla="*/ 4207222 h 5973007"/>
              <a:gd name="connsiteX21798" fmla="*/ 5491335 w 6884782"/>
              <a:gd name="connsiteY21798" fmla="*/ 4205691 h 5973007"/>
              <a:gd name="connsiteX21799" fmla="*/ 5490715 w 6884782"/>
              <a:gd name="connsiteY21799" fmla="*/ 4210854 h 5973007"/>
              <a:gd name="connsiteX21800" fmla="*/ 5488237 w 6884782"/>
              <a:gd name="connsiteY21800" fmla="*/ 4212300 h 5973007"/>
              <a:gd name="connsiteX21801" fmla="*/ 5485604 w 6884782"/>
              <a:gd name="connsiteY21801" fmla="*/ 4210544 h 5973007"/>
              <a:gd name="connsiteX21802" fmla="*/ 5484520 w 6884782"/>
              <a:gd name="connsiteY21802" fmla="*/ 4207137 h 5973007"/>
              <a:gd name="connsiteX21803" fmla="*/ 5491335 w 6884782"/>
              <a:gd name="connsiteY21803" fmla="*/ 4205691 h 5973007"/>
              <a:gd name="connsiteX21804" fmla="*/ 5563207 w 6884782"/>
              <a:gd name="connsiteY21804" fmla="*/ 4204349 h 5973007"/>
              <a:gd name="connsiteX21805" fmla="*/ 5565995 w 6884782"/>
              <a:gd name="connsiteY21805" fmla="*/ 4208169 h 5973007"/>
              <a:gd name="connsiteX21806" fmla="*/ 5563517 w 6884782"/>
              <a:gd name="connsiteY21806" fmla="*/ 4210235 h 5973007"/>
              <a:gd name="connsiteX21807" fmla="*/ 5561658 w 6884782"/>
              <a:gd name="connsiteY21807" fmla="*/ 4208996 h 5973007"/>
              <a:gd name="connsiteX21808" fmla="*/ 5563207 w 6884782"/>
              <a:gd name="connsiteY21808" fmla="*/ 4204349 h 5973007"/>
              <a:gd name="connsiteX21809" fmla="*/ 1349108 w 6884782"/>
              <a:gd name="connsiteY21809" fmla="*/ 4203505 h 5973007"/>
              <a:gd name="connsiteX21810" fmla="*/ 1343532 w 6884782"/>
              <a:gd name="connsiteY21810" fmla="*/ 4226944 h 5973007"/>
              <a:gd name="connsiteX21811" fmla="*/ 1344151 w 6884782"/>
              <a:gd name="connsiteY21811" fmla="*/ 4215070 h 5973007"/>
              <a:gd name="connsiteX21812" fmla="*/ 1349108 w 6884782"/>
              <a:gd name="connsiteY21812" fmla="*/ 4203505 h 5973007"/>
              <a:gd name="connsiteX21813" fmla="*/ 4866019 w 6884782"/>
              <a:gd name="connsiteY21813" fmla="*/ 4202800 h 5973007"/>
              <a:gd name="connsiteX21814" fmla="*/ 4874383 w 6884782"/>
              <a:gd name="connsiteY21814" fmla="*/ 4209305 h 5973007"/>
              <a:gd name="connsiteX21815" fmla="*/ 4874848 w 6884782"/>
              <a:gd name="connsiteY21815" fmla="*/ 4211680 h 5973007"/>
              <a:gd name="connsiteX21816" fmla="*/ 4875622 w 6884782"/>
              <a:gd name="connsiteY21816" fmla="*/ 4213332 h 5973007"/>
              <a:gd name="connsiteX21817" fmla="*/ 4874848 w 6884782"/>
              <a:gd name="connsiteY21817" fmla="*/ 4219114 h 5973007"/>
              <a:gd name="connsiteX21818" fmla="*/ 4864625 w 6884782"/>
              <a:gd name="connsiteY21818" fmla="*/ 4206207 h 5973007"/>
              <a:gd name="connsiteX21819" fmla="*/ 4864315 w 6884782"/>
              <a:gd name="connsiteY21819" fmla="*/ 4204349 h 5973007"/>
              <a:gd name="connsiteX21820" fmla="*/ 4866019 w 6884782"/>
              <a:gd name="connsiteY21820" fmla="*/ 4202800 h 5973007"/>
              <a:gd name="connsiteX21821" fmla="*/ 1378074 w 6884782"/>
              <a:gd name="connsiteY21821" fmla="*/ 4202369 h 5973007"/>
              <a:gd name="connsiteX21822" fmla="*/ 1386283 w 6884782"/>
              <a:gd name="connsiteY21822" fmla="*/ 4204124 h 5973007"/>
              <a:gd name="connsiteX21823" fmla="*/ 1387213 w 6884782"/>
              <a:gd name="connsiteY21823" fmla="*/ 4204228 h 5973007"/>
              <a:gd name="connsiteX21824" fmla="*/ 1390930 w 6884782"/>
              <a:gd name="connsiteY21824" fmla="*/ 4204434 h 5973007"/>
              <a:gd name="connsiteX21825" fmla="*/ 1385973 w 6884782"/>
              <a:gd name="connsiteY21825" fmla="*/ 4214553 h 5973007"/>
              <a:gd name="connsiteX21826" fmla="*/ 1379623 w 6884782"/>
              <a:gd name="connsiteY21826" fmla="*/ 4208565 h 5973007"/>
              <a:gd name="connsiteX21827" fmla="*/ 1382256 w 6884782"/>
              <a:gd name="connsiteY21827" fmla="*/ 4206190 h 5973007"/>
              <a:gd name="connsiteX21828" fmla="*/ 1382101 w 6884782"/>
              <a:gd name="connsiteY21828" fmla="*/ 4206086 h 5973007"/>
              <a:gd name="connsiteX21829" fmla="*/ 1377764 w 6884782"/>
              <a:gd name="connsiteY21829" fmla="*/ 4205673 h 5973007"/>
              <a:gd name="connsiteX21830" fmla="*/ 1376214 w 6884782"/>
              <a:gd name="connsiteY21830" fmla="*/ 4203711 h 5973007"/>
              <a:gd name="connsiteX21831" fmla="*/ 1376214 w 6884782"/>
              <a:gd name="connsiteY21831" fmla="*/ 4202885 h 5973007"/>
              <a:gd name="connsiteX21832" fmla="*/ 1378074 w 6884782"/>
              <a:gd name="connsiteY21832" fmla="*/ 4202369 h 5973007"/>
              <a:gd name="connsiteX21833" fmla="*/ 1225191 w 6884782"/>
              <a:gd name="connsiteY21833" fmla="*/ 4202266 h 5973007"/>
              <a:gd name="connsiteX21834" fmla="*/ 1221784 w 6884782"/>
              <a:gd name="connsiteY21834" fmla="*/ 4203092 h 5973007"/>
              <a:gd name="connsiteX21835" fmla="*/ 1206293 w 6884782"/>
              <a:gd name="connsiteY21835" fmla="*/ 4207945 h 5973007"/>
              <a:gd name="connsiteX21836" fmla="*/ 1204125 w 6884782"/>
              <a:gd name="connsiteY21836" fmla="*/ 4204744 h 5973007"/>
              <a:gd name="connsiteX21837" fmla="*/ 1201802 w 6884782"/>
              <a:gd name="connsiteY21837" fmla="*/ 4212282 h 5973007"/>
              <a:gd name="connsiteX21838" fmla="*/ 1193902 w 6884782"/>
              <a:gd name="connsiteY21838" fmla="*/ 4214967 h 5973007"/>
              <a:gd name="connsiteX21839" fmla="*/ 1193902 w 6884782"/>
              <a:gd name="connsiteY21839" fmla="*/ 4221368 h 5973007"/>
              <a:gd name="connsiteX21840" fmla="*/ 1207223 w 6884782"/>
              <a:gd name="connsiteY21840" fmla="*/ 4215276 h 5973007"/>
              <a:gd name="connsiteX21841" fmla="*/ 1207068 w 6884782"/>
              <a:gd name="connsiteY21841" fmla="*/ 4213211 h 5973007"/>
              <a:gd name="connsiteX21842" fmla="*/ 1205674 w 6884782"/>
              <a:gd name="connsiteY21842" fmla="*/ 4213831 h 5973007"/>
              <a:gd name="connsiteX21843" fmla="*/ 1209546 w 6884782"/>
              <a:gd name="connsiteY21843" fmla="*/ 4209081 h 5973007"/>
              <a:gd name="connsiteX21844" fmla="*/ 1210631 w 6884782"/>
              <a:gd name="connsiteY21844" fmla="*/ 4211456 h 5973007"/>
              <a:gd name="connsiteX21845" fmla="*/ 1207843 w 6884782"/>
              <a:gd name="connsiteY21845" fmla="*/ 4212695 h 5973007"/>
              <a:gd name="connsiteX21846" fmla="*/ 1209546 w 6884782"/>
              <a:gd name="connsiteY21846" fmla="*/ 4213521 h 5973007"/>
              <a:gd name="connsiteX21847" fmla="*/ 1212025 w 6884782"/>
              <a:gd name="connsiteY21847" fmla="*/ 4214347 h 5973007"/>
              <a:gd name="connsiteX21848" fmla="*/ 1226120 w 6884782"/>
              <a:gd name="connsiteY21848" fmla="*/ 4205570 h 5973007"/>
              <a:gd name="connsiteX21849" fmla="*/ 1226740 w 6884782"/>
              <a:gd name="connsiteY21849" fmla="*/ 4205260 h 5973007"/>
              <a:gd name="connsiteX21850" fmla="*/ 1225191 w 6884782"/>
              <a:gd name="connsiteY21850" fmla="*/ 4203092 h 5973007"/>
              <a:gd name="connsiteX21851" fmla="*/ 5512246 w 6884782"/>
              <a:gd name="connsiteY21851" fmla="*/ 4201251 h 5973007"/>
              <a:gd name="connsiteX21852" fmla="*/ 5518597 w 6884782"/>
              <a:gd name="connsiteY21852" fmla="*/ 4206414 h 5973007"/>
              <a:gd name="connsiteX21853" fmla="*/ 5513175 w 6884782"/>
              <a:gd name="connsiteY21853" fmla="*/ 4222315 h 5973007"/>
              <a:gd name="connsiteX21854" fmla="*/ 5512556 w 6884782"/>
              <a:gd name="connsiteY21854" fmla="*/ 4221902 h 5973007"/>
              <a:gd name="connsiteX21855" fmla="*/ 5511007 w 6884782"/>
              <a:gd name="connsiteY21855" fmla="*/ 4227375 h 5973007"/>
              <a:gd name="connsiteX21856" fmla="*/ 5507599 w 6884782"/>
              <a:gd name="connsiteY21856" fmla="*/ 4227581 h 5973007"/>
              <a:gd name="connsiteX21857" fmla="*/ 5500164 w 6884782"/>
              <a:gd name="connsiteY21857" fmla="*/ 4222212 h 5973007"/>
              <a:gd name="connsiteX21858" fmla="*/ 5499854 w 6884782"/>
              <a:gd name="connsiteY21858" fmla="*/ 4221696 h 5973007"/>
              <a:gd name="connsiteX21859" fmla="*/ 5498770 w 6884782"/>
              <a:gd name="connsiteY21859" fmla="*/ 4221283 h 5973007"/>
              <a:gd name="connsiteX21860" fmla="*/ 5498615 w 6884782"/>
              <a:gd name="connsiteY21860" fmla="*/ 4221593 h 5973007"/>
              <a:gd name="connsiteX21861" fmla="*/ 5498460 w 6884782"/>
              <a:gd name="connsiteY21861" fmla="*/ 4221180 h 5973007"/>
              <a:gd name="connsiteX21862" fmla="*/ 5496601 w 6884782"/>
              <a:gd name="connsiteY21862" fmla="*/ 4220457 h 5973007"/>
              <a:gd name="connsiteX21863" fmla="*/ 5497221 w 6884782"/>
              <a:gd name="connsiteY21863" fmla="*/ 4219011 h 5973007"/>
              <a:gd name="connsiteX21864" fmla="*/ 5496446 w 6884782"/>
              <a:gd name="connsiteY21864" fmla="*/ 4216430 h 5973007"/>
              <a:gd name="connsiteX21865" fmla="*/ 5497996 w 6884782"/>
              <a:gd name="connsiteY21865" fmla="*/ 4214674 h 5973007"/>
              <a:gd name="connsiteX21866" fmla="*/ 5502797 w 6884782"/>
              <a:gd name="connsiteY21866" fmla="*/ 4214571 h 5973007"/>
              <a:gd name="connsiteX21867" fmla="*/ 5506050 w 6884782"/>
              <a:gd name="connsiteY21867" fmla="*/ 4208582 h 5973007"/>
              <a:gd name="connsiteX21868" fmla="*/ 5507599 w 6884782"/>
              <a:gd name="connsiteY21868" fmla="*/ 4205588 h 5973007"/>
              <a:gd name="connsiteX21869" fmla="*/ 5506670 w 6884782"/>
              <a:gd name="connsiteY21869" fmla="*/ 4206414 h 5973007"/>
              <a:gd name="connsiteX21870" fmla="*/ 5494278 w 6884782"/>
              <a:gd name="connsiteY21870" fmla="*/ 4205278 h 5973007"/>
              <a:gd name="connsiteX21871" fmla="*/ 5502332 w 6884782"/>
              <a:gd name="connsiteY21871" fmla="*/ 4201458 h 5973007"/>
              <a:gd name="connsiteX21872" fmla="*/ 5508993 w 6884782"/>
              <a:gd name="connsiteY21872" fmla="*/ 4203833 h 5973007"/>
              <a:gd name="connsiteX21873" fmla="*/ 665396 w 6884782"/>
              <a:gd name="connsiteY21873" fmla="*/ 4200820 h 5973007"/>
              <a:gd name="connsiteX21874" fmla="*/ 668339 w 6884782"/>
              <a:gd name="connsiteY21874" fmla="*/ 4204847 h 5973007"/>
              <a:gd name="connsiteX21875" fmla="*/ 670197 w 6884782"/>
              <a:gd name="connsiteY21875" fmla="*/ 4208461 h 5973007"/>
              <a:gd name="connsiteX21876" fmla="*/ 673296 w 6884782"/>
              <a:gd name="connsiteY21876" fmla="*/ 4222091 h 5973007"/>
              <a:gd name="connsiteX21877" fmla="*/ 669887 w 6884782"/>
              <a:gd name="connsiteY21877" fmla="*/ 4217444 h 5973007"/>
              <a:gd name="connsiteX21878" fmla="*/ 663847 w 6884782"/>
              <a:gd name="connsiteY21878" fmla="*/ 4205673 h 5973007"/>
              <a:gd name="connsiteX21879" fmla="*/ 664621 w 6884782"/>
              <a:gd name="connsiteY21879" fmla="*/ 4203299 h 5973007"/>
              <a:gd name="connsiteX21880" fmla="*/ 664312 w 6884782"/>
              <a:gd name="connsiteY21880" fmla="*/ 4202472 h 5973007"/>
              <a:gd name="connsiteX21881" fmla="*/ 665396 w 6884782"/>
              <a:gd name="connsiteY21881" fmla="*/ 4200820 h 5973007"/>
              <a:gd name="connsiteX21882" fmla="*/ 5384147 w 6884782"/>
              <a:gd name="connsiteY21882" fmla="*/ 4199909 h 5973007"/>
              <a:gd name="connsiteX21883" fmla="*/ 5391892 w 6884782"/>
              <a:gd name="connsiteY21883" fmla="*/ 4205278 h 5973007"/>
              <a:gd name="connsiteX21884" fmla="*/ 5386160 w 6884782"/>
              <a:gd name="connsiteY21884" fmla="*/ 4211370 h 5973007"/>
              <a:gd name="connsiteX21885" fmla="*/ 5380429 w 6884782"/>
              <a:gd name="connsiteY21885" fmla="*/ 4208686 h 5973007"/>
              <a:gd name="connsiteX21886" fmla="*/ 5384147 w 6884782"/>
              <a:gd name="connsiteY21886" fmla="*/ 4199909 h 5973007"/>
              <a:gd name="connsiteX21887" fmla="*/ 5904288 w 6884782"/>
              <a:gd name="connsiteY21887" fmla="*/ 4199186 h 5973007"/>
              <a:gd name="connsiteX21888" fmla="*/ 5904908 w 6884782"/>
              <a:gd name="connsiteY21888" fmla="*/ 4201664 h 5973007"/>
              <a:gd name="connsiteX21889" fmla="*/ 5907231 w 6884782"/>
              <a:gd name="connsiteY21889" fmla="*/ 4201251 h 5973007"/>
              <a:gd name="connsiteX21890" fmla="*/ 5659552 w 6884782"/>
              <a:gd name="connsiteY21890" fmla="*/ 4198876 h 5973007"/>
              <a:gd name="connsiteX21891" fmla="*/ 5660946 w 6884782"/>
              <a:gd name="connsiteY21891" fmla="*/ 4202490 h 5973007"/>
              <a:gd name="connsiteX21892" fmla="*/ 5661256 w 6884782"/>
              <a:gd name="connsiteY21892" fmla="*/ 4202077 h 5973007"/>
              <a:gd name="connsiteX21893" fmla="*/ 5662340 w 6884782"/>
              <a:gd name="connsiteY21893" fmla="*/ 4225310 h 5973007"/>
              <a:gd name="connsiteX21894" fmla="*/ 5658933 w 6884782"/>
              <a:gd name="connsiteY21894" fmla="*/ 4219321 h 5973007"/>
              <a:gd name="connsiteX21895" fmla="*/ 5658158 w 6884782"/>
              <a:gd name="connsiteY21895" fmla="*/ 4214055 h 5973007"/>
              <a:gd name="connsiteX21896" fmla="*/ 5656764 w 6884782"/>
              <a:gd name="connsiteY21896" fmla="*/ 4214365 h 5973007"/>
              <a:gd name="connsiteX21897" fmla="*/ 5656145 w 6884782"/>
              <a:gd name="connsiteY21897" fmla="*/ 4214262 h 5973007"/>
              <a:gd name="connsiteX21898" fmla="*/ 5658003 w 6884782"/>
              <a:gd name="connsiteY21898" fmla="*/ 4217049 h 5973007"/>
              <a:gd name="connsiteX21899" fmla="*/ 5657074 w 6884782"/>
              <a:gd name="connsiteY21899" fmla="*/ 4234087 h 5973007"/>
              <a:gd name="connsiteX21900" fmla="*/ 5652892 w 6884782"/>
              <a:gd name="connsiteY21900" fmla="*/ 4229853 h 5973007"/>
              <a:gd name="connsiteX21901" fmla="*/ 5652582 w 6884782"/>
              <a:gd name="connsiteY21901" fmla="*/ 4229027 h 5973007"/>
              <a:gd name="connsiteX21902" fmla="*/ 5652582 w 6884782"/>
              <a:gd name="connsiteY21902" fmla="*/ 4230369 h 5973007"/>
              <a:gd name="connsiteX21903" fmla="*/ 5650569 w 6884782"/>
              <a:gd name="connsiteY21903" fmla="*/ 4249885 h 5973007"/>
              <a:gd name="connsiteX21904" fmla="*/ 5646386 w 6884782"/>
              <a:gd name="connsiteY21904" fmla="*/ 4239663 h 5973007"/>
              <a:gd name="connsiteX21905" fmla="*/ 5643908 w 6884782"/>
              <a:gd name="connsiteY21905" fmla="*/ 4229853 h 5973007"/>
              <a:gd name="connsiteX21906" fmla="*/ 5644992 w 6884782"/>
              <a:gd name="connsiteY21906" fmla="*/ 4226859 h 5973007"/>
              <a:gd name="connsiteX21907" fmla="*/ 5644372 w 6884782"/>
              <a:gd name="connsiteY21907" fmla="*/ 4226549 h 5973007"/>
              <a:gd name="connsiteX21908" fmla="*/ 5647625 w 6884782"/>
              <a:gd name="connsiteY21908" fmla="*/ 4221489 h 5973007"/>
              <a:gd name="connsiteX21909" fmla="*/ 5649949 w 6884782"/>
              <a:gd name="connsiteY21909" fmla="*/ 4223864 h 5973007"/>
              <a:gd name="connsiteX21910" fmla="*/ 5651653 w 6884782"/>
              <a:gd name="connsiteY21910" fmla="*/ 4223451 h 5973007"/>
              <a:gd name="connsiteX21911" fmla="*/ 5652272 w 6884782"/>
              <a:gd name="connsiteY21911" fmla="*/ 4217359 h 5973007"/>
              <a:gd name="connsiteX21912" fmla="*/ 5653512 w 6884782"/>
              <a:gd name="connsiteY21912" fmla="*/ 4213848 h 5973007"/>
              <a:gd name="connsiteX21913" fmla="*/ 5652737 w 6884782"/>
              <a:gd name="connsiteY21913" fmla="*/ 4213745 h 5973007"/>
              <a:gd name="connsiteX21914" fmla="*/ 5651343 w 6884782"/>
              <a:gd name="connsiteY21914" fmla="*/ 4205588 h 5973007"/>
              <a:gd name="connsiteX21915" fmla="*/ 5656764 w 6884782"/>
              <a:gd name="connsiteY21915" fmla="*/ 4208273 h 5973007"/>
              <a:gd name="connsiteX21916" fmla="*/ 5658158 w 6884782"/>
              <a:gd name="connsiteY21916" fmla="*/ 4210854 h 5973007"/>
              <a:gd name="connsiteX21917" fmla="*/ 5658468 w 6884782"/>
              <a:gd name="connsiteY21917" fmla="*/ 4208479 h 5973007"/>
              <a:gd name="connsiteX21918" fmla="*/ 5655525 w 6884782"/>
              <a:gd name="connsiteY21918" fmla="*/ 4207550 h 5973007"/>
              <a:gd name="connsiteX21919" fmla="*/ 5649794 w 6884782"/>
              <a:gd name="connsiteY21919" fmla="*/ 4204556 h 5973007"/>
              <a:gd name="connsiteX21920" fmla="*/ 5659552 w 6884782"/>
              <a:gd name="connsiteY21920" fmla="*/ 4198876 h 5973007"/>
              <a:gd name="connsiteX21921" fmla="*/ 5670860 w 6884782"/>
              <a:gd name="connsiteY21921" fmla="*/ 4195985 h 5973007"/>
              <a:gd name="connsiteX21922" fmla="*/ 5672873 w 6884782"/>
              <a:gd name="connsiteY21922" fmla="*/ 4198876 h 5973007"/>
              <a:gd name="connsiteX21923" fmla="*/ 5665129 w 6884782"/>
              <a:gd name="connsiteY21923" fmla="*/ 4210544 h 5973007"/>
              <a:gd name="connsiteX21924" fmla="*/ 5670860 w 6884782"/>
              <a:gd name="connsiteY21924" fmla="*/ 4195985 h 5973007"/>
              <a:gd name="connsiteX21925" fmla="*/ 5492574 w 6884782"/>
              <a:gd name="connsiteY21925" fmla="*/ 4194849 h 5973007"/>
              <a:gd name="connsiteX21926" fmla="*/ 5491955 w 6884782"/>
              <a:gd name="connsiteY21926" fmla="*/ 4195675 h 5973007"/>
              <a:gd name="connsiteX21927" fmla="*/ 5493349 w 6884782"/>
              <a:gd name="connsiteY21927" fmla="*/ 4196605 h 5973007"/>
              <a:gd name="connsiteX21928" fmla="*/ 5493813 w 6884782"/>
              <a:gd name="connsiteY21928" fmla="*/ 4195778 h 5973007"/>
              <a:gd name="connsiteX21929" fmla="*/ 5494743 w 6884782"/>
              <a:gd name="connsiteY21929" fmla="*/ 4197431 h 5973007"/>
              <a:gd name="connsiteX21930" fmla="*/ 5493349 w 6884782"/>
              <a:gd name="connsiteY21930" fmla="*/ 4204142 h 5973007"/>
              <a:gd name="connsiteX21931" fmla="*/ 5489941 w 6884782"/>
              <a:gd name="connsiteY21931" fmla="*/ 4201974 h 5973007"/>
              <a:gd name="connsiteX21932" fmla="*/ 5489786 w 6884782"/>
              <a:gd name="connsiteY21932" fmla="*/ 4198360 h 5973007"/>
              <a:gd name="connsiteX21933" fmla="*/ 5492574 w 6884782"/>
              <a:gd name="connsiteY21933" fmla="*/ 4194849 h 5973007"/>
              <a:gd name="connsiteX21934" fmla="*/ 5383527 w 6884782"/>
              <a:gd name="connsiteY21934" fmla="*/ 4193817 h 5973007"/>
              <a:gd name="connsiteX21935" fmla="*/ 5385386 w 6884782"/>
              <a:gd name="connsiteY21935" fmla="*/ 4195366 h 5973007"/>
              <a:gd name="connsiteX21936" fmla="*/ 5385541 w 6884782"/>
              <a:gd name="connsiteY21936" fmla="*/ 4196295 h 5973007"/>
              <a:gd name="connsiteX21937" fmla="*/ 5383837 w 6884782"/>
              <a:gd name="connsiteY21937" fmla="*/ 4197121 h 5973007"/>
              <a:gd name="connsiteX21938" fmla="*/ 5379035 w 6884782"/>
              <a:gd name="connsiteY21938" fmla="*/ 4197121 h 5973007"/>
              <a:gd name="connsiteX21939" fmla="*/ 5375628 w 6884782"/>
              <a:gd name="connsiteY21939" fmla="*/ 4196914 h 5973007"/>
              <a:gd name="connsiteX21940" fmla="*/ 5373924 w 6884782"/>
              <a:gd name="connsiteY21940" fmla="*/ 4196914 h 5973007"/>
              <a:gd name="connsiteX21941" fmla="*/ 5372065 w 6884782"/>
              <a:gd name="connsiteY21941" fmla="*/ 4195366 h 5973007"/>
              <a:gd name="connsiteX21942" fmla="*/ 5379345 w 6884782"/>
              <a:gd name="connsiteY21942" fmla="*/ 4194023 h 5973007"/>
              <a:gd name="connsiteX21943" fmla="*/ 5383527 w 6884782"/>
              <a:gd name="connsiteY21943" fmla="*/ 4193817 h 5973007"/>
              <a:gd name="connsiteX21944" fmla="*/ 5335045 w 6884782"/>
              <a:gd name="connsiteY21944" fmla="*/ 4192991 h 5973007"/>
              <a:gd name="connsiteX21945" fmla="*/ 5313204 w 6884782"/>
              <a:gd name="connsiteY21945" fmla="*/ 4207240 h 5973007"/>
              <a:gd name="connsiteX21946" fmla="*/ 5335045 w 6884782"/>
              <a:gd name="connsiteY21946" fmla="*/ 4192991 h 5973007"/>
              <a:gd name="connsiteX21947" fmla="*/ 5547717 w 6884782"/>
              <a:gd name="connsiteY21947" fmla="*/ 4192577 h 5973007"/>
              <a:gd name="connsiteX21948" fmla="*/ 5547562 w 6884782"/>
              <a:gd name="connsiteY21948" fmla="*/ 4202594 h 5973007"/>
              <a:gd name="connsiteX21949" fmla="*/ 5543225 w 6884782"/>
              <a:gd name="connsiteY21949" fmla="*/ 4200219 h 5973007"/>
              <a:gd name="connsiteX21950" fmla="*/ 5547717 w 6884782"/>
              <a:gd name="connsiteY21950" fmla="*/ 4192577 h 5973007"/>
              <a:gd name="connsiteX21951" fmla="*/ 748265 w 6884782"/>
              <a:gd name="connsiteY21951" fmla="*/ 4190391 h 5973007"/>
              <a:gd name="connsiteX21952" fmla="*/ 748150 w 6884782"/>
              <a:gd name="connsiteY21952" fmla="*/ 4191187 h 5973007"/>
              <a:gd name="connsiteX21953" fmla="*/ 748111 w 6884782"/>
              <a:gd name="connsiteY21953" fmla="*/ 4191217 h 5973007"/>
              <a:gd name="connsiteX21954" fmla="*/ 748265 w 6884782"/>
              <a:gd name="connsiteY21954" fmla="*/ 4190391 h 5973007"/>
              <a:gd name="connsiteX21955" fmla="*/ 736493 w 6884782"/>
              <a:gd name="connsiteY21955" fmla="*/ 4188843 h 5973007"/>
              <a:gd name="connsiteX21956" fmla="*/ 740211 w 6884782"/>
              <a:gd name="connsiteY21956" fmla="*/ 4192353 h 5973007"/>
              <a:gd name="connsiteX21957" fmla="*/ 738042 w 6884782"/>
              <a:gd name="connsiteY21957" fmla="*/ 4195657 h 5973007"/>
              <a:gd name="connsiteX21958" fmla="*/ 734324 w 6884782"/>
              <a:gd name="connsiteY21958" fmla="*/ 4192147 h 5973007"/>
              <a:gd name="connsiteX21959" fmla="*/ 736493 w 6884782"/>
              <a:gd name="connsiteY21959" fmla="*/ 4188843 h 5973007"/>
              <a:gd name="connsiteX21960" fmla="*/ 5438825 w 6884782"/>
              <a:gd name="connsiteY21960" fmla="*/ 4188034 h 5973007"/>
              <a:gd name="connsiteX21961" fmla="*/ 5437586 w 6884782"/>
              <a:gd name="connsiteY21961" fmla="*/ 4200012 h 5973007"/>
              <a:gd name="connsiteX21962" fmla="*/ 5432164 w 6884782"/>
              <a:gd name="connsiteY21962" fmla="*/ 4212403 h 5973007"/>
              <a:gd name="connsiteX21963" fmla="*/ 5438825 w 6884782"/>
              <a:gd name="connsiteY21963" fmla="*/ 4188034 h 5973007"/>
              <a:gd name="connsiteX21964" fmla="*/ 5808873 w 6884782"/>
              <a:gd name="connsiteY21964" fmla="*/ 4187002 h 5973007"/>
              <a:gd name="connsiteX21965" fmla="*/ 5809337 w 6884782"/>
              <a:gd name="connsiteY21965" fmla="*/ 4193507 h 5973007"/>
              <a:gd name="connsiteX21966" fmla="*/ 5807478 w 6884782"/>
              <a:gd name="connsiteY21966" fmla="*/ 4193713 h 5973007"/>
              <a:gd name="connsiteX21967" fmla="*/ 5805155 w 6884782"/>
              <a:gd name="connsiteY21967" fmla="*/ 4192268 h 5973007"/>
              <a:gd name="connsiteX21968" fmla="*/ 5804380 w 6884782"/>
              <a:gd name="connsiteY21968" fmla="*/ 4189790 h 5973007"/>
              <a:gd name="connsiteX21969" fmla="*/ 5808873 w 6884782"/>
              <a:gd name="connsiteY21969" fmla="*/ 4187002 h 5973007"/>
              <a:gd name="connsiteX21970" fmla="*/ 5303601 w 6884782"/>
              <a:gd name="connsiteY21970" fmla="*/ 4186795 h 5973007"/>
              <a:gd name="connsiteX21971" fmla="*/ 5302052 w 6884782"/>
              <a:gd name="connsiteY21971" fmla="*/ 4192577 h 5973007"/>
              <a:gd name="connsiteX21972" fmla="*/ 5296475 w 6884782"/>
              <a:gd name="connsiteY21972" fmla="*/ 4204556 h 5973007"/>
              <a:gd name="connsiteX21973" fmla="*/ 5294152 w 6884782"/>
              <a:gd name="connsiteY21973" fmla="*/ 4205175 h 5973007"/>
              <a:gd name="connsiteX21974" fmla="*/ 5293842 w 6884782"/>
              <a:gd name="connsiteY21974" fmla="*/ 4205898 h 5973007"/>
              <a:gd name="connsiteX21975" fmla="*/ 5292758 w 6884782"/>
              <a:gd name="connsiteY21975" fmla="*/ 4206207 h 5973007"/>
              <a:gd name="connsiteX21976" fmla="*/ 5291984 w 6884782"/>
              <a:gd name="connsiteY21976" fmla="*/ 4205795 h 5973007"/>
              <a:gd name="connsiteX21977" fmla="*/ 5291984 w 6884782"/>
              <a:gd name="connsiteY21977" fmla="*/ 4203316 h 5973007"/>
              <a:gd name="connsiteX21978" fmla="*/ 5292293 w 6884782"/>
              <a:gd name="connsiteY21978" fmla="*/ 4202697 h 5973007"/>
              <a:gd name="connsiteX21979" fmla="*/ 5291519 w 6884782"/>
              <a:gd name="connsiteY21979" fmla="*/ 4202800 h 5973007"/>
              <a:gd name="connsiteX21980" fmla="*/ 5284239 w 6884782"/>
              <a:gd name="connsiteY21980" fmla="*/ 4202800 h 5973007"/>
              <a:gd name="connsiteX21981" fmla="*/ 5278663 w 6884782"/>
              <a:gd name="connsiteY21981" fmla="*/ 4203523 h 5973007"/>
              <a:gd name="connsiteX21982" fmla="*/ 5277888 w 6884782"/>
              <a:gd name="connsiteY21982" fmla="*/ 4205072 h 5973007"/>
              <a:gd name="connsiteX21983" fmla="*/ 5276029 w 6884782"/>
              <a:gd name="connsiteY21983" fmla="*/ 4206724 h 5973007"/>
              <a:gd name="connsiteX21984" fmla="*/ 5274635 w 6884782"/>
              <a:gd name="connsiteY21984" fmla="*/ 4206930 h 5973007"/>
              <a:gd name="connsiteX21985" fmla="*/ 5273551 w 6884782"/>
              <a:gd name="connsiteY21985" fmla="*/ 4205898 h 5973007"/>
              <a:gd name="connsiteX21986" fmla="*/ 5275409 w 6884782"/>
              <a:gd name="connsiteY21986" fmla="*/ 4198773 h 5973007"/>
              <a:gd name="connsiteX21987" fmla="*/ 5276029 w 6884782"/>
              <a:gd name="connsiteY21987" fmla="*/ 4199186 h 5973007"/>
              <a:gd name="connsiteX21988" fmla="*/ 5276494 w 6884782"/>
              <a:gd name="connsiteY21988" fmla="*/ 4198979 h 5973007"/>
              <a:gd name="connsiteX21989" fmla="*/ 5279282 w 6884782"/>
              <a:gd name="connsiteY21989" fmla="*/ 4198979 h 5973007"/>
              <a:gd name="connsiteX21990" fmla="*/ 5283464 w 6884782"/>
              <a:gd name="connsiteY21990" fmla="*/ 4198773 h 5973007"/>
              <a:gd name="connsiteX21991" fmla="*/ 5292758 w 6884782"/>
              <a:gd name="connsiteY21991" fmla="*/ 4199909 h 5973007"/>
              <a:gd name="connsiteX21992" fmla="*/ 5293532 w 6884782"/>
              <a:gd name="connsiteY21992" fmla="*/ 4200219 h 5973007"/>
              <a:gd name="connsiteX21993" fmla="*/ 5294152 w 6884782"/>
              <a:gd name="connsiteY21993" fmla="*/ 4198979 h 5973007"/>
              <a:gd name="connsiteX21994" fmla="*/ 5295081 w 6884782"/>
              <a:gd name="connsiteY21994" fmla="*/ 4197121 h 5973007"/>
              <a:gd name="connsiteX21995" fmla="*/ 5303601 w 6884782"/>
              <a:gd name="connsiteY21995" fmla="*/ 4186795 h 5973007"/>
              <a:gd name="connsiteX21996" fmla="*/ 5840626 w 6884782"/>
              <a:gd name="connsiteY21996" fmla="*/ 4185763 h 5973007"/>
              <a:gd name="connsiteX21997" fmla="*/ 5840006 w 6884782"/>
              <a:gd name="connsiteY21997" fmla="*/ 4186486 h 5973007"/>
              <a:gd name="connsiteX21998" fmla="*/ 5838613 w 6884782"/>
              <a:gd name="connsiteY21998" fmla="*/ 4186795 h 5973007"/>
              <a:gd name="connsiteX21999" fmla="*/ 5838922 w 6884782"/>
              <a:gd name="connsiteY21999" fmla="*/ 4188241 h 5973007"/>
              <a:gd name="connsiteX22000" fmla="*/ 5839851 w 6884782"/>
              <a:gd name="connsiteY22000" fmla="*/ 4189790 h 5973007"/>
              <a:gd name="connsiteX22001" fmla="*/ 5840006 w 6884782"/>
              <a:gd name="connsiteY22001" fmla="*/ 4189273 h 5973007"/>
              <a:gd name="connsiteX22002" fmla="*/ 5841091 w 6884782"/>
              <a:gd name="connsiteY22002" fmla="*/ 4189790 h 5973007"/>
              <a:gd name="connsiteX22003" fmla="*/ 5842020 w 6884782"/>
              <a:gd name="connsiteY22003" fmla="*/ 4189377 h 5973007"/>
              <a:gd name="connsiteX22004" fmla="*/ 5841865 w 6884782"/>
              <a:gd name="connsiteY22004" fmla="*/ 4189377 h 5973007"/>
              <a:gd name="connsiteX22005" fmla="*/ 5627179 w 6884782"/>
              <a:gd name="connsiteY22005" fmla="*/ 4183698 h 5973007"/>
              <a:gd name="connsiteX22006" fmla="*/ 5632601 w 6884782"/>
              <a:gd name="connsiteY22006" fmla="*/ 4188861 h 5973007"/>
              <a:gd name="connsiteX22007" fmla="*/ 5628108 w 6884782"/>
              <a:gd name="connsiteY22007" fmla="*/ 4190822 h 5973007"/>
              <a:gd name="connsiteX22008" fmla="*/ 5625320 w 6884782"/>
              <a:gd name="connsiteY22008" fmla="*/ 4189377 h 5973007"/>
              <a:gd name="connsiteX22009" fmla="*/ 5625011 w 6884782"/>
              <a:gd name="connsiteY22009" fmla="*/ 4186279 h 5973007"/>
              <a:gd name="connsiteX22010" fmla="*/ 5627179 w 6884782"/>
              <a:gd name="connsiteY22010" fmla="*/ 4183698 h 5973007"/>
              <a:gd name="connsiteX22011" fmla="*/ 5426433 w 6884782"/>
              <a:gd name="connsiteY22011" fmla="*/ 4183491 h 5973007"/>
              <a:gd name="connsiteX22012" fmla="*/ 5432629 w 6884782"/>
              <a:gd name="connsiteY22012" fmla="*/ 4185763 h 5973007"/>
              <a:gd name="connsiteX22013" fmla="*/ 5432010 w 6884782"/>
              <a:gd name="connsiteY22013" fmla="*/ 4187518 h 5973007"/>
              <a:gd name="connsiteX22014" fmla="*/ 5429841 w 6884782"/>
              <a:gd name="connsiteY22014" fmla="*/ 4189067 h 5973007"/>
              <a:gd name="connsiteX22015" fmla="*/ 5427208 w 6884782"/>
              <a:gd name="connsiteY22015" fmla="*/ 4188654 h 5973007"/>
              <a:gd name="connsiteX22016" fmla="*/ 5426433 w 6884782"/>
              <a:gd name="connsiteY22016" fmla="*/ 4183491 h 5973007"/>
              <a:gd name="connsiteX22017" fmla="*/ 1283123 w 6884782"/>
              <a:gd name="connsiteY22017" fmla="*/ 4182234 h 5973007"/>
              <a:gd name="connsiteX22018" fmla="*/ 1269801 w 6884782"/>
              <a:gd name="connsiteY22018" fmla="*/ 4186055 h 5973007"/>
              <a:gd name="connsiteX22019" fmla="*/ 1283123 w 6884782"/>
              <a:gd name="connsiteY22019" fmla="*/ 4182234 h 5973007"/>
              <a:gd name="connsiteX22020" fmla="*/ 5208184 w 6884782"/>
              <a:gd name="connsiteY22020" fmla="*/ 4182149 h 5973007"/>
              <a:gd name="connsiteX22021" fmla="*/ 5215929 w 6884782"/>
              <a:gd name="connsiteY22021" fmla="*/ 4183698 h 5973007"/>
              <a:gd name="connsiteX22022" fmla="*/ 5217633 w 6884782"/>
              <a:gd name="connsiteY22022" fmla="*/ 4192371 h 5973007"/>
              <a:gd name="connsiteX22023" fmla="*/ 5208495 w 6884782"/>
              <a:gd name="connsiteY22023" fmla="*/ 4186692 h 5973007"/>
              <a:gd name="connsiteX22024" fmla="*/ 5208184 w 6884782"/>
              <a:gd name="connsiteY22024" fmla="*/ 4182149 h 5973007"/>
              <a:gd name="connsiteX22025" fmla="*/ 1283742 w 6884782"/>
              <a:gd name="connsiteY22025" fmla="*/ 4181202 h 5973007"/>
              <a:gd name="connsiteX22026" fmla="*/ 1285135 w 6884782"/>
              <a:gd name="connsiteY22026" fmla="*/ 4182234 h 5973007"/>
              <a:gd name="connsiteX22027" fmla="*/ 1283123 w 6884782"/>
              <a:gd name="connsiteY22027" fmla="*/ 4182337 h 5973007"/>
              <a:gd name="connsiteX22028" fmla="*/ 1283742 w 6884782"/>
              <a:gd name="connsiteY22028" fmla="*/ 4181202 h 5973007"/>
              <a:gd name="connsiteX22029" fmla="*/ 5652892 w 6884782"/>
              <a:gd name="connsiteY22029" fmla="*/ 4180497 h 5973007"/>
              <a:gd name="connsiteX22030" fmla="*/ 5652892 w 6884782"/>
              <a:gd name="connsiteY22030" fmla="*/ 4193920 h 5973007"/>
              <a:gd name="connsiteX22031" fmla="*/ 5645767 w 6884782"/>
              <a:gd name="connsiteY22031" fmla="*/ 4189583 h 5973007"/>
              <a:gd name="connsiteX22032" fmla="*/ 5652892 w 6884782"/>
              <a:gd name="connsiteY22032" fmla="*/ 4180497 h 5973007"/>
              <a:gd name="connsiteX22033" fmla="*/ 5810421 w 6884782"/>
              <a:gd name="connsiteY22033" fmla="*/ 4179877 h 5973007"/>
              <a:gd name="connsiteX22034" fmla="*/ 5810576 w 6884782"/>
              <a:gd name="connsiteY22034" fmla="*/ 4182562 h 5973007"/>
              <a:gd name="connsiteX22035" fmla="*/ 5808098 w 6884782"/>
              <a:gd name="connsiteY22035" fmla="*/ 4182975 h 5973007"/>
              <a:gd name="connsiteX22036" fmla="*/ 5805310 w 6884782"/>
              <a:gd name="connsiteY22036" fmla="*/ 4182872 h 5973007"/>
              <a:gd name="connsiteX22037" fmla="*/ 5810421 w 6884782"/>
              <a:gd name="connsiteY22037" fmla="*/ 4179877 h 5973007"/>
              <a:gd name="connsiteX22038" fmla="*/ 5160322 w 6884782"/>
              <a:gd name="connsiteY22038" fmla="*/ 4179671 h 5973007"/>
              <a:gd name="connsiteX22039" fmla="*/ 5166517 w 6884782"/>
              <a:gd name="connsiteY22039" fmla="*/ 4181116 h 5973007"/>
              <a:gd name="connsiteX22040" fmla="*/ 5163574 w 6884782"/>
              <a:gd name="connsiteY22040" fmla="*/ 4188138 h 5973007"/>
              <a:gd name="connsiteX22041" fmla="*/ 5159238 w 6884782"/>
              <a:gd name="connsiteY22041" fmla="*/ 4186692 h 5973007"/>
              <a:gd name="connsiteX22042" fmla="*/ 5160322 w 6884782"/>
              <a:gd name="connsiteY22042" fmla="*/ 4179671 h 5973007"/>
              <a:gd name="connsiteX22043" fmla="*/ 5115169 w 6884782"/>
              <a:gd name="connsiteY22043" fmla="*/ 4179580 h 5973007"/>
              <a:gd name="connsiteX22044" fmla="*/ 5119894 w 6884782"/>
              <a:gd name="connsiteY22044" fmla="*/ 4179980 h 5973007"/>
              <a:gd name="connsiteX22045" fmla="*/ 5114472 w 6884782"/>
              <a:gd name="connsiteY22045" fmla="*/ 4187002 h 5973007"/>
              <a:gd name="connsiteX22046" fmla="*/ 5113233 w 6884782"/>
              <a:gd name="connsiteY22046" fmla="*/ 4183595 h 5973007"/>
              <a:gd name="connsiteX22047" fmla="*/ 5115169 w 6884782"/>
              <a:gd name="connsiteY22047" fmla="*/ 4179580 h 5973007"/>
              <a:gd name="connsiteX22048" fmla="*/ 5421012 w 6884782"/>
              <a:gd name="connsiteY22048" fmla="*/ 4179567 h 5973007"/>
              <a:gd name="connsiteX22049" fmla="*/ 5419463 w 6884782"/>
              <a:gd name="connsiteY22049" fmla="*/ 4184730 h 5973007"/>
              <a:gd name="connsiteX22050" fmla="*/ 5421012 w 6884782"/>
              <a:gd name="connsiteY22050" fmla="*/ 4179567 h 5973007"/>
              <a:gd name="connsiteX22051" fmla="*/ 1288853 w 6884782"/>
              <a:gd name="connsiteY22051" fmla="*/ 4179446 h 5973007"/>
              <a:gd name="connsiteX22052" fmla="*/ 1289163 w 6884782"/>
              <a:gd name="connsiteY22052" fmla="*/ 4180169 h 5973007"/>
              <a:gd name="connsiteX22053" fmla="*/ 1287924 w 6884782"/>
              <a:gd name="connsiteY22053" fmla="*/ 4180685 h 5973007"/>
              <a:gd name="connsiteX22054" fmla="*/ 1287149 w 6884782"/>
              <a:gd name="connsiteY22054" fmla="*/ 4180272 h 5973007"/>
              <a:gd name="connsiteX22055" fmla="*/ 1288853 w 6884782"/>
              <a:gd name="connsiteY22055" fmla="*/ 4179446 h 5973007"/>
              <a:gd name="connsiteX22056" fmla="*/ 5292913 w 6884782"/>
              <a:gd name="connsiteY22056" fmla="*/ 4178225 h 5973007"/>
              <a:gd name="connsiteX22057" fmla="*/ 5296785 w 6884782"/>
              <a:gd name="connsiteY22057" fmla="*/ 4179567 h 5973007"/>
              <a:gd name="connsiteX22058" fmla="*/ 5292448 w 6884782"/>
              <a:gd name="connsiteY22058" fmla="*/ 4186279 h 5973007"/>
              <a:gd name="connsiteX22059" fmla="*/ 5289970 w 6884782"/>
              <a:gd name="connsiteY22059" fmla="*/ 4185763 h 5973007"/>
              <a:gd name="connsiteX22060" fmla="*/ 5290435 w 6884782"/>
              <a:gd name="connsiteY22060" fmla="*/ 4179567 h 5973007"/>
              <a:gd name="connsiteX22061" fmla="*/ 5292913 w 6884782"/>
              <a:gd name="connsiteY22061" fmla="*/ 4178225 h 5973007"/>
              <a:gd name="connsiteX22062" fmla="*/ 1292571 w 6884782"/>
              <a:gd name="connsiteY22062" fmla="*/ 4177691 h 5973007"/>
              <a:gd name="connsiteX22063" fmla="*/ 1294275 w 6884782"/>
              <a:gd name="connsiteY22063" fmla="*/ 4179653 h 5973007"/>
              <a:gd name="connsiteX22064" fmla="*/ 1291642 w 6884782"/>
              <a:gd name="connsiteY22064" fmla="*/ 4179963 h 5973007"/>
              <a:gd name="connsiteX22065" fmla="*/ 1289473 w 6884782"/>
              <a:gd name="connsiteY22065" fmla="*/ 4179240 h 5973007"/>
              <a:gd name="connsiteX22066" fmla="*/ 1292571 w 6884782"/>
              <a:gd name="connsiteY22066" fmla="*/ 4177691 h 5973007"/>
              <a:gd name="connsiteX22067" fmla="*/ 749349 w 6884782"/>
              <a:gd name="connsiteY22067" fmla="*/ 4176555 h 5973007"/>
              <a:gd name="connsiteX22068" fmla="*/ 752138 w 6884782"/>
              <a:gd name="connsiteY22068" fmla="*/ 4178930 h 5973007"/>
              <a:gd name="connsiteX22069" fmla="*/ 741140 w 6884782"/>
              <a:gd name="connsiteY22069" fmla="*/ 4185435 h 5973007"/>
              <a:gd name="connsiteX22070" fmla="*/ 749349 w 6884782"/>
              <a:gd name="connsiteY22070" fmla="*/ 4176555 h 5973007"/>
              <a:gd name="connsiteX22071" fmla="*/ 5467791 w 6884782"/>
              <a:gd name="connsiteY22071" fmla="*/ 4176366 h 5973007"/>
              <a:gd name="connsiteX22072" fmla="*/ 5467481 w 6884782"/>
              <a:gd name="connsiteY22072" fmla="*/ 4179671 h 5973007"/>
              <a:gd name="connsiteX22073" fmla="*/ 5467016 w 6884782"/>
              <a:gd name="connsiteY22073" fmla="*/ 4180290 h 5973007"/>
              <a:gd name="connsiteX22074" fmla="*/ 5466552 w 6884782"/>
              <a:gd name="connsiteY22074" fmla="*/ 4179671 h 5973007"/>
              <a:gd name="connsiteX22075" fmla="*/ 5467791 w 6884782"/>
              <a:gd name="connsiteY22075" fmla="*/ 4176366 h 5973007"/>
              <a:gd name="connsiteX22076" fmla="*/ 5554688 w 6884782"/>
              <a:gd name="connsiteY22076" fmla="*/ 4175643 h 5973007"/>
              <a:gd name="connsiteX22077" fmla="*/ 5560574 w 6884782"/>
              <a:gd name="connsiteY22077" fmla="*/ 4177709 h 5973007"/>
              <a:gd name="connsiteX22078" fmla="*/ 5561503 w 6884782"/>
              <a:gd name="connsiteY22078" fmla="*/ 4180290 h 5973007"/>
              <a:gd name="connsiteX22079" fmla="*/ 5560883 w 6884782"/>
              <a:gd name="connsiteY22079" fmla="*/ 4185453 h 5973007"/>
              <a:gd name="connsiteX22080" fmla="*/ 5561658 w 6884782"/>
              <a:gd name="connsiteY22080" fmla="*/ 4185556 h 5973007"/>
              <a:gd name="connsiteX22081" fmla="*/ 5556701 w 6884782"/>
              <a:gd name="connsiteY22081" fmla="*/ 4186176 h 5973007"/>
              <a:gd name="connsiteX22082" fmla="*/ 5556236 w 6884782"/>
              <a:gd name="connsiteY22082" fmla="*/ 4185660 h 5973007"/>
              <a:gd name="connsiteX22083" fmla="*/ 5556546 w 6884782"/>
              <a:gd name="connsiteY22083" fmla="*/ 4186382 h 5973007"/>
              <a:gd name="connsiteX22084" fmla="*/ 5551280 w 6884782"/>
              <a:gd name="connsiteY22084" fmla="*/ 4189170 h 5973007"/>
              <a:gd name="connsiteX22085" fmla="*/ 5545084 w 6884782"/>
              <a:gd name="connsiteY22085" fmla="*/ 4186692 h 5973007"/>
              <a:gd name="connsiteX22086" fmla="*/ 5551280 w 6884782"/>
              <a:gd name="connsiteY22086" fmla="*/ 4178432 h 5973007"/>
              <a:gd name="connsiteX22087" fmla="*/ 5552364 w 6884782"/>
              <a:gd name="connsiteY22087" fmla="*/ 4179671 h 5973007"/>
              <a:gd name="connsiteX22088" fmla="*/ 5552984 w 6884782"/>
              <a:gd name="connsiteY22088" fmla="*/ 4177915 h 5973007"/>
              <a:gd name="connsiteX22089" fmla="*/ 5554688 w 6884782"/>
              <a:gd name="connsiteY22089" fmla="*/ 4175643 h 5973007"/>
              <a:gd name="connsiteX22090" fmla="*/ 650216 w 6884782"/>
              <a:gd name="connsiteY22090" fmla="*/ 4173974 h 5973007"/>
              <a:gd name="connsiteX22091" fmla="*/ 652229 w 6884782"/>
              <a:gd name="connsiteY22091" fmla="*/ 4187190 h 5973007"/>
              <a:gd name="connsiteX22092" fmla="*/ 645724 w 6884782"/>
              <a:gd name="connsiteY22092" fmla="*/ 4175832 h 5973007"/>
              <a:gd name="connsiteX22093" fmla="*/ 650216 w 6884782"/>
              <a:gd name="connsiteY22093" fmla="*/ 4173974 h 5973007"/>
              <a:gd name="connsiteX22094" fmla="*/ 5480492 w 6884782"/>
              <a:gd name="connsiteY22094" fmla="*/ 4173578 h 5973007"/>
              <a:gd name="connsiteX22095" fmla="*/ 5484520 w 6884782"/>
              <a:gd name="connsiteY22095" fmla="*/ 4176160 h 5973007"/>
              <a:gd name="connsiteX22096" fmla="*/ 5480182 w 6884782"/>
              <a:gd name="connsiteY22096" fmla="*/ 4182872 h 5973007"/>
              <a:gd name="connsiteX22097" fmla="*/ 5475845 w 6884782"/>
              <a:gd name="connsiteY22097" fmla="*/ 4179155 h 5973007"/>
              <a:gd name="connsiteX22098" fmla="*/ 5476000 w 6884782"/>
              <a:gd name="connsiteY22098" fmla="*/ 4176470 h 5973007"/>
              <a:gd name="connsiteX22099" fmla="*/ 5478169 w 6884782"/>
              <a:gd name="connsiteY22099" fmla="*/ 4174198 h 5973007"/>
              <a:gd name="connsiteX22100" fmla="*/ 5480492 w 6884782"/>
              <a:gd name="connsiteY22100" fmla="*/ 4173578 h 5973007"/>
              <a:gd name="connsiteX22101" fmla="*/ 5134144 w 6884782"/>
              <a:gd name="connsiteY22101" fmla="*/ 4173269 h 5973007"/>
              <a:gd name="connsiteX22102" fmla="*/ 5145452 w 6884782"/>
              <a:gd name="connsiteY22102" fmla="*/ 4184214 h 5973007"/>
              <a:gd name="connsiteX22103" fmla="*/ 5143128 w 6884782"/>
              <a:gd name="connsiteY22103" fmla="*/ 4189273 h 5973007"/>
              <a:gd name="connsiteX22104" fmla="*/ 5134144 w 6884782"/>
              <a:gd name="connsiteY22104" fmla="*/ 4173269 h 5973007"/>
              <a:gd name="connsiteX22105" fmla="*/ 5787807 w 6884782"/>
              <a:gd name="connsiteY22105" fmla="*/ 4173062 h 5973007"/>
              <a:gd name="connsiteX22106" fmla="*/ 5786722 w 6884782"/>
              <a:gd name="connsiteY22106" fmla="*/ 4174818 h 5973007"/>
              <a:gd name="connsiteX22107" fmla="*/ 5786103 w 6884782"/>
              <a:gd name="connsiteY22107" fmla="*/ 4175437 h 5973007"/>
              <a:gd name="connsiteX22108" fmla="*/ 5785173 w 6884782"/>
              <a:gd name="connsiteY22108" fmla="*/ 4178844 h 5973007"/>
              <a:gd name="connsiteX22109" fmla="*/ 5787187 w 6884782"/>
              <a:gd name="connsiteY22109" fmla="*/ 4202594 h 5973007"/>
              <a:gd name="connsiteX22110" fmla="*/ 5780527 w 6884782"/>
              <a:gd name="connsiteY22110" fmla="*/ 4192165 h 5973007"/>
              <a:gd name="connsiteX22111" fmla="*/ 5778358 w 6884782"/>
              <a:gd name="connsiteY22111" fmla="*/ 4177709 h 5973007"/>
              <a:gd name="connsiteX22112" fmla="*/ 5782075 w 6884782"/>
              <a:gd name="connsiteY22112" fmla="*/ 4174818 h 5973007"/>
              <a:gd name="connsiteX22113" fmla="*/ 5783779 w 6884782"/>
              <a:gd name="connsiteY22113" fmla="*/ 4174095 h 5973007"/>
              <a:gd name="connsiteX22114" fmla="*/ 5784399 w 6884782"/>
              <a:gd name="connsiteY22114" fmla="*/ 4173475 h 5973007"/>
              <a:gd name="connsiteX22115" fmla="*/ 5787807 w 6884782"/>
              <a:gd name="connsiteY22115" fmla="*/ 4173062 h 5973007"/>
              <a:gd name="connsiteX22116" fmla="*/ 1434921 w 6884782"/>
              <a:gd name="connsiteY22116" fmla="*/ 4172012 h 5973007"/>
              <a:gd name="connsiteX22117" fmla="*/ 1439723 w 6884782"/>
              <a:gd name="connsiteY22117" fmla="*/ 4175006 h 5973007"/>
              <a:gd name="connsiteX22118" fmla="*/ 1434456 w 6884782"/>
              <a:gd name="connsiteY22118" fmla="*/ 4194418 h 5973007"/>
              <a:gd name="connsiteX22119" fmla="*/ 1434921 w 6884782"/>
              <a:gd name="connsiteY22119" fmla="*/ 4172012 h 5973007"/>
              <a:gd name="connsiteX22120" fmla="*/ 5661411 w 6884782"/>
              <a:gd name="connsiteY22120" fmla="*/ 4170894 h 5973007"/>
              <a:gd name="connsiteX22121" fmla="*/ 5669776 w 6884782"/>
              <a:gd name="connsiteY22121" fmla="*/ 4171204 h 5973007"/>
              <a:gd name="connsiteX22122" fmla="*/ 5673028 w 6884782"/>
              <a:gd name="connsiteY22122" fmla="*/ 4175334 h 5973007"/>
              <a:gd name="connsiteX22123" fmla="*/ 5673183 w 6884782"/>
              <a:gd name="connsiteY22123" fmla="*/ 4176986 h 5973007"/>
              <a:gd name="connsiteX22124" fmla="*/ 5673338 w 6884782"/>
              <a:gd name="connsiteY22124" fmla="*/ 4176986 h 5973007"/>
              <a:gd name="connsiteX22125" fmla="*/ 5681858 w 6884782"/>
              <a:gd name="connsiteY22125" fmla="*/ 4182665 h 5973007"/>
              <a:gd name="connsiteX22126" fmla="*/ 5676901 w 6884782"/>
              <a:gd name="connsiteY22126" fmla="*/ 4188551 h 5973007"/>
              <a:gd name="connsiteX22127" fmla="*/ 5671480 w 6884782"/>
              <a:gd name="connsiteY22127" fmla="*/ 4185969 h 5973007"/>
              <a:gd name="connsiteX22128" fmla="*/ 5669156 w 6884782"/>
              <a:gd name="connsiteY22128" fmla="*/ 4187311 h 5973007"/>
              <a:gd name="connsiteX22129" fmla="*/ 5666678 w 6884782"/>
              <a:gd name="connsiteY22129" fmla="*/ 4190926 h 5973007"/>
              <a:gd name="connsiteX22130" fmla="*/ 5661566 w 6884782"/>
              <a:gd name="connsiteY22130" fmla="*/ 4191132 h 5973007"/>
              <a:gd name="connsiteX22131" fmla="*/ 5659243 w 6884782"/>
              <a:gd name="connsiteY22131" fmla="*/ 4179567 h 5973007"/>
              <a:gd name="connsiteX22132" fmla="*/ 5660792 w 6884782"/>
              <a:gd name="connsiteY22132" fmla="*/ 4178225 h 5973007"/>
              <a:gd name="connsiteX22133" fmla="*/ 5660482 w 6884782"/>
              <a:gd name="connsiteY22133" fmla="*/ 4175128 h 5973007"/>
              <a:gd name="connsiteX22134" fmla="*/ 5661411 w 6884782"/>
              <a:gd name="connsiteY22134" fmla="*/ 4170894 h 5973007"/>
              <a:gd name="connsiteX22135" fmla="*/ 1446228 w 6884782"/>
              <a:gd name="connsiteY22135" fmla="*/ 4169534 h 5973007"/>
              <a:gd name="connsiteX22136" fmla="*/ 1446538 w 6884782"/>
              <a:gd name="connsiteY22136" fmla="*/ 4176865 h 5973007"/>
              <a:gd name="connsiteX22137" fmla="*/ 1443904 w 6884782"/>
              <a:gd name="connsiteY22137" fmla="*/ 4175626 h 5973007"/>
              <a:gd name="connsiteX22138" fmla="*/ 1446228 w 6884782"/>
              <a:gd name="connsiteY22138" fmla="*/ 4169534 h 5973007"/>
              <a:gd name="connsiteX22139" fmla="*/ 5595580 w 6884782"/>
              <a:gd name="connsiteY22139" fmla="*/ 4169242 h 5973007"/>
              <a:gd name="connsiteX22140" fmla="*/ 5597439 w 6884782"/>
              <a:gd name="connsiteY22140" fmla="*/ 4174818 h 5973007"/>
              <a:gd name="connsiteX22141" fmla="*/ 5592947 w 6884782"/>
              <a:gd name="connsiteY22141" fmla="*/ 4180497 h 5973007"/>
              <a:gd name="connsiteX22142" fmla="*/ 5591088 w 6884782"/>
              <a:gd name="connsiteY22142" fmla="*/ 4177709 h 5973007"/>
              <a:gd name="connsiteX22143" fmla="*/ 5595580 w 6884782"/>
              <a:gd name="connsiteY22143" fmla="*/ 4169242 h 5973007"/>
              <a:gd name="connsiteX22144" fmla="*/ 5112149 w 6884782"/>
              <a:gd name="connsiteY22144" fmla="*/ 4167176 h 5973007"/>
              <a:gd name="connsiteX22145" fmla="*/ 5101926 w 6884782"/>
              <a:gd name="connsiteY22145" fmla="*/ 4179671 h 5973007"/>
              <a:gd name="connsiteX22146" fmla="*/ 5112149 w 6884782"/>
              <a:gd name="connsiteY22146" fmla="*/ 4167176 h 5973007"/>
              <a:gd name="connsiteX22147" fmla="*/ 5542915 w 6884782"/>
              <a:gd name="connsiteY22147" fmla="*/ 4166351 h 5973007"/>
              <a:gd name="connsiteX22148" fmla="*/ 5537494 w 6884782"/>
              <a:gd name="connsiteY22148" fmla="*/ 4172856 h 5973007"/>
              <a:gd name="connsiteX22149" fmla="*/ 5535480 w 6884782"/>
              <a:gd name="connsiteY22149" fmla="*/ 4171823 h 5973007"/>
              <a:gd name="connsiteX22150" fmla="*/ 5542915 w 6884782"/>
              <a:gd name="connsiteY22150" fmla="*/ 4166351 h 5973007"/>
              <a:gd name="connsiteX22151" fmla="*/ 5772007 w 6884782"/>
              <a:gd name="connsiteY22151" fmla="*/ 4165925 h 5973007"/>
              <a:gd name="connsiteX22152" fmla="*/ 5782540 w 6884782"/>
              <a:gd name="connsiteY22152" fmla="*/ 4169655 h 5973007"/>
              <a:gd name="connsiteX22153" fmla="*/ 5772317 w 6884782"/>
              <a:gd name="connsiteY22153" fmla="*/ 4173992 h 5973007"/>
              <a:gd name="connsiteX22154" fmla="*/ 5761009 w 6884782"/>
              <a:gd name="connsiteY22154" fmla="*/ 4169552 h 5973007"/>
              <a:gd name="connsiteX22155" fmla="*/ 5772007 w 6884782"/>
              <a:gd name="connsiteY22155" fmla="*/ 4165925 h 5973007"/>
              <a:gd name="connsiteX22156" fmla="*/ 5203848 w 6884782"/>
              <a:gd name="connsiteY22156" fmla="*/ 4165111 h 5973007"/>
              <a:gd name="connsiteX22157" fmla="*/ 5212057 w 6884782"/>
              <a:gd name="connsiteY22157" fmla="*/ 4166247 h 5973007"/>
              <a:gd name="connsiteX22158" fmla="*/ 5209269 w 6884782"/>
              <a:gd name="connsiteY22158" fmla="*/ 4179980 h 5973007"/>
              <a:gd name="connsiteX22159" fmla="*/ 5205861 w 6884782"/>
              <a:gd name="connsiteY22159" fmla="*/ 4180187 h 5973007"/>
              <a:gd name="connsiteX22160" fmla="*/ 5203848 w 6884782"/>
              <a:gd name="connsiteY22160" fmla="*/ 4165111 h 5973007"/>
              <a:gd name="connsiteX22161" fmla="*/ 1402082 w 6884782"/>
              <a:gd name="connsiteY22161" fmla="*/ 4164268 h 5973007"/>
              <a:gd name="connsiteX22162" fmla="*/ 1402857 w 6884782"/>
              <a:gd name="connsiteY22162" fmla="*/ 4165507 h 5973007"/>
              <a:gd name="connsiteX22163" fmla="*/ 1403167 w 6884782"/>
              <a:gd name="connsiteY22163" fmla="*/ 4167572 h 5973007"/>
              <a:gd name="connsiteX22164" fmla="*/ 1401153 w 6884782"/>
              <a:gd name="connsiteY22164" fmla="*/ 4168604 h 5973007"/>
              <a:gd name="connsiteX22165" fmla="*/ 1398829 w 6884782"/>
              <a:gd name="connsiteY22165" fmla="*/ 4168398 h 5973007"/>
              <a:gd name="connsiteX22166" fmla="*/ 1397590 w 6884782"/>
              <a:gd name="connsiteY22166" fmla="*/ 4167572 h 5973007"/>
              <a:gd name="connsiteX22167" fmla="*/ 1397281 w 6884782"/>
              <a:gd name="connsiteY22167" fmla="*/ 4166333 h 5973007"/>
              <a:gd name="connsiteX22168" fmla="*/ 1399449 w 6884782"/>
              <a:gd name="connsiteY22168" fmla="*/ 4164474 h 5973007"/>
              <a:gd name="connsiteX22169" fmla="*/ 1402082 w 6884782"/>
              <a:gd name="connsiteY22169" fmla="*/ 4164268 h 5973007"/>
              <a:gd name="connsiteX22170" fmla="*/ 5098208 w 6884782"/>
              <a:gd name="connsiteY22170" fmla="*/ 4163460 h 5973007"/>
              <a:gd name="connsiteX22171" fmla="*/ 5102700 w 6884782"/>
              <a:gd name="connsiteY22171" fmla="*/ 4170068 h 5973007"/>
              <a:gd name="connsiteX22172" fmla="*/ 5101151 w 6884782"/>
              <a:gd name="connsiteY22172" fmla="*/ 4172133 h 5973007"/>
              <a:gd name="connsiteX22173" fmla="*/ 5095575 w 6884782"/>
              <a:gd name="connsiteY22173" fmla="*/ 4169242 h 5973007"/>
              <a:gd name="connsiteX22174" fmla="*/ 5095420 w 6884782"/>
              <a:gd name="connsiteY22174" fmla="*/ 4166351 h 5973007"/>
              <a:gd name="connsiteX22175" fmla="*/ 5098208 w 6884782"/>
              <a:gd name="connsiteY22175" fmla="*/ 4163460 h 5973007"/>
              <a:gd name="connsiteX22176" fmla="*/ 5280211 w 6884782"/>
              <a:gd name="connsiteY22176" fmla="*/ 4162633 h 5973007"/>
              <a:gd name="connsiteX22177" fmla="*/ 5287182 w 6884782"/>
              <a:gd name="connsiteY22177" fmla="*/ 4166661 h 5973007"/>
              <a:gd name="connsiteX22178" fmla="*/ 5277888 w 6884782"/>
              <a:gd name="connsiteY22178" fmla="*/ 4178122 h 5973007"/>
              <a:gd name="connsiteX22179" fmla="*/ 5273241 w 6884782"/>
              <a:gd name="connsiteY22179" fmla="*/ 4175643 h 5973007"/>
              <a:gd name="connsiteX22180" fmla="*/ 5280211 w 6884782"/>
              <a:gd name="connsiteY22180" fmla="*/ 4162633 h 5973007"/>
              <a:gd name="connsiteX22181" fmla="*/ 5316457 w 6884782"/>
              <a:gd name="connsiteY22181" fmla="*/ 4161498 h 5973007"/>
              <a:gd name="connsiteX22182" fmla="*/ 5326061 w 6884782"/>
              <a:gd name="connsiteY22182" fmla="*/ 4163563 h 5973007"/>
              <a:gd name="connsiteX22183" fmla="*/ 5323892 w 6884782"/>
              <a:gd name="connsiteY22183" fmla="*/ 4171307 h 5973007"/>
              <a:gd name="connsiteX22184" fmla="*/ 5320949 w 6884782"/>
              <a:gd name="connsiteY22184" fmla="*/ 4171100 h 5973007"/>
              <a:gd name="connsiteX22185" fmla="*/ 5322653 w 6884782"/>
              <a:gd name="connsiteY22185" fmla="*/ 4172133 h 5973007"/>
              <a:gd name="connsiteX22186" fmla="*/ 5324667 w 6884782"/>
              <a:gd name="connsiteY22186" fmla="*/ 4176160 h 5973007"/>
              <a:gd name="connsiteX22187" fmla="*/ 5319555 w 6884782"/>
              <a:gd name="connsiteY22187" fmla="*/ 4173682 h 5973007"/>
              <a:gd name="connsiteX22188" fmla="*/ 5318471 w 6884782"/>
              <a:gd name="connsiteY22188" fmla="*/ 4170894 h 5973007"/>
              <a:gd name="connsiteX22189" fmla="*/ 5317231 w 6884782"/>
              <a:gd name="connsiteY22189" fmla="*/ 4170791 h 5973007"/>
              <a:gd name="connsiteX22190" fmla="*/ 5316457 w 6884782"/>
              <a:gd name="connsiteY22190" fmla="*/ 4161498 h 5973007"/>
              <a:gd name="connsiteX22191" fmla="*/ 5335045 w 6884782"/>
              <a:gd name="connsiteY22191" fmla="*/ 4160775 h 5973007"/>
              <a:gd name="connsiteX22192" fmla="*/ 5343719 w 6884782"/>
              <a:gd name="connsiteY22192" fmla="*/ 4171617 h 5973007"/>
              <a:gd name="connsiteX22193" fmla="*/ 5339382 w 6884782"/>
              <a:gd name="connsiteY22193" fmla="*/ 4174301 h 5973007"/>
              <a:gd name="connsiteX22194" fmla="*/ 5330552 w 6884782"/>
              <a:gd name="connsiteY22194" fmla="*/ 4165938 h 5973007"/>
              <a:gd name="connsiteX22195" fmla="*/ 5335045 w 6884782"/>
              <a:gd name="connsiteY22195" fmla="*/ 4160775 h 5973007"/>
              <a:gd name="connsiteX22196" fmla="*/ 5373711 w 6884782"/>
              <a:gd name="connsiteY22196" fmla="*/ 4158761 h 5973007"/>
              <a:gd name="connsiteX22197" fmla="*/ 5381668 w 6884782"/>
              <a:gd name="connsiteY22197" fmla="*/ 4162633 h 5973007"/>
              <a:gd name="connsiteX22198" fmla="*/ 5380894 w 6884782"/>
              <a:gd name="connsiteY22198" fmla="*/ 4166041 h 5973007"/>
              <a:gd name="connsiteX22199" fmla="*/ 5376557 w 6884782"/>
              <a:gd name="connsiteY22199" fmla="*/ 4169035 h 5973007"/>
              <a:gd name="connsiteX22200" fmla="*/ 5372685 w 6884782"/>
              <a:gd name="connsiteY22200" fmla="*/ 4170687 h 5973007"/>
              <a:gd name="connsiteX22201" fmla="*/ 5372994 w 6884782"/>
              <a:gd name="connsiteY22201" fmla="*/ 4176883 h 5973007"/>
              <a:gd name="connsiteX22202" fmla="*/ 5369586 w 6884782"/>
              <a:gd name="connsiteY22202" fmla="*/ 4181839 h 5973007"/>
              <a:gd name="connsiteX22203" fmla="*/ 5367418 w 6884782"/>
              <a:gd name="connsiteY22203" fmla="*/ 4176160 h 5973007"/>
              <a:gd name="connsiteX22204" fmla="*/ 5367263 w 6884782"/>
              <a:gd name="connsiteY22204" fmla="*/ 4169552 h 5973007"/>
              <a:gd name="connsiteX22205" fmla="*/ 5364940 w 6884782"/>
              <a:gd name="connsiteY22205" fmla="*/ 4168106 h 5973007"/>
              <a:gd name="connsiteX22206" fmla="*/ 5364475 w 6884782"/>
              <a:gd name="connsiteY22206" fmla="*/ 4165421 h 5973007"/>
              <a:gd name="connsiteX22207" fmla="*/ 5373711 w 6884782"/>
              <a:gd name="connsiteY22207" fmla="*/ 4158761 h 5973007"/>
              <a:gd name="connsiteX22208" fmla="*/ 5567234 w 6884782"/>
              <a:gd name="connsiteY22208" fmla="*/ 4158297 h 5973007"/>
              <a:gd name="connsiteX22209" fmla="*/ 5577612 w 6884782"/>
              <a:gd name="connsiteY22209" fmla="*/ 4163046 h 5973007"/>
              <a:gd name="connsiteX22210" fmla="*/ 5580710 w 6884782"/>
              <a:gd name="connsiteY22210" fmla="*/ 4177915 h 5973007"/>
              <a:gd name="connsiteX22211" fmla="*/ 5571881 w 6884782"/>
              <a:gd name="connsiteY22211" fmla="*/ 4181426 h 5973007"/>
              <a:gd name="connsiteX22212" fmla="*/ 5566460 w 6884782"/>
              <a:gd name="connsiteY22212" fmla="*/ 4178948 h 5973007"/>
              <a:gd name="connsiteX22213" fmla="*/ 5563981 w 6884782"/>
              <a:gd name="connsiteY22213" fmla="*/ 4163356 h 5973007"/>
              <a:gd name="connsiteX22214" fmla="*/ 5565685 w 6884782"/>
              <a:gd name="connsiteY22214" fmla="*/ 4161704 h 5973007"/>
              <a:gd name="connsiteX22215" fmla="*/ 5567234 w 6884782"/>
              <a:gd name="connsiteY22215" fmla="*/ 4158297 h 5973007"/>
              <a:gd name="connsiteX22216" fmla="*/ 5707416 w 6884782"/>
              <a:gd name="connsiteY22216" fmla="*/ 4157884 h 5973007"/>
              <a:gd name="connsiteX22217" fmla="*/ 5706641 w 6884782"/>
              <a:gd name="connsiteY22217" fmla="*/ 4163046 h 5973007"/>
              <a:gd name="connsiteX22218" fmla="*/ 5707416 w 6884782"/>
              <a:gd name="connsiteY22218" fmla="*/ 4157884 h 5973007"/>
              <a:gd name="connsiteX22219" fmla="*/ 5399636 w 6884782"/>
              <a:gd name="connsiteY22219" fmla="*/ 4157677 h 5973007"/>
              <a:gd name="connsiteX22220" fmla="*/ 5408310 w 6884782"/>
              <a:gd name="connsiteY22220" fmla="*/ 4163563 h 5973007"/>
              <a:gd name="connsiteX22221" fmla="*/ 5405987 w 6884782"/>
              <a:gd name="connsiteY22221" fmla="*/ 4172856 h 5973007"/>
              <a:gd name="connsiteX22222" fmla="*/ 5407071 w 6884782"/>
              <a:gd name="connsiteY22222" fmla="*/ 4174508 h 5973007"/>
              <a:gd name="connsiteX22223" fmla="*/ 5407226 w 6884782"/>
              <a:gd name="connsiteY22223" fmla="*/ 4178432 h 5973007"/>
              <a:gd name="connsiteX22224" fmla="*/ 5405367 w 6884782"/>
              <a:gd name="connsiteY22224" fmla="*/ 4178328 h 5973007"/>
              <a:gd name="connsiteX22225" fmla="*/ 5404438 w 6884782"/>
              <a:gd name="connsiteY22225" fmla="*/ 4173992 h 5973007"/>
              <a:gd name="connsiteX22226" fmla="*/ 5403663 w 6884782"/>
              <a:gd name="connsiteY22226" fmla="*/ 4173578 h 5973007"/>
              <a:gd name="connsiteX22227" fmla="*/ 5401495 w 6884782"/>
              <a:gd name="connsiteY22227" fmla="*/ 4174198 h 5973007"/>
              <a:gd name="connsiteX22228" fmla="*/ 5393905 w 6884782"/>
              <a:gd name="connsiteY22228" fmla="*/ 4169965 h 5973007"/>
              <a:gd name="connsiteX22229" fmla="*/ 5395454 w 6884782"/>
              <a:gd name="connsiteY22229" fmla="*/ 4160259 h 5973007"/>
              <a:gd name="connsiteX22230" fmla="*/ 5399636 w 6884782"/>
              <a:gd name="connsiteY22230" fmla="*/ 4157677 h 5973007"/>
              <a:gd name="connsiteX22231" fmla="*/ 5633046 w 6884782"/>
              <a:gd name="connsiteY22231" fmla="*/ 4157354 h 5973007"/>
              <a:gd name="connsiteX22232" fmla="*/ 5646231 w 6884782"/>
              <a:gd name="connsiteY22232" fmla="*/ 4161084 h 5973007"/>
              <a:gd name="connsiteX22233" fmla="*/ 5649174 w 6884782"/>
              <a:gd name="connsiteY22233" fmla="*/ 4168416 h 5973007"/>
              <a:gd name="connsiteX22234" fmla="*/ 5647625 w 6884782"/>
              <a:gd name="connsiteY22234" fmla="*/ 4173166 h 5973007"/>
              <a:gd name="connsiteX22235" fmla="*/ 5647935 w 6884782"/>
              <a:gd name="connsiteY22235" fmla="*/ 4173785 h 5973007"/>
              <a:gd name="connsiteX22236" fmla="*/ 5647315 w 6884782"/>
              <a:gd name="connsiteY22236" fmla="*/ 4173992 h 5973007"/>
              <a:gd name="connsiteX22237" fmla="*/ 5647161 w 6884782"/>
              <a:gd name="connsiteY22237" fmla="*/ 4174508 h 5973007"/>
              <a:gd name="connsiteX22238" fmla="*/ 5634769 w 6884782"/>
              <a:gd name="connsiteY22238" fmla="*/ 4179877 h 5973007"/>
              <a:gd name="connsiteX22239" fmla="*/ 5619744 w 6884782"/>
              <a:gd name="connsiteY22239" fmla="*/ 4165938 h 5973007"/>
              <a:gd name="connsiteX22240" fmla="*/ 5633046 w 6884782"/>
              <a:gd name="connsiteY22240" fmla="*/ 4157354 h 5973007"/>
              <a:gd name="connsiteX22241" fmla="*/ 5518442 w 6884782"/>
              <a:gd name="connsiteY22241" fmla="*/ 4157264 h 5973007"/>
              <a:gd name="connsiteX22242" fmla="*/ 5524483 w 6884782"/>
              <a:gd name="connsiteY22242" fmla="*/ 4158916 h 5973007"/>
              <a:gd name="connsiteX22243" fmla="*/ 5520920 w 6884782"/>
              <a:gd name="connsiteY22243" fmla="*/ 4158916 h 5973007"/>
              <a:gd name="connsiteX22244" fmla="*/ 5518442 w 6884782"/>
              <a:gd name="connsiteY22244" fmla="*/ 4157264 h 5973007"/>
              <a:gd name="connsiteX22245" fmla="*/ 5227237 w 6884782"/>
              <a:gd name="connsiteY22245" fmla="*/ 4155302 h 5973007"/>
              <a:gd name="connsiteX22246" fmla="*/ 5225843 w 6884782"/>
              <a:gd name="connsiteY22246" fmla="*/ 4167693 h 5973007"/>
              <a:gd name="connsiteX22247" fmla="*/ 5221041 w 6884782"/>
              <a:gd name="connsiteY22247" fmla="*/ 4166247 h 5973007"/>
              <a:gd name="connsiteX22248" fmla="*/ 5227237 w 6884782"/>
              <a:gd name="connsiteY22248" fmla="*/ 4155302 h 5973007"/>
              <a:gd name="connsiteX22249" fmla="*/ 5150098 w 6884782"/>
              <a:gd name="connsiteY22249" fmla="*/ 4154993 h 5973007"/>
              <a:gd name="connsiteX22250" fmla="*/ 5160786 w 6884782"/>
              <a:gd name="connsiteY22250" fmla="*/ 4155509 h 5973007"/>
              <a:gd name="connsiteX22251" fmla="*/ 5156294 w 6884782"/>
              <a:gd name="connsiteY22251" fmla="*/ 4161498 h 5973007"/>
              <a:gd name="connsiteX22252" fmla="*/ 5152732 w 6884782"/>
              <a:gd name="connsiteY22252" fmla="*/ 4160981 h 5973007"/>
              <a:gd name="connsiteX22253" fmla="*/ 5150098 w 6884782"/>
              <a:gd name="connsiteY22253" fmla="*/ 4154993 h 5973007"/>
              <a:gd name="connsiteX22254" fmla="*/ 5064441 w 6884782"/>
              <a:gd name="connsiteY22254" fmla="*/ 4153857 h 5973007"/>
              <a:gd name="connsiteX22255" fmla="*/ 5067229 w 6884782"/>
              <a:gd name="connsiteY22255" fmla="*/ 4155715 h 5973007"/>
              <a:gd name="connsiteX22256" fmla="*/ 5066455 w 6884782"/>
              <a:gd name="connsiteY22256" fmla="*/ 4158297 h 5973007"/>
              <a:gd name="connsiteX22257" fmla="*/ 5065060 w 6884782"/>
              <a:gd name="connsiteY22257" fmla="*/ 4156232 h 5973007"/>
              <a:gd name="connsiteX22258" fmla="*/ 5064441 w 6884782"/>
              <a:gd name="connsiteY22258" fmla="*/ 4153857 h 5973007"/>
              <a:gd name="connsiteX22259" fmla="*/ 5443627 w 6884782"/>
              <a:gd name="connsiteY22259" fmla="*/ 4153547 h 5973007"/>
              <a:gd name="connsiteX22260" fmla="*/ 5444556 w 6884782"/>
              <a:gd name="connsiteY22260" fmla="*/ 4156954 h 5973007"/>
              <a:gd name="connsiteX22261" fmla="*/ 5443162 w 6884782"/>
              <a:gd name="connsiteY22261" fmla="*/ 4157367 h 5973007"/>
              <a:gd name="connsiteX22262" fmla="*/ 5441149 w 6884782"/>
              <a:gd name="connsiteY22262" fmla="*/ 4156025 h 5973007"/>
              <a:gd name="connsiteX22263" fmla="*/ 5557902 w 6884782"/>
              <a:gd name="connsiteY22263" fmla="*/ 4152992 h 5973007"/>
              <a:gd name="connsiteX22264" fmla="*/ 5559799 w 6884782"/>
              <a:gd name="connsiteY22264" fmla="*/ 4158400 h 5973007"/>
              <a:gd name="connsiteX22265" fmla="*/ 5552984 w 6884782"/>
              <a:gd name="connsiteY22265" fmla="*/ 4153547 h 5973007"/>
              <a:gd name="connsiteX22266" fmla="*/ 5557902 w 6884782"/>
              <a:gd name="connsiteY22266" fmla="*/ 4152992 h 5973007"/>
              <a:gd name="connsiteX22267" fmla="*/ 5437431 w 6884782"/>
              <a:gd name="connsiteY22267" fmla="*/ 4152927 h 5973007"/>
              <a:gd name="connsiteX22268" fmla="*/ 5438670 w 6884782"/>
              <a:gd name="connsiteY22268" fmla="*/ 4154683 h 5973007"/>
              <a:gd name="connsiteX22269" fmla="*/ 5438360 w 6884782"/>
              <a:gd name="connsiteY22269" fmla="*/ 4156232 h 5973007"/>
              <a:gd name="connsiteX22270" fmla="*/ 5440374 w 6884782"/>
              <a:gd name="connsiteY22270" fmla="*/ 4156748 h 5973007"/>
              <a:gd name="connsiteX22271" fmla="*/ 5443162 w 6884782"/>
              <a:gd name="connsiteY22271" fmla="*/ 4163872 h 5973007"/>
              <a:gd name="connsiteX22272" fmla="*/ 5441458 w 6884782"/>
              <a:gd name="connsiteY22272" fmla="*/ 4164595 h 5973007"/>
              <a:gd name="connsiteX22273" fmla="*/ 5439445 w 6884782"/>
              <a:gd name="connsiteY22273" fmla="*/ 4165111 h 5973007"/>
              <a:gd name="connsiteX22274" fmla="*/ 5434952 w 6884782"/>
              <a:gd name="connsiteY22274" fmla="*/ 4163460 h 5973007"/>
              <a:gd name="connsiteX22275" fmla="*/ 5432939 w 6884782"/>
              <a:gd name="connsiteY22275" fmla="*/ 4159845 h 5973007"/>
              <a:gd name="connsiteX22276" fmla="*/ 5432939 w 6884782"/>
              <a:gd name="connsiteY22276" fmla="*/ 4158090 h 5973007"/>
              <a:gd name="connsiteX22277" fmla="*/ 5434178 w 6884782"/>
              <a:gd name="connsiteY22277" fmla="*/ 4157367 h 5973007"/>
              <a:gd name="connsiteX22278" fmla="*/ 5433714 w 6884782"/>
              <a:gd name="connsiteY22278" fmla="*/ 4156851 h 5973007"/>
              <a:gd name="connsiteX22279" fmla="*/ 5433404 w 6884782"/>
              <a:gd name="connsiteY22279" fmla="*/ 4154166 h 5973007"/>
              <a:gd name="connsiteX22280" fmla="*/ 5437431 w 6884782"/>
              <a:gd name="connsiteY22280" fmla="*/ 4152927 h 5973007"/>
              <a:gd name="connsiteX22281" fmla="*/ 5062427 w 6884782"/>
              <a:gd name="connsiteY22281" fmla="*/ 4152514 h 5973007"/>
              <a:gd name="connsiteX22282" fmla="*/ 5063976 w 6884782"/>
              <a:gd name="connsiteY22282" fmla="*/ 4153443 h 5973007"/>
              <a:gd name="connsiteX22283" fmla="*/ 5063512 w 6884782"/>
              <a:gd name="connsiteY22283" fmla="*/ 4154166 h 5973007"/>
              <a:gd name="connsiteX22284" fmla="*/ 5062582 w 6884782"/>
              <a:gd name="connsiteY22284" fmla="*/ 4153443 h 5973007"/>
              <a:gd name="connsiteX22285" fmla="*/ 5062427 w 6884782"/>
              <a:gd name="connsiteY22285" fmla="*/ 4152514 h 5973007"/>
              <a:gd name="connsiteX22286" fmla="*/ 615984 w 6884782"/>
              <a:gd name="connsiteY22286" fmla="*/ 4152083 h 5973007"/>
              <a:gd name="connsiteX22287" fmla="*/ 611492 w 6884782"/>
              <a:gd name="connsiteY22287" fmla="*/ 4159518 h 5973007"/>
              <a:gd name="connsiteX22288" fmla="*/ 608549 w 6884782"/>
              <a:gd name="connsiteY22288" fmla="*/ 4159208 h 5973007"/>
              <a:gd name="connsiteX22289" fmla="*/ 607774 w 6884782"/>
              <a:gd name="connsiteY22289" fmla="*/ 4157246 h 5973007"/>
              <a:gd name="connsiteX22290" fmla="*/ 607155 w 6884782"/>
              <a:gd name="connsiteY22290" fmla="*/ 4154562 h 5973007"/>
              <a:gd name="connsiteX22291" fmla="*/ 615984 w 6884782"/>
              <a:gd name="connsiteY22291" fmla="*/ 4152083 h 5973007"/>
              <a:gd name="connsiteX22292" fmla="*/ 5722130 w 6884782"/>
              <a:gd name="connsiteY22292" fmla="*/ 4150552 h 5973007"/>
              <a:gd name="connsiteX22293" fmla="*/ 5723060 w 6884782"/>
              <a:gd name="connsiteY22293" fmla="*/ 4153134 h 5973007"/>
              <a:gd name="connsiteX22294" fmla="*/ 5722285 w 6884782"/>
              <a:gd name="connsiteY22294" fmla="*/ 4155715 h 5973007"/>
              <a:gd name="connsiteX22295" fmla="*/ 5720891 w 6884782"/>
              <a:gd name="connsiteY22295" fmla="*/ 4156025 h 5973007"/>
              <a:gd name="connsiteX22296" fmla="*/ 5719033 w 6884782"/>
              <a:gd name="connsiteY22296" fmla="*/ 4155509 h 5973007"/>
              <a:gd name="connsiteX22297" fmla="*/ 5719652 w 6884782"/>
              <a:gd name="connsiteY22297" fmla="*/ 4151275 h 5973007"/>
              <a:gd name="connsiteX22298" fmla="*/ 5722130 w 6884782"/>
              <a:gd name="connsiteY22298" fmla="*/ 4150552 h 5973007"/>
              <a:gd name="connsiteX22299" fmla="*/ 5060104 w 6884782"/>
              <a:gd name="connsiteY22299" fmla="*/ 4150036 h 5973007"/>
              <a:gd name="connsiteX22300" fmla="*/ 5059949 w 6884782"/>
              <a:gd name="connsiteY22300" fmla="*/ 4151895 h 5973007"/>
              <a:gd name="connsiteX22301" fmla="*/ 5059019 w 6884782"/>
              <a:gd name="connsiteY22301" fmla="*/ 4150346 h 5973007"/>
              <a:gd name="connsiteX22302" fmla="*/ 5060104 w 6884782"/>
              <a:gd name="connsiteY22302" fmla="*/ 4150036 h 5973007"/>
              <a:gd name="connsiteX22303" fmla="*/ 5761939 w 6884782"/>
              <a:gd name="connsiteY22303" fmla="*/ 4149727 h 5973007"/>
              <a:gd name="connsiteX22304" fmla="*/ 5764727 w 6884782"/>
              <a:gd name="connsiteY22304" fmla="*/ 4150552 h 5973007"/>
              <a:gd name="connsiteX22305" fmla="*/ 5769529 w 6884782"/>
              <a:gd name="connsiteY22305" fmla="*/ 4150242 h 5973007"/>
              <a:gd name="connsiteX22306" fmla="*/ 5780991 w 6884782"/>
              <a:gd name="connsiteY22306" fmla="*/ 4161394 h 5973007"/>
              <a:gd name="connsiteX22307" fmla="*/ 5776809 w 6884782"/>
              <a:gd name="connsiteY22307" fmla="*/ 4164905 h 5973007"/>
              <a:gd name="connsiteX22308" fmla="*/ 5776964 w 6884782"/>
              <a:gd name="connsiteY22308" fmla="*/ 4165525 h 5973007"/>
              <a:gd name="connsiteX22309" fmla="*/ 5776189 w 6884782"/>
              <a:gd name="connsiteY22309" fmla="*/ 4165318 h 5973007"/>
              <a:gd name="connsiteX22310" fmla="*/ 5775415 w 6884782"/>
              <a:gd name="connsiteY22310" fmla="*/ 4166041 h 5973007"/>
              <a:gd name="connsiteX22311" fmla="*/ 5774021 w 6884782"/>
              <a:gd name="connsiteY22311" fmla="*/ 4164802 h 5973007"/>
              <a:gd name="connsiteX22312" fmla="*/ 5772317 w 6884782"/>
              <a:gd name="connsiteY22312" fmla="*/ 4164492 h 5973007"/>
              <a:gd name="connsiteX22313" fmla="*/ 5768290 w 6884782"/>
              <a:gd name="connsiteY22313" fmla="*/ 4162117 h 5973007"/>
              <a:gd name="connsiteX22314" fmla="*/ 5766586 w 6884782"/>
              <a:gd name="connsiteY22314" fmla="*/ 4159845 h 5973007"/>
              <a:gd name="connsiteX22315" fmla="*/ 5764263 w 6884782"/>
              <a:gd name="connsiteY22315" fmla="*/ 4158606 h 5973007"/>
              <a:gd name="connsiteX22316" fmla="*/ 5760700 w 6884782"/>
              <a:gd name="connsiteY22316" fmla="*/ 4156851 h 5973007"/>
              <a:gd name="connsiteX22317" fmla="*/ 5759770 w 6884782"/>
              <a:gd name="connsiteY22317" fmla="*/ 4157884 h 5973007"/>
              <a:gd name="connsiteX22318" fmla="*/ 5757447 w 6884782"/>
              <a:gd name="connsiteY22318" fmla="*/ 4159432 h 5973007"/>
              <a:gd name="connsiteX22319" fmla="*/ 5759306 w 6884782"/>
              <a:gd name="connsiteY22319" fmla="*/ 4157677 h 5973007"/>
              <a:gd name="connsiteX22320" fmla="*/ 5759460 w 6884782"/>
              <a:gd name="connsiteY22320" fmla="*/ 4156232 h 5973007"/>
              <a:gd name="connsiteX22321" fmla="*/ 5758841 w 6884782"/>
              <a:gd name="connsiteY22321" fmla="*/ 4155922 h 5973007"/>
              <a:gd name="connsiteX22322" fmla="*/ 5754039 w 6884782"/>
              <a:gd name="connsiteY22322" fmla="*/ 4152514 h 5973007"/>
              <a:gd name="connsiteX22323" fmla="*/ 5761474 w 6884782"/>
              <a:gd name="connsiteY22323" fmla="*/ 4150656 h 5973007"/>
              <a:gd name="connsiteX22324" fmla="*/ 5762093 w 6884782"/>
              <a:gd name="connsiteY22324" fmla="*/ 4150656 h 5973007"/>
              <a:gd name="connsiteX22325" fmla="*/ 775372 w 6884782"/>
              <a:gd name="connsiteY22325" fmla="*/ 4149296 h 5973007"/>
              <a:gd name="connsiteX22326" fmla="*/ 775217 w 6884782"/>
              <a:gd name="connsiteY22326" fmla="*/ 4149399 h 5973007"/>
              <a:gd name="connsiteX22327" fmla="*/ 772893 w 6884782"/>
              <a:gd name="connsiteY22327" fmla="*/ 4150741 h 5973007"/>
              <a:gd name="connsiteX22328" fmla="*/ 771654 w 6884782"/>
              <a:gd name="connsiteY22328" fmla="*/ 4151051 h 5973007"/>
              <a:gd name="connsiteX22329" fmla="*/ 774907 w 6884782"/>
              <a:gd name="connsiteY22329" fmla="*/ 4152290 h 5973007"/>
              <a:gd name="connsiteX22330" fmla="*/ 776921 w 6884782"/>
              <a:gd name="connsiteY22330" fmla="*/ 4151774 h 5973007"/>
              <a:gd name="connsiteX22331" fmla="*/ 717286 w 6884782"/>
              <a:gd name="connsiteY22331" fmla="*/ 4147953 h 5973007"/>
              <a:gd name="connsiteX22332" fmla="*/ 719610 w 6884782"/>
              <a:gd name="connsiteY22332" fmla="*/ 4151774 h 5973007"/>
              <a:gd name="connsiteX22333" fmla="*/ 720384 w 6884782"/>
              <a:gd name="connsiteY22333" fmla="*/ 4151980 h 5973007"/>
              <a:gd name="connsiteX22334" fmla="*/ 722243 w 6884782"/>
              <a:gd name="connsiteY22334" fmla="*/ 4150535 h 5973007"/>
              <a:gd name="connsiteX22335" fmla="*/ 730607 w 6884782"/>
              <a:gd name="connsiteY22335" fmla="*/ 4151877 h 5973007"/>
              <a:gd name="connsiteX22336" fmla="*/ 732776 w 6884782"/>
              <a:gd name="connsiteY22336" fmla="*/ 4159002 h 5973007"/>
              <a:gd name="connsiteX22337" fmla="*/ 732621 w 6884782"/>
              <a:gd name="connsiteY22337" fmla="*/ 4160757 h 5973007"/>
              <a:gd name="connsiteX22338" fmla="*/ 734324 w 6884782"/>
              <a:gd name="connsiteY22338" fmla="*/ 4164990 h 5973007"/>
              <a:gd name="connsiteX22339" fmla="*/ 706908 w 6884782"/>
              <a:gd name="connsiteY22339" fmla="*/ 4192353 h 5973007"/>
              <a:gd name="connsiteX22340" fmla="*/ 724566 w 6884782"/>
              <a:gd name="connsiteY22340" fmla="*/ 4166126 h 5973007"/>
              <a:gd name="connsiteX22341" fmla="*/ 725031 w 6884782"/>
              <a:gd name="connsiteY22341" fmla="*/ 4165816 h 5973007"/>
              <a:gd name="connsiteX22342" fmla="*/ 722862 w 6884782"/>
              <a:gd name="connsiteY22342" fmla="*/ 4165403 h 5973007"/>
              <a:gd name="connsiteX22343" fmla="*/ 719764 w 6884782"/>
              <a:gd name="connsiteY22343" fmla="*/ 4163235 h 5973007"/>
              <a:gd name="connsiteX22344" fmla="*/ 718680 w 6884782"/>
              <a:gd name="connsiteY22344" fmla="*/ 4153426 h 5973007"/>
              <a:gd name="connsiteX22345" fmla="*/ 717131 w 6884782"/>
              <a:gd name="connsiteY22345" fmla="*/ 4152290 h 5973007"/>
              <a:gd name="connsiteX22346" fmla="*/ 715737 w 6884782"/>
              <a:gd name="connsiteY22346" fmla="*/ 4148469 h 5973007"/>
              <a:gd name="connsiteX22347" fmla="*/ 717286 w 6884782"/>
              <a:gd name="connsiteY22347" fmla="*/ 4147953 h 5973007"/>
              <a:gd name="connsiteX22348" fmla="*/ 1355769 w 6884782"/>
              <a:gd name="connsiteY22348" fmla="*/ 4146714 h 5973007"/>
              <a:gd name="connsiteX22349" fmla="*/ 1356698 w 6884782"/>
              <a:gd name="connsiteY22349" fmla="*/ 4147746 h 5973007"/>
              <a:gd name="connsiteX22350" fmla="*/ 1353445 w 6884782"/>
              <a:gd name="connsiteY22350" fmla="*/ 4149502 h 5973007"/>
              <a:gd name="connsiteX22351" fmla="*/ 1352361 w 6884782"/>
              <a:gd name="connsiteY22351" fmla="*/ 4148985 h 5973007"/>
              <a:gd name="connsiteX22352" fmla="*/ 1355769 w 6884782"/>
              <a:gd name="connsiteY22352" fmla="*/ 4146714 h 5973007"/>
              <a:gd name="connsiteX22353" fmla="*/ 5117338 w 6884782"/>
              <a:gd name="connsiteY22353" fmla="*/ 4146035 h 5973007"/>
              <a:gd name="connsiteX22354" fmla="*/ 5123766 w 6884782"/>
              <a:gd name="connsiteY22354" fmla="*/ 4148797 h 5973007"/>
              <a:gd name="connsiteX22355" fmla="*/ 5118345 w 6884782"/>
              <a:gd name="connsiteY22355" fmla="*/ 4152721 h 5973007"/>
              <a:gd name="connsiteX22356" fmla="*/ 5112458 w 6884782"/>
              <a:gd name="connsiteY22356" fmla="*/ 4151069 h 5973007"/>
              <a:gd name="connsiteX22357" fmla="*/ 5111839 w 6884782"/>
              <a:gd name="connsiteY22357" fmla="*/ 4147145 h 5973007"/>
              <a:gd name="connsiteX22358" fmla="*/ 5117338 w 6884782"/>
              <a:gd name="connsiteY22358" fmla="*/ 4146035 h 5973007"/>
              <a:gd name="connsiteX22359" fmla="*/ 5861382 w 6884782"/>
              <a:gd name="connsiteY22359" fmla="*/ 4145183 h 5973007"/>
              <a:gd name="connsiteX22360" fmla="*/ 5859678 w 6884782"/>
              <a:gd name="connsiteY22360" fmla="*/ 4145390 h 5973007"/>
              <a:gd name="connsiteX22361" fmla="*/ 5862002 w 6884782"/>
              <a:gd name="connsiteY22361" fmla="*/ 4145699 h 5973007"/>
              <a:gd name="connsiteX22362" fmla="*/ 5862157 w 6884782"/>
              <a:gd name="connsiteY22362" fmla="*/ 4145699 h 5973007"/>
              <a:gd name="connsiteX22363" fmla="*/ 5385270 w 6884782"/>
              <a:gd name="connsiteY22363" fmla="*/ 4143324 h 5973007"/>
              <a:gd name="connsiteX22364" fmla="*/ 5387399 w 6884782"/>
              <a:gd name="connsiteY22364" fmla="*/ 4149210 h 5973007"/>
              <a:gd name="connsiteX22365" fmla="*/ 5384456 w 6884782"/>
              <a:gd name="connsiteY22365" fmla="*/ 4154063 h 5973007"/>
              <a:gd name="connsiteX22366" fmla="*/ 5382443 w 6884782"/>
              <a:gd name="connsiteY22366" fmla="*/ 4153134 h 5973007"/>
              <a:gd name="connsiteX22367" fmla="*/ 5382133 w 6884782"/>
              <a:gd name="connsiteY22367" fmla="*/ 4152927 h 5973007"/>
              <a:gd name="connsiteX22368" fmla="*/ 5379190 w 6884782"/>
              <a:gd name="connsiteY22368" fmla="*/ 4157264 h 5973007"/>
              <a:gd name="connsiteX22369" fmla="*/ 5377331 w 6884782"/>
              <a:gd name="connsiteY22369" fmla="*/ 4154786 h 5973007"/>
              <a:gd name="connsiteX22370" fmla="*/ 5377331 w 6884782"/>
              <a:gd name="connsiteY22370" fmla="*/ 4149623 h 5973007"/>
              <a:gd name="connsiteX22371" fmla="*/ 5378725 w 6884782"/>
              <a:gd name="connsiteY22371" fmla="*/ 4147558 h 5973007"/>
              <a:gd name="connsiteX22372" fmla="*/ 5378261 w 6884782"/>
              <a:gd name="connsiteY22372" fmla="*/ 4146422 h 5973007"/>
              <a:gd name="connsiteX22373" fmla="*/ 5385270 w 6884782"/>
              <a:gd name="connsiteY22373" fmla="*/ 4143324 h 5973007"/>
              <a:gd name="connsiteX22374" fmla="*/ 5709274 w 6884782"/>
              <a:gd name="connsiteY22374" fmla="*/ 4142395 h 5973007"/>
              <a:gd name="connsiteX22375" fmla="*/ 5711443 w 6884782"/>
              <a:gd name="connsiteY22375" fmla="*/ 4146009 h 5973007"/>
              <a:gd name="connsiteX22376" fmla="*/ 5711288 w 6884782"/>
              <a:gd name="connsiteY22376" fmla="*/ 4146732 h 5973007"/>
              <a:gd name="connsiteX22377" fmla="*/ 5712062 w 6884782"/>
              <a:gd name="connsiteY22377" fmla="*/ 4147455 h 5973007"/>
              <a:gd name="connsiteX22378" fmla="*/ 5710823 w 6884782"/>
              <a:gd name="connsiteY22378" fmla="*/ 4148281 h 5973007"/>
              <a:gd name="connsiteX22379" fmla="*/ 5710513 w 6884782"/>
              <a:gd name="connsiteY22379" fmla="*/ 4149623 h 5973007"/>
              <a:gd name="connsiteX22380" fmla="*/ 5705557 w 6884782"/>
              <a:gd name="connsiteY22380" fmla="*/ 4147971 h 5973007"/>
              <a:gd name="connsiteX22381" fmla="*/ 5704162 w 6884782"/>
              <a:gd name="connsiteY22381" fmla="*/ 4145183 h 5973007"/>
              <a:gd name="connsiteX22382" fmla="*/ 5705866 w 6884782"/>
              <a:gd name="connsiteY22382" fmla="*/ 4142808 h 5973007"/>
              <a:gd name="connsiteX22383" fmla="*/ 5709274 w 6884782"/>
              <a:gd name="connsiteY22383" fmla="*/ 4142395 h 5973007"/>
              <a:gd name="connsiteX22384" fmla="*/ 5776034 w 6884782"/>
              <a:gd name="connsiteY22384" fmla="*/ 4142085 h 5973007"/>
              <a:gd name="connsiteX22385" fmla="*/ 5780062 w 6884782"/>
              <a:gd name="connsiteY22385" fmla="*/ 4148281 h 5973007"/>
              <a:gd name="connsiteX22386" fmla="*/ 5782075 w 6884782"/>
              <a:gd name="connsiteY22386" fmla="*/ 4151998 h 5973007"/>
              <a:gd name="connsiteX22387" fmla="*/ 5781301 w 6884782"/>
              <a:gd name="connsiteY22387" fmla="*/ 4154373 h 5973007"/>
              <a:gd name="connsiteX22388" fmla="*/ 5780527 w 6884782"/>
              <a:gd name="connsiteY22388" fmla="*/ 4154786 h 5973007"/>
              <a:gd name="connsiteX22389" fmla="*/ 5779132 w 6884782"/>
              <a:gd name="connsiteY22389" fmla="*/ 4153650 h 5973007"/>
              <a:gd name="connsiteX22390" fmla="*/ 5776034 w 6884782"/>
              <a:gd name="connsiteY22390" fmla="*/ 4146009 h 5973007"/>
              <a:gd name="connsiteX22391" fmla="*/ 5775260 w 6884782"/>
              <a:gd name="connsiteY22391" fmla="*/ 4144460 h 5973007"/>
              <a:gd name="connsiteX22392" fmla="*/ 5776034 w 6884782"/>
              <a:gd name="connsiteY22392" fmla="*/ 4142085 h 5973007"/>
              <a:gd name="connsiteX22393" fmla="*/ 5408930 w 6884782"/>
              <a:gd name="connsiteY22393" fmla="*/ 4141569 h 5973007"/>
              <a:gd name="connsiteX22394" fmla="*/ 5409860 w 6884782"/>
              <a:gd name="connsiteY22394" fmla="*/ 4141569 h 5973007"/>
              <a:gd name="connsiteX22395" fmla="*/ 5409550 w 6884782"/>
              <a:gd name="connsiteY22395" fmla="*/ 4152204 h 5973007"/>
              <a:gd name="connsiteX22396" fmla="*/ 5408310 w 6884782"/>
              <a:gd name="connsiteY22396" fmla="*/ 4153237 h 5973007"/>
              <a:gd name="connsiteX22397" fmla="*/ 5406297 w 6884782"/>
              <a:gd name="connsiteY22397" fmla="*/ 4152411 h 5973007"/>
              <a:gd name="connsiteX22398" fmla="*/ 5405677 w 6884782"/>
              <a:gd name="connsiteY22398" fmla="*/ 4147971 h 5973007"/>
              <a:gd name="connsiteX22399" fmla="*/ 5408465 w 6884782"/>
              <a:gd name="connsiteY22399" fmla="*/ 4144357 h 5973007"/>
              <a:gd name="connsiteX22400" fmla="*/ 5408930 w 6884782"/>
              <a:gd name="connsiteY22400" fmla="*/ 4141569 h 5973007"/>
              <a:gd name="connsiteX22401" fmla="*/ 5244275 w 6884782"/>
              <a:gd name="connsiteY22401" fmla="*/ 4141466 h 5973007"/>
              <a:gd name="connsiteX22402" fmla="*/ 5247993 w 6884782"/>
              <a:gd name="connsiteY22402" fmla="*/ 4141672 h 5973007"/>
              <a:gd name="connsiteX22403" fmla="*/ 5247528 w 6884782"/>
              <a:gd name="connsiteY22403" fmla="*/ 4147042 h 5973007"/>
              <a:gd name="connsiteX22404" fmla="*/ 5243656 w 6884782"/>
              <a:gd name="connsiteY22404" fmla="*/ 4146938 h 5973007"/>
              <a:gd name="connsiteX22405" fmla="*/ 5244275 w 6884782"/>
              <a:gd name="connsiteY22405" fmla="*/ 4141466 h 5973007"/>
              <a:gd name="connsiteX22406" fmla="*/ 5448274 w 6884782"/>
              <a:gd name="connsiteY22406" fmla="*/ 4140330 h 5973007"/>
              <a:gd name="connsiteX22407" fmla="*/ 5457258 w 6884782"/>
              <a:gd name="connsiteY22407" fmla="*/ 4142085 h 5973007"/>
              <a:gd name="connsiteX22408" fmla="*/ 5454779 w 6884782"/>
              <a:gd name="connsiteY22408" fmla="*/ 4153547 h 5973007"/>
              <a:gd name="connsiteX22409" fmla="*/ 5455089 w 6884782"/>
              <a:gd name="connsiteY22409" fmla="*/ 4155096 h 5973007"/>
              <a:gd name="connsiteX22410" fmla="*/ 5454625 w 6884782"/>
              <a:gd name="connsiteY22410" fmla="*/ 4157264 h 5973007"/>
              <a:gd name="connsiteX22411" fmla="*/ 5453850 w 6884782"/>
              <a:gd name="connsiteY22411" fmla="*/ 4157677 h 5973007"/>
              <a:gd name="connsiteX22412" fmla="*/ 5452301 w 6884782"/>
              <a:gd name="connsiteY22412" fmla="*/ 4164699 h 5973007"/>
              <a:gd name="connsiteX22413" fmla="*/ 5447345 w 6884782"/>
              <a:gd name="connsiteY22413" fmla="*/ 4185246 h 5973007"/>
              <a:gd name="connsiteX22414" fmla="*/ 5448274 w 6884782"/>
              <a:gd name="connsiteY22414" fmla="*/ 4140330 h 5973007"/>
              <a:gd name="connsiteX22415" fmla="*/ 1373736 w 6884782"/>
              <a:gd name="connsiteY22415" fmla="*/ 4139486 h 5973007"/>
              <a:gd name="connsiteX22416" fmla="*/ 1373582 w 6884782"/>
              <a:gd name="connsiteY22416" fmla="*/ 4142997 h 5973007"/>
              <a:gd name="connsiteX22417" fmla="*/ 1372033 w 6884782"/>
              <a:gd name="connsiteY22417" fmla="*/ 4142790 h 5973007"/>
              <a:gd name="connsiteX22418" fmla="*/ 1366147 w 6884782"/>
              <a:gd name="connsiteY22418" fmla="*/ 4145578 h 5973007"/>
              <a:gd name="connsiteX22419" fmla="*/ 1359176 w 6884782"/>
              <a:gd name="connsiteY22419" fmla="*/ 4145578 h 5973007"/>
              <a:gd name="connsiteX22420" fmla="*/ 1373736 w 6884782"/>
              <a:gd name="connsiteY22420" fmla="*/ 4139486 h 5973007"/>
              <a:gd name="connsiteX22421" fmla="*/ 5182782 w 6884782"/>
              <a:gd name="connsiteY22421" fmla="*/ 4138988 h 5973007"/>
              <a:gd name="connsiteX22422" fmla="*/ 5185260 w 6884782"/>
              <a:gd name="connsiteY22422" fmla="*/ 4142292 h 5973007"/>
              <a:gd name="connsiteX22423" fmla="*/ 5183092 w 6884782"/>
              <a:gd name="connsiteY22423" fmla="*/ 4149623 h 5973007"/>
              <a:gd name="connsiteX22424" fmla="*/ 5174417 w 6884782"/>
              <a:gd name="connsiteY22424" fmla="*/ 4147351 h 5973007"/>
              <a:gd name="connsiteX22425" fmla="*/ 5182782 w 6884782"/>
              <a:gd name="connsiteY22425" fmla="*/ 4138988 h 5973007"/>
              <a:gd name="connsiteX22426" fmla="*/ 5661198 w 6884782"/>
              <a:gd name="connsiteY22426" fmla="*/ 4138833 h 5973007"/>
              <a:gd name="connsiteX22427" fmla="*/ 5667142 w 6884782"/>
              <a:gd name="connsiteY22427" fmla="*/ 4139194 h 5973007"/>
              <a:gd name="connsiteX22428" fmla="*/ 5667142 w 6884782"/>
              <a:gd name="connsiteY22428" fmla="*/ 4141775 h 5973007"/>
              <a:gd name="connsiteX22429" fmla="*/ 5660636 w 6884782"/>
              <a:gd name="connsiteY22429" fmla="*/ 4145803 h 5973007"/>
              <a:gd name="connsiteX22430" fmla="*/ 5658623 w 6884782"/>
              <a:gd name="connsiteY22430" fmla="*/ 4144667 h 5973007"/>
              <a:gd name="connsiteX22431" fmla="*/ 5661198 w 6884782"/>
              <a:gd name="connsiteY22431" fmla="*/ 4138833 h 5973007"/>
              <a:gd name="connsiteX22432" fmla="*/ 5188203 w 6884782"/>
              <a:gd name="connsiteY22432" fmla="*/ 4137129 h 5973007"/>
              <a:gd name="connsiteX22433" fmla="*/ 5196722 w 6884782"/>
              <a:gd name="connsiteY22433" fmla="*/ 4139194 h 5973007"/>
              <a:gd name="connsiteX22434" fmla="*/ 5197187 w 6884782"/>
              <a:gd name="connsiteY22434" fmla="*/ 4139401 h 5973007"/>
              <a:gd name="connsiteX22435" fmla="*/ 5198581 w 6884782"/>
              <a:gd name="connsiteY22435" fmla="*/ 4137645 h 5973007"/>
              <a:gd name="connsiteX22436" fmla="*/ 5203073 w 6884782"/>
              <a:gd name="connsiteY22436" fmla="*/ 4137232 h 5973007"/>
              <a:gd name="connsiteX22437" fmla="*/ 5207720 w 6884782"/>
              <a:gd name="connsiteY22437" fmla="*/ 4139607 h 5973007"/>
              <a:gd name="connsiteX22438" fmla="*/ 5210818 w 6884782"/>
              <a:gd name="connsiteY22438" fmla="*/ 4147248 h 5973007"/>
              <a:gd name="connsiteX22439" fmla="*/ 5206791 w 6884782"/>
              <a:gd name="connsiteY22439" fmla="*/ 4148797 h 5973007"/>
              <a:gd name="connsiteX22440" fmla="*/ 5201679 w 6884782"/>
              <a:gd name="connsiteY22440" fmla="*/ 4146422 h 5973007"/>
              <a:gd name="connsiteX22441" fmla="*/ 5198736 w 6884782"/>
              <a:gd name="connsiteY22441" fmla="*/ 4143737 h 5973007"/>
              <a:gd name="connsiteX22442" fmla="*/ 5196103 w 6884782"/>
              <a:gd name="connsiteY22442" fmla="*/ 4143428 h 5973007"/>
              <a:gd name="connsiteX22443" fmla="*/ 5193160 w 6884782"/>
              <a:gd name="connsiteY22443" fmla="*/ 4142085 h 5973007"/>
              <a:gd name="connsiteX22444" fmla="*/ 5191301 w 6884782"/>
              <a:gd name="connsiteY22444" fmla="*/ 4141363 h 5973007"/>
              <a:gd name="connsiteX22445" fmla="*/ 5189442 w 6884782"/>
              <a:gd name="connsiteY22445" fmla="*/ 4140537 h 5973007"/>
              <a:gd name="connsiteX22446" fmla="*/ 5188203 w 6884782"/>
              <a:gd name="connsiteY22446" fmla="*/ 4137129 h 5973007"/>
              <a:gd name="connsiteX22447" fmla="*/ 5563826 w 6884782"/>
              <a:gd name="connsiteY22447" fmla="*/ 4136200 h 5973007"/>
              <a:gd name="connsiteX22448" fmla="*/ 5566460 w 6884782"/>
              <a:gd name="connsiteY22448" fmla="*/ 4137026 h 5973007"/>
              <a:gd name="connsiteX22449" fmla="*/ 5566769 w 6884782"/>
              <a:gd name="connsiteY22449" fmla="*/ 4136819 h 5973007"/>
              <a:gd name="connsiteX22450" fmla="*/ 5573275 w 6884782"/>
              <a:gd name="connsiteY22450" fmla="*/ 4141879 h 5973007"/>
              <a:gd name="connsiteX22451" fmla="*/ 5569403 w 6884782"/>
              <a:gd name="connsiteY22451" fmla="*/ 4146422 h 5973007"/>
              <a:gd name="connsiteX22452" fmla="*/ 5568938 w 6884782"/>
              <a:gd name="connsiteY22452" fmla="*/ 4146009 h 5973007"/>
              <a:gd name="connsiteX22453" fmla="*/ 5568473 w 6884782"/>
              <a:gd name="connsiteY22453" fmla="*/ 4147042 h 5973007"/>
              <a:gd name="connsiteX22454" fmla="*/ 5563672 w 6884782"/>
              <a:gd name="connsiteY22454" fmla="*/ 4151585 h 5973007"/>
              <a:gd name="connsiteX22455" fmla="*/ 5563826 w 6884782"/>
              <a:gd name="connsiteY22455" fmla="*/ 4136200 h 5973007"/>
              <a:gd name="connsiteX22456" fmla="*/ 566417 w 6884782"/>
              <a:gd name="connsiteY22456" fmla="*/ 4134943 h 5973007"/>
              <a:gd name="connsiteX22457" fmla="*/ 575711 w 6884782"/>
              <a:gd name="connsiteY22457" fmla="*/ 4140002 h 5973007"/>
              <a:gd name="connsiteX22458" fmla="*/ 571684 w 6884782"/>
              <a:gd name="connsiteY22458" fmla="*/ 4159002 h 5973007"/>
              <a:gd name="connsiteX22459" fmla="*/ 559137 w 6884782"/>
              <a:gd name="connsiteY22459" fmla="*/ 4161893 h 5973007"/>
              <a:gd name="connsiteX22460" fmla="*/ 554490 w 6884782"/>
              <a:gd name="connsiteY22460" fmla="*/ 4160344 h 5973007"/>
              <a:gd name="connsiteX22461" fmla="*/ 566417 w 6884782"/>
              <a:gd name="connsiteY22461" fmla="*/ 4134943 h 5973007"/>
              <a:gd name="connsiteX22462" fmla="*/ 5236376 w 6884782"/>
              <a:gd name="connsiteY22462" fmla="*/ 4134238 h 5973007"/>
              <a:gd name="connsiteX22463" fmla="*/ 5245979 w 6884782"/>
              <a:gd name="connsiteY22463" fmla="*/ 4138471 h 5973007"/>
              <a:gd name="connsiteX22464" fmla="*/ 5241487 w 6884782"/>
              <a:gd name="connsiteY22464" fmla="*/ 4142705 h 5973007"/>
              <a:gd name="connsiteX22465" fmla="*/ 5235911 w 6884782"/>
              <a:gd name="connsiteY22465" fmla="*/ 4140537 h 5973007"/>
              <a:gd name="connsiteX22466" fmla="*/ 5236376 w 6884782"/>
              <a:gd name="connsiteY22466" fmla="*/ 4134238 h 5973007"/>
              <a:gd name="connsiteX22467" fmla="*/ 5316302 w 6884782"/>
              <a:gd name="connsiteY22467" fmla="*/ 4133205 h 5973007"/>
              <a:gd name="connsiteX22468" fmla="*/ 5328539 w 6884782"/>
              <a:gd name="connsiteY22468" fmla="*/ 4137645 h 5973007"/>
              <a:gd name="connsiteX22469" fmla="*/ 5326061 w 6884782"/>
              <a:gd name="connsiteY22469" fmla="*/ 4138059 h 5973007"/>
              <a:gd name="connsiteX22470" fmla="*/ 5316302 w 6884782"/>
              <a:gd name="connsiteY22470" fmla="*/ 4133205 h 5973007"/>
              <a:gd name="connsiteX22471" fmla="*/ 5039967 w 6884782"/>
              <a:gd name="connsiteY22471" fmla="*/ 4132586 h 5973007"/>
              <a:gd name="connsiteX22472" fmla="*/ 5045234 w 6884782"/>
              <a:gd name="connsiteY22472" fmla="*/ 4135993 h 5973007"/>
              <a:gd name="connsiteX22473" fmla="*/ 5045389 w 6884782"/>
              <a:gd name="connsiteY22473" fmla="*/ 4137129 h 5973007"/>
              <a:gd name="connsiteX22474" fmla="*/ 5039967 w 6884782"/>
              <a:gd name="connsiteY22474" fmla="*/ 4132586 h 5973007"/>
              <a:gd name="connsiteX22475" fmla="*/ 5224158 w 6884782"/>
              <a:gd name="connsiteY22475" fmla="*/ 4132418 h 5973007"/>
              <a:gd name="connsiteX22476" fmla="*/ 5231109 w 6884782"/>
              <a:gd name="connsiteY22476" fmla="*/ 4139710 h 5973007"/>
              <a:gd name="connsiteX22477" fmla="*/ 5229251 w 6884782"/>
              <a:gd name="connsiteY22477" fmla="*/ 4143944 h 5973007"/>
              <a:gd name="connsiteX22478" fmla="*/ 5224294 w 6884782"/>
              <a:gd name="connsiteY22478" fmla="*/ 4144460 h 5973007"/>
              <a:gd name="connsiteX22479" fmla="*/ 5219957 w 6884782"/>
              <a:gd name="connsiteY22479" fmla="*/ 4144460 h 5973007"/>
              <a:gd name="connsiteX22480" fmla="*/ 5211283 w 6884782"/>
              <a:gd name="connsiteY22480" fmla="*/ 4137129 h 5973007"/>
              <a:gd name="connsiteX22481" fmla="*/ 5224158 w 6884782"/>
              <a:gd name="connsiteY22481" fmla="*/ 4132418 h 5973007"/>
              <a:gd name="connsiteX22482" fmla="*/ 5856890 w 6884782"/>
              <a:gd name="connsiteY22482" fmla="*/ 4131450 h 5973007"/>
              <a:gd name="connsiteX22483" fmla="*/ 5856116 w 6884782"/>
              <a:gd name="connsiteY22483" fmla="*/ 4132586 h 5973007"/>
              <a:gd name="connsiteX22484" fmla="*/ 5850849 w 6884782"/>
              <a:gd name="connsiteY22484" fmla="*/ 4136097 h 5973007"/>
              <a:gd name="connsiteX22485" fmla="*/ 5847752 w 6884782"/>
              <a:gd name="connsiteY22485" fmla="*/ 4137232 h 5973007"/>
              <a:gd name="connsiteX22486" fmla="*/ 5848371 w 6884782"/>
              <a:gd name="connsiteY22486" fmla="*/ 4139504 h 5973007"/>
              <a:gd name="connsiteX22487" fmla="*/ 5850695 w 6884782"/>
              <a:gd name="connsiteY22487" fmla="*/ 4145493 h 5973007"/>
              <a:gd name="connsiteX22488" fmla="*/ 5853018 w 6884782"/>
              <a:gd name="connsiteY22488" fmla="*/ 4151482 h 5973007"/>
              <a:gd name="connsiteX22489" fmla="*/ 5857200 w 6884782"/>
              <a:gd name="connsiteY22489" fmla="*/ 4162427 h 5973007"/>
              <a:gd name="connsiteX22490" fmla="*/ 5857510 w 6884782"/>
              <a:gd name="connsiteY22490" fmla="*/ 4163769 h 5973007"/>
              <a:gd name="connsiteX22491" fmla="*/ 5857820 w 6884782"/>
              <a:gd name="connsiteY22491" fmla="*/ 4163976 h 5973007"/>
              <a:gd name="connsiteX22492" fmla="*/ 5874703 w 6884782"/>
              <a:gd name="connsiteY22492" fmla="*/ 4176676 h 5973007"/>
              <a:gd name="connsiteX22493" fmla="*/ 5864325 w 6884782"/>
              <a:gd name="connsiteY22493" fmla="*/ 4175643 h 5973007"/>
              <a:gd name="connsiteX22494" fmla="*/ 5860298 w 6884782"/>
              <a:gd name="connsiteY22494" fmla="*/ 4173785 h 5973007"/>
              <a:gd name="connsiteX22495" fmla="*/ 5862931 w 6884782"/>
              <a:gd name="connsiteY22495" fmla="*/ 4179877 h 5973007"/>
              <a:gd name="connsiteX22496" fmla="*/ 5867888 w 6884782"/>
              <a:gd name="connsiteY22496" fmla="*/ 4188447 h 5973007"/>
              <a:gd name="connsiteX22497" fmla="*/ 5870986 w 6884782"/>
              <a:gd name="connsiteY22497" fmla="*/ 4203006 h 5973007"/>
              <a:gd name="connsiteX22498" fmla="*/ 5878266 w 6884782"/>
              <a:gd name="connsiteY22498" fmla="*/ 4223968 h 5973007"/>
              <a:gd name="connsiteX22499" fmla="*/ 5880589 w 6884782"/>
              <a:gd name="connsiteY22499" fmla="*/ 4229234 h 5973007"/>
              <a:gd name="connsiteX22500" fmla="*/ 5887405 w 6884782"/>
              <a:gd name="connsiteY22500" fmla="*/ 4226033 h 5973007"/>
              <a:gd name="connsiteX22501" fmla="*/ 5892981 w 6884782"/>
              <a:gd name="connsiteY22501" fmla="*/ 4242450 h 5973007"/>
              <a:gd name="connsiteX22502" fmla="*/ 5890193 w 6884782"/>
              <a:gd name="connsiteY22502" fmla="*/ 4249162 h 5973007"/>
              <a:gd name="connsiteX22503" fmla="*/ 5895924 w 6884782"/>
              <a:gd name="connsiteY22503" fmla="*/ 4259591 h 5973007"/>
              <a:gd name="connsiteX22504" fmla="*/ 5904134 w 6884782"/>
              <a:gd name="connsiteY22504" fmla="*/ 4275699 h 5973007"/>
              <a:gd name="connsiteX22505" fmla="*/ 5899177 w 6884782"/>
              <a:gd name="connsiteY22505" fmla="*/ 4275596 h 5973007"/>
              <a:gd name="connsiteX22506" fmla="*/ 5897938 w 6884782"/>
              <a:gd name="connsiteY22506" fmla="*/ 4276938 h 5973007"/>
              <a:gd name="connsiteX22507" fmla="*/ 5898712 w 6884782"/>
              <a:gd name="connsiteY22507" fmla="*/ 4278487 h 5973007"/>
              <a:gd name="connsiteX22508" fmla="*/ 5902740 w 6884782"/>
              <a:gd name="connsiteY22508" fmla="*/ 4281378 h 5973007"/>
              <a:gd name="connsiteX22509" fmla="*/ 5903514 w 6884782"/>
              <a:gd name="connsiteY22509" fmla="*/ 4282101 h 5973007"/>
              <a:gd name="connsiteX22510" fmla="*/ 5903669 w 6884782"/>
              <a:gd name="connsiteY22510" fmla="*/ 4282101 h 5973007"/>
              <a:gd name="connsiteX22511" fmla="*/ 5904908 w 6884782"/>
              <a:gd name="connsiteY22511" fmla="*/ 4277454 h 5973007"/>
              <a:gd name="connsiteX22512" fmla="*/ 5911259 w 6884782"/>
              <a:gd name="connsiteY22512" fmla="*/ 4286025 h 5973007"/>
              <a:gd name="connsiteX22513" fmla="*/ 5913428 w 6884782"/>
              <a:gd name="connsiteY22513" fmla="*/ 4285921 h 5973007"/>
              <a:gd name="connsiteX22514" fmla="*/ 5917919 w 6884782"/>
              <a:gd name="connsiteY22514" fmla="*/ 4288296 h 5973007"/>
              <a:gd name="connsiteX22515" fmla="*/ 5921017 w 6884782"/>
              <a:gd name="connsiteY22515" fmla="*/ 4295937 h 5973007"/>
              <a:gd name="connsiteX22516" fmla="*/ 5917764 w 6884782"/>
              <a:gd name="connsiteY22516" fmla="*/ 4297279 h 5973007"/>
              <a:gd name="connsiteX22517" fmla="*/ 5918229 w 6884782"/>
              <a:gd name="connsiteY22517" fmla="*/ 4298105 h 5973007"/>
              <a:gd name="connsiteX22518" fmla="*/ 5932015 w 6884782"/>
              <a:gd name="connsiteY22518" fmla="*/ 4319686 h 5973007"/>
              <a:gd name="connsiteX22519" fmla="*/ 5925819 w 6884782"/>
              <a:gd name="connsiteY22519" fmla="*/ 4318550 h 5973007"/>
              <a:gd name="connsiteX22520" fmla="*/ 5935888 w 6884782"/>
              <a:gd name="connsiteY22520" fmla="*/ 4326914 h 5973007"/>
              <a:gd name="connsiteX22521" fmla="*/ 5930156 w 6884782"/>
              <a:gd name="connsiteY22521" fmla="*/ 4322887 h 5973007"/>
              <a:gd name="connsiteX22522" fmla="*/ 5941309 w 6884782"/>
              <a:gd name="connsiteY22522" fmla="*/ 4339098 h 5973007"/>
              <a:gd name="connsiteX22523" fmla="*/ 5942238 w 6884782"/>
              <a:gd name="connsiteY22523" fmla="*/ 4336104 h 5973007"/>
              <a:gd name="connsiteX22524" fmla="*/ 5940224 w 6884782"/>
              <a:gd name="connsiteY22524" fmla="*/ 4335381 h 5973007"/>
              <a:gd name="connsiteX22525" fmla="*/ 5940689 w 6884782"/>
              <a:gd name="connsiteY22525" fmla="*/ 4331354 h 5973007"/>
              <a:gd name="connsiteX22526" fmla="*/ 5939760 w 6884782"/>
              <a:gd name="connsiteY22526" fmla="*/ 4328979 h 5973007"/>
              <a:gd name="connsiteX22527" fmla="*/ 5937746 w 6884782"/>
              <a:gd name="connsiteY22527" fmla="*/ 4323506 h 5973007"/>
              <a:gd name="connsiteX22528" fmla="*/ 5941309 w 6884782"/>
              <a:gd name="connsiteY22528" fmla="*/ 4320822 h 5973007"/>
              <a:gd name="connsiteX22529" fmla="*/ 5951377 w 6884782"/>
              <a:gd name="connsiteY22529" fmla="*/ 4332490 h 5973007"/>
              <a:gd name="connsiteX22530" fmla="*/ 5947350 w 6884782"/>
              <a:gd name="connsiteY22530" fmla="*/ 4335278 h 5973007"/>
              <a:gd name="connsiteX22531" fmla="*/ 5944717 w 6884782"/>
              <a:gd name="connsiteY22531" fmla="*/ 4334555 h 5973007"/>
              <a:gd name="connsiteX22532" fmla="*/ 5943478 w 6884782"/>
              <a:gd name="connsiteY22532" fmla="*/ 4336517 h 5973007"/>
              <a:gd name="connsiteX22533" fmla="*/ 5942703 w 6884782"/>
              <a:gd name="connsiteY22533" fmla="*/ 4336310 h 5973007"/>
              <a:gd name="connsiteX22534" fmla="*/ 5944407 w 6884782"/>
              <a:gd name="connsiteY22534" fmla="*/ 4339821 h 5973007"/>
              <a:gd name="connsiteX22535" fmla="*/ 5947350 w 6884782"/>
              <a:gd name="connsiteY22535" fmla="*/ 4344674 h 5973007"/>
              <a:gd name="connsiteX22536" fmla="*/ 5949673 w 6884782"/>
              <a:gd name="connsiteY22536" fmla="*/ 4348907 h 5973007"/>
              <a:gd name="connsiteX22537" fmla="*/ 5950138 w 6884782"/>
              <a:gd name="connsiteY22537" fmla="*/ 4348495 h 5973007"/>
              <a:gd name="connsiteX22538" fmla="*/ 5953855 w 6884782"/>
              <a:gd name="connsiteY22538" fmla="*/ 4348701 h 5973007"/>
              <a:gd name="connsiteX22539" fmla="*/ 5955249 w 6884782"/>
              <a:gd name="connsiteY22539" fmla="*/ 4349631 h 5973007"/>
              <a:gd name="connsiteX22540" fmla="*/ 5955095 w 6884782"/>
              <a:gd name="connsiteY22540" fmla="*/ 4354277 h 5973007"/>
              <a:gd name="connsiteX22541" fmla="*/ 5953855 w 6884782"/>
              <a:gd name="connsiteY22541" fmla="*/ 4355516 h 5973007"/>
              <a:gd name="connsiteX22542" fmla="*/ 5960826 w 6884782"/>
              <a:gd name="connsiteY22542" fmla="*/ 4363260 h 5973007"/>
              <a:gd name="connsiteX22543" fmla="*/ 5967796 w 6884782"/>
              <a:gd name="connsiteY22543" fmla="*/ 4365325 h 5973007"/>
              <a:gd name="connsiteX22544" fmla="*/ 5969035 w 6884782"/>
              <a:gd name="connsiteY22544" fmla="*/ 4372553 h 5973007"/>
              <a:gd name="connsiteX22545" fmla="*/ 5969809 w 6884782"/>
              <a:gd name="connsiteY22545" fmla="*/ 4372760 h 5973007"/>
              <a:gd name="connsiteX22546" fmla="*/ 5974456 w 6884782"/>
              <a:gd name="connsiteY22546" fmla="*/ 4367597 h 5973007"/>
              <a:gd name="connsiteX22547" fmla="*/ 5979413 w 6884782"/>
              <a:gd name="connsiteY22547" fmla="*/ 4363776 h 5973007"/>
              <a:gd name="connsiteX22548" fmla="*/ 5974921 w 6884782"/>
              <a:gd name="connsiteY22548" fmla="*/ 4359956 h 5973007"/>
              <a:gd name="connsiteX22549" fmla="*/ 5968261 w 6884782"/>
              <a:gd name="connsiteY22549" fmla="*/ 4350869 h 5973007"/>
              <a:gd name="connsiteX22550" fmla="*/ 5966712 w 6884782"/>
              <a:gd name="connsiteY22550" fmla="*/ 4347359 h 5973007"/>
              <a:gd name="connsiteX22551" fmla="*/ 5963614 w 6884782"/>
              <a:gd name="connsiteY22551" fmla="*/ 4347978 h 5973007"/>
              <a:gd name="connsiteX22552" fmla="*/ 5960671 w 6884782"/>
              <a:gd name="connsiteY22552" fmla="*/ 4345810 h 5973007"/>
              <a:gd name="connsiteX22553" fmla="*/ 5962994 w 6884782"/>
              <a:gd name="connsiteY22553" fmla="*/ 4340647 h 5973007"/>
              <a:gd name="connsiteX22554" fmla="*/ 5963769 w 6884782"/>
              <a:gd name="connsiteY22554" fmla="*/ 4340544 h 5973007"/>
              <a:gd name="connsiteX22555" fmla="*/ 5962065 w 6884782"/>
              <a:gd name="connsiteY22555" fmla="*/ 4329599 h 5973007"/>
              <a:gd name="connsiteX22556" fmla="*/ 5963304 w 6884782"/>
              <a:gd name="connsiteY22556" fmla="*/ 4318653 h 5973007"/>
              <a:gd name="connsiteX22557" fmla="*/ 5964078 w 6884782"/>
              <a:gd name="connsiteY22557" fmla="*/ 4317105 h 5973007"/>
              <a:gd name="connsiteX22558" fmla="*/ 5962530 w 6884782"/>
              <a:gd name="connsiteY22558" fmla="*/ 4313904 h 5973007"/>
              <a:gd name="connsiteX22559" fmla="*/ 5964388 w 6884782"/>
              <a:gd name="connsiteY22559" fmla="*/ 4309464 h 5973007"/>
              <a:gd name="connsiteX22560" fmla="*/ 5967177 w 6884782"/>
              <a:gd name="connsiteY22560" fmla="*/ 4310600 h 5973007"/>
              <a:gd name="connsiteX22561" fmla="*/ 5968106 w 6884782"/>
              <a:gd name="connsiteY22561" fmla="*/ 4308534 h 5973007"/>
              <a:gd name="connsiteX22562" fmla="*/ 5979723 w 6884782"/>
              <a:gd name="connsiteY22562" fmla="*/ 4309567 h 5973007"/>
              <a:gd name="connsiteX22563" fmla="*/ 5979878 w 6884782"/>
              <a:gd name="connsiteY22563" fmla="*/ 4309567 h 5973007"/>
              <a:gd name="connsiteX22564" fmla="*/ 5979878 w 6884782"/>
              <a:gd name="connsiteY22564" fmla="*/ 4307708 h 5973007"/>
              <a:gd name="connsiteX22565" fmla="*/ 5976160 w 6884782"/>
              <a:gd name="connsiteY22565" fmla="*/ 4304714 h 5973007"/>
              <a:gd name="connsiteX22566" fmla="*/ 5976625 w 6884782"/>
              <a:gd name="connsiteY22566" fmla="*/ 4297279 h 5973007"/>
              <a:gd name="connsiteX22567" fmla="*/ 5971978 w 6884782"/>
              <a:gd name="connsiteY22567" fmla="*/ 4287573 h 5973007"/>
              <a:gd name="connsiteX22568" fmla="*/ 5971204 w 6884782"/>
              <a:gd name="connsiteY22568" fmla="*/ 4291910 h 5973007"/>
              <a:gd name="connsiteX22569" fmla="*/ 5967796 w 6884782"/>
              <a:gd name="connsiteY22569" fmla="*/ 4282514 h 5973007"/>
              <a:gd name="connsiteX22570" fmla="*/ 5960516 w 6884782"/>
              <a:gd name="connsiteY22570" fmla="*/ 4274253 h 5973007"/>
              <a:gd name="connsiteX22571" fmla="*/ 5962375 w 6884782"/>
              <a:gd name="connsiteY22571" fmla="*/ 4271052 h 5973007"/>
              <a:gd name="connsiteX22572" fmla="*/ 5956643 w 6884782"/>
              <a:gd name="connsiteY22572" fmla="*/ 4270742 h 5973007"/>
              <a:gd name="connsiteX22573" fmla="*/ 5960826 w 6884782"/>
              <a:gd name="connsiteY22573" fmla="*/ 4266819 h 5973007"/>
              <a:gd name="connsiteX22574" fmla="*/ 5945801 w 6884782"/>
              <a:gd name="connsiteY22574" fmla="*/ 4259901 h 5973007"/>
              <a:gd name="connsiteX22575" fmla="*/ 5946885 w 6884782"/>
              <a:gd name="connsiteY22575" fmla="*/ 4250401 h 5973007"/>
              <a:gd name="connsiteX22576" fmla="*/ 5942393 w 6884782"/>
              <a:gd name="connsiteY22576" fmla="*/ 4244619 h 5973007"/>
              <a:gd name="connsiteX22577" fmla="*/ 5935732 w 6884782"/>
              <a:gd name="connsiteY22577" fmla="*/ 4244826 h 5973007"/>
              <a:gd name="connsiteX22578" fmla="*/ 5928762 w 6884782"/>
              <a:gd name="connsiteY22578" fmla="*/ 4231299 h 5973007"/>
              <a:gd name="connsiteX22579" fmla="*/ 5928143 w 6884782"/>
              <a:gd name="connsiteY22579" fmla="*/ 4222109 h 5973007"/>
              <a:gd name="connsiteX22580" fmla="*/ 5925355 w 6884782"/>
              <a:gd name="connsiteY22580" fmla="*/ 4217049 h 5973007"/>
              <a:gd name="connsiteX22581" fmla="*/ 5923960 w 6884782"/>
              <a:gd name="connsiteY22581" fmla="*/ 4218805 h 5973007"/>
              <a:gd name="connsiteX22582" fmla="*/ 5925199 w 6884782"/>
              <a:gd name="connsiteY22582" fmla="*/ 4219424 h 5973007"/>
              <a:gd name="connsiteX22583" fmla="*/ 5927058 w 6884782"/>
              <a:gd name="connsiteY22583" fmla="*/ 4223245 h 5973007"/>
              <a:gd name="connsiteX22584" fmla="*/ 5923806 w 6884782"/>
              <a:gd name="connsiteY22584" fmla="*/ 4220044 h 5973007"/>
              <a:gd name="connsiteX22585" fmla="*/ 5919778 w 6884782"/>
              <a:gd name="connsiteY22585" fmla="*/ 4232744 h 5973007"/>
              <a:gd name="connsiteX22586" fmla="*/ 5920863 w 6884782"/>
              <a:gd name="connsiteY22586" fmla="*/ 4237597 h 5973007"/>
              <a:gd name="connsiteX22587" fmla="*/ 5923341 w 6884782"/>
              <a:gd name="connsiteY22587" fmla="*/ 4237391 h 5973007"/>
              <a:gd name="connsiteX22588" fmla="*/ 5925664 w 6884782"/>
              <a:gd name="connsiteY22588" fmla="*/ 4238113 h 5973007"/>
              <a:gd name="connsiteX22589" fmla="*/ 5923806 w 6884782"/>
              <a:gd name="connsiteY22589" fmla="*/ 4239972 h 5973007"/>
              <a:gd name="connsiteX22590" fmla="*/ 5922721 w 6884782"/>
              <a:gd name="connsiteY22590" fmla="*/ 4240282 h 5973007"/>
              <a:gd name="connsiteX22591" fmla="*/ 5922411 w 6884782"/>
              <a:gd name="connsiteY22591" fmla="*/ 4241108 h 5973007"/>
              <a:gd name="connsiteX22592" fmla="*/ 5921637 w 6884782"/>
              <a:gd name="connsiteY22592" fmla="*/ 4240695 h 5973007"/>
              <a:gd name="connsiteX22593" fmla="*/ 5921482 w 6884782"/>
              <a:gd name="connsiteY22593" fmla="*/ 4240798 h 5973007"/>
              <a:gd name="connsiteX22594" fmla="*/ 5922411 w 6884782"/>
              <a:gd name="connsiteY22594" fmla="*/ 4245341 h 5973007"/>
              <a:gd name="connsiteX22595" fmla="*/ 5922566 w 6884782"/>
              <a:gd name="connsiteY22595" fmla="*/ 4245341 h 5973007"/>
              <a:gd name="connsiteX22596" fmla="*/ 5930776 w 6884782"/>
              <a:gd name="connsiteY22596" fmla="*/ 4246684 h 5973007"/>
              <a:gd name="connsiteX22597" fmla="*/ 5943632 w 6884782"/>
              <a:gd name="connsiteY22597" fmla="*/ 4270020 h 5973007"/>
              <a:gd name="connsiteX22598" fmla="*/ 5941619 w 6884782"/>
              <a:gd name="connsiteY22598" fmla="*/ 4271982 h 5973007"/>
              <a:gd name="connsiteX22599" fmla="*/ 5933254 w 6884782"/>
              <a:gd name="connsiteY22599" fmla="*/ 4273531 h 5973007"/>
              <a:gd name="connsiteX22600" fmla="*/ 5914047 w 6884782"/>
              <a:gd name="connsiteY22600" fmla="*/ 4259178 h 5973007"/>
              <a:gd name="connsiteX22601" fmla="*/ 5912808 w 6884782"/>
              <a:gd name="connsiteY22601" fmla="*/ 4253705 h 5973007"/>
              <a:gd name="connsiteX22602" fmla="*/ 5913428 w 6884782"/>
              <a:gd name="connsiteY22602" fmla="*/ 4248336 h 5973007"/>
              <a:gd name="connsiteX22603" fmla="*/ 5912343 w 6884782"/>
              <a:gd name="connsiteY22603" fmla="*/ 4248233 h 5973007"/>
              <a:gd name="connsiteX22604" fmla="*/ 5909865 w 6884782"/>
              <a:gd name="connsiteY22604" fmla="*/ 4245445 h 5973007"/>
              <a:gd name="connsiteX22605" fmla="*/ 5909865 w 6884782"/>
              <a:gd name="connsiteY22605" fmla="*/ 4245135 h 5973007"/>
              <a:gd name="connsiteX22606" fmla="*/ 5909090 w 6884782"/>
              <a:gd name="connsiteY22606" fmla="*/ 4245135 h 5973007"/>
              <a:gd name="connsiteX22607" fmla="*/ 5908316 w 6884782"/>
              <a:gd name="connsiteY22607" fmla="*/ 4242760 h 5973007"/>
              <a:gd name="connsiteX22608" fmla="*/ 5906147 w 6884782"/>
              <a:gd name="connsiteY22608" fmla="*/ 4243380 h 5973007"/>
              <a:gd name="connsiteX22609" fmla="*/ 5896698 w 6884782"/>
              <a:gd name="connsiteY22609" fmla="*/ 4237081 h 5973007"/>
              <a:gd name="connsiteX22610" fmla="*/ 5896079 w 6884782"/>
              <a:gd name="connsiteY22610" fmla="*/ 4231918 h 5973007"/>
              <a:gd name="connsiteX22611" fmla="*/ 5896389 w 6884782"/>
              <a:gd name="connsiteY22611" fmla="*/ 4231402 h 5973007"/>
              <a:gd name="connsiteX22612" fmla="*/ 5892981 w 6884782"/>
              <a:gd name="connsiteY22612" fmla="*/ 4230576 h 5973007"/>
              <a:gd name="connsiteX22613" fmla="*/ 5894530 w 6884782"/>
              <a:gd name="connsiteY22613" fmla="*/ 4225207 h 5973007"/>
              <a:gd name="connsiteX22614" fmla="*/ 5902430 w 6884782"/>
              <a:gd name="connsiteY22614" fmla="*/ 4226962 h 5973007"/>
              <a:gd name="connsiteX22615" fmla="*/ 5903824 w 6884782"/>
              <a:gd name="connsiteY22615" fmla="*/ 4227581 h 5973007"/>
              <a:gd name="connsiteX22616" fmla="*/ 5906147 w 6884782"/>
              <a:gd name="connsiteY22616" fmla="*/ 4227788 h 5973007"/>
              <a:gd name="connsiteX22617" fmla="*/ 5910639 w 6884782"/>
              <a:gd name="connsiteY22617" fmla="*/ 4231505 h 5973007"/>
              <a:gd name="connsiteX22618" fmla="*/ 5912033 w 6884782"/>
              <a:gd name="connsiteY22618" fmla="*/ 4236668 h 5973007"/>
              <a:gd name="connsiteX22619" fmla="*/ 5911414 w 6884782"/>
              <a:gd name="connsiteY22619" fmla="*/ 4239559 h 5973007"/>
              <a:gd name="connsiteX22620" fmla="*/ 5915751 w 6884782"/>
              <a:gd name="connsiteY22620" fmla="*/ 4237391 h 5973007"/>
              <a:gd name="connsiteX22621" fmla="*/ 5916061 w 6884782"/>
              <a:gd name="connsiteY22621" fmla="*/ 4238630 h 5973007"/>
              <a:gd name="connsiteX22622" fmla="*/ 5917145 w 6884782"/>
              <a:gd name="connsiteY22622" fmla="*/ 4238320 h 5973007"/>
              <a:gd name="connsiteX22623" fmla="*/ 5916370 w 6884782"/>
              <a:gd name="connsiteY22623" fmla="*/ 4236048 h 5973007"/>
              <a:gd name="connsiteX22624" fmla="*/ 5916525 w 6884782"/>
              <a:gd name="connsiteY22624" fmla="*/ 4229027 h 5973007"/>
              <a:gd name="connsiteX22625" fmla="*/ 5913428 w 6884782"/>
              <a:gd name="connsiteY22625" fmla="*/ 4226962 h 5973007"/>
              <a:gd name="connsiteX22626" fmla="*/ 5911259 w 6884782"/>
              <a:gd name="connsiteY22626" fmla="*/ 4224277 h 5973007"/>
              <a:gd name="connsiteX22627" fmla="*/ 5910794 w 6884782"/>
              <a:gd name="connsiteY22627" fmla="*/ 4224484 h 5973007"/>
              <a:gd name="connsiteX22628" fmla="*/ 5894840 w 6884782"/>
              <a:gd name="connsiteY22628" fmla="*/ 4219011 h 5973007"/>
              <a:gd name="connsiteX22629" fmla="*/ 5894220 w 6884782"/>
              <a:gd name="connsiteY22629" fmla="*/ 4218289 h 5973007"/>
              <a:gd name="connsiteX22630" fmla="*/ 5894685 w 6884782"/>
              <a:gd name="connsiteY22630" fmla="*/ 4219631 h 5973007"/>
              <a:gd name="connsiteX22631" fmla="*/ 5893756 w 6884782"/>
              <a:gd name="connsiteY22631" fmla="*/ 4221386 h 5973007"/>
              <a:gd name="connsiteX22632" fmla="*/ 5890967 w 6884782"/>
              <a:gd name="connsiteY22632" fmla="*/ 4224277 h 5973007"/>
              <a:gd name="connsiteX22633" fmla="*/ 5888024 w 6884782"/>
              <a:gd name="connsiteY22633" fmla="*/ 4222729 h 5973007"/>
              <a:gd name="connsiteX22634" fmla="*/ 5887405 w 6884782"/>
              <a:gd name="connsiteY22634" fmla="*/ 4219011 h 5973007"/>
              <a:gd name="connsiteX22635" fmla="*/ 5890193 w 6884782"/>
              <a:gd name="connsiteY22635" fmla="*/ 4212816 h 5973007"/>
              <a:gd name="connsiteX22636" fmla="*/ 5891432 w 6884782"/>
              <a:gd name="connsiteY22636" fmla="*/ 4213745 h 5973007"/>
              <a:gd name="connsiteX22637" fmla="*/ 5892981 w 6884782"/>
              <a:gd name="connsiteY22637" fmla="*/ 4211164 h 5973007"/>
              <a:gd name="connsiteX22638" fmla="*/ 5892826 w 6884782"/>
              <a:gd name="connsiteY22638" fmla="*/ 4211267 h 5973007"/>
              <a:gd name="connsiteX22639" fmla="*/ 5892052 w 6884782"/>
              <a:gd name="connsiteY22639" fmla="*/ 4204349 h 5973007"/>
              <a:gd name="connsiteX22640" fmla="*/ 5889418 w 6884782"/>
              <a:gd name="connsiteY22640" fmla="*/ 4201251 h 5973007"/>
              <a:gd name="connsiteX22641" fmla="*/ 5886475 w 6884782"/>
              <a:gd name="connsiteY22641" fmla="*/ 4201044 h 5973007"/>
              <a:gd name="connsiteX22642" fmla="*/ 5873619 w 6884782"/>
              <a:gd name="connsiteY22642" fmla="*/ 4185660 h 5973007"/>
              <a:gd name="connsiteX22643" fmla="*/ 5884152 w 6884782"/>
              <a:gd name="connsiteY22643" fmla="*/ 4191545 h 5973007"/>
              <a:gd name="connsiteX22644" fmla="*/ 5889109 w 6884782"/>
              <a:gd name="connsiteY22644" fmla="*/ 4195675 h 5973007"/>
              <a:gd name="connsiteX22645" fmla="*/ 5889883 w 6884782"/>
              <a:gd name="connsiteY22645" fmla="*/ 4196811 h 5973007"/>
              <a:gd name="connsiteX22646" fmla="*/ 5890503 w 6884782"/>
              <a:gd name="connsiteY22646" fmla="*/ 4195262 h 5973007"/>
              <a:gd name="connsiteX22647" fmla="*/ 5884307 w 6884782"/>
              <a:gd name="connsiteY22647" fmla="*/ 4185246 h 5973007"/>
              <a:gd name="connsiteX22648" fmla="*/ 5877646 w 6884782"/>
              <a:gd name="connsiteY22648" fmla="*/ 4187725 h 5973007"/>
              <a:gd name="connsiteX22649" fmla="*/ 5872845 w 6884782"/>
              <a:gd name="connsiteY22649" fmla="*/ 4163563 h 5973007"/>
              <a:gd name="connsiteX22650" fmla="*/ 5871915 w 6884782"/>
              <a:gd name="connsiteY22650" fmla="*/ 4159639 h 5973007"/>
              <a:gd name="connsiteX22651" fmla="*/ 5871141 w 6884782"/>
              <a:gd name="connsiteY22651" fmla="*/ 4159742 h 5973007"/>
              <a:gd name="connsiteX22652" fmla="*/ 5869747 w 6884782"/>
              <a:gd name="connsiteY22652" fmla="*/ 4158606 h 5973007"/>
              <a:gd name="connsiteX22653" fmla="*/ 5867113 w 6884782"/>
              <a:gd name="connsiteY22653" fmla="*/ 4159019 h 5973007"/>
              <a:gd name="connsiteX22654" fmla="*/ 5866494 w 6884782"/>
              <a:gd name="connsiteY22654" fmla="*/ 4157574 h 5973007"/>
              <a:gd name="connsiteX22655" fmla="*/ 5868817 w 6884782"/>
              <a:gd name="connsiteY22655" fmla="*/ 4157264 h 5973007"/>
              <a:gd name="connsiteX22656" fmla="*/ 5871141 w 6884782"/>
              <a:gd name="connsiteY22656" fmla="*/ 4156748 h 5973007"/>
              <a:gd name="connsiteX22657" fmla="*/ 5869902 w 6884782"/>
              <a:gd name="connsiteY22657" fmla="*/ 4151172 h 5973007"/>
              <a:gd name="connsiteX22658" fmla="*/ 5864325 w 6884782"/>
              <a:gd name="connsiteY22658" fmla="*/ 4141363 h 5973007"/>
              <a:gd name="connsiteX22659" fmla="*/ 5863706 w 6884782"/>
              <a:gd name="connsiteY22659" fmla="*/ 4144357 h 5973007"/>
              <a:gd name="connsiteX22660" fmla="*/ 5864016 w 6884782"/>
              <a:gd name="connsiteY22660" fmla="*/ 4146422 h 5973007"/>
              <a:gd name="connsiteX22661" fmla="*/ 5866804 w 6884782"/>
              <a:gd name="connsiteY22661" fmla="*/ 4147455 h 5973007"/>
              <a:gd name="connsiteX22662" fmla="*/ 5867113 w 6884782"/>
              <a:gd name="connsiteY22662" fmla="*/ 4151482 h 5973007"/>
              <a:gd name="connsiteX22663" fmla="*/ 5863861 w 6884782"/>
              <a:gd name="connsiteY22663" fmla="*/ 4153134 h 5973007"/>
              <a:gd name="connsiteX22664" fmla="*/ 5857975 w 6884782"/>
              <a:gd name="connsiteY22664" fmla="*/ 4149004 h 5973007"/>
              <a:gd name="connsiteX22665" fmla="*/ 5857665 w 6884782"/>
              <a:gd name="connsiteY22665" fmla="*/ 4146835 h 5973007"/>
              <a:gd name="connsiteX22666" fmla="*/ 5858904 w 6884782"/>
              <a:gd name="connsiteY22666" fmla="*/ 4145390 h 5973007"/>
              <a:gd name="connsiteX22667" fmla="*/ 5857975 w 6884782"/>
              <a:gd name="connsiteY22667" fmla="*/ 4145493 h 5973007"/>
              <a:gd name="connsiteX22668" fmla="*/ 5856890 w 6884782"/>
              <a:gd name="connsiteY22668" fmla="*/ 4142085 h 5973007"/>
              <a:gd name="connsiteX22669" fmla="*/ 5856735 w 6884782"/>
              <a:gd name="connsiteY22669" fmla="*/ 4133308 h 5973007"/>
              <a:gd name="connsiteX22670" fmla="*/ 5808717 w 6884782"/>
              <a:gd name="connsiteY22670" fmla="*/ 4131450 h 5973007"/>
              <a:gd name="connsiteX22671" fmla="*/ 5812900 w 6884782"/>
              <a:gd name="connsiteY22671" fmla="*/ 4136200 h 5973007"/>
              <a:gd name="connsiteX22672" fmla="*/ 5810112 w 6884782"/>
              <a:gd name="connsiteY22672" fmla="*/ 4138059 h 5973007"/>
              <a:gd name="connsiteX22673" fmla="*/ 5807478 w 6884782"/>
              <a:gd name="connsiteY22673" fmla="*/ 4136406 h 5973007"/>
              <a:gd name="connsiteX22674" fmla="*/ 5808717 w 6884782"/>
              <a:gd name="connsiteY22674" fmla="*/ 4131450 h 5973007"/>
              <a:gd name="connsiteX22675" fmla="*/ 5674268 w 6884782"/>
              <a:gd name="connsiteY22675" fmla="*/ 4129592 h 5973007"/>
              <a:gd name="connsiteX22676" fmla="*/ 5681702 w 6884782"/>
              <a:gd name="connsiteY22676" fmla="*/ 4129901 h 5973007"/>
              <a:gd name="connsiteX22677" fmla="*/ 5682632 w 6884782"/>
              <a:gd name="connsiteY22677" fmla="*/ 4132586 h 5973007"/>
              <a:gd name="connsiteX22678" fmla="*/ 5677675 w 6884782"/>
              <a:gd name="connsiteY22678" fmla="*/ 4135477 h 5973007"/>
              <a:gd name="connsiteX22679" fmla="*/ 5675352 w 6884782"/>
              <a:gd name="connsiteY22679" fmla="*/ 4133928 h 5973007"/>
              <a:gd name="connsiteX22680" fmla="*/ 5674268 w 6884782"/>
              <a:gd name="connsiteY22680" fmla="*/ 4129592 h 5973007"/>
              <a:gd name="connsiteX22681" fmla="*/ 5178290 w 6884782"/>
              <a:gd name="connsiteY22681" fmla="*/ 4128972 h 5973007"/>
              <a:gd name="connsiteX22682" fmla="*/ 5188358 w 6884782"/>
              <a:gd name="connsiteY22682" fmla="*/ 4129901 h 5973007"/>
              <a:gd name="connsiteX22683" fmla="*/ 5196877 w 6884782"/>
              <a:gd name="connsiteY22683" fmla="*/ 4136613 h 5973007"/>
              <a:gd name="connsiteX22684" fmla="*/ 5191920 w 6884782"/>
              <a:gd name="connsiteY22684" fmla="*/ 4137129 h 5973007"/>
              <a:gd name="connsiteX22685" fmla="*/ 5178290 w 6884782"/>
              <a:gd name="connsiteY22685" fmla="*/ 4128972 h 5973007"/>
              <a:gd name="connsiteX22686" fmla="*/ 5296940 w 6884782"/>
              <a:gd name="connsiteY22686" fmla="*/ 4128352 h 5973007"/>
              <a:gd name="connsiteX22687" fmla="*/ 5299109 w 6884782"/>
              <a:gd name="connsiteY22687" fmla="*/ 4131657 h 5973007"/>
              <a:gd name="connsiteX22688" fmla="*/ 5294462 w 6884782"/>
              <a:gd name="connsiteY22688" fmla="*/ 4133722 h 5973007"/>
              <a:gd name="connsiteX22689" fmla="*/ 5292293 w 6884782"/>
              <a:gd name="connsiteY22689" fmla="*/ 4130314 h 5973007"/>
              <a:gd name="connsiteX22690" fmla="*/ 5296940 w 6884782"/>
              <a:gd name="connsiteY22690" fmla="*/ 4128352 h 5973007"/>
              <a:gd name="connsiteX22691" fmla="*/ 5651343 w 6884782"/>
              <a:gd name="connsiteY22691" fmla="*/ 4127939 h 5973007"/>
              <a:gd name="connsiteX22692" fmla="*/ 5652892 w 6884782"/>
              <a:gd name="connsiteY22692" fmla="*/ 4128972 h 5973007"/>
              <a:gd name="connsiteX22693" fmla="*/ 5652582 w 6884782"/>
              <a:gd name="connsiteY22693" fmla="*/ 4131346 h 5973007"/>
              <a:gd name="connsiteX22694" fmla="*/ 5648710 w 6884782"/>
              <a:gd name="connsiteY22694" fmla="*/ 4134031 h 5973007"/>
              <a:gd name="connsiteX22695" fmla="*/ 5647006 w 6884782"/>
              <a:gd name="connsiteY22695" fmla="*/ 4132896 h 5973007"/>
              <a:gd name="connsiteX22696" fmla="*/ 5651343 w 6884782"/>
              <a:gd name="connsiteY22696" fmla="*/ 4127939 h 5973007"/>
              <a:gd name="connsiteX22697" fmla="*/ 5308093 w 6884782"/>
              <a:gd name="connsiteY22697" fmla="*/ 4127010 h 5973007"/>
              <a:gd name="connsiteX22698" fmla="*/ 5311655 w 6884782"/>
              <a:gd name="connsiteY22698" fmla="*/ 4127113 h 5973007"/>
              <a:gd name="connsiteX22699" fmla="*/ 5312739 w 6884782"/>
              <a:gd name="connsiteY22699" fmla="*/ 4137852 h 5973007"/>
              <a:gd name="connsiteX22700" fmla="*/ 5307473 w 6884782"/>
              <a:gd name="connsiteY22700" fmla="*/ 4137439 h 5973007"/>
              <a:gd name="connsiteX22701" fmla="*/ 5308093 w 6884782"/>
              <a:gd name="connsiteY22701" fmla="*/ 4127010 h 5973007"/>
              <a:gd name="connsiteX22702" fmla="*/ 5798959 w 6884782"/>
              <a:gd name="connsiteY22702" fmla="*/ 4126597 h 5973007"/>
              <a:gd name="connsiteX22703" fmla="*/ 5800972 w 6884782"/>
              <a:gd name="connsiteY22703" fmla="*/ 4131553 h 5973007"/>
              <a:gd name="connsiteX22704" fmla="*/ 5790285 w 6884782"/>
              <a:gd name="connsiteY22704" fmla="*/ 4136097 h 5973007"/>
              <a:gd name="connsiteX22705" fmla="*/ 5787342 w 6884782"/>
              <a:gd name="connsiteY22705" fmla="*/ 4134444 h 5973007"/>
              <a:gd name="connsiteX22706" fmla="*/ 5798959 w 6884782"/>
              <a:gd name="connsiteY22706" fmla="*/ 4126597 h 5973007"/>
              <a:gd name="connsiteX22707" fmla="*/ 5152112 w 6884782"/>
              <a:gd name="connsiteY22707" fmla="*/ 4125564 h 5973007"/>
              <a:gd name="connsiteX22708" fmla="*/ 5156914 w 6884782"/>
              <a:gd name="connsiteY22708" fmla="*/ 4125668 h 5973007"/>
              <a:gd name="connsiteX22709" fmla="*/ 5155520 w 6884782"/>
              <a:gd name="connsiteY22709" fmla="*/ 4129488 h 5973007"/>
              <a:gd name="connsiteX22710" fmla="*/ 5152112 w 6884782"/>
              <a:gd name="connsiteY22710" fmla="*/ 4128249 h 5973007"/>
              <a:gd name="connsiteX22711" fmla="*/ 5152112 w 6884782"/>
              <a:gd name="connsiteY22711" fmla="*/ 4125564 h 5973007"/>
              <a:gd name="connsiteX22712" fmla="*/ 5168066 w 6884782"/>
              <a:gd name="connsiteY22712" fmla="*/ 4123086 h 5973007"/>
              <a:gd name="connsiteX22713" fmla="*/ 5174417 w 6884782"/>
              <a:gd name="connsiteY22713" fmla="*/ 4127320 h 5973007"/>
              <a:gd name="connsiteX22714" fmla="*/ 5172404 w 6884782"/>
              <a:gd name="connsiteY22714" fmla="*/ 4134031 h 5973007"/>
              <a:gd name="connsiteX22715" fmla="*/ 5169305 w 6884782"/>
              <a:gd name="connsiteY22715" fmla="*/ 4135477 h 5973007"/>
              <a:gd name="connsiteX22716" fmla="*/ 5166828 w 6884782"/>
              <a:gd name="connsiteY22716" fmla="*/ 4135477 h 5973007"/>
              <a:gd name="connsiteX22717" fmla="*/ 5163729 w 6884782"/>
              <a:gd name="connsiteY22717" fmla="*/ 4132483 h 5973007"/>
              <a:gd name="connsiteX22718" fmla="*/ 5168066 w 6884782"/>
              <a:gd name="connsiteY22718" fmla="*/ 4123086 h 5973007"/>
              <a:gd name="connsiteX22719" fmla="*/ 1388296 w 6884782"/>
              <a:gd name="connsiteY22719" fmla="*/ 4123068 h 5973007"/>
              <a:gd name="connsiteX22720" fmla="*/ 1383650 w 6884782"/>
              <a:gd name="connsiteY22720" fmla="*/ 4125753 h 5973007"/>
              <a:gd name="connsiteX22721" fmla="*/ 1387058 w 6884782"/>
              <a:gd name="connsiteY22721" fmla="*/ 4125753 h 5973007"/>
              <a:gd name="connsiteX22722" fmla="*/ 1358557 w 6884782"/>
              <a:gd name="connsiteY22722" fmla="*/ 4141448 h 5973007"/>
              <a:gd name="connsiteX22723" fmla="*/ 1354685 w 6884782"/>
              <a:gd name="connsiteY22723" fmla="*/ 4143616 h 5973007"/>
              <a:gd name="connsiteX22724" fmla="*/ 1348953 w 6884782"/>
              <a:gd name="connsiteY22724" fmla="*/ 4146301 h 5973007"/>
              <a:gd name="connsiteX22725" fmla="*/ 1348334 w 6884782"/>
              <a:gd name="connsiteY22725" fmla="*/ 4146301 h 5973007"/>
              <a:gd name="connsiteX22726" fmla="*/ 1348334 w 6884782"/>
              <a:gd name="connsiteY22726" fmla="*/ 4146920 h 5973007"/>
              <a:gd name="connsiteX22727" fmla="*/ 1347249 w 6884782"/>
              <a:gd name="connsiteY22727" fmla="*/ 4147437 h 5973007"/>
              <a:gd name="connsiteX22728" fmla="*/ 1342602 w 6884782"/>
              <a:gd name="connsiteY22728" fmla="*/ 4148985 h 5973007"/>
              <a:gd name="connsiteX22729" fmla="*/ 1338730 w 6884782"/>
              <a:gd name="connsiteY22729" fmla="*/ 4150121 h 5973007"/>
              <a:gd name="connsiteX22730" fmla="*/ 1336406 w 6884782"/>
              <a:gd name="connsiteY22730" fmla="*/ 4150638 h 5973007"/>
              <a:gd name="connsiteX22731" fmla="*/ 1335322 w 6884782"/>
              <a:gd name="connsiteY22731" fmla="*/ 4150638 h 5973007"/>
              <a:gd name="connsiteX22732" fmla="*/ 1333463 w 6884782"/>
              <a:gd name="connsiteY22732" fmla="*/ 4150638 h 5973007"/>
              <a:gd name="connsiteX22733" fmla="*/ 1332534 w 6884782"/>
              <a:gd name="connsiteY22733" fmla="*/ 4151877 h 5973007"/>
              <a:gd name="connsiteX22734" fmla="*/ 1332999 w 6884782"/>
              <a:gd name="connsiteY22734" fmla="*/ 4152083 h 5973007"/>
              <a:gd name="connsiteX22735" fmla="*/ 1333309 w 6884782"/>
              <a:gd name="connsiteY22735" fmla="*/ 4151877 h 5973007"/>
              <a:gd name="connsiteX22736" fmla="*/ 1335322 w 6884782"/>
              <a:gd name="connsiteY22736" fmla="*/ 4152290 h 5973007"/>
              <a:gd name="connsiteX22737" fmla="*/ 1335787 w 6884782"/>
              <a:gd name="connsiteY22737" fmla="*/ 4152290 h 5973007"/>
              <a:gd name="connsiteX22738" fmla="*/ 1336406 w 6884782"/>
              <a:gd name="connsiteY22738" fmla="*/ 4151774 h 5973007"/>
              <a:gd name="connsiteX22739" fmla="*/ 1335787 w 6884782"/>
              <a:gd name="connsiteY22739" fmla="*/ 4153322 h 5973007"/>
              <a:gd name="connsiteX22740" fmla="*/ 1335633 w 6884782"/>
              <a:gd name="connsiteY22740" fmla="*/ 4153529 h 5973007"/>
              <a:gd name="connsiteX22741" fmla="*/ 1335322 w 6884782"/>
              <a:gd name="connsiteY22741" fmla="*/ 4154768 h 5973007"/>
              <a:gd name="connsiteX22742" fmla="*/ 1329126 w 6884782"/>
              <a:gd name="connsiteY22742" fmla="*/ 4157453 h 5973007"/>
              <a:gd name="connsiteX22743" fmla="*/ 1327732 w 6884782"/>
              <a:gd name="connsiteY22743" fmla="*/ 4157246 h 5973007"/>
              <a:gd name="connsiteX22744" fmla="*/ 1329126 w 6884782"/>
              <a:gd name="connsiteY22744" fmla="*/ 4155594 h 5973007"/>
              <a:gd name="connsiteX22745" fmla="*/ 1327268 w 6884782"/>
              <a:gd name="connsiteY22745" fmla="*/ 4154974 h 5973007"/>
              <a:gd name="connsiteX22746" fmla="*/ 1313636 w 6884782"/>
              <a:gd name="connsiteY22746" fmla="*/ 4163648 h 5973007"/>
              <a:gd name="connsiteX22747" fmla="*/ 1306201 w 6884782"/>
              <a:gd name="connsiteY22747" fmla="*/ 4166333 h 5973007"/>
              <a:gd name="connsiteX22748" fmla="*/ 1304343 w 6884782"/>
              <a:gd name="connsiteY22748" fmla="*/ 4167365 h 5973007"/>
              <a:gd name="connsiteX22749" fmla="*/ 1302794 w 6884782"/>
              <a:gd name="connsiteY22749" fmla="*/ 4168501 h 5973007"/>
              <a:gd name="connsiteX22750" fmla="*/ 1299386 w 6884782"/>
              <a:gd name="connsiteY22750" fmla="*/ 4170670 h 5973007"/>
              <a:gd name="connsiteX22751" fmla="*/ 1289628 w 6884782"/>
              <a:gd name="connsiteY22751" fmla="*/ 4170670 h 5973007"/>
              <a:gd name="connsiteX22752" fmla="*/ 1282193 w 6884782"/>
              <a:gd name="connsiteY22752" fmla="*/ 4171186 h 5973007"/>
              <a:gd name="connsiteX22753" fmla="*/ 1281573 w 6884782"/>
              <a:gd name="connsiteY22753" fmla="*/ 4176039 h 5973007"/>
              <a:gd name="connsiteX22754" fmla="*/ 1271505 w 6884782"/>
              <a:gd name="connsiteY22754" fmla="*/ 4180169 h 5973007"/>
              <a:gd name="connsiteX22755" fmla="*/ 1267322 w 6884782"/>
              <a:gd name="connsiteY22755" fmla="*/ 4181821 h 5973007"/>
              <a:gd name="connsiteX22756" fmla="*/ 1263295 w 6884782"/>
              <a:gd name="connsiteY22756" fmla="*/ 4187500 h 5973007"/>
              <a:gd name="connsiteX22757" fmla="*/ 1261591 w 6884782"/>
              <a:gd name="connsiteY22757" fmla="*/ 4186984 h 5973007"/>
              <a:gd name="connsiteX22758" fmla="*/ 1261902 w 6884782"/>
              <a:gd name="connsiteY22758" fmla="*/ 4187707 h 5973007"/>
              <a:gd name="connsiteX22759" fmla="*/ 1262985 w 6884782"/>
              <a:gd name="connsiteY22759" fmla="*/ 4187500 h 5973007"/>
              <a:gd name="connsiteX22760" fmla="*/ 1264070 w 6884782"/>
              <a:gd name="connsiteY22760" fmla="*/ 4187913 h 5973007"/>
              <a:gd name="connsiteX22761" fmla="*/ 1256945 w 6884782"/>
              <a:gd name="connsiteY22761" fmla="*/ 4190495 h 5973007"/>
              <a:gd name="connsiteX22762" fmla="*/ 1259733 w 6884782"/>
              <a:gd name="connsiteY22762" fmla="*/ 4188223 h 5973007"/>
              <a:gd name="connsiteX22763" fmla="*/ 1259888 w 6884782"/>
              <a:gd name="connsiteY22763" fmla="*/ 4188120 h 5973007"/>
              <a:gd name="connsiteX22764" fmla="*/ 1259888 w 6884782"/>
              <a:gd name="connsiteY22764" fmla="*/ 4187190 h 5973007"/>
              <a:gd name="connsiteX22765" fmla="*/ 1258184 w 6884782"/>
              <a:gd name="connsiteY22765" fmla="*/ 4186365 h 5973007"/>
              <a:gd name="connsiteX22766" fmla="*/ 1256015 w 6884782"/>
              <a:gd name="connsiteY22766" fmla="*/ 4188430 h 5973007"/>
              <a:gd name="connsiteX22767" fmla="*/ 1252607 w 6884782"/>
              <a:gd name="connsiteY22767" fmla="*/ 4189049 h 5973007"/>
              <a:gd name="connsiteX22768" fmla="*/ 1246877 w 6884782"/>
              <a:gd name="connsiteY22768" fmla="*/ 4193386 h 5973007"/>
              <a:gd name="connsiteX22769" fmla="*/ 1244553 w 6884782"/>
              <a:gd name="connsiteY22769" fmla="*/ 4190598 h 5973007"/>
              <a:gd name="connsiteX22770" fmla="*/ 1241145 w 6884782"/>
              <a:gd name="connsiteY22770" fmla="*/ 4193386 h 5973007"/>
              <a:gd name="connsiteX22771" fmla="*/ 1242075 w 6884782"/>
              <a:gd name="connsiteY22771" fmla="*/ 4199994 h 5973007"/>
              <a:gd name="connsiteX22772" fmla="*/ 1241920 w 6884782"/>
              <a:gd name="connsiteY22772" fmla="*/ 4201337 h 5973007"/>
              <a:gd name="connsiteX22773" fmla="*/ 1243933 w 6884782"/>
              <a:gd name="connsiteY22773" fmla="*/ 4198755 h 5973007"/>
              <a:gd name="connsiteX22774" fmla="*/ 1245172 w 6884782"/>
              <a:gd name="connsiteY22774" fmla="*/ 4199788 h 5973007"/>
              <a:gd name="connsiteX22775" fmla="*/ 1245327 w 6884782"/>
              <a:gd name="connsiteY22775" fmla="*/ 4199788 h 5973007"/>
              <a:gd name="connsiteX22776" fmla="*/ 1245637 w 6884782"/>
              <a:gd name="connsiteY22776" fmla="*/ 4200304 h 5973007"/>
              <a:gd name="connsiteX22777" fmla="*/ 1245947 w 6884782"/>
              <a:gd name="connsiteY22777" fmla="*/ 4200614 h 5973007"/>
              <a:gd name="connsiteX22778" fmla="*/ 1249664 w 6884782"/>
              <a:gd name="connsiteY22778" fmla="*/ 4201956 h 5973007"/>
              <a:gd name="connsiteX22779" fmla="*/ 1259888 w 6884782"/>
              <a:gd name="connsiteY22779" fmla="*/ 4197723 h 5973007"/>
              <a:gd name="connsiteX22780" fmla="*/ 1268562 w 6884782"/>
              <a:gd name="connsiteY22780" fmla="*/ 4191114 h 5973007"/>
              <a:gd name="connsiteX22781" fmla="*/ 1275842 w 6884782"/>
              <a:gd name="connsiteY22781" fmla="*/ 4191114 h 5973007"/>
              <a:gd name="connsiteX22782" fmla="*/ 1271350 w 6884782"/>
              <a:gd name="connsiteY22782" fmla="*/ 4190081 h 5973007"/>
              <a:gd name="connsiteX22783" fmla="*/ 1276616 w 6884782"/>
              <a:gd name="connsiteY22783" fmla="*/ 4187397 h 5973007"/>
              <a:gd name="connsiteX22784" fmla="*/ 1275842 w 6884782"/>
              <a:gd name="connsiteY22784" fmla="*/ 4185848 h 5973007"/>
              <a:gd name="connsiteX22785" fmla="*/ 1284206 w 6884782"/>
              <a:gd name="connsiteY22785" fmla="*/ 4186055 h 5973007"/>
              <a:gd name="connsiteX22786" fmla="*/ 1283896 w 6884782"/>
              <a:gd name="connsiteY22786" fmla="*/ 4186881 h 5973007"/>
              <a:gd name="connsiteX22787" fmla="*/ 1284516 w 6884782"/>
              <a:gd name="connsiteY22787" fmla="*/ 4186881 h 5973007"/>
              <a:gd name="connsiteX22788" fmla="*/ 1296443 w 6884782"/>
              <a:gd name="connsiteY22788" fmla="*/ 4183576 h 5973007"/>
              <a:gd name="connsiteX22789" fmla="*/ 1298147 w 6884782"/>
              <a:gd name="connsiteY22789" fmla="*/ 4187913 h 5973007"/>
              <a:gd name="connsiteX22790" fmla="*/ 1304033 w 6884782"/>
              <a:gd name="connsiteY22790" fmla="*/ 4183783 h 5973007"/>
              <a:gd name="connsiteX22791" fmla="*/ 1302174 w 6884782"/>
              <a:gd name="connsiteY22791" fmla="*/ 4183267 h 5973007"/>
              <a:gd name="connsiteX22792" fmla="*/ 1301710 w 6884782"/>
              <a:gd name="connsiteY22792" fmla="*/ 4181511 h 5973007"/>
              <a:gd name="connsiteX22793" fmla="*/ 1295824 w 6884782"/>
              <a:gd name="connsiteY22793" fmla="*/ 4182544 h 5973007"/>
              <a:gd name="connsiteX22794" fmla="*/ 1299851 w 6884782"/>
              <a:gd name="connsiteY22794" fmla="*/ 4179756 h 5973007"/>
              <a:gd name="connsiteX22795" fmla="*/ 1301090 w 6884782"/>
              <a:gd name="connsiteY22795" fmla="*/ 4179446 h 5973007"/>
              <a:gd name="connsiteX22796" fmla="*/ 1300780 w 6884782"/>
              <a:gd name="connsiteY22796" fmla="*/ 4177898 h 5973007"/>
              <a:gd name="connsiteX22797" fmla="*/ 1302639 w 6884782"/>
              <a:gd name="connsiteY22797" fmla="*/ 4175213 h 5973007"/>
              <a:gd name="connsiteX22798" fmla="*/ 1303104 w 6884782"/>
              <a:gd name="connsiteY22798" fmla="*/ 4173251 h 5973007"/>
              <a:gd name="connsiteX22799" fmla="*/ 1302949 w 6884782"/>
              <a:gd name="connsiteY22799" fmla="*/ 4173044 h 5973007"/>
              <a:gd name="connsiteX22800" fmla="*/ 1303259 w 6884782"/>
              <a:gd name="connsiteY22800" fmla="*/ 4172941 h 5973007"/>
              <a:gd name="connsiteX22801" fmla="*/ 1304343 w 6884782"/>
              <a:gd name="connsiteY22801" fmla="*/ 4168914 h 5973007"/>
              <a:gd name="connsiteX22802" fmla="*/ 1307750 w 6884782"/>
              <a:gd name="connsiteY22802" fmla="*/ 4171392 h 5973007"/>
              <a:gd name="connsiteX22803" fmla="*/ 1310849 w 6884782"/>
              <a:gd name="connsiteY22803" fmla="*/ 4169843 h 5973007"/>
              <a:gd name="connsiteX22804" fmla="*/ 1313018 w 6884782"/>
              <a:gd name="connsiteY22804" fmla="*/ 4175522 h 5973007"/>
              <a:gd name="connsiteX22805" fmla="*/ 1316424 w 6884782"/>
              <a:gd name="connsiteY22805" fmla="*/ 4173354 h 5973007"/>
              <a:gd name="connsiteX22806" fmla="*/ 1313482 w 6884782"/>
              <a:gd name="connsiteY22806" fmla="*/ 4176555 h 5973007"/>
              <a:gd name="connsiteX22807" fmla="*/ 1313636 w 6884782"/>
              <a:gd name="connsiteY22807" fmla="*/ 4176865 h 5973007"/>
              <a:gd name="connsiteX22808" fmla="*/ 1318284 w 6884782"/>
              <a:gd name="connsiteY22808" fmla="*/ 4175522 h 5973007"/>
              <a:gd name="connsiteX22809" fmla="*/ 1327268 w 6884782"/>
              <a:gd name="connsiteY22809" fmla="*/ 4176039 h 5973007"/>
              <a:gd name="connsiteX22810" fmla="*/ 1331295 w 6884782"/>
              <a:gd name="connsiteY22810" fmla="*/ 4173354 h 5973007"/>
              <a:gd name="connsiteX22811" fmla="*/ 1333309 w 6884782"/>
              <a:gd name="connsiteY22811" fmla="*/ 4170979 h 5973007"/>
              <a:gd name="connsiteX22812" fmla="*/ 1332689 w 6884782"/>
              <a:gd name="connsiteY22812" fmla="*/ 4170463 h 5973007"/>
              <a:gd name="connsiteX22813" fmla="*/ 1331295 w 6884782"/>
              <a:gd name="connsiteY22813" fmla="*/ 4170256 h 5973007"/>
              <a:gd name="connsiteX22814" fmla="*/ 1324479 w 6884782"/>
              <a:gd name="connsiteY22814" fmla="*/ 4174490 h 5973007"/>
              <a:gd name="connsiteX22815" fmla="*/ 1327887 w 6884782"/>
              <a:gd name="connsiteY22815" fmla="*/ 4166849 h 5973007"/>
              <a:gd name="connsiteX22816" fmla="*/ 1331915 w 6884782"/>
              <a:gd name="connsiteY22816" fmla="*/ 4167365 h 5973007"/>
              <a:gd name="connsiteX22817" fmla="*/ 1331759 w 6884782"/>
              <a:gd name="connsiteY22817" fmla="*/ 4165197 h 5973007"/>
              <a:gd name="connsiteX22818" fmla="*/ 1335167 w 6884782"/>
              <a:gd name="connsiteY22818" fmla="*/ 4163958 h 5973007"/>
              <a:gd name="connsiteX22819" fmla="*/ 1337646 w 6884782"/>
              <a:gd name="connsiteY22819" fmla="*/ 4167778 h 5973007"/>
              <a:gd name="connsiteX22820" fmla="*/ 1340899 w 6884782"/>
              <a:gd name="connsiteY22820" fmla="*/ 4167365 h 5973007"/>
              <a:gd name="connsiteX22821" fmla="*/ 1342138 w 6884782"/>
              <a:gd name="connsiteY22821" fmla="*/ 4166849 h 5973007"/>
              <a:gd name="connsiteX22822" fmla="*/ 1342602 w 6884782"/>
              <a:gd name="connsiteY22822" fmla="*/ 4166849 h 5973007"/>
              <a:gd name="connsiteX22823" fmla="*/ 1343222 w 6884782"/>
              <a:gd name="connsiteY22823" fmla="*/ 4166849 h 5973007"/>
              <a:gd name="connsiteX22824" fmla="*/ 1344306 w 6884782"/>
              <a:gd name="connsiteY22824" fmla="*/ 4166333 h 5973007"/>
              <a:gd name="connsiteX22825" fmla="*/ 1343222 w 6884782"/>
              <a:gd name="connsiteY22825" fmla="*/ 4162512 h 5973007"/>
              <a:gd name="connsiteX22826" fmla="*/ 1346165 w 6884782"/>
              <a:gd name="connsiteY22826" fmla="*/ 4164680 h 5973007"/>
              <a:gd name="connsiteX22827" fmla="*/ 1351122 w 6884782"/>
              <a:gd name="connsiteY22827" fmla="*/ 4158795 h 5973007"/>
              <a:gd name="connsiteX22828" fmla="*/ 1352980 w 6884782"/>
              <a:gd name="connsiteY22828" fmla="*/ 4157659 h 5973007"/>
              <a:gd name="connsiteX22829" fmla="*/ 1354064 w 6884782"/>
              <a:gd name="connsiteY22829" fmla="*/ 4157143 h 5973007"/>
              <a:gd name="connsiteX22830" fmla="*/ 1354064 w 6884782"/>
              <a:gd name="connsiteY22830" fmla="*/ 4156627 h 5973007"/>
              <a:gd name="connsiteX22831" fmla="*/ 1354685 w 6884782"/>
              <a:gd name="connsiteY22831" fmla="*/ 4156627 h 5973007"/>
              <a:gd name="connsiteX22832" fmla="*/ 1360415 w 6884782"/>
              <a:gd name="connsiteY22832" fmla="*/ 4153839 h 5973007"/>
              <a:gd name="connsiteX22833" fmla="*/ 1366456 w 6884782"/>
              <a:gd name="connsiteY22833" fmla="*/ 4150535 h 5973007"/>
              <a:gd name="connsiteX22834" fmla="*/ 1365527 w 6884782"/>
              <a:gd name="connsiteY22834" fmla="*/ 4150638 h 5973007"/>
              <a:gd name="connsiteX22835" fmla="*/ 1360880 w 6884782"/>
              <a:gd name="connsiteY22835" fmla="*/ 4150018 h 5973007"/>
              <a:gd name="connsiteX22836" fmla="*/ 1360880 w 6884782"/>
              <a:gd name="connsiteY22836" fmla="*/ 4149192 h 5973007"/>
              <a:gd name="connsiteX22837" fmla="*/ 1369709 w 6884782"/>
              <a:gd name="connsiteY22837" fmla="*/ 4148160 h 5973007"/>
              <a:gd name="connsiteX22838" fmla="*/ 1370328 w 6884782"/>
              <a:gd name="connsiteY22838" fmla="*/ 4148366 h 5973007"/>
              <a:gd name="connsiteX22839" fmla="*/ 1380862 w 6884782"/>
              <a:gd name="connsiteY22839" fmla="*/ 4142584 h 5973007"/>
              <a:gd name="connsiteX22840" fmla="*/ 1394028 w 6884782"/>
              <a:gd name="connsiteY22840" fmla="*/ 4133394 h 5973007"/>
              <a:gd name="connsiteX22841" fmla="*/ 1395887 w 6884782"/>
              <a:gd name="connsiteY22841" fmla="*/ 4131948 h 5973007"/>
              <a:gd name="connsiteX22842" fmla="*/ 1394183 w 6884782"/>
              <a:gd name="connsiteY22842" fmla="*/ 4130709 h 5973007"/>
              <a:gd name="connsiteX22843" fmla="*/ 1393408 w 6884782"/>
              <a:gd name="connsiteY22843" fmla="*/ 4126476 h 5973007"/>
              <a:gd name="connsiteX22844" fmla="*/ 1394492 w 6884782"/>
              <a:gd name="connsiteY22844" fmla="*/ 4123068 h 5973007"/>
              <a:gd name="connsiteX22845" fmla="*/ 1391704 w 6884782"/>
              <a:gd name="connsiteY22845" fmla="*/ 4123791 h 5973007"/>
              <a:gd name="connsiteX22846" fmla="*/ 1388916 w 6884782"/>
              <a:gd name="connsiteY22846" fmla="*/ 4126269 h 5973007"/>
              <a:gd name="connsiteX22847" fmla="*/ 1388296 w 6884782"/>
              <a:gd name="connsiteY22847" fmla="*/ 4123068 h 5973007"/>
              <a:gd name="connsiteX22848" fmla="*/ 5606578 w 6884782"/>
              <a:gd name="connsiteY22848" fmla="*/ 4122776 h 5973007"/>
              <a:gd name="connsiteX22849" fmla="*/ 5607197 w 6884782"/>
              <a:gd name="connsiteY22849" fmla="*/ 4124841 h 5973007"/>
              <a:gd name="connsiteX22850" fmla="*/ 5608127 w 6884782"/>
              <a:gd name="connsiteY22850" fmla="*/ 4124222 h 5973007"/>
              <a:gd name="connsiteX22851" fmla="*/ 5613703 w 6884782"/>
              <a:gd name="connsiteY22851" fmla="*/ 4130004 h 5973007"/>
              <a:gd name="connsiteX22852" fmla="*/ 5612774 w 6884782"/>
              <a:gd name="connsiteY22852" fmla="*/ 4133515 h 5973007"/>
              <a:gd name="connsiteX22853" fmla="*/ 5617266 w 6884782"/>
              <a:gd name="connsiteY22853" fmla="*/ 4136923 h 5973007"/>
              <a:gd name="connsiteX22854" fmla="*/ 5621293 w 6884782"/>
              <a:gd name="connsiteY22854" fmla="*/ 4140846 h 5973007"/>
              <a:gd name="connsiteX22855" fmla="*/ 5623616 w 6884782"/>
              <a:gd name="connsiteY22855" fmla="*/ 4148177 h 5973007"/>
              <a:gd name="connsiteX22856" fmla="*/ 5601466 w 6884782"/>
              <a:gd name="connsiteY22856" fmla="*/ 4168622 h 5973007"/>
              <a:gd name="connsiteX22857" fmla="*/ 5587835 w 6884782"/>
              <a:gd name="connsiteY22857" fmla="*/ 4157884 h 5973007"/>
              <a:gd name="connsiteX22858" fmla="*/ 5587681 w 6884782"/>
              <a:gd name="connsiteY22858" fmla="*/ 4148591 h 5973007"/>
              <a:gd name="connsiteX22859" fmla="*/ 5606578 w 6884782"/>
              <a:gd name="connsiteY22859" fmla="*/ 4122776 h 5973007"/>
              <a:gd name="connsiteX22860" fmla="*/ 668803 w 6884782"/>
              <a:gd name="connsiteY22860" fmla="*/ 4122036 h 5973007"/>
              <a:gd name="connsiteX22861" fmla="*/ 671127 w 6884782"/>
              <a:gd name="connsiteY22861" fmla="*/ 4130090 h 5973007"/>
              <a:gd name="connsiteX22862" fmla="*/ 657496 w 6884782"/>
              <a:gd name="connsiteY22862" fmla="*/ 4132981 h 5973007"/>
              <a:gd name="connsiteX22863" fmla="*/ 668803 w 6884782"/>
              <a:gd name="connsiteY22863" fmla="*/ 4122036 h 5973007"/>
              <a:gd name="connsiteX22864" fmla="*/ 5641275 w 6884782"/>
              <a:gd name="connsiteY22864" fmla="*/ 4121641 h 5973007"/>
              <a:gd name="connsiteX22865" fmla="*/ 5644682 w 6884782"/>
              <a:gd name="connsiteY22865" fmla="*/ 4122570 h 5973007"/>
              <a:gd name="connsiteX22866" fmla="*/ 5642514 w 6884782"/>
              <a:gd name="connsiteY22866" fmla="*/ 4125048 h 5973007"/>
              <a:gd name="connsiteX22867" fmla="*/ 5641275 w 6884782"/>
              <a:gd name="connsiteY22867" fmla="*/ 4124119 h 5973007"/>
              <a:gd name="connsiteX22868" fmla="*/ 5641275 w 6884782"/>
              <a:gd name="connsiteY22868" fmla="*/ 4121641 h 5973007"/>
              <a:gd name="connsiteX22869" fmla="*/ 5749082 w 6884782"/>
              <a:gd name="connsiteY22869" fmla="*/ 4120815 h 5973007"/>
              <a:gd name="connsiteX22870" fmla="*/ 5757602 w 6884782"/>
              <a:gd name="connsiteY22870" fmla="*/ 4135890 h 5973007"/>
              <a:gd name="connsiteX22871" fmla="*/ 5754349 w 6884782"/>
              <a:gd name="connsiteY22871" fmla="*/ 4136509 h 5973007"/>
              <a:gd name="connsiteX22872" fmla="*/ 5744900 w 6884782"/>
              <a:gd name="connsiteY22872" fmla="*/ 4131037 h 5973007"/>
              <a:gd name="connsiteX22873" fmla="*/ 5744126 w 6884782"/>
              <a:gd name="connsiteY22873" fmla="*/ 4129385 h 5973007"/>
              <a:gd name="connsiteX22874" fmla="*/ 5740718 w 6884782"/>
              <a:gd name="connsiteY22874" fmla="*/ 4131037 h 5973007"/>
              <a:gd name="connsiteX22875" fmla="*/ 5741337 w 6884782"/>
              <a:gd name="connsiteY22875" fmla="*/ 4129798 h 5973007"/>
              <a:gd name="connsiteX22876" fmla="*/ 5742887 w 6884782"/>
              <a:gd name="connsiteY22876" fmla="*/ 4129178 h 5973007"/>
              <a:gd name="connsiteX22877" fmla="*/ 5743816 w 6884782"/>
              <a:gd name="connsiteY22877" fmla="*/ 4128869 h 5973007"/>
              <a:gd name="connsiteX22878" fmla="*/ 5743041 w 6884782"/>
              <a:gd name="connsiteY22878" fmla="*/ 4127216 h 5973007"/>
              <a:gd name="connsiteX22879" fmla="*/ 5749082 w 6884782"/>
              <a:gd name="connsiteY22879" fmla="*/ 4120815 h 5973007"/>
              <a:gd name="connsiteX22880" fmla="*/ 5663735 w 6884782"/>
              <a:gd name="connsiteY22880" fmla="*/ 4120298 h 5973007"/>
              <a:gd name="connsiteX22881" fmla="*/ 5667917 w 6884782"/>
              <a:gd name="connsiteY22881" fmla="*/ 4123706 h 5973007"/>
              <a:gd name="connsiteX22882" fmla="*/ 5668226 w 6884782"/>
              <a:gd name="connsiteY22882" fmla="*/ 4127630 h 5973007"/>
              <a:gd name="connsiteX22883" fmla="*/ 5669621 w 6884782"/>
              <a:gd name="connsiteY22883" fmla="*/ 4126494 h 5973007"/>
              <a:gd name="connsiteX22884" fmla="*/ 5673648 w 6884782"/>
              <a:gd name="connsiteY22884" fmla="*/ 4129901 h 5973007"/>
              <a:gd name="connsiteX22885" fmla="*/ 5670085 w 6884782"/>
              <a:gd name="connsiteY22885" fmla="*/ 4131140 h 5973007"/>
              <a:gd name="connsiteX22886" fmla="*/ 5668382 w 6884782"/>
              <a:gd name="connsiteY22886" fmla="*/ 4129592 h 5973007"/>
              <a:gd name="connsiteX22887" fmla="*/ 5668537 w 6884782"/>
              <a:gd name="connsiteY22887" fmla="*/ 4130211 h 5973007"/>
              <a:gd name="connsiteX22888" fmla="*/ 5663580 w 6884782"/>
              <a:gd name="connsiteY22888" fmla="*/ 4131863 h 5973007"/>
              <a:gd name="connsiteX22889" fmla="*/ 5662340 w 6884782"/>
              <a:gd name="connsiteY22889" fmla="*/ 4134135 h 5973007"/>
              <a:gd name="connsiteX22890" fmla="*/ 5659862 w 6884782"/>
              <a:gd name="connsiteY22890" fmla="*/ 4124841 h 5973007"/>
              <a:gd name="connsiteX22891" fmla="*/ 5660482 w 6884782"/>
              <a:gd name="connsiteY22891" fmla="*/ 4124015 h 5973007"/>
              <a:gd name="connsiteX22892" fmla="*/ 5660482 w 6884782"/>
              <a:gd name="connsiteY22892" fmla="*/ 4121641 h 5973007"/>
              <a:gd name="connsiteX22893" fmla="*/ 5663735 w 6884782"/>
              <a:gd name="connsiteY22893" fmla="*/ 4120298 h 5973007"/>
              <a:gd name="connsiteX22894" fmla="*/ 5266581 w 6884782"/>
              <a:gd name="connsiteY22894" fmla="*/ 4119782 h 5973007"/>
              <a:gd name="connsiteX22895" fmla="*/ 5265806 w 6884782"/>
              <a:gd name="connsiteY22895" fmla="*/ 4122157 h 5973007"/>
              <a:gd name="connsiteX22896" fmla="*/ 5257287 w 6884782"/>
              <a:gd name="connsiteY22896" fmla="*/ 4127630 h 5973007"/>
              <a:gd name="connsiteX22897" fmla="*/ 5266581 w 6884782"/>
              <a:gd name="connsiteY22897" fmla="*/ 4119782 h 5973007"/>
              <a:gd name="connsiteX22898" fmla="*/ 5763798 w 6884782"/>
              <a:gd name="connsiteY22898" fmla="*/ 4119059 h 5973007"/>
              <a:gd name="connsiteX22899" fmla="*/ 5764417 w 6884782"/>
              <a:gd name="connsiteY22899" fmla="*/ 4120815 h 5973007"/>
              <a:gd name="connsiteX22900" fmla="*/ 5762713 w 6884782"/>
              <a:gd name="connsiteY22900" fmla="*/ 4122364 h 5973007"/>
              <a:gd name="connsiteX22901" fmla="*/ 5759925 w 6884782"/>
              <a:gd name="connsiteY22901" fmla="*/ 4122467 h 5973007"/>
              <a:gd name="connsiteX22902" fmla="*/ 5757757 w 6884782"/>
              <a:gd name="connsiteY22902" fmla="*/ 4121434 h 5973007"/>
              <a:gd name="connsiteX22903" fmla="*/ 5756982 w 6884782"/>
              <a:gd name="connsiteY22903" fmla="*/ 4119679 h 5973007"/>
              <a:gd name="connsiteX22904" fmla="*/ 5763798 w 6884782"/>
              <a:gd name="connsiteY22904" fmla="*/ 4119059 h 5973007"/>
              <a:gd name="connsiteX22905" fmla="*/ 5109981 w 6884782"/>
              <a:gd name="connsiteY22905" fmla="*/ 4118336 h 5973007"/>
              <a:gd name="connsiteX22906" fmla="*/ 5108277 w 6884782"/>
              <a:gd name="connsiteY22906" fmla="*/ 4127526 h 5973007"/>
              <a:gd name="connsiteX22907" fmla="*/ 5106882 w 6884782"/>
              <a:gd name="connsiteY22907" fmla="*/ 4125668 h 5973007"/>
              <a:gd name="connsiteX22908" fmla="*/ 5109981 w 6884782"/>
              <a:gd name="connsiteY22908" fmla="*/ 4118336 h 5973007"/>
              <a:gd name="connsiteX22909" fmla="*/ 5655990 w 6884782"/>
              <a:gd name="connsiteY22909" fmla="*/ 4117717 h 5973007"/>
              <a:gd name="connsiteX22910" fmla="*/ 5657074 w 6884782"/>
              <a:gd name="connsiteY22910" fmla="*/ 4119369 h 5973007"/>
              <a:gd name="connsiteX22911" fmla="*/ 5658468 w 6884782"/>
              <a:gd name="connsiteY22911" fmla="*/ 4123706 h 5973007"/>
              <a:gd name="connsiteX22912" fmla="*/ 5655990 w 6884782"/>
              <a:gd name="connsiteY22912" fmla="*/ 4125461 h 5973007"/>
              <a:gd name="connsiteX22913" fmla="*/ 5652582 w 6884782"/>
              <a:gd name="connsiteY22913" fmla="*/ 4124015 h 5973007"/>
              <a:gd name="connsiteX22914" fmla="*/ 5648245 w 6884782"/>
              <a:gd name="connsiteY22914" fmla="*/ 4118130 h 5973007"/>
              <a:gd name="connsiteX22915" fmla="*/ 5655990 w 6884782"/>
              <a:gd name="connsiteY22915" fmla="*/ 4117717 h 5973007"/>
              <a:gd name="connsiteX22916" fmla="*/ 5397158 w 6884782"/>
              <a:gd name="connsiteY22916" fmla="*/ 4116994 h 5973007"/>
              <a:gd name="connsiteX22917" fmla="*/ 5397468 w 6884782"/>
              <a:gd name="connsiteY22917" fmla="*/ 4130417 h 5973007"/>
              <a:gd name="connsiteX22918" fmla="*/ 5397778 w 6884782"/>
              <a:gd name="connsiteY22918" fmla="*/ 4132483 h 5973007"/>
              <a:gd name="connsiteX22919" fmla="*/ 5399482 w 6884782"/>
              <a:gd name="connsiteY22919" fmla="*/ 4131140 h 5973007"/>
              <a:gd name="connsiteX22920" fmla="*/ 5401650 w 6884782"/>
              <a:gd name="connsiteY22920" fmla="*/ 4130831 h 5973007"/>
              <a:gd name="connsiteX22921" fmla="*/ 5398087 w 6884782"/>
              <a:gd name="connsiteY22921" fmla="*/ 4133722 h 5973007"/>
              <a:gd name="connsiteX22922" fmla="*/ 5398087 w 6884782"/>
              <a:gd name="connsiteY22922" fmla="*/ 4133928 h 5973007"/>
              <a:gd name="connsiteX22923" fmla="*/ 5397778 w 6884782"/>
              <a:gd name="connsiteY22923" fmla="*/ 4133928 h 5973007"/>
              <a:gd name="connsiteX22924" fmla="*/ 5397003 w 6884782"/>
              <a:gd name="connsiteY22924" fmla="*/ 4134548 h 5973007"/>
              <a:gd name="connsiteX22925" fmla="*/ 5396539 w 6884782"/>
              <a:gd name="connsiteY22925" fmla="*/ 4137129 h 5973007"/>
              <a:gd name="connsiteX22926" fmla="*/ 5391737 w 6884782"/>
              <a:gd name="connsiteY22926" fmla="*/ 4139194 h 5973007"/>
              <a:gd name="connsiteX22927" fmla="*/ 5391117 w 6884782"/>
              <a:gd name="connsiteY22927" fmla="*/ 4134858 h 5973007"/>
              <a:gd name="connsiteX22928" fmla="*/ 5393905 w 6884782"/>
              <a:gd name="connsiteY22928" fmla="*/ 4132586 h 5973007"/>
              <a:gd name="connsiteX22929" fmla="*/ 5395454 w 6884782"/>
              <a:gd name="connsiteY22929" fmla="*/ 4132689 h 5973007"/>
              <a:gd name="connsiteX22930" fmla="*/ 5394989 w 6884782"/>
              <a:gd name="connsiteY22930" fmla="*/ 4132173 h 5973007"/>
              <a:gd name="connsiteX22931" fmla="*/ 5395764 w 6884782"/>
              <a:gd name="connsiteY22931" fmla="*/ 4130727 h 5973007"/>
              <a:gd name="connsiteX22932" fmla="*/ 5397158 w 6884782"/>
              <a:gd name="connsiteY22932" fmla="*/ 4116994 h 5973007"/>
              <a:gd name="connsiteX22933" fmla="*/ 5344803 w 6884782"/>
              <a:gd name="connsiteY22933" fmla="*/ 4116994 h 5973007"/>
              <a:gd name="connsiteX22934" fmla="*/ 5349140 w 6884782"/>
              <a:gd name="connsiteY22934" fmla="*/ 4119782 h 5973007"/>
              <a:gd name="connsiteX22935" fmla="*/ 5349605 w 6884782"/>
              <a:gd name="connsiteY22935" fmla="*/ 4122157 h 5973007"/>
              <a:gd name="connsiteX22936" fmla="*/ 5354407 w 6884782"/>
              <a:gd name="connsiteY22936" fmla="*/ 4124015 h 5973007"/>
              <a:gd name="connsiteX22937" fmla="*/ 5356885 w 6884782"/>
              <a:gd name="connsiteY22937" fmla="*/ 4129178 h 5973007"/>
              <a:gd name="connsiteX22938" fmla="*/ 5354562 w 6884782"/>
              <a:gd name="connsiteY22938" fmla="*/ 4130211 h 5973007"/>
              <a:gd name="connsiteX22939" fmla="*/ 5349605 w 6884782"/>
              <a:gd name="connsiteY22939" fmla="*/ 4128042 h 5973007"/>
              <a:gd name="connsiteX22940" fmla="*/ 5348676 w 6884782"/>
              <a:gd name="connsiteY22940" fmla="*/ 4130211 h 5973007"/>
              <a:gd name="connsiteX22941" fmla="*/ 5345578 w 6884782"/>
              <a:gd name="connsiteY22941" fmla="*/ 4132379 h 5973007"/>
              <a:gd name="connsiteX22942" fmla="*/ 5344493 w 6884782"/>
              <a:gd name="connsiteY22942" fmla="*/ 4132379 h 5973007"/>
              <a:gd name="connsiteX22943" fmla="*/ 5344648 w 6884782"/>
              <a:gd name="connsiteY22943" fmla="*/ 4133308 h 5973007"/>
              <a:gd name="connsiteX22944" fmla="*/ 5342015 w 6884782"/>
              <a:gd name="connsiteY22944" fmla="*/ 4134754 h 5973007"/>
              <a:gd name="connsiteX22945" fmla="*/ 5341085 w 6884782"/>
              <a:gd name="connsiteY22945" fmla="*/ 4136303 h 5973007"/>
              <a:gd name="connsiteX22946" fmla="*/ 5338297 w 6884782"/>
              <a:gd name="connsiteY22946" fmla="*/ 4136613 h 5973007"/>
              <a:gd name="connsiteX22947" fmla="*/ 5337058 w 6884782"/>
              <a:gd name="connsiteY22947" fmla="*/ 4134548 h 5973007"/>
              <a:gd name="connsiteX22948" fmla="*/ 5336903 w 6884782"/>
              <a:gd name="connsiteY22948" fmla="*/ 4134031 h 5973007"/>
              <a:gd name="connsiteX22949" fmla="*/ 5335354 w 6884782"/>
              <a:gd name="connsiteY22949" fmla="*/ 4134754 h 5973007"/>
              <a:gd name="connsiteX22950" fmla="*/ 5334425 w 6884782"/>
              <a:gd name="connsiteY22950" fmla="*/ 4132999 h 5973007"/>
              <a:gd name="connsiteX22951" fmla="*/ 5336129 w 6884782"/>
              <a:gd name="connsiteY22951" fmla="*/ 4131657 h 5973007"/>
              <a:gd name="connsiteX22952" fmla="*/ 5335974 w 6884782"/>
              <a:gd name="connsiteY22952" fmla="*/ 4130934 h 5973007"/>
              <a:gd name="connsiteX22953" fmla="*/ 5336129 w 6884782"/>
              <a:gd name="connsiteY22953" fmla="*/ 4128146 h 5973007"/>
              <a:gd name="connsiteX22954" fmla="*/ 5335974 w 6884782"/>
              <a:gd name="connsiteY22954" fmla="*/ 4127836 h 5973007"/>
              <a:gd name="connsiteX22955" fmla="*/ 5335664 w 6884782"/>
              <a:gd name="connsiteY22955" fmla="*/ 4119266 h 5973007"/>
              <a:gd name="connsiteX22956" fmla="*/ 5344803 w 6884782"/>
              <a:gd name="connsiteY22956" fmla="*/ 4116994 h 5973007"/>
              <a:gd name="connsiteX22957" fmla="*/ 5392821 w 6884782"/>
              <a:gd name="connsiteY22957" fmla="*/ 4116684 h 5973007"/>
              <a:gd name="connsiteX22958" fmla="*/ 5393441 w 6884782"/>
              <a:gd name="connsiteY22958" fmla="*/ 4116994 h 5973007"/>
              <a:gd name="connsiteX22959" fmla="*/ 5391582 w 6884782"/>
              <a:gd name="connsiteY22959" fmla="*/ 4125874 h 5973007"/>
              <a:gd name="connsiteX22960" fmla="*/ 5390033 w 6884782"/>
              <a:gd name="connsiteY22960" fmla="*/ 4128559 h 5973007"/>
              <a:gd name="connsiteX22961" fmla="*/ 5390342 w 6884782"/>
              <a:gd name="connsiteY22961" fmla="*/ 4127836 h 5973007"/>
              <a:gd name="connsiteX22962" fmla="*/ 5389258 w 6884782"/>
              <a:gd name="connsiteY22962" fmla="*/ 4128146 h 5973007"/>
              <a:gd name="connsiteX22963" fmla="*/ 5392821 w 6884782"/>
              <a:gd name="connsiteY22963" fmla="*/ 4116684 h 5973007"/>
              <a:gd name="connsiteX22964" fmla="*/ 5417604 w 6884782"/>
              <a:gd name="connsiteY22964" fmla="*/ 4115962 h 5973007"/>
              <a:gd name="connsiteX22965" fmla="*/ 5417759 w 6884782"/>
              <a:gd name="connsiteY22965" fmla="*/ 4119369 h 5973007"/>
              <a:gd name="connsiteX22966" fmla="*/ 5411564 w 6884782"/>
              <a:gd name="connsiteY22966" fmla="*/ 4123190 h 5973007"/>
              <a:gd name="connsiteX22967" fmla="*/ 5409395 w 6884782"/>
              <a:gd name="connsiteY22967" fmla="*/ 4122467 h 5973007"/>
              <a:gd name="connsiteX22968" fmla="*/ 5410169 w 6884782"/>
              <a:gd name="connsiteY22968" fmla="*/ 4118233 h 5973007"/>
              <a:gd name="connsiteX22969" fmla="*/ 5417604 w 6884782"/>
              <a:gd name="connsiteY22969" fmla="*/ 4115962 h 5973007"/>
              <a:gd name="connsiteX22970" fmla="*/ 5220731 w 6884782"/>
              <a:gd name="connsiteY22970" fmla="*/ 4115549 h 5973007"/>
              <a:gd name="connsiteX22971" fmla="*/ 5226152 w 6884782"/>
              <a:gd name="connsiteY22971" fmla="*/ 4120505 h 5973007"/>
              <a:gd name="connsiteX22972" fmla="*/ 5223209 w 6884782"/>
              <a:gd name="connsiteY22972" fmla="*/ 4127526 h 5973007"/>
              <a:gd name="connsiteX22973" fmla="*/ 5217633 w 6884782"/>
              <a:gd name="connsiteY22973" fmla="*/ 4129385 h 5973007"/>
              <a:gd name="connsiteX22974" fmla="*/ 5213141 w 6884782"/>
              <a:gd name="connsiteY22974" fmla="*/ 4126803 h 5973007"/>
              <a:gd name="connsiteX22975" fmla="*/ 5211902 w 6884782"/>
              <a:gd name="connsiteY22975" fmla="*/ 4123190 h 5973007"/>
              <a:gd name="connsiteX22976" fmla="*/ 5211902 w 6884782"/>
              <a:gd name="connsiteY22976" fmla="*/ 4122983 h 5973007"/>
              <a:gd name="connsiteX22977" fmla="*/ 5210663 w 6884782"/>
              <a:gd name="connsiteY22977" fmla="*/ 4123912 h 5973007"/>
              <a:gd name="connsiteX22978" fmla="*/ 5208959 w 6884782"/>
              <a:gd name="connsiteY22978" fmla="*/ 4123912 h 5973007"/>
              <a:gd name="connsiteX22979" fmla="*/ 5208030 w 6884782"/>
              <a:gd name="connsiteY22979" fmla="*/ 4122157 h 5973007"/>
              <a:gd name="connsiteX22980" fmla="*/ 5207410 w 6884782"/>
              <a:gd name="connsiteY22980" fmla="*/ 4118646 h 5973007"/>
              <a:gd name="connsiteX22981" fmla="*/ 5208804 w 6884782"/>
              <a:gd name="connsiteY22981" fmla="*/ 4116788 h 5973007"/>
              <a:gd name="connsiteX22982" fmla="*/ 5210663 w 6884782"/>
              <a:gd name="connsiteY22982" fmla="*/ 4117510 h 5973007"/>
              <a:gd name="connsiteX22983" fmla="*/ 5212212 w 6884782"/>
              <a:gd name="connsiteY22983" fmla="*/ 4117510 h 5973007"/>
              <a:gd name="connsiteX22984" fmla="*/ 5212367 w 6884782"/>
              <a:gd name="connsiteY22984" fmla="*/ 4118336 h 5973007"/>
              <a:gd name="connsiteX22985" fmla="*/ 5212212 w 6884782"/>
              <a:gd name="connsiteY22985" fmla="*/ 4118440 h 5973007"/>
              <a:gd name="connsiteX22986" fmla="*/ 5212831 w 6884782"/>
              <a:gd name="connsiteY22986" fmla="*/ 4118853 h 5973007"/>
              <a:gd name="connsiteX22987" fmla="*/ 5213451 w 6884782"/>
              <a:gd name="connsiteY22987" fmla="*/ 4116478 h 5973007"/>
              <a:gd name="connsiteX22988" fmla="*/ 5220731 w 6884782"/>
              <a:gd name="connsiteY22988" fmla="*/ 4115549 h 5973007"/>
              <a:gd name="connsiteX22989" fmla="*/ 5634304 w 6884782"/>
              <a:gd name="connsiteY22989" fmla="*/ 4115548 h 5973007"/>
              <a:gd name="connsiteX22990" fmla="*/ 5640190 w 6884782"/>
              <a:gd name="connsiteY22990" fmla="*/ 4121331 h 5973007"/>
              <a:gd name="connsiteX22991" fmla="*/ 5636163 w 6884782"/>
              <a:gd name="connsiteY22991" fmla="*/ 4127113 h 5973007"/>
              <a:gd name="connsiteX22992" fmla="*/ 5634459 w 6884782"/>
              <a:gd name="connsiteY22992" fmla="*/ 4126081 h 5973007"/>
              <a:gd name="connsiteX22993" fmla="*/ 5632910 w 6884782"/>
              <a:gd name="connsiteY22993" fmla="*/ 4124532 h 5973007"/>
              <a:gd name="connsiteX22994" fmla="*/ 5631206 w 6884782"/>
              <a:gd name="connsiteY22994" fmla="*/ 4119679 h 5973007"/>
              <a:gd name="connsiteX22995" fmla="*/ 5633065 w 6884782"/>
              <a:gd name="connsiteY22995" fmla="*/ 4116478 h 5973007"/>
              <a:gd name="connsiteX22996" fmla="*/ 5634304 w 6884782"/>
              <a:gd name="connsiteY22996" fmla="*/ 4115548 h 5973007"/>
              <a:gd name="connsiteX22997" fmla="*/ 5725538 w 6884782"/>
              <a:gd name="connsiteY22997" fmla="*/ 4113897 h 5973007"/>
              <a:gd name="connsiteX22998" fmla="*/ 5734832 w 6884782"/>
              <a:gd name="connsiteY22998" fmla="*/ 4119679 h 5973007"/>
              <a:gd name="connsiteX22999" fmla="*/ 5734212 w 6884782"/>
              <a:gd name="connsiteY22999" fmla="*/ 4120298 h 5973007"/>
              <a:gd name="connsiteX23000" fmla="*/ 5738549 w 6884782"/>
              <a:gd name="connsiteY23000" fmla="*/ 4121641 h 5973007"/>
              <a:gd name="connsiteX23001" fmla="*/ 5736691 w 6884782"/>
              <a:gd name="connsiteY23001" fmla="*/ 4144150 h 5973007"/>
              <a:gd name="connsiteX23002" fmla="*/ 5735606 w 6884782"/>
              <a:gd name="connsiteY23002" fmla="*/ 4155612 h 5973007"/>
              <a:gd name="connsiteX23003" fmla="*/ 5738859 w 6884782"/>
              <a:gd name="connsiteY23003" fmla="*/ 4155509 h 5973007"/>
              <a:gd name="connsiteX23004" fmla="*/ 5750322 w 6884782"/>
              <a:gd name="connsiteY23004" fmla="*/ 4159329 h 5973007"/>
              <a:gd name="connsiteX23005" fmla="*/ 5753265 w 6884782"/>
              <a:gd name="connsiteY23005" fmla="*/ 4161394 h 5973007"/>
              <a:gd name="connsiteX23006" fmla="*/ 5754969 w 6884782"/>
              <a:gd name="connsiteY23006" fmla="*/ 4160981 h 5973007"/>
              <a:gd name="connsiteX23007" fmla="*/ 5756053 w 6884782"/>
              <a:gd name="connsiteY23007" fmla="*/ 4161188 h 5973007"/>
              <a:gd name="connsiteX23008" fmla="*/ 5756518 w 6884782"/>
              <a:gd name="connsiteY23008" fmla="*/ 4160878 h 5973007"/>
              <a:gd name="connsiteX23009" fmla="*/ 5757447 w 6884782"/>
              <a:gd name="connsiteY23009" fmla="*/ 4160362 h 5973007"/>
              <a:gd name="connsiteX23010" fmla="*/ 5757292 w 6884782"/>
              <a:gd name="connsiteY23010" fmla="*/ 4161188 h 5973007"/>
              <a:gd name="connsiteX23011" fmla="*/ 5757292 w 6884782"/>
              <a:gd name="connsiteY23011" fmla="*/ 4161291 h 5973007"/>
              <a:gd name="connsiteX23012" fmla="*/ 5759925 w 6884782"/>
              <a:gd name="connsiteY23012" fmla="*/ 4161498 h 5973007"/>
              <a:gd name="connsiteX23013" fmla="*/ 5757292 w 6884782"/>
              <a:gd name="connsiteY23013" fmla="*/ 4167796 h 5973007"/>
              <a:gd name="connsiteX23014" fmla="*/ 5753729 w 6884782"/>
              <a:gd name="connsiteY23014" fmla="*/ 4173269 h 5973007"/>
              <a:gd name="connsiteX23015" fmla="*/ 5753265 w 6884782"/>
              <a:gd name="connsiteY23015" fmla="*/ 4168932 h 5973007"/>
              <a:gd name="connsiteX23016" fmla="*/ 5751561 w 6884782"/>
              <a:gd name="connsiteY23016" fmla="*/ 4169758 h 5973007"/>
              <a:gd name="connsiteX23017" fmla="*/ 5750941 w 6884782"/>
              <a:gd name="connsiteY23017" fmla="*/ 4167176 h 5973007"/>
              <a:gd name="connsiteX23018" fmla="*/ 5749547 w 6884782"/>
              <a:gd name="connsiteY23018" fmla="*/ 4167383 h 5973007"/>
              <a:gd name="connsiteX23019" fmla="*/ 5744126 w 6884782"/>
              <a:gd name="connsiteY23019" fmla="*/ 4166557 h 5973007"/>
              <a:gd name="connsiteX23020" fmla="*/ 5744126 w 6884782"/>
              <a:gd name="connsiteY23020" fmla="*/ 4168003 h 5973007"/>
              <a:gd name="connsiteX23021" fmla="*/ 5747998 w 6884782"/>
              <a:gd name="connsiteY23021" fmla="*/ 4169552 h 5973007"/>
              <a:gd name="connsiteX23022" fmla="*/ 5753729 w 6884782"/>
              <a:gd name="connsiteY23022" fmla="*/ 4173269 h 5973007"/>
              <a:gd name="connsiteX23023" fmla="*/ 5754969 w 6884782"/>
              <a:gd name="connsiteY23023" fmla="*/ 4173888 h 5973007"/>
              <a:gd name="connsiteX23024" fmla="*/ 5762868 w 6884782"/>
              <a:gd name="connsiteY23024" fmla="*/ 4178225 h 5973007"/>
              <a:gd name="connsiteX23025" fmla="*/ 5768909 w 6884782"/>
              <a:gd name="connsiteY23025" fmla="*/ 4196914 h 5973007"/>
              <a:gd name="connsiteX23026" fmla="*/ 5763952 w 6884782"/>
              <a:gd name="connsiteY23026" fmla="*/ 4208996 h 5973007"/>
              <a:gd name="connsiteX23027" fmla="*/ 5762249 w 6884782"/>
              <a:gd name="connsiteY23027" fmla="*/ 4215191 h 5973007"/>
              <a:gd name="connsiteX23028" fmla="*/ 5762713 w 6884782"/>
              <a:gd name="connsiteY23028" fmla="*/ 4214984 h 5973007"/>
              <a:gd name="connsiteX23029" fmla="*/ 5768909 w 6884782"/>
              <a:gd name="connsiteY23029" fmla="*/ 4219734 h 5973007"/>
              <a:gd name="connsiteX23030" fmla="*/ 5764882 w 6884782"/>
              <a:gd name="connsiteY23030" fmla="*/ 4219424 h 5973007"/>
              <a:gd name="connsiteX23031" fmla="*/ 5761474 w 6884782"/>
              <a:gd name="connsiteY23031" fmla="*/ 4218289 h 5973007"/>
              <a:gd name="connsiteX23032" fmla="*/ 5760235 w 6884782"/>
              <a:gd name="connsiteY23032" fmla="*/ 4222625 h 5973007"/>
              <a:gd name="connsiteX23033" fmla="*/ 5746604 w 6884782"/>
              <a:gd name="connsiteY23033" fmla="*/ 4230473 h 5973007"/>
              <a:gd name="connsiteX23034" fmla="*/ 5745829 w 6884782"/>
              <a:gd name="connsiteY23034" fmla="*/ 4230886 h 5973007"/>
              <a:gd name="connsiteX23035" fmla="*/ 5749082 w 6884782"/>
              <a:gd name="connsiteY23035" fmla="*/ 4233467 h 5973007"/>
              <a:gd name="connsiteX23036" fmla="*/ 5752180 w 6884782"/>
              <a:gd name="connsiteY23036" fmla="*/ 4229853 h 5973007"/>
              <a:gd name="connsiteX23037" fmla="*/ 5763333 w 6884782"/>
              <a:gd name="connsiteY23037" fmla="*/ 4235223 h 5973007"/>
              <a:gd name="connsiteX23038" fmla="*/ 5755743 w 6884782"/>
              <a:gd name="connsiteY23038" fmla="*/ 4242760 h 5973007"/>
              <a:gd name="connsiteX23039" fmla="*/ 5753110 w 6884782"/>
              <a:gd name="connsiteY23039" fmla="*/ 4239869 h 5973007"/>
              <a:gd name="connsiteX23040" fmla="*/ 5752800 w 6884782"/>
              <a:gd name="connsiteY23040" fmla="*/ 4240179 h 5973007"/>
              <a:gd name="connsiteX23041" fmla="*/ 5752335 w 6884782"/>
              <a:gd name="connsiteY23041" fmla="*/ 4242244 h 5973007"/>
              <a:gd name="connsiteX23042" fmla="*/ 5754039 w 6884782"/>
              <a:gd name="connsiteY23042" fmla="*/ 4243586 h 5973007"/>
              <a:gd name="connsiteX23043" fmla="*/ 5751716 w 6884782"/>
              <a:gd name="connsiteY23043" fmla="*/ 4245135 h 5973007"/>
              <a:gd name="connsiteX23044" fmla="*/ 5751406 w 6884782"/>
              <a:gd name="connsiteY23044" fmla="*/ 4244929 h 5973007"/>
              <a:gd name="connsiteX23045" fmla="*/ 5749237 w 6884782"/>
              <a:gd name="connsiteY23045" fmla="*/ 4247716 h 5973007"/>
              <a:gd name="connsiteX23046" fmla="*/ 5741337 w 6884782"/>
              <a:gd name="connsiteY23046" fmla="*/ 4251331 h 5973007"/>
              <a:gd name="connsiteX23047" fmla="*/ 5734987 w 6884782"/>
              <a:gd name="connsiteY23047" fmla="*/ 4248026 h 5973007"/>
              <a:gd name="connsiteX23048" fmla="*/ 5731734 w 6884782"/>
              <a:gd name="connsiteY23048" fmla="*/ 4238113 h 5973007"/>
              <a:gd name="connsiteX23049" fmla="*/ 5732044 w 6884782"/>
              <a:gd name="connsiteY23049" fmla="*/ 4237804 h 5973007"/>
              <a:gd name="connsiteX23050" fmla="*/ 5725228 w 6884782"/>
              <a:gd name="connsiteY23050" fmla="*/ 4234913 h 5973007"/>
              <a:gd name="connsiteX23051" fmla="*/ 5718568 w 6884782"/>
              <a:gd name="connsiteY23051" fmla="*/ 4233467 h 5973007"/>
              <a:gd name="connsiteX23052" fmla="*/ 5719807 w 6884782"/>
              <a:gd name="connsiteY23052" fmla="*/ 4237184 h 5973007"/>
              <a:gd name="connsiteX23053" fmla="*/ 5720891 w 6884782"/>
              <a:gd name="connsiteY23053" fmla="*/ 4243793 h 5973007"/>
              <a:gd name="connsiteX23054" fmla="*/ 5710978 w 6884782"/>
              <a:gd name="connsiteY23054" fmla="*/ 4253499 h 5973007"/>
              <a:gd name="connsiteX23055" fmla="*/ 5710048 w 6884782"/>
              <a:gd name="connsiteY23055" fmla="*/ 4252879 h 5973007"/>
              <a:gd name="connsiteX23056" fmla="*/ 5708345 w 6884782"/>
              <a:gd name="connsiteY23056" fmla="*/ 4252157 h 5973007"/>
              <a:gd name="connsiteX23057" fmla="*/ 5705712 w 6884782"/>
              <a:gd name="connsiteY23057" fmla="*/ 4253189 h 5973007"/>
              <a:gd name="connsiteX23058" fmla="*/ 5703233 w 6884782"/>
              <a:gd name="connsiteY23058" fmla="*/ 4251847 h 5973007"/>
              <a:gd name="connsiteX23059" fmla="*/ 5701839 w 6884782"/>
              <a:gd name="connsiteY23059" fmla="*/ 4247613 h 5973007"/>
              <a:gd name="connsiteX23060" fmla="*/ 5702458 w 6884782"/>
              <a:gd name="connsiteY23060" fmla="*/ 4246891 h 5973007"/>
              <a:gd name="connsiteX23061" fmla="*/ 5701219 w 6884782"/>
              <a:gd name="connsiteY23061" fmla="*/ 4241728 h 5973007"/>
              <a:gd name="connsiteX23062" fmla="*/ 5701684 w 6884782"/>
              <a:gd name="connsiteY23062" fmla="*/ 4238527 h 5973007"/>
              <a:gd name="connsiteX23063" fmla="*/ 5700290 w 6884782"/>
              <a:gd name="connsiteY23063" fmla="*/ 4243380 h 5973007"/>
              <a:gd name="connsiteX23064" fmla="*/ 5699671 w 6884782"/>
              <a:gd name="connsiteY23064" fmla="*/ 4245238 h 5973007"/>
              <a:gd name="connsiteX23065" fmla="*/ 5700445 w 6884782"/>
              <a:gd name="connsiteY23065" fmla="*/ 4245238 h 5973007"/>
              <a:gd name="connsiteX23066" fmla="*/ 5699515 w 6884782"/>
              <a:gd name="connsiteY23066" fmla="*/ 4246168 h 5973007"/>
              <a:gd name="connsiteX23067" fmla="*/ 5699361 w 6884782"/>
              <a:gd name="connsiteY23067" fmla="*/ 4246374 h 5973007"/>
              <a:gd name="connsiteX23068" fmla="*/ 5699361 w 6884782"/>
              <a:gd name="connsiteY23068" fmla="*/ 4247200 h 5973007"/>
              <a:gd name="connsiteX23069" fmla="*/ 5697037 w 6884782"/>
              <a:gd name="connsiteY23069" fmla="*/ 4250092 h 5973007"/>
              <a:gd name="connsiteX23070" fmla="*/ 5696108 w 6884782"/>
              <a:gd name="connsiteY23070" fmla="*/ 4249885 h 5973007"/>
              <a:gd name="connsiteX23071" fmla="*/ 5696263 w 6884782"/>
              <a:gd name="connsiteY23071" fmla="*/ 4254738 h 5973007"/>
              <a:gd name="connsiteX23072" fmla="*/ 5695953 w 6884782"/>
              <a:gd name="connsiteY23072" fmla="*/ 4256080 h 5973007"/>
              <a:gd name="connsiteX23073" fmla="*/ 5696418 w 6884782"/>
              <a:gd name="connsiteY23073" fmla="*/ 4256493 h 5973007"/>
              <a:gd name="connsiteX23074" fmla="*/ 5695798 w 6884782"/>
              <a:gd name="connsiteY23074" fmla="*/ 4257319 h 5973007"/>
              <a:gd name="connsiteX23075" fmla="*/ 5695024 w 6884782"/>
              <a:gd name="connsiteY23075" fmla="*/ 4261656 h 5973007"/>
              <a:gd name="connsiteX23076" fmla="*/ 5691461 w 6884782"/>
              <a:gd name="connsiteY23076" fmla="*/ 4264960 h 5973007"/>
              <a:gd name="connsiteX23077" fmla="*/ 5690532 w 6884782"/>
              <a:gd name="connsiteY23077" fmla="*/ 4259075 h 5973007"/>
              <a:gd name="connsiteX23078" fmla="*/ 5690377 w 6884782"/>
              <a:gd name="connsiteY23078" fmla="*/ 4258765 h 5973007"/>
              <a:gd name="connsiteX23079" fmla="*/ 5690377 w 6884782"/>
              <a:gd name="connsiteY23079" fmla="*/ 4258352 h 5973007"/>
              <a:gd name="connsiteX23080" fmla="*/ 5689757 w 6884782"/>
              <a:gd name="connsiteY23080" fmla="*/ 4251434 h 5973007"/>
              <a:gd name="connsiteX23081" fmla="*/ 5690841 w 6884782"/>
              <a:gd name="connsiteY23081" fmla="*/ 4244929 h 5973007"/>
              <a:gd name="connsiteX23082" fmla="*/ 5690067 w 6884782"/>
              <a:gd name="connsiteY23082" fmla="*/ 4244826 h 5973007"/>
              <a:gd name="connsiteX23083" fmla="*/ 5677675 w 6884782"/>
              <a:gd name="connsiteY23083" fmla="*/ 4244206 h 5973007"/>
              <a:gd name="connsiteX23084" fmla="*/ 5679379 w 6884782"/>
              <a:gd name="connsiteY23084" fmla="*/ 4235532 h 5973007"/>
              <a:gd name="connsiteX23085" fmla="*/ 5691306 w 6884782"/>
              <a:gd name="connsiteY23085" fmla="*/ 4229750 h 5973007"/>
              <a:gd name="connsiteX23086" fmla="*/ 5691616 w 6884782"/>
              <a:gd name="connsiteY23086" fmla="*/ 4229853 h 5973007"/>
              <a:gd name="connsiteX23087" fmla="*/ 5696418 w 6884782"/>
              <a:gd name="connsiteY23087" fmla="*/ 4229853 h 5973007"/>
              <a:gd name="connsiteX23088" fmla="*/ 5697192 w 6884782"/>
              <a:gd name="connsiteY23088" fmla="*/ 4231505 h 5973007"/>
              <a:gd name="connsiteX23089" fmla="*/ 5700135 w 6884782"/>
              <a:gd name="connsiteY23089" fmla="*/ 4230679 h 5973007"/>
              <a:gd name="connsiteX23090" fmla="*/ 5701994 w 6884782"/>
              <a:gd name="connsiteY23090" fmla="*/ 4237081 h 5973007"/>
              <a:gd name="connsiteX23091" fmla="*/ 5712372 w 6884782"/>
              <a:gd name="connsiteY23091" fmla="*/ 4232228 h 5973007"/>
              <a:gd name="connsiteX23092" fmla="*/ 5714695 w 6884782"/>
              <a:gd name="connsiteY23092" fmla="*/ 4232744 h 5973007"/>
              <a:gd name="connsiteX23093" fmla="*/ 5715935 w 6884782"/>
              <a:gd name="connsiteY23093" fmla="*/ 4232847 h 5973007"/>
              <a:gd name="connsiteX23094" fmla="*/ 5707570 w 6884782"/>
              <a:gd name="connsiteY23094" fmla="*/ 4229957 h 5973007"/>
              <a:gd name="connsiteX23095" fmla="*/ 5701684 w 6884782"/>
              <a:gd name="connsiteY23095" fmla="*/ 4223555 h 5973007"/>
              <a:gd name="connsiteX23096" fmla="*/ 5701219 w 6884782"/>
              <a:gd name="connsiteY23096" fmla="*/ 4211370 h 5973007"/>
              <a:gd name="connsiteX23097" fmla="*/ 5701219 w 6884782"/>
              <a:gd name="connsiteY23097" fmla="*/ 4211164 h 5973007"/>
              <a:gd name="connsiteX23098" fmla="*/ 5699051 w 6884782"/>
              <a:gd name="connsiteY23098" fmla="*/ 4213332 h 5973007"/>
              <a:gd name="connsiteX23099" fmla="*/ 5698122 w 6884782"/>
              <a:gd name="connsiteY23099" fmla="*/ 4218805 h 5973007"/>
              <a:gd name="connsiteX23100" fmla="*/ 5698431 w 6884782"/>
              <a:gd name="connsiteY23100" fmla="*/ 4222729 h 5973007"/>
              <a:gd name="connsiteX23101" fmla="*/ 5697347 w 6884782"/>
              <a:gd name="connsiteY23101" fmla="*/ 4224380 h 5973007"/>
              <a:gd name="connsiteX23102" fmla="*/ 5692081 w 6884782"/>
              <a:gd name="connsiteY23102" fmla="*/ 4227788 h 5973007"/>
              <a:gd name="connsiteX23103" fmla="*/ 5690687 w 6884782"/>
              <a:gd name="connsiteY23103" fmla="*/ 4223761 h 5973007"/>
              <a:gd name="connsiteX23104" fmla="*/ 5691616 w 6884782"/>
              <a:gd name="connsiteY23104" fmla="*/ 4220560 h 5973007"/>
              <a:gd name="connsiteX23105" fmla="*/ 5690996 w 6884782"/>
              <a:gd name="connsiteY23105" fmla="*/ 4221076 h 5973007"/>
              <a:gd name="connsiteX23106" fmla="*/ 5682942 w 6884782"/>
              <a:gd name="connsiteY23106" fmla="*/ 4223451 h 5973007"/>
              <a:gd name="connsiteX23107" fmla="*/ 5692236 w 6884782"/>
              <a:gd name="connsiteY23107" fmla="*/ 4208273 h 5973007"/>
              <a:gd name="connsiteX23108" fmla="*/ 5699051 w 6884782"/>
              <a:gd name="connsiteY23108" fmla="*/ 4205175 h 5973007"/>
              <a:gd name="connsiteX23109" fmla="*/ 5698122 w 6884782"/>
              <a:gd name="connsiteY23109" fmla="*/ 4202387 h 5973007"/>
              <a:gd name="connsiteX23110" fmla="*/ 5703233 w 6884782"/>
              <a:gd name="connsiteY23110" fmla="*/ 4191029 h 5973007"/>
              <a:gd name="connsiteX23111" fmla="*/ 5705557 w 6884782"/>
              <a:gd name="connsiteY23111" fmla="*/ 4187725 h 5973007"/>
              <a:gd name="connsiteX23112" fmla="*/ 5706951 w 6884782"/>
              <a:gd name="connsiteY23112" fmla="*/ 4184730 h 5973007"/>
              <a:gd name="connsiteX23113" fmla="*/ 5707105 w 6884782"/>
              <a:gd name="connsiteY23113" fmla="*/ 4184420 h 5973007"/>
              <a:gd name="connsiteX23114" fmla="*/ 5707416 w 6884782"/>
              <a:gd name="connsiteY23114" fmla="*/ 4182355 h 5973007"/>
              <a:gd name="connsiteX23115" fmla="*/ 5706331 w 6884782"/>
              <a:gd name="connsiteY23115" fmla="*/ 4183595 h 5973007"/>
              <a:gd name="connsiteX23116" fmla="*/ 5700135 w 6884782"/>
              <a:gd name="connsiteY23116" fmla="*/ 4185246 h 5973007"/>
              <a:gd name="connsiteX23117" fmla="*/ 5694404 w 6884782"/>
              <a:gd name="connsiteY23117" fmla="*/ 4178019 h 5973007"/>
              <a:gd name="connsiteX23118" fmla="*/ 5692545 w 6884782"/>
              <a:gd name="connsiteY23118" fmla="*/ 4178225 h 5973007"/>
              <a:gd name="connsiteX23119" fmla="*/ 5689602 w 6884782"/>
              <a:gd name="connsiteY23119" fmla="*/ 4176160 h 5973007"/>
              <a:gd name="connsiteX23120" fmla="*/ 5690687 w 6884782"/>
              <a:gd name="connsiteY23120" fmla="*/ 4174405 h 5973007"/>
              <a:gd name="connsiteX23121" fmla="*/ 5694404 w 6884782"/>
              <a:gd name="connsiteY23121" fmla="*/ 4176057 h 5973007"/>
              <a:gd name="connsiteX23122" fmla="*/ 5695179 w 6884782"/>
              <a:gd name="connsiteY23122" fmla="*/ 4175643 h 5973007"/>
              <a:gd name="connsiteX23123" fmla="*/ 5695953 w 6884782"/>
              <a:gd name="connsiteY23123" fmla="*/ 4173269 h 5973007"/>
              <a:gd name="connsiteX23124" fmla="*/ 5703233 w 6884782"/>
              <a:gd name="connsiteY23124" fmla="*/ 4168622 h 5973007"/>
              <a:gd name="connsiteX23125" fmla="*/ 5708655 w 6884782"/>
              <a:gd name="connsiteY23125" fmla="*/ 4172856 h 5973007"/>
              <a:gd name="connsiteX23126" fmla="*/ 5709739 w 6884782"/>
              <a:gd name="connsiteY23126" fmla="*/ 4175231 h 5973007"/>
              <a:gd name="connsiteX23127" fmla="*/ 5712372 w 6884782"/>
              <a:gd name="connsiteY23127" fmla="*/ 4171410 h 5973007"/>
              <a:gd name="connsiteX23128" fmla="*/ 5719652 w 6884782"/>
              <a:gd name="connsiteY23128" fmla="*/ 4169345 h 5973007"/>
              <a:gd name="connsiteX23129" fmla="*/ 5721976 w 6884782"/>
              <a:gd name="connsiteY23129" fmla="*/ 4170584 h 5973007"/>
              <a:gd name="connsiteX23130" fmla="*/ 5731734 w 6884782"/>
              <a:gd name="connsiteY23130" fmla="*/ 4166557 h 5973007"/>
              <a:gd name="connsiteX23131" fmla="*/ 5732044 w 6884782"/>
              <a:gd name="connsiteY23131" fmla="*/ 4166557 h 5973007"/>
              <a:gd name="connsiteX23132" fmla="*/ 5733283 w 6884782"/>
              <a:gd name="connsiteY23132" fmla="*/ 4165525 h 5973007"/>
              <a:gd name="connsiteX23133" fmla="*/ 5732818 w 6884782"/>
              <a:gd name="connsiteY23133" fmla="*/ 4163769 h 5973007"/>
              <a:gd name="connsiteX23134" fmla="*/ 5725228 w 6884782"/>
              <a:gd name="connsiteY23134" fmla="*/ 4155818 h 5973007"/>
              <a:gd name="connsiteX23135" fmla="*/ 5730650 w 6884782"/>
              <a:gd name="connsiteY23135" fmla="*/ 4155715 h 5973007"/>
              <a:gd name="connsiteX23136" fmla="*/ 5730030 w 6884782"/>
              <a:gd name="connsiteY23136" fmla="*/ 4154579 h 5973007"/>
              <a:gd name="connsiteX23137" fmla="*/ 5728636 w 6884782"/>
              <a:gd name="connsiteY23137" fmla="*/ 4146216 h 5973007"/>
              <a:gd name="connsiteX23138" fmla="*/ 5728636 w 6884782"/>
              <a:gd name="connsiteY23138" fmla="*/ 4141363 h 5973007"/>
              <a:gd name="connsiteX23139" fmla="*/ 5726932 w 6884782"/>
              <a:gd name="connsiteY23139" fmla="*/ 4142808 h 5973007"/>
              <a:gd name="connsiteX23140" fmla="*/ 5719962 w 6884782"/>
              <a:gd name="connsiteY23140" fmla="*/ 4144460 h 5973007"/>
              <a:gd name="connsiteX23141" fmla="*/ 5719807 w 6884782"/>
              <a:gd name="connsiteY23141" fmla="*/ 4136406 h 5973007"/>
              <a:gd name="connsiteX23142" fmla="*/ 5723525 w 6884782"/>
              <a:gd name="connsiteY23142" fmla="*/ 4133515 h 5973007"/>
              <a:gd name="connsiteX23143" fmla="*/ 5727087 w 6884782"/>
              <a:gd name="connsiteY23143" fmla="*/ 4133928 h 5973007"/>
              <a:gd name="connsiteX23144" fmla="*/ 5728791 w 6884782"/>
              <a:gd name="connsiteY23144" fmla="*/ 4133825 h 5973007"/>
              <a:gd name="connsiteX23145" fmla="*/ 5729101 w 6884782"/>
              <a:gd name="connsiteY23145" fmla="*/ 4125461 h 5973007"/>
              <a:gd name="connsiteX23146" fmla="*/ 5727242 w 6884782"/>
              <a:gd name="connsiteY23146" fmla="*/ 4127423 h 5973007"/>
              <a:gd name="connsiteX23147" fmla="*/ 5722130 w 6884782"/>
              <a:gd name="connsiteY23147" fmla="*/ 4120918 h 5973007"/>
              <a:gd name="connsiteX23148" fmla="*/ 5725538 w 6884782"/>
              <a:gd name="connsiteY23148" fmla="*/ 4113897 h 5973007"/>
              <a:gd name="connsiteX23149" fmla="*/ 5393905 w 6884782"/>
              <a:gd name="connsiteY23149" fmla="*/ 4112864 h 5973007"/>
              <a:gd name="connsiteX23150" fmla="*/ 5393286 w 6884782"/>
              <a:gd name="connsiteY23150" fmla="*/ 4113690 h 5973007"/>
              <a:gd name="connsiteX23151" fmla="*/ 5392356 w 6884782"/>
              <a:gd name="connsiteY23151" fmla="*/ 4113070 h 5973007"/>
              <a:gd name="connsiteX23152" fmla="*/ 5393905 w 6884782"/>
              <a:gd name="connsiteY23152" fmla="*/ 4112864 h 5973007"/>
              <a:gd name="connsiteX23153" fmla="*/ 5426589 w 6884782"/>
              <a:gd name="connsiteY23153" fmla="*/ 4112761 h 5973007"/>
              <a:gd name="connsiteX23154" fmla="*/ 5426743 w 6884782"/>
              <a:gd name="connsiteY23154" fmla="*/ 4115445 h 5973007"/>
              <a:gd name="connsiteX23155" fmla="*/ 5425194 w 6884782"/>
              <a:gd name="connsiteY23155" fmla="*/ 4116271 h 5973007"/>
              <a:gd name="connsiteX23156" fmla="*/ 5424420 w 6884782"/>
              <a:gd name="connsiteY23156" fmla="*/ 4118956 h 5973007"/>
              <a:gd name="connsiteX23157" fmla="*/ 5422871 w 6884782"/>
              <a:gd name="connsiteY23157" fmla="*/ 4118853 h 5973007"/>
              <a:gd name="connsiteX23158" fmla="*/ 5424265 w 6884782"/>
              <a:gd name="connsiteY23158" fmla="*/ 4113587 h 5973007"/>
              <a:gd name="connsiteX23159" fmla="*/ 5426589 w 6884782"/>
              <a:gd name="connsiteY23159" fmla="*/ 4112761 h 5973007"/>
              <a:gd name="connsiteX23160" fmla="*/ 517685 w 6884782"/>
              <a:gd name="connsiteY23160" fmla="*/ 4112278 h 5973007"/>
              <a:gd name="connsiteX23161" fmla="*/ 522581 w 6884782"/>
              <a:gd name="connsiteY23161" fmla="*/ 4116150 h 5973007"/>
              <a:gd name="connsiteX23162" fmla="*/ 513133 w 6884782"/>
              <a:gd name="connsiteY23162" fmla="*/ 4123894 h 5973007"/>
              <a:gd name="connsiteX23163" fmla="*/ 517685 w 6884782"/>
              <a:gd name="connsiteY23163" fmla="*/ 4112278 h 5973007"/>
              <a:gd name="connsiteX23164" fmla="*/ 5289660 w 6884782"/>
              <a:gd name="connsiteY23164" fmla="*/ 4111935 h 5973007"/>
              <a:gd name="connsiteX23165" fmla="*/ 5291209 w 6884782"/>
              <a:gd name="connsiteY23165" fmla="*/ 4124532 h 5973007"/>
              <a:gd name="connsiteX23166" fmla="*/ 5286252 w 6884782"/>
              <a:gd name="connsiteY23166" fmla="*/ 4113690 h 5973007"/>
              <a:gd name="connsiteX23167" fmla="*/ 5289660 w 6884782"/>
              <a:gd name="connsiteY23167" fmla="*/ 4111935 h 5973007"/>
              <a:gd name="connsiteX23168" fmla="*/ 5611206 w 6884782"/>
              <a:gd name="connsiteY23168" fmla="*/ 4111857 h 5973007"/>
              <a:gd name="connsiteX23169" fmla="*/ 5617111 w 6884782"/>
              <a:gd name="connsiteY23169" fmla="*/ 4112141 h 5973007"/>
              <a:gd name="connsiteX23170" fmla="*/ 5618040 w 6884782"/>
              <a:gd name="connsiteY23170" fmla="*/ 4116891 h 5973007"/>
              <a:gd name="connsiteX23171" fmla="*/ 5616336 w 6884782"/>
              <a:gd name="connsiteY23171" fmla="*/ 4119059 h 5973007"/>
              <a:gd name="connsiteX23172" fmla="*/ 5617730 w 6884782"/>
              <a:gd name="connsiteY23172" fmla="*/ 4120918 h 5973007"/>
              <a:gd name="connsiteX23173" fmla="*/ 5615252 w 6884782"/>
              <a:gd name="connsiteY23173" fmla="*/ 4123396 h 5973007"/>
              <a:gd name="connsiteX23174" fmla="*/ 5611844 w 6884782"/>
              <a:gd name="connsiteY23174" fmla="*/ 4121434 h 5973007"/>
              <a:gd name="connsiteX23175" fmla="*/ 5609211 w 6884782"/>
              <a:gd name="connsiteY23175" fmla="*/ 4121228 h 5973007"/>
              <a:gd name="connsiteX23176" fmla="*/ 5603480 w 6884782"/>
              <a:gd name="connsiteY23176" fmla="*/ 4120918 h 5973007"/>
              <a:gd name="connsiteX23177" fmla="*/ 5602396 w 6884782"/>
              <a:gd name="connsiteY23177" fmla="*/ 4116684 h 5973007"/>
              <a:gd name="connsiteX23178" fmla="*/ 5611206 w 6884782"/>
              <a:gd name="connsiteY23178" fmla="*/ 4111857 h 5973007"/>
              <a:gd name="connsiteX23179" fmla="*/ 5574611 w 6884782"/>
              <a:gd name="connsiteY23179" fmla="*/ 4110140 h 5973007"/>
              <a:gd name="connsiteX23180" fmla="*/ 5585047 w 6884782"/>
              <a:gd name="connsiteY23180" fmla="*/ 4113793 h 5973007"/>
              <a:gd name="connsiteX23181" fmla="*/ 5573895 w 6884782"/>
              <a:gd name="connsiteY23181" fmla="*/ 4124738 h 5973007"/>
              <a:gd name="connsiteX23182" fmla="*/ 5569403 w 6884782"/>
              <a:gd name="connsiteY23182" fmla="*/ 4119575 h 5973007"/>
              <a:gd name="connsiteX23183" fmla="*/ 5574611 w 6884782"/>
              <a:gd name="connsiteY23183" fmla="*/ 4110140 h 5973007"/>
              <a:gd name="connsiteX23184" fmla="*/ 5396229 w 6884782"/>
              <a:gd name="connsiteY23184" fmla="*/ 4108940 h 5973007"/>
              <a:gd name="connsiteX23185" fmla="*/ 5397158 w 6884782"/>
              <a:gd name="connsiteY23185" fmla="*/ 4113380 h 5973007"/>
              <a:gd name="connsiteX23186" fmla="*/ 5396074 w 6884782"/>
              <a:gd name="connsiteY23186" fmla="*/ 4113690 h 5973007"/>
              <a:gd name="connsiteX23187" fmla="*/ 5396229 w 6884782"/>
              <a:gd name="connsiteY23187" fmla="*/ 4108940 h 5973007"/>
              <a:gd name="connsiteX23188" fmla="*/ 5096194 w 6884782"/>
              <a:gd name="connsiteY23188" fmla="*/ 4108114 h 5973007"/>
              <a:gd name="connsiteX23189" fmla="*/ 5097898 w 6884782"/>
              <a:gd name="connsiteY23189" fmla="*/ 4108940 h 5973007"/>
              <a:gd name="connsiteX23190" fmla="*/ 5099447 w 6884782"/>
              <a:gd name="connsiteY23190" fmla="*/ 4109250 h 5973007"/>
              <a:gd name="connsiteX23191" fmla="*/ 5099447 w 6884782"/>
              <a:gd name="connsiteY23191" fmla="*/ 4109973 h 5973007"/>
              <a:gd name="connsiteX23192" fmla="*/ 5102236 w 6884782"/>
              <a:gd name="connsiteY23192" fmla="*/ 4115652 h 5973007"/>
              <a:gd name="connsiteX23193" fmla="*/ 5100841 w 6884782"/>
              <a:gd name="connsiteY23193" fmla="*/ 4119885 h 5973007"/>
              <a:gd name="connsiteX23194" fmla="*/ 5096659 w 6884782"/>
              <a:gd name="connsiteY23194" fmla="*/ 4120092 h 5973007"/>
              <a:gd name="connsiteX23195" fmla="*/ 5095110 w 6884782"/>
              <a:gd name="connsiteY23195" fmla="*/ 4118749 h 5973007"/>
              <a:gd name="connsiteX23196" fmla="*/ 5093251 w 6884782"/>
              <a:gd name="connsiteY23196" fmla="*/ 4120092 h 5973007"/>
              <a:gd name="connsiteX23197" fmla="*/ 5088914 w 6884782"/>
              <a:gd name="connsiteY23197" fmla="*/ 4122673 h 5973007"/>
              <a:gd name="connsiteX23198" fmla="*/ 5086126 w 6884782"/>
              <a:gd name="connsiteY23198" fmla="*/ 4119266 h 5973007"/>
              <a:gd name="connsiteX23199" fmla="*/ 5087211 w 6884782"/>
              <a:gd name="connsiteY23199" fmla="*/ 4114722 h 5973007"/>
              <a:gd name="connsiteX23200" fmla="*/ 5088140 w 6884782"/>
              <a:gd name="connsiteY23200" fmla="*/ 4113897 h 5973007"/>
              <a:gd name="connsiteX23201" fmla="*/ 5092477 w 6884782"/>
              <a:gd name="connsiteY23201" fmla="*/ 4110799 h 5973007"/>
              <a:gd name="connsiteX23202" fmla="*/ 5092787 w 6884782"/>
              <a:gd name="connsiteY23202" fmla="*/ 4108527 h 5973007"/>
              <a:gd name="connsiteX23203" fmla="*/ 5096194 w 6884782"/>
              <a:gd name="connsiteY23203" fmla="*/ 4108114 h 5973007"/>
              <a:gd name="connsiteX23204" fmla="*/ 5759306 w 6884782"/>
              <a:gd name="connsiteY23204" fmla="*/ 4107804 h 5973007"/>
              <a:gd name="connsiteX23205" fmla="*/ 5761629 w 6884782"/>
              <a:gd name="connsiteY23205" fmla="*/ 4110799 h 5973007"/>
              <a:gd name="connsiteX23206" fmla="*/ 5759925 w 6884782"/>
              <a:gd name="connsiteY23206" fmla="*/ 4111625 h 5973007"/>
              <a:gd name="connsiteX23207" fmla="*/ 5758376 w 6884782"/>
              <a:gd name="connsiteY23207" fmla="*/ 4111108 h 5973007"/>
              <a:gd name="connsiteX23208" fmla="*/ 5757912 w 6884782"/>
              <a:gd name="connsiteY23208" fmla="*/ 4109663 h 5973007"/>
              <a:gd name="connsiteX23209" fmla="*/ 5759306 w 6884782"/>
              <a:gd name="connsiteY23209" fmla="*/ 4107804 h 5973007"/>
              <a:gd name="connsiteX23210" fmla="*/ 5193528 w 6884782"/>
              <a:gd name="connsiteY23210" fmla="*/ 4107507 h 5973007"/>
              <a:gd name="connsiteX23211" fmla="*/ 5201524 w 6884782"/>
              <a:gd name="connsiteY23211" fmla="*/ 4108527 h 5973007"/>
              <a:gd name="connsiteX23212" fmla="*/ 5202144 w 6884782"/>
              <a:gd name="connsiteY23212" fmla="*/ 4115755 h 5973007"/>
              <a:gd name="connsiteX23213" fmla="*/ 5198736 w 6884782"/>
              <a:gd name="connsiteY23213" fmla="*/ 4116271 h 5973007"/>
              <a:gd name="connsiteX23214" fmla="*/ 5199046 w 6884782"/>
              <a:gd name="connsiteY23214" fmla="*/ 4117510 h 5973007"/>
              <a:gd name="connsiteX23215" fmla="*/ 5198117 w 6884782"/>
              <a:gd name="connsiteY23215" fmla="*/ 4120608 h 5973007"/>
              <a:gd name="connsiteX23216" fmla="*/ 5193934 w 6884782"/>
              <a:gd name="connsiteY23216" fmla="*/ 4117510 h 5973007"/>
              <a:gd name="connsiteX23217" fmla="*/ 5193779 w 6884782"/>
              <a:gd name="connsiteY23217" fmla="*/ 4117097 h 5973007"/>
              <a:gd name="connsiteX23218" fmla="*/ 5192230 w 6884782"/>
              <a:gd name="connsiteY23218" fmla="*/ 4117407 h 5973007"/>
              <a:gd name="connsiteX23219" fmla="*/ 5189132 w 6884782"/>
              <a:gd name="connsiteY23219" fmla="*/ 4116478 h 5973007"/>
              <a:gd name="connsiteX23220" fmla="*/ 5193528 w 6884782"/>
              <a:gd name="connsiteY23220" fmla="*/ 4107507 h 5973007"/>
              <a:gd name="connsiteX23221" fmla="*/ 712794 w 6884782"/>
              <a:gd name="connsiteY23221" fmla="*/ 4106547 h 5973007"/>
              <a:gd name="connsiteX23222" fmla="*/ 715117 w 6884782"/>
              <a:gd name="connsiteY23222" fmla="*/ 4107064 h 5973007"/>
              <a:gd name="connsiteX23223" fmla="*/ 715117 w 6884782"/>
              <a:gd name="connsiteY23223" fmla="*/ 4109026 h 5973007"/>
              <a:gd name="connsiteX23224" fmla="*/ 715892 w 6884782"/>
              <a:gd name="connsiteY23224" fmla="*/ 4110471 h 5973007"/>
              <a:gd name="connsiteX23225" fmla="*/ 715117 w 6884782"/>
              <a:gd name="connsiteY23225" fmla="*/ 4110987 h 5973007"/>
              <a:gd name="connsiteX23226" fmla="*/ 714653 w 6884782"/>
              <a:gd name="connsiteY23226" fmla="*/ 4112227 h 5973007"/>
              <a:gd name="connsiteX23227" fmla="*/ 710935 w 6884782"/>
              <a:gd name="connsiteY23227" fmla="*/ 4112536 h 5973007"/>
              <a:gd name="connsiteX23228" fmla="*/ 709232 w 6884782"/>
              <a:gd name="connsiteY23228" fmla="*/ 4111710 h 5973007"/>
              <a:gd name="connsiteX23229" fmla="*/ 708766 w 6884782"/>
              <a:gd name="connsiteY23229" fmla="*/ 4110161 h 5973007"/>
              <a:gd name="connsiteX23230" fmla="*/ 709851 w 6884782"/>
              <a:gd name="connsiteY23230" fmla="*/ 4108406 h 5973007"/>
              <a:gd name="connsiteX23231" fmla="*/ 712794 w 6884782"/>
              <a:gd name="connsiteY23231" fmla="*/ 4106547 h 5973007"/>
              <a:gd name="connsiteX23232" fmla="*/ 5114782 w 6884782"/>
              <a:gd name="connsiteY23232" fmla="*/ 4106049 h 5973007"/>
              <a:gd name="connsiteX23233" fmla="*/ 5118809 w 6884782"/>
              <a:gd name="connsiteY23233" fmla="*/ 4112658 h 5973007"/>
              <a:gd name="connsiteX23234" fmla="*/ 5115247 w 6884782"/>
              <a:gd name="connsiteY23234" fmla="*/ 4114103 h 5973007"/>
              <a:gd name="connsiteX23235" fmla="*/ 5112458 w 6884782"/>
              <a:gd name="connsiteY23235" fmla="*/ 4112244 h 5973007"/>
              <a:gd name="connsiteX23236" fmla="*/ 5114782 w 6884782"/>
              <a:gd name="connsiteY23236" fmla="*/ 4106049 h 5973007"/>
              <a:gd name="connsiteX23237" fmla="*/ 5420547 w 6884782"/>
              <a:gd name="connsiteY23237" fmla="*/ 4105842 h 5973007"/>
              <a:gd name="connsiteX23238" fmla="*/ 5423181 w 6884782"/>
              <a:gd name="connsiteY23238" fmla="*/ 4105946 h 5973007"/>
              <a:gd name="connsiteX23239" fmla="*/ 5422406 w 6884782"/>
              <a:gd name="connsiteY23239" fmla="*/ 4107598 h 5973007"/>
              <a:gd name="connsiteX23240" fmla="*/ 5419153 w 6884782"/>
              <a:gd name="connsiteY23240" fmla="*/ 4111831 h 5973007"/>
              <a:gd name="connsiteX23241" fmla="*/ 5418069 w 6884782"/>
              <a:gd name="connsiteY23241" fmla="*/ 4109147 h 5973007"/>
              <a:gd name="connsiteX23242" fmla="*/ 5419773 w 6884782"/>
              <a:gd name="connsiteY23242" fmla="*/ 4107495 h 5973007"/>
              <a:gd name="connsiteX23243" fmla="*/ 5420547 w 6884782"/>
              <a:gd name="connsiteY23243" fmla="*/ 4105842 h 5973007"/>
              <a:gd name="connsiteX23244" fmla="*/ 5340156 w 6884782"/>
              <a:gd name="connsiteY23244" fmla="*/ 4105842 h 5973007"/>
              <a:gd name="connsiteX23245" fmla="*/ 5340931 w 6884782"/>
              <a:gd name="connsiteY23245" fmla="*/ 4106255 h 5973007"/>
              <a:gd name="connsiteX23246" fmla="*/ 5340776 w 6884782"/>
              <a:gd name="connsiteY23246" fmla="*/ 4108217 h 5973007"/>
              <a:gd name="connsiteX23247" fmla="*/ 5336749 w 6884782"/>
              <a:gd name="connsiteY23247" fmla="*/ 4115239 h 5973007"/>
              <a:gd name="connsiteX23248" fmla="*/ 5335974 w 6884782"/>
              <a:gd name="connsiteY23248" fmla="*/ 4116788 h 5973007"/>
              <a:gd name="connsiteX23249" fmla="*/ 5333806 w 6884782"/>
              <a:gd name="connsiteY23249" fmla="*/ 4117407 h 5973007"/>
              <a:gd name="connsiteX23250" fmla="*/ 5336284 w 6884782"/>
              <a:gd name="connsiteY23250" fmla="*/ 4110282 h 5973007"/>
              <a:gd name="connsiteX23251" fmla="*/ 5337988 w 6884782"/>
              <a:gd name="connsiteY23251" fmla="*/ 4106462 h 5973007"/>
              <a:gd name="connsiteX23252" fmla="*/ 5340156 w 6884782"/>
              <a:gd name="connsiteY23252" fmla="*/ 4105842 h 5973007"/>
              <a:gd name="connsiteX23253" fmla="*/ 5315838 w 6884782"/>
              <a:gd name="connsiteY23253" fmla="*/ 4105739 h 5973007"/>
              <a:gd name="connsiteX23254" fmla="*/ 5317851 w 6884782"/>
              <a:gd name="connsiteY23254" fmla="*/ 4107495 h 5973007"/>
              <a:gd name="connsiteX23255" fmla="*/ 5315838 w 6884782"/>
              <a:gd name="connsiteY23255" fmla="*/ 4109560 h 5973007"/>
              <a:gd name="connsiteX23256" fmla="*/ 5313359 w 6884782"/>
              <a:gd name="connsiteY23256" fmla="*/ 4110282 h 5973007"/>
              <a:gd name="connsiteX23257" fmla="*/ 5312430 w 6884782"/>
              <a:gd name="connsiteY23257" fmla="*/ 4109250 h 5973007"/>
              <a:gd name="connsiteX23258" fmla="*/ 5311810 w 6884782"/>
              <a:gd name="connsiteY23258" fmla="*/ 4107288 h 5973007"/>
              <a:gd name="connsiteX23259" fmla="*/ 5315838 w 6884782"/>
              <a:gd name="connsiteY23259" fmla="*/ 4105739 h 5973007"/>
              <a:gd name="connsiteX23260" fmla="*/ 692502 w 6884782"/>
              <a:gd name="connsiteY23260" fmla="*/ 4103863 h 5973007"/>
              <a:gd name="connsiteX23261" fmla="*/ 708766 w 6884782"/>
              <a:gd name="connsiteY23261" fmla="*/ 4111297 h 5973007"/>
              <a:gd name="connsiteX23262" fmla="*/ 705669 w 6884782"/>
              <a:gd name="connsiteY23262" fmla="*/ 4112949 h 5973007"/>
              <a:gd name="connsiteX23263" fmla="*/ 701641 w 6884782"/>
              <a:gd name="connsiteY23263" fmla="*/ 4112743 h 5973007"/>
              <a:gd name="connsiteX23264" fmla="*/ 694051 w 6884782"/>
              <a:gd name="connsiteY23264" fmla="*/ 4109542 h 5973007"/>
              <a:gd name="connsiteX23265" fmla="*/ 692502 w 6884782"/>
              <a:gd name="connsiteY23265" fmla="*/ 4103863 h 5973007"/>
              <a:gd name="connsiteX23266" fmla="*/ 5382753 w 6884782"/>
              <a:gd name="connsiteY23266" fmla="*/ 4102229 h 5973007"/>
              <a:gd name="connsiteX23267" fmla="*/ 5368657 w 6884782"/>
              <a:gd name="connsiteY23267" fmla="*/ 4109457 h 5973007"/>
              <a:gd name="connsiteX23268" fmla="*/ 5368502 w 6884782"/>
              <a:gd name="connsiteY23268" fmla="*/ 4105946 h 5973007"/>
              <a:gd name="connsiteX23269" fmla="*/ 5370206 w 6884782"/>
              <a:gd name="connsiteY23269" fmla="*/ 4105946 h 5973007"/>
              <a:gd name="connsiteX23270" fmla="*/ 5382753 w 6884782"/>
              <a:gd name="connsiteY23270" fmla="*/ 4102229 h 5973007"/>
              <a:gd name="connsiteX23271" fmla="*/ 1416892 w 6884782"/>
              <a:gd name="connsiteY23271" fmla="*/ 4102104 h 5973007"/>
              <a:gd name="connsiteX23272" fmla="*/ 1415093 w 6884782"/>
              <a:gd name="connsiteY23272" fmla="*/ 4103140 h 5973007"/>
              <a:gd name="connsiteX23273" fmla="*/ 1411376 w 6884782"/>
              <a:gd name="connsiteY23273" fmla="*/ 4105411 h 5973007"/>
              <a:gd name="connsiteX23274" fmla="*/ 1410292 w 6884782"/>
              <a:gd name="connsiteY23274" fmla="*/ 4108406 h 5973007"/>
              <a:gd name="connsiteX23275" fmla="*/ 1406884 w 6884782"/>
              <a:gd name="connsiteY23275" fmla="*/ 4113466 h 5973007"/>
              <a:gd name="connsiteX23276" fmla="*/ 1405180 w 6884782"/>
              <a:gd name="connsiteY23276" fmla="*/ 4109748 h 5973007"/>
              <a:gd name="connsiteX23277" fmla="*/ 1400224 w 6884782"/>
              <a:gd name="connsiteY23277" fmla="*/ 4114911 h 5973007"/>
              <a:gd name="connsiteX23278" fmla="*/ 1405335 w 6884782"/>
              <a:gd name="connsiteY23278" fmla="*/ 4113362 h 5973007"/>
              <a:gd name="connsiteX23279" fmla="*/ 1404871 w 6884782"/>
              <a:gd name="connsiteY23279" fmla="*/ 4118732 h 5973007"/>
              <a:gd name="connsiteX23280" fmla="*/ 1403012 w 6884782"/>
              <a:gd name="connsiteY23280" fmla="*/ 4119454 h 5973007"/>
              <a:gd name="connsiteX23281" fmla="*/ 1403786 w 6884782"/>
              <a:gd name="connsiteY23281" fmla="*/ 4119764 h 5973007"/>
              <a:gd name="connsiteX23282" fmla="*/ 1404560 w 6884782"/>
              <a:gd name="connsiteY23282" fmla="*/ 4119971 h 5973007"/>
              <a:gd name="connsiteX23283" fmla="*/ 1405490 w 6884782"/>
              <a:gd name="connsiteY23283" fmla="*/ 4118318 h 5973007"/>
              <a:gd name="connsiteX23284" fmla="*/ 1408898 w 6884782"/>
              <a:gd name="connsiteY23284" fmla="*/ 4116976 h 5973007"/>
              <a:gd name="connsiteX23285" fmla="*/ 1409827 w 6884782"/>
              <a:gd name="connsiteY23285" fmla="*/ 4118835 h 5973007"/>
              <a:gd name="connsiteX23286" fmla="*/ 1406264 w 6884782"/>
              <a:gd name="connsiteY23286" fmla="*/ 4121003 h 5973007"/>
              <a:gd name="connsiteX23287" fmla="*/ 1406264 w 6884782"/>
              <a:gd name="connsiteY23287" fmla="*/ 4121829 h 5973007"/>
              <a:gd name="connsiteX23288" fmla="*/ 1406419 w 6884782"/>
              <a:gd name="connsiteY23288" fmla="*/ 4122036 h 5973007"/>
              <a:gd name="connsiteX23289" fmla="*/ 1407504 w 6884782"/>
              <a:gd name="connsiteY23289" fmla="*/ 4123378 h 5973007"/>
              <a:gd name="connsiteX23290" fmla="*/ 1410602 w 6884782"/>
              <a:gd name="connsiteY23290" fmla="*/ 4121003 h 5973007"/>
              <a:gd name="connsiteX23291" fmla="*/ 1423543 w 6884782"/>
              <a:gd name="connsiteY23291" fmla="*/ 4111626 h 5973007"/>
              <a:gd name="connsiteX23292" fmla="*/ 1418401 w 6884782"/>
              <a:gd name="connsiteY23292" fmla="*/ 4104184 h 5973007"/>
              <a:gd name="connsiteX23293" fmla="*/ 5664509 w 6884782"/>
              <a:gd name="connsiteY23293" fmla="*/ 4101609 h 5973007"/>
              <a:gd name="connsiteX23294" fmla="*/ 5670705 w 6884782"/>
              <a:gd name="connsiteY23294" fmla="*/ 4109766 h 5973007"/>
              <a:gd name="connsiteX23295" fmla="*/ 5668226 w 6884782"/>
              <a:gd name="connsiteY23295" fmla="*/ 4110076 h 5973007"/>
              <a:gd name="connsiteX23296" fmla="*/ 5664509 w 6884782"/>
              <a:gd name="connsiteY23296" fmla="*/ 4101609 h 5973007"/>
              <a:gd name="connsiteX23297" fmla="*/ 5290435 w 6884782"/>
              <a:gd name="connsiteY23297" fmla="*/ 4100680 h 5973007"/>
              <a:gd name="connsiteX23298" fmla="*/ 5292758 w 6884782"/>
              <a:gd name="connsiteY23298" fmla="*/ 4108940 h 5973007"/>
              <a:gd name="connsiteX23299" fmla="*/ 5288421 w 6884782"/>
              <a:gd name="connsiteY23299" fmla="*/ 4110902 h 5973007"/>
              <a:gd name="connsiteX23300" fmla="*/ 5282999 w 6884782"/>
              <a:gd name="connsiteY23300" fmla="*/ 4109973 h 5973007"/>
              <a:gd name="connsiteX23301" fmla="*/ 5290435 w 6884782"/>
              <a:gd name="connsiteY23301" fmla="*/ 4100680 h 5973007"/>
              <a:gd name="connsiteX23302" fmla="*/ 5389258 w 6884782"/>
              <a:gd name="connsiteY23302" fmla="*/ 4098305 h 5973007"/>
              <a:gd name="connsiteX23303" fmla="*/ 5385851 w 6884782"/>
              <a:gd name="connsiteY23303" fmla="*/ 4100783 h 5973007"/>
              <a:gd name="connsiteX23304" fmla="*/ 5385076 w 6884782"/>
              <a:gd name="connsiteY23304" fmla="*/ 4099854 h 5973007"/>
              <a:gd name="connsiteX23305" fmla="*/ 5389258 w 6884782"/>
              <a:gd name="connsiteY23305" fmla="*/ 4098305 h 5973007"/>
              <a:gd name="connsiteX23306" fmla="*/ 5375995 w 6884782"/>
              <a:gd name="connsiteY23306" fmla="*/ 4097621 h 5973007"/>
              <a:gd name="connsiteX23307" fmla="*/ 5380739 w 6884782"/>
              <a:gd name="connsiteY23307" fmla="*/ 4097892 h 5973007"/>
              <a:gd name="connsiteX23308" fmla="*/ 5380739 w 6884782"/>
              <a:gd name="connsiteY23308" fmla="*/ 4098718 h 5973007"/>
              <a:gd name="connsiteX23309" fmla="*/ 5372065 w 6884782"/>
              <a:gd name="connsiteY23309" fmla="*/ 4100370 h 5973007"/>
              <a:gd name="connsiteX23310" fmla="*/ 5368967 w 6884782"/>
              <a:gd name="connsiteY23310" fmla="*/ 4099957 h 5973007"/>
              <a:gd name="connsiteX23311" fmla="*/ 5369742 w 6884782"/>
              <a:gd name="connsiteY23311" fmla="*/ 4099957 h 5973007"/>
              <a:gd name="connsiteX23312" fmla="*/ 5368812 w 6884782"/>
              <a:gd name="connsiteY23312" fmla="*/ 4099131 h 5973007"/>
              <a:gd name="connsiteX23313" fmla="*/ 5375995 w 6884782"/>
              <a:gd name="connsiteY23313" fmla="*/ 4097621 h 5973007"/>
              <a:gd name="connsiteX23314" fmla="*/ 5634459 w 6884782"/>
              <a:gd name="connsiteY23314" fmla="*/ 4097375 h 5973007"/>
              <a:gd name="connsiteX23315" fmla="*/ 5633065 w 6884782"/>
              <a:gd name="connsiteY23315" fmla="*/ 4109043 h 5973007"/>
              <a:gd name="connsiteX23316" fmla="*/ 5629347 w 6884782"/>
              <a:gd name="connsiteY23316" fmla="*/ 4104707 h 5973007"/>
              <a:gd name="connsiteX23317" fmla="*/ 5634459 w 6884782"/>
              <a:gd name="connsiteY23317" fmla="*/ 4097375 h 5973007"/>
              <a:gd name="connsiteX23318" fmla="*/ 5852088 w 6884782"/>
              <a:gd name="connsiteY23318" fmla="*/ 4097272 h 5973007"/>
              <a:gd name="connsiteX23319" fmla="*/ 5845893 w 6884782"/>
              <a:gd name="connsiteY23319" fmla="*/ 4102848 h 5973007"/>
              <a:gd name="connsiteX23320" fmla="*/ 5838922 w 6884782"/>
              <a:gd name="connsiteY23320" fmla="*/ 4108114 h 5973007"/>
              <a:gd name="connsiteX23321" fmla="*/ 5844653 w 6884782"/>
              <a:gd name="connsiteY23321" fmla="*/ 4127010 h 5973007"/>
              <a:gd name="connsiteX23322" fmla="*/ 5846512 w 6884782"/>
              <a:gd name="connsiteY23322" fmla="*/ 4133102 h 5973007"/>
              <a:gd name="connsiteX23323" fmla="*/ 5849145 w 6884782"/>
              <a:gd name="connsiteY23323" fmla="*/ 4130521 h 5973007"/>
              <a:gd name="connsiteX23324" fmla="*/ 5856271 w 6884782"/>
              <a:gd name="connsiteY23324" fmla="*/ 4128146 h 5973007"/>
              <a:gd name="connsiteX23325" fmla="*/ 5857200 w 6884782"/>
              <a:gd name="connsiteY23325" fmla="*/ 4128146 h 5973007"/>
              <a:gd name="connsiteX23326" fmla="*/ 5857200 w 6884782"/>
              <a:gd name="connsiteY23326" fmla="*/ 4127939 h 5973007"/>
              <a:gd name="connsiteX23327" fmla="*/ 5855341 w 6884782"/>
              <a:gd name="connsiteY23327" fmla="*/ 4123499 h 5973007"/>
              <a:gd name="connsiteX23328" fmla="*/ 5859369 w 6884782"/>
              <a:gd name="connsiteY23328" fmla="*/ 4124015 h 5973007"/>
              <a:gd name="connsiteX23329" fmla="*/ 5858129 w 6884782"/>
              <a:gd name="connsiteY23329" fmla="*/ 4118233 h 5973007"/>
              <a:gd name="connsiteX23330" fmla="*/ 5857820 w 6884782"/>
              <a:gd name="connsiteY23330" fmla="*/ 4117820 h 5973007"/>
              <a:gd name="connsiteX23331" fmla="*/ 5856581 w 6884782"/>
              <a:gd name="connsiteY23331" fmla="*/ 4119369 h 5973007"/>
              <a:gd name="connsiteX23332" fmla="*/ 5856581 w 6884782"/>
              <a:gd name="connsiteY23332" fmla="*/ 4121744 h 5973007"/>
              <a:gd name="connsiteX23333" fmla="*/ 5853483 w 6884782"/>
              <a:gd name="connsiteY23333" fmla="*/ 4104397 h 5973007"/>
              <a:gd name="connsiteX23334" fmla="*/ 5853173 w 6884782"/>
              <a:gd name="connsiteY23334" fmla="*/ 4104294 h 5973007"/>
              <a:gd name="connsiteX23335" fmla="*/ 5853328 w 6884782"/>
              <a:gd name="connsiteY23335" fmla="*/ 4103984 h 5973007"/>
              <a:gd name="connsiteX23336" fmla="*/ 5585512 w 6884782"/>
              <a:gd name="connsiteY23336" fmla="*/ 4097169 h 5973007"/>
              <a:gd name="connsiteX23337" fmla="*/ 5590624 w 6884782"/>
              <a:gd name="connsiteY23337" fmla="*/ 4099957 h 5973007"/>
              <a:gd name="connsiteX23338" fmla="*/ 5587525 w 6884782"/>
              <a:gd name="connsiteY23338" fmla="*/ 4104191 h 5973007"/>
              <a:gd name="connsiteX23339" fmla="*/ 5585512 w 6884782"/>
              <a:gd name="connsiteY23339" fmla="*/ 4097169 h 5973007"/>
              <a:gd name="connsiteX23340" fmla="*/ 688166 w 6884782"/>
              <a:gd name="connsiteY23340" fmla="*/ 4096428 h 5973007"/>
              <a:gd name="connsiteX23341" fmla="*/ 690489 w 6884782"/>
              <a:gd name="connsiteY23341" fmla="*/ 4112743 h 5973007"/>
              <a:gd name="connsiteX23342" fmla="*/ 688630 w 6884782"/>
              <a:gd name="connsiteY23342" fmla="*/ 4112846 h 5973007"/>
              <a:gd name="connsiteX23343" fmla="*/ 687081 w 6884782"/>
              <a:gd name="connsiteY23343" fmla="*/ 4111194 h 5973007"/>
              <a:gd name="connsiteX23344" fmla="*/ 685532 w 6884782"/>
              <a:gd name="connsiteY23344" fmla="*/ 4102934 h 5973007"/>
              <a:gd name="connsiteX23345" fmla="*/ 685532 w 6884782"/>
              <a:gd name="connsiteY23345" fmla="*/ 4101075 h 5973007"/>
              <a:gd name="connsiteX23346" fmla="*/ 685532 w 6884782"/>
              <a:gd name="connsiteY23346" fmla="*/ 4099113 h 5973007"/>
              <a:gd name="connsiteX23347" fmla="*/ 688166 w 6884782"/>
              <a:gd name="connsiteY23347" fmla="*/ 4096428 h 5973007"/>
              <a:gd name="connsiteX23348" fmla="*/ 5795396 w 6884782"/>
              <a:gd name="connsiteY23348" fmla="*/ 4096343 h 5973007"/>
              <a:gd name="connsiteX23349" fmla="*/ 5800508 w 6884782"/>
              <a:gd name="connsiteY23349" fmla="*/ 4098924 h 5973007"/>
              <a:gd name="connsiteX23350" fmla="*/ 5801283 w 6884782"/>
              <a:gd name="connsiteY23350" fmla="*/ 4101506 h 5973007"/>
              <a:gd name="connsiteX23351" fmla="*/ 5799579 w 6884782"/>
              <a:gd name="connsiteY23351" fmla="*/ 4101506 h 5973007"/>
              <a:gd name="connsiteX23352" fmla="*/ 5798649 w 6884782"/>
              <a:gd name="connsiteY23352" fmla="*/ 4101093 h 5973007"/>
              <a:gd name="connsiteX23353" fmla="*/ 5797875 w 6884782"/>
              <a:gd name="connsiteY23353" fmla="*/ 4099234 h 5973007"/>
              <a:gd name="connsiteX23354" fmla="*/ 5795241 w 6884782"/>
              <a:gd name="connsiteY23354" fmla="*/ 4097995 h 5973007"/>
              <a:gd name="connsiteX23355" fmla="*/ 5795396 w 6884782"/>
              <a:gd name="connsiteY23355" fmla="*/ 4096343 h 5973007"/>
              <a:gd name="connsiteX23356" fmla="*/ 5678450 w 6884782"/>
              <a:gd name="connsiteY23356" fmla="*/ 4096343 h 5973007"/>
              <a:gd name="connsiteX23357" fmla="*/ 5684646 w 6884782"/>
              <a:gd name="connsiteY23357" fmla="*/ 4105636 h 5973007"/>
              <a:gd name="connsiteX23358" fmla="*/ 5679379 w 6884782"/>
              <a:gd name="connsiteY23358" fmla="*/ 4105533 h 5973007"/>
              <a:gd name="connsiteX23359" fmla="*/ 5677365 w 6884782"/>
              <a:gd name="connsiteY23359" fmla="*/ 4101402 h 5973007"/>
              <a:gd name="connsiteX23360" fmla="*/ 5678450 w 6884782"/>
              <a:gd name="connsiteY23360" fmla="*/ 4096343 h 5973007"/>
              <a:gd name="connsiteX23361" fmla="*/ 5143380 w 6884782"/>
              <a:gd name="connsiteY23361" fmla="*/ 4095917 h 5973007"/>
              <a:gd name="connsiteX23362" fmla="*/ 5146226 w 6884782"/>
              <a:gd name="connsiteY23362" fmla="*/ 4100163 h 5973007"/>
              <a:gd name="connsiteX23363" fmla="*/ 5142663 w 6884782"/>
              <a:gd name="connsiteY23363" fmla="*/ 4100680 h 5973007"/>
              <a:gd name="connsiteX23364" fmla="*/ 5141114 w 6884782"/>
              <a:gd name="connsiteY23364" fmla="*/ 4099957 h 5973007"/>
              <a:gd name="connsiteX23365" fmla="*/ 5143380 w 6884782"/>
              <a:gd name="connsiteY23365" fmla="*/ 4095917 h 5973007"/>
              <a:gd name="connsiteX23366" fmla="*/ 5221506 w 6884782"/>
              <a:gd name="connsiteY23366" fmla="*/ 4094794 h 5973007"/>
              <a:gd name="connsiteX23367" fmla="*/ 5246754 w 6884782"/>
              <a:gd name="connsiteY23367" fmla="*/ 4100060 h 5973007"/>
              <a:gd name="connsiteX23368" fmla="*/ 5241332 w 6884782"/>
              <a:gd name="connsiteY23368" fmla="*/ 4103674 h 5973007"/>
              <a:gd name="connsiteX23369" fmla="*/ 5221506 w 6884782"/>
              <a:gd name="connsiteY23369" fmla="*/ 4094794 h 5973007"/>
              <a:gd name="connsiteX23370" fmla="*/ 5804845 w 6884782"/>
              <a:gd name="connsiteY23370" fmla="*/ 4093452 h 5973007"/>
              <a:gd name="connsiteX23371" fmla="*/ 5806394 w 6884782"/>
              <a:gd name="connsiteY23371" fmla="*/ 4095517 h 5973007"/>
              <a:gd name="connsiteX23372" fmla="*/ 5808098 w 6884782"/>
              <a:gd name="connsiteY23372" fmla="*/ 4096652 h 5973007"/>
              <a:gd name="connsiteX23373" fmla="*/ 5807943 w 6884782"/>
              <a:gd name="connsiteY23373" fmla="*/ 4099337 h 5973007"/>
              <a:gd name="connsiteX23374" fmla="*/ 5806239 w 6884782"/>
              <a:gd name="connsiteY23374" fmla="*/ 4098201 h 5973007"/>
              <a:gd name="connsiteX23375" fmla="*/ 5802367 w 6884782"/>
              <a:gd name="connsiteY23375" fmla="*/ 4093968 h 5973007"/>
              <a:gd name="connsiteX23376" fmla="*/ 5804845 w 6884782"/>
              <a:gd name="connsiteY23376" fmla="*/ 4093452 h 5973007"/>
              <a:gd name="connsiteX23377" fmla="*/ 5741337 w 6884782"/>
              <a:gd name="connsiteY23377" fmla="*/ 4093039 h 5973007"/>
              <a:gd name="connsiteX23378" fmla="*/ 5763023 w 6884782"/>
              <a:gd name="connsiteY23378" fmla="*/ 4107288 h 5973007"/>
              <a:gd name="connsiteX23379" fmla="*/ 5759151 w 6884782"/>
              <a:gd name="connsiteY23379" fmla="*/ 4104810 h 5973007"/>
              <a:gd name="connsiteX23380" fmla="*/ 5758686 w 6884782"/>
              <a:gd name="connsiteY23380" fmla="*/ 4106875 h 5973007"/>
              <a:gd name="connsiteX23381" fmla="*/ 5753574 w 6884782"/>
              <a:gd name="connsiteY23381" fmla="*/ 4109147 h 5973007"/>
              <a:gd name="connsiteX23382" fmla="*/ 5751716 w 6884782"/>
              <a:gd name="connsiteY23382" fmla="*/ 4108321 h 5973007"/>
              <a:gd name="connsiteX23383" fmla="*/ 5751096 w 6884782"/>
              <a:gd name="connsiteY23383" fmla="*/ 4106462 h 5973007"/>
              <a:gd name="connsiteX23384" fmla="*/ 5750631 w 6884782"/>
              <a:gd name="connsiteY23384" fmla="*/ 4104294 h 5973007"/>
              <a:gd name="connsiteX23385" fmla="*/ 5751870 w 6884782"/>
              <a:gd name="connsiteY23385" fmla="*/ 4101093 h 5973007"/>
              <a:gd name="connsiteX23386" fmla="*/ 5746604 w 6884782"/>
              <a:gd name="connsiteY23386" fmla="*/ 4098098 h 5973007"/>
              <a:gd name="connsiteX23387" fmla="*/ 5741337 w 6884782"/>
              <a:gd name="connsiteY23387" fmla="*/ 4093039 h 5973007"/>
              <a:gd name="connsiteX23388" fmla="*/ 5465777 w 6884782"/>
              <a:gd name="connsiteY23388" fmla="*/ 4092935 h 5973007"/>
              <a:gd name="connsiteX23389" fmla="*/ 5472902 w 6884782"/>
              <a:gd name="connsiteY23389" fmla="*/ 4094174 h 5973007"/>
              <a:gd name="connsiteX23390" fmla="*/ 5473057 w 6884782"/>
              <a:gd name="connsiteY23390" fmla="*/ 4096136 h 5973007"/>
              <a:gd name="connsiteX23391" fmla="*/ 5472593 w 6884782"/>
              <a:gd name="connsiteY23391" fmla="*/ 4098201 h 5973007"/>
              <a:gd name="connsiteX23392" fmla="*/ 5469495 w 6884782"/>
              <a:gd name="connsiteY23392" fmla="*/ 4101712 h 5973007"/>
              <a:gd name="connsiteX23393" fmla="*/ 5467016 w 6884782"/>
              <a:gd name="connsiteY23393" fmla="*/ 4102022 h 5973007"/>
              <a:gd name="connsiteX23394" fmla="*/ 5465777 w 6884782"/>
              <a:gd name="connsiteY23394" fmla="*/ 4101506 h 5973007"/>
              <a:gd name="connsiteX23395" fmla="*/ 5464228 w 6884782"/>
              <a:gd name="connsiteY23395" fmla="*/ 4100576 h 5973007"/>
              <a:gd name="connsiteX23396" fmla="*/ 5465777 w 6884782"/>
              <a:gd name="connsiteY23396" fmla="*/ 4092935 h 5973007"/>
              <a:gd name="connsiteX23397" fmla="*/ 5422096 w 6884782"/>
              <a:gd name="connsiteY23397" fmla="*/ 4092109 h 5973007"/>
              <a:gd name="connsiteX23398" fmla="*/ 5425194 w 6884782"/>
              <a:gd name="connsiteY23398" fmla="*/ 4093865 h 5973007"/>
              <a:gd name="connsiteX23399" fmla="*/ 5426124 w 6884782"/>
              <a:gd name="connsiteY23399" fmla="*/ 4101609 h 5973007"/>
              <a:gd name="connsiteX23400" fmla="*/ 5424730 w 6884782"/>
              <a:gd name="connsiteY23400" fmla="*/ 4103158 h 5973007"/>
              <a:gd name="connsiteX23401" fmla="*/ 5421322 w 6884782"/>
              <a:gd name="connsiteY23401" fmla="*/ 4100163 h 5973007"/>
              <a:gd name="connsiteX23402" fmla="*/ 5422096 w 6884782"/>
              <a:gd name="connsiteY23402" fmla="*/ 4092109 h 5973007"/>
              <a:gd name="connsiteX23403" fmla="*/ 5597807 w 6884782"/>
              <a:gd name="connsiteY23403" fmla="*/ 4091670 h 5973007"/>
              <a:gd name="connsiteX23404" fmla="*/ 5599453 w 6884782"/>
              <a:gd name="connsiteY23404" fmla="*/ 4094588 h 5973007"/>
              <a:gd name="connsiteX23405" fmla="*/ 5597594 w 6884782"/>
              <a:gd name="connsiteY23405" fmla="*/ 4096756 h 5973007"/>
              <a:gd name="connsiteX23406" fmla="*/ 5594186 w 6884782"/>
              <a:gd name="connsiteY23406" fmla="*/ 4092935 h 5973007"/>
              <a:gd name="connsiteX23407" fmla="*/ 5597807 w 6884782"/>
              <a:gd name="connsiteY23407" fmla="*/ 4091670 h 5973007"/>
              <a:gd name="connsiteX23408" fmla="*/ 5542509 w 6884782"/>
              <a:gd name="connsiteY23408" fmla="*/ 4090754 h 5973007"/>
              <a:gd name="connsiteX23409" fmla="*/ 5556856 w 6884782"/>
              <a:gd name="connsiteY23409" fmla="*/ 4093968 h 5973007"/>
              <a:gd name="connsiteX23410" fmla="*/ 5557940 w 6884782"/>
              <a:gd name="connsiteY23410" fmla="*/ 4096549 h 5973007"/>
              <a:gd name="connsiteX23411" fmla="*/ 5535016 w 6884782"/>
              <a:gd name="connsiteY23411" fmla="*/ 4116581 h 5973007"/>
              <a:gd name="connsiteX23412" fmla="*/ 5529594 w 6884782"/>
              <a:gd name="connsiteY23412" fmla="*/ 4115342 h 5973007"/>
              <a:gd name="connsiteX23413" fmla="*/ 5526187 w 6884782"/>
              <a:gd name="connsiteY23413" fmla="*/ 4113380 h 5973007"/>
              <a:gd name="connsiteX23414" fmla="*/ 5527116 w 6884782"/>
              <a:gd name="connsiteY23414" fmla="*/ 4115239 h 5973007"/>
              <a:gd name="connsiteX23415" fmla="*/ 5527735 w 6884782"/>
              <a:gd name="connsiteY23415" fmla="*/ 4115445 h 5973007"/>
              <a:gd name="connsiteX23416" fmla="*/ 5536255 w 6884782"/>
              <a:gd name="connsiteY23416" fmla="*/ 4122673 h 5973007"/>
              <a:gd name="connsiteX23417" fmla="*/ 5540282 w 6884782"/>
              <a:gd name="connsiteY23417" fmla="*/ 4120195 h 5973007"/>
              <a:gd name="connsiteX23418" fmla="*/ 5552829 w 6884782"/>
              <a:gd name="connsiteY23418" fmla="*/ 4122364 h 5973007"/>
              <a:gd name="connsiteX23419" fmla="*/ 5544774 w 6884782"/>
              <a:gd name="connsiteY23419" fmla="*/ 4125771 h 5973007"/>
              <a:gd name="connsiteX23420" fmla="*/ 5537184 w 6884782"/>
              <a:gd name="connsiteY23420" fmla="*/ 4131140 h 5973007"/>
              <a:gd name="connsiteX23421" fmla="*/ 5536565 w 6884782"/>
              <a:gd name="connsiteY23421" fmla="*/ 4133515 h 5973007"/>
              <a:gd name="connsiteX23422" fmla="*/ 5531143 w 6884782"/>
              <a:gd name="connsiteY23422" fmla="*/ 4140227 h 5973007"/>
              <a:gd name="connsiteX23423" fmla="*/ 5521540 w 6884782"/>
              <a:gd name="connsiteY23423" fmla="*/ 4137852 h 5973007"/>
              <a:gd name="connsiteX23424" fmla="*/ 5519526 w 6884782"/>
              <a:gd name="connsiteY23424" fmla="*/ 4137129 h 5973007"/>
              <a:gd name="connsiteX23425" fmla="*/ 5521385 w 6884782"/>
              <a:gd name="connsiteY23425" fmla="*/ 4139607 h 5973007"/>
              <a:gd name="connsiteX23426" fmla="*/ 5524638 w 6884782"/>
              <a:gd name="connsiteY23426" fmla="*/ 4154476 h 5973007"/>
              <a:gd name="connsiteX23427" fmla="*/ 5522624 w 6884782"/>
              <a:gd name="connsiteY23427" fmla="*/ 4156128 h 5973007"/>
              <a:gd name="connsiteX23428" fmla="*/ 5517048 w 6884782"/>
              <a:gd name="connsiteY23428" fmla="*/ 4156748 h 5973007"/>
              <a:gd name="connsiteX23429" fmla="*/ 5493968 w 6884782"/>
              <a:gd name="connsiteY23429" fmla="*/ 4127526 h 5973007"/>
              <a:gd name="connsiteX23430" fmla="*/ 5502952 w 6884782"/>
              <a:gd name="connsiteY23430" fmla="*/ 4126391 h 5973007"/>
              <a:gd name="connsiteX23431" fmla="*/ 5503107 w 6884782"/>
              <a:gd name="connsiteY23431" fmla="*/ 4126494 h 5973007"/>
              <a:gd name="connsiteX23432" fmla="*/ 5503417 w 6884782"/>
              <a:gd name="connsiteY23432" fmla="*/ 4124429 h 5973007"/>
              <a:gd name="connsiteX23433" fmla="*/ 5503107 w 6884782"/>
              <a:gd name="connsiteY23433" fmla="*/ 4122880 h 5973007"/>
              <a:gd name="connsiteX23434" fmla="*/ 5501093 w 6884782"/>
              <a:gd name="connsiteY23434" fmla="*/ 4123912 h 5973007"/>
              <a:gd name="connsiteX23435" fmla="*/ 5490096 w 6884782"/>
              <a:gd name="connsiteY23435" fmla="*/ 4120092 h 5973007"/>
              <a:gd name="connsiteX23436" fmla="*/ 5506979 w 6884782"/>
              <a:gd name="connsiteY23436" fmla="*/ 4108217 h 5973007"/>
              <a:gd name="connsiteX23437" fmla="*/ 5509458 w 6884782"/>
              <a:gd name="connsiteY23437" fmla="*/ 4112451 h 5973007"/>
              <a:gd name="connsiteX23438" fmla="*/ 5513021 w 6884782"/>
              <a:gd name="connsiteY23438" fmla="*/ 4110592 h 5973007"/>
              <a:gd name="connsiteX23439" fmla="*/ 5515964 w 6884782"/>
              <a:gd name="connsiteY23439" fmla="*/ 4110179 h 5973007"/>
              <a:gd name="connsiteX23440" fmla="*/ 5515809 w 6884782"/>
              <a:gd name="connsiteY23440" fmla="*/ 4106152 h 5973007"/>
              <a:gd name="connsiteX23441" fmla="*/ 5520920 w 6884782"/>
              <a:gd name="connsiteY23441" fmla="*/ 4106668 h 5973007"/>
              <a:gd name="connsiteX23442" fmla="*/ 5524793 w 6884782"/>
              <a:gd name="connsiteY23442" fmla="*/ 4109973 h 5973007"/>
              <a:gd name="connsiteX23443" fmla="*/ 5525722 w 6884782"/>
              <a:gd name="connsiteY23443" fmla="*/ 4103055 h 5973007"/>
              <a:gd name="connsiteX23444" fmla="*/ 5530369 w 6884782"/>
              <a:gd name="connsiteY23444" fmla="*/ 4096136 h 5973007"/>
              <a:gd name="connsiteX23445" fmla="*/ 5542509 w 6884782"/>
              <a:gd name="connsiteY23445" fmla="*/ 4090754 h 5973007"/>
              <a:gd name="connsiteX23446" fmla="*/ 5482196 w 6884782"/>
              <a:gd name="connsiteY23446" fmla="*/ 4090147 h 5973007"/>
              <a:gd name="connsiteX23447" fmla="*/ 5493349 w 6884782"/>
              <a:gd name="connsiteY23447" fmla="*/ 4090973 h 5973007"/>
              <a:gd name="connsiteX23448" fmla="*/ 5488392 w 6884782"/>
              <a:gd name="connsiteY23448" fmla="*/ 4095724 h 5973007"/>
              <a:gd name="connsiteX23449" fmla="*/ 5482196 w 6884782"/>
              <a:gd name="connsiteY23449" fmla="*/ 4090147 h 5973007"/>
              <a:gd name="connsiteX23450" fmla="*/ 5267820 w 6884782"/>
              <a:gd name="connsiteY23450" fmla="*/ 4088599 h 5973007"/>
              <a:gd name="connsiteX23451" fmla="*/ 5273086 w 6884782"/>
              <a:gd name="connsiteY23451" fmla="*/ 4089631 h 5973007"/>
              <a:gd name="connsiteX23452" fmla="*/ 5272776 w 6884782"/>
              <a:gd name="connsiteY23452" fmla="*/ 4092419 h 5973007"/>
              <a:gd name="connsiteX23453" fmla="*/ 5269214 w 6884782"/>
              <a:gd name="connsiteY23453" fmla="*/ 4095001 h 5973007"/>
              <a:gd name="connsiteX23454" fmla="*/ 5270918 w 6884782"/>
              <a:gd name="connsiteY23454" fmla="*/ 4095724 h 5973007"/>
              <a:gd name="connsiteX23455" fmla="*/ 5273861 w 6884782"/>
              <a:gd name="connsiteY23455" fmla="*/ 4099234 h 5973007"/>
              <a:gd name="connsiteX23456" fmla="*/ 5270143 w 6884782"/>
              <a:gd name="connsiteY23456" fmla="*/ 4103364 h 5973007"/>
              <a:gd name="connsiteX23457" fmla="*/ 5267820 w 6884782"/>
              <a:gd name="connsiteY23457" fmla="*/ 4103261 h 5973007"/>
              <a:gd name="connsiteX23458" fmla="*/ 5259300 w 6884782"/>
              <a:gd name="connsiteY23458" fmla="*/ 4099234 h 5973007"/>
              <a:gd name="connsiteX23459" fmla="*/ 5259920 w 6884782"/>
              <a:gd name="connsiteY23459" fmla="*/ 4094794 h 5973007"/>
              <a:gd name="connsiteX23460" fmla="*/ 5260540 w 6884782"/>
              <a:gd name="connsiteY23460" fmla="*/ 4094484 h 5973007"/>
              <a:gd name="connsiteX23461" fmla="*/ 5464228 w 6884782"/>
              <a:gd name="connsiteY23461" fmla="*/ 4088289 h 5973007"/>
              <a:gd name="connsiteX23462" fmla="*/ 5467636 w 6884782"/>
              <a:gd name="connsiteY23462" fmla="*/ 4089115 h 5973007"/>
              <a:gd name="connsiteX23463" fmla="*/ 5467481 w 6884782"/>
              <a:gd name="connsiteY23463" fmla="*/ 4090664 h 5973007"/>
              <a:gd name="connsiteX23464" fmla="*/ 5465467 w 6884782"/>
              <a:gd name="connsiteY23464" fmla="*/ 4091800 h 5973007"/>
              <a:gd name="connsiteX23465" fmla="*/ 5412957 w 6884782"/>
              <a:gd name="connsiteY23465" fmla="*/ 4088082 h 5973007"/>
              <a:gd name="connsiteX23466" fmla="*/ 5407846 w 6884782"/>
              <a:gd name="connsiteY23466" fmla="*/ 4093968 h 5973007"/>
              <a:gd name="connsiteX23467" fmla="*/ 5405832 w 6884782"/>
              <a:gd name="connsiteY23467" fmla="*/ 4093762 h 5973007"/>
              <a:gd name="connsiteX23468" fmla="*/ 5405677 w 6884782"/>
              <a:gd name="connsiteY23468" fmla="*/ 4091180 h 5973007"/>
              <a:gd name="connsiteX23469" fmla="*/ 5412957 w 6884782"/>
              <a:gd name="connsiteY23469" fmla="*/ 4088082 h 5973007"/>
              <a:gd name="connsiteX23470" fmla="*/ 5635853 w 6884782"/>
              <a:gd name="connsiteY23470" fmla="*/ 4087257 h 5973007"/>
              <a:gd name="connsiteX23471" fmla="*/ 5646076 w 6884782"/>
              <a:gd name="connsiteY23471" fmla="*/ 4089528 h 5973007"/>
              <a:gd name="connsiteX23472" fmla="*/ 5639725 w 6884782"/>
              <a:gd name="connsiteY23472" fmla="*/ 4089425 h 5973007"/>
              <a:gd name="connsiteX23473" fmla="*/ 5635853 w 6884782"/>
              <a:gd name="connsiteY23473" fmla="*/ 4087257 h 5973007"/>
              <a:gd name="connsiteX23474" fmla="*/ 5664819 w 6884782"/>
              <a:gd name="connsiteY23474" fmla="*/ 4086740 h 5973007"/>
              <a:gd name="connsiteX23475" fmla="*/ 5666987 w 6884782"/>
              <a:gd name="connsiteY23475" fmla="*/ 4088392 h 5973007"/>
              <a:gd name="connsiteX23476" fmla="*/ 5664974 w 6884782"/>
              <a:gd name="connsiteY23476" fmla="*/ 4089838 h 5973007"/>
              <a:gd name="connsiteX23477" fmla="*/ 5663270 w 6884782"/>
              <a:gd name="connsiteY23477" fmla="*/ 4088805 h 5973007"/>
              <a:gd name="connsiteX23478" fmla="*/ 5660636 w 6884782"/>
              <a:gd name="connsiteY23478" fmla="*/ 4089425 h 5973007"/>
              <a:gd name="connsiteX23479" fmla="*/ 5659707 w 6884782"/>
              <a:gd name="connsiteY23479" fmla="*/ 4087979 h 5973007"/>
              <a:gd name="connsiteX23480" fmla="*/ 5664819 w 6884782"/>
              <a:gd name="connsiteY23480" fmla="*/ 4086740 h 5973007"/>
              <a:gd name="connsiteX23481" fmla="*/ 5767360 w 6884782"/>
              <a:gd name="connsiteY23481" fmla="*/ 4086430 h 5973007"/>
              <a:gd name="connsiteX23482" fmla="*/ 5772317 w 6884782"/>
              <a:gd name="connsiteY23482" fmla="*/ 4110179 h 5973007"/>
              <a:gd name="connsiteX23483" fmla="*/ 5767360 w 6884782"/>
              <a:gd name="connsiteY23483" fmla="*/ 4086430 h 5973007"/>
              <a:gd name="connsiteX23484" fmla="*/ 5589229 w 6884782"/>
              <a:gd name="connsiteY23484" fmla="*/ 4085707 h 5973007"/>
              <a:gd name="connsiteX23485" fmla="*/ 5589229 w 6884782"/>
              <a:gd name="connsiteY23485" fmla="*/ 4091696 h 5973007"/>
              <a:gd name="connsiteX23486" fmla="*/ 5587216 w 6884782"/>
              <a:gd name="connsiteY23486" fmla="*/ 4093245 h 5973007"/>
              <a:gd name="connsiteX23487" fmla="*/ 5584428 w 6884782"/>
              <a:gd name="connsiteY23487" fmla="*/ 4092935 h 5973007"/>
              <a:gd name="connsiteX23488" fmla="*/ 5582569 w 6884782"/>
              <a:gd name="connsiteY23488" fmla="*/ 4091283 h 5973007"/>
              <a:gd name="connsiteX23489" fmla="*/ 5581794 w 6884782"/>
              <a:gd name="connsiteY23489" fmla="*/ 4086121 h 5973007"/>
              <a:gd name="connsiteX23490" fmla="*/ 5589229 w 6884782"/>
              <a:gd name="connsiteY23490" fmla="*/ 4085707 h 5973007"/>
              <a:gd name="connsiteX23491" fmla="*/ 515766 w 6884782"/>
              <a:gd name="connsiteY23491" fmla="*/ 4083315 h 5973007"/>
              <a:gd name="connsiteX23492" fmla="*/ 506473 w 6884782"/>
              <a:gd name="connsiteY23492" fmla="*/ 4099526 h 5973007"/>
              <a:gd name="connsiteX23493" fmla="*/ 503064 w 6884782"/>
              <a:gd name="connsiteY23493" fmla="*/ 4099629 h 5973007"/>
              <a:gd name="connsiteX23494" fmla="*/ 499812 w 6884782"/>
              <a:gd name="connsiteY23494" fmla="*/ 4098493 h 5973007"/>
              <a:gd name="connsiteX23495" fmla="*/ 515766 w 6884782"/>
              <a:gd name="connsiteY23495" fmla="*/ 4083315 h 5973007"/>
              <a:gd name="connsiteX23496" fmla="*/ 5354717 w 6884782"/>
              <a:gd name="connsiteY23496" fmla="*/ 4082816 h 5973007"/>
              <a:gd name="connsiteX23497" fmla="*/ 5366798 w 6884782"/>
              <a:gd name="connsiteY23497" fmla="*/ 4125564 h 5973007"/>
              <a:gd name="connsiteX23498" fmla="*/ 5345732 w 6884782"/>
              <a:gd name="connsiteY23498" fmla="*/ 4084468 h 5973007"/>
              <a:gd name="connsiteX23499" fmla="*/ 5354717 w 6884782"/>
              <a:gd name="connsiteY23499" fmla="*/ 4082816 h 5973007"/>
              <a:gd name="connsiteX23500" fmla="*/ 5263638 w 6884782"/>
              <a:gd name="connsiteY23500" fmla="*/ 4082713 h 5973007"/>
              <a:gd name="connsiteX23501" fmla="*/ 5266426 w 6884782"/>
              <a:gd name="connsiteY23501" fmla="*/ 4085811 h 5973007"/>
              <a:gd name="connsiteX23502" fmla="*/ 5257287 w 6884782"/>
              <a:gd name="connsiteY23502" fmla="*/ 4090251 h 5973007"/>
              <a:gd name="connsiteX23503" fmla="*/ 5254034 w 6884782"/>
              <a:gd name="connsiteY23503" fmla="*/ 4089941 h 5973007"/>
              <a:gd name="connsiteX23504" fmla="*/ 5252020 w 6884782"/>
              <a:gd name="connsiteY23504" fmla="*/ 4086224 h 5973007"/>
              <a:gd name="connsiteX23505" fmla="*/ 5263638 w 6884782"/>
              <a:gd name="connsiteY23505" fmla="*/ 4082713 h 5973007"/>
              <a:gd name="connsiteX23506" fmla="*/ 5422871 w 6884782"/>
              <a:gd name="connsiteY23506" fmla="*/ 4082094 h 5973007"/>
              <a:gd name="connsiteX23507" fmla="*/ 5425194 w 6884782"/>
              <a:gd name="connsiteY23507" fmla="*/ 4083333 h 5973007"/>
              <a:gd name="connsiteX23508" fmla="*/ 5425349 w 6884782"/>
              <a:gd name="connsiteY23508" fmla="*/ 4085295 h 5973007"/>
              <a:gd name="connsiteX23509" fmla="*/ 5427363 w 6884782"/>
              <a:gd name="connsiteY23509" fmla="*/ 4087360 h 5973007"/>
              <a:gd name="connsiteX23510" fmla="*/ 5426743 w 6884782"/>
              <a:gd name="connsiteY23510" fmla="*/ 4088805 h 5973007"/>
              <a:gd name="connsiteX23511" fmla="*/ 5422561 w 6884782"/>
              <a:gd name="connsiteY23511" fmla="*/ 4084675 h 5973007"/>
              <a:gd name="connsiteX23512" fmla="*/ 5422871 w 6884782"/>
              <a:gd name="connsiteY23512" fmla="*/ 4082094 h 5973007"/>
              <a:gd name="connsiteX23513" fmla="*/ 5415591 w 6884782"/>
              <a:gd name="connsiteY23513" fmla="*/ 4081577 h 5973007"/>
              <a:gd name="connsiteX23514" fmla="*/ 5416830 w 6884782"/>
              <a:gd name="connsiteY23514" fmla="*/ 4083126 h 5973007"/>
              <a:gd name="connsiteX23515" fmla="*/ 5419153 w 6884782"/>
              <a:gd name="connsiteY23515" fmla="*/ 4088392 h 5973007"/>
              <a:gd name="connsiteX23516" fmla="*/ 5417450 w 6884782"/>
              <a:gd name="connsiteY23516" fmla="*/ 4089115 h 5973007"/>
              <a:gd name="connsiteX23517" fmla="*/ 5416520 w 6884782"/>
              <a:gd name="connsiteY23517" fmla="*/ 4087876 h 5973007"/>
              <a:gd name="connsiteX23518" fmla="*/ 5415746 w 6884782"/>
              <a:gd name="connsiteY23518" fmla="*/ 4085501 h 5973007"/>
              <a:gd name="connsiteX23519" fmla="*/ 5414507 w 6884782"/>
              <a:gd name="connsiteY23519" fmla="*/ 4083849 h 5973007"/>
              <a:gd name="connsiteX23520" fmla="*/ 5415591 w 6884782"/>
              <a:gd name="connsiteY23520" fmla="*/ 4081577 h 5973007"/>
              <a:gd name="connsiteX23521" fmla="*/ 5396539 w 6884782"/>
              <a:gd name="connsiteY23521" fmla="*/ 4081371 h 5973007"/>
              <a:gd name="connsiteX23522" fmla="*/ 5399636 w 6884782"/>
              <a:gd name="connsiteY23522" fmla="*/ 4089322 h 5973007"/>
              <a:gd name="connsiteX23523" fmla="*/ 5398552 w 6884782"/>
              <a:gd name="connsiteY23523" fmla="*/ 4090973 h 5973007"/>
              <a:gd name="connsiteX23524" fmla="*/ 5396384 w 6884782"/>
              <a:gd name="connsiteY23524" fmla="*/ 4089734 h 5973007"/>
              <a:gd name="connsiteX23525" fmla="*/ 5396539 w 6884782"/>
              <a:gd name="connsiteY23525" fmla="*/ 4081371 h 5973007"/>
              <a:gd name="connsiteX23526" fmla="*/ 5664509 w 6884782"/>
              <a:gd name="connsiteY23526" fmla="*/ 4079306 h 5973007"/>
              <a:gd name="connsiteX23527" fmla="*/ 5666987 w 6884782"/>
              <a:gd name="connsiteY23527" fmla="*/ 4079925 h 5973007"/>
              <a:gd name="connsiteX23528" fmla="*/ 5668846 w 6884782"/>
              <a:gd name="connsiteY23528" fmla="*/ 4079822 h 5973007"/>
              <a:gd name="connsiteX23529" fmla="*/ 5670395 w 6884782"/>
              <a:gd name="connsiteY23529" fmla="*/ 4082094 h 5973007"/>
              <a:gd name="connsiteX23530" fmla="*/ 5668537 w 6884782"/>
              <a:gd name="connsiteY23530" fmla="*/ 4082197 h 5973007"/>
              <a:gd name="connsiteX23531" fmla="*/ 5663115 w 6884782"/>
              <a:gd name="connsiteY23531" fmla="*/ 4081371 h 5973007"/>
              <a:gd name="connsiteX23532" fmla="*/ 5664509 w 6884782"/>
              <a:gd name="connsiteY23532" fmla="*/ 4079306 h 5973007"/>
              <a:gd name="connsiteX23533" fmla="*/ 5150718 w 6884782"/>
              <a:gd name="connsiteY23533" fmla="*/ 4079202 h 5973007"/>
              <a:gd name="connsiteX23534" fmla="*/ 5155984 w 6884782"/>
              <a:gd name="connsiteY23534" fmla="*/ 4081164 h 5973007"/>
              <a:gd name="connsiteX23535" fmla="*/ 5156759 w 6884782"/>
              <a:gd name="connsiteY23535" fmla="*/ 4087360 h 5973007"/>
              <a:gd name="connsiteX23536" fmla="*/ 5160167 w 6884782"/>
              <a:gd name="connsiteY23536" fmla="*/ 4086843 h 5973007"/>
              <a:gd name="connsiteX23537" fmla="*/ 5163420 w 6884782"/>
              <a:gd name="connsiteY23537" fmla="*/ 4094588 h 5973007"/>
              <a:gd name="connsiteX23538" fmla="*/ 5158618 w 6884782"/>
              <a:gd name="connsiteY23538" fmla="*/ 4098718 h 5973007"/>
              <a:gd name="connsiteX23539" fmla="*/ 5152112 w 6884782"/>
              <a:gd name="connsiteY23539" fmla="*/ 4091696 h 5973007"/>
              <a:gd name="connsiteX23540" fmla="*/ 5154591 w 6884782"/>
              <a:gd name="connsiteY23540" fmla="*/ 4087876 h 5973007"/>
              <a:gd name="connsiteX23541" fmla="*/ 5153506 w 6884782"/>
              <a:gd name="connsiteY23541" fmla="*/ 4087773 h 5973007"/>
              <a:gd name="connsiteX23542" fmla="*/ 5151957 w 6884782"/>
              <a:gd name="connsiteY23542" fmla="*/ 4085707 h 5973007"/>
              <a:gd name="connsiteX23543" fmla="*/ 5150718 w 6884782"/>
              <a:gd name="connsiteY23543" fmla="*/ 4079202 h 5973007"/>
              <a:gd name="connsiteX23544" fmla="*/ 5720117 w 6884782"/>
              <a:gd name="connsiteY23544" fmla="*/ 4079099 h 5973007"/>
              <a:gd name="connsiteX23545" fmla="*/ 5721356 w 6884782"/>
              <a:gd name="connsiteY23545" fmla="*/ 4083952 h 5973007"/>
              <a:gd name="connsiteX23546" fmla="*/ 5722440 w 6884782"/>
              <a:gd name="connsiteY23546" fmla="*/ 4083023 h 5973007"/>
              <a:gd name="connsiteX23547" fmla="*/ 5724609 w 6884782"/>
              <a:gd name="connsiteY23547" fmla="*/ 4084365 h 5973007"/>
              <a:gd name="connsiteX23548" fmla="*/ 5723215 w 6884782"/>
              <a:gd name="connsiteY23548" fmla="*/ 4086224 h 5973007"/>
              <a:gd name="connsiteX23549" fmla="*/ 5722285 w 6884782"/>
              <a:gd name="connsiteY23549" fmla="*/ 4087050 h 5973007"/>
              <a:gd name="connsiteX23550" fmla="*/ 5725228 w 6884782"/>
              <a:gd name="connsiteY23550" fmla="*/ 4093245 h 5973007"/>
              <a:gd name="connsiteX23551" fmla="*/ 5727552 w 6884782"/>
              <a:gd name="connsiteY23551" fmla="*/ 4105430 h 5973007"/>
              <a:gd name="connsiteX23552" fmla="*/ 5721511 w 6884782"/>
              <a:gd name="connsiteY23552" fmla="*/ 4098614 h 5973007"/>
              <a:gd name="connsiteX23553" fmla="*/ 5717329 w 6884782"/>
              <a:gd name="connsiteY23553" fmla="*/ 4093762 h 5973007"/>
              <a:gd name="connsiteX23554" fmla="*/ 5717329 w 6884782"/>
              <a:gd name="connsiteY23554" fmla="*/ 4093968 h 5973007"/>
              <a:gd name="connsiteX23555" fmla="*/ 5714850 w 6884782"/>
              <a:gd name="connsiteY23555" fmla="*/ 4095104 h 5973007"/>
              <a:gd name="connsiteX23556" fmla="*/ 5714386 w 6884782"/>
              <a:gd name="connsiteY23556" fmla="*/ 4092935 h 5973007"/>
              <a:gd name="connsiteX23557" fmla="*/ 5715625 w 6884782"/>
              <a:gd name="connsiteY23557" fmla="*/ 4091800 h 5973007"/>
              <a:gd name="connsiteX23558" fmla="*/ 5715315 w 6884782"/>
              <a:gd name="connsiteY23558" fmla="*/ 4091490 h 5973007"/>
              <a:gd name="connsiteX23559" fmla="*/ 5720117 w 6884782"/>
              <a:gd name="connsiteY23559" fmla="*/ 4079099 h 5973007"/>
              <a:gd name="connsiteX23560" fmla="*/ 5784399 w 6884782"/>
              <a:gd name="connsiteY23560" fmla="*/ 4077550 h 5973007"/>
              <a:gd name="connsiteX23561" fmla="*/ 5787187 w 6884782"/>
              <a:gd name="connsiteY23561" fmla="*/ 4081267 h 5973007"/>
              <a:gd name="connsiteX23562" fmla="*/ 5786877 w 6884782"/>
              <a:gd name="connsiteY23562" fmla="*/ 4083436 h 5973007"/>
              <a:gd name="connsiteX23563" fmla="*/ 5787807 w 6884782"/>
              <a:gd name="connsiteY23563" fmla="*/ 4083436 h 5973007"/>
              <a:gd name="connsiteX23564" fmla="*/ 5786877 w 6884782"/>
              <a:gd name="connsiteY23564" fmla="*/ 4086327 h 5973007"/>
              <a:gd name="connsiteX23565" fmla="*/ 5787807 w 6884782"/>
              <a:gd name="connsiteY23565" fmla="*/ 4086224 h 5973007"/>
              <a:gd name="connsiteX23566" fmla="*/ 5787961 w 6884782"/>
              <a:gd name="connsiteY23566" fmla="*/ 4090354 h 5973007"/>
              <a:gd name="connsiteX23567" fmla="*/ 5785018 w 6884782"/>
              <a:gd name="connsiteY23567" fmla="*/ 4091387 h 5973007"/>
              <a:gd name="connsiteX23568" fmla="*/ 5784244 w 6884782"/>
              <a:gd name="connsiteY23568" fmla="*/ 4093658 h 5973007"/>
              <a:gd name="connsiteX23569" fmla="*/ 5781146 w 6884782"/>
              <a:gd name="connsiteY23569" fmla="*/ 4099957 h 5973007"/>
              <a:gd name="connsiteX23570" fmla="*/ 5779597 w 6884782"/>
              <a:gd name="connsiteY23570" fmla="*/ 4101402 h 5973007"/>
              <a:gd name="connsiteX23571" fmla="*/ 5777738 w 6884782"/>
              <a:gd name="connsiteY23571" fmla="*/ 4100783 h 5973007"/>
              <a:gd name="connsiteX23572" fmla="*/ 5779752 w 6884782"/>
              <a:gd name="connsiteY23572" fmla="*/ 4089425 h 5973007"/>
              <a:gd name="connsiteX23573" fmla="*/ 5780991 w 6884782"/>
              <a:gd name="connsiteY23573" fmla="*/ 4088185 h 5973007"/>
              <a:gd name="connsiteX23574" fmla="*/ 5778513 w 6884782"/>
              <a:gd name="connsiteY23574" fmla="*/ 4088289 h 5973007"/>
              <a:gd name="connsiteX23575" fmla="*/ 5776189 w 6884782"/>
              <a:gd name="connsiteY23575" fmla="*/ 4082094 h 5973007"/>
              <a:gd name="connsiteX23576" fmla="*/ 5784399 w 6884782"/>
              <a:gd name="connsiteY23576" fmla="*/ 4077550 h 5973007"/>
              <a:gd name="connsiteX23577" fmla="*/ 5467171 w 6884782"/>
              <a:gd name="connsiteY23577" fmla="*/ 4077550 h 5973007"/>
              <a:gd name="connsiteX23578" fmla="*/ 5471663 w 6884782"/>
              <a:gd name="connsiteY23578" fmla="*/ 4080029 h 5973007"/>
              <a:gd name="connsiteX23579" fmla="*/ 5471663 w 6884782"/>
              <a:gd name="connsiteY23579" fmla="*/ 4081990 h 5973007"/>
              <a:gd name="connsiteX23580" fmla="*/ 5467946 w 6884782"/>
              <a:gd name="connsiteY23580" fmla="*/ 4082920 h 5973007"/>
              <a:gd name="connsiteX23581" fmla="*/ 5465003 w 6884782"/>
              <a:gd name="connsiteY23581" fmla="*/ 4080132 h 5973007"/>
              <a:gd name="connsiteX23582" fmla="*/ 5465003 w 6884782"/>
              <a:gd name="connsiteY23582" fmla="*/ 4078170 h 5973007"/>
              <a:gd name="connsiteX23583" fmla="*/ 5467171 w 6884782"/>
              <a:gd name="connsiteY23583" fmla="*/ 4077550 h 5973007"/>
              <a:gd name="connsiteX23584" fmla="*/ 5244740 w 6884782"/>
              <a:gd name="connsiteY23584" fmla="*/ 4077344 h 5973007"/>
              <a:gd name="connsiteX23585" fmla="*/ 5248303 w 6884782"/>
              <a:gd name="connsiteY23585" fmla="*/ 4084056 h 5973007"/>
              <a:gd name="connsiteX23586" fmla="*/ 5239319 w 6884782"/>
              <a:gd name="connsiteY23586" fmla="*/ 4087979 h 5973007"/>
              <a:gd name="connsiteX23587" fmla="*/ 5236066 w 6884782"/>
              <a:gd name="connsiteY23587" fmla="*/ 4087773 h 5973007"/>
              <a:gd name="connsiteX23588" fmla="*/ 5244740 w 6884782"/>
              <a:gd name="connsiteY23588" fmla="*/ 4077344 h 5973007"/>
              <a:gd name="connsiteX23589" fmla="*/ 5652272 w 6884782"/>
              <a:gd name="connsiteY23589" fmla="*/ 4076621 h 5973007"/>
              <a:gd name="connsiteX23590" fmla="*/ 5658778 w 6884782"/>
              <a:gd name="connsiteY23590" fmla="*/ 4081990 h 5973007"/>
              <a:gd name="connsiteX23591" fmla="*/ 5655990 w 6884782"/>
              <a:gd name="connsiteY23591" fmla="*/ 4083745 h 5973007"/>
              <a:gd name="connsiteX23592" fmla="*/ 5649174 w 6884782"/>
              <a:gd name="connsiteY23592" fmla="*/ 4080235 h 5973007"/>
              <a:gd name="connsiteX23593" fmla="*/ 5648400 w 6884782"/>
              <a:gd name="connsiteY23593" fmla="*/ 4078170 h 5973007"/>
              <a:gd name="connsiteX23594" fmla="*/ 5652272 w 6884782"/>
              <a:gd name="connsiteY23594" fmla="*/ 4076621 h 5973007"/>
              <a:gd name="connsiteX23595" fmla="*/ 5184330 w 6884782"/>
              <a:gd name="connsiteY23595" fmla="*/ 4076518 h 5973007"/>
              <a:gd name="connsiteX23596" fmla="*/ 5192230 w 6884782"/>
              <a:gd name="connsiteY23596" fmla="*/ 4078273 h 5973007"/>
              <a:gd name="connsiteX23597" fmla="*/ 5193470 w 6884782"/>
              <a:gd name="connsiteY23597" fmla="*/ 4078996 h 5973007"/>
              <a:gd name="connsiteX23598" fmla="*/ 5195948 w 6884782"/>
              <a:gd name="connsiteY23598" fmla="*/ 4079099 h 5973007"/>
              <a:gd name="connsiteX23599" fmla="*/ 5200440 w 6884782"/>
              <a:gd name="connsiteY23599" fmla="*/ 4082816 h 5973007"/>
              <a:gd name="connsiteX23600" fmla="*/ 5201060 w 6884782"/>
              <a:gd name="connsiteY23600" fmla="*/ 4091903 h 5973007"/>
              <a:gd name="connsiteX23601" fmla="*/ 5201369 w 6884782"/>
              <a:gd name="connsiteY23601" fmla="*/ 4091077 h 5973007"/>
              <a:gd name="connsiteX23602" fmla="*/ 5215465 w 6884782"/>
              <a:gd name="connsiteY23602" fmla="*/ 4089425 h 5973007"/>
              <a:gd name="connsiteX23603" fmla="*/ 5213606 w 6884782"/>
              <a:gd name="connsiteY23603" fmla="*/ 4091387 h 5973007"/>
              <a:gd name="connsiteX23604" fmla="*/ 5212522 w 6884782"/>
              <a:gd name="connsiteY23604" fmla="*/ 4091696 h 5973007"/>
              <a:gd name="connsiteX23605" fmla="*/ 5212212 w 6884782"/>
              <a:gd name="connsiteY23605" fmla="*/ 4092419 h 5973007"/>
              <a:gd name="connsiteX23606" fmla="*/ 5211438 w 6884782"/>
              <a:gd name="connsiteY23606" fmla="*/ 4092006 h 5973007"/>
              <a:gd name="connsiteX23607" fmla="*/ 5209269 w 6884782"/>
              <a:gd name="connsiteY23607" fmla="*/ 4092729 h 5973007"/>
              <a:gd name="connsiteX23608" fmla="*/ 5204777 w 6884782"/>
              <a:gd name="connsiteY23608" fmla="*/ 4096033 h 5973007"/>
              <a:gd name="connsiteX23609" fmla="*/ 5198891 w 6884782"/>
              <a:gd name="connsiteY23609" fmla="*/ 4096446 h 5973007"/>
              <a:gd name="connsiteX23610" fmla="*/ 5198117 w 6884782"/>
              <a:gd name="connsiteY23610" fmla="*/ 4094071 h 5973007"/>
              <a:gd name="connsiteX23611" fmla="*/ 5195793 w 6884782"/>
              <a:gd name="connsiteY23611" fmla="*/ 4094691 h 5973007"/>
              <a:gd name="connsiteX23612" fmla="*/ 5186344 w 6884782"/>
              <a:gd name="connsiteY23612" fmla="*/ 4088392 h 5973007"/>
              <a:gd name="connsiteX23613" fmla="*/ 5185880 w 6884782"/>
              <a:gd name="connsiteY23613" fmla="*/ 4083229 h 5973007"/>
              <a:gd name="connsiteX23614" fmla="*/ 5186189 w 6884782"/>
              <a:gd name="connsiteY23614" fmla="*/ 4082713 h 5973007"/>
              <a:gd name="connsiteX23615" fmla="*/ 5182782 w 6884782"/>
              <a:gd name="connsiteY23615" fmla="*/ 4081887 h 5973007"/>
              <a:gd name="connsiteX23616" fmla="*/ 5184330 w 6884782"/>
              <a:gd name="connsiteY23616" fmla="*/ 4076518 h 5973007"/>
              <a:gd name="connsiteX23617" fmla="*/ 5792918 w 6884782"/>
              <a:gd name="connsiteY23617" fmla="*/ 4073523 h 5973007"/>
              <a:gd name="connsiteX23618" fmla="*/ 5791369 w 6884782"/>
              <a:gd name="connsiteY23618" fmla="*/ 4073627 h 5973007"/>
              <a:gd name="connsiteX23619" fmla="*/ 5792453 w 6884782"/>
              <a:gd name="connsiteY23619" fmla="*/ 4074039 h 5973007"/>
              <a:gd name="connsiteX23620" fmla="*/ 5231884 w 6884782"/>
              <a:gd name="connsiteY23620" fmla="*/ 4069909 h 5973007"/>
              <a:gd name="connsiteX23621" fmla="*/ 5227702 w 6884782"/>
              <a:gd name="connsiteY23621" fmla="*/ 4075898 h 5973007"/>
              <a:gd name="connsiteX23622" fmla="*/ 5226462 w 6884782"/>
              <a:gd name="connsiteY23622" fmla="*/ 4070219 h 5973007"/>
              <a:gd name="connsiteX23623" fmla="*/ 5231884 w 6884782"/>
              <a:gd name="connsiteY23623" fmla="*/ 4069909 h 5973007"/>
              <a:gd name="connsiteX23624" fmla="*/ 5347901 w 6884782"/>
              <a:gd name="connsiteY23624" fmla="*/ 4069290 h 5973007"/>
              <a:gd name="connsiteX23625" fmla="*/ 5360138 w 6884782"/>
              <a:gd name="connsiteY23625" fmla="*/ 4072594 h 5973007"/>
              <a:gd name="connsiteX23626" fmla="*/ 5353632 w 6884782"/>
              <a:gd name="connsiteY23626" fmla="*/ 4080029 h 5973007"/>
              <a:gd name="connsiteX23627" fmla="*/ 5346507 w 6884782"/>
              <a:gd name="connsiteY23627" fmla="*/ 4076621 h 5973007"/>
              <a:gd name="connsiteX23628" fmla="*/ 5347901 w 6884782"/>
              <a:gd name="connsiteY23628" fmla="*/ 4069290 h 5973007"/>
              <a:gd name="connsiteX23629" fmla="*/ 5381204 w 6884782"/>
              <a:gd name="connsiteY23629" fmla="*/ 4069083 h 5973007"/>
              <a:gd name="connsiteX23630" fmla="*/ 5386935 w 6884782"/>
              <a:gd name="connsiteY23630" fmla="*/ 4073730 h 5973007"/>
              <a:gd name="connsiteX23631" fmla="*/ 5383372 w 6884782"/>
              <a:gd name="connsiteY23631" fmla="*/ 4080545 h 5973007"/>
              <a:gd name="connsiteX23632" fmla="*/ 5384921 w 6884782"/>
              <a:gd name="connsiteY23632" fmla="*/ 4079615 h 5973007"/>
              <a:gd name="connsiteX23633" fmla="*/ 5387710 w 6884782"/>
              <a:gd name="connsiteY23633" fmla="*/ 4079822 h 5973007"/>
              <a:gd name="connsiteX23634" fmla="*/ 5381978 w 6884782"/>
              <a:gd name="connsiteY23634" fmla="*/ 4087050 h 5973007"/>
              <a:gd name="connsiteX23635" fmla="*/ 5382288 w 6884782"/>
              <a:gd name="connsiteY23635" fmla="*/ 4081061 h 5973007"/>
              <a:gd name="connsiteX23636" fmla="*/ 5383218 w 6884782"/>
              <a:gd name="connsiteY23636" fmla="*/ 4080545 h 5973007"/>
              <a:gd name="connsiteX23637" fmla="*/ 5380429 w 6884782"/>
              <a:gd name="connsiteY23637" fmla="*/ 4075072 h 5973007"/>
              <a:gd name="connsiteX23638" fmla="*/ 5381204 w 6884782"/>
              <a:gd name="connsiteY23638" fmla="*/ 4069083 h 5973007"/>
              <a:gd name="connsiteX23639" fmla="*/ 656257 w 6884782"/>
              <a:gd name="connsiteY23639" fmla="*/ 4068859 h 5973007"/>
              <a:gd name="connsiteX23640" fmla="*/ 660129 w 6884782"/>
              <a:gd name="connsiteY23640" fmla="*/ 4078875 h 5973007"/>
              <a:gd name="connsiteX23641" fmla="*/ 656876 w 6884782"/>
              <a:gd name="connsiteY23641" fmla="*/ 4079907 h 5973007"/>
              <a:gd name="connsiteX23642" fmla="*/ 654553 w 6884782"/>
              <a:gd name="connsiteY23642" fmla="*/ 4079184 h 5973007"/>
              <a:gd name="connsiteX23643" fmla="*/ 651920 w 6884782"/>
              <a:gd name="connsiteY23643" fmla="*/ 4073712 h 5973007"/>
              <a:gd name="connsiteX23644" fmla="*/ 656257 w 6884782"/>
              <a:gd name="connsiteY23644" fmla="*/ 4068859 h 5973007"/>
              <a:gd name="connsiteX23645" fmla="*/ 5581794 w 6884782"/>
              <a:gd name="connsiteY23645" fmla="*/ 4068154 h 5973007"/>
              <a:gd name="connsiteX23646" fmla="*/ 5588455 w 6884782"/>
              <a:gd name="connsiteY23646" fmla="*/ 4072181 h 5973007"/>
              <a:gd name="connsiteX23647" fmla="*/ 5569248 w 6884782"/>
              <a:gd name="connsiteY23647" fmla="*/ 4093245 h 5973007"/>
              <a:gd name="connsiteX23648" fmla="*/ 5581794 w 6884782"/>
              <a:gd name="connsiteY23648" fmla="*/ 4068154 h 5973007"/>
              <a:gd name="connsiteX23649" fmla="*/ 5310881 w 6884782"/>
              <a:gd name="connsiteY23649" fmla="*/ 4066915 h 5973007"/>
              <a:gd name="connsiteX23650" fmla="*/ 5310261 w 6884782"/>
              <a:gd name="connsiteY23650" fmla="*/ 4067121 h 5973007"/>
              <a:gd name="connsiteX23651" fmla="*/ 5311036 w 6884782"/>
              <a:gd name="connsiteY23651" fmla="*/ 4067121 h 5973007"/>
              <a:gd name="connsiteX23652" fmla="*/ 5639416 w 6884782"/>
              <a:gd name="connsiteY23652" fmla="*/ 4066295 h 5973007"/>
              <a:gd name="connsiteX23653" fmla="*/ 5635079 w 6884782"/>
              <a:gd name="connsiteY23653" fmla="*/ 4071252 h 5973007"/>
              <a:gd name="connsiteX23654" fmla="*/ 5633530 w 6884782"/>
              <a:gd name="connsiteY23654" fmla="*/ 4071045 h 5973007"/>
              <a:gd name="connsiteX23655" fmla="*/ 5639416 w 6884782"/>
              <a:gd name="connsiteY23655" fmla="*/ 4066295 h 5973007"/>
              <a:gd name="connsiteX23656" fmla="*/ 5492826 w 6884782"/>
              <a:gd name="connsiteY23656" fmla="*/ 4065069 h 5973007"/>
              <a:gd name="connsiteX23657" fmla="*/ 5494898 w 6884782"/>
              <a:gd name="connsiteY23657" fmla="*/ 4069187 h 5973007"/>
              <a:gd name="connsiteX23658" fmla="*/ 5491180 w 6884782"/>
              <a:gd name="connsiteY23658" fmla="*/ 4071148 h 5973007"/>
              <a:gd name="connsiteX23659" fmla="*/ 5488547 w 6884782"/>
              <a:gd name="connsiteY23659" fmla="*/ 4068361 h 5973007"/>
              <a:gd name="connsiteX23660" fmla="*/ 5488082 w 6884782"/>
              <a:gd name="connsiteY23660" fmla="*/ 4065986 h 5973007"/>
              <a:gd name="connsiteX23661" fmla="*/ 5492826 w 6884782"/>
              <a:gd name="connsiteY23661" fmla="*/ 4065069 h 5973007"/>
              <a:gd name="connsiteX23662" fmla="*/ 5266271 w 6884782"/>
              <a:gd name="connsiteY23662" fmla="*/ 4064746 h 5973007"/>
              <a:gd name="connsiteX23663" fmla="*/ 5271692 w 6884782"/>
              <a:gd name="connsiteY23663" fmla="*/ 4074039 h 5973007"/>
              <a:gd name="connsiteX23664" fmla="*/ 5271537 w 6884782"/>
              <a:gd name="connsiteY23664" fmla="*/ 4084468 h 5973007"/>
              <a:gd name="connsiteX23665" fmla="*/ 5266271 w 6884782"/>
              <a:gd name="connsiteY23665" fmla="*/ 4064746 h 5973007"/>
              <a:gd name="connsiteX23666" fmla="*/ 449277 w 6884782"/>
              <a:gd name="connsiteY23666" fmla="*/ 4063967 h 5973007"/>
              <a:gd name="connsiteX23667" fmla="*/ 455821 w 6884782"/>
              <a:gd name="connsiteY23667" fmla="*/ 4069272 h 5973007"/>
              <a:gd name="connsiteX23668" fmla="*/ 448851 w 6884782"/>
              <a:gd name="connsiteY23668" fmla="*/ 4073299 h 5973007"/>
              <a:gd name="connsiteX23669" fmla="*/ 442035 w 6884782"/>
              <a:gd name="connsiteY23669" fmla="*/ 4069581 h 5973007"/>
              <a:gd name="connsiteX23670" fmla="*/ 449277 w 6884782"/>
              <a:gd name="connsiteY23670" fmla="*/ 4063967 h 5973007"/>
              <a:gd name="connsiteX23671" fmla="*/ 5756053 w 6884782"/>
              <a:gd name="connsiteY23671" fmla="*/ 4063610 h 5973007"/>
              <a:gd name="connsiteX23672" fmla="*/ 5756208 w 6884782"/>
              <a:gd name="connsiteY23672" fmla="*/ 4064437 h 5973007"/>
              <a:gd name="connsiteX23673" fmla="*/ 5754969 w 6884782"/>
              <a:gd name="connsiteY23673" fmla="*/ 4065572 h 5973007"/>
              <a:gd name="connsiteX23674" fmla="*/ 5752955 w 6884782"/>
              <a:gd name="connsiteY23674" fmla="*/ 4064850 h 5973007"/>
              <a:gd name="connsiteX23675" fmla="*/ 5756053 w 6884782"/>
              <a:gd name="connsiteY23675" fmla="*/ 4063610 h 5973007"/>
              <a:gd name="connsiteX23676" fmla="*/ 5595735 w 6884782"/>
              <a:gd name="connsiteY23676" fmla="*/ 4060926 h 5973007"/>
              <a:gd name="connsiteX23677" fmla="*/ 5596355 w 6884782"/>
              <a:gd name="connsiteY23677" fmla="*/ 4065263 h 5973007"/>
              <a:gd name="connsiteX23678" fmla="*/ 5593876 w 6884782"/>
              <a:gd name="connsiteY23678" fmla="*/ 4067638 h 5973007"/>
              <a:gd name="connsiteX23679" fmla="*/ 5589849 w 6884782"/>
              <a:gd name="connsiteY23679" fmla="*/ 4067431 h 5973007"/>
              <a:gd name="connsiteX23680" fmla="*/ 5590624 w 6884782"/>
              <a:gd name="connsiteY23680" fmla="*/ 4067431 h 5973007"/>
              <a:gd name="connsiteX23681" fmla="*/ 5590469 w 6884782"/>
              <a:gd name="connsiteY23681" fmla="*/ 4065572 h 5973007"/>
              <a:gd name="connsiteX23682" fmla="*/ 5589539 w 6884782"/>
              <a:gd name="connsiteY23682" fmla="*/ 4065676 h 5973007"/>
              <a:gd name="connsiteX23683" fmla="*/ 5590314 w 6884782"/>
              <a:gd name="connsiteY23683" fmla="*/ 4063817 h 5973007"/>
              <a:gd name="connsiteX23684" fmla="*/ 5595735 w 6884782"/>
              <a:gd name="connsiteY23684" fmla="*/ 4060926 h 5973007"/>
              <a:gd name="connsiteX23685" fmla="*/ 5717174 w 6884782"/>
              <a:gd name="connsiteY23685" fmla="*/ 4058138 h 5973007"/>
              <a:gd name="connsiteX23686" fmla="*/ 5717019 w 6884782"/>
              <a:gd name="connsiteY23686" fmla="*/ 4061649 h 5973007"/>
              <a:gd name="connsiteX23687" fmla="*/ 5716090 w 6884782"/>
              <a:gd name="connsiteY23687" fmla="*/ 4062268 h 5973007"/>
              <a:gd name="connsiteX23688" fmla="*/ 5714540 w 6884782"/>
              <a:gd name="connsiteY23688" fmla="*/ 4062165 h 5973007"/>
              <a:gd name="connsiteX23689" fmla="*/ 5717174 w 6884782"/>
              <a:gd name="connsiteY23689" fmla="*/ 4058138 h 5973007"/>
              <a:gd name="connsiteX23690" fmla="*/ 5645922 w 6884782"/>
              <a:gd name="connsiteY23690" fmla="*/ 4057828 h 5973007"/>
              <a:gd name="connsiteX23691" fmla="*/ 5646541 w 6884782"/>
              <a:gd name="connsiteY23691" fmla="*/ 4058964 h 5973007"/>
              <a:gd name="connsiteX23692" fmla="*/ 5645922 w 6884782"/>
              <a:gd name="connsiteY23692" fmla="*/ 4060616 h 5973007"/>
              <a:gd name="connsiteX23693" fmla="*/ 5644218 w 6884782"/>
              <a:gd name="connsiteY23693" fmla="*/ 4064127 h 5973007"/>
              <a:gd name="connsiteX23694" fmla="*/ 5645922 w 6884782"/>
              <a:gd name="connsiteY23694" fmla="*/ 4057828 h 5973007"/>
              <a:gd name="connsiteX23695" fmla="*/ 5717329 w 6884782"/>
              <a:gd name="connsiteY23695" fmla="*/ 4055557 h 5973007"/>
              <a:gd name="connsiteX23696" fmla="*/ 5717329 w 6884782"/>
              <a:gd name="connsiteY23696" fmla="*/ 4057519 h 5973007"/>
              <a:gd name="connsiteX23697" fmla="*/ 5716554 w 6884782"/>
              <a:gd name="connsiteY23697" fmla="*/ 4057415 h 5973007"/>
              <a:gd name="connsiteX23698" fmla="*/ 5717329 w 6884782"/>
              <a:gd name="connsiteY23698" fmla="*/ 4055557 h 5973007"/>
              <a:gd name="connsiteX23699" fmla="*/ 5835979 w 6884782"/>
              <a:gd name="connsiteY23699" fmla="*/ 4054731 h 5973007"/>
              <a:gd name="connsiteX23700" fmla="*/ 5837219 w 6884782"/>
              <a:gd name="connsiteY23700" fmla="*/ 4059894 h 5973007"/>
              <a:gd name="connsiteX23701" fmla="*/ 5832881 w 6884782"/>
              <a:gd name="connsiteY23701" fmla="*/ 4061959 h 5973007"/>
              <a:gd name="connsiteX23702" fmla="*/ 5831177 w 6884782"/>
              <a:gd name="connsiteY23702" fmla="*/ 4060720 h 5973007"/>
              <a:gd name="connsiteX23703" fmla="*/ 5831332 w 6884782"/>
              <a:gd name="connsiteY23703" fmla="*/ 4059894 h 5973007"/>
              <a:gd name="connsiteX23704" fmla="*/ 5831642 w 6884782"/>
              <a:gd name="connsiteY23704" fmla="*/ 4056383 h 5973007"/>
              <a:gd name="connsiteX23705" fmla="*/ 5835979 w 6884782"/>
              <a:gd name="connsiteY23705" fmla="*/ 4054731 h 5973007"/>
              <a:gd name="connsiteX23706" fmla="*/ 5360912 w 6884782"/>
              <a:gd name="connsiteY23706" fmla="*/ 4054111 h 5973007"/>
              <a:gd name="connsiteX23707" fmla="*/ 5360912 w 6884782"/>
              <a:gd name="connsiteY23707" fmla="*/ 4059687 h 5973007"/>
              <a:gd name="connsiteX23708" fmla="*/ 5355646 w 6884782"/>
              <a:gd name="connsiteY23708" fmla="*/ 4060100 h 5973007"/>
              <a:gd name="connsiteX23709" fmla="*/ 5355801 w 6884782"/>
              <a:gd name="connsiteY23709" fmla="*/ 4063094 h 5973007"/>
              <a:gd name="connsiteX23710" fmla="*/ 5354252 w 6884782"/>
              <a:gd name="connsiteY23710" fmla="*/ 4065056 h 5973007"/>
              <a:gd name="connsiteX23711" fmla="*/ 5349760 w 6884782"/>
              <a:gd name="connsiteY23711" fmla="*/ 4062475 h 5973007"/>
              <a:gd name="connsiteX23712" fmla="*/ 5351464 w 6884782"/>
              <a:gd name="connsiteY23712" fmla="*/ 4060203 h 5973007"/>
              <a:gd name="connsiteX23713" fmla="*/ 5349760 w 6884782"/>
              <a:gd name="connsiteY23713" fmla="*/ 4059894 h 5973007"/>
              <a:gd name="connsiteX23714" fmla="*/ 5347746 w 6884782"/>
              <a:gd name="connsiteY23714" fmla="*/ 4057105 h 5973007"/>
              <a:gd name="connsiteX23715" fmla="*/ 5360912 w 6884782"/>
              <a:gd name="connsiteY23715" fmla="*/ 4054111 h 5973007"/>
              <a:gd name="connsiteX23716" fmla="*/ 5603945 w 6884782"/>
              <a:gd name="connsiteY23716" fmla="*/ 4052872 h 5973007"/>
              <a:gd name="connsiteX23717" fmla="*/ 5604719 w 6884782"/>
              <a:gd name="connsiteY23717" fmla="*/ 4052975 h 5973007"/>
              <a:gd name="connsiteX23718" fmla="*/ 5608127 w 6884782"/>
              <a:gd name="connsiteY23718" fmla="*/ 4053492 h 5973007"/>
              <a:gd name="connsiteX23719" fmla="*/ 5609521 w 6884782"/>
              <a:gd name="connsiteY23719" fmla="*/ 4058138 h 5973007"/>
              <a:gd name="connsiteX23720" fmla="*/ 5606578 w 6884782"/>
              <a:gd name="connsiteY23720" fmla="*/ 4059480 h 5973007"/>
              <a:gd name="connsiteX23721" fmla="*/ 5604409 w 6884782"/>
              <a:gd name="connsiteY23721" fmla="*/ 4059067 h 5973007"/>
              <a:gd name="connsiteX23722" fmla="*/ 5602705 w 6884782"/>
              <a:gd name="connsiteY23722" fmla="*/ 4054421 h 5973007"/>
              <a:gd name="connsiteX23723" fmla="*/ 5603945 w 6884782"/>
              <a:gd name="connsiteY23723" fmla="*/ 4052872 h 5973007"/>
              <a:gd name="connsiteX23724" fmla="*/ 5295391 w 6884782"/>
              <a:gd name="connsiteY23724" fmla="*/ 4051633 h 5973007"/>
              <a:gd name="connsiteX23725" fmla="*/ 5296320 w 6884782"/>
              <a:gd name="connsiteY23725" fmla="*/ 4057828 h 5973007"/>
              <a:gd name="connsiteX23726" fmla="*/ 5297095 w 6884782"/>
              <a:gd name="connsiteY23726" fmla="*/ 4058758 h 5973007"/>
              <a:gd name="connsiteX23727" fmla="*/ 5297250 w 6884782"/>
              <a:gd name="connsiteY23727" fmla="*/ 4058758 h 5973007"/>
              <a:gd name="connsiteX23728" fmla="*/ 5297560 w 6884782"/>
              <a:gd name="connsiteY23728" fmla="*/ 4059171 h 5973007"/>
              <a:gd name="connsiteX23729" fmla="*/ 5298179 w 6884782"/>
              <a:gd name="connsiteY23729" fmla="*/ 4059894 h 5973007"/>
              <a:gd name="connsiteX23730" fmla="*/ 5298179 w 6884782"/>
              <a:gd name="connsiteY23730" fmla="*/ 4060306 h 5973007"/>
              <a:gd name="connsiteX23731" fmla="*/ 5299574 w 6884782"/>
              <a:gd name="connsiteY23731" fmla="*/ 4062165 h 5973007"/>
              <a:gd name="connsiteX23732" fmla="*/ 5302517 w 6884782"/>
              <a:gd name="connsiteY23732" fmla="*/ 4065160 h 5973007"/>
              <a:gd name="connsiteX23733" fmla="*/ 5299263 w 6884782"/>
              <a:gd name="connsiteY23733" fmla="*/ 4067328 h 5973007"/>
              <a:gd name="connsiteX23734" fmla="*/ 5296475 w 6884782"/>
              <a:gd name="connsiteY23734" fmla="*/ 4065366 h 5973007"/>
              <a:gd name="connsiteX23735" fmla="*/ 5295546 w 6884782"/>
              <a:gd name="connsiteY23735" fmla="*/ 4065366 h 5973007"/>
              <a:gd name="connsiteX23736" fmla="*/ 5293842 w 6884782"/>
              <a:gd name="connsiteY23736" fmla="*/ 4063301 h 5973007"/>
              <a:gd name="connsiteX23737" fmla="*/ 5293687 w 6884782"/>
              <a:gd name="connsiteY23737" fmla="*/ 4062165 h 5973007"/>
              <a:gd name="connsiteX23738" fmla="*/ 5291984 w 6884782"/>
              <a:gd name="connsiteY23738" fmla="*/ 4059067 h 5973007"/>
              <a:gd name="connsiteX23739" fmla="*/ 5293532 w 6884782"/>
              <a:gd name="connsiteY23739" fmla="*/ 4059067 h 5973007"/>
              <a:gd name="connsiteX23740" fmla="*/ 5295081 w 6884782"/>
              <a:gd name="connsiteY23740" fmla="*/ 4056279 h 5973007"/>
              <a:gd name="connsiteX23741" fmla="*/ 5295391 w 6884782"/>
              <a:gd name="connsiteY23741" fmla="*/ 4051633 h 5973007"/>
              <a:gd name="connsiteX23742" fmla="*/ 5717484 w 6884782"/>
              <a:gd name="connsiteY23742" fmla="*/ 4051220 h 5973007"/>
              <a:gd name="connsiteX23743" fmla="*/ 5718258 w 6884782"/>
              <a:gd name="connsiteY23743" fmla="*/ 4052253 h 5973007"/>
              <a:gd name="connsiteX23744" fmla="*/ 5717638 w 6884782"/>
              <a:gd name="connsiteY23744" fmla="*/ 4052975 h 5973007"/>
              <a:gd name="connsiteX23745" fmla="*/ 5716709 w 6884782"/>
              <a:gd name="connsiteY23745" fmla="*/ 4052975 h 5973007"/>
              <a:gd name="connsiteX23746" fmla="*/ 5717484 w 6884782"/>
              <a:gd name="connsiteY23746" fmla="*/ 4051220 h 5973007"/>
              <a:gd name="connsiteX23747" fmla="*/ 5300735 w 6884782"/>
              <a:gd name="connsiteY23747" fmla="*/ 4049955 h 5973007"/>
              <a:gd name="connsiteX23748" fmla="*/ 5302206 w 6884782"/>
              <a:gd name="connsiteY23748" fmla="*/ 4054731 h 5973007"/>
              <a:gd name="connsiteX23749" fmla="*/ 5296011 w 6884782"/>
              <a:gd name="connsiteY23749" fmla="*/ 4053078 h 5973007"/>
              <a:gd name="connsiteX23750" fmla="*/ 5300735 w 6884782"/>
              <a:gd name="connsiteY23750" fmla="*/ 4049955 h 5973007"/>
              <a:gd name="connsiteX23751" fmla="*/ 5307938 w 6884782"/>
              <a:gd name="connsiteY23751" fmla="*/ 4049877 h 5973007"/>
              <a:gd name="connsiteX23752" fmla="*/ 5313979 w 6884782"/>
              <a:gd name="connsiteY23752" fmla="*/ 4051323 h 5973007"/>
              <a:gd name="connsiteX23753" fmla="*/ 5315992 w 6884782"/>
              <a:gd name="connsiteY23753" fmla="*/ 4054318 h 5973007"/>
              <a:gd name="connsiteX23754" fmla="*/ 5317696 w 6884782"/>
              <a:gd name="connsiteY23754" fmla="*/ 4052975 h 5973007"/>
              <a:gd name="connsiteX23755" fmla="*/ 5330863 w 6884782"/>
              <a:gd name="connsiteY23755" fmla="*/ 4059377 h 5973007"/>
              <a:gd name="connsiteX23756" fmla="*/ 5331327 w 6884782"/>
              <a:gd name="connsiteY23756" fmla="*/ 4061752 h 5973007"/>
              <a:gd name="connsiteX23757" fmla="*/ 5333031 w 6884782"/>
              <a:gd name="connsiteY23757" fmla="*/ 4064953 h 5973007"/>
              <a:gd name="connsiteX23758" fmla="*/ 5323737 w 6884782"/>
              <a:gd name="connsiteY23758" fmla="*/ 4071871 h 5973007"/>
              <a:gd name="connsiteX23759" fmla="*/ 5318626 w 6884782"/>
              <a:gd name="connsiteY23759" fmla="*/ 4073110 h 5973007"/>
              <a:gd name="connsiteX23760" fmla="*/ 5317386 w 6884782"/>
              <a:gd name="connsiteY23760" fmla="*/ 4072800 h 5973007"/>
              <a:gd name="connsiteX23761" fmla="*/ 5317851 w 6884782"/>
              <a:gd name="connsiteY23761" fmla="*/ 4073110 h 5973007"/>
              <a:gd name="connsiteX23762" fmla="*/ 5321259 w 6884782"/>
              <a:gd name="connsiteY23762" fmla="*/ 4078686 h 5973007"/>
              <a:gd name="connsiteX23763" fmla="*/ 5318626 w 6884782"/>
              <a:gd name="connsiteY23763" fmla="*/ 4077963 h 5973007"/>
              <a:gd name="connsiteX23764" fmla="*/ 5317696 w 6884782"/>
              <a:gd name="connsiteY23764" fmla="*/ 4077137 h 5973007"/>
              <a:gd name="connsiteX23765" fmla="*/ 5316767 w 6884782"/>
              <a:gd name="connsiteY23765" fmla="*/ 4077240 h 5973007"/>
              <a:gd name="connsiteX23766" fmla="*/ 5316612 w 6884782"/>
              <a:gd name="connsiteY23766" fmla="*/ 4076311 h 5973007"/>
              <a:gd name="connsiteX23767" fmla="*/ 5314753 w 6884782"/>
              <a:gd name="connsiteY23767" fmla="*/ 4074659 h 5973007"/>
              <a:gd name="connsiteX23768" fmla="*/ 5309332 w 6884782"/>
              <a:gd name="connsiteY23768" fmla="*/ 4072491 h 5973007"/>
              <a:gd name="connsiteX23769" fmla="*/ 5305305 w 6884782"/>
              <a:gd name="connsiteY23769" fmla="*/ 4067431 h 5973007"/>
              <a:gd name="connsiteX23770" fmla="*/ 5306699 w 6884782"/>
              <a:gd name="connsiteY23770" fmla="*/ 4065572 h 5973007"/>
              <a:gd name="connsiteX23771" fmla="*/ 5304840 w 6884782"/>
              <a:gd name="connsiteY23771" fmla="*/ 4064024 h 5973007"/>
              <a:gd name="connsiteX23772" fmla="*/ 5304065 w 6884782"/>
              <a:gd name="connsiteY23772" fmla="*/ 4052666 h 5973007"/>
              <a:gd name="connsiteX23773" fmla="*/ 5307938 w 6884782"/>
              <a:gd name="connsiteY23773" fmla="*/ 4049877 h 5973007"/>
              <a:gd name="connsiteX23774" fmla="*/ 5480887 w 6884782"/>
              <a:gd name="connsiteY23774" fmla="*/ 4049647 h 5973007"/>
              <a:gd name="connsiteX23775" fmla="*/ 5486378 w 6884782"/>
              <a:gd name="connsiteY23775" fmla="*/ 4050600 h 5973007"/>
              <a:gd name="connsiteX23776" fmla="*/ 5468875 w 6884782"/>
              <a:gd name="connsiteY23776" fmla="*/ 4065779 h 5973007"/>
              <a:gd name="connsiteX23777" fmla="*/ 5466707 w 6884782"/>
              <a:gd name="connsiteY23777" fmla="*/ 4064850 h 5973007"/>
              <a:gd name="connsiteX23778" fmla="*/ 5480887 w 6884782"/>
              <a:gd name="connsiteY23778" fmla="*/ 4049647 h 5973007"/>
              <a:gd name="connsiteX23779" fmla="*/ 5651343 w 6884782"/>
              <a:gd name="connsiteY23779" fmla="*/ 4046057 h 5973007"/>
              <a:gd name="connsiteX23780" fmla="*/ 5655215 w 6884782"/>
              <a:gd name="connsiteY23780" fmla="*/ 4048948 h 5973007"/>
              <a:gd name="connsiteX23781" fmla="*/ 5651188 w 6884782"/>
              <a:gd name="connsiteY23781" fmla="*/ 4047296 h 5973007"/>
              <a:gd name="connsiteX23782" fmla="*/ 5651343 w 6884782"/>
              <a:gd name="connsiteY23782" fmla="*/ 4046057 h 5973007"/>
              <a:gd name="connsiteX23783" fmla="*/ 5727087 w 6884782"/>
              <a:gd name="connsiteY23783" fmla="*/ 4045437 h 5973007"/>
              <a:gd name="connsiteX23784" fmla="*/ 5735297 w 6884782"/>
              <a:gd name="connsiteY23784" fmla="*/ 4046264 h 5973007"/>
              <a:gd name="connsiteX23785" fmla="*/ 5738549 w 6884782"/>
              <a:gd name="connsiteY23785" fmla="*/ 4066295 h 5973007"/>
              <a:gd name="connsiteX23786" fmla="*/ 5738085 w 6884782"/>
              <a:gd name="connsiteY23786" fmla="*/ 4067741 h 5973007"/>
              <a:gd name="connsiteX23787" fmla="*/ 5738394 w 6884782"/>
              <a:gd name="connsiteY23787" fmla="*/ 4068257 h 5973007"/>
              <a:gd name="connsiteX23788" fmla="*/ 5739944 w 6884782"/>
              <a:gd name="connsiteY23788" fmla="*/ 4076105 h 5973007"/>
              <a:gd name="connsiteX23789" fmla="*/ 5736691 w 6884782"/>
              <a:gd name="connsiteY23789" fmla="*/ 4071665 h 5973007"/>
              <a:gd name="connsiteX23790" fmla="*/ 5736071 w 6884782"/>
              <a:gd name="connsiteY23790" fmla="*/ 4073213 h 5973007"/>
              <a:gd name="connsiteX23791" fmla="*/ 5734832 w 6884782"/>
              <a:gd name="connsiteY23791" fmla="*/ 4077447 h 5973007"/>
              <a:gd name="connsiteX23792" fmla="*/ 5730960 w 6884782"/>
              <a:gd name="connsiteY23792" fmla="*/ 4079202 h 5973007"/>
              <a:gd name="connsiteX23793" fmla="*/ 5729101 w 6884782"/>
              <a:gd name="connsiteY23793" fmla="*/ 4079306 h 5973007"/>
              <a:gd name="connsiteX23794" fmla="*/ 5721976 w 6884782"/>
              <a:gd name="connsiteY23794" fmla="*/ 4070012 h 5973007"/>
              <a:gd name="connsiteX23795" fmla="*/ 5720737 w 6884782"/>
              <a:gd name="connsiteY23795" fmla="*/ 4063301 h 5973007"/>
              <a:gd name="connsiteX23796" fmla="*/ 5723215 w 6884782"/>
              <a:gd name="connsiteY23796" fmla="*/ 4056486 h 5973007"/>
              <a:gd name="connsiteX23797" fmla="*/ 5727087 w 6884782"/>
              <a:gd name="connsiteY23797" fmla="*/ 4045437 h 5973007"/>
              <a:gd name="connsiteX23798" fmla="*/ 5687550 w 6884782"/>
              <a:gd name="connsiteY23798" fmla="*/ 4044831 h 5973007"/>
              <a:gd name="connsiteX23799" fmla="*/ 5704627 w 6884782"/>
              <a:gd name="connsiteY23799" fmla="*/ 4047503 h 5973007"/>
              <a:gd name="connsiteX23800" fmla="*/ 5708964 w 6884782"/>
              <a:gd name="connsiteY23800" fmla="*/ 4052562 h 5973007"/>
              <a:gd name="connsiteX23801" fmla="*/ 5710359 w 6884782"/>
              <a:gd name="connsiteY23801" fmla="*/ 4051220 h 5973007"/>
              <a:gd name="connsiteX23802" fmla="*/ 5714540 w 6884782"/>
              <a:gd name="connsiteY23802" fmla="*/ 4050394 h 5973007"/>
              <a:gd name="connsiteX23803" fmla="*/ 5715625 w 6884782"/>
              <a:gd name="connsiteY23803" fmla="*/ 4058241 h 5973007"/>
              <a:gd name="connsiteX23804" fmla="*/ 5712527 w 6884782"/>
              <a:gd name="connsiteY23804" fmla="*/ 4061029 h 5973007"/>
              <a:gd name="connsiteX23805" fmla="*/ 5709584 w 6884782"/>
              <a:gd name="connsiteY23805" fmla="*/ 4063301 h 5973007"/>
              <a:gd name="connsiteX23806" fmla="*/ 5708035 w 6884782"/>
              <a:gd name="connsiteY23806" fmla="*/ 4069187 h 5973007"/>
              <a:gd name="connsiteX23807" fmla="*/ 5683406 w 6884782"/>
              <a:gd name="connsiteY23807" fmla="*/ 4088908 h 5973007"/>
              <a:gd name="connsiteX23808" fmla="*/ 5674577 w 6884782"/>
              <a:gd name="connsiteY23808" fmla="*/ 4066708 h 5973007"/>
              <a:gd name="connsiteX23809" fmla="*/ 5674113 w 6884782"/>
              <a:gd name="connsiteY23809" fmla="*/ 4064333 h 5973007"/>
              <a:gd name="connsiteX23810" fmla="*/ 5670395 w 6884782"/>
              <a:gd name="connsiteY23810" fmla="*/ 4063094 h 5973007"/>
              <a:gd name="connsiteX23811" fmla="*/ 5669311 w 6884782"/>
              <a:gd name="connsiteY23811" fmla="*/ 4061236 h 5973007"/>
              <a:gd name="connsiteX23812" fmla="*/ 5671325 w 6884782"/>
              <a:gd name="connsiteY23812" fmla="*/ 4059997 h 5973007"/>
              <a:gd name="connsiteX23813" fmla="*/ 5674113 w 6884782"/>
              <a:gd name="connsiteY23813" fmla="*/ 4061236 h 5973007"/>
              <a:gd name="connsiteX23814" fmla="*/ 5674423 w 6884782"/>
              <a:gd name="connsiteY23814" fmla="*/ 4058654 h 5973007"/>
              <a:gd name="connsiteX23815" fmla="*/ 5687550 w 6884782"/>
              <a:gd name="connsiteY23815" fmla="*/ 4044831 h 5973007"/>
              <a:gd name="connsiteX23816" fmla="*/ 5477704 w 6884782"/>
              <a:gd name="connsiteY23816" fmla="*/ 4043372 h 5973007"/>
              <a:gd name="connsiteX23817" fmla="*/ 5483745 w 6884782"/>
              <a:gd name="connsiteY23817" fmla="*/ 4045437 h 5973007"/>
              <a:gd name="connsiteX23818" fmla="*/ 5478169 w 6884782"/>
              <a:gd name="connsiteY23818" fmla="*/ 4049774 h 5973007"/>
              <a:gd name="connsiteX23819" fmla="*/ 5477704 w 6884782"/>
              <a:gd name="connsiteY23819" fmla="*/ 4043372 h 5973007"/>
              <a:gd name="connsiteX23820" fmla="*/ 5335664 w 6884782"/>
              <a:gd name="connsiteY23820" fmla="*/ 4042030 h 5973007"/>
              <a:gd name="connsiteX23821" fmla="*/ 5343719 w 6884782"/>
              <a:gd name="connsiteY23821" fmla="*/ 4043992 h 5973007"/>
              <a:gd name="connsiteX23822" fmla="*/ 5348366 w 6884782"/>
              <a:gd name="connsiteY23822" fmla="*/ 4043682 h 5973007"/>
              <a:gd name="connsiteX23823" fmla="*/ 5348211 w 6884782"/>
              <a:gd name="connsiteY23823" fmla="*/ 4043682 h 5973007"/>
              <a:gd name="connsiteX23824" fmla="*/ 5355646 w 6884782"/>
              <a:gd name="connsiteY23824" fmla="*/ 4043166 h 5973007"/>
              <a:gd name="connsiteX23825" fmla="*/ 5359983 w 6884782"/>
              <a:gd name="connsiteY23825" fmla="*/ 4043372 h 5973007"/>
              <a:gd name="connsiteX23826" fmla="*/ 5360138 w 6884782"/>
              <a:gd name="connsiteY23826" fmla="*/ 4043579 h 5973007"/>
              <a:gd name="connsiteX23827" fmla="*/ 5360448 w 6884782"/>
              <a:gd name="connsiteY23827" fmla="*/ 4043889 h 5973007"/>
              <a:gd name="connsiteX23828" fmla="*/ 5367728 w 6884782"/>
              <a:gd name="connsiteY23828" fmla="*/ 4046986 h 5973007"/>
              <a:gd name="connsiteX23829" fmla="*/ 5350689 w 6884782"/>
              <a:gd name="connsiteY23829" fmla="*/ 4051839 h 5973007"/>
              <a:gd name="connsiteX23830" fmla="*/ 5335664 w 6884782"/>
              <a:gd name="connsiteY23830" fmla="*/ 4042030 h 5973007"/>
              <a:gd name="connsiteX23831" fmla="*/ 5670085 w 6884782"/>
              <a:gd name="connsiteY23831" fmla="*/ 4041307 h 5973007"/>
              <a:gd name="connsiteX23832" fmla="*/ 5677211 w 6884782"/>
              <a:gd name="connsiteY23832" fmla="*/ 4046161 h 5973007"/>
              <a:gd name="connsiteX23833" fmla="*/ 5672409 w 6884782"/>
              <a:gd name="connsiteY23833" fmla="*/ 4052872 h 5973007"/>
              <a:gd name="connsiteX23834" fmla="*/ 5664819 w 6884782"/>
              <a:gd name="connsiteY23834" fmla="*/ 4048226 h 5973007"/>
              <a:gd name="connsiteX23835" fmla="*/ 5670085 w 6884782"/>
              <a:gd name="connsiteY23835" fmla="*/ 4041307 h 5973007"/>
              <a:gd name="connsiteX23836" fmla="*/ 5316612 w 6884782"/>
              <a:gd name="connsiteY23836" fmla="*/ 4038726 h 5973007"/>
              <a:gd name="connsiteX23837" fmla="*/ 5319090 w 6884782"/>
              <a:gd name="connsiteY23837" fmla="*/ 4039552 h 5973007"/>
              <a:gd name="connsiteX23838" fmla="*/ 5322033 w 6884782"/>
              <a:gd name="connsiteY23838" fmla="*/ 4038726 h 5973007"/>
              <a:gd name="connsiteX23839" fmla="*/ 5326680 w 6884782"/>
              <a:gd name="connsiteY23839" fmla="*/ 4043889 h 5973007"/>
              <a:gd name="connsiteX23840" fmla="*/ 5324512 w 6884782"/>
              <a:gd name="connsiteY23840" fmla="*/ 4046264 h 5973007"/>
              <a:gd name="connsiteX23841" fmla="*/ 5324357 w 6884782"/>
              <a:gd name="connsiteY23841" fmla="*/ 4046367 h 5973007"/>
              <a:gd name="connsiteX23842" fmla="*/ 5324512 w 6884782"/>
              <a:gd name="connsiteY23842" fmla="*/ 4046883 h 5973007"/>
              <a:gd name="connsiteX23843" fmla="*/ 5319245 w 6884782"/>
              <a:gd name="connsiteY23843" fmla="*/ 4048948 h 5973007"/>
              <a:gd name="connsiteX23844" fmla="*/ 5313824 w 6884782"/>
              <a:gd name="connsiteY23844" fmla="*/ 4047709 h 5973007"/>
              <a:gd name="connsiteX23845" fmla="*/ 5316612 w 6884782"/>
              <a:gd name="connsiteY23845" fmla="*/ 4038726 h 5973007"/>
              <a:gd name="connsiteX23846" fmla="*/ 5254808 w 6884782"/>
              <a:gd name="connsiteY23846" fmla="*/ 4037590 h 5973007"/>
              <a:gd name="connsiteX23847" fmla="*/ 5258836 w 6884782"/>
              <a:gd name="connsiteY23847" fmla="*/ 4037797 h 5973007"/>
              <a:gd name="connsiteX23848" fmla="*/ 5272312 w 6884782"/>
              <a:gd name="connsiteY23848" fmla="*/ 4041927 h 5973007"/>
              <a:gd name="connsiteX23849" fmla="*/ 5266581 w 6884782"/>
              <a:gd name="connsiteY23849" fmla="*/ 4042650 h 5973007"/>
              <a:gd name="connsiteX23850" fmla="*/ 5253260 w 6884782"/>
              <a:gd name="connsiteY23850" fmla="*/ 4041927 h 5973007"/>
              <a:gd name="connsiteX23851" fmla="*/ 5251556 w 6884782"/>
              <a:gd name="connsiteY23851" fmla="*/ 4040068 h 5973007"/>
              <a:gd name="connsiteX23852" fmla="*/ 5250626 w 6884782"/>
              <a:gd name="connsiteY23852" fmla="*/ 4040068 h 5973007"/>
              <a:gd name="connsiteX23853" fmla="*/ 5249852 w 6884782"/>
              <a:gd name="connsiteY23853" fmla="*/ 4038209 h 5973007"/>
              <a:gd name="connsiteX23854" fmla="*/ 5254808 w 6884782"/>
              <a:gd name="connsiteY23854" fmla="*/ 4037590 h 5973007"/>
              <a:gd name="connsiteX23855" fmla="*/ 5686194 w 6884782"/>
              <a:gd name="connsiteY23855" fmla="*/ 4035319 h 5973007"/>
              <a:gd name="connsiteX23856" fmla="*/ 5688363 w 6884782"/>
              <a:gd name="connsiteY23856" fmla="*/ 4037694 h 5973007"/>
              <a:gd name="connsiteX23857" fmla="*/ 5685730 w 6884782"/>
              <a:gd name="connsiteY23857" fmla="*/ 4036041 h 5973007"/>
              <a:gd name="connsiteX23858" fmla="*/ 5686194 w 6884782"/>
              <a:gd name="connsiteY23858" fmla="*/ 4035319 h 5973007"/>
              <a:gd name="connsiteX23859" fmla="*/ 5330243 w 6884782"/>
              <a:gd name="connsiteY23859" fmla="*/ 4033873 h 5973007"/>
              <a:gd name="connsiteX23860" fmla="*/ 5332102 w 6884782"/>
              <a:gd name="connsiteY23860" fmla="*/ 4034079 h 5973007"/>
              <a:gd name="connsiteX23861" fmla="*/ 5334115 w 6884782"/>
              <a:gd name="connsiteY23861" fmla="*/ 4036144 h 5973007"/>
              <a:gd name="connsiteX23862" fmla="*/ 5333495 w 6884782"/>
              <a:gd name="connsiteY23862" fmla="*/ 4039759 h 5973007"/>
              <a:gd name="connsiteX23863" fmla="*/ 5331637 w 6884782"/>
              <a:gd name="connsiteY23863" fmla="*/ 4039552 h 5973007"/>
              <a:gd name="connsiteX23864" fmla="*/ 5329159 w 6884782"/>
              <a:gd name="connsiteY23864" fmla="*/ 4038313 h 5973007"/>
              <a:gd name="connsiteX23865" fmla="*/ 5330243 w 6884782"/>
              <a:gd name="connsiteY23865" fmla="*/ 4033873 h 5973007"/>
              <a:gd name="connsiteX23866" fmla="*/ 5407846 w 6884782"/>
              <a:gd name="connsiteY23866" fmla="*/ 4033253 h 5973007"/>
              <a:gd name="connsiteX23867" fmla="*/ 5409550 w 6884782"/>
              <a:gd name="connsiteY23867" fmla="*/ 4035215 h 5973007"/>
              <a:gd name="connsiteX23868" fmla="*/ 5407536 w 6884782"/>
              <a:gd name="connsiteY23868" fmla="*/ 4037177 h 5973007"/>
              <a:gd name="connsiteX23869" fmla="*/ 5404903 w 6884782"/>
              <a:gd name="connsiteY23869" fmla="*/ 4037487 h 5973007"/>
              <a:gd name="connsiteX23870" fmla="*/ 5404128 w 6884782"/>
              <a:gd name="connsiteY23870" fmla="*/ 4036454 h 5973007"/>
              <a:gd name="connsiteX23871" fmla="*/ 5403663 w 6884782"/>
              <a:gd name="connsiteY23871" fmla="*/ 4034389 h 5973007"/>
              <a:gd name="connsiteX23872" fmla="*/ 5407846 w 6884782"/>
              <a:gd name="connsiteY23872" fmla="*/ 4033253 h 5973007"/>
              <a:gd name="connsiteX23873" fmla="*/ 5687898 w 6884782"/>
              <a:gd name="connsiteY23873" fmla="*/ 4030362 h 5973007"/>
              <a:gd name="connsiteX23874" fmla="*/ 5692700 w 6884782"/>
              <a:gd name="connsiteY23874" fmla="*/ 4030362 h 5973007"/>
              <a:gd name="connsiteX23875" fmla="*/ 5693629 w 6884782"/>
              <a:gd name="connsiteY23875" fmla="*/ 4031188 h 5973007"/>
              <a:gd name="connsiteX23876" fmla="*/ 5694249 w 6884782"/>
              <a:gd name="connsiteY23876" fmla="*/ 4031911 h 5973007"/>
              <a:gd name="connsiteX23877" fmla="*/ 5695798 w 6884782"/>
              <a:gd name="connsiteY23877" fmla="*/ 4033666 h 5973007"/>
              <a:gd name="connsiteX23878" fmla="*/ 5693784 w 6884782"/>
              <a:gd name="connsiteY23878" fmla="*/ 4035835 h 5973007"/>
              <a:gd name="connsiteX23879" fmla="*/ 5691306 w 6884782"/>
              <a:gd name="connsiteY23879" fmla="*/ 4035732 h 5973007"/>
              <a:gd name="connsiteX23880" fmla="*/ 5687898 w 6884782"/>
              <a:gd name="connsiteY23880" fmla="*/ 4030362 h 5973007"/>
              <a:gd name="connsiteX23881" fmla="*/ 5742267 w 6884782"/>
              <a:gd name="connsiteY23881" fmla="*/ 4027987 h 5973007"/>
              <a:gd name="connsiteX23882" fmla="*/ 5745520 w 6884782"/>
              <a:gd name="connsiteY23882" fmla="*/ 4031395 h 5973007"/>
              <a:gd name="connsiteX23883" fmla="*/ 5744591 w 6884782"/>
              <a:gd name="connsiteY23883" fmla="*/ 4033150 h 5973007"/>
              <a:gd name="connsiteX23884" fmla="*/ 5742112 w 6884782"/>
              <a:gd name="connsiteY23884" fmla="*/ 4033770 h 5973007"/>
              <a:gd name="connsiteX23885" fmla="*/ 5739324 w 6884782"/>
              <a:gd name="connsiteY23885" fmla="*/ 4031085 h 5973007"/>
              <a:gd name="connsiteX23886" fmla="*/ 5740253 w 6884782"/>
              <a:gd name="connsiteY23886" fmla="*/ 4029433 h 5973007"/>
              <a:gd name="connsiteX23887" fmla="*/ 5742267 w 6884782"/>
              <a:gd name="connsiteY23887" fmla="*/ 4027987 h 5973007"/>
              <a:gd name="connsiteX23888" fmla="*/ 5716864 w 6884782"/>
              <a:gd name="connsiteY23888" fmla="*/ 4027884 h 5973007"/>
              <a:gd name="connsiteX23889" fmla="*/ 5720891 w 6884782"/>
              <a:gd name="connsiteY23889" fmla="*/ 4038209 h 5973007"/>
              <a:gd name="connsiteX23890" fmla="*/ 5720272 w 6884782"/>
              <a:gd name="connsiteY23890" fmla="*/ 4039036 h 5973007"/>
              <a:gd name="connsiteX23891" fmla="*/ 5720117 w 6884782"/>
              <a:gd name="connsiteY23891" fmla="*/ 4040275 h 5973007"/>
              <a:gd name="connsiteX23892" fmla="*/ 5717638 w 6884782"/>
              <a:gd name="connsiteY23892" fmla="*/ 4051220 h 5973007"/>
              <a:gd name="connsiteX23893" fmla="*/ 5718413 w 6884782"/>
              <a:gd name="connsiteY23893" fmla="*/ 4044095 h 5973007"/>
              <a:gd name="connsiteX23894" fmla="*/ 5719807 w 6884782"/>
              <a:gd name="connsiteY23894" fmla="*/ 4039862 h 5973007"/>
              <a:gd name="connsiteX23895" fmla="*/ 5718878 w 6884782"/>
              <a:gd name="connsiteY23895" fmla="*/ 4041101 h 5973007"/>
              <a:gd name="connsiteX23896" fmla="*/ 5714231 w 6884782"/>
              <a:gd name="connsiteY23896" fmla="*/ 4039965 h 5973007"/>
              <a:gd name="connsiteX23897" fmla="*/ 5713611 w 6884782"/>
              <a:gd name="connsiteY23897" fmla="*/ 4039242 h 5973007"/>
              <a:gd name="connsiteX23898" fmla="*/ 5713301 w 6884782"/>
              <a:gd name="connsiteY23898" fmla="*/ 4039242 h 5973007"/>
              <a:gd name="connsiteX23899" fmla="*/ 5712992 w 6884782"/>
              <a:gd name="connsiteY23899" fmla="*/ 4039655 h 5973007"/>
              <a:gd name="connsiteX23900" fmla="*/ 5710513 w 6884782"/>
              <a:gd name="connsiteY23900" fmla="*/ 4038209 h 5973007"/>
              <a:gd name="connsiteX23901" fmla="*/ 5709429 w 6884782"/>
              <a:gd name="connsiteY23901" fmla="*/ 4035628 h 5973007"/>
              <a:gd name="connsiteX23902" fmla="*/ 5712062 w 6884782"/>
              <a:gd name="connsiteY23902" fmla="*/ 4033873 h 5973007"/>
              <a:gd name="connsiteX23903" fmla="*/ 5712527 w 6884782"/>
              <a:gd name="connsiteY23903" fmla="*/ 4029742 h 5973007"/>
              <a:gd name="connsiteX23904" fmla="*/ 5716864 w 6884782"/>
              <a:gd name="connsiteY23904" fmla="*/ 4027884 h 5973007"/>
              <a:gd name="connsiteX23905" fmla="*/ 5421322 w 6884782"/>
              <a:gd name="connsiteY23905" fmla="*/ 4027368 h 5973007"/>
              <a:gd name="connsiteX23906" fmla="*/ 5425659 w 6884782"/>
              <a:gd name="connsiteY23906" fmla="*/ 4029639 h 5973007"/>
              <a:gd name="connsiteX23907" fmla="*/ 5426743 w 6884782"/>
              <a:gd name="connsiteY23907" fmla="*/ 4033047 h 5973007"/>
              <a:gd name="connsiteX23908" fmla="*/ 5427363 w 6884782"/>
              <a:gd name="connsiteY23908" fmla="*/ 4034596 h 5973007"/>
              <a:gd name="connsiteX23909" fmla="*/ 5440684 w 6884782"/>
              <a:gd name="connsiteY23909" fmla="*/ 4029227 h 5973007"/>
              <a:gd name="connsiteX23910" fmla="*/ 5442542 w 6884782"/>
              <a:gd name="connsiteY23910" fmla="*/ 4038519 h 5973007"/>
              <a:gd name="connsiteX23911" fmla="*/ 5421322 w 6884782"/>
              <a:gd name="connsiteY23911" fmla="*/ 4045954 h 5973007"/>
              <a:gd name="connsiteX23912" fmla="*/ 5410324 w 6884782"/>
              <a:gd name="connsiteY23912" fmla="*/ 4049568 h 5973007"/>
              <a:gd name="connsiteX23913" fmla="*/ 5411718 w 6884782"/>
              <a:gd name="connsiteY23913" fmla="*/ 4052562 h 5973007"/>
              <a:gd name="connsiteX23914" fmla="*/ 5412338 w 6884782"/>
              <a:gd name="connsiteY23914" fmla="*/ 4058344 h 5973007"/>
              <a:gd name="connsiteX23915" fmla="*/ 5417604 w 6884782"/>
              <a:gd name="connsiteY23915" fmla="*/ 4063817 h 5973007"/>
              <a:gd name="connsiteX23916" fmla="*/ 5412803 w 6884782"/>
              <a:gd name="connsiteY23916" fmla="*/ 4063817 h 5973007"/>
              <a:gd name="connsiteX23917" fmla="*/ 5412957 w 6884782"/>
              <a:gd name="connsiteY23917" fmla="*/ 4064540 h 5973007"/>
              <a:gd name="connsiteX23918" fmla="*/ 5411408 w 6884782"/>
              <a:gd name="connsiteY23918" fmla="*/ 4072284 h 5973007"/>
              <a:gd name="connsiteX23919" fmla="*/ 5405213 w 6884782"/>
              <a:gd name="connsiteY23919" fmla="*/ 4067121 h 5973007"/>
              <a:gd name="connsiteX23920" fmla="*/ 5403354 w 6884782"/>
              <a:gd name="connsiteY23920" fmla="*/ 4060203 h 5973007"/>
              <a:gd name="connsiteX23921" fmla="*/ 5402115 w 6884782"/>
              <a:gd name="connsiteY23921" fmla="*/ 4059171 h 5973007"/>
              <a:gd name="connsiteX23922" fmla="*/ 5399017 w 6884782"/>
              <a:gd name="connsiteY23922" fmla="*/ 4061752 h 5973007"/>
              <a:gd name="connsiteX23923" fmla="*/ 5387710 w 6884782"/>
              <a:gd name="connsiteY23923" fmla="*/ 4064953 h 5973007"/>
              <a:gd name="connsiteX23924" fmla="*/ 5392976 w 6884782"/>
              <a:gd name="connsiteY23924" fmla="*/ 4057105 h 5973007"/>
              <a:gd name="connsiteX23925" fmla="*/ 5397003 w 6884782"/>
              <a:gd name="connsiteY23925" fmla="*/ 4053904 h 5973007"/>
              <a:gd name="connsiteX23926" fmla="*/ 5395454 w 6884782"/>
              <a:gd name="connsiteY23926" fmla="*/ 4051633 h 5973007"/>
              <a:gd name="connsiteX23927" fmla="*/ 5395144 w 6884782"/>
              <a:gd name="connsiteY23927" fmla="*/ 4046367 h 5973007"/>
              <a:gd name="connsiteX23928" fmla="*/ 5400875 w 6884782"/>
              <a:gd name="connsiteY23928" fmla="*/ 4050704 h 5973007"/>
              <a:gd name="connsiteX23929" fmla="*/ 5401031 w 6884782"/>
              <a:gd name="connsiteY23929" fmla="*/ 4050910 h 5973007"/>
              <a:gd name="connsiteX23930" fmla="*/ 5401650 w 6884782"/>
              <a:gd name="connsiteY23930" fmla="*/ 4050394 h 5973007"/>
              <a:gd name="connsiteX23931" fmla="*/ 5403044 w 6884782"/>
              <a:gd name="connsiteY23931" fmla="*/ 4042960 h 5973007"/>
              <a:gd name="connsiteX23932" fmla="*/ 5404128 w 6884782"/>
              <a:gd name="connsiteY23932" fmla="*/ 4041824 h 5973007"/>
              <a:gd name="connsiteX23933" fmla="*/ 5403974 w 6884782"/>
              <a:gd name="connsiteY23933" fmla="*/ 4037590 h 5973007"/>
              <a:gd name="connsiteX23934" fmla="*/ 5410014 w 6884782"/>
              <a:gd name="connsiteY23934" fmla="*/ 4040481 h 5973007"/>
              <a:gd name="connsiteX23935" fmla="*/ 5409240 w 6884782"/>
              <a:gd name="connsiteY23935" fmla="*/ 4042133 h 5973007"/>
              <a:gd name="connsiteX23936" fmla="*/ 5407226 w 6884782"/>
              <a:gd name="connsiteY23936" fmla="*/ 4043166 h 5973007"/>
              <a:gd name="connsiteX23937" fmla="*/ 5408156 w 6884782"/>
              <a:gd name="connsiteY23937" fmla="*/ 4045128 h 5973007"/>
              <a:gd name="connsiteX23938" fmla="*/ 5409085 w 6884782"/>
              <a:gd name="connsiteY23938" fmla="*/ 4044095 h 5973007"/>
              <a:gd name="connsiteX23939" fmla="*/ 5416055 w 6884782"/>
              <a:gd name="connsiteY23939" fmla="*/ 4039552 h 5973007"/>
              <a:gd name="connsiteX23940" fmla="*/ 5420547 w 6884782"/>
              <a:gd name="connsiteY23940" fmla="*/ 4037487 h 5973007"/>
              <a:gd name="connsiteX23941" fmla="*/ 5418534 w 6884782"/>
              <a:gd name="connsiteY23941" fmla="*/ 4036558 h 5973007"/>
              <a:gd name="connsiteX23942" fmla="*/ 5414197 w 6884782"/>
              <a:gd name="connsiteY23942" fmla="*/ 4030775 h 5973007"/>
              <a:gd name="connsiteX23943" fmla="*/ 5421322 w 6884782"/>
              <a:gd name="connsiteY23943" fmla="*/ 4027368 h 5973007"/>
              <a:gd name="connsiteX23944" fmla="*/ 5316767 w 6884782"/>
              <a:gd name="connsiteY23944" fmla="*/ 4026748 h 5973007"/>
              <a:gd name="connsiteX23945" fmla="*/ 5322808 w 6884782"/>
              <a:gd name="connsiteY23945" fmla="*/ 4030156 h 5973007"/>
              <a:gd name="connsiteX23946" fmla="*/ 5320949 w 6884782"/>
              <a:gd name="connsiteY23946" fmla="*/ 4030156 h 5973007"/>
              <a:gd name="connsiteX23947" fmla="*/ 5318781 w 6884782"/>
              <a:gd name="connsiteY23947" fmla="*/ 4029639 h 5973007"/>
              <a:gd name="connsiteX23948" fmla="*/ 5316457 w 6884782"/>
              <a:gd name="connsiteY23948" fmla="*/ 4029123 h 5973007"/>
              <a:gd name="connsiteX23949" fmla="*/ 5314598 w 6884782"/>
              <a:gd name="connsiteY23949" fmla="*/ 4029227 h 5973007"/>
              <a:gd name="connsiteX23950" fmla="*/ 5311345 w 6884782"/>
              <a:gd name="connsiteY23950" fmla="*/ 4027265 h 5973007"/>
              <a:gd name="connsiteX23951" fmla="*/ 5313204 w 6884782"/>
              <a:gd name="connsiteY23951" fmla="*/ 4027058 h 5973007"/>
              <a:gd name="connsiteX23952" fmla="*/ 5315528 w 6884782"/>
              <a:gd name="connsiteY23952" fmla="*/ 4027677 h 5973007"/>
              <a:gd name="connsiteX23953" fmla="*/ 5316767 w 6884782"/>
              <a:gd name="connsiteY23953" fmla="*/ 4026748 h 5973007"/>
              <a:gd name="connsiteX23954" fmla="*/ 5396848 w 6884782"/>
              <a:gd name="connsiteY23954" fmla="*/ 4024786 h 5973007"/>
              <a:gd name="connsiteX23955" fmla="*/ 5393596 w 6884782"/>
              <a:gd name="connsiteY23955" fmla="*/ 4029639 h 5973007"/>
              <a:gd name="connsiteX23956" fmla="*/ 5391737 w 6884782"/>
              <a:gd name="connsiteY23956" fmla="*/ 4026129 h 5973007"/>
              <a:gd name="connsiteX23957" fmla="*/ 5396848 w 6884782"/>
              <a:gd name="connsiteY23957" fmla="*/ 4024786 h 5973007"/>
              <a:gd name="connsiteX23958" fmla="*/ 5722440 w 6884782"/>
              <a:gd name="connsiteY23958" fmla="*/ 4024476 h 5973007"/>
              <a:gd name="connsiteX23959" fmla="*/ 5722285 w 6884782"/>
              <a:gd name="connsiteY23959" fmla="*/ 4031188 h 5973007"/>
              <a:gd name="connsiteX23960" fmla="*/ 5721511 w 6884782"/>
              <a:gd name="connsiteY23960" fmla="*/ 4031808 h 5973007"/>
              <a:gd name="connsiteX23961" fmla="*/ 5722440 w 6884782"/>
              <a:gd name="connsiteY23961" fmla="*/ 4024476 h 5973007"/>
              <a:gd name="connsiteX23962" fmla="*/ 5693010 w 6884782"/>
              <a:gd name="connsiteY23962" fmla="*/ 4021482 h 5973007"/>
              <a:gd name="connsiteX23963" fmla="*/ 5696263 w 6884782"/>
              <a:gd name="connsiteY23963" fmla="*/ 4024580 h 5973007"/>
              <a:gd name="connsiteX23964" fmla="*/ 5696108 w 6884782"/>
              <a:gd name="connsiteY23964" fmla="*/ 4028194 h 5973007"/>
              <a:gd name="connsiteX23965" fmla="*/ 5693010 w 6884782"/>
              <a:gd name="connsiteY23965" fmla="*/ 4021482 h 5973007"/>
              <a:gd name="connsiteX23966" fmla="*/ 5707105 w 6884782"/>
              <a:gd name="connsiteY23966" fmla="*/ 4019417 h 5973007"/>
              <a:gd name="connsiteX23967" fmla="*/ 5714695 w 6884782"/>
              <a:gd name="connsiteY23967" fmla="*/ 4021585 h 5973007"/>
              <a:gd name="connsiteX23968" fmla="*/ 5714076 w 6884782"/>
              <a:gd name="connsiteY23968" fmla="*/ 4025819 h 5973007"/>
              <a:gd name="connsiteX23969" fmla="*/ 5709739 w 6884782"/>
              <a:gd name="connsiteY23969" fmla="*/ 4028813 h 5973007"/>
              <a:gd name="connsiteX23970" fmla="*/ 5706331 w 6884782"/>
              <a:gd name="connsiteY23970" fmla="*/ 4029639 h 5973007"/>
              <a:gd name="connsiteX23971" fmla="*/ 5706486 w 6884782"/>
              <a:gd name="connsiteY23971" fmla="*/ 4031292 h 5973007"/>
              <a:gd name="connsiteX23972" fmla="*/ 5704008 w 6884782"/>
              <a:gd name="connsiteY23972" fmla="*/ 4033357 h 5973007"/>
              <a:gd name="connsiteX23973" fmla="*/ 5701684 w 6884782"/>
              <a:gd name="connsiteY23973" fmla="*/ 4031808 h 5973007"/>
              <a:gd name="connsiteX23974" fmla="*/ 5703233 w 6884782"/>
              <a:gd name="connsiteY23974" fmla="*/ 4029742 h 5973007"/>
              <a:gd name="connsiteX23975" fmla="*/ 5702458 w 6884782"/>
              <a:gd name="connsiteY23975" fmla="*/ 4029742 h 5973007"/>
              <a:gd name="connsiteX23976" fmla="*/ 5702923 w 6884782"/>
              <a:gd name="connsiteY23976" fmla="*/ 4021895 h 5973007"/>
              <a:gd name="connsiteX23977" fmla="*/ 5707105 w 6884782"/>
              <a:gd name="connsiteY23977" fmla="*/ 4019417 h 5973007"/>
              <a:gd name="connsiteX23978" fmla="*/ 5691616 w 6884782"/>
              <a:gd name="connsiteY23978" fmla="*/ 4018384 h 5973007"/>
              <a:gd name="connsiteX23979" fmla="*/ 5692081 w 6884782"/>
              <a:gd name="connsiteY23979" fmla="*/ 4018798 h 5973007"/>
              <a:gd name="connsiteX23980" fmla="*/ 5692855 w 6884782"/>
              <a:gd name="connsiteY23980" fmla="*/ 4021482 h 5973007"/>
              <a:gd name="connsiteX23981" fmla="*/ 5690377 w 6884782"/>
              <a:gd name="connsiteY23981" fmla="*/ 4019417 h 5973007"/>
              <a:gd name="connsiteX23982" fmla="*/ 5691306 w 6884782"/>
              <a:gd name="connsiteY23982" fmla="*/ 4018694 h 5973007"/>
              <a:gd name="connsiteX23983" fmla="*/ 5690377 w 6884782"/>
              <a:gd name="connsiteY23983" fmla="*/ 4018591 h 5973007"/>
              <a:gd name="connsiteX23984" fmla="*/ 5691616 w 6884782"/>
              <a:gd name="connsiteY23984" fmla="*/ 4018384 h 5973007"/>
              <a:gd name="connsiteX23985" fmla="*/ 5386315 w 6884782"/>
              <a:gd name="connsiteY23985" fmla="*/ 4016009 h 5973007"/>
              <a:gd name="connsiteX23986" fmla="*/ 5388174 w 6884782"/>
              <a:gd name="connsiteY23986" fmla="*/ 4021172 h 5973007"/>
              <a:gd name="connsiteX23987" fmla="*/ 5383992 w 6884782"/>
              <a:gd name="connsiteY23987" fmla="*/ 4018488 h 5973007"/>
              <a:gd name="connsiteX23988" fmla="*/ 5386315 w 6884782"/>
              <a:gd name="connsiteY23988" fmla="*/ 4016009 h 5973007"/>
              <a:gd name="connsiteX23989" fmla="*/ 5728326 w 6884782"/>
              <a:gd name="connsiteY23989" fmla="*/ 4014874 h 5973007"/>
              <a:gd name="connsiteX23990" fmla="*/ 5749702 w 6884782"/>
              <a:gd name="connsiteY23990" fmla="*/ 4027677 h 5973007"/>
              <a:gd name="connsiteX23991" fmla="*/ 5736536 w 6884782"/>
              <a:gd name="connsiteY23991" fmla="*/ 4027781 h 5973007"/>
              <a:gd name="connsiteX23992" fmla="*/ 5726932 w 6884782"/>
              <a:gd name="connsiteY23992" fmla="*/ 4024270 h 5973007"/>
              <a:gd name="connsiteX23993" fmla="*/ 5728326 w 6884782"/>
              <a:gd name="connsiteY23993" fmla="*/ 4014874 h 5973007"/>
              <a:gd name="connsiteX23994" fmla="*/ 5417914 w 6884782"/>
              <a:gd name="connsiteY23994" fmla="*/ 4008678 h 5973007"/>
              <a:gd name="connsiteX23995" fmla="*/ 5418998 w 6884782"/>
              <a:gd name="connsiteY23995" fmla="*/ 4010537 h 5973007"/>
              <a:gd name="connsiteX23996" fmla="*/ 5418224 w 6884782"/>
              <a:gd name="connsiteY23996" fmla="*/ 4013222 h 5973007"/>
              <a:gd name="connsiteX23997" fmla="*/ 5414816 w 6884782"/>
              <a:gd name="connsiteY23997" fmla="*/ 4013944 h 5973007"/>
              <a:gd name="connsiteX23998" fmla="*/ 5413887 w 6884782"/>
              <a:gd name="connsiteY23998" fmla="*/ 4012086 h 5973007"/>
              <a:gd name="connsiteX23999" fmla="*/ 5413732 w 6884782"/>
              <a:gd name="connsiteY23999" fmla="*/ 4009401 h 5973007"/>
              <a:gd name="connsiteX24000" fmla="*/ 5417914 w 6884782"/>
              <a:gd name="connsiteY24000" fmla="*/ 4008678 h 5973007"/>
              <a:gd name="connsiteX24001" fmla="*/ 5410169 w 6884782"/>
              <a:gd name="connsiteY24001" fmla="*/ 4007130 h 5973007"/>
              <a:gd name="connsiteX24002" fmla="*/ 5410944 w 6884782"/>
              <a:gd name="connsiteY24002" fmla="*/ 4008059 h 5973007"/>
              <a:gd name="connsiteX24003" fmla="*/ 5414507 w 6884782"/>
              <a:gd name="connsiteY24003" fmla="*/ 4018281 h 5973007"/>
              <a:gd name="connsiteX24004" fmla="*/ 5410944 w 6884782"/>
              <a:gd name="connsiteY24004" fmla="*/ 4019314 h 5973007"/>
              <a:gd name="connsiteX24005" fmla="*/ 5407071 w 6884782"/>
              <a:gd name="connsiteY24005" fmla="*/ 4017042 h 5973007"/>
              <a:gd name="connsiteX24006" fmla="*/ 5402579 w 6884782"/>
              <a:gd name="connsiteY24006" fmla="*/ 4008472 h 5973007"/>
              <a:gd name="connsiteX24007" fmla="*/ 5410169 w 6884782"/>
              <a:gd name="connsiteY24007" fmla="*/ 4007130 h 5973007"/>
              <a:gd name="connsiteX24008" fmla="*/ 485251 w 6884782"/>
              <a:gd name="connsiteY24008" fmla="*/ 4006595 h 5973007"/>
              <a:gd name="connsiteX24009" fmla="*/ 477971 w 6884782"/>
              <a:gd name="connsiteY24009" fmla="*/ 4019812 h 5973007"/>
              <a:gd name="connsiteX24010" fmla="*/ 473169 w 6884782"/>
              <a:gd name="connsiteY24010" fmla="*/ 4014133 h 5973007"/>
              <a:gd name="connsiteX24011" fmla="*/ 485251 w 6884782"/>
              <a:gd name="connsiteY24011" fmla="*/ 4006595 h 5973007"/>
              <a:gd name="connsiteX24012" fmla="*/ 5395144 w 6884782"/>
              <a:gd name="connsiteY24012" fmla="*/ 4005168 h 5973007"/>
              <a:gd name="connsiteX24013" fmla="*/ 5408465 w 6884782"/>
              <a:gd name="connsiteY24013" fmla="*/ 4021379 h 5973007"/>
              <a:gd name="connsiteX24014" fmla="*/ 5408310 w 6884782"/>
              <a:gd name="connsiteY24014" fmla="*/ 4022102 h 5973007"/>
              <a:gd name="connsiteX24015" fmla="*/ 5408775 w 6884782"/>
              <a:gd name="connsiteY24015" fmla="*/ 4022825 h 5973007"/>
              <a:gd name="connsiteX24016" fmla="*/ 5408310 w 6884782"/>
              <a:gd name="connsiteY24016" fmla="*/ 4024890 h 5973007"/>
              <a:gd name="connsiteX24017" fmla="*/ 5407846 w 6884782"/>
              <a:gd name="connsiteY24017" fmla="*/ 4024476 h 5973007"/>
              <a:gd name="connsiteX24018" fmla="*/ 5406917 w 6884782"/>
              <a:gd name="connsiteY24018" fmla="*/ 4026542 h 5973007"/>
              <a:gd name="connsiteX24019" fmla="*/ 5395144 w 6884782"/>
              <a:gd name="connsiteY24019" fmla="*/ 4005168 h 5973007"/>
              <a:gd name="connsiteX24020" fmla="*/ 5466126 w 6884782"/>
              <a:gd name="connsiteY24020" fmla="*/ 4000663 h 5973007"/>
              <a:gd name="connsiteX24021" fmla="*/ 5473987 w 6884782"/>
              <a:gd name="connsiteY24021" fmla="*/ 4004548 h 5973007"/>
              <a:gd name="connsiteX24022" fmla="*/ 5452921 w 6884782"/>
              <a:gd name="connsiteY24022" fmla="*/ 4021895 h 5973007"/>
              <a:gd name="connsiteX24023" fmla="*/ 5456793 w 6884782"/>
              <a:gd name="connsiteY24023" fmla="*/ 4013635 h 5973007"/>
              <a:gd name="connsiteX24024" fmla="*/ 5455244 w 6884782"/>
              <a:gd name="connsiteY24024" fmla="*/ 4012499 h 5973007"/>
              <a:gd name="connsiteX24025" fmla="*/ 5453540 w 6884782"/>
              <a:gd name="connsiteY24025" fmla="*/ 4007336 h 5973007"/>
              <a:gd name="connsiteX24026" fmla="*/ 5454315 w 6884782"/>
              <a:gd name="connsiteY24026" fmla="*/ 4001864 h 5973007"/>
              <a:gd name="connsiteX24027" fmla="*/ 5458962 w 6884782"/>
              <a:gd name="connsiteY24027" fmla="*/ 4005168 h 5973007"/>
              <a:gd name="connsiteX24028" fmla="*/ 5458807 w 6884782"/>
              <a:gd name="connsiteY24028" fmla="*/ 4009195 h 5973007"/>
              <a:gd name="connsiteX24029" fmla="*/ 5460820 w 6884782"/>
              <a:gd name="connsiteY24029" fmla="*/ 4005064 h 5973007"/>
              <a:gd name="connsiteX24030" fmla="*/ 5466126 w 6884782"/>
              <a:gd name="connsiteY24030" fmla="*/ 4000663 h 5973007"/>
              <a:gd name="connsiteX24031" fmla="*/ 5732508 w 6884782"/>
              <a:gd name="connsiteY24031" fmla="*/ 4000108 h 5973007"/>
              <a:gd name="connsiteX24032" fmla="*/ 5735451 w 6884782"/>
              <a:gd name="connsiteY24032" fmla="*/ 4000625 h 5973007"/>
              <a:gd name="connsiteX24033" fmla="*/ 5736536 w 6884782"/>
              <a:gd name="connsiteY24033" fmla="*/ 4001037 h 5973007"/>
              <a:gd name="connsiteX24034" fmla="*/ 5736536 w 6884782"/>
              <a:gd name="connsiteY24034" fmla="*/ 4000831 h 5973007"/>
              <a:gd name="connsiteX24035" fmla="*/ 5738859 w 6884782"/>
              <a:gd name="connsiteY24035" fmla="*/ 4000934 h 5973007"/>
              <a:gd name="connsiteX24036" fmla="*/ 5739634 w 6884782"/>
              <a:gd name="connsiteY24036" fmla="*/ 4000728 h 5973007"/>
              <a:gd name="connsiteX24037" fmla="*/ 5739944 w 6884782"/>
              <a:gd name="connsiteY24037" fmla="*/ 4000934 h 5973007"/>
              <a:gd name="connsiteX24038" fmla="*/ 5740718 w 6884782"/>
              <a:gd name="connsiteY24038" fmla="*/ 4000934 h 5973007"/>
              <a:gd name="connsiteX24039" fmla="*/ 5739479 w 6884782"/>
              <a:gd name="connsiteY24039" fmla="*/ 4004548 h 5973007"/>
              <a:gd name="connsiteX24040" fmla="*/ 5736846 w 6884782"/>
              <a:gd name="connsiteY24040" fmla="*/ 4005374 h 5973007"/>
              <a:gd name="connsiteX24041" fmla="*/ 5736381 w 6884782"/>
              <a:gd name="connsiteY24041" fmla="*/ 4004548 h 5973007"/>
              <a:gd name="connsiteX24042" fmla="*/ 5737001 w 6884782"/>
              <a:gd name="connsiteY24042" fmla="*/ 4004445 h 5973007"/>
              <a:gd name="connsiteX24043" fmla="*/ 5736846 w 6884782"/>
              <a:gd name="connsiteY24043" fmla="*/ 4003102 h 5973007"/>
              <a:gd name="connsiteX24044" fmla="*/ 5735606 w 6884782"/>
              <a:gd name="connsiteY24044" fmla="*/ 4003825 h 5973007"/>
              <a:gd name="connsiteX24045" fmla="*/ 5730960 w 6884782"/>
              <a:gd name="connsiteY24045" fmla="*/ 4005374 h 5973007"/>
              <a:gd name="connsiteX24046" fmla="*/ 5729411 w 6884782"/>
              <a:gd name="connsiteY24046" fmla="*/ 4004651 h 5973007"/>
              <a:gd name="connsiteX24047" fmla="*/ 5729101 w 6884782"/>
              <a:gd name="connsiteY24047" fmla="*/ 4002380 h 5973007"/>
              <a:gd name="connsiteX24048" fmla="*/ 5732508 w 6884782"/>
              <a:gd name="connsiteY24048" fmla="*/ 4000108 h 5973007"/>
              <a:gd name="connsiteX24049" fmla="*/ 5405058 w 6884782"/>
              <a:gd name="connsiteY24049" fmla="*/ 3999179 h 5973007"/>
              <a:gd name="connsiteX24050" fmla="*/ 5398862 w 6884782"/>
              <a:gd name="connsiteY24050" fmla="*/ 4004651 h 5973007"/>
              <a:gd name="connsiteX24051" fmla="*/ 5396539 w 6884782"/>
              <a:gd name="connsiteY24051" fmla="*/ 4004341 h 5973007"/>
              <a:gd name="connsiteX24052" fmla="*/ 5405058 w 6884782"/>
              <a:gd name="connsiteY24052" fmla="*/ 3999179 h 5973007"/>
              <a:gd name="connsiteX24053" fmla="*/ 5432939 w 6884782"/>
              <a:gd name="connsiteY24053" fmla="*/ 3998766 h 5973007"/>
              <a:gd name="connsiteX24054" fmla="*/ 5436811 w 6884782"/>
              <a:gd name="connsiteY24054" fmla="*/ 4001554 h 5973007"/>
              <a:gd name="connsiteX24055" fmla="*/ 5433714 w 6884782"/>
              <a:gd name="connsiteY24055" fmla="*/ 4005684 h 5973007"/>
              <a:gd name="connsiteX24056" fmla="*/ 5429686 w 6884782"/>
              <a:gd name="connsiteY24056" fmla="*/ 4003102 h 5973007"/>
              <a:gd name="connsiteX24057" fmla="*/ 5429532 w 6884782"/>
              <a:gd name="connsiteY24057" fmla="*/ 4000934 h 5973007"/>
              <a:gd name="connsiteX24058" fmla="*/ 5430306 w 6884782"/>
              <a:gd name="connsiteY24058" fmla="*/ 4000521 h 5973007"/>
              <a:gd name="connsiteX24059" fmla="*/ 5432939 w 6884782"/>
              <a:gd name="connsiteY24059" fmla="*/ 3998766 h 5973007"/>
              <a:gd name="connsiteX24060" fmla="*/ 5757447 w 6884782"/>
              <a:gd name="connsiteY24060" fmla="*/ 3996907 h 5973007"/>
              <a:gd name="connsiteX24061" fmla="*/ 5757757 w 6884782"/>
              <a:gd name="connsiteY24061" fmla="*/ 4002483 h 5973007"/>
              <a:gd name="connsiteX24062" fmla="*/ 5752026 w 6884782"/>
              <a:gd name="connsiteY24062" fmla="*/ 4006510 h 5973007"/>
              <a:gd name="connsiteX24063" fmla="*/ 5749237 w 6884782"/>
              <a:gd name="connsiteY24063" fmla="*/ 4005787 h 5973007"/>
              <a:gd name="connsiteX24064" fmla="*/ 5757447 w 6884782"/>
              <a:gd name="connsiteY24064" fmla="*/ 3996907 h 5973007"/>
              <a:gd name="connsiteX24065" fmla="*/ 5390498 w 6884782"/>
              <a:gd name="connsiteY24065" fmla="*/ 3994532 h 5973007"/>
              <a:gd name="connsiteX24066" fmla="*/ 5391272 w 6884782"/>
              <a:gd name="connsiteY24066" fmla="*/ 3994532 h 5973007"/>
              <a:gd name="connsiteX24067" fmla="*/ 5390033 w 6884782"/>
              <a:gd name="connsiteY24067" fmla="*/ 4005064 h 5973007"/>
              <a:gd name="connsiteX24068" fmla="*/ 5388794 w 6884782"/>
              <a:gd name="connsiteY24068" fmla="*/ 4005994 h 5973007"/>
              <a:gd name="connsiteX24069" fmla="*/ 5386625 w 6884782"/>
              <a:gd name="connsiteY24069" fmla="*/ 4004858 h 5973007"/>
              <a:gd name="connsiteX24070" fmla="*/ 5386470 w 6884782"/>
              <a:gd name="connsiteY24070" fmla="*/ 4000521 h 5973007"/>
              <a:gd name="connsiteX24071" fmla="*/ 5389723 w 6884782"/>
              <a:gd name="connsiteY24071" fmla="*/ 3997114 h 5973007"/>
              <a:gd name="connsiteX24072" fmla="*/ 5390498 w 6884782"/>
              <a:gd name="connsiteY24072" fmla="*/ 3994532 h 5973007"/>
              <a:gd name="connsiteX24073" fmla="*/ 5409395 w 6884782"/>
              <a:gd name="connsiteY24073" fmla="*/ 3982968 h 5973007"/>
              <a:gd name="connsiteX24074" fmla="*/ 5412028 w 6884782"/>
              <a:gd name="connsiteY24074" fmla="*/ 3989886 h 5973007"/>
              <a:gd name="connsiteX24075" fmla="*/ 5410014 w 6884782"/>
              <a:gd name="connsiteY24075" fmla="*/ 3991847 h 5973007"/>
              <a:gd name="connsiteX24076" fmla="*/ 5405213 w 6884782"/>
              <a:gd name="connsiteY24076" fmla="*/ 3988543 h 5973007"/>
              <a:gd name="connsiteX24077" fmla="*/ 5405677 w 6884782"/>
              <a:gd name="connsiteY24077" fmla="*/ 3985756 h 5973007"/>
              <a:gd name="connsiteX24078" fmla="*/ 5409395 w 6884782"/>
              <a:gd name="connsiteY24078" fmla="*/ 3982968 h 5973007"/>
              <a:gd name="connsiteX24079" fmla="*/ 5431235 w 6884782"/>
              <a:gd name="connsiteY24079" fmla="*/ 3980386 h 5973007"/>
              <a:gd name="connsiteX24080" fmla="*/ 5428757 w 6884782"/>
              <a:gd name="connsiteY24080" fmla="*/ 3984413 h 5973007"/>
              <a:gd name="connsiteX24081" fmla="*/ 5424730 w 6884782"/>
              <a:gd name="connsiteY24081" fmla="*/ 3982761 h 5973007"/>
              <a:gd name="connsiteX24082" fmla="*/ 5431235 w 6884782"/>
              <a:gd name="connsiteY24082" fmla="*/ 3980386 h 5973007"/>
              <a:gd name="connsiteX24083" fmla="*/ 480759 w 6884782"/>
              <a:gd name="connsiteY24083" fmla="*/ 3955483 h 5973007"/>
              <a:gd name="connsiteX24084" fmla="*/ 488659 w 6884782"/>
              <a:gd name="connsiteY24084" fmla="*/ 3966738 h 5973007"/>
              <a:gd name="connsiteX24085" fmla="*/ 479985 w 6884782"/>
              <a:gd name="connsiteY24085" fmla="*/ 3971178 h 5973007"/>
              <a:gd name="connsiteX24086" fmla="*/ 470227 w 6884782"/>
              <a:gd name="connsiteY24086" fmla="*/ 3968081 h 5973007"/>
              <a:gd name="connsiteX24087" fmla="*/ 480759 w 6884782"/>
              <a:gd name="connsiteY24087" fmla="*/ 3955483 h 5973007"/>
              <a:gd name="connsiteX24088" fmla="*/ 5776809 w 6884782"/>
              <a:gd name="connsiteY24088" fmla="*/ 3952610 h 5973007"/>
              <a:gd name="connsiteX24089" fmla="*/ 5770303 w 6884782"/>
              <a:gd name="connsiteY24089" fmla="*/ 3960251 h 5973007"/>
              <a:gd name="connsiteX24090" fmla="*/ 5773246 w 6884782"/>
              <a:gd name="connsiteY24090" fmla="*/ 3961800 h 5973007"/>
              <a:gd name="connsiteX24091" fmla="*/ 5775415 w 6884782"/>
              <a:gd name="connsiteY24091" fmla="*/ 3965207 h 5973007"/>
              <a:gd name="connsiteX24092" fmla="*/ 5772317 w 6884782"/>
              <a:gd name="connsiteY24092" fmla="*/ 3966860 h 5973007"/>
              <a:gd name="connsiteX24093" fmla="*/ 5769219 w 6884782"/>
              <a:gd name="connsiteY24093" fmla="*/ 3966756 h 5973007"/>
              <a:gd name="connsiteX24094" fmla="*/ 5769683 w 6884782"/>
              <a:gd name="connsiteY24094" fmla="*/ 3973055 h 5973007"/>
              <a:gd name="connsiteX24095" fmla="*/ 5766586 w 6884782"/>
              <a:gd name="connsiteY24095" fmla="*/ 3982451 h 5973007"/>
              <a:gd name="connsiteX24096" fmla="*/ 5771697 w 6884782"/>
              <a:gd name="connsiteY24096" fmla="*/ 3984310 h 5973007"/>
              <a:gd name="connsiteX24097" fmla="*/ 5773401 w 6884782"/>
              <a:gd name="connsiteY24097" fmla="*/ 3985033 h 5973007"/>
              <a:gd name="connsiteX24098" fmla="*/ 5773401 w 6884782"/>
              <a:gd name="connsiteY24098" fmla="*/ 3984000 h 5973007"/>
              <a:gd name="connsiteX24099" fmla="*/ 5773711 w 6884782"/>
              <a:gd name="connsiteY24099" fmla="*/ 3985136 h 5973007"/>
              <a:gd name="connsiteX24100" fmla="*/ 5777584 w 6884782"/>
              <a:gd name="connsiteY24100" fmla="*/ 3986581 h 5973007"/>
              <a:gd name="connsiteX24101" fmla="*/ 5777428 w 6884782"/>
              <a:gd name="connsiteY24101" fmla="*/ 3983897 h 5973007"/>
              <a:gd name="connsiteX24102" fmla="*/ 5776344 w 6884782"/>
              <a:gd name="connsiteY24102" fmla="*/ 3983691 h 5973007"/>
              <a:gd name="connsiteX24103" fmla="*/ 5775105 w 6884782"/>
              <a:gd name="connsiteY24103" fmla="*/ 3981935 h 5973007"/>
              <a:gd name="connsiteX24104" fmla="*/ 5777273 w 6884782"/>
              <a:gd name="connsiteY24104" fmla="*/ 3982555 h 5973007"/>
              <a:gd name="connsiteX24105" fmla="*/ 5777428 w 6884782"/>
              <a:gd name="connsiteY24105" fmla="*/ 3982555 h 5973007"/>
              <a:gd name="connsiteX24106" fmla="*/ 5776964 w 6884782"/>
              <a:gd name="connsiteY24106" fmla="*/ 3976669 h 5973007"/>
              <a:gd name="connsiteX24107" fmla="*/ 5777893 w 6884782"/>
              <a:gd name="connsiteY24107" fmla="*/ 3968718 h 5973007"/>
              <a:gd name="connsiteX24108" fmla="*/ 5778203 w 6884782"/>
              <a:gd name="connsiteY24108" fmla="*/ 3968718 h 5973007"/>
              <a:gd name="connsiteX24109" fmla="*/ 5778203 w 6884782"/>
              <a:gd name="connsiteY24109" fmla="*/ 3968512 h 5973007"/>
              <a:gd name="connsiteX24110" fmla="*/ 5778203 w 6884782"/>
              <a:gd name="connsiteY24110" fmla="*/ 3968408 h 5973007"/>
              <a:gd name="connsiteX24111" fmla="*/ 5778048 w 6884782"/>
              <a:gd name="connsiteY24111" fmla="*/ 3966550 h 5973007"/>
              <a:gd name="connsiteX24112" fmla="*/ 5777584 w 6884782"/>
              <a:gd name="connsiteY24112" fmla="*/ 3966550 h 5973007"/>
              <a:gd name="connsiteX24113" fmla="*/ 5775880 w 6884782"/>
              <a:gd name="connsiteY24113" fmla="*/ 3965621 h 5973007"/>
              <a:gd name="connsiteX24114" fmla="*/ 5775415 w 6884782"/>
              <a:gd name="connsiteY24114" fmla="*/ 3964072 h 5973007"/>
              <a:gd name="connsiteX24115" fmla="*/ 5776499 w 6884782"/>
              <a:gd name="connsiteY24115" fmla="*/ 3962420 h 5973007"/>
              <a:gd name="connsiteX24116" fmla="*/ 5777273 w 6884782"/>
              <a:gd name="connsiteY24116" fmla="*/ 3961387 h 5973007"/>
              <a:gd name="connsiteX24117" fmla="*/ 5776964 w 6884782"/>
              <a:gd name="connsiteY24117" fmla="*/ 3959012 h 5973007"/>
              <a:gd name="connsiteX24118" fmla="*/ 547210 w 6884782"/>
              <a:gd name="connsiteY24118" fmla="*/ 3940924 h 5973007"/>
              <a:gd name="connsiteX24119" fmla="*/ 555574 w 6884782"/>
              <a:gd name="connsiteY24119" fmla="*/ 3950734 h 5973007"/>
              <a:gd name="connsiteX24120" fmla="*/ 536522 w 6884782"/>
              <a:gd name="connsiteY24120" fmla="*/ 3961163 h 5973007"/>
              <a:gd name="connsiteX24121" fmla="*/ 547210 w 6884782"/>
              <a:gd name="connsiteY24121" fmla="*/ 3940924 h 5973007"/>
              <a:gd name="connsiteX24122" fmla="*/ 5824052 w 6884782"/>
              <a:gd name="connsiteY24122" fmla="*/ 3919981 h 5973007"/>
              <a:gd name="connsiteX24123" fmla="*/ 5826530 w 6884782"/>
              <a:gd name="connsiteY24123" fmla="*/ 3923286 h 5973007"/>
              <a:gd name="connsiteX24124" fmla="*/ 5823433 w 6884782"/>
              <a:gd name="connsiteY24124" fmla="*/ 3925041 h 5973007"/>
              <a:gd name="connsiteX24125" fmla="*/ 5823278 w 6884782"/>
              <a:gd name="connsiteY24125" fmla="*/ 3925247 h 5973007"/>
              <a:gd name="connsiteX24126" fmla="*/ 5826376 w 6884782"/>
              <a:gd name="connsiteY24126" fmla="*/ 3928035 h 5973007"/>
              <a:gd name="connsiteX24127" fmla="*/ 5829474 w 6884782"/>
              <a:gd name="connsiteY24127" fmla="*/ 3948893 h 5973007"/>
              <a:gd name="connsiteX24128" fmla="*/ 5824207 w 6884782"/>
              <a:gd name="connsiteY24128" fmla="*/ 3953746 h 5973007"/>
              <a:gd name="connsiteX24129" fmla="*/ 5825601 w 6884782"/>
              <a:gd name="connsiteY24129" fmla="*/ 3955501 h 5973007"/>
              <a:gd name="connsiteX24130" fmla="*/ 5822658 w 6884782"/>
              <a:gd name="connsiteY24130" fmla="*/ 3964381 h 5973007"/>
              <a:gd name="connsiteX24131" fmla="*/ 5825756 w 6884782"/>
              <a:gd name="connsiteY24131" fmla="*/ 3959322 h 5973007"/>
              <a:gd name="connsiteX24132" fmla="*/ 5827305 w 6884782"/>
              <a:gd name="connsiteY24132" fmla="*/ 3967892 h 5973007"/>
              <a:gd name="connsiteX24133" fmla="*/ 5826221 w 6884782"/>
              <a:gd name="connsiteY24133" fmla="*/ 3970887 h 5973007"/>
              <a:gd name="connsiteX24134" fmla="*/ 5828234 w 6884782"/>
              <a:gd name="connsiteY24134" fmla="*/ 3970990 h 5973007"/>
              <a:gd name="connsiteX24135" fmla="*/ 5832262 w 6884782"/>
              <a:gd name="connsiteY24135" fmla="*/ 3977908 h 5973007"/>
              <a:gd name="connsiteX24136" fmla="*/ 5827615 w 6884782"/>
              <a:gd name="connsiteY24136" fmla="*/ 3983794 h 5973007"/>
              <a:gd name="connsiteX24137" fmla="*/ 5823742 w 6884782"/>
              <a:gd name="connsiteY24137" fmla="*/ 3980076 h 5973007"/>
              <a:gd name="connsiteX24138" fmla="*/ 5823433 w 6884782"/>
              <a:gd name="connsiteY24138" fmla="*/ 3979767 h 5973007"/>
              <a:gd name="connsiteX24139" fmla="*/ 5822039 w 6884782"/>
              <a:gd name="connsiteY24139" fmla="*/ 3984723 h 5973007"/>
              <a:gd name="connsiteX24140" fmla="*/ 5823433 w 6884782"/>
              <a:gd name="connsiteY24140" fmla="*/ 3991744 h 5973007"/>
              <a:gd name="connsiteX24141" fmla="*/ 5817547 w 6884782"/>
              <a:gd name="connsiteY24141" fmla="*/ 3992158 h 5973007"/>
              <a:gd name="connsiteX24142" fmla="*/ 5820180 w 6884782"/>
              <a:gd name="connsiteY24142" fmla="*/ 4000728 h 5973007"/>
              <a:gd name="connsiteX24143" fmla="*/ 5822348 w 6884782"/>
              <a:gd name="connsiteY24143" fmla="*/ 3999179 h 5973007"/>
              <a:gd name="connsiteX24144" fmla="*/ 5823587 w 6884782"/>
              <a:gd name="connsiteY24144" fmla="*/ 3999385 h 5973007"/>
              <a:gd name="connsiteX24145" fmla="*/ 5824982 w 6884782"/>
              <a:gd name="connsiteY24145" fmla="*/ 3991435 h 5973007"/>
              <a:gd name="connsiteX24146" fmla="*/ 5826686 w 6884782"/>
              <a:gd name="connsiteY24146" fmla="*/ 3997320 h 5973007"/>
              <a:gd name="connsiteX24147" fmla="*/ 5826530 w 6884782"/>
              <a:gd name="connsiteY24147" fmla="*/ 3999695 h 5973007"/>
              <a:gd name="connsiteX24148" fmla="*/ 5827460 w 6884782"/>
              <a:gd name="connsiteY24148" fmla="*/ 3999902 h 5973007"/>
              <a:gd name="connsiteX24149" fmla="*/ 5833191 w 6884782"/>
              <a:gd name="connsiteY24149" fmla="*/ 4003516 h 5973007"/>
              <a:gd name="connsiteX24150" fmla="*/ 5833656 w 6884782"/>
              <a:gd name="connsiteY24150" fmla="*/ 4003516 h 5973007"/>
              <a:gd name="connsiteX24151" fmla="*/ 5833656 w 6884782"/>
              <a:gd name="connsiteY24151" fmla="*/ 4003825 h 5973007"/>
              <a:gd name="connsiteX24152" fmla="*/ 5837993 w 6884782"/>
              <a:gd name="connsiteY24152" fmla="*/ 4006613 h 5973007"/>
              <a:gd name="connsiteX24153" fmla="*/ 5833656 w 6884782"/>
              <a:gd name="connsiteY24153" fmla="*/ 4009711 h 5973007"/>
              <a:gd name="connsiteX24154" fmla="*/ 5834431 w 6884782"/>
              <a:gd name="connsiteY24154" fmla="*/ 4014048 h 5973007"/>
              <a:gd name="connsiteX24155" fmla="*/ 5833966 w 6884782"/>
              <a:gd name="connsiteY24155" fmla="*/ 4014048 h 5973007"/>
              <a:gd name="connsiteX24156" fmla="*/ 5835205 w 6884782"/>
              <a:gd name="connsiteY24156" fmla="*/ 4015700 h 5973007"/>
              <a:gd name="connsiteX24157" fmla="*/ 5839851 w 6884782"/>
              <a:gd name="connsiteY24157" fmla="*/ 4027987 h 5973007"/>
              <a:gd name="connsiteX24158" fmla="*/ 5829629 w 6884782"/>
              <a:gd name="connsiteY24158" fmla="*/ 4019624 h 5973007"/>
              <a:gd name="connsiteX24159" fmla="*/ 5826995 w 6884782"/>
              <a:gd name="connsiteY24159" fmla="*/ 4016423 h 5973007"/>
              <a:gd name="connsiteX24160" fmla="*/ 5827770 w 6884782"/>
              <a:gd name="connsiteY24160" fmla="*/ 4019417 h 5973007"/>
              <a:gd name="connsiteX24161" fmla="*/ 5824982 w 6884782"/>
              <a:gd name="connsiteY24161" fmla="*/ 4014667 h 5973007"/>
              <a:gd name="connsiteX24162" fmla="*/ 5824517 w 6884782"/>
              <a:gd name="connsiteY24162" fmla="*/ 4014874 h 5973007"/>
              <a:gd name="connsiteX24163" fmla="*/ 5824362 w 6884782"/>
              <a:gd name="connsiteY24163" fmla="*/ 4020656 h 5973007"/>
              <a:gd name="connsiteX24164" fmla="*/ 5823433 w 6884782"/>
              <a:gd name="connsiteY24164" fmla="*/ 4027058 h 5973007"/>
              <a:gd name="connsiteX24165" fmla="*/ 5820335 w 6884782"/>
              <a:gd name="connsiteY24165" fmla="*/ 4030981 h 5973007"/>
              <a:gd name="connsiteX24166" fmla="*/ 5820335 w 6884782"/>
              <a:gd name="connsiteY24166" fmla="*/ 4033357 h 5973007"/>
              <a:gd name="connsiteX24167" fmla="*/ 5820490 w 6884782"/>
              <a:gd name="connsiteY24167" fmla="*/ 4035112 h 5973007"/>
              <a:gd name="connsiteX24168" fmla="*/ 5824052 w 6884782"/>
              <a:gd name="connsiteY24168" fmla="*/ 4040791 h 5973007"/>
              <a:gd name="connsiteX24169" fmla="*/ 5823123 w 6884782"/>
              <a:gd name="connsiteY24169" fmla="*/ 4028607 h 5973007"/>
              <a:gd name="connsiteX24170" fmla="*/ 5831023 w 6884782"/>
              <a:gd name="connsiteY24170" fmla="*/ 4035422 h 5973007"/>
              <a:gd name="connsiteX24171" fmla="*/ 5826376 w 6884782"/>
              <a:gd name="connsiteY24171" fmla="*/ 4044611 h 5973007"/>
              <a:gd name="connsiteX24172" fmla="*/ 5824982 w 6884782"/>
              <a:gd name="connsiteY24172" fmla="*/ 4050910 h 5973007"/>
              <a:gd name="connsiteX24173" fmla="*/ 5825137 w 6884782"/>
              <a:gd name="connsiteY24173" fmla="*/ 4052459 h 5973007"/>
              <a:gd name="connsiteX24174" fmla="*/ 5824982 w 6884782"/>
              <a:gd name="connsiteY24174" fmla="*/ 4053182 h 5973007"/>
              <a:gd name="connsiteX24175" fmla="*/ 5824672 w 6884782"/>
              <a:gd name="connsiteY24175" fmla="*/ 4053904 h 5973007"/>
              <a:gd name="connsiteX24176" fmla="*/ 5824827 w 6884782"/>
              <a:gd name="connsiteY24176" fmla="*/ 4055454 h 5973007"/>
              <a:gd name="connsiteX24177" fmla="*/ 5829938 w 6884782"/>
              <a:gd name="connsiteY24177" fmla="*/ 4055454 h 5973007"/>
              <a:gd name="connsiteX24178" fmla="*/ 5826066 w 6884782"/>
              <a:gd name="connsiteY24178" fmla="*/ 4058035 h 5973007"/>
              <a:gd name="connsiteX24179" fmla="*/ 5831332 w 6884782"/>
              <a:gd name="connsiteY24179" fmla="*/ 4066399 h 5973007"/>
              <a:gd name="connsiteX24180" fmla="*/ 5831952 w 6884782"/>
              <a:gd name="connsiteY24180" fmla="*/ 4068877 h 5973007"/>
              <a:gd name="connsiteX24181" fmla="*/ 5832107 w 6884782"/>
              <a:gd name="connsiteY24181" fmla="*/ 4070426 h 5973007"/>
              <a:gd name="connsiteX24182" fmla="*/ 5832727 w 6884782"/>
              <a:gd name="connsiteY24182" fmla="*/ 4070632 h 5973007"/>
              <a:gd name="connsiteX24183" fmla="*/ 5832572 w 6884782"/>
              <a:gd name="connsiteY24183" fmla="*/ 4071355 h 5973007"/>
              <a:gd name="connsiteX24184" fmla="*/ 5833501 w 6884782"/>
              <a:gd name="connsiteY24184" fmla="*/ 4079202 h 5973007"/>
              <a:gd name="connsiteX24185" fmla="*/ 5833811 w 6884782"/>
              <a:gd name="connsiteY24185" fmla="*/ 4080751 h 5973007"/>
              <a:gd name="connsiteX24186" fmla="*/ 5835670 w 6884782"/>
              <a:gd name="connsiteY24186" fmla="*/ 4082713 h 5973007"/>
              <a:gd name="connsiteX24187" fmla="*/ 5836599 w 6884782"/>
              <a:gd name="connsiteY24187" fmla="*/ 4085398 h 5973007"/>
              <a:gd name="connsiteX24188" fmla="*/ 5836289 w 6884782"/>
              <a:gd name="connsiteY24188" fmla="*/ 4087050 h 5973007"/>
              <a:gd name="connsiteX24189" fmla="*/ 5837219 w 6884782"/>
              <a:gd name="connsiteY24189" fmla="*/ 4085191 h 5973007"/>
              <a:gd name="connsiteX24190" fmla="*/ 5841710 w 6884782"/>
              <a:gd name="connsiteY24190" fmla="*/ 4080441 h 5973007"/>
              <a:gd name="connsiteX24191" fmla="*/ 5841555 w 6884782"/>
              <a:gd name="connsiteY24191" fmla="*/ 4083229 h 5973007"/>
              <a:gd name="connsiteX24192" fmla="*/ 5841091 w 6884782"/>
              <a:gd name="connsiteY24192" fmla="*/ 4084365 h 5973007"/>
              <a:gd name="connsiteX24193" fmla="*/ 5841401 w 6884782"/>
              <a:gd name="connsiteY24193" fmla="*/ 4085191 h 5973007"/>
              <a:gd name="connsiteX24194" fmla="*/ 5840626 w 6884782"/>
              <a:gd name="connsiteY24194" fmla="*/ 4085501 h 5973007"/>
              <a:gd name="connsiteX24195" fmla="*/ 5839542 w 6884782"/>
              <a:gd name="connsiteY24195" fmla="*/ 4087773 h 5973007"/>
              <a:gd name="connsiteX24196" fmla="*/ 5838613 w 6884782"/>
              <a:gd name="connsiteY24196" fmla="*/ 4093658 h 5973007"/>
              <a:gd name="connsiteX24197" fmla="*/ 5838303 w 6884782"/>
              <a:gd name="connsiteY24197" fmla="*/ 4094071 h 5973007"/>
              <a:gd name="connsiteX24198" fmla="*/ 5840006 w 6884782"/>
              <a:gd name="connsiteY24198" fmla="*/ 4096652 h 5973007"/>
              <a:gd name="connsiteX24199" fmla="*/ 5839387 w 6884782"/>
              <a:gd name="connsiteY24199" fmla="*/ 4104397 h 5973007"/>
              <a:gd name="connsiteX24200" fmla="*/ 5841555 w 6884782"/>
              <a:gd name="connsiteY24200" fmla="*/ 4098718 h 5973007"/>
              <a:gd name="connsiteX24201" fmla="*/ 5842794 w 6884782"/>
              <a:gd name="connsiteY24201" fmla="*/ 4097272 h 5973007"/>
              <a:gd name="connsiteX24202" fmla="*/ 5841246 w 6884782"/>
              <a:gd name="connsiteY24202" fmla="*/ 4096343 h 5973007"/>
              <a:gd name="connsiteX24203" fmla="*/ 5843414 w 6884782"/>
              <a:gd name="connsiteY24203" fmla="*/ 4087669 h 5973007"/>
              <a:gd name="connsiteX24204" fmla="*/ 5847906 w 6884782"/>
              <a:gd name="connsiteY24204" fmla="*/ 4088185 h 5973007"/>
              <a:gd name="connsiteX24205" fmla="*/ 5849145 w 6884782"/>
              <a:gd name="connsiteY24205" fmla="*/ 4089322 h 5973007"/>
              <a:gd name="connsiteX24206" fmla="*/ 5850384 w 6884782"/>
              <a:gd name="connsiteY24206" fmla="*/ 4088185 h 5973007"/>
              <a:gd name="connsiteX24207" fmla="*/ 5849300 w 6884782"/>
              <a:gd name="connsiteY24207" fmla="*/ 4081784 h 5973007"/>
              <a:gd name="connsiteX24208" fmla="*/ 5848216 w 6884782"/>
              <a:gd name="connsiteY24208" fmla="*/ 4076208 h 5973007"/>
              <a:gd name="connsiteX24209" fmla="*/ 5847287 w 6884782"/>
              <a:gd name="connsiteY24209" fmla="*/ 4068361 h 5973007"/>
              <a:gd name="connsiteX24210" fmla="*/ 5847596 w 6884782"/>
              <a:gd name="connsiteY24210" fmla="*/ 4067638 h 5973007"/>
              <a:gd name="connsiteX24211" fmla="*/ 5846822 w 6884782"/>
              <a:gd name="connsiteY24211" fmla="*/ 4067431 h 5973007"/>
              <a:gd name="connsiteX24212" fmla="*/ 5846667 w 6884782"/>
              <a:gd name="connsiteY24212" fmla="*/ 4065882 h 5973007"/>
              <a:gd name="connsiteX24213" fmla="*/ 5846512 w 6884782"/>
              <a:gd name="connsiteY24213" fmla="*/ 4059894 h 5973007"/>
              <a:gd name="connsiteX24214" fmla="*/ 5846977 w 6884782"/>
              <a:gd name="connsiteY24214" fmla="*/ 4054731 h 5973007"/>
              <a:gd name="connsiteX24215" fmla="*/ 5847132 w 6884782"/>
              <a:gd name="connsiteY24215" fmla="*/ 4051736 h 5973007"/>
              <a:gd name="connsiteX24216" fmla="*/ 5847596 w 6884782"/>
              <a:gd name="connsiteY24216" fmla="*/ 4050394 h 5973007"/>
              <a:gd name="connsiteX24217" fmla="*/ 5848371 w 6884782"/>
              <a:gd name="connsiteY24217" fmla="*/ 4048329 h 5973007"/>
              <a:gd name="connsiteX24218" fmla="*/ 5846357 w 6884782"/>
              <a:gd name="connsiteY24218" fmla="*/ 4047709 h 5973007"/>
              <a:gd name="connsiteX24219" fmla="*/ 5845893 w 6884782"/>
              <a:gd name="connsiteY24219" fmla="*/ 4049051 h 5973007"/>
              <a:gd name="connsiteX24220" fmla="*/ 5845428 w 6884782"/>
              <a:gd name="connsiteY24220" fmla="*/ 4050394 h 5973007"/>
              <a:gd name="connsiteX24221" fmla="*/ 5845893 w 6884782"/>
              <a:gd name="connsiteY24221" fmla="*/ 4051323 h 5973007"/>
              <a:gd name="connsiteX24222" fmla="*/ 5844189 w 6884782"/>
              <a:gd name="connsiteY24222" fmla="*/ 4050084 h 5973007"/>
              <a:gd name="connsiteX24223" fmla="*/ 5843260 w 6884782"/>
              <a:gd name="connsiteY24223" fmla="*/ 4046057 h 5973007"/>
              <a:gd name="connsiteX24224" fmla="*/ 5845583 w 6884782"/>
              <a:gd name="connsiteY24224" fmla="*/ 4039242 h 5973007"/>
              <a:gd name="connsiteX24225" fmla="*/ 5840781 w 6884782"/>
              <a:gd name="connsiteY24225" fmla="*/ 4019624 h 5973007"/>
              <a:gd name="connsiteX24226" fmla="*/ 5840471 w 6884782"/>
              <a:gd name="connsiteY24226" fmla="*/ 4009814 h 5973007"/>
              <a:gd name="connsiteX24227" fmla="*/ 5839851 w 6884782"/>
              <a:gd name="connsiteY24227" fmla="*/ 4007336 h 5973007"/>
              <a:gd name="connsiteX24228" fmla="*/ 5839232 w 6884782"/>
              <a:gd name="connsiteY24228" fmla="*/ 4004858 h 5973007"/>
              <a:gd name="connsiteX24229" fmla="*/ 5836599 w 6884782"/>
              <a:gd name="connsiteY24229" fmla="*/ 4005271 h 5973007"/>
              <a:gd name="connsiteX24230" fmla="*/ 5838458 w 6884782"/>
              <a:gd name="connsiteY24230" fmla="*/ 4001554 h 5973007"/>
              <a:gd name="connsiteX24231" fmla="*/ 5837993 w 6884782"/>
              <a:gd name="connsiteY24231" fmla="*/ 4000005 h 5973007"/>
              <a:gd name="connsiteX24232" fmla="*/ 5841865 w 6884782"/>
              <a:gd name="connsiteY24232" fmla="*/ 3988337 h 5973007"/>
              <a:gd name="connsiteX24233" fmla="*/ 5844344 w 6884782"/>
              <a:gd name="connsiteY24233" fmla="*/ 3979354 h 5973007"/>
              <a:gd name="connsiteX24234" fmla="*/ 5838613 w 6884782"/>
              <a:gd name="connsiteY24234" fmla="*/ 3976772 h 5973007"/>
              <a:gd name="connsiteX24235" fmla="*/ 5837838 w 6884782"/>
              <a:gd name="connsiteY24235" fmla="*/ 3963246 h 5973007"/>
              <a:gd name="connsiteX24236" fmla="*/ 5837528 w 6884782"/>
              <a:gd name="connsiteY24236" fmla="*/ 3957567 h 5973007"/>
              <a:gd name="connsiteX24237" fmla="*/ 5832262 w 6884782"/>
              <a:gd name="connsiteY24237" fmla="*/ 3950648 h 5973007"/>
              <a:gd name="connsiteX24238" fmla="*/ 5833501 w 6884782"/>
              <a:gd name="connsiteY24238" fmla="*/ 3948790 h 5973007"/>
              <a:gd name="connsiteX24239" fmla="*/ 5831487 w 6884782"/>
              <a:gd name="connsiteY24239" fmla="*/ 3948996 h 5973007"/>
              <a:gd name="connsiteX24240" fmla="*/ 5835824 w 6884782"/>
              <a:gd name="connsiteY24240" fmla="*/ 3945072 h 5973007"/>
              <a:gd name="connsiteX24241" fmla="*/ 5834120 w 6884782"/>
              <a:gd name="connsiteY24241" fmla="*/ 3941562 h 5973007"/>
              <a:gd name="connsiteX24242" fmla="*/ 5834740 w 6884782"/>
              <a:gd name="connsiteY24242" fmla="*/ 3937225 h 5973007"/>
              <a:gd name="connsiteX24243" fmla="*/ 5831952 w 6884782"/>
              <a:gd name="connsiteY24243" fmla="*/ 3928861 h 5973007"/>
              <a:gd name="connsiteX24244" fmla="*/ 5836134 w 6884782"/>
              <a:gd name="connsiteY24244" fmla="*/ 3927106 h 5973007"/>
              <a:gd name="connsiteX24245" fmla="*/ 5834120 w 6884782"/>
              <a:gd name="connsiteY24245" fmla="*/ 3921943 h 5973007"/>
              <a:gd name="connsiteX24246" fmla="*/ 5825756 w 6884782"/>
              <a:gd name="connsiteY24246" fmla="*/ 3920601 h 5973007"/>
              <a:gd name="connsiteX24247" fmla="*/ 641075 w 6884782"/>
              <a:gd name="connsiteY24247" fmla="*/ 3900621 h 5973007"/>
              <a:gd name="connsiteX24248" fmla="*/ 641697 w 6884782"/>
              <a:gd name="connsiteY24248" fmla="*/ 3901481 h 5973007"/>
              <a:gd name="connsiteX24249" fmla="*/ 644639 w 6884782"/>
              <a:gd name="connsiteY24249" fmla="*/ 3905817 h 5973007"/>
              <a:gd name="connsiteX24250" fmla="*/ 645724 w 6884782"/>
              <a:gd name="connsiteY24250" fmla="*/ 3906953 h 5973007"/>
              <a:gd name="connsiteX24251" fmla="*/ 645724 w 6884782"/>
              <a:gd name="connsiteY24251" fmla="*/ 3907573 h 5973007"/>
              <a:gd name="connsiteX24252" fmla="*/ 646343 w 6884782"/>
              <a:gd name="connsiteY24252" fmla="*/ 3908089 h 5973007"/>
              <a:gd name="connsiteX24253" fmla="*/ 646963 w 6884782"/>
              <a:gd name="connsiteY24253" fmla="*/ 3909121 h 5973007"/>
              <a:gd name="connsiteX24254" fmla="*/ 654863 w 6884782"/>
              <a:gd name="connsiteY24254" fmla="*/ 3917176 h 5973007"/>
              <a:gd name="connsiteX24255" fmla="*/ 664621 w 6884782"/>
              <a:gd name="connsiteY24255" fmla="*/ 3912839 h 5973007"/>
              <a:gd name="connsiteX24256" fmla="*/ 665706 w 6884782"/>
              <a:gd name="connsiteY24256" fmla="*/ 3914491 h 5973007"/>
              <a:gd name="connsiteX24257" fmla="*/ 668029 w 6884782"/>
              <a:gd name="connsiteY24257" fmla="*/ 3918828 h 5973007"/>
              <a:gd name="connsiteX24258" fmla="*/ 668029 w 6884782"/>
              <a:gd name="connsiteY24258" fmla="*/ 3919447 h 5973007"/>
              <a:gd name="connsiteX24259" fmla="*/ 668493 w 6884782"/>
              <a:gd name="connsiteY24259" fmla="*/ 3919964 h 5973007"/>
              <a:gd name="connsiteX24260" fmla="*/ 669733 w 6884782"/>
              <a:gd name="connsiteY24260" fmla="*/ 3920996 h 5973007"/>
              <a:gd name="connsiteX24261" fmla="*/ 674225 w 6884782"/>
              <a:gd name="connsiteY24261" fmla="*/ 3925333 h 5973007"/>
              <a:gd name="connsiteX24262" fmla="*/ 677943 w 6884782"/>
              <a:gd name="connsiteY24262" fmla="*/ 3926675 h 5973007"/>
              <a:gd name="connsiteX24263" fmla="*/ 679956 w 6884782"/>
              <a:gd name="connsiteY24263" fmla="*/ 3922648 h 5973007"/>
              <a:gd name="connsiteX24264" fmla="*/ 676548 w 6884782"/>
              <a:gd name="connsiteY24264" fmla="*/ 3919447 h 5973007"/>
              <a:gd name="connsiteX24265" fmla="*/ 675464 w 6884782"/>
              <a:gd name="connsiteY24265" fmla="*/ 3916659 h 5973007"/>
              <a:gd name="connsiteX24266" fmla="*/ 674844 w 6884782"/>
              <a:gd name="connsiteY24266" fmla="*/ 3915110 h 5973007"/>
              <a:gd name="connsiteX24267" fmla="*/ 674225 w 6884782"/>
              <a:gd name="connsiteY24267" fmla="*/ 3915110 h 5973007"/>
              <a:gd name="connsiteX24268" fmla="*/ 672056 w 6884782"/>
              <a:gd name="connsiteY24268" fmla="*/ 3911290 h 5973007"/>
              <a:gd name="connsiteX24269" fmla="*/ 672056 w 6884782"/>
              <a:gd name="connsiteY24269" fmla="*/ 3910774 h 5973007"/>
              <a:gd name="connsiteX24270" fmla="*/ 672521 w 6884782"/>
              <a:gd name="connsiteY24270" fmla="*/ 3910774 h 5973007"/>
              <a:gd name="connsiteX24271" fmla="*/ 672521 w 6884782"/>
              <a:gd name="connsiteY24271" fmla="*/ 3910154 h 5973007"/>
              <a:gd name="connsiteX24272" fmla="*/ 670817 w 6884782"/>
              <a:gd name="connsiteY24272" fmla="*/ 3906437 h 5973007"/>
              <a:gd name="connsiteX24273" fmla="*/ 662995 w 6884782"/>
              <a:gd name="connsiteY24273" fmla="*/ 3900621 h 5973007"/>
              <a:gd name="connsiteX24274" fmla="*/ 5830254 w 6884782"/>
              <a:gd name="connsiteY24274" fmla="*/ 3894951 h 5973007"/>
              <a:gd name="connsiteX24275" fmla="*/ 5825601 w 6884782"/>
              <a:gd name="connsiteY24275" fmla="*/ 3900171 h 5973007"/>
              <a:gd name="connsiteX24276" fmla="*/ 5825601 w 6884782"/>
              <a:gd name="connsiteY24276" fmla="*/ 3900363 h 5973007"/>
              <a:gd name="connsiteX24277" fmla="*/ 5828854 w 6884782"/>
              <a:gd name="connsiteY24277" fmla="*/ 3899227 h 5973007"/>
              <a:gd name="connsiteX24278" fmla="*/ 5829783 w 6884782"/>
              <a:gd name="connsiteY24278" fmla="*/ 3899640 h 5973007"/>
              <a:gd name="connsiteX24279" fmla="*/ 5830248 w 6884782"/>
              <a:gd name="connsiteY24279" fmla="*/ 3895200 h 5973007"/>
              <a:gd name="connsiteX24280" fmla="*/ 422008 w 6884782"/>
              <a:gd name="connsiteY24280" fmla="*/ 3879710 h 5973007"/>
              <a:gd name="connsiteX24281" fmla="*/ 438839 w 6884782"/>
              <a:gd name="connsiteY24281" fmla="*/ 3885131 h 5973007"/>
              <a:gd name="connsiteX24282" fmla="*/ 454637 w 6884782"/>
              <a:gd name="connsiteY24282" fmla="*/ 3893031 h 5973007"/>
              <a:gd name="connsiteX24283" fmla="*/ 422008 w 6884782"/>
              <a:gd name="connsiteY24283" fmla="*/ 3879710 h 5973007"/>
              <a:gd name="connsiteX24284" fmla="*/ 496094 w 6884782"/>
              <a:gd name="connsiteY24284" fmla="*/ 3875047 h 5973007"/>
              <a:gd name="connsiteX24285" fmla="*/ 508021 w 6884782"/>
              <a:gd name="connsiteY24285" fmla="*/ 3886715 h 5973007"/>
              <a:gd name="connsiteX24286" fmla="*/ 499502 w 6884782"/>
              <a:gd name="connsiteY24286" fmla="*/ 3890019 h 5973007"/>
              <a:gd name="connsiteX24287" fmla="*/ 492222 w 6884782"/>
              <a:gd name="connsiteY24287" fmla="*/ 3883617 h 5973007"/>
              <a:gd name="connsiteX24288" fmla="*/ 496094 w 6884782"/>
              <a:gd name="connsiteY24288" fmla="*/ 3875047 h 5973007"/>
              <a:gd name="connsiteX24289" fmla="*/ 573387 w 6884782"/>
              <a:gd name="connsiteY24289" fmla="*/ 3863895 h 5973007"/>
              <a:gd name="connsiteX24290" fmla="*/ 574936 w 6884782"/>
              <a:gd name="connsiteY24290" fmla="*/ 3869678 h 5973007"/>
              <a:gd name="connsiteX24291" fmla="*/ 578963 w 6884782"/>
              <a:gd name="connsiteY24291" fmla="*/ 3877835 h 5973007"/>
              <a:gd name="connsiteX24292" fmla="*/ 585779 w 6884782"/>
              <a:gd name="connsiteY24292" fmla="*/ 3900448 h 5973007"/>
              <a:gd name="connsiteX24293" fmla="*/ 592749 w 6884782"/>
              <a:gd name="connsiteY24293" fmla="*/ 3912219 h 5973007"/>
              <a:gd name="connsiteX24294" fmla="*/ 600495 w 6884782"/>
              <a:gd name="connsiteY24294" fmla="*/ 3924197 h 5973007"/>
              <a:gd name="connsiteX24295" fmla="*/ 600959 w 6884782"/>
              <a:gd name="connsiteY24295" fmla="*/ 3923681 h 5973007"/>
              <a:gd name="connsiteX24296" fmla="*/ 604521 w 6884782"/>
              <a:gd name="connsiteY24296" fmla="*/ 3922338 h 5973007"/>
              <a:gd name="connsiteX24297" fmla="*/ 602508 w 6884782"/>
              <a:gd name="connsiteY24297" fmla="*/ 3921512 h 5973007"/>
              <a:gd name="connsiteX24298" fmla="*/ 602973 w 6884782"/>
              <a:gd name="connsiteY24298" fmla="*/ 3913458 h 5973007"/>
              <a:gd name="connsiteX24299" fmla="*/ 600185 w 6884782"/>
              <a:gd name="connsiteY24299" fmla="*/ 3909638 h 5973007"/>
              <a:gd name="connsiteX24300" fmla="*/ 598945 w 6884782"/>
              <a:gd name="connsiteY24300" fmla="*/ 3920480 h 5973007"/>
              <a:gd name="connsiteX24301" fmla="*/ 595538 w 6884782"/>
              <a:gd name="connsiteY24301" fmla="*/ 3908089 h 5973007"/>
              <a:gd name="connsiteX24302" fmla="*/ 597861 w 6884782"/>
              <a:gd name="connsiteY24302" fmla="*/ 3899932 h 5973007"/>
              <a:gd name="connsiteX24303" fmla="*/ 605296 w 6884782"/>
              <a:gd name="connsiteY24303" fmla="*/ 3906953 h 5973007"/>
              <a:gd name="connsiteX24304" fmla="*/ 606380 w 6884782"/>
              <a:gd name="connsiteY24304" fmla="*/ 3900964 h 5973007"/>
              <a:gd name="connsiteX24305" fmla="*/ 606257 w 6884782"/>
              <a:gd name="connsiteY24305" fmla="*/ 3900621 h 5973007"/>
              <a:gd name="connsiteX24306" fmla="*/ 602397 w 6884782"/>
              <a:gd name="connsiteY24306" fmla="*/ 3900621 h 5973007"/>
              <a:gd name="connsiteX24307" fmla="*/ 602397 w 6884782"/>
              <a:gd name="connsiteY24307" fmla="*/ 3900466 h 5973007"/>
              <a:gd name="connsiteX24308" fmla="*/ 599506 w 6884782"/>
              <a:gd name="connsiteY24308" fmla="*/ 3897058 h 5973007"/>
              <a:gd name="connsiteX24309" fmla="*/ 591142 w 6884782"/>
              <a:gd name="connsiteY24309" fmla="*/ 3889933 h 5973007"/>
              <a:gd name="connsiteX24310" fmla="*/ 583295 w 6884782"/>
              <a:gd name="connsiteY24310" fmla="*/ 3883582 h 5973007"/>
              <a:gd name="connsiteX24311" fmla="*/ 591555 w 6884782"/>
              <a:gd name="connsiteY24311" fmla="*/ 3886370 h 5973007"/>
              <a:gd name="connsiteX24312" fmla="*/ 599713 w 6884782"/>
              <a:gd name="connsiteY24312" fmla="*/ 3891327 h 5973007"/>
              <a:gd name="connsiteX24313" fmla="*/ 595892 w 6884782"/>
              <a:gd name="connsiteY24313" fmla="*/ 3884202 h 5973007"/>
              <a:gd name="connsiteX24314" fmla="*/ 589180 w 6884782"/>
              <a:gd name="connsiteY24314" fmla="*/ 3884047 h 5973007"/>
              <a:gd name="connsiteX24315" fmla="*/ 579888 w 6884782"/>
              <a:gd name="connsiteY24315" fmla="*/ 3872894 h 5973007"/>
              <a:gd name="connsiteX24316" fmla="*/ 589180 w 6884782"/>
              <a:gd name="connsiteY24316" fmla="*/ 3876922 h 5973007"/>
              <a:gd name="connsiteX24317" fmla="*/ 585818 w 6884782"/>
              <a:gd name="connsiteY24317" fmla="*/ 3869948 h 5973007"/>
              <a:gd name="connsiteX24318" fmla="*/ 576950 w 6884782"/>
              <a:gd name="connsiteY24318" fmla="*/ 3865444 h 5973007"/>
              <a:gd name="connsiteX24319" fmla="*/ 439665 w 6884782"/>
              <a:gd name="connsiteY24319" fmla="*/ 3858024 h 5973007"/>
              <a:gd name="connsiteX24320" fmla="*/ 443073 w 6884782"/>
              <a:gd name="connsiteY24320" fmla="*/ 3858644 h 5973007"/>
              <a:gd name="connsiteX24321" fmla="*/ 442247 w 6884782"/>
              <a:gd name="connsiteY24321" fmla="*/ 3860038 h 5973007"/>
              <a:gd name="connsiteX24322" fmla="*/ 442969 w 6884782"/>
              <a:gd name="connsiteY24322" fmla="*/ 3860348 h 5973007"/>
              <a:gd name="connsiteX24323" fmla="*/ 441421 w 6884782"/>
              <a:gd name="connsiteY24323" fmla="*/ 3861587 h 5973007"/>
              <a:gd name="connsiteX24324" fmla="*/ 440698 w 6884782"/>
              <a:gd name="connsiteY24324" fmla="*/ 3861122 h 5973007"/>
              <a:gd name="connsiteX24325" fmla="*/ 440388 w 6884782"/>
              <a:gd name="connsiteY24325" fmla="*/ 3861277 h 5973007"/>
              <a:gd name="connsiteX24326" fmla="*/ 439665 w 6884782"/>
              <a:gd name="connsiteY24326" fmla="*/ 3859728 h 5973007"/>
              <a:gd name="connsiteX24327" fmla="*/ 439149 w 6884782"/>
              <a:gd name="connsiteY24327" fmla="*/ 3858644 h 5973007"/>
              <a:gd name="connsiteX24328" fmla="*/ 439665 w 6884782"/>
              <a:gd name="connsiteY24328" fmla="*/ 3858024 h 5973007"/>
              <a:gd name="connsiteX24329" fmla="*/ 565858 w 6884782"/>
              <a:gd name="connsiteY24329" fmla="*/ 3841886 h 5973007"/>
              <a:gd name="connsiteX24330" fmla="*/ 564713 w 6884782"/>
              <a:gd name="connsiteY24330" fmla="*/ 3844277 h 5973007"/>
              <a:gd name="connsiteX24331" fmla="*/ 569824 w 6884782"/>
              <a:gd name="connsiteY24331" fmla="*/ 3852227 h 5973007"/>
              <a:gd name="connsiteX24332" fmla="*/ 572303 w 6884782"/>
              <a:gd name="connsiteY24332" fmla="*/ 3860075 h 5973007"/>
              <a:gd name="connsiteX24333" fmla="*/ 573852 w 6884782"/>
              <a:gd name="connsiteY24333" fmla="*/ 3859559 h 5973007"/>
              <a:gd name="connsiteX24334" fmla="*/ 577993 w 6884782"/>
              <a:gd name="connsiteY24334" fmla="*/ 3859033 h 5973007"/>
              <a:gd name="connsiteX24335" fmla="*/ 575241 w 6884782"/>
              <a:gd name="connsiteY24335" fmla="*/ 3856166 h 5973007"/>
              <a:gd name="connsiteX24336" fmla="*/ 571007 w 6884782"/>
              <a:gd name="connsiteY24336" fmla="*/ 3850435 h 5973007"/>
              <a:gd name="connsiteX24337" fmla="*/ 316481 w 6884782"/>
              <a:gd name="connsiteY24337" fmla="*/ 3805824 h 5973007"/>
              <a:gd name="connsiteX24338" fmla="*/ 317926 w 6884782"/>
              <a:gd name="connsiteY24338" fmla="*/ 3830453 h 5973007"/>
              <a:gd name="connsiteX24339" fmla="*/ 311215 w 6884782"/>
              <a:gd name="connsiteY24339" fmla="*/ 3833551 h 5973007"/>
              <a:gd name="connsiteX24340" fmla="*/ 306878 w 6884782"/>
              <a:gd name="connsiteY24340" fmla="*/ 3815892 h 5973007"/>
              <a:gd name="connsiteX24341" fmla="*/ 316481 w 6884782"/>
              <a:gd name="connsiteY24341" fmla="*/ 3805824 h 5973007"/>
              <a:gd name="connsiteX24342" fmla="*/ 378951 w 6884782"/>
              <a:gd name="connsiteY24342" fmla="*/ 3801023 h 5973007"/>
              <a:gd name="connsiteX24343" fmla="*/ 385972 w 6884782"/>
              <a:gd name="connsiteY24343" fmla="*/ 3802417 h 5973007"/>
              <a:gd name="connsiteX24344" fmla="*/ 385146 w 6884782"/>
              <a:gd name="connsiteY24344" fmla="*/ 3804275 h 5973007"/>
              <a:gd name="connsiteX24345" fmla="*/ 391032 w 6884782"/>
              <a:gd name="connsiteY24345" fmla="*/ 3802571 h 5973007"/>
              <a:gd name="connsiteX24346" fmla="*/ 409824 w 6884782"/>
              <a:gd name="connsiteY24346" fmla="*/ 3804895 h 5973007"/>
              <a:gd name="connsiteX24347" fmla="*/ 435948 w 6884782"/>
              <a:gd name="connsiteY24347" fmla="*/ 3869951 h 5973007"/>
              <a:gd name="connsiteX24348" fmla="*/ 374407 w 6884782"/>
              <a:gd name="connsiteY24348" fmla="*/ 3870416 h 5973007"/>
              <a:gd name="connsiteX24349" fmla="*/ 358816 w 6884782"/>
              <a:gd name="connsiteY24349" fmla="*/ 3855391 h 5973007"/>
              <a:gd name="connsiteX24350" fmla="*/ 353860 w 6884782"/>
              <a:gd name="connsiteY24350" fmla="*/ 3840831 h 5973007"/>
              <a:gd name="connsiteX24351" fmla="*/ 373994 w 6884782"/>
              <a:gd name="connsiteY24351" fmla="*/ 3807528 h 5973007"/>
              <a:gd name="connsiteX24352" fmla="*/ 379054 w 6884782"/>
              <a:gd name="connsiteY24352" fmla="*/ 3805979 h 5973007"/>
              <a:gd name="connsiteX24353" fmla="*/ 378125 w 6884782"/>
              <a:gd name="connsiteY24353" fmla="*/ 3804430 h 5973007"/>
              <a:gd name="connsiteX24354" fmla="*/ 378951 w 6884782"/>
              <a:gd name="connsiteY24354" fmla="*/ 3801023 h 5973007"/>
              <a:gd name="connsiteX24355" fmla="*/ 460936 w 6884782"/>
              <a:gd name="connsiteY24355" fmla="*/ 3800558 h 5973007"/>
              <a:gd name="connsiteX24356" fmla="*/ 465273 w 6884782"/>
              <a:gd name="connsiteY24356" fmla="*/ 3804585 h 5973007"/>
              <a:gd name="connsiteX24357" fmla="*/ 464756 w 6884782"/>
              <a:gd name="connsiteY24357" fmla="*/ 3807218 h 5973007"/>
              <a:gd name="connsiteX24358" fmla="*/ 461453 w 6884782"/>
              <a:gd name="connsiteY24358" fmla="*/ 3811400 h 5973007"/>
              <a:gd name="connsiteX24359" fmla="*/ 462175 w 6884782"/>
              <a:gd name="connsiteY24359" fmla="*/ 3811710 h 5973007"/>
              <a:gd name="connsiteX24360" fmla="*/ 457219 w 6884782"/>
              <a:gd name="connsiteY24360" fmla="*/ 3810471 h 5973007"/>
              <a:gd name="connsiteX24361" fmla="*/ 455773 w 6884782"/>
              <a:gd name="connsiteY24361" fmla="*/ 3805979 h 5973007"/>
              <a:gd name="connsiteX24362" fmla="*/ 460936 w 6884782"/>
              <a:gd name="connsiteY24362" fmla="*/ 3800558 h 5973007"/>
              <a:gd name="connsiteX24363" fmla="*/ 345805 w 6884782"/>
              <a:gd name="connsiteY24363" fmla="*/ 3792503 h 5973007"/>
              <a:gd name="connsiteX24364" fmla="*/ 342295 w 6884782"/>
              <a:gd name="connsiteY24364" fmla="*/ 3808302 h 5973007"/>
              <a:gd name="connsiteX24365" fmla="*/ 335480 w 6884782"/>
              <a:gd name="connsiteY24365" fmla="*/ 3798389 h 5973007"/>
              <a:gd name="connsiteX24366" fmla="*/ 335790 w 6884782"/>
              <a:gd name="connsiteY24366" fmla="*/ 3794672 h 5973007"/>
              <a:gd name="connsiteX24367" fmla="*/ 345805 w 6884782"/>
              <a:gd name="connsiteY24367" fmla="*/ 3792503 h 5973007"/>
              <a:gd name="connsiteX24368" fmla="*/ 481897 w 6884782"/>
              <a:gd name="connsiteY24368" fmla="*/ 3790489 h 5973007"/>
              <a:gd name="connsiteX24369" fmla="*/ 487060 w 6884782"/>
              <a:gd name="connsiteY24369" fmla="*/ 3795136 h 5973007"/>
              <a:gd name="connsiteX24370" fmla="*/ 488918 w 6884782"/>
              <a:gd name="connsiteY24370" fmla="*/ 3798389 h 5973007"/>
              <a:gd name="connsiteX24371" fmla="*/ 495011 w 6884782"/>
              <a:gd name="connsiteY24371" fmla="*/ 3797305 h 5973007"/>
              <a:gd name="connsiteX24372" fmla="*/ 494081 w 6884782"/>
              <a:gd name="connsiteY24372" fmla="*/ 3795446 h 5973007"/>
              <a:gd name="connsiteX24373" fmla="*/ 506265 w 6884782"/>
              <a:gd name="connsiteY24373" fmla="*/ 3793742 h 5973007"/>
              <a:gd name="connsiteX24374" fmla="*/ 507815 w 6884782"/>
              <a:gd name="connsiteY24374" fmla="*/ 3805205 h 5973007"/>
              <a:gd name="connsiteX24375" fmla="*/ 504510 w 6884782"/>
              <a:gd name="connsiteY24375" fmla="*/ 3804275 h 5973007"/>
              <a:gd name="connsiteX24376" fmla="*/ 507608 w 6884782"/>
              <a:gd name="connsiteY24376" fmla="*/ 3812175 h 5973007"/>
              <a:gd name="connsiteX24377" fmla="*/ 491294 w 6884782"/>
              <a:gd name="connsiteY24377" fmla="*/ 3823328 h 5973007"/>
              <a:gd name="connsiteX24378" fmla="*/ 484375 w 6884782"/>
              <a:gd name="connsiteY24378" fmla="*/ 3819920 h 5973007"/>
              <a:gd name="connsiteX24379" fmla="*/ 480142 w 6884782"/>
              <a:gd name="connsiteY24379" fmla="*/ 3812640 h 5973007"/>
              <a:gd name="connsiteX24380" fmla="*/ 473740 w 6884782"/>
              <a:gd name="connsiteY24380" fmla="*/ 3812020 h 5973007"/>
              <a:gd name="connsiteX24381" fmla="*/ 470126 w 6884782"/>
              <a:gd name="connsiteY24381" fmla="*/ 3807838 h 5973007"/>
              <a:gd name="connsiteX24382" fmla="*/ 468887 w 6884782"/>
              <a:gd name="connsiteY24382" fmla="*/ 3804121 h 5973007"/>
              <a:gd name="connsiteX24383" fmla="*/ 476321 w 6884782"/>
              <a:gd name="connsiteY24383" fmla="*/ 3793588 h 5973007"/>
              <a:gd name="connsiteX24384" fmla="*/ 478696 w 6884782"/>
              <a:gd name="connsiteY24384" fmla="*/ 3792813 h 5973007"/>
              <a:gd name="connsiteX24385" fmla="*/ 481897 w 6884782"/>
              <a:gd name="connsiteY24385" fmla="*/ 3790489 h 5973007"/>
              <a:gd name="connsiteX24386" fmla="*/ 481843 w 6884782"/>
              <a:gd name="connsiteY24386" fmla="*/ 3771481 h 5973007"/>
              <a:gd name="connsiteX24387" fmla="*/ 489278 w 6884782"/>
              <a:gd name="connsiteY24387" fmla="*/ 3777470 h 5973007"/>
              <a:gd name="connsiteX24388" fmla="*/ 483857 w 6884782"/>
              <a:gd name="connsiteY24388" fmla="*/ 3781703 h 5973007"/>
              <a:gd name="connsiteX24389" fmla="*/ 478126 w 6884782"/>
              <a:gd name="connsiteY24389" fmla="*/ 3780051 h 5973007"/>
              <a:gd name="connsiteX24390" fmla="*/ 481843 w 6884782"/>
              <a:gd name="connsiteY24390" fmla="*/ 3771481 h 5973007"/>
              <a:gd name="connsiteX24391" fmla="*/ 409140 w 6884782"/>
              <a:gd name="connsiteY24391" fmla="*/ 3768262 h 5973007"/>
              <a:gd name="connsiteX24392" fmla="*/ 418911 w 6884782"/>
              <a:gd name="connsiteY24392" fmla="*/ 3771592 h 5973007"/>
              <a:gd name="connsiteX24393" fmla="*/ 418911 w 6884782"/>
              <a:gd name="connsiteY24393" fmla="*/ 3775774 h 5973007"/>
              <a:gd name="connsiteX24394" fmla="*/ 398363 w 6884782"/>
              <a:gd name="connsiteY24394" fmla="*/ 3777478 h 5973007"/>
              <a:gd name="connsiteX24395" fmla="*/ 409140 w 6884782"/>
              <a:gd name="connsiteY24395" fmla="*/ 3768262 h 5973007"/>
              <a:gd name="connsiteX24396" fmla="*/ 505956 w 6884782"/>
              <a:gd name="connsiteY24396" fmla="*/ 3745724 h 5973007"/>
              <a:gd name="connsiteX24397" fmla="*/ 460317 w 6884782"/>
              <a:gd name="connsiteY24397" fmla="*/ 3768804 h 5973007"/>
              <a:gd name="connsiteX24398" fmla="*/ 505956 w 6884782"/>
              <a:gd name="connsiteY24398" fmla="*/ 3745724 h 5973007"/>
              <a:gd name="connsiteX24399" fmla="*/ 378022 w 6884782"/>
              <a:gd name="connsiteY24399" fmla="*/ 3740303 h 5973007"/>
              <a:gd name="connsiteX24400" fmla="*/ 379983 w 6884782"/>
              <a:gd name="connsiteY24400" fmla="*/ 3740303 h 5973007"/>
              <a:gd name="connsiteX24401" fmla="*/ 380602 w 6884782"/>
              <a:gd name="connsiteY24401" fmla="*/ 3742472 h 5973007"/>
              <a:gd name="connsiteX24402" fmla="*/ 378022 w 6884782"/>
              <a:gd name="connsiteY24402" fmla="*/ 3746964 h 5973007"/>
              <a:gd name="connsiteX24403" fmla="*/ 376059 w 6884782"/>
              <a:gd name="connsiteY24403" fmla="*/ 3746964 h 5973007"/>
              <a:gd name="connsiteX24404" fmla="*/ 375233 w 6884782"/>
              <a:gd name="connsiteY24404" fmla="*/ 3743246 h 5973007"/>
              <a:gd name="connsiteX24405" fmla="*/ 378022 w 6884782"/>
              <a:gd name="connsiteY24405" fmla="*/ 3740303 h 5973007"/>
              <a:gd name="connsiteX24406" fmla="*/ 369864 w 6884782"/>
              <a:gd name="connsiteY24406" fmla="*/ 3739529 h 5973007"/>
              <a:gd name="connsiteX24407" fmla="*/ 368935 w 6884782"/>
              <a:gd name="connsiteY24407" fmla="*/ 3742936 h 5973007"/>
              <a:gd name="connsiteX24408" fmla="*/ 367489 w 6884782"/>
              <a:gd name="connsiteY24408" fmla="*/ 3742781 h 5973007"/>
              <a:gd name="connsiteX24409" fmla="*/ 366250 w 6884782"/>
              <a:gd name="connsiteY24409" fmla="*/ 3740768 h 5973007"/>
              <a:gd name="connsiteX24410" fmla="*/ 357473 w 6884782"/>
              <a:gd name="connsiteY24410" fmla="*/ 3739529 h 5973007"/>
              <a:gd name="connsiteX24411" fmla="*/ 365114 w 6884782"/>
              <a:gd name="connsiteY24411" fmla="*/ 3741077 h 5973007"/>
              <a:gd name="connsiteX24412" fmla="*/ 363875 w 6884782"/>
              <a:gd name="connsiteY24412" fmla="*/ 3748203 h 5973007"/>
              <a:gd name="connsiteX24413" fmla="*/ 361913 w 6884782"/>
              <a:gd name="connsiteY24413" fmla="*/ 3748358 h 5973007"/>
              <a:gd name="connsiteX24414" fmla="*/ 359848 w 6884782"/>
              <a:gd name="connsiteY24414" fmla="*/ 3747893 h 5973007"/>
              <a:gd name="connsiteX24415" fmla="*/ 356441 w 6884782"/>
              <a:gd name="connsiteY24415" fmla="*/ 3744795 h 5973007"/>
              <a:gd name="connsiteX24416" fmla="*/ 356131 w 6884782"/>
              <a:gd name="connsiteY24416" fmla="*/ 3742317 h 5973007"/>
              <a:gd name="connsiteX24417" fmla="*/ 356647 w 6884782"/>
              <a:gd name="connsiteY24417" fmla="*/ 3740923 h 5973007"/>
              <a:gd name="connsiteX24418" fmla="*/ 357473 w 6884782"/>
              <a:gd name="connsiteY24418" fmla="*/ 3739529 h 5973007"/>
              <a:gd name="connsiteX24419" fmla="*/ 10223 w 6884782"/>
              <a:gd name="connsiteY24419" fmla="*/ 3736741 h 5973007"/>
              <a:gd name="connsiteX24420" fmla="*/ 24782 w 6884782"/>
              <a:gd name="connsiteY24420" fmla="*/ 3738444 h 5973007"/>
              <a:gd name="connsiteX24421" fmla="*/ 38928 w 6884782"/>
              <a:gd name="connsiteY24421" fmla="*/ 3748203 h 5973007"/>
              <a:gd name="connsiteX24422" fmla="*/ 19413 w 6884782"/>
              <a:gd name="connsiteY24422" fmla="*/ 3755793 h 5973007"/>
              <a:gd name="connsiteX24423" fmla="*/ 9810 w 6884782"/>
              <a:gd name="connsiteY24423" fmla="*/ 3750991 h 5973007"/>
              <a:gd name="connsiteX24424" fmla="*/ 0 w 6884782"/>
              <a:gd name="connsiteY24424" fmla="*/ 3741697 h 5973007"/>
              <a:gd name="connsiteX24425" fmla="*/ 86426 w 6884782"/>
              <a:gd name="connsiteY24425" fmla="*/ 3731474 h 5973007"/>
              <a:gd name="connsiteX24426" fmla="*/ 91176 w 6884782"/>
              <a:gd name="connsiteY24426" fmla="*/ 3732094 h 5973007"/>
              <a:gd name="connsiteX24427" fmla="*/ 107284 w 6884782"/>
              <a:gd name="connsiteY24427" fmla="*/ 3754554 h 5973007"/>
              <a:gd name="connsiteX24428" fmla="*/ 80230 w 6884782"/>
              <a:gd name="connsiteY24428" fmla="*/ 3758271 h 5973007"/>
              <a:gd name="connsiteX24429" fmla="*/ 76100 w 6884782"/>
              <a:gd name="connsiteY24429" fmla="*/ 3751455 h 5973007"/>
              <a:gd name="connsiteX24430" fmla="*/ 75997 w 6884782"/>
              <a:gd name="connsiteY24430" fmla="*/ 3744950 h 5973007"/>
              <a:gd name="connsiteX24431" fmla="*/ 86426 w 6884782"/>
              <a:gd name="connsiteY24431" fmla="*/ 3731474 h 5973007"/>
              <a:gd name="connsiteX24432" fmla="*/ 432128 w 6884782"/>
              <a:gd name="connsiteY24432" fmla="*/ 3711338 h 5973007"/>
              <a:gd name="connsiteX24433" fmla="*/ 430372 w 6884782"/>
              <a:gd name="connsiteY24433" fmla="*/ 3733643 h 5973007"/>
              <a:gd name="connsiteX24434" fmla="*/ 388450 w 6884782"/>
              <a:gd name="connsiteY24434" fmla="*/ 3733178 h 5973007"/>
              <a:gd name="connsiteX24435" fmla="*/ 432128 w 6884782"/>
              <a:gd name="connsiteY24435" fmla="*/ 3711338 h 5973007"/>
              <a:gd name="connsiteX24436" fmla="*/ 457219 w 6884782"/>
              <a:gd name="connsiteY24436" fmla="*/ 3704832 h 5973007"/>
              <a:gd name="connsiteX24437" fmla="*/ 457632 w 6884782"/>
              <a:gd name="connsiteY24437" fmla="*/ 3705452 h 5973007"/>
              <a:gd name="connsiteX24438" fmla="*/ 459387 w 6884782"/>
              <a:gd name="connsiteY24438" fmla="*/ 3708240 h 5973007"/>
              <a:gd name="connsiteX24439" fmla="*/ 456496 w 6884782"/>
              <a:gd name="connsiteY24439" fmla="*/ 3711957 h 5973007"/>
              <a:gd name="connsiteX24440" fmla="*/ 452366 w 6884782"/>
              <a:gd name="connsiteY24440" fmla="*/ 3709014 h 5973007"/>
              <a:gd name="connsiteX24441" fmla="*/ 454947 w 6884782"/>
              <a:gd name="connsiteY24441" fmla="*/ 3704987 h 5973007"/>
              <a:gd name="connsiteX24442" fmla="*/ 457219 w 6884782"/>
              <a:gd name="connsiteY24442" fmla="*/ 3704832 h 5973007"/>
              <a:gd name="connsiteX24443" fmla="*/ 373478 w 6884782"/>
              <a:gd name="connsiteY24443" fmla="*/ 3697862 h 5973007"/>
              <a:gd name="connsiteX24444" fmla="*/ 376059 w 6884782"/>
              <a:gd name="connsiteY24444" fmla="*/ 3698017 h 5973007"/>
              <a:gd name="connsiteX24445" fmla="*/ 374717 w 6884782"/>
              <a:gd name="connsiteY24445" fmla="*/ 3700495 h 5973007"/>
              <a:gd name="connsiteX24446" fmla="*/ 372755 w 6884782"/>
              <a:gd name="connsiteY24446" fmla="*/ 3700650 h 5973007"/>
              <a:gd name="connsiteX24447" fmla="*/ 370690 w 6884782"/>
              <a:gd name="connsiteY24447" fmla="*/ 3702663 h 5973007"/>
              <a:gd name="connsiteX24448" fmla="*/ 369245 w 6884782"/>
              <a:gd name="connsiteY24448" fmla="*/ 3701889 h 5973007"/>
              <a:gd name="connsiteX24449" fmla="*/ 373478 w 6884782"/>
              <a:gd name="connsiteY24449" fmla="*/ 3697862 h 5973007"/>
              <a:gd name="connsiteX24450" fmla="*/ 357886 w 6884782"/>
              <a:gd name="connsiteY24450" fmla="*/ 3696467 h 5973007"/>
              <a:gd name="connsiteX24451" fmla="*/ 365940 w 6884782"/>
              <a:gd name="connsiteY24451" fmla="*/ 3697397 h 5973007"/>
              <a:gd name="connsiteX24452" fmla="*/ 364185 w 6884782"/>
              <a:gd name="connsiteY24452" fmla="*/ 3700495 h 5973007"/>
              <a:gd name="connsiteX24453" fmla="*/ 356441 w 6884782"/>
              <a:gd name="connsiteY24453" fmla="*/ 3701424 h 5973007"/>
              <a:gd name="connsiteX24454" fmla="*/ 354995 w 6884782"/>
              <a:gd name="connsiteY24454" fmla="*/ 3700030 h 5973007"/>
              <a:gd name="connsiteX24455" fmla="*/ 357886 w 6884782"/>
              <a:gd name="connsiteY24455" fmla="*/ 3696467 h 5973007"/>
              <a:gd name="connsiteX24456" fmla="*/ 374201 w 6884782"/>
              <a:gd name="connsiteY24456" fmla="*/ 3689807 h 5973007"/>
              <a:gd name="connsiteX24457" fmla="*/ 376576 w 6884782"/>
              <a:gd name="connsiteY24457" fmla="*/ 3690891 h 5973007"/>
              <a:gd name="connsiteX24458" fmla="*/ 374923 w 6884782"/>
              <a:gd name="connsiteY24458" fmla="*/ 3692131 h 5973007"/>
              <a:gd name="connsiteX24459" fmla="*/ 369657 w 6884782"/>
              <a:gd name="connsiteY24459" fmla="*/ 3694454 h 5973007"/>
              <a:gd name="connsiteX24460" fmla="*/ 369038 w 6884782"/>
              <a:gd name="connsiteY24460" fmla="*/ 3692750 h 5973007"/>
              <a:gd name="connsiteX24461" fmla="*/ 370174 w 6884782"/>
              <a:gd name="connsiteY24461" fmla="*/ 3691821 h 5973007"/>
              <a:gd name="connsiteX24462" fmla="*/ 372652 w 6884782"/>
              <a:gd name="connsiteY24462" fmla="*/ 3691046 h 5973007"/>
              <a:gd name="connsiteX24463" fmla="*/ 374201 w 6884782"/>
              <a:gd name="connsiteY24463" fmla="*/ 3689807 h 5973007"/>
              <a:gd name="connsiteX24464" fmla="*/ 344463 w 6884782"/>
              <a:gd name="connsiteY24464" fmla="*/ 3671374 h 5973007"/>
              <a:gd name="connsiteX24465" fmla="*/ 349213 w 6884782"/>
              <a:gd name="connsiteY24465" fmla="*/ 3671529 h 5973007"/>
              <a:gd name="connsiteX24466" fmla="*/ 344773 w 6884782"/>
              <a:gd name="connsiteY24466" fmla="*/ 3672459 h 5973007"/>
              <a:gd name="connsiteX24467" fmla="*/ 344463 w 6884782"/>
              <a:gd name="connsiteY24467" fmla="*/ 3671374 h 5973007"/>
              <a:gd name="connsiteX24468" fmla="*/ 373026 w 6884782"/>
              <a:gd name="connsiteY24468" fmla="*/ 3670948 h 5973007"/>
              <a:gd name="connsiteX24469" fmla="*/ 376782 w 6884782"/>
              <a:gd name="connsiteY24469" fmla="*/ 3671839 h 5973007"/>
              <a:gd name="connsiteX24470" fmla="*/ 368831 w 6884782"/>
              <a:gd name="connsiteY24470" fmla="*/ 3674937 h 5973007"/>
              <a:gd name="connsiteX24471" fmla="*/ 367076 w 6884782"/>
              <a:gd name="connsiteY24471" fmla="*/ 3673853 h 5973007"/>
              <a:gd name="connsiteX24472" fmla="*/ 368418 w 6884782"/>
              <a:gd name="connsiteY24472" fmla="*/ 3671684 h 5973007"/>
              <a:gd name="connsiteX24473" fmla="*/ 373026 w 6884782"/>
              <a:gd name="connsiteY24473" fmla="*/ 3670948 h 5973007"/>
              <a:gd name="connsiteX24474" fmla="*/ 411683 w 6884782"/>
              <a:gd name="connsiteY24474" fmla="*/ 3670445 h 5973007"/>
              <a:gd name="connsiteX24475" fmla="*/ 394232 w 6884782"/>
              <a:gd name="connsiteY24475" fmla="*/ 3692750 h 5973007"/>
              <a:gd name="connsiteX24476" fmla="*/ 393613 w 6884782"/>
              <a:gd name="connsiteY24476" fmla="*/ 3689652 h 5973007"/>
              <a:gd name="connsiteX24477" fmla="*/ 394232 w 6884782"/>
              <a:gd name="connsiteY24477" fmla="*/ 3685780 h 5973007"/>
              <a:gd name="connsiteX24478" fmla="*/ 411683 w 6884782"/>
              <a:gd name="connsiteY24478" fmla="*/ 3670445 h 5973007"/>
              <a:gd name="connsiteX24479" fmla="*/ 325877 w 6884782"/>
              <a:gd name="connsiteY24479" fmla="*/ 3670290 h 5973007"/>
              <a:gd name="connsiteX24480" fmla="*/ 327426 w 6884782"/>
              <a:gd name="connsiteY24480" fmla="*/ 3671064 h 5973007"/>
              <a:gd name="connsiteX24481" fmla="*/ 341056 w 6884782"/>
              <a:gd name="connsiteY24481" fmla="*/ 3672459 h 5973007"/>
              <a:gd name="connsiteX24482" fmla="*/ 324121 w 6884782"/>
              <a:gd name="connsiteY24482" fmla="*/ 3673388 h 5973007"/>
              <a:gd name="connsiteX24483" fmla="*/ 325877 w 6884782"/>
              <a:gd name="connsiteY24483" fmla="*/ 3670290 h 5973007"/>
              <a:gd name="connsiteX24484" fmla="*/ 288189 w 6884782"/>
              <a:gd name="connsiteY24484" fmla="*/ 3669206 h 5973007"/>
              <a:gd name="connsiteX24485" fmla="*/ 297894 w 6884782"/>
              <a:gd name="connsiteY24485" fmla="*/ 3670755 h 5973007"/>
              <a:gd name="connsiteX24486" fmla="*/ 300373 w 6884782"/>
              <a:gd name="connsiteY24486" fmla="*/ 3674937 h 5973007"/>
              <a:gd name="connsiteX24487" fmla="*/ 294487 w 6884782"/>
              <a:gd name="connsiteY24487" fmla="*/ 3683611 h 5973007"/>
              <a:gd name="connsiteX24488" fmla="*/ 285194 w 6884782"/>
              <a:gd name="connsiteY24488" fmla="*/ 3681133 h 5973007"/>
              <a:gd name="connsiteX24489" fmla="*/ 283645 w 6884782"/>
              <a:gd name="connsiteY24489" fmla="*/ 3682372 h 5973007"/>
              <a:gd name="connsiteX24490" fmla="*/ 279721 w 6884782"/>
              <a:gd name="connsiteY24490" fmla="*/ 3682527 h 5973007"/>
              <a:gd name="connsiteX24491" fmla="*/ 279721 w 6884782"/>
              <a:gd name="connsiteY24491" fmla="*/ 3680668 h 5973007"/>
              <a:gd name="connsiteX24492" fmla="*/ 284161 w 6884782"/>
              <a:gd name="connsiteY24492" fmla="*/ 3679739 h 5973007"/>
              <a:gd name="connsiteX24493" fmla="*/ 284574 w 6884782"/>
              <a:gd name="connsiteY24493" fmla="*/ 3678964 h 5973007"/>
              <a:gd name="connsiteX24494" fmla="*/ 283852 w 6884782"/>
              <a:gd name="connsiteY24494" fmla="*/ 3676796 h 5973007"/>
              <a:gd name="connsiteX24495" fmla="*/ 288189 w 6884782"/>
              <a:gd name="connsiteY24495" fmla="*/ 3669206 h 5973007"/>
              <a:gd name="connsiteX24496" fmla="*/ 443279 w 6884782"/>
              <a:gd name="connsiteY24496" fmla="*/ 3668896 h 5973007"/>
              <a:gd name="connsiteX24497" fmla="*/ 441421 w 6884782"/>
              <a:gd name="connsiteY24497" fmla="*/ 3671064 h 5973007"/>
              <a:gd name="connsiteX24498" fmla="*/ 446893 w 6884782"/>
              <a:gd name="connsiteY24498" fmla="*/ 3668896 h 5973007"/>
              <a:gd name="connsiteX24499" fmla="*/ 452985 w 6884782"/>
              <a:gd name="connsiteY24499" fmla="*/ 3670290 h 5973007"/>
              <a:gd name="connsiteX24500" fmla="*/ 436774 w 6884782"/>
              <a:gd name="connsiteY24500" fmla="*/ 3683766 h 5973007"/>
              <a:gd name="connsiteX24501" fmla="*/ 431611 w 6884782"/>
              <a:gd name="connsiteY24501" fmla="*/ 3682217 h 5973007"/>
              <a:gd name="connsiteX24502" fmla="*/ 432025 w 6884782"/>
              <a:gd name="connsiteY24502" fmla="*/ 3681287 h 5973007"/>
              <a:gd name="connsiteX24503" fmla="*/ 428204 w 6884782"/>
              <a:gd name="connsiteY24503" fmla="*/ 3685315 h 5973007"/>
              <a:gd name="connsiteX24504" fmla="*/ 406107 w 6884782"/>
              <a:gd name="connsiteY24504" fmla="*/ 3696158 h 5973007"/>
              <a:gd name="connsiteX24505" fmla="*/ 443279 w 6884782"/>
              <a:gd name="connsiteY24505" fmla="*/ 3668896 h 5973007"/>
              <a:gd name="connsiteX24506" fmla="*/ 329904 w 6884782"/>
              <a:gd name="connsiteY24506" fmla="*/ 3664559 h 5973007"/>
              <a:gd name="connsiteX24507" fmla="*/ 341468 w 6884782"/>
              <a:gd name="connsiteY24507" fmla="*/ 3667966 h 5973007"/>
              <a:gd name="connsiteX24508" fmla="*/ 341056 w 6884782"/>
              <a:gd name="connsiteY24508" fmla="*/ 3668741 h 5973007"/>
              <a:gd name="connsiteX24509" fmla="*/ 332176 w 6884782"/>
              <a:gd name="connsiteY24509" fmla="*/ 3666882 h 5973007"/>
              <a:gd name="connsiteX24510" fmla="*/ 329491 w 6884782"/>
              <a:gd name="connsiteY24510" fmla="*/ 3665178 h 5973007"/>
              <a:gd name="connsiteX24511" fmla="*/ 330317 w 6884782"/>
              <a:gd name="connsiteY24511" fmla="*/ 3665643 h 5973007"/>
              <a:gd name="connsiteX24512" fmla="*/ 329904 w 6884782"/>
              <a:gd name="connsiteY24512" fmla="*/ 3664559 h 5973007"/>
              <a:gd name="connsiteX24513" fmla="*/ 439665 w 6884782"/>
              <a:gd name="connsiteY24513" fmla="*/ 3659292 h 5973007"/>
              <a:gd name="connsiteX24514" fmla="*/ 442040 w 6884782"/>
              <a:gd name="connsiteY24514" fmla="*/ 3661616 h 5973007"/>
              <a:gd name="connsiteX24515" fmla="*/ 436981 w 6884782"/>
              <a:gd name="connsiteY24515" fmla="*/ 3663475 h 5973007"/>
              <a:gd name="connsiteX24516" fmla="*/ 439665 w 6884782"/>
              <a:gd name="connsiteY24516" fmla="*/ 3659292 h 5973007"/>
              <a:gd name="connsiteX24517" fmla="*/ 388966 w 6884782"/>
              <a:gd name="connsiteY24517" fmla="*/ 3656349 h 5973007"/>
              <a:gd name="connsiteX24518" fmla="*/ 384423 w 6884782"/>
              <a:gd name="connsiteY24518" fmla="*/ 3662235 h 5973007"/>
              <a:gd name="connsiteX24519" fmla="*/ 377608 w 6884782"/>
              <a:gd name="connsiteY24519" fmla="*/ 3658518 h 5973007"/>
              <a:gd name="connsiteX24520" fmla="*/ 388966 w 6884782"/>
              <a:gd name="connsiteY24520" fmla="*/ 3656349 h 5973007"/>
              <a:gd name="connsiteX24521" fmla="*/ 261961 w 6884782"/>
              <a:gd name="connsiteY24521" fmla="*/ 3648140 h 5973007"/>
              <a:gd name="connsiteX24522" fmla="*/ 268983 w 6884782"/>
              <a:gd name="connsiteY24522" fmla="*/ 3649379 h 5973007"/>
              <a:gd name="connsiteX24523" fmla="*/ 280031 w 6884782"/>
              <a:gd name="connsiteY24523" fmla="*/ 3670909 h 5973007"/>
              <a:gd name="connsiteX24524" fmla="*/ 273010 w 6884782"/>
              <a:gd name="connsiteY24524" fmla="*/ 3669980 h 5973007"/>
              <a:gd name="connsiteX24525" fmla="*/ 257418 w 6884782"/>
              <a:gd name="connsiteY24525" fmla="*/ 3651238 h 5973007"/>
              <a:gd name="connsiteX24526" fmla="*/ 261961 w 6884782"/>
              <a:gd name="connsiteY24526" fmla="*/ 3648140 h 5973007"/>
              <a:gd name="connsiteX24527" fmla="*/ 230287 w 6884782"/>
              <a:gd name="connsiteY24527" fmla="*/ 3646087 h 5973007"/>
              <a:gd name="connsiteX24528" fmla="*/ 234702 w 6884782"/>
              <a:gd name="connsiteY24528" fmla="*/ 3649069 h 5973007"/>
              <a:gd name="connsiteX24529" fmla="*/ 225718 w 6884782"/>
              <a:gd name="connsiteY24529" fmla="*/ 3650308 h 5973007"/>
              <a:gd name="connsiteX24530" fmla="*/ 230287 w 6884782"/>
              <a:gd name="connsiteY24530" fmla="*/ 3646087 h 5973007"/>
              <a:gd name="connsiteX24531" fmla="*/ 395678 w 6884782"/>
              <a:gd name="connsiteY24531" fmla="*/ 3625060 h 5973007"/>
              <a:gd name="connsiteX24532" fmla="*/ 399602 w 6884782"/>
              <a:gd name="connsiteY24532" fmla="*/ 3629707 h 5973007"/>
              <a:gd name="connsiteX24533" fmla="*/ 398053 w 6884782"/>
              <a:gd name="connsiteY24533" fmla="*/ 3630946 h 5973007"/>
              <a:gd name="connsiteX24534" fmla="*/ 395059 w 6884782"/>
              <a:gd name="connsiteY24534" fmla="*/ 3631101 h 5973007"/>
              <a:gd name="connsiteX24535" fmla="*/ 393096 w 6884782"/>
              <a:gd name="connsiteY24535" fmla="*/ 3629552 h 5973007"/>
              <a:gd name="connsiteX24536" fmla="*/ 395678 w 6884782"/>
              <a:gd name="connsiteY24536" fmla="*/ 3625060 h 5973007"/>
              <a:gd name="connsiteX24537" fmla="*/ 319836 w 6884782"/>
              <a:gd name="connsiteY24537" fmla="*/ 3622272 h 5973007"/>
              <a:gd name="connsiteX24538" fmla="*/ 328975 w 6884782"/>
              <a:gd name="connsiteY24538" fmla="*/ 3622582 h 5973007"/>
              <a:gd name="connsiteX24539" fmla="*/ 329800 w 6884782"/>
              <a:gd name="connsiteY24539" fmla="*/ 3626919 h 5973007"/>
              <a:gd name="connsiteX24540" fmla="*/ 333415 w 6884782"/>
              <a:gd name="connsiteY24540" fmla="*/ 3629862 h 5973007"/>
              <a:gd name="connsiteX24541" fmla="*/ 337235 w 6884782"/>
              <a:gd name="connsiteY24541" fmla="*/ 3637297 h 5973007"/>
              <a:gd name="connsiteX24542" fmla="*/ 322883 w 6884782"/>
              <a:gd name="connsiteY24542" fmla="*/ 3657124 h 5973007"/>
              <a:gd name="connsiteX24543" fmla="*/ 307084 w 6884782"/>
              <a:gd name="connsiteY24543" fmla="*/ 3653561 h 5973007"/>
              <a:gd name="connsiteX24544" fmla="*/ 302541 w 6884782"/>
              <a:gd name="connsiteY24544" fmla="*/ 3649224 h 5973007"/>
              <a:gd name="connsiteX24545" fmla="*/ 317100 w 6884782"/>
              <a:gd name="connsiteY24545" fmla="*/ 3638381 h 5973007"/>
              <a:gd name="connsiteX24546" fmla="*/ 318236 w 6884782"/>
              <a:gd name="connsiteY24546" fmla="*/ 3637142 h 5973007"/>
              <a:gd name="connsiteX24547" fmla="*/ 317203 w 6884782"/>
              <a:gd name="connsiteY24547" fmla="*/ 3637142 h 5973007"/>
              <a:gd name="connsiteX24548" fmla="*/ 312557 w 6884782"/>
              <a:gd name="connsiteY24548" fmla="*/ 3628933 h 5973007"/>
              <a:gd name="connsiteX24549" fmla="*/ 319836 w 6884782"/>
              <a:gd name="connsiteY24549" fmla="*/ 3622272 h 5973007"/>
              <a:gd name="connsiteX24550" fmla="*/ 381532 w 6884782"/>
              <a:gd name="connsiteY24550" fmla="*/ 3621808 h 5973007"/>
              <a:gd name="connsiteX24551" fmla="*/ 388760 w 6884782"/>
              <a:gd name="connsiteY24551" fmla="*/ 3623047 h 5973007"/>
              <a:gd name="connsiteX24552" fmla="*/ 385559 w 6884782"/>
              <a:gd name="connsiteY24552" fmla="*/ 3635438 h 5973007"/>
              <a:gd name="connsiteX24553" fmla="*/ 378125 w 6884782"/>
              <a:gd name="connsiteY24553" fmla="*/ 3628933 h 5973007"/>
              <a:gd name="connsiteX24554" fmla="*/ 381532 w 6884782"/>
              <a:gd name="connsiteY24554" fmla="*/ 3621808 h 5973007"/>
              <a:gd name="connsiteX24555" fmla="*/ 340643 w 6884782"/>
              <a:gd name="connsiteY24555" fmla="*/ 3609106 h 5973007"/>
              <a:gd name="connsiteX24556" fmla="*/ 347870 w 6884782"/>
              <a:gd name="connsiteY24556" fmla="*/ 3611429 h 5973007"/>
              <a:gd name="connsiteX24557" fmla="*/ 351588 w 6884782"/>
              <a:gd name="connsiteY24557" fmla="*/ 3613288 h 5973007"/>
              <a:gd name="connsiteX24558" fmla="*/ 352311 w 6884782"/>
              <a:gd name="connsiteY24558" fmla="*/ 3615457 h 5973007"/>
              <a:gd name="connsiteX24559" fmla="*/ 351897 w 6884782"/>
              <a:gd name="connsiteY24559" fmla="*/ 3616231 h 5973007"/>
              <a:gd name="connsiteX24560" fmla="*/ 349936 w 6884782"/>
              <a:gd name="connsiteY24560" fmla="*/ 3616076 h 5973007"/>
              <a:gd name="connsiteX24561" fmla="*/ 342811 w 6884782"/>
              <a:gd name="connsiteY24561" fmla="*/ 3612049 h 5973007"/>
              <a:gd name="connsiteX24562" fmla="*/ 341262 w 6884782"/>
              <a:gd name="connsiteY24562" fmla="*/ 3611274 h 5973007"/>
              <a:gd name="connsiteX24563" fmla="*/ 340643 w 6884782"/>
              <a:gd name="connsiteY24563" fmla="*/ 3609106 h 5973007"/>
              <a:gd name="connsiteX24564" fmla="*/ 292216 w 6884782"/>
              <a:gd name="connsiteY24564" fmla="*/ 3605698 h 5973007"/>
              <a:gd name="connsiteX24565" fmla="*/ 297378 w 6884782"/>
              <a:gd name="connsiteY24565" fmla="*/ 3610345 h 5973007"/>
              <a:gd name="connsiteX24566" fmla="*/ 286536 w 6884782"/>
              <a:gd name="connsiteY24566" fmla="*/ 3619019 h 5973007"/>
              <a:gd name="connsiteX24567" fmla="*/ 283748 w 6884782"/>
              <a:gd name="connsiteY24567" fmla="*/ 3614527 h 5973007"/>
              <a:gd name="connsiteX24568" fmla="*/ 292216 w 6884782"/>
              <a:gd name="connsiteY24568" fmla="*/ 3605698 h 5973007"/>
              <a:gd name="connsiteX24569" fmla="*/ 290150 w 6884782"/>
              <a:gd name="connsiteY24569" fmla="*/ 3592687 h 5973007"/>
              <a:gd name="connsiteX24570" fmla="*/ 281890 w 6884782"/>
              <a:gd name="connsiteY24570" fmla="*/ 3599967 h 5973007"/>
              <a:gd name="connsiteX24571" fmla="*/ 290150 w 6884782"/>
              <a:gd name="connsiteY24571" fmla="*/ 3592687 h 5973007"/>
              <a:gd name="connsiteX24572" fmla="*/ 108316 w 6884782"/>
              <a:gd name="connsiteY24572" fmla="*/ 3591603 h 5973007"/>
              <a:gd name="connsiteX24573" fmla="*/ 132581 w 6884782"/>
              <a:gd name="connsiteY24573" fmla="*/ 3595940 h 5973007"/>
              <a:gd name="connsiteX24574" fmla="*/ 150135 w 6884782"/>
              <a:gd name="connsiteY24574" fmla="*/ 3609261 h 5973007"/>
              <a:gd name="connsiteX24575" fmla="*/ 125973 w 6884782"/>
              <a:gd name="connsiteY24575" fmla="*/ 3610965 h 5973007"/>
              <a:gd name="connsiteX24576" fmla="*/ 108316 w 6884782"/>
              <a:gd name="connsiteY24576" fmla="*/ 3591603 h 5973007"/>
              <a:gd name="connsiteX24577" fmla="*/ 320714 w 6884782"/>
              <a:gd name="connsiteY24577" fmla="*/ 3582773 h 5973007"/>
              <a:gd name="connsiteX24578" fmla="*/ 331040 w 6884782"/>
              <a:gd name="connsiteY24578" fmla="*/ 3583393 h 5973007"/>
              <a:gd name="connsiteX24579" fmla="*/ 331040 w 6884782"/>
              <a:gd name="connsiteY24579" fmla="*/ 3586956 h 5973007"/>
              <a:gd name="connsiteX24580" fmla="*/ 320198 w 6884782"/>
              <a:gd name="connsiteY24580" fmla="*/ 3588040 h 5973007"/>
              <a:gd name="connsiteX24581" fmla="*/ 320714 w 6884782"/>
              <a:gd name="connsiteY24581" fmla="*/ 3582773 h 5973007"/>
              <a:gd name="connsiteX24582" fmla="*/ 278005 w 6884782"/>
              <a:gd name="connsiteY24582" fmla="*/ 3573654 h 5973007"/>
              <a:gd name="connsiteX24583" fmla="*/ 285400 w 6884782"/>
              <a:gd name="connsiteY24583" fmla="*/ 3573790 h 5973007"/>
              <a:gd name="connsiteX24584" fmla="*/ 288911 w 6884782"/>
              <a:gd name="connsiteY24584" fmla="*/ 3580915 h 5973007"/>
              <a:gd name="connsiteX24585" fmla="*/ 274146 w 6884782"/>
              <a:gd name="connsiteY24585" fmla="*/ 3584787 h 5973007"/>
              <a:gd name="connsiteX24586" fmla="*/ 273010 w 6884782"/>
              <a:gd name="connsiteY24586" fmla="*/ 3581844 h 5973007"/>
              <a:gd name="connsiteX24587" fmla="*/ 273010 w 6884782"/>
              <a:gd name="connsiteY24587" fmla="*/ 3579211 h 5973007"/>
              <a:gd name="connsiteX24588" fmla="*/ 278005 w 6884782"/>
              <a:gd name="connsiteY24588" fmla="*/ 3573654 h 5973007"/>
              <a:gd name="connsiteX24589" fmla="*/ 252256 w 6884782"/>
              <a:gd name="connsiteY24589" fmla="*/ 3567284 h 5973007"/>
              <a:gd name="connsiteX24590" fmla="*/ 257212 w 6884782"/>
              <a:gd name="connsiteY24590" fmla="*/ 3568523 h 5973007"/>
              <a:gd name="connsiteX24591" fmla="*/ 261032 w 6884782"/>
              <a:gd name="connsiteY24591" fmla="*/ 3570227 h 5973007"/>
              <a:gd name="connsiteX24592" fmla="*/ 271254 w 6884782"/>
              <a:gd name="connsiteY24592" fmla="*/ 3578901 h 5973007"/>
              <a:gd name="connsiteX24593" fmla="*/ 265472 w 6884782"/>
              <a:gd name="connsiteY24593" fmla="*/ 3577352 h 5973007"/>
              <a:gd name="connsiteX24594" fmla="*/ 253598 w 6884782"/>
              <a:gd name="connsiteY24594" fmla="*/ 3571621 h 5973007"/>
              <a:gd name="connsiteX24595" fmla="*/ 252875 w 6884782"/>
              <a:gd name="connsiteY24595" fmla="*/ 3569452 h 5973007"/>
              <a:gd name="connsiteX24596" fmla="*/ 252152 w 6884782"/>
              <a:gd name="connsiteY24596" fmla="*/ 3569143 h 5973007"/>
              <a:gd name="connsiteX24597" fmla="*/ 251946 w 6884782"/>
              <a:gd name="connsiteY24597" fmla="*/ 3568059 h 5973007"/>
              <a:gd name="connsiteX24598" fmla="*/ 252256 w 6884782"/>
              <a:gd name="connsiteY24598" fmla="*/ 3567284 h 5973007"/>
              <a:gd name="connsiteX24599" fmla="*/ 260928 w 6884782"/>
              <a:gd name="connsiteY24599" fmla="*/ 3548541 h 5973007"/>
              <a:gd name="connsiteX24600" fmla="*/ 270841 w 6884782"/>
              <a:gd name="connsiteY24600" fmla="*/ 3549161 h 5973007"/>
              <a:gd name="connsiteX24601" fmla="*/ 277450 w 6884782"/>
              <a:gd name="connsiteY24601" fmla="*/ 3551794 h 5973007"/>
              <a:gd name="connsiteX24602" fmla="*/ 279102 w 6884782"/>
              <a:gd name="connsiteY24602" fmla="*/ 3552879 h 5973007"/>
              <a:gd name="connsiteX24603" fmla="*/ 279824 w 6884782"/>
              <a:gd name="connsiteY24603" fmla="*/ 3552879 h 5973007"/>
              <a:gd name="connsiteX24604" fmla="*/ 286639 w 6884782"/>
              <a:gd name="connsiteY24604" fmla="*/ 3557216 h 5973007"/>
              <a:gd name="connsiteX24605" fmla="*/ 296036 w 6884782"/>
              <a:gd name="connsiteY24605" fmla="*/ 3567439 h 5973007"/>
              <a:gd name="connsiteX24606" fmla="*/ 275694 w 6884782"/>
              <a:gd name="connsiteY24606" fmla="*/ 3564806 h 5973007"/>
              <a:gd name="connsiteX24607" fmla="*/ 260928 w 6884782"/>
              <a:gd name="connsiteY24607" fmla="*/ 3548541 h 5973007"/>
              <a:gd name="connsiteX24608" fmla="*/ 215806 w 6884782"/>
              <a:gd name="connsiteY24608" fmla="*/ 3539093 h 5973007"/>
              <a:gd name="connsiteX24609" fmla="*/ 215496 w 6884782"/>
              <a:gd name="connsiteY24609" fmla="*/ 3545753 h 5973007"/>
              <a:gd name="connsiteX24610" fmla="*/ 210436 w 6884782"/>
              <a:gd name="connsiteY24610" fmla="*/ 3543430 h 5973007"/>
              <a:gd name="connsiteX24611" fmla="*/ 215806 w 6884782"/>
              <a:gd name="connsiteY24611" fmla="*/ 3539093 h 5973007"/>
              <a:gd name="connsiteX24612" fmla="*/ 290563 w 6884782"/>
              <a:gd name="connsiteY24612" fmla="*/ 3535685 h 5973007"/>
              <a:gd name="connsiteX24613" fmla="*/ 298101 w 6884782"/>
              <a:gd name="connsiteY24613" fmla="*/ 3539248 h 5973007"/>
              <a:gd name="connsiteX24614" fmla="*/ 285917 w 6884782"/>
              <a:gd name="connsiteY24614" fmla="*/ 3553033 h 5973007"/>
              <a:gd name="connsiteX24615" fmla="*/ 279824 w 6884782"/>
              <a:gd name="connsiteY24615" fmla="*/ 3552879 h 5973007"/>
              <a:gd name="connsiteX24616" fmla="*/ 278998 w 6884782"/>
              <a:gd name="connsiteY24616" fmla="*/ 3552414 h 5973007"/>
              <a:gd name="connsiteX24617" fmla="*/ 277450 w 6884782"/>
              <a:gd name="connsiteY24617" fmla="*/ 3551794 h 5973007"/>
              <a:gd name="connsiteX24618" fmla="*/ 271977 w 6884782"/>
              <a:gd name="connsiteY24618" fmla="*/ 3548077 h 5973007"/>
              <a:gd name="connsiteX24619" fmla="*/ 290563 w 6884782"/>
              <a:gd name="connsiteY24619" fmla="*/ 3535685 h 5973007"/>
              <a:gd name="connsiteX24620" fmla="*/ 311215 w 6884782"/>
              <a:gd name="connsiteY24620" fmla="*/ 3518956 h 5973007"/>
              <a:gd name="connsiteX24621" fmla="*/ 316584 w 6884782"/>
              <a:gd name="connsiteY24621" fmla="*/ 3519576 h 5973007"/>
              <a:gd name="connsiteX24622" fmla="*/ 316377 w 6884782"/>
              <a:gd name="connsiteY24622" fmla="*/ 3523294 h 5973007"/>
              <a:gd name="connsiteX24623" fmla="*/ 311008 w 6884782"/>
              <a:gd name="connsiteY24623" fmla="*/ 3522674 h 5973007"/>
              <a:gd name="connsiteX24624" fmla="*/ 311215 w 6884782"/>
              <a:gd name="connsiteY24624" fmla="*/ 3518956 h 5973007"/>
              <a:gd name="connsiteX24625" fmla="*/ 468680 w 6884782"/>
              <a:gd name="connsiteY24625" fmla="*/ 3510592 h 5973007"/>
              <a:gd name="connsiteX24626" fmla="*/ 467958 w 6884782"/>
              <a:gd name="connsiteY24626" fmla="*/ 3513225 h 5973007"/>
              <a:gd name="connsiteX24627" fmla="*/ 468164 w 6884782"/>
              <a:gd name="connsiteY24627" fmla="*/ 3513535 h 5973007"/>
              <a:gd name="connsiteX24628" fmla="*/ 468267 w 6884782"/>
              <a:gd name="connsiteY24628" fmla="*/ 3513535 h 5973007"/>
              <a:gd name="connsiteX24629" fmla="*/ 470022 w 6884782"/>
              <a:gd name="connsiteY24629" fmla="*/ 3514464 h 5973007"/>
              <a:gd name="connsiteX24630" fmla="*/ 528259 w 6884782"/>
              <a:gd name="connsiteY24630" fmla="*/ 3504086 h 5973007"/>
              <a:gd name="connsiteX24631" fmla="*/ 529292 w 6884782"/>
              <a:gd name="connsiteY24631" fmla="*/ 3508578 h 5973007"/>
              <a:gd name="connsiteX24632" fmla="*/ 524955 w 6884782"/>
              <a:gd name="connsiteY24632" fmla="*/ 3507649 h 5973007"/>
              <a:gd name="connsiteX24633" fmla="*/ 528259 w 6884782"/>
              <a:gd name="connsiteY24633" fmla="*/ 3504086 h 5973007"/>
              <a:gd name="connsiteX24634" fmla="*/ 479316 w 6884782"/>
              <a:gd name="connsiteY24634" fmla="*/ 3498820 h 5973007"/>
              <a:gd name="connsiteX24635" fmla="*/ 475289 w 6884782"/>
              <a:gd name="connsiteY24635" fmla="*/ 3500214 h 5973007"/>
              <a:gd name="connsiteX24636" fmla="*/ 474876 w 6884782"/>
              <a:gd name="connsiteY24636" fmla="*/ 3499439 h 5973007"/>
              <a:gd name="connsiteX24637" fmla="*/ 473327 w 6884782"/>
              <a:gd name="connsiteY24637" fmla="*/ 3501453 h 5973007"/>
              <a:gd name="connsiteX24638" fmla="*/ 472914 w 6884782"/>
              <a:gd name="connsiteY24638" fmla="*/ 3502537 h 5973007"/>
              <a:gd name="connsiteX24639" fmla="*/ 473224 w 6884782"/>
              <a:gd name="connsiteY24639" fmla="*/ 3503002 h 5973007"/>
              <a:gd name="connsiteX24640" fmla="*/ 475805 w 6884782"/>
              <a:gd name="connsiteY24640" fmla="*/ 3509508 h 5973007"/>
              <a:gd name="connsiteX24641" fmla="*/ 477663 w 6884782"/>
              <a:gd name="connsiteY24641" fmla="*/ 3507959 h 5973007"/>
              <a:gd name="connsiteX24642" fmla="*/ 477663 w 6884782"/>
              <a:gd name="connsiteY24642" fmla="*/ 3506719 h 5973007"/>
              <a:gd name="connsiteX24643" fmla="*/ 477457 w 6884782"/>
              <a:gd name="connsiteY24643" fmla="*/ 3506719 h 5973007"/>
              <a:gd name="connsiteX24644" fmla="*/ 478283 w 6884782"/>
              <a:gd name="connsiteY24644" fmla="*/ 3503157 h 5973007"/>
              <a:gd name="connsiteX24645" fmla="*/ 479419 w 6884782"/>
              <a:gd name="connsiteY24645" fmla="*/ 3501918 h 5973007"/>
              <a:gd name="connsiteX24646" fmla="*/ 291906 w 6884782"/>
              <a:gd name="connsiteY24646" fmla="*/ 3496341 h 5973007"/>
              <a:gd name="connsiteX24647" fmla="*/ 302748 w 6884782"/>
              <a:gd name="connsiteY24647" fmla="*/ 3502537 h 5973007"/>
              <a:gd name="connsiteX24648" fmla="*/ 290357 w 6884782"/>
              <a:gd name="connsiteY24648" fmla="*/ 3501143 h 5973007"/>
              <a:gd name="connsiteX24649" fmla="*/ 291906 w 6884782"/>
              <a:gd name="connsiteY24649" fmla="*/ 3496341 h 5973007"/>
              <a:gd name="connsiteX24650" fmla="*/ 276004 w 6884782"/>
              <a:gd name="connsiteY24650" fmla="*/ 3483485 h 5973007"/>
              <a:gd name="connsiteX24651" fmla="*/ 274455 w 6884782"/>
              <a:gd name="connsiteY24651" fmla="*/ 3491230 h 5973007"/>
              <a:gd name="connsiteX24652" fmla="*/ 265782 w 6884782"/>
              <a:gd name="connsiteY24652" fmla="*/ 3492934 h 5973007"/>
              <a:gd name="connsiteX24653" fmla="*/ 271461 w 6884782"/>
              <a:gd name="connsiteY24653" fmla="*/ 3483640 h 5973007"/>
              <a:gd name="connsiteX24654" fmla="*/ 276004 w 6884782"/>
              <a:gd name="connsiteY24654" fmla="*/ 3483485 h 5973007"/>
              <a:gd name="connsiteX24655" fmla="*/ 476321 w 6884782"/>
              <a:gd name="connsiteY24655" fmla="*/ 3482711 h 5973007"/>
              <a:gd name="connsiteX24656" fmla="*/ 475702 w 6884782"/>
              <a:gd name="connsiteY24656" fmla="*/ 3482865 h 5973007"/>
              <a:gd name="connsiteX24657" fmla="*/ 475495 w 6884782"/>
              <a:gd name="connsiteY24657" fmla="*/ 3482865 h 5973007"/>
              <a:gd name="connsiteX24658" fmla="*/ 475495 w 6884782"/>
              <a:gd name="connsiteY24658" fmla="*/ 3483795 h 5973007"/>
              <a:gd name="connsiteX24659" fmla="*/ 476424 w 6884782"/>
              <a:gd name="connsiteY24659" fmla="*/ 3482865 h 5973007"/>
              <a:gd name="connsiteX24660" fmla="*/ 366250 w 6884782"/>
              <a:gd name="connsiteY24660" fmla="*/ 3476205 h 5973007"/>
              <a:gd name="connsiteX24661" fmla="*/ 366973 w 6884782"/>
              <a:gd name="connsiteY24661" fmla="*/ 3476670 h 5973007"/>
              <a:gd name="connsiteX24662" fmla="*/ 369038 w 6884782"/>
              <a:gd name="connsiteY24662" fmla="*/ 3484724 h 5973007"/>
              <a:gd name="connsiteX24663" fmla="*/ 369141 w 6884782"/>
              <a:gd name="connsiteY24663" fmla="*/ 3485963 h 5973007"/>
              <a:gd name="connsiteX24664" fmla="*/ 377815 w 6884782"/>
              <a:gd name="connsiteY24664" fmla="*/ 3480542 h 5973007"/>
              <a:gd name="connsiteX24665" fmla="*/ 372858 w 6884782"/>
              <a:gd name="connsiteY24665" fmla="*/ 3479922 h 5973007"/>
              <a:gd name="connsiteX24666" fmla="*/ 369554 w 6884782"/>
              <a:gd name="connsiteY24666" fmla="*/ 3476980 h 5973007"/>
              <a:gd name="connsiteX24667" fmla="*/ 216012 w 6884782"/>
              <a:gd name="connsiteY24667" fmla="*/ 3475585 h 5973007"/>
              <a:gd name="connsiteX24668" fmla="*/ 227060 w 6884782"/>
              <a:gd name="connsiteY24668" fmla="*/ 3486583 h 5973007"/>
              <a:gd name="connsiteX24669" fmla="*/ 225512 w 6884782"/>
              <a:gd name="connsiteY24669" fmla="*/ 3487822 h 5973007"/>
              <a:gd name="connsiteX24670" fmla="*/ 223137 w 6884782"/>
              <a:gd name="connsiteY24670" fmla="*/ 3487358 h 5973007"/>
              <a:gd name="connsiteX24671" fmla="*/ 217148 w 6884782"/>
              <a:gd name="connsiteY24671" fmla="*/ 3482091 h 5973007"/>
              <a:gd name="connsiteX24672" fmla="*/ 216116 w 6884782"/>
              <a:gd name="connsiteY24672" fmla="*/ 3480542 h 5973007"/>
              <a:gd name="connsiteX24673" fmla="*/ 214980 w 6884782"/>
              <a:gd name="connsiteY24673" fmla="*/ 3478993 h 5973007"/>
              <a:gd name="connsiteX24674" fmla="*/ 214773 w 6884782"/>
              <a:gd name="connsiteY24674" fmla="*/ 3477444 h 5973007"/>
              <a:gd name="connsiteX24675" fmla="*/ 216012 w 6884782"/>
              <a:gd name="connsiteY24675" fmla="*/ 3475585 h 5973007"/>
              <a:gd name="connsiteX24676" fmla="*/ 317616 w 6884782"/>
              <a:gd name="connsiteY24676" fmla="*/ 3471713 h 5973007"/>
              <a:gd name="connsiteX24677" fmla="*/ 320921 w 6884782"/>
              <a:gd name="connsiteY24677" fmla="*/ 3478373 h 5973007"/>
              <a:gd name="connsiteX24678" fmla="*/ 318546 w 6884782"/>
              <a:gd name="connsiteY24678" fmla="*/ 3482865 h 5973007"/>
              <a:gd name="connsiteX24679" fmla="*/ 310801 w 6884782"/>
              <a:gd name="connsiteY24679" fmla="*/ 3485963 h 5973007"/>
              <a:gd name="connsiteX24680" fmla="*/ 309356 w 6884782"/>
              <a:gd name="connsiteY24680" fmla="*/ 3482091 h 5973007"/>
              <a:gd name="connsiteX24681" fmla="*/ 317616 w 6884782"/>
              <a:gd name="connsiteY24681" fmla="*/ 3471713 h 5973007"/>
              <a:gd name="connsiteX24682" fmla="*/ 422731 w 6884782"/>
              <a:gd name="connsiteY24682" fmla="*/ 3469699 h 5973007"/>
              <a:gd name="connsiteX24683" fmla="*/ 421698 w 6884782"/>
              <a:gd name="connsiteY24683" fmla="*/ 3472487 h 5973007"/>
              <a:gd name="connsiteX24684" fmla="*/ 417259 w 6884782"/>
              <a:gd name="connsiteY24684" fmla="*/ 3476515 h 5973007"/>
              <a:gd name="connsiteX24685" fmla="*/ 417568 w 6884782"/>
              <a:gd name="connsiteY24685" fmla="*/ 3476515 h 5973007"/>
              <a:gd name="connsiteX24686" fmla="*/ 423867 w 6884782"/>
              <a:gd name="connsiteY24686" fmla="*/ 3479303 h 5973007"/>
              <a:gd name="connsiteX24687" fmla="*/ 199388 w 6884782"/>
              <a:gd name="connsiteY24687" fmla="*/ 3469390 h 5973007"/>
              <a:gd name="connsiteX24688" fmla="*/ 200421 w 6884782"/>
              <a:gd name="connsiteY24688" fmla="*/ 3479148 h 5973007"/>
              <a:gd name="connsiteX24689" fmla="*/ 195671 w 6884782"/>
              <a:gd name="connsiteY24689" fmla="*/ 3477289 h 5973007"/>
              <a:gd name="connsiteX24690" fmla="*/ 199388 w 6884782"/>
              <a:gd name="connsiteY24690" fmla="*/ 3469390 h 5973007"/>
              <a:gd name="connsiteX24691" fmla="*/ 246679 w 6884782"/>
              <a:gd name="connsiteY24691" fmla="*/ 3468925 h 5973007"/>
              <a:gd name="connsiteX24692" fmla="*/ 247712 w 6884782"/>
              <a:gd name="connsiteY24692" fmla="*/ 3470319 h 5973007"/>
              <a:gd name="connsiteX24693" fmla="*/ 249261 w 6884782"/>
              <a:gd name="connsiteY24693" fmla="*/ 3471093 h 5973007"/>
              <a:gd name="connsiteX24694" fmla="*/ 248745 w 6884782"/>
              <a:gd name="connsiteY24694" fmla="*/ 3471713 h 5973007"/>
              <a:gd name="connsiteX24695" fmla="*/ 249157 w 6884782"/>
              <a:gd name="connsiteY24695" fmla="*/ 3472952 h 5973007"/>
              <a:gd name="connsiteX24696" fmla="*/ 245854 w 6884782"/>
              <a:gd name="connsiteY24696" fmla="*/ 3475276 h 5973007"/>
              <a:gd name="connsiteX24697" fmla="*/ 243788 w 6884782"/>
              <a:gd name="connsiteY24697" fmla="*/ 3475585 h 5973007"/>
              <a:gd name="connsiteX24698" fmla="*/ 242446 w 6884782"/>
              <a:gd name="connsiteY24698" fmla="*/ 3474656 h 5973007"/>
              <a:gd name="connsiteX24699" fmla="*/ 242549 w 6884782"/>
              <a:gd name="connsiteY24699" fmla="*/ 3472797 h 5973007"/>
              <a:gd name="connsiteX24700" fmla="*/ 244304 w 6884782"/>
              <a:gd name="connsiteY24700" fmla="*/ 3469699 h 5973007"/>
              <a:gd name="connsiteX24701" fmla="*/ 246679 w 6884782"/>
              <a:gd name="connsiteY24701" fmla="*/ 3468925 h 5973007"/>
              <a:gd name="connsiteX24702" fmla="*/ 344566 w 6884782"/>
              <a:gd name="connsiteY24702" fmla="*/ 3468460 h 5973007"/>
              <a:gd name="connsiteX24703" fmla="*/ 337545 w 6884782"/>
              <a:gd name="connsiteY24703" fmla="*/ 3473417 h 5973007"/>
              <a:gd name="connsiteX24704" fmla="*/ 344566 w 6884782"/>
              <a:gd name="connsiteY24704" fmla="*/ 3468460 h 5973007"/>
              <a:gd name="connsiteX24705" fmla="*/ 228300 w 6884782"/>
              <a:gd name="connsiteY24705" fmla="*/ 3459631 h 5973007"/>
              <a:gd name="connsiteX24706" fmla="*/ 238006 w 6884782"/>
              <a:gd name="connsiteY24706" fmla="*/ 3461025 h 5973007"/>
              <a:gd name="connsiteX24707" fmla="*/ 237180 w 6884782"/>
              <a:gd name="connsiteY24707" fmla="*/ 3466911 h 5973007"/>
              <a:gd name="connsiteX24708" fmla="*/ 225615 w 6884782"/>
              <a:gd name="connsiteY24708" fmla="*/ 3460715 h 5973007"/>
              <a:gd name="connsiteX24709" fmla="*/ 228300 w 6884782"/>
              <a:gd name="connsiteY24709" fmla="*/ 3459631 h 5973007"/>
              <a:gd name="connsiteX24710" fmla="*/ 329181 w 6884782"/>
              <a:gd name="connsiteY24710" fmla="*/ 3453590 h 5973007"/>
              <a:gd name="connsiteX24711" fmla="*/ 328252 w 6884782"/>
              <a:gd name="connsiteY24711" fmla="*/ 3463658 h 5973007"/>
              <a:gd name="connsiteX24712" fmla="*/ 321540 w 6884782"/>
              <a:gd name="connsiteY24712" fmla="*/ 3472023 h 5973007"/>
              <a:gd name="connsiteX24713" fmla="*/ 321024 w 6884782"/>
              <a:gd name="connsiteY24713" fmla="*/ 3467221 h 5973007"/>
              <a:gd name="connsiteX24714" fmla="*/ 329181 w 6884782"/>
              <a:gd name="connsiteY24714" fmla="*/ 3453590 h 5973007"/>
              <a:gd name="connsiteX24715" fmla="*/ 453811 w 6884782"/>
              <a:gd name="connsiteY24715" fmla="*/ 3450802 h 5973007"/>
              <a:gd name="connsiteX24716" fmla="*/ 453708 w 6884782"/>
              <a:gd name="connsiteY24716" fmla="*/ 3451886 h 5973007"/>
              <a:gd name="connsiteX24717" fmla="*/ 455463 w 6884782"/>
              <a:gd name="connsiteY24717" fmla="*/ 3463348 h 5973007"/>
              <a:gd name="connsiteX24718" fmla="*/ 455154 w 6884782"/>
              <a:gd name="connsiteY24718" fmla="*/ 3493553 h 5973007"/>
              <a:gd name="connsiteX24719" fmla="*/ 456703 w 6884782"/>
              <a:gd name="connsiteY24719" fmla="*/ 3500369 h 5973007"/>
              <a:gd name="connsiteX24720" fmla="*/ 456909 w 6884782"/>
              <a:gd name="connsiteY24720" fmla="*/ 3500679 h 5973007"/>
              <a:gd name="connsiteX24721" fmla="*/ 463930 w 6884782"/>
              <a:gd name="connsiteY24721" fmla="*/ 3508733 h 5973007"/>
              <a:gd name="connsiteX24722" fmla="*/ 463827 w 6884782"/>
              <a:gd name="connsiteY24722" fmla="*/ 3506719 h 5973007"/>
              <a:gd name="connsiteX24723" fmla="*/ 470539 w 6884782"/>
              <a:gd name="connsiteY24723" fmla="*/ 3503622 h 5973007"/>
              <a:gd name="connsiteX24724" fmla="*/ 470539 w 6884782"/>
              <a:gd name="connsiteY24724" fmla="*/ 3503467 h 5973007"/>
              <a:gd name="connsiteX24725" fmla="*/ 465686 w 6884782"/>
              <a:gd name="connsiteY24725" fmla="*/ 3500369 h 5973007"/>
              <a:gd name="connsiteX24726" fmla="*/ 463414 w 6884782"/>
              <a:gd name="connsiteY24726" fmla="*/ 3494793 h 5973007"/>
              <a:gd name="connsiteX24727" fmla="*/ 463208 w 6884782"/>
              <a:gd name="connsiteY24727" fmla="*/ 3494173 h 5973007"/>
              <a:gd name="connsiteX24728" fmla="*/ 462485 w 6884782"/>
              <a:gd name="connsiteY24728" fmla="*/ 3493398 h 5973007"/>
              <a:gd name="connsiteX24729" fmla="*/ 462175 w 6884782"/>
              <a:gd name="connsiteY24729" fmla="*/ 3493553 h 5973007"/>
              <a:gd name="connsiteX24730" fmla="*/ 462278 w 6884782"/>
              <a:gd name="connsiteY24730" fmla="*/ 3493244 h 5973007"/>
              <a:gd name="connsiteX24731" fmla="*/ 460832 w 6884782"/>
              <a:gd name="connsiteY24731" fmla="*/ 3491694 h 5973007"/>
              <a:gd name="connsiteX24732" fmla="*/ 462072 w 6884782"/>
              <a:gd name="connsiteY24732" fmla="*/ 3490610 h 5973007"/>
              <a:gd name="connsiteX24733" fmla="*/ 462382 w 6884782"/>
              <a:gd name="connsiteY24733" fmla="*/ 3487977 h 5973007"/>
              <a:gd name="connsiteX24734" fmla="*/ 464447 w 6884782"/>
              <a:gd name="connsiteY24734" fmla="*/ 3487048 h 5973007"/>
              <a:gd name="connsiteX24735" fmla="*/ 468887 w 6884782"/>
              <a:gd name="connsiteY24735" fmla="*/ 3488906 h 5973007"/>
              <a:gd name="connsiteX24736" fmla="*/ 474256 w 6884782"/>
              <a:gd name="connsiteY24736" fmla="*/ 3484724 h 5973007"/>
              <a:gd name="connsiteX24737" fmla="*/ 474463 w 6884782"/>
              <a:gd name="connsiteY24737" fmla="*/ 3484569 h 5973007"/>
              <a:gd name="connsiteX24738" fmla="*/ 473740 w 6884782"/>
              <a:gd name="connsiteY24738" fmla="*/ 3482711 h 5973007"/>
              <a:gd name="connsiteX24739" fmla="*/ 469093 w 6884782"/>
              <a:gd name="connsiteY24739" fmla="*/ 3482091 h 5973007"/>
              <a:gd name="connsiteX24740" fmla="*/ 464756 w 6884782"/>
              <a:gd name="connsiteY24740" fmla="*/ 3476980 h 5973007"/>
              <a:gd name="connsiteX24741" fmla="*/ 470022 w 6884782"/>
              <a:gd name="connsiteY24741" fmla="*/ 3475740 h 5973007"/>
              <a:gd name="connsiteX24742" fmla="*/ 473327 w 6884782"/>
              <a:gd name="connsiteY24742" fmla="*/ 3476515 h 5973007"/>
              <a:gd name="connsiteX24743" fmla="*/ 473327 w 6884782"/>
              <a:gd name="connsiteY24743" fmla="*/ 3476205 h 5973007"/>
              <a:gd name="connsiteX24744" fmla="*/ 473017 w 6884782"/>
              <a:gd name="connsiteY24744" fmla="*/ 3473882 h 5973007"/>
              <a:gd name="connsiteX24745" fmla="*/ 472707 w 6884782"/>
              <a:gd name="connsiteY24745" fmla="*/ 3474811 h 5973007"/>
              <a:gd name="connsiteX24746" fmla="*/ 468474 w 6884782"/>
              <a:gd name="connsiteY24746" fmla="*/ 3470009 h 5973007"/>
              <a:gd name="connsiteX24747" fmla="*/ 467028 w 6884782"/>
              <a:gd name="connsiteY24747" fmla="*/ 3473572 h 5973007"/>
              <a:gd name="connsiteX24748" fmla="*/ 464550 w 6884782"/>
              <a:gd name="connsiteY24748" fmla="*/ 3475585 h 5973007"/>
              <a:gd name="connsiteX24749" fmla="*/ 462278 w 6884782"/>
              <a:gd name="connsiteY24749" fmla="*/ 3472178 h 5973007"/>
              <a:gd name="connsiteX24750" fmla="*/ 463621 w 6884782"/>
              <a:gd name="connsiteY24750" fmla="*/ 3468770 h 5973007"/>
              <a:gd name="connsiteX24751" fmla="*/ 466202 w 6884782"/>
              <a:gd name="connsiteY24751" fmla="*/ 3467376 h 5973007"/>
              <a:gd name="connsiteX24752" fmla="*/ 464447 w 6884782"/>
              <a:gd name="connsiteY24752" fmla="*/ 3465517 h 5973007"/>
              <a:gd name="connsiteX24753" fmla="*/ 457528 w 6884782"/>
              <a:gd name="connsiteY24753" fmla="*/ 3456533 h 5973007"/>
              <a:gd name="connsiteX24754" fmla="*/ 310698 w 6884782"/>
              <a:gd name="connsiteY24754" fmla="*/ 3449718 h 5973007"/>
              <a:gd name="connsiteX24755" fmla="*/ 319165 w 6884782"/>
              <a:gd name="connsiteY24755" fmla="*/ 3458082 h 5973007"/>
              <a:gd name="connsiteX24756" fmla="*/ 315861 w 6884782"/>
              <a:gd name="connsiteY24756" fmla="*/ 3460560 h 5973007"/>
              <a:gd name="connsiteX24757" fmla="*/ 308426 w 6884782"/>
              <a:gd name="connsiteY24757" fmla="*/ 3458392 h 5973007"/>
              <a:gd name="connsiteX24758" fmla="*/ 310698 w 6884782"/>
              <a:gd name="connsiteY24758" fmla="*/ 3449718 h 5973007"/>
              <a:gd name="connsiteX24759" fmla="*/ 325670 w 6884782"/>
              <a:gd name="connsiteY24759" fmla="*/ 3439030 h 5973007"/>
              <a:gd name="connsiteX24760" fmla="*/ 335066 w 6884782"/>
              <a:gd name="connsiteY24760" fmla="*/ 3443367 h 5973007"/>
              <a:gd name="connsiteX24761" fmla="*/ 330730 w 6884782"/>
              <a:gd name="connsiteY24761" fmla="*/ 3449718 h 5973007"/>
              <a:gd name="connsiteX24762" fmla="*/ 324121 w 6884782"/>
              <a:gd name="connsiteY24762" fmla="*/ 3447549 h 5973007"/>
              <a:gd name="connsiteX24763" fmla="*/ 322573 w 6884782"/>
              <a:gd name="connsiteY24763" fmla="*/ 3442128 h 5973007"/>
              <a:gd name="connsiteX24764" fmla="*/ 325670 w 6884782"/>
              <a:gd name="connsiteY24764" fmla="*/ 3439030 h 5973007"/>
              <a:gd name="connsiteX24765" fmla="*/ 232430 w 6884782"/>
              <a:gd name="connsiteY24765" fmla="*/ 3430356 h 5973007"/>
              <a:gd name="connsiteX24766" fmla="*/ 249364 w 6884782"/>
              <a:gd name="connsiteY24766" fmla="*/ 3438101 h 5973007"/>
              <a:gd name="connsiteX24767" fmla="*/ 232430 w 6884782"/>
              <a:gd name="connsiteY24767" fmla="*/ 3430356 h 5973007"/>
              <a:gd name="connsiteX24768" fmla="*/ 516385 w 6884782"/>
              <a:gd name="connsiteY24768" fmla="*/ 3427568 h 5973007"/>
              <a:gd name="connsiteX24769" fmla="*/ 515146 w 6884782"/>
              <a:gd name="connsiteY24769" fmla="*/ 3432679 h 5973007"/>
              <a:gd name="connsiteX24770" fmla="*/ 513287 w 6884782"/>
              <a:gd name="connsiteY24770" fmla="*/ 3434538 h 5973007"/>
              <a:gd name="connsiteX24771" fmla="*/ 515042 w 6884782"/>
              <a:gd name="connsiteY24771" fmla="*/ 3438720 h 5973007"/>
              <a:gd name="connsiteX24772" fmla="*/ 512461 w 6884782"/>
              <a:gd name="connsiteY24772" fmla="*/ 3437016 h 5973007"/>
              <a:gd name="connsiteX24773" fmla="*/ 515662 w 6884782"/>
              <a:gd name="connsiteY24773" fmla="*/ 3446155 h 5973007"/>
              <a:gd name="connsiteX24774" fmla="*/ 512977 w 6884782"/>
              <a:gd name="connsiteY24774" fmla="*/ 3452970 h 5973007"/>
              <a:gd name="connsiteX24775" fmla="*/ 511945 w 6884782"/>
              <a:gd name="connsiteY24775" fmla="*/ 3455914 h 5973007"/>
              <a:gd name="connsiteX24776" fmla="*/ 513596 w 6884782"/>
              <a:gd name="connsiteY24776" fmla="*/ 3459941 h 5973007"/>
              <a:gd name="connsiteX24777" fmla="*/ 514320 w 6884782"/>
              <a:gd name="connsiteY24777" fmla="*/ 3459941 h 5973007"/>
              <a:gd name="connsiteX24778" fmla="*/ 516695 w 6884782"/>
              <a:gd name="connsiteY24778" fmla="*/ 3462109 h 5973007"/>
              <a:gd name="connsiteX24779" fmla="*/ 517520 w 6884782"/>
              <a:gd name="connsiteY24779" fmla="*/ 3461025 h 5973007"/>
              <a:gd name="connsiteX24780" fmla="*/ 525161 w 6884782"/>
              <a:gd name="connsiteY24780" fmla="*/ 3461180 h 5973007"/>
              <a:gd name="connsiteX24781" fmla="*/ 517520 w 6884782"/>
              <a:gd name="connsiteY24781" fmla="*/ 3464743 h 5973007"/>
              <a:gd name="connsiteX24782" fmla="*/ 516281 w 6884782"/>
              <a:gd name="connsiteY24782" fmla="*/ 3463348 h 5973007"/>
              <a:gd name="connsiteX24783" fmla="*/ 515249 w 6884782"/>
              <a:gd name="connsiteY24783" fmla="*/ 3464278 h 5973007"/>
              <a:gd name="connsiteX24784" fmla="*/ 516901 w 6884782"/>
              <a:gd name="connsiteY24784" fmla="*/ 3468305 h 5973007"/>
              <a:gd name="connsiteX24785" fmla="*/ 516695 w 6884782"/>
              <a:gd name="connsiteY24785" fmla="*/ 3468925 h 5973007"/>
              <a:gd name="connsiteX24786" fmla="*/ 519069 w 6884782"/>
              <a:gd name="connsiteY24786" fmla="*/ 3472023 h 5973007"/>
              <a:gd name="connsiteX24787" fmla="*/ 517830 w 6884782"/>
              <a:gd name="connsiteY24787" fmla="*/ 3483175 h 5973007"/>
              <a:gd name="connsiteX24788" fmla="*/ 517727 w 6884782"/>
              <a:gd name="connsiteY24788" fmla="*/ 3488132 h 5973007"/>
              <a:gd name="connsiteX24789" fmla="*/ 517417 w 6884782"/>
              <a:gd name="connsiteY24789" fmla="*/ 3489526 h 5973007"/>
              <a:gd name="connsiteX24790" fmla="*/ 518347 w 6884782"/>
              <a:gd name="connsiteY24790" fmla="*/ 3491230 h 5973007"/>
              <a:gd name="connsiteX24791" fmla="*/ 519792 w 6884782"/>
              <a:gd name="connsiteY24791" fmla="*/ 3494018 h 5973007"/>
              <a:gd name="connsiteX24792" fmla="*/ 517211 w 6884782"/>
              <a:gd name="connsiteY24792" fmla="*/ 3504706 h 5973007"/>
              <a:gd name="connsiteX24793" fmla="*/ 521444 w 6884782"/>
              <a:gd name="connsiteY24793" fmla="*/ 3517717 h 5973007"/>
              <a:gd name="connsiteX24794" fmla="*/ 521651 w 6884782"/>
              <a:gd name="connsiteY24794" fmla="*/ 3518337 h 5973007"/>
              <a:gd name="connsiteX24795" fmla="*/ 523406 w 6884782"/>
              <a:gd name="connsiteY24795" fmla="*/ 3519111 h 5973007"/>
              <a:gd name="connsiteX24796" fmla="*/ 523303 w 6884782"/>
              <a:gd name="connsiteY24796" fmla="*/ 3522674 h 5973007"/>
              <a:gd name="connsiteX24797" fmla="*/ 522890 w 6884782"/>
              <a:gd name="connsiteY24797" fmla="*/ 3522983 h 5973007"/>
              <a:gd name="connsiteX24798" fmla="*/ 523303 w 6884782"/>
              <a:gd name="connsiteY24798" fmla="*/ 3524223 h 5973007"/>
              <a:gd name="connsiteX24799" fmla="*/ 524232 w 6884782"/>
              <a:gd name="connsiteY24799" fmla="*/ 3525927 h 5973007"/>
              <a:gd name="connsiteX24800" fmla="*/ 524025 w 6884782"/>
              <a:gd name="connsiteY24800" fmla="*/ 3526701 h 5973007"/>
              <a:gd name="connsiteX24801" fmla="*/ 524439 w 6884782"/>
              <a:gd name="connsiteY24801" fmla="*/ 3527476 h 5973007"/>
              <a:gd name="connsiteX24802" fmla="*/ 524748 w 6884782"/>
              <a:gd name="connsiteY24802" fmla="*/ 3529025 h 5973007"/>
              <a:gd name="connsiteX24803" fmla="*/ 525058 w 6884782"/>
              <a:gd name="connsiteY24803" fmla="*/ 3529644 h 5973007"/>
              <a:gd name="connsiteX24804" fmla="*/ 527330 w 6884782"/>
              <a:gd name="connsiteY24804" fmla="*/ 3529180 h 5973007"/>
              <a:gd name="connsiteX24805" fmla="*/ 531976 w 6884782"/>
              <a:gd name="connsiteY24805" fmla="*/ 3529644 h 5973007"/>
              <a:gd name="connsiteX24806" fmla="*/ 526710 w 6884782"/>
              <a:gd name="connsiteY24806" fmla="*/ 3532277 h 5973007"/>
              <a:gd name="connsiteX24807" fmla="*/ 526400 w 6884782"/>
              <a:gd name="connsiteY24807" fmla="*/ 3532432 h 5973007"/>
              <a:gd name="connsiteX24808" fmla="*/ 531254 w 6884782"/>
              <a:gd name="connsiteY24808" fmla="*/ 3542191 h 5973007"/>
              <a:gd name="connsiteX24809" fmla="*/ 544470 w 6884782"/>
              <a:gd name="connsiteY24809" fmla="*/ 3540797 h 5973007"/>
              <a:gd name="connsiteX24810" fmla="*/ 545296 w 6884782"/>
              <a:gd name="connsiteY24810" fmla="*/ 3543275 h 5973007"/>
              <a:gd name="connsiteX24811" fmla="*/ 546329 w 6884782"/>
              <a:gd name="connsiteY24811" fmla="*/ 3549471 h 5973007"/>
              <a:gd name="connsiteX24812" fmla="*/ 546122 w 6884782"/>
              <a:gd name="connsiteY24812" fmla="*/ 3550091 h 5973007"/>
              <a:gd name="connsiteX24813" fmla="*/ 546639 w 6884782"/>
              <a:gd name="connsiteY24813" fmla="*/ 3551020 h 5973007"/>
              <a:gd name="connsiteX24814" fmla="*/ 547568 w 6884782"/>
              <a:gd name="connsiteY24814" fmla="*/ 3552724 h 5973007"/>
              <a:gd name="connsiteX24815" fmla="*/ 551389 w 6884782"/>
              <a:gd name="connsiteY24815" fmla="*/ 3560004 h 5973007"/>
              <a:gd name="connsiteX24816" fmla="*/ 559236 w 6884782"/>
              <a:gd name="connsiteY24816" fmla="*/ 3558919 h 5973007"/>
              <a:gd name="connsiteX24817" fmla="*/ 556345 w 6884782"/>
              <a:gd name="connsiteY24817" fmla="*/ 3553653 h 5973007"/>
              <a:gd name="connsiteX24818" fmla="*/ 556345 w 6884782"/>
              <a:gd name="connsiteY24818" fmla="*/ 3553498 h 5973007"/>
              <a:gd name="connsiteX24819" fmla="*/ 552524 w 6884782"/>
              <a:gd name="connsiteY24819" fmla="*/ 3551020 h 5973007"/>
              <a:gd name="connsiteX24820" fmla="*/ 548704 w 6884782"/>
              <a:gd name="connsiteY24820" fmla="*/ 3541106 h 5973007"/>
              <a:gd name="connsiteX24821" fmla="*/ 554589 w 6884782"/>
              <a:gd name="connsiteY24821" fmla="*/ 3537699 h 5973007"/>
              <a:gd name="connsiteX24822" fmla="*/ 554383 w 6884782"/>
              <a:gd name="connsiteY24822" fmla="*/ 3535530 h 5973007"/>
              <a:gd name="connsiteX24823" fmla="*/ 547052 w 6884782"/>
              <a:gd name="connsiteY24823" fmla="*/ 3525152 h 5973007"/>
              <a:gd name="connsiteX24824" fmla="*/ 547258 w 6884782"/>
              <a:gd name="connsiteY24824" fmla="*/ 3524378 h 5973007"/>
              <a:gd name="connsiteX24825" fmla="*/ 546845 w 6884782"/>
              <a:gd name="connsiteY24825" fmla="*/ 3523603 h 5973007"/>
              <a:gd name="connsiteX24826" fmla="*/ 547052 w 6884782"/>
              <a:gd name="connsiteY24826" fmla="*/ 3522829 h 5973007"/>
              <a:gd name="connsiteX24827" fmla="*/ 546639 w 6884782"/>
              <a:gd name="connsiteY24827" fmla="*/ 3519111 h 5973007"/>
              <a:gd name="connsiteX24828" fmla="*/ 546019 w 6884782"/>
              <a:gd name="connsiteY24828" fmla="*/ 3511676 h 5973007"/>
              <a:gd name="connsiteX24829" fmla="*/ 544367 w 6884782"/>
              <a:gd name="connsiteY24829" fmla="*/ 3497271 h 5973007"/>
              <a:gd name="connsiteX24830" fmla="*/ 542818 w 6884782"/>
              <a:gd name="connsiteY24830" fmla="*/ 3490146 h 5973007"/>
              <a:gd name="connsiteX24831" fmla="*/ 542508 w 6884782"/>
              <a:gd name="connsiteY24831" fmla="*/ 3488597 h 5973007"/>
              <a:gd name="connsiteX24832" fmla="*/ 542921 w 6884782"/>
              <a:gd name="connsiteY24832" fmla="*/ 3487358 h 5973007"/>
              <a:gd name="connsiteX24833" fmla="*/ 542405 w 6884782"/>
              <a:gd name="connsiteY24833" fmla="*/ 3484260 h 5973007"/>
              <a:gd name="connsiteX24834" fmla="*/ 540856 w 6884782"/>
              <a:gd name="connsiteY24834" fmla="*/ 3472178 h 5973007"/>
              <a:gd name="connsiteX24835" fmla="*/ 540134 w 6884782"/>
              <a:gd name="connsiteY24835" fmla="*/ 3461645 h 5973007"/>
              <a:gd name="connsiteX24836" fmla="*/ 539721 w 6884782"/>
              <a:gd name="connsiteY24836" fmla="*/ 3461645 h 5973007"/>
              <a:gd name="connsiteX24837" fmla="*/ 534558 w 6884782"/>
              <a:gd name="connsiteY24837" fmla="*/ 3459941 h 5973007"/>
              <a:gd name="connsiteX24838" fmla="*/ 536829 w 6884782"/>
              <a:gd name="connsiteY24838" fmla="*/ 3458857 h 5973007"/>
              <a:gd name="connsiteX24839" fmla="*/ 539927 w 6884782"/>
              <a:gd name="connsiteY24839" fmla="*/ 3459166 h 5973007"/>
              <a:gd name="connsiteX24840" fmla="*/ 539927 w 6884782"/>
              <a:gd name="connsiteY24840" fmla="*/ 3453590 h 5973007"/>
              <a:gd name="connsiteX24841" fmla="*/ 531563 w 6884782"/>
              <a:gd name="connsiteY24841" fmla="*/ 3460560 h 5973007"/>
              <a:gd name="connsiteX24842" fmla="*/ 534454 w 6884782"/>
              <a:gd name="connsiteY24842" fmla="*/ 3428497 h 5973007"/>
              <a:gd name="connsiteX24843" fmla="*/ 329800 w 6884782"/>
              <a:gd name="connsiteY24843" fmla="*/ 3427413 h 5973007"/>
              <a:gd name="connsiteX24844" fmla="*/ 332485 w 6884782"/>
              <a:gd name="connsiteY24844" fmla="*/ 3427413 h 5973007"/>
              <a:gd name="connsiteX24845" fmla="*/ 332382 w 6884782"/>
              <a:gd name="connsiteY24845" fmla="*/ 3432214 h 5973007"/>
              <a:gd name="connsiteX24846" fmla="*/ 328561 w 6884782"/>
              <a:gd name="connsiteY24846" fmla="*/ 3430665 h 5973007"/>
              <a:gd name="connsiteX24847" fmla="*/ 329800 w 6884782"/>
              <a:gd name="connsiteY24847" fmla="*/ 3427413 h 5973007"/>
              <a:gd name="connsiteX24848" fmla="*/ 378951 w 6884782"/>
              <a:gd name="connsiteY24848" fmla="*/ 3426018 h 5973007"/>
              <a:gd name="connsiteX24849" fmla="*/ 376886 w 6884782"/>
              <a:gd name="connsiteY24849" fmla="*/ 3431285 h 5973007"/>
              <a:gd name="connsiteX24850" fmla="*/ 370690 w 6884782"/>
              <a:gd name="connsiteY24850" fmla="*/ 3432059 h 5973007"/>
              <a:gd name="connsiteX24851" fmla="*/ 371206 w 6884782"/>
              <a:gd name="connsiteY24851" fmla="*/ 3435467 h 5973007"/>
              <a:gd name="connsiteX24852" fmla="*/ 363462 w 6884782"/>
              <a:gd name="connsiteY24852" fmla="*/ 3438720 h 5973007"/>
              <a:gd name="connsiteX24853" fmla="*/ 359332 w 6884782"/>
              <a:gd name="connsiteY24853" fmla="*/ 3433918 h 5973007"/>
              <a:gd name="connsiteX24854" fmla="*/ 366353 w 6884782"/>
              <a:gd name="connsiteY24854" fmla="*/ 3427413 h 5973007"/>
              <a:gd name="connsiteX24855" fmla="*/ 370174 w 6884782"/>
              <a:gd name="connsiteY24855" fmla="*/ 3429891 h 5973007"/>
              <a:gd name="connsiteX24856" fmla="*/ 370380 w 6884782"/>
              <a:gd name="connsiteY24856" fmla="*/ 3428807 h 5973007"/>
              <a:gd name="connsiteX24857" fmla="*/ 372446 w 6884782"/>
              <a:gd name="connsiteY24857" fmla="*/ 3427258 h 5973007"/>
              <a:gd name="connsiteX24858" fmla="*/ 378951 w 6884782"/>
              <a:gd name="connsiteY24858" fmla="*/ 3426018 h 5973007"/>
              <a:gd name="connsiteX24859" fmla="*/ 66291 w 6884782"/>
              <a:gd name="connsiteY24859" fmla="*/ 3424160 h 5973007"/>
              <a:gd name="connsiteX24860" fmla="*/ 65361 w 6884782"/>
              <a:gd name="connsiteY24860" fmla="*/ 3444296 h 5973007"/>
              <a:gd name="connsiteX24861" fmla="*/ 51319 w 6884782"/>
              <a:gd name="connsiteY24861" fmla="*/ 3432679 h 5973007"/>
              <a:gd name="connsiteX24862" fmla="*/ 58856 w 6884782"/>
              <a:gd name="connsiteY24862" fmla="*/ 3425864 h 5973007"/>
              <a:gd name="connsiteX24863" fmla="*/ 66291 w 6884782"/>
              <a:gd name="connsiteY24863" fmla="*/ 3424160 h 5973007"/>
              <a:gd name="connsiteX24864" fmla="*/ 408275 w 6884782"/>
              <a:gd name="connsiteY24864" fmla="*/ 3423695 h 5973007"/>
              <a:gd name="connsiteX24865" fmla="*/ 404764 w 6884782"/>
              <a:gd name="connsiteY24865" fmla="*/ 3427877 h 5973007"/>
              <a:gd name="connsiteX24866" fmla="*/ 408275 w 6884782"/>
              <a:gd name="connsiteY24866" fmla="*/ 3423695 h 5973007"/>
              <a:gd name="connsiteX24867" fmla="*/ 358196 w 6884782"/>
              <a:gd name="connsiteY24867" fmla="*/ 3416260 h 5973007"/>
              <a:gd name="connsiteX24868" fmla="*/ 357989 w 6884782"/>
              <a:gd name="connsiteY24868" fmla="*/ 3421526 h 5973007"/>
              <a:gd name="connsiteX24869" fmla="*/ 357473 w 6884782"/>
              <a:gd name="connsiteY24869" fmla="*/ 3417964 h 5973007"/>
              <a:gd name="connsiteX24870" fmla="*/ 358196 w 6884782"/>
              <a:gd name="connsiteY24870" fmla="*/ 3416260 h 5973007"/>
              <a:gd name="connsiteX24871" fmla="*/ 208888 w 6884782"/>
              <a:gd name="connsiteY24871" fmla="*/ 3413007 h 5973007"/>
              <a:gd name="connsiteX24872" fmla="*/ 217045 w 6884782"/>
              <a:gd name="connsiteY24872" fmla="*/ 3416260 h 5973007"/>
              <a:gd name="connsiteX24873" fmla="*/ 210540 w 6884782"/>
              <a:gd name="connsiteY24873" fmla="*/ 3427877 h 5973007"/>
              <a:gd name="connsiteX24874" fmla="*/ 204241 w 6884782"/>
              <a:gd name="connsiteY24874" fmla="*/ 3424314 h 5973007"/>
              <a:gd name="connsiteX24875" fmla="*/ 204448 w 6884782"/>
              <a:gd name="connsiteY24875" fmla="*/ 3422146 h 5973007"/>
              <a:gd name="connsiteX24876" fmla="*/ 208888 w 6884782"/>
              <a:gd name="connsiteY24876" fmla="*/ 3413007 h 5973007"/>
              <a:gd name="connsiteX24877" fmla="*/ 284781 w 6884782"/>
              <a:gd name="connsiteY24877" fmla="*/ 3409290 h 5973007"/>
              <a:gd name="connsiteX24878" fmla="*/ 273939 w 6884782"/>
              <a:gd name="connsiteY24878" fmla="*/ 3420597 h 5973007"/>
              <a:gd name="connsiteX24879" fmla="*/ 268880 w 6884782"/>
              <a:gd name="connsiteY24879" fmla="*/ 3418429 h 5973007"/>
              <a:gd name="connsiteX24880" fmla="*/ 284781 w 6884782"/>
              <a:gd name="connsiteY24880" fmla="*/ 3409290 h 5973007"/>
              <a:gd name="connsiteX24881" fmla="*/ 399808 w 6884782"/>
              <a:gd name="connsiteY24881" fmla="*/ 3408980 h 5973007"/>
              <a:gd name="connsiteX24882" fmla="*/ 400324 w 6884782"/>
              <a:gd name="connsiteY24882" fmla="*/ 3417654 h 5973007"/>
              <a:gd name="connsiteX24883" fmla="*/ 396607 w 6884782"/>
              <a:gd name="connsiteY24883" fmla="*/ 3417190 h 5973007"/>
              <a:gd name="connsiteX24884" fmla="*/ 395162 w 6884782"/>
              <a:gd name="connsiteY24884" fmla="*/ 3412852 h 5973007"/>
              <a:gd name="connsiteX24885" fmla="*/ 396711 w 6884782"/>
              <a:gd name="connsiteY24885" fmla="*/ 3409600 h 5973007"/>
              <a:gd name="connsiteX24886" fmla="*/ 399808 w 6884782"/>
              <a:gd name="connsiteY24886" fmla="*/ 3408980 h 5973007"/>
              <a:gd name="connsiteX24887" fmla="*/ 314828 w 6884782"/>
              <a:gd name="connsiteY24887" fmla="*/ 3407276 h 5973007"/>
              <a:gd name="connsiteX24888" fmla="*/ 313692 w 6884782"/>
              <a:gd name="connsiteY24888" fmla="*/ 3420287 h 5973007"/>
              <a:gd name="connsiteX24889" fmla="*/ 304296 w 6884782"/>
              <a:gd name="connsiteY24889" fmla="*/ 3414247 h 5973007"/>
              <a:gd name="connsiteX24890" fmla="*/ 314828 w 6884782"/>
              <a:gd name="connsiteY24890" fmla="*/ 3407276 h 5973007"/>
              <a:gd name="connsiteX24891" fmla="*/ 209107 w 6884782"/>
              <a:gd name="connsiteY24891" fmla="*/ 3399783 h 5973007"/>
              <a:gd name="connsiteX24892" fmla="*/ 220968 w 6884782"/>
              <a:gd name="connsiteY24892" fmla="*/ 3407431 h 5973007"/>
              <a:gd name="connsiteX24893" fmla="*/ 193606 w 6884782"/>
              <a:gd name="connsiteY24893" fmla="*/ 3404333 h 5973007"/>
              <a:gd name="connsiteX24894" fmla="*/ 209107 w 6884782"/>
              <a:gd name="connsiteY24894" fmla="*/ 3399783 h 5973007"/>
              <a:gd name="connsiteX24895" fmla="*/ 241413 w 6884782"/>
              <a:gd name="connsiteY24895" fmla="*/ 3393955 h 5973007"/>
              <a:gd name="connsiteX24896" fmla="*/ 235837 w 6884782"/>
              <a:gd name="connsiteY24896" fmla="*/ 3402474 h 5973007"/>
              <a:gd name="connsiteX24897" fmla="*/ 233050 w 6884782"/>
              <a:gd name="connsiteY24897" fmla="*/ 3398757 h 5973007"/>
              <a:gd name="connsiteX24898" fmla="*/ 241413 w 6884782"/>
              <a:gd name="connsiteY24898" fmla="*/ 3393955 h 5973007"/>
              <a:gd name="connsiteX24899" fmla="*/ 156124 w 6884782"/>
              <a:gd name="connsiteY24899" fmla="*/ 3390082 h 5973007"/>
              <a:gd name="connsiteX24900" fmla="*/ 167069 w 6884782"/>
              <a:gd name="connsiteY24900" fmla="*/ 3393180 h 5973007"/>
              <a:gd name="connsiteX24901" fmla="*/ 157259 w 6884782"/>
              <a:gd name="connsiteY24901" fmla="*/ 3396123 h 5973007"/>
              <a:gd name="connsiteX24902" fmla="*/ 156124 w 6884782"/>
              <a:gd name="connsiteY24902" fmla="*/ 3390082 h 5973007"/>
              <a:gd name="connsiteX24903" fmla="*/ 175329 w 6884782"/>
              <a:gd name="connsiteY24903" fmla="*/ 3389308 h 5973007"/>
              <a:gd name="connsiteX24904" fmla="*/ 177807 w 6884782"/>
              <a:gd name="connsiteY24904" fmla="*/ 3389618 h 5973007"/>
              <a:gd name="connsiteX24905" fmla="*/ 178324 w 6884782"/>
              <a:gd name="connsiteY24905" fmla="*/ 3402165 h 5973007"/>
              <a:gd name="connsiteX24906" fmla="*/ 174710 w 6884782"/>
              <a:gd name="connsiteY24906" fmla="*/ 3403404 h 5973007"/>
              <a:gd name="connsiteX24907" fmla="*/ 172748 w 6884782"/>
              <a:gd name="connsiteY24907" fmla="*/ 3395659 h 5973007"/>
              <a:gd name="connsiteX24908" fmla="*/ 175329 w 6884782"/>
              <a:gd name="connsiteY24908" fmla="*/ 3389308 h 5973007"/>
              <a:gd name="connsiteX24909" fmla="*/ 6884782 w 6884782"/>
              <a:gd name="connsiteY24909" fmla="*/ 3389141 h 5973007"/>
              <a:gd name="connsiteX24910" fmla="*/ 6884782 w 6884782"/>
              <a:gd name="connsiteY24910" fmla="*/ 3401532 h 5973007"/>
              <a:gd name="connsiteX24911" fmla="*/ 6884627 w 6884782"/>
              <a:gd name="connsiteY24911" fmla="*/ 3401532 h 5973007"/>
              <a:gd name="connsiteX24912" fmla="*/ 6880135 w 6884782"/>
              <a:gd name="connsiteY24912" fmla="*/ 3391723 h 5973007"/>
              <a:gd name="connsiteX24913" fmla="*/ 6884627 w 6884782"/>
              <a:gd name="connsiteY24913" fmla="*/ 3389244 h 5973007"/>
              <a:gd name="connsiteX24914" fmla="*/ 274455 w 6884782"/>
              <a:gd name="connsiteY24914" fmla="*/ 3388534 h 5973007"/>
              <a:gd name="connsiteX24915" fmla="*/ 278172 w 6884782"/>
              <a:gd name="connsiteY24915" fmla="*/ 3395194 h 5973007"/>
              <a:gd name="connsiteX24916" fmla="*/ 271048 w 6884782"/>
              <a:gd name="connsiteY24916" fmla="*/ 3389773 h 5973007"/>
              <a:gd name="connsiteX24917" fmla="*/ 274455 w 6884782"/>
              <a:gd name="connsiteY24917" fmla="*/ 3388534 h 5973007"/>
              <a:gd name="connsiteX24918" fmla="*/ 345805 w 6884782"/>
              <a:gd name="connsiteY24918" fmla="*/ 3387759 h 5973007"/>
              <a:gd name="connsiteX24919" fmla="*/ 352001 w 6884782"/>
              <a:gd name="connsiteY24919" fmla="*/ 3390082 h 5973007"/>
              <a:gd name="connsiteX24920" fmla="*/ 345495 w 6884782"/>
              <a:gd name="connsiteY24920" fmla="*/ 3393955 h 5973007"/>
              <a:gd name="connsiteX24921" fmla="*/ 344050 w 6884782"/>
              <a:gd name="connsiteY24921" fmla="*/ 3390547 h 5973007"/>
              <a:gd name="connsiteX24922" fmla="*/ 345805 w 6884782"/>
              <a:gd name="connsiteY24922" fmla="*/ 3387759 h 5973007"/>
              <a:gd name="connsiteX24923" fmla="*/ 6819726 w 6884782"/>
              <a:gd name="connsiteY24923" fmla="*/ 3385630 h 5973007"/>
              <a:gd name="connsiteX24924" fmla="*/ 6824992 w 6884782"/>
              <a:gd name="connsiteY24924" fmla="*/ 3390793 h 5973007"/>
              <a:gd name="connsiteX24925" fmla="*/ 6820655 w 6884782"/>
              <a:gd name="connsiteY24925" fmla="*/ 3394097 h 5973007"/>
              <a:gd name="connsiteX24926" fmla="*/ 6818022 w 6884782"/>
              <a:gd name="connsiteY24926" fmla="*/ 3389348 h 5973007"/>
              <a:gd name="connsiteX24927" fmla="*/ 6819726 w 6884782"/>
              <a:gd name="connsiteY24927" fmla="*/ 3385630 h 5973007"/>
              <a:gd name="connsiteX24928" fmla="*/ 567084 w 6884782"/>
              <a:gd name="connsiteY24928" fmla="*/ 3385281 h 5973007"/>
              <a:gd name="connsiteX24929" fmla="*/ 555106 w 6884782"/>
              <a:gd name="connsiteY24929" fmla="*/ 3386520 h 5973007"/>
              <a:gd name="connsiteX24930" fmla="*/ 554073 w 6884782"/>
              <a:gd name="connsiteY24930" fmla="*/ 3392561 h 5973007"/>
              <a:gd name="connsiteX24931" fmla="*/ 553763 w 6884782"/>
              <a:gd name="connsiteY24931" fmla="*/ 3403249 h 5973007"/>
              <a:gd name="connsiteX24932" fmla="*/ 554176 w 6884782"/>
              <a:gd name="connsiteY24932" fmla="*/ 3405727 h 5973007"/>
              <a:gd name="connsiteX24933" fmla="*/ 559339 w 6884782"/>
              <a:gd name="connsiteY24933" fmla="*/ 3405572 h 5973007"/>
              <a:gd name="connsiteX24934" fmla="*/ 557791 w 6884782"/>
              <a:gd name="connsiteY24934" fmla="*/ 3413782 h 5973007"/>
              <a:gd name="connsiteX24935" fmla="*/ 570181 w 6884782"/>
              <a:gd name="connsiteY24935" fmla="*/ 3411923 h 5973007"/>
              <a:gd name="connsiteX24936" fmla="*/ 574931 w 6884782"/>
              <a:gd name="connsiteY24936" fmla="*/ 3412697 h 5973007"/>
              <a:gd name="connsiteX24937" fmla="*/ 574931 w 6884782"/>
              <a:gd name="connsiteY24937" fmla="*/ 3400615 h 5973007"/>
              <a:gd name="connsiteX24938" fmla="*/ 575137 w 6884782"/>
              <a:gd name="connsiteY24938" fmla="*/ 3385435 h 5973007"/>
              <a:gd name="connsiteX24939" fmla="*/ 6661576 w 6884782"/>
              <a:gd name="connsiteY24939" fmla="*/ 3383256 h 5973007"/>
              <a:gd name="connsiteX24940" fmla="*/ 6666688 w 6884782"/>
              <a:gd name="connsiteY24940" fmla="*/ 3390793 h 5973007"/>
              <a:gd name="connsiteX24941" fmla="*/ 6666688 w 6884782"/>
              <a:gd name="connsiteY24941" fmla="*/ 3391516 h 5973007"/>
              <a:gd name="connsiteX24942" fmla="*/ 6668702 w 6884782"/>
              <a:gd name="connsiteY24942" fmla="*/ 3392445 h 5973007"/>
              <a:gd name="connsiteX24943" fmla="*/ 6671490 w 6884782"/>
              <a:gd name="connsiteY24943" fmla="*/ 3388831 h 5973007"/>
              <a:gd name="connsiteX24944" fmla="*/ 6682178 w 6884782"/>
              <a:gd name="connsiteY24944" fmla="*/ 3395130 h 5973007"/>
              <a:gd name="connsiteX24945" fmla="*/ 6681093 w 6884782"/>
              <a:gd name="connsiteY24945" fmla="*/ 3391206 h 5973007"/>
              <a:gd name="connsiteX24946" fmla="*/ 6680783 w 6884782"/>
              <a:gd name="connsiteY24946" fmla="*/ 3391723 h 5973007"/>
              <a:gd name="connsiteX24947" fmla="*/ 6675362 w 6884782"/>
              <a:gd name="connsiteY24947" fmla="*/ 3387386 h 5973007"/>
              <a:gd name="connsiteX24948" fmla="*/ 6671335 w 6884782"/>
              <a:gd name="connsiteY24948" fmla="*/ 3386250 h 5973007"/>
              <a:gd name="connsiteX24949" fmla="*/ 6666223 w 6884782"/>
              <a:gd name="connsiteY24949" fmla="*/ 3384907 h 5973007"/>
              <a:gd name="connsiteX24950" fmla="*/ 6661576 w 6884782"/>
              <a:gd name="connsiteY24950" fmla="*/ 3383256 h 5973007"/>
              <a:gd name="connsiteX24951" fmla="*/ 264840 w 6884782"/>
              <a:gd name="connsiteY24951" fmla="*/ 3382473 h 5973007"/>
              <a:gd name="connsiteX24952" fmla="*/ 270325 w 6884782"/>
              <a:gd name="connsiteY24952" fmla="*/ 3386520 h 5973007"/>
              <a:gd name="connsiteX24953" fmla="*/ 262684 w 6884782"/>
              <a:gd name="connsiteY24953" fmla="*/ 3388069 h 5973007"/>
              <a:gd name="connsiteX24954" fmla="*/ 264840 w 6884782"/>
              <a:gd name="connsiteY24954" fmla="*/ 3382473 h 5973007"/>
              <a:gd name="connsiteX24955" fmla="*/ 332485 w 6884782"/>
              <a:gd name="connsiteY24955" fmla="*/ 3382183 h 5973007"/>
              <a:gd name="connsiteX24956" fmla="*/ 339713 w 6884782"/>
              <a:gd name="connsiteY24956" fmla="*/ 3385281 h 5973007"/>
              <a:gd name="connsiteX24957" fmla="*/ 330523 w 6884782"/>
              <a:gd name="connsiteY24957" fmla="*/ 3383577 h 5973007"/>
              <a:gd name="connsiteX24958" fmla="*/ 332485 w 6884782"/>
              <a:gd name="connsiteY24958" fmla="*/ 3382183 h 5973007"/>
              <a:gd name="connsiteX24959" fmla="*/ 243375 w 6884782"/>
              <a:gd name="connsiteY24959" fmla="*/ 3380634 h 5973007"/>
              <a:gd name="connsiteX24960" fmla="*/ 244821 w 6884782"/>
              <a:gd name="connsiteY24960" fmla="*/ 3384506 h 5973007"/>
              <a:gd name="connsiteX24961" fmla="*/ 243065 w 6884782"/>
              <a:gd name="connsiteY24961" fmla="*/ 3386520 h 5973007"/>
              <a:gd name="connsiteX24962" fmla="*/ 241000 w 6884782"/>
              <a:gd name="connsiteY24962" fmla="*/ 3384971 h 5973007"/>
              <a:gd name="connsiteX24963" fmla="*/ 240381 w 6884782"/>
              <a:gd name="connsiteY24963" fmla="*/ 3382493 h 5973007"/>
              <a:gd name="connsiteX24964" fmla="*/ 241413 w 6884782"/>
              <a:gd name="connsiteY24964" fmla="*/ 3381563 h 5973007"/>
              <a:gd name="connsiteX24965" fmla="*/ 243375 w 6884782"/>
              <a:gd name="connsiteY24965" fmla="*/ 3380634 h 5973007"/>
              <a:gd name="connsiteX24966" fmla="*/ 278379 w 6884782"/>
              <a:gd name="connsiteY24966" fmla="*/ 3377226 h 5973007"/>
              <a:gd name="connsiteX24967" fmla="*/ 290873 w 6884782"/>
              <a:gd name="connsiteY24967" fmla="*/ 3387449 h 5973007"/>
              <a:gd name="connsiteX24968" fmla="*/ 278379 w 6884782"/>
              <a:gd name="connsiteY24968" fmla="*/ 3377226 h 5973007"/>
              <a:gd name="connsiteX24969" fmla="*/ 324431 w 6884782"/>
              <a:gd name="connsiteY24969" fmla="*/ 3372424 h 5973007"/>
              <a:gd name="connsiteX24970" fmla="*/ 327735 w 6884782"/>
              <a:gd name="connsiteY24970" fmla="*/ 3389773 h 5973007"/>
              <a:gd name="connsiteX24971" fmla="*/ 315345 w 6884782"/>
              <a:gd name="connsiteY24971" fmla="*/ 3390082 h 5973007"/>
              <a:gd name="connsiteX24972" fmla="*/ 311215 w 6884782"/>
              <a:gd name="connsiteY24972" fmla="*/ 3387604 h 5973007"/>
              <a:gd name="connsiteX24973" fmla="*/ 312557 w 6884782"/>
              <a:gd name="connsiteY24973" fmla="*/ 3389928 h 5973007"/>
              <a:gd name="connsiteX24974" fmla="*/ 309253 w 6884782"/>
              <a:gd name="connsiteY24974" fmla="*/ 3398912 h 5973007"/>
              <a:gd name="connsiteX24975" fmla="*/ 305432 w 6884782"/>
              <a:gd name="connsiteY24975" fmla="*/ 3393645 h 5973007"/>
              <a:gd name="connsiteX24976" fmla="*/ 307084 w 6884782"/>
              <a:gd name="connsiteY24976" fmla="*/ 3387759 h 5973007"/>
              <a:gd name="connsiteX24977" fmla="*/ 310492 w 6884782"/>
              <a:gd name="connsiteY24977" fmla="*/ 3387140 h 5973007"/>
              <a:gd name="connsiteX24978" fmla="*/ 310182 w 6884782"/>
              <a:gd name="connsiteY24978" fmla="*/ 3386985 h 5973007"/>
              <a:gd name="connsiteX24979" fmla="*/ 305845 w 6884782"/>
              <a:gd name="connsiteY24979" fmla="*/ 3381254 h 5973007"/>
              <a:gd name="connsiteX24980" fmla="*/ 324431 w 6884782"/>
              <a:gd name="connsiteY24980" fmla="*/ 3372424 h 5973007"/>
              <a:gd name="connsiteX24981" fmla="*/ 291802 w 6884782"/>
              <a:gd name="connsiteY24981" fmla="*/ 3370721 h 5973007"/>
              <a:gd name="connsiteX24982" fmla="*/ 294694 w 6884782"/>
              <a:gd name="connsiteY24982" fmla="*/ 3373509 h 5973007"/>
              <a:gd name="connsiteX24983" fmla="*/ 287982 w 6884782"/>
              <a:gd name="connsiteY24983" fmla="*/ 3378001 h 5973007"/>
              <a:gd name="connsiteX24984" fmla="*/ 285917 w 6884782"/>
              <a:gd name="connsiteY24984" fmla="*/ 3376452 h 5973007"/>
              <a:gd name="connsiteX24985" fmla="*/ 288911 w 6884782"/>
              <a:gd name="connsiteY24985" fmla="*/ 3370875 h 5973007"/>
              <a:gd name="connsiteX24986" fmla="*/ 291802 w 6884782"/>
              <a:gd name="connsiteY24986" fmla="*/ 3370721 h 5973007"/>
              <a:gd name="connsiteX24987" fmla="*/ 338784 w 6884782"/>
              <a:gd name="connsiteY24987" fmla="*/ 3361427 h 5973007"/>
              <a:gd name="connsiteX24988" fmla="*/ 343327 w 6884782"/>
              <a:gd name="connsiteY24988" fmla="*/ 3362511 h 5973007"/>
              <a:gd name="connsiteX24989" fmla="*/ 344256 w 6884782"/>
              <a:gd name="connsiteY24989" fmla="*/ 3363286 h 5973007"/>
              <a:gd name="connsiteX24990" fmla="*/ 347355 w 6884782"/>
              <a:gd name="connsiteY24990" fmla="*/ 3367778 h 5973007"/>
              <a:gd name="connsiteX24991" fmla="*/ 349522 w 6884782"/>
              <a:gd name="connsiteY24991" fmla="*/ 3368087 h 5973007"/>
              <a:gd name="connsiteX24992" fmla="*/ 342501 w 6884782"/>
              <a:gd name="connsiteY24992" fmla="*/ 3377536 h 5973007"/>
              <a:gd name="connsiteX24993" fmla="*/ 338164 w 6884782"/>
              <a:gd name="connsiteY24993" fmla="*/ 3376142 h 5973007"/>
              <a:gd name="connsiteX24994" fmla="*/ 338061 w 6884782"/>
              <a:gd name="connsiteY24994" fmla="*/ 3371805 h 5973007"/>
              <a:gd name="connsiteX24995" fmla="*/ 339403 w 6884782"/>
              <a:gd name="connsiteY24995" fmla="*/ 3370411 h 5973007"/>
              <a:gd name="connsiteX24996" fmla="*/ 338061 w 6884782"/>
              <a:gd name="connsiteY24996" fmla="*/ 3368552 h 5973007"/>
              <a:gd name="connsiteX24997" fmla="*/ 335480 w 6884782"/>
              <a:gd name="connsiteY24997" fmla="*/ 3364215 h 5973007"/>
              <a:gd name="connsiteX24998" fmla="*/ 338784 w 6884782"/>
              <a:gd name="connsiteY24998" fmla="*/ 3361427 h 5973007"/>
              <a:gd name="connsiteX24999" fmla="*/ 254630 w 6884782"/>
              <a:gd name="connsiteY24999" fmla="*/ 3355850 h 5973007"/>
              <a:gd name="connsiteX25000" fmla="*/ 262684 w 6884782"/>
              <a:gd name="connsiteY25000" fmla="*/ 3357554 h 5973007"/>
              <a:gd name="connsiteX25001" fmla="*/ 265266 w 6884782"/>
              <a:gd name="connsiteY25001" fmla="*/ 3362046 h 5973007"/>
              <a:gd name="connsiteX25002" fmla="*/ 263303 w 6884782"/>
              <a:gd name="connsiteY25002" fmla="*/ 3369326 h 5973007"/>
              <a:gd name="connsiteX25003" fmla="*/ 258967 w 6884782"/>
              <a:gd name="connsiteY25003" fmla="*/ 3368087 h 5973007"/>
              <a:gd name="connsiteX25004" fmla="*/ 254630 w 6884782"/>
              <a:gd name="connsiteY25004" fmla="*/ 3355850 h 5973007"/>
              <a:gd name="connsiteX25005" fmla="*/ 388657 w 6884782"/>
              <a:gd name="connsiteY25005" fmla="*/ 3355076 h 5973007"/>
              <a:gd name="connsiteX25006" fmla="*/ 393716 w 6884782"/>
              <a:gd name="connsiteY25006" fmla="*/ 3358019 h 5973007"/>
              <a:gd name="connsiteX25007" fmla="*/ 394439 w 6884782"/>
              <a:gd name="connsiteY25007" fmla="*/ 3365764 h 5973007"/>
              <a:gd name="connsiteX25008" fmla="*/ 393096 w 6884782"/>
              <a:gd name="connsiteY25008" fmla="*/ 3366538 h 5973007"/>
              <a:gd name="connsiteX25009" fmla="*/ 396711 w 6884782"/>
              <a:gd name="connsiteY25009" fmla="*/ 3367313 h 5973007"/>
              <a:gd name="connsiteX25010" fmla="*/ 404042 w 6884782"/>
              <a:gd name="connsiteY25010" fmla="*/ 3378465 h 5973007"/>
              <a:gd name="connsiteX25011" fmla="*/ 395059 w 6884782"/>
              <a:gd name="connsiteY25011" fmla="*/ 3379704 h 5973007"/>
              <a:gd name="connsiteX25012" fmla="*/ 391032 w 6884782"/>
              <a:gd name="connsiteY25012" fmla="*/ 3378775 h 5973007"/>
              <a:gd name="connsiteX25013" fmla="*/ 391032 w 6884782"/>
              <a:gd name="connsiteY25013" fmla="*/ 3379085 h 5973007"/>
              <a:gd name="connsiteX25014" fmla="*/ 389896 w 6884782"/>
              <a:gd name="connsiteY25014" fmla="*/ 3382338 h 5973007"/>
              <a:gd name="connsiteX25015" fmla="*/ 385869 w 6884782"/>
              <a:gd name="connsiteY25015" fmla="*/ 3385281 h 5973007"/>
              <a:gd name="connsiteX25016" fmla="*/ 386385 w 6884782"/>
              <a:gd name="connsiteY25016" fmla="*/ 3399531 h 5973007"/>
              <a:gd name="connsiteX25017" fmla="*/ 386901 w 6884782"/>
              <a:gd name="connsiteY25017" fmla="*/ 3419358 h 5973007"/>
              <a:gd name="connsiteX25018" fmla="*/ 382978 w 6884782"/>
              <a:gd name="connsiteY25018" fmla="*/ 3413627 h 5973007"/>
              <a:gd name="connsiteX25019" fmla="*/ 382461 w 6884782"/>
              <a:gd name="connsiteY25019" fmla="*/ 3414247 h 5973007"/>
              <a:gd name="connsiteX25020" fmla="*/ 381635 w 6884782"/>
              <a:gd name="connsiteY25020" fmla="*/ 3423076 h 5973007"/>
              <a:gd name="connsiteX25021" fmla="*/ 373271 w 6884782"/>
              <a:gd name="connsiteY25021" fmla="*/ 3423540 h 5973007"/>
              <a:gd name="connsiteX25022" fmla="*/ 370380 w 6884782"/>
              <a:gd name="connsiteY25022" fmla="*/ 3421991 h 5973007"/>
              <a:gd name="connsiteX25023" fmla="*/ 379570 w 6884782"/>
              <a:gd name="connsiteY25023" fmla="*/ 3406966 h 5973007"/>
              <a:gd name="connsiteX25024" fmla="*/ 379983 w 6884782"/>
              <a:gd name="connsiteY25024" fmla="*/ 3407121 h 5973007"/>
              <a:gd name="connsiteX25025" fmla="*/ 378022 w 6884782"/>
              <a:gd name="connsiteY25025" fmla="*/ 3399686 h 5973007"/>
              <a:gd name="connsiteX25026" fmla="*/ 377505 w 6884782"/>
              <a:gd name="connsiteY25026" fmla="*/ 3394575 h 5973007"/>
              <a:gd name="connsiteX25027" fmla="*/ 377092 w 6884782"/>
              <a:gd name="connsiteY25027" fmla="*/ 3395039 h 5973007"/>
              <a:gd name="connsiteX25028" fmla="*/ 361604 w 6884782"/>
              <a:gd name="connsiteY25028" fmla="*/ 3390547 h 5973007"/>
              <a:gd name="connsiteX25029" fmla="*/ 362326 w 6884782"/>
              <a:gd name="connsiteY25029" fmla="*/ 3387914 h 5973007"/>
              <a:gd name="connsiteX25030" fmla="*/ 367386 w 6884782"/>
              <a:gd name="connsiteY25030" fmla="*/ 3385126 h 5973007"/>
              <a:gd name="connsiteX25031" fmla="*/ 371000 w 6884782"/>
              <a:gd name="connsiteY25031" fmla="*/ 3385435 h 5973007"/>
              <a:gd name="connsiteX25032" fmla="*/ 371413 w 6884782"/>
              <a:gd name="connsiteY25032" fmla="*/ 3380944 h 5973007"/>
              <a:gd name="connsiteX25033" fmla="*/ 376059 w 6884782"/>
              <a:gd name="connsiteY25033" fmla="*/ 3381563 h 5973007"/>
              <a:gd name="connsiteX25034" fmla="*/ 376266 w 6884782"/>
              <a:gd name="connsiteY25034" fmla="*/ 3381718 h 5973007"/>
              <a:gd name="connsiteX25035" fmla="*/ 375853 w 6884782"/>
              <a:gd name="connsiteY25035" fmla="*/ 3376761 h 5973007"/>
              <a:gd name="connsiteX25036" fmla="*/ 380190 w 6884782"/>
              <a:gd name="connsiteY25036" fmla="*/ 3376761 h 5973007"/>
              <a:gd name="connsiteX25037" fmla="*/ 382564 w 6884782"/>
              <a:gd name="connsiteY25037" fmla="*/ 3377071 h 5973007"/>
              <a:gd name="connsiteX25038" fmla="*/ 382668 w 6884782"/>
              <a:gd name="connsiteY25038" fmla="*/ 3376142 h 5973007"/>
              <a:gd name="connsiteX25039" fmla="*/ 387521 w 6884782"/>
              <a:gd name="connsiteY25039" fmla="*/ 3374748 h 5973007"/>
              <a:gd name="connsiteX25040" fmla="*/ 388760 w 6884782"/>
              <a:gd name="connsiteY25040" fmla="*/ 3375368 h 5973007"/>
              <a:gd name="connsiteX25041" fmla="*/ 388554 w 6884782"/>
              <a:gd name="connsiteY25041" fmla="*/ 3371185 h 5973007"/>
              <a:gd name="connsiteX25042" fmla="*/ 390102 w 6884782"/>
              <a:gd name="connsiteY25042" fmla="*/ 3367313 h 5973007"/>
              <a:gd name="connsiteX25043" fmla="*/ 391961 w 6884782"/>
              <a:gd name="connsiteY25043" fmla="*/ 3366383 h 5973007"/>
              <a:gd name="connsiteX25044" fmla="*/ 390102 w 6884782"/>
              <a:gd name="connsiteY25044" fmla="*/ 3365299 h 5973007"/>
              <a:gd name="connsiteX25045" fmla="*/ 388140 w 6884782"/>
              <a:gd name="connsiteY25045" fmla="*/ 3360343 h 5973007"/>
              <a:gd name="connsiteX25046" fmla="*/ 388657 w 6884782"/>
              <a:gd name="connsiteY25046" fmla="*/ 3355076 h 5973007"/>
              <a:gd name="connsiteX25047" fmla="*/ 129896 w 6884782"/>
              <a:gd name="connsiteY25047" fmla="*/ 3353682 h 5973007"/>
              <a:gd name="connsiteX25048" fmla="*/ 133304 w 6884782"/>
              <a:gd name="connsiteY25048" fmla="*/ 3355541 h 5973007"/>
              <a:gd name="connsiteX25049" fmla="*/ 134130 w 6884782"/>
              <a:gd name="connsiteY25049" fmla="*/ 3358019 h 5973007"/>
              <a:gd name="connsiteX25050" fmla="*/ 131446 w 6884782"/>
              <a:gd name="connsiteY25050" fmla="*/ 3358639 h 5973007"/>
              <a:gd name="connsiteX25051" fmla="*/ 128864 w 6884782"/>
              <a:gd name="connsiteY25051" fmla="*/ 3357554 h 5973007"/>
              <a:gd name="connsiteX25052" fmla="*/ 128554 w 6884782"/>
              <a:gd name="connsiteY25052" fmla="*/ 3356160 h 5973007"/>
              <a:gd name="connsiteX25053" fmla="*/ 128967 w 6884782"/>
              <a:gd name="connsiteY25053" fmla="*/ 3354146 h 5973007"/>
              <a:gd name="connsiteX25054" fmla="*/ 129896 w 6884782"/>
              <a:gd name="connsiteY25054" fmla="*/ 3353682 h 5973007"/>
              <a:gd name="connsiteX25055" fmla="*/ 6794942 w 6884782"/>
              <a:gd name="connsiteY25055" fmla="*/ 3353001 h 5973007"/>
              <a:gd name="connsiteX25056" fmla="*/ 6810122 w 6884782"/>
              <a:gd name="connsiteY25056" fmla="*/ 3371897 h 5973007"/>
              <a:gd name="connsiteX25057" fmla="*/ 6804236 w 6884782"/>
              <a:gd name="connsiteY25057" fmla="*/ 3376544 h 5973007"/>
              <a:gd name="connsiteX25058" fmla="*/ 6795252 w 6884782"/>
              <a:gd name="connsiteY25058" fmla="*/ 3375718 h 5973007"/>
              <a:gd name="connsiteX25059" fmla="*/ 6787972 w 6884782"/>
              <a:gd name="connsiteY25059" fmla="*/ 3369729 h 5973007"/>
              <a:gd name="connsiteX25060" fmla="*/ 6786578 w 6884782"/>
              <a:gd name="connsiteY25060" fmla="*/ 3354447 h 5973007"/>
              <a:gd name="connsiteX25061" fmla="*/ 6794942 w 6884782"/>
              <a:gd name="connsiteY25061" fmla="*/ 3353001 h 5973007"/>
              <a:gd name="connsiteX25062" fmla="*/ 286433 w 6884782"/>
              <a:gd name="connsiteY25062" fmla="*/ 3351358 h 5973007"/>
              <a:gd name="connsiteX25063" fmla="*/ 291080 w 6884782"/>
              <a:gd name="connsiteY25063" fmla="*/ 3357864 h 5973007"/>
              <a:gd name="connsiteX25064" fmla="*/ 277966 w 6884782"/>
              <a:gd name="connsiteY25064" fmla="*/ 3364525 h 5973007"/>
              <a:gd name="connsiteX25065" fmla="*/ 274765 w 6884782"/>
              <a:gd name="connsiteY25065" fmla="*/ 3360343 h 5973007"/>
              <a:gd name="connsiteX25066" fmla="*/ 286433 w 6884782"/>
              <a:gd name="connsiteY25066" fmla="*/ 3351358 h 5973007"/>
              <a:gd name="connsiteX25067" fmla="*/ 6547728 w 6884782"/>
              <a:gd name="connsiteY25067" fmla="*/ 3347735 h 5973007"/>
              <a:gd name="connsiteX25068" fmla="*/ 6537040 w 6884782"/>
              <a:gd name="connsiteY25068" fmla="*/ 3349594 h 5973007"/>
              <a:gd name="connsiteX25069" fmla="*/ 6539208 w 6884782"/>
              <a:gd name="connsiteY25069" fmla="*/ 3364050 h 5973007"/>
              <a:gd name="connsiteX25070" fmla="*/ 6538434 w 6884782"/>
              <a:gd name="connsiteY25070" fmla="*/ 3368800 h 5973007"/>
              <a:gd name="connsiteX25071" fmla="*/ 6550516 w 6884782"/>
              <a:gd name="connsiteY25071" fmla="*/ 3368800 h 5973007"/>
              <a:gd name="connsiteX25072" fmla="*/ 6575764 w 6884782"/>
              <a:gd name="connsiteY25072" fmla="*/ 3369109 h 5973007"/>
              <a:gd name="connsiteX25073" fmla="*/ 6598998 w 6884782"/>
              <a:gd name="connsiteY25073" fmla="*/ 3370658 h 5973007"/>
              <a:gd name="connsiteX25074" fmla="*/ 6604575 w 6884782"/>
              <a:gd name="connsiteY25074" fmla="*/ 3367767 h 5973007"/>
              <a:gd name="connsiteX25075" fmla="*/ 6613094 w 6884782"/>
              <a:gd name="connsiteY25075" fmla="*/ 3369832 h 5973007"/>
              <a:gd name="connsiteX25076" fmla="*/ 6615727 w 6884782"/>
              <a:gd name="connsiteY25076" fmla="*/ 3373550 h 5973007"/>
              <a:gd name="connsiteX25077" fmla="*/ 6625176 w 6884782"/>
              <a:gd name="connsiteY25077" fmla="*/ 3375305 h 5973007"/>
              <a:gd name="connsiteX25078" fmla="*/ 6647481 w 6884782"/>
              <a:gd name="connsiteY25078" fmla="*/ 3382223 h 5973007"/>
              <a:gd name="connsiteX25079" fmla="*/ 6653057 w 6884782"/>
              <a:gd name="connsiteY25079" fmla="*/ 3384804 h 5973007"/>
              <a:gd name="connsiteX25080" fmla="*/ 6658324 w 6884782"/>
              <a:gd name="connsiteY25080" fmla="*/ 3381397 h 5973007"/>
              <a:gd name="connsiteX25081" fmla="*/ 6656775 w 6884782"/>
              <a:gd name="connsiteY25081" fmla="*/ 3380571 h 5973007"/>
              <a:gd name="connsiteX25082" fmla="*/ 6653057 w 6884782"/>
              <a:gd name="connsiteY25082" fmla="*/ 3378299 h 5973007"/>
              <a:gd name="connsiteX25083" fmla="*/ 6651973 w 6884782"/>
              <a:gd name="connsiteY25083" fmla="*/ 3378299 h 5973007"/>
              <a:gd name="connsiteX25084" fmla="*/ 6652128 w 6884782"/>
              <a:gd name="connsiteY25084" fmla="*/ 3377783 h 5973007"/>
              <a:gd name="connsiteX25085" fmla="*/ 6651508 w 6884782"/>
              <a:gd name="connsiteY25085" fmla="*/ 3377267 h 5973007"/>
              <a:gd name="connsiteX25086" fmla="*/ 6646087 w 6884782"/>
              <a:gd name="connsiteY25086" fmla="*/ 3375718 h 5973007"/>
              <a:gd name="connsiteX25087" fmla="*/ 6636638 w 6884782"/>
              <a:gd name="connsiteY25087" fmla="*/ 3373550 h 5973007"/>
              <a:gd name="connsiteX25088" fmla="*/ 6625021 w 6884782"/>
              <a:gd name="connsiteY25088" fmla="*/ 3369213 h 5973007"/>
              <a:gd name="connsiteX25089" fmla="*/ 6612939 w 6884782"/>
              <a:gd name="connsiteY25089" fmla="*/ 3364772 h 5973007"/>
              <a:gd name="connsiteX25090" fmla="*/ 6600237 w 6884782"/>
              <a:gd name="connsiteY25090" fmla="*/ 3361571 h 5973007"/>
              <a:gd name="connsiteX25091" fmla="*/ 6599153 w 6884782"/>
              <a:gd name="connsiteY25091" fmla="*/ 3358371 h 5973007"/>
              <a:gd name="connsiteX25092" fmla="*/ 6597449 w 6884782"/>
              <a:gd name="connsiteY25092" fmla="*/ 3356305 h 5973007"/>
              <a:gd name="connsiteX25093" fmla="*/ 6587691 w 6884782"/>
              <a:gd name="connsiteY25093" fmla="*/ 3354550 h 5973007"/>
              <a:gd name="connsiteX25094" fmla="*/ 6578242 w 6884782"/>
              <a:gd name="connsiteY25094" fmla="*/ 3351866 h 5973007"/>
              <a:gd name="connsiteX25095" fmla="*/ 6558570 w 6884782"/>
              <a:gd name="connsiteY25095" fmla="*/ 3347942 h 5973007"/>
              <a:gd name="connsiteX25096" fmla="*/ 6547728 w 6884782"/>
              <a:gd name="connsiteY25096" fmla="*/ 3347735 h 5973007"/>
              <a:gd name="connsiteX25097" fmla="*/ 239452 w 6884782"/>
              <a:gd name="connsiteY25097" fmla="*/ 3345163 h 5973007"/>
              <a:gd name="connsiteX25098" fmla="*/ 238316 w 6884782"/>
              <a:gd name="connsiteY25098" fmla="*/ 3356470 h 5973007"/>
              <a:gd name="connsiteX25099" fmla="*/ 216322 w 6884782"/>
              <a:gd name="connsiteY25099" fmla="*/ 3354921 h 5973007"/>
              <a:gd name="connsiteX25100" fmla="*/ 225615 w 6884782"/>
              <a:gd name="connsiteY25100" fmla="*/ 3348106 h 5973007"/>
              <a:gd name="connsiteX25101" fmla="*/ 239452 w 6884782"/>
              <a:gd name="connsiteY25101" fmla="*/ 3345163 h 5973007"/>
              <a:gd name="connsiteX25102" fmla="*/ 253288 w 6884782"/>
              <a:gd name="connsiteY25102" fmla="*/ 3343304 h 5973007"/>
              <a:gd name="connsiteX25103" fmla="*/ 252256 w 6884782"/>
              <a:gd name="connsiteY25103" fmla="*/ 3347331 h 5973007"/>
              <a:gd name="connsiteX25104" fmla="*/ 250603 w 6884782"/>
              <a:gd name="connsiteY25104" fmla="*/ 3343768 h 5973007"/>
              <a:gd name="connsiteX25105" fmla="*/ 253288 w 6884782"/>
              <a:gd name="connsiteY25105" fmla="*/ 3343304 h 5973007"/>
              <a:gd name="connsiteX25106" fmla="*/ 304296 w 6884782"/>
              <a:gd name="connsiteY25106" fmla="*/ 3339741 h 5973007"/>
              <a:gd name="connsiteX25107" fmla="*/ 302438 w 6884782"/>
              <a:gd name="connsiteY25107" fmla="*/ 3342529 h 5973007"/>
              <a:gd name="connsiteX25108" fmla="*/ 299753 w 6884782"/>
              <a:gd name="connsiteY25108" fmla="*/ 3341755 h 5973007"/>
              <a:gd name="connsiteX25109" fmla="*/ 301921 w 6884782"/>
              <a:gd name="connsiteY25109" fmla="*/ 3340206 h 5973007"/>
              <a:gd name="connsiteX25110" fmla="*/ 304296 w 6884782"/>
              <a:gd name="connsiteY25110" fmla="*/ 3339741 h 5973007"/>
              <a:gd name="connsiteX25111" fmla="*/ 305535 w 6884782"/>
              <a:gd name="connsiteY25111" fmla="*/ 3337728 h 5973007"/>
              <a:gd name="connsiteX25112" fmla="*/ 304709 w 6884782"/>
              <a:gd name="connsiteY25112" fmla="*/ 3339277 h 5973007"/>
              <a:gd name="connsiteX25113" fmla="*/ 303987 w 6884782"/>
              <a:gd name="connsiteY25113" fmla="*/ 3338812 h 5973007"/>
              <a:gd name="connsiteX25114" fmla="*/ 304709 w 6884782"/>
              <a:gd name="connsiteY25114" fmla="*/ 3337882 h 5973007"/>
              <a:gd name="connsiteX25115" fmla="*/ 305535 w 6884782"/>
              <a:gd name="connsiteY25115" fmla="*/ 3337728 h 5973007"/>
              <a:gd name="connsiteX25116" fmla="*/ 360468 w 6884782"/>
              <a:gd name="connsiteY25116" fmla="*/ 3336179 h 5973007"/>
              <a:gd name="connsiteX25117" fmla="*/ 363359 w 6884782"/>
              <a:gd name="connsiteY25117" fmla="*/ 3338967 h 5973007"/>
              <a:gd name="connsiteX25118" fmla="*/ 352724 w 6884782"/>
              <a:gd name="connsiteY25118" fmla="*/ 3351823 h 5973007"/>
              <a:gd name="connsiteX25119" fmla="*/ 349729 w 6884782"/>
              <a:gd name="connsiteY25119" fmla="*/ 3348570 h 5973007"/>
              <a:gd name="connsiteX25120" fmla="*/ 350245 w 6884782"/>
              <a:gd name="connsiteY25120" fmla="*/ 3344853 h 5973007"/>
              <a:gd name="connsiteX25121" fmla="*/ 352001 w 6884782"/>
              <a:gd name="connsiteY25121" fmla="*/ 3341600 h 5973007"/>
              <a:gd name="connsiteX25122" fmla="*/ 355202 w 6884782"/>
              <a:gd name="connsiteY25122" fmla="*/ 3339586 h 5973007"/>
              <a:gd name="connsiteX25123" fmla="*/ 360468 w 6884782"/>
              <a:gd name="connsiteY25123" fmla="*/ 3336179 h 5973007"/>
              <a:gd name="connsiteX25124" fmla="*/ 307807 w 6884782"/>
              <a:gd name="connsiteY25124" fmla="*/ 3334320 h 5973007"/>
              <a:gd name="connsiteX25125" fmla="*/ 308014 w 6884782"/>
              <a:gd name="connsiteY25125" fmla="*/ 3335404 h 5973007"/>
              <a:gd name="connsiteX25126" fmla="*/ 306155 w 6884782"/>
              <a:gd name="connsiteY25126" fmla="*/ 3335249 h 5973007"/>
              <a:gd name="connsiteX25127" fmla="*/ 307807 w 6884782"/>
              <a:gd name="connsiteY25127" fmla="*/ 3334320 h 5973007"/>
              <a:gd name="connsiteX25128" fmla="*/ 109658 w 6884782"/>
              <a:gd name="connsiteY25128" fmla="*/ 3334165 h 5973007"/>
              <a:gd name="connsiteX25129" fmla="*/ 115957 w 6884782"/>
              <a:gd name="connsiteY25129" fmla="*/ 3335404 h 5973007"/>
              <a:gd name="connsiteX25130" fmla="*/ 110794 w 6884782"/>
              <a:gd name="connsiteY25130" fmla="*/ 3340206 h 5973007"/>
              <a:gd name="connsiteX25131" fmla="*/ 108935 w 6884782"/>
              <a:gd name="connsiteY25131" fmla="*/ 3335869 h 5973007"/>
              <a:gd name="connsiteX25132" fmla="*/ 109658 w 6884782"/>
              <a:gd name="connsiteY25132" fmla="*/ 3334165 h 5973007"/>
              <a:gd name="connsiteX25133" fmla="*/ 6640820 w 6884782"/>
              <a:gd name="connsiteY25133" fmla="*/ 3330182 h 5973007"/>
              <a:gd name="connsiteX25134" fmla="*/ 6642834 w 6884782"/>
              <a:gd name="connsiteY25134" fmla="*/ 3335345 h 5973007"/>
              <a:gd name="connsiteX25135" fmla="*/ 6640820 w 6884782"/>
              <a:gd name="connsiteY25135" fmla="*/ 3340198 h 5973007"/>
              <a:gd name="connsiteX25136" fmla="*/ 6632301 w 6884782"/>
              <a:gd name="connsiteY25136" fmla="*/ 3349078 h 5973007"/>
              <a:gd name="connsiteX25137" fmla="*/ 6632921 w 6884782"/>
              <a:gd name="connsiteY25137" fmla="*/ 3349078 h 5973007"/>
              <a:gd name="connsiteX25138" fmla="*/ 6632146 w 6884782"/>
              <a:gd name="connsiteY25138" fmla="*/ 3353414 h 5973007"/>
              <a:gd name="connsiteX25139" fmla="*/ 6637103 w 6884782"/>
              <a:gd name="connsiteY25139" fmla="*/ 3349594 h 5973007"/>
              <a:gd name="connsiteX25140" fmla="*/ 6642369 w 6884782"/>
              <a:gd name="connsiteY25140" fmla="*/ 3352795 h 5973007"/>
              <a:gd name="connsiteX25141" fmla="*/ 6643918 w 6884782"/>
              <a:gd name="connsiteY25141" fmla="*/ 3353208 h 5973007"/>
              <a:gd name="connsiteX25142" fmla="*/ 6646706 w 6884782"/>
              <a:gd name="connsiteY25142" fmla="*/ 3352589 h 5973007"/>
              <a:gd name="connsiteX25143" fmla="*/ 6647791 w 6884782"/>
              <a:gd name="connsiteY25143" fmla="*/ 3354240 h 5973007"/>
              <a:gd name="connsiteX25144" fmla="*/ 6647636 w 6884782"/>
              <a:gd name="connsiteY25144" fmla="*/ 3354344 h 5973007"/>
              <a:gd name="connsiteX25145" fmla="*/ 6649649 w 6884782"/>
              <a:gd name="connsiteY25145" fmla="*/ 3354963 h 5973007"/>
              <a:gd name="connsiteX25146" fmla="*/ 6652902 w 6884782"/>
              <a:gd name="connsiteY25146" fmla="*/ 3356305 h 5973007"/>
              <a:gd name="connsiteX25147" fmla="*/ 6652128 w 6884782"/>
              <a:gd name="connsiteY25147" fmla="*/ 3355789 h 5973007"/>
              <a:gd name="connsiteX25148" fmla="*/ 6661112 w 6884782"/>
              <a:gd name="connsiteY25148" fmla="*/ 3359403 h 5973007"/>
              <a:gd name="connsiteX25149" fmla="*/ 6662196 w 6884782"/>
              <a:gd name="connsiteY25149" fmla="*/ 3359300 h 5973007"/>
              <a:gd name="connsiteX25150" fmla="*/ 6662970 w 6884782"/>
              <a:gd name="connsiteY25150" fmla="*/ 3359094 h 5973007"/>
              <a:gd name="connsiteX25151" fmla="*/ 6663590 w 6884782"/>
              <a:gd name="connsiteY25151" fmla="*/ 3359197 h 5973007"/>
              <a:gd name="connsiteX25152" fmla="*/ 6665603 w 6884782"/>
              <a:gd name="connsiteY25152" fmla="*/ 3359197 h 5973007"/>
              <a:gd name="connsiteX25153" fmla="*/ 6664829 w 6884782"/>
              <a:gd name="connsiteY25153" fmla="*/ 3352898 h 5973007"/>
              <a:gd name="connsiteX25154" fmla="*/ 6653522 w 6884782"/>
              <a:gd name="connsiteY25154" fmla="*/ 3345670 h 5973007"/>
              <a:gd name="connsiteX25155" fmla="*/ 6643918 w 6884782"/>
              <a:gd name="connsiteY25155" fmla="*/ 3337410 h 5973007"/>
              <a:gd name="connsiteX25156" fmla="*/ 6664984 w 6884782"/>
              <a:gd name="connsiteY25156" fmla="*/ 3341643 h 5973007"/>
              <a:gd name="connsiteX25157" fmla="*/ 6652592 w 6884782"/>
              <a:gd name="connsiteY25157" fmla="*/ 3333279 h 5973007"/>
              <a:gd name="connsiteX25158" fmla="*/ 217768 w 6884782"/>
              <a:gd name="connsiteY25158" fmla="*/ 3329828 h 5973007"/>
              <a:gd name="connsiteX25159" fmla="*/ 225099 w 6884782"/>
              <a:gd name="connsiteY25159" fmla="*/ 3333081 h 5973007"/>
              <a:gd name="connsiteX25160" fmla="*/ 216116 w 6884782"/>
              <a:gd name="connsiteY25160" fmla="*/ 3332926 h 5973007"/>
              <a:gd name="connsiteX25161" fmla="*/ 217768 w 6884782"/>
              <a:gd name="connsiteY25161" fmla="*/ 3329828 h 5973007"/>
              <a:gd name="connsiteX25162" fmla="*/ 377918 w 6884782"/>
              <a:gd name="connsiteY25162" fmla="*/ 3326265 h 5973007"/>
              <a:gd name="connsiteX25163" fmla="*/ 385662 w 6884782"/>
              <a:gd name="connsiteY25163" fmla="*/ 3335869 h 5973007"/>
              <a:gd name="connsiteX25164" fmla="*/ 371310 w 6884782"/>
              <a:gd name="connsiteY25164" fmla="*/ 3336024 h 5973007"/>
              <a:gd name="connsiteX25165" fmla="*/ 377918 w 6884782"/>
              <a:gd name="connsiteY25165" fmla="*/ 3326265 h 5973007"/>
              <a:gd name="connsiteX25166" fmla="*/ 317100 w 6884782"/>
              <a:gd name="connsiteY25166" fmla="*/ 3324871 h 5973007"/>
              <a:gd name="connsiteX25167" fmla="*/ 307910 w 6884782"/>
              <a:gd name="connsiteY25167" fmla="*/ 3334320 h 5973007"/>
              <a:gd name="connsiteX25168" fmla="*/ 317100 w 6884782"/>
              <a:gd name="connsiteY25168" fmla="*/ 3324871 h 5973007"/>
              <a:gd name="connsiteX25169" fmla="*/ 245750 w 6884782"/>
              <a:gd name="connsiteY25169" fmla="*/ 3323942 h 5973007"/>
              <a:gd name="connsiteX25170" fmla="*/ 237593 w 6884782"/>
              <a:gd name="connsiteY25170" fmla="*/ 3331842 h 5973007"/>
              <a:gd name="connsiteX25171" fmla="*/ 225925 w 6884782"/>
              <a:gd name="connsiteY25171" fmla="*/ 3336643 h 5973007"/>
              <a:gd name="connsiteX25172" fmla="*/ 233256 w 6884782"/>
              <a:gd name="connsiteY25172" fmla="*/ 3326575 h 5973007"/>
              <a:gd name="connsiteX25173" fmla="*/ 245750 w 6884782"/>
              <a:gd name="connsiteY25173" fmla="*/ 3323942 h 5973007"/>
              <a:gd name="connsiteX25174" fmla="*/ 6539363 w 6884782"/>
              <a:gd name="connsiteY25174" fmla="*/ 3323677 h 5973007"/>
              <a:gd name="connsiteX25175" fmla="*/ 6542306 w 6884782"/>
              <a:gd name="connsiteY25175" fmla="*/ 3339062 h 5973007"/>
              <a:gd name="connsiteX25176" fmla="*/ 6535026 w 6884782"/>
              <a:gd name="connsiteY25176" fmla="*/ 3328530 h 5973007"/>
              <a:gd name="connsiteX25177" fmla="*/ 6539363 w 6884782"/>
              <a:gd name="connsiteY25177" fmla="*/ 3323677 h 5973007"/>
              <a:gd name="connsiteX25178" fmla="*/ 169857 w 6884782"/>
              <a:gd name="connsiteY25178" fmla="*/ 3318210 h 5973007"/>
              <a:gd name="connsiteX25179" fmla="*/ 175020 w 6884782"/>
              <a:gd name="connsiteY25179" fmla="*/ 3322083 h 5973007"/>
              <a:gd name="connsiteX25180" fmla="*/ 169444 w 6884782"/>
              <a:gd name="connsiteY25180" fmla="*/ 3327350 h 5973007"/>
              <a:gd name="connsiteX25181" fmla="*/ 166036 w 6884782"/>
              <a:gd name="connsiteY25181" fmla="*/ 3324252 h 5973007"/>
              <a:gd name="connsiteX25182" fmla="*/ 169857 w 6884782"/>
              <a:gd name="connsiteY25182" fmla="*/ 3318210 h 5973007"/>
              <a:gd name="connsiteX25183" fmla="*/ 541889 w 6884782"/>
              <a:gd name="connsiteY25183" fmla="*/ 3318056 h 5973007"/>
              <a:gd name="connsiteX25184" fmla="*/ 543128 w 6884782"/>
              <a:gd name="connsiteY25184" fmla="*/ 3320999 h 5973007"/>
              <a:gd name="connsiteX25185" fmla="*/ 542405 w 6884782"/>
              <a:gd name="connsiteY25185" fmla="*/ 3321309 h 5973007"/>
              <a:gd name="connsiteX25186" fmla="*/ 541166 w 6884782"/>
              <a:gd name="connsiteY25186" fmla="*/ 3319914 h 5973007"/>
              <a:gd name="connsiteX25187" fmla="*/ 541889 w 6884782"/>
              <a:gd name="connsiteY25187" fmla="*/ 3318056 h 5973007"/>
              <a:gd name="connsiteX25188" fmla="*/ 6697358 w 6884782"/>
              <a:gd name="connsiteY25188" fmla="*/ 3317171 h 5973007"/>
              <a:gd name="connsiteX25189" fmla="*/ 6697667 w 6884782"/>
              <a:gd name="connsiteY25189" fmla="*/ 3318101 h 5973007"/>
              <a:gd name="connsiteX25190" fmla="*/ 6697822 w 6884782"/>
              <a:gd name="connsiteY25190" fmla="*/ 3317791 h 5973007"/>
              <a:gd name="connsiteX25191" fmla="*/ 325464 w 6884782"/>
              <a:gd name="connsiteY25191" fmla="*/ 3315113 h 5973007"/>
              <a:gd name="connsiteX25192" fmla="*/ 322159 w 6884782"/>
              <a:gd name="connsiteY25192" fmla="*/ 3320379 h 5973007"/>
              <a:gd name="connsiteX25193" fmla="*/ 321024 w 6884782"/>
              <a:gd name="connsiteY25193" fmla="*/ 3320689 h 5973007"/>
              <a:gd name="connsiteX25194" fmla="*/ 325464 w 6884782"/>
              <a:gd name="connsiteY25194" fmla="*/ 3315113 h 5973007"/>
              <a:gd name="connsiteX25195" fmla="*/ 6695808 w 6884782"/>
              <a:gd name="connsiteY25195" fmla="*/ 3313558 h 5973007"/>
              <a:gd name="connsiteX25196" fmla="*/ 6684811 w 6884782"/>
              <a:gd name="connsiteY25196" fmla="*/ 3313970 h 5973007"/>
              <a:gd name="connsiteX25197" fmla="*/ 6684656 w 6884782"/>
              <a:gd name="connsiteY25197" fmla="*/ 3314590 h 5973007"/>
              <a:gd name="connsiteX25198" fmla="*/ 6691161 w 6884782"/>
              <a:gd name="connsiteY25198" fmla="*/ 3316655 h 5973007"/>
              <a:gd name="connsiteX25199" fmla="*/ 6697358 w 6884782"/>
              <a:gd name="connsiteY25199" fmla="*/ 3316965 h 5973007"/>
              <a:gd name="connsiteX25200" fmla="*/ 6696428 w 6884782"/>
              <a:gd name="connsiteY25200" fmla="*/ 3315726 h 5973007"/>
              <a:gd name="connsiteX25201" fmla="*/ 6695808 w 6884782"/>
              <a:gd name="connsiteY25201" fmla="*/ 3313558 h 5973007"/>
              <a:gd name="connsiteX25202" fmla="*/ 331350 w 6884782"/>
              <a:gd name="connsiteY25202" fmla="*/ 3310776 h 5973007"/>
              <a:gd name="connsiteX25203" fmla="*/ 339920 w 6884782"/>
              <a:gd name="connsiteY25203" fmla="*/ 3312479 h 5973007"/>
              <a:gd name="connsiteX25204" fmla="*/ 341468 w 6884782"/>
              <a:gd name="connsiteY25204" fmla="*/ 3313564 h 5973007"/>
              <a:gd name="connsiteX25205" fmla="*/ 342088 w 6884782"/>
              <a:gd name="connsiteY25205" fmla="*/ 3313719 h 5973007"/>
              <a:gd name="connsiteX25206" fmla="*/ 343017 w 6884782"/>
              <a:gd name="connsiteY25206" fmla="*/ 3314648 h 5973007"/>
              <a:gd name="connsiteX25207" fmla="*/ 346838 w 6884782"/>
              <a:gd name="connsiteY25207" fmla="*/ 3317126 h 5973007"/>
              <a:gd name="connsiteX25208" fmla="*/ 343947 w 6884782"/>
              <a:gd name="connsiteY25208" fmla="*/ 3325026 h 5973007"/>
              <a:gd name="connsiteX25209" fmla="*/ 326496 w 6884782"/>
              <a:gd name="connsiteY25209" fmla="*/ 3313099 h 5973007"/>
              <a:gd name="connsiteX25210" fmla="*/ 331350 w 6884782"/>
              <a:gd name="connsiteY25210" fmla="*/ 3310776 h 5973007"/>
              <a:gd name="connsiteX25211" fmla="*/ 6681248 w 6884782"/>
              <a:gd name="connsiteY25211" fmla="*/ 3309737 h 5973007"/>
              <a:gd name="connsiteX25212" fmla="*/ 6677376 w 6884782"/>
              <a:gd name="connsiteY25212" fmla="*/ 3311905 h 5973007"/>
              <a:gd name="connsiteX25213" fmla="*/ 6678305 w 6884782"/>
              <a:gd name="connsiteY25213" fmla="*/ 3311905 h 5973007"/>
              <a:gd name="connsiteX25214" fmla="*/ 6682023 w 6884782"/>
              <a:gd name="connsiteY25214" fmla="*/ 3313454 h 5973007"/>
              <a:gd name="connsiteX25215" fmla="*/ 6682023 w 6884782"/>
              <a:gd name="connsiteY25215" fmla="*/ 3312319 h 5973007"/>
              <a:gd name="connsiteX25216" fmla="*/ 6681248 w 6884782"/>
              <a:gd name="connsiteY25216" fmla="*/ 3309737 h 5973007"/>
              <a:gd name="connsiteX25217" fmla="*/ 6673348 w 6884782"/>
              <a:gd name="connsiteY25217" fmla="*/ 3309531 h 5973007"/>
              <a:gd name="connsiteX25218" fmla="*/ 6670250 w 6884782"/>
              <a:gd name="connsiteY25218" fmla="*/ 3311389 h 5973007"/>
              <a:gd name="connsiteX25219" fmla="*/ 6668702 w 6884782"/>
              <a:gd name="connsiteY25219" fmla="*/ 3312835 h 5973007"/>
              <a:gd name="connsiteX25220" fmla="*/ 6670870 w 6884782"/>
              <a:gd name="connsiteY25220" fmla="*/ 3314074 h 5973007"/>
              <a:gd name="connsiteX25221" fmla="*/ 6673039 w 6884782"/>
              <a:gd name="connsiteY25221" fmla="*/ 3311802 h 5973007"/>
              <a:gd name="connsiteX25222" fmla="*/ 6675982 w 6884782"/>
              <a:gd name="connsiteY25222" fmla="*/ 3311802 h 5973007"/>
              <a:gd name="connsiteX25223" fmla="*/ 6675362 w 6884782"/>
              <a:gd name="connsiteY25223" fmla="*/ 3311596 h 5973007"/>
              <a:gd name="connsiteX25224" fmla="*/ 6673348 w 6884782"/>
              <a:gd name="connsiteY25224" fmla="*/ 3309531 h 5973007"/>
              <a:gd name="connsiteX25225" fmla="*/ 257934 w 6884782"/>
              <a:gd name="connsiteY25225" fmla="*/ 3307523 h 5973007"/>
              <a:gd name="connsiteX25226" fmla="*/ 264749 w 6884782"/>
              <a:gd name="connsiteY25226" fmla="*/ 3315267 h 5973007"/>
              <a:gd name="connsiteX25227" fmla="*/ 254837 w 6884782"/>
              <a:gd name="connsiteY25227" fmla="*/ 3313099 h 5973007"/>
              <a:gd name="connsiteX25228" fmla="*/ 257934 w 6884782"/>
              <a:gd name="connsiteY25228" fmla="*/ 3307523 h 5973007"/>
              <a:gd name="connsiteX25229" fmla="*/ 586392 w 6884782"/>
              <a:gd name="connsiteY25229" fmla="*/ 3304115 h 5973007"/>
              <a:gd name="connsiteX25230" fmla="*/ 585876 w 6884782"/>
              <a:gd name="connsiteY25230" fmla="*/ 3305509 h 5973007"/>
              <a:gd name="connsiteX25231" fmla="*/ 583501 w 6884782"/>
              <a:gd name="connsiteY25231" fmla="*/ 3311395 h 5973007"/>
              <a:gd name="connsiteX25232" fmla="*/ 579784 w 6884782"/>
              <a:gd name="connsiteY25232" fmla="*/ 3314183 h 5973007"/>
              <a:gd name="connsiteX25233" fmla="*/ 579681 w 6884782"/>
              <a:gd name="connsiteY25233" fmla="*/ 3314338 h 5973007"/>
              <a:gd name="connsiteX25234" fmla="*/ 576893 w 6884782"/>
              <a:gd name="connsiteY25234" fmla="*/ 3321928 h 5973007"/>
              <a:gd name="connsiteX25235" fmla="*/ 581952 w 6884782"/>
              <a:gd name="connsiteY25235" fmla="*/ 3323168 h 5973007"/>
              <a:gd name="connsiteX25236" fmla="*/ 582262 w 6884782"/>
              <a:gd name="connsiteY25236" fmla="*/ 3323322 h 5973007"/>
              <a:gd name="connsiteX25237" fmla="*/ 587735 w 6884782"/>
              <a:gd name="connsiteY25237" fmla="*/ 3305664 h 5973007"/>
              <a:gd name="connsiteX25238" fmla="*/ 6627344 w 6884782"/>
              <a:gd name="connsiteY25238" fmla="*/ 3303645 h 5973007"/>
              <a:gd name="connsiteX25239" fmla="*/ 6627035 w 6884782"/>
              <a:gd name="connsiteY25239" fmla="*/ 3303748 h 5973007"/>
              <a:gd name="connsiteX25240" fmla="*/ 6627344 w 6884782"/>
              <a:gd name="connsiteY25240" fmla="*/ 3303852 h 5973007"/>
              <a:gd name="connsiteX25241" fmla="*/ 6553768 w 6884782"/>
              <a:gd name="connsiteY25241" fmla="*/ 3302819 h 5973007"/>
              <a:gd name="connsiteX25242" fmla="*/ 6543855 w 6884782"/>
              <a:gd name="connsiteY25242" fmla="*/ 3310357 h 5973007"/>
              <a:gd name="connsiteX25243" fmla="*/ 6542771 w 6884782"/>
              <a:gd name="connsiteY25243" fmla="*/ 3303129 h 5973007"/>
              <a:gd name="connsiteX25244" fmla="*/ 6524183 w 6884782"/>
              <a:gd name="connsiteY25244" fmla="*/ 3308704 h 5973007"/>
              <a:gd name="connsiteX25245" fmla="*/ 6522634 w 6884782"/>
              <a:gd name="connsiteY25245" fmla="*/ 3304574 h 5973007"/>
              <a:gd name="connsiteX25246" fmla="*/ 6512411 w 6884782"/>
              <a:gd name="connsiteY25246" fmla="*/ 3308911 h 5973007"/>
              <a:gd name="connsiteX25247" fmla="*/ 6514115 w 6884782"/>
              <a:gd name="connsiteY25247" fmla="*/ 3306433 h 5973007"/>
              <a:gd name="connsiteX25248" fmla="*/ 6504976 w 6884782"/>
              <a:gd name="connsiteY25248" fmla="*/ 3309531 h 5973007"/>
              <a:gd name="connsiteX25249" fmla="*/ 6490726 w 6884782"/>
              <a:gd name="connsiteY25249" fmla="*/ 3304471 h 5973007"/>
              <a:gd name="connsiteX25250" fmla="*/ 6479109 w 6884782"/>
              <a:gd name="connsiteY25250" fmla="*/ 3312938 h 5973007"/>
              <a:gd name="connsiteX25251" fmla="*/ 6467956 w 6884782"/>
              <a:gd name="connsiteY25251" fmla="*/ 3311802 h 5973007"/>
              <a:gd name="connsiteX25252" fmla="*/ 6462844 w 6884782"/>
              <a:gd name="connsiteY25252" fmla="*/ 3311699 h 5973007"/>
              <a:gd name="connsiteX25253" fmla="*/ 6461606 w 6884782"/>
              <a:gd name="connsiteY25253" fmla="*/ 3311286 h 5973007"/>
              <a:gd name="connsiteX25254" fmla="*/ 6459747 w 6884782"/>
              <a:gd name="connsiteY25254" fmla="*/ 3312215 h 5973007"/>
              <a:gd name="connsiteX25255" fmla="*/ 6457113 w 6884782"/>
              <a:gd name="connsiteY25255" fmla="*/ 3313661 h 5973007"/>
              <a:gd name="connsiteX25256" fmla="*/ 6446426 w 6884782"/>
              <a:gd name="connsiteY25256" fmla="*/ 3311079 h 5973007"/>
              <a:gd name="connsiteX25257" fmla="*/ 6433259 w 6884782"/>
              <a:gd name="connsiteY25257" fmla="*/ 3315313 h 5973007"/>
              <a:gd name="connsiteX25258" fmla="*/ 6426909 w 6884782"/>
              <a:gd name="connsiteY25258" fmla="*/ 3317068 h 5973007"/>
              <a:gd name="connsiteX25259" fmla="*/ 6425205 w 6884782"/>
              <a:gd name="connsiteY25259" fmla="*/ 3318101 h 5973007"/>
              <a:gd name="connsiteX25260" fmla="*/ 6424431 w 6884782"/>
              <a:gd name="connsiteY25260" fmla="*/ 3317894 h 5973007"/>
              <a:gd name="connsiteX25261" fmla="*/ 6423656 w 6884782"/>
              <a:gd name="connsiteY25261" fmla="*/ 3318411 h 5973007"/>
              <a:gd name="connsiteX25262" fmla="*/ 6422107 w 6884782"/>
              <a:gd name="connsiteY25262" fmla="*/ 3318617 h 5973007"/>
              <a:gd name="connsiteX25263" fmla="*/ 6408941 w 6884782"/>
              <a:gd name="connsiteY25263" fmla="*/ 3325122 h 5973007"/>
              <a:gd name="connsiteX25264" fmla="*/ 6410180 w 6884782"/>
              <a:gd name="connsiteY25264" fmla="*/ 3338339 h 5973007"/>
              <a:gd name="connsiteX25265" fmla="*/ 6407856 w 6884782"/>
              <a:gd name="connsiteY25265" fmla="*/ 3339062 h 5973007"/>
              <a:gd name="connsiteX25266" fmla="*/ 6401661 w 6884782"/>
              <a:gd name="connsiteY25266" fmla="*/ 3340198 h 5973007"/>
              <a:gd name="connsiteX25267" fmla="*/ 6400886 w 6884782"/>
              <a:gd name="connsiteY25267" fmla="*/ 3339991 h 5973007"/>
              <a:gd name="connsiteX25268" fmla="*/ 6400112 w 6884782"/>
              <a:gd name="connsiteY25268" fmla="*/ 3340507 h 5973007"/>
              <a:gd name="connsiteX25269" fmla="*/ 6398253 w 6884782"/>
              <a:gd name="connsiteY25269" fmla="*/ 3341437 h 5973007"/>
              <a:gd name="connsiteX25270" fmla="*/ 6391128 w 6884782"/>
              <a:gd name="connsiteY25270" fmla="*/ 3345257 h 5973007"/>
              <a:gd name="connsiteX25271" fmla="*/ 6388030 w 6884782"/>
              <a:gd name="connsiteY25271" fmla="*/ 3349284 h 5973007"/>
              <a:gd name="connsiteX25272" fmla="*/ 6392057 w 6884782"/>
              <a:gd name="connsiteY25272" fmla="*/ 3353104 h 5973007"/>
              <a:gd name="connsiteX25273" fmla="*/ 6397478 w 6884782"/>
              <a:gd name="connsiteY25273" fmla="*/ 3350214 h 5973007"/>
              <a:gd name="connsiteX25274" fmla="*/ 6401196 w 6884782"/>
              <a:gd name="connsiteY25274" fmla="*/ 3349904 h 5973007"/>
              <a:gd name="connsiteX25275" fmla="*/ 6403364 w 6884782"/>
              <a:gd name="connsiteY25275" fmla="*/ 3349800 h 5973007"/>
              <a:gd name="connsiteX25276" fmla="*/ 6403674 w 6884782"/>
              <a:gd name="connsiteY25276" fmla="*/ 3349078 h 5973007"/>
              <a:gd name="connsiteX25277" fmla="*/ 6409251 w 6884782"/>
              <a:gd name="connsiteY25277" fmla="*/ 3347838 h 5973007"/>
              <a:gd name="connsiteX25278" fmla="*/ 6409870 w 6884782"/>
              <a:gd name="connsiteY25278" fmla="*/ 3348045 h 5973007"/>
              <a:gd name="connsiteX25279" fmla="*/ 6409560 w 6884782"/>
              <a:gd name="connsiteY25279" fmla="*/ 3348768 h 5973007"/>
              <a:gd name="connsiteX25280" fmla="*/ 6410180 w 6884782"/>
              <a:gd name="connsiteY25280" fmla="*/ 3348871 h 5973007"/>
              <a:gd name="connsiteX25281" fmla="*/ 6415601 w 6884782"/>
              <a:gd name="connsiteY25281" fmla="*/ 3348252 h 5973007"/>
              <a:gd name="connsiteX25282" fmla="*/ 6425979 w 6884782"/>
              <a:gd name="connsiteY25282" fmla="*/ 3341024 h 5973007"/>
              <a:gd name="connsiteX25283" fmla="*/ 6426754 w 6884782"/>
              <a:gd name="connsiteY25283" fmla="*/ 3341127 h 5973007"/>
              <a:gd name="connsiteX25284" fmla="*/ 6427528 w 6884782"/>
              <a:gd name="connsiteY25284" fmla="*/ 3340611 h 5973007"/>
              <a:gd name="connsiteX25285" fmla="*/ 6428303 w 6884782"/>
              <a:gd name="connsiteY25285" fmla="*/ 3340921 h 5973007"/>
              <a:gd name="connsiteX25286" fmla="*/ 6432020 w 6884782"/>
              <a:gd name="connsiteY25286" fmla="*/ 3340507 h 5973007"/>
              <a:gd name="connsiteX25287" fmla="*/ 6439455 w 6884782"/>
              <a:gd name="connsiteY25287" fmla="*/ 3339785 h 5973007"/>
              <a:gd name="connsiteX25288" fmla="*/ 6453861 w 6884782"/>
              <a:gd name="connsiteY25288" fmla="*/ 3338236 h 5973007"/>
              <a:gd name="connsiteX25289" fmla="*/ 6460831 w 6884782"/>
              <a:gd name="connsiteY25289" fmla="*/ 3336687 h 5973007"/>
              <a:gd name="connsiteX25290" fmla="*/ 6462380 w 6884782"/>
              <a:gd name="connsiteY25290" fmla="*/ 3336377 h 5973007"/>
              <a:gd name="connsiteX25291" fmla="*/ 6463774 w 6884782"/>
              <a:gd name="connsiteY25291" fmla="*/ 3336790 h 5973007"/>
              <a:gd name="connsiteX25292" fmla="*/ 6466872 w 6884782"/>
              <a:gd name="connsiteY25292" fmla="*/ 3336170 h 5973007"/>
              <a:gd name="connsiteX25293" fmla="*/ 6478954 w 6884782"/>
              <a:gd name="connsiteY25293" fmla="*/ 3334725 h 5973007"/>
              <a:gd name="connsiteX25294" fmla="*/ 6490881 w 6884782"/>
              <a:gd name="connsiteY25294" fmla="*/ 3333899 h 5973007"/>
              <a:gd name="connsiteX25295" fmla="*/ 6502498 w 6884782"/>
              <a:gd name="connsiteY25295" fmla="*/ 3333693 h 5973007"/>
              <a:gd name="connsiteX25296" fmla="*/ 6524958 w 6884782"/>
              <a:gd name="connsiteY25296" fmla="*/ 3336067 h 5973007"/>
              <a:gd name="connsiteX25297" fmla="*/ 6556092 w 6884782"/>
              <a:gd name="connsiteY25297" fmla="*/ 3342676 h 5973007"/>
              <a:gd name="connsiteX25298" fmla="*/ 6574989 w 6884782"/>
              <a:gd name="connsiteY25298" fmla="*/ 3344741 h 5973007"/>
              <a:gd name="connsiteX25299" fmla="*/ 6579326 w 6884782"/>
              <a:gd name="connsiteY25299" fmla="*/ 3344637 h 5973007"/>
              <a:gd name="connsiteX25300" fmla="*/ 6584128 w 6884782"/>
              <a:gd name="connsiteY25300" fmla="*/ 3345257 h 5973007"/>
              <a:gd name="connsiteX25301" fmla="*/ 6593422 w 6884782"/>
              <a:gd name="connsiteY25301" fmla="*/ 3345980 h 5973007"/>
              <a:gd name="connsiteX25302" fmla="*/ 6631526 w 6884782"/>
              <a:gd name="connsiteY25302" fmla="*/ 3348974 h 5973007"/>
              <a:gd name="connsiteX25303" fmla="*/ 6629358 w 6884782"/>
              <a:gd name="connsiteY25303" fmla="*/ 3343399 h 5973007"/>
              <a:gd name="connsiteX25304" fmla="*/ 6630133 w 6884782"/>
              <a:gd name="connsiteY25304" fmla="*/ 3338236 h 5973007"/>
              <a:gd name="connsiteX25305" fmla="*/ 6633850 w 6884782"/>
              <a:gd name="connsiteY25305" fmla="*/ 3333486 h 5973007"/>
              <a:gd name="connsiteX25306" fmla="*/ 6639426 w 6884782"/>
              <a:gd name="connsiteY25306" fmla="*/ 3329872 h 5973007"/>
              <a:gd name="connsiteX25307" fmla="*/ 6636638 w 6884782"/>
              <a:gd name="connsiteY25307" fmla="*/ 3329149 h 5973007"/>
              <a:gd name="connsiteX25308" fmla="*/ 6649804 w 6884782"/>
              <a:gd name="connsiteY25308" fmla="*/ 3328736 h 5973007"/>
              <a:gd name="connsiteX25309" fmla="*/ 6647636 w 6884782"/>
              <a:gd name="connsiteY25309" fmla="*/ 3326568 h 5973007"/>
              <a:gd name="connsiteX25310" fmla="*/ 6652128 w 6884782"/>
              <a:gd name="connsiteY25310" fmla="*/ 3326361 h 5973007"/>
              <a:gd name="connsiteX25311" fmla="*/ 6639271 w 6884782"/>
              <a:gd name="connsiteY25311" fmla="*/ 3319443 h 5973007"/>
              <a:gd name="connsiteX25312" fmla="*/ 6633385 w 6884782"/>
              <a:gd name="connsiteY25312" fmla="*/ 3315313 h 5973007"/>
              <a:gd name="connsiteX25313" fmla="*/ 6625331 w 6884782"/>
              <a:gd name="connsiteY25313" fmla="*/ 3311389 h 5973007"/>
              <a:gd name="connsiteX25314" fmla="*/ 6625486 w 6884782"/>
              <a:gd name="connsiteY25314" fmla="*/ 3306433 h 5973007"/>
              <a:gd name="connsiteX25315" fmla="*/ 6620839 w 6884782"/>
              <a:gd name="connsiteY25315" fmla="*/ 3304471 h 5973007"/>
              <a:gd name="connsiteX25316" fmla="*/ 6618050 w 6884782"/>
              <a:gd name="connsiteY25316" fmla="*/ 3304781 h 5973007"/>
              <a:gd name="connsiteX25317" fmla="*/ 6605659 w 6884782"/>
              <a:gd name="connsiteY25317" fmla="*/ 3303748 h 5973007"/>
              <a:gd name="connsiteX25318" fmla="*/ 6606124 w 6884782"/>
              <a:gd name="connsiteY25318" fmla="*/ 3308498 h 5973007"/>
              <a:gd name="connsiteX25319" fmla="*/ 6587536 w 6884782"/>
              <a:gd name="connsiteY25319" fmla="*/ 3307982 h 5973007"/>
              <a:gd name="connsiteX25320" fmla="*/ 6567709 w 6884782"/>
              <a:gd name="connsiteY25320" fmla="*/ 3310873 h 5973007"/>
              <a:gd name="connsiteX25321" fmla="*/ 6553768 w 6884782"/>
              <a:gd name="connsiteY25321" fmla="*/ 3302819 h 5973007"/>
              <a:gd name="connsiteX25322" fmla="*/ 233772 w 6884782"/>
              <a:gd name="connsiteY25322" fmla="*/ 3299933 h 5973007"/>
              <a:gd name="connsiteX25323" fmla="*/ 250706 w 6884782"/>
              <a:gd name="connsiteY25323" fmla="*/ 3310466 h 5973007"/>
              <a:gd name="connsiteX25324" fmla="*/ 247402 w 6884782"/>
              <a:gd name="connsiteY25324" fmla="*/ 3313564 h 5973007"/>
              <a:gd name="connsiteX25325" fmla="*/ 233462 w 6884782"/>
              <a:gd name="connsiteY25325" fmla="*/ 3303341 h 5973007"/>
              <a:gd name="connsiteX25326" fmla="*/ 233772 w 6884782"/>
              <a:gd name="connsiteY25326" fmla="*/ 3299933 h 5973007"/>
              <a:gd name="connsiteX25327" fmla="*/ 298721 w 6884782"/>
              <a:gd name="connsiteY25327" fmla="*/ 3298694 h 5973007"/>
              <a:gd name="connsiteX25328" fmla="*/ 300373 w 6884782"/>
              <a:gd name="connsiteY25328" fmla="*/ 3302721 h 5973007"/>
              <a:gd name="connsiteX25329" fmla="*/ 298514 w 6884782"/>
              <a:gd name="connsiteY25329" fmla="*/ 3305509 h 5973007"/>
              <a:gd name="connsiteX25330" fmla="*/ 297585 w 6884782"/>
              <a:gd name="connsiteY25330" fmla="*/ 3301792 h 5973007"/>
              <a:gd name="connsiteX25331" fmla="*/ 298721 w 6884782"/>
              <a:gd name="connsiteY25331" fmla="*/ 3298694 h 5973007"/>
              <a:gd name="connsiteX25332" fmla="*/ 314132 w 6884782"/>
              <a:gd name="connsiteY25332" fmla="*/ 3298481 h 5973007"/>
              <a:gd name="connsiteX25333" fmla="*/ 320817 w 6884782"/>
              <a:gd name="connsiteY25333" fmla="*/ 3298849 h 5973007"/>
              <a:gd name="connsiteX25334" fmla="*/ 319682 w 6884782"/>
              <a:gd name="connsiteY25334" fmla="*/ 3307213 h 5973007"/>
              <a:gd name="connsiteX25335" fmla="*/ 310388 w 6884782"/>
              <a:gd name="connsiteY25335" fmla="*/ 3304270 h 5973007"/>
              <a:gd name="connsiteX25336" fmla="*/ 314132 w 6884782"/>
              <a:gd name="connsiteY25336" fmla="*/ 3298481 h 5973007"/>
              <a:gd name="connsiteX25337" fmla="*/ 297585 w 6884782"/>
              <a:gd name="connsiteY25337" fmla="*/ 3295131 h 5973007"/>
              <a:gd name="connsiteX25338" fmla="*/ 298824 w 6884782"/>
              <a:gd name="connsiteY25338" fmla="*/ 3295441 h 5973007"/>
              <a:gd name="connsiteX25339" fmla="*/ 299133 w 6884782"/>
              <a:gd name="connsiteY25339" fmla="*/ 3296060 h 5973007"/>
              <a:gd name="connsiteX25340" fmla="*/ 298618 w 6884782"/>
              <a:gd name="connsiteY25340" fmla="*/ 3298539 h 5973007"/>
              <a:gd name="connsiteX25341" fmla="*/ 297172 w 6884782"/>
              <a:gd name="connsiteY25341" fmla="*/ 3295751 h 5973007"/>
              <a:gd name="connsiteX25342" fmla="*/ 298411 w 6884782"/>
              <a:gd name="connsiteY25342" fmla="*/ 3295596 h 5973007"/>
              <a:gd name="connsiteX25343" fmla="*/ 297585 w 6884782"/>
              <a:gd name="connsiteY25343" fmla="*/ 3295131 h 5973007"/>
              <a:gd name="connsiteX25344" fmla="*/ 286226 w 6884782"/>
              <a:gd name="connsiteY25344" fmla="*/ 3291104 h 5973007"/>
              <a:gd name="connsiteX25345" fmla="*/ 286123 w 6884782"/>
              <a:gd name="connsiteY25345" fmla="*/ 3298849 h 5973007"/>
              <a:gd name="connsiteX25346" fmla="*/ 284368 w 6884782"/>
              <a:gd name="connsiteY25346" fmla="*/ 3299623 h 5973007"/>
              <a:gd name="connsiteX25347" fmla="*/ 279928 w 6884782"/>
              <a:gd name="connsiteY25347" fmla="*/ 3299933 h 5973007"/>
              <a:gd name="connsiteX25348" fmla="*/ 278379 w 6884782"/>
              <a:gd name="connsiteY25348" fmla="*/ 3297145 h 5973007"/>
              <a:gd name="connsiteX25349" fmla="*/ 280031 w 6884782"/>
              <a:gd name="connsiteY25349" fmla="*/ 3294047 h 5973007"/>
              <a:gd name="connsiteX25350" fmla="*/ 283129 w 6884782"/>
              <a:gd name="connsiteY25350" fmla="*/ 3292188 h 5973007"/>
              <a:gd name="connsiteX25351" fmla="*/ 286226 w 6884782"/>
              <a:gd name="connsiteY25351" fmla="*/ 3291104 h 5973007"/>
              <a:gd name="connsiteX25352" fmla="*/ 589180 w 6884782"/>
              <a:gd name="connsiteY25352" fmla="*/ 3290020 h 5973007"/>
              <a:gd name="connsiteX25353" fmla="*/ 587941 w 6884782"/>
              <a:gd name="connsiteY25353" fmla="*/ 3292188 h 5973007"/>
              <a:gd name="connsiteX25354" fmla="*/ 589696 w 6884782"/>
              <a:gd name="connsiteY25354" fmla="*/ 3292653 h 5973007"/>
              <a:gd name="connsiteX25355" fmla="*/ 590935 w 6884782"/>
              <a:gd name="connsiteY25355" fmla="*/ 3291414 h 5973007"/>
              <a:gd name="connsiteX25356" fmla="*/ 590832 w 6884782"/>
              <a:gd name="connsiteY25356" fmla="*/ 3291414 h 5973007"/>
              <a:gd name="connsiteX25357" fmla="*/ 6751710 w 6884782"/>
              <a:gd name="connsiteY25357" fmla="*/ 3289571 h 5973007"/>
              <a:gd name="connsiteX25358" fmla="*/ 6780847 w 6884782"/>
              <a:gd name="connsiteY25358" fmla="*/ 3302819 h 5973007"/>
              <a:gd name="connsiteX25359" fmla="*/ 6810122 w 6884782"/>
              <a:gd name="connsiteY25359" fmla="*/ 3314797 h 5973007"/>
              <a:gd name="connsiteX25360" fmla="*/ 6811516 w 6884782"/>
              <a:gd name="connsiteY25360" fmla="*/ 3316345 h 5973007"/>
              <a:gd name="connsiteX25361" fmla="*/ 6812910 w 6884782"/>
              <a:gd name="connsiteY25361" fmla="*/ 3315520 h 5973007"/>
              <a:gd name="connsiteX25362" fmla="*/ 6836144 w 6884782"/>
              <a:gd name="connsiteY25362" fmla="*/ 3322747 h 5973007"/>
              <a:gd name="connsiteX25363" fmla="*/ 6827006 w 6884782"/>
              <a:gd name="connsiteY25363" fmla="*/ 3327084 h 5973007"/>
              <a:gd name="connsiteX25364" fmla="*/ 6823753 w 6884782"/>
              <a:gd name="connsiteY25364" fmla="*/ 3326878 h 5973007"/>
              <a:gd name="connsiteX25365" fmla="*/ 6830413 w 6884782"/>
              <a:gd name="connsiteY25365" fmla="*/ 3330492 h 5973007"/>
              <a:gd name="connsiteX25366" fmla="*/ 6838778 w 6884782"/>
              <a:gd name="connsiteY25366" fmla="*/ 3337203 h 5973007"/>
              <a:gd name="connsiteX25367" fmla="*/ 6831343 w 6884782"/>
              <a:gd name="connsiteY25367" fmla="*/ 3333486 h 5973007"/>
              <a:gd name="connsiteX25368" fmla="*/ 6822823 w 6884782"/>
              <a:gd name="connsiteY25368" fmla="*/ 3328633 h 5973007"/>
              <a:gd name="connsiteX25369" fmla="*/ 6819571 w 6884782"/>
              <a:gd name="connsiteY25369" fmla="*/ 3326671 h 5973007"/>
              <a:gd name="connsiteX25370" fmla="*/ 6813065 w 6884782"/>
              <a:gd name="connsiteY25370" fmla="*/ 3323367 h 5973007"/>
              <a:gd name="connsiteX25371" fmla="*/ 6808573 w 6884782"/>
              <a:gd name="connsiteY25371" fmla="*/ 3319959 h 5973007"/>
              <a:gd name="connsiteX25372" fmla="*/ 6804701 w 6884782"/>
              <a:gd name="connsiteY25372" fmla="*/ 3317791 h 5973007"/>
              <a:gd name="connsiteX25373" fmla="*/ 6766596 w 6884782"/>
              <a:gd name="connsiteY25373" fmla="*/ 3297656 h 5973007"/>
              <a:gd name="connsiteX25374" fmla="*/ 6754998 w 6884782"/>
              <a:gd name="connsiteY25374" fmla="*/ 3295346 h 5973007"/>
              <a:gd name="connsiteX25375" fmla="*/ 6750642 w 6884782"/>
              <a:gd name="connsiteY25375" fmla="*/ 3287697 h 5973007"/>
              <a:gd name="connsiteX25376" fmla="*/ 6751710 w 6884782"/>
              <a:gd name="connsiteY25376" fmla="*/ 3289571 h 5973007"/>
              <a:gd name="connsiteX25377" fmla="*/ 6750642 w 6884782"/>
              <a:gd name="connsiteY25377" fmla="*/ 3289086 h 5973007"/>
              <a:gd name="connsiteX25378" fmla="*/ 131652 w 6884782"/>
              <a:gd name="connsiteY25378" fmla="*/ 3286147 h 5973007"/>
              <a:gd name="connsiteX25379" fmla="*/ 147966 w 6884782"/>
              <a:gd name="connsiteY25379" fmla="*/ 3306129 h 5973007"/>
              <a:gd name="connsiteX25380" fmla="*/ 150135 w 6884782"/>
              <a:gd name="connsiteY25380" fmla="*/ 3313254 h 5973007"/>
              <a:gd name="connsiteX25381" fmla="*/ 151271 w 6884782"/>
              <a:gd name="connsiteY25381" fmla="*/ 3312790 h 5973007"/>
              <a:gd name="connsiteX25382" fmla="*/ 153749 w 6884782"/>
              <a:gd name="connsiteY25382" fmla="*/ 3313099 h 5973007"/>
              <a:gd name="connsiteX25383" fmla="*/ 153646 w 6884782"/>
              <a:gd name="connsiteY25383" fmla="*/ 3320534 h 5973007"/>
              <a:gd name="connsiteX25384" fmla="*/ 150961 w 6884782"/>
              <a:gd name="connsiteY25384" fmla="*/ 3321154 h 5973007"/>
              <a:gd name="connsiteX25385" fmla="*/ 147863 w 6884782"/>
              <a:gd name="connsiteY25385" fmla="*/ 3315732 h 5973007"/>
              <a:gd name="connsiteX25386" fmla="*/ 149309 w 6884782"/>
              <a:gd name="connsiteY25386" fmla="*/ 3313719 h 5973007"/>
              <a:gd name="connsiteX25387" fmla="*/ 145385 w 6884782"/>
              <a:gd name="connsiteY25387" fmla="*/ 3315732 h 5973007"/>
              <a:gd name="connsiteX25388" fmla="*/ 140532 w 6884782"/>
              <a:gd name="connsiteY25388" fmla="*/ 3315113 h 5973007"/>
              <a:gd name="connsiteX25389" fmla="*/ 121326 w 6884782"/>
              <a:gd name="connsiteY25389" fmla="*/ 3286457 h 5973007"/>
              <a:gd name="connsiteX25390" fmla="*/ 131652 w 6884782"/>
              <a:gd name="connsiteY25390" fmla="*/ 3286147 h 5973007"/>
              <a:gd name="connsiteX25391" fmla="*/ 565225 w 6884782"/>
              <a:gd name="connsiteY25391" fmla="*/ 3285528 h 5973007"/>
              <a:gd name="connsiteX25392" fmla="*/ 559029 w 6884782"/>
              <a:gd name="connsiteY25392" fmla="*/ 3286302 h 5973007"/>
              <a:gd name="connsiteX25393" fmla="*/ 551801 w 6884782"/>
              <a:gd name="connsiteY25393" fmla="*/ 3297610 h 5973007"/>
              <a:gd name="connsiteX25394" fmla="*/ 543541 w 6884782"/>
              <a:gd name="connsiteY25394" fmla="*/ 3307213 h 5973007"/>
              <a:gd name="connsiteX25395" fmla="*/ 546329 w 6884782"/>
              <a:gd name="connsiteY25395" fmla="*/ 3297300 h 5973007"/>
              <a:gd name="connsiteX25396" fmla="*/ 548084 w 6884782"/>
              <a:gd name="connsiteY25396" fmla="*/ 3292963 h 5973007"/>
              <a:gd name="connsiteX25397" fmla="*/ 545399 w 6884782"/>
              <a:gd name="connsiteY25397" fmla="*/ 3294047 h 5973007"/>
              <a:gd name="connsiteX25398" fmla="*/ 542921 w 6884782"/>
              <a:gd name="connsiteY25398" fmla="*/ 3293427 h 5973007"/>
              <a:gd name="connsiteX25399" fmla="*/ 539411 w 6884782"/>
              <a:gd name="connsiteY25399" fmla="*/ 3298384 h 5973007"/>
              <a:gd name="connsiteX25400" fmla="*/ 535281 w 6884782"/>
              <a:gd name="connsiteY25400" fmla="*/ 3314493 h 5973007"/>
              <a:gd name="connsiteX25401" fmla="*/ 534764 w 6884782"/>
              <a:gd name="connsiteY25401" fmla="*/ 3301172 h 5973007"/>
              <a:gd name="connsiteX25402" fmla="*/ 532699 w 6884782"/>
              <a:gd name="connsiteY25402" fmla="*/ 3303496 h 5973007"/>
              <a:gd name="connsiteX25403" fmla="*/ 532493 w 6884782"/>
              <a:gd name="connsiteY25403" fmla="*/ 3299003 h 5973007"/>
              <a:gd name="connsiteX25404" fmla="*/ 525471 w 6884782"/>
              <a:gd name="connsiteY25404" fmla="*/ 3311860 h 5973007"/>
              <a:gd name="connsiteX25405" fmla="*/ 521444 w 6884782"/>
              <a:gd name="connsiteY25405" fmla="*/ 3317746 h 5973007"/>
              <a:gd name="connsiteX25406" fmla="*/ 517417 w 6884782"/>
              <a:gd name="connsiteY25406" fmla="*/ 3325801 h 5973007"/>
              <a:gd name="connsiteX25407" fmla="*/ 512564 w 6884782"/>
              <a:gd name="connsiteY25407" fmla="*/ 3325646 h 5973007"/>
              <a:gd name="connsiteX25408" fmla="*/ 510499 w 6884782"/>
              <a:gd name="connsiteY25408" fmla="*/ 3330138 h 5973007"/>
              <a:gd name="connsiteX25409" fmla="*/ 510602 w 6884782"/>
              <a:gd name="connsiteY25409" fmla="*/ 3330292 h 5973007"/>
              <a:gd name="connsiteX25410" fmla="*/ 515559 w 6884782"/>
              <a:gd name="connsiteY25410" fmla="*/ 3329208 h 5973007"/>
              <a:gd name="connsiteX25411" fmla="*/ 520308 w 6884782"/>
              <a:gd name="connsiteY25411" fmla="*/ 3332461 h 5973007"/>
              <a:gd name="connsiteX25412" fmla="*/ 514732 w 6884782"/>
              <a:gd name="connsiteY25412" fmla="*/ 3334939 h 5973007"/>
              <a:gd name="connsiteX25413" fmla="*/ 510705 w 6884782"/>
              <a:gd name="connsiteY25413" fmla="*/ 3336643 h 5973007"/>
              <a:gd name="connsiteX25414" fmla="*/ 510602 w 6884782"/>
              <a:gd name="connsiteY25414" fmla="*/ 3338347 h 5973007"/>
              <a:gd name="connsiteX25415" fmla="*/ 510189 w 6884782"/>
              <a:gd name="connsiteY25415" fmla="*/ 3342529 h 5973007"/>
              <a:gd name="connsiteX25416" fmla="*/ 511325 w 6884782"/>
              <a:gd name="connsiteY25416" fmla="*/ 3342529 h 5973007"/>
              <a:gd name="connsiteX25417" fmla="*/ 517314 w 6884782"/>
              <a:gd name="connsiteY25417" fmla="*/ 3344698 h 5973007"/>
              <a:gd name="connsiteX25418" fmla="*/ 519069 w 6884782"/>
              <a:gd name="connsiteY25418" fmla="*/ 3346557 h 5973007"/>
              <a:gd name="connsiteX25419" fmla="*/ 520825 w 6884782"/>
              <a:gd name="connsiteY25419" fmla="*/ 3347486 h 5973007"/>
              <a:gd name="connsiteX25420" fmla="*/ 523303 w 6884782"/>
              <a:gd name="connsiteY25420" fmla="*/ 3352907 h 5973007"/>
              <a:gd name="connsiteX25421" fmla="*/ 520515 w 6884782"/>
              <a:gd name="connsiteY25421" fmla="*/ 3351823 h 5973007"/>
              <a:gd name="connsiteX25422" fmla="*/ 520515 w 6884782"/>
              <a:gd name="connsiteY25422" fmla="*/ 3352753 h 5973007"/>
              <a:gd name="connsiteX25423" fmla="*/ 516385 w 6884782"/>
              <a:gd name="connsiteY25423" fmla="*/ 3353062 h 5973007"/>
              <a:gd name="connsiteX25424" fmla="*/ 515352 w 6884782"/>
              <a:gd name="connsiteY25424" fmla="*/ 3350119 h 5973007"/>
              <a:gd name="connsiteX25425" fmla="*/ 514320 w 6884782"/>
              <a:gd name="connsiteY25425" fmla="*/ 3349810 h 5973007"/>
              <a:gd name="connsiteX25426" fmla="*/ 514010 w 6884782"/>
              <a:gd name="connsiteY25426" fmla="*/ 3353372 h 5973007"/>
              <a:gd name="connsiteX25427" fmla="*/ 514113 w 6884782"/>
              <a:gd name="connsiteY25427" fmla="*/ 3363595 h 5973007"/>
              <a:gd name="connsiteX25428" fmla="*/ 517004 w 6884782"/>
              <a:gd name="connsiteY25428" fmla="*/ 3383422 h 5973007"/>
              <a:gd name="connsiteX25429" fmla="*/ 514320 w 6884782"/>
              <a:gd name="connsiteY25429" fmla="*/ 3383887 h 5973007"/>
              <a:gd name="connsiteX25430" fmla="*/ 517417 w 6884782"/>
              <a:gd name="connsiteY25430" fmla="*/ 3386675 h 5973007"/>
              <a:gd name="connsiteX25431" fmla="*/ 518450 w 6884782"/>
              <a:gd name="connsiteY25431" fmla="*/ 3392096 h 5973007"/>
              <a:gd name="connsiteX25432" fmla="*/ 516075 w 6884782"/>
              <a:gd name="connsiteY25432" fmla="*/ 3396433 h 5973007"/>
              <a:gd name="connsiteX25433" fmla="*/ 516385 w 6884782"/>
              <a:gd name="connsiteY25433" fmla="*/ 3398292 h 5973007"/>
              <a:gd name="connsiteX25434" fmla="*/ 515972 w 6884782"/>
              <a:gd name="connsiteY25434" fmla="*/ 3399222 h 5973007"/>
              <a:gd name="connsiteX25435" fmla="*/ 521548 w 6884782"/>
              <a:gd name="connsiteY25435" fmla="*/ 3402319 h 5973007"/>
              <a:gd name="connsiteX25436" fmla="*/ 526297 w 6884782"/>
              <a:gd name="connsiteY25436" fmla="*/ 3406657 h 5973007"/>
              <a:gd name="connsiteX25437" fmla="*/ 523509 w 6884782"/>
              <a:gd name="connsiteY25437" fmla="*/ 3406657 h 5973007"/>
              <a:gd name="connsiteX25438" fmla="*/ 522373 w 6884782"/>
              <a:gd name="connsiteY25438" fmla="*/ 3406192 h 5973007"/>
              <a:gd name="connsiteX25439" fmla="*/ 521548 w 6884782"/>
              <a:gd name="connsiteY25439" fmla="*/ 3406347 h 5973007"/>
              <a:gd name="connsiteX25440" fmla="*/ 521238 w 6884782"/>
              <a:gd name="connsiteY25440" fmla="*/ 3405572 h 5973007"/>
              <a:gd name="connsiteX25441" fmla="*/ 518966 w 6884782"/>
              <a:gd name="connsiteY25441" fmla="*/ 3404488 h 5973007"/>
              <a:gd name="connsiteX25442" fmla="*/ 513081 w 6884782"/>
              <a:gd name="connsiteY25442" fmla="*/ 3403558 h 5973007"/>
              <a:gd name="connsiteX25443" fmla="*/ 512771 w 6884782"/>
              <a:gd name="connsiteY25443" fmla="*/ 3403404 h 5973007"/>
              <a:gd name="connsiteX25444" fmla="*/ 512358 w 6884782"/>
              <a:gd name="connsiteY25444" fmla="*/ 3403558 h 5973007"/>
              <a:gd name="connsiteX25445" fmla="*/ 513596 w 6884782"/>
              <a:gd name="connsiteY25445" fmla="*/ 3405572 h 5973007"/>
              <a:gd name="connsiteX25446" fmla="*/ 514526 w 6884782"/>
              <a:gd name="connsiteY25446" fmla="*/ 3406192 h 5973007"/>
              <a:gd name="connsiteX25447" fmla="*/ 514526 w 6884782"/>
              <a:gd name="connsiteY25447" fmla="*/ 3406037 h 5973007"/>
              <a:gd name="connsiteX25448" fmla="*/ 519069 w 6884782"/>
              <a:gd name="connsiteY25448" fmla="*/ 3408515 h 5973007"/>
              <a:gd name="connsiteX25449" fmla="*/ 518553 w 6884782"/>
              <a:gd name="connsiteY25449" fmla="*/ 3413007 h 5973007"/>
              <a:gd name="connsiteX25450" fmla="*/ 518037 w 6884782"/>
              <a:gd name="connsiteY25450" fmla="*/ 3413472 h 5973007"/>
              <a:gd name="connsiteX25451" fmla="*/ 525884 w 6884782"/>
              <a:gd name="connsiteY25451" fmla="*/ 3413936 h 5973007"/>
              <a:gd name="connsiteX25452" fmla="*/ 541682 w 6884782"/>
              <a:gd name="connsiteY25452" fmla="*/ 3415021 h 5973007"/>
              <a:gd name="connsiteX25453" fmla="*/ 547878 w 6884782"/>
              <a:gd name="connsiteY25453" fmla="*/ 3408360 h 5973007"/>
              <a:gd name="connsiteX25454" fmla="*/ 551905 w 6884782"/>
              <a:gd name="connsiteY25454" fmla="*/ 3405882 h 5973007"/>
              <a:gd name="connsiteX25455" fmla="*/ 551595 w 6884782"/>
              <a:gd name="connsiteY25455" fmla="*/ 3403869 h 5973007"/>
              <a:gd name="connsiteX25456" fmla="*/ 550975 w 6884782"/>
              <a:gd name="connsiteY25456" fmla="*/ 3401545 h 5973007"/>
              <a:gd name="connsiteX25457" fmla="*/ 549117 w 6884782"/>
              <a:gd name="connsiteY25457" fmla="*/ 3402474 h 5973007"/>
              <a:gd name="connsiteX25458" fmla="*/ 546845 w 6884782"/>
              <a:gd name="connsiteY25458" fmla="*/ 3402165 h 5973007"/>
              <a:gd name="connsiteX25459" fmla="*/ 544780 w 6884782"/>
              <a:gd name="connsiteY25459" fmla="*/ 3397827 h 5973007"/>
              <a:gd name="connsiteX25460" fmla="*/ 546019 w 6884782"/>
              <a:gd name="connsiteY25460" fmla="*/ 3396279 h 5973007"/>
              <a:gd name="connsiteX25461" fmla="*/ 546949 w 6884782"/>
              <a:gd name="connsiteY25461" fmla="*/ 3396433 h 5973007"/>
              <a:gd name="connsiteX25462" fmla="*/ 549323 w 6884782"/>
              <a:gd name="connsiteY25462" fmla="*/ 3396588 h 5973007"/>
              <a:gd name="connsiteX25463" fmla="*/ 548807 w 6884782"/>
              <a:gd name="connsiteY25463" fmla="*/ 3395039 h 5973007"/>
              <a:gd name="connsiteX25464" fmla="*/ 550046 w 6884782"/>
              <a:gd name="connsiteY25464" fmla="*/ 3383887 h 5973007"/>
              <a:gd name="connsiteX25465" fmla="*/ 542508 w 6884782"/>
              <a:gd name="connsiteY25465" fmla="*/ 3376916 h 5973007"/>
              <a:gd name="connsiteX25466" fmla="*/ 536932 w 6884782"/>
              <a:gd name="connsiteY25466" fmla="*/ 3371650 h 5973007"/>
              <a:gd name="connsiteX25467" fmla="*/ 534248 w 6884782"/>
              <a:gd name="connsiteY25467" fmla="*/ 3371340 h 5973007"/>
              <a:gd name="connsiteX25468" fmla="*/ 534145 w 6884782"/>
              <a:gd name="connsiteY25468" fmla="*/ 3369017 h 5973007"/>
              <a:gd name="connsiteX25469" fmla="*/ 531873 w 6884782"/>
              <a:gd name="connsiteY25469" fmla="*/ 3367003 h 5973007"/>
              <a:gd name="connsiteX25470" fmla="*/ 532080 w 6884782"/>
              <a:gd name="connsiteY25470" fmla="*/ 3366074 h 5973007"/>
              <a:gd name="connsiteX25471" fmla="*/ 530221 w 6884782"/>
              <a:gd name="connsiteY25471" fmla="*/ 3366074 h 5973007"/>
              <a:gd name="connsiteX25472" fmla="*/ 528672 w 6884782"/>
              <a:gd name="connsiteY25472" fmla="*/ 3365144 h 5973007"/>
              <a:gd name="connsiteX25473" fmla="*/ 526917 w 6884782"/>
              <a:gd name="connsiteY25473" fmla="*/ 3358793 h 5973007"/>
              <a:gd name="connsiteX25474" fmla="*/ 528259 w 6884782"/>
              <a:gd name="connsiteY25474" fmla="*/ 3354921 h 5973007"/>
              <a:gd name="connsiteX25475" fmla="*/ 532906 w 6884782"/>
              <a:gd name="connsiteY25475" fmla="*/ 3353062 h 5973007"/>
              <a:gd name="connsiteX25476" fmla="*/ 533112 w 6884782"/>
              <a:gd name="connsiteY25476" fmla="*/ 3353062 h 5973007"/>
              <a:gd name="connsiteX25477" fmla="*/ 532906 w 6884782"/>
              <a:gd name="connsiteY25477" fmla="*/ 3348725 h 5973007"/>
              <a:gd name="connsiteX25478" fmla="*/ 538482 w 6884782"/>
              <a:gd name="connsiteY25478" fmla="*/ 3331377 h 5973007"/>
              <a:gd name="connsiteX25479" fmla="*/ 549943 w 6884782"/>
              <a:gd name="connsiteY25479" fmla="*/ 3326265 h 5973007"/>
              <a:gd name="connsiteX25480" fmla="*/ 554899 w 6884782"/>
              <a:gd name="connsiteY25480" fmla="*/ 3322393 h 5973007"/>
              <a:gd name="connsiteX25481" fmla="*/ 555209 w 6884782"/>
              <a:gd name="connsiteY25481" fmla="*/ 3318056 h 5973007"/>
              <a:gd name="connsiteX25482" fmla="*/ 559546 w 6884782"/>
              <a:gd name="connsiteY25482" fmla="*/ 3318830 h 5973007"/>
              <a:gd name="connsiteX25483" fmla="*/ 555725 w 6884782"/>
              <a:gd name="connsiteY25483" fmla="*/ 3314028 h 5973007"/>
              <a:gd name="connsiteX25484" fmla="*/ 558926 w 6884782"/>
              <a:gd name="connsiteY25484" fmla="*/ 3308762 h 5973007"/>
              <a:gd name="connsiteX25485" fmla="*/ 559339 w 6884782"/>
              <a:gd name="connsiteY25485" fmla="*/ 3307213 h 5973007"/>
              <a:gd name="connsiteX25486" fmla="*/ 558720 w 6884782"/>
              <a:gd name="connsiteY25486" fmla="*/ 3304270 h 5973007"/>
              <a:gd name="connsiteX25487" fmla="*/ 560268 w 6884782"/>
              <a:gd name="connsiteY25487" fmla="*/ 3303341 h 5973007"/>
              <a:gd name="connsiteX25488" fmla="*/ 560475 w 6884782"/>
              <a:gd name="connsiteY25488" fmla="*/ 3303496 h 5973007"/>
              <a:gd name="connsiteX25489" fmla="*/ 560991 w 6884782"/>
              <a:gd name="connsiteY25489" fmla="*/ 3301482 h 5973007"/>
              <a:gd name="connsiteX25490" fmla="*/ 562437 w 6884782"/>
              <a:gd name="connsiteY25490" fmla="*/ 3298229 h 5973007"/>
              <a:gd name="connsiteX25491" fmla="*/ 561921 w 6884782"/>
              <a:gd name="connsiteY25491" fmla="*/ 3298849 h 5973007"/>
              <a:gd name="connsiteX25492" fmla="*/ 565535 w 6884782"/>
              <a:gd name="connsiteY25492" fmla="*/ 3290020 h 5973007"/>
              <a:gd name="connsiteX25493" fmla="*/ 565431 w 6884782"/>
              <a:gd name="connsiteY25493" fmla="*/ 3288935 h 5973007"/>
              <a:gd name="connsiteX25494" fmla="*/ 565225 w 6884782"/>
              <a:gd name="connsiteY25494" fmla="*/ 3288006 h 5973007"/>
              <a:gd name="connsiteX25495" fmla="*/ 565431 w 6884782"/>
              <a:gd name="connsiteY25495" fmla="*/ 3287541 h 5973007"/>
              <a:gd name="connsiteX25496" fmla="*/ 157466 w 6884782"/>
              <a:gd name="connsiteY25496" fmla="*/ 3284908 h 5973007"/>
              <a:gd name="connsiteX25497" fmla="*/ 170786 w 6884782"/>
              <a:gd name="connsiteY25497" fmla="*/ 3287232 h 5973007"/>
              <a:gd name="connsiteX25498" fmla="*/ 184313 w 6884782"/>
              <a:gd name="connsiteY25498" fmla="*/ 3315578 h 5973007"/>
              <a:gd name="connsiteX25499" fmla="*/ 176775 w 6884782"/>
              <a:gd name="connsiteY25499" fmla="*/ 3319450 h 5973007"/>
              <a:gd name="connsiteX25500" fmla="*/ 155504 w 6884782"/>
              <a:gd name="connsiteY25500" fmla="*/ 3295751 h 5973007"/>
              <a:gd name="connsiteX25501" fmla="*/ 155504 w 6884782"/>
              <a:gd name="connsiteY25501" fmla="*/ 3290949 h 5973007"/>
              <a:gd name="connsiteX25502" fmla="*/ 157466 w 6884782"/>
              <a:gd name="connsiteY25502" fmla="*/ 3284908 h 5973007"/>
              <a:gd name="connsiteX25503" fmla="*/ 6705722 w 6884782"/>
              <a:gd name="connsiteY25503" fmla="*/ 3284822 h 5973007"/>
              <a:gd name="connsiteX25504" fmla="*/ 6704328 w 6884782"/>
              <a:gd name="connsiteY25504" fmla="*/ 3295901 h 5973007"/>
              <a:gd name="connsiteX25505" fmla="*/ 6700301 w 6884782"/>
              <a:gd name="connsiteY25505" fmla="*/ 3287640 h 5973007"/>
              <a:gd name="connsiteX25506" fmla="*/ 6705722 w 6884782"/>
              <a:gd name="connsiteY25506" fmla="*/ 3284822 h 5973007"/>
              <a:gd name="connsiteX25507" fmla="*/ 243994 w 6884782"/>
              <a:gd name="connsiteY25507" fmla="*/ 3282120 h 5973007"/>
              <a:gd name="connsiteX25508" fmla="*/ 254011 w 6884782"/>
              <a:gd name="connsiteY25508" fmla="*/ 3290794 h 5973007"/>
              <a:gd name="connsiteX25509" fmla="*/ 248641 w 6884782"/>
              <a:gd name="connsiteY25509" fmla="*/ 3296060 h 5973007"/>
              <a:gd name="connsiteX25510" fmla="*/ 239658 w 6884782"/>
              <a:gd name="connsiteY25510" fmla="*/ 3291414 h 5973007"/>
              <a:gd name="connsiteX25511" fmla="*/ 239864 w 6884782"/>
              <a:gd name="connsiteY25511" fmla="*/ 3287541 h 5973007"/>
              <a:gd name="connsiteX25512" fmla="*/ 243994 w 6884782"/>
              <a:gd name="connsiteY25512" fmla="*/ 3282120 h 5973007"/>
              <a:gd name="connsiteX25513" fmla="*/ 333931 w 6884782"/>
              <a:gd name="connsiteY25513" fmla="*/ 3281655 h 5973007"/>
              <a:gd name="connsiteX25514" fmla="*/ 338577 w 6884782"/>
              <a:gd name="connsiteY25514" fmla="*/ 3289710 h 5973007"/>
              <a:gd name="connsiteX25515" fmla="*/ 336616 w 6884782"/>
              <a:gd name="connsiteY25515" fmla="*/ 3290329 h 5973007"/>
              <a:gd name="connsiteX25516" fmla="*/ 337132 w 6884782"/>
              <a:gd name="connsiteY25516" fmla="*/ 3290794 h 5973007"/>
              <a:gd name="connsiteX25517" fmla="*/ 338267 w 6884782"/>
              <a:gd name="connsiteY25517" fmla="*/ 3294976 h 5973007"/>
              <a:gd name="connsiteX25518" fmla="*/ 335790 w 6884782"/>
              <a:gd name="connsiteY25518" fmla="*/ 3292188 h 5973007"/>
              <a:gd name="connsiteX25519" fmla="*/ 334860 w 6884782"/>
              <a:gd name="connsiteY25519" fmla="*/ 3290949 h 5973007"/>
              <a:gd name="connsiteX25520" fmla="*/ 332485 w 6884782"/>
              <a:gd name="connsiteY25520" fmla="*/ 3291723 h 5973007"/>
              <a:gd name="connsiteX25521" fmla="*/ 326393 w 6884782"/>
              <a:gd name="connsiteY25521" fmla="*/ 3288625 h 5973007"/>
              <a:gd name="connsiteX25522" fmla="*/ 333931 w 6884782"/>
              <a:gd name="connsiteY25522" fmla="*/ 3281655 h 5973007"/>
              <a:gd name="connsiteX25523" fmla="*/ 309149 w 6884782"/>
              <a:gd name="connsiteY25523" fmla="*/ 3278712 h 5973007"/>
              <a:gd name="connsiteX25524" fmla="*/ 319578 w 6884782"/>
              <a:gd name="connsiteY25524" fmla="*/ 3280881 h 5973007"/>
              <a:gd name="connsiteX25525" fmla="*/ 319682 w 6884782"/>
              <a:gd name="connsiteY25525" fmla="*/ 3284443 h 5973007"/>
              <a:gd name="connsiteX25526" fmla="*/ 308840 w 6884782"/>
              <a:gd name="connsiteY25526" fmla="*/ 3283978 h 5973007"/>
              <a:gd name="connsiteX25527" fmla="*/ 309149 w 6884782"/>
              <a:gd name="connsiteY25527" fmla="*/ 3278712 h 5973007"/>
              <a:gd name="connsiteX25528" fmla="*/ 6815233 w 6884782"/>
              <a:gd name="connsiteY25528" fmla="*/ 3275766 h 5973007"/>
              <a:gd name="connsiteX25529" fmla="*/ 6826851 w 6884782"/>
              <a:gd name="connsiteY25529" fmla="*/ 3288466 h 5973007"/>
              <a:gd name="connsiteX25530" fmla="*/ 6828245 w 6884782"/>
              <a:gd name="connsiteY25530" fmla="*/ 3289189 h 5973007"/>
              <a:gd name="connsiteX25531" fmla="*/ 6830104 w 6884782"/>
              <a:gd name="connsiteY25531" fmla="*/ 3288673 h 5973007"/>
              <a:gd name="connsiteX25532" fmla="*/ 6836454 w 6884782"/>
              <a:gd name="connsiteY25532" fmla="*/ 3292803 h 5973007"/>
              <a:gd name="connsiteX25533" fmla="*/ 6835835 w 6884782"/>
              <a:gd name="connsiteY25533" fmla="*/ 3293732 h 5973007"/>
              <a:gd name="connsiteX25534" fmla="*/ 6843889 w 6884782"/>
              <a:gd name="connsiteY25534" fmla="*/ 3298172 h 5973007"/>
              <a:gd name="connsiteX25535" fmla="*/ 6838003 w 6884782"/>
              <a:gd name="connsiteY25535" fmla="*/ 3298586 h 5973007"/>
              <a:gd name="connsiteX25536" fmla="*/ 6863716 w 6884782"/>
              <a:gd name="connsiteY25536" fmla="*/ 3310357 h 5973007"/>
              <a:gd name="connsiteX25537" fmla="*/ 6875798 w 6884782"/>
              <a:gd name="connsiteY25537" fmla="*/ 3323780 h 5973007"/>
              <a:gd name="connsiteX25538" fmla="*/ 6884782 w 6884782"/>
              <a:gd name="connsiteY25538" fmla="*/ 3330285 h 5973007"/>
              <a:gd name="connsiteX25539" fmla="*/ 6884782 w 6884782"/>
              <a:gd name="connsiteY25539" fmla="*/ 3352382 h 5973007"/>
              <a:gd name="connsiteX25540" fmla="*/ 6873784 w 6884782"/>
              <a:gd name="connsiteY25540" fmla="*/ 3344328 h 5973007"/>
              <a:gd name="connsiteX25541" fmla="*/ 6857210 w 6884782"/>
              <a:gd name="connsiteY25541" fmla="*/ 3327188 h 5973007"/>
              <a:gd name="connsiteX25542" fmla="*/ 6839707 w 6884782"/>
              <a:gd name="connsiteY25542" fmla="*/ 3318824 h 5973007"/>
              <a:gd name="connsiteX25543" fmla="*/ 6843734 w 6884782"/>
              <a:gd name="connsiteY25543" fmla="*/ 3315520 h 5973007"/>
              <a:gd name="connsiteX25544" fmla="*/ 6823288 w 6884782"/>
              <a:gd name="connsiteY25544" fmla="*/ 3305400 h 5973007"/>
              <a:gd name="connsiteX25545" fmla="*/ 6807489 w 6884782"/>
              <a:gd name="connsiteY25545" fmla="*/ 3292184 h 5973007"/>
              <a:gd name="connsiteX25546" fmla="*/ 6817867 w 6884782"/>
              <a:gd name="connsiteY25546" fmla="*/ 3299928 h 5973007"/>
              <a:gd name="connsiteX25547" fmla="*/ 6801448 w 6884782"/>
              <a:gd name="connsiteY25547" fmla="*/ 3279896 h 5973007"/>
              <a:gd name="connsiteX25548" fmla="*/ 6809193 w 6884782"/>
              <a:gd name="connsiteY25548" fmla="*/ 3278450 h 5973007"/>
              <a:gd name="connsiteX25549" fmla="*/ 6815233 w 6884782"/>
              <a:gd name="connsiteY25549" fmla="*/ 3275766 h 5973007"/>
              <a:gd name="connsiteX25550" fmla="*/ 517933 w 6884782"/>
              <a:gd name="connsiteY25550" fmla="*/ 3275150 h 5973007"/>
              <a:gd name="connsiteX25551" fmla="*/ 517727 w 6884782"/>
              <a:gd name="connsiteY25551" fmla="*/ 3275769 h 5973007"/>
              <a:gd name="connsiteX25552" fmla="*/ 515662 w 6884782"/>
              <a:gd name="connsiteY25552" fmla="*/ 3277783 h 5973007"/>
              <a:gd name="connsiteX25553" fmla="*/ 516901 w 6884782"/>
              <a:gd name="connsiteY25553" fmla="*/ 3279796 h 5973007"/>
              <a:gd name="connsiteX25554" fmla="*/ 519792 w 6884782"/>
              <a:gd name="connsiteY25554" fmla="*/ 3279022 h 5973007"/>
              <a:gd name="connsiteX25555" fmla="*/ 519482 w 6884782"/>
              <a:gd name="connsiteY25555" fmla="*/ 3277938 h 5973007"/>
              <a:gd name="connsiteX25556" fmla="*/ 517933 w 6884782"/>
              <a:gd name="connsiteY25556" fmla="*/ 3278092 h 5973007"/>
              <a:gd name="connsiteX25557" fmla="*/ 518450 w 6884782"/>
              <a:gd name="connsiteY25557" fmla="*/ 3269109 h 5973007"/>
              <a:gd name="connsiteX25558" fmla="*/ 515868 w 6884782"/>
              <a:gd name="connsiteY25558" fmla="*/ 3269883 h 5973007"/>
              <a:gd name="connsiteX25559" fmla="*/ 517933 w 6884782"/>
              <a:gd name="connsiteY25559" fmla="*/ 3273600 h 5973007"/>
              <a:gd name="connsiteX25560" fmla="*/ 518037 w 6884782"/>
              <a:gd name="connsiteY25560" fmla="*/ 3272671 h 5973007"/>
              <a:gd name="connsiteX25561" fmla="*/ 519586 w 6884782"/>
              <a:gd name="connsiteY25561" fmla="*/ 3269109 h 5973007"/>
              <a:gd name="connsiteX25562" fmla="*/ 601055 w 6884782"/>
              <a:gd name="connsiteY25562" fmla="*/ 3268954 h 5973007"/>
              <a:gd name="connsiteX25563" fmla="*/ 597337 w 6884782"/>
              <a:gd name="connsiteY25563" fmla="*/ 3270038 h 5973007"/>
              <a:gd name="connsiteX25564" fmla="*/ 597854 w 6884782"/>
              <a:gd name="connsiteY25564" fmla="*/ 3270348 h 5973007"/>
              <a:gd name="connsiteX25565" fmla="*/ 593414 w 6884782"/>
              <a:gd name="connsiteY25565" fmla="*/ 3275614 h 5973007"/>
              <a:gd name="connsiteX25566" fmla="*/ 592278 w 6884782"/>
              <a:gd name="connsiteY25566" fmla="*/ 3279796 h 5973007"/>
              <a:gd name="connsiteX25567" fmla="*/ 591039 w 6884782"/>
              <a:gd name="connsiteY25567" fmla="*/ 3284908 h 5973007"/>
              <a:gd name="connsiteX25568" fmla="*/ 590832 w 6884782"/>
              <a:gd name="connsiteY25568" fmla="*/ 3285682 h 5973007"/>
              <a:gd name="connsiteX25569" fmla="*/ 593414 w 6884782"/>
              <a:gd name="connsiteY25569" fmla="*/ 3283204 h 5973007"/>
              <a:gd name="connsiteX25570" fmla="*/ 599506 w 6884782"/>
              <a:gd name="connsiteY25570" fmla="*/ 3269883 h 5973007"/>
              <a:gd name="connsiteX25571" fmla="*/ 229448 w 6884782"/>
              <a:gd name="connsiteY25571" fmla="*/ 3265759 h 5973007"/>
              <a:gd name="connsiteX25572" fmla="*/ 236250 w 6884782"/>
              <a:gd name="connsiteY25572" fmla="*/ 3269883 h 5973007"/>
              <a:gd name="connsiteX25573" fmla="*/ 233979 w 6884782"/>
              <a:gd name="connsiteY25573" fmla="*/ 3276699 h 5973007"/>
              <a:gd name="connsiteX25574" fmla="*/ 221795 w 6884782"/>
              <a:gd name="connsiteY25574" fmla="*/ 3272207 h 5973007"/>
              <a:gd name="connsiteX25575" fmla="*/ 229448 w 6884782"/>
              <a:gd name="connsiteY25575" fmla="*/ 3265759 h 5973007"/>
              <a:gd name="connsiteX25576" fmla="*/ 260103 w 6884782"/>
              <a:gd name="connsiteY25576" fmla="*/ 3265391 h 5973007"/>
              <a:gd name="connsiteX25577" fmla="*/ 281167 w 6884782"/>
              <a:gd name="connsiteY25577" fmla="*/ 3280416 h 5973007"/>
              <a:gd name="connsiteX25578" fmla="*/ 260103 w 6884782"/>
              <a:gd name="connsiteY25578" fmla="*/ 3265391 h 5973007"/>
              <a:gd name="connsiteX25579" fmla="*/ 6505596 w 6884782"/>
              <a:gd name="connsiteY25579" fmla="*/ 3264717 h 5973007"/>
              <a:gd name="connsiteX25580" fmla="*/ 6501568 w 6884782"/>
              <a:gd name="connsiteY25580" fmla="*/ 3265957 h 5973007"/>
              <a:gd name="connsiteX25581" fmla="*/ 6503117 w 6884782"/>
              <a:gd name="connsiteY25581" fmla="*/ 3266060 h 5973007"/>
              <a:gd name="connsiteX25582" fmla="*/ 387844 w 6884782"/>
              <a:gd name="connsiteY25582" fmla="*/ 3257027 h 5973007"/>
              <a:gd name="connsiteX25583" fmla="*/ 395265 w 6884782"/>
              <a:gd name="connsiteY25583" fmla="*/ 3261209 h 5973007"/>
              <a:gd name="connsiteX25584" fmla="*/ 397020 w 6884782"/>
              <a:gd name="connsiteY25584" fmla="*/ 3262293 h 5973007"/>
              <a:gd name="connsiteX25585" fmla="*/ 397020 w 6884782"/>
              <a:gd name="connsiteY25585" fmla="*/ 3264771 h 5973007"/>
              <a:gd name="connsiteX25586" fmla="*/ 384114 w 6884782"/>
              <a:gd name="connsiteY25586" fmla="*/ 3263377 h 5973007"/>
              <a:gd name="connsiteX25587" fmla="*/ 382358 w 6884782"/>
              <a:gd name="connsiteY25587" fmla="*/ 3262448 h 5973007"/>
              <a:gd name="connsiteX25588" fmla="*/ 378951 w 6884782"/>
              <a:gd name="connsiteY25588" fmla="*/ 3257027 h 5973007"/>
              <a:gd name="connsiteX25589" fmla="*/ 387844 w 6884782"/>
              <a:gd name="connsiteY25589" fmla="*/ 3257027 h 5973007"/>
              <a:gd name="connsiteX25590" fmla="*/ 522373 w 6884782"/>
              <a:gd name="connsiteY25590" fmla="*/ 3254393 h 5973007"/>
              <a:gd name="connsiteX25591" fmla="*/ 521857 w 6884782"/>
              <a:gd name="connsiteY25591" fmla="*/ 3254703 h 5973007"/>
              <a:gd name="connsiteX25592" fmla="*/ 519689 w 6884782"/>
              <a:gd name="connsiteY25592" fmla="*/ 3255168 h 5973007"/>
              <a:gd name="connsiteX25593" fmla="*/ 519172 w 6884782"/>
              <a:gd name="connsiteY25593" fmla="*/ 3261209 h 5973007"/>
              <a:gd name="connsiteX25594" fmla="*/ 520205 w 6884782"/>
              <a:gd name="connsiteY25594" fmla="*/ 3266321 h 5973007"/>
              <a:gd name="connsiteX25595" fmla="*/ 520722 w 6884782"/>
              <a:gd name="connsiteY25595" fmla="*/ 3266475 h 5973007"/>
              <a:gd name="connsiteX25596" fmla="*/ 522786 w 6884782"/>
              <a:gd name="connsiteY25596" fmla="*/ 3259970 h 5973007"/>
              <a:gd name="connsiteX25597" fmla="*/ 523096 w 6884782"/>
              <a:gd name="connsiteY25597" fmla="*/ 3255323 h 5973007"/>
              <a:gd name="connsiteX25598" fmla="*/ 201659 w 6884782"/>
              <a:gd name="connsiteY25598" fmla="*/ 3253154 h 5973007"/>
              <a:gd name="connsiteX25599" fmla="*/ 216632 w 6884782"/>
              <a:gd name="connsiteY25599" fmla="*/ 3263997 h 5973007"/>
              <a:gd name="connsiteX25600" fmla="*/ 214050 w 6884782"/>
              <a:gd name="connsiteY25600" fmla="*/ 3265701 h 5973007"/>
              <a:gd name="connsiteX25601" fmla="*/ 200421 w 6884782"/>
              <a:gd name="connsiteY25601" fmla="*/ 3255478 h 5973007"/>
              <a:gd name="connsiteX25602" fmla="*/ 201659 w 6884782"/>
              <a:gd name="connsiteY25602" fmla="*/ 3253154 h 5973007"/>
              <a:gd name="connsiteX25603" fmla="*/ 223860 w 6884782"/>
              <a:gd name="connsiteY25603" fmla="*/ 3249746 h 5973007"/>
              <a:gd name="connsiteX25604" fmla="*/ 229332 w 6884782"/>
              <a:gd name="connsiteY25604" fmla="*/ 3258576 h 5973007"/>
              <a:gd name="connsiteX25605" fmla="*/ 224066 w 6884782"/>
              <a:gd name="connsiteY25605" fmla="*/ 3259815 h 5973007"/>
              <a:gd name="connsiteX25606" fmla="*/ 222621 w 6884782"/>
              <a:gd name="connsiteY25606" fmla="*/ 3254703 h 5973007"/>
              <a:gd name="connsiteX25607" fmla="*/ 223860 w 6884782"/>
              <a:gd name="connsiteY25607" fmla="*/ 3249746 h 5973007"/>
              <a:gd name="connsiteX25608" fmla="*/ 6499245 w 6884782"/>
              <a:gd name="connsiteY25608" fmla="*/ 3247577 h 5973007"/>
              <a:gd name="connsiteX25609" fmla="*/ 6487783 w 6884782"/>
              <a:gd name="connsiteY25609" fmla="*/ 3249332 h 5973007"/>
              <a:gd name="connsiteX25610" fmla="*/ 6457423 w 6884782"/>
              <a:gd name="connsiteY25610" fmla="*/ 3249023 h 5973007"/>
              <a:gd name="connsiteX25611" fmla="*/ 6440385 w 6884782"/>
              <a:gd name="connsiteY25611" fmla="*/ 3252843 h 5973007"/>
              <a:gd name="connsiteX25612" fmla="*/ 6422572 w 6884782"/>
              <a:gd name="connsiteY25612" fmla="*/ 3257490 h 5973007"/>
              <a:gd name="connsiteX25613" fmla="*/ 6423036 w 6884782"/>
              <a:gd name="connsiteY25613" fmla="*/ 3258419 h 5973007"/>
              <a:gd name="connsiteX25614" fmla="*/ 6423346 w 6884782"/>
              <a:gd name="connsiteY25614" fmla="*/ 3263065 h 5973007"/>
              <a:gd name="connsiteX25615" fmla="*/ 6425050 w 6884782"/>
              <a:gd name="connsiteY25615" fmla="*/ 3261000 h 5973007"/>
              <a:gd name="connsiteX25616" fmla="*/ 6434653 w 6884782"/>
              <a:gd name="connsiteY25616" fmla="*/ 3264614 h 5973007"/>
              <a:gd name="connsiteX25617" fmla="*/ 6440540 w 6884782"/>
              <a:gd name="connsiteY25617" fmla="*/ 3262549 h 5973007"/>
              <a:gd name="connsiteX25618" fmla="*/ 6427838 w 6884782"/>
              <a:gd name="connsiteY25618" fmla="*/ 3257180 h 5973007"/>
              <a:gd name="connsiteX25619" fmla="*/ 6444257 w 6884782"/>
              <a:gd name="connsiteY25619" fmla="*/ 3257799 h 5973007"/>
              <a:gd name="connsiteX25620" fmla="*/ 6453241 w 6884782"/>
              <a:gd name="connsiteY25620" fmla="*/ 3263478 h 5973007"/>
              <a:gd name="connsiteX25621" fmla="*/ 6441624 w 6884782"/>
              <a:gd name="connsiteY25621" fmla="*/ 3269777 h 5973007"/>
              <a:gd name="connsiteX25622" fmla="*/ 6448439 w 6884782"/>
              <a:gd name="connsiteY25622" fmla="*/ 3273288 h 5973007"/>
              <a:gd name="connsiteX25623" fmla="*/ 6454945 w 6884782"/>
              <a:gd name="connsiteY25623" fmla="*/ 3273081 h 5973007"/>
              <a:gd name="connsiteX25624" fmla="*/ 6458043 w 6884782"/>
              <a:gd name="connsiteY25624" fmla="*/ 3272565 h 5973007"/>
              <a:gd name="connsiteX25625" fmla="*/ 6459592 w 6884782"/>
              <a:gd name="connsiteY25625" fmla="*/ 3272255 h 5973007"/>
              <a:gd name="connsiteX25626" fmla="*/ 6461141 w 6884782"/>
              <a:gd name="connsiteY25626" fmla="*/ 3272049 h 5973007"/>
              <a:gd name="connsiteX25627" fmla="*/ 6464394 w 6884782"/>
              <a:gd name="connsiteY25627" fmla="*/ 3269157 h 5973007"/>
              <a:gd name="connsiteX25628" fmla="*/ 6480038 w 6884782"/>
              <a:gd name="connsiteY25628" fmla="*/ 3263478 h 5973007"/>
              <a:gd name="connsiteX25629" fmla="*/ 6492120 w 6884782"/>
              <a:gd name="connsiteY25629" fmla="*/ 3264201 h 5973007"/>
              <a:gd name="connsiteX25630" fmla="*/ 6495528 w 6884782"/>
              <a:gd name="connsiteY25630" fmla="*/ 3265337 h 5973007"/>
              <a:gd name="connsiteX25631" fmla="*/ 6493669 w 6884782"/>
              <a:gd name="connsiteY25631" fmla="*/ 3261310 h 5973007"/>
              <a:gd name="connsiteX25632" fmla="*/ 6503737 w 6884782"/>
              <a:gd name="connsiteY25632" fmla="*/ 3251397 h 5973007"/>
              <a:gd name="connsiteX25633" fmla="*/ 6506990 w 6884782"/>
              <a:gd name="connsiteY25633" fmla="*/ 3247990 h 5973007"/>
              <a:gd name="connsiteX25634" fmla="*/ 177188 w 6884782"/>
              <a:gd name="connsiteY25634" fmla="*/ 3247423 h 5973007"/>
              <a:gd name="connsiteX25635" fmla="*/ 174710 w 6884782"/>
              <a:gd name="connsiteY25635" fmla="*/ 3256097 h 5973007"/>
              <a:gd name="connsiteX25636" fmla="*/ 177188 w 6884782"/>
              <a:gd name="connsiteY25636" fmla="*/ 3247423 h 5973007"/>
              <a:gd name="connsiteX25637" fmla="*/ 6749848 w 6884782"/>
              <a:gd name="connsiteY25637" fmla="*/ 3247048 h 5973007"/>
              <a:gd name="connsiteX25638" fmla="*/ 6761639 w 6884782"/>
              <a:gd name="connsiteY25638" fmla="*/ 3247164 h 5973007"/>
              <a:gd name="connsiteX25639" fmla="*/ 6752191 w 6884782"/>
              <a:gd name="connsiteY25639" fmla="*/ 3262549 h 5973007"/>
              <a:gd name="connsiteX25640" fmla="*/ 6741658 w 6884782"/>
              <a:gd name="connsiteY25640" fmla="*/ 3254908 h 5973007"/>
              <a:gd name="connsiteX25641" fmla="*/ 6749848 w 6884782"/>
              <a:gd name="connsiteY25641" fmla="*/ 3247048 h 5973007"/>
              <a:gd name="connsiteX25642" fmla="*/ 340849 w 6884782"/>
              <a:gd name="connsiteY25642" fmla="*/ 3245564 h 5973007"/>
              <a:gd name="connsiteX25643" fmla="*/ 340849 w 6884782"/>
              <a:gd name="connsiteY25643" fmla="*/ 3246339 h 5973007"/>
              <a:gd name="connsiteX25644" fmla="*/ 342604 w 6884782"/>
              <a:gd name="connsiteY25644" fmla="*/ 3246649 h 5973007"/>
              <a:gd name="connsiteX25645" fmla="*/ 342708 w 6884782"/>
              <a:gd name="connsiteY25645" fmla="*/ 3245719 h 5973007"/>
              <a:gd name="connsiteX25646" fmla="*/ 344360 w 6884782"/>
              <a:gd name="connsiteY25646" fmla="*/ 3246649 h 5973007"/>
              <a:gd name="connsiteX25647" fmla="*/ 346941 w 6884782"/>
              <a:gd name="connsiteY25647" fmla="*/ 3252844 h 5973007"/>
              <a:gd name="connsiteX25648" fmla="*/ 342501 w 6884782"/>
              <a:gd name="connsiteY25648" fmla="*/ 3252535 h 5973007"/>
              <a:gd name="connsiteX25649" fmla="*/ 340436 w 6884782"/>
              <a:gd name="connsiteY25649" fmla="*/ 3249437 h 5973007"/>
              <a:gd name="connsiteX25650" fmla="*/ 340849 w 6884782"/>
              <a:gd name="connsiteY25650" fmla="*/ 3245564 h 5973007"/>
              <a:gd name="connsiteX25651" fmla="*/ 162835 w 6884782"/>
              <a:gd name="connsiteY25651" fmla="*/ 3242466 h 5973007"/>
              <a:gd name="connsiteX25652" fmla="*/ 164591 w 6884782"/>
              <a:gd name="connsiteY25652" fmla="*/ 3243086 h 5973007"/>
              <a:gd name="connsiteX25653" fmla="*/ 169547 w 6884782"/>
              <a:gd name="connsiteY25653" fmla="*/ 3258576 h 5973007"/>
              <a:gd name="connsiteX25654" fmla="*/ 161803 w 6884782"/>
              <a:gd name="connsiteY25654" fmla="*/ 3256097 h 5973007"/>
              <a:gd name="connsiteX25655" fmla="*/ 160048 w 6884782"/>
              <a:gd name="connsiteY25655" fmla="*/ 3252844 h 5973007"/>
              <a:gd name="connsiteX25656" fmla="*/ 160254 w 6884782"/>
              <a:gd name="connsiteY25656" fmla="*/ 3249282 h 5973007"/>
              <a:gd name="connsiteX25657" fmla="*/ 159531 w 6884782"/>
              <a:gd name="connsiteY25657" fmla="*/ 3246339 h 5973007"/>
              <a:gd name="connsiteX25658" fmla="*/ 160254 w 6884782"/>
              <a:gd name="connsiteY25658" fmla="*/ 3243551 h 5973007"/>
              <a:gd name="connsiteX25659" fmla="*/ 162835 w 6884782"/>
              <a:gd name="connsiteY25659" fmla="*/ 3242466 h 5973007"/>
              <a:gd name="connsiteX25660" fmla="*/ 256179 w 6884782"/>
              <a:gd name="connsiteY25660" fmla="*/ 3239214 h 5973007"/>
              <a:gd name="connsiteX25661" fmla="*/ 260516 w 6884782"/>
              <a:gd name="connsiteY25661" fmla="*/ 3243241 h 5973007"/>
              <a:gd name="connsiteX25662" fmla="*/ 256695 w 6884782"/>
              <a:gd name="connsiteY25662" fmla="*/ 3246029 h 5973007"/>
              <a:gd name="connsiteX25663" fmla="*/ 253288 w 6884782"/>
              <a:gd name="connsiteY25663" fmla="*/ 3244945 h 5973007"/>
              <a:gd name="connsiteX25664" fmla="*/ 253391 w 6884782"/>
              <a:gd name="connsiteY25664" fmla="*/ 3245564 h 5973007"/>
              <a:gd name="connsiteX25665" fmla="*/ 252771 w 6884782"/>
              <a:gd name="connsiteY25665" fmla="*/ 3245410 h 5973007"/>
              <a:gd name="connsiteX25666" fmla="*/ 251739 w 6884782"/>
              <a:gd name="connsiteY25666" fmla="*/ 3248662 h 5973007"/>
              <a:gd name="connsiteX25667" fmla="*/ 247918 w 6884782"/>
              <a:gd name="connsiteY25667" fmla="*/ 3246184 h 5973007"/>
              <a:gd name="connsiteX25668" fmla="*/ 250500 w 6884782"/>
              <a:gd name="connsiteY25668" fmla="*/ 3243860 h 5973007"/>
              <a:gd name="connsiteX25669" fmla="*/ 251842 w 6884782"/>
              <a:gd name="connsiteY25669" fmla="*/ 3244325 h 5973007"/>
              <a:gd name="connsiteX25670" fmla="*/ 253184 w 6884782"/>
              <a:gd name="connsiteY25670" fmla="*/ 3244635 h 5973007"/>
              <a:gd name="connsiteX25671" fmla="*/ 253907 w 6884782"/>
              <a:gd name="connsiteY25671" fmla="*/ 3243241 h 5973007"/>
              <a:gd name="connsiteX25672" fmla="*/ 256179 w 6884782"/>
              <a:gd name="connsiteY25672" fmla="*/ 3239214 h 5973007"/>
              <a:gd name="connsiteX25673" fmla="*/ 317720 w 6884782"/>
              <a:gd name="connsiteY25673" fmla="*/ 3232553 h 5973007"/>
              <a:gd name="connsiteX25674" fmla="*/ 322986 w 6884782"/>
              <a:gd name="connsiteY25674" fmla="*/ 3233018 h 5973007"/>
              <a:gd name="connsiteX25675" fmla="*/ 322883 w 6884782"/>
              <a:gd name="connsiteY25675" fmla="*/ 3240453 h 5973007"/>
              <a:gd name="connsiteX25676" fmla="*/ 316790 w 6884782"/>
              <a:gd name="connsiteY25676" fmla="*/ 3239059 h 5973007"/>
              <a:gd name="connsiteX25677" fmla="*/ 315448 w 6884782"/>
              <a:gd name="connsiteY25677" fmla="*/ 3236735 h 5973007"/>
              <a:gd name="connsiteX25678" fmla="*/ 316067 w 6884782"/>
              <a:gd name="connsiteY25678" fmla="*/ 3234102 h 5973007"/>
              <a:gd name="connsiteX25679" fmla="*/ 317720 w 6884782"/>
              <a:gd name="connsiteY25679" fmla="*/ 3232553 h 5973007"/>
              <a:gd name="connsiteX25680" fmla="*/ 404442 w 6884782"/>
              <a:gd name="connsiteY25680" fmla="*/ 3229784 h 5973007"/>
              <a:gd name="connsiteX25681" fmla="*/ 410753 w 6884782"/>
              <a:gd name="connsiteY25681" fmla="*/ 3235961 h 5973007"/>
              <a:gd name="connsiteX25682" fmla="*/ 407862 w 6884782"/>
              <a:gd name="connsiteY25682" fmla="*/ 3237975 h 5973007"/>
              <a:gd name="connsiteX25683" fmla="*/ 396195 w 6884782"/>
              <a:gd name="connsiteY25683" fmla="*/ 3230230 h 5973007"/>
              <a:gd name="connsiteX25684" fmla="*/ 404442 w 6884782"/>
              <a:gd name="connsiteY25684" fmla="*/ 3229784 h 5973007"/>
              <a:gd name="connsiteX25685" fmla="*/ 500445 w 6884782"/>
              <a:gd name="connsiteY25685" fmla="*/ 3229417 h 5973007"/>
              <a:gd name="connsiteX25686" fmla="*/ 505129 w 6884782"/>
              <a:gd name="connsiteY25686" fmla="*/ 3229455 h 5973007"/>
              <a:gd name="connsiteX25687" fmla="*/ 496972 w 6884782"/>
              <a:gd name="connsiteY25687" fmla="*/ 3235806 h 5973007"/>
              <a:gd name="connsiteX25688" fmla="*/ 496766 w 6884782"/>
              <a:gd name="connsiteY25688" fmla="*/ 3233328 h 5973007"/>
              <a:gd name="connsiteX25689" fmla="*/ 500445 w 6884782"/>
              <a:gd name="connsiteY25689" fmla="*/ 3229417 h 5973007"/>
              <a:gd name="connsiteX25690" fmla="*/ 525368 w 6884782"/>
              <a:gd name="connsiteY25690" fmla="*/ 3228061 h 5973007"/>
              <a:gd name="connsiteX25691" fmla="*/ 527536 w 6884782"/>
              <a:gd name="connsiteY25691" fmla="*/ 3229610 h 5973007"/>
              <a:gd name="connsiteX25692" fmla="*/ 526814 w 6884782"/>
              <a:gd name="connsiteY25692" fmla="*/ 3231933 h 5973007"/>
              <a:gd name="connsiteX25693" fmla="*/ 526917 w 6884782"/>
              <a:gd name="connsiteY25693" fmla="*/ 3233792 h 5973007"/>
              <a:gd name="connsiteX25694" fmla="*/ 524645 w 6884782"/>
              <a:gd name="connsiteY25694" fmla="*/ 3235341 h 5973007"/>
              <a:gd name="connsiteX25695" fmla="*/ 524439 w 6884782"/>
              <a:gd name="connsiteY25695" fmla="*/ 3233482 h 5973007"/>
              <a:gd name="connsiteX25696" fmla="*/ 525368 w 6884782"/>
              <a:gd name="connsiteY25696" fmla="*/ 3228061 h 5973007"/>
              <a:gd name="connsiteX25697" fmla="*/ 309975 w 6884782"/>
              <a:gd name="connsiteY25697" fmla="*/ 3227442 h 5973007"/>
              <a:gd name="connsiteX25698" fmla="*/ 305432 w 6884782"/>
              <a:gd name="connsiteY25698" fmla="*/ 3233018 h 5973007"/>
              <a:gd name="connsiteX25699" fmla="*/ 306258 w 6884782"/>
              <a:gd name="connsiteY25699" fmla="*/ 3228835 h 5973007"/>
              <a:gd name="connsiteX25700" fmla="*/ 309975 w 6884782"/>
              <a:gd name="connsiteY25700" fmla="*/ 3227442 h 5973007"/>
              <a:gd name="connsiteX25701" fmla="*/ 426242 w 6884782"/>
              <a:gd name="connsiteY25701" fmla="*/ 3226105 h 5973007"/>
              <a:gd name="connsiteX25702" fmla="*/ 435845 w 6884782"/>
              <a:gd name="connsiteY25702" fmla="*/ 3226512 h 5973007"/>
              <a:gd name="connsiteX25703" fmla="*/ 435638 w 6884782"/>
              <a:gd name="connsiteY25703" fmla="*/ 3234877 h 5973007"/>
              <a:gd name="connsiteX25704" fmla="*/ 431508 w 6884782"/>
              <a:gd name="connsiteY25704" fmla="*/ 3238129 h 5973007"/>
              <a:gd name="connsiteX25705" fmla="*/ 429753 w 6884782"/>
              <a:gd name="connsiteY25705" fmla="*/ 3238284 h 5973007"/>
              <a:gd name="connsiteX25706" fmla="*/ 424177 w 6884782"/>
              <a:gd name="connsiteY25706" fmla="*/ 3246803 h 5973007"/>
              <a:gd name="connsiteX25707" fmla="*/ 418188 w 6884782"/>
              <a:gd name="connsiteY25707" fmla="*/ 3242002 h 5973007"/>
              <a:gd name="connsiteX25708" fmla="*/ 420769 w 6884782"/>
              <a:gd name="connsiteY25708" fmla="*/ 3236580 h 5973007"/>
              <a:gd name="connsiteX25709" fmla="*/ 417878 w 6884782"/>
              <a:gd name="connsiteY25709" fmla="*/ 3231624 h 5973007"/>
              <a:gd name="connsiteX25710" fmla="*/ 426242 w 6884782"/>
              <a:gd name="connsiteY25710" fmla="*/ 3226105 h 5973007"/>
              <a:gd name="connsiteX25711" fmla="*/ 518759 w 6884782"/>
              <a:gd name="connsiteY25711" fmla="*/ 3224653 h 5973007"/>
              <a:gd name="connsiteX25712" fmla="*/ 520102 w 6884782"/>
              <a:gd name="connsiteY25712" fmla="*/ 3229920 h 5973007"/>
              <a:gd name="connsiteX25713" fmla="*/ 518347 w 6884782"/>
              <a:gd name="connsiteY25713" fmla="*/ 3231933 h 5973007"/>
              <a:gd name="connsiteX25714" fmla="*/ 517004 w 6884782"/>
              <a:gd name="connsiteY25714" fmla="*/ 3229920 h 5973007"/>
              <a:gd name="connsiteX25715" fmla="*/ 517933 w 6884782"/>
              <a:gd name="connsiteY25715" fmla="*/ 3228216 h 5973007"/>
              <a:gd name="connsiteX25716" fmla="*/ 517314 w 6884782"/>
              <a:gd name="connsiteY25716" fmla="*/ 3225738 h 5973007"/>
              <a:gd name="connsiteX25717" fmla="*/ 518759 w 6884782"/>
              <a:gd name="connsiteY25717" fmla="*/ 3224653 h 5973007"/>
              <a:gd name="connsiteX25718" fmla="*/ 462072 w 6884782"/>
              <a:gd name="connsiteY25718" fmla="*/ 3223724 h 5973007"/>
              <a:gd name="connsiteX25719" fmla="*/ 467545 w 6884782"/>
              <a:gd name="connsiteY25719" fmla="*/ 3232243 h 5973007"/>
              <a:gd name="connsiteX25720" fmla="*/ 464963 w 6884782"/>
              <a:gd name="connsiteY25720" fmla="*/ 3232088 h 5973007"/>
              <a:gd name="connsiteX25721" fmla="*/ 460936 w 6884782"/>
              <a:gd name="connsiteY25721" fmla="*/ 3225738 h 5973007"/>
              <a:gd name="connsiteX25722" fmla="*/ 462072 w 6884782"/>
              <a:gd name="connsiteY25722" fmla="*/ 3223724 h 5973007"/>
              <a:gd name="connsiteX25723" fmla="*/ 333311 w 6884782"/>
              <a:gd name="connsiteY25723" fmla="*/ 3219232 h 5973007"/>
              <a:gd name="connsiteX25724" fmla="*/ 335066 w 6884782"/>
              <a:gd name="connsiteY25724" fmla="*/ 3219232 h 5973007"/>
              <a:gd name="connsiteX25725" fmla="*/ 336719 w 6884782"/>
              <a:gd name="connsiteY25725" fmla="*/ 3220007 h 5973007"/>
              <a:gd name="connsiteX25726" fmla="*/ 334241 w 6884782"/>
              <a:gd name="connsiteY25726" fmla="*/ 3222640 h 5973007"/>
              <a:gd name="connsiteX25727" fmla="*/ 333415 w 6884782"/>
              <a:gd name="connsiteY25727" fmla="*/ 3221245 h 5973007"/>
              <a:gd name="connsiteX25728" fmla="*/ 332692 w 6884782"/>
              <a:gd name="connsiteY25728" fmla="*/ 3221865 h 5973007"/>
              <a:gd name="connsiteX25729" fmla="*/ 332485 w 6884782"/>
              <a:gd name="connsiteY25729" fmla="*/ 3220007 h 5973007"/>
              <a:gd name="connsiteX25730" fmla="*/ 333208 w 6884782"/>
              <a:gd name="connsiteY25730" fmla="*/ 3219542 h 5973007"/>
              <a:gd name="connsiteX25731" fmla="*/ 333311 w 6884782"/>
              <a:gd name="connsiteY25731" fmla="*/ 3219232 h 5973007"/>
              <a:gd name="connsiteX25732" fmla="*/ 221175 w 6884782"/>
              <a:gd name="connsiteY25732" fmla="*/ 3216289 h 5973007"/>
              <a:gd name="connsiteX25733" fmla="*/ 224376 w 6884782"/>
              <a:gd name="connsiteY25733" fmla="*/ 3220161 h 5973007"/>
              <a:gd name="connsiteX25734" fmla="*/ 215806 w 6884782"/>
              <a:gd name="connsiteY25734" fmla="*/ 3222175 h 5973007"/>
              <a:gd name="connsiteX25735" fmla="*/ 221175 w 6884782"/>
              <a:gd name="connsiteY25735" fmla="*/ 3216289 h 5973007"/>
              <a:gd name="connsiteX25736" fmla="*/ 6714551 w 6884782"/>
              <a:gd name="connsiteY25736" fmla="*/ 3215980 h 5973007"/>
              <a:gd name="connsiteX25737" fmla="*/ 6718888 w 6884782"/>
              <a:gd name="connsiteY25737" fmla="*/ 3233327 h 5973007"/>
              <a:gd name="connsiteX25738" fmla="*/ 6709904 w 6884782"/>
              <a:gd name="connsiteY25738" fmla="*/ 3238284 h 5973007"/>
              <a:gd name="connsiteX25739" fmla="*/ 6704637 w 6884782"/>
              <a:gd name="connsiteY25739" fmla="*/ 3238490 h 5973007"/>
              <a:gd name="connsiteX25740" fmla="*/ 6697822 w 6884782"/>
              <a:gd name="connsiteY25740" fmla="*/ 3228165 h 5973007"/>
              <a:gd name="connsiteX25741" fmla="*/ 6700920 w 6884782"/>
              <a:gd name="connsiteY25741" fmla="*/ 3220214 h 5973007"/>
              <a:gd name="connsiteX25742" fmla="*/ 6714551 w 6884782"/>
              <a:gd name="connsiteY25742" fmla="*/ 3215980 h 5973007"/>
              <a:gd name="connsiteX25743" fmla="*/ 402286 w 6884782"/>
              <a:gd name="connsiteY25743" fmla="*/ 3214895 h 5973007"/>
              <a:gd name="connsiteX25744" fmla="*/ 407862 w 6884782"/>
              <a:gd name="connsiteY25744" fmla="*/ 3224653 h 5973007"/>
              <a:gd name="connsiteX25745" fmla="*/ 404248 w 6884782"/>
              <a:gd name="connsiteY25745" fmla="*/ 3226047 h 5973007"/>
              <a:gd name="connsiteX25746" fmla="*/ 404764 w 6884782"/>
              <a:gd name="connsiteY25746" fmla="*/ 3226202 h 5973007"/>
              <a:gd name="connsiteX25747" fmla="*/ 381429 w 6884782"/>
              <a:gd name="connsiteY25747" fmla="*/ 3227287 h 5973007"/>
              <a:gd name="connsiteX25748" fmla="*/ 394129 w 6884782"/>
              <a:gd name="connsiteY25748" fmla="*/ 3222949 h 5973007"/>
              <a:gd name="connsiteX25749" fmla="*/ 398363 w 6884782"/>
              <a:gd name="connsiteY25749" fmla="*/ 3223414 h 5973007"/>
              <a:gd name="connsiteX25750" fmla="*/ 399189 w 6884782"/>
              <a:gd name="connsiteY25750" fmla="*/ 3220471 h 5973007"/>
              <a:gd name="connsiteX25751" fmla="*/ 402286 w 6884782"/>
              <a:gd name="connsiteY25751" fmla="*/ 3214895 h 5973007"/>
              <a:gd name="connsiteX25752" fmla="*/ 528569 w 6884782"/>
              <a:gd name="connsiteY25752" fmla="*/ 3213501 h 5973007"/>
              <a:gd name="connsiteX25753" fmla="*/ 530118 w 6884782"/>
              <a:gd name="connsiteY25753" fmla="*/ 3217373 h 5973007"/>
              <a:gd name="connsiteX25754" fmla="*/ 524748 w 6884782"/>
              <a:gd name="connsiteY25754" fmla="*/ 3223879 h 5973007"/>
              <a:gd name="connsiteX25755" fmla="*/ 522890 w 6884782"/>
              <a:gd name="connsiteY25755" fmla="*/ 3221091 h 5973007"/>
              <a:gd name="connsiteX25756" fmla="*/ 526503 w 6884782"/>
              <a:gd name="connsiteY25756" fmla="*/ 3214121 h 5973007"/>
              <a:gd name="connsiteX25757" fmla="*/ 528569 w 6884782"/>
              <a:gd name="connsiteY25757" fmla="*/ 3213501 h 5973007"/>
              <a:gd name="connsiteX25758" fmla="*/ 417155 w 6884782"/>
              <a:gd name="connsiteY25758" fmla="*/ 3210867 h 5973007"/>
              <a:gd name="connsiteX25759" fmla="*/ 426242 w 6884782"/>
              <a:gd name="connsiteY25759" fmla="*/ 3217993 h 5973007"/>
              <a:gd name="connsiteX25760" fmla="*/ 412819 w 6884782"/>
              <a:gd name="connsiteY25760" fmla="*/ 3217838 h 5973007"/>
              <a:gd name="connsiteX25761" fmla="*/ 417155 w 6884782"/>
              <a:gd name="connsiteY25761" fmla="*/ 3210867 h 5973007"/>
              <a:gd name="connsiteX25762" fmla="*/ 542612 w 6884782"/>
              <a:gd name="connsiteY25762" fmla="*/ 3209319 h 5973007"/>
              <a:gd name="connsiteX25763" fmla="*/ 548910 w 6884782"/>
              <a:gd name="connsiteY25763" fmla="*/ 3211022 h 5973007"/>
              <a:gd name="connsiteX25764" fmla="*/ 547775 w 6884782"/>
              <a:gd name="connsiteY25764" fmla="*/ 3211642 h 5973007"/>
              <a:gd name="connsiteX25765" fmla="*/ 546122 w 6884782"/>
              <a:gd name="connsiteY25765" fmla="*/ 3211022 h 5973007"/>
              <a:gd name="connsiteX25766" fmla="*/ 542612 w 6884782"/>
              <a:gd name="connsiteY25766" fmla="*/ 3209319 h 5973007"/>
              <a:gd name="connsiteX25767" fmla="*/ 376886 w 6884782"/>
              <a:gd name="connsiteY25767" fmla="*/ 3208854 h 5973007"/>
              <a:gd name="connsiteX25768" fmla="*/ 379983 w 6884782"/>
              <a:gd name="connsiteY25768" fmla="*/ 3209938 h 5973007"/>
              <a:gd name="connsiteX25769" fmla="*/ 380293 w 6884782"/>
              <a:gd name="connsiteY25769" fmla="*/ 3209474 h 5973007"/>
              <a:gd name="connsiteX25770" fmla="*/ 385352 w 6884782"/>
              <a:gd name="connsiteY25770" fmla="*/ 3212726 h 5973007"/>
              <a:gd name="connsiteX25771" fmla="*/ 382874 w 6884782"/>
              <a:gd name="connsiteY25771" fmla="*/ 3214895 h 5973007"/>
              <a:gd name="connsiteX25772" fmla="*/ 383288 w 6884782"/>
              <a:gd name="connsiteY25772" fmla="*/ 3216599 h 5973007"/>
              <a:gd name="connsiteX25773" fmla="*/ 389380 w 6884782"/>
              <a:gd name="connsiteY25773" fmla="*/ 3217373 h 5973007"/>
              <a:gd name="connsiteX25774" fmla="*/ 395162 w 6884782"/>
              <a:gd name="connsiteY25774" fmla="*/ 3219387 h 5973007"/>
              <a:gd name="connsiteX25775" fmla="*/ 372755 w 6884782"/>
              <a:gd name="connsiteY25775" fmla="*/ 3222020 h 5973007"/>
              <a:gd name="connsiteX25776" fmla="*/ 376886 w 6884782"/>
              <a:gd name="connsiteY25776" fmla="*/ 3217838 h 5973007"/>
              <a:gd name="connsiteX25777" fmla="*/ 377712 w 6884782"/>
              <a:gd name="connsiteY25777" fmla="*/ 3217683 h 5973007"/>
              <a:gd name="connsiteX25778" fmla="*/ 376472 w 6884782"/>
              <a:gd name="connsiteY25778" fmla="*/ 3217528 h 5973007"/>
              <a:gd name="connsiteX25779" fmla="*/ 356957 w 6884782"/>
              <a:gd name="connsiteY25779" fmla="*/ 3215514 h 5973007"/>
              <a:gd name="connsiteX25780" fmla="*/ 367076 w 6884782"/>
              <a:gd name="connsiteY25780" fmla="*/ 3211487 h 5973007"/>
              <a:gd name="connsiteX25781" fmla="*/ 376886 w 6884782"/>
              <a:gd name="connsiteY25781" fmla="*/ 3208854 h 5973007"/>
              <a:gd name="connsiteX25782" fmla="*/ 346115 w 6884782"/>
              <a:gd name="connsiteY25782" fmla="*/ 3201729 h 5973007"/>
              <a:gd name="connsiteX25783" fmla="*/ 349522 w 6884782"/>
              <a:gd name="connsiteY25783" fmla="*/ 3202193 h 5973007"/>
              <a:gd name="connsiteX25784" fmla="*/ 343224 w 6884782"/>
              <a:gd name="connsiteY25784" fmla="*/ 3203123 h 5973007"/>
              <a:gd name="connsiteX25785" fmla="*/ 346115 w 6884782"/>
              <a:gd name="connsiteY25785" fmla="*/ 3201729 h 5973007"/>
              <a:gd name="connsiteX25786" fmla="*/ 535797 w 6884782"/>
              <a:gd name="connsiteY25786" fmla="*/ 3198476 h 5973007"/>
              <a:gd name="connsiteX25787" fmla="*/ 540443 w 6884782"/>
              <a:gd name="connsiteY25787" fmla="*/ 3204517 h 5973007"/>
              <a:gd name="connsiteX25788" fmla="*/ 535590 w 6884782"/>
              <a:gd name="connsiteY25788" fmla="*/ 3200025 h 5973007"/>
              <a:gd name="connsiteX25789" fmla="*/ 535797 w 6884782"/>
              <a:gd name="connsiteY25789" fmla="*/ 3198476 h 5973007"/>
              <a:gd name="connsiteX25790" fmla="*/ 364701 w 6884782"/>
              <a:gd name="connsiteY25790" fmla="*/ 3194758 h 5973007"/>
              <a:gd name="connsiteX25791" fmla="*/ 368831 w 6884782"/>
              <a:gd name="connsiteY25791" fmla="*/ 3198631 h 5973007"/>
              <a:gd name="connsiteX25792" fmla="*/ 369451 w 6884782"/>
              <a:gd name="connsiteY25792" fmla="*/ 3198476 h 5973007"/>
              <a:gd name="connsiteX25793" fmla="*/ 371929 w 6884782"/>
              <a:gd name="connsiteY25793" fmla="*/ 3206840 h 5973007"/>
              <a:gd name="connsiteX25794" fmla="*/ 370690 w 6884782"/>
              <a:gd name="connsiteY25794" fmla="*/ 3208544 h 5973007"/>
              <a:gd name="connsiteX25795" fmla="*/ 370690 w 6884782"/>
              <a:gd name="connsiteY25795" fmla="*/ 3208854 h 5973007"/>
              <a:gd name="connsiteX25796" fmla="*/ 362843 w 6884782"/>
              <a:gd name="connsiteY25796" fmla="*/ 3208234 h 5973007"/>
              <a:gd name="connsiteX25797" fmla="*/ 360881 w 6884782"/>
              <a:gd name="connsiteY25797" fmla="*/ 3205601 h 5973007"/>
              <a:gd name="connsiteX25798" fmla="*/ 360778 w 6884782"/>
              <a:gd name="connsiteY25798" fmla="*/ 3201884 h 5973007"/>
              <a:gd name="connsiteX25799" fmla="*/ 359951 w 6884782"/>
              <a:gd name="connsiteY25799" fmla="*/ 3199096 h 5973007"/>
              <a:gd name="connsiteX25800" fmla="*/ 360365 w 6884782"/>
              <a:gd name="connsiteY25800" fmla="*/ 3196153 h 5973007"/>
              <a:gd name="connsiteX25801" fmla="*/ 364701 w 6884782"/>
              <a:gd name="connsiteY25801" fmla="*/ 3194758 h 5973007"/>
              <a:gd name="connsiteX25802" fmla="*/ 109632 w 6884782"/>
              <a:gd name="connsiteY25802" fmla="*/ 3194100 h 5973007"/>
              <a:gd name="connsiteX25803" fmla="*/ 116680 w 6884782"/>
              <a:gd name="connsiteY25803" fmla="*/ 3198011 h 5973007"/>
              <a:gd name="connsiteX25804" fmla="*/ 118332 w 6884782"/>
              <a:gd name="connsiteY25804" fmla="*/ 3199870 h 5973007"/>
              <a:gd name="connsiteX25805" fmla="*/ 121739 w 6884782"/>
              <a:gd name="connsiteY25805" fmla="*/ 3201884 h 5973007"/>
              <a:gd name="connsiteX25806" fmla="*/ 117299 w 6884782"/>
              <a:gd name="connsiteY25806" fmla="*/ 3211487 h 5973007"/>
              <a:gd name="connsiteX25807" fmla="*/ 102430 w 6884782"/>
              <a:gd name="connsiteY25807" fmla="*/ 3212571 h 5973007"/>
              <a:gd name="connsiteX25808" fmla="*/ 98713 w 6884782"/>
              <a:gd name="connsiteY25808" fmla="*/ 3203123 h 5973007"/>
              <a:gd name="connsiteX25809" fmla="*/ 100985 w 6884782"/>
              <a:gd name="connsiteY25809" fmla="*/ 3198166 h 5973007"/>
              <a:gd name="connsiteX25810" fmla="*/ 103979 w 6884782"/>
              <a:gd name="connsiteY25810" fmla="*/ 3195533 h 5973007"/>
              <a:gd name="connsiteX25811" fmla="*/ 109632 w 6884782"/>
              <a:gd name="connsiteY25811" fmla="*/ 3194100 h 5973007"/>
              <a:gd name="connsiteX25812" fmla="*/ 309356 w 6884782"/>
              <a:gd name="connsiteY25812" fmla="*/ 3193984 h 5973007"/>
              <a:gd name="connsiteX25813" fmla="*/ 300166 w 6884782"/>
              <a:gd name="connsiteY25813" fmla="*/ 3216599 h 5973007"/>
              <a:gd name="connsiteX25814" fmla="*/ 294177 w 6884782"/>
              <a:gd name="connsiteY25814" fmla="*/ 3221091 h 5973007"/>
              <a:gd name="connsiteX25815" fmla="*/ 296036 w 6884782"/>
              <a:gd name="connsiteY25815" fmla="*/ 3204827 h 5973007"/>
              <a:gd name="connsiteX25816" fmla="*/ 280341 w 6884782"/>
              <a:gd name="connsiteY25816" fmla="*/ 3198321 h 5973007"/>
              <a:gd name="connsiteX25817" fmla="*/ 284264 w 6884782"/>
              <a:gd name="connsiteY25817" fmla="*/ 3196307 h 5973007"/>
              <a:gd name="connsiteX25818" fmla="*/ 300063 w 6884782"/>
              <a:gd name="connsiteY25818" fmla="*/ 3198321 h 5973007"/>
              <a:gd name="connsiteX25819" fmla="*/ 309356 w 6884782"/>
              <a:gd name="connsiteY25819" fmla="*/ 3193984 h 5973007"/>
              <a:gd name="connsiteX25820" fmla="*/ 42025 w 6884782"/>
              <a:gd name="connsiteY25820" fmla="*/ 3190421 h 5973007"/>
              <a:gd name="connsiteX25821" fmla="*/ 42852 w 6884782"/>
              <a:gd name="connsiteY25821" fmla="*/ 3190576 h 5973007"/>
              <a:gd name="connsiteX25822" fmla="*/ 43574 w 6884782"/>
              <a:gd name="connsiteY25822" fmla="*/ 3193984 h 5973007"/>
              <a:gd name="connsiteX25823" fmla="*/ 42025 w 6884782"/>
              <a:gd name="connsiteY25823" fmla="*/ 3193829 h 5973007"/>
              <a:gd name="connsiteX25824" fmla="*/ 42025 w 6884782"/>
              <a:gd name="connsiteY25824" fmla="*/ 3194603 h 5973007"/>
              <a:gd name="connsiteX25825" fmla="*/ 40373 w 6884782"/>
              <a:gd name="connsiteY25825" fmla="*/ 3193674 h 5973007"/>
              <a:gd name="connsiteX25826" fmla="*/ 40373 w 6884782"/>
              <a:gd name="connsiteY25826" fmla="*/ 3192899 h 5973007"/>
              <a:gd name="connsiteX25827" fmla="*/ 40167 w 6884782"/>
              <a:gd name="connsiteY25827" fmla="*/ 3192590 h 5973007"/>
              <a:gd name="connsiteX25828" fmla="*/ 41199 w 6884782"/>
              <a:gd name="connsiteY25828" fmla="*/ 3191351 h 5973007"/>
              <a:gd name="connsiteX25829" fmla="*/ 42025 w 6884782"/>
              <a:gd name="connsiteY25829" fmla="*/ 3190421 h 5973007"/>
              <a:gd name="connsiteX25830" fmla="*/ 420460 w 6884782"/>
              <a:gd name="connsiteY25830" fmla="*/ 3190111 h 5973007"/>
              <a:gd name="connsiteX25831" fmla="*/ 423041 w 6884782"/>
              <a:gd name="connsiteY25831" fmla="*/ 3192280 h 5973007"/>
              <a:gd name="connsiteX25832" fmla="*/ 417878 w 6884782"/>
              <a:gd name="connsiteY25832" fmla="*/ 3197546 h 5973007"/>
              <a:gd name="connsiteX25833" fmla="*/ 415916 w 6884782"/>
              <a:gd name="connsiteY25833" fmla="*/ 3193054 h 5973007"/>
              <a:gd name="connsiteX25834" fmla="*/ 417362 w 6884782"/>
              <a:gd name="connsiteY25834" fmla="*/ 3190266 h 5973007"/>
              <a:gd name="connsiteX25835" fmla="*/ 420460 w 6884782"/>
              <a:gd name="connsiteY25835" fmla="*/ 3190111 h 5973007"/>
              <a:gd name="connsiteX25836" fmla="*/ 96958 w 6884782"/>
              <a:gd name="connsiteY25836" fmla="*/ 3184380 h 5973007"/>
              <a:gd name="connsiteX25837" fmla="*/ 103979 w 6884782"/>
              <a:gd name="connsiteY25837" fmla="*/ 3186704 h 5973007"/>
              <a:gd name="connsiteX25838" fmla="*/ 102121 w 6884782"/>
              <a:gd name="connsiteY25838" fmla="*/ 3192435 h 5973007"/>
              <a:gd name="connsiteX25839" fmla="*/ 99539 w 6884782"/>
              <a:gd name="connsiteY25839" fmla="*/ 3192899 h 5973007"/>
              <a:gd name="connsiteX25840" fmla="*/ 94273 w 6884782"/>
              <a:gd name="connsiteY25840" fmla="*/ 3191660 h 5973007"/>
              <a:gd name="connsiteX25841" fmla="*/ 94273 w 6884782"/>
              <a:gd name="connsiteY25841" fmla="*/ 3192435 h 5973007"/>
              <a:gd name="connsiteX25842" fmla="*/ 93447 w 6884782"/>
              <a:gd name="connsiteY25842" fmla="*/ 3187323 h 5973007"/>
              <a:gd name="connsiteX25843" fmla="*/ 96958 w 6884782"/>
              <a:gd name="connsiteY25843" fmla="*/ 3184380 h 5973007"/>
              <a:gd name="connsiteX25844" fmla="*/ 219213 w 6884782"/>
              <a:gd name="connsiteY25844" fmla="*/ 3174002 h 5973007"/>
              <a:gd name="connsiteX25845" fmla="*/ 221278 w 6884782"/>
              <a:gd name="connsiteY25845" fmla="*/ 3176171 h 5973007"/>
              <a:gd name="connsiteX25846" fmla="*/ 212192 w 6884782"/>
              <a:gd name="connsiteY25846" fmla="*/ 3190266 h 5973007"/>
              <a:gd name="connsiteX25847" fmla="*/ 193296 w 6884782"/>
              <a:gd name="connsiteY25847" fmla="*/ 3189802 h 5973007"/>
              <a:gd name="connsiteX25848" fmla="*/ 192573 w 6884782"/>
              <a:gd name="connsiteY25848" fmla="*/ 3184690 h 5973007"/>
              <a:gd name="connsiteX25849" fmla="*/ 202176 w 6884782"/>
              <a:gd name="connsiteY25849" fmla="*/ 3176326 h 5973007"/>
              <a:gd name="connsiteX25850" fmla="*/ 208371 w 6884782"/>
              <a:gd name="connsiteY25850" fmla="*/ 3174622 h 5973007"/>
              <a:gd name="connsiteX25851" fmla="*/ 219213 w 6884782"/>
              <a:gd name="connsiteY25851" fmla="*/ 3174002 h 5973007"/>
              <a:gd name="connsiteX25852" fmla="*/ 6853931 w 6884782"/>
              <a:gd name="connsiteY25852" fmla="*/ 3173555 h 5973007"/>
              <a:gd name="connsiteX25853" fmla="*/ 6861238 w 6884782"/>
              <a:gd name="connsiteY25853" fmla="*/ 3180254 h 5973007"/>
              <a:gd name="connsiteX25854" fmla="*/ 6835680 w 6884782"/>
              <a:gd name="connsiteY25854" fmla="*/ 3185726 h 5973007"/>
              <a:gd name="connsiteX25855" fmla="*/ 6827161 w 6884782"/>
              <a:gd name="connsiteY25855" fmla="*/ 3185520 h 5973007"/>
              <a:gd name="connsiteX25856" fmla="*/ 6853931 w 6884782"/>
              <a:gd name="connsiteY25856" fmla="*/ 3173555 h 5973007"/>
              <a:gd name="connsiteX25857" fmla="*/ 240174 w 6884782"/>
              <a:gd name="connsiteY25857" fmla="*/ 3171834 h 5973007"/>
              <a:gd name="connsiteX25858" fmla="*/ 241207 w 6884782"/>
              <a:gd name="connsiteY25858" fmla="*/ 3174931 h 5973007"/>
              <a:gd name="connsiteX25859" fmla="*/ 239555 w 6884782"/>
              <a:gd name="connsiteY25859" fmla="*/ 3175087 h 5973007"/>
              <a:gd name="connsiteX25860" fmla="*/ 239658 w 6884782"/>
              <a:gd name="connsiteY25860" fmla="*/ 3176016 h 5973007"/>
              <a:gd name="connsiteX25861" fmla="*/ 237902 w 6884782"/>
              <a:gd name="connsiteY25861" fmla="*/ 3175396 h 5973007"/>
              <a:gd name="connsiteX25862" fmla="*/ 237902 w 6884782"/>
              <a:gd name="connsiteY25862" fmla="*/ 3174622 h 5973007"/>
              <a:gd name="connsiteX25863" fmla="*/ 237696 w 6884782"/>
              <a:gd name="connsiteY25863" fmla="*/ 3174467 h 5973007"/>
              <a:gd name="connsiteX25864" fmla="*/ 238625 w 6884782"/>
              <a:gd name="connsiteY25864" fmla="*/ 3172918 h 5973007"/>
              <a:gd name="connsiteX25865" fmla="*/ 240174 w 6884782"/>
              <a:gd name="connsiteY25865" fmla="*/ 3171834 h 5973007"/>
              <a:gd name="connsiteX25866" fmla="*/ 552318 w 6884782"/>
              <a:gd name="connsiteY25866" fmla="*/ 3167807 h 5973007"/>
              <a:gd name="connsiteX25867" fmla="*/ 553866 w 6884782"/>
              <a:gd name="connsiteY25867" fmla="*/ 3168891 h 5973007"/>
              <a:gd name="connsiteX25868" fmla="*/ 553763 w 6884782"/>
              <a:gd name="connsiteY25868" fmla="*/ 3169820 h 5973007"/>
              <a:gd name="connsiteX25869" fmla="*/ 553247 w 6884782"/>
              <a:gd name="connsiteY25869" fmla="*/ 3173073 h 5973007"/>
              <a:gd name="connsiteX25870" fmla="*/ 548704 w 6884782"/>
              <a:gd name="connsiteY25870" fmla="*/ 3174467 h 5973007"/>
              <a:gd name="connsiteX25871" fmla="*/ 547361 w 6884782"/>
              <a:gd name="connsiteY25871" fmla="*/ 3171679 h 5973007"/>
              <a:gd name="connsiteX25872" fmla="*/ 547775 w 6884782"/>
              <a:gd name="connsiteY25872" fmla="*/ 3169355 h 5973007"/>
              <a:gd name="connsiteX25873" fmla="*/ 552318 w 6884782"/>
              <a:gd name="connsiteY25873" fmla="*/ 3167807 h 5973007"/>
              <a:gd name="connsiteX25874" fmla="*/ 490157 w 6884782"/>
              <a:gd name="connsiteY25874" fmla="*/ 3167497 h 5973007"/>
              <a:gd name="connsiteX25875" fmla="*/ 494597 w 6884782"/>
              <a:gd name="connsiteY25875" fmla="*/ 3182057 h 5973007"/>
              <a:gd name="connsiteX25876" fmla="*/ 489951 w 6884782"/>
              <a:gd name="connsiteY25876" fmla="*/ 3183141 h 5973007"/>
              <a:gd name="connsiteX25877" fmla="*/ 487680 w 6884782"/>
              <a:gd name="connsiteY25877" fmla="*/ 3181437 h 5973007"/>
              <a:gd name="connsiteX25878" fmla="*/ 485821 w 6884782"/>
              <a:gd name="connsiteY25878" fmla="*/ 3182676 h 5973007"/>
              <a:gd name="connsiteX25879" fmla="*/ 483343 w 6884782"/>
              <a:gd name="connsiteY25879" fmla="*/ 3180353 h 5973007"/>
              <a:gd name="connsiteX25880" fmla="*/ 485304 w 6884782"/>
              <a:gd name="connsiteY25880" fmla="*/ 3176790 h 5973007"/>
              <a:gd name="connsiteX25881" fmla="*/ 485511 w 6884782"/>
              <a:gd name="connsiteY25881" fmla="*/ 3174312 h 5973007"/>
              <a:gd name="connsiteX25882" fmla="*/ 485821 w 6884782"/>
              <a:gd name="connsiteY25882" fmla="*/ 3168581 h 5973007"/>
              <a:gd name="connsiteX25883" fmla="*/ 490157 w 6884782"/>
              <a:gd name="connsiteY25883" fmla="*/ 3167497 h 5973007"/>
              <a:gd name="connsiteX25884" fmla="*/ 327013 w 6884782"/>
              <a:gd name="connsiteY25884" fmla="*/ 3167032 h 5973007"/>
              <a:gd name="connsiteX25885" fmla="*/ 329181 w 6884782"/>
              <a:gd name="connsiteY25885" fmla="*/ 3167652 h 5973007"/>
              <a:gd name="connsiteX25886" fmla="*/ 322263 w 6884782"/>
              <a:gd name="connsiteY25886" fmla="*/ 3171524 h 5973007"/>
              <a:gd name="connsiteX25887" fmla="*/ 327013 w 6884782"/>
              <a:gd name="connsiteY25887" fmla="*/ 3167032 h 5973007"/>
              <a:gd name="connsiteX25888" fmla="*/ 6647636 w 6884782"/>
              <a:gd name="connsiteY25888" fmla="*/ 3165385 h 5973007"/>
              <a:gd name="connsiteX25889" fmla="*/ 6656620 w 6884782"/>
              <a:gd name="connsiteY25889" fmla="*/ 3173232 h 5973007"/>
              <a:gd name="connsiteX25890" fmla="*/ 6646242 w 6884782"/>
              <a:gd name="connsiteY25890" fmla="*/ 3179841 h 5973007"/>
              <a:gd name="connsiteX25891" fmla="*/ 6643299 w 6884782"/>
              <a:gd name="connsiteY25891" fmla="*/ 3171787 h 5973007"/>
              <a:gd name="connsiteX25892" fmla="*/ 6647636 w 6884782"/>
              <a:gd name="connsiteY25892" fmla="*/ 3165385 h 5973007"/>
              <a:gd name="connsiteX25893" fmla="*/ 6413861 w 6884782"/>
              <a:gd name="connsiteY25893" fmla="*/ 3162802 h 5973007"/>
              <a:gd name="connsiteX25894" fmla="*/ 6424120 w 6884782"/>
              <a:gd name="connsiteY25894" fmla="*/ 3187792 h 5973007"/>
              <a:gd name="connsiteX25895" fmla="*/ 6408786 w 6884782"/>
              <a:gd name="connsiteY25895" fmla="*/ 3193987 h 5973007"/>
              <a:gd name="connsiteX25896" fmla="*/ 6403829 w 6884782"/>
              <a:gd name="connsiteY25896" fmla="*/ 3167347 h 5973007"/>
              <a:gd name="connsiteX25897" fmla="*/ 6413861 w 6884782"/>
              <a:gd name="connsiteY25897" fmla="*/ 3162802 h 5973007"/>
              <a:gd name="connsiteX25898" fmla="*/ 376782 w 6884782"/>
              <a:gd name="connsiteY25898" fmla="*/ 3161920 h 5973007"/>
              <a:gd name="connsiteX25899" fmla="*/ 389483 w 6884782"/>
              <a:gd name="connsiteY25899" fmla="*/ 3175087 h 5973007"/>
              <a:gd name="connsiteX25900" fmla="*/ 381945 w 6884782"/>
              <a:gd name="connsiteY25900" fmla="*/ 3200335 h 5973007"/>
              <a:gd name="connsiteX25901" fmla="*/ 379260 w 6884782"/>
              <a:gd name="connsiteY25901" fmla="*/ 3200025 h 5973007"/>
              <a:gd name="connsiteX25902" fmla="*/ 367283 w 6884782"/>
              <a:gd name="connsiteY25902" fmla="*/ 3180353 h 5973007"/>
              <a:gd name="connsiteX25903" fmla="*/ 376782 w 6884782"/>
              <a:gd name="connsiteY25903" fmla="*/ 3161920 h 5973007"/>
              <a:gd name="connsiteX25904" fmla="*/ 304503 w 6884782"/>
              <a:gd name="connsiteY25904" fmla="*/ 3159848 h 5973007"/>
              <a:gd name="connsiteX25905" fmla="*/ 313796 w 6884782"/>
              <a:gd name="connsiteY25905" fmla="*/ 3161456 h 5973007"/>
              <a:gd name="connsiteX25906" fmla="*/ 315551 w 6884782"/>
              <a:gd name="connsiteY25906" fmla="*/ 3162850 h 5973007"/>
              <a:gd name="connsiteX25907" fmla="*/ 319165 w 6884782"/>
              <a:gd name="connsiteY25907" fmla="*/ 3164089 h 5973007"/>
              <a:gd name="connsiteX25908" fmla="*/ 315448 w 6884782"/>
              <a:gd name="connsiteY25908" fmla="*/ 3174777 h 5973007"/>
              <a:gd name="connsiteX25909" fmla="*/ 303987 w 6884782"/>
              <a:gd name="connsiteY25909" fmla="*/ 3180508 h 5973007"/>
              <a:gd name="connsiteX25910" fmla="*/ 301302 w 6884782"/>
              <a:gd name="connsiteY25910" fmla="*/ 3179424 h 5973007"/>
              <a:gd name="connsiteX25911" fmla="*/ 299547 w 6884782"/>
              <a:gd name="connsiteY25911" fmla="*/ 3181437 h 5973007"/>
              <a:gd name="connsiteX25912" fmla="*/ 286743 w 6884782"/>
              <a:gd name="connsiteY25912" fmla="*/ 3179578 h 5973007"/>
              <a:gd name="connsiteX25913" fmla="*/ 285194 w 6884782"/>
              <a:gd name="connsiteY25913" fmla="*/ 3171834 h 5973007"/>
              <a:gd name="connsiteX25914" fmla="*/ 286330 w 6884782"/>
              <a:gd name="connsiteY25914" fmla="*/ 3168736 h 5973007"/>
              <a:gd name="connsiteX25915" fmla="*/ 294797 w 6884782"/>
              <a:gd name="connsiteY25915" fmla="*/ 3172763 h 5973007"/>
              <a:gd name="connsiteX25916" fmla="*/ 297068 w 6884782"/>
              <a:gd name="connsiteY25916" fmla="*/ 3173538 h 5973007"/>
              <a:gd name="connsiteX25917" fmla="*/ 296449 w 6884782"/>
              <a:gd name="connsiteY25917" fmla="*/ 3170904 h 5973007"/>
              <a:gd name="connsiteX25918" fmla="*/ 298307 w 6884782"/>
              <a:gd name="connsiteY25918" fmla="*/ 3165328 h 5973007"/>
              <a:gd name="connsiteX25919" fmla="*/ 304503 w 6884782"/>
              <a:gd name="connsiteY25919" fmla="*/ 3159848 h 5973007"/>
              <a:gd name="connsiteX25920" fmla="*/ 429133 w 6884782"/>
              <a:gd name="connsiteY25920" fmla="*/ 3156189 h 5973007"/>
              <a:gd name="connsiteX25921" fmla="*/ 437600 w 6884782"/>
              <a:gd name="connsiteY25921" fmla="*/ 3160681 h 5973007"/>
              <a:gd name="connsiteX25922" fmla="*/ 431921 w 6884782"/>
              <a:gd name="connsiteY25922" fmla="*/ 3162385 h 5973007"/>
              <a:gd name="connsiteX25923" fmla="*/ 426242 w 6884782"/>
              <a:gd name="connsiteY25923" fmla="*/ 3157893 h 5973007"/>
              <a:gd name="connsiteX25924" fmla="*/ 429133 w 6884782"/>
              <a:gd name="connsiteY25924" fmla="*/ 3156189 h 5973007"/>
              <a:gd name="connsiteX25925" fmla="*/ 541063 w 6884782"/>
              <a:gd name="connsiteY25925" fmla="*/ 3154640 h 5973007"/>
              <a:gd name="connsiteX25926" fmla="*/ 542921 w 6884782"/>
              <a:gd name="connsiteY25926" fmla="*/ 3155260 h 5973007"/>
              <a:gd name="connsiteX25927" fmla="*/ 545813 w 6884782"/>
              <a:gd name="connsiteY25927" fmla="*/ 3160836 h 5973007"/>
              <a:gd name="connsiteX25928" fmla="*/ 541476 w 6884782"/>
              <a:gd name="connsiteY25928" fmla="*/ 3161456 h 5973007"/>
              <a:gd name="connsiteX25929" fmla="*/ 539101 w 6884782"/>
              <a:gd name="connsiteY25929" fmla="*/ 3158977 h 5973007"/>
              <a:gd name="connsiteX25930" fmla="*/ 539307 w 6884782"/>
              <a:gd name="connsiteY25930" fmla="*/ 3154950 h 5973007"/>
              <a:gd name="connsiteX25931" fmla="*/ 539411 w 6884782"/>
              <a:gd name="connsiteY25931" fmla="*/ 3155724 h 5973007"/>
              <a:gd name="connsiteX25932" fmla="*/ 541166 w 6884782"/>
              <a:gd name="connsiteY25932" fmla="*/ 3155570 h 5973007"/>
              <a:gd name="connsiteX25933" fmla="*/ 541063 w 6884782"/>
              <a:gd name="connsiteY25933" fmla="*/ 3154640 h 5973007"/>
              <a:gd name="connsiteX25934" fmla="*/ 458045 w 6884782"/>
              <a:gd name="connsiteY25934" fmla="*/ 3152627 h 5973007"/>
              <a:gd name="connsiteX25935" fmla="*/ 483962 w 6884782"/>
              <a:gd name="connsiteY25935" fmla="*/ 3171524 h 5973007"/>
              <a:gd name="connsiteX25936" fmla="*/ 482000 w 6884782"/>
              <a:gd name="connsiteY25936" fmla="*/ 3172298 h 5973007"/>
              <a:gd name="connsiteX25937" fmla="*/ 482517 w 6884782"/>
              <a:gd name="connsiteY25937" fmla="*/ 3173228 h 5973007"/>
              <a:gd name="connsiteX25938" fmla="*/ 476837 w 6884782"/>
              <a:gd name="connsiteY25938" fmla="*/ 3178804 h 5973007"/>
              <a:gd name="connsiteX25939" fmla="*/ 473327 w 6884782"/>
              <a:gd name="connsiteY25939" fmla="*/ 3177875 h 5973007"/>
              <a:gd name="connsiteX25940" fmla="*/ 469816 w 6884782"/>
              <a:gd name="connsiteY25940" fmla="*/ 3182367 h 5973007"/>
              <a:gd name="connsiteX25941" fmla="*/ 465995 w 6884782"/>
              <a:gd name="connsiteY25941" fmla="*/ 3186394 h 5973007"/>
              <a:gd name="connsiteX25942" fmla="*/ 458561 w 6884782"/>
              <a:gd name="connsiteY25942" fmla="*/ 3188717 h 5973007"/>
              <a:gd name="connsiteX25943" fmla="*/ 449578 w 6884782"/>
              <a:gd name="connsiteY25943" fmla="*/ 3186859 h 5973007"/>
              <a:gd name="connsiteX25944" fmla="*/ 449268 w 6884782"/>
              <a:gd name="connsiteY25944" fmla="*/ 3186704 h 5973007"/>
              <a:gd name="connsiteX25945" fmla="*/ 448132 w 6884782"/>
              <a:gd name="connsiteY25945" fmla="*/ 3187788 h 5973007"/>
              <a:gd name="connsiteX25946" fmla="*/ 445138 w 6884782"/>
              <a:gd name="connsiteY25946" fmla="*/ 3189492 h 5973007"/>
              <a:gd name="connsiteX25947" fmla="*/ 446480 w 6884782"/>
              <a:gd name="connsiteY25947" fmla="*/ 3190886 h 5973007"/>
              <a:gd name="connsiteX25948" fmla="*/ 445654 w 6884782"/>
              <a:gd name="connsiteY25948" fmla="*/ 3211332 h 5973007"/>
              <a:gd name="connsiteX25949" fmla="*/ 438426 w 6884782"/>
              <a:gd name="connsiteY25949" fmla="*/ 3214121 h 5973007"/>
              <a:gd name="connsiteX25950" fmla="*/ 433573 w 6884782"/>
              <a:gd name="connsiteY25950" fmla="*/ 3212571 h 5973007"/>
              <a:gd name="connsiteX25951" fmla="*/ 432954 w 6884782"/>
              <a:gd name="connsiteY25951" fmla="*/ 3212881 h 5973007"/>
              <a:gd name="connsiteX25952" fmla="*/ 432850 w 6884782"/>
              <a:gd name="connsiteY25952" fmla="*/ 3212417 h 5973007"/>
              <a:gd name="connsiteX25953" fmla="*/ 432334 w 6884782"/>
              <a:gd name="connsiteY25953" fmla="*/ 3212262 h 5973007"/>
              <a:gd name="connsiteX25954" fmla="*/ 426965 w 6884782"/>
              <a:gd name="connsiteY25954" fmla="*/ 3199870 h 5973007"/>
              <a:gd name="connsiteX25955" fmla="*/ 427894 w 6884782"/>
              <a:gd name="connsiteY25955" fmla="*/ 3195378 h 5973007"/>
              <a:gd name="connsiteX25956" fmla="*/ 430062 w 6884782"/>
              <a:gd name="connsiteY25956" fmla="*/ 3191660 h 5973007"/>
              <a:gd name="connsiteX25957" fmla="*/ 429133 w 6884782"/>
              <a:gd name="connsiteY25957" fmla="*/ 3191196 h 5973007"/>
              <a:gd name="connsiteX25958" fmla="*/ 424384 w 6884782"/>
              <a:gd name="connsiteY25958" fmla="*/ 3188098 h 5973007"/>
              <a:gd name="connsiteX25959" fmla="*/ 432437 w 6884782"/>
              <a:gd name="connsiteY25959" fmla="*/ 3181747 h 5973007"/>
              <a:gd name="connsiteX25960" fmla="*/ 440285 w 6884782"/>
              <a:gd name="connsiteY25960" fmla="*/ 3176326 h 5973007"/>
              <a:gd name="connsiteX25961" fmla="*/ 439149 w 6884782"/>
              <a:gd name="connsiteY25961" fmla="*/ 3174312 h 5973007"/>
              <a:gd name="connsiteX25962" fmla="*/ 438220 w 6884782"/>
              <a:gd name="connsiteY25962" fmla="*/ 3166412 h 5973007"/>
              <a:gd name="connsiteX25963" fmla="*/ 448752 w 6884782"/>
              <a:gd name="connsiteY25963" fmla="*/ 3152781 h 5973007"/>
              <a:gd name="connsiteX25964" fmla="*/ 458045 w 6884782"/>
              <a:gd name="connsiteY25964" fmla="*/ 3152627 h 5973007"/>
              <a:gd name="connsiteX25965" fmla="*/ 295674 w 6884782"/>
              <a:gd name="connsiteY25965" fmla="*/ 3151407 h 5973007"/>
              <a:gd name="connsiteX25966" fmla="*/ 300373 w 6884782"/>
              <a:gd name="connsiteY25966" fmla="*/ 3153401 h 5973007"/>
              <a:gd name="connsiteX25967" fmla="*/ 299030 w 6884782"/>
              <a:gd name="connsiteY25967" fmla="*/ 3159442 h 5973007"/>
              <a:gd name="connsiteX25968" fmla="*/ 296449 w 6884782"/>
              <a:gd name="connsiteY25968" fmla="*/ 3160526 h 5973007"/>
              <a:gd name="connsiteX25969" fmla="*/ 291183 w 6884782"/>
              <a:gd name="connsiteY25969" fmla="*/ 3160526 h 5973007"/>
              <a:gd name="connsiteX25970" fmla="*/ 291286 w 6884782"/>
              <a:gd name="connsiteY25970" fmla="*/ 3161301 h 5973007"/>
              <a:gd name="connsiteX25971" fmla="*/ 290047 w 6884782"/>
              <a:gd name="connsiteY25971" fmla="*/ 3156499 h 5973007"/>
              <a:gd name="connsiteX25972" fmla="*/ 295674 w 6884782"/>
              <a:gd name="connsiteY25972" fmla="*/ 3151407 h 5973007"/>
              <a:gd name="connsiteX25973" fmla="*/ 509570 w 6884782"/>
              <a:gd name="connsiteY25973" fmla="*/ 3150458 h 5973007"/>
              <a:gd name="connsiteX25974" fmla="*/ 506782 w 6884782"/>
              <a:gd name="connsiteY25974" fmla="*/ 3155724 h 5973007"/>
              <a:gd name="connsiteX25975" fmla="*/ 502549 w 6884782"/>
              <a:gd name="connsiteY25975" fmla="*/ 3152472 h 5973007"/>
              <a:gd name="connsiteX25976" fmla="*/ 509570 w 6884782"/>
              <a:gd name="connsiteY25976" fmla="*/ 3150458 h 5973007"/>
              <a:gd name="connsiteX25977" fmla="*/ 6515974 w 6884782"/>
              <a:gd name="connsiteY25977" fmla="*/ 3143598 h 5973007"/>
              <a:gd name="connsiteX25978" fmla="*/ 6524958 w 6884782"/>
              <a:gd name="connsiteY25978" fmla="*/ 3151239 h 5973007"/>
              <a:gd name="connsiteX25979" fmla="*/ 6505906 w 6884782"/>
              <a:gd name="connsiteY25979" fmla="*/ 3161048 h 5973007"/>
              <a:gd name="connsiteX25980" fmla="*/ 6505441 w 6884782"/>
              <a:gd name="connsiteY25980" fmla="*/ 3149793 h 5973007"/>
              <a:gd name="connsiteX25981" fmla="*/ 6515974 w 6884782"/>
              <a:gd name="connsiteY25981" fmla="*/ 3143598 h 5973007"/>
              <a:gd name="connsiteX25982" fmla="*/ 184313 w 6884782"/>
              <a:gd name="connsiteY25982" fmla="*/ 3141939 h 5973007"/>
              <a:gd name="connsiteX25983" fmla="*/ 189062 w 6884782"/>
              <a:gd name="connsiteY25983" fmla="*/ 3142713 h 5973007"/>
              <a:gd name="connsiteX25984" fmla="*/ 189992 w 6884782"/>
              <a:gd name="connsiteY25984" fmla="*/ 3144572 h 5973007"/>
              <a:gd name="connsiteX25985" fmla="*/ 189579 w 6884782"/>
              <a:gd name="connsiteY25985" fmla="*/ 3145192 h 5973007"/>
              <a:gd name="connsiteX25986" fmla="*/ 187823 w 6884782"/>
              <a:gd name="connsiteY25986" fmla="*/ 3147980 h 5973007"/>
              <a:gd name="connsiteX25987" fmla="*/ 183177 w 6884782"/>
              <a:gd name="connsiteY25987" fmla="*/ 3146896 h 5973007"/>
              <a:gd name="connsiteX25988" fmla="*/ 183074 w 6884782"/>
              <a:gd name="connsiteY25988" fmla="*/ 3143642 h 5973007"/>
              <a:gd name="connsiteX25989" fmla="*/ 184313 w 6884782"/>
              <a:gd name="connsiteY25989" fmla="*/ 3141939 h 5973007"/>
              <a:gd name="connsiteX25990" fmla="*/ 319036 w 6884782"/>
              <a:gd name="connsiteY25990" fmla="*/ 3141261 h 5973007"/>
              <a:gd name="connsiteX25991" fmla="*/ 317410 w 6884782"/>
              <a:gd name="connsiteY25991" fmla="*/ 3147360 h 5973007"/>
              <a:gd name="connsiteX25992" fmla="*/ 312454 w 6884782"/>
              <a:gd name="connsiteY25992" fmla="*/ 3141784 h 5973007"/>
              <a:gd name="connsiteX25993" fmla="*/ 319036 w 6884782"/>
              <a:gd name="connsiteY25993" fmla="*/ 3141261 h 5973007"/>
              <a:gd name="connsiteX25994" fmla="*/ 253804 w 6884782"/>
              <a:gd name="connsiteY25994" fmla="*/ 3139615 h 5973007"/>
              <a:gd name="connsiteX25995" fmla="*/ 255353 w 6884782"/>
              <a:gd name="connsiteY25995" fmla="*/ 3141164 h 5973007"/>
              <a:gd name="connsiteX25996" fmla="*/ 248848 w 6884782"/>
              <a:gd name="connsiteY25996" fmla="*/ 3149684 h 5973007"/>
              <a:gd name="connsiteX25997" fmla="*/ 246473 w 6884782"/>
              <a:gd name="connsiteY25997" fmla="*/ 3149993 h 5973007"/>
              <a:gd name="connsiteX25998" fmla="*/ 244821 w 6884782"/>
              <a:gd name="connsiteY25998" fmla="*/ 3150923 h 5973007"/>
              <a:gd name="connsiteX25999" fmla="*/ 238935 w 6884782"/>
              <a:gd name="connsiteY25999" fmla="*/ 3150148 h 5973007"/>
              <a:gd name="connsiteX26000" fmla="*/ 251842 w 6884782"/>
              <a:gd name="connsiteY26000" fmla="*/ 3139925 h 5973007"/>
              <a:gd name="connsiteX26001" fmla="*/ 253804 w 6884782"/>
              <a:gd name="connsiteY26001" fmla="*/ 3139615 h 5973007"/>
              <a:gd name="connsiteX26002" fmla="*/ 6575623 w 6884782"/>
              <a:gd name="connsiteY26002" fmla="*/ 3134445 h 5973007"/>
              <a:gd name="connsiteX26003" fmla="*/ 6622543 w 6884782"/>
              <a:gd name="connsiteY26003" fmla="*/ 3165591 h 5973007"/>
              <a:gd name="connsiteX26004" fmla="*/ 6560119 w 6884782"/>
              <a:gd name="connsiteY26004" fmla="*/ 3139364 h 5973007"/>
              <a:gd name="connsiteX26005" fmla="*/ 6575623 w 6884782"/>
              <a:gd name="connsiteY26005" fmla="*/ 3134445 h 5973007"/>
              <a:gd name="connsiteX26006" fmla="*/ 330110 w 6884782"/>
              <a:gd name="connsiteY26006" fmla="*/ 3132645 h 5973007"/>
              <a:gd name="connsiteX26007" fmla="*/ 340023 w 6884782"/>
              <a:gd name="connsiteY26007" fmla="*/ 3142249 h 5973007"/>
              <a:gd name="connsiteX26008" fmla="*/ 329285 w 6884782"/>
              <a:gd name="connsiteY26008" fmla="*/ 3136827 h 5973007"/>
              <a:gd name="connsiteX26009" fmla="*/ 330110 w 6884782"/>
              <a:gd name="connsiteY26009" fmla="*/ 3132645 h 5973007"/>
              <a:gd name="connsiteX26010" fmla="*/ 397743 w 6884782"/>
              <a:gd name="connsiteY26010" fmla="*/ 3126759 h 5973007"/>
              <a:gd name="connsiteX26011" fmla="*/ 402390 w 6884782"/>
              <a:gd name="connsiteY26011" fmla="*/ 3128308 h 5973007"/>
              <a:gd name="connsiteX26012" fmla="*/ 398569 w 6884782"/>
              <a:gd name="connsiteY26012" fmla="*/ 3131096 h 5973007"/>
              <a:gd name="connsiteX26013" fmla="*/ 396504 w 6884782"/>
              <a:gd name="connsiteY26013" fmla="*/ 3128463 h 5973007"/>
              <a:gd name="connsiteX26014" fmla="*/ 397743 w 6884782"/>
              <a:gd name="connsiteY26014" fmla="*/ 3126759 h 5973007"/>
              <a:gd name="connsiteX26015" fmla="*/ 434477 w 6884782"/>
              <a:gd name="connsiteY26015" fmla="*/ 3126527 h 5973007"/>
              <a:gd name="connsiteX26016" fmla="*/ 443486 w 6884782"/>
              <a:gd name="connsiteY26016" fmla="*/ 3129082 h 5973007"/>
              <a:gd name="connsiteX26017" fmla="*/ 445035 w 6884782"/>
              <a:gd name="connsiteY26017" fmla="*/ 3130631 h 5973007"/>
              <a:gd name="connsiteX26018" fmla="*/ 448442 w 6884782"/>
              <a:gd name="connsiteY26018" fmla="*/ 3132180 h 5973007"/>
              <a:gd name="connsiteX26019" fmla="*/ 443692 w 6884782"/>
              <a:gd name="connsiteY26019" fmla="*/ 3142558 h 5973007"/>
              <a:gd name="connsiteX26020" fmla="*/ 428823 w 6884782"/>
              <a:gd name="connsiteY26020" fmla="*/ 3145811 h 5973007"/>
              <a:gd name="connsiteX26021" fmla="*/ 425416 w 6884782"/>
              <a:gd name="connsiteY26021" fmla="*/ 3136827 h 5973007"/>
              <a:gd name="connsiteX26022" fmla="*/ 427791 w 6884782"/>
              <a:gd name="connsiteY26022" fmla="*/ 3131406 h 5973007"/>
              <a:gd name="connsiteX26023" fmla="*/ 434477 w 6884782"/>
              <a:gd name="connsiteY26023" fmla="*/ 3126527 h 5973007"/>
              <a:gd name="connsiteX26024" fmla="*/ 369038 w 6884782"/>
              <a:gd name="connsiteY26024" fmla="*/ 3126139 h 5973007"/>
              <a:gd name="connsiteX26025" fmla="*/ 368625 w 6884782"/>
              <a:gd name="connsiteY26025" fmla="*/ 3137292 h 5973007"/>
              <a:gd name="connsiteX26026" fmla="*/ 364391 w 6884782"/>
              <a:gd name="connsiteY26026" fmla="*/ 3136363 h 5973007"/>
              <a:gd name="connsiteX26027" fmla="*/ 360571 w 6884782"/>
              <a:gd name="connsiteY26027" fmla="*/ 3129702 h 5973007"/>
              <a:gd name="connsiteX26028" fmla="*/ 364908 w 6884782"/>
              <a:gd name="connsiteY26028" fmla="*/ 3127378 h 5973007"/>
              <a:gd name="connsiteX26029" fmla="*/ 369038 w 6884782"/>
              <a:gd name="connsiteY26029" fmla="*/ 3126139 h 5973007"/>
              <a:gd name="connsiteX26030" fmla="*/ 295726 w 6884782"/>
              <a:gd name="connsiteY26030" fmla="*/ 3123661 h 5973007"/>
              <a:gd name="connsiteX26031" fmla="*/ 310079 w 6884782"/>
              <a:gd name="connsiteY26031" fmla="*/ 3127533 h 5973007"/>
              <a:gd name="connsiteX26032" fmla="*/ 307910 w 6884782"/>
              <a:gd name="connsiteY26032" fmla="*/ 3135433 h 5973007"/>
              <a:gd name="connsiteX26033" fmla="*/ 291802 w 6884782"/>
              <a:gd name="connsiteY26033" fmla="*/ 3125674 h 5973007"/>
              <a:gd name="connsiteX26034" fmla="*/ 295726 w 6884782"/>
              <a:gd name="connsiteY26034" fmla="*/ 3123661 h 5973007"/>
              <a:gd name="connsiteX26035" fmla="*/ 461814 w 6884782"/>
              <a:gd name="connsiteY26035" fmla="*/ 3123467 h 5973007"/>
              <a:gd name="connsiteX26036" fmla="*/ 470642 w 6884782"/>
              <a:gd name="connsiteY26036" fmla="*/ 3128773 h 5973007"/>
              <a:gd name="connsiteX26037" fmla="*/ 469713 w 6884782"/>
              <a:gd name="connsiteY26037" fmla="*/ 3131406 h 5973007"/>
              <a:gd name="connsiteX26038" fmla="*/ 470022 w 6884782"/>
              <a:gd name="connsiteY26038" fmla="*/ 3131871 h 5973007"/>
              <a:gd name="connsiteX26039" fmla="*/ 464756 w 6884782"/>
              <a:gd name="connsiteY26039" fmla="*/ 3138221 h 5973007"/>
              <a:gd name="connsiteX26040" fmla="*/ 460317 w 6884782"/>
              <a:gd name="connsiteY26040" fmla="*/ 3134504 h 5973007"/>
              <a:gd name="connsiteX26041" fmla="*/ 460729 w 6884782"/>
              <a:gd name="connsiteY26041" fmla="*/ 3133884 h 5973007"/>
              <a:gd name="connsiteX26042" fmla="*/ 459594 w 6884782"/>
              <a:gd name="connsiteY26042" fmla="*/ 3133419 h 5973007"/>
              <a:gd name="connsiteX26043" fmla="*/ 455154 w 6884782"/>
              <a:gd name="connsiteY26043" fmla="*/ 3128618 h 5973007"/>
              <a:gd name="connsiteX26044" fmla="*/ 461814 w 6884782"/>
              <a:gd name="connsiteY26044" fmla="*/ 3123467 h 5973007"/>
              <a:gd name="connsiteX26045" fmla="*/ 380913 w 6884782"/>
              <a:gd name="connsiteY26045" fmla="*/ 3122422 h 5973007"/>
              <a:gd name="connsiteX26046" fmla="*/ 386695 w 6884782"/>
              <a:gd name="connsiteY26046" fmla="*/ 3129857 h 5973007"/>
              <a:gd name="connsiteX26047" fmla="*/ 375853 w 6884782"/>
              <a:gd name="connsiteY26047" fmla="*/ 3124126 h 5973007"/>
              <a:gd name="connsiteX26048" fmla="*/ 380913 w 6884782"/>
              <a:gd name="connsiteY26048" fmla="*/ 3122422 h 5973007"/>
              <a:gd name="connsiteX26049" fmla="*/ 590213 w 6884782"/>
              <a:gd name="connsiteY26049" fmla="*/ 3121802 h 5973007"/>
              <a:gd name="connsiteX26050" fmla="*/ 594962 w 6884782"/>
              <a:gd name="connsiteY26050" fmla="*/ 3129082 h 5973007"/>
              <a:gd name="connsiteX26051" fmla="*/ 583398 w 6884782"/>
              <a:gd name="connsiteY26051" fmla="*/ 3130321 h 5973007"/>
              <a:gd name="connsiteX26052" fmla="*/ 583811 w 6884782"/>
              <a:gd name="connsiteY26052" fmla="*/ 3125985 h 5973007"/>
              <a:gd name="connsiteX26053" fmla="*/ 590213 w 6884782"/>
              <a:gd name="connsiteY26053" fmla="*/ 3121802 h 5973007"/>
              <a:gd name="connsiteX26054" fmla="*/ 99849 w 6884782"/>
              <a:gd name="connsiteY26054" fmla="*/ 3120253 h 5973007"/>
              <a:gd name="connsiteX26055" fmla="*/ 113582 w 6884782"/>
              <a:gd name="connsiteY26055" fmla="*/ 3136672 h 5973007"/>
              <a:gd name="connsiteX26056" fmla="*/ 109555 w 6884782"/>
              <a:gd name="connsiteY26056" fmla="*/ 3138376 h 5973007"/>
              <a:gd name="connsiteX26057" fmla="*/ 98713 w 6884782"/>
              <a:gd name="connsiteY26057" fmla="*/ 3125985 h 5973007"/>
              <a:gd name="connsiteX26058" fmla="*/ 99849 w 6884782"/>
              <a:gd name="connsiteY26058" fmla="*/ 3120253 h 5973007"/>
              <a:gd name="connsiteX26059" fmla="*/ 306362 w 6884782"/>
              <a:gd name="connsiteY26059" fmla="*/ 3118085 h 5973007"/>
              <a:gd name="connsiteX26060" fmla="*/ 317203 w 6884782"/>
              <a:gd name="connsiteY26060" fmla="*/ 3121647 h 5973007"/>
              <a:gd name="connsiteX26061" fmla="*/ 309975 w 6884782"/>
              <a:gd name="connsiteY26061" fmla="*/ 3125210 h 5973007"/>
              <a:gd name="connsiteX26062" fmla="*/ 302334 w 6884782"/>
              <a:gd name="connsiteY26062" fmla="*/ 3119943 h 5973007"/>
              <a:gd name="connsiteX26063" fmla="*/ 306362 w 6884782"/>
              <a:gd name="connsiteY26063" fmla="*/ 3118085 h 5973007"/>
              <a:gd name="connsiteX26064" fmla="*/ 453192 w 6884782"/>
              <a:gd name="connsiteY26064" fmla="*/ 3117930 h 5973007"/>
              <a:gd name="connsiteX26065" fmla="*/ 448339 w 6884782"/>
              <a:gd name="connsiteY26065" fmla="*/ 3124900 h 5973007"/>
              <a:gd name="connsiteX26066" fmla="*/ 453192 w 6884782"/>
              <a:gd name="connsiteY26066" fmla="*/ 3117930 h 5973007"/>
              <a:gd name="connsiteX26067" fmla="*/ 6787972 w 6884782"/>
              <a:gd name="connsiteY26067" fmla="*/ 3116132 h 5973007"/>
              <a:gd name="connsiteX26068" fmla="*/ 6759316 w 6884782"/>
              <a:gd name="connsiteY26068" fmla="*/ 3162081 h 5973007"/>
              <a:gd name="connsiteX26069" fmla="*/ 6787972 w 6884782"/>
              <a:gd name="connsiteY26069" fmla="*/ 3116132 h 5973007"/>
              <a:gd name="connsiteX26070" fmla="*/ 200317 w 6884782"/>
              <a:gd name="connsiteY26070" fmla="*/ 3112044 h 5973007"/>
              <a:gd name="connsiteX26071" fmla="*/ 219833 w 6884782"/>
              <a:gd name="connsiteY26071" fmla="*/ 3126759 h 5973007"/>
              <a:gd name="connsiteX26072" fmla="*/ 201040 w 6884782"/>
              <a:gd name="connsiteY26072" fmla="*/ 3117310 h 5973007"/>
              <a:gd name="connsiteX26073" fmla="*/ 199904 w 6884782"/>
              <a:gd name="connsiteY26073" fmla="*/ 3113593 h 5973007"/>
              <a:gd name="connsiteX26074" fmla="*/ 200317 w 6884782"/>
              <a:gd name="connsiteY26074" fmla="*/ 3112044 h 5973007"/>
              <a:gd name="connsiteX26075" fmla="*/ 70421 w 6884782"/>
              <a:gd name="connsiteY26075" fmla="*/ 3112044 h 5973007"/>
              <a:gd name="connsiteX26076" fmla="*/ 71970 w 6884782"/>
              <a:gd name="connsiteY26076" fmla="*/ 3119014 h 5973007"/>
              <a:gd name="connsiteX26077" fmla="*/ 66807 w 6884782"/>
              <a:gd name="connsiteY26077" fmla="*/ 3117620 h 5973007"/>
              <a:gd name="connsiteX26078" fmla="*/ 65258 w 6884782"/>
              <a:gd name="connsiteY26078" fmla="*/ 3114987 h 5973007"/>
              <a:gd name="connsiteX26079" fmla="*/ 66910 w 6884782"/>
              <a:gd name="connsiteY26079" fmla="*/ 3112508 h 5973007"/>
              <a:gd name="connsiteX26080" fmla="*/ 70421 w 6884782"/>
              <a:gd name="connsiteY26080" fmla="*/ 3112044 h 5973007"/>
              <a:gd name="connsiteX26081" fmla="*/ 420047 w 6884782"/>
              <a:gd name="connsiteY26081" fmla="*/ 3110030 h 5973007"/>
              <a:gd name="connsiteX26082" fmla="*/ 428307 w 6884782"/>
              <a:gd name="connsiteY26082" fmla="*/ 3116381 h 5973007"/>
              <a:gd name="connsiteX26083" fmla="*/ 427068 w 6884782"/>
              <a:gd name="connsiteY26083" fmla="*/ 3117465 h 5973007"/>
              <a:gd name="connsiteX26084" fmla="*/ 428823 w 6884782"/>
              <a:gd name="connsiteY26084" fmla="*/ 3118085 h 5973007"/>
              <a:gd name="connsiteX26085" fmla="*/ 431095 w 6884782"/>
              <a:gd name="connsiteY26085" fmla="*/ 3119634 h 5973007"/>
              <a:gd name="connsiteX26086" fmla="*/ 430372 w 6884782"/>
              <a:gd name="connsiteY26086" fmla="*/ 3122577 h 5973007"/>
              <a:gd name="connsiteX26087" fmla="*/ 429133 w 6884782"/>
              <a:gd name="connsiteY26087" fmla="*/ 3125520 h 5973007"/>
              <a:gd name="connsiteX26088" fmla="*/ 429443 w 6884782"/>
              <a:gd name="connsiteY26088" fmla="*/ 3126294 h 5973007"/>
              <a:gd name="connsiteX26089" fmla="*/ 414987 w 6884782"/>
              <a:gd name="connsiteY26089" fmla="*/ 3126759 h 5973007"/>
              <a:gd name="connsiteX26090" fmla="*/ 417362 w 6884782"/>
              <a:gd name="connsiteY26090" fmla="*/ 3118240 h 5973007"/>
              <a:gd name="connsiteX26091" fmla="*/ 418291 w 6884782"/>
              <a:gd name="connsiteY26091" fmla="*/ 3117465 h 5973007"/>
              <a:gd name="connsiteX26092" fmla="*/ 417568 w 6884782"/>
              <a:gd name="connsiteY26092" fmla="*/ 3116226 h 5973007"/>
              <a:gd name="connsiteX26093" fmla="*/ 420047 w 6884782"/>
              <a:gd name="connsiteY26093" fmla="*/ 3110030 h 5973007"/>
              <a:gd name="connsiteX26094" fmla="*/ 219626 w 6884782"/>
              <a:gd name="connsiteY26094" fmla="*/ 3109256 h 5973007"/>
              <a:gd name="connsiteX26095" fmla="*/ 224583 w 6884782"/>
              <a:gd name="connsiteY26095" fmla="*/ 3110030 h 5973007"/>
              <a:gd name="connsiteX26096" fmla="*/ 223344 w 6884782"/>
              <a:gd name="connsiteY26096" fmla="*/ 3113283 h 5973007"/>
              <a:gd name="connsiteX26097" fmla="*/ 219626 w 6884782"/>
              <a:gd name="connsiteY26097" fmla="*/ 3109256 h 5973007"/>
              <a:gd name="connsiteX26098" fmla="*/ 6751416 w 6884782"/>
              <a:gd name="connsiteY26098" fmla="*/ 3109110 h 5973007"/>
              <a:gd name="connsiteX26099" fmla="*/ 6743671 w 6884782"/>
              <a:gd name="connsiteY26099" fmla="*/ 3136783 h 5973007"/>
              <a:gd name="connsiteX26100" fmla="*/ 6739025 w 6884782"/>
              <a:gd name="connsiteY26100" fmla="*/ 3121707 h 5973007"/>
              <a:gd name="connsiteX26101" fmla="*/ 6751416 w 6884782"/>
              <a:gd name="connsiteY26101" fmla="*/ 3109110 h 5973007"/>
              <a:gd name="connsiteX26102" fmla="*/ 406520 w 6884782"/>
              <a:gd name="connsiteY26102" fmla="*/ 3108171 h 5973007"/>
              <a:gd name="connsiteX26103" fmla="*/ 414161 w 6884782"/>
              <a:gd name="connsiteY26103" fmla="*/ 3112818 h 5973007"/>
              <a:gd name="connsiteX26104" fmla="*/ 404042 w 6884782"/>
              <a:gd name="connsiteY26104" fmla="*/ 3112508 h 5973007"/>
              <a:gd name="connsiteX26105" fmla="*/ 406520 w 6884782"/>
              <a:gd name="connsiteY26105" fmla="*/ 3108171 h 5973007"/>
              <a:gd name="connsiteX26106" fmla="*/ 257934 w 6884782"/>
              <a:gd name="connsiteY26106" fmla="*/ 3107552 h 5973007"/>
              <a:gd name="connsiteX26107" fmla="*/ 280444 w 6884782"/>
              <a:gd name="connsiteY26107" fmla="*/ 3115452 h 5973007"/>
              <a:gd name="connsiteX26108" fmla="*/ 257934 w 6884782"/>
              <a:gd name="connsiteY26108" fmla="*/ 3107552 h 5973007"/>
              <a:gd name="connsiteX26109" fmla="*/ 346838 w 6884782"/>
              <a:gd name="connsiteY26109" fmla="*/ 3106932 h 5973007"/>
              <a:gd name="connsiteX26110" fmla="*/ 351897 w 6884782"/>
              <a:gd name="connsiteY26110" fmla="*/ 3107397 h 5973007"/>
              <a:gd name="connsiteX26111" fmla="*/ 355202 w 6884782"/>
              <a:gd name="connsiteY26111" fmla="*/ 3107087 h 5973007"/>
              <a:gd name="connsiteX26112" fmla="*/ 357267 w 6884782"/>
              <a:gd name="connsiteY26112" fmla="*/ 3108946 h 5973007"/>
              <a:gd name="connsiteX26113" fmla="*/ 350865 w 6884782"/>
              <a:gd name="connsiteY26113" fmla="*/ 3112353 h 5973007"/>
              <a:gd name="connsiteX26114" fmla="*/ 344773 w 6884782"/>
              <a:gd name="connsiteY26114" fmla="*/ 3110340 h 5973007"/>
              <a:gd name="connsiteX26115" fmla="*/ 346838 w 6884782"/>
              <a:gd name="connsiteY26115" fmla="*/ 3106932 h 5973007"/>
              <a:gd name="connsiteX26116" fmla="*/ 296204 w 6884782"/>
              <a:gd name="connsiteY26116" fmla="*/ 3105538 h 5973007"/>
              <a:gd name="connsiteX26117" fmla="*/ 310595 w 6884782"/>
              <a:gd name="connsiteY26117" fmla="*/ 3108017 h 5973007"/>
              <a:gd name="connsiteX26118" fmla="*/ 283129 w 6884782"/>
              <a:gd name="connsiteY26118" fmla="*/ 3115141 h 5973007"/>
              <a:gd name="connsiteX26119" fmla="*/ 296204 w 6884782"/>
              <a:gd name="connsiteY26119" fmla="*/ 3105538 h 5973007"/>
              <a:gd name="connsiteX26120" fmla="*/ 297894 w 6884782"/>
              <a:gd name="connsiteY26120" fmla="*/ 3103370 h 5973007"/>
              <a:gd name="connsiteX26121" fmla="*/ 295416 w 6884782"/>
              <a:gd name="connsiteY26121" fmla="*/ 3103834 h 5973007"/>
              <a:gd name="connsiteX26122" fmla="*/ 294487 w 6884782"/>
              <a:gd name="connsiteY26122" fmla="*/ 3105228 h 5973007"/>
              <a:gd name="connsiteX26123" fmla="*/ 291802 w 6884782"/>
              <a:gd name="connsiteY26123" fmla="*/ 3104454 h 5973007"/>
              <a:gd name="connsiteX26124" fmla="*/ 297894 w 6884782"/>
              <a:gd name="connsiteY26124" fmla="*/ 3103370 h 5973007"/>
              <a:gd name="connsiteX26125" fmla="*/ 6837694 w 6884782"/>
              <a:gd name="connsiteY26125" fmla="*/ 3102502 h 5973007"/>
              <a:gd name="connsiteX26126" fmla="*/ 6855042 w 6884782"/>
              <a:gd name="connsiteY26126" fmla="*/ 3115512 h 5973007"/>
              <a:gd name="connsiteX26127" fmla="*/ 6846213 w 6884782"/>
              <a:gd name="connsiteY26127" fmla="*/ 3118300 h 5973007"/>
              <a:gd name="connsiteX26128" fmla="*/ 6841721 w 6884782"/>
              <a:gd name="connsiteY26128" fmla="*/ 3116441 h 5973007"/>
              <a:gd name="connsiteX26129" fmla="*/ 6844354 w 6884782"/>
              <a:gd name="connsiteY26129" fmla="*/ 3120365 h 5973007"/>
              <a:gd name="connsiteX26130" fmla="*/ 6824527 w 6884782"/>
              <a:gd name="connsiteY26130" fmla="*/ 3133582 h 5973007"/>
              <a:gd name="connsiteX26131" fmla="*/ 6820345 w 6884782"/>
              <a:gd name="connsiteY26131" fmla="*/ 3122327 h 5973007"/>
              <a:gd name="connsiteX26132" fmla="*/ 6831652 w 6884782"/>
              <a:gd name="connsiteY26132" fmla="*/ 3112001 h 5973007"/>
              <a:gd name="connsiteX26133" fmla="*/ 6838623 w 6884782"/>
              <a:gd name="connsiteY26133" fmla="*/ 3112931 h 5973007"/>
              <a:gd name="connsiteX26134" fmla="*/ 6837848 w 6884782"/>
              <a:gd name="connsiteY26134" fmla="*/ 3112104 h 5973007"/>
              <a:gd name="connsiteX26135" fmla="*/ 6837694 w 6884782"/>
              <a:gd name="connsiteY26135" fmla="*/ 3102502 h 5973007"/>
              <a:gd name="connsiteX26136" fmla="*/ 337855 w 6884782"/>
              <a:gd name="connsiteY26136" fmla="*/ 3100736 h 5973007"/>
              <a:gd name="connsiteX26137" fmla="*/ 343637 w 6884782"/>
              <a:gd name="connsiteY26137" fmla="*/ 3108791 h 5973007"/>
              <a:gd name="connsiteX26138" fmla="*/ 340746 w 6884782"/>
              <a:gd name="connsiteY26138" fmla="*/ 3111269 h 5973007"/>
              <a:gd name="connsiteX26139" fmla="*/ 333518 w 6884782"/>
              <a:gd name="connsiteY26139" fmla="*/ 3104454 h 5973007"/>
              <a:gd name="connsiteX26140" fmla="*/ 337855 w 6884782"/>
              <a:gd name="connsiteY26140" fmla="*/ 3100736 h 5973007"/>
              <a:gd name="connsiteX26141" fmla="*/ 434916 w 6884782"/>
              <a:gd name="connsiteY26141" fmla="*/ 3100427 h 5973007"/>
              <a:gd name="connsiteX26142" fmla="*/ 440388 w 6884782"/>
              <a:gd name="connsiteY26142" fmla="*/ 3108017 h 5973007"/>
              <a:gd name="connsiteX26143" fmla="*/ 433883 w 6884782"/>
              <a:gd name="connsiteY26143" fmla="*/ 3102440 h 5973007"/>
              <a:gd name="connsiteX26144" fmla="*/ 434916 w 6884782"/>
              <a:gd name="connsiteY26144" fmla="*/ 3100427 h 5973007"/>
              <a:gd name="connsiteX26145" fmla="*/ 305535 w 6884782"/>
              <a:gd name="connsiteY26145" fmla="*/ 3097793 h 5973007"/>
              <a:gd name="connsiteX26146" fmla="*/ 307497 w 6884782"/>
              <a:gd name="connsiteY26146" fmla="*/ 3098103 h 5973007"/>
              <a:gd name="connsiteX26147" fmla="*/ 306981 w 6884782"/>
              <a:gd name="connsiteY26147" fmla="*/ 3100581 h 5973007"/>
              <a:gd name="connsiteX26148" fmla="*/ 303780 w 6884782"/>
              <a:gd name="connsiteY26148" fmla="*/ 3100581 h 5973007"/>
              <a:gd name="connsiteX26149" fmla="*/ 301405 w 6884782"/>
              <a:gd name="connsiteY26149" fmla="*/ 3102750 h 5973007"/>
              <a:gd name="connsiteX26150" fmla="*/ 298204 w 6884782"/>
              <a:gd name="connsiteY26150" fmla="*/ 3102750 h 5973007"/>
              <a:gd name="connsiteX26151" fmla="*/ 298101 w 6884782"/>
              <a:gd name="connsiteY26151" fmla="*/ 3101666 h 5973007"/>
              <a:gd name="connsiteX26152" fmla="*/ 298618 w 6884782"/>
              <a:gd name="connsiteY26152" fmla="*/ 3101975 h 5973007"/>
              <a:gd name="connsiteX26153" fmla="*/ 301096 w 6884782"/>
              <a:gd name="connsiteY26153" fmla="*/ 3101666 h 5973007"/>
              <a:gd name="connsiteX26154" fmla="*/ 305535 w 6884782"/>
              <a:gd name="connsiteY26154" fmla="*/ 3097793 h 5973007"/>
              <a:gd name="connsiteX26155" fmla="*/ 477870 w 6884782"/>
              <a:gd name="connsiteY26155" fmla="*/ 3096554 h 5973007"/>
              <a:gd name="connsiteX26156" fmla="*/ 486647 w 6884782"/>
              <a:gd name="connsiteY26156" fmla="*/ 3105383 h 5973007"/>
              <a:gd name="connsiteX26157" fmla="*/ 486647 w 6884782"/>
              <a:gd name="connsiteY26157" fmla="*/ 3106003 h 5973007"/>
              <a:gd name="connsiteX26158" fmla="*/ 488918 w 6884782"/>
              <a:gd name="connsiteY26158" fmla="*/ 3106003 h 5973007"/>
              <a:gd name="connsiteX26159" fmla="*/ 481174 w 6884782"/>
              <a:gd name="connsiteY26159" fmla="*/ 3125985 h 5973007"/>
              <a:gd name="connsiteX26160" fmla="*/ 473740 w 6884782"/>
              <a:gd name="connsiteY26160" fmla="*/ 3122112 h 5973007"/>
              <a:gd name="connsiteX26161" fmla="*/ 470849 w 6884782"/>
              <a:gd name="connsiteY26161" fmla="*/ 3116381 h 5973007"/>
              <a:gd name="connsiteX26162" fmla="*/ 470952 w 6884782"/>
              <a:gd name="connsiteY26162" fmla="*/ 3108017 h 5973007"/>
              <a:gd name="connsiteX26163" fmla="*/ 478593 w 6884782"/>
              <a:gd name="connsiteY26163" fmla="*/ 3106313 h 5973007"/>
              <a:gd name="connsiteX26164" fmla="*/ 475082 w 6884782"/>
              <a:gd name="connsiteY26164" fmla="*/ 3101356 h 5973007"/>
              <a:gd name="connsiteX26165" fmla="*/ 477870 w 6884782"/>
              <a:gd name="connsiteY26165" fmla="*/ 3096554 h 5973007"/>
              <a:gd name="connsiteX26166" fmla="*/ 6458411 w 6884782"/>
              <a:gd name="connsiteY26166" fmla="*/ 3091208 h 5973007"/>
              <a:gd name="connsiteX26167" fmla="*/ 6471829 w 6884782"/>
              <a:gd name="connsiteY26167" fmla="*/ 3096410 h 5973007"/>
              <a:gd name="connsiteX26168" fmla="*/ 6458508 w 6884782"/>
              <a:gd name="connsiteY26168" fmla="*/ 3114583 h 5973007"/>
              <a:gd name="connsiteX26169" fmla="*/ 6449214 w 6884782"/>
              <a:gd name="connsiteY26169" fmla="*/ 3112621 h 5973007"/>
              <a:gd name="connsiteX26170" fmla="*/ 6446735 w 6884782"/>
              <a:gd name="connsiteY26170" fmla="*/ 3093209 h 5973007"/>
              <a:gd name="connsiteX26171" fmla="*/ 6458411 w 6884782"/>
              <a:gd name="connsiteY26171" fmla="*/ 3091208 h 5973007"/>
              <a:gd name="connsiteX26172" fmla="*/ 6645971 w 6884782"/>
              <a:gd name="connsiteY26172" fmla="*/ 3091079 h 5973007"/>
              <a:gd name="connsiteX26173" fmla="*/ 6656465 w 6884782"/>
              <a:gd name="connsiteY26173" fmla="*/ 3099198 h 5973007"/>
              <a:gd name="connsiteX26174" fmla="*/ 6658324 w 6884782"/>
              <a:gd name="connsiteY26174" fmla="*/ 3107974 h 5973007"/>
              <a:gd name="connsiteX26175" fmla="*/ 6651663 w 6884782"/>
              <a:gd name="connsiteY26175" fmla="*/ 3121914 h 5973007"/>
              <a:gd name="connsiteX26176" fmla="*/ 6647481 w 6884782"/>
              <a:gd name="connsiteY26176" fmla="*/ 3123360 h 5973007"/>
              <a:gd name="connsiteX26177" fmla="*/ 6642834 w 6884782"/>
              <a:gd name="connsiteY26177" fmla="*/ 3123256 h 5973007"/>
              <a:gd name="connsiteX26178" fmla="*/ 6620993 w 6884782"/>
              <a:gd name="connsiteY26178" fmla="*/ 3105806 h 5973007"/>
              <a:gd name="connsiteX26179" fmla="*/ 6631062 w 6884782"/>
              <a:gd name="connsiteY26179" fmla="*/ 3091866 h 5973007"/>
              <a:gd name="connsiteX26180" fmla="*/ 6645971 w 6884782"/>
              <a:gd name="connsiteY26180" fmla="*/ 3091079 h 5973007"/>
              <a:gd name="connsiteX26181" fmla="*/ 600642 w 6884782"/>
              <a:gd name="connsiteY26181" fmla="*/ 3089429 h 5973007"/>
              <a:gd name="connsiteX26182" fmla="*/ 604153 w 6884782"/>
              <a:gd name="connsiteY26182" fmla="*/ 3090668 h 5973007"/>
              <a:gd name="connsiteX26183" fmla="*/ 604049 w 6884782"/>
              <a:gd name="connsiteY26183" fmla="*/ 3092682 h 5973007"/>
              <a:gd name="connsiteX26184" fmla="*/ 602707 w 6884782"/>
              <a:gd name="connsiteY26184" fmla="*/ 3094696 h 5973007"/>
              <a:gd name="connsiteX26185" fmla="*/ 598370 w 6884782"/>
              <a:gd name="connsiteY26185" fmla="*/ 3092992 h 5973007"/>
              <a:gd name="connsiteX26186" fmla="*/ 598473 w 6884782"/>
              <a:gd name="connsiteY26186" fmla="*/ 3090978 h 5973007"/>
              <a:gd name="connsiteX26187" fmla="*/ 600642 w 6884782"/>
              <a:gd name="connsiteY26187" fmla="*/ 3089429 h 5973007"/>
              <a:gd name="connsiteX26188" fmla="*/ 366870 w 6884782"/>
              <a:gd name="connsiteY26188" fmla="*/ 3089119 h 5973007"/>
              <a:gd name="connsiteX26189" fmla="*/ 368831 w 6884782"/>
              <a:gd name="connsiteY26189" fmla="*/ 3089429 h 5973007"/>
              <a:gd name="connsiteX26190" fmla="*/ 369038 w 6884782"/>
              <a:gd name="connsiteY26190" fmla="*/ 3092372 h 5973007"/>
              <a:gd name="connsiteX26191" fmla="*/ 371000 w 6884782"/>
              <a:gd name="connsiteY26191" fmla="*/ 3092682 h 5973007"/>
              <a:gd name="connsiteX26192" fmla="*/ 371310 w 6884782"/>
              <a:gd name="connsiteY26192" fmla="*/ 3093921 h 5973007"/>
              <a:gd name="connsiteX26193" fmla="*/ 369245 w 6884782"/>
              <a:gd name="connsiteY26193" fmla="*/ 3095315 h 5973007"/>
              <a:gd name="connsiteX26194" fmla="*/ 368005 w 6884782"/>
              <a:gd name="connsiteY26194" fmla="*/ 3090823 h 5973007"/>
              <a:gd name="connsiteX26195" fmla="*/ 366870 w 6884782"/>
              <a:gd name="connsiteY26195" fmla="*/ 3089119 h 5973007"/>
              <a:gd name="connsiteX26196" fmla="*/ 364495 w 6884782"/>
              <a:gd name="connsiteY26196" fmla="*/ 3087725 h 5973007"/>
              <a:gd name="connsiteX26197" fmla="*/ 362223 w 6884782"/>
              <a:gd name="connsiteY26197" fmla="*/ 3092837 h 5973007"/>
              <a:gd name="connsiteX26198" fmla="*/ 356131 w 6884782"/>
              <a:gd name="connsiteY26198" fmla="*/ 3097484 h 5973007"/>
              <a:gd name="connsiteX26199" fmla="*/ 355718 w 6884782"/>
              <a:gd name="connsiteY26199" fmla="*/ 3096244 h 5973007"/>
              <a:gd name="connsiteX26200" fmla="*/ 364495 w 6884782"/>
              <a:gd name="connsiteY26200" fmla="*/ 3087725 h 5973007"/>
              <a:gd name="connsiteX26201" fmla="*/ 261548 w 6884782"/>
              <a:gd name="connsiteY26201" fmla="*/ 3087260 h 5973007"/>
              <a:gd name="connsiteX26202" fmla="*/ 263613 w 6884782"/>
              <a:gd name="connsiteY26202" fmla="*/ 3093766 h 5973007"/>
              <a:gd name="connsiteX26203" fmla="*/ 258451 w 6884782"/>
              <a:gd name="connsiteY26203" fmla="*/ 3093611 h 5973007"/>
              <a:gd name="connsiteX26204" fmla="*/ 256695 w 6884782"/>
              <a:gd name="connsiteY26204" fmla="*/ 3091442 h 5973007"/>
              <a:gd name="connsiteX26205" fmla="*/ 258141 w 6884782"/>
              <a:gd name="connsiteY26205" fmla="*/ 3088654 h 5973007"/>
              <a:gd name="connsiteX26206" fmla="*/ 261548 w 6884782"/>
              <a:gd name="connsiteY26206" fmla="*/ 3087260 h 5973007"/>
              <a:gd name="connsiteX26207" fmla="*/ 6422572 w 6884782"/>
              <a:gd name="connsiteY26207" fmla="*/ 3085464 h 5973007"/>
              <a:gd name="connsiteX26208" fmla="*/ 6433569 w 6884782"/>
              <a:gd name="connsiteY26208" fmla="*/ 3102812 h 5973007"/>
              <a:gd name="connsiteX26209" fmla="*/ 6420248 w 6884782"/>
              <a:gd name="connsiteY26209" fmla="*/ 3108284 h 5973007"/>
              <a:gd name="connsiteX26210" fmla="*/ 6416686 w 6884782"/>
              <a:gd name="connsiteY26210" fmla="*/ 3108078 h 5973007"/>
              <a:gd name="connsiteX26211" fmla="*/ 6414827 w 6884782"/>
              <a:gd name="connsiteY26211" fmla="*/ 3095893 h 5973007"/>
              <a:gd name="connsiteX26212" fmla="*/ 6422572 w 6884782"/>
              <a:gd name="connsiteY26212" fmla="*/ 3085464 h 5973007"/>
              <a:gd name="connsiteX26213" fmla="*/ 121739 w 6884782"/>
              <a:gd name="connsiteY26213" fmla="*/ 3085092 h 5973007"/>
              <a:gd name="connsiteX26214" fmla="*/ 125457 w 6884782"/>
              <a:gd name="connsiteY26214" fmla="*/ 3086641 h 5973007"/>
              <a:gd name="connsiteX26215" fmla="*/ 126283 w 6884782"/>
              <a:gd name="connsiteY26215" fmla="*/ 3088345 h 5973007"/>
              <a:gd name="connsiteX26216" fmla="*/ 124630 w 6884782"/>
              <a:gd name="connsiteY26216" fmla="*/ 3089739 h 5973007"/>
              <a:gd name="connsiteX26217" fmla="*/ 119468 w 6884782"/>
              <a:gd name="connsiteY26217" fmla="*/ 3089274 h 5973007"/>
              <a:gd name="connsiteX26218" fmla="*/ 118538 w 6884782"/>
              <a:gd name="connsiteY26218" fmla="*/ 3087570 h 5973007"/>
              <a:gd name="connsiteX26219" fmla="*/ 121739 w 6884782"/>
              <a:gd name="connsiteY26219" fmla="*/ 3085092 h 5973007"/>
              <a:gd name="connsiteX26220" fmla="*/ 449475 w 6884782"/>
              <a:gd name="connsiteY26220" fmla="*/ 3083543 h 5973007"/>
              <a:gd name="connsiteX26221" fmla="*/ 447822 w 6884782"/>
              <a:gd name="connsiteY26221" fmla="*/ 3089429 h 5973007"/>
              <a:gd name="connsiteX26222" fmla="*/ 447822 w 6884782"/>
              <a:gd name="connsiteY26222" fmla="*/ 3085866 h 5973007"/>
              <a:gd name="connsiteX26223" fmla="*/ 449475 w 6884782"/>
              <a:gd name="connsiteY26223" fmla="*/ 3083543 h 5973007"/>
              <a:gd name="connsiteX26224" fmla="*/ 379363 w 6884782"/>
              <a:gd name="connsiteY26224" fmla="*/ 3082768 h 5973007"/>
              <a:gd name="connsiteX26225" fmla="*/ 385662 w 6884782"/>
              <a:gd name="connsiteY26225" fmla="*/ 3083078 h 5973007"/>
              <a:gd name="connsiteX26226" fmla="*/ 375233 w 6884782"/>
              <a:gd name="connsiteY26226" fmla="*/ 3094385 h 5973007"/>
              <a:gd name="connsiteX26227" fmla="*/ 373581 w 6884782"/>
              <a:gd name="connsiteY26227" fmla="*/ 3095315 h 5973007"/>
              <a:gd name="connsiteX26228" fmla="*/ 371310 w 6884782"/>
              <a:gd name="connsiteY26228" fmla="*/ 3093921 h 5973007"/>
              <a:gd name="connsiteX26229" fmla="*/ 377815 w 6884782"/>
              <a:gd name="connsiteY26229" fmla="*/ 3083698 h 5973007"/>
              <a:gd name="connsiteX26230" fmla="*/ 379363 w 6884782"/>
              <a:gd name="connsiteY26230" fmla="*/ 3082768 h 5973007"/>
              <a:gd name="connsiteX26231" fmla="*/ 228300 w 6884782"/>
              <a:gd name="connsiteY26231" fmla="*/ 3082304 h 5973007"/>
              <a:gd name="connsiteX26232" fmla="*/ 234702 w 6884782"/>
              <a:gd name="connsiteY26232" fmla="*/ 3087880 h 5973007"/>
              <a:gd name="connsiteX26233" fmla="*/ 228093 w 6884782"/>
              <a:gd name="connsiteY26233" fmla="*/ 3084937 h 5973007"/>
              <a:gd name="connsiteX26234" fmla="*/ 228300 w 6884782"/>
              <a:gd name="connsiteY26234" fmla="*/ 3082304 h 5973007"/>
              <a:gd name="connsiteX26235" fmla="*/ 181938 w 6884782"/>
              <a:gd name="connsiteY26235" fmla="*/ 3079361 h 5973007"/>
              <a:gd name="connsiteX26236" fmla="*/ 203105 w 6884782"/>
              <a:gd name="connsiteY26236" fmla="*/ 3089119 h 5973007"/>
              <a:gd name="connsiteX26237" fmla="*/ 175536 w 6884782"/>
              <a:gd name="connsiteY26237" fmla="*/ 3082149 h 5973007"/>
              <a:gd name="connsiteX26238" fmla="*/ 181938 w 6884782"/>
              <a:gd name="connsiteY26238" fmla="*/ 3079361 h 5973007"/>
              <a:gd name="connsiteX26239" fmla="*/ 120397 w 6884782"/>
              <a:gd name="connsiteY26239" fmla="*/ 3075953 h 5973007"/>
              <a:gd name="connsiteX26240" fmla="*/ 122875 w 6884782"/>
              <a:gd name="connsiteY26240" fmla="*/ 3078741 h 5973007"/>
              <a:gd name="connsiteX26241" fmla="*/ 119468 w 6884782"/>
              <a:gd name="connsiteY26241" fmla="*/ 3079206 h 5973007"/>
              <a:gd name="connsiteX26242" fmla="*/ 118951 w 6884782"/>
              <a:gd name="connsiteY26242" fmla="*/ 3077812 h 5973007"/>
              <a:gd name="connsiteX26243" fmla="*/ 120397 w 6884782"/>
              <a:gd name="connsiteY26243" fmla="*/ 3075953 h 5973007"/>
              <a:gd name="connsiteX26244" fmla="*/ 6399647 w 6884782"/>
              <a:gd name="connsiteY26244" fmla="*/ 3075139 h 5973007"/>
              <a:gd name="connsiteX26245" fmla="*/ 6401351 w 6884782"/>
              <a:gd name="connsiteY26245" fmla="*/ 3094654 h 5973007"/>
              <a:gd name="connsiteX26246" fmla="*/ 6399647 w 6884782"/>
              <a:gd name="connsiteY26246" fmla="*/ 3075139 h 5973007"/>
              <a:gd name="connsiteX26247" fmla="*/ 360158 w 6884782"/>
              <a:gd name="connsiteY26247" fmla="*/ 3074249 h 5973007"/>
              <a:gd name="connsiteX26248" fmla="*/ 362326 w 6884782"/>
              <a:gd name="connsiteY26248" fmla="*/ 3074714 h 5973007"/>
              <a:gd name="connsiteX26249" fmla="*/ 364288 w 6884782"/>
              <a:gd name="connsiteY26249" fmla="*/ 3077966 h 5973007"/>
              <a:gd name="connsiteX26250" fmla="*/ 366560 w 6884782"/>
              <a:gd name="connsiteY26250" fmla="*/ 3086176 h 5973007"/>
              <a:gd name="connsiteX26251" fmla="*/ 367695 w 6884782"/>
              <a:gd name="connsiteY26251" fmla="*/ 3087880 h 5973007"/>
              <a:gd name="connsiteX26252" fmla="*/ 359745 w 6884782"/>
              <a:gd name="connsiteY26252" fmla="*/ 3075024 h 5973007"/>
              <a:gd name="connsiteX26253" fmla="*/ 360158 w 6884782"/>
              <a:gd name="connsiteY26253" fmla="*/ 3074249 h 5973007"/>
              <a:gd name="connsiteX26254" fmla="*/ 283645 w 6884782"/>
              <a:gd name="connsiteY26254" fmla="*/ 3072081 h 5973007"/>
              <a:gd name="connsiteX26255" fmla="*/ 287465 w 6884782"/>
              <a:gd name="connsiteY26255" fmla="*/ 3072700 h 5973007"/>
              <a:gd name="connsiteX26256" fmla="*/ 285917 w 6884782"/>
              <a:gd name="connsiteY26256" fmla="*/ 3073474 h 5973007"/>
              <a:gd name="connsiteX26257" fmla="*/ 283542 w 6884782"/>
              <a:gd name="connsiteY26257" fmla="*/ 3073939 h 5973007"/>
              <a:gd name="connsiteX26258" fmla="*/ 282613 w 6884782"/>
              <a:gd name="connsiteY26258" fmla="*/ 3075333 h 5973007"/>
              <a:gd name="connsiteX26259" fmla="*/ 275797 w 6884782"/>
              <a:gd name="connsiteY26259" fmla="*/ 3074714 h 5973007"/>
              <a:gd name="connsiteX26260" fmla="*/ 277450 w 6884782"/>
              <a:gd name="connsiteY26260" fmla="*/ 3073785 h 5973007"/>
              <a:gd name="connsiteX26261" fmla="*/ 279721 w 6884782"/>
              <a:gd name="connsiteY26261" fmla="*/ 3073474 h 5973007"/>
              <a:gd name="connsiteX26262" fmla="*/ 282096 w 6884782"/>
              <a:gd name="connsiteY26262" fmla="*/ 3073010 h 5973007"/>
              <a:gd name="connsiteX26263" fmla="*/ 283645 w 6884782"/>
              <a:gd name="connsiteY26263" fmla="*/ 3072081 h 5973007"/>
              <a:gd name="connsiteX26264" fmla="*/ 297791 w 6884782"/>
              <a:gd name="connsiteY26264" fmla="*/ 3071926 h 5973007"/>
              <a:gd name="connsiteX26265" fmla="*/ 306775 w 6884782"/>
              <a:gd name="connsiteY26265" fmla="*/ 3080909 h 5973007"/>
              <a:gd name="connsiteX26266" fmla="*/ 301405 w 6884782"/>
              <a:gd name="connsiteY26266" fmla="*/ 3083852 h 5973007"/>
              <a:gd name="connsiteX26267" fmla="*/ 294694 w 6884782"/>
              <a:gd name="connsiteY26267" fmla="*/ 3078121 h 5973007"/>
              <a:gd name="connsiteX26268" fmla="*/ 294694 w 6884782"/>
              <a:gd name="connsiteY26268" fmla="*/ 3075024 h 5973007"/>
              <a:gd name="connsiteX26269" fmla="*/ 297791 w 6884782"/>
              <a:gd name="connsiteY26269" fmla="*/ 3071926 h 5973007"/>
              <a:gd name="connsiteX26270" fmla="*/ 263923 w 6884782"/>
              <a:gd name="connsiteY26270" fmla="*/ 3069602 h 5973007"/>
              <a:gd name="connsiteX26271" fmla="*/ 266608 w 6884782"/>
              <a:gd name="connsiteY26271" fmla="*/ 3069757 h 5973007"/>
              <a:gd name="connsiteX26272" fmla="*/ 267434 w 6884782"/>
              <a:gd name="connsiteY26272" fmla="*/ 3074249 h 5973007"/>
              <a:gd name="connsiteX26273" fmla="*/ 265679 w 6884782"/>
              <a:gd name="connsiteY26273" fmla="*/ 3074869 h 5973007"/>
              <a:gd name="connsiteX26274" fmla="*/ 262994 w 6884782"/>
              <a:gd name="connsiteY26274" fmla="*/ 3073785 h 5973007"/>
              <a:gd name="connsiteX26275" fmla="*/ 262168 w 6884782"/>
              <a:gd name="connsiteY26275" fmla="*/ 3070222 h 5973007"/>
              <a:gd name="connsiteX26276" fmla="*/ 263923 w 6884782"/>
              <a:gd name="connsiteY26276" fmla="*/ 3069602 h 5973007"/>
              <a:gd name="connsiteX26277" fmla="*/ 116163 w 6884782"/>
              <a:gd name="connsiteY26277" fmla="*/ 3067279 h 5973007"/>
              <a:gd name="connsiteX26278" fmla="*/ 117919 w 6884782"/>
              <a:gd name="connsiteY26278" fmla="*/ 3067434 h 5973007"/>
              <a:gd name="connsiteX26279" fmla="*/ 119571 w 6884782"/>
              <a:gd name="connsiteY26279" fmla="*/ 3075024 h 5973007"/>
              <a:gd name="connsiteX26280" fmla="*/ 112550 w 6884782"/>
              <a:gd name="connsiteY26280" fmla="*/ 3076882 h 5973007"/>
              <a:gd name="connsiteX26281" fmla="*/ 111723 w 6884782"/>
              <a:gd name="connsiteY26281" fmla="*/ 3075178 h 5973007"/>
              <a:gd name="connsiteX26282" fmla="*/ 111207 w 6884782"/>
              <a:gd name="connsiteY26282" fmla="*/ 3073010 h 5973007"/>
              <a:gd name="connsiteX26283" fmla="*/ 112756 w 6884782"/>
              <a:gd name="connsiteY26283" fmla="*/ 3068673 h 5973007"/>
              <a:gd name="connsiteX26284" fmla="*/ 114821 w 6884782"/>
              <a:gd name="connsiteY26284" fmla="*/ 3067434 h 5973007"/>
              <a:gd name="connsiteX26285" fmla="*/ 116163 w 6884782"/>
              <a:gd name="connsiteY26285" fmla="*/ 3067279 h 5973007"/>
              <a:gd name="connsiteX26286" fmla="*/ 241517 w 6884782"/>
              <a:gd name="connsiteY26286" fmla="*/ 3066040 h 5973007"/>
              <a:gd name="connsiteX26287" fmla="*/ 259277 w 6884782"/>
              <a:gd name="connsiteY26287" fmla="*/ 3068983 h 5973007"/>
              <a:gd name="connsiteX26288" fmla="*/ 227990 w 6884782"/>
              <a:gd name="connsiteY26288" fmla="*/ 3077347 h 5973007"/>
              <a:gd name="connsiteX26289" fmla="*/ 241517 w 6884782"/>
              <a:gd name="connsiteY26289" fmla="*/ 3066040 h 5973007"/>
              <a:gd name="connsiteX26290" fmla="*/ 592897 w 6884782"/>
              <a:gd name="connsiteY26290" fmla="*/ 3065575 h 5973007"/>
              <a:gd name="connsiteX26291" fmla="*/ 593104 w 6884782"/>
              <a:gd name="connsiteY26291" fmla="*/ 3079670 h 5973007"/>
              <a:gd name="connsiteX26292" fmla="*/ 588457 w 6884782"/>
              <a:gd name="connsiteY26292" fmla="*/ 3073474 h 5973007"/>
              <a:gd name="connsiteX26293" fmla="*/ 592897 w 6884782"/>
              <a:gd name="connsiteY26293" fmla="*/ 3065575 h 5973007"/>
              <a:gd name="connsiteX26294" fmla="*/ 6298906 w 6884782"/>
              <a:gd name="connsiteY26294" fmla="*/ 3064254 h 5973007"/>
              <a:gd name="connsiteX26295" fmla="*/ 6291454 w 6884782"/>
              <a:gd name="connsiteY26295" fmla="*/ 3098318 h 5973007"/>
              <a:gd name="connsiteX26296" fmla="*/ 6292459 w 6884782"/>
              <a:gd name="connsiteY26296" fmla="*/ 3099301 h 5973007"/>
              <a:gd name="connsiteX26297" fmla="*/ 6292687 w 6884782"/>
              <a:gd name="connsiteY26297" fmla="*/ 3106574 h 5973007"/>
              <a:gd name="connsiteX26298" fmla="*/ 6302282 w 6884782"/>
              <a:gd name="connsiteY26298" fmla="*/ 3102816 h 5973007"/>
              <a:gd name="connsiteX26299" fmla="*/ 6319508 w 6884782"/>
              <a:gd name="connsiteY26299" fmla="*/ 3092692 h 5973007"/>
              <a:gd name="connsiteX26300" fmla="*/ 6339964 w 6884782"/>
              <a:gd name="connsiteY26300" fmla="*/ 3085100 h 5973007"/>
              <a:gd name="connsiteX26301" fmla="*/ 6342135 w 6884782"/>
              <a:gd name="connsiteY26301" fmla="*/ 3084371 h 5973007"/>
              <a:gd name="connsiteX26302" fmla="*/ 6344039 w 6884782"/>
              <a:gd name="connsiteY26302" fmla="*/ 3076688 h 5973007"/>
              <a:gd name="connsiteX26303" fmla="*/ 6347569 w 6884782"/>
              <a:gd name="connsiteY26303" fmla="*/ 3072296 h 5973007"/>
              <a:gd name="connsiteX26304" fmla="*/ 6344329 w 6884782"/>
              <a:gd name="connsiteY26304" fmla="*/ 3072296 h 5973007"/>
              <a:gd name="connsiteX26305" fmla="*/ 6344329 w 6884782"/>
              <a:gd name="connsiteY26305" fmla="*/ 3072154 h 5973007"/>
              <a:gd name="connsiteX26306" fmla="*/ 6344116 w 6884782"/>
              <a:gd name="connsiteY26306" fmla="*/ 3072296 h 5973007"/>
              <a:gd name="connsiteX26307" fmla="*/ 6326615 w 6884782"/>
              <a:gd name="connsiteY26307" fmla="*/ 3072296 h 5973007"/>
              <a:gd name="connsiteX26308" fmla="*/ 6321920 w 6884782"/>
              <a:gd name="connsiteY26308" fmla="*/ 3070020 h 5973007"/>
              <a:gd name="connsiteX26309" fmla="*/ 6322133 w 6884782"/>
              <a:gd name="connsiteY26309" fmla="*/ 3070731 h 5973007"/>
              <a:gd name="connsiteX26310" fmla="*/ 6317438 w 6884782"/>
              <a:gd name="connsiteY26310" fmla="*/ 3071442 h 5973007"/>
              <a:gd name="connsiteX26311" fmla="*/ 6317865 w 6884782"/>
              <a:gd name="connsiteY26311" fmla="*/ 3072296 h 5973007"/>
              <a:gd name="connsiteX26312" fmla="*/ 6298444 w 6884782"/>
              <a:gd name="connsiteY26312" fmla="*/ 3072296 h 5973007"/>
              <a:gd name="connsiteX26313" fmla="*/ 6298657 w 6884782"/>
              <a:gd name="connsiteY26313" fmla="*/ 3069735 h 5973007"/>
              <a:gd name="connsiteX26314" fmla="*/ 615821 w 6884782"/>
              <a:gd name="connsiteY26314" fmla="*/ 3063561 h 5973007"/>
              <a:gd name="connsiteX26315" fmla="*/ 618712 w 6884782"/>
              <a:gd name="connsiteY26315" fmla="*/ 3077037 h 5973007"/>
              <a:gd name="connsiteX26316" fmla="*/ 615821 w 6884782"/>
              <a:gd name="connsiteY26316" fmla="*/ 3063561 h 5973007"/>
              <a:gd name="connsiteX26317" fmla="*/ 157053 w 6884782"/>
              <a:gd name="connsiteY26317" fmla="*/ 3063096 h 5973007"/>
              <a:gd name="connsiteX26318" fmla="*/ 162422 w 6884782"/>
              <a:gd name="connsiteY26318" fmla="*/ 3065265 h 5973007"/>
              <a:gd name="connsiteX26319" fmla="*/ 163352 w 6884782"/>
              <a:gd name="connsiteY26319" fmla="*/ 3067743 h 5973007"/>
              <a:gd name="connsiteX26320" fmla="*/ 160563 w 6884782"/>
              <a:gd name="connsiteY26320" fmla="*/ 3067434 h 5973007"/>
              <a:gd name="connsiteX26321" fmla="*/ 159738 w 6884782"/>
              <a:gd name="connsiteY26321" fmla="*/ 3065730 h 5973007"/>
              <a:gd name="connsiteX26322" fmla="*/ 157053 w 6884782"/>
              <a:gd name="connsiteY26322" fmla="*/ 3064645 h 5973007"/>
              <a:gd name="connsiteX26323" fmla="*/ 157053 w 6884782"/>
              <a:gd name="connsiteY26323" fmla="*/ 3063096 h 5973007"/>
              <a:gd name="connsiteX26324" fmla="*/ 616027 w 6884782"/>
              <a:gd name="connsiteY26324" fmla="*/ 3061548 h 5973007"/>
              <a:gd name="connsiteX26325" fmla="*/ 615924 w 6884782"/>
              <a:gd name="connsiteY26325" fmla="*/ 3063406 h 5973007"/>
              <a:gd name="connsiteX26326" fmla="*/ 614891 w 6884782"/>
              <a:gd name="connsiteY26326" fmla="*/ 3062787 h 5973007"/>
              <a:gd name="connsiteX26327" fmla="*/ 616027 w 6884782"/>
              <a:gd name="connsiteY26327" fmla="*/ 3061548 h 5973007"/>
              <a:gd name="connsiteX26328" fmla="*/ 479213 w 6884782"/>
              <a:gd name="connsiteY26328" fmla="*/ 3059069 h 5973007"/>
              <a:gd name="connsiteX26329" fmla="*/ 477663 w 6884782"/>
              <a:gd name="connsiteY26329" fmla="*/ 3076108 h 5973007"/>
              <a:gd name="connsiteX26330" fmla="*/ 452262 w 6884782"/>
              <a:gd name="connsiteY26330" fmla="*/ 3089584 h 5973007"/>
              <a:gd name="connsiteX26331" fmla="*/ 450611 w 6884782"/>
              <a:gd name="connsiteY26331" fmla="*/ 3087725 h 5973007"/>
              <a:gd name="connsiteX26332" fmla="*/ 449991 w 6884782"/>
              <a:gd name="connsiteY26332" fmla="*/ 3082149 h 5973007"/>
              <a:gd name="connsiteX26333" fmla="*/ 479213 w 6884782"/>
              <a:gd name="connsiteY26333" fmla="*/ 3059069 h 5973007"/>
              <a:gd name="connsiteX26334" fmla="*/ 165314 w 6884782"/>
              <a:gd name="connsiteY26334" fmla="*/ 3059069 h 5973007"/>
              <a:gd name="connsiteX26335" fmla="*/ 166759 w 6884782"/>
              <a:gd name="connsiteY26335" fmla="*/ 3059689 h 5973007"/>
              <a:gd name="connsiteX26336" fmla="*/ 168411 w 6884782"/>
              <a:gd name="connsiteY26336" fmla="*/ 3061548 h 5973007"/>
              <a:gd name="connsiteX26337" fmla="*/ 170166 w 6884782"/>
              <a:gd name="connsiteY26337" fmla="*/ 3062632 h 5973007"/>
              <a:gd name="connsiteX26338" fmla="*/ 170063 w 6884782"/>
              <a:gd name="connsiteY26338" fmla="*/ 3065265 h 5973007"/>
              <a:gd name="connsiteX26339" fmla="*/ 168308 w 6884782"/>
              <a:gd name="connsiteY26339" fmla="*/ 3064181 h 5973007"/>
              <a:gd name="connsiteX26340" fmla="*/ 164074 w 6884782"/>
              <a:gd name="connsiteY26340" fmla="*/ 3060308 h 5973007"/>
              <a:gd name="connsiteX26341" fmla="*/ 165314 w 6884782"/>
              <a:gd name="connsiteY26341" fmla="*/ 3059069 h 5973007"/>
              <a:gd name="connsiteX26342" fmla="*/ 384630 w 6884782"/>
              <a:gd name="connsiteY26342" fmla="*/ 3058760 h 5973007"/>
              <a:gd name="connsiteX26343" fmla="*/ 389380 w 6884782"/>
              <a:gd name="connsiteY26343" fmla="*/ 3061857 h 5973007"/>
              <a:gd name="connsiteX26344" fmla="*/ 390309 w 6884782"/>
              <a:gd name="connsiteY26344" fmla="*/ 3061548 h 5973007"/>
              <a:gd name="connsiteX26345" fmla="*/ 392064 w 6884782"/>
              <a:gd name="connsiteY26345" fmla="*/ 3062941 h 5973007"/>
              <a:gd name="connsiteX26346" fmla="*/ 392374 w 6884782"/>
              <a:gd name="connsiteY26346" fmla="*/ 3065110 h 5973007"/>
              <a:gd name="connsiteX26347" fmla="*/ 392374 w 6884782"/>
              <a:gd name="connsiteY26347" fmla="*/ 3065265 h 5973007"/>
              <a:gd name="connsiteX26348" fmla="*/ 395265 w 6884782"/>
              <a:gd name="connsiteY26348" fmla="*/ 3070067 h 5973007"/>
              <a:gd name="connsiteX26349" fmla="*/ 398259 w 6884782"/>
              <a:gd name="connsiteY26349" fmla="*/ 3071151 h 5973007"/>
              <a:gd name="connsiteX26350" fmla="*/ 401151 w 6884782"/>
              <a:gd name="connsiteY26350" fmla="*/ 3072545 h 5973007"/>
              <a:gd name="connsiteX26351" fmla="*/ 400428 w 6884782"/>
              <a:gd name="connsiteY26351" fmla="*/ 3071616 h 5973007"/>
              <a:gd name="connsiteX26352" fmla="*/ 401461 w 6884782"/>
              <a:gd name="connsiteY26352" fmla="*/ 3059224 h 5973007"/>
              <a:gd name="connsiteX26353" fmla="*/ 405281 w 6884782"/>
              <a:gd name="connsiteY26353" fmla="*/ 3067279 h 5973007"/>
              <a:gd name="connsiteX26354" fmla="*/ 402906 w 6884782"/>
              <a:gd name="connsiteY26354" fmla="*/ 3073939 h 5973007"/>
              <a:gd name="connsiteX26355" fmla="*/ 405487 w 6884782"/>
              <a:gd name="connsiteY26355" fmla="*/ 3077347 h 5973007"/>
              <a:gd name="connsiteX26356" fmla="*/ 400324 w 6884782"/>
              <a:gd name="connsiteY26356" fmla="*/ 3083698 h 5973007"/>
              <a:gd name="connsiteX26357" fmla="*/ 384423 w 6884782"/>
              <a:gd name="connsiteY26357" fmla="*/ 3078276 h 5973007"/>
              <a:gd name="connsiteX26358" fmla="*/ 384836 w 6884782"/>
              <a:gd name="connsiteY26358" fmla="*/ 3077657 h 5973007"/>
              <a:gd name="connsiteX26359" fmla="*/ 379467 w 6884782"/>
              <a:gd name="connsiteY26359" fmla="*/ 3075953 h 5973007"/>
              <a:gd name="connsiteX26360" fmla="*/ 379157 w 6884782"/>
              <a:gd name="connsiteY26360" fmla="*/ 3072545 h 5973007"/>
              <a:gd name="connsiteX26361" fmla="*/ 372135 w 6884782"/>
              <a:gd name="connsiteY26361" fmla="*/ 3067279 h 5973007"/>
              <a:gd name="connsiteX26362" fmla="*/ 368625 w 6884782"/>
              <a:gd name="connsiteY26362" fmla="*/ 3059379 h 5973007"/>
              <a:gd name="connsiteX26363" fmla="*/ 384630 w 6884782"/>
              <a:gd name="connsiteY26363" fmla="*/ 3058760 h 5973007"/>
              <a:gd name="connsiteX26364" fmla="*/ 326393 w 6884782"/>
              <a:gd name="connsiteY26364" fmla="*/ 3058450 h 5973007"/>
              <a:gd name="connsiteX26365" fmla="*/ 332795 w 6884782"/>
              <a:gd name="connsiteY26365" fmla="*/ 3075178 h 5973007"/>
              <a:gd name="connsiteX26366" fmla="*/ 323812 w 6884782"/>
              <a:gd name="connsiteY26366" fmla="*/ 3062632 h 5973007"/>
              <a:gd name="connsiteX26367" fmla="*/ 326393 w 6884782"/>
              <a:gd name="connsiteY26367" fmla="*/ 3058450 h 5973007"/>
              <a:gd name="connsiteX26368" fmla="*/ 614375 w 6884782"/>
              <a:gd name="connsiteY26368" fmla="*/ 3057520 h 5973007"/>
              <a:gd name="connsiteX26369" fmla="*/ 614271 w 6884782"/>
              <a:gd name="connsiteY26369" fmla="*/ 3059379 h 5973007"/>
              <a:gd name="connsiteX26370" fmla="*/ 613549 w 6884782"/>
              <a:gd name="connsiteY26370" fmla="*/ 3059069 h 5973007"/>
              <a:gd name="connsiteX26371" fmla="*/ 613549 w 6884782"/>
              <a:gd name="connsiteY26371" fmla="*/ 3057675 h 5973007"/>
              <a:gd name="connsiteX26372" fmla="*/ 614375 w 6884782"/>
              <a:gd name="connsiteY26372" fmla="*/ 3057520 h 5973007"/>
              <a:gd name="connsiteX26373" fmla="*/ 6537349 w 6884782"/>
              <a:gd name="connsiteY26373" fmla="*/ 3056140 h 5973007"/>
              <a:gd name="connsiteX26374" fmla="*/ 6551910 w 6884782"/>
              <a:gd name="connsiteY26374" fmla="*/ 3094861 h 5973007"/>
              <a:gd name="connsiteX26375" fmla="*/ 6537349 w 6884782"/>
              <a:gd name="connsiteY26375" fmla="*/ 3056140 h 5973007"/>
              <a:gd name="connsiteX26376" fmla="*/ 232843 w 6884782"/>
              <a:gd name="connsiteY26376" fmla="*/ 3055506 h 5973007"/>
              <a:gd name="connsiteX26377" fmla="*/ 238109 w 6884782"/>
              <a:gd name="connsiteY26377" fmla="*/ 3055971 h 5973007"/>
              <a:gd name="connsiteX26378" fmla="*/ 235321 w 6884782"/>
              <a:gd name="connsiteY26378" fmla="*/ 3061548 h 5973007"/>
              <a:gd name="connsiteX26379" fmla="*/ 233669 w 6884782"/>
              <a:gd name="connsiteY26379" fmla="*/ 3060463 h 5973007"/>
              <a:gd name="connsiteX26380" fmla="*/ 232223 w 6884782"/>
              <a:gd name="connsiteY26380" fmla="*/ 3057985 h 5973007"/>
              <a:gd name="connsiteX26381" fmla="*/ 232843 w 6884782"/>
              <a:gd name="connsiteY26381" fmla="*/ 3055506 h 5973007"/>
              <a:gd name="connsiteX26382" fmla="*/ 486647 w 6884782"/>
              <a:gd name="connsiteY26382" fmla="*/ 3055042 h 5973007"/>
              <a:gd name="connsiteX26383" fmla="*/ 498521 w 6884782"/>
              <a:gd name="connsiteY26383" fmla="*/ 3071926 h 5973007"/>
              <a:gd name="connsiteX26384" fmla="*/ 490261 w 6884782"/>
              <a:gd name="connsiteY26384" fmla="*/ 3074714 h 5973007"/>
              <a:gd name="connsiteX26385" fmla="*/ 482826 w 6884782"/>
              <a:gd name="connsiteY26385" fmla="*/ 3066040 h 5973007"/>
              <a:gd name="connsiteX26386" fmla="*/ 486647 w 6884782"/>
              <a:gd name="connsiteY26386" fmla="*/ 3055042 h 5973007"/>
              <a:gd name="connsiteX26387" fmla="*/ 404868 w 6884782"/>
              <a:gd name="connsiteY26387" fmla="*/ 3054887 h 5973007"/>
              <a:gd name="connsiteX26388" fmla="*/ 408379 w 6884782"/>
              <a:gd name="connsiteY26388" fmla="*/ 3054887 h 5973007"/>
              <a:gd name="connsiteX26389" fmla="*/ 411786 w 6884782"/>
              <a:gd name="connsiteY26389" fmla="*/ 3057520 h 5973007"/>
              <a:gd name="connsiteX26390" fmla="*/ 411063 w 6884782"/>
              <a:gd name="connsiteY26390" fmla="*/ 3057056 h 5973007"/>
              <a:gd name="connsiteX26391" fmla="*/ 410237 w 6884782"/>
              <a:gd name="connsiteY26391" fmla="*/ 3058450 h 5973007"/>
              <a:gd name="connsiteX26392" fmla="*/ 410960 w 6884782"/>
              <a:gd name="connsiteY26392" fmla="*/ 3058914 h 5973007"/>
              <a:gd name="connsiteX26393" fmla="*/ 409308 w 6884782"/>
              <a:gd name="connsiteY26393" fmla="*/ 3059844 h 5973007"/>
              <a:gd name="connsiteX26394" fmla="*/ 402596 w 6884782"/>
              <a:gd name="connsiteY26394" fmla="*/ 3058450 h 5973007"/>
              <a:gd name="connsiteX26395" fmla="*/ 404868 w 6884782"/>
              <a:gd name="connsiteY26395" fmla="*/ 3054887 h 5973007"/>
              <a:gd name="connsiteX26396" fmla="*/ 540856 w 6884782"/>
              <a:gd name="connsiteY26396" fmla="*/ 3053183 h 5973007"/>
              <a:gd name="connsiteX26397" fmla="*/ 537552 w 6884782"/>
              <a:gd name="connsiteY26397" fmla="*/ 3059998 h 5973007"/>
              <a:gd name="connsiteX26398" fmla="*/ 535693 w 6884782"/>
              <a:gd name="connsiteY26398" fmla="*/ 3056281 h 5973007"/>
              <a:gd name="connsiteX26399" fmla="*/ 538482 w 6884782"/>
              <a:gd name="connsiteY26399" fmla="*/ 3053648 h 5973007"/>
              <a:gd name="connsiteX26400" fmla="*/ 540856 w 6884782"/>
              <a:gd name="connsiteY26400" fmla="*/ 3053183 h 5973007"/>
              <a:gd name="connsiteX26401" fmla="*/ 200111 w 6884782"/>
              <a:gd name="connsiteY26401" fmla="*/ 3053028 h 5973007"/>
              <a:gd name="connsiteX26402" fmla="*/ 206616 w 6884782"/>
              <a:gd name="connsiteY26402" fmla="*/ 3062632 h 5973007"/>
              <a:gd name="connsiteX26403" fmla="*/ 199388 w 6884782"/>
              <a:gd name="connsiteY26403" fmla="*/ 3060773 h 5973007"/>
              <a:gd name="connsiteX26404" fmla="*/ 198768 w 6884782"/>
              <a:gd name="connsiteY26404" fmla="*/ 3056901 h 5973007"/>
              <a:gd name="connsiteX26405" fmla="*/ 200111 w 6884782"/>
              <a:gd name="connsiteY26405" fmla="*/ 3053028 h 5973007"/>
              <a:gd name="connsiteX26406" fmla="*/ 614168 w 6884782"/>
              <a:gd name="connsiteY26406" fmla="*/ 3052254 h 5973007"/>
              <a:gd name="connsiteX26407" fmla="*/ 614271 w 6884782"/>
              <a:gd name="connsiteY26407" fmla="*/ 3054887 h 5973007"/>
              <a:gd name="connsiteX26408" fmla="*/ 614065 w 6884782"/>
              <a:gd name="connsiteY26408" fmla="*/ 3055197 h 5973007"/>
              <a:gd name="connsiteX26409" fmla="*/ 614581 w 6884782"/>
              <a:gd name="connsiteY26409" fmla="*/ 3055197 h 5973007"/>
              <a:gd name="connsiteX26410" fmla="*/ 613755 w 6884782"/>
              <a:gd name="connsiteY26410" fmla="*/ 3056436 h 5973007"/>
              <a:gd name="connsiteX26411" fmla="*/ 613446 w 6884782"/>
              <a:gd name="connsiteY26411" fmla="*/ 3057056 h 5973007"/>
              <a:gd name="connsiteX26412" fmla="*/ 613342 w 6884782"/>
              <a:gd name="connsiteY26412" fmla="*/ 3056901 h 5973007"/>
              <a:gd name="connsiteX26413" fmla="*/ 611484 w 6884782"/>
              <a:gd name="connsiteY26413" fmla="*/ 3058295 h 5973007"/>
              <a:gd name="connsiteX26414" fmla="*/ 611174 w 6884782"/>
              <a:gd name="connsiteY26414" fmla="*/ 3059998 h 5973007"/>
              <a:gd name="connsiteX26415" fmla="*/ 604772 w 6884782"/>
              <a:gd name="connsiteY26415" fmla="*/ 3062941 h 5973007"/>
              <a:gd name="connsiteX26416" fmla="*/ 607766 w 6884782"/>
              <a:gd name="connsiteY26416" fmla="*/ 3059689 h 5973007"/>
              <a:gd name="connsiteX26417" fmla="*/ 609728 w 6884782"/>
              <a:gd name="connsiteY26417" fmla="*/ 3058140 h 5973007"/>
              <a:gd name="connsiteX26418" fmla="*/ 610864 w 6884782"/>
              <a:gd name="connsiteY26418" fmla="*/ 3056591 h 5973007"/>
              <a:gd name="connsiteX26419" fmla="*/ 612516 w 6884782"/>
              <a:gd name="connsiteY26419" fmla="*/ 3055661 h 5973007"/>
              <a:gd name="connsiteX26420" fmla="*/ 612516 w 6884782"/>
              <a:gd name="connsiteY26420" fmla="*/ 3055506 h 5973007"/>
              <a:gd name="connsiteX26421" fmla="*/ 612103 w 6884782"/>
              <a:gd name="connsiteY26421" fmla="*/ 3053803 h 5973007"/>
              <a:gd name="connsiteX26422" fmla="*/ 612723 w 6884782"/>
              <a:gd name="connsiteY26422" fmla="*/ 3052873 h 5973007"/>
              <a:gd name="connsiteX26423" fmla="*/ 614168 w 6884782"/>
              <a:gd name="connsiteY26423" fmla="*/ 3052254 h 5973007"/>
              <a:gd name="connsiteX26424" fmla="*/ 181834 w 6884782"/>
              <a:gd name="connsiteY26424" fmla="*/ 3049775 h 5973007"/>
              <a:gd name="connsiteX26425" fmla="*/ 184313 w 6884782"/>
              <a:gd name="connsiteY26425" fmla="*/ 3049930 h 5973007"/>
              <a:gd name="connsiteX26426" fmla="*/ 187617 w 6884782"/>
              <a:gd name="connsiteY26426" fmla="*/ 3057675 h 5973007"/>
              <a:gd name="connsiteX26427" fmla="*/ 181628 w 6884782"/>
              <a:gd name="connsiteY26427" fmla="*/ 3051634 h 5973007"/>
              <a:gd name="connsiteX26428" fmla="*/ 181834 w 6884782"/>
              <a:gd name="connsiteY26428" fmla="*/ 3049775 h 5973007"/>
              <a:gd name="connsiteX26429" fmla="*/ 399705 w 6884782"/>
              <a:gd name="connsiteY26429" fmla="*/ 3049620 h 5973007"/>
              <a:gd name="connsiteX26430" fmla="*/ 401048 w 6884782"/>
              <a:gd name="connsiteY26430" fmla="*/ 3056281 h 5973007"/>
              <a:gd name="connsiteX26431" fmla="*/ 395988 w 6884782"/>
              <a:gd name="connsiteY26431" fmla="*/ 3055661 h 5973007"/>
              <a:gd name="connsiteX26432" fmla="*/ 394439 w 6884782"/>
              <a:gd name="connsiteY26432" fmla="*/ 3053183 h 5973007"/>
              <a:gd name="connsiteX26433" fmla="*/ 396195 w 6884782"/>
              <a:gd name="connsiteY26433" fmla="*/ 3050705 h 5973007"/>
              <a:gd name="connsiteX26434" fmla="*/ 399705 w 6884782"/>
              <a:gd name="connsiteY26434" fmla="*/ 3049620 h 5973007"/>
              <a:gd name="connsiteX26435" fmla="*/ 153026 w 6884782"/>
              <a:gd name="connsiteY26435" fmla="*/ 3049156 h 5973007"/>
              <a:gd name="connsiteX26436" fmla="*/ 157363 w 6884782"/>
              <a:gd name="connsiteY26436" fmla="*/ 3050395 h 5973007"/>
              <a:gd name="connsiteX26437" fmla="*/ 159841 w 6884782"/>
              <a:gd name="connsiteY26437" fmla="*/ 3058140 h 5973007"/>
              <a:gd name="connsiteX26438" fmla="*/ 156433 w 6884782"/>
              <a:gd name="connsiteY26438" fmla="*/ 3057830 h 5973007"/>
              <a:gd name="connsiteX26439" fmla="*/ 152406 w 6884782"/>
              <a:gd name="connsiteY26439" fmla="*/ 3051015 h 5973007"/>
              <a:gd name="connsiteX26440" fmla="*/ 153026 w 6884782"/>
              <a:gd name="connsiteY26440" fmla="*/ 3049156 h 5973007"/>
              <a:gd name="connsiteX26441" fmla="*/ 314106 w 6884782"/>
              <a:gd name="connsiteY26441" fmla="*/ 3048846 h 5973007"/>
              <a:gd name="connsiteX26442" fmla="*/ 315138 w 6884782"/>
              <a:gd name="connsiteY26442" fmla="*/ 3050395 h 5973007"/>
              <a:gd name="connsiteX26443" fmla="*/ 313486 w 6884782"/>
              <a:gd name="connsiteY26443" fmla="*/ 3052254 h 5973007"/>
              <a:gd name="connsiteX26444" fmla="*/ 308426 w 6884782"/>
              <a:gd name="connsiteY26444" fmla="*/ 3053028 h 5973007"/>
              <a:gd name="connsiteX26445" fmla="*/ 307394 w 6884782"/>
              <a:gd name="connsiteY26445" fmla="*/ 3051479 h 5973007"/>
              <a:gd name="connsiteX26446" fmla="*/ 314106 w 6884782"/>
              <a:gd name="connsiteY26446" fmla="*/ 3048846 h 5973007"/>
              <a:gd name="connsiteX26447" fmla="*/ 618712 w 6884782"/>
              <a:gd name="connsiteY26447" fmla="*/ 3048381 h 5973007"/>
              <a:gd name="connsiteX26448" fmla="*/ 625114 w 6884782"/>
              <a:gd name="connsiteY26448" fmla="*/ 3053958 h 5973007"/>
              <a:gd name="connsiteX26449" fmla="*/ 624907 w 6884782"/>
              <a:gd name="connsiteY26449" fmla="*/ 3055042 h 5973007"/>
              <a:gd name="connsiteX26450" fmla="*/ 619021 w 6884782"/>
              <a:gd name="connsiteY26450" fmla="*/ 3063096 h 5973007"/>
              <a:gd name="connsiteX26451" fmla="*/ 614788 w 6884782"/>
              <a:gd name="connsiteY26451" fmla="*/ 3058760 h 5973007"/>
              <a:gd name="connsiteX26452" fmla="*/ 614891 w 6884782"/>
              <a:gd name="connsiteY26452" fmla="*/ 3056281 h 5973007"/>
              <a:gd name="connsiteX26453" fmla="*/ 618712 w 6884782"/>
              <a:gd name="connsiteY26453" fmla="*/ 3048381 h 5973007"/>
              <a:gd name="connsiteX26454" fmla="*/ 516695 w 6884782"/>
              <a:gd name="connsiteY26454" fmla="*/ 3047297 h 5973007"/>
              <a:gd name="connsiteX26455" fmla="*/ 515765 w 6884782"/>
              <a:gd name="connsiteY26455" fmla="*/ 3058295 h 5973007"/>
              <a:gd name="connsiteX26456" fmla="*/ 511015 w 6884782"/>
              <a:gd name="connsiteY26456" fmla="*/ 3053338 h 5973007"/>
              <a:gd name="connsiteX26457" fmla="*/ 516695 w 6884782"/>
              <a:gd name="connsiteY26457" fmla="*/ 3047297 h 5973007"/>
              <a:gd name="connsiteX26458" fmla="*/ 6564611 w 6884782"/>
              <a:gd name="connsiteY26458" fmla="*/ 3046021 h 5973007"/>
              <a:gd name="connsiteX26459" fmla="*/ 6584593 w 6884782"/>
              <a:gd name="connsiteY26459" fmla="*/ 3062438 h 5973007"/>
              <a:gd name="connsiteX26460" fmla="*/ 6574370 w 6884782"/>
              <a:gd name="connsiteY26460" fmla="*/ 3070802 h 5973007"/>
              <a:gd name="connsiteX26461" fmla="*/ 6558106 w 6884782"/>
              <a:gd name="connsiteY26461" fmla="*/ 3052113 h 5973007"/>
              <a:gd name="connsiteX26462" fmla="*/ 6564611 w 6884782"/>
              <a:gd name="connsiteY26462" fmla="*/ 3046021 h 5973007"/>
              <a:gd name="connsiteX26463" fmla="*/ 271977 w 6884782"/>
              <a:gd name="connsiteY26463" fmla="*/ 3042340 h 5973007"/>
              <a:gd name="connsiteX26464" fmla="*/ 274765 w 6884782"/>
              <a:gd name="connsiteY26464" fmla="*/ 3043889 h 5973007"/>
              <a:gd name="connsiteX26465" fmla="*/ 278172 w 6884782"/>
              <a:gd name="connsiteY26465" fmla="*/ 3047607 h 5973007"/>
              <a:gd name="connsiteX26466" fmla="*/ 280857 w 6884782"/>
              <a:gd name="connsiteY26466" fmla="*/ 3048691 h 5973007"/>
              <a:gd name="connsiteX26467" fmla="*/ 280857 w 6884782"/>
              <a:gd name="connsiteY26467" fmla="*/ 3049466 h 5973007"/>
              <a:gd name="connsiteX26468" fmla="*/ 270325 w 6884782"/>
              <a:gd name="connsiteY26468" fmla="*/ 3046832 h 5973007"/>
              <a:gd name="connsiteX26469" fmla="*/ 269395 w 6884782"/>
              <a:gd name="connsiteY26469" fmla="*/ 3045284 h 5973007"/>
              <a:gd name="connsiteX26470" fmla="*/ 270325 w 6884782"/>
              <a:gd name="connsiteY26470" fmla="*/ 3043425 h 5973007"/>
              <a:gd name="connsiteX26471" fmla="*/ 271977 w 6884782"/>
              <a:gd name="connsiteY26471" fmla="*/ 3042340 h 5973007"/>
              <a:gd name="connsiteX26472" fmla="*/ 663112 w 6884782"/>
              <a:gd name="connsiteY26472" fmla="*/ 3041721 h 5973007"/>
              <a:gd name="connsiteX26473" fmla="*/ 660530 w 6884782"/>
              <a:gd name="connsiteY26473" fmla="*/ 3041876 h 5973007"/>
              <a:gd name="connsiteX26474" fmla="*/ 658775 w 6884782"/>
              <a:gd name="connsiteY26474" fmla="*/ 3043115 h 5973007"/>
              <a:gd name="connsiteX26475" fmla="*/ 660324 w 6884782"/>
              <a:gd name="connsiteY26475" fmla="*/ 3042650 h 5973007"/>
              <a:gd name="connsiteX26476" fmla="*/ 662389 w 6884782"/>
              <a:gd name="connsiteY26476" fmla="*/ 3043580 h 5973007"/>
              <a:gd name="connsiteX26477" fmla="*/ 427687 w 6884782"/>
              <a:gd name="connsiteY26477" fmla="*/ 3040946 h 5973007"/>
              <a:gd name="connsiteX26478" fmla="*/ 430269 w 6884782"/>
              <a:gd name="connsiteY26478" fmla="*/ 3041101 h 5973007"/>
              <a:gd name="connsiteX26479" fmla="*/ 432541 w 6884782"/>
              <a:gd name="connsiteY26479" fmla="*/ 3043115 h 5973007"/>
              <a:gd name="connsiteX26480" fmla="*/ 433160 w 6884782"/>
              <a:gd name="connsiteY26480" fmla="*/ 3045438 h 5973007"/>
              <a:gd name="connsiteX26481" fmla="*/ 430579 w 6884782"/>
              <a:gd name="connsiteY26481" fmla="*/ 3049466 h 5973007"/>
              <a:gd name="connsiteX26482" fmla="*/ 423867 w 6884782"/>
              <a:gd name="connsiteY26482" fmla="*/ 3045284 h 5973007"/>
              <a:gd name="connsiteX26483" fmla="*/ 427687 w 6884782"/>
              <a:gd name="connsiteY26483" fmla="*/ 3040946 h 5973007"/>
              <a:gd name="connsiteX26484" fmla="*/ 308323 w 6884782"/>
              <a:gd name="connsiteY26484" fmla="*/ 3039552 h 5973007"/>
              <a:gd name="connsiteX26485" fmla="*/ 311008 w 6884782"/>
              <a:gd name="connsiteY26485" fmla="*/ 3041721 h 5973007"/>
              <a:gd name="connsiteX26486" fmla="*/ 307704 w 6884782"/>
              <a:gd name="connsiteY26486" fmla="*/ 3042960 h 5973007"/>
              <a:gd name="connsiteX26487" fmla="*/ 307084 w 6884782"/>
              <a:gd name="connsiteY26487" fmla="*/ 3041721 h 5973007"/>
              <a:gd name="connsiteX26488" fmla="*/ 308323 w 6884782"/>
              <a:gd name="connsiteY26488" fmla="*/ 3039552 h 5973007"/>
              <a:gd name="connsiteX26489" fmla="*/ 310492 w 6884782"/>
              <a:gd name="connsiteY26489" fmla="*/ 3039088 h 5973007"/>
              <a:gd name="connsiteX26490" fmla="*/ 310492 w 6884782"/>
              <a:gd name="connsiteY26490" fmla="*/ 3040637 h 5973007"/>
              <a:gd name="connsiteX26491" fmla="*/ 309769 w 6884782"/>
              <a:gd name="connsiteY26491" fmla="*/ 3039862 h 5973007"/>
              <a:gd name="connsiteX26492" fmla="*/ 310492 w 6884782"/>
              <a:gd name="connsiteY26492" fmla="*/ 3039088 h 5973007"/>
              <a:gd name="connsiteX26493" fmla="*/ 654232 w 6884782"/>
              <a:gd name="connsiteY26493" fmla="*/ 3033511 h 5973007"/>
              <a:gd name="connsiteX26494" fmla="*/ 655884 w 6884782"/>
              <a:gd name="connsiteY26494" fmla="*/ 3034750 h 5973007"/>
              <a:gd name="connsiteX26495" fmla="*/ 654645 w 6884782"/>
              <a:gd name="connsiteY26495" fmla="*/ 3036764 h 5973007"/>
              <a:gd name="connsiteX26496" fmla="*/ 646281 w 6884782"/>
              <a:gd name="connsiteY26496" fmla="*/ 3035215 h 5973007"/>
              <a:gd name="connsiteX26497" fmla="*/ 654232 w 6884782"/>
              <a:gd name="connsiteY26497" fmla="*/ 3033511 h 5973007"/>
              <a:gd name="connsiteX26498" fmla="*/ 432747 w 6884782"/>
              <a:gd name="connsiteY26498" fmla="*/ 3032272 h 5973007"/>
              <a:gd name="connsiteX26499" fmla="*/ 440698 w 6884782"/>
              <a:gd name="connsiteY26499" fmla="*/ 3033821 h 5973007"/>
              <a:gd name="connsiteX26500" fmla="*/ 432747 w 6884782"/>
              <a:gd name="connsiteY26500" fmla="*/ 3032272 h 5973007"/>
              <a:gd name="connsiteX26501" fmla="*/ 6617121 w 6884782"/>
              <a:gd name="connsiteY26501" fmla="*/ 3031978 h 5973007"/>
              <a:gd name="connsiteX26502" fmla="*/ 6625176 w 6884782"/>
              <a:gd name="connsiteY26502" fmla="*/ 3059754 h 5973007"/>
              <a:gd name="connsiteX26503" fmla="*/ 6603490 w 6884782"/>
              <a:gd name="connsiteY26503" fmla="*/ 3039722 h 5973007"/>
              <a:gd name="connsiteX26504" fmla="*/ 6617121 w 6884782"/>
              <a:gd name="connsiteY26504" fmla="*/ 3031978 h 5973007"/>
              <a:gd name="connsiteX26505" fmla="*/ 427171 w 6884782"/>
              <a:gd name="connsiteY26505" fmla="*/ 3031652 h 5973007"/>
              <a:gd name="connsiteX26506" fmla="*/ 430372 w 6884782"/>
              <a:gd name="connsiteY26506" fmla="*/ 3032892 h 5973007"/>
              <a:gd name="connsiteX26507" fmla="*/ 427171 w 6884782"/>
              <a:gd name="connsiteY26507" fmla="*/ 3032427 h 5973007"/>
              <a:gd name="connsiteX26508" fmla="*/ 426449 w 6884782"/>
              <a:gd name="connsiteY26508" fmla="*/ 3031962 h 5973007"/>
              <a:gd name="connsiteX26509" fmla="*/ 427171 w 6884782"/>
              <a:gd name="connsiteY26509" fmla="*/ 3031652 h 5973007"/>
              <a:gd name="connsiteX26510" fmla="*/ 305329 w 6884782"/>
              <a:gd name="connsiteY26510" fmla="*/ 3031652 h 5973007"/>
              <a:gd name="connsiteX26511" fmla="*/ 307497 w 6884782"/>
              <a:gd name="connsiteY26511" fmla="*/ 3038778 h 5973007"/>
              <a:gd name="connsiteX26512" fmla="*/ 300682 w 6884782"/>
              <a:gd name="connsiteY26512" fmla="*/ 3042340 h 5973007"/>
              <a:gd name="connsiteX26513" fmla="*/ 299650 w 6884782"/>
              <a:gd name="connsiteY26513" fmla="*/ 3040792 h 5973007"/>
              <a:gd name="connsiteX26514" fmla="*/ 299030 w 6884782"/>
              <a:gd name="connsiteY26514" fmla="*/ 3038778 h 5973007"/>
              <a:gd name="connsiteX26515" fmla="*/ 299030 w 6884782"/>
              <a:gd name="connsiteY26515" fmla="*/ 3036764 h 5973007"/>
              <a:gd name="connsiteX26516" fmla="*/ 300166 w 6884782"/>
              <a:gd name="connsiteY26516" fmla="*/ 3033976 h 5973007"/>
              <a:gd name="connsiteX26517" fmla="*/ 303573 w 6884782"/>
              <a:gd name="connsiteY26517" fmla="*/ 3031962 h 5973007"/>
              <a:gd name="connsiteX26518" fmla="*/ 305329 w 6884782"/>
              <a:gd name="connsiteY26518" fmla="*/ 3031652 h 5973007"/>
              <a:gd name="connsiteX26519" fmla="*/ 282303 w 6884782"/>
              <a:gd name="connsiteY26519" fmla="*/ 3031033 h 5973007"/>
              <a:gd name="connsiteX26520" fmla="*/ 285607 w 6884782"/>
              <a:gd name="connsiteY26520" fmla="*/ 3031807 h 5973007"/>
              <a:gd name="connsiteX26521" fmla="*/ 286433 w 6884782"/>
              <a:gd name="connsiteY26521" fmla="*/ 3031343 h 5973007"/>
              <a:gd name="connsiteX26522" fmla="*/ 288911 w 6884782"/>
              <a:gd name="connsiteY26522" fmla="*/ 3032582 h 5973007"/>
              <a:gd name="connsiteX26523" fmla="*/ 289531 w 6884782"/>
              <a:gd name="connsiteY26523" fmla="*/ 3033511 h 5973007"/>
              <a:gd name="connsiteX26524" fmla="*/ 292319 w 6884782"/>
              <a:gd name="connsiteY26524" fmla="*/ 3035680 h 5973007"/>
              <a:gd name="connsiteX26525" fmla="*/ 290873 w 6884782"/>
              <a:gd name="connsiteY26525" fmla="*/ 3036299 h 5973007"/>
              <a:gd name="connsiteX26526" fmla="*/ 290460 w 6884782"/>
              <a:gd name="connsiteY26526" fmla="*/ 3039552 h 5973007"/>
              <a:gd name="connsiteX26527" fmla="*/ 292112 w 6884782"/>
              <a:gd name="connsiteY26527" fmla="*/ 3043889 h 5973007"/>
              <a:gd name="connsiteX26528" fmla="*/ 288808 w 6884782"/>
              <a:gd name="connsiteY26528" fmla="*/ 3038468 h 5973007"/>
              <a:gd name="connsiteX26529" fmla="*/ 287672 w 6884782"/>
              <a:gd name="connsiteY26529" fmla="*/ 3038003 h 5973007"/>
              <a:gd name="connsiteX26530" fmla="*/ 287465 w 6884782"/>
              <a:gd name="connsiteY26530" fmla="*/ 3038158 h 5973007"/>
              <a:gd name="connsiteX26531" fmla="*/ 287156 w 6884782"/>
              <a:gd name="connsiteY26531" fmla="*/ 3037849 h 5973007"/>
              <a:gd name="connsiteX26532" fmla="*/ 286226 w 6884782"/>
              <a:gd name="connsiteY26532" fmla="*/ 3037384 h 5973007"/>
              <a:gd name="connsiteX26533" fmla="*/ 286123 w 6884782"/>
              <a:gd name="connsiteY26533" fmla="*/ 3037074 h 5973007"/>
              <a:gd name="connsiteX26534" fmla="*/ 284058 w 6884782"/>
              <a:gd name="connsiteY26534" fmla="*/ 3035990 h 5973007"/>
              <a:gd name="connsiteX26535" fmla="*/ 280238 w 6884782"/>
              <a:gd name="connsiteY26535" fmla="*/ 3034441 h 5973007"/>
              <a:gd name="connsiteX26536" fmla="*/ 279928 w 6884782"/>
              <a:gd name="connsiteY26536" fmla="*/ 3032272 h 5973007"/>
              <a:gd name="connsiteX26537" fmla="*/ 282303 w 6884782"/>
              <a:gd name="connsiteY26537" fmla="*/ 3031033 h 5973007"/>
              <a:gd name="connsiteX26538" fmla="*/ 175020 w 6884782"/>
              <a:gd name="connsiteY26538" fmla="*/ 3027935 h 5973007"/>
              <a:gd name="connsiteX26539" fmla="*/ 176672 w 6884782"/>
              <a:gd name="connsiteY26539" fmla="*/ 3032272 h 5973007"/>
              <a:gd name="connsiteX26540" fmla="*/ 174090 w 6884782"/>
              <a:gd name="connsiteY26540" fmla="*/ 3028709 h 5973007"/>
              <a:gd name="connsiteX26541" fmla="*/ 175020 w 6884782"/>
              <a:gd name="connsiteY26541" fmla="*/ 3027935 h 5973007"/>
              <a:gd name="connsiteX26542" fmla="*/ 374820 w 6884782"/>
              <a:gd name="connsiteY26542" fmla="*/ 3026696 h 5973007"/>
              <a:gd name="connsiteX26543" fmla="*/ 376059 w 6884782"/>
              <a:gd name="connsiteY26543" fmla="*/ 3027780 h 5973007"/>
              <a:gd name="connsiteX26544" fmla="*/ 367902 w 6884782"/>
              <a:gd name="connsiteY26544" fmla="*/ 3027470 h 5973007"/>
              <a:gd name="connsiteX26545" fmla="*/ 374820 w 6884782"/>
              <a:gd name="connsiteY26545" fmla="*/ 3026696 h 5973007"/>
              <a:gd name="connsiteX26546" fmla="*/ 6510583 w 6884782"/>
              <a:gd name="connsiteY26546" fmla="*/ 3019230 h 5973007"/>
              <a:gd name="connsiteX26547" fmla="*/ 6518479 w 6884782"/>
              <a:gd name="connsiteY26547" fmla="*/ 3021506 h 5973007"/>
              <a:gd name="connsiteX26548" fmla="*/ 6513357 w 6884782"/>
              <a:gd name="connsiteY26548" fmla="*/ 3033314 h 5973007"/>
              <a:gd name="connsiteX26549" fmla="*/ 6503113 w 6884782"/>
              <a:gd name="connsiteY26549" fmla="*/ 3025063 h 5973007"/>
              <a:gd name="connsiteX26550" fmla="*/ 6510583 w 6884782"/>
              <a:gd name="connsiteY26550" fmla="*/ 3019230 h 5973007"/>
              <a:gd name="connsiteX26551" fmla="*/ 343637 w 6884782"/>
              <a:gd name="connsiteY26551" fmla="*/ 3017867 h 5973007"/>
              <a:gd name="connsiteX26552" fmla="*/ 349213 w 6884782"/>
              <a:gd name="connsiteY26552" fmla="*/ 3018796 h 5973007"/>
              <a:gd name="connsiteX26553" fmla="*/ 350245 w 6884782"/>
              <a:gd name="connsiteY26553" fmla="*/ 3020965 h 5973007"/>
              <a:gd name="connsiteX26554" fmla="*/ 347458 w 6884782"/>
              <a:gd name="connsiteY26554" fmla="*/ 3021429 h 5973007"/>
              <a:gd name="connsiteX26555" fmla="*/ 346425 w 6884782"/>
              <a:gd name="connsiteY26555" fmla="*/ 3019881 h 5973007"/>
              <a:gd name="connsiteX26556" fmla="*/ 343740 w 6884782"/>
              <a:gd name="connsiteY26556" fmla="*/ 3019570 h 5973007"/>
              <a:gd name="connsiteX26557" fmla="*/ 343637 w 6884782"/>
              <a:gd name="connsiteY26557" fmla="*/ 3017867 h 5973007"/>
              <a:gd name="connsiteX26558" fmla="*/ 352930 w 6884782"/>
              <a:gd name="connsiteY26558" fmla="*/ 3012291 h 5973007"/>
              <a:gd name="connsiteX26559" fmla="*/ 354789 w 6884782"/>
              <a:gd name="connsiteY26559" fmla="*/ 3013839 h 5973007"/>
              <a:gd name="connsiteX26560" fmla="*/ 356647 w 6884782"/>
              <a:gd name="connsiteY26560" fmla="*/ 3014459 h 5973007"/>
              <a:gd name="connsiteX26561" fmla="*/ 356751 w 6884782"/>
              <a:gd name="connsiteY26561" fmla="*/ 3017092 h 5973007"/>
              <a:gd name="connsiteX26562" fmla="*/ 354892 w 6884782"/>
              <a:gd name="connsiteY26562" fmla="*/ 3016318 h 5973007"/>
              <a:gd name="connsiteX26563" fmla="*/ 350452 w 6884782"/>
              <a:gd name="connsiteY26563" fmla="*/ 3013530 h 5973007"/>
              <a:gd name="connsiteX26564" fmla="*/ 352930 w 6884782"/>
              <a:gd name="connsiteY26564" fmla="*/ 3012291 h 5973007"/>
              <a:gd name="connsiteX26565" fmla="*/ 174503 w 6884782"/>
              <a:gd name="connsiteY26565" fmla="*/ 3011826 h 5973007"/>
              <a:gd name="connsiteX26566" fmla="*/ 174503 w 6884782"/>
              <a:gd name="connsiteY26566" fmla="*/ 3012755 h 5973007"/>
              <a:gd name="connsiteX26567" fmla="*/ 175329 w 6884782"/>
              <a:gd name="connsiteY26567" fmla="*/ 3011981 h 5973007"/>
              <a:gd name="connsiteX26568" fmla="*/ 176878 w 6884782"/>
              <a:gd name="connsiteY26568" fmla="*/ 3023908 h 5973007"/>
              <a:gd name="connsiteX26569" fmla="*/ 175949 w 6884782"/>
              <a:gd name="connsiteY26569" fmla="*/ 3023753 h 5973007"/>
              <a:gd name="connsiteX26570" fmla="*/ 174090 w 6884782"/>
              <a:gd name="connsiteY26570" fmla="*/ 3014924 h 5973007"/>
              <a:gd name="connsiteX26571" fmla="*/ 174503 w 6884782"/>
              <a:gd name="connsiteY26571" fmla="*/ 3011826 h 5973007"/>
              <a:gd name="connsiteX26572" fmla="*/ 164900 w 6884782"/>
              <a:gd name="connsiteY26572" fmla="*/ 3010122 h 5973007"/>
              <a:gd name="connsiteX26573" fmla="*/ 168411 w 6884782"/>
              <a:gd name="connsiteY26573" fmla="*/ 3010587 h 5973007"/>
              <a:gd name="connsiteX26574" fmla="*/ 168411 w 6884782"/>
              <a:gd name="connsiteY26574" fmla="*/ 3012291 h 5973007"/>
              <a:gd name="connsiteX26575" fmla="*/ 172645 w 6884782"/>
              <a:gd name="connsiteY26575" fmla="*/ 3025302 h 5973007"/>
              <a:gd name="connsiteX26576" fmla="*/ 164900 w 6884782"/>
              <a:gd name="connsiteY26576" fmla="*/ 3010122 h 5973007"/>
              <a:gd name="connsiteX26577" fmla="*/ 442505 w 6884782"/>
              <a:gd name="connsiteY26577" fmla="*/ 3009309 h 5973007"/>
              <a:gd name="connsiteX26578" fmla="*/ 466305 w 6884782"/>
              <a:gd name="connsiteY26578" fmla="*/ 3013375 h 5973007"/>
              <a:gd name="connsiteX26579" fmla="*/ 464653 w 6884782"/>
              <a:gd name="connsiteY26579" fmla="*/ 3022359 h 5973007"/>
              <a:gd name="connsiteX26580" fmla="*/ 453192 w 6884782"/>
              <a:gd name="connsiteY26580" fmla="*/ 3019726 h 5973007"/>
              <a:gd name="connsiteX26581" fmla="*/ 451643 w 6884782"/>
              <a:gd name="connsiteY26581" fmla="*/ 3020190 h 5973007"/>
              <a:gd name="connsiteX26582" fmla="*/ 449475 w 6884782"/>
              <a:gd name="connsiteY26582" fmla="*/ 3019726 h 5973007"/>
              <a:gd name="connsiteX26583" fmla="*/ 449061 w 6884782"/>
              <a:gd name="connsiteY26583" fmla="*/ 3018796 h 5973007"/>
              <a:gd name="connsiteX26584" fmla="*/ 442040 w 6884782"/>
              <a:gd name="connsiteY26584" fmla="*/ 3017247 h 5973007"/>
              <a:gd name="connsiteX26585" fmla="*/ 421492 w 6884782"/>
              <a:gd name="connsiteY26585" fmla="*/ 3012445 h 5973007"/>
              <a:gd name="connsiteX26586" fmla="*/ 442505 w 6884782"/>
              <a:gd name="connsiteY26586" fmla="*/ 3009309 h 5973007"/>
              <a:gd name="connsiteX26587" fmla="*/ 450817 w 6884782"/>
              <a:gd name="connsiteY26587" fmla="*/ 3006249 h 5973007"/>
              <a:gd name="connsiteX26588" fmla="*/ 453192 w 6884782"/>
              <a:gd name="connsiteY26588" fmla="*/ 3008573 h 5973007"/>
              <a:gd name="connsiteX26589" fmla="*/ 449784 w 6884782"/>
              <a:gd name="connsiteY26589" fmla="*/ 3009657 h 5973007"/>
              <a:gd name="connsiteX26590" fmla="*/ 449268 w 6884782"/>
              <a:gd name="connsiteY26590" fmla="*/ 3008263 h 5973007"/>
              <a:gd name="connsiteX26591" fmla="*/ 450817 w 6884782"/>
              <a:gd name="connsiteY26591" fmla="*/ 3006249 h 5973007"/>
              <a:gd name="connsiteX26592" fmla="*/ 338577 w 6884782"/>
              <a:gd name="connsiteY26592" fmla="*/ 3005165 h 5973007"/>
              <a:gd name="connsiteX26593" fmla="*/ 343017 w 6884782"/>
              <a:gd name="connsiteY26593" fmla="*/ 3005320 h 5973007"/>
              <a:gd name="connsiteX26594" fmla="*/ 346115 w 6884782"/>
              <a:gd name="connsiteY26594" fmla="*/ 3012445 h 5973007"/>
              <a:gd name="connsiteX26595" fmla="*/ 342604 w 6884782"/>
              <a:gd name="connsiteY26595" fmla="*/ 3012910 h 5973007"/>
              <a:gd name="connsiteX26596" fmla="*/ 338164 w 6884782"/>
              <a:gd name="connsiteY26596" fmla="*/ 3007179 h 5973007"/>
              <a:gd name="connsiteX26597" fmla="*/ 338577 w 6884782"/>
              <a:gd name="connsiteY26597" fmla="*/ 3005165 h 5973007"/>
              <a:gd name="connsiteX26598" fmla="*/ 230365 w 6884782"/>
              <a:gd name="connsiteY26598" fmla="*/ 2999279 h 5973007"/>
              <a:gd name="connsiteX26599" fmla="*/ 231088 w 6884782"/>
              <a:gd name="connsiteY26599" fmla="*/ 3006869 h 5973007"/>
              <a:gd name="connsiteX26600" fmla="*/ 230984 w 6884782"/>
              <a:gd name="connsiteY26600" fmla="*/ 3011051 h 5973007"/>
              <a:gd name="connsiteX26601" fmla="*/ 229229 w 6884782"/>
              <a:gd name="connsiteY26601" fmla="*/ 3012445 h 5973007"/>
              <a:gd name="connsiteX26602" fmla="*/ 228403 w 6884782"/>
              <a:gd name="connsiteY26602" fmla="*/ 3012445 h 5973007"/>
              <a:gd name="connsiteX26603" fmla="*/ 227680 w 6884782"/>
              <a:gd name="connsiteY26603" fmla="*/ 3010587 h 5973007"/>
              <a:gd name="connsiteX26604" fmla="*/ 228506 w 6884782"/>
              <a:gd name="connsiteY26604" fmla="*/ 3002377 h 5973007"/>
              <a:gd name="connsiteX26605" fmla="*/ 228610 w 6884782"/>
              <a:gd name="connsiteY26605" fmla="*/ 3000828 h 5973007"/>
              <a:gd name="connsiteX26606" fmla="*/ 230365 w 6884782"/>
              <a:gd name="connsiteY26606" fmla="*/ 2999279 h 5973007"/>
              <a:gd name="connsiteX26607" fmla="*/ 446893 w 6884782"/>
              <a:gd name="connsiteY26607" fmla="*/ 2998040 h 5973007"/>
              <a:gd name="connsiteX26608" fmla="*/ 448649 w 6884782"/>
              <a:gd name="connsiteY26608" fmla="*/ 2998040 h 5973007"/>
              <a:gd name="connsiteX26609" fmla="*/ 449268 w 6884782"/>
              <a:gd name="connsiteY26609" fmla="*/ 2999124 h 5973007"/>
              <a:gd name="connsiteX26610" fmla="*/ 449991 w 6884782"/>
              <a:gd name="connsiteY26610" fmla="*/ 2998659 h 5973007"/>
              <a:gd name="connsiteX26611" fmla="*/ 452572 w 6884782"/>
              <a:gd name="connsiteY26611" fmla="*/ 2998350 h 5973007"/>
              <a:gd name="connsiteX26612" fmla="*/ 453811 w 6884782"/>
              <a:gd name="connsiteY26612" fmla="*/ 3002532 h 5973007"/>
              <a:gd name="connsiteX26613" fmla="*/ 452056 w 6884782"/>
              <a:gd name="connsiteY26613" fmla="*/ 3003617 h 5973007"/>
              <a:gd name="connsiteX26614" fmla="*/ 450507 w 6884782"/>
              <a:gd name="connsiteY26614" fmla="*/ 3003306 h 5973007"/>
              <a:gd name="connsiteX26615" fmla="*/ 449991 w 6884782"/>
              <a:gd name="connsiteY26615" fmla="*/ 3005475 h 5973007"/>
              <a:gd name="connsiteX26616" fmla="*/ 442969 w 6884782"/>
              <a:gd name="connsiteY26616" fmla="*/ 3008108 h 5973007"/>
              <a:gd name="connsiteX26617" fmla="*/ 442040 w 6884782"/>
              <a:gd name="connsiteY26617" fmla="*/ 3006559 h 5973007"/>
              <a:gd name="connsiteX26618" fmla="*/ 441627 w 6884782"/>
              <a:gd name="connsiteY26618" fmla="*/ 3004546 h 5973007"/>
              <a:gd name="connsiteX26619" fmla="*/ 443279 w 6884782"/>
              <a:gd name="connsiteY26619" fmla="*/ 2999899 h 5973007"/>
              <a:gd name="connsiteX26620" fmla="*/ 446893 w 6884782"/>
              <a:gd name="connsiteY26620" fmla="*/ 2998040 h 5973007"/>
              <a:gd name="connsiteX26621" fmla="*/ 407630 w 6884782"/>
              <a:gd name="connsiteY26621" fmla="*/ 2996336 h 5973007"/>
              <a:gd name="connsiteX26622" fmla="*/ 418807 w 6884782"/>
              <a:gd name="connsiteY26622" fmla="*/ 3003771 h 5973007"/>
              <a:gd name="connsiteX26623" fmla="*/ 406726 w 6884782"/>
              <a:gd name="connsiteY26623" fmla="*/ 3002687 h 5973007"/>
              <a:gd name="connsiteX26624" fmla="*/ 394439 w 6884782"/>
              <a:gd name="connsiteY26624" fmla="*/ 2997266 h 5973007"/>
              <a:gd name="connsiteX26625" fmla="*/ 407630 w 6884782"/>
              <a:gd name="connsiteY26625" fmla="*/ 2996336 h 5973007"/>
              <a:gd name="connsiteX26626" fmla="*/ 635542 w 6884782"/>
              <a:gd name="connsiteY26626" fmla="*/ 2994787 h 5973007"/>
              <a:gd name="connsiteX26627" fmla="*/ 629450 w 6884782"/>
              <a:gd name="connsiteY26627" fmla="*/ 2999279 h 5973007"/>
              <a:gd name="connsiteX26628" fmla="*/ 615821 w 6884782"/>
              <a:gd name="connsiteY26628" fmla="*/ 3011826 h 5973007"/>
              <a:gd name="connsiteX26629" fmla="*/ 624700 w 6884782"/>
              <a:gd name="connsiteY26629" fmla="*/ 2996956 h 5973007"/>
              <a:gd name="connsiteX26630" fmla="*/ 625217 w 6884782"/>
              <a:gd name="connsiteY26630" fmla="*/ 2995872 h 5973007"/>
              <a:gd name="connsiteX26631" fmla="*/ 624700 w 6884782"/>
              <a:gd name="connsiteY26631" fmla="*/ 2995716 h 5973007"/>
              <a:gd name="connsiteX26632" fmla="*/ 624287 w 6884782"/>
              <a:gd name="connsiteY26632" fmla="*/ 2996491 h 5973007"/>
              <a:gd name="connsiteX26633" fmla="*/ 621706 w 6884782"/>
              <a:gd name="connsiteY26633" fmla="*/ 2996026 h 5973007"/>
              <a:gd name="connsiteX26634" fmla="*/ 621603 w 6884782"/>
              <a:gd name="connsiteY26634" fmla="*/ 2995872 h 5973007"/>
              <a:gd name="connsiteX26635" fmla="*/ 617266 w 6884782"/>
              <a:gd name="connsiteY26635" fmla="*/ 3000054 h 5973007"/>
              <a:gd name="connsiteX26636" fmla="*/ 609419 w 6884782"/>
              <a:gd name="connsiteY26636" fmla="*/ 3008108 h 5973007"/>
              <a:gd name="connsiteX26637" fmla="*/ 603120 w 6884782"/>
              <a:gd name="connsiteY26637" fmla="*/ 3016782 h 5973007"/>
              <a:gd name="connsiteX26638" fmla="*/ 602190 w 6884782"/>
              <a:gd name="connsiteY26638" fmla="*/ 3018951 h 5973007"/>
              <a:gd name="connsiteX26639" fmla="*/ 604979 w 6884782"/>
              <a:gd name="connsiteY26639" fmla="*/ 3019416 h 5973007"/>
              <a:gd name="connsiteX26640" fmla="*/ 601571 w 6884782"/>
              <a:gd name="connsiteY26640" fmla="*/ 3024062 h 5973007"/>
              <a:gd name="connsiteX26641" fmla="*/ 600332 w 6884782"/>
              <a:gd name="connsiteY26641" fmla="*/ 3023753 h 5973007"/>
              <a:gd name="connsiteX26642" fmla="*/ 599816 w 6884782"/>
              <a:gd name="connsiteY26642" fmla="*/ 3024837 h 5973007"/>
              <a:gd name="connsiteX26643" fmla="*/ 601674 w 6884782"/>
              <a:gd name="connsiteY26643" fmla="*/ 3025766 h 5973007"/>
              <a:gd name="connsiteX26644" fmla="*/ 602294 w 6884782"/>
              <a:gd name="connsiteY26644" fmla="*/ 3039088 h 5973007"/>
              <a:gd name="connsiteX26645" fmla="*/ 597647 w 6884782"/>
              <a:gd name="connsiteY26645" fmla="*/ 3033047 h 5973007"/>
              <a:gd name="connsiteX26646" fmla="*/ 593001 w 6884782"/>
              <a:gd name="connsiteY26646" fmla="*/ 3029174 h 5973007"/>
              <a:gd name="connsiteX26647" fmla="*/ 589696 w 6884782"/>
              <a:gd name="connsiteY26647" fmla="*/ 3031188 h 5973007"/>
              <a:gd name="connsiteX26648" fmla="*/ 580403 w 6884782"/>
              <a:gd name="connsiteY26648" fmla="*/ 3038933 h 5973007"/>
              <a:gd name="connsiteX26649" fmla="*/ 564812 w 6884782"/>
              <a:gd name="connsiteY26649" fmla="*/ 3057520 h 5973007"/>
              <a:gd name="connsiteX26650" fmla="*/ 557997 w 6884782"/>
              <a:gd name="connsiteY26650" fmla="*/ 3066969 h 5973007"/>
              <a:gd name="connsiteX26651" fmla="*/ 564399 w 6884782"/>
              <a:gd name="connsiteY26651" fmla="*/ 3067588 h 5973007"/>
              <a:gd name="connsiteX26652" fmla="*/ 582778 w 6884782"/>
              <a:gd name="connsiteY26652" fmla="*/ 3080755 h 5973007"/>
              <a:gd name="connsiteX26653" fmla="*/ 583088 w 6884782"/>
              <a:gd name="connsiteY26653" fmla="*/ 3126604 h 5973007"/>
              <a:gd name="connsiteX26654" fmla="*/ 550356 w 6884782"/>
              <a:gd name="connsiteY26654" fmla="*/ 3136982 h 5973007"/>
              <a:gd name="connsiteX26655" fmla="*/ 545606 w 6884782"/>
              <a:gd name="connsiteY26655" fmla="*/ 3131871 h 5973007"/>
              <a:gd name="connsiteX26656" fmla="*/ 542508 w 6884782"/>
              <a:gd name="connsiteY26656" fmla="*/ 3130166 h 5973007"/>
              <a:gd name="connsiteX26657" fmla="*/ 540856 w 6884782"/>
              <a:gd name="connsiteY26657" fmla="*/ 3130631 h 5973007"/>
              <a:gd name="connsiteX26658" fmla="*/ 540134 w 6884782"/>
              <a:gd name="connsiteY26658" fmla="*/ 3129082 h 5973007"/>
              <a:gd name="connsiteX26659" fmla="*/ 534868 w 6884782"/>
              <a:gd name="connsiteY26659" fmla="*/ 3127998 h 5973007"/>
              <a:gd name="connsiteX26660" fmla="*/ 534764 w 6884782"/>
              <a:gd name="connsiteY26660" fmla="*/ 3128308 h 5973007"/>
              <a:gd name="connsiteX26661" fmla="*/ 528466 w 6884782"/>
              <a:gd name="connsiteY26661" fmla="*/ 3138841 h 5973007"/>
              <a:gd name="connsiteX26662" fmla="*/ 532596 w 6884782"/>
              <a:gd name="connsiteY26662" fmla="*/ 3141009 h 5973007"/>
              <a:gd name="connsiteX26663" fmla="*/ 538688 w 6884782"/>
              <a:gd name="connsiteY26663" fmla="*/ 3146741 h 5973007"/>
              <a:gd name="connsiteX26664" fmla="*/ 534558 w 6884782"/>
              <a:gd name="connsiteY26664" fmla="*/ 3153556 h 5973007"/>
              <a:gd name="connsiteX26665" fmla="*/ 529601 w 6884782"/>
              <a:gd name="connsiteY26665" fmla="*/ 3147515 h 5973007"/>
              <a:gd name="connsiteX26666" fmla="*/ 524852 w 6884782"/>
              <a:gd name="connsiteY26666" fmla="*/ 3144882 h 5973007"/>
              <a:gd name="connsiteX26667" fmla="*/ 523922 w 6884782"/>
              <a:gd name="connsiteY26667" fmla="*/ 3146431 h 5973007"/>
              <a:gd name="connsiteX26668" fmla="*/ 521754 w 6884782"/>
              <a:gd name="connsiteY26668" fmla="*/ 3150148 h 5973007"/>
              <a:gd name="connsiteX26669" fmla="*/ 521857 w 6884782"/>
              <a:gd name="connsiteY26669" fmla="*/ 3150458 h 5973007"/>
              <a:gd name="connsiteX26670" fmla="*/ 521031 w 6884782"/>
              <a:gd name="connsiteY26670" fmla="*/ 3154331 h 5973007"/>
              <a:gd name="connsiteX26671" fmla="*/ 518966 w 6884782"/>
              <a:gd name="connsiteY26671" fmla="*/ 3155105 h 5973007"/>
              <a:gd name="connsiteX26672" fmla="*/ 515146 w 6884782"/>
              <a:gd name="connsiteY26672" fmla="*/ 3162230 h 5973007"/>
              <a:gd name="connsiteX26673" fmla="*/ 515042 w 6884782"/>
              <a:gd name="connsiteY26673" fmla="*/ 3162850 h 5973007"/>
              <a:gd name="connsiteX26674" fmla="*/ 514629 w 6884782"/>
              <a:gd name="connsiteY26674" fmla="*/ 3163160 h 5973007"/>
              <a:gd name="connsiteX26675" fmla="*/ 513184 w 6884782"/>
              <a:gd name="connsiteY26675" fmla="*/ 3165793 h 5973007"/>
              <a:gd name="connsiteX26676" fmla="*/ 503787 w 6884782"/>
              <a:gd name="connsiteY26676" fmla="*/ 3184535 h 5973007"/>
              <a:gd name="connsiteX26677" fmla="*/ 502652 w 6884782"/>
              <a:gd name="connsiteY26677" fmla="*/ 3189956 h 5973007"/>
              <a:gd name="connsiteX26678" fmla="*/ 501722 w 6884782"/>
              <a:gd name="connsiteY26678" fmla="*/ 3194758 h 5973007"/>
              <a:gd name="connsiteX26679" fmla="*/ 502135 w 6884782"/>
              <a:gd name="connsiteY26679" fmla="*/ 3194449 h 5973007"/>
              <a:gd name="connsiteX26680" fmla="*/ 509363 w 6884782"/>
              <a:gd name="connsiteY26680" fmla="*/ 3199405 h 5973007"/>
              <a:gd name="connsiteX26681" fmla="*/ 499554 w 6884782"/>
              <a:gd name="connsiteY26681" fmla="*/ 3201419 h 5973007"/>
              <a:gd name="connsiteX26682" fmla="*/ 498934 w 6884782"/>
              <a:gd name="connsiteY26682" fmla="*/ 3200180 h 5973007"/>
              <a:gd name="connsiteX26683" fmla="*/ 498728 w 6884782"/>
              <a:gd name="connsiteY26683" fmla="*/ 3200489 h 5973007"/>
              <a:gd name="connsiteX26684" fmla="*/ 492636 w 6884782"/>
              <a:gd name="connsiteY26684" fmla="*/ 3200954 h 5973007"/>
              <a:gd name="connsiteX26685" fmla="*/ 489538 w 6884782"/>
              <a:gd name="connsiteY26685" fmla="*/ 3214585 h 5973007"/>
              <a:gd name="connsiteX26686" fmla="*/ 490054 w 6884782"/>
              <a:gd name="connsiteY26686" fmla="*/ 3216134 h 5973007"/>
              <a:gd name="connsiteX26687" fmla="*/ 490157 w 6884782"/>
              <a:gd name="connsiteY26687" fmla="*/ 3216289 h 5973007"/>
              <a:gd name="connsiteX26688" fmla="*/ 490157 w 6884782"/>
              <a:gd name="connsiteY26688" fmla="*/ 3216444 h 5973007"/>
              <a:gd name="connsiteX26689" fmla="*/ 490570 w 6884782"/>
              <a:gd name="connsiteY26689" fmla="*/ 3217683 h 5973007"/>
              <a:gd name="connsiteX26690" fmla="*/ 489745 w 6884782"/>
              <a:gd name="connsiteY26690" fmla="*/ 3218303 h 5973007"/>
              <a:gd name="connsiteX26691" fmla="*/ 489125 w 6884782"/>
              <a:gd name="connsiteY26691" fmla="*/ 3220936 h 5973007"/>
              <a:gd name="connsiteX26692" fmla="*/ 487370 w 6884782"/>
              <a:gd name="connsiteY26692" fmla="*/ 3222020 h 5973007"/>
              <a:gd name="connsiteX26693" fmla="*/ 484375 w 6884782"/>
              <a:gd name="connsiteY26693" fmla="*/ 3223104 h 5973007"/>
              <a:gd name="connsiteX26694" fmla="*/ 483653 w 6884782"/>
              <a:gd name="connsiteY26694" fmla="*/ 3225428 h 5973007"/>
              <a:gd name="connsiteX26695" fmla="*/ 485098 w 6884782"/>
              <a:gd name="connsiteY26695" fmla="*/ 3225428 h 5973007"/>
              <a:gd name="connsiteX26696" fmla="*/ 486544 w 6884782"/>
              <a:gd name="connsiteY26696" fmla="*/ 3228681 h 5973007"/>
              <a:gd name="connsiteX26697" fmla="*/ 485304 w 6884782"/>
              <a:gd name="connsiteY26697" fmla="*/ 3230385 h 5973007"/>
              <a:gd name="connsiteX26698" fmla="*/ 486853 w 6884782"/>
              <a:gd name="connsiteY26698" fmla="*/ 3230385 h 5973007"/>
              <a:gd name="connsiteX26699" fmla="*/ 490467 w 6884782"/>
              <a:gd name="connsiteY26699" fmla="*/ 3232863 h 5973007"/>
              <a:gd name="connsiteX26700" fmla="*/ 485614 w 6884782"/>
              <a:gd name="connsiteY26700" fmla="*/ 3238439 h 5973007"/>
              <a:gd name="connsiteX26701" fmla="*/ 483859 w 6884782"/>
              <a:gd name="connsiteY26701" fmla="*/ 3241537 h 5973007"/>
              <a:gd name="connsiteX26702" fmla="*/ 491500 w 6884782"/>
              <a:gd name="connsiteY26702" fmla="*/ 3245255 h 5973007"/>
              <a:gd name="connsiteX26703" fmla="*/ 494907 w 6884782"/>
              <a:gd name="connsiteY26703" fmla="*/ 3243706 h 5973007"/>
              <a:gd name="connsiteX26704" fmla="*/ 498315 w 6884782"/>
              <a:gd name="connsiteY26704" fmla="*/ 3245874 h 5973007"/>
              <a:gd name="connsiteX26705" fmla="*/ 495217 w 6884782"/>
              <a:gd name="connsiteY26705" fmla="*/ 3247888 h 5973007"/>
              <a:gd name="connsiteX26706" fmla="*/ 501206 w 6884782"/>
              <a:gd name="connsiteY26706" fmla="*/ 3254239 h 5973007"/>
              <a:gd name="connsiteX26707" fmla="*/ 489125 w 6884782"/>
              <a:gd name="connsiteY26707" fmla="*/ 3256562 h 5973007"/>
              <a:gd name="connsiteX26708" fmla="*/ 477044 w 6884782"/>
              <a:gd name="connsiteY26708" fmla="*/ 3253774 h 5973007"/>
              <a:gd name="connsiteX26709" fmla="*/ 472191 w 6884782"/>
              <a:gd name="connsiteY26709" fmla="*/ 3267250 h 5973007"/>
              <a:gd name="connsiteX26710" fmla="*/ 468370 w 6884782"/>
              <a:gd name="connsiteY26710" fmla="*/ 3284133 h 5973007"/>
              <a:gd name="connsiteX26711" fmla="*/ 470332 w 6884782"/>
              <a:gd name="connsiteY26711" fmla="*/ 3284753 h 5973007"/>
              <a:gd name="connsiteX26712" fmla="*/ 473224 w 6884782"/>
              <a:gd name="connsiteY26712" fmla="*/ 3288625 h 5973007"/>
              <a:gd name="connsiteX26713" fmla="*/ 472914 w 6884782"/>
              <a:gd name="connsiteY26713" fmla="*/ 3292033 h 5973007"/>
              <a:gd name="connsiteX26714" fmla="*/ 472914 w 6884782"/>
              <a:gd name="connsiteY26714" fmla="*/ 3293737 h 5973007"/>
              <a:gd name="connsiteX26715" fmla="*/ 487163 w 6884782"/>
              <a:gd name="connsiteY26715" fmla="*/ 3294356 h 5973007"/>
              <a:gd name="connsiteX26716" fmla="*/ 485098 w 6884782"/>
              <a:gd name="connsiteY26716" fmla="*/ 3303650 h 5973007"/>
              <a:gd name="connsiteX26717" fmla="*/ 465789 w 6884782"/>
              <a:gd name="connsiteY26717" fmla="*/ 3301946 h 5973007"/>
              <a:gd name="connsiteX26718" fmla="*/ 465273 w 6884782"/>
              <a:gd name="connsiteY26718" fmla="*/ 3307058 h 5973007"/>
              <a:gd name="connsiteX26719" fmla="*/ 457425 w 6884782"/>
              <a:gd name="connsiteY26719" fmla="*/ 3320224 h 5973007"/>
              <a:gd name="connsiteX26720" fmla="*/ 456909 w 6884782"/>
              <a:gd name="connsiteY26720" fmla="*/ 3327040 h 5973007"/>
              <a:gd name="connsiteX26721" fmla="*/ 457012 w 6884782"/>
              <a:gd name="connsiteY26721" fmla="*/ 3326885 h 5973007"/>
              <a:gd name="connsiteX26722" fmla="*/ 456806 w 6884782"/>
              <a:gd name="connsiteY26722" fmla="*/ 3327814 h 5973007"/>
              <a:gd name="connsiteX26723" fmla="*/ 456703 w 6884782"/>
              <a:gd name="connsiteY26723" fmla="*/ 3328589 h 5973007"/>
              <a:gd name="connsiteX26724" fmla="*/ 456393 w 6884782"/>
              <a:gd name="connsiteY26724" fmla="*/ 3335869 h 5973007"/>
              <a:gd name="connsiteX26725" fmla="*/ 461659 w 6884782"/>
              <a:gd name="connsiteY26725" fmla="*/ 3328279 h 5973007"/>
              <a:gd name="connsiteX26726" fmla="*/ 461453 w 6884782"/>
              <a:gd name="connsiteY26726" fmla="*/ 3341290 h 5973007"/>
              <a:gd name="connsiteX26727" fmla="*/ 453708 w 6884782"/>
              <a:gd name="connsiteY26727" fmla="*/ 3364060 h 5973007"/>
              <a:gd name="connsiteX26728" fmla="*/ 457219 w 6884782"/>
              <a:gd name="connsiteY26728" fmla="*/ 3360188 h 5973007"/>
              <a:gd name="connsiteX26729" fmla="*/ 458045 w 6884782"/>
              <a:gd name="connsiteY26729" fmla="*/ 3352443 h 5973007"/>
              <a:gd name="connsiteX26730" fmla="*/ 459594 w 6884782"/>
              <a:gd name="connsiteY26730" fmla="*/ 3359413 h 5973007"/>
              <a:gd name="connsiteX26731" fmla="*/ 460523 w 6884782"/>
              <a:gd name="connsiteY26731" fmla="*/ 3366383 h 5973007"/>
              <a:gd name="connsiteX26732" fmla="*/ 458251 w 6884782"/>
              <a:gd name="connsiteY26732" fmla="*/ 3380789 h 5973007"/>
              <a:gd name="connsiteX26733" fmla="*/ 456806 w 6884782"/>
              <a:gd name="connsiteY26733" fmla="*/ 3388224 h 5973007"/>
              <a:gd name="connsiteX26734" fmla="*/ 459078 w 6884782"/>
              <a:gd name="connsiteY26734" fmla="*/ 3391786 h 5973007"/>
              <a:gd name="connsiteX26735" fmla="*/ 455877 w 6884782"/>
              <a:gd name="connsiteY26735" fmla="*/ 3393336 h 5973007"/>
              <a:gd name="connsiteX26736" fmla="*/ 455257 w 6884782"/>
              <a:gd name="connsiteY26736" fmla="*/ 3396279 h 5973007"/>
              <a:gd name="connsiteX26737" fmla="*/ 454844 w 6884782"/>
              <a:gd name="connsiteY26737" fmla="*/ 3402784 h 5973007"/>
              <a:gd name="connsiteX26738" fmla="*/ 456599 w 6884782"/>
              <a:gd name="connsiteY26738" fmla="*/ 3404178 h 5973007"/>
              <a:gd name="connsiteX26739" fmla="*/ 454947 w 6884782"/>
              <a:gd name="connsiteY26739" fmla="*/ 3406502 h 5973007"/>
              <a:gd name="connsiteX26740" fmla="*/ 455463 w 6884782"/>
              <a:gd name="connsiteY26740" fmla="*/ 3411768 h 5973007"/>
              <a:gd name="connsiteX26741" fmla="*/ 451023 w 6884782"/>
              <a:gd name="connsiteY26741" fmla="*/ 3416725 h 5973007"/>
              <a:gd name="connsiteX26742" fmla="*/ 454018 w 6884782"/>
              <a:gd name="connsiteY26742" fmla="*/ 3428497 h 5973007"/>
              <a:gd name="connsiteX26743" fmla="*/ 454224 w 6884782"/>
              <a:gd name="connsiteY26743" fmla="*/ 3439649 h 5973007"/>
              <a:gd name="connsiteX26744" fmla="*/ 456496 w 6884782"/>
              <a:gd name="connsiteY26744" fmla="*/ 3440114 h 5973007"/>
              <a:gd name="connsiteX26745" fmla="*/ 460110 w 6884782"/>
              <a:gd name="connsiteY26745" fmla="*/ 3443212 h 5973007"/>
              <a:gd name="connsiteX26746" fmla="*/ 462691 w 6884782"/>
              <a:gd name="connsiteY26746" fmla="*/ 3441973 h 5973007"/>
              <a:gd name="connsiteX26747" fmla="*/ 465066 w 6884782"/>
              <a:gd name="connsiteY26747" fmla="*/ 3442282 h 5973007"/>
              <a:gd name="connsiteX26748" fmla="*/ 467751 w 6884782"/>
              <a:gd name="connsiteY26748" fmla="*/ 3446310 h 5973007"/>
              <a:gd name="connsiteX26749" fmla="*/ 465892 w 6884782"/>
              <a:gd name="connsiteY26749" fmla="*/ 3448169 h 5973007"/>
              <a:gd name="connsiteX26750" fmla="*/ 467648 w 6884782"/>
              <a:gd name="connsiteY26750" fmla="*/ 3449718 h 5973007"/>
              <a:gd name="connsiteX26751" fmla="*/ 470642 w 6884782"/>
              <a:gd name="connsiteY26751" fmla="*/ 3455449 h 5973007"/>
              <a:gd name="connsiteX26752" fmla="*/ 471985 w 6884782"/>
              <a:gd name="connsiteY26752" fmla="*/ 3453745 h 5973007"/>
              <a:gd name="connsiteX26753" fmla="*/ 472191 w 6884782"/>
              <a:gd name="connsiteY26753" fmla="*/ 3448014 h 5973007"/>
              <a:gd name="connsiteX26754" fmla="*/ 462898 w 6884782"/>
              <a:gd name="connsiteY26754" fmla="*/ 3431750 h 5973007"/>
              <a:gd name="connsiteX26755" fmla="*/ 465789 w 6884782"/>
              <a:gd name="connsiteY26755" fmla="*/ 3432059 h 5973007"/>
              <a:gd name="connsiteX26756" fmla="*/ 462072 w 6884782"/>
              <a:gd name="connsiteY26756" fmla="*/ 3419203 h 5973007"/>
              <a:gd name="connsiteX26757" fmla="*/ 462588 w 6884782"/>
              <a:gd name="connsiteY26757" fmla="*/ 3418893 h 5973007"/>
              <a:gd name="connsiteX26758" fmla="*/ 462278 w 6884782"/>
              <a:gd name="connsiteY26758" fmla="*/ 3417809 h 5973007"/>
              <a:gd name="connsiteX26759" fmla="*/ 462382 w 6884782"/>
              <a:gd name="connsiteY26759" fmla="*/ 3405417 h 5973007"/>
              <a:gd name="connsiteX26760" fmla="*/ 470849 w 6884782"/>
              <a:gd name="connsiteY26760" fmla="*/ 3403094 h 5973007"/>
              <a:gd name="connsiteX26761" fmla="*/ 471261 w 6884782"/>
              <a:gd name="connsiteY26761" fmla="*/ 3392561 h 5973007"/>
              <a:gd name="connsiteX26762" fmla="*/ 470332 w 6884782"/>
              <a:gd name="connsiteY26762" fmla="*/ 3378465 h 5973007"/>
              <a:gd name="connsiteX26763" fmla="*/ 475289 w 6884782"/>
              <a:gd name="connsiteY26763" fmla="*/ 3377226 h 5973007"/>
              <a:gd name="connsiteX26764" fmla="*/ 475082 w 6884782"/>
              <a:gd name="connsiteY26764" fmla="*/ 3373973 h 5973007"/>
              <a:gd name="connsiteX26765" fmla="*/ 470642 w 6884782"/>
              <a:gd name="connsiteY26765" fmla="*/ 3378001 h 5973007"/>
              <a:gd name="connsiteX26766" fmla="*/ 468680 w 6884782"/>
              <a:gd name="connsiteY26766" fmla="*/ 3375057 h 5973007"/>
              <a:gd name="connsiteX26767" fmla="*/ 470332 w 6884782"/>
              <a:gd name="connsiteY26767" fmla="*/ 3372579 h 5973007"/>
              <a:gd name="connsiteX26768" fmla="*/ 473224 w 6884782"/>
              <a:gd name="connsiteY26768" fmla="*/ 3371650 h 5973007"/>
              <a:gd name="connsiteX26769" fmla="*/ 475082 w 6884782"/>
              <a:gd name="connsiteY26769" fmla="*/ 3373509 h 5973007"/>
              <a:gd name="connsiteX26770" fmla="*/ 474876 w 6884782"/>
              <a:gd name="connsiteY26770" fmla="*/ 3369017 h 5973007"/>
              <a:gd name="connsiteX26771" fmla="*/ 467958 w 6884782"/>
              <a:gd name="connsiteY26771" fmla="*/ 3368397 h 5973007"/>
              <a:gd name="connsiteX26772" fmla="*/ 459387 w 6884782"/>
              <a:gd name="connsiteY26772" fmla="*/ 3357090 h 5973007"/>
              <a:gd name="connsiteX26773" fmla="*/ 462588 w 6884782"/>
              <a:gd name="connsiteY26773" fmla="*/ 3348261 h 5973007"/>
              <a:gd name="connsiteX26774" fmla="*/ 476115 w 6884782"/>
              <a:gd name="connsiteY26774" fmla="*/ 3352753 h 5973007"/>
              <a:gd name="connsiteX26775" fmla="*/ 477147 w 6884782"/>
              <a:gd name="connsiteY26775" fmla="*/ 3346712 h 5973007"/>
              <a:gd name="connsiteX26776" fmla="*/ 480038 w 6884782"/>
              <a:gd name="connsiteY26776" fmla="*/ 3332461 h 5973007"/>
              <a:gd name="connsiteX26777" fmla="*/ 480555 w 6884782"/>
              <a:gd name="connsiteY26777" fmla="*/ 3323168 h 5973007"/>
              <a:gd name="connsiteX26778" fmla="*/ 476837 w 6884782"/>
              <a:gd name="connsiteY26778" fmla="*/ 3324407 h 5973007"/>
              <a:gd name="connsiteX26779" fmla="*/ 470849 w 6884782"/>
              <a:gd name="connsiteY26779" fmla="*/ 3322703 h 5973007"/>
              <a:gd name="connsiteX26780" fmla="*/ 470229 w 6884782"/>
              <a:gd name="connsiteY26780" fmla="*/ 3319295 h 5973007"/>
              <a:gd name="connsiteX26781" fmla="*/ 471985 w 6884782"/>
              <a:gd name="connsiteY26781" fmla="*/ 3314183 h 5973007"/>
              <a:gd name="connsiteX26782" fmla="*/ 473946 w 6884782"/>
              <a:gd name="connsiteY26782" fmla="*/ 3312015 h 5973007"/>
              <a:gd name="connsiteX26783" fmla="*/ 473224 w 6884782"/>
              <a:gd name="connsiteY26783" fmla="*/ 3311086 h 5973007"/>
              <a:gd name="connsiteX26784" fmla="*/ 474566 w 6884782"/>
              <a:gd name="connsiteY26784" fmla="*/ 3311240 h 5973007"/>
              <a:gd name="connsiteX26785" fmla="*/ 475702 w 6884782"/>
              <a:gd name="connsiteY26785" fmla="*/ 3309846 h 5973007"/>
              <a:gd name="connsiteX26786" fmla="*/ 477354 w 6884782"/>
              <a:gd name="connsiteY26786" fmla="*/ 3309072 h 5973007"/>
              <a:gd name="connsiteX26787" fmla="*/ 475702 w 6884782"/>
              <a:gd name="connsiteY26787" fmla="*/ 3305819 h 5973007"/>
              <a:gd name="connsiteX26788" fmla="*/ 477044 w 6884782"/>
              <a:gd name="connsiteY26788" fmla="*/ 3306284 h 5973007"/>
              <a:gd name="connsiteX26789" fmla="*/ 477560 w 6884782"/>
              <a:gd name="connsiteY26789" fmla="*/ 3307988 h 5973007"/>
              <a:gd name="connsiteX26790" fmla="*/ 477870 w 6884782"/>
              <a:gd name="connsiteY26790" fmla="*/ 3308917 h 5973007"/>
              <a:gd name="connsiteX26791" fmla="*/ 479522 w 6884782"/>
              <a:gd name="connsiteY26791" fmla="*/ 3307988 h 5973007"/>
              <a:gd name="connsiteX26792" fmla="*/ 483549 w 6884782"/>
              <a:gd name="connsiteY26792" fmla="*/ 3310621 h 5973007"/>
              <a:gd name="connsiteX26793" fmla="*/ 486337 w 6884782"/>
              <a:gd name="connsiteY26793" fmla="*/ 3304735 h 5973007"/>
              <a:gd name="connsiteX26794" fmla="*/ 488918 w 6884782"/>
              <a:gd name="connsiteY26794" fmla="*/ 3312790 h 5973007"/>
              <a:gd name="connsiteX26795" fmla="*/ 488712 w 6884782"/>
              <a:gd name="connsiteY26795" fmla="*/ 3314648 h 5973007"/>
              <a:gd name="connsiteX26796" fmla="*/ 489022 w 6884782"/>
              <a:gd name="connsiteY26796" fmla="*/ 3314958 h 5973007"/>
              <a:gd name="connsiteX26797" fmla="*/ 491810 w 6884782"/>
              <a:gd name="connsiteY26797" fmla="*/ 3305045 h 5973007"/>
              <a:gd name="connsiteX26798" fmla="*/ 498521 w 6884782"/>
              <a:gd name="connsiteY26798" fmla="*/ 3294511 h 5973007"/>
              <a:gd name="connsiteX26799" fmla="*/ 493875 w 6884782"/>
              <a:gd name="connsiteY26799" fmla="*/ 3294976 h 5973007"/>
              <a:gd name="connsiteX26800" fmla="*/ 500793 w 6884782"/>
              <a:gd name="connsiteY26800" fmla="*/ 3282120 h 5973007"/>
              <a:gd name="connsiteX26801" fmla="*/ 496250 w 6884782"/>
              <a:gd name="connsiteY26801" fmla="*/ 3274840 h 5973007"/>
              <a:gd name="connsiteX26802" fmla="*/ 500896 w 6884782"/>
              <a:gd name="connsiteY26802" fmla="*/ 3257491 h 5973007"/>
              <a:gd name="connsiteX26803" fmla="*/ 502755 w 6884782"/>
              <a:gd name="connsiteY26803" fmla="*/ 3250211 h 5973007"/>
              <a:gd name="connsiteX26804" fmla="*/ 501103 w 6884782"/>
              <a:gd name="connsiteY26804" fmla="*/ 3249746 h 5973007"/>
              <a:gd name="connsiteX26805" fmla="*/ 501206 w 6884782"/>
              <a:gd name="connsiteY26805" fmla="*/ 3244325 h 5973007"/>
              <a:gd name="connsiteX26806" fmla="*/ 504820 w 6884782"/>
              <a:gd name="connsiteY26806" fmla="*/ 3242622 h 5973007"/>
              <a:gd name="connsiteX26807" fmla="*/ 505646 w 6884782"/>
              <a:gd name="connsiteY26807" fmla="*/ 3239523 h 5973007"/>
              <a:gd name="connsiteX26808" fmla="*/ 508434 w 6884782"/>
              <a:gd name="connsiteY26808" fmla="*/ 3241537 h 5973007"/>
              <a:gd name="connsiteX26809" fmla="*/ 508950 w 6884782"/>
              <a:gd name="connsiteY26809" fmla="*/ 3242776 h 5973007"/>
              <a:gd name="connsiteX26810" fmla="*/ 510499 w 6884782"/>
              <a:gd name="connsiteY26810" fmla="*/ 3243551 h 5973007"/>
              <a:gd name="connsiteX26811" fmla="*/ 510396 w 6884782"/>
              <a:gd name="connsiteY26811" fmla="*/ 3244945 h 5973007"/>
              <a:gd name="connsiteX26812" fmla="*/ 511015 w 6884782"/>
              <a:gd name="connsiteY26812" fmla="*/ 3245719 h 5973007"/>
              <a:gd name="connsiteX26813" fmla="*/ 514423 w 6884782"/>
              <a:gd name="connsiteY26813" fmla="*/ 3245410 h 5973007"/>
              <a:gd name="connsiteX26814" fmla="*/ 507918 w 6884782"/>
              <a:gd name="connsiteY26814" fmla="*/ 3261364 h 5973007"/>
              <a:gd name="connsiteX26815" fmla="*/ 509363 w 6884782"/>
              <a:gd name="connsiteY26815" fmla="*/ 3276389 h 5973007"/>
              <a:gd name="connsiteX26816" fmla="*/ 504717 w 6884782"/>
              <a:gd name="connsiteY26816" fmla="*/ 3277008 h 5973007"/>
              <a:gd name="connsiteX26817" fmla="*/ 507298 w 6884782"/>
              <a:gd name="connsiteY26817" fmla="*/ 3280726 h 5973007"/>
              <a:gd name="connsiteX26818" fmla="*/ 514320 w 6884782"/>
              <a:gd name="connsiteY26818" fmla="*/ 3270038 h 5973007"/>
              <a:gd name="connsiteX26819" fmla="*/ 512771 w 6884782"/>
              <a:gd name="connsiteY26819" fmla="*/ 3257956 h 5973007"/>
              <a:gd name="connsiteX26820" fmla="*/ 516591 w 6884782"/>
              <a:gd name="connsiteY26820" fmla="*/ 3251760 h 5973007"/>
              <a:gd name="connsiteX26821" fmla="*/ 518347 w 6884782"/>
              <a:gd name="connsiteY26821" fmla="*/ 3248972 h 5973007"/>
              <a:gd name="connsiteX26822" fmla="*/ 517830 w 6884782"/>
              <a:gd name="connsiteY26822" fmla="*/ 3248353 h 5973007"/>
              <a:gd name="connsiteX26823" fmla="*/ 518759 w 6884782"/>
              <a:gd name="connsiteY26823" fmla="*/ 3248353 h 5973007"/>
              <a:gd name="connsiteX26824" fmla="*/ 520205 w 6884782"/>
              <a:gd name="connsiteY26824" fmla="*/ 3246029 h 5973007"/>
              <a:gd name="connsiteX26825" fmla="*/ 524645 w 6884782"/>
              <a:gd name="connsiteY26825" fmla="*/ 3248042 h 5973007"/>
              <a:gd name="connsiteX26826" fmla="*/ 530015 w 6884782"/>
              <a:gd name="connsiteY26826" fmla="*/ 3245564 h 5973007"/>
              <a:gd name="connsiteX26827" fmla="*/ 532596 w 6884782"/>
              <a:gd name="connsiteY26827" fmla="*/ 3244015 h 5973007"/>
              <a:gd name="connsiteX26828" fmla="*/ 533525 w 6884782"/>
              <a:gd name="connsiteY26828" fmla="*/ 3242002 h 5973007"/>
              <a:gd name="connsiteX26829" fmla="*/ 538068 w 6884782"/>
              <a:gd name="connsiteY26829" fmla="*/ 3224653 h 5973007"/>
              <a:gd name="connsiteX26830" fmla="*/ 543748 w 6884782"/>
              <a:gd name="connsiteY26830" fmla="*/ 3218767 h 5973007"/>
              <a:gd name="connsiteX26831" fmla="*/ 546535 w 6884782"/>
              <a:gd name="connsiteY26831" fmla="*/ 3214585 h 5973007"/>
              <a:gd name="connsiteX26832" fmla="*/ 549943 w 6884782"/>
              <a:gd name="connsiteY26832" fmla="*/ 3210713 h 5973007"/>
              <a:gd name="connsiteX26833" fmla="*/ 555106 w 6884782"/>
              <a:gd name="connsiteY26833" fmla="*/ 3202813 h 5973007"/>
              <a:gd name="connsiteX26834" fmla="*/ 555106 w 6884782"/>
              <a:gd name="connsiteY26834" fmla="*/ 3202348 h 5973007"/>
              <a:gd name="connsiteX26835" fmla="*/ 558410 w 6884782"/>
              <a:gd name="connsiteY26835" fmla="*/ 3194294 h 5973007"/>
              <a:gd name="connsiteX26836" fmla="*/ 563160 w 6884782"/>
              <a:gd name="connsiteY26836" fmla="*/ 3190576 h 5973007"/>
              <a:gd name="connsiteX26837" fmla="*/ 572246 w 6884782"/>
              <a:gd name="connsiteY26837" fmla="*/ 3177410 h 5973007"/>
              <a:gd name="connsiteX26838" fmla="*/ 568220 w 6884782"/>
              <a:gd name="connsiteY26838" fmla="*/ 3175861 h 5973007"/>
              <a:gd name="connsiteX26839" fmla="*/ 561404 w 6884782"/>
              <a:gd name="connsiteY26839" fmla="*/ 3170749 h 5973007"/>
              <a:gd name="connsiteX26840" fmla="*/ 561301 w 6884782"/>
              <a:gd name="connsiteY26840" fmla="*/ 3169665 h 5973007"/>
              <a:gd name="connsiteX26841" fmla="*/ 560268 w 6884782"/>
              <a:gd name="connsiteY26841" fmla="*/ 3168891 h 5973007"/>
              <a:gd name="connsiteX26842" fmla="*/ 560062 w 6884782"/>
              <a:gd name="connsiteY26842" fmla="*/ 3169045 h 5973007"/>
              <a:gd name="connsiteX26843" fmla="*/ 559236 w 6884782"/>
              <a:gd name="connsiteY26843" fmla="*/ 3169200 h 5973007"/>
              <a:gd name="connsiteX26844" fmla="*/ 556242 w 6884782"/>
              <a:gd name="connsiteY26844" fmla="*/ 3167497 h 5973007"/>
              <a:gd name="connsiteX26845" fmla="*/ 556448 w 6884782"/>
              <a:gd name="connsiteY26845" fmla="*/ 3165328 h 5973007"/>
              <a:gd name="connsiteX26846" fmla="*/ 560578 w 6884782"/>
              <a:gd name="connsiteY26846" fmla="*/ 3162230 h 5973007"/>
              <a:gd name="connsiteX26847" fmla="*/ 560578 w 6884782"/>
              <a:gd name="connsiteY26847" fmla="*/ 3146896 h 5973007"/>
              <a:gd name="connsiteX26848" fmla="*/ 569355 w 6884782"/>
              <a:gd name="connsiteY26848" fmla="*/ 3146585 h 5973007"/>
              <a:gd name="connsiteX26849" fmla="*/ 574518 w 6884782"/>
              <a:gd name="connsiteY26849" fmla="*/ 3161146 h 5973007"/>
              <a:gd name="connsiteX26850" fmla="*/ 573692 w 6884782"/>
              <a:gd name="connsiteY26850" fmla="*/ 3161146 h 5973007"/>
              <a:gd name="connsiteX26851" fmla="*/ 575757 w 6884782"/>
              <a:gd name="connsiteY26851" fmla="*/ 3165948 h 5973007"/>
              <a:gd name="connsiteX26852" fmla="*/ 574931 w 6884782"/>
              <a:gd name="connsiteY26852" fmla="*/ 3166567 h 5973007"/>
              <a:gd name="connsiteX26853" fmla="*/ 574931 w 6884782"/>
              <a:gd name="connsiteY26853" fmla="*/ 3166877 h 5973007"/>
              <a:gd name="connsiteX26854" fmla="*/ 577925 w 6884782"/>
              <a:gd name="connsiteY26854" fmla="*/ 3169665 h 5973007"/>
              <a:gd name="connsiteX26855" fmla="*/ 577925 w 6884782"/>
              <a:gd name="connsiteY26855" fmla="*/ 3169510 h 5973007"/>
              <a:gd name="connsiteX26856" fmla="*/ 577925 w 6884782"/>
              <a:gd name="connsiteY26856" fmla="*/ 3169200 h 5973007"/>
              <a:gd name="connsiteX26857" fmla="*/ 582262 w 6884782"/>
              <a:gd name="connsiteY26857" fmla="*/ 3163624 h 5973007"/>
              <a:gd name="connsiteX26858" fmla="*/ 584121 w 6884782"/>
              <a:gd name="connsiteY26858" fmla="*/ 3163005 h 5973007"/>
              <a:gd name="connsiteX26859" fmla="*/ 585360 w 6884782"/>
              <a:gd name="connsiteY26859" fmla="*/ 3161610 h 5973007"/>
              <a:gd name="connsiteX26860" fmla="*/ 584533 w 6884782"/>
              <a:gd name="connsiteY26860" fmla="*/ 3161920 h 5973007"/>
              <a:gd name="connsiteX26861" fmla="*/ 583501 w 6884782"/>
              <a:gd name="connsiteY26861" fmla="*/ 3162385 h 5973007"/>
              <a:gd name="connsiteX26862" fmla="*/ 581643 w 6884782"/>
              <a:gd name="connsiteY26862" fmla="*/ 3161765 h 5973007"/>
              <a:gd name="connsiteX26863" fmla="*/ 577925 w 6884782"/>
              <a:gd name="connsiteY26863" fmla="*/ 3157274 h 5973007"/>
              <a:gd name="connsiteX26864" fmla="*/ 584224 w 6884782"/>
              <a:gd name="connsiteY26864" fmla="*/ 3154640 h 5973007"/>
              <a:gd name="connsiteX26865" fmla="*/ 589696 w 6884782"/>
              <a:gd name="connsiteY26865" fmla="*/ 3156034 h 5973007"/>
              <a:gd name="connsiteX26866" fmla="*/ 588767 w 6884782"/>
              <a:gd name="connsiteY26866" fmla="*/ 3153711 h 5973007"/>
              <a:gd name="connsiteX26867" fmla="*/ 591039 w 6884782"/>
              <a:gd name="connsiteY26867" fmla="*/ 3150768 h 5973007"/>
              <a:gd name="connsiteX26868" fmla="*/ 593827 w 6884782"/>
              <a:gd name="connsiteY26868" fmla="*/ 3146585 h 5973007"/>
              <a:gd name="connsiteX26869" fmla="*/ 595169 w 6884782"/>
              <a:gd name="connsiteY26869" fmla="*/ 3139770 h 5973007"/>
              <a:gd name="connsiteX26870" fmla="*/ 596718 w 6884782"/>
              <a:gd name="connsiteY26870" fmla="*/ 3144572 h 5973007"/>
              <a:gd name="connsiteX26871" fmla="*/ 606734 w 6884782"/>
              <a:gd name="connsiteY26871" fmla="*/ 3121957 h 5973007"/>
              <a:gd name="connsiteX26872" fmla="*/ 617472 w 6884782"/>
              <a:gd name="connsiteY26872" fmla="*/ 3099497 h 5973007"/>
              <a:gd name="connsiteX26873" fmla="*/ 608076 w 6884782"/>
              <a:gd name="connsiteY26873" fmla="*/ 3102905 h 5973007"/>
              <a:gd name="connsiteX26874" fmla="*/ 615304 w 6884782"/>
              <a:gd name="connsiteY26874" fmla="*/ 3094385 h 5973007"/>
              <a:gd name="connsiteX26875" fmla="*/ 621499 w 6884782"/>
              <a:gd name="connsiteY26875" fmla="*/ 3088964 h 5973007"/>
              <a:gd name="connsiteX26876" fmla="*/ 620054 w 6884782"/>
              <a:gd name="connsiteY26876" fmla="*/ 3087106 h 5973007"/>
              <a:gd name="connsiteX26877" fmla="*/ 619641 w 6884782"/>
              <a:gd name="connsiteY26877" fmla="*/ 3083852 h 5973007"/>
              <a:gd name="connsiteX26878" fmla="*/ 620157 w 6884782"/>
              <a:gd name="connsiteY26878" fmla="*/ 3082768 h 5973007"/>
              <a:gd name="connsiteX26879" fmla="*/ 621603 w 6884782"/>
              <a:gd name="connsiteY26879" fmla="*/ 3086641 h 5973007"/>
              <a:gd name="connsiteX26880" fmla="*/ 622016 w 6884782"/>
              <a:gd name="connsiteY26880" fmla="*/ 3088499 h 5973007"/>
              <a:gd name="connsiteX26881" fmla="*/ 622429 w 6884782"/>
              <a:gd name="connsiteY26881" fmla="*/ 3088190 h 5973007"/>
              <a:gd name="connsiteX26882" fmla="*/ 627282 w 6884782"/>
              <a:gd name="connsiteY26882" fmla="*/ 3080909 h 5973007"/>
              <a:gd name="connsiteX26883" fmla="*/ 628728 w 6884782"/>
              <a:gd name="connsiteY26883" fmla="*/ 3076882 h 5973007"/>
              <a:gd name="connsiteX26884" fmla="*/ 627075 w 6884782"/>
              <a:gd name="connsiteY26884" fmla="*/ 3078431 h 5973007"/>
              <a:gd name="connsiteX26885" fmla="*/ 623048 w 6884782"/>
              <a:gd name="connsiteY26885" fmla="*/ 3073010 h 5973007"/>
              <a:gd name="connsiteX26886" fmla="*/ 624700 w 6884782"/>
              <a:gd name="connsiteY26886" fmla="*/ 3072235 h 5973007"/>
              <a:gd name="connsiteX26887" fmla="*/ 627695 w 6884782"/>
              <a:gd name="connsiteY26887" fmla="*/ 3072545 h 5973007"/>
              <a:gd name="connsiteX26888" fmla="*/ 629553 w 6884782"/>
              <a:gd name="connsiteY26888" fmla="*/ 3074404 h 5973007"/>
              <a:gd name="connsiteX26889" fmla="*/ 630380 w 6884782"/>
              <a:gd name="connsiteY26889" fmla="*/ 3071926 h 5973007"/>
              <a:gd name="connsiteX26890" fmla="*/ 635129 w 6884782"/>
              <a:gd name="connsiteY26890" fmla="*/ 3072235 h 5973007"/>
              <a:gd name="connsiteX26891" fmla="*/ 639776 w 6884782"/>
              <a:gd name="connsiteY26891" fmla="*/ 3070841 h 5973007"/>
              <a:gd name="connsiteX26892" fmla="*/ 639776 w 6884782"/>
              <a:gd name="connsiteY26892" fmla="*/ 3070686 h 5973007"/>
              <a:gd name="connsiteX26893" fmla="*/ 639672 w 6884782"/>
              <a:gd name="connsiteY26893" fmla="*/ 3068983 h 5973007"/>
              <a:gd name="connsiteX26894" fmla="*/ 639983 w 6884782"/>
              <a:gd name="connsiteY26894" fmla="*/ 3062941 h 5973007"/>
              <a:gd name="connsiteX26895" fmla="*/ 641118 w 6884782"/>
              <a:gd name="connsiteY26895" fmla="*/ 3067124 h 5973007"/>
              <a:gd name="connsiteX26896" fmla="*/ 641738 w 6884782"/>
              <a:gd name="connsiteY26896" fmla="*/ 3068208 h 5973007"/>
              <a:gd name="connsiteX26897" fmla="*/ 642151 w 6884782"/>
              <a:gd name="connsiteY26897" fmla="*/ 3068053 h 5973007"/>
              <a:gd name="connsiteX26898" fmla="*/ 642254 w 6884782"/>
              <a:gd name="connsiteY26898" fmla="*/ 3068363 h 5973007"/>
              <a:gd name="connsiteX26899" fmla="*/ 646797 w 6884782"/>
              <a:gd name="connsiteY26899" fmla="*/ 3061857 h 5973007"/>
              <a:gd name="connsiteX26900" fmla="*/ 654541 w 6884782"/>
              <a:gd name="connsiteY26900" fmla="*/ 3054887 h 5973007"/>
              <a:gd name="connsiteX26901" fmla="*/ 646074 w 6884782"/>
              <a:gd name="connsiteY26901" fmla="*/ 3050550 h 5973007"/>
              <a:gd name="connsiteX26902" fmla="*/ 641015 w 6884782"/>
              <a:gd name="connsiteY26902" fmla="*/ 3059689 h 5973007"/>
              <a:gd name="connsiteX26903" fmla="*/ 641118 w 6884782"/>
              <a:gd name="connsiteY26903" fmla="*/ 3058450 h 5973007"/>
              <a:gd name="connsiteX26904" fmla="*/ 639363 w 6884782"/>
              <a:gd name="connsiteY26904" fmla="*/ 3060773 h 5973007"/>
              <a:gd name="connsiteX26905" fmla="*/ 634200 w 6884782"/>
              <a:gd name="connsiteY26905" fmla="*/ 3064491 h 5973007"/>
              <a:gd name="connsiteX26906" fmla="*/ 630380 w 6884782"/>
              <a:gd name="connsiteY26906" fmla="*/ 3059998 h 5973007"/>
              <a:gd name="connsiteX26907" fmla="*/ 638743 w 6884782"/>
              <a:gd name="connsiteY26907" fmla="*/ 3052563 h 5973007"/>
              <a:gd name="connsiteX26908" fmla="*/ 641634 w 6884782"/>
              <a:gd name="connsiteY26908" fmla="*/ 3054422 h 5973007"/>
              <a:gd name="connsiteX26909" fmla="*/ 643183 w 6884782"/>
              <a:gd name="connsiteY26909" fmla="*/ 3051015 h 5973007"/>
              <a:gd name="connsiteX26910" fmla="*/ 644938 w 6884782"/>
              <a:gd name="connsiteY26910" fmla="*/ 3042185 h 5973007"/>
              <a:gd name="connsiteX26911" fmla="*/ 646694 w 6884782"/>
              <a:gd name="connsiteY26911" fmla="*/ 3048536 h 5973007"/>
              <a:gd name="connsiteX26912" fmla="*/ 651444 w 6884782"/>
              <a:gd name="connsiteY26912" fmla="*/ 3051324 h 5973007"/>
              <a:gd name="connsiteX26913" fmla="*/ 654851 w 6884782"/>
              <a:gd name="connsiteY26913" fmla="*/ 3050705 h 5973007"/>
              <a:gd name="connsiteX26914" fmla="*/ 654541 w 6884782"/>
              <a:gd name="connsiteY26914" fmla="*/ 3047142 h 5973007"/>
              <a:gd name="connsiteX26915" fmla="*/ 656503 w 6884782"/>
              <a:gd name="connsiteY26915" fmla="*/ 3043734 h 5973007"/>
              <a:gd name="connsiteX26916" fmla="*/ 657949 w 6884782"/>
              <a:gd name="connsiteY26916" fmla="*/ 3043270 h 5973007"/>
              <a:gd name="connsiteX26917" fmla="*/ 657949 w 6884782"/>
              <a:gd name="connsiteY26917" fmla="*/ 3038468 h 5973007"/>
              <a:gd name="connsiteX26918" fmla="*/ 658982 w 6884782"/>
              <a:gd name="connsiteY26918" fmla="*/ 3033202 h 5973007"/>
              <a:gd name="connsiteX26919" fmla="*/ 664351 w 6884782"/>
              <a:gd name="connsiteY26919" fmla="*/ 3036919 h 5973007"/>
              <a:gd name="connsiteX26920" fmla="*/ 670650 w 6884782"/>
              <a:gd name="connsiteY26920" fmla="*/ 3038003 h 5973007"/>
              <a:gd name="connsiteX26921" fmla="*/ 670856 w 6884782"/>
              <a:gd name="connsiteY26921" fmla="*/ 3030413 h 5973007"/>
              <a:gd name="connsiteX26922" fmla="*/ 671888 w 6884782"/>
              <a:gd name="connsiteY26922" fmla="*/ 3028245 h 5973007"/>
              <a:gd name="connsiteX26923" fmla="*/ 659395 w 6884782"/>
              <a:gd name="connsiteY26923" fmla="*/ 3028709 h 5973007"/>
              <a:gd name="connsiteX26924" fmla="*/ 644938 w 6884782"/>
              <a:gd name="connsiteY26924" fmla="*/ 3024837 h 5973007"/>
              <a:gd name="connsiteX26925" fmla="*/ 642667 w 6884782"/>
              <a:gd name="connsiteY26925" fmla="*/ 3020190 h 5973007"/>
              <a:gd name="connsiteX26926" fmla="*/ 643906 w 6884782"/>
              <a:gd name="connsiteY26926" fmla="*/ 3009192 h 5973007"/>
              <a:gd name="connsiteX26927" fmla="*/ 646591 w 6884782"/>
              <a:gd name="connsiteY26927" fmla="*/ 3003461 h 5973007"/>
              <a:gd name="connsiteX26928" fmla="*/ 642048 w 6884782"/>
              <a:gd name="connsiteY26928" fmla="*/ 2996801 h 5973007"/>
              <a:gd name="connsiteX26929" fmla="*/ 641634 w 6884782"/>
              <a:gd name="connsiteY26929" fmla="*/ 2996956 h 5973007"/>
              <a:gd name="connsiteX26930" fmla="*/ 636265 w 6884782"/>
              <a:gd name="connsiteY26930" fmla="*/ 2995716 h 5973007"/>
              <a:gd name="connsiteX26931" fmla="*/ 314416 w 6884782"/>
              <a:gd name="connsiteY26931" fmla="*/ 2992154 h 5973007"/>
              <a:gd name="connsiteX26932" fmla="*/ 317823 w 6884782"/>
              <a:gd name="connsiteY26932" fmla="*/ 2994632 h 5973007"/>
              <a:gd name="connsiteX26933" fmla="*/ 308530 w 6884782"/>
              <a:gd name="connsiteY26933" fmla="*/ 3002687 h 5973007"/>
              <a:gd name="connsiteX26934" fmla="*/ 304813 w 6884782"/>
              <a:gd name="connsiteY26934" fmla="*/ 3000828 h 5973007"/>
              <a:gd name="connsiteX26935" fmla="*/ 311421 w 6884782"/>
              <a:gd name="connsiteY26935" fmla="*/ 2993084 h 5973007"/>
              <a:gd name="connsiteX26936" fmla="*/ 314416 w 6884782"/>
              <a:gd name="connsiteY26936" fmla="*/ 2992154 h 5973007"/>
              <a:gd name="connsiteX26937" fmla="*/ 6807489 w 6884782"/>
              <a:gd name="connsiteY26937" fmla="*/ 2991811 h 5973007"/>
              <a:gd name="connsiteX26938" fmla="*/ 6818022 w 6884782"/>
              <a:gd name="connsiteY26938" fmla="*/ 2997697 h 5973007"/>
              <a:gd name="connsiteX26939" fmla="*/ 6812445 w 6884782"/>
              <a:gd name="connsiteY26939" fmla="*/ 3012669 h 5973007"/>
              <a:gd name="connsiteX26940" fmla="*/ 6797111 w 6884782"/>
              <a:gd name="connsiteY26940" fmla="*/ 3005648 h 5973007"/>
              <a:gd name="connsiteX26941" fmla="*/ 6807489 w 6884782"/>
              <a:gd name="connsiteY26941" fmla="*/ 2991811 h 5973007"/>
              <a:gd name="connsiteX26942" fmla="*/ 423351 w 6884782"/>
              <a:gd name="connsiteY26942" fmla="*/ 2991534 h 5973007"/>
              <a:gd name="connsiteX26943" fmla="*/ 421079 w 6884782"/>
              <a:gd name="connsiteY26943" fmla="*/ 2997730 h 5973007"/>
              <a:gd name="connsiteX26944" fmla="*/ 419221 w 6884782"/>
              <a:gd name="connsiteY26944" fmla="*/ 2997111 h 5973007"/>
              <a:gd name="connsiteX26945" fmla="*/ 417672 w 6884782"/>
              <a:gd name="connsiteY26945" fmla="*/ 2994787 h 5973007"/>
              <a:gd name="connsiteX26946" fmla="*/ 418085 w 6884782"/>
              <a:gd name="connsiteY26946" fmla="*/ 2992309 h 5973007"/>
              <a:gd name="connsiteX26947" fmla="*/ 423351 w 6884782"/>
              <a:gd name="connsiteY26947" fmla="*/ 2991534 h 5973007"/>
              <a:gd name="connsiteX26948" fmla="*/ 487886 w 6884782"/>
              <a:gd name="connsiteY26948" fmla="*/ 2987817 h 5973007"/>
              <a:gd name="connsiteX26949" fmla="*/ 493152 w 6884782"/>
              <a:gd name="connsiteY26949" fmla="*/ 2989211 h 5973007"/>
              <a:gd name="connsiteX26950" fmla="*/ 493978 w 6884782"/>
              <a:gd name="connsiteY26950" fmla="*/ 2991689 h 5973007"/>
              <a:gd name="connsiteX26951" fmla="*/ 491294 w 6884782"/>
              <a:gd name="connsiteY26951" fmla="*/ 2991689 h 5973007"/>
              <a:gd name="connsiteX26952" fmla="*/ 490467 w 6884782"/>
              <a:gd name="connsiteY26952" fmla="*/ 2990140 h 5973007"/>
              <a:gd name="connsiteX26953" fmla="*/ 487783 w 6884782"/>
              <a:gd name="connsiteY26953" fmla="*/ 2989521 h 5973007"/>
              <a:gd name="connsiteX26954" fmla="*/ 487886 w 6884782"/>
              <a:gd name="connsiteY26954" fmla="*/ 2987817 h 5973007"/>
              <a:gd name="connsiteX26955" fmla="*/ 296449 w 6884782"/>
              <a:gd name="connsiteY26955" fmla="*/ 2985493 h 5973007"/>
              <a:gd name="connsiteX26956" fmla="*/ 305845 w 6884782"/>
              <a:gd name="connsiteY26956" fmla="*/ 2985648 h 5973007"/>
              <a:gd name="connsiteX26957" fmla="*/ 307084 w 6884782"/>
              <a:gd name="connsiteY26957" fmla="*/ 2990140 h 5973007"/>
              <a:gd name="connsiteX26958" fmla="*/ 306775 w 6884782"/>
              <a:gd name="connsiteY26958" fmla="*/ 2990450 h 5973007"/>
              <a:gd name="connsiteX26959" fmla="*/ 302438 w 6884782"/>
              <a:gd name="connsiteY26959" fmla="*/ 2998815 h 5973007"/>
              <a:gd name="connsiteX26960" fmla="*/ 297068 w 6884782"/>
              <a:gd name="connsiteY26960" fmla="*/ 3000054 h 5973007"/>
              <a:gd name="connsiteX26961" fmla="*/ 296242 w 6884782"/>
              <a:gd name="connsiteY26961" fmla="*/ 2997420 h 5973007"/>
              <a:gd name="connsiteX26962" fmla="*/ 298514 w 6884782"/>
              <a:gd name="connsiteY26962" fmla="*/ 2993703 h 5973007"/>
              <a:gd name="connsiteX26963" fmla="*/ 296655 w 6884782"/>
              <a:gd name="connsiteY26963" fmla="*/ 2993703 h 5973007"/>
              <a:gd name="connsiteX26964" fmla="*/ 292525 w 6884782"/>
              <a:gd name="connsiteY26964" fmla="*/ 2991534 h 5973007"/>
              <a:gd name="connsiteX26965" fmla="*/ 296449 w 6884782"/>
              <a:gd name="connsiteY26965" fmla="*/ 2985493 h 5973007"/>
              <a:gd name="connsiteX26966" fmla="*/ 711023 w 6884782"/>
              <a:gd name="connsiteY26966" fmla="*/ 2984719 h 5973007"/>
              <a:gd name="connsiteX26967" fmla="*/ 713501 w 6884782"/>
              <a:gd name="connsiteY26967" fmla="*/ 2987972 h 5973007"/>
              <a:gd name="connsiteX26968" fmla="*/ 710919 w 6884782"/>
              <a:gd name="connsiteY26968" fmla="*/ 2985803 h 5973007"/>
              <a:gd name="connsiteX26969" fmla="*/ 711023 w 6884782"/>
              <a:gd name="connsiteY26969" fmla="*/ 2984719 h 5973007"/>
              <a:gd name="connsiteX26970" fmla="*/ 497592 w 6884782"/>
              <a:gd name="connsiteY26970" fmla="*/ 2983170 h 5973007"/>
              <a:gd name="connsiteX26971" fmla="*/ 499244 w 6884782"/>
              <a:gd name="connsiteY26971" fmla="*/ 2984874 h 5973007"/>
              <a:gd name="connsiteX26972" fmla="*/ 500999 w 6884782"/>
              <a:gd name="connsiteY26972" fmla="*/ 2985648 h 5973007"/>
              <a:gd name="connsiteX26973" fmla="*/ 500896 w 6884782"/>
              <a:gd name="connsiteY26973" fmla="*/ 2988127 h 5973007"/>
              <a:gd name="connsiteX26974" fmla="*/ 499141 w 6884782"/>
              <a:gd name="connsiteY26974" fmla="*/ 2987352 h 5973007"/>
              <a:gd name="connsiteX26975" fmla="*/ 495011 w 6884782"/>
              <a:gd name="connsiteY26975" fmla="*/ 2984099 h 5973007"/>
              <a:gd name="connsiteX26976" fmla="*/ 497592 w 6884782"/>
              <a:gd name="connsiteY26976" fmla="*/ 2983170 h 5973007"/>
              <a:gd name="connsiteX26977" fmla="*/ 594653 w 6884782"/>
              <a:gd name="connsiteY26977" fmla="*/ 2978833 h 5973007"/>
              <a:gd name="connsiteX26978" fmla="*/ 597441 w 6884782"/>
              <a:gd name="connsiteY26978" fmla="*/ 2978833 h 5973007"/>
              <a:gd name="connsiteX26979" fmla="*/ 598060 w 6884782"/>
              <a:gd name="connsiteY26979" fmla="*/ 2983015 h 5973007"/>
              <a:gd name="connsiteX26980" fmla="*/ 596201 w 6884782"/>
              <a:gd name="connsiteY26980" fmla="*/ 2983945 h 5973007"/>
              <a:gd name="connsiteX26981" fmla="*/ 593620 w 6884782"/>
              <a:gd name="connsiteY26981" fmla="*/ 2983170 h 5973007"/>
              <a:gd name="connsiteX26982" fmla="*/ 592897 w 6884782"/>
              <a:gd name="connsiteY26982" fmla="*/ 2979762 h 5973007"/>
              <a:gd name="connsiteX26983" fmla="*/ 594653 w 6884782"/>
              <a:gd name="connsiteY26983" fmla="*/ 2978833 h 5973007"/>
              <a:gd name="connsiteX26984" fmla="*/ 358816 w 6884782"/>
              <a:gd name="connsiteY26984" fmla="*/ 2978833 h 5973007"/>
              <a:gd name="connsiteX26985" fmla="*/ 360778 w 6884782"/>
              <a:gd name="connsiteY26985" fmla="*/ 2982705 h 5973007"/>
              <a:gd name="connsiteX26986" fmla="*/ 357989 w 6884782"/>
              <a:gd name="connsiteY26986" fmla="*/ 2979762 h 5973007"/>
              <a:gd name="connsiteX26987" fmla="*/ 358816 w 6884782"/>
              <a:gd name="connsiteY26987" fmla="*/ 2978833 h 5973007"/>
              <a:gd name="connsiteX26988" fmla="*/ 263446 w 6884782"/>
              <a:gd name="connsiteY26988" fmla="*/ 2978446 h 5973007"/>
              <a:gd name="connsiteX26989" fmla="*/ 271667 w 6884782"/>
              <a:gd name="connsiteY26989" fmla="*/ 2979762 h 5973007"/>
              <a:gd name="connsiteX26990" fmla="*/ 272080 w 6884782"/>
              <a:gd name="connsiteY26990" fmla="*/ 2986733 h 5973007"/>
              <a:gd name="connsiteX26991" fmla="*/ 258554 w 6884782"/>
              <a:gd name="connsiteY26991" fmla="*/ 2986887 h 5973007"/>
              <a:gd name="connsiteX26992" fmla="*/ 263446 w 6884782"/>
              <a:gd name="connsiteY26992" fmla="*/ 2978446 h 5973007"/>
              <a:gd name="connsiteX26993" fmla="*/ 484272 w 6884782"/>
              <a:gd name="connsiteY26993" fmla="*/ 2974496 h 5973007"/>
              <a:gd name="connsiteX26994" fmla="*/ 488505 w 6884782"/>
              <a:gd name="connsiteY26994" fmla="*/ 2975115 h 5973007"/>
              <a:gd name="connsiteX26995" fmla="*/ 490880 w 6884782"/>
              <a:gd name="connsiteY26995" fmla="*/ 2982551 h 5973007"/>
              <a:gd name="connsiteX26996" fmla="*/ 487370 w 6884782"/>
              <a:gd name="connsiteY26996" fmla="*/ 2982705 h 5973007"/>
              <a:gd name="connsiteX26997" fmla="*/ 483549 w 6884782"/>
              <a:gd name="connsiteY26997" fmla="*/ 2976509 h 5973007"/>
              <a:gd name="connsiteX26998" fmla="*/ 484272 w 6884782"/>
              <a:gd name="connsiteY26998" fmla="*/ 2974496 h 5973007"/>
              <a:gd name="connsiteX26999" fmla="*/ 430682 w 6884782"/>
              <a:gd name="connsiteY26999" fmla="*/ 2972637 h 5973007"/>
              <a:gd name="connsiteX27000" fmla="*/ 438013 w 6884782"/>
              <a:gd name="connsiteY27000" fmla="*/ 2991534 h 5973007"/>
              <a:gd name="connsiteX27001" fmla="*/ 431715 w 6884782"/>
              <a:gd name="connsiteY27001" fmla="*/ 2994632 h 5973007"/>
              <a:gd name="connsiteX27002" fmla="*/ 422938 w 6884782"/>
              <a:gd name="connsiteY27002" fmla="*/ 2988901 h 5973007"/>
              <a:gd name="connsiteX27003" fmla="*/ 422834 w 6884782"/>
              <a:gd name="connsiteY27003" fmla="*/ 2988746 h 5973007"/>
              <a:gd name="connsiteX27004" fmla="*/ 422318 w 6884782"/>
              <a:gd name="connsiteY27004" fmla="*/ 2988436 h 5973007"/>
              <a:gd name="connsiteX27005" fmla="*/ 422112 w 6884782"/>
              <a:gd name="connsiteY27005" fmla="*/ 2985648 h 5973007"/>
              <a:gd name="connsiteX27006" fmla="*/ 421492 w 6884782"/>
              <a:gd name="connsiteY27006" fmla="*/ 2983325 h 5973007"/>
              <a:gd name="connsiteX27007" fmla="*/ 421286 w 6884782"/>
              <a:gd name="connsiteY27007" fmla="*/ 2976664 h 5973007"/>
              <a:gd name="connsiteX27008" fmla="*/ 430682 w 6884782"/>
              <a:gd name="connsiteY27008" fmla="*/ 2972637 h 5973007"/>
              <a:gd name="connsiteX27009" fmla="*/ 140325 w 6884782"/>
              <a:gd name="connsiteY27009" fmla="*/ 2972637 h 5973007"/>
              <a:gd name="connsiteX27010" fmla="*/ 142804 w 6884782"/>
              <a:gd name="connsiteY27010" fmla="*/ 2976200 h 5973007"/>
              <a:gd name="connsiteX27011" fmla="*/ 143733 w 6884782"/>
              <a:gd name="connsiteY27011" fmla="*/ 2976200 h 5973007"/>
              <a:gd name="connsiteX27012" fmla="*/ 145488 w 6884782"/>
              <a:gd name="connsiteY27012" fmla="*/ 2974805 h 5973007"/>
              <a:gd name="connsiteX27013" fmla="*/ 154161 w 6884782"/>
              <a:gd name="connsiteY27013" fmla="*/ 2975735 h 5973007"/>
              <a:gd name="connsiteX27014" fmla="*/ 156640 w 6884782"/>
              <a:gd name="connsiteY27014" fmla="*/ 2985183 h 5973007"/>
              <a:gd name="connsiteX27015" fmla="*/ 153955 w 6884782"/>
              <a:gd name="connsiteY27015" fmla="*/ 2989056 h 5973007"/>
              <a:gd name="connsiteX27016" fmla="*/ 143526 w 6884782"/>
              <a:gd name="connsiteY27016" fmla="*/ 2987197 h 5973007"/>
              <a:gd name="connsiteX27017" fmla="*/ 141978 w 6884782"/>
              <a:gd name="connsiteY27017" fmla="*/ 2977749 h 5973007"/>
              <a:gd name="connsiteX27018" fmla="*/ 140222 w 6884782"/>
              <a:gd name="connsiteY27018" fmla="*/ 2976819 h 5973007"/>
              <a:gd name="connsiteX27019" fmla="*/ 138570 w 6884782"/>
              <a:gd name="connsiteY27019" fmla="*/ 2973257 h 5973007"/>
              <a:gd name="connsiteX27020" fmla="*/ 140325 w 6884782"/>
              <a:gd name="connsiteY27020" fmla="*/ 2972637 h 5973007"/>
              <a:gd name="connsiteX27021" fmla="*/ 618195 w 6884782"/>
              <a:gd name="connsiteY27021" fmla="*/ 2970314 h 5973007"/>
              <a:gd name="connsiteX27022" fmla="*/ 621086 w 6884782"/>
              <a:gd name="connsiteY27022" fmla="*/ 2970778 h 5973007"/>
              <a:gd name="connsiteX27023" fmla="*/ 623771 w 6884782"/>
              <a:gd name="connsiteY27023" fmla="*/ 2974341 h 5973007"/>
              <a:gd name="connsiteX27024" fmla="*/ 616853 w 6884782"/>
              <a:gd name="connsiteY27024" fmla="*/ 2977129 h 5973007"/>
              <a:gd name="connsiteX27025" fmla="*/ 614891 w 6884782"/>
              <a:gd name="connsiteY27025" fmla="*/ 2974960 h 5973007"/>
              <a:gd name="connsiteX27026" fmla="*/ 618195 w 6884782"/>
              <a:gd name="connsiteY27026" fmla="*/ 2970314 h 5973007"/>
              <a:gd name="connsiteX27027" fmla="*/ 584018 w 6884782"/>
              <a:gd name="connsiteY27027" fmla="*/ 2970314 h 5973007"/>
              <a:gd name="connsiteX27028" fmla="*/ 586083 w 6884782"/>
              <a:gd name="connsiteY27028" fmla="*/ 2972172 h 5973007"/>
              <a:gd name="connsiteX27029" fmla="*/ 581952 w 6884782"/>
              <a:gd name="connsiteY27029" fmla="*/ 2973412 h 5973007"/>
              <a:gd name="connsiteX27030" fmla="*/ 584018 w 6884782"/>
              <a:gd name="connsiteY27030" fmla="*/ 2970314 h 5973007"/>
              <a:gd name="connsiteX27031" fmla="*/ 720006 w 6884782"/>
              <a:gd name="connsiteY27031" fmla="*/ 2969849 h 5973007"/>
              <a:gd name="connsiteX27032" fmla="*/ 725375 w 6884782"/>
              <a:gd name="connsiteY27032" fmla="*/ 2970314 h 5973007"/>
              <a:gd name="connsiteX27033" fmla="*/ 725168 w 6884782"/>
              <a:gd name="connsiteY27033" fmla="*/ 2974186 h 5973007"/>
              <a:gd name="connsiteX27034" fmla="*/ 724652 w 6884782"/>
              <a:gd name="connsiteY27034" fmla="*/ 2974186 h 5973007"/>
              <a:gd name="connsiteX27035" fmla="*/ 724859 w 6884782"/>
              <a:gd name="connsiteY27035" fmla="*/ 2974341 h 5973007"/>
              <a:gd name="connsiteX27036" fmla="*/ 725891 w 6884782"/>
              <a:gd name="connsiteY27036" fmla="*/ 2976664 h 5973007"/>
              <a:gd name="connsiteX27037" fmla="*/ 723103 w 6884782"/>
              <a:gd name="connsiteY27037" fmla="*/ 2979143 h 5973007"/>
              <a:gd name="connsiteX27038" fmla="*/ 719386 w 6884782"/>
              <a:gd name="connsiteY27038" fmla="*/ 2980072 h 5973007"/>
              <a:gd name="connsiteX27039" fmla="*/ 719490 w 6884782"/>
              <a:gd name="connsiteY27039" fmla="*/ 2980691 h 5973007"/>
              <a:gd name="connsiteX27040" fmla="*/ 720419 w 6884782"/>
              <a:gd name="connsiteY27040" fmla="*/ 2980691 h 5973007"/>
              <a:gd name="connsiteX27041" fmla="*/ 719283 w 6884782"/>
              <a:gd name="connsiteY27041" fmla="*/ 2982241 h 5973007"/>
              <a:gd name="connsiteX27042" fmla="*/ 712778 w 6884782"/>
              <a:gd name="connsiteY27042" fmla="*/ 2984409 h 5973007"/>
              <a:gd name="connsiteX27043" fmla="*/ 712159 w 6884782"/>
              <a:gd name="connsiteY27043" fmla="*/ 2981931 h 5973007"/>
              <a:gd name="connsiteX27044" fmla="*/ 713501 w 6884782"/>
              <a:gd name="connsiteY27044" fmla="*/ 2980227 h 5973007"/>
              <a:gd name="connsiteX27045" fmla="*/ 716598 w 6884782"/>
              <a:gd name="connsiteY27045" fmla="*/ 2978368 h 5973007"/>
              <a:gd name="connsiteX27046" fmla="*/ 717631 w 6884782"/>
              <a:gd name="connsiteY27046" fmla="*/ 2978523 h 5973007"/>
              <a:gd name="connsiteX27047" fmla="*/ 716908 w 6884782"/>
              <a:gd name="connsiteY27047" fmla="*/ 2977903 h 5973007"/>
              <a:gd name="connsiteX27048" fmla="*/ 716805 w 6884782"/>
              <a:gd name="connsiteY27048" fmla="*/ 2974496 h 5973007"/>
              <a:gd name="connsiteX27049" fmla="*/ 717941 w 6884782"/>
              <a:gd name="connsiteY27049" fmla="*/ 2972327 h 5973007"/>
              <a:gd name="connsiteX27050" fmla="*/ 720316 w 6884782"/>
              <a:gd name="connsiteY27050" fmla="*/ 2971553 h 5973007"/>
              <a:gd name="connsiteX27051" fmla="*/ 675812 w 6884782"/>
              <a:gd name="connsiteY27051" fmla="*/ 2969849 h 5973007"/>
              <a:gd name="connsiteX27052" fmla="*/ 677361 w 6884782"/>
              <a:gd name="connsiteY27052" fmla="*/ 2970314 h 5973007"/>
              <a:gd name="connsiteX27053" fmla="*/ 669823 w 6884782"/>
              <a:gd name="connsiteY27053" fmla="*/ 2973876 h 5973007"/>
              <a:gd name="connsiteX27054" fmla="*/ 675812 w 6884782"/>
              <a:gd name="connsiteY27054" fmla="*/ 2969849 h 5973007"/>
              <a:gd name="connsiteX27055" fmla="*/ 572350 w 6884782"/>
              <a:gd name="connsiteY27055" fmla="*/ 2968765 h 5973007"/>
              <a:gd name="connsiteX27056" fmla="*/ 573486 w 6884782"/>
              <a:gd name="connsiteY27056" fmla="*/ 2972947 h 5973007"/>
              <a:gd name="connsiteX27057" fmla="*/ 571523 w 6884782"/>
              <a:gd name="connsiteY27057" fmla="*/ 2974496 h 5973007"/>
              <a:gd name="connsiteX27058" fmla="*/ 569562 w 6884782"/>
              <a:gd name="connsiteY27058" fmla="*/ 2972637 h 5973007"/>
              <a:gd name="connsiteX27059" fmla="*/ 569149 w 6884782"/>
              <a:gd name="connsiteY27059" fmla="*/ 2969849 h 5973007"/>
              <a:gd name="connsiteX27060" fmla="*/ 570388 w 6884782"/>
              <a:gd name="connsiteY27060" fmla="*/ 2969074 h 5973007"/>
              <a:gd name="connsiteX27061" fmla="*/ 572350 w 6884782"/>
              <a:gd name="connsiteY27061" fmla="*/ 2968765 h 5973007"/>
              <a:gd name="connsiteX27062" fmla="*/ 391032 w 6884782"/>
              <a:gd name="connsiteY27062" fmla="*/ 2968765 h 5973007"/>
              <a:gd name="connsiteX27063" fmla="*/ 401873 w 6884782"/>
              <a:gd name="connsiteY27063" fmla="*/ 2989985 h 5973007"/>
              <a:gd name="connsiteX27064" fmla="*/ 395678 w 6884782"/>
              <a:gd name="connsiteY27064" fmla="*/ 2993084 h 5973007"/>
              <a:gd name="connsiteX27065" fmla="*/ 390309 w 6884782"/>
              <a:gd name="connsiteY27065" fmla="*/ 2992773 h 5973007"/>
              <a:gd name="connsiteX27066" fmla="*/ 390102 w 6884782"/>
              <a:gd name="connsiteY27066" fmla="*/ 2993703 h 5973007"/>
              <a:gd name="connsiteX27067" fmla="*/ 385662 w 6884782"/>
              <a:gd name="connsiteY27067" fmla="*/ 3000363 h 5973007"/>
              <a:gd name="connsiteX27068" fmla="*/ 381635 w 6884782"/>
              <a:gd name="connsiteY27068" fmla="*/ 3003151 h 5973007"/>
              <a:gd name="connsiteX27069" fmla="*/ 385352 w 6884782"/>
              <a:gd name="connsiteY27069" fmla="*/ 3003926 h 5973007"/>
              <a:gd name="connsiteX27070" fmla="*/ 397640 w 6884782"/>
              <a:gd name="connsiteY27070" fmla="*/ 3011981 h 5973007"/>
              <a:gd name="connsiteX27071" fmla="*/ 388037 w 6884782"/>
              <a:gd name="connsiteY27071" fmla="*/ 3018022 h 5973007"/>
              <a:gd name="connsiteX27072" fmla="*/ 372652 w 6884782"/>
              <a:gd name="connsiteY27072" fmla="*/ 3006559 h 5973007"/>
              <a:gd name="connsiteX27073" fmla="*/ 372652 w 6884782"/>
              <a:gd name="connsiteY27073" fmla="*/ 3006095 h 5973007"/>
              <a:gd name="connsiteX27074" fmla="*/ 365734 w 6884782"/>
              <a:gd name="connsiteY27074" fmla="*/ 3005785 h 5973007"/>
              <a:gd name="connsiteX27075" fmla="*/ 358196 w 6884782"/>
              <a:gd name="connsiteY27075" fmla="*/ 3003461 h 5973007"/>
              <a:gd name="connsiteX27076" fmla="*/ 357163 w 6884782"/>
              <a:gd name="connsiteY27076" fmla="*/ 3000983 h 5973007"/>
              <a:gd name="connsiteX27077" fmla="*/ 369038 w 6884782"/>
              <a:gd name="connsiteY27077" fmla="*/ 2983325 h 5973007"/>
              <a:gd name="connsiteX27078" fmla="*/ 377298 w 6884782"/>
              <a:gd name="connsiteY27078" fmla="*/ 2981002 h 5973007"/>
              <a:gd name="connsiteX27079" fmla="*/ 381532 w 6884782"/>
              <a:gd name="connsiteY27079" fmla="*/ 2981466 h 5973007"/>
              <a:gd name="connsiteX27080" fmla="*/ 381119 w 6884782"/>
              <a:gd name="connsiteY27080" fmla="*/ 2980382 h 5973007"/>
              <a:gd name="connsiteX27081" fmla="*/ 391032 w 6884782"/>
              <a:gd name="connsiteY27081" fmla="*/ 2968765 h 5973007"/>
              <a:gd name="connsiteX27082" fmla="*/ 598267 w 6884782"/>
              <a:gd name="connsiteY27082" fmla="*/ 2967526 h 5973007"/>
              <a:gd name="connsiteX27083" fmla="*/ 599609 w 6884782"/>
              <a:gd name="connsiteY27083" fmla="*/ 2975270 h 5973007"/>
              <a:gd name="connsiteX27084" fmla="*/ 598680 w 6884782"/>
              <a:gd name="connsiteY27084" fmla="*/ 2976045 h 5973007"/>
              <a:gd name="connsiteX27085" fmla="*/ 588457 w 6884782"/>
              <a:gd name="connsiteY27085" fmla="*/ 2979607 h 5973007"/>
              <a:gd name="connsiteX27086" fmla="*/ 587425 w 6884782"/>
              <a:gd name="connsiteY27086" fmla="*/ 2976045 h 5973007"/>
              <a:gd name="connsiteX27087" fmla="*/ 589696 w 6884782"/>
              <a:gd name="connsiteY27087" fmla="*/ 2972172 h 5973007"/>
              <a:gd name="connsiteX27088" fmla="*/ 598267 w 6884782"/>
              <a:gd name="connsiteY27088" fmla="*/ 2967526 h 5973007"/>
              <a:gd name="connsiteX27089" fmla="*/ 525678 w 6884782"/>
              <a:gd name="connsiteY27089" fmla="*/ 2966751 h 5973007"/>
              <a:gd name="connsiteX27090" fmla="*/ 531873 w 6884782"/>
              <a:gd name="connsiteY27090" fmla="*/ 2970623 h 5973007"/>
              <a:gd name="connsiteX27091" fmla="*/ 528982 w 6884782"/>
              <a:gd name="connsiteY27091" fmla="*/ 2986578 h 5973007"/>
              <a:gd name="connsiteX27092" fmla="*/ 511531 w 6884782"/>
              <a:gd name="connsiteY27092" fmla="*/ 2977903 h 5973007"/>
              <a:gd name="connsiteX27093" fmla="*/ 512977 w 6884782"/>
              <a:gd name="connsiteY27093" fmla="*/ 2973412 h 5973007"/>
              <a:gd name="connsiteX27094" fmla="*/ 513081 w 6884782"/>
              <a:gd name="connsiteY27094" fmla="*/ 2973257 h 5973007"/>
              <a:gd name="connsiteX27095" fmla="*/ 512771 w 6884782"/>
              <a:gd name="connsiteY27095" fmla="*/ 2972947 h 5973007"/>
              <a:gd name="connsiteX27096" fmla="*/ 513081 w 6884782"/>
              <a:gd name="connsiteY27096" fmla="*/ 2970933 h 5973007"/>
              <a:gd name="connsiteX27097" fmla="*/ 514320 w 6884782"/>
              <a:gd name="connsiteY27097" fmla="*/ 2970469 h 5973007"/>
              <a:gd name="connsiteX27098" fmla="*/ 515352 w 6884782"/>
              <a:gd name="connsiteY27098" fmla="*/ 2970623 h 5973007"/>
              <a:gd name="connsiteX27099" fmla="*/ 516281 w 6884782"/>
              <a:gd name="connsiteY27099" fmla="*/ 2969539 h 5973007"/>
              <a:gd name="connsiteX27100" fmla="*/ 525678 w 6884782"/>
              <a:gd name="connsiteY27100" fmla="*/ 2966751 h 5973007"/>
              <a:gd name="connsiteX27101" fmla="*/ 713398 w 6884782"/>
              <a:gd name="connsiteY27101" fmla="*/ 2962414 h 5973007"/>
              <a:gd name="connsiteX27102" fmla="*/ 718044 w 6884782"/>
              <a:gd name="connsiteY27102" fmla="*/ 2967990 h 5973007"/>
              <a:gd name="connsiteX27103" fmla="*/ 712159 w 6884782"/>
              <a:gd name="connsiteY27103" fmla="*/ 2967526 h 5973007"/>
              <a:gd name="connsiteX27104" fmla="*/ 713398 w 6884782"/>
              <a:gd name="connsiteY27104" fmla="*/ 2962414 h 5973007"/>
              <a:gd name="connsiteX27105" fmla="*/ 370690 w 6884782"/>
              <a:gd name="connsiteY27105" fmla="*/ 2962220 h 5973007"/>
              <a:gd name="connsiteX27106" fmla="*/ 376886 w 6884782"/>
              <a:gd name="connsiteY27106" fmla="*/ 2966131 h 5973007"/>
              <a:gd name="connsiteX27107" fmla="*/ 379467 w 6884782"/>
              <a:gd name="connsiteY27107" fmla="*/ 2970623 h 5973007"/>
              <a:gd name="connsiteX27108" fmla="*/ 377608 w 6884782"/>
              <a:gd name="connsiteY27108" fmla="*/ 2976355 h 5973007"/>
              <a:gd name="connsiteX27109" fmla="*/ 366353 w 6884782"/>
              <a:gd name="connsiteY27109" fmla="*/ 2976819 h 5973007"/>
              <a:gd name="connsiteX27110" fmla="*/ 362120 w 6884782"/>
              <a:gd name="connsiteY27110" fmla="*/ 2968919 h 5973007"/>
              <a:gd name="connsiteX27111" fmla="*/ 362120 w 6884782"/>
              <a:gd name="connsiteY27111" fmla="*/ 2969694 h 5973007"/>
              <a:gd name="connsiteX27112" fmla="*/ 360261 w 6884782"/>
              <a:gd name="connsiteY27112" fmla="*/ 2971243 h 5973007"/>
              <a:gd name="connsiteX27113" fmla="*/ 360261 w 6884782"/>
              <a:gd name="connsiteY27113" fmla="*/ 2972637 h 5973007"/>
              <a:gd name="connsiteX27114" fmla="*/ 360261 w 6884782"/>
              <a:gd name="connsiteY27114" fmla="*/ 2974341 h 5973007"/>
              <a:gd name="connsiteX27115" fmla="*/ 359435 w 6884782"/>
              <a:gd name="connsiteY27115" fmla="*/ 2974496 h 5973007"/>
              <a:gd name="connsiteX27116" fmla="*/ 359022 w 6884782"/>
              <a:gd name="connsiteY27116" fmla="*/ 2972172 h 5973007"/>
              <a:gd name="connsiteX27117" fmla="*/ 355924 w 6884782"/>
              <a:gd name="connsiteY27117" fmla="*/ 2974651 h 5973007"/>
              <a:gd name="connsiteX27118" fmla="*/ 356234 w 6884782"/>
              <a:gd name="connsiteY27118" fmla="*/ 2976664 h 5973007"/>
              <a:gd name="connsiteX27119" fmla="*/ 354685 w 6884782"/>
              <a:gd name="connsiteY27119" fmla="*/ 2975425 h 5973007"/>
              <a:gd name="connsiteX27120" fmla="*/ 352414 w 6884782"/>
              <a:gd name="connsiteY27120" fmla="*/ 2976664 h 5973007"/>
              <a:gd name="connsiteX27121" fmla="*/ 349936 w 6884782"/>
              <a:gd name="connsiteY27121" fmla="*/ 2976819 h 5973007"/>
              <a:gd name="connsiteX27122" fmla="*/ 350761 w 6884782"/>
              <a:gd name="connsiteY27122" fmla="*/ 2974496 h 5973007"/>
              <a:gd name="connsiteX27123" fmla="*/ 351691 w 6884782"/>
              <a:gd name="connsiteY27123" fmla="*/ 2973722 h 5973007"/>
              <a:gd name="connsiteX27124" fmla="*/ 351691 w 6884782"/>
              <a:gd name="connsiteY27124" fmla="*/ 2972947 h 5973007"/>
              <a:gd name="connsiteX27125" fmla="*/ 352001 w 6884782"/>
              <a:gd name="connsiteY27125" fmla="*/ 2972947 h 5973007"/>
              <a:gd name="connsiteX27126" fmla="*/ 350452 w 6884782"/>
              <a:gd name="connsiteY27126" fmla="*/ 2969384 h 5973007"/>
              <a:gd name="connsiteX27127" fmla="*/ 347458 w 6884782"/>
              <a:gd name="connsiteY27127" fmla="*/ 2963653 h 5973007"/>
              <a:gd name="connsiteX27128" fmla="*/ 350968 w 6884782"/>
              <a:gd name="connsiteY27128" fmla="*/ 2963189 h 5973007"/>
              <a:gd name="connsiteX27129" fmla="*/ 351071 w 6884782"/>
              <a:gd name="connsiteY27129" fmla="*/ 2964892 h 5973007"/>
              <a:gd name="connsiteX27130" fmla="*/ 354995 w 6884782"/>
              <a:gd name="connsiteY27130" fmla="*/ 2969849 h 5973007"/>
              <a:gd name="connsiteX27131" fmla="*/ 355098 w 6884782"/>
              <a:gd name="connsiteY27131" fmla="*/ 2970314 h 5973007"/>
              <a:gd name="connsiteX27132" fmla="*/ 355924 w 6884782"/>
              <a:gd name="connsiteY27132" fmla="*/ 2968765 h 5973007"/>
              <a:gd name="connsiteX27133" fmla="*/ 356957 w 6884782"/>
              <a:gd name="connsiteY27133" fmla="*/ 2966751 h 5973007"/>
              <a:gd name="connsiteX27134" fmla="*/ 357163 w 6884782"/>
              <a:gd name="connsiteY27134" fmla="*/ 2966596 h 5973007"/>
              <a:gd name="connsiteX27135" fmla="*/ 356957 w 6884782"/>
              <a:gd name="connsiteY27135" fmla="*/ 2966131 h 5973007"/>
              <a:gd name="connsiteX27136" fmla="*/ 357060 w 6884782"/>
              <a:gd name="connsiteY27136" fmla="*/ 2962879 h 5973007"/>
              <a:gd name="connsiteX27137" fmla="*/ 357163 w 6884782"/>
              <a:gd name="connsiteY27137" fmla="*/ 2963808 h 5973007"/>
              <a:gd name="connsiteX27138" fmla="*/ 357886 w 6884782"/>
              <a:gd name="connsiteY27138" fmla="*/ 2962879 h 5973007"/>
              <a:gd name="connsiteX27139" fmla="*/ 358816 w 6884782"/>
              <a:gd name="connsiteY27139" fmla="*/ 2965512 h 5973007"/>
              <a:gd name="connsiteX27140" fmla="*/ 359332 w 6884782"/>
              <a:gd name="connsiteY27140" fmla="*/ 2965202 h 5973007"/>
              <a:gd name="connsiteX27141" fmla="*/ 362223 w 6884782"/>
              <a:gd name="connsiteY27141" fmla="*/ 2963808 h 5973007"/>
              <a:gd name="connsiteX27142" fmla="*/ 363979 w 6884782"/>
              <a:gd name="connsiteY27142" fmla="*/ 2965667 h 5973007"/>
              <a:gd name="connsiteX27143" fmla="*/ 365734 w 6884782"/>
              <a:gd name="connsiteY27143" fmla="*/ 2964118 h 5973007"/>
              <a:gd name="connsiteX27144" fmla="*/ 370690 w 6884782"/>
              <a:gd name="connsiteY27144" fmla="*/ 2962220 h 5973007"/>
              <a:gd name="connsiteX27145" fmla="*/ 602397 w 6884782"/>
              <a:gd name="connsiteY27145" fmla="*/ 2961485 h 5973007"/>
              <a:gd name="connsiteX27146" fmla="*/ 607560 w 6884782"/>
              <a:gd name="connsiteY27146" fmla="*/ 2970004 h 5973007"/>
              <a:gd name="connsiteX27147" fmla="*/ 602087 w 6884782"/>
              <a:gd name="connsiteY27147" fmla="*/ 2963963 h 5973007"/>
              <a:gd name="connsiteX27148" fmla="*/ 602397 w 6884782"/>
              <a:gd name="connsiteY27148" fmla="*/ 2961485 h 5973007"/>
              <a:gd name="connsiteX27149" fmla="*/ 243272 w 6884782"/>
              <a:gd name="connsiteY27149" fmla="*/ 2959626 h 5973007"/>
              <a:gd name="connsiteX27150" fmla="*/ 252771 w 6884782"/>
              <a:gd name="connsiteY27150" fmla="*/ 2968919 h 5973007"/>
              <a:gd name="connsiteX27151" fmla="*/ 248125 w 6884782"/>
              <a:gd name="connsiteY27151" fmla="*/ 2972482 h 5973007"/>
              <a:gd name="connsiteX27152" fmla="*/ 249777 w 6884782"/>
              <a:gd name="connsiteY27152" fmla="*/ 2974651 h 5973007"/>
              <a:gd name="connsiteX27153" fmla="*/ 249984 w 6884782"/>
              <a:gd name="connsiteY27153" fmla="*/ 2980072 h 5973007"/>
              <a:gd name="connsiteX27154" fmla="*/ 246679 w 6884782"/>
              <a:gd name="connsiteY27154" fmla="*/ 2981466 h 5973007"/>
              <a:gd name="connsiteX27155" fmla="*/ 242136 w 6884782"/>
              <a:gd name="connsiteY27155" fmla="*/ 2978368 h 5973007"/>
              <a:gd name="connsiteX27156" fmla="*/ 242033 w 6884782"/>
              <a:gd name="connsiteY27156" fmla="*/ 2977284 h 5973007"/>
              <a:gd name="connsiteX27157" fmla="*/ 241826 w 6884782"/>
              <a:gd name="connsiteY27157" fmla="*/ 2977284 h 5973007"/>
              <a:gd name="connsiteX27158" fmla="*/ 235631 w 6884782"/>
              <a:gd name="connsiteY27158" fmla="*/ 2970004 h 5973007"/>
              <a:gd name="connsiteX27159" fmla="*/ 243272 w 6884782"/>
              <a:gd name="connsiteY27159" fmla="*/ 2959626 h 5973007"/>
              <a:gd name="connsiteX27160" fmla="*/ 452779 w 6884782"/>
              <a:gd name="connsiteY27160" fmla="*/ 2959161 h 5973007"/>
              <a:gd name="connsiteX27161" fmla="*/ 454327 w 6884782"/>
              <a:gd name="connsiteY27161" fmla="*/ 2971553 h 5973007"/>
              <a:gd name="connsiteX27162" fmla="*/ 454327 w 6884782"/>
              <a:gd name="connsiteY27162" fmla="*/ 2971243 h 5973007"/>
              <a:gd name="connsiteX27163" fmla="*/ 458767 w 6884782"/>
              <a:gd name="connsiteY27163" fmla="*/ 2970623 h 5973007"/>
              <a:gd name="connsiteX27164" fmla="*/ 462485 w 6884782"/>
              <a:gd name="connsiteY27164" fmla="*/ 2973566 h 5973007"/>
              <a:gd name="connsiteX27165" fmla="*/ 465169 w 6884782"/>
              <a:gd name="connsiteY27165" fmla="*/ 2974031 h 5973007"/>
              <a:gd name="connsiteX27166" fmla="*/ 465169 w 6884782"/>
              <a:gd name="connsiteY27166" fmla="*/ 2974805 h 5973007"/>
              <a:gd name="connsiteX27167" fmla="*/ 459594 w 6884782"/>
              <a:gd name="connsiteY27167" fmla="*/ 2975115 h 5973007"/>
              <a:gd name="connsiteX27168" fmla="*/ 454637 w 6884782"/>
              <a:gd name="connsiteY27168" fmla="*/ 2974651 h 5973007"/>
              <a:gd name="connsiteX27169" fmla="*/ 454844 w 6884782"/>
              <a:gd name="connsiteY27169" fmla="*/ 2976200 h 5973007"/>
              <a:gd name="connsiteX27170" fmla="*/ 454018 w 6884782"/>
              <a:gd name="connsiteY27170" fmla="*/ 2993393 h 5973007"/>
              <a:gd name="connsiteX27171" fmla="*/ 444105 w 6884782"/>
              <a:gd name="connsiteY27171" fmla="*/ 2975270 h 5973007"/>
              <a:gd name="connsiteX27172" fmla="*/ 444002 w 6884782"/>
              <a:gd name="connsiteY27172" fmla="*/ 2970158 h 5973007"/>
              <a:gd name="connsiteX27173" fmla="*/ 452779 w 6884782"/>
              <a:gd name="connsiteY27173" fmla="*/ 2959161 h 5973007"/>
              <a:gd name="connsiteX27174" fmla="*/ 296242 w 6884782"/>
              <a:gd name="connsiteY27174" fmla="*/ 2959006 h 5973007"/>
              <a:gd name="connsiteX27175" fmla="*/ 290873 w 6884782"/>
              <a:gd name="connsiteY27175" fmla="*/ 2970004 h 5973007"/>
              <a:gd name="connsiteX27176" fmla="*/ 290666 w 6884782"/>
              <a:gd name="connsiteY27176" fmla="*/ 2967526 h 5973007"/>
              <a:gd name="connsiteX27177" fmla="*/ 296242 w 6884782"/>
              <a:gd name="connsiteY27177" fmla="*/ 2959006 h 5973007"/>
              <a:gd name="connsiteX27178" fmla="*/ 493771 w 6884782"/>
              <a:gd name="connsiteY27178" fmla="*/ 2957457 h 5973007"/>
              <a:gd name="connsiteX27179" fmla="*/ 493875 w 6884782"/>
              <a:gd name="connsiteY27179" fmla="*/ 2959006 h 5973007"/>
              <a:gd name="connsiteX27180" fmla="*/ 493152 w 6884782"/>
              <a:gd name="connsiteY27180" fmla="*/ 2958232 h 5973007"/>
              <a:gd name="connsiteX27181" fmla="*/ 493771 w 6884782"/>
              <a:gd name="connsiteY27181" fmla="*/ 2957457 h 5973007"/>
              <a:gd name="connsiteX27182" fmla="*/ 580610 w 6884782"/>
              <a:gd name="connsiteY27182" fmla="*/ 2956837 h 5973007"/>
              <a:gd name="connsiteX27183" fmla="*/ 581952 w 6884782"/>
              <a:gd name="connsiteY27183" fmla="*/ 2961949 h 5973007"/>
              <a:gd name="connsiteX27184" fmla="*/ 577099 w 6884782"/>
              <a:gd name="connsiteY27184" fmla="*/ 2958696 h 5973007"/>
              <a:gd name="connsiteX27185" fmla="*/ 580610 w 6884782"/>
              <a:gd name="connsiteY27185" fmla="*/ 2956837 h 5973007"/>
              <a:gd name="connsiteX27186" fmla="*/ 471881 w 6884782"/>
              <a:gd name="connsiteY27186" fmla="*/ 2956063 h 5973007"/>
              <a:gd name="connsiteX27187" fmla="*/ 474050 w 6884782"/>
              <a:gd name="connsiteY27187" fmla="*/ 2962569 h 5973007"/>
              <a:gd name="connsiteX27188" fmla="*/ 476012 w 6884782"/>
              <a:gd name="connsiteY27188" fmla="*/ 2966596 h 5973007"/>
              <a:gd name="connsiteX27189" fmla="*/ 472191 w 6884782"/>
              <a:gd name="connsiteY27189" fmla="*/ 2962104 h 5973007"/>
              <a:gd name="connsiteX27190" fmla="*/ 469610 w 6884782"/>
              <a:gd name="connsiteY27190" fmla="*/ 2961485 h 5973007"/>
              <a:gd name="connsiteX27191" fmla="*/ 467648 w 6884782"/>
              <a:gd name="connsiteY27191" fmla="*/ 2956683 h 5973007"/>
              <a:gd name="connsiteX27192" fmla="*/ 471881 w 6884782"/>
              <a:gd name="connsiteY27192" fmla="*/ 2956063 h 5973007"/>
              <a:gd name="connsiteX27193" fmla="*/ 731054 w 6884782"/>
              <a:gd name="connsiteY27193" fmla="*/ 2954979 h 5973007"/>
              <a:gd name="connsiteX27194" fmla="*/ 733946 w 6884782"/>
              <a:gd name="connsiteY27194" fmla="*/ 2955598 h 5973007"/>
              <a:gd name="connsiteX27195" fmla="*/ 735288 w 6884782"/>
              <a:gd name="connsiteY27195" fmla="*/ 2957457 h 5973007"/>
              <a:gd name="connsiteX27196" fmla="*/ 734565 w 6884782"/>
              <a:gd name="connsiteY27196" fmla="*/ 2962414 h 5973007"/>
              <a:gd name="connsiteX27197" fmla="*/ 726821 w 6884782"/>
              <a:gd name="connsiteY27197" fmla="*/ 2961794 h 5973007"/>
              <a:gd name="connsiteX27198" fmla="*/ 726408 w 6884782"/>
              <a:gd name="connsiteY27198" fmla="*/ 2958851 h 5973007"/>
              <a:gd name="connsiteX27199" fmla="*/ 728576 w 6884782"/>
              <a:gd name="connsiteY27199" fmla="*/ 2956063 h 5973007"/>
              <a:gd name="connsiteX27200" fmla="*/ 731054 w 6884782"/>
              <a:gd name="connsiteY27200" fmla="*/ 2954979 h 5973007"/>
              <a:gd name="connsiteX27201" fmla="*/ 541786 w 6884782"/>
              <a:gd name="connsiteY27201" fmla="*/ 2952810 h 5973007"/>
              <a:gd name="connsiteX27202" fmla="*/ 556448 w 6884782"/>
              <a:gd name="connsiteY27202" fmla="*/ 2966751 h 5973007"/>
              <a:gd name="connsiteX27203" fmla="*/ 563883 w 6884782"/>
              <a:gd name="connsiteY27203" fmla="*/ 2968145 h 5973007"/>
              <a:gd name="connsiteX27204" fmla="*/ 564915 w 6884782"/>
              <a:gd name="connsiteY27204" fmla="*/ 2969229 h 5973007"/>
              <a:gd name="connsiteX27205" fmla="*/ 569149 w 6884782"/>
              <a:gd name="connsiteY27205" fmla="*/ 2969074 h 5973007"/>
              <a:gd name="connsiteX27206" fmla="*/ 566257 w 6884782"/>
              <a:gd name="connsiteY27206" fmla="*/ 2974960 h 5973007"/>
              <a:gd name="connsiteX27207" fmla="*/ 564605 w 6884782"/>
              <a:gd name="connsiteY27207" fmla="*/ 2974186 h 5973007"/>
              <a:gd name="connsiteX27208" fmla="*/ 563573 w 6884782"/>
              <a:gd name="connsiteY27208" fmla="*/ 2972327 h 5973007"/>
              <a:gd name="connsiteX27209" fmla="*/ 561714 w 6884782"/>
              <a:gd name="connsiteY27209" fmla="*/ 2973257 h 5973007"/>
              <a:gd name="connsiteX27210" fmla="*/ 562643 w 6884782"/>
              <a:gd name="connsiteY27210" fmla="*/ 2974031 h 5973007"/>
              <a:gd name="connsiteX27211" fmla="*/ 567187 w 6884782"/>
              <a:gd name="connsiteY27211" fmla="*/ 2981156 h 5973007"/>
              <a:gd name="connsiteX27212" fmla="*/ 569252 w 6884782"/>
              <a:gd name="connsiteY27212" fmla="*/ 2985493 h 5973007"/>
              <a:gd name="connsiteX27213" fmla="*/ 570181 w 6884782"/>
              <a:gd name="connsiteY27213" fmla="*/ 2983635 h 5973007"/>
              <a:gd name="connsiteX27214" fmla="*/ 575860 w 6884782"/>
              <a:gd name="connsiteY27214" fmla="*/ 2979298 h 5973007"/>
              <a:gd name="connsiteX27215" fmla="*/ 579371 w 6884782"/>
              <a:gd name="connsiteY27215" fmla="*/ 2986423 h 5973007"/>
              <a:gd name="connsiteX27216" fmla="*/ 577099 w 6884782"/>
              <a:gd name="connsiteY27216" fmla="*/ 2990605 h 5973007"/>
              <a:gd name="connsiteX27217" fmla="*/ 573692 w 6884782"/>
              <a:gd name="connsiteY27217" fmla="*/ 2991689 h 5973007"/>
              <a:gd name="connsiteX27218" fmla="*/ 572246 w 6884782"/>
              <a:gd name="connsiteY27218" fmla="*/ 2992464 h 5973007"/>
              <a:gd name="connsiteX27219" fmla="*/ 577409 w 6884782"/>
              <a:gd name="connsiteY27219" fmla="*/ 3005785 h 5973007"/>
              <a:gd name="connsiteX27220" fmla="*/ 573486 w 6884782"/>
              <a:gd name="connsiteY27220" fmla="*/ 3007024 h 5973007"/>
              <a:gd name="connsiteX27221" fmla="*/ 568839 w 6884782"/>
              <a:gd name="connsiteY27221" fmla="*/ 3007489 h 5973007"/>
              <a:gd name="connsiteX27222" fmla="*/ 565844 w 6884782"/>
              <a:gd name="connsiteY27222" fmla="*/ 3011671 h 5973007"/>
              <a:gd name="connsiteX27223" fmla="*/ 558823 w 6884782"/>
              <a:gd name="connsiteY27223" fmla="*/ 3012600 h 5973007"/>
              <a:gd name="connsiteX27224" fmla="*/ 557171 w 6884782"/>
              <a:gd name="connsiteY27224" fmla="*/ 3006869 h 5973007"/>
              <a:gd name="connsiteX27225" fmla="*/ 557377 w 6884782"/>
              <a:gd name="connsiteY27225" fmla="*/ 3002532 h 5973007"/>
              <a:gd name="connsiteX27226" fmla="*/ 562333 w 6884782"/>
              <a:gd name="connsiteY27226" fmla="*/ 2996646 h 5973007"/>
              <a:gd name="connsiteX27227" fmla="*/ 565328 w 6884782"/>
              <a:gd name="connsiteY27227" fmla="*/ 2999434 h 5973007"/>
              <a:gd name="connsiteX27228" fmla="*/ 560785 w 6884782"/>
              <a:gd name="connsiteY27228" fmla="*/ 2986268 h 5973007"/>
              <a:gd name="connsiteX27229" fmla="*/ 557171 w 6884782"/>
              <a:gd name="connsiteY27229" fmla="*/ 2975270 h 5973007"/>
              <a:gd name="connsiteX27230" fmla="*/ 554176 w 6884782"/>
              <a:gd name="connsiteY27230" fmla="*/ 2976664 h 5973007"/>
              <a:gd name="connsiteX27231" fmla="*/ 542198 w 6884782"/>
              <a:gd name="connsiteY27231" fmla="*/ 2978059 h 5973007"/>
              <a:gd name="connsiteX27232" fmla="*/ 534454 w 6884782"/>
              <a:gd name="connsiteY27232" fmla="*/ 2976355 h 5973007"/>
              <a:gd name="connsiteX27233" fmla="*/ 548394 w 6884782"/>
              <a:gd name="connsiteY27233" fmla="*/ 2967990 h 5973007"/>
              <a:gd name="connsiteX27234" fmla="*/ 541786 w 6884782"/>
              <a:gd name="connsiteY27234" fmla="*/ 2952810 h 5973007"/>
              <a:gd name="connsiteX27235" fmla="*/ 606321 w 6884782"/>
              <a:gd name="connsiteY27235" fmla="*/ 2951571 h 5973007"/>
              <a:gd name="connsiteX27236" fmla="*/ 609625 w 6884782"/>
              <a:gd name="connsiteY27236" fmla="*/ 2954824 h 5973007"/>
              <a:gd name="connsiteX27237" fmla="*/ 612206 w 6884782"/>
              <a:gd name="connsiteY27237" fmla="*/ 2955444 h 5973007"/>
              <a:gd name="connsiteX27238" fmla="*/ 612206 w 6884782"/>
              <a:gd name="connsiteY27238" fmla="*/ 2956373 h 5973007"/>
              <a:gd name="connsiteX27239" fmla="*/ 601674 w 6884782"/>
              <a:gd name="connsiteY27239" fmla="*/ 2955134 h 5973007"/>
              <a:gd name="connsiteX27240" fmla="*/ 600848 w 6884782"/>
              <a:gd name="connsiteY27240" fmla="*/ 2953740 h 5973007"/>
              <a:gd name="connsiteX27241" fmla="*/ 601881 w 6884782"/>
              <a:gd name="connsiteY27241" fmla="*/ 2951726 h 5973007"/>
              <a:gd name="connsiteX27242" fmla="*/ 606321 w 6884782"/>
              <a:gd name="connsiteY27242" fmla="*/ 2951571 h 5973007"/>
              <a:gd name="connsiteX27243" fmla="*/ 506885 w 6884782"/>
              <a:gd name="connsiteY27243" fmla="*/ 2950022 h 5973007"/>
              <a:gd name="connsiteX27244" fmla="*/ 508434 w 6884782"/>
              <a:gd name="connsiteY27244" fmla="*/ 2954204 h 5973007"/>
              <a:gd name="connsiteX27245" fmla="*/ 505956 w 6884782"/>
              <a:gd name="connsiteY27245" fmla="*/ 2950952 h 5973007"/>
              <a:gd name="connsiteX27246" fmla="*/ 506885 w 6884782"/>
              <a:gd name="connsiteY27246" fmla="*/ 2950022 h 5973007"/>
              <a:gd name="connsiteX27247" fmla="*/ 202279 w 6884782"/>
              <a:gd name="connsiteY27247" fmla="*/ 2949402 h 5973007"/>
              <a:gd name="connsiteX27248" fmla="*/ 213741 w 6884782"/>
              <a:gd name="connsiteY27248" fmla="*/ 2953585 h 5973007"/>
              <a:gd name="connsiteX27249" fmla="*/ 211676 w 6884782"/>
              <a:gd name="connsiteY27249" fmla="*/ 2960245 h 5973007"/>
              <a:gd name="connsiteX27250" fmla="*/ 199285 w 6884782"/>
              <a:gd name="connsiteY27250" fmla="*/ 2953740 h 5973007"/>
              <a:gd name="connsiteX27251" fmla="*/ 202279 w 6884782"/>
              <a:gd name="connsiteY27251" fmla="*/ 2949402 h 5973007"/>
              <a:gd name="connsiteX27252" fmla="*/ 719180 w 6884782"/>
              <a:gd name="connsiteY27252" fmla="*/ 2949248 h 5973007"/>
              <a:gd name="connsiteX27253" fmla="*/ 715876 w 6884782"/>
              <a:gd name="connsiteY27253" fmla="*/ 2954824 h 5973007"/>
              <a:gd name="connsiteX27254" fmla="*/ 715669 w 6884782"/>
              <a:gd name="connsiteY27254" fmla="*/ 2953585 h 5973007"/>
              <a:gd name="connsiteX27255" fmla="*/ 716701 w 6884782"/>
              <a:gd name="connsiteY27255" fmla="*/ 2952036 h 5973007"/>
              <a:gd name="connsiteX27256" fmla="*/ 719180 w 6884782"/>
              <a:gd name="connsiteY27256" fmla="*/ 2949248 h 5973007"/>
              <a:gd name="connsiteX27257" fmla="*/ 700594 w 6884782"/>
              <a:gd name="connsiteY27257" fmla="*/ 2947079 h 5973007"/>
              <a:gd name="connsiteX27258" fmla="*/ 710713 w 6884782"/>
              <a:gd name="connsiteY27258" fmla="*/ 2950022 h 5973007"/>
              <a:gd name="connsiteX27259" fmla="*/ 710713 w 6884782"/>
              <a:gd name="connsiteY27259" fmla="*/ 2950177 h 5973007"/>
              <a:gd name="connsiteX27260" fmla="*/ 712468 w 6884782"/>
              <a:gd name="connsiteY27260" fmla="*/ 2955908 h 5973007"/>
              <a:gd name="connsiteX27261" fmla="*/ 709577 w 6884782"/>
              <a:gd name="connsiteY27261" fmla="*/ 2959006 h 5973007"/>
              <a:gd name="connsiteX27262" fmla="*/ 706893 w 6884782"/>
              <a:gd name="connsiteY27262" fmla="*/ 2957612 h 5973007"/>
              <a:gd name="connsiteX27263" fmla="*/ 706479 w 6884782"/>
              <a:gd name="connsiteY27263" fmla="*/ 2956683 h 5973007"/>
              <a:gd name="connsiteX27264" fmla="*/ 703898 w 6884782"/>
              <a:gd name="connsiteY27264" fmla="*/ 2956837 h 5973007"/>
              <a:gd name="connsiteX27265" fmla="*/ 699148 w 6884782"/>
              <a:gd name="connsiteY27265" fmla="*/ 2951881 h 5973007"/>
              <a:gd name="connsiteX27266" fmla="*/ 700594 w 6884782"/>
              <a:gd name="connsiteY27266" fmla="*/ 2947079 h 5973007"/>
              <a:gd name="connsiteX27267" fmla="*/ 519689 w 6884782"/>
              <a:gd name="connsiteY27267" fmla="*/ 2946924 h 5973007"/>
              <a:gd name="connsiteX27268" fmla="*/ 526917 w 6884782"/>
              <a:gd name="connsiteY27268" fmla="*/ 2952656 h 5973007"/>
              <a:gd name="connsiteX27269" fmla="*/ 519689 w 6884782"/>
              <a:gd name="connsiteY27269" fmla="*/ 2946924 h 5973007"/>
              <a:gd name="connsiteX27270" fmla="*/ 398053 w 6884782"/>
              <a:gd name="connsiteY27270" fmla="*/ 2945530 h 5973007"/>
              <a:gd name="connsiteX27271" fmla="*/ 406830 w 6884782"/>
              <a:gd name="connsiteY27271" fmla="*/ 2949248 h 5973007"/>
              <a:gd name="connsiteX27272" fmla="*/ 401461 w 6884782"/>
              <a:gd name="connsiteY27272" fmla="*/ 2956993 h 5973007"/>
              <a:gd name="connsiteX27273" fmla="*/ 395368 w 6884782"/>
              <a:gd name="connsiteY27273" fmla="*/ 2951106 h 5973007"/>
              <a:gd name="connsiteX27274" fmla="*/ 398053 w 6884782"/>
              <a:gd name="connsiteY27274" fmla="*/ 2945530 h 5973007"/>
              <a:gd name="connsiteX27275" fmla="*/ 451953 w 6884782"/>
              <a:gd name="connsiteY27275" fmla="*/ 2942432 h 5973007"/>
              <a:gd name="connsiteX27276" fmla="*/ 457116 w 6884782"/>
              <a:gd name="connsiteY27276" fmla="*/ 2942432 h 5973007"/>
              <a:gd name="connsiteX27277" fmla="*/ 459284 w 6884782"/>
              <a:gd name="connsiteY27277" fmla="*/ 2943826 h 5973007"/>
              <a:gd name="connsiteX27278" fmla="*/ 460317 w 6884782"/>
              <a:gd name="connsiteY27278" fmla="*/ 2943362 h 5973007"/>
              <a:gd name="connsiteX27279" fmla="*/ 457528 w 6884782"/>
              <a:gd name="connsiteY27279" fmla="*/ 2952501 h 5973007"/>
              <a:gd name="connsiteX27280" fmla="*/ 452675 w 6884782"/>
              <a:gd name="connsiteY27280" fmla="*/ 2949557 h 5973007"/>
              <a:gd name="connsiteX27281" fmla="*/ 453605 w 6884782"/>
              <a:gd name="connsiteY27281" fmla="*/ 2947389 h 5973007"/>
              <a:gd name="connsiteX27282" fmla="*/ 453811 w 6884782"/>
              <a:gd name="connsiteY27282" fmla="*/ 2947234 h 5973007"/>
              <a:gd name="connsiteX27283" fmla="*/ 449475 w 6884782"/>
              <a:gd name="connsiteY27283" fmla="*/ 2944291 h 5973007"/>
              <a:gd name="connsiteX27284" fmla="*/ 451953 w 6884782"/>
              <a:gd name="connsiteY27284" fmla="*/ 2942432 h 5973007"/>
              <a:gd name="connsiteX27285" fmla="*/ 214980 w 6884782"/>
              <a:gd name="connsiteY27285" fmla="*/ 2941813 h 5973007"/>
              <a:gd name="connsiteX27286" fmla="*/ 224892 w 6884782"/>
              <a:gd name="connsiteY27286" fmla="*/ 2946460 h 5973007"/>
              <a:gd name="connsiteX27287" fmla="*/ 214980 w 6884782"/>
              <a:gd name="connsiteY27287" fmla="*/ 2941813 h 5973007"/>
              <a:gd name="connsiteX27288" fmla="*/ 642151 w 6884782"/>
              <a:gd name="connsiteY27288" fmla="*/ 2941658 h 5973007"/>
              <a:gd name="connsiteX27289" fmla="*/ 642151 w 6884782"/>
              <a:gd name="connsiteY27289" fmla="*/ 2943207 h 5973007"/>
              <a:gd name="connsiteX27290" fmla="*/ 641428 w 6884782"/>
              <a:gd name="connsiteY27290" fmla="*/ 2942432 h 5973007"/>
              <a:gd name="connsiteX27291" fmla="*/ 642151 w 6884782"/>
              <a:gd name="connsiteY27291" fmla="*/ 2941658 h 5973007"/>
              <a:gd name="connsiteX27292" fmla="*/ 411373 w 6884782"/>
              <a:gd name="connsiteY27292" fmla="*/ 2937166 h 5973007"/>
              <a:gd name="connsiteX27293" fmla="*/ 412716 w 6884782"/>
              <a:gd name="connsiteY27293" fmla="*/ 2944446 h 5973007"/>
              <a:gd name="connsiteX27294" fmla="*/ 412922 w 6884782"/>
              <a:gd name="connsiteY27294" fmla="*/ 2948628 h 5973007"/>
              <a:gd name="connsiteX27295" fmla="*/ 411270 w 6884782"/>
              <a:gd name="connsiteY27295" fmla="*/ 2950487 h 5973007"/>
              <a:gd name="connsiteX27296" fmla="*/ 410444 w 6884782"/>
              <a:gd name="connsiteY27296" fmla="*/ 2950642 h 5973007"/>
              <a:gd name="connsiteX27297" fmla="*/ 409618 w 6884782"/>
              <a:gd name="connsiteY27297" fmla="*/ 2948938 h 5973007"/>
              <a:gd name="connsiteX27298" fmla="*/ 409618 w 6884782"/>
              <a:gd name="connsiteY27298" fmla="*/ 2943981 h 5973007"/>
              <a:gd name="connsiteX27299" fmla="*/ 409927 w 6884782"/>
              <a:gd name="connsiteY27299" fmla="*/ 2940728 h 5973007"/>
              <a:gd name="connsiteX27300" fmla="*/ 409721 w 6884782"/>
              <a:gd name="connsiteY27300" fmla="*/ 2939024 h 5973007"/>
              <a:gd name="connsiteX27301" fmla="*/ 411373 w 6884782"/>
              <a:gd name="connsiteY27301" fmla="*/ 2937166 h 5973007"/>
              <a:gd name="connsiteX27302" fmla="*/ 6599153 w 6884782"/>
              <a:gd name="connsiteY27302" fmla="*/ 2936466 h 5973007"/>
              <a:gd name="connsiteX27303" fmla="*/ 6618205 w 6884782"/>
              <a:gd name="connsiteY27303" fmla="*/ 2947721 h 5973007"/>
              <a:gd name="connsiteX27304" fmla="*/ 6598379 w 6884782"/>
              <a:gd name="connsiteY27304" fmla="*/ 2954536 h 5973007"/>
              <a:gd name="connsiteX27305" fmla="*/ 6580875 w 6884782"/>
              <a:gd name="connsiteY27305" fmla="*/ 2945759 h 5973007"/>
              <a:gd name="connsiteX27306" fmla="*/ 6599153 w 6884782"/>
              <a:gd name="connsiteY27306" fmla="*/ 2936466 h 5973007"/>
              <a:gd name="connsiteX27307" fmla="*/ 300786 w 6884782"/>
              <a:gd name="connsiteY27307" fmla="*/ 2935927 h 5973007"/>
              <a:gd name="connsiteX27308" fmla="*/ 302438 w 6884782"/>
              <a:gd name="connsiteY27308" fmla="*/ 2941038 h 5973007"/>
              <a:gd name="connsiteX27309" fmla="*/ 299030 w 6884782"/>
              <a:gd name="connsiteY27309" fmla="*/ 2942432 h 5973007"/>
              <a:gd name="connsiteX27310" fmla="*/ 297275 w 6884782"/>
              <a:gd name="connsiteY27310" fmla="*/ 2937166 h 5973007"/>
              <a:gd name="connsiteX27311" fmla="*/ 300786 w 6884782"/>
              <a:gd name="connsiteY27311" fmla="*/ 2935927 h 5973007"/>
              <a:gd name="connsiteX27312" fmla="*/ 6326358 w 6884782"/>
              <a:gd name="connsiteY27312" fmla="*/ 2934177 h 5973007"/>
              <a:gd name="connsiteX27313" fmla="*/ 6309680 w 6884782"/>
              <a:gd name="connsiteY27313" fmla="*/ 3014763 h 5973007"/>
              <a:gd name="connsiteX27314" fmla="*/ 6310737 w 6884782"/>
              <a:gd name="connsiteY27314" fmla="*/ 3013804 h 5973007"/>
              <a:gd name="connsiteX27315" fmla="*/ 6314609 w 6884782"/>
              <a:gd name="connsiteY27315" fmla="*/ 3024556 h 5973007"/>
              <a:gd name="connsiteX27316" fmla="*/ 6312052 w 6884782"/>
              <a:gd name="connsiteY27316" fmla="*/ 3026199 h 5973007"/>
              <a:gd name="connsiteX27317" fmla="*/ 6312743 w 6884782"/>
              <a:gd name="connsiteY27317" fmla="*/ 3029046 h 5973007"/>
              <a:gd name="connsiteX27318" fmla="*/ 6321706 w 6884782"/>
              <a:gd name="connsiteY27318" fmla="*/ 3069308 h 5973007"/>
              <a:gd name="connsiteX27319" fmla="*/ 6326829 w 6884782"/>
              <a:gd name="connsiteY27319" fmla="*/ 3065040 h 5973007"/>
              <a:gd name="connsiteX27320" fmla="*/ 6332591 w 6884782"/>
              <a:gd name="connsiteY27320" fmla="*/ 3063902 h 5973007"/>
              <a:gd name="connsiteX27321" fmla="*/ 6338567 w 6884782"/>
              <a:gd name="connsiteY27321" fmla="*/ 3066178 h 5973007"/>
              <a:gd name="connsiteX27322" fmla="*/ 6344329 w 6884782"/>
              <a:gd name="connsiteY27322" fmla="*/ 3070589 h 5973007"/>
              <a:gd name="connsiteX27323" fmla="*/ 6344116 w 6884782"/>
              <a:gd name="connsiteY27323" fmla="*/ 3067601 h 5973007"/>
              <a:gd name="connsiteX27324" fmla="*/ 6348039 w 6884782"/>
              <a:gd name="connsiteY27324" fmla="*/ 3071711 h 5973007"/>
              <a:gd name="connsiteX27325" fmla="*/ 6357292 w 6884782"/>
              <a:gd name="connsiteY27325" fmla="*/ 3060197 h 5973007"/>
              <a:gd name="connsiteX27326" fmla="*/ 6357561 w 6884782"/>
              <a:gd name="connsiteY27326" fmla="*/ 3059350 h 5973007"/>
              <a:gd name="connsiteX27327" fmla="*/ 6359055 w 6884782"/>
              <a:gd name="connsiteY27327" fmla="*/ 3049675 h 5973007"/>
              <a:gd name="connsiteX27328" fmla="*/ 6364177 w 6884782"/>
              <a:gd name="connsiteY27328" fmla="*/ 3048110 h 5973007"/>
              <a:gd name="connsiteX27329" fmla="*/ 6364817 w 6884782"/>
              <a:gd name="connsiteY27329" fmla="*/ 3042704 h 5973007"/>
              <a:gd name="connsiteX27330" fmla="*/ 6363537 w 6884782"/>
              <a:gd name="connsiteY27330" fmla="*/ 3039859 h 5973007"/>
              <a:gd name="connsiteX27331" fmla="*/ 6360549 w 6884782"/>
              <a:gd name="connsiteY27331" fmla="*/ 3026770 h 5973007"/>
              <a:gd name="connsiteX27332" fmla="*/ 6355854 w 6884782"/>
              <a:gd name="connsiteY27332" fmla="*/ 3029046 h 5973007"/>
              <a:gd name="connsiteX27333" fmla="*/ 6350305 w 6884782"/>
              <a:gd name="connsiteY27333" fmla="*/ 3009698 h 5973007"/>
              <a:gd name="connsiteX27334" fmla="*/ 6340914 w 6884782"/>
              <a:gd name="connsiteY27334" fmla="*/ 2990349 h 5973007"/>
              <a:gd name="connsiteX27335" fmla="*/ 6344969 w 6884782"/>
              <a:gd name="connsiteY27335" fmla="*/ 2973135 h 5973007"/>
              <a:gd name="connsiteX27336" fmla="*/ 6333872 w 6884782"/>
              <a:gd name="connsiteY27336" fmla="*/ 2965737 h 5973007"/>
              <a:gd name="connsiteX27337" fmla="*/ 6340914 w 6884782"/>
              <a:gd name="connsiteY27337" fmla="*/ 2962038 h 5973007"/>
              <a:gd name="connsiteX27338" fmla="*/ 6329176 w 6884782"/>
              <a:gd name="connsiteY27338" fmla="*/ 2944966 h 5973007"/>
              <a:gd name="connsiteX27339" fmla="*/ 6333231 w 6884782"/>
              <a:gd name="connsiteY27339" fmla="*/ 2941978 h 5973007"/>
              <a:gd name="connsiteX27340" fmla="*/ 506782 w 6884782"/>
              <a:gd name="connsiteY27340" fmla="*/ 2933913 h 5973007"/>
              <a:gd name="connsiteX27341" fmla="*/ 506782 w 6884782"/>
              <a:gd name="connsiteY27341" fmla="*/ 2934842 h 5973007"/>
              <a:gd name="connsiteX27342" fmla="*/ 507608 w 6884782"/>
              <a:gd name="connsiteY27342" fmla="*/ 2933913 h 5973007"/>
              <a:gd name="connsiteX27343" fmla="*/ 508847 w 6884782"/>
              <a:gd name="connsiteY27343" fmla="*/ 2945685 h 5973007"/>
              <a:gd name="connsiteX27344" fmla="*/ 507918 w 6884782"/>
              <a:gd name="connsiteY27344" fmla="*/ 2945685 h 5973007"/>
              <a:gd name="connsiteX27345" fmla="*/ 506369 w 6884782"/>
              <a:gd name="connsiteY27345" fmla="*/ 2937166 h 5973007"/>
              <a:gd name="connsiteX27346" fmla="*/ 506782 w 6884782"/>
              <a:gd name="connsiteY27346" fmla="*/ 2933913 h 5973007"/>
              <a:gd name="connsiteX27347" fmla="*/ 500793 w 6884782"/>
              <a:gd name="connsiteY27347" fmla="*/ 2933603 h 5973007"/>
              <a:gd name="connsiteX27348" fmla="*/ 500690 w 6884782"/>
              <a:gd name="connsiteY27348" fmla="*/ 2935307 h 5973007"/>
              <a:gd name="connsiteX27349" fmla="*/ 504614 w 6884782"/>
              <a:gd name="connsiteY27349" fmla="*/ 2947699 h 5973007"/>
              <a:gd name="connsiteX27350" fmla="*/ 497282 w 6884782"/>
              <a:gd name="connsiteY27350" fmla="*/ 2933758 h 5973007"/>
              <a:gd name="connsiteX27351" fmla="*/ 500793 w 6884782"/>
              <a:gd name="connsiteY27351" fmla="*/ 2933603 h 5973007"/>
              <a:gd name="connsiteX27352" fmla="*/ 6326856 w 6884782"/>
              <a:gd name="connsiteY27352" fmla="*/ 2931772 h 5973007"/>
              <a:gd name="connsiteX27353" fmla="*/ 6326540 w 6884782"/>
              <a:gd name="connsiteY27353" fmla="*/ 2933302 h 5973007"/>
              <a:gd name="connsiteX27354" fmla="*/ 6328322 w 6884782"/>
              <a:gd name="connsiteY27354" fmla="*/ 2933726 h 5973007"/>
              <a:gd name="connsiteX27355" fmla="*/ 768330 w 6884782"/>
              <a:gd name="connsiteY27355" fmla="*/ 2931745 h 5973007"/>
              <a:gd name="connsiteX27356" fmla="*/ 769569 w 6884782"/>
              <a:gd name="connsiteY27356" fmla="*/ 2936237 h 5973007"/>
              <a:gd name="connsiteX27357" fmla="*/ 771118 w 6884782"/>
              <a:gd name="connsiteY27357" fmla="*/ 2934842 h 5973007"/>
              <a:gd name="connsiteX27358" fmla="*/ 773389 w 6884782"/>
              <a:gd name="connsiteY27358" fmla="*/ 2934068 h 5973007"/>
              <a:gd name="connsiteX27359" fmla="*/ 772563 w 6884782"/>
              <a:gd name="connsiteY27359" fmla="*/ 2932983 h 5973007"/>
              <a:gd name="connsiteX27360" fmla="*/ 328290 w 6884782"/>
              <a:gd name="connsiteY27360" fmla="*/ 2931473 h 5973007"/>
              <a:gd name="connsiteX27361" fmla="*/ 334241 w 6884782"/>
              <a:gd name="connsiteY27361" fmla="*/ 2931899 h 5973007"/>
              <a:gd name="connsiteX27362" fmla="*/ 337338 w 6884782"/>
              <a:gd name="connsiteY27362" fmla="*/ 2940728 h 5973007"/>
              <a:gd name="connsiteX27363" fmla="*/ 335066 w 6884782"/>
              <a:gd name="connsiteY27363" fmla="*/ 2945220 h 5973007"/>
              <a:gd name="connsiteX27364" fmla="*/ 324638 w 6884782"/>
              <a:gd name="connsiteY27364" fmla="*/ 2945840 h 5973007"/>
              <a:gd name="connsiteX27365" fmla="*/ 322366 w 6884782"/>
              <a:gd name="connsiteY27365" fmla="*/ 2937011 h 5973007"/>
              <a:gd name="connsiteX27366" fmla="*/ 320508 w 6884782"/>
              <a:gd name="connsiteY27366" fmla="*/ 2936391 h 5973007"/>
              <a:gd name="connsiteX27367" fmla="*/ 318649 w 6884782"/>
              <a:gd name="connsiteY27367" fmla="*/ 2933294 h 5973007"/>
              <a:gd name="connsiteX27368" fmla="*/ 320301 w 6884782"/>
              <a:gd name="connsiteY27368" fmla="*/ 2932209 h 5973007"/>
              <a:gd name="connsiteX27369" fmla="*/ 323089 w 6884782"/>
              <a:gd name="connsiteY27369" fmla="*/ 2935152 h 5973007"/>
              <a:gd name="connsiteX27370" fmla="*/ 323915 w 6884782"/>
              <a:gd name="connsiteY27370" fmla="*/ 2934997 h 5973007"/>
              <a:gd name="connsiteX27371" fmla="*/ 325670 w 6884782"/>
              <a:gd name="connsiteY27371" fmla="*/ 2933138 h 5973007"/>
              <a:gd name="connsiteX27372" fmla="*/ 328290 w 6884782"/>
              <a:gd name="connsiteY27372" fmla="*/ 2931473 h 5973007"/>
              <a:gd name="connsiteX27373" fmla="*/ 791872 w 6884782"/>
              <a:gd name="connsiteY27373" fmla="*/ 2929731 h 5973007"/>
              <a:gd name="connsiteX27374" fmla="*/ 790840 w 6884782"/>
              <a:gd name="connsiteY27374" fmla="*/ 2930195 h 5973007"/>
              <a:gd name="connsiteX27375" fmla="*/ 792285 w 6884782"/>
              <a:gd name="connsiteY27375" fmla="*/ 2931125 h 5973007"/>
              <a:gd name="connsiteX27376" fmla="*/ 441421 w 6884782"/>
              <a:gd name="connsiteY27376" fmla="*/ 2929576 h 5973007"/>
              <a:gd name="connsiteX27377" fmla="*/ 444105 w 6884782"/>
              <a:gd name="connsiteY27377" fmla="*/ 2946614 h 5973007"/>
              <a:gd name="connsiteX27378" fmla="*/ 440801 w 6884782"/>
              <a:gd name="connsiteY27378" fmla="*/ 2945840 h 5973007"/>
              <a:gd name="connsiteX27379" fmla="*/ 437807 w 6884782"/>
              <a:gd name="connsiteY27379" fmla="*/ 2941658 h 5973007"/>
              <a:gd name="connsiteX27380" fmla="*/ 436155 w 6884782"/>
              <a:gd name="connsiteY27380" fmla="*/ 2937630 h 5973007"/>
              <a:gd name="connsiteX27381" fmla="*/ 429856 w 6884782"/>
              <a:gd name="connsiteY27381" fmla="*/ 2937940 h 5973007"/>
              <a:gd name="connsiteX27382" fmla="*/ 424899 w 6884782"/>
              <a:gd name="connsiteY27382" fmla="*/ 2934687 h 5973007"/>
              <a:gd name="connsiteX27383" fmla="*/ 430579 w 6884782"/>
              <a:gd name="connsiteY27383" fmla="*/ 2932364 h 5973007"/>
              <a:gd name="connsiteX27384" fmla="*/ 437187 w 6884782"/>
              <a:gd name="connsiteY27384" fmla="*/ 2932209 h 5973007"/>
              <a:gd name="connsiteX27385" fmla="*/ 438633 w 6884782"/>
              <a:gd name="connsiteY27385" fmla="*/ 2929886 h 5973007"/>
              <a:gd name="connsiteX27386" fmla="*/ 441421 w 6884782"/>
              <a:gd name="connsiteY27386" fmla="*/ 2929576 h 5973007"/>
              <a:gd name="connsiteX27387" fmla="*/ 624700 w 6884782"/>
              <a:gd name="connsiteY27387" fmla="*/ 2926478 h 5973007"/>
              <a:gd name="connsiteX27388" fmla="*/ 635955 w 6884782"/>
              <a:gd name="connsiteY27388" fmla="*/ 2937476 h 5973007"/>
              <a:gd name="connsiteX27389" fmla="*/ 634200 w 6884782"/>
              <a:gd name="connsiteY27389" fmla="*/ 2938560 h 5973007"/>
              <a:gd name="connsiteX27390" fmla="*/ 631928 w 6884782"/>
              <a:gd name="connsiteY27390" fmla="*/ 2938250 h 5973007"/>
              <a:gd name="connsiteX27391" fmla="*/ 625939 w 6884782"/>
              <a:gd name="connsiteY27391" fmla="*/ 2932829 h 5973007"/>
              <a:gd name="connsiteX27392" fmla="*/ 624907 w 6884782"/>
              <a:gd name="connsiteY27392" fmla="*/ 2931280 h 5973007"/>
              <a:gd name="connsiteX27393" fmla="*/ 623771 w 6884782"/>
              <a:gd name="connsiteY27393" fmla="*/ 2929886 h 5973007"/>
              <a:gd name="connsiteX27394" fmla="*/ 623565 w 6884782"/>
              <a:gd name="connsiteY27394" fmla="*/ 2928182 h 5973007"/>
              <a:gd name="connsiteX27395" fmla="*/ 624700 w 6884782"/>
              <a:gd name="connsiteY27395" fmla="*/ 2926478 h 5973007"/>
              <a:gd name="connsiteX27396" fmla="*/ 361345 w 6884782"/>
              <a:gd name="connsiteY27396" fmla="*/ 2923516 h 5973007"/>
              <a:gd name="connsiteX27397" fmla="*/ 367799 w 6884782"/>
              <a:gd name="connsiteY27397" fmla="*/ 2925858 h 5973007"/>
              <a:gd name="connsiteX27398" fmla="*/ 358299 w 6884782"/>
              <a:gd name="connsiteY27398" fmla="*/ 2928956 h 5973007"/>
              <a:gd name="connsiteX27399" fmla="*/ 347870 w 6884782"/>
              <a:gd name="connsiteY27399" fmla="*/ 2926323 h 5973007"/>
              <a:gd name="connsiteX27400" fmla="*/ 352104 w 6884782"/>
              <a:gd name="connsiteY27400" fmla="*/ 2923845 h 5973007"/>
              <a:gd name="connsiteX27401" fmla="*/ 361345 w 6884782"/>
              <a:gd name="connsiteY27401" fmla="*/ 2923516 h 5973007"/>
              <a:gd name="connsiteX27402" fmla="*/ 6392830 w 6884782"/>
              <a:gd name="connsiteY27402" fmla="*/ 2923142 h 5973007"/>
              <a:gd name="connsiteX27403" fmla="*/ 6388030 w 6884782"/>
              <a:gd name="connsiteY27403" fmla="*/ 2932955 h 5973007"/>
              <a:gd name="connsiteX27404" fmla="*/ 6382036 w 6884782"/>
              <a:gd name="connsiteY27404" fmla="*/ 2950650 h 5973007"/>
              <a:gd name="connsiteX27405" fmla="*/ 6385732 w 6884782"/>
              <a:gd name="connsiteY27405" fmla="*/ 2965025 h 5973007"/>
              <a:gd name="connsiteX27406" fmla="*/ 6391282 w 6884782"/>
              <a:gd name="connsiteY27406" fmla="*/ 2979110 h 5973007"/>
              <a:gd name="connsiteX27407" fmla="*/ 6386586 w 6884782"/>
              <a:gd name="connsiteY27407" fmla="*/ 2982098 h 5973007"/>
              <a:gd name="connsiteX27408" fmla="*/ 6389609 w 6884782"/>
              <a:gd name="connsiteY27408" fmla="*/ 2990560 h 5973007"/>
              <a:gd name="connsiteX27409" fmla="*/ 6400112 w 6884782"/>
              <a:gd name="connsiteY27409" fmla="*/ 2972399 h 5973007"/>
              <a:gd name="connsiteX27410" fmla="*/ 6399899 w 6884782"/>
              <a:gd name="connsiteY27410" fmla="*/ 2960215 h 5973007"/>
              <a:gd name="connsiteX27411" fmla="*/ 6400211 w 6884782"/>
              <a:gd name="connsiteY27411" fmla="*/ 2959377 h 5973007"/>
              <a:gd name="connsiteX27412" fmla="*/ 6395977 w 6884782"/>
              <a:gd name="connsiteY27412" fmla="*/ 2939701 h 5973007"/>
              <a:gd name="connsiteX27413" fmla="*/ 6399178 w 6884782"/>
              <a:gd name="connsiteY27413" fmla="*/ 2933015 h 5973007"/>
              <a:gd name="connsiteX27414" fmla="*/ 816344 w 6884782"/>
              <a:gd name="connsiteY27414" fmla="*/ 2920127 h 5973007"/>
              <a:gd name="connsiteX27415" fmla="*/ 813866 w 6884782"/>
              <a:gd name="connsiteY27415" fmla="*/ 2920747 h 5973007"/>
              <a:gd name="connsiteX27416" fmla="*/ 814279 w 6884782"/>
              <a:gd name="connsiteY27416" fmla="*/ 2923070 h 5973007"/>
              <a:gd name="connsiteX27417" fmla="*/ 333724 w 6884782"/>
              <a:gd name="connsiteY27417" fmla="*/ 2919198 h 5973007"/>
              <a:gd name="connsiteX27418" fmla="*/ 346631 w 6884782"/>
              <a:gd name="connsiteY27418" fmla="*/ 2922451 h 5973007"/>
              <a:gd name="connsiteX27419" fmla="*/ 341882 w 6884782"/>
              <a:gd name="connsiteY27419" fmla="*/ 2928337 h 5973007"/>
              <a:gd name="connsiteX27420" fmla="*/ 336719 w 6884782"/>
              <a:gd name="connsiteY27420" fmla="*/ 2927872 h 5973007"/>
              <a:gd name="connsiteX27421" fmla="*/ 330833 w 6884782"/>
              <a:gd name="connsiteY27421" fmla="*/ 2922141 h 5973007"/>
              <a:gd name="connsiteX27422" fmla="*/ 333724 w 6884782"/>
              <a:gd name="connsiteY27422" fmla="*/ 2919198 h 5973007"/>
              <a:gd name="connsiteX27423" fmla="*/ 759140 w 6884782"/>
              <a:gd name="connsiteY27423" fmla="*/ 2917184 h 5973007"/>
              <a:gd name="connsiteX27424" fmla="*/ 762341 w 6884782"/>
              <a:gd name="connsiteY27424" fmla="*/ 2917959 h 5973007"/>
              <a:gd name="connsiteX27425" fmla="*/ 759037 w 6884782"/>
              <a:gd name="connsiteY27425" fmla="*/ 2918113 h 5973007"/>
              <a:gd name="connsiteX27426" fmla="*/ 758520 w 6884782"/>
              <a:gd name="connsiteY27426" fmla="*/ 2917649 h 5973007"/>
              <a:gd name="connsiteX27427" fmla="*/ 759140 w 6884782"/>
              <a:gd name="connsiteY27427" fmla="*/ 2917184 h 5973007"/>
              <a:gd name="connsiteX27428" fmla="*/ 749124 w 6884782"/>
              <a:gd name="connsiteY27428" fmla="*/ 2916565 h 5973007"/>
              <a:gd name="connsiteX27429" fmla="*/ 754597 w 6884782"/>
              <a:gd name="connsiteY27429" fmla="*/ 2917184 h 5973007"/>
              <a:gd name="connsiteX27430" fmla="*/ 737766 w 6884782"/>
              <a:gd name="connsiteY27430" fmla="*/ 2931899 h 5973007"/>
              <a:gd name="connsiteX27431" fmla="*/ 749124 w 6884782"/>
              <a:gd name="connsiteY27431" fmla="*/ 2916565 h 5973007"/>
              <a:gd name="connsiteX27432" fmla="*/ 670650 w 6884782"/>
              <a:gd name="connsiteY27432" fmla="*/ 2915945 h 5973007"/>
              <a:gd name="connsiteX27433" fmla="*/ 673850 w 6884782"/>
              <a:gd name="connsiteY27433" fmla="*/ 2917804 h 5973007"/>
              <a:gd name="connsiteX27434" fmla="*/ 676432 w 6884782"/>
              <a:gd name="connsiteY27434" fmla="*/ 2923845 h 5973007"/>
              <a:gd name="connsiteX27435" fmla="*/ 672921 w 6884782"/>
              <a:gd name="connsiteY27435" fmla="*/ 2924929 h 5973007"/>
              <a:gd name="connsiteX27436" fmla="*/ 670753 w 6884782"/>
              <a:gd name="connsiteY27436" fmla="*/ 2924155 h 5973007"/>
              <a:gd name="connsiteX27437" fmla="*/ 670546 w 6884782"/>
              <a:gd name="connsiteY27437" fmla="*/ 2925394 h 5973007"/>
              <a:gd name="connsiteX27438" fmla="*/ 660530 w 6884782"/>
              <a:gd name="connsiteY27438" fmla="*/ 2927717 h 5973007"/>
              <a:gd name="connsiteX27439" fmla="*/ 660324 w 6884782"/>
              <a:gd name="connsiteY27439" fmla="*/ 2923070 h 5973007"/>
              <a:gd name="connsiteX27440" fmla="*/ 660737 w 6884782"/>
              <a:gd name="connsiteY27440" fmla="*/ 2919817 h 5973007"/>
              <a:gd name="connsiteX27441" fmla="*/ 667242 w 6884782"/>
              <a:gd name="connsiteY27441" fmla="*/ 2917339 h 5973007"/>
              <a:gd name="connsiteX27442" fmla="*/ 667552 w 6884782"/>
              <a:gd name="connsiteY27442" fmla="*/ 2917494 h 5973007"/>
              <a:gd name="connsiteX27443" fmla="*/ 667655 w 6884782"/>
              <a:gd name="connsiteY27443" fmla="*/ 2917339 h 5973007"/>
              <a:gd name="connsiteX27444" fmla="*/ 670650 w 6884782"/>
              <a:gd name="connsiteY27444" fmla="*/ 2915945 h 5973007"/>
              <a:gd name="connsiteX27445" fmla="*/ 6452621 w 6884782"/>
              <a:gd name="connsiteY27445" fmla="*/ 2915505 h 5973007"/>
              <a:gd name="connsiteX27446" fmla="*/ 6463464 w 6884782"/>
              <a:gd name="connsiteY27446" fmla="*/ 2917054 h 5973007"/>
              <a:gd name="connsiteX27447" fmla="*/ 6472138 w 6884782"/>
              <a:gd name="connsiteY27447" fmla="*/ 2932026 h 5973007"/>
              <a:gd name="connsiteX27448" fmla="*/ 6450763 w 6884782"/>
              <a:gd name="connsiteY27448" fmla="*/ 2941422 h 5973007"/>
              <a:gd name="connsiteX27449" fmla="*/ 6452621 w 6884782"/>
              <a:gd name="connsiteY27449" fmla="*/ 2915505 h 5973007"/>
              <a:gd name="connsiteX27450" fmla="*/ 563057 w 6884782"/>
              <a:gd name="connsiteY27450" fmla="*/ 2913312 h 5973007"/>
              <a:gd name="connsiteX27451" fmla="*/ 563573 w 6884782"/>
              <a:gd name="connsiteY27451" fmla="*/ 2920747 h 5973007"/>
              <a:gd name="connsiteX27452" fmla="*/ 563366 w 6884782"/>
              <a:gd name="connsiteY27452" fmla="*/ 2924929 h 5973007"/>
              <a:gd name="connsiteX27453" fmla="*/ 561611 w 6884782"/>
              <a:gd name="connsiteY27453" fmla="*/ 2926633 h 5973007"/>
              <a:gd name="connsiteX27454" fmla="*/ 560785 w 6884782"/>
              <a:gd name="connsiteY27454" fmla="*/ 2926788 h 5973007"/>
              <a:gd name="connsiteX27455" fmla="*/ 560062 w 6884782"/>
              <a:gd name="connsiteY27455" fmla="*/ 2924929 h 5973007"/>
              <a:gd name="connsiteX27456" fmla="*/ 561198 w 6884782"/>
              <a:gd name="connsiteY27456" fmla="*/ 2916719 h 5973007"/>
              <a:gd name="connsiteX27457" fmla="*/ 561301 w 6884782"/>
              <a:gd name="connsiteY27457" fmla="*/ 2915015 h 5973007"/>
              <a:gd name="connsiteX27458" fmla="*/ 563057 w 6884782"/>
              <a:gd name="connsiteY27458" fmla="*/ 2913312 h 5973007"/>
              <a:gd name="connsiteX27459" fmla="*/ 387004 w 6884782"/>
              <a:gd name="connsiteY27459" fmla="*/ 2912847 h 5973007"/>
              <a:gd name="connsiteX27460" fmla="*/ 393819 w 6884782"/>
              <a:gd name="connsiteY27460" fmla="*/ 2913932 h 5973007"/>
              <a:gd name="connsiteX27461" fmla="*/ 405281 w 6884782"/>
              <a:gd name="connsiteY27461" fmla="*/ 2933294 h 5973007"/>
              <a:gd name="connsiteX27462" fmla="*/ 394646 w 6884782"/>
              <a:gd name="connsiteY27462" fmla="*/ 2941813 h 5973007"/>
              <a:gd name="connsiteX27463" fmla="*/ 377918 w 6884782"/>
              <a:gd name="connsiteY27463" fmla="*/ 2929731 h 5973007"/>
              <a:gd name="connsiteX27464" fmla="*/ 377815 w 6884782"/>
              <a:gd name="connsiteY27464" fmla="*/ 2926013 h 5973007"/>
              <a:gd name="connsiteX27465" fmla="*/ 378641 w 6884782"/>
              <a:gd name="connsiteY27465" fmla="*/ 2922296 h 5973007"/>
              <a:gd name="connsiteX27466" fmla="*/ 387004 w 6884782"/>
              <a:gd name="connsiteY27466" fmla="*/ 2912847 h 5973007"/>
              <a:gd name="connsiteX27467" fmla="*/ 549633 w 6884782"/>
              <a:gd name="connsiteY27467" fmla="*/ 2912692 h 5973007"/>
              <a:gd name="connsiteX27468" fmla="*/ 552627 w 6884782"/>
              <a:gd name="connsiteY27468" fmla="*/ 2925858 h 5973007"/>
              <a:gd name="connsiteX27469" fmla="*/ 547052 w 6884782"/>
              <a:gd name="connsiteY27469" fmla="*/ 2926013 h 5973007"/>
              <a:gd name="connsiteX27470" fmla="*/ 546329 w 6884782"/>
              <a:gd name="connsiteY27470" fmla="*/ 2917649 h 5973007"/>
              <a:gd name="connsiteX27471" fmla="*/ 549633 w 6884782"/>
              <a:gd name="connsiteY27471" fmla="*/ 2912692 h 5973007"/>
              <a:gd name="connsiteX27472" fmla="*/ 146108 w 6884782"/>
              <a:gd name="connsiteY27472" fmla="*/ 2910834 h 5973007"/>
              <a:gd name="connsiteX27473" fmla="*/ 150961 w 6884782"/>
              <a:gd name="connsiteY27473" fmla="*/ 2918578 h 5973007"/>
              <a:gd name="connsiteX27474" fmla="*/ 145385 w 6884782"/>
              <a:gd name="connsiteY27474" fmla="*/ 2913157 h 5973007"/>
              <a:gd name="connsiteX27475" fmla="*/ 146108 w 6884782"/>
              <a:gd name="connsiteY27475" fmla="*/ 2910834 h 5973007"/>
              <a:gd name="connsiteX27476" fmla="*/ 522270 w 6884782"/>
              <a:gd name="connsiteY27476" fmla="*/ 2910679 h 5973007"/>
              <a:gd name="connsiteX27477" fmla="*/ 523922 w 6884782"/>
              <a:gd name="connsiteY27477" fmla="*/ 2919817 h 5973007"/>
              <a:gd name="connsiteX27478" fmla="*/ 481174 w 6884782"/>
              <a:gd name="connsiteY27478" fmla="*/ 2931899 h 5973007"/>
              <a:gd name="connsiteX27479" fmla="*/ 522270 w 6884782"/>
              <a:gd name="connsiteY27479" fmla="*/ 2910679 h 5973007"/>
              <a:gd name="connsiteX27480" fmla="*/ 6369299 w 6884782"/>
              <a:gd name="connsiteY27480" fmla="*/ 2910537 h 5973007"/>
              <a:gd name="connsiteX27481" fmla="*/ 6373994 w 6884782"/>
              <a:gd name="connsiteY27481" fmla="*/ 2915089 h 5973007"/>
              <a:gd name="connsiteX27482" fmla="*/ 6381891 w 6884782"/>
              <a:gd name="connsiteY27482" fmla="*/ 2921918 h 5973007"/>
              <a:gd name="connsiteX27483" fmla="*/ 6378689 w 6884782"/>
              <a:gd name="connsiteY27483" fmla="*/ 2922629 h 5973007"/>
              <a:gd name="connsiteX27484" fmla="*/ 6382531 w 6884782"/>
              <a:gd name="connsiteY27484" fmla="*/ 2938279 h 5973007"/>
              <a:gd name="connsiteX27485" fmla="*/ 6381037 w 6884782"/>
              <a:gd name="connsiteY27485" fmla="*/ 2930027 h 5973007"/>
              <a:gd name="connsiteX27486" fmla="*/ 6373994 w 6884782"/>
              <a:gd name="connsiteY27486" fmla="*/ 2927893 h 5973007"/>
              <a:gd name="connsiteX27487" fmla="*/ 6379143 w 6884782"/>
              <a:gd name="connsiteY27487" fmla="*/ 2936162 h 5973007"/>
              <a:gd name="connsiteX27488" fmla="*/ 6379972 w 6884782"/>
              <a:gd name="connsiteY27488" fmla="*/ 2940361 h 5973007"/>
              <a:gd name="connsiteX27489" fmla="*/ 6380672 w 6884782"/>
              <a:gd name="connsiteY27489" fmla="*/ 2941758 h 5973007"/>
              <a:gd name="connsiteX27490" fmla="*/ 6380274 w 6884782"/>
              <a:gd name="connsiteY27490" fmla="*/ 2941895 h 5973007"/>
              <a:gd name="connsiteX27491" fmla="*/ 6381654 w 6884782"/>
              <a:gd name="connsiteY27491" fmla="*/ 2948886 h 5973007"/>
              <a:gd name="connsiteX27492" fmla="*/ 6382298 w 6884782"/>
              <a:gd name="connsiteY27492" fmla="*/ 2945449 h 5973007"/>
              <a:gd name="connsiteX27493" fmla="*/ 6385242 w 6884782"/>
              <a:gd name="connsiteY27493" fmla="*/ 2933781 h 5973007"/>
              <a:gd name="connsiteX27494" fmla="*/ 6390051 w 6884782"/>
              <a:gd name="connsiteY27494" fmla="*/ 2915461 h 5973007"/>
              <a:gd name="connsiteX27495" fmla="*/ 6388720 w 6884782"/>
              <a:gd name="connsiteY27495" fmla="*/ 2911248 h 5973007"/>
              <a:gd name="connsiteX27496" fmla="*/ 6386586 w 6884782"/>
              <a:gd name="connsiteY27496" fmla="*/ 2911959 h 5973007"/>
              <a:gd name="connsiteX27497" fmla="*/ 6377623 w 6884782"/>
              <a:gd name="connsiteY27497" fmla="*/ 2913097 h 5973007"/>
              <a:gd name="connsiteX27498" fmla="*/ 313796 w 6884782"/>
              <a:gd name="connsiteY27498" fmla="*/ 2908975 h 5973007"/>
              <a:gd name="connsiteX27499" fmla="*/ 312454 w 6884782"/>
              <a:gd name="connsiteY27499" fmla="*/ 2921521 h 5973007"/>
              <a:gd name="connsiteX27500" fmla="*/ 306155 w 6884782"/>
              <a:gd name="connsiteY27500" fmla="*/ 2915790 h 5973007"/>
              <a:gd name="connsiteX27501" fmla="*/ 308736 w 6884782"/>
              <a:gd name="connsiteY27501" fmla="*/ 2909594 h 5973007"/>
              <a:gd name="connsiteX27502" fmla="*/ 313796 w 6884782"/>
              <a:gd name="connsiteY27502" fmla="*/ 2908975 h 5973007"/>
              <a:gd name="connsiteX27503" fmla="*/ 6366525 w 6884782"/>
              <a:gd name="connsiteY27503" fmla="*/ 2906838 h 5973007"/>
              <a:gd name="connsiteX27504" fmla="*/ 6366952 w 6884782"/>
              <a:gd name="connsiteY27504" fmla="*/ 2908403 h 5973007"/>
              <a:gd name="connsiteX27505" fmla="*/ 6369086 w 6884782"/>
              <a:gd name="connsiteY27505" fmla="*/ 2910537 h 5973007"/>
              <a:gd name="connsiteX27506" fmla="*/ 231914 w 6884782"/>
              <a:gd name="connsiteY27506" fmla="*/ 2901540 h 5973007"/>
              <a:gd name="connsiteX27507" fmla="*/ 232843 w 6884782"/>
              <a:gd name="connsiteY27507" fmla="*/ 2901540 h 5973007"/>
              <a:gd name="connsiteX27508" fmla="*/ 233669 w 6884782"/>
              <a:gd name="connsiteY27508" fmla="*/ 2906496 h 5973007"/>
              <a:gd name="connsiteX27509" fmla="*/ 233566 w 6884782"/>
              <a:gd name="connsiteY27509" fmla="*/ 2910679 h 5973007"/>
              <a:gd name="connsiteX27510" fmla="*/ 229849 w 6884782"/>
              <a:gd name="connsiteY27510" fmla="*/ 2923535 h 5973007"/>
              <a:gd name="connsiteX27511" fmla="*/ 228919 w 6884782"/>
              <a:gd name="connsiteY27511" fmla="*/ 2917649 h 5973007"/>
              <a:gd name="connsiteX27512" fmla="*/ 229332 w 6884782"/>
              <a:gd name="connsiteY27512" fmla="*/ 2904483 h 5973007"/>
              <a:gd name="connsiteX27513" fmla="*/ 231088 w 6884782"/>
              <a:gd name="connsiteY27513" fmla="*/ 2902934 h 5973007"/>
              <a:gd name="connsiteX27514" fmla="*/ 231088 w 6884782"/>
              <a:gd name="connsiteY27514" fmla="*/ 2902159 h 5973007"/>
              <a:gd name="connsiteX27515" fmla="*/ 231914 w 6884782"/>
              <a:gd name="connsiteY27515" fmla="*/ 2901540 h 5973007"/>
              <a:gd name="connsiteX27516" fmla="*/ 473740 w 6884782"/>
              <a:gd name="connsiteY27516" fmla="*/ 2899526 h 5973007"/>
              <a:gd name="connsiteX27517" fmla="*/ 475082 w 6884782"/>
              <a:gd name="connsiteY27517" fmla="*/ 2901230 h 5973007"/>
              <a:gd name="connsiteX27518" fmla="*/ 475908 w 6884782"/>
              <a:gd name="connsiteY27518" fmla="*/ 2901075 h 5973007"/>
              <a:gd name="connsiteX27519" fmla="*/ 478696 w 6884782"/>
              <a:gd name="connsiteY27519" fmla="*/ 2901230 h 5973007"/>
              <a:gd name="connsiteX27520" fmla="*/ 478902 w 6884782"/>
              <a:gd name="connsiteY27520" fmla="*/ 2900920 h 5973007"/>
              <a:gd name="connsiteX27521" fmla="*/ 487576 w 6884782"/>
              <a:gd name="connsiteY27521" fmla="*/ 2900610 h 5973007"/>
              <a:gd name="connsiteX27522" fmla="*/ 489745 w 6884782"/>
              <a:gd name="connsiteY27522" fmla="*/ 2909749 h 5973007"/>
              <a:gd name="connsiteX27523" fmla="*/ 486957 w 6884782"/>
              <a:gd name="connsiteY27523" fmla="*/ 2914086 h 5973007"/>
              <a:gd name="connsiteX27524" fmla="*/ 484582 w 6884782"/>
              <a:gd name="connsiteY27524" fmla="*/ 2914706 h 5973007"/>
              <a:gd name="connsiteX27525" fmla="*/ 482723 w 6884782"/>
              <a:gd name="connsiteY27525" fmla="*/ 2919508 h 5973007"/>
              <a:gd name="connsiteX27526" fmla="*/ 477560 w 6884782"/>
              <a:gd name="connsiteY27526" fmla="*/ 2921831 h 5973007"/>
              <a:gd name="connsiteX27527" fmla="*/ 476631 w 6884782"/>
              <a:gd name="connsiteY27527" fmla="*/ 2919508 h 5973007"/>
              <a:gd name="connsiteX27528" fmla="*/ 478696 w 6884782"/>
              <a:gd name="connsiteY27528" fmla="*/ 2914551 h 5973007"/>
              <a:gd name="connsiteX27529" fmla="*/ 476631 w 6884782"/>
              <a:gd name="connsiteY27529" fmla="*/ 2913776 h 5973007"/>
              <a:gd name="connsiteX27530" fmla="*/ 474463 w 6884782"/>
              <a:gd name="connsiteY27530" fmla="*/ 2910679 h 5973007"/>
              <a:gd name="connsiteX27531" fmla="*/ 474463 w 6884782"/>
              <a:gd name="connsiteY27531" fmla="*/ 2909439 h 5973007"/>
              <a:gd name="connsiteX27532" fmla="*/ 473430 w 6884782"/>
              <a:gd name="connsiteY27532" fmla="*/ 2909594 h 5973007"/>
              <a:gd name="connsiteX27533" fmla="*/ 472088 w 6884782"/>
              <a:gd name="connsiteY27533" fmla="*/ 2907116 h 5973007"/>
              <a:gd name="connsiteX27534" fmla="*/ 470435 w 6884782"/>
              <a:gd name="connsiteY27534" fmla="*/ 2906032 h 5973007"/>
              <a:gd name="connsiteX27535" fmla="*/ 470126 w 6884782"/>
              <a:gd name="connsiteY27535" fmla="*/ 2903399 h 5973007"/>
              <a:gd name="connsiteX27536" fmla="*/ 472191 w 6884782"/>
              <a:gd name="connsiteY27536" fmla="*/ 2902004 h 5973007"/>
              <a:gd name="connsiteX27537" fmla="*/ 472707 w 6884782"/>
              <a:gd name="connsiteY27537" fmla="*/ 2901849 h 5973007"/>
              <a:gd name="connsiteX27538" fmla="*/ 471985 w 6884782"/>
              <a:gd name="connsiteY27538" fmla="*/ 2900455 h 5973007"/>
              <a:gd name="connsiteX27539" fmla="*/ 473740 w 6884782"/>
              <a:gd name="connsiteY27539" fmla="*/ 2899526 h 5973007"/>
              <a:gd name="connsiteX27540" fmla="*/ 636988 w 6884782"/>
              <a:gd name="connsiteY27540" fmla="*/ 2898906 h 5973007"/>
              <a:gd name="connsiteX27541" fmla="*/ 635232 w 6884782"/>
              <a:gd name="connsiteY27541" fmla="*/ 2902469 h 5973007"/>
              <a:gd name="connsiteX27542" fmla="*/ 633477 w 6884782"/>
              <a:gd name="connsiteY27542" fmla="*/ 2903399 h 5973007"/>
              <a:gd name="connsiteX27543" fmla="*/ 639053 w 6884782"/>
              <a:gd name="connsiteY27543" fmla="*/ 2904328 h 5973007"/>
              <a:gd name="connsiteX27544" fmla="*/ 637814 w 6884782"/>
              <a:gd name="connsiteY27544" fmla="*/ 2903244 h 5973007"/>
              <a:gd name="connsiteX27545" fmla="*/ 638950 w 6884782"/>
              <a:gd name="connsiteY27545" fmla="*/ 2901075 h 5973007"/>
              <a:gd name="connsiteX27546" fmla="*/ 640086 w 6884782"/>
              <a:gd name="connsiteY27546" fmla="*/ 2900301 h 5973007"/>
              <a:gd name="connsiteX27547" fmla="*/ 637917 w 6884782"/>
              <a:gd name="connsiteY27547" fmla="*/ 2899526 h 5973007"/>
              <a:gd name="connsiteX27548" fmla="*/ 679426 w 6884782"/>
              <a:gd name="connsiteY27548" fmla="*/ 2898751 h 5973007"/>
              <a:gd name="connsiteX27549" fmla="*/ 682524 w 6884782"/>
              <a:gd name="connsiteY27549" fmla="*/ 2904173 h 5973007"/>
              <a:gd name="connsiteX27550" fmla="*/ 675709 w 6884782"/>
              <a:gd name="connsiteY27550" fmla="*/ 2903244 h 5973007"/>
              <a:gd name="connsiteX27551" fmla="*/ 679426 w 6884782"/>
              <a:gd name="connsiteY27551" fmla="*/ 2898751 h 5973007"/>
              <a:gd name="connsiteX27552" fmla="*/ 6528482 w 6884782"/>
              <a:gd name="connsiteY27552" fmla="*/ 2885548 h 5973007"/>
              <a:gd name="connsiteX27553" fmla="*/ 6534716 w 6884782"/>
              <a:gd name="connsiteY27553" fmla="*/ 2888865 h 5973007"/>
              <a:gd name="connsiteX27554" fmla="*/ 6529760 w 6884782"/>
              <a:gd name="connsiteY27554" fmla="*/ 2904043 h 5973007"/>
              <a:gd name="connsiteX27555" fmla="*/ 6526971 w 6884782"/>
              <a:gd name="connsiteY27555" fmla="*/ 2903630 h 5973007"/>
              <a:gd name="connsiteX27556" fmla="*/ 6516903 w 6884782"/>
              <a:gd name="connsiteY27556" fmla="*/ 2895163 h 5973007"/>
              <a:gd name="connsiteX27557" fmla="*/ 6528482 w 6884782"/>
              <a:gd name="connsiteY27557" fmla="*/ 2885548 h 5973007"/>
              <a:gd name="connsiteX27558" fmla="*/ 696464 w 6884782"/>
              <a:gd name="connsiteY27558" fmla="*/ 2885430 h 5973007"/>
              <a:gd name="connsiteX27559" fmla="*/ 702349 w 6884782"/>
              <a:gd name="connsiteY27559" fmla="*/ 2885585 h 5973007"/>
              <a:gd name="connsiteX27560" fmla="*/ 710816 w 6884782"/>
              <a:gd name="connsiteY27560" fmla="*/ 2898906 h 5973007"/>
              <a:gd name="connsiteX27561" fmla="*/ 710093 w 6884782"/>
              <a:gd name="connsiteY27561" fmla="*/ 2901075 h 5973007"/>
              <a:gd name="connsiteX27562" fmla="*/ 709990 w 6884782"/>
              <a:gd name="connsiteY27562" fmla="*/ 2904792 h 5973007"/>
              <a:gd name="connsiteX27563" fmla="*/ 698632 w 6884782"/>
              <a:gd name="connsiteY27563" fmla="*/ 2904483 h 5973007"/>
              <a:gd name="connsiteX27564" fmla="*/ 689545 w 6884782"/>
              <a:gd name="connsiteY27564" fmla="*/ 2895499 h 5973007"/>
              <a:gd name="connsiteX27565" fmla="*/ 689752 w 6884782"/>
              <a:gd name="connsiteY27565" fmla="*/ 2892246 h 5973007"/>
              <a:gd name="connsiteX27566" fmla="*/ 696464 w 6884782"/>
              <a:gd name="connsiteY27566" fmla="*/ 2885430 h 5973007"/>
              <a:gd name="connsiteX27567" fmla="*/ 418807 w 6884782"/>
              <a:gd name="connsiteY27567" fmla="*/ 2885430 h 5973007"/>
              <a:gd name="connsiteX27568" fmla="*/ 457735 w 6884782"/>
              <a:gd name="connsiteY27568" fmla="*/ 2921831 h 5973007"/>
              <a:gd name="connsiteX27569" fmla="*/ 418807 w 6884782"/>
              <a:gd name="connsiteY27569" fmla="*/ 2885430 h 5973007"/>
              <a:gd name="connsiteX27570" fmla="*/ 631722 w 6884782"/>
              <a:gd name="connsiteY27570" fmla="*/ 2882178 h 5973007"/>
              <a:gd name="connsiteX27571" fmla="*/ 659601 w 6884782"/>
              <a:gd name="connsiteY27571" fmla="*/ 2907735 h 5973007"/>
              <a:gd name="connsiteX27572" fmla="*/ 645868 w 6884782"/>
              <a:gd name="connsiteY27572" fmla="*/ 2902624 h 5973007"/>
              <a:gd name="connsiteX27573" fmla="*/ 644835 w 6884782"/>
              <a:gd name="connsiteY27573" fmla="*/ 2905722 h 5973007"/>
              <a:gd name="connsiteX27574" fmla="*/ 643906 w 6884782"/>
              <a:gd name="connsiteY27574" fmla="*/ 2905722 h 5973007"/>
              <a:gd name="connsiteX27575" fmla="*/ 645764 w 6884782"/>
              <a:gd name="connsiteY27575" fmla="*/ 2907116 h 5973007"/>
              <a:gd name="connsiteX27576" fmla="*/ 646900 w 6884782"/>
              <a:gd name="connsiteY27576" fmla="*/ 2911298 h 5973007"/>
              <a:gd name="connsiteX27577" fmla="*/ 646281 w 6884782"/>
              <a:gd name="connsiteY27577" fmla="*/ 2911608 h 5973007"/>
              <a:gd name="connsiteX27578" fmla="*/ 646797 w 6884782"/>
              <a:gd name="connsiteY27578" fmla="*/ 2911763 h 5973007"/>
              <a:gd name="connsiteX27579" fmla="*/ 646797 w 6884782"/>
              <a:gd name="connsiteY27579" fmla="*/ 2912072 h 5973007"/>
              <a:gd name="connsiteX27580" fmla="*/ 648862 w 6884782"/>
              <a:gd name="connsiteY27580" fmla="*/ 2912072 h 5973007"/>
              <a:gd name="connsiteX27581" fmla="*/ 658982 w 6884782"/>
              <a:gd name="connsiteY27581" fmla="*/ 2919043 h 5973007"/>
              <a:gd name="connsiteX27582" fmla="*/ 657742 w 6884782"/>
              <a:gd name="connsiteY27582" fmla="*/ 2921986 h 5973007"/>
              <a:gd name="connsiteX27583" fmla="*/ 658052 w 6884782"/>
              <a:gd name="connsiteY27583" fmla="*/ 2921831 h 5973007"/>
              <a:gd name="connsiteX27584" fmla="*/ 657639 w 6884782"/>
              <a:gd name="connsiteY27584" fmla="*/ 2922605 h 5973007"/>
              <a:gd name="connsiteX27585" fmla="*/ 657432 w 6884782"/>
              <a:gd name="connsiteY27585" fmla="*/ 2922605 h 5973007"/>
              <a:gd name="connsiteX27586" fmla="*/ 657949 w 6884782"/>
              <a:gd name="connsiteY27586" fmla="*/ 2923690 h 5973007"/>
              <a:gd name="connsiteX27587" fmla="*/ 656297 w 6884782"/>
              <a:gd name="connsiteY27587" fmla="*/ 2925084 h 5973007"/>
              <a:gd name="connsiteX27588" fmla="*/ 655574 w 6884782"/>
              <a:gd name="connsiteY27588" fmla="*/ 2926633 h 5973007"/>
              <a:gd name="connsiteX27589" fmla="*/ 636575 w 6884782"/>
              <a:gd name="connsiteY27589" fmla="*/ 2934223 h 5973007"/>
              <a:gd name="connsiteX27590" fmla="*/ 630380 w 6884782"/>
              <a:gd name="connsiteY27590" fmla="*/ 2922296 h 5973007"/>
              <a:gd name="connsiteX27591" fmla="*/ 633477 w 6884782"/>
              <a:gd name="connsiteY27591" fmla="*/ 2916410 h 5973007"/>
              <a:gd name="connsiteX27592" fmla="*/ 634923 w 6884782"/>
              <a:gd name="connsiteY27592" fmla="*/ 2915325 h 5973007"/>
              <a:gd name="connsiteX27593" fmla="*/ 634406 w 6884782"/>
              <a:gd name="connsiteY27593" fmla="*/ 2911453 h 5973007"/>
              <a:gd name="connsiteX27594" fmla="*/ 635232 w 6884782"/>
              <a:gd name="connsiteY27594" fmla="*/ 2911143 h 5973007"/>
              <a:gd name="connsiteX27595" fmla="*/ 633787 w 6884782"/>
              <a:gd name="connsiteY27595" fmla="*/ 2909749 h 5973007"/>
              <a:gd name="connsiteX27596" fmla="*/ 632961 w 6884782"/>
              <a:gd name="connsiteY27596" fmla="*/ 2903709 h 5973007"/>
              <a:gd name="connsiteX27597" fmla="*/ 632548 w 6884782"/>
              <a:gd name="connsiteY27597" fmla="*/ 2904018 h 5973007"/>
              <a:gd name="connsiteX27598" fmla="*/ 629967 w 6884782"/>
              <a:gd name="connsiteY27598" fmla="*/ 2904328 h 5973007"/>
              <a:gd name="connsiteX27599" fmla="*/ 629244 w 6884782"/>
              <a:gd name="connsiteY27599" fmla="*/ 2901849 h 5973007"/>
              <a:gd name="connsiteX27600" fmla="*/ 632031 w 6884782"/>
              <a:gd name="connsiteY27600" fmla="*/ 2896738 h 5973007"/>
              <a:gd name="connsiteX27601" fmla="*/ 632754 w 6884782"/>
              <a:gd name="connsiteY27601" fmla="*/ 2896118 h 5973007"/>
              <a:gd name="connsiteX27602" fmla="*/ 627695 w 6884782"/>
              <a:gd name="connsiteY27602" fmla="*/ 2892866 h 5973007"/>
              <a:gd name="connsiteX27603" fmla="*/ 624391 w 6884782"/>
              <a:gd name="connsiteY27603" fmla="*/ 2889458 h 5973007"/>
              <a:gd name="connsiteX27604" fmla="*/ 620054 w 6884782"/>
              <a:gd name="connsiteY27604" fmla="*/ 2888219 h 5973007"/>
              <a:gd name="connsiteX27605" fmla="*/ 622532 w 6884782"/>
              <a:gd name="connsiteY27605" fmla="*/ 2887289 h 5973007"/>
              <a:gd name="connsiteX27606" fmla="*/ 618402 w 6884782"/>
              <a:gd name="connsiteY27606" fmla="*/ 2882952 h 5973007"/>
              <a:gd name="connsiteX27607" fmla="*/ 631722 w 6884782"/>
              <a:gd name="connsiteY27607" fmla="*/ 2882178 h 5973007"/>
              <a:gd name="connsiteX27608" fmla="*/ 473533 w 6884782"/>
              <a:gd name="connsiteY27608" fmla="*/ 2881403 h 5973007"/>
              <a:gd name="connsiteX27609" fmla="*/ 469093 w 6884782"/>
              <a:gd name="connsiteY27609" fmla="*/ 2893485 h 5973007"/>
              <a:gd name="connsiteX27610" fmla="*/ 468784 w 6884782"/>
              <a:gd name="connsiteY27610" fmla="*/ 2891007 h 5973007"/>
              <a:gd name="connsiteX27611" fmla="*/ 473533 w 6884782"/>
              <a:gd name="connsiteY27611" fmla="*/ 2881403 h 5973007"/>
              <a:gd name="connsiteX27612" fmla="*/ 445241 w 6884782"/>
              <a:gd name="connsiteY27612" fmla="*/ 2881403 h 5973007"/>
              <a:gd name="connsiteX27613" fmla="*/ 443073 w 6884782"/>
              <a:gd name="connsiteY27613" fmla="*/ 2891162 h 5973007"/>
              <a:gd name="connsiteX27614" fmla="*/ 435535 w 6884782"/>
              <a:gd name="connsiteY27614" fmla="*/ 2888838 h 5973007"/>
              <a:gd name="connsiteX27615" fmla="*/ 435948 w 6884782"/>
              <a:gd name="connsiteY27615" fmla="*/ 2882333 h 5973007"/>
              <a:gd name="connsiteX27616" fmla="*/ 445241 w 6884782"/>
              <a:gd name="connsiteY27616" fmla="*/ 2881403 h 5973007"/>
              <a:gd name="connsiteX27617" fmla="*/ 641221 w 6884782"/>
              <a:gd name="connsiteY27617" fmla="*/ 2881093 h 5973007"/>
              <a:gd name="connsiteX27618" fmla="*/ 658156 w 6884782"/>
              <a:gd name="connsiteY27618" fmla="*/ 2888993 h 5973007"/>
              <a:gd name="connsiteX27619" fmla="*/ 641221 w 6884782"/>
              <a:gd name="connsiteY27619" fmla="*/ 2881093 h 5973007"/>
              <a:gd name="connsiteX27620" fmla="*/ 561714 w 6884782"/>
              <a:gd name="connsiteY27620" fmla="*/ 2880319 h 5973007"/>
              <a:gd name="connsiteX27621" fmla="*/ 566670 w 6884782"/>
              <a:gd name="connsiteY27621" fmla="*/ 2882487 h 5973007"/>
              <a:gd name="connsiteX27622" fmla="*/ 562850 w 6884782"/>
              <a:gd name="connsiteY27622" fmla="*/ 2891626 h 5973007"/>
              <a:gd name="connsiteX27623" fmla="*/ 558513 w 6884782"/>
              <a:gd name="connsiteY27623" fmla="*/ 2886979 h 5973007"/>
              <a:gd name="connsiteX27624" fmla="*/ 558513 w 6884782"/>
              <a:gd name="connsiteY27624" fmla="*/ 2886205 h 5973007"/>
              <a:gd name="connsiteX27625" fmla="*/ 559029 w 6884782"/>
              <a:gd name="connsiteY27625" fmla="*/ 2884347 h 5973007"/>
              <a:gd name="connsiteX27626" fmla="*/ 562437 w 6884782"/>
              <a:gd name="connsiteY27626" fmla="*/ 2880783 h 5973007"/>
              <a:gd name="connsiteX27627" fmla="*/ 561714 w 6884782"/>
              <a:gd name="connsiteY27627" fmla="*/ 2880319 h 5973007"/>
              <a:gd name="connsiteX27628" fmla="*/ 399602 w 6884782"/>
              <a:gd name="connsiteY27628" fmla="*/ 2878305 h 5973007"/>
              <a:gd name="connsiteX27629" fmla="*/ 413748 w 6884782"/>
              <a:gd name="connsiteY27629" fmla="*/ 2899990 h 5973007"/>
              <a:gd name="connsiteX27630" fmla="*/ 399602 w 6884782"/>
              <a:gd name="connsiteY27630" fmla="*/ 2878305 h 5973007"/>
              <a:gd name="connsiteX27631" fmla="*/ 738592 w 6884782"/>
              <a:gd name="connsiteY27631" fmla="*/ 2878150 h 5973007"/>
              <a:gd name="connsiteX27632" fmla="*/ 741380 w 6884782"/>
              <a:gd name="connsiteY27632" fmla="*/ 2878305 h 5973007"/>
              <a:gd name="connsiteX27633" fmla="*/ 741173 w 6884782"/>
              <a:gd name="connsiteY27633" fmla="*/ 2882952 h 5973007"/>
              <a:gd name="connsiteX27634" fmla="*/ 737353 w 6884782"/>
              <a:gd name="connsiteY27634" fmla="*/ 2881558 h 5973007"/>
              <a:gd name="connsiteX27635" fmla="*/ 738592 w 6884782"/>
              <a:gd name="connsiteY27635" fmla="*/ 2878150 h 5973007"/>
              <a:gd name="connsiteX27636" fmla="*/ 499451 w 6884782"/>
              <a:gd name="connsiteY27636" fmla="*/ 2876756 h 5973007"/>
              <a:gd name="connsiteX27637" fmla="*/ 501103 w 6884782"/>
              <a:gd name="connsiteY27637" fmla="*/ 2880938 h 5973007"/>
              <a:gd name="connsiteX27638" fmla="*/ 499347 w 6884782"/>
              <a:gd name="connsiteY27638" fmla="*/ 2882797 h 5973007"/>
              <a:gd name="connsiteX27639" fmla="*/ 497179 w 6884782"/>
              <a:gd name="connsiteY27639" fmla="*/ 2880938 h 5973007"/>
              <a:gd name="connsiteX27640" fmla="*/ 496456 w 6884782"/>
              <a:gd name="connsiteY27640" fmla="*/ 2878305 h 5973007"/>
              <a:gd name="connsiteX27641" fmla="*/ 497489 w 6884782"/>
              <a:gd name="connsiteY27641" fmla="*/ 2877531 h 5973007"/>
              <a:gd name="connsiteX27642" fmla="*/ 499451 w 6884782"/>
              <a:gd name="connsiteY27642" fmla="*/ 2876756 h 5973007"/>
              <a:gd name="connsiteX27643" fmla="*/ 870140 w 6884782"/>
              <a:gd name="connsiteY27643" fmla="*/ 2875517 h 5973007"/>
              <a:gd name="connsiteX27644" fmla="*/ 869830 w 6884782"/>
              <a:gd name="connsiteY27644" fmla="*/ 2877840 h 5973007"/>
              <a:gd name="connsiteX27645" fmla="*/ 869830 w 6884782"/>
              <a:gd name="connsiteY27645" fmla="*/ 2877995 h 5973007"/>
              <a:gd name="connsiteX27646" fmla="*/ 870347 w 6884782"/>
              <a:gd name="connsiteY27646" fmla="*/ 2877221 h 5973007"/>
              <a:gd name="connsiteX27647" fmla="*/ 539617 w 6884782"/>
              <a:gd name="connsiteY27647" fmla="*/ 2875362 h 5973007"/>
              <a:gd name="connsiteX27648" fmla="*/ 539617 w 6884782"/>
              <a:gd name="connsiteY27648" fmla="*/ 2875982 h 5973007"/>
              <a:gd name="connsiteX27649" fmla="*/ 539824 w 6884782"/>
              <a:gd name="connsiteY27649" fmla="*/ 2875982 h 5973007"/>
              <a:gd name="connsiteX27650" fmla="*/ 597234 w 6884782"/>
              <a:gd name="connsiteY27650" fmla="*/ 2871800 h 5973007"/>
              <a:gd name="connsiteX27651" fmla="*/ 606321 w 6884782"/>
              <a:gd name="connsiteY27651" fmla="*/ 2878925 h 5973007"/>
              <a:gd name="connsiteX27652" fmla="*/ 608592 w 6884782"/>
              <a:gd name="connsiteY27652" fmla="*/ 2890077 h 5973007"/>
              <a:gd name="connsiteX27653" fmla="*/ 611174 w 6884782"/>
              <a:gd name="connsiteY27653" fmla="*/ 2890077 h 5973007"/>
              <a:gd name="connsiteX27654" fmla="*/ 611794 w 6884782"/>
              <a:gd name="connsiteY27654" fmla="*/ 2893795 h 5973007"/>
              <a:gd name="connsiteX27655" fmla="*/ 610555 w 6884782"/>
              <a:gd name="connsiteY27655" fmla="*/ 2895499 h 5973007"/>
              <a:gd name="connsiteX27656" fmla="*/ 615717 w 6884782"/>
              <a:gd name="connsiteY27656" fmla="*/ 2895963 h 5973007"/>
              <a:gd name="connsiteX27657" fmla="*/ 609935 w 6884782"/>
              <a:gd name="connsiteY27657" fmla="*/ 2901230 h 5973007"/>
              <a:gd name="connsiteX27658" fmla="*/ 609419 w 6884782"/>
              <a:gd name="connsiteY27658" fmla="*/ 2903553 h 5973007"/>
              <a:gd name="connsiteX27659" fmla="*/ 613755 w 6884782"/>
              <a:gd name="connsiteY27659" fmla="*/ 2909904 h 5973007"/>
              <a:gd name="connsiteX27660" fmla="*/ 613858 w 6884782"/>
              <a:gd name="connsiteY27660" fmla="*/ 2909130 h 5973007"/>
              <a:gd name="connsiteX27661" fmla="*/ 617266 w 6884782"/>
              <a:gd name="connsiteY27661" fmla="*/ 2906806 h 5973007"/>
              <a:gd name="connsiteX27662" fmla="*/ 625423 w 6884782"/>
              <a:gd name="connsiteY27662" fmla="*/ 2907891 h 5973007"/>
              <a:gd name="connsiteX27663" fmla="*/ 622635 w 6884782"/>
              <a:gd name="connsiteY27663" fmla="*/ 2919198 h 5973007"/>
              <a:gd name="connsiteX27664" fmla="*/ 615924 w 6884782"/>
              <a:gd name="connsiteY27664" fmla="*/ 2916410 h 5973007"/>
              <a:gd name="connsiteX27665" fmla="*/ 613858 w 6884782"/>
              <a:gd name="connsiteY27665" fmla="*/ 2913622 h 5973007"/>
              <a:gd name="connsiteX27666" fmla="*/ 611277 w 6884782"/>
              <a:gd name="connsiteY27666" fmla="*/ 2917649 h 5973007"/>
              <a:gd name="connsiteX27667" fmla="*/ 610141 w 6884782"/>
              <a:gd name="connsiteY27667" fmla="*/ 2918268 h 5973007"/>
              <a:gd name="connsiteX27668" fmla="*/ 611277 w 6884782"/>
              <a:gd name="connsiteY27668" fmla="*/ 2918733 h 5973007"/>
              <a:gd name="connsiteX27669" fmla="*/ 618712 w 6884782"/>
              <a:gd name="connsiteY27669" fmla="*/ 2931280 h 5973007"/>
              <a:gd name="connsiteX27670" fmla="*/ 616233 w 6884782"/>
              <a:gd name="connsiteY27670" fmla="*/ 2932983 h 5973007"/>
              <a:gd name="connsiteX27671" fmla="*/ 616750 w 6884782"/>
              <a:gd name="connsiteY27671" fmla="*/ 2933913 h 5973007"/>
              <a:gd name="connsiteX27672" fmla="*/ 617886 w 6884782"/>
              <a:gd name="connsiteY27672" fmla="*/ 2937630 h 5973007"/>
              <a:gd name="connsiteX27673" fmla="*/ 618402 w 6884782"/>
              <a:gd name="connsiteY27673" fmla="*/ 2937321 h 5973007"/>
              <a:gd name="connsiteX27674" fmla="*/ 620777 w 6884782"/>
              <a:gd name="connsiteY27674" fmla="*/ 2938250 h 5973007"/>
              <a:gd name="connsiteX27675" fmla="*/ 622119 w 6884782"/>
              <a:gd name="connsiteY27675" fmla="*/ 2944911 h 5973007"/>
              <a:gd name="connsiteX27676" fmla="*/ 623668 w 6884782"/>
              <a:gd name="connsiteY27676" fmla="*/ 2949093 h 5973007"/>
              <a:gd name="connsiteX27677" fmla="*/ 620467 w 6884782"/>
              <a:gd name="connsiteY27677" fmla="*/ 2944136 h 5973007"/>
              <a:gd name="connsiteX27678" fmla="*/ 617989 w 6884782"/>
              <a:gd name="connsiteY27678" fmla="*/ 2943362 h 5973007"/>
              <a:gd name="connsiteX27679" fmla="*/ 617266 w 6884782"/>
              <a:gd name="connsiteY27679" fmla="*/ 2941813 h 5973007"/>
              <a:gd name="connsiteX27680" fmla="*/ 616130 w 6884782"/>
              <a:gd name="connsiteY27680" fmla="*/ 2942123 h 5973007"/>
              <a:gd name="connsiteX27681" fmla="*/ 613858 w 6884782"/>
              <a:gd name="connsiteY27681" fmla="*/ 2943362 h 5973007"/>
              <a:gd name="connsiteX27682" fmla="*/ 611690 w 6884782"/>
              <a:gd name="connsiteY27682" fmla="*/ 2937166 h 5973007"/>
              <a:gd name="connsiteX27683" fmla="*/ 611277 w 6884782"/>
              <a:gd name="connsiteY27683" fmla="*/ 2934533 h 5973007"/>
              <a:gd name="connsiteX27684" fmla="*/ 610967 w 6884782"/>
              <a:gd name="connsiteY27684" fmla="*/ 2934533 h 5973007"/>
              <a:gd name="connsiteX27685" fmla="*/ 606321 w 6884782"/>
              <a:gd name="connsiteY27685" fmla="*/ 2932054 h 5973007"/>
              <a:gd name="connsiteX27686" fmla="*/ 605495 w 6884782"/>
              <a:gd name="connsiteY27686" fmla="*/ 2930660 h 5973007"/>
              <a:gd name="connsiteX27687" fmla="*/ 595376 w 6884782"/>
              <a:gd name="connsiteY27687" fmla="*/ 2928956 h 5973007"/>
              <a:gd name="connsiteX27688" fmla="*/ 597441 w 6884782"/>
              <a:gd name="connsiteY27688" fmla="*/ 2921521 h 5973007"/>
              <a:gd name="connsiteX27689" fmla="*/ 603429 w 6884782"/>
              <a:gd name="connsiteY27689" fmla="*/ 2921676 h 5973007"/>
              <a:gd name="connsiteX27690" fmla="*/ 604462 w 6884782"/>
              <a:gd name="connsiteY27690" fmla="*/ 2920282 h 5973007"/>
              <a:gd name="connsiteX27691" fmla="*/ 599919 w 6884782"/>
              <a:gd name="connsiteY27691" fmla="*/ 2920127 h 5973007"/>
              <a:gd name="connsiteX27692" fmla="*/ 593311 w 6884782"/>
              <a:gd name="connsiteY27692" fmla="*/ 2917649 h 5973007"/>
              <a:gd name="connsiteX27693" fmla="*/ 571936 w 6884782"/>
              <a:gd name="connsiteY27693" fmla="*/ 2888373 h 5973007"/>
              <a:gd name="connsiteX27694" fmla="*/ 576170 w 6884782"/>
              <a:gd name="connsiteY27694" fmla="*/ 2879234 h 5973007"/>
              <a:gd name="connsiteX27695" fmla="*/ 586909 w 6884782"/>
              <a:gd name="connsiteY27695" fmla="*/ 2883726 h 5973007"/>
              <a:gd name="connsiteX27696" fmla="*/ 596924 w 6884782"/>
              <a:gd name="connsiteY27696" fmla="*/ 2890232 h 5973007"/>
              <a:gd name="connsiteX27697" fmla="*/ 596098 w 6884782"/>
              <a:gd name="connsiteY27697" fmla="*/ 2887134 h 5973007"/>
              <a:gd name="connsiteX27698" fmla="*/ 595892 w 6884782"/>
              <a:gd name="connsiteY27698" fmla="*/ 2881868 h 5973007"/>
              <a:gd name="connsiteX27699" fmla="*/ 601364 w 6884782"/>
              <a:gd name="connsiteY27699" fmla="*/ 2886050 h 5973007"/>
              <a:gd name="connsiteX27700" fmla="*/ 604359 w 6884782"/>
              <a:gd name="connsiteY27700" fmla="*/ 2890697 h 5973007"/>
              <a:gd name="connsiteX27701" fmla="*/ 606940 w 6884782"/>
              <a:gd name="connsiteY27701" fmla="*/ 2890232 h 5973007"/>
              <a:gd name="connsiteX27702" fmla="*/ 603223 w 6884782"/>
              <a:gd name="connsiteY27702" fmla="*/ 2887754 h 5973007"/>
              <a:gd name="connsiteX27703" fmla="*/ 597234 w 6884782"/>
              <a:gd name="connsiteY27703" fmla="*/ 2871800 h 5973007"/>
              <a:gd name="connsiteX27704" fmla="*/ 6489028 w 6884782"/>
              <a:gd name="connsiteY27704" fmla="*/ 2869990 h 5973007"/>
              <a:gd name="connsiteX27705" fmla="*/ 6499058 w 6884782"/>
              <a:gd name="connsiteY27705" fmla="*/ 2878810 h 5973007"/>
              <a:gd name="connsiteX27706" fmla="*/ 6493723 w 6884782"/>
              <a:gd name="connsiteY27706" fmla="*/ 2890618 h 5973007"/>
              <a:gd name="connsiteX27707" fmla="*/ 6477290 w 6884782"/>
              <a:gd name="connsiteY27707" fmla="*/ 2874542 h 5973007"/>
              <a:gd name="connsiteX27708" fmla="*/ 6489028 w 6884782"/>
              <a:gd name="connsiteY27708" fmla="*/ 2869990 h 5973007"/>
              <a:gd name="connsiteX27709" fmla="*/ 718767 w 6884782"/>
              <a:gd name="connsiteY27709" fmla="*/ 2869786 h 5973007"/>
              <a:gd name="connsiteX27710" fmla="*/ 716392 w 6884782"/>
              <a:gd name="connsiteY27710" fmla="*/ 2879854 h 5973007"/>
              <a:gd name="connsiteX27711" fmla="*/ 714843 w 6884782"/>
              <a:gd name="connsiteY27711" fmla="*/ 2879080 h 5973007"/>
              <a:gd name="connsiteX27712" fmla="*/ 715050 w 6884782"/>
              <a:gd name="connsiteY27712" fmla="*/ 2880938 h 5973007"/>
              <a:gd name="connsiteX27713" fmla="*/ 714533 w 6884782"/>
              <a:gd name="connsiteY27713" fmla="*/ 2883726 h 5973007"/>
              <a:gd name="connsiteX27714" fmla="*/ 708235 w 6884782"/>
              <a:gd name="connsiteY27714" fmla="*/ 2884347 h 5973007"/>
              <a:gd name="connsiteX27715" fmla="*/ 706273 w 6884782"/>
              <a:gd name="connsiteY27715" fmla="*/ 2882333 h 5973007"/>
              <a:gd name="connsiteX27716" fmla="*/ 704724 w 6884782"/>
              <a:gd name="connsiteY27716" fmla="*/ 2877376 h 5973007"/>
              <a:gd name="connsiteX27717" fmla="*/ 704001 w 6884782"/>
              <a:gd name="connsiteY27717" fmla="*/ 2877531 h 5973007"/>
              <a:gd name="connsiteX27718" fmla="*/ 708235 w 6884782"/>
              <a:gd name="connsiteY27718" fmla="*/ 2875052 h 5973007"/>
              <a:gd name="connsiteX27719" fmla="*/ 708957 w 6884782"/>
              <a:gd name="connsiteY27719" fmla="*/ 2875207 h 5973007"/>
              <a:gd name="connsiteX27720" fmla="*/ 708338 w 6884782"/>
              <a:gd name="connsiteY27720" fmla="*/ 2874743 h 5973007"/>
              <a:gd name="connsiteX27721" fmla="*/ 712159 w 6884782"/>
              <a:gd name="connsiteY27721" fmla="*/ 2870096 h 5973007"/>
              <a:gd name="connsiteX27722" fmla="*/ 718767 w 6884782"/>
              <a:gd name="connsiteY27722" fmla="*/ 2869786 h 5973007"/>
              <a:gd name="connsiteX27723" fmla="*/ 237489 w 6884782"/>
              <a:gd name="connsiteY27723" fmla="*/ 2867462 h 5973007"/>
              <a:gd name="connsiteX27724" fmla="*/ 244614 w 6884782"/>
              <a:gd name="connsiteY27724" fmla="*/ 2867462 h 5973007"/>
              <a:gd name="connsiteX27725" fmla="*/ 246886 w 6884782"/>
              <a:gd name="connsiteY27725" fmla="*/ 2882023 h 5973007"/>
              <a:gd name="connsiteX27726" fmla="*/ 236250 w 6884782"/>
              <a:gd name="connsiteY27726" fmla="*/ 2872109 h 5973007"/>
              <a:gd name="connsiteX27727" fmla="*/ 237489 w 6884782"/>
              <a:gd name="connsiteY27727" fmla="*/ 2867462 h 5973007"/>
              <a:gd name="connsiteX27728" fmla="*/ 547633 w 6884782"/>
              <a:gd name="connsiteY27728" fmla="*/ 2866746 h 5973007"/>
              <a:gd name="connsiteX27729" fmla="*/ 554073 w 6884782"/>
              <a:gd name="connsiteY27729" fmla="*/ 2869166 h 5973007"/>
              <a:gd name="connsiteX27730" fmla="*/ 556861 w 6884782"/>
              <a:gd name="connsiteY27730" fmla="*/ 2872884 h 5973007"/>
              <a:gd name="connsiteX27731" fmla="*/ 555519 w 6884782"/>
              <a:gd name="connsiteY27731" fmla="*/ 2879080 h 5973007"/>
              <a:gd name="connsiteX27732" fmla="*/ 552421 w 6884782"/>
              <a:gd name="connsiteY27732" fmla="*/ 2880938 h 5973007"/>
              <a:gd name="connsiteX27733" fmla="*/ 553763 w 6884782"/>
              <a:gd name="connsiteY27733" fmla="*/ 2882797 h 5973007"/>
              <a:gd name="connsiteX27734" fmla="*/ 547465 w 6884782"/>
              <a:gd name="connsiteY27734" fmla="*/ 2895963 h 5973007"/>
              <a:gd name="connsiteX27735" fmla="*/ 545090 w 6884782"/>
              <a:gd name="connsiteY27735" fmla="*/ 2896273 h 5973007"/>
              <a:gd name="connsiteX27736" fmla="*/ 541786 w 6884782"/>
              <a:gd name="connsiteY27736" fmla="*/ 2897977 h 5973007"/>
              <a:gd name="connsiteX27737" fmla="*/ 534868 w 6884782"/>
              <a:gd name="connsiteY27737" fmla="*/ 2888838 h 5973007"/>
              <a:gd name="connsiteX27738" fmla="*/ 533629 w 6884782"/>
              <a:gd name="connsiteY27738" fmla="*/ 2883572 h 5973007"/>
              <a:gd name="connsiteX27739" fmla="*/ 533938 w 6884782"/>
              <a:gd name="connsiteY27739" fmla="*/ 2882487 h 5973007"/>
              <a:gd name="connsiteX27740" fmla="*/ 533629 w 6884782"/>
              <a:gd name="connsiteY27740" fmla="*/ 2882797 h 5973007"/>
              <a:gd name="connsiteX27741" fmla="*/ 528053 w 6884782"/>
              <a:gd name="connsiteY27741" fmla="*/ 2886205 h 5973007"/>
              <a:gd name="connsiteX27742" fmla="*/ 528775 w 6884782"/>
              <a:gd name="connsiteY27742" fmla="*/ 2883726 h 5973007"/>
              <a:gd name="connsiteX27743" fmla="*/ 529601 w 6884782"/>
              <a:gd name="connsiteY27743" fmla="*/ 2882642 h 5973007"/>
              <a:gd name="connsiteX27744" fmla="*/ 529601 w 6884782"/>
              <a:gd name="connsiteY27744" fmla="*/ 2881868 h 5973007"/>
              <a:gd name="connsiteX27745" fmla="*/ 530427 w 6884782"/>
              <a:gd name="connsiteY27745" fmla="*/ 2881713 h 5973007"/>
              <a:gd name="connsiteX27746" fmla="*/ 532080 w 6884782"/>
              <a:gd name="connsiteY27746" fmla="*/ 2879854 h 5973007"/>
              <a:gd name="connsiteX27747" fmla="*/ 534351 w 6884782"/>
              <a:gd name="connsiteY27747" fmla="*/ 2874433 h 5973007"/>
              <a:gd name="connsiteX27748" fmla="*/ 539307 w 6884782"/>
              <a:gd name="connsiteY27748" fmla="*/ 2870251 h 5973007"/>
              <a:gd name="connsiteX27749" fmla="*/ 541166 w 6884782"/>
              <a:gd name="connsiteY27749" fmla="*/ 2871800 h 5973007"/>
              <a:gd name="connsiteX27750" fmla="*/ 542818 w 6884782"/>
              <a:gd name="connsiteY27750" fmla="*/ 2869786 h 5973007"/>
              <a:gd name="connsiteX27751" fmla="*/ 547633 w 6884782"/>
              <a:gd name="connsiteY27751" fmla="*/ 2866746 h 5973007"/>
              <a:gd name="connsiteX27752" fmla="*/ 791769 w 6884782"/>
              <a:gd name="connsiteY27752" fmla="*/ 2864365 h 5973007"/>
              <a:gd name="connsiteX27753" fmla="*/ 791150 w 6884782"/>
              <a:gd name="connsiteY27753" fmla="*/ 2864984 h 5973007"/>
              <a:gd name="connsiteX27754" fmla="*/ 792079 w 6884782"/>
              <a:gd name="connsiteY27754" fmla="*/ 2869786 h 5973007"/>
              <a:gd name="connsiteX27755" fmla="*/ 792079 w 6884782"/>
              <a:gd name="connsiteY27755" fmla="*/ 2870405 h 5973007"/>
              <a:gd name="connsiteX27756" fmla="*/ 792905 w 6884782"/>
              <a:gd name="connsiteY27756" fmla="*/ 2868857 h 5973007"/>
              <a:gd name="connsiteX27757" fmla="*/ 794144 w 6884782"/>
              <a:gd name="connsiteY27757" fmla="*/ 2868082 h 5973007"/>
              <a:gd name="connsiteX27758" fmla="*/ 617576 w 6884782"/>
              <a:gd name="connsiteY27758" fmla="*/ 2863900 h 5973007"/>
              <a:gd name="connsiteX27759" fmla="*/ 625836 w 6884782"/>
              <a:gd name="connsiteY27759" fmla="*/ 2866998 h 5973007"/>
              <a:gd name="connsiteX27760" fmla="*/ 619331 w 6884782"/>
              <a:gd name="connsiteY27760" fmla="*/ 2878770 h 5973007"/>
              <a:gd name="connsiteX27761" fmla="*/ 613033 w 6884782"/>
              <a:gd name="connsiteY27761" fmla="*/ 2875052 h 5973007"/>
              <a:gd name="connsiteX27762" fmla="*/ 613239 w 6884782"/>
              <a:gd name="connsiteY27762" fmla="*/ 2873039 h 5973007"/>
              <a:gd name="connsiteX27763" fmla="*/ 617576 w 6884782"/>
              <a:gd name="connsiteY27763" fmla="*/ 2863900 h 5973007"/>
              <a:gd name="connsiteX27764" fmla="*/ 878297 w 6884782"/>
              <a:gd name="connsiteY27764" fmla="*/ 2863590 h 5973007"/>
              <a:gd name="connsiteX27765" fmla="*/ 876026 w 6884782"/>
              <a:gd name="connsiteY27765" fmla="*/ 2864210 h 5973007"/>
              <a:gd name="connsiteX27766" fmla="*/ 870037 w 6884782"/>
              <a:gd name="connsiteY27766" fmla="*/ 2866533 h 5973007"/>
              <a:gd name="connsiteX27767" fmla="*/ 864048 w 6884782"/>
              <a:gd name="connsiteY27767" fmla="*/ 2868857 h 5973007"/>
              <a:gd name="connsiteX27768" fmla="*/ 853103 w 6884782"/>
              <a:gd name="connsiteY27768" fmla="*/ 2873039 h 5973007"/>
              <a:gd name="connsiteX27769" fmla="*/ 851761 w 6884782"/>
              <a:gd name="connsiteY27769" fmla="*/ 2873348 h 5973007"/>
              <a:gd name="connsiteX27770" fmla="*/ 851554 w 6884782"/>
              <a:gd name="connsiteY27770" fmla="*/ 2873658 h 5973007"/>
              <a:gd name="connsiteX27771" fmla="*/ 838854 w 6884782"/>
              <a:gd name="connsiteY27771" fmla="*/ 2890542 h 5973007"/>
              <a:gd name="connsiteX27772" fmla="*/ 839886 w 6884782"/>
              <a:gd name="connsiteY27772" fmla="*/ 2880164 h 5973007"/>
              <a:gd name="connsiteX27773" fmla="*/ 841745 w 6884782"/>
              <a:gd name="connsiteY27773" fmla="*/ 2876136 h 5973007"/>
              <a:gd name="connsiteX27774" fmla="*/ 835653 w 6884782"/>
              <a:gd name="connsiteY27774" fmla="*/ 2878770 h 5973007"/>
              <a:gd name="connsiteX27775" fmla="*/ 827083 w 6884782"/>
              <a:gd name="connsiteY27775" fmla="*/ 2883726 h 5973007"/>
              <a:gd name="connsiteX27776" fmla="*/ 812523 w 6884782"/>
              <a:gd name="connsiteY27776" fmla="*/ 2886825 h 5973007"/>
              <a:gd name="connsiteX27777" fmla="*/ 791563 w 6884782"/>
              <a:gd name="connsiteY27777" fmla="*/ 2894104 h 5973007"/>
              <a:gd name="connsiteX27778" fmla="*/ 786296 w 6884782"/>
              <a:gd name="connsiteY27778" fmla="*/ 2896428 h 5973007"/>
              <a:gd name="connsiteX27779" fmla="*/ 789497 w 6884782"/>
              <a:gd name="connsiteY27779" fmla="*/ 2903244 h 5973007"/>
              <a:gd name="connsiteX27780" fmla="*/ 773080 w 6884782"/>
              <a:gd name="connsiteY27780" fmla="*/ 2908820 h 5973007"/>
              <a:gd name="connsiteX27781" fmla="*/ 766368 w 6884782"/>
              <a:gd name="connsiteY27781" fmla="*/ 2906032 h 5973007"/>
              <a:gd name="connsiteX27782" fmla="*/ 755939 w 6884782"/>
              <a:gd name="connsiteY27782" fmla="*/ 2911763 h 5973007"/>
              <a:gd name="connsiteX27783" fmla="*/ 739831 w 6884782"/>
              <a:gd name="connsiteY27783" fmla="*/ 2919972 h 5973007"/>
              <a:gd name="connsiteX27784" fmla="*/ 739934 w 6884782"/>
              <a:gd name="connsiteY27784" fmla="*/ 2915015 h 5973007"/>
              <a:gd name="connsiteX27785" fmla="*/ 738592 w 6884782"/>
              <a:gd name="connsiteY27785" fmla="*/ 2913776 h 5973007"/>
              <a:gd name="connsiteX27786" fmla="*/ 737043 w 6884782"/>
              <a:gd name="connsiteY27786" fmla="*/ 2914551 h 5973007"/>
              <a:gd name="connsiteX27787" fmla="*/ 734152 w 6884782"/>
              <a:gd name="connsiteY27787" fmla="*/ 2918578 h 5973007"/>
              <a:gd name="connsiteX27788" fmla="*/ 733429 w 6884782"/>
              <a:gd name="connsiteY27788" fmla="*/ 2919353 h 5973007"/>
              <a:gd name="connsiteX27789" fmla="*/ 733429 w 6884782"/>
              <a:gd name="connsiteY27789" fmla="*/ 2919508 h 5973007"/>
              <a:gd name="connsiteX27790" fmla="*/ 738076 w 6884782"/>
              <a:gd name="connsiteY27790" fmla="*/ 2920747 h 5973007"/>
              <a:gd name="connsiteX27791" fmla="*/ 729505 w 6884782"/>
              <a:gd name="connsiteY27791" fmla="*/ 2927098 h 5973007"/>
              <a:gd name="connsiteX27792" fmla="*/ 729609 w 6884782"/>
              <a:gd name="connsiteY27792" fmla="*/ 2929266 h 5973007"/>
              <a:gd name="connsiteX27793" fmla="*/ 727234 w 6884782"/>
              <a:gd name="connsiteY27793" fmla="*/ 2933758 h 5973007"/>
              <a:gd name="connsiteX27794" fmla="*/ 719593 w 6884782"/>
              <a:gd name="connsiteY27794" fmla="*/ 2936856 h 5973007"/>
              <a:gd name="connsiteX27795" fmla="*/ 718251 w 6884782"/>
              <a:gd name="connsiteY27795" fmla="*/ 2933603 h 5973007"/>
              <a:gd name="connsiteX27796" fmla="*/ 717424 w 6884782"/>
              <a:gd name="connsiteY27796" fmla="*/ 2934068 h 5973007"/>
              <a:gd name="connsiteX27797" fmla="*/ 695844 w 6884782"/>
              <a:gd name="connsiteY27797" fmla="*/ 2947854 h 5973007"/>
              <a:gd name="connsiteX27798" fmla="*/ 696980 w 6884782"/>
              <a:gd name="connsiteY27798" fmla="*/ 2941658 h 5973007"/>
              <a:gd name="connsiteX27799" fmla="*/ 688616 w 6884782"/>
              <a:gd name="connsiteY27799" fmla="*/ 2951726 h 5973007"/>
              <a:gd name="connsiteX27800" fmla="*/ 692643 w 6884782"/>
              <a:gd name="connsiteY27800" fmla="*/ 2945995 h 5973007"/>
              <a:gd name="connsiteX27801" fmla="*/ 676432 w 6884782"/>
              <a:gd name="connsiteY27801" fmla="*/ 2957147 h 5973007"/>
              <a:gd name="connsiteX27802" fmla="*/ 679426 w 6884782"/>
              <a:gd name="connsiteY27802" fmla="*/ 2958077 h 5973007"/>
              <a:gd name="connsiteX27803" fmla="*/ 680149 w 6884782"/>
              <a:gd name="connsiteY27803" fmla="*/ 2956063 h 5973007"/>
              <a:gd name="connsiteX27804" fmla="*/ 684176 w 6884782"/>
              <a:gd name="connsiteY27804" fmla="*/ 2956528 h 5973007"/>
              <a:gd name="connsiteX27805" fmla="*/ 686551 w 6884782"/>
              <a:gd name="connsiteY27805" fmla="*/ 2955598 h 5973007"/>
              <a:gd name="connsiteX27806" fmla="*/ 692023 w 6884782"/>
              <a:gd name="connsiteY27806" fmla="*/ 2953585 h 5973007"/>
              <a:gd name="connsiteX27807" fmla="*/ 694708 w 6884782"/>
              <a:gd name="connsiteY27807" fmla="*/ 2957147 h 5973007"/>
              <a:gd name="connsiteX27808" fmla="*/ 683040 w 6884782"/>
              <a:gd name="connsiteY27808" fmla="*/ 2967215 h 5973007"/>
              <a:gd name="connsiteX27809" fmla="*/ 680252 w 6884782"/>
              <a:gd name="connsiteY27809" fmla="*/ 2963189 h 5973007"/>
              <a:gd name="connsiteX27810" fmla="*/ 680975 w 6884782"/>
              <a:gd name="connsiteY27810" fmla="*/ 2960555 h 5973007"/>
              <a:gd name="connsiteX27811" fmla="*/ 679013 w 6884782"/>
              <a:gd name="connsiteY27811" fmla="*/ 2959316 h 5973007"/>
              <a:gd name="connsiteX27812" fmla="*/ 679220 w 6884782"/>
              <a:gd name="connsiteY27812" fmla="*/ 2958541 h 5973007"/>
              <a:gd name="connsiteX27813" fmla="*/ 675709 w 6884782"/>
              <a:gd name="connsiteY27813" fmla="*/ 2960245 h 5973007"/>
              <a:gd name="connsiteX27814" fmla="*/ 670856 w 6884782"/>
              <a:gd name="connsiteY27814" fmla="*/ 2963189 h 5973007"/>
              <a:gd name="connsiteX27815" fmla="*/ 666622 w 6884782"/>
              <a:gd name="connsiteY27815" fmla="*/ 2965512 h 5973007"/>
              <a:gd name="connsiteX27816" fmla="*/ 667035 w 6884782"/>
              <a:gd name="connsiteY27816" fmla="*/ 2965977 h 5973007"/>
              <a:gd name="connsiteX27817" fmla="*/ 666829 w 6884782"/>
              <a:gd name="connsiteY27817" fmla="*/ 2969694 h 5973007"/>
              <a:gd name="connsiteX27818" fmla="*/ 665900 w 6884782"/>
              <a:gd name="connsiteY27818" fmla="*/ 2971088 h 5973007"/>
              <a:gd name="connsiteX27819" fmla="*/ 661253 w 6884782"/>
              <a:gd name="connsiteY27819" fmla="*/ 2970933 h 5973007"/>
              <a:gd name="connsiteX27820" fmla="*/ 660014 w 6884782"/>
              <a:gd name="connsiteY27820" fmla="*/ 2969694 h 5973007"/>
              <a:gd name="connsiteX27821" fmla="*/ 652270 w 6884782"/>
              <a:gd name="connsiteY27821" fmla="*/ 2976664 h 5973007"/>
              <a:gd name="connsiteX27822" fmla="*/ 650205 w 6884782"/>
              <a:gd name="connsiteY27822" fmla="*/ 2983635 h 5973007"/>
              <a:gd name="connsiteX27823" fmla="*/ 642977 w 6884782"/>
              <a:gd name="connsiteY27823" fmla="*/ 2984874 h 5973007"/>
              <a:gd name="connsiteX27824" fmla="*/ 642770 w 6884782"/>
              <a:gd name="connsiteY27824" fmla="*/ 2985648 h 5973007"/>
              <a:gd name="connsiteX27825" fmla="*/ 647933 w 6884782"/>
              <a:gd name="connsiteY27825" fmla="*/ 2990295 h 5973007"/>
              <a:gd name="connsiteX27826" fmla="*/ 651754 w 6884782"/>
              <a:gd name="connsiteY27826" fmla="*/ 2995252 h 5973007"/>
              <a:gd name="connsiteX27827" fmla="*/ 655574 w 6884782"/>
              <a:gd name="connsiteY27827" fmla="*/ 2990760 h 5973007"/>
              <a:gd name="connsiteX27828" fmla="*/ 664661 w 6884782"/>
              <a:gd name="connsiteY27828" fmla="*/ 2984099 h 5973007"/>
              <a:gd name="connsiteX27829" fmla="*/ 668171 w 6884782"/>
              <a:gd name="connsiteY27829" fmla="*/ 2982551 h 5973007"/>
              <a:gd name="connsiteX27830" fmla="*/ 667552 w 6884782"/>
              <a:gd name="connsiteY27830" fmla="*/ 2979452 h 5973007"/>
              <a:gd name="connsiteX27831" fmla="*/ 669720 w 6884782"/>
              <a:gd name="connsiteY27831" fmla="*/ 2976509 h 5973007"/>
              <a:gd name="connsiteX27832" fmla="*/ 674883 w 6884782"/>
              <a:gd name="connsiteY27832" fmla="*/ 2978833 h 5973007"/>
              <a:gd name="connsiteX27833" fmla="*/ 674986 w 6884782"/>
              <a:gd name="connsiteY27833" fmla="*/ 2979607 h 5973007"/>
              <a:gd name="connsiteX27834" fmla="*/ 685931 w 6884782"/>
              <a:gd name="connsiteY27834" fmla="*/ 2977903 h 5973007"/>
              <a:gd name="connsiteX27835" fmla="*/ 696877 w 6884782"/>
              <a:gd name="connsiteY27835" fmla="*/ 2979143 h 5973007"/>
              <a:gd name="connsiteX27836" fmla="*/ 698425 w 6884782"/>
              <a:gd name="connsiteY27836" fmla="*/ 2979917 h 5973007"/>
              <a:gd name="connsiteX27837" fmla="*/ 701627 w 6884782"/>
              <a:gd name="connsiteY27837" fmla="*/ 2978368 h 5973007"/>
              <a:gd name="connsiteX27838" fmla="*/ 706066 w 6884782"/>
              <a:gd name="connsiteY27838" fmla="*/ 2980227 h 5973007"/>
              <a:gd name="connsiteX27839" fmla="*/ 704930 w 6884782"/>
              <a:gd name="connsiteY27839" fmla="*/ 2983015 h 5973007"/>
              <a:gd name="connsiteX27840" fmla="*/ 706996 w 6884782"/>
              <a:gd name="connsiteY27840" fmla="*/ 2983945 h 5973007"/>
              <a:gd name="connsiteX27841" fmla="*/ 705963 w 6884782"/>
              <a:gd name="connsiteY27841" fmla="*/ 2995562 h 5973007"/>
              <a:gd name="connsiteX27842" fmla="*/ 705963 w 6884782"/>
              <a:gd name="connsiteY27842" fmla="*/ 2995716 h 5973007"/>
              <a:gd name="connsiteX27843" fmla="*/ 707822 w 6884782"/>
              <a:gd name="connsiteY27843" fmla="*/ 2995716 h 5973007"/>
              <a:gd name="connsiteX27844" fmla="*/ 710816 w 6884782"/>
              <a:gd name="connsiteY27844" fmla="*/ 2991999 h 5973007"/>
              <a:gd name="connsiteX27845" fmla="*/ 718251 w 6884782"/>
              <a:gd name="connsiteY27845" fmla="*/ 2992464 h 5973007"/>
              <a:gd name="connsiteX27846" fmla="*/ 727957 w 6884782"/>
              <a:gd name="connsiteY27846" fmla="*/ 2987817 h 5973007"/>
              <a:gd name="connsiteX27847" fmla="*/ 723620 w 6884782"/>
              <a:gd name="connsiteY27847" fmla="*/ 2987042 h 5973007"/>
              <a:gd name="connsiteX27848" fmla="*/ 733016 w 6884782"/>
              <a:gd name="connsiteY27848" fmla="*/ 2983635 h 5973007"/>
              <a:gd name="connsiteX27849" fmla="*/ 741277 w 6884782"/>
              <a:gd name="connsiteY27849" fmla="*/ 2976355 h 5973007"/>
              <a:gd name="connsiteX27850" fmla="*/ 744478 w 6884782"/>
              <a:gd name="connsiteY27850" fmla="*/ 2978213 h 5973007"/>
              <a:gd name="connsiteX27851" fmla="*/ 744787 w 6884782"/>
              <a:gd name="connsiteY27851" fmla="*/ 2972482 h 5973007"/>
              <a:gd name="connsiteX27852" fmla="*/ 748711 w 6884782"/>
              <a:gd name="connsiteY27852" fmla="*/ 2976664 h 5973007"/>
              <a:gd name="connsiteX27853" fmla="*/ 755629 w 6884782"/>
              <a:gd name="connsiteY27853" fmla="*/ 2961639 h 5973007"/>
              <a:gd name="connsiteX27854" fmla="*/ 765129 w 6884782"/>
              <a:gd name="connsiteY27854" fmla="*/ 2962724 h 5973007"/>
              <a:gd name="connsiteX27855" fmla="*/ 770911 w 6884782"/>
              <a:gd name="connsiteY27855" fmla="*/ 2958232 h 5973007"/>
              <a:gd name="connsiteX27856" fmla="*/ 770704 w 6884782"/>
              <a:gd name="connsiteY27856" fmla="*/ 2951571 h 5973007"/>
              <a:gd name="connsiteX27857" fmla="*/ 784231 w 6884782"/>
              <a:gd name="connsiteY27857" fmla="*/ 2944601 h 5973007"/>
              <a:gd name="connsiteX27858" fmla="*/ 793421 w 6884782"/>
              <a:gd name="connsiteY27858" fmla="*/ 2943981 h 5973007"/>
              <a:gd name="connsiteX27859" fmla="*/ 798481 w 6884782"/>
              <a:gd name="connsiteY27859" fmla="*/ 2941193 h 5973007"/>
              <a:gd name="connsiteX27860" fmla="*/ 796726 w 6884782"/>
              <a:gd name="connsiteY27860" fmla="*/ 2939799 h 5973007"/>
              <a:gd name="connsiteX27861" fmla="*/ 796106 w 6884782"/>
              <a:gd name="connsiteY27861" fmla="*/ 2941038 h 5973007"/>
              <a:gd name="connsiteX27862" fmla="*/ 792285 w 6884782"/>
              <a:gd name="connsiteY27862" fmla="*/ 2942897 h 5973007"/>
              <a:gd name="connsiteX27863" fmla="*/ 795486 w 6884782"/>
              <a:gd name="connsiteY27863" fmla="*/ 2939644 h 5973007"/>
              <a:gd name="connsiteX27864" fmla="*/ 782786 w 6884782"/>
              <a:gd name="connsiteY27864" fmla="*/ 2935617 h 5973007"/>
              <a:gd name="connsiteX27865" fmla="*/ 777932 w 6884782"/>
              <a:gd name="connsiteY27865" fmla="*/ 2936701 h 5973007"/>
              <a:gd name="connsiteX27866" fmla="*/ 778139 w 6884782"/>
              <a:gd name="connsiteY27866" fmla="*/ 2939180 h 5973007"/>
              <a:gd name="connsiteX27867" fmla="*/ 777417 w 6884782"/>
              <a:gd name="connsiteY27867" fmla="*/ 2941503 h 5973007"/>
              <a:gd name="connsiteX27868" fmla="*/ 775558 w 6884782"/>
              <a:gd name="connsiteY27868" fmla="*/ 2939644 h 5973007"/>
              <a:gd name="connsiteX27869" fmla="*/ 775248 w 6884782"/>
              <a:gd name="connsiteY27869" fmla="*/ 2938560 h 5973007"/>
              <a:gd name="connsiteX27870" fmla="*/ 774422 w 6884782"/>
              <a:gd name="connsiteY27870" fmla="*/ 2938250 h 5973007"/>
              <a:gd name="connsiteX27871" fmla="*/ 774835 w 6884782"/>
              <a:gd name="connsiteY27871" fmla="*/ 2937476 h 5973007"/>
              <a:gd name="connsiteX27872" fmla="*/ 774731 w 6884782"/>
              <a:gd name="connsiteY27872" fmla="*/ 2937321 h 5973007"/>
              <a:gd name="connsiteX27873" fmla="*/ 770188 w 6884782"/>
              <a:gd name="connsiteY27873" fmla="*/ 2938250 h 5973007"/>
              <a:gd name="connsiteX27874" fmla="*/ 770188 w 6884782"/>
              <a:gd name="connsiteY27874" fmla="*/ 2938405 h 5973007"/>
              <a:gd name="connsiteX27875" fmla="*/ 768846 w 6884782"/>
              <a:gd name="connsiteY27875" fmla="*/ 2946614 h 5973007"/>
              <a:gd name="connsiteX27876" fmla="*/ 745510 w 6884782"/>
              <a:gd name="connsiteY27876" fmla="*/ 2959471 h 5973007"/>
              <a:gd name="connsiteX27877" fmla="*/ 743548 w 6884782"/>
              <a:gd name="connsiteY27877" fmla="*/ 2957457 h 5973007"/>
              <a:gd name="connsiteX27878" fmla="*/ 741999 w 6884782"/>
              <a:gd name="connsiteY27878" fmla="*/ 2949093 h 5973007"/>
              <a:gd name="connsiteX27879" fmla="*/ 756352 w 6884782"/>
              <a:gd name="connsiteY27879" fmla="*/ 2929886 h 5973007"/>
              <a:gd name="connsiteX27880" fmla="*/ 761825 w 6884782"/>
              <a:gd name="connsiteY27880" fmla="*/ 2928647 h 5973007"/>
              <a:gd name="connsiteX27881" fmla="*/ 767194 w 6884782"/>
              <a:gd name="connsiteY27881" fmla="*/ 2929266 h 5973007"/>
              <a:gd name="connsiteX27882" fmla="*/ 767297 w 6884782"/>
              <a:gd name="connsiteY27882" fmla="*/ 2928182 h 5973007"/>
              <a:gd name="connsiteX27883" fmla="*/ 770085 w 6884782"/>
              <a:gd name="connsiteY27883" fmla="*/ 2925704 h 5973007"/>
              <a:gd name="connsiteX27884" fmla="*/ 770395 w 6884782"/>
              <a:gd name="connsiteY27884" fmla="*/ 2925704 h 5973007"/>
              <a:gd name="connsiteX27885" fmla="*/ 770395 w 6884782"/>
              <a:gd name="connsiteY27885" fmla="*/ 2924929 h 5973007"/>
              <a:gd name="connsiteX27886" fmla="*/ 772770 w 6884782"/>
              <a:gd name="connsiteY27886" fmla="*/ 2924155 h 5973007"/>
              <a:gd name="connsiteX27887" fmla="*/ 772150 w 6884782"/>
              <a:gd name="connsiteY27887" fmla="*/ 2921986 h 5973007"/>
              <a:gd name="connsiteX27888" fmla="*/ 778449 w 6884782"/>
              <a:gd name="connsiteY27888" fmla="*/ 2912537 h 5973007"/>
              <a:gd name="connsiteX27889" fmla="*/ 783612 w 6884782"/>
              <a:gd name="connsiteY27889" fmla="*/ 2911918 h 5973007"/>
              <a:gd name="connsiteX27890" fmla="*/ 784128 w 6884782"/>
              <a:gd name="connsiteY27890" fmla="*/ 2912228 h 5973007"/>
              <a:gd name="connsiteX27891" fmla="*/ 784954 w 6884782"/>
              <a:gd name="connsiteY27891" fmla="*/ 2908820 h 5973007"/>
              <a:gd name="connsiteX27892" fmla="*/ 790324 w 6884782"/>
              <a:gd name="connsiteY27892" fmla="*/ 2910369 h 5973007"/>
              <a:gd name="connsiteX27893" fmla="*/ 788568 w 6884782"/>
              <a:gd name="connsiteY27893" fmla="*/ 2918268 h 5973007"/>
              <a:gd name="connsiteX27894" fmla="*/ 787949 w 6884782"/>
              <a:gd name="connsiteY27894" fmla="*/ 2919662 h 5973007"/>
              <a:gd name="connsiteX27895" fmla="*/ 787742 w 6884782"/>
              <a:gd name="connsiteY27895" fmla="*/ 2921986 h 5973007"/>
              <a:gd name="connsiteX27896" fmla="*/ 784025 w 6884782"/>
              <a:gd name="connsiteY27896" fmla="*/ 2926478 h 5973007"/>
              <a:gd name="connsiteX27897" fmla="*/ 778862 w 6884782"/>
              <a:gd name="connsiteY27897" fmla="*/ 2927872 h 5973007"/>
              <a:gd name="connsiteX27898" fmla="*/ 775971 w 6884782"/>
              <a:gd name="connsiteY27898" fmla="*/ 2927252 h 5973007"/>
              <a:gd name="connsiteX27899" fmla="*/ 778139 w 6884782"/>
              <a:gd name="connsiteY27899" fmla="*/ 2931590 h 5973007"/>
              <a:gd name="connsiteX27900" fmla="*/ 776900 w 6884782"/>
              <a:gd name="connsiteY27900" fmla="*/ 2931899 h 5973007"/>
              <a:gd name="connsiteX27901" fmla="*/ 777210 w 6884782"/>
              <a:gd name="connsiteY27901" fmla="*/ 2932983 h 5973007"/>
              <a:gd name="connsiteX27902" fmla="*/ 779482 w 6884782"/>
              <a:gd name="connsiteY27902" fmla="*/ 2932209 h 5973007"/>
              <a:gd name="connsiteX27903" fmla="*/ 786503 w 6884782"/>
              <a:gd name="connsiteY27903" fmla="*/ 2932364 h 5973007"/>
              <a:gd name="connsiteX27904" fmla="*/ 788568 w 6884782"/>
              <a:gd name="connsiteY27904" fmla="*/ 2929266 h 5973007"/>
              <a:gd name="connsiteX27905" fmla="*/ 791253 w 6884782"/>
              <a:gd name="connsiteY27905" fmla="*/ 2927098 h 5973007"/>
              <a:gd name="connsiteX27906" fmla="*/ 791046 w 6884782"/>
              <a:gd name="connsiteY27906" fmla="*/ 2926633 h 5973007"/>
              <a:gd name="connsiteX27907" fmla="*/ 796519 w 6884782"/>
              <a:gd name="connsiteY27907" fmla="*/ 2910679 h 5973007"/>
              <a:gd name="connsiteX27908" fmla="*/ 797241 w 6884782"/>
              <a:gd name="connsiteY27908" fmla="*/ 2910059 h 5973007"/>
              <a:gd name="connsiteX27909" fmla="*/ 795899 w 6884782"/>
              <a:gd name="connsiteY27909" fmla="*/ 2910523 h 5973007"/>
              <a:gd name="connsiteX27910" fmla="*/ 794144 w 6884782"/>
              <a:gd name="connsiteY27910" fmla="*/ 2909594 h 5973007"/>
              <a:gd name="connsiteX27911" fmla="*/ 791253 w 6884782"/>
              <a:gd name="connsiteY27911" fmla="*/ 2906806 h 5973007"/>
              <a:gd name="connsiteX27912" fmla="*/ 792802 w 6884782"/>
              <a:gd name="connsiteY27912" fmla="*/ 2903863 h 5973007"/>
              <a:gd name="connsiteX27913" fmla="*/ 796519 w 6884782"/>
              <a:gd name="connsiteY27913" fmla="*/ 2903244 h 5973007"/>
              <a:gd name="connsiteX27914" fmla="*/ 802714 w 6884782"/>
              <a:gd name="connsiteY27914" fmla="*/ 2906032 h 5973007"/>
              <a:gd name="connsiteX27915" fmla="*/ 801785 w 6884782"/>
              <a:gd name="connsiteY27915" fmla="*/ 2907271 h 5973007"/>
              <a:gd name="connsiteX27916" fmla="*/ 804366 w 6884782"/>
              <a:gd name="connsiteY27916" fmla="*/ 2908820 h 5973007"/>
              <a:gd name="connsiteX27917" fmla="*/ 804263 w 6884782"/>
              <a:gd name="connsiteY27917" fmla="*/ 2908665 h 5973007"/>
              <a:gd name="connsiteX27918" fmla="*/ 811181 w 6884782"/>
              <a:gd name="connsiteY27918" fmla="*/ 2907891 h 5973007"/>
              <a:gd name="connsiteX27919" fmla="*/ 814279 w 6884782"/>
              <a:gd name="connsiteY27919" fmla="*/ 2905257 h 5973007"/>
              <a:gd name="connsiteX27920" fmla="*/ 814485 w 6884782"/>
              <a:gd name="connsiteY27920" fmla="*/ 2902314 h 5973007"/>
              <a:gd name="connsiteX27921" fmla="*/ 829870 w 6884782"/>
              <a:gd name="connsiteY27921" fmla="*/ 2889458 h 5973007"/>
              <a:gd name="connsiteX27922" fmla="*/ 823985 w 6884782"/>
              <a:gd name="connsiteY27922" fmla="*/ 2899990 h 5973007"/>
              <a:gd name="connsiteX27923" fmla="*/ 819855 w 6884782"/>
              <a:gd name="connsiteY27923" fmla="*/ 2904948 h 5973007"/>
              <a:gd name="connsiteX27924" fmla="*/ 818719 w 6884782"/>
              <a:gd name="connsiteY27924" fmla="*/ 2905722 h 5973007"/>
              <a:gd name="connsiteX27925" fmla="*/ 820267 w 6884782"/>
              <a:gd name="connsiteY27925" fmla="*/ 2906341 h 5973007"/>
              <a:gd name="connsiteX27926" fmla="*/ 830284 w 6884782"/>
              <a:gd name="connsiteY27926" fmla="*/ 2900146 h 5973007"/>
              <a:gd name="connsiteX27927" fmla="*/ 827805 w 6884782"/>
              <a:gd name="connsiteY27927" fmla="*/ 2893485 h 5973007"/>
              <a:gd name="connsiteX27928" fmla="*/ 851967 w 6884782"/>
              <a:gd name="connsiteY27928" fmla="*/ 2888683 h 5973007"/>
              <a:gd name="connsiteX27929" fmla="*/ 855891 w 6884782"/>
              <a:gd name="connsiteY27929" fmla="*/ 2887754 h 5973007"/>
              <a:gd name="connsiteX27930" fmla="*/ 855788 w 6884782"/>
              <a:gd name="connsiteY27930" fmla="*/ 2886979 h 5973007"/>
              <a:gd name="connsiteX27931" fmla="*/ 856924 w 6884782"/>
              <a:gd name="connsiteY27931" fmla="*/ 2885585 h 5973007"/>
              <a:gd name="connsiteX27932" fmla="*/ 856511 w 6884782"/>
              <a:gd name="connsiteY27932" fmla="*/ 2882952 h 5973007"/>
              <a:gd name="connsiteX27933" fmla="*/ 857956 w 6884782"/>
              <a:gd name="connsiteY27933" fmla="*/ 2882333 h 5973007"/>
              <a:gd name="connsiteX27934" fmla="*/ 858266 w 6884782"/>
              <a:gd name="connsiteY27934" fmla="*/ 2884656 h 5973007"/>
              <a:gd name="connsiteX27935" fmla="*/ 858782 w 6884782"/>
              <a:gd name="connsiteY27935" fmla="*/ 2886979 h 5973007"/>
              <a:gd name="connsiteX27936" fmla="*/ 864358 w 6884782"/>
              <a:gd name="connsiteY27936" fmla="*/ 2885740 h 5973007"/>
              <a:gd name="connsiteX27937" fmla="*/ 874167 w 6884782"/>
              <a:gd name="connsiteY27937" fmla="*/ 2880164 h 5973007"/>
              <a:gd name="connsiteX27938" fmla="*/ 871173 w 6884782"/>
              <a:gd name="connsiteY27938" fmla="*/ 2879544 h 5973007"/>
              <a:gd name="connsiteX27939" fmla="*/ 869108 w 6884782"/>
              <a:gd name="connsiteY27939" fmla="*/ 2879854 h 5973007"/>
              <a:gd name="connsiteX27940" fmla="*/ 868075 w 6884782"/>
              <a:gd name="connsiteY27940" fmla="*/ 2882642 h 5973007"/>
              <a:gd name="connsiteX27941" fmla="*/ 864048 w 6884782"/>
              <a:gd name="connsiteY27941" fmla="*/ 2882952 h 5973007"/>
              <a:gd name="connsiteX27942" fmla="*/ 862396 w 6884782"/>
              <a:gd name="connsiteY27942" fmla="*/ 2879699 h 5973007"/>
              <a:gd name="connsiteX27943" fmla="*/ 866526 w 6884782"/>
              <a:gd name="connsiteY27943" fmla="*/ 2873814 h 5973007"/>
              <a:gd name="connsiteX27944" fmla="*/ 868695 w 6884782"/>
              <a:gd name="connsiteY27944" fmla="*/ 2873504 h 5973007"/>
              <a:gd name="connsiteX27945" fmla="*/ 870140 w 6884782"/>
              <a:gd name="connsiteY27945" fmla="*/ 2874743 h 5973007"/>
              <a:gd name="connsiteX27946" fmla="*/ 870037 w 6884782"/>
              <a:gd name="connsiteY27946" fmla="*/ 2873814 h 5973007"/>
              <a:gd name="connsiteX27947" fmla="*/ 873445 w 6884782"/>
              <a:gd name="connsiteY27947" fmla="*/ 2872729 h 5973007"/>
              <a:gd name="connsiteX27948" fmla="*/ 882221 w 6884782"/>
              <a:gd name="connsiteY27948" fmla="*/ 2872574 h 5973007"/>
              <a:gd name="connsiteX27949" fmla="*/ 884080 w 6884782"/>
              <a:gd name="connsiteY27949" fmla="*/ 2872729 h 5973007"/>
              <a:gd name="connsiteX27950" fmla="*/ 882944 w 6884782"/>
              <a:gd name="connsiteY27950" fmla="*/ 2871955 h 5973007"/>
              <a:gd name="connsiteX27951" fmla="*/ 879433 w 6884782"/>
              <a:gd name="connsiteY27951" fmla="*/ 2866688 h 5973007"/>
              <a:gd name="connsiteX27952" fmla="*/ 630276 w 6884782"/>
              <a:gd name="connsiteY27952" fmla="*/ 2863281 h 5973007"/>
              <a:gd name="connsiteX27953" fmla="*/ 624597 w 6884782"/>
              <a:gd name="connsiteY27953" fmla="*/ 2875052 h 5973007"/>
              <a:gd name="connsiteX27954" fmla="*/ 624391 w 6884782"/>
              <a:gd name="connsiteY27954" fmla="*/ 2872574 h 5973007"/>
              <a:gd name="connsiteX27955" fmla="*/ 630276 w 6884782"/>
              <a:gd name="connsiteY27955" fmla="*/ 2863281 h 5973007"/>
              <a:gd name="connsiteX27956" fmla="*/ 553660 w 6884782"/>
              <a:gd name="connsiteY27956" fmla="*/ 2861111 h 5973007"/>
              <a:gd name="connsiteX27957" fmla="*/ 552111 w 6884782"/>
              <a:gd name="connsiteY27957" fmla="*/ 2867308 h 5973007"/>
              <a:gd name="connsiteX27958" fmla="*/ 553660 w 6884782"/>
              <a:gd name="connsiteY27958" fmla="*/ 2861111 h 5973007"/>
              <a:gd name="connsiteX27959" fmla="*/ 1342434 w 6884782"/>
              <a:gd name="connsiteY27959" fmla="*/ 2857394 h 5973007"/>
              <a:gd name="connsiteX27960" fmla="*/ 1341815 w 6884782"/>
              <a:gd name="connsiteY27960" fmla="*/ 2857859 h 5973007"/>
              <a:gd name="connsiteX27961" fmla="*/ 1340886 w 6884782"/>
              <a:gd name="connsiteY27961" fmla="*/ 2858324 h 5973007"/>
              <a:gd name="connsiteX27962" fmla="*/ 1343983 w 6884782"/>
              <a:gd name="connsiteY27962" fmla="*/ 2860802 h 5973007"/>
              <a:gd name="connsiteX27963" fmla="*/ 476424 w 6884782"/>
              <a:gd name="connsiteY27963" fmla="*/ 2857394 h 5973007"/>
              <a:gd name="connsiteX27964" fmla="*/ 478490 w 6884782"/>
              <a:gd name="connsiteY27964" fmla="*/ 2862041 h 5973007"/>
              <a:gd name="connsiteX27965" fmla="*/ 475082 w 6884782"/>
              <a:gd name="connsiteY27965" fmla="*/ 2864210 h 5973007"/>
              <a:gd name="connsiteX27966" fmla="*/ 473017 w 6884782"/>
              <a:gd name="connsiteY27966" fmla="*/ 2859408 h 5973007"/>
              <a:gd name="connsiteX27967" fmla="*/ 476424 w 6884782"/>
              <a:gd name="connsiteY27967" fmla="*/ 2857394 h 5973007"/>
              <a:gd name="connsiteX27968" fmla="*/ 375647 w 6884782"/>
              <a:gd name="connsiteY27968" fmla="*/ 2856310 h 5973007"/>
              <a:gd name="connsiteX27969" fmla="*/ 390309 w 6884782"/>
              <a:gd name="connsiteY27969" fmla="*/ 2867308 h 5973007"/>
              <a:gd name="connsiteX27970" fmla="*/ 375647 w 6884782"/>
              <a:gd name="connsiteY27970" fmla="*/ 2861886 h 5973007"/>
              <a:gd name="connsiteX27971" fmla="*/ 375647 w 6884782"/>
              <a:gd name="connsiteY27971" fmla="*/ 2856310 h 5973007"/>
              <a:gd name="connsiteX27972" fmla="*/ 420976 w 6884782"/>
              <a:gd name="connsiteY27972" fmla="*/ 2855071 h 5973007"/>
              <a:gd name="connsiteX27973" fmla="*/ 427171 w 6884782"/>
              <a:gd name="connsiteY27973" fmla="*/ 2855380 h 5973007"/>
              <a:gd name="connsiteX27974" fmla="*/ 428514 w 6884782"/>
              <a:gd name="connsiteY27974" fmla="*/ 2858014 h 5973007"/>
              <a:gd name="connsiteX27975" fmla="*/ 427171 w 6884782"/>
              <a:gd name="connsiteY27975" fmla="*/ 2861886 h 5973007"/>
              <a:gd name="connsiteX27976" fmla="*/ 420460 w 6884782"/>
              <a:gd name="connsiteY27976" fmla="*/ 2857549 h 5973007"/>
              <a:gd name="connsiteX27977" fmla="*/ 420976 w 6884782"/>
              <a:gd name="connsiteY27977" fmla="*/ 2855071 h 5973007"/>
              <a:gd name="connsiteX27978" fmla="*/ 907416 w 6884782"/>
              <a:gd name="connsiteY27978" fmla="*/ 2854761 h 5973007"/>
              <a:gd name="connsiteX27979" fmla="*/ 888520 w 6884782"/>
              <a:gd name="connsiteY27979" fmla="*/ 2860492 h 5973007"/>
              <a:gd name="connsiteX27980" fmla="*/ 882428 w 6884782"/>
              <a:gd name="connsiteY27980" fmla="*/ 2862351 h 5973007"/>
              <a:gd name="connsiteX27981" fmla="*/ 885009 w 6884782"/>
              <a:gd name="connsiteY27981" fmla="*/ 2864984 h 5973007"/>
              <a:gd name="connsiteX27982" fmla="*/ 887384 w 6884782"/>
              <a:gd name="connsiteY27982" fmla="*/ 2872109 h 5973007"/>
              <a:gd name="connsiteX27983" fmla="*/ 887384 w 6884782"/>
              <a:gd name="connsiteY27983" fmla="*/ 2873039 h 5973007"/>
              <a:gd name="connsiteX27984" fmla="*/ 887591 w 6884782"/>
              <a:gd name="connsiteY27984" fmla="*/ 2873039 h 5973007"/>
              <a:gd name="connsiteX27985" fmla="*/ 892031 w 6884782"/>
              <a:gd name="connsiteY27985" fmla="*/ 2871180 h 5973007"/>
              <a:gd name="connsiteX27986" fmla="*/ 891515 w 6884782"/>
              <a:gd name="connsiteY27986" fmla="*/ 2875207 h 5973007"/>
              <a:gd name="connsiteX27987" fmla="*/ 897297 w 6884782"/>
              <a:gd name="connsiteY27987" fmla="*/ 2873968 h 5973007"/>
              <a:gd name="connsiteX27988" fmla="*/ 897710 w 6884782"/>
              <a:gd name="connsiteY27988" fmla="*/ 2873658 h 5973007"/>
              <a:gd name="connsiteX27989" fmla="*/ 896161 w 6884782"/>
              <a:gd name="connsiteY27989" fmla="*/ 2872419 h 5973007"/>
              <a:gd name="connsiteX27990" fmla="*/ 893786 w 6884782"/>
              <a:gd name="connsiteY27990" fmla="*/ 2872419 h 5973007"/>
              <a:gd name="connsiteX27991" fmla="*/ 911133 w 6884782"/>
              <a:gd name="connsiteY27991" fmla="*/ 2869321 h 5973007"/>
              <a:gd name="connsiteX27992" fmla="*/ 911236 w 6884782"/>
              <a:gd name="connsiteY27992" fmla="*/ 2869012 h 5973007"/>
              <a:gd name="connsiteX27993" fmla="*/ 911546 w 6884782"/>
              <a:gd name="connsiteY27993" fmla="*/ 2869166 h 5973007"/>
              <a:gd name="connsiteX27994" fmla="*/ 918258 w 6884782"/>
              <a:gd name="connsiteY27994" fmla="*/ 2867927 h 5973007"/>
              <a:gd name="connsiteX27995" fmla="*/ 912682 w 6884782"/>
              <a:gd name="connsiteY27995" fmla="*/ 2861731 h 5973007"/>
              <a:gd name="connsiteX27996" fmla="*/ 828734 w 6884782"/>
              <a:gd name="connsiteY27996" fmla="*/ 2854451 h 5973007"/>
              <a:gd name="connsiteX27997" fmla="*/ 827289 w 6884782"/>
              <a:gd name="connsiteY27997" fmla="*/ 2854761 h 5973007"/>
              <a:gd name="connsiteX27998" fmla="*/ 825740 w 6884782"/>
              <a:gd name="connsiteY27998" fmla="*/ 2855690 h 5973007"/>
              <a:gd name="connsiteX27999" fmla="*/ 826257 w 6884782"/>
              <a:gd name="connsiteY27999" fmla="*/ 2855845 h 5973007"/>
              <a:gd name="connsiteX28000" fmla="*/ 825740 w 6884782"/>
              <a:gd name="connsiteY28000" fmla="*/ 2856930 h 5973007"/>
              <a:gd name="connsiteX28001" fmla="*/ 826154 w 6884782"/>
              <a:gd name="connsiteY28001" fmla="*/ 2857859 h 5973007"/>
              <a:gd name="connsiteX28002" fmla="*/ 826154 w 6884782"/>
              <a:gd name="connsiteY28002" fmla="*/ 2857704 h 5973007"/>
              <a:gd name="connsiteX28003" fmla="*/ 829767 w 6884782"/>
              <a:gd name="connsiteY28003" fmla="*/ 2856465 h 5973007"/>
              <a:gd name="connsiteX28004" fmla="*/ 829044 w 6884782"/>
              <a:gd name="connsiteY28004" fmla="*/ 2855845 h 5973007"/>
              <a:gd name="connsiteX28005" fmla="*/ 315345 w 6884782"/>
              <a:gd name="connsiteY28005" fmla="*/ 2854296 h 5973007"/>
              <a:gd name="connsiteX28006" fmla="*/ 318752 w 6884782"/>
              <a:gd name="connsiteY28006" fmla="*/ 2854761 h 5973007"/>
              <a:gd name="connsiteX28007" fmla="*/ 320508 w 6884782"/>
              <a:gd name="connsiteY28007" fmla="*/ 2856620 h 5973007"/>
              <a:gd name="connsiteX28008" fmla="*/ 319682 w 6884782"/>
              <a:gd name="connsiteY28008" fmla="*/ 2858168 h 5973007"/>
              <a:gd name="connsiteX28009" fmla="*/ 319578 w 6884782"/>
              <a:gd name="connsiteY28009" fmla="*/ 2859718 h 5973007"/>
              <a:gd name="connsiteX28010" fmla="*/ 318752 w 6884782"/>
              <a:gd name="connsiteY28010" fmla="*/ 2859718 h 5973007"/>
              <a:gd name="connsiteX28011" fmla="*/ 317823 w 6884782"/>
              <a:gd name="connsiteY28011" fmla="*/ 2860492 h 5973007"/>
              <a:gd name="connsiteX28012" fmla="*/ 314312 w 6884782"/>
              <a:gd name="connsiteY28012" fmla="*/ 2858478 h 5973007"/>
              <a:gd name="connsiteX28013" fmla="*/ 313280 w 6884782"/>
              <a:gd name="connsiteY28013" fmla="*/ 2856620 h 5973007"/>
              <a:gd name="connsiteX28014" fmla="*/ 313486 w 6884782"/>
              <a:gd name="connsiteY28014" fmla="*/ 2855071 h 5973007"/>
              <a:gd name="connsiteX28015" fmla="*/ 315345 w 6884782"/>
              <a:gd name="connsiteY28015" fmla="*/ 2854296 h 5973007"/>
              <a:gd name="connsiteX28016" fmla="*/ 237593 w 6884782"/>
              <a:gd name="connsiteY28016" fmla="*/ 2853677 h 5973007"/>
              <a:gd name="connsiteX28017" fmla="*/ 243788 w 6884782"/>
              <a:gd name="connsiteY28017" fmla="*/ 2856775 h 5973007"/>
              <a:gd name="connsiteX28018" fmla="*/ 237593 w 6884782"/>
              <a:gd name="connsiteY28018" fmla="*/ 2859098 h 5973007"/>
              <a:gd name="connsiteX28019" fmla="*/ 237077 w 6884782"/>
              <a:gd name="connsiteY28019" fmla="*/ 2856620 h 5973007"/>
              <a:gd name="connsiteX28020" fmla="*/ 237593 w 6884782"/>
              <a:gd name="connsiteY28020" fmla="*/ 2853677 h 5973007"/>
              <a:gd name="connsiteX28021" fmla="*/ 493152 w 6884782"/>
              <a:gd name="connsiteY28021" fmla="*/ 2851198 h 5973007"/>
              <a:gd name="connsiteX28022" fmla="*/ 494804 w 6884782"/>
              <a:gd name="connsiteY28022" fmla="*/ 2854606 h 5973007"/>
              <a:gd name="connsiteX28023" fmla="*/ 482207 w 6884782"/>
              <a:gd name="connsiteY28023" fmla="*/ 2856155 h 5973007"/>
              <a:gd name="connsiteX28024" fmla="*/ 493152 w 6884782"/>
              <a:gd name="connsiteY28024" fmla="*/ 2851198 h 5973007"/>
              <a:gd name="connsiteX28025" fmla="*/ 615821 w 6884782"/>
              <a:gd name="connsiteY28025" fmla="*/ 2850114 h 5973007"/>
              <a:gd name="connsiteX28026" fmla="*/ 616853 w 6884782"/>
              <a:gd name="connsiteY28026" fmla="*/ 2850734 h 5973007"/>
              <a:gd name="connsiteX28027" fmla="*/ 617886 w 6884782"/>
              <a:gd name="connsiteY28027" fmla="*/ 2850579 h 5973007"/>
              <a:gd name="connsiteX28028" fmla="*/ 629760 w 6884782"/>
              <a:gd name="connsiteY28028" fmla="*/ 2858168 h 5973007"/>
              <a:gd name="connsiteX28029" fmla="*/ 617472 w 6884782"/>
              <a:gd name="connsiteY28029" fmla="*/ 2857549 h 5973007"/>
              <a:gd name="connsiteX28030" fmla="*/ 616956 w 6884782"/>
              <a:gd name="connsiteY28030" fmla="*/ 2858788 h 5973007"/>
              <a:gd name="connsiteX28031" fmla="*/ 617472 w 6884782"/>
              <a:gd name="connsiteY28031" fmla="*/ 2859253 h 5973007"/>
              <a:gd name="connsiteX28032" fmla="*/ 610761 w 6884782"/>
              <a:gd name="connsiteY28032" fmla="*/ 2864984 h 5973007"/>
              <a:gd name="connsiteX28033" fmla="*/ 608696 w 6884782"/>
              <a:gd name="connsiteY28033" fmla="*/ 2864519 h 5973007"/>
              <a:gd name="connsiteX28034" fmla="*/ 608489 w 6884782"/>
              <a:gd name="connsiteY28034" fmla="*/ 2864674 h 5973007"/>
              <a:gd name="connsiteX28035" fmla="*/ 605392 w 6884782"/>
              <a:gd name="connsiteY28035" fmla="*/ 2860802 h 5973007"/>
              <a:gd name="connsiteX28036" fmla="*/ 605804 w 6884782"/>
              <a:gd name="connsiteY28036" fmla="*/ 2857239 h 5973007"/>
              <a:gd name="connsiteX28037" fmla="*/ 606321 w 6884782"/>
              <a:gd name="connsiteY28037" fmla="*/ 2856155 h 5973007"/>
              <a:gd name="connsiteX28038" fmla="*/ 602397 w 6884782"/>
              <a:gd name="connsiteY28038" fmla="*/ 2855071 h 5973007"/>
              <a:gd name="connsiteX28039" fmla="*/ 608902 w 6884782"/>
              <a:gd name="connsiteY28039" fmla="*/ 2851353 h 5973007"/>
              <a:gd name="connsiteX28040" fmla="*/ 612723 w 6884782"/>
              <a:gd name="connsiteY28040" fmla="*/ 2851044 h 5973007"/>
              <a:gd name="connsiteX28041" fmla="*/ 612929 w 6884782"/>
              <a:gd name="connsiteY28041" fmla="*/ 2850889 h 5973007"/>
              <a:gd name="connsiteX28042" fmla="*/ 615821 w 6884782"/>
              <a:gd name="connsiteY28042" fmla="*/ 2850114 h 5973007"/>
              <a:gd name="connsiteX28043" fmla="*/ 496766 w 6884782"/>
              <a:gd name="connsiteY28043" fmla="*/ 2848100 h 5973007"/>
              <a:gd name="connsiteX28044" fmla="*/ 506059 w 6884782"/>
              <a:gd name="connsiteY28044" fmla="*/ 2855380 h 5973007"/>
              <a:gd name="connsiteX28045" fmla="*/ 497902 w 6884782"/>
              <a:gd name="connsiteY28045" fmla="*/ 2857704 h 5973007"/>
              <a:gd name="connsiteX28046" fmla="*/ 495940 w 6884782"/>
              <a:gd name="connsiteY28046" fmla="*/ 2853522 h 5973007"/>
              <a:gd name="connsiteX28047" fmla="*/ 496766 w 6884782"/>
              <a:gd name="connsiteY28047" fmla="*/ 2848100 h 5973007"/>
              <a:gd name="connsiteX28048" fmla="*/ 954810 w 6884782"/>
              <a:gd name="connsiteY28048" fmla="*/ 2847016 h 5973007"/>
              <a:gd name="connsiteX28049" fmla="*/ 955636 w 6884782"/>
              <a:gd name="connsiteY28049" fmla="*/ 2847171 h 5973007"/>
              <a:gd name="connsiteX28050" fmla="*/ 959147 w 6884782"/>
              <a:gd name="connsiteY28050" fmla="*/ 2847481 h 5973007"/>
              <a:gd name="connsiteX28051" fmla="*/ 960799 w 6884782"/>
              <a:gd name="connsiteY28051" fmla="*/ 2851818 h 5973007"/>
              <a:gd name="connsiteX28052" fmla="*/ 955636 w 6884782"/>
              <a:gd name="connsiteY28052" fmla="*/ 2853057 h 5973007"/>
              <a:gd name="connsiteX28053" fmla="*/ 953571 w 6884782"/>
              <a:gd name="connsiteY28053" fmla="*/ 2848720 h 5973007"/>
              <a:gd name="connsiteX28054" fmla="*/ 954810 w 6884782"/>
              <a:gd name="connsiteY28054" fmla="*/ 2847016 h 5973007"/>
              <a:gd name="connsiteX28055" fmla="*/ 745510 w 6884782"/>
              <a:gd name="connsiteY28055" fmla="*/ 2846397 h 5973007"/>
              <a:gd name="connsiteX28056" fmla="*/ 745717 w 6884782"/>
              <a:gd name="connsiteY28056" fmla="*/ 2851663 h 5973007"/>
              <a:gd name="connsiteX28057" fmla="*/ 738076 w 6884782"/>
              <a:gd name="connsiteY28057" fmla="*/ 2847326 h 5973007"/>
              <a:gd name="connsiteX28058" fmla="*/ 745510 w 6884782"/>
              <a:gd name="connsiteY28058" fmla="*/ 2846397 h 5973007"/>
              <a:gd name="connsiteX28059" fmla="*/ 650205 w 6884782"/>
              <a:gd name="connsiteY28059" fmla="*/ 2844693 h 5973007"/>
              <a:gd name="connsiteX28060" fmla="*/ 644525 w 6884782"/>
              <a:gd name="connsiteY28060" fmla="*/ 2853212 h 5973007"/>
              <a:gd name="connsiteX28061" fmla="*/ 641841 w 6884782"/>
              <a:gd name="connsiteY28061" fmla="*/ 2849494 h 5973007"/>
              <a:gd name="connsiteX28062" fmla="*/ 650205 w 6884782"/>
              <a:gd name="connsiteY28062" fmla="*/ 2844693 h 5973007"/>
              <a:gd name="connsiteX28063" fmla="*/ 1294420 w 6884782"/>
              <a:gd name="connsiteY28063" fmla="*/ 2843144 h 5973007"/>
              <a:gd name="connsiteX28064" fmla="*/ 1297105 w 6884782"/>
              <a:gd name="connsiteY28064" fmla="*/ 2845777 h 5973007"/>
              <a:gd name="connsiteX28065" fmla="*/ 1301029 w 6884782"/>
              <a:gd name="connsiteY28065" fmla="*/ 2847016 h 5973007"/>
              <a:gd name="connsiteX28066" fmla="*/ 1299790 w 6884782"/>
              <a:gd name="connsiteY28066" fmla="*/ 2844228 h 5973007"/>
              <a:gd name="connsiteX28067" fmla="*/ 1300099 w 6884782"/>
              <a:gd name="connsiteY28067" fmla="*/ 2843299 h 5973007"/>
              <a:gd name="connsiteX28068" fmla="*/ 1298757 w 6884782"/>
              <a:gd name="connsiteY28068" fmla="*/ 2843454 h 5973007"/>
              <a:gd name="connsiteX28069" fmla="*/ 1294420 w 6884782"/>
              <a:gd name="connsiteY28069" fmla="*/ 2843144 h 5973007"/>
              <a:gd name="connsiteX28070" fmla="*/ 564915 w 6884782"/>
              <a:gd name="connsiteY28070" fmla="*/ 2840820 h 5973007"/>
              <a:gd name="connsiteX28071" fmla="*/ 575860 w 6884782"/>
              <a:gd name="connsiteY28071" fmla="*/ 2844073 h 5973007"/>
              <a:gd name="connsiteX28072" fmla="*/ 566051 w 6884782"/>
              <a:gd name="connsiteY28072" fmla="*/ 2846861 h 5973007"/>
              <a:gd name="connsiteX28073" fmla="*/ 564915 w 6884782"/>
              <a:gd name="connsiteY28073" fmla="*/ 2840820 h 5973007"/>
              <a:gd name="connsiteX28074" fmla="*/ 584121 w 6884782"/>
              <a:gd name="connsiteY28074" fmla="*/ 2840046 h 5973007"/>
              <a:gd name="connsiteX28075" fmla="*/ 586599 w 6884782"/>
              <a:gd name="connsiteY28075" fmla="*/ 2840355 h 5973007"/>
              <a:gd name="connsiteX28076" fmla="*/ 587115 w 6884782"/>
              <a:gd name="connsiteY28076" fmla="*/ 2852902 h 5973007"/>
              <a:gd name="connsiteX28077" fmla="*/ 583501 w 6884782"/>
              <a:gd name="connsiteY28077" fmla="*/ 2854296 h 5973007"/>
              <a:gd name="connsiteX28078" fmla="*/ 581436 w 6884782"/>
              <a:gd name="connsiteY28078" fmla="*/ 2846551 h 5973007"/>
              <a:gd name="connsiteX28079" fmla="*/ 584121 w 6884782"/>
              <a:gd name="connsiteY28079" fmla="*/ 2840046 h 5973007"/>
              <a:gd name="connsiteX28080" fmla="*/ 635542 w 6884782"/>
              <a:gd name="connsiteY28080" fmla="*/ 2839426 h 5973007"/>
              <a:gd name="connsiteX28081" fmla="*/ 636988 w 6884782"/>
              <a:gd name="connsiteY28081" fmla="*/ 2844383 h 5973007"/>
              <a:gd name="connsiteX28082" fmla="*/ 633477 w 6884782"/>
              <a:gd name="connsiteY28082" fmla="*/ 2846242 h 5973007"/>
              <a:gd name="connsiteX28083" fmla="*/ 631928 w 6884782"/>
              <a:gd name="connsiteY28083" fmla="*/ 2841285 h 5973007"/>
              <a:gd name="connsiteX28084" fmla="*/ 635542 w 6884782"/>
              <a:gd name="connsiteY28084" fmla="*/ 2839426 h 5973007"/>
              <a:gd name="connsiteX28085" fmla="*/ 400841 w 6884782"/>
              <a:gd name="connsiteY28085" fmla="*/ 2838497 h 5973007"/>
              <a:gd name="connsiteX28086" fmla="*/ 407966 w 6884782"/>
              <a:gd name="connsiteY28086" fmla="*/ 2840511 h 5973007"/>
              <a:gd name="connsiteX28087" fmla="*/ 407553 w 6884782"/>
              <a:gd name="connsiteY28087" fmla="*/ 2841130 h 5973007"/>
              <a:gd name="connsiteX28088" fmla="*/ 407759 w 6884782"/>
              <a:gd name="connsiteY28088" fmla="*/ 2841595 h 5973007"/>
              <a:gd name="connsiteX28089" fmla="*/ 407656 w 6884782"/>
              <a:gd name="connsiteY28089" fmla="*/ 2844383 h 5973007"/>
              <a:gd name="connsiteX28090" fmla="*/ 407966 w 6884782"/>
              <a:gd name="connsiteY28090" fmla="*/ 2848565 h 5973007"/>
              <a:gd name="connsiteX28091" fmla="*/ 405281 w 6884782"/>
              <a:gd name="connsiteY28091" fmla="*/ 2862196 h 5973007"/>
              <a:gd name="connsiteX28092" fmla="*/ 403939 w 6884782"/>
              <a:gd name="connsiteY28092" fmla="*/ 2856620 h 5973007"/>
              <a:gd name="connsiteX28093" fmla="*/ 403939 w 6884782"/>
              <a:gd name="connsiteY28093" fmla="*/ 2849340 h 5973007"/>
              <a:gd name="connsiteX28094" fmla="*/ 403319 w 6884782"/>
              <a:gd name="connsiteY28094" fmla="*/ 2843763 h 5973007"/>
              <a:gd name="connsiteX28095" fmla="*/ 401667 w 6884782"/>
              <a:gd name="connsiteY28095" fmla="*/ 2842834 h 5973007"/>
              <a:gd name="connsiteX28096" fmla="*/ 400015 w 6884782"/>
              <a:gd name="connsiteY28096" fmla="*/ 2841130 h 5973007"/>
              <a:gd name="connsiteX28097" fmla="*/ 399912 w 6884782"/>
              <a:gd name="connsiteY28097" fmla="*/ 2839581 h 5973007"/>
              <a:gd name="connsiteX28098" fmla="*/ 400841 w 6884782"/>
              <a:gd name="connsiteY28098" fmla="*/ 2838497 h 5973007"/>
              <a:gd name="connsiteX28099" fmla="*/ 431095 w 6884782"/>
              <a:gd name="connsiteY28099" fmla="*/ 2838187 h 5973007"/>
              <a:gd name="connsiteX28100" fmla="*/ 444105 w 6884782"/>
              <a:gd name="connsiteY28100" fmla="*/ 2845312 h 5973007"/>
              <a:gd name="connsiteX28101" fmla="*/ 439975 w 6884782"/>
              <a:gd name="connsiteY28101" fmla="*/ 2852283 h 5973007"/>
              <a:gd name="connsiteX28102" fmla="*/ 428617 w 6884782"/>
              <a:gd name="connsiteY28102" fmla="*/ 2842989 h 5973007"/>
              <a:gd name="connsiteX28103" fmla="*/ 431095 w 6884782"/>
              <a:gd name="connsiteY28103" fmla="*/ 2838187 h 5973007"/>
              <a:gd name="connsiteX28104" fmla="*/ 1112896 w 6884782"/>
              <a:gd name="connsiteY28104" fmla="*/ 2838032 h 5973007"/>
              <a:gd name="connsiteX28105" fmla="*/ 1113515 w 6884782"/>
              <a:gd name="connsiteY28105" fmla="*/ 2838652 h 5973007"/>
              <a:gd name="connsiteX28106" fmla="*/ 1113825 w 6884782"/>
              <a:gd name="connsiteY28106" fmla="*/ 2838032 h 5973007"/>
              <a:gd name="connsiteX28107" fmla="*/ 1303817 w 6884782"/>
              <a:gd name="connsiteY28107" fmla="*/ 2836328 h 5973007"/>
              <a:gd name="connsiteX28108" fmla="*/ 1301958 w 6884782"/>
              <a:gd name="connsiteY28108" fmla="*/ 2839271 h 5973007"/>
              <a:gd name="connsiteX28109" fmla="*/ 1304230 w 6884782"/>
              <a:gd name="connsiteY28109" fmla="*/ 2840820 h 5973007"/>
              <a:gd name="connsiteX28110" fmla="*/ 1306914 w 6884782"/>
              <a:gd name="connsiteY28110" fmla="*/ 2843919 h 5973007"/>
              <a:gd name="connsiteX28111" fmla="*/ 1305469 w 6884782"/>
              <a:gd name="connsiteY28111" fmla="*/ 2847326 h 5973007"/>
              <a:gd name="connsiteX28112" fmla="*/ 1304746 w 6884782"/>
              <a:gd name="connsiteY28112" fmla="*/ 2847791 h 5973007"/>
              <a:gd name="connsiteX28113" fmla="*/ 1306398 w 6884782"/>
              <a:gd name="connsiteY28113" fmla="*/ 2848100 h 5973007"/>
              <a:gd name="connsiteX28114" fmla="*/ 1310115 w 6884782"/>
              <a:gd name="connsiteY28114" fmla="*/ 2848565 h 5973007"/>
              <a:gd name="connsiteX28115" fmla="*/ 1307121 w 6884782"/>
              <a:gd name="connsiteY28115" fmla="*/ 2846087 h 5973007"/>
              <a:gd name="connsiteX28116" fmla="*/ 1310425 w 6884782"/>
              <a:gd name="connsiteY28116" fmla="*/ 2846551 h 5973007"/>
              <a:gd name="connsiteX28117" fmla="*/ 1311251 w 6884782"/>
              <a:gd name="connsiteY28117" fmla="*/ 2846861 h 5973007"/>
              <a:gd name="connsiteX28118" fmla="*/ 1310115 w 6884782"/>
              <a:gd name="connsiteY28118" fmla="*/ 2845932 h 5973007"/>
              <a:gd name="connsiteX28119" fmla="*/ 1306914 w 6884782"/>
              <a:gd name="connsiteY28119" fmla="*/ 2840820 h 5973007"/>
              <a:gd name="connsiteX28120" fmla="*/ 1305778 w 6884782"/>
              <a:gd name="connsiteY28120" fmla="*/ 2836328 h 5973007"/>
              <a:gd name="connsiteX28121" fmla="*/ 1160600 w 6884782"/>
              <a:gd name="connsiteY28121" fmla="*/ 2835244 h 5973007"/>
              <a:gd name="connsiteX28122" fmla="*/ 1141498 w 6884782"/>
              <a:gd name="connsiteY28122" fmla="*/ 2840975 h 5973007"/>
              <a:gd name="connsiteX28123" fmla="*/ 1136232 w 6884782"/>
              <a:gd name="connsiteY28123" fmla="*/ 2836328 h 5973007"/>
              <a:gd name="connsiteX28124" fmla="*/ 1116097 w 6884782"/>
              <a:gd name="connsiteY28124" fmla="*/ 2841440 h 5973007"/>
              <a:gd name="connsiteX28125" fmla="*/ 1115168 w 6884782"/>
              <a:gd name="connsiteY28125" fmla="*/ 2841440 h 5973007"/>
              <a:gd name="connsiteX28126" fmla="*/ 1116303 w 6884782"/>
              <a:gd name="connsiteY28126" fmla="*/ 2844693 h 5973007"/>
              <a:gd name="connsiteX28127" fmla="*/ 1115890 w 6884782"/>
              <a:gd name="connsiteY28127" fmla="*/ 2845622 h 5973007"/>
              <a:gd name="connsiteX28128" fmla="*/ 1120330 w 6884782"/>
              <a:gd name="connsiteY28128" fmla="*/ 2846087 h 5973007"/>
              <a:gd name="connsiteX28129" fmla="*/ 1140568 w 6884782"/>
              <a:gd name="connsiteY28129" fmla="*/ 2846551 h 5973007"/>
              <a:gd name="connsiteX28130" fmla="*/ 1139226 w 6884782"/>
              <a:gd name="connsiteY28130" fmla="*/ 2849340 h 5973007"/>
              <a:gd name="connsiteX28131" fmla="*/ 1140878 w 6884782"/>
              <a:gd name="connsiteY28131" fmla="*/ 2850424 h 5973007"/>
              <a:gd name="connsiteX28132" fmla="*/ 1140568 w 6884782"/>
              <a:gd name="connsiteY28132" fmla="*/ 2849804 h 5973007"/>
              <a:gd name="connsiteX28133" fmla="*/ 1141807 w 6884782"/>
              <a:gd name="connsiteY28133" fmla="*/ 2846861 h 5973007"/>
              <a:gd name="connsiteX28134" fmla="*/ 1144182 w 6884782"/>
              <a:gd name="connsiteY28134" fmla="*/ 2846242 h 5973007"/>
              <a:gd name="connsiteX28135" fmla="*/ 1145215 w 6884782"/>
              <a:gd name="connsiteY28135" fmla="*/ 2848255 h 5973007"/>
              <a:gd name="connsiteX28136" fmla="*/ 1146764 w 6884782"/>
              <a:gd name="connsiteY28136" fmla="*/ 2847326 h 5973007"/>
              <a:gd name="connsiteX28137" fmla="*/ 1147590 w 6884782"/>
              <a:gd name="connsiteY28137" fmla="*/ 2843144 h 5973007"/>
              <a:gd name="connsiteX28138" fmla="*/ 1149242 w 6884782"/>
              <a:gd name="connsiteY28138" fmla="*/ 2842834 h 5973007"/>
              <a:gd name="connsiteX28139" fmla="*/ 1147280 w 6884782"/>
              <a:gd name="connsiteY28139" fmla="*/ 2841440 h 5973007"/>
              <a:gd name="connsiteX28140" fmla="*/ 1149655 w 6884782"/>
              <a:gd name="connsiteY28140" fmla="*/ 2837723 h 5973007"/>
              <a:gd name="connsiteX28141" fmla="*/ 1158122 w 6884782"/>
              <a:gd name="connsiteY28141" fmla="*/ 2840665 h 5973007"/>
              <a:gd name="connsiteX28142" fmla="*/ 1158019 w 6884782"/>
              <a:gd name="connsiteY28142" fmla="*/ 2843144 h 5973007"/>
              <a:gd name="connsiteX28143" fmla="*/ 1158225 w 6884782"/>
              <a:gd name="connsiteY28143" fmla="*/ 2843144 h 5973007"/>
              <a:gd name="connsiteX28144" fmla="*/ 1160600 w 6884782"/>
              <a:gd name="connsiteY28144" fmla="*/ 2835244 h 5973007"/>
              <a:gd name="connsiteX28145" fmla="*/ 779894 w 6884782"/>
              <a:gd name="connsiteY28145" fmla="*/ 2835089 h 5973007"/>
              <a:gd name="connsiteX28146" fmla="*/ 778965 w 6884782"/>
              <a:gd name="connsiteY28146" fmla="*/ 2836173 h 5973007"/>
              <a:gd name="connsiteX28147" fmla="*/ 779688 w 6884782"/>
              <a:gd name="connsiteY28147" fmla="*/ 2836173 h 5973007"/>
              <a:gd name="connsiteX28148" fmla="*/ 582778 w 6884782"/>
              <a:gd name="connsiteY28148" fmla="*/ 2834314 h 5973007"/>
              <a:gd name="connsiteX28149" fmla="*/ 583501 w 6884782"/>
              <a:gd name="connsiteY28149" fmla="*/ 2834780 h 5973007"/>
              <a:gd name="connsiteX28150" fmla="*/ 583811 w 6884782"/>
              <a:gd name="connsiteY28150" fmla="*/ 2834624 h 5973007"/>
              <a:gd name="connsiteX28151" fmla="*/ 584533 w 6884782"/>
              <a:gd name="connsiteY28151" fmla="*/ 2836328 h 5973007"/>
              <a:gd name="connsiteX28152" fmla="*/ 584533 w 6884782"/>
              <a:gd name="connsiteY28152" fmla="*/ 2838032 h 5973007"/>
              <a:gd name="connsiteX28153" fmla="*/ 581126 w 6884782"/>
              <a:gd name="connsiteY28153" fmla="*/ 2836948 h 5973007"/>
              <a:gd name="connsiteX28154" fmla="*/ 581952 w 6884782"/>
              <a:gd name="connsiteY28154" fmla="*/ 2835554 h 5973007"/>
              <a:gd name="connsiteX28155" fmla="*/ 581230 w 6884782"/>
              <a:gd name="connsiteY28155" fmla="*/ 2835089 h 5973007"/>
              <a:gd name="connsiteX28156" fmla="*/ 582778 w 6884782"/>
              <a:gd name="connsiteY28156" fmla="*/ 2834314 h 5973007"/>
              <a:gd name="connsiteX28157" fmla="*/ 1023372 w 6884782"/>
              <a:gd name="connsiteY28157" fmla="*/ 2833386 h 5973007"/>
              <a:gd name="connsiteX28158" fmla="*/ 1014802 w 6884782"/>
              <a:gd name="connsiteY28158" fmla="*/ 2836018 h 5973007"/>
              <a:gd name="connsiteX28159" fmla="*/ 1016351 w 6884782"/>
              <a:gd name="connsiteY28159" fmla="*/ 2838187 h 5973007"/>
              <a:gd name="connsiteX28160" fmla="*/ 1016145 w 6884782"/>
              <a:gd name="connsiteY28160" fmla="*/ 2839426 h 5973007"/>
              <a:gd name="connsiteX28161" fmla="*/ 1024096 w 6884782"/>
              <a:gd name="connsiteY28161" fmla="*/ 2840820 h 5973007"/>
              <a:gd name="connsiteX28162" fmla="*/ 1018210 w 6884782"/>
              <a:gd name="connsiteY28162" fmla="*/ 2842524 h 5973007"/>
              <a:gd name="connsiteX28163" fmla="*/ 1015835 w 6884782"/>
              <a:gd name="connsiteY28163" fmla="*/ 2842369 h 5973007"/>
              <a:gd name="connsiteX28164" fmla="*/ 1015628 w 6884782"/>
              <a:gd name="connsiteY28164" fmla="*/ 2843299 h 5973007"/>
              <a:gd name="connsiteX28165" fmla="*/ 1012014 w 6884782"/>
              <a:gd name="connsiteY28165" fmla="*/ 2849030 h 5973007"/>
              <a:gd name="connsiteX28166" fmla="*/ 1012014 w 6884782"/>
              <a:gd name="connsiteY28166" fmla="*/ 2849494 h 5973007"/>
              <a:gd name="connsiteX28167" fmla="*/ 1011704 w 6884782"/>
              <a:gd name="connsiteY28167" fmla="*/ 2849494 h 5973007"/>
              <a:gd name="connsiteX28168" fmla="*/ 1008917 w 6884782"/>
              <a:gd name="connsiteY28168" fmla="*/ 2853832 h 5973007"/>
              <a:gd name="connsiteX28169" fmla="*/ 1005819 w 6884782"/>
              <a:gd name="connsiteY28169" fmla="*/ 2849494 h 5973007"/>
              <a:gd name="connsiteX28170" fmla="*/ 1001482 w 6884782"/>
              <a:gd name="connsiteY28170" fmla="*/ 2850269 h 5973007"/>
              <a:gd name="connsiteX28171" fmla="*/ 1001482 w 6884782"/>
              <a:gd name="connsiteY28171" fmla="*/ 2849804 h 5973007"/>
              <a:gd name="connsiteX28172" fmla="*/ 999830 w 6884782"/>
              <a:gd name="connsiteY28172" fmla="*/ 2851044 h 5973007"/>
              <a:gd name="connsiteX28173" fmla="*/ 987543 w 6884782"/>
              <a:gd name="connsiteY28173" fmla="*/ 2855690 h 5973007"/>
              <a:gd name="connsiteX28174" fmla="*/ 995906 w 6884782"/>
              <a:gd name="connsiteY28174" fmla="*/ 2845467 h 5973007"/>
              <a:gd name="connsiteX28175" fmla="*/ 999107 w 6884782"/>
              <a:gd name="connsiteY28175" fmla="*/ 2842834 h 5973007"/>
              <a:gd name="connsiteX28176" fmla="*/ 996113 w 6884782"/>
              <a:gd name="connsiteY28176" fmla="*/ 2843609 h 5973007"/>
              <a:gd name="connsiteX28177" fmla="*/ 1000863 w 6884782"/>
              <a:gd name="connsiteY28177" fmla="*/ 2840820 h 5973007"/>
              <a:gd name="connsiteX28178" fmla="*/ 1000656 w 6884782"/>
              <a:gd name="connsiteY28178" fmla="*/ 2840355 h 5973007"/>
              <a:gd name="connsiteX28179" fmla="*/ 994874 w 6884782"/>
              <a:gd name="connsiteY28179" fmla="*/ 2840201 h 5973007"/>
              <a:gd name="connsiteX28180" fmla="*/ 988472 w 6884782"/>
              <a:gd name="connsiteY28180" fmla="*/ 2839271 h 5973007"/>
              <a:gd name="connsiteX28181" fmla="*/ 984549 w 6884782"/>
              <a:gd name="connsiteY28181" fmla="*/ 2836173 h 5973007"/>
              <a:gd name="connsiteX28182" fmla="*/ 982173 w 6884782"/>
              <a:gd name="connsiteY28182" fmla="*/ 2836173 h 5973007"/>
              <a:gd name="connsiteX28183" fmla="*/ 980418 w 6884782"/>
              <a:gd name="connsiteY28183" fmla="*/ 2836328 h 5973007"/>
              <a:gd name="connsiteX28184" fmla="*/ 974739 w 6884782"/>
              <a:gd name="connsiteY28184" fmla="*/ 2839891 h 5973007"/>
              <a:gd name="connsiteX28185" fmla="*/ 986923 w 6884782"/>
              <a:gd name="connsiteY28185" fmla="*/ 2838961 h 5973007"/>
              <a:gd name="connsiteX28186" fmla="*/ 980108 w 6884782"/>
              <a:gd name="connsiteY28186" fmla="*/ 2846861 h 5973007"/>
              <a:gd name="connsiteX28187" fmla="*/ 970919 w 6884782"/>
              <a:gd name="connsiteY28187" fmla="*/ 2842214 h 5973007"/>
              <a:gd name="connsiteX28188" fmla="*/ 964620 w 6884782"/>
              <a:gd name="connsiteY28188" fmla="*/ 2840820 h 5973007"/>
              <a:gd name="connsiteX28189" fmla="*/ 963071 w 6884782"/>
              <a:gd name="connsiteY28189" fmla="*/ 2840975 h 5973007"/>
              <a:gd name="connsiteX28190" fmla="*/ 962348 w 6884782"/>
              <a:gd name="connsiteY28190" fmla="*/ 2840820 h 5973007"/>
              <a:gd name="connsiteX28191" fmla="*/ 961625 w 6884782"/>
              <a:gd name="connsiteY28191" fmla="*/ 2840511 h 5973007"/>
              <a:gd name="connsiteX28192" fmla="*/ 960076 w 6884782"/>
              <a:gd name="connsiteY28192" fmla="*/ 2840665 h 5973007"/>
              <a:gd name="connsiteX28193" fmla="*/ 960076 w 6884782"/>
              <a:gd name="connsiteY28193" fmla="*/ 2845777 h 5973007"/>
              <a:gd name="connsiteX28194" fmla="*/ 957495 w 6884782"/>
              <a:gd name="connsiteY28194" fmla="*/ 2841905 h 5973007"/>
              <a:gd name="connsiteX28195" fmla="*/ 949131 w 6884782"/>
              <a:gd name="connsiteY28195" fmla="*/ 2847171 h 5973007"/>
              <a:gd name="connsiteX28196" fmla="*/ 946653 w 6884782"/>
              <a:gd name="connsiteY28196" fmla="*/ 2847791 h 5973007"/>
              <a:gd name="connsiteX28197" fmla="*/ 945104 w 6884782"/>
              <a:gd name="connsiteY28197" fmla="*/ 2847945 h 5973007"/>
              <a:gd name="connsiteX28198" fmla="*/ 944898 w 6884782"/>
              <a:gd name="connsiteY28198" fmla="*/ 2848565 h 5973007"/>
              <a:gd name="connsiteX28199" fmla="*/ 944175 w 6884782"/>
              <a:gd name="connsiteY28199" fmla="*/ 2848410 h 5973007"/>
              <a:gd name="connsiteX28200" fmla="*/ 936328 w 6884782"/>
              <a:gd name="connsiteY28200" fmla="*/ 2849340 h 5973007"/>
              <a:gd name="connsiteX28201" fmla="*/ 934779 w 6884782"/>
              <a:gd name="connsiteY28201" fmla="*/ 2849649 h 5973007"/>
              <a:gd name="connsiteX28202" fmla="*/ 932817 w 6884782"/>
              <a:gd name="connsiteY28202" fmla="*/ 2851508 h 5973007"/>
              <a:gd name="connsiteX28203" fmla="*/ 930132 w 6884782"/>
              <a:gd name="connsiteY28203" fmla="*/ 2852438 h 5973007"/>
              <a:gd name="connsiteX28204" fmla="*/ 928480 w 6884782"/>
              <a:gd name="connsiteY28204" fmla="*/ 2852128 h 5973007"/>
              <a:gd name="connsiteX28205" fmla="*/ 930339 w 6884782"/>
              <a:gd name="connsiteY28205" fmla="*/ 2853057 h 5973007"/>
              <a:gd name="connsiteX28206" fmla="*/ 935089 w 6884782"/>
              <a:gd name="connsiteY28206" fmla="*/ 2857549 h 5973007"/>
              <a:gd name="connsiteX28207" fmla="*/ 932300 w 6884782"/>
              <a:gd name="connsiteY28207" fmla="*/ 2857394 h 5973007"/>
              <a:gd name="connsiteX28208" fmla="*/ 931165 w 6884782"/>
              <a:gd name="connsiteY28208" fmla="*/ 2856930 h 5973007"/>
              <a:gd name="connsiteX28209" fmla="*/ 930339 w 6884782"/>
              <a:gd name="connsiteY28209" fmla="*/ 2857239 h 5973007"/>
              <a:gd name="connsiteX28210" fmla="*/ 930029 w 6884782"/>
              <a:gd name="connsiteY28210" fmla="*/ 2856465 h 5973007"/>
              <a:gd name="connsiteX28211" fmla="*/ 927758 w 6884782"/>
              <a:gd name="connsiteY28211" fmla="*/ 2855380 h 5973007"/>
              <a:gd name="connsiteX28212" fmla="*/ 921872 w 6884782"/>
              <a:gd name="connsiteY28212" fmla="*/ 2854451 h 5973007"/>
              <a:gd name="connsiteX28213" fmla="*/ 921459 w 6884782"/>
              <a:gd name="connsiteY28213" fmla="*/ 2854142 h 5973007"/>
              <a:gd name="connsiteX28214" fmla="*/ 918878 w 6884782"/>
              <a:gd name="connsiteY28214" fmla="*/ 2855845 h 5973007"/>
              <a:gd name="connsiteX28215" fmla="*/ 911133 w 6884782"/>
              <a:gd name="connsiteY28215" fmla="*/ 2855226 h 5973007"/>
              <a:gd name="connsiteX28216" fmla="*/ 916812 w 6884782"/>
              <a:gd name="connsiteY28216" fmla="*/ 2857394 h 5973007"/>
              <a:gd name="connsiteX28217" fmla="*/ 918258 w 6884782"/>
              <a:gd name="connsiteY28217" fmla="*/ 2858633 h 5973007"/>
              <a:gd name="connsiteX28218" fmla="*/ 919187 w 6884782"/>
              <a:gd name="connsiteY28218" fmla="*/ 2857084 h 5973007"/>
              <a:gd name="connsiteX28219" fmla="*/ 927861 w 6884782"/>
              <a:gd name="connsiteY28219" fmla="*/ 2859253 h 5973007"/>
              <a:gd name="connsiteX28220" fmla="*/ 927345 w 6884782"/>
              <a:gd name="connsiteY28220" fmla="*/ 2863745 h 5973007"/>
              <a:gd name="connsiteX28221" fmla="*/ 926208 w 6884782"/>
              <a:gd name="connsiteY28221" fmla="*/ 2864984 h 5973007"/>
              <a:gd name="connsiteX28222" fmla="*/ 927345 w 6884782"/>
              <a:gd name="connsiteY28222" fmla="*/ 2866223 h 5973007"/>
              <a:gd name="connsiteX28223" fmla="*/ 933746 w 6884782"/>
              <a:gd name="connsiteY28223" fmla="*/ 2865139 h 5973007"/>
              <a:gd name="connsiteX28224" fmla="*/ 939322 w 6884782"/>
              <a:gd name="connsiteY28224" fmla="*/ 2864055 h 5973007"/>
              <a:gd name="connsiteX28225" fmla="*/ 947170 w 6884782"/>
              <a:gd name="connsiteY28225" fmla="*/ 2863125 h 5973007"/>
              <a:gd name="connsiteX28226" fmla="*/ 947892 w 6884782"/>
              <a:gd name="connsiteY28226" fmla="*/ 2863435 h 5973007"/>
              <a:gd name="connsiteX28227" fmla="*/ 948099 w 6884782"/>
              <a:gd name="connsiteY28227" fmla="*/ 2862661 h 5973007"/>
              <a:gd name="connsiteX28228" fmla="*/ 949648 w 6884782"/>
              <a:gd name="connsiteY28228" fmla="*/ 2862506 h 5973007"/>
              <a:gd name="connsiteX28229" fmla="*/ 955636 w 6884782"/>
              <a:gd name="connsiteY28229" fmla="*/ 2862351 h 5973007"/>
              <a:gd name="connsiteX28230" fmla="*/ 960799 w 6884782"/>
              <a:gd name="connsiteY28230" fmla="*/ 2862815 h 5973007"/>
              <a:gd name="connsiteX28231" fmla="*/ 963794 w 6884782"/>
              <a:gd name="connsiteY28231" fmla="*/ 2862971 h 5973007"/>
              <a:gd name="connsiteX28232" fmla="*/ 965136 w 6884782"/>
              <a:gd name="connsiteY28232" fmla="*/ 2863435 h 5973007"/>
              <a:gd name="connsiteX28233" fmla="*/ 967201 w 6884782"/>
              <a:gd name="connsiteY28233" fmla="*/ 2864210 h 5973007"/>
              <a:gd name="connsiteX28234" fmla="*/ 967821 w 6884782"/>
              <a:gd name="connsiteY28234" fmla="*/ 2862196 h 5973007"/>
              <a:gd name="connsiteX28235" fmla="*/ 966479 w 6884782"/>
              <a:gd name="connsiteY28235" fmla="*/ 2861731 h 5973007"/>
              <a:gd name="connsiteX28236" fmla="*/ 965136 w 6884782"/>
              <a:gd name="connsiteY28236" fmla="*/ 2861267 h 5973007"/>
              <a:gd name="connsiteX28237" fmla="*/ 964207 w 6884782"/>
              <a:gd name="connsiteY28237" fmla="*/ 2861731 h 5973007"/>
              <a:gd name="connsiteX28238" fmla="*/ 965446 w 6884782"/>
              <a:gd name="connsiteY28238" fmla="*/ 2860027 h 5973007"/>
              <a:gd name="connsiteX28239" fmla="*/ 969473 w 6884782"/>
              <a:gd name="connsiteY28239" fmla="*/ 2859098 h 5973007"/>
              <a:gd name="connsiteX28240" fmla="*/ 976288 w 6884782"/>
              <a:gd name="connsiteY28240" fmla="*/ 2861422 h 5973007"/>
              <a:gd name="connsiteX28241" fmla="*/ 995906 w 6884782"/>
              <a:gd name="connsiteY28241" fmla="*/ 2856620 h 5973007"/>
              <a:gd name="connsiteX28242" fmla="*/ 1005716 w 6884782"/>
              <a:gd name="connsiteY28242" fmla="*/ 2856310 h 5973007"/>
              <a:gd name="connsiteX28243" fmla="*/ 1008194 w 6884782"/>
              <a:gd name="connsiteY28243" fmla="*/ 2855690 h 5973007"/>
              <a:gd name="connsiteX28244" fmla="*/ 1010672 w 6884782"/>
              <a:gd name="connsiteY28244" fmla="*/ 2855071 h 5973007"/>
              <a:gd name="connsiteX28245" fmla="*/ 1010259 w 6884782"/>
              <a:gd name="connsiteY28245" fmla="*/ 2852438 h 5973007"/>
              <a:gd name="connsiteX28246" fmla="*/ 1013976 w 6884782"/>
              <a:gd name="connsiteY28246" fmla="*/ 2854296 h 5973007"/>
              <a:gd name="connsiteX28247" fmla="*/ 1015525 w 6884782"/>
              <a:gd name="connsiteY28247" fmla="*/ 2853832 h 5973007"/>
              <a:gd name="connsiteX28248" fmla="*/ 1027193 w 6884782"/>
              <a:gd name="connsiteY28248" fmla="*/ 2857704 h 5973007"/>
              <a:gd name="connsiteX28249" fmla="*/ 1036176 w 6884782"/>
              <a:gd name="connsiteY28249" fmla="*/ 2860182 h 5973007"/>
              <a:gd name="connsiteX28250" fmla="*/ 1038758 w 6884782"/>
              <a:gd name="connsiteY28250" fmla="*/ 2854451 h 5973007"/>
              <a:gd name="connsiteX28251" fmla="*/ 1052284 w 6884782"/>
              <a:gd name="connsiteY28251" fmla="*/ 2853677 h 5973007"/>
              <a:gd name="connsiteX28252" fmla="*/ 1057963 w 6884782"/>
              <a:gd name="connsiteY28252" fmla="*/ 2853367 h 5973007"/>
              <a:gd name="connsiteX28253" fmla="*/ 1064882 w 6884782"/>
              <a:gd name="connsiteY28253" fmla="*/ 2848100 h 5973007"/>
              <a:gd name="connsiteX28254" fmla="*/ 1066740 w 6884782"/>
              <a:gd name="connsiteY28254" fmla="*/ 2849340 h 5973007"/>
              <a:gd name="connsiteX28255" fmla="*/ 1066534 w 6884782"/>
              <a:gd name="connsiteY28255" fmla="*/ 2847326 h 5973007"/>
              <a:gd name="connsiteX28256" fmla="*/ 1070458 w 6884782"/>
              <a:gd name="connsiteY28256" fmla="*/ 2851663 h 5973007"/>
              <a:gd name="connsiteX28257" fmla="*/ 1073968 w 6884782"/>
              <a:gd name="connsiteY28257" fmla="*/ 2849959 h 5973007"/>
              <a:gd name="connsiteX28258" fmla="*/ 1078305 w 6884782"/>
              <a:gd name="connsiteY28258" fmla="*/ 2850579 h 5973007"/>
              <a:gd name="connsiteX28259" fmla="*/ 1086669 w 6884782"/>
              <a:gd name="connsiteY28259" fmla="*/ 2847791 h 5973007"/>
              <a:gd name="connsiteX28260" fmla="*/ 1088424 w 6884782"/>
              <a:gd name="connsiteY28260" fmla="*/ 2851973 h 5973007"/>
              <a:gd name="connsiteX28261" fmla="*/ 1093587 w 6884782"/>
              <a:gd name="connsiteY28261" fmla="*/ 2849959 h 5973007"/>
              <a:gd name="connsiteX28262" fmla="*/ 1094929 w 6884782"/>
              <a:gd name="connsiteY28262" fmla="*/ 2841595 h 5973007"/>
              <a:gd name="connsiteX28263" fmla="*/ 1095549 w 6884782"/>
              <a:gd name="connsiteY28263" fmla="*/ 2839891 h 5973007"/>
              <a:gd name="connsiteX28264" fmla="*/ 1092244 w 6884782"/>
              <a:gd name="connsiteY28264" fmla="*/ 2842369 h 5973007"/>
              <a:gd name="connsiteX28265" fmla="*/ 1090489 w 6884782"/>
              <a:gd name="connsiteY28265" fmla="*/ 2839271 h 5973007"/>
              <a:gd name="connsiteX28266" fmla="*/ 1090283 w 6884782"/>
              <a:gd name="connsiteY28266" fmla="*/ 2839116 h 5973007"/>
              <a:gd name="connsiteX28267" fmla="*/ 1087495 w 6884782"/>
              <a:gd name="connsiteY28267" fmla="*/ 2842214 h 5973007"/>
              <a:gd name="connsiteX28268" fmla="*/ 1066637 w 6884782"/>
              <a:gd name="connsiteY28268" fmla="*/ 2845312 h 5973007"/>
              <a:gd name="connsiteX28269" fmla="*/ 1061784 w 6884782"/>
              <a:gd name="connsiteY28269" fmla="*/ 2840046 h 5973007"/>
              <a:gd name="connsiteX28270" fmla="*/ 1060029 w 6884782"/>
              <a:gd name="connsiteY28270" fmla="*/ 2841440 h 5973007"/>
              <a:gd name="connsiteX28271" fmla="*/ 1051149 w 6884782"/>
              <a:gd name="connsiteY28271" fmla="*/ 2838497 h 5973007"/>
              <a:gd name="connsiteX28272" fmla="*/ 1056208 w 6884782"/>
              <a:gd name="connsiteY28272" fmla="*/ 2841595 h 5973007"/>
              <a:gd name="connsiteX28273" fmla="*/ 1047638 w 6884782"/>
              <a:gd name="connsiteY28273" fmla="*/ 2843144 h 5973007"/>
              <a:gd name="connsiteX28274" fmla="*/ 1044643 w 6884782"/>
              <a:gd name="connsiteY28274" fmla="*/ 2842059 h 5973007"/>
              <a:gd name="connsiteX28275" fmla="*/ 1044540 w 6884782"/>
              <a:gd name="connsiteY28275" fmla="*/ 2844073 h 5973007"/>
              <a:gd name="connsiteX28276" fmla="*/ 1037622 w 6884782"/>
              <a:gd name="connsiteY28276" fmla="*/ 2848100 h 5973007"/>
              <a:gd name="connsiteX28277" fmla="*/ 1031736 w 6884782"/>
              <a:gd name="connsiteY28277" fmla="*/ 2843454 h 5973007"/>
              <a:gd name="connsiteX28278" fmla="*/ 1035454 w 6884782"/>
              <a:gd name="connsiteY28278" fmla="*/ 2839581 h 5973007"/>
              <a:gd name="connsiteX28279" fmla="*/ 1035763 w 6884782"/>
              <a:gd name="connsiteY28279" fmla="*/ 2839271 h 5973007"/>
              <a:gd name="connsiteX28280" fmla="*/ 1030807 w 6884782"/>
              <a:gd name="connsiteY28280" fmla="*/ 2837877 h 5973007"/>
              <a:gd name="connsiteX28281" fmla="*/ 1023786 w 6884782"/>
              <a:gd name="connsiteY28281" fmla="*/ 2839271 h 5973007"/>
              <a:gd name="connsiteX28282" fmla="*/ 1023372 w 6884782"/>
              <a:gd name="connsiteY28282" fmla="*/ 2833386 h 5973007"/>
              <a:gd name="connsiteX28283" fmla="*/ 741173 w 6884782"/>
              <a:gd name="connsiteY28283" fmla="*/ 2833076 h 5973007"/>
              <a:gd name="connsiteX28284" fmla="*/ 748504 w 6884782"/>
              <a:gd name="connsiteY28284" fmla="*/ 2836018 h 5973007"/>
              <a:gd name="connsiteX28285" fmla="*/ 739315 w 6884782"/>
              <a:gd name="connsiteY28285" fmla="*/ 2834469 h 5973007"/>
              <a:gd name="connsiteX28286" fmla="*/ 741173 w 6884782"/>
              <a:gd name="connsiteY28286" fmla="*/ 2833076 h 5973007"/>
              <a:gd name="connsiteX28287" fmla="*/ 472707 w 6884782"/>
              <a:gd name="connsiteY28287" fmla="*/ 2831372 h 5973007"/>
              <a:gd name="connsiteX28288" fmla="*/ 477560 w 6884782"/>
              <a:gd name="connsiteY28288" fmla="*/ 2837877 h 5973007"/>
              <a:gd name="connsiteX28289" fmla="*/ 455154 w 6884782"/>
              <a:gd name="connsiteY28289" fmla="*/ 2847326 h 5973007"/>
              <a:gd name="connsiteX28290" fmla="*/ 449371 w 6884782"/>
              <a:gd name="connsiteY28290" fmla="*/ 2842214 h 5973007"/>
              <a:gd name="connsiteX28291" fmla="*/ 472707 w 6884782"/>
              <a:gd name="connsiteY28291" fmla="*/ 2831372 h 5973007"/>
              <a:gd name="connsiteX28292" fmla="*/ 1269535 w 6884782"/>
              <a:gd name="connsiteY28292" fmla="*/ 2831062 h 5973007"/>
              <a:gd name="connsiteX28293" fmla="*/ 1278519 w 6884782"/>
              <a:gd name="connsiteY28293" fmla="*/ 2836328 h 5973007"/>
              <a:gd name="connsiteX28294" fmla="*/ 1278932 w 6884782"/>
              <a:gd name="connsiteY28294" fmla="*/ 2836328 h 5973007"/>
              <a:gd name="connsiteX28295" fmla="*/ 1280377 w 6884782"/>
              <a:gd name="connsiteY28295" fmla="*/ 2834780 h 5973007"/>
              <a:gd name="connsiteX28296" fmla="*/ 1284714 w 6884782"/>
              <a:gd name="connsiteY28296" fmla="*/ 2834314 h 5973007"/>
              <a:gd name="connsiteX28297" fmla="*/ 1287812 w 6884782"/>
              <a:gd name="connsiteY28297" fmla="*/ 2838652 h 5973007"/>
              <a:gd name="connsiteX28298" fmla="*/ 1289154 w 6884782"/>
              <a:gd name="connsiteY28298" fmla="*/ 2840820 h 5973007"/>
              <a:gd name="connsiteX28299" fmla="*/ 1295453 w 6884782"/>
              <a:gd name="connsiteY28299" fmla="*/ 2840820 h 5973007"/>
              <a:gd name="connsiteX28300" fmla="*/ 1298757 w 6884782"/>
              <a:gd name="connsiteY28300" fmla="*/ 2840975 h 5973007"/>
              <a:gd name="connsiteX28301" fmla="*/ 1300512 w 6884782"/>
              <a:gd name="connsiteY28301" fmla="*/ 2841905 h 5973007"/>
              <a:gd name="connsiteX28302" fmla="*/ 1301132 w 6884782"/>
              <a:gd name="connsiteY28302" fmla="*/ 2839426 h 5973007"/>
              <a:gd name="connsiteX28303" fmla="*/ 1296072 w 6884782"/>
              <a:gd name="connsiteY28303" fmla="*/ 2834005 h 5973007"/>
              <a:gd name="connsiteX28304" fmla="*/ 1288328 w 6884782"/>
              <a:gd name="connsiteY28304" fmla="*/ 2833850 h 5973007"/>
              <a:gd name="connsiteX28305" fmla="*/ 1269535 w 6884782"/>
              <a:gd name="connsiteY28305" fmla="*/ 2831062 h 5973007"/>
              <a:gd name="connsiteX28306" fmla="*/ 532325 w 6884782"/>
              <a:gd name="connsiteY28306" fmla="*/ 2831004 h 5973007"/>
              <a:gd name="connsiteX28307" fmla="*/ 541992 w 6884782"/>
              <a:gd name="connsiteY28307" fmla="*/ 2831217 h 5973007"/>
              <a:gd name="connsiteX28308" fmla="*/ 532699 w 6884782"/>
              <a:gd name="connsiteY28308" fmla="*/ 2836793 h 5973007"/>
              <a:gd name="connsiteX28309" fmla="*/ 522270 w 6884782"/>
              <a:gd name="connsiteY28309" fmla="*/ 2836483 h 5973007"/>
              <a:gd name="connsiteX28310" fmla="*/ 532325 w 6884782"/>
              <a:gd name="connsiteY28310" fmla="*/ 2831004 h 5973007"/>
              <a:gd name="connsiteX28311" fmla="*/ 299857 w 6884782"/>
              <a:gd name="connsiteY28311" fmla="*/ 2830752 h 5973007"/>
              <a:gd name="connsiteX28312" fmla="*/ 301921 w 6884782"/>
              <a:gd name="connsiteY28312" fmla="*/ 2831217 h 5973007"/>
              <a:gd name="connsiteX28313" fmla="*/ 296346 w 6884782"/>
              <a:gd name="connsiteY28313" fmla="*/ 2845777 h 5973007"/>
              <a:gd name="connsiteX28314" fmla="*/ 294591 w 6884782"/>
              <a:gd name="connsiteY28314" fmla="*/ 2844847 h 5973007"/>
              <a:gd name="connsiteX28315" fmla="*/ 294074 w 6884782"/>
              <a:gd name="connsiteY28315" fmla="*/ 2842524 h 5973007"/>
              <a:gd name="connsiteX28316" fmla="*/ 296552 w 6884782"/>
              <a:gd name="connsiteY28316" fmla="*/ 2834934 h 5973007"/>
              <a:gd name="connsiteX28317" fmla="*/ 297482 w 6884782"/>
              <a:gd name="connsiteY28317" fmla="*/ 2833386 h 5973007"/>
              <a:gd name="connsiteX28318" fmla="*/ 298411 w 6884782"/>
              <a:gd name="connsiteY28318" fmla="*/ 2831681 h 5973007"/>
              <a:gd name="connsiteX28319" fmla="*/ 299857 w 6884782"/>
              <a:gd name="connsiteY28319" fmla="*/ 2830752 h 5973007"/>
              <a:gd name="connsiteX28320" fmla="*/ 649792 w 6884782"/>
              <a:gd name="connsiteY28320" fmla="*/ 2829300 h 5973007"/>
              <a:gd name="connsiteX28321" fmla="*/ 668171 w 6884782"/>
              <a:gd name="connsiteY28321" fmla="*/ 2833386 h 5973007"/>
              <a:gd name="connsiteX28322" fmla="*/ 672198 w 6884782"/>
              <a:gd name="connsiteY28322" fmla="*/ 2835399 h 5973007"/>
              <a:gd name="connsiteX28323" fmla="*/ 673541 w 6884782"/>
              <a:gd name="connsiteY28323" fmla="*/ 2833230 h 5973007"/>
              <a:gd name="connsiteX28324" fmla="*/ 673850 w 6884782"/>
              <a:gd name="connsiteY28324" fmla="*/ 2833230 h 5973007"/>
              <a:gd name="connsiteX28325" fmla="*/ 673850 w 6884782"/>
              <a:gd name="connsiteY28325" fmla="*/ 2832766 h 5973007"/>
              <a:gd name="connsiteX28326" fmla="*/ 673850 w 6884782"/>
              <a:gd name="connsiteY28326" fmla="*/ 2831836 h 5973007"/>
              <a:gd name="connsiteX28327" fmla="*/ 674573 w 6884782"/>
              <a:gd name="connsiteY28327" fmla="*/ 2831526 h 5973007"/>
              <a:gd name="connsiteX28328" fmla="*/ 674676 w 6884782"/>
              <a:gd name="connsiteY28328" fmla="*/ 2831372 h 5973007"/>
              <a:gd name="connsiteX28329" fmla="*/ 676535 w 6884782"/>
              <a:gd name="connsiteY28329" fmla="*/ 2831681 h 5973007"/>
              <a:gd name="connsiteX28330" fmla="*/ 677981 w 6884782"/>
              <a:gd name="connsiteY28330" fmla="*/ 2832921 h 5973007"/>
              <a:gd name="connsiteX28331" fmla="*/ 677361 w 6884782"/>
              <a:gd name="connsiteY28331" fmla="*/ 2833850 h 5973007"/>
              <a:gd name="connsiteX28332" fmla="*/ 676845 w 6884782"/>
              <a:gd name="connsiteY28332" fmla="*/ 2834160 h 5973007"/>
              <a:gd name="connsiteX28333" fmla="*/ 679117 w 6884782"/>
              <a:gd name="connsiteY28333" fmla="*/ 2837412 h 5973007"/>
              <a:gd name="connsiteX28334" fmla="*/ 677568 w 6884782"/>
              <a:gd name="connsiteY28334" fmla="*/ 2838342 h 5973007"/>
              <a:gd name="connsiteX28335" fmla="*/ 679117 w 6884782"/>
              <a:gd name="connsiteY28335" fmla="*/ 2839116 h 5973007"/>
              <a:gd name="connsiteX28336" fmla="*/ 636058 w 6884782"/>
              <a:gd name="connsiteY28336" fmla="*/ 2836948 h 5973007"/>
              <a:gd name="connsiteX28337" fmla="*/ 649792 w 6884782"/>
              <a:gd name="connsiteY28337" fmla="*/ 2829300 h 5973007"/>
              <a:gd name="connsiteX28338" fmla="*/ 1335723 w 6884782"/>
              <a:gd name="connsiteY28338" fmla="*/ 2828274 h 5973007"/>
              <a:gd name="connsiteX28339" fmla="*/ 1337685 w 6884782"/>
              <a:gd name="connsiteY28339" fmla="*/ 2829203 h 5973007"/>
              <a:gd name="connsiteX28340" fmla="*/ 1335103 w 6884782"/>
              <a:gd name="connsiteY28340" fmla="*/ 2831836 h 5973007"/>
              <a:gd name="connsiteX28341" fmla="*/ 1333348 w 6884782"/>
              <a:gd name="connsiteY28341" fmla="*/ 2829513 h 5973007"/>
              <a:gd name="connsiteX28342" fmla="*/ 1335723 w 6884782"/>
              <a:gd name="connsiteY28342" fmla="*/ 2828274 h 5973007"/>
              <a:gd name="connsiteX28343" fmla="*/ 687170 w 6884782"/>
              <a:gd name="connsiteY28343" fmla="*/ 2827964 h 5973007"/>
              <a:gd name="connsiteX28344" fmla="*/ 699664 w 6884782"/>
              <a:gd name="connsiteY28344" fmla="*/ 2838187 h 5973007"/>
              <a:gd name="connsiteX28345" fmla="*/ 696154 w 6884782"/>
              <a:gd name="connsiteY28345" fmla="*/ 2837877 h 5973007"/>
              <a:gd name="connsiteX28346" fmla="*/ 693779 w 6884782"/>
              <a:gd name="connsiteY28346" fmla="*/ 2836948 h 5973007"/>
              <a:gd name="connsiteX28347" fmla="*/ 694089 w 6884782"/>
              <a:gd name="connsiteY28347" fmla="*/ 2837723 h 5973007"/>
              <a:gd name="connsiteX28348" fmla="*/ 694708 w 6884782"/>
              <a:gd name="connsiteY28348" fmla="*/ 2842679 h 5973007"/>
              <a:gd name="connsiteX28349" fmla="*/ 696464 w 6884782"/>
              <a:gd name="connsiteY28349" fmla="*/ 2846551 h 5973007"/>
              <a:gd name="connsiteX28350" fmla="*/ 706479 w 6884782"/>
              <a:gd name="connsiteY28350" fmla="*/ 2843919 h 5973007"/>
              <a:gd name="connsiteX28351" fmla="*/ 712985 w 6884782"/>
              <a:gd name="connsiteY28351" fmla="*/ 2844383 h 5973007"/>
              <a:gd name="connsiteX28352" fmla="*/ 712675 w 6884782"/>
              <a:gd name="connsiteY28352" fmla="*/ 2841905 h 5973007"/>
              <a:gd name="connsiteX28353" fmla="*/ 721555 w 6884782"/>
              <a:gd name="connsiteY28353" fmla="*/ 2829513 h 5973007"/>
              <a:gd name="connsiteX28354" fmla="*/ 727957 w 6884782"/>
              <a:gd name="connsiteY28354" fmla="*/ 2831062 h 5973007"/>
              <a:gd name="connsiteX28355" fmla="*/ 738282 w 6884782"/>
              <a:gd name="connsiteY28355" fmla="*/ 2846551 h 5973007"/>
              <a:gd name="connsiteX28356" fmla="*/ 728060 w 6884782"/>
              <a:gd name="connsiteY28356" fmla="*/ 2854606 h 5973007"/>
              <a:gd name="connsiteX28357" fmla="*/ 719799 w 6884782"/>
              <a:gd name="connsiteY28357" fmla="*/ 2855071 h 5973007"/>
              <a:gd name="connsiteX28358" fmla="*/ 715669 w 6884782"/>
              <a:gd name="connsiteY28358" fmla="*/ 2859253 h 5973007"/>
              <a:gd name="connsiteX28359" fmla="*/ 716289 w 6884782"/>
              <a:gd name="connsiteY28359" fmla="*/ 2861731 h 5973007"/>
              <a:gd name="connsiteX28360" fmla="*/ 713914 w 6884782"/>
              <a:gd name="connsiteY28360" fmla="*/ 2865449 h 5973007"/>
              <a:gd name="connsiteX28361" fmla="*/ 712985 w 6884782"/>
              <a:gd name="connsiteY28361" fmla="*/ 2865139 h 5973007"/>
              <a:gd name="connsiteX28362" fmla="*/ 712881 w 6884782"/>
              <a:gd name="connsiteY28362" fmla="*/ 2866223 h 5973007"/>
              <a:gd name="connsiteX28363" fmla="*/ 711229 w 6884782"/>
              <a:gd name="connsiteY28363" fmla="*/ 2868857 h 5973007"/>
              <a:gd name="connsiteX28364" fmla="*/ 699871 w 6884782"/>
              <a:gd name="connsiteY28364" fmla="*/ 2871025 h 5973007"/>
              <a:gd name="connsiteX28365" fmla="*/ 695947 w 6884782"/>
              <a:gd name="connsiteY28365" fmla="*/ 2863590 h 5973007"/>
              <a:gd name="connsiteX28366" fmla="*/ 695947 w 6884782"/>
              <a:gd name="connsiteY28366" fmla="*/ 2864519 h 5973007"/>
              <a:gd name="connsiteX28367" fmla="*/ 683453 w 6884782"/>
              <a:gd name="connsiteY28367" fmla="*/ 2873504 h 5973007"/>
              <a:gd name="connsiteX28368" fmla="*/ 684383 w 6884782"/>
              <a:gd name="connsiteY28368" fmla="*/ 2870870 h 5973007"/>
              <a:gd name="connsiteX28369" fmla="*/ 685312 w 6884782"/>
              <a:gd name="connsiteY28369" fmla="*/ 2870096 h 5973007"/>
              <a:gd name="connsiteX28370" fmla="*/ 685415 w 6884782"/>
              <a:gd name="connsiteY28370" fmla="*/ 2869786 h 5973007"/>
              <a:gd name="connsiteX28371" fmla="*/ 682730 w 6884782"/>
              <a:gd name="connsiteY28371" fmla="*/ 2871490 h 5973007"/>
              <a:gd name="connsiteX28372" fmla="*/ 677671 w 6884782"/>
              <a:gd name="connsiteY28372" fmla="*/ 2869166 h 5973007"/>
              <a:gd name="connsiteX28373" fmla="*/ 693572 w 6884782"/>
              <a:gd name="connsiteY28373" fmla="*/ 2860182 h 5973007"/>
              <a:gd name="connsiteX28374" fmla="*/ 696154 w 6884782"/>
              <a:gd name="connsiteY28374" fmla="*/ 2858478 h 5973007"/>
              <a:gd name="connsiteX28375" fmla="*/ 697806 w 6884782"/>
              <a:gd name="connsiteY28375" fmla="*/ 2860182 h 5973007"/>
              <a:gd name="connsiteX28376" fmla="*/ 699355 w 6884782"/>
              <a:gd name="connsiteY28376" fmla="*/ 2858788 h 5973007"/>
              <a:gd name="connsiteX28377" fmla="*/ 695225 w 6884782"/>
              <a:gd name="connsiteY28377" fmla="*/ 2857394 h 5973007"/>
              <a:gd name="connsiteX28378" fmla="*/ 693469 w 6884782"/>
              <a:gd name="connsiteY28378" fmla="*/ 2855536 h 5973007"/>
              <a:gd name="connsiteX28379" fmla="*/ 692643 w 6884782"/>
              <a:gd name="connsiteY28379" fmla="*/ 2855690 h 5973007"/>
              <a:gd name="connsiteX28380" fmla="*/ 682730 w 6884782"/>
              <a:gd name="connsiteY28380" fmla="*/ 2854296 h 5973007"/>
              <a:gd name="connsiteX28381" fmla="*/ 684073 w 6884782"/>
              <a:gd name="connsiteY28381" fmla="*/ 2848410 h 5973007"/>
              <a:gd name="connsiteX28382" fmla="*/ 685312 w 6884782"/>
              <a:gd name="connsiteY28382" fmla="*/ 2845467 h 5973007"/>
              <a:gd name="connsiteX28383" fmla="*/ 681801 w 6884782"/>
              <a:gd name="connsiteY28383" fmla="*/ 2844228 h 5973007"/>
              <a:gd name="connsiteX28384" fmla="*/ 679839 w 6884782"/>
              <a:gd name="connsiteY28384" fmla="*/ 2840665 h 5973007"/>
              <a:gd name="connsiteX28385" fmla="*/ 683247 w 6884782"/>
              <a:gd name="connsiteY28385" fmla="*/ 2839271 h 5973007"/>
              <a:gd name="connsiteX28386" fmla="*/ 687274 w 6884782"/>
              <a:gd name="connsiteY28386" fmla="*/ 2841285 h 5973007"/>
              <a:gd name="connsiteX28387" fmla="*/ 687377 w 6884782"/>
              <a:gd name="connsiteY28387" fmla="*/ 2841595 h 5973007"/>
              <a:gd name="connsiteX28388" fmla="*/ 691197 w 6884782"/>
              <a:gd name="connsiteY28388" fmla="*/ 2835244 h 5973007"/>
              <a:gd name="connsiteX28389" fmla="*/ 688513 w 6884782"/>
              <a:gd name="connsiteY28389" fmla="*/ 2832610 h 5973007"/>
              <a:gd name="connsiteX28390" fmla="*/ 687170 w 6884782"/>
              <a:gd name="connsiteY28390" fmla="*/ 2827964 h 5973007"/>
              <a:gd name="connsiteX28391" fmla="*/ 879124 w 6884782"/>
              <a:gd name="connsiteY28391" fmla="*/ 2823317 h 5973007"/>
              <a:gd name="connsiteX28392" fmla="*/ 884080 w 6884782"/>
              <a:gd name="connsiteY28392" fmla="*/ 2824556 h 5973007"/>
              <a:gd name="connsiteX28393" fmla="*/ 879330 w 6884782"/>
              <a:gd name="connsiteY28393" fmla="*/ 2828738 h 5973007"/>
              <a:gd name="connsiteX28394" fmla="*/ 877471 w 6884782"/>
              <a:gd name="connsiteY28394" fmla="*/ 2825950 h 5973007"/>
              <a:gd name="connsiteX28395" fmla="*/ 879124 w 6884782"/>
              <a:gd name="connsiteY28395" fmla="*/ 2823317 h 5973007"/>
              <a:gd name="connsiteX28396" fmla="*/ 6349878 w 6884782"/>
              <a:gd name="connsiteY28396" fmla="*/ 2822899 h 5973007"/>
              <a:gd name="connsiteX28397" fmla="*/ 6349317 w 6884782"/>
              <a:gd name="connsiteY28397" fmla="*/ 2823522 h 5973007"/>
              <a:gd name="connsiteX28398" fmla="*/ 6346497 w 6884782"/>
              <a:gd name="connsiteY28398" fmla="*/ 2837111 h 5973007"/>
              <a:gd name="connsiteX28399" fmla="*/ 6346463 w 6884782"/>
              <a:gd name="connsiteY28399" fmla="*/ 2837695 h 5973007"/>
              <a:gd name="connsiteX28400" fmla="*/ 6350305 w 6884782"/>
              <a:gd name="connsiteY28400" fmla="*/ 2842959 h 5973007"/>
              <a:gd name="connsiteX28401" fmla="*/ 6352012 w 6884782"/>
              <a:gd name="connsiteY28401" fmla="*/ 2828021 h 5973007"/>
              <a:gd name="connsiteX28402" fmla="*/ 6356707 w 6884782"/>
              <a:gd name="connsiteY28402" fmla="*/ 2845093 h 5973007"/>
              <a:gd name="connsiteX28403" fmla="*/ 6353506 w 6884782"/>
              <a:gd name="connsiteY28403" fmla="*/ 2856332 h 5973007"/>
              <a:gd name="connsiteX28404" fmla="*/ 6348064 w 6884782"/>
              <a:gd name="connsiteY28404" fmla="*/ 2852349 h 5973007"/>
              <a:gd name="connsiteX28405" fmla="*/ 6344268 w 6884782"/>
              <a:gd name="connsiteY28405" fmla="*/ 2847851 h 5973007"/>
              <a:gd name="connsiteX28406" fmla="*/ 6342424 w 6884782"/>
              <a:gd name="connsiteY28406" fmla="*/ 2856738 h 5973007"/>
              <a:gd name="connsiteX28407" fmla="*/ 6344116 w 6884782"/>
              <a:gd name="connsiteY28407" fmla="*/ 2861454 h 5973007"/>
              <a:gd name="connsiteX28408" fmla="*/ 6345610 w 6884782"/>
              <a:gd name="connsiteY28408" fmla="*/ 2864584 h 5973007"/>
              <a:gd name="connsiteX28409" fmla="*/ 6346463 w 6884782"/>
              <a:gd name="connsiteY28409" fmla="*/ 2866006 h 5973007"/>
              <a:gd name="connsiteX28410" fmla="*/ 6347317 w 6884782"/>
              <a:gd name="connsiteY28410" fmla="*/ 2867429 h 5973007"/>
              <a:gd name="connsiteX28411" fmla="*/ 6351159 w 6884782"/>
              <a:gd name="connsiteY28411" fmla="*/ 2869705 h 5973007"/>
              <a:gd name="connsiteX28412" fmla="*/ 6362256 w 6884782"/>
              <a:gd name="connsiteY28412" fmla="*/ 2883932 h 5973007"/>
              <a:gd name="connsiteX28413" fmla="*/ 6365244 w 6884782"/>
              <a:gd name="connsiteY28413" fmla="*/ 2896594 h 5973007"/>
              <a:gd name="connsiteX28414" fmla="*/ 6365244 w 6884782"/>
              <a:gd name="connsiteY28414" fmla="*/ 2900435 h 5973007"/>
              <a:gd name="connsiteX28415" fmla="*/ 6368873 w 6884782"/>
              <a:gd name="connsiteY28415" fmla="*/ 2897021 h 5973007"/>
              <a:gd name="connsiteX28416" fmla="*/ 6382318 w 6884782"/>
              <a:gd name="connsiteY28416" fmla="*/ 2903850 h 5973007"/>
              <a:gd name="connsiteX28417" fmla="*/ 6387227 w 6884782"/>
              <a:gd name="connsiteY28417" fmla="*/ 2905984 h 5973007"/>
              <a:gd name="connsiteX28418" fmla="*/ 6385092 w 6884782"/>
              <a:gd name="connsiteY28418" fmla="*/ 2898017 h 5973007"/>
              <a:gd name="connsiteX28419" fmla="*/ 6379544 w 6884782"/>
              <a:gd name="connsiteY28419" fmla="*/ 2886778 h 5973007"/>
              <a:gd name="connsiteX28420" fmla="*/ 6370153 w 6884782"/>
              <a:gd name="connsiteY28420" fmla="*/ 2855620 h 5973007"/>
              <a:gd name="connsiteX28421" fmla="*/ 6360549 w 6884782"/>
              <a:gd name="connsiteY28421" fmla="*/ 2839402 h 5973007"/>
              <a:gd name="connsiteX28422" fmla="*/ 832659 w 6884782"/>
              <a:gd name="connsiteY28422" fmla="*/ 2821148 h 5973007"/>
              <a:gd name="connsiteX28423" fmla="*/ 835653 w 6884782"/>
              <a:gd name="connsiteY28423" fmla="*/ 2826260 h 5973007"/>
              <a:gd name="connsiteX28424" fmla="*/ 832968 w 6884782"/>
              <a:gd name="connsiteY28424" fmla="*/ 2826415 h 5973007"/>
              <a:gd name="connsiteX28425" fmla="*/ 832556 w 6884782"/>
              <a:gd name="connsiteY28425" fmla="*/ 2823936 h 5973007"/>
              <a:gd name="connsiteX28426" fmla="*/ 832659 w 6884782"/>
              <a:gd name="connsiteY28426" fmla="*/ 2821148 h 5973007"/>
              <a:gd name="connsiteX28427" fmla="*/ 825740 w 6884782"/>
              <a:gd name="connsiteY28427" fmla="*/ 2820219 h 5973007"/>
              <a:gd name="connsiteX28428" fmla="*/ 828528 w 6884782"/>
              <a:gd name="connsiteY28428" fmla="*/ 2824711 h 5973007"/>
              <a:gd name="connsiteX28429" fmla="*/ 822023 w 6884782"/>
              <a:gd name="connsiteY28429" fmla="*/ 2825176 h 5973007"/>
              <a:gd name="connsiteX28430" fmla="*/ 821817 w 6884782"/>
              <a:gd name="connsiteY28430" fmla="*/ 2823317 h 5973007"/>
              <a:gd name="connsiteX28431" fmla="*/ 823262 w 6884782"/>
              <a:gd name="connsiteY28431" fmla="*/ 2820993 h 5973007"/>
              <a:gd name="connsiteX28432" fmla="*/ 825740 w 6884782"/>
              <a:gd name="connsiteY28432" fmla="*/ 2820219 h 5973007"/>
              <a:gd name="connsiteX28433" fmla="*/ 6485305 w 6884782"/>
              <a:gd name="connsiteY28433" fmla="*/ 2819373 h 5973007"/>
              <a:gd name="connsiteX28434" fmla="*/ 6499400 w 6884782"/>
              <a:gd name="connsiteY28434" fmla="*/ 2822574 h 5973007"/>
              <a:gd name="connsiteX28435" fmla="*/ 6470745 w 6884782"/>
              <a:gd name="connsiteY28435" fmla="*/ 2849318 h 5973007"/>
              <a:gd name="connsiteX28436" fmla="*/ 6465787 w 6884782"/>
              <a:gd name="connsiteY28436" fmla="*/ 2848905 h 5973007"/>
              <a:gd name="connsiteX28437" fmla="*/ 6485305 w 6884782"/>
              <a:gd name="connsiteY28437" fmla="*/ 2819373 h 5973007"/>
              <a:gd name="connsiteX28438" fmla="*/ 693366 w 6884782"/>
              <a:gd name="connsiteY28438" fmla="*/ 2818399 h 5973007"/>
              <a:gd name="connsiteX28439" fmla="*/ 702969 w 6884782"/>
              <a:gd name="connsiteY28439" fmla="*/ 2819599 h 5973007"/>
              <a:gd name="connsiteX28440" fmla="*/ 699045 w 6884782"/>
              <a:gd name="connsiteY28440" fmla="*/ 2821613 h 5973007"/>
              <a:gd name="connsiteX28441" fmla="*/ 700491 w 6884782"/>
              <a:gd name="connsiteY28441" fmla="*/ 2821458 h 5973007"/>
              <a:gd name="connsiteX28442" fmla="*/ 703485 w 6884782"/>
              <a:gd name="connsiteY28442" fmla="*/ 2824401 h 5973007"/>
              <a:gd name="connsiteX28443" fmla="*/ 696773 w 6884782"/>
              <a:gd name="connsiteY28443" fmla="*/ 2828738 h 5973007"/>
              <a:gd name="connsiteX28444" fmla="*/ 694708 w 6884782"/>
              <a:gd name="connsiteY28444" fmla="*/ 2827190 h 5973007"/>
              <a:gd name="connsiteX28445" fmla="*/ 695637 w 6884782"/>
              <a:gd name="connsiteY28445" fmla="*/ 2824091 h 5973007"/>
              <a:gd name="connsiteX28446" fmla="*/ 696980 w 6884782"/>
              <a:gd name="connsiteY28446" fmla="*/ 2822543 h 5973007"/>
              <a:gd name="connsiteX28447" fmla="*/ 693159 w 6884782"/>
              <a:gd name="connsiteY28447" fmla="*/ 2824247 h 5973007"/>
              <a:gd name="connsiteX28448" fmla="*/ 682833 w 6884782"/>
              <a:gd name="connsiteY28448" fmla="*/ 2823007 h 5973007"/>
              <a:gd name="connsiteX28449" fmla="*/ 693366 w 6884782"/>
              <a:gd name="connsiteY28449" fmla="*/ 2818399 h 5973007"/>
              <a:gd name="connsiteX28450" fmla="*/ 921562 w 6884782"/>
              <a:gd name="connsiteY28450" fmla="*/ 2818205 h 5973007"/>
              <a:gd name="connsiteX28451" fmla="*/ 922078 w 6884782"/>
              <a:gd name="connsiteY28451" fmla="*/ 2820684 h 5973007"/>
              <a:gd name="connsiteX28452" fmla="*/ 920013 w 6884782"/>
              <a:gd name="connsiteY28452" fmla="*/ 2822233 h 5973007"/>
              <a:gd name="connsiteX28453" fmla="*/ 918878 w 6884782"/>
              <a:gd name="connsiteY28453" fmla="*/ 2823936 h 5973007"/>
              <a:gd name="connsiteX28454" fmla="*/ 916193 w 6884782"/>
              <a:gd name="connsiteY28454" fmla="*/ 2823782 h 5973007"/>
              <a:gd name="connsiteX28455" fmla="*/ 917329 w 6884782"/>
              <a:gd name="connsiteY28455" fmla="*/ 2822078 h 5973007"/>
              <a:gd name="connsiteX28456" fmla="*/ 921562 w 6884782"/>
              <a:gd name="connsiteY28456" fmla="*/ 2818205 h 5973007"/>
              <a:gd name="connsiteX28457" fmla="*/ 396917 w 6884782"/>
              <a:gd name="connsiteY28457" fmla="*/ 2815882 h 5973007"/>
              <a:gd name="connsiteX28458" fmla="*/ 398259 w 6884782"/>
              <a:gd name="connsiteY28458" fmla="*/ 2816346 h 5973007"/>
              <a:gd name="connsiteX28459" fmla="*/ 399912 w 6884782"/>
              <a:gd name="connsiteY28459" fmla="*/ 2817741 h 5973007"/>
              <a:gd name="connsiteX28460" fmla="*/ 397020 w 6884782"/>
              <a:gd name="connsiteY28460" fmla="*/ 2820684 h 5973007"/>
              <a:gd name="connsiteX28461" fmla="*/ 394232 w 6884782"/>
              <a:gd name="connsiteY28461" fmla="*/ 2819909 h 5973007"/>
              <a:gd name="connsiteX28462" fmla="*/ 393819 w 6884782"/>
              <a:gd name="connsiteY28462" fmla="*/ 2818515 h 5973007"/>
              <a:gd name="connsiteX28463" fmla="*/ 394852 w 6884782"/>
              <a:gd name="connsiteY28463" fmla="*/ 2817431 h 5973007"/>
              <a:gd name="connsiteX28464" fmla="*/ 396917 w 6884782"/>
              <a:gd name="connsiteY28464" fmla="*/ 2815882 h 5973007"/>
              <a:gd name="connsiteX28465" fmla="*/ 379157 w 6884782"/>
              <a:gd name="connsiteY28465" fmla="*/ 2815727 h 5973007"/>
              <a:gd name="connsiteX28466" fmla="*/ 386901 w 6884782"/>
              <a:gd name="connsiteY28466" fmla="*/ 2821303 h 5973007"/>
              <a:gd name="connsiteX28467" fmla="*/ 376782 w 6884782"/>
              <a:gd name="connsiteY28467" fmla="*/ 2819754 h 5973007"/>
              <a:gd name="connsiteX28468" fmla="*/ 379157 w 6884782"/>
              <a:gd name="connsiteY28468" fmla="*/ 2815727 h 5973007"/>
              <a:gd name="connsiteX28469" fmla="*/ 568529 w 6884782"/>
              <a:gd name="connsiteY28469" fmla="*/ 2814798 h 5973007"/>
              <a:gd name="connsiteX28470" fmla="*/ 569149 w 6884782"/>
              <a:gd name="connsiteY28470" fmla="*/ 2819754 h 5973007"/>
              <a:gd name="connsiteX28471" fmla="*/ 568942 w 6884782"/>
              <a:gd name="connsiteY28471" fmla="*/ 2823936 h 5973007"/>
              <a:gd name="connsiteX28472" fmla="*/ 564812 w 6884782"/>
              <a:gd name="connsiteY28472" fmla="*/ 2837412 h 5973007"/>
              <a:gd name="connsiteX28473" fmla="*/ 564089 w 6884782"/>
              <a:gd name="connsiteY28473" fmla="*/ 2831681 h 5973007"/>
              <a:gd name="connsiteX28474" fmla="*/ 564812 w 6884782"/>
              <a:gd name="connsiteY28474" fmla="*/ 2818360 h 5973007"/>
              <a:gd name="connsiteX28475" fmla="*/ 566670 w 6884782"/>
              <a:gd name="connsiteY28475" fmla="*/ 2816502 h 5973007"/>
              <a:gd name="connsiteX28476" fmla="*/ 566670 w 6884782"/>
              <a:gd name="connsiteY28476" fmla="*/ 2815727 h 5973007"/>
              <a:gd name="connsiteX28477" fmla="*/ 568529 w 6884782"/>
              <a:gd name="connsiteY28477" fmla="*/ 2814798 h 5973007"/>
              <a:gd name="connsiteX28478" fmla="*/ 917535 w 6884782"/>
              <a:gd name="connsiteY28478" fmla="*/ 2811080 h 5973007"/>
              <a:gd name="connsiteX28479" fmla="*/ 919187 w 6884782"/>
              <a:gd name="connsiteY28479" fmla="*/ 2811235 h 5973007"/>
              <a:gd name="connsiteX28480" fmla="*/ 916606 w 6884782"/>
              <a:gd name="connsiteY28480" fmla="*/ 2816346 h 5973007"/>
              <a:gd name="connsiteX28481" fmla="*/ 914024 w 6884782"/>
              <a:gd name="connsiteY28481" fmla="*/ 2817121 h 5973007"/>
              <a:gd name="connsiteX28482" fmla="*/ 914024 w 6884782"/>
              <a:gd name="connsiteY28482" fmla="*/ 2815417 h 5973007"/>
              <a:gd name="connsiteX28483" fmla="*/ 914437 w 6884782"/>
              <a:gd name="connsiteY28483" fmla="*/ 2814488 h 5973007"/>
              <a:gd name="connsiteX28484" fmla="*/ 916296 w 6884782"/>
              <a:gd name="connsiteY28484" fmla="*/ 2813714 h 5973007"/>
              <a:gd name="connsiteX28485" fmla="*/ 917535 w 6884782"/>
              <a:gd name="connsiteY28485" fmla="*/ 2811080 h 5973007"/>
              <a:gd name="connsiteX28486" fmla="*/ 941904 w 6884782"/>
              <a:gd name="connsiteY28486" fmla="*/ 2807208 h 5973007"/>
              <a:gd name="connsiteX28487" fmla="*/ 941490 w 6884782"/>
              <a:gd name="connsiteY28487" fmla="*/ 2808292 h 5973007"/>
              <a:gd name="connsiteX28488" fmla="*/ 942007 w 6884782"/>
              <a:gd name="connsiteY28488" fmla="*/ 2808757 h 5973007"/>
              <a:gd name="connsiteX28489" fmla="*/ 663422 w 6884782"/>
              <a:gd name="connsiteY28489" fmla="*/ 2806743 h 5973007"/>
              <a:gd name="connsiteX28490" fmla="*/ 671372 w 6884782"/>
              <a:gd name="connsiteY28490" fmla="*/ 2808292 h 5973007"/>
              <a:gd name="connsiteX28491" fmla="*/ 673954 w 6884782"/>
              <a:gd name="connsiteY28491" fmla="*/ 2812784 h 5973007"/>
              <a:gd name="connsiteX28492" fmla="*/ 672095 w 6884782"/>
              <a:gd name="connsiteY28492" fmla="*/ 2820219 h 5973007"/>
              <a:gd name="connsiteX28493" fmla="*/ 667758 w 6884782"/>
              <a:gd name="connsiteY28493" fmla="*/ 2818825 h 5973007"/>
              <a:gd name="connsiteX28494" fmla="*/ 663422 w 6884782"/>
              <a:gd name="connsiteY28494" fmla="*/ 2806743 h 5973007"/>
              <a:gd name="connsiteX28495" fmla="*/ 1191577 w 6884782"/>
              <a:gd name="connsiteY28495" fmla="*/ 2806433 h 5973007"/>
              <a:gd name="connsiteX28496" fmla="*/ 1191577 w 6884782"/>
              <a:gd name="connsiteY28496" fmla="*/ 2806743 h 5973007"/>
              <a:gd name="connsiteX28497" fmla="*/ 1193642 w 6884782"/>
              <a:gd name="connsiteY28497" fmla="*/ 2811080 h 5973007"/>
              <a:gd name="connsiteX28498" fmla="*/ 1198186 w 6884782"/>
              <a:gd name="connsiteY28498" fmla="*/ 2810770 h 5973007"/>
              <a:gd name="connsiteX28499" fmla="*/ 1198599 w 6884782"/>
              <a:gd name="connsiteY28499" fmla="*/ 2809996 h 5973007"/>
              <a:gd name="connsiteX28500" fmla="*/ 538688 w 6884782"/>
              <a:gd name="connsiteY28500" fmla="*/ 2804420 h 5973007"/>
              <a:gd name="connsiteX28501" fmla="*/ 542095 w 6884782"/>
              <a:gd name="connsiteY28501" fmla="*/ 2806278 h 5973007"/>
              <a:gd name="connsiteX28502" fmla="*/ 542921 w 6884782"/>
              <a:gd name="connsiteY28502" fmla="*/ 2808912 h 5973007"/>
              <a:gd name="connsiteX28503" fmla="*/ 540340 w 6884782"/>
              <a:gd name="connsiteY28503" fmla="*/ 2809376 h 5973007"/>
              <a:gd name="connsiteX28504" fmla="*/ 537759 w 6884782"/>
              <a:gd name="connsiteY28504" fmla="*/ 2808292 h 5973007"/>
              <a:gd name="connsiteX28505" fmla="*/ 537346 w 6884782"/>
              <a:gd name="connsiteY28505" fmla="*/ 2806898 h 5973007"/>
              <a:gd name="connsiteX28506" fmla="*/ 537759 w 6884782"/>
              <a:gd name="connsiteY28506" fmla="*/ 2805039 h 5973007"/>
              <a:gd name="connsiteX28507" fmla="*/ 538688 w 6884782"/>
              <a:gd name="connsiteY28507" fmla="*/ 2804420 h 5973007"/>
              <a:gd name="connsiteX28508" fmla="*/ 722691 w 6884782"/>
              <a:gd name="connsiteY28508" fmla="*/ 2804110 h 5973007"/>
              <a:gd name="connsiteX28509" fmla="*/ 726408 w 6884782"/>
              <a:gd name="connsiteY28509" fmla="*/ 2804575 h 5973007"/>
              <a:gd name="connsiteX28510" fmla="*/ 732396 w 6884782"/>
              <a:gd name="connsiteY28510" fmla="*/ 2804884 h 5973007"/>
              <a:gd name="connsiteX28511" fmla="*/ 732603 w 6884782"/>
              <a:gd name="connsiteY28511" fmla="*/ 2809066 h 5973007"/>
              <a:gd name="connsiteX28512" fmla="*/ 716392 w 6884782"/>
              <a:gd name="connsiteY28512" fmla="*/ 2813094 h 5973007"/>
              <a:gd name="connsiteX28513" fmla="*/ 715153 w 6884782"/>
              <a:gd name="connsiteY28513" fmla="*/ 2810151 h 5973007"/>
              <a:gd name="connsiteX28514" fmla="*/ 719283 w 6884782"/>
              <a:gd name="connsiteY28514" fmla="*/ 2805814 h 5973007"/>
              <a:gd name="connsiteX28515" fmla="*/ 722691 w 6884782"/>
              <a:gd name="connsiteY28515" fmla="*/ 2804110 h 5973007"/>
              <a:gd name="connsiteX28516" fmla="*/ 881086 w 6884782"/>
              <a:gd name="connsiteY28516" fmla="*/ 2803181 h 5973007"/>
              <a:gd name="connsiteX28517" fmla="*/ 888933 w 6884782"/>
              <a:gd name="connsiteY28517" fmla="*/ 2814798 h 5973007"/>
              <a:gd name="connsiteX28518" fmla="*/ 883977 w 6884782"/>
              <a:gd name="connsiteY28518" fmla="*/ 2816811 h 5973007"/>
              <a:gd name="connsiteX28519" fmla="*/ 879433 w 6884782"/>
              <a:gd name="connsiteY28519" fmla="*/ 2806123 h 5973007"/>
              <a:gd name="connsiteX28520" fmla="*/ 881086 w 6884782"/>
              <a:gd name="connsiteY28520" fmla="*/ 2803181 h 5973007"/>
              <a:gd name="connsiteX28521" fmla="*/ 695225 w 6884782"/>
              <a:gd name="connsiteY28521" fmla="*/ 2802096 h 5973007"/>
              <a:gd name="connsiteX28522" fmla="*/ 699871 w 6884782"/>
              <a:gd name="connsiteY28522" fmla="*/ 2808602 h 5973007"/>
              <a:gd name="connsiteX28523" fmla="*/ 686861 w 6884782"/>
              <a:gd name="connsiteY28523" fmla="*/ 2815262 h 5973007"/>
              <a:gd name="connsiteX28524" fmla="*/ 683453 w 6884782"/>
              <a:gd name="connsiteY28524" fmla="*/ 2811080 h 5973007"/>
              <a:gd name="connsiteX28525" fmla="*/ 695225 w 6884782"/>
              <a:gd name="connsiteY28525" fmla="*/ 2802096 h 5973007"/>
              <a:gd name="connsiteX28526" fmla="*/ 1352554 w 6884782"/>
              <a:gd name="connsiteY28526" fmla="*/ 2801632 h 5973007"/>
              <a:gd name="connsiteX28527" fmla="*/ 1356890 w 6884782"/>
              <a:gd name="connsiteY28527" fmla="*/ 2802871 h 5973007"/>
              <a:gd name="connsiteX28528" fmla="*/ 1358542 w 6884782"/>
              <a:gd name="connsiteY28528" fmla="*/ 2805968 h 5973007"/>
              <a:gd name="connsiteX28529" fmla="*/ 1352554 w 6884782"/>
              <a:gd name="connsiteY28529" fmla="*/ 2801632 h 5973007"/>
              <a:gd name="connsiteX28530" fmla="*/ 518966 w 6884782"/>
              <a:gd name="connsiteY28530" fmla="*/ 2801012 h 5973007"/>
              <a:gd name="connsiteX28531" fmla="*/ 529498 w 6884782"/>
              <a:gd name="connsiteY28531" fmla="*/ 2809841 h 5973007"/>
              <a:gd name="connsiteX28532" fmla="*/ 522786 w 6884782"/>
              <a:gd name="connsiteY28532" fmla="*/ 2813249 h 5973007"/>
              <a:gd name="connsiteX28533" fmla="*/ 518759 w 6884782"/>
              <a:gd name="connsiteY28533" fmla="*/ 2804420 h 5973007"/>
              <a:gd name="connsiteX28534" fmla="*/ 518966 w 6884782"/>
              <a:gd name="connsiteY28534" fmla="*/ 2801012 h 5973007"/>
              <a:gd name="connsiteX28535" fmla="*/ 466202 w 6884782"/>
              <a:gd name="connsiteY28535" fmla="*/ 2801012 h 5973007"/>
              <a:gd name="connsiteX28536" fmla="*/ 472604 w 6884782"/>
              <a:gd name="connsiteY28536" fmla="*/ 2801477 h 5973007"/>
              <a:gd name="connsiteX28537" fmla="*/ 468267 w 6884782"/>
              <a:gd name="connsiteY28537" fmla="*/ 2810925 h 5973007"/>
              <a:gd name="connsiteX28538" fmla="*/ 464137 w 6884782"/>
              <a:gd name="connsiteY28538" fmla="*/ 2806588 h 5973007"/>
              <a:gd name="connsiteX28539" fmla="*/ 466202 w 6884782"/>
              <a:gd name="connsiteY28539" fmla="*/ 2801012 h 5973007"/>
              <a:gd name="connsiteX28540" fmla="*/ 1080473 w 6884782"/>
              <a:gd name="connsiteY28540" fmla="*/ 2800237 h 5973007"/>
              <a:gd name="connsiteX28541" fmla="*/ 1080887 w 6884782"/>
              <a:gd name="connsiteY28541" fmla="*/ 2800702 h 5973007"/>
              <a:gd name="connsiteX28542" fmla="*/ 1081402 w 6884782"/>
              <a:gd name="connsiteY28542" fmla="*/ 2800237 h 5973007"/>
              <a:gd name="connsiteX28543" fmla="*/ 1349869 w 6884782"/>
              <a:gd name="connsiteY28543" fmla="*/ 2799463 h 5973007"/>
              <a:gd name="connsiteX28544" fmla="*/ 1350488 w 6884782"/>
              <a:gd name="connsiteY28544" fmla="*/ 2799618 h 5973007"/>
              <a:gd name="connsiteX28545" fmla="*/ 1352450 w 6884782"/>
              <a:gd name="connsiteY28545" fmla="*/ 2801632 h 5973007"/>
              <a:gd name="connsiteX28546" fmla="*/ 1349353 w 6884782"/>
              <a:gd name="connsiteY28546" fmla="*/ 2801012 h 5973007"/>
              <a:gd name="connsiteX28547" fmla="*/ 1349765 w 6884782"/>
              <a:gd name="connsiteY28547" fmla="*/ 2799928 h 5973007"/>
              <a:gd name="connsiteX28548" fmla="*/ 1348940 w 6884782"/>
              <a:gd name="connsiteY28548" fmla="*/ 2800237 h 5973007"/>
              <a:gd name="connsiteX28549" fmla="*/ 1349869 w 6884782"/>
              <a:gd name="connsiteY28549" fmla="*/ 2799463 h 5973007"/>
              <a:gd name="connsiteX28550" fmla="*/ 1180116 w 6884782"/>
              <a:gd name="connsiteY28550" fmla="*/ 2797914 h 5973007"/>
              <a:gd name="connsiteX28551" fmla="*/ 1178567 w 6884782"/>
              <a:gd name="connsiteY28551" fmla="*/ 2799463 h 5973007"/>
              <a:gd name="connsiteX28552" fmla="*/ 1175779 w 6884782"/>
              <a:gd name="connsiteY28552" fmla="*/ 2800237 h 5973007"/>
              <a:gd name="connsiteX28553" fmla="*/ 1181458 w 6884782"/>
              <a:gd name="connsiteY28553" fmla="*/ 2801786 h 5973007"/>
              <a:gd name="connsiteX28554" fmla="*/ 1187034 w 6884782"/>
              <a:gd name="connsiteY28554" fmla="*/ 2802406 h 5973007"/>
              <a:gd name="connsiteX28555" fmla="*/ 1189408 w 6884782"/>
              <a:gd name="connsiteY28555" fmla="*/ 2802251 h 5973007"/>
              <a:gd name="connsiteX28556" fmla="*/ 1189099 w 6884782"/>
              <a:gd name="connsiteY28556" fmla="*/ 2800857 h 5973007"/>
              <a:gd name="connsiteX28557" fmla="*/ 1182181 w 6884782"/>
              <a:gd name="connsiteY28557" fmla="*/ 2798843 h 5973007"/>
              <a:gd name="connsiteX28558" fmla="*/ 648243 w 6884782"/>
              <a:gd name="connsiteY28558" fmla="*/ 2796055 h 5973007"/>
              <a:gd name="connsiteX28559" fmla="*/ 647107 w 6884782"/>
              <a:gd name="connsiteY28559" fmla="*/ 2807363 h 5973007"/>
              <a:gd name="connsiteX28560" fmla="*/ 625114 w 6884782"/>
              <a:gd name="connsiteY28560" fmla="*/ 2805814 h 5973007"/>
              <a:gd name="connsiteX28561" fmla="*/ 634406 w 6884782"/>
              <a:gd name="connsiteY28561" fmla="*/ 2798843 h 5973007"/>
              <a:gd name="connsiteX28562" fmla="*/ 648243 w 6884782"/>
              <a:gd name="connsiteY28562" fmla="*/ 2796055 h 5973007"/>
              <a:gd name="connsiteX28563" fmla="*/ 837822 w 6884782"/>
              <a:gd name="connsiteY28563" fmla="*/ 2794197 h 5973007"/>
              <a:gd name="connsiteX28564" fmla="*/ 840712 w 6884782"/>
              <a:gd name="connsiteY28564" fmla="*/ 2797914 h 5973007"/>
              <a:gd name="connsiteX28565" fmla="*/ 841435 w 6884782"/>
              <a:gd name="connsiteY28565" fmla="*/ 2799618 h 5973007"/>
              <a:gd name="connsiteX28566" fmla="*/ 842055 w 6884782"/>
              <a:gd name="connsiteY28566" fmla="*/ 2800237 h 5973007"/>
              <a:gd name="connsiteX28567" fmla="*/ 842468 w 6884782"/>
              <a:gd name="connsiteY28567" fmla="*/ 2803645 h 5973007"/>
              <a:gd name="connsiteX28568" fmla="*/ 840712 w 6884782"/>
              <a:gd name="connsiteY28568" fmla="*/ 2802561 h 5973007"/>
              <a:gd name="connsiteX28569" fmla="*/ 840093 w 6884782"/>
              <a:gd name="connsiteY28569" fmla="*/ 2801941 h 5973007"/>
              <a:gd name="connsiteX28570" fmla="*/ 836686 w 6884782"/>
              <a:gd name="connsiteY28570" fmla="*/ 2801012 h 5973007"/>
              <a:gd name="connsiteX28571" fmla="*/ 812936 w 6884782"/>
              <a:gd name="connsiteY28571" fmla="*/ 2803025 h 5973007"/>
              <a:gd name="connsiteX28572" fmla="*/ 823365 w 6884782"/>
              <a:gd name="connsiteY28572" fmla="*/ 2796365 h 5973007"/>
              <a:gd name="connsiteX28573" fmla="*/ 837822 w 6884782"/>
              <a:gd name="connsiteY28573" fmla="*/ 2794197 h 5973007"/>
              <a:gd name="connsiteX28574" fmla="*/ 1359678 w 6884782"/>
              <a:gd name="connsiteY28574" fmla="*/ 2793732 h 5973007"/>
              <a:gd name="connsiteX28575" fmla="*/ 1368971 w 6884782"/>
              <a:gd name="connsiteY28575" fmla="*/ 2801321 h 5973007"/>
              <a:gd name="connsiteX28576" fmla="*/ 1365151 w 6884782"/>
              <a:gd name="connsiteY28576" fmla="*/ 2804884 h 5973007"/>
              <a:gd name="connsiteX28577" fmla="*/ 1358542 w 6884782"/>
              <a:gd name="connsiteY28577" fmla="*/ 2797294 h 5973007"/>
              <a:gd name="connsiteX28578" fmla="*/ 1359678 w 6884782"/>
              <a:gd name="connsiteY28578" fmla="*/ 2793732 h 5973007"/>
              <a:gd name="connsiteX28579" fmla="*/ 933436 w 6884782"/>
              <a:gd name="connsiteY28579" fmla="*/ 2792028 h 5973007"/>
              <a:gd name="connsiteX28580" fmla="*/ 937980 w 6884782"/>
              <a:gd name="connsiteY28580" fmla="*/ 2800237 h 5973007"/>
              <a:gd name="connsiteX28581" fmla="*/ 934263 w 6884782"/>
              <a:gd name="connsiteY28581" fmla="*/ 2803025 h 5973007"/>
              <a:gd name="connsiteX28582" fmla="*/ 932094 w 6884782"/>
              <a:gd name="connsiteY28582" fmla="*/ 2802716 h 5973007"/>
              <a:gd name="connsiteX28583" fmla="*/ 932094 w 6884782"/>
              <a:gd name="connsiteY28583" fmla="*/ 2803645 h 5973007"/>
              <a:gd name="connsiteX28584" fmla="*/ 929203 w 6884782"/>
              <a:gd name="connsiteY28584" fmla="*/ 2802716 h 5973007"/>
              <a:gd name="connsiteX28585" fmla="*/ 929306 w 6884782"/>
              <a:gd name="connsiteY28585" fmla="*/ 2803645 h 5973007"/>
              <a:gd name="connsiteX28586" fmla="*/ 925176 w 6884782"/>
              <a:gd name="connsiteY28586" fmla="*/ 2803800 h 5973007"/>
              <a:gd name="connsiteX28587" fmla="*/ 924143 w 6884782"/>
              <a:gd name="connsiteY28587" fmla="*/ 2800857 h 5973007"/>
              <a:gd name="connsiteX28588" fmla="*/ 921872 w 6884782"/>
              <a:gd name="connsiteY28588" fmla="*/ 2800082 h 5973007"/>
              <a:gd name="connsiteX28589" fmla="*/ 915573 w 6884782"/>
              <a:gd name="connsiteY28589" fmla="*/ 2796985 h 5973007"/>
              <a:gd name="connsiteX28590" fmla="*/ 914127 w 6884782"/>
              <a:gd name="connsiteY28590" fmla="*/ 2795436 h 5973007"/>
              <a:gd name="connsiteX28591" fmla="*/ 914747 w 6884782"/>
              <a:gd name="connsiteY28591" fmla="*/ 2793577 h 5973007"/>
              <a:gd name="connsiteX28592" fmla="*/ 926105 w 6884782"/>
              <a:gd name="connsiteY28592" fmla="*/ 2795590 h 5973007"/>
              <a:gd name="connsiteX28593" fmla="*/ 927345 w 6884782"/>
              <a:gd name="connsiteY28593" fmla="*/ 2796830 h 5973007"/>
              <a:gd name="connsiteX28594" fmla="*/ 927241 w 6884782"/>
              <a:gd name="connsiteY28594" fmla="*/ 2794352 h 5973007"/>
              <a:gd name="connsiteX28595" fmla="*/ 933436 w 6884782"/>
              <a:gd name="connsiteY28595" fmla="*/ 2792028 h 5973007"/>
              <a:gd name="connsiteX28596" fmla="*/ 871069 w 6884782"/>
              <a:gd name="connsiteY28596" fmla="*/ 2791099 h 5973007"/>
              <a:gd name="connsiteX28597" fmla="*/ 873445 w 6884782"/>
              <a:gd name="connsiteY28597" fmla="*/ 2791873 h 5973007"/>
              <a:gd name="connsiteX28598" fmla="*/ 867249 w 6884782"/>
              <a:gd name="connsiteY28598" fmla="*/ 2795901 h 5973007"/>
              <a:gd name="connsiteX28599" fmla="*/ 863532 w 6884782"/>
              <a:gd name="connsiteY28599" fmla="*/ 2797914 h 5973007"/>
              <a:gd name="connsiteX28600" fmla="*/ 861157 w 6884782"/>
              <a:gd name="connsiteY28600" fmla="*/ 2797140 h 5973007"/>
              <a:gd name="connsiteX28601" fmla="*/ 860744 w 6884782"/>
              <a:gd name="connsiteY28601" fmla="*/ 2796365 h 5973007"/>
              <a:gd name="connsiteX28602" fmla="*/ 861880 w 6884782"/>
              <a:gd name="connsiteY28602" fmla="*/ 2794971 h 5973007"/>
              <a:gd name="connsiteX28603" fmla="*/ 869521 w 6884782"/>
              <a:gd name="connsiteY28603" fmla="*/ 2791873 h 5973007"/>
              <a:gd name="connsiteX28604" fmla="*/ 871069 w 6884782"/>
              <a:gd name="connsiteY28604" fmla="*/ 2791099 h 5973007"/>
              <a:gd name="connsiteX28605" fmla="*/ 712985 w 6884782"/>
              <a:gd name="connsiteY28605" fmla="*/ 2790479 h 5973007"/>
              <a:gd name="connsiteX28606" fmla="*/ 711229 w 6884782"/>
              <a:gd name="connsiteY28606" fmla="*/ 2793267 h 5973007"/>
              <a:gd name="connsiteX28607" fmla="*/ 708544 w 6884782"/>
              <a:gd name="connsiteY28607" fmla="*/ 2792493 h 5973007"/>
              <a:gd name="connsiteX28608" fmla="*/ 710713 w 6884782"/>
              <a:gd name="connsiteY28608" fmla="*/ 2791099 h 5973007"/>
              <a:gd name="connsiteX28609" fmla="*/ 712985 w 6884782"/>
              <a:gd name="connsiteY28609" fmla="*/ 2790479 h 5973007"/>
              <a:gd name="connsiteX28610" fmla="*/ 1379813 w 6884782"/>
              <a:gd name="connsiteY28610" fmla="*/ 2790324 h 5973007"/>
              <a:gd name="connsiteX28611" fmla="*/ 1382807 w 6884782"/>
              <a:gd name="connsiteY28611" fmla="*/ 2796365 h 5973007"/>
              <a:gd name="connsiteX28612" fmla="*/ 1382395 w 6884782"/>
              <a:gd name="connsiteY28612" fmla="*/ 2797449 h 5973007"/>
              <a:gd name="connsiteX28613" fmla="*/ 1379813 w 6884782"/>
              <a:gd name="connsiteY28613" fmla="*/ 2790324 h 5973007"/>
              <a:gd name="connsiteX28614" fmla="*/ 1313729 w 6884782"/>
              <a:gd name="connsiteY28614" fmla="*/ 2789550 h 5973007"/>
              <a:gd name="connsiteX28615" fmla="*/ 1314968 w 6884782"/>
              <a:gd name="connsiteY28615" fmla="*/ 2794506 h 5973007"/>
              <a:gd name="connsiteX28616" fmla="*/ 1310941 w 6884782"/>
              <a:gd name="connsiteY28616" fmla="*/ 2791408 h 5973007"/>
              <a:gd name="connsiteX28617" fmla="*/ 1313729 w 6884782"/>
              <a:gd name="connsiteY28617" fmla="*/ 2789550 h 5973007"/>
              <a:gd name="connsiteX28618" fmla="*/ 658362 w 6884782"/>
              <a:gd name="connsiteY28618" fmla="*/ 2789240 h 5973007"/>
              <a:gd name="connsiteX28619" fmla="*/ 660530 w 6884782"/>
              <a:gd name="connsiteY28619" fmla="*/ 2790789 h 5973007"/>
              <a:gd name="connsiteX28620" fmla="*/ 661356 w 6884782"/>
              <a:gd name="connsiteY28620" fmla="*/ 2792648 h 5973007"/>
              <a:gd name="connsiteX28621" fmla="*/ 660840 w 6884782"/>
              <a:gd name="connsiteY28621" fmla="*/ 2794352 h 5973007"/>
              <a:gd name="connsiteX28622" fmla="*/ 662079 w 6884782"/>
              <a:gd name="connsiteY28622" fmla="*/ 2794042 h 5973007"/>
              <a:gd name="connsiteX28623" fmla="*/ 662595 w 6884782"/>
              <a:gd name="connsiteY28623" fmla="*/ 2796830 h 5973007"/>
              <a:gd name="connsiteX28624" fmla="*/ 662079 w 6884782"/>
              <a:gd name="connsiteY28624" fmla="*/ 2797140 h 5973007"/>
              <a:gd name="connsiteX28625" fmla="*/ 664248 w 6884782"/>
              <a:gd name="connsiteY28625" fmla="*/ 2800392 h 5973007"/>
              <a:gd name="connsiteX28626" fmla="*/ 657020 w 6884782"/>
              <a:gd name="connsiteY28626" fmla="*/ 2809531 h 5973007"/>
              <a:gd name="connsiteX28627" fmla="*/ 654335 w 6884782"/>
              <a:gd name="connsiteY28627" fmla="*/ 2803335 h 5973007"/>
              <a:gd name="connsiteX28628" fmla="*/ 657639 w 6884782"/>
              <a:gd name="connsiteY28628" fmla="*/ 2797604 h 5973007"/>
              <a:gd name="connsiteX28629" fmla="*/ 660530 w 6884782"/>
              <a:gd name="connsiteY28629" fmla="*/ 2796985 h 5973007"/>
              <a:gd name="connsiteX28630" fmla="*/ 659601 w 6884782"/>
              <a:gd name="connsiteY28630" fmla="*/ 2795281 h 5973007"/>
              <a:gd name="connsiteX28631" fmla="*/ 657329 w 6884782"/>
              <a:gd name="connsiteY28631" fmla="*/ 2796055 h 5973007"/>
              <a:gd name="connsiteX28632" fmla="*/ 653096 w 6884782"/>
              <a:gd name="connsiteY28632" fmla="*/ 2794506 h 5973007"/>
              <a:gd name="connsiteX28633" fmla="*/ 652580 w 6884782"/>
              <a:gd name="connsiteY28633" fmla="*/ 2791873 h 5973007"/>
              <a:gd name="connsiteX28634" fmla="*/ 658362 w 6884782"/>
              <a:gd name="connsiteY28634" fmla="*/ 2789240 h 5973007"/>
              <a:gd name="connsiteX28635" fmla="*/ 1158225 w 6884782"/>
              <a:gd name="connsiteY28635" fmla="*/ 2789085 h 5973007"/>
              <a:gd name="connsiteX28636" fmla="*/ 1162872 w 6884782"/>
              <a:gd name="connsiteY28636" fmla="*/ 2790944 h 5973007"/>
              <a:gd name="connsiteX28637" fmla="*/ 1162149 w 6884782"/>
              <a:gd name="connsiteY28637" fmla="*/ 2793267 h 5973007"/>
              <a:gd name="connsiteX28638" fmla="*/ 1156986 w 6884782"/>
              <a:gd name="connsiteY28638" fmla="*/ 2790789 h 5973007"/>
              <a:gd name="connsiteX28639" fmla="*/ 1158225 w 6884782"/>
              <a:gd name="connsiteY28639" fmla="*/ 2789085 h 5973007"/>
              <a:gd name="connsiteX28640" fmla="*/ 713501 w 6884782"/>
              <a:gd name="connsiteY28640" fmla="*/ 2788620 h 5973007"/>
              <a:gd name="connsiteX28641" fmla="*/ 714327 w 6884782"/>
              <a:gd name="connsiteY28641" fmla="*/ 2788620 h 5973007"/>
              <a:gd name="connsiteX28642" fmla="*/ 713398 w 6884782"/>
              <a:gd name="connsiteY28642" fmla="*/ 2790014 h 5973007"/>
              <a:gd name="connsiteX28643" fmla="*/ 712675 w 6884782"/>
              <a:gd name="connsiteY28643" fmla="*/ 2789550 h 5973007"/>
              <a:gd name="connsiteX28644" fmla="*/ 713501 w 6884782"/>
              <a:gd name="connsiteY28644" fmla="*/ 2788620 h 5973007"/>
              <a:gd name="connsiteX28645" fmla="*/ 688926 w 6884782"/>
              <a:gd name="connsiteY28645" fmla="*/ 2788310 h 5973007"/>
              <a:gd name="connsiteX28646" fmla="*/ 693985 w 6884782"/>
              <a:gd name="connsiteY28646" fmla="*/ 2790789 h 5973007"/>
              <a:gd name="connsiteX28647" fmla="*/ 689029 w 6884782"/>
              <a:gd name="connsiteY28647" fmla="*/ 2799308 h 5973007"/>
              <a:gd name="connsiteX28648" fmla="*/ 685415 w 6884782"/>
              <a:gd name="connsiteY28648" fmla="*/ 2797914 h 5973007"/>
              <a:gd name="connsiteX28649" fmla="*/ 684176 w 6884782"/>
              <a:gd name="connsiteY28649" fmla="*/ 2795126 h 5973007"/>
              <a:gd name="connsiteX28650" fmla="*/ 688926 w 6884782"/>
              <a:gd name="connsiteY28650" fmla="*/ 2788310 h 5973007"/>
              <a:gd name="connsiteX28651" fmla="*/ 511945 w 6884782"/>
              <a:gd name="connsiteY28651" fmla="*/ 2786452 h 5973007"/>
              <a:gd name="connsiteX28652" fmla="*/ 506782 w 6884782"/>
              <a:gd name="connsiteY28652" fmla="*/ 2811854 h 5973007"/>
              <a:gd name="connsiteX28653" fmla="*/ 503168 w 6884782"/>
              <a:gd name="connsiteY28653" fmla="*/ 2806278 h 5973007"/>
              <a:gd name="connsiteX28654" fmla="*/ 511945 w 6884782"/>
              <a:gd name="connsiteY28654" fmla="*/ 2786452 h 5973007"/>
              <a:gd name="connsiteX28655" fmla="*/ 716598 w 6884782"/>
              <a:gd name="connsiteY28655" fmla="*/ 2785057 h 5973007"/>
              <a:gd name="connsiteX28656" fmla="*/ 716805 w 6884782"/>
              <a:gd name="connsiteY28656" fmla="*/ 2786297 h 5973007"/>
              <a:gd name="connsiteX28657" fmla="*/ 714946 w 6884782"/>
              <a:gd name="connsiteY28657" fmla="*/ 2786142 h 5973007"/>
              <a:gd name="connsiteX28658" fmla="*/ 716598 w 6884782"/>
              <a:gd name="connsiteY28658" fmla="*/ 2785057 h 5973007"/>
              <a:gd name="connsiteX28659" fmla="*/ 518450 w 6884782"/>
              <a:gd name="connsiteY28659" fmla="*/ 2784903 h 5973007"/>
              <a:gd name="connsiteX28660" fmla="*/ 524852 w 6884782"/>
              <a:gd name="connsiteY28660" fmla="*/ 2786297 h 5973007"/>
              <a:gd name="connsiteX28661" fmla="*/ 519586 w 6884782"/>
              <a:gd name="connsiteY28661" fmla="*/ 2790944 h 5973007"/>
              <a:gd name="connsiteX28662" fmla="*/ 517727 w 6884782"/>
              <a:gd name="connsiteY28662" fmla="*/ 2786607 h 5973007"/>
              <a:gd name="connsiteX28663" fmla="*/ 518450 w 6884782"/>
              <a:gd name="connsiteY28663" fmla="*/ 2784903 h 5973007"/>
              <a:gd name="connsiteX28664" fmla="*/ 1350178 w 6884782"/>
              <a:gd name="connsiteY28664" fmla="*/ 2784748 h 5973007"/>
              <a:gd name="connsiteX28665" fmla="*/ 1353999 w 6884782"/>
              <a:gd name="connsiteY28665" fmla="*/ 2792957 h 5973007"/>
              <a:gd name="connsiteX28666" fmla="*/ 1350488 w 6884782"/>
              <a:gd name="connsiteY28666" fmla="*/ 2793887 h 5973007"/>
              <a:gd name="connsiteX28667" fmla="*/ 1347184 w 6884782"/>
              <a:gd name="connsiteY28667" fmla="*/ 2788930 h 5973007"/>
              <a:gd name="connsiteX28668" fmla="*/ 1350178 w 6884782"/>
              <a:gd name="connsiteY28668" fmla="*/ 2784748 h 5973007"/>
              <a:gd name="connsiteX28669" fmla="*/ 646281 w 6884782"/>
              <a:gd name="connsiteY28669" fmla="*/ 2784129 h 5973007"/>
              <a:gd name="connsiteX28670" fmla="*/ 643080 w 6884782"/>
              <a:gd name="connsiteY28670" fmla="*/ 2791099 h 5973007"/>
              <a:gd name="connsiteX28671" fmla="*/ 646281 w 6884782"/>
              <a:gd name="connsiteY28671" fmla="*/ 2784129 h 5973007"/>
              <a:gd name="connsiteX28672" fmla="*/ 1033079 w 6884782"/>
              <a:gd name="connsiteY28672" fmla="*/ 2782424 h 5973007"/>
              <a:gd name="connsiteX28673" fmla="*/ 1031220 w 6884782"/>
              <a:gd name="connsiteY28673" fmla="*/ 2787536 h 5973007"/>
              <a:gd name="connsiteX28674" fmla="*/ 1030498 w 6884782"/>
              <a:gd name="connsiteY28674" fmla="*/ 2789240 h 5973007"/>
              <a:gd name="connsiteX28675" fmla="*/ 1031530 w 6884782"/>
              <a:gd name="connsiteY28675" fmla="*/ 2789240 h 5973007"/>
              <a:gd name="connsiteX28676" fmla="*/ 1030394 w 6884782"/>
              <a:gd name="connsiteY28676" fmla="*/ 2789550 h 5973007"/>
              <a:gd name="connsiteX28677" fmla="*/ 1028949 w 6884782"/>
              <a:gd name="connsiteY28677" fmla="*/ 2793422 h 5973007"/>
              <a:gd name="connsiteX28678" fmla="*/ 1031633 w 6884782"/>
              <a:gd name="connsiteY28678" fmla="*/ 2793267 h 5973007"/>
              <a:gd name="connsiteX28679" fmla="*/ 1031840 w 6884782"/>
              <a:gd name="connsiteY28679" fmla="*/ 2792183 h 5973007"/>
              <a:gd name="connsiteX28680" fmla="*/ 1033595 w 6884782"/>
              <a:gd name="connsiteY28680" fmla="*/ 2790944 h 5973007"/>
              <a:gd name="connsiteX28681" fmla="*/ 1032975 w 6884782"/>
              <a:gd name="connsiteY28681" fmla="*/ 2793112 h 5973007"/>
              <a:gd name="connsiteX28682" fmla="*/ 1032975 w 6884782"/>
              <a:gd name="connsiteY28682" fmla="*/ 2793267 h 5973007"/>
              <a:gd name="connsiteX28683" fmla="*/ 1038861 w 6884782"/>
              <a:gd name="connsiteY28683" fmla="*/ 2792802 h 5973007"/>
              <a:gd name="connsiteX28684" fmla="*/ 1046812 w 6884782"/>
              <a:gd name="connsiteY28684" fmla="*/ 2793732 h 5973007"/>
              <a:gd name="connsiteX28685" fmla="*/ 1046812 w 6884782"/>
              <a:gd name="connsiteY28685" fmla="*/ 2794042 h 5973007"/>
              <a:gd name="connsiteX28686" fmla="*/ 1047018 w 6884782"/>
              <a:gd name="connsiteY28686" fmla="*/ 2794042 h 5973007"/>
              <a:gd name="connsiteX28687" fmla="*/ 1047122 w 6884782"/>
              <a:gd name="connsiteY28687" fmla="*/ 2794042 h 5973007"/>
              <a:gd name="connsiteX28688" fmla="*/ 1048980 w 6884782"/>
              <a:gd name="connsiteY28688" fmla="*/ 2793887 h 5973007"/>
              <a:gd name="connsiteX28689" fmla="*/ 1048980 w 6884782"/>
              <a:gd name="connsiteY28689" fmla="*/ 2793422 h 5973007"/>
              <a:gd name="connsiteX28690" fmla="*/ 1049909 w 6884782"/>
              <a:gd name="connsiteY28690" fmla="*/ 2791718 h 5973007"/>
              <a:gd name="connsiteX28691" fmla="*/ 1051458 w 6884782"/>
              <a:gd name="connsiteY28691" fmla="*/ 2791254 h 5973007"/>
              <a:gd name="connsiteX28692" fmla="*/ 1053110 w 6884782"/>
              <a:gd name="connsiteY28692" fmla="*/ 2792338 h 5973007"/>
              <a:gd name="connsiteX28693" fmla="*/ 1054143 w 6884782"/>
              <a:gd name="connsiteY28693" fmla="*/ 2793112 h 5973007"/>
              <a:gd name="connsiteX28694" fmla="*/ 1056518 w 6884782"/>
              <a:gd name="connsiteY28694" fmla="*/ 2792802 h 5973007"/>
              <a:gd name="connsiteX28695" fmla="*/ 1062920 w 6884782"/>
              <a:gd name="connsiteY28695" fmla="*/ 2792648 h 5973007"/>
              <a:gd name="connsiteX28696" fmla="*/ 1055279 w 6884782"/>
              <a:gd name="connsiteY28696" fmla="*/ 2786142 h 5973007"/>
              <a:gd name="connsiteX28697" fmla="*/ 1053730 w 6884782"/>
              <a:gd name="connsiteY28697" fmla="*/ 2789085 h 5973007"/>
              <a:gd name="connsiteX28698" fmla="*/ 1050323 w 6884782"/>
              <a:gd name="connsiteY28698" fmla="*/ 2791254 h 5973007"/>
              <a:gd name="connsiteX28699" fmla="*/ 1048670 w 6884782"/>
              <a:gd name="connsiteY28699" fmla="*/ 2788156 h 5973007"/>
              <a:gd name="connsiteX28700" fmla="*/ 1048774 w 6884782"/>
              <a:gd name="connsiteY28700" fmla="*/ 2785057 h 5973007"/>
              <a:gd name="connsiteX28701" fmla="*/ 1042475 w 6884782"/>
              <a:gd name="connsiteY28701" fmla="*/ 2785522 h 5973007"/>
              <a:gd name="connsiteX28702" fmla="*/ 357989 w 6884782"/>
              <a:gd name="connsiteY28702" fmla="*/ 2781960 h 5973007"/>
              <a:gd name="connsiteX28703" fmla="*/ 366353 w 6884782"/>
              <a:gd name="connsiteY28703" fmla="*/ 2808137 h 5973007"/>
              <a:gd name="connsiteX28704" fmla="*/ 357989 w 6884782"/>
              <a:gd name="connsiteY28704" fmla="*/ 2781960 h 5973007"/>
              <a:gd name="connsiteX28705" fmla="*/ 917806 w 6884782"/>
              <a:gd name="connsiteY28705" fmla="*/ 2781495 h 5973007"/>
              <a:gd name="connsiteX28706" fmla="*/ 929100 w 6884782"/>
              <a:gd name="connsiteY28706" fmla="*/ 2783199 h 5973007"/>
              <a:gd name="connsiteX28707" fmla="*/ 905351 w 6884782"/>
              <a:gd name="connsiteY28707" fmla="*/ 2788156 h 5973007"/>
              <a:gd name="connsiteX28708" fmla="*/ 917806 w 6884782"/>
              <a:gd name="connsiteY28708" fmla="*/ 2781495 h 5973007"/>
              <a:gd name="connsiteX28709" fmla="*/ 1369488 w 6884782"/>
              <a:gd name="connsiteY28709" fmla="*/ 2777777 h 5973007"/>
              <a:gd name="connsiteX28710" fmla="*/ 1370313 w 6884782"/>
              <a:gd name="connsiteY28710" fmla="*/ 2777777 h 5973007"/>
              <a:gd name="connsiteX28711" fmla="*/ 1370624 w 6884782"/>
              <a:gd name="connsiteY28711" fmla="*/ 2778552 h 5973007"/>
              <a:gd name="connsiteX28712" fmla="*/ 1367216 w 6884782"/>
              <a:gd name="connsiteY28712" fmla="*/ 2778552 h 5973007"/>
              <a:gd name="connsiteX28713" fmla="*/ 1369488 w 6884782"/>
              <a:gd name="connsiteY28713" fmla="*/ 2777777 h 5973007"/>
              <a:gd name="connsiteX28714" fmla="*/ 845978 w 6884782"/>
              <a:gd name="connsiteY28714" fmla="*/ 2776848 h 5973007"/>
              <a:gd name="connsiteX28715" fmla="*/ 845875 w 6884782"/>
              <a:gd name="connsiteY28715" fmla="*/ 2798379 h 5973007"/>
              <a:gd name="connsiteX28716" fmla="*/ 841538 w 6884782"/>
              <a:gd name="connsiteY28716" fmla="*/ 2788156 h 5973007"/>
              <a:gd name="connsiteX28717" fmla="*/ 845978 w 6884782"/>
              <a:gd name="connsiteY28717" fmla="*/ 2776848 h 5973007"/>
              <a:gd name="connsiteX28718" fmla="*/ 469713 w 6884782"/>
              <a:gd name="connsiteY28718" fmla="*/ 2776383 h 5973007"/>
              <a:gd name="connsiteX28719" fmla="*/ 467028 w 6884782"/>
              <a:gd name="connsiteY28719" fmla="*/ 2796055 h 5973007"/>
              <a:gd name="connsiteX28720" fmla="*/ 462794 w 6884782"/>
              <a:gd name="connsiteY28720" fmla="*/ 2794352 h 5973007"/>
              <a:gd name="connsiteX28721" fmla="*/ 462382 w 6884782"/>
              <a:gd name="connsiteY28721" fmla="*/ 2789240 h 5973007"/>
              <a:gd name="connsiteX28722" fmla="*/ 462278 w 6884782"/>
              <a:gd name="connsiteY28722" fmla="*/ 2785057 h 5973007"/>
              <a:gd name="connsiteX28723" fmla="*/ 469713 w 6884782"/>
              <a:gd name="connsiteY28723" fmla="*/ 2776383 h 5973007"/>
              <a:gd name="connsiteX28724" fmla="*/ 348284 w 6884782"/>
              <a:gd name="connsiteY28724" fmla="*/ 2776383 h 5973007"/>
              <a:gd name="connsiteX28725" fmla="*/ 354169 w 6884782"/>
              <a:gd name="connsiteY28725" fmla="*/ 2785057 h 5973007"/>
              <a:gd name="connsiteX28726" fmla="*/ 337648 w 6884782"/>
              <a:gd name="connsiteY28726" fmla="*/ 2786142 h 5973007"/>
              <a:gd name="connsiteX28727" fmla="*/ 348284 w 6884782"/>
              <a:gd name="connsiteY28727" fmla="*/ 2776383 h 5973007"/>
              <a:gd name="connsiteX28728" fmla="*/ 725891 w 6884782"/>
              <a:gd name="connsiteY28728" fmla="*/ 2775609 h 5973007"/>
              <a:gd name="connsiteX28729" fmla="*/ 716701 w 6884782"/>
              <a:gd name="connsiteY28729" fmla="*/ 2785057 h 5973007"/>
              <a:gd name="connsiteX28730" fmla="*/ 725891 w 6884782"/>
              <a:gd name="connsiteY28730" fmla="*/ 2775609 h 5973007"/>
              <a:gd name="connsiteX28731" fmla="*/ 654541 w 6884782"/>
              <a:gd name="connsiteY28731" fmla="*/ 2774834 h 5973007"/>
              <a:gd name="connsiteX28732" fmla="*/ 646384 w 6884782"/>
              <a:gd name="connsiteY28732" fmla="*/ 2782734 h 5973007"/>
              <a:gd name="connsiteX28733" fmla="*/ 634716 w 6884782"/>
              <a:gd name="connsiteY28733" fmla="*/ 2787381 h 5973007"/>
              <a:gd name="connsiteX28734" fmla="*/ 641944 w 6884782"/>
              <a:gd name="connsiteY28734" fmla="*/ 2777313 h 5973007"/>
              <a:gd name="connsiteX28735" fmla="*/ 654541 w 6884782"/>
              <a:gd name="connsiteY28735" fmla="*/ 2774834 h 5973007"/>
              <a:gd name="connsiteX28736" fmla="*/ 5096677 w 6884782"/>
              <a:gd name="connsiteY28736" fmla="*/ 2774243 h 5973007"/>
              <a:gd name="connsiteX28737" fmla="*/ 5091128 w 6884782"/>
              <a:gd name="connsiteY28737" fmla="*/ 2778511 h 5973007"/>
              <a:gd name="connsiteX28738" fmla="*/ 5091128 w 6884782"/>
              <a:gd name="connsiteY28738" fmla="*/ 2778653 h 5973007"/>
              <a:gd name="connsiteX28739" fmla="*/ 5088140 w 6884782"/>
              <a:gd name="connsiteY28739" fmla="*/ 2781641 h 5973007"/>
              <a:gd name="connsiteX28740" fmla="*/ 5087286 w 6884782"/>
              <a:gd name="connsiteY28740" fmla="*/ 2781356 h 5973007"/>
              <a:gd name="connsiteX28741" fmla="*/ 5086433 w 6884782"/>
              <a:gd name="connsiteY28741" fmla="*/ 2782067 h 5973007"/>
              <a:gd name="connsiteX28742" fmla="*/ 5069567 w 6884782"/>
              <a:gd name="connsiteY28742" fmla="*/ 2785712 h 5973007"/>
              <a:gd name="connsiteX28743" fmla="*/ 5091019 w 6884782"/>
              <a:gd name="connsiteY28743" fmla="*/ 2785712 h 5973007"/>
              <a:gd name="connsiteX28744" fmla="*/ 5092409 w 6884782"/>
              <a:gd name="connsiteY28744" fmla="*/ 2782637 h 5973007"/>
              <a:gd name="connsiteX28745" fmla="*/ 5095823 w 6884782"/>
              <a:gd name="connsiteY28745" fmla="*/ 2777800 h 5973007"/>
              <a:gd name="connsiteX28746" fmla="*/ 905867 w 6884782"/>
              <a:gd name="connsiteY28746" fmla="*/ 2773750 h 5973007"/>
              <a:gd name="connsiteX28747" fmla="*/ 907726 w 6884782"/>
              <a:gd name="connsiteY28747" fmla="*/ 2775144 h 5973007"/>
              <a:gd name="connsiteX28748" fmla="*/ 904731 w 6884782"/>
              <a:gd name="connsiteY28748" fmla="*/ 2777468 h 5973007"/>
              <a:gd name="connsiteX28749" fmla="*/ 903905 w 6884782"/>
              <a:gd name="connsiteY28749" fmla="*/ 2775764 h 5973007"/>
              <a:gd name="connsiteX28750" fmla="*/ 904422 w 6884782"/>
              <a:gd name="connsiteY28750" fmla="*/ 2774215 h 5973007"/>
              <a:gd name="connsiteX28751" fmla="*/ 905867 w 6884782"/>
              <a:gd name="connsiteY28751" fmla="*/ 2773750 h 5973007"/>
              <a:gd name="connsiteX28752" fmla="*/ 372135 w 6884782"/>
              <a:gd name="connsiteY28752" fmla="*/ 2773596 h 5973007"/>
              <a:gd name="connsiteX28753" fmla="*/ 381222 w 6884782"/>
              <a:gd name="connsiteY28753" fmla="*/ 2774989 h 5973007"/>
              <a:gd name="connsiteX28754" fmla="*/ 371413 w 6884782"/>
              <a:gd name="connsiteY28754" fmla="*/ 2778397 h 5973007"/>
              <a:gd name="connsiteX28755" fmla="*/ 371516 w 6884782"/>
              <a:gd name="connsiteY28755" fmla="*/ 2776229 h 5973007"/>
              <a:gd name="connsiteX28756" fmla="*/ 372135 w 6884782"/>
              <a:gd name="connsiteY28756" fmla="*/ 2773596 h 5973007"/>
              <a:gd name="connsiteX28757" fmla="*/ 1362053 w 6884782"/>
              <a:gd name="connsiteY28757" fmla="*/ 2773286 h 5973007"/>
              <a:gd name="connsiteX28758" fmla="*/ 1366183 w 6884782"/>
              <a:gd name="connsiteY28758" fmla="*/ 2780876 h 5973007"/>
              <a:gd name="connsiteX28759" fmla="*/ 1358956 w 6884782"/>
              <a:gd name="connsiteY28759" fmla="*/ 2785368 h 5973007"/>
              <a:gd name="connsiteX28760" fmla="*/ 1354825 w 6884782"/>
              <a:gd name="connsiteY28760" fmla="*/ 2779172 h 5973007"/>
              <a:gd name="connsiteX28761" fmla="*/ 1357200 w 6884782"/>
              <a:gd name="connsiteY28761" fmla="*/ 2773905 h 5973007"/>
              <a:gd name="connsiteX28762" fmla="*/ 1362053 w 6884782"/>
              <a:gd name="connsiteY28762" fmla="*/ 2773286 h 5973007"/>
              <a:gd name="connsiteX28763" fmla="*/ 1336859 w 6884782"/>
              <a:gd name="connsiteY28763" fmla="*/ 2772976 h 5973007"/>
              <a:gd name="connsiteX28764" fmla="*/ 1341299 w 6884782"/>
              <a:gd name="connsiteY28764" fmla="*/ 2780411 h 5973007"/>
              <a:gd name="connsiteX28765" fmla="*/ 1336549 w 6884782"/>
              <a:gd name="connsiteY28765" fmla="*/ 2774989 h 5973007"/>
              <a:gd name="connsiteX28766" fmla="*/ 1336859 w 6884782"/>
              <a:gd name="connsiteY28766" fmla="*/ 2772976 h 5973007"/>
              <a:gd name="connsiteX28767" fmla="*/ 895851 w 6884782"/>
              <a:gd name="connsiteY28767" fmla="*/ 2772821 h 5973007"/>
              <a:gd name="connsiteX28768" fmla="*/ 896470 w 6884782"/>
              <a:gd name="connsiteY28768" fmla="*/ 2779636 h 5973007"/>
              <a:gd name="connsiteX28769" fmla="*/ 894715 w 6884782"/>
              <a:gd name="connsiteY28769" fmla="*/ 2780256 h 5973007"/>
              <a:gd name="connsiteX28770" fmla="*/ 893167 w 6884782"/>
              <a:gd name="connsiteY28770" fmla="*/ 2778552 h 5973007"/>
              <a:gd name="connsiteX28771" fmla="*/ 893063 w 6884782"/>
              <a:gd name="connsiteY28771" fmla="*/ 2775764 h 5973007"/>
              <a:gd name="connsiteX28772" fmla="*/ 894096 w 6884782"/>
              <a:gd name="connsiteY28772" fmla="*/ 2773596 h 5973007"/>
              <a:gd name="connsiteX28773" fmla="*/ 895851 w 6884782"/>
              <a:gd name="connsiteY28773" fmla="*/ 2772821 h 5973007"/>
              <a:gd name="connsiteX28774" fmla="*/ 488195 w 6884782"/>
              <a:gd name="connsiteY28774" fmla="*/ 2772511 h 5973007"/>
              <a:gd name="connsiteX28775" fmla="*/ 489951 w 6884782"/>
              <a:gd name="connsiteY28775" fmla="*/ 2773905 h 5973007"/>
              <a:gd name="connsiteX28776" fmla="*/ 489228 w 6884782"/>
              <a:gd name="connsiteY28776" fmla="*/ 2775609 h 5973007"/>
              <a:gd name="connsiteX28777" fmla="*/ 489331 w 6884782"/>
              <a:gd name="connsiteY28777" fmla="*/ 2777313 h 5973007"/>
              <a:gd name="connsiteX28778" fmla="*/ 488402 w 6884782"/>
              <a:gd name="connsiteY28778" fmla="*/ 2777468 h 5973007"/>
              <a:gd name="connsiteX28779" fmla="*/ 488299 w 6884782"/>
              <a:gd name="connsiteY28779" fmla="*/ 2777313 h 5973007"/>
              <a:gd name="connsiteX28780" fmla="*/ 487886 w 6884782"/>
              <a:gd name="connsiteY28780" fmla="*/ 2777932 h 5973007"/>
              <a:gd name="connsiteX28781" fmla="*/ 490261 w 6884782"/>
              <a:gd name="connsiteY28781" fmla="*/ 2778552 h 5973007"/>
              <a:gd name="connsiteX28782" fmla="*/ 486234 w 6884782"/>
              <a:gd name="connsiteY28782" fmla="*/ 2791099 h 5973007"/>
              <a:gd name="connsiteX28783" fmla="*/ 479213 w 6884782"/>
              <a:gd name="connsiteY28783" fmla="*/ 2788310 h 5973007"/>
              <a:gd name="connsiteX28784" fmla="*/ 477457 w 6884782"/>
              <a:gd name="connsiteY28784" fmla="*/ 2782734 h 5973007"/>
              <a:gd name="connsiteX28785" fmla="*/ 479935 w 6884782"/>
              <a:gd name="connsiteY28785" fmla="*/ 2778242 h 5973007"/>
              <a:gd name="connsiteX28786" fmla="*/ 483549 w 6884782"/>
              <a:gd name="connsiteY28786" fmla="*/ 2776848 h 5973007"/>
              <a:gd name="connsiteX28787" fmla="*/ 483756 w 6884782"/>
              <a:gd name="connsiteY28787" fmla="*/ 2777003 h 5973007"/>
              <a:gd name="connsiteX28788" fmla="*/ 482826 w 6884782"/>
              <a:gd name="connsiteY28788" fmla="*/ 2775764 h 5973007"/>
              <a:gd name="connsiteX28789" fmla="*/ 482929 w 6884782"/>
              <a:gd name="connsiteY28789" fmla="*/ 2774060 h 5973007"/>
              <a:gd name="connsiteX28790" fmla="*/ 484582 w 6884782"/>
              <a:gd name="connsiteY28790" fmla="*/ 2772976 h 5973007"/>
              <a:gd name="connsiteX28791" fmla="*/ 488195 w 6884782"/>
              <a:gd name="connsiteY28791" fmla="*/ 2772511 h 5973007"/>
              <a:gd name="connsiteX28792" fmla="*/ 610967 w 6884782"/>
              <a:gd name="connsiteY28792" fmla="*/ 2771272 h 5973007"/>
              <a:gd name="connsiteX28793" fmla="*/ 610761 w 6884782"/>
              <a:gd name="connsiteY28793" fmla="*/ 2780565 h 5973007"/>
              <a:gd name="connsiteX28794" fmla="*/ 610967 w 6884782"/>
              <a:gd name="connsiteY28794" fmla="*/ 2783044 h 5973007"/>
              <a:gd name="connsiteX28795" fmla="*/ 613136 w 6884782"/>
              <a:gd name="connsiteY28795" fmla="*/ 2781340 h 5973007"/>
              <a:gd name="connsiteX28796" fmla="*/ 618918 w 6884782"/>
              <a:gd name="connsiteY28796" fmla="*/ 2780876 h 5973007"/>
              <a:gd name="connsiteX28797" fmla="*/ 625010 w 6884782"/>
              <a:gd name="connsiteY28797" fmla="*/ 2783509 h 5973007"/>
              <a:gd name="connsiteX28798" fmla="*/ 626456 w 6884782"/>
              <a:gd name="connsiteY28798" fmla="*/ 2780721 h 5973007"/>
              <a:gd name="connsiteX28799" fmla="*/ 633890 w 6884782"/>
              <a:gd name="connsiteY28799" fmla="*/ 2783819 h 5973007"/>
              <a:gd name="connsiteX28800" fmla="*/ 629450 w 6884782"/>
              <a:gd name="connsiteY28800" fmla="*/ 2786452 h 5973007"/>
              <a:gd name="connsiteX28801" fmla="*/ 626868 w 6884782"/>
              <a:gd name="connsiteY28801" fmla="*/ 2784903 h 5973007"/>
              <a:gd name="connsiteX28802" fmla="*/ 628624 w 6884782"/>
              <a:gd name="connsiteY28802" fmla="*/ 2788000 h 5973007"/>
              <a:gd name="connsiteX28803" fmla="*/ 628728 w 6884782"/>
              <a:gd name="connsiteY28803" fmla="*/ 2793422 h 5973007"/>
              <a:gd name="connsiteX28804" fmla="*/ 628211 w 6884782"/>
              <a:gd name="connsiteY28804" fmla="*/ 2795590 h 5973007"/>
              <a:gd name="connsiteX28805" fmla="*/ 628521 w 6884782"/>
              <a:gd name="connsiteY28805" fmla="*/ 2799463 h 5973007"/>
              <a:gd name="connsiteX28806" fmla="*/ 617369 w 6884782"/>
              <a:gd name="connsiteY28806" fmla="*/ 2800237 h 5973007"/>
              <a:gd name="connsiteX28807" fmla="*/ 607353 w 6884782"/>
              <a:gd name="connsiteY28807" fmla="*/ 2792183 h 5973007"/>
              <a:gd name="connsiteX28808" fmla="*/ 607250 w 6884782"/>
              <a:gd name="connsiteY28808" fmla="*/ 2789395 h 5973007"/>
              <a:gd name="connsiteX28809" fmla="*/ 604668 w 6884782"/>
              <a:gd name="connsiteY28809" fmla="*/ 2788620 h 5973007"/>
              <a:gd name="connsiteX28810" fmla="*/ 601158 w 6884782"/>
              <a:gd name="connsiteY28810" fmla="*/ 2779326 h 5973007"/>
              <a:gd name="connsiteX28811" fmla="*/ 601261 w 6884782"/>
              <a:gd name="connsiteY28811" fmla="*/ 2776074 h 5973007"/>
              <a:gd name="connsiteX28812" fmla="*/ 607663 w 6884782"/>
              <a:gd name="connsiteY28812" fmla="*/ 2771427 h 5973007"/>
              <a:gd name="connsiteX28813" fmla="*/ 610967 w 6884782"/>
              <a:gd name="connsiteY28813" fmla="*/ 2771272 h 5973007"/>
              <a:gd name="connsiteX28814" fmla="*/ 531253 w 6884782"/>
              <a:gd name="connsiteY28814" fmla="*/ 2771253 h 5973007"/>
              <a:gd name="connsiteX28815" fmla="*/ 534248 w 6884782"/>
              <a:gd name="connsiteY28815" fmla="*/ 2772201 h 5973007"/>
              <a:gd name="connsiteX28816" fmla="*/ 532390 w 6884782"/>
              <a:gd name="connsiteY28816" fmla="*/ 2777777 h 5973007"/>
              <a:gd name="connsiteX28817" fmla="*/ 527949 w 6884782"/>
              <a:gd name="connsiteY28817" fmla="*/ 2771582 h 5973007"/>
              <a:gd name="connsiteX28818" fmla="*/ 531253 w 6884782"/>
              <a:gd name="connsiteY28818" fmla="*/ 2771253 h 5973007"/>
              <a:gd name="connsiteX28819" fmla="*/ 863016 w 6884782"/>
              <a:gd name="connsiteY28819" fmla="*/ 2769878 h 5973007"/>
              <a:gd name="connsiteX28820" fmla="*/ 864874 w 6884782"/>
              <a:gd name="connsiteY28820" fmla="*/ 2777313 h 5973007"/>
              <a:gd name="connsiteX28821" fmla="*/ 864874 w 6884782"/>
              <a:gd name="connsiteY28821" fmla="*/ 2777932 h 5973007"/>
              <a:gd name="connsiteX28822" fmla="*/ 865803 w 6884782"/>
              <a:gd name="connsiteY28822" fmla="*/ 2777777 h 5973007"/>
              <a:gd name="connsiteX28823" fmla="*/ 864978 w 6884782"/>
              <a:gd name="connsiteY28823" fmla="*/ 2780565 h 5973007"/>
              <a:gd name="connsiteX28824" fmla="*/ 865287 w 6884782"/>
              <a:gd name="connsiteY28824" fmla="*/ 2785368 h 5973007"/>
              <a:gd name="connsiteX28825" fmla="*/ 854135 w 6884782"/>
              <a:gd name="connsiteY28825" fmla="*/ 2796830 h 5973007"/>
              <a:gd name="connsiteX28826" fmla="*/ 850625 w 6884782"/>
              <a:gd name="connsiteY28826" fmla="*/ 2792648 h 5973007"/>
              <a:gd name="connsiteX28827" fmla="*/ 850005 w 6884782"/>
              <a:gd name="connsiteY28827" fmla="*/ 2792802 h 5973007"/>
              <a:gd name="connsiteX28828" fmla="*/ 850212 w 6884782"/>
              <a:gd name="connsiteY28828" fmla="*/ 2792028 h 5973007"/>
              <a:gd name="connsiteX28829" fmla="*/ 849490 w 6884782"/>
              <a:gd name="connsiteY28829" fmla="*/ 2791254 h 5973007"/>
              <a:gd name="connsiteX28830" fmla="*/ 850728 w 6884782"/>
              <a:gd name="connsiteY28830" fmla="*/ 2789859 h 5973007"/>
              <a:gd name="connsiteX28831" fmla="*/ 851038 w 6884782"/>
              <a:gd name="connsiteY28831" fmla="*/ 2788156 h 5973007"/>
              <a:gd name="connsiteX28832" fmla="*/ 853413 w 6884782"/>
              <a:gd name="connsiteY28832" fmla="*/ 2784129 h 5973007"/>
              <a:gd name="connsiteX28833" fmla="*/ 855685 w 6884782"/>
              <a:gd name="connsiteY28833" fmla="*/ 2782424 h 5973007"/>
              <a:gd name="connsiteX28834" fmla="*/ 856924 w 6884782"/>
              <a:gd name="connsiteY28834" fmla="*/ 2780101 h 5973007"/>
              <a:gd name="connsiteX28835" fmla="*/ 858679 w 6884782"/>
              <a:gd name="connsiteY28835" fmla="*/ 2776538 h 5973007"/>
              <a:gd name="connsiteX28836" fmla="*/ 857646 w 6884782"/>
              <a:gd name="connsiteY28836" fmla="*/ 2775609 h 5973007"/>
              <a:gd name="connsiteX28837" fmla="*/ 856097 w 6884782"/>
              <a:gd name="connsiteY28837" fmla="*/ 2773286 h 5973007"/>
              <a:gd name="connsiteX28838" fmla="*/ 857853 w 6884782"/>
              <a:gd name="connsiteY28838" fmla="*/ 2775144 h 5973007"/>
              <a:gd name="connsiteX28839" fmla="*/ 859298 w 6884782"/>
              <a:gd name="connsiteY28839" fmla="*/ 2775299 h 5973007"/>
              <a:gd name="connsiteX28840" fmla="*/ 859608 w 6884782"/>
              <a:gd name="connsiteY28840" fmla="*/ 2774679 h 5973007"/>
              <a:gd name="connsiteX28841" fmla="*/ 863016 w 6884782"/>
              <a:gd name="connsiteY28841" fmla="*/ 2769878 h 5973007"/>
              <a:gd name="connsiteX28842" fmla="*/ 623668 w 6884782"/>
              <a:gd name="connsiteY28842" fmla="*/ 2769723 h 5973007"/>
              <a:gd name="connsiteX28843" fmla="*/ 630792 w 6884782"/>
              <a:gd name="connsiteY28843" fmla="*/ 2777932 h 5973007"/>
              <a:gd name="connsiteX28844" fmla="*/ 624700 w 6884782"/>
              <a:gd name="connsiteY28844" fmla="*/ 2779017 h 5973007"/>
              <a:gd name="connsiteX28845" fmla="*/ 622532 w 6884782"/>
              <a:gd name="connsiteY28845" fmla="*/ 2777158 h 5973007"/>
              <a:gd name="connsiteX28846" fmla="*/ 620467 w 6884782"/>
              <a:gd name="connsiteY28846" fmla="*/ 2772356 h 5973007"/>
              <a:gd name="connsiteX28847" fmla="*/ 619744 w 6884782"/>
              <a:gd name="connsiteY28847" fmla="*/ 2772666 h 5973007"/>
              <a:gd name="connsiteX28848" fmla="*/ 623668 w 6884782"/>
              <a:gd name="connsiteY28848" fmla="*/ 2769723 h 5973007"/>
              <a:gd name="connsiteX28849" fmla="*/ 578648 w 6884782"/>
              <a:gd name="connsiteY28849" fmla="*/ 2769103 h 5973007"/>
              <a:gd name="connsiteX28850" fmla="*/ 583708 w 6884782"/>
              <a:gd name="connsiteY28850" fmla="*/ 2772976 h 5973007"/>
              <a:gd name="connsiteX28851" fmla="*/ 578235 w 6884782"/>
              <a:gd name="connsiteY28851" fmla="*/ 2778087 h 5973007"/>
              <a:gd name="connsiteX28852" fmla="*/ 574828 w 6884782"/>
              <a:gd name="connsiteY28852" fmla="*/ 2774989 h 5973007"/>
              <a:gd name="connsiteX28853" fmla="*/ 578648 w 6884782"/>
              <a:gd name="connsiteY28853" fmla="*/ 2769103 h 5973007"/>
              <a:gd name="connsiteX28854" fmla="*/ 950680 w 6884782"/>
              <a:gd name="connsiteY28854" fmla="*/ 2768793 h 5973007"/>
              <a:gd name="connsiteX28855" fmla="*/ 951919 w 6884782"/>
              <a:gd name="connsiteY28855" fmla="*/ 2771891 h 5973007"/>
              <a:gd name="connsiteX28856" fmla="*/ 951093 w 6884782"/>
              <a:gd name="connsiteY28856" fmla="*/ 2772046 h 5973007"/>
              <a:gd name="connsiteX28857" fmla="*/ 949957 w 6884782"/>
              <a:gd name="connsiteY28857" fmla="*/ 2770807 h 5973007"/>
              <a:gd name="connsiteX28858" fmla="*/ 950680 w 6884782"/>
              <a:gd name="connsiteY28858" fmla="*/ 2768793 h 5973007"/>
              <a:gd name="connsiteX28859" fmla="*/ 617679 w 6884782"/>
              <a:gd name="connsiteY28859" fmla="*/ 2768484 h 5973007"/>
              <a:gd name="connsiteX28860" fmla="*/ 619538 w 6884782"/>
              <a:gd name="connsiteY28860" fmla="*/ 2768948 h 5973007"/>
              <a:gd name="connsiteX28861" fmla="*/ 618092 w 6884782"/>
              <a:gd name="connsiteY28861" fmla="*/ 2773131 h 5973007"/>
              <a:gd name="connsiteX28862" fmla="*/ 615407 w 6884782"/>
              <a:gd name="connsiteY28862" fmla="*/ 2773750 h 5973007"/>
              <a:gd name="connsiteX28863" fmla="*/ 614375 w 6884782"/>
              <a:gd name="connsiteY28863" fmla="*/ 2772666 h 5973007"/>
              <a:gd name="connsiteX28864" fmla="*/ 614891 w 6884782"/>
              <a:gd name="connsiteY28864" fmla="*/ 2771272 h 5973007"/>
              <a:gd name="connsiteX28865" fmla="*/ 616130 w 6884782"/>
              <a:gd name="connsiteY28865" fmla="*/ 2768793 h 5973007"/>
              <a:gd name="connsiteX28866" fmla="*/ 617679 w 6884782"/>
              <a:gd name="connsiteY28866" fmla="*/ 2768484 h 5973007"/>
              <a:gd name="connsiteX28867" fmla="*/ 432450 w 6884782"/>
              <a:gd name="connsiteY28867" fmla="*/ 2767322 h 5973007"/>
              <a:gd name="connsiteX28868" fmla="*/ 441730 w 6884782"/>
              <a:gd name="connsiteY28868" fmla="*/ 2768948 h 5973007"/>
              <a:gd name="connsiteX28869" fmla="*/ 440491 w 6884782"/>
              <a:gd name="connsiteY28869" fmla="*/ 2777158 h 5973007"/>
              <a:gd name="connsiteX28870" fmla="*/ 426758 w 6884782"/>
              <a:gd name="connsiteY28870" fmla="*/ 2774215 h 5973007"/>
              <a:gd name="connsiteX28871" fmla="*/ 426655 w 6884782"/>
              <a:gd name="connsiteY28871" fmla="*/ 2770807 h 5973007"/>
              <a:gd name="connsiteX28872" fmla="*/ 432450 w 6884782"/>
              <a:gd name="connsiteY28872" fmla="*/ 2767322 h 5973007"/>
              <a:gd name="connsiteX28873" fmla="*/ 1383531 w 6884782"/>
              <a:gd name="connsiteY28873" fmla="*/ 2766780 h 5973007"/>
              <a:gd name="connsiteX28874" fmla="*/ 1389726 w 6884782"/>
              <a:gd name="connsiteY28874" fmla="*/ 2769878 h 5973007"/>
              <a:gd name="connsiteX28875" fmla="*/ 1382498 w 6884782"/>
              <a:gd name="connsiteY28875" fmla="*/ 2769258 h 5973007"/>
              <a:gd name="connsiteX28876" fmla="*/ 1383531 w 6884782"/>
              <a:gd name="connsiteY28876" fmla="*/ 2766780 h 5973007"/>
              <a:gd name="connsiteX28877" fmla="*/ 734255 w 6884782"/>
              <a:gd name="connsiteY28877" fmla="*/ 2766005 h 5973007"/>
              <a:gd name="connsiteX28878" fmla="*/ 730848 w 6884782"/>
              <a:gd name="connsiteY28878" fmla="*/ 2771272 h 5973007"/>
              <a:gd name="connsiteX28879" fmla="*/ 729815 w 6884782"/>
              <a:gd name="connsiteY28879" fmla="*/ 2771427 h 5973007"/>
              <a:gd name="connsiteX28880" fmla="*/ 734255 w 6884782"/>
              <a:gd name="connsiteY28880" fmla="*/ 2766005 h 5973007"/>
              <a:gd name="connsiteX28881" fmla="*/ 1009743 w 6884782"/>
              <a:gd name="connsiteY28881" fmla="*/ 2765076 h 5973007"/>
              <a:gd name="connsiteX28882" fmla="*/ 1018623 w 6884782"/>
              <a:gd name="connsiteY28882" fmla="*/ 2773286 h 5973007"/>
              <a:gd name="connsiteX28883" fmla="*/ 1013047 w 6884782"/>
              <a:gd name="connsiteY28883" fmla="*/ 2773596 h 5973007"/>
              <a:gd name="connsiteX28884" fmla="*/ 1009020 w 6884782"/>
              <a:gd name="connsiteY28884" fmla="*/ 2767864 h 5973007"/>
              <a:gd name="connsiteX28885" fmla="*/ 1009743 w 6884782"/>
              <a:gd name="connsiteY28885" fmla="*/ 2765076 h 5973007"/>
              <a:gd name="connsiteX28886" fmla="*/ 560062 w 6884782"/>
              <a:gd name="connsiteY28886" fmla="*/ 2763527 h 5973007"/>
              <a:gd name="connsiteX28887" fmla="*/ 562437 w 6884782"/>
              <a:gd name="connsiteY28887" fmla="*/ 2763992 h 5973007"/>
              <a:gd name="connsiteX28888" fmla="*/ 562333 w 6884782"/>
              <a:gd name="connsiteY28888" fmla="*/ 2771427 h 5973007"/>
              <a:gd name="connsiteX28889" fmla="*/ 559752 w 6884782"/>
              <a:gd name="connsiteY28889" fmla="*/ 2771891 h 5973007"/>
              <a:gd name="connsiteX28890" fmla="*/ 556655 w 6884782"/>
              <a:gd name="connsiteY28890" fmla="*/ 2766625 h 5973007"/>
              <a:gd name="connsiteX28891" fmla="*/ 558203 w 6884782"/>
              <a:gd name="connsiteY28891" fmla="*/ 2764301 h 5973007"/>
              <a:gd name="connsiteX28892" fmla="*/ 560062 w 6884782"/>
              <a:gd name="connsiteY28892" fmla="*/ 2763527 h 5973007"/>
              <a:gd name="connsiteX28893" fmla="*/ 740037 w 6884782"/>
              <a:gd name="connsiteY28893" fmla="*/ 2761668 h 5973007"/>
              <a:gd name="connsiteX28894" fmla="*/ 748711 w 6884782"/>
              <a:gd name="connsiteY28894" fmla="*/ 2763217 h 5973007"/>
              <a:gd name="connsiteX28895" fmla="*/ 750157 w 6884782"/>
              <a:gd name="connsiteY28895" fmla="*/ 2764301 h 5973007"/>
              <a:gd name="connsiteX28896" fmla="*/ 750880 w 6884782"/>
              <a:gd name="connsiteY28896" fmla="*/ 2764457 h 5973007"/>
              <a:gd name="connsiteX28897" fmla="*/ 751809 w 6884782"/>
              <a:gd name="connsiteY28897" fmla="*/ 2765386 h 5973007"/>
              <a:gd name="connsiteX28898" fmla="*/ 755526 w 6884782"/>
              <a:gd name="connsiteY28898" fmla="*/ 2767864 h 5973007"/>
              <a:gd name="connsiteX28899" fmla="*/ 752738 w 6884782"/>
              <a:gd name="connsiteY28899" fmla="*/ 2775764 h 5973007"/>
              <a:gd name="connsiteX28900" fmla="*/ 735288 w 6884782"/>
              <a:gd name="connsiteY28900" fmla="*/ 2763992 h 5973007"/>
              <a:gd name="connsiteX28901" fmla="*/ 740037 w 6884782"/>
              <a:gd name="connsiteY28901" fmla="*/ 2761668 h 5973007"/>
              <a:gd name="connsiteX28902" fmla="*/ 1195501 w 6884782"/>
              <a:gd name="connsiteY28902" fmla="*/ 2761513 h 5973007"/>
              <a:gd name="connsiteX28903" fmla="*/ 1193849 w 6884782"/>
              <a:gd name="connsiteY28903" fmla="*/ 2762598 h 5973007"/>
              <a:gd name="connsiteX28904" fmla="*/ 1192094 w 6884782"/>
              <a:gd name="connsiteY28904" fmla="*/ 2763372 h 5973007"/>
              <a:gd name="connsiteX28905" fmla="*/ 1193849 w 6884782"/>
              <a:gd name="connsiteY28905" fmla="*/ 2763992 h 5973007"/>
              <a:gd name="connsiteX28906" fmla="*/ 1179186 w 6884782"/>
              <a:gd name="connsiteY28906" fmla="*/ 2758725 h 5973007"/>
              <a:gd name="connsiteX28907" fmla="*/ 1175056 w 6884782"/>
              <a:gd name="connsiteY28907" fmla="*/ 2769258 h 5973007"/>
              <a:gd name="connsiteX28908" fmla="*/ 1166486 w 6884782"/>
              <a:gd name="connsiteY28908" fmla="*/ 2778087 h 5973007"/>
              <a:gd name="connsiteX28909" fmla="*/ 1165660 w 6884782"/>
              <a:gd name="connsiteY28909" fmla="*/ 2774525 h 5973007"/>
              <a:gd name="connsiteX28910" fmla="*/ 1165866 w 6884782"/>
              <a:gd name="connsiteY28910" fmla="*/ 2771272 h 5973007"/>
              <a:gd name="connsiteX28911" fmla="*/ 1179186 w 6884782"/>
              <a:gd name="connsiteY28911" fmla="*/ 2758725 h 5973007"/>
              <a:gd name="connsiteX28912" fmla="*/ 6515919 w 6884782"/>
              <a:gd name="connsiteY28912" fmla="*/ 2758166 h 5973007"/>
              <a:gd name="connsiteX28913" fmla="*/ 6529363 w 6884782"/>
              <a:gd name="connsiteY28913" fmla="*/ 2762435 h 5973007"/>
              <a:gd name="connsiteX28914" fmla="*/ 6514851 w 6884782"/>
              <a:gd name="connsiteY28914" fmla="*/ 2779791 h 5973007"/>
              <a:gd name="connsiteX28915" fmla="*/ 6503967 w 6884782"/>
              <a:gd name="connsiteY28915" fmla="*/ 2764284 h 5973007"/>
              <a:gd name="connsiteX28916" fmla="*/ 6515919 w 6884782"/>
              <a:gd name="connsiteY28916" fmla="*/ 2758166 h 5973007"/>
              <a:gd name="connsiteX28917" fmla="*/ 1255080 w 6884782"/>
              <a:gd name="connsiteY28917" fmla="*/ 2757951 h 5973007"/>
              <a:gd name="connsiteX28918" fmla="*/ 1255802 w 6884782"/>
              <a:gd name="connsiteY28918" fmla="*/ 2759190 h 5973007"/>
              <a:gd name="connsiteX28919" fmla="*/ 1255183 w 6884782"/>
              <a:gd name="connsiteY28919" fmla="*/ 2760739 h 5973007"/>
              <a:gd name="connsiteX28920" fmla="*/ 1253634 w 6884782"/>
              <a:gd name="connsiteY28920" fmla="*/ 2763837 h 5973007"/>
              <a:gd name="connsiteX28921" fmla="*/ 1255080 w 6884782"/>
              <a:gd name="connsiteY28921" fmla="*/ 2757951 h 5973007"/>
              <a:gd name="connsiteX28922" fmla="*/ 1124564 w 6884782"/>
              <a:gd name="connsiteY28922" fmla="*/ 2757641 h 5973007"/>
              <a:gd name="connsiteX28923" fmla="*/ 1125183 w 6884782"/>
              <a:gd name="connsiteY28923" fmla="*/ 2758106 h 5973007"/>
              <a:gd name="connsiteX28924" fmla="*/ 1123634 w 6884782"/>
              <a:gd name="connsiteY28924" fmla="*/ 2759345 h 5973007"/>
              <a:gd name="connsiteX28925" fmla="*/ 1123325 w 6884782"/>
              <a:gd name="connsiteY28925" fmla="*/ 2758570 h 5973007"/>
              <a:gd name="connsiteX28926" fmla="*/ 1124564 w 6884782"/>
              <a:gd name="connsiteY28926" fmla="*/ 2757641 h 5973007"/>
              <a:gd name="connsiteX28927" fmla="*/ 922492 w 6884782"/>
              <a:gd name="connsiteY28927" fmla="*/ 2757176 h 5973007"/>
              <a:gd name="connsiteX28928" fmla="*/ 908242 w 6884782"/>
              <a:gd name="connsiteY28928" fmla="*/ 2778862 h 5973007"/>
              <a:gd name="connsiteX28929" fmla="*/ 910720 w 6884782"/>
              <a:gd name="connsiteY28929" fmla="*/ 2774989 h 5973007"/>
              <a:gd name="connsiteX28930" fmla="*/ 908655 w 6884782"/>
              <a:gd name="connsiteY28930" fmla="*/ 2774525 h 5973007"/>
              <a:gd name="connsiteX28931" fmla="*/ 906383 w 6884782"/>
              <a:gd name="connsiteY28931" fmla="*/ 2769413 h 5973007"/>
              <a:gd name="connsiteX28932" fmla="*/ 907209 w 6884782"/>
              <a:gd name="connsiteY28932" fmla="*/ 2767554 h 5973007"/>
              <a:gd name="connsiteX28933" fmla="*/ 909068 w 6884782"/>
              <a:gd name="connsiteY28933" fmla="*/ 2766935 h 5973007"/>
              <a:gd name="connsiteX28934" fmla="*/ 911236 w 6884782"/>
              <a:gd name="connsiteY28934" fmla="*/ 2766470 h 5973007"/>
              <a:gd name="connsiteX28935" fmla="*/ 914437 w 6884782"/>
              <a:gd name="connsiteY28935" fmla="*/ 2767709 h 5973007"/>
              <a:gd name="connsiteX28936" fmla="*/ 917432 w 6884782"/>
              <a:gd name="connsiteY28936" fmla="*/ 2762443 h 5973007"/>
              <a:gd name="connsiteX28937" fmla="*/ 922492 w 6884782"/>
              <a:gd name="connsiteY28937" fmla="*/ 2757176 h 5973007"/>
              <a:gd name="connsiteX28938" fmla="*/ 884493 w 6884782"/>
              <a:gd name="connsiteY28938" fmla="*/ 2756557 h 5973007"/>
              <a:gd name="connsiteX28939" fmla="*/ 885732 w 6884782"/>
              <a:gd name="connsiteY28939" fmla="*/ 2757176 h 5973007"/>
              <a:gd name="connsiteX28940" fmla="*/ 886352 w 6884782"/>
              <a:gd name="connsiteY28940" fmla="*/ 2758725 h 5973007"/>
              <a:gd name="connsiteX28941" fmla="*/ 886662 w 6884782"/>
              <a:gd name="connsiteY28941" fmla="*/ 2759654 h 5973007"/>
              <a:gd name="connsiteX28942" fmla="*/ 888314 w 6884782"/>
              <a:gd name="connsiteY28942" fmla="*/ 2758880 h 5973007"/>
              <a:gd name="connsiteX28943" fmla="*/ 894715 w 6884782"/>
              <a:gd name="connsiteY28943" fmla="*/ 2764921 h 5973007"/>
              <a:gd name="connsiteX28944" fmla="*/ 879640 w 6884782"/>
              <a:gd name="connsiteY28944" fmla="*/ 2773440 h 5973007"/>
              <a:gd name="connsiteX28945" fmla="*/ 879021 w 6884782"/>
              <a:gd name="connsiteY28945" fmla="*/ 2770187 h 5973007"/>
              <a:gd name="connsiteX28946" fmla="*/ 884493 w 6884782"/>
              <a:gd name="connsiteY28946" fmla="*/ 2760739 h 5973007"/>
              <a:gd name="connsiteX28947" fmla="*/ 886145 w 6884782"/>
              <a:gd name="connsiteY28947" fmla="*/ 2759965 h 5973007"/>
              <a:gd name="connsiteX28948" fmla="*/ 984445 w 6884782"/>
              <a:gd name="connsiteY28948" fmla="*/ 2755163 h 5973007"/>
              <a:gd name="connsiteX28949" fmla="*/ 986097 w 6884782"/>
              <a:gd name="connsiteY28949" fmla="*/ 2756092 h 5973007"/>
              <a:gd name="connsiteX28950" fmla="*/ 987543 w 6884782"/>
              <a:gd name="connsiteY28950" fmla="*/ 2758106 h 5973007"/>
              <a:gd name="connsiteX28951" fmla="*/ 984135 w 6884782"/>
              <a:gd name="connsiteY28951" fmla="*/ 2761358 h 5973007"/>
              <a:gd name="connsiteX28952" fmla="*/ 982380 w 6884782"/>
              <a:gd name="connsiteY28952" fmla="*/ 2760429 h 5973007"/>
              <a:gd name="connsiteX28953" fmla="*/ 981761 w 6884782"/>
              <a:gd name="connsiteY28953" fmla="*/ 2757951 h 5973007"/>
              <a:gd name="connsiteX28954" fmla="*/ 984445 w 6884782"/>
              <a:gd name="connsiteY28954" fmla="*/ 2755163 h 5973007"/>
              <a:gd name="connsiteX28955" fmla="*/ 490261 w 6884782"/>
              <a:gd name="connsiteY28955" fmla="*/ 2754233 h 5973007"/>
              <a:gd name="connsiteX28956" fmla="*/ 498108 w 6884782"/>
              <a:gd name="connsiteY28956" fmla="*/ 2766470 h 5973007"/>
              <a:gd name="connsiteX28957" fmla="*/ 490984 w 6884782"/>
              <a:gd name="connsiteY28957" fmla="*/ 2767090 h 5973007"/>
              <a:gd name="connsiteX28958" fmla="*/ 489331 w 6884782"/>
              <a:gd name="connsiteY28958" fmla="*/ 2757176 h 5973007"/>
              <a:gd name="connsiteX28959" fmla="*/ 490261 w 6884782"/>
              <a:gd name="connsiteY28959" fmla="*/ 2754233 h 5973007"/>
              <a:gd name="connsiteX28960" fmla="*/ 1126629 w 6884782"/>
              <a:gd name="connsiteY28960" fmla="*/ 2754078 h 5973007"/>
              <a:gd name="connsiteX28961" fmla="*/ 1129313 w 6884782"/>
              <a:gd name="connsiteY28961" fmla="*/ 2754388 h 5973007"/>
              <a:gd name="connsiteX28962" fmla="*/ 1124873 w 6884782"/>
              <a:gd name="connsiteY28962" fmla="*/ 2757176 h 5973007"/>
              <a:gd name="connsiteX28963" fmla="*/ 1126629 w 6884782"/>
              <a:gd name="connsiteY28963" fmla="*/ 2754078 h 5973007"/>
              <a:gd name="connsiteX28964" fmla="*/ 469713 w 6884782"/>
              <a:gd name="connsiteY28964" fmla="*/ 2753304 h 5973007"/>
              <a:gd name="connsiteX28965" fmla="*/ 465273 w 6884782"/>
              <a:gd name="connsiteY28965" fmla="*/ 2769103 h 5973007"/>
              <a:gd name="connsiteX28966" fmla="*/ 463414 w 6884782"/>
              <a:gd name="connsiteY28966" fmla="*/ 2768484 h 5973007"/>
              <a:gd name="connsiteX28967" fmla="*/ 462691 w 6884782"/>
              <a:gd name="connsiteY28967" fmla="*/ 2766315 h 5973007"/>
              <a:gd name="connsiteX28968" fmla="*/ 464653 w 6884782"/>
              <a:gd name="connsiteY28968" fmla="*/ 2758106 h 5973007"/>
              <a:gd name="connsiteX28969" fmla="*/ 465376 w 6884782"/>
              <a:gd name="connsiteY28969" fmla="*/ 2756402 h 5973007"/>
              <a:gd name="connsiteX28970" fmla="*/ 466202 w 6884782"/>
              <a:gd name="connsiteY28970" fmla="*/ 2754543 h 5973007"/>
              <a:gd name="connsiteX28971" fmla="*/ 469713 w 6884782"/>
              <a:gd name="connsiteY28971" fmla="*/ 2753304 h 5973007"/>
              <a:gd name="connsiteX28972" fmla="*/ 1158122 w 6884782"/>
              <a:gd name="connsiteY28972" fmla="*/ 2752994 h 5973007"/>
              <a:gd name="connsiteX28973" fmla="*/ 1162975 w 6884782"/>
              <a:gd name="connsiteY28973" fmla="*/ 2757486 h 5973007"/>
              <a:gd name="connsiteX28974" fmla="*/ 1157503 w 6884782"/>
              <a:gd name="connsiteY28974" fmla="*/ 2760274 h 5973007"/>
              <a:gd name="connsiteX28975" fmla="*/ 1155954 w 6884782"/>
              <a:gd name="connsiteY28975" fmla="*/ 2755937 h 5973007"/>
              <a:gd name="connsiteX28976" fmla="*/ 1158122 w 6884782"/>
              <a:gd name="connsiteY28976" fmla="*/ 2752994 h 5973007"/>
              <a:gd name="connsiteX28977" fmla="*/ 642460 w 6884782"/>
              <a:gd name="connsiteY28977" fmla="*/ 2750825 h 5973007"/>
              <a:gd name="connsiteX28978" fmla="*/ 659498 w 6884782"/>
              <a:gd name="connsiteY28978" fmla="*/ 2761204 h 5973007"/>
              <a:gd name="connsiteX28979" fmla="*/ 656193 w 6884782"/>
              <a:gd name="connsiteY28979" fmla="*/ 2764301 h 5973007"/>
              <a:gd name="connsiteX28980" fmla="*/ 642151 w 6884782"/>
              <a:gd name="connsiteY28980" fmla="*/ 2754078 h 5973007"/>
              <a:gd name="connsiteX28981" fmla="*/ 642460 w 6884782"/>
              <a:gd name="connsiteY28981" fmla="*/ 2750825 h 5973007"/>
              <a:gd name="connsiteX28982" fmla="*/ 707512 w 6884782"/>
              <a:gd name="connsiteY28982" fmla="*/ 2749431 h 5973007"/>
              <a:gd name="connsiteX28983" fmla="*/ 709061 w 6884782"/>
              <a:gd name="connsiteY28983" fmla="*/ 2753459 h 5973007"/>
              <a:gd name="connsiteX28984" fmla="*/ 707305 w 6884782"/>
              <a:gd name="connsiteY28984" fmla="*/ 2756247 h 5973007"/>
              <a:gd name="connsiteX28985" fmla="*/ 706376 w 6884782"/>
              <a:gd name="connsiteY28985" fmla="*/ 2752684 h 5973007"/>
              <a:gd name="connsiteX28986" fmla="*/ 707512 w 6884782"/>
              <a:gd name="connsiteY28986" fmla="*/ 2749431 h 5973007"/>
              <a:gd name="connsiteX28987" fmla="*/ 722871 w 6884782"/>
              <a:gd name="connsiteY28987" fmla="*/ 2749218 h 5973007"/>
              <a:gd name="connsiteX28988" fmla="*/ 729609 w 6884782"/>
              <a:gd name="connsiteY28988" fmla="*/ 2749586 h 5973007"/>
              <a:gd name="connsiteX28989" fmla="*/ 728369 w 6884782"/>
              <a:gd name="connsiteY28989" fmla="*/ 2757951 h 5973007"/>
              <a:gd name="connsiteX28990" fmla="*/ 719076 w 6884782"/>
              <a:gd name="connsiteY28990" fmla="*/ 2755008 h 5973007"/>
              <a:gd name="connsiteX28991" fmla="*/ 722871 w 6884782"/>
              <a:gd name="connsiteY28991" fmla="*/ 2749218 h 5973007"/>
              <a:gd name="connsiteX28992" fmla="*/ 1381981 w 6884782"/>
              <a:gd name="connsiteY28992" fmla="*/ 2748192 h 5973007"/>
              <a:gd name="connsiteX28993" fmla="*/ 1377851 w 6884782"/>
              <a:gd name="connsiteY28993" fmla="*/ 2751135 h 5973007"/>
              <a:gd name="connsiteX28994" fmla="*/ 1381981 w 6884782"/>
              <a:gd name="connsiteY28994" fmla="*/ 2748192 h 5973007"/>
              <a:gd name="connsiteX28995" fmla="*/ 658672 w 6884782"/>
              <a:gd name="connsiteY28995" fmla="*/ 2746643 h 5973007"/>
              <a:gd name="connsiteX28996" fmla="*/ 676328 w 6884782"/>
              <a:gd name="connsiteY28996" fmla="*/ 2768793 h 5973007"/>
              <a:gd name="connsiteX28997" fmla="*/ 673437 w 6884782"/>
              <a:gd name="connsiteY28997" fmla="*/ 2765696 h 5973007"/>
              <a:gd name="connsiteX28998" fmla="*/ 673541 w 6884782"/>
              <a:gd name="connsiteY28998" fmla="*/ 2766160 h 5973007"/>
              <a:gd name="connsiteX28999" fmla="*/ 663628 w 6884782"/>
              <a:gd name="connsiteY28999" fmla="*/ 2763837 h 5973007"/>
              <a:gd name="connsiteX29000" fmla="*/ 666622 w 6884782"/>
              <a:gd name="connsiteY29000" fmla="*/ 2758261 h 5973007"/>
              <a:gd name="connsiteX29001" fmla="*/ 667035 w 6884782"/>
              <a:gd name="connsiteY29001" fmla="*/ 2758570 h 5973007"/>
              <a:gd name="connsiteX29002" fmla="*/ 662492 w 6884782"/>
              <a:gd name="connsiteY29002" fmla="*/ 2753459 h 5973007"/>
              <a:gd name="connsiteX29003" fmla="*/ 658672 w 6884782"/>
              <a:gd name="connsiteY29003" fmla="*/ 2746643 h 5973007"/>
              <a:gd name="connsiteX29004" fmla="*/ 706479 w 6884782"/>
              <a:gd name="connsiteY29004" fmla="*/ 2745869 h 5973007"/>
              <a:gd name="connsiteX29005" fmla="*/ 707615 w 6884782"/>
              <a:gd name="connsiteY29005" fmla="*/ 2746334 h 5973007"/>
              <a:gd name="connsiteX29006" fmla="*/ 707925 w 6884782"/>
              <a:gd name="connsiteY29006" fmla="*/ 2746798 h 5973007"/>
              <a:gd name="connsiteX29007" fmla="*/ 707305 w 6884782"/>
              <a:gd name="connsiteY29007" fmla="*/ 2749431 h 5973007"/>
              <a:gd name="connsiteX29008" fmla="*/ 705963 w 6884782"/>
              <a:gd name="connsiteY29008" fmla="*/ 2746488 h 5973007"/>
              <a:gd name="connsiteX29009" fmla="*/ 707099 w 6884782"/>
              <a:gd name="connsiteY29009" fmla="*/ 2746334 h 5973007"/>
              <a:gd name="connsiteX29010" fmla="*/ 706479 w 6884782"/>
              <a:gd name="connsiteY29010" fmla="*/ 2745869 h 5973007"/>
              <a:gd name="connsiteX29011" fmla="*/ 1013150 w 6884782"/>
              <a:gd name="connsiteY29011" fmla="*/ 2744940 h 5973007"/>
              <a:gd name="connsiteX29012" fmla="*/ 1015422 w 6884782"/>
              <a:gd name="connsiteY29012" fmla="*/ 2748347 h 5973007"/>
              <a:gd name="connsiteX29013" fmla="*/ 1014905 w 6884782"/>
              <a:gd name="connsiteY29013" fmla="*/ 2751290 h 5973007"/>
              <a:gd name="connsiteX29014" fmla="*/ 1014493 w 6884782"/>
              <a:gd name="connsiteY29014" fmla="*/ 2752375 h 5973007"/>
              <a:gd name="connsiteX29015" fmla="*/ 1014699 w 6884782"/>
              <a:gd name="connsiteY29015" fmla="*/ 2752375 h 5973007"/>
              <a:gd name="connsiteX29016" fmla="*/ 1014596 w 6884782"/>
              <a:gd name="connsiteY29016" fmla="*/ 2754698 h 5973007"/>
              <a:gd name="connsiteX29017" fmla="*/ 1014802 w 6884782"/>
              <a:gd name="connsiteY29017" fmla="*/ 2755472 h 5973007"/>
              <a:gd name="connsiteX29018" fmla="*/ 1014596 w 6884782"/>
              <a:gd name="connsiteY29018" fmla="*/ 2755782 h 5973007"/>
              <a:gd name="connsiteX29019" fmla="*/ 1014596 w 6884782"/>
              <a:gd name="connsiteY29019" fmla="*/ 2756557 h 5973007"/>
              <a:gd name="connsiteX29020" fmla="*/ 1010982 w 6884782"/>
              <a:gd name="connsiteY29020" fmla="*/ 2755318 h 5973007"/>
              <a:gd name="connsiteX29021" fmla="*/ 1010156 w 6884782"/>
              <a:gd name="connsiteY29021" fmla="*/ 2752684 h 5973007"/>
              <a:gd name="connsiteX29022" fmla="*/ 1010982 w 6884782"/>
              <a:gd name="connsiteY29022" fmla="*/ 2752220 h 5973007"/>
              <a:gd name="connsiteX29023" fmla="*/ 1011085 w 6884782"/>
              <a:gd name="connsiteY29023" fmla="*/ 2752839 h 5973007"/>
              <a:gd name="connsiteX29024" fmla="*/ 1012428 w 6884782"/>
              <a:gd name="connsiteY29024" fmla="*/ 2752684 h 5973007"/>
              <a:gd name="connsiteX29025" fmla="*/ 1011704 w 6884782"/>
              <a:gd name="connsiteY29025" fmla="*/ 2751445 h 5973007"/>
              <a:gd name="connsiteX29026" fmla="*/ 1010156 w 6884782"/>
              <a:gd name="connsiteY29026" fmla="*/ 2746798 h 5973007"/>
              <a:gd name="connsiteX29027" fmla="*/ 1010879 w 6884782"/>
              <a:gd name="connsiteY29027" fmla="*/ 2745249 h 5973007"/>
              <a:gd name="connsiteX29028" fmla="*/ 1013150 w 6884782"/>
              <a:gd name="connsiteY29028" fmla="*/ 2744940 h 5973007"/>
              <a:gd name="connsiteX29029" fmla="*/ 726821 w 6884782"/>
              <a:gd name="connsiteY29029" fmla="*/ 2743081 h 5973007"/>
              <a:gd name="connsiteX29030" fmla="*/ 731880 w 6884782"/>
              <a:gd name="connsiteY29030" fmla="*/ 2748192 h 5973007"/>
              <a:gd name="connsiteX29031" fmla="*/ 730848 w 6884782"/>
              <a:gd name="connsiteY29031" fmla="*/ 2749586 h 5973007"/>
              <a:gd name="connsiteX29032" fmla="*/ 728473 w 6884782"/>
              <a:gd name="connsiteY29032" fmla="*/ 2748967 h 5973007"/>
              <a:gd name="connsiteX29033" fmla="*/ 725788 w 6884782"/>
              <a:gd name="connsiteY29033" fmla="*/ 2744475 h 5973007"/>
              <a:gd name="connsiteX29034" fmla="*/ 726821 w 6884782"/>
              <a:gd name="connsiteY29034" fmla="*/ 2743081 h 5973007"/>
              <a:gd name="connsiteX29035" fmla="*/ 991260 w 6884782"/>
              <a:gd name="connsiteY29035" fmla="*/ 2742771 h 5973007"/>
              <a:gd name="connsiteX29036" fmla="*/ 1000656 w 6884782"/>
              <a:gd name="connsiteY29036" fmla="*/ 2744165 h 5973007"/>
              <a:gd name="connsiteX29037" fmla="*/ 987853 w 6884782"/>
              <a:gd name="connsiteY29037" fmla="*/ 2765541 h 5973007"/>
              <a:gd name="connsiteX29038" fmla="*/ 987749 w 6884782"/>
              <a:gd name="connsiteY29038" fmla="*/ 2752375 h 5973007"/>
              <a:gd name="connsiteX29039" fmla="*/ 991260 w 6884782"/>
              <a:gd name="connsiteY29039" fmla="*/ 2742771 h 5973007"/>
              <a:gd name="connsiteX29040" fmla="*/ 695018 w 6884782"/>
              <a:gd name="connsiteY29040" fmla="*/ 2741997 h 5973007"/>
              <a:gd name="connsiteX29041" fmla="*/ 694915 w 6884782"/>
              <a:gd name="connsiteY29041" fmla="*/ 2749741 h 5973007"/>
              <a:gd name="connsiteX29042" fmla="*/ 693056 w 6884782"/>
              <a:gd name="connsiteY29042" fmla="*/ 2750361 h 5973007"/>
              <a:gd name="connsiteX29043" fmla="*/ 688720 w 6884782"/>
              <a:gd name="connsiteY29043" fmla="*/ 2750825 h 5973007"/>
              <a:gd name="connsiteX29044" fmla="*/ 687067 w 6884782"/>
              <a:gd name="connsiteY29044" fmla="*/ 2748037 h 5973007"/>
              <a:gd name="connsiteX29045" fmla="*/ 688823 w 6884782"/>
              <a:gd name="connsiteY29045" fmla="*/ 2744785 h 5973007"/>
              <a:gd name="connsiteX29046" fmla="*/ 691920 w 6884782"/>
              <a:gd name="connsiteY29046" fmla="*/ 2743081 h 5973007"/>
              <a:gd name="connsiteX29047" fmla="*/ 695018 w 6884782"/>
              <a:gd name="connsiteY29047" fmla="*/ 2741997 h 5973007"/>
              <a:gd name="connsiteX29048" fmla="*/ 1356580 w 6884782"/>
              <a:gd name="connsiteY29048" fmla="*/ 2739054 h 5973007"/>
              <a:gd name="connsiteX29049" fmla="*/ 1361227 w 6884782"/>
              <a:gd name="connsiteY29049" fmla="*/ 2742771 h 5973007"/>
              <a:gd name="connsiteX29050" fmla="*/ 1358956 w 6884782"/>
              <a:gd name="connsiteY29050" fmla="*/ 2744010 h 5973007"/>
              <a:gd name="connsiteX29051" fmla="*/ 1356580 w 6884782"/>
              <a:gd name="connsiteY29051" fmla="*/ 2739054 h 5973007"/>
              <a:gd name="connsiteX29052" fmla="*/ 1139020 w 6884782"/>
              <a:gd name="connsiteY29052" fmla="*/ 2738124 h 5973007"/>
              <a:gd name="connsiteX29053" fmla="*/ 1138400 w 6884782"/>
              <a:gd name="connsiteY29053" fmla="*/ 2741532 h 5973007"/>
              <a:gd name="connsiteX29054" fmla="*/ 1135715 w 6884782"/>
              <a:gd name="connsiteY29054" fmla="*/ 2742151 h 5973007"/>
              <a:gd name="connsiteX29055" fmla="*/ 1139020 w 6884782"/>
              <a:gd name="connsiteY29055" fmla="*/ 2738124 h 5973007"/>
              <a:gd name="connsiteX29056" fmla="*/ 1393753 w 6884782"/>
              <a:gd name="connsiteY29056" fmla="*/ 2737504 h 5973007"/>
              <a:gd name="connsiteX29057" fmla="*/ 1394372 w 6884782"/>
              <a:gd name="connsiteY29057" fmla="*/ 2739054 h 5973007"/>
              <a:gd name="connsiteX29058" fmla="*/ 1392514 w 6884782"/>
              <a:gd name="connsiteY29058" fmla="*/ 2738898 h 5973007"/>
              <a:gd name="connsiteX29059" fmla="*/ 1391378 w 6884782"/>
              <a:gd name="connsiteY29059" fmla="*/ 2738589 h 5973007"/>
              <a:gd name="connsiteX29060" fmla="*/ 1393753 w 6884782"/>
              <a:gd name="connsiteY29060" fmla="*/ 2737504 h 5973007"/>
              <a:gd name="connsiteX29061" fmla="*/ 983722 w 6884782"/>
              <a:gd name="connsiteY29061" fmla="*/ 2737350 h 5973007"/>
              <a:gd name="connsiteX29062" fmla="*/ 991054 w 6884782"/>
              <a:gd name="connsiteY29062" fmla="*/ 2738279 h 5973007"/>
              <a:gd name="connsiteX29063" fmla="*/ 984342 w 6884782"/>
              <a:gd name="connsiteY29063" fmla="*/ 2738124 h 5973007"/>
              <a:gd name="connsiteX29064" fmla="*/ 983722 w 6884782"/>
              <a:gd name="connsiteY29064" fmla="*/ 2737350 h 5973007"/>
              <a:gd name="connsiteX29065" fmla="*/ 952229 w 6884782"/>
              <a:gd name="connsiteY29065" fmla="*/ 2736575 h 5973007"/>
              <a:gd name="connsiteX29066" fmla="*/ 959044 w 6884782"/>
              <a:gd name="connsiteY29066" fmla="*/ 2739054 h 5973007"/>
              <a:gd name="connsiteX29067" fmla="*/ 970093 w 6884782"/>
              <a:gd name="connsiteY29067" fmla="*/ 2742926 h 5973007"/>
              <a:gd name="connsiteX29068" fmla="*/ 969266 w 6884782"/>
              <a:gd name="connsiteY29068" fmla="*/ 2751135 h 5973007"/>
              <a:gd name="connsiteX29069" fmla="*/ 949234 w 6884782"/>
              <a:gd name="connsiteY29069" fmla="*/ 2754388 h 5973007"/>
              <a:gd name="connsiteX29070" fmla="*/ 947789 w 6884782"/>
              <a:gd name="connsiteY29070" fmla="*/ 2753924 h 5973007"/>
              <a:gd name="connsiteX29071" fmla="*/ 947273 w 6884782"/>
              <a:gd name="connsiteY29071" fmla="*/ 2754233 h 5973007"/>
              <a:gd name="connsiteX29072" fmla="*/ 939426 w 6884782"/>
              <a:gd name="connsiteY29072" fmla="*/ 2755782 h 5973007"/>
              <a:gd name="connsiteX29073" fmla="*/ 943865 w 6884782"/>
              <a:gd name="connsiteY29073" fmla="*/ 2752529 h 5973007"/>
              <a:gd name="connsiteX29074" fmla="*/ 942317 w 6884782"/>
              <a:gd name="connsiteY29074" fmla="*/ 2751910 h 5973007"/>
              <a:gd name="connsiteX29075" fmla="*/ 938083 w 6884782"/>
              <a:gd name="connsiteY29075" fmla="*/ 2750671 h 5973007"/>
              <a:gd name="connsiteX29076" fmla="*/ 936328 w 6884782"/>
              <a:gd name="connsiteY29076" fmla="*/ 2746798 h 5973007"/>
              <a:gd name="connsiteX29077" fmla="*/ 936224 w 6884782"/>
              <a:gd name="connsiteY29077" fmla="*/ 2744940 h 5973007"/>
              <a:gd name="connsiteX29078" fmla="*/ 945518 w 6884782"/>
              <a:gd name="connsiteY29078" fmla="*/ 2737814 h 5973007"/>
              <a:gd name="connsiteX29079" fmla="*/ 952229 w 6884782"/>
              <a:gd name="connsiteY29079" fmla="*/ 2736575 h 5973007"/>
              <a:gd name="connsiteX29080" fmla="*/ 1316827 w 6884782"/>
              <a:gd name="connsiteY29080" fmla="*/ 2735955 h 5973007"/>
              <a:gd name="connsiteX29081" fmla="*/ 1319718 w 6884782"/>
              <a:gd name="connsiteY29081" fmla="*/ 2743236 h 5973007"/>
              <a:gd name="connsiteX29082" fmla="*/ 1318789 w 6884782"/>
              <a:gd name="connsiteY29082" fmla="*/ 2744475 h 5973007"/>
              <a:gd name="connsiteX29083" fmla="*/ 1318892 w 6884782"/>
              <a:gd name="connsiteY29083" fmla="*/ 2744630 h 5973007"/>
              <a:gd name="connsiteX29084" fmla="*/ 1320751 w 6884782"/>
              <a:gd name="connsiteY29084" fmla="*/ 2747263 h 5973007"/>
              <a:gd name="connsiteX29085" fmla="*/ 1317343 w 6884782"/>
              <a:gd name="connsiteY29085" fmla="*/ 2751135 h 5973007"/>
              <a:gd name="connsiteX29086" fmla="*/ 1314452 w 6884782"/>
              <a:gd name="connsiteY29086" fmla="*/ 2752994 h 5973007"/>
              <a:gd name="connsiteX29087" fmla="*/ 1313729 w 6884782"/>
              <a:gd name="connsiteY29087" fmla="*/ 2758725 h 5973007"/>
              <a:gd name="connsiteX29088" fmla="*/ 1314865 w 6884782"/>
              <a:gd name="connsiteY29088" fmla="*/ 2758880 h 5973007"/>
              <a:gd name="connsiteX29089" fmla="*/ 1316104 w 6884782"/>
              <a:gd name="connsiteY29089" fmla="*/ 2759345 h 5973007"/>
              <a:gd name="connsiteX29090" fmla="*/ 1316207 w 6884782"/>
              <a:gd name="connsiteY29090" fmla="*/ 2758570 h 5973007"/>
              <a:gd name="connsiteX29091" fmla="*/ 1323848 w 6884782"/>
              <a:gd name="connsiteY29091" fmla="*/ 2757951 h 5973007"/>
              <a:gd name="connsiteX29092" fmla="*/ 1327978 w 6884782"/>
              <a:gd name="connsiteY29092" fmla="*/ 2758415 h 5973007"/>
              <a:gd name="connsiteX29093" fmla="*/ 1325707 w 6884782"/>
              <a:gd name="connsiteY29093" fmla="*/ 2753924 h 5973007"/>
              <a:gd name="connsiteX29094" fmla="*/ 1327256 w 6884782"/>
              <a:gd name="connsiteY29094" fmla="*/ 2746334 h 5973007"/>
              <a:gd name="connsiteX29095" fmla="*/ 1342125 w 6884782"/>
              <a:gd name="connsiteY29095" fmla="*/ 2753924 h 5973007"/>
              <a:gd name="connsiteX29096" fmla="*/ 1334484 w 6884782"/>
              <a:gd name="connsiteY29096" fmla="*/ 2758415 h 5973007"/>
              <a:gd name="connsiteX29097" fmla="*/ 1329424 w 6884782"/>
              <a:gd name="connsiteY29097" fmla="*/ 2759035 h 5973007"/>
              <a:gd name="connsiteX29098" fmla="*/ 1330457 w 6884782"/>
              <a:gd name="connsiteY29098" fmla="*/ 2761978 h 5973007"/>
              <a:gd name="connsiteX29099" fmla="*/ 1322299 w 6884782"/>
              <a:gd name="connsiteY29099" fmla="*/ 2763682 h 5973007"/>
              <a:gd name="connsiteX29100" fmla="*/ 1322093 w 6884782"/>
              <a:gd name="connsiteY29100" fmla="*/ 2763682 h 5973007"/>
              <a:gd name="connsiteX29101" fmla="*/ 1322712 w 6884782"/>
              <a:gd name="connsiteY29101" fmla="*/ 2764301 h 5973007"/>
              <a:gd name="connsiteX29102" fmla="*/ 1324055 w 6884782"/>
              <a:gd name="connsiteY29102" fmla="*/ 2771582 h 5973007"/>
              <a:gd name="connsiteX29103" fmla="*/ 1323435 w 6884782"/>
              <a:gd name="connsiteY29103" fmla="*/ 2772356 h 5973007"/>
              <a:gd name="connsiteX29104" fmla="*/ 1323229 w 6884782"/>
              <a:gd name="connsiteY29104" fmla="*/ 2774370 h 5973007"/>
              <a:gd name="connsiteX29105" fmla="*/ 1323022 w 6884782"/>
              <a:gd name="connsiteY29105" fmla="*/ 2774525 h 5973007"/>
              <a:gd name="connsiteX29106" fmla="*/ 1323022 w 6884782"/>
              <a:gd name="connsiteY29106" fmla="*/ 2774679 h 5973007"/>
              <a:gd name="connsiteX29107" fmla="*/ 1322196 w 6884782"/>
              <a:gd name="connsiteY29107" fmla="*/ 2774989 h 5973007"/>
              <a:gd name="connsiteX29108" fmla="*/ 1318375 w 6884782"/>
              <a:gd name="connsiteY29108" fmla="*/ 2776848 h 5973007"/>
              <a:gd name="connsiteX29109" fmla="*/ 1317446 w 6884782"/>
              <a:gd name="connsiteY29109" fmla="*/ 2776074 h 5973007"/>
              <a:gd name="connsiteX29110" fmla="*/ 1314555 w 6884782"/>
              <a:gd name="connsiteY29110" fmla="*/ 2776848 h 5973007"/>
              <a:gd name="connsiteX29111" fmla="*/ 1309805 w 6884782"/>
              <a:gd name="connsiteY29111" fmla="*/ 2774060 h 5973007"/>
              <a:gd name="connsiteX29112" fmla="*/ 1307121 w 6884782"/>
              <a:gd name="connsiteY29112" fmla="*/ 2779946 h 5973007"/>
              <a:gd name="connsiteX29113" fmla="*/ 1300409 w 6884782"/>
              <a:gd name="connsiteY29113" fmla="*/ 2788465 h 5973007"/>
              <a:gd name="connsiteX29114" fmla="*/ 1307327 w 6884782"/>
              <a:gd name="connsiteY29114" fmla="*/ 2800547 h 5973007"/>
              <a:gd name="connsiteX29115" fmla="*/ 1290496 w 6884782"/>
              <a:gd name="connsiteY29115" fmla="*/ 2793422 h 5973007"/>
              <a:gd name="connsiteX29116" fmla="*/ 1283888 w 6884782"/>
              <a:gd name="connsiteY29116" fmla="*/ 2786452 h 5973007"/>
              <a:gd name="connsiteX29117" fmla="*/ 1283062 w 6884782"/>
              <a:gd name="connsiteY29117" fmla="*/ 2786761 h 5973007"/>
              <a:gd name="connsiteX29118" fmla="*/ 1278312 w 6884782"/>
              <a:gd name="connsiteY29118" fmla="*/ 2785522 h 5973007"/>
              <a:gd name="connsiteX29119" fmla="*/ 1279448 w 6884782"/>
              <a:gd name="connsiteY29119" fmla="*/ 2783354 h 5973007"/>
              <a:gd name="connsiteX29120" fmla="*/ 1282236 w 6884782"/>
              <a:gd name="connsiteY29120" fmla="*/ 2782889 h 5973007"/>
              <a:gd name="connsiteX29121" fmla="*/ 1279964 w 6884782"/>
              <a:gd name="connsiteY29121" fmla="*/ 2777468 h 5973007"/>
              <a:gd name="connsiteX29122" fmla="*/ 1280067 w 6884782"/>
              <a:gd name="connsiteY29122" fmla="*/ 2777003 h 5973007"/>
              <a:gd name="connsiteX29123" fmla="*/ 1277899 w 6884782"/>
              <a:gd name="connsiteY29123" fmla="*/ 2772976 h 5973007"/>
              <a:gd name="connsiteX29124" fmla="*/ 1277899 w 6884782"/>
              <a:gd name="connsiteY29124" fmla="*/ 2772356 h 5973007"/>
              <a:gd name="connsiteX29125" fmla="*/ 1272736 w 6884782"/>
              <a:gd name="connsiteY29125" fmla="*/ 2774370 h 5973007"/>
              <a:gd name="connsiteX29126" fmla="*/ 1267470 w 6884782"/>
              <a:gd name="connsiteY29126" fmla="*/ 2774525 h 5973007"/>
              <a:gd name="connsiteX29127" fmla="*/ 1287812 w 6884782"/>
              <a:gd name="connsiteY29127" fmla="*/ 2761978 h 5973007"/>
              <a:gd name="connsiteX29128" fmla="*/ 1285437 w 6884782"/>
              <a:gd name="connsiteY29128" fmla="*/ 2765850 h 5973007"/>
              <a:gd name="connsiteX29129" fmla="*/ 1286160 w 6884782"/>
              <a:gd name="connsiteY29129" fmla="*/ 2767400 h 5973007"/>
              <a:gd name="connsiteX29130" fmla="*/ 1288328 w 6884782"/>
              <a:gd name="connsiteY29130" fmla="*/ 2760584 h 5973007"/>
              <a:gd name="connsiteX29131" fmla="*/ 1293388 w 6884782"/>
              <a:gd name="connsiteY29131" fmla="*/ 2752529 h 5973007"/>
              <a:gd name="connsiteX29132" fmla="*/ 1295453 w 6884782"/>
              <a:gd name="connsiteY29132" fmla="*/ 2750671 h 5973007"/>
              <a:gd name="connsiteX29133" fmla="*/ 1295866 w 6884782"/>
              <a:gd name="connsiteY29133" fmla="*/ 2748037 h 5973007"/>
              <a:gd name="connsiteX29134" fmla="*/ 1296898 w 6884782"/>
              <a:gd name="connsiteY29134" fmla="*/ 2749277 h 5973007"/>
              <a:gd name="connsiteX29135" fmla="*/ 1299996 w 6884782"/>
              <a:gd name="connsiteY29135" fmla="*/ 2746488 h 5973007"/>
              <a:gd name="connsiteX29136" fmla="*/ 1307534 w 6884782"/>
              <a:gd name="connsiteY29136" fmla="*/ 2743855 h 5973007"/>
              <a:gd name="connsiteX29137" fmla="*/ 1309186 w 6884782"/>
              <a:gd name="connsiteY29137" fmla="*/ 2744165 h 5973007"/>
              <a:gd name="connsiteX29138" fmla="*/ 1309083 w 6884782"/>
              <a:gd name="connsiteY29138" fmla="*/ 2743700 h 5973007"/>
              <a:gd name="connsiteX29139" fmla="*/ 1309496 w 6884782"/>
              <a:gd name="connsiteY29139" fmla="*/ 2742616 h 5973007"/>
              <a:gd name="connsiteX29140" fmla="*/ 1316827 w 6884782"/>
              <a:gd name="connsiteY29140" fmla="*/ 2735955 h 5973007"/>
              <a:gd name="connsiteX29141" fmla="*/ 1139433 w 6884782"/>
              <a:gd name="connsiteY29141" fmla="*/ 2735646 h 5973007"/>
              <a:gd name="connsiteX29142" fmla="*/ 1139123 w 6884782"/>
              <a:gd name="connsiteY29142" fmla="*/ 2737504 h 5973007"/>
              <a:gd name="connsiteX29143" fmla="*/ 1138400 w 6884782"/>
              <a:gd name="connsiteY29143" fmla="*/ 2737504 h 5973007"/>
              <a:gd name="connsiteX29144" fmla="*/ 1139433 w 6884782"/>
              <a:gd name="connsiteY29144" fmla="*/ 2735646 h 5973007"/>
              <a:gd name="connsiteX29145" fmla="*/ 860021 w 6884782"/>
              <a:gd name="connsiteY29145" fmla="*/ 2734872 h 5973007"/>
              <a:gd name="connsiteX29146" fmla="*/ 864255 w 6884782"/>
              <a:gd name="connsiteY29146" fmla="*/ 2735491 h 5973007"/>
              <a:gd name="connsiteX29147" fmla="*/ 864978 w 6884782"/>
              <a:gd name="connsiteY29147" fmla="*/ 2737969 h 5973007"/>
              <a:gd name="connsiteX29148" fmla="*/ 862396 w 6884782"/>
              <a:gd name="connsiteY29148" fmla="*/ 2738898 h 5973007"/>
              <a:gd name="connsiteX29149" fmla="*/ 859815 w 6884782"/>
              <a:gd name="connsiteY29149" fmla="*/ 2738124 h 5973007"/>
              <a:gd name="connsiteX29150" fmla="*/ 859505 w 6884782"/>
              <a:gd name="connsiteY29150" fmla="*/ 2736730 h 5973007"/>
              <a:gd name="connsiteX29151" fmla="*/ 860021 w 6884782"/>
              <a:gd name="connsiteY29151" fmla="*/ 2734872 h 5973007"/>
              <a:gd name="connsiteX29152" fmla="*/ 639672 w 6884782"/>
              <a:gd name="connsiteY29152" fmla="*/ 2734252 h 5973007"/>
              <a:gd name="connsiteX29153" fmla="*/ 633684 w 6884782"/>
              <a:gd name="connsiteY29153" fmla="*/ 2749741 h 5973007"/>
              <a:gd name="connsiteX29154" fmla="*/ 631928 w 6884782"/>
              <a:gd name="connsiteY29154" fmla="*/ 2748967 h 5973007"/>
              <a:gd name="connsiteX29155" fmla="*/ 631515 w 6884782"/>
              <a:gd name="connsiteY29155" fmla="*/ 2746798 h 5973007"/>
              <a:gd name="connsiteX29156" fmla="*/ 634200 w 6884782"/>
              <a:gd name="connsiteY29156" fmla="*/ 2738744 h 5973007"/>
              <a:gd name="connsiteX29157" fmla="*/ 635232 w 6884782"/>
              <a:gd name="connsiteY29157" fmla="*/ 2737040 h 5973007"/>
              <a:gd name="connsiteX29158" fmla="*/ 636162 w 6884782"/>
              <a:gd name="connsiteY29158" fmla="*/ 2735336 h 5973007"/>
              <a:gd name="connsiteX29159" fmla="*/ 639672 w 6884782"/>
              <a:gd name="connsiteY29159" fmla="*/ 2734252 h 5973007"/>
              <a:gd name="connsiteX29160" fmla="*/ 1375192 w 6884782"/>
              <a:gd name="connsiteY29160" fmla="*/ 2734136 h 5973007"/>
              <a:gd name="connsiteX29161" fmla="*/ 1381259 w 6884782"/>
              <a:gd name="connsiteY29161" fmla="*/ 2737350 h 5973007"/>
              <a:gd name="connsiteX29162" fmla="*/ 1381259 w 6884782"/>
              <a:gd name="connsiteY29162" fmla="*/ 2742151 h 5973007"/>
              <a:gd name="connsiteX29163" fmla="*/ 1368661 w 6884782"/>
              <a:gd name="connsiteY29163" fmla="*/ 2739518 h 5973007"/>
              <a:gd name="connsiteX29164" fmla="*/ 1375192 w 6884782"/>
              <a:gd name="connsiteY29164" fmla="*/ 2734136 h 5973007"/>
              <a:gd name="connsiteX29165" fmla="*/ 1290290 w 6884782"/>
              <a:gd name="connsiteY29165" fmla="*/ 2732858 h 5973007"/>
              <a:gd name="connsiteX29166" fmla="*/ 1299686 w 6884782"/>
              <a:gd name="connsiteY29166" fmla="*/ 2743391 h 5973007"/>
              <a:gd name="connsiteX29167" fmla="*/ 1285334 w 6884782"/>
              <a:gd name="connsiteY29167" fmla="*/ 2745249 h 5973007"/>
              <a:gd name="connsiteX29168" fmla="*/ 1285127 w 6884782"/>
              <a:gd name="connsiteY29168" fmla="*/ 2741377 h 5973007"/>
              <a:gd name="connsiteX29169" fmla="*/ 1290290 w 6884782"/>
              <a:gd name="connsiteY29169" fmla="*/ 2732858 h 5973007"/>
              <a:gd name="connsiteX29170" fmla="*/ 652786 w 6884782"/>
              <a:gd name="connsiteY29170" fmla="*/ 2732858 h 5973007"/>
              <a:gd name="connsiteX29171" fmla="*/ 662698 w 6884782"/>
              <a:gd name="connsiteY29171" fmla="*/ 2741687 h 5973007"/>
              <a:gd name="connsiteX29172" fmla="*/ 657329 w 6884782"/>
              <a:gd name="connsiteY29172" fmla="*/ 2746953 h 5973007"/>
              <a:gd name="connsiteX29173" fmla="*/ 648449 w 6884782"/>
              <a:gd name="connsiteY29173" fmla="*/ 2742151 h 5973007"/>
              <a:gd name="connsiteX29174" fmla="*/ 648656 w 6884782"/>
              <a:gd name="connsiteY29174" fmla="*/ 2738279 h 5973007"/>
              <a:gd name="connsiteX29175" fmla="*/ 652786 w 6884782"/>
              <a:gd name="connsiteY29175" fmla="*/ 2732858 h 5973007"/>
              <a:gd name="connsiteX29176" fmla="*/ 962555 w 6884782"/>
              <a:gd name="connsiteY29176" fmla="*/ 2732548 h 5973007"/>
              <a:gd name="connsiteX29177" fmla="*/ 964310 w 6884782"/>
              <a:gd name="connsiteY29177" fmla="*/ 2733322 h 5973007"/>
              <a:gd name="connsiteX29178" fmla="*/ 963277 w 6884782"/>
              <a:gd name="connsiteY29178" fmla="*/ 2734097 h 5973007"/>
              <a:gd name="connsiteX29179" fmla="*/ 962555 w 6884782"/>
              <a:gd name="connsiteY29179" fmla="*/ 2733477 h 5973007"/>
              <a:gd name="connsiteX29180" fmla="*/ 962555 w 6884782"/>
              <a:gd name="connsiteY29180" fmla="*/ 2732548 h 5973007"/>
              <a:gd name="connsiteX29181" fmla="*/ 958115 w 6884782"/>
              <a:gd name="connsiteY29181" fmla="*/ 2732393 h 5973007"/>
              <a:gd name="connsiteX29182" fmla="*/ 959973 w 6884782"/>
              <a:gd name="connsiteY29182" fmla="*/ 2733168 h 5973007"/>
              <a:gd name="connsiteX29183" fmla="*/ 958011 w 6884782"/>
              <a:gd name="connsiteY29183" fmla="*/ 2733168 h 5973007"/>
              <a:gd name="connsiteX29184" fmla="*/ 958115 w 6884782"/>
              <a:gd name="connsiteY29184" fmla="*/ 2732393 h 5973007"/>
              <a:gd name="connsiteX29185" fmla="*/ 1140156 w 6884782"/>
              <a:gd name="connsiteY29185" fmla="*/ 2731464 h 5973007"/>
              <a:gd name="connsiteX29186" fmla="*/ 1140775 w 6884782"/>
              <a:gd name="connsiteY29186" fmla="*/ 2732393 h 5973007"/>
              <a:gd name="connsiteX29187" fmla="*/ 1139020 w 6884782"/>
              <a:gd name="connsiteY29187" fmla="*/ 2733322 h 5973007"/>
              <a:gd name="connsiteX29188" fmla="*/ 1140156 w 6884782"/>
              <a:gd name="connsiteY29188" fmla="*/ 2731464 h 5973007"/>
              <a:gd name="connsiteX29189" fmla="*/ 1249194 w 6884782"/>
              <a:gd name="connsiteY29189" fmla="*/ 2730844 h 5973007"/>
              <a:gd name="connsiteX29190" fmla="*/ 1267470 w 6884782"/>
              <a:gd name="connsiteY29190" fmla="*/ 2749431 h 5973007"/>
              <a:gd name="connsiteX29191" fmla="*/ 1244031 w 6884782"/>
              <a:gd name="connsiteY29191" fmla="*/ 2737814 h 5973007"/>
              <a:gd name="connsiteX29192" fmla="*/ 1249194 w 6884782"/>
              <a:gd name="connsiteY29192" fmla="*/ 2730844 h 5973007"/>
              <a:gd name="connsiteX29193" fmla="*/ 953365 w 6884782"/>
              <a:gd name="connsiteY29193" fmla="*/ 2730379 h 5973007"/>
              <a:gd name="connsiteX29194" fmla="*/ 957392 w 6884782"/>
              <a:gd name="connsiteY29194" fmla="*/ 2733012 h 5973007"/>
              <a:gd name="connsiteX29195" fmla="*/ 953881 w 6884782"/>
              <a:gd name="connsiteY29195" fmla="*/ 2732858 h 5973007"/>
              <a:gd name="connsiteX29196" fmla="*/ 953262 w 6884782"/>
              <a:gd name="connsiteY29196" fmla="*/ 2731928 h 5973007"/>
              <a:gd name="connsiteX29197" fmla="*/ 953365 w 6884782"/>
              <a:gd name="connsiteY29197" fmla="*/ 2730379 h 5973007"/>
              <a:gd name="connsiteX29198" fmla="*/ 1390862 w 6884782"/>
              <a:gd name="connsiteY29198" fmla="*/ 2729760 h 5973007"/>
              <a:gd name="connsiteX29199" fmla="*/ 1391481 w 6884782"/>
              <a:gd name="connsiteY29199" fmla="*/ 2729914 h 5973007"/>
              <a:gd name="connsiteX29200" fmla="*/ 1391068 w 6884782"/>
              <a:gd name="connsiteY29200" fmla="*/ 2730224 h 5973007"/>
              <a:gd name="connsiteX29201" fmla="*/ 1390862 w 6884782"/>
              <a:gd name="connsiteY29201" fmla="*/ 2729760 h 5973007"/>
              <a:gd name="connsiteX29202" fmla="*/ 1163801 w 6884782"/>
              <a:gd name="connsiteY29202" fmla="*/ 2729605 h 5973007"/>
              <a:gd name="connsiteX29203" fmla="*/ 1176295 w 6884782"/>
              <a:gd name="connsiteY29203" fmla="*/ 2743700 h 5973007"/>
              <a:gd name="connsiteX29204" fmla="*/ 1167622 w 6884782"/>
              <a:gd name="connsiteY29204" fmla="*/ 2738744 h 5973007"/>
              <a:gd name="connsiteX29205" fmla="*/ 1163801 w 6884782"/>
              <a:gd name="connsiteY29205" fmla="*/ 2729605 h 5973007"/>
              <a:gd name="connsiteX29206" fmla="*/ 736836 w 6884782"/>
              <a:gd name="connsiteY29206" fmla="*/ 2729450 h 5973007"/>
              <a:gd name="connsiteX29207" fmla="*/ 739728 w 6884782"/>
              <a:gd name="connsiteY29207" fmla="*/ 2729450 h 5973007"/>
              <a:gd name="connsiteX29208" fmla="*/ 743032 w 6884782"/>
              <a:gd name="connsiteY29208" fmla="*/ 2731618 h 5973007"/>
              <a:gd name="connsiteX29209" fmla="*/ 743962 w 6884782"/>
              <a:gd name="connsiteY29209" fmla="*/ 2733168 h 5973007"/>
              <a:gd name="connsiteX29210" fmla="*/ 743755 w 6884782"/>
              <a:gd name="connsiteY29210" fmla="*/ 2733632 h 5973007"/>
              <a:gd name="connsiteX29211" fmla="*/ 746026 w 6884782"/>
              <a:gd name="connsiteY29211" fmla="*/ 2736575 h 5973007"/>
              <a:gd name="connsiteX29212" fmla="*/ 747265 w 6884782"/>
              <a:gd name="connsiteY29212" fmla="*/ 2740602 h 5973007"/>
              <a:gd name="connsiteX29213" fmla="*/ 745407 w 6884782"/>
              <a:gd name="connsiteY29213" fmla="*/ 2741067 h 5973007"/>
              <a:gd name="connsiteX29214" fmla="*/ 745923 w 6884782"/>
              <a:gd name="connsiteY29214" fmla="*/ 2741687 h 5973007"/>
              <a:gd name="connsiteX29215" fmla="*/ 747059 w 6884782"/>
              <a:gd name="connsiteY29215" fmla="*/ 2745714 h 5973007"/>
              <a:gd name="connsiteX29216" fmla="*/ 744478 w 6884782"/>
              <a:gd name="connsiteY29216" fmla="*/ 2743081 h 5973007"/>
              <a:gd name="connsiteX29217" fmla="*/ 743548 w 6884782"/>
              <a:gd name="connsiteY29217" fmla="*/ 2741687 h 5973007"/>
              <a:gd name="connsiteX29218" fmla="*/ 741380 w 6884782"/>
              <a:gd name="connsiteY29218" fmla="*/ 2742461 h 5973007"/>
              <a:gd name="connsiteX29219" fmla="*/ 737560 w 6884782"/>
              <a:gd name="connsiteY29219" fmla="*/ 2740602 h 5973007"/>
              <a:gd name="connsiteX29220" fmla="*/ 737146 w 6884782"/>
              <a:gd name="connsiteY29220" fmla="*/ 2742306 h 5973007"/>
              <a:gd name="connsiteX29221" fmla="*/ 734565 w 6884782"/>
              <a:gd name="connsiteY29221" fmla="*/ 2739828 h 5973007"/>
              <a:gd name="connsiteX29222" fmla="*/ 735185 w 6884782"/>
              <a:gd name="connsiteY29222" fmla="*/ 2739208 h 5973007"/>
              <a:gd name="connsiteX29223" fmla="*/ 735701 w 6884782"/>
              <a:gd name="connsiteY29223" fmla="*/ 2736885 h 5973007"/>
              <a:gd name="connsiteX29224" fmla="*/ 734462 w 6884782"/>
              <a:gd name="connsiteY29224" fmla="*/ 2736420 h 5973007"/>
              <a:gd name="connsiteX29225" fmla="*/ 732396 w 6884782"/>
              <a:gd name="connsiteY29225" fmla="*/ 2733168 h 5973007"/>
              <a:gd name="connsiteX29226" fmla="*/ 733429 w 6884782"/>
              <a:gd name="connsiteY29226" fmla="*/ 2731618 h 5973007"/>
              <a:gd name="connsiteX29227" fmla="*/ 734978 w 6884782"/>
              <a:gd name="connsiteY29227" fmla="*/ 2730224 h 5973007"/>
              <a:gd name="connsiteX29228" fmla="*/ 736836 w 6884782"/>
              <a:gd name="connsiteY29228" fmla="*/ 2729450 h 5973007"/>
              <a:gd name="connsiteX29229" fmla="*/ 717941 w 6884782"/>
              <a:gd name="connsiteY29229" fmla="*/ 2729450 h 5973007"/>
              <a:gd name="connsiteX29230" fmla="*/ 728369 w 6884782"/>
              <a:gd name="connsiteY29230" fmla="*/ 2731618 h 5973007"/>
              <a:gd name="connsiteX29231" fmla="*/ 728473 w 6884782"/>
              <a:gd name="connsiteY29231" fmla="*/ 2735181 h 5973007"/>
              <a:gd name="connsiteX29232" fmla="*/ 717631 w 6884782"/>
              <a:gd name="connsiteY29232" fmla="*/ 2734716 h 5973007"/>
              <a:gd name="connsiteX29233" fmla="*/ 717941 w 6884782"/>
              <a:gd name="connsiteY29233" fmla="*/ 2729450 h 5973007"/>
              <a:gd name="connsiteX29234" fmla="*/ 930739 w 6884782"/>
              <a:gd name="connsiteY29234" fmla="*/ 2729198 h 5973007"/>
              <a:gd name="connsiteX29235" fmla="*/ 936431 w 6884782"/>
              <a:gd name="connsiteY29235" fmla="*/ 2735955 h 5973007"/>
              <a:gd name="connsiteX29236" fmla="*/ 931578 w 6884782"/>
              <a:gd name="connsiteY29236" fmla="*/ 2737195 h 5973007"/>
              <a:gd name="connsiteX29237" fmla="*/ 932507 w 6884782"/>
              <a:gd name="connsiteY29237" fmla="*/ 2738279 h 5973007"/>
              <a:gd name="connsiteX29238" fmla="*/ 931165 w 6884782"/>
              <a:gd name="connsiteY29238" fmla="*/ 2740447 h 5973007"/>
              <a:gd name="connsiteX29239" fmla="*/ 929306 w 6884782"/>
              <a:gd name="connsiteY29239" fmla="*/ 2739054 h 5973007"/>
              <a:gd name="connsiteX29240" fmla="*/ 928480 w 6884782"/>
              <a:gd name="connsiteY29240" fmla="*/ 2738124 h 5973007"/>
              <a:gd name="connsiteX29241" fmla="*/ 922285 w 6884782"/>
              <a:gd name="connsiteY29241" fmla="*/ 2741067 h 5973007"/>
              <a:gd name="connsiteX29242" fmla="*/ 910100 w 6884782"/>
              <a:gd name="connsiteY29242" fmla="*/ 2743391 h 5973007"/>
              <a:gd name="connsiteX29243" fmla="*/ 916916 w 6884782"/>
              <a:gd name="connsiteY29243" fmla="*/ 2737350 h 5973007"/>
              <a:gd name="connsiteX29244" fmla="*/ 921768 w 6884782"/>
              <a:gd name="connsiteY29244" fmla="*/ 2733168 h 5973007"/>
              <a:gd name="connsiteX29245" fmla="*/ 921562 w 6884782"/>
              <a:gd name="connsiteY29245" fmla="*/ 2733168 h 5973007"/>
              <a:gd name="connsiteX29246" fmla="*/ 920426 w 6884782"/>
              <a:gd name="connsiteY29246" fmla="*/ 2730689 h 5973007"/>
              <a:gd name="connsiteX29247" fmla="*/ 922595 w 6884782"/>
              <a:gd name="connsiteY29247" fmla="*/ 2730224 h 5973007"/>
              <a:gd name="connsiteX29248" fmla="*/ 923731 w 6884782"/>
              <a:gd name="connsiteY29248" fmla="*/ 2731464 h 5973007"/>
              <a:gd name="connsiteX29249" fmla="*/ 924040 w 6884782"/>
              <a:gd name="connsiteY29249" fmla="*/ 2731153 h 5973007"/>
              <a:gd name="connsiteX29250" fmla="*/ 930739 w 6884782"/>
              <a:gd name="connsiteY29250" fmla="*/ 2729198 h 5973007"/>
              <a:gd name="connsiteX29251" fmla="*/ 586083 w 6884782"/>
              <a:gd name="connsiteY29251" fmla="*/ 2729140 h 5973007"/>
              <a:gd name="connsiteX29252" fmla="*/ 587838 w 6884782"/>
              <a:gd name="connsiteY29252" fmla="*/ 2729295 h 5973007"/>
              <a:gd name="connsiteX29253" fmla="*/ 589490 w 6884782"/>
              <a:gd name="connsiteY29253" fmla="*/ 2730379 h 5973007"/>
              <a:gd name="connsiteX29254" fmla="*/ 587012 w 6884782"/>
              <a:gd name="connsiteY29254" fmla="*/ 2732548 h 5973007"/>
              <a:gd name="connsiteX29255" fmla="*/ 586186 w 6884782"/>
              <a:gd name="connsiteY29255" fmla="*/ 2731153 h 5973007"/>
              <a:gd name="connsiteX29256" fmla="*/ 585463 w 6884782"/>
              <a:gd name="connsiteY29256" fmla="*/ 2731464 h 5973007"/>
              <a:gd name="connsiteX29257" fmla="*/ 585256 w 6884782"/>
              <a:gd name="connsiteY29257" fmla="*/ 2729760 h 5973007"/>
              <a:gd name="connsiteX29258" fmla="*/ 585979 w 6884782"/>
              <a:gd name="connsiteY29258" fmla="*/ 2729295 h 5973007"/>
              <a:gd name="connsiteX29259" fmla="*/ 586083 w 6884782"/>
              <a:gd name="connsiteY29259" fmla="*/ 2729140 h 5973007"/>
              <a:gd name="connsiteX29260" fmla="*/ 1395818 w 6884782"/>
              <a:gd name="connsiteY29260" fmla="*/ 2728365 h 5973007"/>
              <a:gd name="connsiteX29261" fmla="*/ 1395714 w 6884782"/>
              <a:gd name="connsiteY29261" fmla="*/ 2730224 h 5973007"/>
              <a:gd name="connsiteX29262" fmla="*/ 1391378 w 6884782"/>
              <a:gd name="connsiteY29262" fmla="*/ 2730999 h 5973007"/>
              <a:gd name="connsiteX29263" fmla="*/ 1391791 w 6884782"/>
              <a:gd name="connsiteY29263" fmla="*/ 2729914 h 5973007"/>
              <a:gd name="connsiteX29264" fmla="*/ 1391481 w 6884782"/>
              <a:gd name="connsiteY29264" fmla="*/ 2729914 h 5973007"/>
              <a:gd name="connsiteX29265" fmla="*/ 1393030 w 6884782"/>
              <a:gd name="connsiteY29265" fmla="*/ 2728521 h 5973007"/>
              <a:gd name="connsiteX29266" fmla="*/ 1395818 w 6884782"/>
              <a:gd name="connsiteY29266" fmla="*/ 2728365 h 5973007"/>
              <a:gd name="connsiteX29267" fmla="*/ 533629 w 6884782"/>
              <a:gd name="connsiteY29267" fmla="*/ 2728365 h 5973007"/>
              <a:gd name="connsiteX29268" fmla="*/ 541166 w 6884782"/>
              <a:gd name="connsiteY29268" fmla="*/ 2730999 h 5973007"/>
              <a:gd name="connsiteX29269" fmla="*/ 538895 w 6884782"/>
              <a:gd name="connsiteY29269" fmla="*/ 2735491 h 5973007"/>
              <a:gd name="connsiteX29270" fmla="*/ 533629 w 6884782"/>
              <a:gd name="connsiteY29270" fmla="*/ 2728365 h 5973007"/>
              <a:gd name="connsiteX29271" fmla="*/ 1099369 w 6884782"/>
              <a:gd name="connsiteY29271" fmla="*/ 2728308 h 5973007"/>
              <a:gd name="connsiteX29272" fmla="*/ 1101951 w 6884782"/>
              <a:gd name="connsiteY29272" fmla="*/ 2732238 h 5973007"/>
              <a:gd name="connsiteX29273" fmla="*/ 1094620 w 6884782"/>
              <a:gd name="connsiteY29273" fmla="*/ 2730069 h 5973007"/>
              <a:gd name="connsiteX29274" fmla="*/ 1099369 w 6884782"/>
              <a:gd name="connsiteY29274" fmla="*/ 2728308 h 5973007"/>
              <a:gd name="connsiteX29275" fmla="*/ 979902 w 6884782"/>
              <a:gd name="connsiteY29275" fmla="*/ 2725267 h 5973007"/>
              <a:gd name="connsiteX29276" fmla="*/ 981657 w 6884782"/>
              <a:gd name="connsiteY29276" fmla="*/ 2727901 h 5973007"/>
              <a:gd name="connsiteX29277" fmla="*/ 985787 w 6884782"/>
              <a:gd name="connsiteY29277" fmla="*/ 2728365 h 5973007"/>
              <a:gd name="connsiteX29278" fmla="*/ 987646 w 6884782"/>
              <a:gd name="connsiteY29278" fmla="*/ 2732703 h 5973007"/>
              <a:gd name="connsiteX29279" fmla="*/ 977320 w 6884782"/>
              <a:gd name="connsiteY29279" fmla="*/ 2736730 h 5973007"/>
              <a:gd name="connsiteX29280" fmla="*/ 976495 w 6884782"/>
              <a:gd name="connsiteY29280" fmla="*/ 2736110 h 5973007"/>
              <a:gd name="connsiteX29281" fmla="*/ 975256 w 6884782"/>
              <a:gd name="connsiteY29281" fmla="*/ 2735955 h 5973007"/>
              <a:gd name="connsiteX29282" fmla="*/ 964310 w 6884782"/>
              <a:gd name="connsiteY29282" fmla="*/ 2733477 h 5973007"/>
              <a:gd name="connsiteX29283" fmla="*/ 971435 w 6884782"/>
              <a:gd name="connsiteY29283" fmla="*/ 2734252 h 5973007"/>
              <a:gd name="connsiteX29284" fmla="*/ 975668 w 6884782"/>
              <a:gd name="connsiteY29284" fmla="*/ 2735646 h 5973007"/>
              <a:gd name="connsiteX29285" fmla="*/ 974429 w 6884782"/>
              <a:gd name="connsiteY29285" fmla="*/ 2734716 h 5973007"/>
              <a:gd name="connsiteX29286" fmla="*/ 975565 w 6884782"/>
              <a:gd name="connsiteY29286" fmla="*/ 2730069 h 5973007"/>
              <a:gd name="connsiteX29287" fmla="*/ 976288 w 6884782"/>
              <a:gd name="connsiteY29287" fmla="*/ 2729450 h 5973007"/>
              <a:gd name="connsiteX29288" fmla="*/ 976288 w 6884782"/>
              <a:gd name="connsiteY29288" fmla="*/ 2729140 h 5973007"/>
              <a:gd name="connsiteX29289" fmla="*/ 975875 w 6884782"/>
              <a:gd name="connsiteY29289" fmla="*/ 2728830 h 5973007"/>
              <a:gd name="connsiteX29290" fmla="*/ 977320 w 6884782"/>
              <a:gd name="connsiteY29290" fmla="*/ 2726352 h 5973007"/>
              <a:gd name="connsiteX29291" fmla="*/ 979902 w 6884782"/>
              <a:gd name="connsiteY29291" fmla="*/ 2725267 h 5973007"/>
              <a:gd name="connsiteX29292" fmla="*/ 420150 w 6884782"/>
              <a:gd name="connsiteY29292" fmla="*/ 2724183 h 5973007"/>
              <a:gd name="connsiteX29293" fmla="*/ 427171 w 6884782"/>
              <a:gd name="connsiteY29293" fmla="*/ 2725267 h 5973007"/>
              <a:gd name="connsiteX29294" fmla="*/ 425623 w 6884782"/>
              <a:gd name="connsiteY29294" fmla="*/ 2731618 h 5973007"/>
              <a:gd name="connsiteX29295" fmla="*/ 418601 w 6884782"/>
              <a:gd name="connsiteY29295" fmla="*/ 2728675 h 5973007"/>
              <a:gd name="connsiteX29296" fmla="*/ 420150 w 6884782"/>
              <a:gd name="connsiteY29296" fmla="*/ 2724183 h 5973007"/>
              <a:gd name="connsiteX29297" fmla="*/ 852484 w 6884782"/>
              <a:gd name="connsiteY29297" fmla="*/ 2722479 h 5973007"/>
              <a:gd name="connsiteX29298" fmla="*/ 857646 w 6884782"/>
              <a:gd name="connsiteY29298" fmla="*/ 2723254 h 5973007"/>
              <a:gd name="connsiteX29299" fmla="*/ 852484 w 6884782"/>
              <a:gd name="connsiteY29299" fmla="*/ 2722479 h 5973007"/>
              <a:gd name="connsiteX29300" fmla="*/ 870347 w 6884782"/>
              <a:gd name="connsiteY29300" fmla="*/ 2720001 h 5973007"/>
              <a:gd name="connsiteX29301" fmla="*/ 872722 w 6884782"/>
              <a:gd name="connsiteY29301" fmla="*/ 2721705 h 5973007"/>
              <a:gd name="connsiteX29302" fmla="*/ 873135 w 6884782"/>
              <a:gd name="connsiteY29302" fmla="*/ 2725113 h 5973007"/>
              <a:gd name="connsiteX29303" fmla="*/ 869521 w 6884782"/>
              <a:gd name="connsiteY29303" fmla="*/ 2727281 h 5973007"/>
              <a:gd name="connsiteX29304" fmla="*/ 868798 w 6884782"/>
              <a:gd name="connsiteY29304" fmla="*/ 2727126 h 5973007"/>
              <a:gd name="connsiteX29305" fmla="*/ 868075 w 6884782"/>
              <a:gd name="connsiteY29305" fmla="*/ 2727901 h 5973007"/>
              <a:gd name="connsiteX29306" fmla="*/ 867249 w 6884782"/>
              <a:gd name="connsiteY29306" fmla="*/ 2726662 h 5973007"/>
              <a:gd name="connsiteX29307" fmla="*/ 865907 w 6884782"/>
              <a:gd name="connsiteY29307" fmla="*/ 2726352 h 5973007"/>
              <a:gd name="connsiteX29308" fmla="*/ 867559 w 6884782"/>
              <a:gd name="connsiteY29308" fmla="*/ 2721395 h 5973007"/>
              <a:gd name="connsiteX29309" fmla="*/ 870347 w 6884782"/>
              <a:gd name="connsiteY29309" fmla="*/ 2720001 h 5973007"/>
              <a:gd name="connsiteX29310" fmla="*/ 1273149 w 6884782"/>
              <a:gd name="connsiteY29310" fmla="*/ 2719072 h 5973007"/>
              <a:gd name="connsiteX29311" fmla="*/ 1275111 w 6884782"/>
              <a:gd name="connsiteY29311" fmla="*/ 2720776 h 5973007"/>
              <a:gd name="connsiteX29312" fmla="*/ 1270671 w 6884782"/>
              <a:gd name="connsiteY29312" fmla="*/ 2724339 h 5973007"/>
              <a:gd name="connsiteX29313" fmla="*/ 1269639 w 6884782"/>
              <a:gd name="connsiteY29313" fmla="*/ 2722479 h 5973007"/>
              <a:gd name="connsiteX29314" fmla="*/ 1273149 w 6884782"/>
              <a:gd name="connsiteY29314" fmla="*/ 2719072 h 5973007"/>
              <a:gd name="connsiteX29315" fmla="*/ 1145008 w 6884782"/>
              <a:gd name="connsiteY29315" fmla="*/ 2718297 h 5973007"/>
              <a:gd name="connsiteX29316" fmla="*/ 1140362 w 6884782"/>
              <a:gd name="connsiteY29316" fmla="*/ 2731464 h 5973007"/>
              <a:gd name="connsiteX29317" fmla="*/ 1145008 w 6884782"/>
              <a:gd name="connsiteY29317" fmla="*/ 2718297 h 5973007"/>
              <a:gd name="connsiteX29318" fmla="*/ 1246097 w 6884782"/>
              <a:gd name="connsiteY29318" fmla="*/ 2718142 h 5973007"/>
              <a:gd name="connsiteX29319" fmla="*/ 1247852 w 6884782"/>
              <a:gd name="connsiteY29319" fmla="*/ 2725887 h 5973007"/>
              <a:gd name="connsiteX29320" fmla="*/ 1238765 w 6884782"/>
              <a:gd name="connsiteY29320" fmla="*/ 2718297 h 5973007"/>
              <a:gd name="connsiteX29321" fmla="*/ 1246097 w 6884782"/>
              <a:gd name="connsiteY29321" fmla="*/ 2718142 h 5973007"/>
              <a:gd name="connsiteX29322" fmla="*/ 1398193 w 6884782"/>
              <a:gd name="connsiteY29322" fmla="*/ 2717832 h 5973007"/>
              <a:gd name="connsiteX29323" fmla="*/ 1408312 w 6884782"/>
              <a:gd name="connsiteY29323" fmla="*/ 2719382 h 5973007"/>
              <a:gd name="connsiteX29324" fmla="*/ 1399845 w 6884782"/>
              <a:gd name="connsiteY29324" fmla="*/ 2726197 h 5973007"/>
              <a:gd name="connsiteX29325" fmla="*/ 1397780 w 6884782"/>
              <a:gd name="connsiteY29325" fmla="*/ 2722479 h 5973007"/>
              <a:gd name="connsiteX29326" fmla="*/ 1398193 w 6884782"/>
              <a:gd name="connsiteY29326" fmla="*/ 2717832 h 5973007"/>
              <a:gd name="connsiteX29327" fmla="*/ 983722 w 6884782"/>
              <a:gd name="connsiteY29327" fmla="*/ 2717523 h 5973007"/>
              <a:gd name="connsiteX29328" fmla="*/ 985787 w 6884782"/>
              <a:gd name="connsiteY29328" fmla="*/ 2719072 h 5973007"/>
              <a:gd name="connsiteX29329" fmla="*/ 985787 w 6884782"/>
              <a:gd name="connsiteY29329" fmla="*/ 2718297 h 5973007"/>
              <a:gd name="connsiteX29330" fmla="*/ 993635 w 6884782"/>
              <a:gd name="connsiteY29330" fmla="*/ 2718762 h 5973007"/>
              <a:gd name="connsiteX29331" fmla="*/ 996113 w 6884782"/>
              <a:gd name="connsiteY29331" fmla="*/ 2722944 h 5973007"/>
              <a:gd name="connsiteX29332" fmla="*/ 993945 w 6884782"/>
              <a:gd name="connsiteY29332" fmla="*/ 2730534 h 5973007"/>
              <a:gd name="connsiteX29333" fmla="*/ 989711 w 6884782"/>
              <a:gd name="connsiteY29333" fmla="*/ 2729914 h 5973007"/>
              <a:gd name="connsiteX29334" fmla="*/ 986717 w 6884782"/>
              <a:gd name="connsiteY29334" fmla="*/ 2725578 h 5973007"/>
              <a:gd name="connsiteX29335" fmla="*/ 985891 w 6884782"/>
              <a:gd name="connsiteY29335" fmla="*/ 2722170 h 5973007"/>
              <a:gd name="connsiteX29336" fmla="*/ 984239 w 6884782"/>
              <a:gd name="connsiteY29336" fmla="*/ 2722325 h 5973007"/>
              <a:gd name="connsiteX29337" fmla="*/ 982173 w 6884782"/>
              <a:gd name="connsiteY29337" fmla="*/ 2719846 h 5973007"/>
              <a:gd name="connsiteX29338" fmla="*/ 983722 w 6884782"/>
              <a:gd name="connsiteY29338" fmla="*/ 2717523 h 5973007"/>
              <a:gd name="connsiteX29339" fmla="*/ 1013873 w 6884782"/>
              <a:gd name="connsiteY29339" fmla="*/ 2717058 h 5973007"/>
              <a:gd name="connsiteX29340" fmla="*/ 1004064 w 6884782"/>
              <a:gd name="connsiteY29340" fmla="*/ 2742461 h 5973007"/>
              <a:gd name="connsiteX29341" fmla="*/ 996423 w 6884782"/>
              <a:gd name="connsiteY29341" fmla="*/ 2739518 h 5973007"/>
              <a:gd name="connsiteX29342" fmla="*/ 1013873 w 6884782"/>
              <a:gd name="connsiteY29342" fmla="*/ 2717058 h 5973007"/>
              <a:gd name="connsiteX29343" fmla="*/ 638162 w 6884782"/>
              <a:gd name="connsiteY29343" fmla="*/ 2716516 h 5973007"/>
              <a:gd name="connsiteX29344" fmla="*/ 645042 w 6884782"/>
              <a:gd name="connsiteY29344" fmla="*/ 2720776 h 5973007"/>
              <a:gd name="connsiteX29345" fmla="*/ 642770 w 6884782"/>
              <a:gd name="connsiteY29345" fmla="*/ 2727591 h 5973007"/>
              <a:gd name="connsiteX29346" fmla="*/ 630586 w 6884782"/>
              <a:gd name="connsiteY29346" fmla="*/ 2722944 h 5973007"/>
              <a:gd name="connsiteX29347" fmla="*/ 638162 w 6884782"/>
              <a:gd name="connsiteY29347" fmla="*/ 2716516 h 5973007"/>
              <a:gd name="connsiteX29348" fmla="*/ 1409654 w 6884782"/>
              <a:gd name="connsiteY29348" fmla="*/ 2715974 h 5973007"/>
              <a:gd name="connsiteX29349" fmla="*/ 1418225 w 6884782"/>
              <a:gd name="connsiteY29349" fmla="*/ 2716593 h 5973007"/>
              <a:gd name="connsiteX29350" fmla="*/ 1419670 w 6884782"/>
              <a:gd name="connsiteY29350" fmla="*/ 2718297 h 5973007"/>
              <a:gd name="connsiteX29351" fmla="*/ 1424833 w 6884782"/>
              <a:gd name="connsiteY29351" fmla="*/ 2716129 h 5973007"/>
              <a:gd name="connsiteX29352" fmla="*/ 1429066 w 6884782"/>
              <a:gd name="connsiteY29352" fmla="*/ 2716439 h 5973007"/>
              <a:gd name="connsiteX29353" fmla="*/ 1424317 w 6884782"/>
              <a:gd name="connsiteY29353" fmla="*/ 2719691 h 5973007"/>
              <a:gd name="connsiteX29354" fmla="*/ 1421219 w 6884782"/>
              <a:gd name="connsiteY29354" fmla="*/ 2719846 h 5973007"/>
              <a:gd name="connsiteX29355" fmla="*/ 1423181 w 6884782"/>
              <a:gd name="connsiteY29355" fmla="*/ 2722015 h 5973007"/>
              <a:gd name="connsiteX29356" fmla="*/ 1417398 w 6884782"/>
              <a:gd name="connsiteY29356" fmla="*/ 2735955 h 5973007"/>
              <a:gd name="connsiteX29357" fmla="*/ 1409138 w 6884782"/>
              <a:gd name="connsiteY29357" fmla="*/ 2726197 h 5973007"/>
              <a:gd name="connsiteX29358" fmla="*/ 1408518 w 6884782"/>
              <a:gd name="connsiteY29358" fmla="*/ 2721086 h 5973007"/>
              <a:gd name="connsiteX29359" fmla="*/ 1409654 w 6884782"/>
              <a:gd name="connsiteY29359" fmla="*/ 2715974 h 5973007"/>
              <a:gd name="connsiteX29360" fmla="*/ 1250536 w 6884782"/>
              <a:gd name="connsiteY29360" fmla="*/ 2715199 h 5973007"/>
              <a:gd name="connsiteX29361" fmla="*/ 1266851 w 6884782"/>
              <a:gd name="connsiteY29361" fmla="*/ 2715664 h 5973007"/>
              <a:gd name="connsiteX29362" fmla="*/ 1267470 w 6884782"/>
              <a:gd name="connsiteY29362" fmla="*/ 2724183 h 5973007"/>
              <a:gd name="connsiteX29363" fmla="*/ 1247129 w 6884782"/>
              <a:gd name="connsiteY29363" fmla="*/ 2719072 h 5973007"/>
              <a:gd name="connsiteX29364" fmla="*/ 1250536 w 6884782"/>
              <a:gd name="connsiteY29364" fmla="*/ 2715199 h 5973007"/>
              <a:gd name="connsiteX29365" fmla="*/ 451746 w 6884782"/>
              <a:gd name="connsiteY29365" fmla="*/ 2715199 h 5973007"/>
              <a:gd name="connsiteX29366" fmla="*/ 451230 w 6884782"/>
              <a:gd name="connsiteY29366" fmla="*/ 2725887 h 5973007"/>
              <a:gd name="connsiteX29367" fmla="*/ 445241 w 6884782"/>
              <a:gd name="connsiteY29367" fmla="*/ 2721240 h 5973007"/>
              <a:gd name="connsiteX29368" fmla="*/ 445860 w 6884782"/>
              <a:gd name="connsiteY29368" fmla="*/ 2717832 h 5973007"/>
              <a:gd name="connsiteX29369" fmla="*/ 451746 w 6884782"/>
              <a:gd name="connsiteY29369" fmla="*/ 2715199 h 5973007"/>
              <a:gd name="connsiteX29370" fmla="*/ 669720 w 6884782"/>
              <a:gd name="connsiteY29370" fmla="*/ 2712876 h 5973007"/>
              <a:gd name="connsiteX29371" fmla="*/ 672818 w 6884782"/>
              <a:gd name="connsiteY29371" fmla="*/ 2713031 h 5973007"/>
              <a:gd name="connsiteX29372" fmla="*/ 675399 w 6884782"/>
              <a:gd name="connsiteY29372" fmla="*/ 2715664 h 5973007"/>
              <a:gd name="connsiteX29373" fmla="*/ 674057 w 6884782"/>
              <a:gd name="connsiteY29373" fmla="*/ 2718917 h 5973007"/>
              <a:gd name="connsiteX29374" fmla="*/ 680768 w 6884782"/>
              <a:gd name="connsiteY29374" fmla="*/ 2722479 h 5973007"/>
              <a:gd name="connsiteX29375" fmla="*/ 689958 w 6884782"/>
              <a:gd name="connsiteY29375" fmla="*/ 2731309 h 5973007"/>
              <a:gd name="connsiteX29376" fmla="*/ 671682 w 6884782"/>
              <a:gd name="connsiteY29376" fmla="*/ 2721860 h 5973007"/>
              <a:gd name="connsiteX29377" fmla="*/ 670753 w 6884782"/>
              <a:gd name="connsiteY29377" fmla="*/ 2720001 h 5973007"/>
              <a:gd name="connsiteX29378" fmla="*/ 670339 w 6884782"/>
              <a:gd name="connsiteY29378" fmla="*/ 2720156 h 5973007"/>
              <a:gd name="connsiteX29379" fmla="*/ 668274 w 6884782"/>
              <a:gd name="connsiteY29379" fmla="*/ 2715354 h 5973007"/>
              <a:gd name="connsiteX29380" fmla="*/ 669720 w 6884782"/>
              <a:gd name="connsiteY29380" fmla="*/ 2712876 h 5973007"/>
              <a:gd name="connsiteX29381" fmla="*/ 1103603 w 6884782"/>
              <a:gd name="connsiteY29381" fmla="*/ 2712411 h 5973007"/>
              <a:gd name="connsiteX29382" fmla="*/ 1090696 w 6884782"/>
              <a:gd name="connsiteY29382" fmla="*/ 2715199 h 5973007"/>
              <a:gd name="connsiteX29383" fmla="*/ 1092761 w 6884782"/>
              <a:gd name="connsiteY29383" fmla="*/ 2713496 h 5973007"/>
              <a:gd name="connsiteX29384" fmla="*/ 1103603 w 6884782"/>
              <a:gd name="connsiteY29384" fmla="*/ 2712411 h 5973007"/>
              <a:gd name="connsiteX29385" fmla="*/ 1074278 w 6884782"/>
              <a:gd name="connsiteY29385" fmla="*/ 2712101 h 5973007"/>
              <a:gd name="connsiteX29386" fmla="*/ 1075207 w 6884782"/>
              <a:gd name="connsiteY29386" fmla="*/ 2712876 h 5973007"/>
              <a:gd name="connsiteX29387" fmla="*/ 1079131 w 6884782"/>
              <a:gd name="connsiteY29387" fmla="*/ 2721860 h 5973007"/>
              <a:gd name="connsiteX29388" fmla="*/ 1071284 w 6884782"/>
              <a:gd name="connsiteY29388" fmla="*/ 2722170 h 5973007"/>
              <a:gd name="connsiteX29389" fmla="*/ 1066431 w 6884782"/>
              <a:gd name="connsiteY29389" fmla="*/ 2714889 h 5973007"/>
              <a:gd name="connsiteX29390" fmla="*/ 1074278 w 6884782"/>
              <a:gd name="connsiteY29390" fmla="*/ 2712101 h 5973007"/>
              <a:gd name="connsiteX29391" fmla="*/ 1350695 w 6884782"/>
              <a:gd name="connsiteY29391" fmla="*/ 2711172 h 5973007"/>
              <a:gd name="connsiteX29392" fmla="*/ 1356374 w 6884782"/>
              <a:gd name="connsiteY29392" fmla="*/ 2717832 h 5973007"/>
              <a:gd name="connsiteX29393" fmla="*/ 1353793 w 6884782"/>
              <a:gd name="connsiteY29393" fmla="*/ 2718452 h 5973007"/>
              <a:gd name="connsiteX29394" fmla="*/ 1358232 w 6884782"/>
              <a:gd name="connsiteY29394" fmla="*/ 2722325 h 5973007"/>
              <a:gd name="connsiteX29395" fmla="*/ 1352554 w 6884782"/>
              <a:gd name="connsiteY29395" fmla="*/ 2723719 h 5973007"/>
              <a:gd name="connsiteX29396" fmla="*/ 1348113 w 6884782"/>
              <a:gd name="connsiteY29396" fmla="*/ 2720621 h 5973007"/>
              <a:gd name="connsiteX29397" fmla="*/ 1343570 w 6884782"/>
              <a:gd name="connsiteY29397" fmla="*/ 2724339 h 5973007"/>
              <a:gd name="connsiteX29398" fmla="*/ 1331902 w 6884782"/>
              <a:gd name="connsiteY29398" fmla="*/ 2728675 h 5973007"/>
              <a:gd name="connsiteX29399" fmla="*/ 1350695 w 6884782"/>
              <a:gd name="connsiteY29399" fmla="*/ 2711172 h 5973007"/>
              <a:gd name="connsiteX29400" fmla="*/ 1326636 w 6884782"/>
              <a:gd name="connsiteY29400" fmla="*/ 2710552 h 5973007"/>
              <a:gd name="connsiteX29401" fmla="*/ 1328495 w 6884782"/>
              <a:gd name="connsiteY29401" fmla="*/ 2713341 h 5973007"/>
              <a:gd name="connsiteX29402" fmla="*/ 1319305 w 6884782"/>
              <a:gd name="connsiteY29402" fmla="*/ 2716439 h 5973007"/>
              <a:gd name="connsiteX29403" fmla="*/ 1326636 w 6884782"/>
              <a:gd name="connsiteY29403" fmla="*/ 2710552 h 5973007"/>
              <a:gd name="connsiteX29404" fmla="*/ 994048 w 6884782"/>
              <a:gd name="connsiteY29404" fmla="*/ 2708849 h 5973007"/>
              <a:gd name="connsiteX29405" fmla="*/ 990950 w 6884782"/>
              <a:gd name="connsiteY29405" fmla="*/ 2712101 h 5973007"/>
              <a:gd name="connsiteX29406" fmla="*/ 987336 w 6884782"/>
              <a:gd name="connsiteY29406" fmla="*/ 2711946 h 5973007"/>
              <a:gd name="connsiteX29407" fmla="*/ 994048 w 6884782"/>
              <a:gd name="connsiteY29407" fmla="*/ 2708849 h 5973007"/>
              <a:gd name="connsiteX29408" fmla="*/ 996113 w 6884782"/>
              <a:gd name="connsiteY29408" fmla="*/ 2706215 h 5973007"/>
              <a:gd name="connsiteX29409" fmla="*/ 996836 w 6884782"/>
              <a:gd name="connsiteY29409" fmla="*/ 2707145 h 5973007"/>
              <a:gd name="connsiteX29410" fmla="*/ 996939 w 6884782"/>
              <a:gd name="connsiteY29410" fmla="*/ 2706215 h 5973007"/>
              <a:gd name="connsiteX29411" fmla="*/ 997146 w 6884782"/>
              <a:gd name="connsiteY29411" fmla="*/ 2707455 h 5973007"/>
              <a:gd name="connsiteX29412" fmla="*/ 996732 w 6884782"/>
              <a:gd name="connsiteY29412" fmla="*/ 2707919 h 5973007"/>
              <a:gd name="connsiteX29413" fmla="*/ 994048 w 6884782"/>
              <a:gd name="connsiteY29413" fmla="*/ 2708694 h 5973007"/>
              <a:gd name="connsiteX29414" fmla="*/ 996113 w 6884782"/>
              <a:gd name="connsiteY29414" fmla="*/ 2706215 h 5973007"/>
              <a:gd name="connsiteX29415" fmla="*/ 1166796 w 6884782"/>
              <a:gd name="connsiteY29415" fmla="*/ 2705441 h 5973007"/>
              <a:gd name="connsiteX29416" fmla="*/ 1168757 w 6884782"/>
              <a:gd name="connsiteY29416" fmla="*/ 2709313 h 5973007"/>
              <a:gd name="connsiteX29417" fmla="*/ 1163698 w 6884782"/>
              <a:gd name="connsiteY29417" fmla="*/ 2711792 h 5973007"/>
              <a:gd name="connsiteX29418" fmla="*/ 1161426 w 6884782"/>
              <a:gd name="connsiteY29418" fmla="*/ 2708074 h 5973007"/>
              <a:gd name="connsiteX29419" fmla="*/ 1162562 w 6884782"/>
              <a:gd name="connsiteY29419" fmla="*/ 2706061 h 5973007"/>
              <a:gd name="connsiteX29420" fmla="*/ 1163388 w 6884782"/>
              <a:gd name="connsiteY29420" fmla="*/ 2706061 h 5973007"/>
              <a:gd name="connsiteX29421" fmla="*/ 1166796 w 6884782"/>
              <a:gd name="connsiteY29421" fmla="*/ 2705441 h 5973007"/>
              <a:gd name="connsiteX29422" fmla="*/ 1148932 w 6884782"/>
              <a:gd name="connsiteY29422" fmla="*/ 2705441 h 5973007"/>
              <a:gd name="connsiteX29423" fmla="*/ 1147796 w 6884782"/>
              <a:gd name="connsiteY29423" fmla="*/ 2711792 h 5973007"/>
              <a:gd name="connsiteX29424" fmla="*/ 1146867 w 6884782"/>
              <a:gd name="connsiteY29424" fmla="*/ 2712566 h 5973007"/>
              <a:gd name="connsiteX29425" fmla="*/ 1148932 w 6884782"/>
              <a:gd name="connsiteY29425" fmla="*/ 2705441 h 5973007"/>
              <a:gd name="connsiteX29426" fmla="*/ 475702 w 6884782"/>
              <a:gd name="connsiteY29426" fmla="*/ 2704667 h 5973007"/>
              <a:gd name="connsiteX29427" fmla="*/ 507401 w 6884782"/>
              <a:gd name="connsiteY29427" fmla="*/ 2723254 h 5973007"/>
              <a:gd name="connsiteX29428" fmla="*/ 499967 w 6884782"/>
              <a:gd name="connsiteY29428" fmla="*/ 2733787 h 5973007"/>
              <a:gd name="connsiteX29429" fmla="*/ 475598 w 6884782"/>
              <a:gd name="connsiteY29429" fmla="*/ 2725887 h 5973007"/>
              <a:gd name="connsiteX29430" fmla="*/ 473017 w 6884782"/>
              <a:gd name="connsiteY29430" fmla="*/ 2714115 h 5973007"/>
              <a:gd name="connsiteX29431" fmla="*/ 473224 w 6884782"/>
              <a:gd name="connsiteY29431" fmla="*/ 2710088 h 5973007"/>
              <a:gd name="connsiteX29432" fmla="*/ 475702 w 6884782"/>
              <a:gd name="connsiteY29432" fmla="*/ 2704667 h 5973007"/>
              <a:gd name="connsiteX29433" fmla="*/ 610451 w 6884782"/>
              <a:gd name="connsiteY29433" fmla="*/ 2704047 h 5973007"/>
              <a:gd name="connsiteX29434" fmla="*/ 625423 w 6884782"/>
              <a:gd name="connsiteY29434" fmla="*/ 2714735 h 5973007"/>
              <a:gd name="connsiteX29435" fmla="*/ 622842 w 6884782"/>
              <a:gd name="connsiteY29435" fmla="*/ 2716439 h 5973007"/>
              <a:gd name="connsiteX29436" fmla="*/ 609109 w 6884782"/>
              <a:gd name="connsiteY29436" fmla="*/ 2706215 h 5973007"/>
              <a:gd name="connsiteX29437" fmla="*/ 610451 w 6884782"/>
              <a:gd name="connsiteY29437" fmla="*/ 2704047 h 5973007"/>
              <a:gd name="connsiteX29438" fmla="*/ 985168 w 6884782"/>
              <a:gd name="connsiteY29438" fmla="*/ 2703737 h 5973007"/>
              <a:gd name="connsiteX29439" fmla="*/ 985168 w 6884782"/>
              <a:gd name="connsiteY29439" fmla="*/ 2708539 h 5973007"/>
              <a:gd name="connsiteX29440" fmla="*/ 984342 w 6884782"/>
              <a:gd name="connsiteY29440" fmla="*/ 2709468 h 5973007"/>
              <a:gd name="connsiteX29441" fmla="*/ 983619 w 6884782"/>
              <a:gd name="connsiteY29441" fmla="*/ 2710088 h 5973007"/>
              <a:gd name="connsiteX29442" fmla="*/ 981864 w 6884782"/>
              <a:gd name="connsiteY29442" fmla="*/ 2711637 h 5973007"/>
              <a:gd name="connsiteX29443" fmla="*/ 979695 w 6884782"/>
              <a:gd name="connsiteY29443" fmla="*/ 2709623 h 5973007"/>
              <a:gd name="connsiteX29444" fmla="*/ 979798 w 6884782"/>
              <a:gd name="connsiteY29444" fmla="*/ 2707145 h 5973007"/>
              <a:gd name="connsiteX29445" fmla="*/ 985168 w 6884782"/>
              <a:gd name="connsiteY29445" fmla="*/ 2703737 h 5973007"/>
              <a:gd name="connsiteX29446" fmla="*/ 1003651 w 6884782"/>
              <a:gd name="connsiteY29446" fmla="*/ 2702963 h 5973007"/>
              <a:gd name="connsiteX29447" fmla="*/ 1008814 w 6884782"/>
              <a:gd name="connsiteY29447" fmla="*/ 2704667 h 5973007"/>
              <a:gd name="connsiteX29448" fmla="*/ 1010156 w 6884782"/>
              <a:gd name="connsiteY29448" fmla="*/ 2712101 h 5973007"/>
              <a:gd name="connsiteX29449" fmla="*/ 1005819 w 6884782"/>
              <a:gd name="connsiteY29449" fmla="*/ 2712721 h 5973007"/>
              <a:gd name="connsiteX29450" fmla="*/ 1003444 w 6884782"/>
              <a:gd name="connsiteY29450" fmla="*/ 2708229 h 5973007"/>
              <a:gd name="connsiteX29451" fmla="*/ 1003134 w 6884782"/>
              <a:gd name="connsiteY29451" fmla="*/ 2705441 h 5973007"/>
              <a:gd name="connsiteX29452" fmla="*/ 1003651 w 6884782"/>
              <a:gd name="connsiteY29452" fmla="*/ 2702963 h 5973007"/>
              <a:gd name="connsiteX29453" fmla="*/ 1392101 w 6884782"/>
              <a:gd name="connsiteY29453" fmla="*/ 2702808 h 5973007"/>
              <a:gd name="connsiteX29454" fmla="*/ 1398296 w 6884782"/>
              <a:gd name="connsiteY29454" fmla="*/ 2703737 h 5973007"/>
              <a:gd name="connsiteX29455" fmla="*/ 1391481 w 6884782"/>
              <a:gd name="connsiteY29455" fmla="*/ 2714735 h 5973007"/>
              <a:gd name="connsiteX29456" fmla="*/ 1390448 w 6884782"/>
              <a:gd name="connsiteY29456" fmla="*/ 2708694 h 5973007"/>
              <a:gd name="connsiteX29457" fmla="*/ 1392101 w 6884782"/>
              <a:gd name="connsiteY29457" fmla="*/ 2702808 h 5973007"/>
              <a:gd name="connsiteX29458" fmla="*/ 979489 w 6884782"/>
              <a:gd name="connsiteY29458" fmla="*/ 2701568 h 5973007"/>
              <a:gd name="connsiteX29459" fmla="*/ 980211 w 6884782"/>
              <a:gd name="connsiteY29459" fmla="*/ 2702033 h 5973007"/>
              <a:gd name="connsiteX29460" fmla="*/ 977837 w 6884782"/>
              <a:gd name="connsiteY29460" fmla="*/ 2704202 h 5973007"/>
              <a:gd name="connsiteX29461" fmla="*/ 979489 w 6884782"/>
              <a:gd name="connsiteY29461" fmla="*/ 2701568 h 5973007"/>
              <a:gd name="connsiteX29462" fmla="*/ 1117439 w 6884782"/>
              <a:gd name="connsiteY29462" fmla="*/ 2701104 h 5973007"/>
              <a:gd name="connsiteX29463" fmla="*/ 1117955 w 6884782"/>
              <a:gd name="connsiteY29463" fmla="*/ 2701414 h 5973007"/>
              <a:gd name="connsiteX29464" fmla="*/ 1118368 w 6884782"/>
              <a:gd name="connsiteY29464" fmla="*/ 2703892 h 5973007"/>
              <a:gd name="connsiteX29465" fmla="*/ 1116097 w 6884782"/>
              <a:gd name="connsiteY29465" fmla="*/ 2702033 h 5973007"/>
              <a:gd name="connsiteX29466" fmla="*/ 1117129 w 6884782"/>
              <a:gd name="connsiteY29466" fmla="*/ 2701259 h 5973007"/>
              <a:gd name="connsiteX29467" fmla="*/ 1116200 w 6884782"/>
              <a:gd name="connsiteY29467" fmla="*/ 2701259 h 5973007"/>
              <a:gd name="connsiteX29468" fmla="*/ 1117439 w 6884782"/>
              <a:gd name="connsiteY29468" fmla="*/ 2701104 h 5973007"/>
              <a:gd name="connsiteX29469" fmla="*/ 632651 w 6884782"/>
              <a:gd name="connsiteY29469" fmla="*/ 2700484 h 5973007"/>
              <a:gd name="connsiteX29470" fmla="*/ 638020 w 6884782"/>
              <a:gd name="connsiteY29470" fmla="*/ 2709313 h 5973007"/>
              <a:gd name="connsiteX29471" fmla="*/ 632858 w 6884782"/>
              <a:gd name="connsiteY29471" fmla="*/ 2710707 h 5973007"/>
              <a:gd name="connsiteX29472" fmla="*/ 631309 w 6884782"/>
              <a:gd name="connsiteY29472" fmla="*/ 2705441 h 5973007"/>
              <a:gd name="connsiteX29473" fmla="*/ 632651 w 6884782"/>
              <a:gd name="connsiteY29473" fmla="*/ 2700484 h 5973007"/>
              <a:gd name="connsiteX29474" fmla="*/ 4907374 w 6884782"/>
              <a:gd name="connsiteY29474" fmla="*/ 2698698 h 5973007"/>
              <a:gd name="connsiteX29475" fmla="*/ 4906093 w 6884782"/>
              <a:gd name="connsiteY29475" fmla="*/ 2699836 h 5973007"/>
              <a:gd name="connsiteX29476" fmla="*/ 4898197 w 6884782"/>
              <a:gd name="connsiteY29476" fmla="*/ 2702824 h 5973007"/>
              <a:gd name="connsiteX29477" fmla="*/ 4902465 w 6884782"/>
              <a:gd name="connsiteY29477" fmla="*/ 2704531 h 5973007"/>
              <a:gd name="connsiteX29478" fmla="*/ 4901612 w 6884782"/>
              <a:gd name="connsiteY29478" fmla="*/ 2721461 h 5973007"/>
              <a:gd name="connsiteX29479" fmla="*/ 4908227 w 6884782"/>
              <a:gd name="connsiteY29479" fmla="*/ 2729428 h 5973007"/>
              <a:gd name="connsiteX29480" fmla="*/ 4910788 w 6884782"/>
              <a:gd name="connsiteY29480" fmla="*/ 2706665 h 5973007"/>
              <a:gd name="connsiteX29481" fmla="*/ 4918471 w 6884782"/>
              <a:gd name="connsiteY29481" fmla="*/ 2732843 h 5973007"/>
              <a:gd name="connsiteX29482" fmla="*/ 4913349 w 6884782"/>
              <a:gd name="connsiteY29482" fmla="*/ 2750057 h 5973007"/>
              <a:gd name="connsiteX29483" fmla="*/ 4896489 w 6884782"/>
              <a:gd name="connsiteY29483" fmla="*/ 2735119 h 5973007"/>
              <a:gd name="connsiteX29484" fmla="*/ 4893928 w 6884782"/>
              <a:gd name="connsiteY29484" fmla="*/ 2747781 h 5973007"/>
              <a:gd name="connsiteX29485" fmla="*/ 4897770 w 6884782"/>
              <a:gd name="connsiteY29485" fmla="*/ 2758024 h 5973007"/>
              <a:gd name="connsiteX29486" fmla="*/ 4900331 w 6884782"/>
              <a:gd name="connsiteY29486" fmla="*/ 2762577 h 5973007"/>
              <a:gd name="connsiteX29487" fmla="*/ 4901612 w 6884782"/>
              <a:gd name="connsiteY29487" fmla="*/ 2764854 h 5973007"/>
              <a:gd name="connsiteX29488" fmla="*/ 4902892 w 6884782"/>
              <a:gd name="connsiteY29488" fmla="*/ 2767129 h 5973007"/>
              <a:gd name="connsiteX29489" fmla="*/ 4906947 w 6884782"/>
              <a:gd name="connsiteY29489" fmla="*/ 2773958 h 5973007"/>
              <a:gd name="connsiteX29490" fmla="*/ 4907160 w 6884782"/>
              <a:gd name="connsiteY29490" fmla="*/ 2774385 h 5973007"/>
              <a:gd name="connsiteX29491" fmla="*/ 4909935 w 6884782"/>
              <a:gd name="connsiteY29491" fmla="*/ 2772393 h 5973007"/>
              <a:gd name="connsiteX29492" fmla="*/ 4909295 w 6884782"/>
              <a:gd name="connsiteY29492" fmla="*/ 2770544 h 5973007"/>
              <a:gd name="connsiteX29493" fmla="*/ 4910788 w 6884782"/>
              <a:gd name="connsiteY29493" fmla="*/ 2771966 h 5973007"/>
              <a:gd name="connsiteX29494" fmla="*/ 4912283 w 6884782"/>
              <a:gd name="connsiteY29494" fmla="*/ 2770971 h 5973007"/>
              <a:gd name="connsiteX29495" fmla="*/ 4919966 w 6884782"/>
              <a:gd name="connsiteY29495" fmla="*/ 2772678 h 5973007"/>
              <a:gd name="connsiteX29496" fmla="*/ 4923594 w 6884782"/>
              <a:gd name="connsiteY29496" fmla="*/ 2780200 h 5973007"/>
              <a:gd name="connsiteX29497" fmla="*/ 4922768 w 6884782"/>
              <a:gd name="connsiteY29497" fmla="*/ 2785712 h 5973007"/>
              <a:gd name="connsiteX29498" fmla="*/ 4953000 w 6884782"/>
              <a:gd name="connsiteY29498" fmla="*/ 2785712 h 5973007"/>
              <a:gd name="connsiteX29499" fmla="*/ 4949097 w 6884782"/>
              <a:gd name="connsiteY29499" fmla="*/ 2770277 h 5973007"/>
              <a:gd name="connsiteX29500" fmla="*/ 4940453 w 6884782"/>
              <a:gd name="connsiteY29500" fmla="*/ 2748919 h 5973007"/>
              <a:gd name="connsiteX29501" fmla="*/ 4924661 w 6884782"/>
              <a:gd name="connsiteY29501" fmla="*/ 2724022 h 5973007"/>
              <a:gd name="connsiteX29502" fmla="*/ 585979 w 6884782"/>
              <a:gd name="connsiteY29502" fmla="*/ 2698161 h 5973007"/>
              <a:gd name="connsiteX29503" fmla="*/ 583501 w 6884782"/>
              <a:gd name="connsiteY29503" fmla="*/ 2706835 h 5973007"/>
              <a:gd name="connsiteX29504" fmla="*/ 585979 w 6884782"/>
              <a:gd name="connsiteY29504" fmla="*/ 2698161 h 5973007"/>
              <a:gd name="connsiteX29505" fmla="*/ 1119917 w 6884782"/>
              <a:gd name="connsiteY29505" fmla="*/ 2698006 h 5973007"/>
              <a:gd name="connsiteX29506" fmla="*/ 1124873 w 6884782"/>
              <a:gd name="connsiteY29506" fmla="*/ 2700329 h 5973007"/>
              <a:gd name="connsiteX29507" fmla="*/ 1124667 w 6884782"/>
              <a:gd name="connsiteY29507" fmla="*/ 2701104 h 5973007"/>
              <a:gd name="connsiteX29508" fmla="*/ 1124770 w 6884782"/>
              <a:gd name="connsiteY29508" fmla="*/ 2701259 h 5973007"/>
              <a:gd name="connsiteX29509" fmla="*/ 1126939 w 6884782"/>
              <a:gd name="connsiteY29509" fmla="*/ 2701723 h 5973007"/>
              <a:gd name="connsiteX29510" fmla="*/ 1125803 w 6884782"/>
              <a:gd name="connsiteY29510" fmla="*/ 2704821 h 5973007"/>
              <a:gd name="connsiteX29511" fmla="*/ 1124873 w 6884782"/>
              <a:gd name="connsiteY29511" fmla="*/ 2705286 h 5973007"/>
              <a:gd name="connsiteX29512" fmla="*/ 1124977 w 6884782"/>
              <a:gd name="connsiteY29512" fmla="*/ 2705751 h 5973007"/>
              <a:gd name="connsiteX29513" fmla="*/ 1126422 w 6884782"/>
              <a:gd name="connsiteY29513" fmla="*/ 2706525 h 5973007"/>
              <a:gd name="connsiteX29514" fmla="*/ 1128178 w 6884782"/>
              <a:gd name="connsiteY29514" fmla="*/ 2705906 h 5973007"/>
              <a:gd name="connsiteX29515" fmla="*/ 1128694 w 6884782"/>
              <a:gd name="connsiteY29515" fmla="*/ 2709003 h 5973007"/>
              <a:gd name="connsiteX29516" fmla="*/ 1129727 w 6884782"/>
              <a:gd name="connsiteY29516" fmla="*/ 2711482 h 5973007"/>
              <a:gd name="connsiteX29517" fmla="*/ 1128074 w 6884782"/>
              <a:gd name="connsiteY29517" fmla="*/ 2714115 h 5973007"/>
              <a:gd name="connsiteX29518" fmla="*/ 1127042 w 6884782"/>
              <a:gd name="connsiteY29518" fmla="*/ 2714270 h 5973007"/>
              <a:gd name="connsiteX29519" fmla="*/ 1121466 w 6884782"/>
              <a:gd name="connsiteY29519" fmla="*/ 2720466 h 5973007"/>
              <a:gd name="connsiteX29520" fmla="*/ 1134993 w 6884782"/>
              <a:gd name="connsiteY29520" fmla="*/ 2730844 h 5973007"/>
              <a:gd name="connsiteX29521" fmla="*/ 1115580 w 6884782"/>
              <a:gd name="connsiteY29521" fmla="*/ 2725578 h 5973007"/>
              <a:gd name="connsiteX29522" fmla="*/ 1105048 w 6884782"/>
              <a:gd name="connsiteY29522" fmla="*/ 2726817 h 5973007"/>
              <a:gd name="connsiteX29523" fmla="*/ 1111966 w 6884782"/>
              <a:gd name="connsiteY29523" fmla="*/ 2715510 h 5973007"/>
              <a:gd name="connsiteX29524" fmla="*/ 1114961 w 6884782"/>
              <a:gd name="connsiteY29524" fmla="*/ 2713031 h 5973007"/>
              <a:gd name="connsiteX29525" fmla="*/ 1114858 w 6884782"/>
              <a:gd name="connsiteY29525" fmla="*/ 2713031 h 5973007"/>
              <a:gd name="connsiteX29526" fmla="*/ 1111760 w 6884782"/>
              <a:gd name="connsiteY29526" fmla="*/ 2709313 h 5973007"/>
              <a:gd name="connsiteX29527" fmla="*/ 1112173 w 6884782"/>
              <a:gd name="connsiteY29527" fmla="*/ 2706680 h 5973007"/>
              <a:gd name="connsiteX29528" fmla="*/ 1116716 w 6884782"/>
              <a:gd name="connsiteY29528" fmla="*/ 2704047 h 5973007"/>
              <a:gd name="connsiteX29529" fmla="*/ 1118472 w 6884782"/>
              <a:gd name="connsiteY29529" fmla="*/ 2704202 h 5973007"/>
              <a:gd name="connsiteX29530" fmla="*/ 1118472 w 6884782"/>
              <a:gd name="connsiteY29530" fmla="*/ 2703892 h 5973007"/>
              <a:gd name="connsiteX29531" fmla="*/ 1118781 w 6884782"/>
              <a:gd name="connsiteY29531" fmla="*/ 2704202 h 5973007"/>
              <a:gd name="connsiteX29532" fmla="*/ 1119504 w 6884782"/>
              <a:gd name="connsiteY29532" fmla="*/ 2704357 h 5973007"/>
              <a:gd name="connsiteX29533" fmla="*/ 1119195 w 6884782"/>
              <a:gd name="connsiteY29533" fmla="*/ 2703427 h 5973007"/>
              <a:gd name="connsiteX29534" fmla="*/ 1119917 w 6884782"/>
              <a:gd name="connsiteY29534" fmla="*/ 2698006 h 5973007"/>
              <a:gd name="connsiteX29535" fmla="*/ 604049 w 6884782"/>
              <a:gd name="connsiteY29535" fmla="*/ 2696921 h 5973007"/>
              <a:gd name="connsiteX29536" fmla="*/ 594343 w 6884782"/>
              <a:gd name="connsiteY29536" fmla="*/ 2697076 h 5973007"/>
              <a:gd name="connsiteX29537" fmla="*/ 604049 w 6884782"/>
              <a:gd name="connsiteY29537" fmla="*/ 2696921 h 5973007"/>
              <a:gd name="connsiteX29538" fmla="*/ 749640 w 6884782"/>
              <a:gd name="connsiteY29538" fmla="*/ 2696302 h 5973007"/>
              <a:gd name="connsiteX29539" fmla="*/ 749640 w 6884782"/>
              <a:gd name="connsiteY29539" fmla="*/ 2697232 h 5973007"/>
              <a:gd name="connsiteX29540" fmla="*/ 751396 w 6884782"/>
              <a:gd name="connsiteY29540" fmla="*/ 2697386 h 5973007"/>
              <a:gd name="connsiteX29541" fmla="*/ 751396 w 6884782"/>
              <a:gd name="connsiteY29541" fmla="*/ 2696612 h 5973007"/>
              <a:gd name="connsiteX29542" fmla="*/ 753151 w 6884782"/>
              <a:gd name="connsiteY29542" fmla="*/ 2697541 h 5973007"/>
              <a:gd name="connsiteX29543" fmla="*/ 755320 w 6884782"/>
              <a:gd name="connsiteY29543" fmla="*/ 2700484 h 5973007"/>
              <a:gd name="connsiteX29544" fmla="*/ 757075 w 6884782"/>
              <a:gd name="connsiteY29544" fmla="*/ 2699555 h 5973007"/>
              <a:gd name="connsiteX29545" fmla="*/ 757591 w 6884782"/>
              <a:gd name="connsiteY29545" fmla="*/ 2704202 h 5973007"/>
              <a:gd name="connsiteX29546" fmla="*/ 754700 w 6884782"/>
              <a:gd name="connsiteY29546" fmla="*/ 2704047 h 5973007"/>
              <a:gd name="connsiteX29547" fmla="*/ 753151 w 6884782"/>
              <a:gd name="connsiteY29547" fmla="*/ 2704357 h 5973007"/>
              <a:gd name="connsiteX29548" fmla="*/ 751292 w 6884782"/>
              <a:gd name="connsiteY29548" fmla="*/ 2703273 h 5973007"/>
              <a:gd name="connsiteX29549" fmla="*/ 749124 w 6884782"/>
              <a:gd name="connsiteY29549" fmla="*/ 2700329 h 5973007"/>
              <a:gd name="connsiteX29550" fmla="*/ 749640 w 6884782"/>
              <a:gd name="connsiteY29550" fmla="*/ 2696302 h 5973007"/>
              <a:gd name="connsiteX29551" fmla="*/ 900085 w 6884782"/>
              <a:gd name="connsiteY29551" fmla="*/ 2696147 h 5973007"/>
              <a:gd name="connsiteX29552" fmla="*/ 907003 w 6884782"/>
              <a:gd name="connsiteY29552" fmla="*/ 2696612 h 5973007"/>
              <a:gd name="connsiteX29553" fmla="*/ 900085 w 6884782"/>
              <a:gd name="connsiteY29553" fmla="*/ 2696147 h 5973007"/>
              <a:gd name="connsiteX29554" fmla="*/ 1130553 w 6884782"/>
              <a:gd name="connsiteY29554" fmla="*/ 2695373 h 5973007"/>
              <a:gd name="connsiteX29555" fmla="*/ 1138813 w 6884782"/>
              <a:gd name="connsiteY29555" fmla="*/ 2701723 h 5973007"/>
              <a:gd name="connsiteX29556" fmla="*/ 1134683 w 6884782"/>
              <a:gd name="connsiteY29556" fmla="*/ 2704977 h 5973007"/>
              <a:gd name="connsiteX29557" fmla="*/ 1130346 w 6884782"/>
              <a:gd name="connsiteY29557" fmla="*/ 2697541 h 5973007"/>
              <a:gd name="connsiteX29558" fmla="*/ 1130553 w 6884782"/>
              <a:gd name="connsiteY29558" fmla="*/ 2695373 h 5973007"/>
              <a:gd name="connsiteX29559" fmla="*/ 1108869 w 6884782"/>
              <a:gd name="connsiteY29559" fmla="*/ 2695218 h 5973007"/>
              <a:gd name="connsiteX29560" fmla="*/ 1101125 w 6884782"/>
              <a:gd name="connsiteY29560" fmla="*/ 2712256 h 5973007"/>
              <a:gd name="connsiteX29561" fmla="*/ 1102157 w 6884782"/>
              <a:gd name="connsiteY29561" fmla="*/ 2702343 h 5973007"/>
              <a:gd name="connsiteX29562" fmla="*/ 1108869 w 6884782"/>
              <a:gd name="connsiteY29562" fmla="*/ 2695218 h 5973007"/>
              <a:gd name="connsiteX29563" fmla="*/ 1425349 w 6884782"/>
              <a:gd name="connsiteY29563" fmla="*/ 2693824 h 5973007"/>
              <a:gd name="connsiteX29564" fmla="*/ 1434952 w 6884782"/>
              <a:gd name="connsiteY29564" fmla="*/ 2698161 h 5973007"/>
              <a:gd name="connsiteX29565" fmla="*/ 1427930 w 6884782"/>
              <a:gd name="connsiteY29565" fmla="*/ 2703892 h 5973007"/>
              <a:gd name="connsiteX29566" fmla="*/ 1424110 w 6884782"/>
              <a:gd name="connsiteY29566" fmla="*/ 2696147 h 5973007"/>
              <a:gd name="connsiteX29567" fmla="*/ 1425349 w 6884782"/>
              <a:gd name="connsiteY29567" fmla="*/ 2693824 h 5973007"/>
              <a:gd name="connsiteX29568" fmla="*/ 4731942 w 6884782"/>
              <a:gd name="connsiteY29568" fmla="*/ 2693719 h 5973007"/>
              <a:gd name="connsiteX29569" fmla="*/ 4727461 w 6884782"/>
              <a:gd name="connsiteY29569" fmla="*/ 2702112 h 5973007"/>
              <a:gd name="connsiteX29570" fmla="*/ 4735144 w 6884782"/>
              <a:gd name="connsiteY29570" fmla="*/ 2708941 h 5973007"/>
              <a:gd name="connsiteX29571" fmla="*/ 4737705 w 6884782"/>
              <a:gd name="connsiteY29571" fmla="*/ 2714632 h 5973007"/>
              <a:gd name="connsiteX29572" fmla="*/ 4738985 w 6884782"/>
              <a:gd name="connsiteY29572" fmla="*/ 2718189 h 5973007"/>
              <a:gd name="connsiteX29573" fmla="*/ 4740266 w 6884782"/>
              <a:gd name="connsiteY29573" fmla="*/ 2718189 h 5973007"/>
              <a:gd name="connsiteX29574" fmla="*/ 4745388 w 6884782"/>
              <a:gd name="connsiteY29574" fmla="*/ 2726156 h 5973007"/>
              <a:gd name="connsiteX29575" fmla="*/ 4745388 w 6884782"/>
              <a:gd name="connsiteY29575" fmla="*/ 2727152 h 5973007"/>
              <a:gd name="connsiteX29576" fmla="*/ 4744108 w 6884782"/>
              <a:gd name="connsiteY29576" fmla="*/ 2727152 h 5973007"/>
              <a:gd name="connsiteX29577" fmla="*/ 4744108 w 6884782"/>
              <a:gd name="connsiteY29577" fmla="*/ 2728290 h 5973007"/>
              <a:gd name="connsiteX29578" fmla="*/ 4747949 w 6884782"/>
              <a:gd name="connsiteY29578" fmla="*/ 2736399 h 5973007"/>
              <a:gd name="connsiteX29579" fmla="*/ 4766090 w 6884782"/>
              <a:gd name="connsiteY29579" fmla="*/ 2748919 h 5973007"/>
              <a:gd name="connsiteX29580" fmla="*/ 4766090 w 6884782"/>
              <a:gd name="connsiteY29580" fmla="*/ 2750057 h 5973007"/>
              <a:gd name="connsiteX29581" fmla="*/ 4767370 w 6884782"/>
              <a:gd name="connsiteY29581" fmla="*/ 2751196 h 5973007"/>
              <a:gd name="connsiteX29582" fmla="*/ 4767370 w 6884782"/>
              <a:gd name="connsiteY29582" fmla="*/ 2752333 h 5973007"/>
              <a:gd name="connsiteX29583" fmla="*/ 4769931 w 6884782"/>
              <a:gd name="connsiteY29583" fmla="*/ 2758024 h 5973007"/>
              <a:gd name="connsiteX29584" fmla="*/ 4775053 w 6884782"/>
              <a:gd name="connsiteY29584" fmla="*/ 2769406 h 5973007"/>
              <a:gd name="connsiteX29585" fmla="*/ 4782888 w 6884782"/>
              <a:gd name="connsiteY29585" fmla="*/ 2785712 h 5973007"/>
              <a:gd name="connsiteX29586" fmla="*/ 4805454 w 6884782"/>
              <a:gd name="connsiteY29586" fmla="*/ 2785712 h 5973007"/>
              <a:gd name="connsiteX29587" fmla="*/ 4804835 w 6884782"/>
              <a:gd name="connsiteY29587" fmla="*/ 2798102 h 5973007"/>
              <a:gd name="connsiteX29588" fmla="*/ 4805609 w 6884782"/>
              <a:gd name="connsiteY29588" fmla="*/ 2813797 h 5973007"/>
              <a:gd name="connsiteX29589" fmla="*/ 4802046 w 6884782"/>
              <a:gd name="connsiteY29589" fmla="*/ 2816172 h 5973007"/>
              <a:gd name="connsiteX29590" fmla="*/ 4800188 w 6884782"/>
              <a:gd name="connsiteY29590" fmla="*/ 2818857 h 5973007"/>
              <a:gd name="connsiteX29591" fmla="*/ 4800268 w 6884782"/>
              <a:gd name="connsiteY29591" fmla="*/ 2819476 h 5973007"/>
              <a:gd name="connsiteX29592" fmla="*/ 4804932 w 6884782"/>
              <a:gd name="connsiteY29592" fmla="*/ 2828731 h 5973007"/>
              <a:gd name="connsiteX29593" fmla="*/ 4812615 w 6884782"/>
              <a:gd name="connsiteY29593" fmla="*/ 2846942 h 5973007"/>
              <a:gd name="connsiteX29594" fmla="*/ 4814996 w 6884782"/>
              <a:gd name="connsiteY29594" fmla="*/ 2853714 h 5973007"/>
              <a:gd name="connsiteX29595" fmla="*/ 4831162 w 6884782"/>
              <a:gd name="connsiteY29595" fmla="*/ 2859358 h 5973007"/>
              <a:gd name="connsiteX29596" fmla="*/ 4824507 w 6884782"/>
              <a:gd name="connsiteY29596" fmla="*/ 2838579 h 5973007"/>
              <a:gd name="connsiteX29597" fmla="*/ 4822920 w 6884782"/>
              <a:gd name="connsiteY29597" fmla="*/ 2832534 h 5973007"/>
              <a:gd name="connsiteX29598" fmla="*/ 4812189 w 6884782"/>
              <a:gd name="connsiteY29598" fmla="*/ 2829763 h 5973007"/>
              <a:gd name="connsiteX29599" fmla="*/ 4806426 w 6884782"/>
              <a:gd name="connsiteY29599" fmla="*/ 2817777 h 5973007"/>
              <a:gd name="connsiteX29600" fmla="*/ 4814963 w 6884782"/>
              <a:gd name="connsiteY29600" fmla="*/ 2810237 h 5973007"/>
              <a:gd name="connsiteX29601" fmla="*/ 4817470 w 6884782"/>
              <a:gd name="connsiteY29601" fmla="*/ 2811775 h 5973007"/>
              <a:gd name="connsiteX29602" fmla="*/ 4816917 w 6884782"/>
              <a:gd name="connsiteY29602" fmla="*/ 2809667 h 5973007"/>
              <a:gd name="connsiteX29603" fmla="*/ 4813974 w 6884782"/>
              <a:gd name="connsiteY29603" fmla="*/ 2785712 h 5973007"/>
              <a:gd name="connsiteX29604" fmla="*/ 4832455 w 6884782"/>
              <a:gd name="connsiteY29604" fmla="*/ 2785712 h 5973007"/>
              <a:gd name="connsiteX29605" fmla="*/ 4829475 w 6884782"/>
              <a:gd name="connsiteY29605" fmla="*/ 2783064 h 5973007"/>
              <a:gd name="connsiteX29606" fmla="*/ 4828195 w 6884782"/>
              <a:gd name="connsiteY29606" fmla="*/ 2764854 h 5973007"/>
              <a:gd name="connsiteX29607" fmla="*/ 4817737 w 6884782"/>
              <a:gd name="connsiteY29607" fmla="*/ 2751764 h 5973007"/>
              <a:gd name="connsiteX29608" fmla="*/ 4813896 w 6884782"/>
              <a:gd name="connsiteY29608" fmla="*/ 2753045 h 5973007"/>
              <a:gd name="connsiteX29609" fmla="*/ 4774626 w 6884782"/>
              <a:gd name="connsiteY29609" fmla="*/ 2725017 h 5973007"/>
              <a:gd name="connsiteX29610" fmla="*/ 4802798 w 6884782"/>
              <a:gd name="connsiteY29610" fmla="*/ 2733696 h 5973007"/>
              <a:gd name="connsiteX29611" fmla="*/ 4804932 w 6884782"/>
              <a:gd name="connsiteY29611" fmla="*/ 2734692 h 5973007"/>
              <a:gd name="connsiteX29612" fmla="*/ 4804932 w 6884782"/>
              <a:gd name="connsiteY29612" fmla="*/ 2733981 h 5973007"/>
              <a:gd name="connsiteX29613" fmla="*/ 4803651 w 6884782"/>
              <a:gd name="connsiteY29613" fmla="*/ 2732843 h 5973007"/>
              <a:gd name="connsiteX29614" fmla="*/ 4802158 w 6884782"/>
              <a:gd name="connsiteY29614" fmla="*/ 2730709 h 5973007"/>
              <a:gd name="connsiteX29615" fmla="*/ 4784231 w 6884782"/>
              <a:gd name="connsiteY29615" fmla="*/ 2713494 h 5973007"/>
              <a:gd name="connsiteX29616" fmla="*/ 4762248 w 6884782"/>
              <a:gd name="connsiteY29616" fmla="*/ 2722599 h 5973007"/>
              <a:gd name="connsiteX29617" fmla="*/ 4759687 w 6884782"/>
              <a:gd name="connsiteY29617" fmla="*/ 2719327 h 5973007"/>
              <a:gd name="connsiteX29618" fmla="*/ 4754565 w 6884782"/>
              <a:gd name="connsiteY29618" fmla="*/ 2710080 h 5973007"/>
              <a:gd name="connsiteX29619" fmla="*/ 4754565 w 6884782"/>
              <a:gd name="connsiteY29619" fmla="*/ 2708941 h 5973007"/>
              <a:gd name="connsiteX29620" fmla="*/ 4753284 w 6884782"/>
              <a:gd name="connsiteY29620" fmla="*/ 2707803 h 5973007"/>
              <a:gd name="connsiteX29621" fmla="*/ 4750510 w 6884782"/>
              <a:gd name="connsiteY29621" fmla="*/ 2705527 h 5973007"/>
              <a:gd name="connsiteX29622" fmla="*/ 4740266 w 6884782"/>
              <a:gd name="connsiteY29622" fmla="*/ 2696422 h 5973007"/>
              <a:gd name="connsiteX29623" fmla="*/ 4731942 w 6884782"/>
              <a:gd name="connsiteY29623" fmla="*/ 2693719 h 5973007"/>
              <a:gd name="connsiteX29624" fmla="*/ 771324 w 6884782"/>
              <a:gd name="connsiteY29624" fmla="*/ 2693514 h 5973007"/>
              <a:gd name="connsiteX29625" fmla="*/ 779998 w 6884782"/>
              <a:gd name="connsiteY29625" fmla="*/ 2695218 h 5973007"/>
              <a:gd name="connsiteX29626" fmla="*/ 785780 w 6884782"/>
              <a:gd name="connsiteY29626" fmla="*/ 2707145 h 5973007"/>
              <a:gd name="connsiteX29627" fmla="*/ 785677 w 6884782"/>
              <a:gd name="connsiteY29627" fmla="*/ 2707455 h 5973007"/>
              <a:gd name="connsiteX29628" fmla="*/ 785677 w 6884782"/>
              <a:gd name="connsiteY29628" fmla="*/ 2712256 h 5973007"/>
              <a:gd name="connsiteX29629" fmla="*/ 784025 w 6884782"/>
              <a:gd name="connsiteY29629" fmla="*/ 2713031 h 5973007"/>
              <a:gd name="connsiteX29630" fmla="*/ 784851 w 6884782"/>
              <a:gd name="connsiteY29630" fmla="*/ 2715974 h 5973007"/>
              <a:gd name="connsiteX29631" fmla="*/ 778449 w 6884782"/>
              <a:gd name="connsiteY29631" fmla="*/ 2717832 h 5973007"/>
              <a:gd name="connsiteX29632" fmla="*/ 783302 w 6884782"/>
              <a:gd name="connsiteY29632" fmla="*/ 2728210 h 5973007"/>
              <a:gd name="connsiteX29633" fmla="*/ 782786 w 6884782"/>
              <a:gd name="connsiteY29633" fmla="*/ 2730534 h 5973007"/>
              <a:gd name="connsiteX29634" fmla="*/ 782683 w 6884782"/>
              <a:gd name="connsiteY29634" fmla="*/ 2731773 h 5973007"/>
              <a:gd name="connsiteX29635" fmla="*/ 785573 w 6884782"/>
              <a:gd name="connsiteY29635" fmla="*/ 2723409 h 5973007"/>
              <a:gd name="connsiteX29636" fmla="*/ 791975 w 6884782"/>
              <a:gd name="connsiteY29636" fmla="*/ 2717523 h 5973007"/>
              <a:gd name="connsiteX29637" fmla="*/ 804160 w 6884782"/>
              <a:gd name="connsiteY29637" fmla="*/ 2717058 h 5973007"/>
              <a:gd name="connsiteX29638" fmla="*/ 804366 w 6884782"/>
              <a:gd name="connsiteY29638" fmla="*/ 2717058 h 5973007"/>
              <a:gd name="connsiteX29639" fmla="*/ 802198 w 6884782"/>
              <a:gd name="connsiteY29639" fmla="*/ 2714889 h 5973007"/>
              <a:gd name="connsiteX29640" fmla="*/ 796726 w 6884782"/>
              <a:gd name="connsiteY29640" fmla="*/ 2713960 h 5973007"/>
              <a:gd name="connsiteX29641" fmla="*/ 792802 w 6884782"/>
              <a:gd name="connsiteY29641" fmla="*/ 2714270 h 5973007"/>
              <a:gd name="connsiteX29642" fmla="*/ 791150 w 6884782"/>
              <a:gd name="connsiteY29642" fmla="*/ 2713186 h 5973007"/>
              <a:gd name="connsiteX29643" fmla="*/ 787742 w 6884782"/>
              <a:gd name="connsiteY29643" fmla="*/ 2707919 h 5973007"/>
              <a:gd name="connsiteX29644" fmla="*/ 791769 w 6884782"/>
              <a:gd name="connsiteY29644" fmla="*/ 2706525 h 5973007"/>
              <a:gd name="connsiteX29645" fmla="*/ 794970 w 6884782"/>
              <a:gd name="connsiteY29645" fmla="*/ 2707455 h 5973007"/>
              <a:gd name="connsiteX29646" fmla="*/ 794454 w 6884782"/>
              <a:gd name="connsiteY29646" fmla="*/ 2706835 h 5973007"/>
              <a:gd name="connsiteX29647" fmla="*/ 792079 w 6884782"/>
              <a:gd name="connsiteY29647" fmla="*/ 2698780 h 5973007"/>
              <a:gd name="connsiteX29648" fmla="*/ 807257 w 6884782"/>
              <a:gd name="connsiteY29648" fmla="*/ 2708074 h 5973007"/>
              <a:gd name="connsiteX29649" fmla="*/ 810355 w 6884782"/>
              <a:gd name="connsiteY29649" fmla="*/ 2714889 h 5973007"/>
              <a:gd name="connsiteX29650" fmla="*/ 813143 w 6884782"/>
              <a:gd name="connsiteY29650" fmla="*/ 2713960 h 5973007"/>
              <a:gd name="connsiteX29651" fmla="*/ 824501 w 6884782"/>
              <a:gd name="connsiteY29651" fmla="*/ 2719072 h 5973007"/>
              <a:gd name="connsiteX29652" fmla="*/ 827805 w 6884782"/>
              <a:gd name="connsiteY29652" fmla="*/ 2721395 h 5973007"/>
              <a:gd name="connsiteX29653" fmla="*/ 830800 w 6884782"/>
              <a:gd name="connsiteY29653" fmla="*/ 2722789 h 5973007"/>
              <a:gd name="connsiteX29654" fmla="*/ 831110 w 6884782"/>
              <a:gd name="connsiteY29654" fmla="*/ 2722944 h 5973007"/>
              <a:gd name="connsiteX29655" fmla="*/ 833175 w 6884782"/>
              <a:gd name="connsiteY29655" fmla="*/ 2723254 h 5973007"/>
              <a:gd name="connsiteX29656" fmla="*/ 831935 w 6884782"/>
              <a:gd name="connsiteY29656" fmla="*/ 2722170 h 5973007"/>
              <a:gd name="connsiteX29657" fmla="*/ 830284 w 6884782"/>
              <a:gd name="connsiteY29657" fmla="*/ 2715974 h 5973007"/>
              <a:gd name="connsiteX29658" fmla="*/ 837511 w 6884782"/>
              <a:gd name="connsiteY29658" fmla="*/ 2710243 h 5973007"/>
              <a:gd name="connsiteX29659" fmla="*/ 837305 w 6884782"/>
              <a:gd name="connsiteY29659" fmla="*/ 2708384 h 5973007"/>
              <a:gd name="connsiteX29660" fmla="*/ 839370 w 6884782"/>
              <a:gd name="connsiteY29660" fmla="*/ 2705441 h 5973007"/>
              <a:gd name="connsiteX29661" fmla="*/ 841125 w 6884782"/>
              <a:gd name="connsiteY29661" fmla="*/ 2706525 h 5973007"/>
              <a:gd name="connsiteX29662" fmla="*/ 839473 w 6884782"/>
              <a:gd name="connsiteY29662" fmla="*/ 2710243 h 5973007"/>
              <a:gd name="connsiteX29663" fmla="*/ 839886 w 6884782"/>
              <a:gd name="connsiteY29663" fmla="*/ 2711017 h 5973007"/>
              <a:gd name="connsiteX29664" fmla="*/ 842261 w 6884782"/>
              <a:gd name="connsiteY29664" fmla="*/ 2711792 h 5973007"/>
              <a:gd name="connsiteX29665" fmla="*/ 846908 w 6884782"/>
              <a:gd name="connsiteY29665" fmla="*/ 2719072 h 5973007"/>
              <a:gd name="connsiteX29666" fmla="*/ 842674 w 6884782"/>
              <a:gd name="connsiteY29666" fmla="*/ 2724493 h 5973007"/>
              <a:gd name="connsiteX29667" fmla="*/ 840299 w 6884782"/>
              <a:gd name="connsiteY29667" fmla="*/ 2725578 h 5973007"/>
              <a:gd name="connsiteX29668" fmla="*/ 844120 w 6884782"/>
              <a:gd name="connsiteY29668" fmla="*/ 2728210 h 5973007"/>
              <a:gd name="connsiteX29669" fmla="*/ 846185 w 6884782"/>
              <a:gd name="connsiteY29669" fmla="*/ 2735491 h 5973007"/>
              <a:gd name="connsiteX29670" fmla="*/ 844946 w 6884782"/>
              <a:gd name="connsiteY29670" fmla="*/ 2737814 h 5973007"/>
              <a:gd name="connsiteX29671" fmla="*/ 848973 w 6884782"/>
              <a:gd name="connsiteY29671" fmla="*/ 2747573 h 5973007"/>
              <a:gd name="connsiteX29672" fmla="*/ 848973 w 6884782"/>
              <a:gd name="connsiteY29672" fmla="*/ 2747882 h 5973007"/>
              <a:gd name="connsiteX29673" fmla="*/ 850005 w 6884782"/>
              <a:gd name="connsiteY29673" fmla="*/ 2749122 h 5973007"/>
              <a:gd name="connsiteX29674" fmla="*/ 851761 w 6884782"/>
              <a:gd name="connsiteY29674" fmla="*/ 2748657 h 5973007"/>
              <a:gd name="connsiteX29675" fmla="*/ 859712 w 6884782"/>
              <a:gd name="connsiteY29675" fmla="*/ 2741067 h 5973007"/>
              <a:gd name="connsiteX29676" fmla="*/ 859815 w 6884782"/>
              <a:gd name="connsiteY29676" fmla="*/ 2746488 h 5973007"/>
              <a:gd name="connsiteX29677" fmla="*/ 860951 w 6884782"/>
              <a:gd name="connsiteY29677" fmla="*/ 2745869 h 5973007"/>
              <a:gd name="connsiteX29678" fmla="*/ 869314 w 6884782"/>
              <a:gd name="connsiteY29678" fmla="*/ 2744475 h 5973007"/>
              <a:gd name="connsiteX29679" fmla="*/ 874167 w 6884782"/>
              <a:gd name="connsiteY29679" fmla="*/ 2744475 h 5973007"/>
              <a:gd name="connsiteX29680" fmla="*/ 872722 w 6884782"/>
              <a:gd name="connsiteY29680" fmla="*/ 2742771 h 5973007"/>
              <a:gd name="connsiteX29681" fmla="*/ 871069 w 6884782"/>
              <a:gd name="connsiteY29681" fmla="*/ 2735800 h 5973007"/>
              <a:gd name="connsiteX29682" fmla="*/ 879124 w 6884782"/>
              <a:gd name="connsiteY29682" fmla="*/ 2735646 h 5973007"/>
              <a:gd name="connsiteX29683" fmla="*/ 882015 w 6884782"/>
              <a:gd name="connsiteY29683" fmla="*/ 2739363 h 5973007"/>
              <a:gd name="connsiteX29684" fmla="*/ 881602 w 6884782"/>
              <a:gd name="connsiteY29684" fmla="*/ 2742926 h 5973007"/>
              <a:gd name="connsiteX29685" fmla="*/ 881705 w 6884782"/>
              <a:gd name="connsiteY29685" fmla="*/ 2744630 h 5973007"/>
              <a:gd name="connsiteX29686" fmla="*/ 890069 w 6884782"/>
              <a:gd name="connsiteY29686" fmla="*/ 2744940 h 5973007"/>
              <a:gd name="connsiteX29687" fmla="*/ 888107 w 6884782"/>
              <a:gd name="connsiteY29687" fmla="*/ 2743081 h 5973007"/>
              <a:gd name="connsiteX29688" fmla="*/ 894612 w 6884782"/>
              <a:gd name="connsiteY29688" fmla="*/ 2737969 h 5973007"/>
              <a:gd name="connsiteX29689" fmla="*/ 901633 w 6884782"/>
              <a:gd name="connsiteY29689" fmla="*/ 2741377 h 5973007"/>
              <a:gd name="connsiteX29690" fmla="*/ 895851 w 6884782"/>
              <a:gd name="connsiteY29690" fmla="*/ 2750671 h 5973007"/>
              <a:gd name="connsiteX29691" fmla="*/ 895232 w 6884782"/>
              <a:gd name="connsiteY29691" fmla="*/ 2750051 h 5973007"/>
              <a:gd name="connsiteX29692" fmla="*/ 893889 w 6884782"/>
              <a:gd name="connsiteY29692" fmla="*/ 2754388 h 5973007"/>
              <a:gd name="connsiteX29693" fmla="*/ 871380 w 6884782"/>
              <a:gd name="connsiteY29693" fmla="*/ 2752529 h 5973007"/>
              <a:gd name="connsiteX29694" fmla="*/ 859918 w 6884782"/>
              <a:gd name="connsiteY29694" fmla="*/ 2751445 h 5973007"/>
              <a:gd name="connsiteX29695" fmla="*/ 860021 w 6884782"/>
              <a:gd name="connsiteY29695" fmla="*/ 2754698 h 5973007"/>
              <a:gd name="connsiteX29696" fmla="*/ 856201 w 6884782"/>
              <a:gd name="connsiteY29696" fmla="*/ 2766160 h 5973007"/>
              <a:gd name="connsiteX29697" fmla="*/ 854135 w 6884782"/>
              <a:gd name="connsiteY29697" fmla="*/ 2769103 h 5973007"/>
              <a:gd name="connsiteX29698" fmla="*/ 854549 w 6884782"/>
              <a:gd name="connsiteY29698" fmla="*/ 2770807 h 5973007"/>
              <a:gd name="connsiteX29699" fmla="*/ 854342 w 6884782"/>
              <a:gd name="connsiteY29699" fmla="*/ 2771891 h 5973007"/>
              <a:gd name="connsiteX29700" fmla="*/ 854652 w 6884782"/>
              <a:gd name="connsiteY29700" fmla="*/ 2772356 h 5973007"/>
              <a:gd name="connsiteX29701" fmla="*/ 855168 w 6884782"/>
              <a:gd name="connsiteY29701" fmla="*/ 2773286 h 5973007"/>
              <a:gd name="connsiteX29702" fmla="*/ 854342 w 6884782"/>
              <a:gd name="connsiteY29702" fmla="*/ 2773131 h 5973007"/>
              <a:gd name="connsiteX29703" fmla="*/ 854239 w 6884782"/>
              <a:gd name="connsiteY29703" fmla="*/ 2773131 h 5973007"/>
              <a:gd name="connsiteX29704" fmla="*/ 854032 w 6884782"/>
              <a:gd name="connsiteY29704" fmla="*/ 2775764 h 5973007"/>
              <a:gd name="connsiteX29705" fmla="*/ 847734 w 6884782"/>
              <a:gd name="connsiteY29705" fmla="*/ 2773131 h 5973007"/>
              <a:gd name="connsiteX29706" fmla="*/ 842261 w 6884782"/>
              <a:gd name="connsiteY29706" fmla="*/ 2769568 h 5973007"/>
              <a:gd name="connsiteX29707" fmla="*/ 846598 w 6884782"/>
              <a:gd name="connsiteY29707" fmla="*/ 2769103 h 5973007"/>
              <a:gd name="connsiteX29708" fmla="*/ 845772 w 6884782"/>
              <a:gd name="connsiteY29708" fmla="*/ 2767400 h 5973007"/>
              <a:gd name="connsiteX29709" fmla="*/ 848353 w 6884782"/>
              <a:gd name="connsiteY29709" fmla="*/ 2766780 h 5973007"/>
              <a:gd name="connsiteX29710" fmla="*/ 848147 w 6884782"/>
              <a:gd name="connsiteY29710" fmla="*/ 2765386 h 5973007"/>
              <a:gd name="connsiteX29711" fmla="*/ 848973 w 6884782"/>
              <a:gd name="connsiteY29711" fmla="*/ 2759965 h 5973007"/>
              <a:gd name="connsiteX29712" fmla="*/ 847527 w 6884782"/>
              <a:gd name="connsiteY29712" fmla="*/ 2759965 h 5973007"/>
              <a:gd name="connsiteX29713" fmla="*/ 845978 w 6884782"/>
              <a:gd name="connsiteY29713" fmla="*/ 2763837 h 5973007"/>
              <a:gd name="connsiteX29714" fmla="*/ 842261 w 6884782"/>
              <a:gd name="connsiteY29714" fmla="*/ 2769568 h 5973007"/>
              <a:gd name="connsiteX29715" fmla="*/ 841642 w 6884782"/>
              <a:gd name="connsiteY29715" fmla="*/ 2770807 h 5973007"/>
              <a:gd name="connsiteX29716" fmla="*/ 837305 w 6884782"/>
              <a:gd name="connsiteY29716" fmla="*/ 2778707 h 5973007"/>
              <a:gd name="connsiteX29717" fmla="*/ 818616 w 6884782"/>
              <a:gd name="connsiteY29717" fmla="*/ 2784748 h 5973007"/>
              <a:gd name="connsiteX29718" fmla="*/ 806534 w 6884782"/>
              <a:gd name="connsiteY29718" fmla="*/ 2779791 h 5973007"/>
              <a:gd name="connsiteX29719" fmla="*/ 800339 w 6884782"/>
              <a:gd name="connsiteY29719" fmla="*/ 2778087 h 5973007"/>
              <a:gd name="connsiteX29720" fmla="*/ 800546 w 6884782"/>
              <a:gd name="connsiteY29720" fmla="*/ 2778552 h 5973007"/>
              <a:gd name="connsiteX29721" fmla="*/ 795796 w 6884782"/>
              <a:gd name="connsiteY29721" fmla="*/ 2784748 h 5973007"/>
              <a:gd name="connsiteX29722" fmla="*/ 796106 w 6884782"/>
              <a:gd name="connsiteY29722" fmla="*/ 2780721 h 5973007"/>
              <a:gd name="connsiteX29723" fmla="*/ 797241 w 6884782"/>
              <a:gd name="connsiteY29723" fmla="*/ 2777313 h 5973007"/>
              <a:gd name="connsiteX29724" fmla="*/ 792905 w 6884782"/>
              <a:gd name="connsiteY29724" fmla="*/ 2776074 h 5973007"/>
              <a:gd name="connsiteX29725" fmla="*/ 785058 w 6884782"/>
              <a:gd name="connsiteY29725" fmla="*/ 2762443 h 5973007"/>
              <a:gd name="connsiteX29726" fmla="*/ 784644 w 6884782"/>
              <a:gd name="connsiteY29726" fmla="*/ 2761668 h 5973007"/>
              <a:gd name="connsiteX29727" fmla="*/ 782063 w 6884782"/>
              <a:gd name="connsiteY29727" fmla="*/ 2764921 h 5973007"/>
              <a:gd name="connsiteX29728" fmla="*/ 785677 w 6884782"/>
              <a:gd name="connsiteY29728" fmla="*/ 2768019 h 5973007"/>
              <a:gd name="connsiteX29729" fmla="*/ 780307 w 6884782"/>
              <a:gd name="connsiteY29729" fmla="*/ 2779172 h 5973007"/>
              <a:gd name="connsiteX29730" fmla="*/ 772770 w 6884782"/>
              <a:gd name="connsiteY29730" fmla="*/ 2771582 h 5973007"/>
              <a:gd name="connsiteX29731" fmla="*/ 775661 w 6884782"/>
              <a:gd name="connsiteY29731" fmla="*/ 2768948 h 5973007"/>
              <a:gd name="connsiteX29732" fmla="*/ 775351 w 6884782"/>
              <a:gd name="connsiteY29732" fmla="*/ 2768639 h 5973007"/>
              <a:gd name="connsiteX29733" fmla="*/ 773286 w 6884782"/>
              <a:gd name="connsiteY29733" fmla="*/ 2768174 h 5973007"/>
              <a:gd name="connsiteX29734" fmla="*/ 771944 w 6884782"/>
              <a:gd name="connsiteY29734" fmla="*/ 2769878 h 5973007"/>
              <a:gd name="connsiteX29735" fmla="*/ 770395 w 6884782"/>
              <a:gd name="connsiteY29735" fmla="*/ 2767554 h 5973007"/>
              <a:gd name="connsiteX29736" fmla="*/ 770601 w 6884782"/>
              <a:gd name="connsiteY29736" fmla="*/ 2767244 h 5973007"/>
              <a:gd name="connsiteX29737" fmla="*/ 767814 w 6884782"/>
              <a:gd name="connsiteY29737" fmla="*/ 2765076 h 5973007"/>
              <a:gd name="connsiteX29738" fmla="*/ 764199 w 6884782"/>
              <a:gd name="connsiteY29738" fmla="*/ 2757176 h 5973007"/>
              <a:gd name="connsiteX29739" fmla="*/ 767504 w 6884782"/>
              <a:gd name="connsiteY29739" fmla="*/ 2750825 h 5973007"/>
              <a:gd name="connsiteX29740" fmla="*/ 777417 w 6884782"/>
              <a:gd name="connsiteY29740" fmla="*/ 2747573 h 5973007"/>
              <a:gd name="connsiteX29741" fmla="*/ 777726 w 6884782"/>
              <a:gd name="connsiteY29741" fmla="*/ 2747882 h 5973007"/>
              <a:gd name="connsiteX29742" fmla="*/ 780617 w 6884782"/>
              <a:gd name="connsiteY29742" fmla="*/ 2741067 h 5973007"/>
              <a:gd name="connsiteX29743" fmla="*/ 782063 w 6884782"/>
              <a:gd name="connsiteY29743" fmla="*/ 2734407 h 5973007"/>
              <a:gd name="connsiteX29744" fmla="*/ 778346 w 6884782"/>
              <a:gd name="connsiteY29744" fmla="*/ 2735646 h 5973007"/>
              <a:gd name="connsiteX29745" fmla="*/ 771737 w 6884782"/>
              <a:gd name="connsiteY29745" fmla="*/ 2736730 h 5973007"/>
              <a:gd name="connsiteX29746" fmla="*/ 762031 w 6884782"/>
              <a:gd name="connsiteY29746" fmla="*/ 2726817 h 5973007"/>
              <a:gd name="connsiteX29747" fmla="*/ 762651 w 6884782"/>
              <a:gd name="connsiteY29747" fmla="*/ 2725887 h 5973007"/>
              <a:gd name="connsiteX29748" fmla="*/ 763373 w 6884782"/>
              <a:gd name="connsiteY29748" fmla="*/ 2724183 h 5973007"/>
              <a:gd name="connsiteX29749" fmla="*/ 762341 w 6884782"/>
              <a:gd name="connsiteY29749" fmla="*/ 2721550 h 5973007"/>
              <a:gd name="connsiteX29750" fmla="*/ 763683 w 6884782"/>
              <a:gd name="connsiteY29750" fmla="*/ 2719072 h 5973007"/>
              <a:gd name="connsiteX29751" fmla="*/ 767917 w 6884782"/>
              <a:gd name="connsiteY29751" fmla="*/ 2717678 h 5973007"/>
              <a:gd name="connsiteX29752" fmla="*/ 768640 w 6884782"/>
              <a:gd name="connsiteY29752" fmla="*/ 2718297 h 5973007"/>
              <a:gd name="connsiteX29753" fmla="*/ 773802 w 6884782"/>
              <a:gd name="connsiteY29753" fmla="*/ 2717058 h 5973007"/>
              <a:gd name="connsiteX29754" fmla="*/ 777003 w 6884782"/>
              <a:gd name="connsiteY29754" fmla="*/ 2717523 h 5973007"/>
              <a:gd name="connsiteX29755" fmla="*/ 772150 w 6884782"/>
              <a:gd name="connsiteY29755" fmla="*/ 2716129 h 5973007"/>
              <a:gd name="connsiteX29756" fmla="*/ 770292 w 6884782"/>
              <a:gd name="connsiteY29756" fmla="*/ 2715510 h 5973007"/>
              <a:gd name="connsiteX29757" fmla="*/ 770292 w 6884782"/>
              <a:gd name="connsiteY29757" fmla="*/ 2716284 h 5973007"/>
              <a:gd name="connsiteX29758" fmla="*/ 769362 w 6884782"/>
              <a:gd name="connsiteY29758" fmla="*/ 2715354 h 5973007"/>
              <a:gd name="connsiteX29759" fmla="*/ 769156 w 6884782"/>
              <a:gd name="connsiteY29759" fmla="*/ 2715199 h 5973007"/>
              <a:gd name="connsiteX29760" fmla="*/ 768330 w 6884782"/>
              <a:gd name="connsiteY29760" fmla="*/ 2715199 h 5973007"/>
              <a:gd name="connsiteX29761" fmla="*/ 765438 w 6884782"/>
              <a:gd name="connsiteY29761" fmla="*/ 2712876 h 5973007"/>
              <a:gd name="connsiteX29762" fmla="*/ 765645 w 6884782"/>
              <a:gd name="connsiteY29762" fmla="*/ 2711946 h 5973007"/>
              <a:gd name="connsiteX29763" fmla="*/ 760792 w 6884782"/>
              <a:gd name="connsiteY29763" fmla="*/ 2712101 h 5973007"/>
              <a:gd name="connsiteX29764" fmla="*/ 759450 w 6884782"/>
              <a:gd name="connsiteY29764" fmla="*/ 2711792 h 5973007"/>
              <a:gd name="connsiteX29765" fmla="*/ 759037 w 6884782"/>
              <a:gd name="connsiteY29765" fmla="*/ 2712256 h 5973007"/>
              <a:gd name="connsiteX29766" fmla="*/ 758211 w 6884782"/>
              <a:gd name="connsiteY29766" fmla="*/ 2711637 h 5973007"/>
              <a:gd name="connsiteX29767" fmla="*/ 753874 w 6884782"/>
              <a:gd name="connsiteY29767" fmla="*/ 2710862 h 5973007"/>
              <a:gd name="connsiteX29768" fmla="*/ 750570 w 6884782"/>
              <a:gd name="connsiteY29768" fmla="*/ 2707299 h 5973007"/>
              <a:gd name="connsiteX29769" fmla="*/ 756455 w 6884782"/>
              <a:gd name="connsiteY29769" fmla="*/ 2706370 h 5973007"/>
              <a:gd name="connsiteX29770" fmla="*/ 756765 w 6884782"/>
              <a:gd name="connsiteY29770" fmla="*/ 2706215 h 5973007"/>
              <a:gd name="connsiteX29771" fmla="*/ 757178 w 6884782"/>
              <a:gd name="connsiteY29771" fmla="*/ 2706215 h 5973007"/>
              <a:gd name="connsiteX29772" fmla="*/ 764096 w 6884782"/>
              <a:gd name="connsiteY29772" fmla="*/ 2705596 h 5973007"/>
              <a:gd name="connsiteX29773" fmla="*/ 770601 w 6884782"/>
              <a:gd name="connsiteY29773" fmla="*/ 2706680 h 5973007"/>
              <a:gd name="connsiteX29774" fmla="*/ 770704 w 6884782"/>
              <a:gd name="connsiteY29774" fmla="*/ 2705906 h 5973007"/>
              <a:gd name="connsiteX29775" fmla="*/ 771324 w 6884782"/>
              <a:gd name="connsiteY29775" fmla="*/ 2693514 h 5973007"/>
              <a:gd name="connsiteX29776" fmla="*/ 914127 w 6884782"/>
              <a:gd name="connsiteY29776" fmla="*/ 2693204 h 5973007"/>
              <a:gd name="connsiteX29777" fmla="*/ 919187 w 6884782"/>
              <a:gd name="connsiteY29777" fmla="*/ 2694288 h 5973007"/>
              <a:gd name="connsiteX29778" fmla="*/ 909894 w 6884782"/>
              <a:gd name="connsiteY29778" fmla="*/ 2700484 h 5973007"/>
              <a:gd name="connsiteX29779" fmla="*/ 909997 w 6884782"/>
              <a:gd name="connsiteY29779" fmla="*/ 2695218 h 5973007"/>
              <a:gd name="connsiteX29780" fmla="*/ 914127 w 6884782"/>
              <a:gd name="connsiteY29780" fmla="*/ 2693204 h 5973007"/>
              <a:gd name="connsiteX29781" fmla="*/ 571627 w 6884782"/>
              <a:gd name="connsiteY29781" fmla="*/ 2693204 h 5973007"/>
              <a:gd name="connsiteX29782" fmla="*/ 573382 w 6884782"/>
              <a:gd name="connsiteY29782" fmla="*/ 2693978 h 5973007"/>
              <a:gd name="connsiteX29783" fmla="*/ 578338 w 6884782"/>
              <a:gd name="connsiteY29783" fmla="*/ 2709313 h 5973007"/>
              <a:gd name="connsiteX29784" fmla="*/ 570594 w 6884782"/>
              <a:gd name="connsiteY29784" fmla="*/ 2706835 h 5973007"/>
              <a:gd name="connsiteX29785" fmla="*/ 568839 w 6884782"/>
              <a:gd name="connsiteY29785" fmla="*/ 2703737 h 5973007"/>
              <a:gd name="connsiteX29786" fmla="*/ 568942 w 6884782"/>
              <a:gd name="connsiteY29786" fmla="*/ 2700019 h 5973007"/>
              <a:gd name="connsiteX29787" fmla="*/ 568323 w 6884782"/>
              <a:gd name="connsiteY29787" fmla="*/ 2697232 h 5973007"/>
              <a:gd name="connsiteX29788" fmla="*/ 569045 w 6884782"/>
              <a:gd name="connsiteY29788" fmla="*/ 2694288 h 5973007"/>
              <a:gd name="connsiteX29789" fmla="*/ 571627 w 6884782"/>
              <a:gd name="connsiteY29789" fmla="*/ 2693204 h 5973007"/>
              <a:gd name="connsiteX29790" fmla="*/ 1354619 w 6884782"/>
              <a:gd name="connsiteY29790" fmla="*/ 2693049 h 5973007"/>
              <a:gd name="connsiteX29791" fmla="*/ 1356477 w 6884782"/>
              <a:gd name="connsiteY29791" fmla="*/ 2695992 h 5973007"/>
              <a:gd name="connsiteX29792" fmla="*/ 1354722 w 6884782"/>
              <a:gd name="connsiteY29792" fmla="*/ 2698006 h 5973007"/>
              <a:gd name="connsiteX29793" fmla="*/ 1354206 w 6884782"/>
              <a:gd name="connsiteY29793" fmla="*/ 2695373 h 5973007"/>
              <a:gd name="connsiteX29794" fmla="*/ 1354619 w 6884782"/>
              <a:gd name="connsiteY29794" fmla="*/ 2693049 h 5973007"/>
              <a:gd name="connsiteX29795" fmla="*/ 1032356 w 6884782"/>
              <a:gd name="connsiteY29795" fmla="*/ 2692120 h 5973007"/>
              <a:gd name="connsiteX29796" fmla="*/ 1033698 w 6884782"/>
              <a:gd name="connsiteY29796" fmla="*/ 2692430 h 5973007"/>
              <a:gd name="connsiteX29797" fmla="*/ 1031943 w 6884782"/>
              <a:gd name="connsiteY29797" fmla="*/ 2694753 h 5973007"/>
              <a:gd name="connsiteX29798" fmla="*/ 1031117 w 6884782"/>
              <a:gd name="connsiteY29798" fmla="*/ 2693824 h 5973007"/>
              <a:gd name="connsiteX29799" fmla="*/ 1031014 w 6884782"/>
              <a:gd name="connsiteY29799" fmla="*/ 2694598 h 5973007"/>
              <a:gd name="connsiteX29800" fmla="*/ 1030807 w 6884782"/>
              <a:gd name="connsiteY29800" fmla="*/ 2693514 h 5973007"/>
              <a:gd name="connsiteX29801" fmla="*/ 1031117 w 6884782"/>
              <a:gd name="connsiteY29801" fmla="*/ 2693049 h 5973007"/>
              <a:gd name="connsiteX29802" fmla="*/ 1032356 w 6884782"/>
              <a:gd name="connsiteY29802" fmla="*/ 2692120 h 5973007"/>
              <a:gd name="connsiteX29803" fmla="*/ 791356 w 6884782"/>
              <a:gd name="connsiteY29803" fmla="*/ 2691810 h 5973007"/>
              <a:gd name="connsiteX29804" fmla="*/ 792698 w 6884782"/>
              <a:gd name="connsiteY29804" fmla="*/ 2692739 h 5973007"/>
              <a:gd name="connsiteX29805" fmla="*/ 793318 w 6884782"/>
              <a:gd name="connsiteY29805" fmla="*/ 2694444 h 5973007"/>
              <a:gd name="connsiteX29806" fmla="*/ 789807 w 6884782"/>
              <a:gd name="connsiteY29806" fmla="*/ 2695063 h 5973007"/>
              <a:gd name="connsiteX29807" fmla="*/ 790117 w 6884782"/>
              <a:gd name="connsiteY29807" fmla="*/ 2693514 h 5973007"/>
              <a:gd name="connsiteX29808" fmla="*/ 789291 w 6884782"/>
              <a:gd name="connsiteY29808" fmla="*/ 2693359 h 5973007"/>
              <a:gd name="connsiteX29809" fmla="*/ 790324 w 6884782"/>
              <a:gd name="connsiteY29809" fmla="*/ 2691965 h 5973007"/>
              <a:gd name="connsiteX29810" fmla="*/ 791253 w 6884782"/>
              <a:gd name="connsiteY29810" fmla="*/ 2691965 h 5973007"/>
              <a:gd name="connsiteX29811" fmla="*/ 791356 w 6884782"/>
              <a:gd name="connsiteY29811" fmla="*/ 2691810 h 5973007"/>
              <a:gd name="connsiteX29812" fmla="*/ 1368868 w 6884782"/>
              <a:gd name="connsiteY29812" fmla="*/ 2691190 h 5973007"/>
              <a:gd name="connsiteX29813" fmla="*/ 1360194 w 6884782"/>
              <a:gd name="connsiteY29813" fmla="*/ 2707299 h 5973007"/>
              <a:gd name="connsiteX29814" fmla="*/ 1368868 w 6884782"/>
              <a:gd name="connsiteY29814" fmla="*/ 2691190 h 5973007"/>
              <a:gd name="connsiteX29815" fmla="*/ 6518693 w 6884782"/>
              <a:gd name="connsiteY29815" fmla="*/ 2691158 h 5973007"/>
              <a:gd name="connsiteX29816" fmla="*/ 6525309 w 6884782"/>
              <a:gd name="connsiteY29816" fmla="*/ 2698983 h 5973007"/>
              <a:gd name="connsiteX29817" fmla="*/ 6508662 w 6884782"/>
              <a:gd name="connsiteY29817" fmla="*/ 2709368 h 5973007"/>
              <a:gd name="connsiteX29818" fmla="*/ 6518693 w 6884782"/>
              <a:gd name="connsiteY29818" fmla="*/ 2691158 h 5973007"/>
              <a:gd name="connsiteX29819" fmla="*/ 1353276 w 6884782"/>
              <a:gd name="connsiteY29819" fmla="*/ 2690726 h 5973007"/>
              <a:gd name="connsiteX29820" fmla="*/ 1354309 w 6884782"/>
              <a:gd name="connsiteY29820" fmla="*/ 2692430 h 5973007"/>
              <a:gd name="connsiteX29821" fmla="*/ 1353586 w 6884782"/>
              <a:gd name="connsiteY29821" fmla="*/ 2692739 h 5973007"/>
              <a:gd name="connsiteX29822" fmla="*/ 1353070 w 6884782"/>
              <a:gd name="connsiteY29822" fmla="*/ 2691655 h 5973007"/>
              <a:gd name="connsiteX29823" fmla="*/ 1353276 w 6884782"/>
              <a:gd name="connsiteY29823" fmla="*/ 2690726 h 5973007"/>
              <a:gd name="connsiteX29824" fmla="*/ 885938 w 6884782"/>
              <a:gd name="connsiteY29824" fmla="*/ 2690106 h 5973007"/>
              <a:gd name="connsiteX29825" fmla="*/ 885629 w 6884782"/>
              <a:gd name="connsiteY29825" fmla="*/ 2697541 h 5973007"/>
              <a:gd name="connsiteX29826" fmla="*/ 882944 w 6884782"/>
              <a:gd name="connsiteY29826" fmla="*/ 2698471 h 5973007"/>
              <a:gd name="connsiteX29827" fmla="*/ 880053 w 6884782"/>
              <a:gd name="connsiteY29827" fmla="*/ 2693514 h 5973007"/>
              <a:gd name="connsiteX29828" fmla="*/ 881602 w 6884782"/>
              <a:gd name="connsiteY29828" fmla="*/ 2691190 h 5973007"/>
              <a:gd name="connsiteX29829" fmla="*/ 885938 w 6884782"/>
              <a:gd name="connsiteY29829" fmla="*/ 2690106 h 5973007"/>
              <a:gd name="connsiteX29830" fmla="*/ 1025851 w 6884782"/>
              <a:gd name="connsiteY29830" fmla="*/ 2689177 h 5973007"/>
              <a:gd name="connsiteX29831" fmla="*/ 1028226 w 6884782"/>
              <a:gd name="connsiteY29831" fmla="*/ 2689487 h 5973007"/>
              <a:gd name="connsiteX29832" fmla="*/ 1021927 w 6884782"/>
              <a:gd name="connsiteY29832" fmla="*/ 2694598 h 5973007"/>
              <a:gd name="connsiteX29833" fmla="*/ 1018210 w 6884782"/>
              <a:gd name="connsiteY29833" fmla="*/ 2697076 h 5973007"/>
              <a:gd name="connsiteX29834" fmla="*/ 1015835 w 6884782"/>
              <a:gd name="connsiteY29834" fmla="*/ 2696767 h 5973007"/>
              <a:gd name="connsiteX29835" fmla="*/ 1015422 w 6884782"/>
              <a:gd name="connsiteY29835" fmla="*/ 2695992 h 5973007"/>
              <a:gd name="connsiteX29836" fmla="*/ 1016661 w 6884782"/>
              <a:gd name="connsiteY29836" fmla="*/ 2694444 h 5973007"/>
              <a:gd name="connsiteX29837" fmla="*/ 1024302 w 6884782"/>
              <a:gd name="connsiteY29837" fmla="*/ 2690106 h 5973007"/>
              <a:gd name="connsiteX29838" fmla="*/ 1025851 w 6884782"/>
              <a:gd name="connsiteY29838" fmla="*/ 2689177 h 5973007"/>
              <a:gd name="connsiteX29839" fmla="*/ 1004890 w 6884782"/>
              <a:gd name="connsiteY29839" fmla="*/ 2688093 h 5973007"/>
              <a:gd name="connsiteX29840" fmla="*/ 1006955 w 6884782"/>
              <a:gd name="connsiteY29840" fmla="*/ 2689642 h 5973007"/>
              <a:gd name="connsiteX29841" fmla="*/ 1007058 w 6884782"/>
              <a:gd name="connsiteY29841" fmla="*/ 2689797 h 5973007"/>
              <a:gd name="connsiteX29842" fmla="*/ 1009433 w 6884782"/>
              <a:gd name="connsiteY29842" fmla="*/ 2691655 h 5973007"/>
              <a:gd name="connsiteX29843" fmla="*/ 1009846 w 6884782"/>
              <a:gd name="connsiteY29843" fmla="*/ 2691190 h 5973007"/>
              <a:gd name="connsiteX29844" fmla="*/ 1013770 w 6884782"/>
              <a:gd name="connsiteY29844" fmla="*/ 2694598 h 5973007"/>
              <a:gd name="connsiteX29845" fmla="*/ 1013873 w 6884782"/>
              <a:gd name="connsiteY29845" fmla="*/ 2698935 h 5973007"/>
              <a:gd name="connsiteX29846" fmla="*/ 1011189 w 6884782"/>
              <a:gd name="connsiteY29846" fmla="*/ 2698625 h 5973007"/>
              <a:gd name="connsiteX29847" fmla="*/ 1010982 w 6884782"/>
              <a:gd name="connsiteY29847" fmla="*/ 2699090 h 5973007"/>
              <a:gd name="connsiteX29848" fmla="*/ 994770 w 6884782"/>
              <a:gd name="connsiteY29848" fmla="*/ 2699864 h 5973007"/>
              <a:gd name="connsiteX29849" fmla="*/ 1004890 w 6884782"/>
              <a:gd name="connsiteY29849" fmla="*/ 2688093 h 5973007"/>
              <a:gd name="connsiteX29850" fmla="*/ 1351004 w 6884782"/>
              <a:gd name="connsiteY29850" fmla="*/ 2687008 h 5973007"/>
              <a:gd name="connsiteX29851" fmla="*/ 1352140 w 6884782"/>
              <a:gd name="connsiteY29851" fmla="*/ 2687473 h 5973007"/>
              <a:gd name="connsiteX29852" fmla="*/ 1351314 w 6884782"/>
              <a:gd name="connsiteY29852" fmla="*/ 2689022 h 5973007"/>
              <a:gd name="connsiteX29853" fmla="*/ 1351004 w 6884782"/>
              <a:gd name="connsiteY29853" fmla="*/ 2687008 h 5973007"/>
              <a:gd name="connsiteX29854" fmla="*/ 1220489 w 6884782"/>
              <a:gd name="connsiteY29854" fmla="*/ 2686699 h 5973007"/>
              <a:gd name="connsiteX29855" fmla="*/ 1230814 w 6884782"/>
              <a:gd name="connsiteY29855" fmla="*/ 2700019 h 5973007"/>
              <a:gd name="connsiteX29856" fmla="*/ 1228853 w 6884782"/>
              <a:gd name="connsiteY29856" fmla="*/ 2701568 h 5973007"/>
              <a:gd name="connsiteX29857" fmla="*/ 1216049 w 6884782"/>
              <a:gd name="connsiteY29857" fmla="*/ 2691500 h 5973007"/>
              <a:gd name="connsiteX29858" fmla="*/ 1217391 w 6884782"/>
              <a:gd name="connsiteY29858" fmla="*/ 2687628 h 5973007"/>
              <a:gd name="connsiteX29859" fmla="*/ 1220489 w 6884782"/>
              <a:gd name="connsiteY29859" fmla="*/ 2686699 h 5973007"/>
              <a:gd name="connsiteX29860" fmla="*/ 1264102 w 6884782"/>
              <a:gd name="connsiteY29860" fmla="*/ 2685169 h 5973007"/>
              <a:gd name="connsiteX29861" fmla="*/ 1266541 w 6884782"/>
              <a:gd name="connsiteY29861" fmla="*/ 2685769 h 5973007"/>
              <a:gd name="connsiteX29862" fmla="*/ 1272220 w 6884782"/>
              <a:gd name="connsiteY29862" fmla="*/ 2697851 h 5973007"/>
              <a:gd name="connsiteX29863" fmla="*/ 1270362 w 6884782"/>
              <a:gd name="connsiteY29863" fmla="*/ 2703582 h 5973007"/>
              <a:gd name="connsiteX29864" fmla="*/ 1264579 w 6884782"/>
              <a:gd name="connsiteY29864" fmla="*/ 2704047 h 5973007"/>
              <a:gd name="connsiteX29865" fmla="*/ 1259933 w 6884782"/>
              <a:gd name="connsiteY29865" fmla="*/ 2701878 h 5973007"/>
              <a:gd name="connsiteX29866" fmla="*/ 1261275 w 6884782"/>
              <a:gd name="connsiteY29866" fmla="*/ 2704202 h 5973007"/>
              <a:gd name="connsiteX29867" fmla="*/ 1262824 w 6884782"/>
              <a:gd name="connsiteY29867" fmla="*/ 2710552 h 5973007"/>
              <a:gd name="connsiteX29868" fmla="*/ 1250433 w 6884782"/>
              <a:gd name="connsiteY29868" fmla="*/ 2691190 h 5973007"/>
              <a:gd name="connsiteX29869" fmla="*/ 1255493 w 6884782"/>
              <a:gd name="connsiteY29869" fmla="*/ 2696302 h 5973007"/>
              <a:gd name="connsiteX29870" fmla="*/ 1255183 w 6884782"/>
              <a:gd name="connsiteY29870" fmla="*/ 2694598 h 5973007"/>
              <a:gd name="connsiteX29871" fmla="*/ 1258797 w 6884782"/>
              <a:gd name="connsiteY29871" fmla="*/ 2687938 h 5973007"/>
              <a:gd name="connsiteX29872" fmla="*/ 1264102 w 6884782"/>
              <a:gd name="connsiteY29872" fmla="*/ 2685169 h 5973007"/>
              <a:gd name="connsiteX29873" fmla="*/ 954294 w 6884782"/>
              <a:gd name="connsiteY29873" fmla="*/ 2685150 h 5973007"/>
              <a:gd name="connsiteX29874" fmla="*/ 955533 w 6884782"/>
              <a:gd name="connsiteY29874" fmla="*/ 2687163 h 5973007"/>
              <a:gd name="connsiteX29875" fmla="*/ 954294 w 6884782"/>
              <a:gd name="connsiteY29875" fmla="*/ 2689951 h 5973007"/>
              <a:gd name="connsiteX29876" fmla="*/ 956876 w 6884782"/>
              <a:gd name="connsiteY29876" fmla="*/ 2690261 h 5973007"/>
              <a:gd name="connsiteX29877" fmla="*/ 968027 w 6884782"/>
              <a:gd name="connsiteY29877" fmla="*/ 2720466 h 5973007"/>
              <a:gd name="connsiteX29878" fmla="*/ 962968 w 6884782"/>
              <a:gd name="connsiteY29878" fmla="*/ 2724803 h 5973007"/>
              <a:gd name="connsiteX29879" fmla="*/ 964310 w 6884782"/>
              <a:gd name="connsiteY29879" fmla="*/ 2726197 h 5973007"/>
              <a:gd name="connsiteX29880" fmla="*/ 965136 w 6884782"/>
              <a:gd name="connsiteY29880" fmla="*/ 2730379 h 5973007"/>
              <a:gd name="connsiteX29881" fmla="*/ 957289 w 6884782"/>
              <a:gd name="connsiteY29881" fmla="*/ 2731464 h 5973007"/>
              <a:gd name="connsiteX29882" fmla="*/ 954501 w 6884782"/>
              <a:gd name="connsiteY29882" fmla="*/ 2728365 h 5973007"/>
              <a:gd name="connsiteX29883" fmla="*/ 952229 w 6884782"/>
              <a:gd name="connsiteY29883" fmla="*/ 2725422 h 5973007"/>
              <a:gd name="connsiteX29884" fmla="*/ 946343 w 6884782"/>
              <a:gd name="connsiteY29884" fmla="*/ 2723874 h 5973007"/>
              <a:gd name="connsiteX29885" fmla="*/ 926622 w 6884782"/>
              <a:gd name="connsiteY29885" fmla="*/ 2699245 h 5973007"/>
              <a:gd name="connsiteX29886" fmla="*/ 948822 w 6884782"/>
              <a:gd name="connsiteY29886" fmla="*/ 2690416 h 5973007"/>
              <a:gd name="connsiteX29887" fmla="*/ 951196 w 6884782"/>
              <a:gd name="connsiteY29887" fmla="*/ 2689951 h 5973007"/>
              <a:gd name="connsiteX29888" fmla="*/ 952436 w 6884782"/>
              <a:gd name="connsiteY29888" fmla="*/ 2686234 h 5973007"/>
              <a:gd name="connsiteX29889" fmla="*/ 954294 w 6884782"/>
              <a:gd name="connsiteY29889" fmla="*/ 2685150 h 5973007"/>
              <a:gd name="connsiteX29890" fmla="*/ 1127765 w 6884782"/>
              <a:gd name="connsiteY29890" fmla="*/ 2684220 h 5973007"/>
              <a:gd name="connsiteX29891" fmla="*/ 1129830 w 6884782"/>
              <a:gd name="connsiteY29891" fmla="*/ 2684530 h 5973007"/>
              <a:gd name="connsiteX29892" fmla="*/ 1130346 w 6884782"/>
              <a:gd name="connsiteY29892" fmla="*/ 2685304 h 5973007"/>
              <a:gd name="connsiteX29893" fmla="*/ 1132204 w 6884782"/>
              <a:gd name="connsiteY29893" fmla="*/ 2688093 h 5973007"/>
              <a:gd name="connsiteX29894" fmla="*/ 1129417 w 6884782"/>
              <a:gd name="connsiteY29894" fmla="*/ 2691500 h 5973007"/>
              <a:gd name="connsiteX29895" fmla="*/ 1125183 w 6884782"/>
              <a:gd name="connsiteY29895" fmla="*/ 2687938 h 5973007"/>
              <a:gd name="connsiteX29896" fmla="*/ 1127765 w 6884782"/>
              <a:gd name="connsiteY29896" fmla="*/ 2684220 h 5973007"/>
              <a:gd name="connsiteX29897" fmla="*/ 726511 w 6884782"/>
              <a:gd name="connsiteY29897" fmla="*/ 2683446 h 5973007"/>
              <a:gd name="connsiteX29898" fmla="*/ 731674 w 6884782"/>
              <a:gd name="connsiteY29898" fmla="*/ 2683911 h 5973007"/>
              <a:gd name="connsiteX29899" fmla="*/ 731570 w 6884782"/>
              <a:gd name="connsiteY29899" fmla="*/ 2691345 h 5973007"/>
              <a:gd name="connsiteX29900" fmla="*/ 725582 w 6884782"/>
              <a:gd name="connsiteY29900" fmla="*/ 2689951 h 5973007"/>
              <a:gd name="connsiteX29901" fmla="*/ 724239 w 6884782"/>
              <a:gd name="connsiteY29901" fmla="*/ 2687628 h 5973007"/>
              <a:gd name="connsiteX29902" fmla="*/ 724859 w 6884782"/>
              <a:gd name="connsiteY29902" fmla="*/ 2684840 h 5973007"/>
              <a:gd name="connsiteX29903" fmla="*/ 726511 w 6884782"/>
              <a:gd name="connsiteY29903" fmla="*/ 2683446 h 5973007"/>
              <a:gd name="connsiteX29904" fmla="*/ 666416 w 6884782"/>
              <a:gd name="connsiteY29904" fmla="*/ 2683136 h 5973007"/>
              <a:gd name="connsiteX29905" fmla="*/ 666622 w 6884782"/>
              <a:gd name="connsiteY29905" fmla="*/ 2690726 h 5973007"/>
              <a:gd name="connsiteX29906" fmla="*/ 666519 w 6884782"/>
              <a:gd name="connsiteY29906" fmla="*/ 2690726 h 5973007"/>
              <a:gd name="connsiteX29907" fmla="*/ 667345 w 6884782"/>
              <a:gd name="connsiteY29907" fmla="*/ 2691190 h 5973007"/>
              <a:gd name="connsiteX29908" fmla="*/ 669307 w 6884782"/>
              <a:gd name="connsiteY29908" fmla="*/ 2694134 h 5973007"/>
              <a:gd name="connsiteX29909" fmla="*/ 665487 w 6884782"/>
              <a:gd name="connsiteY29909" fmla="*/ 2696767 h 5973007"/>
              <a:gd name="connsiteX29910" fmla="*/ 662079 w 6884782"/>
              <a:gd name="connsiteY29910" fmla="*/ 2695837 h 5973007"/>
              <a:gd name="connsiteX29911" fmla="*/ 662183 w 6884782"/>
              <a:gd name="connsiteY29911" fmla="*/ 2696457 h 5973007"/>
              <a:gd name="connsiteX29912" fmla="*/ 661563 w 6884782"/>
              <a:gd name="connsiteY29912" fmla="*/ 2696147 h 5973007"/>
              <a:gd name="connsiteX29913" fmla="*/ 660530 w 6884782"/>
              <a:gd name="connsiteY29913" fmla="*/ 2699400 h 5973007"/>
              <a:gd name="connsiteX29914" fmla="*/ 656710 w 6884782"/>
              <a:gd name="connsiteY29914" fmla="*/ 2696921 h 5973007"/>
              <a:gd name="connsiteX29915" fmla="*/ 659291 w 6884782"/>
              <a:gd name="connsiteY29915" fmla="*/ 2694598 h 5973007"/>
              <a:gd name="connsiteX29916" fmla="*/ 660634 w 6884782"/>
              <a:gd name="connsiteY29916" fmla="*/ 2695063 h 5973007"/>
              <a:gd name="connsiteX29917" fmla="*/ 661976 w 6884782"/>
              <a:gd name="connsiteY29917" fmla="*/ 2695373 h 5973007"/>
              <a:gd name="connsiteX29918" fmla="*/ 662698 w 6884782"/>
              <a:gd name="connsiteY29918" fmla="*/ 2693978 h 5973007"/>
              <a:gd name="connsiteX29919" fmla="*/ 662905 w 6884782"/>
              <a:gd name="connsiteY29919" fmla="*/ 2691810 h 5973007"/>
              <a:gd name="connsiteX29920" fmla="*/ 663731 w 6884782"/>
              <a:gd name="connsiteY29920" fmla="*/ 2691035 h 5973007"/>
              <a:gd name="connsiteX29921" fmla="*/ 662389 w 6884782"/>
              <a:gd name="connsiteY29921" fmla="*/ 2688712 h 5973007"/>
              <a:gd name="connsiteX29922" fmla="*/ 666416 w 6884782"/>
              <a:gd name="connsiteY29922" fmla="*/ 2683136 h 5973007"/>
              <a:gd name="connsiteX29923" fmla="*/ 749228 w 6884782"/>
              <a:gd name="connsiteY29923" fmla="*/ 2682671 h 5973007"/>
              <a:gd name="connsiteX29924" fmla="*/ 739212 w 6884782"/>
              <a:gd name="connsiteY29924" fmla="*/ 2704357 h 5973007"/>
              <a:gd name="connsiteX29925" fmla="*/ 743962 w 6884782"/>
              <a:gd name="connsiteY29925" fmla="*/ 2684840 h 5973007"/>
              <a:gd name="connsiteX29926" fmla="*/ 749228 w 6884782"/>
              <a:gd name="connsiteY29926" fmla="*/ 2682671 h 5973007"/>
              <a:gd name="connsiteX29927" fmla="*/ 967304 w 6884782"/>
              <a:gd name="connsiteY29927" fmla="*/ 2680657 h 5973007"/>
              <a:gd name="connsiteX29928" fmla="*/ 969369 w 6884782"/>
              <a:gd name="connsiteY29928" fmla="*/ 2693049 h 5973007"/>
              <a:gd name="connsiteX29929" fmla="*/ 962658 w 6884782"/>
              <a:gd name="connsiteY29929" fmla="*/ 2688247 h 5973007"/>
              <a:gd name="connsiteX29930" fmla="*/ 967304 w 6884782"/>
              <a:gd name="connsiteY29930" fmla="*/ 2680657 h 5973007"/>
              <a:gd name="connsiteX29931" fmla="*/ 813233 w 6884782"/>
              <a:gd name="connsiteY29931" fmla="*/ 2680580 h 5973007"/>
              <a:gd name="connsiteX29932" fmla="*/ 819545 w 6884782"/>
              <a:gd name="connsiteY29932" fmla="*/ 2686699 h 5973007"/>
              <a:gd name="connsiteX29933" fmla="*/ 816654 w 6884782"/>
              <a:gd name="connsiteY29933" fmla="*/ 2688712 h 5973007"/>
              <a:gd name="connsiteX29934" fmla="*/ 804986 w 6884782"/>
              <a:gd name="connsiteY29934" fmla="*/ 2680967 h 5973007"/>
              <a:gd name="connsiteX29935" fmla="*/ 813233 w 6884782"/>
              <a:gd name="connsiteY29935" fmla="*/ 2680580 h 5973007"/>
              <a:gd name="connsiteX29936" fmla="*/ 909184 w 6884782"/>
              <a:gd name="connsiteY29936" fmla="*/ 2680232 h 5973007"/>
              <a:gd name="connsiteX29937" fmla="*/ 913921 w 6884782"/>
              <a:gd name="connsiteY29937" fmla="*/ 2680348 h 5973007"/>
              <a:gd name="connsiteX29938" fmla="*/ 905764 w 6884782"/>
              <a:gd name="connsiteY29938" fmla="*/ 2686543 h 5973007"/>
              <a:gd name="connsiteX29939" fmla="*/ 905454 w 6884782"/>
              <a:gd name="connsiteY29939" fmla="*/ 2684065 h 5973007"/>
              <a:gd name="connsiteX29940" fmla="*/ 909184 w 6884782"/>
              <a:gd name="connsiteY29940" fmla="*/ 2680232 h 5973007"/>
              <a:gd name="connsiteX29941" fmla="*/ 934160 w 6884782"/>
              <a:gd name="connsiteY29941" fmla="*/ 2678954 h 5973007"/>
              <a:gd name="connsiteX29942" fmla="*/ 936224 w 6884782"/>
              <a:gd name="connsiteY29942" fmla="*/ 2680348 h 5973007"/>
              <a:gd name="connsiteX29943" fmla="*/ 935605 w 6884782"/>
              <a:gd name="connsiteY29943" fmla="*/ 2682826 h 5973007"/>
              <a:gd name="connsiteX29944" fmla="*/ 935708 w 6884782"/>
              <a:gd name="connsiteY29944" fmla="*/ 2684685 h 5973007"/>
              <a:gd name="connsiteX29945" fmla="*/ 933436 w 6884782"/>
              <a:gd name="connsiteY29945" fmla="*/ 2686234 h 5973007"/>
              <a:gd name="connsiteX29946" fmla="*/ 933333 w 6884782"/>
              <a:gd name="connsiteY29946" fmla="*/ 2684375 h 5973007"/>
              <a:gd name="connsiteX29947" fmla="*/ 934160 w 6884782"/>
              <a:gd name="connsiteY29947" fmla="*/ 2678954 h 5973007"/>
              <a:gd name="connsiteX29948" fmla="*/ 718767 w 6884782"/>
              <a:gd name="connsiteY29948" fmla="*/ 2678334 h 5973007"/>
              <a:gd name="connsiteX29949" fmla="*/ 714224 w 6884782"/>
              <a:gd name="connsiteY29949" fmla="*/ 2683755 h 5973007"/>
              <a:gd name="connsiteX29950" fmla="*/ 715050 w 6884782"/>
              <a:gd name="connsiteY29950" fmla="*/ 2679728 h 5973007"/>
              <a:gd name="connsiteX29951" fmla="*/ 718767 w 6884782"/>
              <a:gd name="connsiteY29951" fmla="*/ 2678334 h 5973007"/>
              <a:gd name="connsiteX29952" fmla="*/ 890688 w 6884782"/>
              <a:gd name="connsiteY29952" fmla="*/ 2675701 h 5973007"/>
              <a:gd name="connsiteX29953" fmla="*/ 891515 w 6884782"/>
              <a:gd name="connsiteY29953" fmla="*/ 2676320 h 5973007"/>
              <a:gd name="connsiteX29954" fmla="*/ 893889 w 6884782"/>
              <a:gd name="connsiteY29954" fmla="*/ 2676320 h 5973007"/>
              <a:gd name="connsiteX29955" fmla="*/ 895232 w 6884782"/>
              <a:gd name="connsiteY29955" fmla="*/ 2679573 h 5973007"/>
              <a:gd name="connsiteX29956" fmla="*/ 891825 w 6884782"/>
              <a:gd name="connsiteY29956" fmla="*/ 2683755 h 5973007"/>
              <a:gd name="connsiteX29957" fmla="*/ 887901 w 6884782"/>
              <a:gd name="connsiteY29957" fmla="*/ 2684065 h 5973007"/>
              <a:gd name="connsiteX29958" fmla="*/ 889036 w 6884782"/>
              <a:gd name="connsiteY29958" fmla="*/ 2685459 h 5973007"/>
              <a:gd name="connsiteX29959" fmla="*/ 885629 w 6884782"/>
              <a:gd name="connsiteY29959" fmla="*/ 2689487 h 5973007"/>
              <a:gd name="connsiteX29960" fmla="*/ 884390 w 6884782"/>
              <a:gd name="connsiteY29960" fmla="*/ 2685924 h 5973007"/>
              <a:gd name="connsiteX29961" fmla="*/ 885938 w 6884782"/>
              <a:gd name="connsiteY29961" fmla="*/ 2684220 h 5973007"/>
              <a:gd name="connsiteX29962" fmla="*/ 885319 w 6884782"/>
              <a:gd name="connsiteY29962" fmla="*/ 2684375 h 5973007"/>
              <a:gd name="connsiteX29963" fmla="*/ 883667 w 6884782"/>
              <a:gd name="connsiteY29963" fmla="*/ 2679418 h 5973007"/>
              <a:gd name="connsiteX29964" fmla="*/ 881396 w 6884782"/>
              <a:gd name="connsiteY29964" fmla="*/ 2678179 h 5973007"/>
              <a:gd name="connsiteX29965" fmla="*/ 890688 w 6884782"/>
              <a:gd name="connsiteY29965" fmla="*/ 2675701 h 5973007"/>
              <a:gd name="connsiteX29966" fmla="*/ 927551 w 6884782"/>
              <a:gd name="connsiteY29966" fmla="*/ 2675546 h 5973007"/>
              <a:gd name="connsiteX29967" fmla="*/ 928790 w 6884782"/>
              <a:gd name="connsiteY29967" fmla="*/ 2680657 h 5973007"/>
              <a:gd name="connsiteX29968" fmla="*/ 927138 w 6884782"/>
              <a:gd name="connsiteY29968" fmla="*/ 2682826 h 5973007"/>
              <a:gd name="connsiteX29969" fmla="*/ 925692 w 6884782"/>
              <a:gd name="connsiteY29969" fmla="*/ 2680812 h 5973007"/>
              <a:gd name="connsiteX29970" fmla="*/ 926725 w 6884782"/>
              <a:gd name="connsiteY29970" fmla="*/ 2679108 h 5973007"/>
              <a:gd name="connsiteX29971" fmla="*/ 926105 w 6884782"/>
              <a:gd name="connsiteY29971" fmla="*/ 2676475 h 5973007"/>
              <a:gd name="connsiteX29972" fmla="*/ 927551 w 6884782"/>
              <a:gd name="connsiteY29972" fmla="*/ 2675546 h 5973007"/>
              <a:gd name="connsiteX29973" fmla="*/ 1091419 w 6884782"/>
              <a:gd name="connsiteY29973" fmla="*/ 2675082 h 5973007"/>
              <a:gd name="connsiteX29974" fmla="*/ 1093484 w 6884782"/>
              <a:gd name="connsiteY29974" fmla="*/ 2675391 h 5973007"/>
              <a:gd name="connsiteX29975" fmla="*/ 1091728 w 6884782"/>
              <a:gd name="connsiteY29975" fmla="*/ 2675856 h 5973007"/>
              <a:gd name="connsiteX29976" fmla="*/ 1091419 w 6884782"/>
              <a:gd name="connsiteY29976" fmla="*/ 2675082 h 5973007"/>
              <a:gd name="connsiteX29977" fmla="*/ 1441457 w 6884782"/>
              <a:gd name="connsiteY29977" fmla="*/ 2674926 h 5973007"/>
              <a:gd name="connsiteX29978" fmla="*/ 1447136 w 6884782"/>
              <a:gd name="connsiteY29978" fmla="*/ 2675546 h 5973007"/>
              <a:gd name="connsiteX29979" fmla="*/ 1443212 w 6884782"/>
              <a:gd name="connsiteY29979" fmla="*/ 2681122 h 5973007"/>
              <a:gd name="connsiteX29980" fmla="*/ 1440528 w 6884782"/>
              <a:gd name="connsiteY29980" fmla="*/ 2678954 h 5973007"/>
              <a:gd name="connsiteX29981" fmla="*/ 1441457 w 6884782"/>
              <a:gd name="connsiteY29981" fmla="*/ 2674926 h 5973007"/>
              <a:gd name="connsiteX29982" fmla="*/ 1171132 w 6884782"/>
              <a:gd name="connsiteY29982" fmla="*/ 2674926 h 5973007"/>
              <a:gd name="connsiteX29983" fmla="*/ 1178773 w 6884782"/>
              <a:gd name="connsiteY29983" fmla="*/ 2680193 h 5973007"/>
              <a:gd name="connsiteX29984" fmla="*/ 1180219 w 6884782"/>
              <a:gd name="connsiteY29984" fmla="*/ 2683911 h 5973007"/>
              <a:gd name="connsiteX29985" fmla="*/ 1180529 w 6884782"/>
              <a:gd name="connsiteY29985" fmla="*/ 2682361 h 5973007"/>
              <a:gd name="connsiteX29986" fmla="*/ 1181768 w 6884782"/>
              <a:gd name="connsiteY29986" fmla="*/ 2680193 h 5973007"/>
              <a:gd name="connsiteX29987" fmla="*/ 1181045 w 6884782"/>
              <a:gd name="connsiteY29987" fmla="*/ 2682361 h 5973007"/>
              <a:gd name="connsiteX29988" fmla="*/ 1181768 w 6884782"/>
              <a:gd name="connsiteY29988" fmla="*/ 2684065 h 5973007"/>
              <a:gd name="connsiteX29989" fmla="*/ 1181251 w 6884782"/>
              <a:gd name="connsiteY29989" fmla="*/ 2684995 h 5973007"/>
              <a:gd name="connsiteX29990" fmla="*/ 1180735 w 6884782"/>
              <a:gd name="connsiteY29990" fmla="*/ 2685304 h 5973007"/>
              <a:gd name="connsiteX29991" fmla="*/ 1180735 w 6884782"/>
              <a:gd name="connsiteY29991" fmla="*/ 2690416 h 5973007"/>
              <a:gd name="connsiteX29992" fmla="*/ 1179393 w 6884782"/>
              <a:gd name="connsiteY29992" fmla="*/ 2695682 h 5973007"/>
              <a:gd name="connsiteX29993" fmla="*/ 1178876 w 6884782"/>
              <a:gd name="connsiteY29993" fmla="*/ 2697696 h 5973007"/>
              <a:gd name="connsiteX29994" fmla="*/ 1175572 w 6884782"/>
              <a:gd name="connsiteY29994" fmla="*/ 2703273 h 5973007"/>
              <a:gd name="connsiteX29995" fmla="*/ 1175985 w 6884782"/>
              <a:gd name="connsiteY29995" fmla="*/ 2702963 h 5973007"/>
              <a:gd name="connsiteX29996" fmla="*/ 1181974 w 6884782"/>
              <a:gd name="connsiteY29996" fmla="*/ 2704977 h 5973007"/>
              <a:gd name="connsiteX29997" fmla="*/ 1182387 w 6884782"/>
              <a:gd name="connsiteY29997" fmla="*/ 2706680 h 5973007"/>
              <a:gd name="connsiteX29998" fmla="*/ 1184659 w 6884782"/>
              <a:gd name="connsiteY29998" fmla="*/ 2705441 h 5973007"/>
              <a:gd name="connsiteX29999" fmla="*/ 1184762 w 6884782"/>
              <a:gd name="connsiteY29999" fmla="*/ 2705441 h 5973007"/>
              <a:gd name="connsiteX30000" fmla="*/ 1185382 w 6884782"/>
              <a:gd name="connsiteY30000" fmla="*/ 2698316 h 5973007"/>
              <a:gd name="connsiteX30001" fmla="*/ 1186518 w 6884782"/>
              <a:gd name="connsiteY30001" fmla="*/ 2696612 h 5973007"/>
              <a:gd name="connsiteX30002" fmla="*/ 1186414 w 6884782"/>
              <a:gd name="connsiteY30002" fmla="*/ 2694753 h 5973007"/>
              <a:gd name="connsiteX30003" fmla="*/ 1187447 w 6884782"/>
              <a:gd name="connsiteY30003" fmla="*/ 2695373 h 5973007"/>
              <a:gd name="connsiteX30004" fmla="*/ 1187550 w 6884782"/>
              <a:gd name="connsiteY30004" fmla="*/ 2695063 h 5973007"/>
              <a:gd name="connsiteX30005" fmla="*/ 1187860 w 6884782"/>
              <a:gd name="connsiteY30005" fmla="*/ 2695528 h 5973007"/>
              <a:gd name="connsiteX30006" fmla="*/ 1188273 w 6884782"/>
              <a:gd name="connsiteY30006" fmla="*/ 2695218 h 5973007"/>
              <a:gd name="connsiteX30007" fmla="*/ 1190338 w 6884782"/>
              <a:gd name="connsiteY30007" fmla="*/ 2695063 h 5973007"/>
              <a:gd name="connsiteX30008" fmla="*/ 1191990 w 6884782"/>
              <a:gd name="connsiteY30008" fmla="*/ 2698935 h 5973007"/>
              <a:gd name="connsiteX30009" fmla="*/ 1188892 w 6884782"/>
              <a:gd name="connsiteY30009" fmla="*/ 2702498 h 5973007"/>
              <a:gd name="connsiteX30010" fmla="*/ 1187343 w 6884782"/>
              <a:gd name="connsiteY30010" fmla="*/ 2705286 h 5973007"/>
              <a:gd name="connsiteX30011" fmla="*/ 1185278 w 6884782"/>
              <a:gd name="connsiteY30011" fmla="*/ 2705441 h 5973007"/>
              <a:gd name="connsiteX30012" fmla="*/ 1186724 w 6884782"/>
              <a:gd name="connsiteY30012" fmla="*/ 2705596 h 5973007"/>
              <a:gd name="connsiteX30013" fmla="*/ 1188066 w 6884782"/>
              <a:gd name="connsiteY30013" fmla="*/ 2706680 h 5973007"/>
              <a:gd name="connsiteX30014" fmla="*/ 1187963 w 6884782"/>
              <a:gd name="connsiteY30014" fmla="*/ 2708539 h 5973007"/>
              <a:gd name="connsiteX30015" fmla="*/ 1186207 w 6884782"/>
              <a:gd name="connsiteY30015" fmla="*/ 2711327 h 5973007"/>
              <a:gd name="connsiteX30016" fmla="*/ 1183833 w 6884782"/>
              <a:gd name="connsiteY30016" fmla="*/ 2711792 h 5973007"/>
              <a:gd name="connsiteX30017" fmla="*/ 1183213 w 6884782"/>
              <a:gd name="connsiteY30017" fmla="*/ 2711017 h 5973007"/>
              <a:gd name="connsiteX30018" fmla="*/ 1182284 w 6884782"/>
              <a:gd name="connsiteY30018" fmla="*/ 2711637 h 5973007"/>
              <a:gd name="connsiteX30019" fmla="*/ 1178567 w 6884782"/>
              <a:gd name="connsiteY30019" fmla="*/ 2713031 h 5973007"/>
              <a:gd name="connsiteX30020" fmla="*/ 1182077 w 6884782"/>
              <a:gd name="connsiteY30020" fmla="*/ 2710243 h 5973007"/>
              <a:gd name="connsiteX30021" fmla="*/ 1177740 w 6884782"/>
              <a:gd name="connsiteY30021" fmla="*/ 2711327 h 5973007"/>
              <a:gd name="connsiteX30022" fmla="*/ 1172681 w 6884782"/>
              <a:gd name="connsiteY30022" fmla="*/ 2709933 h 5973007"/>
              <a:gd name="connsiteX30023" fmla="*/ 1173404 w 6884782"/>
              <a:gd name="connsiteY30023" fmla="*/ 2705906 h 5973007"/>
              <a:gd name="connsiteX30024" fmla="*/ 1172991 w 6884782"/>
              <a:gd name="connsiteY30024" fmla="*/ 2706215 h 5973007"/>
              <a:gd name="connsiteX30025" fmla="*/ 1163904 w 6884782"/>
              <a:gd name="connsiteY30025" fmla="*/ 2691190 h 5973007"/>
              <a:gd name="connsiteX30026" fmla="*/ 1164214 w 6884782"/>
              <a:gd name="connsiteY30026" fmla="*/ 2689022 h 5973007"/>
              <a:gd name="connsiteX30027" fmla="*/ 1163388 w 6884782"/>
              <a:gd name="connsiteY30027" fmla="*/ 2688557 h 5973007"/>
              <a:gd name="connsiteX30028" fmla="*/ 1161633 w 6884782"/>
              <a:gd name="connsiteY30028" fmla="*/ 2687008 h 5973007"/>
              <a:gd name="connsiteX30029" fmla="*/ 1160084 w 6884782"/>
              <a:gd name="connsiteY30029" fmla="*/ 2685459 h 5973007"/>
              <a:gd name="connsiteX30030" fmla="*/ 1158329 w 6884782"/>
              <a:gd name="connsiteY30030" fmla="*/ 2684685 h 5973007"/>
              <a:gd name="connsiteX30031" fmla="*/ 1156780 w 6884782"/>
              <a:gd name="connsiteY30031" fmla="*/ 2681587 h 5973007"/>
              <a:gd name="connsiteX30032" fmla="*/ 1158432 w 6884782"/>
              <a:gd name="connsiteY30032" fmla="*/ 2682361 h 5973007"/>
              <a:gd name="connsiteX30033" fmla="*/ 1160084 w 6884782"/>
              <a:gd name="connsiteY30033" fmla="*/ 2683911 h 5973007"/>
              <a:gd name="connsiteX30034" fmla="*/ 1161839 w 6884782"/>
              <a:gd name="connsiteY30034" fmla="*/ 2683755 h 5973007"/>
              <a:gd name="connsiteX30035" fmla="*/ 1164627 w 6884782"/>
              <a:gd name="connsiteY30035" fmla="*/ 2685769 h 5973007"/>
              <a:gd name="connsiteX30036" fmla="*/ 1164730 w 6884782"/>
              <a:gd name="connsiteY30036" fmla="*/ 2685150 h 5973007"/>
              <a:gd name="connsiteX30037" fmla="*/ 1168448 w 6884782"/>
              <a:gd name="connsiteY30037" fmla="*/ 2675546 h 5973007"/>
              <a:gd name="connsiteX30038" fmla="*/ 1171132 w 6884782"/>
              <a:gd name="connsiteY30038" fmla="*/ 2674926 h 5973007"/>
              <a:gd name="connsiteX30039" fmla="*/ 829870 w 6884782"/>
              <a:gd name="connsiteY30039" fmla="*/ 2674849 h 5973007"/>
              <a:gd name="connsiteX30040" fmla="*/ 835962 w 6884782"/>
              <a:gd name="connsiteY30040" fmla="*/ 2675082 h 5973007"/>
              <a:gd name="connsiteX30041" fmla="*/ 837305 w 6884782"/>
              <a:gd name="connsiteY30041" fmla="*/ 2676630 h 5973007"/>
              <a:gd name="connsiteX30042" fmla="*/ 840403 w 6884782"/>
              <a:gd name="connsiteY30042" fmla="*/ 2676320 h 5973007"/>
              <a:gd name="connsiteX30043" fmla="*/ 844636 w 6884782"/>
              <a:gd name="connsiteY30043" fmla="*/ 2677250 h 5973007"/>
              <a:gd name="connsiteX30044" fmla="*/ 844327 w 6884782"/>
              <a:gd name="connsiteY30044" fmla="*/ 2685615 h 5973007"/>
              <a:gd name="connsiteX30045" fmla="*/ 840196 w 6884782"/>
              <a:gd name="connsiteY30045" fmla="*/ 2688867 h 5973007"/>
              <a:gd name="connsiteX30046" fmla="*/ 838544 w 6884782"/>
              <a:gd name="connsiteY30046" fmla="*/ 2689022 h 5973007"/>
              <a:gd name="connsiteX30047" fmla="*/ 838544 w 6884782"/>
              <a:gd name="connsiteY30047" fmla="*/ 2689177 h 5973007"/>
              <a:gd name="connsiteX30048" fmla="*/ 832865 w 6884782"/>
              <a:gd name="connsiteY30048" fmla="*/ 2697696 h 5973007"/>
              <a:gd name="connsiteX30049" fmla="*/ 826979 w 6884782"/>
              <a:gd name="connsiteY30049" fmla="*/ 2692739 h 5973007"/>
              <a:gd name="connsiteX30050" fmla="*/ 829561 w 6884782"/>
              <a:gd name="connsiteY30050" fmla="*/ 2687318 h 5973007"/>
              <a:gd name="connsiteX30051" fmla="*/ 828218 w 6884782"/>
              <a:gd name="connsiteY30051" fmla="*/ 2684995 h 5973007"/>
              <a:gd name="connsiteX30052" fmla="*/ 824604 w 6884782"/>
              <a:gd name="connsiteY30052" fmla="*/ 2682516 h 5973007"/>
              <a:gd name="connsiteX30053" fmla="*/ 824398 w 6884782"/>
              <a:gd name="connsiteY30053" fmla="*/ 2677405 h 5973007"/>
              <a:gd name="connsiteX30054" fmla="*/ 829870 w 6884782"/>
              <a:gd name="connsiteY30054" fmla="*/ 2674849 h 5973007"/>
              <a:gd name="connsiteX30055" fmla="*/ 1086049 w 6884782"/>
              <a:gd name="connsiteY30055" fmla="*/ 2674617 h 5973007"/>
              <a:gd name="connsiteX30056" fmla="*/ 1091109 w 6884782"/>
              <a:gd name="connsiteY30056" fmla="*/ 2676010 h 5973007"/>
              <a:gd name="connsiteX30057" fmla="*/ 1087701 w 6884782"/>
              <a:gd name="connsiteY30057" fmla="*/ 2676785 h 5973007"/>
              <a:gd name="connsiteX30058" fmla="*/ 1086049 w 6884782"/>
              <a:gd name="connsiteY30058" fmla="*/ 2674617 h 5973007"/>
              <a:gd name="connsiteX30059" fmla="*/ 870863 w 6884782"/>
              <a:gd name="connsiteY30059" fmla="*/ 2674462 h 5973007"/>
              <a:gd name="connsiteX30060" fmla="*/ 876336 w 6884782"/>
              <a:gd name="connsiteY30060" fmla="*/ 2682981 h 5973007"/>
              <a:gd name="connsiteX30061" fmla="*/ 873755 w 6884782"/>
              <a:gd name="connsiteY30061" fmla="*/ 2682981 h 5973007"/>
              <a:gd name="connsiteX30062" fmla="*/ 869727 w 6884782"/>
              <a:gd name="connsiteY30062" fmla="*/ 2676475 h 5973007"/>
              <a:gd name="connsiteX30063" fmla="*/ 870863 w 6884782"/>
              <a:gd name="connsiteY30063" fmla="*/ 2674462 h 5973007"/>
              <a:gd name="connsiteX30064" fmla="*/ 1095652 w 6884782"/>
              <a:gd name="connsiteY30064" fmla="*/ 2673997 h 5973007"/>
              <a:gd name="connsiteX30065" fmla="*/ 1097717 w 6884782"/>
              <a:gd name="connsiteY30065" fmla="*/ 2674307 h 5973007"/>
              <a:gd name="connsiteX30066" fmla="*/ 1096994 w 6884782"/>
              <a:gd name="connsiteY30066" fmla="*/ 2675236 h 5973007"/>
              <a:gd name="connsiteX30067" fmla="*/ 1095652 w 6884782"/>
              <a:gd name="connsiteY30067" fmla="*/ 2673997 h 5973007"/>
              <a:gd name="connsiteX30068" fmla="*/ 1207892 w 6884782"/>
              <a:gd name="connsiteY30068" fmla="*/ 2673222 h 5973007"/>
              <a:gd name="connsiteX30069" fmla="*/ 1212641 w 6884782"/>
              <a:gd name="connsiteY30069" fmla="*/ 2676010 h 5973007"/>
              <a:gd name="connsiteX30070" fmla="*/ 1207788 w 6884782"/>
              <a:gd name="connsiteY30070" fmla="*/ 2676630 h 5973007"/>
              <a:gd name="connsiteX30071" fmla="*/ 1207892 w 6884782"/>
              <a:gd name="connsiteY30071" fmla="*/ 2673222 h 5973007"/>
              <a:gd name="connsiteX30072" fmla="*/ 765955 w 6884782"/>
              <a:gd name="connsiteY30072" fmla="*/ 2672293 h 5973007"/>
              <a:gd name="connsiteX30073" fmla="*/ 777829 w 6884782"/>
              <a:gd name="connsiteY30073" fmla="*/ 2681277 h 5973007"/>
              <a:gd name="connsiteX30074" fmla="*/ 771634 w 6884782"/>
              <a:gd name="connsiteY30074" fmla="*/ 2684530 h 5973007"/>
              <a:gd name="connsiteX30075" fmla="*/ 765955 w 6884782"/>
              <a:gd name="connsiteY30075" fmla="*/ 2672293 h 5973007"/>
              <a:gd name="connsiteX30076" fmla="*/ 1125080 w 6884782"/>
              <a:gd name="connsiteY30076" fmla="*/ 2671674 h 5973007"/>
              <a:gd name="connsiteX30077" fmla="*/ 1118678 w 6884782"/>
              <a:gd name="connsiteY30077" fmla="*/ 2673378 h 5973007"/>
              <a:gd name="connsiteX30078" fmla="*/ 1117646 w 6884782"/>
              <a:gd name="connsiteY30078" fmla="*/ 2672758 h 5973007"/>
              <a:gd name="connsiteX30079" fmla="*/ 1125080 w 6884782"/>
              <a:gd name="connsiteY30079" fmla="*/ 2671674 h 5973007"/>
              <a:gd name="connsiteX30080" fmla="*/ 743962 w 6884782"/>
              <a:gd name="connsiteY30080" fmla="*/ 2669970 h 5973007"/>
              <a:gd name="connsiteX30081" fmla="*/ 745510 w 6884782"/>
              <a:gd name="connsiteY30081" fmla="*/ 2670899 h 5973007"/>
              <a:gd name="connsiteX30082" fmla="*/ 743032 w 6884782"/>
              <a:gd name="connsiteY30082" fmla="*/ 2673378 h 5973007"/>
              <a:gd name="connsiteX30083" fmla="*/ 742206 w 6884782"/>
              <a:gd name="connsiteY30083" fmla="*/ 2672138 h 5973007"/>
              <a:gd name="connsiteX30084" fmla="*/ 741380 w 6884782"/>
              <a:gd name="connsiteY30084" fmla="*/ 2672603 h 5973007"/>
              <a:gd name="connsiteX30085" fmla="*/ 741380 w 6884782"/>
              <a:gd name="connsiteY30085" fmla="*/ 2670899 h 5973007"/>
              <a:gd name="connsiteX30086" fmla="*/ 741999 w 6884782"/>
              <a:gd name="connsiteY30086" fmla="*/ 2670279 h 5973007"/>
              <a:gd name="connsiteX30087" fmla="*/ 742103 w 6884782"/>
              <a:gd name="connsiteY30087" fmla="*/ 2670125 h 5973007"/>
              <a:gd name="connsiteX30088" fmla="*/ 743962 w 6884782"/>
              <a:gd name="connsiteY30088" fmla="*/ 2669970 h 5973007"/>
              <a:gd name="connsiteX30089" fmla="*/ 1149965 w 6884782"/>
              <a:gd name="connsiteY30089" fmla="*/ 2669350 h 5973007"/>
              <a:gd name="connsiteX30090" fmla="*/ 1149965 w 6884782"/>
              <a:gd name="connsiteY30090" fmla="*/ 2671054 h 5973007"/>
              <a:gd name="connsiteX30091" fmla="*/ 1149345 w 6884782"/>
              <a:gd name="connsiteY30091" fmla="*/ 2673378 h 5973007"/>
              <a:gd name="connsiteX30092" fmla="*/ 1149965 w 6884782"/>
              <a:gd name="connsiteY30092" fmla="*/ 2674772 h 5973007"/>
              <a:gd name="connsiteX30093" fmla="*/ 1146248 w 6884782"/>
              <a:gd name="connsiteY30093" fmla="*/ 2680038 h 5973007"/>
              <a:gd name="connsiteX30094" fmla="*/ 1146970 w 6884782"/>
              <a:gd name="connsiteY30094" fmla="*/ 2676010 h 5973007"/>
              <a:gd name="connsiteX30095" fmla="*/ 1147796 w 6884782"/>
              <a:gd name="connsiteY30095" fmla="*/ 2673842 h 5973007"/>
              <a:gd name="connsiteX30096" fmla="*/ 1147796 w 6884782"/>
              <a:gd name="connsiteY30096" fmla="*/ 2671983 h 5973007"/>
              <a:gd name="connsiteX30097" fmla="*/ 1149965 w 6884782"/>
              <a:gd name="connsiteY30097" fmla="*/ 2669350 h 5973007"/>
              <a:gd name="connsiteX30098" fmla="*/ 968234 w 6884782"/>
              <a:gd name="connsiteY30098" fmla="*/ 2667027 h 5973007"/>
              <a:gd name="connsiteX30099" fmla="*/ 969473 w 6884782"/>
              <a:gd name="connsiteY30099" fmla="*/ 2667182 h 5973007"/>
              <a:gd name="connsiteX30100" fmla="*/ 966582 w 6884782"/>
              <a:gd name="connsiteY30100" fmla="*/ 2671054 h 5973007"/>
              <a:gd name="connsiteX30101" fmla="*/ 968234 w 6884782"/>
              <a:gd name="connsiteY30101" fmla="*/ 2667027 h 5973007"/>
              <a:gd name="connsiteX30102" fmla="*/ 629863 w 6884782"/>
              <a:gd name="connsiteY30102" fmla="*/ 2667027 h 5973007"/>
              <a:gd name="connsiteX30103" fmla="*/ 633167 w 6884782"/>
              <a:gd name="connsiteY30103" fmla="*/ 2670899 h 5973007"/>
              <a:gd name="connsiteX30104" fmla="*/ 624597 w 6884782"/>
              <a:gd name="connsiteY30104" fmla="*/ 2672913 h 5973007"/>
              <a:gd name="connsiteX30105" fmla="*/ 629863 w 6884782"/>
              <a:gd name="connsiteY30105" fmla="*/ 2667027 h 5973007"/>
              <a:gd name="connsiteX30106" fmla="*/ 1416675 w 6884782"/>
              <a:gd name="connsiteY30106" fmla="*/ 2666872 h 5973007"/>
              <a:gd name="connsiteX30107" fmla="*/ 1424627 w 6884782"/>
              <a:gd name="connsiteY30107" fmla="*/ 2668730 h 5973007"/>
              <a:gd name="connsiteX30108" fmla="*/ 1426175 w 6884782"/>
              <a:gd name="connsiteY30108" fmla="*/ 2677095 h 5973007"/>
              <a:gd name="connsiteX30109" fmla="*/ 1416675 w 6884782"/>
              <a:gd name="connsiteY30109" fmla="*/ 2666872 h 5973007"/>
              <a:gd name="connsiteX30110" fmla="*/ 5014297 w 6884782"/>
              <a:gd name="connsiteY30110" fmla="*/ 2666403 h 5973007"/>
              <a:gd name="connsiteX30111" fmla="*/ 5020913 w 6884782"/>
              <a:gd name="connsiteY30111" fmla="*/ 2671383 h 5973007"/>
              <a:gd name="connsiteX30112" fmla="*/ 5003626 w 6884782"/>
              <a:gd name="connsiteY30112" fmla="*/ 2668395 h 5973007"/>
              <a:gd name="connsiteX30113" fmla="*/ 5014297 w 6884782"/>
              <a:gd name="connsiteY30113" fmla="*/ 2666403 h 5973007"/>
              <a:gd name="connsiteX30114" fmla="*/ 937360 w 6884782"/>
              <a:gd name="connsiteY30114" fmla="*/ 2664239 h 5973007"/>
              <a:gd name="connsiteX30115" fmla="*/ 938909 w 6884782"/>
              <a:gd name="connsiteY30115" fmla="*/ 2668111 h 5973007"/>
              <a:gd name="connsiteX30116" fmla="*/ 933540 w 6884782"/>
              <a:gd name="connsiteY30116" fmla="*/ 2674617 h 5973007"/>
              <a:gd name="connsiteX30117" fmla="*/ 931785 w 6884782"/>
              <a:gd name="connsiteY30117" fmla="*/ 2671829 h 5973007"/>
              <a:gd name="connsiteX30118" fmla="*/ 935295 w 6884782"/>
              <a:gd name="connsiteY30118" fmla="*/ 2665013 h 5973007"/>
              <a:gd name="connsiteX30119" fmla="*/ 937360 w 6884782"/>
              <a:gd name="connsiteY30119" fmla="*/ 2664239 h 5973007"/>
              <a:gd name="connsiteX30120" fmla="*/ 897400 w 6884782"/>
              <a:gd name="connsiteY30120" fmla="*/ 2664084 h 5973007"/>
              <a:gd name="connsiteX30121" fmla="*/ 897813 w 6884782"/>
              <a:gd name="connsiteY30121" fmla="*/ 2671829 h 5973007"/>
              <a:gd name="connsiteX30122" fmla="*/ 896161 w 6884782"/>
              <a:gd name="connsiteY30122" fmla="*/ 2672913 h 5973007"/>
              <a:gd name="connsiteX30123" fmla="*/ 891825 w 6884782"/>
              <a:gd name="connsiteY30123" fmla="*/ 2674307 h 5973007"/>
              <a:gd name="connsiteX30124" fmla="*/ 890069 w 6884782"/>
              <a:gd name="connsiteY30124" fmla="*/ 2671829 h 5973007"/>
              <a:gd name="connsiteX30125" fmla="*/ 891515 w 6884782"/>
              <a:gd name="connsiteY30125" fmla="*/ 2668421 h 5973007"/>
              <a:gd name="connsiteX30126" fmla="*/ 897400 w 6884782"/>
              <a:gd name="connsiteY30126" fmla="*/ 2664084 h 5973007"/>
              <a:gd name="connsiteX30127" fmla="*/ 882635 w 6884782"/>
              <a:gd name="connsiteY30127" fmla="*/ 2662844 h 5973007"/>
              <a:gd name="connsiteX30128" fmla="*/ 887591 w 6884782"/>
              <a:gd name="connsiteY30128" fmla="*/ 2667182 h 5973007"/>
              <a:gd name="connsiteX30129" fmla="*/ 886558 w 6884782"/>
              <a:gd name="connsiteY30129" fmla="*/ 2668730 h 5973007"/>
              <a:gd name="connsiteX30130" fmla="*/ 884184 w 6884782"/>
              <a:gd name="connsiteY30130" fmla="*/ 2668421 h 5973007"/>
              <a:gd name="connsiteX30131" fmla="*/ 881499 w 6884782"/>
              <a:gd name="connsiteY30131" fmla="*/ 2664549 h 5973007"/>
              <a:gd name="connsiteX30132" fmla="*/ 882635 w 6884782"/>
              <a:gd name="connsiteY30132" fmla="*/ 2662844 h 5973007"/>
              <a:gd name="connsiteX30133" fmla="*/ 1037003 w 6884782"/>
              <a:gd name="connsiteY30133" fmla="*/ 2662380 h 5973007"/>
              <a:gd name="connsiteX30134" fmla="*/ 1040306 w 6884782"/>
              <a:gd name="connsiteY30134" fmla="*/ 2663619 h 5973007"/>
              <a:gd name="connsiteX30135" fmla="*/ 1041133 w 6884782"/>
              <a:gd name="connsiteY30135" fmla="*/ 2664549 h 5973007"/>
              <a:gd name="connsiteX30136" fmla="*/ 1037003 w 6884782"/>
              <a:gd name="connsiteY30136" fmla="*/ 2664084 h 5973007"/>
              <a:gd name="connsiteX30137" fmla="*/ 1033905 w 6884782"/>
              <a:gd name="connsiteY30137" fmla="*/ 2662999 h 5973007"/>
              <a:gd name="connsiteX30138" fmla="*/ 1411616 w 6884782"/>
              <a:gd name="connsiteY30138" fmla="*/ 2662070 h 5973007"/>
              <a:gd name="connsiteX30139" fmla="*/ 1411823 w 6884782"/>
              <a:gd name="connsiteY30139" fmla="*/ 2668886 h 5973007"/>
              <a:gd name="connsiteX30140" fmla="*/ 1407279 w 6884782"/>
              <a:gd name="connsiteY30140" fmla="*/ 2665787 h 5973007"/>
              <a:gd name="connsiteX30141" fmla="*/ 1411616 w 6884782"/>
              <a:gd name="connsiteY30141" fmla="*/ 2662070 h 5973007"/>
              <a:gd name="connsiteX30142" fmla="*/ 1130243 w 6884782"/>
              <a:gd name="connsiteY30142" fmla="*/ 2661760 h 5973007"/>
              <a:gd name="connsiteX30143" fmla="*/ 1132101 w 6884782"/>
              <a:gd name="connsiteY30143" fmla="*/ 2663309 h 5973007"/>
              <a:gd name="connsiteX30144" fmla="*/ 1133857 w 6884782"/>
              <a:gd name="connsiteY30144" fmla="*/ 2663774 h 5973007"/>
              <a:gd name="connsiteX30145" fmla="*/ 1136748 w 6884782"/>
              <a:gd name="connsiteY30145" fmla="*/ 2668421 h 5973007"/>
              <a:gd name="connsiteX30146" fmla="*/ 1119917 w 6884782"/>
              <a:gd name="connsiteY30146" fmla="*/ 2665787 h 5973007"/>
              <a:gd name="connsiteX30147" fmla="*/ 1118368 w 6884782"/>
              <a:gd name="connsiteY30147" fmla="*/ 2664703 h 5973007"/>
              <a:gd name="connsiteX30148" fmla="*/ 1118781 w 6884782"/>
              <a:gd name="connsiteY30148" fmla="*/ 2662535 h 5973007"/>
              <a:gd name="connsiteX30149" fmla="*/ 1130243 w 6884782"/>
              <a:gd name="connsiteY30149" fmla="*/ 2661760 h 5973007"/>
              <a:gd name="connsiteX30150" fmla="*/ 825947 w 6884782"/>
              <a:gd name="connsiteY30150" fmla="*/ 2661605 h 5973007"/>
              <a:gd name="connsiteX30151" fmla="*/ 835033 w 6884782"/>
              <a:gd name="connsiteY30151" fmla="*/ 2668730 h 5973007"/>
              <a:gd name="connsiteX30152" fmla="*/ 821610 w 6884782"/>
              <a:gd name="connsiteY30152" fmla="*/ 2668730 h 5973007"/>
              <a:gd name="connsiteX30153" fmla="*/ 825947 w 6884782"/>
              <a:gd name="connsiteY30153" fmla="*/ 2661605 h 5973007"/>
              <a:gd name="connsiteX30154" fmla="*/ 1222967 w 6884782"/>
              <a:gd name="connsiteY30154" fmla="*/ 2660985 h 5973007"/>
              <a:gd name="connsiteX30155" fmla="*/ 1222760 w 6884782"/>
              <a:gd name="connsiteY30155" fmla="*/ 2661760 h 5973007"/>
              <a:gd name="connsiteX30156" fmla="*/ 1222554 w 6884782"/>
              <a:gd name="connsiteY30156" fmla="*/ 2662380 h 5973007"/>
              <a:gd name="connsiteX30157" fmla="*/ 1224206 w 6884782"/>
              <a:gd name="connsiteY30157" fmla="*/ 2662535 h 5973007"/>
              <a:gd name="connsiteX30158" fmla="*/ 1223690 w 6884782"/>
              <a:gd name="connsiteY30158" fmla="*/ 2661141 h 5973007"/>
              <a:gd name="connsiteX30159" fmla="*/ 951403 w 6884782"/>
              <a:gd name="connsiteY30159" fmla="*/ 2660056 h 5973007"/>
              <a:gd name="connsiteX30160" fmla="*/ 957701 w 6884782"/>
              <a:gd name="connsiteY30160" fmla="*/ 2661760 h 5973007"/>
              <a:gd name="connsiteX30161" fmla="*/ 956566 w 6884782"/>
              <a:gd name="connsiteY30161" fmla="*/ 2662380 h 5973007"/>
              <a:gd name="connsiteX30162" fmla="*/ 954914 w 6884782"/>
              <a:gd name="connsiteY30162" fmla="*/ 2661760 h 5973007"/>
              <a:gd name="connsiteX30163" fmla="*/ 951403 w 6884782"/>
              <a:gd name="connsiteY30163" fmla="*/ 2660056 h 5973007"/>
              <a:gd name="connsiteX30164" fmla="*/ 785677 w 6884782"/>
              <a:gd name="connsiteY30164" fmla="*/ 2659746 h 5973007"/>
              <a:gd name="connsiteX30165" fmla="*/ 788671 w 6884782"/>
              <a:gd name="connsiteY30165" fmla="*/ 2660831 h 5973007"/>
              <a:gd name="connsiteX30166" fmla="*/ 788981 w 6884782"/>
              <a:gd name="connsiteY30166" fmla="*/ 2660211 h 5973007"/>
              <a:gd name="connsiteX30167" fmla="*/ 794041 w 6884782"/>
              <a:gd name="connsiteY30167" fmla="*/ 2663464 h 5973007"/>
              <a:gd name="connsiteX30168" fmla="*/ 791666 w 6884782"/>
              <a:gd name="connsiteY30168" fmla="*/ 2665787 h 5973007"/>
              <a:gd name="connsiteX30169" fmla="*/ 792079 w 6884782"/>
              <a:gd name="connsiteY30169" fmla="*/ 2667491 h 5973007"/>
              <a:gd name="connsiteX30170" fmla="*/ 798171 w 6884782"/>
              <a:gd name="connsiteY30170" fmla="*/ 2668111 h 5973007"/>
              <a:gd name="connsiteX30171" fmla="*/ 801682 w 6884782"/>
              <a:gd name="connsiteY30171" fmla="*/ 2669350 h 5973007"/>
              <a:gd name="connsiteX30172" fmla="*/ 801785 w 6884782"/>
              <a:gd name="connsiteY30172" fmla="*/ 2668575 h 5973007"/>
              <a:gd name="connsiteX30173" fmla="*/ 809942 w 6884782"/>
              <a:gd name="connsiteY30173" fmla="*/ 2667182 h 5973007"/>
              <a:gd name="connsiteX30174" fmla="*/ 807257 w 6884782"/>
              <a:gd name="connsiteY30174" fmla="*/ 2672603 h 5973007"/>
              <a:gd name="connsiteX30175" fmla="*/ 804676 w 6884782"/>
              <a:gd name="connsiteY30175" fmla="*/ 2673997 h 5973007"/>
              <a:gd name="connsiteX30176" fmla="*/ 807051 w 6884782"/>
              <a:gd name="connsiteY30176" fmla="*/ 2674307 h 5973007"/>
              <a:gd name="connsiteX30177" fmla="*/ 807980 w 6884782"/>
              <a:gd name="connsiteY30177" fmla="*/ 2671364 h 5973007"/>
              <a:gd name="connsiteX30178" fmla="*/ 810975 w 6884782"/>
              <a:gd name="connsiteY30178" fmla="*/ 2665632 h 5973007"/>
              <a:gd name="connsiteX30179" fmla="*/ 816654 w 6884782"/>
              <a:gd name="connsiteY30179" fmla="*/ 2675391 h 5973007"/>
              <a:gd name="connsiteX30180" fmla="*/ 813040 w 6884782"/>
              <a:gd name="connsiteY30180" fmla="*/ 2676785 h 5973007"/>
              <a:gd name="connsiteX30181" fmla="*/ 813453 w 6884782"/>
              <a:gd name="connsiteY30181" fmla="*/ 2677095 h 5973007"/>
              <a:gd name="connsiteX30182" fmla="*/ 790220 w 6884782"/>
              <a:gd name="connsiteY30182" fmla="*/ 2678179 h 5973007"/>
              <a:gd name="connsiteX30183" fmla="*/ 796209 w 6884782"/>
              <a:gd name="connsiteY30183" fmla="*/ 2674772 h 5973007"/>
              <a:gd name="connsiteX30184" fmla="*/ 801475 w 6884782"/>
              <a:gd name="connsiteY30184" fmla="*/ 2673997 h 5973007"/>
              <a:gd name="connsiteX30185" fmla="*/ 801165 w 6884782"/>
              <a:gd name="connsiteY30185" fmla="*/ 2672603 h 5973007"/>
              <a:gd name="connsiteX30186" fmla="*/ 801268 w 6884782"/>
              <a:gd name="connsiteY30186" fmla="*/ 2671983 h 5973007"/>
              <a:gd name="connsiteX30187" fmla="*/ 798481 w 6884782"/>
              <a:gd name="connsiteY30187" fmla="*/ 2673842 h 5973007"/>
              <a:gd name="connsiteX30188" fmla="*/ 781443 w 6884782"/>
              <a:gd name="connsiteY30188" fmla="*/ 2672913 h 5973007"/>
              <a:gd name="connsiteX30189" fmla="*/ 785677 w 6884782"/>
              <a:gd name="connsiteY30189" fmla="*/ 2668730 h 5973007"/>
              <a:gd name="connsiteX30190" fmla="*/ 786503 w 6884782"/>
              <a:gd name="connsiteY30190" fmla="*/ 2668421 h 5973007"/>
              <a:gd name="connsiteX30191" fmla="*/ 785161 w 6884782"/>
              <a:gd name="connsiteY30191" fmla="*/ 2668421 h 5973007"/>
              <a:gd name="connsiteX30192" fmla="*/ 765645 w 6884782"/>
              <a:gd name="connsiteY30192" fmla="*/ 2666407 h 5973007"/>
              <a:gd name="connsiteX30193" fmla="*/ 775867 w 6884782"/>
              <a:gd name="connsiteY30193" fmla="*/ 2662225 h 5973007"/>
              <a:gd name="connsiteX30194" fmla="*/ 785677 w 6884782"/>
              <a:gd name="connsiteY30194" fmla="*/ 2659746 h 5973007"/>
              <a:gd name="connsiteX30195" fmla="*/ 497282 w 6884782"/>
              <a:gd name="connsiteY30195" fmla="*/ 2658353 h 5973007"/>
              <a:gd name="connsiteX30196" fmla="*/ 497592 w 6884782"/>
              <a:gd name="connsiteY30196" fmla="*/ 2664549 h 5973007"/>
              <a:gd name="connsiteX30197" fmla="*/ 491294 w 6884782"/>
              <a:gd name="connsiteY30197" fmla="*/ 2660985 h 5973007"/>
              <a:gd name="connsiteX30198" fmla="*/ 497282 w 6884782"/>
              <a:gd name="connsiteY30198" fmla="*/ 2658353 h 5973007"/>
              <a:gd name="connsiteX30199" fmla="*/ 891411 w 6884782"/>
              <a:gd name="connsiteY30199" fmla="*/ 2657113 h 5973007"/>
              <a:gd name="connsiteX30200" fmla="*/ 893889 w 6884782"/>
              <a:gd name="connsiteY30200" fmla="*/ 2657113 h 5973007"/>
              <a:gd name="connsiteX30201" fmla="*/ 892960 w 6884782"/>
              <a:gd name="connsiteY30201" fmla="*/ 2660521 h 5973007"/>
              <a:gd name="connsiteX30202" fmla="*/ 890482 w 6884782"/>
              <a:gd name="connsiteY30202" fmla="*/ 2658353 h 5973007"/>
              <a:gd name="connsiteX30203" fmla="*/ 891411 w 6884782"/>
              <a:gd name="connsiteY30203" fmla="*/ 2657113 h 5973007"/>
              <a:gd name="connsiteX30204" fmla="*/ 754906 w 6884782"/>
              <a:gd name="connsiteY30204" fmla="*/ 2652466 h 5973007"/>
              <a:gd name="connsiteX30205" fmla="*/ 758417 w 6884782"/>
              <a:gd name="connsiteY30205" fmla="*/ 2652931 h 5973007"/>
              <a:gd name="connsiteX30206" fmla="*/ 752015 w 6884782"/>
              <a:gd name="connsiteY30206" fmla="*/ 2654016 h 5973007"/>
              <a:gd name="connsiteX30207" fmla="*/ 754906 w 6884782"/>
              <a:gd name="connsiteY30207" fmla="*/ 2652466 h 5973007"/>
              <a:gd name="connsiteX30208" fmla="*/ 1051149 w 6884782"/>
              <a:gd name="connsiteY30208" fmla="*/ 2652002 h 5973007"/>
              <a:gd name="connsiteX30209" fmla="*/ 1053007 w 6884782"/>
              <a:gd name="connsiteY30209" fmla="*/ 2654170 h 5973007"/>
              <a:gd name="connsiteX30210" fmla="*/ 1056518 w 6884782"/>
              <a:gd name="connsiteY30210" fmla="*/ 2654480 h 5973007"/>
              <a:gd name="connsiteX30211" fmla="*/ 1056621 w 6884782"/>
              <a:gd name="connsiteY30211" fmla="*/ 2654635 h 5973007"/>
              <a:gd name="connsiteX30212" fmla="*/ 1069425 w 6884782"/>
              <a:gd name="connsiteY30212" fmla="*/ 2654790 h 5973007"/>
              <a:gd name="connsiteX30213" fmla="*/ 1078408 w 6884782"/>
              <a:gd name="connsiteY30213" fmla="*/ 2662070 h 5973007"/>
              <a:gd name="connsiteX30214" fmla="*/ 1083571 w 6884782"/>
              <a:gd name="connsiteY30214" fmla="*/ 2676630 h 5973007"/>
              <a:gd name="connsiteX30215" fmla="*/ 1082745 w 6884782"/>
              <a:gd name="connsiteY30215" fmla="*/ 2679263 h 5973007"/>
              <a:gd name="connsiteX30216" fmla="*/ 1087495 w 6884782"/>
              <a:gd name="connsiteY30216" fmla="*/ 2678799 h 5973007"/>
              <a:gd name="connsiteX30217" fmla="*/ 1093070 w 6884782"/>
              <a:gd name="connsiteY30217" fmla="*/ 2681587 h 5973007"/>
              <a:gd name="connsiteX30218" fmla="*/ 1076963 w 6884782"/>
              <a:gd name="connsiteY30218" fmla="*/ 2694908 h 5973007"/>
              <a:gd name="connsiteX30219" fmla="*/ 1073762 w 6884782"/>
              <a:gd name="connsiteY30219" fmla="*/ 2691190 h 5973007"/>
              <a:gd name="connsiteX30220" fmla="*/ 1073658 w 6884782"/>
              <a:gd name="connsiteY30220" fmla="*/ 2690571 h 5973007"/>
              <a:gd name="connsiteX30221" fmla="*/ 1073039 w 6884782"/>
              <a:gd name="connsiteY30221" fmla="*/ 2690881 h 5973007"/>
              <a:gd name="connsiteX30222" fmla="*/ 1068909 w 6884782"/>
              <a:gd name="connsiteY30222" fmla="*/ 2692894 h 5973007"/>
              <a:gd name="connsiteX30223" fmla="*/ 1063746 w 6884782"/>
              <a:gd name="connsiteY30223" fmla="*/ 2698006 h 5973007"/>
              <a:gd name="connsiteX30224" fmla="*/ 1061991 w 6884782"/>
              <a:gd name="connsiteY30224" fmla="*/ 2696302 h 5973007"/>
              <a:gd name="connsiteX30225" fmla="*/ 1060648 w 6884782"/>
              <a:gd name="connsiteY30225" fmla="*/ 2697076 h 5973007"/>
              <a:gd name="connsiteX30226" fmla="*/ 1055589 w 6884782"/>
              <a:gd name="connsiteY30226" fmla="*/ 2696612 h 5973007"/>
              <a:gd name="connsiteX30227" fmla="*/ 1052697 w 6884782"/>
              <a:gd name="connsiteY30227" fmla="*/ 2694598 h 5973007"/>
              <a:gd name="connsiteX30228" fmla="*/ 1052594 w 6884782"/>
              <a:gd name="connsiteY30228" fmla="*/ 2694444 h 5973007"/>
              <a:gd name="connsiteX30229" fmla="*/ 1046915 w 6884782"/>
              <a:gd name="connsiteY30229" fmla="*/ 2694908 h 5973007"/>
              <a:gd name="connsiteX30230" fmla="*/ 1040513 w 6884782"/>
              <a:gd name="connsiteY30230" fmla="*/ 2692274 h 5973007"/>
              <a:gd name="connsiteX30231" fmla="*/ 1039584 w 6884782"/>
              <a:gd name="connsiteY30231" fmla="*/ 2690106 h 5973007"/>
              <a:gd name="connsiteX30232" fmla="*/ 1037209 w 6884782"/>
              <a:gd name="connsiteY30232" fmla="*/ 2691965 h 5973007"/>
              <a:gd name="connsiteX30233" fmla="*/ 1033698 w 6884782"/>
              <a:gd name="connsiteY30233" fmla="*/ 2692274 h 5973007"/>
              <a:gd name="connsiteX30234" fmla="*/ 1036486 w 6884782"/>
              <a:gd name="connsiteY30234" fmla="*/ 2689331 h 5973007"/>
              <a:gd name="connsiteX30235" fmla="*/ 1038035 w 6884782"/>
              <a:gd name="connsiteY30235" fmla="*/ 2688247 h 5973007"/>
              <a:gd name="connsiteX30236" fmla="*/ 1039274 w 6884782"/>
              <a:gd name="connsiteY30236" fmla="*/ 2689022 h 5973007"/>
              <a:gd name="connsiteX30237" fmla="*/ 1039067 w 6884782"/>
              <a:gd name="connsiteY30237" fmla="*/ 2688712 h 5973007"/>
              <a:gd name="connsiteX30238" fmla="*/ 1039274 w 6884782"/>
              <a:gd name="connsiteY30238" fmla="*/ 2684375 h 5973007"/>
              <a:gd name="connsiteX30239" fmla="*/ 1038964 w 6884782"/>
              <a:gd name="connsiteY30239" fmla="*/ 2683136 h 5973007"/>
              <a:gd name="connsiteX30240" fmla="*/ 1039377 w 6884782"/>
              <a:gd name="connsiteY30240" fmla="*/ 2683136 h 5973007"/>
              <a:gd name="connsiteX30241" fmla="*/ 1039377 w 6884782"/>
              <a:gd name="connsiteY30241" fmla="*/ 2683291 h 5973007"/>
              <a:gd name="connsiteX30242" fmla="*/ 1040720 w 6884782"/>
              <a:gd name="connsiteY30242" fmla="*/ 2683601 h 5973007"/>
              <a:gd name="connsiteX30243" fmla="*/ 1041133 w 6884782"/>
              <a:gd name="connsiteY30243" fmla="*/ 2684065 h 5973007"/>
              <a:gd name="connsiteX30244" fmla="*/ 1043198 w 6884782"/>
              <a:gd name="connsiteY30244" fmla="*/ 2684995 h 5973007"/>
              <a:gd name="connsiteX30245" fmla="*/ 1044230 w 6884782"/>
              <a:gd name="connsiteY30245" fmla="*/ 2684840 h 5973007"/>
              <a:gd name="connsiteX30246" fmla="*/ 1047122 w 6884782"/>
              <a:gd name="connsiteY30246" fmla="*/ 2686389 h 5973007"/>
              <a:gd name="connsiteX30247" fmla="*/ 1049703 w 6884782"/>
              <a:gd name="connsiteY30247" fmla="*/ 2687008 h 5973007"/>
              <a:gd name="connsiteX30248" fmla="*/ 1046915 w 6884782"/>
              <a:gd name="connsiteY30248" fmla="*/ 2683755 h 5973007"/>
              <a:gd name="connsiteX30249" fmla="*/ 1042268 w 6884782"/>
              <a:gd name="connsiteY30249" fmla="*/ 2674307 h 5973007"/>
              <a:gd name="connsiteX30250" fmla="*/ 1041959 w 6884782"/>
              <a:gd name="connsiteY30250" fmla="*/ 2668266 h 5973007"/>
              <a:gd name="connsiteX30251" fmla="*/ 1050219 w 6884782"/>
              <a:gd name="connsiteY30251" fmla="*/ 2655874 h 5973007"/>
              <a:gd name="connsiteX30252" fmla="*/ 1052284 w 6884782"/>
              <a:gd name="connsiteY30252" fmla="*/ 2655874 h 5973007"/>
              <a:gd name="connsiteX30253" fmla="*/ 1054763 w 6884782"/>
              <a:gd name="connsiteY30253" fmla="*/ 2655254 h 5973007"/>
              <a:gd name="connsiteX30254" fmla="*/ 1052594 w 6884782"/>
              <a:gd name="connsiteY30254" fmla="*/ 2654480 h 5973007"/>
              <a:gd name="connsiteX30255" fmla="*/ 1049600 w 6884782"/>
              <a:gd name="connsiteY30255" fmla="*/ 2654635 h 5973007"/>
              <a:gd name="connsiteX30256" fmla="*/ 1048670 w 6884782"/>
              <a:gd name="connsiteY30256" fmla="*/ 2653086 h 5973007"/>
              <a:gd name="connsiteX30257" fmla="*/ 1051149 w 6884782"/>
              <a:gd name="connsiteY30257" fmla="*/ 2652002 h 5973007"/>
              <a:gd name="connsiteX30258" fmla="*/ 928273 w 6884782"/>
              <a:gd name="connsiteY30258" fmla="*/ 2651692 h 5973007"/>
              <a:gd name="connsiteX30259" fmla="*/ 926002 w 6884782"/>
              <a:gd name="connsiteY30259" fmla="*/ 2661915 h 5973007"/>
              <a:gd name="connsiteX30260" fmla="*/ 926105 w 6884782"/>
              <a:gd name="connsiteY30260" fmla="*/ 2655564 h 5973007"/>
              <a:gd name="connsiteX30261" fmla="*/ 928273 w 6884782"/>
              <a:gd name="connsiteY30261" fmla="*/ 2651692 h 5973007"/>
              <a:gd name="connsiteX30262" fmla="*/ 1035247 w 6884782"/>
              <a:gd name="connsiteY30262" fmla="*/ 2651227 h 5973007"/>
              <a:gd name="connsiteX30263" fmla="*/ 1035763 w 6884782"/>
              <a:gd name="connsiteY30263" fmla="*/ 2657268 h 5973007"/>
              <a:gd name="connsiteX30264" fmla="*/ 1033905 w 6884782"/>
              <a:gd name="connsiteY30264" fmla="*/ 2662999 h 5973007"/>
              <a:gd name="connsiteX30265" fmla="*/ 1033698 w 6884782"/>
              <a:gd name="connsiteY30265" fmla="*/ 2663309 h 5973007"/>
              <a:gd name="connsiteX30266" fmla="*/ 1026367 w 6884782"/>
              <a:gd name="connsiteY30266" fmla="*/ 2672603 h 5973007"/>
              <a:gd name="connsiteX30267" fmla="*/ 1025644 w 6884782"/>
              <a:gd name="connsiteY30267" fmla="*/ 2666252 h 5973007"/>
              <a:gd name="connsiteX30268" fmla="*/ 1035247 w 6884782"/>
              <a:gd name="connsiteY30268" fmla="*/ 2651227 h 5973007"/>
              <a:gd name="connsiteX30269" fmla="*/ 944485 w 6884782"/>
              <a:gd name="connsiteY30269" fmla="*/ 2649368 h 5973007"/>
              <a:gd name="connsiteX30270" fmla="*/ 949234 w 6884782"/>
              <a:gd name="connsiteY30270" fmla="*/ 2655254 h 5973007"/>
              <a:gd name="connsiteX30271" fmla="*/ 944278 w 6884782"/>
              <a:gd name="connsiteY30271" fmla="*/ 2650918 h 5973007"/>
              <a:gd name="connsiteX30272" fmla="*/ 944485 w 6884782"/>
              <a:gd name="connsiteY30272" fmla="*/ 2649368 h 5973007"/>
              <a:gd name="connsiteX30273" fmla="*/ 1070044 w 6884782"/>
              <a:gd name="connsiteY30273" fmla="*/ 2649059 h 5973007"/>
              <a:gd name="connsiteX30274" fmla="*/ 1089869 w 6884782"/>
              <a:gd name="connsiteY30274" fmla="*/ 2655254 h 5973007"/>
              <a:gd name="connsiteX30275" fmla="*/ 1090489 w 6884782"/>
              <a:gd name="connsiteY30275" fmla="*/ 2656029 h 5973007"/>
              <a:gd name="connsiteX30276" fmla="*/ 1092244 w 6884782"/>
              <a:gd name="connsiteY30276" fmla="*/ 2654480 h 5973007"/>
              <a:gd name="connsiteX30277" fmla="*/ 1093277 w 6884782"/>
              <a:gd name="connsiteY30277" fmla="*/ 2653861 h 5973007"/>
              <a:gd name="connsiteX30278" fmla="*/ 1091625 w 6884782"/>
              <a:gd name="connsiteY30278" fmla="*/ 2653241 h 5973007"/>
              <a:gd name="connsiteX30279" fmla="*/ 1101641 w 6884782"/>
              <a:gd name="connsiteY30279" fmla="*/ 2655099 h 5973007"/>
              <a:gd name="connsiteX30280" fmla="*/ 1103706 w 6884782"/>
              <a:gd name="connsiteY30280" fmla="*/ 2671518 h 5973007"/>
              <a:gd name="connsiteX30281" fmla="*/ 1099989 w 6884782"/>
              <a:gd name="connsiteY30281" fmla="*/ 2674152 h 5973007"/>
              <a:gd name="connsiteX30282" fmla="*/ 1104738 w 6884782"/>
              <a:gd name="connsiteY30282" fmla="*/ 2673222 h 5973007"/>
              <a:gd name="connsiteX30283" fmla="*/ 1111657 w 6884782"/>
              <a:gd name="connsiteY30283" fmla="*/ 2673378 h 5973007"/>
              <a:gd name="connsiteX30284" fmla="*/ 1100918 w 6884782"/>
              <a:gd name="connsiteY30284" fmla="*/ 2674772 h 5973007"/>
              <a:gd name="connsiteX30285" fmla="*/ 1099266 w 6884782"/>
              <a:gd name="connsiteY30285" fmla="*/ 2674617 h 5973007"/>
              <a:gd name="connsiteX30286" fmla="*/ 1099059 w 6884782"/>
              <a:gd name="connsiteY30286" fmla="*/ 2674617 h 5973007"/>
              <a:gd name="connsiteX30287" fmla="*/ 1098853 w 6884782"/>
              <a:gd name="connsiteY30287" fmla="*/ 2674617 h 5973007"/>
              <a:gd name="connsiteX30288" fmla="*/ 1097717 w 6884782"/>
              <a:gd name="connsiteY30288" fmla="*/ 2674462 h 5973007"/>
              <a:gd name="connsiteX30289" fmla="*/ 1098440 w 6884782"/>
              <a:gd name="connsiteY30289" fmla="*/ 2674307 h 5973007"/>
              <a:gd name="connsiteX30290" fmla="*/ 1093793 w 6884782"/>
              <a:gd name="connsiteY30290" fmla="*/ 2671829 h 5973007"/>
              <a:gd name="connsiteX30291" fmla="*/ 1088940 w 6884782"/>
              <a:gd name="connsiteY30291" fmla="*/ 2667801 h 5973007"/>
              <a:gd name="connsiteX30292" fmla="*/ 1088424 w 6884782"/>
              <a:gd name="connsiteY30292" fmla="*/ 2666407 h 5973007"/>
              <a:gd name="connsiteX30293" fmla="*/ 1088734 w 6884782"/>
              <a:gd name="connsiteY30293" fmla="*/ 2662535 h 5973007"/>
              <a:gd name="connsiteX30294" fmla="*/ 1088734 w 6884782"/>
              <a:gd name="connsiteY30294" fmla="*/ 2659127 h 5973007"/>
              <a:gd name="connsiteX30295" fmla="*/ 1085843 w 6884782"/>
              <a:gd name="connsiteY30295" fmla="*/ 2658817 h 5973007"/>
              <a:gd name="connsiteX30296" fmla="*/ 1070044 w 6884782"/>
              <a:gd name="connsiteY30296" fmla="*/ 2649059 h 5973007"/>
              <a:gd name="connsiteX30297" fmla="*/ 1250743 w 6884782"/>
              <a:gd name="connsiteY30297" fmla="*/ 2648284 h 5973007"/>
              <a:gd name="connsiteX30298" fmla="*/ 1253944 w 6884782"/>
              <a:gd name="connsiteY30298" fmla="*/ 2652002 h 5973007"/>
              <a:gd name="connsiteX30299" fmla="*/ 1256422 w 6884782"/>
              <a:gd name="connsiteY30299" fmla="*/ 2651537 h 5973007"/>
              <a:gd name="connsiteX30300" fmla="*/ 1261585 w 6884782"/>
              <a:gd name="connsiteY30300" fmla="*/ 2654790 h 5973007"/>
              <a:gd name="connsiteX30301" fmla="*/ 1256422 w 6884782"/>
              <a:gd name="connsiteY30301" fmla="*/ 2657113 h 5973007"/>
              <a:gd name="connsiteX30302" fmla="*/ 1255389 w 6884782"/>
              <a:gd name="connsiteY30302" fmla="*/ 2657578 h 5973007"/>
              <a:gd name="connsiteX30303" fmla="*/ 1255389 w 6884782"/>
              <a:gd name="connsiteY30303" fmla="*/ 2657733 h 5973007"/>
              <a:gd name="connsiteX30304" fmla="*/ 1254357 w 6884782"/>
              <a:gd name="connsiteY30304" fmla="*/ 2659437 h 5973007"/>
              <a:gd name="connsiteX30305" fmla="*/ 1247129 w 6884782"/>
              <a:gd name="connsiteY30305" fmla="*/ 2661915 h 5973007"/>
              <a:gd name="connsiteX30306" fmla="*/ 1245580 w 6884782"/>
              <a:gd name="connsiteY30306" fmla="*/ 2660985 h 5973007"/>
              <a:gd name="connsiteX30307" fmla="*/ 1242999 w 6884782"/>
              <a:gd name="connsiteY30307" fmla="*/ 2661450 h 5973007"/>
              <a:gd name="connsiteX30308" fmla="*/ 1238662 w 6884782"/>
              <a:gd name="connsiteY30308" fmla="*/ 2659127 h 5973007"/>
              <a:gd name="connsiteX30309" fmla="*/ 1240521 w 6884782"/>
              <a:gd name="connsiteY30309" fmla="*/ 2658042 h 5973007"/>
              <a:gd name="connsiteX30310" fmla="*/ 1241450 w 6884782"/>
              <a:gd name="connsiteY30310" fmla="*/ 2653396 h 5973007"/>
              <a:gd name="connsiteX30311" fmla="*/ 1244961 w 6884782"/>
              <a:gd name="connsiteY30311" fmla="*/ 2649368 h 5973007"/>
              <a:gd name="connsiteX30312" fmla="*/ 1250743 w 6884782"/>
              <a:gd name="connsiteY30312" fmla="*/ 2648284 h 5973007"/>
              <a:gd name="connsiteX30313" fmla="*/ 1119195 w 6884782"/>
              <a:gd name="connsiteY30313" fmla="*/ 2647820 h 5973007"/>
              <a:gd name="connsiteX30314" fmla="*/ 1119091 w 6884782"/>
              <a:gd name="connsiteY30314" fmla="*/ 2647974 h 5973007"/>
              <a:gd name="connsiteX30315" fmla="*/ 1119401 w 6884782"/>
              <a:gd name="connsiteY30315" fmla="*/ 2649368 h 5973007"/>
              <a:gd name="connsiteX30316" fmla="*/ 1119504 w 6884782"/>
              <a:gd name="connsiteY30316" fmla="*/ 2647820 h 5973007"/>
              <a:gd name="connsiteX30317" fmla="*/ 561611 w 6884782"/>
              <a:gd name="connsiteY30317" fmla="*/ 2647820 h 5973007"/>
              <a:gd name="connsiteX30318" fmla="*/ 570078 w 6884782"/>
              <a:gd name="connsiteY30318" fmla="*/ 2647820 h 5973007"/>
              <a:gd name="connsiteX30319" fmla="*/ 579681 w 6884782"/>
              <a:gd name="connsiteY30319" fmla="*/ 2669815 h 5973007"/>
              <a:gd name="connsiteX30320" fmla="*/ 559649 w 6884782"/>
              <a:gd name="connsiteY30320" fmla="*/ 2655874 h 5973007"/>
              <a:gd name="connsiteX30321" fmla="*/ 561611 w 6884782"/>
              <a:gd name="connsiteY30321" fmla="*/ 2647820 h 5973007"/>
              <a:gd name="connsiteX30322" fmla="*/ 1184349 w 6884782"/>
              <a:gd name="connsiteY30322" fmla="*/ 2647355 h 5973007"/>
              <a:gd name="connsiteX30323" fmla="*/ 1193333 w 6884782"/>
              <a:gd name="connsiteY30323" fmla="*/ 2652621 h 5973007"/>
              <a:gd name="connsiteX30324" fmla="*/ 1180735 w 6884782"/>
              <a:gd name="connsiteY30324" fmla="*/ 2657888 h 5973007"/>
              <a:gd name="connsiteX30325" fmla="*/ 1181251 w 6884782"/>
              <a:gd name="connsiteY30325" fmla="*/ 2658507 h 5973007"/>
              <a:gd name="connsiteX30326" fmla="*/ 1183110 w 6884782"/>
              <a:gd name="connsiteY30326" fmla="*/ 2658353 h 5973007"/>
              <a:gd name="connsiteX30327" fmla="*/ 1183833 w 6884782"/>
              <a:gd name="connsiteY30327" fmla="*/ 2659437 h 5973007"/>
              <a:gd name="connsiteX30328" fmla="*/ 1183833 w 6884782"/>
              <a:gd name="connsiteY30328" fmla="*/ 2659901 h 5973007"/>
              <a:gd name="connsiteX30329" fmla="*/ 1188583 w 6884782"/>
              <a:gd name="connsiteY30329" fmla="*/ 2661915 h 5973007"/>
              <a:gd name="connsiteX30330" fmla="*/ 1192816 w 6884782"/>
              <a:gd name="connsiteY30330" fmla="*/ 2665323 h 5973007"/>
              <a:gd name="connsiteX30331" fmla="*/ 1194571 w 6884782"/>
              <a:gd name="connsiteY30331" fmla="*/ 2666717 h 5973007"/>
              <a:gd name="connsiteX30332" fmla="*/ 1199838 w 6884782"/>
              <a:gd name="connsiteY30332" fmla="*/ 2675546 h 5973007"/>
              <a:gd name="connsiteX30333" fmla="*/ 1182491 w 6884782"/>
              <a:gd name="connsiteY30333" fmla="*/ 2677714 h 5973007"/>
              <a:gd name="connsiteX30334" fmla="*/ 1181974 w 6884782"/>
              <a:gd name="connsiteY30334" fmla="*/ 2678644 h 5973007"/>
              <a:gd name="connsiteX30335" fmla="*/ 1181355 w 6884782"/>
              <a:gd name="connsiteY30335" fmla="*/ 2679418 h 5973007"/>
              <a:gd name="connsiteX30336" fmla="*/ 1180941 w 6884782"/>
              <a:gd name="connsiteY30336" fmla="*/ 2678644 h 5973007"/>
              <a:gd name="connsiteX30337" fmla="*/ 1181251 w 6884782"/>
              <a:gd name="connsiteY30337" fmla="*/ 2677250 h 5973007"/>
              <a:gd name="connsiteX30338" fmla="*/ 1181355 w 6884782"/>
              <a:gd name="connsiteY30338" fmla="*/ 2677095 h 5973007"/>
              <a:gd name="connsiteX30339" fmla="*/ 1177224 w 6884782"/>
              <a:gd name="connsiteY30339" fmla="*/ 2674462 h 5973007"/>
              <a:gd name="connsiteX30340" fmla="*/ 1169893 w 6884782"/>
              <a:gd name="connsiteY30340" fmla="*/ 2667182 h 5973007"/>
              <a:gd name="connsiteX30341" fmla="*/ 1170616 w 6884782"/>
              <a:gd name="connsiteY30341" fmla="*/ 2664549 h 5973007"/>
              <a:gd name="connsiteX30342" fmla="*/ 1178360 w 6884782"/>
              <a:gd name="connsiteY30342" fmla="*/ 2659592 h 5973007"/>
              <a:gd name="connsiteX30343" fmla="*/ 1182284 w 6884782"/>
              <a:gd name="connsiteY30343" fmla="*/ 2659901 h 5973007"/>
              <a:gd name="connsiteX30344" fmla="*/ 1181148 w 6884782"/>
              <a:gd name="connsiteY30344" fmla="*/ 2658972 h 5973007"/>
              <a:gd name="connsiteX30345" fmla="*/ 1180219 w 6884782"/>
              <a:gd name="connsiteY30345" fmla="*/ 2658197 h 5973007"/>
              <a:gd name="connsiteX30346" fmla="*/ 1177637 w 6884782"/>
              <a:gd name="connsiteY30346" fmla="*/ 2659282 h 5973007"/>
              <a:gd name="connsiteX30347" fmla="*/ 1160806 w 6884782"/>
              <a:gd name="connsiteY30347" fmla="*/ 2663309 h 5973007"/>
              <a:gd name="connsiteX30348" fmla="*/ 1164524 w 6884782"/>
              <a:gd name="connsiteY30348" fmla="*/ 2657113 h 5973007"/>
              <a:gd name="connsiteX30349" fmla="*/ 1169480 w 6884782"/>
              <a:gd name="connsiteY30349" fmla="*/ 2652466 h 5973007"/>
              <a:gd name="connsiteX30350" fmla="*/ 1169584 w 6884782"/>
              <a:gd name="connsiteY30350" fmla="*/ 2652466 h 5973007"/>
              <a:gd name="connsiteX30351" fmla="*/ 1170203 w 6884782"/>
              <a:gd name="connsiteY30351" fmla="*/ 2651692 h 5973007"/>
              <a:gd name="connsiteX30352" fmla="*/ 1184349 w 6884782"/>
              <a:gd name="connsiteY30352" fmla="*/ 2647355 h 5973007"/>
              <a:gd name="connsiteX30353" fmla="*/ 895851 w 6884782"/>
              <a:gd name="connsiteY30353" fmla="*/ 2647045 h 5973007"/>
              <a:gd name="connsiteX30354" fmla="*/ 899052 w 6884782"/>
              <a:gd name="connsiteY30354" fmla="*/ 2648904 h 5973007"/>
              <a:gd name="connsiteX30355" fmla="*/ 899982 w 6884782"/>
              <a:gd name="connsiteY30355" fmla="*/ 2650143 h 5973007"/>
              <a:gd name="connsiteX30356" fmla="*/ 894199 w 6884782"/>
              <a:gd name="connsiteY30356" fmla="*/ 2656029 h 5973007"/>
              <a:gd name="connsiteX30357" fmla="*/ 888417 w 6884782"/>
              <a:gd name="connsiteY30357" fmla="*/ 2652002 h 5973007"/>
              <a:gd name="connsiteX30358" fmla="*/ 889449 w 6884782"/>
              <a:gd name="connsiteY30358" fmla="*/ 2650298 h 5973007"/>
              <a:gd name="connsiteX30359" fmla="*/ 890998 w 6884782"/>
              <a:gd name="connsiteY30359" fmla="*/ 2648749 h 5973007"/>
              <a:gd name="connsiteX30360" fmla="*/ 895851 w 6884782"/>
              <a:gd name="connsiteY30360" fmla="*/ 2647045 h 5973007"/>
              <a:gd name="connsiteX30361" fmla="*/ 773493 w 6884782"/>
              <a:gd name="connsiteY30361" fmla="*/ 2645651 h 5973007"/>
              <a:gd name="connsiteX30362" fmla="*/ 777623 w 6884782"/>
              <a:gd name="connsiteY30362" fmla="*/ 2649368 h 5973007"/>
              <a:gd name="connsiteX30363" fmla="*/ 778242 w 6884782"/>
              <a:gd name="connsiteY30363" fmla="*/ 2649214 h 5973007"/>
              <a:gd name="connsiteX30364" fmla="*/ 780721 w 6884782"/>
              <a:gd name="connsiteY30364" fmla="*/ 2657578 h 5973007"/>
              <a:gd name="connsiteX30365" fmla="*/ 779482 w 6884782"/>
              <a:gd name="connsiteY30365" fmla="*/ 2659437 h 5973007"/>
              <a:gd name="connsiteX30366" fmla="*/ 779482 w 6884782"/>
              <a:gd name="connsiteY30366" fmla="*/ 2659592 h 5973007"/>
              <a:gd name="connsiteX30367" fmla="*/ 771634 w 6884782"/>
              <a:gd name="connsiteY30367" fmla="*/ 2659127 h 5973007"/>
              <a:gd name="connsiteX30368" fmla="*/ 769569 w 6884782"/>
              <a:gd name="connsiteY30368" fmla="*/ 2656339 h 5973007"/>
              <a:gd name="connsiteX30369" fmla="*/ 769569 w 6884782"/>
              <a:gd name="connsiteY30369" fmla="*/ 2652776 h 5973007"/>
              <a:gd name="connsiteX30370" fmla="*/ 768640 w 6884782"/>
              <a:gd name="connsiteY30370" fmla="*/ 2649988 h 5973007"/>
              <a:gd name="connsiteX30371" fmla="*/ 769156 w 6884782"/>
              <a:gd name="connsiteY30371" fmla="*/ 2647045 h 5973007"/>
              <a:gd name="connsiteX30372" fmla="*/ 773493 w 6884782"/>
              <a:gd name="connsiteY30372" fmla="*/ 2645651 h 5973007"/>
              <a:gd name="connsiteX30373" fmla="*/ 910823 w 6884782"/>
              <a:gd name="connsiteY30373" fmla="*/ 2645186 h 5973007"/>
              <a:gd name="connsiteX30374" fmla="*/ 918155 w 6884782"/>
              <a:gd name="connsiteY30374" fmla="*/ 2650298 h 5973007"/>
              <a:gd name="connsiteX30375" fmla="*/ 906487 w 6884782"/>
              <a:gd name="connsiteY30375" fmla="*/ 2648904 h 5973007"/>
              <a:gd name="connsiteX30376" fmla="*/ 910823 w 6884782"/>
              <a:gd name="connsiteY30376" fmla="*/ 2645186 h 5973007"/>
              <a:gd name="connsiteX30377" fmla="*/ 518372 w 6884782"/>
              <a:gd name="connsiteY30377" fmla="*/ 2644954 h 5973007"/>
              <a:gd name="connsiteX30378" fmla="*/ 525368 w 6884782"/>
              <a:gd name="connsiteY30378" fmla="*/ 2648749 h 5973007"/>
              <a:gd name="connsiteX30379" fmla="*/ 527124 w 6884782"/>
              <a:gd name="connsiteY30379" fmla="*/ 2650608 h 5973007"/>
              <a:gd name="connsiteX30380" fmla="*/ 530531 w 6884782"/>
              <a:gd name="connsiteY30380" fmla="*/ 2652621 h 5973007"/>
              <a:gd name="connsiteX30381" fmla="*/ 528259 w 6884782"/>
              <a:gd name="connsiteY30381" fmla="*/ 2659282 h 5973007"/>
              <a:gd name="connsiteX30382" fmla="*/ 527846 w 6884782"/>
              <a:gd name="connsiteY30382" fmla="*/ 2659901 h 5973007"/>
              <a:gd name="connsiteX30383" fmla="*/ 533732 w 6884782"/>
              <a:gd name="connsiteY30383" fmla="*/ 2657578 h 5973007"/>
              <a:gd name="connsiteX30384" fmla="*/ 536313 w 6884782"/>
              <a:gd name="connsiteY30384" fmla="*/ 2672758 h 5973007"/>
              <a:gd name="connsiteX30385" fmla="*/ 530634 w 6884782"/>
              <a:gd name="connsiteY30385" fmla="*/ 2665632 h 5973007"/>
              <a:gd name="connsiteX30386" fmla="*/ 527433 w 6884782"/>
              <a:gd name="connsiteY30386" fmla="*/ 2660366 h 5973007"/>
              <a:gd name="connsiteX30387" fmla="*/ 525988 w 6884782"/>
              <a:gd name="connsiteY30387" fmla="*/ 2662225 h 5973007"/>
              <a:gd name="connsiteX30388" fmla="*/ 511222 w 6884782"/>
              <a:gd name="connsiteY30388" fmla="*/ 2663309 h 5973007"/>
              <a:gd name="connsiteX30389" fmla="*/ 507504 w 6884782"/>
              <a:gd name="connsiteY30389" fmla="*/ 2654016 h 5973007"/>
              <a:gd name="connsiteX30390" fmla="*/ 509776 w 6884782"/>
              <a:gd name="connsiteY30390" fmla="*/ 2648904 h 5973007"/>
              <a:gd name="connsiteX30391" fmla="*/ 512771 w 6884782"/>
              <a:gd name="connsiteY30391" fmla="*/ 2646271 h 5973007"/>
              <a:gd name="connsiteX30392" fmla="*/ 518372 w 6884782"/>
              <a:gd name="connsiteY30392" fmla="*/ 2644954 h 5973007"/>
              <a:gd name="connsiteX30393" fmla="*/ 718147 w 6884782"/>
              <a:gd name="connsiteY30393" fmla="*/ 2644877 h 5973007"/>
              <a:gd name="connsiteX30394" fmla="*/ 708957 w 6884782"/>
              <a:gd name="connsiteY30394" fmla="*/ 2667491 h 5973007"/>
              <a:gd name="connsiteX30395" fmla="*/ 702969 w 6884782"/>
              <a:gd name="connsiteY30395" fmla="*/ 2671829 h 5973007"/>
              <a:gd name="connsiteX30396" fmla="*/ 704827 w 6884782"/>
              <a:gd name="connsiteY30396" fmla="*/ 2655564 h 5973007"/>
              <a:gd name="connsiteX30397" fmla="*/ 689029 w 6884782"/>
              <a:gd name="connsiteY30397" fmla="*/ 2649214 h 5973007"/>
              <a:gd name="connsiteX30398" fmla="*/ 693056 w 6884782"/>
              <a:gd name="connsiteY30398" fmla="*/ 2647200 h 5973007"/>
              <a:gd name="connsiteX30399" fmla="*/ 708751 w 6884782"/>
              <a:gd name="connsiteY30399" fmla="*/ 2649059 h 5973007"/>
              <a:gd name="connsiteX30400" fmla="*/ 718147 w 6884782"/>
              <a:gd name="connsiteY30400" fmla="*/ 2644877 h 5973007"/>
              <a:gd name="connsiteX30401" fmla="*/ 1297208 w 6884782"/>
              <a:gd name="connsiteY30401" fmla="*/ 2643173 h 5973007"/>
              <a:gd name="connsiteX30402" fmla="*/ 1309392 w 6884782"/>
              <a:gd name="connsiteY30402" fmla="*/ 2643947 h 5973007"/>
              <a:gd name="connsiteX30403" fmla="*/ 1315691 w 6884782"/>
              <a:gd name="connsiteY30403" fmla="*/ 2645496 h 5973007"/>
              <a:gd name="connsiteX30404" fmla="*/ 1319305 w 6884782"/>
              <a:gd name="connsiteY30404" fmla="*/ 2643173 h 5973007"/>
              <a:gd name="connsiteX30405" fmla="*/ 1320028 w 6884782"/>
              <a:gd name="connsiteY30405" fmla="*/ 2646425 h 5973007"/>
              <a:gd name="connsiteX30406" fmla="*/ 1321990 w 6884782"/>
              <a:gd name="connsiteY30406" fmla="*/ 2647045 h 5973007"/>
              <a:gd name="connsiteX30407" fmla="*/ 1327359 w 6884782"/>
              <a:gd name="connsiteY30407" fmla="*/ 2649833 h 5973007"/>
              <a:gd name="connsiteX30408" fmla="*/ 1327669 w 6884782"/>
              <a:gd name="connsiteY30408" fmla="*/ 2649368 h 5973007"/>
              <a:gd name="connsiteX30409" fmla="*/ 1330250 w 6884782"/>
              <a:gd name="connsiteY30409" fmla="*/ 2649214 h 5973007"/>
              <a:gd name="connsiteX30410" fmla="*/ 1332831 w 6884782"/>
              <a:gd name="connsiteY30410" fmla="*/ 2652621 h 5973007"/>
              <a:gd name="connsiteX30411" fmla="*/ 1333554 w 6884782"/>
              <a:gd name="connsiteY30411" fmla="*/ 2652931 h 5973007"/>
              <a:gd name="connsiteX30412" fmla="*/ 1342434 w 6884782"/>
              <a:gd name="connsiteY30412" fmla="*/ 2662380 h 5973007"/>
              <a:gd name="connsiteX30413" fmla="*/ 1345842 w 6884782"/>
              <a:gd name="connsiteY30413" fmla="*/ 2671054 h 5973007"/>
              <a:gd name="connsiteX30414" fmla="*/ 1345945 w 6884782"/>
              <a:gd name="connsiteY30414" fmla="*/ 2674152 h 5973007"/>
              <a:gd name="connsiteX30415" fmla="*/ 1347081 w 6884782"/>
              <a:gd name="connsiteY30415" fmla="*/ 2676166 h 5973007"/>
              <a:gd name="connsiteX30416" fmla="*/ 1351108 w 6884782"/>
              <a:gd name="connsiteY30416" fmla="*/ 2687008 h 5973007"/>
              <a:gd name="connsiteX30417" fmla="*/ 1347804 w 6884782"/>
              <a:gd name="connsiteY30417" fmla="*/ 2680348 h 5973007"/>
              <a:gd name="connsiteX30418" fmla="*/ 1345945 w 6884782"/>
              <a:gd name="connsiteY30418" fmla="*/ 2674462 h 5973007"/>
              <a:gd name="connsiteX30419" fmla="*/ 1346048 w 6884782"/>
              <a:gd name="connsiteY30419" fmla="*/ 2679263 h 5973007"/>
              <a:gd name="connsiteX30420" fmla="*/ 1344190 w 6884782"/>
              <a:gd name="connsiteY30420" fmla="*/ 2696457 h 5973007"/>
              <a:gd name="connsiteX30421" fmla="*/ 1329734 w 6884782"/>
              <a:gd name="connsiteY30421" fmla="*/ 2709158 h 5973007"/>
              <a:gd name="connsiteX30422" fmla="*/ 1323641 w 6884782"/>
              <a:gd name="connsiteY30422" fmla="*/ 2708384 h 5973007"/>
              <a:gd name="connsiteX30423" fmla="*/ 1319202 w 6884782"/>
              <a:gd name="connsiteY30423" fmla="*/ 2708539 h 5973007"/>
              <a:gd name="connsiteX30424" fmla="*/ 1316620 w 6884782"/>
              <a:gd name="connsiteY30424" fmla="*/ 2711637 h 5973007"/>
              <a:gd name="connsiteX30425" fmla="*/ 1315485 w 6884782"/>
              <a:gd name="connsiteY30425" fmla="*/ 2711017 h 5973007"/>
              <a:gd name="connsiteX30426" fmla="*/ 1314245 w 6884782"/>
              <a:gd name="connsiteY30426" fmla="*/ 2712721 h 5973007"/>
              <a:gd name="connsiteX30427" fmla="*/ 1306192 w 6884782"/>
              <a:gd name="connsiteY30427" fmla="*/ 2713341 h 5973007"/>
              <a:gd name="connsiteX30428" fmla="*/ 1304436 w 6884782"/>
              <a:gd name="connsiteY30428" fmla="*/ 2709933 h 5973007"/>
              <a:gd name="connsiteX30429" fmla="*/ 1303403 w 6884782"/>
              <a:gd name="connsiteY30429" fmla="*/ 2709933 h 5973007"/>
              <a:gd name="connsiteX30430" fmla="*/ 1291116 w 6884782"/>
              <a:gd name="connsiteY30430" fmla="*/ 2699710 h 5973007"/>
              <a:gd name="connsiteX30431" fmla="*/ 1289877 w 6884782"/>
              <a:gd name="connsiteY30431" fmla="*/ 2698780 h 5973007"/>
              <a:gd name="connsiteX30432" fmla="*/ 1289567 w 6884782"/>
              <a:gd name="connsiteY30432" fmla="*/ 2701259 h 5973007"/>
              <a:gd name="connsiteX30433" fmla="*/ 1285953 w 6884782"/>
              <a:gd name="connsiteY30433" fmla="*/ 2704511 h 5973007"/>
              <a:gd name="connsiteX30434" fmla="*/ 1287296 w 6884782"/>
              <a:gd name="connsiteY30434" fmla="*/ 2708074 h 5973007"/>
              <a:gd name="connsiteX30435" fmla="*/ 1285953 w 6884782"/>
              <a:gd name="connsiteY30435" fmla="*/ 2717058 h 5973007"/>
              <a:gd name="connsiteX30436" fmla="*/ 1282030 w 6884782"/>
              <a:gd name="connsiteY30436" fmla="*/ 2720001 h 5973007"/>
              <a:gd name="connsiteX30437" fmla="*/ 1282030 w 6884782"/>
              <a:gd name="connsiteY30437" fmla="*/ 2720621 h 5973007"/>
              <a:gd name="connsiteX30438" fmla="*/ 1276867 w 6884782"/>
              <a:gd name="connsiteY30438" fmla="*/ 2722479 h 5973007"/>
              <a:gd name="connsiteX30439" fmla="*/ 1275008 w 6884782"/>
              <a:gd name="connsiteY30439" fmla="*/ 2718452 h 5973007"/>
              <a:gd name="connsiteX30440" fmla="*/ 1276247 w 6884782"/>
              <a:gd name="connsiteY30440" fmla="*/ 2716593 h 5973007"/>
              <a:gd name="connsiteX30441" fmla="*/ 1277073 w 6884782"/>
              <a:gd name="connsiteY30441" fmla="*/ 2716593 h 5973007"/>
              <a:gd name="connsiteX30442" fmla="*/ 1278622 w 6884782"/>
              <a:gd name="connsiteY30442" fmla="*/ 2716439 h 5973007"/>
              <a:gd name="connsiteX30443" fmla="*/ 1274698 w 6884782"/>
              <a:gd name="connsiteY30443" fmla="*/ 2711327 h 5973007"/>
              <a:gd name="connsiteX30444" fmla="*/ 1272220 w 6884782"/>
              <a:gd name="connsiteY30444" fmla="*/ 2697851 h 5973007"/>
              <a:gd name="connsiteX30445" fmla="*/ 1283785 w 6884782"/>
              <a:gd name="connsiteY30445" fmla="*/ 2699245 h 5973007"/>
              <a:gd name="connsiteX30446" fmla="*/ 1283991 w 6884782"/>
              <a:gd name="connsiteY30446" fmla="*/ 2699555 h 5973007"/>
              <a:gd name="connsiteX30447" fmla="*/ 1284611 w 6884782"/>
              <a:gd name="connsiteY30447" fmla="*/ 2699245 h 5973007"/>
              <a:gd name="connsiteX30448" fmla="*/ 1288018 w 6884782"/>
              <a:gd name="connsiteY30448" fmla="*/ 2697386 h 5973007"/>
              <a:gd name="connsiteX30449" fmla="*/ 1289464 w 6884782"/>
              <a:gd name="connsiteY30449" fmla="*/ 2698471 h 5973007"/>
              <a:gd name="connsiteX30450" fmla="*/ 1278829 w 6884782"/>
              <a:gd name="connsiteY30450" fmla="*/ 2689642 h 5973007"/>
              <a:gd name="connsiteX30451" fmla="*/ 1278725 w 6884782"/>
              <a:gd name="connsiteY30451" fmla="*/ 2682516 h 5973007"/>
              <a:gd name="connsiteX30452" fmla="*/ 1278622 w 6884782"/>
              <a:gd name="connsiteY30452" fmla="*/ 2682361 h 5973007"/>
              <a:gd name="connsiteX30453" fmla="*/ 1277693 w 6884782"/>
              <a:gd name="connsiteY30453" fmla="*/ 2682671 h 5973007"/>
              <a:gd name="connsiteX30454" fmla="*/ 1277590 w 6884782"/>
              <a:gd name="connsiteY30454" fmla="*/ 2683601 h 5973007"/>
              <a:gd name="connsiteX30455" fmla="*/ 1275937 w 6884782"/>
              <a:gd name="connsiteY30455" fmla="*/ 2682671 h 5973007"/>
              <a:gd name="connsiteX30456" fmla="*/ 1274079 w 6884782"/>
              <a:gd name="connsiteY30456" fmla="*/ 2676630 h 5973007"/>
              <a:gd name="connsiteX30457" fmla="*/ 1276660 w 6884782"/>
              <a:gd name="connsiteY30457" fmla="*/ 2675701 h 5973007"/>
              <a:gd name="connsiteX30458" fmla="*/ 1277899 w 6884782"/>
              <a:gd name="connsiteY30458" fmla="*/ 2676475 h 5973007"/>
              <a:gd name="connsiteX30459" fmla="*/ 1276867 w 6884782"/>
              <a:gd name="connsiteY30459" fmla="*/ 2671364 h 5973007"/>
              <a:gd name="connsiteX30460" fmla="*/ 1279655 w 6884782"/>
              <a:gd name="connsiteY30460" fmla="*/ 2654170 h 5973007"/>
              <a:gd name="connsiteX30461" fmla="*/ 1297208 w 6884782"/>
              <a:gd name="connsiteY30461" fmla="*/ 2643173 h 5973007"/>
              <a:gd name="connsiteX30462" fmla="*/ 1359885 w 6884782"/>
              <a:gd name="connsiteY30462" fmla="*/ 2643017 h 5973007"/>
              <a:gd name="connsiteX30463" fmla="*/ 1353896 w 6884782"/>
              <a:gd name="connsiteY30463" fmla="*/ 2652002 h 5973007"/>
              <a:gd name="connsiteX30464" fmla="*/ 1359885 w 6884782"/>
              <a:gd name="connsiteY30464" fmla="*/ 2643017 h 5973007"/>
              <a:gd name="connsiteX30465" fmla="*/ 1019965 w 6884782"/>
              <a:gd name="connsiteY30465" fmla="*/ 2642863 h 5973007"/>
              <a:gd name="connsiteX30466" fmla="*/ 1023476 w 6884782"/>
              <a:gd name="connsiteY30466" fmla="*/ 2643792 h 5973007"/>
              <a:gd name="connsiteX30467" fmla="*/ 1024096 w 6884782"/>
              <a:gd name="connsiteY30467" fmla="*/ 2646271 h 5973007"/>
              <a:gd name="connsiteX30468" fmla="*/ 1023166 w 6884782"/>
              <a:gd name="connsiteY30468" fmla="*/ 2646271 h 5973007"/>
              <a:gd name="connsiteX30469" fmla="*/ 1019449 w 6884782"/>
              <a:gd name="connsiteY30469" fmla="*/ 2647045 h 5973007"/>
              <a:gd name="connsiteX30470" fmla="*/ 1019036 w 6884782"/>
              <a:gd name="connsiteY30470" fmla="*/ 2645186 h 5973007"/>
              <a:gd name="connsiteX30471" fmla="*/ 1019965 w 6884782"/>
              <a:gd name="connsiteY30471" fmla="*/ 2642863 h 5973007"/>
              <a:gd name="connsiteX30472" fmla="*/ 1388177 w 6884782"/>
              <a:gd name="connsiteY30472" fmla="*/ 2641314 h 5973007"/>
              <a:gd name="connsiteX30473" fmla="*/ 1398812 w 6884782"/>
              <a:gd name="connsiteY30473" fmla="*/ 2648594 h 5973007"/>
              <a:gd name="connsiteX30474" fmla="*/ 1385079 w 6884782"/>
              <a:gd name="connsiteY30474" fmla="*/ 2643483 h 5973007"/>
              <a:gd name="connsiteX30475" fmla="*/ 1388177 w 6884782"/>
              <a:gd name="connsiteY30475" fmla="*/ 2641314 h 5973007"/>
              <a:gd name="connsiteX30476" fmla="*/ 450817 w 6884782"/>
              <a:gd name="connsiteY30476" fmla="*/ 2641159 h 5973007"/>
              <a:gd name="connsiteX30477" fmla="*/ 451643 w 6884782"/>
              <a:gd name="connsiteY30477" fmla="*/ 2641469 h 5973007"/>
              <a:gd name="connsiteX30478" fmla="*/ 452366 w 6884782"/>
              <a:gd name="connsiteY30478" fmla="*/ 2644721 h 5973007"/>
              <a:gd name="connsiteX30479" fmla="*/ 450714 w 6884782"/>
              <a:gd name="connsiteY30479" fmla="*/ 2644567 h 5973007"/>
              <a:gd name="connsiteX30480" fmla="*/ 450714 w 6884782"/>
              <a:gd name="connsiteY30480" fmla="*/ 2645341 h 5973007"/>
              <a:gd name="connsiteX30481" fmla="*/ 449165 w 6884782"/>
              <a:gd name="connsiteY30481" fmla="*/ 2644412 h 5973007"/>
              <a:gd name="connsiteX30482" fmla="*/ 449165 w 6884782"/>
              <a:gd name="connsiteY30482" fmla="*/ 2643637 h 5973007"/>
              <a:gd name="connsiteX30483" fmla="*/ 448959 w 6884782"/>
              <a:gd name="connsiteY30483" fmla="*/ 2643328 h 5973007"/>
              <a:gd name="connsiteX30484" fmla="*/ 449991 w 6884782"/>
              <a:gd name="connsiteY30484" fmla="*/ 2642088 h 5973007"/>
              <a:gd name="connsiteX30485" fmla="*/ 450817 w 6884782"/>
              <a:gd name="connsiteY30485" fmla="*/ 2641159 h 5973007"/>
              <a:gd name="connsiteX30486" fmla="*/ 829251 w 6884782"/>
              <a:gd name="connsiteY30486" fmla="*/ 2640849 h 5973007"/>
              <a:gd name="connsiteX30487" fmla="*/ 831832 w 6884782"/>
              <a:gd name="connsiteY30487" fmla="*/ 2643017 h 5973007"/>
              <a:gd name="connsiteX30488" fmla="*/ 826669 w 6884782"/>
              <a:gd name="connsiteY30488" fmla="*/ 2648439 h 5973007"/>
              <a:gd name="connsiteX30489" fmla="*/ 824708 w 6884782"/>
              <a:gd name="connsiteY30489" fmla="*/ 2643947 h 5973007"/>
              <a:gd name="connsiteX30490" fmla="*/ 826154 w 6884782"/>
              <a:gd name="connsiteY30490" fmla="*/ 2641159 h 5973007"/>
              <a:gd name="connsiteX30491" fmla="*/ 829251 w 6884782"/>
              <a:gd name="connsiteY30491" fmla="*/ 2640849 h 5973007"/>
              <a:gd name="connsiteX30492" fmla="*/ 1115580 w 6884782"/>
              <a:gd name="connsiteY30492" fmla="*/ 2640229 h 5973007"/>
              <a:gd name="connsiteX30493" fmla="*/ 1116303 w 6884782"/>
              <a:gd name="connsiteY30493" fmla="*/ 2641314 h 5973007"/>
              <a:gd name="connsiteX30494" fmla="*/ 1116097 w 6884782"/>
              <a:gd name="connsiteY30494" fmla="*/ 2641778 h 5973007"/>
              <a:gd name="connsiteX30495" fmla="*/ 1114032 w 6884782"/>
              <a:gd name="connsiteY30495" fmla="*/ 2643328 h 5973007"/>
              <a:gd name="connsiteX30496" fmla="*/ 1114032 w 6884782"/>
              <a:gd name="connsiteY30496" fmla="*/ 2642553 h 5973007"/>
              <a:gd name="connsiteX30497" fmla="*/ 1114755 w 6884782"/>
              <a:gd name="connsiteY30497" fmla="*/ 2640384 h 5973007"/>
              <a:gd name="connsiteX30498" fmla="*/ 1115890 w 6884782"/>
              <a:gd name="connsiteY30498" fmla="*/ 2641004 h 5973007"/>
              <a:gd name="connsiteX30499" fmla="*/ 1115580 w 6884782"/>
              <a:gd name="connsiteY30499" fmla="*/ 2640229 h 5973007"/>
              <a:gd name="connsiteX30500" fmla="*/ 1039067 w 6884782"/>
              <a:gd name="connsiteY30500" fmla="*/ 2638681 h 5973007"/>
              <a:gd name="connsiteX30501" fmla="*/ 1031943 w 6884782"/>
              <a:gd name="connsiteY30501" fmla="*/ 2644877 h 5973007"/>
              <a:gd name="connsiteX30502" fmla="*/ 1039067 w 6884782"/>
              <a:gd name="connsiteY30502" fmla="*/ 2638681 h 5973007"/>
              <a:gd name="connsiteX30503" fmla="*/ 1067257 w 6884782"/>
              <a:gd name="connsiteY30503" fmla="*/ 2638526 h 5973007"/>
              <a:gd name="connsiteX30504" fmla="*/ 1071284 w 6884782"/>
              <a:gd name="connsiteY30504" fmla="*/ 2645031 h 5973007"/>
              <a:gd name="connsiteX30505" fmla="*/ 1066844 w 6884782"/>
              <a:gd name="connsiteY30505" fmla="*/ 2640075 h 5973007"/>
              <a:gd name="connsiteX30506" fmla="*/ 1067257 w 6884782"/>
              <a:gd name="connsiteY30506" fmla="*/ 2638526 h 5973007"/>
              <a:gd name="connsiteX30507" fmla="*/ 849593 w 6884782"/>
              <a:gd name="connsiteY30507" fmla="*/ 2635583 h 5973007"/>
              <a:gd name="connsiteX30508" fmla="*/ 854446 w 6884782"/>
              <a:gd name="connsiteY30508" fmla="*/ 2662070 h 5973007"/>
              <a:gd name="connsiteX30509" fmla="*/ 847114 w 6884782"/>
              <a:gd name="connsiteY30509" fmla="*/ 2665013 h 5973007"/>
              <a:gd name="connsiteX30510" fmla="*/ 842364 w 6884782"/>
              <a:gd name="connsiteY30510" fmla="*/ 2663464 h 5973007"/>
              <a:gd name="connsiteX30511" fmla="*/ 841745 w 6884782"/>
              <a:gd name="connsiteY30511" fmla="*/ 2663774 h 5973007"/>
              <a:gd name="connsiteX30512" fmla="*/ 841538 w 6884782"/>
              <a:gd name="connsiteY30512" fmla="*/ 2663154 h 5973007"/>
              <a:gd name="connsiteX30513" fmla="*/ 841022 w 6884782"/>
              <a:gd name="connsiteY30513" fmla="*/ 2662999 h 5973007"/>
              <a:gd name="connsiteX30514" fmla="*/ 835653 w 6884782"/>
              <a:gd name="connsiteY30514" fmla="*/ 2650608 h 5973007"/>
              <a:gd name="connsiteX30515" fmla="*/ 849593 w 6884782"/>
              <a:gd name="connsiteY30515" fmla="*/ 2635583 h 5973007"/>
              <a:gd name="connsiteX30516" fmla="*/ 505646 w 6884782"/>
              <a:gd name="connsiteY30516" fmla="*/ 2635118 h 5973007"/>
              <a:gd name="connsiteX30517" fmla="*/ 512771 w 6884782"/>
              <a:gd name="connsiteY30517" fmla="*/ 2637597 h 5973007"/>
              <a:gd name="connsiteX30518" fmla="*/ 510912 w 6884782"/>
              <a:gd name="connsiteY30518" fmla="*/ 2643173 h 5973007"/>
              <a:gd name="connsiteX30519" fmla="*/ 508330 w 6884782"/>
              <a:gd name="connsiteY30519" fmla="*/ 2643792 h 5973007"/>
              <a:gd name="connsiteX30520" fmla="*/ 503064 w 6884782"/>
              <a:gd name="connsiteY30520" fmla="*/ 2642398 h 5973007"/>
              <a:gd name="connsiteX30521" fmla="*/ 503064 w 6884782"/>
              <a:gd name="connsiteY30521" fmla="*/ 2643328 h 5973007"/>
              <a:gd name="connsiteX30522" fmla="*/ 502238 w 6884782"/>
              <a:gd name="connsiteY30522" fmla="*/ 2638216 h 5973007"/>
              <a:gd name="connsiteX30523" fmla="*/ 505646 w 6884782"/>
              <a:gd name="connsiteY30523" fmla="*/ 2635118 h 5973007"/>
              <a:gd name="connsiteX30524" fmla="*/ 1287193 w 6884782"/>
              <a:gd name="connsiteY30524" fmla="*/ 2633879 h 5973007"/>
              <a:gd name="connsiteX30525" fmla="*/ 1291116 w 6884782"/>
              <a:gd name="connsiteY30525" fmla="*/ 2639145 h 5973007"/>
              <a:gd name="connsiteX30526" fmla="*/ 1290703 w 6884782"/>
              <a:gd name="connsiteY30526" fmla="*/ 2640539 h 5973007"/>
              <a:gd name="connsiteX30527" fmla="*/ 1286883 w 6884782"/>
              <a:gd name="connsiteY30527" fmla="*/ 2636047 h 5973007"/>
              <a:gd name="connsiteX30528" fmla="*/ 1287193 w 6884782"/>
              <a:gd name="connsiteY30528" fmla="*/ 2633879 h 5973007"/>
              <a:gd name="connsiteX30529" fmla="*/ 734152 w 6884782"/>
              <a:gd name="connsiteY30529" fmla="*/ 2632950 h 5973007"/>
              <a:gd name="connsiteX30530" fmla="*/ 739625 w 6884782"/>
              <a:gd name="connsiteY30530" fmla="*/ 2634344 h 5973007"/>
              <a:gd name="connsiteX30531" fmla="*/ 749434 w 6884782"/>
              <a:gd name="connsiteY30531" fmla="*/ 2647974 h 5973007"/>
              <a:gd name="connsiteX30532" fmla="*/ 733946 w 6884782"/>
              <a:gd name="connsiteY30532" fmla="*/ 2655719 h 5973007"/>
              <a:gd name="connsiteX30533" fmla="*/ 729092 w 6884782"/>
              <a:gd name="connsiteY30533" fmla="*/ 2644412 h 5973007"/>
              <a:gd name="connsiteX30534" fmla="*/ 734152 w 6884782"/>
              <a:gd name="connsiteY30534" fmla="*/ 2632950 h 5973007"/>
              <a:gd name="connsiteX30535" fmla="*/ 1080473 w 6884782"/>
              <a:gd name="connsiteY30535" fmla="*/ 2632020 h 5973007"/>
              <a:gd name="connsiteX30536" fmla="*/ 1081402 w 6884782"/>
              <a:gd name="connsiteY30536" fmla="*/ 2639765 h 5973007"/>
              <a:gd name="connsiteX30537" fmla="*/ 1078099 w 6884782"/>
              <a:gd name="connsiteY30537" fmla="*/ 2636047 h 5973007"/>
              <a:gd name="connsiteX30538" fmla="*/ 1080473 w 6884782"/>
              <a:gd name="connsiteY30538" fmla="*/ 2632020 h 5973007"/>
              <a:gd name="connsiteX30539" fmla="*/ 1000037 w 6884782"/>
              <a:gd name="connsiteY30539" fmla="*/ 2631710 h 5973007"/>
              <a:gd name="connsiteX30540" fmla="*/ 1002721 w 6884782"/>
              <a:gd name="connsiteY30540" fmla="*/ 2632484 h 5973007"/>
              <a:gd name="connsiteX30541" fmla="*/ 1003547 w 6884782"/>
              <a:gd name="connsiteY30541" fmla="*/ 2645341 h 5973007"/>
              <a:gd name="connsiteX30542" fmla="*/ 1002928 w 6884782"/>
              <a:gd name="connsiteY30542" fmla="*/ 2646116 h 5973007"/>
              <a:gd name="connsiteX30543" fmla="*/ 1012428 w 6884782"/>
              <a:gd name="connsiteY30543" fmla="*/ 2650143 h 5973007"/>
              <a:gd name="connsiteX30544" fmla="*/ 1015215 w 6884782"/>
              <a:gd name="connsiteY30544" fmla="*/ 2650918 h 5973007"/>
              <a:gd name="connsiteX30545" fmla="*/ 1016145 w 6884782"/>
              <a:gd name="connsiteY30545" fmla="*/ 2650298 h 5973007"/>
              <a:gd name="connsiteX30546" fmla="*/ 1019243 w 6884782"/>
              <a:gd name="connsiteY30546" fmla="*/ 2648749 h 5973007"/>
              <a:gd name="connsiteX30547" fmla="*/ 1019759 w 6884782"/>
              <a:gd name="connsiteY30547" fmla="*/ 2650298 h 5973007"/>
              <a:gd name="connsiteX30548" fmla="*/ 1021617 w 6884782"/>
              <a:gd name="connsiteY30548" fmla="*/ 2649523 h 5973007"/>
              <a:gd name="connsiteX30549" fmla="*/ 1024818 w 6884782"/>
              <a:gd name="connsiteY30549" fmla="*/ 2649368 h 5973007"/>
              <a:gd name="connsiteX30550" fmla="*/ 1023269 w 6884782"/>
              <a:gd name="connsiteY30550" fmla="*/ 2655719 h 5973007"/>
              <a:gd name="connsiteX30551" fmla="*/ 1019965 w 6884782"/>
              <a:gd name="connsiteY30551" fmla="*/ 2654635 h 5973007"/>
              <a:gd name="connsiteX30552" fmla="*/ 1018933 w 6884782"/>
              <a:gd name="connsiteY30552" fmla="*/ 2656494 h 5973007"/>
              <a:gd name="connsiteX30553" fmla="*/ 1017074 w 6884782"/>
              <a:gd name="connsiteY30553" fmla="*/ 2657578 h 5973007"/>
              <a:gd name="connsiteX30554" fmla="*/ 1014802 w 6884782"/>
              <a:gd name="connsiteY30554" fmla="*/ 2658662 h 5973007"/>
              <a:gd name="connsiteX30555" fmla="*/ 1014389 w 6884782"/>
              <a:gd name="connsiteY30555" fmla="*/ 2658662 h 5973007"/>
              <a:gd name="connsiteX30556" fmla="*/ 1013564 w 6884782"/>
              <a:gd name="connsiteY30556" fmla="*/ 2659746 h 5973007"/>
              <a:gd name="connsiteX30557" fmla="*/ 1009743 w 6884782"/>
              <a:gd name="connsiteY30557" fmla="*/ 2668421 h 5973007"/>
              <a:gd name="connsiteX30558" fmla="*/ 1011292 w 6884782"/>
              <a:gd name="connsiteY30558" fmla="*/ 2669195 h 5973007"/>
              <a:gd name="connsiteX30559" fmla="*/ 1014286 w 6884782"/>
              <a:gd name="connsiteY30559" fmla="*/ 2672603 h 5973007"/>
              <a:gd name="connsiteX30560" fmla="*/ 1014080 w 6884782"/>
              <a:gd name="connsiteY30560" fmla="*/ 2672913 h 5973007"/>
              <a:gd name="connsiteX30561" fmla="*/ 1018520 w 6884782"/>
              <a:gd name="connsiteY30561" fmla="*/ 2677869 h 5973007"/>
              <a:gd name="connsiteX30562" fmla="*/ 1020172 w 6884782"/>
              <a:gd name="connsiteY30562" fmla="*/ 2684685 h 5973007"/>
              <a:gd name="connsiteX30563" fmla="*/ 1003341 w 6884782"/>
              <a:gd name="connsiteY30563" fmla="*/ 2683755 h 5973007"/>
              <a:gd name="connsiteX30564" fmla="*/ 1001173 w 6884782"/>
              <a:gd name="connsiteY30564" fmla="*/ 2678489 h 5973007"/>
              <a:gd name="connsiteX30565" fmla="*/ 1000553 w 6884782"/>
              <a:gd name="connsiteY30565" fmla="*/ 2678799 h 5973007"/>
              <a:gd name="connsiteX30566" fmla="*/ 992809 w 6884782"/>
              <a:gd name="connsiteY30566" fmla="*/ 2680503 h 5973007"/>
              <a:gd name="connsiteX30567" fmla="*/ 988782 w 6884782"/>
              <a:gd name="connsiteY30567" fmla="*/ 2679728 h 5973007"/>
              <a:gd name="connsiteX30568" fmla="*/ 988679 w 6884782"/>
              <a:gd name="connsiteY30568" fmla="*/ 2679883 h 5973007"/>
              <a:gd name="connsiteX30569" fmla="*/ 982483 w 6884782"/>
              <a:gd name="connsiteY30569" fmla="*/ 2679418 h 5973007"/>
              <a:gd name="connsiteX30570" fmla="*/ 983722 w 6884782"/>
              <a:gd name="connsiteY30570" fmla="*/ 2677405 h 5973007"/>
              <a:gd name="connsiteX30571" fmla="*/ 980728 w 6884782"/>
              <a:gd name="connsiteY30571" fmla="*/ 2675236 h 5973007"/>
              <a:gd name="connsiteX30572" fmla="*/ 978869 w 6884782"/>
              <a:gd name="connsiteY30572" fmla="*/ 2672293 h 5973007"/>
              <a:gd name="connsiteX30573" fmla="*/ 976495 w 6884782"/>
              <a:gd name="connsiteY30573" fmla="*/ 2671518 h 5973007"/>
              <a:gd name="connsiteX30574" fmla="*/ 977011 w 6884782"/>
              <a:gd name="connsiteY30574" fmla="*/ 2673687 h 5973007"/>
              <a:gd name="connsiteX30575" fmla="*/ 975462 w 6884782"/>
              <a:gd name="connsiteY30575" fmla="*/ 2676630 h 5973007"/>
              <a:gd name="connsiteX30576" fmla="*/ 968750 w 6884782"/>
              <a:gd name="connsiteY30576" fmla="*/ 2671209 h 5973007"/>
              <a:gd name="connsiteX30577" fmla="*/ 971435 w 6884782"/>
              <a:gd name="connsiteY30577" fmla="*/ 2668575 h 5973007"/>
              <a:gd name="connsiteX30578" fmla="*/ 972674 w 6884782"/>
              <a:gd name="connsiteY30578" fmla="*/ 2669195 h 5973007"/>
              <a:gd name="connsiteX30579" fmla="*/ 968854 w 6884782"/>
              <a:gd name="connsiteY30579" fmla="*/ 2666562 h 5973007"/>
              <a:gd name="connsiteX30580" fmla="*/ 963897 w 6884782"/>
              <a:gd name="connsiteY30580" fmla="*/ 2653241 h 5973007"/>
              <a:gd name="connsiteX30581" fmla="*/ 967201 w 6884782"/>
              <a:gd name="connsiteY30581" fmla="*/ 2645186 h 5973007"/>
              <a:gd name="connsiteX30582" fmla="*/ 972364 w 6884782"/>
              <a:gd name="connsiteY30582" fmla="*/ 2641004 h 5973007"/>
              <a:gd name="connsiteX30583" fmla="*/ 977114 w 6884782"/>
              <a:gd name="connsiteY30583" fmla="*/ 2639300 h 5973007"/>
              <a:gd name="connsiteX30584" fmla="*/ 977940 w 6884782"/>
              <a:gd name="connsiteY30584" fmla="*/ 2638061 h 5973007"/>
              <a:gd name="connsiteX30585" fmla="*/ 978663 w 6884782"/>
              <a:gd name="connsiteY30585" fmla="*/ 2638835 h 5973007"/>
              <a:gd name="connsiteX30586" fmla="*/ 982690 w 6884782"/>
              <a:gd name="connsiteY30586" fmla="*/ 2637441 h 5973007"/>
              <a:gd name="connsiteX30587" fmla="*/ 994461 w 6884782"/>
              <a:gd name="connsiteY30587" fmla="*/ 2632950 h 5973007"/>
              <a:gd name="connsiteX30588" fmla="*/ 994358 w 6884782"/>
              <a:gd name="connsiteY30588" fmla="*/ 2634344 h 5973007"/>
              <a:gd name="connsiteX30589" fmla="*/ 995390 w 6884782"/>
              <a:gd name="connsiteY30589" fmla="*/ 2633569 h 5973007"/>
              <a:gd name="connsiteX30590" fmla="*/ 1000037 w 6884782"/>
              <a:gd name="connsiteY30590" fmla="*/ 2631710 h 5973007"/>
              <a:gd name="connsiteX30591" fmla="*/ 1114858 w 6884782"/>
              <a:gd name="connsiteY30591" fmla="*/ 2631246 h 5973007"/>
              <a:gd name="connsiteX30592" fmla="*/ 1116510 w 6884782"/>
              <a:gd name="connsiteY30592" fmla="*/ 2632175 h 5973007"/>
              <a:gd name="connsiteX30593" fmla="*/ 1112483 w 6884782"/>
              <a:gd name="connsiteY30593" fmla="*/ 2635893 h 5973007"/>
              <a:gd name="connsiteX30594" fmla="*/ 1108869 w 6884782"/>
              <a:gd name="connsiteY30594" fmla="*/ 2638216 h 5973007"/>
              <a:gd name="connsiteX30595" fmla="*/ 1095136 w 6884782"/>
              <a:gd name="connsiteY30595" fmla="*/ 2643328 h 5973007"/>
              <a:gd name="connsiteX30596" fmla="*/ 1099472 w 6884782"/>
              <a:gd name="connsiteY30596" fmla="*/ 2639455 h 5973007"/>
              <a:gd name="connsiteX30597" fmla="*/ 1099059 w 6884782"/>
              <a:gd name="connsiteY30597" fmla="*/ 2637287 h 5973007"/>
              <a:gd name="connsiteX30598" fmla="*/ 1101847 w 6884782"/>
              <a:gd name="connsiteY30598" fmla="*/ 2634189 h 5973007"/>
              <a:gd name="connsiteX30599" fmla="*/ 1102157 w 6884782"/>
              <a:gd name="connsiteY30599" fmla="*/ 2637597 h 5973007"/>
              <a:gd name="connsiteX30600" fmla="*/ 1101951 w 6884782"/>
              <a:gd name="connsiteY30600" fmla="*/ 2637906 h 5973007"/>
              <a:gd name="connsiteX30601" fmla="*/ 1106494 w 6884782"/>
              <a:gd name="connsiteY30601" fmla="*/ 2635273 h 5973007"/>
              <a:gd name="connsiteX30602" fmla="*/ 1111760 w 6884782"/>
              <a:gd name="connsiteY30602" fmla="*/ 2631400 h 5973007"/>
              <a:gd name="connsiteX30603" fmla="*/ 1114135 w 6884782"/>
              <a:gd name="connsiteY30603" fmla="*/ 2631865 h 5973007"/>
              <a:gd name="connsiteX30604" fmla="*/ 1114858 w 6884782"/>
              <a:gd name="connsiteY30604" fmla="*/ 2631246 h 5973007"/>
              <a:gd name="connsiteX30605" fmla="*/ 1424110 w 6884782"/>
              <a:gd name="connsiteY30605" fmla="*/ 2629387 h 5973007"/>
              <a:gd name="connsiteX30606" fmla="*/ 1426692 w 6884782"/>
              <a:gd name="connsiteY30606" fmla="*/ 2630936 h 5973007"/>
              <a:gd name="connsiteX30607" fmla="*/ 1419876 w 6884782"/>
              <a:gd name="connsiteY30607" fmla="*/ 2633414 h 5973007"/>
              <a:gd name="connsiteX30608" fmla="*/ 1424110 w 6884782"/>
              <a:gd name="connsiteY30608" fmla="*/ 2629387 h 5973007"/>
              <a:gd name="connsiteX30609" fmla="*/ 1152030 w 6884782"/>
              <a:gd name="connsiteY30609" fmla="*/ 2626908 h 5973007"/>
              <a:gd name="connsiteX30610" fmla="*/ 1157296 w 6884782"/>
              <a:gd name="connsiteY30610" fmla="*/ 2636977 h 5973007"/>
              <a:gd name="connsiteX30611" fmla="*/ 1156676 w 6884782"/>
              <a:gd name="connsiteY30611" fmla="*/ 2639300 h 5973007"/>
              <a:gd name="connsiteX30612" fmla="*/ 1156883 w 6884782"/>
              <a:gd name="connsiteY30612" fmla="*/ 2641159 h 5973007"/>
              <a:gd name="connsiteX30613" fmla="*/ 1153889 w 6884782"/>
              <a:gd name="connsiteY30613" fmla="*/ 2645651 h 5973007"/>
              <a:gd name="connsiteX30614" fmla="*/ 1149448 w 6884782"/>
              <a:gd name="connsiteY30614" fmla="*/ 2629232 h 5973007"/>
              <a:gd name="connsiteX30615" fmla="*/ 1149965 w 6884782"/>
              <a:gd name="connsiteY30615" fmla="*/ 2627373 h 5973007"/>
              <a:gd name="connsiteX30616" fmla="*/ 1152030 w 6884782"/>
              <a:gd name="connsiteY30616" fmla="*/ 2626908 h 5973007"/>
              <a:gd name="connsiteX30617" fmla="*/ 1155954 w 6884782"/>
              <a:gd name="connsiteY30617" fmla="*/ 2626134 h 5973007"/>
              <a:gd name="connsiteX30618" fmla="*/ 1156780 w 6884782"/>
              <a:gd name="connsiteY30618" fmla="*/ 2626134 h 5973007"/>
              <a:gd name="connsiteX30619" fmla="*/ 1155954 w 6884782"/>
              <a:gd name="connsiteY30619" fmla="*/ 2627683 h 5973007"/>
              <a:gd name="connsiteX30620" fmla="*/ 1155644 w 6884782"/>
              <a:gd name="connsiteY30620" fmla="*/ 2627218 h 5973007"/>
              <a:gd name="connsiteX30621" fmla="*/ 1155954 w 6884782"/>
              <a:gd name="connsiteY30621" fmla="*/ 2626134 h 5973007"/>
              <a:gd name="connsiteX30622" fmla="*/ 1117646 w 6884782"/>
              <a:gd name="connsiteY30622" fmla="*/ 2625669 h 5973007"/>
              <a:gd name="connsiteX30623" fmla="*/ 1140775 w 6884782"/>
              <a:gd name="connsiteY30623" fmla="*/ 2635273 h 5973007"/>
              <a:gd name="connsiteX30624" fmla="*/ 1145215 w 6884782"/>
              <a:gd name="connsiteY30624" fmla="*/ 2641159 h 5973007"/>
              <a:gd name="connsiteX30625" fmla="*/ 1128488 w 6884782"/>
              <a:gd name="connsiteY30625" fmla="*/ 2638990 h 5973007"/>
              <a:gd name="connsiteX30626" fmla="*/ 1121260 w 6884782"/>
              <a:gd name="connsiteY30626" fmla="*/ 2653861 h 5973007"/>
              <a:gd name="connsiteX30627" fmla="*/ 1119401 w 6884782"/>
              <a:gd name="connsiteY30627" fmla="*/ 2650143 h 5973007"/>
              <a:gd name="connsiteX30628" fmla="*/ 1116200 w 6884782"/>
              <a:gd name="connsiteY30628" fmla="*/ 2650453 h 5973007"/>
              <a:gd name="connsiteX30629" fmla="*/ 1115374 w 6884782"/>
              <a:gd name="connsiteY30629" fmla="*/ 2649833 h 5973007"/>
              <a:gd name="connsiteX30630" fmla="*/ 1114238 w 6884782"/>
              <a:gd name="connsiteY30630" fmla="*/ 2650608 h 5973007"/>
              <a:gd name="connsiteX30631" fmla="*/ 1113205 w 6884782"/>
              <a:gd name="connsiteY30631" fmla="*/ 2651227 h 5973007"/>
              <a:gd name="connsiteX30632" fmla="*/ 1111140 w 6884782"/>
              <a:gd name="connsiteY30632" fmla="*/ 2650143 h 5973007"/>
              <a:gd name="connsiteX30633" fmla="*/ 1111244 w 6884782"/>
              <a:gd name="connsiteY30633" fmla="*/ 2648594 h 5973007"/>
              <a:gd name="connsiteX30634" fmla="*/ 1109178 w 6884782"/>
              <a:gd name="connsiteY30634" fmla="*/ 2648129 h 5973007"/>
              <a:gd name="connsiteX30635" fmla="*/ 1114032 w 6884782"/>
              <a:gd name="connsiteY30635" fmla="*/ 2643328 h 5973007"/>
              <a:gd name="connsiteX30636" fmla="*/ 1113309 w 6884782"/>
              <a:gd name="connsiteY30636" fmla="*/ 2645341 h 5973007"/>
              <a:gd name="connsiteX30637" fmla="*/ 1114755 w 6884782"/>
              <a:gd name="connsiteY30637" fmla="*/ 2643792 h 5973007"/>
              <a:gd name="connsiteX30638" fmla="*/ 1120021 w 6884782"/>
              <a:gd name="connsiteY30638" fmla="*/ 2642243 h 5973007"/>
              <a:gd name="connsiteX30639" fmla="*/ 1119917 w 6884782"/>
              <a:gd name="connsiteY30639" fmla="*/ 2644412 h 5973007"/>
              <a:gd name="connsiteX30640" fmla="*/ 1121053 w 6884782"/>
              <a:gd name="connsiteY30640" fmla="*/ 2640229 h 5973007"/>
              <a:gd name="connsiteX30641" fmla="*/ 1121776 w 6884782"/>
              <a:gd name="connsiteY30641" fmla="*/ 2634963 h 5973007"/>
              <a:gd name="connsiteX30642" fmla="*/ 1117439 w 6884782"/>
              <a:gd name="connsiteY30642" fmla="*/ 2629387 h 5973007"/>
              <a:gd name="connsiteX30643" fmla="*/ 1117646 w 6884782"/>
              <a:gd name="connsiteY30643" fmla="*/ 2625669 h 5973007"/>
              <a:gd name="connsiteX30644" fmla="*/ 628004 w 6884782"/>
              <a:gd name="connsiteY30644" fmla="*/ 2624895 h 5973007"/>
              <a:gd name="connsiteX30645" fmla="*/ 629967 w 6884782"/>
              <a:gd name="connsiteY30645" fmla="*/ 2627064 h 5973007"/>
              <a:gd name="connsiteX30646" fmla="*/ 620880 w 6884782"/>
              <a:gd name="connsiteY30646" fmla="*/ 2641159 h 5973007"/>
              <a:gd name="connsiteX30647" fmla="*/ 602087 w 6884782"/>
              <a:gd name="connsiteY30647" fmla="*/ 2640539 h 5973007"/>
              <a:gd name="connsiteX30648" fmla="*/ 601364 w 6884782"/>
              <a:gd name="connsiteY30648" fmla="*/ 2635428 h 5973007"/>
              <a:gd name="connsiteX30649" fmla="*/ 610967 w 6884782"/>
              <a:gd name="connsiteY30649" fmla="*/ 2627064 h 5973007"/>
              <a:gd name="connsiteX30650" fmla="*/ 617163 w 6884782"/>
              <a:gd name="connsiteY30650" fmla="*/ 2625360 h 5973007"/>
              <a:gd name="connsiteX30651" fmla="*/ 628004 w 6884782"/>
              <a:gd name="connsiteY30651" fmla="*/ 2624895 h 5973007"/>
              <a:gd name="connsiteX30652" fmla="*/ 1385750 w 6884782"/>
              <a:gd name="connsiteY30652" fmla="*/ 2624527 h 5973007"/>
              <a:gd name="connsiteX30653" fmla="*/ 1391791 w 6884782"/>
              <a:gd name="connsiteY30653" fmla="*/ 2624585 h 5973007"/>
              <a:gd name="connsiteX30654" fmla="*/ 1394166 w 6884782"/>
              <a:gd name="connsiteY30654" fmla="*/ 2627838 h 5973007"/>
              <a:gd name="connsiteX30655" fmla="*/ 1391688 w 6884782"/>
              <a:gd name="connsiteY30655" fmla="*/ 2634808 h 5973007"/>
              <a:gd name="connsiteX30656" fmla="*/ 1382807 w 6884782"/>
              <a:gd name="connsiteY30656" fmla="*/ 2632484 h 5973007"/>
              <a:gd name="connsiteX30657" fmla="*/ 1385750 w 6884782"/>
              <a:gd name="connsiteY30657" fmla="*/ 2624527 h 5973007"/>
              <a:gd name="connsiteX30658" fmla="*/ 1373140 w 6884782"/>
              <a:gd name="connsiteY30658" fmla="*/ 2623462 h 5973007"/>
              <a:gd name="connsiteX30659" fmla="*/ 1381775 w 6884782"/>
              <a:gd name="connsiteY30659" fmla="*/ 2629387 h 5973007"/>
              <a:gd name="connsiteX30660" fmla="*/ 1360917 w 6884782"/>
              <a:gd name="connsiteY30660" fmla="*/ 2629387 h 5973007"/>
              <a:gd name="connsiteX30661" fmla="*/ 1362260 w 6884782"/>
              <a:gd name="connsiteY30661" fmla="*/ 2625205 h 5973007"/>
              <a:gd name="connsiteX30662" fmla="*/ 1373140 w 6884782"/>
              <a:gd name="connsiteY30662" fmla="*/ 2623462 h 5973007"/>
              <a:gd name="connsiteX30663" fmla="*/ 1092554 w 6884782"/>
              <a:gd name="connsiteY30663" fmla="*/ 2622417 h 5973007"/>
              <a:gd name="connsiteX30664" fmla="*/ 1094929 w 6884782"/>
              <a:gd name="connsiteY30664" fmla="*/ 2623656 h 5973007"/>
              <a:gd name="connsiteX30665" fmla="*/ 1100298 w 6884782"/>
              <a:gd name="connsiteY30665" fmla="*/ 2633259 h 5973007"/>
              <a:gd name="connsiteX30666" fmla="*/ 1092554 w 6884782"/>
              <a:gd name="connsiteY30666" fmla="*/ 2622417 h 5973007"/>
              <a:gd name="connsiteX30667" fmla="*/ 1281823 w 6884782"/>
              <a:gd name="connsiteY30667" fmla="*/ 2621177 h 5973007"/>
              <a:gd name="connsiteX30668" fmla="*/ 1282959 w 6884782"/>
              <a:gd name="connsiteY30668" fmla="*/ 2622417 h 5973007"/>
              <a:gd name="connsiteX30669" fmla="*/ 1285127 w 6884782"/>
              <a:gd name="connsiteY30669" fmla="*/ 2625050 h 5973007"/>
              <a:gd name="connsiteX30670" fmla="*/ 1280481 w 6884782"/>
              <a:gd name="connsiteY30670" fmla="*/ 2621332 h 5973007"/>
              <a:gd name="connsiteX30671" fmla="*/ 1281823 w 6884782"/>
              <a:gd name="connsiteY30671" fmla="*/ 2621177 h 5973007"/>
              <a:gd name="connsiteX30672" fmla="*/ 5051859 w 6884782"/>
              <a:gd name="connsiteY30672" fmla="*/ 2620735 h 5973007"/>
              <a:gd name="connsiteX30673" fmla="*/ 5043535 w 6884782"/>
              <a:gd name="connsiteY30673" fmla="*/ 2654594 h 5973007"/>
              <a:gd name="connsiteX30674" fmla="*/ 5030730 w 6884782"/>
              <a:gd name="connsiteY30674" fmla="*/ 2661708 h 5973007"/>
              <a:gd name="connsiteX30675" fmla="*/ 5033078 w 6884782"/>
              <a:gd name="connsiteY30675" fmla="*/ 2663415 h 5973007"/>
              <a:gd name="connsiteX30676" fmla="*/ 5027956 w 6884782"/>
              <a:gd name="connsiteY30676" fmla="*/ 2663273 h 5973007"/>
              <a:gd name="connsiteX30677" fmla="*/ 5027742 w 6884782"/>
              <a:gd name="connsiteY30677" fmla="*/ 2663415 h 5973007"/>
              <a:gd name="connsiteX30678" fmla="*/ 5027529 w 6884782"/>
              <a:gd name="connsiteY30678" fmla="*/ 2663273 h 5973007"/>
              <a:gd name="connsiteX30679" fmla="*/ 5007681 w 6884782"/>
              <a:gd name="connsiteY30679" fmla="*/ 2662562 h 5973007"/>
              <a:gd name="connsiteX30680" fmla="*/ 4982071 w 6884782"/>
              <a:gd name="connsiteY30680" fmla="*/ 2652461 h 5973007"/>
              <a:gd name="connsiteX30681" fmla="*/ 4995729 w 6884782"/>
              <a:gd name="connsiteY30681" fmla="*/ 2646912 h 5973007"/>
              <a:gd name="connsiteX30682" fmla="*/ 5006614 w 6884782"/>
              <a:gd name="connsiteY30682" fmla="*/ 2647908 h 5973007"/>
              <a:gd name="connsiteX30683" fmla="*/ 5013230 w 6884782"/>
              <a:gd name="connsiteY30683" fmla="*/ 2650611 h 5973007"/>
              <a:gd name="connsiteX30684" fmla="*/ 5008962 w 6884782"/>
              <a:gd name="connsiteY30684" fmla="*/ 2642787 h 5973007"/>
              <a:gd name="connsiteX30685" fmla="*/ 5051859 w 6884782"/>
              <a:gd name="connsiteY30685" fmla="*/ 2620735 h 5973007"/>
              <a:gd name="connsiteX30686" fmla="*/ 961109 w 6884782"/>
              <a:gd name="connsiteY30686" fmla="*/ 2618544 h 5973007"/>
              <a:gd name="connsiteX30687" fmla="*/ 962658 w 6884782"/>
              <a:gd name="connsiteY30687" fmla="*/ 2619783 h 5973007"/>
              <a:gd name="connsiteX30688" fmla="*/ 962555 w 6884782"/>
              <a:gd name="connsiteY30688" fmla="*/ 2620558 h 5973007"/>
              <a:gd name="connsiteX30689" fmla="*/ 962038 w 6884782"/>
              <a:gd name="connsiteY30689" fmla="*/ 2623965 h 5973007"/>
              <a:gd name="connsiteX30690" fmla="*/ 957392 w 6884782"/>
              <a:gd name="connsiteY30690" fmla="*/ 2625360 h 5973007"/>
              <a:gd name="connsiteX30691" fmla="*/ 956050 w 6884782"/>
              <a:gd name="connsiteY30691" fmla="*/ 2622417 h 5973007"/>
              <a:gd name="connsiteX30692" fmla="*/ 956463 w 6884782"/>
              <a:gd name="connsiteY30692" fmla="*/ 2620248 h 5973007"/>
              <a:gd name="connsiteX30693" fmla="*/ 961109 w 6884782"/>
              <a:gd name="connsiteY30693" fmla="*/ 2618544 h 5973007"/>
              <a:gd name="connsiteX30694" fmla="*/ 898846 w 6884782"/>
              <a:gd name="connsiteY30694" fmla="*/ 2618234 h 5973007"/>
              <a:gd name="connsiteX30695" fmla="*/ 903389 w 6884782"/>
              <a:gd name="connsiteY30695" fmla="*/ 2632950 h 5973007"/>
              <a:gd name="connsiteX30696" fmla="*/ 898639 w 6884782"/>
              <a:gd name="connsiteY30696" fmla="*/ 2633879 h 5973007"/>
              <a:gd name="connsiteX30697" fmla="*/ 896470 w 6884782"/>
              <a:gd name="connsiteY30697" fmla="*/ 2632175 h 5973007"/>
              <a:gd name="connsiteX30698" fmla="*/ 894612 w 6884782"/>
              <a:gd name="connsiteY30698" fmla="*/ 2633569 h 5973007"/>
              <a:gd name="connsiteX30699" fmla="*/ 892134 w 6884782"/>
              <a:gd name="connsiteY30699" fmla="*/ 2631091 h 5973007"/>
              <a:gd name="connsiteX30700" fmla="*/ 894096 w 6884782"/>
              <a:gd name="connsiteY30700" fmla="*/ 2627683 h 5973007"/>
              <a:gd name="connsiteX30701" fmla="*/ 894302 w 6884782"/>
              <a:gd name="connsiteY30701" fmla="*/ 2625050 h 5973007"/>
              <a:gd name="connsiteX30702" fmla="*/ 894612 w 6884782"/>
              <a:gd name="connsiteY30702" fmla="*/ 2619319 h 5973007"/>
              <a:gd name="connsiteX30703" fmla="*/ 898846 w 6884782"/>
              <a:gd name="connsiteY30703" fmla="*/ 2618234 h 5973007"/>
              <a:gd name="connsiteX30704" fmla="*/ 5205521 w 6884782"/>
              <a:gd name="connsiteY30704" fmla="*/ 2618174 h 5973007"/>
              <a:gd name="connsiteX30705" fmla="*/ 5177136 w 6884782"/>
              <a:gd name="connsiteY30705" fmla="*/ 2640368 h 5973007"/>
              <a:gd name="connsiteX30706" fmla="*/ 5190581 w 6884782"/>
              <a:gd name="connsiteY30706" fmla="*/ 2639656 h 5973007"/>
              <a:gd name="connsiteX30707" fmla="*/ 5186740 w 6884782"/>
              <a:gd name="connsiteY30707" fmla="*/ 2646343 h 5973007"/>
              <a:gd name="connsiteX30708" fmla="*/ 5186527 w 6884782"/>
              <a:gd name="connsiteY30708" fmla="*/ 2647055 h 5973007"/>
              <a:gd name="connsiteX30709" fmla="*/ 5188234 w 6884782"/>
              <a:gd name="connsiteY30709" fmla="*/ 2647908 h 5973007"/>
              <a:gd name="connsiteX30710" fmla="*/ 5185460 w 6884782"/>
              <a:gd name="connsiteY30710" fmla="*/ 2652319 h 5973007"/>
              <a:gd name="connsiteX30711" fmla="*/ 5191436 w 6884782"/>
              <a:gd name="connsiteY30711" fmla="*/ 2646343 h 5973007"/>
              <a:gd name="connsiteX30712" fmla="*/ 5194423 w 6884782"/>
              <a:gd name="connsiteY30712" fmla="*/ 2631547 h 5973007"/>
              <a:gd name="connsiteX30713" fmla="*/ 5204027 w 6884782"/>
              <a:gd name="connsiteY30713" fmla="*/ 2626283 h 5973007"/>
              <a:gd name="connsiteX30714" fmla="*/ 5205521 w 6884782"/>
              <a:gd name="connsiteY30714" fmla="*/ 2618174 h 5973007"/>
              <a:gd name="connsiteX30715" fmla="*/ 1249400 w 6884782"/>
              <a:gd name="connsiteY30715" fmla="*/ 2617924 h 5973007"/>
              <a:gd name="connsiteX30716" fmla="*/ 1269948 w 6884782"/>
              <a:gd name="connsiteY30716" fmla="*/ 2631091 h 5973007"/>
              <a:gd name="connsiteX30717" fmla="*/ 1266748 w 6884782"/>
              <a:gd name="connsiteY30717" fmla="*/ 2639920 h 5973007"/>
              <a:gd name="connsiteX30718" fmla="*/ 1244134 w 6884782"/>
              <a:gd name="connsiteY30718" fmla="*/ 2630316 h 5973007"/>
              <a:gd name="connsiteX30719" fmla="*/ 1249400 w 6884782"/>
              <a:gd name="connsiteY30719" fmla="*/ 2617924 h 5973007"/>
              <a:gd name="connsiteX30720" fmla="*/ 735804 w 6884782"/>
              <a:gd name="connsiteY30720" fmla="*/ 2617770 h 5973007"/>
              <a:gd name="connsiteX30721" fmla="*/ 737972 w 6884782"/>
              <a:gd name="connsiteY30721" fmla="*/ 2618544 h 5973007"/>
              <a:gd name="connsiteX30722" fmla="*/ 731054 w 6884782"/>
              <a:gd name="connsiteY30722" fmla="*/ 2622417 h 5973007"/>
              <a:gd name="connsiteX30723" fmla="*/ 735804 w 6884782"/>
              <a:gd name="connsiteY30723" fmla="*/ 2617770 h 5973007"/>
              <a:gd name="connsiteX30724" fmla="*/ 6558816 w 6884782"/>
              <a:gd name="connsiteY30724" fmla="*/ 2617463 h 5973007"/>
              <a:gd name="connsiteX30725" fmla="*/ 6568206 w 6884782"/>
              <a:gd name="connsiteY30725" fmla="*/ 2622585 h 5973007"/>
              <a:gd name="connsiteX30726" fmla="*/ 6549212 w 6884782"/>
              <a:gd name="connsiteY30726" fmla="*/ 2623011 h 5973007"/>
              <a:gd name="connsiteX30727" fmla="*/ 6558816 w 6884782"/>
              <a:gd name="connsiteY30727" fmla="*/ 2617463 h 5973007"/>
              <a:gd name="connsiteX30728" fmla="*/ 1304230 w 6884782"/>
              <a:gd name="connsiteY30728" fmla="*/ 2616840 h 5973007"/>
              <a:gd name="connsiteX30729" fmla="*/ 1318892 w 6884782"/>
              <a:gd name="connsiteY30729" fmla="*/ 2641933 h 5973007"/>
              <a:gd name="connsiteX30730" fmla="*/ 1301442 w 6884782"/>
              <a:gd name="connsiteY30730" fmla="*/ 2623656 h 5973007"/>
              <a:gd name="connsiteX30731" fmla="*/ 1304230 w 6884782"/>
              <a:gd name="connsiteY30731" fmla="*/ 2616840 h 5973007"/>
              <a:gd name="connsiteX30732" fmla="*/ 762548 w 6884782"/>
              <a:gd name="connsiteY30732" fmla="*/ 2614207 h 5973007"/>
              <a:gd name="connsiteX30733" fmla="*/ 765232 w 6884782"/>
              <a:gd name="connsiteY30733" fmla="*/ 2614517 h 5973007"/>
              <a:gd name="connsiteX30734" fmla="*/ 768846 w 6884782"/>
              <a:gd name="connsiteY30734" fmla="*/ 2616220 h 5973007"/>
              <a:gd name="connsiteX30735" fmla="*/ 764922 w 6884782"/>
              <a:gd name="connsiteY30735" fmla="*/ 2623501 h 5973007"/>
              <a:gd name="connsiteX30736" fmla="*/ 759553 w 6884782"/>
              <a:gd name="connsiteY30736" fmla="*/ 2623501 h 5973007"/>
              <a:gd name="connsiteX30737" fmla="*/ 758211 w 6884782"/>
              <a:gd name="connsiteY30737" fmla="*/ 2621022 h 5973007"/>
              <a:gd name="connsiteX30738" fmla="*/ 759450 w 6884782"/>
              <a:gd name="connsiteY30738" fmla="*/ 2618234 h 5973007"/>
              <a:gd name="connsiteX30739" fmla="*/ 762548 w 6884782"/>
              <a:gd name="connsiteY30739" fmla="*/ 2614207 h 5973007"/>
              <a:gd name="connsiteX30740" fmla="*/ 1134993 w 6884782"/>
              <a:gd name="connsiteY30740" fmla="*/ 2613588 h 5973007"/>
              <a:gd name="connsiteX30741" fmla="*/ 1142427 w 6884782"/>
              <a:gd name="connsiteY30741" fmla="*/ 2615756 h 5973007"/>
              <a:gd name="connsiteX30742" fmla="*/ 1141601 w 6884782"/>
              <a:gd name="connsiteY30742" fmla="*/ 2616685 h 5973007"/>
              <a:gd name="connsiteX30743" fmla="*/ 1129004 w 6884782"/>
              <a:gd name="connsiteY30743" fmla="*/ 2614672 h 5973007"/>
              <a:gd name="connsiteX30744" fmla="*/ 1134993 w 6884782"/>
              <a:gd name="connsiteY30744" fmla="*/ 2613588 h 5973007"/>
              <a:gd name="connsiteX30745" fmla="*/ 1347804 w 6884782"/>
              <a:gd name="connsiteY30745" fmla="*/ 2612968 h 5973007"/>
              <a:gd name="connsiteX30746" fmla="*/ 1347597 w 6884782"/>
              <a:gd name="connsiteY30746" fmla="*/ 2621022 h 5973007"/>
              <a:gd name="connsiteX30747" fmla="*/ 1345842 w 6884782"/>
              <a:gd name="connsiteY30747" fmla="*/ 2624275 h 5973007"/>
              <a:gd name="connsiteX30748" fmla="*/ 1346255 w 6884782"/>
              <a:gd name="connsiteY30748" fmla="*/ 2624275 h 5973007"/>
              <a:gd name="connsiteX30749" fmla="*/ 1347494 w 6884782"/>
              <a:gd name="connsiteY30749" fmla="*/ 2627064 h 5973007"/>
              <a:gd name="connsiteX30750" fmla="*/ 1345532 w 6884782"/>
              <a:gd name="connsiteY30750" fmla="*/ 2630471 h 5973007"/>
              <a:gd name="connsiteX30751" fmla="*/ 1342228 w 6884782"/>
              <a:gd name="connsiteY30751" fmla="*/ 2632330 h 5973007"/>
              <a:gd name="connsiteX30752" fmla="*/ 1339956 w 6884782"/>
              <a:gd name="connsiteY30752" fmla="*/ 2633259 h 5973007"/>
              <a:gd name="connsiteX30753" fmla="*/ 1335000 w 6884782"/>
              <a:gd name="connsiteY30753" fmla="*/ 2638061 h 5973007"/>
              <a:gd name="connsiteX30754" fmla="*/ 1326533 w 6884782"/>
              <a:gd name="connsiteY30754" fmla="*/ 2639455 h 5973007"/>
              <a:gd name="connsiteX30755" fmla="*/ 1347804 w 6884782"/>
              <a:gd name="connsiteY30755" fmla="*/ 2612968 h 5973007"/>
              <a:gd name="connsiteX30756" fmla="*/ 1339027 w 6884782"/>
              <a:gd name="connsiteY30756" fmla="*/ 2612813 h 5973007"/>
              <a:gd name="connsiteX30757" fmla="*/ 1338821 w 6884782"/>
              <a:gd name="connsiteY30757" fmla="*/ 2617150 h 5973007"/>
              <a:gd name="connsiteX30758" fmla="*/ 1335206 w 6884782"/>
              <a:gd name="connsiteY30758" fmla="*/ 2616375 h 5973007"/>
              <a:gd name="connsiteX30759" fmla="*/ 1334484 w 6884782"/>
              <a:gd name="connsiteY30759" fmla="*/ 2613897 h 5973007"/>
              <a:gd name="connsiteX30760" fmla="*/ 1335413 w 6884782"/>
              <a:gd name="connsiteY30760" fmla="*/ 2613897 h 5973007"/>
              <a:gd name="connsiteX30761" fmla="*/ 1339027 w 6884782"/>
              <a:gd name="connsiteY30761" fmla="*/ 2612813 h 5973007"/>
              <a:gd name="connsiteX30762" fmla="*/ 785573 w 6884782"/>
              <a:gd name="connsiteY30762" fmla="*/ 2612813 h 5973007"/>
              <a:gd name="connsiteX30763" fmla="*/ 798274 w 6884782"/>
              <a:gd name="connsiteY30763" fmla="*/ 2625979 h 5973007"/>
              <a:gd name="connsiteX30764" fmla="*/ 790736 w 6884782"/>
              <a:gd name="connsiteY30764" fmla="*/ 2651227 h 5973007"/>
              <a:gd name="connsiteX30765" fmla="*/ 788052 w 6884782"/>
              <a:gd name="connsiteY30765" fmla="*/ 2650762 h 5973007"/>
              <a:gd name="connsiteX30766" fmla="*/ 776074 w 6884782"/>
              <a:gd name="connsiteY30766" fmla="*/ 2631246 h 5973007"/>
              <a:gd name="connsiteX30767" fmla="*/ 785573 w 6884782"/>
              <a:gd name="connsiteY30767" fmla="*/ 2612813 h 5973007"/>
              <a:gd name="connsiteX30768" fmla="*/ 1127352 w 6884782"/>
              <a:gd name="connsiteY30768" fmla="*/ 2612193 h 5973007"/>
              <a:gd name="connsiteX30769" fmla="*/ 1119711 w 6884782"/>
              <a:gd name="connsiteY30769" fmla="*/ 2625205 h 5973007"/>
              <a:gd name="connsiteX30770" fmla="*/ 1118885 w 6884782"/>
              <a:gd name="connsiteY30770" fmla="*/ 2625360 h 5973007"/>
              <a:gd name="connsiteX30771" fmla="*/ 1118162 w 6884782"/>
              <a:gd name="connsiteY30771" fmla="*/ 2623501 h 5973007"/>
              <a:gd name="connsiteX30772" fmla="*/ 1120021 w 6884782"/>
              <a:gd name="connsiteY30772" fmla="*/ 2620093 h 5973007"/>
              <a:gd name="connsiteX30773" fmla="*/ 1126422 w 6884782"/>
              <a:gd name="connsiteY30773" fmla="*/ 2613897 h 5973007"/>
              <a:gd name="connsiteX30774" fmla="*/ 1127352 w 6884782"/>
              <a:gd name="connsiteY30774" fmla="*/ 2612193 h 5973007"/>
              <a:gd name="connsiteX30775" fmla="*/ 1360401 w 6884782"/>
              <a:gd name="connsiteY30775" fmla="*/ 2610644 h 5973007"/>
              <a:gd name="connsiteX30776" fmla="*/ 1365254 w 6884782"/>
              <a:gd name="connsiteY30776" fmla="*/ 2610954 h 5973007"/>
              <a:gd name="connsiteX30777" fmla="*/ 1360298 w 6884782"/>
              <a:gd name="connsiteY30777" fmla="*/ 2613278 h 5973007"/>
              <a:gd name="connsiteX30778" fmla="*/ 1360401 w 6884782"/>
              <a:gd name="connsiteY30778" fmla="*/ 2610644 h 5973007"/>
              <a:gd name="connsiteX30779" fmla="*/ 713294 w 6884782"/>
              <a:gd name="connsiteY30779" fmla="*/ 2610625 h 5973007"/>
              <a:gd name="connsiteX30780" fmla="*/ 722587 w 6884782"/>
              <a:gd name="connsiteY30780" fmla="*/ 2612348 h 5973007"/>
              <a:gd name="connsiteX30781" fmla="*/ 724343 w 6884782"/>
              <a:gd name="connsiteY30781" fmla="*/ 2613742 h 5973007"/>
              <a:gd name="connsiteX30782" fmla="*/ 727957 w 6884782"/>
              <a:gd name="connsiteY30782" fmla="*/ 2614827 h 5973007"/>
              <a:gd name="connsiteX30783" fmla="*/ 724136 w 6884782"/>
              <a:gd name="connsiteY30783" fmla="*/ 2625514 h 5973007"/>
              <a:gd name="connsiteX30784" fmla="*/ 712778 w 6884782"/>
              <a:gd name="connsiteY30784" fmla="*/ 2631246 h 5973007"/>
              <a:gd name="connsiteX30785" fmla="*/ 710093 w 6884782"/>
              <a:gd name="connsiteY30785" fmla="*/ 2630316 h 5973007"/>
              <a:gd name="connsiteX30786" fmla="*/ 708338 w 6884782"/>
              <a:gd name="connsiteY30786" fmla="*/ 2632330 h 5973007"/>
              <a:gd name="connsiteX30787" fmla="*/ 695534 w 6884782"/>
              <a:gd name="connsiteY30787" fmla="*/ 2630316 h 5973007"/>
              <a:gd name="connsiteX30788" fmla="*/ 693882 w 6884782"/>
              <a:gd name="connsiteY30788" fmla="*/ 2622571 h 5973007"/>
              <a:gd name="connsiteX30789" fmla="*/ 695121 w 6884782"/>
              <a:gd name="connsiteY30789" fmla="*/ 2619628 h 5973007"/>
              <a:gd name="connsiteX30790" fmla="*/ 703588 w 6884782"/>
              <a:gd name="connsiteY30790" fmla="*/ 2623501 h 5973007"/>
              <a:gd name="connsiteX30791" fmla="*/ 705860 w 6884782"/>
              <a:gd name="connsiteY30791" fmla="*/ 2624275 h 5973007"/>
              <a:gd name="connsiteX30792" fmla="*/ 705240 w 6884782"/>
              <a:gd name="connsiteY30792" fmla="*/ 2621642 h 5973007"/>
              <a:gd name="connsiteX30793" fmla="*/ 707099 w 6884782"/>
              <a:gd name="connsiteY30793" fmla="*/ 2616220 h 5973007"/>
              <a:gd name="connsiteX30794" fmla="*/ 713294 w 6884782"/>
              <a:gd name="connsiteY30794" fmla="*/ 2610625 h 5973007"/>
              <a:gd name="connsiteX30795" fmla="*/ 922595 w 6884782"/>
              <a:gd name="connsiteY30795" fmla="*/ 2610025 h 5973007"/>
              <a:gd name="connsiteX30796" fmla="*/ 920942 w 6884782"/>
              <a:gd name="connsiteY30796" fmla="*/ 2615292 h 5973007"/>
              <a:gd name="connsiteX30797" fmla="*/ 918774 w 6884782"/>
              <a:gd name="connsiteY30797" fmla="*/ 2613432 h 5973007"/>
              <a:gd name="connsiteX30798" fmla="*/ 922595 w 6884782"/>
              <a:gd name="connsiteY30798" fmla="*/ 2610025 h 5973007"/>
              <a:gd name="connsiteX30799" fmla="*/ 1348320 w 6884782"/>
              <a:gd name="connsiteY30799" fmla="*/ 2607237 h 5973007"/>
              <a:gd name="connsiteX30800" fmla="*/ 1349146 w 6884782"/>
              <a:gd name="connsiteY30800" fmla="*/ 2608631 h 5973007"/>
              <a:gd name="connsiteX30801" fmla="*/ 1347288 w 6884782"/>
              <a:gd name="connsiteY30801" fmla="*/ 2608786 h 5973007"/>
              <a:gd name="connsiteX30802" fmla="*/ 1346152 w 6884782"/>
              <a:gd name="connsiteY30802" fmla="*/ 2608476 h 5973007"/>
              <a:gd name="connsiteX30803" fmla="*/ 1348320 w 6884782"/>
              <a:gd name="connsiteY30803" fmla="*/ 2607237 h 5973007"/>
              <a:gd name="connsiteX30804" fmla="*/ 837822 w 6884782"/>
              <a:gd name="connsiteY30804" fmla="*/ 2606927 h 5973007"/>
              <a:gd name="connsiteX30805" fmla="*/ 846288 w 6884782"/>
              <a:gd name="connsiteY30805" fmla="*/ 2611419 h 5973007"/>
              <a:gd name="connsiteX30806" fmla="*/ 840712 w 6884782"/>
              <a:gd name="connsiteY30806" fmla="*/ 2613278 h 5973007"/>
              <a:gd name="connsiteX30807" fmla="*/ 835033 w 6884782"/>
              <a:gd name="connsiteY30807" fmla="*/ 2608786 h 5973007"/>
              <a:gd name="connsiteX30808" fmla="*/ 837822 w 6884782"/>
              <a:gd name="connsiteY30808" fmla="*/ 2606927 h 5973007"/>
              <a:gd name="connsiteX30809" fmla="*/ 1130862 w 6884782"/>
              <a:gd name="connsiteY30809" fmla="*/ 2606152 h 5973007"/>
              <a:gd name="connsiteX30810" fmla="*/ 1133444 w 6884782"/>
              <a:gd name="connsiteY30810" fmla="*/ 2606927 h 5973007"/>
              <a:gd name="connsiteX30811" fmla="*/ 1129830 w 6884782"/>
              <a:gd name="connsiteY30811" fmla="*/ 2610335 h 5973007"/>
              <a:gd name="connsiteX30812" fmla="*/ 1128900 w 6884782"/>
              <a:gd name="connsiteY30812" fmla="*/ 2612193 h 5973007"/>
              <a:gd name="connsiteX30813" fmla="*/ 1128178 w 6884782"/>
              <a:gd name="connsiteY30813" fmla="*/ 2610489 h 5973007"/>
              <a:gd name="connsiteX30814" fmla="*/ 1130759 w 6884782"/>
              <a:gd name="connsiteY30814" fmla="*/ 2608786 h 5973007"/>
              <a:gd name="connsiteX30815" fmla="*/ 1130036 w 6884782"/>
              <a:gd name="connsiteY30815" fmla="*/ 2607082 h 5973007"/>
              <a:gd name="connsiteX30816" fmla="*/ 1130862 w 6884782"/>
              <a:gd name="connsiteY30816" fmla="*/ 2606152 h 5973007"/>
              <a:gd name="connsiteX30817" fmla="*/ 949854 w 6884782"/>
              <a:gd name="connsiteY30817" fmla="*/ 2605378 h 5973007"/>
              <a:gd name="connsiteX30818" fmla="*/ 951713 w 6884782"/>
              <a:gd name="connsiteY30818" fmla="*/ 2606152 h 5973007"/>
              <a:gd name="connsiteX30819" fmla="*/ 954604 w 6884782"/>
              <a:gd name="connsiteY30819" fmla="*/ 2611574 h 5973007"/>
              <a:gd name="connsiteX30820" fmla="*/ 950267 w 6884782"/>
              <a:gd name="connsiteY30820" fmla="*/ 2612193 h 5973007"/>
              <a:gd name="connsiteX30821" fmla="*/ 947892 w 6884782"/>
              <a:gd name="connsiteY30821" fmla="*/ 2609715 h 5973007"/>
              <a:gd name="connsiteX30822" fmla="*/ 948099 w 6884782"/>
              <a:gd name="connsiteY30822" fmla="*/ 2605688 h 5973007"/>
              <a:gd name="connsiteX30823" fmla="*/ 948099 w 6884782"/>
              <a:gd name="connsiteY30823" fmla="*/ 2606463 h 5973007"/>
              <a:gd name="connsiteX30824" fmla="*/ 949957 w 6884782"/>
              <a:gd name="connsiteY30824" fmla="*/ 2606307 h 5973007"/>
              <a:gd name="connsiteX30825" fmla="*/ 949854 w 6884782"/>
              <a:gd name="connsiteY30825" fmla="*/ 2605378 h 5973007"/>
              <a:gd name="connsiteX30826" fmla="*/ 866939 w 6884782"/>
              <a:gd name="connsiteY30826" fmla="*/ 2603519 h 5973007"/>
              <a:gd name="connsiteX30827" fmla="*/ 892754 w 6884782"/>
              <a:gd name="connsiteY30827" fmla="*/ 2622417 h 5973007"/>
              <a:gd name="connsiteX30828" fmla="*/ 890688 w 6884782"/>
              <a:gd name="connsiteY30828" fmla="*/ 2623036 h 5973007"/>
              <a:gd name="connsiteX30829" fmla="*/ 891308 w 6884782"/>
              <a:gd name="connsiteY30829" fmla="*/ 2623965 h 5973007"/>
              <a:gd name="connsiteX30830" fmla="*/ 885526 w 6884782"/>
              <a:gd name="connsiteY30830" fmla="*/ 2629542 h 5973007"/>
              <a:gd name="connsiteX30831" fmla="*/ 882015 w 6884782"/>
              <a:gd name="connsiteY30831" fmla="*/ 2628612 h 5973007"/>
              <a:gd name="connsiteX30832" fmla="*/ 878607 w 6884782"/>
              <a:gd name="connsiteY30832" fmla="*/ 2633104 h 5973007"/>
              <a:gd name="connsiteX30833" fmla="*/ 874684 w 6884782"/>
              <a:gd name="connsiteY30833" fmla="*/ 2637131 h 5973007"/>
              <a:gd name="connsiteX30834" fmla="*/ 867353 w 6884782"/>
              <a:gd name="connsiteY30834" fmla="*/ 2639455 h 5973007"/>
              <a:gd name="connsiteX30835" fmla="*/ 846908 w 6884782"/>
              <a:gd name="connsiteY30835" fmla="*/ 2617305 h 5973007"/>
              <a:gd name="connsiteX30836" fmla="*/ 857646 w 6884782"/>
              <a:gd name="connsiteY30836" fmla="*/ 2603674 h 5973007"/>
              <a:gd name="connsiteX30837" fmla="*/ 866939 w 6884782"/>
              <a:gd name="connsiteY30837" fmla="*/ 2603519 h 5973007"/>
              <a:gd name="connsiteX30838" fmla="*/ 1316930 w 6884782"/>
              <a:gd name="connsiteY30838" fmla="*/ 2602435 h 5973007"/>
              <a:gd name="connsiteX30839" fmla="*/ 1314968 w 6884782"/>
              <a:gd name="connsiteY30839" fmla="*/ 2611264 h 5973007"/>
              <a:gd name="connsiteX30840" fmla="*/ 1313523 w 6884782"/>
              <a:gd name="connsiteY30840" fmla="*/ 2609405 h 5973007"/>
              <a:gd name="connsiteX30841" fmla="*/ 1316930 w 6884782"/>
              <a:gd name="connsiteY30841" fmla="*/ 2602435 h 5973007"/>
              <a:gd name="connsiteX30842" fmla="*/ 704427 w 6884782"/>
              <a:gd name="connsiteY30842" fmla="*/ 2602203 h 5973007"/>
              <a:gd name="connsiteX30843" fmla="*/ 709164 w 6884782"/>
              <a:gd name="connsiteY30843" fmla="*/ 2604139 h 5973007"/>
              <a:gd name="connsiteX30844" fmla="*/ 707822 w 6884782"/>
              <a:gd name="connsiteY30844" fmla="*/ 2610180 h 5973007"/>
              <a:gd name="connsiteX30845" fmla="*/ 705240 w 6884782"/>
              <a:gd name="connsiteY30845" fmla="*/ 2611419 h 5973007"/>
              <a:gd name="connsiteX30846" fmla="*/ 699974 w 6884782"/>
              <a:gd name="connsiteY30846" fmla="*/ 2611264 h 5973007"/>
              <a:gd name="connsiteX30847" fmla="*/ 699974 w 6884782"/>
              <a:gd name="connsiteY30847" fmla="*/ 2612193 h 5973007"/>
              <a:gd name="connsiteX30848" fmla="*/ 698838 w 6884782"/>
              <a:gd name="connsiteY30848" fmla="*/ 2607237 h 5973007"/>
              <a:gd name="connsiteX30849" fmla="*/ 704427 w 6884782"/>
              <a:gd name="connsiteY30849" fmla="*/ 2602203 h 5973007"/>
              <a:gd name="connsiteX30850" fmla="*/ 918361 w 6884782"/>
              <a:gd name="connsiteY30850" fmla="*/ 2601350 h 5973007"/>
              <a:gd name="connsiteX30851" fmla="*/ 915573 w 6884782"/>
              <a:gd name="connsiteY30851" fmla="*/ 2606463 h 5973007"/>
              <a:gd name="connsiteX30852" fmla="*/ 911339 w 6884782"/>
              <a:gd name="connsiteY30852" fmla="*/ 2603364 h 5973007"/>
              <a:gd name="connsiteX30853" fmla="*/ 918361 w 6884782"/>
              <a:gd name="connsiteY30853" fmla="*/ 2601350 h 5973007"/>
              <a:gd name="connsiteX30854" fmla="*/ 1404904 w 6884782"/>
              <a:gd name="connsiteY30854" fmla="*/ 2600731 h 5973007"/>
              <a:gd name="connsiteX30855" fmla="*/ 1410583 w 6884782"/>
              <a:gd name="connsiteY30855" fmla="*/ 2602280 h 5973007"/>
              <a:gd name="connsiteX30856" fmla="*/ 1398090 w 6884782"/>
              <a:gd name="connsiteY30856" fmla="*/ 2613278 h 5973007"/>
              <a:gd name="connsiteX30857" fmla="*/ 1397676 w 6884782"/>
              <a:gd name="connsiteY30857" fmla="*/ 2609715 h 5973007"/>
              <a:gd name="connsiteX30858" fmla="*/ 1398709 w 6884782"/>
              <a:gd name="connsiteY30858" fmla="*/ 2607237 h 5973007"/>
              <a:gd name="connsiteX30859" fmla="*/ 1398090 w 6884782"/>
              <a:gd name="connsiteY30859" fmla="*/ 2606617 h 5973007"/>
              <a:gd name="connsiteX30860" fmla="*/ 1402426 w 6884782"/>
              <a:gd name="connsiteY30860" fmla="*/ 2603054 h 5973007"/>
              <a:gd name="connsiteX30861" fmla="*/ 1082952 w 6884782"/>
              <a:gd name="connsiteY30861" fmla="*/ 2600111 h 5973007"/>
              <a:gd name="connsiteX30862" fmla="*/ 1088734 w 6884782"/>
              <a:gd name="connsiteY30862" fmla="*/ 2606307 h 5973007"/>
              <a:gd name="connsiteX30863" fmla="*/ 1088424 w 6884782"/>
              <a:gd name="connsiteY30863" fmla="*/ 2607237 h 5973007"/>
              <a:gd name="connsiteX30864" fmla="*/ 1081712 w 6884782"/>
              <a:gd name="connsiteY30864" fmla="*/ 2614672 h 5973007"/>
              <a:gd name="connsiteX30865" fmla="*/ 1077892 w 6884782"/>
              <a:gd name="connsiteY30865" fmla="*/ 2609870 h 5973007"/>
              <a:gd name="connsiteX30866" fmla="*/ 1078202 w 6884782"/>
              <a:gd name="connsiteY30866" fmla="*/ 2607546 h 5973007"/>
              <a:gd name="connsiteX30867" fmla="*/ 1082952 w 6884782"/>
              <a:gd name="connsiteY30867" fmla="*/ 2600111 h 5973007"/>
              <a:gd name="connsiteX30868" fmla="*/ 1075104 w 6884782"/>
              <a:gd name="connsiteY30868" fmla="*/ 2599802 h 5973007"/>
              <a:gd name="connsiteX30869" fmla="*/ 1075311 w 6884782"/>
              <a:gd name="connsiteY30869" fmla="*/ 2600731 h 5973007"/>
              <a:gd name="connsiteX30870" fmla="*/ 1076240 w 6884782"/>
              <a:gd name="connsiteY30870" fmla="*/ 2601196 h 5973007"/>
              <a:gd name="connsiteX30871" fmla="*/ 1344706 w 6884782"/>
              <a:gd name="connsiteY30871" fmla="*/ 2599647 h 5973007"/>
              <a:gd name="connsiteX30872" fmla="*/ 1345326 w 6884782"/>
              <a:gd name="connsiteY30872" fmla="*/ 2599647 h 5973007"/>
              <a:gd name="connsiteX30873" fmla="*/ 1344912 w 6884782"/>
              <a:gd name="connsiteY30873" fmla="*/ 2600266 h 5973007"/>
              <a:gd name="connsiteX30874" fmla="*/ 1344706 w 6884782"/>
              <a:gd name="connsiteY30874" fmla="*/ 2599647 h 5973007"/>
              <a:gd name="connsiteX30875" fmla="*/ 997146 w 6884782"/>
              <a:gd name="connsiteY30875" fmla="*/ 2598562 h 5973007"/>
              <a:gd name="connsiteX30876" fmla="*/ 1000450 w 6884782"/>
              <a:gd name="connsiteY30876" fmla="*/ 2599182 h 5973007"/>
              <a:gd name="connsiteX30877" fmla="*/ 999624 w 6884782"/>
              <a:gd name="connsiteY30877" fmla="*/ 2600731 h 5973007"/>
              <a:gd name="connsiteX30878" fmla="*/ 1000346 w 6884782"/>
              <a:gd name="connsiteY30878" fmla="*/ 2601041 h 5973007"/>
              <a:gd name="connsiteX30879" fmla="*/ 998798 w 6884782"/>
              <a:gd name="connsiteY30879" fmla="*/ 2602125 h 5973007"/>
              <a:gd name="connsiteX30880" fmla="*/ 998075 w 6884782"/>
              <a:gd name="connsiteY30880" fmla="*/ 2601815 h 5973007"/>
              <a:gd name="connsiteX30881" fmla="*/ 997765 w 6884782"/>
              <a:gd name="connsiteY30881" fmla="*/ 2601970 h 5973007"/>
              <a:gd name="connsiteX30882" fmla="*/ 997042 w 6884782"/>
              <a:gd name="connsiteY30882" fmla="*/ 2600421 h 5973007"/>
              <a:gd name="connsiteX30883" fmla="*/ 996526 w 6884782"/>
              <a:gd name="connsiteY30883" fmla="*/ 2599182 h 5973007"/>
              <a:gd name="connsiteX30884" fmla="*/ 997146 w 6884782"/>
              <a:gd name="connsiteY30884" fmla="*/ 2598562 h 5973007"/>
              <a:gd name="connsiteX30885" fmla="*/ 1349456 w 6884782"/>
              <a:gd name="connsiteY30885" fmla="*/ 2597788 h 5973007"/>
              <a:gd name="connsiteX30886" fmla="*/ 1349559 w 6884782"/>
              <a:gd name="connsiteY30886" fmla="*/ 2599647 h 5973007"/>
              <a:gd name="connsiteX30887" fmla="*/ 1345326 w 6884782"/>
              <a:gd name="connsiteY30887" fmla="*/ 2600886 h 5973007"/>
              <a:gd name="connsiteX30888" fmla="*/ 1345738 w 6884782"/>
              <a:gd name="connsiteY30888" fmla="*/ 2599802 h 5973007"/>
              <a:gd name="connsiteX30889" fmla="*/ 1345326 w 6884782"/>
              <a:gd name="connsiteY30889" fmla="*/ 2599647 h 5973007"/>
              <a:gd name="connsiteX30890" fmla="*/ 1346771 w 6884782"/>
              <a:gd name="connsiteY30890" fmla="*/ 2598253 h 5973007"/>
              <a:gd name="connsiteX30891" fmla="*/ 1349456 w 6884782"/>
              <a:gd name="connsiteY30891" fmla="*/ 2597788 h 5973007"/>
              <a:gd name="connsiteX30892" fmla="*/ 929409 w 6884782"/>
              <a:gd name="connsiteY30892" fmla="*/ 2597633 h 5973007"/>
              <a:gd name="connsiteX30893" fmla="*/ 929823 w 6884782"/>
              <a:gd name="connsiteY30893" fmla="*/ 2605068 h 5973007"/>
              <a:gd name="connsiteX30894" fmla="*/ 923834 w 6884782"/>
              <a:gd name="connsiteY30894" fmla="*/ 2605068 h 5973007"/>
              <a:gd name="connsiteX30895" fmla="*/ 922285 w 6884782"/>
              <a:gd name="connsiteY30895" fmla="*/ 2603054 h 5973007"/>
              <a:gd name="connsiteX30896" fmla="*/ 922595 w 6884782"/>
              <a:gd name="connsiteY30896" fmla="*/ 2600266 h 5973007"/>
              <a:gd name="connsiteX30897" fmla="*/ 924247 w 6884782"/>
              <a:gd name="connsiteY30897" fmla="*/ 2598407 h 5973007"/>
              <a:gd name="connsiteX30898" fmla="*/ 929409 w 6884782"/>
              <a:gd name="connsiteY30898" fmla="*/ 2597633 h 5973007"/>
              <a:gd name="connsiteX30899" fmla="*/ 973397 w 6884782"/>
              <a:gd name="connsiteY30899" fmla="*/ 2597265 h 5973007"/>
              <a:gd name="connsiteX30900" fmla="*/ 978043 w 6884782"/>
              <a:gd name="connsiteY30900" fmla="*/ 2597323 h 5973007"/>
              <a:gd name="connsiteX30901" fmla="*/ 983309 w 6884782"/>
              <a:gd name="connsiteY30901" fmla="*/ 2611884 h 5973007"/>
              <a:gd name="connsiteX30902" fmla="*/ 982483 w 6884782"/>
              <a:gd name="connsiteY30902" fmla="*/ 2612039 h 5973007"/>
              <a:gd name="connsiteX30903" fmla="*/ 984445 w 6884782"/>
              <a:gd name="connsiteY30903" fmla="*/ 2616840 h 5973007"/>
              <a:gd name="connsiteX30904" fmla="*/ 983722 w 6884782"/>
              <a:gd name="connsiteY30904" fmla="*/ 2617305 h 5973007"/>
              <a:gd name="connsiteX30905" fmla="*/ 983722 w 6884782"/>
              <a:gd name="connsiteY30905" fmla="*/ 2617770 h 5973007"/>
              <a:gd name="connsiteX30906" fmla="*/ 986820 w 6884782"/>
              <a:gd name="connsiteY30906" fmla="*/ 2620403 h 5973007"/>
              <a:gd name="connsiteX30907" fmla="*/ 986717 w 6884782"/>
              <a:gd name="connsiteY30907" fmla="*/ 2620093 h 5973007"/>
              <a:gd name="connsiteX30908" fmla="*/ 994151 w 6884782"/>
              <a:gd name="connsiteY30908" fmla="*/ 2613123 h 5973007"/>
              <a:gd name="connsiteX30909" fmla="*/ 994254 w 6884782"/>
              <a:gd name="connsiteY30909" fmla="*/ 2612503 h 5973007"/>
              <a:gd name="connsiteX30910" fmla="*/ 993222 w 6884782"/>
              <a:gd name="connsiteY30910" fmla="*/ 2612658 h 5973007"/>
              <a:gd name="connsiteX30911" fmla="*/ 992189 w 6884782"/>
              <a:gd name="connsiteY30911" fmla="*/ 2613123 h 5973007"/>
              <a:gd name="connsiteX30912" fmla="*/ 990434 w 6884782"/>
              <a:gd name="connsiteY30912" fmla="*/ 2612503 h 5973007"/>
              <a:gd name="connsiteX30913" fmla="*/ 986717 w 6884782"/>
              <a:gd name="connsiteY30913" fmla="*/ 2608011 h 5973007"/>
              <a:gd name="connsiteX30914" fmla="*/ 1000037 w 6884782"/>
              <a:gd name="connsiteY30914" fmla="*/ 2607237 h 5973007"/>
              <a:gd name="connsiteX30915" fmla="*/ 1002825 w 6884782"/>
              <a:gd name="connsiteY30915" fmla="*/ 2608166 h 5973007"/>
              <a:gd name="connsiteX30916" fmla="*/ 1004787 w 6884782"/>
              <a:gd name="connsiteY30916" fmla="*/ 2606152 h 5973007"/>
              <a:gd name="connsiteX30917" fmla="*/ 1007574 w 6884782"/>
              <a:gd name="connsiteY30917" fmla="*/ 2609560 h 5973007"/>
              <a:gd name="connsiteX30918" fmla="*/ 1006129 w 6884782"/>
              <a:gd name="connsiteY30918" fmla="*/ 2611264 h 5973007"/>
              <a:gd name="connsiteX30919" fmla="*/ 1007678 w 6884782"/>
              <a:gd name="connsiteY30919" fmla="*/ 2611729 h 5973007"/>
              <a:gd name="connsiteX30920" fmla="*/ 1004477 w 6884782"/>
              <a:gd name="connsiteY30920" fmla="*/ 2615601 h 5973007"/>
              <a:gd name="connsiteX30921" fmla="*/ 1003651 w 6884782"/>
              <a:gd name="connsiteY30921" fmla="*/ 2617305 h 5973007"/>
              <a:gd name="connsiteX30922" fmla="*/ 1002721 w 6884782"/>
              <a:gd name="connsiteY30922" fmla="*/ 2615756 h 5973007"/>
              <a:gd name="connsiteX30923" fmla="*/ 1005199 w 6884782"/>
              <a:gd name="connsiteY30923" fmla="*/ 2613742 h 5973007"/>
              <a:gd name="connsiteX30924" fmla="*/ 1004270 w 6884782"/>
              <a:gd name="connsiteY30924" fmla="*/ 2612348 h 5973007"/>
              <a:gd name="connsiteX30925" fmla="*/ 1005096 w 6884782"/>
              <a:gd name="connsiteY30925" fmla="*/ 2611264 h 5973007"/>
              <a:gd name="connsiteX30926" fmla="*/ 1005303 w 6884782"/>
              <a:gd name="connsiteY30926" fmla="*/ 2611109 h 5973007"/>
              <a:gd name="connsiteX30927" fmla="*/ 1005199 w 6884782"/>
              <a:gd name="connsiteY30927" fmla="*/ 2610954 h 5973007"/>
              <a:gd name="connsiteX30928" fmla="*/ 1005096 w 6884782"/>
              <a:gd name="connsiteY30928" fmla="*/ 2611264 h 5973007"/>
              <a:gd name="connsiteX30929" fmla="*/ 996526 w 6884782"/>
              <a:gd name="connsiteY30929" fmla="*/ 2611884 h 5973007"/>
              <a:gd name="connsiteX30930" fmla="*/ 996010 w 6884782"/>
              <a:gd name="connsiteY30930" fmla="*/ 2612813 h 5973007"/>
              <a:gd name="connsiteX30931" fmla="*/ 996526 w 6884782"/>
              <a:gd name="connsiteY30931" fmla="*/ 2613588 h 5973007"/>
              <a:gd name="connsiteX30932" fmla="*/ 998901 w 6884782"/>
              <a:gd name="connsiteY30932" fmla="*/ 2613897 h 5973007"/>
              <a:gd name="connsiteX30933" fmla="*/ 1003341 w 6884782"/>
              <a:gd name="connsiteY30933" fmla="*/ 2620713 h 5973007"/>
              <a:gd name="connsiteX30934" fmla="*/ 999004 w 6884782"/>
              <a:gd name="connsiteY30934" fmla="*/ 2626599 h 5973007"/>
              <a:gd name="connsiteX30935" fmla="*/ 998281 w 6884782"/>
              <a:gd name="connsiteY30935" fmla="*/ 2627064 h 5973007"/>
              <a:gd name="connsiteX30936" fmla="*/ 997765 w 6884782"/>
              <a:gd name="connsiteY30936" fmla="*/ 2627993 h 5973007"/>
              <a:gd name="connsiteX30937" fmla="*/ 995906 w 6884782"/>
              <a:gd name="connsiteY30937" fmla="*/ 2631246 h 5973007"/>
              <a:gd name="connsiteX30938" fmla="*/ 994977 w 6884782"/>
              <a:gd name="connsiteY30938" fmla="*/ 2631246 h 5973007"/>
              <a:gd name="connsiteX30939" fmla="*/ 994048 w 6884782"/>
              <a:gd name="connsiteY30939" fmla="*/ 2629542 h 5973007"/>
              <a:gd name="connsiteX30940" fmla="*/ 994564 w 6884782"/>
              <a:gd name="connsiteY30940" fmla="*/ 2628303 h 5973007"/>
              <a:gd name="connsiteX30941" fmla="*/ 991260 w 6884782"/>
              <a:gd name="connsiteY30941" fmla="*/ 2628612 h 5973007"/>
              <a:gd name="connsiteX30942" fmla="*/ 988369 w 6884782"/>
              <a:gd name="connsiteY30942" fmla="*/ 2625825 h 5973007"/>
              <a:gd name="connsiteX30943" fmla="*/ 987646 w 6884782"/>
              <a:gd name="connsiteY30943" fmla="*/ 2624585 h 5973007"/>
              <a:gd name="connsiteX30944" fmla="*/ 987646 w 6884782"/>
              <a:gd name="connsiteY30944" fmla="*/ 2626444 h 5973007"/>
              <a:gd name="connsiteX30945" fmla="*/ 984858 w 6884782"/>
              <a:gd name="connsiteY30945" fmla="*/ 2629542 h 5973007"/>
              <a:gd name="connsiteX30946" fmla="*/ 970299 w 6884782"/>
              <a:gd name="connsiteY30946" fmla="*/ 2621642 h 5973007"/>
              <a:gd name="connsiteX30947" fmla="*/ 969989 w 6884782"/>
              <a:gd name="connsiteY30947" fmla="*/ 2620558 h 5973007"/>
              <a:gd name="connsiteX30948" fmla="*/ 969060 w 6884782"/>
              <a:gd name="connsiteY30948" fmla="*/ 2619783 h 5973007"/>
              <a:gd name="connsiteX30949" fmla="*/ 968854 w 6884782"/>
              <a:gd name="connsiteY30949" fmla="*/ 2619783 h 5973007"/>
              <a:gd name="connsiteX30950" fmla="*/ 968027 w 6884782"/>
              <a:gd name="connsiteY30950" fmla="*/ 2619938 h 5973007"/>
              <a:gd name="connsiteX30951" fmla="*/ 964930 w 6884782"/>
              <a:gd name="connsiteY30951" fmla="*/ 2618234 h 5973007"/>
              <a:gd name="connsiteX30952" fmla="*/ 964620 w 6884782"/>
              <a:gd name="connsiteY30952" fmla="*/ 2617305 h 5973007"/>
              <a:gd name="connsiteX30953" fmla="*/ 965136 w 6884782"/>
              <a:gd name="connsiteY30953" fmla="*/ 2616066 h 5973007"/>
              <a:gd name="connsiteX30954" fmla="*/ 969369 w 6884782"/>
              <a:gd name="connsiteY30954" fmla="*/ 2612968 h 5973007"/>
              <a:gd name="connsiteX30955" fmla="*/ 969369 w 6884782"/>
              <a:gd name="connsiteY30955" fmla="*/ 2597788 h 5973007"/>
              <a:gd name="connsiteX30956" fmla="*/ 973397 w 6884782"/>
              <a:gd name="connsiteY30956" fmla="*/ 2597265 h 5973007"/>
              <a:gd name="connsiteX30957" fmla="*/ 1205826 w 6884782"/>
              <a:gd name="connsiteY30957" fmla="*/ 2596859 h 5973007"/>
              <a:gd name="connsiteX30958" fmla="*/ 1210783 w 6884782"/>
              <a:gd name="connsiteY30958" fmla="*/ 2609095 h 5973007"/>
              <a:gd name="connsiteX30959" fmla="*/ 1210783 w 6884782"/>
              <a:gd name="connsiteY30959" fmla="*/ 2610489 h 5973007"/>
              <a:gd name="connsiteX30960" fmla="*/ 1212435 w 6884782"/>
              <a:gd name="connsiteY30960" fmla="*/ 2609250 h 5973007"/>
              <a:gd name="connsiteX30961" fmla="*/ 1221418 w 6884782"/>
              <a:gd name="connsiteY30961" fmla="*/ 2612348 h 5973007"/>
              <a:gd name="connsiteX30962" fmla="*/ 1218630 w 6884782"/>
              <a:gd name="connsiteY30962" fmla="*/ 2618234 h 5973007"/>
              <a:gd name="connsiteX30963" fmla="*/ 1230195 w 6884782"/>
              <a:gd name="connsiteY30963" fmla="*/ 2617150 h 5973007"/>
              <a:gd name="connsiteX30964" fmla="*/ 1219972 w 6884782"/>
              <a:gd name="connsiteY30964" fmla="*/ 2624585 h 5973007"/>
              <a:gd name="connsiteX30965" fmla="*/ 1216978 w 6884782"/>
              <a:gd name="connsiteY30965" fmla="*/ 2624585 h 5973007"/>
              <a:gd name="connsiteX30966" fmla="*/ 1215223 w 6884782"/>
              <a:gd name="connsiteY30966" fmla="*/ 2627373 h 5973007"/>
              <a:gd name="connsiteX30967" fmla="*/ 1215120 w 6884782"/>
              <a:gd name="connsiteY30967" fmla="*/ 2627373 h 5973007"/>
              <a:gd name="connsiteX30968" fmla="*/ 1214293 w 6884782"/>
              <a:gd name="connsiteY30968" fmla="*/ 2629852 h 5973007"/>
              <a:gd name="connsiteX30969" fmla="*/ 1211299 w 6884782"/>
              <a:gd name="connsiteY30969" fmla="*/ 2636822 h 5973007"/>
              <a:gd name="connsiteX30970" fmla="*/ 1209543 w 6884782"/>
              <a:gd name="connsiteY30970" fmla="*/ 2638681 h 5973007"/>
              <a:gd name="connsiteX30971" fmla="*/ 1210886 w 6884782"/>
              <a:gd name="connsiteY30971" fmla="*/ 2638216 h 5973007"/>
              <a:gd name="connsiteX30972" fmla="*/ 1211505 w 6884782"/>
              <a:gd name="connsiteY30972" fmla="*/ 2638061 h 5973007"/>
              <a:gd name="connsiteX30973" fmla="*/ 1212331 w 6884782"/>
              <a:gd name="connsiteY30973" fmla="*/ 2636357 h 5973007"/>
              <a:gd name="connsiteX30974" fmla="*/ 1214810 w 6884782"/>
              <a:gd name="connsiteY30974" fmla="*/ 2635738 h 5973007"/>
              <a:gd name="connsiteX30975" fmla="*/ 1214810 w 6884782"/>
              <a:gd name="connsiteY30975" fmla="*/ 2637441 h 5973007"/>
              <a:gd name="connsiteX30976" fmla="*/ 1215016 w 6884782"/>
              <a:gd name="connsiteY30976" fmla="*/ 2637441 h 5973007"/>
              <a:gd name="connsiteX30977" fmla="*/ 1216049 w 6884782"/>
              <a:gd name="connsiteY30977" fmla="*/ 2637287 h 5973007"/>
              <a:gd name="connsiteX30978" fmla="*/ 1217907 w 6884782"/>
              <a:gd name="connsiteY30978" fmla="*/ 2636977 h 5973007"/>
              <a:gd name="connsiteX30979" fmla="*/ 1220489 w 6884782"/>
              <a:gd name="connsiteY30979" fmla="*/ 2639300 h 5973007"/>
              <a:gd name="connsiteX30980" fmla="*/ 1220282 w 6884782"/>
              <a:gd name="connsiteY30980" fmla="*/ 2639300 h 5973007"/>
              <a:gd name="connsiteX30981" fmla="*/ 1222967 w 6884782"/>
              <a:gd name="connsiteY30981" fmla="*/ 2640694 h 5973007"/>
              <a:gd name="connsiteX30982" fmla="*/ 1229782 w 6884782"/>
              <a:gd name="connsiteY30982" fmla="*/ 2653396 h 5973007"/>
              <a:gd name="connsiteX30983" fmla="*/ 1229782 w 6884782"/>
              <a:gd name="connsiteY30983" fmla="*/ 2660211 h 5973007"/>
              <a:gd name="connsiteX30984" fmla="*/ 1231950 w 6884782"/>
              <a:gd name="connsiteY30984" fmla="*/ 2657113 h 5973007"/>
              <a:gd name="connsiteX30985" fmla="*/ 1237526 w 6884782"/>
              <a:gd name="connsiteY30985" fmla="*/ 2650143 h 5973007"/>
              <a:gd name="connsiteX30986" fmla="*/ 1238456 w 6884782"/>
              <a:gd name="connsiteY30986" fmla="*/ 2650143 h 5973007"/>
              <a:gd name="connsiteX30987" fmla="*/ 1239075 w 6884782"/>
              <a:gd name="connsiteY30987" fmla="*/ 2652157 h 5973007"/>
              <a:gd name="connsiteX30988" fmla="*/ 1237010 w 6884782"/>
              <a:gd name="connsiteY30988" fmla="*/ 2655254 h 5973007"/>
              <a:gd name="connsiteX30989" fmla="*/ 1230092 w 6884782"/>
              <a:gd name="connsiteY30989" fmla="*/ 2661141 h 5973007"/>
              <a:gd name="connsiteX30990" fmla="*/ 1229782 w 6884782"/>
              <a:gd name="connsiteY30990" fmla="*/ 2661605 h 5973007"/>
              <a:gd name="connsiteX30991" fmla="*/ 1229782 w 6884782"/>
              <a:gd name="connsiteY30991" fmla="*/ 2663309 h 5973007"/>
              <a:gd name="connsiteX30992" fmla="*/ 1228956 w 6884782"/>
              <a:gd name="connsiteY30992" fmla="*/ 2665323 h 5973007"/>
              <a:gd name="connsiteX30993" fmla="*/ 1229782 w 6884782"/>
              <a:gd name="connsiteY30993" fmla="*/ 2667956 h 5973007"/>
              <a:gd name="connsiteX30994" fmla="*/ 1226891 w 6884782"/>
              <a:gd name="connsiteY30994" fmla="*/ 2668730 h 5973007"/>
              <a:gd name="connsiteX30995" fmla="*/ 1234015 w 6884782"/>
              <a:gd name="connsiteY30995" fmla="*/ 2669350 h 5973007"/>
              <a:gd name="connsiteX30996" fmla="*/ 1236803 w 6884782"/>
              <a:gd name="connsiteY30996" fmla="*/ 2669040 h 5973007"/>
              <a:gd name="connsiteX30997" fmla="*/ 1237526 w 6884782"/>
              <a:gd name="connsiteY30997" fmla="*/ 2668886 h 5973007"/>
              <a:gd name="connsiteX30998" fmla="*/ 1237629 w 6884782"/>
              <a:gd name="connsiteY30998" fmla="*/ 2668730 h 5973007"/>
              <a:gd name="connsiteX30999" fmla="*/ 1242999 w 6884782"/>
              <a:gd name="connsiteY30999" fmla="*/ 2667646 h 5973007"/>
              <a:gd name="connsiteX31000" fmla="*/ 1245787 w 6884782"/>
              <a:gd name="connsiteY31000" fmla="*/ 2668266 h 5973007"/>
              <a:gd name="connsiteX31001" fmla="*/ 1245683 w 6884782"/>
              <a:gd name="connsiteY31001" fmla="*/ 2668111 h 5973007"/>
              <a:gd name="connsiteX31002" fmla="*/ 1246097 w 6884782"/>
              <a:gd name="connsiteY31002" fmla="*/ 2666407 h 5973007"/>
              <a:gd name="connsiteX31003" fmla="*/ 1258900 w 6884782"/>
              <a:gd name="connsiteY31003" fmla="*/ 2665323 h 5973007"/>
              <a:gd name="connsiteX31004" fmla="*/ 1260656 w 6884782"/>
              <a:gd name="connsiteY31004" fmla="*/ 2665943 h 5973007"/>
              <a:gd name="connsiteX31005" fmla="*/ 1260759 w 6884782"/>
              <a:gd name="connsiteY31005" fmla="*/ 2665168 h 5973007"/>
              <a:gd name="connsiteX31006" fmla="*/ 1261585 w 6884782"/>
              <a:gd name="connsiteY31006" fmla="*/ 2666097 h 5973007"/>
              <a:gd name="connsiteX31007" fmla="*/ 1261791 w 6884782"/>
              <a:gd name="connsiteY31007" fmla="*/ 2666097 h 5973007"/>
              <a:gd name="connsiteX31008" fmla="*/ 1262617 w 6884782"/>
              <a:gd name="connsiteY31008" fmla="*/ 2666097 h 5973007"/>
              <a:gd name="connsiteX31009" fmla="*/ 1265199 w 6884782"/>
              <a:gd name="connsiteY31009" fmla="*/ 2668266 h 5973007"/>
              <a:gd name="connsiteX31010" fmla="*/ 1264682 w 6884782"/>
              <a:gd name="connsiteY31010" fmla="*/ 2670434 h 5973007"/>
              <a:gd name="connsiteX31011" fmla="*/ 1264166 w 6884782"/>
              <a:gd name="connsiteY31011" fmla="*/ 2670744 h 5973007"/>
              <a:gd name="connsiteX31012" fmla="*/ 1265095 w 6884782"/>
              <a:gd name="connsiteY31012" fmla="*/ 2675236 h 5973007"/>
              <a:gd name="connsiteX31013" fmla="*/ 1260036 w 6884782"/>
              <a:gd name="connsiteY31013" fmla="*/ 2674307 h 5973007"/>
              <a:gd name="connsiteX31014" fmla="*/ 1259829 w 6884782"/>
              <a:gd name="connsiteY31014" fmla="*/ 2673532 h 5973007"/>
              <a:gd name="connsiteX31015" fmla="*/ 1259210 w 6884782"/>
              <a:gd name="connsiteY31015" fmla="*/ 2675701 h 5973007"/>
              <a:gd name="connsiteX31016" fmla="*/ 1257351 w 6884782"/>
              <a:gd name="connsiteY31016" fmla="*/ 2688093 h 5973007"/>
              <a:gd name="connsiteX31017" fmla="*/ 1250846 w 6884782"/>
              <a:gd name="connsiteY31017" fmla="*/ 2688093 h 5973007"/>
              <a:gd name="connsiteX31018" fmla="*/ 1249194 w 6884782"/>
              <a:gd name="connsiteY31018" fmla="*/ 2687163 h 5973007"/>
              <a:gd name="connsiteX31019" fmla="*/ 1250124 w 6884782"/>
              <a:gd name="connsiteY31019" fmla="*/ 2688402 h 5973007"/>
              <a:gd name="connsiteX31020" fmla="*/ 1246303 w 6884782"/>
              <a:gd name="connsiteY31020" fmla="*/ 2690261 h 5973007"/>
              <a:gd name="connsiteX31021" fmla="*/ 1245167 w 6884782"/>
              <a:gd name="connsiteY31021" fmla="*/ 2686853 h 5973007"/>
              <a:gd name="connsiteX31022" fmla="*/ 1245993 w 6884782"/>
              <a:gd name="connsiteY31022" fmla="*/ 2685769 h 5973007"/>
              <a:gd name="connsiteX31023" fmla="*/ 1246819 w 6884782"/>
              <a:gd name="connsiteY31023" fmla="*/ 2684995 h 5973007"/>
              <a:gd name="connsiteX31024" fmla="*/ 1245373 w 6884782"/>
              <a:gd name="connsiteY31024" fmla="*/ 2683446 h 5973007"/>
              <a:gd name="connsiteX31025" fmla="*/ 1244238 w 6884782"/>
              <a:gd name="connsiteY31025" fmla="*/ 2675546 h 5973007"/>
              <a:gd name="connsiteX31026" fmla="*/ 1244857 w 6884782"/>
              <a:gd name="connsiteY31026" fmla="*/ 2674307 h 5973007"/>
              <a:gd name="connsiteX31027" fmla="*/ 1244547 w 6884782"/>
              <a:gd name="connsiteY31027" fmla="*/ 2674152 h 5973007"/>
              <a:gd name="connsiteX31028" fmla="*/ 1242069 w 6884782"/>
              <a:gd name="connsiteY31028" fmla="*/ 2673378 h 5973007"/>
              <a:gd name="connsiteX31029" fmla="*/ 1242379 w 6884782"/>
              <a:gd name="connsiteY31029" fmla="*/ 2674926 h 5973007"/>
              <a:gd name="connsiteX31030" fmla="*/ 1226374 w 6884782"/>
              <a:gd name="connsiteY31030" fmla="*/ 2671829 h 5973007"/>
              <a:gd name="connsiteX31031" fmla="*/ 1224826 w 6884782"/>
              <a:gd name="connsiteY31031" fmla="*/ 2671054 h 5973007"/>
              <a:gd name="connsiteX31032" fmla="*/ 1224309 w 6884782"/>
              <a:gd name="connsiteY31032" fmla="*/ 2670434 h 5973007"/>
              <a:gd name="connsiteX31033" fmla="*/ 1224619 w 6884782"/>
              <a:gd name="connsiteY31033" fmla="*/ 2669970 h 5973007"/>
              <a:gd name="connsiteX31034" fmla="*/ 1224516 w 6884782"/>
              <a:gd name="connsiteY31034" fmla="*/ 2669350 h 5973007"/>
              <a:gd name="connsiteX31035" fmla="*/ 1224103 w 6884782"/>
              <a:gd name="connsiteY31035" fmla="*/ 2669505 h 5973007"/>
              <a:gd name="connsiteX31036" fmla="*/ 1221005 w 6884782"/>
              <a:gd name="connsiteY31036" fmla="*/ 2669040 h 5973007"/>
              <a:gd name="connsiteX31037" fmla="*/ 1220798 w 6884782"/>
              <a:gd name="connsiteY31037" fmla="*/ 2670744 h 5973007"/>
              <a:gd name="connsiteX31038" fmla="*/ 1221728 w 6884782"/>
              <a:gd name="connsiteY31038" fmla="*/ 2673687 h 5973007"/>
              <a:gd name="connsiteX31039" fmla="*/ 1220489 w 6884782"/>
              <a:gd name="connsiteY31039" fmla="*/ 2674926 h 5973007"/>
              <a:gd name="connsiteX31040" fmla="*/ 1218630 w 6884782"/>
              <a:gd name="connsiteY31040" fmla="*/ 2672758 h 5973007"/>
              <a:gd name="connsiteX31041" fmla="*/ 1220489 w 6884782"/>
              <a:gd name="connsiteY31041" fmla="*/ 2670434 h 5973007"/>
              <a:gd name="connsiteX31042" fmla="*/ 1220179 w 6884782"/>
              <a:gd name="connsiteY31042" fmla="*/ 2668886 h 5973007"/>
              <a:gd name="connsiteX31043" fmla="*/ 1216565 w 6884782"/>
              <a:gd name="connsiteY31043" fmla="*/ 2668266 h 5973007"/>
              <a:gd name="connsiteX31044" fmla="*/ 1209647 w 6884782"/>
              <a:gd name="connsiteY31044" fmla="*/ 2664239 h 5973007"/>
              <a:gd name="connsiteX31045" fmla="*/ 1209854 w 6884782"/>
              <a:gd name="connsiteY31045" fmla="*/ 2665478 h 5973007"/>
              <a:gd name="connsiteX31046" fmla="*/ 1209234 w 6884782"/>
              <a:gd name="connsiteY31046" fmla="*/ 2667801 h 5973007"/>
              <a:gd name="connsiteX31047" fmla="*/ 1208304 w 6884782"/>
              <a:gd name="connsiteY31047" fmla="*/ 2668111 h 5973007"/>
              <a:gd name="connsiteX31048" fmla="*/ 1208614 w 6884782"/>
              <a:gd name="connsiteY31048" fmla="*/ 2669195 h 5973007"/>
              <a:gd name="connsiteX31049" fmla="*/ 1208304 w 6884782"/>
              <a:gd name="connsiteY31049" fmla="*/ 2673068 h 5973007"/>
              <a:gd name="connsiteX31050" fmla="*/ 1207065 w 6884782"/>
              <a:gd name="connsiteY31050" fmla="*/ 2668421 h 5973007"/>
              <a:gd name="connsiteX31051" fmla="*/ 1207065 w 6884782"/>
              <a:gd name="connsiteY31051" fmla="*/ 2668111 h 5973007"/>
              <a:gd name="connsiteX31052" fmla="*/ 1206239 w 6884782"/>
              <a:gd name="connsiteY31052" fmla="*/ 2668111 h 5973007"/>
              <a:gd name="connsiteX31053" fmla="*/ 1205826 w 6884782"/>
              <a:gd name="connsiteY31053" fmla="*/ 2669195 h 5973007"/>
              <a:gd name="connsiteX31054" fmla="*/ 1205413 w 6884782"/>
              <a:gd name="connsiteY31054" fmla="*/ 2668421 h 5973007"/>
              <a:gd name="connsiteX31055" fmla="*/ 1204174 w 6884782"/>
              <a:gd name="connsiteY31055" fmla="*/ 2668266 h 5973007"/>
              <a:gd name="connsiteX31056" fmla="*/ 1203865 w 6884782"/>
              <a:gd name="connsiteY31056" fmla="*/ 2664549 h 5973007"/>
              <a:gd name="connsiteX31057" fmla="*/ 1197669 w 6884782"/>
              <a:gd name="connsiteY31057" fmla="*/ 2660985 h 5973007"/>
              <a:gd name="connsiteX31058" fmla="*/ 1196533 w 6884782"/>
              <a:gd name="connsiteY31058" fmla="*/ 2659282 h 5973007"/>
              <a:gd name="connsiteX31059" fmla="*/ 1194881 w 6884782"/>
              <a:gd name="connsiteY31059" fmla="*/ 2658662 h 5973007"/>
              <a:gd name="connsiteX31060" fmla="*/ 1195810 w 6884782"/>
              <a:gd name="connsiteY31060" fmla="*/ 2657888 h 5973007"/>
              <a:gd name="connsiteX31061" fmla="*/ 1195604 w 6884782"/>
              <a:gd name="connsiteY31061" fmla="*/ 2657733 h 5973007"/>
              <a:gd name="connsiteX31062" fmla="*/ 1196017 w 6884782"/>
              <a:gd name="connsiteY31062" fmla="*/ 2657578 h 5973007"/>
              <a:gd name="connsiteX31063" fmla="*/ 1195914 w 6884782"/>
              <a:gd name="connsiteY31063" fmla="*/ 2657113 h 5973007"/>
              <a:gd name="connsiteX31064" fmla="*/ 1196636 w 6884782"/>
              <a:gd name="connsiteY31064" fmla="*/ 2655099 h 5973007"/>
              <a:gd name="connsiteX31065" fmla="*/ 1200870 w 6884782"/>
              <a:gd name="connsiteY31065" fmla="*/ 2655254 h 5973007"/>
              <a:gd name="connsiteX31066" fmla="*/ 1202935 w 6884782"/>
              <a:gd name="connsiteY31066" fmla="*/ 2659437 h 5973007"/>
              <a:gd name="connsiteX31067" fmla="*/ 1204691 w 6884782"/>
              <a:gd name="connsiteY31067" fmla="*/ 2662070 h 5973007"/>
              <a:gd name="connsiteX31068" fmla="*/ 1204174 w 6884782"/>
              <a:gd name="connsiteY31068" fmla="*/ 2663929 h 5973007"/>
              <a:gd name="connsiteX31069" fmla="*/ 1204794 w 6884782"/>
              <a:gd name="connsiteY31069" fmla="*/ 2662689 h 5973007"/>
              <a:gd name="connsiteX31070" fmla="*/ 1206446 w 6884782"/>
              <a:gd name="connsiteY31070" fmla="*/ 2661915 h 5973007"/>
              <a:gd name="connsiteX31071" fmla="*/ 1208098 w 6884782"/>
              <a:gd name="connsiteY31071" fmla="*/ 2662844 h 5973007"/>
              <a:gd name="connsiteX31072" fmla="*/ 1209337 w 6884782"/>
              <a:gd name="connsiteY31072" fmla="*/ 2663774 h 5973007"/>
              <a:gd name="connsiteX31073" fmla="*/ 1207065 w 6884782"/>
              <a:gd name="connsiteY31073" fmla="*/ 2658972 h 5973007"/>
              <a:gd name="connsiteX31074" fmla="*/ 1216359 w 6884782"/>
              <a:gd name="connsiteY31074" fmla="*/ 2661760 h 5973007"/>
              <a:gd name="connsiteX31075" fmla="*/ 1222037 w 6884782"/>
              <a:gd name="connsiteY31075" fmla="*/ 2662380 h 5973007"/>
              <a:gd name="connsiteX31076" fmla="*/ 1222244 w 6884782"/>
              <a:gd name="connsiteY31076" fmla="*/ 2661760 h 5973007"/>
              <a:gd name="connsiteX31077" fmla="*/ 1221831 w 6884782"/>
              <a:gd name="connsiteY31077" fmla="*/ 2660831 h 5973007"/>
              <a:gd name="connsiteX31078" fmla="*/ 1221625 w 6884782"/>
              <a:gd name="connsiteY31078" fmla="*/ 2660831 h 5973007"/>
              <a:gd name="connsiteX31079" fmla="*/ 1214397 w 6884782"/>
              <a:gd name="connsiteY31079" fmla="*/ 2658042 h 5973007"/>
              <a:gd name="connsiteX31080" fmla="*/ 1215326 w 6884782"/>
              <a:gd name="connsiteY31080" fmla="*/ 2657113 h 5973007"/>
              <a:gd name="connsiteX31081" fmla="*/ 1221521 w 6884782"/>
              <a:gd name="connsiteY31081" fmla="*/ 2658353 h 5973007"/>
              <a:gd name="connsiteX31082" fmla="*/ 1222760 w 6884782"/>
              <a:gd name="connsiteY31082" fmla="*/ 2658662 h 5973007"/>
              <a:gd name="connsiteX31083" fmla="*/ 1222037 w 6884782"/>
              <a:gd name="connsiteY31083" fmla="*/ 2656649 h 5973007"/>
              <a:gd name="connsiteX31084" fmla="*/ 1218733 w 6884782"/>
              <a:gd name="connsiteY31084" fmla="*/ 2643483 h 5973007"/>
              <a:gd name="connsiteX31085" fmla="*/ 1219663 w 6884782"/>
              <a:gd name="connsiteY31085" fmla="*/ 2639455 h 5973007"/>
              <a:gd name="connsiteX31086" fmla="*/ 1215636 w 6884782"/>
              <a:gd name="connsiteY31086" fmla="*/ 2640694 h 5973007"/>
              <a:gd name="connsiteX31087" fmla="*/ 1214810 w 6884782"/>
              <a:gd name="connsiteY31087" fmla="*/ 2641004 h 5973007"/>
              <a:gd name="connsiteX31088" fmla="*/ 1214810 w 6884782"/>
              <a:gd name="connsiteY31088" fmla="*/ 2643173 h 5973007"/>
              <a:gd name="connsiteX31089" fmla="*/ 1210163 w 6884782"/>
              <a:gd name="connsiteY31089" fmla="*/ 2646735 h 5973007"/>
              <a:gd name="connsiteX31090" fmla="*/ 1208718 w 6884782"/>
              <a:gd name="connsiteY31090" fmla="*/ 2645341 h 5973007"/>
              <a:gd name="connsiteX31091" fmla="*/ 1208201 w 6884782"/>
              <a:gd name="connsiteY31091" fmla="*/ 2643017 h 5973007"/>
              <a:gd name="connsiteX31092" fmla="*/ 1204587 w 6884782"/>
              <a:gd name="connsiteY31092" fmla="*/ 2643947 h 5973007"/>
              <a:gd name="connsiteX31093" fmla="*/ 1202729 w 6884782"/>
              <a:gd name="connsiteY31093" fmla="*/ 2645806 h 5973007"/>
              <a:gd name="connsiteX31094" fmla="*/ 1202109 w 6884782"/>
              <a:gd name="connsiteY31094" fmla="*/ 2645961 h 5973007"/>
              <a:gd name="connsiteX31095" fmla="*/ 1201799 w 6884782"/>
              <a:gd name="connsiteY31095" fmla="*/ 2646735 h 5973007"/>
              <a:gd name="connsiteX31096" fmla="*/ 1200973 w 6884782"/>
              <a:gd name="connsiteY31096" fmla="*/ 2646735 h 5973007"/>
              <a:gd name="connsiteX31097" fmla="*/ 1201386 w 6884782"/>
              <a:gd name="connsiteY31097" fmla="*/ 2645961 h 5973007"/>
              <a:gd name="connsiteX31098" fmla="*/ 1200457 w 6884782"/>
              <a:gd name="connsiteY31098" fmla="*/ 2646271 h 5973007"/>
              <a:gd name="connsiteX31099" fmla="*/ 1200767 w 6884782"/>
              <a:gd name="connsiteY31099" fmla="*/ 2646890 h 5973007"/>
              <a:gd name="connsiteX31100" fmla="*/ 1199011 w 6884782"/>
              <a:gd name="connsiteY31100" fmla="*/ 2646735 h 5973007"/>
              <a:gd name="connsiteX31101" fmla="*/ 1199321 w 6884782"/>
              <a:gd name="connsiteY31101" fmla="*/ 2646271 h 5973007"/>
              <a:gd name="connsiteX31102" fmla="*/ 1200044 w 6884782"/>
              <a:gd name="connsiteY31102" fmla="*/ 2646116 h 5973007"/>
              <a:gd name="connsiteX31103" fmla="*/ 1197360 w 6884782"/>
              <a:gd name="connsiteY31103" fmla="*/ 2644412 h 5973007"/>
              <a:gd name="connsiteX31104" fmla="*/ 1196430 w 6884782"/>
              <a:gd name="connsiteY31104" fmla="*/ 2640849 h 5973007"/>
              <a:gd name="connsiteX31105" fmla="*/ 1198805 w 6884782"/>
              <a:gd name="connsiteY31105" fmla="*/ 2635893 h 5973007"/>
              <a:gd name="connsiteX31106" fmla="*/ 1199218 w 6884782"/>
              <a:gd name="connsiteY31106" fmla="*/ 2635893 h 5973007"/>
              <a:gd name="connsiteX31107" fmla="*/ 1200354 w 6884782"/>
              <a:gd name="connsiteY31107" fmla="*/ 2629852 h 5973007"/>
              <a:gd name="connsiteX31108" fmla="*/ 1201076 w 6884782"/>
              <a:gd name="connsiteY31108" fmla="*/ 2627838 h 5973007"/>
              <a:gd name="connsiteX31109" fmla="*/ 1200767 w 6884782"/>
              <a:gd name="connsiteY31109" fmla="*/ 2627373 h 5973007"/>
              <a:gd name="connsiteX31110" fmla="*/ 1201180 w 6884782"/>
              <a:gd name="connsiteY31110" fmla="*/ 2624275 h 5973007"/>
              <a:gd name="connsiteX31111" fmla="*/ 1201490 w 6884782"/>
              <a:gd name="connsiteY31111" fmla="*/ 2623965 h 5973007"/>
              <a:gd name="connsiteX31112" fmla="*/ 1201283 w 6884782"/>
              <a:gd name="connsiteY31112" fmla="*/ 2623191 h 5973007"/>
              <a:gd name="connsiteX31113" fmla="*/ 1199838 w 6884782"/>
              <a:gd name="connsiteY31113" fmla="*/ 2616840 h 5973007"/>
              <a:gd name="connsiteX31114" fmla="*/ 1203348 w 6884782"/>
              <a:gd name="connsiteY31114" fmla="*/ 2621797 h 5973007"/>
              <a:gd name="connsiteX31115" fmla="*/ 1203348 w 6884782"/>
              <a:gd name="connsiteY31115" fmla="*/ 2622107 h 5973007"/>
              <a:gd name="connsiteX31116" fmla="*/ 1205207 w 6884782"/>
              <a:gd name="connsiteY31116" fmla="*/ 2617305 h 5973007"/>
              <a:gd name="connsiteX31117" fmla="*/ 1205723 w 6884782"/>
              <a:gd name="connsiteY31117" fmla="*/ 2616531 h 5973007"/>
              <a:gd name="connsiteX31118" fmla="*/ 1204174 w 6884782"/>
              <a:gd name="connsiteY31118" fmla="*/ 2615911 h 5973007"/>
              <a:gd name="connsiteX31119" fmla="*/ 1202212 w 6884782"/>
              <a:gd name="connsiteY31119" fmla="*/ 2615756 h 5973007"/>
              <a:gd name="connsiteX31120" fmla="*/ 1203348 w 6884782"/>
              <a:gd name="connsiteY31120" fmla="*/ 2614362 h 5973007"/>
              <a:gd name="connsiteX31121" fmla="*/ 1206033 w 6884782"/>
              <a:gd name="connsiteY31121" fmla="*/ 2616066 h 5973007"/>
              <a:gd name="connsiteX31122" fmla="*/ 1206549 w 6884782"/>
              <a:gd name="connsiteY31122" fmla="*/ 2614362 h 5973007"/>
              <a:gd name="connsiteX31123" fmla="*/ 1207065 w 6884782"/>
              <a:gd name="connsiteY31123" fmla="*/ 2614517 h 5973007"/>
              <a:gd name="connsiteX31124" fmla="*/ 1207788 w 6884782"/>
              <a:gd name="connsiteY31124" fmla="*/ 2613432 h 5973007"/>
              <a:gd name="connsiteX31125" fmla="*/ 1205000 w 6884782"/>
              <a:gd name="connsiteY31125" fmla="*/ 2606772 h 5973007"/>
              <a:gd name="connsiteX31126" fmla="*/ 1202626 w 6884782"/>
              <a:gd name="connsiteY31126" fmla="*/ 2603519 h 5973007"/>
              <a:gd name="connsiteX31127" fmla="*/ 1202729 w 6884782"/>
              <a:gd name="connsiteY31127" fmla="*/ 2601660 h 5973007"/>
              <a:gd name="connsiteX31128" fmla="*/ 1205826 w 6884782"/>
              <a:gd name="connsiteY31128" fmla="*/ 2596859 h 5973007"/>
              <a:gd name="connsiteX31129" fmla="*/ 1110521 w 6884782"/>
              <a:gd name="connsiteY31129" fmla="*/ 2594535 h 5973007"/>
              <a:gd name="connsiteX31130" fmla="*/ 1110831 w 6884782"/>
              <a:gd name="connsiteY31130" fmla="*/ 2595155 h 5973007"/>
              <a:gd name="connsiteX31131" fmla="*/ 1111244 w 6884782"/>
              <a:gd name="connsiteY31131" fmla="*/ 2595310 h 5973007"/>
              <a:gd name="connsiteX31132" fmla="*/ 1246509 w 6884782"/>
              <a:gd name="connsiteY31132" fmla="*/ 2593451 h 5973007"/>
              <a:gd name="connsiteX31133" fmla="*/ 1254563 w 6884782"/>
              <a:gd name="connsiteY31133" fmla="*/ 2596549 h 5973007"/>
              <a:gd name="connsiteX31134" fmla="*/ 1255493 w 6884782"/>
              <a:gd name="connsiteY31134" fmla="*/ 2601506 h 5973007"/>
              <a:gd name="connsiteX31135" fmla="*/ 1256319 w 6884782"/>
              <a:gd name="connsiteY31135" fmla="*/ 2601506 h 5973007"/>
              <a:gd name="connsiteX31136" fmla="*/ 1261378 w 6884782"/>
              <a:gd name="connsiteY31136" fmla="*/ 2607701 h 5973007"/>
              <a:gd name="connsiteX31137" fmla="*/ 1248058 w 6884782"/>
              <a:gd name="connsiteY31137" fmla="*/ 2612348 h 5973007"/>
              <a:gd name="connsiteX31138" fmla="*/ 1245064 w 6884782"/>
              <a:gd name="connsiteY31138" fmla="*/ 2613588 h 5973007"/>
              <a:gd name="connsiteX31139" fmla="*/ 1248058 w 6884782"/>
              <a:gd name="connsiteY31139" fmla="*/ 2614982 h 5973007"/>
              <a:gd name="connsiteX31140" fmla="*/ 1237526 w 6884782"/>
              <a:gd name="connsiteY31140" fmla="*/ 2620248 h 5973007"/>
              <a:gd name="connsiteX31141" fmla="*/ 1238249 w 6884782"/>
              <a:gd name="connsiteY31141" fmla="*/ 2616995 h 5973007"/>
              <a:gd name="connsiteX31142" fmla="*/ 1239591 w 6884782"/>
              <a:gd name="connsiteY31142" fmla="*/ 2614672 h 5973007"/>
              <a:gd name="connsiteX31143" fmla="*/ 1236184 w 6884782"/>
              <a:gd name="connsiteY31143" fmla="*/ 2614517 h 5973007"/>
              <a:gd name="connsiteX31144" fmla="*/ 1239901 w 6884782"/>
              <a:gd name="connsiteY31144" fmla="*/ 2610954 h 5973007"/>
              <a:gd name="connsiteX31145" fmla="*/ 1240417 w 6884782"/>
              <a:gd name="connsiteY31145" fmla="*/ 2610335 h 5973007"/>
              <a:gd name="connsiteX31146" fmla="*/ 1239488 w 6884782"/>
              <a:gd name="connsiteY31146" fmla="*/ 2608321 h 5973007"/>
              <a:gd name="connsiteX31147" fmla="*/ 1240417 w 6884782"/>
              <a:gd name="connsiteY31147" fmla="*/ 2604449 h 5973007"/>
              <a:gd name="connsiteX31148" fmla="*/ 1233912 w 6884782"/>
              <a:gd name="connsiteY31148" fmla="*/ 2606617 h 5973007"/>
              <a:gd name="connsiteX31149" fmla="*/ 1219560 w 6884782"/>
              <a:gd name="connsiteY31149" fmla="*/ 2605378 h 5973007"/>
              <a:gd name="connsiteX31150" fmla="*/ 1218424 w 6884782"/>
              <a:gd name="connsiteY31150" fmla="*/ 2601970 h 5973007"/>
              <a:gd name="connsiteX31151" fmla="*/ 1224103 w 6884782"/>
              <a:gd name="connsiteY31151" fmla="*/ 2595310 h 5973007"/>
              <a:gd name="connsiteX31152" fmla="*/ 1242895 w 6884782"/>
              <a:gd name="connsiteY31152" fmla="*/ 2597943 h 5973007"/>
              <a:gd name="connsiteX31153" fmla="*/ 1242895 w 6884782"/>
              <a:gd name="connsiteY31153" fmla="*/ 2598098 h 5973007"/>
              <a:gd name="connsiteX31154" fmla="*/ 593104 w 6884782"/>
              <a:gd name="connsiteY31154" fmla="*/ 2592676 h 5973007"/>
              <a:gd name="connsiteX31155" fmla="*/ 597751 w 6884782"/>
              <a:gd name="connsiteY31155" fmla="*/ 2593451 h 5973007"/>
              <a:gd name="connsiteX31156" fmla="*/ 598783 w 6884782"/>
              <a:gd name="connsiteY31156" fmla="*/ 2595310 h 5973007"/>
              <a:gd name="connsiteX31157" fmla="*/ 598267 w 6884782"/>
              <a:gd name="connsiteY31157" fmla="*/ 2596084 h 5973007"/>
              <a:gd name="connsiteX31158" fmla="*/ 596512 w 6884782"/>
              <a:gd name="connsiteY31158" fmla="*/ 2598718 h 5973007"/>
              <a:gd name="connsiteX31159" fmla="*/ 591968 w 6884782"/>
              <a:gd name="connsiteY31159" fmla="*/ 2597633 h 5973007"/>
              <a:gd name="connsiteX31160" fmla="*/ 591865 w 6884782"/>
              <a:gd name="connsiteY31160" fmla="*/ 2594380 h 5973007"/>
              <a:gd name="connsiteX31161" fmla="*/ 593104 w 6884782"/>
              <a:gd name="connsiteY31161" fmla="*/ 2592676 h 5973007"/>
              <a:gd name="connsiteX31162" fmla="*/ 727789 w 6884782"/>
              <a:gd name="connsiteY31162" fmla="*/ 2592076 h 5973007"/>
              <a:gd name="connsiteX31163" fmla="*/ 726201 w 6884782"/>
              <a:gd name="connsiteY31163" fmla="*/ 2598253 h 5973007"/>
              <a:gd name="connsiteX31164" fmla="*/ 721245 w 6884782"/>
              <a:gd name="connsiteY31164" fmla="*/ 2592521 h 5973007"/>
              <a:gd name="connsiteX31165" fmla="*/ 727789 w 6884782"/>
              <a:gd name="connsiteY31165" fmla="*/ 2592076 h 5973007"/>
              <a:gd name="connsiteX31166" fmla="*/ 1096994 w 6884782"/>
              <a:gd name="connsiteY31166" fmla="*/ 2589114 h 5973007"/>
              <a:gd name="connsiteX31167" fmla="*/ 1101021 w 6884782"/>
              <a:gd name="connsiteY31167" fmla="*/ 2589114 h 5973007"/>
              <a:gd name="connsiteX31168" fmla="*/ 1105668 w 6884782"/>
              <a:gd name="connsiteY31168" fmla="*/ 2589578 h 5973007"/>
              <a:gd name="connsiteX31169" fmla="*/ 1107527 w 6884782"/>
              <a:gd name="connsiteY31169" fmla="*/ 2591282 h 5973007"/>
              <a:gd name="connsiteX31170" fmla="*/ 1107733 w 6884782"/>
              <a:gd name="connsiteY31170" fmla="*/ 2589424 h 5973007"/>
              <a:gd name="connsiteX31171" fmla="*/ 1123634 w 6884782"/>
              <a:gd name="connsiteY31171" fmla="*/ 2594845 h 5973007"/>
              <a:gd name="connsiteX31172" fmla="*/ 1124873 w 6884782"/>
              <a:gd name="connsiteY31172" fmla="*/ 2596240 h 5973007"/>
              <a:gd name="connsiteX31173" fmla="*/ 1124151 w 6884782"/>
              <a:gd name="connsiteY31173" fmla="*/ 2598253 h 5973007"/>
              <a:gd name="connsiteX31174" fmla="*/ 1121363 w 6884782"/>
              <a:gd name="connsiteY31174" fmla="*/ 2599182 h 5973007"/>
              <a:gd name="connsiteX31175" fmla="*/ 1121673 w 6884782"/>
              <a:gd name="connsiteY31175" fmla="*/ 2599802 h 5973007"/>
              <a:gd name="connsiteX31176" fmla="*/ 1121982 w 6884782"/>
              <a:gd name="connsiteY31176" fmla="*/ 2599802 h 5973007"/>
              <a:gd name="connsiteX31177" fmla="*/ 1129313 w 6884782"/>
              <a:gd name="connsiteY31177" fmla="*/ 2602899 h 5973007"/>
              <a:gd name="connsiteX31178" fmla="*/ 1130966 w 6884782"/>
              <a:gd name="connsiteY31178" fmla="*/ 2603674 h 5973007"/>
              <a:gd name="connsiteX31179" fmla="*/ 1130862 w 6884782"/>
              <a:gd name="connsiteY31179" fmla="*/ 2606152 h 5973007"/>
              <a:gd name="connsiteX31180" fmla="*/ 1124564 w 6884782"/>
              <a:gd name="connsiteY31180" fmla="*/ 2606152 h 5973007"/>
              <a:gd name="connsiteX31181" fmla="*/ 1124151 w 6884782"/>
              <a:gd name="connsiteY31181" fmla="*/ 2611109 h 5973007"/>
              <a:gd name="connsiteX31182" fmla="*/ 1108662 w 6884782"/>
              <a:gd name="connsiteY31182" fmla="*/ 2605997 h 5973007"/>
              <a:gd name="connsiteX31183" fmla="*/ 1108249 w 6884782"/>
              <a:gd name="connsiteY31183" fmla="*/ 2605533 h 5973007"/>
              <a:gd name="connsiteX31184" fmla="*/ 1108146 w 6884782"/>
              <a:gd name="connsiteY31184" fmla="*/ 2605842 h 5973007"/>
              <a:gd name="connsiteX31185" fmla="*/ 1110005 w 6884782"/>
              <a:gd name="connsiteY31185" fmla="*/ 2609715 h 5973007"/>
              <a:gd name="connsiteX31186" fmla="*/ 1097201 w 6884782"/>
              <a:gd name="connsiteY31186" fmla="*/ 2611729 h 5973007"/>
              <a:gd name="connsiteX31187" fmla="*/ 1095445 w 6884782"/>
              <a:gd name="connsiteY31187" fmla="*/ 2611264 h 5973007"/>
              <a:gd name="connsiteX31188" fmla="*/ 1095342 w 6884782"/>
              <a:gd name="connsiteY31188" fmla="*/ 2612039 h 5973007"/>
              <a:gd name="connsiteX31189" fmla="*/ 1094516 w 6884782"/>
              <a:gd name="connsiteY31189" fmla="*/ 2611264 h 5973007"/>
              <a:gd name="connsiteX31190" fmla="*/ 1094310 w 6884782"/>
              <a:gd name="connsiteY31190" fmla="*/ 2611264 h 5973007"/>
              <a:gd name="connsiteX31191" fmla="*/ 1093381 w 6884782"/>
              <a:gd name="connsiteY31191" fmla="*/ 2611264 h 5973007"/>
              <a:gd name="connsiteX31192" fmla="*/ 1090592 w 6884782"/>
              <a:gd name="connsiteY31192" fmla="*/ 2609250 h 5973007"/>
              <a:gd name="connsiteX31193" fmla="*/ 1090283 w 6884782"/>
              <a:gd name="connsiteY31193" fmla="*/ 2608321 h 5973007"/>
              <a:gd name="connsiteX31194" fmla="*/ 1091005 w 6884782"/>
              <a:gd name="connsiteY31194" fmla="*/ 2607237 h 5973007"/>
              <a:gd name="connsiteX31195" fmla="*/ 1095445 w 6884782"/>
              <a:gd name="connsiteY31195" fmla="*/ 2604449 h 5973007"/>
              <a:gd name="connsiteX31196" fmla="*/ 1096994 w 6884782"/>
              <a:gd name="connsiteY31196" fmla="*/ 2589114 h 5973007"/>
              <a:gd name="connsiteX31197" fmla="*/ 635852 w 6884782"/>
              <a:gd name="connsiteY31197" fmla="*/ 2588804 h 5973007"/>
              <a:gd name="connsiteX31198" fmla="*/ 647624 w 6884782"/>
              <a:gd name="connsiteY31198" fmla="*/ 2596859 h 5973007"/>
              <a:gd name="connsiteX31199" fmla="*/ 649172 w 6884782"/>
              <a:gd name="connsiteY31199" fmla="*/ 2599647 h 5973007"/>
              <a:gd name="connsiteX31200" fmla="*/ 655161 w 6884782"/>
              <a:gd name="connsiteY31200" fmla="*/ 2594226 h 5973007"/>
              <a:gd name="connsiteX31201" fmla="*/ 660634 w 6884782"/>
              <a:gd name="connsiteY31201" fmla="*/ 2590663 h 5973007"/>
              <a:gd name="connsiteX31202" fmla="*/ 662595 w 6884782"/>
              <a:gd name="connsiteY31202" fmla="*/ 2590353 h 5973007"/>
              <a:gd name="connsiteX31203" fmla="*/ 664144 w 6884782"/>
              <a:gd name="connsiteY31203" fmla="*/ 2592057 h 5973007"/>
              <a:gd name="connsiteX31204" fmla="*/ 657639 w 6884782"/>
              <a:gd name="connsiteY31204" fmla="*/ 2600421 h 5973007"/>
              <a:gd name="connsiteX31205" fmla="*/ 655161 w 6884782"/>
              <a:gd name="connsiteY31205" fmla="*/ 2600886 h 5973007"/>
              <a:gd name="connsiteX31206" fmla="*/ 653612 w 6884782"/>
              <a:gd name="connsiteY31206" fmla="*/ 2601815 h 5973007"/>
              <a:gd name="connsiteX31207" fmla="*/ 650721 w 6884782"/>
              <a:gd name="connsiteY31207" fmla="*/ 2602280 h 5973007"/>
              <a:gd name="connsiteX31208" fmla="*/ 656193 w 6884782"/>
              <a:gd name="connsiteY31208" fmla="*/ 2611729 h 5973007"/>
              <a:gd name="connsiteX31209" fmla="*/ 652786 w 6884782"/>
              <a:gd name="connsiteY31209" fmla="*/ 2639455 h 5973007"/>
              <a:gd name="connsiteX31210" fmla="*/ 648346 w 6884782"/>
              <a:gd name="connsiteY31210" fmla="*/ 2626753 h 5973007"/>
              <a:gd name="connsiteX31211" fmla="*/ 646694 w 6884782"/>
              <a:gd name="connsiteY31211" fmla="*/ 2626289 h 5973007"/>
              <a:gd name="connsiteX31212" fmla="*/ 646591 w 6884782"/>
              <a:gd name="connsiteY31212" fmla="*/ 2625514 h 5973007"/>
              <a:gd name="connsiteX31213" fmla="*/ 646384 w 6884782"/>
              <a:gd name="connsiteY31213" fmla="*/ 2625205 h 5973007"/>
              <a:gd name="connsiteX31214" fmla="*/ 647107 w 6884782"/>
              <a:gd name="connsiteY31214" fmla="*/ 2624121 h 5973007"/>
              <a:gd name="connsiteX31215" fmla="*/ 642977 w 6884782"/>
              <a:gd name="connsiteY31215" fmla="*/ 2615446 h 5973007"/>
              <a:gd name="connsiteX31216" fmla="*/ 635852 w 6884782"/>
              <a:gd name="connsiteY31216" fmla="*/ 2588804 h 5973007"/>
              <a:gd name="connsiteX31217" fmla="*/ 1141601 w 6884782"/>
              <a:gd name="connsiteY31217" fmla="*/ 2587100 h 5973007"/>
              <a:gd name="connsiteX31218" fmla="*/ 1144699 w 6884782"/>
              <a:gd name="connsiteY31218" fmla="*/ 2592676 h 5973007"/>
              <a:gd name="connsiteX31219" fmla="*/ 1148519 w 6884782"/>
              <a:gd name="connsiteY31219" fmla="*/ 2590973 h 5973007"/>
              <a:gd name="connsiteX31220" fmla="*/ 1154405 w 6884782"/>
              <a:gd name="connsiteY31220" fmla="*/ 2591282 h 5973007"/>
              <a:gd name="connsiteX31221" fmla="*/ 1156264 w 6884782"/>
              <a:gd name="connsiteY31221" fmla="*/ 2592986 h 5973007"/>
              <a:gd name="connsiteX31222" fmla="*/ 1159051 w 6884782"/>
              <a:gd name="connsiteY31222" fmla="*/ 2590353 h 5973007"/>
              <a:gd name="connsiteX31223" fmla="*/ 1161426 w 6884782"/>
              <a:gd name="connsiteY31223" fmla="*/ 2597014 h 5973007"/>
              <a:gd name="connsiteX31224" fmla="*/ 1160806 w 6884782"/>
              <a:gd name="connsiteY31224" fmla="*/ 2597014 h 5973007"/>
              <a:gd name="connsiteX31225" fmla="*/ 1161426 w 6884782"/>
              <a:gd name="connsiteY31225" fmla="*/ 2597478 h 5973007"/>
              <a:gd name="connsiteX31226" fmla="*/ 1161116 w 6884782"/>
              <a:gd name="connsiteY31226" fmla="*/ 2598098 h 5973007"/>
              <a:gd name="connsiteX31227" fmla="*/ 1165247 w 6884782"/>
              <a:gd name="connsiteY31227" fmla="*/ 2599956 h 5973007"/>
              <a:gd name="connsiteX31228" fmla="*/ 1167002 w 6884782"/>
              <a:gd name="connsiteY31228" fmla="*/ 2598562 h 5973007"/>
              <a:gd name="connsiteX31229" fmla="*/ 1171132 w 6884782"/>
              <a:gd name="connsiteY31229" fmla="*/ 2599956 h 5973007"/>
              <a:gd name="connsiteX31230" fmla="*/ 1168138 w 6884782"/>
              <a:gd name="connsiteY31230" fmla="*/ 2601506 h 5973007"/>
              <a:gd name="connsiteX31231" fmla="*/ 1167622 w 6884782"/>
              <a:gd name="connsiteY31231" fmla="*/ 2601506 h 5973007"/>
              <a:gd name="connsiteX31232" fmla="*/ 1171958 w 6884782"/>
              <a:gd name="connsiteY31232" fmla="*/ 2604603 h 5973007"/>
              <a:gd name="connsiteX31233" fmla="*/ 1177637 w 6884782"/>
              <a:gd name="connsiteY31233" fmla="*/ 2607856 h 5973007"/>
              <a:gd name="connsiteX31234" fmla="*/ 1178154 w 6884782"/>
              <a:gd name="connsiteY31234" fmla="*/ 2610180 h 5973007"/>
              <a:gd name="connsiteX31235" fmla="*/ 1178980 w 6884782"/>
              <a:gd name="connsiteY31235" fmla="*/ 2610644 h 5973007"/>
              <a:gd name="connsiteX31236" fmla="*/ 1179186 w 6884782"/>
              <a:gd name="connsiteY31236" fmla="*/ 2611729 h 5973007"/>
              <a:gd name="connsiteX31237" fmla="*/ 1179186 w 6884782"/>
              <a:gd name="connsiteY31237" fmla="*/ 2611884 h 5973007"/>
              <a:gd name="connsiteX31238" fmla="*/ 1179393 w 6884782"/>
              <a:gd name="connsiteY31238" fmla="*/ 2612039 h 5973007"/>
              <a:gd name="connsiteX31239" fmla="*/ 1179806 w 6884782"/>
              <a:gd name="connsiteY31239" fmla="*/ 2612348 h 5973007"/>
              <a:gd name="connsiteX31240" fmla="*/ 1182284 w 6884782"/>
              <a:gd name="connsiteY31240" fmla="*/ 2608166 h 5973007"/>
              <a:gd name="connsiteX31241" fmla="*/ 1187860 w 6884782"/>
              <a:gd name="connsiteY31241" fmla="*/ 2608011 h 5973007"/>
              <a:gd name="connsiteX31242" fmla="*/ 1187447 w 6884782"/>
              <a:gd name="connsiteY31242" fmla="*/ 2610335 h 5973007"/>
              <a:gd name="connsiteX31243" fmla="*/ 1191267 w 6884782"/>
              <a:gd name="connsiteY31243" fmla="*/ 2610799 h 5973007"/>
              <a:gd name="connsiteX31244" fmla="*/ 1199528 w 6884782"/>
              <a:gd name="connsiteY31244" fmla="*/ 2614207 h 5973007"/>
              <a:gd name="connsiteX31245" fmla="*/ 1201490 w 6884782"/>
              <a:gd name="connsiteY31245" fmla="*/ 2614207 h 5973007"/>
              <a:gd name="connsiteX31246" fmla="*/ 1190131 w 6884782"/>
              <a:gd name="connsiteY31246" fmla="*/ 2613432 h 5973007"/>
              <a:gd name="connsiteX31247" fmla="*/ 1187137 w 6884782"/>
              <a:gd name="connsiteY31247" fmla="*/ 2612813 h 5973007"/>
              <a:gd name="connsiteX31248" fmla="*/ 1186931 w 6884782"/>
              <a:gd name="connsiteY31248" fmla="*/ 2613897 h 5973007"/>
              <a:gd name="connsiteX31249" fmla="*/ 1186001 w 6884782"/>
              <a:gd name="connsiteY31249" fmla="*/ 2615446 h 5973007"/>
              <a:gd name="connsiteX31250" fmla="*/ 1186311 w 6884782"/>
              <a:gd name="connsiteY31250" fmla="*/ 2617150 h 5973007"/>
              <a:gd name="connsiteX31251" fmla="*/ 1186827 w 6884782"/>
              <a:gd name="connsiteY31251" fmla="*/ 2617460 h 5973007"/>
              <a:gd name="connsiteX31252" fmla="*/ 1189719 w 6884782"/>
              <a:gd name="connsiteY31252" fmla="*/ 2617770 h 5973007"/>
              <a:gd name="connsiteX31253" fmla="*/ 1190441 w 6884782"/>
              <a:gd name="connsiteY31253" fmla="*/ 2619473 h 5973007"/>
              <a:gd name="connsiteX31254" fmla="*/ 1187757 w 6884782"/>
              <a:gd name="connsiteY31254" fmla="*/ 2620248 h 5973007"/>
              <a:gd name="connsiteX31255" fmla="*/ 1186414 w 6884782"/>
              <a:gd name="connsiteY31255" fmla="*/ 2617924 h 5973007"/>
              <a:gd name="connsiteX31256" fmla="*/ 1187653 w 6884782"/>
              <a:gd name="connsiteY31256" fmla="*/ 2624585 h 5973007"/>
              <a:gd name="connsiteX31257" fmla="*/ 1187343 w 6884782"/>
              <a:gd name="connsiteY31257" fmla="*/ 2627218 h 5973007"/>
              <a:gd name="connsiteX31258" fmla="*/ 1188273 w 6884782"/>
              <a:gd name="connsiteY31258" fmla="*/ 2627064 h 5973007"/>
              <a:gd name="connsiteX31259" fmla="*/ 1186827 w 6884782"/>
              <a:gd name="connsiteY31259" fmla="*/ 2631710 h 5973007"/>
              <a:gd name="connsiteX31260" fmla="*/ 1186518 w 6884782"/>
              <a:gd name="connsiteY31260" fmla="*/ 2631555 h 5973007"/>
              <a:gd name="connsiteX31261" fmla="*/ 1185795 w 6884782"/>
              <a:gd name="connsiteY31261" fmla="*/ 2635893 h 5973007"/>
              <a:gd name="connsiteX31262" fmla="*/ 1182284 w 6884782"/>
              <a:gd name="connsiteY31262" fmla="*/ 2642398 h 5973007"/>
              <a:gd name="connsiteX31263" fmla="*/ 1177534 w 6884782"/>
              <a:gd name="connsiteY31263" fmla="*/ 2626134 h 5973007"/>
              <a:gd name="connsiteX31264" fmla="*/ 1161013 w 6884782"/>
              <a:gd name="connsiteY31264" fmla="*/ 2625514 h 5973007"/>
              <a:gd name="connsiteX31265" fmla="*/ 1173301 w 6884782"/>
              <a:gd name="connsiteY31265" fmla="*/ 2619938 h 5973007"/>
              <a:gd name="connsiteX31266" fmla="*/ 1175469 w 6884782"/>
              <a:gd name="connsiteY31266" fmla="*/ 2619319 h 5973007"/>
              <a:gd name="connsiteX31267" fmla="*/ 1176605 w 6884782"/>
              <a:gd name="connsiteY31267" fmla="*/ 2617770 h 5973007"/>
              <a:gd name="connsiteX31268" fmla="*/ 1179599 w 6884782"/>
              <a:gd name="connsiteY31268" fmla="*/ 2612968 h 5973007"/>
              <a:gd name="connsiteX31269" fmla="*/ 1179186 w 6884782"/>
              <a:gd name="connsiteY31269" fmla="*/ 2612503 h 5973007"/>
              <a:gd name="connsiteX31270" fmla="*/ 1178876 w 6884782"/>
              <a:gd name="connsiteY31270" fmla="*/ 2612503 h 5973007"/>
              <a:gd name="connsiteX31271" fmla="*/ 1178154 w 6884782"/>
              <a:gd name="connsiteY31271" fmla="*/ 2612348 h 5973007"/>
              <a:gd name="connsiteX31272" fmla="*/ 1177328 w 6884782"/>
              <a:gd name="connsiteY31272" fmla="*/ 2612348 h 5973007"/>
              <a:gd name="connsiteX31273" fmla="*/ 1176295 w 6884782"/>
              <a:gd name="connsiteY31273" fmla="*/ 2612193 h 5973007"/>
              <a:gd name="connsiteX31274" fmla="*/ 1173920 w 6884782"/>
              <a:gd name="connsiteY31274" fmla="*/ 2610335 h 5973007"/>
              <a:gd name="connsiteX31275" fmla="*/ 1170100 w 6884782"/>
              <a:gd name="connsiteY31275" fmla="*/ 2607856 h 5973007"/>
              <a:gd name="connsiteX31276" fmla="*/ 1162665 w 6884782"/>
              <a:gd name="connsiteY31276" fmla="*/ 2601350 h 5973007"/>
              <a:gd name="connsiteX31277" fmla="*/ 1160910 w 6884782"/>
              <a:gd name="connsiteY31277" fmla="*/ 2598872 h 5973007"/>
              <a:gd name="connsiteX31278" fmla="*/ 1159361 w 6884782"/>
              <a:gd name="connsiteY31278" fmla="*/ 2602590 h 5973007"/>
              <a:gd name="connsiteX31279" fmla="*/ 1154921 w 6884782"/>
              <a:gd name="connsiteY31279" fmla="*/ 2607701 h 5973007"/>
              <a:gd name="connsiteX31280" fmla="*/ 1153062 w 6884782"/>
              <a:gd name="connsiteY31280" fmla="*/ 2608940 h 5973007"/>
              <a:gd name="connsiteX31281" fmla="*/ 1159051 w 6884782"/>
              <a:gd name="connsiteY31281" fmla="*/ 2611729 h 5973007"/>
              <a:gd name="connsiteX31282" fmla="*/ 1160497 w 6884782"/>
              <a:gd name="connsiteY31282" fmla="*/ 2617460 h 5973007"/>
              <a:gd name="connsiteX31283" fmla="*/ 1156264 w 6884782"/>
              <a:gd name="connsiteY31283" fmla="*/ 2617770 h 5973007"/>
              <a:gd name="connsiteX31284" fmla="*/ 1153889 w 6884782"/>
              <a:gd name="connsiteY31284" fmla="*/ 2613588 h 5973007"/>
              <a:gd name="connsiteX31285" fmla="*/ 1151823 w 6884782"/>
              <a:gd name="connsiteY31285" fmla="*/ 2611109 h 5973007"/>
              <a:gd name="connsiteX31286" fmla="*/ 1152236 w 6884782"/>
              <a:gd name="connsiteY31286" fmla="*/ 2609560 h 5973007"/>
              <a:gd name="connsiteX31287" fmla="*/ 1149655 w 6884782"/>
              <a:gd name="connsiteY31287" fmla="*/ 2611574 h 5973007"/>
              <a:gd name="connsiteX31288" fmla="*/ 1145008 w 6884782"/>
              <a:gd name="connsiteY31288" fmla="*/ 2613588 h 5973007"/>
              <a:gd name="connsiteX31289" fmla="*/ 1139742 w 6884782"/>
              <a:gd name="connsiteY31289" fmla="*/ 2608631 h 5973007"/>
              <a:gd name="connsiteX31290" fmla="*/ 1139639 w 6884782"/>
              <a:gd name="connsiteY31290" fmla="*/ 2608476 h 5973007"/>
              <a:gd name="connsiteX31291" fmla="*/ 1137987 w 6884782"/>
              <a:gd name="connsiteY31291" fmla="*/ 2610954 h 5973007"/>
              <a:gd name="connsiteX31292" fmla="*/ 1137471 w 6884782"/>
              <a:gd name="connsiteY31292" fmla="*/ 2599492 h 5973007"/>
              <a:gd name="connsiteX31293" fmla="*/ 1141601 w 6884782"/>
              <a:gd name="connsiteY31293" fmla="*/ 2587100 h 5973007"/>
              <a:gd name="connsiteX31294" fmla="*/ 1291335 w 6884782"/>
              <a:gd name="connsiteY31294" fmla="*/ 2585745 h 5973007"/>
              <a:gd name="connsiteX31295" fmla="*/ 1301855 w 6884782"/>
              <a:gd name="connsiteY31295" fmla="*/ 2588185 h 5973007"/>
              <a:gd name="connsiteX31296" fmla="*/ 1284507 w 6884782"/>
              <a:gd name="connsiteY31296" fmla="*/ 2604759 h 5973007"/>
              <a:gd name="connsiteX31297" fmla="*/ 1281203 w 6884782"/>
              <a:gd name="connsiteY31297" fmla="*/ 2592831 h 5973007"/>
              <a:gd name="connsiteX31298" fmla="*/ 1291335 w 6884782"/>
              <a:gd name="connsiteY31298" fmla="*/ 2585745 h 5973007"/>
              <a:gd name="connsiteX31299" fmla="*/ 922285 w 6884782"/>
              <a:gd name="connsiteY31299" fmla="*/ 2585087 h 5973007"/>
              <a:gd name="connsiteX31300" fmla="*/ 947376 w 6884782"/>
              <a:gd name="connsiteY31300" fmla="*/ 2597633 h 5973007"/>
              <a:gd name="connsiteX31301" fmla="*/ 943349 w 6884782"/>
              <a:gd name="connsiteY31301" fmla="*/ 2604294 h 5973007"/>
              <a:gd name="connsiteX31302" fmla="*/ 922285 w 6884782"/>
              <a:gd name="connsiteY31302" fmla="*/ 2585087 h 5973007"/>
              <a:gd name="connsiteX31303" fmla="*/ 902361 w 6884782"/>
              <a:gd name="connsiteY31303" fmla="*/ 2584920 h 5973007"/>
              <a:gd name="connsiteX31304" fmla="*/ 901737 w 6884782"/>
              <a:gd name="connsiteY31304" fmla="*/ 2600886 h 5973007"/>
              <a:gd name="connsiteX31305" fmla="*/ 890792 w 6884782"/>
              <a:gd name="connsiteY31305" fmla="*/ 2589733 h 5973007"/>
              <a:gd name="connsiteX31306" fmla="*/ 895955 w 6884782"/>
              <a:gd name="connsiteY31306" fmla="*/ 2585242 h 5973007"/>
              <a:gd name="connsiteX31307" fmla="*/ 902361 w 6884782"/>
              <a:gd name="connsiteY31307" fmla="*/ 2584920 h 5973007"/>
              <a:gd name="connsiteX31308" fmla="*/ 5017925 w 6884782"/>
              <a:gd name="connsiteY31308" fmla="*/ 2584029 h 5973007"/>
              <a:gd name="connsiteX31309" fmla="*/ 5031157 w 6884782"/>
              <a:gd name="connsiteY31309" fmla="*/ 2586163 h 5973007"/>
              <a:gd name="connsiteX31310" fmla="*/ 4985699 w 6884782"/>
              <a:gd name="connsiteY31310" fmla="*/ 2599110 h 5973007"/>
              <a:gd name="connsiteX31311" fmla="*/ 5017925 w 6884782"/>
              <a:gd name="connsiteY31311" fmla="*/ 2584029 h 5973007"/>
              <a:gd name="connsiteX31312" fmla="*/ 738902 w 6884782"/>
              <a:gd name="connsiteY31312" fmla="*/ 2583383 h 5973007"/>
              <a:gd name="connsiteX31313" fmla="*/ 748711 w 6884782"/>
              <a:gd name="connsiteY31313" fmla="*/ 2592986 h 5973007"/>
              <a:gd name="connsiteX31314" fmla="*/ 738076 w 6884782"/>
              <a:gd name="connsiteY31314" fmla="*/ 2587565 h 5973007"/>
              <a:gd name="connsiteX31315" fmla="*/ 738902 w 6884782"/>
              <a:gd name="connsiteY31315" fmla="*/ 2583383 h 5973007"/>
              <a:gd name="connsiteX31316" fmla="*/ 1188789 w 6884782"/>
              <a:gd name="connsiteY31316" fmla="*/ 2582918 h 5973007"/>
              <a:gd name="connsiteX31317" fmla="*/ 1188789 w 6884782"/>
              <a:gd name="connsiteY31317" fmla="*/ 2584777 h 5973007"/>
              <a:gd name="connsiteX31318" fmla="*/ 1189099 w 6884782"/>
              <a:gd name="connsiteY31318" fmla="*/ 2583847 h 5973007"/>
              <a:gd name="connsiteX31319" fmla="*/ 1188996 w 6884782"/>
              <a:gd name="connsiteY31319" fmla="*/ 2583693 h 5973007"/>
              <a:gd name="connsiteX31320" fmla="*/ 1189408 w 6884782"/>
              <a:gd name="connsiteY31320" fmla="*/ 2583073 h 5973007"/>
              <a:gd name="connsiteX31321" fmla="*/ 6205820 w 6884782"/>
              <a:gd name="connsiteY31321" fmla="*/ 2582322 h 5973007"/>
              <a:gd name="connsiteX31322" fmla="*/ 6207038 w 6884782"/>
              <a:gd name="connsiteY31322" fmla="*/ 2588526 h 5973007"/>
              <a:gd name="connsiteX31323" fmla="*/ 6208599 w 6884782"/>
              <a:gd name="connsiteY31323" fmla="*/ 2588016 h 5973007"/>
              <a:gd name="connsiteX31324" fmla="*/ 6208274 w 6884782"/>
              <a:gd name="connsiteY31324" fmla="*/ 2587799 h 5973007"/>
              <a:gd name="connsiteX31325" fmla="*/ 6205820 w 6884782"/>
              <a:gd name="connsiteY31325" fmla="*/ 2582322 h 5973007"/>
              <a:gd name="connsiteX31326" fmla="*/ 1109901 w 6884782"/>
              <a:gd name="connsiteY31326" fmla="*/ 2581369 h 5973007"/>
              <a:gd name="connsiteX31327" fmla="*/ 1111966 w 6884782"/>
              <a:gd name="connsiteY31327" fmla="*/ 2588649 h 5973007"/>
              <a:gd name="connsiteX31328" fmla="*/ 1109901 w 6884782"/>
              <a:gd name="connsiteY31328" fmla="*/ 2585707 h 5973007"/>
              <a:gd name="connsiteX31329" fmla="*/ 1109901 w 6884782"/>
              <a:gd name="connsiteY31329" fmla="*/ 2581369 h 5973007"/>
              <a:gd name="connsiteX31330" fmla="*/ 6484119 w 6884782"/>
              <a:gd name="connsiteY31330" fmla="*/ 2581184 h 5973007"/>
              <a:gd name="connsiteX31331" fmla="*/ 6488601 w 6884782"/>
              <a:gd name="connsiteY31331" fmla="*/ 2582749 h 5973007"/>
              <a:gd name="connsiteX31332" fmla="*/ 6466619 w 6884782"/>
              <a:gd name="connsiteY31332" fmla="*/ 2603663 h 5973007"/>
              <a:gd name="connsiteX31333" fmla="*/ 6479424 w 6884782"/>
              <a:gd name="connsiteY31333" fmla="*/ 2581326 h 5973007"/>
              <a:gd name="connsiteX31334" fmla="*/ 6484119 w 6884782"/>
              <a:gd name="connsiteY31334" fmla="*/ 2581184 h 5973007"/>
              <a:gd name="connsiteX31335" fmla="*/ 1332935 w 6884782"/>
              <a:gd name="connsiteY31335" fmla="*/ 2580594 h 5973007"/>
              <a:gd name="connsiteX31336" fmla="*/ 1338098 w 6884782"/>
              <a:gd name="connsiteY31336" fmla="*/ 2581524 h 5973007"/>
              <a:gd name="connsiteX31337" fmla="*/ 1333658 w 6884782"/>
              <a:gd name="connsiteY31337" fmla="*/ 2584002 h 5973007"/>
              <a:gd name="connsiteX31338" fmla="*/ 1332935 w 6884782"/>
              <a:gd name="connsiteY31338" fmla="*/ 2580594 h 5973007"/>
              <a:gd name="connsiteX31339" fmla="*/ 1313419 w 6884782"/>
              <a:gd name="connsiteY31339" fmla="*/ 2579820 h 5973007"/>
              <a:gd name="connsiteX31340" fmla="*/ 1316827 w 6884782"/>
              <a:gd name="connsiteY31340" fmla="*/ 2580904 h 5973007"/>
              <a:gd name="connsiteX31341" fmla="*/ 1316310 w 6884782"/>
              <a:gd name="connsiteY31341" fmla="*/ 2583383 h 5973007"/>
              <a:gd name="connsiteX31342" fmla="*/ 1312077 w 6884782"/>
              <a:gd name="connsiteY31342" fmla="*/ 2582298 h 5973007"/>
              <a:gd name="connsiteX31343" fmla="*/ 1313419 w 6884782"/>
              <a:gd name="connsiteY31343" fmla="*/ 2579820 h 5973007"/>
              <a:gd name="connsiteX31344" fmla="*/ 806534 w 6884782"/>
              <a:gd name="connsiteY31344" fmla="*/ 2577497 h 5973007"/>
              <a:gd name="connsiteX31345" fmla="*/ 811181 w 6884782"/>
              <a:gd name="connsiteY31345" fmla="*/ 2579046 h 5973007"/>
              <a:gd name="connsiteX31346" fmla="*/ 807361 w 6884782"/>
              <a:gd name="connsiteY31346" fmla="*/ 2581834 h 5973007"/>
              <a:gd name="connsiteX31347" fmla="*/ 805295 w 6884782"/>
              <a:gd name="connsiteY31347" fmla="*/ 2579355 h 5973007"/>
              <a:gd name="connsiteX31348" fmla="*/ 806534 w 6884782"/>
              <a:gd name="connsiteY31348" fmla="*/ 2577497 h 5973007"/>
              <a:gd name="connsiteX31349" fmla="*/ 843255 w 6884782"/>
              <a:gd name="connsiteY31349" fmla="*/ 2577342 h 5973007"/>
              <a:gd name="connsiteX31350" fmla="*/ 852174 w 6884782"/>
              <a:gd name="connsiteY31350" fmla="*/ 2579820 h 5973007"/>
              <a:gd name="connsiteX31351" fmla="*/ 853826 w 6884782"/>
              <a:gd name="connsiteY31351" fmla="*/ 2581524 h 5973007"/>
              <a:gd name="connsiteX31352" fmla="*/ 857233 w 6884782"/>
              <a:gd name="connsiteY31352" fmla="*/ 2583073 h 5973007"/>
              <a:gd name="connsiteX31353" fmla="*/ 852484 w 6884782"/>
              <a:gd name="connsiteY31353" fmla="*/ 2593451 h 5973007"/>
              <a:gd name="connsiteX31354" fmla="*/ 837615 w 6884782"/>
              <a:gd name="connsiteY31354" fmla="*/ 2596549 h 5973007"/>
              <a:gd name="connsiteX31355" fmla="*/ 834104 w 6884782"/>
              <a:gd name="connsiteY31355" fmla="*/ 2587720 h 5973007"/>
              <a:gd name="connsiteX31356" fmla="*/ 836582 w 6884782"/>
              <a:gd name="connsiteY31356" fmla="*/ 2582298 h 5973007"/>
              <a:gd name="connsiteX31357" fmla="*/ 843255 w 6884782"/>
              <a:gd name="connsiteY31357" fmla="*/ 2577342 h 5973007"/>
              <a:gd name="connsiteX31358" fmla="*/ 777726 w 6884782"/>
              <a:gd name="connsiteY31358" fmla="*/ 2576877 h 5973007"/>
              <a:gd name="connsiteX31359" fmla="*/ 777417 w 6884782"/>
              <a:gd name="connsiteY31359" fmla="*/ 2588030 h 5973007"/>
              <a:gd name="connsiteX31360" fmla="*/ 773080 w 6884782"/>
              <a:gd name="connsiteY31360" fmla="*/ 2587100 h 5973007"/>
              <a:gd name="connsiteX31361" fmla="*/ 769362 w 6884782"/>
              <a:gd name="connsiteY31361" fmla="*/ 2580594 h 5973007"/>
              <a:gd name="connsiteX31362" fmla="*/ 773699 w 6884782"/>
              <a:gd name="connsiteY31362" fmla="*/ 2578116 h 5973007"/>
              <a:gd name="connsiteX31363" fmla="*/ 777726 w 6884782"/>
              <a:gd name="connsiteY31363" fmla="*/ 2576877 h 5973007"/>
              <a:gd name="connsiteX31364" fmla="*/ 1305056 w 6884782"/>
              <a:gd name="connsiteY31364" fmla="*/ 2576412 h 5973007"/>
              <a:gd name="connsiteX31365" fmla="*/ 1305469 w 6884782"/>
              <a:gd name="connsiteY31365" fmla="*/ 2578736 h 5973007"/>
              <a:gd name="connsiteX31366" fmla="*/ 1307534 w 6884782"/>
              <a:gd name="connsiteY31366" fmla="*/ 2579510 h 5973007"/>
              <a:gd name="connsiteX31367" fmla="*/ 1307327 w 6884782"/>
              <a:gd name="connsiteY31367" fmla="*/ 2580284 h 5973007"/>
              <a:gd name="connsiteX31368" fmla="*/ 1305778 w 6884782"/>
              <a:gd name="connsiteY31368" fmla="*/ 2581214 h 5973007"/>
              <a:gd name="connsiteX31369" fmla="*/ 1305882 w 6884782"/>
              <a:gd name="connsiteY31369" fmla="*/ 2581369 h 5973007"/>
              <a:gd name="connsiteX31370" fmla="*/ 1303094 w 6884782"/>
              <a:gd name="connsiteY31370" fmla="*/ 2584467 h 5973007"/>
              <a:gd name="connsiteX31371" fmla="*/ 1300099 w 6884782"/>
              <a:gd name="connsiteY31371" fmla="*/ 2581059 h 5973007"/>
              <a:gd name="connsiteX31372" fmla="*/ 1301855 w 6884782"/>
              <a:gd name="connsiteY31372" fmla="*/ 2577651 h 5973007"/>
              <a:gd name="connsiteX31373" fmla="*/ 1305056 w 6884782"/>
              <a:gd name="connsiteY31373" fmla="*/ 2576412 h 5973007"/>
              <a:gd name="connsiteX31374" fmla="*/ 1107424 w 6884782"/>
              <a:gd name="connsiteY31374" fmla="*/ 2574708 h 5973007"/>
              <a:gd name="connsiteX31375" fmla="*/ 1111140 w 6884782"/>
              <a:gd name="connsiteY31375" fmla="*/ 2574708 h 5973007"/>
              <a:gd name="connsiteX31376" fmla="*/ 1112793 w 6884782"/>
              <a:gd name="connsiteY31376" fmla="*/ 2576877 h 5973007"/>
              <a:gd name="connsiteX31377" fmla="*/ 1111966 w 6884782"/>
              <a:gd name="connsiteY31377" fmla="*/ 2577187 h 5973007"/>
              <a:gd name="connsiteX31378" fmla="*/ 1108972 w 6884782"/>
              <a:gd name="connsiteY31378" fmla="*/ 2578891 h 5973007"/>
              <a:gd name="connsiteX31379" fmla="*/ 1107424 w 6884782"/>
              <a:gd name="connsiteY31379" fmla="*/ 2574708 h 5973007"/>
              <a:gd name="connsiteX31380" fmla="*/ 704518 w 6884782"/>
              <a:gd name="connsiteY31380" fmla="*/ 2574399 h 5973007"/>
              <a:gd name="connsiteX31381" fmla="*/ 718870 w 6884782"/>
              <a:gd name="connsiteY31381" fmla="*/ 2578426 h 5973007"/>
              <a:gd name="connsiteX31382" fmla="*/ 716701 w 6884782"/>
              <a:gd name="connsiteY31382" fmla="*/ 2586171 h 5973007"/>
              <a:gd name="connsiteX31383" fmla="*/ 700491 w 6884782"/>
              <a:gd name="connsiteY31383" fmla="*/ 2576412 h 5973007"/>
              <a:gd name="connsiteX31384" fmla="*/ 704518 w 6884782"/>
              <a:gd name="connsiteY31384" fmla="*/ 2574399 h 5973007"/>
              <a:gd name="connsiteX31385" fmla="*/ 870553 w 6884782"/>
              <a:gd name="connsiteY31385" fmla="*/ 2574360 h 5973007"/>
              <a:gd name="connsiteX31386" fmla="*/ 879330 w 6884782"/>
              <a:gd name="connsiteY31386" fmla="*/ 2579665 h 5973007"/>
              <a:gd name="connsiteX31387" fmla="*/ 878504 w 6884782"/>
              <a:gd name="connsiteY31387" fmla="*/ 2582298 h 5973007"/>
              <a:gd name="connsiteX31388" fmla="*/ 878711 w 6884782"/>
              <a:gd name="connsiteY31388" fmla="*/ 2582608 h 5973007"/>
              <a:gd name="connsiteX31389" fmla="*/ 873651 w 6884782"/>
              <a:gd name="connsiteY31389" fmla="*/ 2589114 h 5973007"/>
              <a:gd name="connsiteX31390" fmla="*/ 869108 w 6884782"/>
              <a:gd name="connsiteY31390" fmla="*/ 2585242 h 5973007"/>
              <a:gd name="connsiteX31391" fmla="*/ 869521 w 6884782"/>
              <a:gd name="connsiteY31391" fmla="*/ 2584777 h 5973007"/>
              <a:gd name="connsiteX31392" fmla="*/ 868489 w 6884782"/>
              <a:gd name="connsiteY31392" fmla="*/ 2584312 h 5973007"/>
              <a:gd name="connsiteX31393" fmla="*/ 863945 w 6884782"/>
              <a:gd name="connsiteY31393" fmla="*/ 2579510 h 5973007"/>
              <a:gd name="connsiteX31394" fmla="*/ 870553 w 6884782"/>
              <a:gd name="connsiteY31394" fmla="*/ 2574360 h 5973007"/>
              <a:gd name="connsiteX31395" fmla="*/ 1188686 w 6884782"/>
              <a:gd name="connsiteY31395" fmla="*/ 2573624 h 5973007"/>
              <a:gd name="connsiteX31396" fmla="*/ 1188789 w 6884782"/>
              <a:gd name="connsiteY31396" fmla="*/ 2579355 h 5973007"/>
              <a:gd name="connsiteX31397" fmla="*/ 1188789 w 6884782"/>
              <a:gd name="connsiteY31397" fmla="*/ 2581988 h 5973007"/>
              <a:gd name="connsiteX31398" fmla="*/ 1189305 w 6884782"/>
              <a:gd name="connsiteY31398" fmla="*/ 2579510 h 5973007"/>
              <a:gd name="connsiteX31399" fmla="*/ 1191474 w 6884782"/>
              <a:gd name="connsiteY31399" fmla="*/ 2579046 h 5973007"/>
              <a:gd name="connsiteX31400" fmla="*/ 1195707 w 6884782"/>
              <a:gd name="connsiteY31400" fmla="*/ 2581988 h 5973007"/>
              <a:gd name="connsiteX31401" fmla="*/ 1201386 w 6884782"/>
              <a:gd name="connsiteY31401" fmla="*/ 2579200 h 5973007"/>
              <a:gd name="connsiteX31402" fmla="*/ 1201799 w 6884782"/>
              <a:gd name="connsiteY31402" fmla="*/ 2579046 h 5973007"/>
              <a:gd name="connsiteX31403" fmla="*/ 1201799 w 6884782"/>
              <a:gd name="connsiteY31403" fmla="*/ 2578891 h 5973007"/>
              <a:gd name="connsiteX31404" fmla="*/ 1204174 w 6884782"/>
              <a:gd name="connsiteY31404" fmla="*/ 2577651 h 5973007"/>
              <a:gd name="connsiteX31405" fmla="*/ 1205000 w 6884782"/>
              <a:gd name="connsiteY31405" fmla="*/ 2577187 h 5973007"/>
              <a:gd name="connsiteX31406" fmla="*/ 1210370 w 6884782"/>
              <a:gd name="connsiteY31406" fmla="*/ 2577342 h 5973007"/>
              <a:gd name="connsiteX31407" fmla="*/ 1213364 w 6884782"/>
              <a:gd name="connsiteY31407" fmla="*/ 2585396 h 5973007"/>
              <a:gd name="connsiteX31408" fmla="*/ 1212538 w 6884782"/>
              <a:gd name="connsiteY31408" fmla="*/ 2587720 h 5973007"/>
              <a:gd name="connsiteX31409" fmla="*/ 1214500 w 6884782"/>
              <a:gd name="connsiteY31409" fmla="*/ 2587100 h 5973007"/>
              <a:gd name="connsiteX31410" fmla="*/ 1215842 w 6884782"/>
              <a:gd name="connsiteY31410" fmla="*/ 2603829 h 5973007"/>
              <a:gd name="connsiteX31411" fmla="*/ 1215120 w 6884782"/>
              <a:gd name="connsiteY31411" fmla="*/ 2605688 h 5973007"/>
              <a:gd name="connsiteX31412" fmla="*/ 1212951 w 6884782"/>
              <a:gd name="connsiteY31412" fmla="*/ 2605688 h 5973007"/>
              <a:gd name="connsiteX31413" fmla="*/ 1209440 w 6884782"/>
              <a:gd name="connsiteY31413" fmla="*/ 2595000 h 5973007"/>
              <a:gd name="connsiteX31414" fmla="*/ 1210370 w 6884782"/>
              <a:gd name="connsiteY31414" fmla="*/ 2592831 h 5973007"/>
              <a:gd name="connsiteX31415" fmla="*/ 1210886 w 6884782"/>
              <a:gd name="connsiteY31415" fmla="*/ 2591747 h 5973007"/>
              <a:gd name="connsiteX31416" fmla="*/ 1208821 w 6884782"/>
              <a:gd name="connsiteY31416" fmla="*/ 2594071 h 5973007"/>
              <a:gd name="connsiteX31417" fmla="*/ 1201076 w 6884782"/>
              <a:gd name="connsiteY31417" fmla="*/ 2594845 h 5973007"/>
              <a:gd name="connsiteX31418" fmla="*/ 1200767 w 6884782"/>
              <a:gd name="connsiteY31418" fmla="*/ 2594071 h 5973007"/>
              <a:gd name="connsiteX31419" fmla="*/ 1196740 w 6884782"/>
              <a:gd name="connsiteY31419" fmla="*/ 2597478 h 5973007"/>
              <a:gd name="connsiteX31420" fmla="*/ 1189719 w 6884782"/>
              <a:gd name="connsiteY31420" fmla="*/ 2586481 h 5973007"/>
              <a:gd name="connsiteX31421" fmla="*/ 1189408 w 6884782"/>
              <a:gd name="connsiteY31421" fmla="*/ 2584777 h 5973007"/>
              <a:gd name="connsiteX31422" fmla="*/ 1188789 w 6884782"/>
              <a:gd name="connsiteY31422" fmla="*/ 2584931 h 5973007"/>
              <a:gd name="connsiteX31423" fmla="*/ 1188789 w 6884782"/>
              <a:gd name="connsiteY31423" fmla="*/ 2586790 h 5973007"/>
              <a:gd name="connsiteX31424" fmla="*/ 1183420 w 6884782"/>
              <a:gd name="connsiteY31424" fmla="*/ 2596394 h 5973007"/>
              <a:gd name="connsiteX31425" fmla="*/ 1182697 w 6884782"/>
              <a:gd name="connsiteY31425" fmla="*/ 2590663 h 5973007"/>
              <a:gd name="connsiteX31426" fmla="*/ 1182387 w 6884782"/>
              <a:gd name="connsiteY31426" fmla="*/ 2586635 h 5973007"/>
              <a:gd name="connsiteX31427" fmla="*/ 1181561 w 6884782"/>
              <a:gd name="connsiteY31427" fmla="*/ 2586016 h 5973007"/>
              <a:gd name="connsiteX31428" fmla="*/ 1181458 w 6884782"/>
              <a:gd name="connsiteY31428" fmla="*/ 2585087 h 5973007"/>
              <a:gd name="connsiteX31429" fmla="*/ 1182284 w 6884782"/>
              <a:gd name="connsiteY31429" fmla="*/ 2584467 h 5973007"/>
              <a:gd name="connsiteX31430" fmla="*/ 1182181 w 6884782"/>
              <a:gd name="connsiteY31430" fmla="*/ 2583383 h 5973007"/>
              <a:gd name="connsiteX31431" fmla="*/ 1188686 w 6884782"/>
              <a:gd name="connsiteY31431" fmla="*/ 2573624 h 5973007"/>
              <a:gd name="connsiteX31432" fmla="*/ 789704 w 6884782"/>
              <a:gd name="connsiteY31432" fmla="*/ 2573160 h 5973007"/>
              <a:gd name="connsiteX31433" fmla="*/ 795486 w 6884782"/>
              <a:gd name="connsiteY31433" fmla="*/ 2580750 h 5973007"/>
              <a:gd name="connsiteX31434" fmla="*/ 784644 w 6884782"/>
              <a:gd name="connsiteY31434" fmla="*/ 2575018 h 5973007"/>
              <a:gd name="connsiteX31435" fmla="*/ 789704 w 6884782"/>
              <a:gd name="connsiteY31435" fmla="*/ 2573160 h 5973007"/>
              <a:gd name="connsiteX31436" fmla="*/ 999004 w 6884782"/>
              <a:gd name="connsiteY31436" fmla="*/ 2572540 h 5973007"/>
              <a:gd name="connsiteX31437" fmla="*/ 1003754 w 6884782"/>
              <a:gd name="connsiteY31437" fmla="*/ 2579820 h 5973007"/>
              <a:gd name="connsiteX31438" fmla="*/ 992189 w 6884782"/>
              <a:gd name="connsiteY31438" fmla="*/ 2581059 h 5973007"/>
              <a:gd name="connsiteX31439" fmla="*/ 992602 w 6884782"/>
              <a:gd name="connsiteY31439" fmla="*/ 2576877 h 5973007"/>
              <a:gd name="connsiteX31440" fmla="*/ 999004 w 6884782"/>
              <a:gd name="connsiteY31440" fmla="*/ 2572540 h 5973007"/>
              <a:gd name="connsiteX31441" fmla="*/ 508537 w 6884782"/>
              <a:gd name="connsiteY31441" fmla="*/ 2570991 h 5973007"/>
              <a:gd name="connsiteX31442" fmla="*/ 522270 w 6884782"/>
              <a:gd name="connsiteY31442" fmla="*/ 2587410 h 5973007"/>
              <a:gd name="connsiteX31443" fmla="*/ 518347 w 6884782"/>
              <a:gd name="connsiteY31443" fmla="*/ 2589114 h 5973007"/>
              <a:gd name="connsiteX31444" fmla="*/ 507401 w 6884782"/>
              <a:gd name="connsiteY31444" fmla="*/ 2576722 h 5973007"/>
              <a:gd name="connsiteX31445" fmla="*/ 508537 w 6884782"/>
              <a:gd name="connsiteY31445" fmla="*/ 2570991 h 5973007"/>
              <a:gd name="connsiteX31446" fmla="*/ 5102866 w 6884782"/>
              <a:gd name="connsiteY31446" fmla="*/ 2570372 h 5973007"/>
              <a:gd name="connsiteX31447" fmla="*/ 5104787 w 6884782"/>
              <a:gd name="connsiteY31447" fmla="*/ 2575778 h 5973007"/>
              <a:gd name="connsiteX31448" fmla="*/ 5102013 w 6884782"/>
              <a:gd name="connsiteY31448" fmla="*/ 2577058 h 5973007"/>
              <a:gd name="connsiteX31449" fmla="*/ 5104573 w 6884782"/>
              <a:gd name="connsiteY31449" fmla="*/ 2578339 h 5973007"/>
              <a:gd name="connsiteX31450" fmla="*/ 5107135 w 6884782"/>
              <a:gd name="connsiteY31450" fmla="*/ 2596549 h 5973007"/>
              <a:gd name="connsiteX31451" fmla="*/ 5097744 w 6884782"/>
              <a:gd name="connsiteY31451" fmla="*/ 2601813 h 5973007"/>
              <a:gd name="connsiteX31452" fmla="*/ 5093476 w 6884782"/>
              <a:gd name="connsiteY31452" fmla="*/ 2601528 h 5973007"/>
              <a:gd name="connsiteX31453" fmla="*/ 5095610 w 6884782"/>
              <a:gd name="connsiteY31453" fmla="*/ 2575636 h 5973007"/>
              <a:gd name="connsiteX31454" fmla="*/ 5097530 w 6884782"/>
              <a:gd name="connsiteY31454" fmla="*/ 2575778 h 5973007"/>
              <a:gd name="connsiteX31455" fmla="*/ 5095397 w 6884782"/>
              <a:gd name="connsiteY31455" fmla="*/ 2574070 h 5973007"/>
              <a:gd name="connsiteX31456" fmla="*/ 5102866 w 6884782"/>
              <a:gd name="connsiteY31456" fmla="*/ 2570372 h 5973007"/>
              <a:gd name="connsiteX31457" fmla="*/ 1153062 w 6884782"/>
              <a:gd name="connsiteY31457" fmla="*/ 2569907 h 5973007"/>
              <a:gd name="connsiteX31458" fmla="*/ 1148829 w 6884782"/>
              <a:gd name="connsiteY31458" fmla="*/ 2576257 h 5973007"/>
              <a:gd name="connsiteX31459" fmla="*/ 1151514 w 6884782"/>
              <a:gd name="connsiteY31459" fmla="*/ 2570217 h 5973007"/>
              <a:gd name="connsiteX31460" fmla="*/ 1153062 w 6884782"/>
              <a:gd name="connsiteY31460" fmla="*/ 2569907 h 5973007"/>
              <a:gd name="connsiteX31461" fmla="*/ 1300719 w 6884782"/>
              <a:gd name="connsiteY31461" fmla="*/ 2569287 h 5973007"/>
              <a:gd name="connsiteX31462" fmla="*/ 1293594 w 6884782"/>
              <a:gd name="connsiteY31462" fmla="*/ 2581369 h 5973007"/>
              <a:gd name="connsiteX31463" fmla="*/ 1293594 w 6884782"/>
              <a:gd name="connsiteY31463" fmla="*/ 2581214 h 5973007"/>
              <a:gd name="connsiteX31464" fmla="*/ 1291219 w 6884782"/>
              <a:gd name="connsiteY31464" fmla="*/ 2582143 h 5973007"/>
              <a:gd name="connsiteX31465" fmla="*/ 1287812 w 6884782"/>
              <a:gd name="connsiteY31465" fmla="*/ 2580130 h 5973007"/>
              <a:gd name="connsiteX31466" fmla="*/ 1291323 w 6884782"/>
              <a:gd name="connsiteY31466" fmla="*/ 2579046 h 5973007"/>
              <a:gd name="connsiteX31467" fmla="*/ 1293801 w 6884782"/>
              <a:gd name="connsiteY31467" fmla="*/ 2579975 h 5973007"/>
              <a:gd name="connsiteX31468" fmla="*/ 1294937 w 6884782"/>
              <a:gd name="connsiteY31468" fmla="*/ 2574089 h 5973007"/>
              <a:gd name="connsiteX31469" fmla="*/ 1296795 w 6884782"/>
              <a:gd name="connsiteY31469" fmla="*/ 2569442 h 5973007"/>
              <a:gd name="connsiteX31470" fmla="*/ 1300719 w 6884782"/>
              <a:gd name="connsiteY31470" fmla="*/ 2569287 h 5973007"/>
              <a:gd name="connsiteX31471" fmla="*/ 861983 w 6884782"/>
              <a:gd name="connsiteY31471" fmla="*/ 2568822 h 5973007"/>
              <a:gd name="connsiteX31472" fmla="*/ 857130 w 6884782"/>
              <a:gd name="connsiteY31472" fmla="*/ 2575638 h 5973007"/>
              <a:gd name="connsiteX31473" fmla="*/ 861983 w 6884782"/>
              <a:gd name="connsiteY31473" fmla="*/ 2568822 h 5973007"/>
              <a:gd name="connsiteX31474" fmla="*/ 715050 w 6884782"/>
              <a:gd name="connsiteY31474" fmla="*/ 2568822 h 5973007"/>
              <a:gd name="connsiteX31475" fmla="*/ 725995 w 6884782"/>
              <a:gd name="connsiteY31475" fmla="*/ 2572385 h 5973007"/>
              <a:gd name="connsiteX31476" fmla="*/ 718767 w 6884782"/>
              <a:gd name="connsiteY31476" fmla="*/ 2575948 h 5973007"/>
              <a:gd name="connsiteX31477" fmla="*/ 711126 w 6884782"/>
              <a:gd name="connsiteY31477" fmla="*/ 2570836 h 5973007"/>
              <a:gd name="connsiteX31478" fmla="*/ 715050 w 6884782"/>
              <a:gd name="connsiteY31478" fmla="*/ 2568822 h 5973007"/>
              <a:gd name="connsiteX31479" fmla="*/ 1043817 w 6884782"/>
              <a:gd name="connsiteY31479" fmla="*/ 2565879 h 5973007"/>
              <a:gd name="connsiteX31480" fmla="*/ 1050219 w 6884782"/>
              <a:gd name="connsiteY31480" fmla="*/ 2566963 h 5973007"/>
              <a:gd name="connsiteX31481" fmla="*/ 1052388 w 6884782"/>
              <a:gd name="connsiteY31481" fmla="*/ 2569287 h 5973007"/>
              <a:gd name="connsiteX31482" fmla="*/ 1053833 w 6884782"/>
              <a:gd name="connsiteY31482" fmla="*/ 2568358 h 5973007"/>
              <a:gd name="connsiteX31483" fmla="*/ 1069631 w 6884782"/>
              <a:gd name="connsiteY31483" fmla="*/ 2576568 h 5973007"/>
              <a:gd name="connsiteX31484" fmla="*/ 1075311 w 6884782"/>
              <a:gd name="connsiteY31484" fmla="*/ 2585087 h 5973007"/>
              <a:gd name="connsiteX31485" fmla="*/ 1074278 w 6884782"/>
              <a:gd name="connsiteY31485" fmla="*/ 2587720 h 5973007"/>
              <a:gd name="connsiteX31486" fmla="*/ 1073142 w 6884782"/>
              <a:gd name="connsiteY31486" fmla="*/ 2588494 h 5973007"/>
              <a:gd name="connsiteX31487" fmla="*/ 1072729 w 6884782"/>
              <a:gd name="connsiteY31487" fmla="*/ 2589888 h 5973007"/>
              <a:gd name="connsiteX31488" fmla="*/ 1074794 w 6884782"/>
              <a:gd name="connsiteY31488" fmla="*/ 2598407 h 5973007"/>
              <a:gd name="connsiteX31489" fmla="*/ 1075311 w 6884782"/>
              <a:gd name="connsiteY31489" fmla="*/ 2595155 h 5973007"/>
              <a:gd name="connsiteX31490" fmla="*/ 1075207 w 6884782"/>
              <a:gd name="connsiteY31490" fmla="*/ 2595929 h 5973007"/>
              <a:gd name="connsiteX31491" fmla="*/ 1077066 w 6884782"/>
              <a:gd name="connsiteY31491" fmla="*/ 2595929 h 5973007"/>
              <a:gd name="connsiteX31492" fmla="*/ 1077066 w 6884782"/>
              <a:gd name="connsiteY31492" fmla="*/ 2595000 h 5973007"/>
              <a:gd name="connsiteX31493" fmla="*/ 1078821 w 6884782"/>
              <a:gd name="connsiteY31493" fmla="*/ 2595775 h 5973007"/>
              <a:gd name="connsiteX31494" fmla="*/ 1081093 w 6884782"/>
              <a:gd name="connsiteY31494" fmla="*/ 2601660 h 5973007"/>
              <a:gd name="connsiteX31495" fmla="*/ 1078615 w 6884782"/>
              <a:gd name="connsiteY31495" fmla="*/ 2602745 h 5973007"/>
              <a:gd name="connsiteX31496" fmla="*/ 1077375 w 6884782"/>
              <a:gd name="connsiteY31496" fmla="*/ 2602125 h 5973007"/>
              <a:gd name="connsiteX31497" fmla="*/ 1076033 w 6884782"/>
              <a:gd name="connsiteY31497" fmla="*/ 2603519 h 5973007"/>
              <a:gd name="connsiteX31498" fmla="*/ 1078408 w 6884782"/>
              <a:gd name="connsiteY31498" fmla="*/ 2613432 h 5973007"/>
              <a:gd name="connsiteX31499" fmla="*/ 1072729 w 6884782"/>
              <a:gd name="connsiteY31499" fmla="*/ 2619783 h 5973007"/>
              <a:gd name="connsiteX31500" fmla="*/ 1071594 w 6884782"/>
              <a:gd name="connsiteY31500" fmla="*/ 2621797 h 5973007"/>
              <a:gd name="connsiteX31501" fmla="*/ 1071180 w 6884782"/>
              <a:gd name="connsiteY31501" fmla="*/ 2623501 h 5973007"/>
              <a:gd name="connsiteX31502" fmla="*/ 1069322 w 6884782"/>
              <a:gd name="connsiteY31502" fmla="*/ 2625514 h 5973007"/>
              <a:gd name="connsiteX31503" fmla="*/ 1068083 w 6884782"/>
              <a:gd name="connsiteY31503" fmla="*/ 2627838 h 5973007"/>
              <a:gd name="connsiteX31504" fmla="*/ 1054453 w 6884782"/>
              <a:gd name="connsiteY31504" fmla="*/ 2638526 h 5973007"/>
              <a:gd name="connsiteX31505" fmla="*/ 1053317 w 6884782"/>
              <a:gd name="connsiteY31505" fmla="*/ 2638061 h 5973007"/>
              <a:gd name="connsiteX31506" fmla="*/ 1052284 w 6884782"/>
              <a:gd name="connsiteY31506" fmla="*/ 2639145 h 5973007"/>
              <a:gd name="connsiteX31507" fmla="*/ 1046089 w 6884782"/>
              <a:gd name="connsiteY31507" fmla="*/ 2640539 h 5973007"/>
              <a:gd name="connsiteX31508" fmla="*/ 1044230 w 6884782"/>
              <a:gd name="connsiteY31508" fmla="*/ 2636667 h 5973007"/>
              <a:gd name="connsiteX31509" fmla="*/ 1044230 w 6884782"/>
              <a:gd name="connsiteY31509" fmla="*/ 2635738 h 5973007"/>
              <a:gd name="connsiteX31510" fmla="*/ 1042372 w 6884782"/>
              <a:gd name="connsiteY31510" fmla="*/ 2635583 h 5973007"/>
              <a:gd name="connsiteX31511" fmla="*/ 1032562 w 6884782"/>
              <a:gd name="connsiteY31511" fmla="*/ 2635893 h 5973007"/>
              <a:gd name="connsiteX31512" fmla="*/ 1022960 w 6884782"/>
              <a:gd name="connsiteY31512" fmla="*/ 2627993 h 5973007"/>
              <a:gd name="connsiteX31513" fmla="*/ 1016558 w 6884782"/>
              <a:gd name="connsiteY31513" fmla="*/ 2620713 h 5973007"/>
              <a:gd name="connsiteX31514" fmla="*/ 1010465 w 6884782"/>
              <a:gd name="connsiteY31514" fmla="*/ 2620558 h 5973007"/>
              <a:gd name="connsiteX31515" fmla="*/ 1004064 w 6884782"/>
              <a:gd name="connsiteY31515" fmla="*/ 2619938 h 5973007"/>
              <a:gd name="connsiteX31516" fmla="*/ 1009949 w 6884782"/>
              <a:gd name="connsiteY31516" fmla="*/ 2618234 h 5973007"/>
              <a:gd name="connsiteX31517" fmla="*/ 1013770 w 6884782"/>
              <a:gd name="connsiteY31517" fmla="*/ 2618854 h 5973007"/>
              <a:gd name="connsiteX31518" fmla="*/ 1015319 w 6884782"/>
              <a:gd name="connsiteY31518" fmla="*/ 2619319 h 5973007"/>
              <a:gd name="connsiteX31519" fmla="*/ 1014493 w 6884782"/>
              <a:gd name="connsiteY31519" fmla="*/ 2618079 h 5973007"/>
              <a:gd name="connsiteX31520" fmla="*/ 1007368 w 6884782"/>
              <a:gd name="connsiteY31520" fmla="*/ 2594690 h 5973007"/>
              <a:gd name="connsiteX31521" fmla="*/ 1028329 w 6884782"/>
              <a:gd name="connsiteY31521" fmla="*/ 2568977 h 5973007"/>
              <a:gd name="connsiteX31522" fmla="*/ 1040100 w 6884782"/>
              <a:gd name="connsiteY31522" fmla="*/ 2571146 h 5973007"/>
              <a:gd name="connsiteX31523" fmla="*/ 1042165 w 6884782"/>
              <a:gd name="connsiteY31523" fmla="*/ 2570526 h 5973007"/>
              <a:gd name="connsiteX31524" fmla="*/ 5048871 w 6884782"/>
              <a:gd name="connsiteY31524" fmla="*/ 2565819 h 5973007"/>
              <a:gd name="connsiteX31525" fmla="*/ 5053993 w 6884782"/>
              <a:gd name="connsiteY31525" fmla="*/ 2568237 h 5973007"/>
              <a:gd name="connsiteX31526" fmla="*/ 5048658 w 6884782"/>
              <a:gd name="connsiteY31526" fmla="*/ 2577343 h 5973007"/>
              <a:gd name="connsiteX31527" fmla="*/ 5048871 w 6884782"/>
              <a:gd name="connsiteY31527" fmla="*/ 2565819 h 5973007"/>
              <a:gd name="connsiteX31528" fmla="*/ 1317021 w 6884782"/>
              <a:gd name="connsiteY31528" fmla="*/ 2564737 h 5973007"/>
              <a:gd name="connsiteX31529" fmla="*/ 1323022 w 6884782"/>
              <a:gd name="connsiteY31529" fmla="*/ 2565724 h 5973007"/>
              <a:gd name="connsiteX31530" fmla="*/ 1323848 w 6884782"/>
              <a:gd name="connsiteY31530" fmla="*/ 2568048 h 5973007"/>
              <a:gd name="connsiteX31531" fmla="*/ 1323745 w 6884782"/>
              <a:gd name="connsiteY31531" fmla="*/ 2568513 h 5973007"/>
              <a:gd name="connsiteX31532" fmla="*/ 1323848 w 6884782"/>
              <a:gd name="connsiteY31532" fmla="*/ 2568667 h 5973007"/>
              <a:gd name="connsiteX31533" fmla="*/ 1324674 w 6884782"/>
              <a:gd name="connsiteY31533" fmla="*/ 2571301 h 5973007"/>
              <a:gd name="connsiteX31534" fmla="*/ 1321060 w 6884782"/>
              <a:gd name="connsiteY31534" fmla="*/ 2575018 h 5973007"/>
              <a:gd name="connsiteX31535" fmla="*/ 1316620 w 6884782"/>
              <a:gd name="connsiteY31535" fmla="*/ 2572695 h 5973007"/>
              <a:gd name="connsiteX31536" fmla="*/ 1316517 w 6884782"/>
              <a:gd name="connsiteY31536" fmla="*/ 2572075 h 5973007"/>
              <a:gd name="connsiteX31537" fmla="*/ 1313419 w 6884782"/>
              <a:gd name="connsiteY31537" fmla="*/ 2571765 h 5973007"/>
              <a:gd name="connsiteX31538" fmla="*/ 1317021 w 6884782"/>
              <a:gd name="connsiteY31538" fmla="*/ 2564737 h 5973007"/>
              <a:gd name="connsiteX31539" fmla="*/ 6197710 w 6884782"/>
              <a:gd name="connsiteY31539" fmla="*/ 2563400 h 5973007"/>
              <a:gd name="connsiteX31540" fmla="*/ 6200057 w 6884782"/>
              <a:gd name="connsiteY31540" fmla="*/ 2564538 h 5973007"/>
              <a:gd name="connsiteX31541" fmla="*/ 6200698 w 6884782"/>
              <a:gd name="connsiteY31541" fmla="*/ 2566673 h 5973007"/>
              <a:gd name="connsiteX31542" fmla="*/ 6199204 w 6884782"/>
              <a:gd name="connsiteY31542" fmla="*/ 2569091 h 5973007"/>
              <a:gd name="connsiteX31543" fmla="*/ 6195149 w 6884782"/>
              <a:gd name="connsiteY31543" fmla="*/ 2571652 h 5973007"/>
              <a:gd name="connsiteX31544" fmla="*/ 6191947 w 6884782"/>
              <a:gd name="connsiteY31544" fmla="*/ 2570940 h 5973007"/>
              <a:gd name="connsiteX31545" fmla="*/ 6191947 w 6884782"/>
              <a:gd name="connsiteY31545" fmla="*/ 2568237 h 5973007"/>
              <a:gd name="connsiteX31546" fmla="*/ 6190880 w 6884782"/>
              <a:gd name="connsiteY31546" fmla="*/ 2566246 h 5973007"/>
              <a:gd name="connsiteX31547" fmla="*/ 6191947 w 6884782"/>
              <a:gd name="connsiteY31547" fmla="*/ 2565534 h 5973007"/>
              <a:gd name="connsiteX31548" fmla="*/ 6192587 w 6884782"/>
              <a:gd name="connsiteY31548" fmla="*/ 2563827 h 5973007"/>
              <a:gd name="connsiteX31549" fmla="*/ 6197710 w 6884782"/>
              <a:gd name="connsiteY31549" fmla="*/ 2563400 h 5973007"/>
              <a:gd name="connsiteX31550" fmla="*/ 1349146 w 6884782"/>
              <a:gd name="connsiteY31550" fmla="*/ 2563246 h 5973007"/>
              <a:gd name="connsiteX31551" fmla="*/ 1352554 w 6884782"/>
              <a:gd name="connsiteY31551" fmla="*/ 2567118 h 5973007"/>
              <a:gd name="connsiteX31552" fmla="*/ 1328804 w 6884782"/>
              <a:gd name="connsiteY31552" fmla="*/ 2567273 h 5973007"/>
              <a:gd name="connsiteX31553" fmla="*/ 1349146 w 6884782"/>
              <a:gd name="connsiteY31553" fmla="*/ 2563246 h 5973007"/>
              <a:gd name="connsiteX31554" fmla="*/ 6204966 w 6884782"/>
              <a:gd name="connsiteY31554" fmla="*/ 2562831 h 5973007"/>
              <a:gd name="connsiteX31555" fmla="*/ 6210515 w 6884782"/>
              <a:gd name="connsiteY31555" fmla="*/ 2563116 h 5973007"/>
              <a:gd name="connsiteX31556" fmla="*/ 6220972 w 6884782"/>
              <a:gd name="connsiteY31556" fmla="*/ 2567526 h 5973007"/>
              <a:gd name="connsiteX31557" fmla="*/ 6223107 w 6884782"/>
              <a:gd name="connsiteY31557" fmla="*/ 2575351 h 5973007"/>
              <a:gd name="connsiteX31558" fmla="*/ 6200698 w 6884782"/>
              <a:gd name="connsiteY31558" fmla="*/ 2565108 h 5973007"/>
              <a:gd name="connsiteX31559" fmla="*/ 6204966 w 6884782"/>
              <a:gd name="connsiteY31559" fmla="*/ 2562831 h 5973007"/>
              <a:gd name="connsiteX31560" fmla="*/ 609109 w 6884782"/>
              <a:gd name="connsiteY31560" fmla="*/ 2562782 h 5973007"/>
              <a:gd name="connsiteX31561" fmla="*/ 628624 w 6884782"/>
              <a:gd name="connsiteY31561" fmla="*/ 2577497 h 5973007"/>
              <a:gd name="connsiteX31562" fmla="*/ 609831 w 6884782"/>
              <a:gd name="connsiteY31562" fmla="*/ 2568203 h 5973007"/>
              <a:gd name="connsiteX31563" fmla="*/ 608592 w 6884782"/>
              <a:gd name="connsiteY31563" fmla="*/ 2564331 h 5973007"/>
              <a:gd name="connsiteX31564" fmla="*/ 609109 w 6884782"/>
              <a:gd name="connsiteY31564" fmla="*/ 2562782 h 5973007"/>
              <a:gd name="connsiteX31565" fmla="*/ 479109 w 6884782"/>
              <a:gd name="connsiteY31565" fmla="*/ 2562782 h 5973007"/>
              <a:gd name="connsiteX31566" fmla="*/ 480761 w 6884782"/>
              <a:gd name="connsiteY31566" fmla="*/ 2569752 h 5973007"/>
              <a:gd name="connsiteX31567" fmla="*/ 475598 w 6884782"/>
              <a:gd name="connsiteY31567" fmla="*/ 2568358 h 5973007"/>
              <a:gd name="connsiteX31568" fmla="*/ 474050 w 6884782"/>
              <a:gd name="connsiteY31568" fmla="*/ 2565724 h 5973007"/>
              <a:gd name="connsiteX31569" fmla="*/ 475702 w 6884782"/>
              <a:gd name="connsiteY31569" fmla="*/ 2563401 h 5973007"/>
              <a:gd name="connsiteX31570" fmla="*/ 479109 w 6884782"/>
              <a:gd name="connsiteY31570" fmla="*/ 2562782 h 5973007"/>
              <a:gd name="connsiteX31571" fmla="*/ 1100918 w 6884782"/>
              <a:gd name="connsiteY31571" fmla="*/ 2562162 h 5973007"/>
              <a:gd name="connsiteX31572" fmla="*/ 1101125 w 6884782"/>
              <a:gd name="connsiteY31572" fmla="*/ 2564021 h 5973007"/>
              <a:gd name="connsiteX31573" fmla="*/ 1100608 w 6884782"/>
              <a:gd name="connsiteY31573" fmla="*/ 2566189 h 5973007"/>
              <a:gd name="connsiteX31574" fmla="*/ 1101434 w 6884782"/>
              <a:gd name="connsiteY31574" fmla="*/ 2567738 h 5973007"/>
              <a:gd name="connsiteX31575" fmla="*/ 1098233 w 6884782"/>
              <a:gd name="connsiteY31575" fmla="*/ 2573314 h 5973007"/>
              <a:gd name="connsiteX31576" fmla="*/ 1098130 w 6884782"/>
              <a:gd name="connsiteY31576" fmla="*/ 2571301 h 5973007"/>
              <a:gd name="connsiteX31577" fmla="*/ 1098543 w 6884782"/>
              <a:gd name="connsiteY31577" fmla="*/ 2569132 h 5973007"/>
              <a:gd name="connsiteX31578" fmla="*/ 1099059 w 6884782"/>
              <a:gd name="connsiteY31578" fmla="*/ 2566963 h 5973007"/>
              <a:gd name="connsiteX31579" fmla="*/ 1098853 w 6884782"/>
              <a:gd name="connsiteY31579" fmla="*/ 2565105 h 5973007"/>
              <a:gd name="connsiteX31580" fmla="*/ 1100918 w 6884782"/>
              <a:gd name="connsiteY31580" fmla="*/ 2562162 h 5973007"/>
              <a:gd name="connsiteX31581" fmla="*/ 1031014 w 6884782"/>
              <a:gd name="connsiteY31581" fmla="*/ 2561697 h 5973007"/>
              <a:gd name="connsiteX31582" fmla="*/ 1032666 w 6884782"/>
              <a:gd name="connsiteY31582" fmla="*/ 2561697 h 5973007"/>
              <a:gd name="connsiteX31583" fmla="*/ 1034008 w 6884782"/>
              <a:gd name="connsiteY31583" fmla="*/ 2563556 h 5973007"/>
              <a:gd name="connsiteX31584" fmla="*/ 1031736 w 6884782"/>
              <a:gd name="connsiteY31584" fmla="*/ 2567118 h 5973007"/>
              <a:gd name="connsiteX31585" fmla="*/ 1026987 w 6884782"/>
              <a:gd name="connsiteY31585" fmla="*/ 2567893 h 5973007"/>
              <a:gd name="connsiteX31586" fmla="*/ 1024922 w 6884782"/>
              <a:gd name="connsiteY31586" fmla="*/ 2569442 h 5973007"/>
              <a:gd name="connsiteX31587" fmla="*/ 1024096 w 6884782"/>
              <a:gd name="connsiteY31587" fmla="*/ 2568977 h 5973007"/>
              <a:gd name="connsiteX31588" fmla="*/ 1031014 w 6884782"/>
              <a:gd name="connsiteY31588" fmla="*/ 2561697 h 5973007"/>
              <a:gd name="connsiteX31589" fmla="*/ 828838 w 6884782"/>
              <a:gd name="connsiteY31589" fmla="*/ 2560923 h 5973007"/>
              <a:gd name="connsiteX31590" fmla="*/ 837098 w 6884782"/>
              <a:gd name="connsiteY31590" fmla="*/ 2567118 h 5973007"/>
              <a:gd name="connsiteX31591" fmla="*/ 835859 w 6884782"/>
              <a:gd name="connsiteY31591" fmla="*/ 2568203 h 5973007"/>
              <a:gd name="connsiteX31592" fmla="*/ 837615 w 6884782"/>
              <a:gd name="connsiteY31592" fmla="*/ 2568822 h 5973007"/>
              <a:gd name="connsiteX31593" fmla="*/ 839886 w 6884782"/>
              <a:gd name="connsiteY31593" fmla="*/ 2570526 h 5973007"/>
              <a:gd name="connsiteX31594" fmla="*/ 837822 w 6884782"/>
              <a:gd name="connsiteY31594" fmla="*/ 2576412 h 5973007"/>
              <a:gd name="connsiteX31595" fmla="*/ 835240 w 6884782"/>
              <a:gd name="connsiteY31595" fmla="*/ 2577342 h 5973007"/>
              <a:gd name="connsiteX31596" fmla="*/ 830077 w 6884782"/>
              <a:gd name="connsiteY31596" fmla="*/ 2576722 h 5973007"/>
              <a:gd name="connsiteX31597" fmla="*/ 829974 w 6884782"/>
              <a:gd name="connsiteY31597" fmla="*/ 2577497 h 5973007"/>
              <a:gd name="connsiteX31598" fmla="*/ 829354 w 6884782"/>
              <a:gd name="connsiteY31598" fmla="*/ 2572540 h 5973007"/>
              <a:gd name="connsiteX31599" fmla="*/ 829870 w 6884782"/>
              <a:gd name="connsiteY31599" fmla="*/ 2572075 h 5973007"/>
              <a:gd name="connsiteX31600" fmla="*/ 829148 w 6884782"/>
              <a:gd name="connsiteY31600" fmla="*/ 2572385 h 5973007"/>
              <a:gd name="connsiteX31601" fmla="*/ 826360 w 6884782"/>
              <a:gd name="connsiteY31601" fmla="*/ 2567118 h 5973007"/>
              <a:gd name="connsiteX31602" fmla="*/ 828838 w 6884782"/>
              <a:gd name="connsiteY31602" fmla="*/ 2560923 h 5973007"/>
              <a:gd name="connsiteX31603" fmla="*/ 628314 w 6884782"/>
              <a:gd name="connsiteY31603" fmla="*/ 2560148 h 5973007"/>
              <a:gd name="connsiteX31604" fmla="*/ 633374 w 6884782"/>
              <a:gd name="connsiteY31604" fmla="*/ 2560923 h 5973007"/>
              <a:gd name="connsiteX31605" fmla="*/ 632135 w 6884782"/>
              <a:gd name="connsiteY31605" fmla="*/ 2564021 h 5973007"/>
              <a:gd name="connsiteX31606" fmla="*/ 628314 w 6884782"/>
              <a:gd name="connsiteY31606" fmla="*/ 2560148 h 5973007"/>
              <a:gd name="connsiteX31607" fmla="*/ 815311 w 6884782"/>
              <a:gd name="connsiteY31607" fmla="*/ 2559064 h 5973007"/>
              <a:gd name="connsiteX31608" fmla="*/ 822952 w 6884782"/>
              <a:gd name="connsiteY31608" fmla="*/ 2563556 h 5973007"/>
              <a:gd name="connsiteX31609" fmla="*/ 812936 w 6884782"/>
              <a:gd name="connsiteY31609" fmla="*/ 2563401 h 5973007"/>
              <a:gd name="connsiteX31610" fmla="*/ 815311 w 6884782"/>
              <a:gd name="connsiteY31610" fmla="*/ 2559064 h 5973007"/>
              <a:gd name="connsiteX31611" fmla="*/ 1132204 w 6884782"/>
              <a:gd name="connsiteY31611" fmla="*/ 2558909 h 5973007"/>
              <a:gd name="connsiteX31612" fmla="*/ 1134373 w 6884782"/>
              <a:gd name="connsiteY31612" fmla="*/ 2560768 h 5973007"/>
              <a:gd name="connsiteX31613" fmla="*/ 1133031 w 6884782"/>
              <a:gd name="connsiteY31613" fmla="*/ 2563401 h 5973007"/>
              <a:gd name="connsiteX31614" fmla="*/ 1134166 w 6884782"/>
              <a:gd name="connsiteY31614" fmla="*/ 2566654 h 5973007"/>
              <a:gd name="connsiteX31615" fmla="*/ 1133754 w 6884782"/>
              <a:gd name="connsiteY31615" fmla="*/ 2567583 h 5973007"/>
              <a:gd name="connsiteX31616" fmla="*/ 1134580 w 6884782"/>
              <a:gd name="connsiteY31616" fmla="*/ 2567583 h 5973007"/>
              <a:gd name="connsiteX31617" fmla="*/ 1126526 w 6884782"/>
              <a:gd name="connsiteY31617" fmla="*/ 2592212 h 5973007"/>
              <a:gd name="connsiteX31618" fmla="*/ 1119091 w 6884782"/>
              <a:gd name="connsiteY31618" fmla="*/ 2583847 h 5973007"/>
              <a:gd name="connsiteX31619" fmla="*/ 1129107 w 6884782"/>
              <a:gd name="connsiteY31619" fmla="*/ 2567893 h 5973007"/>
              <a:gd name="connsiteX31620" fmla="*/ 1132411 w 6884782"/>
              <a:gd name="connsiteY31620" fmla="*/ 2567738 h 5973007"/>
              <a:gd name="connsiteX31621" fmla="*/ 1132411 w 6884782"/>
              <a:gd name="connsiteY31621" fmla="*/ 2567118 h 5973007"/>
              <a:gd name="connsiteX31622" fmla="*/ 1132928 w 6884782"/>
              <a:gd name="connsiteY31622" fmla="*/ 2566344 h 5973007"/>
              <a:gd name="connsiteX31623" fmla="*/ 1131172 w 6884782"/>
              <a:gd name="connsiteY31623" fmla="*/ 2560458 h 5973007"/>
              <a:gd name="connsiteX31624" fmla="*/ 1132204 w 6884782"/>
              <a:gd name="connsiteY31624" fmla="*/ 2558909 h 5973007"/>
              <a:gd name="connsiteX31625" fmla="*/ 666726 w 6884782"/>
              <a:gd name="connsiteY31625" fmla="*/ 2558289 h 5973007"/>
              <a:gd name="connsiteX31626" fmla="*/ 689235 w 6884782"/>
              <a:gd name="connsiteY31626" fmla="*/ 2566189 h 5973007"/>
              <a:gd name="connsiteX31627" fmla="*/ 666726 w 6884782"/>
              <a:gd name="connsiteY31627" fmla="*/ 2558289 h 5973007"/>
              <a:gd name="connsiteX31628" fmla="*/ 755629 w 6884782"/>
              <a:gd name="connsiteY31628" fmla="*/ 2557670 h 5973007"/>
              <a:gd name="connsiteX31629" fmla="*/ 760689 w 6884782"/>
              <a:gd name="connsiteY31629" fmla="*/ 2558135 h 5973007"/>
              <a:gd name="connsiteX31630" fmla="*/ 764096 w 6884782"/>
              <a:gd name="connsiteY31630" fmla="*/ 2557825 h 5973007"/>
              <a:gd name="connsiteX31631" fmla="*/ 766058 w 6884782"/>
              <a:gd name="connsiteY31631" fmla="*/ 2559684 h 5973007"/>
              <a:gd name="connsiteX31632" fmla="*/ 759553 w 6884782"/>
              <a:gd name="connsiteY31632" fmla="*/ 2563091 h 5973007"/>
              <a:gd name="connsiteX31633" fmla="*/ 753461 w 6884782"/>
              <a:gd name="connsiteY31633" fmla="*/ 2561078 h 5973007"/>
              <a:gd name="connsiteX31634" fmla="*/ 755629 w 6884782"/>
              <a:gd name="connsiteY31634" fmla="*/ 2557670 h 5973007"/>
              <a:gd name="connsiteX31635" fmla="*/ 704943 w 6884782"/>
              <a:gd name="connsiteY31635" fmla="*/ 2556353 h 5973007"/>
              <a:gd name="connsiteX31636" fmla="*/ 719283 w 6884782"/>
              <a:gd name="connsiteY31636" fmla="*/ 2558754 h 5973007"/>
              <a:gd name="connsiteX31637" fmla="*/ 691920 w 6884782"/>
              <a:gd name="connsiteY31637" fmla="*/ 2566035 h 5973007"/>
              <a:gd name="connsiteX31638" fmla="*/ 704943 w 6884782"/>
              <a:gd name="connsiteY31638" fmla="*/ 2556353 h 5973007"/>
              <a:gd name="connsiteX31639" fmla="*/ 1285334 w 6884782"/>
              <a:gd name="connsiteY31639" fmla="*/ 2556121 h 5973007"/>
              <a:gd name="connsiteX31640" fmla="*/ 1293078 w 6884782"/>
              <a:gd name="connsiteY31640" fmla="*/ 2556276 h 5973007"/>
              <a:gd name="connsiteX31641" fmla="*/ 1297311 w 6884782"/>
              <a:gd name="connsiteY31641" fmla="*/ 2564021 h 5973007"/>
              <a:gd name="connsiteX31642" fmla="*/ 1289258 w 6884782"/>
              <a:gd name="connsiteY31642" fmla="*/ 2566344 h 5973007"/>
              <a:gd name="connsiteX31643" fmla="*/ 1288432 w 6884782"/>
              <a:gd name="connsiteY31643" fmla="*/ 2565415 h 5973007"/>
              <a:gd name="connsiteX31644" fmla="*/ 1285334 w 6884782"/>
              <a:gd name="connsiteY31644" fmla="*/ 2560458 h 5973007"/>
              <a:gd name="connsiteX31645" fmla="*/ 1285334 w 6884782"/>
              <a:gd name="connsiteY31645" fmla="*/ 2556121 h 5973007"/>
              <a:gd name="connsiteX31646" fmla="*/ 706583 w 6884782"/>
              <a:gd name="connsiteY31646" fmla="*/ 2554262 h 5973007"/>
              <a:gd name="connsiteX31647" fmla="*/ 704208 w 6884782"/>
              <a:gd name="connsiteY31647" fmla="*/ 2554727 h 5973007"/>
              <a:gd name="connsiteX31648" fmla="*/ 703278 w 6884782"/>
              <a:gd name="connsiteY31648" fmla="*/ 2555966 h 5973007"/>
              <a:gd name="connsiteX31649" fmla="*/ 700594 w 6884782"/>
              <a:gd name="connsiteY31649" fmla="*/ 2555192 h 5973007"/>
              <a:gd name="connsiteX31650" fmla="*/ 706583 w 6884782"/>
              <a:gd name="connsiteY31650" fmla="*/ 2554262 h 5973007"/>
              <a:gd name="connsiteX31651" fmla="*/ 1108559 w 6884782"/>
              <a:gd name="connsiteY31651" fmla="*/ 2553333 h 5973007"/>
              <a:gd name="connsiteX31652" fmla="*/ 1110108 w 6884782"/>
              <a:gd name="connsiteY31652" fmla="*/ 2553952 h 5973007"/>
              <a:gd name="connsiteX31653" fmla="*/ 1110521 w 6884782"/>
              <a:gd name="connsiteY31653" fmla="*/ 2553642 h 5973007"/>
              <a:gd name="connsiteX31654" fmla="*/ 1112690 w 6884782"/>
              <a:gd name="connsiteY31654" fmla="*/ 2556431 h 5973007"/>
              <a:gd name="connsiteX31655" fmla="*/ 1113309 w 6884782"/>
              <a:gd name="connsiteY31655" fmla="*/ 2559838 h 5973007"/>
              <a:gd name="connsiteX31656" fmla="*/ 1106700 w 6884782"/>
              <a:gd name="connsiteY31656" fmla="*/ 2559219 h 5973007"/>
              <a:gd name="connsiteX31657" fmla="*/ 1107630 w 6884782"/>
              <a:gd name="connsiteY31657" fmla="*/ 2556276 h 5973007"/>
              <a:gd name="connsiteX31658" fmla="*/ 1106081 w 6884782"/>
              <a:gd name="connsiteY31658" fmla="*/ 2555811 h 5973007"/>
              <a:gd name="connsiteX31659" fmla="*/ 1108559 w 6884782"/>
              <a:gd name="connsiteY31659" fmla="*/ 2553333 h 5973007"/>
              <a:gd name="connsiteX31660" fmla="*/ 1181664 w 6884782"/>
              <a:gd name="connsiteY31660" fmla="*/ 2551784 h 5973007"/>
              <a:gd name="connsiteX31661" fmla="*/ 1190958 w 6884782"/>
              <a:gd name="connsiteY31661" fmla="*/ 2560148 h 5973007"/>
              <a:gd name="connsiteX31662" fmla="*/ 1190958 w 6884782"/>
              <a:gd name="connsiteY31662" fmla="*/ 2563091 h 5973007"/>
              <a:gd name="connsiteX31663" fmla="*/ 1192094 w 6884782"/>
              <a:gd name="connsiteY31663" fmla="*/ 2560923 h 5973007"/>
              <a:gd name="connsiteX31664" fmla="*/ 1196120 w 6884782"/>
              <a:gd name="connsiteY31664" fmla="*/ 2559838 h 5973007"/>
              <a:gd name="connsiteX31665" fmla="*/ 1195294 w 6884782"/>
              <a:gd name="connsiteY31665" fmla="*/ 2560148 h 5973007"/>
              <a:gd name="connsiteX31666" fmla="*/ 1196120 w 6884782"/>
              <a:gd name="connsiteY31666" fmla="*/ 2561697 h 5973007"/>
              <a:gd name="connsiteX31667" fmla="*/ 1196843 w 6884782"/>
              <a:gd name="connsiteY31667" fmla="*/ 2561387 h 5973007"/>
              <a:gd name="connsiteX31668" fmla="*/ 1196843 w 6884782"/>
              <a:gd name="connsiteY31668" fmla="*/ 2563246 h 5973007"/>
              <a:gd name="connsiteX31669" fmla="*/ 1192506 w 6884782"/>
              <a:gd name="connsiteY31669" fmla="*/ 2567738 h 5973007"/>
              <a:gd name="connsiteX31670" fmla="*/ 1190441 w 6884782"/>
              <a:gd name="connsiteY31670" fmla="*/ 2565879 h 5973007"/>
              <a:gd name="connsiteX31671" fmla="*/ 1190441 w 6884782"/>
              <a:gd name="connsiteY31671" fmla="*/ 2564640 h 5973007"/>
              <a:gd name="connsiteX31672" fmla="*/ 1186001 w 6884782"/>
              <a:gd name="connsiteY31672" fmla="*/ 2562471 h 5973007"/>
              <a:gd name="connsiteX31673" fmla="*/ 1181664 w 6884782"/>
              <a:gd name="connsiteY31673" fmla="*/ 2551784 h 5973007"/>
              <a:gd name="connsiteX31674" fmla="*/ 746646 w 6884782"/>
              <a:gd name="connsiteY31674" fmla="*/ 2551629 h 5973007"/>
              <a:gd name="connsiteX31675" fmla="*/ 752325 w 6884782"/>
              <a:gd name="connsiteY31675" fmla="*/ 2559528 h 5973007"/>
              <a:gd name="connsiteX31676" fmla="*/ 749640 w 6884782"/>
              <a:gd name="connsiteY31676" fmla="*/ 2562162 h 5973007"/>
              <a:gd name="connsiteX31677" fmla="*/ 742309 w 6884782"/>
              <a:gd name="connsiteY31677" fmla="*/ 2555192 h 5973007"/>
              <a:gd name="connsiteX31678" fmla="*/ 746646 w 6884782"/>
              <a:gd name="connsiteY31678" fmla="*/ 2551629 h 5973007"/>
              <a:gd name="connsiteX31679" fmla="*/ 843707 w 6884782"/>
              <a:gd name="connsiteY31679" fmla="*/ 2551319 h 5973007"/>
              <a:gd name="connsiteX31680" fmla="*/ 849179 w 6884782"/>
              <a:gd name="connsiteY31680" fmla="*/ 2558754 h 5973007"/>
              <a:gd name="connsiteX31681" fmla="*/ 842674 w 6884782"/>
              <a:gd name="connsiteY31681" fmla="*/ 2553333 h 5973007"/>
              <a:gd name="connsiteX31682" fmla="*/ 843707 w 6884782"/>
              <a:gd name="connsiteY31682" fmla="*/ 2551319 h 5973007"/>
              <a:gd name="connsiteX31683" fmla="*/ 1359781 w 6884782"/>
              <a:gd name="connsiteY31683" fmla="*/ 2550080 h 5973007"/>
              <a:gd name="connsiteX31684" fmla="*/ 1357923 w 6884782"/>
              <a:gd name="connsiteY31684" fmla="*/ 2552558 h 5973007"/>
              <a:gd name="connsiteX31685" fmla="*/ 1357097 w 6884782"/>
              <a:gd name="connsiteY31685" fmla="*/ 2551784 h 5973007"/>
              <a:gd name="connsiteX31686" fmla="*/ 1357097 w 6884782"/>
              <a:gd name="connsiteY31686" fmla="*/ 2552713 h 5973007"/>
              <a:gd name="connsiteX31687" fmla="*/ 1356787 w 6884782"/>
              <a:gd name="connsiteY31687" fmla="*/ 2551474 h 5973007"/>
              <a:gd name="connsiteX31688" fmla="*/ 1357097 w 6884782"/>
              <a:gd name="connsiteY31688" fmla="*/ 2551009 h 5973007"/>
              <a:gd name="connsiteX31689" fmla="*/ 1359781 w 6884782"/>
              <a:gd name="connsiteY31689" fmla="*/ 2550080 h 5973007"/>
              <a:gd name="connsiteX31690" fmla="*/ 714327 w 6884782"/>
              <a:gd name="connsiteY31690" fmla="*/ 2548686 h 5973007"/>
              <a:gd name="connsiteX31691" fmla="*/ 716289 w 6884782"/>
              <a:gd name="connsiteY31691" fmla="*/ 2548995 h 5973007"/>
              <a:gd name="connsiteX31692" fmla="*/ 715669 w 6884782"/>
              <a:gd name="connsiteY31692" fmla="*/ 2551474 h 5973007"/>
              <a:gd name="connsiteX31693" fmla="*/ 712675 w 6884782"/>
              <a:gd name="connsiteY31693" fmla="*/ 2551319 h 5973007"/>
              <a:gd name="connsiteX31694" fmla="*/ 710093 w 6884782"/>
              <a:gd name="connsiteY31694" fmla="*/ 2553642 h 5973007"/>
              <a:gd name="connsiteX31695" fmla="*/ 706996 w 6884782"/>
              <a:gd name="connsiteY31695" fmla="*/ 2553488 h 5973007"/>
              <a:gd name="connsiteX31696" fmla="*/ 706789 w 6884782"/>
              <a:gd name="connsiteY31696" fmla="*/ 2552558 h 5973007"/>
              <a:gd name="connsiteX31697" fmla="*/ 707512 w 6884782"/>
              <a:gd name="connsiteY31697" fmla="*/ 2552868 h 5973007"/>
              <a:gd name="connsiteX31698" fmla="*/ 709784 w 6884782"/>
              <a:gd name="connsiteY31698" fmla="*/ 2552403 h 5973007"/>
              <a:gd name="connsiteX31699" fmla="*/ 714327 w 6884782"/>
              <a:gd name="connsiteY31699" fmla="*/ 2548686 h 5973007"/>
              <a:gd name="connsiteX31700" fmla="*/ 5237961 w 6884782"/>
              <a:gd name="connsiteY31700" fmla="*/ 2548462 h 5973007"/>
              <a:gd name="connsiteX31701" fmla="*/ 5233692 w 6884782"/>
              <a:gd name="connsiteY31701" fmla="*/ 2551734 h 5973007"/>
              <a:gd name="connsiteX31702" fmla="*/ 5214058 w 6884782"/>
              <a:gd name="connsiteY31702" fmla="*/ 2565961 h 5973007"/>
              <a:gd name="connsiteX31703" fmla="*/ 5199972 w 6884782"/>
              <a:gd name="connsiteY31703" fmla="*/ 2580188 h 5973007"/>
              <a:gd name="connsiteX31704" fmla="*/ 5185886 w 6884782"/>
              <a:gd name="connsiteY31704" fmla="*/ 2588297 h 5973007"/>
              <a:gd name="connsiteX31705" fmla="*/ 5166252 w 6884782"/>
              <a:gd name="connsiteY31705" fmla="*/ 2603236 h 5973007"/>
              <a:gd name="connsiteX31706" fmla="*/ 5149819 w 6884782"/>
              <a:gd name="connsiteY31706" fmla="*/ 2618174 h 5973007"/>
              <a:gd name="connsiteX31707" fmla="*/ 5134879 w 6884782"/>
              <a:gd name="connsiteY31707" fmla="*/ 2633824 h 5973007"/>
              <a:gd name="connsiteX31708" fmla="*/ 5120793 w 6884782"/>
              <a:gd name="connsiteY31708" fmla="*/ 2647908 h 5973007"/>
              <a:gd name="connsiteX31709" fmla="*/ 5119086 w 6884782"/>
              <a:gd name="connsiteY31709" fmla="*/ 2642644 h 5973007"/>
              <a:gd name="connsiteX31710" fmla="*/ 5112043 w 6884782"/>
              <a:gd name="connsiteY31710" fmla="*/ 2647908 h 5973007"/>
              <a:gd name="connsiteX31711" fmla="*/ 5119086 w 6884782"/>
              <a:gd name="connsiteY31711" fmla="*/ 2649331 h 5973007"/>
              <a:gd name="connsiteX31712" fmla="*/ 5101799 w 6884782"/>
              <a:gd name="connsiteY31712" fmla="*/ 2670244 h 5973007"/>
              <a:gd name="connsiteX31713" fmla="*/ 5083658 w 6884782"/>
              <a:gd name="connsiteY31713" fmla="*/ 2691869 h 5973007"/>
              <a:gd name="connsiteX31714" fmla="*/ 5082805 w 6884782"/>
              <a:gd name="connsiteY31714" fmla="*/ 2685040 h 5973007"/>
              <a:gd name="connsiteX31715" fmla="*/ 5077469 w 6884782"/>
              <a:gd name="connsiteY31715" fmla="*/ 2698413 h 5973007"/>
              <a:gd name="connsiteX31716" fmla="*/ 5079817 w 6884782"/>
              <a:gd name="connsiteY31716" fmla="*/ 2691016 h 5973007"/>
              <a:gd name="connsiteX31717" fmla="*/ 5066372 w 6884782"/>
              <a:gd name="connsiteY31717" fmla="*/ 2708230 h 5973007"/>
              <a:gd name="connsiteX31718" fmla="*/ 5070426 w 6884782"/>
              <a:gd name="connsiteY31718" fmla="*/ 2708230 h 5973007"/>
              <a:gd name="connsiteX31719" fmla="*/ 5062530 w 6884782"/>
              <a:gd name="connsiteY31719" fmla="*/ 2716339 h 5973007"/>
              <a:gd name="connsiteX31720" fmla="*/ 5053780 w 6884782"/>
              <a:gd name="connsiteY31720" fmla="*/ 2726014 h 5973007"/>
              <a:gd name="connsiteX31721" fmla="*/ 5047590 w 6884782"/>
              <a:gd name="connsiteY31721" fmla="*/ 2744651 h 5973007"/>
              <a:gd name="connsiteX31722" fmla="*/ 5040547 w 6884782"/>
              <a:gd name="connsiteY31722" fmla="*/ 2748350 h 5973007"/>
              <a:gd name="connsiteX31723" fmla="*/ 5043535 w 6884782"/>
              <a:gd name="connsiteY31723" fmla="*/ 2754325 h 5973007"/>
              <a:gd name="connsiteX31724" fmla="*/ 5020913 w 6884782"/>
              <a:gd name="connsiteY31724" fmla="*/ 2785624 h 5973007"/>
              <a:gd name="connsiteX31725" fmla="*/ 5024754 w 6884782"/>
              <a:gd name="connsiteY31725" fmla="*/ 2761723 h 5973007"/>
              <a:gd name="connsiteX31726" fmla="*/ 5018352 w 6884782"/>
              <a:gd name="connsiteY31726" fmla="*/ 2772963 h 5973007"/>
              <a:gd name="connsiteX31727" fmla="*/ 5014297 w 6884782"/>
              <a:gd name="connsiteY31727" fmla="*/ 2781356 h 5973007"/>
              <a:gd name="connsiteX31728" fmla="*/ 5015150 w 6884782"/>
              <a:gd name="connsiteY31728" fmla="*/ 2783064 h 5973007"/>
              <a:gd name="connsiteX31729" fmla="*/ 5016272 w 6884782"/>
              <a:gd name="connsiteY31729" fmla="*/ 2785712 h 5973007"/>
              <a:gd name="connsiteX31730" fmla="*/ 5052497 w 6884782"/>
              <a:gd name="connsiteY31730" fmla="*/ 2785712 h 5973007"/>
              <a:gd name="connsiteX31731" fmla="*/ 5051432 w 6884782"/>
              <a:gd name="connsiteY31731" fmla="*/ 2784629 h 5973007"/>
              <a:gd name="connsiteX31732" fmla="*/ 5106921 w 6884782"/>
              <a:gd name="connsiteY31732" fmla="*/ 2725017 h 5973007"/>
              <a:gd name="connsiteX31733" fmla="*/ 5109696 w 6884782"/>
              <a:gd name="connsiteY31733" fmla="*/ 2737395 h 5973007"/>
              <a:gd name="connsiteX31734" fmla="*/ 5111616 w 6884782"/>
              <a:gd name="connsiteY31734" fmla="*/ 2736684 h 5973007"/>
              <a:gd name="connsiteX31735" fmla="*/ 5113537 w 6884782"/>
              <a:gd name="connsiteY31735" fmla="*/ 2731989 h 5973007"/>
              <a:gd name="connsiteX31736" fmla="*/ 5121434 w 6884782"/>
              <a:gd name="connsiteY31736" fmla="*/ 2729713 h 5973007"/>
              <a:gd name="connsiteX31737" fmla="*/ 5130184 w 6884782"/>
              <a:gd name="connsiteY31737" fmla="*/ 2721603 h 5973007"/>
              <a:gd name="connsiteX31738" fmla="*/ 5125489 w 6884782"/>
              <a:gd name="connsiteY31738" fmla="*/ 2722315 h 5973007"/>
              <a:gd name="connsiteX31739" fmla="*/ 5134026 w 6884782"/>
              <a:gd name="connsiteY31739" fmla="*/ 2715628 h 5973007"/>
              <a:gd name="connsiteX31740" fmla="*/ 5140428 w 6884782"/>
              <a:gd name="connsiteY31740" fmla="*/ 2705242 h 5973007"/>
              <a:gd name="connsiteX31741" fmla="*/ 5144269 w 6884782"/>
              <a:gd name="connsiteY31741" fmla="*/ 2705954 h 5973007"/>
              <a:gd name="connsiteX31742" fmla="*/ 5142562 w 6884782"/>
              <a:gd name="connsiteY31742" fmla="*/ 2699978 h 5973007"/>
              <a:gd name="connsiteX31743" fmla="*/ 5148111 w 6884782"/>
              <a:gd name="connsiteY31743" fmla="*/ 2702966 h 5973007"/>
              <a:gd name="connsiteX31744" fmla="*/ 5150459 w 6884782"/>
              <a:gd name="connsiteY31744" fmla="*/ 2685040 h 5973007"/>
              <a:gd name="connsiteX31745" fmla="*/ 5160703 w 6884782"/>
              <a:gd name="connsiteY31745" fmla="*/ 2682764 h 5973007"/>
              <a:gd name="connsiteX31746" fmla="*/ 5165398 w 6884782"/>
              <a:gd name="connsiteY31746" fmla="*/ 2676219 h 5973007"/>
              <a:gd name="connsiteX31747" fmla="*/ 5163051 w 6884782"/>
              <a:gd name="connsiteY31747" fmla="*/ 2669533 h 5973007"/>
              <a:gd name="connsiteX31748" fmla="*/ 5174575 w 6884782"/>
              <a:gd name="connsiteY31748" fmla="*/ 2663273 h 5973007"/>
              <a:gd name="connsiteX31749" fmla="*/ 5174789 w 6884782"/>
              <a:gd name="connsiteY31749" fmla="*/ 2657867 h 5973007"/>
              <a:gd name="connsiteX31750" fmla="*/ 5173935 w 6884782"/>
              <a:gd name="connsiteY31750" fmla="*/ 2658152 h 5973007"/>
              <a:gd name="connsiteX31751" fmla="*/ 5169453 w 6884782"/>
              <a:gd name="connsiteY31751" fmla="*/ 2654879 h 5973007"/>
              <a:gd name="connsiteX31752" fmla="*/ 5173295 w 6884782"/>
              <a:gd name="connsiteY31752" fmla="*/ 2648335 h 5973007"/>
              <a:gd name="connsiteX31753" fmla="*/ 5170520 w 6884782"/>
              <a:gd name="connsiteY31753" fmla="*/ 2648904 h 5973007"/>
              <a:gd name="connsiteX31754" fmla="*/ 5155368 w 6884782"/>
              <a:gd name="connsiteY31754" fmla="*/ 2657582 h 5973007"/>
              <a:gd name="connsiteX31755" fmla="*/ 5173295 w 6884782"/>
              <a:gd name="connsiteY31755" fmla="*/ 2644209 h 5973007"/>
              <a:gd name="connsiteX31756" fmla="*/ 5177136 w 6884782"/>
              <a:gd name="connsiteY31756" fmla="*/ 2636385 h 5973007"/>
              <a:gd name="connsiteX31757" fmla="*/ 5182258 w 6884782"/>
              <a:gd name="connsiteY31757" fmla="*/ 2630409 h 5973007"/>
              <a:gd name="connsiteX31758" fmla="*/ 5178203 w 6884782"/>
              <a:gd name="connsiteY31758" fmla="*/ 2632827 h 5973007"/>
              <a:gd name="connsiteX31759" fmla="*/ 5160276 w 6884782"/>
              <a:gd name="connsiteY31759" fmla="*/ 2609069 h 5973007"/>
              <a:gd name="connsiteX31760" fmla="*/ 5180124 w 6884782"/>
              <a:gd name="connsiteY31760" fmla="*/ 2599679 h 5973007"/>
              <a:gd name="connsiteX31761" fmla="*/ 5191008 w 6884782"/>
              <a:gd name="connsiteY31761" fmla="*/ 2600817 h 5973007"/>
              <a:gd name="connsiteX31762" fmla="*/ 5195277 w 6884782"/>
              <a:gd name="connsiteY31762" fmla="*/ 2602951 h 5973007"/>
              <a:gd name="connsiteX31763" fmla="*/ 5198478 w 6884782"/>
              <a:gd name="connsiteY31763" fmla="*/ 2591997 h 5973007"/>
              <a:gd name="connsiteX31764" fmla="*/ 5198051 w 6884782"/>
              <a:gd name="connsiteY31764" fmla="*/ 2601813 h 5973007"/>
              <a:gd name="connsiteX31765" fmla="*/ 5197411 w 6884782"/>
              <a:gd name="connsiteY31765" fmla="*/ 2603947 h 5973007"/>
              <a:gd name="connsiteX31766" fmla="*/ 5200399 w 6884782"/>
              <a:gd name="connsiteY31766" fmla="*/ 2605370 h 5973007"/>
              <a:gd name="connsiteX31767" fmla="*/ 5202107 w 6884782"/>
              <a:gd name="connsiteY31767" fmla="*/ 2601955 h 5973007"/>
              <a:gd name="connsiteX31768" fmla="*/ 5208722 w 6884782"/>
              <a:gd name="connsiteY31768" fmla="*/ 2595838 h 5973007"/>
              <a:gd name="connsiteX31769" fmla="*/ 5204027 w 6884782"/>
              <a:gd name="connsiteY31769" fmla="*/ 2589862 h 5973007"/>
              <a:gd name="connsiteX31770" fmla="*/ 5227503 w 6884782"/>
              <a:gd name="connsiteY31770" fmla="*/ 2576347 h 5973007"/>
              <a:gd name="connsiteX31771" fmla="*/ 5232625 w 6884782"/>
              <a:gd name="connsiteY31771" fmla="*/ 2573217 h 5973007"/>
              <a:gd name="connsiteX31772" fmla="*/ 5234120 w 6884782"/>
              <a:gd name="connsiteY31772" fmla="*/ 2569091 h 5973007"/>
              <a:gd name="connsiteX31773" fmla="*/ 5238815 w 6884782"/>
              <a:gd name="connsiteY31773" fmla="*/ 2562120 h 5973007"/>
              <a:gd name="connsiteX31774" fmla="*/ 5241162 w 6884782"/>
              <a:gd name="connsiteY31774" fmla="*/ 2567242 h 5973007"/>
              <a:gd name="connsiteX31775" fmla="*/ 5247991 w 6884782"/>
              <a:gd name="connsiteY31775" fmla="*/ 2560128 h 5973007"/>
              <a:gd name="connsiteX31776" fmla="*/ 5240948 w 6884782"/>
              <a:gd name="connsiteY31776" fmla="*/ 2562262 h 5973007"/>
              <a:gd name="connsiteX31777" fmla="*/ 5241589 w 6884782"/>
              <a:gd name="connsiteY31777" fmla="*/ 2554864 h 5973007"/>
              <a:gd name="connsiteX31778" fmla="*/ 5244150 w 6884782"/>
              <a:gd name="connsiteY31778" fmla="*/ 2553868 h 5973007"/>
              <a:gd name="connsiteX31779" fmla="*/ 5243083 w 6884782"/>
              <a:gd name="connsiteY31779" fmla="*/ 2553442 h 5973007"/>
              <a:gd name="connsiteX31780" fmla="*/ 5242016 w 6884782"/>
              <a:gd name="connsiteY31780" fmla="*/ 2553157 h 5973007"/>
              <a:gd name="connsiteX31781" fmla="*/ 5240735 w 6884782"/>
              <a:gd name="connsiteY31781" fmla="*/ 2555434 h 5973007"/>
              <a:gd name="connsiteX31782" fmla="*/ 5236040 w 6884782"/>
              <a:gd name="connsiteY31782" fmla="*/ 2557283 h 5973007"/>
              <a:gd name="connsiteX31783" fmla="*/ 5234760 w 6884782"/>
              <a:gd name="connsiteY31783" fmla="*/ 2554722 h 5973007"/>
              <a:gd name="connsiteX31784" fmla="*/ 5239668 w 6884782"/>
              <a:gd name="connsiteY31784" fmla="*/ 2551734 h 5973007"/>
              <a:gd name="connsiteX31785" fmla="*/ 5239668 w 6884782"/>
              <a:gd name="connsiteY31785" fmla="*/ 2550596 h 5973007"/>
              <a:gd name="connsiteX31786" fmla="*/ 5239455 w 6884782"/>
              <a:gd name="connsiteY31786" fmla="*/ 2550312 h 5973007"/>
              <a:gd name="connsiteX31787" fmla="*/ 6470247 w 6884782"/>
              <a:gd name="connsiteY31787" fmla="*/ 2547751 h 5973007"/>
              <a:gd name="connsiteX31788" fmla="*/ 6457228 w 6884782"/>
              <a:gd name="connsiteY31788" fmla="*/ 2558421 h 5973007"/>
              <a:gd name="connsiteX31789" fmla="*/ 6470247 w 6884782"/>
              <a:gd name="connsiteY31789" fmla="*/ 2547751 h 5973007"/>
              <a:gd name="connsiteX31790" fmla="*/ 1366183 w 6884782"/>
              <a:gd name="connsiteY31790" fmla="*/ 2546363 h 5973007"/>
              <a:gd name="connsiteX31791" fmla="*/ 1359781 w 6884782"/>
              <a:gd name="connsiteY31791" fmla="*/ 2549925 h 5973007"/>
              <a:gd name="connsiteX31792" fmla="*/ 1362569 w 6884782"/>
              <a:gd name="connsiteY31792" fmla="*/ 2546517 h 5973007"/>
              <a:gd name="connsiteX31793" fmla="*/ 1366183 w 6884782"/>
              <a:gd name="connsiteY31793" fmla="*/ 2546363 h 5973007"/>
              <a:gd name="connsiteX31794" fmla="*/ 1150171 w 6884782"/>
              <a:gd name="connsiteY31794" fmla="*/ 2546207 h 5973007"/>
              <a:gd name="connsiteX31795" fmla="*/ 1159877 w 6884782"/>
              <a:gd name="connsiteY31795" fmla="*/ 2546827 h 5973007"/>
              <a:gd name="connsiteX31796" fmla="*/ 1161013 w 6884782"/>
              <a:gd name="connsiteY31796" fmla="*/ 2555192 h 5973007"/>
              <a:gd name="connsiteX31797" fmla="*/ 1146454 w 6884782"/>
              <a:gd name="connsiteY31797" fmla="*/ 2556585 h 5973007"/>
              <a:gd name="connsiteX31798" fmla="*/ 1145422 w 6884782"/>
              <a:gd name="connsiteY31798" fmla="*/ 2555192 h 5973007"/>
              <a:gd name="connsiteX31799" fmla="*/ 1144182 w 6884782"/>
              <a:gd name="connsiteY31799" fmla="*/ 2561852 h 5973007"/>
              <a:gd name="connsiteX31800" fmla="*/ 1141498 w 6884782"/>
              <a:gd name="connsiteY31800" fmla="*/ 2580594 h 5973007"/>
              <a:gd name="connsiteX31801" fmla="*/ 1135199 w 6884782"/>
              <a:gd name="connsiteY31801" fmla="*/ 2561232 h 5973007"/>
              <a:gd name="connsiteX31802" fmla="*/ 1137781 w 6884782"/>
              <a:gd name="connsiteY31802" fmla="*/ 2557050 h 5973007"/>
              <a:gd name="connsiteX31803" fmla="*/ 1145215 w 6884782"/>
              <a:gd name="connsiteY31803" fmla="*/ 2554882 h 5973007"/>
              <a:gd name="connsiteX31804" fmla="*/ 1142633 w 6884782"/>
              <a:gd name="connsiteY31804" fmla="*/ 2551629 h 5973007"/>
              <a:gd name="connsiteX31805" fmla="*/ 1150171 w 6884782"/>
              <a:gd name="connsiteY31805" fmla="*/ 2546207 h 5973007"/>
              <a:gd name="connsiteX31806" fmla="*/ 1079544 w 6884782"/>
              <a:gd name="connsiteY31806" fmla="*/ 2545898 h 5973007"/>
              <a:gd name="connsiteX31807" fmla="*/ 1081506 w 6884782"/>
              <a:gd name="connsiteY31807" fmla="*/ 2546363 h 5973007"/>
              <a:gd name="connsiteX31808" fmla="*/ 1088527 w 6884782"/>
              <a:gd name="connsiteY31808" fmla="*/ 2551629 h 5973007"/>
              <a:gd name="connsiteX31809" fmla="*/ 1090076 w 6884782"/>
              <a:gd name="connsiteY31809" fmla="*/ 2552713 h 5973007"/>
              <a:gd name="connsiteX31810" fmla="*/ 1090696 w 6884782"/>
              <a:gd name="connsiteY31810" fmla="*/ 2555037 h 5973007"/>
              <a:gd name="connsiteX31811" fmla="*/ 1086462 w 6884782"/>
              <a:gd name="connsiteY31811" fmla="*/ 2554107 h 5973007"/>
              <a:gd name="connsiteX31812" fmla="*/ 1083571 w 6884782"/>
              <a:gd name="connsiteY31812" fmla="*/ 2551319 h 5973007"/>
              <a:gd name="connsiteX31813" fmla="*/ 1082022 w 6884782"/>
              <a:gd name="connsiteY31813" fmla="*/ 2552249 h 5973007"/>
              <a:gd name="connsiteX31814" fmla="*/ 1078925 w 6884782"/>
              <a:gd name="connsiteY31814" fmla="*/ 2552249 h 5973007"/>
              <a:gd name="connsiteX31815" fmla="*/ 1081816 w 6884782"/>
              <a:gd name="connsiteY31815" fmla="*/ 2550390 h 5973007"/>
              <a:gd name="connsiteX31816" fmla="*/ 1082642 w 6884782"/>
              <a:gd name="connsiteY31816" fmla="*/ 2550390 h 5973007"/>
              <a:gd name="connsiteX31817" fmla="*/ 1081919 w 6884782"/>
              <a:gd name="connsiteY31817" fmla="*/ 2549615 h 5973007"/>
              <a:gd name="connsiteX31818" fmla="*/ 1079751 w 6884782"/>
              <a:gd name="connsiteY31818" fmla="*/ 2548841 h 5973007"/>
              <a:gd name="connsiteX31819" fmla="*/ 1079131 w 6884782"/>
              <a:gd name="connsiteY31819" fmla="*/ 2546673 h 5973007"/>
              <a:gd name="connsiteX31820" fmla="*/ 1110831 w 6884782"/>
              <a:gd name="connsiteY31820" fmla="*/ 2543110 h 5973007"/>
              <a:gd name="connsiteX31821" fmla="*/ 1128591 w 6884782"/>
              <a:gd name="connsiteY31821" fmla="*/ 2545898 h 5973007"/>
              <a:gd name="connsiteX31822" fmla="*/ 1105358 w 6884782"/>
              <a:gd name="connsiteY31822" fmla="*/ 2546363 h 5973007"/>
              <a:gd name="connsiteX31823" fmla="*/ 1110831 w 6884782"/>
              <a:gd name="connsiteY31823" fmla="*/ 2543110 h 5973007"/>
              <a:gd name="connsiteX31824" fmla="*/ 1089457 w 6884782"/>
              <a:gd name="connsiteY31824" fmla="*/ 2541560 h 5973007"/>
              <a:gd name="connsiteX31825" fmla="*/ 1091005 w 6884782"/>
              <a:gd name="connsiteY31825" fmla="*/ 2545743 h 5973007"/>
              <a:gd name="connsiteX31826" fmla="*/ 1089560 w 6884782"/>
              <a:gd name="connsiteY31826" fmla="*/ 2547447 h 5973007"/>
              <a:gd name="connsiteX31827" fmla="*/ 1088734 w 6884782"/>
              <a:gd name="connsiteY31827" fmla="*/ 2547447 h 5973007"/>
              <a:gd name="connsiteX31828" fmla="*/ 1085326 w 6884782"/>
              <a:gd name="connsiteY31828" fmla="*/ 2547292 h 5973007"/>
              <a:gd name="connsiteX31829" fmla="*/ 1084087 w 6884782"/>
              <a:gd name="connsiteY31829" fmla="*/ 2545123 h 5973007"/>
              <a:gd name="connsiteX31830" fmla="*/ 1084087 w 6884782"/>
              <a:gd name="connsiteY31830" fmla="*/ 2543110 h 5973007"/>
              <a:gd name="connsiteX31831" fmla="*/ 1089457 w 6884782"/>
              <a:gd name="connsiteY31831" fmla="*/ 2541560 h 5973007"/>
              <a:gd name="connsiteX31832" fmla="*/ 1018313 w 6884782"/>
              <a:gd name="connsiteY31832" fmla="*/ 2541251 h 5973007"/>
              <a:gd name="connsiteX31833" fmla="*/ 1022753 w 6884782"/>
              <a:gd name="connsiteY31833" fmla="*/ 2545123 h 5973007"/>
              <a:gd name="connsiteX31834" fmla="*/ 1022237 w 6884782"/>
              <a:gd name="connsiteY31834" fmla="*/ 2547756 h 5973007"/>
              <a:gd name="connsiteX31835" fmla="*/ 1018830 w 6884782"/>
              <a:gd name="connsiteY31835" fmla="*/ 2551939 h 5973007"/>
              <a:gd name="connsiteX31836" fmla="*/ 1019655 w 6884782"/>
              <a:gd name="connsiteY31836" fmla="*/ 2552403 h 5973007"/>
              <a:gd name="connsiteX31837" fmla="*/ 1014596 w 6884782"/>
              <a:gd name="connsiteY31837" fmla="*/ 2551009 h 5973007"/>
              <a:gd name="connsiteX31838" fmla="*/ 1013254 w 6884782"/>
              <a:gd name="connsiteY31838" fmla="*/ 2546673 h 5973007"/>
              <a:gd name="connsiteX31839" fmla="*/ 1018313 w 6884782"/>
              <a:gd name="connsiteY31839" fmla="*/ 2541251 h 5973007"/>
              <a:gd name="connsiteX31840" fmla="*/ 1133031 w 6884782"/>
              <a:gd name="connsiteY31840" fmla="*/ 2540321 h 5973007"/>
              <a:gd name="connsiteX31841" fmla="*/ 1141601 w 6884782"/>
              <a:gd name="connsiteY31841" fmla="*/ 2544349 h 5973007"/>
              <a:gd name="connsiteX31842" fmla="*/ 1133031 w 6884782"/>
              <a:gd name="connsiteY31842" fmla="*/ 2540321 h 5973007"/>
              <a:gd name="connsiteX31843" fmla="*/ 1009330 w 6884782"/>
              <a:gd name="connsiteY31843" fmla="*/ 2540167 h 5973007"/>
              <a:gd name="connsiteX31844" fmla="*/ 1012944 w 6884782"/>
              <a:gd name="connsiteY31844" fmla="*/ 2541560 h 5973007"/>
              <a:gd name="connsiteX31845" fmla="*/ 1012840 w 6884782"/>
              <a:gd name="connsiteY31845" fmla="*/ 2543419 h 5973007"/>
              <a:gd name="connsiteX31846" fmla="*/ 1011498 w 6884782"/>
              <a:gd name="connsiteY31846" fmla="*/ 2545588 h 5973007"/>
              <a:gd name="connsiteX31847" fmla="*/ 1007058 w 6884782"/>
              <a:gd name="connsiteY31847" fmla="*/ 2543729 h 5973007"/>
              <a:gd name="connsiteX31848" fmla="*/ 1007265 w 6884782"/>
              <a:gd name="connsiteY31848" fmla="*/ 2541871 h 5973007"/>
              <a:gd name="connsiteX31849" fmla="*/ 1009330 w 6884782"/>
              <a:gd name="connsiteY31849" fmla="*/ 2540167 h 5973007"/>
              <a:gd name="connsiteX31850" fmla="*/ 5038627 w 6884782"/>
              <a:gd name="connsiteY31850" fmla="*/ 2539926 h 5973007"/>
              <a:gd name="connsiteX31851" fmla="*/ 5035852 w 6884782"/>
              <a:gd name="connsiteY31851" fmla="*/ 2556571 h 5973007"/>
              <a:gd name="connsiteX31852" fmla="*/ 5030090 w 6884782"/>
              <a:gd name="connsiteY31852" fmla="*/ 2557283 h 5973007"/>
              <a:gd name="connsiteX31853" fmla="*/ 5038627 w 6884782"/>
              <a:gd name="connsiteY31853" fmla="*/ 2539926 h 5973007"/>
              <a:gd name="connsiteX31854" fmla="*/ 775661 w 6884782"/>
              <a:gd name="connsiteY31854" fmla="*/ 2539857 h 5973007"/>
              <a:gd name="connsiteX31855" fmla="*/ 777623 w 6884782"/>
              <a:gd name="connsiteY31855" fmla="*/ 2540167 h 5973007"/>
              <a:gd name="connsiteX31856" fmla="*/ 777829 w 6884782"/>
              <a:gd name="connsiteY31856" fmla="*/ 2543110 h 5973007"/>
              <a:gd name="connsiteX31857" fmla="*/ 779688 w 6884782"/>
              <a:gd name="connsiteY31857" fmla="*/ 2543574 h 5973007"/>
              <a:gd name="connsiteX31858" fmla="*/ 779998 w 6884782"/>
              <a:gd name="connsiteY31858" fmla="*/ 2544659 h 5973007"/>
              <a:gd name="connsiteX31859" fmla="*/ 777932 w 6884782"/>
              <a:gd name="connsiteY31859" fmla="*/ 2546207 h 5973007"/>
              <a:gd name="connsiteX31860" fmla="*/ 776797 w 6884782"/>
              <a:gd name="connsiteY31860" fmla="*/ 2541560 h 5973007"/>
              <a:gd name="connsiteX31861" fmla="*/ 775661 w 6884782"/>
              <a:gd name="connsiteY31861" fmla="*/ 2539857 h 5973007"/>
              <a:gd name="connsiteX31862" fmla="*/ 773183 w 6884782"/>
              <a:gd name="connsiteY31862" fmla="*/ 2538463 h 5973007"/>
              <a:gd name="connsiteX31863" fmla="*/ 771015 w 6884782"/>
              <a:gd name="connsiteY31863" fmla="*/ 2543729 h 5973007"/>
              <a:gd name="connsiteX31864" fmla="*/ 764819 w 6884782"/>
              <a:gd name="connsiteY31864" fmla="*/ 2548221 h 5973007"/>
              <a:gd name="connsiteX31865" fmla="*/ 764509 w 6884782"/>
              <a:gd name="connsiteY31865" fmla="*/ 2546982 h 5973007"/>
              <a:gd name="connsiteX31866" fmla="*/ 773183 w 6884782"/>
              <a:gd name="connsiteY31866" fmla="*/ 2538463 h 5973007"/>
              <a:gd name="connsiteX31867" fmla="*/ 670339 w 6884782"/>
              <a:gd name="connsiteY31867" fmla="*/ 2538153 h 5973007"/>
              <a:gd name="connsiteX31868" fmla="*/ 672405 w 6884782"/>
              <a:gd name="connsiteY31868" fmla="*/ 2544659 h 5973007"/>
              <a:gd name="connsiteX31869" fmla="*/ 667242 w 6884782"/>
              <a:gd name="connsiteY31869" fmla="*/ 2544504 h 5973007"/>
              <a:gd name="connsiteX31870" fmla="*/ 665487 w 6884782"/>
              <a:gd name="connsiteY31870" fmla="*/ 2542180 h 5973007"/>
              <a:gd name="connsiteX31871" fmla="*/ 666932 w 6884782"/>
              <a:gd name="connsiteY31871" fmla="*/ 2539392 h 5973007"/>
              <a:gd name="connsiteX31872" fmla="*/ 670339 w 6884782"/>
              <a:gd name="connsiteY31872" fmla="*/ 2538153 h 5973007"/>
              <a:gd name="connsiteX31873" fmla="*/ 1068496 w 6884782"/>
              <a:gd name="connsiteY31873" fmla="*/ 2537843 h 5973007"/>
              <a:gd name="connsiteX31874" fmla="*/ 1068909 w 6884782"/>
              <a:gd name="connsiteY31874" fmla="*/ 2543419 h 5973007"/>
              <a:gd name="connsiteX31875" fmla="*/ 1062610 w 6884782"/>
              <a:gd name="connsiteY31875" fmla="*/ 2547602 h 5973007"/>
              <a:gd name="connsiteX31876" fmla="*/ 1060338 w 6884782"/>
              <a:gd name="connsiteY31876" fmla="*/ 2543884 h 5973007"/>
              <a:gd name="connsiteX31877" fmla="*/ 1063436 w 6884782"/>
              <a:gd name="connsiteY31877" fmla="*/ 2540012 h 5973007"/>
              <a:gd name="connsiteX31878" fmla="*/ 1068496 w 6884782"/>
              <a:gd name="connsiteY31878" fmla="*/ 2537843 h 5973007"/>
              <a:gd name="connsiteX31879" fmla="*/ 530531 w 6884782"/>
              <a:gd name="connsiteY31879" fmla="*/ 2535984 h 5973007"/>
              <a:gd name="connsiteX31880" fmla="*/ 534248 w 6884782"/>
              <a:gd name="connsiteY31880" fmla="*/ 2537378 h 5973007"/>
              <a:gd name="connsiteX31881" fmla="*/ 535074 w 6884782"/>
              <a:gd name="connsiteY31881" fmla="*/ 2539082 h 5973007"/>
              <a:gd name="connsiteX31882" fmla="*/ 533319 w 6884782"/>
              <a:gd name="connsiteY31882" fmla="*/ 2540631 h 5973007"/>
              <a:gd name="connsiteX31883" fmla="*/ 528259 w 6884782"/>
              <a:gd name="connsiteY31883" fmla="*/ 2540012 h 5973007"/>
              <a:gd name="connsiteX31884" fmla="*/ 527433 w 6884782"/>
              <a:gd name="connsiteY31884" fmla="*/ 2538308 h 5973007"/>
              <a:gd name="connsiteX31885" fmla="*/ 530531 w 6884782"/>
              <a:gd name="connsiteY31885" fmla="*/ 2535984 h 5973007"/>
              <a:gd name="connsiteX31886" fmla="*/ 1362982 w 6884782"/>
              <a:gd name="connsiteY31886" fmla="*/ 2535829 h 5973007"/>
              <a:gd name="connsiteX31887" fmla="*/ 1365151 w 6884782"/>
              <a:gd name="connsiteY31887" fmla="*/ 2536140 h 5973007"/>
              <a:gd name="connsiteX31888" fmla="*/ 1368145 w 6884782"/>
              <a:gd name="connsiteY31888" fmla="*/ 2538308 h 5973007"/>
              <a:gd name="connsiteX31889" fmla="*/ 1369074 w 6884782"/>
              <a:gd name="connsiteY31889" fmla="*/ 2542335 h 5973007"/>
              <a:gd name="connsiteX31890" fmla="*/ 1368868 w 6884782"/>
              <a:gd name="connsiteY31890" fmla="*/ 2541560 h 5973007"/>
              <a:gd name="connsiteX31891" fmla="*/ 1367216 w 6884782"/>
              <a:gd name="connsiteY31891" fmla="*/ 2542025 h 5973007"/>
              <a:gd name="connsiteX31892" fmla="*/ 1367526 w 6884782"/>
              <a:gd name="connsiteY31892" fmla="*/ 2542800 h 5973007"/>
              <a:gd name="connsiteX31893" fmla="*/ 1365564 w 6884782"/>
              <a:gd name="connsiteY31893" fmla="*/ 2542335 h 5973007"/>
              <a:gd name="connsiteX31894" fmla="*/ 1360917 w 6884782"/>
              <a:gd name="connsiteY31894" fmla="*/ 2537378 h 5973007"/>
              <a:gd name="connsiteX31895" fmla="*/ 1362982 w 6884782"/>
              <a:gd name="connsiteY31895" fmla="*/ 2535829 h 5973007"/>
              <a:gd name="connsiteX31896" fmla="*/ 6271339 w 6884782"/>
              <a:gd name="connsiteY31896" fmla="*/ 2535231 h 5973007"/>
              <a:gd name="connsiteX31897" fmla="*/ 6255760 w 6884782"/>
              <a:gd name="connsiteY31897" fmla="*/ 2550312 h 5973007"/>
              <a:gd name="connsiteX31898" fmla="*/ 6252559 w 6884782"/>
              <a:gd name="connsiteY31898" fmla="*/ 2539214 h 5973007"/>
              <a:gd name="connsiteX31899" fmla="*/ 6271339 w 6884782"/>
              <a:gd name="connsiteY31899" fmla="*/ 2535231 h 5973007"/>
              <a:gd name="connsiteX31900" fmla="*/ 858266 w 6884782"/>
              <a:gd name="connsiteY31900" fmla="*/ 2534281 h 5973007"/>
              <a:gd name="connsiteX31901" fmla="*/ 856614 w 6884782"/>
              <a:gd name="connsiteY31901" fmla="*/ 2540321 h 5973007"/>
              <a:gd name="connsiteX31902" fmla="*/ 856614 w 6884782"/>
              <a:gd name="connsiteY31902" fmla="*/ 2536759 h 5973007"/>
              <a:gd name="connsiteX31903" fmla="*/ 858266 w 6884782"/>
              <a:gd name="connsiteY31903" fmla="*/ 2534281 h 5973007"/>
              <a:gd name="connsiteX31904" fmla="*/ 1148106 w 6884782"/>
              <a:gd name="connsiteY31904" fmla="*/ 2534126 h 5973007"/>
              <a:gd name="connsiteX31905" fmla="*/ 1148623 w 6884782"/>
              <a:gd name="connsiteY31905" fmla="*/ 2534745 h 5973007"/>
              <a:gd name="connsiteX31906" fmla="*/ 1146867 w 6884782"/>
              <a:gd name="connsiteY31906" fmla="*/ 2534745 h 5973007"/>
              <a:gd name="connsiteX31907" fmla="*/ 1147073 w 6884782"/>
              <a:gd name="connsiteY31907" fmla="*/ 2534281 h 5973007"/>
              <a:gd name="connsiteX31908" fmla="*/ 1148106 w 6884782"/>
              <a:gd name="connsiteY31908" fmla="*/ 2534126 h 5973007"/>
              <a:gd name="connsiteX31909" fmla="*/ 788155 w 6884782"/>
              <a:gd name="connsiteY31909" fmla="*/ 2533661 h 5973007"/>
              <a:gd name="connsiteX31910" fmla="*/ 794454 w 6884782"/>
              <a:gd name="connsiteY31910" fmla="*/ 2533816 h 5973007"/>
              <a:gd name="connsiteX31911" fmla="*/ 783922 w 6884782"/>
              <a:gd name="connsiteY31911" fmla="*/ 2545278 h 5973007"/>
              <a:gd name="connsiteX31912" fmla="*/ 782269 w 6884782"/>
              <a:gd name="connsiteY31912" fmla="*/ 2546052 h 5973007"/>
              <a:gd name="connsiteX31913" fmla="*/ 779998 w 6884782"/>
              <a:gd name="connsiteY31913" fmla="*/ 2544659 h 5973007"/>
              <a:gd name="connsiteX31914" fmla="*/ 786606 w 6884782"/>
              <a:gd name="connsiteY31914" fmla="*/ 2534590 h 5973007"/>
              <a:gd name="connsiteX31915" fmla="*/ 788155 w 6884782"/>
              <a:gd name="connsiteY31915" fmla="*/ 2533661 h 5973007"/>
              <a:gd name="connsiteX31916" fmla="*/ 636988 w 6884782"/>
              <a:gd name="connsiteY31916" fmla="*/ 2533196 h 5973007"/>
              <a:gd name="connsiteX31917" fmla="*/ 643390 w 6884782"/>
              <a:gd name="connsiteY31917" fmla="*/ 2538772 h 5973007"/>
              <a:gd name="connsiteX31918" fmla="*/ 636988 w 6884782"/>
              <a:gd name="connsiteY31918" fmla="*/ 2535829 h 5973007"/>
              <a:gd name="connsiteX31919" fmla="*/ 636988 w 6884782"/>
              <a:gd name="connsiteY31919" fmla="*/ 2533196 h 5973007"/>
              <a:gd name="connsiteX31920" fmla="*/ 1374960 w 6884782"/>
              <a:gd name="connsiteY31920" fmla="*/ 2532422 h 5973007"/>
              <a:gd name="connsiteX31921" fmla="*/ 1375270 w 6884782"/>
              <a:gd name="connsiteY31921" fmla="*/ 2548686 h 5973007"/>
              <a:gd name="connsiteX31922" fmla="*/ 1371863 w 6884782"/>
              <a:gd name="connsiteY31922" fmla="*/ 2553798 h 5973007"/>
              <a:gd name="connsiteX31923" fmla="*/ 1374547 w 6884782"/>
              <a:gd name="connsiteY31923" fmla="*/ 2554417 h 5973007"/>
              <a:gd name="connsiteX31924" fmla="*/ 1377438 w 6884782"/>
              <a:gd name="connsiteY31924" fmla="*/ 2566344 h 5973007"/>
              <a:gd name="connsiteX31925" fmla="*/ 1376819 w 6884782"/>
              <a:gd name="connsiteY31925" fmla="*/ 2566499 h 5973007"/>
              <a:gd name="connsiteX31926" fmla="*/ 1375683 w 6884782"/>
              <a:gd name="connsiteY31926" fmla="*/ 2572850 h 5973007"/>
              <a:gd name="connsiteX31927" fmla="*/ 1383427 w 6884782"/>
              <a:gd name="connsiteY31927" fmla="*/ 2573934 h 5973007"/>
              <a:gd name="connsiteX31928" fmla="*/ 1399638 w 6884782"/>
              <a:gd name="connsiteY31928" fmla="*/ 2580594 h 5973007"/>
              <a:gd name="connsiteX31929" fmla="*/ 1397160 w 6884782"/>
              <a:gd name="connsiteY31929" fmla="*/ 2597168 h 5973007"/>
              <a:gd name="connsiteX31930" fmla="*/ 1394682 w 6884782"/>
              <a:gd name="connsiteY31930" fmla="*/ 2598562 h 5973007"/>
              <a:gd name="connsiteX31931" fmla="*/ 1395095 w 6884782"/>
              <a:gd name="connsiteY31931" fmla="*/ 2600421 h 5973007"/>
              <a:gd name="connsiteX31932" fmla="*/ 1388797 w 6884782"/>
              <a:gd name="connsiteY31932" fmla="*/ 2604294 h 5973007"/>
              <a:gd name="connsiteX31933" fmla="*/ 1391068 w 6884782"/>
              <a:gd name="connsiteY31933" fmla="*/ 2607237 h 5973007"/>
              <a:gd name="connsiteX31934" fmla="*/ 1390655 w 6884782"/>
              <a:gd name="connsiteY31934" fmla="*/ 2608631 h 5973007"/>
              <a:gd name="connsiteX31935" fmla="*/ 1386834 w 6884782"/>
              <a:gd name="connsiteY31935" fmla="*/ 2612968 h 5973007"/>
              <a:gd name="connsiteX31936" fmla="*/ 1383014 w 6884782"/>
              <a:gd name="connsiteY31936" fmla="*/ 2613897 h 5973007"/>
              <a:gd name="connsiteX31937" fmla="*/ 1383427 w 6884782"/>
              <a:gd name="connsiteY31937" fmla="*/ 2615601 h 5973007"/>
              <a:gd name="connsiteX31938" fmla="*/ 1372998 w 6884782"/>
              <a:gd name="connsiteY31938" fmla="*/ 2611729 h 5973007"/>
              <a:gd name="connsiteX31939" fmla="*/ 1374237 w 6884782"/>
              <a:gd name="connsiteY31939" fmla="*/ 2611109 h 5973007"/>
              <a:gd name="connsiteX31940" fmla="*/ 1373721 w 6884782"/>
              <a:gd name="connsiteY31940" fmla="*/ 2610025 h 5973007"/>
              <a:gd name="connsiteX31941" fmla="*/ 1373411 w 6884782"/>
              <a:gd name="connsiteY31941" fmla="*/ 2608631 h 5973007"/>
              <a:gd name="connsiteX31942" fmla="*/ 1374960 w 6884782"/>
              <a:gd name="connsiteY31942" fmla="*/ 2606927 h 5973007"/>
              <a:gd name="connsiteX31943" fmla="*/ 1371863 w 6884782"/>
              <a:gd name="connsiteY31943" fmla="*/ 2606617 h 5973007"/>
              <a:gd name="connsiteX31944" fmla="*/ 1369281 w 6884782"/>
              <a:gd name="connsiteY31944" fmla="*/ 2604759 h 5973007"/>
              <a:gd name="connsiteX31945" fmla="*/ 1368558 w 6884782"/>
              <a:gd name="connsiteY31945" fmla="*/ 2604759 h 5973007"/>
              <a:gd name="connsiteX31946" fmla="*/ 1364841 w 6884782"/>
              <a:gd name="connsiteY31946" fmla="*/ 2603829 h 5973007"/>
              <a:gd name="connsiteX31947" fmla="*/ 1365667 w 6884782"/>
              <a:gd name="connsiteY31947" fmla="*/ 2604603 h 5973007"/>
              <a:gd name="connsiteX31948" fmla="*/ 1366183 w 6884782"/>
              <a:gd name="connsiteY31948" fmla="*/ 2605842 h 5973007"/>
              <a:gd name="connsiteX31949" fmla="*/ 1362569 w 6884782"/>
              <a:gd name="connsiteY31949" fmla="*/ 2603054 h 5973007"/>
              <a:gd name="connsiteX31950" fmla="*/ 1358749 w 6884782"/>
              <a:gd name="connsiteY31950" fmla="*/ 2601970 h 5973007"/>
              <a:gd name="connsiteX31951" fmla="*/ 1340886 w 6884782"/>
              <a:gd name="connsiteY31951" fmla="*/ 2582298 h 5973007"/>
              <a:gd name="connsiteX31952" fmla="*/ 1341092 w 6884782"/>
              <a:gd name="connsiteY31952" fmla="*/ 2576877 h 5973007"/>
              <a:gd name="connsiteX31953" fmla="*/ 1356684 w 6884782"/>
              <a:gd name="connsiteY31953" fmla="*/ 2573934 h 5973007"/>
              <a:gd name="connsiteX31954" fmla="*/ 1356271 w 6884782"/>
              <a:gd name="connsiteY31954" fmla="*/ 2572385 h 5973007"/>
              <a:gd name="connsiteX31955" fmla="*/ 1359471 w 6884782"/>
              <a:gd name="connsiteY31955" fmla="*/ 2560458 h 5973007"/>
              <a:gd name="connsiteX31956" fmla="*/ 1362879 w 6884782"/>
              <a:gd name="connsiteY31956" fmla="*/ 2557670 h 5973007"/>
              <a:gd name="connsiteX31957" fmla="*/ 1363499 w 6884782"/>
              <a:gd name="connsiteY31957" fmla="*/ 2555502 h 5973007"/>
              <a:gd name="connsiteX31958" fmla="*/ 1365357 w 6884782"/>
              <a:gd name="connsiteY31958" fmla="*/ 2556121 h 5973007"/>
              <a:gd name="connsiteX31959" fmla="*/ 1366390 w 6884782"/>
              <a:gd name="connsiteY31959" fmla="*/ 2555502 h 5973007"/>
              <a:gd name="connsiteX31960" fmla="*/ 1367423 w 6884782"/>
              <a:gd name="connsiteY31960" fmla="*/ 2556121 h 5973007"/>
              <a:gd name="connsiteX31961" fmla="*/ 1368661 w 6884782"/>
              <a:gd name="connsiteY31961" fmla="*/ 2556740 h 5973007"/>
              <a:gd name="connsiteX31962" fmla="*/ 1368868 w 6884782"/>
              <a:gd name="connsiteY31962" fmla="*/ 2555346 h 5973007"/>
              <a:gd name="connsiteX31963" fmla="*/ 1370210 w 6884782"/>
              <a:gd name="connsiteY31963" fmla="*/ 2553333 h 5973007"/>
              <a:gd name="connsiteX31964" fmla="*/ 1371553 w 6884782"/>
              <a:gd name="connsiteY31964" fmla="*/ 2553642 h 5973007"/>
              <a:gd name="connsiteX31965" fmla="*/ 1369281 w 6884782"/>
              <a:gd name="connsiteY31965" fmla="*/ 2548531 h 5973007"/>
              <a:gd name="connsiteX31966" fmla="*/ 1369384 w 6884782"/>
              <a:gd name="connsiteY31966" fmla="*/ 2544349 h 5973007"/>
              <a:gd name="connsiteX31967" fmla="*/ 1374960 w 6884782"/>
              <a:gd name="connsiteY31967" fmla="*/ 2532422 h 5973007"/>
              <a:gd name="connsiteX31968" fmla="*/ 590729 w 6884782"/>
              <a:gd name="connsiteY31968" fmla="*/ 2530098 h 5973007"/>
              <a:gd name="connsiteX31969" fmla="*/ 611794 w 6884782"/>
              <a:gd name="connsiteY31969" fmla="*/ 2539857 h 5973007"/>
              <a:gd name="connsiteX31970" fmla="*/ 584327 w 6884782"/>
              <a:gd name="connsiteY31970" fmla="*/ 2533041 h 5973007"/>
              <a:gd name="connsiteX31971" fmla="*/ 590729 w 6884782"/>
              <a:gd name="connsiteY31971" fmla="*/ 2530098 h 5973007"/>
              <a:gd name="connsiteX31972" fmla="*/ 1346358 w 6884782"/>
              <a:gd name="connsiteY31972" fmla="*/ 2529169 h 5973007"/>
              <a:gd name="connsiteX31973" fmla="*/ 1347907 w 6884782"/>
              <a:gd name="connsiteY31973" fmla="*/ 2531492 h 5973007"/>
              <a:gd name="connsiteX31974" fmla="*/ 1348836 w 6884782"/>
              <a:gd name="connsiteY31974" fmla="*/ 2531957 h 5973007"/>
              <a:gd name="connsiteX31975" fmla="*/ 1349249 w 6884782"/>
              <a:gd name="connsiteY31975" fmla="*/ 2533971 h 5973007"/>
              <a:gd name="connsiteX31976" fmla="*/ 1347907 w 6884782"/>
              <a:gd name="connsiteY31976" fmla="*/ 2535674 h 5973007"/>
              <a:gd name="connsiteX31977" fmla="*/ 1347804 w 6884782"/>
              <a:gd name="connsiteY31977" fmla="*/ 2535829 h 5973007"/>
              <a:gd name="connsiteX31978" fmla="*/ 1347494 w 6884782"/>
              <a:gd name="connsiteY31978" fmla="*/ 2537533 h 5973007"/>
              <a:gd name="connsiteX31979" fmla="*/ 1346152 w 6884782"/>
              <a:gd name="connsiteY31979" fmla="*/ 2537998 h 5973007"/>
              <a:gd name="connsiteX31980" fmla="*/ 1346565 w 6884782"/>
              <a:gd name="connsiteY31980" fmla="*/ 2540476 h 5973007"/>
              <a:gd name="connsiteX31981" fmla="*/ 1348836 w 6884782"/>
              <a:gd name="connsiteY31981" fmla="*/ 2543574 h 5973007"/>
              <a:gd name="connsiteX31982" fmla="*/ 1349146 w 6884782"/>
              <a:gd name="connsiteY31982" fmla="*/ 2544194 h 5973007"/>
              <a:gd name="connsiteX31983" fmla="*/ 1352450 w 6884782"/>
              <a:gd name="connsiteY31983" fmla="*/ 2545123 h 5973007"/>
              <a:gd name="connsiteX31984" fmla="*/ 1351934 w 6884782"/>
              <a:gd name="connsiteY31984" fmla="*/ 2548686 h 5973007"/>
              <a:gd name="connsiteX31985" fmla="*/ 1350695 w 6884782"/>
              <a:gd name="connsiteY31985" fmla="*/ 2548841 h 5973007"/>
              <a:gd name="connsiteX31986" fmla="*/ 1350592 w 6884782"/>
              <a:gd name="connsiteY31986" fmla="*/ 2552403 h 5973007"/>
              <a:gd name="connsiteX31987" fmla="*/ 1342125 w 6884782"/>
              <a:gd name="connsiteY31987" fmla="*/ 2553798 h 5973007"/>
              <a:gd name="connsiteX31988" fmla="*/ 1332625 w 6884782"/>
              <a:gd name="connsiteY31988" fmla="*/ 2540167 h 5973007"/>
              <a:gd name="connsiteX31989" fmla="*/ 1333451 w 6884782"/>
              <a:gd name="connsiteY31989" fmla="*/ 2539857 h 5973007"/>
              <a:gd name="connsiteX31990" fmla="*/ 1330043 w 6884782"/>
              <a:gd name="connsiteY31990" fmla="*/ 2535365 h 5973007"/>
              <a:gd name="connsiteX31991" fmla="*/ 1335103 w 6884782"/>
              <a:gd name="connsiteY31991" fmla="*/ 2531492 h 5973007"/>
              <a:gd name="connsiteX31992" fmla="*/ 1337272 w 6884782"/>
              <a:gd name="connsiteY31992" fmla="*/ 2531182 h 5973007"/>
              <a:gd name="connsiteX31993" fmla="*/ 1337788 w 6884782"/>
              <a:gd name="connsiteY31993" fmla="*/ 2529788 h 5973007"/>
              <a:gd name="connsiteX31994" fmla="*/ 1346358 w 6884782"/>
              <a:gd name="connsiteY31994" fmla="*/ 2529169 h 5973007"/>
              <a:gd name="connsiteX31995" fmla="*/ 1043404 w 6884782"/>
              <a:gd name="connsiteY31995" fmla="*/ 2529169 h 5973007"/>
              <a:gd name="connsiteX31996" fmla="*/ 1042165 w 6884782"/>
              <a:gd name="connsiteY31996" fmla="*/ 2530098 h 5973007"/>
              <a:gd name="connsiteX31997" fmla="*/ 1042062 w 6884782"/>
              <a:gd name="connsiteY31997" fmla="*/ 2530718 h 5973007"/>
              <a:gd name="connsiteX31998" fmla="*/ 1043611 w 6884782"/>
              <a:gd name="connsiteY31998" fmla="*/ 2529479 h 5973007"/>
              <a:gd name="connsiteX31999" fmla="*/ 1130036 w 6884782"/>
              <a:gd name="connsiteY31999" fmla="*/ 2528550 h 5973007"/>
              <a:gd name="connsiteX32000" fmla="*/ 1130553 w 6884782"/>
              <a:gd name="connsiteY32000" fmla="*/ 2532112 h 5973007"/>
              <a:gd name="connsiteX32001" fmla="*/ 1128488 w 6884782"/>
              <a:gd name="connsiteY32001" fmla="*/ 2533661 h 5973007"/>
              <a:gd name="connsiteX32002" fmla="*/ 1128178 w 6884782"/>
              <a:gd name="connsiteY32002" fmla="*/ 2532886 h 5973007"/>
              <a:gd name="connsiteX32003" fmla="*/ 1125906 w 6884782"/>
              <a:gd name="connsiteY32003" fmla="*/ 2529788 h 5973007"/>
              <a:gd name="connsiteX32004" fmla="*/ 1130036 w 6884782"/>
              <a:gd name="connsiteY32004" fmla="*/ 2528550 h 5973007"/>
              <a:gd name="connsiteX32005" fmla="*/ 1390345 w 6884782"/>
              <a:gd name="connsiteY32005" fmla="*/ 2527465 h 5973007"/>
              <a:gd name="connsiteX32006" fmla="*/ 1392101 w 6884782"/>
              <a:gd name="connsiteY32006" fmla="*/ 2527775 h 5973007"/>
              <a:gd name="connsiteX32007" fmla="*/ 1395714 w 6884782"/>
              <a:gd name="connsiteY32007" fmla="*/ 2528859 h 5973007"/>
              <a:gd name="connsiteX32008" fmla="*/ 1389313 w 6884782"/>
              <a:gd name="connsiteY32008" fmla="*/ 2528239 h 5973007"/>
              <a:gd name="connsiteX32009" fmla="*/ 1390345 w 6884782"/>
              <a:gd name="connsiteY32009" fmla="*/ 2527465 h 5973007"/>
              <a:gd name="connsiteX32010" fmla="*/ 529085 w 6884782"/>
              <a:gd name="connsiteY32010" fmla="*/ 2526846 h 5973007"/>
              <a:gd name="connsiteX32011" fmla="*/ 531666 w 6884782"/>
              <a:gd name="connsiteY32011" fmla="*/ 2529634 h 5973007"/>
              <a:gd name="connsiteX32012" fmla="*/ 528259 w 6884782"/>
              <a:gd name="connsiteY32012" fmla="*/ 2530098 h 5973007"/>
              <a:gd name="connsiteX32013" fmla="*/ 527743 w 6884782"/>
              <a:gd name="connsiteY32013" fmla="*/ 2528704 h 5973007"/>
              <a:gd name="connsiteX32014" fmla="*/ 529085 w 6884782"/>
              <a:gd name="connsiteY32014" fmla="*/ 2526846 h 5973007"/>
              <a:gd name="connsiteX32015" fmla="*/ 1053627 w 6884782"/>
              <a:gd name="connsiteY32015" fmla="*/ 2526691 h 5973007"/>
              <a:gd name="connsiteX32016" fmla="*/ 1057137 w 6884782"/>
              <a:gd name="connsiteY32016" fmla="*/ 2528550 h 5973007"/>
              <a:gd name="connsiteX32017" fmla="*/ 1058893 w 6884782"/>
              <a:gd name="connsiteY32017" fmla="*/ 2531182 h 5973007"/>
              <a:gd name="connsiteX32018" fmla="*/ 1059202 w 6884782"/>
              <a:gd name="connsiteY32018" fmla="*/ 2530718 h 5973007"/>
              <a:gd name="connsiteX32019" fmla="*/ 1064262 w 6884782"/>
              <a:gd name="connsiteY32019" fmla="*/ 2529169 h 5973007"/>
              <a:gd name="connsiteX32020" fmla="*/ 1066947 w 6884782"/>
              <a:gd name="connsiteY32020" fmla="*/ 2530098 h 5973007"/>
              <a:gd name="connsiteX32021" fmla="*/ 1067773 w 6884782"/>
              <a:gd name="connsiteY32021" fmla="*/ 2528550 h 5973007"/>
              <a:gd name="connsiteX32022" fmla="*/ 1082538 w 6884782"/>
              <a:gd name="connsiteY32022" fmla="*/ 2533041 h 5973007"/>
              <a:gd name="connsiteX32023" fmla="*/ 1067257 w 6884782"/>
              <a:gd name="connsiteY32023" fmla="*/ 2534436 h 5973007"/>
              <a:gd name="connsiteX32024" fmla="*/ 1066844 w 6884782"/>
              <a:gd name="connsiteY32024" fmla="*/ 2532267 h 5973007"/>
              <a:gd name="connsiteX32025" fmla="*/ 1060958 w 6884782"/>
              <a:gd name="connsiteY32025" fmla="*/ 2535829 h 5973007"/>
              <a:gd name="connsiteX32026" fmla="*/ 1052284 w 6884782"/>
              <a:gd name="connsiteY32026" fmla="*/ 2539237 h 5973007"/>
              <a:gd name="connsiteX32027" fmla="*/ 1054866 w 6884782"/>
              <a:gd name="connsiteY32027" fmla="*/ 2534590 h 5973007"/>
              <a:gd name="connsiteX32028" fmla="*/ 1058583 w 6884782"/>
              <a:gd name="connsiteY32028" fmla="*/ 2531338 h 5973007"/>
              <a:gd name="connsiteX32029" fmla="*/ 1054969 w 6884782"/>
              <a:gd name="connsiteY32029" fmla="*/ 2530098 h 5973007"/>
              <a:gd name="connsiteX32030" fmla="*/ 1053627 w 6884782"/>
              <a:gd name="connsiteY32030" fmla="*/ 2526691 h 5973007"/>
              <a:gd name="connsiteX32031" fmla="*/ 768949 w 6884782"/>
              <a:gd name="connsiteY32031" fmla="*/ 2525141 h 5973007"/>
              <a:gd name="connsiteX32032" fmla="*/ 771118 w 6884782"/>
              <a:gd name="connsiteY32032" fmla="*/ 2525607 h 5973007"/>
              <a:gd name="connsiteX32033" fmla="*/ 773080 w 6884782"/>
              <a:gd name="connsiteY32033" fmla="*/ 2528859 h 5973007"/>
              <a:gd name="connsiteX32034" fmla="*/ 775351 w 6884782"/>
              <a:gd name="connsiteY32034" fmla="*/ 2536914 h 5973007"/>
              <a:gd name="connsiteX32035" fmla="*/ 776384 w 6884782"/>
              <a:gd name="connsiteY32035" fmla="*/ 2538618 h 5973007"/>
              <a:gd name="connsiteX32036" fmla="*/ 768536 w 6884782"/>
              <a:gd name="connsiteY32036" fmla="*/ 2525761 h 5973007"/>
              <a:gd name="connsiteX32037" fmla="*/ 768949 w 6884782"/>
              <a:gd name="connsiteY32037" fmla="*/ 2525141 h 5973007"/>
              <a:gd name="connsiteX32038" fmla="*/ 1345222 w 6884782"/>
              <a:gd name="connsiteY32038" fmla="*/ 2524057 h 5973007"/>
              <a:gd name="connsiteX32039" fmla="*/ 1346048 w 6884782"/>
              <a:gd name="connsiteY32039" fmla="*/ 2524212 h 5973007"/>
              <a:gd name="connsiteX32040" fmla="*/ 1344706 w 6884782"/>
              <a:gd name="connsiteY32040" fmla="*/ 2527310 h 5973007"/>
              <a:gd name="connsiteX32041" fmla="*/ 1344809 w 6884782"/>
              <a:gd name="connsiteY32041" fmla="*/ 2524677 h 5973007"/>
              <a:gd name="connsiteX32042" fmla="*/ 1345222 w 6884782"/>
              <a:gd name="connsiteY32042" fmla="*/ 2524057 h 5973007"/>
              <a:gd name="connsiteX32043" fmla="*/ 1394062 w 6884782"/>
              <a:gd name="connsiteY32043" fmla="*/ 2523283 h 5973007"/>
              <a:gd name="connsiteX32044" fmla="*/ 1394062 w 6884782"/>
              <a:gd name="connsiteY32044" fmla="*/ 2524057 h 5973007"/>
              <a:gd name="connsiteX32045" fmla="*/ 1392101 w 6884782"/>
              <a:gd name="connsiteY32045" fmla="*/ 2523437 h 5973007"/>
              <a:gd name="connsiteX32046" fmla="*/ 1394062 w 6884782"/>
              <a:gd name="connsiteY32046" fmla="*/ 2523283 h 5973007"/>
              <a:gd name="connsiteX32047" fmla="*/ 1398193 w 6884782"/>
              <a:gd name="connsiteY32047" fmla="*/ 2523128 h 5973007"/>
              <a:gd name="connsiteX32048" fmla="*/ 1399019 w 6884782"/>
              <a:gd name="connsiteY32048" fmla="*/ 2525607 h 5973007"/>
              <a:gd name="connsiteX32049" fmla="*/ 1394682 w 6884782"/>
              <a:gd name="connsiteY32049" fmla="*/ 2523283 h 5973007"/>
              <a:gd name="connsiteX32050" fmla="*/ 1398193 w 6884782"/>
              <a:gd name="connsiteY32050" fmla="*/ 2523128 h 5973007"/>
              <a:gd name="connsiteX32051" fmla="*/ 1033492 w 6884782"/>
              <a:gd name="connsiteY32051" fmla="*/ 2522973 h 5973007"/>
              <a:gd name="connsiteX32052" fmla="*/ 1036486 w 6884782"/>
              <a:gd name="connsiteY32052" fmla="*/ 2523437 h 5973007"/>
              <a:gd name="connsiteX32053" fmla="*/ 1038448 w 6884782"/>
              <a:gd name="connsiteY32053" fmla="*/ 2525296 h 5973007"/>
              <a:gd name="connsiteX32054" fmla="*/ 1035763 w 6884782"/>
              <a:gd name="connsiteY32054" fmla="*/ 2529324 h 5973007"/>
              <a:gd name="connsiteX32055" fmla="*/ 1031840 w 6884782"/>
              <a:gd name="connsiteY32055" fmla="*/ 2523903 h 5973007"/>
              <a:gd name="connsiteX32056" fmla="*/ 1033492 w 6884782"/>
              <a:gd name="connsiteY32056" fmla="*/ 2522973 h 5973007"/>
              <a:gd name="connsiteX32057" fmla="*/ 692436 w 6884782"/>
              <a:gd name="connsiteY32057" fmla="*/ 2522973 h 5973007"/>
              <a:gd name="connsiteX32058" fmla="*/ 696257 w 6884782"/>
              <a:gd name="connsiteY32058" fmla="*/ 2523437 h 5973007"/>
              <a:gd name="connsiteX32059" fmla="*/ 694605 w 6884782"/>
              <a:gd name="connsiteY32059" fmla="*/ 2524367 h 5973007"/>
              <a:gd name="connsiteX32060" fmla="*/ 692333 w 6884782"/>
              <a:gd name="connsiteY32060" fmla="*/ 2524677 h 5973007"/>
              <a:gd name="connsiteX32061" fmla="*/ 691507 w 6884782"/>
              <a:gd name="connsiteY32061" fmla="*/ 2526071 h 5973007"/>
              <a:gd name="connsiteX32062" fmla="*/ 684589 w 6884782"/>
              <a:gd name="connsiteY32062" fmla="*/ 2525451 h 5973007"/>
              <a:gd name="connsiteX32063" fmla="*/ 686241 w 6884782"/>
              <a:gd name="connsiteY32063" fmla="*/ 2524677 h 5973007"/>
              <a:gd name="connsiteX32064" fmla="*/ 688513 w 6884782"/>
              <a:gd name="connsiteY32064" fmla="*/ 2524212 h 5973007"/>
              <a:gd name="connsiteX32065" fmla="*/ 690784 w 6884782"/>
              <a:gd name="connsiteY32065" fmla="*/ 2523748 h 5973007"/>
              <a:gd name="connsiteX32066" fmla="*/ 692436 w 6884782"/>
              <a:gd name="connsiteY32066" fmla="*/ 2522973 h 5973007"/>
              <a:gd name="connsiteX32067" fmla="*/ 706583 w 6884782"/>
              <a:gd name="connsiteY32067" fmla="*/ 2522663 h 5973007"/>
              <a:gd name="connsiteX32068" fmla="*/ 715566 w 6884782"/>
              <a:gd name="connsiteY32068" fmla="*/ 2531647 h 5973007"/>
              <a:gd name="connsiteX32069" fmla="*/ 710196 w 6884782"/>
              <a:gd name="connsiteY32069" fmla="*/ 2534745 h 5973007"/>
              <a:gd name="connsiteX32070" fmla="*/ 703382 w 6884782"/>
              <a:gd name="connsiteY32070" fmla="*/ 2528859 h 5973007"/>
              <a:gd name="connsiteX32071" fmla="*/ 703485 w 6884782"/>
              <a:gd name="connsiteY32071" fmla="*/ 2525916 h 5973007"/>
              <a:gd name="connsiteX32072" fmla="*/ 706583 w 6884782"/>
              <a:gd name="connsiteY32072" fmla="*/ 2522663 h 5973007"/>
              <a:gd name="connsiteX32073" fmla="*/ 1424110 w 6884782"/>
              <a:gd name="connsiteY32073" fmla="*/ 2522508 h 5973007"/>
              <a:gd name="connsiteX32074" fmla="*/ 1428860 w 6884782"/>
              <a:gd name="connsiteY32074" fmla="*/ 2532267 h 5973007"/>
              <a:gd name="connsiteX32075" fmla="*/ 1429169 w 6884782"/>
              <a:gd name="connsiteY32075" fmla="*/ 2535984 h 5973007"/>
              <a:gd name="connsiteX32076" fmla="*/ 1438050 w 6884782"/>
              <a:gd name="connsiteY32076" fmla="*/ 2539857 h 5973007"/>
              <a:gd name="connsiteX32077" fmla="*/ 1429583 w 6884782"/>
              <a:gd name="connsiteY32077" fmla="*/ 2542645 h 5973007"/>
              <a:gd name="connsiteX32078" fmla="*/ 1429686 w 6884782"/>
              <a:gd name="connsiteY32078" fmla="*/ 2543110 h 5973007"/>
              <a:gd name="connsiteX32079" fmla="*/ 1413681 w 6884782"/>
              <a:gd name="connsiteY32079" fmla="*/ 2549151 h 5973007"/>
              <a:gd name="connsiteX32080" fmla="*/ 1408622 w 6884782"/>
              <a:gd name="connsiteY32080" fmla="*/ 2548841 h 5973007"/>
              <a:gd name="connsiteX32081" fmla="*/ 1398193 w 6884782"/>
              <a:gd name="connsiteY32081" fmla="*/ 2549770 h 5973007"/>
              <a:gd name="connsiteX32082" fmla="*/ 1390758 w 6884782"/>
              <a:gd name="connsiteY32082" fmla="*/ 2548066 h 5973007"/>
              <a:gd name="connsiteX32083" fmla="*/ 1389932 w 6884782"/>
              <a:gd name="connsiteY32083" fmla="*/ 2548221 h 5973007"/>
              <a:gd name="connsiteX32084" fmla="*/ 1389726 w 6884782"/>
              <a:gd name="connsiteY32084" fmla="*/ 2547911 h 5973007"/>
              <a:gd name="connsiteX32085" fmla="*/ 1382704 w 6884782"/>
              <a:gd name="connsiteY32085" fmla="*/ 2546363 h 5973007"/>
              <a:gd name="connsiteX32086" fmla="*/ 1387351 w 6884782"/>
              <a:gd name="connsiteY32086" fmla="*/ 2541715 h 5973007"/>
              <a:gd name="connsiteX32087" fmla="*/ 1387351 w 6884782"/>
              <a:gd name="connsiteY32087" fmla="*/ 2541096 h 5973007"/>
              <a:gd name="connsiteX32088" fmla="*/ 1389313 w 6884782"/>
              <a:gd name="connsiteY32088" fmla="*/ 2539857 h 5973007"/>
              <a:gd name="connsiteX32089" fmla="*/ 1393649 w 6884782"/>
              <a:gd name="connsiteY32089" fmla="*/ 2535365 h 5973007"/>
              <a:gd name="connsiteX32090" fmla="*/ 1393649 w 6884782"/>
              <a:gd name="connsiteY32090" fmla="*/ 2534281 h 5973007"/>
              <a:gd name="connsiteX32091" fmla="*/ 1424110 w 6884782"/>
              <a:gd name="connsiteY32091" fmla="*/ 2522508 h 5973007"/>
              <a:gd name="connsiteX32092" fmla="*/ 1161323 w 6884782"/>
              <a:gd name="connsiteY32092" fmla="*/ 2522199 h 5973007"/>
              <a:gd name="connsiteX32093" fmla="*/ 1162046 w 6884782"/>
              <a:gd name="connsiteY32093" fmla="*/ 2529634 h 5973007"/>
              <a:gd name="connsiteX32094" fmla="*/ 1157812 w 6884782"/>
              <a:gd name="connsiteY32094" fmla="*/ 2533816 h 5973007"/>
              <a:gd name="connsiteX32095" fmla="*/ 1155437 w 6884782"/>
              <a:gd name="connsiteY32095" fmla="*/ 2530098 h 5973007"/>
              <a:gd name="connsiteX32096" fmla="*/ 1157812 w 6884782"/>
              <a:gd name="connsiteY32096" fmla="*/ 2526071 h 5973007"/>
              <a:gd name="connsiteX32097" fmla="*/ 1158948 w 6884782"/>
              <a:gd name="connsiteY32097" fmla="*/ 2522973 h 5973007"/>
              <a:gd name="connsiteX32098" fmla="*/ 1161323 w 6884782"/>
              <a:gd name="connsiteY32098" fmla="*/ 2522199 h 5973007"/>
              <a:gd name="connsiteX32099" fmla="*/ 1352037 w 6884782"/>
              <a:gd name="connsiteY32099" fmla="*/ 2521424 h 5973007"/>
              <a:gd name="connsiteX32100" fmla="*/ 1361950 w 6884782"/>
              <a:gd name="connsiteY32100" fmla="*/ 2524677 h 5973007"/>
              <a:gd name="connsiteX32101" fmla="*/ 1362053 w 6884782"/>
              <a:gd name="connsiteY32101" fmla="*/ 2529634 h 5973007"/>
              <a:gd name="connsiteX32102" fmla="*/ 1349353 w 6884782"/>
              <a:gd name="connsiteY32102" fmla="*/ 2524987 h 5973007"/>
              <a:gd name="connsiteX32103" fmla="*/ 1352037 w 6884782"/>
              <a:gd name="connsiteY32103" fmla="*/ 2521424 h 5973007"/>
              <a:gd name="connsiteX32104" fmla="*/ 672715 w 6884782"/>
              <a:gd name="connsiteY32104" fmla="*/ 2520340 h 5973007"/>
              <a:gd name="connsiteX32105" fmla="*/ 675399 w 6884782"/>
              <a:gd name="connsiteY32105" fmla="*/ 2520649 h 5973007"/>
              <a:gd name="connsiteX32106" fmla="*/ 676225 w 6884782"/>
              <a:gd name="connsiteY32106" fmla="*/ 2524987 h 5973007"/>
              <a:gd name="connsiteX32107" fmla="*/ 674470 w 6884782"/>
              <a:gd name="connsiteY32107" fmla="*/ 2525761 h 5973007"/>
              <a:gd name="connsiteX32108" fmla="*/ 671682 w 6884782"/>
              <a:gd name="connsiteY32108" fmla="*/ 2524522 h 5973007"/>
              <a:gd name="connsiteX32109" fmla="*/ 670856 w 6884782"/>
              <a:gd name="connsiteY32109" fmla="*/ 2520960 h 5973007"/>
              <a:gd name="connsiteX32110" fmla="*/ 672715 w 6884782"/>
              <a:gd name="connsiteY32110" fmla="*/ 2520340 h 5973007"/>
              <a:gd name="connsiteX32111" fmla="*/ 1367216 w 6884782"/>
              <a:gd name="connsiteY32111" fmla="*/ 2520185 h 5973007"/>
              <a:gd name="connsiteX32112" fmla="*/ 1368042 w 6884782"/>
              <a:gd name="connsiteY32112" fmla="*/ 2520960 h 5973007"/>
              <a:gd name="connsiteX32113" fmla="*/ 1360504 w 6884782"/>
              <a:gd name="connsiteY32113" fmla="*/ 2520495 h 5973007"/>
              <a:gd name="connsiteX32114" fmla="*/ 1367216 w 6884782"/>
              <a:gd name="connsiteY32114" fmla="*/ 2520185 h 5973007"/>
              <a:gd name="connsiteX32115" fmla="*/ 1050942 w 6884782"/>
              <a:gd name="connsiteY32115" fmla="*/ 2518791 h 5973007"/>
              <a:gd name="connsiteX32116" fmla="*/ 1051355 w 6884782"/>
              <a:gd name="connsiteY32116" fmla="*/ 2521424 h 5973007"/>
              <a:gd name="connsiteX32117" fmla="*/ 1048464 w 6884782"/>
              <a:gd name="connsiteY32117" fmla="*/ 2522818 h 5973007"/>
              <a:gd name="connsiteX32118" fmla="*/ 1047122 w 6884782"/>
              <a:gd name="connsiteY32118" fmla="*/ 2526071 h 5973007"/>
              <a:gd name="connsiteX32119" fmla="*/ 1046915 w 6884782"/>
              <a:gd name="connsiteY32119" fmla="*/ 2526226 h 5973007"/>
              <a:gd name="connsiteX32120" fmla="*/ 1046399 w 6884782"/>
              <a:gd name="connsiteY32120" fmla="*/ 2528084 h 5973007"/>
              <a:gd name="connsiteX32121" fmla="*/ 1047122 w 6884782"/>
              <a:gd name="connsiteY32121" fmla="*/ 2527775 h 5973007"/>
              <a:gd name="connsiteX32122" fmla="*/ 1049909 w 6884782"/>
              <a:gd name="connsiteY32122" fmla="*/ 2535210 h 5973007"/>
              <a:gd name="connsiteX32123" fmla="*/ 1047122 w 6884782"/>
              <a:gd name="connsiteY32123" fmla="*/ 2539237 h 5973007"/>
              <a:gd name="connsiteX32124" fmla="*/ 1046399 w 6884782"/>
              <a:gd name="connsiteY32124" fmla="*/ 2539237 h 5973007"/>
              <a:gd name="connsiteX32125" fmla="*/ 1047534 w 6884782"/>
              <a:gd name="connsiteY32125" fmla="*/ 2544039 h 5973007"/>
              <a:gd name="connsiteX32126" fmla="*/ 1046605 w 6884782"/>
              <a:gd name="connsiteY32126" fmla="*/ 2548066 h 5973007"/>
              <a:gd name="connsiteX32127" fmla="*/ 1045366 w 6884782"/>
              <a:gd name="connsiteY32127" fmla="*/ 2549151 h 5973007"/>
              <a:gd name="connsiteX32128" fmla="*/ 1047122 w 6884782"/>
              <a:gd name="connsiteY32128" fmla="*/ 2549151 h 5973007"/>
              <a:gd name="connsiteX32129" fmla="*/ 1052078 w 6884782"/>
              <a:gd name="connsiteY32129" fmla="*/ 2549305 h 5973007"/>
              <a:gd name="connsiteX32130" fmla="*/ 1053627 w 6884782"/>
              <a:gd name="connsiteY32130" fmla="*/ 2549305 h 5973007"/>
              <a:gd name="connsiteX32131" fmla="*/ 1053730 w 6884782"/>
              <a:gd name="connsiteY32131" fmla="*/ 2549305 h 5973007"/>
              <a:gd name="connsiteX32132" fmla="*/ 1054040 w 6884782"/>
              <a:gd name="connsiteY32132" fmla="*/ 2549305 h 5973007"/>
              <a:gd name="connsiteX32133" fmla="*/ 1059719 w 6884782"/>
              <a:gd name="connsiteY32133" fmla="*/ 2553023 h 5973007"/>
              <a:gd name="connsiteX32134" fmla="*/ 1054350 w 6884782"/>
              <a:gd name="connsiteY32134" fmla="*/ 2554417 h 5973007"/>
              <a:gd name="connsiteX32135" fmla="*/ 1054040 w 6884782"/>
              <a:gd name="connsiteY32135" fmla="*/ 2555966 h 5973007"/>
              <a:gd name="connsiteX32136" fmla="*/ 1047431 w 6884782"/>
              <a:gd name="connsiteY32136" fmla="*/ 2559528 h 5973007"/>
              <a:gd name="connsiteX32137" fmla="*/ 1046295 w 6884782"/>
              <a:gd name="connsiteY32137" fmla="*/ 2556276 h 5973007"/>
              <a:gd name="connsiteX32138" fmla="*/ 1040513 w 6884782"/>
              <a:gd name="connsiteY32138" fmla="*/ 2556431 h 5973007"/>
              <a:gd name="connsiteX32139" fmla="*/ 1032562 w 6884782"/>
              <a:gd name="connsiteY32139" fmla="*/ 2554417 h 5973007"/>
              <a:gd name="connsiteX32140" fmla="*/ 1031840 w 6884782"/>
              <a:gd name="connsiteY32140" fmla="*/ 2552713 h 5973007"/>
              <a:gd name="connsiteX32141" fmla="*/ 1031220 w 6884782"/>
              <a:gd name="connsiteY32141" fmla="*/ 2552558 h 5973007"/>
              <a:gd name="connsiteX32142" fmla="*/ 1027503 w 6884782"/>
              <a:gd name="connsiteY32142" fmla="*/ 2548531 h 5973007"/>
              <a:gd name="connsiteX32143" fmla="*/ 1026367 w 6884782"/>
              <a:gd name="connsiteY32143" fmla="*/ 2544659 h 5973007"/>
              <a:gd name="connsiteX32144" fmla="*/ 1027399 w 6884782"/>
              <a:gd name="connsiteY32144" fmla="*/ 2538927 h 5973007"/>
              <a:gd name="connsiteX32145" fmla="*/ 1028742 w 6884782"/>
              <a:gd name="connsiteY32145" fmla="*/ 2537378 h 5973007"/>
              <a:gd name="connsiteX32146" fmla="*/ 1028432 w 6884782"/>
              <a:gd name="connsiteY32146" fmla="*/ 2534590 h 5973007"/>
              <a:gd name="connsiteX32147" fmla="*/ 1028949 w 6884782"/>
              <a:gd name="connsiteY32147" fmla="*/ 2533506 h 5973007"/>
              <a:gd name="connsiteX32148" fmla="*/ 1029981 w 6884782"/>
              <a:gd name="connsiteY32148" fmla="*/ 2536294 h 5973007"/>
              <a:gd name="connsiteX32149" fmla="*/ 1033698 w 6884782"/>
              <a:gd name="connsiteY32149" fmla="*/ 2534126 h 5973007"/>
              <a:gd name="connsiteX32150" fmla="*/ 1036176 w 6884782"/>
              <a:gd name="connsiteY32150" fmla="*/ 2533351 h 5973007"/>
              <a:gd name="connsiteX32151" fmla="*/ 1039377 w 6884782"/>
              <a:gd name="connsiteY32151" fmla="*/ 2531027 h 5973007"/>
              <a:gd name="connsiteX32152" fmla="*/ 1039997 w 6884782"/>
              <a:gd name="connsiteY32152" fmla="*/ 2531647 h 5973007"/>
              <a:gd name="connsiteX32153" fmla="*/ 1041856 w 6884782"/>
              <a:gd name="connsiteY32153" fmla="*/ 2529788 h 5973007"/>
              <a:gd name="connsiteX32154" fmla="*/ 1043198 w 6884782"/>
              <a:gd name="connsiteY32154" fmla="*/ 2528704 h 5973007"/>
              <a:gd name="connsiteX32155" fmla="*/ 1042888 w 6884782"/>
              <a:gd name="connsiteY32155" fmla="*/ 2528084 h 5973007"/>
              <a:gd name="connsiteX32156" fmla="*/ 1044333 w 6884782"/>
              <a:gd name="connsiteY32156" fmla="*/ 2525141 h 5973007"/>
              <a:gd name="connsiteX32157" fmla="*/ 1045883 w 6884782"/>
              <a:gd name="connsiteY32157" fmla="*/ 2525451 h 5973007"/>
              <a:gd name="connsiteX32158" fmla="*/ 1046399 w 6884782"/>
              <a:gd name="connsiteY32158" fmla="*/ 2525296 h 5973007"/>
              <a:gd name="connsiteX32159" fmla="*/ 1049084 w 6884782"/>
              <a:gd name="connsiteY32159" fmla="*/ 2519565 h 5973007"/>
              <a:gd name="connsiteX32160" fmla="*/ 1050942 w 6884782"/>
              <a:gd name="connsiteY32160" fmla="*/ 2518791 h 5973007"/>
              <a:gd name="connsiteX32161" fmla="*/ 4875574 w 6884782"/>
              <a:gd name="connsiteY32161" fmla="*/ 2518586 h 5973007"/>
              <a:gd name="connsiteX32162" fmla="*/ 4877922 w 6884782"/>
              <a:gd name="connsiteY32162" fmla="*/ 2522285 h 5973007"/>
              <a:gd name="connsiteX32163" fmla="*/ 4879415 w 6884782"/>
              <a:gd name="connsiteY32163" fmla="*/ 2527549 h 5973007"/>
              <a:gd name="connsiteX32164" fmla="*/ 4870025 w 6884782"/>
              <a:gd name="connsiteY32164" fmla="*/ 2533809 h 5973007"/>
              <a:gd name="connsiteX32165" fmla="*/ 4875574 w 6884782"/>
              <a:gd name="connsiteY32165" fmla="*/ 2518586 h 5973007"/>
              <a:gd name="connsiteX32166" fmla="*/ 523613 w 6884782"/>
              <a:gd name="connsiteY32166" fmla="*/ 2518171 h 5973007"/>
              <a:gd name="connsiteX32167" fmla="*/ 524955 w 6884782"/>
              <a:gd name="connsiteY32167" fmla="*/ 2518171 h 5973007"/>
              <a:gd name="connsiteX32168" fmla="*/ 526710 w 6884782"/>
              <a:gd name="connsiteY32168" fmla="*/ 2518326 h 5973007"/>
              <a:gd name="connsiteX32169" fmla="*/ 528362 w 6884782"/>
              <a:gd name="connsiteY32169" fmla="*/ 2525916 h 5973007"/>
              <a:gd name="connsiteX32170" fmla="*/ 521341 w 6884782"/>
              <a:gd name="connsiteY32170" fmla="*/ 2527620 h 5973007"/>
              <a:gd name="connsiteX32171" fmla="*/ 520515 w 6884782"/>
              <a:gd name="connsiteY32171" fmla="*/ 2525916 h 5973007"/>
              <a:gd name="connsiteX32172" fmla="*/ 519998 w 6884782"/>
              <a:gd name="connsiteY32172" fmla="*/ 2523748 h 5973007"/>
              <a:gd name="connsiteX32173" fmla="*/ 521444 w 6884782"/>
              <a:gd name="connsiteY32173" fmla="*/ 2519410 h 5973007"/>
              <a:gd name="connsiteX32174" fmla="*/ 523613 w 6884782"/>
              <a:gd name="connsiteY32174" fmla="*/ 2518171 h 5973007"/>
              <a:gd name="connsiteX32175" fmla="*/ 5294944 w 6884782"/>
              <a:gd name="connsiteY32175" fmla="*/ 2517874 h 5973007"/>
              <a:gd name="connsiteX32176" fmla="*/ 5304548 w 6884782"/>
              <a:gd name="connsiteY32176" fmla="*/ 2517874 h 5973007"/>
              <a:gd name="connsiteX32177" fmla="*/ 5284487 w 6884782"/>
              <a:gd name="connsiteY32177" fmla="*/ 2526268 h 5973007"/>
              <a:gd name="connsiteX32178" fmla="*/ 5284700 w 6884782"/>
              <a:gd name="connsiteY32178" fmla="*/ 2521431 h 5973007"/>
              <a:gd name="connsiteX32179" fmla="*/ 5286834 w 6884782"/>
              <a:gd name="connsiteY32179" fmla="*/ 2521716 h 5973007"/>
              <a:gd name="connsiteX32180" fmla="*/ 5294944 w 6884782"/>
              <a:gd name="connsiteY32180" fmla="*/ 2517874 h 5973007"/>
              <a:gd name="connsiteX32181" fmla="*/ 1054969 w 6884782"/>
              <a:gd name="connsiteY32181" fmla="*/ 2517862 h 5973007"/>
              <a:gd name="connsiteX32182" fmla="*/ 1060235 w 6884782"/>
              <a:gd name="connsiteY32182" fmla="*/ 2521424 h 5973007"/>
              <a:gd name="connsiteX32183" fmla="*/ 1055795 w 6884782"/>
              <a:gd name="connsiteY32183" fmla="*/ 2523437 h 5973007"/>
              <a:gd name="connsiteX32184" fmla="*/ 1054660 w 6884782"/>
              <a:gd name="connsiteY32184" fmla="*/ 2522818 h 5973007"/>
              <a:gd name="connsiteX32185" fmla="*/ 1053833 w 6884782"/>
              <a:gd name="connsiteY32185" fmla="*/ 2522508 h 5973007"/>
              <a:gd name="connsiteX32186" fmla="*/ 1051562 w 6884782"/>
              <a:gd name="connsiteY32186" fmla="*/ 2521579 h 5973007"/>
              <a:gd name="connsiteX32187" fmla="*/ 1054969 w 6884782"/>
              <a:gd name="connsiteY32187" fmla="*/ 2517862 h 5973007"/>
              <a:gd name="connsiteX32188" fmla="*/ 1001689 w 6884782"/>
              <a:gd name="connsiteY32188" fmla="*/ 2516313 h 5973007"/>
              <a:gd name="connsiteX32189" fmla="*/ 1001895 w 6884782"/>
              <a:gd name="connsiteY32189" fmla="*/ 2530563 h 5973007"/>
              <a:gd name="connsiteX32190" fmla="*/ 997249 w 6884782"/>
              <a:gd name="connsiteY32190" fmla="*/ 2524212 h 5973007"/>
              <a:gd name="connsiteX32191" fmla="*/ 1001689 w 6884782"/>
              <a:gd name="connsiteY32191" fmla="*/ 2516313 h 5973007"/>
              <a:gd name="connsiteX32192" fmla="*/ 660376 w 6884782"/>
              <a:gd name="connsiteY32192" fmla="*/ 2515538 h 5973007"/>
              <a:gd name="connsiteX32193" fmla="*/ 668068 w 6884782"/>
              <a:gd name="connsiteY32193" fmla="*/ 2519720 h 5973007"/>
              <a:gd name="connsiteX32194" fmla="*/ 636781 w 6884782"/>
              <a:gd name="connsiteY32194" fmla="*/ 2528239 h 5973007"/>
              <a:gd name="connsiteX32195" fmla="*/ 650205 w 6884782"/>
              <a:gd name="connsiteY32195" fmla="*/ 2516932 h 5973007"/>
              <a:gd name="connsiteX32196" fmla="*/ 660376 w 6884782"/>
              <a:gd name="connsiteY32196" fmla="*/ 2515538 h 5973007"/>
              <a:gd name="connsiteX32197" fmla="*/ 1390965 w 6884782"/>
              <a:gd name="connsiteY32197" fmla="*/ 2515383 h 5973007"/>
              <a:gd name="connsiteX32198" fmla="*/ 1391481 w 6884782"/>
              <a:gd name="connsiteY32198" fmla="*/ 2521579 h 5973007"/>
              <a:gd name="connsiteX32199" fmla="*/ 1389623 w 6884782"/>
              <a:gd name="connsiteY32199" fmla="*/ 2524212 h 5973007"/>
              <a:gd name="connsiteX32200" fmla="*/ 1389519 w 6884782"/>
              <a:gd name="connsiteY32200" fmla="*/ 2524212 h 5973007"/>
              <a:gd name="connsiteX32201" fmla="*/ 1386834 w 6884782"/>
              <a:gd name="connsiteY32201" fmla="*/ 2525607 h 5973007"/>
              <a:gd name="connsiteX32202" fmla="*/ 1383014 w 6884782"/>
              <a:gd name="connsiteY32202" fmla="*/ 2524212 h 5973007"/>
              <a:gd name="connsiteX32203" fmla="*/ 1383014 w 6884782"/>
              <a:gd name="connsiteY32203" fmla="*/ 2523283 h 5973007"/>
              <a:gd name="connsiteX32204" fmla="*/ 1380536 w 6884782"/>
              <a:gd name="connsiteY32204" fmla="*/ 2523128 h 5973007"/>
              <a:gd name="connsiteX32205" fmla="*/ 1373928 w 6884782"/>
              <a:gd name="connsiteY32205" fmla="*/ 2521579 h 5973007"/>
              <a:gd name="connsiteX32206" fmla="*/ 1380639 w 6884782"/>
              <a:gd name="connsiteY32206" fmla="*/ 2521889 h 5973007"/>
              <a:gd name="connsiteX32207" fmla="*/ 1383014 w 6884782"/>
              <a:gd name="connsiteY32207" fmla="*/ 2522199 h 5973007"/>
              <a:gd name="connsiteX32208" fmla="*/ 1383117 w 6884782"/>
              <a:gd name="connsiteY32208" fmla="*/ 2521114 h 5973007"/>
              <a:gd name="connsiteX32209" fmla="*/ 1390965 w 6884782"/>
              <a:gd name="connsiteY32209" fmla="*/ 2515383 h 5973007"/>
              <a:gd name="connsiteX32210" fmla="*/ 1024612 w 6884782"/>
              <a:gd name="connsiteY32210" fmla="*/ 2514299 h 5973007"/>
              <a:gd name="connsiteX32211" fmla="*/ 1027503 w 6884782"/>
              <a:gd name="connsiteY32211" fmla="*/ 2527775 h 5973007"/>
              <a:gd name="connsiteX32212" fmla="*/ 1024612 w 6884782"/>
              <a:gd name="connsiteY32212" fmla="*/ 2514299 h 5973007"/>
              <a:gd name="connsiteX32213" fmla="*/ 565844 w 6884782"/>
              <a:gd name="connsiteY32213" fmla="*/ 2513834 h 5973007"/>
              <a:gd name="connsiteX32214" fmla="*/ 571214 w 6884782"/>
              <a:gd name="connsiteY32214" fmla="*/ 2516003 h 5973007"/>
              <a:gd name="connsiteX32215" fmla="*/ 572143 w 6884782"/>
              <a:gd name="connsiteY32215" fmla="*/ 2518481 h 5973007"/>
              <a:gd name="connsiteX32216" fmla="*/ 569355 w 6884782"/>
              <a:gd name="connsiteY32216" fmla="*/ 2518171 h 5973007"/>
              <a:gd name="connsiteX32217" fmla="*/ 568529 w 6884782"/>
              <a:gd name="connsiteY32217" fmla="*/ 2516467 h 5973007"/>
              <a:gd name="connsiteX32218" fmla="*/ 565741 w 6884782"/>
              <a:gd name="connsiteY32218" fmla="*/ 2515383 h 5973007"/>
              <a:gd name="connsiteX32219" fmla="*/ 565844 w 6884782"/>
              <a:gd name="connsiteY32219" fmla="*/ 2513834 h 5973007"/>
              <a:gd name="connsiteX32220" fmla="*/ 5312444 w 6884782"/>
              <a:gd name="connsiteY32220" fmla="*/ 2512468 h 5973007"/>
              <a:gd name="connsiteX32221" fmla="*/ 5313938 w 6884782"/>
              <a:gd name="connsiteY32221" fmla="*/ 2513180 h 5973007"/>
              <a:gd name="connsiteX32222" fmla="*/ 5309243 w 6884782"/>
              <a:gd name="connsiteY32222" fmla="*/ 2516309 h 5973007"/>
              <a:gd name="connsiteX32223" fmla="*/ 5307962 w 6884782"/>
              <a:gd name="connsiteY32223" fmla="*/ 2514887 h 5973007"/>
              <a:gd name="connsiteX32224" fmla="*/ 5312444 w 6884782"/>
              <a:gd name="connsiteY32224" fmla="*/ 2512468 h 5973007"/>
              <a:gd name="connsiteX32225" fmla="*/ 1280248 w 6884782"/>
              <a:gd name="connsiteY32225" fmla="*/ 2512440 h 5973007"/>
              <a:gd name="connsiteX32226" fmla="*/ 1284611 w 6884782"/>
              <a:gd name="connsiteY32226" fmla="*/ 2512595 h 5973007"/>
              <a:gd name="connsiteX32227" fmla="*/ 1286676 w 6884782"/>
              <a:gd name="connsiteY32227" fmla="*/ 2536294 h 5973007"/>
              <a:gd name="connsiteX32228" fmla="*/ 1284817 w 6884782"/>
              <a:gd name="connsiteY32228" fmla="*/ 2539237 h 5973007"/>
              <a:gd name="connsiteX32229" fmla="*/ 1286366 w 6884782"/>
              <a:gd name="connsiteY32229" fmla="*/ 2540631 h 5973007"/>
              <a:gd name="connsiteX32230" fmla="*/ 1289258 w 6884782"/>
              <a:gd name="connsiteY32230" fmla="*/ 2542490 h 5973007"/>
              <a:gd name="connsiteX32231" fmla="*/ 1289774 w 6884782"/>
              <a:gd name="connsiteY32231" fmla="*/ 2545123 h 5973007"/>
              <a:gd name="connsiteX32232" fmla="*/ 1282030 w 6884782"/>
              <a:gd name="connsiteY32232" fmla="*/ 2543574 h 5973007"/>
              <a:gd name="connsiteX32233" fmla="*/ 1281410 w 6884782"/>
              <a:gd name="connsiteY32233" fmla="*/ 2543110 h 5973007"/>
              <a:gd name="connsiteX32234" fmla="*/ 1280894 w 6884782"/>
              <a:gd name="connsiteY32234" fmla="*/ 2542645 h 5973007"/>
              <a:gd name="connsiteX32235" fmla="*/ 1278002 w 6884782"/>
              <a:gd name="connsiteY32235" fmla="*/ 2545588 h 5973007"/>
              <a:gd name="connsiteX32236" fmla="*/ 1267677 w 6884782"/>
              <a:gd name="connsiteY32236" fmla="*/ 2536914 h 5973007"/>
              <a:gd name="connsiteX32237" fmla="*/ 1273975 w 6884782"/>
              <a:gd name="connsiteY32237" fmla="*/ 2530718 h 5973007"/>
              <a:gd name="connsiteX32238" fmla="*/ 1279345 w 6884782"/>
              <a:gd name="connsiteY32238" fmla="*/ 2535365 h 5973007"/>
              <a:gd name="connsiteX32239" fmla="*/ 1280171 w 6884782"/>
              <a:gd name="connsiteY32239" fmla="*/ 2537224 h 5973007"/>
              <a:gd name="connsiteX32240" fmla="*/ 1282442 w 6884782"/>
              <a:gd name="connsiteY32240" fmla="*/ 2537224 h 5973007"/>
              <a:gd name="connsiteX32241" fmla="*/ 1284611 w 6884782"/>
              <a:gd name="connsiteY32241" fmla="*/ 2539082 h 5973007"/>
              <a:gd name="connsiteX32242" fmla="*/ 1278209 w 6884782"/>
              <a:gd name="connsiteY32242" fmla="*/ 2529014 h 5973007"/>
              <a:gd name="connsiteX32243" fmla="*/ 1276247 w 6884782"/>
              <a:gd name="connsiteY32243" fmla="*/ 2522818 h 5973007"/>
              <a:gd name="connsiteX32244" fmla="*/ 1276350 w 6884782"/>
              <a:gd name="connsiteY32244" fmla="*/ 2515074 h 5973007"/>
              <a:gd name="connsiteX32245" fmla="*/ 1280248 w 6884782"/>
              <a:gd name="connsiteY32245" fmla="*/ 2512440 h 5973007"/>
              <a:gd name="connsiteX32246" fmla="*/ 1024818 w 6884782"/>
              <a:gd name="connsiteY32246" fmla="*/ 2512285 h 5973007"/>
              <a:gd name="connsiteX32247" fmla="*/ 1024818 w 6884782"/>
              <a:gd name="connsiteY32247" fmla="*/ 2514299 h 5973007"/>
              <a:gd name="connsiteX32248" fmla="*/ 1023683 w 6884782"/>
              <a:gd name="connsiteY32248" fmla="*/ 2513679 h 5973007"/>
              <a:gd name="connsiteX32249" fmla="*/ 1024818 w 6884782"/>
              <a:gd name="connsiteY32249" fmla="*/ 2512285 h 5973007"/>
              <a:gd name="connsiteX32250" fmla="*/ 810252 w 6884782"/>
              <a:gd name="connsiteY32250" fmla="*/ 2510116 h 5973007"/>
              <a:gd name="connsiteX32251" fmla="*/ 814072 w 6884782"/>
              <a:gd name="connsiteY32251" fmla="*/ 2518171 h 5973007"/>
              <a:gd name="connsiteX32252" fmla="*/ 811697 w 6884782"/>
              <a:gd name="connsiteY32252" fmla="*/ 2524832 h 5973007"/>
              <a:gd name="connsiteX32253" fmla="*/ 814279 w 6884782"/>
              <a:gd name="connsiteY32253" fmla="*/ 2528084 h 5973007"/>
              <a:gd name="connsiteX32254" fmla="*/ 809116 w 6884782"/>
              <a:gd name="connsiteY32254" fmla="*/ 2534436 h 5973007"/>
              <a:gd name="connsiteX32255" fmla="*/ 793215 w 6884782"/>
              <a:gd name="connsiteY32255" fmla="*/ 2529014 h 5973007"/>
              <a:gd name="connsiteX32256" fmla="*/ 793627 w 6884782"/>
              <a:gd name="connsiteY32256" fmla="*/ 2528395 h 5973007"/>
              <a:gd name="connsiteX32257" fmla="*/ 788155 w 6884782"/>
              <a:gd name="connsiteY32257" fmla="*/ 2526846 h 5973007"/>
              <a:gd name="connsiteX32258" fmla="*/ 787949 w 6884782"/>
              <a:gd name="connsiteY32258" fmla="*/ 2523437 h 5973007"/>
              <a:gd name="connsiteX32259" fmla="*/ 793318 w 6884782"/>
              <a:gd name="connsiteY32259" fmla="*/ 2516003 h 5973007"/>
              <a:gd name="connsiteX32260" fmla="*/ 793834 w 6884782"/>
              <a:gd name="connsiteY32260" fmla="*/ 2515693 h 5973007"/>
              <a:gd name="connsiteX32261" fmla="*/ 794247 w 6884782"/>
              <a:gd name="connsiteY32261" fmla="*/ 2514609 h 5973007"/>
              <a:gd name="connsiteX32262" fmla="*/ 793937 w 6884782"/>
              <a:gd name="connsiteY32262" fmla="*/ 2514454 h 5973007"/>
              <a:gd name="connsiteX32263" fmla="*/ 794350 w 6884782"/>
              <a:gd name="connsiteY32263" fmla="*/ 2514299 h 5973007"/>
              <a:gd name="connsiteX32264" fmla="*/ 795073 w 6884782"/>
              <a:gd name="connsiteY32264" fmla="*/ 2512440 h 5973007"/>
              <a:gd name="connsiteX32265" fmla="*/ 796519 w 6884782"/>
              <a:gd name="connsiteY32265" fmla="*/ 2513060 h 5973007"/>
              <a:gd name="connsiteX32266" fmla="*/ 799100 w 6884782"/>
              <a:gd name="connsiteY32266" fmla="*/ 2512285 h 5973007"/>
              <a:gd name="connsiteX32267" fmla="*/ 800856 w 6884782"/>
              <a:gd name="connsiteY32267" fmla="*/ 2513834 h 5973007"/>
              <a:gd name="connsiteX32268" fmla="*/ 800959 w 6884782"/>
              <a:gd name="connsiteY32268" fmla="*/ 2518636 h 5973007"/>
              <a:gd name="connsiteX32269" fmla="*/ 806948 w 6884782"/>
              <a:gd name="connsiteY32269" fmla="*/ 2521889 h 5973007"/>
              <a:gd name="connsiteX32270" fmla="*/ 809942 w 6884782"/>
              <a:gd name="connsiteY32270" fmla="*/ 2523437 h 5973007"/>
              <a:gd name="connsiteX32271" fmla="*/ 809116 w 6884782"/>
              <a:gd name="connsiteY32271" fmla="*/ 2522508 h 5973007"/>
              <a:gd name="connsiteX32272" fmla="*/ 810252 w 6884782"/>
              <a:gd name="connsiteY32272" fmla="*/ 2510116 h 5973007"/>
              <a:gd name="connsiteX32273" fmla="*/ 1307018 w 6884782"/>
              <a:gd name="connsiteY32273" fmla="*/ 2509962 h 5973007"/>
              <a:gd name="connsiteX32274" fmla="*/ 1305778 w 6884782"/>
              <a:gd name="connsiteY32274" fmla="*/ 2514918 h 5973007"/>
              <a:gd name="connsiteX32275" fmla="*/ 1304126 w 6884782"/>
              <a:gd name="connsiteY32275" fmla="*/ 2517706 h 5973007"/>
              <a:gd name="connsiteX32276" fmla="*/ 1305985 w 6884782"/>
              <a:gd name="connsiteY32276" fmla="*/ 2517706 h 5973007"/>
              <a:gd name="connsiteX32277" fmla="*/ 1306192 w 6884782"/>
              <a:gd name="connsiteY32277" fmla="*/ 2517552 h 5973007"/>
              <a:gd name="connsiteX32278" fmla="*/ 1307740 w 6884782"/>
              <a:gd name="connsiteY32278" fmla="*/ 2517862 h 5973007"/>
              <a:gd name="connsiteX32279" fmla="*/ 1309083 w 6884782"/>
              <a:gd name="connsiteY32279" fmla="*/ 2518016 h 5973007"/>
              <a:gd name="connsiteX32280" fmla="*/ 1332419 w 6884782"/>
              <a:gd name="connsiteY32280" fmla="*/ 2526226 h 5973007"/>
              <a:gd name="connsiteX32281" fmla="*/ 1327772 w 6884782"/>
              <a:gd name="connsiteY32281" fmla="*/ 2530563 h 5973007"/>
              <a:gd name="connsiteX32282" fmla="*/ 1327462 w 6884782"/>
              <a:gd name="connsiteY32282" fmla="*/ 2531492 h 5973007"/>
              <a:gd name="connsiteX32283" fmla="*/ 1328495 w 6884782"/>
              <a:gd name="connsiteY32283" fmla="*/ 2532731 h 5973007"/>
              <a:gd name="connsiteX32284" fmla="*/ 1326326 w 6884782"/>
              <a:gd name="connsiteY32284" fmla="*/ 2540321 h 5973007"/>
              <a:gd name="connsiteX32285" fmla="*/ 1325913 w 6884782"/>
              <a:gd name="connsiteY32285" fmla="*/ 2540476 h 5973007"/>
              <a:gd name="connsiteX32286" fmla="*/ 1328804 w 6884782"/>
              <a:gd name="connsiteY32286" fmla="*/ 2542025 h 5973007"/>
              <a:gd name="connsiteX32287" fmla="*/ 1330353 w 6884782"/>
              <a:gd name="connsiteY32287" fmla="*/ 2544349 h 5973007"/>
              <a:gd name="connsiteX32288" fmla="*/ 1322506 w 6884782"/>
              <a:gd name="connsiteY32288" fmla="*/ 2547292 h 5973007"/>
              <a:gd name="connsiteX32289" fmla="*/ 1321990 w 6884782"/>
              <a:gd name="connsiteY32289" fmla="*/ 2547292 h 5973007"/>
              <a:gd name="connsiteX32290" fmla="*/ 1319925 w 6884782"/>
              <a:gd name="connsiteY32290" fmla="*/ 2549925 h 5973007"/>
              <a:gd name="connsiteX32291" fmla="*/ 1316517 w 6884782"/>
              <a:gd name="connsiteY32291" fmla="*/ 2552094 h 5973007"/>
              <a:gd name="connsiteX32292" fmla="*/ 1311870 w 6884782"/>
              <a:gd name="connsiteY32292" fmla="*/ 2552868 h 5973007"/>
              <a:gd name="connsiteX32293" fmla="*/ 1311148 w 6884782"/>
              <a:gd name="connsiteY32293" fmla="*/ 2554882 h 5973007"/>
              <a:gd name="connsiteX32294" fmla="*/ 1298964 w 6884782"/>
              <a:gd name="connsiteY32294" fmla="*/ 2550545 h 5973007"/>
              <a:gd name="connsiteX32295" fmla="*/ 1299170 w 6884782"/>
              <a:gd name="connsiteY32295" fmla="*/ 2550080 h 5973007"/>
              <a:gd name="connsiteX32296" fmla="*/ 1294937 w 6884782"/>
              <a:gd name="connsiteY32296" fmla="*/ 2546827 h 5973007"/>
              <a:gd name="connsiteX32297" fmla="*/ 1288638 w 6884782"/>
              <a:gd name="connsiteY32297" fmla="*/ 2533506 h 5973007"/>
              <a:gd name="connsiteX32298" fmla="*/ 1295350 w 6884782"/>
              <a:gd name="connsiteY32298" fmla="*/ 2520030 h 5973007"/>
              <a:gd name="connsiteX32299" fmla="*/ 1295453 w 6884782"/>
              <a:gd name="connsiteY32299" fmla="*/ 2520030 h 5973007"/>
              <a:gd name="connsiteX32300" fmla="*/ 1299583 w 6884782"/>
              <a:gd name="connsiteY32300" fmla="*/ 2515693 h 5973007"/>
              <a:gd name="connsiteX32301" fmla="*/ 1307018 w 6884782"/>
              <a:gd name="connsiteY32301" fmla="*/ 2509962 h 5973007"/>
              <a:gd name="connsiteX32302" fmla="*/ 574208 w 6884782"/>
              <a:gd name="connsiteY32302" fmla="*/ 2509962 h 5973007"/>
              <a:gd name="connsiteX32303" fmla="*/ 575447 w 6884782"/>
              <a:gd name="connsiteY32303" fmla="*/ 2510581 h 5973007"/>
              <a:gd name="connsiteX32304" fmla="*/ 577203 w 6884782"/>
              <a:gd name="connsiteY32304" fmla="*/ 2512440 h 5973007"/>
              <a:gd name="connsiteX32305" fmla="*/ 578855 w 6884782"/>
              <a:gd name="connsiteY32305" fmla="*/ 2513524 h 5973007"/>
              <a:gd name="connsiteX32306" fmla="*/ 578855 w 6884782"/>
              <a:gd name="connsiteY32306" fmla="*/ 2516158 h 5973007"/>
              <a:gd name="connsiteX32307" fmla="*/ 577099 w 6884782"/>
              <a:gd name="connsiteY32307" fmla="*/ 2515074 h 5973007"/>
              <a:gd name="connsiteX32308" fmla="*/ 572762 w 6884782"/>
              <a:gd name="connsiteY32308" fmla="*/ 2511046 h 5973007"/>
              <a:gd name="connsiteX32309" fmla="*/ 574208 w 6884782"/>
              <a:gd name="connsiteY32309" fmla="*/ 2509962 h 5973007"/>
              <a:gd name="connsiteX32310" fmla="*/ 735185 w 6884782"/>
              <a:gd name="connsiteY32310" fmla="*/ 2509187 h 5973007"/>
              <a:gd name="connsiteX32311" fmla="*/ 741587 w 6884782"/>
              <a:gd name="connsiteY32311" fmla="*/ 2526071 h 5973007"/>
              <a:gd name="connsiteX32312" fmla="*/ 732603 w 6884782"/>
              <a:gd name="connsiteY32312" fmla="*/ 2513370 h 5973007"/>
              <a:gd name="connsiteX32313" fmla="*/ 735185 w 6884782"/>
              <a:gd name="connsiteY32313" fmla="*/ 2509187 h 5973007"/>
              <a:gd name="connsiteX32314" fmla="*/ 966543 w 6884782"/>
              <a:gd name="connsiteY32314" fmla="*/ 2508800 h 5973007"/>
              <a:gd name="connsiteX32315" fmla="*/ 976391 w 6884782"/>
              <a:gd name="connsiteY32315" fmla="*/ 2512130 h 5973007"/>
              <a:gd name="connsiteX32316" fmla="*/ 976288 w 6884782"/>
              <a:gd name="connsiteY32316" fmla="*/ 2516467 h 5973007"/>
              <a:gd name="connsiteX32317" fmla="*/ 972054 w 6884782"/>
              <a:gd name="connsiteY32317" fmla="*/ 2518326 h 5973007"/>
              <a:gd name="connsiteX32318" fmla="*/ 973190 w 6884782"/>
              <a:gd name="connsiteY32318" fmla="*/ 2518481 h 5973007"/>
              <a:gd name="connsiteX32319" fmla="*/ 991466 w 6884782"/>
              <a:gd name="connsiteY32319" fmla="*/ 2531492 h 5973007"/>
              <a:gd name="connsiteX32320" fmla="*/ 991879 w 6884782"/>
              <a:gd name="connsiteY32320" fmla="*/ 2577497 h 5973007"/>
              <a:gd name="connsiteX32321" fmla="*/ 959044 w 6884782"/>
              <a:gd name="connsiteY32321" fmla="*/ 2587874 h 5973007"/>
              <a:gd name="connsiteX32322" fmla="*/ 940458 w 6884782"/>
              <a:gd name="connsiteY32322" fmla="*/ 2578116 h 5973007"/>
              <a:gd name="connsiteX32323" fmla="*/ 928480 w 6884782"/>
              <a:gd name="connsiteY32323" fmla="*/ 2554417 h 5973007"/>
              <a:gd name="connsiteX32324" fmla="*/ 933230 w 6884782"/>
              <a:gd name="connsiteY32324" fmla="*/ 2540631 h 5973007"/>
              <a:gd name="connsiteX32325" fmla="*/ 935811 w 6884782"/>
              <a:gd name="connsiteY32325" fmla="*/ 2533196 h 5973007"/>
              <a:gd name="connsiteX32326" fmla="*/ 932507 w 6884782"/>
              <a:gd name="connsiteY32326" fmla="*/ 2531492 h 5973007"/>
              <a:gd name="connsiteX32327" fmla="*/ 937051 w 6884782"/>
              <a:gd name="connsiteY32327" fmla="*/ 2529479 h 5973007"/>
              <a:gd name="connsiteX32328" fmla="*/ 937980 w 6884782"/>
              <a:gd name="connsiteY32328" fmla="*/ 2526846 h 5973007"/>
              <a:gd name="connsiteX32329" fmla="*/ 955120 w 6884782"/>
              <a:gd name="connsiteY32329" fmla="*/ 2520340 h 5973007"/>
              <a:gd name="connsiteX32330" fmla="*/ 957908 w 6884782"/>
              <a:gd name="connsiteY32330" fmla="*/ 2519410 h 5973007"/>
              <a:gd name="connsiteX32331" fmla="*/ 955843 w 6884782"/>
              <a:gd name="connsiteY32331" fmla="*/ 2518016 h 5973007"/>
              <a:gd name="connsiteX32332" fmla="*/ 966543 w 6884782"/>
              <a:gd name="connsiteY32332" fmla="*/ 2508800 h 5973007"/>
              <a:gd name="connsiteX32333" fmla="*/ 6109567 w 6884782"/>
              <a:gd name="connsiteY32333" fmla="*/ 2508627 h 5973007"/>
              <a:gd name="connsiteX32334" fmla="*/ 6106793 w 6884782"/>
              <a:gd name="connsiteY32334" fmla="*/ 2509338 h 5973007"/>
              <a:gd name="connsiteX32335" fmla="*/ 6107601 w 6884782"/>
              <a:gd name="connsiteY32335" fmla="*/ 2510631 h 5973007"/>
              <a:gd name="connsiteX32336" fmla="*/ 6113930 w 6884782"/>
              <a:gd name="connsiteY32336" fmla="*/ 2510289 h 5973007"/>
              <a:gd name="connsiteX32337" fmla="*/ 1023063 w 6884782"/>
              <a:gd name="connsiteY32337" fmla="*/ 2508258 h 5973007"/>
              <a:gd name="connsiteX32338" fmla="*/ 1023063 w 6884782"/>
              <a:gd name="connsiteY32338" fmla="*/ 2510272 h 5973007"/>
              <a:gd name="connsiteX32339" fmla="*/ 1022340 w 6884782"/>
              <a:gd name="connsiteY32339" fmla="*/ 2509807 h 5973007"/>
              <a:gd name="connsiteX32340" fmla="*/ 1022340 w 6884782"/>
              <a:gd name="connsiteY32340" fmla="*/ 2508413 h 5973007"/>
              <a:gd name="connsiteX32341" fmla="*/ 1023063 w 6884782"/>
              <a:gd name="connsiteY32341" fmla="*/ 2508258 h 5973007"/>
              <a:gd name="connsiteX32342" fmla="*/ 1079854 w 6884782"/>
              <a:gd name="connsiteY32342" fmla="*/ 2506245 h 5973007"/>
              <a:gd name="connsiteX32343" fmla="*/ 1080887 w 6884782"/>
              <a:gd name="connsiteY32343" fmla="*/ 2506554 h 5973007"/>
              <a:gd name="connsiteX32344" fmla="*/ 1080783 w 6884782"/>
              <a:gd name="connsiteY32344" fmla="*/ 2507329 h 5973007"/>
              <a:gd name="connsiteX32345" fmla="*/ 1079338 w 6884782"/>
              <a:gd name="connsiteY32345" fmla="*/ 2506399 h 5973007"/>
              <a:gd name="connsiteX32346" fmla="*/ 1079854 w 6884782"/>
              <a:gd name="connsiteY32346" fmla="*/ 2506245 h 5973007"/>
              <a:gd name="connsiteX32347" fmla="*/ 641634 w 6884782"/>
              <a:gd name="connsiteY32347" fmla="*/ 2506245 h 5973007"/>
              <a:gd name="connsiteX32348" fmla="*/ 646797 w 6884782"/>
              <a:gd name="connsiteY32348" fmla="*/ 2506864 h 5973007"/>
              <a:gd name="connsiteX32349" fmla="*/ 644113 w 6884782"/>
              <a:gd name="connsiteY32349" fmla="*/ 2512285 h 5973007"/>
              <a:gd name="connsiteX32350" fmla="*/ 642357 w 6884782"/>
              <a:gd name="connsiteY32350" fmla="*/ 2511356 h 5973007"/>
              <a:gd name="connsiteX32351" fmla="*/ 641015 w 6884782"/>
              <a:gd name="connsiteY32351" fmla="*/ 2508723 h 5973007"/>
              <a:gd name="connsiteX32352" fmla="*/ 641634 w 6884782"/>
              <a:gd name="connsiteY32352" fmla="*/ 2506245 h 5973007"/>
              <a:gd name="connsiteX32353" fmla="*/ 895438 w 6884782"/>
              <a:gd name="connsiteY32353" fmla="*/ 2505935 h 5973007"/>
              <a:gd name="connsiteX32354" fmla="*/ 907313 w 6884782"/>
              <a:gd name="connsiteY32354" fmla="*/ 2522818 h 5973007"/>
              <a:gd name="connsiteX32355" fmla="*/ 903079 w 6884782"/>
              <a:gd name="connsiteY32355" fmla="*/ 2525296 h 5973007"/>
              <a:gd name="connsiteX32356" fmla="*/ 904938 w 6884782"/>
              <a:gd name="connsiteY32356" fmla="*/ 2528859 h 5973007"/>
              <a:gd name="connsiteX32357" fmla="*/ 905351 w 6884782"/>
              <a:gd name="connsiteY32357" fmla="*/ 2531802 h 5973007"/>
              <a:gd name="connsiteX32358" fmla="*/ 909378 w 6884782"/>
              <a:gd name="connsiteY32358" fmla="*/ 2531647 h 5973007"/>
              <a:gd name="connsiteX32359" fmla="*/ 908861 w 6884782"/>
              <a:gd name="connsiteY32359" fmla="*/ 2536759 h 5973007"/>
              <a:gd name="connsiteX32360" fmla="*/ 905557 w 6884782"/>
              <a:gd name="connsiteY32360" fmla="*/ 2540631 h 5973007"/>
              <a:gd name="connsiteX32361" fmla="*/ 912475 w 6884782"/>
              <a:gd name="connsiteY32361" fmla="*/ 2541560 h 5973007"/>
              <a:gd name="connsiteX32362" fmla="*/ 919394 w 6884782"/>
              <a:gd name="connsiteY32362" fmla="*/ 2546207 h 5973007"/>
              <a:gd name="connsiteX32363" fmla="*/ 921562 w 6884782"/>
              <a:gd name="connsiteY32363" fmla="*/ 2572695 h 5973007"/>
              <a:gd name="connsiteX32364" fmla="*/ 918981 w 6884782"/>
              <a:gd name="connsiteY32364" fmla="*/ 2573779 h 5973007"/>
              <a:gd name="connsiteX32365" fmla="*/ 898949 w 6884782"/>
              <a:gd name="connsiteY32365" fmla="*/ 2550854 h 5973007"/>
              <a:gd name="connsiteX32366" fmla="*/ 900188 w 6884782"/>
              <a:gd name="connsiteY32366" fmla="*/ 2545433 h 5973007"/>
              <a:gd name="connsiteX32367" fmla="*/ 902150 w 6884782"/>
              <a:gd name="connsiteY32367" fmla="*/ 2542025 h 5973007"/>
              <a:gd name="connsiteX32368" fmla="*/ 900291 w 6884782"/>
              <a:gd name="connsiteY32368" fmla="*/ 2542955 h 5973007"/>
              <a:gd name="connsiteX32369" fmla="*/ 900085 w 6884782"/>
              <a:gd name="connsiteY32369" fmla="*/ 2543574 h 5973007"/>
              <a:gd name="connsiteX32370" fmla="*/ 892857 w 6884782"/>
              <a:gd name="connsiteY32370" fmla="*/ 2552094 h 5973007"/>
              <a:gd name="connsiteX32371" fmla="*/ 895335 w 6884782"/>
              <a:gd name="connsiteY32371" fmla="*/ 2556121 h 5973007"/>
              <a:gd name="connsiteX32372" fmla="*/ 893167 w 6884782"/>
              <a:gd name="connsiteY32372" fmla="*/ 2568667 h 5973007"/>
              <a:gd name="connsiteX32373" fmla="*/ 889759 w 6884782"/>
              <a:gd name="connsiteY32373" fmla="*/ 2560613 h 5973007"/>
              <a:gd name="connsiteX32374" fmla="*/ 884390 w 6884782"/>
              <a:gd name="connsiteY32374" fmla="*/ 2553023 h 5973007"/>
              <a:gd name="connsiteX32375" fmla="*/ 882015 w 6884782"/>
              <a:gd name="connsiteY32375" fmla="*/ 2552403 h 5973007"/>
              <a:gd name="connsiteX32376" fmla="*/ 875303 w 6884782"/>
              <a:gd name="connsiteY32376" fmla="*/ 2546982 h 5973007"/>
              <a:gd name="connsiteX32377" fmla="*/ 877678 w 6884782"/>
              <a:gd name="connsiteY32377" fmla="*/ 2537378 h 5973007"/>
              <a:gd name="connsiteX32378" fmla="*/ 878401 w 6884782"/>
              <a:gd name="connsiteY32378" fmla="*/ 2535365 h 5973007"/>
              <a:gd name="connsiteX32379" fmla="*/ 875923 w 6884782"/>
              <a:gd name="connsiteY32379" fmla="*/ 2537224 h 5973007"/>
              <a:gd name="connsiteX32380" fmla="*/ 861054 w 6884782"/>
              <a:gd name="connsiteY32380" fmla="*/ 2540476 h 5973007"/>
              <a:gd name="connsiteX32381" fmla="*/ 859402 w 6884782"/>
              <a:gd name="connsiteY32381" fmla="*/ 2538463 h 5973007"/>
              <a:gd name="connsiteX32382" fmla="*/ 858782 w 6884782"/>
              <a:gd name="connsiteY32382" fmla="*/ 2532886 h 5973007"/>
              <a:gd name="connsiteX32383" fmla="*/ 888004 w 6884782"/>
              <a:gd name="connsiteY32383" fmla="*/ 2509807 h 5973007"/>
              <a:gd name="connsiteX32384" fmla="*/ 889140 w 6884782"/>
              <a:gd name="connsiteY32384" fmla="*/ 2518791 h 5973007"/>
              <a:gd name="connsiteX32385" fmla="*/ 889036 w 6884782"/>
              <a:gd name="connsiteY32385" fmla="*/ 2518946 h 5973007"/>
              <a:gd name="connsiteX32386" fmla="*/ 891101 w 6884782"/>
              <a:gd name="connsiteY32386" fmla="*/ 2519256 h 5973007"/>
              <a:gd name="connsiteX32387" fmla="*/ 892650 w 6884782"/>
              <a:gd name="connsiteY32387" fmla="*/ 2518946 h 5973007"/>
              <a:gd name="connsiteX32388" fmla="*/ 891618 w 6884782"/>
              <a:gd name="connsiteY32388" fmla="*/ 2516932 h 5973007"/>
              <a:gd name="connsiteX32389" fmla="*/ 895438 w 6884782"/>
              <a:gd name="connsiteY32389" fmla="*/ 2505935 h 5973007"/>
              <a:gd name="connsiteX32390" fmla="*/ 817170 w 6884782"/>
              <a:gd name="connsiteY32390" fmla="*/ 2505625 h 5973007"/>
              <a:gd name="connsiteX32391" fmla="*/ 820681 w 6884782"/>
              <a:gd name="connsiteY32391" fmla="*/ 2508413 h 5973007"/>
              <a:gd name="connsiteX32392" fmla="*/ 819855 w 6884782"/>
              <a:gd name="connsiteY32392" fmla="*/ 2507793 h 5973007"/>
              <a:gd name="connsiteX32393" fmla="*/ 818925 w 6884782"/>
              <a:gd name="connsiteY32393" fmla="*/ 2509187 h 5973007"/>
              <a:gd name="connsiteX32394" fmla="*/ 819752 w 6884782"/>
              <a:gd name="connsiteY32394" fmla="*/ 2509652 h 5973007"/>
              <a:gd name="connsiteX32395" fmla="*/ 818099 w 6884782"/>
              <a:gd name="connsiteY32395" fmla="*/ 2510581 h 5973007"/>
              <a:gd name="connsiteX32396" fmla="*/ 811388 w 6884782"/>
              <a:gd name="connsiteY32396" fmla="*/ 2509187 h 5973007"/>
              <a:gd name="connsiteX32397" fmla="*/ 813556 w 6884782"/>
              <a:gd name="connsiteY32397" fmla="*/ 2505780 h 5973007"/>
              <a:gd name="connsiteX32398" fmla="*/ 817170 w 6884782"/>
              <a:gd name="connsiteY32398" fmla="*/ 2505625 h 5973007"/>
              <a:gd name="connsiteX32399" fmla="*/ 1144596 w 6884782"/>
              <a:gd name="connsiteY32399" fmla="*/ 2504695 h 5973007"/>
              <a:gd name="connsiteX32400" fmla="*/ 1148519 w 6884782"/>
              <a:gd name="connsiteY32400" fmla="*/ 2509342 h 5973007"/>
              <a:gd name="connsiteX32401" fmla="*/ 1150274 w 6884782"/>
              <a:gd name="connsiteY32401" fmla="*/ 2517087 h 5973007"/>
              <a:gd name="connsiteX32402" fmla="*/ 1149035 w 6884782"/>
              <a:gd name="connsiteY32402" fmla="*/ 2516778 h 5973007"/>
              <a:gd name="connsiteX32403" fmla="*/ 1144596 w 6884782"/>
              <a:gd name="connsiteY32403" fmla="*/ 2504695 h 5973007"/>
              <a:gd name="connsiteX32404" fmla="*/ 1043482 w 6884782"/>
              <a:gd name="connsiteY32404" fmla="*/ 2504095 h 5973007"/>
              <a:gd name="connsiteX32405" fmla="*/ 1051252 w 6884782"/>
              <a:gd name="connsiteY32405" fmla="*/ 2505780 h 5973007"/>
              <a:gd name="connsiteX32406" fmla="*/ 1042991 w 6884782"/>
              <a:gd name="connsiteY32406" fmla="*/ 2515383 h 5973007"/>
              <a:gd name="connsiteX32407" fmla="*/ 1039274 w 6884782"/>
              <a:gd name="connsiteY32407" fmla="*/ 2510891 h 5973007"/>
              <a:gd name="connsiteX32408" fmla="*/ 1043482 w 6884782"/>
              <a:gd name="connsiteY32408" fmla="*/ 2504095 h 5973007"/>
              <a:gd name="connsiteX32409" fmla="*/ 1359265 w 6884782"/>
              <a:gd name="connsiteY32409" fmla="*/ 2504076 h 5973007"/>
              <a:gd name="connsiteX32410" fmla="*/ 1365667 w 6884782"/>
              <a:gd name="connsiteY32410" fmla="*/ 2508568 h 5973007"/>
              <a:gd name="connsiteX32411" fmla="*/ 1363808 w 6884782"/>
              <a:gd name="connsiteY32411" fmla="*/ 2517242 h 5973007"/>
              <a:gd name="connsiteX32412" fmla="*/ 1357613 w 6884782"/>
              <a:gd name="connsiteY32412" fmla="*/ 2508413 h 5973007"/>
              <a:gd name="connsiteX32413" fmla="*/ 1359265 w 6884782"/>
              <a:gd name="connsiteY32413" fmla="*/ 2504076 h 5973007"/>
              <a:gd name="connsiteX32414" fmla="*/ 1260656 w 6884782"/>
              <a:gd name="connsiteY32414" fmla="*/ 2504076 h 5973007"/>
              <a:gd name="connsiteX32415" fmla="*/ 1260759 w 6884782"/>
              <a:gd name="connsiteY32415" fmla="*/ 2504850 h 5973007"/>
              <a:gd name="connsiteX32416" fmla="*/ 1258797 w 6884782"/>
              <a:gd name="connsiteY32416" fmla="*/ 2504385 h 5973007"/>
              <a:gd name="connsiteX32417" fmla="*/ 1260656 w 6884782"/>
              <a:gd name="connsiteY32417" fmla="*/ 2504076 h 5973007"/>
              <a:gd name="connsiteX32418" fmla="*/ 1255286 w 6884782"/>
              <a:gd name="connsiteY32418" fmla="*/ 2504076 h 5973007"/>
              <a:gd name="connsiteX32419" fmla="*/ 1256319 w 6884782"/>
              <a:gd name="connsiteY32419" fmla="*/ 2505470 h 5973007"/>
              <a:gd name="connsiteX32420" fmla="*/ 1254357 w 6884782"/>
              <a:gd name="connsiteY32420" fmla="*/ 2505005 h 5973007"/>
              <a:gd name="connsiteX32421" fmla="*/ 1255286 w 6884782"/>
              <a:gd name="connsiteY32421" fmla="*/ 2504076 h 5973007"/>
              <a:gd name="connsiteX32422" fmla="*/ 949544 w 6884782"/>
              <a:gd name="connsiteY32422" fmla="*/ 2503921 h 5973007"/>
              <a:gd name="connsiteX32423" fmla="*/ 946343 w 6884782"/>
              <a:gd name="connsiteY32423" fmla="*/ 2510736 h 5973007"/>
              <a:gd name="connsiteX32424" fmla="*/ 944382 w 6884782"/>
              <a:gd name="connsiteY32424" fmla="*/ 2507019 h 5973007"/>
              <a:gd name="connsiteX32425" fmla="*/ 947170 w 6884782"/>
              <a:gd name="connsiteY32425" fmla="*/ 2504385 h 5973007"/>
              <a:gd name="connsiteX32426" fmla="*/ 949544 w 6884782"/>
              <a:gd name="connsiteY32426" fmla="*/ 2503921 h 5973007"/>
              <a:gd name="connsiteX32427" fmla="*/ 608902 w 6884782"/>
              <a:gd name="connsiteY32427" fmla="*/ 2503766 h 5973007"/>
              <a:gd name="connsiteX32428" fmla="*/ 615407 w 6884782"/>
              <a:gd name="connsiteY32428" fmla="*/ 2513370 h 5973007"/>
              <a:gd name="connsiteX32429" fmla="*/ 608180 w 6884782"/>
              <a:gd name="connsiteY32429" fmla="*/ 2511511 h 5973007"/>
              <a:gd name="connsiteX32430" fmla="*/ 607560 w 6884782"/>
              <a:gd name="connsiteY32430" fmla="*/ 2507793 h 5973007"/>
              <a:gd name="connsiteX32431" fmla="*/ 608902 w 6884782"/>
              <a:gd name="connsiteY32431" fmla="*/ 2503766 h 5973007"/>
              <a:gd name="connsiteX32432" fmla="*/ 1264889 w 6884782"/>
              <a:gd name="connsiteY32432" fmla="*/ 2503611 h 5973007"/>
              <a:gd name="connsiteX32433" fmla="*/ 1265922 w 6884782"/>
              <a:gd name="connsiteY32433" fmla="*/ 2505935 h 5973007"/>
              <a:gd name="connsiteX32434" fmla="*/ 1261275 w 6884782"/>
              <a:gd name="connsiteY32434" fmla="*/ 2504076 h 5973007"/>
              <a:gd name="connsiteX32435" fmla="*/ 1264889 w 6884782"/>
              <a:gd name="connsiteY32435" fmla="*/ 2503611 h 5973007"/>
              <a:gd name="connsiteX32436" fmla="*/ 1345842 w 6884782"/>
              <a:gd name="connsiteY32436" fmla="*/ 2503146 h 5973007"/>
              <a:gd name="connsiteX32437" fmla="*/ 1340369 w 6884782"/>
              <a:gd name="connsiteY32437" fmla="*/ 2507483 h 5973007"/>
              <a:gd name="connsiteX32438" fmla="*/ 1345842 w 6884782"/>
              <a:gd name="connsiteY32438" fmla="*/ 2503146 h 5973007"/>
              <a:gd name="connsiteX32439" fmla="*/ 1022960 w 6884782"/>
              <a:gd name="connsiteY32439" fmla="*/ 2502992 h 5973007"/>
              <a:gd name="connsiteX32440" fmla="*/ 1023063 w 6884782"/>
              <a:gd name="connsiteY32440" fmla="*/ 2505625 h 5973007"/>
              <a:gd name="connsiteX32441" fmla="*/ 1022857 w 6884782"/>
              <a:gd name="connsiteY32441" fmla="*/ 2506089 h 5973007"/>
              <a:gd name="connsiteX32442" fmla="*/ 1023269 w 6884782"/>
              <a:gd name="connsiteY32442" fmla="*/ 2505935 h 5973007"/>
              <a:gd name="connsiteX32443" fmla="*/ 1022443 w 6884782"/>
              <a:gd name="connsiteY32443" fmla="*/ 2507173 h 5973007"/>
              <a:gd name="connsiteX32444" fmla="*/ 1022237 w 6884782"/>
              <a:gd name="connsiteY32444" fmla="*/ 2507948 h 5973007"/>
              <a:gd name="connsiteX32445" fmla="*/ 1022030 w 6884782"/>
              <a:gd name="connsiteY32445" fmla="*/ 2507638 h 5973007"/>
              <a:gd name="connsiteX32446" fmla="*/ 1020172 w 6884782"/>
              <a:gd name="connsiteY32446" fmla="*/ 2509187 h 5973007"/>
              <a:gd name="connsiteX32447" fmla="*/ 1019965 w 6884782"/>
              <a:gd name="connsiteY32447" fmla="*/ 2510736 h 5973007"/>
              <a:gd name="connsiteX32448" fmla="*/ 1013460 w 6884782"/>
              <a:gd name="connsiteY32448" fmla="*/ 2513679 h 5973007"/>
              <a:gd name="connsiteX32449" fmla="*/ 1016558 w 6884782"/>
              <a:gd name="connsiteY32449" fmla="*/ 2510581 h 5973007"/>
              <a:gd name="connsiteX32450" fmla="*/ 1018520 w 6884782"/>
              <a:gd name="connsiteY32450" fmla="*/ 2509032 h 5973007"/>
              <a:gd name="connsiteX32451" fmla="*/ 1019655 w 6884782"/>
              <a:gd name="connsiteY32451" fmla="*/ 2507329 h 5973007"/>
              <a:gd name="connsiteX32452" fmla="*/ 1021307 w 6884782"/>
              <a:gd name="connsiteY32452" fmla="*/ 2506399 h 5973007"/>
              <a:gd name="connsiteX32453" fmla="*/ 1021204 w 6884782"/>
              <a:gd name="connsiteY32453" fmla="*/ 2506399 h 5973007"/>
              <a:gd name="connsiteX32454" fmla="*/ 1020791 w 6884782"/>
              <a:gd name="connsiteY32454" fmla="*/ 2504541 h 5973007"/>
              <a:gd name="connsiteX32455" fmla="*/ 1021514 w 6884782"/>
              <a:gd name="connsiteY32455" fmla="*/ 2503611 h 5973007"/>
              <a:gd name="connsiteX32456" fmla="*/ 1022960 w 6884782"/>
              <a:gd name="connsiteY32456" fmla="*/ 2502992 h 5973007"/>
              <a:gd name="connsiteX32457" fmla="*/ 1134993 w 6884782"/>
              <a:gd name="connsiteY32457" fmla="*/ 2502217 h 5973007"/>
              <a:gd name="connsiteX32458" fmla="*/ 1135922 w 6884782"/>
              <a:gd name="connsiteY32458" fmla="*/ 2502527 h 5973007"/>
              <a:gd name="connsiteX32459" fmla="*/ 1135715 w 6884782"/>
              <a:gd name="connsiteY32459" fmla="*/ 2502372 h 5973007"/>
              <a:gd name="connsiteX32460" fmla="*/ 1175108 w 6884782"/>
              <a:gd name="connsiteY32460" fmla="*/ 2500959 h 5973007"/>
              <a:gd name="connsiteX32461" fmla="*/ 1181974 w 6884782"/>
              <a:gd name="connsiteY32461" fmla="*/ 2501752 h 5973007"/>
              <a:gd name="connsiteX32462" fmla="*/ 1183833 w 6884782"/>
              <a:gd name="connsiteY32462" fmla="*/ 2502837 h 5973007"/>
              <a:gd name="connsiteX32463" fmla="*/ 1184039 w 6884782"/>
              <a:gd name="connsiteY32463" fmla="*/ 2504850 h 5973007"/>
              <a:gd name="connsiteX32464" fmla="*/ 1172991 w 6884782"/>
              <a:gd name="connsiteY32464" fmla="*/ 2506864 h 5973007"/>
              <a:gd name="connsiteX32465" fmla="*/ 1170719 w 6884782"/>
              <a:gd name="connsiteY32465" fmla="*/ 2505625 h 5973007"/>
              <a:gd name="connsiteX32466" fmla="*/ 1168757 w 6884782"/>
              <a:gd name="connsiteY32466" fmla="*/ 2505315 h 5973007"/>
              <a:gd name="connsiteX32467" fmla="*/ 1164524 w 6884782"/>
              <a:gd name="connsiteY32467" fmla="*/ 2500978 h 5973007"/>
              <a:gd name="connsiteX32468" fmla="*/ 1175108 w 6884782"/>
              <a:gd name="connsiteY32468" fmla="*/ 2500959 h 5973007"/>
              <a:gd name="connsiteX32469" fmla="*/ 590523 w 6884782"/>
              <a:gd name="connsiteY32469" fmla="*/ 2500513 h 5973007"/>
              <a:gd name="connsiteX32470" fmla="*/ 593104 w 6884782"/>
              <a:gd name="connsiteY32470" fmla="*/ 2500823 h 5973007"/>
              <a:gd name="connsiteX32471" fmla="*/ 596408 w 6884782"/>
              <a:gd name="connsiteY32471" fmla="*/ 2508413 h 5973007"/>
              <a:gd name="connsiteX32472" fmla="*/ 590316 w 6884782"/>
              <a:gd name="connsiteY32472" fmla="*/ 2502527 h 5973007"/>
              <a:gd name="connsiteX32473" fmla="*/ 590523 w 6884782"/>
              <a:gd name="connsiteY32473" fmla="*/ 2500513 h 5973007"/>
              <a:gd name="connsiteX32474" fmla="*/ 5107348 w 6884782"/>
              <a:gd name="connsiteY32474" fmla="*/ 2500375 h 5973007"/>
              <a:gd name="connsiteX32475" fmla="*/ 5132105 w 6884782"/>
              <a:gd name="connsiteY32475" fmla="*/ 2553015 h 5973007"/>
              <a:gd name="connsiteX32476" fmla="*/ 5093049 w 6884782"/>
              <a:gd name="connsiteY32476" fmla="*/ 2549885 h 5973007"/>
              <a:gd name="connsiteX32477" fmla="*/ 5091982 w 6884782"/>
              <a:gd name="connsiteY32477" fmla="*/ 2547466 h 5973007"/>
              <a:gd name="connsiteX32478" fmla="*/ 5091342 w 6884782"/>
              <a:gd name="connsiteY32478" fmla="*/ 2549600 h 5973007"/>
              <a:gd name="connsiteX32479" fmla="*/ 5088140 w 6884782"/>
              <a:gd name="connsiteY32479" fmla="*/ 2557994 h 5973007"/>
              <a:gd name="connsiteX32480" fmla="*/ 5084939 w 6884782"/>
              <a:gd name="connsiteY32480" fmla="*/ 2563116 h 5973007"/>
              <a:gd name="connsiteX32481" fmla="*/ 5090274 w 6884782"/>
              <a:gd name="connsiteY32481" fmla="*/ 2565250 h 5973007"/>
              <a:gd name="connsiteX32482" fmla="*/ 5095397 w 6884782"/>
              <a:gd name="connsiteY32482" fmla="*/ 2573074 h 5973007"/>
              <a:gd name="connsiteX32483" fmla="*/ 5087286 w 6884782"/>
              <a:gd name="connsiteY32483" fmla="*/ 2584883 h 5973007"/>
              <a:gd name="connsiteX32484" fmla="*/ 5078963 w 6884782"/>
              <a:gd name="connsiteY32484" fmla="*/ 2588297 h 5973007"/>
              <a:gd name="connsiteX32485" fmla="*/ 5075335 w 6884782"/>
              <a:gd name="connsiteY32485" fmla="*/ 2595126 h 5973007"/>
              <a:gd name="connsiteX32486" fmla="*/ 5066158 w 6884782"/>
              <a:gd name="connsiteY32486" fmla="*/ 2600533 h 5973007"/>
              <a:gd name="connsiteX32487" fmla="*/ 5053993 w 6884782"/>
              <a:gd name="connsiteY32487" fmla="*/ 2599253 h 5973007"/>
              <a:gd name="connsiteX32488" fmla="*/ 5051432 w 6884782"/>
              <a:gd name="connsiteY32488" fmla="*/ 2597971 h 5973007"/>
              <a:gd name="connsiteX32489" fmla="*/ 5050792 w 6884782"/>
              <a:gd name="connsiteY32489" fmla="*/ 2598398 h 5973007"/>
              <a:gd name="connsiteX32490" fmla="*/ 5039907 w 6884782"/>
              <a:gd name="connsiteY32490" fmla="*/ 2600533 h 5973007"/>
              <a:gd name="connsiteX32491" fmla="*/ 5043535 w 6884782"/>
              <a:gd name="connsiteY32491" fmla="*/ 2574782 h 5973007"/>
              <a:gd name="connsiteX32492" fmla="*/ 5048658 w 6884782"/>
              <a:gd name="connsiteY32492" fmla="*/ 2584456 h 5973007"/>
              <a:gd name="connsiteX32493" fmla="*/ 5051646 w 6884782"/>
              <a:gd name="connsiteY32493" fmla="*/ 2587728 h 5973007"/>
              <a:gd name="connsiteX32494" fmla="*/ 5061463 w 6884782"/>
              <a:gd name="connsiteY32494" fmla="*/ 2581611 h 5973007"/>
              <a:gd name="connsiteX32495" fmla="*/ 5068292 w 6884782"/>
              <a:gd name="connsiteY32495" fmla="*/ 2579761 h 5973007"/>
              <a:gd name="connsiteX32496" fmla="*/ 5067225 w 6884782"/>
              <a:gd name="connsiteY32496" fmla="*/ 2577343 h 5973007"/>
              <a:gd name="connsiteX32497" fmla="*/ 5072347 w 6884782"/>
              <a:gd name="connsiteY32497" fmla="*/ 2561551 h 5973007"/>
              <a:gd name="connsiteX32498" fmla="*/ 5079603 w 6884782"/>
              <a:gd name="connsiteY32498" fmla="*/ 2560839 h 5973007"/>
              <a:gd name="connsiteX32499" fmla="*/ 5081311 w 6884782"/>
              <a:gd name="connsiteY32499" fmla="*/ 2561551 h 5973007"/>
              <a:gd name="connsiteX32500" fmla="*/ 5080030 w 6884782"/>
              <a:gd name="connsiteY32500" fmla="*/ 2556714 h 5973007"/>
              <a:gd name="connsiteX32501" fmla="*/ 5082378 w 6884782"/>
              <a:gd name="connsiteY32501" fmla="*/ 2544763 h 5973007"/>
              <a:gd name="connsiteX32502" fmla="*/ 5085793 w 6884782"/>
              <a:gd name="connsiteY32502" fmla="*/ 2539499 h 5973007"/>
              <a:gd name="connsiteX32503" fmla="*/ 5083872 w 6884782"/>
              <a:gd name="connsiteY32503" fmla="*/ 2539214 h 5973007"/>
              <a:gd name="connsiteX32504" fmla="*/ 5080671 w 6884782"/>
              <a:gd name="connsiteY32504" fmla="*/ 2505782 h 5973007"/>
              <a:gd name="connsiteX32505" fmla="*/ 5086433 w 6884782"/>
              <a:gd name="connsiteY32505" fmla="*/ 2504643 h 5973007"/>
              <a:gd name="connsiteX32506" fmla="*/ 5094116 w 6884782"/>
              <a:gd name="connsiteY32506" fmla="*/ 2510334 h 5973007"/>
              <a:gd name="connsiteX32507" fmla="*/ 5096037 w 6884782"/>
              <a:gd name="connsiteY32507" fmla="*/ 2508200 h 5973007"/>
              <a:gd name="connsiteX32508" fmla="*/ 5107348 w 6884782"/>
              <a:gd name="connsiteY32508" fmla="*/ 2500375 h 5973007"/>
              <a:gd name="connsiteX32509" fmla="*/ 808393 w 6884782"/>
              <a:gd name="connsiteY32509" fmla="*/ 2500358 h 5973007"/>
              <a:gd name="connsiteX32510" fmla="*/ 809839 w 6884782"/>
              <a:gd name="connsiteY32510" fmla="*/ 2507173 h 5973007"/>
              <a:gd name="connsiteX32511" fmla="*/ 804676 w 6884782"/>
              <a:gd name="connsiteY32511" fmla="*/ 2506554 h 5973007"/>
              <a:gd name="connsiteX32512" fmla="*/ 803231 w 6884782"/>
              <a:gd name="connsiteY32512" fmla="*/ 2504076 h 5973007"/>
              <a:gd name="connsiteX32513" fmla="*/ 804986 w 6884782"/>
              <a:gd name="connsiteY32513" fmla="*/ 2501442 h 5973007"/>
              <a:gd name="connsiteX32514" fmla="*/ 808393 w 6884782"/>
              <a:gd name="connsiteY32514" fmla="*/ 2500358 h 5973007"/>
              <a:gd name="connsiteX32515" fmla="*/ 561818 w 6884782"/>
              <a:gd name="connsiteY32515" fmla="*/ 2499893 h 5973007"/>
              <a:gd name="connsiteX32516" fmla="*/ 566154 w 6884782"/>
              <a:gd name="connsiteY32516" fmla="*/ 2501288 h 5973007"/>
              <a:gd name="connsiteX32517" fmla="*/ 568632 w 6884782"/>
              <a:gd name="connsiteY32517" fmla="*/ 2509032 h 5973007"/>
              <a:gd name="connsiteX32518" fmla="*/ 565122 w 6884782"/>
              <a:gd name="connsiteY32518" fmla="*/ 2508568 h 5973007"/>
              <a:gd name="connsiteX32519" fmla="*/ 561198 w 6884782"/>
              <a:gd name="connsiteY32519" fmla="*/ 2501907 h 5973007"/>
              <a:gd name="connsiteX32520" fmla="*/ 561818 w 6884782"/>
              <a:gd name="connsiteY32520" fmla="*/ 2499893 h 5973007"/>
              <a:gd name="connsiteX32521" fmla="*/ 722897 w 6884782"/>
              <a:gd name="connsiteY32521" fmla="*/ 2499584 h 5973007"/>
              <a:gd name="connsiteX32522" fmla="*/ 723929 w 6884782"/>
              <a:gd name="connsiteY32522" fmla="*/ 2501133 h 5973007"/>
              <a:gd name="connsiteX32523" fmla="*/ 722278 w 6884782"/>
              <a:gd name="connsiteY32523" fmla="*/ 2502992 h 5973007"/>
              <a:gd name="connsiteX32524" fmla="*/ 717115 w 6884782"/>
              <a:gd name="connsiteY32524" fmla="*/ 2503766 h 5973007"/>
              <a:gd name="connsiteX32525" fmla="*/ 716185 w 6884782"/>
              <a:gd name="connsiteY32525" fmla="*/ 2502217 h 5973007"/>
              <a:gd name="connsiteX32526" fmla="*/ 722897 w 6884782"/>
              <a:gd name="connsiteY32526" fmla="*/ 2499584 h 5973007"/>
              <a:gd name="connsiteX32527" fmla="*/ 1027503 w 6884782"/>
              <a:gd name="connsiteY32527" fmla="*/ 2499274 h 5973007"/>
              <a:gd name="connsiteX32528" fmla="*/ 1033905 w 6884782"/>
              <a:gd name="connsiteY32528" fmla="*/ 2504850 h 5973007"/>
              <a:gd name="connsiteX32529" fmla="*/ 1033595 w 6884782"/>
              <a:gd name="connsiteY32529" fmla="*/ 2505935 h 5973007"/>
              <a:gd name="connsiteX32530" fmla="*/ 1027813 w 6884782"/>
              <a:gd name="connsiteY32530" fmla="*/ 2513834 h 5973007"/>
              <a:gd name="connsiteX32531" fmla="*/ 1023579 w 6884782"/>
              <a:gd name="connsiteY32531" fmla="*/ 2509497 h 5973007"/>
              <a:gd name="connsiteX32532" fmla="*/ 1023579 w 6884782"/>
              <a:gd name="connsiteY32532" fmla="*/ 2507173 h 5973007"/>
              <a:gd name="connsiteX32533" fmla="*/ 1027503 w 6884782"/>
              <a:gd name="connsiteY32533" fmla="*/ 2499274 h 5973007"/>
              <a:gd name="connsiteX32534" fmla="*/ 6334725 w 6884782"/>
              <a:gd name="connsiteY32534" fmla="*/ 2498668 h 5973007"/>
              <a:gd name="connsiteX32535" fmla="*/ 6338780 w 6884782"/>
              <a:gd name="connsiteY32535" fmla="*/ 2499095 h 5973007"/>
              <a:gd name="connsiteX32536" fmla="*/ 6339847 w 6884782"/>
              <a:gd name="connsiteY32536" fmla="*/ 2501798 h 5973007"/>
              <a:gd name="connsiteX32537" fmla="*/ 6340701 w 6884782"/>
              <a:gd name="connsiteY32537" fmla="*/ 2505497 h 5973007"/>
              <a:gd name="connsiteX32538" fmla="*/ 6328536 w 6884782"/>
              <a:gd name="connsiteY32538" fmla="*/ 2508911 h 5973007"/>
              <a:gd name="connsiteX32539" fmla="*/ 6334725 w 6884782"/>
              <a:gd name="connsiteY32539" fmla="*/ 2498668 h 5973007"/>
              <a:gd name="connsiteX32540" fmla="*/ 925383 w 6884782"/>
              <a:gd name="connsiteY32540" fmla="*/ 2498035 h 5973007"/>
              <a:gd name="connsiteX32541" fmla="*/ 924556 w 6884782"/>
              <a:gd name="connsiteY32541" fmla="*/ 2509187 h 5973007"/>
              <a:gd name="connsiteX32542" fmla="*/ 919806 w 6884782"/>
              <a:gd name="connsiteY32542" fmla="*/ 2504231 h 5973007"/>
              <a:gd name="connsiteX32543" fmla="*/ 925383 w 6884782"/>
              <a:gd name="connsiteY32543" fmla="*/ 2498035 h 5973007"/>
              <a:gd name="connsiteX32544" fmla="*/ 5184393 w 6884782"/>
              <a:gd name="connsiteY32544" fmla="*/ 2497103 h 5973007"/>
              <a:gd name="connsiteX32545" fmla="*/ 5195277 w 6884782"/>
              <a:gd name="connsiteY32545" fmla="*/ 2509053 h 5973007"/>
              <a:gd name="connsiteX32546" fmla="*/ 5168173 w 6884782"/>
              <a:gd name="connsiteY32546" fmla="*/ 2524988 h 5973007"/>
              <a:gd name="connsiteX32547" fmla="*/ 5184393 w 6884782"/>
              <a:gd name="connsiteY32547" fmla="*/ 2497103 h 5973007"/>
              <a:gd name="connsiteX32548" fmla="*/ 1461282 w 6884782"/>
              <a:gd name="connsiteY32548" fmla="*/ 2496950 h 5973007"/>
              <a:gd name="connsiteX32549" fmla="*/ 1457978 w 6884782"/>
              <a:gd name="connsiteY32549" fmla="*/ 2500203 h 5973007"/>
              <a:gd name="connsiteX32550" fmla="*/ 1458701 w 6884782"/>
              <a:gd name="connsiteY32550" fmla="*/ 2500978 h 5973007"/>
              <a:gd name="connsiteX32551" fmla="*/ 1459527 w 6884782"/>
              <a:gd name="connsiteY32551" fmla="*/ 2501752 h 5973007"/>
              <a:gd name="connsiteX32552" fmla="*/ 1395095 w 6884782"/>
              <a:gd name="connsiteY32552" fmla="*/ 2496021 h 5973007"/>
              <a:gd name="connsiteX32553" fmla="*/ 1396954 w 6884782"/>
              <a:gd name="connsiteY32553" fmla="*/ 2497570 h 5973007"/>
              <a:gd name="connsiteX32554" fmla="*/ 1392307 w 6884782"/>
              <a:gd name="connsiteY32554" fmla="*/ 2505470 h 5973007"/>
              <a:gd name="connsiteX32555" fmla="*/ 1390139 w 6884782"/>
              <a:gd name="connsiteY32555" fmla="*/ 2500049 h 5973007"/>
              <a:gd name="connsiteX32556" fmla="*/ 1395095 w 6884782"/>
              <a:gd name="connsiteY32556" fmla="*/ 2496021 h 5973007"/>
              <a:gd name="connsiteX32557" fmla="*/ 6406861 w 6884782"/>
              <a:gd name="connsiteY32557" fmla="*/ 2495396 h 5973007"/>
              <a:gd name="connsiteX32558" fmla="*/ 6413264 w 6884782"/>
              <a:gd name="connsiteY32558" fmla="*/ 2497530 h 5973007"/>
              <a:gd name="connsiteX32559" fmla="*/ 6396830 w 6884782"/>
              <a:gd name="connsiteY32559" fmla="*/ 2532528 h 5973007"/>
              <a:gd name="connsiteX32560" fmla="*/ 6384025 w 6884782"/>
              <a:gd name="connsiteY32560" fmla="*/ 2525557 h 5973007"/>
              <a:gd name="connsiteX32561" fmla="*/ 6389574 w 6884782"/>
              <a:gd name="connsiteY32561" fmla="*/ 2499379 h 5973007"/>
              <a:gd name="connsiteX32562" fmla="*/ 6406861 w 6884782"/>
              <a:gd name="connsiteY32562" fmla="*/ 2495396 h 5973007"/>
              <a:gd name="connsiteX32563" fmla="*/ 1065295 w 6884782"/>
              <a:gd name="connsiteY32563" fmla="*/ 2494627 h 5973007"/>
              <a:gd name="connsiteX32564" fmla="*/ 1074175 w 6884782"/>
              <a:gd name="connsiteY32564" fmla="*/ 2495712 h 5973007"/>
              <a:gd name="connsiteX32565" fmla="*/ 1063642 w 6884782"/>
              <a:gd name="connsiteY32565" fmla="*/ 2502527 h 5973007"/>
              <a:gd name="connsiteX32566" fmla="*/ 1063333 w 6884782"/>
              <a:gd name="connsiteY32566" fmla="*/ 2497880 h 5973007"/>
              <a:gd name="connsiteX32567" fmla="*/ 1065295 w 6884782"/>
              <a:gd name="connsiteY32567" fmla="*/ 2494627 h 5973007"/>
              <a:gd name="connsiteX32568" fmla="*/ 1353173 w 6884782"/>
              <a:gd name="connsiteY32568" fmla="*/ 2493698 h 5973007"/>
              <a:gd name="connsiteX32569" fmla="*/ 1359368 w 6884782"/>
              <a:gd name="connsiteY32569" fmla="*/ 2497570 h 5973007"/>
              <a:gd name="connsiteX32570" fmla="*/ 1359678 w 6884782"/>
              <a:gd name="connsiteY32570" fmla="*/ 2499119 h 5973007"/>
              <a:gd name="connsiteX32571" fmla="*/ 1353173 w 6884782"/>
              <a:gd name="connsiteY32571" fmla="*/ 2493698 h 5973007"/>
              <a:gd name="connsiteX32572" fmla="*/ 969112 w 6884782"/>
              <a:gd name="connsiteY32572" fmla="*/ 2493078 h 5973007"/>
              <a:gd name="connsiteX32573" fmla="*/ 972158 w 6884782"/>
              <a:gd name="connsiteY32573" fmla="*/ 2493543 h 5973007"/>
              <a:gd name="connsiteX32574" fmla="*/ 970093 w 6884782"/>
              <a:gd name="connsiteY32574" fmla="*/ 2499584 h 5973007"/>
              <a:gd name="connsiteX32575" fmla="*/ 965756 w 6884782"/>
              <a:gd name="connsiteY32575" fmla="*/ 2494008 h 5973007"/>
              <a:gd name="connsiteX32576" fmla="*/ 969112 w 6884782"/>
              <a:gd name="connsiteY32576" fmla="*/ 2493078 h 5973007"/>
              <a:gd name="connsiteX32577" fmla="*/ 680665 w 6884782"/>
              <a:gd name="connsiteY32577" fmla="*/ 2493078 h 5973007"/>
              <a:gd name="connsiteX32578" fmla="*/ 683556 w 6884782"/>
              <a:gd name="connsiteY32578" fmla="*/ 2494627 h 5973007"/>
              <a:gd name="connsiteX32579" fmla="*/ 686964 w 6884782"/>
              <a:gd name="connsiteY32579" fmla="*/ 2498345 h 5973007"/>
              <a:gd name="connsiteX32580" fmla="*/ 689649 w 6884782"/>
              <a:gd name="connsiteY32580" fmla="*/ 2499429 h 5973007"/>
              <a:gd name="connsiteX32581" fmla="*/ 689649 w 6884782"/>
              <a:gd name="connsiteY32581" fmla="*/ 2500203 h 5973007"/>
              <a:gd name="connsiteX32582" fmla="*/ 679117 w 6884782"/>
              <a:gd name="connsiteY32582" fmla="*/ 2497570 h 5973007"/>
              <a:gd name="connsiteX32583" fmla="*/ 678084 w 6884782"/>
              <a:gd name="connsiteY32583" fmla="*/ 2496021 h 5973007"/>
              <a:gd name="connsiteX32584" fmla="*/ 679117 w 6884782"/>
              <a:gd name="connsiteY32584" fmla="*/ 2494162 h 5973007"/>
              <a:gd name="connsiteX32585" fmla="*/ 680665 w 6884782"/>
              <a:gd name="connsiteY32585" fmla="*/ 2493078 h 5973007"/>
              <a:gd name="connsiteX32586" fmla="*/ 1258487 w 6884782"/>
              <a:gd name="connsiteY32586" fmla="*/ 2492613 h 5973007"/>
              <a:gd name="connsiteX32587" fmla="*/ 1267987 w 6884782"/>
              <a:gd name="connsiteY32587" fmla="*/ 2501752 h 5973007"/>
              <a:gd name="connsiteX32588" fmla="*/ 1255905 w 6884782"/>
              <a:gd name="connsiteY32588" fmla="*/ 2498035 h 5973007"/>
              <a:gd name="connsiteX32589" fmla="*/ 1258487 w 6884782"/>
              <a:gd name="connsiteY32589" fmla="*/ 2492613 h 5973007"/>
              <a:gd name="connsiteX32590" fmla="*/ 836375 w 6884782"/>
              <a:gd name="connsiteY32590" fmla="*/ 2491684 h 5973007"/>
              <a:gd name="connsiteX32591" fmla="*/ 839061 w 6884782"/>
              <a:gd name="connsiteY32591" fmla="*/ 2491839 h 5973007"/>
              <a:gd name="connsiteX32592" fmla="*/ 841332 w 6884782"/>
              <a:gd name="connsiteY32592" fmla="*/ 2494008 h 5973007"/>
              <a:gd name="connsiteX32593" fmla="*/ 841952 w 6884782"/>
              <a:gd name="connsiteY32593" fmla="*/ 2496331 h 5973007"/>
              <a:gd name="connsiteX32594" fmla="*/ 839370 w 6884782"/>
              <a:gd name="connsiteY32594" fmla="*/ 2500358 h 5973007"/>
              <a:gd name="connsiteX32595" fmla="*/ 832659 w 6884782"/>
              <a:gd name="connsiteY32595" fmla="*/ 2496021 h 5973007"/>
              <a:gd name="connsiteX32596" fmla="*/ 836375 w 6884782"/>
              <a:gd name="connsiteY32596" fmla="*/ 2491684 h 5973007"/>
              <a:gd name="connsiteX32597" fmla="*/ 717115 w 6884782"/>
              <a:gd name="connsiteY32597" fmla="*/ 2490290 h 5973007"/>
              <a:gd name="connsiteX32598" fmla="*/ 719799 w 6884782"/>
              <a:gd name="connsiteY32598" fmla="*/ 2492459 h 5973007"/>
              <a:gd name="connsiteX32599" fmla="*/ 716495 w 6884782"/>
              <a:gd name="connsiteY32599" fmla="*/ 2493852 h 5973007"/>
              <a:gd name="connsiteX32600" fmla="*/ 715876 w 6884782"/>
              <a:gd name="connsiteY32600" fmla="*/ 2492459 h 5973007"/>
              <a:gd name="connsiteX32601" fmla="*/ 717115 w 6884782"/>
              <a:gd name="connsiteY32601" fmla="*/ 2490290 h 5973007"/>
              <a:gd name="connsiteX32602" fmla="*/ 719283 w 6884782"/>
              <a:gd name="connsiteY32602" fmla="*/ 2489980 h 5973007"/>
              <a:gd name="connsiteX32603" fmla="*/ 719283 w 6884782"/>
              <a:gd name="connsiteY32603" fmla="*/ 2491374 h 5973007"/>
              <a:gd name="connsiteX32604" fmla="*/ 718561 w 6884782"/>
              <a:gd name="connsiteY32604" fmla="*/ 2490600 h 5973007"/>
              <a:gd name="connsiteX32605" fmla="*/ 719283 w 6884782"/>
              <a:gd name="connsiteY32605" fmla="*/ 2489980 h 5973007"/>
              <a:gd name="connsiteX32606" fmla="*/ 1201076 w 6884782"/>
              <a:gd name="connsiteY32606" fmla="*/ 2489670 h 5973007"/>
              <a:gd name="connsiteX32607" fmla="*/ 1197463 w 6884782"/>
              <a:gd name="connsiteY32607" fmla="*/ 2497880 h 5973007"/>
              <a:gd name="connsiteX32608" fmla="*/ 1195294 w 6884782"/>
              <a:gd name="connsiteY32608" fmla="*/ 2495092 h 5973007"/>
              <a:gd name="connsiteX32609" fmla="*/ 1201076 w 6884782"/>
              <a:gd name="connsiteY32609" fmla="*/ 2489670 h 5973007"/>
              <a:gd name="connsiteX32610" fmla="*/ 4879629 w 6884782"/>
              <a:gd name="connsiteY32610" fmla="*/ 2487571 h 5973007"/>
              <a:gd name="connsiteX32611" fmla="*/ 4880270 w 6884782"/>
              <a:gd name="connsiteY32611" fmla="*/ 2489705 h 5973007"/>
              <a:gd name="connsiteX32612" fmla="*/ 4881336 w 6884782"/>
              <a:gd name="connsiteY32612" fmla="*/ 2489278 h 5973007"/>
              <a:gd name="connsiteX32613" fmla="*/ 4880910 w 6884782"/>
              <a:gd name="connsiteY32613" fmla="*/ 2491839 h 5973007"/>
              <a:gd name="connsiteX32614" fmla="*/ 4879629 w 6884782"/>
              <a:gd name="connsiteY32614" fmla="*/ 2492266 h 5973007"/>
              <a:gd name="connsiteX32615" fmla="*/ 4879415 w 6884782"/>
              <a:gd name="connsiteY32615" fmla="*/ 2492551 h 5973007"/>
              <a:gd name="connsiteX32616" fmla="*/ 4877282 w 6884782"/>
              <a:gd name="connsiteY32616" fmla="*/ 2491981 h 5973007"/>
              <a:gd name="connsiteX32617" fmla="*/ 4875787 w 6884782"/>
              <a:gd name="connsiteY32617" fmla="*/ 2490132 h 5973007"/>
              <a:gd name="connsiteX32618" fmla="*/ 4879629 w 6884782"/>
              <a:gd name="connsiteY32618" fmla="*/ 2487571 h 5973007"/>
              <a:gd name="connsiteX32619" fmla="*/ 5246711 w 6884782"/>
              <a:gd name="connsiteY32619" fmla="*/ 2486148 h 5973007"/>
              <a:gd name="connsiteX32620" fmla="*/ 5249912 w 6884782"/>
              <a:gd name="connsiteY32620" fmla="*/ 2486433 h 5973007"/>
              <a:gd name="connsiteX32621" fmla="*/ 5251619 w 6884782"/>
              <a:gd name="connsiteY32621" fmla="*/ 2487571 h 5973007"/>
              <a:gd name="connsiteX32622" fmla="*/ 5252047 w 6884782"/>
              <a:gd name="connsiteY32622" fmla="*/ 2489278 h 5973007"/>
              <a:gd name="connsiteX32623" fmla="*/ 5249059 w 6884782"/>
              <a:gd name="connsiteY32623" fmla="*/ 2491839 h 5973007"/>
              <a:gd name="connsiteX32624" fmla="*/ 5245431 w 6884782"/>
              <a:gd name="connsiteY32624" fmla="*/ 2492124 h 5973007"/>
              <a:gd name="connsiteX32625" fmla="*/ 5244363 w 6884782"/>
              <a:gd name="connsiteY32625" fmla="*/ 2490416 h 5973007"/>
              <a:gd name="connsiteX32626" fmla="*/ 5243936 w 6884782"/>
              <a:gd name="connsiteY32626" fmla="*/ 2487571 h 5973007"/>
              <a:gd name="connsiteX32627" fmla="*/ 5246711 w 6884782"/>
              <a:gd name="connsiteY32627" fmla="*/ 2486148 h 5973007"/>
              <a:gd name="connsiteX32628" fmla="*/ 1062920 w 6884782"/>
              <a:gd name="connsiteY32628" fmla="*/ 2484404 h 5973007"/>
              <a:gd name="connsiteX32629" fmla="*/ 1064675 w 6884782"/>
              <a:gd name="connsiteY32629" fmla="*/ 2485643 h 5973007"/>
              <a:gd name="connsiteX32630" fmla="*/ 1063333 w 6884782"/>
              <a:gd name="connsiteY32630" fmla="*/ 2487657 h 5973007"/>
              <a:gd name="connsiteX32631" fmla="*/ 1055072 w 6884782"/>
              <a:gd name="connsiteY32631" fmla="*/ 2485953 h 5973007"/>
              <a:gd name="connsiteX32632" fmla="*/ 1062920 w 6884782"/>
              <a:gd name="connsiteY32632" fmla="*/ 2484404 h 5973007"/>
              <a:gd name="connsiteX32633" fmla="*/ 1148416 w 6884782"/>
              <a:gd name="connsiteY32633" fmla="*/ 2483939 h 5973007"/>
              <a:gd name="connsiteX32634" fmla="*/ 1154508 w 6884782"/>
              <a:gd name="connsiteY32634" fmla="*/ 2495866 h 5973007"/>
              <a:gd name="connsiteX32635" fmla="*/ 1154818 w 6884782"/>
              <a:gd name="connsiteY32635" fmla="*/ 2498809 h 5973007"/>
              <a:gd name="connsiteX32636" fmla="*/ 1157399 w 6884782"/>
              <a:gd name="connsiteY32636" fmla="*/ 2499893 h 5973007"/>
              <a:gd name="connsiteX32637" fmla="*/ 1155437 w 6884782"/>
              <a:gd name="connsiteY32637" fmla="*/ 2503766 h 5973007"/>
              <a:gd name="connsiteX32638" fmla="*/ 1153269 w 6884782"/>
              <a:gd name="connsiteY32638" fmla="*/ 2503146 h 5973007"/>
              <a:gd name="connsiteX32639" fmla="*/ 1153372 w 6884782"/>
              <a:gd name="connsiteY32639" fmla="*/ 2504695 h 5973007"/>
              <a:gd name="connsiteX32640" fmla="*/ 1148623 w 6884782"/>
              <a:gd name="connsiteY32640" fmla="*/ 2503301 h 5973007"/>
              <a:gd name="connsiteX32641" fmla="*/ 1146764 w 6884782"/>
              <a:gd name="connsiteY32641" fmla="*/ 2503301 h 5973007"/>
              <a:gd name="connsiteX32642" fmla="*/ 1147796 w 6884782"/>
              <a:gd name="connsiteY32642" fmla="*/ 2501752 h 5973007"/>
              <a:gd name="connsiteX32643" fmla="*/ 1150584 w 6884782"/>
              <a:gd name="connsiteY32643" fmla="*/ 2503301 h 5973007"/>
              <a:gd name="connsiteX32644" fmla="*/ 1151617 w 6884782"/>
              <a:gd name="connsiteY32644" fmla="*/ 2501752 h 5973007"/>
              <a:gd name="connsiteX32645" fmla="*/ 1152856 w 6884782"/>
              <a:gd name="connsiteY32645" fmla="*/ 2502217 h 5973007"/>
              <a:gd name="connsiteX32646" fmla="*/ 1153062 w 6884782"/>
              <a:gd name="connsiteY32646" fmla="*/ 2502217 h 5973007"/>
              <a:gd name="connsiteX32647" fmla="*/ 1153166 w 6884782"/>
              <a:gd name="connsiteY32647" fmla="*/ 2502062 h 5973007"/>
              <a:gd name="connsiteX32648" fmla="*/ 1152856 w 6884782"/>
              <a:gd name="connsiteY32648" fmla="*/ 2502217 h 5973007"/>
              <a:gd name="connsiteX32649" fmla="*/ 1148829 w 6884782"/>
              <a:gd name="connsiteY32649" fmla="*/ 2494627 h 5973007"/>
              <a:gd name="connsiteX32650" fmla="*/ 1147796 w 6884782"/>
              <a:gd name="connsiteY32650" fmla="*/ 2494472 h 5973007"/>
              <a:gd name="connsiteX32651" fmla="*/ 1147280 w 6884782"/>
              <a:gd name="connsiteY32651" fmla="*/ 2495247 h 5973007"/>
              <a:gd name="connsiteX32652" fmla="*/ 1147900 w 6884782"/>
              <a:gd name="connsiteY32652" fmla="*/ 2497570 h 5973007"/>
              <a:gd name="connsiteX32653" fmla="*/ 1143563 w 6884782"/>
              <a:gd name="connsiteY32653" fmla="*/ 2504385 h 5973007"/>
              <a:gd name="connsiteX32654" fmla="*/ 1140981 w 6884782"/>
              <a:gd name="connsiteY32654" fmla="*/ 2503611 h 5973007"/>
              <a:gd name="connsiteX32655" fmla="*/ 1138503 w 6884782"/>
              <a:gd name="connsiteY32655" fmla="*/ 2503146 h 5973007"/>
              <a:gd name="connsiteX32656" fmla="*/ 1139536 w 6884782"/>
              <a:gd name="connsiteY32656" fmla="*/ 2503456 h 5973007"/>
              <a:gd name="connsiteX32657" fmla="*/ 1141188 w 6884782"/>
              <a:gd name="connsiteY32657" fmla="*/ 2507173 h 5973007"/>
              <a:gd name="connsiteX32658" fmla="*/ 1134476 w 6884782"/>
              <a:gd name="connsiteY32658" fmla="*/ 2505625 h 5973007"/>
              <a:gd name="connsiteX32659" fmla="*/ 1134683 w 6884782"/>
              <a:gd name="connsiteY32659" fmla="*/ 2502217 h 5973007"/>
              <a:gd name="connsiteX32660" fmla="*/ 1130862 w 6884782"/>
              <a:gd name="connsiteY32660" fmla="*/ 2501752 h 5973007"/>
              <a:gd name="connsiteX32661" fmla="*/ 1130449 w 6884782"/>
              <a:gd name="connsiteY32661" fmla="*/ 2500978 h 5973007"/>
              <a:gd name="connsiteX32662" fmla="*/ 1131689 w 6884782"/>
              <a:gd name="connsiteY32662" fmla="*/ 2499429 h 5973007"/>
              <a:gd name="connsiteX32663" fmla="*/ 1133031 w 6884782"/>
              <a:gd name="connsiteY32663" fmla="*/ 2499429 h 5973007"/>
              <a:gd name="connsiteX32664" fmla="*/ 1131379 w 6884782"/>
              <a:gd name="connsiteY32664" fmla="*/ 2496486 h 5973007"/>
              <a:gd name="connsiteX32665" fmla="*/ 1137471 w 6884782"/>
              <a:gd name="connsiteY32665" fmla="*/ 2488896 h 5973007"/>
              <a:gd name="connsiteX32666" fmla="*/ 1146661 w 6884782"/>
              <a:gd name="connsiteY32666" fmla="*/ 2492923 h 5973007"/>
              <a:gd name="connsiteX32667" fmla="*/ 1147383 w 6884782"/>
              <a:gd name="connsiteY32667" fmla="*/ 2492768 h 5973007"/>
              <a:gd name="connsiteX32668" fmla="*/ 1146764 w 6884782"/>
              <a:gd name="connsiteY32668" fmla="*/ 2491839 h 5973007"/>
              <a:gd name="connsiteX32669" fmla="*/ 1145938 w 6884782"/>
              <a:gd name="connsiteY32669" fmla="*/ 2491064 h 5973007"/>
              <a:gd name="connsiteX32670" fmla="*/ 1145731 w 6884782"/>
              <a:gd name="connsiteY32670" fmla="*/ 2489205 h 5973007"/>
              <a:gd name="connsiteX32671" fmla="*/ 1148416 w 6884782"/>
              <a:gd name="connsiteY32671" fmla="*/ 2483939 h 5973007"/>
              <a:gd name="connsiteX32672" fmla="*/ 841538 w 6884782"/>
              <a:gd name="connsiteY32672" fmla="*/ 2483165 h 5973007"/>
              <a:gd name="connsiteX32673" fmla="*/ 849490 w 6884782"/>
              <a:gd name="connsiteY32673" fmla="*/ 2484559 h 5973007"/>
              <a:gd name="connsiteX32674" fmla="*/ 841538 w 6884782"/>
              <a:gd name="connsiteY32674" fmla="*/ 2483165 h 5973007"/>
              <a:gd name="connsiteX32675" fmla="*/ 950680 w 6884782"/>
              <a:gd name="connsiteY32675" fmla="*/ 2482545 h 5973007"/>
              <a:gd name="connsiteX32676" fmla="*/ 964930 w 6884782"/>
              <a:gd name="connsiteY32676" fmla="*/ 2502217 h 5973007"/>
              <a:gd name="connsiteX32677" fmla="*/ 949751 w 6884782"/>
              <a:gd name="connsiteY32677" fmla="*/ 2484714 h 5973007"/>
              <a:gd name="connsiteX32678" fmla="*/ 950680 w 6884782"/>
              <a:gd name="connsiteY32678" fmla="*/ 2482545 h 5973007"/>
              <a:gd name="connsiteX32679" fmla="*/ 714120 w 6884782"/>
              <a:gd name="connsiteY32679" fmla="*/ 2482545 h 5973007"/>
              <a:gd name="connsiteX32680" fmla="*/ 716185 w 6884782"/>
              <a:gd name="connsiteY32680" fmla="*/ 2489670 h 5973007"/>
              <a:gd name="connsiteX32681" fmla="*/ 709370 w 6884782"/>
              <a:gd name="connsiteY32681" fmla="*/ 2493078 h 5973007"/>
              <a:gd name="connsiteX32682" fmla="*/ 708441 w 6884782"/>
              <a:gd name="connsiteY32682" fmla="*/ 2491529 h 5973007"/>
              <a:gd name="connsiteX32683" fmla="*/ 707822 w 6884782"/>
              <a:gd name="connsiteY32683" fmla="*/ 2489670 h 5973007"/>
              <a:gd name="connsiteX32684" fmla="*/ 707822 w 6884782"/>
              <a:gd name="connsiteY32684" fmla="*/ 2487502 h 5973007"/>
              <a:gd name="connsiteX32685" fmla="*/ 708957 w 6884782"/>
              <a:gd name="connsiteY32685" fmla="*/ 2484869 h 5973007"/>
              <a:gd name="connsiteX32686" fmla="*/ 712262 w 6884782"/>
              <a:gd name="connsiteY32686" fmla="*/ 2482700 h 5973007"/>
              <a:gd name="connsiteX32687" fmla="*/ 714120 w 6884782"/>
              <a:gd name="connsiteY32687" fmla="*/ 2482545 h 5973007"/>
              <a:gd name="connsiteX32688" fmla="*/ 835859 w 6884782"/>
              <a:gd name="connsiteY32688" fmla="*/ 2482390 h 5973007"/>
              <a:gd name="connsiteX32689" fmla="*/ 839164 w 6884782"/>
              <a:gd name="connsiteY32689" fmla="*/ 2483629 h 5973007"/>
              <a:gd name="connsiteX32690" fmla="*/ 835859 w 6884782"/>
              <a:gd name="connsiteY32690" fmla="*/ 2483320 h 5973007"/>
              <a:gd name="connsiteX32691" fmla="*/ 835240 w 6884782"/>
              <a:gd name="connsiteY32691" fmla="*/ 2482855 h 5973007"/>
              <a:gd name="connsiteX32692" fmla="*/ 835859 w 6884782"/>
              <a:gd name="connsiteY32692" fmla="*/ 2482390 h 5973007"/>
              <a:gd name="connsiteX32693" fmla="*/ 691094 w 6884782"/>
              <a:gd name="connsiteY32693" fmla="*/ 2481925 h 5973007"/>
              <a:gd name="connsiteX32694" fmla="*/ 694398 w 6884782"/>
              <a:gd name="connsiteY32694" fmla="*/ 2482545 h 5973007"/>
              <a:gd name="connsiteX32695" fmla="*/ 695225 w 6884782"/>
              <a:gd name="connsiteY32695" fmla="*/ 2482235 h 5973007"/>
              <a:gd name="connsiteX32696" fmla="*/ 697702 w 6884782"/>
              <a:gd name="connsiteY32696" fmla="*/ 2483474 h 5973007"/>
              <a:gd name="connsiteX32697" fmla="*/ 698219 w 6884782"/>
              <a:gd name="connsiteY32697" fmla="*/ 2484404 h 5973007"/>
              <a:gd name="connsiteX32698" fmla="*/ 701110 w 6884782"/>
              <a:gd name="connsiteY32698" fmla="*/ 2486417 h 5973007"/>
              <a:gd name="connsiteX32699" fmla="*/ 699767 w 6884782"/>
              <a:gd name="connsiteY32699" fmla="*/ 2487193 h 5973007"/>
              <a:gd name="connsiteX32700" fmla="*/ 699252 w 6884782"/>
              <a:gd name="connsiteY32700" fmla="*/ 2490290 h 5973007"/>
              <a:gd name="connsiteX32701" fmla="*/ 700903 w 6884782"/>
              <a:gd name="connsiteY32701" fmla="*/ 2494782 h 5973007"/>
              <a:gd name="connsiteX32702" fmla="*/ 697599 w 6884782"/>
              <a:gd name="connsiteY32702" fmla="*/ 2489360 h 5973007"/>
              <a:gd name="connsiteX32703" fmla="*/ 696464 w 6884782"/>
              <a:gd name="connsiteY32703" fmla="*/ 2488896 h 5973007"/>
              <a:gd name="connsiteX32704" fmla="*/ 696257 w 6884782"/>
              <a:gd name="connsiteY32704" fmla="*/ 2488896 h 5973007"/>
              <a:gd name="connsiteX32705" fmla="*/ 695947 w 6884782"/>
              <a:gd name="connsiteY32705" fmla="*/ 2488586 h 5973007"/>
              <a:gd name="connsiteX32706" fmla="*/ 695018 w 6884782"/>
              <a:gd name="connsiteY32706" fmla="*/ 2488276 h 5973007"/>
              <a:gd name="connsiteX32707" fmla="*/ 694915 w 6884782"/>
              <a:gd name="connsiteY32707" fmla="*/ 2487812 h 5973007"/>
              <a:gd name="connsiteX32708" fmla="*/ 692746 w 6884782"/>
              <a:gd name="connsiteY32708" fmla="*/ 2486728 h 5973007"/>
              <a:gd name="connsiteX32709" fmla="*/ 689029 w 6884782"/>
              <a:gd name="connsiteY32709" fmla="*/ 2485179 h 5973007"/>
              <a:gd name="connsiteX32710" fmla="*/ 688720 w 6884782"/>
              <a:gd name="connsiteY32710" fmla="*/ 2483010 h 5973007"/>
              <a:gd name="connsiteX32711" fmla="*/ 691094 w 6884782"/>
              <a:gd name="connsiteY32711" fmla="*/ 2481925 h 5973007"/>
              <a:gd name="connsiteX32712" fmla="*/ 1218114 w 6884782"/>
              <a:gd name="connsiteY32712" fmla="*/ 2481461 h 5973007"/>
              <a:gd name="connsiteX32713" fmla="*/ 1227923 w 6884782"/>
              <a:gd name="connsiteY32713" fmla="*/ 2487037 h 5973007"/>
              <a:gd name="connsiteX32714" fmla="*/ 1226477 w 6884782"/>
              <a:gd name="connsiteY32714" fmla="*/ 2499893 h 5973007"/>
              <a:gd name="connsiteX32715" fmla="*/ 1223277 w 6884782"/>
              <a:gd name="connsiteY32715" fmla="*/ 2504385 h 5973007"/>
              <a:gd name="connsiteX32716" fmla="*/ 1228439 w 6884782"/>
              <a:gd name="connsiteY32716" fmla="*/ 2502837 h 5973007"/>
              <a:gd name="connsiteX32717" fmla="*/ 1237732 w 6884782"/>
              <a:gd name="connsiteY32717" fmla="*/ 2503146 h 5973007"/>
              <a:gd name="connsiteX32718" fmla="*/ 1240624 w 6884782"/>
              <a:gd name="connsiteY32718" fmla="*/ 2504385 h 5973007"/>
              <a:gd name="connsiteX32719" fmla="*/ 1242895 w 6884782"/>
              <a:gd name="connsiteY32719" fmla="*/ 2504231 h 5973007"/>
              <a:gd name="connsiteX32720" fmla="*/ 1244031 w 6884782"/>
              <a:gd name="connsiteY32720" fmla="*/ 2504076 h 5973007"/>
              <a:gd name="connsiteX32721" fmla="*/ 1242173 w 6884782"/>
              <a:gd name="connsiteY32721" fmla="*/ 2503146 h 5973007"/>
              <a:gd name="connsiteX32722" fmla="*/ 1240417 w 6884782"/>
              <a:gd name="connsiteY32722" fmla="*/ 2503611 h 5973007"/>
              <a:gd name="connsiteX32723" fmla="*/ 1238765 w 6884782"/>
              <a:gd name="connsiteY32723" fmla="*/ 2501442 h 5973007"/>
              <a:gd name="connsiteX32724" fmla="*/ 1243928 w 6884782"/>
              <a:gd name="connsiteY32724" fmla="*/ 2503611 h 5973007"/>
              <a:gd name="connsiteX32725" fmla="*/ 1244238 w 6884782"/>
              <a:gd name="connsiteY32725" fmla="*/ 2504076 h 5973007"/>
              <a:gd name="connsiteX32726" fmla="*/ 1245270 w 6884782"/>
              <a:gd name="connsiteY32726" fmla="*/ 2504076 h 5973007"/>
              <a:gd name="connsiteX32727" fmla="*/ 1245993 w 6884782"/>
              <a:gd name="connsiteY32727" fmla="*/ 2503921 h 5973007"/>
              <a:gd name="connsiteX32728" fmla="*/ 1246819 w 6884782"/>
              <a:gd name="connsiteY32728" fmla="*/ 2504076 h 5973007"/>
              <a:gd name="connsiteX32729" fmla="*/ 1249194 w 6884782"/>
              <a:gd name="connsiteY32729" fmla="*/ 2504076 h 5973007"/>
              <a:gd name="connsiteX32730" fmla="*/ 1254357 w 6884782"/>
              <a:gd name="connsiteY32730" fmla="*/ 2504850 h 5973007"/>
              <a:gd name="connsiteX32731" fmla="*/ 1248781 w 6884782"/>
              <a:gd name="connsiteY32731" fmla="*/ 2505160 h 5973007"/>
              <a:gd name="connsiteX32732" fmla="*/ 1251672 w 6884782"/>
              <a:gd name="connsiteY32732" fmla="*/ 2505780 h 5973007"/>
              <a:gd name="connsiteX32733" fmla="*/ 1254563 w 6884782"/>
              <a:gd name="connsiteY32733" fmla="*/ 2505160 h 5973007"/>
              <a:gd name="connsiteX32734" fmla="*/ 1255905 w 6884782"/>
              <a:gd name="connsiteY32734" fmla="*/ 2506554 h 5973007"/>
              <a:gd name="connsiteX32735" fmla="*/ 1253840 w 6884782"/>
              <a:gd name="connsiteY32735" fmla="*/ 2508103 h 5973007"/>
              <a:gd name="connsiteX32736" fmla="*/ 1251259 w 6884782"/>
              <a:gd name="connsiteY32736" fmla="*/ 2506089 h 5973007"/>
              <a:gd name="connsiteX32737" fmla="*/ 1247748 w 6884782"/>
              <a:gd name="connsiteY32737" fmla="*/ 2506089 h 5973007"/>
              <a:gd name="connsiteX32738" fmla="*/ 1246509 w 6884782"/>
              <a:gd name="connsiteY32738" fmla="*/ 2505160 h 5973007"/>
              <a:gd name="connsiteX32739" fmla="*/ 1240830 w 6884782"/>
              <a:gd name="connsiteY32739" fmla="*/ 2504541 h 5973007"/>
              <a:gd name="connsiteX32740" fmla="*/ 1245167 w 6884782"/>
              <a:gd name="connsiteY32740" fmla="*/ 2506245 h 5973007"/>
              <a:gd name="connsiteX32741" fmla="*/ 1260242 w 6884782"/>
              <a:gd name="connsiteY32741" fmla="*/ 2515074 h 5973007"/>
              <a:gd name="connsiteX32742" fmla="*/ 1266025 w 6884782"/>
              <a:gd name="connsiteY32742" fmla="*/ 2533351 h 5973007"/>
              <a:gd name="connsiteX32743" fmla="*/ 1256112 w 6884782"/>
              <a:gd name="connsiteY32743" fmla="*/ 2557825 h 5973007"/>
              <a:gd name="connsiteX32744" fmla="*/ 1245167 w 6884782"/>
              <a:gd name="connsiteY32744" fmla="*/ 2563246 h 5973007"/>
              <a:gd name="connsiteX32745" fmla="*/ 1245064 w 6884782"/>
              <a:gd name="connsiteY32745" fmla="*/ 2564175 h 5973007"/>
              <a:gd name="connsiteX32746" fmla="*/ 1243412 w 6884782"/>
              <a:gd name="connsiteY32746" fmla="*/ 2564021 h 5973007"/>
              <a:gd name="connsiteX32747" fmla="*/ 1241863 w 6884782"/>
              <a:gd name="connsiteY32747" fmla="*/ 2564950 h 5973007"/>
              <a:gd name="connsiteX32748" fmla="*/ 1240417 w 6884782"/>
              <a:gd name="connsiteY32748" fmla="*/ 2565570 h 5973007"/>
              <a:gd name="connsiteX32749" fmla="*/ 1242586 w 6884782"/>
              <a:gd name="connsiteY32749" fmla="*/ 2566963 h 5973007"/>
              <a:gd name="connsiteX32750" fmla="*/ 1244031 w 6884782"/>
              <a:gd name="connsiteY32750" fmla="*/ 2571765 h 5973007"/>
              <a:gd name="connsiteX32751" fmla="*/ 1242999 w 6884782"/>
              <a:gd name="connsiteY32751" fmla="*/ 2577187 h 5973007"/>
              <a:gd name="connsiteX32752" fmla="*/ 1238352 w 6884782"/>
              <a:gd name="connsiteY32752" fmla="*/ 2574399 h 5973007"/>
              <a:gd name="connsiteX32753" fmla="*/ 1238352 w 6884782"/>
              <a:gd name="connsiteY32753" fmla="*/ 2566809 h 5973007"/>
              <a:gd name="connsiteX32754" fmla="*/ 1239901 w 6884782"/>
              <a:gd name="connsiteY32754" fmla="*/ 2565879 h 5973007"/>
              <a:gd name="connsiteX32755" fmla="*/ 1234119 w 6884782"/>
              <a:gd name="connsiteY32755" fmla="*/ 2568667 h 5973007"/>
              <a:gd name="connsiteX32756" fmla="*/ 1234841 w 6884782"/>
              <a:gd name="connsiteY32756" fmla="*/ 2569442 h 5973007"/>
              <a:gd name="connsiteX32757" fmla="*/ 1231331 w 6884782"/>
              <a:gd name="connsiteY32757" fmla="*/ 2577187 h 5973007"/>
              <a:gd name="connsiteX32758" fmla="*/ 1225342 w 6884782"/>
              <a:gd name="connsiteY32758" fmla="*/ 2575793 h 5973007"/>
              <a:gd name="connsiteX32759" fmla="*/ 1226994 w 6884782"/>
              <a:gd name="connsiteY32759" fmla="*/ 2571765 h 5973007"/>
              <a:gd name="connsiteX32760" fmla="*/ 1219456 w 6884782"/>
              <a:gd name="connsiteY32760" fmla="*/ 2568513 h 5973007"/>
              <a:gd name="connsiteX32761" fmla="*/ 1195397 w 6884782"/>
              <a:gd name="connsiteY32761" fmla="*/ 2556896 h 5973007"/>
              <a:gd name="connsiteX32762" fmla="*/ 1195810 w 6884782"/>
              <a:gd name="connsiteY32762" fmla="*/ 2553952 h 5973007"/>
              <a:gd name="connsiteX32763" fmla="*/ 1195501 w 6884782"/>
              <a:gd name="connsiteY32763" fmla="*/ 2553642 h 5973007"/>
              <a:gd name="connsiteX32764" fmla="*/ 1194674 w 6884782"/>
              <a:gd name="connsiteY32764" fmla="*/ 2551009 h 5973007"/>
              <a:gd name="connsiteX32765" fmla="*/ 1195707 w 6884782"/>
              <a:gd name="connsiteY32765" fmla="*/ 2549305 h 5973007"/>
              <a:gd name="connsiteX32766" fmla="*/ 1194674 w 6884782"/>
              <a:gd name="connsiteY32766" fmla="*/ 2544659 h 5973007"/>
              <a:gd name="connsiteX32767" fmla="*/ 1194881 w 6884782"/>
              <a:gd name="connsiteY32767" fmla="*/ 2543574 h 5973007"/>
              <a:gd name="connsiteX32768" fmla="*/ 1194365 w 6884782"/>
              <a:gd name="connsiteY32768" fmla="*/ 2542025 h 5973007"/>
              <a:gd name="connsiteX32769" fmla="*/ 1190958 w 6884782"/>
              <a:gd name="connsiteY32769" fmla="*/ 2542335 h 5973007"/>
              <a:gd name="connsiteX32770" fmla="*/ 1188892 w 6884782"/>
              <a:gd name="connsiteY32770" fmla="*/ 2540012 h 5973007"/>
              <a:gd name="connsiteX32771" fmla="*/ 1189099 w 6884782"/>
              <a:gd name="connsiteY32771" fmla="*/ 2536759 h 5973007"/>
              <a:gd name="connsiteX32772" fmla="*/ 1190544 w 6884782"/>
              <a:gd name="connsiteY32772" fmla="*/ 2534590 h 5973007"/>
              <a:gd name="connsiteX32773" fmla="*/ 1193333 w 6884782"/>
              <a:gd name="connsiteY32773" fmla="*/ 2534126 h 5973007"/>
              <a:gd name="connsiteX32774" fmla="*/ 1193539 w 6884782"/>
              <a:gd name="connsiteY32774" fmla="*/ 2534281 h 5973007"/>
              <a:gd name="connsiteX32775" fmla="*/ 1198082 w 6884782"/>
              <a:gd name="connsiteY32775" fmla="*/ 2525607 h 5973007"/>
              <a:gd name="connsiteX32776" fmla="*/ 1210886 w 6884782"/>
              <a:gd name="connsiteY32776" fmla="*/ 2510891 h 5973007"/>
              <a:gd name="connsiteX32777" fmla="*/ 1217598 w 6884782"/>
              <a:gd name="connsiteY32777" fmla="*/ 2506554 h 5973007"/>
              <a:gd name="connsiteX32778" fmla="*/ 1215120 w 6884782"/>
              <a:gd name="connsiteY32778" fmla="*/ 2495247 h 5973007"/>
              <a:gd name="connsiteX32779" fmla="*/ 1218114 w 6884782"/>
              <a:gd name="connsiteY32779" fmla="*/ 2481461 h 5973007"/>
              <a:gd name="connsiteX32780" fmla="*/ 1382498 w 6884782"/>
              <a:gd name="connsiteY32780" fmla="*/ 2480841 h 5973007"/>
              <a:gd name="connsiteX32781" fmla="*/ 1383014 w 6884782"/>
              <a:gd name="connsiteY32781" fmla="*/ 2481616 h 5973007"/>
              <a:gd name="connsiteX32782" fmla="*/ 1379194 w 6884782"/>
              <a:gd name="connsiteY32782" fmla="*/ 2483474 h 5973007"/>
              <a:gd name="connsiteX32783" fmla="*/ 1379607 w 6884782"/>
              <a:gd name="connsiteY32783" fmla="*/ 2481306 h 5973007"/>
              <a:gd name="connsiteX32784" fmla="*/ 1382498 w 6884782"/>
              <a:gd name="connsiteY32784" fmla="*/ 2480841 h 5973007"/>
              <a:gd name="connsiteX32785" fmla="*/ 935399 w 6884782"/>
              <a:gd name="connsiteY32785" fmla="*/ 2480841 h 5973007"/>
              <a:gd name="connsiteX32786" fmla="*/ 937360 w 6884782"/>
              <a:gd name="connsiteY32786" fmla="*/ 2480841 h 5973007"/>
              <a:gd name="connsiteX32787" fmla="*/ 937980 w 6884782"/>
              <a:gd name="connsiteY32787" fmla="*/ 2483010 h 5973007"/>
              <a:gd name="connsiteX32788" fmla="*/ 935502 w 6884782"/>
              <a:gd name="connsiteY32788" fmla="*/ 2487502 h 5973007"/>
              <a:gd name="connsiteX32789" fmla="*/ 933540 w 6884782"/>
              <a:gd name="connsiteY32789" fmla="*/ 2487502 h 5973007"/>
              <a:gd name="connsiteX32790" fmla="*/ 932610 w 6884782"/>
              <a:gd name="connsiteY32790" fmla="*/ 2483784 h 5973007"/>
              <a:gd name="connsiteX32791" fmla="*/ 935399 w 6884782"/>
              <a:gd name="connsiteY32791" fmla="*/ 2480841 h 5973007"/>
              <a:gd name="connsiteX32792" fmla="*/ 1310425 w 6884782"/>
              <a:gd name="connsiteY32792" fmla="*/ 2480686 h 5973007"/>
              <a:gd name="connsiteX32793" fmla="*/ 1311974 w 6884782"/>
              <a:gd name="connsiteY32793" fmla="*/ 2481461 h 5973007"/>
              <a:gd name="connsiteX32794" fmla="*/ 1310941 w 6884782"/>
              <a:gd name="connsiteY32794" fmla="*/ 2485953 h 5973007"/>
              <a:gd name="connsiteX32795" fmla="*/ 1310218 w 6884782"/>
              <a:gd name="connsiteY32795" fmla="*/ 2485024 h 5973007"/>
              <a:gd name="connsiteX32796" fmla="*/ 1309908 w 6884782"/>
              <a:gd name="connsiteY32796" fmla="*/ 2485333 h 5973007"/>
              <a:gd name="connsiteX32797" fmla="*/ 1309289 w 6884782"/>
              <a:gd name="connsiteY32797" fmla="*/ 2483320 h 5973007"/>
              <a:gd name="connsiteX32798" fmla="*/ 1310425 w 6884782"/>
              <a:gd name="connsiteY32798" fmla="*/ 2480686 h 5973007"/>
              <a:gd name="connsiteX32799" fmla="*/ 927241 w 6884782"/>
              <a:gd name="connsiteY32799" fmla="*/ 2480067 h 5973007"/>
              <a:gd name="connsiteX32800" fmla="*/ 926415 w 6884782"/>
              <a:gd name="connsiteY32800" fmla="*/ 2483474 h 5973007"/>
              <a:gd name="connsiteX32801" fmla="*/ 924866 w 6884782"/>
              <a:gd name="connsiteY32801" fmla="*/ 2483320 h 5973007"/>
              <a:gd name="connsiteX32802" fmla="*/ 923731 w 6884782"/>
              <a:gd name="connsiteY32802" fmla="*/ 2481306 h 5973007"/>
              <a:gd name="connsiteX32803" fmla="*/ 914954 w 6884782"/>
              <a:gd name="connsiteY32803" fmla="*/ 2480067 h 5973007"/>
              <a:gd name="connsiteX32804" fmla="*/ 922595 w 6884782"/>
              <a:gd name="connsiteY32804" fmla="*/ 2481616 h 5973007"/>
              <a:gd name="connsiteX32805" fmla="*/ 921356 w 6884782"/>
              <a:gd name="connsiteY32805" fmla="*/ 2488741 h 5973007"/>
              <a:gd name="connsiteX32806" fmla="*/ 919394 w 6884782"/>
              <a:gd name="connsiteY32806" fmla="*/ 2488896 h 5973007"/>
              <a:gd name="connsiteX32807" fmla="*/ 917329 w 6884782"/>
              <a:gd name="connsiteY32807" fmla="*/ 2488431 h 5973007"/>
              <a:gd name="connsiteX32808" fmla="*/ 913818 w 6884782"/>
              <a:gd name="connsiteY32808" fmla="*/ 2485333 h 5973007"/>
              <a:gd name="connsiteX32809" fmla="*/ 913508 w 6884782"/>
              <a:gd name="connsiteY32809" fmla="*/ 2482855 h 5973007"/>
              <a:gd name="connsiteX32810" fmla="*/ 914024 w 6884782"/>
              <a:gd name="connsiteY32810" fmla="*/ 2481616 h 5973007"/>
              <a:gd name="connsiteX32811" fmla="*/ 914954 w 6884782"/>
              <a:gd name="connsiteY32811" fmla="*/ 2480067 h 5973007"/>
              <a:gd name="connsiteX32812" fmla="*/ 583811 w 6884782"/>
              <a:gd name="connsiteY32812" fmla="*/ 2478673 h 5973007"/>
              <a:gd name="connsiteX32813" fmla="*/ 585463 w 6884782"/>
              <a:gd name="connsiteY32813" fmla="*/ 2483165 h 5973007"/>
              <a:gd name="connsiteX32814" fmla="*/ 582882 w 6884782"/>
              <a:gd name="connsiteY32814" fmla="*/ 2479447 h 5973007"/>
              <a:gd name="connsiteX32815" fmla="*/ 583811 w 6884782"/>
              <a:gd name="connsiteY32815" fmla="*/ 2478673 h 5973007"/>
              <a:gd name="connsiteX32816" fmla="*/ 783612 w 6884782"/>
              <a:gd name="connsiteY32816" fmla="*/ 2477588 h 5973007"/>
              <a:gd name="connsiteX32817" fmla="*/ 784851 w 6884782"/>
              <a:gd name="connsiteY32817" fmla="*/ 2478673 h 5973007"/>
              <a:gd name="connsiteX32818" fmla="*/ 776590 w 6884782"/>
              <a:gd name="connsiteY32818" fmla="*/ 2478208 h 5973007"/>
              <a:gd name="connsiteX32819" fmla="*/ 783612 w 6884782"/>
              <a:gd name="connsiteY32819" fmla="*/ 2477588 h 5973007"/>
              <a:gd name="connsiteX32820" fmla="*/ 1181974 w 6884782"/>
              <a:gd name="connsiteY32820" fmla="*/ 2474800 h 5973007"/>
              <a:gd name="connsiteX32821" fmla="*/ 1181251 w 6884782"/>
              <a:gd name="connsiteY32821" fmla="*/ 2476659 h 5973007"/>
              <a:gd name="connsiteX32822" fmla="*/ 1180735 w 6884782"/>
              <a:gd name="connsiteY32822" fmla="*/ 2477279 h 5973007"/>
              <a:gd name="connsiteX32823" fmla="*/ 1182491 w 6884782"/>
              <a:gd name="connsiteY32823" fmla="*/ 2477743 h 5973007"/>
              <a:gd name="connsiteX32824" fmla="*/ 1185795 w 6884782"/>
              <a:gd name="connsiteY32824" fmla="*/ 2480841 h 5973007"/>
              <a:gd name="connsiteX32825" fmla="*/ 1180941 w 6884782"/>
              <a:gd name="connsiteY32825" fmla="*/ 2488276 h 5973007"/>
              <a:gd name="connsiteX32826" fmla="*/ 1173404 w 6884782"/>
              <a:gd name="connsiteY32826" fmla="*/ 2482855 h 5973007"/>
              <a:gd name="connsiteX32827" fmla="*/ 1173507 w 6884782"/>
              <a:gd name="connsiteY32827" fmla="*/ 2480531 h 5973007"/>
              <a:gd name="connsiteX32828" fmla="*/ 1175263 w 6884782"/>
              <a:gd name="connsiteY32828" fmla="*/ 2478208 h 5973007"/>
              <a:gd name="connsiteX32829" fmla="*/ 1179186 w 6884782"/>
              <a:gd name="connsiteY32829" fmla="*/ 2476659 h 5973007"/>
              <a:gd name="connsiteX32830" fmla="*/ 1180529 w 6884782"/>
              <a:gd name="connsiteY32830" fmla="*/ 2477124 h 5973007"/>
              <a:gd name="connsiteX32831" fmla="*/ 1180425 w 6884782"/>
              <a:gd name="connsiteY32831" fmla="*/ 2475110 h 5973007"/>
              <a:gd name="connsiteX32832" fmla="*/ 1181974 w 6884782"/>
              <a:gd name="connsiteY32832" fmla="*/ 2474800 h 5973007"/>
              <a:gd name="connsiteX32833" fmla="*/ 5184179 w 6884782"/>
              <a:gd name="connsiteY32833" fmla="*/ 2474767 h 5973007"/>
              <a:gd name="connsiteX32834" fmla="*/ 5187807 w 6884782"/>
              <a:gd name="connsiteY32834" fmla="*/ 2476474 h 5973007"/>
              <a:gd name="connsiteX32835" fmla="*/ 5184606 w 6884782"/>
              <a:gd name="connsiteY32835" fmla="*/ 2484868 h 5973007"/>
              <a:gd name="connsiteX32836" fmla="*/ 5184179 w 6884782"/>
              <a:gd name="connsiteY32836" fmla="*/ 2474767 h 5973007"/>
              <a:gd name="connsiteX32837" fmla="*/ 1461592 w 6884782"/>
              <a:gd name="connsiteY32837" fmla="*/ 2474181 h 5973007"/>
              <a:gd name="connsiteX32838" fmla="*/ 1460250 w 6884782"/>
              <a:gd name="connsiteY32838" fmla="*/ 2475420 h 5973007"/>
              <a:gd name="connsiteX32839" fmla="*/ 1461282 w 6884782"/>
              <a:gd name="connsiteY32839" fmla="*/ 2475110 h 5973007"/>
              <a:gd name="connsiteX32840" fmla="*/ 5114177 w 6884782"/>
              <a:gd name="connsiteY32840" fmla="*/ 2473629 h 5973007"/>
              <a:gd name="connsiteX32841" fmla="*/ 5117592 w 6884782"/>
              <a:gd name="connsiteY32841" fmla="*/ 2489278 h 5973007"/>
              <a:gd name="connsiteX32842" fmla="*/ 5107348 w 6884782"/>
              <a:gd name="connsiteY32842" fmla="*/ 2484015 h 5973007"/>
              <a:gd name="connsiteX32843" fmla="*/ 5114177 w 6884782"/>
              <a:gd name="connsiteY32843" fmla="*/ 2473629 h 5973007"/>
              <a:gd name="connsiteX32844" fmla="*/ 1355135 w 6884782"/>
              <a:gd name="connsiteY32844" fmla="*/ 2471392 h 5973007"/>
              <a:gd name="connsiteX32845" fmla="*/ 1359162 w 6884782"/>
              <a:gd name="connsiteY32845" fmla="*/ 2472787 h 5973007"/>
              <a:gd name="connsiteX32846" fmla="*/ 1356167 w 6884782"/>
              <a:gd name="connsiteY32846" fmla="*/ 2476814 h 5973007"/>
              <a:gd name="connsiteX32847" fmla="*/ 1353999 w 6884782"/>
              <a:gd name="connsiteY32847" fmla="*/ 2474336 h 5973007"/>
              <a:gd name="connsiteX32848" fmla="*/ 1355135 w 6884782"/>
              <a:gd name="connsiteY32848" fmla="*/ 2471392 h 5973007"/>
              <a:gd name="connsiteX32849" fmla="*/ 5397599 w 6884782"/>
              <a:gd name="connsiteY32849" fmla="*/ 2470499 h 5973007"/>
              <a:gd name="connsiteX32850" fmla="*/ 5400587 w 6884782"/>
              <a:gd name="connsiteY32850" fmla="*/ 2471495 h 5973007"/>
              <a:gd name="connsiteX32851" fmla="*/ 5396318 w 6884782"/>
              <a:gd name="connsiteY32851" fmla="*/ 2473629 h 5973007"/>
              <a:gd name="connsiteX32852" fmla="*/ 5393971 w 6884782"/>
              <a:gd name="connsiteY32852" fmla="*/ 2470925 h 5973007"/>
              <a:gd name="connsiteX32853" fmla="*/ 5397599 w 6884782"/>
              <a:gd name="connsiteY32853" fmla="*/ 2470499 h 5973007"/>
              <a:gd name="connsiteX32854" fmla="*/ 1172165 w 6884782"/>
              <a:gd name="connsiteY32854" fmla="*/ 2470308 h 5973007"/>
              <a:gd name="connsiteX32855" fmla="*/ 1173920 w 6884782"/>
              <a:gd name="connsiteY32855" fmla="*/ 2470928 h 5973007"/>
              <a:gd name="connsiteX32856" fmla="*/ 1173404 w 6884782"/>
              <a:gd name="connsiteY32856" fmla="*/ 2475265 h 5973007"/>
              <a:gd name="connsiteX32857" fmla="*/ 1172474 w 6884782"/>
              <a:gd name="connsiteY32857" fmla="*/ 2474491 h 5973007"/>
              <a:gd name="connsiteX32858" fmla="*/ 1172268 w 6884782"/>
              <a:gd name="connsiteY32858" fmla="*/ 2474800 h 5973007"/>
              <a:gd name="connsiteX32859" fmla="*/ 1171442 w 6884782"/>
              <a:gd name="connsiteY32859" fmla="*/ 2472941 h 5973007"/>
              <a:gd name="connsiteX32860" fmla="*/ 1172165 w 6884782"/>
              <a:gd name="connsiteY32860" fmla="*/ 2470308 h 5973007"/>
              <a:gd name="connsiteX32861" fmla="*/ 5402721 w 6884782"/>
              <a:gd name="connsiteY32861" fmla="*/ 2469503 h 5973007"/>
              <a:gd name="connsiteX32862" fmla="*/ 5403788 w 6884782"/>
              <a:gd name="connsiteY32862" fmla="*/ 2470072 h 5973007"/>
              <a:gd name="connsiteX32863" fmla="*/ 5401440 w 6884782"/>
              <a:gd name="connsiteY32863" fmla="*/ 2471210 h 5973007"/>
              <a:gd name="connsiteX32864" fmla="*/ 5401013 w 6884782"/>
              <a:gd name="connsiteY32864" fmla="*/ 2470214 h 5973007"/>
              <a:gd name="connsiteX32865" fmla="*/ 5402721 w 6884782"/>
              <a:gd name="connsiteY32865" fmla="*/ 2469503 h 5973007"/>
              <a:gd name="connsiteX32866" fmla="*/ 993635 w 6884782"/>
              <a:gd name="connsiteY32866" fmla="*/ 2468760 h 5973007"/>
              <a:gd name="connsiteX32867" fmla="*/ 1001895 w 6884782"/>
              <a:gd name="connsiteY32867" fmla="*/ 2472632 h 5973007"/>
              <a:gd name="connsiteX32868" fmla="*/ 1003031 w 6884782"/>
              <a:gd name="connsiteY32868" fmla="*/ 2471083 h 5973007"/>
              <a:gd name="connsiteX32869" fmla="*/ 1008194 w 6884782"/>
              <a:gd name="connsiteY32869" fmla="*/ 2469379 h 5973007"/>
              <a:gd name="connsiteX32870" fmla="*/ 1013667 w 6884782"/>
              <a:gd name="connsiteY32870" fmla="*/ 2470153 h 5973007"/>
              <a:gd name="connsiteX32871" fmla="*/ 1010362 w 6884782"/>
              <a:gd name="connsiteY32871" fmla="*/ 2474800 h 5973007"/>
              <a:gd name="connsiteX32872" fmla="*/ 1006335 w 6884782"/>
              <a:gd name="connsiteY32872" fmla="*/ 2474646 h 5973007"/>
              <a:gd name="connsiteX32873" fmla="*/ 1010465 w 6884782"/>
              <a:gd name="connsiteY32873" fmla="*/ 2476659 h 5973007"/>
              <a:gd name="connsiteX32874" fmla="*/ 1010982 w 6884782"/>
              <a:gd name="connsiteY32874" fmla="*/ 2489825 h 5973007"/>
              <a:gd name="connsiteX32875" fmla="*/ 993635 w 6884782"/>
              <a:gd name="connsiteY32875" fmla="*/ 2468760 h 5973007"/>
              <a:gd name="connsiteX32876" fmla="*/ 752428 w 6884782"/>
              <a:gd name="connsiteY32876" fmla="*/ 2468760 h 5973007"/>
              <a:gd name="connsiteX32877" fmla="*/ 757901 w 6884782"/>
              <a:gd name="connsiteY32877" fmla="*/ 2469534 h 5973007"/>
              <a:gd name="connsiteX32878" fmla="*/ 758933 w 6884782"/>
              <a:gd name="connsiteY32878" fmla="*/ 2471857 h 5973007"/>
              <a:gd name="connsiteX32879" fmla="*/ 756249 w 6884782"/>
              <a:gd name="connsiteY32879" fmla="*/ 2472167 h 5973007"/>
              <a:gd name="connsiteX32880" fmla="*/ 755320 w 6884782"/>
              <a:gd name="connsiteY32880" fmla="*/ 2470773 h 5973007"/>
              <a:gd name="connsiteX32881" fmla="*/ 752531 w 6884782"/>
              <a:gd name="connsiteY32881" fmla="*/ 2470308 h 5973007"/>
              <a:gd name="connsiteX32882" fmla="*/ 752428 w 6884782"/>
              <a:gd name="connsiteY32882" fmla="*/ 2468760 h 5973007"/>
              <a:gd name="connsiteX32883" fmla="*/ 1221831 w 6884782"/>
              <a:gd name="connsiteY32883" fmla="*/ 2467985 h 5973007"/>
              <a:gd name="connsiteX32884" fmla="*/ 1225238 w 6884782"/>
              <a:gd name="connsiteY32884" fmla="*/ 2470618 h 5973007"/>
              <a:gd name="connsiteX32885" fmla="*/ 1221315 w 6884782"/>
              <a:gd name="connsiteY32885" fmla="*/ 2470773 h 5973007"/>
              <a:gd name="connsiteX32886" fmla="*/ 1221831 w 6884782"/>
              <a:gd name="connsiteY32886" fmla="*/ 2467985 h 5973007"/>
              <a:gd name="connsiteX32887" fmla="*/ 5409337 w 6884782"/>
              <a:gd name="connsiteY32887" fmla="*/ 2467226 h 5973007"/>
              <a:gd name="connsiteX32888" fmla="*/ 5408483 w 6884782"/>
              <a:gd name="connsiteY32888" fmla="*/ 2468791 h 5973007"/>
              <a:gd name="connsiteX32889" fmla="*/ 5406563 w 6884782"/>
              <a:gd name="connsiteY32889" fmla="*/ 2467369 h 5973007"/>
              <a:gd name="connsiteX32890" fmla="*/ 5409337 w 6884782"/>
              <a:gd name="connsiteY32890" fmla="*/ 2467226 h 5973007"/>
              <a:gd name="connsiteX32891" fmla="*/ 1201283 w 6884782"/>
              <a:gd name="connsiteY32891" fmla="*/ 2467056 h 5973007"/>
              <a:gd name="connsiteX32892" fmla="*/ 1205104 w 6884782"/>
              <a:gd name="connsiteY32892" fmla="*/ 2477743 h 5973007"/>
              <a:gd name="connsiteX32893" fmla="*/ 1204794 w 6884782"/>
              <a:gd name="connsiteY32893" fmla="*/ 2490290 h 5973007"/>
              <a:gd name="connsiteX32894" fmla="*/ 1198495 w 6884782"/>
              <a:gd name="connsiteY32894" fmla="*/ 2479602 h 5973007"/>
              <a:gd name="connsiteX32895" fmla="*/ 1201283 w 6884782"/>
              <a:gd name="connsiteY32895" fmla="*/ 2467056 h 5973007"/>
              <a:gd name="connsiteX32896" fmla="*/ 1279448 w 6884782"/>
              <a:gd name="connsiteY32896" fmla="*/ 2466281 h 5973007"/>
              <a:gd name="connsiteX32897" fmla="*/ 1271704 w 6884782"/>
              <a:gd name="connsiteY32897" fmla="*/ 2470618 h 5973007"/>
              <a:gd name="connsiteX32898" fmla="*/ 1271807 w 6884782"/>
              <a:gd name="connsiteY32898" fmla="*/ 2466901 h 5973007"/>
              <a:gd name="connsiteX32899" fmla="*/ 1279448 w 6884782"/>
              <a:gd name="connsiteY32899" fmla="*/ 2466281 h 5973007"/>
              <a:gd name="connsiteX32900" fmla="*/ 1307224 w 6884782"/>
              <a:gd name="connsiteY32900" fmla="*/ 2465817 h 5973007"/>
              <a:gd name="connsiteX32901" fmla="*/ 1309908 w 6884782"/>
              <a:gd name="connsiteY32901" fmla="*/ 2476194 h 5973007"/>
              <a:gd name="connsiteX32902" fmla="*/ 1301648 w 6884782"/>
              <a:gd name="connsiteY32902" fmla="*/ 2474336 h 5973007"/>
              <a:gd name="connsiteX32903" fmla="*/ 1307224 w 6884782"/>
              <a:gd name="connsiteY32903" fmla="*/ 2465817 h 5973007"/>
              <a:gd name="connsiteX32904" fmla="*/ 1243928 w 6884782"/>
              <a:gd name="connsiteY32904" fmla="*/ 2464732 h 5973007"/>
              <a:gd name="connsiteX32905" fmla="*/ 1249813 w 6884782"/>
              <a:gd name="connsiteY32905" fmla="*/ 2469379 h 5973007"/>
              <a:gd name="connsiteX32906" fmla="*/ 1248678 w 6884782"/>
              <a:gd name="connsiteY32906" fmla="*/ 2471238 h 5973007"/>
              <a:gd name="connsiteX32907" fmla="*/ 1248574 w 6884782"/>
              <a:gd name="connsiteY32907" fmla="*/ 2471392 h 5973007"/>
              <a:gd name="connsiteX32908" fmla="*/ 1249607 w 6884782"/>
              <a:gd name="connsiteY32908" fmla="*/ 2471857 h 5973007"/>
              <a:gd name="connsiteX32909" fmla="*/ 1251775 w 6884782"/>
              <a:gd name="connsiteY32909" fmla="*/ 2473096 h 5973007"/>
              <a:gd name="connsiteX32910" fmla="*/ 1253737 w 6884782"/>
              <a:gd name="connsiteY32910" fmla="*/ 2473406 h 5973007"/>
              <a:gd name="connsiteX32911" fmla="*/ 1256525 w 6884782"/>
              <a:gd name="connsiteY32911" fmla="*/ 2476194 h 5973007"/>
              <a:gd name="connsiteX32912" fmla="*/ 1254563 w 6884782"/>
              <a:gd name="connsiteY32912" fmla="*/ 2475730 h 5973007"/>
              <a:gd name="connsiteX32913" fmla="*/ 1252395 w 6884782"/>
              <a:gd name="connsiteY32913" fmla="*/ 2474646 h 5973007"/>
              <a:gd name="connsiteX32914" fmla="*/ 1250743 w 6884782"/>
              <a:gd name="connsiteY32914" fmla="*/ 2475110 h 5973007"/>
              <a:gd name="connsiteX32915" fmla="*/ 1247129 w 6884782"/>
              <a:gd name="connsiteY32915" fmla="*/ 2473561 h 5973007"/>
              <a:gd name="connsiteX32916" fmla="*/ 1246819 w 6884782"/>
              <a:gd name="connsiteY32916" fmla="*/ 2472941 h 5973007"/>
              <a:gd name="connsiteX32917" fmla="*/ 1241140 w 6884782"/>
              <a:gd name="connsiteY32917" fmla="*/ 2473716 h 5973007"/>
              <a:gd name="connsiteX32918" fmla="*/ 1234015 w 6884782"/>
              <a:gd name="connsiteY32918" fmla="*/ 2471857 h 5973007"/>
              <a:gd name="connsiteX32919" fmla="*/ 1233912 w 6884782"/>
              <a:gd name="connsiteY32919" fmla="*/ 2469689 h 5973007"/>
              <a:gd name="connsiteX32920" fmla="*/ 1238765 w 6884782"/>
              <a:gd name="connsiteY32920" fmla="*/ 2465197 h 5973007"/>
              <a:gd name="connsiteX32921" fmla="*/ 1243928 w 6884782"/>
              <a:gd name="connsiteY32921" fmla="*/ 2464732 h 5973007"/>
              <a:gd name="connsiteX32922" fmla="*/ 1062300 w 6884782"/>
              <a:gd name="connsiteY32922" fmla="*/ 2464732 h 5973007"/>
              <a:gd name="connsiteX32923" fmla="*/ 1061784 w 6884782"/>
              <a:gd name="connsiteY32923" fmla="*/ 2467210 h 5973007"/>
              <a:gd name="connsiteX32924" fmla="*/ 1059306 w 6884782"/>
              <a:gd name="connsiteY32924" fmla="*/ 2467520 h 5973007"/>
              <a:gd name="connsiteX32925" fmla="*/ 1057654 w 6884782"/>
              <a:gd name="connsiteY32925" fmla="*/ 2468450 h 5973007"/>
              <a:gd name="connsiteX32926" fmla="*/ 1055279 w 6884782"/>
              <a:gd name="connsiteY32926" fmla="*/ 2466901 h 5973007"/>
              <a:gd name="connsiteX32927" fmla="*/ 1056931 w 6884782"/>
              <a:gd name="connsiteY32927" fmla="*/ 2466126 h 5973007"/>
              <a:gd name="connsiteX32928" fmla="*/ 1062300 w 6884782"/>
              <a:gd name="connsiteY32928" fmla="*/ 2464732 h 5973007"/>
              <a:gd name="connsiteX32929" fmla="*/ 1150688 w 6884782"/>
              <a:gd name="connsiteY32929" fmla="*/ 2463958 h 5973007"/>
              <a:gd name="connsiteX32930" fmla="*/ 1154611 w 6884782"/>
              <a:gd name="connsiteY32930" fmla="*/ 2471857 h 5973007"/>
              <a:gd name="connsiteX32931" fmla="*/ 1143460 w 6884782"/>
              <a:gd name="connsiteY32931" fmla="*/ 2482390 h 5973007"/>
              <a:gd name="connsiteX32932" fmla="*/ 1143047 w 6884782"/>
              <a:gd name="connsiteY32932" fmla="*/ 2481616 h 5973007"/>
              <a:gd name="connsiteX32933" fmla="*/ 1139536 w 6884782"/>
              <a:gd name="connsiteY32933" fmla="*/ 2485489 h 5973007"/>
              <a:gd name="connsiteX32934" fmla="*/ 1133857 w 6884782"/>
              <a:gd name="connsiteY32934" fmla="*/ 2481151 h 5973007"/>
              <a:gd name="connsiteX32935" fmla="*/ 1131792 w 6884782"/>
              <a:gd name="connsiteY32935" fmla="*/ 2476349 h 5973007"/>
              <a:gd name="connsiteX32936" fmla="*/ 1128797 w 6884782"/>
              <a:gd name="connsiteY32936" fmla="*/ 2479757 h 5973007"/>
              <a:gd name="connsiteX32937" fmla="*/ 1120124 w 6884782"/>
              <a:gd name="connsiteY32937" fmla="*/ 2480841 h 5973007"/>
              <a:gd name="connsiteX32938" fmla="*/ 1118678 w 6884782"/>
              <a:gd name="connsiteY32938" fmla="*/ 2478673 h 5973007"/>
              <a:gd name="connsiteX32939" fmla="*/ 1130553 w 6884782"/>
              <a:gd name="connsiteY32939" fmla="*/ 2467520 h 5973007"/>
              <a:gd name="connsiteX32940" fmla="*/ 1131379 w 6884782"/>
              <a:gd name="connsiteY32940" fmla="*/ 2467830 h 5973007"/>
              <a:gd name="connsiteX32941" fmla="*/ 1132308 w 6884782"/>
              <a:gd name="connsiteY32941" fmla="*/ 2467675 h 5973007"/>
              <a:gd name="connsiteX32942" fmla="*/ 1136851 w 6884782"/>
              <a:gd name="connsiteY32942" fmla="*/ 2470153 h 5973007"/>
              <a:gd name="connsiteX32943" fmla="*/ 1150688 w 6884782"/>
              <a:gd name="connsiteY32943" fmla="*/ 2463958 h 5973007"/>
              <a:gd name="connsiteX32944" fmla="*/ 761721 w 6884782"/>
              <a:gd name="connsiteY32944" fmla="*/ 2463183 h 5973007"/>
              <a:gd name="connsiteX32945" fmla="*/ 763580 w 6884782"/>
              <a:gd name="connsiteY32945" fmla="*/ 2464577 h 5973007"/>
              <a:gd name="connsiteX32946" fmla="*/ 765335 w 6884782"/>
              <a:gd name="connsiteY32946" fmla="*/ 2465197 h 5973007"/>
              <a:gd name="connsiteX32947" fmla="*/ 765438 w 6884782"/>
              <a:gd name="connsiteY32947" fmla="*/ 2467830 h 5973007"/>
              <a:gd name="connsiteX32948" fmla="*/ 763683 w 6884782"/>
              <a:gd name="connsiteY32948" fmla="*/ 2467210 h 5973007"/>
              <a:gd name="connsiteX32949" fmla="*/ 759140 w 6884782"/>
              <a:gd name="connsiteY32949" fmla="*/ 2464267 h 5973007"/>
              <a:gd name="connsiteX32950" fmla="*/ 761721 w 6884782"/>
              <a:gd name="connsiteY32950" fmla="*/ 2463183 h 5973007"/>
              <a:gd name="connsiteX32951" fmla="*/ 6156093 w 6884782"/>
              <a:gd name="connsiteY32951" fmla="*/ 2462959 h 5973007"/>
              <a:gd name="connsiteX32952" fmla="*/ 6144781 w 6884782"/>
              <a:gd name="connsiteY32952" fmla="*/ 2475194 h 5973007"/>
              <a:gd name="connsiteX32953" fmla="*/ 6140940 w 6884782"/>
              <a:gd name="connsiteY32953" fmla="*/ 2471922 h 5973007"/>
              <a:gd name="connsiteX32954" fmla="*/ 6156093 w 6884782"/>
              <a:gd name="connsiteY32954" fmla="*/ 2462959 h 5973007"/>
              <a:gd name="connsiteX32955" fmla="*/ 583295 w 6884782"/>
              <a:gd name="connsiteY32955" fmla="*/ 2462718 h 5973007"/>
              <a:gd name="connsiteX32956" fmla="*/ 583295 w 6884782"/>
              <a:gd name="connsiteY32956" fmla="*/ 2463493 h 5973007"/>
              <a:gd name="connsiteX32957" fmla="*/ 584121 w 6884782"/>
              <a:gd name="connsiteY32957" fmla="*/ 2462718 h 5973007"/>
              <a:gd name="connsiteX32958" fmla="*/ 585566 w 6884782"/>
              <a:gd name="connsiteY32958" fmla="*/ 2474646 h 5973007"/>
              <a:gd name="connsiteX32959" fmla="*/ 584740 w 6884782"/>
              <a:gd name="connsiteY32959" fmla="*/ 2474646 h 5973007"/>
              <a:gd name="connsiteX32960" fmla="*/ 582882 w 6884782"/>
              <a:gd name="connsiteY32960" fmla="*/ 2465817 h 5973007"/>
              <a:gd name="connsiteX32961" fmla="*/ 583295 w 6884782"/>
              <a:gd name="connsiteY32961" fmla="*/ 2462718 h 5973007"/>
              <a:gd name="connsiteX32962" fmla="*/ 5427691 w 6884782"/>
              <a:gd name="connsiteY32962" fmla="*/ 2462105 h 5973007"/>
              <a:gd name="connsiteX32963" fmla="*/ 5409337 w 6884782"/>
              <a:gd name="connsiteY32963" fmla="*/ 2467369 h 5973007"/>
              <a:gd name="connsiteX32964" fmla="*/ 5427691 w 6884782"/>
              <a:gd name="connsiteY32964" fmla="*/ 2462105 h 5973007"/>
              <a:gd name="connsiteX32965" fmla="*/ 1411616 w 6884782"/>
              <a:gd name="connsiteY32965" fmla="*/ 2462099 h 5973007"/>
              <a:gd name="connsiteX32966" fmla="*/ 1411203 w 6884782"/>
              <a:gd name="connsiteY32966" fmla="*/ 2462409 h 5973007"/>
              <a:gd name="connsiteX32967" fmla="*/ 1408105 w 6884782"/>
              <a:gd name="connsiteY32967" fmla="*/ 2466746 h 5973007"/>
              <a:gd name="connsiteX32968" fmla="*/ 1408002 w 6884782"/>
              <a:gd name="connsiteY32968" fmla="*/ 2467056 h 5973007"/>
              <a:gd name="connsiteX32969" fmla="*/ 1410377 w 6884782"/>
              <a:gd name="connsiteY32969" fmla="*/ 2465352 h 5973007"/>
              <a:gd name="connsiteX32970" fmla="*/ 1414404 w 6884782"/>
              <a:gd name="connsiteY32970" fmla="*/ 2464732 h 5973007"/>
              <a:gd name="connsiteX32971" fmla="*/ 1413578 w 6884782"/>
              <a:gd name="connsiteY32971" fmla="*/ 2464732 h 5973007"/>
              <a:gd name="connsiteX32972" fmla="*/ 573692 w 6884782"/>
              <a:gd name="connsiteY32972" fmla="*/ 2461014 h 5973007"/>
              <a:gd name="connsiteX32973" fmla="*/ 577203 w 6884782"/>
              <a:gd name="connsiteY32973" fmla="*/ 2461324 h 5973007"/>
              <a:gd name="connsiteX32974" fmla="*/ 577203 w 6884782"/>
              <a:gd name="connsiteY32974" fmla="*/ 2463028 h 5973007"/>
              <a:gd name="connsiteX32975" fmla="*/ 581436 w 6884782"/>
              <a:gd name="connsiteY32975" fmla="*/ 2476039 h 5973007"/>
              <a:gd name="connsiteX32976" fmla="*/ 573692 w 6884782"/>
              <a:gd name="connsiteY32976" fmla="*/ 2461014 h 5973007"/>
              <a:gd name="connsiteX32977" fmla="*/ 6278596 w 6884782"/>
              <a:gd name="connsiteY32977" fmla="*/ 2460540 h 5973007"/>
              <a:gd name="connsiteX32978" fmla="*/ 6287559 w 6884782"/>
              <a:gd name="connsiteY32978" fmla="*/ 2476190 h 5973007"/>
              <a:gd name="connsiteX32979" fmla="*/ 6281370 w 6884782"/>
              <a:gd name="connsiteY32979" fmla="*/ 2478750 h 5973007"/>
              <a:gd name="connsiteX32980" fmla="*/ 6278596 w 6884782"/>
              <a:gd name="connsiteY32980" fmla="*/ 2460540 h 5973007"/>
              <a:gd name="connsiteX32981" fmla="*/ 4839079 w 6884782"/>
              <a:gd name="connsiteY32981" fmla="*/ 2460540 h 5973007"/>
              <a:gd name="connsiteX32982" fmla="*/ 4874720 w 6884782"/>
              <a:gd name="connsiteY32982" fmla="*/ 2484015 h 5973007"/>
              <a:gd name="connsiteX32983" fmla="*/ 4850604 w 6884782"/>
              <a:gd name="connsiteY32983" fmla="*/ 2480885 h 5973007"/>
              <a:gd name="connsiteX32984" fmla="*/ 4839079 w 6884782"/>
              <a:gd name="connsiteY32984" fmla="*/ 2460540 h 5973007"/>
              <a:gd name="connsiteX32985" fmla="*/ 1332005 w 6884782"/>
              <a:gd name="connsiteY32985" fmla="*/ 2460085 h 5973007"/>
              <a:gd name="connsiteX32986" fmla="*/ 1318892 w 6884782"/>
              <a:gd name="connsiteY32986" fmla="*/ 2500049 h 5973007"/>
              <a:gd name="connsiteX32987" fmla="*/ 1310528 w 6884782"/>
              <a:gd name="connsiteY32987" fmla="*/ 2494627 h 5973007"/>
              <a:gd name="connsiteX32988" fmla="*/ 1325191 w 6884782"/>
              <a:gd name="connsiteY32988" fmla="*/ 2470153 h 5973007"/>
              <a:gd name="connsiteX32989" fmla="*/ 1316001 w 6884782"/>
              <a:gd name="connsiteY32989" fmla="*/ 2472941 h 5973007"/>
              <a:gd name="connsiteX32990" fmla="*/ 1325294 w 6884782"/>
              <a:gd name="connsiteY32990" fmla="*/ 2469999 h 5973007"/>
              <a:gd name="connsiteX32991" fmla="*/ 1332005 w 6884782"/>
              <a:gd name="connsiteY32991" fmla="*/ 2460085 h 5973007"/>
              <a:gd name="connsiteX32992" fmla="*/ 851309 w 6884782"/>
              <a:gd name="connsiteY32992" fmla="*/ 2460047 h 5973007"/>
              <a:gd name="connsiteX32993" fmla="*/ 875200 w 6884782"/>
              <a:gd name="connsiteY32993" fmla="*/ 2464113 h 5973007"/>
              <a:gd name="connsiteX32994" fmla="*/ 873445 w 6884782"/>
              <a:gd name="connsiteY32994" fmla="*/ 2473096 h 5973007"/>
              <a:gd name="connsiteX32995" fmla="*/ 861983 w 6884782"/>
              <a:gd name="connsiteY32995" fmla="*/ 2470618 h 5973007"/>
              <a:gd name="connsiteX32996" fmla="*/ 860434 w 6884782"/>
              <a:gd name="connsiteY32996" fmla="*/ 2470928 h 5973007"/>
              <a:gd name="connsiteX32997" fmla="*/ 858266 w 6884782"/>
              <a:gd name="connsiteY32997" fmla="*/ 2470463 h 5973007"/>
              <a:gd name="connsiteX32998" fmla="*/ 857853 w 6884782"/>
              <a:gd name="connsiteY32998" fmla="*/ 2469689 h 5973007"/>
              <a:gd name="connsiteX32999" fmla="*/ 850832 w 6884782"/>
              <a:gd name="connsiteY32999" fmla="*/ 2468140 h 5973007"/>
              <a:gd name="connsiteX33000" fmla="*/ 830284 w 6884782"/>
              <a:gd name="connsiteY33000" fmla="*/ 2463183 h 5973007"/>
              <a:gd name="connsiteX33001" fmla="*/ 851309 w 6884782"/>
              <a:gd name="connsiteY33001" fmla="*/ 2460047 h 5973007"/>
              <a:gd name="connsiteX33002" fmla="*/ 1229265 w 6884782"/>
              <a:gd name="connsiteY33002" fmla="*/ 2459775 h 5973007"/>
              <a:gd name="connsiteX33003" fmla="*/ 1238249 w 6884782"/>
              <a:gd name="connsiteY33003" fmla="*/ 2460550 h 5973007"/>
              <a:gd name="connsiteX33004" fmla="*/ 1225342 w 6884782"/>
              <a:gd name="connsiteY33004" fmla="*/ 2466591 h 5973007"/>
              <a:gd name="connsiteX33005" fmla="*/ 1225032 w 6884782"/>
              <a:gd name="connsiteY33005" fmla="*/ 2464267 h 5973007"/>
              <a:gd name="connsiteX33006" fmla="*/ 1229265 w 6884782"/>
              <a:gd name="connsiteY33006" fmla="*/ 2459775 h 5973007"/>
              <a:gd name="connsiteX33007" fmla="*/ 859505 w 6884782"/>
              <a:gd name="connsiteY33007" fmla="*/ 2456988 h 5973007"/>
              <a:gd name="connsiteX33008" fmla="*/ 861983 w 6884782"/>
              <a:gd name="connsiteY33008" fmla="*/ 2459466 h 5973007"/>
              <a:gd name="connsiteX33009" fmla="*/ 858576 w 6884782"/>
              <a:gd name="connsiteY33009" fmla="*/ 2460395 h 5973007"/>
              <a:gd name="connsiteX33010" fmla="*/ 858163 w 6884782"/>
              <a:gd name="connsiteY33010" fmla="*/ 2459001 h 5973007"/>
              <a:gd name="connsiteX33011" fmla="*/ 859505 w 6884782"/>
              <a:gd name="connsiteY33011" fmla="*/ 2456988 h 5973007"/>
              <a:gd name="connsiteX33012" fmla="*/ 1099886 w 6884782"/>
              <a:gd name="connsiteY33012" fmla="*/ 2456832 h 5973007"/>
              <a:gd name="connsiteX33013" fmla="*/ 1105978 w 6884782"/>
              <a:gd name="connsiteY33013" fmla="*/ 2467056 h 5973007"/>
              <a:gd name="connsiteX33014" fmla="*/ 1109385 w 6884782"/>
              <a:gd name="connsiteY33014" fmla="*/ 2469844 h 5973007"/>
              <a:gd name="connsiteX33015" fmla="*/ 1110005 w 6884782"/>
              <a:gd name="connsiteY33015" fmla="*/ 2469224 h 5973007"/>
              <a:gd name="connsiteX33016" fmla="*/ 1109798 w 6884782"/>
              <a:gd name="connsiteY33016" fmla="*/ 2468914 h 5973007"/>
              <a:gd name="connsiteX33017" fmla="*/ 1115477 w 6884782"/>
              <a:gd name="connsiteY33017" fmla="*/ 2465971 h 5973007"/>
              <a:gd name="connsiteX33018" fmla="*/ 1115064 w 6884782"/>
              <a:gd name="connsiteY33018" fmla="*/ 2474491 h 5973007"/>
              <a:gd name="connsiteX33019" fmla="*/ 1114858 w 6884782"/>
              <a:gd name="connsiteY33019" fmla="*/ 2474955 h 5973007"/>
              <a:gd name="connsiteX33020" fmla="*/ 1116406 w 6884782"/>
              <a:gd name="connsiteY33020" fmla="*/ 2477898 h 5973007"/>
              <a:gd name="connsiteX33021" fmla="*/ 1116923 w 6884782"/>
              <a:gd name="connsiteY33021" fmla="*/ 2481771 h 5973007"/>
              <a:gd name="connsiteX33022" fmla="*/ 1115580 w 6884782"/>
              <a:gd name="connsiteY33022" fmla="*/ 2487812 h 5973007"/>
              <a:gd name="connsiteX33023" fmla="*/ 1117439 w 6884782"/>
              <a:gd name="connsiteY33023" fmla="*/ 2488121 h 5973007"/>
              <a:gd name="connsiteX33024" fmla="*/ 1113515 w 6884782"/>
              <a:gd name="connsiteY33024" fmla="*/ 2491994 h 5973007"/>
              <a:gd name="connsiteX33025" fmla="*/ 1113309 w 6884782"/>
              <a:gd name="connsiteY33025" fmla="*/ 2491994 h 5973007"/>
              <a:gd name="connsiteX33026" fmla="*/ 1111450 w 6884782"/>
              <a:gd name="connsiteY33026" fmla="*/ 2494162 h 5973007"/>
              <a:gd name="connsiteX33027" fmla="*/ 1111760 w 6884782"/>
              <a:gd name="connsiteY33027" fmla="*/ 2494162 h 5973007"/>
              <a:gd name="connsiteX33028" fmla="*/ 1113722 w 6884782"/>
              <a:gd name="connsiteY33028" fmla="*/ 2494937 h 5973007"/>
              <a:gd name="connsiteX33029" fmla="*/ 1114341 w 6884782"/>
              <a:gd name="connsiteY33029" fmla="*/ 2496331 h 5973007"/>
              <a:gd name="connsiteX33030" fmla="*/ 1116716 w 6884782"/>
              <a:gd name="connsiteY33030" fmla="*/ 2496795 h 5973007"/>
              <a:gd name="connsiteX33031" fmla="*/ 1122912 w 6884782"/>
              <a:gd name="connsiteY33031" fmla="*/ 2499429 h 5973007"/>
              <a:gd name="connsiteX33032" fmla="*/ 1132204 w 6884782"/>
              <a:gd name="connsiteY33032" fmla="*/ 2505780 h 5973007"/>
              <a:gd name="connsiteX33033" fmla="*/ 1132204 w 6884782"/>
              <a:gd name="connsiteY33033" fmla="*/ 2506089 h 5973007"/>
              <a:gd name="connsiteX33034" fmla="*/ 1134373 w 6884782"/>
              <a:gd name="connsiteY33034" fmla="*/ 2507483 h 5973007"/>
              <a:gd name="connsiteX33035" fmla="*/ 1134373 w 6884782"/>
              <a:gd name="connsiteY33035" fmla="*/ 2514609 h 5973007"/>
              <a:gd name="connsiteX33036" fmla="*/ 1129830 w 6884782"/>
              <a:gd name="connsiteY33036" fmla="*/ 2511511 h 5973007"/>
              <a:gd name="connsiteX33037" fmla="*/ 1128384 w 6884782"/>
              <a:gd name="connsiteY33037" fmla="*/ 2513370 h 5973007"/>
              <a:gd name="connsiteX33038" fmla="*/ 1121053 w 6884782"/>
              <a:gd name="connsiteY33038" fmla="*/ 2514609 h 5973007"/>
              <a:gd name="connsiteX33039" fmla="*/ 1120021 w 6884782"/>
              <a:gd name="connsiteY33039" fmla="*/ 2514299 h 5973007"/>
              <a:gd name="connsiteX33040" fmla="*/ 1120330 w 6884782"/>
              <a:gd name="connsiteY33040" fmla="*/ 2524522 h 5973007"/>
              <a:gd name="connsiteX33041" fmla="*/ 1120640 w 6884782"/>
              <a:gd name="connsiteY33041" fmla="*/ 2527465 h 5973007"/>
              <a:gd name="connsiteX33042" fmla="*/ 1121569 w 6884782"/>
              <a:gd name="connsiteY33042" fmla="*/ 2528084 h 5973007"/>
              <a:gd name="connsiteX33043" fmla="*/ 1124254 w 6884782"/>
              <a:gd name="connsiteY33043" fmla="*/ 2530253 h 5973007"/>
              <a:gd name="connsiteX33044" fmla="*/ 1121776 w 6884782"/>
              <a:gd name="connsiteY33044" fmla="*/ 2532577 h 5973007"/>
              <a:gd name="connsiteX33045" fmla="*/ 1121260 w 6884782"/>
              <a:gd name="connsiteY33045" fmla="*/ 2532731 h 5973007"/>
              <a:gd name="connsiteX33046" fmla="*/ 1121260 w 6884782"/>
              <a:gd name="connsiteY33046" fmla="*/ 2533196 h 5973007"/>
              <a:gd name="connsiteX33047" fmla="*/ 1120950 w 6884782"/>
              <a:gd name="connsiteY33047" fmla="*/ 2532886 h 5973007"/>
              <a:gd name="connsiteX33048" fmla="*/ 1119814 w 6884782"/>
              <a:gd name="connsiteY33048" fmla="*/ 2533351 h 5973007"/>
              <a:gd name="connsiteX33049" fmla="*/ 1117026 w 6884782"/>
              <a:gd name="connsiteY33049" fmla="*/ 2533041 h 5973007"/>
              <a:gd name="connsiteX33050" fmla="*/ 1115374 w 6884782"/>
              <a:gd name="connsiteY33050" fmla="*/ 2531802 h 5973007"/>
              <a:gd name="connsiteX33051" fmla="*/ 1113515 w 6884782"/>
              <a:gd name="connsiteY33051" fmla="*/ 2530253 h 5973007"/>
              <a:gd name="connsiteX33052" fmla="*/ 1113309 w 6884782"/>
              <a:gd name="connsiteY33052" fmla="*/ 2529788 h 5973007"/>
              <a:gd name="connsiteX33053" fmla="*/ 1111966 w 6884782"/>
              <a:gd name="connsiteY33053" fmla="*/ 2529479 h 5973007"/>
              <a:gd name="connsiteX33054" fmla="*/ 1102467 w 6884782"/>
              <a:gd name="connsiteY33054" fmla="*/ 2529479 h 5973007"/>
              <a:gd name="connsiteX33055" fmla="*/ 1102364 w 6884782"/>
              <a:gd name="connsiteY33055" fmla="*/ 2531182 h 5973007"/>
              <a:gd name="connsiteX33056" fmla="*/ 1100505 w 6884782"/>
              <a:gd name="connsiteY33056" fmla="*/ 2535365 h 5973007"/>
              <a:gd name="connsiteX33057" fmla="*/ 1094310 w 6884782"/>
              <a:gd name="connsiteY33057" fmla="*/ 2530408 h 5973007"/>
              <a:gd name="connsiteX33058" fmla="*/ 1094413 w 6884782"/>
              <a:gd name="connsiteY33058" fmla="*/ 2528395 h 5973007"/>
              <a:gd name="connsiteX33059" fmla="*/ 1092761 w 6884782"/>
              <a:gd name="connsiteY33059" fmla="*/ 2527930 h 5973007"/>
              <a:gd name="connsiteX33060" fmla="*/ 1089250 w 6884782"/>
              <a:gd name="connsiteY33060" fmla="*/ 2525296 h 5973007"/>
              <a:gd name="connsiteX33061" fmla="*/ 1088218 w 6884782"/>
              <a:gd name="connsiteY33061" fmla="*/ 2500203 h 5973007"/>
              <a:gd name="connsiteX33062" fmla="*/ 1088734 w 6884782"/>
              <a:gd name="connsiteY33062" fmla="*/ 2499893 h 5973007"/>
              <a:gd name="connsiteX33063" fmla="*/ 1086565 w 6884782"/>
              <a:gd name="connsiteY33063" fmla="*/ 2498499 h 5973007"/>
              <a:gd name="connsiteX33064" fmla="*/ 1086359 w 6884782"/>
              <a:gd name="connsiteY33064" fmla="*/ 2500203 h 5973007"/>
              <a:gd name="connsiteX33065" fmla="*/ 1080990 w 6884782"/>
              <a:gd name="connsiteY33065" fmla="*/ 2501442 h 5973007"/>
              <a:gd name="connsiteX33066" fmla="*/ 1080887 w 6884782"/>
              <a:gd name="connsiteY33066" fmla="*/ 2496795 h 5973007"/>
              <a:gd name="connsiteX33067" fmla="*/ 1082125 w 6884782"/>
              <a:gd name="connsiteY33067" fmla="*/ 2494937 h 5973007"/>
              <a:gd name="connsiteX33068" fmla="*/ 1079441 w 6884782"/>
              <a:gd name="connsiteY33068" fmla="*/ 2490135 h 5973007"/>
              <a:gd name="connsiteX33069" fmla="*/ 1078925 w 6884782"/>
              <a:gd name="connsiteY33069" fmla="*/ 2485953 h 5973007"/>
              <a:gd name="connsiteX33070" fmla="*/ 1079647 w 6884782"/>
              <a:gd name="connsiteY33070" fmla="*/ 2481151 h 5973007"/>
              <a:gd name="connsiteX33071" fmla="*/ 1087908 w 6884782"/>
              <a:gd name="connsiteY33071" fmla="*/ 2469379 h 5973007"/>
              <a:gd name="connsiteX33072" fmla="*/ 1090489 w 6884782"/>
              <a:gd name="connsiteY33072" fmla="*/ 2466901 h 5973007"/>
              <a:gd name="connsiteX33073" fmla="*/ 1090696 w 6884782"/>
              <a:gd name="connsiteY33073" fmla="*/ 2465661 h 5973007"/>
              <a:gd name="connsiteX33074" fmla="*/ 1092038 w 6884782"/>
              <a:gd name="connsiteY33074" fmla="*/ 2462563 h 5973007"/>
              <a:gd name="connsiteX33075" fmla="*/ 1093587 w 6884782"/>
              <a:gd name="connsiteY33075" fmla="*/ 2462099 h 5973007"/>
              <a:gd name="connsiteX33076" fmla="*/ 1093174 w 6884782"/>
              <a:gd name="connsiteY33076" fmla="*/ 2464267 h 5973007"/>
              <a:gd name="connsiteX33077" fmla="*/ 1093897 w 6884782"/>
              <a:gd name="connsiteY33077" fmla="*/ 2463648 h 5973007"/>
              <a:gd name="connsiteX33078" fmla="*/ 1099886 w 6884782"/>
              <a:gd name="connsiteY33078" fmla="*/ 2456832 h 5973007"/>
              <a:gd name="connsiteX33079" fmla="*/ 4916978 w 6884782"/>
              <a:gd name="connsiteY33079" fmla="*/ 2455987 h 5973007"/>
              <a:gd name="connsiteX33080" fmla="*/ 4918898 w 6884782"/>
              <a:gd name="connsiteY33080" fmla="*/ 2456699 h 5973007"/>
              <a:gd name="connsiteX33081" fmla="*/ 4919966 w 6884782"/>
              <a:gd name="connsiteY33081" fmla="*/ 2456272 h 5973007"/>
              <a:gd name="connsiteX33082" fmla="*/ 4919966 w 6884782"/>
              <a:gd name="connsiteY33082" fmla="*/ 2456983 h 5973007"/>
              <a:gd name="connsiteX33083" fmla="*/ 4921032 w 6884782"/>
              <a:gd name="connsiteY33083" fmla="*/ 2457410 h 5973007"/>
              <a:gd name="connsiteX33084" fmla="*/ 4925301 w 6884782"/>
              <a:gd name="connsiteY33084" fmla="*/ 2461678 h 5973007"/>
              <a:gd name="connsiteX33085" fmla="*/ 4914416 w 6884782"/>
              <a:gd name="connsiteY33085" fmla="*/ 2475479 h 5973007"/>
              <a:gd name="connsiteX33086" fmla="*/ 4916978 w 6884782"/>
              <a:gd name="connsiteY33086" fmla="*/ 2455987 h 5973007"/>
              <a:gd name="connsiteX33087" fmla="*/ 747369 w 6884782"/>
              <a:gd name="connsiteY33087" fmla="*/ 2455903 h 5973007"/>
              <a:gd name="connsiteX33088" fmla="*/ 751809 w 6884782"/>
              <a:gd name="connsiteY33088" fmla="*/ 2456213 h 5973007"/>
              <a:gd name="connsiteX33089" fmla="*/ 754906 w 6884782"/>
              <a:gd name="connsiteY33089" fmla="*/ 2463183 h 5973007"/>
              <a:gd name="connsiteX33090" fmla="*/ 751396 w 6884782"/>
              <a:gd name="connsiteY33090" fmla="*/ 2463648 h 5973007"/>
              <a:gd name="connsiteX33091" fmla="*/ 746956 w 6884782"/>
              <a:gd name="connsiteY33091" fmla="*/ 2458071 h 5973007"/>
              <a:gd name="connsiteX33092" fmla="*/ 747369 w 6884782"/>
              <a:gd name="connsiteY33092" fmla="*/ 2455903 h 5973007"/>
              <a:gd name="connsiteX33093" fmla="*/ 5083872 w 6884782"/>
              <a:gd name="connsiteY33093" fmla="*/ 2455134 h 5973007"/>
              <a:gd name="connsiteX33094" fmla="*/ 5093049 w 6884782"/>
              <a:gd name="connsiteY33094" fmla="*/ 2463243 h 5973007"/>
              <a:gd name="connsiteX33095" fmla="*/ 5082805 w 6884782"/>
              <a:gd name="connsiteY33095" fmla="*/ 2462390 h 5973007"/>
              <a:gd name="connsiteX33096" fmla="*/ 5083872 w 6884782"/>
              <a:gd name="connsiteY33096" fmla="*/ 2455134 h 5973007"/>
              <a:gd name="connsiteX33097" fmla="*/ 6146489 w 6884782"/>
              <a:gd name="connsiteY33097" fmla="*/ 2454992 h 5973007"/>
              <a:gd name="connsiteX33098" fmla="*/ 6146275 w 6884782"/>
              <a:gd name="connsiteY33098" fmla="*/ 2456130 h 5973007"/>
              <a:gd name="connsiteX33099" fmla="*/ 6146434 w 6884782"/>
              <a:gd name="connsiteY33099" fmla="*/ 2455034 h 5973007"/>
              <a:gd name="connsiteX33100" fmla="*/ 6203258 w 6884782"/>
              <a:gd name="connsiteY33100" fmla="*/ 2453427 h 5973007"/>
              <a:gd name="connsiteX33101" fmla="*/ 6178928 w 6884782"/>
              <a:gd name="connsiteY33101" fmla="*/ 2489563 h 5973007"/>
              <a:gd name="connsiteX33102" fmla="*/ 6178288 w 6884782"/>
              <a:gd name="connsiteY33102" fmla="*/ 2489990 h 5973007"/>
              <a:gd name="connsiteX33103" fmla="*/ 6181276 w 6884782"/>
              <a:gd name="connsiteY33103" fmla="*/ 2490559 h 5973007"/>
              <a:gd name="connsiteX33104" fmla="*/ 6185545 w 6884782"/>
              <a:gd name="connsiteY33104" fmla="*/ 2493546 h 5973007"/>
              <a:gd name="connsiteX33105" fmla="*/ 6187039 w 6884782"/>
              <a:gd name="connsiteY33105" fmla="*/ 2507062 h 5973007"/>
              <a:gd name="connsiteX33106" fmla="*/ 6189173 w 6884782"/>
              <a:gd name="connsiteY33106" fmla="*/ 2508627 h 5973007"/>
              <a:gd name="connsiteX33107" fmla="*/ 6191094 w 6884782"/>
              <a:gd name="connsiteY33107" fmla="*/ 2513891 h 5973007"/>
              <a:gd name="connsiteX33108" fmla="*/ 6188959 w 6884782"/>
              <a:gd name="connsiteY33108" fmla="*/ 2514602 h 5973007"/>
              <a:gd name="connsiteX33109" fmla="*/ 6185758 w 6884782"/>
              <a:gd name="connsiteY33109" fmla="*/ 2509338 h 5973007"/>
              <a:gd name="connsiteX33110" fmla="*/ 6184691 w 6884782"/>
              <a:gd name="connsiteY33110" fmla="*/ 2509053 h 5973007"/>
              <a:gd name="connsiteX33111" fmla="*/ 6182130 w 6884782"/>
              <a:gd name="connsiteY33111" fmla="*/ 2511046 h 5973007"/>
              <a:gd name="connsiteX33112" fmla="*/ 6170605 w 6884782"/>
              <a:gd name="connsiteY33112" fmla="*/ 2509196 h 5973007"/>
              <a:gd name="connsiteX33113" fmla="*/ 6167617 w 6884782"/>
              <a:gd name="connsiteY33113" fmla="*/ 2499379 h 5973007"/>
              <a:gd name="connsiteX33114" fmla="*/ 6167831 w 6884782"/>
              <a:gd name="connsiteY33114" fmla="*/ 2496961 h 5973007"/>
              <a:gd name="connsiteX33115" fmla="*/ 6165483 w 6884782"/>
              <a:gd name="connsiteY33115" fmla="*/ 2491128 h 5973007"/>
              <a:gd name="connsiteX33116" fmla="*/ 6203258 w 6884782"/>
              <a:gd name="connsiteY33116" fmla="*/ 2453427 h 5973007"/>
              <a:gd name="connsiteX33117" fmla="*/ 1348204 w 6884782"/>
              <a:gd name="connsiteY33117" fmla="*/ 2452069 h 5973007"/>
              <a:gd name="connsiteX33118" fmla="*/ 1353586 w 6884782"/>
              <a:gd name="connsiteY33118" fmla="*/ 2454199 h 5973007"/>
              <a:gd name="connsiteX33119" fmla="*/ 1354515 w 6884782"/>
              <a:gd name="connsiteY33119" fmla="*/ 2458381 h 5973007"/>
              <a:gd name="connsiteX33120" fmla="*/ 1349456 w 6884782"/>
              <a:gd name="connsiteY33120" fmla="*/ 2464113 h 5973007"/>
              <a:gd name="connsiteX33121" fmla="*/ 1342434 w 6884782"/>
              <a:gd name="connsiteY33121" fmla="*/ 2458536 h 5973007"/>
              <a:gd name="connsiteX33122" fmla="*/ 1348204 w 6884782"/>
              <a:gd name="connsiteY33122" fmla="*/ 2452069 h 5973007"/>
              <a:gd name="connsiteX33123" fmla="*/ 1277486 w 6884782"/>
              <a:gd name="connsiteY33123" fmla="*/ 2451566 h 5973007"/>
              <a:gd name="connsiteX33124" fmla="*/ 1263133 w 6884782"/>
              <a:gd name="connsiteY33124" fmla="*/ 2458846 h 5973007"/>
              <a:gd name="connsiteX33125" fmla="*/ 1277486 w 6884782"/>
              <a:gd name="connsiteY33125" fmla="*/ 2451566 h 5973007"/>
              <a:gd name="connsiteX33126" fmla="*/ 4821152 w 6884782"/>
              <a:gd name="connsiteY33126" fmla="*/ 2450866 h 5973007"/>
              <a:gd name="connsiteX33127" fmla="*/ 4828835 w 6884782"/>
              <a:gd name="connsiteY33127" fmla="*/ 2465519 h 5973007"/>
              <a:gd name="connsiteX33128" fmla="*/ 4815176 w 6884782"/>
              <a:gd name="connsiteY33128" fmla="*/ 2455703 h 5973007"/>
              <a:gd name="connsiteX33129" fmla="*/ 4821152 w 6884782"/>
              <a:gd name="connsiteY33129" fmla="*/ 2450866 h 5973007"/>
              <a:gd name="connsiteX33130" fmla="*/ 5200826 w 6884782"/>
              <a:gd name="connsiteY33130" fmla="*/ 2450581 h 5973007"/>
              <a:gd name="connsiteX33131" fmla="*/ 5200186 w 6884782"/>
              <a:gd name="connsiteY33131" fmla="*/ 2481454 h 5973007"/>
              <a:gd name="connsiteX33132" fmla="*/ 5193569 w 6884782"/>
              <a:gd name="connsiteY33132" fmla="*/ 2477327 h 5973007"/>
              <a:gd name="connsiteX33133" fmla="*/ 5200826 w 6884782"/>
              <a:gd name="connsiteY33133" fmla="*/ 2450581 h 5973007"/>
              <a:gd name="connsiteX33134" fmla="*/ 639053 w 6884782"/>
              <a:gd name="connsiteY33134" fmla="*/ 2450017 h 5973007"/>
              <a:gd name="connsiteX33135" fmla="*/ 639879 w 6884782"/>
              <a:gd name="connsiteY33135" fmla="*/ 2457762 h 5973007"/>
              <a:gd name="connsiteX33136" fmla="*/ 639776 w 6884782"/>
              <a:gd name="connsiteY33136" fmla="*/ 2461789 h 5973007"/>
              <a:gd name="connsiteX33137" fmla="*/ 638020 w 6884782"/>
              <a:gd name="connsiteY33137" fmla="*/ 2463338 h 5973007"/>
              <a:gd name="connsiteX33138" fmla="*/ 637091 w 6884782"/>
              <a:gd name="connsiteY33138" fmla="*/ 2463183 h 5973007"/>
              <a:gd name="connsiteX33139" fmla="*/ 636472 w 6884782"/>
              <a:gd name="connsiteY33139" fmla="*/ 2461324 h 5973007"/>
              <a:gd name="connsiteX33140" fmla="*/ 637297 w 6884782"/>
              <a:gd name="connsiteY33140" fmla="*/ 2453270 h 5973007"/>
              <a:gd name="connsiteX33141" fmla="*/ 637297 w 6884782"/>
              <a:gd name="connsiteY33141" fmla="*/ 2451566 h 5973007"/>
              <a:gd name="connsiteX33142" fmla="*/ 639053 w 6884782"/>
              <a:gd name="connsiteY33142" fmla="*/ 2450017 h 5973007"/>
              <a:gd name="connsiteX33143" fmla="*/ 6160361 w 6884782"/>
              <a:gd name="connsiteY33143" fmla="*/ 2448874 h 5973007"/>
              <a:gd name="connsiteX33144" fmla="*/ 6165483 w 6884782"/>
              <a:gd name="connsiteY33144" fmla="*/ 2453712 h 5973007"/>
              <a:gd name="connsiteX33145" fmla="*/ 6162495 w 6884782"/>
              <a:gd name="connsiteY33145" fmla="*/ 2458264 h 5973007"/>
              <a:gd name="connsiteX33146" fmla="*/ 6157373 w 6884782"/>
              <a:gd name="connsiteY33146" fmla="*/ 2453427 h 5973007"/>
              <a:gd name="connsiteX33147" fmla="*/ 6160361 w 6884782"/>
              <a:gd name="connsiteY33147" fmla="*/ 2448874 h 5973007"/>
              <a:gd name="connsiteX33148" fmla="*/ 855685 w 6884782"/>
              <a:gd name="connsiteY33148" fmla="*/ 2448778 h 5973007"/>
              <a:gd name="connsiteX33149" fmla="*/ 857440 w 6884782"/>
              <a:gd name="connsiteY33149" fmla="*/ 2448778 h 5973007"/>
              <a:gd name="connsiteX33150" fmla="*/ 858163 w 6884782"/>
              <a:gd name="connsiteY33150" fmla="*/ 2450017 h 5973007"/>
              <a:gd name="connsiteX33151" fmla="*/ 858679 w 6884782"/>
              <a:gd name="connsiteY33151" fmla="*/ 2449552 h 5973007"/>
              <a:gd name="connsiteX33152" fmla="*/ 861363 w 6884782"/>
              <a:gd name="connsiteY33152" fmla="*/ 2449242 h 5973007"/>
              <a:gd name="connsiteX33153" fmla="*/ 862602 w 6884782"/>
              <a:gd name="connsiteY33153" fmla="*/ 2453270 h 5973007"/>
              <a:gd name="connsiteX33154" fmla="*/ 860847 w 6884782"/>
              <a:gd name="connsiteY33154" fmla="*/ 2454509 h 5973007"/>
              <a:gd name="connsiteX33155" fmla="*/ 859298 w 6884782"/>
              <a:gd name="connsiteY33155" fmla="*/ 2454199 h 5973007"/>
              <a:gd name="connsiteX33156" fmla="*/ 858782 w 6884782"/>
              <a:gd name="connsiteY33156" fmla="*/ 2456213 h 5973007"/>
              <a:gd name="connsiteX33157" fmla="*/ 851658 w 6884782"/>
              <a:gd name="connsiteY33157" fmla="*/ 2459001 h 5973007"/>
              <a:gd name="connsiteX33158" fmla="*/ 850935 w 6884782"/>
              <a:gd name="connsiteY33158" fmla="*/ 2457297 h 5973007"/>
              <a:gd name="connsiteX33159" fmla="*/ 850419 w 6884782"/>
              <a:gd name="connsiteY33159" fmla="*/ 2455284 h 5973007"/>
              <a:gd name="connsiteX33160" fmla="*/ 852071 w 6884782"/>
              <a:gd name="connsiteY33160" fmla="*/ 2450791 h 5973007"/>
              <a:gd name="connsiteX33161" fmla="*/ 855685 w 6884782"/>
              <a:gd name="connsiteY33161" fmla="*/ 2448778 h 5973007"/>
              <a:gd name="connsiteX33162" fmla="*/ 4938320 w 6884782"/>
              <a:gd name="connsiteY33162" fmla="*/ 2447736 h 5973007"/>
              <a:gd name="connsiteX33163" fmla="*/ 4943228 w 6884782"/>
              <a:gd name="connsiteY33163" fmla="*/ 2474909 h 5973007"/>
              <a:gd name="connsiteX33164" fmla="*/ 4937679 w 6884782"/>
              <a:gd name="connsiteY33164" fmla="*/ 2480457 h 5973007"/>
              <a:gd name="connsiteX33165" fmla="*/ 4938320 w 6884782"/>
              <a:gd name="connsiteY33165" fmla="*/ 2447736 h 5973007"/>
              <a:gd name="connsiteX33166" fmla="*/ 816396 w 6884782"/>
              <a:gd name="connsiteY33166" fmla="*/ 2447151 h 5973007"/>
              <a:gd name="connsiteX33167" fmla="*/ 827496 w 6884782"/>
              <a:gd name="connsiteY33167" fmla="*/ 2454664 h 5973007"/>
              <a:gd name="connsiteX33168" fmla="*/ 815518 w 6884782"/>
              <a:gd name="connsiteY33168" fmla="*/ 2453425 h 5973007"/>
              <a:gd name="connsiteX33169" fmla="*/ 803127 w 6884782"/>
              <a:gd name="connsiteY33169" fmla="*/ 2448003 h 5973007"/>
              <a:gd name="connsiteX33170" fmla="*/ 816396 w 6884782"/>
              <a:gd name="connsiteY33170" fmla="*/ 2447151 h 5973007"/>
              <a:gd name="connsiteX33171" fmla="*/ 1014596 w 6884782"/>
              <a:gd name="connsiteY33171" fmla="*/ 2445370 h 5973007"/>
              <a:gd name="connsiteX33172" fmla="*/ 1015009 w 6884782"/>
              <a:gd name="connsiteY33172" fmla="*/ 2446145 h 5973007"/>
              <a:gd name="connsiteX33173" fmla="*/ 1016764 w 6884782"/>
              <a:gd name="connsiteY33173" fmla="*/ 2448778 h 5973007"/>
              <a:gd name="connsiteX33174" fmla="*/ 1013976 w 6884782"/>
              <a:gd name="connsiteY33174" fmla="*/ 2452650 h 5973007"/>
              <a:gd name="connsiteX33175" fmla="*/ 1009846 w 6884782"/>
              <a:gd name="connsiteY33175" fmla="*/ 2449552 h 5973007"/>
              <a:gd name="connsiteX33176" fmla="*/ 1012428 w 6884782"/>
              <a:gd name="connsiteY33176" fmla="*/ 2445525 h 5973007"/>
              <a:gd name="connsiteX33177" fmla="*/ 1014596 w 6884782"/>
              <a:gd name="connsiteY33177" fmla="*/ 2445370 h 5973007"/>
              <a:gd name="connsiteX33178" fmla="*/ 1111657 w 6884782"/>
              <a:gd name="connsiteY33178" fmla="*/ 2444131 h 5973007"/>
              <a:gd name="connsiteX33179" fmla="*/ 1113722 w 6884782"/>
              <a:gd name="connsiteY33179" fmla="*/ 2444595 h 5973007"/>
              <a:gd name="connsiteX33180" fmla="*/ 1115684 w 6884782"/>
              <a:gd name="connsiteY33180" fmla="*/ 2448933 h 5973007"/>
              <a:gd name="connsiteX33181" fmla="*/ 1126629 w 6884782"/>
              <a:gd name="connsiteY33181" fmla="*/ 2448623 h 5973007"/>
              <a:gd name="connsiteX33182" fmla="*/ 1130553 w 6884782"/>
              <a:gd name="connsiteY33182" fmla="*/ 2450482 h 5973007"/>
              <a:gd name="connsiteX33183" fmla="*/ 1131069 w 6884782"/>
              <a:gd name="connsiteY33183" fmla="*/ 2449242 h 5973007"/>
              <a:gd name="connsiteX33184" fmla="*/ 1134889 w 6884782"/>
              <a:gd name="connsiteY33184" fmla="*/ 2447848 h 5973007"/>
              <a:gd name="connsiteX33185" fmla="*/ 1134166 w 6884782"/>
              <a:gd name="connsiteY33185" fmla="*/ 2448158 h 5973007"/>
              <a:gd name="connsiteX33186" fmla="*/ 1134993 w 6884782"/>
              <a:gd name="connsiteY33186" fmla="*/ 2449707 h 5973007"/>
              <a:gd name="connsiteX33187" fmla="*/ 1135819 w 6884782"/>
              <a:gd name="connsiteY33187" fmla="*/ 2449242 h 5973007"/>
              <a:gd name="connsiteX33188" fmla="*/ 1136025 w 6884782"/>
              <a:gd name="connsiteY33188" fmla="*/ 2451101 h 5973007"/>
              <a:gd name="connsiteX33189" fmla="*/ 1134580 w 6884782"/>
              <a:gd name="connsiteY33189" fmla="*/ 2454509 h 5973007"/>
              <a:gd name="connsiteX33190" fmla="*/ 1134166 w 6884782"/>
              <a:gd name="connsiteY33190" fmla="*/ 2454819 h 5973007"/>
              <a:gd name="connsiteX33191" fmla="*/ 1134683 w 6884782"/>
              <a:gd name="connsiteY33191" fmla="*/ 2455593 h 5973007"/>
              <a:gd name="connsiteX33192" fmla="*/ 1133857 w 6884782"/>
              <a:gd name="connsiteY33192" fmla="*/ 2460859 h 5973007"/>
              <a:gd name="connsiteX33193" fmla="*/ 1128488 w 6884782"/>
              <a:gd name="connsiteY33193" fmla="*/ 2460240 h 5973007"/>
              <a:gd name="connsiteX33194" fmla="*/ 1127971 w 6884782"/>
              <a:gd name="connsiteY33194" fmla="*/ 2459930 h 5973007"/>
              <a:gd name="connsiteX33195" fmla="*/ 1125699 w 6884782"/>
              <a:gd name="connsiteY33195" fmla="*/ 2461789 h 5973007"/>
              <a:gd name="connsiteX33196" fmla="*/ 1127248 w 6884782"/>
              <a:gd name="connsiteY33196" fmla="*/ 2462718 h 5973007"/>
              <a:gd name="connsiteX33197" fmla="*/ 1128384 w 6884782"/>
              <a:gd name="connsiteY33197" fmla="*/ 2464887 h 5973007"/>
              <a:gd name="connsiteX33198" fmla="*/ 1127868 w 6884782"/>
              <a:gd name="connsiteY33198" fmla="*/ 2466746 h 5973007"/>
              <a:gd name="connsiteX33199" fmla="*/ 1127145 w 6884782"/>
              <a:gd name="connsiteY33199" fmla="*/ 2467056 h 5973007"/>
              <a:gd name="connsiteX33200" fmla="*/ 1123841 w 6884782"/>
              <a:gd name="connsiteY33200" fmla="*/ 2467830 h 5973007"/>
              <a:gd name="connsiteX33201" fmla="*/ 1121673 w 6884782"/>
              <a:gd name="connsiteY33201" fmla="*/ 2466281 h 5973007"/>
              <a:gd name="connsiteX33202" fmla="*/ 1120743 w 6884782"/>
              <a:gd name="connsiteY33202" fmla="*/ 2464422 h 5973007"/>
              <a:gd name="connsiteX33203" fmla="*/ 1119814 w 6884782"/>
              <a:gd name="connsiteY33203" fmla="*/ 2464732 h 5973007"/>
              <a:gd name="connsiteX33204" fmla="*/ 1112690 w 6884782"/>
              <a:gd name="connsiteY33204" fmla="*/ 2462254 h 5973007"/>
              <a:gd name="connsiteX33205" fmla="*/ 1112793 w 6884782"/>
              <a:gd name="connsiteY33205" fmla="*/ 2461479 h 5973007"/>
              <a:gd name="connsiteX33206" fmla="*/ 1107320 w 6884782"/>
              <a:gd name="connsiteY33206" fmla="*/ 2462718 h 5973007"/>
              <a:gd name="connsiteX33207" fmla="*/ 1105668 w 6884782"/>
              <a:gd name="connsiteY33207" fmla="*/ 2459775 h 5973007"/>
              <a:gd name="connsiteX33208" fmla="*/ 1105668 w 6884782"/>
              <a:gd name="connsiteY33208" fmla="*/ 2456523 h 5973007"/>
              <a:gd name="connsiteX33209" fmla="*/ 1107836 w 6884782"/>
              <a:gd name="connsiteY33209" fmla="*/ 2450482 h 5973007"/>
              <a:gd name="connsiteX33210" fmla="*/ 1108559 w 6884782"/>
              <a:gd name="connsiteY33210" fmla="*/ 2448778 h 5973007"/>
              <a:gd name="connsiteX33211" fmla="*/ 1107733 w 6884782"/>
              <a:gd name="connsiteY33211" fmla="*/ 2448623 h 5973007"/>
              <a:gd name="connsiteX33212" fmla="*/ 1108869 w 6884782"/>
              <a:gd name="connsiteY33212" fmla="*/ 2447848 h 5973007"/>
              <a:gd name="connsiteX33213" fmla="*/ 1108869 w 6884782"/>
              <a:gd name="connsiteY33213" fmla="*/ 2447694 h 5973007"/>
              <a:gd name="connsiteX33214" fmla="*/ 1108972 w 6884782"/>
              <a:gd name="connsiteY33214" fmla="*/ 2446919 h 5973007"/>
              <a:gd name="connsiteX33215" fmla="*/ 1111657 w 6884782"/>
              <a:gd name="connsiteY33215" fmla="*/ 2444131 h 5973007"/>
              <a:gd name="connsiteX33216" fmla="*/ 1277383 w 6884782"/>
              <a:gd name="connsiteY33216" fmla="*/ 2442892 h 5973007"/>
              <a:gd name="connsiteX33217" fmla="*/ 1280171 w 6884782"/>
              <a:gd name="connsiteY33217" fmla="*/ 2443356 h 5973007"/>
              <a:gd name="connsiteX33218" fmla="*/ 1283785 w 6884782"/>
              <a:gd name="connsiteY33218" fmla="*/ 2447538 h 5973007"/>
              <a:gd name="connsiteX33219" fmla="*/ 1285334 w 6884782"/>
              <a:gd name="connsiteY33219" fmla="*/ 2452805 h 5973007"/>
              <a:gd name="connsiteX33220" fmla="*/ 1279655 w 6884782"/>
              <a:gd name="connsiteY33220" fmla="*/ 2451566 h 5973007"/>
              <a:gd name="connsiteX33221" fmla="*/ 1276247 w 6884782"/>
              <a:gd name="connsiteY33221" fmla="*/ 2444441 h 5973007"/>
              <a:gd name="connsiteX33222" fmla="*/ 1277383 w 6884782"/>
              <a:gd name="connsiteY33222" fmla="*/ 2442892 h 5973007"/>
              <a:gd name="connsiteX33223" fmla="*/ 723103 w 6884782"/>
              <a:gd name="connsiteY33223" fmla="*/ 2442892 h 5973007"/>
              <a:gd name="connsiteX33224" fmla="*/ 726614 w 6884782"/>
              <a:gd name="connsiteY33224" fmla="*/ 2445525 h 5973007"/>
              <a:gd name="connsiteX33225" fmla="*/ 717218 w 6884782"/>
              <a:gd name="connsiteY33225" fmla="*/ 2453425 h 5973007"/>
              <a:gd name="connsiteX33226" fmla="*/ 713604 w 6884782"/>
              <a:gd name="connsiteY33226" fmla="*/ 2451721 h 5973007"/>
              <a:gd name="connsiteX33227" fmla="*/ 720109 w 6884782"/>
              <a:gd name="connsiteY33227" fmla="*/ 2443976 h 5973007"/>
              <a:gd name="connsiteX33228" fmla="*/ 723103 w 6884782"/>
              <a:gd name="connsiteY33228" fmla="*/ 2442892 h 5973007"/>
              <a:gd name="connsiteX33229" fmla="*/ 832039 w 6884782"/>
              <a:gd name="connsiteY33229" fmla="*/ 2442272 h 5973007"/>
              <a:gd name="connsiteX33230" fmla="*/ 829767 w 6884782"/>
              <a:gd name="connsiteY33230" fmla="*/ 2448468 h 5973007"/>
              <a:gd name="connsiteX33231" fmla="*/ 828012 w 6884782"/>
              <a:gd name="connsiteY33231" fmla="*/ 2447848 h 5973007"/>
              <a:gd name="connsiteX33232" fmla="*/ 826463 w 6884782"/>
              <a:gd name="connsiteY33232" fmla="*/ 2445680 h 5973007"/>
              <a:gd name="connsiteX33233" fmla="*/ 826876 w 6884782"/>
              <a:gd name="connsiteY33233" fmla="*/ 2443047 h 5973007"/>
              <a:gd name="connsiteX33234" fmla="*/ 832039 w 6884782"/>
              <a:gd name="connsiteY33234" fmla="*/ 2442272 h 5973007"/>
              <a:gd name="connsiteX33235" fmla="*/ 1032769 w 6884782"/>
              <a:gd name="connsiteY33235" fmla="*/ 2440568 h 5973007"/>
              <a:gd name="connsiteX33236" fmla="*/ 1035144 w 6884782"/>
              <a:gd name="connsiteY33236" fmla="*/ 2447074 h 5973007"/>
              <a:gd name="connsiteX33237" fmla="*/ 1031117 w 6884782"/>
              <a:gd name="connsiteY33237" fmla="*/ 2444595 h 5973007"/>
              <a:gd name="connsiteX33238" fmla="*/ 1032769 w 6884782"/>
              <a:gd name="connsiteY33238" fmla="*/ 2440568 h 5973007"/>
              <a:gd name="connsiteX33239" fmla="*/ 5455435 w 6884782"/>
              <a:gd name="connsiteY33239" fmla="*/ 2440195 h 5973007"/>
              <a:gd name="connsiteX33240" fmla="*/ 5441350 w 6884782"/>
              <a:gd name="connsiteY33240" fmla="*/ 2446028 h 5973007"/>
              <a:gd name="connsiteX33241" fmla="*/ 5429398 w 6884782"/>
              <a:gd name="connsiteY33241" fmla="*/ 2455134 h 5973007"/>
              <a:gd name="connsiteX33242" fmla="*/ 5419368 w 6884782"/>
              <a:gd name="connsiteY33242" fmla="*/ 2455134 h 5973007"/>
              <a:gd name="connsiteX33243" fmla="*/ 5425557 w 6884782"/>
              <a:gd name="connsiteY33243" fmla="*/ 2456557 h 5973007"/>
              <a:gd name="connsiteX33244" fmla="*/ 5418301 w 6884782"/>
              <a:gd name="connsiteY33244" fmla="*/ 2460255 h 5973007"/>
              <a:gd name="connsiteX33245" fmla="*/ 5419368 w 6884782"/>
              <a:gd name="connsiteY33245" fmla="*/ 2462390 h 5973007"/>
              <a:gd name="connsiteX33246" fmla="*/ 5407843 w 6884782"/>
              <a:gd name="connsiteY33246" fmla="*/ 2462105 h 5973007"/>
              <a:gd name="connsiteX33247" fmla="*/ 5408270 w 6884782"/>
              <a:gd name="connsiteY33247" fmla="*/ 2460967 h 5973007"/>
              <a:gd name="connsiteX33248" fmla="*/ 5407416 w 6884782"/>
              <a:gd name="connsiteY33248" fmla="*/ 2460967 h 5973007"/>
              <a:gd name="connsiteX33249" fmla="*/ 5390983 w 6884782"/>
              <a:gd name="connsiteY33249" fmla="*/ 2465519 h 5973007"/>
              <a:gd name="connsiteX33250" fmla="*/ 5388635 w 6884782"/>
              <a:gd name="connsiteY33250" fmla="*/ 2459544 h 5973007"/>
              <a:gd name="connsiteX33251" fmla="*/ 5380525 w 6884782"/>
              <a:gd name="connsiteY33251" fmla="*/ 2465235 h 5973007"/>
              <a:gd name="connsiteX33252" fmla="*/ 5383086 w 6884782"/>
              <a:gd name="connsiteY33252" fmla="*/ 2465946 h 5973007"/>
              <a:gd name="connsiteX33253" fmla="*/ 5383726 w 6884782"/>
              <a:gd name="connsiteY33253" fmla="*/ 2468365 h 5973007"/>
              <a:gd name="connsiteX33254" fmla="*/ 5391837 w 6884782"/>
              <a:gd name="connsiteY33254" fmla="*/ 2466942 h 5973007"/>
              <a:gd name="connsiteX33255" fmla="*/ 5386288 w 6884782"/>
              <a:gd name="connsiteY33255" fmla="*/ 2470784 h 5973007"/>
              <a:gd name="connsiteX33256" fmla="*/ 5384580 w 6884782"/>
              <a:gd name="connsiteY33256" fmla="*/ 2471210 h 5973007"/>
              <a:gd name="connsiteX33257" fmla="*/ 5385007 w 6884782"/>
              <a:gd name="connsiteY33257" fmla="*/ 2473344 h 5973007"/>
              <a:gd name="connsiteX33258" fmla="*/ 5382446 w 6884782"/>
              <a:gd name="connsiteY33258" fmla="*/ 2477044 h 5973007"/>
              <a:gd name="connsiteX33259" fmla="*/ 5381806 w 6884782"/>
              <a:gd name="connsiteY33259" fmla="*/ 2479746 h 5973007"/>
              <a:gd name="connsiteX33260" fmla="*/ 5382019 w 6884782"/>
              <a:gd name="connsiteY33260" fmla="*/ 2480031 h 5973007"/>
              <a:gd name="connsiteX33261" fmla="*/ 5381593 w 6884782"/>
              <a:gd name="connsiteY33261" fmla="*/ 2480173 h 5973007"/>
              <a:gd name="connsiteX33262" fmla="*/ 5380098 w 6884782"/>
              <a:gd name="connsiteY33262" fmla="*/ 2485721 h 5973007"/>
              <a:gd name="connsiteX33263" fmla="*/ 5375403 w 6884782"/>
              <a:gd name="connsiteY33263" fmla="*/ 2482307 h 5973007"/>
              <a:gd name="connsiteX33264" fmla="*/ 5371135 w 6884782"/>
              <a:gd name="connsiteY33264" fmla="*/ 2484441 h 5973007"/>
              <a:gd name="connsiteX33265" fmla="*/ 5368147 w 6884782"/>
              <a:gd name="connsiteY33265" fmla="*/ 2476617 h 5973007"/>
              <a:gd name="connsiteX33266" fmla="*/ 5363452 w 6884782"/>
              <a:gd name="connsiteY33266" fmla="*/ 2479604 h 5973007"/>
              <a:gd name="connsiteX33267" fmla="*/ 5367507 w 6884782"/>
              <a:gd name="connsiteY33267" fmla="*/ 2475194 h 5973007"/>
              <a:gd name="connsiteX33268" fmla="*/ 5367293 w 6884782"/>
              <a:gd name="connsiteY33268" fmla="*/ 2474767 h 5973007"/>
              <a:gd name="connsiteX33269" fmla="*/ 5360891 w 6884782"/>
              <a:gd name="connsiteY33269" fmla="*/ 2476617 h 5973007"/>
              <a:gd name="connsiteX33270" fmla="*/ 5348512 w 6884782"/>
              <a:gd name="connsiteY33270" fmla="*/ 2475905 h 5973007"/>
              <a:gd name="connsiteX33271" fmla="*/ 5342963 w 6884782"/>
              <a:gd name="connsiteY33271" fmla="*/ 2479604 h 5973007"/>
              <a:gd name="connsiteX33272" fmla="*/ 5340189 w 6884782"/>
              <a:gd name="connsiteY33272" fmla="*/ 2482876 h 5973007"/>
              <a:gd name="connsiteX33273" fmla="*/ 5341042 w 6884782"/>
              <a:gd name="connsiteY33273" fmla="*/ 2483588 h 5973007"/>
              <a:gd name="connsiteX33274" fmla="*/ 5342963 w 6884782"/>
              <a:gd name="connsiteY33274" fmla="*/ 2483872 h 5973007"/>
              <a:gd name="connsiteX33275" fmla="*/ 5352354 w 6884782"/>
              <a:gd name="connsiteY33275" fmla="*/ 2478039 h 5973007"/>
              <a:gd name="connsiteX33276" fmla="*/ 5347658 w 6884782"/>
              <a:gd name="connsiteY33276" fmla="*/ 2488567 h 5973007"/>
              <a:gd name="connsiteX33277" fmla="*/ 5342110 w 6884782"/>
              <a:gd name="connsiteY33277" fmla="*/ 2487856 h 5973007"/>
              <a:gd name="connsiteX33278" fmla="*/ 5342323 w 6884782"/>
              <a:gd name="connsiteY33278" fmla="*/ 2490843 h 5973007"/>
              <a:gd name="connsiteX33279" fmla="*/ 5337628 w 6884782"/>
              <a:gd name="connsiteY33279" fmla="*/ 2492551 h 5973007"/>
              <a:gd name="connsiteX33280" fmla="*/ 5334213 w 6884782"/>
              <a:gd name="connsiteY33280" fmla="*/ 2487286 h 5973007"/>
              <a:gd name="connsiteX33281" fmla="*/ 5329731 w 6884782"/>
              <a:gd name="connsiteY33281" fmla="*/ 2487856 h 5973007"/>
              <a:gd name="connsiteX33282" fmla="*/ 5328024 w 6884782"/>
              <a:gd name="connsiteY33282" fmla="*/ 2488567 h 5973007"/>
              <a:gd name="connsiteX33283" fmla="*/ 5327384 w 6884782"/>
              <a:gd name="connsiteY33283" fmla="*/ 2488567 h 5973007"/>
              <a:gd name="connsiteX33284" fmla="*/ 5326530 w 6884782"/>
              <a:gd name="connsiteY33284" fmla="*/ 2488567 h 5973007"/>
              <a:gd name="connsiteX33285" fmla="*/ 5325036 w 6884782"/>
              <a:gd name="connsiteY33285" fmla="*/ 2489278 h 5973007"/>
              <a:gd name="connsiteX33286" fmla="*/ 5326530 w 6884782"/>
              <a:gd name="connsiteY33286" fmla="*/ 2494542 h 5973007"/>
              <a:gd name="connsiteX33287" fmla="*/ 5322475 w 6884782"/>
              <a:gd name="connsiteY33287" fmla="*/ 2491555 h 5973007"/>
              <a:gd name="connsiteX33288" fmla="*/ 5315645 w 6884782"/>
              <a:gd name="connsiteY33288" fmla="*/ 2499664 h 5973007"/>
              <a:gd name="connsiteX33289" fmla="*/ 5313085 w 6884782"/>
              <a:gd name="connsiteY33289" fmla="*/ 2501229 h 5973007"/>
              <a:gd name="connsiteX33290" fmla="*/ 5311591 w 6884782"/>
              <a:gd name="connsiteY33290" fmla="*/ 2501941 h 5973007"/>
              <a:gd name="connsiteX33291" fmla="*/ 5311591 w 6884782"/>
              <a:gd name="connsiteY33291" fmla="*/ 2502652 h 5973007"/>
              <a:gd name="connsiteX33292" fmla="*/ 5310737 w 6884782"/>
              <a:gd name="connsiteY33292" fmla="*/ 2502652 h 5973007"/>
              <a:gd name="connsiteX33293" fmla="*/ 5302841 w 6884782"/>
              <a:gd name="connsiteY33293" fmla="*/ 2506493 h 5973007"/>
              <a:gd name="connsiteX33294" fmla="*/ 5294517 w 6884782"/>
              <a:gd name="connsiteY33294" fmla="*/ 2511046 h 5973007"/>
              <a:gd name="connsiteX33295" fmla="*/ 5295798 w 6884782"/>
              <a:gd name="connsiteY33295" fmla="*/ 2510903 h 5973007"/>
              <a:gd name="connsiteX33296" fmla="*/ 5302200 w 6884782"/>
              <a:gd name="connsiteY33296" fmla="*/ 2511757 h 5973007"/>
              <a:gd name="connsiteX33297" fmla="*/ 5302200 w 6884782"/>
              <a:gd name="connsiteY33297" fmla="*/ 2512895 h 5973007"/>
              <a:gd name="connsiteX33298" fmla="*/ 5290035 w 6884782"/>
              <a:gd name="connsiteY33298" fmla="*/ 2514318 h 5973007"/>
              <a:gd name="connsiteX33299" fmla="*/ 5289182 w 6884782"/>
              <a:gd name="connsiteY33299" fmla="*/ 2514033 h 5973007"/>
              <a:gd name="connsiteX33300" fmla="*/ 5274669 w 6884782"/>
              <a:gd name="connsiteY33300" fmla="*/ 2522000 h 5973007"/>
              <a:gd name="connsiteX33301" fmla="*/ 5256529 w 6884782"/>
              <a:gd name="connsiteY33301" fmla="*/ 2534662 h 5973007"/>
              <a:gd name="connsiteX33302" fmla="*/ 5253967 w 6884782"/>
              <a:gd name="connsiteY33302" fmla="*/ 2536654 h 5973007"/>
              <a:gd name="connsiteX33303" fmla="*/ 5256315 w 6884782"/>
              <a:gd name="connsiteY33303" fmla="*/ 2538361 h 5973007"/>
              <a:gd name="connsiteX33304" fmla="*/ 5257382 w 6884782"/>
              <a:gd name="connsiteY33304" fmla="*/ 2544194 h 5973007"/>
              <a:gd name="connsiteX33305" fmla="*/ 5255888 w 6884782"/>
              <a:gd name="connsiteY33305" fmla="*/ 2548889 h 5973007"/>
              <a:gd name="connsiteX33306" fmla="*/ 5259730 w 6884782"/>
              <a:gd name="connsiteY33306" fmla="*/ 2547893 h 5973007"/>
              <a:gd name="connsiteX33307" fmla="*/ 5263571 w 6884782"/>
              <a:gd name="connsiteY33307" fmla="*/ 2544478 h 5973007"/>
              <a:gd name="connsiteX33308" fmla="*/ 5264425 w 6884782"/>
              <a:gd name="connsiteY33308" fmla="*/ 2548889 h 5973007"/>
              <a:gd name="connsiteX33309" fmla="*/ 5270828 w 6884782"/>
              <a:gd name="connsiteY33309" fmla="*/ 2545190 h 5973007"/>
              <a:gd name="connsiteX33310" fmla="*/ 5266132 w 6884782"/>
              <a:gd name="connsiteY33310" fmla="*/ 2545190 h 5973007"/>
              <a:gd name="connsiteX33311" fmla="*/ 5305401 w 6884782"/>
              <a:gd name="connsiteY33311" fmla="*/ 2523565 h 5973007"/>
              <a:gd name="connsiteX33312" fmla="*/ 5310737 w 6884782"/>
              <a:gd name="connsiteY33312" fmla="*/ 2520578 h 5973007"/>
              <a:gd name="connsiteX33313" fmla="*/ 5318633 w 6884782"/>
              <a:gd name="connsiteY33313" fmla="*/ 2516879 h 5973007"/>
              <a:gd name="connsiteX33314" fmla="*/ 5319487 w 6884782"/>
              <a:gd name="connsiteY33314" fmla="*/ 2516879 h 5973007"/>
              <a:gd name="connsiteX33315" fmla="*/ 5319487 w 6884782"/>
              <a:gd name="connsiteY33315" fmla="*/ 2516025 h 5973007"/>
              <a:gd name="connsiteX33316" fmla="*/ 5320981 w 6884782"/>
              <a:gd name="connsiteY33316" fmla="*/ 2515314 h 5973007"/>
              <a:gd name="connsiteX33317" fmla="*/ 5327384 w 6884782"/>
              <a:gd name="connsiteY33317" fmla="*/ 2513180 h 5973007"/>
              <a:gd name="connsiteX33318" fmla="*/ 5332719 w 6884782"/>
              <a:gd name="connsiteY33318" fmla="*/ 2511615 h 5973007"/>
              <a:gd name="connsiteX33319" fmla="*/ 5335921 w 6884782"/>
              <a:gd name="connsiteY33319" fmla="*/ 2510903 h 5973007"/>
              <a:gd name="connsiteX33320" fmla="*/ 5337414 w 6884782"/>
              <a:gd name="connsiteY33320" fmla="*/ 2510903 h 5973007"/>
              <a:gd name="connsiteX33321" fmla="*/ 5339975 w 6884782"/>
              <a:gd name="connsiteY33321" fmla="*/ 2510903 h 5973007"/>
              <a:gd name="connsiteX33322" fmla="*/ 5341256 w 6884782"/>
              <a:gd name="connsiteY33322" fmla="*/ 2509196 h 5973007"/>
              <a:gd name="connsiteX33323" fmla="*/ 5340616 w 6884782"/>
              <a:gd name="connsiteY33323" fmla="*/ 2508911 h 5973007"/>
              <a:gd name="connsiteX33324" fmla="*/ 5340189 w 6884782"/>
              <a:gd name="connsiteY33324" fmla="*/ 2509196 h 5973007"/>
              <a:gd name="connsiteX33325" fmla="*/ 5337414 w 6884782"/>
              <a:gd name="connsiteY33325" fmla="*/ 2508627 h 5973007"/>
              <a:gd name="connsiteX33326" fmla="*/ 5336774 w 6884782"/>
              <a:gd name="connsiteY33326" fmla="*/ 2508627 h 5973007"/>
              <a:gd name="connsiteX33327" fmla="*/ 5335921 w 6884782"/>
              <a:gd name="connsiteY33327" fmla="*/ 2509338 h 5973007"/>
              <a:gd name="connsiteX33328" fmla="*/ 5336774 w 6884782"/>
              <a:gd name="connsiteY33328" fmla="*/ 2507205 h 5973007"/>
              <a:gd name="connsiteX33329" fmla="*/ 5336987 w 6884782"/>
              <a:gd name="connsiteY33329" fmla="*/ 2506920 h 5973007"/>
              <a:gd name="connsiteX33330" fmla="*/ 5337414 w 6884782"/>
              <a:gd name="connsiteY33330" fmla="*/ 2505213 h 5973007"/>
              <a:gd name="connsiteX33331" fmla="*/ 5345951 w 6884782"/>
              <a:gd name="connsiteY33331" fmla="*/ 2501513 h 5973007"/>
              <a:gd name="connsiteX33332" fmla="*/ 5347872 w 6884782"/>
              <a:gd name="connsiteY33332" fmla="*/ 2501798 h 5973007"/>
              <a:gd name="connsiteX33333" fmla="*/ 5345951 w 6884782"/>
              <a:gd name="connsiteY33333" fmla="*/ 2504074 h 5973007"/>
              <a:gd name="connsiteX33334" fmla="*/ 5348512 w 6884782"/>
              <a:gd name="connsiteY33334" fmla="*/ 2504928 h 5973007"/>
              <a:gd name="connsiteX33335" fmla="*/ 5367293 w 6884782"/>
              <a:gd name="connsiteY33335" fmla="*/ 2492977 h 5973007"/>
              <a:gd name="connsiteX33336" fmla="*/ 5377538 w 6884782"/>
              <a:gd name="connsiteY33336" fmla="*/ 2489278 h 5973007"/>
              <a:gd name="connsiteX33337" fmla="*/ 5380098 w 6884782"/>
              <a:gd name="connsiteY33337" fmla="*/ 2487856 h 5973007"/>
              <a:gd name="connsiteX33338" fmla="*/ 5382233 w 6884782"/>
              <a:gd name="connsiteY33338" fmla="*/ 2486291 h 5973007"/>
              <a:gd name="connsiteX33339" fmla="*/ 5386928 w 6884782"/>
              <a:gd name="connsiteY33339" fmla="*/ 2483303 h 5973007"/>
              <a:gd name="connsiteX33340" fmla="*/ 5400373 w 6884782"/>
              <a:gd name="connsiteY33340" fmla="*/ 2483303 h 5973007"/>
              <a:gd name="connsiteX33341" fmla="*/ 5410618 w 6884782"/>
              <a:gd name="connsiteY33341" fmla="*/ 2482591 h 5973007"/>
              <a:gd name="connsiteX33342" fmla="*/ 5411471 w 6884782"/>
              <a:gd name="connsiteY33342" fmla="*/ 2475905 h 5973007"/>
              <a:gd name="connsiteX33343" fmla="*/ 5425343 w 6884782"/>
              <a:gd name="connsiteY33343" fmla="*/ 2470214 h 5973007"/>
              <a:gd name="connsiteX33344" fmla="*/ 5431106 w 6884782"/>
              <a:gd name="connsiteY33344" fmla="*/ 2467938 h 5973007"/>
              <a:gd name="connsiteX33345" fmla="*/ 5436655 w 6884782"/>
              <a:gd name="connsiteY33345" fmla="*/ 2460113 h 5973007"/>
              <a:gd name="connsiteX33346" fmla="*/ 5439002 w 6884782"/>
              <a:gd name="connsiteY33346" fmla="*/ 2460824 h 5973007"/>
              <a:gd name="connsiteX33347" fmla="*/ 5438576 w 6884782"/>
              <a:gd name="connsiteY33347" fmla="*/ 2459829 h 5973007"/>
              <a:gd name="connsiteX33348" fmla="*/ 5437081 w 6884782"/>
              <a:gd name="connsiteY33348" fmla="*/ 2460113 h 5973007"/>
              <a:gd name="connsiteX33349" fmla="*/ 5435588 w 6884782"/>
              <a:gd name="connsiteY33349" fmla="*/ 2459544 h 5973007"/>
              <a:gd name="connsiteX33350" fmla="*/ 5445405 w 6884782"/>
              <a:gd name="connsiteY33350" fmla="*/ 2455987 h 5973007"/>
              <a:gd name="connsiteX33351" fmla="*/ 5441563 w 6884782"/>
              <a:gd name="connsiteY33351" fmla="*/ 2459117 h 5973007"/>
              <a:gd name="connsiteX33352" fmla="*/ 5441350 w 6884782"/>
              <a:gd name="connsiteY33352" fmla="*/ 2459259 h 5973007"/>
              <a:gd name="connsiteX33353" fmla="*/ 5441350 w 6884782"/>
              <a:gd name="connsiteY33353" fmla="*/ 2460540 h 5973007"/>
              <a:gd name="connsiteX33354" fmla="*/ 5443697 w 6884782"/>
              <a:gd name="connsiteY33354" fmla="*/ 2461678 h 5973007"/>
              <a:gd name="connsiteX33355" fmla="*/ 5446685 w 6884782"/>
              <a:gd name="connsiteY33355" fmla="*/ 2458833 h 5973007"/>
              <a:gd name="connsiteX33356" fmla="*/ 5451381 w 6884782"/>
              <a:gd name="connsiteY33356" fmla="*/ 2457979 h 5973007"/>
              <a:gd name="connsiteX33357" fmla="*/ 5459277 w 6884782"/>
              <a:gd name="connsiteY33357" fmla="*/ 2452004 h 5973007"/>
              <a:gd name="connsiteX33358" fmla="*/ 5462478 w 6884782"/>
              <a:gd name="connsiteY33358" fmla="*/ 2455845 h 5973007"/>
              <a:gd name="connsiteX33359" fmla="*/ 5467174 w 6884782"/>
              <a:gd name="connsiteY33359" fmla="*/ 2452004 h 5973007"/>
              <a:gd name="connsiteX33360" fmla="*/ 5465893 w 6884782"/>
              <a:gd name="connsiteY33360" fmla="*/ 2442899 h 5973007"/>
              <a:gd name="connsiteX33361" fmla="*/ 5466106 w 6884782"/>
              <a:gd name="connsiteY33361" fmla="*/ 2441049 h 5973007"/>
              <a:gd name="connsiteX33362" fmla="*/ 5463332 w 6884782"/>
              <a:gd name="connsiteY33362" fmla="*/ 2444606 h 5973007"/>
              <a:gd name="connsiteX33363" fmla="*/ 5461625 w 6884782"/>
              <a:gd name="connsiteY33363" fmla="*/ 2443183 h 5973007"/>
              <a:gd name="connsiteX33364" fmla="*/ 5461411 w 6884782"/>
              <a:gd name="connsiteY33364" fmla="*/ 2443183 h 5973007"/>
              <a:gd name="connsiteX33365" fmla="*/ 5460985 w 6884782"/>
              <a:gd name="connsiteY33365" fmla="*/ 2442472 h 5973007"/>
              <a:gd name="connsiteX33366" fmla="*/ 5460558 w 6884782"/>
              <a:gd name="connsiteY33366" fmla="*/ 2442045 h 5973007"/>
              <a:gd name="connsiteX33367" fmla="*/ 5455435 w 6884782"/>
              <a:gd name="connsiteY33367" fmla="*/ 2440195 h 5973007"/>
              <a:gd name="connsiteX33368" fmla="*/ 896677 w 6884782"/>
              <a:gd name="connsiteY33368" fmla="*/ 2438709 h 5973007"/>
              <a:gd name="connsiteX33369" fmla="*/ 901943 w 6884782"/>
              <a:gd name="connsiteY33369" fmla="*/ 2440103 h 5973007"/>
              <a:gd name="connsiteX33370" fmla="*/ 902769 w 6884782"/>
              <a:gd name="connsiteY33370" fmla="*/ 2442427 h 5973007"/>
              <a:gd name="connsiteX33371" fmla="*/ 900085 w 6884782"/>
              <a:gd name="connsiteY33371" fmla="*/ 2442582 h 5973007"/>
              <a:gd name="connsiteX33372" fmla="*/ 899259 w 6884782"/>
              <a:gd name="connsiteY33372" fmla="*/ 2441033 h 5973007"/>
              <a:gd name="connsiteX33373" fmla="*/ 896574 w 6884782"/>
              <a:gd name="connsiteY33373" fmla="*/ 2440258 h 5973007"/>
              <a:gd name="connsiteX33374" fmla="*/ 896677 w 6884782"/>
              <a:gd name="connsiteY33374" fmla="*/ 2438709 h 5973007"/>
              <a:gd name="connsiteX33375" fmla="*/ 930855 w 6884782"/>
              <a:gd name="connsiteY33375" fmla="*/ 2438400 h 5973007"/>
              <a:gd name="connsiteX33376" fmla="*/ 933436 w 6884782"/>
              <a:gd name="connsiteY33376" fmla="*/ 2438709 h 5973007"/>
              <a:gd name="connsiteX33377" fmla="*/ 932197 w 6884782"/>
              <a:gd name="connsiteY33377" fmla="*/ 2441033 h 5973007"/>
              <a:gd name="connsiteX33378" fmla="*/ 930236 w 6884782"/>
              <a:gd name="connsiteY33378" fmla="*/ 2441188 h 5973007"/>
              <a:gd name="connsiteX33379" fmla="*/ 928170 w 6884782"/>
              <a:gd name="connsiteY33379" fmla="*/ 2443202 h 5973007"/>
              <a:gd name="connsiteX33380" fmla="*/ 926725 w 6884782"/>
              <a:gd name="connsiteY33380" fmla="*/ 2442582 h 5973007"/>
              <a:gd name="connsiteX33381" fmla="*/ 930855 w 6884782"/>
              <a:gd name="connsiteY33381" fmla="*/ 2438400 h 5973007"/>
              <a:gd name="connsiteX33382" fmla="*/ 915366 w 6884782"/>
              <a:gd name="connsiteY33382" fmla="*/ 2437160 h 5973007"/>
              <a:gd name="connsiteX33383" fmla="*/ 923421 w 6884782"/>
              <a:gd name="connsiteY33383" fmla="*/ 2437935 h 5973007"/>
              <a:gd name="connsiteX33384" fmla="*/ 921665 w 6884782"/>
              <a:gd name="connsiteY33384" fmla="*/ 2441033 h 5973007"/>
              <a:gd name="connsiteX33385" fmla="*/ 913921 w 6884782"/>
              <a:gd name="connsiteY33385" fmla="*/ 2441962 h 5973007"/>
              <a:gd name="connsiteX33386" fmla="*/ 912372 w 6884782"/>
              <a:gd name="connsiteY33386" fmla="*/ 2440568 h 5973007"/>
              <a:gd name="connsiteX33387" fmla="*/ 915366 w 6884782"/>
              <a:gd name="connsiteY33387" fmla="*/ 2437160 h 5973007"/>
              <a:gd name="connsiteX33388" fmla="*/ 705240 w 6884782"/>
              <a:gd name="connsiteY33388" fmla="*/ 2436231 h 5973007"/>
              <a:gd name="connsiteX33389" fmla="*/ 714637 w 6884782"/>
              <a:gd name="connsiteY33389" fmla="*/ 2436541 h 5973007"/>
              <a:gd name="connsiteX33390" fmla="*/ 715876 w 6884782"/>
              <a:gd name="connsiteY33390" fmla="*/ 2440878 h 5973007"/>
              <a:gd name="connsiteX33391" fmla="*/ 715462 w 6884782"/>
              <a:gd name="connsiteY33391" fmla="*/ 2441343 h 5973007"/>
              <a:gd name="connsiteX33392" fmla="*/ 711126 w 6884782"/>
              <a:gd name="connsiteY33392" fmla="*/ 2449707 h 5973007"/>
              <a:gd name="connsiteX33393" fmla="*/ 705963 w 6884782"/>
              <a:gd name="connsiteY33393" fmla="*/ 2450791 h 5973007"/>
              <a:gd name="connsiteX33394" fmla="*/ 705033 w 6884782"/>
              <a:gd name="connsiteY33394" fmla="*/ 2448313 h 5973007"/>
              <a:gd name="connsiteX33395" fmla="*/ 707305 w 6884782"/>
              <a:gd name="connsiteY33395" fmla="*/ 2444441 h 5973007"/>
              <a:gd name="connsiteX33396" fmla="*/ 705447 w 6884782"/>
              <a:gd name="connsiteY33396" fmla="*/ 2444441 h 5973007"/>
              <a:gd name="connsiteX33397" fmla="*/ 701317 w 6884782"/>
              <a:gd name="connsiteY33397" fmla="*/ 2442427 h 5973007"/>
              <a:gd name="connsiteX33398" fmla="*/ 705240 w 6884782"/>
              <a:gd name="connsiteY33398" fmla="*/ 2436231 h 5973007"/>
              <a:gd name="connsiteX33399" fmla="*/ 1119814 w 6884782"/>
              <a:gd name="connsiteY33399" fmla="*/ 2435457 h 5973007"/>
              <a:gd name="connsiteX33400" fmla="*/ 1122292 w 6884782"/>
              <a:gd name="connsiteY33400" fmla="*/ 2438709 h 5973007"/>
              <a:gd name="connsiteX33401" fmla="*/ 1119711 w 6884782"/>
              <a:gd name="connsiteY33401" fmla="*/ 2436541 h 5973007"/>
              <a:gd name="connsiteX33402" fmla="*/ 1119814 w 6884782"/>
              <a:gd name="connsiteY33402" fmla="*/ 2435457 h 5973007"/>
              <a:gd name="connsiteX33403" fmla="*/ 830800 w 6884782"/>
              <a:gd name="connsiteY33403" fmla="*/ 2435302 h 5973007"/>
              <a:gd name="connsiteX33404" fmla="*/ 835962 w 6884782"/>
              <a:gd name="connsiteY33404" fmla="*/ 2436851 h 5973007"/>
              <a:gd name="connsiteX33405" fmla="*/ 830800 w 6884782"/>
              <a:gd name="connsiteY33405" fmla="*/ 2435302 h 5973007"/>
              <a:gd name="connsiteX33406" fmla="*/ 1173197 w 6884782"/>
              <a:gd name="connsiteY33406" fmla="*/ 2434218 h 5973007"/>
              <a:gd name="connsiteX33407" fmla="*/ 1173920 w 6884782"/>
              <a:gd name="connsiteY33407" fmla="*/ 2440413 h 5973007"/>
              <a:gd name="connsiteX33408" fmla="*/ 1172474 w 6884782"/>
              <a:gd name="connsiteY33408" fmla="*/ 2437315 h 5973007"/>
              <a:gd name="connsiteX33409" fmla="*/ 1173197 w 6884782"/>
              <a:gd name="connsiteY33409" fmla="*/ 2434218 h 5973007"/>
              <a:gd name="connsiteX33410" fmla="*/ 906383 w 6884782"/>
              <a:gd name="connsiteY33410" fmla="*/ 2433908 h 5973007"/>
              <a:gd name="connsiteX33411" fmla="*/ 908035 w 6884782"/>
              <a:gd name="connsiteY33411" fmla="*/ 2435612 h 5973007"/>
              <a:gd name="connsiteX33412" fmla="*/ 909688 w 6884782"/>
              <a:gd name="connsiteY33412" fmla="*/ 2436386 h 5973007"/>
              <a:gd name="connsiteX33413" fmla="*/ 909584 w 6884782"/>
              <a:gd name="connsiteY33413" fmla="*/ 2439019 h 5973007"/>
              <a:gd name="connsiteX33414" fmla="*/ 907932 w 6884782"/>
              <a:gd name="connsiteY33414" fmla="*/ 2438245 h 5973007"/>
              <a:gd name="connsiteX33415" fmla="*/ 903699 w 6884782"/>
              <a:gd name="connsiteY33415" fmla="*/ 2434992 h 5973007"/>
              <a:gd name="connsiteX33416" fmla="*/ 906383 w 6884782"/>
              <a:gd name="connsiteY33416" fmla="*/ 2433908 h 5973007"/>
              <a:gd name="connsiteX33417" fmla="*/ 5116525 w 6884782"/>
              <a:gd name="connsiteY33417" fmla="*/ 2433082 h 5973007"/>
              <a:gd name="connsiteX33418" fmla="*/ 5122074 w 6884782"/>
              <a:gd name="connsiteY33418" fmla="*/ 2437777 h 5973007"/>
              <a:gd name="connsiteX33419" fmla="*/ 5123355 w 6884782"/>
              <a:gd name="connsiteY33419" fmla="*/ 2436923 h 5973007"/>
              <a:gd name="connsiteX33420" fmla="*/ 5128263 w 6884782"/>
              <a:gd name="connsiteY33420" fmla="*/ 2436354 h 5973007"/>
              <a:gd name="connsiteX33421" fmla="*/ 5130824 w 6884782"/>
              <a:gd name="connsiteY33421" fmla="*/ 2446456 h 5973007"/>
              <a:gd name="connsiteX33422" fmla="*/ 5127410 w 6884782"/>
              <a:gd name="connsiteY33422" fmla="*/ 2446882 h 5973007"/>
              <a:gd name="connsiteX33423" fmla="*/ 5126983 w 6884782"/>
              <a:gd name="connsiteY33423" fmla="*/ 2447024 h 5973007"/>
              <a:gd name="connsiteX33424" fmla="*/ 5128477 w 6884782"/>
              <a:gd name="connsiteY33424" fmla="*/ 2462390 h 5973007"/>
              <a:gd name="connsiteX33425" fmla="*/ 5116525 w 6884782"/>
              <a:gd name="connsiteY33425" fmla="*/ 2433082 h 5973007"/>
              <a:gd name="connsiteX33426" fmla="*/ 5484460 w 6884782"/>
              <a:gd name="connsiteY33426" fmla="*/ 2432655 h 5973007"/>
              <a:gd name="connsiteX33427" fmla="*/ 5483393 w 6884782"/>
              <a:gd name="connsiteY33427" fmla="*/ 2432940 h 5973007"/>
              <a:gd name="connsiteX33428" fmla="*/ 5484460 w 6884782"/>
              <a:gd name="connsiteY33428" fmla="*/ 2433509 h 5973007"/>
              <a:gd name="connsiteX33429" fmla="*/ 4971613 w 6884782"/>
              <a:gd name="connsiteY33429" fmla="*/ 2430948 h 5973007"/>
              <a:gd name="connsiteX33430" fmla="*/ 4981430 w 6884782"/>
              <a:gd name="connsiteY33430" fmla="*/ 2439484 h 5973007"/>
              <a:gd name="connsiteX33431" fmla="*/ 4975454 w 6884782"/>
              <a:gd name="connsiteY33431" fmla="*/ 2445459 h 5973007"/>
              <a:gd name="connsiteX33432" fmla="*/ 4966704 w 6884782"/>
              <a:gd name="connsiteY33432" fmla="*/ 2444748 h 5973007"/>
              <a:gd name="connsiteX33433" fmla="*/ 4971613 w 6884782"/>
              <a:gd name="connsiteY33433" fmla="*/ 2430948 h 5973007"/>
              <a:gd name="connsiteX33434" fmla="*/ 931681 w 6884782"/>
              <a:gd name="connsiteY33434" fmla="*/ 2430345 h 5973007"/>
              <a:gd name="connsiteX33435" fmla="*/ 933953 w 6884782"/>
              <a:gd name="connsiteY33435" fmla="*/ 2431429 h 5973007"/>
              <a:gd name="connsiteX33436" fmla="*/ 932404 w 6884782"/>
              <a:gd name="connsiteY33436" fmla="*/ 2432669 h 5973007"/>
              <a:gd name="connsiteX33437" fmla="*/ 927138 w 6884782"/>
              <a:gd name="connsiteY33437" fmla="*/ 2434992 h 5973007"/>
              <a:gd name="connsiteX33438" fmla="*/ 926415 w 6884782"/>
              <a:gd name="connsiteY33438" fmla="*/ 2433288 h 5973007"/>
              <a:gd name="connsiteX33439" fmla="*/ 927654 w 6884782"/>
              <a:gd name="connsiteY33439" fmla="*/ 2432359 h 5973007"/>
              <a:gd name="connsiteX33440" fmla="*/ 930029 w 6884782"/>
              <a:gd name="connsiteY33440" fmla="*/ 2431584 h 5973007"/>
              <a:gd name="connsiteX33441" fmla="*/ 931681 w 6884782"/>
              <a:gd name="connsiteY33441" fmla="*/ 2430345 h 5973007"/>
              <a:gd name="connsiteX33442" fmla="*/ 1056105 w 6884782"/>
              <a:gd name="connsiteY33442" fmla="*/ 2429725 h 5973007"/>
              <a:gd name="connsiteX33443" fmla="*/ 1065398 w 6884782"/>
              <a:gd name="connsiteY33443" fmla="*/ 2443666 h 5973007"/>
              <a:gd name="connsiteX33444" fmla="*/ 1063642 w 6884782"/>
              <a:gd name="connsiteY33444" fmla="*/ 2450017 h 5973007"/>
              <a:gd name="connsiteX33445" fmla="*/ 1070458 w 6884782"/>
              <a:gd name="connsiteY33445" fmla="*/ 2458691 h 5973007"/>
              <a:gd name="connsiteX33446" fmla="*/ 1069425 w 6884782"/>
              <a:gd name="connsiteY33446" fmla="*/ 2459466 h 5973007"/>
              <a:gd name="connsiteX33447" fmla="*/ 1071903 w 6884782"/>
              <a:gd name="connsiteY33447" fmla="*/ 2459311 h 5973007"/>
              <a:gd name="connsiteX33448" fmla="*/ 1075517 w 6884782"/>
              <a:gd name="connsiteY33448" fmla="*/ 2460085 h 5973007"/>
              <a:gd name="connsiteX33449" fmla="*/ 1076963 w 6884782"/>
              <a:gd name="connsiteY33449" fmla="*/ 2461634 h 5973007"/>
              <a:gd name="connsiteX33450" fmla="*/ 1074071 w 6884782"/>
              <a:gd name="connsiteY33450" fmla="*/ 2464732 h 5973007"/>
              <a:gd name="connsiteX33451" fmla="*/ 1065914 w 6884782"/>
              <a:gd name="connsiteY33451" fmla="*/ 2462409 h 5973007"/>
              <a:gd name="connsiteX33452" fmla="*/ 1066740 w 6884782"/>
              <a:gd name="connsiteY33452" fmla="*/ 2461479 h 5973007"/>
              <a:gd name="connsiteX33453" fmla="*/ 1062094 w 6884782"/>
              <a:gd name="connsiteY33453" fmla="*/ 2463958 h 5973007"/>
              <a:gd name="connsiteX33454" fmla="*/ 1059202 w 6884782"/>
              <a:gd name="connsiteY33454" fmla="*/ 2459930 h 5973007"/>
              <a:gd name="connsiteX33455" fmla="*/ 1058480 w 6884782"/>
              <a:gd name="connsiteY33455" fmla="*/ 2460550 h 5973007"/>
              <a:gd name="connsiteX33456" fmla="*/ 1057551 w 6884782"/>
              <a:gd name="connsiteY33456" fmla="*/ 2460240 h 5973007"/>
              <a:gd name="connsiteX33457" fmla="*/ 1057241 w 6884782"/>
              <a:gd name="connsiteY33457" fmla="*/ 2460705 h 5973007"/>
              <a:gd name="connsiteX33458" fmla="*/ 1048464 w 6884782"/>
              <a:gd name="connsiteY33458" fmla="*/ 2451876 h 5973007"/>
              <a:gd name="connsiteX33459" fmla="*/ 1048464 w 6884782"/>
              <a:gd name="connsiteY33459" fmla="*/ 2447384 h 5973007"/>
              <a:gd name="connsiteX33460" fmla="*/ 1045056 w 6884782"/>
              <a:gd name="connsiteY33460" fmla="*/ 2446455 h 5973007"/>
              <a:gd name="connsiteX33461" fmla="*/ 1043817 w 6884782"/>
              <a:gd name="connsiteY33461" fmla="*/ 2441807 h 5973007"/>
              <a:gd name="connsiteX33462" fmla="*/ 1045883 w 6884782"/>
              <a:gd name="connsiteY33462" fmla="*/ 2440568 h 5973007"/>
              <a:gd name="connsiteX33463" fmla="*/ 1039171 w 6884782"/>
              <a:gd name="connsiteY33463" fmla="*/ 2430345 h 5973007"/>
              <a:gd name="connsiteX33464" fmla="*/ 1048877 w 6884782"/>
              <a:gd name="connsiteY33464" fmla="*/ 2434063 h 5973007"/>
              <a:gd name="connsiteX33465" fmla="*/ 1050529 w 6884782"/>
              <a:gd name="connsiteY33465" fmla="*/ 2435767 h 5973007"/>
              <a:gd name="connsiteX33466" fmla="*/ 1050735 w 6884782"/>
              <a:gd name="connsiteY33466" fmla="*/ 2434992 h 5973007"/>
              <a:gd name="connsiteX33467" fmla="*/ 1053317 w 6884782"/>
              <a:gd name="connsiteY33467" fmla="*/ 2430655 h 5973007"/>
              <a:gd name="connsiteX33468" fmla="*/ 1056105 w 6884782"/>
              <a:gd name="connsiteY33468" fmla="*/ 2429725 h 5973007"/>
              <a:gd name="connsiteX33469" fmla="*/ 1006129 w 6884782"/>
              <a:gd name="connsiteY33469" fmla="*/ 2429570 h 5973007"/>
              <a:gd name="connsiteX33470" fmla="*/ 1006852 w 6884782"/>
              <a:gd name="connsiteY33470" fmla="*/ 2433753 h 5973007"/>
              <a:gd name="connsiteX33471" fmla="*/ 1004993 w 6884782"/>
              <a:gd name="connsiteY33471" fmla="*/ 2434837 h 5973007"/>
              <a:gd name="connsiteX33472" fmla="*/ 1002308 w 6884782"/>
              <a:gd name="connsiteY33472" fmla="*/ 2434063 h 5973007"/>
              <a:gd name="connsiteX33473" fmla="*/ 1001586 w 6884782"/>
              <a:gd name="connsiteY33473" fmla="*/ 2430655 h 5973007"/>
              <a:gd name="connsiteX33474" fmla="*/ 1003444 w 6884782"/>
              <a:gd name="connsiteY33474" fmla="*/ 2429725 h 5973007"/>
              <a:gd name="connsiteX33475" fmla="*/ 1006129 w 6884782"/>
              <a:gd name="connsiteY33475" fmla="*/ 2429570 h 5973007"/>
              <a:gd name="connsiteX33476" fmla="*/ 767504 w 6884782"/>
              <a:gd name="connsiteY33476" fmla="*/ 2429570 h 5973007"/>
              <a:gd name="connsiteX33477" fmla="*/ 769569 w 6884782"/>
              <a:gd name="connsiteY33477" fmla="*/ 2433598 h 5973007"/>
              <a:gd name="connsiteX33478" fmla="*/ 766781 w 6884782"/>
              <a:gd name="connsiteY33478" fmla="*/ 2430500 h 5973007"/>
              <a:gd name="connsiteX33479" fmla="*/ 767504 w 6884782"/>
              <a:gd name="connsiteY33479" fmla="*/ 2429570 h 5973007"/>
              <a:gd name="connsiteX33480" fmla="*/ 1110418 w 6884782"/>
              <a:gd name="connsiteY33480" fmla="*/ 2429261 h 5973007"/>
              <a:gd name="connsiteX33481" fmla="*/ 1114858 w 6884782"/>
              <a:gd name="connsiteY33481" fmla="*/ 2431120 h 5973007"/>
              <a:gd name="connsiteX33482" fmla="*/ 1105565 w 6884782"/>
              <a:gd name="connsiteY33482" fmla="*/ 2440878 h 5973007"/>
              <a:gd name="connsiteX33483" fmla="*/ 1103293 w 6884782"/>
              <a:gd name="connsiteY33483" fmla="*/ 2436851 h 5973007"/>
              <a:gd name="connsiteX33484" fmla="*/ 1110418 w 6884782"/>
              <a:gd name="connsiteY33484" fmla="*/ 2429261 h 5973007"/>
              <a:gd name="connsiteX33485" fmla="*/ 672147 w 6884782"/>
              <a:gd name="connsiteY33485" fmla="*/ 2429242 h 5973007"/>
              <a:gd name="connsiteX33486" fmla="*/ 680355 w 6884782"/>
              <a:gd name="connsiteY33486" fmla="*/ 2430500 h 5973007"/>
              <a:gd name="connsiteX33487" fmla="*/ 680768 w 6884782"/>
              <a:gd name="connsiteY33487" fmla="*/ 2437470 h 5973007"/>
              <a:gd name="connsiteX33488" fmla="*/ 667345 w 6884782"/>
              <a:gd name="connsiteY33488" fmla="*/ 2437625 h 5973007"/>
              <a:gd name="connsiteX33489" fmla="*/ 672147 w 6884782"/>
              <a:gd name="connsiteY33489" fmla="*/ 2429242 h 5973007"/>
              <a:gd name="connsiteX33490" fmla="*/ 4855940 w 6884782"/>
              <a:gd name="connsiteY33490" fmla="*/ 2428245 h 5973007"/>
              <a:gd name="connsiteX33491" fmla="*/ 4873013 w 6884782"/>
              <a:gd name="connsiteY33491" fmla="*/ 2447451 h 5973007"/>
              <a:gd name="connsiteX33492" fmla="*/ 4847616 w 6884782"/>
              <a:gd name="connsiteY33492" fmla="*/ 2439911 h 5973007"/>
              <a:gd name="connsiteX33493" fmla="*/ 4846976 w 6884782"/>
              <a:gd name="connsiteY33493" fmla="*/ 2431090 h 5973007"/>
              <a:gd name="connsiteX33494" fmla="*/ 4855940 w 6884782"/>
              <a:gd name="connsiteY33494" fmla="*/ 2428245 h 5973007"/>
              <a:gd name="connsiteX33495" fmla="*/ 1078511 w 6884782"/>
              <a:gd name="connsiteY33495" fmla="*/ 2427247 h 5973007"/>
              <a:gd name="connsiteX33496" fmla="*/ 1083674 w 6884782"/>
              <a:gd name="connsiteY33496" fmla="*/ 2429725 h 5973007"/>
              <a:gd name="connsiteX33497" fmla="*/ 1082022 w 6884782"/>
              <a:gd name="connsiteY33497" fmla="*/ 2438400 h 5973007"/>
              <a:gd name="connsiteX33498" fmla="*/ 1076240 w 6884782"/>
              <a:gd name="connsiteY33498" fmla="*/ 2432824 h 5973007"/>
              <a:gd name="connsiteX33499" fmla="*/ 1076343 w 6884782"/>
              <a:gd name="connsiteY33499" fmla="*/ 2430345 h 5973007"/>
              <a:gd name="connsiteX33500" fmla="*/ 1078511 w 6884782"/>
              <a:gd name="connsiteY33500" fmla="*/ 2427247 h 5973007"/>
              <a:gd name="connsiteX33501" fmla="*/ 796002 w 6884782"/>
              <a:gd name="connsiteY33501" fmla="*/ 2426163 h 5973007"/>
              <a:gd name="connsiteX33502" fmla="*/ 799307 w 6884782"/>
              <a:gd name="connsiteY33502" fmla="*/ 2426473 h 5973007"/>
              <a:gd name="connsiteX33503" fmla="*/ 801475 w 6884782"/>
              <a:gd name="connsiteY33503" fmla="*/ 2429725 h 5973007"/>
              <a:gd name="connsiteX33504" fmla="*/ 801475 w 6884782"/>
              <a:gd name="connsiteY33504" fmla="*/ 2436541 h 5973007"/>
              <a:gd name="connsiteX33505" fmla="*/ 799926 w 6884782"/>
              <a:gd name="connsiteY33505" fmla="*/ 2436076 h 5973007"/>
              <a:gd name="connsiteX33506" fmla="*/ 798997 w 6884782"/>
              <a:gd name="connsiteY33506" fmla="*/ 2444441 h 5973007"/>
              <a:gd name="connsiteX33507" fmla="*/ 794454 w 6884782"/>
              <a:gd name="connsiteY33507" fmla="*/ 2451256 h 5973007"/>
              <a:gd name="connsiteX33508" fmla="*/ 790427 w 6884782"/>
              <a:gd name="connsiteY33508" fmla="*/ 2453889 h 5973007"/>
              <a:gd name="connsiteX33509" fmla="*/ 794041 w 6884782"/>
              <a:gd name="connsiteY33509" fmla="*/ 2454664 h 5973007"/>
              <a:gd name="connsiteX33510" fmla="*/ 806431 w 6884782"/>
              <a:gd name="connsiteY33510" fmla="*/ 2462873 h 5973007"/>
              <a:gd name="connsiteX33511" fmla="*/ 796829 w 6884782"/>
              <a:gd name="connsiteY33511" fmla="*/ 2468914 h 5973007"/>
              <a:gd name="connsiteX33512" fmla="*/ 781340 w 6884782"/>
              <a:gd name="connsiteY33512" fmla="*/ 2457297 h 5973007"/>
              <a:gd name="connsiteX33513" fmla="*/ 781443 w 6884782"/>
              <a:gd name="connsiteY33513" fmla="*/ 2456832 h 5973007"/>
              <a:gd name="connsiteX33514" fmla="*/ 774525 w 6884782"/>
              <a:gd name="connsiteY33514" fmla="*/ 2456677 h 5973007"/>
              <a:gd name="connsiteX33515" fmla="*/ 766987 w 6884782"/>
              <a:gd name="connsiteY33515" fmla="*/ 2454199 h 5973007"/>
              <a:gd name="connsiteX33516" fmla="*/ 765852 w 6884782"/>
              <a:gd name="connsiteY33516" fmla="*/ 2451876 h 5973007"/>
              <a:gd name="connsiteX33517" fmla="*/ 777829 w 6884782"/>
              <a:gd name="connsiteY33517" fmla="*/ 2434218 h 5973007"/>
              <a:gd name="connsiteX33518" fmla="*/ 794660 w 6884782"/>
              <a:gd name="connsiteY33518" fmla="*/ 2432669 h 5973007"/>
              <a:gd name="connsiteX33519" fmla="*/ 795486 w 6884782"/>
              <a:gd name="connsiteY33519" fmla="*/ 2433133 h 5973007"/>
              <a:gd name="connsiteX33520" fmla="*/ 794454 w 6884782"/>
              <a:gd name="connsiteY33520" fmla="*/ 2432049 h 5973007"/>
              <a:gd name="connsiteX33521" fmla="*/ 794660 w 6884782"/>
              <a:gd name="connsiteY33521" fmla="*/ 2430190 h 5973007"/>
              <a:gd name="connsiteX33522" fmla="*/ 796002 w 6884782"/>
              <a:gd name="connsiteY33522" fmla="*/ 2426163 h 5973007"/>
              <a:gd name="connsiteX33523" fmla="*/ 893063 w 6884782"/>
              <a:gd name="connsiteY33523" fmla="*/ 2425234 h 5973007"/>
              <a:gd name="connsiteX33524" fmla="*/ 897297 w 6884782"/>
              <a:gd name="connsiteY33524" fmla="*/ 2426008 h 5973007"/>
              <a:gd name="connsiteX33525" fmla="*/ 899569 w 6884782"/>
              <a:gd name="connsiteY33525" fmla="*/ 2433443 h 5973007"/>
              <a:gd name="connsiteX33526" fmla="*/ 896161 w 6884782"/>
              <a:gd name="connsiteY33526" fmla="*/ 2433598 h 5973007"/>
              <a:gd name="connsiteX33527" fmla="*/ 892340 w 6884782"/>
              <a:gd name="connsiteY33527" fmla="*/ 2427403 h 5973007"/>
              <a:gd name="connsiteX33528" fmla="*/ 893063 w 6884782"/>
              <a:gd name="connsiteY33528" fmla="*/ 2425234 h 5973007"/>
              <a:gd name="connsiteX33529" fmla="*/ 549117 w 6884782"/>
              <a:gd name="connsiteY33529" fmla="*/ 2423375 h 5973007"/>
              <a:gd name="connsiteX33530" fmla="*/ 551595 w 6884782"/>
              <a:gd name="connsiteY33530" fmla="*/ 2426938 h 5973007"/>
              <a:gd name="connsiteX33531" fmla="*/ 552524 w 6884782"/>
              <a:gd name="connsiteY33531" fmla="*/ 2427093 h 5973007"/>
              <a:gd name="connsiteX33532" fmla="*/ 554280 w 6884782"/>
              <a:gd name="connsiteY33532" fmla="*/ 2425543 h 5973007"/>
              <a:gd name="connsiteX33533" fmla="*/ 562954 w 6884782"/>
              <a:gd name="connsiteY33533" fmla="*/ 2426473 h 5973007"/>
              <a:gd name="connsiteX33534" fmla="*/ 565431 w 6884782"/>
              <a:gd name="connsiteY33534" fmla="*/ 2435922 h 5973007"/>
              <a:gd name="connsiteX33535" fmla="*/ 562747 w 6884782"/>
              <a:gd name="connsiteY33535" fmla="*/ 2439949 h 5973007"/>
              <a:gd name="connsiteX33536" fmla="*/ 552318 w 6884782"/>
              <a:gd name="connsiteY33536" fmla="*/ 2437935 h 5973007"/>
              <a:gd name="connsiteX33537" fmla="*/ 550769 w 6884782"/>
              <a:gd name="connsiteY33537" fmla="*/ 2428641 h 5973007"/>
              <a:gd name="connsiteX33538" fmla="*/ 549014 w 6884782"/>
              <a:gd name="connsiteY33538" fmla="*/ 2427557 h 5973007"/>
              <a:gd name="connsiteX33539" fmla="*/ 547361 w 6884782"/>
              <a:gd name="connsiteY33539" fmla="*/ 2423994 h 5973007"/>
              <a:gd name="connsiteX33540" fmla="*/ 549117 w 6884782"/>
              <a:gd name="connsiteY33540" fmla="*/ 2423375 h 5973007"/>
              <a:gd name="connsiteX33541" fmla="*/ 5267626 w 6884782"/>
              <a:gd name="connsiteY33541" fmla="*/ 2422839 h 5973007"/>
              <a:gd name="connsiteX33542" fmla="*/ 5276376 w 6884782"/>
              <a:gd name="connsiteY33542" fmla="*/ 2431090 h 5973007"/>
              <a:gd name="connsiteX33543" fmla="*/ 5272748 w 6884782"/>
              <a:gd name="connsiteY33543" fmla="*/ 2434362 h 5973007"/>
              <a:gd name="connsiteX33544" fmla="*/ 5272961 w 6884782"/>
              <a:gd name="connsiteY33544" fmla="*/ 2434505 h 5973007"/>
              <a:gd name="connsiteX33545" fmla="*/ 5278937 w 6884782"/>
              <a:gd name="connsiteY33545" fmla="*/ 2435074 h 5973007"/>
              <a:gd name="connsiteX33546" fmla="*/ 5281072 w 6884782"/>
              <a:gd name="connsiteY33546" fmla="*/ 2437777 h 5973007"/>
              <a:gd name="connsiteX33547" fmla="*/ 5281072 w 6884782"/>
              <a:gd name="connsiteY33547" fmla="*/ 2438915 h 5973007"/>
              <a:gd name="connsiteX33548" fmla="*/ 5278511 w 6884782"/>
              <a:gd name="connsiteY33548" fmla="*/ 2439627 h 5973007"/>
              <a:gd name="connsiteX33549" fmla="*/ 5267200 w 6884782"/>
              <a:gd name="connsiteY33549" fmla="*/ 2437208 h 5973007"/>
              <a:gd name="connsiteX33550" fmla="*/ 5265919 w 6884782"/>
              <a:gd name="connsiteY33550" fmla="*/ 2437065 h 5973007"/>
              <a:gd name="connsiteX33551" fmla="*/ 5260797 w 6884782"/>
              <a:gd name="connsiteY33551" fmla="*/ 2436781 h 5973007"/>
              <a:gd name="connsiteX33552" fmla="*/ 5267626 w 6884782"/>
              <a:gd name="connsiteY33552" fmla="*/ 2422839 h 5973007"/>
              <a:gd name="connsiteX33553" fmla="*/ 1129520 w 6884782"/>
              <a:gd name="connsiteY33553" fmla="*/ 2422291 h 5973007"/>
              <a:gd name="connsiteX33554" fmla="*/ 1131895 w 6884782"/>
              <a:gd name="connsiteY33554" fmla="*/ 2422910 h 5973007"/>
              <a:gd name="connsiteX33555" fmla="*/ 1134683 w 6884782"/>
              <a:gd name="connsiteY33555" fmla="*/ 2427403 h 5973007"/>
              <a:gd name="connsiteX33556" fmla="*/ 1132721 w 6884782"/>
              <a:gd name="connsiteY33556" fmla="*/ 2429106 h 5973007"/>
              <a:gd name="connsiteX33557" fmla="*/ 1133960 w 6884782"/>
              <a:gd name="connsiteY33557" fmla="*/ 2430035 h 5973007"/>
              <a:gd name="connsiteX33558" fmla="*/ 1134786 w 6884782"/>
              <a:gd name="connsiteY33558" fmla="*/ 2431120 h 5973007"/>
              <a:gd name="connsiteX33559" fmla="*/ 1130966 w 6884782"/>
              <a:gd name="connsiteY33559" fmla="*/ 2433598 h 5973007"/>
              <a:gd name="connsiteX33560" fmla="*/ 1130346 w 6884782"/>
              <a:gd name="connsiteY33560" fmla="*/ 2431894 h 5973007"/>
              <a:gd name="connsiteX33561" fmla="*/ 1129933 w 6884782"/>
              <a:gd name="connsiteY33561" fmla="*/ 2430345 h 5973007"/>
              <a:gd name="connsiteX33562" fmla="*/ 1128178 w 6884782"/>
              <a:gd name="connsiteY33562" fmla="*/ 2430810 h 5973007"/>
              <a:gd name="connsiteX33563" fmla="*/ 1128281 w 6884782"/>
              <a:gd name="connsiteY33563" fmla="*/ 2431429 h 5973007"/>
              <a:gd name="connsiteX33564" fmla="*/ 1129210 w 6884782"/>
              <a:gd name="connsiteY33564" fmla="*/ 2431429 h 5973007"/>
              <a:gd name="connsiteX33565" fmla="*/ 1128074 w 6884782"/>
              <a:gd name="connsiteY33565" fmla="*/ 2433133 h 5973007"/>
              <a:gd name="connsiteX33566" fmla="*/ 1121466 w 6884782"/>
              <a:gd name="connsiteY33566" fmla="*/ 2435302 h 5973007"/>
              <a:gd name="connsiteX33567" fmla="*/ 1120950 w 6884782"/>
              <a:gd name="connsiteY33567" fmla="*/ 2432824 h 5973007"/>
              <a:gd name="connsiteX33568" fmla="*/ 1122189 w 6884782"/>
              <a:gd name="connsiteY33568" fmla="*/ 2431120 h 5973007"/>
              <a:gd name="connsiteX33569" fmla="*/ 1125390 w 6884782"/>
              <a:gd name="connsiteY33569" fmla="*/ 2429106 h 5973007"/>
              <a:gd name="connsiteX33570" fmla="*/ 1126422 w 6884782"/>
              <a:gd name="connsiteY33570" fmla="*/ 2429261 h 5973007"/>
              <a:gd name="connsiteX33571" fmla="*/ 1125699 w 6884782"/>
              <a:gd name="connsiteY33571" fmla="*/ 2428641 h 5973007"/>
              <a:gd name="connsiteX33572" fmla="*/ 1125596 w 6884782"/>
              <a:gd name="connsiteY33572" fmla="*/ 2425234 h 5973007"/>
              <a:gd name="connsiteX33573" fmla="*/ 1126732 w 6884782"/>
              <a:gd name="connsiteY33573" fmla="*/ 2423065 h 5973007"/>
              <a:gd name="connsiteX33574" fmla="*/ 1129520 w 6884782"/>
              <a:gd name="connsiteY33574" fmla="*/ 2422291 h 5973007"/>
              <a:gd name="connsiteX33575" fmla="*/ 1176811 w 6884782"/>
              <a:gd name="connsiteY33575" fmla="*/ 2422136 h 5973007"/>
              <a:gd name="connsiteX33576" fmla="*/ 1183833 w 6884782"/>
              <a:gd name="connsiteY33576" fmla="*/ 2427712 h 5973007"/>
              <a:gd name="connsiteX33577" fmla="*/ 1175985 w 6884782"/>
              <a:gd name="connsiteY33577" fmla="*/ 2427247 h 5973007"/>
              <a:gd name="connsiteX33578" fmla="*/ 1176811 w 6884782"/>
              <a:gd name="connsiteY33578" fmla="*/ 2422136 h 5973007"/>
              <a:gd name="connsiteX33579" fmla="*/ 924350 w 6884782"/>
              <a:gd name="connsiteY33579" fmla="*/ 2421516 h 5973007"/>
              <a:gd name="connsiteX33580" fmla="*/ 927448 w 6884782"/>
              <a:gd name="connsiteY33580" fmla="*/ 2428796 h 5973007"/>
              <a:gd name="connsiteX33581" fmla="*/ 921562 w 6884782"/>
              <a:gd name="connsiteY33581" fmla="*/ 2423684 h 5973007"/>
              <a:gd name="connsiteX33582" fmla="*/ 921768 w 6884782"/>
              <a:gd name="connsiteY33582" fmla="*/ 2421671 h 5973007"/>
              <a:gd name="connsiteX33583" fmla="*/ 924350 w 6884782"/>
              <a:gd name="connsiteY33583" fmla="*/ 2421516 h 5973007"/>
              <a:gd name="connsiteX33584" fmla="*/ 867559 w 6884782"/>
              <a:gd name="connsiteY33584" fmla="*/ 2421516 h 5973007"/>
              <a:gd name="connsiteX33585" fmla="*/ 871173 w 6884782"/>
              <a:gd name="connsiteY33585" fmla="*/ 2424304 h 5973007"/>
              <a:gd name="connsiteX33586" fmla="*/ 873961 w 6884782"/>
              <a:gd name="connsiteY33586" fmla="*/ 2424769 h 5973007"/>
              <a:gd name="connsiteX33587" fmla="*/ 873961 w 6884782"/>
              <a:gd name="connsiteY33587" fmla="*/ 2425699 h 5973007"/>
              <a:gd name="connsiteX33588" fmla="*/ 863325 w 6884782"/>
              <a:gd name="connsiteY33588" fmla="*/ 2425389 h 5973007"/>
              <a:gd name="connsiteX33589" fmla="*/ 862293 w 6884782"/>
              <a:gd name="connsiteY33589" fmla="*/ 2424149 h 5973007"/>
              <a:gd name="connsiteX33590" fmla="*/ 863119 w 6884782"/>
              <a:gd name="connsiteY33590" fmla="*/ 2422136 h 5973007"/>
              <a:gd name="connsiteX33591" fmla="*/ 867559 w 6884782"/>
              <a:gd name="connsiteY33591" fmla="*/ 2421516 h 5973007"/>
              <a:gd name="connsiteX33592" fmla="*/ 1054660 w 6884782"/>
              <a:gd name="connsiteY33592" fmla="*/ 2421361 h 5973007"/>
              <a:gd name="connsiteX33593" fmla="*/ 1060958 w 6884782"/>
              <a:gd name="connsiteY33593" fmla="*/ 2425079 h 5973007"/>
              <a:gd name="connsiteX33594" fmla="*/ 1054143 w 6884782"/>
              <a:gd name="connsiteY33594" fmla="*/ 2428641 h 5973007"/>
              <a:gd name="connsiteX33595" fmla="*/ 1052491 w 6884782"/>
              <a:gd name="connsiteY33595" fmla="*/ 2427557 h 5973007"/>
              <a:gd name="connsiteX33596" fmla="*/ 1049393 w 6884782"/>
              <a:gd name="connsiteY33596" fmla="*/ 2424149 h 5973007"/>
              <a:gd name="connsiteX33597" fmla="*/ 1050839 w 6884782"/>
              <a:gd name="connsiteY33597" fmla="*/ 2421516 h 5973007"/>
              <a:gd name="connsiteX33598" fmla="*/ 1054660 w 6884782"/>
              <a:gd name="connsiteY33598" fmla="*/ 2421361 h 5973007"/>
              <a:gd name="connsiteX33599" fmla="*/ 1026987 w 6884782"/>
              <a:gd name="connsiteY33599" fmla="*/ 2421051 h 5973007"/>
              <a:gd name="connsiteX33600" fmla="*/ 1029774 w 6884782"/>
              <a:gd name="connsiteY33600" fmla="*/ 2421516 h 5973007"/>
              <a:gd name="connsiteX33601" fmla="*/ 1032562 w 6884782"/>
              <a:gd name="connsiteY33601" fmla="*/ 2425234 h 5973007"/>
              <a:gd name="connsiteX33602" fmla="*/ 1025644 w 6884782"/>
              <a:gd name="connsiteY33602" fmla="*/ 2427867 h 5973007"/>
              <a:gd name="connsiteX33603" fmla="*/ 1023683 w 6884782"/>
              <a:gd name="connsiteY33603" fmla="*/ 2425853 h 5973007"/>
              <a:gd name="connsiteX33604" fmla="*/ 1026987 w 6884782"/>
              <a:gd name="connsiteY33604" fmla="*/ 2421051 h 5973007"/>
              <a:gd name="connsiteX33605" fmla="*/ 655161 w 6884782"/>
              <a:gd name="connsiteY33605" fmla="*/ 2421051 h 5973007"/>
              <a:gd name="connsiteX33606" fmla="*/ 658775 w 6884782"/>
              <a:gd name="connsiteY33606" fmla="*/ 2430965 h 5973007"/>
              <a:gd name="connsiteX33607" fmla="*/ 655471 w 6884782"/>
              <a:gd name="connsiteY33607" fmla="*/ 2432359 h 5973007"/>
              <a:gd name="connsiteX33608" fmla="*/ 650205 w 6884782"/>
              <a:gd name="connsiteY33608" fmla="*/ 2422910 h 5973007"/>
              <a:gd name="connsiteX33609" fmla="*/ 655161 w 6884782"/>
              <a:gd name="connsiteY33609" fmla="*/ 2421051 h 5973007"/>
              <a:gd name="connsiteX33610" fmla="*/ 1084604 w 6884782"/>
              <a:gd name="connsiteY33610" fmla="*/ 2420587 h 5973007"/>
              <a:gd name="connsiteX33611" fmla="*/ 1086153 w 6884782"/>
              <a:gd name="connsiteY33611" fmla="*/ 2421051 h 5973007"/>
              <a:gd name="connsiteX33612" fmla="*/ 1078615 w 6884782"/>
              <a:gd name="connsiteY33612" fmla="*/ 2424769 h 5973007"/>
              <a:gd name="connsiteX33613" fmla="*/ 1084604 w 6884782"/>
              <a:gd name="connsiteY33613" fmla="*/ 2420587 h 5973007"/>
              <a:gd name="connsiteX33614" fmla="*/ 5226863 w 6884782"/>
              <a:gd name="connsiteY33614" fmla="*/ 2420278 h 5973007"/>
              <a:gd name="connsiteX33615" fmla="*/ 5236680 w 6884782"/>
              <a:gd name="connsiteY33615" fmla="*/ 2421843 h 5973007"/>
              <a:gd name="connsiteX33616" fmla="*/ 5236253 w 6884782"/>
              <a:gd name="connsiteY33616" fmla="*/ 2428672 h 5973007"/>
              <a:gd name="connsiteX33617" fmla="*/ 5227290 w 6884782"/>
              <a:gd name="connsiteY33617" fmla="*/ 2429668 h 5973007"/>
              <a:gd name="connsiteX33618" fmla="*/ 5226863 w 6884782"/>
              <a:gd name="connsiteY33618" fmla="*/ 2420278 h 5973007"/>
              <a:gd name="connsiteX33619" fmla="*/ 981141 w 6884782"/>
              <a:gd name="connsiteY33619" fmla="*/ 2419502 h 5973007"/>
              <a:gd name="connsiteX33620" fmla="*/ 982277 w 6884782"/>
              <a:gd name="connsiteY33620" fmla="*/ 2423684 h 5973007"/>
              <a:gd name="connsiteX33621" fmla="*/ 980315 w 6884782"/>
              <a:gd name="connsiteY33621" fmla="*/ 2425389 h 5973007"/>
              <a:gd name="connsiteX33622" fmla="*/ 978353 w 6884782"/>
              <a:gd name="connsiteY33622" fmla="*/ 2423375 h 5973007"/>
              <a:gd name="connsiteX33623" fmla="*/ 978043 w 6884782"/>
              <a:gd name="connsiteY33623" fmla="*/ 2420741 h 5973007"/>
              <a:gd name="connsiteX33624" fmla="*/ 979076 w 6884782"/>
              <a:gd name="connsiteY33624" fmla="*/ 2419967 h 5973007"/>
              <a:gd name="connsiteX33625" fmla="*/ 981141 w 6884782"/>
              <a:gd name="connsiteY33625" fmla="*/ 2419502 h 5973007"/>
              <a:gd name="connsiteX33626" fmla="*/ 1007058 w 6884782"/>
              <a:gd name="connsiteY33626" fmla="*/ 2418418 h 5973007"/>
              <a:gd name="connsiteX33627" fmla="*/ 1008400 w 6884782"/>
              <a:gd name="connsiteY33627" fmla="*/ 2426008 h 5973007"/>
              <a:gd name="connsiteX33628" fmla="*/ 1007471 w 6884782"/>
              <a:gd name="connsiteY33628" fmla="*/ 2426782 h 5973007"/>
              <a:gd name="connsiteX33629" fmla="*/ 997249 w 6884782"/>
              <a:gd name="connsiteY33629" fmla="*/ 2430345 h 5973007"/>
              <a:gd name="connsiteX33630" fmla="*/ 996216 w 6884782"/>
              <a:gd name="connsiteY33630" fmla="*/ 2426782 h 5973007"/>
              <a:gd name="connsiteX33631" fmla="*/ 998488 w 6884782"/>
              <a:gd name="connsiteY33631" fmla="*/ 2422910 h 5973007"/>
              <a:gd name="connsiteX33632" fmla="*/ 1007058 w 6884782"/>
              <a:gd name="connsiteY33632" fmla="*/ 2418418 h 5973007"/>
              <a:gd name="connsiteX33633" fmla="*/ 5256742 w 6884782"/>
              <a:gd name="connsiteY33633" fmla="*/ 2417006 h 5973007"/>
              <a:gd name="connsiteX33634" fmla="*/ 5258876 w 6884782"/>
              <a:gd name="connsiteY33634" fmla="*/ 2418286 h 5973007"/>
              <a:gd name="connsiteX33635" fmla="*/ 5259730 w 6884782"/>
              <a:gd name="connsiteY33635" fmla="*/ 2426964 h 5973007"/>
              <a:gd name="connsiteX33636" fmla="*/ 5256742 w 6884782"/>
              <a:gd name="connsiteY33636" fmla="*/ 2429383 h 5973007"/>
              <a:gd name="connsiteX33637" fmla="*/ 5250766 w 6884782"/>
              <a:gd name="connsiteY33637" fmla="*/ 2424261 h 5973007"/>
              <a:gd name="connsiteX33638" fmla="*/ 5251619 w 6884782"/>
              <a:gd name="connsiteY33638" fmla="*/ 2420420 h 5973007"/>
              <a:gd name="connsiteX33639" fmla="*/ 5256742 w 6884782"/>
              <a:gd name="connsiteY33639" fmla="*/ 2417006 h 5973007"/>
              <a:gd name="connsiteX33640" fmla="*/ 1187653 w 6884782"/>
              <a:gd name="connsiteY33640" fmla="*/ 2416714 h 5973007"/>
              <a:gd name="connsiteX33641" fmla="*/ 1194571 w 6884782"/>
              <a:gd name="connsiteY33641" fmla="*/ 2419967 h 5973007"/>
              <a:gd name="connsiteX33642" fmla="*/ 1194571 w 6884782"/>
              <a:gd name="connsiteY33642" fmla="*/ 2421980 h 5973007"/>
              <a:gd name="connsiteX33643" fmla="*/ 1193126 w 6884782"/>
              <a:gd name="connsiteY33643" fmla="*/ 2426163 h 5973007"/>
              <a:gd name="connsiteX33644" fmla="*/ 1189925 w 6884782"/>
              <a:gd name="connsiteY33644" fmla="*/ 2426473 h 5973007"/>
              <a:gd name="connsiteX33645" fmla="*/ 1187653 w 6884782"/>
              <a:gd name="connsiteY33645" fmla="*/ 2423684 h 5973007"/>
              <a:gd name="connsiteX33646" fmla="*/ 1187343 w 6884782"/>
              <a:gd name="connsiteY33646" fmla="*/ 2420122 h 5973007"/>
              <a:gd name="connsiteX33647" fmla="*/ 1187653 w 6884782"/>
              <a:gd name="connsiteY33647" fmla="*/ 2416714 h 5973007"/>
              <a:gd name="connsiteX33648" fmla="*/ 1063333 w 6884782"/>
              <a:gd name="connsiteY33648" fmla="*/ 2416405 h 5973007"/>
              <a:gd name="connsiteX33649" fmla="*/ 1064882 w 6884782"/>
              <a:gd name="connsiteY33649" fmla="*/ 2416870 h 5973007"/>
              <a:gd name="connsiteX33650" fmla="*/ 1065914 w 6884782"/>
              <a:gd name="connsiteY33650" fmla="*/ 2419037 h 5973007"/>
              <a:gd name="connsiteX33651" fmla="*/ 1062404 w 6884782"/>
              <a:gd name="connsiteY33651" fmla="*/ 2419502 h 5973007"/>
              <a:gd name="connsiteX33652" fmla="*/ 1062300 w 6884782"/>
              <a:gd name="connsiteY33652" fmla="*/ 2417644 h 5973007"/>
              <a:gd name="connsiteX33653" fmla="*/ 1063333 w 6884782"/>
              <a:gd name="connsiteY33653" fmla="*/ 2416405 h 5973007"/>
              <a:gd name="connsiteX33654" fmla="*/ 1041649 w 6884782"/>
              <a:gd name="connsiteY33654" fmla="*/ 2416094 h 5973007"/>
              <a:gd name="connsiteX33655" fmla="*/ 1047638 w 6884782"/>
              <a:gd name="connsiteY33655" fmla="*/ 2423684 h 5973007"/>
              <a:gd name="connsiteX33656" fmla="*/ 1047431 w 6884782"/>
              <a:gd name="connsiteY33656" fmla="*/ 2424614 h 5973007"/>
              <a:gd name="connsiteX33657" fmla="*/ 1048361 w 6884782"/>
              <a:gd name="connsiteY33657" fmla="*/ 2426782 h 5973007"/>
              <a:gd name="connsiteX33658" fmla="*/ 1045986 w 6884782"/>
              <a:gd name="connsiteY33658" fmla="*/ 2429416 h 5973007"/>
              <a:gd name="connsiteX33659" fmla="*/ 1037519 w 6884782"/>
              <a:gd name="connsiteY33659" fmla="*/ 2422136 h 5973007"/>
              <a:gd name="connsiteX33660" fmla="*/ 1041339 w 6884782"/>
              <a:gd name="connsiteY33660" fmla="*/ 2418728 h 5973007"/>
              <a:gd name="connsiteX33661" fmla="*/ 5129970 w 6884782"/>
              <a:gd name="connsiteY33661" fmla="*/ 2415440 h 5973007"/>
              <a:gd name="connsiteX33662" fmla="*/ 5133812 w 6884782"/>
              <a:gd name="connsiteY33662" fmla="*/ 2416295 h 5973007"/>
              <a:gd name="connsiteX33663" fmla="*/ 5139574 w 6884782"/>
              <a:gd name="connsiteY33663" fmla="*/ 2416863 h 5973007"/>
              <a:gd name="connsiteX33664" fmla="*/ 5157928 w 6884782"/>
              <a:gd name="connsiteY33664" fmla="*/ 2423977 h 5973007"/>
              <a:gd name="connsiteX33665" fmla="*/ 5149819 w 6884782"/>
              <a:gd name="connsiteY33665" fmla="*/ 2424261 h 5973007"/>
              <a:gd name="connsiteX33666" fmla="*/ 5131464 w 6884782"/>
              <a:gd name="connsiteY33666" fmla="*/ 2421843 h 5973007"/>
              <a:gd name="connsiteX33667" fmla="*/ 5129117 w 6884782"/>
              <a:gd name="connsiteY33667" fmla="*/ 2419282 h 5973007"/>
              <a:gd name="connsiteX33668" fmla="*/ 5128050 w 6884782"/>
              <a:gd name="connsiteY33668" fmla="*/ 2419140 h 5973007"/>
              <a:gd name="connsiteX33669" fmla="*/ 5126983 w 6884782"/>
              <a:gd name="connsiteY33669" fmla="*/ 2416579 h 5973007"/>
              <a:gd name="connsiteX33670" fmla="*/ 5129970 w 6884782"/>
              <a:gd name="connsiteY33670" fmla="*/ 2415440 h 5973007"/>
              <a:gd name="connsiteX33671" fmla="*/ 4845695 w 6884782"/>
              <a:gd name="connsiteY33671" fmla="*/ 2415440 h 5973007"/>
              <a:gd name="connsiteX33672" fmla="*/ 4850177 w 6884782"/>
              <a:gd name="connsiteY33672" fmla="*/ 2415583 h 5973007"/>
              <a:gd name="connsiteX33673" fmla="*/ 4852098 w 6884782"/>
              <a:gd name="connsiteY33673" fmla="*/ 2418571 h 5973007"/>
              <a:gd name="connsiteX33674" fmla="*/ 4853378 w 6884782"/>
              <a:gd name="connsiteY33674" fmla="*/ 2420704 h 5973007"/>
              <a:gd name="connsiteX33675" fmla="*/ 4852738 w 6884782"/>
              <a:gd name="connsiteY33675" fmla="*/ 2425684 h 5973007"/>
              <a:gd name="connsiteX33676" fmla="*/ 4853805 w 6884782"/>
              <a:gd name="connsiteY33676" fmla="*/ 2425257 h 5973007"/>
              <a:gd name="connsiteX33677" fmla="*/ 4847402 w 6884782"/>
              <a:gd name="connsiteY33677" fmla="*/ 2428814 h 5973007"/>
              <a:gd name="connsiteX33678" fmla="*/ 4841640 w 6884782"/>
              <a:gd name="connsiteY33678" fmla="*/ 2416152 h 5973007"/>
              <a:gd name="connsiteX33679" fmla="*/ 4845695 w 6884782"/>
              <a:gd name="connsiteY33679" fmla="*/ 2415440 h 5973007"/>
              <a:gd name="connsiteX33680" fmla="*/ 5118232 w 6884782"/>
              <a:gd name="connsiteY33680" fmla="*/ 2413591 h 5973007"/>
              <a:gd name="connsiteX33681" fmla="*/ 5125062 w 6884782"/>
              <a:gd name="connsiteY33681" fmla="*/ 2426964 h 5973007"/>
              <a:gd name="connsiteX33682" fmla="*/ 5107988 w 6884782"/>
              <a:gd name="connsiteY33682" fmla="*/ 2425257 h 5973007"/>
              <a:gd name="connsiteX33683" fmla="*/ 5118232 w 6884782"/>
              <a:gd name="connsiteY33683" fmla="*/ 2413591 h 5973007"/>
              <a:gd name="connsiteX33684" fmla="*/ 5532267 w 6884782"/>
              <a:gd name="connsiteY33684" fmla="*/ 2413449 h 5973007"/>
              <a:gd name="connsiteX33685" fmla="*/ 5513913 w 6884782"/>
              <a:gd name="connsiteY33685" fmla="*/ 2421843 h 5973007"/>
              <a:gd name="connsiteX33686" fmla="*/ 5514126 w 6884782"/>
              <a:gd name="connsiteY33686" fmla="*/ 2424688 h 5973007"/>
              <a:gd name="connsiteX33687" fmla="*/ 5516047 w 6884782"/>
              <a:gd name="connsiteY33687" fmla="*/ 2423834 h 5973007"/>
              <a:gd name="connsiteX33688" fmla="*/ 5510711 w 6884782"/>
              <a:gd name="connsiteY33688" fmla="*/ 2430379 h 5973007"/>
              <a:gd name="connsiteX33689" fmla="*/ 5509217 w 6884782"/>
              <a:gd name="connsiteY33689" fmla="*/ 2427107 h 5973007"/>
              <a:gd name="connsiteX33690" fmla="*/ 5513059 w 6884782"/>
              <a:gd name="connsiteY33690" fmla="*/ 2425399 h 5973007"/>
              <a:gd name="connsiteX33691" fmla="*/ 5510711 w 6884782"/>
              <a:gd name="connsiteY33691" fmla="*/ 2424261 h 5973007"/>
              <a:gd name="connsiteX33692" fmla="*/ 5507297 w 6884782"/>
              <a:gd name="connsiteY33692" fmla="*/ 2423123 h 5973007"/>
              <a:gd name="connsiteX33693" fmla="*/ 5487875 w 6884782"/>
              <a:gd name="connsiteY33693" fmla="*/ 2435216 h 5973007"/>
              <a:gd name="connsiteX33694" fmla="*/ 5487022 w 6884782"/>
              <a:gd name="connsiteY33694" fmla="*/ 2435643 h 5973007"/>
              <a:gd name="connsiteX33695" fmla="*/ 5489156 w 6884782"/>
              <a:gd name="connsiteY33695" fmla="*/ 2438630 h 5973007"/>
              <a:gd name="connsiteX33696" fmla="*/ 5489156 w 6884782"/>
              <a:gd name="connsiteY33696" fmla="*/ 2439769 h 5973007"/>
              <a:gd name="connsiteX33697" fmla="*/ 5493851 w 6884782"/>
              <a:gd name="connsiteY33697" fmla="*/ 2438630 h 5973007"/>
              <a:gd name="connsiteX33698" fmla="*/ 5515193 w 6884782"/>
              <a:gd name="connsiteY33698" fmla="*/ 2431944 h 5973007"/>
              <a:gd name="connsiteX33699" fmla="*/ 5518181 w 6884782"/>
              <a:gd name="connsiteY33699" fmla="*/ 2436354 h 5973007"/>
              <a:gd name="connsiteX33700" fmla="*/ 5521382 w 6884782"/>
              <a:gd name="connsiteY33700" fmla="*/ 2425969 h 5973007"/>
              <a:gd name="connsiteX33701" fmla="*/ 5532267 w 6884782"/>
              <a:gd name="connsiteY33701" fmla="*/ 2422269 h 5973007"/>
              <a:gd name="connsiteX33702" fmla="*/ 5532267 w 6884782"/>
              <a:gd name="connsiteY33702" fmla="*/ 2413449 h 5973007"/>
              <a:gd name="connsiteX33703" fmla="*/ 1122086 w 6884782"/>
              <a:gd name="connsiteY33703" fmla="*/ 2413306 h 5973007"/>
              <a:gd name="connsiteX33704" fmla="*/ 1126732 w 6884782"/>
              <a:gd name="connsiteY33704" fmla="*/ 2418883 h 5973007"/>
              <a:gd name="connsiteX33705" fmla="*/ 1120950 w 6884782"/>
              <a:gd name="connsiteY33705" fmla="*/ 2418263 h 5973007"/>
              <a:gd name="connsiteX33706" fmla="*/ 1122086 w 6884782"/>
              <a:gd name="connsiteY33706" fmla="*/ 2413306 h 5973007"/>
              <a:gd name="connsiteX33707" fmla="*/ 779520 w 6884782"/>
              <a:gd name="connsiteY33707" fmla="*/ 2413036 h 5973007"/>
              <a:gd name="connsiteX33708" fmla="*/ 785677 w 6884782"/>
              <a:gd name="connsiteY33708" fmla="*/ 2416870 h 5973007"/>
              <a:gd name="connsiteX33709" fmla="*/ 788258 w 6884782"/>
              <a:gd name="connsiteY33709" fmla="*/ 2421361 h 5973007"/>
              <a:gd name="connsiteX33710" fmla="*/ 786400 w 6884782"/>
              <a:gd name="connsiteY33710" fmla="*/ 2427093 h 5973007"/>
              <a:gd name="connsiteX33711" fmla="*/ 775145 w 6884782"/>
              <a:gd name="connsiteY33711" fmla="*/ 2427712 h 5973007"/>
              <a:gd name="connsiteX33712" fmla="*/ 770911 w 6884782"/>
              <a:gd name="connsiteY33712" fmla="*/ 2419657 h 5973007"/>
              <a:gd name="connsiteX33713" fmla="*/ 770911 w 6884782"/>
              <a:gd name="connsiteY33713" fmla="*/ 2420587 h 5973007"/>
              <a:gd name="connsiteX33714" fmla="*/ 768949 w 6884782"/>
              <a:gd name="connsiteY33714" fmla="*/ 2421980 h 5973007"/>
              <a:gd name="connsiteX33715" fmla="*/ 769053 w 6884782"/>
              <a:gd name="connsiteY33715" fmla="*/ 2423530 h 5973007"/>
              <a:gd name="connsiteX33716" fmla="*/ 769053 w 6884782"/>
              <a:gd name="connsiteY33716" fmla="*/ 2425079 h 5973007"/>
              <a:gd name="connsiteX33717" fmla="*/ 768226 w 6884782"/>
              <a:gd name="connsiteY33717" fmla="*/ 2425234 h 5973007"/>
              <a:gd name="connsiteX33718" fmla="*/ 767710 w 6884782"/>
              <a:gd name="connsiteY33718" fmla="*/ 2423065 h 5973007"/>
              <a:gd name="connsiteX33719" fmla="*/ 764613 w 6884782"/>
              <a:gd name="connsiteY33719" fmla="*/ 2425543 h 5973007"/>
              <a:gd name="connsiteX33720" fmla="*/ 765026 w 6884782"/>
              <a:gd name="connsiteY33720" fmla="*/ 2427557 h 5973007"/>
              <a:gd name="connsiteX33721" fmla="*/ 763477 w 6884782"/>
              <a:gd name="connsiteY33721" fmla="*/ 2426163 h 5973007"/>
              <a:gd name="connsiteX33722" fmla="*/ 761102 w 6884782"/>
              <a:gd name="connsiteY33722" fmla="*/ 2427403 h 5973007"/>
              <a:gd name="connsiteX33723" fmla="*/ 758624 w 6884782"/>
              <a:gd name="connsiteY33723" fmla="*/ 2427712 h 5973007"/>
              <a:gd name="connsiteX33724" fmla="*/ 759553 w 6884782"/>
              <a:gd name="connsiteY33724" fmla="*/ 2425234 h 5973007"/>
              <a:gd name="connsiteX33725" fmla="*/ 760482 w 6884782"/>
              <a:gd name="connsiteY33725" fmla="*/ 2424459 h 5973007"/>
              <a:gd name="connsiteX33726" fmla="*/ 760482 w 6884782"/>
              <a:gd name="connsiteY33726" fmla="*/ 2423684 h 5973007"/>
              <a:gd name="connsiteX33727" fmla="*/ 760792 w 6884782"/>
              <a:gd name="connsiteY33727" fmla="*/ 2423684 h 5973007"/>
              <a:gd name="connsiteX33728" fmla="*/ 759243 w 6884782"/>
              <a:gd name="connsiteY33728" fmla="*/ 2420277 h 5973007"/>
              <a:gd name="connsiteX33729" fmla="*/ 756249 w 6884782"/>
              <a:gd name="connsiteY33729" fmla="*/ 2414391 h 5973007"/>
              <a:gd name="connsiteX33730" fmla="*/ 759759 w 6884782"/>
              <a:gd name="connsiteY33730" fmla="*/ 2413926 h 5973007"/>
              <a:gd name="connsiteX33731" fmla="*/ 759863 w 6884782"/>
              <a:gd name="connsiteY33731" fmla="*/ 2415630 h 5973007"/>
              <a:gd name="connsiteX33732" fmla="*/ 763683 w 6884782"/>
              <a:gd name="connsiteY33732" fmla="*/ 2420741 h 5973007"/>
              <a:gd name="connsiteX33733" fmla="*/ 763787 w 6884782"/>
              <a:gd name="connsiteY33733" fmla="*/ 2421051 h 5973007"/>
              <a:gd name="connsiteX33734" fmla="*/ 764716 w 6884782"/>
              <a:gd name="connsiteY33734" fmla="*/ 2419502 h 5973007"/>
              <a:gd name="connsiteX33735" fmla="*/ 765749 w 6884782"/>
              <a:gd name="connsiteY33735" fmla="*/ 2417489 h 5973007"/>
              <a:gd name="connsiteX33736" fmla="*/ 765852 w 6884782"/>
              <a:gd name="connsiteY33736" fmla="*/ 2417334 h 5973007"/>
              <a:gd name="connsiteX33737" fmla="*/ 765749 w 6884782"/>
              <a:gd name="connsiteY33737" fmla="*/ 2416870 h 5973007"/>
              <a:gd name="connsiteX33738" fmla="*/ 765852 w 6884782"/>
              <a:gd name="connsiteY33738" fmla="*/ 2413771 h 5973007"/>
              <a:gd name="connsiteX33739" fmla="*/ 765955 w 6884782"/>
              <a:gd name="connsiteY33739" fmla="*/ 2414546 h 5973007"/>
              <a:gd name="connsiteX33740" fmla="*/ 766678 w 6884782"/>
              <a:gd name="connsiteY33740" fmla="*/ 2413616 h 5973007"/>
              <a:gd name="connsiteX33741" fmla="*/ 767504 w 6884782"/>
              <a:gd name="connsiteY33741" fmla="*/ 2416405 h 5973007"/>
              <a:gd name="connsiteX33742" fmla="*/ 768020 w 6884782"/>
              <a:gd name="connsiteY33742" fmla="*/ 2415940 h 5973007"/>
              <a:gd name="connsiteX33743" fmla="*/ 771015 w 6884782"/>
              <a:gd name="connsiteY33743" fmla="*/ 2414546 h 5973007"/>
              <a:gd name="connsiteX33744" fmla="*/ 772666 w 6884782"/>
              <a:gd name="connsiteY33744" fmla="*/ 2416405 h 5973007"/>
              <a:gd name="connsiteX33745" fmla="*/ 774525 w 6884782"/>
              <a:gd name="connsiteY33745" fmla="*/ 2415010 h 5973007"/>
              <a:gd name="connsiteX33746" fmla="*/ 779520 w 6884782"/>
              <a:gd name="connsiteY33746" fmla="*/ 2413036 h 5973007"/>
              <a:gd name="connsiteX33747" fmla="*/ 6249571 w 6884782"/>
              <a:gd name="connsiteY33747" fmla="*/ 2412453 h 5973007"/>
              <a:gd name="connsiteX33748" fmla="*/ 6254266 w 6884782"/>
              <a:gd name="connsiteY33748" fmla="*/ 2418855 h 5973007"/>
              <a:gd name="connsiteX33749" fmla="*/ 6262589 w 6884782"/>
              <a:gd name="connsiteY33749" fmla="*/ 2435074 h 5973007"/>
              <a:gd name="connsiteX33750" fmla="*/ 6261522 w 6884782"/>
              <a:gd name="connsiteY33750" fmla="*/ 2438346 h 5973007"/>
              <a:gd name="connsiteX33751" fmla="*/ 6261949 w 6884782"/>
              <a:gd name="connsiteY33751" fmla="*/ 2439484 h 5973007"/>
              <a:gd name="connsiteX33752" fmla="*/ 6260455 w 6884782"/>
              <a:gd name="connsiteY33752" fmla="*/ 2441761 h 5973007"/>
              <a:gd name="connsiteX33753" fmla="*/ 6256400 w 6884782"/>
              <a:gd name="connsiteY33753" fmla="*/ 2436212 h 5973007"/>
              <a:gd name="connsiteX33754" fmla="*/ 6253839 w 6884782"/>
              <a:gd name="connsiteY33754" fmla="*/ 2431233 h 5973007"/>
              <a:gd name="connsiteX33755" fmla="*/ 6249571 w 6884782"/>
              <a:gd name="connsiteY33755" fmla="*/ 2412453 h 5973007"/>
              <a:gd name="connsiteX33756" fmla="*/ 4930850 w 6884782"/>
              <a:gd name="connsiteY33756" fmla="*/ 2412453 h 5973007"/>
              <a:gd name="connsiteX33757" fmla="*/ 4933838 w 6884782"/>
              <a:gd name="connsiteY33757" fmla="*/ 2413449 h 5973007"/>
              <a:gd name="connsiteX33758" fmla="*/ 4932557 w 6884782"/>
              <a:gd name="connsiteY33758" fmla="*/ 2424261 h 5973007"/>
              <a:gd name="connsiteX33759" fmla="*/ 4928502 w 6884782"/>
              <a:gd name="connsiteY33759" fmla="*/ 2413022 h 5973007"/>
              <a:gd name="connsiteX33760" fmla="*/ 4930850 w 6884782"/>
              <a:gd name="connsiteY33760" fmla="*/ 2412453 h 5973007"/>
              <a:gd name="connsiteX33761" fmla="*/ 1011189 w 6884782"/>
              <a:gd name="connsiteY33761" fmla="*/ 2412377 h 5973007"/>
              <a:gd name="connsiteX33762" fmla="*/ 1016351 w 6884782"/>
              <a:gd name="connsiteY33762" fmla="*/ 2420896 h 5973007"/>
              <a:gd name="connsiteX33763" fmla="*/ 1010879 w 6884782"/>
              <a:gd name="connsiteY33763" fmla="*/ 2414701 h 5973007"/>
              <a:gd name="connsiteX33764" fmla="*/ 1011189 w 6884782"/>
              <a:gd name="connsiteY33764" fmla="*/ 2412377 h 5973007"/>
              <a:gd name="connsiteX33765" fmla="*/ 1068392 w 6884782"/>
              <a:gd name="connsiteY33765" fmla="*/ 2411913 h 5973007"/>
              <a:gd name="connsiteX33766" fmla="*/ 1070354 w 6884782"/>
              <a:gd name="connsiteY33766" fmla="*/ 2412222 h 5973007"/>
              <a:gd name="connsiteX33767" fmla="*/ 1072420 w 6884782"/>
              <a:gd name="connsiteY33767" fmla="*/ 2412997 h 5973007"/>
              <a:gd name="connsiteX33768" fmla="*/ 1075827 w 6884782"/>
              <a:gd name="connsiteY33768" fmla="*/ 2416714 h 5973007"/>
              <a:gd name="connsiteX33769" fmla="*/ 1075517 w 6884782"/>
              <a:gd name="connsiteY33769" fmla="*/ 2420432 h 5973007"/>
              <a:gd name="connsiteX33770" fmla="*/ 1074691 w 6884782"/>
              <a:gd name="connsiteY33770" fmla="*/ 2421826 h 5973007"/>
              <a:gd name="connsiteX33771" fmla="*/ 1067050 w 6884782"/>
              <a:gd name="connsiteY33771" fmla="*/ 2418883 h 5973007"/>
              <a:gd name="connsiteX33772" fmla="*/ 1066431 w 6884782"/>
              <a:gd name="connsiteY33772" fmla="*/ 2415010 h 5973007"/>
              <a:gd name="connsiteX33773" fmla="*/ 1068392 w 6884782"/>
              <a:gd name="connsiteY33773" fmla="*/ 2411913 h 5973007"/>
              <a:gd name="connsiteX33774" fmla="*/ 901840 w 6884782"/>
              <a:gd name="connsiteY33774" fmla="*/ 2411913 h 5973007"/>
              <a:gd name="connsiteX33775" fmla="*/ 906590 w 6884782"/>
              <a:gd name="connsiteY33775" fmla="*/ 2412067 h 5973007"/>
              <a:gd name="connsiteX33776" fmla="*/ 902150 w 6884782"/>
              <a:gd name="connsiteY33776" fmla="*/ 2412997 h 5973007"/>
              <a:gd name="connsiteX33777" fmla="*/ 901840 w 6884782"/>
              <a:gd name="connsiteY33777" fmla="*/ 2411913 h 5973007"/>
              <a:gd name="connsiteX33778" fmla="*/ 930442 w 6884782"/>
              <a:gd name="connsiteY33778" fmla="*/ 2411487 h 5973007"/>
              <a:gd name="connsiteX33779" fmla="*/ 934160 w 6884782"/>
              <a:gd name="connsiteY33779" fmla="*/ 2412377 h 5973007"/>
              <a:gd name="connsiteX33780" fmla="*/ 926208 w 6884782"/>
              <a:gd name="connsiteY33780" fmla="*/ 2415475 h 5973007"/>
              <a:gd name="connsiteX33781" fmla="*/ 924556 w 6884782"/>
              <a:gd name="connsiteY33781" fmla="*/ 2414391 h 5973007"/>
              <a:gd name="connsiteX33782" fmla="*/ 925795 w 6884782"/>
              <a:gd name="connsiteY33782" fmla="*/ 2412222 h 5973007"/>
              <a:gd name="connsiteX33783" fmla="*/ 930442 w 6884782"/>
              <a:gd name="connsiteY33783" fmla="*/ 2411487 h 5973007"/>
              <a:gd name="connsiteX33784" fmla="*/ 1010362 w 6884782"/>
              <a:gd name="connsiteY33784" fmla="*/ 2410983 h 5973007"/>
              <a:gd name="connsiteX33785" fmla="*/ 994151 w 6884782"/>
              <a:gd name="connsiteY33785" fmla="*/ 2424304 h 5973007"/>
              <a:gd name="connsiteX33786" fmla="*/ 993428 w 6884782"/>
              <a:gd name="connsiteY33786" fmla="*/ 2424149 h 5973007"/>
              <a:gd name="connsiteX33787" fmla="*/ 992705 w 6884782"/>
              <a:gd name="connsiteY33787" fmla="*/ 2424614 h 5973007"/>
              <a:gd name="connsiteX33788" fmla="*/ 990640 w 6884782"/>
              <a:gd name="connsiteY33788" fmla="*/ 2424149 h 5973007"/>
              <a:gd name="connsiteX33789" fmla="*/ 991054 w 6884782"/>
              <a:gd name="connsiteY33789" fmla="*/ 2423684 h 5973007"/>
              <a:gd name="connsiteX33790" fmla="*/ 988988 w 6884782"/>
              <a:gd name="connsiteY33790" fmla="*/ 2422755 h 5973007"/>
              <a:gd name="connsiteX33791" fmla="*/ 1010362 w 6884782"/>
              <a:gd name="connsiteY33791" fmla="*/ 2410983 h 5973007"/>
              <a:gd name="connsiteX33792" fmla="*/ 1061887 w 6884782"/>
              <a:gd name="connsiteY33792" fmla="*/ 2410828 h 5973007"/>
              <a:gd name="connsiteX33793" fmla="*/ 1064365 w 6884782"/>
              <a:gd name="connsiteY33793" fmla="*/ 2415165 h 5973007"/>
              <a:gd name="connsiteX33794" fmla="*/ 1058893 w 6884782"/>
              <a:gd name="connsiteY33794" fmla="*/ 2413771 h 5973007"/>
              <a:gd name="connsiteX33795" fmla="*/ 1061887 w 6884782"/>
              <a:gd name="connsiteY33795" fmla="*/ 2410828 h 5973007"/>
              <a:gd name="connsiteX33796" fmla="*/ 1054143 w 6884782"/>
              <a:gd name="connsiteY33796" fmla="*/ 2410673 h 5973007"/>
              <a:gd name="connsiteX33797" fmla="*/ 1056105 w 6884782"/>
              <a:gd name="connsiteY33797" fmla="*/ 2410983 h 5973007"/>
              <a:gd name="connsiteX33798" fmla="*/ 1054143 w 6884782"/>
              <a:gd name="connsiteY33798" fmla="*/ 2417334 h 5973007"/>
              <a:gd name="connsiteX33799" fmla="*/ 1052284 w 6884782"/>
              <a:gd name="connsiteY33799" fmla="*/ 2417024 h 5973007"/>
              <a:gd name="connsiteX33800" fmla="*/ 1051562 w 6884782"/>
              <a:gd name="connsiteY33800" fmla="*/ 2414701 h 5973007"/>
              <a:gd name="connsiteX33801" fmla="*/ 1054143 w 6884782"/>
              <a:gd name="connsiteY33801" fmla="*/ 2410673 h 5973007"/>
              <a:gd name="connsiteX33802" fmla="*/ 845566 w 6884782"/>
              <a:gd name="connsiteY33802" fmla="*/ 2409744 h 5973007"/>
              <a:gd name="connsiteX33803" fmla="*/ 855271 w 6884782"/>
              <a:gd name="connsiteY33803" fmla="*/ 2411293 h 5973007"/>
              <a:gd name="connsiteX33804" fmla="*/ 857853 w 6884782"/>
              <a:gd name="connsiteY33804" fmla="*/ 2415475 h 5973007"/>
              <a:gd name="connsiteX33805" fmla="*/ 851967 w 6884782"/>
              <a:gd name="connsiteY33805" fmla="*/ 2424149 h 5973007"/>
              <a:gd name="connsiteX33806" fmla="*/ 842674 w 6884782"/>
              <a:gd name="connsiteY33806" fmla="*/ 2421826 h 5973007"/>
              <a:gd name="connsiteX33807" fmla="*/ 841022 w 6884782"/>
              <a:gd name="connsiteY33807" fmla="*/ 2422910 h 5973007"/>
              <a:gd name="connsiteX33808" fmla="*/ 837098 w 6884782"/>
              <a:gd name="connsiteY33808" fmla="*/ 2423065 h 5973007"/>
              <a:gd name="connsiteX33809" fmla="*/ 837201 w 6884782"/>
              <a:gd name="connsiteY33809" fmla="*/ 2421206 h 5973007"/>
              <a:gd name="connsiteX33810" fmla="*/ 841538 w 6884782"/>
              <a:gd name="connsiteY33810" fmla="*/ 2420277 h 5973007"/>
              <a:gd name="connsiteX33811" fmla="*/ 841952 w 6884782"/>
              <a:gd name="connsiteY33811" fmla="*/ 2419502 h 5973007"/>
              <a:gd name="connsiteX33812" fmla="*/ 841332 w 6884782"/>
              <a:gd name="connsiteY33812" fmla="*/ 2417334 h 5973007"/>
              <a:gd name="connsiteX33813" fmla="*/ 845566 w 6884782"/>
              <a:gd name="connsiteY33813" fmla="*/ 2409744 h 5973007"/>
              <a:gd name="connsiteX33814" fmla="*/ 704930 w 6884782"/>
              <a:gd name="connsiteY33814" fmla="*/ 2409744 h 5973007"/>
              <a:gd name="connsiteX33815" fmla="*/ 699664 w 6884782"/>
              <a:gd name="connsiteY33815" fmla="*/ 2420741 h 5973007"/>
              <a:gd name="connsiteX33816" fmla="*/ 699355 w 6884782"/>
              <a:gd name="connsiteY33816" fmla="*/ 2418263 h 5973007"/>
              <a:gd name="connsiteX33817" fmla="*/ 704930 w 6884782"/>
              <a:gd name="connsiteY33817" fmla="*/ 2409744 h 5973007"/>
              <a:gd name="connsiteX33818" fmla="*/ 902460 w 6884782"/>
              <a:gd name="connsiteY33818" fmla="*/ 2408195 h 5973007"/>
              <a:gd name="connsiteX33819" fmla="*/ 902666 w 6884782"/>
              <a:gd name="connsiteY33819" fmla="*/ 2409744 h 5973007"/>
              <a:gd name="connsiteX33820" fmla="*/ 901840 w 6884782"/>
              <a:gd name="connsiteY33820" fmla="*/ 2409124 h 5973007"/>
              <a:gd name="connsiteX33821" fmla="*/ 902460 w 6884782"/>
              <a:gd name="connsiteY33821" fmla="*/ 2408195 h 5973007"/>
              <a:gd name="connsiteX33822" fmla="*/ 989401 w 6884782"/>
              <a:gd name="connsiteY33822" fmla="*/ 2407575 h 5973007"/>
              <a:gd name="connsiteX33823" fmla="*/ 990744 w 6884782"/>
              <a:gd name="connsiteY33823" fmla="*/ 2412687 h 5973007"/>
              <a:gd name="connsiteX33824" fmla="*/ 985891 w 6884782"/>
              <a:gd name="connsiteY33824" fmla="*/ 2409434 h 5973007"/>
              <a:gd name="connsiteX33825" fmla="*/ 989401 w 6884782"/>
              <a:gd name="connsiteY33825" fmla="*/ 2407575 h 5973007"/>
              <a:gd name="connsiteX33826" fmla="*/ 880672 w 6884782"/>
              <a:gd name="connsiteY33826" fmla="*/ 2406956 h 5973007"/>
              <a:gd name="connsiteX33827" fmla="*/ 882944 w 6884782"/>
              <a:gd name="connsiteY33827" fmla="*/ 2409744 h 5973007"/>
              <a:gd name="connsiteX33828" fmla="*/ 882841 w 6884782"/>
              <a:gd name="connsiteY33828" fmla="*/ 2411293 h 5973007"/>
              <a:gd name="connsiteX33829" fmla="*/ 883357 w 6884782"/>
              <a:gd name="connsiteY33829" fmla="*/ 2410828 h 5973007"/>
              <a:gd name="connsiteX33830" fmla="*/ 884803 w 6884782"/>
              <a:gd name="connsiteY33830" fmla="*/ 2411603 h 5973007"/>
              <a:gd name="connsiteX33831" fmla="*/ 898536 w 6884782"/>
              <a:gd name="connsiteY33831" fmla="*/ 2412997 h 5973007"/>
              <a:gd name="connsiteX33832" fmla="*/ 885113 w 6884782"/>
              <a:gd name="connsiteY33832" fmla="*/ 2413306 h 5973007"/>
              <a:gd name="connsiteX33833" fmla="*/ 883047 w 6884782"/>
              <a:gd name="connsiteY33833" fmla="*/ 2413616 h 5973007"/>
              <a:gd name="connsiteX33834" fmla="*/ 884390 w 6884782"/>
              <a:gd name="connsiteY33834" fmla="*/ 2415320 h 5973007"/>
              <a:gd name="connsiteX33835" fmla="*/ 884699 w 6884782"/>
              <a:gd name="connsiteY33835" fmla="*/ 2417489 h 5973007"/>
              <a:gd name="connsiteX33836" fmla="*/ 881808 w 6884782"/>
              <a:gd name="connsiteY33836" fmla="*/ 2413926 h 5973007"/>
              <a:gd name="connsiteX33837" fmla="*/ 881602 w 6884782"/>
              <a:gd name="connsiteY33837" fmla="*/ 2413926 h 5973007"/>
              <a:gd name="connsiteX33838" fmla="*/ 881602 w 6884782"/>
              <a:gd name="connsiteY33838" fmla="*/ 2413616 h 5973007"/>
              <a:gd name="connsiteX33839" fmla="*/ 880982 w 6884782"/>
              <a:gd name="connsiteY33839" fmla="*/ 2412842 h 5973007"/>
              <a:gd name="connsiteX33840" fmla="*/ 878401 w 6884782"/>
              <a:gd name="connsiteY33840" fmla="*/ 2412377 h 5973007"/>
              <a:gd name="connsiteX33841" fmla="*/ 876336 w 6884782"/>
              <a:gd name="connsiteY33841" fmla="*/ 2407575 h 5973007"/>
              <a:gd name="connsiteX33842" fmla="*/ 880672 w 6884782"/>
              <a:gd name="connsiteY33842" fmla="*/ 2406956 h 5973007"/>
              <a:gd name="connsiteX33843" fmla="*/ 1273975 w 6884782"/>
              <a:gd name="connsiteY33843" fmla="*/ 2406027 h 5973007"/>
              <a:gd name="connsiteX33844" fmla="*/ 1273562 w 6884782"/>
              <a:gd name="connsiteY33844" fmla="*/ 2406646 h 5973007"/>
              <a:gd name="connsiteX33845" fmla="*/ 1270258 w 6884782"/>
              <a:gd name="connsiteY33845" fmla="*/ 2411293 h 5973007"/>
              <a:gd name="connsiteX33846" fmla="*/ 1270052 w 6884782"/>
              <a:gd name="connsiteY33846" fmla="*/ 2409899 h 5973007"/>
              <a:gd name="connsiteX33847" fmla="*/ 1271291 w 6884782"/>
              <a:gd name="connsiteY33847" fmla="*/ 2408659 h 5973007"/>
              <a:gd name="connsiteX33848" fmla="*/ 5326103 w 6884782"/>
              <a:gd name="connsiteY33848" fmla="*/ 2405766 h 5973007"/>
              <a:gd name="connsiteX33849" fmla="*/ 5325250 w 6884782"/>
              <a:gd name="connsiteY33849" fmla="*/ 2422127 h 5973007"/>
              <a:gd name="connsiteX33850" fmla="*/ 5318420 w 6884782"/>
              <a:gd name="connsiteY33850" fmla="*/ 2438062 h 5973007"/>
              <a:gd name="connsiteX33851" fmla="*/ 5326103 w 6884782"/>
              <a:gd name="connsiteY33851" fmla="*/ 2405766 h 5973007"/>
              <a:gd name="connsiteX33852" fmla="*/ 1139846 w 6884782"/>
              <a:gd name="connsiteY33852" fmla="*/ 2405716 h 5973007"/>
              <a:gd name="connsiteX33853" fmla="*/ 1142737 w 6884782"/>
              <a:gd name="connsiteY33853" fmla="*/ 2406491 h 5973007"/>
              <a:gd name="connsiteX33854" fmla="*/ 1144182 w 6884782"/>
              <a:gd name="connsiteY33854" fmla="*/ 2408195 h 5973007"/>
              <a:gd name="connsiteX33855" fmla="*/ 1143253 w 6884782"/>
              <a:gd name="connsiteY33855" fmla="*/ 2413152 h 5973007"/>
              <a:gd name="connsiteX33856" fmla="*/ 1135612 w 6884782"/>
              <a:gd name="connsiteY33856" fmla="*/ 2412687 h 5973007"/>
              <a:gd name="connsiteX33857" fmla="*/ 1135199 w 6884782"/>
              <a:gd name="connsiteY33857" fmla="*/ 2409744 h 5973007"/>
              <a:gd name="connsiteX33858" fmla="*/ 1137471 w 6884782"/>
              <a:gd name="connsiteY33858" fmla="*/ 2406956 h 5973007"/>
              <a:gd name="connsiteX33859" fmla="*/ 1139846 w 6884782"/>
              <a:gd name="connsiteY33859" fmla="*/ 2405716 h 5973007"/>
              <a:gd name="connsiteX33860" fmla="*/ 887384 w 6884782"/>
              <a:gd name="connsiteY33860" fmla="*/ 2405097 h 5973007"/>
              <a:gd name="connsiteX33861" fmla="*/ 898846 w 6884782"/>
              <a:gd name="connsiteY33861" fmla="*/ 2408659 h 5973007"/>
              <a:gd name="connsiteX33862" fmla="*/ 898536 w 6884782"/>
              <a:gd name="connsiteY33862" fmla="*/ 2409279 h 5973007"/>
              <a:gd name="connsiteX33863" fmla="*/ 889656 w 6884782"/>
              <a:gd name="connsiteY33863" fmla="*/ 2407420 h 5973007"/>
              <a:gd name="connsiteX33864" fmla="*/ 886971 w 6884782"/>
              <a:gd name="connsiteY33864" fmla="*/ 2405871 h 5973007"/>
              <a:gd name="connsiteX33865" fmla="*/ 887694 w 6884782"/>
              <a:gd name="connsiteY33865" fmla="*/ 2406181 h 5973007"/>
              <a:gd name="connsiteX33866" fmla="*/ 887384 w 6884782"/>
              <a:gd name="connsiteY33866" fmla="*/ 2405097 h 5973007"/>
              <a:gd name="connsiteX33867" fmla="*/ 950577 w 6884782"/>
              <a:gd name="connsiteY33867" fmla="*/ 2403548 h 5973007"/>
              <a:gd name="connsiteX33868" fmla="*/ 958425 w 6884782"/>
              <a:gd name="connsiteY33868" fmla="*/ 2408815 h 5973007"/>
              <a:gd name="connsiteX33869" fmla="*/ 961625 w 6884782"/>
              <a:gd name="connsiteY33869" fmla="*/ 2412842 h 5973007"/>
              <a:gd name="connsiteX33870" fmla="*/ 963897 w 6884782"/>
              <a:gd name="connsiteY33870" fmla="*/ 2411293 h 5973007"/>
              <a:gd name="connsiteX33871" fmla="*/ 969163 w 6884782"/>
              <a:gd name="connsiteY33871" fmla="*/ 2410983 h 5973007"/>
              <a:gd name="connsiteX33872" fmla="*/ 964827 w 6884782"/>
              <a:gd name="connsiteY33872" fmla="*/ 2416714 h 5973007"/>
              <a:gd name="connsiteX33873" fmla="*/ 964620 w 6884782"/>
              <a:gd name="connsiteY33873" fmla="*/ 2416870 h 5973007"/>
              <a:gd name="connsiteX33874" fmla="*/ 965136 w 6884782"/>
              <a:gd name="connsiteY33874" fmla="*/ 2417489 h 5973007"/>
              <a:gd name="connsiteX33875" fmla="*/ 972571 w 6884782"/>
              <a:gd name="connsiteY33875" fmla="*/ 2418883 h 5973007"/>
              <a:gd name="connsiteX33876" fmla="*/ 973706 w 6884782"/>
              <a:gd name="connsiteY33876" fmla="*/ 2419967 h 5973007"/>
              <a:gd name="connsiteX33877" fmla="*/ 977940 w 6884782"/>
              <a:gd name="connsiteY33877" fmla="*/ 2419812 h 5973007"/>
              <a:gd name="connsiteX33878" fmla="*/ 975049 w 6884782"/>
              <a:gd name="connsiteY33878" fmla="*/ 2425853 h 5973007"/>
              <a:gd name="connsiteX33879" fmla="*/ 973397 w 6884782"/>
              <a:gd name="connsiteY33879" fmla="*/ 2425079 h 5973007"/>
              <a:gd name="connsiteX33880" fmla="*/ 972364 w 6884782"/>
              <a:gd name="connsiteY33880" fmla="*/ 2423065 h 5973007"/>
              <a:gd name="connsiteX33881" fmla="*/ 970402 w 6884782"/>
              <a:gd name="connsiteY33881" fmla="*/ 2423994 h 5973007"/>
              <a:gd name="connsiteX33882" fmla="*/ 971435 w 6884782"/>
              <a:gd name="connsiteY33882" fmla="*/ 2424924 h 5973007"/>
              <a:gd name="connsiteX33883" fmla="*/ 975978 w 6884782"/>
              <a:gd name="connsiteY33883" fmla="*/ 2431894 h 5973007"/>
              <a:gd name="connsiteX33884" fmla="*/ 978043 w 6884782"/>
              <a:gd name="connsiteY33884" fmla="*/ 2436386 h 5973007"/>
              <a:gd name="connsiteX33885" fmla="*/ 978972 w 6884782"/>
              <a:gd name="connsiteY33885" fmla="*/ 2434372 h 5973007"/>
              <a:gd name="connsiteX33886" fmla="*/ 984755 w 6884782"/>
              <a:gd name="connsiteY33886" fmla="*/ 2430035 h 5973007"/>
              <a:gd name="connsiteX33887" fmla="*/ 988162 w 6884782"/>
              <a:gd name="connsiteY33887" fmla="*/ 2437160 h 5973007"/>
              <a:gd name="connsiteX33888" fmla="*/ 985891 w 6884782"/>
              <a:gd name="connsiteY33888" fmla="*/ 2441498 h 5973007"/>
              <a:gd name="connsiteX33889" fmla="*/ 982483 w 6884782"/>
              <a:gd name="connsiteY33889" fmla="*/ 2442582 h 5973007"/>
              <a:gd name="connsiteX33890" fmla="*/ 980934 w 6884782"/>
              <a:gd name="connsiteY33890" fmla="*/ 2443202 h 5973007"/>
              <a:gd name="connsiteX33891" fmla="*/ 986303 w 6884782"/>
              <a:gd name="connsiteY33891" fmla="*/ 2456523 h 5973007"/>
              <a:gd name="connsiteX33892" fmla="*/ 977011 w 6884782"/>
              <a:gd name="connsiteY33892" fmla="*/ 2458381 h 5973007"/>
              <a:gd name="connsiteX33893" fmla="*/ 969576 w 6884782"/>
              <a:gd name="connsiteY33893" fmla="*/ 2437160 h 5973007"/>
              <a:gd name="connsiteX33894" fmla="*/ 965962 w 6884782"/>
              <a:gd name="connsiteY33894" fmla="*/ 2426163 h 5973007"/>
              <a:gd name="connsiteX33895" fmla="*/ 962968 w 6884782"/>
              <a:gd name="connsiteY33895" fmla="*/ 2427557 h 5973007"/>
              <a:gd name="connsiteX33896" fmla="*/ 957186 w 6884782"/>
              <a:gd name="connsiteY33896" fmla="*/ 2428177 h 5973007"/>
              <a:gd name="connsiteX33897" fmla="*/ 951713 w 6884782"/>
              <a:gd name="connsiteY33897" fmla="*/ 2433443 h 5973007"/>
              <a:gd name="connsiteX33898" fmla="*/ 951713 w 6884782"/>
              <a:gd name="connsiteY33898" fmla="*/ 2428641 h 5973007"/>
              <a:gd name="connsiteX33899" fmla="*/ 950990 w 6884782"/>
              <a:gd name="connsiteY33899" fmla="*/ 2428796 h 5973007"/>
              <a:gd name="connsiteX33900" fmla="*/ 943246 w 6884782"/>
              <a:gd name="connsiteY33900" fmla="*/ 2427247 h 5973007"/>
              <a:gd name="connsiteX33901" fmla="*/ 948409 w 6884782"/>
              <a:gd name="connsiteY33901" fmla="*/ 2421051 h 5973007"/>
              <a:gd name="connsiteX33902" fmla="*/ 955327 w 6884782"/>
              <a:gd name="connsiteY33902" fmla="*/ 2419192 h 5973007"/>
              <a:gd name="connsiteX33903" fmla="*/ 956359 w 6884782"/>
              <a:gd name="connsiteY33903" fmla="*/ 2417953 h 5973007"/>
              <a:gd name="connsiteX33904" fmla="*/ 953778 w 6884782"/>
              <a:gd name="connsiteY33904" fmla="*/ 2414856 h 5973007"/>
              <a:gd name="connsiteX33905" fmla="*/ 950577 w 6884782"/>
              <a:gd name="connsiteY33905" fmla="*/ 2403548 h 5973007"/>
              <a:gd name="connsiteX33906" fmla="*/ 1196430 w 6884782"/>
              <a:gd name="connsiteY33906" fmla="*/ 2403393 h 5973007"/>
              <a:gd name="connsiteX33907" fmla="*/ 1201799 w 6884782"/>
              <a:gd name="connsiteY33907" fmla="*/ 2408505 h 5973007"/>
              <a:gd name="connsiteX33908" fmla="*/ 1203865 w 6884782"/>
              <a:gd name="connsiteY33908" fmla="*/ 2408659 h 5973007"/>
              <a:gd name="connsiteX33909" fmla="*/ 1205723 w 6884782"/>
              <a:gd name="connsiteY33909" fmla="*/ 2411293 h 5973007"/>
              <a:gd name="connsiteX33910" fmla="*/ 1203452 w 6884782"/>
              <a:gd name="connsiteY33910" fmla="*/ 2410983 h 5973007"/>
              <a:gd name="connsiteX33911" fmla="*/ 1206962 w 6884782"/>
              <a:gd name="connsiteY33911" fmla="*/ 2419348 h 5973007"/>
              <a:gd name="connsiteX33912" fmla="*/ 1202419 w 6884782"/>
              <a:gd name="connsiteY33912" fmla="*/ 2435302 h 5973007"/>
              <a:gd name="connsiteX33913" fmla="*/ 1201902 w 6884782"/>
              <a:gd name="connsiteY33913" fmla="*/ 2430345 h 5973007"/>
              <a:gd name="connsiteX33914" fmla="*/ 1199941 w 6884782"/>
              <a:gd name="connsiteY33914" fmla="*/ 2428022 h 5973007"/>
              <a:gd name="connsiteX33915" fmla="*/ 1197256 w 6884782"/>
              <a:gd name="connsiteY33915" fmla="*/ 2420741 h 5973007"/>
              <a:gd name="connsiteX33916" fmla="*/ 1198392 w 6884782"/>
              <a:gd name="connsiteY33916" fmla="*/ 2419348 h 5973007"/>
              <a:gd name="connsiteX33917" fmla="*/ 1195810 w 6884782"/>
              <a:gd name="connsiteY33917" fmla="*/ 2411913 h 5973007"/>
              <a:gd name="connsiteX33918" fmla="*/ 1196120 w 6884782"/>
              <a:gd name="connsiteY33918" fmla="*/ 2407730 h 5973007"/>
              <a:gd name="connsiteX33919" fmla="*/ 1196224 w 6884782"/>
              <a:gd name="connsiteY33919" fmla="*/ 2407575 h 5973007"/>
              <a:gd name="connsiteX33920" fmla="*/ 4977162 w 6884782"/>
              <a:gd name="connsiteY33920" fmla="*/ 2402921 h 5973007"/>
              <a:gd name="connsiteX33921" fmla="*/ 4982711 w 6884782"/>
              <a:gd name="connsiteY33921" fmla="*/ 2403348 h 5973007"/>
              <a:gd name="connsiteX33922" fmla="*/ 4991675 w 6884782"/>
              <a:gd name="connsiteY33922" fmla="*/ 2419851 h 5973007"/>
              <a:gd name="connsiteX33923" fmla="*/ 4985272 w 6884782"/>
              <a:gd name="connsiteY33923" fmla="*/ 2428672 h 5973007"/>
              <a:gd name="connsiteX33924" fmla="*/ 4981217 w 6884782"/>
              <a:gd name="connsiteY33924" fmla="*/ 2429952 h 5973007"/>
              <a:gd name="connsiteX33925" fmla="*/ 4973747 w 6884782"/>
              <a:gd name="connsiteY33925" fmla="*/ 2404344 h 5973007"/>
              <a:gd name="connsiteX33926" fmla="*/ 4977162 w 6884782"/>
              <a:gd name="connsiteY33926" fmla="*/ 2402921 h 5973007"/>
              <a:gd name="connsiteX33927" fmla="*/ 1015009 w 6884782"/>
              <a:gd name="connsiteY33927" fmla="*/ 2402309 h 5973007"/>
              <a:gd name="connsiteX33928" fmla="*/ 1018416 w 6884782"/>
              <a:gd name="connsiteY33928" fmla="*/ 2405562 h 5973007"/>
              <a:gd name="connsiteX33929" fmla="*/ 1020998 w 6884782"/>
              <a:gd name="connsiteY33929" fmla="*/ 2406337 h 5973007"/>
              <a:gd name="connsiteX33930" fmla="*/ 1020998 w 6884782"/>
              <a:gd name="connsiteY33930" fmla="*/ 2407111 h 5973007"/>
              <a:gd name="connsiteX33931" fmla="*/ 1010465 w 6884782"/>
              <a:gd name="connsiteY33931" fmla="*/ 2405871 h 5973007"/>
              <a:gd name="connsiteX33932" fmla="*/ 1009536 w 6884782"/>
              <a:gd name="connsiteY33932" fmla="*/ 2404632 h 5973007"/>
              <a:gd name="connsiteX33933" fmla="*/ 1010672 w 6884782"/>
              <a:gd name="connsiteY33933" fmla="*/ 2402464 h 5973007"/>
              <a:gd name="connsiteX33934" fmla="*/ 1015009 w 6884782"/>
              <a:gd name="connsiteY33934" fmla="*/ 2402309 h 5973007"/>
              <a:gd name="connsiteX33935" fmla="*/ 915676 w 6884782"/>
              <a:gd name="connsiteY33935" fmla="*/ 2400915 h 5973007"/>
              <a:gd name="connsiteX33936" fmla="*/ 917226 w 6884782"/>
              <a:gd name="connsiteY33936" fmla="*/ 2405097 h 5973007"/>
              <a:gd name="connsiteX33937" fmla="*/ 914747 w 6884782"/>
              <a:gd name="connsiteY33937" fmla="*/ 2401689 h 5973007"/>
              <a:gd name="connsiteX33938" fmla="*/ 915676 w 6884782"/>
              <a:gd name="connsiteY33938" fmla="*/ 2400915 h 5973007"/>
              <a:gd name="connsiteX33939" fmla="*/ 1127971 w 6884782"/>
              <a:gd name="connsiteY33939" fmla="*/ 2399985 h 5973007"/>
              <a:gd name="connsiteX33940" fmla="*/ 1124667 w 6884782"/>
              <a:gd name="connsiteY33940" fmla="*/ 2405562 h 5973007"/>
              <a:gd name="connsiteX33941" fmla="*/ 1124357 w 6884782"/>
              <a:gd name="connsiteY33941" fmla="*/ 2404323 h 5973007"/>
              <a:gd name="connsiteX33942" fmla="*/ 1125390 w 6884782"/>
              <a:gd name="connsiteY33942" fmla="*/ 2402928 h 5973007"/>
              <a:gd name="connsiteX33943" fmla="*/ 1127971 w 6884782"/>
              <a:gd name="connsiteY33943" fmla="*/ 2399985 h 5973007"/>
              <a:gd name="connsiteX33944" fmla="*/ 4815390 w 6884782"/>
              <a:gd name="connsiteY33944" fmla="*/ 2399934 h 5973007"/>
              <a:gd name="connsiteX33945" fmla="*/ 4816670 w 6884782"/>
              <a:gd name="connsiteY33945" fmla="*/ 2401072 h 5973007"/>
              <a:gd name="connsiteX33946" fmla="*/ 4814322 w 6884782"/>
              <a:gd name="connsiteY33946" fmla="*/ 2400645 h 5973007"/>
              <a:gd name="connsiteX33947" fmla="*/ 4815390 w 6884782"/>
              <a:gd name="connsiteY33947" fmla="*/ 2399934 h 5973007"/>
              <a:gd name="connsiteX33948" fmla="*/ 997042 w 6884782"/>
              <a:gd name="connsiteY33948" fmla="*/ 2399830 h 5973007"/>
              <a:gd name="connsiteX33949" fmla="*/ 999521 w 6884782"/>
              <a:gd name="connsiteY33949" fmla="*/ 2402154 h 5973007"/>
              <a:gd name="connsiteX33950" fmla="*/ 994358 w 6884782"/>
              <a:gd name="connsiteY33950" fmla="*/ 2404013 h 5973007"/>
              <a:gd name="connsiteX33951" fmla="*/ 997042 w 6884782"/>
              <a:gd name="connsiteY33951" fmla="*/ 2399830 h 5973007"/>
              <a:gd name="connsiteX33952" fmla="*/ 617834 w 6884782"/>
              <a:gd name="connsiteY33952" fmla="*/ 2399753 h 5973007"/>
              <a:gd name="connsiteX33953" fmla="*/ 622532 w 6884782"/>
              <a:gd name="connsiteY33953" fmla="*/ 2404323 h 5973007"/>
              <a:gd name="connsiteX33954" fmla="*/ 620467 w 6884782"/>
              <a:gd name="connsiteY33954" fmla="*/ 2410983 h 5973007"/>
              <a:gd name="connsiteX33955" fmla="*/ 608076 w 6884782"/>
              <a:gd name="connsiteY33955" fmla="*/ 2404632 h 5973007"/>
              <a:gd name="connsiteX33956" fmla="*/ 610967 w 6884782"/>
              <a:gd name="connsiteY33956" fmla="*/ 2400295 h 5973007"/>
              <a:gd name="connsiteX33957" fmla="*/ 617834 w 6884782"/>
              <a:gd name="connsiteY33957" fmla="*/ 2399753 h 5973007"/>
              <a:gd name="connsiteX33958" fmla="*/ 5227717 w 6884782"/>
              <a:gd name="connsiteY33958" fmla="*/ 2399507 h 5973007"/>
              <a:gd name="connsiteX33959" fmla="*/ 5231558 w 6884782"/>
              <a:gd name="connsiteY33959" fmla="*/ 2410603 h 5973007"/>
              <a:gd name="connsiteX33960" fmla="*/ 5231345 w 6884782"/>
              <a:gd name="connsiteY33960" fmla="*/ 2410319 h 5973007"/>
              <a:gd name="connsiteX33961" fmla="*/ 5230491 w 6884782"/>
              <a:gd name="connsiteY33961" fmla="*/ 2413733 h 5973007"/>
              <a:gd name="connsiteX33962" fmla="*/ 5228997 w 6884782"/>
              <a:gd name="connsiteY33962" fmla="*/ 2419424 h 5973007"/>
              <a:gd name="connsiteX33963" fmla="*/ 5218326 w 6884782"/>
              <a:gd name="connsiteY33963" fmla="*/ 2414303 h 5973007"/>
              <a:gd name="connsiteX33964" fmla="*/ 5223449 w 6884782"/>
              <a:gd name="connsiteY33964" fmla="*/ 2406762 h 5973007"/>
              <a:gd name="connsiteX33965" fmla="*/ 5227290 w 6884782"/>
              <a:gd name="connsiteY33965" fmla="*/ 2406193 h 5973007"/>
              <a:gd name="connsiteX33966" fmla="*/ 5228357 w 6884782"/>
              <a:gd name="connsiteY33966" fmla="*/ 2406478 h 5973007"/>
              <a:gd name="connsiteX33967" fmla="*/ 5227077 w 6884782"/>
              <a:gd name="connsiteY33967" fmla="*/ 2404913 h 5973007"/>
              <a:gd name="connsiteX33968" fmla="*/ 5227717 w 6884782"/>
              <a:gd name="connsiteY33968" fmla="*/ 2399507 h 5973007"/>
              <a:gd name="connsiteX33969" fmla="*/ 1113619 w 6884782"/>
              <a:gd name="connsiteY33969" fmla="*/ 2398901 h 5973007"/>
              <a:gd name="connsiteX33970" fmla="*/ 1121260 w 6884782"/>
              <a:gd name="connsiteY33970" fmla="*/ 2406801 h 5973007"/>
              <a:gd name="connsiteX33971" fmla="*/ 1118368 w 6884782"/>
              <a:gd name="connsiteY33971" fmla="*/ 2409744 h 5973007"/>
              <a:gd name="connsiteX33972" fmla="*/ 1113619 w 6884782"/>
              <a:gd name="connsiteY33972" fmla="*/ 2398901 h 5973007"/>
              <a:gd name="connsiteX33973" fmla="*/ 1058790 w 6884782"/>
              <a:gd name="connsiteY33973" fmla="*/ 2396423 h 5973007"/>
              <a:gd name="connsiteX33974" fmla="*/ 1062920 w 6884782"/>
              <a:gd name="connsiteY33974" fmla="*/ 2396578 h 5973007"/>
              <a:gd name="connsiteX33975" fmla="*/ 1062094 w 6884782"/>
              <a:gd name="connsiteY33975" fmla="*/ 2404168 h 5973007"/>
              <a:gd name="connsiteX33976" fmla="*/ 1057447 w 6884782"/>
              <a:gd name="connsiteY33976" fmla="*/ 2398436 h 5973007"/>
              <a:gd name="connsiteX33977" fmla="*/ 1058790 w 6884782"/>
              <a:gd name="connsiteY33977" fmla="*/ 2396423 h 5973007"/>
              <a:gd name="connsiteX33978" fmla="*/ 940458 w 6884782"/>
              <a:gd name="connsiteY33978" fmla="*/ 2396268 h 5973007"/>
              <a:gd name="connsiteX33979" fmla="*/ 946447 w 6884782"/>
              <a:gd name="connsiteY33979" fmla="*/ 2397042 h 5973007"/>
              <a:gd name="connsiteX33980" fmla="*/ 941800 w 6884782"/>
              <a:gd name="connsiteY33980" fmla="*/ 2402773 h 5973007"/>
              <a:gd name="connsiteX33981" fmla="*/ 934985 w 6884782"/>
              <a:gd name="connsiteY33981" fmla="*/ 2399211 h 5973007"/>
              <a:gd name="connsiteX33982" fmla="*/ 935915 w 6884782"/>
              <a:gd name="connsiteY33982" fmla="*/ 2400760 h 5973007"/>
              <a:gd name="connsiteX33983" fmla="*/ 935708 w 6884782"/>
              <a:gd name="connsiteY33983" fmla="*/ 2403548 h 5973007"/>
              <a:gd name="connsiteX33984" fmla="*/ 928480 w 6884782"/>
              <a:gd name="connsiteY33984" fmla="*/ 2397817 h 5973007"/>
              <a:gd name="connsiteX33985" fmla="*/ 934469 w 6884782"/>
              <a:gd name="connsiteY33985" fmla="*/ 2398126 h 5973007"/>
              <a:gd name="connsiteX33986" fmla="*/ 934985 w 6884782"/>
              <a:gd name="connsiteY33986" fmla="*/ 2399056 h 5973007"/>
              <a:gd name="connsiteX33987" fmla="*/ 806844 w 6884782"/>
              <a:gd name="connsiteY33987" fmla="*/ 2396268 h 5973007"/>
              <a:gd name="connsiteX33988" fmla="*/ 815621 w 6884782"/>
              <a:gd name="connsiteY33988" fmla="*/ 2399985 h 5973007"/>
              <a:gd name="connsiteX33989" fmla="*/ 810252 w 6884782"/>
              <a:gd name="connsiteY33989" fmla="*/ 2407730 h 5973007"/>
              <a:gd name="connsiteX33990" fmla="*/ 804160 w 6884782"/>
              <a:gd name="connsiteY33990" fmla="*/ 2401999 h 5973007"/>
              <a:gd name="connsiteX33991" fmla="*/ 806844 w 6884782"/>
              <a:gd name="connsiteY33991" fmla="*/ 2396268 h 5973007"/>
              <a:gd name="connsiteX33992" fmla="*/ 6196429 w 6884782"/>
              <a:gd name="connsiteY33992" fmla="*/ 2395665 h 5973007"/>
              <a:gd name="connsiteX33993" fmla="*/ 6199630 w 6884782"/>
              <a:gd name="connsiteY33993" fmla="*/ 2404201 h 5973007"/>
              <a:gd name="connsiteX33994" fmla="*/ 6188319 w 6884782"/>
              <a:gd name="connsiteY33994" fmla="*/ 2410461 h 5973007"/>
              <a:gd name="connsiteX33995" fmla="*/ 6185545 w 6884782"/>
              <a:gd name="connsiteY33995" fmla="*/ 2397088 h 5973007"/>
              <a:gd name="connsiteX33996" fmla="*/ 6196429 w 6884782"/>
              <a:gd name="connsiteY33996" fmla="*/ 2395665 h 5973007"/>
              <a:gd name="connsiteX33997" fmla="*/ 6378903 w 6884782"/>
              <a:gd name="connsiteY33997" fmla="*/ 2393958 h 5973007"/>
              <a:gd name="connsiteX33998" fmla="*/ 6387653 w 6884782"/>
              <a:gd name="connsiteY33998" fmla="*/ 2394100 h 5973007"/>
              <a:gd name="connsiteX33999" fmla="*/ 6392989 w 6884782"/>
              <a:gd name="connsiteY33999" fmla="*/ 2397088 h 5973007"/>
              <a:gd name="connsiteX34000" fmla="*/ 6378903 w 6884782"/>
              <a:gd name="connsiteY34000" fmla="*/ 2393958 h 5973007"/>
              <a:gd name="connsiteX34001" fmla="*/ 5362598 w 6884782"/>
              <a:gd name="connsiteY34001" fmla="*/ 2393958 h 5973007"/>
              <a:gd name="connsiteX34002" fmla="*/ 5363665 w 6884782"/>
              <a:gd name="connsiteY34002" fmla="*/ 2396519 h 5973007"/>
              <a:gd name="connsiteX34003" fmla="*/ 5362384 w 6884782"/>
              <a:gd name="connsiteY34003" fmla="*/ 2400076 h 5973007"/>
              <a:gd name="connsiteX34004" fmla="*/ 5357476 w 6884782"/>
              <a:gd name="connsiteY34004" fmla="*/ 2400787 h 5973007"/>
              <a:gd name="connsiteX34005" fmla="*/ 5356409 w 6884782"/>
              <a:gd name="connsiteY34005" fmla="*/ 2398084 h 5973007"/>
              <a:gd name="connsiteX34006" fmla="*/ 5356622 w 6884782"/>
              <a:gd name="connsiteY34006" fmla="*/ 2394385 h 5973007"/>
              <a:gd name="connsiteX34007" fmla="*/ 5362598 w 6884782"/>
              <a:gd name="connsiteY34007" fmla="*/ 2393958 h 5973007"/>
              <a:gd name="connsiteX34008" fmla="*/ 860744 w 6884782"/>
              <a:gd name="connsiteY34008" fmla="*/ 2393170 h 5973007"/>
              <a:gd name="connsiteX34009" fmla="*/ 865907 w 6884782"/>
              <a:gd name="connsiteY34009" fmla="*/ 2393170 h 5973007"/>
              <a:gd name="connsiteX34010" fmla="*/ 867972 w 6884782"/>
              <a:gd name="connsiteY34010" fmla="*/ 2394564 h 5973007"/>
              <a:gd name="connsiteX34011" fmla="*/ 869108 w 6884782"/>
              <a:gd name="connsiteY34011" fmla="*/ 2394099 h 5973007"/>
              <a:gd name="connsiteX34012" fmla="*/ 866320 w 6884782"/>
              <a:gd name="connsiteY34012" fmla="*/ 2403238 h 5973007"/>
              <a:gd name="connsiteX34013" fmla="*/ 861467 w 6884782"/>
              <a:gd name="connsiteY34013" fmla="*/ 2400295 h 5973007"/>
              <a:gd name="connsiteX34014" fmla="*/ 862396 w 6884782"/>
              <a:gd name="connsiteY34014" fmla="*/ 2398282 h 5973007"/>
              <a:gd name="connsiteX34015" fmla="*/ 862602 w 6884782"/>
              <a:gd name="connsiteY34015" fmla="*/ 2397972 h 5973007"/>
              <a:gd name="connsiteX34016" fmla="*/ 858266 w 6884782"/>
              <a:gd name="connsiteY34016" fmla="*/ 2395029 h 5973007"/>
              <a:gd name="connsiteX34017" fmla="*/ 860744 w 6884782"/>
              <a:gd name="connsiteY34017" fmla="*/ 2393170 h 5973007"/>
              <a:gd name="connsiteX34018" fmla="*/ 1079441 w 6884782"/>
              <a:gd name="connsiteY34018" fmla="*/ 2392550 h 5973007"/>
              <a:gd name="connsiteX34019" fmla="*/ 1079647 w 6884782"/>
              <a:gd name="connsiteY34019" fmla="*/ 2396733 h 5973007"/>
              <a:gd name="connsiteX34020" fmla="*/ 1077892 w 6884782"/>
              <a:gd name="connsiteY34020" fmla="*/ 2395494 h 5973007"/>
              <a:gd name="connsiteX34021" fmla="*/ 1078615 w 6884782"/>
              <a:gd name="connsiteY34021" fmla="*/ 2392705 h 5973007"/>
              <a:gd name="connsiteX34022" fmla="*/ 1079441 w 6884782"/>
              <a:gd name="connsiteY34022" fmla="*/ 2392550 h 5973007"/>
              <a:gd name="connsiteX34023" fmla="*/ 623771 w 6884782"/>
              <a:gd name="connsiteY34023" fmla="*/ 2392550 h 5973007"/>
              <a:gd name="connsiteX34024" fmla="*/ 633684 w 6884782"/>
              <a:gd name="connsiteY34024" fmla="*/ 2397198 h 5973007"/>
              <a:gd name="connsiteX34025" fmla="*/ 623771 w 6884782"/>
              <a:gd name="connsiteY34025" fmla="*/ 2392550 h 5973007"/>
              <a:gd name="connsiteX34026" fmla="*/ 1050942 w 6884782"/>
              <a:gd name="connsiteY34026" fmla="*/ 2392395 h 5973007"/>
              <a:gd name="connsiteX34027" fmla="*/ 1050942 w 6884782"/>
              <a:gd name="connsiteY34027" fmla="*/ 2393945 h 5973007"/>
              <a:gd name="connsiteX34028" fmla="*/ 1050219 w 6884782"/>
              <a:gd name="connsiteY34028" fmla="*/ 2393170 h 5973007"/>
              <a:gd name="connsiteX34029" fmla="*/ 1050942 w 6884782"/>
              <a:gd name="connsiteY34029" fmla="*/ 2392395 h 5973007"/>
              <a:gd name="connsiteX34030" fmla="*/ 4909935 w 6884782"/>
              <a:gd name="connsiteY34030" fmla="*/ 2392108 h 5973007"/>
              <a:gd name="connsiteX34031" fmla="*/ 4913563 w 6884782"/>
              <a:gd name="connsiteY34031" fmla="*/ 2409323 h 5973007"/>
              <a:gd name="connsiteX34032" fmla="*/ 4908654 w 6884782"/>
              <a:gd name="connsiteY34032" fmla="*/ 2412168 h 5973007"/>
              <a:gd name="connsiteX34033" fmla="*/ 4909935 w 6884782"/>
              <a:gd name="connsiteY34033" fmla="*/ 2392108 h 5973007"/>
              <a:gd name="connsiteX34034" fmla="*/ 5391196 w 6884782"/>
              <a:gd name="connsiteY34034" fmla="*/ 2391824 h 5973007"/>
              <a:gd name="connsiteX34035" fmla="*/ 5392904 w 6884782"/>
              <a:gd name="connsiteY34035" fmla="*/ 2395239 h 5973007"/>
              <a:gd name="connsiteX34036" fmla="*/ 5391837 w 6884782"/>
              <a:gd name="connsiteY34036" fmla="*/ 2397942 h 5973007"/>
              <a:gd name="connsiteX34037" fmla="*/ 5388209 w 6884782"/>
              <a:gd name="connsiteY34037" fmla="*/ 2394385 h 5973007"/>
              <a:gd name="connsiteX34038" fmla="*/ 5391196 w 6884782"/>
              <a:gd name="connsiteY34038" fmla="*/ 2391824 h 5973007"/>
              <a:gd name="connsiteX34039" fmla="*/ 5102653 w 6884782"/>
              <a:gd name="connsiteY34039" fmla="*/ 2391540 h 5973007"/>
              <a:gd name="connsiteX34040" fmla="*/ 5107775 w 6884782"/>
              <a:gd name="connsiteY34040" fmla="*/ 2409750 h 5973007"/>
              <a:gd name="connsiteX34041" fmla="*/ 5097104 w 6884782"/>
              <a:gd name="connsiteY34041" fmla="*/ 2406762 h 5973007"/>
              <a:gd name="connsiteX34042" fmla="*/ 5102653 w 6884782"/>
              <a:gd name="connsiteY34042" fmla="*/ 2391540 h 5973007"/>
              <a:gd name="connsiteX34043" fmla="*/ 6169112 w 6884782"/>
              <a:gd name="connsiteY34043" fmla="*/ 2391255 h 5973007"/>
              <a:gd name="connsiteX34044" fmla="*/ 6173593 w 6884782"/>
              <a:gd name="connsiteY34044" fmla="*/ 2391966 h 5973007"/>
              <a:gd name="connsiteX34045" fmla="*/ 6178502 w 6884782"/>
              <a:gd name="connsiteY34045" fmla="*/ 2401783 h 5973007"/>
              <a:gd name="connsiteX34046" fmla="*/ 6177435 w 6884782"/>
              <a:gd name="connsiteY34046" fmla="*/ 2404628 h 5973007"/>
              <a:gd name="connsiteX34047" fmla="*/ 6171886 w 6884782"/>
              <a:gd name="connsiteY34047" fmla="*/ 2402494 h 5973007"/>
              <a:gd name="connsiteX34048" fmla="*/ 6169112 w 6884782"/>
              <a:gd name="connsiteY34048" fmla="*/ 2391255 h 5973007"/>
              <a:gd name="connsiteX34049" fmla="*/ 1225445 w 6884782"/>
              <a:gd name="connsiteY34049" fmla="*/ 2390537 h 5973007"/>
              <a:gd name="connsiteX34050" fmla="*/ 1228956 w 6884782"/>
              <a:gd name="connsiteY34050" fmla="*/ 2395804 h 5973007"/>
              <a:gd name="connsiteX34051" fmla="*/ 1228646 w 6884782"/>
              <a:gd name="connsiteY34051" fmla="*/ 2397042 h 5973007"/>
              <a:gd name="connsiteX34052" fmla="*/ 1228233 w 6884782"/>
              <a:gd name="connsiteY34052" fmla="*/ 2396268 h 5973007"/>
              <a:gd name="connsiteX34053" fmla="*/ 1226891 w 6884782"/>
              <a:gd name="connsiteY34053" fmla="*/ 2397972 h 5973007"/>
              <a:gd name="connsiteX34054" fmla="*/ 1225238 w 6884782"/>
              <a:gd name="connsiteY34054" fmla="*/ 2396578 h 5973007"/>
              <a:gd name="connsiteX34055" fmla="*/ 1226168 w 6884782"/>
              <a:gd name="connsiteY34055" fmla="*/ 2393790 h 5973007"/>
              <a:gd name="connsiteX34056" fmla="*/ 1226684 w 6884782"/>
              <a:gd name="connsiteY34056" fmla="*/ 2393790 h 5973007"/>
              <a:gd name="connsiteX34057" fmla="*/ 1226581 w 6884782"/>
              <a:gd name="connsiteY34057" fmla="*/ 2393634 h 5973007"/>
              <a:gd name="connsiteX34058" fmla="*/ 1225445 w 6884782"/>
              <a:gd name="connsiteY34058" fmla="*/ 2390537 h 5973007"/>
              <a:gd name="connsiteX34059" fmla="*/ 1095136 w 6884782"/>
              <a:gd name="connsiteY34059" fmla="*/ 2388213 h 5973007"/>
              <a:gd name="connsiteX34060" fmla="*/ 1099369 w 6884782"/>
              <a:gd name="connsiteY34060" fmla="*/ 2388368 h 5973007"/>
              <a:gd name="connsiteX34061" fmla="*/ 1106494 w 6884782"/>
              <a:gd name="connsiteY34061" fmla="*/ 2399676 h 5973007"/>
              <a:gd name="connsiteX34062" fmla="*/ 1104429 w 6884782"/>
              <a:gd name="connsiteY34062" fmla="*/ 2403083 h 5973007"/>
              <a:gd name="connsiteX34063" fmla="*/ 1102364 w 6884782"/>
              <a:gd name="connsiteY34063" fmla="*/ 2405562 h 5973007"/>
              <a:gd name="connsiteX34064" fmla="*/ 1103087 w 6884782"/>
              <a:gd name="connsiteY34064" fmla="*/ 2406027 h 5973007"/>
              <a:gd name="connsiteX34065" fmla="*/ 1103500 w 6884782"/>
              <a:gd name="connsiteY34065" fmla="*/ 2407885 h 5973007"/>
              <a:gd name="connsiteX34066" fmla="*/ 1091831 w 6884782"/>
              <a:gd name="connsiteY34066" fmla="*/ 2417953 h 5973007"/>
              <a:gd name="connsiteX34067" fmla="*/ 1089147 w 6884782"/>
              <a:gd name="connsiteY34067" fmla="*/ 2413926 h 5973007"/>
              <a:gd name="connsiteX34068" fmla="*/ 1089766 w 6884782"/>
              <a:gd name="connsiteY34068" fmla="*/ 2411293 h 5973007"/>
              <a:gd name="connsiteX34069" fmla="*/ 1087701 w 6884782"/>
              <a:gd name="connsiteY34069" fmla="*/ 2410209 h 5973007"/>
              <a:gd name="connsiteX34070" fmla="*/ 1088940 w 6884782"/>
              <a:gd name="connsiteY34070" fmla="*/ 2406801 h 5973007"/>
              <a:gd name="connsiteX34071" fmla="*/ 1092967 w 6884782"/>
              <a:gd name="connsiteY34071" fmla="*/ 2407266 h 5973007"/>
              <a:gd name="connsiteX34072" fmla="*/ 1095342 w 6884782"/>
              <a:gd name="connsiteY34072" fmla="*/ 2406491 h 5973007"/>
              <a:gd name="connsiteX34073" fmla="*/ 1097717 w 6884782"/>
              <a:gd name="connsiteY34073" fmla="*/ 2404787 h 5973007"/>
              <a:gd name="connsiteX34074" fmla="*/ 1098130 w 6884782"/>
              <a:gd name="connsiteY34074" fmla="*/ 2404787 h 5973007"/>
              <a:gd name="connsiteX34075" fmla="*/ 1096168 w 6884782"/>
              <a:gd name="connsiteY34075" fmla="*/ 2397817 h 5973007"/>
              <a:gd name="connsiteX34076" fmla="*/ 1092658 w 6884782"/>
              <a:gd name="connsiteY34076" fmla="*/ 2389298 h 5973007"/>
              <a:gd name="connsiteX34077" fmla="*/ 1095136 w 6884782"/>
              <a:gd name="connsiteY34077" fmla="*/ 2388213 h 5973007"/>
              <a:gd name="connsiteX34078" fmla="*/ 820164 w 6884782"/>
              <a:gd name="connsiteY34078" fmla="*/ 2387903 h 5973007"/>
              <a:gd name="connsiteX34079" fmla="*/ 821507 w 6884782"/>
              <a:gd name="connsiteY34079" fmla="*/ 2395184 h 5973007"/>
              <a:gd name="connsiteX34080" fmla="*/ 821713 w 6884782"/>
              <a:gd name="connsiteY34080" fmla="*/ 2399366 h 5973007"/>
              <a:gd name="connsiteX34081" fmla="*/ 820164 w 6884782"/>
              <a:gd name="connsiteY34081" fmla="*/ 2401224 h 5973007"/>
              <a:gd name="connsiteX34082" fmla="*/ 819235 w 6884782"/>
              <a:gd name="connsiteY34082" fmla="*/ 2401379 h 5973007"/>
              <a:gd name="connsiteX34083" fmla="*/ 818409 w 6884782"/>
              <a:gd name="connsiteY34083" fmla="*/ 2399676 h 5973007"/>
              <a:gd name="connsiteX34084" fmla="*/ 818409 w 6884782"/>
              <a:gd name="connsiteY34084" fmla="*/ 2394874 h 5973007"/>
              <a:gd name="connsiteX34085" fmla="*/ 818616 w 6884782"/>
              <a:gd name="connsiteY34085" fmla="*/ 2391466 h 5973007"/>
              <a:gd name="connsiteX34086" fmla="*/ 818616 w 6884782"/>
              <a:gd name="connsiteY34086" fmla="*/ 2389762 h 5973007"/>
              <a:gd name="connsiteX34087" fmla="*/ 820164 w 6884782"/>
              <a:gd name="connsiteY34087" fmla="*/ 2387903 h 5973007"/>
              <a:gd name="connsiteX34088" fmla="*/ 787665 w 6884782"/>
              <a:gd name="connsiteY34088" fmla="*/ 2386684 h 5973007"/>
              <a:gd name="connsiteX34089" fmla="*/ 792079 w 6884782"/>
              <a:gd name="connsiteY34089" fmla="*/ 2389607 h 5973007"/>
              <a:gd name="connsiteX34090" fmla="*/ 783095 w 6884782"/>
              <a:gd name="connsiteY34090" fmla="*/ 2390847 h 5973007"/>
              <a:gd name="connsiteX34091" fmla="*/ 787665 w 6884782"/>
              <a:gd name="connsiteY34091" fmla="*/ 2386684 h 5973007"/>
              <a:gd name="connsiteX34092" fmla="*/ 709577 w 6884782"/>
              <a:gd name="connsiteY34092" fmla="*/ 2386665 h 5973007"/>
              <a:gd name="connsiteX34093" fmla="*/ 711229 w 6884782"/>
              <a:gd name="connsiteY34093" fmla="*/ 2391776 h 5973007"/>
              <a:gd name="connsiteX34094" fmla="*/ 707718 w 6884782"/>
              <a:gd name="connsiteY34094" fmla="*/ 2393170 h 5973007"/>
              <a:gd name="connsiteX34095" fmla="*/ 706066 w 6884782"/>
              <a:gd name="connsiteY34095" fmla="*/ 2388059 h 5973007"/>
              <a:gd name="connsiteX34096" fmla="*/ 709577 w 6884782"/>
              <a:gd name="connsiteY34096" fmla="*/ 2386665 h 5973007"/>
              <a:gd name="connsiteX34097" fmla="*/ 4863409 w 6884782"/>
              <a:gd name="connsiteY34097" fmla="*/ 2385849 h 5973007"/>
              <a:gd name="connsiteX34098" fmla="*/ 4868318 w 6884782"/>
              <a:gd name="connsiteY34098" fmla="*/ 2386987 h 5973007"/>
              <a:gd name="connsiteX34099" fmla="*/ 4877282 w 6884782"/>
              <a:gd name="connsiteY34099" fmla="*/ 2395096 h 5973007"/>
              <a:gd name="connsiteX34100" fmla="*/ 4876641 w 6884782"/>
              <a:gd name="connsiteY34100" fmla="*/ 2404913 h 5973007"/>
              <a:gd name="connsiteX34101" fmla="*/ 4865970 w 6884782"/>
              <a:gd name="connsiteY34101" fmla="*/ 2414303 h 5973007"/>
              <a:gd name="connsiteX34102" fmla="*/ 4858073 w 6884782"/>
              <a:gd name="connsiteY34102" fmla="*/ 2414160 h 5973007"/>
              <a:gd name="connsiteX34103" fmla="*/ 4850604 w 6884782"/>
              <a:gd name="connsiteY34103" fmla="*/ 2394670 h 5973007"/>
              <a:gd name="connsiteX34104" fmla="*/ 4852311 w 6884782"/>
              <a:gd name="connsiteY34104" fmla="*/ 2391540 h 5973007"/>
              <a:gd name="connsiteX34105" fmla="*/ 4853378 w 6884782"/>
              <a:gd name="connsiteY34105" fmla="*/ 2386276 h 5973007"/>
              <a:gd name="connsiteX34106" fmla="*/ 4863409 w 6884782"/>
              <a:gd name="connsiteY34106" fmla="*/ 2385849 h 5973007"/>
              <a:gd name="connsiteX34107" fmla="*/ 916399 w 6884782"/>
              <a:gd name="connsiteY34107" fmla="*/ 2384651 h 5973007"/>
              <a:gd name="connsiteX34108" fmla="*/ 917638 w 6884782"/>
              <a:gd name="connsiteY34108" fmla="*/ 2396578 h 5973007"/>
              <a:gd name="connsiteX34109" fmla="*/ 916812 w 6884782"/>
              <a:gd name="connsiteY34109" fmla="*/ 2396578 h 5973007"/>
              <a:gd name="connsiteX34110" fmla="*/ 915160 w 6884782"/>
              <a:gd name="connsiteY34110" fmla="*/ 2387903 h 5973007"/>
              <a:gd name="connsiteX34111" fmla="*/ 915573 w 6884782"/>
              <a:gd name="connsiteY34111" fmla="*/ 2384805 h 5973007"/>
              <a:gd name="connsiteX34112" fmla="*/ 915573 w 6884782"/>
              <a:gd name="connsiteY34112" fmla="*/ 2385580 h 5973007"/>
              <a:gd name="connsiteX34113" fmla="*/ 916399 w 6884782"/>
              <a:gd name="connsiteY34113" fmla="*/ 2384651 h 5973007"/>
              <a:gd name="connsiteX34114" fmla="*/ 909584 w 6884782"/>
              <a:gd name="connsiteY34114" fmla="*/ 2384341 h 5973007"/>
              <a:gd name="connsiteX34115" fmla="*/ 909584 w 6884782"/>
              <a:gd name="connsiteY34115" fmla="*/ 2386045 h 5973007"/>
              <a:gd name="connsiteX34116" fmla="*/ 913301 w 6884782"/>
              <a:gd name="connsiteY34116" fmla="*/ 2398592 h 5973007"/>
              <a:gd name="connsiteX34117" fmla="*/ 906074 w 6884782"/>
              <a:gd name="connsiteY34117" fmla="*/ 2384496 h 5973007"/>
              <a:gd name="connsiteX34118" fmla="*/ 909584 w 6884782"/>
              <a:gd name="connsiteY34118" fmla="*/ 2384341 h 5973007"/>
              <a:gd name="connsiteX34119" fmla="*/ 5297505 w 6884782"/>
              <a:gd name="connsiteY34119" fmla="*/ 2384141 h 5973007"/>
              <a:gd name="connsiteX34120" fmla="*/ 5303908 w 6884782"/>
              <a:gd name="connsiteY34120" fmla="*/ 2385422 h 5973007"/>
              <a:gd name="connsiteX34121" fmla="*/ 5305615 w 6884782"/>
              <a:gd name="connsiteY34121" fmla="*/ 2394100 h 5973007"/>
              <a:gd name="connsiteX34122" fmla="*/ 5272961 w 6884782"/>
              <a:gd name="connsiteY34122" fmla="*/ 2404628 h 5973007"/>
              <a:gd name="connsiteX34123" fmla="*/ 5276590 w 6884782"/>
              <a:gd name="connsiteY34123" fmla="*/ 2388836 h 5973007"/>
              <a:gd name="connsiteX34124" fmla="*/ 5283206 w 6884782"/>
              <a:gd name="connsiteY34124" fmla="*/ 2385137 h 5973007"/>
              <a:gd name="connsiteX34125" fmla="*/ 5291102 w 6884782"/>
              <a:gd name="connsiteY34125" fmla="*/ 2385422 h 5973007"/>
              <a:gd name="connsiteX34126" fmla="*/ 5297505 w 6884782"/>
              <a:gd name="connsiteY34126" fmla="*/ 2384141 h 5973007"/>
              <a:gd name="connsiteX34127" fmla="*/ 5250553 w 6884782"/>
              <a:gd name="connsiteY34127" fmla="*/ 2383999 h 5973007"/>
              <a:gd name="connsiteX34128" fmla="*/ 5265919 w 6884782"/>
              <a:gd name="connsiteY34128" fmla="*/ 2392251 h 5973007"/>
              <a:gd name="connsiteX34129" fmla="*/ 5234760 w 6884782"/>
              <a:gd name="connsiteY34129" fmla="*/ 2392678 h 5973007"/>
              <a:gd name="connsiteX34130" fmla="*/ 5250553 w 6884782"/>
              <a:gd name="connsiteY34130" fmla="*/ 2383999 h 5973007"/>
              <a:gd name="connsiteX34131" fmla="*/ 736992 w 6884782"/>
              <a:gd name="connsiteY34131" fmla="*/ 2382289 h 5973007"/>
              <a:gd name="connsiteX34132" fmla="*/ 743032 w 6884782"/>
              <a:gd name="connsiteY34132" fmla="*/ 2382792 h 5973007"/>
              <a:gd name="connsiteX34133" fmla="*/ 746130 w 6884782"/>
              <a:gd name="connsiteY34133" fmla="*/ 2391621 h 5973007"/>
              <a:gd name="connsiteX34134" fmla="*/ 743755 w 6884782"/>
              <a:gd name="connsiteY34134" fmla="*/ 2396113 h 5973007"/>
              <a:gd name="connsiteX34135" fmla="*/ 733429 w 6884782"/>
              <a:gd name="connsiteY34135" fmla="*/ 2396733 h 5973007"/>
              <a:gd name="connsiteX34136" fmla="*/ 731158 w 6884782"/>
              <a:gd name="connsiteY34136" fmla="*/ 2387748 h 5973007"/>
              <a:gd name="connsiteX34137" fmla="*/ 729299 w 6884782"/>
              <a:gd name="connsiteY34137" fmla="*/ 2387129 h 5973007"/>
              <a:gd name="connsiteX34138" fmla="*/ 727440 w 6884782"/>
              <a:gd name="connsiteY34138" fmla="*/ 2384031 h 5973007"/>
              <a:gd name="connsiteX34139" fmla="*/ 729092 w 6884782"/>
              <a:gd name="connsiteY34139" fmla="*/ 2382947 h 5973007"/>
              <a:gd name="connsiteX34140" fmla="*/ 731880 w 6884782"/>
              <a:gd name="connsiteY34140" fmla="*/ 2385890 h 5973007"/>
              <a:gd name="connsiteX34141" fmla="*/ 732706 w 6884782"/>
              <a:gd name="connsiteY34141" fmla="*/ 2385890 h 5973007"/>
              <a:gd name="connsiteX34142" fmla="*/ 734358 w 6884782"/>
              <a:gd name="connsiteY34142" fmla="*/ 2383876 h 5973007"/>
              <a:gd name="connsiteX34143" fmla="*/ 736992 w 6884782"/>
              <a:gd name="connsiteY34143" fmla="*/ 2382289 h 5973007"/>
              <a:gd name="connsiteX34144" fmla="*/ 1191577 w 6884782"/>
              <a:gd name="connsiteY34144" fmla="*/ 2382017 h 5973007"/>
              <a:gd name="connsiteX34145" fmla="*/ 1194985 w 6884782"/>
              <a:gd name="connsiteY34145" fmla="*/ 2383566 h 5973007"/>
              <a:gd name="connsiteX34146" fmla="*/ 1190131 w 6884782"/>
              <a:gd name="connsiteY34146" fmla="*/ 2393170 h 5973007"/>
              <a:gd name="connsiteX34147" fmla="*/ 1185485 w 6884782"/>
              <a:gd name="connsiteY34147" fmla="*/ 2390847 h 5973007"/>
              <a:gd name="connsiteX34148" fmla="*/ 1191577 w 6884782"/>
              <a:gd name="connsiteY34148" fmla="*/ 2382017 h 5973007"/>
              <a:gd name="connsiteX34149" fmla="*/ 850109 w 6884782"/>
              <a:gd name="connsiteY34149" fmla="*/ 2380314 h 5973007"/>
              <a:gd name="connsiteX34150" fmla="*/ 852896 w 6884782"/>
              <a:gd name="connsiteY34150" fmla="*/ 2397507 h 5973007"/>
              <a:gd name="connsiteX34151" fmla="*/ 849490 w 6884782"/>
              <a:gd name="connsiteY34151" fmla="*/ 2396733 h 5973007"/>
              <a:gd name="connsiteX34152" fmla="*/ 846495 w 6884782"/>
              <a:gd name="connsiteY34152" fmla="*/ 2392395 h 5973007"/>
              <a:gd name="connsiteX34153" fmla="*/ 844843 w 6884782"/>
              <a:gd name="connsiteY34153" fmla="*/ 2388523 h 5973007"/>
              <a:gd name="connsiteX34154" fmla="*/ 838647 w 6884782"/>
              <a:gd name="connsiteY34154" fmla="*/ 2388833 h 5973007"/>
              <a:gd name="connsiteX34155" fmla="*/ 833691 w 6884782"/>
              <a:gd name="connsiteY34155" fmla="*/ 2385425 h 5973007"/>
              <a:gd name="connsiteX34156" fmla="*/ 839370 w 6884782"/>
              <a:gd name="connsiteY34156" fmla="*/ 2383257 h 5973007"/>
              <a:gd name="connsiteX34157" fmla="*/ 845978 w 6884782"/>
              <a:gd name="connsiteY34157" fmla="*/ 2383101 h 5973007"/>
              <a:gd name="connsiteX34158" fmla="*/ 847424 w 6884782"/>
              <a:gd name="connsiteY34158" fmla="*/ 2380778 h 5973007"/>
              <a:gd name="connsiteX34159" fmla="*/ 850109 w 6884782"/>
              <a:gd name="connsiteY34159" fmla="*/ 2380314 h 5973007"/>
              <a:gd name="connsiteX34160" fmla="*/ 5312231 w 6884782"/>
              <a:gd name="connsiteY34160" fmla="*/ 2378877 h 5973007"/>
              <a:gd name="connsiteX34161" fmla="*/ 5318847 w 6884782"/>
              <a:gd name="connsiteY34161" fmla="*/ 2399364 h 5973007"/>
              <a:gd name="connsiteX34162" fmla="*/ 5312444 w 6884782"/>
              <a:gd name="connsiteY34162" fmla="*/ 2403490 h 5973007"/>
              <a:gd name="connsiteX34163" fmla="*/ 5312231 w 6884782"/>
              <a:gd name="connsiteY34163" fmla="*/ 2378877 h 5973007"/>
              <a:gd name="connsiteX34164" fmla="*/ 5274029 w 6884782"/>
              <a:gd name="connsiteY34164" fmla="*/ 2378024 h 5973007"/>
              <a:gd name="connsiteX34165" fmla="*/ 5270828 w 6884782"/>
              <a:gd name="connsiteY34165" fmla="*/ 2387698 h 5973007"/>
              <a:gd name="connsiteX34166" fmla="*/ 5274029 w 6884782"/>
              <a:gd name="connsiteY34166" fmla="*/ 2378024 h 5973007"/>
              <a:gd name="connsiteX34167" fmla="*/ 1184039 w 6884782"/>
              <a:gd name="connsiteY34167" fmla="*/ 2376751 h 5973007"/>
              <a:gd name="connsiteX34168" fmla="*/ 1186931 w 6884782"/>
              <a:gd name="connsiteY34168" fmla="*/ 2382327 h 5973007"/>
              <a:gd name="connsiteX34169" fmla="*/ 1181974 w 6884782"/>
              <a:gd name="connsiteY34169" fmla="*/ 2383876 h 5973007"/>
              <a:gd name="connsiteX34170" fmla="*/ 1177121 w 6884782"/>
              <a:gd name="connsiteY34170" fmla="*/ 2382637 h 5973007"/>
              <a:gd name="connsiteX34171" fmla="*/ 1178980 w 6884782"/>
              <a:gd name="connsiteY34171" fmla="*/ 2389298 h 5973007"/>
              <a:gd name="connsiteX34172" fmla="*/ 1177637 w 6884782"/>
              <a:gd name="connsiteY34172" fmla="*/ 2397352 h 5973007"/>
              <a:gd name="connsiteX34173" fmla="*/ 1154301 w 6884782"/>
              <a:gd name="connsiteY34173" fmla="*/ 2410209 h 5973007"/>
              <a:gd name="connsiteX34174" fmla="*/ 1152340 w 6884782"/>
              <a:gd name="connsiteY34174" fmla="*/ 2408195 h 5973007"/>
              <a:gd name="connsiteX34175" fmla="*/ 1150791 w 6884782"/>
              <a:gd name="connsiteY34175" fmla="*/ 2399830 h 5973007"/>
              <a:gd name="connsiteX34176" fmla="*/ 1165143 w 6884782"/>
              <a:gd name="connsiteY34176" fmla="*/ 2380623 h 5973007"/>
              <a:gd name="connsiteX34177" fmla="*/ 1170616 w 6884782"/>
              <a:gd name="connsiteY34177" fmla="*/ 2379539 h 5973007"/>
              <a:gd name="connsiteX34178" fmla="*/ 1175985 w 6884782"/>
              <a:gd name="connsiteY34178" fmla="*/ 2380158 h 5973007"/>
              <a:gd name="connsiteX34179" fmla="*/ 1176089 w 6884782"/>
              <a:gd name="connsiteY34179" fmla="*/ 2378920 h 5973007"/>
              <a:gd name="connsiteX34180" fmla="*/ 1184039 w 6884782"/>
              <a:gd name="connsiteY34180" fmla="*/ 2376751 h 5973007"/>
              <a:gd name="connsiteX34181" fmla="*/ 5039694 w 6884782"/>
              <a:gd name="connsiteY34181" fmla="*/ 2376744 h 5973007"/>
              <a:gd name="connsiteX34182" fmla="*/ 5046310 w 6884782"/>
              <a:gd name="connsiteY34182" fmla="*/ 2379162 h 5973007"/>
              <a:gd name="connsiteX34183" fmla="*/ 5043749 w 6884782"/>
              <a:gd name="connsiteY34183" fmla="*/ 2385991 h 5973007"/>
              <a:gd name="connsiteX34184" fmla="*/ 5036492 w 6884782"/>
              <a:gd name="connsiteY34184" fmla="*/ 2381865 h 5973007"/>
              <a:gd name="connsiteX34185" fmla="*/ 5039694 w 6884782"/>
              <a:gd name="connsiteY34185" fmla="*/ 2376744 h 5973007"/>
              <a:gd name="connsiteX34186" fmla="*/ 5451381 w 6884782"/>
              <a:gd name="connsiteY34186" fmla="*/ 2376175 h 5973007"/>
              <a:gd name="connsiteX34187" fmla="*/ 5459064 w 6884782"/>
              <a:gd name="connsiteY34187" fmla="*/ 2379304 h 5973007"/>
              <a:gd name="connsiteX34188" fmla="*/ 5435588 w 6884782"/>
              <a:gd name="connsiteY34188" fmla="*/ 2395665 h 5973007"/>
              <a:gd name="connsiteX34189" fmla="*/ 5429185 w 6884782"/>
              <a:gd name="connsiteY34189" fmla="*/ 2392678 h 5973007"/>
              <a:gd name="connsiteX34190" fmla="*/ 5451381 w 6884782"/>
              <a:gd name="connsiteY34190" fmla="*/ 2376175 h 5973007"/>
              <a:gd name="connsiteX34191" fmla="*/ 770098 w 6884782"/>
              <a:gd name="connsiteY34191" fmla="*/ 2374311 h 5973007"/>
              <a:gd name="connsiteX34192" fmla="*/ 776590 w 6884782"/>
              <a:gd name="connsiteY34192" fmla="*/ 2376596 h 5973007"/>
              <a:gd name="connsiteX34193" fmla="*/ 766987 w 6884782"/>
              <a:gd name="connsiteY34193" fmla="*/ 2379849 h 5973007"/>
              <a:gd name="connsiteX34194" fmla="*/ 756662 w 6884782"/>
              <a:gd name="connsiteY34194" fmla="*/ 2377061 h 5973007"/>
              <a:gd name="connsiteX34195" fmla="*/ 760896 w 6884782"/>
              <a:gd name="connsiteY34195" fmla="*/ 2374582 h 5973007"/>
              <a:gd name="connsiteX34196" fmla="*/ 770098 w 6884782"/>
              <a:gd name="connsiteY34196" fmla="*/ 2374311 h 5973007"/>
              <a:gd name="connsiteX34197" fmla="*/ 5729253 w 6884782"/>
              <a:gd name="connsiteY34197" fmla="*/ 2372333 h 5973007"/>
              <a:gd name="connsiteX34198" fmla="*/ 5728826 w 6884782"/>
              <a:gd name="connsiteY34198" fmla="*/ 2373045 h 5973007"/>
              <a:gd name="connsiteX34199" fmla="*/ 5727972 w 6884782"/>
              <a:gd name="connsiteY34199" fmla="*/ 2373756 h 5973007"/>
              <a:gd name="connsiteX34200" fmla="*/ 5732028 w 6884782"/>
              <a:gd name="connsiteY34200" fmla="*/ 2375463 h 5973007"/>
              <a:gd name="connsiteX34201" fmla="*/ 5325676 w 6884782"/>
              <a:gd name="connsiteY34201" fmla="*/ 2371622 h 5973007"/>
              <a:gd name="connsiteX34202" fmla="*/ 5326957 w 6884782"/>
              <a:gd name="connsiteY34202" fmla="*/ 2371764 h 5973007"/>
              <a:gd name="connsiteX34203" fmla="*/ 5324183 w 6884782"/>
              <a:gd name="connsiteY34203" fmla="*/ 2385991 h 5973007"/>
              <a:gd name="connsiteX34204" fmla="*/ 5322262 w 6884782"/>
              <a:gd name="connsiteY34204" fmla="*/ 2387129 h 5973007"/>
              <a:gd name="connsiteX34205" fmla="*/ 5319700 w 6884782"/>
              <a:gd name="connsiteY34205" fmla="*/ 2385422 h 5973007"/>
              <a:gd name="connsiteX34206" fmla="*/ 5319914 w 6884782"/>
              <a:gd name="connsiteY34206" fmla="*/ 2379447 h 5973007"/>
              <a:gd name="connsiteX34207" fmla="*/ 5324609 w 6884782"/>
              <a:gd name="connsiteY34207" fmla="*/ 2375178 h 5973007"/>
              <a:gd name="connsiteX34208" fmla="*/ 5325676 w 6884782"/>
              <a:gd name="connsiteY34208" fmla="*/ 2371622 h 5973007"/>
              <a:gd name="connsiteX34209" fmla="*/ 742516 w 6884782"/>
              <a:gd name="connsiteY34209" fmla="*/ 2369935 h 5973007"/>
              <a:gd name="connsiteX34210" fmla="*/ 755423 w 6884782"/>
              <a:gd name="connsiteY34210" fmla="*/ 2373343 h 5973007"/>
              <a:gd name="connsiteX34211" fmla="*/ 750673 w 6884782"/>
              <a:gd name="connsiteY34211" fmla="*/ 2379074 h 5973007"/>
              <a:gd name="connsiteX34212" fmla="*/ 745510 w 6884782"/>
              <a:gd name="connsiteY34212" fmla="*/ 2378765 h 5973007"/>
              <a:gd name="connsiteX34213" fmla="*/ 739625 w 6884782"/>
              <a:gd name="connsiteY34213" fmla="*/ 2373034 h 5973007"/>
              <a:gd name="connsiteX34214" fmla="*/ 742516 w 6884782"/>
              <a:gd name="connsiteY34214" fmla="*/ 2369935 h 5973007"/>
              <a:gd name="connsiteX34215" fmla="*/ 1139020 w 6884782"/>
              <a:gd name="connsiteY34215" fmla="*/ 2369316 h 5973007"/>
              <a:gd name="connsiteX34216" fmla="*/ 1142221 w 6884782"/>
              <a:gd name="connsiteY34216" fmla="*/ 2375667 h 5973007"/>
              <a:gd name="connsiteX34217" fmla="*/ 1138813 w 6884782"/>
              <a:gd name="connsiteY34217" fmla="*/ 2373343 h 5973007"/>
              <a:gd name="connsiteX34218" fmla="*/ 1139020 w 6884782"/>
              <a:gd name="connsiteY34218" fmla="*/ 2369316 h 5973007"/>
              <a:gd name="connsiteX34219" fmla="*/ 1207478 w 6884782"/>
              <a:gd name="connsiteY34219" fmla="*/ 2368387 h 5973007"/>
              <a:gd name="connsiteX34220" fmla="*/ 1207272 w 6884782"/>
              <a:gd name="connsiteY34220" fmla="*/ 2370400 h 5973007"/>
              <a:gd name="connsiteX34221" fmla="*/ 1207892 w 6884782"/>
              <a:gd name="connsiteY34221" fmla="*/ 2370090 h 5973007"/>
              <a:gd name="connsiteX34222" fmla="*/ 1212125 w 6884782"/>
              <a:gd name="connsiteY34222" fmla="*/ 2370710 h 5973007"/>
              <a:gd name="connsiteX34223" fmla="*/ 1208614 w 6884782"/>
              <a:gd name="connsiteY34223" fmla="*/ 2371949 h 5973007"/>
              <a:gd name="connsiteX34224" fmla="*/ 1207065 w 6884782"/>
              <a:gd name="connsiteY34224" fmla="*/ 2372259 h 5973007"/>
              <a:gd name="connsiteX34225" fmla="*/ 1206756 w 6884782"/>
              <a:gd name="connsiteY34225" fmla="*/ 2374582 h 5973007"/>
              <a:gd name="connsiteX34226" fmla="*/ 1201490 w 6884782"/>
              <a:gd name="connsiteY34226" fmla="*/ 2379074 h 5973007"/>
              <a:gd name="connsiteX34227" fmla="*/ 1198186 w 6884782"/>
              <a:gd name="connsiteY34227" fmla="*/ 2369161 h 5973007"/>
              <a:gd name="connsiteX34228" fmla="*/ 1207478 w 6884782"/>
              <a:gd name="connsiteY34228" fmla="*/ 2368387 h 5973007"/>
              <a:gd name="connsiteX34229" fmla="*/ 5555956 w 6884782"/>
              <a:gd name="connsiteY34229" fmla="*/ 2368350 h 5973007"/>
              <a:gd name="connsiteX34230" fmla="*/ 5555529 w 6884782"/>
              <a:gd name="connsiteY34230" fmla="*/ 2373329 h 5973007"/>
              <a:gd name="connsiteX34231" fmla="*/ 5558090 w 6884782"/>
              <a:gd name="connsiteY34231" fmla="*/ 2375890 h 5973007"/>
              <a:gd name="connsiteX34232" fmla="*/ 5557664 w 6884782"/>
              <a:gd name="connsiteY34232" fmla="*/ 2369488 h 5973007"/>
              <a:gd name="connsiteX34233" fmla="*/ 1167828 w 6884782"/>
              <a:gd name="connsiteY34233" fmla="*/ 2368077 h 5973007"/>
              <a:gd name="connsiteX34234" fmla="*/ 1171132 w 6884782"/>
              <a:gd name="connsiteY34234" fmla="*/ 2368696 h 5973007"/>
              <a:gd name="connsiteX34235" fmla="*/ 1167828 w 6884782"/>
              <a:gd name="connsiteY34235" fmla="*/ 2368851 h 5973007"/>
              <a:gd name="connsiteX34236" fmla="*/ 1167208 w 6884782"/>
              <a:gd name="connsiteY34236" fmla="*/ 2368387 h 5973007"/>
              <a:gd name="connsiteX34237" fmla="*/ 1167828 w 6884782"/>
              <a:gd name="connsiteY34237" fmla="*/ 2368077 h 5973007"/>
              <a:gd name="connsiteX34238" fmla="*/ 1015525 w 6884782"/>
              <a:gd name="connsiteY34238" fmla="*/ 2367767 h 5973007"/>
              <a:gd name="connsiteX34239" fmla="*/ 1027503 w 6884782"/>
              <a:gd name="connsiteY34239" fmla="*/ 2382172 h 5973007"/>
              <a:gd name="connsiteX34240" fmla="*/ 1025025 w 6884782"/>
              <a:gd name="connsiteY34240" fmla="*/ 2383876 h 5973007"/>
              <a:gd name="connsiteX34241" fmla="*/ 1025541 w 6884782"/>
              <a:gd name="connsiteY34241" fmla="*/ 2384651 h 5973007"/>
              <a:gd name="connsiteX34242" fmla="*/ 1026677 w 6884782"/>
              <a:gd name="connsiteY34242" fmla="*/ 2388368 h 5973007"/>
              <a:gd name="connsiteX34243" fmla="*/ 1027090 w 6884782"/>
              <a:gd name="connsiteY34243" fmla="*/ 2388213 h 5973007"/>
              <a:gd name="connsiteX34244" fmla="*/ 1029568 w 6884782"/>
              <a:gd name="connsiteY34244" fmla="*/ 2388988 h 5973007"/>
              <a:gd name="connsiteX34245" fmla="*/ 1030910 w 6884782"/>
              <a:gd name="connsiteY34245" fmla="*/ 2395804 h 5973007"/>
              <a:gd name="connsiteX34246" fmla="*/ 1032459 w 6884782"/>
              <a:gd name="connsiteY34246" fmla="*/ 2399985 h 5973007"/>
              <a:gd name="connsiteX34247" fmla="*/ 1029259 w 6884782"/>
              <a:gd name="connsiteY34247" fmla="*/ 2395029 h 5973007"/>
              <a:gd name="connsiteX34248" fmla="*/ 1026677 w 6884782"/>
              <a:gd name="connsiteY34248" fmla="*/ 2394254 h 5973007"/>
              <a:gd name="connsiteX34249" fmla="*/ 1025954 w 6884782"/>
              <a:gd name="connsiteY34249" fmla="*/ 2392550 h 5973007"/>
              <a:gd name="connsiteX34250" fmla="*/ 1024922 w 6884782"/>
              <a:gd name="connsiteY34250" fmla="*/ 2392860 h 5973007"/>
              <a:gd name="connsiteX34251" fmla="*/ 1022547 w 6884782"/>
              <a:gd name="connsiteY34251" fmla="*/ 2394099 h 5973007"/>
              <a:gd name="connsiteX34252" fmla="*/ 1020482 w 6884782"/>
              <a:gd name="connsiteY34252" fmla="*/ 2388059 h 5973007"/>
              <a:gd name="connsiteX34253" fmla="*/ 1020069 w 6884782"/>
              <a:gd name="connsiteY34253" fmla="*/ 2385270 h 5973007"/>
              <a:gd name="connsiteX34254" fmla="*/ 1019759 w 6884782"/>
              <a:gd name="connsiteY34254" fmla="*/ 2385270 h 5973007"/>
              <a:gd name="connsiteX34255" fmla="*/ 1015112 w 6884782"/>
              <a:gd name="connsiteY34255" fmla="*/ 2382792 h 5973007"/>
              <a:gd name="connsiteX34256" fmla="*/ 1014286 w 6884782"/>
              <a:gd name="connsiteY34256" fmla="*/ 2381398 h 5973007"/>
              <a:gd name="connsiteX34257" fmla="*/ 1004167 w 6884782"/>
              <a:gd name="connsiteY34257" fmla="*/ 2379694 h 5973007"/>
              <a:gd name="connsiteX34258" fmla="*/ 1006232 w 6884782"/>
              <a:gd name="connsiteY34258" fmla="*/ 2372259 h 5973007"/>
              <a:gd name="connsiteX34259" fmla="*/ 1012221 w 6884782"/>
              <a:gd name="connsiteY34259" fmla="*/ 2372414 h 5973007"/>
              <a:gd name="connsiteX34260" fmla="*/ 1157916 w 6884782"/>
              <a:gd name="connsiteY34260" fmla="*/ 2367302 h 5973007"/>
              <a:gd name="connsiteX34261" fmla="*/ 1163388 w 6884782"/>
              <a:gd name="connsiteY34261" fmla="*/ 2368077 h 5973007"/>
              <a:gd name="connsiteX34262" fmla="*/ 1146454 w 6884782"/>
              <a:gd name="connsiteY34262" fmla="*/ 2382637 h 5973007"/>
              <a:gd name="connsiteX34263" fmla="*/ 1157916 w 6884782"/>
              <a:gd name="connsiteY34263" fmla="*/ 2367302 h 5973007"/>
              <a:gd name="connsiteX34264" fmla="*/ 6230790 w 6884782"/>
              <a:gd name="connsiteY34264" fmla="*/ 2366785 h 5973007"/>
              <a:gd name="connsiteX34265" fmla="*/ 6233351 w 6884782"/>
              <a:gd name="connsiteY34265" fmla="*/ 2368065 h 5973007"/>
              <a:gd name="connsiteX34266" fmla="*/ 6234204 w 6884782"/>
              <a:gd name="connsiteY34266" fmla="*/ 2370626 h 5973007"/>
              <a:gd name="connsiteX34267" fmla="*/ 6234845 w 6884782"/>
              <a:gd name="connsiteY34267" fmla="*/ 2373614 h 5973007"/>
              <a:gd name="connsiteX34268" fmla="*/ 6233138 w 6884782"/>
              <a:gd name="connsiteY34268" fmla="*/ 2378024 h 5973007"/>
              <a:gd name="connsiteX34269" fmla="*/ 6240394 w 6884782"/>
              <a:gd name="connsiteY34269" fmla="*/ 2382150 h 5973007"/>
              <a:gd name="connsiteX34270" fmla="*/ 6247650 w 6884782"/>
              <a:gd name="connsiteY34270" fmla="*/ 2388978 h 5973007"/>
              <a:gd name="connsiteX34271" fmla="*/ 6217771 w 6884782"/>
              <a:gd name="connsiteY34271" fmla="*/ 2369346 h 5973007"/>
              <a:gd name="connsiteX34272" fmla="*/ 6223107 w 6884782"/>
              <a:gd name="connsiteY34272" fmla="*/ 2372902 h 5973007"/>
              <a:gd name="connsiteX34273" fmla="*/ 6223747 w 6884782"/>
              <a:gd name="connsiteY34273" fmla="*/ 2370057 h 5973007"/>
              <a:gd name="connsiteX34274" fmla="*/ 6230790 w 6884782"/>
              <a:gd name="connsiteY34274" fmla="*/ 2366785 h 5973007"/>
              <a:gd name="connsiteX34275" fmla="*/ 5117592 w 6884782"/>
              <a:gd name="connsiteY34275" fmla="*/ 2366358 h 5973007"/>
              <a:gd name="connsiteX34276" fmla="*/ 5124848 w 6884782"/>
              <a:gd name="connsiteY34276" fmla="*/ 2375890 h 5973007"/>
              <a:gd name="connsiteX34277" fmla="*/ 5112684 w 6884782"/>
              <a:gd name="connsiteY34277" fmla="*/ 2381439 h 5973007"/>
              <a:gd name="connsiteX34278" fmla="*/ 5115458 w 6884782"/>
              <a:gd name="connsiteY34278" fmla="*/ 2366642 h 5973007"/>
              <a:gd name="connsiteX34279" fmla="*/ 5117592 w 6884782"/>
              <a:gd name="connsiteY34279" fmla="*/ 2366358 h 5973007"/>
              <a:gd name="connsiteX34280" fmla="*/ 5343604 w 6884782"/>
              <a:gd name="connsiteY34280" fmla="*/ 2366073 h 5973007"/>
              <a:gd name="connsiteX34281" fmla="*/ 5349793 w 6884782"/>
              <a:gd name="connsiteY34281" fmla="*/ 2368350 h 5973007"/>
              <a:gd name="connsiteX34282" fmla="*/ 5346378 w 6884782"/>
              <a:gd name="connsiteY34282" fmla="*/ 2375321 h 5973007"/>
              <a:gd name="connsiteX34283" fmla="*/ 5339549 w 6884782"/>
              <a:gd name="connsiteY34283" fmla="*/ 2371338 h 5973007"/>
              <a:gd name="connsiteX34284" fmla="*/ 5343604 w 6884782"/>
              <a:gd name="connsiteY34284" fmla="*/ 2366073 h 5973007"/>
              <a:gd name="connsiteX34285" fmla="*/ 5077469 w 6884782"/>
              <a:gd name="connsiteY34285" fmla="*/ 2365646 h 5973007"/>
              <a:gd name="connsiteX34286" fmla="*/ 5086646 w 6884782"/>
              <a:gd name="connsiteY34286" fmla="*/ 2367923 h 5973007"/>
              <a:gd name="connsiteX34287" fmla="*/ 5079176 w 6884782"/>
              <a:gd name="connsiteY34287" fmla="*/ 2398226 h 5973007"/>
              <a:gd name="connsiteX34288" fmla="*/ 5054420 w 6884782"/>
              <a:gd name="connsiteY34288" fmla="*/ 2385564 h 5973007"/>
              <a:gd name="connsiteX34289" fmla="*/ 5077469 w 6884782"/>
              <a:gd name="connsiteY34289" fmla="*/ 2365646 h 5973007"/>
              <a:gd name="connsiteX34290" fmla="*/ 5475924 w 6884782"/>
              <a:gd name="connsiteY34290" fmla="*/ 2365078 h 5973007"/>
              <a:gd name="connsiteX34291" fmla="*/ 5467174 w 6884782"/>
              <a:gd name="connsiteY34291" fmla="*/ 2378024 h 5973007"/>
              <a:gd name="connsiteX34292" fmla="*/ 5463759 w 6884782"/>
              <a:gd name="connsiteY34292" fmla="*/ 2371195 h 5973007"/>
              <a:gd name="connsiteX34293" fmla="*/ 5475924 w 6884782"/>
              <a:gd name="connsiteY34293" fmla="*/ 2365078 h 5973007"/>
              <a:gd name="connsiteX34294" fmla="*/ 5694679 w 6884782"/>
              <a:gd name="connsiteY34294" fmla="*/ 2364509 h 5973007"/>
              <a:gd name="connsiteX34295" fmla="*/ 5704070 w 6884782"/>
              <a:gd name="connsiteY34295" fmla="*/ 2369346 h 5973007"/>
              <a:gd name="connsiteX34296" fmla="*/ 5692118 w 6884782"/>
              <a:gd name="connsiteY34296" fmla="*/ 2366500 h 5973007"/>
              <a:gd name="connsiteX34297" fmla="*/ 5694679 w 6884782"/>
              <a:gd name="connsiteY34297" fmla="*/ 2364509 h 5973007"/>
              <a:gd name="connsiteX34298" fmla="*/ 958425 w 6884782"/>
              <a:gd name="connsiteY34298" fmla="*/ 2363585 h 5973007"/>
              <a:gd name="connsiteX34299" fmla="*/ 961419 w 6884782"/>
              <a:gd name="connsiteY34299" fmla="*/ 2376751 h 5973007"/>
              <a:gd name="connsiteX34300" fmla="*/ 955843 w 6884782"/>
              <a:gd name="connsiteY34300" fmla="*/ 2376751 h 5973007"/>
              <a:gd name="connsiteX34301" fmla="*/ 955430 w 6884782"/>
              <a:gd name="connsiteY34301" fmla="*/ 2371484 h 5973007"/>
              <a:gd name="connsiteX34302" fmla="*/ 952436 w 6884782"/>
              <a:gd name="connsiteY34302" fmla="*/ 2371639 h 5973007"/>
              <a:gd name="connsiteX34303" fmla="*/ 950474 w 6884782"/>
              <a:gd name="connsiteY34303" fmla="*/ 2370090 h 5973007"/>
              <a:gd name="connsiteX34304" fmla="*/ 953055 w 6884782"/>
              <a:gd name="connsiteY34304" fmla="*/ 2365599 h 5973007"/>
              <a:gd name="connsiteX34305" fmla="*/ 955327 w 6884782"/>
              <a:gd name="connsiteY34305" fmla="*/ 2367302 h 5973007"/>
              <a:gd name="connsiteX34306" fmla="*/ 955636 w 6884782"/>
              <a:gd name="connsiteY34306" fmla="*/ 2365599 h 5973007"/>
              <a:gd name="connsiteX34307" fmla="*/ 958425 w 6884782"/>
              <a:gd name="connsiteY34307" fmla="*/ 2363585 h 5973007"/>
              <a:gd name="connsiteX34308" fmla="*/ 6222040 w 6884782"/>
              <a:gd name="connsiteY34308" fmla="*/ 2363370 h 5973007"/>
              <a:gd name="connsiteX34309" fmla="*/ 6224174 w 6884782"/>
              <a:gd name="connsiteY34309" fmla="*/ 2364082 h 5973007"/>
              <a:gd name="connsiteX34310" fmla="*/ 6224814 w 6884782"/>
              <a:gd name="connsiteY34310" fmla="*/ 2366216 h 5973007"/>
              <a:gd name="connsiteX34311" fmla="*/ 6222893 w 6884782"/>
              <a:gd name="connsiteY34311" fmla="*/ 2368777 h 5973007"/>
              <a:gd name="connsiteX34312" fmla="*/ 6219692 w 6884782"/>
              <a:gd name="connsiteY34312" fmla="*/ 2364509 h 5973007"/>
              <a:gd name="connsiteX34313" fmla="*/ 6222040 w 6884782"/>
              <a:gd name="connsiteY34313" fmla="*/ 2363370 h 5973007"/>
              <a:gd name="connsiteX34314" fmla="*/ 1057628 w 6884782"/>
              <a:gd name="connsiteY34314" fmla="*/ 2362849 h 5973007"/>
              <a:gd name="connsiteX34315" fmla="*/ 1067773 w 6884782"/>
              <a:gd name="connsiteY34315" fmla="*/ 2369781 h 5973007"/>
              <a:gd name="connsiteX34316" fmla="*/ 1052491 w 6884782"/>
              <a:gd name="connsiteY34316" fmla="*/ 2385890 h 5973007"/>
              <a:gd name="connsiteX34317" fmla="*/ 1046708 w 6884782"/>
              <a:gd name="connsiteY34317" fmla="*/ 2385115 h 5973007"/>
              <a:gd name="connsiteX34318" fmla="*/ 1048670 w 6884782"/>
              <a:gd name="connsiteY34318" fmla="*/ 2387594 h 5973007"/>
              <a:gd name="connsiteX34319" fmla="*/ 1047431 w 6884782"/>
              <a:gd name="connsiteY34319" fmla="*/ 2394254 h 5973007"/>
              <a:gd name="connsiteX34320" fmla="*/ 1043817 w 6884782"/>
              <a:gd name="connsiteY34320" fmla="*/ 2396268 h 5973007"/>
              <a:gd name="connsiteX34321" fmla="*/ 1042682 w 6884782"/>
              <a:gd name="connsiteY34321" fmla="*/ 2395184 h 5973007"/>
              <a:gd name="connsiteX34322" fmla="*/ 1042475 w 6884782"/>
              <a:gd name="connsiteY34322" fmla="*/ 2395958 h 5973007"/>
              <a:gd name="connsiteX34323" fmla="*/ 1042682 w 6884782"/>
              <a:gd name="connsiteY34323" fmla="*/ 2397817 h 5973007"/>
              <a:gd name="connsiteX34324" fmla="*/ 1039481 w 6884782"/>
              <a:gd name="connsiteY34324" fmla="*/ 2402928 h 5973007"/>
              <a:gd name="connsiteX34325" fmla="*/ 1035454 w 6884782"/>
              <a:gd name="connsiteY34325" fmla="*/ 2386974 h 5973007"/>
              <a:gd name="connsiteX34326" fmla="*/ 1035970 w 6884782"/>
              <a:gd name="connsiteY34326" fmla="*/ 2385115 h 5973007"/>
              <a:gd name="connsiteX34327" fmla="*/ 1038035 w 6884782"/>
              <a:gd name="connsiteY34327" fmla="*/ 2384341 h 5973007"/>
              <a:gd name="connsiteX34328" fmla="*/ 1040410 w 6884782"/>
              <a:gd name="connsiteY34328" fmla="*/ 2386974 h 5973007"/>
              <a:gd name="connsiteX34329" fmla="*/ 1041236 w 6884782"/>
              <a:gd name="connsiteY34329" fmla="*/ 2384805 h 5973007"/>
              <a:gd name="connsiteX34330" fmla="*/ 1043404 w 6884782"/>
              <a:gd name="connsiteY34330" fmla="*/ 2383101 h 5973007"/>
              <a:gd name="connsiteX34331" fmla="*/ 1039790 w 6884782"/>
              <a:gd name="connsiteY34331" fmla="*/ 2379539 h 5973007"/>
              <a:gd name="connsiteX34332" fmla="*/ 1039067 w 6884782"/>
              <a:gd name="connsiteY34332" fmla="*/ 2373034 h 5973007"/>
              <a:gd name="connsiteX34333" fmla="*/ 1048258 w 6884782"/>
              <a:gd name="connsiteY34333" fmla="*/ 2363120 h 5973007"/>
              <a:gd name="connsiteX34334" fmla="*/ 1057628 w 6884782"/>
              <a:gd name="connsiteY34334" fmla="*/ 2362849 h 5973007"/>
              <a:gd name="connsiteX34335" fmla="*/ 938909 w 6884782"/>
              <a:gd name="connsiteY34335" fmla="*/ 2362345 h 5973007"/>
              <a:gd name="connsiteX34336" fmla="*/ 946240 w 6884782"/>
              <a:gd name="connsiteY34336" fmla="*/ 2363740 h 5973007"/>
              <a:gd name="connsiteX34337" fmla="*/ 942936 w 6884782"/>
              <a:gd name="connsiteY34337" fmla="*/ 2375977 h 5973007"/>
              <a:gd name="connsiteX34338" fmla="*/ 935502 w 6884782"/>
              <a:gd name="connsiteY34338" fmla="*/ 2369471 h 5973007"/>
              <a:gd name="connsiteX34339" fmla="*/ 938909 w 6884782"/>
              <a:gd name="connsiteY34339" fmla="*/ 2362345 h 5973007"/>
              <a:gd name="connsiteX34340" fmla="*/ 931061 w 6884782"/>
              <a:gd name="connsiteY34340" fmla="*/ 2361571 h 5973007"/>
              <a:gd name="connsiteX34341" fmla="*/ 932714 w 6884782"/>
              <a:gd name="connsiteY34341" fmla="*/ 2370555 h 5973007"/>
              <a:gd name="connsiteX34342" fmla="*/ 889965 w 6884782"/>
              <a:gd name="connsiteY34342" fmla="*/ 2382637 h 5973007"/>
              <a:gd name="connsiteX34343" fmla="*/ 931061 w 6884782"/>
              <a:gd name="connsiteY34343" fmla="*/ 2361571 h 5973007"/>
              <a:gd name="connsiteX34344" fmla="*/ 554899 w 6884782"/>
              <a:gd name="connsiteY34344" fmla="*/ 2361571 h 5973007"/>
              <a:gd name="connsiteX34345" fmla="*/ 559649 w 6884782"/>
              <a:gd name="connsiteY34345" fmla="*/ 2369316 h 5973007"/>
              <a:gd name="connsiteX34346" fmla="*/ 554176 w 6884782"/>
              <a:gd name="connsiteY34346" fmla="*/ 2364049 h 5973007"/>
              <a:gd name="connsiteX34347" fmla="*/ 554899 w 6884782"/>
              <a:gd name="connsiteY34347" fmla="*/ 2361571 h 5973007"/>
              <a:gd name="connsiteX34348" fmla="*/ 5443697 w 6884782"/>
              <a:gd name="connsiteY34348" fmla="*/ 2360952 h 5973007"/>
              <a:gd name="connsiteX34349" fmla="*/ 5446472 w 6884782"/>
              <a:gd name="connsiteY34349" fmla="*/ 2364793 h 5973007"/>
              <a:gd name="connsiteX34350" fmla="*/ 5439429 w 6884782"/>
              <a:gd name="connsiteY34350" fmla="*/ 2366642 h 5973007"/>
              <a:gd name="connsiteX34351" fmla="*/ 5443697 w 6884782"/>
              <a:gd name="connsiteY34351" fmla="*/ 2360952 h 5973007"/>
              <a:gd name="connsiteX34352" fmla="*/ 5270828 w 6884782"/>
              <a:gd name="connsiteY34352" fmla="*/ 2360667 h 5973007"/>
              <a:gd name="connsiteX34353" fmla="*/ 5274669 w 6884782"/>
              <a:gd name="connsiteY34353" fmla="*/ 2363797 h 5973007"/>
              <a:gd name="connsiteX34354" fmla="*/ 5268693 w 6884782"/>
              <a:gd name="connsiteY34354" fmla="*/ 2370483 h 5973007"/>
              <a:gd name="connsiteX34355" fmla="*/ 5264852 w 6884782"/>
              <a:gd name="connsiteY34355" fmla="*/ 2362944 h 5973007"/>
              <a:gd name="connsiteX34356" fmla="*/ 5270828 w 6884782"/>
              <a:gd name="connsiteY34356" fmla="*/ 2360667 h 5973007"/>
              <a:gd name="connsiteX34357" fmla="*/ 1081196 w 6884782"/>
              <a:gd name="connsiteY34357" fmla="*/ 2360177 h 5973007"/>
              <a:gd name="connsiteX34358" fmla="*/ 1081299 w 6884782"/>
              <a:gd name="connsiteY34358" fmla="*/ 2366992 h 5973007"/>
              <a:gd name="connsiteX34359" fmla="*/ 1081402 w 6884782"/>
              <a:gd name="connsiteY34359" fmla="*/ 2367922 h 5973007"/>
              <a:gd name="connsiteX34360" fmla="*/ 1082538 w 6884782"/>
              <a:gd name="connsiteY34360" fmla="*/ 2368541 h 5973007"/>
              <a:gd name="connsiteX34361" fmla="*/ 1085120 w 6884782"/>
              <a:gd name="connsiteY34361" fmla="*/ 2374737 h 5973007"/>
              <a:gd name="connsiteX34362" fmla="*/ 1082332 w 6884782"/>
              <a:gd name="connsiteY34362" fmla="*/ 2375512 h 5973007"/>
              <a:gd name="connsiteX34363" fmla="*/ 1082538 w 6884782"/>
              <a:gd name="connsiteY34363" fmla="*/ 2379694 h 5973007"/>
              <a:gd name="connsiteX34364" fmla="*/ 1081402 w 6884782"/>
              <a:gd name="connsiteY34364" fmla="*/ 2386974 h 5973007"/>
              <a:gd name="connsiteX34365" fmla="*/ 1081196 w 6884782"/>
              <a:gd name="connsiteY34365" fmla="*/ 2386665 h 5973007"/>
              <a:gd name="connsiteX34366" fmla="*/ 1080887 w 6884782"/>
              <a:gd name="connsiteY34366" fmla="*/ 2387439 h 5973007"/>
              <a:gd name="connsiteX34367" fmla="*/ 1078202 w 6884782"/>
              <a:gd name="connsiteY34367" fmla="*/ 2386974 h 5973007"/>
              <a:gd name="connsiteX34368" fmla="*/ 1078821 w 6884782"/>
              <a:gd name="connsiteY34368" fmla="*/ 2383721 h 5973007"/>
              <a:gd name="connsiteX34369" fmla="*/ 1076756 w 6884782"/>
              <a:gd name="connsiteY34369" fmla="*/ 2381243 h 5973007"/>
              <a:gd name="connsiteX34370" fmla="*/ 1076240 w 6884782"/>
              <a:gd name="connsiteY34370" fmla="*/ 2378455 h 5973007"/>
              <a:gd name="connsiteX34371" fmla="*/ 1075104 w 6884782"/>
              <a:gd name="connsiteY34371" fmla="*/ 2379229 h 5973007"/>
              <a:gd name="connsiteX34372" fmla="*/ 1069322 w 6884782"/>
              <a:gd name="connsiteY34372" fmla="*/ 2378455 h 5973007"/>
              <a:gd name="connsiteX34373" fmla="*/ 1069012 w 6884782"/>
              <a:gd name="connsiteY34373" fmla="*/ 2373963 h 5973007"/>
              <a:gd name="connsiteX34374" fmla="*/ 1069528 w 6884782"/>
              <a:gd name="connsiteY34374" fmla="*/ 2370555 h 5973007"/>
              <a:gd name="connsiteX34375" fmla="*/ 1075517 w 6884782"/>
              <a:gd name="connsiteY34375" fmla="*/ 2368387 h 5973007"/>
              <a:gd name="connsiteX34376" fmla="*/ 1076240 w 6884782"/>
              <a:gd name="connsiteY34376" fmla="*/ 2364514 h 5973007"/>
              <a:gd name="connsiteX34377" fmla="*/ 1081196 w 6884782"/>
              <a:gd name="connsiteY34377" fmla="*/ 2360177 h 5973007"/>
              <a:gd name="connsiteX34378" fmla="*/ 722484 w 6884782"/>
              <a:gd name="connsiteY34378" fmla="*/ 2359867 h 5973007"/>
              <a:gd name="connsiteX34379" fmla="*/ 721245 w 6884782"/>
              <a:gd name="connsiteY34379" fmla="*/ 2372259 h 5973007"/>
              <a:gd name="connsiteX34380" fmla="*/ 714946 w 6884782"/>
              <a:gd name="connsiteY34380" fmla="*/ 2366683 h 5973007"/>
              <a:gd name="connsiteX34381" fmla="*/ 717528 w 6884782"/>
              <a:gd name="connsiteY34381" fmla="*/ 2360332 h 5973007"/>
              <a:gd name="connsiteX34382" fmla="*/ 722484 w 6884782"/>
              <a:gd name="connsiteY34382" fmla="*/ 2359867 h 5973007"/>
              <a:gd name="connsiteX34383" fmla="*/ 6302926 w 6884782"/>
              <a:gd name="connsiteY34383" fmla="*/ 2359814 h 5973007"/>
              <a:gd name="connsiteX34384" fmla="*/ 6315304 w 6884782"/>
              <a:gd name="connsiteY34384" fmla="*/ 2370057 h 5973007"/>
              <a:gd name="connsiteX34385" fmla="*/ 6306340 w 6884782"/>
              <a:gd name="connsiteY34385" fmla="*/ 2377028 h 5973007"/>
              <a:gd name="connsiteX34386" fmla="*/ 6302926 w 6884782"/>
              <a:gd name="connsiteY34386" fmla="*/ 2359814 h 5973007"/>
              <a:gd name="connsiteX34387" fmla="*/ 1149345 w 6884782"/>
              <a:gd name="connsiteY34387" fmla="*/ 2359713 h 5973007"/>
              <a:gd name="connsiteX34388" fmla="*/ 1156160 w 6884782"/>
              <a:gd name="connsiteY34388" fmla="*/ 2362810 h 5973007"/>
              <a:gd name="connsiteX34389" fmla="*/ 1152443 w 6884782"/>
              <a:gd name="connsiteY34389" fmla="*/ 2367767 h 5973007"/>
              <a:gd name="connsiteX34390" fmla="*/ 1149655 w 6884782"/>
              <a:gd name="connsiteY34390" fmla="*/ 2368077 h 5973007"/>
              <a:gd name="connsiteX34391" fmla="*/ 1147383 w 6884782"/>
              <a:gd name="connsiteY34391" fmla="*/ 2366373 h 5973007"/>
              <a:gd name="connsiteX34392" fmla="*/ 1146764 w 6884782"/>
              <a:gd name="connsiteY34392" fmla="*/ 2364204 h 5973007"/>
              <a:gd name="connsiteX34393" fmla="*/ 1149345 w 6884782"/>
              <a:gd name="connsiteY34393" fmla="*/ 2359713 h 5973007"/>
              <a:gd name="connsiteX34394" fmla="*/ 1026057 w 6884782"/>
              <a:gd name="connsiteY34394" fmla="*/ 2357544 h 5973007"/>
              <a:gd name="connsiteX34395" fmla="*/ 1034215 w 6884782"/>
              <a:gd name="connsiteY34395" fmla="*/ 2358783 h 5973007"/>
              <a:gd name="connsiteX34396" fmla="*/ 1031427 w 6884782"/>
              <a:gd name="connsiteY34396" fmla="*/ 2369935 h 5973007"/>
              <a:gd name="connsiteX34397" fmla="*/ 1022030 w 6884782"/>
              <a:gd name="connsiteY34397" fmla="*/ 2363430 h 5973007"/>
              <a:gd name="connsiteX34398" fmla="*/ 1026057 w 6884782"/>
              <a:gd name="connsiteY34398" fmla="*/ 2357544 h 5973007"/>
              <a:gd name="connsiteX34399" fmla="*/ 5129757 w 6884782"/>
              <a:gd name="connsiteY34399" fmla="*/ 2357395 h 5973007"/>
              <a:gd name="connsiteX34400" fmla="*/ 5139574 w 6884782"/>
              <a:gd name="connsiteY34400" fmla="*/ 2358818 h 5973007"/>
              <a:gd name="connsiteX34401" fmla="*/ 5141922 w 6884782"/>
              <a:gd name="connsiteY34401" fmla="*/ 2362944 h 5973007"/>
              <a:gd name="connsiteX34402" fmla="*/ 5147257 w 6884782"/>
              <a:gd name="connsiteY34402" fmla="*/ 2365789 h 5973007"/>
              <a:gd name="connsiteX34403" fmla="*/ 5148965 w 6884782"/>
              <a:gd name="connsiteY34403" fmla="*/ 2374467 h 5973007"/>
              <a:gd name="connsiteX34404" fmla="*/ 5142135 w 6884782"/>
              <a:gd name="connsiteY34404" fmla="*/ 2377170 h 5973007"/>
              <a:gd name="connsiteX34405" fmla="*/ 5138721 w 6884782"/>
              <a:gd name="connsiteY34405" fmla="*/ 2376175 h 5973007"/>
              <a:gd name="connsiteX34406" fmla="*/ 5138294 w 6884782"/>
              <a:gd name="connsiteY34406" fmla="*/ 2376601 h 5973007"/>
              <a:gd name="connsiteX34407" fmla="*/ 5129330 w 6884782"/>
              <a:gd name="connsiteY34407" fmla="*/ 2376744 h 5973007"/>
              <a:gd name="connsiteX34408" fmla="*/ 5129757 w 6884782"/>
              <a:gd name="connsiteY34408" fmla="*/ 2357395 h 5973007"/>
              <a:gd name="connsiteX34409" fmla="*/ 1108146 w 6884782"/>
              <a:gd name="connsiteY34409" fmla="*/ 2356305 h 5973007"/>
              <a:gd name="connsiteX34410" fmla="*/ 1118988 w 6884782"/>
              <a:gd name="connsiteY34410" fmla="*/ 2364359 h 5973007"/>
              <a:gd name="connsiteX34411" fmla="*/ 1122189 w 6884782"/>
              <a:gd name="connsiteY34411" fmla="*/ 2369316 h 5973007"/>
              <a:gd name="connsiteX34412" fmla="*/ 1122189 w 6884782"/>
              <a:gd name="connsiteY34412" fmla="*/ 2366218 h 5973007"/>
              <a:gd name="connsiteX34413" fmla="*/ 1124770 w 6884782"/>
              <a:gd name="connsiteY34413" fmla="*/ 2360177 h 5973007"/>
              <a:gd name="connsiteX34414" fmla="*/ 1130862 w 6884782"/>
              <a:gd name="connsiteY34414" fmla="*/ 2374273 h 5973007"/>
              <a:gd name="connsiteX34415" fmla="*/ 1126526 w 6884782"/>
              <a:gd name="connsiteY34415" fmla="*/ 2374737 h 5973007"/>
              <a:gd name="connsiteX34416" fmla="*/ 1125183 w 6884782"/>
              <a:gd name="connsiteY34416" fmla="*/ 2374428 h 5973007"/>
              <a:gd name="connsiteX34417" fmla="*/ 1126732 w 6884782"/>
              <a:gd name="connsiteY34417" fmla="*/ 2381088 h 5973007"/>
              <a:gd name="connsiteX34418" fmla="*/ 1112690 w 6884782"/>
              <a:gd name="connsiteY34418" fmla="*/ 2372878 h 5973007"/>
              <a:gd name="connsiteX34419" fmla="*/ 1100402 w 6884782"/>
              <a:gd name="connsiteY34419" fmla="*/ 2384651 h 5973007"/>
              <a:gd name="connsiteX34420" fmla="*/ 1100092 w 6884782"/>
              <a:gd name="connsiteY34420" fmla="*/ 2380158 h 5973007"/>
              <a:gd name="connsiteX34421" fmla="*/ 1108146 w 6884782"/>
              <a:gd name="connsiteY34421" fmla="*/ 2366528 h 5973007"/>
              <a:gd name="connsiteX34422" fmla="*/ 1108146 w 6884782"/>
              <a:gd name="connsiteY34422" fmla="*/ 2356305 h 5973007"/>
              <a:gd name="connsiteX34423" fmla="*/ 5315219 w 6884782"/>
              <a:gd name="connsiteY34423" fmla="*/ 2355261 h 5973007"/>
              <a:gd name="connsiteX34424" fmla="*/ 5318207 w 6884782"/>
              <a:gd name="connsiteY34424" fmla="*/ 2355403 h 5973007"/>
              <a:gd name="connsiteX34425" fmla="*/ 5310950 w 6884782"/>
              <a:gd name="connsiteY34425" fmla="*/ 2359244 h 5973007"/>
              <a:gd name="connsiteX34426" fmla="*/ 5309670 w 6884782"/>
              <a:gd name="connsiteY34426" fmla="*/ 2362659 h 5973007"/>
              <a:gd name="connsiteX34427" fmla="*/ 5302627 w 6884782"/>
              <a:gd name="connsiteY34427" fmla="*/ 2364082 h 5973007"/>
              <a:gd name="connsiteX34428" fmla="*/ 5302841 w 6884782"/>
              <a:gd name="connsiteY34428" fmla="*/ 2358249 h 5973007"/>
              <a:gd name="connsiteX34429" fmla="*/ 5312231 w 6884782"/>
              <a:gd name="connsiteY34429" fmla="*/ 2356968 h 5973007"/>
              <a:gd name="connsiteX34430" fmla="*/ 5315219 w 6884782"/>
              <a:gd name="connsiteY34430" fmla="*/ 2355261 h 5973007"/>
              <a:gd name="connsiteX34431" fmla="*/ 5028596 w 6884782"/>
              <a:gd name="connsiteY34431" fmla="*/ 2354834 h 5973007"/>
              <a:gd name="connsiteX34432" fmla="*/ 5043109 w 6884782"/>
              <a:gd name="connsiteY34432" fmla="*/ 2365362 h 5973007"/>
              <a:gd name="connsiteX34433" fmla="*/ 5029450 w 6884782"/>
              <a:gd name="connsiteY34433" fmla="*/ 2378877 h 5973007"/>
              <a:gd name="connsiteX34434" fmla="*/ 5020700 w 6884782"/>
              <a:gd name="connsiteY34434" fmla="*/ 2368777 h 5973007"/>
              <a:gd name="connsiteX34435" fmla="*/ 5022407 w 6884782"/>
              <a:gd name="connsiteY34435" fmla="*/ 2355261 h 5973007"/>
              <a:gd name="connsiteX34436" fmla="*/ 5028596 w 6884782"/>
              <a:gd name="connsiteY34436" fmla="*/ 2354834 h 5973007"/>
              <a:gd name="connsiteX34437" fmla="*/ 5382873 w 6884782"/>
              <a:gd name="connsiteY34437" fmla="*/ 2353696 h 5973007"/>
              <a:gd name="connsiteX34438" fmla="*/ 5391837 w 6884782"/>
              <a:gd name="connsiteY34438" fmla="*/ 2355688 h 5973007"/>
              <a:gd name="connsiteX34439" fmla="*/ 5395465 w 6884782"/>
              <a:gd name="connsiteY34439" fmla="*/ 2359672 h 5973007"/>
              <a:gd name="connsiteX34440" fmla="*/ 5380098 w 6884782"/>
              <a:gd name="connsiteY34440" fmla="*/ 2386276 h 5973007"/>
              <a:gd name="connsiteX34441" fmla="*/ 5357049 w 6884782"/>
              <a:gd name="connsiteY34441" fmla="*/ 2374467 h 5973007"/>
              <a:gd name="connsiteX34442" fmla="*/ 5382873 w 6884782"/>
              <a:gd name="connsiteY34442" fmla="*/ 2353696 h 5973007"/>
              <a:gd name="connsiteX34443" fmla="*/ 1125493 w 6884782"/>
              <a:gd name="connsiteY34443" fmla="*/ 2352432 h 5973007"/>
              <a:gd name="connsiteX34444" fmla="*/ 1133754 w 6884782"/>
              <a:gd name="connsiteY34444" fmla="*/ 2354136 h 5973007"/>
              <a:gd name="connsiteX34445" fmla="*/ 1125493 w 6884782"/>
              <a:gd name="connsiteY34445" fmla="*/ 2352432 h 5973007"/>
              <a:gd name="connsiteX34446" fmla="*/ 5234760 w 6884782"/>
              <a:gd name="connsiteY34446" fmla="*/ 2352416 h 5973007"/>
              <a:gd name="connsiteX34447" fmla="*/ 5245858 w 6884782"/>
              <a:gd name="connsiteY34447" fmla="*/ 2359387 h 5973007"/>
              <a:gd name="connsiteX34448" fmla="*/ 5245004 w 6884782"/>
              <a:gd name="connsiteY34448" fmla="*/ 2363797 h 5973007"/>
              <a:gd name="connsiteX34449" fmla="*/ 5223021 w 6884782"/>
              <a:gd name="connsiteY34449" fmla="*/ 2363513 h 5973007"/>
              <a:gd name="connsiteX34450" fmla="*/ 5222381 w 6884782"/>
              <a:gd name="connsiteY34450" fmla="*/ 2359814 h 5973007"/>
              <a:gd name="connsiteX34451" fmla="*/ 5234760 w 6884782"/>
              <a:gd name="connsiteY34451" fmla="*/ 2352416 h 5973007"/>
              <a:gd name="connsiteX34452" fmla="*/ 640705 w 6884782"/>
              <a:gd name="connsiteY34452" fmla="*/ 2352277 h 5973007"/>
              <a:gd name="connsiteX34453" fmla="*/ 641634 w 6884782"/>
              <a:gd name="connsiteY34453" fmla="*/ 2352277 h 5973007"/>
              <a:gd name="connsiteX34454" fmla="*/ 642460 w 6884782"/>
              <a:gd name="connsiteY34454" fmla="*/ 2357389 h 5973007"/>
              <a:gd name="connsiteX34455" fmla="*/ 642357 w 6884782"/>
              <a:gd name="connsiteY34455" fmla="*/ 2361416 h 5973007"/>
              <a:gd name="connsiteX34456" fmla="*/ 638640 w 6884782"/>
              <a:gd name="connsiteY34456" fmla="*/ 2374428 h 5973007"/>
              <a:gd name="connsiteX34457" fmla="*/ 637711 w 6884782"/>
              <a:gd name="connsiteY34457" fmla="*/ 2368541 h 5973007"/>
              <a:gd name="connsiteX34458" fmla="*/ 638020 w 6884782"/>
              <a:gd name="connsiteY34458" fmla="*/ 2355220 h 5973007"/>
              <a:gd name="connsiteX34459" fmla="*/ 639879 w 6884782"/>
              <a:gd name="connsiteY34459" fmla="*/ 2353826 h 5973007"/>
              <a:gd name="connsiteX34460" fmla="*/ 639879 w 6884782"/>
              <a:gd name="connsiteY34460" fmla="*/ 2353052 h 5973007"/>
              <a:gd name="connsiteX34461" fmla="*/ 640705 w 6884782"/>
              <a:gd name="connsiteY34461" fmla="*/ 2352277 h 5973007"/>
              <a:gd name="connsiteX34462" fmla="*/ 973500 w 6884782"/>
              <a:gd name="connsiteY34462" fmla="*/ 2351503 h 5973007"/>
              <a:gd name="connsiteX34463" fmla="*/ 971538 w 6884782"/>
              <a:gd name="connsiteY34463" fmla="*/ 2359557 h 5973007"/>
              <a:gd name="connsiteX34464" fmla="*/ 971848 w 6884782"/>
              <a:gd name="connsiteY34464" fmla="*/ 2364204 h 5973007"/>
              <a:gd name="connsiteX34465" fmla="*/ 971848 w 6884782"/>
              <a:gd name="connsiteY34465" fmla="*/ 2364049 h 5973007"/>
              <a:gd name="connsiteX34466" fmla="*/ 972364 w 6884782"/>
              <a:gd name="connsiteY34466" fmla="*/ 2371484 h 5973007"/>
              <a:gd name="connsiteX34467" fmla="*/ 972158 w 6884782"/>
              <a:gd name="connsiteY34467" fmla="*/ 2375822 h 5973007"/>
              <a:gd name="connsiteX34468" fmla="*/ 971951 w 6884782"/>
              <a:gd name="connsiteY34468" fmla="*/ 2375977 h 5973007"/>
              <a:gd name="connsiteX34469" fmla="*/ 971641 w 6884782"/>
              <a:gd name="connsiteY34469" fmla="*/ 2376286 h 5973007"/>
              <a:gd name="connsiteX34470" fmla="*/ 968544 w 6884782"/>
              <a:gd name="connsiteY34470" fmla="*/ 2383566 h 5973007"/>
              <a:gd name="connsiteX34471" fmla="*/ 963691 w 6884782"/>
              <a:gd name="connsiteY34471" fmla="*/ 2366528 h 5973007"/>
              <a:gd name="connsiteX34472" fmla="*/ 973500 w 6884782"/>
              <a:gd name="connsiteY34472" fmla="*/ 2351503 h 5973007"/>
              <a:gd name="connsiteX34473" fmla="*/ 5471869 w 6884782"/>
              <a:gd name="connsiteY34473" fmla="*/ 2350993 h 5973007"/>
              <a:gd name="connsiteX34474" fmla="*/ 5471656 w 6884782"/>
              <a:gd name="connsiteY34474" fmla="*/ 2354977 h 5973007"/>
              <a:gd name="connsiteX34475" fmla="*/ 5466747 w 6884782"/>
              <a:gd name="connsiteY34475" fmla="*/ 2355546 h 5973007"/>
              <a:gd name="connsiteX34476" fmla="*/ 5465893 w 6884782"/>
              <a:gd name="connsiteY34476" fmla="*/ 2351988 h 5973007"/>
              <a:gd name="connsiteX34477" fmla="*/ 5471869 w 6884782"/>
              <a:gd name="connsiteY34477" fmla="*/ 2350993 h 5973007"/>
              <a:gd name="connsiteX34478" fmla="*/ 1050013 w 6884782"/>
              <a:gd name="connsiteY34478" fmla="*/ 2350419 h 5973007"/>
              <a:gd name="connsiteX34479" fmla="*/ 1053110 w 6884782"/>
              <a:gd name="connsiteY34479" fmla="*/ 2350728 h 5973007"/>
              <a:gd name="connsiteX34480" fmla="*/ 1054556 w 6884782"/>
              <a:gd name="connsiteY34480" fmla="*/ 2353362 h 5973007"/>
              <a:gd name="connsiteX34481" fmla="*/ 1053627 w 6884782"/>
              <a:gd name="connsiteY34481" fmla="*/ 2356614 h 5973007"/>
              <a:gd name="connsiteX34482" fmla="*/ 1046605 w 6884782"/>
              <a:gd name="connsiteY34482" fmla="*/ 2353981 h 5973007"/>
              <a:gd name="connsiteX34483" fmla="*/ 1050013 w 6884782"/>
              <a:gd name="connsiteY34483" fmla="*/ 2350419 h 5973007"/>
              <a:gd name="connsiteX34484" fmla="*/ 882531 w 6884782"/>
              <a:gd name="connsiteY34484" fmla="*/ 2350264 h 5973007"/>
              <a:gd name="connsiteX34485" fmla="*/ 883873 w 6884782"/>
              <a:gd name="connsiteY34485" fmla="*/ 2351968 h 5973007"/>
              <a:gd name="connsiteX34486" fmla="*/ 884596 w 6884782"/>
              <a:gd name="connsiteY34486" fmla="*/ 2351812 h 5973007"/>
              <a:gd name="connsiteX34487" fmla="*/ 887384 w 6884782"/>
              <a:gd name="connsiteY34487" fmla="*/ 2351968 h 5973007"/>
              <a:gd name="connsiteX34488" fmla="*/ 887694 w 6884782"/>
              <a:gd name="connsiteY34488" fmla="*/ 2351812 h 5973007"/>
              <a:gd name="connsiteX34489" fmla="*/ 896264 w 6884782"/>
              <a:gd name="connsiteY34489" fmla="*/ 2351503 h 5973007"/>
              <a:gd name="connsiteX34490" fmla="*/ 898536 w 6884782"/>
              <a:gd name="connsiteY34490" fmla="*/ 2360642 h 5973007"/>
              <a:gd name="connsiteX34491" fmla="*/ 895748 w 6884782"/>
              <a:gd name="connsiteY34491" fmla="*/ 2364979 h 5973007"/>
              <a:gd name="connsiteX34492" fmla="*/ 893373 w 6884782"/>
              <a:gd name="connsiteY34492" fmla="*/ 2365444 h 5973007"/>
              <a:gd name="connsiteX34493" fmla="*/ 891515 w 6884782"/>
              <a:gd name="connsiteY34493" fmla="*/ 2370245 h 5973007"/>
              <a:gd name="connsiteX34494" fmla="*/ 886352 w 6884782"/>
              <a:gd name="connsiteY34494" fmla="*/ 2372724 h 5973007"/>
              <a:gd name="connsiteX34495" fmla="*/ 885319 w 6884782"/>
              <a:gd name="connsiteY34495" fmla="*/ 2370400 h 5973007"/>
              <a:gd name="connsiteX34496" fmla="*/ 887488 w 6884782"/>
              <a:gd name="connsiteY34496" fmla="*/ 2365444 h 5973007"/>
              <a:gd name="connsiteX34497" fmla="*/ 885319 w 6884782"/>
              <a:gd name="connsiteY34497" fmla="*/ 2364514 h 5973007"/>
              <a:gd name="connsiteX34498" fmla="*/ 883151 w 6884782"/>
              <a:gd name="connsiteY34498" fmla="*/ 2361416 h 5973007"/>
              <a:gd name="connsiteX34499" fmla="*/ 883151 w 6884782"/>
              <a:gd name="connsiteY34499" fmla="*/ 2360332 h 5973007"/>
              <a:gd name="connsiteX34500" fmla="*/ 882221 w 6884782"/>
              <a:gd name="connsiteY34500" fmla="*/ 2360487 h 5973007"/>
              <a:gd name="connsiteX34501" fmla="*/ 880776 w 6884782"/>
              <a:gd name="connsiteY34501" fmla="*/ 2357854 h 5973007"/>
              <a:gd name="connsiteX34502" fmla="*/ 879227 w 6884782"/>
              <a:gd name="connsiteY34502" fmla="*/ 2356924 h 5973007"/>
              <a:gd name="connsiteX34503" fmla="*/ 878917 w 6884782"/>
              <a:gd name="connsiteY34503" fmla="*/ 2354136 h 5973007"/>
              <a:gd name="connsiteX34504" fmla="*/ 880982 w 6884782"/>
              <a:gd name="connsiteY34504" fmla="*/ 2352897 h 5973007"/>
              <a:gd name="connsiteX34505" fmla="*/ 881499 w 6884782"/>
              <a:gd name="connsiteY34505" fmla="*/ 2352742 h 5973007"/>
              <a:gd name="connsiteX34506" fmla="*/ 880776 w 6884782"/>
              <a:gd name="connsiteY34506" fmla="*/ 2351193 h 5973007"/>
              <a:gd name="connsiteX34507" fmla="*/ 882531 w 6884782"/>
              <a:gd name="connsiteY34507" fmla="*/ 2350264 h 5973007"/>
              <a:gd name="connsiteX34508" fmla="*/ 898123 w 6884782"/>
              <a:gd name="connsiteY34508" fmla="*/ 2349644 h 5973007"/>
              <a:gd name="connsiteX34509" fmla="*/ 905248 w 6884782"/>
              <a:gd name="connsiteY34509" fmla="*/ 2352123 h 5973007"/>
              <a:gd name="connsiteX34510" fmla="*/ 909068 w 6884782"/>
              <a:gd name="connsiteY34510" fmla="*/ 2353826 h 5973007"/>
              <a:gd name="connsiteX34511" fmla="*/ 909688 w 6884782"/>
              <a:gd name="connsiteY34511" fmla="*/ 2355995 h 5973007"/>
              <a:gd name="connsiteX34512" fmla="*/ 909275 w 6884782"/>
              <a:gd name="connsiteY34512" fmla="*/ 2356770 h 5973007"/>
              <a:gd name="connsiteX34513" fmla="*/ 907313 w 6884782"/>
              <a:gd name="connsiteY34513" fmla="*/ 2356614 h 5973007"/>
              <a:gd name="connsiteX34514" fmla="*/ 900291 w 6884782"/>
              <a:gd name="connsiteY34514" fmla="*/ 2352587 h 5973007"/>
              <a:gd name="connsiteX34515" fmla="*/ 898742 w 6884782"/>
              <a:gd name="connsiteY34515" fmla="*/ 2351812 h 5973007"/>
              <a:gd name="connsiteX34516" fmla="*/ 898123 w 6884782"/>
              <a:gd name="connsiteY34516" fmla="*/ 2349644 h 5973007"/>
              <a:gd name="connsiteX34517" fmla="*/ 1088114 w 6884782"/>
              <a:gd name="connsiteY34517" fmla="*/ 2349489 h 5973007"/>
              <a:gd name="connsiteX34518" fmla="*/ 1091315 w 6884782"/>
              <a:gd name="connsiteY34518" fmla="*/ 2354911 h 5973007"/>
              <a:gd name="connsiteX34519" fmla="*/ 1084500 w 6884782"/>
              <a:gd name="connsiteY34519" fmla="*/ 2353981 h 5973007"/>
              <a:gd name="connsiteX34520" fmla="*/ 1088114 w 6884782"/>
              <a:gd name="connsiteY34520" fmla="*/ 2349489 h 5973007"/>
              <a:gd name="connsiteX34521" fmla="*/ 6222040 w 6884782"/>
              <a:gd name="connsiteY34521" fmla="*/ 2348432 h 5973007"/>
              <a:gd name="connsiteX34522" fmla="*/ 6225027 w 6884782"/>
              <a:gd name="connsiteY34522" fmla="*/ 2349855 h 5973007"/>
              <a:gd name="connsiteX34523" fmla="*/ 6226095 w 6884782"/>
              <a:gd name="connsiteY34523" fmla="*/ 2352416 h 5973007"/>
              <a:gd name="connsiteX34524" fmla="*/ 6216704 w 6884782"/>
              <a:gd name="connsiteY34524" fmla="*/ 2353269 h 5973007"/>
              <a:gd name="connsiteX34525" fmla="*/ 6215850 w 6884782"/>
              <a:gd name="connsiteY34525" fmla="*/ 2350708 h 5973007"/>
              <a:gd name="connsiteX34526" fmla="*/ 6218198 w 6884782"/>
              <a:gd name="connsiteY34526" fmla="*/ 2348716 h 5973007"/>
              <a:gd name="connsiteX34527" fmla="*/ 6222040 w 6884782"/>
              <a:gd name="connsiteY34527" fmla="*/ 2348432 h 5973007"/>
              <a:gd name="connsiteX34528" fmla="*/ 5481260 w 6884782"/>
              <a:gd name="connsiteY34528" fmla="*/ 2347863 h 5973007"/>
              <a:gd name="connsiteX34529" fmla="*/ 5484460 w 6884782"/>
              <a:gd name="connsiteY34529" fmla="*/ 2348859 h 5973007"/>
              <a:gd name="connsiteX34530" fmla="*/ 5483180 w 6884782"/>
              <a:gd name="connsiteY34530" fmla="*/ 2351704 h 5973007"/>
              <a:gd name="connsiteX34531" fmla="*/ 5479125 w 6884782"/>
              <a:gd name="connsiteY34531" fmla="*/ 2351988 h 5973007"/>
              <a:gd name="connsiteX34532" fmla="*/ 5478912 w 6884782"/>
              <a:gd name="connsiteY34532" fmla="*/ 2350993 h 5973007"/>
              <a:gd name="connsiteX34533" fmla="*/ 5481260 w 6884782"/>
              <a:gd name="connsiteY34533" fmla="*/ 2347863 h 5973007"/>
              <a:gd name="connsiteX34534" fmla="*/ 849593 w 6884782"/>
              <a:gd name="connsiteY34534" fmla="*/ 2346391 h 5973007"/>
              <a:gd name="connsiteX34535" fmla="*/ 854755 w 6884782"/>
              <a:gd name="connsiteY34535" fmla="*/ 2350883 h 5973007"/>
              <a:gd name="connsiteX34536" fmla="*/ 843913 w 6884782"/>
              <a:gd name="connsiteY34536" fmla="*/ 2359557 h 5973007"/>
              <a:gd name="connsiteX34537" fmla="*/ 841229 w 6884782"/>
              <a:gd name="connsiteY34537" fmla="*/ 2355220 h 5973007"/>
              <a:gd name="connsiteX34538" fmla="*/ 849593 w 6884782"/>
              <a:gd name="connsiteY34538" fmla="*/ 2346391 h 5973007"/>
              <a:gd name="connsiteX34539" fmla="*/ 5733735 w 6884782"/>
              <a:gd name="connsiteY34539" fmla="*/ 2346298 h 5973007"/>
              <a:gd name="connsiteX34540" fmla="*/ 5738217 w 6884782"/>
              <a:gd name="connsiteY34540" fmla="*/ 2348432 h 5973007"/>
              <a:gd name="connsiteX34541" fmla="*/ 5739924 w 6884782"/>
              <a:gd name="connsiteY34541" fmla="*/ 2352985 h 5973007"/>
              <a:gd name="connsiteX34542" fmla="*/ 5736936 w 6884782"/>
              <a:gd name="connsiteY34542" fmla="*/ 2353411 h 5973007"/>
              <a:gd name="connsiteX34543" fmla="*/ 5735869 w 6884782"/>
              <a:gd name="connsiteY34543" fmla="*/ 2356257 h 5973007"/>
              <a:gd name="connsiteX34544" fmla="*/ 5734802 w 6884782"/>
              <a:gd name="connsiteY34544" fmla="*/ 2356115 h 5973007"/>
              <a:gd name="connsiteX34545" fmla="*/ 5733522 w 6884782"/>
              <a:gd name="connsiteY34545" fmla="*/ 2353980 h 5973007"/>
              <a:gd name="connsiteX34546" fmla="*/ 5733095 w 6884782"/>
              <a:gd name="connsiteY34546" fmla="*/ 2354123 h 5973007"/>
              <a:gd name="connsiteX34547" fmla="*/ 5728826 w 6884782"/>
              <a:gd name="connsiteY34547" fmla="*/ 2350282 h 5973007"/>
              <a:gd name="connsiteX34548" fmla="*/ 5733735 w 6884782"/>
              <a:gd name="connsiteY34548" fmla="*/ 2346298 h 5973007"/>
              <a:gd name="connsiteX34549" fmla="*/ 5370922 w 6884782"/>
              <a:gd name="connsiteY34549" fmla="*/ 2345729 h 5973007"/>
              <a:gd name="connsiteX34550" fmla="*/ 5378391 w 6884782"/>
              <a:gd name="connsiteY34550" fmla="*/ 2347863 h 5973007"/>
              <a:gd name="connsiteX34551" fmla="*/ 5371562 w 6884782"/>
              <a:gd name="connsiteY34551" fmla="*/ 2355546 h 5973007"/>
              <a:gd name="connsiteX34552" fmla="*/ 5363238 w 6884782"/>
              <a:gd name="connsiteY34552" fmla="*/ 2348859 h 5973007"/>
              <a:gd name="connsiteX34553" fmla="*/ 5370922 w 6884782"/>
              <a:gd name="connsiteY34553" fmla="*/ 2345729 h 5973007"/>
              <a:gd name="connsiteX34554" fmla="*/ 977217 w 6884782"/>
              <a:gd name="connsiteY34554" fmla="*/ 2344997 h 5973007"/>
              <a:gd name="connsiteX34555" fmla="*/ 981657 w 6884782"/>
              <a:gd name="connsiteY34555" fmla="*/ 2346081 h 5973007"/>
              <a:gd name="connsiteX34556" fmla="*/ 981451 w 6884782"/>
              <a:gd name="connsiteY34556" fmla="*/ 2347940 h 5973007"/>
              <a:gd name="connsiteX34557" fmla="*/ 979386 w 6884782"/>
              <a:gd name="connsiteY34557" fmla="*/ 2349954 h 5973007"/>
              <a:gd name="connsiteX34558" fmla="*/ 975771 w 6884782"/>
              <a:gd name="connsiteY34558" fmla="*/ 2349334 h 5973007"/>
              <a:gd name="connsiteX34559" fmla="*/ 975978 w 6884782"/>
              <a:gd name="connsiteY34559" fmla="*/ 2347476 h 5973007"/>
              <a:gd name="connsiteX34560" fmla="*/ 977217 w 6884782"/>
              <a:gd name="connsiteY34560" fmla="*/ 2344997 h 5973007"/>
              <a:gd name="connsiteX34561" fmla="*/ 4905453 w 6884782"/>
              <a:gd name="connsiteY34561" fmla="*/ 2344591 h 5973007"/>
              <a:gd name="connsiteX34562" fmla="*/ 4939600 w 6884782"/>
              <a:gd name="connsiteY34562" fmla="*/ 2390686 h 5973007"/>
              <a:gd name="connsiteX34563" fmla="*/ 4905453 w 6884782"/>
              <a:gd name="connsiteY34563" fmla="*/ 2344591 h 5973007"/>
              <a:gd name="connsiteX34564" fmla="*/ 1204187 w 6884782"/>
              <a:gd name="connsiteY34564" fmla="*/ 2341396 h 5973007"/>
              <a:gd name="connsiteX34565" fmla="*/ 1207892 w 6884782"/>
              <a:gd name="connsiteY34565" fmla="*/ 2344068 h 5973007"/>
              <a:gd name="connsiteX34566" fmla="*/ 1199941 w 6884782"/>
              <a:gd name="connsiteY34566" fmla="*/ 2344068 h 5973007"/>
              <a:gd name="connsiteX34567" fmla="*/ 1204187 w 6884782"/>
              <a:gd name="connsiteY34567" fmla="*/ 2341396 h 5973007"/>
              <a:gd name="connsiteX34568" fmla="*/ 5498333 w 6884782"/>
              <a:gd name="connsiteY34568" fmla="*/ 2339612 h 5973007"/>
              <a:gd name="connsiteX34569" fmla="*/ 5503669 w 6884782"/>
              <a:gd name="connsiteY34569" fmla="*/ 2340322 h 5973007"/>
              <a:gd name="connsiteX34570" fmla="*/ 5493851 w 6884782"/>
              <a:gd name="connsiteY34570" fmla="*/ 2344022 h 5973007"/>
              <a:gd name="connsiteX34571" fmla="*/ 5498333 w 6884782"/>
              <a:gd name="connsiteY34571" fmla="*/ 2339612 h 5973007"/>
              <a:gd name="connsiteX34572" fmla="*/ 1032666 w 6884782"/>
              <a:gd name="connsiteY34572" fmla="*/ 2337562 h 5973007"/>
              <a:gd name="connsiteX34573" fmla="*/ 1033079 w 6884782"/>
              <a:gd name="connsiteY34573" fmla="*/ 2340195 h 5973007"/>
              <a:gd name="connsiteX34574" fmla="*/ 1028949 w 6884782"/>
              <a:gd name="connsiteY34574" fmla="*/ 2339111 h 5973007"/>
              <a:gd name="connsiteX34575" fmla="*/ 1032666 w 6884782"/>
              <a:gd name="connsiteY34575" fmla="*/ 2337562 h 5973007"/>
              <a:gd name="connsiteX34576" fmla="*/ 5199972 w 6884782"/>
              <a:gd name="connsiteY34576" fmla="*/ 2337477 h 5973007"/>
              <a:gd name="connsiteX34577" fmla="*/ 5203600 w 6884782"/>
              <a:gd name="connsiteY34577" fmla="*/ 2337477 h 5973007"/>
              <a:gd name="connsiteX34578" fmla="*/ 5215765 w 6884782"/>
              <a:gd name="connsiteY34578" fmla="*/ 2346298 h 5973007"/>
              <a:gd name="connsiteX34579" fmla="*/ 5212350 w 6884782"/>
              <a:gd name="connsiteY34579" fmla="*/ 2346298 h 5973007"/>
              <a:gd name="connsiteX34580" fmla="*/ 5199972 w 6884782"/>
              <a:gd name="connsiteY34580" fmla="*/ 2337477 h 5973007"/>
              <a:gd name="connsiteX34581" fmla="*/ 1105152 w 6884782"/>
              <a:gd name="connsiteY34581" fmla="*/ 2336323 h 5973007"/>
              <a:gd name="connsiteX34582" fmla="*/ 1111140 w 6884782"/>
              <a:gd name="connsiteY34582" fmla="*/ 2336323 h 5973007"/>
              <a:gd name="connsiteX34583" fmla="*/ 1119607 w 6884782"/>
              <a:gd name="connsiteY34583" fmla="*/ 2349644 h 5973007"/>
              <a:gd name="connsiteX34584" fmla="*/ 1118781 w 6884782"/>
              <a:gd name="connsiteY34584" fmla="*/ 2351812 h 5973007"/>
              <a:gd name="connsiteX34585" fmla="*/ 1118781 w 6884782"/>
              <a:gd name="connsiteY34585" fmla="*/ 2355530 h 5973007"/>
              <a:gd name="connsiteX34586" fmla="*/ 1107424 w 6884782"/>
              <a:gd name="connsiteY34586" fmla="*/ 2355220 h 5973007"/>
              <a:gd name="connsiteX34587" fmla="*/ 1098336 w 6884782"/>
              <a:gd name="connsiteY34587" fmla="*/ 2346391 h 5973007"/>
              <a:gd name="connsiteX34588" fmla="*/ 1098543 w 6884782"/>
              <a:gd name="connsiteY34588" fmla="*/ 2342984 h 5973007"/>
              <a:gd name="connsiteX34589" fmla="*/ 1105152 w 6884782"/>
              <a:gd name="connsiteY34589" fmla="*/ 2336323 h 5973007"/>
              <a:gd name="connsiteX34590" fmla="*/ 4993808 w 6884782"/>
              <a:gd name="connsiteY34590" fmla="*/ 2333778 h 5973007"/>
              <a:gd name="connsiteX34591" fmla="*/ 4996156 w 6884782"/>
              <a:gd name="connsiteY34591" fmla="*/ 2335343 h 5973007"/>
              <a:gd name="connsiteX34592" fmla="*/ 4996583 w 6884782"/>
              <a:gd name="connsiteY34592" fmla="*/ 2338758 h 5973007"/>
              <a:gd name="connsiteX34593" fmla="*/ 4992741 w 6884782"/>
              <a:gd name="connsiteY34593" fmla="*/ 2349286 h 5973007"/>
              <a:gd name="connsiteX34594" fmla="*/ 4991461 w 6884782"/>
              <a:gd name="connsiteY34594" fmla="*/ 2351562 h 5973007"/>
              <a:gd name="connsiteX34595" fmla="*/ 4990180 w 6884782"/>
              <a:gd name="connsiteY34595" fmla="*/ 2353696 h 5973007"/>
              <a:gd name="connsiteX34596" fmla="*/ 4985485 w 6884782"/>
              <a:gd name="connsiteY34596" fmla="*/ 2354123 h 5973007"/>
              <a:gd name="connsiteX34597" fmla="*/ 4993808 w 6884782"/>
              <a:gd name="connsiteY34597" fmla="*/ 2333778 h 5973007"/>
              <a:gd name="connsiteX34598" fmla="*/ 854032 w 6884782"/>
              <a:gd name="connsiteY34598" fmla="*/ 2332296 h 5973007"/>
              <a:gd name="connsiteX34599" fmla="*/ 851967 w 6884782"/>
              <a:gd name="connsiteY34599" fmla="*/ 2341899 h 5973007"/>
              <a:gd name="connsiteX34600" fmla="*/ 844223 w 6884782"/>
              <a:gd name="connsiteY34600" fmla="*/ 2339731 h 5973007"/>
              <a:gd name="connsiteX34601" fmla="*/ 844430 w 6884782"/>
              <a:gd name="connsiteY34601" fmla="*/ 2336788 h 5973007"/>
              <a:gd name="connsiteX34602" fmla="*/ 843397 w 6884782"/>
              <a:gd name="connsiteY34602" fmla="*/ 2338492 h 5973007"/>
              <a:gd name="connsiteX34603" fmla="*/ 839370 w 6884782"/>
              <a:gd name="connsiteY34603" fmla="*/ 2340505 h 5973007"/>
              <a:gd name="connsiteX34604" fmla="*/ 841848 w 6884782"/>
              <a:gd name="connsiteY34604" fmla="*/ 2335394 h 5973007"/>
              <a:gd name="connsiteX34605" fmla="*/ 844636 w 6884782"/>
              <a:gd name="connsiteY34605" fmla="*/ 2334309 h 5973007"/>
              <a:gd name="connsiteX34606" fmla="*/ 844739 w 6884782"/>
              <a:gd name="connsiteY34606" fmla="*/ 2333070 h 5973007"/>
              <a:gd name="connsiteX34607" fmla="*/ 854032 w 6884782"/>
              <a:gd name="connsiteY34607" fmla="*/ 2332296 h 5973007"/>
              <a:gd name="connsiteX34608" fmla="*/ 882325 w 6884782"/>
              <a:gd name="connsiteY34608" fmla="*/ 2332141 h 5973007"/>
              <a:gd name="connsiteX34609" fmla="*/ 877885 w 6884782"/>
              <a:gd name="connsiteY34609" fmla="*/ 2344378 h 5973007"/>
              <a:gd name="connsiteX34610" fmla="*/ 877471 w 6884782"/>
              <a:gd name="connsiteY34610" fmla="*/ 2341899 h 5973007"/>
              <a:gd name="connsiteX34611" fmla="*/ 882325 w 6884782"/>
              <a:gd name="connsiteY34611" fmla="*/ 2332141 h 5973007"/>
              <a:gd name="connsiteX34612" fmla="*/ 1020688 w 6884782"/>
              <a:gd name="connsiteY34612" fmla="*/ 2330127 h 5973007"/>
              <a:gd name="connsiteX34613" fmla="*/ 1020069 w 6884782"/>
              <a:gd name="connsiteY34613" fmla="*/ 2332451 h 5973007"/>
              <a:gd name="connsiteX34614" fmla="*/ 1020998 w 6884782"/>
              <a:gd name="connsiteY34614" fmla="*/ 2334000 h 5973007"/>
              <a:gd name="connsiteX34615" fmla="*/ 1019139 w 6884782"/>
              <a:gd name="connsiteY34615" fmla="*/ 2336168 h 5973007"/>
              <a:gd name="connsiteX34616" fmla="*/ 1020688 w 6884782"/>
              <a:gd name="connsiteY34616" fmla="*/ 2330127 h 5973007"/>
              <a:gd name="connsiteX34617" fmla="*/ 967821 w 6884782"/>
              <a:gd name="connsiteY34617" fmla="*/ 2329662 h 5973007"/>
              <a:gd name="connsiteX34618" fmla="*/ 976804 w 6884782"/>
              <a:gd name="connsiteY34618" fmla="*/ 2332451 h 5973007"/>
              <a:gd name="connsiteX34619" fmla="*/ 975978 w 6884782"/>
              <a:gd name="connsiteY34619" fmla="*/ 2334929 h 5973007"/>
              <a:gd name="connsiteX34620" fmla="*/ 976804 w 6884782"/>
              <a:gd name="connsiteY34620" fmla="*/ 2337872 h 5973007"/>
              <a:gd name="connsiteX34621" fmla="*/ 971641 w 6884782"/>
              <a:gd name="connsiteY34621" fmla="*/ 2342519 h 5973007"/>
              <a:gd name="connsiteX34622" fmla="*/ 969266 w 6884782"/>
              <a:gd name="connsiteY34622" fmla="*/ 2340350 h 5973007"/>
              <a:gd name="connsiteX34623" fmla="*/ 969163 w 6884782"/>
              <a:gd name="connsiteY34623" fmla="*/ 2340195 h 5973007"/>
              <a:gd name="connsiteX34624" fmla="*/ 968647 w 6884782"/>
              <a:gd name="connsiteY34624" fmla="*/ 2340350 h 5973007"/>
              <a:gd name="connsiteX34625" fmla="*/ 966582 w 6884782"/>
              <a:gd name="connsiteY34625" fmla="*/ 2335084 h 5973007"/>
              <a:gd name="connsiteX34626" fmla="*/ 967821 w 6884782"/>
              <a:gd name="connsiteY34626" fmla="*/ 2329662 h 5973007"/>
              <a:gd name="connsiteX34627" fmla="*/ 5735015 w 6884782"/>
              <a:gd name="connsiteY34627" fmla="*/ 2329226 h 5973007"/>
              <a:gd name="connsiteX34628" fmla="*/ 5736296 w 6884782"/>
              <a:gd name="connsiteY34628" fmla="*/ 2334063 h 5973007"/>
              <a:gd name="connsiteX34629" fmla="*/ 5735229 w 6884782"/>
              <a:gd name="connsiteY34629" fmla="*/ 2337477 h 5973007"/>
              <a:gd name="connsiteX34630" fmla="*/ 5743126 w 6884782"/>
              <a:gd name="connsiteY34630" fmla="*/ 2339042 h 5973007"/>
              <a:gd name="connsiteX34631" fmla="*/ 5749742 w 6884782"/>
              <a:gd name="connsiteY34631" fmla="*/ 2341603 h 5973007"/>
              <a:gd name="connsiteX34632" fmla="*/ 5749955 w 6884782"/>
              <a:gd name="connsiteY34632" fmla="*/ 2347009 h 5973007"/>
              <a:gd name="connsiteX34633" fmla="*/ 5733308 w 6884782"/>
              <a:gd name="connsiteY34633" fmla="*/ 2337051 h 5973007"/>
              <a:gd name="connsiteX34634" fmla="*/ 5732028 w 6884782"/>
              <a:gd name="connsiteY34634" fmla="*/ 2333778 h 5973007"/>
              <a:gd name="connsiteX34635" fmla="*/ 5735015 w 6884782"/>
              <a:gd name="connsiteY34635" fmla="*/ 2329226 h 5973007"/>
              <a:gd name="connsiteX34636" fmla="*/ 5310737 w 6884782"/>
              <a:gd name="connsiteY34636" fmla="*/ 2329083 h 5973007"/>
              <a:gd name="connsiteX34637" fmla="*/ 5311591 w 6884782"/>
              <a:gd name="connsiteY34637" fmla="*/ 2329653 h 5973007"/>
              <a:gd name="connsiteX34638" fmla="*/ 5309670 w 6884782"/>
              <a:gd name="connsiteY34638" fmla="*/ 2329368 h 5973007"/>
              <a:gd name="connsiteX34639" fmla="*/ 5310737 w 6884782"/>
              <a:gd name="connsiteY34639" fmla="*/ 2329083 h 5973007"/>
              <a:gd name="connsiteX34640" fmla="*/ 808290 w 6884782"/>
              <a:gd name="connsiteY34640" fmla="*/ 2329043 h 5973007"/>
              <a:gd name="connsiteX34641" fmla="*/ 822539 w 6884782"/>
              <a:gd name="connsiteY34641" fmla="*/ 2350883 h 5973007"/>
              <a:gd name="connsiteX34642" fmla="*/ 808290 w 6884782"/>
              <a:gd name="connsiteY34642" fmla="*/ 2329043 h 5973007"/>
              <a:gd name="connsiteX34643" fmla="*/ 1047638 w 6884782"/>
              <a:gd name="connsiteY34643" fmla="*/ 2328733 h 5973007"/>
              <a:gd name="connsiteX34644" fmla="*/ 1054040 w 6884782"/>
              <a:gd name="connsiteY34644" fmla="*/ 2333844 h 5973007"/>
              <a:gd name="connsiteX34645" fmla="*/ 1049909 w 6884782"/>
              <a:gd name="connsiteY34645" fmla="*/ 2343138 h 5973007"/>
              <a:gd name="connsiteX34646" fmla="*/ 1048154 w 6884782"/>
              <a:gd name="connsiteY34646" fmla="*/ 2343913 h 5973007"/>
              <a:gd name="connsiteX34647" fmla="*/ 1048774 w 6884782"/>
              <a:gd name="connsiteY34647" fmla="*/ 2343913 h 5973007"/>
              <a:gd name="connsiteX34648" fmla="*/ 1044024 w 6884782"/>
              <a:gd name="connsiteY34648" fmla="*/ 2353207 h 5973007"/>
              <a:gd name="connsiteX34649" fmla="*/ 1038758 w 6884782"/>
              <a:gd name="connsiteY34649" fmla="*/ 2355220 h 5973007"/>
              <a:gd name="connsiteX34650" fmla="*/ 1037932 w 6884782"/>
              <a:gd name="connsiteY34650" fmla="*/ 2352742 h 5973007"/>
              <a:gd name="connsiteX34651" fmla="*/ 1040823 w 6884782"/>
              <a:gd name="connsiteY34651" fmla="*/ 2347630 h 5973007"/>
              <a:gd name="connsiteX34652" fmla="*/ 1043301 w 6884782"/>
              <a:gd name="connsiteY34652" fmla="*/ 2345462 h 5973007"/>
              <a:gd name="connsiteX34653" fmla="*/ 1038448 w 6884782"/>
              <a:gd name="connsiteY34653" fmla="*/ 2344688 h 5973007"/>
              <a:gd name="connsiteX34654" fmla="*/ 1038242 w 6884782"/>
              <a:gd name="connsiteY34654" fmla="*/ 2340195 h 5973007"/>
              <a:gd name="connsiteX34655" fmla="*/ 1047638 w 6884782"/>
              <a:gd name="connsiteY34655" fmla="*/ 2328733 h 5973007"/>
              <a:gd name="connsiteX34656" fmla="*/ 5015791 w 6884782"/>
              <a:gd name="connsiteY34656" fmla="*/ 2328515 h 5973007"/>
              <a:gd name="connsiteX34657" fmla="*/ 5018138 w 6884782"/>
              <a:gd name="connsiteY34657" fmla="*/ 2328799 h 5973007"/>
              <a:gd name="connsiteX34658" fmla="*/ 5020273 w 6884782"/>
              <a:gd name="connsiteY34658" fmla="*/ 2330221 h 5973007"/>
              <a:gd name="connsiteX34659" fmla="*/ 5020913 w 6884782"/>
              <a:gd name="connsiteY34659" fmla="*/ 2332498 h 5973007"/>
              <a:gd name="connsiteX34660" fmla="*/ 5018992 w 6884782"/>
              <a:gd name="connsiteY34660" fmla="*/ 2334632 h 5973007"/>
              <a:gd name="connsiteX34661" fmla="*/ 5014724 w 6884782"/>
              <a:gd name="connsiteY34661" fmla="*/ 2336766 h 5973007"/>
              <a:gd name="connsiteX34662" fmla="*/ 5011736 w 6884782"/>
              <a:gd name="connsiteY34662" fmla="*/ 2335628 h 5973007"/>
              <a:gd name="connsiteX34663" fmla="*/ 5011949 w 6884782"/>
              <a:gd name="connsiteY34663" fmla="*/ 2333067 h 5973007"/>
              <a:gd name="connsiteX34664" fmla="*/ 5011096 w 6884782"/>
              <a:gd name="connsiteY34664" fmla="*/ 2330933 h 5973007"/>
              <a:gd name="connsiteX34665" fmla="*/ 5012162 w 6884782"/>
              <a:gd name="connsiteY34665" fmla="*/ 2330364 h 5973007"/>
              <a:gd name="connsiteX34666" fmla="*/ 5012803 w 6884782"/>
              <a:gd name="connsiteY34666" fmla="*/ 2328799 h 5973007"/>
              <a:gd name="connsiteX34667" fmla="*/ 5015791 w 6884782"/>
              <a:gd name="connsiteY34667" fmla="*/ 2328515 h 5973007"/>
              <a:gd name="connsiteX34668" fmla="*/ 5657971 w 6884782"/>
              <a:gd name="connsiteY34668" fmla="*/ 2328088 h 5973007"/>
              <a:gd name="connsiteX34669" fmla="*/ 5660959 w 6884782"/>
              <a:gd name="connsiteY34669" fmla="*/ 2328372 h 5973007"/>
              <a:gd name="connsiteX34670" fmla="*/ 5653703 w 6884782"/>
              <a:gd name="connsiteY34670" fmla="*/ 2333778 h 5973007"/>
              <a:gd name="connsiteX34671" fmla="*/ 5651568 w 6884782"/>
              <a:gd name="connsiteY34671" fmla="*/ 2333067 h 5973007"/>
              <a:gd name="connsiteX34672" fmla="*/ 5657971 w 6884782"/>
              <a:gd name="connsiteY34672" fmla="*/ 2328088 h 5973007"/>
              <a:gd name="connsiteX34673" fmla="*/ 5544005 w 6884782"/>
              <a:gd name="connsiteY34673" fmla="*/ 2327803 h 5973007"/>
              <a:gd name="connsiteX34674" fmla="*/ 5548273 w 6884782"/>
              <a:gd name="connsiteY34674" fmla="*/ 2328941 h 5973007"/>
              <a:gd name="connsiteX34675" fmla="*/ 5531627 w 6884782"/>
              <a:gd name="connsiteY34675" fmla="*/ 2335912 h 5973007"/>
              <a:gd name="connsiteX34676" fmla="*/ 5539736 w 6884782"/>
              <a:gd name="connsiteY34676" fmla="*/ 2328515 h 5973007"/>
              <a:gd name="connsiteX34677" fmla="*/ 5544005 w 6884782"/>
              <a:gd name="connsiteY34677" fmla="*/ 2327803 h 5973007"/>
              <a:gd name="connsiteX34678" fmla="*/ 908242 w 6884782"/>
              <a:gd name="connsiteY34678" fmla="*/ 2327649 h 5973007"/>
              <a:gd name="connsiteX34679" fmla="*/ 909791 w 6884782"/>
              <a:gd name="connsiteY34679" fmla="*/ 2331676 h 5973007"/>
              <a:gd name="connsiteX34680" fmla="*/ 908035 w 6884782"/>
              <a:gd name="connsiteY34680" fmla="*/ 2333690 h 5973007"/>
              <a:gd name="connsiteX34681" fmla="*/ 905970 w 6884782"/>
              <a:gd name="connsiteY34681" fmla="*/ 2331676 h 5973007"/>
              <a:gd name="connsiteX34682" fmla="*/ 905248 w 6884782"/>
              <a:gd name="connsiteY34682" fmla="*/ 2329198 h 5973007"/>
              <a:gd name="connsiteX34683" fmla="*/ 906280 w 6884782"/>
              <a:gd name="connsiteY34683" fmla="*/ 2328268 h 5973007"/>
              <a:gd name="connsiteX34684" fmla="*/ 908242 w 6884782"/>
              <a:gd name="connsiteY34684" fmla="*/ 2327649 h 5973007"/>
              <a:gd name="connsiteX34685" fmla="*/ 1092038 w 6884782"/>
              <a:gd name="connsiteY34685" fmla="*/ 2327494 h 5973007"/>
              <a:gd name="connsiteX34686" fmla="*/ 1092864 w 6884782"/>
              <a:gd name="connsiteY34686" fmla="*/ 2335394 h 5973007"/>
              <a:gd name="connsiteX34687" fmla="*/ 1090696 w 6884782"/>
              <a:gd name="connsiteY34687" fmla="*/ 2329198 h 5973007"/>
              <a:gd name="connsiteX34688" fmla="*/ 1092038 w 6884782"/>
              <a:gd name="connsiteY34688" fmla="*/ 2327494 h 5973007"/>
              <a:gd name="connsiteX34689" fmla="*/ 5354701 w 6884782"/>
              <a:gd name="connsiteY34689" fmla="*/ 2327376 h 5973007"/>
              <a:gd name="connsiteX34690" fmla="*/ 5347872 w 6884782"/>
              <a:gd name="connsiteY34690" fmla="*/ 2342314 h 5973007"/>
              <a:gd name="connsiteX34691" fmla="*/ 5342963 w 6884782"/>
              <a:gd name="connsiteY34691" fmla="*/ 2339469 h 5973007"/>
              <a:gd name="connsiteX34692" fmla="*/ 5342323 w 6884782"/>
              <a:gd name="connsiteY34692" fmla="*/ 2329226 h 5973007"/>
              <a:gd name="connsiteX34693" fmla="*/ 5354701 w 6884782"/>
              <a:gd name="connsiteY34693" fmla="*/ 2327376 h 5973007"/>
              <a:gd name="connsiteX34694" fmla="*/ 988266 w 6884782"/>
              <a:gd name="connsiteY34694" fmla="*/ 2327184 h 5973007"/>
              <a:gd name="connsiteX34695" fmla="*/ 988472 w 6884782"/>
              <a:gd name="connsiteY34695" fmla="*/ 2329043 h 5973007"/>
              <a:gd name="connsiteX34696" fmla="*/ 987853 w 6884782"/>
              <a:gd name="connsiteY34696" fmla="*/ 2331366 h 5973007"/>
              <a:gd name="connsiteX34697" fmla="*/ 988782 w 6884782"/>
              <a:gd name="connsiteY34697" fmla="*/ 2332605 h 5973007"/>
              <a:gd name="connsiteX34698" fmla="*/ 985374 w 6884782"/>
              <a:gd name="connsiteY34698" fmla="*/ 2338647 h 5973007"/>
              <a:gd name="connsiteX34699" fmla="*/ 985374 w 6884782"/>
              <a:gd name="connsiteY34699" fmla="*/ 2336788 h 5973007"/>
              <a:gd name="connsiteX34700" fmla="*/ 985891 w 6884782"/>
              <a:gd name="connsiteY34700" fmla="*/ 2334619 h 5973007"/>
              <a:gd name="connsiteX34701" fmla="*/ 986407 w 6884782"/>
              <a:gd name="connsiteY34701" fmla="*/ 2332296 h 5973007"/>
              <a:gd name="connsiteX34702" fmla="*/ 986303 w 6884782"/>
              <a:gd name="connsiteY34702" fmla="*/ 2330437 h 5973007"/>
              <a:gd name="connsiteX34703" fmla="*/ 988266 w 6884782"/>
              <a:gd name="connsiteY34703" fmla="*/ 2327184 h 5973007"/>
              <a:gd name="connsiteX34704" fmla="*/ 5068932 w 6884782"/>
              <a:gd name="connsiteY34704" fmla="*/ 2327092 h 5973007"/>
              <a:gd name="connsiteX34705" fmla="*/ 5070213 w 6884782"/>
              <a:gd name="connsiteY34705" fmla="*/ 2328088 h 5973007"/>
              <a:gd name="connsiteX34706" fmla="*/ 5071280 w 6884782"/>
              <a:gd name="connsiteY34706" fmla="*/ 2330933 h 5973007"/>
              <a:gd name="connsiteX34707" fmla="*/ 5069146 w 6884782"/>
              <a:gd name="connsiteY34707" fmla="*/ 2331929 h 5973007"/>
              <a:gd name="connsiteX34708" fmla="*/ 5069573 w 6884782"/>
              <a:gd name="connsiteY34708" fmla="*/ 2332925 h 5973007"/>
              <a:gd name="connsiteX34709" fmla="*/ 5067225 w 6884782"/>
              <a:gd name="connsiteY34709" fmla="*/ 2332640 h 5973007"/>
              <a:gd name="connsiteX34710" fmla="*/ 5066798 w 6884782"/>
              <a:gd name="connsiteY34710" fmla="*/ 2331644 h 5973007"/>
              <a:gd name="connsiteX34711" fmla="*/ 5066372 w 6884782"/>
              <a:gd name="connsiteY34711" fmla="*/ 2331360 h 5973007"/>
              <a:gd name="connsiteX34712" fmla="*/ 5067225 w 6884782"/>
              <a:gd name="connsiteY34712" fmla="*/ 2329083 h 5973007"/>
              <a:gd name="connsiteX34713" fmla="*/ 5068932 w 6884782"/>
              <a:gd name="connsiteY34713" fmla="*/ 2327092 h 5973007"/>
              <a:gd name="connsiteX34714" fmla="*/ 948409 w 6884782"/>
              <a:gd name="connsiteY34714" fmla="*/ 2326100 h 5973007"/>
              <a:gd name="connsiteX34715" fmla="*/ 948409 w 6884782"/>
              <a:gd name="connsiteY34715" fmla="*/ 2326875 h 5973007"/>
              <a:gd name="connsiteX34716" fmla="*/ 948615 w 6884782"/>
              <a:gd name="connsiteY34716" fmla="*/ 2326720 h 5973007"/>
              <a:gd name="connsiteX34717" fmla="*/ 5512845 w 6884782"/>
              <a:gd name="connsiteY34717" fmla="*/ 2325527 h 5973007"/>
              <a:gd name="connsiteX34718" fmla="*/ 5524584 w 6884782"/>
              <a:gd name="connsiteY34718" fmla="*/ 2332640 h 5973007"/>
              <a:gd name="connsiteX34719" fmla="*/ 5509858 w 6884782"/>
              <a:gd name="connsiteY34719" fmla="*/ 2345587 h 5973007"/>
              <a:gd name="connsiteX34720" fmla="*/ 5507297 w 6884782"/>
              <a:gd name="connsiteY34720" fmla="*/ 2325811 h 5973007"/>
              <a:gd name="connsiteX34721" fmla="*/ 5512845 w 6884782"/>
              <a:gd name="connsiteY34721" fmla="*/ 2325527 h 5973007"/>
              <a:gd name="connsiteX34722" fmla="*/ 5048871 w 6884782"/>
              <a:gd name="connsiteY34722" fmla="*/ 2325527 h 5973007"/>
              <a:gd name="connsiteX34723" fmla="*/ 5053139 w 6884782"/>
              <a:gd name="connsiteY34723" fmla="*/ 2326238 h 5973007"/>
              <a:gd name="connsiteX34724" fmla="*/ 5051218 w 6884782"/>
              <a:gd name="connsiteY34724" fmla="*/ 2334916 h 5973007"/>
              <a:gd name="connsiteX34725" fmla="*/ 5050578 w 6884782"/>
              <a:gd name="connsiteY34725" fmla="*/ 2335485 h 5973007"/>
              <a:gd name="connsiteX34726" fmla="*/ 5051646 w 6884782"/>
              <a:gd name="connsiteY34726" fmla="*/ 2341177 h 5973007"/>
              <a:gd name="connsiteX34727" fmla="*/ 5051432 w 6884782"/>
              <a:gd name="connsiteY34727" fmla="*/ 2345587 h 5973007"/>
              <a:gd name="connsiteX34728" fmla="*/ 5051005 w 6884782"/>
              <a:gd name="connsiteY34728" fmla="*/ 2348432 h 5973007"/>
              <a:gd name="connsiteX34729" fmla="*/ 5050792 w 6884782"/>
              <a:gd name="connsiteY34729" fmla="*/ 2350993 h 5973007"/>
              <a:gd name="connsiteX34730" fmla="*/ 5046950 w 6884782"/>
              <a:gd name="connsiteY34730" fmla="*/ 2354407 h 5973007"/>
              <a:gd name="connsiteX34731" fmla="*/ 5046096 w 6884782"/>
              <a:gd name="connsiteY34731" fmla="*/ 2342030 h 5973007"/>
              <a:gd name="connsiteX34732" fmla="*/ 5045883 w 6884782"/>
              <a:gd name="connsiteY34732" fmla="*/ 2336624 h 5973007"/>
              <a:gd name="connsiteX34733" fmla="*/ 5043962 w 6884782"/>
              <a:gd name="connsiteY34733" fmla="*/ 2331360 h 5973007"/>
              <a:gd name="connsiteX34734" fmla="*/ 5045883 w 6884782"/>
              <a:gd name="connsiteY34734" fmla="*/ 2326238 h 5973007"/>
              <a:gd name="connsiteX34735" fmla="*/ 5048871 w 6884782"/>
              <a:gd name="connsiteY34735" fmla="*/ 2325527 h 5973007"/>
              <a:gd name="connsiteX34736" fmla="*/ 5172868 w 6884782"/>
              <a:gd name="connsiteY34736" fmla="*/ 2324958 h 5973007"/>
              <a:gd name="connsiteX34737" fmla="*/ 5174575 w 6884782"/>
              <a:gd name="connsiteY34737" fmla="*/ 2326096 h 5973007"/>
              <a:gd name="connsiteX34738" fmla="*/ 5176709 w 6884782"/>
              <a:gd name="connsiteY34738" fmla="*/ 2331218 h 5973007"/>
              <a:gd name="connsiteX34739" fmla="*/ 5169666 w 6884782"/>
              <a:gd name="connsiteY34739" fmla="*/ 2332640 h 5973007"/>
              <a:gd name="connsiteX34740" fmla="*/ 5167532 w 6884782"/>
              <a:gd name="connsiteY34740" fmla="*/ 2327661 h 5973007"/>
              <a:gd name="connsiteX34741" fmla="*/ 5171161 w 6884782"/>
              <a:gd name="connsiteY34741" fmla="*/ 2325100 h 5973007"/>
              <a:gd name="connsiteX34742" fmla="*/ 5172868 w 6884782"/>
              <a:gd name="connsiteY34742" fmla="*/ 2324958 h 5973007"/>
              <a:gd name="connsiteX34743" fmla="*/ 878091 w 6884782"/>
              <a:gd name="connsiteY34743" fmla="*/ 2323311 h 5973007"/>
              <a:gd name="connsiteX34744" fmla="*/ 888520 w 6884782"/>
              <a:gd name="connsiteY34744" fmla="*/ 2323931 h 5973007"/>
              <a:gd name="connsiteX34745" fmla="*/ 888417 w 6884782"/>
              <a:gd name="connsiteY34745" fmla="*/ 2327494 h 5973007"/>
              <a:gd name="connsiteX34746" fmla="*/ 877678 w 6884782"/>
              <a:gd name="connsiteY34746" fmla="*/ 2328578 h 5973007"/>
              <a:gd name="connsiteX34747" fmla="*/ 878091 w 6884782"/>
              <a:gd name="connsiteY34747" fmla="*/ 2323311 h 5973007"/>
              <a:gd name="connsiteX34748" fmla="*/ 5139148 w 6884782"/>
              <a:gd name="connsiteY34748" fmla="*/ 2323108 h 5973007"/>
              <a:gd name="connsiteX34749" fmla="*/ 5143629 w 6884782"/>
              <a:gd name="connsiteY34749" fmla="*/ 2324958 h 5973007"/>
              <a:gd name="connsiteX34750" fmla="*/ 5146617 w 6884782"/>
              <a:gd name="connsiteY34750" fmla="*/ 2334916 h 5973007"/>
              <a:gd name="connsiteX34751" fmla="*/ 5141709 w 6884782"/>
              <a:gd name="connsiteY34751" fmla="*/ 2341034 h 5973007"/>
              <a:gd name="connsiteX34752" fmla="*/ 5137226 w 6884782"/>
              <a:gd name="connsiteY34752" fmla="*/ 2341319 h 5973007"/>
              <a:gd name="connsiteX34753" fmla="*/ 5137654 w 6884782"/>
              <a:gd name="connsiteY34753" fmla="*/ 2343026 h 5973007"/>
              <a:gd name="connsiteX34754" fmla="*/ 5106281 w 6884782"/>
              <a:gd name="connsiteY34754" fmla="*/ 2363939 h 5973007"/>
              <a:gd name="connsiteX34755" fmla="*/ 5102866 w 6884782"/>
              <a:gd name="connsiteY34755" fmla="*/ 2363513 h 5973007"/>
              <a:gd name="connsiteX34756" fmla="*/ 5102653 w 6884782"/>
              <a:gd name="connsiteY34756" fmla="*/ 2364793 h 5973007"/>
              <a:gd name="connsiteX34757" fmla="*/ 5099451 w 6884782"/>
              <a:gd name="connsiteY34757" fmla="*/ 2373187 h 5973007"/>
              <a:gd name="connsiteX34758" fmla="*/ 5096677 w 6884782"/>
              <a:gd name="connsiteY34758" fmla="*/ 2335485 h 5973007"/>
              <a:gd name="connsiteX34759" fmla="*/ 5102013 w 6884782"/>
              <a:gd name="connsiteY34759" fmla="*/ 2340465 h 5973007"/>
              <a:gd name="connsiteX34760" fmla="*/ 5109056 w 6884782"/>
              <a:gd name="connsiteY34760" fmla="*/ 2333636 h 5973007"/>
              <a:gd name="connsiteX34761" fmla="*/ 5120153 w 6884782"/>
              <a:gd name="connsiteY34761" fmla="*/ 2329083 h 5973007"/>
              <a:gd name="connsiteX34762" fmla="*/ 5126769 w 6884782"/>
              <a:gd name="connsiteY34762" fmla="*/ 2328799 h 5973007"/>
              <a:gd name="connsiteX34763" fmla="*/ 5130824 w 6884782"/>
              <a:gd name="connsiteY34763" fmla="*/ 2324246 h 5973007"/>
              <a:gd name="connsiteX34764" fmla="*/ 5139148 w 6884782"/>
              <a:gd name="connsiteY34764" fmla="*/ 2323108 h 5973007"/>
              <a:gd name="connsiteX34765" fmla="*/ 1131895 w 6884782"/>
              <a:gd name="connsiteY34765" fmla="*/ 2322847 h 5973007"/>
              <a:gd name="connsiteX34766" fmla="*/ 1130243 w 6884782"/>
              <a:gd name="connsiteY34766" fmla="*/ 2329043 h 5973007"/>
              <a:gd name="connsiteX34767" fmla="*/ 1130036 w 6884782"/>
              <a:gd name="connsiteY34767" fmla="*/ 2325790 h 5973007"/>
              <a:gd name="connsiteX34768" fmla="*/ 1131895 w 6884782"/>
              <a:gd name="connsiteY34768" fmla="*/ 2322847 h 5973007"/>
              <a:gd name="connsiteX34769" fmla="*/ 1006026 w 6884782"/>
              <a:gd name="connsiteY34769" fmla="*/ 2322692 h 5973007"/>
              <a:gd name="connsiteX34770" fmla="*/ 1015112 w 6884782"/>
              <a:gd name="connsiteY34770" fmla="*/ 2329662 h 5973007"/>
              <a:gd name="connsiteX34771" fmla="*/ 1017384 w 6884782"/>
              <a:gd name="connsiteY34771" fmla="*/ 2340970 h 5973007"/>
              <a:gd name="connsiteX34772" fmla="*/ 1019965 w 6884782"/>
              <a:gd name="connsiteY34772" fmla="*/ 2340970 h 5973007"/>
              <a:gd name="connsiteX34773" fmla="*/ 1020585 w 6884782"/>
              <a:gd name="connsiteY34773" fmla="*/ 2344533 h 5973007"/>
              <a:gd name="connsiteX34774" fmla="*/ 1019243 w 6884782"/>
              <a:gd name="connsiteY34774" fmla="*/ 2346391 h 5973007"/>
              <a:gd name="connsiteX34775" fmla="*/ 1024508 w 6884782"/>
              <a:gd name="connsiteY34775" fmla="*/ 2346856 h 5973007"/>
              <a:gd name="connsiteX34776" fmla="*/ 1018726 w 6884782"/>
              <a:gd name="connsiteY34776" fmla="*/ 2351968 h 5973007"/>
              <a:gd name="connsiteX34777" fmla="*/ 1018520 w 6884782"/>
              <a:gd name="connsiteY34777" fmla="*/ 2353207 h 5973007"/>
              <a:gd name="connsiteX34778" fmla="*/ 1019449 w 6884782"/>
              <a:gd name="connsiteY34778" fmla="*/ 2352587 h 5973007"/>
              <a:gd name="connsiteX34779" fmla="*/ 1024612 w 6884782"/>
              <a:gd name="connsiteY34779" fmla="*/ 2350883 h 5973007"/>
              <a:gd name="connsiteX34780" fmla="*/ 1008297 w 6884782"/>
              <a:gd name="connsiteY34780" fmla="*/ 2368387 h 5973007"/>
              <a:gd name="connsiteX34781" fmla="*/ 1014183 w 6884782"/>
              <a:gd name="connsiteY34781" fmla="*/ 2356459 h 5973007"/>
              <a:gd name="connsiteX34782" fmla="*/ 1016661 w 6884782"/>
              <a:gd name="connsiteY34782" fmla="*/ 2354601 h 5973007"/>
              <a:gd name="connsiteX34783" fmla="*/ 1015112 w 6884782"/>
              <a:gd name="connsiteY34783" fmla="*/ 2353052 h 5973007"/>
              <a:gd name="connsiteX34784" fmla="*/ 1015112 w 6884782"/>
              <a:gd name="connsiteY34784" fmla="*/ 2353671 h 5973007"/>
              <a:gd name="connsiteX34785" fmla="*/ 1010879 w 6884782"/>
              <a:gd name="connsiteY34785" fmla="*/ 2350264 h 5973007"/>
              <a:gd name="connsiteX34786" fmla="*/ 1009640 w 6884782"/>
              <a:gd name="connsiteY34786" fmla="*/ 2349954 h 5973007"/>
              <a:gd name="connsiteX34787" fmla="*/ 1005509 w 6884782"/>
              <a:gd name="connsiteY34787" fmla="*/ 2348560 h 5973007"/>
              <a:gd name="connsiteX34788" fmla="*/ 1007058 w 6884782"/>
              <a:gd name="connsiteY34788" fmla="*/ 2344688 h 5973007"/>
              <a:gd name="connsiteX34789" fmla="*/ 1006542 w 6884782"/>
              <a:gd name="connsiteY34789" fmla="*/ 2343913 h 5973007"/>
              <a:gd name="connsiteX34790" fmla="*/ 1004683 w 6884782"/>
              <a:gd name="connsiteY34790" fmla="*/ 2332760 h 5973007"/>
              <a:gd name="connsiteX34791" fmla="*/ 1010156 w 6884782"/>
              <a:gd name="connsiteY34791" fmla="*/ 2336788 h 5973007"/>
              <a:gd name="connsiteX34792" fmla="*/ 1013150 w 6884782"/>
              <a:gd name="connsiteY34792" fmla="*/ 2341435 h 5973007"/>
              <a:gd name="connsiteX34793" fmla="*/ 1015732 w 6884782"/>
              <a:gd name="connsiteY34793" fmla="*/ 2340970 h 5973007"/>
              <a:gd name="connsiteX34794" fmla="*/ 1011911 w 6884782"/>
              <a:gd name="connsiteY34794" fmla="*/ 2338647 h 5973007"/>
              <a:gd name="connsiteX34795" fmla="*/ 1006026 w 6884782"/>
              <a:gd name="connsiteY34795" fmla="*/ 2322692 h 5973007"/>
              <a:gd name="connsiteX34796" fmla="*/ 5023688 w 6884782"/>
              <a:gd name="connsiteY34796" fmla="*/ 2320547 h 5973007"/>
              <a:gd name="connsiteX34797" fmla="*/ 5034572 w 6884782"/>
              <a:gd name="connsiteY34797" fmla="*/ 2325527 h 5973007"/>
              <a:gd name="connsiteX34798" fmla="*/ 5032438 w 6884782"/>
              <a:gd name="connsiteY34798" fmla="*/ 2329795 h 5973007"/>
              <a:gd name="connsiteX34799" fmla="*/ 5014510 w 6884782"/>
              <a:gd name="connsiteY34799" fmla="*/ 2325811 h 5973007"/>
              <a:gd name="connsiteX34800" fmla="*/ 5023688 w 6884782"/>
              <a:gd name="connsiteY34800" fmla="*/ 2320547 h 5973007"/>
              <a:gd name="connsiteX34801" fmla="*/ 1127558 w 6884782"/>
              <a:gd name="connsiteY34801" fmla="*/ 2320523 h 5973007"/>
              <a:gd name="connsiteX34802" fmla="*/ 1125183 w 6884782"/>
              <a:gd name="connsiteY34802" fmla="*/ 2330592 h 5973007"/>
              <a:gd name="connsiteX34803" fmla="*/ 1123634 w 6884782"/>
              <a:gd name="connsiteY34803" fmla="*/ 2329972 h 5973007"/>
              <a:gd name="connsiteX34804" fmla="*/ 1123841 w 6884782"/>
              <a:gd name="connsiteY34804" fmla="*/ 2331831 h 5973007"/>
              <a:gd name="connsiteX34805" fmla="*/ 1123222 w 6884782"/>
              <a:gd name="connsiteY34805" fmla="*/ 2334464 h 5973007"/>
              <a:gd name="connsiteX34806" fmla="*/ 1117026 w 6884782"/>
              <a:gd name="connsiteY34806" fmla="*/ 2335084 h 5973007"/>
              <a:gd name="connsiteX34807" fmla="*/ 1115064 w 6884782"/>
              <a:gd name="connsiteY34807" fmla="*/ 2333070 h 5973007"/>
              <a:gd name="connsiteX34808" fmla="*/ 1113515 w 6884782"/>
              <a:gd name="connsiteY34808" fmla="*/ 2328113 h 5973007"/>
              <a:gd name="connsiteX34809" fmla="*/ 1112793 w 6884782"/>
              <a:gd name="connsiteY34809" fmla="*/ 2328424 h 5973007"/>
              <a:gd name="connsiteX34810" fmla="*/ 1117026 w 6884782"/>
              <a:gd name="connsiteY34810" fmla="*/ 2325790 h 5973007"/>
              <a:gd name="connsiteX34811" fmla="*/ 1117646 w 6884782"/>
              <a:gd name="connsiteY34811" fmla="*/ 2326100 h 5973007"/>
              <a:gd name="connsiteX34812" fmla="*/ 1117129 w 6884782"/>
              <a:gd name="connsiteY34812" fmla="*/ 2325481 h 5973007"/>
              <a:gd name="connsiteX34813" fmla="*/ 1120950 w 6884782"/>
              <a:gd name="connsiteY34813" fmla="*/ 2320833 h 5973007"/>
              <a:gd name="connsiteX34814" fmla="*/ 1127558 w 6884782"/>
              <a:gd name="connsiteY34814" fmla="*/ 2320523 h 5973007"/>
              <a:gd name="connsiteX34815" fmla="*/ 1045056 w 6884782"/>
              <a:gd name="connsiteY34815" fmla="*/ 2319749 h 5973007"/>
              <a:gd name="connsiteX34816" fmla="*/ 1045469 w 6884782"/>
              <a:gd name="connsiteY34816" fmla="*/ 2327804 h 5973007"/>
              <a:gd name="connsiteX34817" fmla="*/ 1037622 w 6884782"/>
              <a:gd name="connsiteY34817" fmla="*/ 2332760 h 5973007"/>
              <a:gd name="connsiteX34818" fmla="*/ 1037519 w 6884782"/>
              <a:gd name="connsiteY34818" fmla="*/ 2328268 h 5973007"/>
              <a:gd name="connsiteX34819" fmla="*/ 1045056 w 6884782"/>
              <a:gd name="connsiteY34819" fmla="*/ 2319749 h 5973007"/>
              <a:gd name="connsiteX34820" fmla="*/ 1019759 w 6884782"/>
              <a:gd name="connsiteY34820" fmla="*/ 2319130 h 5973007"/>
              <a:gd name="connsiteX34821" fmla="*/ 1021824 w 6884782"/>
              <a:gd name="connsiteY34821" fmla="*/ 2320679 h 5973007"/>
              <a:gd name="connsiteX34822" fmla="*/ 1020482 w 6884782"/>
              <a:gd name="connsiteY34822" fmla="*/ 2323466 h 5973007"/>
              <a:gd name="connsiteX34823" fmla="*/ 1021514 w 6884782"/>
              <a:gd name="connsiteY34823" fmla="*/ 2326720 h 5973007"/>
              <a:gd name="connsiteX34824" fmla="*/ 1020172 w 6884782"/>
              <a:gd name="connsiteY34824" fmla="*/ 2329508 h 5973007"/>
              <a:gd name="connsiteX34825" fmla="*/ 1019655 w 6884782"/>
              <a:gd name="connsiteY34825" fmla="*/ 2328733 h 5973007"/>
              <a:gd name="connsiteX34826" fmla="*/ 1020275 w 6884782"/>
              <a:gd name="connsiteY34826" fmla="*/ 2326410 h 5973007"/>
              <a:gd name="connsiteX34827" fmla="*/ 1018726 w 6884782"/>
              <a:gd name="connsiteY34827" fmla="*/ 2320833 h 5973007"/>
              <a:gd name="connsiteX34828" fmla="*/ 1019759 w 6884782"/>
              <a:gd name="connsiteY34828" fmla="*/ 2319130 h 5973007"/>
              <a:gd name="connsiteX34829" fmla="*/ 5678033 w 6884782"/>
              <a:gd name="connsiteY34829" fmla="*/ 2319125 h 5973007"/>
              <a:gd name="connsiteX34830" fmla="*/ 5678246 w 6884782"/>
              <a:gd name="connsiteY34830" fmla="*/ 2320974 h 5973007"/>
              <a:gd name="connsiteX34831" fmla="*/ 5676752 w 6884782"/>
              <a:gd name="connsiteY34831" fmla="*/ 2322539 h 5973007"/>
              <a:gd name="connsiteX34832" fmla="*/ 5672910 w 6884782"/>
              <a:gd name="connsiteY34832" fmla="*/ 2325527 h 5973007"/>
              <a:gd name="connsiteX34833" fmla="*/ 5678033 w 6884782"/>
              <a:gd name="connsiteY34833" fmla="*/ 2319125 h 5973007"/>
              <a:gd name="connsiteX34834" fmla="*/ 956372 w 6884782"/>
              <a:gd name="connsiteY34834" fmla="*/ 2317561 h 5973007"/>
              <a:gd name="connsiteX34835" fmla="*/ 962864 w 6884782"/>
              <a:gd name="connsiteY34835" fmla="*/ 2319904 h 5973007"/>
              <a:gd name="connsiteX34836" fmla="*/ 965653 w 6884782"/>
              <a:gd name="connsiteY34836" fmla="*/ 2323777 h 5973007"/>
              <a:gd name="connsiteX34837" fmla="*/ 964207 w 6884782"/>
              <a:gd name="connsiteY34837" fmla="*/ 2329817 h 5973007"/>
              <a:gd name="connsiteX34838" fmla="*/ 961212 w 6884782"/>
              <a:gd name="connsiteY34838" fmla="*/ 2331831 h 5973007"/>
              <a:gd name="connsiteX34839" fmla="*/ 962555 w 6884782"/>
              <a:gd name="connsiteY34839" fmla="*/ 2333535 h 5973007"/>
              <a:gd name="connsiteX34840" fmla="*/ 956153 w 6884782"/>
              <a:gd name="connsiteY34840" fmla="*/ 2346701 h 5973007"/>
              <a:gd name="connsiteX34841" fmla="*/ 953778 w 6884782"/>
              <a:gd name="connsiteY34841" fmla="*/ 2347166 h 5973007"/>
              <a:gd name="connsiteX34842" fmla="*/ 950577 w 6884782"/>
              <a:gd name="connsiteY34842" fmla="*/ 2348869 h 5973007"/>
              <a:gd name="connsiteX34843" fmla="*/ 943659 w 6884782"/>
              <a:gd name="connsiteY34843" fmla="*/ 2339576 h 5973007"/>
              <a:gd name="connsiteX34844" fmla="*/ 942420 w 6884782"/>
              <a:gd name="connsiteY34844" fmla="*/ 2334464 h 5973007"/>
              <a:gd name="connsiteX34845" fmla="*/ 942729 w 6884782"/>
              <a:gd name="connsiteY34845" fmla="*/ 2333225 h 5973007"/>
              <a:gd name="connsiteX34846" fmla="*/ 942420 w 6884782"/>
              <a:gd name="connsiteY34846" fmla="*/ 2333690 h 5973007"/>
              <a:gd name="connsiteX34847" fmla="*/ 936844 w 6884782"/>
              <a:gd name="connsiteY34847" fmla="*/ 2337098 h 5973007"/>
              <a:gd name="connsiteX34848" fmla="*/ 937567 w 6884782"/>
              <a:gd name="connsiteY34848" fmla="*/ 2334464 h 5973007"/>
              <a:gd name="connsiteX34849" fmla="*/ 938393 w 6884782"/>
              <a:gd name="connsiteY34849" fmla="*/ 2333535 h 5973007"/>
              <a:gd name="connsiteX34850" fmla="*/ 938290 w 6884782"/>
              <a:gd name="connsiteY34850" fmla="*/ 2332605 h 5973007"/>
              <a:gd name="connsiteX34851" fmla="*/ 939219 w 6884782"/>
              <a:gd name="connsiteY34851" fmla="*/ 2332451 h 5973007"/>
              <a:gd name="connsiteX34852" fmla="*/ 940871 w 6884782"/>
              <a:gd name="connsiteY34852" fmla="*/ 2330592 h 5973007"/>
              <a:gd name="connsiteX34853" fmla="*/ 943039 w 6884782"/>
              <a:gd name="connsiteY34853" fmla="*/ 2325171 h 5973007"/>
              <a:gd name="connsiteX34854" fmla="*/ 948099 w 6884782"/>
              <a:gd name="connsiteY34854" fmla="*/ 2321143 h 5973007"/>
              <a:gd name="connsiteX34855" fmla="*/ 949957 w 6884782"/>
              <a:gd name="connsiteY34855" fmla="*/ 2322537 h 5973007"/>
              <a:gd name="connsiteX34856" fmla="*/ 951506 w 6884782"/>
              <a:gd name="connsiteY34856" fmla="*/ 2320679 h 5973007"/>
              <a:gd name="connsiteX34857" fmla="*/ 956372 w 6884782"/>
              <a:gd name="connsiteY34857" fmla="*/ 2317561 h 5973007"/>
              <a:gd name="connsiteX34858" fmla="*/ 5240095 w 6884782"/>
              <a:gd name="connsiteY34858" fmla="*/ 2317133 h 5973007"/>
              <a:gd name="connsiteX34859" fmla="*/ 5246924 w 6884782"/>
              <a:gd name="connsiteY34859" fmla="*/ 2321117 h 5973007"/>
              <a:gd name="connsiteX34860" fmla="*/ 5247778 w 6884782"/>
              <a:gd name="connsiteY34860" fmla="*/ 2322397 h 5973007"/>
              <a:gd name="connsiteX34861" fmla="*/ 5249486 w 6884782"/>
              <a:gd name="connsiteY34861" fmla="*/ 2321970 h 5973007"/>
              <a:gd name="connsiteX34862" fmla="*/ 5281925 w 6884782"/>
              <a:gd name="connsiteY34862" fmla="*/ 2343595 h 5973007"/>
              <a:gd name="connsiteX34863" fmla="*/ 5281072 w 6884782"/>
              <a:gd name="connsiteY34863" fmla="*/ 2347152 h 5973007"/>
              <a:gd name="connsiteX34864" fmla="*/ 5229211 w 6884782"/>
              <a:gd name="connsiteY34864" fmla="*/ 2332925 h 5973007"/>
              <a:gd name="connsiteX34865" fmla="*/ 5236894 w 6884782"/>
              <a:gd name="connsiteY34865" fmla="*/ 2326380 h 5973007"/>
              <a:gd name="connsiteX34866" fmla="*/ 5234973 w 6884782"/>
              <a:gd name="connsiteY34866" fmla="*/ 2320547 h 5973007"/>
              <a:gd name="connsiteX34867" fmla="*/ 5240095 w 6884782"/>
              <a:gd name="connsiteY34867" fmla="*/ 2317133 h 5973007"/>
              <a:gd name="connsiteX34868" fmla="*/ 5452021 w 6884782"/>
              <a:gd name="connsiteY34868" fmla="*/ 2316137 h 5973007"/>
              <a:gd name="connsiteX34869" fmla="*/ 5454795 w 6884782"/>
              <a:gd name="connsiteY34869" fmla="*/ 2317702 h 5973007"/>
              <a:gd name="connsiteX34870" fmla="*/ 5454582 w 6884782"/>
              <a:gd name="connsiteY34870" fmla="*/ 2328372 h 5973007"/>
              <a:gd name="connsiteX34871" fmla="*/ 5452021 w 6884782"/>
              <a:gd name="connsiteY34871" fmla="*/ 2316137 h 5973007"/>
              <a:gd name="connsiteX34872" fmla="*/ 5378605 w 6884782"/>
              <a:gd name="connsiteY34872" fmla="*/ 2314288 h 5973007"/>
              <a:gd name="connsiteX34873" fmla="*/ 5383940 w 6884782"/>
              <a:gd name="connsiteY34873" fmla="*/ 2318840 h 5973007"/>
              <a:gd name="connsiteX34874" fmla="*/ 5384367 w 6884782"/>
              <a:gd name="connsiteY34874" fmla="*/ 2322397 h 5973007"/>
              <a:gd name="connsiteX34875" fmla="*/ 5398666 w 6884782"/>
              <a:gd name="connsiteY34875" fmla="*/ 2335912 h 5973007"/>
              <a:gd name="connsiteX34876" fmla="*/ 5394824 w 6884782"/>
              <a:gd name="connsiteY34876" fmla="*/ 2341603 h 5973007"/>
              <a:gd name="connsiteX34877" fmla="*/ 5395038 w 6884782"/>
              <a:gd name="connsiteY34877" fmla="*/ 2342172 h 5973007"/>
              <a:gd name="connsiteX34878" fmla="*/ 5394184 w 6884782"/>
              <a:gd name="connsiteY34878" fmla="*/ 2342599 h 5973007"/>
              <a:gd name="connsiteX34879" fmla="*/ 5392690 w 6884782"/>
              <a:gd name="connsiteY34879" fmla="*/ 2345017 h 5973007"/>
              <a:gd name="connsiteX34880" fmla="*/ 5374976 w 6884782"/>
              <a:gd name="connsiteY34880" fmla="*/ 2342030 h 5973007"/>
              <a:gd name="connsiteX34881" fmla="*/ 5373482 w 6884782"/>
              <a:gd name="connsiteY34881" fmla="*/ 2333351 h 5973007"/>
              <a:gd name="connsiteX34882" fmla="*/ 5374336 w 6884782"/>
              <a:gd name="connsiteY34882" fmla="*/ 2331786 h 5973007"/>
              <a:gd name="connsiteX34883" fmla="*/ 5371775 w 6884782"/>
              <a:gd name="connsiteY34883" fmla="*/ 2333210 h 5973007"/>
              <a:gd name="connsiteX34884" fmla="*/ 5357689 w 6884782"/>
              <a:gd name="connsiteY34884" fmla="*/ 2330648 h 5973007"/>
              <a:gd name="connsiteX34885" fmla="*/ 5378605 w 6884782"/>
              <a:gd name="connsiteY34885" fmla="*/ 2314288 h 5973007"/>
              <a:gd name="connsiteX34886" fmla="*/ 1038964 w 6884782"/>
              <a:gd name="connsiteY34886" fmla="*/ 2314173 h 5973007"/>
              <a:gd name="connsiteX34887" fmla="*/ 1033389 w 6884782"/>
              <a:gd name="connsiteY34887" fmla="*/ 2325945 h 5973007"/>
              <a:gd name="connsiteX34888" fmla="*/ 1033182 w 6884782"/>
              <a:gd name="connsiteY34888" fmla="*/ 2323466 h 5973007"/>
              <a:gd name="connsiteX34889" fmla="*/ 1038964 w 6884782"/>
              <a:gd name="connsiteY34889" fmla="*/ 2314173 h 5973007"/>
              <a:gd name="connsiteX34890" fmla="*/ 4810481 w 6884782"/>
              <a:gd name="connsiteY34890" fmla="*/ 2313718 h 5973007"/>
              <a:gd name="connsiteX34891" fmla="*/ 4822432 w 6884782"/>
              <a:gd name="connsiteY34891" fmla="*/ 2318129 h 5973007"/>
              <a:gd name="connsiteX34892" fmla="*/ 4819445 w 6884782"/>
              <a:gd name="connsiteY34892" fmla="*/ 2326096 h 5973007"/>
              <a:gd name="connsiteX34893" fmla="*/ 4811335 w 6884782"/>
              <a:gd name="connsiteY34893" fmla="*/ 2328799 h 5973007"/>
              <a:gd name="connsiteX34894" fmla="*/ 4810481 w 6884782"/>
              <a:gd name="connsiteY34894" fmla="*/ 2313718 h 5973007"/>
              <a:gd name="connsiteX34895" fmla="*/ 1003651 w 6884782"/>
              <a:gd name="connsiteY34895" fmla="*/ 2312934 h 5973007"/>
              <a:gd name="connsiteX34896" fmla="*/ 1004270 w 6884782"/>
              <a:gd name="connsiteY34896" fmla="*/ 2318975 h 5973007"/>
              <a:gd name="connsiteX34897" fmla="*/ 991776 w 6884782"/>
              <a:gd name="connsiteY34897" fmla="*/ 2317426 h 5973007"/>
              <a:gd name="connsiteX34898" fmla="*/ 1003651 w 6884782"/>
              <a:gd name="connsiteY34898" fmla="*/ 2312934 h 5973007"/>
              <a:gd name="connsiteX34899" fmla="*/ 962452 w 6884782"/>
              <a:gd name="connsiteY34899" fmla="*/ 2311849 h 5973007"/>
              <a:gd name="connsiteX34900" fmla="*/ 960799 w 6884782"/>
              <a:gd name="connsiteY34900" fmla="*/ 2318045 h 5973007"/>
              <a:gd name="connsiteX34901" fmla="*/ 962452 w 6884782"/>
              <a:gd name="connsiteY34901" fmla="*/ 2311849 h 5973007"/>
              <a:gd name="connsiteX34902" fmla="*/ 4966278 w 6884782"/>
              <a:gd name="connsiteY34902" fmla="*/ 2311443 h 5973007"/>
              <a:gd name="connsiteX34903" fmla="*/ 4970759 w 6884782"/>
              <a:gd name="connsiteY34903" fmla="*/ 2314572 h 5973007"/>
              <a:gd name="connsiteX34904" fmla="*/ 4972040 w 6884782"/>
              <a:gd name="connsiteY34904" fmla="*/ 2317133 h 5973007"/>
              <a:gd name="connsiteX34905" fmla="*/ 4971613 w 6884782"/>
              <a:gd name="connsiteY34905" fmla="*/ 2319409 h 5973007"/>
              <a:gd name="connsiteX34906" fmla="*/ 4969266 w 6884782"/>
              <a:gd name="connsiteY34906" fmla="*/ 2320263 h 5973007"/>
              <a:gd name="connsiteX34907" fmla="*/ 4964570 w 6884782"/>
              <a:gd name="connsiteY34907" fmla="*/ 2319552 h 5973007"/>
              <a:gd name="connsiteX34908" fmla="*/ 4962436 w 6884782"/>
              <a:gd name="connsiteY34908" fmla="*/ 2316706 h 5973007"/>
              <a:gd name="connsiteX34909" fmla="*/ 4963716 w 6884782"/>
              <a:gd name="connsiteY34909" fmla="*/ 2314572 h 5973007"/>
              <a:gd name="connsiteX34910" fmla="*/ 4963930 w 6884782"/>
              <a:gd name="connsiteY34910" fmla="*/ 2312153 h 5973007"/>
              <a:gd name="connsiteX34911" fmla="*/ 4965210 w 6884782"/>
              <a:gd name="connsiteY34911" fmla="*/ 2312438 h 5973007"/>
              <a:gd name="connsiteX34912" fmla="*/ 4966278 w 6884782"/>
              <a:gd name="connsiteY34912" fmla="*/ 2311443 h 5973007"/>
              <a:gd name="connsiteX34913" fmla="*/ 6290121 w 6884782"/>
              <a:gd name="connsiteY34913" fmla="*/ 2311016 h 5973007"/>
              <a:gd name="connsiteX34914" fmla="*/ 6296950 w 6884782"/>
              <a:gd name="connsiteY34914" fmla="*/ 2313291 h 5973007"/>
              <a:gd name="connsiteX34915" fmla="*/ 6298871 w 6884782"/>
              <a:gd name="connsiteY34915" fmla="*/ 2317275 h 5973007"/>
              <a:gd name="connsiteX34916" fmla="*/ 6296523 w 6884782"/>
              <a:gd name="connsiteY34916" fmla="*/ 2320547 h 5973007"/>
              <a:gd name="connsiteX34917" fmla="*/ 6291828 w 6884782"/>
              <a:gd name="connsiteY34917" fmla="*/ 2320974 h 5973007"/>
              <a:gd name="connsiteX34918" fmla="*/ 6290121 w 6884782"/>
              <a:gd name="connsiteY34918" fmla="*/ 2311016 h 5973007"/>
              <a:gd name="connsiteX34919" fmla="*/ 5335494 w 6884782"/>
              <a:gd name="connsiteY34919" fmla="*/ 2310304 h 5973007"/>
              <a:gd name="connsiteX34920" fmla="*/ 5345738 w 6884782"/>
              <a:gd name="connsiteY34920" fmla="*/ 2314856 h 5973007"/>
              <a:gd name="connsiteX34921" fmla="*/ 5342963 w 6884782"/>
              <a:gd name="connsiteY34921" fmla="*/ 2319267 h 5973007"/>
              <a:gd name="connsiteX34922" fmla="*/ 5325463 w 6884782"/>
              <a:gd name="connsiteY34922" fmla="*/ 2315853 h 5973007"/>
              <a:gd name="connsiteX34923" fmla="*/ 5335494 w 6884782"/>
              <a:gd name="connsiteY34923" fmla="*/ 2310304 h 5973007"/>
              <a:gd name="connsiteX34924" fmla="*/ 4851671 w 6884782"/>
              <a:gd name="connsiteY34924" fmla="*/ 2308597 h 5973007"/>
              <a:gd name="connsiteX34925" fmla="*/ 4854873 w 6884782"/>
              <a:gd name="connsiteY34925" fmla="*/ 2308597 h 5973007"/>
              <a:gd name="connsiteX34926" fmla="*/ 4859568 w 6884782"/>
              <a:gd name="connsiteY34926" fmla="*/ 2312153 h 5973007"/>
              <a:gd name="connsiteX34927" fmla="*/ 4860208 w 6884782"/>
              <a:gd name="connsiteY34927" fmla="*/ 2316422 h 5973007"/>
              <a:gd name="connsiteX34928" fmla="*/ 4854873 w 6884782"/>
              <a:gd name="connsiteY34928" fmla="*/ 2320832 h 5973007"/>
              <a:gd name="connsiteX34929" fmla="*/ 4848470 w 6884782"/>
              <a:gd name="connsiteY34929" fmla="*/ 2310304 h 5973007"/>
              <a:gd name="connsiteX34930" fmla="*/ 4851671 w 6884782"/>
              <a:gd name="connsiteY34930" fmla="*/ 2308597 h 5973007"/>
              <a:gd name="connsiteX34931" fmla="*/ 885216 w 6884782"/>
              <a:gd name="connsiteY34931" fmla="*/ 2308132 h 5973007"/>
              <a:gd name="connsiteX34932" fmla="*/ 887178 w 6884782"/>
              <a:gd name="connsiteY34932" fmla="*/ 2312779 h 5973007"/>
              <a:gd name="connsiteX34933" fmla="*/ 883873 w 6884782"/>
              <a:gd name="connsiteY34933" fmla="*/ 2314947 h 5973007"/>
              <a:gd name="connsiteX34934" fmla="*/ 881808 w 6884782"/>
              <a:gd name="connsiteY34934" fmla="*/ 2310300 h 5973007"/>
              <a:gd name="connsiteX34935" fmla="*/ 885216 w 6884782"/>
              <a:gd name="connsiteY34935" fmla="*/ 2308132 h 5973007"/>
              <a:gd name="connsiteX34936" fmla="*/ 956463 w 6884782"/>
              <a:gd name="connsiteY34936" fmla="*/ 2307823 h 5973007"/>
              <a:gd name="connsiteX34937" fmla="*/ 956463 w 6884782"/>
              <a:gd name="connsiteY34937" fmla="*/ 2309371 h 5973007"/>
              <a:gd name="connsiteX34938" fmla="*/ 959251 w 6884782"/>
              <a:gd name="connsiteY34938" fmla="*/ 2310920 h 5973007"/>
              <a:gd name="connsiteX34939" fmla="*/ 963897 w 6884782"/>
              <a:gd name="connsiteY34939" fmla="*/ 2311230 h 5973007"/>
              <a:gd name="connsiteX34940" fmla="*/ 957701 w 6884782"/>
              <a:gd name="connsiteY34940" fmla="*/ 2312159 h 5973007"/>
              <a:gd name="connsiteX34941" fmla="*/ 956772 w 6884782"/>
              <a:gd name="connsiteY34941" fmla="*/ 2312934 h 5973007"/>
              <a:gd name="connsiteX34942" fmla="*/ 956772 w 6884782"/>
              <a:gd name="connsiteY34942" fmla="*/ 2313089 h 5973007"/>
              <a:gd name="connsiteX34943" fmla="*/ 956359 w 6884782"/>
              <a:gd name="connsiteY34943" fmla="*/ 2313398 h 5973007"/>
              <a:gd name="connsiteX34944" fmla="*/ 955636 w 6884782"/>
              <a:gd name="connsiteY34944" fmla="*/ 2314018 h 5973007"/>
              <a:gd name="connsiteX34945" fmla="*/ 955224 w 6884782"/>
              <a:gd name="connsiteY34945" fmla="*/ 2314018 h 5973007"/>
              <a:gd name="connsiteX34946" fmla="*/ 953365 w 6884782"/>
              <a:gd name="connsiteY34946" fmla="*/ 2315412 h 5973007"/>
              <a:gd name="connsiteX34947" fmla="*/ 950370 w 6884782"/>
              <a:gd name="connsiteY34947" fmla="*/ 2318356 h 5973007"/>
              <a:gd name="connsiteX34948" fmla="*/ 948202 w 6884782"/>
              <a:gd name="connsiteY34948" fmla="*/ 2315102 h 5973007"/>
              <a:gd name="connsiteX34949" fmla="*/ 950164 w 6884782"/>
              <a:gd name="connsiteY34949" fmla="*/ 2312314 h 5973007"/>
              <a:gd name="connsiteX34950" fmla="*/ 950164 w 6884782"/>
              <a:gd name="connsiteY34950" fmla="*/ 2311385 h 5973007"/>
              <a:gd name="connsiteX34951" fmla="*/ 952229 w 6884782"/>
              <a:gd name="connsiteY34951" fmla="*/ 2309681 h 5973007"/>
              <a:gd name="connsiteX34952" fmla="*/ 953365 w 6884782"/>
              <a:gd name="connsiteY34952" fmla="*/ 2309526 h 5973007"/>
              <a:gd name="connsiteX34953" fmla="*/ 784438 w 6884782"/>
              <a:gd name="connsiteY34953" fmla="*/ 2307202 h 5973007"/>
              <a:gd name="connsiteX34954" fmla="*/ 799100 w 6884782"/>
              <a:gd name="connsiteY34954" fmla="*/ 2318045 h 5973007"/>
              <a:gd name="connsiteX34955" fmla="*/ 784334 w 6884782"/>
              <a:gd name="connsiteY34955" fmla="*/ 2312779 h 5973007"/>
              <a:gd name="connsiteX34956" fmla="*/ 784438 w 6884782"/>
              <a:gd name="connsiteY34956" fmla="*/ 2307202 h 5973007"/>
              <a:gd name="connsiteX34957" fmla="*/ 4984205 w 6884782"/>
              <a:gd name="connsiteY34957" fmla="*/ 2306605 h 5973007"/>
              <a:gd name="connsiteX34958" fmla="*/ 4991888 w 6884782"/>
              <a:gd name="connsiteY34958" fmla="*/ 2308313 h 5973007"/>
              <a:gd name="connsiteX34959" fmla="*/ 4989327 w 6884782"/>
              <a:gd name="connsiteY34959" fmla="*/ 2315284 h 5973007"/>
              <a:gd name="connsiteX34960" fmla="*/ 4984205 w 6884782"/>
              <a:gd name="connsiteY34960" fmla="*/ 2306605 h 5973007"/>
              <a:gd name="connsiteX34961" fmla="*/ 1113515 w 6884782"/>
              <a:gd name="connsiteY34961" fmla="*/ 2306583 h 5973007"/>
              <a:gd name="connsiteX34962" fmla="*/ 1117852 w 6884782"/>
              <a:gd name="connsiteY34962" fmla="*/ 2308751 h 5973007"/>
              <a:gd name="connsiteX34963" fmla="*/ 1118781 w 6884782"/>
              <a:gd name="connsiteY34963" fmla="*/ 2307047 h 5973007"/>
              <a:gd name="connsiteX34964" fmla="*/ 1123737 w 6884782"/>
              <a:gd name="connsiteY34964" fmla="*/ 2307512 h 5973007"/>
              <a:gd name="connsiteX34965" fmla="*/ 1122602 w 6884782"/>
              <a:gd name="connsiteY34965" fmla="*/ 2316342 h 5973007"/>
              <a:gd name="connsiteX34966" fmla="*/ 1121776 w 6884782"/>
              <a:gd name="connsiteY34966" fmla="*/ 2315877 h 5973007"/>
              <a:gd name="connsiteX34967" fmla="*/ 1121569 w 6884782"/>
              <a:gd name="connsiteY34967" fmla="*/ 2316961 h 5973007"/>
              <a:gd name="connsiteX34968" fmla="*/ 1120021 w 6884782"/>
              <a:gd name="connsiteY34968" fmla="*/ 2319749 h 5973007"/>
              <a:gd name="connsiteX34969" fmla="*/ 1108662 w 6884782"/>
              <a:gd name="connsiteY34969" fmla="*/ 2321918 h 5973007"/>
              <a:gd name="connsiteX34970" fmla="*/ 1104738 w 6884782"/>
              <a:gd name="connsiteY34970" fmla="*/ 2314483 h 5973007"/>
              <a:gd name="connsiteX34971" fmla="*/ 1104635 w 6884782"/>
              <a:gd name="connsiteY34971" fmla="*/ 2315257 h 5973007"/>
              <a:gd name="connsiteX34972" fmla="*/ 1092244 w 6884782"/>
              <a:gd name="connsiteY34972" fmla="*/ 2324241 h 5973007"/>
              <a:gd name="connsiteX34973" fmla="*/ 1093174 w 6884782"/>
              <a:gd name="connsiteY34973" fmla="*/ 2321608 h 5973007"/>
              <a:gd name="connsiteX34974" fmla="*/ 1094103 w 6884782"/>
              <a:gd name="connsiteY34974" fmla="*/ 2320833 h 5973007"/>
              <a:gd name="connsiteX34975" fmla="*/ 1094103 w 6884782"/>
              <a:gd name="connsiteY34975" fmla="*/ 2320059 h 5973007"/>
              <a:gd name="connsiteX34976" fmla="*/ 1094929 w 6884782"/>
              <a:gd name="connsiteY34976" fmla="*/ 2319904 h 5973007"/>
              <a:gd name="connsiteX34977" fmla="*/ 1096788 w 6884782"/>
              <a:gd name="connsiteY34977" fmla="*/ 2318200 h 5973007"/>
              <a:gd name="connsiteX34978" fmla="*/ 1099576 w 6884782"/>
              <a:gd name="connsiteY34978" fmla="*/ 2312934 h 5973007"/>
              <a:gd name="connsiteX34979" fmla="*/ 1104945 w 6884782"/>
              <a:gd name="connsiteY34979" fmla="*/ 2309371 h 5973007"/>
              <a:gd name="connsiteX34980" fmla="*/ 1106597 w 6884782"/>
              <a:gd name="connsiteY34980" fmla="*/ 2310920 h 5973007"/>
              <a:gd name="connsiteX34981" fmla="*/ 1108353 w 6884782"/>
              <a:gd name="connsiteY34981" fmla="*/ 2309216 h 5973007"/>
              <a:gd name="connsiteX34982" fmla="*/ 1113515 w 6884782"/>
              <a:gd name="connsiteY34982" fmla="*/ 2306583 h 5973007"/>
              <a:gd name="connsiteX34983" fmla="*/ 829767 w 6884782"/>
              <a:gd name="connsiteY34983" fmla="*/ 2305809 h 5973007"/>
              <a:gd name="connsiteX34984" fmla="*/ 835962 w 6884782"/>
              <a:gd name="connsiteY34984" fmla="*/ 2306273 h 5973007"/>
              <a:gd name="connsiteX34985" fmla="*/ 837305 w 6884782"/>
              <a:gd name="connsiteY34985" fmla="*/ 2308751 h 5973007"/>
              <a:gd name="connsiteX34986" fmla="*/ 835962 w 6884782"/>
              <a:gd name="connsiteY34986" fmla="*/ 2312624 h 5973007"/>
              <a:gd name="connsiteX34987" fmla="*/ 829251 w 6884782"/>
              <a:gd name="connsiteY34987" fmla="*/ 2308287 h 5973007"/>
              <a:gd name="connsiteX34988" fmla="*/ 829767 w 6884782"/>
              <a:gd name="connsiteY34988" fmla="*/ 2305809 h 5973007"/>
              <a:gd name="connsiteX34989" fmla="*/ 5035425 w 6884782"/>
              <a:gd name="connsiteY34989" fmla="*/ 2305324 h 5973007"/>
              <a:gd name="connsiteX34990" fmla="*/ 5036066 w 6884782"/>
              <a:gd name="connsiteY34990" fmla="*/ 2312011 h 5973007"/>
              <a:gd name="connsiteX34991" fmla="*/ 5032864 w 6884782"/>
              <a:gd name="connsiteY34991" fmla="*/ 2315425 h 5973007"/>
              <a:gd name="connsiteX34992" fmla="*/ 5033932 w 6884782"/>
              <a:gd name="connsiteY34992" fmla="*/ 2315853 h 5973007"/>
              <a:gd name="connsiteX34993" fmla="*/ 5043322 w 6884782"/>
              <a:gd name="connsiteY34993" fmla="*/ 2320690 h 5973007"/>
              <a:gd name="connsiteX34994" fmla="*/ 5042042 w 6884782"/>
              <a:gd name="connsiteY34994" fmla="*/ 2322966 h 5973007"/>
              <a:gd name="connsiteX34995" fmla="*/ 5038840 w 6884782"/>
              <a:gd name="connsiteY34995" fmla="*/ 2323392 h 5973007"/>
              <a:gd name="connsiteX34996" fmla="*/ 5028169 w 6884782"/>
              <a:gd name="connsiteY34996" fmla="*/ 2318840 h 5973007"/>
              <a:gd name="connsiteX34997" fmla="*/ 5025821 w 6884782"/>
              <a:gd name="connsiteY34997" fmla="*/ 2317275 h 5973007"/>
              <a:gd name="connsiteX34998" fmla="*/ 5023688 w 6884782"/>
              <a:gd name="connsiteY34998" fmla="*/ 2315710 h 5973007"/>
              <a:gd name="connsiteX34999" fmla="*/ 5022620 w 6884782"/>
              <a:gd name="connsiteY34999" fmla="*/ 2310731 h 5973007"/>
              <a:gd name="connsiteX35000" fmla="*/ 5030517 w 6884782"/>
              <a:gd name="connsiteY35000" fmla="*/ 2314288 h 5973007"/>
              <a:gd name="connsiteX35001" fmla="*/ 5028596 w 6884782"/>
              <a:gd name="connsiteY35001" fmla="*/ 2311726 h 5973007"/>
              <a:gd name="connsiteX35002" fmla="*/ 5028383 w 6884782"/>
              <a:gd name="connsiteY35002" fmla="*/ 2306036 h 5973007"/>
              <a:gd name="connsiteX35003" fmla="*/ 5035425 w 6884782"/>
              <a:gd name="connsiteY35003" fmla="*/ 2305324 h 5973007"/>
              <a:gd name="connsiteX35004" fmla="*/ 724033 w 6884782"/>
              <a:gd name="connsiteY35004" fmla="*/ 2305189 h 5973007"/>
              <a:gd name="connsiteX35005" fmla="*/ 727543 w 6884782"/>
              <a:gd name="connsiteY35005" fmla="*/ 2305499 h 5973007"/>
              <a:gd name="connsiteX35006" fmla="*/ 729299 w 6884782"/>
              <a:gd name="connsiteY35006" fmla="*/ 2307358 h 5973007"/>
              <a:gd name="connsiteX35007" fmla="*/ 728369 w 6884782"/>
              <a:gd name="connsiteY35007" fmla="*/ 2308906 h 5973007"/>
              <a:gd name="connsiteX35008" fmla="*/ 728369 w 6884782"/>
              <a:gd name="connsiteY35008" fmla="*/ 2310610 h 5973007"/>
              <a:gd name="connsiteX35009" fmla="*/ 727440 w 6884782"/>
              <a:gd name="connsiteY35009" fmla="*/ 2310455 h 5973007"/>
              <a:gd name="connsiteX35010" fmla="*/ 726511 w 6884782"/>
              <a:gd name="connsiteY35010" fmla="*/ 2311230 h 5973007"/>
              <a:gd name="connsiteX35011" fmla="*/ 723103 w 6884782"/>
              <a:gd name="connsiteY35011" fmla="*/ 2309216 h 5973007"/>
              <a:gd name="connsiteX35012" fmla="*/ 722071 w 6884782"/>
              <a:gd name="connsiteY35012" fmla="*/ 2307358 h 5973007"/>
              <a:gd name="connsiteX35013" fmla="*/ 722278 w 6884782"/>
              <a:gd name="connsiteY35013" fmla="*/ 2305809 h 5973007"/>
              <a:gd name="connsiteX35014" fmla="*/ 724033 w 6884782"/>
              <a:gd name="connsiteY35014" fmla="*/ 2305189 h 5973007"/>
              <a:gd name="connsiteX35015" fmla="*/ 5690624 w 6884782"/>
              <a:gd name="connsiteY35015" fmla="*/ 2304755 h 5973007"/>
              <a:gd name="connsiteX35016" fmla="*/ 5699801 w 6884782"/>
              <a:gd name="connsiteY35016" fmla="*/ 2314572 h 5973007"/>
              <a:gd name="connsiteX35017" fmla="*/ 5700655 w 6884782"/>
              <a:gd name="connsiteY35017" fmla="*/ 2314572 h 5973007"/>
              <a:gd name="connsiteX35018" fmla="*/ 5710686 w 6884782"/>
              <a:gd name="connsiteY35018" fmla="*/ 2341887 h 5973007"/>
              <a:gd name="connsiteX35019" fmla="*/ 5702362 w 6884782"/>
              <a:gd name="connsiteY35019" fmla="*/ 2346156 h 5973007"/>
              <a:gd name="connsiteX35020" fmla="*/ 5699374 w 6884782"/>
              <a:gd name="connsiteY35020" fmla="*/ 2346441 h 5973007"/>
              <a:gd name="connsiteX35021" fmla="*/ 5696173 w 6884782"/>
              <a:gd name="connsiteY35021" fmla="*/ 2354407 h 5973007"/>
              <a:gd name="connsiteX35022" fmla="*/ 5693826 w 6884782"/>
              <a:gd name="connsiteY35022" fmla="*/ 2346867 h 5973007"/>
              <a:gd name="connsiteX35023" fmla="*/ 5693185 w 6884782"/>
              <a:gd name="connsiteY35023" fmla="*/ 2347009 h 5973007"/>
              <a:gd name="connsiteX35024" fmla="*/ 5688276 w 6884782"/>
              <a:gd name="connsiteY35024" fmla="*/ 2332640 h 5973007"/>
              <a:gd name="connsiteX35025" fmla="*/ 5688490 w 6884782"/>
              <a:gd name="connsiteY35025" fmla="*/ 2328088 h 5973007"/>
              <a:gd name="connsiteX35026" fmla="*/ 5687850 w 6884782"/>
              <a:gd name="connsiteY35026" fmla="*/ 2318555 h 5973007"/>
              <a:gd name="connsiteX35027" fmla="*/ 5690624 w 6884782"/>
              <a:gd name="connsiteY35027" fmla="*/ 2304755 h 5973007"/>
              <a:gd name="connsiteX35028" fmla="*/ 646384 w 6884782"/>
              <a:gd name="connsiteY35028" fmla="*/ 2304414 h 5973007"/>
              <a:gd name="connsiteX35029" fmla="*/ 652580 w 6884782"/>
              <a:gd name="connsiteY35029" fmla="*/ 2307512 h 5973007"/>
              <a:gd name="connsiteX35030" fmla="*/ 646384 w 6884782"/>
              <a:gd name="connsiteY35030" fmla="*/ 2309990 h 5973007"/>
              <a:gd name="connsiteX35031" fmla="*/ 645764 w 6884782"/>
              <a:gd name="connsiteY35031" fmla="*/ 2307358 h 5973007"/>
              <a:gd name="connsiteX35032" fmla="*/ 646384 w 6884782"/>
              <a:gd name="connsiteY35032" fmla="*/ 2304414 h 5973007"/>
              <a:gd name="connsiteX35033" fmla="*/ 5538670 w 6884782"/>
              <a:gd name="connsiteY35033" fmla="*/ 2304187 h 5973007"/>
              <a:gd name="connsiteX35034" fmla="*/ 5543578 w 6884782"/>
              <a:gd name="connsiteY35034" fmla="*/ 2309024 h 5973007"/>
              <a:gd name="connsiteX35035" fmla="*/ 5541230 w 6884782"/>
              <a:gd name="connsiteY35035" fmla="*/ 2311726 h 5973007"/>
              <a:gd name="connsiteX35036" fmla="*/ 5536108 w 6884782"/>
              <a:gd name="connsiteY35036" fmla="*/ 2305609 h 5973007"/>
              <a:gd name="connsiteX35037" fmla="*/ 5538670 w 6884782"/>
              <a:gd name="connsiteY35037" fmla="*/ 2304187 h 5973007"/>
              <a:gd name="connsiteX35038" fmla="*/ 6183197 w 6884782"/>
              <a:gd name="connsiteY35038" fmla="*/ 2302195 h 5973007"/>
              <a:gd name="connsiteX35039" fmla="*/ 6179569 w 6884782"/>
              <a:gd name="connsiteY35039" fmla="*/ 2304187 h 5973007"/>
              <a:gd name="connsiteX35040" fmla="*/ 6177008 w 6884782"/>
              <a:gd name="connsiteY35040" fmla="*/ 2307174 h 5973007"/>
              <a:gd name="connsiteX35041" fmla="*/ 6182984 w 6884782"/>
              <a:gd name="connsiteY35041" fmla="*/ 2304898 h 5973007"/>
              <a:gd name="connsiteX35042" fmla="*/ 6190027 w 6884782"/>
              <a:gd name="connsiteY35042" fmla="*/ 2302906 h 5973007"/>
              <a:gd name="connsiteX35043" fmla="*/ 6187679 w 6884782"/>
              <a:gd name="connsiteY35043" fmla="*/ 2302195 h 5973007"/>
              <a:gd name="connsiteX35044" fmla="*/ 6183197 w 6884782"/>
              <a:gd name="connsiteY35044" fmla="*/ 2302195 h 5973007"/>
              <a:gd name="connsiteX35045" fmla="*/ 901840 w 6884782"/>
              <a:gd name="connsiteY35045" fmla="*/ 2302091 h 5973007"/>
              <a:gd name="connsiteX35046" fmla="*/ 903595 w 6884782"/>
              <a:gd name="connsiteY35046" fmla="*/ 2305499 h 5973007"/>
              <a:gd name="connsiteX35047" fmla="*/ 890998 w 6884782"/>
              <a:gd name="connsiteY35047" fmla="*/ 2307047 h 5973007"/>
              <a:gd name="connsiteX35048" fmla="*/ 901840 w 6884782"/>
              <a:gd name="connsiteY35048" fmla="*/ 2302091 h 5973007"/>
              <a:gd name="connsiteX35049" fmla="*/ 5466961 w 6884782"/>
              <a:gd name="connsiteY35049" fmla="*/ 2301057 h 5973007"/>
              <a:gd name="connsiteX35050" fmla="*/ 5484460 w 6884782"/>
              <a:gd name="connsiteY35050" fmla="*/ 2329226 h 5973007"/>
              <a:gd name="connsiteX35051" fmla="*/ 5466961 w 6884782"/>
              <a:gd name="connsiteY35051" fmla="*/ 2301057 h 5973007"/>
              <a:gd name="connsiteX35052" fmla="*/ 1024612 w 6884782"/>
              <a:gd name="connsiteY35052" fmla="*/ 2300852 h 5973007"/>
              <a:gd name="connsiteX35053" fmla="*/ 1027710 w 6884782"/>
              <a:gd name="connsiteY35053" fmla="*/ 2304259 h 5973007"/>
              <a:gd name="connsiteX35054" fmla="*/ 1025851 w 6884782"/>
              <a:gd name="connsiteY35054" fmla="*/ 2309681 h 5973007"/>
              <a:gd name="connsiteX35055" fmla="*/ 1026264 w 6884782"/>
              <a:gd name="connsiteY35055" fmla="*/ 2310146 h 5973007"/>
              <a:gd name="connsiteX35056" fmla="*/ 1019655 w 6884782"/>
              <a:gd name="connsiteY35056" fmla="*/ 2315722 h 5973007"/>
              <a:gd name="connsiteX35057" fmla="*/ 1017487 w 6884782"/>
              <a:gd name="connsiteY35057" fmla="*/ 2315257 h 5973007"/>
              <a:gd name="connsiteX35058" fmla="*/ 1017281 w 6884782"/>
              <a:gd name="connsiteY35058" fmla="*/ 2315412 h 5973007"/>
              <a:gd name="connsiteX35059" fmla="*/ 1014080 w 6884782"/>
              <a:gd name="connsiteY35059" fmla="*/ 2311694 h 5973007"/>
              <a:gd name="connsiteX35060" fmla="*/ 1014596 w 6884782"/>
              <a:gd name="connsiteY35060" fmla="*/ 2308132 h 5973007"/>
              <a:gd name="connsiteX35061" fmla="*/ 1016248 w 6884782"/>
              <a:gd name="connsiteY35061" fmla="*/ 2305034 h 5973007"/>
              <a:gd name="connsiteX35062" fmla="*/ 1019552 w 6884782"/>
              <a:gd name="connsiteY35062" fmla="*/ 2303485 h 5973007"/>
              <a:gd name="connsiteX35063" fmla="*/ 1024612 w 6884782"/>
              <a:gd name="connsiteY35063" fmla="*/ 2300852 h 5973007"/>
              <a:gd name="connsiteX35064" fmla="*/ 5254394 w 6884782"/>
              <a:gd name="connsiteY35064" fmla="*/ 2299492 h 5973007"/>
              <a:gd name="connsiteX35065" fmla="*/ 5255888 w 6884782"/>
              <a:gd name="connsiteY35065" fmla="*/ 2301057 h 5973007"/>
              <a:gd name="connsiteX35066" fmla="*/ 5257169 w 6884782"/>
              <a:gd name="connsiteY35066" fmla="*/ 2306605 h 5973007"/>
              <a:gd name="connsiteX35067" fmla="*/ 5249699 w 6884782"/>
              <a:gd name="connsiteY35067" fmla="*/ 2308881 h 5973007"/>
              <a:gd name="connsiteX35068" fmla="*/ 5251406 w 6884782"/>
              <a:gd name="connsiteY35068" fmla="*/ 2299634 h 5973007"/>
              <a:gd name="connsiteX35069" fmla="*/ 5254394 w 6884782"/>
              <a:gd name="connsiteY35069" fmla="*/ 2299492 h 5973007"/>
              <a:gd name="connsiteX35070" fmla="*/ 905557 w 6884782"/>
              <a:gd name="connsiteY35070" fmla="*/ 2298838 h 5973007"/>
              <a:gd name="connsiteX35071" fmla="*/ 914850 w 6884782"/>
              <a:gd name="connsiteY35071" fmla="*/ 2306273 h 5973007"/>
              <a:gd name="connsiteX35072" fmla="*/ 906590 w 6884782"/>
              <a:gd name="connsiteY35072" fmla="*/ 2308597 h 5973007"/>
              <a:gd name="connsiteX35073" fmla="*/ 904628 w 6884782"/>
              <a:gd name="connsiteY35073" fmla="*/ 2304259 h 5973007"/>
              <a:gd name="connsiteX35074" fmla="*/ 905557 w 6884782"/>
              <a:gd name="connsiteY35074" fmla="*/ 2298838 h 5973007"/>
              <a:gd name="connsiteX35075" fmla="*/ 4906307 w 6884782"/>
              <a:gd name="connsiteY35075" fmla="*/ 2297785 h 5973007"/>
              <a:gd name="connsiteX35076" fmla="*/ 4909508 w 6884782"/>
              <a:gd name="connsiteY35076" fmla="*/ 2300772 h 5973007"/>
              <a:gd name="connsiteX35077" fmla="*/ 4906733 w 6884782"/>
              <a:gd name="connsiteY35077" fmla="*/ 2308739 h 5973007"/>
              <a:gd name="connsiteX35078" fmla="*/ 4903319 w 6884782"/>
              <a:gd name="connsiteY35078" fmla="*/ 2312580 h 5973007"/>
              <a:gd name="connsiteX35079" fmla="*/ 4898624 w 6884782"/>
              <a:gd name="connsiteY35079" fmla="*/ 2314288 h 5973007"/>
              <a:gd name="connsiteX35080" fmla="*/ 4890727 w 6884782"/>
              <a:gd name="connsiteY35080" fmla="*/ 2316990 h 5973007"/>
              <a:gd name="connsiteX35081" fmla="*/ 4888166 w 6884782"/>
              <a:gd name="connsiteY35081" fmla="*/ 2311869 h 5973007"/>
              <a:gd name="connsiteX35082" fmla="*/ 4906307 w 6884782"/>
              <a:gd name="connsiteY35082" fmla="*/ 2297785 h 5973007"/>
              <a:gd name="connsiteX35083" fmla="*/ 5297932 w 6884782"/>
              <a:gd name="connsiteY35083" fmla="*/ 2297500 h 5973007"/>
              <a:gd name="connsiteX35084" fmla="*/ 5305401 w 6884782"/>
              <a:gd name="connsiteY35084" fmla="*/ 2299065 h 5973007"/>
              <a:gd name="connsiteX35085" fmla="*/ 5301773 w 6884782"/>
              <a:gd name="connsiteY35085" fmla="*/ 2306036 h 5973007"/>
              <a:gd name="connsiteX35086" fmla="*/ 5297932 w 6884782"/>
              <a:gd name="connsiteY35086" fmla="*/ 2297500 h 5973007"/>
              <a:gd name="connsiteX35087" fmla="*/ 1155954 w 6884782"/>
              <a:gd name="connsiteY35087" fmla="*/ 2294501 h 5973007"/>
              <a:gd name="connsiteX35088" fmla="*/ 1156986 w 6884782"/>
              <a:gd name="connsiteY35088" fmla="*/ 2297599 h 5973007"/>
              <a:gd name="connsiteX35089" fmla="*/ 1160806 w 6884782"/>
              <a:gd name="connsiteY35089" fmla="*/ 2298219 h 5973007"/>
              <a:gd name="connsiteX35090" fmla="*/ 1147073 w 6884782"/>
              <a:gd name="connsiteY35090" fmla="*/ 2321608 h 5973007"/>
              <a:gd name="connsiteX35091" fmla="*/ 1147487 w 6884782"/>
              <a:gd name="connsiteY35091" fmla="*/ 2310610 h 5973007"/>
              <a:gd name="connsiteX35092" fmla="*/ 1149138 w 6884782"/>
              <a:gd name="connsiteY35092" fmla="*/ 2300542 h 5973007"/>
              <a:gd name="connsiteX35093" fmla="*/ 1151410 w 6884782"/>
              <a:gd name="connsiteY35093" fmla="*/ 2298219 h 5973007"/>
              <a:gd name="connsiteX35094" fmla="*/ 1150894 w 6884782"/>
              <a:gd name="connsiteY35094" fmla="*/ 2297754 h 5973007"/>
              <a:gd name="connsiteX35095" fmla="*/ 1155954 w 6884782"/>
              <a:gd name="connsiteY35095" fmla="*/ 2294501 h 5973007"/>
              <a:gd name="connsiteX35096" fmla="*/ 5281285 w 6884782"/>
              <a:gd name="connsiteY35096" fmla="*/ 2294085 h 5973007"/>
              <a:gd name="connsiteX35097" fmla="*/ 5286407 w 6884782"/>
              <a:gd name="connsiteY35097" fmla="*/ 2294654 h 5973007"/>
              <a:gd name="connsiteX35098" fmla="*/ 5292810 w 6884782"/>
              <a:gd name="connsiteY35098" fmla="*/ 2302764 h 5973007"/>
              <a:gd name="connsiteX35099" fmla="*/ 5281712 w 6884782"/>
              <a:gd name="connsiteY35099" fmla="*/ 2305040 h 5973007"/>
              <a:gd name="connsiteX35100" fmla="*/ 5275096 w 6884782"/>
              <a:gd name="connsiteY35100" fmla="*/ 2295223 h 5973007"/>
              <a:gd name="connsiteX35101" fmla="*/ 5281285 w 6884782"/>
              <a:gd name="connsiteY35101" fmla="*/ 2294085 h 5973007"/>
              <a:gd name="connsiteX35102" fmla="*/ 4741333 w 6884782"/>
              <a:gd name="connsiteY35102" fmla="*/ 2293659 h 5973007"/>
              <a:gd name="connsiteX35103" fmla="*/ 4743894 w 6884782"/>
              <a:gd name="connsiteY35103" fmla="*/ 2297500 h 5973007"/>
              <a:gd name="connsiteX35104" fmla="*/ 4737918 w 6884782"/>
              <a:gd name="connsiteY35104" fmla="*/ 2307886 h 5973007"/>
              <a:gd name="connsiteX35105" fmla="*/ 4730235 w 6884782"/>
              <a:gd name="connsiteY35105" fmla="*/ 2304898 h 5973007"/>
              <a:gd name="connsiteX35106" fmla="*/ 4741333 w 6884782"/>
              <a:gd name="connsiteY35106" fmla="*/ 2293659 h 5973007"/>
              <a:gd name="connsiteX35107" fmla="*/ 1036280 w 6884782"/>
              <a:gd name="connsiteY35107" fmla="*/ 2291868 h 5973007"/>
              <a:gd name="connsiteX35108" fmla="*/ 1036693 w 6884782"/>
              <a:gd name="connsiteY35108" fmla="*/ 2292487 h 5973007"/>
              <a:gd name="connsiteX35109" fmla="*/ 1034937 w 6884782"/>
              <a:gd name="connsiteY35109" fmla="*/ 2292642 h 5973007"/>
              <a:gd name="connsiteX35110" fmla="*/ 1035144 w 6884782"/>
              <a:gd name="connsiteY35110" fmla="*/ 2292178 h 5973007"/>
              <a:gd name="connsiteX35111" fmla="*/ 1036280 w 6884782"/>
              <a:gd name="connsiteY35111" fmla="*/ 2291868 h 5973007"/>
              <a:gd name="connsiteX35112" fmla="*/ 1044333 w 6884782"/>
              <a:gd name="connsiteY35112" fmla="*/ 2290319 h 5973007"/>
              <a:gd name="connsiteX35113" fmla="*/ 1045779 w 6884782"/>
              <a:gd name="connsiteY35113" fmla="*/ 2295121 h 5973007"/>
              <a:gd name="connsiteX35114" fmla="*/ 1042268 w 6884782"/>
              <a:gd name="connsiteY35114" fmla="*/ 2296980 h 5973007"/>
              <a:gd name="connsiteX35115" fmla="*/ 1040823 w 6884782"/>
              <a:gd name="connsiteY35115" fmla="*/ 2292023 h 5973007"/>
              <a:gd name="connsiteX35116" fmla="*/ 1044333 w 6884782"/>
              <a:gd name="connsiteY35116" fmla="*/ 2290319 h 5973007"/>
              <a:gd name="connsiteX35117" fmla="*/ 809632 w 6884782"/>
              <a:gd name="connsiteY35117" fmla="*/ 2289390 h 5973007"/>
              <a:gd name="connsiteX35118" fmla="*/ 816757 w 6884782"/>
              <a:gd name="connsiteY35118" fmla="*/ 2291248 h 5973007"/>
              <a:gd name="connsiteX35119" fmla="*/ 816344 w 6884782"/>
              <a:gd name="connsiteY35119" fmla="*/ 2291868 h 5973007"/>
              <a:gd name="connsiteX35120" fmla="*/ 816551 w 6884782"/>
              <a:gd name="connsiteY35120" fmla="*/ 2292333 h 5973007"/>
              <a:gd name="connsiteX35121" fmla="*/ 816551 w 6884782"/>
              <a:gd name="connsiteY35121" fmla="*/ 2295121 h 5973007"/>
              <a:gd name="connsiteX35122" fmla="*/ 816757 w 6884782"/>
              <a:gd name="connsiteY35122" fmla="*/ 2299303 h 5973007"/>
              <a:gd name="connsiteX35123" fmla="*/ 815621 w 6884782"/>
              <a:gd name="connsiteY35123" fmla="*/ 2308597 h 5973007"/>
              <a:gd name="connsiteX35124" fmla="*/ 815311 w 6884782"/>
              <a:gd name="connsiteY35124" fmla="*/ 2309371 h 5973007"/>
              <a:gd name="connsiteX35125" fmla="*/ 816551 w 6884782"/>
              <a:gd name="connsiteY35125" fmla="*/ 2309990 h 5973007"/>
              <a:gd name="connsiteX35126" fmla="*/ 818409 w 6884782"/>
              <a:gd name="connsiteY35126" fmla="*/ 2310920 h 5973007"/>
              <a:gd name="connsiteX35127" fmla="*/ 828734 w 6884782"/>
              <a:gd name="connsiteY35127" fmla="*/ 2319439 h 5973007"/>
              <a:gd name="connsiteX35128" fmla="*/ 822952 w 6884782"/>
              <a:gd name="connsiteY35128" fmla="*/ 2317891 h 5973007"/>
              <a:gd name="connsiteX35129" fmla="*/ 810975 w 6884782"/>
              <a:gd name="connsiteY35129" fmla="*/ 2312314 h 5973007"/>
              <a:gd name="connsiteX35130" fmla="*/ 810355 w 6884782"/>
              <a:gd name="connsiteY35130" fmla="*/ 2309990 h 5973007"/>
              <a:gd name="connsiteX35131" fmla="*/ 809632 w 6884782"/>
              <a:gd name="connsiteY35131" fmla="*/ 2309681 h 5973007"/>
              <a:gd name="connsiteX35132" fmla="*/ 809323 w 6884782"/>
              <a:gd name="connsiteY35132" fmla="*/ 2308597 h 5973007"/>
              <a:gd name="connsiteX35133" fmla="*/ 809736 w 6884782"/>
              <a:gd name="connsiteY35133" fmla="*/ 2307823 h 5973007"/>
              <a:gd name="connsiteX35134" fmla="*/ 812214 w 6884782"/>
              <a:gd name="connsiteY35134" fmla="*/ 2307823 h 5973007"/>
              <a:gd name="connsiteX35135" fmla="*/ 812833 w 6884782"/>
              <a:gd name="connsiteY35135" fmla="*/ 2308132 h 5973007"/>
              <a:gd name="connsiteX35136" fmla="*/ 812730 w 6884782"/>
              <a:gd name="connsiteY35136" fmla="*/ 2307358 h 5973007"/>
              <a:gd name="connsiteX35137" fmla="*/ 812730 w 6884782"/>
              <a:gd name="connsiteY35137" fmla="*/ 2300077 h 5973007"/>
              <a:gd name="connsiteX35138" fmla="*/ 812007 w 6884782"/>
              <a:gd name="connsiteY35138" fmla="*/ 2294501 h 5973007"/>
              <a:gd name="connsiteX35139" fmla="*/ 810458 w 6884782"/>
              <a:gd name="connsiteY35139" fmla="*/ 2293726 h 5973007"/>
              <a:gd name="connsiteX35140" fmla="*/ 808806 w 6884782"/>
              <a:gd name="connsiteY35140" fmla="*/ 2291868 h 5973007"/>
              <a:gd name="connsiteX35141" fmla="*/ 808600 w 6884782"/>
              <a:gd name="connsiteY35141" fmla="*/ 2290474 h 5973007"/>
              <a:gd name="connsiteX35142" fmla="*/ 809632 w 6884782"/>
              <a:gd name="connsiteY35142" fmla="*/ 2289390 h 5973007"/>
              <a:gd name="connsiteX35143" fmla="*/ 839886 w 6884782"/>
              <a:gd name="connsiteY35143" fmla="*/ 2289079 h 5973007"/>
              <a:gd name="connsiteX35144" fmla="*/ 852896 w 6884782"/>
              <a:gd name="connsiteY35144" fmla="*/ 2296050 h 5973007"/>
              <a:gd name="connsiteX35145" fmla="*/ 848869 w 6884782"/>
              <a:gd name="connsiteY35145" fmla="*/ 2303020 h 5973007"/>
              <a:gd name="connsiteX35146" fmla="*/ 837408 w 6884782"/>
              <a:gd name="connsiteY35146" fmla="*/ 2293726 h 5973007"/>
              <a:gd name="connsiteX35147" fmla="*/ 839886 w 6884782"/>
              <a:gd name="connsiteY35147" fmla="*/ 2289079 h 5973007"/>
              <a:gd name="connsiteX35148" fmla="*/ 5055701 w 6884782"/>
              <a:gd name="connsiteY35148" fmla="*/ 2288821 h 5973007"/>
              <a:gd name="connsiteX35149" fmla="*/ 5057834 w 6884782"/>
              <a:gd name="connsiteY35149" fmla="*/ 2290386 h 5973007"/>
              <a:gd name="connsiteX35150" fmla="*/ 5060182 w 6884782"/>
              <a:gd name="connsiteY35150" fmla="*/ 2290671 h 5973007"/>
              <a:gd name="connsiteX35151" fmla="*/ 5060182 w 6884782"/>
              <a:gd name="connsiteY35151" fmla="*/ 2291809 h 5973007"/>
              <a:gd name="connsiteX35152" fmla="*/ 5061249 w 6884782"/>
              <a:gd name="connsiteY35152" fmla="*/ 2293089 h 5973007"/>
              <a:gd name="connsiteX35153" fmla="*/ 5058902 w 6884782"/>
              <a:gd name="connsiteY35153" fmla="*/ 2297642 h 5973007"/>
              <a:gd name="connsiteX35154" fmla="*/ 5056554 w 6884782"/>
              <a:gd name="connsiteY35154" fmla="*/ 2298922 h 5973007"/>
              <a:gd name="connsiteX35155" fmla="*/ 5055914 w 6884782"/>
              <a:gd name="connsiteY35155" fmla="*/ 2298638 h 5973007"/>
              <a:gd name="connsiteX35156" fmla="*/ 5055701 w 6884782"/>
              <a:gd name="connsiteY35156" fmla="*/ 2298922 h 5973007"/>
              <a:gd name="connsiteX35157" fmla="*/ 5052926 w 6884782"/>
              <a:gd name="connsiteY35157" fmla="*/ 2299492 h 5973007"/>
              <a:gd name="connsiteX35158" fmla="*/ 5052499 w 6884782"/>
              <a:gd name="connsiteY35158" fmla="*/ 2293516 h 5973007"/>
              <a:gd name="connsiteX35159" fmla="*/ 5053353 w 6884782"/>
              <a:gd name="connsiteY35159" fmla="*/ 2292236 h 5973007"/>
              <a:gd name="connsiteX35160" fmla="*/ 5053353 w 6884782"/>
              <a:gd name="connsiteY35160" fmla="*/ 2290956 h 5973007"/>
              <a:gd name="connsiteX35161" fmla="*/ 5055701 w 6884782"/>
              <a:gd name="connsiteY35161" fmla="*/ 2288821 h 5973007"/>
              <a:gd name="connsiteX35162" fmla="*/ 5421715 w 6884782"/>
              <a:gd name="connsiteY35162" fmla="*/ 2287256 h 5973007"/>
              <a:gd name="connsiteX35163" fmla="*/ 5417020 w 6884782"/>
              <a:gd name="connsiteY35163" fmla="*/ 2309877 h 5973007"/>
              <a:gd name="connsiteX35164" fmla="*/ 5416807 w 6884782"/>
              <a:gd name="connsiteY35164" fmla="*/ 2310446 h 5973007"/>
              <a:gd name="connsiteX35165" fmla="*/ 5420008 w 6884782"/>
              <a:gd name="connsiteY35165" fmla="*/ 2315710 h 5973007"/>
              <a:gd name="connsiteX35166" fmla="*/ 5420435 w 6884782"/>
              <a:gd name="connsiteY35166" fmla="*/ 2321259 h 5973007"/>
              <a:gd name="connsiteX35167" fmla="*/ 5420222 w 6884782"/>
              <a:gd name="connsiteY35167" fmla="*/ 2321685 h 5973007"/>
              <a:gd name="connsiteX35168" fmla="*/ 5421075 w 6884782"/>
              <a:gd name="connsiteY35168" fmla="*/ 2321401 h 5973007"/>
              <a:gd name="connsiteX35169" fmla="*/ 5423636 w 6884782"/>
              <a:gd name="connsiteY35169" fmla="*/ 2320974 h 5973007"/>
              <a:gd name="connsiteX35170" fmla="*/ 5425984 w 6884782"/>
              <a:gd name="connsiteY35170" fmla="*/ 2323677 h 5973007"/>
              <a:gd name="connsiteX35171" fmla="*/ 5424917 w 6884782"/>
              <a:gd name="connsiteY35171" fmla="*/ 2324246 h 5973007"/>
              <a:gd name="connsiteX35172" fmla="*/ 5420862 w 6884782"/>
              <a:gd name="connsiteY35172" fmla="*/ 2327519 h 5973007"/>
              <a:gd name="connsiteX35173" fmla="*/ 5419154 w 6884782"/>
              <a:gd name="connsiteY35173" fmla="*/ 2323108 h 5973007"/>
              <a:gd name="connsiteX35174" fmla="*/ 5416380 w 6884782"/>
              <a:gd name="connsiteY35174" fmla="*/ 2327092 h 5973007"/>
              <a:gd name="connsiteX35175" fmla="*/ 5411471 w 6884782"/>
              <a:gd name="connsiteY35175" fmla="*/ 2328941 h 5973007"/>
              <a:gd name="connsiteX35176" fmla="*/ 5409764 w 6884782"/>
              <a:gd name="connsiteY35176" fmla="*/ 2332356 h 5973007"/>
              <a:gd name="connsiteX35177" fmla="*/ 5407843 w 6884782"/>
              <a:gd name="connsiteY35177" fmla="*/ 2329653 h 5973007"/>
              <a:gd name="connsiteX35178" fmla="*/ 5400587 w 6884782"/>
              <a:gd name="connsiteY35178" fmla="*/ 2328372 h 5973007"/>
              <a:gd name="connsiteX35179" fmla="*/ 5393544 w 6884782"/>
              <a:gd name="connsiteY35179" fmla="*/ 2322254 h 5973007"/>
              <a:gd name="connsiteX35180" fmla="*/ 5402080 w 6884782"/>
              <a:gd name="connsiteY35180" fmla="*/ 2311016 h 5973007"/>
              <a:gd name="connsiteX35181" fmla="*/ 5402508 w 6884782"/>
              <a:gd name="connsiteY35181" fmla="*/ 2310873 h 5973007"/>
              <a:gd name="connsiteX35182" fmla="*/ 5402935 w 6884782"/>
              <a:gd name="connsiteY35182" fmla="*/ 2309166 h 5973007"/>
              <a:gd name="connsiteX35183" fmla="*/ 5405922 w 6884782"/>
              <a:gd name="connsiteY35183" fmla="*/ 2304755 h 5973007"/>
              <a:gd name="connsiteX35184" fmla="*/ 5408270 w 6884782"/>
              <a:gd name="connsiteY35184" fmla="*/ 2302337 h 5973007"/>
              <a:gd name="connsiteX35185" fmla="*/ 5411684 w 6884782"/>
              <a:gd name="connsiteY35185" fmla="*/ 2293516 h 5973007"/>
              <a:gd name="connsiteX35186" fmla="*/ 5421715 w 6884782"/>
              <a:gd name="connsiteY35186" fmla="*/ 2287256 h 5973007"/>
              <a:gd name="connsiteX35187" fmla="*/ 1073349 w 6884782"/>
              <a:gd name="connsiteY35187" fmla="*/ 2287221 h 5973007"/>
              <a:gd name="connsiteX35188" fmla="*/ 1078099 w 6884782"/>
              <a:gd name="connsiteY35188" fmla="*/ 2293107 h 5973007"/>
              <a:gd name="connsiteX35189" fmla="*/ 1075827 w 6884782"/>
              <a:gd name="connsiteY35189" fmla="*/ 2294501 h 5973007"/>
              <a:gd name="connsiteX35190" fmla="*/ 1075724 w 6884782"/>
              <a:gd name="connsiteY35190" fmla="*/ 2294656 h 5973007"/>
              <a:gd name="connsiteX35191" fmla="*/ 1081196 w 6884782"/>
              <a:gd name="connsiteY35191" fmla="*/ 2304414 h 5973007"/>
              <a:gd name="connsiteX35192" fmla="*/ 1064572 w 6884782"/>
              <a:gd name="connsiteY35192" fmla="*/ 2288460 h 5973007"/>
              <a:gd name="connsiteX35193" fmla="*/ 1069735 w 6884782"/>
              <a:gd name="connsiteY35193" fmla="*/ 2290009 h 5973007"/>
              <a:gd name="connsiteX35194" fmla="*/ 1070354 w 6884782"/>
              <a:gd name="connsiteY35194" fmla="*/ 2288925 h 5973007"/>
              <a:gd name="connsiteX35195" fmla="*/ 1073349 w 6884782"/>
              <a:gd name="connsiteY35195" fmla="*/ 2287221 h 5973007"/>
              <a:gd name="connsiteX35196" fmla="*/ 4996583 w 6884782"/>
              <a:gd name="connsiteY35196" fmla="*/ 2285976 h 5973007"/>
              <a:gd name="connsiteX35197" fmla="*/ 4998504 w 6884782"/>
              <a:gd name="connsiteY35197" fmla="*/ 2288964 h 5973007"/>
              <a:gd name="connsiteX35198" fmla="*/ 4992741 w 6884782"/>
              <a:gd name="connsiteY35198" fmla="*/ 2295650 h 5973007"/>
              <a:gd name="connsiteX35199" fmla="*/ 4989113 w 6884782"/>
              <a:gd name="connsiteY35199" fmla="*/ 2294939 h 5973007"/>
              <a:gd name="connsiteX35200" fmla="*/ 4986552 w 6884782"/>
              <a:gd name="connsiteY35200" fmla="*/ 2289675 h 5973007"/>
              <a:gd name="connsiteX35201" fmla="*/ 4996583 w 6884782"/>
              <a:gd name="connsiteY35201" fmla="*/ 2285976 h 5973007"/>
              <a:gd name="connsiteX35202" fmla="*/ 5016858 w 6884782"/>
              <a:gd name="connsiteY35202" fmla="*/ 2285834 h 5973007"/>
              <a:gd name="connsiteX35203" fmla="*/ 5026462 w 6884782"/>
              <a:gd name="connsiteY35203" fmla="*/ 2286118 h 5973007"/>
              <a:gd name="connsiteX35204" fmla="*/ 5036279 w 6884782"/>
              <a:gd name="connsiteY35204" fmla="*/ 2297500 h 5973007"/>
              <a:gd name="connsiteX35205" fmla="*/ 5034145 w 6884782"/>
              <a:gd name="connsiteY35205" fmla="*/ 2303049 h 5973007"/>
              <a:gd name="connsiteX35206" fmla="*/ 5008962 w 6884782"/>
              <a:gd name="connsiteY35206" fmla="*/ 2289959 h 5973007"/>
              <a:gd name="connsiteX35207" fmla="*/ 5016858 w 6884782"/>
              <a:gd name="connsiteY35207" fmla="*/ 2285834 h 5973007"/>
              <a:gd name="connsiteX35208" fmla="*/ 991570 w 6884782"/>
              <a:gd name="connsiteY35208" fmla="*/ 2285052 h 5973007"/>
              <a:gd name="connsiteX35209" fmla="*/ 992292 w 6884782"/>
              <a:gd name="connsiteY35209" fmla="*/ 2285517 h 5973007"/>
              <a:gd name="connsiteX35210" fmla="*/ 992602 w 6884782"/>
              <a:gd name="connsiteY35210" fmla="*/ 2285517 h 5973007"/>
              <a:gd name="connsiteX35211" fmla="*/ 992705 w 6884782"/>
              <a:gd name="connsiteY35211" fmla="*/ 2285672 h 5973007"/>
              <a:gd name="connsiteX35212" fmla="*/ 1000140 w 6884782"/>
              <a:gd name="connsiteY35212" fmla="*/ 2285517 h 5973007"/>
              <a:gd name="connsiteX35213" fmla="*/ 1009020 w 6884782"/>
              <a:gd name="connsiteY35213" fmla="*/ 2286757 h 5973007"/>
              <a:gd name="connsiteX35214" fmla="*/ 993841 w 6884782"/>
              <a:gd name="connsiteY35214" fmla="*/ 2289854 h 5973007"/>
              <a:gd name="connsiteX35215" fmla="*/ 993119 w 6884782"/>
              <a:gd name="connsiteY35215" fmla="*/ 2288925 h 5973007"/>
              <a:gd name="connsiteX35216" fmla="*/ 991983 w 6884782"/>
              <a:gd name="connsiteY35216" fmla="*/ 2288770 h 5973007"/>
              <a:gd name="connsiteX35217" fmla="*/ 989918 w 6884782"/>
              <a:gd name="connsiteY35217" fmla="*/ 2287686 h 5973007"/>
              <a:gd name="connsiteX35218" fmla="*/ 990744 w 6884782"/>
              <a:gd name="connsiteY35218" fmla="*/ 2286447 h 5973007"/>
              <a:gd name="connsiteX35219" fmla="*/ 990021 w 6884782"/>
              <a:gd name="connsiteY35219" fmla="*/ 2285827 h 5973007"/>
              <a:gd name="connsiteX35220" fmla="*/ 991570 w 6884782"/>
              <a:gd name="connsiteY35220" fmla="*/ 2285052 h 5973007"/>
              <a:gd name="connsiteX35221" fmla="*/ 5481686 w 6884782"/>
              <a:gd name="connsiteY35221" fmla="*/ 2282135 h 5973007"/>
              <a:gd name="connsiteX35222" fmla="*/ 5489796 w 6884782"/>
              <a:gd name="connsiteY35222" fmla="*/ 2284127 h 5973007"/>
              <a:gd name="connsiteX35223" fmla="*/ 5488089 w 6884782"/>
              <a:gd name="connsiteY35223" fmla="*/ 2285123 h 5973007"/>
              <a:gd name="connsiteX35224" fmla="*/ 5486168 w 6884782"/>
              <a:gd name="connsiteY35224" fmla="*/ 2284269 h 5973007"/>
              <a:gd name="connsiteX35225" fmla="*/ 5481686 w 6884782"/>
              <a:gd name="connsiteY35225" fmla="*/ 2282135 h 5973007"/>
              <a:gd name="connsiteX35226" fmla="*/ 1083468 w 6884782"/>
              <a:gd name="connsiteY35226" fmla="*/ 2282109 h 5973007"/>
              <a:gd name="connsiteX35227" fmla="*/ 1085326 w 6884782"/>
              <a:gd name="connsiteY35227" fmla="*/ 2282574 h 5973007"/>
              <a:gd name="connsiteX35228" fmla="*/ 1086772 w 6884782"/>
              <a:gd name="connsiteY35228" fmla="*/ 2283658 h 5973007"/>
              <a:gd name="connsiteX35229" fmla="*/ 1084087 w 6884782"/>
              <a:gd name="connsiteY35229" fmla="*/ 2285672 h 5973007"/>
              <a:gd name="connsiteX35230" fmla="*/ 1083364 w 6884782"/>
              <a:gd name="connsiteY35230" fmla="*/ 2284123 h 5973007"/>
              <a:gd name="connsiteX35231" fmla="*/ 1082538 w 6884782"/>
              <a:gd name="connsiteY35231" fmla="*/ 2284433 h 5973007"/>
              <a:gd name="connsiteX35232" fmla="*/ 1082642 w 6884782"/>
              <a:gd name="connsiteY35232" fmla="*/ 2282574 h 5973007"/>
              <a:gd name="connsiteX35233" fmla="*/ 1083468 w 6884782"/>
              <a:gd name="connsiteY35233" fmla="*/ 2282419 h 5973007"/>
              <a:gd name="connsiteX35234" fmla="*/ 1083468 w 6884782"/>
              <a:gd name="connsiteY35234" fmla="*/ 2282109 h 5973007"/>
              <a:gd name="connsiteX35235" fmla="*/ 941077 w 6884782"/>
              <a:gd name="connsiteY35235" fmla="*/ 2281839 h 5973007"/>
              <a:gd name="connsiteX35236" fmla="*/ 950784 w 6884782"/>
              <a:gd name="connsiteY35236" fmla="*/ 2282109 h 5973007"/>
              <a:gd name="connsiteX35237" fmla="*/ 941490 w 6884782"/>
              <a:gd name="connsiteY35237" fmla="*/ 2287531 h 5973007"/>
              <a:gd name="connsiteX35238" fmla="*/ 931061 w 6884782"/>
              <a:gd name="connsiteY35238" fmla="*/ 2287376 h 5973007"/>
              <a:gd name="connsiteX35239" fmla="*/ 941077 w 6884782"/>
              <a:gd name="connsiteY35239" fmla="*/ 2281839 h 5973007"/>
              <a:gd name="connsiteX35240" fmla="*/ 708648 w 6884782"/>
              <a:gd name="connsiteY35240" fmla="*/ 2281645 h 5973007"/>
              <a:gd name="connsiteX35241" fmla="*/ 710713 w 6884782"/>
              <a:gd name="connsiteY35241" fmla="*/ 2281955 h 5973007"/>
              <a:gd name="connsiteX35242" fmla="*/ 705137 w 6884782"/>
              <a:gd name="connsiteY35242" fmla="*/ 2296669 h 5973007"/>
              <a:gd name="connsiteX35243" fmla="*/ 703382 w 6884782"/>
              <a:gd name="connsiteY35243" fmla="*/ 2295585 h 5973007"/>
              <a:gd name="connsiteX35244" fmla="*/ 702865 w 6884782"/>
              <a:gd name="connsiteY35244" fmla="*/ 2293262 h 5973007"/>
              <a:gd name="connsiteX35245" fmla="*/ 705344 w 6884782"/>
              <a:gd name="connsiteY35245" fmla="*/ 2285672 h 5973007"/>
              <a:gd name="connsiteX35246" fmla="*/ 706273 w 6884782"/>
              <a:gd name="connsiteY35246" fmla="*/ 2284123 h 5973007"/>
              <a:gd name="connsiteX35247" fmla="*/ 707099 w 6884782"/>
              <a:gd name="connsiteY35247" fmla="*/ 2282574 h 5973007"/>
              <a:gd name="connsiteX35248" fmla="*/ 708648 w 6884782"/>
              <a:gd name="connsiteY35248" fmla="*/ 2281645 h 5973007"/>
              <a:gd name="connsiteX35249" fmla="*/ 5135093 w 6884782"/>
              <a:gd name="connsiteY35249" fmla="*/ 2280855 h 5973007"/>
              <a:gd name="connsiteX35250" fmla="*/ 5141922 w 6884782"/>
              <a:gd name="connsiteY35250" fmla="*/ 2281992 h 5973007"/>
              <a:gd name="connsiteX35251" fmla="*/ 5142349 w 6884782"/>
              <a:gd name="connsiteY35251" fmla="*/ 2286118 h 5973007"/>
              <a:gd name="connsiteX35252" fmla="*/ 5142349 w 6884782"/>
              <a:gd name="connsiteY35252" fmla="*/ 2287541 h 5973007"/>
              <a:gd name="connsiteX35253" fmla="*/ 5149605 w 6884782"/>
              <a:gd name="connsiteY35253" fmla="*/ 2286972 h 5973007"/>
              <a:gd name="connsiteX35254" fmla="*/ 5149414 w 6884782"/>
              <a:gd name="connsiteY35254" fmla="*/ 2289389 h 5973007"/>
              <a:gd name="connsiteX35255" fmla="*/ 5149392 w 6884782"/>
              <a:gd name="connsiteY35255" fmla="*/ 2289391 h 5973007"/>
              <a:gd name="connsiteX35256" fmla="*/ 5149392 w 6884782"/>
              <a:gd name="connsiteY35256" fmla="*/ 2289675 h 5973007"/>
              <a:gd name="connsiteX35257" fmla="*/ 5149414 w 6884782"/>
              <a:gd name="connsiteY35257" fmla="*/ 2289389 h 5973007"/>
              <a:gd name="connsiteX35258" fmla="*/ 5162197 w 6884782"/>
              <a:gd name="connsiteY35258" fmla="*/ 2288679 h 5973007"/>
              <a:gd name="connsiteX35259" fmla="*/ 5164971 w 6884782"/>
              <a:gd name="connsiteY35259" fmla="*/ 2289959 h 5973007"/>
              <a:gd name="connsiteX35260" fmla="*/ 5170094 w 6884782"/>
              <a:gd name="connsiteY35260" fmla="*/ 2290386 h 5973007"/>
              <a:gd name="connsiteX35261" fmla="*/ 5168813 w 6884782"/>
              <a:gd name="connsiteY35261" fmla="*/ 2306036 h 5973007"/>
              <a:gd name="connsiteX35262" fmla="*/ 5151099 w 6884782"/>
              <a:gd name="connsiteY35262" fmla="*/ 2317133 h 5973007"/>
              <a:gd name="connsiteX35263" fmla="*/ 5142562 w 6884782"/>
              <a:gd name="connsiteY35263" fmla="*/ 2307174 h 5973007"/>
              <a:gd name="connsiteX35264" fmla="*/ 5142989 w 6884782"/>
              <a:gd name="connsiteY35264" fmla="*/ 2298922 h 5973007"/>
              <a:gd name="connsiteX35265" fmla="*/ 5145337 w 6884782"/>
              <a:gd name="connsiteY35265" fmla="*/ 2295508 h 5973007"/>
              <a:gd name="connsiteX35266" fmla="*/ 5136800 w 6884782"/>
              <a:gd name="connsiteY35266" fmla="*/ 2299350 h 5973007"/>
              <a:gd name="connsiteX35267" fmla="*/ 5116525 w 6884782"/>
              <a:gd name="connsiteY35267" fmla="*/ 2299350 h 5973007"/>
              <a:gd name="connsiteX35268" fmla="*/ 5130398 w 6884782"/>
              <a:gd name="connsiteY35268" fmla="*/ 2291666 h 5973007"/>
              <a:gd name="connsiteX35269" fmla="*/ 5129330 w 6884782"/>
              <a:gd name="connsiteY35269" fmla="*/ 2289675 h 5973007"/>
              <a:gd name="connsiteX35270" fmla="*/ 5135093 w 6884782"/>
              <a:gd name="connsiteY35270" fmla="*/ 2280855 h 5973007"/>
              <a:gd name="connsiteX35271" fmla="*/ 773183 w 6884782"/>
              <a:gd name="connsiteY35271" fmla="*/ 2279631 h 5973007"/>
              <a:gd name="connsiteX35272" fmla="*/ 772976 w 6884782"/>
              <a:gd name="connsiteY35272" fmla="*/ 2286291 h 5973007"/>
              <a:gd name="connsiteX35273" fmla="*/ 767917 w 6884782"/>
              <a:gd name="connsiteY35273" fmla="*/ 2283968 h 5973007"/>
              <a:gd name="connsiteX35274" fmla="*/ 773183 w 6884782"/>
              <a:gd name="connsiteY35274" fmla="*/ 2279631 h 5973007"/>
              <a:gd name="connsiteX35275" fmla="*/ 1049703 w 6884782"/>
              <a:gd name="connsiteY35275" fmla="*/ 2277927 h 5973007"/>
              <a:gd name="connsiteX35276" fmla="*/ 1050219 w 6884782"/>
              <a:gd name="connsiteY35276" fmla="*/ 2285362 h 5973007"/>
              <a:gd name="connsiteX35277" fmla="*/ 1045883 w 6884782"/>
              <a:gd name="connsiteY35277" fmla="*/ 2290009 h 5973007"/>
              <a:gd name="connsiteX35278" fmla="*/ 1043714 w 6884782"/>
              <a:gd name="connsiteY35278" fmla="*/ 2286757 h 5973007"/>
              <a:gd name="connsiteX35279" fmla="*/ 1046089 w 6884782"/>
              <a:gd name="connsiteY35279" fmla="*/ 2282264 h 5973007"/>
              <a:gd name="connsiteX35280" fmla="*/ 1047225 w 6884782"/>
              <a:gd name="connsiteY35280" fmla="*/ 2279166 h 5973007"/>
              <a:gd name="connsiteX35281" fmla="*/ 1049703 w 6884782"/>
              <a:gd name="connsiteY35281" fmla="*/ 2277927 h 5973007"/>
              <a:gd name="connsiteX35282" fmla="*/ 5581994 w 6884782"/>
              <a:gd name="connsiteY35282" fmla="*/ 2277582 h 5973007"/>
              <a:gd name="connsiteX35283" fmla="*/ 5570896 w 6884782"/>
              <a:gd name="connsiteY35283" fmla="*/ 2288537 h 5973007"/>
              <a:gd name="connsiteX35284" fmla="*/ 5555316 w 6884782"/>
              <a:gd name="connsiteY35284" fmla="*/ 2294797 h 5973007"/>
              <a:gd name="connsiteX35285" fmla="*/ 5581994 w 6884782"/>
              <a:gd name="connsiteY35285" fmla="*/ 2277582 h 5973007"/>
              <a:gd name="connsiteX35286" fmla="*/ 1123325 w 6884782"/>
              <a:gd name="connsiteY35286" fmla="*/ 2275449 h 5973007"/>
              <a:gd name="connsiteX35287" fmla="*/ 1143357 w 6884782"/>
              <a:gd name="connsiteY35287" fmla="*/ 2292487 h 5973007"/>
              <a:gd name="connsiteX35288" fmla="*/ 1141911 w 6884782"/>
              <a:gd name="connsiteY35288" fmla="*/ 2294811 h 5973007"/>
              <a:gd name="connsiteX35289" fmla="*/ 1130862 w 6884782"/>
              <a:gd name="connsiteY35289" fmla="*/ 2299303 h 5973007"/>
              <a:gd name="connsiteX35290" fmla="*/ 1124770 w 6884782"/>
              <a:gd name="connsiteY35290" fmla="*/ 2298528 h 5973007"/>
              <a:gd name="connsiteX35291" fmla="*/ 1125080 w 6884782"/>
              <a:gd name="connsiteY35291" fmla="*/ 2302866 h 5973007"/>
              <a:gd name="connsiteX35292" fmla="*/ 1120950 w 6884782"/>
              <a:gd name="connsiteY35292" fmla="*/ 2300697 h 5973007"/>
              <a:gd name="connsiteX35293" fmla="*/ 1121466 w 6884782"/>
              <a:gd name="connsiteY35293" fmla="*/ 2298064 h 5973007"/>
              <a:gd name="connsiteX35294" fmla="*/ 1119195 w 6884782"/>
              <a:gd name="connsiteY35294" fmla="*/ 2297754 h 5973007"/>
              <a:gd name="connsiteX35295" fmla="*/ 1106081 w 6884782"/>
              <a:gd name="connsiteY35295" fmla="*/ 2281645 h 5973007"/>
              <a:gd name="connsiteX35296" fmla="*/ 1123325 w 6884782"/>
              <a:gd name="connsiteY35296" fmla="*/ 2275449 h 5973007"/>
              <a:gd name="connsiteX35297" fmla="*/ 916296 w 6884782"/>
              <a:gd name="connsiteY35297" fmla="*/ 2275139 h 5973007"/>
              <a:gd name="connsiteX35298" fmla="*/ 920736 w 6884782"/>
              <a:gd name="connsiteY35298" fmla="*/ 2275758 h 5973007"/>
              <a:gd name="connsiteX35299" fmla="*/ 921046 w 6884782"/>
              <a:gd name="connsiteY35299" fmla="*/ 2276378 h 5973007"/>
              <a:gd name="connsiteX35300" fmla="*/ 926931 w 6884782"/>
              <a:gd name="connsiteY35300" fmla="*/ 2283658 h 5973007"/>
              <a:gd name="connsiteX35301" fmla="*/ 925899 w 6884782"/>
              <a:gd name="connsiteY35301" fmla="*/ 2288925 h 5973007"/>
              <a:gd name="connsiteX35302" fmla="*/ 923111 w 6884782"/>
              <a:gd name="connsiteY35302" fmla="*/ 2288615 h 5973007"/>
              <a:gd name="connsiteX35303" fmla="*/ 920529 w 6884782"/>
              <a:gd name="connsiteY35303" fmla="*/ 2285052 h 5973007"/>
              <a:gd name="connsiteX35304" fmla="*/ 919806 w 6884782"/>
              <a:gd name="connsiteY35304" fmla="*/ 2286757 h 5973007"/>
              <a:gd name="connsiteX35305" fmla="*/ 916296 w 6884782"/>
              <a:gd name="connsiteY35305" fmla="*/ 2289699 h 5973007"/>
              <a:gd name="connsiteX35306" fmla="*/ 912166 w 6884782"/>
              <a:gd name="connsiteY35306" fmla="*/ 2285982 h 5973007"/>
              <a:gd name="connsiteX35307" fmla="*/ 912269 w 6884782"/>
              <a:gd name="connsiteY35307" fmla="*/ 2283658 h 5973007"/>
              <a:gd name="connsiteX35308" fmla="*/ 916296 w 6884782"/>
              <a:gd name="connsiteY35308" fmla="*/ 2275139 h 5973007"/>
              <a:gd name="connsiteX35309" fmla="*/ 1060132 w 6884782"/>
              <a:gd name="connsiteY35309" fmla="*/ 2274984 h 5973007"/>
              <a:gd name="connsiteX35310" fmla="*/ 1068496 w 6884782"/>
              <a:gd name="connsiteY35310" fmla="*/ 2281955 h 5973007"/>
              <a:gd name="connsiteX35311" fmla="*/ 1056724 w 6884782"/>
              <a:gd name="connsiteY35311" fmla="*/ 2285827 h 5973007"/>
              <a:gd name="connsiteX35312" fmla="*/ 1060132 w 6884782"/>
              <a:gd name="connsiteY35312" fmla="*/ 2274984 h 5973007"/>
              <a:gd name="connsiteX35313" fmla="*/ 1169170 w 6884782"/>
              <a:gd name="connsiteY35313" fmla="*/ 2274055 h 5973007"/>
              <a:gd name="connsiteX35314" fmla="*/ 1172268 w 6884782"/>
              <a:gd name="connsiteY35314" fmla="*/ 2274674 h 5973007"/>
              <a:gd name="connsiteX35315" fmla="*/ 1174540 w 6884782"/>
              <a:gd name="connsiteY35315" fmla="*/ 2277462 h 5973007"/>
              <a:gd name="connsiteX35316" fmla="*/ 1168964 w 6884782"/>
              <a:gd name="connsiteY35316" fmla="*/ 2281490 h 5973007"/>
              <a:gd name="connsiteX35317" fmla="*/ 1167518 w 6884782"/>
              <a:gd name="connsiteY35317" fmla="*/ 2276533 h 5973007"/>
              <a:gd name="connsiteX35318" fmla="*/ 1169170 w 6884782"/>
              <a:gd name="connsiteY35318" fmla="*/ 2274055 h 5973007"/>
              <a:gd name="connsiteX35319" fmla="*/ 1002205 w 6884782"/>
              <a:gd name="connsiteY35319" fmla="*/ 2273280 h 5973007"/>
              <a:gd name="connsiteX35320" fmla="*/ 1002618 w 6884782"/>
              <a:gd name="connsiteY35320" fmla="*/ 2278701 h 5973007"/>
              <a:gd name="connsiteX35321" fmla="*/ 996423 w 6884782"/>
              <a:gd name="connsiteY35321" fmla="*/ 2277927 h 5973007"/>
              <a:gd name="connsiteX35322" fmla="*/ 996010 w 6884782"/>
              <a:gd name="connsiteY35322" fmla="*/ 2275294 h 5973007"/>
              <a:gd name="connsiteX35323" fmla="*/ 997042 w 6884782"/>
              <a:gd name="connsiteY35323" fmla="*/ 2273745 h 5973007"/>
              <a:gd name="connsiteX35324" fmla="*/ 1002205 w 6884782"/>
              <a:gd name="connsiteY35324" fmla="*/ 2273280 h 5973007"/>
              <a:gd name="connsiteX35325" fmla="*/ 5543365 w 6884782"/>
              <a:gd name="connsiteY35325" fmla="*/ 2273172 h 5973007"/>
              <a:gd name="connsiteX35326" fmla="*/ 5548700 w 6884782"/>
              <a:gd name="connsiteY35326" fmla="*/ 2277867 h 5973007"/>
              <a:gd name="connsiteX35327" fmla="*/ 5548060 w 6884782"/>
              <a:gd name="connsiteY35327" fmla="*/ 2300345 h 5973007"/>
              <a:gd name="connsiteX35328" fmla="*/ 5536322 w 6884782"/>
              <a:gd name="connsiteY35328" fmla="*/ 2301057 h 5973007"/>
              <a:gd name="connsiteX35329" fmla="*/ 5543365 w 6884782"/>
              <a:gd name="connsiteY35329" fmla="*/ 2273172 h 5973007"/>
              <a:gd name="connsiteX35330" fmla="*/ 887901 w 6884782"/>
              <a:gd name="connsiteY35330" fmla="*/ 2273125 h 5973007"/>
              <a:gd name="connsiteX35331" fmla="*/ 895748 w 6884782"/>
              <a:gd name="connsiteY35331" fmla="*/ 2282419 h 5973007"/>
              <a:gd name="connsiteX35332" fmla="*/ 893373 w 6884782"/>
              <a:gd name="connsiteY35332" fmla="*/ 2281645 h 5973007"/>
              <a:gd name="connsiteX35333" fmla="*/ 887901 w 6884782"/>
              <a:gd name="connsiteY35333" fmla="*/ 2273125 h 5973007"/>
              <a:gd name="connsiteX35334" fmla="*/ 5018138 w 6884782"/>
              <a:gd name="connsiteY35334" fmla="*/ 2272176 h 5973007"/>
              <a:gd name="connsiteX35335" fmla="*/ 5020273 w 6884782"/>
              <a:gd name="connsiteY35335" fmla="*/ 2272887 h 5973007"/>
              <a:gd name="connsiteX35336" fmla="*/ 5020486 w 6884782"/>
              <a:gd name="connsiteY35336" fmla="*/ 2282277 h 5973007"/>
              <a:gd name="connsiteX35337" fmla="*/ 5016431 w 6884782"/>
              <a:gd name="connsiteY35337" fmla="*/ 2272887 h 5973007"/>
              <a:gd name="connsiteX35338" fmla="*/ 5018138 w 6884782"/>
              <a:gd name="connsiteY35338" fmla="*/ 2272176 h 5973007"/>
              <a:gd name="connsiteX35339" fmla="*/ 1089457 w 6884782"/>
              <a:gd name="connsiteY35339" fmla="*/ 2270182 h 5973007"/>
              <a:gd name="connsiteX35340" fmla="*/ 1084191 w 6884782"/>
              <a:gd name="connsiteY35340" fmla="*/ 2272970 h 5973007"/>
              <a:gd name="connsiteX35341" fmla="*/ 1078925 w 6884782"/>
              <a:gd name="connsiteY35341" fmla="*/ 2274055 h 5973007"/>
              <a:gd name="connsiteX35342" fmla="*/ 1080267 w 6884782"/>
              <a:gd name="connsiteY35342" fmla="*/ 2279012 h 5973007"/>
              <a:gd name="connsiteX35343" fmla="*/ 1077686 w 6884782"/>
              <a:gd name="connsiteY35343" fmla="*/ 2282729 h 5973007"/>
              <a:gd name="connsiteX35344" fmla="*/ 1070148 w 6884782"/>
              <a:gd name="connsiteY35344" fmla="*/ 2283348 h 5973007"/>
              <a:gd name="connsiteX35345" fmla="*/ 1069631 w 6884782"/>
              <a:gd name="connsiteY35345" fmla="*/ 2278547 h 5973007"/>
              <a:gd name="connsiteX35346" fmla="*/ 1070044 w 6884782"/>
              <a:gd name="connsiteY35346" fmla="*/ 2276068 h 5973007"/>
              <a:gd name="connsiteX35347" fmla="*/ 1069012 w 6884782"/>
              <a:gd name="connsiteY35347" fmla="*/ 2275604 h 5973007"/>
              <a:gd name="connsiteX35348" fmla="*/ 1068186 w 6884782"/>
              <a:gd name="connsiteY35348" fmla="*/ 2275758 h 5973007"/>
              <a:gd name="connsiteX35349" fmla="*/ 1066740 w 6884782"/>
              <a:gd name="connsiteY35349" fmla="*/ 2274519 h 5973007"/>
              <a:gd name="connsiteX35350" fmla="*/ 1068392 w 6884782"/>
              <a:gd name="connsiteY35350" fmla="*/ 2272815 h 5973007"/>
              <a:gd name="connsiteX35351" fmla="*/ 1071180 w 6884782"/>
              <a:gd name="connsiteY35351" fmla="*/ 2272196 h 5973007"/>
              <a:gd name="connsiteX35352" fmla="*/ 1075207 w 6884782"/>
              <a:gd name="connsiteY35352" fmla="*/ 2270957 h 5973007"/>
              <a:gd name="connsiteX35353" fmla="*/ 1089457 w 6884782"/>
              <a:gd name="connsiteY35353" fmla="*/ 2270182 h 5973007"/>
              <a:gd name="connsiteX35354" fmla="*/ 1102118 w 6884782"/>
              <a:gd name="connsiteY35354" fmla="*/ 2269253 h 5973007"/>
              <a:gd name="connsiteX35355" fmla="*/ 1111657 w 6884782"/>
              <a:gd name="connsiteY35355" fmla="*/ 2270337 h 5973007"/>
              <a:gd name="connsiteX35356" fmla="*/ 1101951 w 6884782"/>
              <a:gd name="connsiteY35356" fmla="*/ 2274984 h 5973007"/>
              <a:gd name="connsiteX35357" fmla="*/ 1091728 w 6884782"/>
              <a:gd name="connsiteY35357" fmla="*/ 2273745 h 5973007"/>
              <a:gd name="connsiteX35358" fmla="*/ 1102118 w 6884782"/>
              <a:gd name="connsiteY35358" fmla="*/ 2269253 h 5973007"/>
              <a:gd name="connsiteX35359" fmla="*/ 4788926 w 6884782"/>
              <a:gd name="connsiteY35359" fmla="*/ 2269046 h 5973007"/>
              <a:gd name="connsiteX35360" fmla="*/ 4790633 w 6884782"/>
              <a:gd name="connsiteY35360" fmla="*/ 2269615 h 5973007"/>
              <a:gd name="connsiteX35361" fmla="*/ 4791700 w 6884782"/>
              <a:gd name="connsiteY35361" fmla="*/ 2273314 h 5973007"/>
              <a:gd name="connsiteX35362" fmla="*/ 4790420 w 6884782"/>
              <a:gd name="connsiteY35362" fmla="*/ 2276728 h 5973007"/>
              <a:gd name="connsiteX35363" fmla="*/ 4788712 w 6884782"/>
              <a:gd name="connsiteY35363" fmla="*/ 2276871 h 5973007"/>
              <a:gd name="connsiteX35364" fmla="*/ 4785938 w 6884782"/>
              <a:gd name="connsiteY35364" fmla="*/ 2276160 h 5973007"/>
              <a:gd name="connsiteX35365" fmla="*/ 4787219 w 6884782"/>
              <a:gd name="connsiteY35365" fmla="*/ 2270326 h 5973007"/>
              <a:gd name="connsiteX35366" fmla="*/ 4788926 w 6884782"/>
              <a:gd name="connsiteY35366" fmla="*/ 2269046 h 5973007"/>
              <a:gd name="connsiteX35367" fmla="*/ 5517541 w 6884782"/>
              <a:gd name="connsiteY35367" fmla="*/ 2268904 h 5973007"/>
              <a:gd name="connsiteX35368" fmla="*/ 5527144 w 6884782"/>
              <a:gd name="connsiteY35368" fmla="*/ 2275875 h 5973007"/>
              <a:gd name="connsiteX35369" fmla="*/ 5501748 w 6884782"/>
              <a:gd name="connsiteY35369" fmla="*/ 2301199 h 5973007"/>
              <a:gd name="connsiteX35370" fmla="*/ 5517541 w 6884782"/>
              <a:gd name="connsiteY35370" fmla="*/ 2268904 h 5973007"/>
              <a:gd name="connsiteX35371" fmla="*/ 929306 w 6884782"/>
              <a:gd name="connsiteY35371" fmla="*/ 2267859 h 5973007"/>
              <a:gd name="connsiteX35372" fmla="*/ 932817 w 6884782"/>
              <a:gd name="connsiteY35372" fmla="*/ 2279476 h 5973007"/>
              <a:gd name="connsiteX35373" fmla="*/ 929719 w 6884782"/>
              <a:gd name="connsiteY35373" fmla="*/ 2282264 h 5973007"/>
              <a:gd name="connsiteX35374" fmla="*/ 925279 w 6884782"/>
              <a:gd name="connsiteY35374" fmla="*/ 2273125 h 5973007"/>
              <a:gd name="connsiteX35375" fmla="*/ 925589 w 6884782"/>
              <a:gd name="connsiteY35375" fmla="*/ 2269873 h 5973007"/>
              <a:gd name="connsiteX35376" fmla="*/ 929306 w 6884782"/>
              <a:gd name="connsiteY35376" fmla="*/ 2267859 h 5973007"/>
              <a:gd name="connsiteX35377" fmla="*/ 5665014 w 6884782"/>
              <a:gd name="connsiteY35377" fmla="*/ 2267197 h 5973007"/>
              <a:gd name="connsiteX35378" fmla="*/ 5667362 w 6884782"/>
              <a:gd name="connsiteY35378" fmla="*/ 2281139 h 5973007"/>
              <a:gd name="connsiteX35379" fmla="*/ 5668002 w 6884782"/>
              <a:gd name="connsiteY35379" fmla="*/ 2281139 h 5973007"/>
              <a:gd name="connsiteX35380" fmla="*/ 5668642 w 6884782"/>
              <a:gd name="connsiteY35380" fmla="*/ 2280855 h 5973007"/>
              <a:gd name="connsiteX35381" fmla="*/ 5678886 w 6884782"/>
              <a:gd name="connsiteY35381" fmla="*/ 2283700 h 5973007"/>
              <a:gd name="connsiteX35382" fmla="*/ 5682514 w 6884782"/>
              <a:gd name="connsiteY35382" fmla="*/ 2290813 h 5973007"/>
              <a:gd name="connsiteX35383" fmla="*/ 5682514 w 6884782"/>
              <a:gd name="connsiteY35383" fmla="*/ 2294370 h 5973007"/>
              <a:gd name="connsiteX35384" fmla="*/ 5674191 w 6884782"/>
              <a:gd name="connsiteY35384" fmla="*/ 2299350 h 5973007"/>
              <a:gd name="connsiteX35385" fmla="*/ 5668429 w 6884782"/>
              <a:gd name="connsiteY35385" fmla="*/ 2298354 h 5973007"/>
              <a:gd name="connsiteX35386" fmla="*/ 5667575 w 6884782"/>
              <a:gd name="connsiteY35386" fmla="*/ 2305324 h 5973007"/>
              <a:gd name="connsiteX35387" fmla="*/ 5661813 w 6884782"/>
              <a:gd name="connsiteY35387" fmla="*/ 2319836 h 5973007"/>
              <a:gd name="connsiteX35388" fmla="*/ 5647940 w 6884782"/>
              <a:gd name="connsiteY35388" fmla="*/ 2317702 h 5973007"/>
              <a:gd name="connsiteX35389" fmla="*/ 5643245 w 6884782"/>
              <a:gd name="connsiteY35389" fmla="*/ 2308454 h 5973007"/>
              <a:gd name="connsiteX35390" fmla="*/ 5642178 w 6884782"/>
              <a:gd name="connsiteY35390" fmla="*/ 2310019 h 5973007"/>
              <a:gd name="connsiteX35391" fmla="*/ 5638336 w 6884782"/>
              <a:gd name="connsiteY35391" fmla="*/ 2311869 h 5973007"/>
              <a:gd name="connsiteX35392" fmla="*/ 5634708 w 6884782"/>
              <a:gd name="connsiteY35392" fmla="*/ 2308454 h 5973007"/>
              <a:gd name="connsiteX35393" fmla="*/ 5634708 w 6884782"/>
              <a:gd name="connsiteY35393" fmla="*/ 2298069 h 5973007"/>
              <a:gd name="connsiteX35394" fmla="*/ 5638336 w 6884782"/>
              <a:gd name="connsiteY35394" fmla="*/ 2296362 h 5973007"/>
              <a:gd name="connsiteX35395" fmla="*/ 5641537 w 6884782"/>
              <a:gd name="connsiteY35395" fmla="*/ 2299776 h 5973007"/>
              <a:gd name="connsiteX35396" fmla="*/ 5641537 w 6884782"/>
              <a:gd name="connsiteY35396" fmla="*/ 2291951 h 5973007"/>
              <a:gd name="connsiteX35397" fmla="*/ 5665014 w 6884782"/>
              <a:gd name="connsiteY35397" fmla="*/ 2267197 h 5973007"/>
              <a:gd name="connsiteX35398" fmla="*/ 5091342 w 6884782"/>
              <a:gd name="connsiteY35398" fmla="*/ 2267054 h 5973007"/>
              <a:gd name="connsiteX35399" fmla="*/ 5096250 w 6884782"/>
              <a:gd name="connsiteY35399" fmla="*/ 2280427 h 5973007"/>
              <a:gd name="connsiteX35400" fmla="*/ 5095183 w 6884782"/>
              <a:gd name="connsiteY35400" fmla="*/ 2280427 h 5973007"/>
              <a:gd name="connsiteX35401" fmla="*/ 5097530 w 6884782"/>
              <a:gd name="connsiteY35401" fmla="*/ 2281423 h 5973007"/>
              <a:gd name="connsiteX35402" fmla="*/ 5097744 w 6884782"/>
              <a:gd name="connsiteY35402" fmla="*/ 2282135 h 5973007"/>
              <a:gd name="connsiteX35403" fmla="*/ 5104787 w 6884782"/>
              <a:gd name="connsiteY35403" fmla="*/ 2277582 h 5973007"/>
              <a:gd name="connsiteX35404" fmla="*/ 5109696 w 6884782"/>
              <a:gd name="connsiteY35404" fmla="*/ 2282277 h 5973007"/>
              <a:gd name="connsiteX35405" fmla="*/ 5110122 w 6884782"/>
              <a:gd name="connsiteY35405" fmla="*/ 2284411 h 5973007"/>
              <a:gd name="connsiteX35406" fmla="*/ 5110763 w 6884782"/>
              <a:gd name="connsiteY35406" fmla="*/ 2282277 h 5973007"/>
              <a:gd name="connsiteX35407" fmla="*/ 5112684 w 6884782"/>
              <a:gd name="connsiteY35407" fmla="*/ 2291809 h 5973007"/>
              <a:gd name="connsiteX35408" fmla="*/ 5110336 w 6884782"/>
              <a:gd name="connsiteY35408" fmla="*/ 2288964 h 5973007"/>
              <a:gd name="connsiteX35409" fmla="*/ 5105641 w 6884782"/>
              <a:gd name="connsiteY35409" fmla="*/ 2297927 h 5973007"/>
              <a:gd name="connsiteX35410" fmla="*/ 5083658 w 6884782"/>
              <a:gd name="connsiteY35410" fmla="*/ 2293801 h 5973007"/>
              <a:gd name="connsiteX35411" fmla="*/ 5091128 w 6884782"/>
              <a:gd name="connsiteY35411" fmla="*/ 2287399 h 5973007"/>
              <a:gd name="connsiteX35412" fmla="*/ 5088780 w 6884782"/>
              <a:gd name="connsiteY35412" fmla="*/ 2286261 h 5973007"/>
              <a:gd name="connsiteX35413" fmla="*/ 5087500 w 6884782"/>
              <a:gd name="connsiteY35413" fmla="*/ 2281139 h 5973007"/>
              <a:gd name="connsiteX35414" fmla="*/ 5087073 w 6884782"/>
              <a:gd name="connsiteY35414" fmla="*/ 2281282 h 5973007"/>
              <a:gd name="connsiteX35415" fmla="*/ 5081951 w 6884782"/>
              <a:gd name="connsiteY35415" fmla="*/ 2273172 h 5973007"/>
              <a:gd name="connsiteX35416" fmla="*/ 5091342 w 6884782"/>
              <a:gd name="connsiteY35416" fmla="*/ 2267054 h 5973007"/>
              <a:gd name="connsiteX35417" fmla="*/ 4943015 w 6884782"/>
              <a:gd name="connsiteY35417" fmla="*/ 2266769 h 5973007"/>
              <a:gd name="connsiteX35418" fmla="*/ 4919752 w 6884782"/>
              <a:gd name="connsiteY35418" fmla="*/ 2282135 h 5973007"/>
              <a:gd name="connsiteX35419" fmla="*/ 4929356 w 6884782"/>
              <a:gd name="connsiteY35419" fmla="*/ 2270896 h 5973007"/>
              <a:gd name="connsiteX35420" fmla="*/ 4943015 w 6884782"/>
              <a:gd name="connsiteY35420" fmla="*/ 2266769 h 5973007"/>
              <a:gd name="connsiteX35421" fmla="*/ 805708 w 6884782"/>
              <a:gd name="connsiteY35421" fmla="*/ 2266620 h 5973007"/>
              <a:gd name="connsiteX35422" fmla="*/ 807051 w 6884782"/>
              <a:gd name="connsiteY35422" fmla="*/ 2267239 h 5973007"/>
              <a:gd name="connsiteX35423" fmla="*/ 808703 w 6884782"/>
              <a:gd name="connsiteY35423" fmla="*/ 2268634 h 5973007"/>
              <a:gd name="connsiteX35424" fmla="*/ 805708 w 6884782"/>
              <a:gd name="connsiteY35424" fmla="*/ 2271422 h 5973007"/>
              <a:gd name="connsiteX35425" fmla="*/ 803024 w 6884782"/>
              <a:gd name="connsiteY35425" fmla="*/ 2270647 h 5973007"/>
              <a:gd name="connsiteX35426" fmla="*/ 802611 w 6884782"/>
              <a:gd name="connsiteY35426" fmla="*/ 2269408 h 5973007"/>
              <a:gd name="connsiteX35427" fmla="*/ 803643 w 6884782"/>
              <a:gd name="connsiteY35427" fmla="*/ 2268169 h 5973007"/>
              <a:gd name="connsiteX35428" fmla="*/ 805708 w 6884782"/>
              <a:gd name="connsiteY35428" fmla="*/ 2266620 h 5973007"/>
              <a:gd name="connsiteX35429" fmla="*/ 787949 w 6884782"/>
              <a:gd name="connsiteY35429" fmla="*/ 2266465 h 5973007"/>
              <a:gd name="connsiteX35430" fmla="*/ 795693 w 6884782"/>
              <a:gd name="connsiteY35430" fmla="*/ 2272196 h 5973007"/>
              <a:gd name="connsiteX35431" fmla="*/ 785573 w 6884782"/>
              <a:gd name="connsiteY35431" fmla="*/ 2270492 h 5973007"/>
              <a:gd name="connsiteX35432" fmla="*/ 787949 w 6884782"/>
              <a:gd name="connsiteY35432" fmla="*/ 2266465 h 5973007"/>
              <a:gd name="connsiteX35433" fmla="*/ 977320 w 6884782"/>
              <a:gd name="connsiteY35433" fmla="*/ 2265690 h 5973007"/>
              <a:gd name="connsiteX35434" fmla="*/ 977940 w 6884782"/>
              <a:gd name="connsiteY35434" fmla="*/ 2270647 h 5973007"/>
              <a:gd name="connsiteX35435" fmla="*/ 977734 w 6884782"/>
              <a:gd name="connsiteY35435" fmla="*/ 2274674 h 5973007"/>
              <a:gd name="connsiteX35436" fmla="*/ 973603 w 6884782"/>
              <a:gd name="connsiteY35436" fmla="*/ 2288150 h 5973007"/>
              <a:gd name="connsiteX35437" fmla="*/ 972880 w 6884782"/>
              <a:gd name="connsiteY35437" fmla="*/ 2282419 h 5973007"/>
              <a:gd name="connsiteX35438" fmla="*/ 973603 w 6884782"/>
              <a:gd name="connsiteY35438" fmla="*/ 2269099 h 5973007"/>
              <a:gd name="connsiteX35439" fmla="*/ 975462 w 6884782"/>
              <a:gd name="connsiteY35439" fmla="*/ 2267395 h 5973007"/>
              <a:gd name="connsiteX35440" fmla="*/ 975462 w 6884782"/>
              <a:gd name="connsiteY35440" fmla="*/ 2266465 h 5973007"/>
              <a:gd name="connsiteX35441" fmla="*/ 977320 w 6884782"/>
              <a:gd name="connsiteY35441" fmla="*/ 2265690 h 5973007"/>
              <a:gd name="connsiteX35442" fmla="*/ 1043301 w 6884782"/>
              <a:gd name="connsiteY35442" fmla="*/ 2264916 h 5973007"/>
              <a:gd name="connsiteX35443" fmla="*/ 1051974 w 6884782"/>
              <a:gd name="connsiteY35443" fmla="*/ 2275604 h 5973007"/>
              <a:gd name="connsiteX35444" fmla="*/ 1044024 w 6884782"/>
              <a:gd name="connsiteY35444" fmla="*/ 2276688 h 5973007"/>
              <a:gd name="connsiteX35445" fmla="*/ 1041133 w 6884782"/>
              <a:gd name="connsiteY35445" fmla="*/ 2270337 h 5973007"/>
              <a:gd name="connsiteX35446" fmla="*/ 1043301 w 6884782"/>
              <a:gd name="connsiteY35446" fmla="*/ 2264916 h 5973007"/>
              <a:gd name="connsiteX35447" fmla="*/ 5250126 w 6884782"/>
              <a:gd name="connsiteY35447" fmla="*/ 2263640 h 5973007"/>
              <a:gd name="connsiteX35448" fmla="*/ 5251193 w 6884782"/>
              <a:gd name="connsiteY35448" fmla="*/ 2264351 h 5973007"/>
              <a:gd name="connsiteX35449" fmla="*/ 5255248 w 6884782"/>
              <a:gd name="connsiteY35449" fmla="*/ 2266769 h 5973007"/>
              <a:gd name="connsiteX35450" fmla="*/ 5254821 w 6884782"/>
              <a:gd name="connsiteY35450" fmla="*/ 2273029 h 5973007"/>
              <a:gd name="connsiteX35451" fmla="*/ 5247778 w 6884782"/>
              <a:gd name="connsiteY35451" fmla="*/ 2271607 h 5973007"/>
              <a:gd name="connsiteX35452" fmla="*/ 5247565 w 6884782"/>
              <a:gd name="connsiteY35452" fmla="*/ 2265062 h 5973007"/>
              <a:gd name="connsiteX35453" fmla="*/ 5250126 w 6884782"/>
              <a:gd name="connsiteY35453" fmla="*/ 2263640 h 5973007"/>
              <a:gd name="connsiteX35454" fmla="*/ 6304420 w 6884782"/>
              <a:gd name="connsiteY35454" fmla="*/ 2261932 h 5973007"/>
              <a:gd name="connsiteX35455" fmla="*/ 6312316 w 6884782"/>
              <a:gd name="connsiteY35455" fmla="*/ 2271891 h 5973007"/>
              <a:gd name="connsiteX35456" fmla="*/ 6314877 w 6884782"/>
              <a:gd name="connsiteY35456" fmla="*/ 2271607 h 5973007"/>
              <a:gd name="connsiteX35457" fmla="*/ 6318932 w 6884782"/>
              <a:gd name="connsiteY35457" fmla="*/ 2274452 h 5973007"/>
              <a:gd name="connsiteX35458" fmla="*/ 6317438 w 6884782"/>
              <a:gd name="connsiteY35458" fmla="*/ 2276871 h 5973007"/>
              <a:gd name="connsiteX35459" fmla="*/ 6312316 w 6884782"/>
              <a:gd name="connsiteY35459" fmla="*/ 2274594 h 5973007"/>
              <a:gd name="connsiteX35460" fmla="*/ 6311249 w 6884782"/>
              <a:gd name="connsiteY35460" fmla="*/ 2275306 h 5973007"/>
              <a:gd name="connsiteX35461" fmla="*/ 6310182 w 6884782"/>
              <a:gd name="connsiteY35461" fmla="*/ 2278578 h 5973007"/>
              <a:gd name="connsiteX35462" fmla="*/ 6300151 w 6884782"/>
              <a:gd name="connsiteY35462" fmla="*/ 2284980 h 5973007"/>
              <a:gd name="connsiteX35463" fmla="*/ 6291188 w 6884782"/>
              <a:gd name="connsiteY35463" fmla="*/ 2275590 h 5973007"/>
              <a:gd name="connsiteX35464" fmla="*/ 6291614 w 6884782"/>
              <a:gd name="connsiteY35464" fmla="*/ 2268477 h 5973007"/>
              <a:gd name="connsiteX35465" fmla="*/ 6304420 w 6884782"/>
              <a:gd name="connsiteY35465" fmla="*/ 2261932 h 5973007"/>
              <a:gd name="connsiteX35466" fmla="*/ 5544645 w 6884782"/>
              <a:gd name="connsiteY35466" fmla="*/ 2261648 h 5973007"/>
              <a:gd name="connsiteX35467" fmla="*/ 5544858 w 6884782"/>
              <a:gd name="connsiteY35467" fmla="*/ 2271607 h 5973007"/>
              <a:gd name="connsiteX35468" fmla="*/ 5534187 w 6884782"/>
              <a:gd name="connsiteY35468" fmla="*/ 2274026 h 5973007"/>
              <a:gd name="connsiteX35469" fmla="*/ 5544645 w 6884782"/>
              <a:gd name="connsiteY35469" fmla="*/ 2261648 h 5973007"/>
              <a:gd name="connsiteX35470" fmla="*/ 5625958 w 6884782"/>
              <a:gd name="connsiteY35470" fmla="*/ 2261506 h 5973007"/>
              <a:gd name="connsiteX35471" fmla="*/ 5634708 w 6884782"/>
              <a:gd name="connsiteY35471" fmla="*/ 2277155 h 5973007"/>
              <a:gd name="connsiteX35472" fmla="*/ 5632147 w 6884782"/>
              <a:gd name="connsiteY35472" fmla="*/ 2293089 h 5973007"/>
              <a:gd name="connsiteX35473" fmla="*/ 5625958 w 6884782"/>
              <a:gd name="connsiteY35473" fmla="*/ 2261506 h 5973007"/>
              <a:gd name="connsiteX35474" fmla="*/ 5379245 w 6884782"/>
              <a:gd name="connsiteY35474" fmla="*/ 2260225 h 5973007"/>
              <a:gd name="connsiteX35475" fmla="*/ 5390769 w 6884782"/>
              <a:gd name="connsiteY35475" fmla="*/ 2264636 h 5973007"/>
              <a:gd name="connsiteX35476" fmla="*/ 5394611 w 6884782"/>
              <a:gd name="connsiteY35476" fmla="*/ 2296077 h 5973007"/>
              <a:gd name="connsiteX35477" fmla="*/ 5390769 w 6884782"/>
              <a:gd name="connsiteY35477" fmla="*/ 2299492 h 5973007"/>
              <a:gd name="connsiteX35478" fmla="*/ 5387141 w 6884782"/>
              <a:gd name="connsiteY35478" fmla="*/ 2306463 h 5973007"/>
              <a:gd name="connsiteX35479" fmla="*/ 5364946 w 6884782"/>
              <a:gd name="connsiteY35479" fmla="*/ 2297785 h 5973007"/>
              <a:gd name="connsiteX35480" fmla="*/ 5359397 w 6884782"/>
              <a:gd name="connsiteY35480" fmla="*/ 2268192 h 5973007"/>
              <a:gd name="connsiteX35481" fmla="*/ 5379245 w 6884782"/>
              <a:gd name="connsiteY35481" fmla="*/ 2260225 h 5973007"/>
              <a:gd name="connsiteX35482" fmla="*/ 868592 w 6884782"/>
              <a:gd name="connsiteY35482" fmla="*/ 2259494 h 5973007"/>
              <a:gd name="connsiteX35483" fmla="*/ 874064 w 6884782"/>
              <a:gd name="connsiteY35483" fmla="*/ 2260114 h 5973007"/>
              <a:gd name="connsiteX35484" fmla="*/ 873858 w 6884782"/>
              <a:gd name="connsiteY35484" fmla="*/ 2263832 h 5973007"/>
              <a:gd name="connsiteX35485" fmla="*/ 868489 w 6884782"/>
              <a:gd name="connsiteY35485" fmla="*/ 2263367 h 5973007"/>
              <a:gd name="connsiteX35486" fmla="*/ 868592 w 6884782"/>
              <a:gd name="connsiteY35486" fmla="*/ 2259494 h 5973007"/>
              <a:gd name="connsiteX35487" fmla="*/ 1075853 w 6884782"/>
              <a:gd name="connsiteY35487" fmla="*/ 2259224 h 5973007"/>
              <a:gd name="connsiteX35488" fmla="*/ 1080887 w 6884782"/>
              <a:gd name="connsiteY35488" fmla="*/ 2259649 h 5973007"/>
              <a:gd name="connsiteX35489" fmla="*/ 1071284 w 6884782"/>
              <a:gd name="connsiteY35489" fmla="*/ 2267239 h 5973007"/>
              <a:gd name="connsiteX35490" fmla="*/ 1071594 w 6884782"/>
              <a:gd name="connsiteY35490" fmla="*/ 2261818 h 5973007"/>
              <a:gd name="connsiteX35491" fmla="*/ 1075853 w 6884782"/>
              <a:gd name="connsiteY35491" fmla="*/ 2259224 h 5973007"/>
              <a:gd name="connsiteX35492" fmla="*/ 4940667 w 6884782"/>
              <a:gd name="connsiteY35492" fmla="*/ 2259087 h 5973007"/>
              <a:gd name="connsiteX35493" fmla="*/ 4962223 w 6884782"/>
              <a:gd name="connsiteY35493" fmla="*/ 2282562 h 5973007"/>
              <a:gd name="connsiteX35494" fmla="*/ 4940667 w 6884782"/>
              <a:gd name="connsiteY35494" fmla="*/ 2259087 h 5973007"/>
              <a:gd name="connsiteX35495" fmla="*/ 1040410 w 6884782"/>
              <a:gd name="connsiteY35495" fmla="*/ 2258875 h 5973007"/>
              <a:gd name="connsiteX35496" fmla="*/ 1041649 w 6884782"/>
              <a:gd name="connsiteY35496" fmla="*/ 2259030 h 5973007"/>
              <a:gd name="connsiteX35497" fmla="*/ 1042165 w 6884782"/>
              <a:gd name="connsiteY35497" fmla="*/ 2261663 h 5973007"/>
              <a:gd name="connsiteX35498" fmla="*/ 1037519 w 6884782"/>
              <a:gd name="connsiteY35498" fmla="*/ 2260889 h 5973007"/>
              <a:gd name="connsiteX35499" fmla="*/ 1035557 w 6884782"/>
              <a:gd name="connsiteY35499" fmla="*/ 2261198 h 5973007"/>
              <a:gd name="connsiteX35500" fmla="*/ 1036589 w 6884782"/>
              <a:gd name="connsiteY35500" fmla="*/ 2259494 h 5973007"/>
              <a:gd name="connsiteX35501" fmla="*/ 1039377 w 6884782"/>
              <a:gd name="connsiteY35501" fmla="*/ 2260579 h 5973007"/>
              <a:gd name="connsiteX35502" fmla="*/ 1040410 w 6884782"/>
              <a:gd name="connsiteY35502" fmla="*/ 2258875 h 5973007"/>
              <a:gd name="connsiteX35503" fmla="*/ 5293663 w 6884782"/>
              <a:gd name="connsiteY35503" fmla="*/ 2258376 h 5973007"/>
              <a:gd name="connsiteX35504" fmla="*/ 5296865 w 6884782"/>
              <a:gd name="connsiteY35504" fmla="*/ 2259372 h 5973007"/>
              <a:gd name="connsiteX35505" fmla="*/ 5300493 w 6884782"/>
              <a:gd name="connsiteY35505" fmla="*/ 2266912 h 5973007"/>
              <a:gd name="connsiteX35506" fmla="*/ 5294303 w 6884782"/>
              <a:gd name="connsiteY35506" fmla="*/ 2273598 h 5973007"/>
              <a:gd name="connsiteX35507" fmla="*/ 5288968 w 6884782"/>
              <a:gd name="connsiteY35507" fmla="*/ 2259798 h 5973007"/>
              <a:gd name="connsiteX35508" fmla="*/ 5293663 w 6884782"/>
              <a:gd name="connsiteY35508" fmla="*/ 2258376 h 5973007"/>
              <a:gd name="connsiteX35509" fmla="*/ 5199545 w 6884782"/>
              <a:gd name="connsiteY35509" fmla="*/ 2256384 h 5973007"/>
              <a:gd name="connsiteX35510" fmla="*/ 5209149 w 6884782"/>
              <a:gd name="connsiteY35510" fmla="*/ 2264067 h 5973007"/>
              <a:gd name="connsiteX35511" fmla="*/ 5199119 w 6884782"/>
              <a:gd name="connsiteY35511" fmla="*/ 2272176 h 5973007"/>
              <a:gd name="connsiteX35512" fmla="*/ 5199545 w 6884782"/>
              <a:gd name="connsiteY35512" fmla="*/ 2256384 h 5973007"/>
              <a:gd name="connsiteX35513" fmla="*/ 1131482 w 6884782"/>
              <a:gd name="connsiteY35513" fmla="*/ 2255002 h 5973007"/>
              <a:gd name="connsiteX35514" fmla="*/ 1135199 w 6884782"/>
              <a:gd name="connsiteY35514" fmla="*/ 2255312 h 5973007"/>
              <a:gd name="connsiteX35515" fmla="*/ 1141085 w 6884782"/>
              <a:gd name="connsiteY35515" fmla="*/ 2255777 h 5973007"/>
              <a:gd name="connsiteX35516" fmla="*/ 1141291 w 6884782"/>
              <a:gd name="connsiteY35516" fmla="*/ 2259959 h 5973007"/>
              <a:gd name="connsiteX35517" fmla="*/ 1125183 w 6884782"/>
              <a:gd name="connsiteY35517" fmla="*/ 2263832 h 5973007"/>
              <a:gd name="connsiteX35518" fmla="*/ 1123944 w 6884782"/>
              <a:gd name="connsiteY35518" fmla="*/ 2261044 h 5973007"/>
              <a:gd name="connsiteX35519" fmla="*/ 1128074 w 6884782"/>
              <a:gd name="connsiteY35519" fmla="*/ 2256552 h 5973007"/>
              <a:gd name="connsiteX35520" fmla="*/ 1131482 w 6884782"/>
              <a:gd name="connsiteY35520" fmla="*/ 2255002 h 5973007"/>
              <a:gd name="connsiteX35521" fmla="*/ 1025644 w 6884782"/>
              <a:gd name="connsiteY35521" fmla="*/ 2254073 h 5973007"/>
              <a:gd name="connsiteX35522" fmla="*/ 1032562 w 6884782"/>
              <a:gd name="connsiteY35522" fmla="*/ 2257946 h 5973007"/>
              <a:gd name="connsiteX35523" fmla="*/ 1033595 w 6884782"/>
              <a:gd name="connsiteY35523" fmla="*/ 2260269 h 5973007"/>
              <a:gd name="connsiteX35524" fmla="*/ 1034731 w 6884782"/>
              <a:gd name="connsiteY35524" fmla="*/ 2259959 h 5973007"/>
              <a:gd name="connsiteX35525" fmla="*/ 1033698 w 6884782"/>
              <a:gd name="connsiteY35525" fmla="*/ 2260579 h 5973007"/>
              <a:gd name="connsiteX35526" fmla="*/ 1034937 w 6884782"/>
              <a:gd name="connsiteY35526" fmla="*/ 2263522 h 5973007"/>
              <a:gd name="connsiteX35527" fmla="*/ 1035763 w 6884782"/>
              <a:gd name="connsiteY35527" fmla="*/ 2263832 h 5973007"/>
              <a:gd name="connsiteX35528" fmla="*/ 1037209 w 6884782"/>
              <a:gd name="connsiteY35528" fmla="*/ 2266930 h 5973007"/>
              <a:gd name="connsiteX35529" fmla="*/ 1038758 w 6884782"/>
              <a:gd name="connsiteY35529" fmla="*/ 2274519 h 5973007"/>
              <a:gd name="connsiteX35530" fmla="*/ 1037519 w 6884782"/>
              <a:gd name="connsiteY35530" fmla="*/ 2274365 h 5973007"/>
              <a:gd name="connsiteX35531" fmla="*/ 1035144 w 6884782"/>
              <a:gd name="connsiteY35531" fmla="*/ 2268788 h 5973007"/>
              <a:gd name="connsiteX35532" fmla="*/ 1034628 w 6884782"/>
              <a:gd name="connsiteY35532" fmla="*/ 2267085 h 5973007"/>
              <a:gd name="connsiteX35533" fmla="*/ 1034008 w 6884782"/>
              <a:gd name="connsiteY35533" fmla="*/ 2270647 h 5973007"/>
              <a:gd name="connsiteX35534" fmla="*/ 1029568 w 6884782"/>
              <a:gd name="connsiteY35534" fmla="*/ 2276224 h 5973007"/>
              <a:gd name="connsiteX35535" fmla="*/ 1009433 w 6884782"/>
              <a:gd name="connsiteY35535" fmla="*/ 2275294 h 5973007"/>
              <a:gd name="connsiteX35536" fmla="*/ 1018933 w 6884782"/>
              <a:gd name="connsiteY35536" fmla="*/ 2255157 h 5973007"/>
              <a:gd name="connsiteX35537" fmla="*/ 1025644 w 6884782"/>
              <a:gd name="connsiteY35537" fmla="*/ 2254073 h 5973007"/>
              <a:gd name="connsiteX35538" fmla="*/ 927758 w 6884782"/>
              <a:gd name="connsiteY35538" fmla="*/ 2251905 h 5973007"/>
              <a:gd name="connsiteX35539" fmla="*/ 938186 w 6884782"/>
              <a:gd name="connsiteY35539" fmla="*/ 2260579 h 5973007"/>
              <a:gd name="connsiteX35540" fmla="*/ 931475 w 6884782"/>
              <a:gd name="connsiteY35540" fmla="*/ 2264141 h 5973007"/>
              <a:gd name="connsiteX35541" fmla="*/ 927551 w 6884782"/>
              <a:gd name="connsiteY35541" fmla="*/ 2255157 h 5973007"/>
              <a:gd name="connsiteX35542" fmla="*/ 927758 w 6884782"/>
              <a:gd name="connsiteY35542" fmla="*/ 2251905 h 5973007"/>
              <a:gd name="connsiteX35543" fmla="*/ 874994 w 6884782"/>
              <a:gd name="connsiteY35543" fmla="*/ 2251750 h 5973007"/>
              <a:gd name="connsiteX35544" fmla="*/ 881292 w 6884782"/>
              <a:gd name="connsiteY35544" fmla="*/ 2252214 h 5973007"/>
              <a:gd name="connsiteX35545" fmla="*/ 877059 w 6884782"/>
              <a:gd name="connsiteY35545" fmla="*/ 2261818 h 5973007"/>
              <a:gd name="connsiteX35546" fmla="*/ 872825 w 6884782"/>
              <a:gd name="connsiteY35546" fmla="*/ 2257326 h 5973007"/>
              <a:gd name="connsiteX35547" fmla="*/ 874994 w 6884782"/>
              <a:gd name="connsiteY35547" fmla="*/ 2251750 h 5973007"/>
              <a:gd name="connsiteX35548" fmla="*/ 5158355 w 6884782"/>
              <a:gd name="connsiteY35548" fmla="*/ 2251404 h 5973007"/>
              <a:gd name="connsiteX35549" fmla="*/ 5158996 w 6884782"/>
              <a:gd name="connsiteY35549" fmla="*/ 2252258 h 5973007"/>
              <a:gd name="connsiteX35550" fmla="*/ 5157715 w 6884782"/>
              <a:gd name="connsiteY35550" fmla="*/ 2253966 h 5973007"/>
              <a:gd name="connsiteX35551" fmla="*/ 5158355 w 6884782"/>
              <a:gd name="connsiteY35551" fmla="*/ 2251404 h 5973007"/>
              <a:gd name="connsiteX35552" fmla="*/ 4801518 w 6884782"/>
              <a:gd name="connsiteY35552" fmla="*/ 2248702 h 5973007"/>
              <a:gd name="connsiteX35553" fmla="*/ 4807493 w 6884782"/>
              <a:gd name="connsiteY35553" fmla="*/ 2256384 h 5973007"/>
              <a:gd name="connsiteX35554" fmla="*/ 4810054 w 6884782"/>
              <a:gd name="connsiteY35554" fmla="*/ 2265489 h 5973007"/>
              <a:gd name="connsiteX35555" fmla="*/ 4792127 w 6884782"/>
              <a:gd name="connsiteY35555" fmla="*/ 2256526 h 5973007"/>
              <a:gd name="connsiteX35556" fmla="*/ 4801518 w 6884782"/>
              <a:gd name="connsiteY35556" fmla="*/ 2248702 h 5973007"/>
              <a:gd name="connsiteX35557" fmla="*/ 1070561 w 6884782"/>
              <a:gd name="connsiteY35557" fmla="*/ 2247412 h 5973007"/>
              <a:gd name="connsiteX35558" fmla="*/ 1065811 w 6884782"/>
              <a:gd name="connsiteY35558" fmla="*/ 2260424 h 5973007"/>
              <a:gd name="connsiteX35559" fmla="*/ 1063126 w 6884782"/>
              <a:gd name="connsiteY35559" fmla="*/ 2254073 h 5973007"/>
              <a:gd name="connsiteX35560" fmla="*/ 1066431 w 6884782"/>
              <a:gd name="connsiteY35560" fmla="*/ 2248342 h 5973007"/>
              <a:gd name="connsiteX35561" fmla="*/ 1070561 w 6884782"/>
              <a:gd name="connsiteY35561" fmla="*/ 2247412 h 5973007"/>
              <a:gd name="connsiteX35562" fmla="*/ 5001492 w 6884782"/>
              <a:gd name="connsiteY35562" fmla="*/ 2246710 h 5973007"/>
              <a:gd name="connsiteX35563" fmla="*/ 5007681 w 6884782"/>
              <a:gd name="connsiteY35563" fmla="*/ 2251689 h 5973007"/>
              <a:gd name="connsiteX35564" fmla="*/ 4992955 w 6884782"/>
              <a:gd name="connsiteY35564" fmla="*/ 2262644 h 5973007"/>
              <a:gd name="connsiteX35565" fmla="*/ 5001492 w 6884782"/>
              <a:gd name="connsiteY35565" fmla="*/ 2246710 h 5973007"/>
              <a:gd name="connsiteX35566" fmla="*/ 6244449 w 6884782"/>
              <a:gd name="connsiteY35566" fmla="*/ 2245429 h 5973007"/>
              <a:gd name="connsiteX35567" fmla="*/ 6252345 w 6884782"/>
              <a:gd name="connsiteY35567" fmla="*/ 2254535 h 5973007"/>
              <a:gd name="connsiteX35568" fmla="*/ 6254052 w 6884782"/>
              <a:gd name="connsiteY35568" fmla="*/ 2258660 h 5973007"/>
              <a:gd name="connsiteX35569" fmla="*/ 6253412 w 6884782"/>
              <a:gd name="connsiteY35569" fmla="*/ 2257522 h 5973007"/>
              <a:gd name="connsiteX35570" fmla="*/ 6252985 w 6884782"/>
              <a:gd name="connsiteY35570" fmla="*/ 2259230 h 5973007"/>
              <a:gd name="connsiteX35571" fmla="*/ 6243595 w 6884782"/>
              <a:gd name="connsiteY35571" fmla="*/ 2246141 h 5973007"/>
              <a:gd name="connsiteX35572" fmla="*/ 6244449 w 6884782"/>
              <a:gd name="connsiteY35572" fmla="*/ 2245429 h 5973007"/>
              <a:gd name="connsiteX35573" fmla="*/ 5391409 w 6884782"/>
              <a:gd name="connsiteY35573" fmla="*/ 2245429 h 5973007"/>
              <a:gd name="connsiteX35574" fmla="*/ 5397599 w 6884782"/>
              <a:gd name="connsiteY35574" fmla="*/ 2253112 h 5973007"/>
              <a:gd name="connsiteX35575" fmla="*/ 5387995 w 6884782"/>
              <a:gd name="connsiteY35575" fmla="*/ 2247279 h 5973007"/>
              <a:gd name="connsiteX35576" fmla="*/ 5391409 w 6884782"/>
              <a:gd name="connsiteY35576" fmla="*/ 2245429 h 5973007"/>
              <a:gd name="connsiteX35577" fmla="*/ 1085636 w 6884782"/>
              <a:gd name="connsiteY35577" fmla="*/ 2244624 h 5973007"/>
              <a:gd name="connsiteX35578" fmla="*/ 1086669 w 6884782"/>
              <a:gd name="connsiteY35578" fmla="*/ 2249116 h 5973007"/>
              <a:gd name="connsiteX35579" fmla="*/ 1082435 w 6884782"/>
              <a:gd name="connsiteY35579" fmla="*/ 2248187 h 5973007"/>
              <a:gd name="connsiteX35580" fmla="*/ 1085636 w 6884782"/>
              <a:gd name="connsiteY35580" fmla="*/ 2244624 h 5973007"/>
              <a:gd name="connsiteX35581" fmla="*/ 945311 w 6884782"/>
              <a:gd name="connsiteY35581" fmla="*/ 2242301 h 5973007"/>
              <a:gd name="connsiteX35582" fmla="*/ 945621 w 6884782"/>
              <a:gd name="connsiteY35582" fmla="*/ 2247723 h 5973007"/>
              <a:gd name="connsiteX35583" fmla="*/ 939632 w 6884782"/>
              <a:gd name="connsiteY35583" fmla="*/ 2243540 h 5973007"/>
              <a:gd name="connsiteX35584" fmla="*/ 945311 w 6884782"/>
              <a:gd name="connsiteY35584" fmla="*/ 2242301 h 5973007"/>
              <a:gd name="connsiteX35585" fmla="*/ 970093 w 6884782"/>
              <a:gd name="connsiteY35585" fmla="*/ 2241062 h 5973007"/>
              <a:gd name="connsiteX35586" fmla="*/ 978663 w 6884782"/>
              <a:gd name="connsiteY35586" fmla="*/ 2241217 h 5973007"/>
              <a:gd name="connsiteX35587" fmla="*/ 978559 w 6884782"/>
              <a:gd name="connsiteY35587" fmla="*/ 2244624 h 5973007"/>
              <a:gd name="connsiteX35588" fmla="*/ 965446 w 6884782"/>
              <a:gd name="connsiteY35588" fmla="*/ 2247258 h 5973007"/>
              <a:gd name="connsiteX35589" fmla="*/ 970093 w 6884782"/>
              <a:gd name="connsiteY35589" fmla="*/ 2241062 h 5973007"/>
              <a:gd name="connsiteX35590" fmla="*/ 6247223 w 6884782"/>
              <a:gd name="connsiteY35590" fmla="*/ 2240735 h 5973007"/>
              <a:gd name="connsiteX35591" fmla="*/ 6265791 w 6884782"/>
              <a:gd name="connsiteY35591" fmla="*/ 2252401 h 5973007"/>
              <a:gd name="connsiteX35592" fmla="*/ 6261522 w 6884782"/>
              <a:gd name="connsiteY35592" fmla="*/ 2254961 h 5973007"/>
              <a:gd name="connsiteX35593" fmla="*/ 6260455 w 6884782"/>
              <a:gd name="connsiteY35593" fmla="*/ 2252970 h 5973007"/>
              <a:gd name="connsiteX35594" fmla="*/ 6247223 w 6884782"/>
              <a:gd name="connsiteY35594" fmla="*/ 2240735 h 5973007"/>
              <a:gd name="connsiteX35595" fmla="*/ 1067153 w 6884782"/>
              <a:gd name="connsiteY35595" fmla="*/ 2239978 h 5973007"/>
              <a:gd name="connsiteX35596" fmla="*/ 1069322 w 6884782"/>
              <a:gd name="connsiteY35596" fmla="*/ 2241526 h 5973007"/>
              <a:gd name="connsiteX35597" fmla="*/ 1069528 w 6884782"/>
              <a:gd name="connsiteY35597" fmla="*/ 2245864 h 5973007"/>
              <a:gd name="connsiteX35598" fmla="*/ 1061784 w 6884782"/>
              <a:gd name="connsiteY35598" fmla="*/ 2245244 h 5973007"/>
              <a:gd name="connsiteX35599" fmla="*/ 1061371 w 6884782"/>
              <a:gd name="connsiteY35599" fmla="*/ 2242766 h 5973007"/>
              <a:gd name="connsiteX35600" fmla="*/ 1067153 w 6884782"/>
              <a:gd name="connsiteY35600" fmla="*/ 2239978 h 5973007"/>
              <a:gd name="connsiteX35601" fmla="*/ 4935332 w 6884782"/>
              <a:gd name="connsiteY35601" fmla="*/ 2239739 h 5973007"/>
              <a:gd name="connsiteX35602" fmla="*/ 4946429 w 6884782"/>
              <a:gd name="connsiteY35602" fmla="*/ 2249839 h 5973007"/>
              <a:gd name="connsiteX35603" fmla="*/ 4930637 w 6884782"/>
              <a:gd name="connsiteY35603" fmla="*/ 2254819 h 5973007"/>
              <a:gd name="connsiteX35604" fmla="*/ 4935332 w 6884782"/>
              <a:gd name="connsiteY35604" fmla="*/ 2239739 h 5973007"/>
              <a:gd name="connsiteX35605" fmla="*/ 6360976 w 6884782"/>
              <a:gd name="connsiteY35605" fmla="*/ 2239454 h 5973007"/>
              <a:gd name="connsiteX35606" fmla="*/ 6352226 w 6884782"/>
              <a:gd name="connsiteY35606" fmla="*/ 2267481 h 5973007"/>
              <a:gd name="connsiteX35607" fmla="*/ 6340274 w 6884782"/>
              <a:gd name="connsiteY35607" fmla="*/ 2258091 h 5973007"/>
              <a:gd name="connsiteX35608" fmla="*/ 6360976 w 6884782"/>
              <a:gd name="connsiteY35608" fmla="*/ 2239454 h 5973007"/>
              <a:gd name="connsiteX35609" fmla="*/ 5621690 w 6884782"/>
              <a:gd name="connsiteY35609" fmla="*/ 2239170 h 5973007"/>
              <a:gd name="connsiteX35610" fmla="*/ 5621263 w 6884782"/>
              <a:gd name="connsiteY35610" fmla="*/ 2241588 h 5973007"/>
              <a:gd name="connsiteX35611" fmla="*/ 5623183 w 6884782"/>
              <a:gd name="connsiteY35611" fmla="*/ 2240877 h 5973007"/>
              <a:gd name="connsiteX35612" fmla="*/ 5623397 w 6884782"/>
              <a:gd name="connsiteY35612" fmla="*/ 2239881 h 5973007"/>
              <a:gd name="connsiteX35613" fmla="*/ 5622330 w 6884782"/>
              <a:gd name="connsiteY35613" fmla="*/ 2239596 h 5973007"/>
              <a:gd name="connsiteX35614" fmla="*/ 1097717 w 6884782"/>
              <a:gd name="connsiteY35614" fmla="*/ 2239048 h 5973007"/>
              <a:gd name="connsiteX35615" fmla="*/ 1102777 w 6884782"/>
              <a:gd name="connsiteY35615" fmla="*/ 2241681 h 5973007"/>
              <a:gd name="connsiteX35616" fmla="*/ 1097821 w 6884782"/>
              <a:gd name="connsiteY35616" fmla="*/ 2250201 h 5973007"/>
              <a:gd name="connsiteX35617" fmla="*/ 1094310 w 6884782"/>
              <a:gd name="connsiteY35617" fmla="*/ 2248652 h 5973007"/>
              <a:gd name="connsiteX35618" fmla="*/ 1092967 w 6884782"/>
              <a:gd name="connsiteY35618" fmla="*/ 2245864 h 5973007"/>
              <a:gd name="connsiteX35619" fmla="*/ 1097717 w 6884782"/>
              <a:gd name="connsiteY35619" fmla="*/ 2239048 h 5973007"/>
              <a:gd name="connsiteX35620" fmla="*/ 5257595 w 6884782"/>
              <a:gd name="connsiteY35620" fmla="*/ 2238600 h 5973007"/>
              <a:gd name="connsiteX35621" fmla="*/ 5261437 w 6884782"/>
              <a:gd name="connsiteY35621" fmla="*/ 2238600 h 5973007"/>
              <a:gd name="connsiteX35622" fmla="*/ 5249486 w 6884782"/>
              <a:gd name="connsiteY35622" fmla="*/ 2247421 h 5973007"/>
              <a:gd name="connsiteX35623" fmla="*/ 5257595 w 6884782"/>
              <a:gd name="connsiteY35623" fmla="*/ 2238600 h 5973007"/>
              <a:gd name="connsiteX35624" fmla="*/ 920736 w 6884782"/>
              <a:gd name="connsiteY35624" fmla="*/ 2237345 h 5973007"/>
              <a:gd name="connsiteX35625" fmla="*/ 915470 w 6884782"/>
              <a:gd name="connsiteY35625" fmla="*/ 2262592 h 5973007"/>
              <a:gd name="connsiteX35626" fmla="*/ 911856 w 6884782"/>
              <a:gd name="connsiteY35626" fmla="*/ 2257171 h 5973007"/>
              <a:gd name="connsiteX35627" fmla="*/ 920736 w 6884782"/>
              <a:gd name="connsiteY35627" fmla="*/ 2237345 h 5973007"/>
              <a:gd name="connsiteX35628" fmla="*/ 849283 w 6884782"/>
              <a:gd name="connsiteY35628" fmla="*/ 2236879 h 5973007"/>
              <a:gd name="connsiteX35629" fmla="*/ 860228 w 6884782"/>
              <a:gd name="connsiteY35629" fmla="*/ 2243076 h 5973007"/>
              <a:gd name="connsiteX35630" fmla="*/ 847837 w 6884782"/>
              <a:gd name="connsiteY35630" fmla="*/ 2241681 h 5973007"/>
              <a:gd name="connsiteX35631" fmla="*/ 849283 w 6884782"/>
              <a:gd name="connsiteY35631" fmla="*/ 2236879 h 5973007"/>
              <a:gd name="connsiteX35632" fmla="*/ 6238259 w 6884782"/>
              <a:gd name="connsiteY35632" fmla="*/ 2235755 h 5973007"/>
              <a:gd name="connsiteX35633" fmla="*/ 6243381 w 6884782"/>
              <a:gd name="connsiteY35633" fmla="*/ 2237889 h 5973007"/>
              <a:gd name="connsiteX35634" fmla="*/ 6242954 w 6884782"/>
              <a:gd name="connsiteY35634" fmla="*/ 2239596 h 5973007"/>
              <a:gd name="connsiteX35635" fmla="*/ 6238259 w 6884782"/>
              <a:gd name="connsiteY35635" fmla="*/ 2235755 h 5973007"/>
              <a:gd name="connsiteX35636" fmla="*/ 1055072 w 6884782"/>
              <a:gd name="connsiteY35636" fmla="*/ 2235021 h 5973007"/>
              <a:gd name="connsiteX35637" fmla="*/ 1051871 w 6884782"/>
              <a:gd name="connsiteY35637" fmla="*/ 2241836 h 5973007"/>
              <a:gd name="connsiteX35638" fmla="*/ 1055072 w 6884782"/>
              <a:gd name="connsiteY35638" fmla="*/ 2235021 h 5973007"/>
              <a:gd name="connsiteX35639" fmla="*/ 4728528 w 6884782"/>
              <a:gd name="connsiteY35639" fmla="*/ 2234475 h 5973007"/>
              <a:gd name="connsiteX35640" fmla="*/ 4736851 w 6884782"/>
              <a:gd name="connsiteY35640" fmla="*/ 2237178 h 5973007"/>
              <a:gd name="connsiteX35641" fmla="*/ 4737918 w 6884782"/>
              <a:gd name="connsiteY35641" fmla="*/ 2240877 h 5973007"/>
              <a:gd name="connsiteX35642" fmla="*/ 4730876 w 6884782"/>
              <a:gd name="connsiteY35642" fmla="*/ 2244434 h 5973007"/>
              <a:gd name="connsiteX35643" fmla="*/ 4727674 w 6884782"/>
              <a:gd name="connsiteY35643" fmla="*/ 2242015 h 5973007"/>
              <a:gd name="connsiteX35644" fmla="*/ 4726607 w 6884782"/>
              <a:gd name="connsiteY35644" fmla="*/ 2235898 h 5973007"/>
              <a:gd name="connsiteX35645" fmla="*/ 4728528 w 6884782"/>
              <a:gd name="connsiteY35645" fmla="*/ 2234475 h 5973007"/>
              <a:gd name="connsiteX35646" fmla="*/ 5704923 w 6884782"/>
              <a:gd name="connsiteY35646" fmla="*/ 2233479 h 5973007"/>
              <a:gd name="connsiteX35647" fmla="*/ 5714101 w 6884782"/>
              <a:gd name="connsiteY35647" fmla="*/ 2241303 h 5973007"/>
              <a:gd name="connsiteX35648" fmla="*/ 5710259 w 6884782"/>
              <a:gd name="connsiteY35648" fmla="*/ 2267197 h 5973007"/>
              <a:gd name="connsiteX35649" fmla="*/ 5710259 w 6884782"/>
              <a:gd name="connsiteY35649" fmla="*/ 2267339 h 5973007"/>
              <a:gd name="connsiteX35650" fmla="*/ 5716448 w 6884782"/>
              <a:gd name="connsiteY35650" fmla="*/ 2272318 h 5973007"/>
              <a:gd name="connsiteX35651" fmla="*/ 5712393 w 6884782"/>
              <a:gd name="connsiteY35651" fmla="*/ 2283273 h 5973007"/>
              <a:gd name="connsiteX35652" fmla="*/ 5705563 w 6884782"/>
              <a:gd name="connsiteY35652" fmla="*/ 2284696 h 5973007"/>
              <a:gd name="connsiteX35653" fmla="*/ 5705350 w 6884782"/>
              <a:gd name="connsiteY35653" fmla="*/ 2285692 h 5973007"/>
              <a:gd name="connsiteX35654" fmla="*/ 5697027 w 6884782"/>
              <a:gd name="connsiteY35654" fmla="*/ 2292805 h 5973007"/>
              <a:gd name="connsiteX35655" fmla="*/ 5690411 w 6884782"/>
              <a:gd name="connsiteY35655" fmla="*/ 2274452 h 5973007"/>
              <a:gd name="connsiteX35656" fmla="*/ 5688704 w 6884782"/>
              <a:gd name="connsiteY35656" fmla="*/ 2270184 h 5973007"/>
              <a:gd name="connsiteX35657" fmla="*/ 5686783 w 6884782"/>
              <a:gd name="connsiteY35657" fmla="*/ 2274452 h 5973007"/>
              <a:gd name="connsiteX35658" fmla="*/ 5679740 w 6884782"/>
              <a:gd name="connsiteY35658" fmla="*/ 2259798 h 5973007"/>
              <a:gd name="connsiteX35659" fmla="*/ 5684008 w 6884782"/>
              <a:gd name="connsiteY35659" fmla="*/ 2260937 h 5973007"/>
              <a:gd name="connsiteX35660" fmla="*/ 5687423 w 6884782"/>
              <a:gd name="connsiteY35660" fmla="*/ 2262644 h 5973007"/>
              <a:gd name="connsiteX35661" fmla="*/ 5687636 w 6884782"/>
              <a:gd name="connsiteY35661" fmla="*/ 2257949 h 5973007"/>
              <a:gd name="connsiteX35662" fmla="*/ 5692332 w 6884782"/>
              <a:gd name="connsiteY35662" fmla="*/ 2263213 h 5973007"/>
              <a:gd name="connsiteX35663" fmla="*/ 5693185 w 6884782"/>
              <a:gd name="connsiteY35663" fmla="*/ 2263924 h 5973007"/>
              <a:gd name="connsiteX35664" fmla="*/ 5696173 w 6884782"/>
              <a:gd name="connsiteY35664" fmla="*/ 2262644 h 5973007"/>
              <a:gd name="connsiteX35665" fmla="*/ 5701295 w 6884782"/>
              <a:gd name="connsiteY35665" fmla="*/ 2263924 h 5973007"/>
              <a:gd name="connsiteX35666" fmla="*/ 5698307 w 6884782"/>
              <a:gd name="connsiteY35666" fmla="*/ 2255103 h 5973007"/>
              <a:gd name="connsiteX35667" fmla="*/ 5700015 w 6884782"/>
              <a:gd name="connsiteY35667" fmla="*/ 2235186 h 5973007"/>
              <a:gd name="connsiteX35668" fmla="*/ 5704923 w 6884782"/>
              <a:gd name="connsiteY35668" fmla="*/ 2233479 h 5973007"/>
              <a:gd name="connsiteX35669" fmla="*/ 5146831 w 6884782"/>
              <a:gd name="connsiteY35669" fmla="*/ 2233479 h 5973007"/>
              <a:gd name="connsiteX35670" fmla="*/ 5152166 w 6884782"/>
              <a:gd name="connsiteY35670" fmla="*/ 2247279 h 5973007"/>
              <a:gd name="connsiteX35671" fmla="*/ 5149392 w 6884782"/>
              <a:gd name="connsiteY35671" fmla="*/ 2261221 h 5973007"/>
              <a:gd name="connsiteX35672" fmla="*/ 5146831 w 6884782"/>
              <a:gd name="connsiteY35672" fmla="*/ 2233479 h 5973007"/>
              <a:gd name="connsiteX35673" fmla="*/ 1128488 w 6884782"/>
              <a:gd name="connsiteY35673" fmla="*/ 2233472 h 5973007"/>
              <a:gd name="connsiteX35674" fmla="*/ 1134373 w 6884782"/>
              <a:gd name="connsiteY35674" fmla="*/ 2239668 h 5973007"/>
              <a:gd name="connsiteX35675" fmla="*/ 1128488 w 6884782"/>
              <a:gd name="connsiteY35675" fmla="*/ 2235641 h 5973007"/>
              <a:gd name="connsiteX35676" fmla="*/ 1128488 w 6884782"/>
              <a:gd name="connsiteY35676" fmla="*/ 2233472 h 5973007"/>
              <a:gd name="connsiteX35677" fmla="*/ 766781 w 6884782"/>
              <a:gd name="connsiteY35677" fmla="*/ 2232698 h 5973007"/>
              <a:gd name="connsiteX35678" fmla="*/ 775145 w 6884782"/>
              <a:gd name="connsiteY35678" fmla="*/ 2258875 h 5973007"/>
              <a:gd name="connsiteX35679" fmla="*/ 766781 w 6884782"/>
              <a:gd name="connsiteY35679" fmla="*/ 2232698 h 5973007"/>
              <a:gd name="connsiteX35680" fmla="*/ 5581354 w 6884782"/>
              <a:gd name="connsiteY35680" fmla="*/ 2230207 h 5973007"/>
              <a:gd name="connsiteX35681" fmla="*/ 5586902 w 6884782"/>
              <a:gd name="connsiteY35681" fmla="*/ 2232056 h 5973007"/>
              <a:gd name="connsiteX35682" fmla="*/ 5588182 w 6884782"/>
              <a:gd name="connsiteY35682" fmla="*/ 2236324 h 5973007"/>
              <a:gd name="connsiteX35683" fmla="*/ 5569828 w 6884782"/>
              <a:gd name="connsiteY35683" fmla="*/ 2250693 h 5973007"/>
              <a:gd name="connsiteX35684" fmla="*/ 5567481 w 6884782"/>
              <a:gd name="connsiteY35684" fmla="*/ 2247990 h 5973007"/>
              <a:gd name="connsiteX35685" fmla="*/ 5581354 w 6884782"/>
              <a:gd name="connsiteY35685" fmla="*/ 2230207 h 5973007"/>
              <a:gd name="connsiteX35686" fmla="*/ 983206 w 6884782"/>
              <a:gd name="connsiteY35686" fmla="*/ 2228051 h 5973007"/>
              <a:gd name="connsiteX35687" fmla="*/ 982483 w 6884782"/>
              <a:gd name="connsiteY35687" fmla="*/ 2232078 h 5973007"/>
              <a:gd name="connsiteX35688" fmla="*/ 979592 w 6884782"/>
              <a:gd name="connsiteY35688" fmla="*/ 2235176 h 5973007"/>
              <a:gd name="connsiteX35689" fmla="*/ 980315 w 6884782"/>
              <a:gd name="connsiteY35689" fmla="*/ 2231923 h 5973007"/>
              <a:gd name="connsiteX35690" fmla="*/ 981761 w 6884782"/>
              <a:gd name="connsiteY35690" fmla="*/ 2228670 h 5973007"/>
              <a:gd name="connsiteX35691" fmla="*/ 983206 w 6884782"/>
              <a:gd name="connsiteY35691" fmla="*/ 2228051 h 5973007"/>
              <a:gd name="connsiteX35692" fmla="*/ 5087714 w 6884782"/>
              <a:gd name="connsiteY35692" fmla="*/ 2227788 h 5973007"/>
              <a:gd name="connsiteX35693" fmla="*/ 5088567 w 6884782"/>
              <a:gd name="connsiteY35693" fmla="*/ 2236324 h 5973007"/>
              <a:gd name="connsiteX35694" fmla="*/ 5087073 w 6884782"/>
              <a:gd name="connsiteY35694" fmla="*/ 2255103 h 5973007"/>
              <a:gd name="connsiteX35695" fmla="*/ 5084726 w 6884782"/>
              <a:gd name="connsiteY35695" fmla="*/ 2257095 h 5973007"/>
              <a:gd name="connsiteX35696" fmla="*/ 5084512 w 6884782"/>
              <a:gd name="connsiteY35696" fmla="*/ 2258233 h 5973007"/>
              <a:gd name="connsiteX35697" fmla="*/ 5082164 w 6884782"/>
              <a:gd name="connsiteY35697" fmla="*/ 2259087 h 5973007"/>
              <a:gd name="connsiteX35698" fmla="*/ 5081524 w 6884782"/>
              <a:gd name="connsiteY35698" fmla="*/ 2251831 h 5973007"/>
              <a:gd name="connsiteX35699" fmla="*/ 5081951 w 6884782"/>
              <a:gd name="connsiteY35699" fmla="*/ 2245856 h 5973007"/>
              <a:gd name="connsiteX35700" fmla="*/ 5087714 w 6884782"/>
              <a:gd name="connsiteY35700" fmla="*/ 2227788 h 5973007"/>
              <a:gd name="connsiteX35701" fmla="*/ 973293 w 6884782"/>
              <a:gd name="connsiteY35701" fmla="*/ 2227586 h 5973007"/>
              <a:gd name="connsiteX35702" fmla="*/ 975771 w 6884782"/>
              <a:gd name="connsiteY35702" fmla="*/ 2231768 h 5973007"/>
              <a:gd name="connsiteX35703" fmla="*/ 974532 w 6884782"/>
              <a:gd name="connsiteY35703" fmla="*/ 2235021 h 5973007"/>
              <a:gd name="connsiteX35704" fmla="*/ 975359 w 6884782"/>
              <a:gd name="connsiteY35704" fmla="*/ 2235021 h 5973007"/>
              <a:gd name="connsiteX35705" fmla="*/ 979592 w 6884782"/>
              <a:gd name="connsiteY35705" fmla="*/ 2235176 h 5973007"/>
              <a:gd name="connsiteX35706" fmla="*/ 983103 w 6884782"/>
              <a:gd name="connsiteY35706" fmla="*/ 2235486 h 5973007"/>
              <a:gd name="connsiteX35707" fmla="*/ 982896 w 6884782"/>
              <a:gd name="connsiteY35707" fmla="*/ 2237345 h 5973007"/>
              <a:gd name="connsiteX35708" fmla="*/ 980934 w 6884782"/>
              <a:gd name="connsiteY35708" fmla="*/ 2238583 h 5973007"/>
              <a:gd name="connsiteX35709" fmla="*/ 972467 w 6884782"/>
              <a:gd name="connsiteY35709" fmla="*/ 2238583 h 5973007"/>
              <a:gd name="connsiteX35710" fmla="*/ 970402 w 6884782"/>
              <a:gd name="connsiteY35710" fmla="*/ 2238274 h 5973007"/>
              <a:gd name="connsiteX35711" fmla="*/ 968544 w 6884782"/>
              <a:gd name="connsiteY35711" fmla="*/ 2237964 h 5973007"/>
              <a:gd name="connsiteX35712" fmla="*/ 966375 w 6884782"/>
              <a:gd name="connsiteY35712" fmla="*/ 2235021 h 5973007"/>
              <a:gd name="connsiteX35713" fmla="*/ 972674 w 6884782"/>
              <a:gd name="connsiteY35713" fmla="*/ 2235021 h 5973007"/>
              <a:gd name="connsiteX35714" fmla="*/ 970505 w 6884782"/>
              <a:gd name="connsiteY35714" fmla="*/ 2233782 h 5973007"/>
              <a:gd name="connsiteX35715" fmla="*/ 968854 w 6884782"/>
              <a:gd name="connsiteY35715" fmla="*/ 2230064 h 5973007"/>
              <a:gd name="connsiteX35716" fmla="*/ 973293 w 6884782"/>
              <a:gd name="connsiteY35716" fmla="*/ 2227586 h 5973007"/>
              <a:gd name="connsiteX35717" fmla="*/ 878401 w 6884782"/>
              <a:gd name="connsiteY35717" fmla="*/ 2227121 h 5973007"/>
              <a:gd name="connsiteX35718" fmla="*/ 875820 w 6884782"/>
              <a:gd name="connsiteY35718" fmla="*/ 2246948 h 5973007"/>
              <a:gd name="connsiteX35719" fmla="*/ 871586 w 6884782"/>
              <a:gd name="connsiteY35719" fmla="*/ 2245089 h 5973007"/>
              <a:gd name="connsiteX35720" fmla="*/ 871069 w 6884782"/>
              <a:gd name="connsiteY35720" fmla="*/ 2240133 h 5973007"/>
              <a:gd name="connsiteX35721" fmla="*/ 871069 w 6884782"/>
              <a:gd name="connsiteY35721" fmla="*/ 2235795 h 5973007"/>
              <a:gd name="connsiteX35722" fmla="*/ 878401 w 6884782"/>
              <a:gd name="connsiteY35722" fmla="*/ 2227121 h 5973007"/>
              <a:gd name="connsiteX35723" fmla="*/ 4557365 w 6884782"/>
              <a:gd name="connsiteY35723" fmla="*/ 2227077 h 5973007"/>
              <a:gd name="connsiteX35724" fmla="*/ 4565475 w 6884782"/>
              <a:gd name="connsiteY35724" fmla="*/ 2232056 h 5973007"/>
              <a:gd name="connsiteX35725" fmla="*/ 4560993 w 6884782"/>
              <a:gd name="connsiteY35725" fmla="*/ 2246283 h 5973007"/>
              <a:gd name="connsiteX35726" fmla="*/ 4555658 w 6884782"/>
              <a:gd name="connsiteY35726" fmla="*/ 2247706 h 5973007"/>
              <a:gd name="connsiteX35727" fmla="*/ 4547548 w 6884782"/>
              <a:gd name="connsiteY35727" fmla="*/ 2244576 h 5973007"/>
              <a:gd name="connsiteX35728" fmla="*/ 4549042 w 6884782"/>
              <a:gd name="connsiteY35728" fmla="*/ 2234190 h 5973007"/>
              <a:gd name="connsiteX35729" fmla="*/ 4547761 w 6884782"/>
              <a:gd name="connsiteY35729" fmla="*/ 2234617 h 5973007"/>
              <a:gd name="connsiteX35730" fmla="*/ 4548615 w 6884782"/>
              <a:gd name="connsiteY35730" fmla="*/ 2233763 h 5973007"/>
              <a:gd name="connsiteX35731" fmla="*/ 4549255 w 6884782"/>
              <a:gd name="connsiteY35731" fmla="*/ 2233763 h 5973007"/>
              <a:gd name="connsiteX35732" fmla="*/ 4552883 w 6884782"/>
              <a:gd name="connsiteY35732" fmla="*/ 2229353 h 5973007"/>
              <a:gd name="connsiteX35733" fmla="*/ 4557365 w 6884782"/>
              <a:gd name="connsiteY35733" fmla="*/ 2227077 h 5973007"/>
              <a:gd name="connsiteX35734" fmla="*/ 1129520 w 6884782"/>
              <a:gd name="connsiteY35734" fmla="*/ 2225572 h 5973007"/>
              <a:gd name="connsiteX35735" fmla="*/ 1128900 w 6884782"/>
              <a:gd name="connsiteY35735" fmla="*/ 2231458 h 5973007"/>
              <a:gd name="connsiteX35736" fmla="*/ 1122499 w 6884782"/>
              <a:gd name="connsiteY35736" fmla="*/ 2234711 h 5973007"/>
              <a:gd name="connsiteX35737" fmla="*/ 1122086 w 6884782"/>
              <a:gd name="connsiteY35737" fmla="*/ 2231458 h 5973007"/>
              <a:gd name="connsiteX35738" fmla="*/ 1129520 w 6884782"/>
              <a:gd name="connsiteY35738" fmla="*/ 2225572 h 5973007"/>
              <a:gd name="connsiteX35739" fmla="*/ 4913563 w 6884782"/>
              <a:gd name="connsiteY35739" fmla="*/ 2224516 h 5973007"/>
              <a:gd name="connsiteX35740" fmla="*/ 4924661 w 6884782"/>
              <a:gd name="connsiteY35740" fmla="*/ 2240165 h 5973007"/>
              <a:gd name="connsiteX35741" fmla="*/ 4913990 w 6884782"/>
              <a:gd name="connsiteY35741" fmla="*/ 2241303 h 5973007"/>
              <a:gd name="connsiteX35742" fmla="*/ 4913563 w 6884782"/>
              <a:gd name="connsiteY35742" fmla="*/ 2224516 h 5973007"/>
              <a:gd name="connsiteX35743" fmla="*/ 5207655 w 6884782"/>
              <a:gd name="connsiteY35743" fmla="*/ 2224089 h 5973007"/>
              <a:gd name="connsiteX35744" fmla="*/ 5215765 w 6884782"/>
              <a:gd name="connsiteY35744" fmla="*/ 2227361 h 5973007"/>
              <a:gd name="connsiteX35745" fmla="*/ 5217686 w 6884782"/>
              <a:gd name="connsiteY35745" fmla="*/ 2243011 h 5973007"/>
              <a:gd name="connsiteX35746" fmla="*/ 5207015 w 6884782"/>
              <a:gd name="connsiteY35746" fmla="*/ 2247706 h 5973007"/>
              <a:gd name="connsiteX35747" fmla="*/ 5208082 w 6884782"/>
              <a:gd name="connsiteY35747" fmla="*/ 2247848 h 5973007"/>
              <a:gd name="connsiteX35748" fmla="*/ 5211710 w 6884782"/>
              <a:gd name="connsiteY35748" fmla="*/ 2252543 h 5973007"/>
              <a:gd name="connsiteX35749" fmla="*/ 5219393 w 6884782"/>
              <a:gd name="connsiteY35749" fmla="*/ 2255815 h 5973007"/>
              <a:gd name="connsiteX35750" fmla="*/ 5219393 w 6884782"/>
              <a:gd name="connsiteY35750" fmla="*/ 2259656 h 5973007"/>
              <a:gd name="connsiteX35751" fmla="*/ 5217899 w 6884782"/>
              <a:gd name="connsiteY35751" fmla="*/ 2260795 h 5973007"/>
              <a:gd name="connsiteX35752" fmla="*/ 5218753 w 6884782"/>
              <a:gd name="connsiteY35752" fmla="*/ 2262359 h 5973007"/>
              <a:gd name="connsiteX35753" fmla="*/ 5219393 w 6884782"/>
              <a:gd name="connsiteY35753" fmla="*/ 2265774 h 5973007"/>
              <a:gd name="connsiteX35754" fmla="*/ 5215978 w 6884782"/>
              <a:gd name="connsiteY35754" fmla="*/ 2264209 h 5973007"/>
              <a:gd name="connsiteX35755" fmla="*/ 5214698 w 6884782"/>
              <a:gd name="connsiteY35755" fmla="*/ 2262928 h 5973007"/>
              <a:gd name="connsiteX35756" fmla="*/ 5213631 w 6884782"/>
              <a:gd name="connsiteY35756" fmla="*/ 2262786 h 5973007"/>
              <a:gd name="connsiteX35757" fmla="*/ 5213631 w 6884782"/>
              <a:gd name="connsiteY35757" fmla="*/ 2262217 h 5973007"/>
              <a:gd name="connsiteX35758" fmla="*/ 5211923 w 6884782"/>
              <a:gd name="connsiteY35758" fmla="*/ 2262359 h 5973007"/>
              <a:gd name="connsiteX35759" fmla="*/ 5209790 w 6884782"/>
              <a:gd name="connsiteY35759" fmla="*/ 2259514 h 5973007"/>
              <a:gd name="connsiteX35760" fmla="*/ 5210216 w 6884782"/>
              <a:gd name="connsiteY35760" fmla="*/ 2258091 h 5973007"/>
              <a:gd name="connsiteX35761" fmla="*/ 5207442 w 6884782"/>
              <a:gd name="connsiteY35761" fmla="*/ 2256242 h 5973007"/>
              <a:gd name="connsiteX35762" fmla="*/ 5204454 w 6884782"/>
              <a:gd name="connsiteY35762" fmla="*/ 2254535 h 5973007"/>
              <a:gd name="connsiteX35763" fmla="*/ 5199972 w 6884782"/>
              <a:gd name="connsiteY35763" fmla="*/ 2246852 h 5973007"/>
              <a:gd name="connsiteX35764" fmla="*/ 5202320 w 6884782"/>
              <a:gd name="connsiteY35764" fmla="*/ 2244860 h 5973007"/>
              <a:gd name="connsiteX35765" fmla="*/ 5199972 w 6884782"/>
              <a:gd name="connsiteY35765" fmla="*/ 2242157 h 5973007"/>
              <a:gd name="connsiteX35766" fmla="*/ 5201679 w 6884782"/>
              <a:gd name="connsiteY35766" fmla="*/ 2226934 h 5973007"/>
              <a:gd name="connsiteX35767" fmla="*/ 5207655 w 6884782"/>
              <a:gd name="connsiteY35767" fmla="*/ 2224089 h 5973007"/>
              <a:gd name="connsiteX35768" fmla="*/ 833381 w 6884782"/>
              <a:gd name="connsiteY35768" fmla="*/ 2224023 h 5973007"/>
              <a:gd name="connsiteX35769" fmla="*/ 831832 w 6884782"/>
              <a:gd name="connsiteY35769" fmla="*/ 2231768 h 5973007"/>
              <a:gd name="connsiteX35770" fmla="*/ 823159 w 6884782"/>
              <a:gd name="connsiteY35770" fmla="*/ 2233472 h 5973007"/>
              <a:gd name="connsiteX35771" fmla="*/ 828838 w 6884782"/>
              <a:gd name="connsiteY35771" fmla="*/ 2224333 h 5973007"/>
              <a:gd name="connsiteX35772" fmla="*/ 833381 w 6884782"/>
              <a:gd name="connsiteY35772" fmla="*/ 2224023 h 5973007"/>
              <a:gd name="connsiteX35773" fmla="*/ 4747309 w 6884782"/>
              <a:gd name="connsiteY35773" fmla="*/ 2223805 h 5973007"/>
              <a:gd name="connsiteX35774" fmla="*/ 4750296 w 6884782"/>
              <a:gd name="connsiteY35774" fmla="*/ 2232341 h 5973007"/>
              <a:gd name="connsiteX35775" fmla="*/ 4746242 w 6884782"/>
              <a:gd name="connsiteY35775" fmla="*/ 2240165 h 5973007"/>
              <a:gd name="connsiteX35776" fmla="*/ 4736211 w 6884782"/>
              <a:gd name="connsiteY35776" fmla="*/ 2228357 h 5973007"/>
              <a:gd name="connsiteX35777" fmla="*/ 4747309 w 6884782"/>
              <a:gd name="connsiteY35777" fmla="*/ 2223805 h 5973007"/>
              <a:gd name="connsiteX35778" fmla="*/ 896884 w 6884782"/>
              <a:gd name="connsiteY35778" fmla="*/ 2223249 h 5973007"/>
              <a:gd name="connsiteX35779" fmla="*/ 898742 w 6884782"/>
              <a:gd name="connsiteY35779" fmla="*/ 2224643 h 5973007"/>
              <a:gd name="connsiteX35780" fmla="*/ 898020 w 6884782"/>
              <a:gd name="connsiteY35780" fmla="*/ 2226501 h 5973007"/>
              <a:gd name="connsiteX35781" fmla="*/ 898020 w 6884782"/>
              <a:gd name="connsiteY35781" fmla="*/ 2228051 h 5973007"/>
              <a:gd name="connsiteX35782" fmla="*/ 897193 w 6884782"/>
              <a:gd name="connsiteY35782" fmla="*/ 2228205 h 5973007"/>
              <a:gd name="connsiteX35783" fmla="*/ 897090 w 6884782"/>
              <a:gd name="connsiteY35783" fmla="*/ 2228051 h 5973007"/>
              <a:gd name="connsiteX35784" fmla="*/ 896677 w 6884782"/>
              <a:gd name="connsiteY35784" fmla="*/ 2228670 h 5973007"/>
              <a:gd name="connsiteX35785" fmla="*/ 899052 w 6884782"/>
              <a:gd name="connsiteY35785" fmla="*/ 2229290 h 5973007"/>
              <a:gd name="connsiteX35786" fmla="*/ 895025 w 6884782"/>
              <a:gd name="connsiteY35786" fmla="*/ 2241991 h 5973007"/>
              <a:gd name="connsiteX35787" fmla="*/ 888004 w 6884782"/>
              <a:gd name="connsiteY35787" fmla="*/ 2239048 h 5973007"/>
              <a:gd name="connsiteX35788" fmla="*/ 886145 w 6884782"/>
              <a:gd name="connsiteY35788" fmla="*/ 2233472 h 5973007"/>
              <a:gd name="connsiteX35789" fmla="*/ 888726 w 6884782"/>
              <a:gd name="connsiteY35789" fmla="*/ 2228980 h 5973007"/>
              <a:gd name="connsiteX35790" fmla="*/ 892340 w 6884782"/>
              <a:gd name="connsiteY35790" fmla="*/ 2227741 h 5973007"/>
              <a:gd name="connsiteX35791" fmla="*/ 892547 w 6884782"/>
              <a:gd name="connsiteY35791" fmla="*/ 2227741 h 5973007"/>
              <a:gd name="connsiteX35792" fmla="*/ 891618 w 6884782"/>
              <a:gd name="connsiteY35792" fmla="*/ 2226501 h 5973007"/>
              <a:gd name="connsiteX35793" fmla="*/ 891618 w 6884782"/>
              <a:gd name="connsiteY35793" fmla="*/ 2224798 h 5973007"/>
              <a:gd name="connsiteX35794" fmla="*/ 893373 w 6884782"/>
              <a:gd name="connsiteY35794" fmla="*/ 2223868 h 5973007"/>
              <a:gd name="connsiteX35795" fmla="*/ 896884 w 6884782"/>
              <a:gd name="connsiteY35795" fmla="*/ 2223249 h 5973007"/>
              <a:gd name="connsiteX35796" fmla="*/ 6364177 w 6884782"/>
              <a:gd name="connsiteY35796" fmla="*/ 2221955 h 5973007"/>
              <a:gd name="connsiteX35797" fmla="*/ 6369726 w 6884782"/>
              <a:gd name="connsiteY35797" fmla="*/ 2222667 h 5973007"/>
              <a:gd name="connsiteX35798" fmla="*/ 6371647 w 6884782"/>
              <a:gd name="connsiteY35798" fmla="*/ 2233906 h 5973007"/>
              <a:gd name="connsiteX35799" fmla="*/ 6359909 w 6884782"/>
              <a:gd name="connsiteY35799" fmla="*/ 2222667 h 5973007"/>
              <a:gd name="connsiteX35800" fmla="*/ 6364177 w 6884782"/>
              <a:gd name="connsiteY35800" fmla="*/ 2221955 h 5973007"/>
              <a:gd name="connsiteX35801" fmla="*/ 5341469 w 6884782"/>
              <a:gd name="connsiteY35801" fmla="*/ 2220532 h 5973007"/>
              <a:gd name="connsiteX35802" fmla="*/ 5339549 w 6884782"/>
              <a:gd name="connsiteY35802" fmla="*/ 2245572 h 5973007"/>
              <a:gd name="connsiteX35803" fmla="*/ 5341469 w 6884782"/>
              <a:gd name="connsiteY35803" fmla="*/ 2220532 h 5973007"/>
              <a:gd name="connsiteX35804" fmla="*/ 5602055 w 6884782"/>
              <a:gd name="connsiteY35804" fmla="*/ 2218825 h 5973007"/>
              <a:gd name="connsiteX35805" fmla="*/ 5606750 w 6884782"/>
              <a:gd name="connsiteY35805" fmla="*/ 2219110 h 5973007"/>
              <a:gd name="connsiteX35806" fmla="*/ 5602695 w 6884782"/>
              <a:gd name="connsiteY35806" fmla="*/ 2225654 h 5973007"/>
              <a:gd name="connsiteX35807" fmla="*/ 5602055 w 6884782"/>
              <a:gd name="connsiteY35807" fmla="*/ 2218825 h 5973007"/>
              <a:gd name="connsiteX35808" fmla="*/ 841177 w 6884782"/>
              <a:gd name="connsiteY35808" fmla="*/ 2218138 h 5973007"/>
              <a:gd name="connsiteX35809" fmla="*/ 850419 w 6884782"/>
              <a:gd name="connsiteY35809" fmla="*/ 2219686 h 5973007"/>
              <a:gd name="connsiteX35810" fmla="*/ 849283 w 6884782"/>
              <a:gd name="connsiteY35810" fmla="*/ 2227896 h 5973007"/>
              <a:gd name="connsiteX35811" fmla="*/ 835550 w 6884782"/>
              <a:gd name="connsiteY35811" fmla="*/ 2225108 h 5973007"/>
              <a:gd name="connsiteX35812" fmla="*/ 835343 w 6884782"/>
              <a:gd name="connsiteY35812" fmla="*/ 2221700 h 5973007"/>
              <a:gd name="connsiteX35813" fmla="*/ 841177 w 6884782"/>
              <a:gd name="connsiteY35813" fmla="*/ 2218138 h 5973007"/>
              <a:gd name="connsiteX35814" fmla="*/ 1031117 w 6884782"/>
              <a:gd name="connsiteY35814" fmla="*/ 2217208 h 5973007"/>
              <a:gd name="connsiteX35815" fmla="*/ 1035454 w 6884782"/>
              <a:gd name="connsiteY35815" fmla="*/ 2221235 h 5973007"/>
              <a:gd name="connsiteX35816" fmla="*/ 1037312 w 6884782"/>
              <a:gd name="connsiteY35816" fmla="*/ 2221855 h 5973007"/>
              <a:gd name="connsiteX35817" fmla="*/ 1040410 w 6884782"/>
              <a:gd name="connsiteY35817" fmla="*/ 2221235 h 5973007"/>
              <a:gd name="connsiteX35818" fmla="*/ 1044024 w 6884782"/>
              <a:gd name="connsiteY35818" fmla="*/ 2228360 h 5973007"/>
              <a:gd name="connsiteX35819" fmla="*/ 1040306 w 6884782"/>
              <a:gd name="connsiteY35819" fmla="*/ 2238119 h 5973007"/>
              <a:gd name="connsiteX35820" fmla="*/ 1037416 w 6884782"/>
              <a:gd name="connsiteY35820" fmla="*/ 2239048 h 5973007"/>
              <a:gd name="connsiteX35821" fmla="*/ 1037519 w 6884782"/>
              <a:gd name="connsiteY35821" fmla="*/ 2241681 h 5973007"/>
              <a:gd name="connsiteX35822" fmla="*/ 1043714 w 6884782"/>
              <a:gd name="connsiteY35822" fmla="*/ 2255777 h 5973007"/>
              <a:gd name="connsiteX35823" fmla="*/ 1043817 w 6884782"/>
              <a:gd name="connsiteY35823" fmla="*/ 2257636 h 5973007"/>
              <a:gd name="connsiteX35824" fmla="*/ 1041649 w 6884782"/>
              <a:gd name="connsiteY35824" fmla="*/ 2259030 h 5973007"/>
              <a:gd name="connsiteX35825" fmla="*/ 1037519 w 6884782"/>
              <a:gd name="connsiteY35825" fmla="*/ 2251750 h 5973007"/>
              <a:gd name="connsiteX35826" fmla="*/ 1036280 w 6884782"/>
              <a:gd name="connsiteY35826" fmla="*/ 2250356 h 5973007"/>
              <a:gd name="connsiteX35827" fmla="*/ 1032562 w 6884782"/>
              <a:gd name="connsiteY35827" fmla="*/ 2250975 h 5973007"/>
              <a:gd name="connsiteX35828" fmla="*/ 1026057 w 6884782"/>
              <a:gd name="connsiteY35828" fmla="*/ 2251130 h 5973007"/>
              <a:gd name="connsiteX35829" fmla="*/ 1016145 w 6884782"/>
              <a:gd name="connsiteY35829" fmla="*/ 2242921 h 5973007"/>
              <a:gd name="connsiteX35830" fmla="*/ 1016041 w 6884782"/>
              <a:gd name="connsiteY35830" fmla="*/ 2240133 h 5973007"/>
              <a:gd name="connsiteX35831" fmla="*/ 1013460 w 6884782"/>
              <a:gd name="connsiteY35831" fmla="*/ 2239358 h 5973007"/>
              <a:gd name="connsiteX35832" fmla="*/ 1009949 w 6884782"/>
              <a:gd name="connsiteY35832" fmla="*/ 2230219 h 5973007"/>
              <a:gd name="connsiteX35833" fmla="*/ 1009949 w 6884782"/>
              <a:gd name="connsiteY35833" fmla="*/ 2226812 h 5973007"/>
              <a:gd name="connsiteX35834" fmla="*/ 1016455 w 6884782"/>
              <a:gd name="connsiteY35834" fmla="*/ 2222165 h 5973007"/>
              <a:gd name="connsiteX35835" fmla="*/ 1019759 w 6884782"/>
              <a:gd name="connsiteY35835" fmla="*/ 2222165 h 5973007"/>
              <a:gd name="connsiteX35836" fmla="*/ 1019552 w 6884782"/>
              <a:gd name="connsiteY35836" fmla="*/ 2230839 h 5973007"/>
              <a:gd name="connsiteX35837" fmla="*/ 1019759 w 6884782"/>
              <a:gd name="connsiteY35837" fmla="*/ 2228515 h 5973007"/>
              <a:gd name="connsiteX35838" fmla="*/ 1021824 w 6884782"/>
              <a:gd name="connsiteY35838" fmla="*/ 2227586 h 5973007"/>
              <a:gd name="connsiteX35839" fmla="*/ 1026367 w 6884782"/>
              <a:gd name="connsiteY35839" fmla="*/ 2229445 h 5973007"/>
              <a:gd name="connsiteX35840" fmla="*/ 1029155 w 6884782"/>
              <a:gd name="connsiteY35840" fmla="*/ 2228205 h 5973007"/>
              <a:gd name="connsiteX35841" fmla="*/ 1030394 w 6884782"/>
              <a:gd name="connsiteY35841" fmla="*/ 2226812 h 5973007"/>
              <a:gd name="connsiteX35842" fmla="*/ 1029259 w 6884782"/>
              <a:gd name="connsiteY35842" fmla="*/ 2225108 h 5973007"/>
              <a:gd name="connsiteX35843" fmla="*/ 1029259 w 6884782"/>
              <a:gd name="connsiteY35843" fmla="*/ 2223094 h 5973007"/>
              <a:gd name="connsiteX35844" fmla="*/ 1028535 w 6884782"/>
              <a:gd name="connsiteY35844" fmla="*/ 2223558 h 5973007"/>
              <a:gd name="connsiteX35845" fmla="*/ 1029259 w 6884782"/>
              <a:gd name="connsiteY35845" fmla="*/ 2222939 h 5973007"/>
              <a:gd name="connsiteX35846" fmla="*/ 1027710 w 6884782"/>
              <a:gd name="connsiteY35846" fmla="*/ 2222784 h 5973007"/>
              <a:gd name="connsiteX35847" fmla="*/ 1026883 w 6884782"/>
              <a:gd name="connsiteY35847" fmla="*/ 2223868 h 5973007"/>
              <a:gd name="connsiteX35848" fmla="*/ 1024096 w 6884782"/>
              <a:gd name="connsiteY35848" fmla="*/ 2224488 h 5973007"/>
              <a:gd name="connsiteX35849" fmla="*/ 1023269 w 6884782"/>
              <a:gd name="connsiteY35849" fmla="*/ 2223558 h 5973007"/>
              <a:gd name="connsiteX35850" fmla="*/ 1023683 w 6884782"/>
              <a:gd name="connsiteY35850" fmla="*/ 2222010 h 5973007"/>
              <a:gd name="connsiteX35851" fmla="*/ 1024302 w 6884782"/>
              <a:gd name="connsiteY35851" fmla="*/ 2220925 h 5973007"/>
              <a:gd name="connsiteX35852" fmla="*/ 1023786 w 6884782"/>
              <a:gd name="connsiteY35852" fmla="*/ 2220615 h 5973007"/>
              <a:gd name="connsiteX35853" fmla="*/ 1022237 w 6884782"/>
              <a:gd name="connsiteY35853" fmla="*/ 2217518 h 5973007"/>
              <a:gd name="connsiteX35854" fmla="*/ 1031117 w 6884782"/>
              <a:gd name="connsiteY35854" fmla="*/ 2217208 h 5973007"/>
              <a:gd name="connsiteX35855" fmla="*/ 773389 w 6884782"/>
              <a:gd name="connsiteY35855" fmla="*/ 2216124 h 5973007"/>
              <a:gd name="connsiteX35856" fmla="*/ 779585 w 6884782"/>
              <a:gd name="connsiteY35856" fmla="*/ 2222010 h 5973007"/>
              <a:gd name="connsiteX35857" fmla="*/ 781753 w 6884782"/>
              <a:gd name="connsiteY35857" fmla="*/ 2224333 h 5973007"/>
              <a:gd name="connsiteX35858" fmla="*/ 786193 w 6884782"/>
              <a:gd name="connsiteY35858" fmla="*/ 2223404 h 5973007"/>
              <a:gd name="connsiteX35859" fmla="*/ 790014 w 6884782"/>
              <a:gd name="connsiteY35859" fmla="*/ 2225727 h 5973007"/>
              <a:gd name="connsiteX35860" fmla="*/ 780204 w 6884782"/>
              <a:gd name="connsiteY35860" fmla="*/ 2229290 h 5973007"/>
              <a:gd name="connsiteX35861" fmla="*/ 780307 w 6884782"/>
              <a:gd name="connsiteY35861" fmla="*/ 2227741 h 5973007"/>
              <a:gd name="connsiteX35862" fmla="*/ 776384 w 6884782"/>
              <a:gd name="connsiteY35862" fmla="*/ 2224953 h 5973007"/>
              <a:gd name="connsiteX35863" fmla="*/ 774628 w 6884782"/>
              <a:gd name="connsiteY35863" fmla="*/ 2222629 h 5973007"/>
              <a:gd name="connsiteX35864" fmla="*/ 773493 w 6884782"/>
              <a:gd name="connsiteY35864" fmla="*/ 2221080 h 5973007"/>
              <a:gd name="connsiteX35865" fmla="*/ 772460 w 6884782"/>
              <a:gd name="connsiteY35865" fmla="*/ 2219686 h 5973007"/>
              <a:gd name="connsiteX35866" fmla="*/ 772150 w 6884782"/>
              <a:gd name="connsiteY35866" fmla="*/ 2217982 h 5973007"/>
              <a:gd name="connsiteX35867" fmla="*/ 773389 w 6884782"/>
              <a:gd name="connsiteY35867" fmla="*/ 2216124 h 5973007"/>
              <a:gd name="connsiteX35868" fmla="*/ 5180978 w 6884782"/>
              <a:gd name="connsiteY35868" fmla="*/ 2215695 h 5973007"/>
              <a:gd name="connsiteX35869" fmla="*/ 5186527 w 6884782"/>
              <a:gd name="connsiteY35869" fmla="*/ 2217687 h 5973007"/>
              <a:gd name="connsiteX35870" fmla="*/ 5178844 w 6884782"/>
              <a:gd name="connsiteY35870" fmla="*/ 2226934 h 5973007"/>
              <a:gd name="connsiteX35871" fmla="*/ 5167532 w 6884782"/>
              <a:gd name="connsiteY35871" fmla="*/ 2224516 h 5973007"/>
              <a:gd name="connsiteX35872" fmla="*/ 5180978 w 6884782"/>
              <a:gd name="connsiteY35872" fmla="*/ 2215695 h 5973007"/>
              <a:gd name="connsiteX35873" fmla="*/ 6209661 w 6884782"/>
              <a:gd name="connsiteY35873" fmla="*/ 2214557 h 5973007"/>
              <a:gd name="connsiteX35874" fmla="*/ 6220332 w 6884782"/>
              <a:gd name="connsiteY35874" fmla="*/ 2216691 h 5973007"/>
              <a:gd name="connsiteX35875" fmla="*/ 6221399 w 6884782"/>
              <a:gd name="connsiteY35875" fmla="*/ 2219110 h 5973007"/>
              <a:gd name="connsiteX35876" fmla="*/ 6218412 w 6884782"/>
              <a:gd name="connsiteY35876" fmla="*/ 2220959 h 5973007"/>
              <a:gd name="connsiteX35877" fmla="*/ 6209661 w 6884782"/>
              <a:gd name="connsiteY35877" fmla="*/ 2214557 h 5973007"/>
              <a:gd name="connsiteX35878" fmla="*/ 5219180 w 6884782"/>
              <a:gd name="connsiteY35878" fmla="*/ 2213419 h 5973007"/>
              <a:gd name="connsiteX35879" fmla="*/ 5221528 w 6884782"/>
              <a:gd name="connsiteY35879" fmla="*/ 2214557 h 5973007"/>
              <a:gd name="connsiteX35880" fmla="*/ 5222168 w 6884782"/>
              <a:gd name="connsiteY35880" fmla="*/ 2216691 h 5973007"/>
              <a:gd name="connsiteX35881" fmla="*/ 5220674 w 6884782"/>
              <a:gd name="connsiteY35881" fmla="*/ 2219110 h 5973007"/>
              <a:gd name="connsiteX35882" fmla="*/ 5216619 w 6884782"/>
              <a:gd name="connsiteY35882" fmla="*/ 2221670 h 5973007"/>
              <a:gd name="connsiteX35883" fmla="*/ 5213418 w 6884782"/>
              <a:gd name="connsiteY35883" fmla="*/ 2220959 h 5973007"/>
              <a:gd name="connsiteX35884" fmla="*/ 5213418 w 6884782"/>
              <a:gd name="connsiteY35884" fmla="*/ 2218256 h 5973007"/>
              <a:gd name="connsiteX35885" fmla="*/ 5212350 w 6884782"/>
              <a:gd name="connsiteY35885" fmla="*/ 2216264 h 5973007"/>
              <a:gd name="connsiteX35886" fmla="*/ 5213418 w 6884782"/>
              <a:gd name="connsiteY35886" fmla="*/ 2215553 h 5973007"/>
              <a:gd name="connsiteX35887" fmla="*/ 5213845 w 6884782"/>
              <a:gd name="connsiteY35887" fmla="*/ 2213846 h 5973007"/>
              <a:gd name="connsiteX35888" fmla="*/ 5219180 w 6884782"/>
              <a:gd name="connsiteY35888" fmla="*/ 2213419 h 5973007"/>
              <a:gd name="connsiteX35889" fmla="*/ 5226436 w 6884782"/>
              <a:gd name="connsiteY35889" fmla="*/ 2212850 h 5973007"/>
              <a:gd name="connsiteX35890" fmla="*/ 5231985 w 6884782"/>
              <a:gd name="connsiteY35890" fmla="*/ 2213134 h 5973007"/>
              <a:gd name="connsiteX35891" fmla="*/ 5242443 w 6884782"/>
              <a:gd name="connsiteY35891" fmla="*/ 2217545 h 5973007"/>
              <a:gd name="connsiteX35892" fmla="*/ 5244363 w 6884782"/>
              <a:gd name="connsiteY35892" fmla="*/ 2225369 h 5973007"/>
              <a:gd name="connsiteX35893" fmla="*/ 5222168 w 6884782"/>
              <a:gd name="connsiteY35893" fmla="*/ 2215126 h 5973007"/>
              <a:gd name="connsiteX35894" fmla="*/ 5226436 w 6884782"/>
              <a:gd name="connsiteY35894" fmla="*/ 2212850 h 5973007"/>
              <a:gd name="connsiteX35895" fmla="*/ 5702575 w 6884782"/>
              <a:gd name="connsiteY35895" fmla="*/ 2211996 h 5973007"/>
              <a:gd name="connsiteX35896" fmla="*/ 5705137 w 6884782"/>
              <a:gd name="connsiteY35896" fmla="*/ 2211996 h 5973007"/>
              <a:gd name="connsiteX35897" fmla="*/ 5711966 w 6884782"/>
              <a:gd name="connsiteY35897" fmla="*/ 2216264 h 5973007"/>
              <a:gd name="connsiteX35898" fmla="*/ 5690624 w 6884782"/>
              <a:gd name="connsiteY35898" fmla="*/ 2223093 h 5973007"/>
              <a:gd name="connsiteX35899" fmla="*/ 5687850 w 6884782"/>
              <a:gd name="connsiteY35899" fmla="*/ 2223093 h 5973007"/>
              <a:gd name="connsiteX35900" fmla="*/ 5686783 w 6884782"/>
              <a:gd name="connsiteY35900" fmla="*/ 2219821 h 5973007"/>
              <a:gd name="connsiteX35901" fmla="*/ 5702575 w 6884782"/>
              <a:gd name="connsiteY35901" fmla="*/ 2211996 h 5973007"/>
              <a:gd name="connsiteX35902" fmla="*/ 5685929 w 6884782"/>
              <a:gd name="connsiteY35902" fmla="*/ 2211285 h 5973007"/>
              <a:gd name="connsiteX35903" fmla="*/ 5687850 w 6884782"/>
              <a:gd name="connsiteY35903" fmla="*/ 2212850 h 5973007"/>
              <a:gd name="connsiteX35904" fmla="*/ 5685502 w 6884782"/>
              <a:gd name="connsiteY35904" fmla="*/ 2216549 h 5973007"/>
              <a:gd name="connsiteX35905" fmla="*/ 5687423 w 6884782"/>
              <a:gd name="connsiteY35905" fmla="*/ 2218114 h 5973007"/>
              <a:gd name="connsiteX35906" fmla="*/ 5686783 w 6884782"/>
              <a:gd name="connsiteY35906" fmla="*/ 2219821 h 5973007"/>
              <a:gd name="connsiteX35907" fmla="*/ 5683155 w 6884782"/>
              <a:gd name="connsiteY35907" fmla="*/ 2220248 h 5973007"/>
              <a:gd name="connsiteX35908" fmla="*/ 5685716 w 6884782"/>
              <a:gd name="connsiteY35908" fmla="*/ 2213846 h 5973007"/>
              <a:gd name="connsiteX35909" fmla="*/ 5685929 w 6884782"/>
              <a:gd name="connsiteY35909" fmla="*/ 2211285 h 5973007"/>
              <a:gd name="connsiteX35910" fmla="*/ 985374 w 6884782"/>
              <a:gd name="connsiteY35910" fmla="*/ 2210547 h 5973007"/>
              <a:gd name="connsiteX35911" fmla="*/ 985787 w 6884782"/>
              <a:gd name="connsiteY35911" fmla="*/ 2211322 h 5973007"/>
              <a:gd name="connsiteX35912" fmla="*/ 986923 w 6884782"/>
              <a:gd name="connsiteY35912" fmla="*/ 2211941 h 5973007"/>
              <a:gd name="connsiteX35913" fmla="*/ 986613 w 6884782"/>
              <a:gd name="connsiteY35913" fmla="*/ 2215504 h 5973007"/>
              <a:gd name="connsiteX35914" fmla="*/ 985374 w 6884782"/>
              <a:gd name="connsiteY35914" fmla="*/ 2217053 h 5973007"/>
              <a:gd name="connsiteX35915" fmla="*/ 983722 w 6884782"/>
              <a:gd name="connsiteY35915" fmla="*/ 2217363 h 5973007"/>
              <a:gd name="connsiteX35916" fmla="*/ 982277 w 6884782"/>
              <a:gd name="connsiteY35916" fmla="*/ 2215969 h 5973007"/>
              <a:gd name="connsiteX35917" fmla="*/ 980934 w 6884782"/>
              <a:gd name="connsiteY35917" fmla="*/ 2214265 h 5973007"/>
              <a:gd name="connsiteX35918" fmla="*/ 980934 w 6884782"/>
              <a:gd name="connsiteY35918" fmla="*/ 2212716 h 5973007"/>
              <a:gd name="connsiteX35919" fmla="*/ 981864 w 6884782"/>
              <a:gd name="connsiteY35919" fmla="*/ 2210702 h 5973007"/>
              <a:gd name="connsiteX35920" fmla="*/ 983825 w 6884782"/>
              <a:gd name="connsiteY35920" fmla="*/ 2211012 h 5973007"/>
              <a:gd name="connsiteX35921" fmla="*/ 985374 w 6884782"/>
              <a:gd name="connsiteY35921" fmla="*/ 2210547 h 5973007"/>
              <a:gd name="connsiteX35922" fmla="*/ 756868 w 6884782"/>
              <a:gd name="connsiteY35922" fmla="*/ 2209928 h 5973007"/>
              <a:gd name="connsiteX35923" fmla="*/ 757797 w 6884782"/>
              <a:gd name="connsiteY35923" fmla="*/ 2219686 h 5973007"/>
              <a:gd name="connsiteX35924" fmla="*/ 753048 w 6884782"/>
              <a:gd name="connsiteY35924" fmla="*/ 2217827 h 5973007"/>
              <a:gd name="connsiteX35925" fmla="*/ 756868 w 6884782"/>
              <a:gd name="connsiteY35925" fmla="*/ 2209928 h 5973007"/>
              <a:gd name="connsiteX35926" fmla="*/ 804160 w 6884782"/>
              <a:gd name="connsiteY35926" fmla="*/ 2209463 h 5973007"/>
              <a:gd name="connsiteX35927" fmla="*/ 805192 w 6884782"/>
              <a:gd name="connsiteY35927" fmla="*/ 2210857 h 5973007"/>
              <a:gd name="connsiteX35928" fmla="*/ 806741 w 6884782"/>
              <a:gd name="connsiteY35928" fmla="*/ 2211632 h 5973007"/>
              <a:gd name="connsiteX35929" fmla="*/ 806225 w 6884782"/>
              <a:gd name="connsiteY35929" fmla="*/ 2212251 h 5973007"/>
              <a:gd name="connsiteX35930" fmla="*/ 806534 w 6884782"/>
              <a:gd name="connsiteY35930" fmla="*/ 2213490 h 5973007"/>
              <a:gd name="connsiteX35931" fmla="*/ 803231 w 6884782"/>
              <a:gd name="connsiteY35931" fmla="*/ 2215814 h 5973007"/>
              <a:gd name="connsiteX35932" fmla="*/ 801268 w 6884782"/>
              <a:gd name="connsiteY35932" fmla="*/ 2216124 h 5973007"/>
              <a:gd name="connsiteX35933" fmla="*/ 799823 w 6884782"/>
              <a:gd name="connsiteY35933" fmla="*/ 2215194 h 5973007"/>
              <a:gd name="connsiteX35934" fmla="*/ 800029 w 6884782"/>
              <a:gd name="connsiteY35934" fmla="*/ 2213335 h 5973007"/>
              <a:gd name="connsiteX35935" fmla="*/ 801682 w 6884782"/>
              <a:gd name="connsiteY35935" fmla="*/ 2210237 h 5973007"/>
              <a:gd name="connsiteX35936" fmla="*/ 804160 w 6884782"/>
              <a:gd name="connsiteY35936" fmla="*/ 2209463 h 5973007"/>
              <a:gd name="connsiteX35937" fmla="*/ 6328109 w 6884782"/>
              <a:gd name="connsiteY35937" fmla="*/ 2209293 h 5973007"/>
              <a:gd name="connsiteX35938" fmla="*/ 6315304 w 6884782"/>
              <a:gd name="connsiteY35938" fmla="*/ 2230207 h 5973007"/>
              <a:gd name="connsiteX35939" fmla="*/ 6292041 w 6884782"/>
              <a:gd name="connsiteY35939" fmla="*/ 2232483 h 5973007"/>
              <a:gd name="connsiteX35940" fmla="*/ 6328109 w 6884782"/>
              <a:gd name="connsiteY35940" fmla="*/ 2209293 h 5973007"/>
              <a:gd name="connsiteX35941" fmla="*/ 1047328 w 6884782"/>
              <a:gd name="connsiteY35941" fmla="*/ 2208844 h 5973007"/>
              <a:gd name="connsiteX35942" fmla="*/ 1050942 w 6884782"/>
              <a:gd name="connsiteY35942" fmla="*/ 2208844 h 5973007"/>
              <a:gd name="connsiteX35943" fmla="*/ 1055692 w 6884782"/>
              <a:gd name="connsiteY35943" fmla="*/ 2214575 h 5973007"/>
              <a:gd name="connsiteX35944" fmla="*/ 1049703 w 6884782"/>
              <a:gd name="connsiteY35944" fmla="*/ 2222319 h 5973007"/>
              <a:gd name="connsiteX35945" fmla="*/ 1045676 w 6884782"/>
              <a:gd name="connsiteY35945" fmla="*/ 2221700 h 5973007"/>
              <a:gd name="connsiteX35946" fmla="*/ 1040513 w 6884782"/>
              <a:gd name="connsiteY35946" fmla="*/ 2217053 h 5973007"/>
              <a:gd name="connsiteX35947" fmla="*/ 1047328 w 6884782"/>
              <a:gd name="connsiteY35947" fmla="*/ 2208844 h 5973007"/>
              <a:gd name="connsiteX35948" fmla="*/ 5684435 w 6884782"/>
              <a:gd name="connsiteY35948" fmla="*/ 2208013 h 5973007"/>
              <a:gd name="connsiteX35949" fmla="*/ 5677392 w 6884782"/>
              <a:gd name="connsiteY35949" fmla="*/ 2212708 h 5973007"/>
              <a:gd name="connsiteX35950" fmla="*/ 5676752 w 6884782"/>
              <a:gd name="connsiteY35950" fmla="*/ 2212850 h 5973007"/>
              <a:gd name="connsiteX35951" fmla="*/ 5678886 w 6884782"/>
              <a:gd name="connsiteY35951" fmla="*/ 2215268 h 5973007"/>
              <a:gd name="connsiteX35952" fmla="*/ 5682301 w 6884782"/>
              <a:gd name="connsiteY35952" fmla="*/ 2226508 h 5973007"/>
              <a:gd name="connsiteX35953" fmla="*/ 5681020 w 6884782"/>
              <a:gd name="connsiteY35953" fmla="*/ 2229495 h 5973007"/>
              <a:gd name="connsiteX35954" fmla="*/ 5682088 w 6884782"/>
              <a:gd name="connsiteY35954" fmla="*/ 2232056 h 5973007"/>
              <a:gd name="connsiteX35955" fmla="*/ 5683795 w 6884782"/>
              <a:gd name="connsiteY35955" fmla="*/ 2249839 h 5973007"/>
              <a:gd name="connsiteX35956" fmla="*/ 5673550 w 6884782"/>
              <a:gd name="connsiteY35956" fmla="*/ 2235755 h 5973007"/>
              <a:gd name="connsiteX35957" fmla="*/ 5673550 w 6884782"/>
              <a:gd name="connsiteY35957" fmla="*/ 2231629 h 5973007"/>
              <a:gd name="connsiteX35958" fmla="*/ 5669922 w 6884782"/>
              <a:gd name="connsiteY35958" fmla="*/ 2229211 h 5973007"/>
              <a:gd name="connsiteX35959" fmla="*/ 5669709 w 6884782"/>
              <a:gd name="connsiteY35959" fmla="*/ 2209151 h 5973007"/>
              <a:gd name="connsiteX35960" fmla="*/ 5674191 w 6884782"/>
              <a:gd name="connsiteY35960" fmla="*/ 2209862 h 5973007"/>
              <a:gd name="connsiteX35961" fmla="*/ 5674618 w 6884782"/>
              <a:gd name="connsiteY35961" fmla="*/ 2210289 h 5973007"/>
              <a:gd name="connsiteX35962" fmla="*/ 5675685 w 6884782"/>
              <a:gd name="connsiteY35962" fmla="*/ 2209862 h 5973007"/>
              <a:gd name="connsiteX35963" fmla="*/ 5684435 w 6884782"/>
              <a:gd name="connsiteY35963" fmla="*/ 2208013 h 5973007"/>
              <a:gd name="connsiteX35964" fmla="*/ 1024818 w 6884782"/>
              <a:gd name="connsiteY35964" fmla="*/ 2207295 h 5973007"/>
              <a:gd name="connsiteX35965" fmla="*/ 1024096 w 6884782"/>
              <a:gd name="connsiteY35965" fmla="*/ 2207759 h 5973007"/>
              <a:gd name="connsiteX35966" fmla="*/ 1025025 w 6884782"/>
              <a:gd name="connsiteY35966" fmla="*/ 2209153 h 5973007"/>
              <a:gd name="connsiteX35967" fmla="*/ 1025748 w 6884782"/>
              <a:gd name="connsiteY35967" fmla="*/ 2208689 h 5973007"/>
              <a:gd name="connsiteX35968" fmla="*/ 1025954 w 6884782"/>
              <a:gd name="connsiteY35968" fmla="*/ 2210547 h 5973007"/>
              <a:gd name="connsiteX35969" fmla="*/ 1021927 w 6884782"/>
              <a:gd name="connsiteY35969" fmla="*/ 2216124 h 5973007"/>
              <a:gd name="connsiteX35970" fmla="*/ 1019655 w 6884782"/>
              <a:gd name="connsiteY35970" fmla="*/ 2212716 h 5973007"/>
              <a:gd name="connsiteX35971" fmla="*/ 1020998 w 6884782"/>
              <a:gd name="connsiteY35971" fmla="*/ 2209309 h 5973007"/>
              <a:gd name="connsiteX35972" fmla="*/ 1024818 w 6884782"/>
              <a:gd name="connsiteY35972" fmla="*/ 2207295 h 5973007"/>
              <a:gd name="connsiteX35973" fmla="*/ 5358756 w 6884782"/>
              <a:gd name="connsiteY35973" fmla="*/ 2207017 h 5973007"/>
              <a:gd name="connsiteX35974" fmla="*/ 5370281 w 6884782"/>
              <a:gd name="connsiteY35974" fmla="*/ 2219963 h 5973007"/>
              <a:gd name="connsiteX35975" fmla="*/ 5370922 w 6884782"/>
              <a:gd name="connsiteY35975" fmla="*/ 2227077 h 5973007"/>
              <a:gd name="connsiteX35976" fmla="*/ 5374336 w 6884782"/>
              <a:gd name="connsiteY35976" fmla="*/ 2224374 h 5973007"/>
              <a:gd name="connsiteX35977" fmla="*/ 5380952 w 6884782"/>
              <a:gd name="connsiteY35977" fmla="*/ 2223378 h 5973007"/>
              <a:gd name="connsiteX35978" fmla="*/ 5384794 w 6884782"/>
              <a:gd name="connsiteY35978" fmla="*/ 2225796 h 5973007"/>
              <a:gd name="connsiteX35979" fmla="*/ 5358543 w 6884782"/>
              <a:gd name="connsiteY35979" fmla="*/ 2241303 h 5973007"/>
              <a:gd name="connsiteX35980" fmla="*/ 5362811 w 6884782"/>
              <a:gd name="connsiteY35980" fmla="*/ 2235898 h 5973007"/>
              <a:gd name="connsiteX35981" fmla="*/ 5363025 w 6884782"/>
              <a:gd name="connsiteY35981" fmla="*/ 2235471 h 5973007"/>
              <a:gd name="connsiteX35982" fmla="*/ 5362171 w 6884782"/>
              <a:gd name="connsiteY35982" fmla="*/ 2235471 h 5973007"/>
              <a:gd name="connsiteX35983" fmla="*/ 5354061 w 6884782"/>
              <a:gd name="connsiteY35983" fmla="*/ 2224800 h 5973007"/>
              <a:gd name="connsiteX35984" fmla="*/ 5358756 w 6884782"/>
              <a:gd name="connsiteY35984" fmla="*/ 2207017 h 5973007"/>
              <a:gd name="connsiteX35985" fmla="*/ 1064675 w 6884782"/>
              <a:gd name="connsiteY35985" fmla="*/ 2206210 h 5973007"/>
              <a:gd name="connsiteX35986" fmla="*/ 1066327 w 6884782"/>
              <a:gd name="connsiteY35986" fmla="*/ 2207759 h 5973007"/>
              <a:gd name="connsiteX35987" fmla="*/ 1065398 w 6884782"/>
              <a:gd name="connsiteY35987" fmla="*/ 2209463 h 5973007"/>
              <a:gd name="connsiteX35988" fmla="*/ 1065295 w 6884782"/>
              <a:gd name="connsiteY35988" fmla="*/ 2211167 h 5973007"/>
              <a:gd name="connsiteX35989" fmla="*/ 1064468 w 6884782"/>
              <a:gd name="connsiteY35989" fmla="*/ 2211167 h 5973007"/>
              <a:gd name="connsiteX35990" fmla="*/ 1063539 w 6884782"/>
              <a:gd name="connsiteY35990" fmla="*/ 2212096 h 5973007"/>
              <a:gd name="connsiteX35991" fmla="*/ 1060029 w 6884782"/>
              <a:gd name="connsiteY35991" fmla="*/ 2210547 h 5973007"/>
              <a:gd name="connsiteX35992" fmla="*/ 1059099 w 6884782"/>
              <a:gd name="connsiteY35992" fmla="*/ 2208998 h 5973007"/>
              <a:gd name="connsiteX35993" fmla="*/ 1059306 w 6884782"/>
              <a:gd name="connsiteY35993" fmla="*/ 2207295 h 5973007"/>
              <a:gd name="connsiteX35994" fmla="*/ 1061165 w 6884782"/>
              <a:gd name="connsiteY35994" fmla="*/ 2206365 h 5973007"/>
              <a:gd name="connsiteX35995" fmla="*/ 1064675 w 6884782"/>
              <a:gd name="connsiteY35995" fmla="*/ 2206210 h 5973007"/>
              <a:gd name="connsiteX35996" fmla="*/ 5014083 w 6884782"/>
              <a:gd name="connsiteY35996" fmla="*/ 2205879 h 5973007"/>
              <a:gd name="connsiteX35997" fmla="*/ 5022833 w 6884782"/>
              <a:gd name="connsiteY35997" fmla="*/ 2207870 h 5973007"/>
              <a:gd name="connsiteX35998" fmla="*/ 5017498 w 6884782"/>
              <a:gd name="connsiteY35998" fmla="*/ 2213419 h 5973007"/>
              <a:gd name="connsiteX35999" fmla="*/ 5008321 w 6884782"/>
              <a:gd name="connsiteY35999" fmla="*/ 2210574 h 5973007"/>
              <a:gd name="connsiteX36000" fmla="*/ 5014083 w 6884782"/>
              <a:gd name="connsiteY36000" fmla="*/ 2205879 h 5973007"/>
              <a:gd name="connsiteX36001" fmla="*/ 6335579 w 6884782"/>
              <a:gd name="connsiteY36001" fmla="*/ 2205594 h 5973007"/>
              <a:gd name="connsiteX36002" fmla="*/ 6337713 w 6884782"/>
              <a:gd name="connsiteY36002" fmla="*/ 2207017 h 5973007"/>
              <a:gd name="connsiteX36003" fmla="*/ 6337713 w 6884782"/>
              <a:gd name="connsiteY36003" fmla="*/ 2208155 h 5973007"/>
              <a:gd name="connsiteX36004" fmla="*/ 6337713 w 6884782"/>
              <a:gd name="connsiteY36004" fmla="*/ 2208439 h 5973007"/>
              <a:gd name="connsiteX36005" fmla="*/ 6336432 w 6884782"/>
              <a:gd name="connsiteY36005" fmla="*/ 2210289 h 5973007"/>
              <a:gd name="connsiteX36006" fmla="*/ 6334085 w 6884782"/>
              <a:gd name="connsiteY36006" fmla="*/ 2211000 h 5973007"/>
              <a:gd name="connsiteX36007" fmla="*/ 6333231 w 6884782"/>
              <a:gd name="connsiteY36007" fmla="*/ 2206305 h 5973007"/>
              <a:gd name="connsiteX36008" fmla="*/ 6335579 w 6884782"/>
              <a:gd name="connsiteY36008" fmla="*/ 2206590 h 5973007"/>
              <a:gd name="connsiteX36009" fmla="*/ 6335579 w 6884782"/>
              <a:gd name="connsiteY36009" fmla="*/ 2205594 h 5973007"/>
              <a:gd name="connsiteX36010" fmla="*/ 4641239 w 6884782"/>
              <a:gd name="connsiteY36010" fmla="*/ 2205025 h 5973007"/>
              <a:gd name="connsiteX36011" fmla="*/ 4649349 w 6884782"/>
              <a:gd name="connsiteY36011" fmla="*/ 2206163 h 5973007"/>
              <a:gd name="connsiteX36012" fmla="*/ 4646788 w 6884782"/>
              <a:gd name="connsiteY36012" fmla="*/ 2216406 h 5973007"/>
              <a:gd name="connsiteX36013" fmla="*/ 4642520 w 6884782"/>
              <a:gd name="connsiteY36013" fmla="*/ 2218541 h 5973007"/>
              <a:gd name="connsiteX36014" fmla="*/ 4637611 w 6884782"/>
              <a:gd name="connsiteY36014" fmla="*/ 2217687 h 5973007"/>
              <a:gd name="connsiteX36015" fmla="*/ 4629501 w 6884782"/>
              <a:gd name="connsiteY36015" fmla="*/ 2216691 h 5973007"/>
              <a:gd name="connsiteX36016" fmla="*/ 4628647 w 6884782"/>
              <a:gd name="connsiteY36016" fmla="*/ 2210716 h 5973007"/>
              <a:gd name="connsiteX36017" fmla="*/ 4641239 w 6884782"/>
              <a:gd name="connsiteY36017" fmla="*/ 2205025 h 5973007"/>
              <a:gd name="connsiteX36018" fmla="*/ 899052 w 6884782"/>
              <a:gd name="connsiteY36018" fmla="*/ 2204971 h 5973007"/>
              <a:gd name="connsiteX36019" fmla="*/ 907003 w 6884782"/>
              <a:gd name="connsiteY36019" fmla="*/ 2217363 h 5973007"/>
              <a:gd name="connsiteX36020" fmla="*/ 899775 w 6884782"/>
              <a:gd name="connsiteY36020" fmla="*/ 2217982 h 5973007"/>
              <a:gd name="connsiteX36021" fmla="*/ 899259 w 6884782"/>
              <a:gd name="connsiteY36021" fmla="*/ 2214575 h 5973007"/>
              <a:gd name="connsiteX36022" fmla="*/ 898020 w 6884782"/>
              <a:gd name="connsiteY36022" fmla="*/ 2214884 h 5973007"/>
              <a:gd name="connsiteX36023" fmla="*/ 894922 w 6884782"/>
              <a:gd name="connsiteY36023" fmla="*/ 2213955 h 5973007"/>
              <a:gd name="connsiteX36024" fmla="*/ 898020 w 6884782"/>
              <a:gd name="connsiteY36024" fmla="*/ 2209773 h 5973007"/>
              <a:gd name="connsiteX36025" fmla="*/ 898433 w 6884782"/>
              <a:gd name="connsiteY36025" fmla="*/ 2209618 h 5973007"/>
              <a:gd name="connsiteX36026" fmla="*/ 898123 w 6884782"/>
              <a:gd name="connsiteY36026" fmla="*/ 2208069 h 5973007"/>
              <a:gd name="connsiteX36027" fmla="*/ 899052 w 6884782"/>
              <a:gd name="connsiteY36027" fmla="*/ 2204971 h 5973007"/>
              <a:gd name="connsiteX36028" fmla="*/ 878401 w 6884782"/>
              <a:gd name="connsiteY36028" fmla="*/ 2204042 h 5973007"/>
              <a:gd name="connsiteX36029" fmla="*/ 876336 w 6884782"/>
              <a:gd name="connsiteY36029" fmla="*/ 2212561 h 5973007"/>
              <a:gd name="connsiteX36030" fmla="*/ 876129 w 6884782"/>
              <a:gd name="connsiteY36030" fmla="*/ 2213026 h 5973007"/>
              <a:gd name="connsiteX36031" fmla="*/ 877885 w 6884782"/>
              <a:gd name="connsiteY36031" fmla="*/ 2214420 h 5973007"/>
              <a:gd name="connsiteX36032" fmla="*/ 878297 w 6884782"/>
              <a:gd name="connsiteY36032" fmla="*/ 2218911 h 5973007"/>
              <a:gd name="connsiteX36033" fmla="*/ 875923 w 6884782"/>
              <a:gd name="connsiteY36033" fmla="*/ 2223558 h 5973007"/>
              <a:gd name="connsiteX36034" fmla="*/ 868282 w 6884782"/>
              <a:gd name="connsiteY36034" fmla="*/ 2226657 h 5973007"/>
              <a:gd name="connsiteX36035" fmla="*/ 866733 w 6884782"/>
              <a:gd name="connsiteY36035" fmla="*/ 2222629 h 5973007"/>
              <a:gd name="connsiteX36036" fmla="*/ 869108 w 6884782"/>
              <a:gd name="connsiteY36036" fmla="*/ 2217518 h 5973007"/>
              <a:gd name="connsiteX36037" fmla="*/ 871792 w 6884782"/>
              <a:gd name="connsiteY36037" fmla="*/ 2214575 h 5973007"/>
              <a:gd name="connsiteX36038" fmla="*/ 872102 w 6884782"/>
              <a:gd name="connsiteY36038" fmla="*/ 2211941 h 5973007"/>
              <a:gd name="connsiteX36039" fmla="*/ 873445 w 6884782"/>
              <a:gd name="connsiteY36039" fmla="*/ 2208998 h 5973007"/>
              <a:gd name="connsiteX36040" fmla="*/ 874167 w 6884782"/>
              <a:gd name="connsiteY36040" fmla="*/ 2207140 h 5973007"/>
              <a:gd name="connsiteX36041" fmla="*/ 874994 w 6884782"/>
              <a:gd name="connsiteY36041" fmla="*/ 2205281 h 5973007"/>
              <a:gd name="connsiteX36042" fmla="*/ 878401 w 6884782"/>
              <a:gd name="connsiteY36042" fmla="*/ 2204042 h 5973007"/>
              <a:gd name="connsiteX36043" fmla="*/ 6261522 w 6884782"/>
              <a:gd name="connsiteY36043" fmla="*/ 2203175 h 5973007"/>
              <a:gd name="connsiteX36044" fmla="*/ 6265791 w 6884782"/>
              <a:gd name="connsiteY36044" fmla="*/ 2205879 h 5973007"/>
              <a:gd name="connsiteX36045" fmla="*/ 6265791 w 6884782"/>
              <a:gd name="connsiteY36045" fmla="*/ 2204741 h 5973007"/>
              <a:gd name="connsiteX36046" fmla="*/ 6266644 w 6884782"/>
              <a:gd name="connsiteY36046" fmla="*/ 2211996 h 5973007"/>
              <a:gd name="connsiteX36047" fmla="*/ 6252559 w 6884782"/>
              <a:gd name="connsiteY36047" fmla="*/ 2212139 h 5973007"/>
              <a:gd name="connsiteX36048" fmla="*/ 6255546 w 6884782"/>
              <a:gd name="connsiteY36048" fmla="*/ 2204172 h 5973007"/>
              <a:gd name="connsiteX36049" fmla="*/ 6258961 w 6884782"/>
              <a:gd name="connsiteY36049" fmla="*/ 2203602 h 5973007"/>
              <a:gd name="connsiteX36050" fmla="*/ 6261522 w 6884782"/>
              <a:gd name="connsiteY36050" fmla="*/ 2203175 h 5973007"/>
              <a:gd name="connsiteX36051" fmla="*/ 5626598 w 6884782"/>
              <a:gd name="connsiteY36051" fmla="*/ 2201042 h 5973007"/>
              <a:gd name="connsiteX36052" fmla="*/ 5627665 w 6884782"/>
              <a:gd name="connsiteY36052" fmla="*/ 2202464 h 5973007"/>
              <a:gd name="connsiteX36053" fmla="*/ 5628092 w 6884782"/>
              <a:gd name="connsiteY36053" fmla="*/ 2202180 h 5973007"/>
              <a:gd name="connsiteX36054" fmla="*/ 5628306 w 6884782"/>
              <a:gd name="connsiteY36054" fmla="*/ 2202749 h 5973007"/>
              <a:gd name="connsiteX36055" fmla="*/ 5628946 w 6884782"/>
              <a:gd name="connsiteY36055" fmla="*/ 2202606 h 5973007"/>
              <a:gd name="connsiteX36056" fmla="*/ 5631507 w 6884782"/>
              <a:gd name="connsiteY36056" fmla="*/ 2203460 h 5973007"/>
              <a:gd name="connsiteX36057" fmla="*/ 5631507 w 6884782"/>
              <a:gd name="connsiteY36057" fmla="*/ 2209293 h 5973007"/>
              <a:gd name="connsiteX36058" fmla="*/ 5625531 w 6884782"/>
              <a:gd name="connsiteY36058" fmla="*/ 2212139 h 5973007"/>
              <a:gd name="connsiteX36059" fmla="*/ 5622116 w 6884782"/>
              <a:gd name="connsiteY36059" fmla="*/ 2214699 h 5973007"/>
              <a:gd name="connsiteX36060" fmla="*/ 5619342 w 6884782"/>
              <a:gd name="connsiteY36060" fmla="*/ 2213988 h 5973007"/>
              <a:gd name="connsiteX36061" fmla="*/ 5621050 w 6884782"/>
              <a:gd name="connsiteY36061" fmla="*/ 2214841 h 5973007"/>
              <a:gd name="connsiteX36062" fmla="*/ 5622330 w 6884782"/>
              <a:gd name="connsiteY36062" fmla="*/ 2216976 h 5973007"/>
              <a:gd name="connsiteX36063" fmla="*/ 5621050 w 6884782"/>
              <a:gd name="connsiteY36063" fmla="*/ 2219252 h 5973007"/>
              <a:gd name="connsiteX36064" fmla="*/ 5619769 w 6884782"/>
              <a:gd name="connsiteY36064" fmla="*/ 2221101 h 5973007"/>
              <a:gd name="connsiteX36065" fmla="*/ 5626385 w 6884782"/>
              <a:gd name="connsiteY36065" fmla="*/ 2217972 h 5973007"/>
              <a:gd name="connsiteX36066" fmla="*/ 5622543 w 6884782"/>
              <a:gd name="connsiteY36066" fmla="*/ 2230634 h 5973007"/>
              <a:gd name="connsiteX36067" fmla="*/ 5621690 w 6884782"/>
              <a:gd name="connsiteY36067" fmla="*/ 2238458 h 5973007"/>
              <a:gd name="connsiteX36068" fmla="*/ 5622330 w 6884782"/>
              <a:gd name="connsiteY36068" fmla="*/ 2238885 h 5973007"/>
              <a:gd name="connsiteX36069" fmla="*/ 5623610 w 6884782"/>
              <a:gd name="connsiteY36069" fmla="*/ 2238316 h 5973007"/>
              <a:gd name="connsiteX36070" fmla="*/ 5623610 w 6884782"/>
              <a:gd name="connsiteY36070" fmla="*/ 2238031 h 5973007"/>
              <a:gd name="connsiteX36071" fmla="*/ 5627665 w 6884782"/>
              <a:gd name="connsiteY36071" fmla="*/ 2228072 h 5973007"/>
              <a:gd name="connsiteX36072" fmla="*/ 5628733 w 6884782"/>
              <a:gd name="connsiteY36072" fmla="*/ 2229211 h 5973007"/>
              <a:gd name="connsiteX36073" fmla="*/ 5627238 w 6884782"/>
              <a:gd name="connsiteY36073" fmla="*/ 2237889 h 5973007"/>
              <a:gd name="connsiteX36074" fmla="*/ 5626598 w 6884782"/>
              <a:gd name="connsiteY36074" fmla="*/ 2239596 h 5973007"/>
              <a:gd name="connsiteX36075" fmla="*/ 5629373 w 6884782"/>
              <a:gd name="connsiteY36075" fmla="*/ 2238458 h 5973007"/>
              <a:gd name="connsiteX36076" fmla="*/ 5647513 w 6884782"/>
              <a:gd name="connsiteY36076" fmla="*/ 2234048 h 5973007"/>
              <a:gd name="connsiteX36077" fmla="*/ 5653063 w 6884782"/>
              <a:gd name="connsiteY36077" fmla="*/ 2235186 h 5973007"/>
              <a:gd name="connsiteX36078" fmla="*/ 5652208 w 6884782"/>
              <a:gd name="connsiteY36078" fmla="*/ 2231914 h 5973007"/>
              <a:gd name="connsiteX36079" fmla="*/ 5648367 w 6884782"/>
              <a:gd name="connsiteY36079" fmla="*/ 2231914 h 5973007"/>
              <a:gd name="connsiteX36080" fmla="*/ 5641537 w 6884782"/>
              <a:gd name="connsiteY36080" fmla="*/ 2216406 h 5973007"/>
              <a:gd name="connsiteX36081" fmla="*/ 5646020 w 6884782"/>
              <a:gd name="connsiteY36081" fmla="*/ 2214557 h 5973007"/>
              <a:gd name="connsiteX36082" fmla="*/ 5646873 w 6884782"/>
              <a:gd name="connsiteY36082" fmla="*/ 2214415 h 5973007"/>
              <a:gd name="connsiteX36083" fmla="*/ 5644525 w 6884782"/>
              <a:gd name="connsiteY36083" fmla="*/ 2211996 h 5973007"/>
              <a:gd name="connsiteX36084" fmla="*/ 5644312 w 6884782"/>
              <a:gd name="connsiteY36084" fmla="*/ 2211000 h 5973007"/>
              <a:gd name="connsiteX36085" fmla="*/ 5643032 w 6884782"/>
              <a:gd name="connsiteY36085" fmla="*/ 2210574 h 5973007"/>
              <a:gd name="connsiteX36086" fmla="*/ 5643032 w 6884782"/>
              <a:gd name="connsiteY36086" fmla="*/ 2209578 h 5973007"/>
              <a:gd name="connsiteX36087" fmla="*/ 5644099 w 6884782"/>
              <a:gd name="connsiteY36087" fmla="*/ 2210147 h 5973007"/>
              <a:gd name="connsiteX36088" fmla="*/ 5643885 w 6884782"/>
              <a:gd name="connsiteY36088" fmla="*/ 2208866 h 5973007"/>
              <a:gd name="connsiteX36089" fmla="*/ 5643032 w 6884782"/>
              <a:gd name="connsiteY36089" fmla="*/ 2209293 h 5973007"/>
              <a:gd name="connsiteX36090" fmla="*/ 5643245 w 6884782"/>
              <a:gd name="connsiteY36090" fmla="*/ 2206732 h 5973007"/>
              <a:gd name="connsiteX36091" fmla="*/ 5643672 w 6884782"/>
              <a:gd name="connsiteY36091" fmla="*/ 2207159 h 5973007"/>
              <a:gd name="connsiteX36092" fmla="*/ 5643885 w 6884782"/>
              <a:gd name="connsiteY36092" fmla="*/ 2208297 h 5973007"/>
              <a:gd name="connsiteX36093" fmla="*/ 5646233 w 6884782"/>
              <a:gd name="connsiteY36093" fmla="*/ 2204598 h 5973007"/>
              <a:gd name="connsiteX36094" fmla="*/ 5651355 w 6884782"/>
              <a:gd name="connsiteY36094" fmla="*/ 2203318 h 5973007"/>
              <a:gd name="connsiteX36095" fmla="*/ 5658184 w 6884782"/>
              <a:gd name="connsiteY36095" fmla="*/ 2206590 h 5973007"/>
              <a:gd name="connsiteX36096" fmla="*/ 5656263 w 6884782"/>
              <a:gd name="connsiteY36096" fmla="*/ 2211427 h 5973007"/>
              <a:gd name="connsiteX36097" fmla="*/ 5652849 w 6884782"/>
              <a:gd name="connsiteY36097" fmla="*/ 2215268 h 5973007"/>
              <a:gd name="connsiteX36098" fmla="*/ 5657544 w 6884782"/>
              <a:gd name="connsiteY36098" fmla="*/ 2222382 h 5973007"/>
              <a:gd name="connsiteX36099" fmla="*/ 5656904 w 6884782"/>
              <a:gd name="connsiteY36099" fmla="*/ 2224942 h 5973007"/>
              <a:gd name="connsiteX36100" fmla="*/ 5657544 w 6884782"/>
              <a:gd name="connsiteY36100" fmla="*/ 2225227 h 5973007"/>
              <a:gd name="connsiteX36101" fmla="*/ 5658184 w 6884782"/>
              <a:gd name="connsiteY36101" fmla="*/ 2228784 h 5973007"/>
              <a:gd name="connsiteX36102" fmla="*/ 5656263 w 6884782"/>
              <a:gd name="connsiteY36102" fmla="*/ 2228642 h 5973007"/>
              <a:gd name="connsiteX36103" fmla="*/ 5656050 w 6884782"/>
              <a:gd name="connsiteY36103" fmla="*/ 2229495 h 5973007"/>
              <a:gd name="connsiteX36104" fmla="*/ 5656050 w 6884782"/>
              <a:gd name="connsiteY36104" fmla="*/ 2230207 h 5973007"/>
              <a:gd name="connsiteX36105" fmla="*/ 5656477 w 6884782"/>
              <a:gd name="connsiteY36105" fmla="*/ 2232910 h 5973007"/>
              <a:gd name="connsiteX36106" fmla="*/ 5653489 w 6884782"/>
              <a:gd name="connsiteY36106" fmla="*/ 2236466 h 5973007"/>
              <a:gd name="connsiteX36107" fmla="*/ 5653276 w 6884782"/>
              <a:gd name="connsiteY36107" fmla="*/ 2236182 h 5973007"/>
              <a:gd name="connsiteX36108" fmla="*/ 5651355 w 6884782"/>
              <a:gd name="connsiteY36108" fmla="*/ 2239881 h 5973007"/>
              <a:gd name="connsiteX36109" fmla="*/ 5633854 w 6884782"/>
              <a:gd name="connsiteY36109" fmla="*/ 2249129 h 5973007"/>
              <a:gd name="connsiteX36110" fmla="*/ 5624464 w 6884782"/>
              <a:gd name="connsiteY36110" fmla="*/ 2249271 h 5973007"/>
              <a:gd name="connsiteX36111" fmla="*/ 5628946 w 6884782"/>
              <a:gd name="connsiteY36111" fmla="*/ 2252258 h 5973007"/>
              <a:gd name="connsiteX36112" fmla="*/ 5638336 w 6884782"/>
              <a:gd name="connsiteY36112" fmla="*/ 2260083 h 5973007"/>
              <a:gd name="connsiteX36113" fmla="*/ 5638336 w 6884782"/>
              <a:gd name="connsiteY36113" fmla="*/ 2261221 h 5973007"/>
              <a:gd name="connsiteX36114" fmla="*/ 5635775 w 6884782"/>
              <a:gd name="connsiteY36114" fmla="*/ 2262075 h 5973007"/>
              <a:gd name="connsiteX36115" fmla="*/ 5631293 w 6884782"/>
              <a:gd name="connsiteY36115" fmla="*/ 2259087 h 5973007"/>
              <a:gd name="connsiteX36116" fmla="*/ 5623397 w 6884782"/>
              <a:gd name="connsiteY36116" fmla="*/ 2249697 h 5973007"/>
              <a:gd name="connsiteX36117" fmla="*/ 5622543 w 6884782"/>
              <a:gd name="connsiteY36117" fmla="*/ 2249271 h 5973007"/>
              <a:gd name="connsiteX36118" fmla="*/ 5620195 w 6884782"/>
              <a:gd name="connsiteY36118" fmla="*/ 2249271 h 5973007"/>
              <a:gd name="connsiteX36119" fmla="*/ 5617421 w 6884782"/>
              <a:gd name="connsiteY36119" fmla="*/ 2247990 h 5973007"/>
              <a:gd name="connsiteX36120" fmla="*/ 5614007 w 6884782"/>
              <a:gd name="connsiteY36120" fmla="*/ 2249129 h 5973007"/>
              <a:gd name="connsiteX36121" fmla="*/ 5612726 w 6884782"/>
              <a:gd name="connsiteY36121" fmla="*/ 2245287 h 5973007"/>
              <a:gd name="connsiteX36122" fmla="*/ 5611872 w 6884782"/>
              <a:gd name="connsiteY36122" fmla="*/ 2255103 h 5973007"/>
              <a:gd name="connsiteX36123" fmla="*/ 5612299 w 6884782"/>
              <a:gd name="connsiteY36123" fmla="*/ 2258945 h 5973007"/>
              <a:gd name="connsiteX36124" fmla="*/ 5612512 w 6884782"/>
              <a:gd name="connsiteY36124" fmla="*/ 2259940 h 5973007"/>
              <a:gd name="connsiteX36125" fmla="*/ 5612939 w 6884782"/>
              <a:gd name="connsiteY36125" fmla="*/ 2260083 h 5973007"/>
              <a:gd name="connsiteX36126" fmla="*/ 5614433 w 6884782"/>
              <a:gd name="connsiteY36126" fmla="*/ 2267481 h 5973007"/>
              <a:gd name="connsiteX36127" fmla="*/ 5613580 w 6884782"/>
              <a:gd name="connsiteY36127" fmla="*/ 2271180 h 5973007"/>
              <a:gd name="connsiteX36128" fmla="*/ 5613793 w 6884782"/>
              <a:gd name="connsiteY36128" fmla="*/ 2271180 h 5973007"/>
              <a:gd name="connsiteX36129" fmla="*/ 5615927 w 6884782"/>
              <a:gd name="connsiteY36129" fmla="*/ 2271607 h 5973007"/>
              <a:gd name="connsiteX36130" fmla="*/ 5617421 w 6884782"/>
              <a:gd name="connsiteY36130" fmla="*/ 2289391 h 5973007"/>
              <a:gd name="connsiteX36131" fmla="*/ 5616567 w 6884782"/>
              <a:gd name="connsiteY36131" fmla="*/ 2291809 h 5973007"/>
              <a:gd name="connsiteX36132" fmla="*/ 5617848 w 6884782"/>
              <a:gd name="connsiteY36132" fmla="*/ 2291809 h 5973007"/>
              <a:gd name="connsiteX36133" fmla="*/ 5616567 w 6884782"/>
              <a:gd name="connsiteY36133" fmla="*/ 2292947 h 5973007"/>
              <a:gd name="connsiteX36134" fmla="*/ 5616567 w 6884782"/>
              <a:gd name="connsiteY36134" fmla="*/ 2293232 h 5973007"/>
              <a:gd name="connsiteX36135" fmla="*/ 5616567 w 6884782"/>
              <a:gd name="connsiteY36135" fmla="*/ 2294370 h 5973007"/>
              <a:gd name="connsiteX36136" fmla="*/ 5613366 w 6884782"/>
              <a:gd name="connsiteY36136" fmla="*/ 2298069 h 5973007"/>
              <a:gd name="connsiteX36137" fmla="*/ 5610592 w 6884782"/>
              <a:gd name="connsiteY36137" fmla="*/ 2297215 h 5973007"/>
              <a:gd name="connsiteX36138" fmla="*/ 5610165 w 6884782"/>
              <a:gd name="connsiteY36138" fmla="*/ 2296646 h 5973007"/>
              <a:gd name="connsiteX36139" fmla="*/ 5603976 w 6884782"/>
              <a:gd name="connsiteY36139" fmla="*/ 2297927 h 5973007"/>
              <a:gd name="connsiteX36140" fmla="*/ 5605256 w 6884782"/>
              <a:gd name="connsiteY36140" fmla="*/ 2291098 h 5973007"/>
              <a:gd name="connsiteX36141" fmla="*/ 5606323 w 6884782"/>
              <a:gd name="connsiteY36141" fmla="*/ 2290671 h 5973007"/>
              <a:gd name="connsiteX36142" fmla="*/ 5603336 w 6884782"/>
              <a:gd name="connsiteY36142" fmla="*/ 2289675 h 5973007"/>
              <a:gd name="connsiteX36143" fmla="*/ 5586262 w 6884782"/>
              <a:gd name="connsiteY36143" fmla="*/ 2287114 h 5973007"/>
              <a:gd name="connsiteX36144" fmla="*/ 5586262 w 6884782"/>
              <a:gd name="connsiteY36144" fmla="*/ 2278293 h 5973007"/>
              <a:gd name="connsiteX36145" fmla="*/ 5587329 w 6884782"/>
              <a:gd name="connsiteY36145" fmla="*/ 2276017 h 5973007"/>
              <a:gd name="connsiteX36146" fmla="*/ 5585835 w 6884782"/>
              <a:gd name="connsiteY36146" fmla="*/ 2277155 h 5973007"/>
              <a:gd name="connsiteX36147" fmla="*/ 5583274 w 6884782"/>
              <a:gd name="connsiteY36147" fmla="*/ 2272034 h 5973007"/>
              <a:gd name="connsiteX36148" fmla="*/ 5587969 w 6884782"/>
              <a:gd name="connsiteY36148" fmla="*/ 2270469 h 5973007"/>
              <a:gd name="connsiteX36149" fmla="*/ 5589250 w 6884782"/>
              <a:gd name="connsiteY36149" fmla="*/ 2271607 h 5973007"/>
              <a:gd name="connsiteX36150" fmla="*/ 5590317 w 6884782"/>
              <a:gd name="connsiteY36150" fmla="*/ 2272745 h 5973007"/>
              <a:gd name="connsiteX36151" fmla="*/ 5592451 w 6884782"/>
              <a:gd name="connsiteY36151" fmla="*/ 2270753 h 5973007"/>
              <a:gd name="connsiteX36152" fmla="*/ 5603549 w 6884782"/>
              <a:gd name="connsiteY36152" fmla="*/ 2269046 h 5973007"/>
              <a:gd name="connsiteX36153" fmla="*/ 5605256 w 6884782"/>
              <a:gd name="connsiteY36153" fmla="*/ 2270042 h 5973007"/>
              <a:gd name="connsiteX36154" fmla="*/ 5605256 w 6884782"/>
              <a:gd name="connsiteY36154" fmla="*/ 2269615 h 5973007"/>
              <a:gd name="connsiteX36155" fmla="*/ 5606323 w 6884782"/>
              <a:gd name="connsiteY36155" fmla="*/ 2266201 h 5973007"/>
              <a:gd name="connsiteX36156" fmla="*/ 5604403 w 6884782"/>
              <a:gd name="connsiteY36156" fmla="*/ 2266485 h 5973007"/>
              <a:gd name="connsiteX36157" fmla="*/ 5608458 w 6884782"/>
              <a:gd name="connsiteY36157" fmla="*/ 2244576 h 5973007"/>
              <a:gd name="connsiteX36158" fmla="*/ 5609524 w 6884782"/>
              <a:gd name="connsiteY36158" fmla="*/ 2242300 h 5973007"/>
              <a:gd name="connsiteX36159" fmla="*/ 5610592 w 6884782"/>
              <a:gd name="connsiteY36159" fmla="*/ 2241588 h 5973007"/>
              <a:gd name="connsiteX36160" fmla="*/ 5611232 w 6884782"/>
              <a:gd name="connsiteY36160" fmla="*/ 2242015 h 5973007"/>
              <a:gd name="connsiteX36161" fmla="*/ 5611872 w 6884782"/>
              <a:gd name="connsiteY36161" fmla="*/ 2242015 h 5973007"/>
              <a:gd name="connsiteX36162" fmla="*/ 5611659 w 6884782"/>
              <a:gd name="connsiteY36162" fmla="*/ 2241303 h 5973007"/>
              <a:gd name="connsiteX36163" fmla="*/ 5612512 w 6884782"/>
              <a:gd name="connsiteY36163" fmla="*/ 2237036 h 5973007"/>
              <a:gd name="connsiteX36164" fmla="*/ 5609952 w 6884782"/>
              <a:gd name="connsiteY36164" fmla="*/ 2236893 h 5973007"/>
              <a:gd name="connsiteX36165" fmla="*/ 5606110 w 6884782"/>
              <a:gd name="connsiteY36165" fmla="*/ 2238173 h 5973007"/>
              <a:gd name="connsiteX36166" fmla="*/ 5604189 w 6884782"/>
              <a:gd name="connsiteY36166" fmla="*/ 2236324 h 5973007"/>
              <a:gd name="connsiteX36167" fmla="*/ 5607177 w 6884782"/>
              <a:gd name="connsiteY36167" fmla="*/ 2234048 h 5973007"/>
              <a:gd name="connsiteX36168" fmla="*/ 5610379 w 6884782"/>
              <a:gd name="connsiteY36168" fmla="*/ 2236324 h 5973007"/>
              <a:gd name="connsiteX36169" fmla="*/ 5612726 w 6884782"/>
              <a:gd name="connsiteY36169" fmla="*/ 2236040 h 5973007"/>
              <a:gd name="connsiteX36170" fmla="*/ 5613366 w 6884782"/>
              <a:gd name="connsiteY36170" fmla="*/ 2231060 h 5973007"/>
              <a:gd name="connsiteX36171" fmla="*/ 5619129 w 6884782"/>
              <a:gd name="connsiteY36171" fmla="*/ 2221528 h 5973007"/>
              <a:gd name="connsiteX36172" fmla="*/ 5617208 w 6884782"/>
              <a:gd name="connsiteY36172" fmla="*/ 2221813 h 5973007"/>
              <a:gd name="connsiteX36173" fmla="*/ 5614007 w 6884782"/>
              <a:gd name="connsiteY36173" fmla="*/ 2220959 h 5973007"/>
              <a:gd name="connsiteX36174" fmla="*/ 5613793 w 6884782"/>
              <a:gd name="connsiteY36174" fmla="*/ 2219678 h 5973007"/>
              <a:gd name="connsiteX36175" fmla="*/ 5612299 w 6884782"/>
              <a:gd name="connsiteY36175" fmla="*/ 2219963 h 5973007"/>
              <a:gd name="connsiteX36176" fmla="*/ 5606750 w 6884782"/>
              <a:gd name="connsiteY36176" fmla="*/ 2219678 h 5973007"/>
              <a:gd name="connsiteX36177" fmla="*/ 5613366 w 6884782"/>
              <a:gd name="connsiteY36177" fmla="*/ 2217972 h 5973007"/>
              <a:gd name="connsiteX36178" fmla="*/ 5613580 w 6884782"/>
              <a:gd name="connsiteY36178" fmla="*/ 2217972 h 5973007"/>
              <a:gd name="connsiteX36179" fmla="*/ 5613580 w 6884782"/>
              <a:gd name="connsiteY36179" fmla="*/ 2216833 h 5973007"/>
              <a:gd name="connsiteX36180" fmla="*/ 5612299 w 6884782"/>
              <a:gd name="connsiteY36180" fmla="*/ 2216264 h 5973007"/>
              <a:gd name="connsiteX36181" fmla="*/ 5613153 w 6884782"/>
              <a:gd name="connsiteY36181" fmla="*/ 2215553 h 5973007"/>
              <a:gd name="connsiteX36182" fmla="*/ 5613366 w 6884782"/>
              <a:gd name="connsiteY36182" fmla="*/ 2213988 h 5973007"/>
              <a:gd name="connsiteX36183" fmla="*/ 5618702 w 6884782"/>
              <a:gd name="connsiteY36183" fmla="*/ 2213561 h 5973007"/>
              <a:gd name="connsiteX36184" fmla="*/ 5623397 w 6884782"/>
              <a:gd name="connsiteY36184" fmla="*/ 2204883 h 5973007"/>
              <a:gd name="connsiteX36185" fmla="*/ 5625958 w 6884782"/>
              <a:gd name="connsiteY36185" fmla="*/ 2203460 h 5973007"/>
              <a:gd name="connsiteX36186" fmla="*/ 1119401 w 6884782"/>
              <a:gd name="connsiteY36186" fmla="*/ 2200324 h 5973007"/>
              <a:gd name="connsiteX36187" fmla="*/ 1128797 w 6884782"/>
              <a:gd name="connsiteY36187" fmla="*/ 2201563 h 5973007"/>
              <a:gd name="connsiteX36188" fmla="*/ 1129520 w 6884782"/>
              <a:gd name="connsiteY36188" fmla="*/ 2204816 h 5973007"/>
              <a:gd name="connsiteX36189" fmla="*/ 1114858 w 6884782"/>
              <a:gd name="connsiteY36189" fmla="*/ 2211012 h 5973007"/>
              <a:gd name="connsiteX36190" fmla="*/ 1113309 w 6884782"/>
              <a:gd name="connsiteY36190" fmla="*/ 2208689 h 5973007"/>
              <a:gd name="connsiteX36191" fmla="*/ 1119401 w 6884782"/>
              <a:gd name="connsiteY36191" fmla="*/ 2200324 h 5973007"/>
              <a:gd name="connsiteX36192" fmla="*/ 785677 w 6884782"/>
              <a:gd name="connsiteY36192" fmla="*/ 2200324 h 5973007"/>
              <a:gd name="connsiteX36193" fmla="*/ 795486 w 6884782"/>
              <a:gd name="connsiteY36193" fmla="*/ 2201563 h 5973007"/>
              <a:gd name="connsiteX36194" fmla="*/ 794660 w 6884782"/>
              <a:gd name="connsiteY36194" fmla="*/ 2207605 h 5973007"/>
              <a:gd name="connsiteX36195" fmla="*/ 783095 w 6884782"/>
              <a:gd name="connsiteY36195" fmla="*/ 2201254 h 5973007"/>
              <a:gd name="connsiteX36196" fmla="*/ 785677 w 6884782"/>
              <a:gd name="connsiteY36196" fmla="*/ 2200324 h 5973007"/>
              <a:gd name="connsiteX36197" fmla="*/ 1094310 w 6884782"/>
              <a:gd name="connsiteY36197" fmla="*/ 2199550 h 5973007"/>
              <a:gd name="connsiteX36198" fmla="*/ 1105048 w 6884782"/>
              <a:gd name="connsiteY36198" fmla="*/ 2201718 h 5973007"/>
              <a:gd name="connsiteX36199" fmla="*/ 1102777 w 6884782"/>
              <a:gd name="connsiteY36199" fmla="*/ 2202802 h 5973007"/>
              <a:gd name="connsiteX36200" fmla="*/ 1092038 w 6884782"/>
              <a:gd name="connsiteY36200" fmla="*/ 2200479 h 5973007"/>
              <a:gd name="connsiteX36201" fmla="*/ 1094310 w 6884782"/>
              <a:gd name="connsiteY36201" fmla="*/ 2199550 h 5973007"/>
              <a:gd name="connsiteX36202" fmla="*/ 933643 w 6884782"/>
              <a:gd name="connsiteY36202" fmla="*/ 2198620 h 5973007"/>
              <a:gd name="connsiteX36203" fmla="*/ 939012 w 6884782"/>
              <a:gd name="connsiteY36203" fmla="*/ 2200169 h 5973007"/>
              <a:gd name="connsiteX36204" fmla="*/ 937257 w 6884782"/>
              <a:gd name="connsiteY36204" fmla="*/ 2208069 h 5973007"/>
              <a:gd name="connsiteX36205" fmla="*/ 936534 w 6884782"/>
              <a:gd name="connsiteY36205" fmla="*/ 2209309 h 5973007"/>
              <a:gd name="connsiteX36206" fmla="*/ 936431 w 6884782"/>
              <a:gd name="connsiteY36206" fmla="*/ 2211787 h 5973007"/>
              <a:gd name="connsiteX36207" fmla="*/ 932714 w 6884782"/>
              <a:gd name="connsiteY36207" fmla="*/ 2216278 h 5973007"/>
              <a:gd name="connsiteX36208" fmla="*/ 923627 w 6884782"/>
              <a:gd name="connsiteY36208" fmla="*/ 2216898 h 5973007"/>
              <a:gd name="connsiteX36209" fmla="*/ 924453 w 6884782"/>
              <a:gd name="connsiteY36209" fmla="*/ 2217208 h 5973007"/>
              <a:gd name="connsiteX36210" fmla="*/ 926105 w 6884782"/>
              <a:gd name="connsiteY36210" fmla="*/ 2231303 h 5973007"/>
              <a:gd name="connsiteX36211" fmla="*/ 924143 w 6884782"/>
              <a:gd name="connsiteY36211" fmla="*/ 2229445 h 5973007"/>
              <a:gd name="connsiteX36212" fmla="*/ 923834 w 6884782"/>
              <a:gd name="connsiteY36212" fmla="*/ 2228360 h 5973007"/>
              <a:gd name="connsiteX36213" fmla="*/ 923111 w 6884782"/>
              <a:gd name="connsiteY36213" fmla="*/ 2228051 h 5973007"/>
              <a:gd name="connsiteX36214" fmla="*/ 923524 w 6884782"/>
              <a:gd name="connsiteY36214" fmla="*/ 2227276 h 5973007"/>
              <a:gd name="connsiteX36215" fmla="*/ 922801 w 6884782"/>
              <a:gd name="connsiteY36215" fmla="*/ 2225108 h 5973007"/>
              <a:gd name="connsiteX36216" fmla="*/ 919497 w 6884782"/>
              <a:gd name="connsiteY36216" fmla="*/ 2220615 h 5973007"/>
              <a:gd name="connsiteX36217" fmla="*/ 919084 w 6884782"/>
              <a:gd name="connsiteY36217" fmla="*/ 2214730 h 5973007"/>
              <a:gd name="connsiteX36218" fmla="*/ 921459 w 6884782"/>
              <a:gd name="connsiteY36218" fmla="*/ 2213955 h 5973007"/>
              <a:gd name="connsiteX36219" fmla="*/ 920839 w 6884782"/>
              <a:gd name="connsiteY36219" fmla="*/ 2211632 h 5973007"/>
              <a:gd name="connsiteX36220" fmla="*/ 927138 w 6884782"/>
              <a:gd name="connsiteY36220" fmla="*/ 2202183 h 5973007"/>
              <a:gd name="connsiteX36221" fmla="*/ 932300 w 6884782"/>
              <a:gd name="connsiteY36221" fmla="*/ 2201718 h 5973007"/>
              <a:gd name="connsiteX36222" fmla="*/ 932817 w 6884782"/>
              <a:gd name="connsiteY36222" fmla="*/ 2202028 h 5973007"/>
              <a:gd name="connsiteX36223" fmla="*/ 4709534 w 6884782"/>
              <a:gd name="connsiteY36223" fmla="*/ 2197911 h 5973007"/>
              <a:gd name="connsiteX36224" fmla="*/ 4710174 w 6884782"/>
              <a:gd name="connsiteY36224" fmla="*/ 2202891 h 5973007"/>
              <a:gd name="connsiteX36225" fmla="*/ 4706972 w 6884782"/>
              <a:gd name="connsiteY36225" fmla="*/ 2204456 h 5973007"/>
              <a:gd name="connsiteX36226" fmla="*/ 4705905 w 6884782"/>
              <a:gd name="connsiteY36226" fmla="*/ 2198481 h 5973007"/>
              <a:gd name="connsiteX36227" fmla="*/ 4709534 w 6884782"/>
              <a:gd name="connsiteY36227" fmla="*/ 2197911 h 5973007"/>
              <a:gd name="connsiteX36228" fmla="*/ 1067360 w 6884782"/>
              <a:gd name="connsiteY36228" fmla="*/ 2197381 h 5973007"/>
              <a:gd name="connsiteX36229" fmla="*/ 1074485 w 6884782"/>
              <a:gd name="connsiteY36229" fmla="*/ 2199550 h 5973007"/>
              <a:gd name="connsiteX36230" fmla="*/ 1076550 w 6884782"/>
              <a:gd name="connsiteY36230" fmla="*/ 2201254 h 5973007"/>
              <a:gd name="connsiteX36231" fmla="*/ 1079338 w 6884782"/>
              <a:gd name="connsiteY36231" fmla="*/ 2200634 h 5973007"/>
              <a:gd name="connsiteX36232" fmla="*/ 1082538 w 6884782"/>
              <a:gd name="connsiteY36232" fmla="*/ 2201718 h 5973007"/>
              <a:gd name="connsiteX36233" fmla="*/ 1081609 w 6884782"/>
              <a:gd name="connsiteY36233" fmla="*/ 2202957 h 5973007"/>
              <a:gd name="connsiteX36234" fmla="*/ 1079854 w 6884782"/>
              <a:gd name="connsiteY36234" fmla="*/ 2204042 h 5973007"/>
              <a:gd name="connsiteX36235" fmla="*/ 1081506 w 6884782"/>
              <a:gd name="connsiteY36235" fmla="*/ 2205436 h 5973007"/>
              <a:gd name="connsiteX36236" fmla="*/ 1085120 w 6884782"/>
              <a:gd name="connsiteY36236" fmla="*/ 2219686 h 5973007"/>
              <a:gd name="connsiteX36237" fmla="*/ 1075827 w 6884782"/>
              <a:gd name="connsiteY36237" fmla="*/ 2209309 h 5973007"/>
              <a:gd name="connsiteX36238" fmla="*/ 1072109 w 6884782"/>
              <a:gd name="connsiteY36238" fmla="*/ 2205281 h 5973007"/>
              <a:gd name="connsiteX36239" fmla="*/ 1070458 w 6884782"/>
              <a:gd name="connsiteY36239" fmla="*/ 2206210 h 5973007"/>
              <a:gd name="connsiteX36240" fmla="*/ 1067566 w 6884782"/>
              <a:gd name="connsiteY36240" fmla="*/ 2203577 h 5973007"/>
              <a:gd name="connsiteX36241" fmla="*/ 1069115 w 6884782"/>
              <a:gd name="connsiteY36241" fmla="*/ 2200789 h 5973007"/>
              <a:gd name="connsiteX36242" fmla="*/ 1069322 w 6884782"/>
              <a:gd name="connsiteY36242" fmla="*/ 2200789 h 5973007"/>
              <a:gd name="connsiteX36243" fmla="*/ 5054420 w 6884782"/>
              <a:gd name="connsiteY36243" fmla="*/ 2197200 h 5973007"/>
              <a:gd name="connsiteX36244" fmla="*/ 5058902 w 6884782"/>
              <a:gd name="connsiteY36244" fmla="*/ 2197911 h 5973007"/>
              <a:gd name="connsiteX36245" fmla="*/ 5054420 w 6884782"/>
              <a:gd name="connsiteY36245" fmla="*/ 2209293 h 5973007"/>
              <a:gd name="connsiteX36246" fmla="*/ 5050151 w 6884782"/>
              <a:gd name="connsiteY36246" fmla="*/ 2206732 h 5973007"/>
              <a:gd name="connsiteX36247" fmla="*/ 5054420 w 6884782"/>
              <a:gd name="connsiteY36247" fmla="*/ 2197200 h 5973007"/>
              <a:gd name="connsiteX36248" fmla="*/ 4997223 w 6884782"/>
              <a:gd name="connsiteY36248" fmla="*/ 2196062 h 5973007"/>
              <a:gd name="connsiteX36249" fmla="*/ 4997650 w 6884782"/>
              <a:gd name="connsiteY36249" fmla="*/ 2197343 h 5973007"/>
              <a:gd name="connsiteX36250" fmla="*/ 5000638 w 6884782"/>
              <a:gd name="connsiteY36250" fmla="*/ 2197200 h 5973007"/>
              <a:gd name="connsiteX36251" fmla="*/ 5011309 w 6884782"/>
              <a:gd name="connsiteY36251" fmla="*/ 2200615 h 5973007"/>
              <a:gd name="connsiteX36252" fmla="*/ 4984418 w 6884782"/>
              <a:gd name="connsiteY36252" fmla="*/ 2254108 h 5973007"/>
              <a:gd name="connsiteX36253" fmla="*/ 4963503 w 6884782"/>
              <a:gd name="connsiteY36253" fmla="*/ 2243437 h 5973007"/>
              <a:gd name="connsiteX36254" fmla="*/ 4972466 w 6884782"/>
              <a:gd name="connsiteY36254" fmla="*/ 2203318 h 5973007"/>
              <a:gd name="connsiteX36255" fmla="*/ 4986125 w 6884782"/>
              <a:gd name="connsiteY36255" fmla="*/ 2199192 h 5973007"/>
              <a:gd name="connsiteX36256" fmla="*/ 4992741 w 6884782"/>
              <a:gd name="connsiteY36256" fmla="*/ 2197627 h 5973007"/>
              <a:gd name="connsiteX36257" fmla="*/ 5341896 w 6884782"/>
              <a:gd name="connsiteY36257" fmla="*/ 2195493 h 5973007"/>
              <a:gd name="connsiteX36258" fmla="*/ 5350433 w 6884782"/>
              <a:gd name="connsiteY36258" fmla="*/ 2197200 h 5973007"/>
              <a:gd name="connsiteX36259" fmla="*/ 5344244 w 6884782"/>
              <a:gd name="connsiteY36259" fmla="*/ 2203033 h 5973007"/>
              <a:gd name="connsiteX36260" fmla="*/ 5335494 w 6884782"/>
              <a:gd name="connsiteY36260" fmla="*/ 2200473 h 5973007"/>
              <a:gd name="connsiteX36261" fmla="*/ 5341896 w 6884782"/>
              <a:gd name="connsiteY36261" fmla="*/ 2195493 h 5973007"/>
              <a:gd name="connsiteX36262" fmla="*/ 5272961 w 6884782"/>
              <a:gd name="connsiteY36262" fmla="*/ 2195208 h 5973007"/>
              <a:gd name="connsiteX36263" fmla="*/ 5281499 w 6884782"/>
              <a:gd name="connsiteY36263" fmla="*/ 2213419 h 5973007"/>
              <a:gd name="connsiteX36264" fmla="*/ 5283632 w 6884782"/>
              <a:gd name="connsiteY36264" fmla="*/ 2228784 h 5973007"/>
              <a:gd name="connsiteX36265" fmla="*/ 5283419 w 6884782"/>
              <a:gd name="connsiteY36265" fmla="*/ 2223235 h 5973007"/>
              <a:gd name="connsiteX36266" fmla="*/ 5285980 w 6884782"/>
              <a:gd name="connsiteY36266" fmla="*/ 2220532 h 5973007"/>
              <a:gd name="connsiteX36267" fmla="*/ 5307749 w 6884782"/>
              <a:gd name="connsiteY36267" fmla="*/ 2232767 h 5973007"/>
              <a:gd name="connsiteX36268" fmla="*/ 5311377 w 6884782"/>
              <a:gd name="connsiteY36268" fmla="*/ 2258660 h 5973007"/>
              <a:gd name="connsiteX36269" fmla="*/ 5286834 w 6884782"/>
              <a:gd name="connsiteY36269" fmla="*/ 2238173 h 5973007"/>
              <a:gd name="connsiteX36270" fmla="*/ 5283846 w 6884782"/>
              <a:gd name="connsiteY36270" fmla="*/ 2230349 h 5973007"/>
              <a:gd name="connsiteX36271" fmla="*/ 5282139 w 6884782"/>
              <a:gd name="connsiteY36271" fmla="*/ 2240592 h 5973007"/>
              <a:gd name="connsiteX36272" fmla="*/ 5269760 w 6884782"/>
              <a:gd name="connsiteY36272" fmla="*/ 2219678 h 5973007"/>
              <a:gd name="connsiteX36273" fmla="*/ 5259303 w 6884782"/>
              <a:gd name="connsiteY36273" fmla="*/ 2227219 h 5973007"/>
              <a:gd name="connsiteX36274" fmla="*/ 5254181 w 6884782"/>
              <a:gd name="connsiteY36274" fmla="*/ 2228499 h 5973007"/>
              <a:gd name="connsiteX36275" fmla="*/ 5254181 w 6884782"/>
              <a:gd name="connsiteY36275" fmla="*/ 2229211 h 5973007"/>
              <a:gd name="connsiteX36276" fmla="*/ 5254181 w 6884782"/>
              <a:gd name="connsiteY36276" fmla="*/ 2231914 h 5973007"/>
              <a:gd name="connsiteX36277" fmla="*/ 5250553 w 6884782"/>
              <a:gd name="connsiteY36277" fmla="*/ 2235613 h 5973007"/>
              <a:gd name="connsiteX36278" fmla="*/ 5247351 w 6884782"/>
              <a:gd name="connsiteY36278" fmla="*/ 2213134 h 5973007"/>
              <a:gd name="connsiteX36279" fmla="*/ 5249912 w 6884782"/>
              <a:gd name="connsiteY36279" fmla="*/ 2212850 h 5973007"/>
              <a:gd name="connsiteX36280" fmla="*/ 5252047 w 6884782"/>
              <a:gd name="connsiteY36280" fmla="*/ 2215268 h 5973007"/>
              <a:gd name="connsiteX36281" fmla="*/ 5252900 w 6884782"/>
              <a:gd name="connsiteY36281" fmla="*/ 2218398 h 5973007"/>
              <a:gd name="connsiteX36282" fmla="*/ 5255888 w 6884782"/>
              <a:gd name="connsiteY36282" fmla="*/ 2215980 h 5973007"/>
              <a:gd name="connsiteX36283" fmla="*/ 5267626 w 6884782"/>
              <a:gd name="connsiteY36283" fmla="*/ 2208439 h 5973007"/>
              <a:gd name="connsiteX36284" fmla="*/ 5272961 w 6884782"/>
              <a:gd name="connsiteY36284" fmla="*/ 2195208 h 5973007"/>
              <a:gd name="connsiteX36285" fmla="*/ 5073414 w 6884782"/>
              <a:gd name="connsiteY36285" fmla="*/ 2194924 h 5973007"/>
              <a:gd name="connsiteX36286" fmla="*/ 5076615 w 6884782"/>
              <a:gd name="connsiteY36286" fmla="*/ 2195066 h 5973007"/>
              <a:gd name="connsiteX36287" fmla="*/ 5082164 w 6884782"/>
              <a:gd name="connsiteY36287" fmla="*/ 2199334 h 5973007"/>
              <a:gd name="connsiteX36288" fmla="*/ 5078536 w 6884782"/>
              <a:gd name="connsiteY36288" fmla="*/ 2210289 h 5973007"/>
              <a:gd name="connsiteX36289" fmla="*/ 5073841 w 6884782"/>
              <a:gd name="connsiteY36289" fmla="*/ 2211285 h 5973007"/>
              <a:gd name="connsiteX36290" fmla="*/ 5073841 w 6884782"/>
              <a:gd name="connsiteY36290" fmla="*/ 2213134 h 5973007"/>
              <a:gd name="connsiteX36291" fmla="*/ 5067012 w 6884782"/>
              <a:gd name="connsiteY36291" fmla="*/ 2214699 h 5973007"/>
              <a:gd name="connsiteX36292" fmla="*/ 5064024 w 6884782"/>
              <a:gd name="connsiteY36292" fmla="*/ 2212139 h 5973007"/>
              <a:gd name="connsiteX36293" fmla="*/ 5064877 w 6884782"/>
              <a:gd name="connsiteY36293" fmla="*/ 2207870 h 5973007"/>
              <a:gd name="connsiteX36294" fmla="*/ 5067012 w 6884782"/>
              <a:gd name="connsiteY36294" fmla="*/ 2205737 h 5973007"/>
              <a:gd name="connsiteX36295" fmla="*/ 5067012 w 6884782"/>
              <a:gd name="connsiteY36295" fmla="*/ 2201753 h 5973007"/>
              <a:gd name="connsiteX36296" fmla="*/ 5073414 w 6884782"/>
              <a:gd name="connsiteY36296" fmla="*/ 2194924 h 5973007"/>
              <a:gd name="connsiteX36297" fmla="*/ 4948564 w 6884782"/>
              <a:gd name="connsiteY36297" fmla="*/ 2194497 h 5973007"/>
              <a:gd name="connsiteX36298" fmla="*/ 4957954 w 6884782"/>
              <a:gd name="connsiteY36298" fmla="*/ 2205310 h 5973007"/>
              <a:gd name="connsiteX36299" fmla="*/ 4948991 w 6884782"/>
              <a:gd name="connsiteY36299" fmla="*/ 2210858 h 5973007"/>
              <a:gd name="connsiteX36300" fmla="*/ 4941734 w 6884782"/>
              <a:gd name="connsiteY36300" fmla="*/ 2204598 h 5973007"/>
              <a:gd name="connsiteX36301" fmla="*/ 4948564 w 6884782"/>
              <a:gd name="connsiteY36301" fmla="*/ 2194497 h 5973007"/>
              <a:gd name="connsiteX36302" fmla="*/ 886558 w 6884782"/>
              <a:gd name="connsiteY36302" fmla="*/ 2194128 h 5973007"/>
              <a:gd name="connsiteX36303" fmla="*/ 885629 w 6884782"/>
              <a:gd name="connsiteY36303" fmla="*/ 2204197 h 5973007"/>
              <a:gd name="connsiteX36304" fmla="*/ 878917 w 6884782"/>
              <a:gd name="connsiteY36304" fmla="*/ 2212716 h 5973007"/>
              <a:gd name="connsiteX36305" fmla="*/ 878401 w 6884782"/>
              <a:gd name="connsiteY36305" fmla="*/ 2207759 h 5973007"/>
              <a:gd name="connsiteX36306" fmla="*/ 886558 w 6884782"/>
              <a:gd name="connsiteY36306" fmla="*/ 2194128 h 5973007"/>
              <a:gd name="connsiteX36307" fmla="*/ 1007381 w 6884782"/>
              <a:gd name="connsiteY36307" fmla="*/ 2193490 h 5973007"/>
              <a:gd name="connsiteX36308" fmla="*/ 1009949 w 6884782"/>
              <a:gd name="connsiteY36308" fmla="*/ 2197846 h 5973007"/>
              <a:gd name="connsiteX36309" fmla="*/ 1008400 w 6884782"/>
              <a:gd name="connsiteY36309" fmla="*/ 2199550 h 5973007"/>
              <a:gd name="connsiteX36310" fmla="*/ 1000140 w 6884782"/>
              <a:gd name="connsiteY36310" fmla="*/ 2195367 h 5973007"/>
              <a:gd name="connsiteX36311" fmla="*/ 1002102 w 6884782"/>
              <a:gd name="connsiteY36311" fmla="*/ 2193664 h 5973007"/>
              <a:gd name="connsiteX36312" fmla="*/ 1007381 w 6884782"/>
              <a:gd name="connsiteY36312" fmla="*/ 2193490 h 5973007"/>
              <a:gd name="connsiteX36313" fmla="*/ 4641453 w 6884782"/>
              <a:gd name="connsiteY36313" fmla="*/ 2193217 h 5973007"/>
              <a:gd name="connsiteX36314" fmla="*/ 4642306 w 6884782"/>
              <a:gd name="connsiteY36314" fmla="*/ 2194639 h 5973007"/>
              <a:gd name="connsiteX36315" fmla="*/ 4641453 w 6884782"/>
              <a:gd name="connsiteY36315" fmla="*/ 2197058 h 5973007"/>
              <a:gd name="connsiteX36316" fmla="*/ 4639532 w 6884782"/>
              <a:gd name="connsiteY36316" fmla="*/ 2202037 h 5973007"/>
              <a:gd name="connsiteX36317" fmla="*/ 4641453 w 6884782"/>
              <a:gd name="connsiteY36317" fmla="*/ 2193217 h 5973007"/>
              <a:gd name="connsiteX36318" fmla="*/ 945208 w 6884782"/>
              <a:gd name="connsiteY36318" fmla="*/ 2192889 h 5973007"/>
              <a:gd name="connsiteX36319" fmla="*/ 951403 w 6884782"/>
              <a:gd name="connsiteY36319" fmla="*/ 2195677 h 5973007"/>
              <a:gd name="connsiteX36320" fmla="*/ 950474 w 6884782"/>
              <a:gd name="connsiteY36320" fmla="*/ 2197072 h 5973007"/>
              <a:gd name="connsiteX36321" fmla="*/ 957701 w 6884782"/>
              <a:gd name="connsiteY36321" fmla="*/ 2201254 h 5973007"/>
              <a:gd name="connsiteX36322" fmla="*/ 962038 w 6884782"/>
              <a:gd name="connsiteY36322" fmla="*/ 2208069 h 5973007"/>
              <a:gd name="connsiteX36323" fmla="*/ 962864 w 6884782"/>
              <a:gd name="connsiteY36323" fmla="*/ 2212871 h 5973007"/>
              <a:gd name="connsiteX36324" fmla="*/ 965033 w 6884782"/>
              <a:gd name="connsiteY36324" fmla="*/ 2209928 h 5973007"/>
              <a:gd name="connsiteX36325" fmla="*/ 977527 w 6884782"/>
              <a:gd name="connsiteY36325" fmla="*/ 2201873 h 5973007"/>
              <a:gd name="connsiteX36326" fmla="*/ 979076 w 6884782"/>
              <a:gd name="connsiteY36326" fmla="*/ 2213026 h 5973007"/>
              <a:gd name="connsiteX36327" fmla="*/ 971332 w 6884782"/>
              <a:gd name="connsiteY36327" fmla="*/ 2219996 h 5973007"/>
              <a:gd name="connsiteX36328" fmla="*/ 970196 w 6884782"/>
              <a:gd name="connsiteY36328" fmla="*/ 2220461 h 5973007"/>
              <a:gd name="connsiteX36329" fmla="*/ 971641 w 6884782"/>
              <a:gd name="connsiteY36329" fmla="*/ 2222165 h 5973007"/>
              <a:gd name="connsiteX36330" fmla="*/ 971744 w 6884782"/>
              <a:gd name="connsiteY36330" fmla="*/ 2226501 h 5973007"/>
              <a:gd name="connsiteX36331" fmla="*/ 961625 w 6884782"/>
              <a:gd name="connsiteY36331" fmla="*/ 2229600 h 5973007"/>
              <a:gd name="connsiteX36332" fmla="*/ 958218 w 6884782"/>
              <a:gd name="connsiteY36332" fmla="*/ 2229445 h 5973007"/>
              <a:gd name="connsiteX36333" fmla="*/ 953778 w 6884782"/>
              <a:gd name="connsiteY36333" fmla="*/ 2234401 h 5973007"/>
              <a:gd name="connsiteX36334" fmla="*/ 950990 w 6884782"/>
              <a:gd name="connsiteY36334" fmla="*/ 2234401 h 5973007"/>
              <a:gd name="connsiteX36335" fmla="*/ 942729 w 6884782"/>
              <a:gd name="connsiteY36335" fmla="*/ 2227276 h 5973007"/>
              <a:gd name="connsiteX36336" fmla="*/ 942523 w 6884782"/>
              <a:gd name="connsiteY36336" fmla="*/ 2226501 h 5973007"/>
              <a:gd name="connsiteX36337" fmla="*/ 941181 w 6884782"/>
              <a:gd name="connsiteY36337" fmla="*/ 2228670 h 5973007"/>
              <a:gd name="connsiteX36338" fmla="*/ 936637 w 6884782"/>
              <a:gd name="connsiteY36338" fmla="*/ 2222474 h 5973007"/>
              <a:gd name="connsiteX36339" fmla="*/ 939941 w 6884782"/>
              <a:gd name="connsiteY36339" fmla="*/ 2222010 h 5973007"/>
              <a:gd name="connsiteX36340" fmla="*/ 941181 w 6884782"/>
              <a:gd name="connsiteY36340" fmla="*/ 2221855 h 5973007"/>
              <a:gd name="connsiteX36341" fmla="*/ 939735 w 6884782"/>
              <a:gd name="connsiteY36341" fmla="*/ 2216434 h 5973007"/>
              <a:gd name="connsiteX36342" fmla="*/ 945208 w 6884782"/>
              <a:gd name="connsiteY36342" fmla="*/ 2200324 h 5973007"/>
              <a:gd name="connsiteX36343" fmla="*/ 945930 w 6884782"/>
              <a:gd name="connsiteY36343" fmla="*/ 2199859 h 5973007"/>
              <a:gd name="connsiteX36344" fmla="*/ 944485 w 6884782"/>
              <a:gd name="connsiteY36344" fmla="*/ 2200324 h 5973007"/>
              <a:gd name="connsiteX36345" fmla="*/ 942833 w 6884782"/>
              <a:gd name="connsiteY36345" fmla="*/ 2199395 h 5973007"/>
              <a:gd name="connsiteX36346" fmla="*/ 939838 w 6884782"/>
              <a:gd name="connsiteY36346" fmla="*/ 2196452 h 5973007"/>
              <a:gd name="connsiteX36347" fmla="*/ 941387 w 6884782"/>
              <a:gd name="connsiteY36347" fmla="*/ 2193664 h 5973007"/>
              <a:gd name="connsiteX36348" fmla="*/ 945208 w 6884782"/>
              <a:gd name="connsiteY36348" fmla="*/ 2192889 h 5973007"/>
              <a:gd name="connsiteX36349" fmla="*/ 5728613 w 6884782"/>
              <a:gd name="connsiteY36349" fmla="*/ 2192790 h 5973007"/>
              <a:gd name="connsiteX36350" fmla="*/ 5729680 w 6884782"/>
              <a:gd name="connsiteY36350" fmla="*/ 2193217 h 5973007"/>
              <a:gd name="connsiteX36351" fmla="*/ 5729893 w 6884782"/>
              <a:gd name="connsiteY36351" fmla="*/ 2193074 h 5973007"/>
              <a:gd name="connsiteX36352" fmla="*/ 5730747 w 6884782"/>
              <a:gd name="connsiteY36352" fmla="*/ 2193644 h 5973007"/>
              <a:gd name="connsiteX36353" fmla="*/ 5730960 w 6884782"/>
              <a:gd name="connsiteY36353" fmla="*/ 2192790 h 5973007"/>
              <a:gd name="connsiteX36354" fmla="*/ 5252474 w 6884782"/>
              <a:gd name="connsiteY36354" fmla="*/ 2192363 h 5973007"/>
              <a:gd name="connsiteX36355" fmla="*/ 5260370 w 6884782"/>
              <a:gd name="connsiteY36355" fmla="*/ 2200046 h 5973007"/>
              <a:gd name="connsiteX36356" fmla="*/ 5256315 w 6884782"/>
              <a:gd name="connsiteY36356" fmla="*/ 2207444 h 5973007"/>
              <a:gd name="connsiteX36357" fmla="*/ 5250553 w 6884782"/>
              <a:gd name="connsiteY36357" fmla="*/ 2208866 h 5973007"/>
              <a:gd name="connsiteX36358" fmla="*/ 5243510 w 6884782"/>
              <a:gd name="connsiteY36358" fmla="*/ 2202322 h 5973007"/>
              <a:gd name="connsiteX36359" fmla="*/ 5252474 w 6884782"/>
              <a:gd name="connsiteY36359" fmla="*/ 2192363 h 5973007"/>
              <a:gd name="connsiteX36360" fmla="*/ 5364946 w 6884782"/>
              <a:gd name="connsiteY36360" fmla="*/ 2190941 h 5973007"/>
              <a:gd name="connsiteX36361" fmla="*/ 5371562 w 6884782"/>
              <a:gd name="connsiteY36361" fmla="*/ 2206447 h 5973007"/>
              <a:gd name="connsiteX36362" fmla="*/ 5364519 w 6884782"/>
              <a:gd name="connsiteY36362" fmla="*/ 2203745 h 5973007"/>
              <a:gd name="connsiteX36363" fmla="*/ 5364946 w 6884782"/>
              <a:gd name="connsiteY36363" fmla="*/ 2190941 h 5973007"/>
              <a:gd name="connsiteX36364" fmla="*/ 868179 w 6884782"/>
              <a:gd name="connsiteY36364" fmla="*/ 2190256 h 5973007"/>
              <a:gd name="connsiteX36365" fmla="*/ 876542 w 6884782"/>
              <a:gd name="connsiteY36365" fmla="*/ 2198620 h 5973007"/>
              <a:gd name="connsiteX36366" fmla="*/ 873238 w 6884782"/>
              <a:gd name="connsiteY36366" fmla="*/ 2201099 h 5973007"/>
              <a:gd name="connsiteX36367" fmla="*/ 865907 w 6884782"/>
              <a:gd name="connsiteY36367" fmla="*/ 2198930 h 5973007"/>
              <a:gd name="connsiteX36368" fmla="*/ 868179 w 6884782"/>
              <a:gd name="connsiteY36368" fmla="*/ 2190256 h 5973007"/>
              <a:gd name="connsiteX36369" fmla="*/ 4794048 w 6884782"/>
              <a:gd name="connsiteY36369" fmla="*/ 2189518 h 5973007"/>
              <a:gd name="connsiteX36370" fmla="*/ 4794475 w 6884782"/>
              <a:gd name="connsiteY36370" fmla="*/ 2190514 h 5973007"/>
              <a:gd name="connsiteX36371" fmla="*/ 4789993 w 6884782"/>
              <a:gd name="connsiteY36371" fmla="*/ 2191510 h 5973007"/>
              <a:gd name="connsiteX36372" fmla="*/ 4794048 w 6884782"/>
              <a:gd name="connsiteY36372" fmla="*/ 2189518 h 5973007"/>
              <a:gd name="connsiteX36373" fmla="*/ 4784444 w 6884782"/>
              <a:gd name="connsiteY36373" fmla="*/ 2187811 h 5973007"/>
              <a:gd name="connsiteX36374" fmla="*/ 4784657 w 6884782"/>
              <a:gd name="connsiteY36374" fmla="*/ 2195493 h 5973007"/>
              <a:gd name="connsiteX36375" fmla="*/ 4776974 w 6884782"/>
              <a:gd name="connsiteY36375" fmla="*/ 2189233 h 5973007"/>
              <a:gd name="connsiteX36376" fmla="*/ 4784444 w 6884782"/>
              <a:gd name="connsiteY36376" fmla="*/ 2187811 h 5973007"/>
              <a:gd name="connsiteX36377" fmla="*/ 4703344 w 6884782"/>
              <a:gd name="connsiteY36377" fmla="*/ 2185677 h 5973007"/>
              <a:gd name="connsiteX36378" fmla="*/ 4706332 w 6884782"/>
              <a:gd name="connsiteY36378" fmla="*/ 2186530 h 5973007"/>
              <a:gd name="connsiteX36379" fmla="*/ 4706546 w 6884782"/>
              <a:gd name="connsiteY36379" fmla="*/ 2190656 h 5973007"/>
              <a:gd name="connsiteX36380" fmla="*/ 4705479 w 6884782"/>
              <a:gd name="connsiteY36380" fmla="*/ 2191083 h 5973007"/>
              <a:gd name="connsiteX36381" fmla="*/ 4703344 w 6884782"/>
              <a:gd name="connsiteY36381" fmla="*/ 2185677 h 5973007"/>
              <a:gd name="connsiteX36382" fmla="*/ 5383726 w 6884782"/>
              <a:gd name="connsiteY36382" fmla="*/ 2185392 h 5973007"/>
              <a:gd name="connsiteX36383" fmla="*/ 5387995 w 6884782"/>
              <a:gd name="connsiteY36383" fmla="*/ 2186103 h 5973007"/>
              <a:gd name="connsiteX36384" fmla="*/ 5381806 w 6884782"/>
              <a:gd name="connsiteY36384" fmla="*/ 2197627 h 5973007"/>
              <a:gd name="connsiteX36385" fmla="*/ 5377964 w 6884782"/>
              <a:gd name="connsiteY36385" fmla="*/ 2195066 h 5973007"/>
              <a:gd name="connsiteX36386" fmla="*/ 5383726 w 6884782"/>
              <a:gd name="connsiteY36386" fmla="*/ 2185392 h 5973007"/>
              <a:gd name="connsiteX36387" fmla="*/ 4822432 w 6884782"/>
              <a:gd name="connsiteY36387" fmla="*/ 2185392 h 5973007"/>
              <a:gd name="connsiteX36388" fmla="*/ 4828835 w 6884782"/>
              <a:gd name="connsiteY36388" fmla="*/ 2187669 h 5973007"/>
              <a:gd name="connsiteX36389" fmla="*/ 4828408 w 6884782"/>
              <a:gd name="connsiteY36389" fmla="*/ 2192648 h 5973007"/>
              <a:gd name="connsiteX36390" fmla="*/ 4810908 w 6884782"/>
              <a:gd name="connsiteY36390" fmla="*/ 2195778 h 5973007"/>
              <a:gd name="connsiteX36391" fmla="*/ 4822432 w 6884782"/>
              <a:gd name="connsiteY36391" fmla="*/ 2185392 h 5973007"/>
              <a:gd name="connsiteX36392" fmla="*/ 5283419 w 6884782"/>
              <a:gd name="connsiteY36392" fmla="*/ 2185250 h 5973007"/>
              <a:gd name="connsiteX36393" fmla="*/ 5292810 w 6884782"/>
              <a:gd name="connsiteY36393" fmla="*/ 2185250 h 5973007"/>
              <a:gd name="connsiteX36394" fmla="*/ 5277230 w 6884782"/>
              <a:gd name="connsiteY36394" fmla="*/ 2200330 h 5973007"/>
              <a:gd name="connsiteX36395" fmla="*/ 5274029 w 6884782"/>
              <a:gd name="connsiteY36395" fmla="*/ 2189233 h 5973007"/>
              <a:gd name="connsiteX36396" fmla="*/ 5283419 w 6884782"/>
              <a:gd name="connsiteY36396" fmla="*/ 2185250 h 5973007"/>
              <a:gd name="connsiteX36397" fmla="*/ 5002132 w 6884782"/>
              <a:gd name="connsiteY36397" fmla="*/ 2184254 h 5973007"/>
              <a:gd name="connsiteX36398" fmla="*/ 4999144 w 6884782"/>
              <a:gd name="connsiteY36398" fmla="*/ 2190514 h 5973007"/>
              <a:gd name="connsiteX36399" fmla="*/ 5002132 w 6884782"/>
              <a:gd name="connsiteY36399" fmla="*/ 2184254 h 5973007"/>
              <a:gd name="connsiteX36400" fmla="*/ 5730320 w 6884782"/>
              <a:gd name="connsiteY36400" fmla="*/ 2183685 h 5973007"/>
              <a:gd name="connsiteX36401" fmla="*/ 5743766 w 6884782"/>
              <a:gd name="connsiteY36401" fmla="*/ 2192506 h 5973007"/>
              <a:gd name="connsiteX36402" fmla="*/ 5735869 w 6884782"/>
              <a:gd name="connsiteY36402" fmla="*/ 2192790 h 5973007"/>
              <a:gd name="connsiteX36403" fmla="*/ 5732241 w 6884782"/>
              <a:gd name="connsiteY36403" fmla="*/ 2192790 h 5973007"/>
              <a:gd name="connsiteX36404" fmla="*/ 5735656 w 6884782"/>
              <a:gd name="connsiteY36404" fmla="*/ 2193501 h 5973007"/>
              <a:gd name="connsiteX36405" fmla="*/ 5736296 w 6884782"/>
              <a:gd name="connsiteY36405" fmla="*/ 2196347 h 5973007"/>
              <a:gd name="connsiteX36406" fmla="*/ 5732241 w 6884782"/>
              <a:gd name="connsiteY36406" fmla="*/ 2202180 h 5973007"/>
              <a:gd name="connsiteX36407" fmla="*/ 5736083 w 6884782"/>
              <a:gd name="connsiteY36407" fmla="*/ 2210004 h 5973007"/>
              <a:gd name="connsiteX36408" fmla="*/ 5736510 w 6884782"/>
              <a:gd name="connsiteY36408" fmla="*/ 2210716 h 5973007"/>
              <a:gd name="connsiteX36409" fmla="*/ 5738217 w 6884782"/>
              <a:gd name="connsiteY36409" fmla="*/ 2213846 h 5973007"/>
              <a:gd name="connsiteX36410" fmla="*/ 5738217 w 6884782"/>
              <a:gd name="connsiteY36410" fmla="*/ 2214131 h 5973007"/>
              <a:gd name="connsiteX36411" fmla="*/ 5738857 w 6884782"/>
              <a:gd name="connsiteY36411" fmla="*/ 2214984 h 5973007"/>
              <a:gd name="connsiteX36412" fmla="*/ 5738857 w 6884782"/>
              <a:gd name="connsiteY36412" fmla="*/ 2222382 h 5973007"/>
              <a:gd name="connsiteX36413" fmla="*/ 5727759 w 6884782"/>
              <a:gd name="connsiteY36413" fmla="*/ 2226650 h 5973007"/>
              <a:gd name="connsiteX36414" fmla="*/ 5724558 w 6884782"/>
              <a:gd name="connsiteY36414" fmla="*/ 2225512 h 5973007"/>
              <a:gd name="connsiteX36415" fmla="*/ 5725198 w 6884782"/>
              <a:gd name="connsiteY36415" fmla="*/ 2228072 h 5973007"/>
              <a:gd name="connsiteX36416" fmla="*/ 5702149 w 6884782"/>
              <a:gd name="connsiteY36416" fmla="*/ 2230064 h 5973007"/>
              <a:gd name="connsiteX36417" fmla="*/ 5699801 w 6884782"/>
              <a:gd name="connsiteY36417" fmla="*/ 2229069 h 5973007"/>
              <a:gd name="connsiteX36418" fmla="*/ 5699588 w 6884782"/>
              <a:gd name="connsiteY36418" fmla="*/ 2226081 h 5973007"/>
              <a:gd name="connsiteX36419" fmla="*/ 5714527 w 6884782"/>
              <a:gd name="connsiteY36419" fmla="*/ 2221244 h 5973007"/>
              <a:gd name="connsiteX36420" fmla="*/ 5717302 w 6884782"/>
              <a:gd name="connsiteY36420" fmla="*/ 2222667 h 5973007"/>
              <a:gd name="connsiteX36421" fmla="*/ 5718796 w 6884782"/>
              <a:gd name="connsiteY36421" fmla="*/ 2223235 h 5973007"/>
              <a:gd name="connsiteX36422" fmla="*/ 5715808 w 6884782"/>
              <a:gd name="connsiteY36422" fmla="*/ 2220390 h 5973007"/>
              <a:gd name="connsiteX36423" fmla="*/ 5714741 w 6884782"/>
              <a:gd name="connsiteY36423" fmla="*/ 2209720 h 5973007"/>
              <a:gd name="connsiteX36424" fmla="*/ 5715808 w 6884782"/>
              <a:gd name="connsiteY36424" fmla="*/ 2209151 h 5973007"/>
              <a:gd name="connsiteX36425" fmla="*/ 5711113 w 6884782"/>
              <a:gd name="connsiteY36425" fmla="*/ 2203745 h 5973007"/>
              <a:gd name="connsiteX36426" fmla="*/ 5726052 w 6884782"/>
              <a:gd name="connsiteY36426" fmla="*/ 2194070 h 5973007"/>
              <a:gd name="connsiteX36427" fmla="*/ 5728613 w 6884782"/>
              <a:gd name="connsiteY36427" fmla="*/ 2193644 h 5973007"/>
              <a:gd name="connsiteX36428" fmla="*/ 5728186 w 6884782"/>
              <a:gd name="connsiteY36428" fmla="*/ 2192790 h 5973007"/>
              <a:gd name="connsiteX36429" fmla="*/ 5725625 w 6884782"/>
              <a:gd name="connsiteY36429" fmla="*/ 2192790 h 5973007"/>
              <a:gd name="connsiteX36430" fmla="*/ 5712393 w 6884782"/>
              <a:gd name="connsiteY36430" fmla="*/ 2185392 h 5973007"/>
              <a:gd name="connsiteX36431" fmla="*/ 5730320 w 6884782"/>
              <a:gd name="connsiteY36431" fmla="*/ 2183685 h 5973007"/>
              <a:gd name="connsiteX36432" fmla="*/ 4912923 w 6884782"/>
              <a:gd name="connsiteY36432" fmla="*/ 2183542 h 5973007"/>
              <a:gd name="connsiteX36433" fmla="*/ 4929569 w 6884782"/>
              <a:gd name="connsiteY36433" fmla="*/ 2190941 h 5973007"/>
              <a:gd name="connsiteX36434" fmla="*/ 4930637 w 6884782"/>
              <a:gd name="connsiteY36434" fmla="*/ 2202464 h 5973007"/>
              <a:gd name="connsiteX36435" fmla="*/ 4930210 w 6884782"/>
              <a:gd name="connsiteY36435" fmla="*/ 2203318 h 5973007"/>
              <a:gd name="connsiteX36436" fmla="*/ 4932770 w 6884782"/>
              <a:gd name="connsiteY36436" fmla="*/ 2207586 h 5973007"/>
              <a:gd name="connsiteX36437" fmla="*/ 4929996 w 6884782"/>
              <a:gd name="connsiteY36437" fmla="*/ 2214557 h 5973007"/>
              <a:gd name="connsiteX36438" fmla="*/ 4931063 w 6884782"/>
              <a:gd name="connsiteY36438" fmla="*/ 2215268 h 5973007"/>
              <a:gd name="connsiteX36439" fmla="*/ 4917191 w 6884782"/>
              <a:gd name="connsiteY36439" fmla="*/ 2218968 h 5973007"/>
              <a:gd name="connsiteX36440" fmla="*/ 4911428 w 6884782"/>
              <a:gd name="connsiteY36440" fmla="*/ 2217829 h 5973007"/>
              <a:gd name="connsiteX36441" fmla="*/ 4911215 w 6884782"/>
              <a:gd name="connsiteY36441" fmla="*/ 2218398 h 5973007"/>
              <a:gd name="connsiteX36442" fmla="*/ 4911215 w 6884782"/>
              <a:gd name="connsiteY36442" fmla="*/ 2221813 h 5973007"/>
              <a:gd name="connsiteX36443" fmla="*/ 4906520 w 6884782"/>
              <a:gd name="connsiteY36443" fmla="*/ 2229211 h 5973007"/>
              <a:gd name="connsiteX36444" fmla="*/ 4903319 w 6884782"/>
              <a:gd name="connsiteY36444" fmla="*/ 2228215 h 5973007"/>
              <a:gd name="connsiteX36445" fmla="*/ 4902252 w 6884782"/>
              <a:gd name="connsiteY36445" fmla="*/ 2231345 h 5973007"/>
              <a:gd name="connsiteX36446" fmla="*/ 4897129 w 6884782"/>
              <a:gd name="connsiteY36446" fmla="*/ 2237605 h 5973007"/>
              <a:gd name="connsiteX36447" fmla="*/ 4896916 w 6884782"/>
              <a:gd name="connsiteY36447" fmla="*/ 2237605 h 5973007"/>
              <a:gd name="connsiteX36448" fmla="*/ 4894995 w 6884782"/>
              <a:gd name="connsiteY36448" fmla="*/ 2240165 h 5973007"/>
              <a:gd name="connsiteX36449" fmla="*/ 4868318 w 6884782"/>
              <a:gd name="connsiteY36449" fmla="*/ 2237747 h 5973007"/>
              <a:gd name="connsiteX36450" fmla="*/ 4868318 w 6884782"/>
              <a:gd name="connsiteY36450" fmla="*/ 2236182 h 5973007"/>
              <a:gd name="connsiteX36451" fmla="*/ 4866824 w 6884782"/>
              <a:gd name="connsiteY36451" fmla="*/ 2241303 h 5973007"/>
              <a:gd name="connsiteX36452" fmla="*/ 4861061 w 6884782"/>
              <a:gd name="connsiteY36452" fmla="*/ 2240877 h 5973007"/>
              <a:gd name="connsiteX36453" fmla="*/ 4859354 w 6884782"/>
              <a:gd name="connsiteY36453" fmla="*/ 2239027 h 5973007"/>
              <a:gd name="connsiteX36454" fmla="*/ 4858928 w 6884782"/>
              <a:gd name="connsiteY36454" fmla="*/ 2242300 h 5973007"/>
              <a:gd name="connsiteX36455" fmla="*/ 4850817 w 6884782"/>
              <a:gd name="connsiteY36455" fmla="*/ 2241161 h 5973007"/>
              <a:gd name="connsiteX36456" fmla="*/ 4851885 w 6884782"/>
              <a:gd name="connsiteY36456" fmla="*/ 2234901 h 5973007"/>
              <a:gd name="connsiteX36457" fmla="*/ 4856153 w 6884782"/>
              <a:gd name="connsiteY36457" fmla="*/ 2234759 h 5973007"/>
              <a:gd name="connsiteX36458" fmla="*/ 4854873 w 6884782"/>
              <a:gd name="connsiteY36458" fmla="*/ 2231629 h 5973007"/>
              <a:gd name="connsiteX36459" fmla="*/ 4842921 w 6884782"/>
              <a:gd name="connsiteY36459" fmla="*/ 2229069 h 5973007"/>
              <a:gd name="connsiteX36460" fmla="*/ 4855299 w 6884782"/>
              <a:gd name="connsiteY36460" fmla="*/ 2220532 h 5973007"/>
              <a:gd name="connsiteX36461" fmla="*/ 4861275 w 6884782"/>
              <a:gd name="connsiteY36461" fmla="*/ 2222809 h 5973007"/>
              <a:gd name="connsiteX36462" fmla="*/ 4860848 w 6884782"/>
              <a:gd name="connsiteY36462" fmla="*/ 2224800 h 5973007"/>
              <a:gd name="connsiteX36463" fmla="*/ 4864049 w 6884782"/>
              <a:gd name="connsiteY36463" fmla="*/ 2226934 h 5973007"/>
              <a:gd name="connsiteX36464" fmla="*/ 4868531 w 6884782"/>
              <a:gd name="connsiteY36464" fmla="*/ 2235613 h 5973007"/>
              <a:gd name="connsiteX36465" fmla="*/ 4869599 w 6884782"/>
              <a:gd name="connsiteY36465" fmla="*/ 2225654 h 5973007"/>
              <a:gd name="connsiteX36466" fmla="*/ 4890727 w 6884782"/>
              <a:gd name="connsiteY36466" fmla="*/ 2208155 h 5973007"/>
              <a:gd name="connsiteX36467" fmla="*/ 4899690 w 6884782"/>
              <a:gd name="connsiteY36467" fmla="*/ 2213988 h 5973007"/>
              <a:gd name="connsiteX36468" fmla="*/ 4901612 w 6884782"/>
              <a:gd name="connsiteY36468" fmla="*/ 2219252 h 5973007"/>
              <a:gd name="connsiteX36469" fmla="*/ 4903959 w 6884782"/>
              <a:gd name="connsiteY36469" fmla="*/ 2222809 h 5973007"/>
              <a:gd name="connsiteX36470" fmla="*/ 4903532 w 6884782"/>
              <a:gd name="connsiteY36470" fmla="*/ 2221670 h 5973007"/>
              <a:gd name="connsiteX36471" fmla="*/ 4906093 w 6884782"/>
              <a:gd name="connsiteY36471" fmla="*/ 2215553 h 5973007"/>
              <a:gd name="connsiteX36472" fmla="*/ 4904599 w 6884782"/>
              <a:gd name="connsiteY36472" fmla="*/ 2214557 h 5973007"/>
              <a:gd name="connsiteX36473" fmla="*/ 4906947 w 6884782"/>
              <a:gd name="connsiteY36473" fmla="*/ 2213846 h 5973007"/>
              <a:gd name="connsiteX36474" fmla="*/ 4908441 w 6884782"/>
              <a:gd name="connsiteY36474" fmla="*/ 2210289 h 5973007"/>
              <a:gd name="connsiteX36475" fmla="*/ 4914203 w 6884782"/>
              <a:gd name="connsiteY36475" fmla="*/ 2203460 h 5973007"/>
              <a:gd name="connsiteX36476" fmla="*/ 4914416 w 6884782"/>
              <a:gd name="connsiteY36476" fmla="*/ 2207159 h 5973007"/>
              <a:gd name="connsiteX36477" fmla="*/ 4913776 w 6884782"/>
              <a:gd name="connsiteY36477" fmla="*/ 2208866 h 5973007"/>
              <a:gd name="connsiteX36478" fmla="*/ 4914203 w 6884782"/>
              <a:gd name="connsiteY36478" fmla="*/ 2209862 h 5973007"/>
              <a:gd name="connsiteX36479" fmla="*/ 4913136 w 6884782"/>
              <a:gd name="connsiteY36479" fmla="*/ 2210431 h 5973007"/>
              <a:gd name="connsiteX36480" fmla="*/ 4912923 w 6884782"/>
              <a:gd name="connsiteY36480" fmla="*/ 2210716 h 5973007"/>
              <a:gd name="connsiteX36481" fmla="*/ 4912496 w 6884782"/>
              <a:gd name="connsiteY36481" fmla="*/ 2212139 h 5973007"/>
              <a:gd name="connsiteX36482" fmla="*/ 4917191 w 6884782"/>
              <a:gd name="connsiteY36482" fmla="*/ 2210716 h 5973007"/>
              <a:gd name="connsiteX36483" fmla="*/ 4916124 w 6884782"/>
              <a:gd name="connsiteY36483" fmla="*/ 2209293 h 5973007"/>
              <a:gd name="connsiteX36484" fmla="*/ 4919752 w 6884782"/>
              <a:gd name="connsiteY36484" fmla="*/ 2203602 h 5973007"/>
              <a:gd name="connsiteX36485" fmla="*/ 4922313 w 6884782"/>
              <a:gd name="connsiteY36485" fmla="*/ 2201042 h 5973007"/>
              <a:gd name="connsiteX36486" fmla="*/ 4918045 w 6884782"/>
              <a:gd name="connsiteY36486" fmla="*/ 2197485 h 5973007"/>
              <a:gd name="connsiteX36487" fmla="*/ 4907374 w 6884782"/>
              <a:gd name="connsiteY36487" fmla="*/ 2190514 h 5973007"/>
              <a:gd name="connsiteX36488" fmla="*/ 4912923 w 6884782"/>
              <a:gd name="connsiteY36488" fmla="*/ 2183542 h 5973007"/>
              <a:gd name="connsiteX36489" fmla="*/ 5773858 w 6884782"/>
              <a:gd name="connsiteY36489" fmla="*/ 2182974 h 5973007"/>
              <a:gd name="connsiteX36490" fmla="*/ 5762547 w 6884782"/>
              <a:gd name="connsiteY36490" fmla="*/ 2195778 h 5973007"/>
              <a:gd name="connsiteX36491" fmla="*/ 5758492 w 6884782"/>
              <a:gd name="connsiteY36491" fmla="*/ 2195636 h 5973007"/>
              <a:gd name="connsiteX36492" fmla="*/ 5761480 w 6884782"/>
              <a:gd name="connsiteY36492" fmla="*/ 2197343 h 5973007"/>
              <a:gd name="connsiteX36493" fmla="*/ 5762973 w 6884782"/>
              <a:gd name="connsiteY36493" fmla="*/ 2202749 h 5973007"/>
              <a:gd name="connsiteX36494" fmla="*/ 5762547 w 6884782"/>
              <a:gd name="connsiteY36494" fmla="*/ 2201753 h 5973007"/>
              <a:gd name="connsiteX36495" fmla="*/ 5760413 w 6884782"/>
              <a:gd name="connsiteY36495" fmla="*/ 2202749 h 5973007"/>
              <a:gd name="connsiteX36496" fmla="*/ 5760839 w 6884782"/>
              <a:gd name="connsiteY36496" fmla="*/ 2203887 h 5973007"/>
              <a:gd name="connsiteX36497" fmla="*/ 5758278 w 6884782"/>
              <a:gd name="connsiteY36497" fmla="*/ 2203887 h 5973007"/>
              <a:gd name="connsiteX36498" fmla="*/ 5751876 w 6884782"/>
              <a:gd name="connsiteY36498" fmla="*/ 2197769 h 5973007"/>
              <a:gd name="connsiteX36499" fmla="*/ 5754650 w 6884782"/>
              <a:gd name="connsiteY36499" fmla="*/ 2195066 h 5973007"/>
              <a:gd name="connsiteX36500" fmla="*/ 5756357 w 6884782"/>
              <a:gd name="connsiteY36500" fmla="*/ 2195066 h 5973007"/>
              <a:gd name="connsiteX36501" fmla="*/ 5759132 w 6884782"/>
              <a:gd name="connsiteY36501" fmla="*/ 2188949 h 5973007"/>
              <a:gd name="connsiteX36502" fmla="*/ 5773858 w 6884782"/>
              <a:gd name="connsiteY36502" fmla="*/ 2182974 h 5973007"/>
              <a:gd name="connsiteX36503" fmla="*/ 5083658 w 6884782"/>
              <a:gd name="connsiteY36503" fmla="*/ 2182689 h 5973007"/>
              <a:gd name="connsiteX36504" fmla="*/ 5087927 w 6884782"/>
              <a:gd name="connsiteY36504" fmla="*/ 2189518 h 5973007"/>
              <a:gd name="connsiteX36505" fmla="*/ 5094329 w 6884782"/>
              <a:gd name="connsiteY36505" fmla="*/ 2206732 h 5973007"/>
              <a:gd name="connsiteX36506" fmla="*/ 5093049 w 6884782"/>
              <a:gd name="connsiteY36506" fmla="*/ 2210004 h 5973007"/>
              <a:gd name="connsiteX36507" fmla="*/ 5093476 w 6884782"/>
              <a:gd name="connsiteY36507" fmla="*/ 2211000 h 5973007"/>
              <a:gd name="connsiteX36508" fmla="*/ 5091768 w 6884782"/>
              <a:gd name="connsiteY36508" fmla="*/ 2213134 h 5973007"/>
              <a:gd name="connsiteX36509" fmla="*/ 5088140 w 6884782"/>
              <a:gd name="connsiteY36509" fmla="*/ 2207302 h 5973007"/>
              <a:gd name="connsiteX36510" fmla="*/ 5086006 w 6884782"/>
              <a:gd name="connsiteY36510" fmla="*/ 2201895 h 5973007"/>
              <a:gd name="connsiteX36511" fmla="*/ 5083658 w 6884782"/>
              <a:gd name="connsiteY36511" fmla="*/ 2182689 h 5973007"/>
              <a:gd name="connsiteX36512" fmla="*/ 5406136 w 6884782"/>
              <a:gd name="connsiteY36512" fmla="*/ 2182547 h 5973007"/>
              <a:gd name="connsiteX36513" fmla="*/ 5411044 w 6884782"/>
              <a:gd name="connsiteY36513" fmla="*/ 2186672 h 5973007"/>
              <a:gd name="connsiteX36514" fmla="*/ 5406136 w 6884782"/>
              <a:gd name="connsiteY36514" fmla="*/ 2197769 h 5973007"/>
              <a:gd name="connsiteX36515" fmla="*/ 5394824 w 6884782"/>
              <a:gd name="connsiteY36515" fmla="*/ 2195066 h 5973007"/>
              <a:gd name="connsiteX36516" fmla="*/ 5406136 w 6884782"/>
              <a:gd name="connsiteY36516" fmla="*/ 2182547 h 5973007"/>
              <a:gd name="connsiteX36517" fmla="*/ 1020172 w 6884782"/>
              <a:gd name="connsiteY36517" fmla="*/ 2182511 h 5973007"/>
              <a:gd name="connsiteX36518" fmla="*/ 1022547 w 6884782"/>
              <a:gd name="connsiteY36518" fmla="*/ 2182976 h 5973007"/>
              <a:gd name="connsiteX36519" fmla="*/ 1025128 w 6884782"/>
              <a:gd name="connsiteY36519" fmla="*/ 2186848 h 5973007"/>
              <a:gd name="connsiteX36520" fmla="*/ 1022237 w 6884782"/>
              <a:gd name="connsiteY36520" fmla="*/ 2189946 h 5973007"/>
              <a:gd name="connsiteX36521" fmla="*/ 1020069 w 6884782"/>
              <a:gd name="connsiteY36521" fmla="*/ 2190721 h 5973007"/>
              <a:gd name="connsiteX36522" fmla="*/ 1020998 w 6884782"/>
              <a:gd name="connsiteY36522" fmla="*/ 2191495 h 5973007"/>
              <a:gd name="connsiteX36523" fmla="*/ 1020688 w 6884782"/>
              <a:gd name="connsiteY36523" fmla="*/ 2195832 h 5973007"/>
              <a:gd name="connsiteX36524" fmla="*/ 1016558 w 6884782"/>
              <a:gd name="connsiteY36524" fmla="*/ 2190101 h 5973007"/>
              <a:gd name="connsiteX36525" fmla="*/ 1016970 w 6884782"/>
              <a:gd name="connsiteY36525" fmla="*/ 2190256 h 5973007"/>
              <a:gd name="connsiteX36526" fmla="*/ 1016145 w 6884782"/>
              <a:gd name="connsiteY36526" fmla="*/ 2189481 h 5973007"/>
              <a:gd name="connsiteX36527" fmla="*/ 1016041 w 6884782"/>
              <a:gd name="connsiteY36527" fmla="*/ 2186229 h 5973007"/>
              <a:gd name="connsiteX36528" fmla="*/ 1017281 w 6884782"/>
              <a:gd name="connsiteY36528" fmla="*/ 2183750 h 5973007"/>
              <a:gd name="connsiteX36529" fmla="*/ 1020172 w 6884782"/>
              <a:gd name="connsiteY36529" fmla="*/ 2182511 h 5973007"/>
              <a:gd name="connsiteX36530" fmla="*/ 4960302 w 6884782"/>
              <a:gd name="connsiteY36530" fmla="*/ 2182262 h 5973007"/>
              <a:gd name="connsiteX36531" fmla="*/ 4963716 w 6884782"/>
              <a:gd name="connsiteY36531" fmla="*/ 2183827 h 5973007"/>
              <a:gd name="connsiteX36532" fmla="*/ 4960942 w 6884782"/>
              <a:gd name="connsiteY36532" fmla="*/ 2189660 h 5973007"/>
              <a:gd name="connsiteX36533" fmla="*/ 4960302 w 6884782"/>
              <a:gd name="connsiteY36533" fmla="*/ 2182262 h 5973007"/>
              <a:gd name="connsiteX36534" fmla="*/ 5308816 w 6884782"/>
              <a:gd name="connsiteY36534" fmla="*/ 2181978 h 5973007"/>
              <a:gd name="connsiteX36535" fmla="*/ 5312871 w 6884782"/>
              <a:gd name="connsiteY36535" fmla="*/ 2184538 h 5973007"/>
              <a:gd name="connsiteX36536" fmla="*/ 5298145 w 6884782"/>
              <a:gd name="connsiteY36536" fmla="*/ 2194355 h 5973007"/>
              <a:gd name="connsiteX36537" fmla="*/ 5295371 w 6884782"/>
              <a:gd name="connsiteY36537" fmla="*/ 2188095 h 5973007"/>
              <a:gd name="connsiteX36538" fmla="*/ 5308816 w 6884782"/>
              <a:gd name="connsiteY36538" fmla="*/ 2181978 h 5973007"/>
              <a:gd name="connsiteX36539" fmla="*/ 1043714 w 6884782"/>
              <a:gd name="connsiteY36539" fmla="*/ 2181891 h 5973007"/>
              <a:gd name="connsiteX36540" fmla="*/ 1044747 w 6884782"/>
              <a:gd name="connsiteY36540" fmla="*/ 2184989 h 5973007"/>
              <a:gd name="connsiteX36541" fmla="*/ 1044024 w 6884782"/>
              <a:gd name="connsiteY36541" fmla="*/ 2187622 h 5973007"/>
              <a:gd name="connsiteX36542" fmla="*/ 1044850 w 6884782"/>
              <a:gd name="connsiteY36542" fmla="*/ 2186074 h 5973007"/>
              <a:gd name="connsiteX36543" fmla="*/ 1048464 w 6884782"/>
              <a:gd name="connsiteY36543" fmla="*/ 2185144 h 5973007"/>
              <a:gd name="connsiteX36544" fmla="*/ 1042475 w 6884782"/>
              <a:gd name="connsiteY36544" fmla="*/ 2200634 h 5973007"/>
              <a:gd name="connsiteX36545" fmla="*/ 1040823 w 6884782"/>
              <a:gd name="connsiteY36545" fmla="*/ 2199859 h 5973007"/>
              <a:gd name="connsiteX36546" fmla="*/ 1040306 w 6884782"/>
              <a:gd name="connsiteY36546" fmla="*/ 2197536 h 5973007"/>
              <a:gd name="connsiteX36547" fmla="*/ 1042991 w 6884782"/>
              <a:gd name="connsiteY36547" fmla="*/ 2189481 h 5973007"/>
              <a:gd name="connsiteX36548" fmla="*/ 1043508 w 6884782"/>
              <a:gd name="connsiteY36548" fmla="*/ 2188552 h 5973007"/>
              <a:gd name="connsiteX36549" fmla="*/ 1038861 w 6884782"/>
              <a:gd name="connsiteY36549" fmla="*/ 2193664 h 5973007"/>
              <a:gd name="connsiteX36550" fmla="*/ 1025231 w 6884782"/>
              <a:gd name="connsiteY36550" fmla="*/ 2199704 h 5973007"/>
              <a:gd name="connsiteX36551" fmla="*/ 1043714 w 6884782"/>
              <a:gd name="connsiteY36551" fmla="*/ 2181891 h 5973007"/>
              <a:gd name="connsiteX36552" fmla="*/ 1009743 w 6884782"/>
              <a:gd name="connsiteY36552" fmla="*/ 2180343 h 5973007"/>
              <a:gd name="connsiteX36553" fmla="*/ 1008091 w 6884782"/>
              <a:gd name="connsiteY36553" fmla="*/ 2183286 h 5973007"/>
              <a:gd name="connsiteX36554" fmla="*/ 1007368 w 6884782"/>
              <a:gd name="connsiteY36554" fmla="*/ 2182976 h 5973007"/>
              <a:gd name="connsiteX36555" fmla="*/ 1009743 w 6884782"/>
              <a:gd name="connsiteY36555" fmla="*/ 2180343 h 5973007"/>
              <a:gd name="connsiteX36556" fmla="*/ 994874 w 6884782"/>
              <a:gd name="connsiteY36556" fmla="*/ 2179878 h 5973007"/>
              <a:gd name="connsiteX36557" fmla="*/ 996629 w 6884782"/>
              <a:gd name="connsiteY36557" fmla="*/ 2180188 h 5973007"/>
              <a:gd name="connsiteX36558" fmla="*/ 998178 w 6884782"/>
              <a:gd name="connsiteY36558" fmla="*/ 2181117 h 5973007"/>
              <a:gd name="connsiteX36559" fmla="*/ 995803 w 6884782"/>
              <a:gd name="connsiteY36559" fmla="*/ 2183286 h 5973007"/>
              <a:gd name="connsiteX36560" fmla="*/ 994874 w 6884782"/>
              <a:gd name="connsiteY36560" fmla="*/ 2181891 h 5973007"/>
              <a:gd name="connsiteX36561" fmla="*/ 994151 w 6884782"/>
              <a:gd name="connsiteY36561" fmla="*/ 2182201 h 5973007"/>
              <a:gd name="connsiteX36562" fmla="*/ 994048 w 6884782"/>
              <a:gd name="connsiteY36562" fmla="*/ 2180498 h 5973007"/>
              <a:gd name="connsiteX36563" fmla="*/ 994770 w 6884782"/>
              <a:gd name="connsiteY36563" fmla="*/ 2180188 h 5973007"/>
              <a:gd name="connsiteX36564" fmla="*/ 994874 w 6884782"/>
              <a:gd name="connsiteY36564" fmla="*/ 2179878 h 5973007"/>
              <a:gd name="connsiteX36565" fmla="*/ 883047 w 6884782"/>
              <a:gd name="connsiteY36565" fmla="*/ 2179568 h 5973007"/>
              <a:gd name="connsiteX36566" fmla="*/ 892444 w 6884782"/>
              <a:gd name="connsiteY36566" fmla="*/ 2183905 h 5973007"/>
              <a:gd name="connsiteX36567" fmla="*/ 888210 w 6884782"/>
              <a:gd name="connsiteY36567" fmla="*/ 2190256 h 5973007"/>
              <a:gd name="connsiteX36568" fmla="*/ 881499 w 6884782"/>
              <a:gd name="connsiteY36568" fmla="*/ 2188243 h 5973007"/>
              <a:gd name="connsiteX36569" fmla="*/ 880053 w 6884782"/>
              <a:gd name="connsiteY36569" fmla="*/ 2185144 h 5973007"/>
              <a:gd name="connsiteX36570" fmla="*/ 880053 w 6884782"/>
              <a:gd name="connsiteY36570" fmla="*/ 2182666 h 5973007"/>
              <a:gd name="connsiteX36571" fmla="*/ 883047 w 6884782"/>
              <a:gd name="connsiteY36571" fmla="*/ 2179568 h 5973007"/>
              <a:gd name="connsiteX36572" fmla="*/ 978559 w 6884782"/>
              <a:gd name="connsiteY36572" fmla="*/ 2179258 h 5973007"/>
              <a:gd name="connsiteX36573" fmla="*/ 972674 w 6884782"/>
              <a:gd name="connsiteY36573" fmla="*/ 2189791 h 5973007"/>
              <a:gd name="connsiteX36574" fmla="*/ 962658 w 6884782"/>
              <a:gd name="connsiteY36574" fmla="*/ 2198776 h 5973007"/>
              <a:gd name="connsiteX36575" fmla="*/ 962348 w 6884782"/>
              <a:gd name="connsiteY36575" fmla="*/ 2195367 h 5973007"/>
              <a:gd name="connsiteX36576" fmla="*/ 978559 w 6884782"/>
              <a:gd name="connsiteY36576" fmla="*/ 2179258 h 5973007"/>
              <a:gd name="connsiteX36577" fmla="*/ 942420 w 6884782"/>
              <a:gd name="connsiteY36577" fmla="*/ 2179103 h 5973007"/>
              <a:gd name="connsiteX36578" fmla="*/ 949957 w 6884782"/>
              <a:gd name="connsiteY36578" fmla="*/ 2181736 h 5973007"/>
              <a:gd name="connsiteX36579" fmla="*/ 947686 w 6884782"/>
              <a:gd name="connsiteY36579" fmla="*/ 2186229 h 5973007"/>
              <a:gd name="connsiteX36580" fmla="*/ 942420 w 6884782"/>
              <a:gd name="connsiteY36580" fmla="*/ 2179103 h 5973007"/>
              <a:gd name="connsiteX36581" fmla="*/ 5157928 w 6884782"/>
              <a:gd name="connsiteY36581" fmla="*/ 2178990 h 5973007"/>
              <a:gd name="connsiteX36582" fmla="*/ 5160916 w 6884782"/>
              <a:gd name="connsiteY36582" fmla="*/ 2183970 h 5973007"/>
              <a:gd name="connsiteX36583" fmla="*/ 5163051 w 6884782"/>
              <a:gd name="connsiteY36583" fmla="*/ 2184823 h 5973007"/>
              <a:gd name="connsiteX36584" fmla="*/ 5167959 w 6884782"/>
              <a:gd name="connsiteY36584" fmla="*/ 2191652 h 5973007"/>
              <a:gd name="connsiteX36585" fmla="*/ 5172014 w 6884782"/>
              <a:gd name="connsiteY36585" fmla="*/ 2192079 h 5973007"/>
              <a:gd name="connsiteX36586" fmla="*/ 5173508 w 6884782"/>
              <a:gd name="connsiteY36586" fmla="*/ 2195778 h 5973007"/>
              <a:gd name="connsiteX36587" fmla="*/ 5168813 w 6884782"/>
              <a:gd name="connsiteY36587" fmla="*/ 2197343 h 5973007"/>
              <a:gd name="connsiteX36588" fmla="*/ 5168386 w 6884782"/>
              <a:gd name="connsiteY36588" fmla="*/ 2203175 h 5973007"/>
              <a:gd name="connsiteX36589" fmla="*/ 5166679 w 6884782"/>
              <a:gd name="connsiteY36589" fmla="*/ 2204741 h 5973007"/>
              <a:gd name="connsiteX36590" fmla="*/ 5166679 w 6884782"/>
              <a:gd name="connsiteY36590" fmla="*/ 2205594 h 5973007"/>
              <a:gd name="connsiteX36591" fmla="*/ 5150672 w 6884782"/>
              <a:gd name="connsiteY36591" fmla="*/ 2220817 h 5973007"/>
              <a:gd name="connsiteX36592" fmla="*/ 5141922 w 6884782"/>
              <a:gd name="connsiteY36592" fmla="*/ 2217545 h 5973007"/>
              <a:gd name="connsiteX36593" fmla="*/ 5141922 w 6884782"/>
              <a:gd name="connsiteY36593" fmla="*/ 2195351 h 5973007"/>
              <a:gd name="connsiteX36594" fmla="*/ 5144697 w 6884782"/>
              <a:gd name="connsiteY36594" fmla="*/ 2188949 h 5973007"/>
              <a:gd name="connsiteX36595" fmla="*/ 5144697 w 6884782"/>
              <a:gd name="connsiteY36595" fmla="*/ 2184680 h 5973007"/>
              <a:gd name="connsiteX36596" fmla="*/ 5149392 w 6884782"/>
              <a:gd name="connsiteY36596" fmla="*/ 2183542 h 5973007"/>
              <a:gd name="connsiteX36597" fmla="*/ 5373696 w 6884782"/>
              <a:gd name="connsiteY36597" fmla="*/ 2175433 h 5973007"/>
              <a:gd name="connsiteX36598" fmla="*/ 5373482 w 6884782"/>
              <a:gd name="connsiteY36598" fmla="*/ 2176429 h 5973007"/>
              <a:gd name="connsiteX36599" fmla="*/ 5378391 w 6884782"/>
              <a:gd name="connsiteY36599" fmla="*/ 2177851 h 5973007"/>
              <a:gd name="connsiteX36600" fmla="*/ 5375830 w 6884782"/>
              <a:gd name="connsiteY36600" fmla="*/ 2183116 h 5973007"/>
              <a:gd name="connsiteX36601" fmla="*/ 5371988 w 6884782"/>
              <a:gd name="connsiteY36601" fmla="*/ 2179559 h 5973007"/>
              <a:gd name="connsiteX36602" fmla="*/ 5372415 w 6884782"/>
              <a:gd name="connsiteY36602" fmla="*/ 2175718 h 5973007"/>
              <a:gd name="connsiteX36603" fmla="*/ 5373696 w 6884782"/>
              <a:gd name="connsiteY36603" fmla="*/ 2175433 h 5973007"/>
              <a:gd name="connsiteX36604" fmla="*/ 828838 w 6884782"/>
              <a:gd name="connsiteY36604" fmla="*/ 2175076 h 5973007"/>
              <a:gd name="connsiteX36605" fmla="*/ 835859 w 6884782"/>
              <a:gd name="connsiteY36605" fmla="*/ 2176160 h 5973007"/>
              <a:gd name="connsiteX36606" fmla="*/ 834414 w 6884782"/>
              <a:gd name="connsiteY36606" fmla="*/ 2182356 h 5973007"/>
              <a:gd name="connsiteX36607" fmla="*/ 827393 w 6884782"/>
              <a:gd name="connsiteY36607" fmla="*/ 2179413 h 5973007"/>
              <a:gd name="connsiteX36608" fmla="*/ 828838 w 6884782"/>
              <a:gd name="connsiteY36608" fmla="*/ 2175076 h 5973007"/>
              <a:gd name="connsiteX36609" fmla="*/ 5229424 w 6884782"/>
              <a:gd name="connsiteY36609" fmla="*/ 2173868 h 5973007"/>
              <a:gd name="connsiteX36610" fmla="*/ 5242656 w 6884782"/>
              <a:gd name="connsiteY36610" fmla="*/ 2182689 h 5973007"/>
              <a:gd name="connsiteX36611" fmla="*/ 5243723 w 6884782"/>
              <a:gd name="connsiteY36611" fmla="*/ 2185961 h 5973007"/>
              <a:gd name="connsiteX36612" fmla="*/ 5245431 w 6884782"/>
              <a:gd name="connsiteY36612" fmla="*/ 2188237 h 5973007"/>
              <a:gd name="connsiteX36613" fmla="*/ 5245644 w 6884782"/>
              <a:gd name="connsiteY36613" fmla="*/ 2196347 h 5973007"/>
              <a:gd name="connsiteX36614" fmla="*/ 5228570 w 6884782"/>
              <a:gd name="connsiteY36614" fmla="*/ 2178563 h 5973007"/>
              <a:gd name="connsiteX36615" fmla="*/ 5227503 w 6884782"/>
              <a:gd name="connsiteY36615" fmla="*/ 2176002 h 5973007"/>
              <a:gd name="connsiteX36616" fmla="*/ 5229424 w 6884782"/>
              <a:gd name="connsiteY36616" fmla="*/ 2173868 h 5973007"/>
              <a:gd name="connsiteX36617" fmla="*/ 5291529 w 6884782"/>
              <a:gd name="connsiteY36617" fmla="*/ 2173584 h 5973007"/>
              <a:gd name="connsiteX36618" fmla="*/ 5294730 w 6884782"/>
              <a:gd name="connsiteY36618" fmla="*/ 2175006 h 5973007"/>
              <a:gd name="connsiteX36619" fmla="*/ 5291102 w 6884782"/>
              <a:gd name="connsiteY36619" fmla="*/ 2180982 h 5973007"/>
              <a:gd name="connsiteX36620" fmla="*/ 5291529 w 6884782"/>
              <a:gd name="connsiteY36620" fmla="*/ 2173584 h 5973007"/>
              <a:gd name="connsiteX36621" fmla="*/ 6364817 w 6884782"/>
              <a:gd name="connsiteY36621" fmla="*/ 2173441 h 5973007"/>
              <a:gd name="connsiteX36622" fmla="*/ 6352226 w 6884782"/>
              <a:gd name="connsiteY36622" fmla="*/ 2189802 h 5973007"/>
              <a:gd name="connsiteX36623" fmla="*/ 6347744 w 6884782"/>
              <a:gd name="connsiteY36623" fmla="*/ 2181266 h 5973007"/>
              <a:gd name="connsiteX36624" fmla="*/ 6364817 w 6884782"/>
              <a:gd name="connsiteY36624" fmla="*/ 2173441 h 5973007"/>
              <a:gd name="connsiteX36625" fmla="*/ 5415739 w 6884782"/>
              <a:gd name="connsiteY36625" fmla="*/ 2172161 h 5973007"/>
              <a:gd name="connsiteX36626" fmla="*/ 5417660 w 6884782"/>
              <a:gd name="connsiteY36626" fmla="*/ 2179986 h 5973007"/>
              <a:gd name="connsiteX36627" fmla="*/ 5408910 w 6884782"/>
              <a:gd name="connsiteY36627" fmla="*/ 2177851 h 5973007"/>
              <a:gd name="connsiteX36628" fmla="*/ 5415739 w 6884782"/>
              <a:gd name="connsiteY36628" fmla="*/ 2172161 h 5973007"/>
              <a:gd name="connsiteX36629" fmla="*/ 6247650 w 6884782"/>
              <a:gd name="connsiteY36629" fmla="*/ 2171023 h 5973007"/>
              <a:gd name="connsiteX36630" fmla="*/ 6256400 w 6884782"/>
              <a:gd name="connsiteY36630" fmla="*/ 2175433 h 5973007"/>
              <a:gd name="connsiteX36631" fmla="*/ 6260882 w 6884782"/>
              <a:gd name="connsiteY36631" fmla="*/ 2189091 h 5973007"/>
              <a:gd name="connsiteX36632" fmla="*/ 6257467 w 6884782"/>
              <a:gd name="connsiteY36632" fmla="*/ 2196205 h 5973007"/>
              <a:gd name="connsiteX36633" fmla="*/ 6236552 w 6884782"/>
              <a:gd name="connsiteY36633" fmla="*/ 2195208 h 5973007"/>
              <a:gd name="connsiteX36634" fmla="*/ 6234418 w 6884782"/>
              <a:gd name="connsiteY36634" fmla="*/ 2192363 h 5973007"/>
              <a:gd name="connsiteX36635" fmla="*/ 6233991 w 6884782"/>
              <a:gd name="connsiteY36635" fmla="*/ 2192079 h 5973007"/>
              <a:gd name="connsiteX36636" fmla="*/ 6233564 w 6884782"/>
              <a:gd name="connsiteY36636" fmla="*/ 2193786 h 5973007"/>
              <a:gd name="connsiteX36637" fmla="*/ 6231643 w 6884782"/>
              <a:gd name="connsiteY36637" fmla="*/ 2194070 h 5973007"/>
              <a:gd name="connsiteX36638" fmla="*/ 6228442 w 6884782"/>
              <a:gd name="connsiteY36638" fmla="*/ 2193217 h 5973007"/>
              <a:gd name="connsiteX36639" fmla="*/ 6225881 w 6884782"/>
              <a:gd name="connsiteY36639" fmla="*/ 2193501 h 5973007"/>
              <a:gd name="connsiteX36640" fmla="*/ 6224174 w 6884782"/>
              <a:gd name="connsiteY36640" fmla="*/ 2190371 h 5973007"/>
              <a:gd name="connsiteX36641" fmla="*/ 6226735 w 6884782"/>
              <a:gd name="connsiteY36641" fmla="*/ 2190087 h 5973007"/>
              <a:gd name="connsiteX36642" fmla="*/ 6230576 w 6884782"/>
              <a:gd name="connsiteY36642" fmla="*/ 2190941 h 5973007"/>
              <a:gd name="connsiteX36643" fmla="*/ 6232497 w 6884782"/>
              <a:gd name="connsiteY36643" fmla="*/ 2191083 h 5973007"/>
              <a:gd name="connsiteX36644" fmla="*/ 6229936 w 6884782"/>
              <a:gd name="connsiteY36644" fmla="*/ 2189233 h 5973007"/>
              <a:gd name="connsiteX36645" fmla="*/ 6231857 w 6884782"/>
              <a:gd name="connsiteY36645" fmla="*/ 2186388 h 5973007"/>
              <a:gd name="connsiteX36646" fmla="*/ 6232497 w 6884782"/>
              <a:gd name="connsiteY36646" fmla="*/ 2183542 h 5973007"/>
              <a:gd name="connsiteX36647" fmla="*/ 6230150 w 6884782"/>
              <a:gd name="connsiteY36647" fmla="*/ 2181551 h 5973007"/>
              <a:gd name="connsiteX36648" fmla="*/ 6233351 w 6884782"/>
              <a:gd name="connsiteY36648" fmla="*/ 2179559 h 5973007"/>
              <a:gd name="connsiteX36649" fmla="*/ 6233778 w 6884782"/>
              <a:gd name="connsiteY36649" fmla="*/ 2179701 h 5973007"/>
              <a:gd name="connsiteX36650" fmla="*/ 6236766 w 6884782"/>
              <a:gd name="connsiteY36650" fmla="*/ 2176002 h 5973007"/>
              <a:gd name="connsiteX36651" fmla="*/ 6247650 w 6884782"/>
              <a:gd name="connsiteY36651" fmla="*/ 2171023 h 5973007"/>
              <a:gd name="connsiteX36652" fmla="*/ 789807 w 6884782"/>
              <a:gd name="connsiteY36652" fmla="*/ 2170894 h 5973007"/>
              <a:gd name="connsiteX36653" fmla="*/ 806844 w 6884782"/>
              <a:gd name="connsiteY36653" fmla="*/ 2178639 h 5973007"/>
              <a:gd name="connsiteX36654" fmla="*/ 789807 w 6884782"/>
              <a:gd name="connsiteY36654" fmla="*/ 2170894 h 5973007"/>
              <a:gd name="connsiteX36655" fmla="*/ 4987406 w 6884782"/>
              <a:gd name="connsiteY36655" fmla="*/ 2168462 h 5973007"/>
              <a:gd name="connsiteX36656" fmla="*/ 4989113 w 6884782"/>
              <a:gd name="connsiteY36656" fmla="*/ 2171592 h 5973007"/>
              <a:gd name="connsiteX36657" fmla="*/ 4986979 w 6884782"/>
              <a:gd name="connsiteY36657" fmla="*/ 2186530 h 5973007"/>
              <a:gd name="connsiteX36658" fmla="*/ 4987406 w 6884782"/>
              <a:gd name="connsiteY36658" fmla="*/ 2168462 h 5973007"/>
              <a:gd name="connsiteX36659" fmla="*/ 887281 w 6884782"/>
              <a:gd name="connsiteY36659" fmla="*/ 2167951 h 5973007"/>
              <a:gd name="connsiteX36660" fmla="*/ 889965 w 6884782"/>
              <a:gd name="connsiteY36660" fmla="*/ 2167951 h 5973007"/>
              <a:gd name="connsiteX36661" fmla="*/ 889862 w 6884782"/>
              <a:gd name="connsiteY36661" fmla="*/ 2172753 h 5973007"/>
              <a:gd name="connsiteX36662" fmla="*/ 886042 w 6884782"/>
              <a:gd name="connsiteY36662" fmla="*/ 2171358 h 5973007"/>
              <a:gd name="connsiteX36663" fmla="*/ 887281 w 6884782"/>
              <a:gd name="connsiteY36663" fmla="*/ 2167951 h 5973007"/>
              <a:gd name="connsiteX36664" fmla="*/ 4596634 w 6884782"/>
              <a:gd name="connsiteY36664" fmla="*/ 2167039 h 5973007"/>
              <a:gd name="connsiteX36665" fmla="*/ 4599836 w 6884782"/>
              <a:gd name="connsiteY36665" fmla="*/ 2168604 h 5973007"/>
              <a:gd name="connsiteX36666" fmla="*/ 4593647 w 6884782"/>
              <a:gd name="connsiteY36666" fmla="*/ 2181835 h 5973007"/>
              <a:gd name="connsiteX36667" fmla="*/ 4585750 w 6884782"/>
              <a:gd name="connsiteY36667" fmla="*/ 2172303 h 5973007"/>
              <a:gd name="connsiteX36668" fmla="*/ 4596634 w 6884782"/>
              <a:gd name="connsiteY36668" fmla="*/ 2167039 h 5973007"/>
              <a:gd name="connsiteX36669" fmla="*/ 5614860 w 6884782"/>
              <a:gd name="connsiteY36669" fmla="*/ 2166755 h 5973007"/>
              <a:gd name="connsiteX36670" fmla="*/ 5618702 w 6884782"/>
              <a:gd name="connsiteY36670" fmla="*/ 2167608 h 5973007"/>
              <a:gd name="connsiteX36671" fmla="*/ 5625318 w 6884782"/>
              <a:gd name="connsiteY36671" fmla="*/ 2178421 h 5973007"/>
              <a:gd name="connsiteX36672" fmla="*/ 5625104 w 6884782"/>
              <a:gd name="connsiteY36672" fmla="*/ 2182405 h 5973007"/>
              <a:gd name="connsiteX36673" fmla="*/ 5625318 w 6884782"/>
              <a:gd name="connsiteY36673" fmla="*/ 2182405 h 5973007"/>
              <a:gd name="connsiteX36674" fmla="*/ 5625958 w 6884782"/>
              <a:gd name="connsiteY36674" fmla="*/ 2182689 h 5973007"/>
              <a:gd name="connsiteX36675" fmla="*/ 5626385 w 6884782"/>
              <a:gd name="connsiteY36675" fmla="*/ 2182120 h 5973007"/>
              <a:gd name="connsiteX36676" fmla="*/ 5629159 w 6884782"/>
              <a:gd name="connsiteY36676" fmla="*/ 2180128 h 5973007"/>
              <a:gd name="connsiteX36677" fmla="*/ 5626812 w 6884782"/>
              <a:gd name="connsiteY36677" fmla="*/ 2182405 h 5973007"/>
              <a:gd name="connsiteX36678" fmla="*/ 5627025 w 6884782"/>
              <a:gd name="connsiteY36678" fmla="*/ 2183116 h 5973007"/>
              <a:gd name="connsiteX36679" fmla="*/ 5630440 w 6884782"/>
              <a:gd name="connsiteY36679" fmla="*/ 2184680 h 5973007"/>
              <a:gd name="connsiteX36680" fmla="*/ 5619555 w 6884782"/>
              <a:gd name="connsiteY36680" fmla="*/ 2203175 h 5973007"/>
              <a:gd name="connsiteX36681" fmla="*/ 5615927 w 6884782"/>
              <a:gd name="connsiteY36681" fmla="*/ 2202891 h 5973007"/>
              <a:gd name="connsiteX36682" fmla="*/ 5614007 w 6884782"/>
              <a:gd name="connsiteY36682" fmla="*/ 2201753 h 5973007"/>
              <a:gd name="connsiteX36683" fmla="*/ 5607177 w 6884782"/>
              <a:gd name="connsiteY36683" fmla="*/ 2206590 h 5973007"/>
              <a:gd name="connsiteX36684" fmla="*/ 5603549 w 6884782"/>
              <a:gd name="connsiteY36684" fmla="*/ 2207870 h 5973007"/>
              <a:gd name="connsiteX36685" fmla="*/ 5600561 w 6884782"/>
              <a:gd name="connsiteY36685" fmla="*/ 2184112 h 5973007"/>
              <a:gd name="connsiteX36686" fmla="*/ 5599281 w 6884782"/>
              <a:gd name="connsiteY36686" fmla="*/ 2183400 h 5973007"/>
              <a:gd name="connsiteX36687" fmla="*/ 5598213 w 6884782"/>
              <a:gd name="connsiteY36687" fmla="*/ 2182547 h 5973007"/>
              <a:gd name="connsiteX36688" fmla="*/ 5599281 w 6884782"/>
              <a:gd name="connsiteY36688" fmla="*/ 2181978 h 5973007"/>
              <a:gd name="connsiteX36689" fmla="*/ 5600988 w 6884782"/>
              <a:gd name="connsiteY36689" fmla="*/ 2182405 h 5973007"/>
              <a:gd name="connsiteX36690" fmla="*/ 5601415 w 6884782"/>
              <a:gd name="connsiteY36690" fmla="*/ 2182547 h 5973007"/>
              <a:gd name="connsiteX36691" fmla="*/ 5604829 w 6884782"/>
              <a:gd name="connsiteY36691" fmla="*/ 2176856 h 5973007"/>
              <a:gd name="connsiteX36692" fmla="*/ 5614860 w 6884782"/>
              <a:gd name="connsiteY36692" fmla="*/ 2166755 h 5973007"/>
              <a:gd name="connsiteX36693" fmla="*/ 936328 w 6884782"/>
              <a:gd name="connsiteY36693" fmla="*/ 2166557 h 5973007"/>
              <a:gd name="connsiteX36694" fmla="*/ 934366 w 6884782"/>
              <a:gd name="connsiteY36694" fmla="*/ 2171823 h 5973007"/>
              <a:gd name="connsiteX36695" fmla="*/ 928170 w 6884782"/>
              <a:gd name="connsiteY36695" fmla="*/ 2172598 h 5973007"/>
              <a:gd name="connsiteX36696" fmla="*/ 928687 w 6884782"/>
              <a:gd name="connsiteY36696" fmla="*/ 2176005 h 5973007"/>
              <a:gd name="connsiteX36697" fmla="*/ 920942 w 6884782"/>
              <a:gd name="connsiteY36697" fmla="*/ 2179258 h 5973007"/>
              <a:gd name="connsiteX36698" fmla="*/ 916812 w 6884782"/>
              <a:gd name="connsiteY36698" fmla="*/ 2174456 h 5973007"/>
              <a:gd name="connsiteX36699" fmla="*/ 923834 w 6884782"/>
              <a:gd name="connsiteY36699" fmla="*/ 2167951 h 5973007"/>
              <a:gd name="connsiteX36700" fmla="*/ 927654 w 6884782"/>
              <a:gd name="connsiteY36700" fmla="*/ 2170429 h 5973007"/>
              <a:gd name="connsiteX36701" fmla="*/ 927758 w 6884782"/>
              <a:gd name="connsiteY36701" fmla="*/ 2169345 h 5973007"/>
              <a:gd name="connsiteX36702" fmla="*/ 929823 w 6884782"/>
              <a:gd name="connsiteY36702" fmla="*/ 2167796 h 5973007"/>
              <a:gd name="connsiteX36703" fmla="*/ 936328 w 6884782"/>
              <a:gd name="connsiteY36703" fmla="*/ 2166557 h 5973007"/>
              <a:gd name="connsiteX36704" fmla="*/ 5635349 w 6884782"/>
              <a:gd name="connsiteY36704" fmla="*/ 2166185 h 5973007"/>
              <a:gd name="connsiteX36705" fmla="*/ 5636629 w 6884782"/>
              <a:gd name="connsiteY36705" fmla="*/ 2169742 h 5973007"/>
              <a:gd name="connsiteX36706" fmla="*/ 5633214 w 6884782"/>
              <a:gd name="connsiteY36706" fmla="*/ 2171876 h 5973007"/>
              <a:gd name="connsiteX36707" fmla="*/ 5632361 w 6884782"/>
              <a:gd name="connsiteY36707" fmla="*/ 2176713 h 5973007"/>
              <a:gd name="connsiteX36708" fmla="*/ 5628946 w 6884782"/>
              <a:gd name="connsiteY36708" fmla="*/ 2178848 h 5973007"/>
              <a:gd name="connsiteX36709" fmla="*/ 5628946 w 6884782"/>
              <a:gd name="connsiteY36709" fmla="*/ 2177710 h 5973007"/>
              <a:gd name="connsiteX36710" fmla="*/ 5631080 w 6884782"/>
              <a:gd name="connsiteY36710" fmla="*/ 2175433 h 5973007"/>
              <a:gd name="connsiteX36711" fmla="*/ 5633001 w 6884782"/>
              <a:gd name="connsiteY36711" fmla="*/ 2167182 h 5973007"/>
              <a:gd name="connsiteX36712" fmla="*/ 5635349 w 6884782"/>
              <a:gd name="connsiteY36712" fmla="*/ 2166185 h 5973007"/>
              <a:gd name="connsiteX36713" fmla="*/ 4810481 w 6884782"/>
              <a:gd name="connsiteY36713" fmla="*/ 2166185 h 5973007"/>
              <a:gd name="connsiteX36714" fmla="*/ 4814322 w 6884782"/>
              <a:gd name="connsiteY36714" fmla="*/ 2166328 h 5973007"/>
              <a:gd name="connsiteX36715" fmla="*/ 4825847 w 6884782"/>
              <a:gd name="connsiteY36715" fmla="*/ 2173299 h 5973007"/>
              <a:gd name="connsiteX36716" fmla="*/ 4821579 w 6884782"/>
              <a:gd name="connsiteY36716" fmla="*/ 2180413 h 5973007"/>
              <a:gd name="connsiteX36717" fmla="*/ 4810481 w 6884782"/>
              <a:gd name="connsiteY36717" fmla="*/ 2166185 h 5973007"/>
              <a:gd name="connsiteX36718" fmla="*/ 860537 w 6884782"/>
              <a:gd name="connsiteY36718" fmla="*/ 2165937 h 5973007"/>
              <a:gd name="connsiteX36719" fmla="*/ 860021 w 6884782"/>
              <a:gd name="connsiteY36719" fmla="*/ 2176625 h 5973007"/>
              <a:gd name="connsiteX36720" fmla="*/ 854032 w 6884782"/>
              <a:gd name="connsiteY36720" fmla="*/ 2172133 h 5973007"/>
              <a:gd name="connsiteX36721" fmla="*/ 854549 w 6884782"/>
              <a:gd name="connsiteY36721" fmla="*/ 2168570 h 5973007"/>
              <a:gd name="connsiteX36722" fmla="*/ 860537 w 6884782"/>
              <a:gd name="connsiteY36722" fmla="*/ 2165937 h 5973007"/>
              <a:gd name="connsiteX36723" fmla="*/ 965756 w 6884782"/>
              <a:gd name="connsiteY36723" fmla="*/ 2164388 h 5973007"/>
              <a:gd name="connsiteX36724" fmla="*/ 962142 w 6884782"/>
              <a:gd name="connsiteY36724" fmla="*/ 2168415 h 5973007"/>
              <a:gd name="connsiteX36725" fmla="*/ 965756 w 6884782"/>
              <a:gd name="connsiteY36725" fmla="*/ 2164388 h 5973007"/>
              <a:gd name="connsiteX36726" fmla="*/ 1078408 w 6884782"/>
              <a:gd name="connsiteY36726" fmla="*/ 2163614 h 5973007"/>
              <a:gd name="connsiteX36727" fmla="*/ 1081609 w 6884782"/>
              <a:gd name="connsiteY36727" fmla="*/ 2163923 h 5973007"/>
              <a:gd name="connsiteX36728" fmla="*/ 1084191 w 6884782"/>
              <a:gd name="connsiteY36728" fmla="*/ 2166402 h 5973007"/>
              <a:gd name="connsiteX36729" fmla="*/ 1079131 w 6884782"/>
              <a:gd name="connsiteY36729" fmla="*/ 2170894 h 5973007"/>
              <a:gd name="connsiteX36730" fmla="*/ 1077066 w 6884782"/>
              <a:gd name="connsiteY36730" fmla="*/ 2166247 h 5973007"/>
              <a:gd name="connsiteX36731" fmla="*/ 1078408 w 6884782"/>
              <a:gd name="connsiteY36731" fmla="*/ 2163614 h 5973007"/>
              <a:gd name="connsiteX36732" fmla="*/ 6153318 w 6884782"/>
              <a:gd name="connsiteY36732" fmla="*/ 2163340 h 5973007"/>
              <a:gd name="connsiteX36733" fmla="*/ 6156520 w 6884782"/>
              <a:gd name="connsiteY36733" fmla="*/ 2165759 h 5973007"/>
              <a:gd name="connsiteX36734" fmla="*/ 6155879 w 6884782"/>
              <a:gd name="connsiteY36734" fmla="*/ 2170027 h 5973007"/>
              <a:gd name="connsiteX36735" fmla="*/ 6152038 w 6884782"/>
              <a:gd name="connsiteY36735" fmla="*/ 2173157 h 5973007"/>
              <a:gd name="connsiteX36736" fmla="*/ 6146489 w 6884782"/>
              <a:gd name="connsiteY36736" fmla="*/ 2165475 h 5973007"/>
              <a:gd name="connsiteX36737" fmla="*/ 6153318 w 6884782"/>
              <a:gd name="connsiteY36737" fmla="*/ 2163340 h 5973007"/>
              <a:gd name="connsiteX36738" fmla="*/ 5288542 w 6884782"/>
              <a:gd name="connsiteY36738" fmla="*/ 2162771 h 5973007"/>
              <a:gd name="connsiteX36739" fmla="*/ 5288328 w 6884782"/>
              <a:gd name="connsiteY36739" fmla="*/ 2167324 h 5973007"/>
              <a:gd name="connsiteX36740" fmla="*/ 5287261 w 6884782"/>
              <a:gd name="connsiteY36740" fmla="*/ 2167182 h 5973007"/>
              <a:gd name="connsiteX36741" fmla="*/ 5288542 w 6884782"/>
              <a:gd name="connsiteY36741" fmla="*/ 2162771 h 5973007"/>
              <a:gd name="connsiteX36742" fmla="*/ 5110549 w 6884782"/>
              <a:gd name="connsiteY36742" fmla="*/ 2162771 h 5973007"/>
              <a:gd name="connsiteX36743" fmla="*/ 5111616 w 6884782"/>
              <a:gd name="connsiteY36743" fmla="*/ 2171023 h 5973007"/>
              <a:gd name="connsiteX36744" fmla="*/ 5107988 w 6884782"/>
              <a:gd name="connsiteY36744" fmla="*/ 2169742 h 5973007"/>
              <a:gd name="connsiteX36745" fmla="*/ 5110549 w 6884782"/>
              <a:gd name="connsiteY36745" fmla="*/ 2162771 h 5973007"/>
              <a:gd name="connsiteX36746" fmla="*/ 5143629 w 6884782"/>
              <a:gd name="connsiteY36746" fmla="*/ 2162629 h 5973007"/>
              <a:gd name="connsiteX36747" fmla="*/ 5158142 w 6884782"/>
              <a:gd name="connsiteY36747" fmla="*/ 2169315 h 5973007"/>
              <a:gd name="connsiteX36748" fmla="*/ 5152806 w 6884782"/>
              <a:gd name="connsiteY36748" fmla="*/ 2176571 h 5973007"/>
              <a:gd name="connsiteX36749" fmla="*/ 5143629 w 6884782"/>
              <a:gd name="connsiteY36749" fmla="*/ 2162629 h 5973007"/>
              <a:gd name="connsiteX36750" fmla="*/ 4772493 w 6884782"/>
              <a:gd name="connsiteY36750" fmla="*/ 2162487 h 5973007"/>
              <a:gd name="connsiteX36751" fmla="*/ 4768437 w 6884782"/>
              <a:gd name="connsiteY36751" fmla="*/ 2175291 h 5973007"/>
              <a:gd name="connsiteX36752" fmla="*/ 4763315 w 6884782"/>
              <a:gd name="connsiteY36752" fmla="*/ 2170312 h 5973007"/>
              <a:gd name="connsiteX36753" fmla="*/ 4772493 w 6884782"/>
              <a:gd name="connsiteY36753" fmla="*/ 2162487 h 5973007"/>
              <a:gd name="connsiteX36754" fmla="*/ 1162872 w 6884782"/>
              <a:gd name="connsiteY36754" fmla="*/ 2162375 h 5973007"/>
              <a:gd name="connsiteX36755" fmla="*/ 1163698 w 6884782"/>
              <a:gd name="connsiteY36755" fmla="*/ 2162375 h 5973007"/>
              <a:gd name="connsiteX36756" fmla="*/ 1162252 w 6884782"/>
              <a:gd name="connsiteY36756" fmla="*/ 2162839 h 5973007"/>
              <a:gd name="connsiteX36757" fmla="*/ 1162872 w 6884782"/>
              <a:gd name="connsiteY36757" fmla="*/ 2162375 h 5973007"/>
              <a:gd name="connsiteX36758" fmla="*/ 4682856 w 6884782"/>
              <a:gd name="connsiteY36758" fmla="*/ 2161064 h 5973007"/>
              <a:gd name="connsiteX36759" fmla="*/ 4688405 w 6884782"/>
              <a:gd name="connsiteY36759" fmla="*/ 2167039 h 5973007"/>
              <a:gd name="connsiteX36760" fmla="*/ 4686271 w 6884782"/>
              <a:gd name="connsiteY36760" fmla="*/ 2170596 h 5973007"/>
              <a:gd name="connsiteX36761" fmla="*/ 4682856 w 6884782"/>
              <a:gd name="connsiteY36761" fmla="*/ 2161064 h 5973007"/>
              <a:gd name="connsiteX36762" fmla="*/ 5466961 w 6884782"/>
              <a:gd name="connsiteY36762" fmla="*/ 2160779 h 5973007"/>
              <a:gd name="connsiteX36763" fmla="*/ 5471442 w 6884782"/>
              <a:gd name="connsiteY36763" fmla="*/ 2161206 h 5973007"/>
              <a:gd name="connsiteX36764" fmla="*/ 5488729 w 6884782"/>
              <a:gd name="connsiteY36764" fmla="*/ 2179559 h 5973007"/>
              <a:gd name="connsiteX36765" fmla="*/ 5474430 w 6884782"/>
              <a:gd name="connsiteY36765" fmla="*/ 2173868 h 5973007"/>
              <a:gd name="connsiteX36766" fmla="*/ 5462265 w 6884782"/>
              <a:gd name="connsiteY36766" fmla="*/ 2161918 h 5973007"/>
              <a:gd name="connsiteX36767" fmla="*/ 5466961 w 6884782"/>
              <a:gd name="connsiteY36767" fmla="*/ 2160779 h 5973007"/>
              <a:gd name="connsiteX36768" fmla="*/ 5137654 w 6884782"/>
              <a:gd name="connsiteY36768" fmla="*/ 2160068 h 5973007"/>
              <a:gd name="connsiteX36769" fmla="*/ 5121220 w 6884782"/>
              <a:gd name="connsiteY36769" fmla="*/ 2176713 h 5973007"/>
              <a:gd name="connsiteX36770" fmla="*/ 5118232 w 6884782"/>
              <a:gd name="connsiteY36770" fmla="*/ 2177283 h 5973007"/>
              <a:gd name="connsiteX36771" fmla="*/ 5118446 w 6884782"/>
              <a:gd name="connsiteY36771" fmla="*/ 2177425 h 5973007"/>
              <a:gd name="connsiteX36772" fmla="*/ 5106708 w 6884782"/>
              <a:gd name="connsiteY36772" fmla="*/ 2180697 h 5973007"/>
              <a:gd name="connsiteX36773" fmla="*/ 5112043 w 6884782"/>
              <a:gd name="connsiteY36773" fmla="*/ 2174011 h 5973007"/>
              <a:gd name="connsiteX36774" fmla="*/ 5115884 w 6884782"/>
              <a:gd name="connsiteY36774" fmla="*/ 2174864 h 5973007"/>
              <a:gd name="connsiteX36775" fmla="*/ 5116952 w 6884782"/>
              <a:gd name="connsiteY36775" fmla="*/ 2176002 h 5973007"/>
              <a:gd name="connsiteX36776" fmla="*/ 5119727 w 6884782"/>
              <a:gd name="connsiteY36776" fmla="*/ 2171876 h 5973007"/>
              <a:gd name="connsiteX36777" fmla="*/ 5124422 w 6884782"/>
              <a:gd name="connsiteY36777" fmla="*/ 2165617 h 5973007"/>
              <a:gd name="connsiteX36778" fmla="*/ 5137654 w 6884782"/>
              <a:gd name="connsiteY36778" fmla="*/ 2160068 h 5973007"/>
              <a:gd name="connsiteX36779" fmla="*/ 4565262 w 6884782"/>
              <a:gd name="connsiteY36779" fmla="*/ 2159357 h 5973007"/>
              <a:gd name="connsiteX36780" fmla="*/ 4568463 w 6884782"/>
              <a:gd name="connsiteY36780" fmla="*/ 2173868 h 5973007"/>
              <a:gd name="connsiteX36781" fmla="*/ 4565262 w 6884782"/>
              <a:gd name="connsiteY36781" fmla="*/ 2159357 h 5973007"/>
              <a:gd name="connsiteX36782" fmla="*/ 5528852 w 6884782"/>
              <a:gd name="connsiteY36782" fmla="*/ 2158361 h 5973007"/>
              <a:gd name="connsiteX36783" fmla="*/ 5509644 w 6884782"/>
              <a:gd name="connsiteY36783" fmla="*/ 2175576 h 5973007"/>
              <a:gd name="connsiteX36784" fmla="*/ 5516473 w 6884782"/>
              <a:gd name="connsiteY36784" fmla="*/ 2163625 h 5973007"/>
              <a:gd name="connsiteX36785" fmla="*/ 5528852 w 6884782"/>
              <a:gd name="connsiteY36785" fmla="*/ 2158361 h 5973007"/>
              <a:gd name="connsiteX36786" fmla="*/ 5010029 w 6884782"/>
              <a:gd name="connsiteY36786" fmla="*/ 2157223 h 5973007"/>
              <a:gd name="connsiteX36787" fmla="*/ 5010242 w 6884782"/>
              <a:gd name="connsiteY36787" fmla="*/ 2160922 h 5973007"/>
              <a:gd name="connsiteX36788" fmla="*/ 5002132 w 6884782"/>
              <a:gd name="connsiteY36788" fmla="*/ 2172446 h 5973007"/>
              <a:gd name="connsiteX36789" fmla="*/ 5010029 w 6884782"/>
              <a:gd name="connsiteY36789" fmla="*/ 2157223 h 5973007"/>
              <a:gd name="connsiteX36790" fmla="*/ 915573 w 6884782"/>
              <a:gd name="connsiteY36790" fmla="*/ 2156953 h 5973007"/>
              <a:gd name="connsiteX36791" fmla="*/ 915366 w 6884782"/>
              <a:gd name="connsiteY36791" fmla="*/ 2162064 h 5973007"/>
              <a:gd name="connsiteX36792" fmla="*/ 914850 w 6884782"/>
              <a:gd name="connsiteY36792" fmla="*/ 2158502 h 5973007"/>
              <a:gd name="connsiteX36793" fmla="*/ 915573 w 6884782"/>
              <a:gd name="connsiteY36793" fmla="*/ 2156953 h 5973007"/>
              <a:gd name="connsiteX36794" fmla="*/ 6321066 w 6884782"/>
              <a:gd name="connsiteY36794" fmla="*/ 2156938 h 5973007"/>
              <a:gd name="connsiteX36795" fmla="*/ 6327042 w 6884782"/>
              <a:gd name="connsiteY36795" fmla="*/ 2161206 h 5973007"/>
              <a:gd name="connsiteX36796" fmla="*/ 6320639 w 6884782"/>
              <a:gd name="connsiteY36796" fmla="*/ 2161775 h 5973007"/>
              <a:gd name="connsiteX36797" fmla="*/ 6321066 w 6884782"/>
              <a:gd name="connsiteY36797" fmla="*/ 2156938 h 5973007"/>
              <a:gd name="connsiteX36798" fmla="*/ 1159155 w 6884782"/>
              <a:gd name="connsiteY36798" fmla="*/ 2155249 h 5973007"/>
              <a:gd name="connsiteX36799" fmla="*/ 1163182 w 6884782"/>
              <a:gd name="connsiteY36799" fmla="*/ 2158967 h 5973007"/>
              <a:gd name="connsiteX36800" fmla="*/ 1160806 w 6884782"/>
              <a:gd name="connsiteY36800" fmla="*/ 2160206 h 5973007"/>
              <a:gd name="connsiteX36801" fmla="*/ 1159155 w 6884782"/>
              <a:gd name="connsiteY36801" fmla="*/ 2155249 h 5973007"/>
              <a:gd name="connsiteX36802" fmla="*/ 5558731 w 6884782"/>
              <a:gd name="connsiteY36802" fmla="*/ 2155089 h 5973007"/>
              <a:gd name="connsiteX36803" fmla="*/ 5561292 w 6884782"/>
              <a:gd name="connsiteY36803" fmla="*/ 2156511 h 5973007"/>
              <a:gd name="connsiteX36804" fmla="*/ 5561505 w 6884782"/>
              <a:gd name="connsiteY36804" fmla="*/ 2157649 h 5973007"/>
              <a:gd name="connsiteX36805" fmla="*/ 5562145 w 6884782"/>
              <a:gd name="connsiteY36805" fmla="*/ 2162487 h 5973007"/>
              <a:gd name="connsiteX36806" fmla="*/ 5556810 w 6884782"/>
              <a:gd name="connsiteY36806" fmla="*/ 2165190 h 5973007"/>
              <a:gd name="connsiteX36807" fmla="*/ 5553609 w 6884782"/>
              <a:gd name="connsiteY36807" fmla="*/ 2158218 h 5973007"/>
              <a:gd name="connsiteX36808" fmla="*/ 5558731 w 6884782"/>
              <a:gd name="connsiteY36808" fmla="*/ 2155089 h 5973007"/>
              <a:gd name="connsiteX36809" fmla="*/ 5438149 w 6884782"/>
              <a:gd name="connsiteY36809" fmla="*/ 2154804 h 5973007"/>
              <a:gd name="connsiteX36810" fmla="*/ 5442631 w 6884782"/>
              <a:gd name="connsiteY36810" fmla="*/ 2158930 h 5973007"/>
              <a:gd name="connsiteX36811" fmla="*/ 5441990 w 6884782"/>
              <a:gd name="connsiteY36811" fmla="*/ 2161775 h 5973007"/>
              <a:gd name="connsiteX36812" fmla="*/ 5440923 w 6884782"/>
              <a:gd name="connsiteY36812" fmla="*/ 2162344 h 5973007"/>
              <a:gd name="connsiteX36813" fmla="*/ 5439002 w 6884782"/>
              <a:gd name="connsiteY36813" fmla="*/ 2163340 h 5973007"/>
              <a:gd name="connsiteX36814" fmla="*/ 5444124 w 6884782"/>
              <a:gd name="connsiteY36814" fmla="*/ 2166185 h 5973007"/>
              <a:gd name="connsiteX36815" fmla="*/ 5447326 w 6884782"/>
              <a:gd name="connsiteY36815" fmla="*/ 2165332 h 5973007"/>
              <a:gd name="connsiteX36816" fmla="*/ 5456716 w 6884782"/>
              <a:gd name="connsiteY36816" fmla="*/ 2169174 h 5973007"/>
              <a:gd name="connsiteX36817" fmla="*/ 5456290 w 6884782"/>
              <a:gd name="connsiteY36817" fmla="*/ 2175149 h 5973007"/>
              <a:gd name="connsiteX36818" fmla="*/ 5454795 w 6884782"/>
              <a:gd name="connsiteY36818" fmla="*/ 2178136 h 5973007"/>
              <a:gd name="connsiteX36819" fmla="*/ 5457570 w 6884782"/>
              <a:gd name="connsiteY36819" fmla="*/ 2183258 h 5973007"/>
              <a:gd name="connsiteX36820" fmla="*/ 5450740 w 6884782"/>
              <a:gd name="connsiteY36820" fmla="*/ 2189518 h 5973007"/>
              <a:gd name="connsiteX36821" fmla="*/ 5447539 w 6884782"/>
              <a:gd name="connsiteY36821" fmla="*/ 2188949 h 5973007"/>
              <a:gd name="connsiteX36822" fmla="*/ 5445619 w 6884782"/>
              <a:gd name="connsiteY36822" fmla="*/ 2190656 h 5973007"/>
              <a:gd name="connsiteX36823" fmla="*/ 5456076 w 6884782"/>
              <a:gd name="connsiteY36823" fmla="*/ 2190229 h 5973007"/>
              <a:gd name="connsiteX36824" fmla="*/ 5472722 w 6884782"/>
              <a:gd name="connsiteY36824" fmla="*/ 2193928 h 5973007"/>
              <a:gd name="connsiteX36825" fmla="*/ 5484888 w 6884782"/>
              <a:gd name="connsiteY36825" fmla="*/ 2202037 h 5973007"/>
              <a:gd name="connsiteX36826" fmla="*/ 5483607 w 6884782"/>
              <a:gd name="connsiteY36826" fmla="*/ 2199761 h 5973007"/>
              <a:gd name="connsiteX36827" fmla="*/ 5481686 w 6884782"/>
              <a:gd name="connsiteY36827" fmla="*/ 2187242 h 5973007"/>
              <a:gd name="connsiteX36828" fmla="*/ 5492998 w 6884782"/>
              <a:gd name="connsiteY36828" fmla="*/ 2183827 h 5973007"/>
              <a:gd name="connsiteX36829" fmla="*/ 5505162 w 6884782"/>
              <a:gd name="connsiteY36829" fmla="*/ 2195778 h 5973007"/>
              <a:gd name="connsiteX36830" fmla="*/ 5505162 w 6884782"/>
              <a:gd name="connsiteY36830" fmla="*/ 2197627 h 5973007"/>
              <a:gd name="connsiteX36831" fmla="*/ 5505589 w 6884782"/>
              <a:gd name="connsiteY36831" fmla="*/ 2197485 h 5973007"/>
              <a:gd name="connsiteX36832" fmla="*/ 5507937 w 6884782"/>
              <a:gd name="connsiteY36832" fmla="*/ 2197343 h 5973007"/>
              <a:gd name="connsiteX36833" fmla="*/ 5506443 w 6884782"/>
              <a:gd name="connsiteY36833" fmla="*/ 2196062 h 5973007"/>
              <a:gd name="connsiteX36834" fmla="*/ 5509644 w 6884782"/>
              <a:gd name="connsiteY36834" fmla="*/ 2193928 h 5973007"/>
              <a:gd name="connsiteX36835" fmla="*/ 5512419 w 6884782"/>
              <a:gd name="connsiteY36835" fmla="*/ 2190941 h 5973007"/>
              <a:gd name="connsiteX36836" fmla="*/ 5514340 w 6884782"/>
              <a:gd name="connsiteY36836" fmla="*/ 2190656 h 5973007"/>
              <a:gd name="connsiteX36837" fmla="*/ 5521596 w 6884782"/>
              <a:gd name="connsiteY36837" fmla="*/ 2185534 h 5973007"/>
              <a:gd name="connsiteX36838" fmla="*/ 5526504 w 6884782"/>
              <a:gd name="connsiteY36838" fmla="*/ 2184254 h 5973007"/>
              <a:gd name="connsiteX36839" fmla="*/ 5526504 w 6884782"/>
              <a:gd name="connsiteY36839" fmla="*/ 2184112 h 5973007"/>
              <a:gd name="connsiteX36840" fmla="*/ 5524797 w 6884782"/>
              <a:gd name="connsiteY36840" fmla="*/ 2177567 h 5973007"/>
              <a:gd name="connsiteX36841" fmla="*/ 5526504 w 6884782"/>
              <a:gd name="connsiteY36841" fmla="*/ 2174580 h 5973007"/>
              <a:gd name="connsiteX36842" fmla="*/ 5533761 w 6884782"/>
              <a:gd name="connsiteY36842" fmla="*/ 2173868 h 5973007"/>
              <a:gd name="connsiteX36843" fmla="*/ 5541230 w 6884782"/>
              <a:gd name="connsiteY36843" fmla="*/ 2177851 h 5973007"/>
              <a:gd name="connsiteX36844" fmla="*/ 5544645 w 6884782"/>
              <a:gd name="connsiteY36844" fmla="*/ 2182405 h 5973007"/>
              <a:gd name="connsiteX36845" fmla="*/ 5547206 w 6884782"/>
              <a:gd name="connsiteY36845" fmla="*/ 2182547 h 5973007"/>
              <a:gd name="connsiteX36846" fmla="*/ 5546139 w 6884782"/>
              <a:gd name="connsiteY36846" fmla="*/ 2186672 h 5973007"/>
              <a:gd name="connsiteX36847" fmla="*/ 5545926 w 6884782"/>
              <a:gd name="connsiteY36847" fmla="*/ 2190371 h 5973007"/>
              <a:gd name="connsiteX36848" fmla="*/ 5542511 w 6884782"/>
              <a:gd name="connsiteY36848" fmla="*/ 2192790 h 5973007"/>
              <a:gd name="connsiteX36849" fmla="*/ 5541230 w 6884782"/>
              <a:gd name="connsiteY36849" fmla="*/ 2192363 h 5973007"/>
              <a:gd name="connsiteX36850" fmla="*/ 5536322 w 6884782"/>
              <a:gd name="connsiteY36850" fmla="*/ 2194497 h 5973007"/>
              <a:gd name="connsiteX36851" fmla="*/ 5535468 w 6884782"/>
              <a:gd name="connsiteY36851" fmla="*/ 2196489 h 5973007"/>
              <a:gd name="connsiteX36852" fmla="*/ 5537175 w 6884782"/>
              <a:gd name="connsiteY36852" fmla="*/ 2200330 h 5973007"/>
              <a:gd name="connsiteX36853" fmla="*/ 5539096 w 6884782"/>
              <a:gd name="connsiteY36853" fmla="*/ 2202322 h 5973007"/>
              <a:gd name="connsiteX36854" fmla="*/ 5541870 w 6884782"/>
              <a:gd name="connsiteY36854" fmla="*/ 2201610 h 5973007"/>
              <a:gd name="connsiteX36855" fmla="*/ 5552541 w 6884782"/>
              <a:gd name="connsiteY36855" fmla="*/ 2201042 h 5973007"/>
              <a:gd name="connsiteX36856" fmla="*/ 5551901 w 6884782"/>
              <a:gd name="connsiteY36856" fmla="*/ 2202749 h 5973007"/>
              <a:gd name="connsiteX36857" fmla="*/ 5543365 w 6884782"/>
              <a:gd name="connsiteY36857" fmla="*/ 2204741 h 5973007"/>
              <a:gd name="connsiteX36858" fmla="*/ 5541657 w 6884782"/>
              <a:gd name="connsiteY36858" fmla="*/ 2204883 h 5973007"/>
              <a:gd name="connsiteX36859" fmla="*/ 5543791 w 6884782"/>
              <a:gd name="connsiteY36859" fmla="*/ 2207017 h 5973007"/>
              <a:gd name="connsiteX36860" fmla="*/ 5555316 w 6884782"/>
              <a:gd name="connsiteY36860" fmla="*/ 2221813 h 5973007"/>
              <a:gd name="connsiteX36861" fmla="*/ 5556383 w 6884782"/>
              <a:gd name="connsiteY36861" fmla="*/ 2227361 h 5973007"/>
              <a:gd name="connsiteX36862" fmla="*/ 5560652 w 6884782"/>
              <a:gd name="connsiteY36862" fmla="*/ 2223662 h 5973007"/>
              <a:gd name="connsiteX36863" fmla="*/ 5564920 w 6884782"/>
              <a:gd name="connsiteY36863" fmla="*/ 2219821 h 5973007"/>
              <a:gd name="connsiteX36864" fmla="*/ 5572816 w 6884782"/>
              <a:gd name="connsiteY36864" fmla="*/ 2213419 h 5973007"/>
              <a:gd name="connsiteX36865" fmla="*/ 5574097 w 6884782"/>
              <a:gd name="connsiteY36865" fmla="*/ 2210004 h 5973007"/>
              <a:gd name="connsiteX36866" fmla="*/ 5574951 w 6884782"/>
              <a:gd name="connsiteY36866" fmla="*/ 2209578 h 5973007"/>
              <a:gd name="connsiteX36867" fmla="*/ 5574737 w 6884782"/>
              <a:gd name="connsiteY36867" fmla="*/ 2208155 h 5973007"/>
              <a:gd name="connsiteX36868" fmla="*/ 5575804 w 6884782"/>
              <a:gd name="connsiteY36868" fmla="*/ 2207870 h 5973007"/>
              <a:gd name="connsiteX36869" fmla="*/ 5575591 w 6884782"/>
              <a:gd name="connsiteY36869" fmla="*/ 2209009 h 5973007"/>
              <a:gd name="connsiteX36870" fmla="*/ 5577085 w 6884782"/>
              <a:gd name="connsiteY36870" fmla="*/ 2208013 h 5973007"/>
              <a:gd name="connsiteX36871" fmla="*/ 5584768 w 6884782"/>
              <a:gd name="connsiteY36871" fmla="*/ 2212850 h 5973007"/>
              <a:gd name="connsiteX36872" fmla="*/ 5584554 w 6884782"/>
              <a:gd name="connsiteY36872" fmla="*/ 2220390 h 5973007"/>
              <a:gd name="connsiteX36873" fmla="*/ 5573670 w 6884782"/>
              <a:gd name="connsiteY36873" fmla="*/ 2218683 h 5973007"/>
              <a:gd name="connsiteX36874" fmla="*/ 5573457 w 6884782"/>
              <a:gd name="connsiteY36874" fmla="*/ 2218398 h 5973007"/>
              <a:gd name="connsiteX36875" fmla="*/ 5573243 w 6884782"/>
              <a:gd name="connsiteY36875" fmla="*/ 2218541 h 5973007"/>
              <a:gd name="connsiteX36876" fmla="*/ 5564493 w 6884782"/>
              <a:gd name="connsiteY36876" fmla="*/ 2226650 h 5973007"/>
              <a:gd name="connsiteX36877" fmla="*/ 5562145 w 6884782"/>
              <a:gd name="connsiteY36877" fmla="*/ 2228072 h 5973007"/>
              <a:gd name="connsiteX36878" fmla="*/ 5559798 w 6884782"/>
              <a:gd name="connsiteY36878" fmla="*/ 2229637 h 5973007"/>
              <a:gd name="connsiteX36879" fmla="*/ 5555316 w 6884782"/>
              <a:gd name="connsiteY36879" fmla="*/ 2228215 h 5973007"/>
              <a:gd name="connsiteX36880" fmla="*/ 5555529 w 6884782"/>
              <a:gd name="connsiteY36880" fmla="*/ 2228072 h 5973007"/>
              <a:gd name="connsiteX36881" fmla="*/ 5551474 w 6884782"/>
              <a:gd name="connsiteY36881" fmla="*/ 2227646 h 5973007"/>
              <a:gd name="connsiteX36882" fmla="*/ 5543151 w 6884782"/>
              <a:gd name="connsiteY36882" fmla="*/ 2223093 h 5973007"/>
              <a:gd name="connsiteX36883" fmla="*/ 5536748 w 6884782"/>
              <a:gd name="connsiteY36883" fmla="*/ 2216549 h 5973007"/>
              <a:gd name="connsiteX36884" fmla="*/ 5535895 w 6884782"/>
              <a:gd name="connsiteY36884" fmla="*/ 2216264 h 5973007"/>
              <a:gd name="connsiteX36885" fmla="*/ 5530986 w 6884782"/>
              <a:gd name="connsiteY36885" fmla="*/ 2211854 h 5973007"/>
              <a:gd name="connsiteX36886" fmla="*/ 5530986 w 6884782"/>
              <a:gd name="connsiteY36886" fmla="*/ 2212139 h 5973007"/>
              <a:gd name="connsiteX36887" fmla="*/ 5527785 w 6884782"/>
              <a:gd name="connsiteY36887" fmla="*/ 2223947 h 5973007"/>
              <a:gd name="connsiteX36888" fmla="*/ 5526504 w 6884782"/>
              <a:gd name="connsiteY36888" fmla="*/ 2224374 h 5973007"/>
              <a:gd name="connsiteX36889" fmla="*/ 5524797 w 6884782"/>
              <a:gd name="connsiteY36889" fmla="*/ 2222382 h 5973007"/>
              <a:gd name="connsiteX36890" fmla="*/ 5525651 w 6884782"/>
              <a:gd name="connsiteY36890" fmla="*/ 2217118 h 5973007"/>
              <a:gd name="connsiteX36891" fmla="*/ 5528639 w 6884782"/>
              <a:gd name="connsiteY36891" fmla="*/ 2210574 h 5973007"/>
              <a:gd name="connsiteX36892" fmla="*/ 5529065 w 6884782"/>
              <a:gd name="connsiteY36892" fmla="*/ 2209720 h 5973007"/>
              <a:gd name="connsiteX36893" fmla="*/ 5520315 w 6884782"/>
              <a:gd name="connsiteY36893" fmla="*/ 2200188 h 5973007"/>
              <a:gd name="connsiteX36894" fmla="*/ 5517328 w 6884782"/>
              <a:gd name="connsiteY36894" fmla="*/ 2200330 h 5973007"/>
              <a:gd name="connsiteX36895" fmla="*/ 5517328 w 6884782"/>
              <a:gd name="connsiteY36895" fmla="*/ 2200615 h 5973007"/>
              <a:gd name="connsiteX36896" fmla="*/ 5511138 w 6884782"/>
              <a:gd name="connsiteY36896" fmla="*/ 2205025 h 5973007"/>
              <a:gd name="connsiteX36897" fmla="*/ 5507297 w 6884782"/>
              <a:gd name="connsiteY36897" fmla="*/ 2205737 h 5973007"/>
              <a:gd name="connsiteX36898" fmla="*/ 5507510 w 6884782"/>
              <a:gd name="connsiteY36898" fmla="*/ 2205879 h 5973007"/>
              <a:gd name="connsiteX36899" fmla="*/ 5507937 w 6884782"/>
              <a:gd name="connsiteY36899" fmla="*/ 2208155 h 5973007"/>
              <a:gd name="connsiteX36900" fmla="*/ 5503028 w 6884782"/>
              <a:gd name="connsiteY36900" fmla="*/ 2212708 h 5973007"/>
              <a:gd name="connsiteX36901" fmla="*/ 5507723 w 6884782"/>
              <a:gd name="connsiteY36901" fmla="*/ 2214557 h 5973007"/>
              <a:gd name="connsiteX36902" fmla="*/ 5497906 w 6884782"/>
              <a:gd name="connsiteY36902" fmla="*/ 2223093 h 5973007"/>
              <a:gd name="connsiteX36903" fmla="*/ 5498760 w 6884782"/>
              <a:gd name="connsiteY36903" fmla="*/ 2225654 h 5973007"/>
              <a:gd name="connsiteX36904" fmla="*/ 5503669 w 6884782"/>
              <a:gd name="connsiteY36904" fmla="*/ 2250836 h 5973007"/>
              <a:gd name="connsiteX36905" fmla="*/ 5491077 w 6884782"/>
              <a:gd name="connsiteY36905" fmla="*/ 2274452 h 5973007"/>
              <a:gd name="connsiteX36906" fmla="*/ 5458850 w 6884782"/>
              <a:gd name="connsiteY36906" fmla="*/ 2286403 h 5973007"/>
              <a:gd name="connsiteX36907" fmla="*/ 5439643 w 6884782"/>
              <a:gd name="connsiteY36907" fmla="*/ 2277155 h 5973007"/>
              <a:gd name="connsiteX36908" fmla="*/ 5431960 w 6884782"/>
              <a:gd name="connsiteY36908" fmla="*/ 2273456 h 5973007"/>
              <a:gd name="connsiteX36909" fmla="*/ 5428758 w 6884782"/>
              <a:gd name="connsiteY36909" fmla="*/ 2278435 h 5973007"/>
              <a:gd name="connsiteX36910" fmla="*/ 5425770 w 6884782"/>
              <a:gd name="connsiteY36910" fmla="*/ 2274452 h 5973007"/>
              <a:gd name="connsiteX36911" fmla="*/ 5427264 w 6884782"/>
              <a:gd name="connsiteY36911" fmla="*/ 2271180 h 5973007"/>
              <a:gd name="connsiteX36912" fmla="*/ 5420222 w 6884782"/>
              <a:gd name="connsiteY36912" fmla="*/ 2267908 h 5973007"/>
              <a:gd name="connsiteX36913" fmla="*/ 5419794 w 6884782"/>
              <a:gd name="connsiteY36913" fmla="*/ 2266058 h 5973007"/>
              <a:gd name="connsiteX36914" fmla="*/ 5416593 w 6884782"/>
              <a:gd name="connsiteY36914" fmla="*/ 2270184 h 5973007"/>
              <a:gd name="connsiteX36915" fmla="*/ 5415739 w 6884782"/>
              <a:gd name="connsiteY36915" fmla="*/ 2270042 h 5973007"/>
              <a:gd name="connsiteX36916" fmla="*/ 5415953 w 6884782"/>
              <a:gd name="connsiteY36916" fmla="*/ 2270326 h 5973007"/>
              <a:gd name="connsiteX36917" fmla="*/ 5414672 w 6884782"/>
              <a:gd name="connsiteY36917" fmla="*/ 2275306 h 5973007"/>
              <a:gd name="connsiteX36918" fmla="*/ 5411471 w 6884782"/>
              <a:gd name="connsiteY36918" fmla="*/ 2276871 h 5973007"/>
              <a:gd name="connsiteX36919" fmla="*/ 5404642 w 6884782"/>
              <a:gd name="connsiteY36919" fmla="*/ 2267197 h 5973007"/>
              <a:gd name="connsiteX36920" fmla="*/ 5404855 w 6884782"/>
              <a:gd name="connsiteY36920" fmla="*/ 2267197 h 5973007"/>
              <a:gd name="connsiteX36921" fmla="*/ 5403575 w 6884782"/>
              <a:gd name="connsiteY36921" fmla="*/ 2266769 h 5973007"/>
              <a:gd name="connsiteX36922" fmla="*/ 5401867 w 6884782"/>
              <a:gd name="connsiteY36922" fmla="*/ 2261506 h 5973007"/>
              <a:gd name="connsiteX36923" fmla="*/ 5403575 w 6884782"/>
              <a:gd name="connsiteY36923" fmla="*/ 2250978 h 5973007"/>
              <a:gd name="connsiteX36924" fmla="*/ 5401867 w 6884782"/>
              <a:gd name="connsiteY36924" fmla="*/ 2250978 h 5973007"/>
              <a:gd name="connsiteX36925" fmla="*/ 5407416 w 6884782"/>
              <a:gd name="connsiteY36925" fmla="*/ 2250124 h 5973007"/>
              <a:gd name="connsiteX36926" fmla="*/ 5411471 w 6884782"/>
              <a:gd name="connsiteY36926" fmla="*/ 2249413 h 5973007"/>
              <a:gd name="connsiteX36927" fmla="*/ 5412965 w 6884782"/>
              <a:gd name="connsiteY36927" fmla="*/ 2247706 h 5973007"/>
              <a:gd name="connsiteX36928" fmla="*/ 5410404 w 6884782"/>
              <a:gd name="connsiteY36928" fmla="*/ 2242868 h 5973007"/>
              <a:gd name="connsiteX36929" fmla="*/ 5406989 w 6884782"/>
              <a:gd name="connsiteY36929" fmla="*/ 2217545 h 5973007"/>
              <a:gd name="connsiteX36930" fmla="*/ 5407630 w 6884782"/>
              <a:gd name="connsiteY36930" fmla="*/ 2216976 h 5973007"/>
              <a:gd name="connsiteX36931" fmla="*/ 5411898 w 6884782"/>
              <a:gd name="connsiteY36931" fmla="*/ 2210289 h 5973007"/>
              <a:gd name="connsiteX36932" fmla="*/ 5416593 w 6884782"/>
              <a:gd name="connsiteY36932" fmla="*/ 2208582 h 5973007"/>
              <a:gd name="connsiteX36933" fmla="*/ 5418087 w 6884782"/>
              <a:gd name="connsiteY36933" fmla="*/ 2206305 h 5973007"/>
              <a:gd name="connsiteX36934" fmla="*/ 5424063 w 6884782"/>
              <a:gd name="connsiteY36934" fmla="*/ 2194924 h 5973007"/>
              <a:gd name="connsiteX36935" fmla="*/ 5439216 w 6884782"/>
              <a:gd name="connsiteY36935" fmla="*/ 2190941 h 5973007"/>
              <a:gd name="connsiteX36936" fmla="*/ 5443271 w 6884782"/>
              <a:gd name="connsiteY36936" fmla="*/ 2190798 h 5973007"/>
              <a:gd name="connsiteX36937" fmla="*/ 5437722 w 6884782"/>
              <a:gd name="connsiteY36937" fmla="*/ 2188237 h 5973007"/>
              <a:gd name="connsiteX36938" fmla="*/ 5434093 w 6884782"/>
              <a:gd name="connsiteY36938" fmla="*/ 2183400 h 5973007"/>
              <a:gd name="connsiteX36939" fmla="*/ 5433880 w 6884782"/>
              <a:gd name="connsiteY36939" fmla="*/ 2179986 h 5973007"/>
              <a:gd name="connsiteX36940" fmla="*/ 5432813 w 6884782"/>
              <a:gd name="connsiteY36940" fmla="*/ 2178705 h 5973007"/>
              <a:gd name="connsiteX36941" fmla="*/ 5429612 w 6884782"/>
              <a:gd name="connsiteY36941" fmla="*/ 2166755 h 5973007"/>
              <a:gd name="connsiteX36942" fmla="*/ 5432813 w 6884782"/>
              <a:gd name="connsiteY36942" fmla="*/ 2160779 h 5973007"/>
              <a:gd name="connsiteX36943" fmla="*/ 5432386 w 6884782"/>
              <a:gd name="connsiteY36943" fmla="*/ 2160210 h 5973007"/>
              <a:gd name="connsiteX36944" fmla="*/ 5438149 w 6884782"/>
              <a:gd name="connsiteY36944" fmla="*/ 2154804 h 5973007"/>
              <a:gd name="connsiteX36945" fmla="*/ 5021767 w 6884782"/>
              <a:gd name="connsiteY36945" fmla="*/ 2153951 h 5973007"/>
              <a:gd name="connsiteX36946" fmla="*/ 5027742 w 6884782"/>
              <a:gd name="connsiteY36946" fmla="*/ 2156796 h 5973007"/>
              <a:gd name="connsiteX36947" fmla="*/ 5020059 w 6884782"/>
              <a:gd name="connsiteY36947" fmla="*/ 2163198 h 5973007"/>
              <a:gd name="connsiteX36948" fmla="*/ 5016218 w 6884782"/>
              <a:gd name="connsiteY36948" fmla="*/ 2156369 h 5973007"/>
              <a:gd name="connsiteX36949" fmla="*/ 5021767 w 6884782"/>
              <a:gd name="connsiteY36949" fmla="*/ 2153951 h 5973007"/>
              <a:gd name="connsiteX36950" fmla="*/ 6164843 w 6884782"/>
              <a:gd name="connsiteY36950" fmla="*/ 2153666 h 5973007"/>
              <a:gd name="connsiteX36951" fmla="*/ 6168685 w 6884782"/>
              <a:gd name="connsiteY36951" fmla="*/ 2154804 h 5973007"/>
              <a:gd name="connsiteX36952" fmla="*/ 6170819 w 6884782"/>
              <a:gd name="connsiteY36952" fmla="*/ 2161491 h 5973007"/>
              <a:gd name="connsiteX36953" fmla="*/ 6158654 w 6884782"/>
              <a:gd name="connsiteY36953" fmla="*/ 2162913 h 5973007"/>
              <a:gd name="connsiteX36954" fmla="*/ 6164843 w 6884782"/>
              <a:gd name="connsiteY36954" fmla="*/ 2153666 h 5973007"/>
              <a:gd name="connsiteX36955" fmla="*/ 766264 w 6884782"/>
              <a:gd name="connsiteY36955" fmla="*/ 2153545 h 5973007"/>
              <a:gd name="connsiteX36956" fmla="*/ 774525 w 6884782"/>
              <a:gd name="connsiteY36956" fmla="*/ 2156798 h 5973007"/>
              <a:gd name="connsiteX36957" fmla="*/ 768020 w 6884782"/>
              <a:gd name="connsiteY36957" fmla="*/ 2168570 h 5973007"/>
              <a:gd name="connsiteX36958" fmla="*/ 761721 w 6884782"/>
              <a:gd name="connsiteY36958" fmla="*/ 2164853 h 5973007"/>
              <a:gd name="connsiteX36959" fmla="*/ 761928 w 6884782"/>
              <a:gd name="connsiteY36959" fmla="*/ 2162839 h 5973007"/>
              <a:gd name="connsiteX36960" fmla="*/ 766264 w 6884782"/>
              <a:gd name="connsiteY36960" fmla="*/ 2153545 h 5973007"/>
              <a:gd name="connsiteX36961" fmla="*/ 5711113 w 6884782"/>
              <a:gd name="connsiteY36961" fmla="*/ 2152954 h 5973007"/>
              <a:gd name="connsiteX36962" fmla="*/ 5707698 w 6884782"/>
              <a:gd name="connsiteY36962" fmla="*/ 2160353 h 5973007"/>
              <a:gd name="connsiteX36963" fmla="*/ 5709405 w 6884782"/>
              <a:gd name="connsiteY36963" fmla="*/ 2162771 h 5973007"/>
              <a:gd name="connsiteX36964" fmla="*/ 5707698 w 6884782"/>
              <a:gd name="connsiteY36964" fmla="*/ 2168320 h 5973007"/>
              <a:gd name="connsiteX36965" fmla="*/ 5705350 w 6884782"/>
              <a:gd name="connsiteY36965" fmla="*/ 2164336 h 5973007"/>
              <a:gd name="connsiteX36966" fmla="*/ 5705350 w 6884782"/>
              <a:gd name="connsiteY36966" fmla="*/ 2163625 h 5973007"/>
              <a:gd name="connsiteX36967" fmla="*/ 5701295 w 6884782"/>
              <a:gd name="connsiteY36967" fmla="*/ 2169600 h 5973007"/>
              <a:gd name="connsiteX36968" fmla="*/ 5696813 w 6884782"/>
              <a:gd name="connsiteY36968" fmla="*/ 2177425 h 5973007"/>
              <a:gd name="connsiteX36969" fmla="*/ 5693399 w 6884782"/>
              <a:gd name="connsiteY36969" fmla="*/ 2178278 h 5973007"/>
              <a:gd name="connsiteX36970" fmla="*/ 5692759 w 6884782"/>
              <a:gd name="connsiteY36970" fmla="*/ 2179275 h 5973007"/>
              <a:gd name="connsiteX36971" fmla="*/ 5691264 w 6884782"/>
              <a:gd name="connsiteY36971" fmla="*/ 2179559 h 5973007"/>
              <a:gd name="connsiteX36972" fmla="*/ 5691051 w 6884782"/>
              <a:gd name="connsiteY36972" fmla="*/ 2179843 h 5973007"/>
              <a:gd name="connsiteX36973" fmla="*/ 5690411 w 6884782"/>
              <a:gd name="connsiteY36973" fmla="*/ 2180413 h 5973007"/>
              <a:gd name="connsiteX36974" fmla="*/ 5696387 w 6884782"/>
              <a:gd name="connsiteY36974" fmla="*/ 2183827 h 5973007"/>
              <a:gd name="connsiteX36975" fmla="*/ 5696387 w 6884782"/>
              <a:gd name="connsiteY36975" fmla="*/ 2191367 h 5973007"/>
              <a:gd name="connsiteX36976" fmla="*/ 5693185 w 6884782"/>
              <a:gd name="connsiteY36976" fmla="*/ 2190941 h 5973007"/>
              <a:gd name="connsiteX36977" fmla="*/ 5692759 w 6884782"/>
              <a:gd name="connsiteY36977" fmla="*/ 2196062 h 5973007"/>
              <a:gd name="connsiteX36978" fmla="*/ 5688063 w 6884782"/>
              <a:gd name="connsiteY36978" fmla="*/ 2207586 h 5973007"/>
              <a:gd name="connsiteX36979" fmla="*/ 5687850 w 6884782"/>
              <a:gd name="connsiteY36979" fmla="*/ 2210289 h 5973007"/>
              <a:gd name="connsiteX36980" fmla="*/ 5688917 w 6884782"/>
              <a:gd name="connsiteY36980" fmla="*/ 2194639 h 5973007"/>
              <a:gd name="connsiteX36981" fmla="*/ 5689984 w 6884782"/>
              <a:gd name="connsiteY36981" fmla="*/ 2190371 h 5973007"/>
              <a:gd name="connsiteX36982" fmla="*/ 5688490 w 6884782"/>
              <a:gd name="connsiteY36982" fmla="*/ 2190229 h 5973007"/>
              <a:gd name="connsiteX36983" fmla="*/ 5686356 w 6884782"/>
              <a:gd name="connsiteY36983" fmla="*/ 2188949 h 5973007"/>
              <a:gd name="connsiteX36984" fmla="*/ 5683795 w 6884782"/>
              <a:gd name="connsiteY36984" fmla="*/ 2189518 h 5973007"/>
              <a:gd name="connsiteX36985" fmla="*/ 5683581 w 6884782"/>
              <a:gd name="connsiteY36985" fmla="*/ 2189944 h 5973007"/>
              <a:gd name="connsiteX36986" fmla="*/ 5683155 w 6884782"/>
              <a:gd name="connsiteY36986" fmla="*/ 2194213 h 5973007"/>
              <a:gd name="connsiteX36987" fmla="*/ 5680807 w 6884782"/>
              <a:gd name="connsiteY36987" fmla="*/ 2195066 h 5973007"/>
              <a:gd name="connsiteX36988" fmla="*/ 5679740 w 6884782"/>
              <a:gd name="connsiteY36988" fmla="*/ 2191367 h 5973007"/>
              <a:gd name="connsiteX36989" fmla="*/ 5682941 w 6884782"/>
              <a:gd name="connsiteY36989" fmla="*/ 2189518 h 5973007"/>
              <a:gd name="connsiteX36990" fmla="*/ 5673550 w 6884782"/>
              <a:gd name="connsiteY36990" fmla="*/ 2191225 h 5973007"/>
              <a:gd name="connsiteX36991" fmla="*/ 5670136 w 6884782"/>
              <a:gd name="connsiteY36991" fmla="*/ 2190656 h 5973007"/>
              <a:gd name="connsiteX36992" fmla="*/ 5670349 w 6884782"/>
              <a:gd name="connsiteY36992" fmla="*/ 2192079 h 5973007"/>
              <a:gd name="connsiteX36993" fmla="*/ 5663947 w 6884782"/>
              <a:gd name="connsiteY36993" fmla="*/ 2190087 h 5973007"/>
              <a:gd name="connsiteX36994" fmla="*/ 5663947 w 6884782"/>
              <a:gd name="connsiteY36994" fmla="*/ 2189660 h 5973007"/>
              <a:gd name="connsiteX36995" fmla="*/ 5657971 w 6884782"/>
              <a:gd name="connsiteY36995" fmla="*/ 2188664 h 5973007"/>
              <a:gd name="connsiteX36996" fmla="*/ 5649220 w 6884782"/>
              <a:gd name="connsiteY36996" fmla="*/ 2183827 h 5973007"/>
              <a:gd name="connsiteX36997" fmla="*/ 5671630 w 6884782"/>
              <a:gd name="connsiteY36997" fmla="*/ 2177283 h 5973007"/>
              <a:gd name="connsiteX36998" fmla="*/ 5672270 w 6884782"/>
              <a:gd name="connsiteY36998" fmla="*/ 2154377 h 5973007"/>
              <a:gd name="connsiteX36999" fmla="*/ 5680167 w 6884782"/>
              <a:gd name="connsiteY36999" fmla="*/ 2171449 h 5973007"/>
              <a:gd name="connsiteX37000" fmla="*/ 5681020 w 6884782"/>
              <a:gd name="connsiteY37000" fmla="*/ 2174438 h 5973007"/>
              <a:gd name="connsiteX37001" fmla="*/ 5682941 w 6884782"/>
              <a:gd name="connsiteY37001" fmla="*/ 2176002 h 5973007"/>
              <a:gd name="connsiteX37002" fmla="*/ 5689771 w 6884782"/>
              <a:gd name="connsiteY37002" fmla="*/ 2179986 h 5973007"/>
              <a:gd name="connsiteX37003" fmla="*/ 5690411 w 6884782"/>
              <a:gd name="connsiteY37003" fmla="*/ 2179559 h 5973007"/>
              <a:gd name="connsiteX37004" fmla="*/ 5690411 w 6884782"/>
              <a:gd name="connsiteY37004" fmla="*/ 2179132 h 5973007"/>
              <a:gd name="connsiteX37005" fmla="*/ 5690197 w 6884782"/>
              <a:gd name="connsiteY37005" fmla="*/ 2178990 h 5973007"/>
              <a:gd name="connsiteX37006" fmla="*/ 5690411 w 6884782"/>
              <a:gd name="connsiteY37006" fmla="*/ 2178136 h 5973007"/>
              <a:gd name="connsiteX37007" fmla="*/ 5690411 w 6884782"/>
              <a:gd name="connsiteY37007" fmla="*/ 2176998 h 5973007"/>
              <a:gd name="connsiteX37008" fmla="*/ 5690624 w 6884782"/>
              <a:gd name="connsiteY37008" fmla="*/ 2176856 h 5973007"/>
              <a:gd name="connsiteX37009" fmla="*/ 5690838 w 6884782"/>
              <a:gd name="connsiteY37009" fmla="*/ 2175576 h 5973007"/>
              <a:gd name="connsiteX37010" fmla="*/ 5693185 w 6884782"/>
              <a:gd name="connsiteY37010" fmla="*/ 2172303 h 5973007"/>
              <a:gd name="connsiteX37011" fmla="*/ 5696600 w 6884782"/>
              <a:gd name="connsiteY37011" fmla="*/ 2167039 h 5973007"/>
              <a:gd name="connsiteX37012" fmla="*/ 5711113 w 6884782"/>
              <a:gd name="connsiteY37012" fmla="*/ 2152954 h 5973007"/>
              <a:gd name="connsiteX37013" fmla="*/ 1165866 w 6884782"/>
              <a:gd name="connsiteY37013" fmla="*/ 2150293 h 5973007"/>
              <a:gd name="connsiteX37014" fmla="*/ 1166279 w 6884782"/>
              <a:gd name="connsiteY37014" fmla="*/ 2155094 h 5973007"/>
              <a:gd name="connsiteX37015" fmla="*/ 1162769 w 6884782"/>
              <a:gd name="connsiteY37015" fmla="*/ 2154785 h 5973007"/>
              <a:gd name="connsiteX37016" fmla="*/ 1165866 w 6884782"/>
              <a:gd name="connsiteY37016" fmla="*/ 2150293 h 5973007"/>
              <a:gd name="connsiteX37017" fmla="*/ 842261 w 6884782"/>
              <a:gd name="connsiteY37017" fmla="*/ 2149983 h 5973007"/>
              <a:gd name="connsiteX37018" fmla="*/ 831316 w 6884782"/>
              <a:gd name="connsiteY37018" fmla="*/ 2161290 h 5973007"/>
              <a:gd name="connsiteX37019" fmla="*/ 826257 w 6884782"/>
              <a:gd name="connsiteY37019" fmla="*/ 2158967 h 5973007"/>
              <a:gd name="connsiteX37020" fmla="*/ 842261 w 6884782"/>
              <a:gd name="connsiteY37020" fmla="*/ 2149983 h 5973007"/>
              <a:gd name="connsiteX37021" fmla="*/ 957289 w 6884782"/>
              <a:gd name="connsiteY37021" fmla="*/ 2149518 h 5973007"/>
              <a:gd name="connsiteX37022" fmla="*/ 957701 w 6884782"/>
              <a:gd name="connsiteY37022" fmla="*/ 2158192 h 5973007"/>
              <a:gd name="connsiteX37023" fmla="*/ 953985 w 6884782"/>
              <a:gd name="connsiteY37023" fmla="*/ 2157728 h 5973007"/>
              <a:gd name="connsiteX37024" fmla="*/ 952539 w 6884782"/>
              <a:gd name="connsiteY37024" fmla="*/ 2153545 h 5973007"/>
              <a:gd name="connsiteX37025" fmla="*/ 954088 w 6884782"/>
              <a:gd name="connsiteY37025" fmla="*/ 2150138 h 5973007"/>
              <a:gd name="connsiteX37026" fmla="*/ 957289 w 6884782"/>
              <a:gd name="connsiteY37026" fmla="*/ 2149518 h 5973007"/>
              <a:gd name="connsiteX37027" fmla="*/ 5444551 w 6884782"/>
              <a:gd name="connsiteY37027" fmla="*/ 2148971 h 5973007"/>
              <a:gd name="connsiteX37028" fmla="*/ 5447112 w 6884782"/>
              <a:gd name="connsiteY37028" fmla="*/ 2150678 h 5973007"/>
              <a:gd name="connsiteX37029" fmla="*/ 5444551 w 6884782"/>
              <a:gd name="connsiteY37029" fmla="*/ 2157081 h 5973007"/>
              <a:gd name="connsiteX37030" fmla="*/ 5441136 w 6884782"/>
              <a:gd name="connsiteY37030" fmla="*/ 2156084 h 5973007"/>
              <a:gd name="connsiteX37031" fmla="*/ 5444551 w 6884782"/>
              <a:gd name="connsiteY37031" fmla="*/ 2148971 h 5973007"/>
              <a:gd name="connsiteX37032" fmla="*/ 5595225 w 6884782"/>
              <a:gd name="connsiteY37032" fmla="*/ 2148687 h 5973007"/>
              <a:gd name="connsiteX37033" fmla="*/ 5594158 w 6884782"/>
              <a:gd name="connsiteY37033" fmla="*/ 2150963 h 5973007"/>
              <a:gd name="connsiteX37034" fmla="*/ 5592025 w 6884782"/>
              <a:gd name="connsiteY37034" fmla="*/ 2153239 h 5973007"/>
              <a:gd name="connsiteX37035" fmla="*/ 5592025 w 6884782"/>
              <a:gd name="connsiteY37035" fmla="*/ 2155516 h 5973007"/>
              <a:gd name="connsiteX37036" fmla="*/ 5589250 w 6884782"/>
              <a:gd name="connsiteY37036" fmla="*/ 2159499 h 5973007"/>
              <a:gd name="connsiteX37037" fmla="*/ 5590317 w 6884782"/>
              <a:gd name="connsiteY37037" fmla="*/ 2159641 h 5973007"/>
              <a:gd name="connsiteX37038" fmla="*/ 5603336 w 6884782"/>
              <a:gd name="connsiteY37038" fmla="*/ 2164763 h 5973007"/>
              <a:gd name="connsiteX37039" fmla="*/ 5604189 w 6884782"/>
              <a:gd name="connsiteY37039" fmla="*/ 2168462 h 5973007"/>
              <a:gd name="connsiteX37040" fmla="*/ 5596933 w 6884782"/>
              <a:gd name="connsiteY37040" fmla="*/ 2178990 h 5973007"/>
              <a:gd name="connsiteX37041" fmla="*/ 5592025 w 6884782"/>
              <a:gd name="connsiteY37041" fmla="*/ 2180982 h 5973007"/>
              <a:gd name="connsiteX37042" fmla="*/ 5594158 w 6884782"/>
              <a:gd name="connsiteY37042" fmla="*/ 2181408 h 5973007"/>
              <a:gd name="connsiteX37043" fmla="*/ 5597146 w 6884782"/>
              <a:gd name="connsiteY37043" fmla="*/ 2183116 h 5973007"/>
              <a:gd name="connsiteX37044" fmla="*/ 5593945 w 6884782"/>
              <a:gd name="connsiteY37044" fmla="*/ 2182120 h 5973007"/>
              <a:gd name="connsiteX37045" fmla="*/ 5591811 w 6884782"/>
              <a:gd name="connsiteY37045" fmla="*/ 2183116 h 5973007"/>
              <a:gd name="connsiteX37046" fmla="*/ 5590317 w 6884782"/>
              <a:gd name="connsiteY37046" fmla="*/ 2182405 h 5973007"/>
              <a:gd name="connsiteX37047" fmla="*/ 5589890 w 6884782"/>
              <a:gd name="connsiteY37047" fmla="*/ 2181693 h 5973007"/>
              <a:gd name="connsiteX37048" fmla="*/ 5582847 w 6884782"/>
              <a:gd name="connsiteY37048" fmla="*/ 2181693 h 5973007"/>
              <a:gd name="connsiteX37049" fmla="*/ 5575804 w 6884782"/>
              <a:gd name="connsiteY37049" fmla="*/ 2179843 h 5973007"/>
              <a:gd name="connsiteX37050" fmla="*/ 5575591 w 6884782"/>
              <a:gd name="connsiteY37050" fmla="*/ 2179843 h 5973007"/>
              <a:gd name="connsiteX37051" fmla="*/ 5572816 w 6884782"/>
              <a:gd name="connsiteY37051" fmla="*/ 2179132 h 5973007"/>
              <a:gd name="connsiteX37052" fmla="*/ 5565347 w 6884782"/>
              <a:gd name="connsiteY37052" fmla="*/ 2174580 h 5973007"/>
              <a:gd name="connsiteX37053" fmla="*/ 5565774 w 6884782"/>
              <a:gd name="connsiteY37053" fmla="*/ 2175006 h 5973007"/>
              <a:gd name="connsiteX37054" fmla="*/ 5562999 w 6884782"/>
              <a:gd name="connsiteY37054" fmla="*/ 2183258 h 5973007"/>
              <a:gd name="connsiteX37055" fmla="*/ 5560438 w 6884782"/>
              <a:gd name="connsiteY37055" fmla="*/ 2183970 h 5973007"/>
              <a:gd name="connsiteX37056" fmla="*/ 5562145 w 6884782"/>
              <a:gd name="connsiteY37056" fmla="*/ 2187099 h 5973007"/>
              <a:gd name="connsiteX37057" fmla="*/ 5572176 w 6884782"/>
              <a:gd name="connsiteY37057" fmla="*/ 2188095 h 5973007"/>
              <a:gd name="connsiteX37058" fmla="*/ 5574524 w 6884782"/>
              <a:gd name="connsiteY37058" fmla="*/ 2189660 h 5973007"/>
              <a:gd name="connsiteX37059" fmla="*/ 5576871 w 6884782"/>
              <a:gd name="connsiteY37059" fmla="*/ 2189518 h 5973007"/>
              <a:gd name="connsiteX37060" fmla="*/ 5576018 w 6884782"/>
              <a:gd name="connsiteY37060" fmla="*/ 2190941 h 5973007"/>
              <a:gd name="connsiteX37061" fmla="*/ 5576445 w 6884782"/>
              <a:gd name="connsiteY37061" fmla="*/ 2191083 h 5973007"/>
              <a:gd name="connsiteX37062" fmla="*/ 5576018 w 6884782"/>
              <a:gd name="connsiteY37062" fmla="*/ 2191367 h 5973007"/>
              <a:gd name="connsiteX37063" fmla="*/ 5576445 w 6884782"/>
              <a:gd name="connsiteY37063" fmla="*/ 2192079 h 5973007"/>
              <a:gd name="connsiteX37064" fmla="*/ 5576658 w 6884782"/>
              <a:gd name="connsiteY37064" fmla="*/ 2194924 h 5973007"/>
              <a:gd name="connsiteX37065" fmla="*/ 5574524 w 6884782"/>
              <a:gd name="connsiteY37065" fmla="*/ 2196631 h 5973007"/>
              <a:gd name="connsiteX37066" fmla="*/ 5573457 w 6884782"/>
              <a:gd name="connsiteY37066" fmla="*/ 2196773 h 5973007"/>
              <a:gd name="connsiteX37067" fmla="*/ 5574097 w 6884782"/>
              <a:gd name="connsiteY37067" fmla="*/ 2197911 h 5973007"/>
              <a:gd name="connsiteX37068" fmla="*/ 5573670 w 6884782"/>
              <a:gd name="connsiteY37068" fmla="*/ 2200046 h 5973007"/>
              <a:gd name="connsiteX37069" fmla="*/ 5558731 w 6884782"/>
              <a:gd name="connsiteY37069" fmla="*/ 2203602 h 5973007"/>
              <a:gd name="connsiteX37070" fmla="*/ 5560652 w 6884782"/>
              <a:gd name="connsiteY37070" fmla="*/ 2193217 h 5973007"/>
              <a:gd name="connsiteX37071" fmla="*/ 5562999 w 6884782"/>
              <a:gd name="connsiteY37071" fmla="*/ 2190941 h 5973007"/>
              <a:gd name="connsiteX37072" fmla="*/ 5562572 w 6884782"/>
              <a:gd name="connsiteY37072" fmla="*/ 2190656 h 5973007"/>
              <a:gd name="connsiteX37073" fmla="*/ 5562145 w 6884782"/>
              <a:gd name="connsiteY37073" fmla="*/ 2187952 h 5973007"/>
              <a:gd name="connsiteX37074" fmla="*/ 5562145 w 6884782"/>
              <a:gd name="connsiteY37074" fmla="*/ 2189944 h 5973007"/>
              <a:gd name="connsiteX37075" fmla="*/ 5560438 w 6884782"/>
              <a:gd name="connsiteY37075" fmla="*/ 2191794 h 5973007"/>
              <a:gd name="connsiteX37076" fmla="*/ 5557877 w 6884782"/>
              <a:gd name="connsiteY37076" fmla="*/ 2191652 h 5973007"/>
              <a:gd name="connsiteX37077" fmla="*/ 5554249 w 6884782"/>
              <a:gd name="connsiteY37077" fmla="*/ 2189233 h 5973007"/>
              <a:gd name="connsiteX37078" fmla="*/ 5553609 w 6884782"/>
              <a:gd name="connsiteY37078" fmla="*/ 2185961 h 5973007"/>
              <a:gd name="connsiteX37079" fmla="*/ 5554676 w 6884782"/>
              <a:gd name="connsiteY37079" fmla="*/ 2184965 h 5973007"/>
              <a:gd name="connsiteX37080" fmla="*/ 5553609 w 6884782"/>
              <a:gd name="connsiteY37080" fmla="*/ 2183827 h 5973007"/>
              <a:gd name="connsiteX37081" fmla="*/ 5551901 w 6884782"/>
              <a:gd name="connsiteY37081" fmla="*/ 2178848 h 5973007"/>
              <a:gd name="connsiteX37082" fmla="*/ 5555743 w 6884782"/>
              <a:gd name="connsiteY37082" fmla="*/ 2183542 h 5973007"/>
              <a:gd name="connsiteX37083" fmla="*/ 5554249 w 6884782"/>
              <a:gd name="connsiteY37083" fmla="*/ 2177567 h 5973007"/>
              <a:gd name="connsiteX37084" fmla="*/ 5556169 w 6884782"/>
              <a:gd name="connsiteY37084" fmla="*/ 2170596 h 5973007"/>
              <a:gd name="connsiteX37085" fmla="*/ 5561719 w 6884782"/>
              <a:gd name="connsiteY37085" fmla="*/ 2171449 h 5973007"/>
              <a:gd name="connsiteX37086" fmla="*/ 5561292 w 6884782"/>
              <a:gd name="connsiteY37086" fmla="*/ 2171023 h 5973007"/>
              <a:gd name="connsiteX37087" fmla="*/ 5581780 w 6884782"/>
              <a:gd name="connsiteY37087" fmla="*/ 2158503 h 5973007"/>
              <a:gd name="connsiteX37088" fmla="*/ 5584982 w 6884782"/>
              <a:gd name="connsiteY37088" fmla="*/ 2158930 h 5973007"/>
              <a:gd name="connsiteX37089" fmla="*/ 5585622 w 6884782"/>
              <a:gd name="connsiteY37089" fmla="*/ 2157649 h 5973007"/>
              <a:gd name="connsiteX37090" fmla="*/ 5587542 w 6884782"/>
              <a:gd name="connsiteY37090" fmla="*/ 2155373 h 5973007"/>
              <a:gd name="connsiteX37091" fmla="*/ 5589677 w 6884782"/>
              <a:gd name="connsiteY37091" fmla="*/ 2153239 h 5973007"/>
              <a:gd name="connsiteX37092" fmla="*/ 5590744 w 6884782"/>
              <a:gd name="connsiteY37092" fmla="*/ 2150821 h 5973007"/>
              <a:gd name="connsiteX37093" fmla="*/ 5595225 w 6884782"/>
              <a:gd name="connsiteY37093" fmla="*/ 2148687 h 5973007"/>
              <a:gd name="connsiteX37094" fmla="*/ 5356196 w 6884782"/>
              <a:gd name="connsiteY37094" fmla="*/ 2148687 h 5973007"/>
              <a:gd name="connsiteX37095" fmla="*/ 5360251 w 6884782"/>
              <a:gd name="connsiteY37095" fmla="*/ 2149113 h 5973007"/>
              <a:gd name="connsiteX37096" fmla="*/ 5361317 w 6884782"/>
              <a:gd name="connsiteY37096" fmla="*/ 2151817 h 5973007"/>
              <a:gd name="connsiteX37097" fmla="*/ 5361958 w 6884782"/>
              <a:gd name="connsiteY37097" fmla="*/ 2155516 h 5973007"/>
              <a:gd name="connsiteX37098" fmla="*/ 5361317 w 6884782"/>
              <a:gd name="connsiteY37098" fmla="*/ 2156084 h 5973007"/>
              <a:gd name="connsiteX37099" fmla="*/ 5365372 w 6884782"/>
              <a:gd name="connsiteY37099" fmla="*/ 2159641 h 5973007"/>
              <a:gd name="connsiteX37100" fmla="*/ 5336987 w 6884782"/>
              <a:gd name="connsiteY37100" fmla="*/ 2179416 h 5973007"/>
              <a:gd name="connsiteX37101" fmla="*/ 5348512 w 6884782"/>
              <a:gd name="connsiteY37101" fmla="*/ 2155658 h 5973007"/>
              <a:gd name="connsiteX37102" fmla="*/ 5350646 w 6884782"/>
              <a:gd name="connsiteY37102" fmla="*/ 2154662 h 5973007"/>
              <a:gd name="connsiteX37103" fmla="*/ 5351073 w 6884782"/>
              <a:gd name="connsiteY37103" fmla="*/ 2152244 h 5973007"/>
              <a:gd name="connsiteX37104" fmla="*/ 5356196 w 6884782"/>
              <a:gd name="connsiteY37104" fmla="*/ 2148687 h 5973007"/>
              <a:gd name="connsiteX37105" fmla="*/ 4983351 w 6884782"/>
              <a:gd name="connsiteY37105" fmla="*/ 2148260 h 5973007"/>
              <a:gd name="connsiteX37106" fmla="*/ 4985699 w 6884782"/>
              <a:gd name="connsiteY37106" fmla="*/ 2149398 h 5973007"/>
              <a:gd name="connsiteX37107" fmla="*/ 4981644 w 6884782"/>
              <a:gd name="connsiteY37107" fmla="*/ 2153381 h 5973007"/>
              <a:gd name="connsiteX37108" fmla="*/ 4979723 w 6884782"/>
              <a:gd name="connsiteY37108" fmla="*/ 2150394 h 5973007"/>
              <a:gd name="connsiteX37109" fmla="*/ 4983351 w 6884782"/>
              <a:gd name="connsiteY37109" fmla="*/ 2148260 h 5973007"/>
              <a:gd name="connsiteX37110" fmla="*/ 5174575 w 6884782"/>
              <a:gd name="connsiteY37110" fmla="*/ 2148118 h 5973007"/>
              <a:gd name="connsiteX37111" fmla="*/ 5176282 w 6884782"/>
              <a:gd name="connsiteY37111" fmla="*/ 2150394 h 5973007"/>
              <a:gd name="connsiteX37112" fmla="*/ 5172868 w 6884782"/>
              <a:gd name="connsiteY37112" fmla="*/ 2157649 h 5973007"/>
              <a:gd name="connsiteX37113" fmla="*/ 5166892 w 6884782"/>
              <a:gd name="connsiteY37113" fmla="*/ 2153524 h 5973007"/>
              <a:gd name="connsiteX37114" fmla="*/ 5174575 w 6884782"/>
              <a:gd name="connsiteY37114" fmla="*/ 2148118 h 5973007"/>
              <a:gd name="connsiteX37115" fmla="*/ 1026057 w 6884782"/>
              <a:gd name="connsiteY37115" fmla="*/ 2147195 h 5973007"/>
              <a:gd name="connsiteX37116" fmla="*/ 1033698 w 6884782"/>
              <a:gd name="connsiteY37116" fmla="*/ 2154630 h 5973007"/>
              <a:gd name="connsiteX37117" fmla="*/ 1035970 w 6884782"/>
              <a:gd name="connsiteY37117" fmla="*/ 2164698 h 5973007"/>
              <a:gd name="connsiteX37118" fmla="*/ 1026057 w 6884782"/>
              <a:gd name="connsiteY37118" fmla="*/ 2147195 h 5973007"/>
              <a:gd name="connsiteX37119" fmla="*/ 5670136 w 6884782"/>
              <a:gd name="connsiteY37119" fmla="*/ 2147122 h 5973007"/>
              <a:gd name="connsiteX37120" fmla="*/ 5671630 w 6884782"/>
              <a:gd name="connsiteY37120" fmla="*/ 2147549 h 5973007"/>
              <a:gd name="connsiteX37121" fmla="*/ 5671630 w 6884782"/>
              <a:gd name="connsiteY37121" fmla="*/ 2148687 h 5973007"/>
              <a:gd name="connsiteX37122" fmla="*/ 5669496 w 6884782"/>
              <a:gd name="connsiteY37122" fmla="*/ 2147549 h 5973007"/>
              <a:gd name="connsiteX37123" fmla="*/ 5670136 w 6884782"/>
              <a:gd name="connsiteY37123" fmla="*/ 2147122 h 5973007"/>
              <a:gd name="connsiteX37124" fmla="*/ 5803950 w 6884782"/>
              <a:gd name="connsiteY37124" fmla="*/ 2146980 h 5973007"/>
              <a:gd name="connsiteX37125" fmla="*/ 5809499 w 6884782"/>
              <a:gd name="connsiteY37125" fmla="*/ 2150109 h 5973007"/>
              <a:gd name="connsiteX37126" fmla="*/ 5813554 w 6884782"/>
              <a:gd name="connsiteY37126" fmla="*/ 2151532 h 5973007"/>
              <a:gd name="connsiteX37127" fmla="*/ 5814621 w 6884782"/>
              <a:gd name="connsiteY37127" fmla="*/ 2154946 h 5973007"/>
              <a:gd name="connsiteX37128" fmla="*/ 5804590 w 6884782"/>
              <a:gd name="connsiteY37128" fmla="*/ 2155943 h 5973007"/>
              <a:gd name="connsiteX37129" fmla="*/ 5798828 w 6884782"/>
              <a:gd name="connsiteY37129" fmla="*/ 2150109 h 5973007"/>
              <a:gd name="connsiteX37130" fmla="*/ 5803950 w 6884782"/>
              <a:gd name="connsiteY37130" fmla="*/ 2146980 h 5973007"/>
              <a:gd name="connsiteX37131" fmla="*/ 1067876 w 6884782"/>
              <a:gd name="connsiteY37131" fmla="*/ 2146885 h 5973007"/>
              <a:gd name="connsiteX37132" fmla="*/ 1076550 w 6884782"/>
              <a:gd name="connsiteY37132" fmla="*/ 2149053 h 5973007"/>
              <a:gd name="connsiteX37133" fmla="*/ 1072213 w 6884782"/>
              <a:gd name="connsiteY37133" fmla="*/ 2157418 h 5973007"/>
              <a:gd name="connsiteX37134" fmla="*/ 1066018 w 6884782"/>
              <a:gd name="connsiteY37134" fmla="*/ 2149828 h 5973007"/>
              <a:gd name="connsiteX37135" fmla="*/ 1067876 w 6884782"/>
              <a:gd name="connsiteY37135" fmla="*/ 2146885 h 5973007"/>
              <a:gd name="connsiteX37136" fmla="*/ 5046523 w 6884782"/>
              <a:gd name="connsiteY37136" fmla="*/ 2144134 h 5973007"/>
              <a:gd name="connsiteX37137" fmla="*/ 5058261 w 6884782"/>
              <a:gd name="connsiteY37137" fmla="*/ 2150536 h 5973007"/>
              <a:gd name="connsiteX37138" fmla="*/ 5036492 w 6884782"/>
              <a:gd name="connsiteY37138" fmla="*/ 2204029 h 5973007"/>
              <a:gd name="connsiteX37139" fmla="*/ 5034999 w 6884782"/>
              <a:gd name="connsiteY37139" fmla="*/ 2194497 h 5973007"/>
              <a:gd name="connsiteX37140" fmla="*/ 5033932 w 6884782"/>
              <a:gd name="connsiteY37140" fmla="*/ 2194924 h 5973007"/>
              <a:gd name="connsiteX37141" fmla="*/ 5027956 w 6884782"/>
              <a:gd name="connsiteY37141" fmla="*/ 2205737 h 5973007"/>
              <a:gd name="connsiteX37142" fmla="*/ 5017285 w 6884782"/>
              <a:gd name="connsiteY37142" fmla="*/ 2201753 h 5973007"/>
              <a:gd name="connsiteX37143" fmla="*/ 5014297 w 6884782"/>
              <a:gd name="connsiteY37143" fmla="*/ 2198054 h 5973007"/>
              <a:gd name="connsiteX37144" fmla="*/ 5034359 w 6884782"/>
              <a:gd name="connsiteY37144" fmla="*/ 2184254 h 5973007"/>
              <a:gd name="connsiteX37145" fmla="*/ 5034785 w 6884782"/>
              <a:gd name="connsiteY37145" fmla="*/ 2184680 h 5973007"/>
              <a:gd name="connsiteX37146" fmla="*/ 5036492 w 6884782"/>
              <a:gd name="connsiteY37146" fmla="*/ 2174295 h 5973007"/>
              <a:gd name="connsiteX37147" fmla="*/ 5040547 w 6884782"/>
              <a:gd name="connsiteY37147" fmla="*/ 2161918 h 5973007"/>
              <a:gd name="connsiteX37148" fmla="*/ 5038413 w 6884782"/>
              <a:gd name="connsiteY37148" fmla="*/ 2161775 h 5973007"/>
              <a:gd name="connsiteX37149" fmla="*/ 5034359 w 6884782"/>
              <a:gd name="connsiteY37149" fmla="*/ 2159357 h 5973007"/>
              <a:gd name="connsiteX37150" fmla="*/ 5038627 w 6884782"/>
              <a:gd name="connsiteY37150" fmla="*/ 2146980 h 5973007"/>
              <a:gd name="connsiteX37151" fmla="*/ 5044175 w 6884782"/>
              <a:gd name="connsiteY37151" fmla="*/ 2150394 h 5973007"/>
              <a:gd name="connsiteX37152" fmla="*/ 5044389 w 6884782"/>
              <a:gd name="connsiteY37152" fmla="*/ 2150678 h 5973007"/>
              <a:gd name="connsiteX37153" fmla="*/ 968234 w 6884782"/>
              <a:gd name="connsiteY37153" fmla="*/ 2142393 h 5973007"/>
              <a:gd name="connsiteX37154" fmla="*/ 973190 w 6884782"/>
              <a:gd name="connsiteY37154" fmla="*/ 2143477 h 5973007"/>
              <a:gd name="connsiteX37155" fmla="*/ 974016 w 6884782"/>
              <a:gd name="connsiteY37155" fmla="*/ 2151842 h 5973007"/>
              <a:gd name="connsiteX37156" fmla="*/ 965446 w 6884782"/>
              <a:gd name="connsiteY37156" fmla="*/ 2153236 h 5973007"/>
              <a:gd name="connsiteX37157" fmla="*/ 963794 w 6884782"/>
              <a:gd name="connsiteY37157" fmla="*/ 2149518 h 5973007"/>
              <a:gd name="connsiteX37158" fmla="*/ 968234 w 6884782"/>
              <a:gd name="connsiteY37158" fmla="*/ 2142393 h 5973007"/>
              <a:gd name="connsiteX37159" fmla="*/ 5389489 w 6884782"/>
              <a:gd name="connsiteY37159" fmla="*/ 2142000 h 5973007"/>
              <a:gd name="connsiteX37160" fmla="*/ 5392690 w 6884782"/>
              <a:gd name="connsiteY37160" fmla="*/ 2144134 h 5973007"/>
              <a:gd name="connsiteX37161" fmla="*/ 5394397 w 6884782"/>
              <a:gd name="connsiteY37161" fmla="*/ 2147549 h 5973007"/>
              <a:gd name="connsiteX37162" fmla="*/ 5387355 w 6884782"/>
              <a:gd name="connsiteY37162" fmla="*/ 2149113 h 5973007"/>
              <a:gd name="connsiteX37163" fmla="*/ 5387355 w 6884782"/>
              <a:gd name="connsiteY37163" fmla="*/ 2145841 h 5973007"/>
              <a:gd name="connsiteX37164" fmla="*/ 5385434 w 6884782"/>
              <a:gd name="connsiteY37164" fmla="*/ 2145841 h 5973007"/>
              <a:gd name="connsiteX37165" fmla="*/ 5387355 w 6884782"/>
              <a:gd name="connsiteY37165" fmla="*/ 2142569 h 5973007"/>
              <a:gd name="connsiteX37166" fmla="*/ 5389062 w 6884782"/>
              <a:gd name="connsiteY37166" fmla="*/ 2142569 h 5973007"/>
              <a:gd name="connsiteX37167" fmla="*/ 5389489 w 6884782"/>
              <a:gd name="connsiteY37167" fmla="*/ 2142000 h 5973007"/>
              <a:gd name="connsiteX37168" fmla="*/ 5693826 w 6884782"/>
              <a:gd name="connsiteY37168" fmla="*/ 2141573 h 5973007"/>
              <a:gd name="connsiteX37169" fmla="*/ 5695533 w 6884782"/>
              <a:gd name="connsiteY37169" fmla="*/ 2142569 h 5973007"/>
              <a:gd name="connsiteX37170" fmla="*/ 5691478 w 6884782"/>
              <a:gd name="connsiteY37170" fmla="*/ 2151817 h 5973007"/>
              <a:gd name="connsiteX37171" fmla="*/ 5683368 w 6884782"/>
              <a:gd name="connsiteY37171" fmla="*/ 2153808 h 5973007"/>
              <a:gd name="connsiteX37172" fmla="*/ 5683155 w 6884782"/>
              <a:gd name="connsiteY37172" fmla="*/ 2147975 h 5973007"/>
              <a:gd name="connsiteX37173" fmla="*/ 5688704 w 6884782"/>
              <a:gd name="connsiteY37173" fmla="*/ 2144703 h 5973007"/>
              <a:gd name="connsiteX37174" fmla="*/ 5692118 w 6884782"/>
              <a:gd name="connsiteY37174" fmla="*/ 2141858 h 5973007"/>
              <a:gd name="connsiteX37175" fmla="*/ 5693826 w 6884782"/>
              <a:gd name="connsiteY37175" fmla="*/ 2141573 h 5973007"/>
              <a:gd name="connsiteX37176" fmla="*/ 5002559 w 6884782"/>
              <a:gd name="connsiteY37176" fmla="*/ 2141146 h 5973007"/>
              <a:gd name="connsiteX37177" fmla="*/ 5009175 w 6884782"/>
              <a:gd name="connsiteY37177" fmla="*/ 2147549 h 5973007"/>
              <a:gd name="connsiteX37178" fmla="*/ 4998717 w 6884782"/>
              <a:gd name="connsiteY37178" fmla="*/ 2148971 h 5973007"/>
              <a:gd name="connsiteX37179" fmla="*/ 5002559 w 6884782"/>
              <a:gd name="connsiteY37179" fmla="*/ 2141146 h 5973007"/>
              <a:gd name="connsiteX37180" fmla="*/ 4549255 w 6884782"/>
              <a:gd name="connsiteY37180" fmla="*/ 2141004 h 5973007"/>
              <a:gd name="connsiteX37181" fmla="*/ 4538798 w 6884782"/>
              <a:gd name="connsiteY37181" fmla="*/ 2150109 h 5973007"/>
              <a:gd name="connsiteX37182" fmla="*/ 4549255 w 6884782"/>
              <a:gd name="connsiteY37182" fmla="*/ 2141004 h 5973007"/>
              <a:gd name="connsiteX37183" fmla="*/ 766484 w 6884782"/>
              <a:gd name="connsiteY37183" fmla="*/ 2140321 h 5973007"/>
              <a:gd name="connsiteX37184" fmla="*/ 778346 w 6884782"/>
              <a:gd name="connsiteY37184" fmla="*/ 2147969 h 5973007"/>
              <a:gd name="connsiteX37185" fmla="*/ 750983 w 6884782"/>
              <a:gd name="connsiteY37185" fmla="*/ 2144871 h 5973007"/>
              <a:gd name="connsiteX37186" fmla="*/ 766484 w 6884782"/>
              <a:gd name="connsiteY37186" fmla="*/ 2140321 h 5973007"/>
              <a:gd name="connsiteX37187" fmla="*/ 5198905 w 6884782"/>
              <a:gd name="connsiteY37187" fmla="*/ 2139866 h 5973007"/>
              <a:gd name="connsiteX37188" fmla="*/ 5207015 w 6884782"/>
              <a:gd name="connsiteY37188" fmla="*/ 2143565 h 5973007"/>
              <a:gd name="connsiteX37189" fmla="*/ 5208509 w 6884782"/>
              <a:gd name="connsiteY37189" fmla="*/ 2157081 h 5973007"/>
              <a:gd name="connsiteX37190" fmla="*/ 5210643 w 6884782"/>
              <a:gd name="connsiteY37190" fmla="*/ 2158646 h 5973007"/>
              <a:gd name="connsiteX37191" fmla="*/ 5212564 w 6884782"/>
              <a:gd name="connsiteY37191" fmla="*/ 2163910 h 5973007"/>
              <a:gd name="connsiteX37192" fmla="*/ 5210216 w 6884782"/>
              <a:gd name="connsiteY37192" fmla="*/ 2164620 h 5973007"/>
              <a:gd name="connsiteX37193" fmla="*/ 5207228 w 6884782"/>
              <a:gd name="connsiteY37193" fmla="*/ 2159357 h 5973007"/>
              <a:gd name="connsiteX37194" fmla="*/ 5205948 w 6884782"/>
              <a:gd name="connsiteY37194" fmla="*/ 2159072 h 5973007"/>
              <a:gd name="connsiteX37195" fmla="*/ 5203600 w 6884782"/>
              <a:gd name="connsiteY37195" fmla="*/ 2161064 h 5973007"/>
              <a:gd name="connsiteX37196" fmla="*/ 5192076 w 6884782"/>
              <a:gd name="connsiteY37196" fmla="*/ 2159214 h 5973007"/>
              <a:gd name="connsiteX37197" fmla="*/ 5189515 w 6884782"/>
              <a:gd name="connsiteY37197" fmla="*/ 2145557 h 5973007"/>
              <a:gd name="connsiteX37198" fmla="*/ 5193356 w 6884782"/>
              <a:gd name="connsiteY37198" fmla="*/ 2140151 h 5973007"/>
              <a:gd name="connsiteX37199" fmla="*/ 5198905 w 6884782"/>
              <a:gd name="connsiteY37199" fmla="*/ 2139866 h 5973007"/>
              <a:gd name="connsiteX37200" fmla="*/ 1006542 w 6884782"/>
              <a:gd name="connsiteY37200" fmla="*/ 2139605 h 5973007"/>
              <a:gd name="connsiteX37201" fmla="*/ 1014080 w 6884782"/>
              <a:gd name="connsiteY37201" fmla="*/ 2144716 h 5973007"/>
              <a:gd name="connsiteX37202" fmla="*/ 1012014 w 6884782"/>
              <a:gd name="connsiteY37202" fmla="*/ 2147505 h 5973007"/>
              <a:gd name="connsiteX37203" fmla="*/ 1012737 w 6884782"/>
              <a:gd name="connsiteY37203" fmla="*/ 2147815 h 5973007"/>
              <a:gd name="connsiteX37204" fmla="*/ 1008814 w 6884782"/>
              <a:gd name="connsiteY37204" fmla="*/ 2156179 h 5973007"/>
              <a:gd name="connsiteX37205" fmla="*/ 1005716 w 6884782"/>
              <a:gd name="connsiteY37205" fmla="*/ 2156024 h 5973007"/>
              <a:gd name="connsiteX37206" fmla="*/ 1000243 w 6884782"/>
              <a:gd name="connsiteY37206" fmla="*/ 2163459 h 5973007"/>
              <a:gd name="connsiteX37207" fmla="*/ 987543 w 6884782"/>
              <a:gd name="connsiteY37207" fmla="*/ 2180188 h 5973007"/>
              <a:gd name="connsiteX37208" fmla="*/ 987439 w 6884782"/>
              <a:gd name="connsiteY37208" fmla="*/ 2175076 h 5973007"/>
              <a:gd name="connsiteX37209" fmla="*/ 1006542 w 6884782"/>
              <a:gd name="connsiteY37209" fmla="*/ 2139605 h 5973007"/>
              <a:gd name="connsiteX37210" fmla="*/ 5667362 w 6884782"/>
              <a:gd name="connsiteY37210" fmla="*/ 2138586 h 5973007"/>
              <a:gd name="connsiteX37211" fmla="*/ 5669922 w 6884782"/>
              <a:gd name="connsiteY37211" fmla="*/ 2139154 h 5973007"/>
              <a:gd name="connsiteX37212" fmla="*/ 5670562 w 6884782"/>
              <a:gd name="connsiteY37212" fmla="*/ 2142000 h 5973007"/>
              <a:gd name="connsiteX37213" fmla="*/ 5656477 w 6884782"/>
              <a:gd name="connsiteY37213" fmla="*/ 2149398 h 5973007"/>
              <a:gd name="connsiteX37214" fmla="*/ 5653489 w 6884782"/>
              <a:gd name="connsiteY37214" fmla="*/ 2148687 h 5973007"/>
              <a:gd name="connsiteX37215" fmla="*/ 5650715 w 6884782"/>
              <a:gd name="connsiteY37215" fmla="*/ 2148971 h 5973007"/>
              <a:gd name="connsiteX37216" fmla="*/ 5644525 w 6884782"/>
              <a:gd name="connsiteY37216" fmla="*/ 2144703 h 5973007"/>
              <a:gd name="connsiteX37217" fmla="*/ 5667362 w 6884782"/>
              <a:gd name="connsiteY37217" fmla="*/ 2138586 h 5973007"/>
              <a:gd name="connsiteX37218" fmla="*/ 5740138 w 6884782"/>
              <a:gd name="connsiteY37218" fmla="*/ 2137732 h 5973007"/>
              <a:gd name="connsiteX37219" fmla="*/ 5748461 w 6884782"/>
              <a:gd name="connsiteY37219" fmla="*/ 2141431 h 5973007"/>
              <a:gd name="connsiteX37220" fmla="*/ 5748888 w 6884782"/>
              <a:gd name="connsiteY37220" fmla="*/ 2143565 h 5973007"/>
              <a:gd name="connsiteX37221" fmla="*/ 5740138 w 6884782"/>
              <a:gd name="connsiteY37221" fmla="*/ 2137732 h 5973007"/>
              <a:gd name="connsiteX37222" fmla="*/ 1103500 w 6884782"/>
              <a:gd name="connsiteY37222" fmla="*/ 2136817 h 5973007"/>
              <a:gd name="connsiteX37223" fmla="*/ 1104326 w 6884782"/>
              <a:gd name="connsiteY37223" fmla="*/ 2136972 h 5973007"/>
              <a:gd name="connsiteX37224" fmla="*/ 1107836 w 6884782"/>
              <a:gd name="connsiteY37224" fmla="*/ 2137282 h 5973007"/>
              <a:gd name="connsiteX37225" fmla="*/ 1109385 w 6884782"/>
              <a:gd name="connsiteY37225" fmla="*/ 2141619 h 5973007"/>
              <a:gd name="connsiteX37226" fmla="*/ 1104222 w 6884782"/>
              <a:gd name="connsiteY37226" fmla="*/ 2142703 h 5973007"/>
              <a:gd name="connsiteX37227" fmla="*/ 1102261 w 6884782"/>
              <a:gd name="connsiteY37227" fmla="*/ 2138520 h 5973007"/>
              <a:gd name="connsiteX37228" fmla="*/ 1103500 w 6884782"/>
              <a:gd name="connsiteY37228" fmla="*/ 2136817 h 5973007"/>
              <a:gd name="connsiteX37229" fmla="*/ 6320639 w 6884782"/>
              <a:gd name="connsiteY37229" fmla="*/ 2136451 h 5973007"/>
              <a:gd name="connsiteX37230" fmla="*/ 6347317 w 6884782"/>
              <a:gd name="connsiteY37230" fmla="*/ 2143138 h 5973007"/>
              <a:gd name="connsiteX37231" fmla="*/ 6350305 w 6884782"/>
              <a:gd name="connsiteY37231" fmla="*/ 2150394 h 5973007"/>
              <a:gd name="connsiteX37232" fmla="*/ 6320639 w 6884782"/>
              <a:gd name="connsiteY37232" fmla="*/ 2136451 h 5973007"/>
              <a:gd name="connsiteX37233" fmla="*/ 5374763 w 6884782"/>
              <a:gd name="connsiteY37233" fmla="*/ 2135456 h 5973007"/>
              <a:gd name="connsiteX37234" fmla="*/ 5379885 w 6884782"/>
              <a:gd name="connsiteY37234" fmla="*/ 2138728 h 5973007"/>
              <a:gd name="connsiteX37235" fmla="*/ 5375830 w 6884782"/>
              <a:gd name="connsiteY37235" fmla="*/ 2150536 h 5973007"/>
              <a:gd name="connsiteX37236" fmla="*/ 5368787 w 6884782"/>
              <a:gd name="connsiteY37236" fmla="*/ 2148260 h 5973007"/>
              <a:gd name="connsiteX37237" fmla="*/ 5374763 w 6884782"/>
              <a:gd name="connsiteY37237" fmla="*/ 2135456 h 5973007"/>
              <a:gd name="connsiteX37238" fmla="*/ 5797334 w 6884782"/>
              <a:gd name="connsiteY37238" fmla="*/ 2134886 h 5973007"/>
              <a:gd name="connsiteX37239" fmla="*/ 5798188 w 6884782"/>
              <a:gd name="connsiteY37239" fmla="*/ 2135313 h 5973007"/>
              <a:gd name="connsiteX37240" fmla="*/ 5798401 w 6884782"/>
              <a:gd name="connsiteY37240" fmla="*/ 2136878 h 5973007"/>
              <a:gd name="connsiteX37241" fmla="*/ 5797548 w 6884782"/>
              <a:gd name="connsiteY37241" fmla="*/ 2137305 h 5973007"/>
              <a:gd name="connsiteX37242" fmla="*/ 5797334 w 6884782"/>
              <a:gd name="connsiteY37242" fmla="*/ 2134886 h 5973007"/>
              <a:gd name="connsiteX37243" fmla="*/ 5552328 w 6884782"/>
              <a:gd name="connsiteY37243" fmla="*/ 2134886 h 5973007"/>
              <a:gd name="connsiteX37244" fmla="*/ 5562359 w 6884782"/>
              <a:gd name="connsiteY37244" fmla="*/ 2137732 h 5973007"/>
              <a:gd name="connsiteX37245" fmla="*/ 5553395 w 6884782"/>
              <a:gd name="connsiteY37245" fmla="*/ 2136309 h 5973007"/>
              <a:gd name="connsiteX37246" fmla="*/ 5552328 w 6884782"/>
              <a:gd name="connsiteY37246" fmla="*/ 2134886 h 5973007"/>
              <a:gd name="connsiteX37247" fmla="*/ 4964357 w 6884782"/>
              <a:gd name="connsiteY37247" fmla="*/ 2134744 h 5973007"/>
              <a:gd name="connsiteX37248" fmla="*/ 4966704 w 6884782"/>
              <a:gd name="connsiteY37248" fmla="*/ 2137305 h 5973007"/>
              <a:gd name="connsiteX37249" fmla="*/ 4965851 w 6884782"/>
              <a:gd name="connsiteY37249" fmla="*/ 2145415 h 5973007"/>
              <a:gd name="connsiteX37250" fmla="*/ 4957954 w 6884782"/>
              <a:gd name="connsiteY37250" fmla="*/ 2154519 h 5973007"/>
              <a:gd name="connsiteX37251" fmla="*/ 4958808 w 6884782"/>
              <a:gd name="connsiteY37251" fmla="*/ 2140008 h 5973007"/>
              <a:gd name="connsiteX37252" fmla="*/ 4964357 w 6884782"/>
              <a:gd name="connsiteY37252" fmla="*/ 2134744 h 5973007"/>
              <a:gd name="connsiteX37253" fmla="*/ 798790 w 6884782"/>
              <a:gd name="connsiteY37253" fmla="*/ 2134493 h 5973007"/>
              <a:gd name="connsiteX37254" fmla="*/ 793215 w 6884782"/>
              <a:gd name="connsiteY37254" fmla="*/ 2143012 h 5973007"/>
              <a:gd name="connsiteX37255" fmla="*/ 790530 w 6884782"/>
              <a:gd name="connsiteY37255" fmla="*/ 2139295 h 5973007"/>
              <a:gd name="connsiteX37256" fmla="*/ 798790 w 6884782"/>
              <a:gd name="connsiteY37256" fmla="*/ 2134493 h 5973007"/>
              <a:gd name="connsiteX37257" fmla="*/ 5597360 w 6884782"/>
              <a:gd name="connsiteY37257" fmla="*/ 2134033 h 5973007"/>
              <a:gd name="connsiteX37258" fmla="*/ 5602695 w 6884782"/>
              <a:gd name="connsiteY37258" fmla="*/ 2135171 h 5973007"/>
              <a:gd name="connsiteX37259" fmla="*/ 5605683 w 6884782"/>
              <a:gd name="connsiteY37259" fmla="*/ 2136167 h 5973007"/>
              <a:gd name="connsiteX37260" fmla="*/ 5608244 w 6884782"/>
              <a:gd name="connsiteY37260" fmla="*/ 2136167 h 5973007"/>
              <a:gd name="connsiteX37261" fmla="*/ 5611232 w 6884782"/>
              <a:gd name="connsiteY37261" fmla="*/ 2137732 h 5973007"/>
              <a:gd name="connsiteX37262" fmla="*/ 5611872 w 6884782"/>
              <a:gd name="connsiteY37262" fmla="*/ 2139154 h 5973007"/>
              <a:gd name="connsiteX37263" fmla="*/ 5612086 w 6884782"/>
              <a:gd name="connsiteY37263" fmla="*/ 2139013 h 5973007"/>
              <a:gd name="connsiteX37264" fmla="*/ 5635349 w 6884782"/>
              <a:gd name="connsiteY37264" fmla="*/ 2159641 h 5973007"/>
              <a:gd name="connsiteX37265" fmla="*/ 5611232 w 6884782"/>
              <a:gd name="connsiteY37265" fmla="*/ 2146837 h 5973007"/>
              <a:gd name="connsiteX37266" fmla="*/ 5611872 w 6884782"/>
              <a:gd name="connsiteY37266" fmla="*/ 2139297 h 5973007"/>
              <a:gd name="connsiteX37267" fmla="*/ 5609524 w 6884782"/>
              <a:gd name="connsiteY37267" fmla="*/ 2139297 h 5973007"/>
              <a:gd name="connsiteX37268" fmla="*/ 5606537 w 6884782"/>
              <a:gd name="connsiteY37268" fmla="*/ 2138301 h 5973007"/>
              <a:gd name="connsiteX37269" fmla="*/ 5604403 w 6884782"/>
              <a:gd name="connsiteY37269" fmla="*/ 2139297 h 5973007"/>
              <a:gd name="connsiteX37270" fmla="*/ 5597360 w 6884782"/>
              <a:gd name="connsiteY37270" fmla="*/ 2134033 h 5973007"/>
              <a:gd name="connsiteX37271" fmla="*/ 4666423 w 6884782"/>
              <a:gd name="connsiteY37271" fmla="*/ 2133037 h 5973007"/>
              <a:gd name="connsiteX37272" fmla="*/ 4626300 w 6884782"/>
              <a:gd name="connsiteY37272" fmla="*/ 2188379 h 5973007"/>
              <a:gd name="connsiteX37273" fmla="*/ 4623739 w 6884782"/>
              <a:gd name="connsiteY37273" fmla="*/ 2190371 h 5973007"/>
              <a:gd name="connsiteX37274" fmla="*/ 4625873 w 6884782"/>
              <a:gd name="connsiteY37274" fmla="*/ 2190941 h 5973007"/>
              <a:gd name="connsiteX37275" fmla="*/ 4624806 w 6884782"/>
              <a:gd name="connsiteY37275" fmla="*/ 2198623 h 5973007"/>
              <a:gd name="connsiteX37276" fmla="*/ 4618830 w 6884782"/>
              <a:gd name="connsiteY37276" fmla="*/ 2194355 h 5973007"/>
              <a:gd name="connsiteX37277" fmla="*/ 4617763 w 6884782"/>
              <a:gd name="connsiteY37277" fmla="*/ 2195351 h 5973007"/>
              <a:gd name="connsiteX37278" fmla="*/ 4608799 w 6884782"/>
              <a:gd name="connsiteY37278" fmla="*/ 2200330 h 5973007"/>
              <a:gd name="connsiteX37279" fmla="*/ 4621604 w 6884782"/>
              <a:gd name="connsiteY37279" fmla="*/ 2159641 h 5973007"/>
              <a:gd name="connsiteX37280" fmla="*/ 4634410 w 6884782"/>
              <a:gd name="connsiteY37280" fmla="*/ 2150394 h 5973007"/>
              <a:gd name="connsiteX37281" fmla="*/ 4633983 w 6884782"/>
              <a:gd name="connsiteY37281" fmla="*/ 2150109 h 5973007"/>
              <a:gd name="connsiteX37282" fmla="*/ 4638251 w 6884782"/>
              <a:gd name="connsiteY37282" fmla="*/ 2143707 h 5973007"/>
              <a:gd name="connsiteX37283" fmla="*/ 4640386 w 6884782"/>
              <a:gd name="connsiteY37283" fmla="*/ 2146125 h 5973007"/>
              <a:gd name="connsiteX37284" fmla="*/ 4645508 w 6884782"/>
              <a:gd name="connsiteY37284" fmla="*/ 2142427 h 5973007"/>
              <a:gd name="connsiteX37285" fmla="*/ 4666423 w 6884782"/>
              <a:gd name="connsiteY37285" fmla="*/ 2133037 h 5973007"/>
              <a:gd name="connsiteX37286" fmla="*/ 5838951 w 6884782"/>
              <a:gd name="connsiteY37286" fmla="*/ 2131899 h 5973007"/>
              <a:gd name="connsiteX37287" fmla="*/ 5832335 w 6884782"/>
              <a:gd name="connsiteY37287" fmla="*/ 2137305 h 5973007"/>
              <a:gd name="connsiteX37288" fmla="*/ 5821664 w 6884782"/>
              <a:gd name="connsiteY37288" fmla="*/ 2139723 h 5973007"/>
              <a:gd name="connsiteX37289" fmla="*/ 5822304 w 6884782"/>
              <a:gd name="connsiteY37289" fmla="*/ 2138016 h 5973007"/>
              <a:gd name="connsiteX37290" fmla="*/ 5838951 w 6884782"/>
              <a:gd name="connsiteY37290" fmla="*/ 2131899 h 5973007"/>
              <a:gd name="connsiteX37291" fmla="*/ 4835878 w 6884782"/>
              <a:gd name="connsiteY37291" fmla="*/ 2131614 h 5973007"/>
              <a:gd name="connsiteX37292" fmla="*/ 4852952 w 6884782"/>
              <a:gd name="connsiteY37292" fmla="*/ 2150821 h 5973007"/>
              <a:gd name="connsiteX37293" fmla="*/ 4835878 w 6884782"/>
              <a:gd name="connsiteY37293" fmla="*/ 2131614 h 5973007"/>
              <a:gd name="connsiteX37294" fmla="*/ 4560140 w 6884782"/>
              <a:gd name="connsiteY37294" fmla="*/ 2130761 h 5973007"/>
              <a:gd name="connsiteX37295" fmla="*/ 4566542 w 6884782"/>
              <a:gd name="connsiteY37295" fmla="*/ 2131330 h 5973007"/>
              <a:gd name="connsiteX37296" fmla="*/ 4564408 w 6884782"/>
              <a:gd name="connsiteY37296" fmla="*/ 2145130 h 5973007"/>
              <a:gd name="connsiteX37297" fmla="*/ 4555018 w 6884782"/>
              <a:gd name="connsiteY37297" fmla="*/ 2133464 h 5973007"/>
              <a:gd name="connsiteX37298" fmla="*/ 4560140 w 6884782"/>
              <a:gd name="connsiteY37298" fmla="*/ 2130761 h 5973007"/>
              <a:gd name="connsiteX37299" fmla="*/ 713604 w 6884782"/>
              <a:gd name="connsiteY37299" fmla="*/ 2130621 h 5973007"/>
              <a:gd name="connsiteX37300" fmla="*/ 724446 w 6884782"/>
              <a:gd name="connsiteY37300" fmla="*/ 2133874 h 5973007"/>
              <a:gd name="connsiteX37301" fmla="*/ 714740 w 6884782"/>
              <a:gd name="connsiteY37301" fmla="*/ 2136662 h 5973007"/>
              <a:gd name="connsiteX37302" fmla="*/ 713604 w 6884782"/>
              <a:gd name="connsiteY37302" fmla="*/ 2130621 h 5973007"/>
              <a:gd name="connsiteX37303" fmla="*/ 4715509 w 6884782"/>
              <a:gd name="connsiteY37303" fmla="*/ 2130476 h 5973007"/>
              <a:gd name="connsiteX37304" fmla="*/ 4718924 w 6884782"/>
              <a:gd name="connsiteY37304" fmla="*/ 2132041 h 5973007"/>
              <a:gd name="connsiteX37305" fmla="*/ 4719778 w 6884782"/>
              <a:gd name="connsiteY37305" fmla="*/ 2131187 h 5973007"/>
              <a:gd name="connsiteX37306" fmla="*/ 4724686 w 6884782"/>
              <a:gd name="connsiteY37306" fmla="*/ 2137163 h 5973007"/>
              <a:gd name="connsiteX37307" fmla="*/ 4727888 w 6884782"/>
              <a:gd name="connsiteY37307" fmla="*/ 2140577 h 5973007"/>
              <a:gd name="connsiteX37308" fmla="*/ 4725967 w 6884782"/>
              <a:gd name="connsiteY37308" fmla="*/ 2148402 h 5973007"/>
              <a:gd name="connsiteX37309" fmla="*/ 4710600 w 6884782"/>
              <a:gd name="connsiteY37309" fmla="*/ 2131187 h 5973007"/>
              <a:gd name="connsiteX37310" fmla="*/ 4715509 w 6884782"/>
              <a:gd name="connsiteY37310" fmla="*/ 2130476 h 5973007"/>
              <a:gd name="connsiteX37311" fmla="*/ 6271553 w 6884782"/>
              <a:gd name="connsiteY37311" fmla="*/ 2130192 h 5973007"/>
              <a:gd name="connsiteX37312" fmla="*/ 6273047 w 6884782"/>
              <a:gd name="connsiteY37312" fmla="*/ 2131330 h 5973007"/>
              <a:gd name="connsiteX37313" fmla="*/ 6272620 w 6884782"/>
              <a:gd name="connsiteY37313" fmla="*/ 2134886 h 5973007"/>
              <a:gd name="connsiteX37314" fmla="*/ 6268138 w 6884782"/>
              <a:gd name="connsiteY37314" fmla="*/ 2133606 h 5973007"/>
              <a:gd name="connsiteX37315" fmla="*/ 6271553 w 6884782"/>
              <a:gd name="connsiteY37315" fmla="*/ 2130192 h 5973007"/>
              <a:gd name="connsiteX37316" fmla="*/ 732706 w 6884782"/>
              <a:gd name="connsiteY37316" fmla="*/ 2129846 h 5973007"/>
              <a:gd name="connsiteX37317" fmla="*/ 735185 w 6884782"/>
              <a:gd name="connsiteY37317" fmla="*/ 2130156 h 5973007"/>
              <a:gd name="connsiteX37318" fmla="*/ 735701 w 6884782"/>
              <a:gd name="connsiteY37318" fmla="*/ 2142703 h 5973007"/>
              <a:gd name="connsiteX37319" fmla="*/ 732190 w 6884782"/>
              <a:gd name="connsiteY37319" fmla="*/ 2143942 h 5973007"/>
              <a:gd name="connsiteX37320" fmla="*/ 730125 w 6884782"/>
              <a:gd name="connsiteY37320" fmla="*/ 2136197 h 5973007"/>
              <a:gd name="connsiteX37321" fmla="*/ 732706 w 6884782"/>
              <a:gd name="connsiteY37321" fmla="*/ 2129846 h 5973007"/>
              <a:gd name="connsiteX37322" fmla="*/ 831935 w 6884782"/>
              <a:gd name="connsiteY37322" fmla="*/ 2129072 h 5973007"/>
              <a:gd name="connsiteX37323" fmla="*/ 835550 w 6884782"/>
              <a:gd name="connsiteY37323" fmla="*/ 2135732 h 5973007"/>
              <a:gd name="connsiteX37324" fmla="*/ 828528 w 6884782"/>
              <a:gd name="connsiteY37324" fmla="*/ 2130311 h 5973007"/>
              <a:gd name="connsiteX37325" fmla="*/ 831935 w 6884782"/>
              <a:gd name="connsiteY37325" fmla="*/ 2129072 h 5973007"/>
              <a:gd name="connsiteX37326" fmla="*/ 903286 w 6884782"/>
              <a:gd name="connsiteY37326" fmla="*/ 2128297 h 5973007"/>
              <a:gd name="connsiteX37327" fmla="*/ 909481 w 6884782"/>
              <a:gd name="connsiteY37327" fmla="*/ 2130621 h 5973007"/>
              <a:gd name="connsiteX37328" fmla="*/ 902872 w 6884782"/>
              <a:gd name="connsiteY37328" fmla="*/ 2134648 h 5973007"/>
              <a:gd name="connsiteX37329" fmla="*/ 901427 w 6884782"/>
              <a:gd name="connsiteY37329" fmla="*/ 2131086 h 5973007"/>
              <a:gd name="connsiteX37330" fmla="*/ 903286 w 6884782"/>
              <a:gd name="connsiteY37330" fmla="*/ 2128297 h 5973007"/>
              <a:gd name="connsiteX37331" fmla="*/ 5406776 w 6884782"/>
              <a:gd name="connsiteY37331" fmla="*/ 2127773 h 5973007"/>
              <a:gd name="connsiteX37332" fmla="*/ 5414459 w 6884782"/>
              <a:gd name="connsiteY37332" fmla="*/ 2130903 h 5973007"/>
              <a:gd name="connsiteX37333" fmla="*/ 5415313 w 6884782"/>
              <a:gd name="connsiteY37333" fmla="*/ 2149255 h 5973007"/>
              <a:gd name="connsiteX37334" fmla="*/ 5397599 w 6884782"/>
              <a:gd name="connsiteY37334" fmla="*/ 2141146 h 5973007"/>
              <a:gd name="connsiteX37335" fmla="*/ 5406776 w 6884782"/>
              <a:gd name="connsiteY37335" fmla="*/ 2127773 h 5973007"/>
              <a:gd name="connsiteX37336" fmla="*/ 868385 w 6884782"/>
              <a:gd name="connsiteY37336" fmla="*/ 2127678 h 5973007"/>
              <a:gd name="connsiteX37337" fmla="*/ 866733 w 6884782"/>
              <a:gd name="connsiteY37337" fmla="*/ 2139605 h 5973007"/>
              <a:gd name="connsiteX37338" fmla="*/ 862809 w 6884782"/>
              <a:gd name="connsiteY37338" fmla="*/ 2134183 h 5973007"/>
              <a:gd name="connsiteX37339" fmla="*/ 864461 w 6884782"/>
              <a:gd name="connsiteY37339" fmla="*/ 2128297 h 5973007"/>
              <a:gd name="connsiteX37340" fmla="*/ 868385 w 6884782"/>
              <a:gd name="connsiteY37340" fmla="*/ 2127678 h 5973007"/>
              <a:gd name="connsiteX37341" fmla="*/ 1157812 w 6884782"/>
              <a:gd name="connsiteY37341" fmla="*/ 2127523 h 5973007"/>
              <a:gd name="connsiteX37342" fmla="*/ 1162356 w 6884782"/>
              <a:gd name="connsiteY37342" fmla="*/ 2134029 h 5973007"/>
              <a:gd name="connsiteX37343" fmla="*/ 1158432 w 6884782"/>
              <a:gd name="connsiteY37343" fmla="*/ 2135113 h 5973007"/>
              <a:gd name="connsiteX37344" fmla="*/ 1159464 w 6884782"/>
              <a:gd name="connsiteY37344" fmla="*/ 2139140 h 5973007"/>
              <a:gd name="connsiteX37345" fmla="*/ 1147900 w 6884782"/>
              <a:gd name="connsiteY37345" fmla="*/ 2155094 h 5973007"/>
              <a:gd name="connsiteX37346" fmla="*/ 1151101 w 6884782"/>
              <a:gd name="connsiteY37346" fmla="*/ 2146265 h 5973007"/>
              <a:gd name="connsiteX37347" fmla="*/ 1152443 w 6884782"/>
              <a:gd name="connsiteY37347" fmla="*/ 2137901 h 5973007"/>
              <a:gd name="connsiteX37348" fmla="*/ 1148519 w 6884782"/>
              <a:gd name="connsiteY37348" fmla="*/ 2140844 h 5973007"/>
              <a:gd name="connsiteX37349" fmla="*/ 1136232 w 6884782"/>
              <a:gd name="connsiteY37349" fmla="*/ 2145491 h 5973007"/>
              <a:gd name="connsiteX37350" fmla="*/ 1157812 w 6884782"/>
              <a:gd name="connsiteY37350" fmla="*/ 2127523 h 5973007"/>
              <a:gd name="connsiteX37351" fmla="*/ 6280730 w 6884782"/>
              <a:gd name="connsiteY37351" fmla="*/ 2127062 h 5973007"/>
              <a:gd name="connsiteX37352" fmla="*/ 6282864 w 6884782"/>
              <a:gd name="connsiteY37352" fmla="*/ 2128484 h 5973007"/>
              <a:gd name="connsiteX37353" fmla="*/ 6284785 w 6884782"/>
              <a:gd name="connsiteY37353" fmla="*/ 2130618 h 5973007"/>
              <a:gd name="connsiteX37354" fmla="*/ 6285852 w 6884782"/>
              <a:gd name="connsiteY37354" fmla="*/ 2133322 h 5973007"/>
              <a:gd name="connsiteX37355" fmla="*/ 6285852 w 6884782"/>
              <a:gd name="connsiteY37355" fmla="*/ 2137163 h 5973007"/>
              <a:gd name="connsiteX37356" fmla="*/ 6282864 w 6884782"/>
              <a:gd name="connsiteY37356" fmla="*/ 2141858 h 5973007"/>
              <a:gd name="connsiteX37357" fmla="*/ 6280730 w 6884782"/>
              <a:gd name="connsiteY37357" fmla="*/ 2142996 h 5973007"/>
              <a:gd name="connsiteX37358" fmla="*/ 6274114 w 6884782"/>
              <a:gd name="connsiteY37358" fmla="*/ 2135313 h 5973007"/>
              <a:gd name="connsiteX37359" fmla="*/ 6280730 w 6884782"/>
              <a:gd name="connsiteY37359" fmla="*/ 2127062 h 5973007"/>
              <a:gd name="connsiteX37360" fmla="*/ 5363238 w 6884782"/>
              <a:gd name="connsiteY37360" fmla="*/ 2126350 h 5973007"/>
              <a:gd name="connsiteX37361" fmla="*/ 5367293 w 6884782"/>
              <a:gd name="connsiteY37361" fmla="*/ 2128057 h 5973007"/>
              <a:gd name="connsiteX37362" fmla="*/ 5368147 w 6884782"/>
              <a:gd name="connsiteY37362" fmla="*/ 2131187 h 5973007"/>
              <a:gd name="connsiteX37363" fmla="*/ 5351927 w 6884782"/>
              <a:gd name="connsiteY37363" fmla="*/ 2138586 h 5973007"/>
              <a:gd name="connsiteX37364" fmla="*/ 5348299 w 6884782"/>
              <a:gd name="connsiteY37364" fmla="*/ 2134886 h 5973007"/>
              <a:gd name="connsiteX37365" fmla="*/ 5363238 w 6884782"/>
              <a:gd name="connsiteY37365" fmla="*/ 2126350 h 5973007"/>
              <a:gd name="connsiteX37366" fmla="*/ 4834598 w 6884782"/>
              <a:gd name="connsiteY37366" fmla="*/ 2126350 h 5973007"/>
              <a:gd name="connsiteX37367" fmla="*/ 4834811 w 6884782"/>
              <a:gd name="connsiteY37367" fmla="*/ 2131330 h 5973007"/>
              <a:gd name="connsiteX37368" fmla="*/ 4831396 w 6884782"/>
              <a:gd name="connsiteY37368" fmla="*/ 2132326 h 5973007"/>
              <a:gd name="connsiteX37369" fmla="*/ 4834598 w 6884782"/>
              <a:gd name="connsiteY37369" fmla="*/ 2126350 h 5973007"/>
              <a:gd name="connsiteX37370" fmla="*/ 5526504 w 6884782"/>
              <a:gd name="connsiteY37370" fmla="*/ 2125923 h 5973007"/>
              <a:gd name="connsiteX37371" fmla="*/ 5544645 w 6884782"/>
              <a:gd name="connsiteY37371" fmla="*/ 2132326 h 5973007"/>
              <a:gd name="connsiteX37372" fmla="*/ 5526504 w 6884782"/>
              <a:gd name="connsiteY37372" fmla="*/ 2125923 h 5973007"/>
              <a:gd name="connsiteX37373" fmla="*/ 5169666 w 6884782"/>
              <a:gd name="connsiteY37373" fmla="*/ 2124928 h 5973007"/>
              <a:gd name="connsiteX37374" fmla="*/ 5176709 w 6884782"/>
              <a:gd name="connsiteY37374" fmla="*/ 2126635 h 5973007"/>
              <a:gd name="connsiteX37375" fmla="*/ 5175215 w 6884782"/>
              <a:gd name="connsiteY37375" fmla="*/ 2128342 h 5973007"/>
              <a:gd name="connsiteX37376" fmla="*/ 5182045 w 6884782"/>
              <a:gd name="connsiteY37376" fmla="*/ 2135740 h 5973007"/>
              <a:gd name="connsiteX37377" fmla="*/ 5188234 w 6884782"/>
              <a:gd name="connsiteY37377" fmla="*/ 2145841 h 5973007"/>
              <a:gd name="connsiteX37378" fmla="*/ 5172441 w 6884782"/>
              <a:gd name="connsiteY37378" fmla="*/ 2134318 h 5973007"/>
              <a:gd name="connsiteX37379" fmla="*/ 5173295 w 6884782"/>
              <a:gd name="connsiteY37379" fmla="*/ 2130761 h 5973007"/>
              <a:gd name="connsiteX37380" fmla="*/ 5171374 w 6884782"/>
              <a:gd name="connsiteY37380" fmla="*/ 2133179 h 5973007"/>
              <a:gd name="connsiteX37381" fmla="*/ 5148325 w 6884782"/>
              <a:gd name="connsiteY37381" fmla="*/ 2137021 h 5973007"/>
              <a:gd name="connsiteX37382" fmla="*/ 5169666 w 6884782"/>
              <a:gd name="connsiteY37382" fmla="*/ 2124928 h 5973007"/>
              <a:gd name="connsiteX37383" fmla="*/ 5523943 w 6884782"/>
              <a:gd name="connsiteY37383" fmla="*/ 2124217 h 5973007"/>
              <a:gd name="connsiteX37384" fmla="*/ 5526504 w 6884782"/>
              <a:gd name="connsiteY37384" fmla="*/ 2125639 h 5973007"/>
              <a:gd name="connsiteX37385" fmla="*/ 5525011 w 6884782"/>
              <a:gd name="connsiteY37385" fmla="*/ 2126635 h 5973007"/>
              <a:gd name="connsiteX37386" fmla="*/ 5523943 w 6884782"/>
              <a:gd name="connsiteY37386" fmla="*/ 2124217 h 5973007"/>
              <a:gd name="connsiteX37387" fmla="*/ 5517968 w 6884782"/>
              <a:gd name="connsiteY37387" fmla="*/ 2123363 h 5973007"/>
              <a:gd name="connsiteX37388" fmla="*/ 5520529 w 6884782"/>
              <a:gd name="connsiteY37388" fmla="*/ 2124785 h 5973007"/>
              <a:gd name="connsiteX37389" fmla="*/ 5517968 w 6884782"/>
              <a:gd name="connsiteY37389" fmla="*/ 2124358 h 5973007"/>
              <a:gd name="connsiteX37390" fmla="*/ 5517968 w 6884782"/>
              <a:gd name="connsiteY37390" fmla="*/ 2123363 h 5973007"/>
              <a:gd name="connsiteX37391" fmla="*/ 822268 w 6884782"/>
              <a:gd name="connsiteY37391" fmla="*/ 2123050 h 5973007"/>
              <a:gd name="connsiteX37392" fmla="*/ 827702 w 6884782"/>
              <a:gd name="connsiteY37392" fmla="*/ 2127213 h 5973007"/>
              <a:gd name="connsiteX37393" fmla="*/ 820164 w 6884782"/>
              <a:gd name="connsiteY37393" fmla="*/ 2128762 h 5973007"/>
              <a:gd name="connsiteX37394" fmla="*/ 822268 w 6884782"/>
              <a:gd name="connsiteY37394" fmla="*/ 2123050 h 5973007"/>
              <a:gd name="connsiteX37395" fmla="*/ 4834598 w 6884782"/>
              <a:gd name="connsiteY37395" fmla="*/ 2122936 h 5973007"/>
              <a:gd name="connsiteX37396" fmla="*/ 4834811 w 6884782"/>
              <a:gd name="connsiteY37396" fmla="*/ 2125639 h 5973007"/>
              <a:gd name="connsiteX37397" fmla="*/ 4833744 w 6884782"/>
              <a:gd name="connsiteY37397" fmla="*/ 2125497 h 5973007"/>
              <a:gd name="connsiteX37398" fmla="*/ 4834598 w 6884782"/>
              <a:gd name="connsiteY37398" fmla="*/ 2122936 h 5973007"/>
              <a:gd name="connsiteX37399" fmla="*/ 1070044 w 6884782"/>
              <a:gd name="connsiteY37399" fmla="*/ 2122876 h 5973007"/>
              <a:gd name="connsiteX37400" fmla="*/ 1075827 w 6884782"/>
              <a:gd name="connsiteY37400" fmla="*/ 2132634 h 5973007"/>
              <a:gd name="connsiteX37401" fmla="*/ 1075207 w 6884782"/>
              <a:gd name="connsiteY37401" fmla="*/ 2134029 h 5973007"/>
              <a:gd name="connsiteX37402" fmla="*/ 1077789 w 6884782"/>
              <a:gd name="connsiteY37402" fmla="*/ 2136817 h 5973007"/>
              <a:gd name="connsiteX37403" fmla="*/ 1077375 w 6884782"/>
              <a:gd name="connsiteY37403" fmla="*/ 2139605 h 5973007"/>
              <a:gd name="connsiteX37404" fmla="*/ 1075827 w 6884782"/>
              <a:gd name="connsiteY37404" fmla="*/ 2141154 h 5973007"/>
              <a:gd name="connsiteX37405" fmla="*/ 1079028 w 6884782"/>
              <a:gd name="connsiteY37405" fmla="*/ 2142858 h 5973007"/>
              <a:gd name="connsiteX37406" fmla="*/ 1083777 w 6884782"/>
              <a:gd name="connsiteY37406" fmla="*/ 2147350 h 5973007"/>
              <a:gd name="connsiteX37407" fmla="*/ 1080990 w 6884782"/>
              <a:gd name="connsiteY37407" fmla="*/ 2147195 h 5973007"/>
              <a:gd name="connsiteX37408" fmla="*/ 1079854 w 6884782"/>
              <a:gd name="connsiteY37408" fmla="*/ 2146730 h 5973007"/>
              <a:gd name="connsiteX37409" fmla="*/ 1078925 w 6884782"/>
              <a:gd name="connsiteY37409" fmla="*/ 2146885 h 5973007"/>
              <a:gd name="connsiteX37410" fmla="*/ 1078615 w 6884782"/>
              <a:gd name="connsiteY37410" fmla="*/ 2146111 h 5973007"/>
              <a:gd name="connsiteX37411" fmla="*/ 1076343 w 6884782"/>
              <a:gd name="connsiteY37411" fmla="*/ 2145026 h 5973007"/>
              <a:gd name="connsiteX37412" fmla="*/ 1070561 w 6884782"/>
              <a:gd name="connsiteY37412" fmla="*/ 2144252 h 5973007"/>
              <a:gd name="connsiteX37413" fmla="*/ 1070148 w 6884782"/>
              <a:gd name="connsiteY37413" fmla="*/ 2143942 h 5973007"/>
              <a:gd name="connsiteX37414" fmla="*/ 1067566 w 6884782"/>
              <a:gd name="connsiteY37414" fmla="*/ 2145646 h 5973007"/>
              <a:gd name="connsiteX37415" fmla="*/ 1052904 w 6884782"/>
              <a:gd name="connsiteY37415" fmla="*/ 2137901 h 5973007"/>
              <a:gd name="connsiteX37416" fmla="*/ 1056931 w 6884782"/>
              <a:gd name="connsiteY37416" fmla="*/ 2133874 h 5973007"/>
              <a:gd name="connsiteX37417" fmla="*/ 1059822 w 6884782"/>
              <a:gd name="connsiteY37417" fmla="*/ 2133099 h 5973007"/>
              <a:gd name="connsiteX37418" fmla="*/ 1060545 w 6884782"/>
              <a:gd name="connsiteY37418" fmla="*/ 2126594 h 5973007"/>
              <a:gd name="connsiteX37419" fmla="*/ 1063642 w 6884782"/>
              <a:gd name="connsiteY37419" fmla="*/ 2123031 h 5973007"/>
              <a:gd name="connsiteX37420" fmla="*/ 1070044 w 6884782"/>
              <a:gd name="connsiteY37420" fmla="*/ 2122876 h 5973007"/>
              <a:gd name="connsiteX37421" fmla="*/ 889862 w 6884782"/>
              <a:gd name="connsiteY37421" fmla="*/ 2122721 h 5973007"/>
              <a:gd name="connsiteX37422" fmla="*/ 897193 w 6884782"/>
              <a:gd name="connsiteY37422" fmla="*/ 2125819 h 5973007"/>
              <a:gd name="connsiteX37423" fmla="*/ 888004 w 6884782"/>
              <a:gd name="connsiteY37423" fmla="*/ 2124115 h 5973007"/>
              <a:gd name="connsiteX37424" fmla="*/ 889862 w 6884782"/>
              <a:gd name="connsiteY37424" fmla="*/ 2122721 h 5973007"/>
              <a:gd name="connsiteX37425" fmla="*/ 4912923 w 6884782"/>
              <a:gd name="connsiteY37425" fmla="*/ 2122367 h 5973007"/>
              <a:gd name="connsiteX37426" fmla="*/ 4915697 w 6884782"/>
              <a:gd name="connsiteY37426" fmla="*/ 2127915 h 5973007"/>
              <a:gd name="connsiteX37427" fmla="*/ 4916978 w 6884782"/>
              <a:gd name="connsiteY37427" fmla="*/ 2132468 h 5973007"/>
              <a:gd name="connsiteX37428" fmla="*/ 4909935 w 6884782"/>
              <a:gd name="connsiteY37428" fmla="*/ 2139154 h 5973007"/>
              <a:gd name="connsiteX37429" fmla="*/ 4909508 w 6884782"/>
              <a:gd name="connsiteY37429" fmla="*/ 2139013 h 5973007"/>
              <a:gd name="connsiteX37430" fmla="*/ 4909508 w 6884782"/>
              <a:gd name="connsiteY37430" fmla="*/ 2139297 h 5973007"/>
              <a:gd name="connsiteX37431" fmla="*/ 4908014 w 6884782"/>
              <a:gd name="connsiteY37431" fmla="*/ 2141146 h 5973007"/>
              <a:gd name="connsiteX37432" fmla="*/ 4910361 w 6884782"/>
              <a:gd name="connsiteY37432" fmla="*/ 2142000 h 5973007"/>
              <a:gd name="connsiteX37433" fmla="*/ 4915270 w 6884782"/>
              <a:gd name="connsiteY37433" fmla="*/ 2153666 h 5973007"/>
              <a:gd name="connsiteX37434" fmla="*/ 4915270 w 6884782"/>
              <a:gd name="connsiteY37434" fmla="*/ 2152528 h 5973007"/>
              <a:gd name="connsiteX37435" fmla="*/ 4932130 w 6884782"/>
              <a:gd name="connsiteY37435" fmla="*/ 2143138 h 5973007"/>
              <a:gd name="connsiteX37436" fmla="*/ 4930850 w 6884782"/>
              <a:gd name="connsiteY37436" fmla="*/ 2146552 h 5973007"/>
              <a:gd name="connsiteX37437" fmla="*/ 4929569 w 6884782"/>
              <a:gd name="connsiteY37437" fmla="*/ 2147549 h 5973007"/>
              <a:gd name="connsiteX37438" fmla="*/ 4929569 w 6884782"/>
              <a:gd name="connsiteY37438" fmla="*/ 2148687 h 5973007"/>
              <a:gd name="connsiteX37439" fmla="*/ 4928289 w 6884782"/>
              <a:gd name="connsiteY37439" fmla="*/ 2148544 h 5973007"/>
              <a:gd name="connsiteX37440" fmla="*/ 4925941 w 6884782"/>
              <a:gd name="connsiteY37440" fmla="*/ 2150536 h 5973007"/>
              <a:gd name="connsiteX37441" fmla="*/ 4922099 w 6884782"/>
              <a:gd name="connsiteY37441" fmla="*/ 2157223 h 5973007"/>
              <a:gd name="connsiteX37442" fmla="*/ 4914843 w 6884782"/>
              <a:gd name="connsiteY37442" fmla="*/ 2160779 h 5973007"/>
              <a:gd name="connsiteX37443" fmla="*/ 4912709 w 6884782"/>
              <a:gd name="connsiteY37443" fmla="*/ 2158076 h 5973007"/>
              <a:gd name="connsiteX37444" fmla="*/ 4910148 w 6884782"/>
              <a:gd name="connsiteY37444" fmla="*/ 2160068 h 5973007"/>
              <a:gd name="connsiteX37445" fmla="*/ 4907160 w 6884782"/>
              <a:gd name="connsiteY37445" fmla="*/ 2162487 h 5973007"/>
              <a:gd name="connsiteX37446" fmla="*/ 4907160 w 6884782"/>
              <a:gd name="connsiteY37446" fmla="*/ 2165332 h 5973007"/>
              <a:gd name="connsiteX37447" fmla="*/ 4905240 w 6884782"/>
              <a:gd name="connsiteY37447" fmla="*/ 2169315 h 5973007"/>
              <a:gd name="connsiteX37448" fmla="*/ 4898197 w 6884782"/>
              <a:gd name="connsiteY37448" fmla="*/ 2164336 h 5973007"/>
              <a:gd name="connsiteX37449" fmla="*/ 4901398 w 6884782"/>
              <a:gd name="connsiteY37449" fmla="*/ 2161064 h 5973007"/>
              <a:gd name="connsiteX37450" fmla="*/ 4895422 w 6884782"/>
              <a:gd name="connsiteY37450" fmla="*/ 2156511 h 5973007"/>
              <a:gd name="connsiteX37451" fmla="*/ 4892434 w 6884782"/>
              <a:gd name="connsiteY37451" fmla="*/ 2149825 h 5973007"/>
              <a:gd name="connsiteX37452" fmla="*/ 4895209 w 6884782"/>
              <a:gd name="connsiteY37452" fmla="*/ 2141858 h 5973007"/>
              <a:gd name="connsiteX37453" fmla="*/ 4899264 w 6884782"/>
              <a:gd name="connsiteY37453" fmla="*/ 2140435 h 5973007"/>
              <a:gd name="connsiteX37454" fmla="*/ 4897770 w 6884782"/>
              <a:gd name="connsiteY37454" fmla="*/ 2139154 h 5973007"/>
              <a:gd name="connsiteX37455" fmla="*/ 4894995 w 6884782"/>
              <a:gd name="connsiteY37455" fmla="*/ 2135882 h 5973007"/>
              <a:gd name="connsiteX37456" fmla="*/ 4898624 w 6884782"/>
              <a:gd name="connsiteY37456" fmla="*/ 2132610 h 5973007"/>
              <a:gd name="connsiteX37457" fmla="*/ 4901825 w 6884782"/>
              <a:gd name="connsiteY37457" fmla="*/ 2132468 h 5973007"/>
              <a:gd name="connsiteX37458" fmla="*/ 4901398 w 6884782"/>
              <a:gd name="connsiteY37458" fmla="*/ 2130761 h 5973007"/>
              <a:gd name="connsiteX37459" fmla="*/ 4912923 w 6884782"/>
              <a:gd name="connsiteY37459" fmla="*/ 2122367 h 5973007"/>
              <a:gd name="connsiteX37460" fmla="*/ 5708338 w 6884782"/>
              <a:gd name="connsiteY37460" fmla="*/ 2122082 h 5973007"/>
              <a:gd name="connsiteX37461" fmla="*/ 5725198 w 6884782"/>
              <a:gd name="connsiteY37461" fmla="*/ 2127773 h 5973007"/>
              <a:gd name="connsiteX37462" fmla="*/ 5692545 w 6884782"/>
              <a:gd name="connsiteY37462" fmla="*/ 2122651 h 5973007"/>
              <a:gd name="connsiteX37463" fmla="*/ 5708338 w 6884782"/>
              <a:gd name="connsiteY37463" fmla="*/ 2122082 h 5973007"/>
              <a:gd name="connsiteX37464" fmla="*/ 4548402 w 6884782"/>
              <a:gd name="connsiteY37464" fmla="*/ 2121940 h 5973007"/>
              <a:gd name="connsiteX37465" fmla="*/ 4549895 w 6884782"/>
              <a:gd name="connsiteY37465" fmla="*/ 2122509 h 5973007"/>
              <a:gd name="connsiteX37466" fmla="*/ 4549895 w 6884782"/>
              <a:gd name="connsiteY37466" fmla="*/ 2122082 h 5973007"/>
              <a:gd name="connsiteX37467" fmla="*/ 4551816 w 6884782"/>
              <a:gd name="connsiteY37467" fmla="*/ 2124217 h 5973007"/>
              <a:gd name="connsiteX37468" fmla="*/ 4552030 w 6884782"/>
              <a:gd name="connsiteY37468" fmla="*/ 2128057 h 5973007"/>
              <a:gd name="connsiteX37469" fmla="*/ 4549469 w 6884782"/>
              <a:gd name="connsiteY37469" fmla="*/ 2127915 h 5973007"/>
              <a:gd name="connsiteX37470" fmla="*/ 4548402 w 6884782"/>
              <a:gd name="connsiteY37470" fmla="*/ 2121940 h 5973007"/>
              <a:gd name="connsiteX37471" fmla="*/ 4538157 w 6884782"/>
              <a:gd name="connsiteY37471" fmla="*/ 2121940 h 5973007"/>
              <a:gd name="connsiteX37472" fmla="*/ 4539438 w 6884782"/>
              <a:gd name="connsiteY37472" fmla="*/ 2125212 h 5973007"/>
              <a:gd name="connsiteX37473" fmla="*/ 4537517 w 6884782"/>
              <a:gd name="connsiteY37473" fmla="*/ 2126065 h 5973007"/>
              <a:gd name="connsiteX37474" fmla="*/ 4537517 w 6884782"/>
              <a:gd name="connsiteY37474" fmla="*/ 2123505 h 5973007"/>
              <a:gd name="connsiteX37475" fmla="*/ 4538157 w 6884782"/>
              <a:gd name="connsiteY37475" fmla="*/ 2121940 h 5973007"/>
              <a:gd name="connsiteX37476" fmla="*/ 4550322 w 6884782"/>
              <a:gd name="connsiteY37476" fmla="*/ 2121228 h 5973007"/>
              <a:gd name="connsiteX37477" fmla="*/ 4549895 w 6884782"/>
              <a:gd name="connsiteY37477" fmla="*/ 2122082 h 5973007"/>
              <a:gd name="connsiteX37478" fmla="*/ 4549469 w 6884782"/>
              <a:gd name="connsiteY37478" fmla="*/ 2121371 h 5973007"/>
              <a:gd name="connsiteX37479" fmla="*/ 4550322 w 6884782"/>
              <a:gd name="connsiteY37479" fmla="*/ 2121228 h 5973007"/>
              <a:gd name="connsiteX37480" fmla="*/ 800856 w 6884782"/>
              <a:gd name="connsiteY37480" fmla="*/ 2121172 h 5973007"/>
              <a:gd name="connsiteX37481" fmla="*/ 802301 w 6884782"/>
              <a:gd name="connsiteY37481" fmla="*/ 2125044 h 5973007"/>
              <a:gd name="connsiteX37482" fmla="*/ 800546 w 6884782"/>
              <a:gd name="connsiteY37482" fmla="*/ 2127213 h 5973007"/>
              <a:gd name="connsiteX37483" fmla="*/ 798481 w 6884782"/>
              <a:gd name="connsiteY37483" fmla="*/ 2125664 h 5973007"/>
              <a:gd name="connsiteX37484" fmla="*/ 797758 w 6884782"/>
              <a:gd name="connsiteY37484" fmla="*/ 2123031 h 5973007"/>
              <a:gd name="connsiteX37485" fmla="*/ 798894 w 6884782"/>
              <a:gd name="connsiteY37485" fmla="*/ 2122101 h 5973007"/>
              <a:gd name="connsiteX37486" fmla="*/ 800856 w 6884782"/>
              <a:gd name="connsiteY37486" fmla="*/ 2121172 h 5973007"/>
              <a:gd name="connsiteX37487" fmla="*/ 4579134 w 6884782"/>
              <a:gd name="connsiteY37487" fmla="*/ 2120660 h 5973007"/>
              <a:gd name="connsiteX37488" fmla="*/ 4587244 w 6884782"/>
              <a:gd name="connsiteY37488" fmla="*/ 2122936 h 5973007"/>
              <a:gd name="connsiteX37489" fmla="*/ 4585963 w 6884782"/>
              <a:gd name="connsiteY37489" fmla="*/ 2131472 h 5973007"/>
              <a:gd name="connsiteX37490" fmla="*/ 4570811 w 6884782"/>
              <a:gd name="connsiteY37490" fmla="*/ 2122082 h 5973007"/>
              <a:gd name="connsiteX37491" fmla="*/ 4579134 w 6884782"/>
              <a:gd name="connsiteY37491" fmla="*/ 2120660 h 5973007"/>
              <a:gd name="connsiteX37492" fmla="*/ 4866611 w 6884782"/>
              <a:gd name="connsiteY37492" fmla="*/ 2120233 h 5973007"/>
              <a:gd name="connsiteX37493" fmla="*/ 4872159 w 6884782"/>
              <a:gd name="connsiteY37493" fmla="*/ 2127062 h 5973007"/>
              <a:gd name="connsiteX37494" fmla="*/ 4870025 w 6884782"/>
              <a:gd name="connsiteY37494" fmla="*/ 2129480 h 5973007"/>
              <a:gd name="connsiteX37495" fmla="*/ 4859141 w 6884782"/>
              <a:gd name="connsiteY37495" fmla="*/ 2123220 h 5973007"/>
              <a:gd name="connsiteX37496" fmla="*/ 4866611 w 6884782"/>
              <a:gd name="connsiteY37496" fmla="*/ 2120233 h 5973007"/>
              <a:gd name="connsiteX37497" fmla="*/ 5511565 w 6884782"/>
              <a:gd name="connsiteY37497" fmla="*/ 2119522 h 5973007"/>
              <a:gd name="connsiteX37498" fmla="*/ 5517114 w 6884782"/>
              <a:gd name="connsiteY37498" fmla="*/ 2124074 h 5973007"/>
              <a:gd name="connsiteX37499" fmla="*/ 5512632 w 6884782"/>
              <a:gd name="connsiteY37499" fmla="*/ 2123363 h 5973007"/>
              <a:gd name="connsiteX37500" fmla="*/ 5511565 w 6884782"/>
              <a:gd name="connsiteY37500" fmla="*/ 2119522 h 5973007"/>
              <a:gd name="connsiteX37501" fmla="*/ 4953686 w 6884782"/>
              <a:gd name="connsiteY37501" fmla="*/ 2119522 h 5973007"/>
              <a:gd name="connsiteX37502" fmla="*/ 4956247 w 6884782"/>
              <a:gd name="connsiteY37502" fmla="*/ 2119522 h 5973007"/>
              <a:gd name="connsiteX37503" fmla="*/ 4959021 w 6884782"/>
              <a:gd name="connsiteY37503" fmla="*/ 2120944 h 5973007"/>
              <a:gd name="connsiteX37504" fmla="*/ 4950271 w 6884782"/>
              <a:gd name="connsiteY37504" fmla="*/ 2134886 h 5973007"/>
              <a:gd name="connsiteX37505" fmla="*/ 4953686 w 6884782"/>
              <a:gd name="connsiteY37505" fmla="*/ 2119522 h 5973007"/>
              <a:gd name="connsiteX37506" fmla="*/ 4827768 w 6884782"/>
              <a:gd name="connsiteY37506" fmla="*/ 2119095 h 5973007"/>
              <a:gd name="connsiteX37507" fmla="*/ 4828835 w 6884782"/>
              <a:gd name="connsiteY37507" fmla="*/ 2120517 h 5973007"/>
              <a:gd name="connsiteX37508" fmla="*/ 4828408 w 6884782"/>
              <a:gd name="connsiteY37508" fmla="*/ 2122793 h 5973007"/>
              <a:gd name="connsiteX37509" fmla="*/ 4826915 w 6884782"/>
              <a:gd name="connsiteY37509" fmla="*/ 2127915 h 5973007"/>
              <a:gd name="connsiteX37510" fmla="*/ 4827768 w 6884782"/>
              <a:gd name="connsiteY37510" fmla="*/ 2119095 h 5973007"/>
              <a:gd name="connsiteX37511" fmla="*/ 5761053 w 6884782"/>
              <a:gd name="connsiteY37511" fmla="*/ 2118952 h 5973007"/>
              <a:gd name="connsiteX37512" fmla="*/ 5766815 w 6884782"/>
              <a:gd name="connsiteY37512" fmla="*/ 2122651 h 5973007"/>
              <a:gd name="connsiteX37513" fmla="*/ 5769803 w 6884782"/>
              <a:gd name="connsiteY37513" fmla="*/ 2132610 h 5973007"/>
              <a:gd name="connsiteX37514" fmla="*/ 5774284 w 6884782"/>
              <a:gd name="connsiteY37514" fmla="*/ 2129196 h 5973007"/>
              <a:gd name="connsiteX37515" fmla="*/ 5781541 w 6884782"/>
              <a:gd name="connsiteY37515" fmla="*/ 2139582 h 5973007"/>
              <a:gd name="connsiteX37516" fmla="*/ 5780687 w 6884782"/>
              <a:gd name="connsiteY37516" fmla="*/ 2152954 h 5973007"/>
              <a:gd name="connsiteX37517" fmla="*/ 5769376 w 6884782"/>
              <a:gd name="connsiteY37517" fmla="*/ 2154377 h 5973007"/>
              <a:gd name="connsiteX37518" fmla="*/ 5767242 w 6884782"/>
              <a:gd name="connsiteY37518" fmla="*/ 2134459 h 5973007"/>
              <a:gd name="connsiteX37519" fmla="*/ 5769163 w 6884782"/>
              <a:gd name="connsiteY37519" fmla="*/ 2133037 h 5973007"/>
              <a:gd name="connsiteX37520" fmla="*/ 5760199 w 6884782"/>
              <a:gd name="connsiteY37520" fmla="*/ 2131187 h 5973007"/>
              <a:gd name="connsiteX37521" fmla="*/ 5734162 w 6884782"/>
              <a:gd name="connsiteY37521" fmla="*/ 2127631 h 5973007"/>
              <a:gd name="connsiteX37522" fmla="*/ 5761053 w 6884782"/>
              <a:gd name="connsiteY37522" fmla="*/ 2118952 h 5973007"/>
              <a:gd name="connsiteX37523" fmla="*/ 5094116 w 6884782"/>
              <a:gd name="connsiteY37523" fmla="*/ 2118810 h 5973007"/>
              <a:gd name="connsiteX37524" fmla="*/ 5093262 w 6884782"/>
              <a:gd name="connsiteY37524" fmla="*/ 2119522 h 5973007"/>
              <a:gd name="connsiteX37525" fmla="*/ 5094329 w 6884782"/>
              <a:gd name="connsiteY37525" fmla="*/ 2120802 h 5973007"/>
              <a:gd name="connsiteX37526" fmla="*/ 5093689 w 6884782"/>
              <a:gd name="connsiteY37526" fmla="*/ 2119806 h 5973007"/>
              <a:gd name="connsiteX37527" fmla="*/ 5842152 w 6884782"/>
              <a:gd name="connsiteY37527" fmla="*/ 2118526 h 5973007"/>
              <a:gd name="connsiteX37528" fmla="*/ 5841725 w 6884782"/>
              <a:gd name="connsiteY37528" fmla="*/ 2119948 h 5973007"/>
              <a:gd name="connsiteX37529" fmla="*/ 5842152 w 6884782"/>
              <a:gd name="connsiteY37529" fmla="*/ 2119522 h 5973007"/>
              <a:gd name="connsiteX37530" fmla="*/ 6265151 w 6884782"/>
              <a:gd name="connsiteY37530" fmla="*/ 2117956 h 5973007"/>
              <a:gd name="connsiteX37531" fmla="*/ 6267071 w 6884782"/>
              <a:gd name="connsiteY37531" fmla="*/ 2119379 h 5973007"/>
              <a:gd name="connsiteX37532" fmla="*/ 6260028 w 6884782"/>
              <a:gd name="connsiteY37532" fmla="*/ 2126350 h 5973007"/>
              <a:gd name="connsiteX37533" fmla="*/ 6258108 w 6884782"/>
              <a:gd name="connsiteY37533" fmla="*/ 2125070 h 5973007"/>
              <a:gd name="connsiteX37534" fmla="*/ 6258961 w 6884782"/>
              <a:gd name="connsiteY37534" fmla="*/ 2121798 h 5973007"/>
              <a:gd name="connsiteX37535" fmla="*/ 6265151 w 6884782"/>
              <a:gd name="connsiteY37535" fmla="*/ 2117956 h 5973007"/>
              <a:gd name="connsiteX37536" fmla="*/ 835859 w 6884782"/>
              <a:gd name="connsiteY37536" fmla="*/ 2117764 h 5973007"/>
              <a:gd name="connsiteX37537" fmla="*/ 848353 w 6884782"/>
              <a:gd name="connsiteY37537" fmla="*/ 2127987 h 5973007"/>
              <a:gd name="connsiteX37538" fmla="*/ 835859 w 6884782"/>
              <a:gd name="connsiteY37538" fmla="*/ 2117764 h 5973007"/>
              <a:gd name="connsiteX37539" fmla="*/ 5326957 w 6884782"/>
              <a:gd name="connsiteY37539" fmla="*/ 2116961 h 5973007"/>
              <a:gd name="connsiteX37540" fmla="*/ 5329518 w 6884782"/>
              <a:gd name="connsiteY37540" fmla="*/ 2117672 h 5973007"/>
              <a:gd name="connsiteX37541" fmla="*/ 5333573 w 6884782"/>
              <a:gd name="connsiteY37541" fmla="*/ 2121940 h 5973007"/>
              <a:gd name="connsiteX37542" fmla="*/ 5334213 w 6884782"/>
              <a:gd name="connsiteY37542" fmla="*/ 2124643 h 5973007"/>
              <a:gd name="connsiteX37543" fmla="*/ 5324396 w 6884782"/>
              <a:gd name="connsiteY37543" fmla="*/ 2117814 h 5973007"/>
              <a:gd name="connsiteX37544" fmla="*/ 5326957 w 6884782"/>
              <a:gd name="connsiteY37544" fmla="*/ 2116961 h 5973007"/>
              <a:gd name="connsiteX37545" fmla="*/ 4896916 w 6884782"/>
              <a:gd name="connsiteY37545" fmla="*/ 2116534 h 5973007"/>
              <a:gd name="connsiteX37546" fmla="*/ 4897983 w 6884782"/>
              <a:gd name="connsiteY37546" fmla="*/ 2121371 h 5973007"/>
              <a:gd name="connsiteX37547" fmla="*/ 4894782 w 6884782"/>
              <a:gd name="connsiteY37547" fmla="*/ 2123363 h 5973007"/>
              <a:gd name="connsiteX37548" fmla="*/ 4893288 w 6884782"/>
              <a:gd name="connsiteY37548" fmla="*/ 2117387 h 5973007"/>
              <a:gd name="connsiteX37549" fmla="*/ 4896916 w 6884782"/>
              <a:gd name="connsiteY37549" fmla="*/ 2116534 h 5973007"/>
              <a:gd name="connsiteX37550" fmla="*/ 4881336 w 6884782"/>
              <a:gd name="connsiteY37550" fmla="*/ 2116534 h 5973007"/>
              <a:gd name="connsiteX37551" fmla="*/ 4886458 w 6884782"/>
              <a:gd name="connsiteY37551" fmla="*/ 2124785 h 5973007"/>
              <a:gd name="connsiteX37552" fmla="*/ 4881336 w 6884782"/>
              <a:gd name="connsiteY37552" fmla="*/ 2116534 h 5973007"/>
              <a:gd name="connsiteX37553" fmla="*/ 5789864 w 6884782"/>
              <a:gd name="connsiteY37553" fmla="*/ 2115965 h 5973007"/>
              <a:gd name="connsiteX37554" fmla="*/ 5784315 w 6884782"/>
              <a:gd name="connsiteY37554" fmla="*/ 2127631 h 5973007"/>
              <a:gd name="connsiteX37555" fmla="*/ 5789864 w 6884782"/>
              <a:gd name="connsiteY37555" fmla="*/ 2115965 h 5973007"/>
              <a:gd name="connsiteX37556" fmla="*/ 4588638 w 6884782"/>
              <a:gd name="connsiteY37556" fmla="*/ 2115391 h 5973007"/>
              <a:gd name="connsiteX37557" fmla="*/ 4587671 w 6884782"/>
              <a:gd name="connsiteY37557" fmla="*/ 2118099 h 5973007"/>
              <a:gd name="connsiteX37558" fmla="*/ 4585323 w 6884782"/>
              <a:gd name="connsiteY37558" fmla="*/ 2119948 h 5973007"/>
              <a:gd name="connsiteX37559" fmla="*/ 4588738 w 6884782"/>
              <a:gd name="connsiteY37559" fmla="*/ 2115254 h 5973007"/>
              <a:gd name="connsiteX37560" fmla="*/ 4588638 w 6884782"/>
              <a:gd name="connsiteY37560" fmla="*/ 2115391 h 5973007"/>
              <a:gd name="connsiteX37561" fmla="*/ 4588671 w 6884782"/>
              <a:gd name="connsiteY37561" fmla="*/ 2115298 h 5973007"/>
              <a:gd name="connsiteX37562" fmla="*/ 5107988 w 6884782"/>
              <a:gd name="connsiteY37562" fmla="*/ 2114827 h 5973007"/>
              <a:gd name="connsiteX37563" fmla="*/ 5112684 w 6884782"/>
              <a:gd name="connsiteY37563" fmla="*/ 2118383 h 5973007"/>
              <a:gd name="connsiteX37564" fmla="*/ 5113324 w 6884782"/>
              <a:gd name="connsiteY37564" fmla="*/ 2123790 h 5973007"/>
              <a:gd name="connsiteX37565" fmla="*/ 5111616 w 6884782"/>
              <a:gd name="connsiteY37565" fmla="*/ 2126635 h 5973007"/>
              <a:gd name="connsiteX37566" fmla="*/ 5112684 w 6884782"/>
              <a:gd name="connsiteY37566" fmla="*/ 2126493 h 5973007"/>
              <a:gd name="connsiteX37567" fmla="*/ 5114177 w 6884782"/>
              <a:gd name="connsiteY37567" fmla="*/ 2126635 h 5973007"/>
              <a:gd name="connsiteX37568" fmla="*/ 5114604 w 6884782"/>
              <a:gd name="connsiteY37568" fmla="*/ 2124501 h 5973007"/>
              <a:gd name="connsiteX37569" fmla="*/ 5118872 w 6884782"/>
              <a:gd name="connsiteY37569" fmla="*/ 2126635 h 5973007"/>
              <a:gd name="connsiteX37570" fmla="*/ 5118446 w 6884782"/>
              <a:gd name="connsiteY37570" fmla="*/ 2127062 h 5973007"/>
              <a:gd name="connsiteX37571" fmla="*/ 5121860 w 6884782"/>
              <a:gd name="connsiteY37571" fmla="*/ 2127488 h 5973007"/>
              <a:gd name="connsiteX37572" fmla="*/ 5132318 w 6884782"/>
              <a:gd name="connsiteY37572" fmla="*/ 2131899 h 5973007"/>
              <a:gd name="connsiteX37573" fmla="*/ 5133598 w 6884782"/>
              <a:gd name="connsiteY37573" fmla="*/ 2138016 h 5973007"/>
              <a:gd name="connsiteX37574" fmla="*/ 5133598 w 6884782"/>
              <a:gd name="connsiteY37574" fmla="*/ 2140577 h 5973007"/>
              <a:gd name="connsiteX37575" fmla="*/ 5134239 w 6884782"/>
              <a:gd name="connsiteY37575" fmla="*/ 2141715 h 5973007"/>
              <a:gd name="connsiteX37576" fmla="*/ 5132745 w 6884782"/>
              <a:gd name="connsiteY37576" fmla="*/ 2146268 h 5973007"/>
              <a:gd name="connsiteX37577" fmla="*/ 5131038 w 6884782"/>
              <a:gd name="connsiteY37577" fmla="*/ 2143992 h 5973007"/>
              <a:gd name="connsiteX37578" fmla="*/ 5130611 w 6884782"/>
              <a:gd name="connsiteY37578" fmla="*/ 2142854 h 5973007"/>
              <a:gd name="connsiteX37579" fmla="*/ 5126983 w 6884782"/>
              <a:gd name="connsiteY37579" fmla="*/ 2139866 h 5973007"/>
              <a:gd name="connsiteX37580" fmla="*/ 5125915 w 6884782"/>
              <a:gd name="connsiteY37580" fmla="*/ 2139439 h 5973007"/>
              <a:gd name="connsiteX37581" fmla="*/ 5125702 w 6884782"/>
              <a:gd name="connsiteY37581" fmla="*/ 2140008 h 5973007"/>
              <a:gd name="connsiteX37582" fmla="*/ 5119086 w 6884782"/>
              <a:gd name="connsiteY37582" fmla="*/ 2142712 h 5973007"/>
              <a:gd name="connsiteX37583" fmla="*/ 5117379 w 6884782"/>
              <a:gd name="connsiteY37583" fmla="*/ 2140862 h 5973007"/>
              <a:gd name="connsiteX37584" fmla="*/ 5119299 w 6884782"/>
              <a:gd name="connsiteY37584" fmla="*/ 2137447 h 5973007"/>
              <a:gd name="connsiteX37585" fmla="*/ 5118232 w 6884782"/>
              <a:gd name="connsiteY37585" fmla="*/ 2137163 h 5973007"/>
              <a:gd name="connsiteX37586" fmla="*/ 5095823 w 6884782"/>
              <a:gd name="connsiteY37586" fmla="*/ 2129053 h 5973007"/>
              <a:gd name="connsiteX37587" fmla="*/ 5103080 w 6884782"/>
              <a:gd name="connsiteY37587" fmla="*/ 2128057 h 5973007"/>
              <a:gd name="connsiteX37588" fmla="*/ 5102013 w 6884782"/>
              <a:gd name="connsiteY37588" fmla="*/ 2126493 h 5973007"/>
              <a:gd name="connsiteX37589" fmla="*/ 5102013 w 6884782"/>
              <a:gd name="connsiteY37589" fmla="*/ 2119806 h 5973007"/>
              <a:gd name="connsiteX37590" fmla="*/ 5105854 w 6884782"/>
              <a:gd name="connsiteY37590" fmla="*/ 2115822 h 5973007"/>
              <a:gd name="connsiteX37591" fmla="*/ 5107988 w 6884782"/>
              <a:gd name="connsiteY37591" fmla="*/ 2114827 h 5973007"/>
              <a:gd name="connsiteX37592" fmla="*/ 5152166 w 6884782"/>
              <a:gd name="connsiteY37592" fmla="*/ 2114399 h 5973007"/>
              <a:gd name="connsiteX37593" fmla="*/ 5140001 w 6884782"/>
              <a:gd name="connsiteY37593" fmla="*/ 2141573 h 5973007"/>
              <a:gd name="connsiteX37594" fmla="*/ 5152166 w 6884782"/>
              <a:gd name="connsiteY37594" fmla="*/ 2114399 h 5973007"/>
              <a:gd name="connsiteX37595" fmla="*/ 4668984 w 6884782"/>
              <a:gd name="connsiteY37595" fmla="*/ 2113262 h 5973007"/>
              <a:gd name="connsiteX37596" fmla="*/ 4672185 w 6884782"/>
              <a:gd name="connsiteY37596" fmla="*/ 2117529 h 5973007"/>
              <a:gd name="connsiteX37597" fmla="*/ 4661941 w 6884782"/>
              <a:gd name="connsiteY37597" fmla="*/ 2132041 h 5973007"/>
              <a:gd name="connsiteX37598" fmla="*/ 4668984 w 6884782"/>
              <a:gd name="connsiteY37598" fmla="*/ 2113262 h 5973007"/>
              <a:gd name="connsiteX37599" fmla="*/ 1027710 w 6884782"/>
              <a:gd name="connsiteY37599" fmla="*/ 2113118 h 5973007"/>
              <a:gd name="connsiteX37600" fmla="*/ 1032769 w 6884782"/>
              <a:gd name="connsiteY37600" fmla="*/ 2114357 h 5973007"/>
              <a:gd name="connsiteX37601" fmla="*/ 1028019 w 6884782"/>
              <a:gd name="connsiteY37601" fmla="*/ 2118539 h 5973007"/>
              <a:gd name="connsiteX37602" fmla="*/ 1026161 w 6884782"/>
              <a:gd name="connsiteY37602" fmla="*/ 2115596 h 5973007"/>
              <a:gd name="connsiteX37603" fmla="*/ 1027710 w 6884782"/>
              <a:gd name="connsiteY37603" fmla="*/ 2113118 h 5973007"/>
              <a:gd name="connsiteX37604" fmla="*/ 5177350 w 6884782"/>
              <a:gd name="connsiteY37604" fmla="*/ 2112977 h 5973007"/>
              <a:gd name="connsiteX37605" fmla="*/ 5166252 w 6884782"/>
              <a:gd name="connsiteY37605" fmla="*/ 2125212 h 5973007"/>
              <a:gd name="connsiteX37606" fmla="*/ 5162197 w 6884782"/>
              <a:gd name="connsiteY37606" fmla="*/ 2121940 h 5973007"/>
              <a:gd name="connsiteX37607" fmla="*/ 5164331 w 6884782"/>
              <a:gd name="connsiteY37607" fmla="*/ 2117814 h 5973007"/>
              <a:gd name="connsiteX37608" fmla="*/ 5167106 w 6884782"/>
              <a:gd name="connsiteY37608" fmla="*/ 2116249 h 5973007"/>
              <a:gd name="connsiteX37609" fmla="*/ 5167746 w 6884782"/>
              <a:gd name="connsiteY37609" fmla="*/ 2115822 h 5973007"/>
              <a:gd name="connsiteX37610" fmla="*/ 5177350 w 6884782"/>
              <a:gd name="connsiteY37610" fmla="*/ 2112977 h 5973007"/>
              <a:gd name="connsiteX37611" fmla="*/ 5843860 w 6884782"/>
              <a:gd name="connsiteY37611" fmla="*/ 2112408 h 5973007"/>
              <a:gd name="connsiteX37612" fmla="*/ 5845994 w 6884782"/>
              <a:gd name="connsiteY37612" fmla="*/ 2114115 h 5973007"/>
              <a:gd name="connsiteX37613" fmla="*/ 5845994 w 6884782"/>
              <a:gd name="connsiteY37613" fmla="*/ 2115965 h 5973007"/>
              <a:gd name="connsiteX37614" fmla="*/ 5850049 w 6884782"/>
              <a:gd name="connsiteY37614" fmla="*/ 2113689 h 5973007"/>
              <a:gd name="connsiteX37615" fmla="*/ 5860720 w 6884782"/>
              <a:gd name="connsiteY37615" fmla="*/ 2121940 h 5973007"/>
              <a:gd name="connsiteX37616" fmla="*/ 5855171 w 6884782"/>
              <a:gd name="connsiteY37616" fmla="*/ 2134744 h 5973007"/>
              <a:gd name="connsiteX37617" fmla="*/ 5855384 w 6884782"/>
              <a:gd name="connsiteY37617" fmla="*/ 2135740 h 5973007"/>
              <a:gd name="connsiteX37618" fmla="*/ 5856451 w 6884782"/>
              <a:gd name="connsiteY37618" fmla="*/ 2134744 h 5973007"/>
              <a:gd name="connsiteX37619" fmla="*/ 5857519 w 6884782"/>
              <a:gd name="connsiteY37619" fmla="*/ 2133749 h 5973007"/>
              <a:gd name="connsiteX37620" fmla="*/ 5860079 w 6884782"/>
              <a:gd name="connsiteY37620" fmla="*/ 2133464 h 5973007"/>
              <a:gd name="connsiteX37621" fmla="*/ 5867336 w 6884782"/>
              <a:gd name="connsiteY37621" fmla="*/ 2137021 h 5973007"/>
              <a:gd name="connsiteX37622" fmla="*/ 5850903 w 6884782"/>
              <a:gd name="connsiteY37622" fmla="*/ 2145557 h 5973007"/>
              <a:gd name="connsiteX37623" fmla="*/ 5847061 w 6884782"/>
              <a:gd name="connsiteY37623" fmla="*/ 2145983 h 5973007"/>
              <a:gd name="connsiteX37624" fmla="*/ 5845567 w 6884782"/>
              <a:gd name="connsiteY37624" fmla="*/ 2149540 h 5973007"/>
              <a:gd name="connsiteX37625" fmla="*/ 5840232 w 6884782"/>
              <a:gd name="connsiteY37625" fmla="*/ 2146837 h 5973007"/>
              <a:gd name="connsiteX37626" fmla="*/ 5841085 w 6884782"/>
              <a:gd name="connsiteY37626" fmla="*/ 2143850 h 5973007"/>
              <a:gd name="connsiteX37627" fmla="*/ 5838737 w 6884782"/>
              <a:gd name="connsiteY37627" fmla="*/ 2144134 h 5973007"/>
              <a:gd name="connsiteX37628" fmla="*/ 5840658 w 6884782"/>
              <a:gd name="connsiteY37628" fmla="*/ 2137447 h 5973007"/>
              <a:gd name="connsiteX37629" fmla="*/ 5840658 w 6884782"/>
              <a:gd name="connsiteY37629" fmla="*/ 2134886 h 5973007"/>
              <a:gd name="connsiteX37630" fmla="*/ 5842793 w 6884782"/>
              <a:gd name="connsiteY37630" fmla="*/ 2136167 h 5973007"/>
              <a:gd name="connsiteX37631" fmla="*/ 5840658 w 6884782"/>
              <a:gd name="connsiteY37631" fmla="*/ 2140151 h 5973007"/>
              <a:gd name="connsiteX37632" fmla="*/ 5842793 w 6884782"/>
              <a:gd name="connsiteY37632" fmla="*/ 2141573 h 5973007"/>
              <a:gd name="connsiteX37633" fmla="*/ 5842365 w 6884782"/>
              <a:gd name="connsiteY37633" fmla="*/ 2143280 h 5973007"/>
              <a:gd name="connsiteX37634" fmla="*/ 5842152 w 6884782"/>
              <a:gd name="connsiteY37634" fmla="*/ 2143565 h 5973007"/>
              <a:gd name="connsiteX37635" fmla="*/ 5842365 w 6884782"/>
              <a:gd name="connsiteY37635" fmla="*/ 2143707 h 5973007"/>
              <a:gd name="connsiteX37636" fmla="*/ 5842365 w 6884782"/>
              <a:gd name="connsiteY37636" fmla="*/ 2143280 h 5973007"/>
              <a:gd name="connsiteX37637" fmla="*/ 5852823 w 6884782"/>
              <a:gd name="connsiteY37637" fmla="*/ 2137589 h 5973007"/>
              <a:gd name="connsiteX37638" fmla="*/ 5852823 w 6884782"/>
              <a:gd name="connsiteY37638" fmla="*/ 2136167 h 5973007"/>
              <a:gd name="connsiteX37639" fmla="*/ 5851969 w 6884782"/>
              <a:gd name="connsiteY37639" fmla="*/ 2135598 h 5973007"/>
              <a:gd name="connsiteX37640" fmla="*/ 5848768 w 6884782"/>
              <a:gd name="connsiteY37640" fmla="*/ 2136451 h 5973007"/>
              <a:gd name="connsiteX37641" fmla="*/ 5839378 w 6884782"/>
              <a:gd name="connsiteY37641" fmla="*/ 2130476 h 5973007"/>
              <a:gd name="connsiteX37642" fmla="*/ 5840232 w 6884782"/>
              <a:gd name="connsiteY37642" fmla="*/ 2126920 h 5973007"/>
              <a:gd name="connsiteX37643" fmla="*/ 5840872 w 6884782"/>
              <a:gd name="connsiteY37643" fmla="*/ 2123363 h 5973007"/>
              <a:gd name="connsiteX37644" fmla="*/ 5840445 w 6884782"/>
              <a:gd name="connsiteY37644" fmla="*/ 2124928 h 5973007"/>
              <a:gd name="connsiteX37645" fmla="*/ 5835323 w 6884782"/>
              <a:gd name="connsiteY37645" fmla="*/ 2127062 h 5973007"/>
              <a:gd name="connsiteX37646" fmla="*/ 5837457 w 6884782"/>
              <a:gd name="connsiteY37646" fmla="*/ 2117956 h 5973007"/>
              <a:gd name="connsiteX37647" fmla="*/ 5842152 w 6884782"/>
              <a:gd name="connsiteY37647" fmla="*/ 2118241 h 5973007"/>
              <a:gd name="connsiteX37648" fmla="*/ 5842365 w 6884782"/>
              <a:gd name="connsiteY37648" fmla="*/ 2118099 h 5973007"/>
              <a:gd name="connsiteX37649" fmla="*/ 5842793 w 6884782"/>
              <a:gd name="connsiteY37649" fmla="*/ 2112977 h 5973007"/>
              <a:gd name="connsiteX37650" fmla="*/ 5843860 w 6884782"/>
              <a:gd name="connsiteY37650" fmla="*/ 2112408 h 5973007"/>
              <a:gd name="connsiteX37651" fmla="*/ 5573030 w 6884782"/>
              <a:gd name="connsiteY37651" fmla="*/ 2112408 h 5973007"/>
              <a:gd name="connsiteX37652" fmla="*/ 5576231 w 6884782"/>
              <a:gd name="connsiteY37652" fmla="*/ 2112551 h 5973007"/>
              <a:gd name="connsiteX37653" fmla="*/ 5567268 w 6884782"/>
              <a:gd name="connsiteY37653" fmla="*/ 2123932 h 5973007"/>
              <a:gd name="connsiteX37654" fmla="*/ 5562999 w 6884782"/>
              <a:gd name="connsiteY37654" fmla="*/ 2118241 h 5973007"/>
              <a:gd name="connsiteX37655" fmla="*/ 5573030 w 6884782"/>
              <a:gd name="connsiteY37655" fmla="*/ 2112408 h 5973007"/>
              <a:gd name="connsiteX37656" fmla="*/ 5434307 w 6884782"/>
              <a:gd name="connsiteY37656" fmla="*/ 2111697 h 5973007"/>
              <a:gd name="connsiteX37657" fmla="*/ 5435801 w 6884782"/>
              <a:gd name="connsiteY37657" fmla="*/ 2112977 h 5973007"/>
              <a:gd name="connsiteX37658" fmla="*/ 5432173 w 6884782"/>
              <a:gd name="connsiteY37658" fmla="*/ 2114827 h 5973007"/>
              <a:gd name="connsiteX37659" fmla="*/ 5431533 w 6884782"/>
              <a:gd name="connsiteY37659" fmla="*/ 2113262 h 5973007"/>
              <a:gd name="connsiteX37660" fmla="*/ 5431106 w 6884782"/>
              <a:gd name="connsiteY37660" fmla="*/ 2114257 h 5973007"/>
              <a:gd name="connsiteX37661" fmla="*/ 5431319 w 6884782"/>
              <a:gd name="connsiteY37661" fmla="*/ 2112692 h 5973007"/>
              <a:gd name="connsiteX37662" fmla="*/ 5432173 w 6884782"/>
              <a:gd name="connsiteY37662" fmla="*/ 2112266 h 5973007"/>
              <a:gd name="connsiteX37663" fmla="*/ 5434307 w 6884782"/>
              <a:gd name="connsiteY37663" fmla="*/ 2111697 h 5973007"/>
              <a:gd name="connsiteX37664" fmla="*/ 849179 w 6884782"/>
              <a:gd name="connsiteY37664" fmla="*/ 2111259 h 5973007"/>
              <a:gd name="connsiteX37665" fmla="*/ 852071 w 6884782"/>
              <a:gd name="connsiteY37665" fmla="*/ 2114047 h 5973007"/>
              <a:gd name="connsiteX37666" fmla="*/ 845462 w 6884782"/>
              <a:gd name="connsiteY37666" fmla="*/ 2118539 h 5973007"/>
              <a:gd name="connsiteX37667" fmla="*/ 843397 w 6884782"/>
              <a:gd name="connsiteY37667" fmla="*/ 2116990 h 5973007"/>
              <a:gd name="connsiteX37668" fmla="*/ 846288 w 6884782"/>
              <a:gd name="connsiteY37668" fmla="*/ 2111414 h 5973007"/>
              <a:gd name="connsiteX37669" fmla="*/ 849179 w 6884782"/>
              <a:gd name="connsiteY37669" fmla="*/ 2111259 h 5973007"/>
              <a:gd name="connsiteX37670" fmla="*/ 981244 w 6884782"/>
              <a:gd name="connsiteY37670" fmla="*/ 2110949 h 5973007"/>
              <a:gd name="connsiteX37671" fmla="*/ 984342 w 6884782"/>
              <a:gd name="connsiteY37671" fmla="*/ 2116061 h 5973007"/>
              <a:gd name="connsiteX37672" fmla="*/ 981657 w 6884782"/>
              <a:gd name="connsiteY37672" fmla="*/ 2116216 h 5973007"/>
              <a:gd name="connsiteX37673" fmla="*/ 981244 w 6884782"/>
              <a:gd name="connsiteY37673" fmla="*/ 2113737 h 5973007"/>
              <a:gd name="connsiteX37674" fmla="*/ 981244 w 6884782"/>
              <a:gd name="connsiteY37674" fmla="*/ 2110949 h 5973007"/>
              <a:gd name="connsiteX37675" fmla="*/ 5300066 w 6884782"/>
              <a:gd name="connsiteY37675" fmla="*/ 2110559 h 5973007"/>
              <a:gd name="connsiteX37676" fmla="*/ 5308816 w 6884782"/>
              <a:gd name="connsiteY37676" fmla="*/ 2126208 h 5973007"/>
              <a:gd name="connsiteX37677" fmla="*/ 5302841 w 6884782"/>
              <a:gd name="connsiteY37677" fmla="*/ 2128769 h 5973007"/>
              <a:gd name="connsiteX37678" fmla="*/ 5300066 w 6884782"/>
              <a:gd name="connsiteY37678" fmla="*/ 2110559 h 5973007"/>
              <a:gd name="connsiteX37679" fmla="*/ 5687209 w 6884782"/>
              <a:gd name="connsiteY37679" fmla="*/ 2110274 h 5973007"/>
              <a:gd name="connsiteX37680" fmla="*/ 5688917 w 6884782"/>
              <a:gd name="connsiteY37680" fmla="*/ 2118526 h 5973007"/>
              <a:gd name="connsiteX37681" fmla="*/ 5685716 w 6884782"/>
              <a:gd name="connsiteY37681" fmla="*/ 2128912 h 5973007"/>
              <a:gd name="connsiteX37682" fmla="*/ 5684435 w 6884782"/>
              <a:gd name="connsiteY37682" fmla="*/ 2127773 h 5973007"/>
              <a:gd name="connsiteX37683" fmla="*/ 5687209 w 6884782"/>
              <a:gd name="connsiteY37683" fmla="*/ 2110274 h 5973007"/>
              <a:gd name="connsiteX37684" fmla="*/ 4684350 w 6884782"/>
              <a:gd name="connsiteY37684" fmla="*/ 2110132 h 5973007"/>
              <a:gd name="connsiteX37685" fmla="*/ 4695234 w 6884782"/>
              <a:gd name="connsiteY37685" fmla="*/ 2122367 h 5973007"/>
              <a:gd name="connsiteX37686" fmla="*/ 4690539 w 6884782"/>
              <a:gd name="connsiteY37686" fmla="*/ 2125782 h 5973007"/>
              <a:gd name="connsiteX37687" fmla="*/ 4680935 w 6884782"/>
              <a:gd name="connsiteY37687" fmla="*/ 2122367 h 5973007"/>
              <a:gd name="connsiteX37688" fmla="*/ 4684350 w 6884782"/>
              <a:gd name="connsiteY37688" fmla="*/ 2110132 h 5973007"/>
              <a:gd name="connsiteX37689" fmla="*/ 5940539 w 6884782"/>
              <a:gd name="connsiteY37689" fmla="*/ 2109278 h 5973007"/>
              <a:gd name="connsiteX37690" fmla="*/ 5940112 w 6884782"/>
              <a:gd name="connsiteY37690" fmla="*/ 2109420 h 5973007"/>
              <a:gd name="connsiteX37691" fmla="*/ 5940539 w 6884782"/>
              <a:gd name="connsiteY37691" fmla="*/ 2109989 h 5973007"/>
              <a:gd name="connsiteX37692" fmla="*/ 5940966 w 6884782"/>
              <a:gd name="connsiteY37692" fmla="*/ 2110559 h 5973007"/>
              <a:gd name="connsiteX37693" fmla="*/ 5692972 w 6884782"/>
              <a:gd name="connsiteY37693" fmla="*/ 2109136 h 5973007"/>
              <a:gd name="connsiteX37694" fmla="*/ 5695533 w 6884782"/>
              <a:gd name="connsiteY37694" fmla="*/ 2112835 h 5973007"/>
              <a:gd name="connsiteX37695" fmla="*/ 5697667 w 6884782"/>
              <a:gd name="connsiteY37695" fmla="*/ 2111697 h 5973007"/>
              <a:gd name="connsiteX37696" fmla="*/ 5698947 w 6884782"/>
              <a:gd name="connsiteY37696" fmla="*/ 2112977 h 5973007"/>
              <a:gd name="connsiteX37697" fmla="*/ 5698094 w 6884782"/>
              <a:gd name="connsiteY37697" fmla="*/ 2116534 h 5973007"/>
              <a:gd name="connsiteX37698" fmla="*/ 5693185 w 6884782"/>
              <a:gd name="connsiteY37698" fmla="*/ 2111554 h 5973007"/>
              <a:gd name="connsiteX37699" fmla="*/ 5690838 w 6884782"/>
              <a:gd name="connsiteY37699" fmla="*/ 2110274 h 5973007"/>
              <a:gd name="connsiteX37700" fmla="*/ 5692972 w 6884782"/>
              <a:gd name="connsiteY37700" fmla="*/ 2109136 h 5973007"/>
              <a:gd name="connsiteX37701" fmla="*/ 5209576 w 6884782"/>
              <a:gd name="connsiteY37701" fmla="*/ 2107144 h 5973007"/>
              <a:gd name="connsiteX37702" fmla="*/ 5211923 w 6884782"/>
              <a:gd name="connsiteY37702" fmla="*/ 2111554 h 5973007"/>
              <a:gd name="connsiteX37703" fmla="*/ 5211497 w 6884782"/>
              <a:gd name="connsiteY37703" fmla="*/ 2115538 h 5973007"/>
              <a:gd name="connsiteX37704" fmla="*/ 5212137 w 6884782"/>
              <a:gd name="connsiteY37704" fmla="*/ 2115538 h 5973007"/>
              <a:gd name="connsiteX37705" fmla="*/ 5211923 w 6884782"/>
              <a:gd name="connsiteY37705" fmla="*/ 2110416 h 5973007"/>
              <a:gd name="connsiteX37706" fmla="*/ 5213204 w 6884782"/>
              <a:gd name="connsiteY37706" fmla="*/ 2111839 h 5973007"/>
              <a:gd name="connsiteX37707" fmla="*/ 5212991 w 6884782"/>
              <a:gd name="connsiteY37707" fmla="*/ 2114257 h 5973007"/>
              <a:gd name="connsiteX37708" fmla="*/ 5212778 w 6884782"/>
              <a:gd name="connsiteY37708" fmla="*/ 2115538 h 5973007"/>
              <a:gd name="connsiteX37709" fmla="*/ 5215552 w 6884782"/>
              <a:gd name="connsiteY37709" fmla="*/ 2115396 h 5973007"/>
              <a:gd name="connsiteX37710" fmla="*/ 5220247 w 6884782"/>
              <a:gd name="connsiteY37710" fmla="*/ 2126635 h 5973007"/>
              <a:gd name="connsiteX37711" fmla="*/ 5196344 w 6884782"/>
              <a:gd name="connsiteY37711" fmla="*/ 2129053 h 5973007"/>
              <a:gd name="connsiteX37712" fmla="*/ 5200612 w 6884782"/>
              <a:gd name="connsiteY37712" fmla="*/ 2120517 h 5973007"/>
              <a:gd name="connsiteX37713" fmla="*/ 5201893 w 6884782"/>
              <a:gd name="connsiteY37713" fmla="*/ 2119806 h 5973007"/>
              <a:gd name="connsiteX37714" fmla="*/ 5202533 w 6884782"/>
              <a:gd name="connsiteY37714" fmla="*/ 2115965 h 5973007"/>
              <a:gd name="connsiteX37715" fmla="*/ 5209576 w 6884782"/>
              <a:gd name="connsiteY37715" fmla="*/ 2107144 h 5973007"/>
              <a:gd name="connsiteX37716" fmla="*/ 5804164 w 6884782"/>
              <a:gd name="connsiteY37716" fmla="*/ 2106148 h 5973007"/>
              <a:gd name="connsiteX37717" fmla="*/ 5806084 w 6884782"/>
              <a:gd name="connsiteY37717" fmla="*/ 2111697 h 5973007"/>
              <a:gd name="connsiteX37718" fmla="*/ 5801176 w 6884782"/>
              <a:gd name="connsiteY37718" fmla="*/ 2112551 h 5973007"/>
              <a:gd name="connsiteX37719" fmla="*/ 5798828 w 6884782"/>
              <a:gd name="connsiteY37719" fmla="*/ 2109562 h 5973007"/>
              <a:gd name="connsiteX37720" fmla="*/ 5800109 w 6884782"/>
              <a:gd name="connsiteY37720" fmla="*/ 2109136 h 5973007"/>
              <a:gd name="connsiteX37721" fmla="*/ 5804164 w 6884782"/>
              <a:gd name="connsiteY37721" fmla="*/ 2106148 h 5973007"/>
              <a:gd name="connsiteX37722" fmla="*/ 5586475 w 6884782"/>
              <a:gd name="connsiteY37722" fmla="*/ 2105152 h 5973007"/>
              <a:gd name="connsiteX37723" fmla="*/ 5591384 w 6884782"/>
              <a:gd name="connsiteY37723" fmla="*/ 2108709 h 5973007"/>
              <a:gd name="connsiteX37724" fmla="*/ 5591170 w 6884782"/>
              <a:gd name="connsiteY37724" fmla="*/ 2111554 h 5973007"/>
              <a:gd name="connsiteX37725" fmla="*/ 5590103 w 6884782"/>
              <a:gd name="connsiteY37725" fmla="*/ 2112266 h 5973007"/>
              <a:gd name="connsiteX37726" fmla="*/ 5586049 w 6884782"/>
              <a:gd name="connsiteY37726" fmla="*/ 2114827 h 5973007"/>
              <a:gd name="connsiteX37727" fmla="*/ 5581354 w 6884782"/>
              <a:gd name="connsiteY37727" fmla="*/ 2110986 h 5973007"/>
              <a:gd name="connsiteX37728" fmla="*/ 5586475 w 6884782"/>
              <a:gd name="connsiteY37728" fmla="*/ 2105152 h 5973007"/>
              <a:gd name="connsiteX37729" fmla="*/ 4889446 w 6884782"/>
              <a:gd name="connsiteY37729" fmla="*/ 2105152 h 5973007"/>
              <a:gd name="connsiteX37730" fmla="*/ 4892434 w 6884782"/>
              <a:gd name="connsiteY37730" fmla="*/ 2105721 h 5973007"/>
              <a:gd name="connsiteX37731" fmla="*/ 4893074 w 6884782"/>
              <a:gd name="connsiteY37731" fmla="*/ 2109705 h 5973007"/>
              <a:gd name="connsiteX37732" fmla="*/ 4892221 w 6884782"/>
              <a:gd name="connsiteY37732" fmla="*/ 2110274 h 5973007"/>
              <a:gd name="connsiteX37733" fmla="*/ 4889446 w 6884782"/>
              <a:gd name="connsiteY37733" fmla="*/ 2105152 h 5973007"/>
              <a:gd name="connsiteX37734" fmla="*/ 5490863 w 6884782"/>
              <a:gd name="connsiteY37734" fmla="*/ 2104725 h 5973007"/>
              <a:gd name="connsiteX37735" fmla="*/ 5495131 w 6884782"/>
              <a:gd name="connsiteY37735" fmla="*/ 2107286 h 5973007"/>
              <a:gd name="connsiteX37736" fmla="*/ 5494918 w 6884782"/>
              <a:gd name="connsiteY37736" fmla="*/ 2110843 h 5973007"/>
              <a:gd name="connsiteX37737" fmla="*/ 5490863 w 6884782"/>
              <a:gd name="connsiteY37737" fmla="*/ 2104725 h 5973007"/>
              <a:gd name="connsiteX37738" fmla="*/ 5008321 w 6884782"/>
              <a:gd name="connsiteY37738" fmla="*/ 2104156 h 5973007"/>
              <a:gd name="connsiteX37739" fmla="*/ 5013657 w 6884782"/>
              <a:gd name="connsiteY37739" fmla="*/ 2107998 h 5973007"/>
              <a:gd name="connsiteX37740" fmla="*/ 5014083 w 6884782"/>
              <a:gd name="connsiteY37740" fmla="*/ 2109562 h 5973007"/>
              <a:gd name="connsiteX37741" fmla="*/ 5015577 w 6884782"/>
              <a:gd name="connsiteY37741" fmla="*/ 2116818 h 5973007"/>
              <a:gd name="connsiteX37742" fmla="*/ 5018138 w 6884782"/>
              <a:gd name="connsiteY37742" fmla="*/ 2118526 h 5973007"/>
              <a:gd name="connsiteX37743" fmla="*/ 5013443 w 6884782"/>
              <a:gd name="connsiteY37743" fmla="*/ 2126065 h 5973007"/>
              <a:gd name="connsiteX37744" fmla="*/ 5011096 w 6884782"/>
              <a:gd name="connsiteY37744" fmla="*/ 2126208 h 5973007"/>
              <a:gd name="connsiteX37745" fmla="*/ 5010882 w 6884782"/>
              <a:gd name="connsiteY37745" fmla="*/ 2128627 h 5973007"/>
              <a:gd name="connsiteX37746" fmla="*/ 5010242 w 6884782"/>
              <a:gd name="connsiteY37746" fmla="*/ 2128484 h 5973007"/>
              <a:gd name="connsiteX37747" fmla="*/ 5010242 w 6884782"/>
              <a:gd name="connsiteY37747" fmla="*/ 2130618 h 5973007"/>
              <a:gd name="connsiteX37748" fmla="*/ 4995943 w 6884782"/>
              <a:gd name="connsiteY37748" fmla="*/ 2142142 h 5973007"/>
              <a:gd name="connsiteX37749" fmla="*/ 4993168 w 6884782"/>
              <a:gd name="connsiteY37749" fmla="*/ 2138016 h 5973007"/>
              <a:gd name="connsiteX37750" fmla="*/ 4993808 w 6884782"/>
              <a:gd name="connsiteY37750" fmla="*/ 2134886 h 5973007"/>
              <a:gd name="connsiteX37751" fmla="*/ 4993382 w 6884782"/>
              <a:gd name="connsiteY37751" fmla="*/ 2134886 h 5973007"/>
              <a:gd name="connsiteX37752" fmla="*/ 4985485 w 6884782"/>
              <a:gd name="connsiteY37752" fmla="*/ 2127488 h 5973007"/>
              <a:gd name="connsiteX37753" fmla="*/ 4988900 w 6884782"/>
              <a:gd name="connsiteY37753" fmla="*/ 2126777 h 5973007"/>
              <a:gd name="connsiteX37754" fmla="*/ 4994022 w 6884782"/>
              <a:gd name="connsiteY37754" fmla="*/ 2130334 h 5973007"/>
              <a:gd name="connsiteX37755" fmla="*/ 4994449 w 6884782"/>
              <a:gd name="connsiteY37755" fmla="*/ 2131330 h 5973007"/>
              <a:gd name="connsiteX37756" fmla="*/ 4997010 w 6884782"/>
              <a:gd name="connsiteY37756" fmla="*/ 2129480 h 5973007"/>
              <a:gd name="connsiteX37757" fmla="*/ 4999144 w 6884782"/>
              <a:gd name="connsiteY37757" fmla="*/ 2125923 h 5973007"/>
              <a:gd name="connsiteX37758" fmla="*/ 5002559 w 6884782"/>
              <a:gd name="connsiteY37758" fmla="*/ 2125497 h 5973007"/>
              <a:gd name="connsiteX37759" fmla="*/ 5002772 w 6884782"/>
              <a:gd name="connsiteY37759" fmla="*/ 2125497 h 5973007"/>
              <a:gd name="connsiteX37760" fmla="*/ 5002772 w 6884782"/>
              <a:gd name="connsiteY37760" fmla="*/ 2125355 h 5973007"/>
              <a:gd name="connsiteX37761" fmla="*/ 5001065 w 6884782"/>
              <a:gd name="connsiteY37761" fmla="*/ 2123790 h 5973007"/>
              <a:gd name="connsiteX37762" fmla="*/ 5000851 w 6884782"/>
              <a:gd name="connsiteY37762" fmla="*/ 2124217 h 5973007"/>
              <a:gd name="connsiteX37763" fmla="*/ 4990180 w 6884782"/>
              <a:gd name="connsiteY37763" fmla="*/ 2127346 h 5973007"/>
              <a:gd name="connsiteX37764" fmla="*/ 4996796 w 6884782"/>
              <a:gd name="connsiteY37764" fmla="*/ 2115254 h 5973007"/>
              <a:gd name="connsiteX37765" fmla="*/ 5000425 w 6884782"/>
              <a:gd name="connsiteY37765" fmla="*/ 2113689 h 5973007"/>
              <a:gd name="connsiteX37766" fmla="*/ 5003626 w 6884782"/>
              <a:gd name="connsiteY37766" fmla="*/ 2113973 h 5973007"/>
              <a:gd name="connsiteX37767" fmla="*/ 5003626 w 6884782"/>
              <a:gd name="connsiteY37767" fmla="*/ 2112692 h 5973007"/>
              <a:gd name="connsiteX37768" fmla="*/ 5002772 w 6884782"/>
              <a:gd name="connsiteY37768" fmla="*/ 2105863 h 5973007"/>
              <a:gd name="connsiteX37769" fmla="*/ 5008321 w 6884782"/>
              <a:gd name="connsiteY37769" fmla="*/ 2104156 h 5973007"/>
              <a:gd name="connsiteX37770" fmla="*/ 5977033 w 6884782"/>
              <a:gd name="connsiteY37770" fmla="*/ 2104015 h 5973007"/>
              <a:gd name="connsiteX37771" fmla="*/ 5979168 w 6884782"/>
              <a:gd name="connsiteY37771" fmla="*/ 2105437 h 5973007"/>
              <a:gd name="connsiteX37772" fmla="*/ 5983009 w 6884782"/>
              <a:gd name="connsiteY37772" fmla="*/ 2108851 h 5973007"/>
              <a:gd name="connsiteX37773" fmla="*/ 5975326 w 6884782"/>
              <a:gd name="connsiteY37773" fmla="*/ 2104441 h 5973007"/>
              <a:gd name="connsiteX37774" fmla="*/ 5977033 w 6884782"/>
              <a:gd name="connsiteY37774" fmla="*/ 2104015 h 5973007"/>
              <a:gd name="connsiteX37775" fmla="*/ 6174660 w 6884782"/>
              <a:gd name="connsiteY37775" fmla="*/ 2103445 h 5973007"/>
              <a:gd name="connsiteX37776" fmla="*/ 6180636 w 6884782"/>
              <a:gd name="connsiteY37776" fmla="*/ 2109136 h 5973007"/>
              <a:gd name="connsiteX37777" fmla="*/ 6182984 w 6884782"/>
              <a:gd name="connsiteY37777" fmla="*/ 2113831 h 5973007"/>
              <a:gd name="connsiteX37778" fmla="*/ 6182343 w 6884782"/>
              <a:gd name="connsiteY37778" fmla="*/ 2118810 h 5973007"/>
              <a:gd name="connsiteX37779" fmla="*/ 6181916 w 6884782"/>
              <a:gd name="connsiteY37779" fmla="*/ 2127062 h 5973007"/>
              <a:gd name="connsiteX37780" fmla="*/ 6176154 w 6884782"/>
              <a:gd name="connsiteY37780" fmla="*/ 2127346 h 5973007"/>
              <a:gd name="connsiteX37781" fmla="*/ 6170605 w 6884782"/>
              <a:gd name="connsiteY37781" fmla="*/ 2105152 h 5973007"/>
              <a:gd name="connsiteX37782" fmla="*/ 6174660 w 6884782"/>
              <a:gd name="connsiteY37782" fmla="*/ 2103445 h 5973007"/>
              <a:gd name="connsiteX37783" fmla="*/ 5488943 w 6884782"/>
              <a:gd name="connsiteY37783" fmla="*/ 2102591 h 5973007"/>
              <a:gd name="connsiteX37784" fmla="*/ 5490223 w 6884782"/>
              <a:gd name="connsiteY37784" fmla="*/ 2104156 h 5973007"/>
              <a:gd name="connsiteX37785" fmla="*/ 5489796 w 6884782"/>
              <a:gd name="connsiteY37785" fmla="*/ 2105152 h 5973007"/>
              <a:gd name="connsiteX37786" fmla="*/ 5487875 w 6884782"/>
              <a:gd name="connsiteY37786" fmla="*/ 2103018 h 5973007"/>
              <a:gd name="connsiteX37787" fmla="*/ 5488943 w 6884782"/>
              <a:gd name="connsiteY37787" fmla="*/ 2102591 h 5973007"/>
              <a:gd name="connsiteX37788" fmla="*/ 4907160 w 6884782"/>
              <a:gd name="connsiteY37788" fmla="*/ 2102165 h 5973007"/>
              <a:gd name="connsiteX37789" fmla="*/ 4912283 w 6884782"/>
              <a:gd name="connsiteY37789" fmla="*/ 2102307 h 5973007"/>
              <a:gd name="connsiteX37790" fmla="*/ 4913136 w 6884782"/>
              <a:gd name="connsiteY37790" fmla="*/ 2112977 h 5973007"/>
              <a:gd name="connsiteX37791" fmla="*/ 4907160 w 6884782"/>
              <a:gd name="connsiteY37791" fmla="*/ 2102165 h 5973007"/>
              <a:gd name="connsiteX37792" fmla="*/ 4759901 w 6884782"/>
              <a:gd name="connsiteY37792" fmla="*/ 2102023 h 5973007"/>
              <a:gd name="connsiteX37793" fmla="*/ 4761822 w 6884782"/>
              <a:gd name="connsiteY37793" fmla="*/ 2102591 h 5973007"/>
              <a:gd name="connsiteX37794" fmla="*/ 4763955 w 6884782"/>
              <a:gd name="connsiteY37794" fmla="*/ 2104868 h 5973007"/>
              <a:gd name="connsiteX37795" fmla="*/ 4759047 w 6884782"/>
              <a:gd name="connsiteY37795" fmla="*/ 2106575 h 5973007"/>
              <a:gd name="connsiteX37796" fmla="*/ 4757980 w 6884782"/>
              <a:gd name="connsiteY37796" fmla="*/ 2102876 h 5973007"/>
              <a:gd name="connsiteX37797" fmla="*/ 4759901 w 6884782"/>
              <a:gd name="connsiteY37797" fmla="*/ 2102023 h 5973007"/>
              <a:gd name="connsiteX37798" fmla="*/ 896264 w 6884782"/>
              <a:gd name="connsiteY37798" fmla="*/ 2101965 h 5973007"/>
              <a:gd name="connsiteX37799" fmla="*/ 900808 w 6884782"/>
              <a:gd name="connsiteY37799" fmla="*/ 2103049 h 5973007"/>
              <a:gd name="connsiteX37800" fmla="*/ 901633 w 6884782"/>
              <a:gd name="connsiteY37800" fmla="*/ 2103979 h 5973007"/>
              <a:gd name="connsiteX37801" fmla="*/ 904731 w 6884782"/>
              <a:gd name="connsiteY37801" fmla="*/ 2108316 h 5973007"/>
              <a:gd name="connsiteX37802" fmla="*/ 907003 w 6884782"/>
              <a:gd name="connsiteY37802" fmla="*/ 2108626 h 5973007"/>
              <a:gd name="connsiteX37803" fmla="*/ 907416 w 6884782"/>
              <a:gd name="connsiteY37803" fmla="*/ 2112033 h 5973007"/>
              <a:gd name="connsiteX37804" fmla="*/ 906590 w 6884782"/>
              <a:gd name="connsiteY37804" fmla="*/ 2113737 h 5973007"/>
              <a:gd name="connsiteX37805" fmla="*/ 906280 w 6884782"/>
              <a:gd name="connsiteY37805" fmla="*/ 2115286 h 5973007"/>
              <a:gd name="connsiteX37806" fmla="*/ 905557 w 6884782"/>
              <a:gd name="connsiteY37806" fmla="*/ 2115286 h 5973007"/>
              <a:gd name="connsiteX37807" fmla="*/ 899878 w 6884782"/>
              <a:gd name="connsiteY37807" fmla="*/ 2118074 h 5973007"/>
              <a:gd name="connsiteX37808" fmla="*/ 895645 w 6884782"/>
              <a:gd name="connsiteY37808" fmla="*/ 2116680 h 5973007"/>
              <a:gd name="connsiteX37809" fmla="*/ 895438 w 6884782"/>
              <a:gd name="connsiteY37809" fmla="*/ 2112498 h 5973007"/>
              <a:gd name="connsiteX37810" fmla="*/ 896781 w 6884782"/>
              <a:gd name="connsiteY37810" fmla="*/ 2110949 h 5973007"/>
              <a:gd name="connsiteX37811" fmla="*/ 895438 w 6884782"/>
              <a:gd name="connsiteY37811" fmla="*/ 2109090 h 5973007"/>
              <a:gd name="connsiteX37812" fmla="*/ 892857 w 6884782"/>
              <a:gd name="connsiteY37812" fmla="*/ 2104753 h 5973007"/>
              <a:gd name="connsiteX37813" fmla="*/ 896264 w 6884782"/>
              <a:gd name="connsiteY37813" fmla="*/ 2101965 h 5973007"/>
              <a:gd name="connsiteX37814" fmla="*/ 5102653 w 6884782"/>
              <a:gd name="connsiteY37814" fmla="*/ 2100600 h 5973007"/>
              <a:gd name="connsiteX37815" fmla="*/ 5103293 w 6884782"/>
              <a:gd name="connsiteY37815" fmla="*/ 2104441 h 5973007"/>
              <a:gd name="connsiteX37816" fmla="*/ 5102866 w 6884782"/>
              <a:gd name="connsiteY37816" fmla="*/ 2106006 h 5973007"/>
              <a:gd name="connsiteX37817" fmla="*/ 5103293 w 6884782"/>
              <a:gd name="connsiteY37817" fmla="*/ 2107002 h 5973007"/>
              <a:gd name="connsiteX37818" fmla="*/ 5102439 w 6884782"/>
              <a:gd name="connsiteY37818" fmla="*/ 2107713 h 5973007"/>
              <a:gd name="connsiteX37819" fmla="*/ 5101372 w 6884782"/>
              <a:gd name="connsiteY37819" fmla="*/ 2110986 h 5973007"/>
              <a:gd name="connsiteX37820" fmla="*/ 5101585 w 6884782"/>
              <a:gd name="connsiteY37820" fmla="*/ 2119095 h 5973007"/>
              <a:gd name="connsiteX37821" fmla="*/ 5097530 w 6884782"/>
              <a:gd name="connsiteY37821" fmla="*/ 2126920 h 5973007"/>
              <a:gd name="connsiteX37822" fmla="*/ 5094329 w 6884782"/>
              <a:gd name="connsiteY37822" fmla="*/ 2126208 h 5973007"/>
              <a:gd name="connsiteX37823" fmla="*/ 5093476 w 6884782"/>
              <a:gd name="connsiteY37823" fmla="*/ 2129480 h 5973007"/>
              <a:gd name="connsiteX37824" fmla="*/ 5079603 w 6884782"/>
              <a:gd name="connsiteY37824" fmla="*/ 2136736 h 5973007"/>
              <a:gd name="connsiteX37825" fmla="*/ 5077683 w 6884782"/>
              <a:gd name="connsiteY37825" fmla="*/ 2135029 h 5973007"/>
              <a:gd name="connsiteX37826" fmla="*/ 5077469 w 6884782"/>
              <a:gd name="connsiteY37826" fmla="*/ 2134886 h 5973007"/>
              <a:gd name="connsiteX37827" fmla="*/ 5077256 w 6884782"/>
              <a:gd name="connsiteY37827" fmla="*/ 2135456 h 5973007"/>
              <a:gd name="connsiteX37828" fmla="*/ 5075975 w 6884782"/>
              <a:gd name="connsiteY37828" fmla="*/ 2140577 h 5973007"/>
              <a:gd name="connsiteX37829" fmla="*/ 5073841 w 6884782"/>
              <a:gd name="connsiteY37829" fmla="*/ 2140862 h 5973007"/>
              <a:gd name="connsiteX37830" fmla="*/ 5078109 w 6884782"/>
              <a:gd name="connsiteY37830" fmla="*/ 2143850 h 5973007"/>
              <a:gd name="connsiteX37831" fmla="*/ 5081097 w 6884782"/>
              <a:gd name="connsiteY37831" fmla="*/ 2162060 h 5973007"/>
              <a:gd name="connsiteX37832" fmla="*/ 5062103 w 6884782"/>
              <a:gd name="connsiteY37832" fmla="*/ 2153239 h 5973007"/>
              <a:gd name="connsiteX37833" fmla="*/ 5069573 w 6884782"/>
              <a:gd name="connsiteY37833" fmla="*/ 2140293 h 5973007"/>
              <a:gd name="connsiteX37834" fmla="*/ 5072560 w 6884782"/>
              <a:gd name="connsiteY37834" fmla="*/ 2140151 h 5973007"/>
              <a:gd name="connsiteX37835" fmla="*/ 5071067 w 6884782"/>
              <a:gd name="connsiteY37835" fmla="*/ 2137732 h 5973007"/>
              <a:gd name="connsiteX37836" fmla="*/ 5071067 w 6884782"/>
              <a:gd name="connsiteY37836" fmla="*/ 2130334 h 5973007"/>
              <a:gd name="connsiteX37837" fmla="*/ 5072560 w 6884782"/>
              <a:gd name="connsiteY37837" fmla="*/ 2126493 h 5973007"/>
              <a:gd name="connsiteX37838" fmla="*/ 5072134 w 6884782"/>
              <a:gd name="connsiteY37838" fmla="*/ 2124928 h 5973007"/>
              <a:gd name="connsiteX37839" fmla="*/ 5084512 w 6884782"/>
              <a:gd name="connsiteY37839" fmla="*/ 2114684 h 5973007"/>
              <a:gd name="connsiteX37840" fmla="*/ 5090914 w 6884782"/>
              <a:gd name="connsiteY37840" fmla="*/ 2116818 h 5973007"/>
              <a:gd name="connsiteX37841" fmla="*/ 5091982 w 6884782"/>
              <a:gd name="connsiteY37841" fmla="*/ 2118099 h 5973007"/>
              <a:gd name="connsiteX37842" fmla="*/ 5090701 w 6884782"/>
              <a:gd name="connsiteY37842" fmla="*/ 2114257 h 5973007"/>
              <a:gd name="connsiteX37843" fmla="*/ 5092195 w 6884782"/>
              <a:gd name="connsiteY37843" fmla="*/ 2109136 h 5973007"/>
              <a:gd name="connsiteX37844" fmla="*/ 5092622 w 6884782"/>
              <a:gd name="connsiteY37844" fmla="*/ 2103161 h 5973007"/>
              <a:gd name="connsiteX37845" fmla="*/ 5094970 w 6884782"/>
              <a:gd name="connsiteY37845" fmla="*/ 2101169 h 5973007"/>
              <a:gd name="connsiteX37846" fmla="*/ 5096250 w 6884782"/>
              <a:gd name="connsiteY37846" fmla="*/ 2101453 h 5973007"/>
              <a:gd name="connsiteX37847" fmla="*/ 5096890 w 6884782"/>
              <a:gd name="connsiteY37847" fmla="*/ 2104156 h 5973007"/>
              <a:gd name="connsiteX37848" fmla="*/ 5096250 w 6884782"/>
              <a:gd name="connsiteY37848" fmla="*/ 2110986 h 5973007"/>
              <a:gd name="connsiteX37849" fmla="*/ 5095397 w 6884782"/>
              <a:gd name="connsiteY37849" fmla="*/ 2115111 h 5973007"/>
              <a:gd name="connsiteX37850" fmla="*/ 5097744 w 6884782"/>
              <a:gd name="connsiteY37850" fmla="*/ 2107998 h 5973007"/>
              <a:gd name="connsiteX37851" fmla="*/ 5102653 w 6884782"/>
              <a:gd name="connsiteY37851" fmla="*/ 2100600 h 5973007"/>
              <a:gd name="connsiteX37852" fmla="*/ 6024839 w 6884782"/>
              <a:gd name="connsiteY37852" fmla="*/ 2100315 h 5973007"/>
              <a:gd name="connsiteX37853" fmla="*/ 6029535 w 6884782"/>
              <a:gd name="connsiteY37853" fmla="*/ 2101026 h 5973007"/>
              <a:gd name="connsiteX37854" fmla="*/ 6037858 w 6884782"/>
              <a:gd name="connsiteY37854" fmla="*/ 2104583 h 5973007"/>
              <a:gd name="connsiteX37855" fmla="*/ 6018437 w 6884782"/>
              <a:gd name="connsiteY37855" fmla="*/ 2112977 h 5973007"/>
              <a:gd name="connsiteX37856" fmla="*/ 6019717 w 6884782"/>
              <a:gd name="connsiteY37856" fmla="*/ 2101026 h 5973007"/>
              <a:gd name="connsiteX37857" fmla="*/ 6024839 w 6884782"/>
              <a:gd name="connsiteY37857" fmla="*/ 2100315 h 5973007"/>
              <a:gd name="connsiteX37858" fmla="*/ 5280858 w 6884782"/>
              <a:gd name="connsiteY37858" fmla="*/ 2100173 h 5973007"/>
              <a:gd name="connsiteX37859" fmla="*/ 5293237 w 6884782"/>
              <a:gd name="connsiteY37859" fmla="*/ 2106148 h 5973007"/>
              <a:gd name="connsiteX37860" fmla="*/ 5293877 w 6884782"/>
              <a:gd name="connsiteY37860" fmla="*/ 2111270 h 5973007"/>
              <a:gd name="connsiteX37861" fmla="*/ 5283206 w 6884782"/>
              <a:gd name="connsiteY37861" fmla="*/ 2114827 h 5973007"/>
              <a:gd name="connsiteX37862" fmla="*/ 5282566 w 6884782"/>
              <a:gd name="connsiteY37862" fmla="*/ 2114257 h 5973007"/>
              <a:gd name="connsiteX37863" fmla="*/ 5282566 w 6884782"/>
              <a:gd name="connsiteY37863" fmla="*/ 2114399 h 5973007"/>
              <a:gd name="connsiteX37864" fmla="*/ 5279791 w 6884782"/>
              <a:gd name="connsiteY37864" fmla="*/ 2116249 h 5973007"/>
              <a:gd name="connsiteX37865" fmla="*/ 5277230 w 6884782"/>
              <a:gd name="connsiteY37865" fmla="*/ 2110274 h 5973007"/>
              <a:gd name="connsiteX37866" fmla="*/ 5278937 w 6884782"/>
              <a:gd name="connsiteY37866" fmla="*/ 2109847 h 5973007"/>
              <a:gd name="connsiteX37867" fmla="*/ 5278084 w 6884782"/>
              <a:gd name="connsiteY37867" fmla="*/ 2106860 h 5973007"/>
              <a:gd name="connsiteX37868" fmla="*/ 5280858 w 6884782"/>
              <a:gd name="connsiteY37868" fmla="*/ 2100173 h 5973007"/>
              <a:gd name="connsiteX37869" fmla="*/ 4980790 w 6884782"/>
              <a:gd name="connsiteY37869" fmla="*/ 2099461 h 5973007"/>
              <a:gd name="connsiteX37870" fmla="*/ 4981217 w 6884782"/>
              <a:gd name="connsiteY37870" fmla="*/ 2100457 h 5973007"/>
              <a:gd name="connsiteX37871" fmla="*/ 4976949 w 6884782"/>
              <a:gd name="connsiteY37871" fmla="*/ 2101738 h 5973007"/>
              <a:gd name="connsiteX37872" fmla="*/ 4980790 w 6884782"/>
              <a:gd name="connsiteY37872" fmla="*/ 2099461 h 5973007"/>
              <a:gd name="connsiteX37873" fmla="*/ 5957826 w 6884782"/>
              <a:gd name="connsiteY37873" fmla="*/ 2099177 h 5973007"/>
              <a:gd name="connsiteX37874" fmla="*/ 5964869 w 6884782"/>
              <a:gd name="connsiteY37874" fmla="*/ 2100884 h 5973007"/>
              <a:gd name="connsiteX37875" fmla="*/ 5957186 w 6884782"/>
              <a:gd name="connsiteY37875" fmla="*/ 2107429 h 5973007"/>
              <a:gd name="connsiteX37876" fmla="*/ 5957826 w 6884782"/>
              <a:gd name="connsiteY37876" fmla="*/ 2099177 h 5973007"/>
              <a:gd name="connsiteX37877" fmla="*/ 5181832 w 6884782"/>
              <a:gd name="connsiteY37877" fmla="*/ 2098893 h 5973007"/>
              <a:gd name="connsiteX37878" fmla="*/ 5186953 w 6884782"/>
              <a:gd name="connsiteY37878" fmla="*/ 2103730 h 5973007"/>
              <a:gd name="connsiteX37879" fmla="*/ 5183965 w 6884782"/>
              <a:gd name="connsiteY37879" fmla="*/ 2108282 h 5973007"/>
              <a:gd name="connsiteX37880" fmla="*/ 5178844 w 6884782"/>
              <a:gd name="connsiteY37880" fmla="*/ 2103445 h 5973007"/>
              <a:gd name="connsiteX37881" fmla="*/ 5181832 w 6884782"/>
              <a:gd name="connsiteY37881" fmla="*/ 2098893 h 5973007"/>
              <a:gd name="connsiteX37882" fmla="*/ 5484888 w 6884782"/>
              <a:gd name="connsiteY37882" fmla="*/ 2098181 h 5973007"/>
              <a:gd name="connsiteX37883" fmla="*/ 5485955 w 6884782"/>
              <a:gd name="connsiteY37883" fmla="*/ 2101880 h 5973007"/>
              <a:gd name="connsiteX37884" fmla="*/ 5485741 w 6884782"/>
              <a:gd name="connsiteY37884" fmla="*/ 2103445 h 5973007"/>
              <a:gd name="connsiteX37885" fmla="*/ 5486381 w 6884782"/>
              <a:gd name="connsiteY37885" fmla="*/ 2104583 h 5973007"/>
              <a:gd name="connsiteX37886" fmla="*/ 5485528 w 6884782"/>
              <a:gd name="connsiteY37886" fmla="*/ 2105152 h 5973007"/>
              <a:gd name="connsiteX37887" fmla="*/ 5484888 w 6884782"/>
              <a:gd name="connsiteY37887" fmla="*/ 2108425 h 5973007"/>
              <a:gd name="connsiteX37888" fmla="*/ 5486381 w 6884782"/>
              <a:gd name="connsiteY37888" fmla="*/ 2116534 h 5973007"/>
              <a:gd name="connsiteX37889" fmla="*/ 5483393 w 6884782"/>
              <a:gd name="connsiteY37889" fmla="*/ 2124358 h 5973007"/>
              <a:gd name="connsiteX37890" fmla="*/ 5480192 w 6884782"/>
              <a:gd name="connsiteY37890" fmla="*/ 2123505 h 5973007"/>
              <a:gd name="connsiteX37891" fmla="*/ 5479765 w 6884782"/>
              <a:gd name="connsiteY37891" fmla="*/ 2126777 h 5973007"/>
              <a:gd name="connsiteX37892" fmla="*/ 5467174 w 6884782"/>
              <a:gd name="connsiteY37892" fmla="*/ 2133749 h 5973007"/>
              <a:gd name="connsiteX37893" fmla="*/ 5460985 w 6884782"/>
              <a:gd name="connsiteY37893" fmla="*/ 2130334 h 5973007"/>
              <a:gd name="connsiteX37894" fmla="*/ 5458423 w 6884782"/>
              <a:gd name="connsiteY37894" fmla="*/ 2126208 h 5973007"/>
              <a:gd name="connsiteX37895" fmla="*/ 5458423 w 6884782"/>
              <a:gd name="connsiteY37895" fmla="*/ 2125923 h 5973007"/>
              <a:gd name="connsiteX37896" fmla="*/ 5450954 w 6884782"/>
              <a:gd name="connsiteY37896" fmla="*/ 2123363 h 5973007"/>
              <a:gd name="connsiteX37897" fmla="*/ 5450314 w 6884782"/>
              <a:gd name="connsiteY37897" fmla="*/ 2122793 h 5973007"/>
              <a:gd name="connsiteX37898" fmla="*/ 5449887 w 6884782"/>
              <a:gd name="connsiteY37898" fmla="*/ 2122651 h 5973007"/>
              <a:gd name="connsiteX37899" fmla="*/ 5434734 w 6884782"/>
              <a:gd name="connsiteY37899" fmla="*/ 2115681 h 5973007"/>
              <a:gd name="connsiteX37900" fmla="*/ 5444551 w 6884782"/>
              <a:gd name="connsiteY37900" fmla="*/ 2113831 h 5973007"/>
              <a:gd name="connsiteX37901" fmla="*/ 5444551 w 6884782"/>
              <a:gd name="connsiteY37901" fmla="*/ 2113119 h 5973007"/>
              <a:gd name="connsiteX37902" fmla="*/ 5440496 w 6884782"/>
              <a:gd name="connsiteY37902" fmla="*/ 2114257 h 5973007"/>
              <a:gd name="connsiteX37903" fmla="*/ 5435801 w 6884782"/>
              <a:gd name="connsiteY37903" fmla="*/ 2112692 h 5973007"/>
              <a:gd name="connsiteX37904" fmla="*/ 5440923 w 6884782"/>
              <a:gd name="connsiteY37904" fmla="*/ 2110559 h 5973007"/>
              <a:gd name="connsiteX37905" fmla="*/ 5443484 w 6884782"/>
              <a:gd name="connsiteY37905" fmla="*/ 2109989 h 5973007"/>
              <a:gd name="connsiteX37906" fmla="*/ 5444551 w 6884782"/>
              <a:gd name="connsiteY37906" fmla="*/ 2111697 h 5973007"/>
              <a:gd name="connsiteX37907" fmla="*/ 5444551 w 6884782"/>
              <a:gd name="connsiteY37907" fmla="*/ 2111270 h 5973007"/>
              <a:gd name="connsiteX37908" fmla="*/ 5447966 w 6884782"/>
              <a:gd name="connsiteY37908" fmla="*/ 2104441 h 5973007"/>
              <a:gd name="connsiteX37909" fmla="*/ 5455009 w 6884782"/>
              <a:gd name="connsiteY37909" fmla="*/ 2112124 h 5973007"/>
              <a:gd name="connsiteX37910" fmla="*/ 5455862 w 6884782"/>
              <a:gd name="connsiteY37910" fmla="*/ 2112835 h 5973007"/>
              <a:gd name="connsiteX37911" fmla="*/ 5460985 w 6884782"/>
              <a:gd name="connsiteY37911" fmla="*/ 2113119 h 5973007"/>
              <a:gd name="connsiteX37912" fmla="*/ 5462692 w 6884782"/>
              <a:gd name="connsiteY37912" fmla="*/ 2113831 h 5973007"/>
              <a:gd name="connsiteX37913" fmla="*/ 5465039 w 6884782"/>
              <a:gd name="connsiteY37913" fmla="*/ 2112124 h 5973007"/>
              <a:gd name="connsiteX37914" fmla="*/ 5468668 w 6884782"/>
              <a:gd name="connsiteY37914" fmla="*/ 2111839 h 5973007"/>
              <a:gd name="connsiteX37915" fmla="*/ 5479339 w 6884782"/>
              <a:gd name="connsiteY37915" fmla="*/ 2118099 h 5973007"/>
              <a:gd name="connsiteX37916" fmla="*/ 5478698 w 6884782"/>
              <a:gd name="connsiteY37916" fmla="*/ 2117103 h 5973007"/>
              <a:gd name="connsiteX37917" fmla="*/ 5482540 w 6884782"/>
              <a:gd name="connsiteY37917" fmla="*/ 2100457 h 5973007"/>
              <a:gd name="connsiteX37918" fmla="*/ 5482967 w 6884782"/>
              <a:gd name="connsiteY37918" fmla="*/ 2100173 h 5973007"/>
              <a:gd name="connsiteX37919" fmla="*/ 5482753 w 6884782"/>
              <a:gd name="connsiteY37919" fmla="*/ 2099888 h 5973007"/>
              <a:gd name="connsiteX37920" fmla="*/ 5483180 w 6884782"/>
              <a:gd name="connsiteY37920" fmla="*/ 2099746 h 5973007"/>
              <a:gd name="connsiteX37921" fmla="*/ 4836945 w 6884782"/>
              <a:gd name="connsiteY37921" fmla="*/ 2097896 h 5973007"/>
              <a:gd name="connsiteX37922" fmla="*/ 4836518 w 6884782"/>
              <a:gd name="connsiteY37922" fmla="*/ 2107002 h 5973007"/>
              <a:gd name="connsiteX37923" fmla="*/ 4836091 w 6884782"/>
              <a:gd name="connsiteY37923" fmla="*/ 2110416 h 5973007"/>
              <a:gd name="connsiteX37924" fmla="*/ 4837799 w 6884782"/>
              <a:gd name="connsiteY37924" fmla="*/ 2110559 h 5973007"/>
              <a:gd name="connsiteX37925" fmla="*/ 4845482 w 6884782"/>
              <a:gd name="connsiteY37925" fmla="*/ 2121228 h 5973007"/>
              <a:gd name="connsiteX37926" fmla="*/ 4836945 w 6884782"/>
              <a:gd name="connsiteY37926" fmla="*/ 2122082 h 5973007"/>
              <a:gd name="connsiteX37927" fmla="*/ 4833317 w 6884782"/>
              <a:gd name="connsiteY37927" fmla="*/ 2119522 h 5973007"/>
              <a:gd name="connsiteX37928" fmla="*/ 4833317 w 6884782"/>
              <a:gd name="connsiteY37928" fmla="*/ 2119379 h 5973007"/>
              <a:gd name="connsiteX37929" fmla="*/ 4831610 w 6884782"/>
              <a:gd name="connsiteY37929" fmla="*/ 2115681 h 5973007"/>
              <a:gd name="connsiteX37930" fmla="*/ 4833531 w 6884782"/>
              <a:gd name="connsiteY37930" fmla="*/ 2110274 h 5973007"/>
              <a:gd name="connsiteX37931" fmla="*/ 4834811 w 6884782"/>
              <a:gd name="connsiteY37931" fmla="*/ 2110416 h 5973007"/>
              <a:gd name="connsiteX37932" fmla="*/ 4834811 w 6884782"/>
              <a:gd name="connsiteY37932" fmla="*/ 2107002 h 5973007"/>
              <a:gd name="connsiteX37933" fmla="*/ 4836945 w 6884782"/>
              <a:gd name="connsiteY37933" fmla="*/ 2097896 h 5973007"/>
              <a:gd name="connsiteX37934" fmla="*/ 5729893 w 6884782"/>
              <a:gd name="connsiteY37934" fmla="*/ 2096759 h 5973007"/>
              <a:gd name="connsiteX37935" fmla="*/ 5751876 w 6884782"/>
              <a:gd name="connsiteY37935" fmla="*/ 2110559 h 5973007"/>
              <a:gd name="connsiteX37936" fmla="*/ 5752089 w 6884782"/>
              <a:gd name="connsiteY37936" fmla="*/ 2115111 h 5973007"/>
              <a:gd name="connsiteX37937" fmla="*/ 5752729 w 6884782"/>
              <a:gd name="connsiteY37937" fmla="*/ 2115111 h 5973007"/>
              <a:gd name="connsiteX37938" fmla="*/ 5754010 w 6884782"/>
              <a:gd name="connsiteY37938" fmla="*/ 2115822 h 5973007"/>
              <a:gd name="connsiteX37939" fmla="*/ 5762120 w 6884782"/>
              <a:gd name="connsiteY37939" fmla="*/ 2113404 h 5973007"/>
              <a:gd name="connsiteX37940" fmla="*/ 5764041 w 6884782"/>
              <a:gd name="connsiteY37940" fmla="*/ 2114827 h 5973007"/>
              <a:gd name="connsiteX37941" fmla="*/ 5761693 w 6884782"/>
              <a:gd name="connsiteY37941" fmla="*/ 2117672 h 5973007"/>
              <a:gd name="connsiteX37942" fmla="*/ 5758065 w 6884782"/>
              <a:gd name="connsiteY37942" fmla="*/ 2115965 h 5973007"/>
              <a:gd name="connsiteX37943" fmla="*/ 5753370 w 6884782"/>
              <a:gd name="connsiteY37943" fmla="*/ 2117387 h 5973007"/>
              <a:gd name="connsiteX37944" fmla="*/ 5752089 w 6884782"/>
              <a:gd name="connsiteY37944" fmla="*/ 2116961 h 5973007"/>
              <a:gd name="connsiteX37945" fmla="*/ 5752302 w 6884782"/>
              <a:gd name="connsiteY37945" fmla="*/ 2118099 h 5973007"/>
              <a:gd name="connsiteX37946" fmla="*/ 5718369 w 6884782"/>
              <a:gd name="connsiteY37946" fmla="*/ 2107002 h 5973007"/>
              <a:gd name="connsiteX37947" fmla="*/ 5729893 w 6884782"/>
              <a:gd name="connsiteY37947" fmla="*/ 2096759 h 5973007"/>
              <a:gd name="connsiteX37948" fmla="*/ 5641537 w 6884782"/>
              <a:gd name="connsiteY37948" fmla="*/ 2096759 h 5973007"/>
              <a:gd name="connsiteX37949" fmla="*/ 5639404 w 6884782"/>
              <a:gd name="connsiteY37949" fmla="*/ 2097043 h 5973007"/>
              <a:gd name="connsiteX37950" fmla="*/ 5641751 w 6884782"/>
              <a:gd name="connsiteY37950" fmla="*/ 2097327 h 5973007"/>
              <a:gd name="connsiteX37951" fmla="*/ 4712735 w 6884782"/>
              <a:gd name="connsiteY37951" fmla="*/ 2096616 h 5973007"/>
              <a:gd name="connsiteX37952" fmla="*/ 4716790 w 6884782"/>
              <a:gd name="connsiteY37952" fmla="*/ 2106148 h 5973007"/>
              <a:gd name="connsiteX37953" fmla="*/ 4707399 w 6884782"/>
              <a:gd name="connsiteY37953" fmla="*/ 2110986 h 5973007"/>
              <a:gd name="connsiteX37954" fmla="*/ 4712735 w 6884782"/>
              <a:gd name="connsiteY37954" fmla="*/ 2096616 h 5973007"/>
              <a:gd name="connsiteX37955" fmla="*/ 812110 w 6884782"/>
              <a:gd name="connsiteY37955" fmla="*/ 2096389 h 5973007"/>
              <a:gd name="connsiteX37956" fmla="*/ 820061 w 6884782"/>
              <a:gd name="connsiteY37956" fmla="*/ 2098093 h 5973007"/>
              <a:gd name="connsiteX37957" fmla="*/ 822643 w 6884782"/>
              <a:gd name="connsiteY37957" fmla="*/ 2102585 h 5973007"/>
              <a:gd name="connsiteX37958" fmla="*/ 820784 w 6884782"/>
              <a:gd name="connsiteY37958" fmla="*/ 2109864 h 5973007"/>
              <a:gd name="connsiteX37959" fmla="*/ 816344 w 6884782"/>
              <a:gd name="connsiteY37959" fmla="*/ 2108626 h 5973007"/>
              <a:gd name="connsiteX37960" fmla="*/ 812110 w 6884782"/>
              <a:gd name="connsiteY37960" fmla="*/ 2096389 h 5973007"/>
              <a:gd name="connsiteX37961" fmla="*/ 5618488 w 6884782"/>
              <a:gd name="connsiteY37961" fmla="*/ 2095762 h 5973007"/>
              <a:gd name="connsiteX37962" fmla="*/ 5621263 w 6884782"/>
              <a:gd name="connsiteY37962" fmla="*/ 2096332 h 5973007"/>
              <a:gd name="connsiteX37963" fmla="*/ 5622330 w 6884782"/>
              <a:gd name="connsiteY37963" fmla="*/ 2111981 h 5973007"/>
              <a:gd name="connsiteX37964" fmla="*/ 5620409 w 6884782"/>
              <a:gd name="connsiteY37964" fmla="*/ 2114542 h 5973007"/>
              <a:gd name="connsiteX37965" fmla="*/ 5619555 w 6884782"/>
              <a:gd name="connsiteY37965" fmla="*/ 2117103 h 5973007"/>
              <a:gd name="connsiteX37966" fmla="*/ 5613153 w 6884782"/>
              <a:gd name="connsiteY37966" fmla="*/ 2121087 h 5973007"/>
              <a:gd name="connsiteX37967" fmla="*/ 5616781 w 6884782"/>
              <a:gd name="connsiteY37967" fmla="*/ 2097754 h 5973007"/>
              <a:gd name="connsiteX37968" fmla="*/ 5618488 w 6884782"/>
              <a:gd name="connsiteY37968" fmla="*/ 2095762 h 5973007"/>
              <a:gd name="connsiteX37969" fmla="*/ 946034 w 6884782"/>
              <a:gd name="connsiteY37969" fmla="*/ 2095614 h 5973007"/>
              <a:gd name="connsiteX37970" fmla="*/ 951093 w 6884782"/>
              <a:gd name="connsiteY37970" fmla="*/ 2098712 h 5973007"/>
              <a:gd name="connsiteX37971" fmla="*/ 951816 w 6884782"/>
              <a:gd name="connsiteY37971" fmla="*/ 2106302 h 5973007"/>
              <a:gd name="connsiteX37972" fmla="*/ 950474 w 6884782"/>
              <a:gd name="connsiteY37972" fmla="*/ 2107077 h 5973007"/>
              <a:gd name="connsiteX37973" fmla="*/ 954088 w 6884782"/>
              <a:gd name="connsiteY37973" fmla="*/ 2107851 h 5973007"/>
              <a:gd name="connsiteX37974" fmla="*/ 961522 w 6884782"/>
              <a:gd name="connsiteY37974" fmla="*/ 2119158 h 5973007"/>
              <a:gd name="connsiteX37975" fmla="*/ 952539 w 6884782"/>
              <a:gd name="connsiteY37975" fmla="*/ 2120243 h 5973007"/>
              <a:gd name="connsiteX37976" fmla="*/ 948409 w 6884782"/>
              <a:gd name="connsiteY37976" fmla="*/ 2119313 h 5973007"/>
              <a:gd name="connsiteX37977" fmla="*/ 948512 w 6884782"/>
              <a:gd name="connsiteY37977" fmla="*/ 2119623 h 5973007"/>
              <a:gd name="connsiteX37978" fmla="*/ 947273 w 6884782"/>
              <a:gd name="connsiteY37978" fmla="*/ 2123031 h 5973007"/>
              <a:gd name="connsiteX37979" fmla="*/ 943246 w 6884782"/>
              <a:gd name="connsiteY37979" fmla="*/ 2125819 h 5973007"/>
              <a:gd name="connsiteX37980" fmla="*/ 943762 w 6884782"/>
              <a:gd name="connsiteY37980" fmla="*/ 2140069 h 5973007"/>
              <a:gd name="connsiteX37981" fmla="*/ 944278 w 6884782"/>
              <a:gd name="connsiteY37981" fmla="*/ 2160051 h 5973007"/>
              <a:gd name="connsiteX37982" fmla="*/ 940355 w 6884782"/>
              <a:gd name="connsiteY37982" fmla="*/ 2154165 h 5973007"/>
              <a:gd name="connsiteX37983" fmla="*/ 939838 w 6884782"/>
              <a:gd name="connsiteY37983" fmla="*/ 2154785 h 5973007"/>
              <a:gd name="connsiteX37984" fmla="*/ 939012 w 6884782"/>
              <a:gd name="connsiteY37984" fmla="*/ 2163614 h 5973007"/>
              <a:gd name="connsiteX37985" fmla="*/ 930752 w 6884782"/>
              <a:gd name="connsiteY37985" fmla="*/ 2164078 h 5973007"/>
              <a:gd name="connsiteX37986" fmla="*/ 927758 w 6884782"/>
              <a:gd name="connsiteY37986" fmla="*/ 2162530 h 5973007"/>
              <a:gd name="connsiteX37987" fmla="*/ 936947 w 6884782"/>
              <a:gd name="connsiteY37987" fmla="*/ 2147505 h 5973007"/>
              <a:gd name="connsiteX37988" fmla="*/ 937360 w 6884782"/>
              <a:gd name="connsiteY37988" fmla="*/ 2147659 h 5973007"/>
              <a:gd name="connsiteX37989" fmla="*/ 935502 w 6884782"/>
              <a:gd name="connsiteY37989" fmla="*/ 2140379 h 5973007"/>
              <a:gd name="connsiteX37990" fmla="*/ 934882 w 6884782"/>
              <a:gd name="connsiteY37990" fmla="*/ 2135113 h 5973007"/>
              <a:gd name="connsiteX37991" fmla="*/ 934469 w 6884782"/>
              <a:gd name="connsiteY37991" fmla="*/ 2135577 h 5973007"/>
              <a:gd name="connsiteX37992" fmla="*/ 918981 w 6884782"/>
              <a:gd name="connsiteY37992" fmla="*/ 2131086 h 5973007"/>
              <a:gd name="connsiteX37993" fmla="*/ 919806 w 6884782"/>
              <a:gd name="connsiteY37993" fmla="*/ 2128453 h 5973007"/>
              <a:gd name="connsiteX37994" fmla="*/ 924763 w 6884782"/>
              <a:gd name="connsiteY37994" fmla="*/ 2125664 h 5973007"/>
              <a:gd name="connsiteX37995" fmla="*/ 928377 w 6884782"/>
              <a:gd name="connsiteY37995" fmla="*/ 2125974 h 5973007"/>
              <a:gd name="connsiteX37996" fmla="*/ 928893 w 6884782"/>
              <a:gd name="connsiteY37996" fmla="*/ 2121482 h 5973007"/>
              <a:gd name="connsiteX37997" fmla="*/ 933540 w 6884782"/>
              <a:gd name="connsiteY37997" fmla="*/ 2122101 h 5973007"/>
              <a:gd name="connsiteX37998" fmla="*/ 933746 w 6884782"/>
              <a:gd name="connsiteY37998" fmla="*/ 2122256 h 5973007"/>
              <a:gd name="connsiteX37999" fmla="*/ 933333 w 6884782"/>
              <a:gd name="connsiteY37999" fmla="*/ 2117300 h 5973007"/>
              <a:gd name="connsiteX38000" fmla="*/ 937567 w 6884782"/>
              <a:gd name="connsiteY38000" fmla="*/ 2117300 h 5973007"/>
              <a:gd name="connsiteX38001" fmla="*/ 940045 w 6884782"/>
              <a:gd name="connsiteY38001" fmla="*/ 2117610 h 5973007"/>
              <a:gd name="connsiteX38002" fmla="*/ 940045 w 6884782"/>
              <a:gd name="connsiteY38002" fmla="*/ 2116680 h 5973007"/>
              <a:gd name="connsiteX38003" fmla="*/ 944898 w 6884782"/>
              <a:gd name="connsiteY38003" fmla="*/ 2115286 h 5973007"/>
              <a:gd name="connsiteX38004" fmla="*/ 946137 w 6884782"/>
              <a:gd name="connsiteY38004" fmla="*/ 2116061 h 5973007"/>
              <a:gd name="connsiteX38005" fmla="*/ 945930 w 6884782"/>
              <a:gd name="connsiteY38005" fmla="*/ 2111723 h 5973007"/>
              <a:gd name="connsiteX38006" fmla="*/ 947479 w 6884782"/>
              <a:gd name="connsiteY38006" fmla="*/ 2107851 h 5973007"/>
              <a:gd name="connsiteX38007" fmla="*/ 949338 w 6884782"/>
              <a:gd name="connsiteY38007" fmla="*/ 2107077 h 5973007"/>
              <a:gd name="connsiteX38008" fmla="*/ 947583 w 6884782"/>
              <a:gd name="connsiteY38008" fmla="*/ 2105837 h 5973007"/>
              <a:gd name="connsiteX38009" fmla="*/ 945518 w 6884782"/>
              <a:gd name="connsiteY38009" fmla="*/ 2101036 h 5973007"/>
              <a:gd name="connsiteX38010" fmla="*/ 946034 w 6884782"/>
              <a:gd name="connsiteY38010" fmla="*/ 2095614 h 5973007"/>
              <a:gd name="connsiteX38011" fmla="*/ 5675258 w 6884782"/>
              <a:gd name="connsiteY38011" fmla="*/ 2095336 h 5973007"/>
              <a:gd name="connsiteX38012" fmla="*/ 5679740 w 6884782"/>
              <a:gd name="connsiteY38012" fmla="*/ 2098039 h 5973007"/>
              <a:gd name="connsiteX38013" fmla="*/ 5688276 w 6884782"/>
              <a:gd name="connsiteY38013" fmla="*/ 2106717 h 5973007"/>
              <a:gd name="connsiteX38014" fmla="*/ 5690624 w 6884782"/>
              <a:gd name="connsiteY38014" fmla="*/ 2108140 h 5973007"/>
              <a:gd name="connsiteX38015" fmla="*/ 5672697 w 6884782"/>
              <a:gd name="connsiteY38015" fmla="*/ 2097612 h 5973007"/>
              <a:gd name="connsiteX38016" fmla="*/ 5672697 w 6884782"/>
              <a:gd name="connsiteY38016" fmla="*/ 2096474 h 5973007"/>
              <a:gd name="connsiteX38017" fmla="*/ 5675258 w 6884782"/>
              <a:gd name="connsiteY38017" fmla="*/ 2095336 h 5973007"/>
              <a:gd name="connsiteX38018" fmla="*/ 5249486 w 6884782"/>
              <a:gd name="connsiteY38018" fmla="*/ 2095051 h 5973007"/>
              <a:gd name="connsiteX38019" fmla="*/ 5257595 w 6884782"/>
              <a:gd name="connsiteY38019" fmla="*/ 2097754 h 5973007"/>
              <a:gd name="connsiteX38020" fmla="*/ 5253967 w 6884782"/>
              <a:gd name="connsiteY38020" fmla="*/ 2105721 h 5973007"/>
              <a:gd name="connsiteX38021" fmla="*/ 5249486 w 6884782"/>
              <a:gd name="connsiteY38021" fmla="*/ 2095051 h 5973007"/>
              <a:gd name="connsiteX38022" fmla="*/ 5607177 w 6884782"/>
              <a:gd name="connsiteY38022" fmla="*/ 2094625 h 5973007"/>
              <a:gd name="connsiteX38023" fmla="*/ 5608671 w 6884782"/>
              <a:gd name="connsiteY38023" fmla="*/ 2104868 h 5973007"/>
              <a:gd name="connsiteX38024" fmla="*/ 5606323 w 6884782"/>
              <a:gd name="connsiteY38024" fmla="*/ 2096189 h 5973007"/>
              <a:gd name="connsiteX38025" fmla="*/ 5607177 w 6884782"/>
              <a:gd name="connsiteY38025" fmla="*/ 2094625 h 5973007"/>
              <a:gd name="connsiteX38026" fmla="*/ 5171374 w 6884782"/>
              <a:gd name="connsiteY38026" fmla="*/ 2094625 h 5973007"/>
              <a:gd name="connsiteX38027" fmla="*/ 5168386 w 6884782"/>
              <a:gd name="connsiteY38027" fmla="*/ 2095904 h 5973007"/>
              <a:gd name="connsiteX38028" fmla="*/ 5167746 w 6884782"/>
              <a:gd name="connsiteY38028" fmla="*/ 2095620 h 5973007"/>
              <a:gd name="connsiteX38029" fmla="*/ 5167319 w 6884782"/>
              <a:gd name="connsiteY38029" fmla="*/ 2095762 h 5973007"/>
              <a:gd name="connsiteX38030" fmla="*/ 5167106 w 6884782"/>
              <a:gd name="connsiteY38030" fmla="*/ 2095620 h 5973007"/>
              <a:gd name="connsiteX38031" fmla="*/ 5167106 w 6884782"/>
              <a:gd name="connsiteY38031" fmla="*/ 2095762 h 5973007"/>
              <a:gd name="connsiteX38032" fmla="*/ 5167319 w 6884782"/>
              <a:gd name="connsiteY38032" fmla="*/ 2095762 h 5973007"/>
              <a:gd name="connsiteX38033" fmla="*/ 5167959 w 6884782"/>
              <a:gd name="connsiteY38033" fmla="*/ 2096047 h 5973007"/>
              <a:gd name="connsiteX38034" fmla="*/ 5168386 w 6884782"/>
              <a:gd name="connsiteY38034" fmla="*/ 2095904 h 5973007"/>
              <a:gd name="connsiteX38035" fmla="*/ 5171587 w 6884782"/>
              <a:gd name="connsiteY38035" fmla="*/ 2096759 h 5973007"/>
              <a:gd name="connsiteX38036" fmla="*/ 687377 w 6884782"/>
              <a:gd name="connsiteY38036" fmla="*/ 2094220 h 5973007"/>
              <a:gd name="connsiteX38037" fmla="*/ 690784 w 6884782"/>
              <a:gd name="connsiteY38037" fmla="*/ 2096079 h 5973007"/>
              <a:gd name="connsiteX38038" fmla="*/ 691507 w 6884782"/>
              <a:gd name="connsiteY38038" fmla="*/ 2098712 h 5973007"/>
              <a:gd name="connsiteX38039" fmla="*/ 688926 w 6884782"/>
              <a:gd name="connsiteY38039" fmla="*/ 2099177 h 5973007"/>
              <a:gd name="connsiteX38040" fmla="*/ 686344 w 6884782"/>
              <a:gd name="connsiteY38040" fmla="*/ 2098093 h 5973007"/>
              <a:gd name="connsiteX38041" fmla="*/ 686034 w 6884782"/>
              <a:gd name="connsiteY38041" fmla="*/ 2096698 h 5973007"/>
              <a:gd name="connsiteX38042" fmla="*/ 686344 w 6884782"/>
              <a:gd name="connsiteY38042" fmla="*/ 2094840 h 5973007"/>
              <a:gd name="connsiteX38043" fmla="*/ 687377 w 6884782"/>
              <a:gd name="connsiteY38043" fmla="*/ 2094220 h 5973007"/>
              <a:gd name="connsiteX38044" fmla="*/ 5362384 w 6884782"/>
              <a:gd name="connsiteY38044" fmla="*/ 2094198 h 5973007"/>
              <a:gd name="connsiteX38045" fmla="*/ 5363025 w 6884782"/>
              <a:gd name="connsiteY38045" fmla="*/ 2095194 h 5973007"/>
              <a:gd name="connsiteX38046" fmla="*/ 5358756 w 6884782"/>
              <a:gd name="connsiteY38046" fmla="*/ 2096616 h 5973007"/>
              <a:gd name="connsiteX38047" fmla="*/ 5362384 w 6884782"/>
              <a:gd name="connsiteY38047" fmla="*/ 2094198 h 5973007"/>
              <a:gd name="connsiteX38048" fmla="*/ 5566840 w 6884782"/>
              <a:gd name="connsiteY38048" fmla="*/ 2092490 h 5973007"/>
              <a:gd name="connsiteX38049" fmla="*/ 5567908 w 6884782"/>
              <a:gd name="connsiteY38049" fmla="*/ 2093914 h 5973007"/>
              <a:gd name="connsiteX38050" fmla="*/ 5568121 w 6884782"/>
              <a:gd name="connsiteY38050" fmla="*/ 2092775 h 5973007"/>
              <a:gd name="connsiteX38051" fmla="*/ 5568335 w 6884782"/>
              <a:gd name="connsiteY38051" fmla="*/ 2094482 h 5973007"/>
              <a:gd name="connsiteX38052" fmla="*/ 5567908 w 6884782"/>
              <a:gd name="connsiteY38052" fmla="*/ 2095194 h 5973007"/>
              <a:gd name="connsiteX38053" fmla="*/ 5564280 w 6884782"/>
              <a:gd name="connsiteY38053" fmla="*/ 2095762 h 5973007"/>
              <a:gd name="connsiteX38054" fmla="*/ 5566840 w 6884782"/>
              <a:gd name="connsiteY38054" fmla="*/ 2092490 h 5973007"/>
              <a:gd name="connsiteX38055" fmla="*/ 843810 w 6884782"/>
              <a:gd name="connsiteY38055" fmla="*/ 2091896 h 5973007"/>
              <a:gd name="connsiteX38056" fmla="*/ 848560 w 6884782"/>
              <a:gd name="connsiteY38056" fmla="*/ 2098402 h 5973007"/>
              <a:gd name="connsiteX38057" fmla="*/ 835446 w 6884782"/>
              <a:gd name="connsiteY38057" fmla="*/ 2105063 h 5973007"/>
              <a:gd name="connsiteX38058" fmla="*/ 832142 w 6884782"/>
              <a:gd name="connsiteY38058" fmla="*/ 2100881 h 5973007"/>
              <a:gd name="connsiteX38059" fmla="*/ 843810 w 6884782"/>
              <a:gd name="connsiteY38059" fmla="*/ 2091896 h 5973007"/>
              <a:gd name="connsiteX38060" fmla="*/ 5917916 w 6884782"/>
              <a:gd name="connsiteY38060" fmla="*/ 2091210 h 5973007"/>
              <a:gd name="connsiteX38061" fmla="*/ 5915569 w 6884782"/>
              <a:gd name="connsiteY38061" fmla="*/ 2092064 h 5973007"/>
              <a:gd name="connsiteX38062" fmla="*/ 5915142 w 6884782"/>
              <a:gd name="connsiteY38062" fmla="*/ 2098466 h 5973007"/>
              <a:gd name="connsiteX38063" fmla="*/ 5915569 w 6884782"/>
              <a:gd name="connsiteY38063" fmla="*/ 2102307 h 5973007"/>
              <a:gd name="connsiteX38064" fmla="*/ 5916209 w 6884782"/>
              <a:gd name="connsiteY38064" fmla="*/ 2102307 h 5973007"/>
              <a:gd name="connsiteX38065" fmla="*/ 5920477 w 6884782"/>
              <a:gd name="connsiteY38065" fmla="*/ 2101026 h 5973007"/>
              <a:gd name="connsiteX38066" fmla="*/ 5917916 w 6884782"/>
              <a:gd name="connsiteY38066" fmla="*/ 2092490 h 5973007"/>
              <a:gd name="connsiteX38067" fmla="*/ 4923594 w 6884782"/>
              <a:gd name="connsiteY38067" fmla="*/ 2090357 h 5973007"/>
              <a:gd name="connsiteX38068" fmla="*/ 4927435 w 6884782"/>
              <a:gd name="connsiteY38068" fmla="*/ 2092775 h 5973007"/>
              <a:gd name="connsiteX38069" fmla="*/ 4927435 w 6884782"/>
              <a:gd name="connsiteY38069" fmla="*/ 2092490 h 5973007"/>
              <a:gd name="connsiteX38070" fmla="*/ 4928502 w 6884782"/>
              <a:gd name="connsiteY38070" fmla="*/ 2093059 h 5973007"/>
              <a:gd name="connsiteX38071" fmla="*/ 4928502 w 6884782"/>
              <a:gd name="connsiteY38071" fmla="*/ 2093486 h 5973007"/>
              <a:gd name="connsiteX38072" fmla="*/ 4929569 w 6884782"/>
              <a:gd name="connsiteY38072" fmla="*/ 2094340 h 5973007"/>
              <a:gd name="connsiteX38073" fmla="*/ 4933625 w 6884782"/>
              <a:gd name="connsiteY38073" fmla="*/ 2110132 h 5973007"/>
              <a:gd name="connsiteX38074" fmla="*/ 4923594 w 6884782"/>
              <a:gd name="connsiteY38074" fmla="*/ 2090357 h 5973007"/>
              <a:gd name="connsiteX38075" fmla="*/ 5647940 w 6884782"/>
              <a:gd name="connsiteY38075" fmla="*/ 2089645 h 5973007"/>
              <a:gd name="connsiteX38076" fmla="*/ 5648794 w 6884782"/>
              <a:gd name="connsiteY38076" fmla="*/ 2089645 h 5973007"/>
              <a:gd name="connsiteX38077" fmla="*/ 5651782 w 6884782"/>
              <a:gd name="connsiteY38077" fmla="*/ 2090784 h 5973007"/>
              <a:gd name="connsiteX38078" fmla="*/ 5651142 w 6884782"/>
              <a:gd name="connsiteY38078" fmla="*/ 2092348 h 5973007"/>
              <a:gd name="connsiteX38079" fmla="*/ 5652208 w 6884782"/>
              <a:gd name="connsiteY38079" fmla="*/ 2091779 h 5973007"/>
              <a:gd name="connsiteX38080" fmla="*/ 5650715 w 6884782"/>
              <a:gd name="connsiteY38080" fmla="*/ 2092775 h 5973007"/>
              <a:gd name="connsiteX38081" fmla="*/ 5649861 w 6884782"/>
              <a:gd name="connsiteY38081" fmla="*/ 2092632 h 5973007"/>
              <a:gd name="connsiteX38082" fmla="*/ 5647940 w 6884782"/>
              <a:gd name="connsiteY38082" fmla="*/ 2089645 h 5973007"/>
              <a:gd name="connsiteX38083" fmla="*/ 5984503 w 6884782"/>
              <a:gd name="connsiteY38083" fmla="*/ 2089219 h 5973007"/>
              <a:gd name="connsiteX38084" fmla="*/ 5973832 w 6884782"/>
              <a:gd name="connsiteY38084" fmla="*/ 2099746 h 5973007"/>
              <a:gd name="connsiteX38085" fmla="*/ 5969564 w 6884782"/>
              <a:gd name="connsiteY38085" fmla="*/ 2095762 h 5973007"/>
              <a:gd name="connsiteX38086" fmla="*/ 5984503 w 6884782"/>
              <a:gd name="connsiteY38086" fmla="*/ 2089219 h 5973007"/>
              <a:gd name="connsiteX38087" fmla="*/ 6081822 w 6884782"/>
              <a:gd name="connsiteY38087" fmla="*/ 2088080 h 5973007"/>
              <a:gd name="connsiteX38088" fmla="*/ 6085237 w 6884782"/>
              <a:gd name="connsiteY38088" fmla="*/ 2093914 h 5973007"/>
              <a:gd name="connsiteX38089" fmla="*/ 6085024 w 6884782"/>
              <a:gd name="connsiteY38089" fmla="*/ 2094767 h 5973007"/>
              <a:gd name="connsiteX38090" fmla="*/ 6085664 w 6884782"/>
              <a:gd name="connsiteY38090" fmla="*/ 2093914 h 5973007"/>
              <a:gd name="connsiteX38091" fmla="*/ 6092067 w 6884782"/>
              <a:gd name="connsiteY38091" fmla="*/ 2099177 h 5973007"/>
              <a:gd name="connsiteX38092" fmla="*/ 6092707 w 6884782"/>
              <a:gd name="connsiteY38092" fmla="*/ 2108425 h 5973007"/>
              <a:gd name="connsiteX38093" fmla="*/ 6078621 w 6884782"/>
              <a:gd name="connsiteY38093" fmla="*/ 2105152 h 5973007"/>
              <a:gd name="connsiteX38094" fmla="*/ 6079689 w 6884782"/>
              <a:gd name="connsiteY38094" fmla="*/ 2103018 h 5973007"/>
              <a:gd name="connsiteX38095" fmla="*/ 6077127 w 6884782"/>
              <a:gd name="connsiteY38095" fmla="*/ 2103161 h 5973007"/>
              <a:gd name="connsiteX38096" fmla="*/ 6073286 w 6884782"/>
              <a:gd name="connsiteY38096" fmla="*/ 2102450 h 5973007"/>
              <a:gd name="connsiteX38097" fmla="*/ 6072432 w 6884782"/>
              <a:gd name="connsiteY38097" fmla="*/ 2093914 h 5973007"/>
              <a:gd name="connsiteX38098" fmla="*/ 6075207 w 6884782"/>
              <a:gd name="connsiteY38098" fmla="*/ 2091210 h 5973007"/>
              <a:gd name="connsiteX38099" fmla="*/ 6082036 w 6884782"/>
              <a:gd name="connsiteY38099" fmla="*/ 2089076 h 5973007"/>
              <a:gd name="connsiteX38100" fmla="*/ 6081822 w 6884782"/>
              <a:gd name="connsiteY38100" fmla="*/ 2088080 h 5973007"/>
              <a:gd name="connsiteX38101" fmla="*/ 1186931 w 6884782"/>
              <a:gd name="connsiteY38101" fmla="*/ 2086011 h 5973007"/>
              <a:gd name="connsiteX38102" fmla="*/ 1184556 w 6884782"/>
              <a:gd name="connsiteY38102" fmla="*/ 2095459 h 5973007"/>
              <a:gd name="connsiteX38103" fmla="*/ 1186931 w 6884782"/>
              <a:gd name="connsiteY38103" fmla="*/ 2086011 h 5973007"/>
              <a:gd name="connsiteX38104" fmla="*/ 4730235 w 6884782"/>
              <a:gd name="connsiteY38104" fmla="*/ 2085946 h 5973007"/>
              <a:gd name="connsiteX38105" fmla="*/ 4747949 w 6884782"/>
              <a:gd name="connsiteY38105" fmla="*/ 2101596 h 5973007"/>
              <a:gd name="connsiteX38106" fmla="*/ 4748163 w 6884782"/>
              <a:gd name="connsiteY38106" fmla="*/ 2104156 h 5973007"/>
              <a:gd name="connsiteX38107" fmla="*/ 4749870 w 6884782"/>
              <a:gd name="connsiteY38107" fmla="*/ 2105863 h 5973007"/>
              <a:gd name="connsiteX38108" fmla="*/ 4750723 w 6884782"/>
              <a:gd name="connsiteY38108" fmla="*/ 2109989 h 5973007"/>
              <a:gd name="connsiteX38109" fmla="*/ 4748376 w 6884782"/>
              <a:gd name="connsiteY38109" fmla="*/ 2107855 h 5973007"/>
              <a:gd name="connsiteX38110" fmla="*/ 4748376 w 6884782"/>
              <a:gd name="connsiteY38110" fmla="*/ 2110701 h 5973007"/>
              <a:gd name="connsiteX38111" fmla="*/ 4728314 w 6884782"/>
              <a:gd name="connsiteY38111" fmla="*/ 2126920 h 5973007"/>
              <a:gd name="connsiteX38112" fmla="*/ 4725113 w 6884782"/>
              <a:gd name="connsiteY38112" fmla="*/ 2087511 h 5973007"/>
              <a:gd name="connsiteX38113" fmla="*/ 4730235 w 6884782"/>
              <a:gd name="connsiteY38113" fmla="*/ 2085946 h 5973007"/>
              <a:gd name="connsiteX38114" fmla="*/ 796932 w 6884782"/>
              <a:gd name="connsiteY38114" fmla="*/ 2085856 h 5973007"/>
              <a:gd name="connsiteX38115" fmla="*/ 795693 w 6884782"/>
              <a:gd name="connsiteY38115" fmla="*/ 2097163 h 5973007"/>
              <a:gd name="connsiteX38116" fmla="*/ 773699 w 6884782"/>
              <a:gd name="connsiteY38116" fmla="*/ 2095614 h 5973007"/>
              <a:gd name="connsiteX38117" fmla="*/ 782992 w 6884782"/>
              <a:gd name="connsiteY38117" fmla="*/ 2088644 h 5973007"/>
              <a:gd name="connsiteX38118" fmla="*/ 796932 w 6884782"/>
              <a:gd name="connsiteY38118" fmla="*/ 2085856 h 5973007"/>
              <a:gd name="connsiteX38119" fmla="*/ 5715168 w 6884782"/>
              <a:gd name="connsiteY38119" fmla="*/ 2084950 h 5973007"/>
              <a:gd name="connsiteX38120" fmla="*/ 5714101 w 6884782"/>
              <a:gd name="connsiteY38120" fmla="*/ 2085377 h 5973007"/>
              <a:gd name="connsiteX38121" fmla="*/ 5714101 w 6884782"/>
              <a:gd name="connsiteY38121" fmla="*/ 2085946 h 5973007"/>
              <a:gd name="connsiteX38122" fmla="*/ 5727332 w 6884782"/>
              <a:gd name="connsiteY38122" fmla="*/ 2084096 h 5973007"/>
              <a:gd name="connsiteX38123" fmla="*/ 5733095 w 6884782"/>
              <a:gd name="connsiteY38123" fmla="*/ 2084096 h 5973007"/>
              <a:gd name="connsiteX38124" fmla="*/ 5723064 w 6884782"/>
              <a:gd name="connsiteY38124" fmla="*/ 2086942 h 5973007"/>
              <a:gd name="connsiteX38125" fmla="*/ 5727332 w 6884782"/>
              <a:gd name="connsiteY38125" fmla="*/ 2084096 h 5973007"/>
              <a:gd name="connsiteX38126" fmla="*/ 986510 w 6884782"/>
              <a:gd name="connsiteY38126" fmla="*/ 2083997 h 5973007"/>
              <a:gd name="connsiteX38127" fmla="*/ 989298 w 6884782"/>
              <a:gd name="connsiteY38127" fmla="*/ 2087715 h 5973007"/>
              <a:gd name="connsiteX38128" fmla="*/ 990021 w 6884782"/>
              <a:gd name="connsiteY38128" fmla="*/ 2089419 h 5973007"/>
              <a:gd name="connsiteX38129" fmla="*/ 990744 w 6884782"/>
              <a:gd name="connsiteY38129" fmla="*/ 2090038 h 5973007"/>
              <a:gd name="connsiteX38130" fmla="*/ 991054 w 6884782"/>
              <a:gd name="connsiteY38130" fmla="*/ 2093446 h 5973007"/>
              <a:gd name="connsiteX38131" fmla="*/ 989401 w 6884782"/>
              <a:gd name="connsiteY38131" fmla="*/ 2092361 h 5973007"/>
              <a:gd name="connsiteX38132" fmla="*/ 988679 w 6884782"/>
              <a:gd name="connsiteY38132" fmla="*/ 2091742 h 5973007"/>
              <a:gd name="connsiteX38133" fmla="*/ 985374 w 6884782"/>
              <a:gd name="connsiteY38133" fmla="*/ 2090812 h 5973007"/>
              <a:gd name="connsiteX38134" fmla="*/ 961625 w 6884782"/>
              <a:gd name="connsiteY38134" fmla="*/ 2092826 h 5973007"/>
              <a:gd name="connsiteX38135" fmla="*/ 972054 w 6884782"/>
              <a:gd name="connsiteY38135" fmla="*/ 2086165 h 5973007"/>
              <a:gd name="connsiteX38136" fmla="*/ 986510 w 6884782"/>
              <a:gd name="connsiteY38136" fmla="*/ 2083997 h 5973007"/>
              <a:gd name="connsiteX38137" fmla="*/ 5420862 w 6884782"/>
              <a:gd name="connsiteY38137" fmla="*/ 2083954 h 5973007"/>
              <a:gd name="connsiteX38138" fmla="*/ 5408270 w 6884782"/>
              <a:gd name="connsiteY38138" fmla="*/ 2107002 h 5973007"/>
              <a:gd name="connsiteX38139" fmla="*/ 5407203 w 6884782"/>
              <a:gd name="connsiteY38139" fmla="*/ 2109847 h 5973007"/>
              <a:gd name="connsiteX38140" fmla="*/ 5405282 w 6884782"/>
              <a:gd name="connsiteY38140" fmla="*/ 2108993 h 5973007"/>
              <a:gd name="connsiteX38141" fmla="*/ 5402080 w 6884782"/>
              <a:gd name="connsiteY38141" fmla="*/ 2111127 h 5973007"/>
              <a:gd name="connsiteX38142" fmla="*/ 5402721 w 6884782"/>
              <a:gd name="connsiteY38142" fmla="*/ 2106717 h 5973007"/>
              <a:gd name="connsiteX38143" fmla="*/ 5401654 w 6884782"/>
              <a:gd name="connsiteY38143" fmla="*/ 2104583 h 5973007"/>
              <a:gd name="connsiteX38144" fmla="*/ 5402721 w 6884782"/>
              <a:gd name="connsiteY38144" fmla="*/ 2100884 h 5973007"/>
              <a:gd name="connsiteX38145" fmla="*/ 5404855 w 6884782"/>
              <a:gd name="connsiteY38145" fmla="*/ 2099177 h 5973007"/>
              <a:gd name="connsiteX38146" fmla="*/ 5407843 w 6884782"/>
              <a:gd name="connsiteY38146" fmla="*/ 2093486 h 5973007"/>
              <a:gd name="connsiteX38147" fmla="*/ 5420862 w 6884782"/>
              <a:gd name="connsiteY38147" fmla="*/ 2083954 h 5973007"/>
              <a:gd name="connsiteX38148" fmla="*/ 810665 w 6884782"/>
              <a:gd name="connsiteY38148" fmla="*/ 2083842 h 5973007"/>
              <a:gd name="connsiteX38149" fmla="*/ 809736 w 6884782"/>
              <a:gd name="connsiteY38149" fmla="*/ 2087869 h 5973007"/>
              <a:gd name="connsiteX38150" fmla="*/ 807980 w 6884782"/>
              <a:gd name="connsiteY38150" fmla="*/ 2084307 h 5973007"/>
              <a:gd name="connsiteX38151" fmla="*/ 810665 w 6884782"/>
              <a:gd name="connsiteY38151" fmla="*/ 2083842 h 5973007"/>
              <a:gd name="connsiteX38152" fmla="*/ 5641111 w 6884782"/>
              <a:gd name="connsiteY38152" fmla="*/ 2083243 h 5973007"/>
              <a:gd name="connsiteX38153" fmla="*/ 5647727 w 6884782"/>
              <a:gd name="connsiteY38153" fmla="*/ 2089787 h 5973007"/>
              <a:gd name="connsiteX38154" fmla="*/ 5645166 w 6884782"/>
              <a:gd name="connsiteY38154" fmla="*/ 2088791 h 5973007"/>
              <a:gd name="connsiteX38155" fmla="*/ 5647087 w 6884782"/>
              <a:gd name="connsiteY38155" fmla="*/ 2090784 h 5973007"/>
              <a:gd name="connsiteX38156" fmla="*/ 5649220 w 6884782"/>
              <a:gd name="connsiteY38156" fmla="*/ 2098039 h 5973007"/>
              <a:gd name="connsiteX38157" fmla="*/ 5646446 w 6884782"/>
              <a:gd name="connsiteY38157" fmla="*/ 2098039 h 5973007"/>
              <a:gd name="connsiteX38158" fmla="*/ 5652208 w 6884782"/>
              <a:gd name="connsiteY38158" fmla="*/ 2099461 h 5973007"/>
              <a:gd name="connsiteX38159" fmla="*/ 5659465 w 6884782"/>
              <a:gd name="connsiteY38159" fmla="*/ 2100315 h 5973007"/>
              <a:gd name="connsiteX38160" fmla="*/ 5666934 w 6884782"/>
              <a:gd name="connsiteY38160" fmla="*/ 2094482 h 5973007"/>
              <a:gd name="connsiteX38161" fmla="*/ 5672057 w 6884782"/>
              <a:gd name="connsiteY38161" fmla="*/ 2094767 h 5973007"/>
              <a:gd name="connsiteX38162" fmla="*/ 5658825 w 6884782"/>
              <a:gd name="connsiteY38162" fmla="*/ 2126635 h 5973007"/>
              <a:gd name="connsiteX38163" fmla="*/ 5650715 w 6884782"/>
              <a:gd name="connsiteY38163" fmla="*/ 2132610 h 5973007"/>
              <a:gd name="connsiteX38164" fmla="*/ 5653916 w 6884782"/>
              <a:gd name="connsiteY38164" fmla="*/ 2109562 h 5973007"/>
              <a:gd name="connsiteX38165" fmla="*/ 5633214 w 6884782"/>
              <a:gd name="connsiteY38165" fmla="*/ 2099604 h 5973007"/>
              <a:gd name="connsiteX38166" fmla="*/ 5638336 w 6884782"/>
              <a:gd name="connsiteY38166" fmla="*/ 2097185 h 5973007"/>
              <a:gd name="connsiteX38167" fmla="*/ 5637909 w 6884782"/>
              <a:gd name="connsiteY38167" fmla="*/ 2092775 h 5973007"/>
              <a:gd name="connsiteX38168" fmla="*/ 5638977 w 6884782"/>
              <a:gd name="connsiteY38168" fmla="*/ 2091637 h 5973007"/>
              <a:gd name="connsiteX38169" fmla="*/ 5637909 w 6884782"/>
              <a:gd name="connsiteY38169" fmla="*/ 2089930 h 5973007"/>
              <a:gd name="connsiteX38170" fmla="*/ 5636842 w 6884782"/>
              <a:gd name="connsiteY38170" fmla="*/ 2088507 h 5973007"/>
              <a:gd name="connsiteX38171" fmla="*/ 5638550 w 6884782"/>
              <a:gd name="connsiteY38171" fmla="*/ 2085803 h 5973007"/>
              <a:gd name="connsiteX38172" fmla="*/ 5640471 w 6884782"/>
              <a:gd name="connsiteY38172" fmla="*/ 2085946 h 5973007"/>
              <a:gd name="connsiteX38173" fmla="*/ 1068754 w 6884782"/>
              <a:gd name="connsiteY38173" fmla="*/ 2082951 h 5973007"/>
              <a:gd name="connsiteX38174" fmla="*/ 1074794 w 6884782"/>
              <a:gd name="connsiteY38174" fmla="*/ 2085236 h 5973007"/>
              <a:gd name="connsiteX38175" fmla="*/ 1076446 w 6884782"/>
              <a:gd name="connsiteY38175" fmla="*/ 2087095 h 5973007"/>
              <a:gd name="connsiteX38176" fmla="*/ 1078202 w 6884782"/>
              <a:gd name="connsiteY38176" fmla="*/ 2088179 h 5973007"/>
              <a:gd name="connsiteX38177" fmla="*/ 1080783 w 6884782"/>
              <a:gd name="connsiteY38177" fmla="*/ 2093446 h 5973007"/>
              <a:gd name="connsiteX38178" fmla="*/ 1077892 w 6884782"/>
              <a:gd name="connsiteY38178" fmla="*/ 2092516 h 5973007"/>
              <a:gd name="connsiteX38179" fmla="*/ 1077892 w 6884782"/>
              <a:gd name="connsiteY38179" fmla="*/ 2093291 h 5973007"/>
              <a:gd name="connsiteX38180" fmla="*/ 1073762 w 6884782"/>
              <a:gd name="connsiteY38180" fmla="*/ 2093600 h 5973007"/>
              <a:gd name="connsiteX38181" fmla="*/ 1072729 w 6884782"/>
              <a:gd name="connsiteY38181" fmla="*/ 2090657 h 5973007"/>
              <a:gd name="connsiteX38182" fmla="*/ 1070561 w 6884782"/>
              <a:gd name="connsiteY38182" fmla="*/ 2089883 h 5973007"/>
              <a:gd name="connsiteX38183" fmla="*/ 1064159 w 6884782"/>
              <a:gd name="connsiteY38183" fmla="*/ 2086630 h 5973007"/>
              <a:gd name="connsiteX38184" fmla="*/ 1062817 w 6884782"/>
              <a:gd name="connsiteY38184" fmla="*/ 2085236 h 5973007"/>
              <a:gd name="connsiteX38185" fmla="*/ 1063333 w 6884782"/>
              <a:gd name="connsiteY38185" fmla="*/ 2083222 h 5973007"/>
              <a:gd name="connsiteX38186" fmla="*/ 1068754 w 6884782"/>
              <a:gd name="connsiteY38186" fmla="*/ 2082951 h 5973007"/>
              <a:gd name="connsiteX38187" fmla="*/ 5267626 w 6884782"/>
              <a:gd name="connsiteY38187" fmla="*/ 2082674 h 5973007"/>
              <a:gd name="connsiteX38188" fmla="*/ 5275309 w 6884782"/>
              <a:gd name="connsiteY38188" fmla="*/ 2091210 h 5973007"/>
              <a:gd name="connsiteX38189" fmla="*/ 5274883 w 6884782"/>
              <a:gd name="connsiteY38189" fmla="*/ 2099461 h 5973007"/>
              <a:gd name="connsiteX38190" fmla="*/ 5275949 w 6884782"/>
              <a:gd name="connsiteY38190" fmla="*/ 2102450 h 5973007"/>
              <a:gd name="connsiteX38191" fmla="*/ 5275096 w 6884782"/>
              <a:gd name="connsiteY38191" fmla="*/ 2103018 h 5973007"/>
              <a:gd name="connsiteX38192" fmla="*/ 5271681 w 6884782"/>
              <a:gd name="connsiteY38192" fmla="*/ 2101596 h 5973007"/>
              <a:gd name="connsiteX38193" fmla="*/ 5271681 w 6884782"/>
              <a:gd name="connsiteY38193" fmla="*/ 2100457 h 5973007"/>
              <a:gd name="connsiteX38194" fmla="*/ 5270828 w 6884782"/>
              <a:gd name="connsiteY38194" fmla="*/ 2100031 h 5973007"/>
              <a:gd name="connsiteX38195" fmla="*/ 5267626 w 6884782"/>
              <a:gd name="connsiteY38195" fmla="*/ 2082674 h 5973007"/>
              <a:gd name="connsiteX38196" fmla="*/ 4783590 w 6884782"/>
              <a:gd name="connsiteY38196" fmla="*/ 2081820 h 5973007"/>
              <a:gd name="connsiteX38197" fmla="*/ 4790420 w 6884782"/>
              <a:gd name="connsiteY38197" fmla="*/ 2083528 h 5973007"/>
              <a:gd name="connsiteX38198" fmla="*/ 4787645 w 6884782"/>
              <a:gd name="connsiteY38198" fmla="*/ 2090357 h 5973007"/>
              <a:gd name="connsiteX38199" fmla="*/ 4790420 w 6884782"/>
              <a:gd name="connsiteY38199" fmla="*/ 2090925 h 5973007"/>
              <a:gd name="connsiteX38200" fmla="*/ 4793194 w 6884782"/>
              <a:gd name="connsiteY38200" fmla="*/ 2092775 h 5973007"/>
              <a:gd name="connsiteX38201" fmla="*/ 4792767 w 6884782"/>
              <a:gd name="connsiteY38201" fmla="*/ 2094625 h 5973007"/>
              <a:gd name="connsiteX38202" fmla="*/ 4800023 w 6884782"/>
              <a:gd name="connsiteY38202" fmla="*/ 2091494 h 5973007"/>
              <a:gd name="connsiteX38203" fmla="*/ 4805573 w 6884782"/>
              <a:gd name="connsiteY38203" fmla="*/ 2091637 h 5973007"/>
              <a:gd name="connsiteX38204" fmla="*/ 4822006 w 6884782"/>
              <a:gd name="connsiteY38204" fmla="*/ 2099177 h 5973007"/>
              <a:gd name="connsiteX38205" fmla="*/ 4820939 w 6884782"/>
              <a:gd name="connsiteY38205" fmla="*/ 2100173 h 5973007"/>
              <a:gd name="connsiteX38206" fmla="*/ 4824567 w 6884782"/>
              <a:gd name="connsiteY38206" fmla="*/ 2105295 h 5973007"/>
              <a:gd name="connsiteX38207" fmla="*/ 4818164 w 6884782"/>
              <a:gd name="connsiteY38207" fmla="*/ 2112692 h 5973007"/>
              <a:gd name="connsiteX38208" fmla="*/ 4809841 w 6884782"/>
              <a:gd name="connsiteY38208" fmla="*/ 2116249 h 5973007"/>
              <a:gd name="connsiteX38209" fmla="*/ 4810268 w 6884782"/>
              <a:gd name="connsiteY38209" fmla="*/ 2116249 h 5973007"/>
              <a:gd name="connsiteX38210" fmla="*/ 4812402 w 6884782"/>
              <a:gd name="connsiteY38210" fmla="*/ 2119806 h 5973007"/>
              <a:gd name="connsiteX38211" fmla="*/ 4811121 w 6884782"/>
              <a:gd name="connsiteY38211" fmla="*/ 2124501 h 5973007"/>
              <a:gd name="connsiteX38212" fmla="*/ 4808561 w 6884782"/>
              <a:gd name="connsiteY38212" fmla="*/ 2127346 h 5973007"/>
              <a:gd name="connsiteX38213" fmla="*/ 4804719 w 6884782"/>
              <a:gd name="connsiteY38213" fmla="*/ 2128057 h 5973007"/>
              <a:gd name="connsiteX38214" fmla="*/ 4801944 w 6884782"/>
              <a:gd name="connsiteY38214" fmla="*/ 2126635 h 5973007"/>
              <a:gd name="connsiteX38215" fmla="*/ 4800237 w 6884782"/>
              <a:gd name="connsiteY38215" fmla="*/ 2119948 h 5973007"/>
              <a:gd name="connsiteX38216" fmla="*/ 4804932 w 6884782"/>
              <a:gd name="connsiteY38216" fmla="*/ 2116818 h 5973007"/>
              <a:gd name="connsiteX38217" fmla="*/ 4809627 w 6884782"/>
              <a:gd name="connsiteY38217" fmla="*/ 2116391 h 5973007"/>
              <a:gd name="connsiteX38218" fmla="*/ 4803865 w 6884782"/>
              <a:gd name="connsiteY38218" fmla="*/ 2110843 h 5973007"/>
              <a:gd name="connsiteX38219" fmla="*/ 4805359 w 6884782"/>
              <a:gd name="connsiteY38219" fmla="*/ 2105721 h 5973007"/>
              <a:gd name="connsiteX38220" fmla="*/ 4808774 w 6884782"/>
              <a:gd name="connsiteY38220" fmla="*/ 2102734 h 5973007"/>
              <a:gd name="connsiteX38221" fmla="*/ 4799597 w 6884782"/>
              <a:gd name="connsiteY38221" fmla="*/ 2099604 h 5973007"/>
              <a:gd name="connsiteX38222" fmla="*/ 4792554 w 6884782"/>
              <a:gd name="connsiteY38222" fmla="*/ 2094909 h 5973007"/>
              <a:gd name="connsiteX38223" fmla="*/ 4791914 w 6884782"/>
              <a:gd name="connsiteY38223" fmla="*/ 2098750 h 5973007"/>
              <a:gd name="connsiteX38224" fmla="*/ 4775480 w 6884782"/>
              <a:gd name="connsiteY38224" fmla="*/ 2102734 h 5973007"/>
              <a:gd name="connsiteX38225" fmla="*/ 4776761 w 6884782"/>
              <a:gd name="connsiteY38225" fmla="*/ 2091921 h 5973007"/>
              <a:gd name="connsiteX38226" fmla="*/ 4779749 w 6884782"/>
              <a:gd name="connsiteY38226" fmla="*/ 2091352 h 5973007"/>
              <a:gd name="connsiteX38227" fmla="*/ 4781243 w 6884782"/>
              <a:gd name="connsiteY38227" fmla="*/ 2090214 h 5973007"/>
              <a:gd name="connsiteX38228" fmla="*/ 4780176 w 6884782"/>
              <a:gd name="connsiteY38228" fmla="*/ 2087084 h 5973007"/>
              <a:gd name="connsiteX38229" fmla="*/ 4776334 w 6884782"/>
              <a:gd name="connsiteY38229" fmla="*/ 2082674 h 5973007"/>
              <a:gd name="connsiteX38230" fmla="*/ 4783590 w 6884782"/>
              <a:gd name="connsiteY38230" fmla="*/ 2081820 h 5973007"/>
              <a:gd name="connsiteX38231" fmla="*/ 5742271 w 6884782"/>
              <a:gd name="connsiteY38231" fmla="*/ 2080683 h 5973007"/>
              <a:gd name="connsiteX38232" fmla="*/ 5742271 w 6884782"/>
              <a:gd name="connsiteY38232" fmla="*/ 2085662 h 5973007"/>
              <a:gd name="connsiteX38233" fmla="*/ 5739284 w 6884782"/>
              <a:gd name="connsiteY38233" fmla="*/ 2088080 h 5973007"/>
              <a:gd name="connsiteX38234" fmla="*/ 5739071 w 6884782"/>
              <a:gd name="connsiteY38234" fmla="*/ 2086942 h 5973007"/>
              <a:gd name="connsiteX38235" fmla="*/ 5736723 w 6884782"/>
              <a:gd name="connsiteY38235" fmla="*/ 2082816 h 5973007"/>
              <a:gd name="connsiteX38236" fmla="*/ 5742271 w 6884782"/>
              <a:gd name="connsiteY38236" fmla="*/ 2080683 h 5973007"/>
              <a:gd name="connsiteX38237" fmla="*/ 861673 w 6884782"/>
              <a:gd name="connsiteY38237" fmla="*/ 2080279 h 5973007"/>
              <a:gd name="connsiteX38238" fmla="*/ 859815 w 6884782"/>
              <a:gd name="connsiteY38238" fmla="*/ 2083068 h 5973007"/>
              <a:gd name="connsiteX38239" fmla="*/ 857233 w 6884782"/>
              <a:gd name="connsiteY38239" fmla="*/ 2082293 h 5973007"/>
              <a:gd name="connsiteX38240" fmla="*/ 859298 w 6884782"/>
              <a:gd name="connsiteY38240" fmla="*/ 2080899 h 5973007"/>
              <a:gd name="connsiteX38241" fmla="*/ 861673 w 6884782"/>
              <a:gd name="connsiteY38241" fmla="*/ 2080279 h 5973007"/>
              <a:gd name="connsiteX38242" fmla="*/ 4815390 w 6884782"/>
              <a:gd name="connsiteY38242" fmla="*/ 2079971 h 5973007"/>
              <a:gd name="connsiteX38243" fmla="*/ 4817524 w 6884782"/>
              <a:gd name="connsiteY38243" fmla="*/ 2082816 h 5973007"/>
              <a:gd name="connsiteX38244" fmla="*/ 4816884 w 6884782"/>
              <a:gd name="connsiteY38244" fmla="*/ 2085662 h 5973007"/>
              <a:gd name="connsiteX38245" fmla="*/ 4813896 w 6884782"/>
              <a:gd name="connsiteY38245" fmla="*/ 2089930 h 5973007"/>
              <a:gd name="connsiteX38246" fmla="*/ 4808347 w 6884782"/>
              <a:gd name="connsiteY38246" fmla="*/ 2091210 h 5973007"/>
              <a:gd name="connsiteX38247" fmla="*/ 4809414 w 6884782"/>
              <a:gd name="connsiteY38247" fmla="*/ 2090925 h 5973007"/>
              <a:gd name="connsiteX38248" fmla="*/ 4808774 w 6884782"/>
              <a:gd name="connsiteY38248" fmla="*/ 2088507 h 5973007"/>
              <a:gd name="connsiteX38249" fmla="*/ 4807706 w 6884782"/>
              <a:gd name="connsiteY38249" fmla="*/ 2088934 h 5973007"/>
              <a:gd name="connsiteX38250" fmla="*/ 4808347 w 6884782"/>
              <a:gd name="connsiteY38250" fmla="*/ 2086373 h 5973007"/>
              <a:gd name="connsiteX38251" fmla="*/ 4815390 w 6884782"/>
              <a:gd name="connsiteY38251" fmla="*/ 2079971 h 5973007"/>
              <a:gd name="connsiteX38252" fmla="*/ 4688405 w 6884782"/>
              <a:gd name="connsiteY38252" fmla="*/ 2079971 h 5973007"/>
              <a:gd name="connsiteX38253" fmla="*/ 4694167 w 6884782"/>
              <a:gd name="connsiteY38253" fmla="*/ 2081678 h 5973007"/>
              <a:gd name="connsiteX38254" fmla="*/ 4688405 w 6884782"/>
              <a:gd name="connsiteY38254" fmla="*/ 2108709 h 5973007"/>
              <a:gd name="connsiteX38255" fmla="*/ 4688405 w 6884782"/>
              <a:gd name="connsiteY38255" fmla="*/ 2079971 h 5973007"/>
              <a:gd name="connsiteX38256" fmla="*/ 4838439 w 6884782"/>
              <a:gd name="connsiteY38256" fmla="*/ 2079259 h 5973007"/>
              <a:gd name="connsiteX38257" fmla="*/ 4839079 w 6884782"/>
              <a:gd name="connsiteY38257" fmla="*/ 2088649 h 5973007"/>
              <a:gd name="connsiteX38258" fmla="*/ 4838012 w 6884782"/>
              <a:gd name="connsiteY38258" fmla="*/ 2089645 h 5973007"/>
              <a:gd name="connsiteX38259" fmla="*/ 4838439 w 6884782"/>
              <a:gd name="connsiteY38259" fmla="*/ 2079259 h 5973007"/>
              <a:gd name="connsiteX38260" fmla="*/ 4775907 w 6884782"/>
              <a:gd name="connsiteY38260" fmla="*/ 2079259 h 5973007"/>
              <a:gd name="connsiteX38261" fmla="*/ 4772919 w 6884782"/>
              <a:gd name="connsiteY38261" fmla="*/ 2086800 h 5973007"/>
              <a:gd name="connsiteX38262" fmla="*/ 4768864 w 6884782"/>
              <a:gd name="connsiteY38262" fmla="*/ 2087084 h 5973007"/>
              <a:gd name="connsiteX38263" fmla="*/ 4769078 w 6884782"/>
              <a:gd name="connsiteY38263" fmla="*/ 2090357 h 5973007"/>
              <a:gd name="connsiteX38264" fmla="*/ 4762462 w 6884782"/>
              <a:gd name="connsiteY38264" fmla="*/ 2098750 h 5973007"/>
              <a:gd name="connsiteX38265" fmla="*/ 4751577 w 6884782"/>
              <a:gd name="connsiteY38265" fmla="*/ 2085235 h 5973007"/>
              <a:gd name="connsiteX38266" fmla="*/ 4765022 w 6884782"/>
              <a:gd name="connsiteY38266" fmla="*/ 2080398 h 5973007"/>
              <a:gd name="connsiteX38267" fmla="*/ 4766090 w 6884782"/>
              <a:gd name="connsiteY38267" fmla="*/ 2081536 h 5973007"/>
              <a:gd name="connsiteX38268" fmla="*/ 4767157 w 6884782"/>
              <a:gd name="connsiteY38268" fmla="*/ 2080683 h 5973007"/>
              <a:gd name="connsiteX38269" fmla="*/ 4775907 w 6884782"/>
              <a:gd name="connsiteY38269" fmla="*/ 2079259 h 5973007"/>
              <a:gd name="connsiteX38270" fmla="*/ 4710600 w 6884782"/>
              <a:gd name="connsiteY38270" fmla="*/ 2078975 h 5973007"/>
              <a:gd name="connsiteX38271" fmla="*/ 4714229 w 6884782"/>
              <a:gd name="connsiteY38271" fmla="*/ 2079259 h 5973007"/>
              <a:gd name="connsiteX38272" fmla="*/ 4713802 w 6884782"/>
              <a:gd name="connsiteY38272" fmla="*/ 2085946 h 5973007"/>
              <a:gd name="connsiteX38273" fmla="*/ 4710600 w 6884782"/>
              <a:gd name="connsiteY38273" fmla="*/ 2078975 h 5973007"/>
              <a:gd name="connsiteX38274" fmla="*/ 863016 w 6884782"/>
              <a:gd name="connsiteY38274" fmla="*/ 2078266 h 5973007"/>
              <a:gd name="connsiteX38275" fmla="*/ 862087 w 6884782"/>
              <a:gd name="connsiteY38275" fmla="*/ 2079815 h 5973007"/>
              <a:gd name="connsiteX38276" fmla="*/ 861363 w 6884782"/>
              <a:gd name="connsiteY38276" fmla="*/ 2079350 h 5973007"/>
              <a:gd name="connsiteX38277" fmla="*/ 862087 w 6884782"/>
              <a:gd name="connsiteY38277" fmla="*/ 2078421 h 5973007"/>
              <a:gd name="connsiteX38278" fmla="*/ 863016 w 6884782"/>
              <a:gd name="connsiteY38278" fmla="*/ 2078266 h 5973007"/>
              <a:gd name="connsiteX38279" fmla="*/ 4797890 w 6884782"/>
              <a:gd name="connsiteY38279" fmla="*/ 2078264 h 5973007"/>
              <a:gd name="connsiteX38280" fmla="*/ 4802798 w 6884782"/>
              <a:gd name="connsiteY38280" fmla="*/ 2082247 h 5973007"/>
              <a:gd name="connsiteX38281" fmla="*/ 4802798 w 6884782"/>
              <a:gd name="connsiteY38281" fmla="*/ 2087226 h 5973007"/>
              <a:gd name="connsiteX38282" fmla="*/ 4797890 w 6884782"/>
              <a:gd name="connsiteY38282" fmla="*/ 2078264 h 5973007"/>
              <a:gd name="connsiteX38283" fmla="*/ 5781327 w 6884782"/>
              <a:gd name="connsiteY38283" fmla="*/ 2077837 h 5973007"/>
              <a:gd name="connsiteX38284" fmla="*/ 5785810 w 6884782"/>
              <a:gd name="connsiteY38284" fmla="*/ 2085377 h 5973007"/>
              <a:gd name="connsiteX38285" fmla="*/ 5782181 w 6884782"/>
              <a:gd name="connsiteY38285" fmla="*/ 2109847 h 5973007"/>
              <a:gd name="connsiteX38286" fmla="*/ 5781327 w 6884782"/>
              <a:gd name="connsiteY38286" fmla="*/ 2077837 h 5973007"/>
              <a:gd name="connsiteX38287" fmla="*/ 5532907 w 6884782"/>
              <a:gd name="connsiteY38287" fmla="*/ 2077409 h 5973007"/>
              <a:gd name="connsiteX38288" fmla="*/ 5548486 w 6884782"/>
              <a:gd name="connsiteY38288" fmla="*/ 2086942 h 5973007"/>
              <a:gd name="connsiteX38289" fmla="*/ 5551688 w 6884782"/>
              <a:gd name="connsiteY38289" fmla="*/ 2091067 h 5973007"/>
              <a:gd name="connsiteX38290" fmla="*/ 5551901 w 6884782"/>
              <a:gd name="connsiteY38290" fmla="*/ 2090925 h 5973007"/>
              <a:gd name="connsiteX38291" fmla="*/ 5557024 w 6884782"/>
              <a:gd name="connsiteY38291" fmla="*/ 2086657 h 5973007"/>
              <a:gd name="connsiteX38292" fmla="*/ 5560652 w 6884782"/>
              <a:gd name="connsiteY38292" fmla="*/ 2087084 h 5973007"/>
              <a:gd name="connsiteX38293" fmla="*/ 5564280 w 6884782"/>
              <a:gd name="connsiteY38293" fmla="*/ 2093486 h 5973007"/>
              <a:gd name="connsiteX38294" fmla="*/ 5564066 w 6884782"/>
              <a:gd name="connsiteY38294" fmla="*/ 2095904 h 5973007"/>
              <a:gd name="connsiteX38295" fmla="*/ 5564280 w 6884782"/>
              <a:gd name="connsiteY38295" fmla="*/ 2095904 h 5973007"/>
              <a:gd name="connsiteX38296" fmla="*/ 5563853 w 6884782"/>
              <a:gd name="connsiteY38296" fmla="*/ 2096332 h 5973007"/>
              <a:gd name="connsiteX38297" fmla="*/ 5563853 w 6884782"/>
              <a:gd name="connsiteY38297" fmla="*/ 2097327 h 5973007"/>
              <a:gd name="connsiteX38298" fmla="*/ 5564920 w 6884782"/>
              <a:gd name="connsiteY38298" fmla="*/ 2096901 h 5973007"/>
              <a:gd name="connsiteX38299" fmla="*/ 5572390 w 6884782"/>
              <a:gd name="connsiteY38299" fmla="*/ 2097754 h 5973007"/>
              <a:gd name="connsiteX38300" fmla="*/ 5569188 w 6884782"/>
              <a:gd name="connsiteY38300" fmla="*/ 2104583 h 5973007"/>
              <a:gd name="connsiteX38301" fmla="*/ 5568335 w 6884782"/>
              <a:gd name="connsiteY38301" fmla="*/ 2104441 h 5973007"/>
              <a:gd name="connsiteX38302" fmla="*/ 5568121 w 6884782"/>
              <a:gd name="connsiteY38302" fmla="*/ 2104583 h 5973007"/>
              <a:gd name="connsiteX38303" fmla="*/ 5567481 w 6884782"/>
              <a:gd name="connsiteY38303" fmla="*/ 2107571 h 5973007"/>
              <a:gd name="connsiteX38304" fmla="*/ 5562999 w 6884782"/>
              <a:gd name="connsiteY38304" fmla="*/ 2106006 h 5973007"/>
              <a:gd name="connsiteX38305" fmla="*/ 5562572 w 6884782"/>
              <a:gd name="connsiteY38305" fmla="*/ 2104725 h 5973007"/>
              <a:gd name="connsiteX38306" fmla="*/ 5561932 w 6884782"/>
              <a:gd name="connsiteY38306" fmla="*/ 2104868 h 5973007"/>
              <a:gd name="connsiteX38307" fmla="*/ 5560865 w 6884782"/>
              <a:gd name="connsiteY38307" fmla="*/ 2106860 h 5973007"/>
              <a:gd name="connsiteX38308" fmla="*/ 5561719 w 6884782"/>
              <a:gd name="connsiteY38308" fmla="*/ 2109136 h 5973007"/>
              <a:gd name="connsiteX38309" fmla="*/ 5557450 w 6884782"/>
              <a:gd name="connsiteY38309" fmla="*/ 2109989 h 5973007"/>
              <a:gd name="connsiteX38310" fmla="*/ 5553822 w 6884782"/>
              <a:gd name="connsiteY38310" fmla="*/ 2111270 h 5973007"/>
              <a:gd name="connsiteX38311" fmla="*/ 5550194 w 6884782"/>
              <a:gd name="connsiteY38311" fmla="*/ 2109136 h 5973007"/>
              <a:gd name="connsiteX38312" fmla="*/ 5550194 w 6884782"/>
              <a:gd name="connsiteY38312" fmla="*/ 2107713 h 5973007"/>
              <a:gd name="connsiteX38313" fmla="*/ 5541444 w 6884782"/>
              <a:gd name="connsiteY38313" fmla="*/ 2099888 h 5973007"/>
              <a:gd name="connsiteX38314" fmla="*/ 5527144 w 6884782"/>
              <a:gd name="connsiteY38314" fmla="*/ 2118526 h 5973007"/>
              <a:gd name="connsiteX38315" fmla="*/ 5534614 w 6884782"/>
              <a:gd name="connsiteY38315" fmla="*/ 2091921 h 5973007"/>
              <a:gd name="connsiteX38316" fmla="*/ 5532907 w 6884782"/>
              <a:gd name="connsiteY38316" fmla="*/ 2077409 h 5973007"/>
              <a:gd name="connsiteX38317" fmla="*/ 4730235 w 6884782"/>
              <a:gd name="connsiteY38317" fmla="*/ 2077126 h 5973007"/>
              <a:gd name="connsiteX38318" fmla="*/ 4720845 w 6884782"/>
              <a:gd name="connsiteY38318" fmla="*/ 2087226 h 5973007"/>
              <a:gd name="connsiteX38319" fmla="*/ 4730235 w 6884782"/>
              <a:gd name="connsiteY38319" fmla="*/ 2077126 h 5973007"/>
              <a:gd name="connsiteX38320" fmla="*/ 917845 w 6884782"/>
              <a:gd name="connsiteY38320" fmla="*/ 2076717 h 5973007"/>
              <a:gd name="connsiteX38321" fmla="*/ 920839 w 6884782"/>
              <a:gd name="connsiteY38321" fmla="*/ 2079660 h 5973007"/>
              <a:gd name="connsiteX38322" fmla="*/ 910204 w 6884782"/>
              <a:gd name="connsiteY38322" fmla="*/ 2092361 h 5973007"/>
              <a:gd name="connsiteX38323" fmla="*/ 907106 w 6884782"/>
              <a:gd name="connsiteY38323" fmla="*/ 2089108 h 5973007"/>
              <a:gd name="connsiteX38324" fmla="*/ 907622 w 6884782"/>
              <a:gd name="connsiteY38324" fmla="*/ 2085391 h 5973007"/>
              <a:gd name="connsiteX38325" fmla="*/ 909378 w 6884782"/>
              <a:gd name="connsiteY38325" fmla="*/ 2082138 h 5973007"/>
              <a:gd name="connsiteX38326" fmla="*/ 912682 w 6884782"/>
              <a:gd name="connsiteY38326" fmla="*/ 2080125 h 5973007"/>
              <a:gd name="connsiteX38327" fmla="*/ 917845 w 6884782"/>
              <a:gd name="connsiteY38327" fmla="*/ 2076717 h 5973007"/>
              <a:gd name="connsiteX38328" fmla="*/ 5932216 w 6884782"/>
              <a:gd name="connsiteY38328" fmla="*/ 2074991 h 5973007"/>
              <a:gd name="connsiteX38329" fmla="*/ 5942887 w 6884782"/>
              <a:gd name="connsiteY38329" fmla="*/ 2084666 h 5973007"/>
              <a:gd name="connsiteX38330" fmla="*/ 5940325 w 6884782"/>
              <a:gd name="connsiteY38330" fmla="*/ 2090925 h 5973007"/>
              <a:gd name="connsiteX38331" fmla="*/ 5926666 w 6884782"/>
              <a:gd name="connsiteY38331" fmla="*/ 2078121 h 5973007"/>
              <a:gd name="connsiteX38332" fmla="*/ 5932216 w 6884782"/>
              <a:gd name="connsiteY38332" fmla="*/ 2074991 h 5973007"/>
              <a:gd name="connsiteX38333" fmla="*/ 865184 w 6884782"/>
              <a:gd name="connsiteY38333" fmla="*/ 2074858 h 5973007"/>
              <a:gd name="connsiteX38334" fmla="*/ 865494 w 6884782"/>
              <a:gd name="connsiteY38334" fmla="*/ 2075942 h 5973007"/>
              <a:gd name="connsiteX38335" fmla="*/ 863635 w 6884782"/>
              <a:gd name="connsiteY38335" fmla="*/ 2075787 h 5973007"/>
              <a:gd name="connsiteX38336" fmla="*/ 865184 w 6884782"/>
              <a:gd name="connsiteY38336" fmla="*/ 2074858 h 5973007"/>
              <a:gd name="connsiteX38337" fmla="*/ 4947283 w 6884782"/>
              <a:gd name="connsiteY38337" fmla="*/ 2074707 h 5973007"/>
              <a:gd name="connsiteX38338" fmla="*/ 4954112 w 6884782"/>
              <a:gd name="connsiteY38338" fmla="*/ 2079259 h 5973007"/>
              <a:gd name="connsiteX38339" fmla="*/ 4957741 w 6884782"/>
              <a:gd name="connsiteY38339" fmla="*/ 2078832 h 5973007"/>
              <a:gd name="connsiteX38340" fmla="*/ 4959448 w 6884782"/>
              <a:gd name="connsiteY38340" fmla="*/ 2080398 h 5973007"/>
              <a:gd name="connsiteX38341" fmla="*/ 4960515 w 6884782"/>
              <a:gd name="connsiteY38341" fmla="*/ 2079401 h 5973007"/>
              <a:gd name="connsiteX38342" fmla="*/ 4962863 w 6884782"/>
              <a:gd name="connsiteY38342" fmla="*/ 2076556 h 5973007"/>
              <a:gd name="connsiteX38343" fmla="*/ 4972253 w 6884782"/>
              <a:gd name="connsiteY38343" fmla="*/ 2088222 h 5973007"/>
              <a:gd name="connsiteX38344" fmla="*/ 4971400 w 6884782"/>
              <a:gd name="connsiteY38344" fmla="*/ 2093202 h 5973007"/>
              <a:gd name="connsiteX38345" fmla="*/ 4964357 w 6884782"/>
              <a:gd name="connsiteY38345" fmla="*/ 2090072 h 5973007"/>
              <a:gd name="connsiteX38346" fmla="*/ 4960942 w 6884782"/>
              <a:gd name="connsiteY38346" fmla="*/ 2086089 h 5973007"/>
              <a:gd name="connsiteX38347" fmla="*/ 4960515 w 6884782"/>
              <a:gd name="connsiteY38347" fmla="*/ 2086657 h 5973007"/>
              <a:gd name="connsiteX38348" fmla="*/ 4957100 w 6884782"/>
              <a:gd name="connsiteY38348" fmla="*/ 2086800 h 5973007"/>
              <a:gd name="connsiteX38349" fmla="*/ 4951552 w 6884782"/>
              <a:gd name="connsiteY38349" fmla="*/ 2079259 h 5973007"/>
              <a:gd name="connsiteX38350" fmla="*/ 4947283 w 6884782"/>
              <a:gd name="connsiteY38350" fmla="*/ 2074707 h 5973007"/>
              <a:gd name="connsiteX38351" fmla="*/ 667139 w 6884782"/>
              <a:gd name="connsiteY38351" fmla="*/ 2074703 h 5973007"/>
              <a:gd name="connsiteX38352" fmla="*/ 673437 w 6884782"/>
              <a:gd name="connsiteY38352" fmla="*/ 2075942 h 5973007"/>
              <a:gd name="connsiteX38353" fmla="*/ 668274 w 6884782"/>
              <a:gd name="connsiteY38353" fmla="*/ 2080744 h 5973007"/>
              <a:gd name="connsiteX38354" fmla="*/ 666313 w 6884782"/>
              <a:gd name="connsiteY38354" fmla="*/ 2076407 h 5973007"/>
              <a:gd name="connsiteX38355" fmla="*/ 667139 w 6884782"/>
              <a:gd name="connsiteY38355" fmla="*/ 2074703 h 5973007"/>
              <a:gd name="connsiteX38356" fmla="*/ 4795755 w 6884782"/>
              <a:gd name="connsiteY38356" fmla="*/ 2074280 h 5973007"/>
              <a:gd name="connsiteX38357" fmla="*/ 4796395 w 6884782"/>
              <a:gd name="connsiteY38357" fmla="*/ 2074707 h 5973007"/>
              <a:gd name="connsiteX38358" fmla="*/ 4797890 w 6884782"/>
              <a:gd name="connsiteY38358" fmla="*/ 2078264 h 5973007"/>
              <a:gd name="connsiteX38359" fmla="*/ 4794261 w 6884782"/>
              <a:gd name="connsiteY38359" fmla="*/ 2075703 h 5973007"/>
              <a:gd name="connsiteX38360" fmla="*/ 4795328 w 6884782"/>
              <a:gd name="connsiteY38360" fmla="*/ 2074564 h 5973007"/>
              <a:gd name="connsiteX38361" fmla="*/ 4794261 w 6884782"/>
              <a:gd name="connsiteY38361" fmla="*/ 2074564 h 5973007"/>
              <a:gd name="connsiteX38362" fmla="*/ 4795755 w 6884782"/>
              <a:gd name="connsiteY38362" fmla="*/ 2074280 h 5973007"/>
              <a:gd name="connsiteX38363" fmla="*/ 5552768 w 6884782"/>
              <a:gd name="connsiteY38363" fmla="*/ 2072005 h 5973007"/>
              <a:gd name="connsiteX38364" fmla="*/ 5559264 w 6884782"/>
              <a:gd name="connsiteY38364" fmla="*/ 2072502 h 5973007"/>
              <a:gd name="connsiteX38365" fmla="*/ 5566414 w 6884782"/>
              <a:gd name="connsiteY38365" fmla="*/ 2073426 h 5973007"/>
              <a:gd name="connsiteX38366" fmla="*/ 5576445 w 6884782"/>
              <a:gd name="connsiteY38366" fmla="*/ 2082674 h 5973007"/>
              <a:gd name="connsiteX38367" fmla="*/ 5561959 w 6884782"/>
              <a:gd name="connsiteY38367" fmla="*/ 2080646 h 5973007"/>
              <a:gd name="connsiteX38368" fmla="*/ 5552768 w 6884782"/>
              <a:gd name="connsiteY38368" fmla="*/ 2072016 h 5973007"/>
              <a:gd name="connsiteX38369" fmla="*/ 1066456 w 6884782"/>
              <a:gd name="connsiteY38369" fmla="*/ 2071237 h 5973007"/>
              <a:gd name="connsiteX38370" fmla="*/ 1077789 w 6884782"/>
              <a:gd name="connsiteY38370" fmla="*/ 2072999 h 5973007"/>
              <a:gd name="connsiteX38371" fmla="*/ 1054040 w 6884782"/>
              <a:gd name="connsiteY38371" fmla="*/ 2077956 h 5973007"/>
              <a:gd name="connsiteX38372" fmla="*/ 1066456 w 6884782"/>
              <a:gd name="connsiteY38372" fmla="*/ 2071237 h 5973007"/>
              <a:gd name="connsiteX38373" fmla="*/ 4597702 w 6884782"/>
              <a:gd name="connsiteY38373" fmla="*/ 2070723 h 5973007"/>
              <a:gd name="connsiteX38374" fmla="*/ 4600903 w 6884782"/>
              <a:gd name="connsiteY38374" fmla="*/ 2071150 h 5973007"/>
              <a:gd name="connsiteX38375" fmla="*/ 4596634 w 6884782"/>
              <a:gd name="connsiteY38375" fmla="*/ 2073853 h 5973007"/>
              <a:gd name="connsiteX38376" fmla="*/ 4594074 w 6884782"/>
              <a:gd name="connsiteY38376" fmla="*/ 2071435 h 5973007"/>
              <a:gd name="connsiteX38377" fmla="*/ 4597702 w 6884782"/>
              <a:gd name="connsiteY38377" fmla="*/ 2070723 h 5973007"/>
              <a:gd name="connsiteX38378" fmla="*/ 775145 w 6884782"/>
              <a:gd name="connsiteY38378" fmla="*/ 2070366 h 5973007"/>
              <a:gd name="connsiteX38379" fmla="*/ 782579 w 6884782"/>
              <a:gd name="connsiteY38379" fmla="*/ 2073619 h 5973007"/>
              <a:gd name="connsiteX38380" fmla="*/ 773493 w 6884782"/>
              <a:gd name="connsiteY38380" fmla="*/ 2073464 h 5973007"/>
              <a:gd name="connsiteX38381" fmla="*/ 775145 w 6884782"/>
              <a:gd name="connsiteY38381" fmla="*/ 2070366 h 5973007"/>
              <a:gd name="connsiteX38382" fmla="*/ 4902038 w 6884782"/>
              <a:gd name="connsiteY38382" fmla="*/ 2070296 h 5973007"/>
              <a:gd name="connsiteX38383" fmla="*/ 4906093 w 6884782"/>
              <a:gd name="connsiteY38383" fmla="*/ 2072004 h 5973007"/>
              <a:gd name="connsiteX38384" fmla="*/ 4904172 w 6884782"/>
              <a:gd name="connsiteY38384" fmla="*/ 2077553 h 5973007"/>
              <a:gd name="connsiteX38385" fmla="*/ 4898624 w 6884782"/>
              <a:gd name="connsiteY38385" fmla="*/ 2073426 h 5973007"/>
              <a:gd name="connsiteX38386" fmla="*/ 4902038 w 6884782"/>
              <a:gd name="connsiteY38386" fmla="*/ 2070296 h 5973007"/>
              <a:gd name="connsiteX38387" fmla="*/ 4657459 w 6884782"/>
              <a:gd name="connsiteY38387" fmla="*/ 2070296 h 5973007"/>
              <a:gd name="connsiteX38388" fmla="*/ 4669624 w 6884782"/>
              <a:gd name="connsiteY38388" fmla="*/ 2078548 h 5973007"/>
              <a:gd name="connsiteX38389" fmla="*/ 4657459 w 6884782"/>
              <a:gd name="connsiteY38389" fmla="*/ 2070296 h 5973007"/>
              <a:gd name="connsiteX38390" fmla="*/ 4875361 w 6884782"/>
              <a:gd name="connsiteY38390" fmla="*/ 2069300 h 5973007"/>
              <a:gd name="connsiteX38391" fmla="*/ 4870025 w 6884782"/>
              <a:gd name="connsiteY38391" fmla="*/ 2077837 h 5973007"/>
              <a:gd name="connsiteX38392" fmla="*/ 4867891 w 6884782"/>
              <a:gd name="connsiteY38392" fmla="*/ 2078121 h 5973007"/>
              <a:gd name="connsiteX38393" fmla="*/ 4875361 w 6884782"/>
              <a:gd name="connsiteY38393" fmla="*/ 2069300 h 5973007"/>
              <a:gd name="connsiteX38394" fmla="*/ 4602610 w 6884782"/>
              <a:gd name="connsiteY38394" fmla="*/ 2069017 h 5973007"/>
              <a:gd name="connsiteX38395" fmla="*/ 4603890 w 6884782"/>
              <a:gd name="connsiteY38395" fmla="*/ 2069443 h 5973007"/>
              <a:gd name="connsiteX38396" fmla="*/ 4601543 w 6884782"/>
              <a:gd name="connsiteY38396" fmla="*/ 2070865 h 5973007"/>
              <a:gd name="connsiteX38397" fmla="*/ 4601116 w 6884782"/>
              <a:gd name="connsiteY38397" fmla="*/ 2069870 h 5973007"/>
              <a:gd name="connsiteX38398" fmla="*/ 4602610 w 6884782"/>
              <a:gd name="connsiteY38398" fmla="*/ 2069017 h 5973007"/>
              <a:gd name="connsiteX38399" fmla="*/ 6057066 w 6884782"/>
              <a:gd name="connsiteY38399" fmla="*/ 2068162 h 5973007"/>
              <a:gd name="connsiteX38400" fmla="*/ 6061548 w 6884782"/>
              <a:gd name="connsiteY38400" fmla="*/ 2068305 h 5973007"/>
              <a:gd name="connsiteX38401" fmla="*/ 6070938 w 6884782"/>
              <a:gd name="connsiteY38401" fmla="*/ 2077553 h 5973007"/>
              <a:gd name="connsiteX38402" fmla="*/ 6070725 w 6884782"/>
              <a:gd name="connsiteY38402" fmla="*/ 2085662 h 5973007"/>
              <a:gd name="connsiteX38403" fmla="*/ 6052371 w 6884782"/>
              <a:gd name="connsiteY38403" fmla="*/ 2097470 h 5973007"/>
              <a:gd name="connsiteX38404" fmla="*/ 6049596 w 6884782"/>
              <a:gd name="connsiteY38404" fmla="*/ 2096332 h 5973007"/>
              <a:gd name="connsiteX38405" fmla="*/ 6044261 w 6884782"/>
              <a:gd name="connsiteY38405" fmla="*/ 2096332 h 5973007"/>
              <a:gd name="connsiteX38406" fmla="*/ 6044688 w 6884782"/>
              <a:gd name="connsiteY38406" fmla="*/ 2080683 h 5973007"/>
              <a:gd name="connsiteX38407" fmla="*/ 6057066 w 6884782"/>
              <a:gd name="connsiteY38407" fmla="*/ 2068162 h 5973007"/>
              <a:gd name="connsiteX38408" fmla="*/ 5746967 w 6884782"/>
              <a:gd name="connsiteY38408" fmla="*/ 2067878 h 5973007"/>
              <a:gd name="connsiteX38409" fmla="*/ 5749955 w 6884782"/>
              <a:gd name="connsiteY38409" fmla="*/ 2068447 h 5973007"/>
              <a:gd name="connsiteX38410" fmla="*/ 5752942 w 6884782"/>
              <a:gd name="connsiteY38410" fmla="*/ 2069158 h 5973007"/>
              <a:gd name="connsiteX38411" fmla="*/ 5755504 w 6884782"/>
              <a:gd name="connsiteY38411" fmla="*/ 2068873 h 5973007"/>
              <a:gd name="connsiteX38412" fmla="*/ 5759772 w 6884782"/>
              <a:gd name="connsiteY38412" fmla="*/ 2071719 h 5973007"/>
              <a:gd name="connsiteX38413" fmla="*/ 5757211 w 6884782"/>
              <a:gd name="connsiteY38413" fmla="*/ 2071862 h 5973007"/>
              <a:gd name="connsiteX38414" fmla="*/ 5754010 w 6884782"/>
              <a:gd name="connsiteY38414" fmla="*/ 2071150 h 5973007"/>
              <a:gd name="connsiteX38415" fmla="*/ 5752089 w 6884782"/>
              <a:gd name="connsiteY38415" fmla="*/ 2072431 h 5973007"/>
              <a:gd name="connsiteX38416" fmla="*/ 5744406 w 6884782"/>
              <a:gd name="connsiteY38416" fmla="*/ 2068020 h 5973007"/>
              <a:gd name="connsiteX38417" fmla="*/ 5746967 w 6884782"/>
              <a:gd name="connsiteY38417" fmla="*/ 2067878 h 5973007"/>
              <a:gd name="connsiteX38418" fmla="*/ 5039054 w 6884782"/>
              <a:gd name="connsiteY38418" fmla="*/ 2067878 h 5973007"/>
              <a:gd name="connsiteX38419" fmla="*/ 5040761 w 6884782"/>
              <a:gd name="connsiteY38419" fmla="*/ 2069727 h 5973007"/>
              <a:gd name="connsiteX38420" fmla="*/ 5043962 w 6884782"/>
              <a:gd name="connsiteY38420" fmla="*/ 2080683 h 5973007"/>
              <a:gd name="connsiteX38421" fmla="*/ 5044816 w 6884782"/>
              <a:gd name="connsiteY38421" fmla="*/ 2082816 h 5973007"/>
              <a:gd name="connsiteX38422" fmla="*/ 5043535 w 6884782"/>
              <a:gd name="connsiteY38422" fmla="*/ 2086089 h 5973007"/>
              <a:gd name="connsiteX38423" fmla="*/ 5038627 w 6884782"/>
              <a:gd name="connsiteY38423" fmla="*/ 2076983 h 5973007"/>
              <a:gd name="connsiteX38424" fmla="*/ 5036706 w 6884782"/>
              <a:gd name="connsiteY38424" fmla="*/ 2071577 h 5973007"/>
              <a:gd name="connsiteX38425" fmla="*/ 5037987 w 6884782"/>
              <a:gd name="connsiteY38425" fmla="*/ 2068305 h 5973007"/>
              <a:gd name="connsiteX38426" fmla="*/ 1014493 w 6884782"/>
              <a:gd name="connsiteY38426" fmla="*/ 2067423 h 5973007"/>
              <a:gd name="connsiteX38427" fmla="*/ 998694 w 6884782"/>
              <a:gd name="connsiteY38427" fmla="*/ 2082603 h 5973007"/>
              <a:gd name="connsiteX38428" fmla="*/ 1009330 w 6884782"/>
              <a:gd name="connsiteY38428" fmla="*/ 2068507 h 5973007"/>
              <a:gd name="connsiteX38429" fmla="*/ 1014493 w 6884782"/>
              <a:gd name="connsiteY38429" fmla="*/ 2067423 h 5973007"/>
              <a:gd name="connsiteX38430" fmla="*/ 5604829 w 6884782"/>
              <a:gd name="connsiteY38430" fmla="*/ 2067167 h 5973007"/>
              <a:gd name="connsiteX38431" fmla="*/ 5606323 w 6884782"/>
              <a:gd name="connsiteY38431" fmla="*/ 2086515 h 5973007"/>
              <a:gd name="connsiteX38432" fmla="*/ 5604829 w 6884782"/>
              <a:gd name="connsiteY38432" fmla="*/ 2067167 h 5973007"/>
              <a:gd name="connsiteX38433" fmla="*/ 5228357 w 6884782"/>
              <a:gd name="connsiteY38433" fmla="*/ 2066740 h 5973007"/>
              <a:gd name="connsiteX38434" fmla="*/ 5235400 w 6884782"/>
              <a:gd name="connsiteY38434" fmla="*/ 2068873 h 5973007"/>
              <a:gd name="connsiteX38435" fmla="*/ 5236040 w 6884782"/>
              <a:gd name="connsiteY38435" fmla="*/ 2073995 h 5973007"/>
              <a:gd name="connsiteX38436" fmla="*/ 5221741 w 6884782"/>
              <a:gd name="connsiteY38436" fmla="*/ 2077126 h 5973007"/>
              <a:gd name="connsiteX38437" fmla="*/ 5221314 w 6884782"/>
              <a:gd name="connsiteY38437" fmla="*/ 2069727 h 5973007"/>
              <a:gd name="connsiteX38438" fmla="*/ 5228357 w 6884782"/>
              <a:gd name="connsiteY38438" fmla="*/ 2066740 h 5973007"/>
              <a:gd name="connsiteX38439" fmla="*/ 994668 w 6884782"/>
              <a:gd name="connsiteY38439" fmla="*/ 2066494 h 5973007"/>
              <a:gd name="connsiteX38440" fmla="*/ 994461 w 6884782"/>
              <a:gd name="connsiteY38440" fmla="*/ 2088179 h 5973007"/>
              <a:gd name="connsiteX38441" fmla="*/ 990227 w 6884782"/>
              <a:gd name="connsiteY38441" fmla="*/ 2077801 h 5973007"/>
              <a:gd name="connsiteX38442" fmla="*/ 994668 w 6884782"/>
              <a:gd name="connsiteY38442" fmla="*/ 2066494 h 5973007"/>
              <a:gd name="connsiteX38443" fmla="*/ 4609013 w 6884782"/>
              <a:gd name="connsiteY38443" fmla="*/ 2066170 h 5973007"/>
              <a:gd name="connsiteX38444" fmla="*/ 4608373 w 6884782"/>
              <a:gd name="connsiteY38444" fmla="*/ 2067878 h 5973007"/>
              <a:gd name="connsiteX38445" fmla="*/ 4606238 w 6884782"/>
              <a:gd name="connsiteY38445" fmla="*/ 2066740 h 5973007"/>
              <a:gd name="connsiteX38446" fmla="*/ 4609013 w 6884782"/>
              <a:gd name="connsiteY38446" fmla="*/ 2066170 h 5973007"/>
              <a:gd name="connsiteX38447" fmla="*/ 874580 w 6884782"/>
              <a:gd name="connsiteY38447" fmla="*/ 2065409 h 5973007"/>
              <a:gd name="connsiteX38448" fmla="*/ 865391 w 6884782"/>
              <a:gd name="connsiteY38448" fmla="*/ 2074858 h 5973007"/>
              <a:gd name="connsiteX38449" fmla="*/ 874580 w 6884782"/>
              <a:gd name="connsiteY38449" fmla="*/ 2065409 h 5973007"/>
              <a:gd name="connsiteX38450" fmla="*/ 803127 w 6884782"/>
              <a:gd name="connsiteY38450" fmla="*/ 2064635 h 5973007"/>
              <a:gd name="connsiteX38451" fmla="*/ 795073 w 6884782"/>
              <a:gd name="connsiteY38451" fmla="*/ 2072380 h 5973007"/>
              <a:gd name="connsiteX38452" fmla="*/ 783405 w 6884782"/>
              <a:gd name="connsiteY38452" fmla="*/ 2077182 h 5973007"/>
              <a:gd name="connsiteX38453" fmla="*/ 790633 w 6884782"/>
              <a:gd name="connsiteY38453" fmla="*/ 2067113 h 5973007"/>
              <a:gd name="connsiteX38454" fmla="*/ 803127 w 6884782"/>
              <a:gd name="connsiteY38454" fmla="*/ 2064635 h 5973007"/>
              <a:gd name="connsiteX38455" fmla="*/ 5605470 w 6884782"/>
              <a:gd name="connsiteY38455" fmla="*/ 2064321 h 5973007"/>
              <a:gd name="connsiteX38456" fmla="*/ 5605256 w 6884782"/>
              <a:gd name="connsiteY38456" fmla="*/ 2067167 h 5973007"/>
              <a:gd name="connsiteX38457" fmla="*/ 5603762 w 6884782"/>
              <a:gd name="connsiteY38457" fmla="*/ 2066313 h 5973007"/>
              <a:gd name="connsiteX38458" fmla="*/ 5605470 w 6884782"/>
              <a:gd name="connsiteY38458" fmla="*/ 2064321 h 5973007"/>
              <a:gd name="connsiteX38459" fmla="*/ 5383726 w 6884782"/>
              <a:gd name="connsiteY38459" fmla="*/ 2064179 h 5973007"/>
              <a:gd name="connsiteX38460" fmla="*/ 5389702 w 6884782"/>
              <a:gd name="connsiteY38460" fmla="*/ 2066028 h 5973007"/>
              <a:gd name="connsiteX38461" fmla="*/ 5378391 w 6884782"/>
              <a:gd name="connsiteY38461" fmla="*/ 2067878 h 5973007"/>
              <a:gd name="connsiteX38462" fmla="*/ 5383726 w 6884782"/>
              <a:gd name="connsiteY38462" fmla="*/ 2064179 h 5973007"/>
              <a:gd name="connsiteX38463" fmla="*/ 4832250 w 6884782"/>
              <a:gd name="connsiteY38463" fmla="*/ 2063894 h 5973007"/>
              <a:gd name="connsiteX38464" fmla="*/ 4837372 w 6884782"/>
              <a:gd name="connsiteY38464" fmla="*/ 2067593 h 5973007"/>
              <a:gd name="connsiteX38465" fmla="*/ 4832677 w 6884782"/>
              <a:gd name="connsiteY38465" fmla="*/ 2081393 h 5973007"/>
              <a:gd name="connsiteX38466" fmla="*/ 4826060 w 6884782"/>
              <a:gd name="connsiteY38466" fmla="*/ 2081536 h 5973007"/>
              <a:gd name="connsiteX38467" fmla="*/ 4832250 w 6884782"/>
              <a:gd name="connsiteY38467" fmla="*/ 2063894 h 5973007"/>
              <a:gd name="connsiteX38468" fmla="*/ 5647727 w 6884782"/>
              <a:gd name="connsiteY38468" fmla="*/ 2063610 h 5973007"/>
              <a:gd name="connsiteX38469" fmla="*/ 5653063 w 6884782"/>
              <a:gd name="connsiteY38469" fmla="*/ 2069727 h 5973007"/>
              <a:gd name="connsiteX38470" fmla="*/ 5656050 w 6884782"/>
              <a:gd name="connsiteY38470" fmla="*/ 2069017 h 5973007"/>
              <a:gd name="connsiteX38471" fmla="*/ 5660532 w 6884782"/>
              <a:gd name="connsiteY38471" fmla="*/ 2072999 h 5973007"/>
              <a:gd name="connsiteX38472" fmla="*/ 5655837 w 6884782"/>
              <a:gd name="connsiteY38472" fmla="*/ 2073426 h 5973007"/>
              <a:gd name="connsiteX38473" fmla="*/ 5655196 w 6884782"/>
              <a:gd name="connsiteY38473" fmla="*/ 2073142 h 5973007"/>
              <a:gd name="connsiteX38474" fmla="*/ 5658825 w 6884782"/>
              <a:gd name="connsiteY38474" fmla="*/ 2079401 h 5973007"/>
              <a:gd name="connsiteX38475" fmla="*/ 5664160 w 6884782"/>
              <a:gd name="connsiteY38475" fmla="*/ 2086657 h 5973007"/>
              <a:gd name="connsiteX38476" fmla="*/ 5663734 w 6884782"/>
              <a:gd name="connsiteY38476" fmla="*/ 2089930 h 5973007"/>
              <a:gd name="connsiteX38477" fmla="*/ 5664374 w 6884782"/>
              <a:gd name="connsiteY38477" fmla="*/ 2090925 h 5973007"/>
              <a:gd name="connsiteX38478" fmla="*/ 5663093 w 6884782"/>
              <a:gd name="connsiteY38478" fmla="*/ 2093202 h 5973007"/>
              <a:gd name="connsiteX38479" fmla="*/ 5658184 w 6884782"/>
              <a:gd name="connsiteY38479" fmla="*/ 2087653 h 5973007"/>
              <a:gd name="connsiteX38480" fmla="*/ 5654770 w 6884782"/>
              <a:gd name="connsiteY38480" fmla="*/ 2082531 h 5973007"/>
              <a:gd name="connsiteX38481" fmla="*/ 5647727 w 6884782"/>
              <a:gd name="connsiteY38481" fmla="*/ 2063610 h 5973007"/>
              <a:gd name="connsiteX38482" fmla="*/ 1004787 w 6884782"/>
              <a:gd name="connsiteY38482" fmla="*/ 2063086 h 5973007"/>
              <a:gd name="connsiteX38483" fmla="*/ 1006542 w 6884782"/>
              <a:gd name="connsiteY38483" fmla="*/ 2064945 h 5973007"/>
              <a:gd name="connsiteX38484" fmla="*/ 1008297 w 6884782"/>
              <a:gd name="connsiteY38484" fmla="*/ 2065100 h 5973007"/>
              <a:gd name="connsiteX38485" fmla="*/ 1009123 w 6884782"/>
              <a:gd name="connsiteY38485" fmla="*/ 2067733 h 5973007"/>
              <a:gd name="connsiteX38486" fmla="*/ 1004787 w 6884782"/>
              <a:gd name="connsiteY38486" fmla="*/ 2063086 h 5973007"/>
              <a:gd name="connsiteX38487" fmla="*/ 5528212 w 6884782"/>
              <a:gd name="connsiteY38487" fmla="*/ 2062898 h 5973007"/>
              <a:gd name="connsiteX38488" fmla="*/ 5525224 w 6884782"/>
              <a:gd name="connsiteY38488" fmla="*/ 2073284 h 5973007"/>
              <a:gd name="connsiteX38489" fmla="*/ 5528212 w 6884782"/>
              <a:gd name="connsiteY38489" fmla="*/ 2062898 h 5973007"/>
              <a:gd name="connsiteX38490" fmla="*/ 5270828 w 6884782"/>
              <a:gd name="connsiteY38490" fmla="*/ 2062472 h 5973007"/>
              <a:gd name="connsiteX38491" fmla="*/ 5275736 w 6884782"/>
              <a:gd name="connsiteY38491" fmla="*/ 2068731 h 5973007"/>
              <a:gd name="connsiteX38492" fmla="*/ 5284059 w 6884782"/>
              <a:gd name="connsiteY38492" fmla="*/ 2085093 h 5973007"/>
              <a:gd name="connsiteX38493" fmla="*/ 5282992 w 6884782"/>
              <a:gd name="connsiteY38493" fmla="*/ 2088365 h 5973007"/>
              <a:gd name="connsiteX38494" fmla="*/ 5283419 w 6884782"/>
              <a:gd name="connsiteY38494" fmla="*/ 2089503 h 5973007"/>
              <a:gd name="connsiteX38495" fmla="*/ 5281925 w 6884782"/>
              <a:gd name="connsiteY38495" fmla="*/ 2091637 h 5973007"/>
              <a:gd name="connsiteX38496" fmla="*/ 5277871 w 6884782"/>
              <a:gd name="connsiteY38496" fmla="*/ 2086230 h 5973007"/>
              <a:gd name="connsiteX38497" fmla="*/ 5275096 w 6884782"/>
              <a:gd name="connsiteY38497" fmla="*/ 2081109 h 5973007"/>
              <a:gd name="connsiteX38498" fmla="*/ 5270828 w 6884782"/>
              <a:gd name="connsiteY38498" fmla="*/ 2062472 h 5973007"/>
              <a:gd name="connsiteX38499" fmla="*/ 5297078 w 6884782"/>
              <a:gd name="connsiteY38499" fmla="*/ 2061618 h 5973007"/>
              <a:gd name="connsiteX38500" fmla="*/ 5329945 w 6884782"/>
              <a:gd name="connsiteY38500" fmla="*/ 2062898 h 5973007"/>
              <a:gd name="connsiteX38501" fmla="*/ 5340189 w 6884782"/>
              <a:gd name="connsiteY38501" fmla="*/ 2067167 h 5973007"/>
              <a:gd name="connsiteX38502" fmla="*/ 5308176 w 6884782"/>
              <a:gd name="connsiteY38502" fmla="*/ 2103872 h 5973007"/>
              <a:gd name="connsiteX38503" fmla="*/ 5297078 w 6884782"/>
              <a:gd name="connsiteY38503" fmla="*/ 2061618 h 5973007"/>
              <a:gd name="connsiteX38504" fmla="*/ 6195362 w 6884782"/>
              <a:gd name="connsiteY38504" fmla="*/ 2060764 h 5973007"/>
              <a:gd name="connsiteX38505" fmla="*/ 6204753 w 6884782"/>
              <a:gd name="connsiteY38505" fmla="*/ 2067309 h 5973007"/>
              <a:gd name="connsiteX38506" fmla="*/ 6201338 w 6884782"/>
              <a:gd name="connsiteY38506" fmla="*/ 2074280 h 5973007"/>
              <a:gd name="connsiteX38507" fmla="*/ 6189599 w 6884782"/>
              <a:gd name="connsiteY38507" fmla="*/ 2067451 h 5973007"/>
              <a:gd name="connsiteX38508" fmla="*/ 6191734 w 6884782"/>
              <a:gd name="connsiteY38508" fmla="*/ 2062472 h 5973007"/>
              <a:gd name="connsiteX38509" fmla="*/ 6195362 w 6884782"/>
              <a:gd name="connsiteY38509" fmla="*/ 2060764 h 5973007"/>
              <a:gd name="connsiteX38510" fmla="*/ 1115271 w 6884782"/>
              <a:gd name="connsiteY38510" fmla="*/ 2060453 h 5973007"/>
              <a:gd name="connsiteX38511" fmla="*/ 1157399 w 6884782"/>
              <a:gd name="connsiteY38511" fmla="*/ 2078730 h 5973007"/>
              <a:gd name="connsiteX38512" fmla="*/ 1153579 w 6884782"/>
              <a:gd name="connsiteY38512" fmla="*/ 2112963 h 5973007"/>
              <a:gd name="connsiteX38513" fmla="*/ 1137161 w 6884782"/>
              <a:gd name="connsiteY38513" fmla="*/ 2125974 h 5973007"/>
              <a:gd name="connsiteX38514" fmla="*/ 1110624 w 6884782"/>
              <a:gd name="connsiteY38514" fmla="*/ 2127368 h 5973007"/>
              <a:gd name="connsiteX38515" fmla="*/ 1099989 w 6884782"/>
              <a:gd name="connsiteY38515" fmla="*/ 2117454 h 5973007"/>
              <a:gd name="connsiteX38516" fmla="*/ 1094413 w 6884782"/>
              <a:gd name="connsiteY38516" fmla="*/ 2112188 h 5973007"/>
              <a:gd name="connsiteX38517" fmla="*/ 1091728 w 6884782"/>
              <a:gd name="connsiteY38517" fmla="*/ 2111878 h 5973007"/>
              <a:gd name="connsiteX38518" fmla="*/ 1091522 w 6884782"/>
              <a:gd name="connsiteY38518" fmla="*/ 2109555 h 5973007"/>
              <a:gd name="connsiteX38519" fmla="*/ 1089250 w 6884782"/>
              <a:gd name="connsiteY38519" fmla="*/ 2107541 h 5973007"/>
              <a:gd name="connsiteX38520" fmla="*/ 1095962 w 6884782"/>
              <a:gd name="connsiteY38520" fmla="*/ 2071915 h 5973007"/>
              <a:gd name="connsiteX38521" fmla="*/ 1115271 w 6884782"/>
              <a:gd name="connsiteY38521" fmla="*/ 2060453 h 5973007"/>
              <a:gd name="connsiteX38522" fmla="*/ 5676538 w 6884782"/>
              <a:gd name="connsiteY38522" fmla="*/ 2060053 h 5973007"/>
              <a:gd name="connsiteX38523" fmla="*/ 5674831 w 6884782"/>
              <a:gd name="connsiteY38523" fmla="*/ 2063325 h 5973007"/>
              <a:gd name="connsiteX38524" fmla="*/ 5661813 w 6884782"/>
              <a:gd name="connsiteY38524" fmla="*/ 2070865 h 5973007"/>
              <a:gd name="connsiteX38525" fmla="*/ 5676538 w 6884782"/>
              <a:gd name="connsiteY38525" fmla="*/ 2060053 h 5973007"/>
              <a:gd name="connsiteX38526" fmla="*/ 4717430 w 6884782"/>
              <a:gd name="connsiteY38526" fmla="*/ 2059626 h 5973007"/>
              <a:gd name="connsiteX38527" fmla="*/ 4718924 w 6884782"/>
              <a:gd name="connsiteY38527" fmla="*/ 2062614 h 5973007"/>
              <a:gd name="connsiteX38528" fmla="*/ 4717003 w 6884782"/>
              <a:gd name="connsiteY38528" fmla="*/ 2063752 h 5973007"/>
              <a:gd name="connsiteX38529" fmla="*/ 4717003 w 6884782"/>
              <a:gd name="connsiteY38529" fmla="*/ 2061191 h 5973007"/>
              <a:gd name="connsiteX38530" fmla="*/ 4717430 w 6884782"/>
              <a:gd name="connsiteY38530" fmla="*/ 2059626 h 5973007"/>
              <a:gd name="connsiteX38531" fmla="*/ 6156946 w 6884782"/>
              <a:gd name="connsiteY38531" fmla="*/ 2058915 h 5973007"/>
              <a:gd name="connsiteX38532" fmla="*/ 6161642 w 6884782"/>
              <a:gd name="connsiteY38532" fmla="*/ 2086515 h 5973007"/>
              <a:gd name="connsiteX38533" fmla="*/ 6155239 w 6884782"/>
              <a:gd name="connsiteY38533" fmla="*/ 2073142 h 5973007"/>
              <a:gd name="connsiteX38534" fmla="*/ 6156946 w 6884782"/>
              <a:gd name="connsiteY38534" fmla="*/ 2058915 h 5973007"/>
              <a:gd name="connsiteX38535" fmla="*/ 727234 w 6884782"/>
              <a:gd name="connsiteY38535" fmla="*/ 2058904 h 5973007"/>
              <a:gd name="connsiteX38536" fmla="*/ 732396 w 6884782"/>
              <a:gd name="connsiteY38536" fmla="*/ 2062621 h 5973007"/>
              <a:gd name="connsiteX38537" fmla="*/ 726924 w 6884782"/>
              <a:gd name="connsiteY38537" fmla="*/ 2067888 h 5973007"/>
              <a:gd name="connsiteX38538" fmla="*/ 723413 w 6884782"/>
              <a:gd name="connsiteY38538" fmla="*/ 2064790 h 5973007"/>
              <a:gd name="connsiteX38539" fmla="*/ 727234 w 6884782"/>
              <a:gd name="connsiteY38539" fmla="*/ 2058904 h 5973007"/>
              <a:gd name="connsiteX38540" fmla="*/ 5603976 w 6884782"/>
              <a:gd name="connsiteY38540" fmla="*/ 2058631 h 5973007"/>
              <a:gd name="connsiteX38541" fmla="*/ 5603762 w 6884782"/>
              <a:gd name="connsiteY38541" fmla="*/ 2061476 h 5973007"/>
              <a:gd name="connsiteX38542" fmla="*/ 5603122 w 6884782"/>
              <a:gd name="connsiteY38542" fmla="*/ 2058915 h 5973007"/>
              <a:gd name="connsiteX38543" fmla="*/ 5603976 w 6884782"/>
              <a:gd name="connsiteY38543" fmla="*/ 2058631 h 5973007"/>
              <a:gd name="connsiteX38544" fmla="*/ 1099369 w 6884782"/>
              <a:gd name="connsiteY38544" fmla="*/ 2058594 h 5973007"/>
              <a:gd name="connsiteX38545" fmla="*/ 1100608 w 6884782"/>
              <a:gd name="connsiteY38545" fmla="*/ 2061537 h 5973007"/>
              <a:gd name="connsiteX38546" fmla="*/ 1099782 w 6884782"/>
              <a:gd name="connsiteY38546" fmla="*/ 2061847 h 5973007"/>
              <a:gd name="connsiteX38547" fmla="*/ 1098646 w 6884782"/>
              <a:gd name="connsiteY38547" fmla="*/ 2060453 h 5973007"/>
              <a:gd name="connsiteX38548" fmla="*/ 1099369 w 6884782"/>
              <a:gd name="connsiteY38548" fmla="*/ 2058594 h 5973007"/>
              <a:gd name="connsiteX38549" fmla="*/ 4729381 w 6884782"/>
              <a:gd name="connsiteY38549" fmla="*/ 2058346 h 5973007"/>
              <a:gd name="connsiteX38550" fmla="*/ 4731302 w 6884782"/>
              <a:gd name="connsiteY38550" fmla="*/ 2060337 h 5973007"/>
              <a:gd name="connsiteX38551" fmla="*/ 4731942 w 6884782"/>
              <a:gd name="connsiteY38551" fmla="*/ 2064036 h 5973007"/>
              <a:gd name="connsiteX38552" fmla="*/ 4729381 w 6884782"/>
              <a:gd name="connsiteY38552" fmla="*/ 2064321 h 5973007"/>
              <a:gd name="connsiteX38553" fmla="*/ 4727674 w 6884782"/>
              <a:gd name="connsiteY38553" fmla="*/ 2058488 h 5973007"/>
              <a:gd name="connsiteX38554" fmla="*/ 4729168 w 6884782"/>
              <a:gd name="connsiteY38554" fmla="*/ 2058915 h 5973007"/>
              <a:gd name="connsiteX38555" fmla="*/ 5548913 w 6884782"/>
              <a:gd name="connsiteY38555" fmla="*/ 2057634 h 5973007"/>
              <a:gd name="connsiteX38556" fmla="*/ 5551048 w 6884782"/>
              <a:gd name="connsiteY38556" fmla="*/ 2060480 h 5973007"/>
              <a:gd name="connsiteX38557" fmla="*/ 5552782 w 6884782"/>
              <a:gd name="connsiteY38557" fmla="*/ 2068109 h 5973007"/>
              <a:gd name="connsiteX38558" fmla="*/ 5552768 w 6884782"/>
              <a:gd name="connsiteY38558" fmla="*/ 2072005 h 5973007"/>
              <a:gd name="connsiteX38559" fmla="*/ 5552755 w 6884782"/>
              <a:gd name="connsiteY38559" fmla="*/ 2072004 h 5973007"/>
              <a:gd name="connsiteX38560" fmla="*/ 5552768 w 6884782"/>
              <a:gd name="connsiteY38560" fmla="*/ 2072016 h 5973007"/>
              <a:gd name="connsiteX38561" fmla="*/ 5552755 w 6884782"/>
              <a:gd name="connsiteY38561" fmla="*/ 2075418 h 5973007"/>
              <a:gd name="connsiteX38562" fmla="*/ 5548913 w 6884782"/>
              <a:gd name="connsiteY38562" fmla="*/ 2057634 h 5973007"/>
              <a:gd name="connsiteX38563" fmla="*/ 4829262 w 6884782"/>
              <a:gd name="connsiteY38563" fmla="*/ 2057492 h 5973007"/>
              <a:gd name="connsiteX38564" fmla="*/ 4832677 w 6884782"/>
              <a:gd name="connsiteY38564" fmla="*/ 2057634 h 5973007"/>
              <a:gd name="connsiteX38565" fmla="*/ 4833531 w 6884782"/>
              <a:gd name="connsiteY38565" fmla="*/ 2058204 h 5973007"/>
              <a:gd name="connsiteX38566" fmla="*/ 4833531 w 6884782"/>
              <a:gd name="connsiteY38566" fmla="*/ 2059484 h 5973007"/>
              <a:gd name="connsiteX38567" fmla="*/ 4829262 w 6884782"/>
              <a:gd name="connsiteY38567" fmla="*/ 2057492 h 5973007"/>
              <a:gd name="connsiteX38568" fmla="*/ 4729381 w 6884782"/>
              <a:gd name="connsiteY38568" fmla="*/ 2057492 h 5973007"/>
              <a:gd name="connsiteX38569" fmla="*/ 4729381 w 6884782"/>
              <a:gd name="connsiteY38569" fmla="*/ 2058346 h 5973007"/>
              <a:gd name="connsiteX38570" fmla="*/ 4728741 w 6884782"/>
              <a:gd name="connsiteY38570" fmla="*/ 2057919 h 5973007"/>
              <a:gd name="connsiteX38571" fmla="*/ 4729381 w 6884782"/>
              <a:gd name="connsiteY38571" fmla="*/ 2057492 h 5973007"/>
              <a:gd name="connsiteX38572" fmla="*/ 5695960 w 6884782"/>
              <a:gd name="connsiteY38572" fmla="*/ 2057065 h 5973007"/>
              <a:gd name="connsiteX38573" fmla="*/ 5697667 w 6884782"/>
              <a:gd name="connsiteY38573" fmla="*/ 2058061 h 5973007"/>
              <a:gd name="connsiteX38574" fmla="*/ 5701295 w 6884782"/>
              <a:gd name="connsiteY38574" fmla="*/ 2064179 h 5973007"/>
              <a:gd name="connsiteX38575" fmla="*/ 5722424 w 6884782"/>
              <a:gd name="connsiteY38575" fmla="*/ 2066313 h 5973007"/>
              <a:gd name="connsiteX38576" fmla="*/ 5721784 w 6884782"/>
              <a:gd name="connsiteY38576" fmla="*/ 2078264 h 5973007"/>
              <a:gd name="connsiteX38577" fmla="*/ 5719436 w 6884782"/>
              <a:gd name="connsiteY38577" fmla="*/ 2080683 h 5973007"/>
              <a:gd name="connsiteX38578" fmla="*/ 5722210 w 6884782"/>
              <a:gd name="connsiteY38578" fmla="*/ 2081109 h 5973007"/>
              <a:gd name="connsiteX38579" fmla="*/ 5714527 w 6884782"/>
              <a:gd name="connsiteY38579" fmla="*/ 2103018 h 5973007"/>
              <a:gd name="connsiteX38580" fmla="*/ 5712606 w 6884782"/>
              <a:gd name="connsiteY38580" fmla="*/ 2104725 h 5973007"/>
              <a:gd name="connsiteX38581" fmla="*/ 5709832 w 6884782"/>
              <a:gd name="connsiteY38581" fmla="*/ 2103730 h 5973007"/>
              <a:gd name="connsiteX38582" fmla="*/ 5708551 w 6884782"/>
              <a:gd name="connsiteY38582" fmla="*/ 2099888 h 5973007"/>
              <a:gd name="connsiteX38583" fmla="*/ 5707698 w 6884782"/>
              <a:gd name="connsiteY38583" fmla="*/ 2100315 h 5973007"/>
              <a:gd name="connsiteX38584" fmla="*/ 5707698 w 6884782"/>
              <a:gd name="connsiteY38584" fmla="*/ 2100742 h 5973007"/>
              <a:gd name="connsiteX38585" fmla="*/ 5703430 w 6884782"/>
              <a:gd name="connsiteY38585" fmla="*/ 2110843 h 5973007"/>
              <a:gd name="connsiteX38586" fmla="*/ 5702362 w 6884782"/>
              <a:gd name="connsiteY38586" fmla="*/ 2113119 h 5973007"/>
              <a:gd name="connsiteX38587" fmla="*/ 5698947 w 6884782"/>
              <a:gd name="connsiteY38587" fmla="*/ 2112977 h 5973007"/>
              <a:gd name="connsiteX38588" fmla="*/ 5699161 w 6884782"/>
              <a:gd name="connsiteY38588" fmla="*/ 2104156 h 5973007"/>
              <a:gd name="connsiteX38589" fmla="*/ 5692118 w 6884782"/>
              <a:gd name="connsiteY38589" fmla="*/ 2103730 h 5973007"/>
              <a:gd name="connsiteX38590" fmla="*/ 5699374 w 6884782"/>
              <a:gd name="connsiteY38590" fmla="*/ 2082389 h 5973007"/>
              <a:gd name="connsiteX38591" fmla="*/ 5700015 w 6884782"/>
              <a:gd name="connsiteY38591" fmla="*/ 2081820 h 5973007"/>
              <a:gd name="connsiteX38592" fmla="*/ 5699374 w 6884782"/>
              <a:gd name="connsiteY38592" fmla="*/ 2081678 h 5973007"/>
              <a:gd name="connsiteX38593" fmla="*/ 5694252 w 6884782"/>
              <a:gd name="connsiteY38593" fmla="*/ 2084239 h 5973007"/>
              <a:gd name="connsiteX38594" fmla="*/ 5691478 w 6884782"/>
              <a:gd name="connsiteY38594" fmla="*/ 2066598 h 5973007"/>
              <a:gd name="connsiteX38595" fmla="*/ 5692118 w 6884782"/>
              <a:gd name="connsiteY38595" fmla="*/ 2064036 h 5973007"/>
              <a:gd name="connsiteX38596" fmla="*/ 5690838 w 6884782"/>
              <a:gd name="connsiteY38596" fmla="*/ 2064036 h 5973007"/>
              <a:gd name="connsiteX38597" fmla="*/ 5692118 w 6884782"/>
              <a:gd name="connsiteY38597" fmla="*/ 2062898 h 5973007"/>
              <a:gd name="connsiteX38598" fmla="*/ 5692118 w 6884782"/>
              <a:gd name="connsiteY38598" fmla="*/ 2062614 h 5973007"/>
              <a:gd name="connsiteX38599" fmla="*/ 5691904 w 6884782"/>
              <a:gd name="connsiteY38599" fmla="*/ 2061333 h 5973007"/>
              <a:gd name="connsiteX38600" fmla="*/ 5694679 w 6884782"/>
              <a:gd name="connsiteY38600" fmla="*/ 2057492 h 5973007"/>
              <a:gd name="connsiteX38601" fmla="*/ 5695960 w 6884782"/>
              <a:gd name="connsiteY38601" fmla="*/ 2057065 h 5973007"/>
              <a:gd name="connsiteX38602" fmla="*/ 882944 w 6884782"/>
              <a:gd name="connsiteY38602" fmla="*/ 2055806 h 5973007"/>
              <a:gd name="connsiteX38603" fmla="*/ 879536 w 6884782"/>
              <a:gd name="connsiteY38603" fmla="*/ 2061072 h 5973007"/>
              <a:gd name="connsiteX38604" fmla="*/ 878401 w 6884782"/>
              <a:gd name="connsiteY38604" fmla="*/ 2061227 h 5973007"/>
              <a:gd name="connsiteX38605" fmla="*/ 882944 w 6884782"/>
              <a:gd name="connsiteY38605" fmla="*/ 2055806 h 5973007"/>
              <a:gd name="connsiteX38606" fmla="*/ 4978656 w 6884782"/>
              <a:gd name="connsiteY38606" fmla="*/ 2055358 h 5973007"/>
              <a:gd name="connsiteX38607" fmla="*/ 4979723 w 6884782"/>
              <a:gd name="connsiteY38607" fmla="*/ 2055785 h 5973007"/>
              <a:gd name="connsiteX38608" fmla="*/ 4977802 w 6884782"/>
              <a:gd name="connsiteY38608" fmla="*/ 2057065 h 5973007"/>
              <a:gd name="connsiteX38609" fmla="*/ 4977162 w 6884782"/>
              <a:gd name="connsiteY38609" fmla="*/ 2056212 h 5973007"/>
              <a:gd name="connsiteX38610" fmla="*/ 4978656 w 6884782"/>
              <a:gd name="connsiteY38610" fmla="*/ 2055358 h 5973007"/>
              <a:gd name="connsiteX38611" fmla="*/ 5969137 w 6884782"/>
              <a:gd name="connsiteY38611" fmla="*/ 2053509 h 5973007"/>
              <a:gd name="connsiteX38612" fmla="*/ 5973619 w 6884782"/>
              <a:gd name="connsiteY38612" fmla="*/ 2055216 h 5973007"/>
              <a:gd name="connsiteX38613" fmla="*/ 5972979 w 6884782"/>
              <a:gd name="connsiteY38613" fmla="*/ 2060764 h 5973007"/>
              <a:gd name="connsiteX38614" fmla="*/ 5974259 w 6884782"/>
              <a:gd name="connsiteY38614" fmla="*/ 2064036 h 5973007"/>
              <a:gd name="connsiteX38615" fmla="*/ 5977033 w 6884782"/>
              <a:gd name="connsiteY38615" fmla="*/ 2071435 h 5973007"/>
              <a:gd name="connsiteX38616" fmla="*/ 5972338 w 6884782"/>
              <a:gd name="connsiteY38616" fmla="*/ 2075276 h 5973007"/>
              <a:gd name="connsiteX38617" fmla="*/ 5958466 w 6884782"/>
              <a:gd name="connsiteY38617" fmla="*/ 2059199 h 5973007"/>
              <a:gd name="connsiteX38618" fmla="*/ 5963801 w 6884782"/>
              <a:gd name="connsiteY38618" fmla="*/ 2055358 h 5973007"/>
              <a:gd name="connsiteX38619" fmla="*/ 5967429 w 6884782"/>
              <a:gd name="connsiteY38619" fmla="*/ 2056212 h 5973007"/>
              <a:gd name="connsiteX38620" fmla="*/ 708648 w 6884782"/>
              <a:gd name="connsiteY38620" fmla="*/ 2053328 h 5973007"/>
              <a:gd name="connsiteX38621" fmla="*/ 711126 w 6884782"/>
              <a:gd name="connsiteY38621" fmla="*/ 2053792 h 5973007"/>
              <a:gd name="connsiteX38622" fmla="*/ 711023 w 6884782"/>
              <a:gd name="connsiteY38622" fmla="*/ 2061072 h 5973007"/>
              <a:gd name="connsiteX38623" fmla="*/ 708441 w 6884782"/>
              <a:gd name="connsiteY38623" fmla="*/ 2061692 h 5973007"/>
              <a:gd name="connsiteX38624" fmla="*/ 705344 w 6884782"/>
              <a:gd name="connsiteY38624" fmla="*/ 2056271 h 5973007"/>
              <a:gd name="connsiteX38625" fmla="*/ 706789 w 6884782"/>
              <a:gd name="connsiteY38625" fmla="*/ 2054102 h 5973007"/>
              <a:gd name="connsiteX38626" fmla="*/ 708648 w 6884782"/>
              <a:gd name="connsiteY38626" fmla="*/ 2053328 h 5973007"/>
              <a:gd name="connsiteX38627" fmla="*/ 4984418 w 6884782"/>
              <a:gd name="connsiteY38627" fmla="*/ 2052655 h 5973007"/>
              <a:gd name="connsiteX38628" fmla="*/ 4984205 w 6884782"/>
              <a:gd name="connsiteY38628" fmla="*/ 2054220 h 5973007"/>
              <a:gd name="connsiteX38629" fmla="*/ 4981857 w 6884782"/>
              <a:gd name="connsiteY38629" fmla="*/ 2053082 h 5973007"/>
              <a:gd name="connsiteX38630" fmla="*/ 4984418 w 6884782"/>
              <a:gd name="connsiteY38630" fmla="*/ 2052655 h 5973007"/>
              <a:gd name="connsiteX38631" fmla="*/ 5013657 w 6884782"/>
              <a:gd name="connsiteY38631" fmla="*/ 2051802 h 5973007"/>
              <a:gd name="connsiteX38632" fmla="*/ 5017712 w 6884782"/>
              <a:gd name="connsiteY38632" fmla="*/ 2059769 h 5973007"/>
              <a:gd name="connsiteX38633" fmla="*/ 5021126 w 6884782"/>
              <a:gd name="connsiteY38633" fmla="*/ 2061476 h 5973007"/>
              <a:gd name="connsiteX38634" fmla="*/ 5022833 w 6884782"/>
              <a:gd name="connsiteY38634" fmla="*/ 2069158 h 5973007"/>
              <a:gd name="connsiteX38635" fmla="*/ 5017285 w 6884782"/>
              <a:gd name="connsiteY38635" fmla="*/ 2068162 h 5973007"/>
              <a:gd name="connsiteX38636" fmla="*/ 5015577 w 6884782"/>
              <a:gd name="connsiteY38636" fmla="*/ 2058204 h 5973007"/>
              <a:gd name="connsiteX38637" fmla="*/ 5013657 w 6884782"/>
              <a:gd name="connsiteY38637" fmla="*/ 2051802 h 5973007"/>
              <a:gd name="connsiteX38638" fmla="*/ 4856366 w 6884782"/>
              <a:gd name="connsiteY38638" fmla="*/ 2051659 h 5973007"/>
              <a:gd name="connsiteX38639" fmla="*/ 4862342 w 6884782"/>
              <a:gd name="connsiteY38639" fmla="*/ 2059057 h 5973007"/>
              <a:gd name="connsiteX38640" fmla="*/ 4856366 w 6884782"/>
              <a:gd name="connsiteY38640" fmla="*/ 2051659 h 5973007"/>
              <a:gd name="connsiteX38641" fmla="*/ 888726 w 6884782"/>
              <a:gd name="connsiteY38641" fmla="*/ 2051469 h 5973007"/>
              <a:gd name="connsiteX38642" fmla="*/ 897297 w 6884782"/>
              <a:gd name="connsiteY38642" fmla="*/ 2053017 h 5973007"/>
              <a:gd name="connsiteX38643" fmla="*/ 898846 w 6884782"/>
              <a:gd name="connsiteY38643" fmla="*/ 2054102 h 5973007"/>
              <a:gd name="connsiteX38644" fmla="*/ 899569 w 6884782"/>
              <a:gd name="connsiteY38644" fmla="*/ 2054257 h 5973007"/>
              <a:gd name="connsiteX38645" fmla="*/ 900394 w 6884782"/>
              <a:gd name="connsiteY38645" fmla="*/ 2055186 h 5973007"/>
              <a:gd name="connsiteX38646" fmla="*/ 904215 w 6884782"/>
              <a:gd name="connsiteY38646" fmla="*/ 2057664 h 5973007"/>
              <a:gd name="connsiteX38647" fmla="*/ 901427 w 6884782"/>
              <a:gd name="connsiteY38647" fmla="*/ 2065564 h 5973007"/>
              <a:gd name="connsiteX38648" fmla="*/ 883977 w 6884782"/>
              <a:gd name="connsiteY38648" fmla="*/ 2053792 h 5973007"/>
              <a:gd name="connsiteX38649" fmla="*/ 888726 w 6884782"/>
              <a:gd name="connsiteY38649" fmla="*/ 2051469 h 5973007"/>
              <a:gd name="connsiteX38650" fmla="*/ 5604829 w 6884782"/>
              <a:gd name="connsiteY38650" fmla="*/ 2051090 h 5973007"/>
              <a:gd name="connsiteX38651" fmla="*/ 5602909 w 6884782"/>
              <a:gd name="connsiteY38651" fmla="*/ 2058204 h 5973007"/>
              <a:gd name="connsiteX38652" fmla="*/ 5601628 w 6884782"/>
              <a:gd name="connsiteY38652" fmla="*/ 2053509 h 5973007"/>
              <a:gd name="connsiteX38653" fmla="*/ 5604829 w 6884782"/>
              <a:gd name="connsiteY38653" fmla="*/ 2051090 h 5973007"/>
              <a:gd name="connsiteX38654" fmla="*/ 4908441 w 6884782"/>
              <a:gd name="connsiteY38654" fmla="*/ 2050095 h 5973007"/>
              <a:gd name="connsiteX38655" fmla="*/ 4914630 w 6884782"/>
              <a:gd name="connsiteY38655" fmla="*/ 2056781 h 5973007"/>
              <a:gd name="connsiteX38656" fmla="*/ 4915483 w 6884782"/>
              <a:gd name="connsiteY38656" fmla="*/ 2063894 h 5973007"/>
              <a:gd name="connsiteX38657" fmla="*/ 4908868 w 6884782"/>
              <a:gd name="connsiteY38657" fmla="*/ 2072004 h 5973007"/>
              <a:gd name="connsiteX38658" fmla="*/ 4903959 w 6884782"/>
              <a:gd name="connsiteY38658" fmla="*/ 2067878 h 5973007"/>
              <a:gd name="connsiteX38659" fmla="*/ 4905453 w 6884782"/>
              <a:gd name="connsiteY38659" fmla="*/ 2050237 h 5973007"/>
              <a:gd name="connsiteX38660" fmla="*/ 4908441 w 6884782"/>
              <a:gd name="connsiteY38660" fmla="*/ 2050095 h 5973007"/>
              <a:gd name="connsiteX38661" fmla="*/ 4953472 w 6884782"/>
              <a:gd name="connsiteY38661" fmla="*/ 2049383 h 5973007"/>
              <a:gd name="connsiteX38662" fmla="*/ 4960942 w 6884782"/>
              <a:gd name="connsiteY38662" fmla="*/ 2053367 h 5973007"/>
              <a:gd name="connsiteX38663" fmla="*/ 4963716 w 6884782"/>
              <a:gd name="connsiteY38663" fmla="*/ 2056923 h 5973007"/>
              <a:gd name="connsiteX38664" fmla="*/ 4964783 w 6884782"/>
              <a:gd name="connsiteY38664" fmla="*/ 2056496 h 5973007"/>
              <a:gd name="connsiteX38665" fmla="*/ 4971613 w 6884782"/>
              <a:gd name="connsiteY38665" fmla="*/ 2055074 h 5973007"/>
              <a:gd name="connsiteX38666" fmla="*/ 4973534 w 6884782"/>
              <a:gd name="connsiteY38666" fmla="*/ 2056069 h 5973007"/>
              <a:gd name="connsiteX38667" fmla="*/ 4973321 w 6884782"/>
              <a:gd name="connsiteY38667" fmla="*/ 2056923 h 5973007"/>
              <a:gd name="connsiteX38668" fmla="*/ 4973747 w 6884782"/>
              <a:gd name="connsiteY38668" fmla="*/ 2056781 h 5973007"/>
              <a:gd name="connsiteX38669" fmla="*/ 4976949 w 6884782"/>
              <a:gd name="connsiteY38669" fmla="*/ 2057492 h 5973007"/>
              <a:gd name="connsiteX38670" fmla="*/ 4973107 w 6884782"/>
              <a:gd name="connsiteY38670" fmla="*/ 2059911 h 5973007"/>
              <a:gd name="connsiteX38671" fmla="*/ 4972894 w 6884782"/>
              <a:gd name="connsiteY38671" fmla="*/ 2059769 h 5973007"/>
              <a:gd name="connsiteX38672" fmla="*/ 4972040 w 6884782"/>
              <a:gd name="connsiteY38672" fmla="*/ 2061903 h 5973007"/>
              <a:gd name="connsiteX38673" fmla="*/ 4967771 w 6884782"/>
              <a:gd name="connsiteY38673" fmla="*/ 2061903 h 5973007"/>
              <a:gd name="connsiteX38674" fmla="*/ 4972680 w 6884782"/>
              <a:gd name="connsiteY38674" fmla="*/ 2071435 h 5973007"/>
              <a:gd name="connsiteX38675" fmla="*/ 4975028 w 6884782"/>
              <a:gd name="connsiteY38675" fmla="*/ 2079259 h 5973007"/>
              <a:gd name="connsiteX38676" fmla="*/ 4949204 w 6884782"/>
              <a:gd name="connsiteY38676" fmla="*/ 2050095 h 5973007"/>
              <a:gd name="connsiteX38677" fmla="*/ 4953472 w 6884782"/>
              <a:gd name="connsiteY38677" fmla="*/ 2049383 h 5973007"/>
              <a:gd name="connsiteX38678" fmla="*/ 6046395 w 6884782"/>
              <a:gd name="connsiteY38678" fmla="*/ 2049098 h 5973007"/>
              <a:gd name="connsiteX38679" fmla="*/ 6052584 w 6884782"/>
              <a:gd name="connsiteY38679" fmla="*/ 2054078 h 5973007"/>
              <a:gd name="connsiteX38680" fmla="*/ 6045328 w 6884782"/>
              <a:gd name="connsiteY38680" fmla="*/ 2058346 h 5973007"/>
              <a:gd name="connsiteX38681" fmla="*/ 6046395 w 6884782"/>
              <a:gd name="connsiteY38681" fmla="*/ 2049098 h 5973007"/>
              <a:gd name="connsiteX38682" fmla="*/ 5783035 w 6884782"/>
              <a:gd name="connsiteY38682" fmla="*/ 2048387 h 5973007"/>
              <a:gd name="connsiteX38683" fmla="*/ 5786023 w 6884782"/>
              <a:gd name="connsiteY38683" fmla="*/ 2048529 h 5973007"/>
              <a:gd name="connsiteX38684" fmla="*/ 5788157 w 6884782"/>
              <a:gd name="connsiteY38684" fmla="*/ 2055785 h 5973007"/>
              <a:gd name="connsiteX38685" fmla="*/ 5782395 w 6884782"/>
              <a:gd name="connsiteY38685" fmla="*/ 2057919 h 5973007"/>
              <a:gd name="connsiteX38686" fmla="*/ 5780047 w 6884782"/>
              <a:gd name="connsiteY38686" fmla="*/ 2056069 h 5973007"/>
              <a:gd name="connsiteX38687" fmla="*/ 5780047 w 6884782"/>
              <a:gd name="connsiteY38687" fmla="*/ 2054789 h 5973007"/>
              <a:gd name="connsiteX38688" fmla="*/ 5780047 w 6884782"/>
              <a:gd name="connsiteY38688" fmla="*/ 2050095 h 5973007"/>
              <a:gd name="connsiteX38689" fmla="*/ 5783035 w 6884782"/>
              <a:gd name="connsiteY38689" fmla="*/ 2048387 h 5973007"/>
              <a:gd name="connsiteX38690" fmla="*/ 5181618 w 6884782"/>
              <a:gd name="connsiteY38690" fmla="*/ 2048245 h 5973007"/>
              <a:gd name="connsiteX38691" fmla="*/ 5188448 w 6884782"/>
              <a:gd name="connsiteY38691" fmla="*/ 2054362 h 5973007"/>
              <a:gd name="connsiteX38692" fmla="*/ 5188874 w 6884782"/>
              <a:gd name="connsiteY38692" fmla="*/ 2056212 h 5973007"/>
              <a:gd name="connsiteX38693" fmla="*/ 5179057 w 6884782"/>
              <a:gd name="connsiteY38693" fmla="*/ 2052228 h 5973007"/>
              <a:gd name="connsiteX38694" fmla="*/ 5178417 w 6884782"/>
              <a:gd name="connsiteY38694" fmla="*/ 2049525 h 5973007"/>
              <a:gd name="connsiteX38695" fmla="*/ 5181618 w 6884782"/>
              <a:gd name="connsiteY38695" fmla="*/ 2048245 h 5973007"/>
              <a:gd name="connsiteX38696" fmla="*/ 815311 w 6884782"/>
              <a:gd name="connsiteY38696" fmla="*/ 2048061 h 5973007"/>
              <a:gd name="connsiteX38697" fmla="*/ 822229 w 6884782"/>
              <a:gd name="connsiteY38697" fmla="*/ 2055806 h 5973007"/>
              <a:gd name="connsiteX38698" fmla="*/ 812214 w 6884782"/>
              <a:gd name="connsiteY38698" fmla="*/ 2053637 h 5973007"/>
              <a:gd name="connsiteX38699" fmla="*/ 815311 w 6884782"/>
              <a:gd name="connsiteY38699" fmla="*/ 2048061 h 5973007"/>
              <a:gd name="connsiteX38700" fmla="*/ 5284700 w 6884782"/>
              <a:gd name="connsiteY38700" fmla="*/ 2047106 h 5973007"/>
              <a:gd name="connsiteX38701" fmla="*/ 5290462 w 6884782"/>
              <a:gd name="connsiteY38701" fmla="*/ 2051375 h 5973007"/>
              <a:gd name="connsiteX38702" fmla="*/ 5275096 w 6884782"/>
              <a:gd name="connsiteY38702" fmla="*/ 2053936 h 5973007"/>
              <a:gd name="connsiteX38703" fmla="*/ 5278297 w 6884782"/>
              <a:gd name="connsiteY38703" fmla="*/ 2047249 h 5973007"/>
              <a:gd name="connsiteX38704" fmla="*/ 5284700 w 6884782"/>
              <a:gd name="connsiteY38704" fmla="*/ 2047106 h 5973007"/>
              <a:gd name="connsiteX38705" fmla="*/ 6142220 w 6884782"/>
              <a:gd name="connsiteY38705" fmla="*/ 2046538 h 5973007"/>
              <a:gd name="connsiteX38706" fmla="*/ 6144781 w 6884782"/>
              <a:gd name="connsiteY38706" fmla="*/ 2046538 h 5973007"/>
              <a:gd name="connsiteX38707" fmla="*/ 6145208 w 6884782"/>
              <a:gd name="connsiteY38707" fmla="*/ 2047533 h 5973007"/>
              <a:gd name="connsiteX38708" fmla="*/ 6145422 w 6884782"/>
              <a:gd name="connsiteY38708" fmla="*/ 2047675 h 5973007"/>
              <a:gd name="connsiteX38709" fmla="*/ 6144995 w 6884782"/>
              <a:gd name="connsiteY38709" fmla="*/ 2050095 h 5973007"/>
              <a:gd name="connsiteX38710" fmla="*/ 6143288 w 6884782"/>
              <a:gd name="connsiteY38710" fmla="*/ 2052228 h 5973007"/>
              <a:gd name="connsiteX38711" fmla="*/ 6140727 w 6884782"/>
              <a:gd name="connsiteY38711" fmla="*/ 2048529 h 5973007"/>
              <a:gd name="connsiteX38712" fmla="*/ 6142647 w 6884782"/>
              <a:gd name="connsiteY38712" fmla="*/ 2047533 h 5973007"/>
              <a:gd name="connsiteX38713" fmla="*/ 6142220 w 6884782"/>
              <a:gd name="connsiteY38713" fmla="*/ 2046538 h 5973007"/>
              <a:gd name="connsiteX38714" fmla="*/ 1033182 w 6884782"/>
              <a:gd name="connsiteY38714" fmla="*/ 2046357 h 5973007"/>
              <a:gd name="connsiteX38715" fmla="*/ 1034421 w 6884782"/>
              <a:gd name="connsiteY38715" fmla="*/ 2046822 h 5973007"/>
              <a:gd name="connsiteX38716" fmla="*/ 1035040 w 6884782"/>
              <a:gd name="connsiteY38716" fmla="*/ 2048526 h 5973007"/>
              <a:gd name="connsiteX38717" fmla="*/ 1035247 w 6884782"/>
              <a:gd name="connsiteY38717" fmla="*/ 2049455 h 5973007"/>
              <a:gd name="connsiteX38718" fmla="*/ 1037003 w 6884782"/>
              <a:gd name="connsiteY38718" fmla="*/ 2048526 h 5973007"/>
              <a:gd name="connsiteX38719" fmla="*/ 1043404 w 6884782"/>
              <a:gd name="connsiteY38719" fmla="*/ 2054567 h 5973007"/>
              <a:gd name="connsiteX38720" fmla="*/ 1028226 w 6884782"/>
              <a:gd name="connsiteY38720" fmla="*/ 2063241 h 5973007"/>
              <a:gd name="connsiteX38721" fmla="*/ 1027710 w 6884782"/>
              <a:gd name="connsiteY38721" fmla="*/ 2059988 h 5973007"/>
              <a:gd name="connsiteX38722" fmla="*/ 1033182 w 6884782"/>
              <a:gd name="connsiteY38722" fmla="*/ 2050384 h 5973007"/>
              <a:gd name="connsiteX38723" fmla="*/ 1034731 w 6884782"/>
              <a:gd name="connsiteY38723" fmla="*/ 2049610 h 5973007"/>
              <a:gd name="connsiteX38724" fmla="*/ 5217899 w 6884782"/>
              <a:gd name="connsiteY38724" fmla="*/ 2045684 h 5973007"/>
              <a:gd name="connsiteX38725" fmla="*/ 5221101 w 6884782"/>
              <a:gd name="connsiteY38725" fmla="*/ 2054078 h 5973007"/>
              <a:gd name="connsiteX38726" fmla="*/ 5209790 w 6884782"/>
              <a:gd name="connsiteY38726" fmla="*/ 2060480 h 5973007"/>
              <a:gd name="connsiteX38727" fmla="*/ 5207015 w 6884782"/>
              <a:gd name="connsiteY38727" fmla="*/ 2047106 h 5973007"/>
              <a:gd name="connsiteX38728" fmla="*/ 5217899 w 6884782"/>
              <a:gd name="connsiteY38728" fmla="*/ 2045684 h 5973007"/>
              <a:gd name="connsiteX38729" fmla="*/ 1133134 w 6884782"/>
              <a:gd name="connsiteY38729" fmla="*/ 2044963 h 5973007"/>
              <a:gd name="connsiteX38730" fmla="*/ 1134786 w 6884782"/>
              <a:gd name="connsiteY38730" fmla="*/ 2045738 h 5973007"/>
              <a:gd name="connsiteX38731" fmla="*/ 1136232 w 6884782"/>
              <a:gd name="connsiteY38731" fmla="*/ 2047906 h 5973007"/>
              <a:gd name="connsiteX38732" fmla="*/ 1132824 w 6884782"/>
              <a:gd name="connsiteY38732" fmla="*/ 2051159 h 5973007"/>
              <a:gd name="connsiteX38733" fmla="*/ 1131069 w 6884782"/>
              <a:gd name="connsiteY38733" fmla="*/ 2050229 h 5973007"/>
              <a:gd name="connsiteX38734" fmla="*/ 1130449 w 6884782"/>
              <a:gd name="connsiteY38734" fmla="*/ 2047597 h 5973007"/>
              <a:gd name="connsiteX38735" fmla="*/ 1133134 w 6884782"/>
              <a:gd name="connsiteY38735" fmla="*/ 2044963 h 5973007"/>
              <a:gd name="connsiteX38736" fmla="*/ 4709747 w 6884782"/>
              <a:gd name="connsiteY38736" fmla="*/ 2043408 h 5973007"/>
              <a:gd name="connsiteX38737" fmla="*/ 4709747 w 6884782"/>
              <a:gd name="connsiteY38737" fmla="*/ 2044688 h 5973007"/>
              <a:gd name="connsiteX38738" fmla="*/ 4711241 w 6884782"/>
              <a:gd name="connsiteY38738" fmla="*/ 2049667 h 5973007"/>
              <a:gd name="connsiteX38739" fmla="*/ 4705265 w 6884782"/>
              <a:gd name="connsiteY38739" fmla="*/ 2049383 h 5973007"/>
              <a:gd name="connsiteX38740" fmla="*/ 4706332 w 6884782"/>
              <a:gd name="connsiteY38740" fmla="*/ 2044546 h 5973007"/>
              <a:gd name="connsiteX38741" fmla="*/ 4709747 w 6884782"/>
              <a:gd name="connsiteY38741" fmla="*/ 2043408 h 5973007"/>
              <a:gd name="connsiteX38742" fmla="*/ 5836390 w 6884782"/>
              <a:gd name="connsiteY38742" fmla="*/ 2041985 h 5973007"/>
              <a:gd name="connsiteX38743" fmla="*/ 5836817 w 6884782"/>
              <a:gd name="connsiteY38743" fmla="*/ 2042696 h 5973007"/>
              <a:gd name="connsiteX38744" fmla="*/ 5836390 w 6884782"/>
              <a:gd name="connsiteY38744" fmla="*/ 2044119 h 5973007"/>
              <a:gd name="connsiteX38745" fmla="*/ 5835323 w 6884782"/>
              <a:gd name="connsiteY38745" fmla="*/ 2043977 h 5973007"/>
              <a:gd name="connsiteX38746" fmla="*/ 5836390 w 6884782"/>
              <a:gd name="connsiteY38746" fmla="*/ 2041985 h 5973007"/>
              <a:gd name="connsiteX38747" fmla="*/ 5864561 w 6884782"/>
              <a:gd name="connsiteY38747" fmla="*/ 2041558 h 5973007"/>
              <a:gd name="connsiteX38748" fmla="*/ 5871177 w 6884782"/>
              <a:gd name="connsiteY38748" fmla="*/ 2042269 h 5973007"/>
              <a:gd name="connsiteX38749" fmla="*/ 5887611 w 6884782"/>
              <a:gd name="connsiteY38749" fmla="*/ 2053651 h 5973007"/>
              <a:gd name="connsiteX38750" fmla="*/ 5891025 w 6884782"/>
              <a:gd name="connsiteY38750" fmla="*/ 2057208 h 5973007"/>
              <a:gd name="connsiteX38751" fmla="*/ 5892733 w 6884782"/>
              <a:gd name="connsiteY38751" fmla="*/ 2057634 h 5973007"/>
              <a:gd name="connsiteX38752" fmla="*/ 5896788 w 6884782"/>
              <a:gd name="connsiteY38752" fmla="*/ 2059484 h 5973007"/>
              <a:gd name="connsiteX38753" fmla="*/ 5897428 w 6884782"/>
              <a:gd name="connsiteY38753" fmla="*/ 2061476 h 5973007"/>
              <a:gd name="connsiteX38754" fmla="*/ 5894440 w 6884782"/>
              <a:gd name="connsiteY38754" fmla="*/ 2061049 h 5973007"/>
              <a:gd name="connsiteX38755" fmla="*/ 5895507 w 6884782"/>
              <a:gd name="connsiteY38755" fmla="*/ 2061903 h 5973007"/>
              <a:gd name="connsiteX38756" fmla="*/ 5904898 w 6884782"/>
              <a:gd name="connsiteY38756" fmla="*/ 2070296 h 5973007"/>
              <a:gd name="connsiteX38757" fmla="*/ 5890599 w 6884782"/>
              <a:gd name="connsiteY38757" fmla="*/ 2078548 h 5973007"/>
              <a:gd name="connsiteX38758" fmla="*/ 5886970 w 6884782"/>
              <a:gd name="connsiteY38758" fmla="*/ 2083243 h 5973007"/>
              <a:gd name="connsiteX38759" fmla="*/ 5887824 w 6884782"/>
              <a:gd name="connsiteY38759" fmla="*/ 2084239 h 5973007"/>
              <a:gd name="connsiteX38760" fmla="*/ 5888037 w 6884782"/>
              <a:gd name="connsiteY38760" fmla="*/ 2083954 h 5973007"/>
              <a:gd name="connsiteX38761" fmla="*/ 5892306 w 6884782"/>
              <a:gd name="connsiteY38761" fmla="*/ 2091779 h 5973007"/>
              <a:gd name="connsiteX38762" fmla="*/ 5880354 w 6884782"/>
              <a:gd name="connsiteY38762" fmla="*/ 2091210 h 5973007"/>
              <a:gd name="connsiteX38763" fmla="*/ 5879928 w 6884782"/>
              <a:gd name="connsiteY38763" fmla="*/ 2090925 h 5973007"/>
              <a:gd name="connsiteX38764" fmla="*/ 5875873 w 6884782"/>
              <a:gd name="connsiteY38764" fmla="*/ 2093059 h 5973007"/>
              <a:gd name="connsiteX38765" fmla="*/ 5870323 w 6884782"/>
              <a:gd name="connsiteY38765" fmla="*/ 2093771 h 5973007"/>
              <a:gd name="connsiteX38766" fmla="*/ 5862000 w 6884782"/>
              <a:gd name="connsiteY38766" fmla="*/ 2091779 h 5973007"/>
              <a:gd name="connsiteX38767" fmla="*/ 5861574 w 6884782"/>
              <a:gd name="connsiteY38767" fmla="*/ 2094482 h 5973007"/>
              <a:gd name="connsiteX38768" fmla="*/ 5856238 w 6884782"/>
              <a:gd name="connsiteY38768" fmla="*/ 2089076 h 5973007"/>
              <a:gd name="connsiteX38769" fmla="*/ 5856451 w 6884782"/>
              <a:gd name="connsiteY38769" fmla="*/ 2088791 h 5973007"/>
              <a:gd name="connsiteX38770" fmla="*/ 5851756 w 6884782"/>
              <a:gd name="connsiteY38770" fmla="*/ 2084950 h 5973007"/>
              <a:gd name="connsiteX38771" fmla="*/ 5849622 w 6884782"/>
              <a:gd name="connsiteY38771" fmla="*/ 2093486 h 5973007"/>
              <a:gd name="connsiteX38772" fmla="*/ 5845994 w 6884782"/>
              <a:gd name="connsiteY38772" fmla="*/ 2102023 h 5973007"/>
              <a:gd name="connsiteX38773" fmla="*/ 5837244 w 6884782"/>
              <a:gd name="connsiteY38773" fmla="*/ 2114827 h 5973007"/>
              <a:gd name="connsiteX38774" fmla="*/ 5836817 w 6884782"/>
              <a:gd name="connsiteY38774" fmla="*/ 2114827 h 5973007"/>
              <a:gd name="connsiteX38775" fmla="*/ 5834896 w 6884782"/>
              <a:gd name="connsiteY38775" fmla="*/ 2117672 h 5973007"/>
              <a:gd name="connsiteX38776" fmla="*/ 5825079 w 6884782"/>
              <a:gd name="connsiteY38776" fmla="*/ 2117956 h 5973007"/>
              <a:gd name="connsiteX38777" fmla="*/ 5829347 w 6884782"/>
              <a:gd name="connsiteY38777" fmla="*/ 2111554 h 5973007"/>
              <a:gd name="connsiteX38778" fmla="*/ 5826786 w 6884782"/>
              <a:gd name="connsiteY38778" fmla="*/ 2109562 h 5973007"/>
              <a:gd name="connsiteX38779" fmla="*/ 5825292 w 6884782"/>
              <a:gd name="connsiteY38779" fmla="*/ 2099461 h 5973007"/>
              <a:gd name="connsiteX38780" fmla="*/ 5825719 w 6884782"/>
              <a:gd name="connsiteY38780" fmla="*/ 2098039 h 5973007"/>
              <a:gd name="connsiteX38781" fmla="*/ 5811420 w 6884782"/>
              <a:gd name="connsiteY38781" fmla="*/ 2098466 h 5973007"/>
              <a:gd name="connsiteX38782" fmla="*/ 5807365 w 6884782"/>
              <a:gd name="connsiteY38782" fmla="*/ 2098893 h 5973007"/>
              <a:gd name="connsiteX38783" fmla="*/ 5806724 w 6884782"/>
              <a:gd name="connsiteY38783" fmla="*/ 2100173 h 5973007"/>
              <a:gd name="connsiteX38784" fmla="*/ 5803523 w 6884782"/>
              <a:gd name="connsiteY38784" fmla="*/ 2103872 h 5973007"/>
              <a:gd name="connsiteX38785" fmla="*/ 5800322 w 6884782"/>
              <a:gd name="connsiteY38785" fmla="*/ 2100457 h 5973007"/>
              <a:gd name="connsiteX38786" fmla="*/ 5800109 w 6884782"/>
              <a:gd name="connsiteY38786" fmla="*/ 2099746 h 5973007"/>
              <a:gd name="connsiteX38787" fmla="*/ 5799682 w 6884782"/>
              <a:gd name="connsiteY38787" fmla="*/ 2099746 h 5973007"/>
              <a:gd name="connsiteX38788" fmla="*/ 5799895 w 6884782"/>
              <a:gd name="connsiteY38788" fmla="*/ 2099177 h 5973007"/>
              <a:gd name="connsiteX38789" fmla="*/ 5799468 w 6884782"/>
              <a:gd name="connsiteY38789" fmla="*/ 2097754 h 5973007"/>
              <a:gd name="connsiteX38790" fmla="*/ 5799682 w 6884782"/>
              <a:gd name="connsiteY38790" fmla="*/ 2093914 h 5973007"/>
              <a:gd name="connsiteX38791" fmla="*/ 5801389 w 6884782"/>
              <a:gd name="connsiteY38791" fmla="*/ 2091637 h 5973007"/>
              <a:gd name="connsiteX38792" fmla="*/ 5803523 w 6884782"/>
              <a:gd name="connsiteY38792" fmla="*/ 2088934 h 5973007"/>
              <a:gd name="connsiteX38793" fmla="*/ 5804164 w 6884782"/>
              <a:gd name="connsiteY38793" fmla="*/ 2088791 h 5973007"/>
              <a:gd name="connsiteX38794" fmla="*/ 5804590 w 6884782"/>
              <a:gd name="connsiteY38794" fmla="*/ 2086800 h 5973007"/>
              <a:gd name="connsiteX38795" fmla="*/ 5804590 w 6884782"/>
              <a:gd name="connsiteY38795" fmla="*/ 2073853 h 5973007"/>
              <a:gd name="connsiteX38796" fmla="*/ 5802243 w 6884782"/>
              <a:gd name="connsiteY38796" fmla="*/ 2073711 h 5973007"/>
              <a:gd name="connsiteX38797" fmla="*/ 5796481 w 6884782"/>
              <a:gd name="connsiteY38797" fmla="*/ 2071150 h 5973007"/>
              <a:gd name="connsiteX38798" fmla="*/ 5803523 w 6884782"/>
              <a:gd name="connsiteY38798" fmla="*/ 2062472 h 5973007"/>
              <a:gd name="connsiteX38799" fmla="*/ 5806084 w 6884782"/>
              <a:gd name="connsiteY38799" fmla="*/ 2062756 h 5973007"/>
              <a:gd name="connsiteX38800" fmla="*/ 5806938 w 6884782"/>
              <a:gd name="connsiteY38800" fmla="*/ 2060480 h 5973007"/>
              <a:gd name="connsiteX38801" fmla="*/ 5810353 w 6884782"/>
              <a:gd name="connsiteY38801" fmla="*/ 2055500 h 5973007"/>
              <a:gd name="connsiteX38802" fmla="*/ 5844927 w 6884782"/>
              <a:gd name="connsiteY38802" fmla="*/ 2054078 h 5973007"/>
              <a:gd name="connsiteX38803" fmla="*/ 5845567 w 6884782"/>
              <a:gd name="connsiteY38803" fmla="*/ 2054789 h 5973007"/>
              <a:gd name="connsiteX38804" fmla="*/ 5847274 w 6884782"/>
              <a:gd name="connsiteY38804" fmla="*/ 2051802 h 5973007"/>
              <a:gd name="connsiteX38805" fmla="*/ 5844927 w 6884782"/>
              <a:gd name="connsiteY38805" fmla="*/ 2051659 h 5973007"/>
              <a:gd name="connsiteX38806" fmla="*/ 5843219 w 6884782"/>
              <a:gd name="connsiteY38806" fmla="*/ 2044403 h 5973007"/>
              <a:gd name="connsiteX38807" fmla="*/ 5849836 w 6884782"/>
              <a:gd name="connsiteY38807" fmla="*/ 2044119 h 5973007"/>
              <a:gd name="connsiteX38808" fmla="*/ 5852183 w 6884782"/>
              <a:gd name="connsiteY38808" fmla="*/ 2045826 h 5973007"/>
              <a:gd name="connsiteX38809" fmla="*/ 5858799 w 6884782"/>
              <a:gd name="connsiteY38809" fmla="*/ 2042127 h 5973007"/>
              <a:gd name="connsiteX38810" fmla="*/ 5864561 w 6884782"/>
              <a:gd name="connsiteY38810" fmla="*/ 2041558 h 5973007"/>
              <a:gd name="connsiteX38811" fmla="*/ 5773218 w 6884782"/>
              <a:gd name="connsiteY38811" fmla="*/ 2041416 h 5973007"/>
              <a:gd name="connsiteX38812" fmla="*/ 5775992 w 6884782"/>
              <a:gd name="connsiteY38812" fmla="*/ 2045400 h 5973007"/>
              <a:gd name="connsiteX38813" fmla="*/ 5775992 w 6884782"/>
              <a:gd name="connsiteY38813" fmla="*/ 2046538 h 5973007"/>
              <a:gd name="connsiteX38814" fmla="*/ 5777059 w 6884782"/>
              <a:gd name="connsiteY38814" fmla="*/ 2045542 h 5973007"/>
              <a:gd name="connsiteX38815" fmla="*/ 5777913 w 6884782"/>
              <a:gd name="connsiteY38815" fmla="*/ 2042554 h 5973007"/>
              <a:gd name="connsiteX38816" fmla="*/ 5781114 w 6884782"/>
              <a:gd name="connsiteY38816" fmla="*/ 2041558 h 5973007"/>
              <a:gd name="connsiteX38817" fmla="*/ 5782181 w 6884782"/>
              <a:gd name="connsiteY38817" fmla="*/ 2042269 h 5973007"/>
              <a:gd name="connsiteX38818" fmla="*/ 5781541 w 6884782"/>
              <a:gd name="connsiteY38818" fmla="*/ 2044830 h 5973007"/>
              <a:gd name="connsiteX38819" fmla="*/ 5774071 w 6884782"/>
              <a:gd name="connsiteY38819" fmla="*/ 2054647 h 5973007"/>
              <a:gd name="connsiteX38820" fmla="*/ 5772791 w 6884782"/>
              <a:gd name="connsiteY38820" fmla="*/ 2056781 h 5973007"/>
              <a:gd name="connsiteX38821" fmla="*/ 5769589 w 6884782"/>
              <a:gd name="connsiteY38821" fmla="*/ 2057634 h 5973007"/>
              <a:gd name="connsiteX38822" fmla="*/ 5770656 w 6884782"/>
              <a:gd name="connsiteY38822" fmla="*/ 2051802 h 5973007"/>
              <a:gd name="connsiteX38823" fmla="*/ 5774498 w 6884782"/>
              <a:gd name="connsiteY38823" fmla="*/ 2047675 h 5973007"/>
              <a:gd name="connsiteX38824" fmla="*/ 5773431 w 6884782"/>
              <a:gd name="connsiteY38824" fmla="*/ 2045684 h 5973007"/>
              <a:gd name="connsiteX38825" fmla="*/ 5773218 w 6884782"/>
              <a:gd name="connsiteY38825" fmla="*/ 2041416 h 5973007"/>
              <a:gd name="connsiteX38826" fmla="*/ 4755632 w 6884782"/>
              <a:gd name="connsiteY38826" fmla="*/ 2041416 h 5973007"/>
              <a:gd name="connsiteX38827" fmla="*/ 4754351 w 6884782"/>
              <a:gd name="connsiteY38827" fmla="*/ 2048529 h 5973007"/>
              <a:gd name="connsiteX38828" fmla="*/ 4751151 w 6884782"/>
              <a:gd name="connsiteY38828" fmla="*/ 2042269 h 5973007"/>
              <a:gd name="connsiteX38829" fmla="*/ 4755632 w 6884782"/>
              <a:gd name="connsiteY38829" fmla="*/ 2041416 h 5973007"/>
              <a:gd name="connsiteX38830" fmla="*/ 5190368 w 6884782"/>
              <a:gd name="connsiteY38830" fmla="*/ 2041274 h 5973007"/>
              <a:gd name="connsiteX38831" fmla="*/ 5195064 w 6884782"/>
              <a:gd name="connsiteY38831" fmla="*/ 2041985 h 5973007"/>
              <a:gd name="connsiteX38832" fmla="*/ 5199972 w 6884782"/>
              <a:gd name="connsiteY38832" fmla="*/ 2051802 h 5973007"/>
              <a:gd name="connsiteX38833" fmla="*/ 5198905 w 6884782"/>
              <a:gd name="connsiteY38833" fmla="*/ 2054647 h 5973007"/>
              <a:gd name="connsiteX38834" fmla="*/ 5193143 w 6884782"/>
              <a:gd name="connsiteY38834" fmla="*/ 2052513 h 5973007"/>
              <a:gd name="connsiteX38835" fmla="*/ 5190368 w 6884782"/>
              <a:gd name="connsiteY38835" fmla="*/ 2041274 h 5973007"/>
              <a:gd name="connsiteX38836" fmla="*/ 5949075 w 6884782"/>
              <a:gd name="connsiteY38836" fmla="*/ 2040847 h 5973007"/>
              <a:gd name="connsiteX38837" fmla="*/ 5954625 w 6884782"/>
              <a:gd name="connsiteY38837" fmla="*/ 2049098 h 5973007"/>
              <a:gd name="connsiteX38838" fmla="*/ 5954198 w 6884782"/>
              <a:gd name="connsiteY38838" fmla="*/ 2051232 h 5973007"/>
              <a:gd name="connsiteX38839" fmla="*/ 5949075 w 6884782"/>
              <a:gd name="connsiteY38839" fmla="*/ 2040847 h 5973007"/>
              <a:gd name="connsiteX38840" fmla="*/ 791150 w 6884782"/>
              <a:gd name="connsiteY38840" fmla="*/ 2040626 h 5973007"/>
              <a:gd name="connsiteX38841" fmla="*/ 808187 w 6884782"/>
              <a:gd name="connsiteY38841" fmla="*/ 2051004 h 5973007"/>
              <a:gd name="connsiteX38842" fmla="*/ 804779 w 6884782"/>
              <a:gd name="connsiteY38842" fmla="*/ 2054102 h 5973007"/>
              <a:gd name="connsiteX38843" fmla="*/ 790840 w 6884782"/>
              <a:gd name="connsiteY38843" fmla="*/ 2043879 h 5973007"/>
              <a:gd name="connsiteX38844" fmla="*/ 791150 w 6884782"/>
              <a:gd name="connsiteY38844" fmla="*/ 2040626 h 5973007"/>
              <a:gd name="connsiteX38845" fmla="*/ 6000937 w 6884782"/>
              <a:gd name="connsiteY38845" fmla="*/ 2040420 h 5973007"/>
              <a:gd name="connsiteX38846" fmla="*/ 6005845 w 6884782"/>
              <a:gd name="connsiteY38846" fmla="*/ 2041274 h 5973007"/>
              <a:gd name="connsiteX38847" fmla="*/ 6006272 w 6884782"/>
              <a:gd name="connsiteY38847" fmla="*/ 2044830 h 5973007"/>
              <a:gd name="connsiteX38848" fmla="*/ 6000297 w 6884782"/>
              <a:gd name="connsiteY38848" fmla="*/ 2044119 h 5973007"/>
              <a:gd name="connsiteX38849" fmla="*/ 6000937 w 6884782"/>
              <a:gd name="connsiteY38849" fmla="*/ 2040420 h 5973007"/>
              <a:gd name="connsiteX38850" fmla="*/ 5657971 w 6884782"/>
              <a:gd name="connsiteY38850" fmla="*/ 2040278 h 5973007"/>
              <a:gd name="connsiteX38851" fmla="*/ 5663306 w 6884782"/>
              <a:gd name="connsiteY38851" fmla="*/ 2043408 h 5973007"/>
              <a:gd name="connsiteX38852" fmla="*/ 5652635 w 6884782"/>
              <a:gd name="connsiteY38852" fmla="*/ 2044830 h 5973007"/>
              <a:gd name="connsiteX38853" fmla="*/ 5657971 w 6884782"/>
              <a:gd name="connsiteY38853" fmla="*/ 2040278 h 5973007"/>
              <a:gd name="connsiteX38854" fmla="*/ 5989412 w 6884782"/>
              <a:gd name="connsiteY38854" fmla="*/ 2039993 h 5973007"/>
              <a:gd name="connsiteX38855" fmla="*/ 5993254 w 6884782"/>
              <a:gd name="connsiteY38855" fmla="*/ 2040989 h 5973007"/>
              <a:gd name="connsiteX38856" fmla="*/ 5993467 w 6884782"/>
              <a:gd name="connsiteY38856" fmla="*/ 2042127 h 5973007"/>
              <a:gd name="connsiteX38857" fmla="*/ 5987491 w 6884782"/>
              <a:gd name="connsiteY38857" fmla="*/ 2042411 h 5973007"/>
              <a:gd name="connsiteX38858" fmla="*/ 5989412 w 6884782"/>
              <a:gd name="connsiteY38858" fmla="*/ 2039993 h 5973007"/>
              <a:gd name="connsiteX38859" fmla="*/ 5693826 w 6884782"/>
              <a:gd name="connsiteY38859" fmla="*/ 2039993 h 5973007"/>
              <a:gd name="connsiteX38860" fmla="*/ 5697027 w 6884782"/>
              <a:gd name="connsiteY38860" fmla="*/ 2040420 h 5973007"/>
              <a:gd name="connsiteX38861" fmla="*/ 5707271 w 6884782"/>
              <a:gd name="connsiteY38861" fmla="*/ 2046964 h 5973007"/>
              <a:gd name="connsiteX38862" fmla="*/ 5698947 w 6884782"/>
              <a:gd name="connsiteY38862" fmla="*/ 2054932 h 5973007"/>
              <a:gd name="connsiteX38863" fmla="*/ 5697454 w 6884782"/>
              <a:gd name="connsiteY38863" fmla="*/ 2054362 h 5973007"/>
              <a:gd name="connsiteX38864" fmla="*/ 5687423 w 6884782"/>
              <a:gd name="connsiteY38864" fmla="*/ 2045115 h 5973007"/>
              <a:gd name="connsiteX38865" fmla="*/ 5693826 w 6884782"/>
              <a:gd name="connsiteY38865" fmla="*/ 2039993 h 5973007"/>
              <a:gd name="connsiteX38866" fmla="*/ 4993808 w 6884782"/>
              <a:gd name="connsiteY38866" fmla="*/ 2039993 h 5973007"/>
              <a:gd name="connsiteX38867" fmla="*/ 5004906 w 6884782"/>
              <a:gd name="connsiteY38867" fmla="*/ 2049952 h 5973007"/>
              <a:gd name="connsiteX38868" fmla="*/ 5004266 w 6884782"/>
              <a:gd name="connsiteY38868" fmla="*/ 2055358 h 5973007"/>
              <a:gd name="connsiteX38869" fmla="*/ 4998077 w 6884782"/>
              <a:gd name="connsiteY38869" fmla="*/ 2061476 h 5973007"/>
              <a:gd name="connsiteX38870" fmla="*/ 4989113 w 6884782"/>
              <a:gd name="connsiteY38870" fmla="*/ 2056069 h 5973007"/>
              <a:gd name="connsiteX38871" fmla="*/ 4989113 w 6884782"/>
              <a:gd name="connsiteY38871" fmla="*/ 2055927 h 5973007"/>
              <a:gd name="connsiteX38872" fmla="*/ 4988900 w 6884782"/>
              <a:gd name="connsiteY38872" fmla="*/ 2057350 h 5973007"/>
              <a:gd name="connsiteX38873" fmla="*/ 4988687 w 6884782"/>
              <a:gd name="connsiteY38873" fmla="*/ 2056212 h 5973007"/>
              <a:gd name="connsiteX38874" fmla="*/ 4988900 w 6884782"/>
              <a:gd name="connsiteY38874" fmla="*/ 2055500 h 5973007"/>
              <a:gd name="connsiteX38875" fmla="*/ 4986979 w 6884782"/>
              <a:gd name="connsiteY38875" fmla="*/ 2051944 h 5973007"/>
              <a:gd name="connsiteX38876" fmla="*/ 4984632 w 6884782"/>
              <a:gd name="connsiteY38876" fmla="*/ 2052797 h 5973007"/>
              <a:gd name="connsiteX38877" fmla="*/ 4986979 w 6884782"/>
              <a:gd name="connsiteY38877" fmla="*/ 2051659 h 5973007"/>
              <a:gd name="connsiteX38878" fmla="*/ 4986339 w 6884782"/>
              <a:gd name="connsiteY38878" fmla="*/ 2050521 h 5973007"/>
              <a:gd name="connsiteX38879" fmla="*/ 4986125 w 6884782"/>
              <a:gd name="connsiteY38879" fmla="*/ 2045542 h 5973007"/>
              <a:gd name="connsiteX38880" fmla="*/ 4993808 w 6884782"/>
              <a:gd name="connsiteY38880" fmla="*/ 2039993 h 5973007"/>
              <a:gd name="connsiteX38881" fmla="*/ 4955820 w 6884782"/>
              <a:gd name="connsiteY38881" fmla="*/ 2039424 h 5973007"/>
              <a:gd name="connsiteX38882" fmla="*/ 4966278 w 6884782"/>
              <a:gd name="connsiteY38882" fmla="*/ 2044119 h 5973007"/>
              <a:gd name="connsiteX38883" fmla="*/ 4967131 w 6884782"/>
              <a:gd name="connsiteY38883" fmla="*/ 2047249 h 5973007"/>
              <a:gd name="connsiteX38884" fmla="*/ 4955820 w 6884782"/>
              <a:gd name="connsiteY38884" fmla="*/ 2039424 h 5973007"/>
              <a:gd name="connsiteX38885" fmla="*/ 856097 w 6884782"/>
              <a:gd name="connsiteY38885" fmla="*/ 2039232 h 5973007"/>
              <a:gd name="connsiteX38886" fmla="*/ 857750 w 6884782"/>
              <a:gd name="connsiteY38886" fmla="*/ 2043259 h 5973007"/>
              <a:gd name="connsiteX38887" fmla="*/ 855891 w 6884782"/>
              <a:gd name="connsiteY38887" fmla="*/ 2046047 h 5973007"/>
              <a:gd name="connsiteX38888" fmla="*/ 855065 w 6884782"/>
              <a:gd name="connsiteY38888" fmla="*/ 2042330 h 5973007"/>
              <a:gd name="connsiteX38889" fmla="*/ 856097 w 6884782"/>
              <a:gd name="connsiteY38889" fmla="*/ 2039232 h 5973007"/>
              <a:gd name="connsiteX38890" fmla="*/ 871560 w 6884782"/>
              <a:gd name="connsiteY38890" fmla="*/ 2039019 h 5973007"/>
              <a:gd name="connsiteX38891" fmla="*/ 878297 w 6884782"/>
              <a:gd name="connsiteY38891" fmla="*/ 2039387 h 5973007"/>
              <a:gd name="connsiteX38892" fmla="*/ 877059 w 6884782"/>
              <a:gd name="connsiteY38892" fmla="*/ 2047751 h 5973007"/>
              <a:gd name="connsiteX38893" fmla="*/ 867765 w 6884782"/>
              <a:gd name="connsiteY38893" fmla="*/ 2044808 h 5973007"/>
              <a:gd name="connsiteX38894" fmla="*/ 871560 w 6884782"/>
              <a:gd name="connsiteY38894" fmla="*/ 2039019 h 5973007"/>
              <a:gd name="connsiteX38895" fmla="*/ 6305273 w 6884782"/>
              <a:gd name="connsiteY38895" fmla="*/ 2038855 h 5973007"/>
              <a:gd name="connsiteX38896" fmla="*/ 6308901 w 6884782"/>
              <a:gd name="connsiteY38896" fmla="*/ 2040705 h 5973007"/>
              <a:gd name="connsiteX38897" fmla="*/ 6308475 w 6884782"/>
              <a:gd name="connsiteY38897" fmla="*/ 2045115 h 5973007"/>
              <a:gd name="connsiteX38898" fmla="*/ 6304847 w 6884782"/>
              <a:gd name="connsiteY38898" fmla="*/ 2048672 h 5973007"/>
              <a:gd name="connsiteX38899" fmla="*/ 6298657 w 6884782"/>
              <a:gd name="connsiteY38899" fmla="*/ 2041558 h 5973007"/>
              <a:gd name="connsiteX38900" fmla="*/ 6305273 w 6884782"/>
              <a:gd name="connsiteY38900" fmla="*/ 2038855 h 5973007"/>
              <a:gd name="connsiteX38901" fmla="*/ 5017498 w 6884782"/>
              <a:gd name="connsiteY38901" fmla="*/ 2038570 h 5973007"/>
              <a:gd name="connsiteX38902" fmla="*/ 5010242 w 6884782"/>
              <a:gd name="connsiteY38902" fmla="*/ 2043266 h 5973007"/>
              <a:gd name="connsiteX38903" fmla="*/ 5008748 w 6884782"/>
              <a:gd name="connsiteY38903" fmla="*/ 2042838 h 5973007"/>
              <a:gd name="connsiteX38904" fmla="*/ 5017498 w 6884782"/>
              <a:gd name="connsiteY38904" fmla="*/ 2038570 h 5973007"/>
              <a:gd name="connsiteX38905" fmla="*/ 5937764 w 6884782"/>
              <a:gd name="connsiteY38905" fmla="*/ 2037717 h 5973007"/>
              <a:gd name="connsiteX38906" fmla="*/ 5941392 w 6884782"/>
              <a:gd name="connsiteY38906" fmla="*/ 2037859 h 5973007"/>
              <a:gd name="connsiteX38907" fmla="*/ 5945661 w 6884782"/>
              <a:gd name="connsiteY38907" fmla="*/ 2040847 h 5973007"/>
              <a:gd name="connsiteX38908" fmla="*/ 5942032 w 6884782"/>
              <a:gd name="connsiteY38908" fmla="*/ 2047960 h 5973007"/>
              <a:gd name="connsiteX38909" fmla="*/ 5930081 w 6884782"/>
              <a:gd name="connsiteY38909" fmla="*/ 2045542 h 5973007"/>
              <a:gd name="connsiteX38910" fmla="*/ 5937764 w 6884782"/>
              <a:gd name="connsiteY38910" fmla="*/ 2037717 h 5973007"/>
              <a:gd name="connsiteX38911" fmla="*/ 4817951 w 6884782"/>
              <a:gd name="connsiteY38911" fmla="*/ 2037290 h 5973007"/>
              <a:gd name="connsiteX38912" fmla="*/ 4823500 w 6884782"/>
              <a:gd name="connsiteY38912" fmla="*/ 2044403 h 5973007"/>
              <a:gd name="connsiteX38913" fmla="*/ 4823713 w 6884782"/>
              <a:gd name="connsiteY38913" fmla="*/ 2047391 h 5973007"/>
              <a:gd name="connsiteX38914" fmla="*/ 4825634 w 6884782"/>
              <a:gd name="connsiteY38914" fmla="*/ 2047960 h 5973007"/>
              <a:gd name="connsiteX38915" fmla="*/ 4826488 w 6884782"/>
              <a:gd name="connsiteY38915" fmla="*/ 2059769 h 5973007"/>
              <a:gd name="connsiteX38916" fmla="*/ 4823286 w 6884782"/>
              <a:gd name="connsiteY38916" fmla="*/ 2062045 h 5973007"/>
              <a:gd name="connsiteX38917" fmla="*/ 4822860 w 6884782"/>
              <a:gd name="connsiteY38917" fmla="*/ 2063183 h 5973007"/>
              <a:gd name="connsiteX38918" fmla="*/ 4819872 w 6884782"/>
              <a:gd name="connsiteY38918" fmla="*/ 2063894 h 5973007"/>
              <a:gd name="connsiteX38919" fmla="*/ 4817524 w 6884782"/>
              <a:gd name="connsiteY38919" fmla="*/ 2062045 h 5973007"/>
              <a:gd name="connsiteX38920" fmla="*/ 4817310 w 6884782"/>
              <a:gd name="connsiteY38920" fmla="*/ 2061903 h 5973007"/>
              <a:gd name="connsiteX38921" fmla="*/ 4814963 w 6884782"/>
              <a:gd name="connsiteY38921" fmla="*/ 2061476 h 5973007"/>
              <a:gd name="connsiteX38922" fmla="*/ 4814322 w 6884782"/>
              <a:gd name="connsiteY38922" fmla="*/ 2059626 h 5973007"/>
              <a:gd name="connsiteX38923" fmla="*/ 4811121 w 6884782"/>
              <a:gd name="connsiteY38923" fmla="*/ 2060195 h 5973007"/>
              <a:gd name="connsiteX38924" fmla="*/ 4806639 w 6884782"/>
              <a:gd name="connsiteY38924" fmla="*/ 2063183 h 5973007"/>
              <a:gd name="connsiteX38925" fmla="*/ 4805786 w 6884782"/>
              <a:gd name="connsiteY38925" fmla="*/ 2063610 h 5973007"/>
              <a:gd name="connsiteX38926" fmla="*/ 4804505 w 6884782"/>
              <a:gd name="connsiteY38926" fmla="*/ 2068305 h 5973007"/>
              <a:gd name="connsiteX38927" fmla="*/ 4799597 w 6884782"/>
              <a:gd name="connsiteY38927" fmla="*/ 2067451 h 5973007"/>
              <a:gd name="connsiteX38928" fmla="*/ 4799383 w 6884782"/>
              <a:gd name="connsiteY38928" fmla="*/ 2065886 h 5973007"/>
              <a:gd name="connsiteX38929" fmla="*/ 4794475 w 6884782"/>
              <a:gd name="connsiteY38929" fmla="*/ 2065744 h 5973007"/>
              <a:gd name="connsiteX38930" fmla="*/ 4792554 w 6884782"/>
              <a:gd name="connsiteY38930" fmla="*/ 2054078 h 5973007"/>
              <a:gd name="connsiteX38931" fmla="*/ 4811335 w 6884782"/>
              <a:gd name="connsiteY38931" fmla="*/ 2040989 h 5973007"/>
              <a:gd name="connsiteX38932" fmla="*/ 4811761 w 6884782"/>
              <a:gd name="connsiteY38932" fmla="*/ 2042127 h 5973007"/>
              <a:gd name="connsiteX38933" fmla="*/ 4817951 w 6884782"/>
              <a:gd name="connsiteY38933" fmla="*/ 2037290 h 5973007"/>
              <a:gd name="connsiteX38934" fmla="*/ 5027102 w 6884782"/>
              <a:gd name="connsiteY38934" fmla="*/ 2036294 h 5973007"/>
              <a:gd name="connsiteX38935" fmla="*/ 5037133 w 6884782"/>
              <a:gd name="connsiteY38935" fmla="*/ 2042981 h 5973007"/>
              <a:gd name="connsiteX38936" fmla="*/ 5040334 w 6884782"/>
              <a:gd name="connsiteY38936" fmla="*/ 2048387 h 5973007"/>
              <a:gd name="connsiteX38937" fmla="*/ 5042895 w 6884782"/>
              <a:gd name="connsiteY38937" fmla="*/ 2049383 h 5973007"/>
              <a:gd name="connsiteX38938" fmla="*/ 5043962 w 6884782"/>
              <a:gd name="connsiteY38938" fmla="*/ 2051517 h 5973007"/>
              <a:gd name="connsiteX38939" fmla="*/ 5042682 w 6884782"/>
              <a:gd name="connsiteY38939" fmla="*/ 2054078 h 5973007"/>
              <a:gd name="connsiteX38940" fmla="*/ 5042255 w 6884782"/>
              <a:gd name="connsiteY38940" fmla="*/ 2054362 h 5973007"/>
              <a:gd name="connsiteX38941" fmla="*/ 5039694 w 6884782"/>
              <a:gd name="connsiteY38941" fmla="*/ 2058631 h 5973007"/>
              <a:gd name="connsiteX38942" fmla="*/ 5035212 w 6884782"/>
              <a:gd name="connsiteY38942" fmla="*/ 2061191 h 5973007"/>
              <a:gd name="connsiteX38943" fmla="*/ 5019846 w 6884782"/>
              <a:gd name="connsiteY38943" fmla="*/ 2036437 h 5973007"/>
              <a:gd name="connsiteX38944" fmla="*/ 5027102 w 6884782"/>
              <a:gd name="connsiteY38944" fmla="*/ 2036294 h 5973007"/>
              <a:gd name="connsiteX38945" fmla="*/ 5707911 w 6884782"/>
              <a:gd name="connsiteY38945" fmla="*/ 2036152 h 5973007"/>
              <a:gd name="connsiteX38946" fmla="*/ 5706417 w 6884782"/>
              <a:gd name="connsiteY38946" fmla="*/ 2036437 h 5973007"/>
              <a:gd name="connsiteX38947" fmla="*/ 5705990 w 6884782"/>
              <a:gd name="connsiteY38947" fmla="*/ 2037574 h 5973007"/>
              <a:gd name="connsiteX38948" fmla="*/ 4773986 w 6884782"/>
              <a:gd name="connsiteY38948" fmla="*/ 2035725 h 5973007"/>
              <a:gd name="connsiteX38949" fmla="*/ 4775267 w 6884782"/>
              <a:gd name="connsiteY38949" fmla="*/ 2048672 h 5973007"/>
              <a:gd name="connsiteX38950" fmla="*/ 4778681 w 6884782"/>
              <a:gd name="connsiteY38950" fmla="*/ 2060480 h 5973007"/>
              <a:gd name="connsiteX38951" fmla="*/ 4779962 w 6884782"/>
              <a:gd name="connsiteY38951" fmla="*/ 2054647 h 5973007"/>
              <a:gd name="connsiteX38952" fmla="*/ 4786792 w 6884782"/>
              <a:gd name="connsiteY38952" fmla="*/ 2047960 h 5973007"/>
              <a:gd name="connsiteX38953" fmla="*/ 4789993 w 6884782"/>
              <a:gd name="connsiteY38953" fmla="*/ 2049810 h 5973007"/>
              <a:gd name="connsiteX38954" fmla="*/ 4783590 w 6884782"/>
              <a:gd name="connsiteY38954" fmla="*/ 2065886 h 5973007"/>
              <a:gd name="connsiteX38955" fmla="*/ 4778255 w 6884782"/>
              <a:gd name="connsiteY38955" fmla="*/ 2065459 h 5973007"/>
              <a:gd name="connsiteX38956" fmla="*/ 4778255 w 6884782"/>
              <a:gd name="connsiteY38956" fmla="*/ 2065033 h 5973007"/>
              <a:gd name="connsiteX38957" fmla="*/ 4777188 w 6884782"/>
              <a:gd name="connsiteY38957" fmla="*/ 2066170 h 5973007"/>
              <a:gd name="connsiteX38958" fmla="*/ 4774200 w 6884782"/>
              <a:gd name="connsiteY38958" fmla="*/ 2068305 h 5973007"/>
              <a:gd name="connsiteX38959" fmla="*/ 4769078 w 6884782"/>
              <a:gd name="connsiteY38959" fmla="*/ 2061476 h 5973007"/>
              <a:gd name="connsiteX38960" fmla="*/ 4766730 w 6884782"/>
              <a:gd name="connsiteY38960" fmla="*/ 2051517 h 5973007"/>
              <a:gd name="connsiteX38961" fmla="*/ 4763955 w 6884782"/>
              <a:gd name="connsiteY38961" fmla="*/ 2050379 h 5973007"/>
              <a:gd name="connsiteX38962" fmla="*/ 4760541 w 6884782"/>
              <a:gd name="connsiteY38962" fmla="*/ 2046538 h 5973007"/>
              <a:gd name="connsiteX38963" fmla="*/ 4762248 w 6884782"/>
              <a:gd name="connsiteY38963" fmla="*/ 2038286 h 5973007"/>
              <a:gd name="connsiteX38964" fmla="*/ 4768651 w 6884782"/>
              <a:gd name="connsiteY38964" fmla="*/ 2040847 h 5973007"/>
              <a:gd name="connsiteX38965" fmla="*/ 855065 w 6884782"/>
              <a:gd name="connsiteY38965" fmla="*/ 2035669 h 5973007"/>
              <a:gd name="connsiteX38966" fmla="*/ 856201 w 6884782"/>
              <a:gd name="connsiteY38966" fmla="*/ 2035979 h 5973007"/>
              <a:gd name="connsiteX38967" fmla="*/ 856614 w 6884782"/>
              <a:gd name="connsiteY38967" fmla="*/ 2036599 h 5973007"/>
              <a:gd name="connsiteX38968" fmla="*/ 855994 w 6884782"/>
              <a:gd name="connsiteY38968" fmla="*/ 2039077 h 5973007"/>
              <a:gd name="connsiteX38969" fmla="*/ 854652 w 6884782"/>
              <a:gd name="connsiteY38969" fmla="*/ 2036289 h 5973007"/>
              <a:gd name="connsiteX38970" fmla="*/ 855788 w 6884782"/>
              <a:gd name="connsiteY38970" fmla="*/ 2036134 h 5973007"/>
              <a:gd name="connsiteX38971" fmla="*/ 855065 w 6884782"/>
              <a:gd name="connsiteY38971" fmla="*/ 2035669 h 5973007"/>
              <a:gd name="connsiteX38972" fmla="*/ 5586902 w 6884782"/>
              <a:gd name="connsiteY38972" fmla="*/ 2033307 h 5973007"/>
              <a:gd name="connsiteX38973" fmla="*/ 5595225 w 6884782"/>
              <a:gd name="connsiteY38973" fmla="*/ 2060906 h 5973007"/>
              <a:gd name="connsiteX38974" fmla="*/ 5576871 w 6884782"/>
              <a:gd name="connsiteY38974" fmla="*/ 2038713 h 5973007"/>
              <a:gd name="connsiteX38975" fmla="*/ 5586902 w 6884782"/>
              <a:gd name="connsiteY38975" fmla="*/ 2033307 h 5973007"/>
              <a:gd name="connsiteX38976" fmla="*/ 4674746 w 6884782"/>
              <a:gd name="connsiteY38976" fmla="*/ 2032595 h 5973007"/>
              <a:gd name="connsiteX38977" fmla="*/ 4711241 w 6884782"/>
              <a:gd name="connsiteY38977" fmla="*/ 2061903 h 5973007"/>
              <a:gd name="connsiteX38978" fmla="*/ 4699929 w 6884782"/>
              <a:gd name="connsiteY38978" fmla="*/ 2061476 h 5973007"/>
              <a:gd name="connsiteX38979" fmla="*/ 4695448 w 6884782"/>
              <a:gd name="connsiteY38979" fmla="*/ 2059199 h 5973007"/>
              <a:gd name="connsiteX38980" fmla="*/ 4695448 w 6884782"/>
              <a:gd name="connsiteY38980" fmla="*/ 2059626 h 5973007"/>
              <a:gd name="connsiteX38981" fmla="*/ 4691606 w 6884782"/>
              <a:gd name="connsiteY38981" fmla="*/ 2061476 h 5973007"/>
              <a:gd name="connsiteX38982" fmla="*/ 4687125 w 6884782"/>
              <a:gd name="connsiteY38982" fmla="*/ 2058631 h 5973007"/>
              <a:gd name="connsiteX38983" fmla="*/ 4684350 w 6884782"/>
              <a:gd name="connsiteY38983" fmla="*/ 2054078 h 5973007"/>
              <a:gd name="connsiteX38984" fmla="*/ 4683070 w 6884782"/>
              <a:gd name="connsiteY38984" fmla="*/ 2051090 h 5973007"/>
              <a:gd name="connsiteX38985" fmla="*/ 4676454 w 6884782"/>
              <a:gd name="connsiteY38985" fmla="*/ 2044119 h 5973007"/>
              <a:gd name="connsiteX38986" fmla="*/ 4674746 w 6884782"/>
              <a:gd name="connsiteY38986" fmla="*/ 2032595 h 5973007"/>
              <a:gd name="connsiteX38987" fmla="*/ 843707 w 6884782"/>
              <a:gd name="connsiteY38987" fmla="*/ 2031797 h 5973007"/>
              <a:gd name="connsiteX38988" fmla="*/ 843500 w 6884782"/>
              <a:gd name="connsiteY38988" fmla="*/ 2039542 h 5973007"/>
              <a:gd name="connsiteX38989" fmla="*/ 841745 w 6884782"/>
              <a:gd name="connsiteY38989" fmla="*/ 2040161 h 5973007"/>
              <a:gd name="connsiteX38990" fmla="*/ 837305 w 6884782"/>
              <a:gd name="connsiteY38990" fmla="*/ 2040626 h 5973007"/>
              <a:gd name="connsiteX38991" fmla="*/ 835756 w 6884782"/>
              <a:gd name="connsiteY38991" fmla="*/ 2037683 h 5973007"/>
              <a:gd name="connsiteX38992" fmla="*/ 837511 w 6884782"/>
              <a:gd name="connsiteY38992" fmla="*/ 2034585 h 5973007"/>
              <a:gd name="connsiteX38993" fmla="*/ 840609 w 6884782"/>
              <a:gd name="connsiteY38993" fmla="*/ 2032881 h 5973007"/>
              <a:gd name="connsiteX38994" fmla="*/ 843707 w 6884782"/>
              <a:gd name="connsiteY38994" fmla="*/ 2031797 h 5973007"/>
              <a:gd name="connsiteX38995" fmla="*/ 6341981 w 6884782"/>
              <a:gd name="connsiteY38995" fmla="*/ 2030746 h 5973007"/>
              <a:gd name="connsiteX38996" fmla="*/ 6349664 w 6884782"/>
              <a:gd name="connsiteY38996" fmla="*/ 2036152 h 5973007"/>
              <a:gd name="connsiteX38997" fmla="*/ 6338567 w 6884782"/>
              <a:gd name="connsiteY38997" fmla="*/ 2032880 h 5973007"/>
              <a:gd name="connsiteX38998" fmla="*/ 6341981 w 6884782"/>
              <a:gd name="connsiteY38998" fmla="*/ 2030746 h 5973007"/>
              <a:gd name="connsiteX38999" fmla="*/ 5177350 w 6884782"/>
              <a:gd name="connsiteY38999" fmla="*/ 2030461 h 5973007"/>
              <a:gd name="connsiteX39000" fmla="*/ 5179697 w 6884782"/>
              <a:gd name="connsiteY39000" fmla="*/ 2032026 h 5973007"/>
              <a:gd name="connsiteX39001" fmla="*/ 5185033 w 6884782"/>
              <a:gd name="connsiteY39001" fmla="*/ 2037859 h 5973007"/>
              <a:gd name="connsiteX39002" fmla="*/ 5181405 w 6884782"/>
              <a:gd name="connsiteY39002" fmla="*/ 2038570 h 5973007"/>
              <a:gd name="connsiteX39003" fmla="*/ 5179270 w 6884782"/>
              <a:gd name="connsiteY39003" fmla="*/ 2035725 h 5973007"/>
              <a:gd name="connsiteX39004" fmla="*/ 5177136 w 6884782"/>
              <a:gd name="connsiteY39004" fmla="*/ 2034018 h 5973007"/>
              <a:gd name="connsiteX39005" fmla="*/ 5177350 w 6884782"/>
              <a:gd name="connsiteY39005" fmla="*/ 2030461 h 5973007"/>
              <a:gd name="connsiteX39006" fmla="*/ 5640044 w 6884782"/>
              <a:gd name="connsiteY39006" fmla="*/ 2029038 h 5973007"/>
              <a:gd name="connsiteX39007" fmla="*/ 5625318 w 6884782"/>
              <a:gd name="connsiteY39007" fmla="*/ 2059484 h 5973007"/>
              <a:gd name="connsiteX39008" fmla="*/ 5640044 w 6884782"/>
              <a:gd name="connsiteY39008" fmla="*/ 2029038 h 5973007"/>
              <a:gd name="connsiteX39009" fmla="*/ 6019077 w 6884782"/>
              <a:gd name="connsiteY39009" fmla="*/ 2027758 h 5973007"/>
              <a:gd name="connsiteX39010" fmla="*/ 6023559 w 6884782"/>
              <a:gd name="connsiteY39010" fmla="*/ 2028470 h 5973007"/>
              <a:gd name="connsiteX39011" fmla="*/ 6026974 w 6884782"/>
              <a:gd name="connsiteY39011" fmla="*/ 2037432 h 5973007"/>
              <a:gd name="connsiteX39012" fmla="*/ 6026760 w 6884782"/>
              <a:gd name="connsiteY39012" fmla="*/ 2037859 h 5973007"/>
              <a:gd name="connsiteX39013" fmla="*/ 6026974 w 6884782"/>
              <a:gd name="connsiteY39013" fmla="*/ 2038001 h 5973007"/>
              <a:gd name="connsiteX39014" fmla="*/ 6028895 w 6884782"/>
              <a:gd name="connsiteY39014" fmla="*/ 2042127 h 5973007"/>
              <a:gd name="connsiteX39015" fmla="*/ 6026334 w 6884782"/>
              <a:gd name="connsiteY39015" fmla="*/ 2046395 h 5973007"/>
              <a:gd name="connsiteX39016" fmla="*/ 6018010 w 6884782"/>
              <a:gd name="connsiteY39016" fmla="*/ 2049952 h 5973007"/>
              <a:gd name="connsiteX39017" fmla="*/ 6016516 w 6884782"/>
              <a:gd name="connsiteY39017" fmla="*/ 2045115 h 5973007"/>
              <a:gd name="connsiteX39018" fmla="*/ 6017583 w 6884782"/>
              <a:gd name="connsiteY39018" fmla="*/ 2042269 h 5973007"/>
              <a:gd name="connsiteX39019" fmla="*/ 6015876 w 6884782"/>
              <a:gd name="connsiteY39019" fmla="*/ 2041843 h 5973007"/>
              <a:gd name="connsiteX39020" fmla="*/ 6012675 w 6884782"/>
              <a:gd name="connsiteY39020" fmla="*/ 2028043 h 5973007"/>
              <a:gd name="connsiteX39021" fmla="*/ 6019077 w 6884782"/>
              <a:gd name="connsiteY39021" fmla="*/ 2027758 h 5973007"/>
              <a:gd name="connsiteX39022" fmla="*/ 5186527 w 6884782"/>
              <a:gd name="connsiteY39022" fmla="*/ 2027331 h 5973007"/>
              <a:gd name="connsiteX39023" fmla="*/ 5188874 w 6884782"/>
              <a:gd name="connsiteY39023" fmla="*/ 2027331 h 5973007"/>
              <a:gd name="connsiteX39024" fmla="*/ 5190155 w 6884782"/>
              <a:gd name="connsiteY39024" fmla="*/ 2028043 h 5973007"/>
              <a:gd name="connsiteX39025" fmla="*/ 5191222 w 6884782"/>
              <a:gd name="connsiteY39025" fmla="*/ 2030461 h 5973007"/>
              <a:gd name="connsiteX39026" fmla="*/ 5194636 w 6884782"/>
              <a:gd name="connsiteY39026" fmla="*/ 2032169 h 5973007"/>
              <a:gd name="connsiteX39027" fmla="*/ 5194636 w 6884782"/>
              <a:gd name="connsiteY39027" fmla="*/ 2034445 h 5973007"/>
              <a:gd name="connsiteX39028" fmla="*/ 5187594 w 6884782"/>
              <a:gd name="connsiteY39028" fmla="*/ 2031030 h 5973007"/>
              <a:gd name="connsiteX39029" fmla="*/ 5186527 w 6884782"/>
              <a:gd name="connsiteY39029" fmla="*/ 2027331 h 5973007"/>
              <a:gd name="connsiteX39030" fmla="*/ 1542441 w 6884782"/>
              <a:gd name="connsiteY39030" fmla="*/ 2027305 h 5973007"/>
              <a:gd name="connsiteX39031" fmla="*/ 1543061 w 6884782"/>
              <a:gd name="connsiteY39031" fmla="*/ 2028699 h 5973007"/>
              <a:gd name="connsiteX39032" fmla="*/ 1541202 w 6884782"/>
              <a:gd name="connsiteY39032" fmla="*/ 2028699 h 5973007"/>
              <a:gd name="connsiteX39033" fmla="*/ 1540067 w 6884782"/>
              <a:gd name="connsiteY39033" fmla="*/ 2028235 h 5973007"/>
              <a:gd name="connsiteX39034" fmla="*/ 1542441 w 6884782"/>
              <a:gd name="connsiteY39034" fmla="*/ 2027305 h 5973007"/>
              <a:gd name="connsiteX39035" fmla="*/ 1132308 w 6884782"/>
              <a:gd name="connsiteY39035" fmla="*/ 2027150 h 5973007"/>
              <a:gd name="connsiteX39036" fmla="*/ 1139742 w 6884782"/>
              <a:gd name="connsiteY39036" fmla="*/ 2028079 h 5973007"/>
              <a:gd name="connsiteX39037" fmla="*/ 1133031 w 6884782"/>
              <a:gd name="connsiteY39037" fmla="*/ 2027925 h 5973007"/>
              <a:gd name="connsiteX39038" fmla="*/ 1132308 w 6884782"/>
              <a:gd name="connsiteY39038" fmla="*/ 2027150 h 5973007"/>
              <a:gd name="connsiteX39039" fmla="*/ 5609952 w 6884782"/>
              <a:gd name="connsiteY39039" fmla="*/ 2026335 h 5973007"/>
              <a:gd name="connsiteX39040" fmla="*/ 5609524 w 6884782"/>
              <a:gd name="connsiteY39040" fmla="*/ 2031172 h 5973007"/>
              <a:gd name="connsiteX39041" fmla="*/ 5605896 w 6884782"/>
              <a:gd name="connsiteY39041" fmla="*/ 2032311 h 5973007"/>
              <a:gd name="connsiteX39042" fmla="*/ 5609952 w 6884782"/>
              <a:gd name="connsiteY39042" fmla="*/ 2026335 h 5973007"/>
              <a:gd name="connsiteX39043" fmla="*/ 5350006 w 6884782"/>
              <a:gd name="connsiteY39043" fmla="*/ 2026193 h 5973007"/>
              <a:gd name="connsiteX39044" fmla="*/ 5357049 w 6884782"/>
              <a:gd name="connsiteY39044" fmla="*/ 2031884 h 5973007"/>
              <a:gd name="connsiteX39045" fmla="*/ 5355342 w 6884782"/>
              <a:gd name="connsiteY39045" fmla="*/ 2032026 h 5973007"/>
              <a:gd name="connsiteX39046" fmla="*/ 5353421 w 6884782"/>
              <a:gd name="connsiteY39046" fmla="*/ 2030319 h 5973007"/>
              <a:gd name="connsiteX39047" fmla="*/ 5350006 w 6884782"/>
              <a:gd name="connsiteY39047" fmla="*/ 2026193 h 5973007"/>
              <a:gd name="connsiteX39048" fmla="*/ 6262163 w 6884782"/>
              <a:gd name="connsiteY39048" fmla="*/ 2025481 h 5973007"/>
              <a:gd name="connsiteX39049" fmla="*/ 6231643 w 6884782"/>
              <a:gd name="connsiteY39049" fmla="*/ 2049810 h 5973007"/>
              <a:gd name="connsiteX39050" fmla="*/ 6262163 w 6884782"/>
              <a:gd name="connsiteY39050" fmla="*/ 2025481 h 5973007"/>
              <a:gd name="connsiteX39051" fmla="*/ 5160916 w 6884782"/>
              <a:gd name="connsiteY39051" fmla="*/ 2025055 h 5973007"/>
              <a:gd name="connsiteX39052" fmla="*/ 5164971 w 6884782"/>
              <a:gd name="connsiteY39052" fmla="*/ 2028043 h 5973007"/>
              <a:gd name="connsiteX39053" fmla="*/ 5164758 w 6884782"/>
              <a:gd name="connsiteY39053" fmla="*/ 2029750 h 5973007"/>
              <a:gd name="connsiteX39054" fmla="*/ 5160063 w 6884782"/>
              <a:gd name="connsiteY39054" fmla="*/ 2026620 h 5973007"/>
              <a:gd name="connsiteX39055" fmla="*/ 5160916 w 6884782"/>
              <a:gd name="connsiteY39055" fmla="*/ 2025055 h 5973007"/>
              <a:gd name="connsiteX39056" fmla="*/ 5652422 w 6884782"/>
              <a:gd name="connsiteY39056" fmla="*/ 2024771 h 5973007"/>
              <a:gd name="connsiteX39057" fmla="*/ 5654343 w 6884782"/>
              <a:gd name="connsiteY39057" fmla="*/ 2025197 h 5973007"/>
              <a:gd name="connsiteX39058" fmla="*/ 5645592 w 6884782"/>
              <a:gd name="connsiteY39058" fmla="*/ 2030888 h 5973007"/>
              <a:gd name="connsiteX39059" fmla="*/ 5652422 w 6884782"/>
              <a:gd name="connsiteY39059" fmla="*/ 2024771 h 5973007"/>
              <a:gd name="connsiteX39060" fmla="*/ 1008607 w 6884782"/>
              <a:gd name="connsiteY39060" fmla="*/ 2024517 h 5973007"/>
              <a:gd name="connsiteX39061" fmla="*/ 1012944 w 6884782"/>
              <a:gd name="connsiteY39061" fmla="*/ 2025136 h 5973007"/>
              <a:gd name="connsiteX39062" fmla="*/ 1013667 w 6884782"/>
              <a:gd name="connsiteY39062" fmla="*/ 2027770 h 5973007"/>
              <a:gd name="connsiteX39063" fmla="*/ 1010982 w 6884782"/>
              <a:gd name="connsiteY39063" fmla="*/ 2028699 h 5973007"/>
              <a:gd name="connsiteX39064" fmla="*/ 1008400 w 6884782"/>
              <a:gd name="connsiteY39064" fmla="*/ 2027925 h 5973007"/>
              <a:gd name="connsiteX39065" fmla="*/ 1008194 w 6884782"/>
              <a:gd name="connsiteY39065" fmla="*/ 2026531 h 5973007"/>
              <a:gd name="connsiteX39066" fmla="*/ 1008607 w 6884782"/>
              <a:gd name="connsiteY39066" fmla="*/ 2024517 h 5973007"/>
              <a:gd name="connsiteX39067" fmla="*/ 5962521 w 6884782"/>
              <a:gd name="connsiteY39067" fmla="*/ 2024201 h 5973007"/>
              <a:gd name="connsiteX39068" fmla="*/ 5966576 w 6884782"/>
              <a:gd name="connsiteY39068" fmla="*/ 2026905 h 5973007"/>
              <a:gd name="connsiteX39069" fmla="*/ 5966149 w 6884782"/>
              <a:gd name="connsiteY39069" fmla="*/ 2029465 h 5973007"/>
              <a:gd name="connsiteX39070" fmla="*/ 5965082 w 6884782"/>
              <a:gd name="connsiteY39070" fmla="*/ 2032453 h 5973007"/>
              <a:gd name="connsiteX39071" fmla="*/ 5959960 w 6884782"/>
              <a:gd name="connsiteY39071" fmla="*/ 2037147 h 5973007"/>
              <a:gd name="connsiteX39072" fmla="*/ 5954838 w 6884782"/>
              <a:gd name="connsiteY39072" fmla="*/ 2036721 h 5973007"/>
              <a:gd name="connsiteX39073" fmla="*/ 5953130 w 6884782"/>
              <a:gd name="connsiteY39073" fmla="*/ 2035582 h 5973007"/>
              <a:gd name="connsiteX39074" fmla="*/ 5956972 w 6884782"/>
              <a:gd name="connsiteY39074" fmla="*/ 2025055 h 5973007"/>
              <a:gd name="connsiteX39075" fmla="*/ 5962521 w 6884782"/>
              <a:gd name="connsiteY39075" fmla="*/ 2024201 h 5973007"/>
              <a:gd name="connsiteX39076" fmla="*/ 5549127 w 6884782"/>
              <a:gd name="connsiteY39076" fmla="*/ 2024059 h 5973007"/>
              <a:gd name="connsiteX39077" fmla="*/ 5553182 w 6884782"/>
              <a:gd name="connsiteY39077" fmla="*/ 2035014 h 5973007"/>
              <a:gd name="connsiteX39078" fmla="*/ 5552115 w 6884782"/>
              <a:gd name="connsiteY39078" fmla="*/ 2036152 h 5973007"/>
              <a:gd name="connsiteX39079" fmla="*/ 5539523 w 6884782"/>
              <a:gd name="connsiteY39079" fmla="*/ 2041558 h 5973007"/>
              <a:gd name="connsiteX39080" fmla="*/ 5539096 w 6884782"/>
              <a:gd name="connsiteY39080" fmla="*/ 2030888 h 5973007"/>
              <a:gd name="connsiteX39081" fmla="*/ 5549127 w 6884782"/>
              <a:gd name="connsiteY39081" fmla="*/ 2024059 h 5973007"/>
              <a:gd name="connsiteX39082" fmla="*/ 1112999 w 6884782"/>
              <a:gd name="connsiteY39082" fmla="*/ 2023278 h 5973007"/>
              <a:gd name="connsiteX39083" fmla="*/ 1126422 w 6884782"/>
              <a:gd name="connsiteY39083" fmla="*/ 2026066 h 5973007"/>
              <a:gd name="connsiteX39084" fmla="*/ 1112999 w 6884782"/>
              <a:gd name="connsiteY39084" fmla="*/ 2023278 h 5973007"/>
              <a:gd name="connsiteX39085" fmla="*/ 5610379 w 6884782"/>
              <a:gd name="connsiteY39085" fmla="*/ 2022921 h 5973007"/>
              <a:gd name="connsiteX39086" fmla="*/ 5611232 w 6884782"/>
              <a:gd name="connsiteY39086" fmla="*/ 2023633 h 5973007"/>
              <a:gd name="connsiteX39087" fmla="*/ 5610165 w 6884782"/>
              <a:gd name="connsiteY39087" fmla="*/ 2025481 h 5973007"/>
              <a:gd name="connsiteX39088" fmla="*/ 5609098 w 6884782"/>
              <a:gd name="connsiteY39088" fmla="*/ 2025481 h 5973007"/>
              <a:gd name="connsiteX39089" fmla="*/ 5610379 w 6884782"/>
              <a:gd name="connsiteY39089" fmla="*/ 2022921 h 5973007"/>
              <a:gd name="connsiteX39090" fmla="*/ 801475 w 6884782"/>
              <a:gd name="connsiteY39090" fmla="*/ 2022658 h 5973007"/>
              <a:gd name="connsiteX39091" fmla="*/ 811388 w 6884782"/>
              <a:gd name="connsiteY39091" fmla="*/ 2031332 h 5973007"/>
              <a:gd name="connsiteX39092" fmla="*/ 806018 w 6884782"/>
              <a:gd name="connsiteY39092" fmla="*/ 2036754 h 5973007"/>
              <a:gd name="connsiteX39093" fmla="*/ 797035 w 6884782"/>
              <a:gd name="connsiteY39093" fmla="*/ 2031952 h 5973007"/>
              <a:gd name="connsiteX39094" fmla="*/ 797241 w 6884782"/>
              <a:gd name="connsiteY39094" fmla="*/ 2028079 h 5973007"/>
              <a:gd name="connsiteX39095" fmla="*/ 801475 w 6884782"/>
              <a:gd name="connsiteY39095" fmla="*/ 2022658 h 5973007"/>
              <a:gd name="connsiteX39096" fmla="*/ 1111140 w 6884782"/>
              <a:gd name="connsiteY39096" fmla="*/ 2022193 h 5973007"/>
              <a:gd name="connsiteX39097" fmla="*/ 1112999 w 6884782"/>
              <a:gd name="connsiteY39097" fmla="*/ 2023123 h 5973007"/>
              <a:gd name="connsiteX39098" fmla="*/ 1111966 w 6884782"/>
              <a:gd name="connsiteY39098" fmla="*/ 2023742 h 5973007"/>
              <a:gd name="connsiteX39099" fmla="*/ 1111140 w 6884782"/>
              <a:gd name="connsiteY39099" fmla="*/ 2023278 h 5973007"/>
              <a:gd name="connsiteX39100" fmla="*/ 1111140 w 6884782"/>
              <a:gd name="connsiteY39100" fmla="*/ 2022193 h 5973007"/>
              <a:gd name="connsiteX39101" fmla="*/ 891411 w 6884782"/>
              <a:gd name="connsiteY39101" fmla="*/ 2022193 h 5973007"/>
              <a:gd name="connsiteX39102" fmla="*/ 895955 w 6884782"/>
              <a:gd name="connsiteY39102" fmla="*/ 2030248 h 5973007"/>
              <a:gd name="connsiteX39103" fmla="*/ 894096 w 6884782"/>
              <a:gd name="connsiteY39103" fmla="*/ 2030868 h 5973007"/>
              <a:gd name="connsiteX39104" fmla="*/ 894612 w 6884782"/>
              <a:gd name="connsiteY39104" fmla="*/ 2031332 h 5973007"/>
              <a:gd name="connsiteX39105" fmla="*/ 895748 w 6884782"/>
              <a:gd name="connsiteY39105" fmla="*/ 2035515 h 5973007"/>
              <a:gd name="connsiteX39106" fmla="*/ 893167 w 6884782"/>
              <a:gd name="connsiteY39106" fmla="*/ 2032881 h 5973007"/>
              <a:gd name="connsiteX39107" fmla="*/ 892237 w 6884782"/>
              <a:gd name="connsiteY39107" fmla="*/ 2031487 h 5973007"/>
              <a:gd name="connsiteX39108" fmla="*/ 889965 w 6884782"/>
              <a:gd name="connsiteY39108" fmla="*/ 2032261 h 5973007"/>
              <a:gd name="connsiteX39109" fmla="*/ 883770 w 6884782"/>
              <a:gd name="connsiteY39109" fmla="*/ 2029164 h 5973007"/>
              <a:gd name="connsiteX39110" fmla="*/ 891411 w 6884782"/>
              <a:gd name="connsiteY39110" fmla="*/ 2022193 h 5973007"/>
              <a:gd name="connsiteX39111" fmla="*/ 1106803 w 6884782"/>
              <a:gd name="connsiteY39111" fmla="*/ 2022039 h 5973007"/>
              <a:gd name="connsiteX39112" fmla="*/ 1108559 w 6884782"/>
              <a:gd name="connsiteY39112" fmla="*/ 2022968 h 5973007"/>
              <a:gd name="connsiteX39113" fmla="*/ 1106700 w 6884782"/>
              <a:gd name="connsiteY39113" fmla="*/ 2022813 h 5973007"/>
              <a:gd name="connsiteX39114" fmla="*/ 1106803 w 6884782"/>
              <a:gd name="connsiteY39114" fmla="*/ 2022039 h 5973007"/>
              <a:gd name="connsiteX39115" fmla="*/ 5289182 w 6884782"/>
              <a:gd name="connsiteY39115" fmla="*/ 2020360 h 5973007"/>
              <a:gd name="connsiteX39116" fmla="*/ 5290675 w 6884782"/>
              <a:gd name="connsiteY39116" fmla="*/ 2020787 h 5973007"/>
              <a:gd name="connsiteX39117" fmla="*/ 5293663 w 6884782"/>
              <a:gd name="connsiteY39117" fmla="*/ 2025908 h 5973007"/>
              <a:gd name="connsiteX39118" fmla="*/ 5291743 w 6884782"/>
              <a:gd name="connsiteY39118" fmla="*/ 2028043 h 5973007"/>
              <a:gd name="connsiteX39119" fmla="*/ 5287901 w 6884782"/>
              <a:gd name="connsiteY39119" fmla="*/ 2028327 h 5973007"/>
              <a:gd name="connsiteX39120" fmla="*/ 5285340 w 6884782"/>
              <a:gd name="connsiteY39120" fmla="*/ 2024201 h 5973007"/>
              <a:gd name="connsiteX39121" fmla="*/ 5287261 w 6884782"/>
              <a:gd name="connsiteY39121" fmla="*/ 2022067 h 5973007"/>
              <a:gd name="connsiteX39122" fmla="*/ 5289182 w 6884782"/>
              <a:gd name="connsiteY39122" fmla="*/ 2020360 h 5973007"/>
              <a:gd name="connsiteX39123" fmla="*/ 1101951 w 6884782"/>
              <a:gd name="connsiteY39123" fmla="*/ 2020180 h 5973007"/>
              <a:gd name="connsiteX39124" fmla="*/ 1106081 w 6884782"/>
              <a:gd name="connsiteY39124" fmla="*/ 2022813 h 5973007"/>
              <a:gd name="connsiteX39125" fmla="*/ 1102467 w 6884782"/>
              <a:gd name="connsiteY39125" fmla="*/ 2022658 h 5973007"/>
              <a:gd name="connsiteX39126" fmla="*/ 1101847 w 6884782"/>
              <a:gd name="connsiteY39126" fmla="*/ 2021728 h 5973007"/>
              <a:gd name="connsiteX39127" fmla="*/ 1101951 w 6884782"/>
              <a:gd name="connsiteY39127" fmla="*/ 2020180 h 5973007"/>
              <a:gd name="connsiteX39128" fmla="*/ 5848128 w 6884782"/>
              <a:gd name="connsiteY39128" fmla="*/ 2019791 h 5973007"/>
              <a:gd name="connsiteX39129" fmla="*/ 5852823 w 6884782"/>
              <a:gd name="connsiteY39129" fmla="*/ 2022636 h 5973007"/>
              <a:gd name="connsiteX39130" fmla="*/ 5851329 w 6884782"/>
              <a:gd name="connsiteY39130" fmla="*/ 2034729 h 5973007"/>
              <a:gd name="connsiteX39131" fmla="*/ 5841725 w 6884782"/>
              <a:gd name="connsiteY39131" fmla="*/ 2020360 h 5973007"/>
              <a:gd name="connsiteX39132" fmla="*/ 5848128 w 6884782"/>
              <a:gd name="connsiteY39132" fmla="*/ 2019791 h 5973007"/>
              <a:gd name="connsiteX39133" fmla="*/ 6184051 w 6884782"/>
              <a:gd name="connsiteY39133" fmla="*/ 2019506 h 5973007"/>
              <a:gd name="connsiteX39134" fmla="*/ 6191947 w 6884782"/>
              <a:gd name="connsiteY39134" fmla="*/ 2024059 h 5973007"/>
              <a:gd name="connsiteX39135" fmla="*/ 6193228 w 6884782"/>
              <a:gd name="connsiteY39135" fmla="*/ 2029892 h 5973007"/>
              <a:gd name="connsiteX39136" fmla="*/ 6175514 w 6884782"/>
              <a:gd name="connsiteY39136" fmla="*/ 2023348 h 5973007"/>
              <a:gd name="connsiteX39137" fmla="*/ 6184051 w 6884782"/>
              <a:gd name="connsiteY39137" fmla="*/ 2019506 h 5973007"/>
              <a:gd name="connsiteX39138" fmla="*/ 1539550 w 6884782"/>
              <a:gd name="connsiteY39138" fmla="*/ 2019406 h 5973007"/>
              <a:gd name="connsiteX39139" fmla="*/ 1540170 w 6884782"/>
              <a:gd name="connsiteY39139" fmla="*/ 2019715 h 5973007"/>
              <a:gd name="connsiteX39140" fmla="*/ 1539654 w 6884782"/>
              <a:gd name="connsiteY39140" fmla="*/ 2020025 h 5973007"/>
              <a:gd name="connsiteX39141" fmla="*/ 1539550 w 6884782"/>
              <a:gd name="connsiteY39141" fmla="*/ 2019406 h 5973007"/>
              <a:gd name="connsiteX39142" fmla="*/ 866526 w 6884782"/>
              <a:gd name="connsiteY39142" fmla="*/ 2019250 h 5973007"/>
              <a:gd name="connsiteX39143" fmla="*/ 877059 w 6884782"/>
              <a:gd name="connsiteY39143" fmla="*/ 2021419 h 5973007"/>
              <a:gd name="connsiteX39144" fmla="*/ 877059 w 6884782"/>
              <a:gd name="connsiteY39144" fmla="*/ 2024982 h 5973007"/>
              <a:gd name="connsiteX39145" fmla="*/ 866320 w 6884782"/>
              <a:gd name="connsiteY39145" fmla="*/ 2024517 h 5973007"/>
              <a:gd name="connsiteX39146" fmla="*/ 866526 w 6884782"/>
              <a:gd name="connsiteY39146" fmla="*/ 2019250 h 5973007"/>
              <a:gd name="connsiteX39147" fmla="*/ 1079428 w 6884782"/>
              <a:gd name="connsiteY39147" fmla="*/ 2018999 h 5973007"/>
              <a:gd name="connsiteX39148" fmla="*/ 1085120 w 6884782"/>
              <a:gd name="connsiteY39148" fmla="*/ 2025756 h 5973007"/>
              <a:gd name="connsiteX39149" fmla="*/ 1080267 w 6884782"/>
              <a:gd name="connsiteY39149" fmla="*/ 2026840 h 5973007"/>
              <a:gd name="connsiteX39150" fmla="*/ 1081196 w 6884782"/>
              <a:gd name="connsiteY39150" fmla="*/ 2028079 h 5973007"/>
              <a:gd name="connsiteX39151" fmla="*/ 1079854 w 6884782"/>
              <a:gd name="connsiteY39151" fmla="*/ 2030248 h 5973007"/>
              <a:gd name="connsiteX39152" fmla="*/ 1077892 w 6884782"/>
              <a:gd name="connsiteY39152" fmla="*/ 2028854 h 5973007"/>
              <a:gd name="connsiteX39153" fmla="*/ 1077066 w 6884782"/>
              <a:gd name="connsiteY39153" fmla="*/ 2027925 h 5973007"/>
              <a:gd name="connsiteX39154" fmla="*/ 1070974 w 6884782"/>
              <a:gd name="connsiteY39154" fmla="*/ 2030868 h 5973007"/>
              <a:gd name="connsiteX39155" fmla="*/ 1058686 w 6884782"/>
              <a:gd name="connsiteY39155" fmla="*/ 2033191 h 5973007"/>
              <a:gd name="connsiteX39156" fmla="*/ 1065604 w 6884782"/>
              <a:gd name="connsiteY39156" fmla="*/ 2027150 h 5973007"/>
              <a:gd name="connsiteX39157" fmla="*/ 1070354 w 6884782"/>
              <a:gd name="connsiteY39157" fmla="*/ 2022813 h 5973007"/>
              <a:gd name="connsiteX39158" fmla="*/ 1070148 w 6884782"/>
              <a:gd name="connsiteY39158" fmla="*/ 2022813 h 5973007"/>
              <a:gd name="connsiteX39159" fmla="*/ 1069012 w 6884782"/>
              <a:gd name="connsiteY39159" fmla="*/ 2020489 h 5973007"/>
              <a:gd name="connsiteX39160" fmla="*/ 1071180 w 6884782"/>
              <a:gd name="connsiteY39160" fmla="*/ 2020025 h 5973007"/>
              <a:gd name="connsiteX39161" fmla="*/ 1072420 w 6884782"/>
              <a:gd name="connsiteY39161" fmla="*/ 2021264 h 5973007"/>
              <a:gd name="connsiteX39162" fmla="*/ 1072729 w 6884782"/>
              <a:gd name="connsiteY39162" fmla="*/ 2020954 h 5973007"/>
              <a:gd name="connsiteX39163" fmla="*/ 1079428 w 6884782"/>
              <a:gd name="connsiteY39163" fmla="*/ 2018999 h 5973007"/>
              <a:gd name="connsiteX39164" fmla="*/ 5958893 w 6884782"/>
              <a:gd name="connsiteY39164" fmla="*/ 2018369 h 5973007"/>
              <a:gd name="connsiteX39165" fmla="*/ 5960387 w 6884782"/>
              <a:gd name="connsiteY39165" fmla="*/ 2019791 h 5973007"/>
              <a:gd name="connsiteX39166" fmla="*/ 5959960 w 6884782"/>
              <a:gd name="connsiteY39166" fmla="*/ 2021925 h 5973007"/>
              <a:gd name="connsiteX39167" fmla="*/ 5956758 w 6884782"/>
              <a:gd name="connsiteY39167" fmla="*/ 2023490 h 5973007"/>
              <a:gd name="connsiteX39168" fmla="*/ 5956118 w 6884782"/>
              <a:gd name="connsiteY39168" fmla="*/ 2018653 h 5973007"/>
              <a:gd name="connsiteX39169" fmla="*/ 5958893 w 6884782"/>
              <a:gd name="connsiteY39169" fmla="*/ 2018369 h 5973007"/>
              <a:gd name="connsiteX39170" fmla="*/ 1544507 w 6884782"/>
              <a:gd name="connsiteY39170" fmla="*/ 2018166 h 5973007"/>
              <a:gd name="connsiteX39171" fmla="*/ 1544403 w 6884782"/>
              <a:gd name="connsiteY39171" fmla="*/ 2020025 h 5973007"/>
              <a:gd name="connsiteX39172" fmla="*/ 1540067 w 6884782"/>
              <a:gd name="connsiteY39172" fmla="*/ 2020799 h 5973007"/>
              <a:gd name="connsiteX39173" fmla="*/ 1540480 w 6884782"/>
              <a:gd name="connsiteY39173" fmla="*/ 2019715 h 5973007"/>
              <a:gd name="connsiteX39174" fmla="*/ 1540170 w 6884782"/>
              <a:gd name="connsiteY39174" fmla="*/ 2019715 h 5973007"/>
              <a:gd name="connsiteX39175" fmla="*/ 1541719 w 6884782"/>
              <a:gd name="connsiteY39175" fmla="*/ 2018321 h 5973007"/>
              <a:gd name="connsiteX39176" fmla="*/ 1544507 w 6884782"/>
              <a:gd name="connsiteY39176" fmla="*/ 2018166 h 5973007"/>
              <a:gd name="connsiteX39177" fmla="*/ 6199844 w 6884782"/>
              <a:gd name="connsiteY39177" fmla="*/ 2017230 h 5973007"/>
              <a:gd name="connsiteX39178" fmla="*/ 6203472 w 6884782"/>
              <a:gd name="connsiteY39178" fmla="*/ 2025197 h 5973007"/>
              <a:gd name="connsiteX39179" fmla="*/ 6201338 w 6884782"/>
              <a:gd name="connsiteY39179" fmla="*/ 2028043 h 5973007"/>
              <a:gd name="connsiteX39180" fmla="*/ 6195575 w 6884782"/>
              <a:gd name="connsiteY39180" fmla="*/ 2028327 h 5973007"/>
              <a:gd name="connsiteX39181" fmla="*/ 6196216 w 6884782"/>
              <a:gd name="connsiteY39181" fmla="*/ 2017799 h 5973007"/>
              <a:gd name="connsiteX39182" fmla="*/ 6199844 w 6884782"/>
              <a:gd name="connsiteY39182" fmla="*/ 2017230 h 5973007"/>
              <a:gd name="connsiteX39183" fmla="*/ 5252260 w 6884782"/>
              <a:gd name="connsiteY39183" fmla="*/ 2016803 h 5973007"/>
              <a:gd name="connsiteX39184" fmla="*/ 5254821 w 6884782"/>
              <a:gd name="connsiteY39184" fmla="*/ 2018084 h 5973007"/>
              <a:gd name="connsiteX39185" fmla="*/ 5255461 w 6884782"/>
              <a:gd name="connsiteY39185" fmla="*/ 2019649 h 5973007"/>
              <a:gd name="connsiteX39186" fmla="*/ 5256102 w 6884782"/>
              <a:gd name="connsiteY39186" fmla="*/ 2019364 h 5973007"/>
              <a:gd name="connsiteX39187" fmla="*/ 5256742 w 6884782"/>
              <a:gd name="connsiteY39187" fmla="*/ 2025624 h 5973007"/>
              <a:gd name="connsiteX39188" fmla="*/ 5255461 w 6884782"/>
              <a:gd name="connsiteY39188" fmla="*/ 2025766 h 5973007"/>
              <a:gd name="connsiteX39189" fmla="*/ 5254607 w 6884782"/>
              <a:gd name="connsiteY39189" fmla="*/ 2028043 h 5973007"/>
              <a:gd name="connsiteX39190" fmla="*/ 5261864 w 6884782"/>
              <a:gd name="connsiteY39190" fmla="*/ 2032169 h 5973007"/>
              <a:gd name="connsiteX39191" fmla="*/ 5269120 w 6884782"/>
              <a:gd name="connsiteY39191" fmla="*/ 2038997 h 5973007"/>
              <a:gd name="connsiteX39192" fmla="*/ 5248632 w 6884782"/>
              <a:gd name="connsiteY39192" fmla="*/ 2036437 h 5973007"/>
              <a:gd name="connsiteX39193" fmla="*/ 5242870 w 6884782"/>
              <a:gd name="connsiteY39193" fmla="*/ 2030888 h 5973007"/>
              <a:gd name="connsiteX39194" fmla="*/ 5235187 w 6884782"/>
              <a:gd name="connsiteY39194" fmla="*/ 2035298 h 5973007"/>
              <a:gd name="connsiteX39195" fmla="*/ 5210430 w 6884782"/>
              <a:gd name="connsiteY39195" fmla="*/ 2021925 h 5973007"/>
              <a:gd name="connsiteX39196" fmla="*/ 5226649 w 6884782"/>
              <a:gd name="connsiteY39196" fmla="*/ 2017942 h 5973007"/>
              <a:gd name="connsiteX39197" fmla="*/ 5235400 w 6884782"/>
              <a:gd name="connsiteY39197" fmla="*/ 2018510 h 5973007"/>
              <a:gd name="connsiteX39198" fmla="*/ 5239241 w 6884782"/>
              <a:gd name="connsiteY39198" fmla="*/ 2019649 h 5973007"/>
              <a:gd name="connsiteX39199" fmla="*/ 5239028 w 6884782"/>
              <a:gd name="connsiteY39199" fmla="*/ 2019364 h 5973007"/>
              <a:gd name="connsiteX39200" fmla="*/ 5240095 w 6884782"/>
              <a:gd name="connsiteY39200" fmla="*/ 2019933 h 5973007"/>
              <a:gd name="connsiteX39201" fmla="*/ 5244790 w 6884782"/>
              <a:gd name="connsiteY39201" fmla="*/ 2021498 h 5973007"/>
              <a:gd name="connsiteX39202" fmla="*/ 5245217 w 6884782"/>
              <a:gd name="connsiteY39202" fmla="*/ 2020075 h 5973007"/>
              <a:gd name="connsiteX39203" fmla="*/ 5252260 w 6884782"/>
              <a:gd name="connsiteY39203" fmla="*/ 2016803 h 5973007"/>
              <a:gd name="connsiteX39204" fmla="*/ 4974601 w 6884782"/>
              <a:gd name="connsiteY39204" fmla="*/ 2016661 h 5973007"/>
              <a:gd name="connsiteX39205" fmla="*/ 4977802 w 6884782"/>
              <a:gd name="connsiteY39205" fmla="*/ 2020644 h 5973007"/>
              <a:gd name="connsiteX39206" fmla="*/ 4977162 w 6884782"/>
              <a:gd name="connsiteY39206" fmla="*/ 2026905 h 5973007"/>
              <a:gd name="connsiteX39207" fmla="*/ 4968838 w 6884782"/>
              <a:gd name="connsiteY39207" fmla="*/ 2037290 h 5973007"/>
              <a:gd name="connsiteX39208" fmla="*/ 4962863 w 6884782"/>
              <a:gd name="connsiteY39208" fmla="*/ 2028470 h 5973007"/>
              <a:gd name="connsiteX39209" fmla="*/ 4963716 w 6884782"/>
              <a:gd name="connsiteY39209" fmla="*/ 2026905 h 5973007"/>
              <a:gd name="connsiteX39210" fmla="*/ 4974601 w 6884782"/>
              <a:gd name="connsiteY39210" fmla="*/ 2016661 h 5973007"/>
              <a:gd name="connsiteX39211" fmla="*/ 5784742 w 6884782"/>
              <a:gd name="connsiteY39211" fmla="*/ 2015950 h 5973007"/>
              <a:gd name="connsiteX39212" fmla="*/ 5790078 w 6884782"/>
              <a:gd name="connsiteY39212" fmla="*/ 2020075 h 5973007"/>
              <a:gd name="connsiteX39213" fmla="*/ 5793066 w 6884782"/>
              <a:gd name="connsiteY39213" fmla="*/ 2026905 h 5973007"/>
              <a:gd name="connsiteX39214" fmla="*/ 5785596 w 6884782"/>
              <a:gd name="connsiteY39214" fmla="*/ 2027616 h 5973007"/>
              <a:gd name="connsiteX39215" fmla="*/ 5779834 w 6884782"/>
              <a:gd name="connsiteY39215" fmla="*/ 2018938 h 5973007"/>
              <a:gd name="connsiteX39216" fmla="*/ 5784742 w 6884782"/>
              <a:gd name="connsiteY39216" fmla="*/ 2015950 h 5973007"/>
              <a:gd name="connsiteX39217" fmla="*/ 4966064 w 6884782"/>
              <a:gd name="connsiteY39217" fmla="*/ 2015096 h 5973007"/>
              <a:gd name="connsiteX39218" fmla="*/ 4968838 w 6884782"/>
              <a:gd name="connsiteY39218" fmla="*/ 2018938 h 5973007"/>
              <a:gd name="connsiteX39219" fmla="*/ 4967131 w 6884782"/>
              <a:gd name="connsiteY39219" fmla="*/ 2021071 h 5973007"/>
              <a:gd name="connsiteX39220" fmla="*/ 4963930 w 6884782"/>
              <a:gd name="connsiteY39220" fmla="*/ 2022779 h 5973007"/>
              <a:gd name="connsiteX39221" fmla="*/ 4960515 w 6884782"/>
              <a:gd name="connsiteY39221" fmla="*/ 2017657 h 5973007"/>
              <a:gd name="connsiteX39222" fmla="*/ 4962436 w 6884782"/>
              <a:gd name="connsiteY39222" fmla="*/ 2015523 h 5973007"/>
              <a:gd name="connsiteX39223" fmla="*/ 4966064 w 6884782"/>
              <a:gd name="connsiteY39223" fmla="*/ 2015096 h 5973007"/>
              <a:gd name="connsiteX39224" fmla="*/ 1128488 w 6884782"/>
              <a:gd name="connsiteY39224" fmla="*/ 2015068 h 5973007"/>
              <a:gd name="connsiteX39225" fmla="*/ 1131275 w 6884782"/>
              <a:gd name="connsiteY39225" fmla="*/ 2019095 h 5973007"/>
              <a:gd name="connsiteX39226" fmla="*/ 1124667 w 6884782"/>
              <a:gd name="connsiteY39226" fmla="*/ 2020489 h 5973007"/>
              <a:gd name="connsiteX39227" fmla="*/ 1124564 w 6884782"/>
              <a:gd name="connsiteY39227" fmla="*/ 2018631 h 5973007"/>
              <a:gd name="connsiteX39228" fmla="*/ 1126009 w 6884782"/>
              <a:gd name="connsiteY39228" fmla="*/ 2015997 h 5973007"/>
              <a:gd name="connsiteX39229" fmla="*/ 1128488 w 6884782"/>
              <a:gd name="connsiteY39229" fmla="*/ 2015068 h 5973007"/>
              <a:gd name="connsiteX39230" fmla="*/ 4767797 w 6884782"/>
              <a:gd name="connsiteY39230" fmla="*/ 2014527 h 5973007"/>
              <a:gd name="connsiteX39231" fmla="*/ 4776121 w 6884782"/>
              <a:gd name="connsiteY39231" fmla="*/ 2027758 h 5973007"/>
              <a:gd name="connsiteX39232" fmla="*/ 4768651 w 6884782"/>
              <a:gd name="connsiteY39232" fmla="*/ 2028043 h 5973007"/>
              <a:gd name="connsiteX39233" fmla="*/ 4767797 w 6884782"/>
              <a:gd name="connsiteY39233" fmla="*/ 2014527 h 5973007"/>
              <a:gd name="connsiteX39234" fmla="*/ 4715936 w 6884782"/>
              <a:gd name="connsiteY39234" fmla="*/ 2014527 h 5973007"/>
              <a:gd name="connsiteX39235" fmla="*/ 4725540 w 6884782"/>
              <a:gd name="connsiteY39235" fmla="*/ 2019364 h 5973007"/>
              <a:gd name="connsiteX39236" fmla="*/ 4713375 w 6884782"/>
              <a:gd name="connsiteY39236" fmla="*/ 2016519 h 5973007"/>
              <a:gd name="connsiteX39237" fmla="*/ 4715936 w 6884782"/>
              <a:gd name="connsiteY39237" fmla="*/ 2014527 h 5973007"/>
              <a:gd name="connsiteX39238" fmla="*/ 5629586 w 6884782"/>
              <a:gd name="connsiteY39238" fmla="*/ 2014385 h 5973007"/>
              <a:gd name="connsiteX39239" fmla="*/ 5627665 w 6884782"/>
              <a:gd name="connsiteY39239" fmla="*/ 2016945 h 5973007"/>
              <a:gd name="connsiteX39240" fmla="*/ 5627879 w 6884782"/>
              <a:gd name="connsiteY39240" fmla="*/ 2019364 h 5973007"/>
              <a:gd name="connsiteX39241" fmla="*/ 5624678 w 6884782"/>
              <a:gd name="connsiteY39241" fmla="*/ 2020787 h 5973007"/>
              <a:gd name="connsiteX39242" fmla="*/ 5629586 w 6884782"/>
              <a:gd name="connsiteY39242" fmla="*/ 2014385 h 5973007"/>
              <a:gd name="connsiteX39243" fmla="*/ 6246369 w 6884782"/>
              <a:gd name="connsiteY39243" fmla="*/ 2014100 h 5973007"/>
              <a:gd name="connsiteX39244" fmla="*/ 6248717 w 6884782"/>
              <a:gd name="connsiteY39244" fmla="*/ 2014385 h 5973007"/>
              <a:gd name="connsiteX39245" fmla="*/ 6249784 w 6884782"/>
              <a:gd name="connsiteY39245" fmla="*/ 2016945 h 5973007"/>
              <a:gd name="connsiteX39246" fmla="*/ 6250211 w 6884782"/>
              <a:gd name="connsiteY39246" fmla="*/ 2021783 h 5973007"/>
              <a:gd name="connsiteX39247" fmla="*/ 6247863 w 6884782"/>
              <a:gd name="connsiteY39247" fmla="*/ 2024059 h 5973007"/>
              <a:gd name="connsiteX39248" fmla="*/ 6245516 w 6884782"/>
              <a:gd name="connsiteY39248" fmla="*/ 2022779 h 5973007"/>
              <a:gd name="connsiteX39249" fmla="*/ 6243381 w 6884782"/>
              <a:gd name="connsiteY39249" fmla="*/ 2022636 h 5973007"/>
              <a:gd name="connsiteX39250" fmla="*/ 6243168 w 6884782"/>
              <a:gd name="connsiteY39250" fmla="*/ 2021498 h 5973007"/>
              <a:gd name="connsiteX39251" fmla="*/ 6242101 w 6884782"/>
              <a:gd name="connsiteY39251" fmla="*/ 2020218 h 5973007"/>
              <a:gd name="connsiteX39252" fmla="*/ 6244022 w 6884782"/>
              <a:gd name="connsiteY39252" fmla="*/ 2015523 h 5973007"/>
              <a:gd name="connsiteX39253" fmla="*/ 6246369 w 6884782"/>
              <a:gd name="connsiteY39253" fmla="*/ 2014100 h 5973007"/>
              <a:gd name="connsiteX39254" fmla="*/ 5964015 w 6884782"/>
              <a:gd name="connsiteY39254" fmla="*/ 2013815 h 5973007"/>
              <a:gd name="connsiteX39255" fmla="*/ 5968284 w 6884782"/>
              <a:gd name="connsiteY39255" fmla="*/ 2017942 h 5973007"/>
              <a:gd name="connsiteX39256" fmla="*/ 5962308 w 6884782"/>
              <a:gd name="connsiteY39256" fmla="*/ 2021356 h 5973007"/>
              <a:gd name="connsiteX39257" fmla="*/ 5964015 w 6884782"/>
              <a:gd name="connsiteY39257" fmla="*/ 2013815 h 5973007"/>
              <a:gd name="connsiteX39258" fmla="*/ 5387141 w 6884782"/>
              <a:gd name="connsiteY39258" fmla="*/ 2013815 h 5973007"/>
              <a:gd name="connsiteX39259" fmla="*/ 5419368 w 6884782"/>
              <a:gd name="connsiteY39259" fmla="*/ 2016092 h 5973007"/>
              <a:gd name="connsiteX39260" fmla="*/ 5415313 w 6884782"/>
              <a:gd name="connsiteY39260" fmla="*/ 2049525 h 5973007"/>
              <a:gd name="connsiteX39261" fmla="*/ 5410404 w 6884782"/>
              <a:gd name="connsiteY39261" fmla="*/ 2058773 h 5973007"/>
              <a:gd name="connsiteX39262" fmla="*/ 5378391 w 6884782"/>
              <a:gd name="connsiteY39262" fmla="*/ 2016234 h 5973007"/>
              <a:gd name="connsiteX39263" fmla="*/ 5387141 w 6884782"/>
              <a:gd name="connsiteY39263" fmla="*/ 2013815 h 5973007"/>
              <a:gd name="connsiteX39264" fmla="*/ 5243510 w 6884782"/>
              <a:gd name="connsiteY39264" fmla="*/ 2013389 h 5973007"/>
              <a:gd name="connsiteX39265" fmla="*/ 5245644 w 6884782"/>
              <a:gd name="connsiteY39265" fmla="*/ 2014100 h 5973007"/>
              <a:gd name="connsiteX39266" fmla="*/ 5246284 w 6884782"/>
              <a:gd name="connsiteY39266" fmla="*/ 2016234 h 5973007"/>
              <a:gd name="connsiteX39267" fmla="*/ 5244150 w 6884782"/>
              <a:gd name="connsiteY39267" fmla="*/ 2018795 h 5973007"/>
              <a:gd name="connsiteX39268" fmla="*/ 5241162 w 6884782"/>
              <a:gd name="connsiteY39268" fmla="*/ 2014527 h 5973007"/>
              <a:gd name="connsiteX39269" fmla="*/ 5243510 w 6884782"/>
              <a:gd name="connsiteY39269" fmla="*/ 2013389 h 5973007"/>
              <a:gd name="connsiteX39270" fmla="*/ 1017384 w 6884782"/>
              <a:gd name="connsiteY39270" fmla="*/ 2013364 h 5973007"/>
              <a:gd name="connsiteX39271" fmla="*/ 1016661 w 6884782"/>
              <a:gd name="connsiteY39271" fmla="*/ 2017702 h 5973007"/>
              <a:gd name="connsiteX39272" fmla="*/ 1014802 w 6884782"/>
              <a:gd name="connsiteY39272" fmla="*/ 2014604 h 5973007"/>
              <a:gd name="connsiteX39273" fmla="*/ 1017384 w 6884782"/>
              <a:gd name="connsiteY39273" fmla="*/ 2013364 h 5973007"/>
              <a:gd name="connsiteX39274" fmla="*/ 4753284 w 6884782"/>
              <a:gd name="connsiteY39274" fmla="*/ 2012677 h 5973007"/>
              <a:gd name="connsiteX39275" fmla="*/ 4756913 w 6884782"/>
              <a:gd name="connsiteY39275" fmla="*/ 2014385 h 5973007"/>
              <a:gd name="connsiteX39276" fmla="*/ 4755419 w 6884782"/>
              <a:gd name="connsiteY39276" fmla="*/ 2019080 h 5973007"/>
              <a:gd name="connsiteX39277" fmla="*/ 4751791 w 6884782"/>
              <a:gd name="connsiteY39277" fmla="*/ 2018510 h 5973007"/>
              <a:gd name="connsiteX39278" fmla="*/ 4753284 w 6884782"/>
              <a:gd name="connsiteY39278" fmla="*/ 2012677 h 5973007"/>
              <a:gd name="connsiteX39279" fmla="*/ 1001173 w 6884782"/>
              <a:gd name="connsiteY39279" fmla="*/ 2012125 h 5973007"/>
              <a:gd name="connsiteX39280" fmla="*/ 1006335 w 6884782"/>
              <a:gd name="connsiteY39280" fmla="*/ 2013054 h 5973007"/>
              <a:gd name="connsiteX39281" fmla="*/ 1001173 w 6884782"/>
              <a:gd name="connsiteY39281" fmla="*/ 2012125 h 5973007"/>
              <a:gd name="connsiteX39282" fmla="*/ 3922015 w 6884782"/>
              <a:gd name="connsiteY39282" fmla="*/ 2011966 h 5973007"/>
              <a:gd name="connsiteX39283" fmla="*/ 3922441 w 6884782"/>
              <a:gd name="connsiteY39283" fmla="*/ 2013389 h 5973007"/>
              <a:gd name="connsiteX39284" fmla="*/ 3923722 w 6884782"/>
              <a:gd name="connsiteY39284" fmla="*/ 2013815 h 5973007"/>
              <a:gd name="connsiteX39285" fmla="*/ 4874080 w 6884782"/>
              <a:gd name="connsiteY39285" fmla="*/ 2010544 h 5973007"/>
              <a:gd name="connsiteX39286" fmla="*/ 4907800 w 6884782"/>
              <a:gd name="connsiteY39286" fmla="*/ 2030746 h 5973007"/>
              <a:gd name="connsiteX39287" fmla="*/ 4903959 w 6884782"/>
              <a:gd name="connsiteY39287" fmla="*/ 2018084 h 5973007"/>
              <a:gd name="connsiteX39288" fmla="*/ 4908014 w 6884782"/>
              <a:gd name="connsiteY39288" fmla="*/ 2030888 h 5973007"/>
              <a:gd name="connsiteX39289" fmla="*/ 4921673 w 6884782"/>
              <a:gd name="connsiteY39289" fmla="*/ 2040136 h 5973007"/>
              <a:gd name="connsiteX39290" fmla="*/ 4893715 w 6884782"/>
              <a:gd name="connsiteY39290" fmla="*/ 2036437 h 5973007"/>
              <a:gd name="connsiteX39291" fmla="*/ 4892007 w 6884782"/>
              <a:gd name="connsiteY39291" fmla="*/ 2035441 h 5973007"/>
              <a:gd name="connsiteX39292" fmla="*/ 4892007 w 6884782"/>
              <a:gd name="connsiteY39292" fmla="*/ 2037432 h 5973007"/>
              <a:gd name="connsiteX39293" fmla="*/ 4884538 w 6884782"/>
              <a:gd name="connsiteY39293" fmla="*/ 2041843 h 5973007"/>
              <a:gd name="connsiteX39294" fmla="*/ 4857647 w 6884782"/>
              <a:gd name="connsiteY39294" fmla="*/ 2027616 h 5973007"/>
              <a:gd name="connsiteX39295" fmla="*/ 4871519 w 6884782"/>
              <a:gd name="connsiteY39295" fmla="*/ 2024628 h 5973007"/>
              <a:gd name="connsiteX39296" fmla="*/ 4866611 w 6884782"/>
              <a:gd name="connsiteY39296" fmla="*/ 2021925 h 5973007"/>
              <a:gd name="connsiteX39297" fmla="*/ 4874080 w 6884782"/>
              <a:gd name="connsiteY39297" fmla="*/ 2010544 h 5973007"/>
              <a:gd name="connsiteX39298" fmla="*/ 5005120 w 6884782"/>
              <a:gd name="connsiteY39298" fmla="*/ 2010117 h 5973007"/>
              <a:gd name="connsiteX39299" fmla="*/ 5007681 w 6884782"/>
              <a:gd name="connsiteY39299" fmla="*/ 2010117 h 5973007"/>
              <a:gd name="connsiteX39300" fmla="*/ 5010669 w 6884782"/>
              <a:gd name="connsiteY39300" fmla="*/ 2012535 h 5973007"/>
              <a:gd name="connsiteX39301" fmla="*/ 5011309 w 6884782"/>
              <a:gd name="connsiteY39301" fmla="*/ 2016092 h 5973007"/>
              <a:gd name="connsiteX39302" fmla="*/ 5004906 w 6884782"/>
              <a:gd name="connsiteY39302" fmla="*/ 2019222 h 5973007"/>
              <a:gd name="connsiteX39303" fmla="*/ 5005120 w 6884782"/>
              <a:gd name="connsiteY39303" fmla="*/ 2010117 h 5973007"/>
              <a:gd name="connsiteX39304" fmla="*/ 5117165 w 6884782"/>
              <a:gd name="connsiteY39304" fmla="*/ 2009690 h 5973007"/>
              <a:gd name="connsiteX39305" fmla="*/ 5132745 w 6884782"/>
              <a:gd name="connsiteY39305" fmla="*/ 2015950 h 5973007"/>
              <a:gd name="connsiteX39306" fmla="*/ 5133385 w 6884782"/>
              <a:gd name="connsiteY39306" fmla="*/ 2015950 h 5973007"/>
              <a:gd name="connsiteX39307" fmla="*/ 5133172 w 6884782"/>
              <a:gd name="connsiteY39307" fmla="*/ 2015523 h 5973007"/>
              <a:gd name="connsiteX39308" fmla="*/ 5134026 w 6884782"/>
              <a:gd name="connsiteY39308" fmla="*/ 2015239 h 5973007"/>
              <a:gd name="connsiteX39309" fmla="*/ 5135519 w 6884782"/>
              <a:gd name="connsiteY39309" fmla="*/ 2014812 h 5973007"/>
              <a:gd name="connsiteX39310" fmla="*/ 5136160 w 6884782"/>
              <a:gd name="connsiteY39310" fmla="*/ 2014812 h 5973007"/>
              <a:gd name="connsiteX39311" fmla="*/ 5137226 w 6884782"/>
              <a:gd name="connsiteY39311" fmla="*/ 2016092 h 5973007"/>
              <a:gd name="connsiteX39312" fmla="*/ 5139361 w 6884782"/>
              <a:gd name="connsiteY39312" fmla="*/ 2016234 h 5973007"/>
              <a:gd name="connsiteX39313" fmla="*/ 5145764 w 6884782"/>
              <a:gd name="connsiteY39313" fmla="*/ 2017088 h 5973007"/>
              <a:gd name="connsiteX39314" fmla="*/ 5157288 w 6884782"/>
              <a:gd name="connsiteY39314" fmla="*/ 2029750 h 5973007"/>
              <a:gd name="connsiteX39315" fmla="*/ 5160276 w 6884782"/>
              <a:gd name="connsiteY39315" fmla="*/ 2034445 h 5973007"/>
              <a:gd name="connsiteX39316" fmla="*/ 5163264 w 6884782"/>
              <a:gd name="connsiteY39316" fmla="*/ 2038001 h 5973007"/>
              <a:gd name="connsiteX39317" fmla="*/ 5163477 w 6884782"/>
              <a:gd name="connsiteY39317" fmla="*/ 2038428 h 5973007"/>
              <a:gd name="connsiteX39318" fmla="*/ 5171801 w 6884782"/>
              <a:gd name="connsiteY39318" fmla="*/ 2043692 h 5973007"/>
              <a:gd name="connsiteX39319" fmla="*/ 5176923 w 6884782"/>
              <a:gd name="connsiteY39319" fmla="*/ 2052228 h 5973007"/>
              <a:gd name="connsiteX39320" fmla="*/ 5175429 w 6884782"/>
              <a:gd name="connsiteY39320" fmla="*/ 2062472 h 5973007"/>
              <a:gd name="connsiteX39321" fmla="*/ 5175002 w 6884782"/>
              <a:gd name="connsiteY39321" fmla="*/ 2062898 h 5973007"/>
              <a:gd name="connsiteX39322" fmla="*/ 5175429 w 6884782"/>
              <a:gd name="connsiteY39322" fmla="*/ 2069017 h 5973007"/>
              <a:gd name="connsiteX39323" fmla="*/ 5174148 w 6884782"/>
              <a:gd name="connsiteY39323" fmla="*/ 2076414 h 5973007"/>
              <a:gd name="connsiteX39324" fmla="*/ 5172441 w 6884782"/>
              <a:gd name="connsiteY39324" fmla="*/ 2073853 h 5973007"/>
              <a:gd name="connsiteX39325" fmla="*/ 5172441 w 6884782"/>
              <a:gd name="connsiteY39325" fmla="*/ 2079259 h 5973007"/>
              <a:gd name="connsiteX39326" fmla="*/ 5172227 w 6884782"/>
              <a:gd name="connsiteY39326" fmla="*/ 2079686 h 5973007"/>
              <a:gd name="connsiteX39327" fmla="*/ 5174575 w 6884782"/>
              <a:gd name="connsiteY39327" fmla="*/ 2088222 h 5973007"/>
              <a:gd name="connsiteX39328" fmla="*/ 5173722 w 6884782"/>
              <a:gd name="connsiteY39328" fmla="*/ 2090784 h 5973007"/>
              <a:gd name="connsiteX39329" fmla="*/ 5176069 w 6884782"/>
              <a:gd name="connsiteY39329" fmla="*/ 2094055 h 5973007"/>
              <a:gd name="connsiteX39330" fmla="*/ 5180337 w 6884782"/>
              <a:gd name="connsiteY39330" fmla="*/ 2109136 h 5973007"/>
              <a:gd name="connsiteX39331" fmla="*/ 5175642 w 6884782"/>
              <a:gd name="connsiteY39331" fmla="*/ 2108425 h 5973007"/>
              <a:gd name="connsiteX39332" fmla="*/ 5175856 w 6884782"/>
              <a:gd name="connsiteY39332" fmla="*/ 2106006 h 5973007"/>
              <a:gd name="connsiteX39333" fmla="*/ 5173508 w 6884782"/>
              <a:gd name="connsiteY39333" fmla="*/ 2102450 h 5973007"/>
              <a:gd name="connsiteX39334" fmla="*/ 5172654 w 6884782"/>
              <a:gd name="connsiteY39334" fmla="*/ 2100173 h 5973007"/>
              <a:gd name="connsiteX39335" fmla="*/ 5172014 w 6884782"/>
              <a:gd name="connsiteY39335" fmla="*/ 2102734 h 5973007"/>
              <a:gd name="connsiteX39336" fmla="*/ 5170307 w 6884782"/>
              <a:gd name="connsiteY39336" fmla="*/ 2105579 h 5973007"/>
              <a:gd name="connsiteX39337" fmla="*/ 5167746 w 6884782"/>
              <a:gd name="connsiteY39337" fmla="*/ 2105579 h 5973007"/>
              <a:gd name="connsiteX39338" fmla="*/ 5167106 w 6884782"/>
              <a:gd name="connsiteY39338" fmla="*/ 2105579 h 5973007"/>
              <a:gd name="connsiteX39339" fmla="*/ 5166252 w 6884782"/>
              <a:gd name="connsiteY39339" fmla="*/ 2111554 h 5973007"/>
              <a:gd name="connsiteX39340" fmla="*/ 5165398 w 6884782"/>
              <a:gd name="connsiteY39340" fmla="*/ 2112977 h 5973007"/>
              <a:gd name="connsiteX39341" fmla="*/ 5165611 w 6884782"/>
              <a:gd name="connsiteY39341" fmla="*/ 2113689 h 5973007"/>
              <a:gd name="connsiteX39342" fmla="*/ 5165825 w 6884782"/>
              <a:gd name="connsiteY39342" fmla="*/ 2115254 h 5973007"/>
              <a:gd name="connsiteX39343" fmla="*/ 5164758 w 6884782"/>
              <a:gd name="connsiteY39343" fmla="*/ 2114542 h 5973007"/>
              <a:gd name="connsiteX39344" fmla="*/ 5164544 w 6884782"/>
              <a:gd name="connsiteY39344" fmla="*/ 2114399 h 5973007"/>
              <a:gd name="connsiteX39345" fmla="*/ 5162837 w 6884782"/>
              <a:gd name="connsiteY39345" fmla="*/ 2117529 h 5973007"/>
              <a:gd name="connsiteX39346" fmla="*/ 5156435 w 6884782"/>
              <a:gd name="connsiteY39346" fmla="*/ 2110843 h 5973007"/>
              <a:gd name="connsiteX39347" fmla="*/ 5151526 w 6884782"/>
              <a:gd name="connsiteY39347" fmla="*/ 2103303 h 5973007"/>
              <a:gd name="connsiteX39348" fmla="*/ 5157502 w 6884782"/>
              <a:gd name="connsiteY39348" fmla="*/ 2105295 h 5973007"/>
              <a:gd name="connsiteX39349" fmla="*/ 5157288 w 6884782"/>
              <a:gd name="connsiteY39349" fmla="*/ 2105152 h 5973007"/>
              <a:gd name="connsiteX39350" fmla="*/ 5157288 w 6884782"/>
              <a:gd name="connsiteY39350" fmla="*/ 2102450 h 5973007"/>
              <a:gd name="connsiteX39351" fmla="*/ 5160703 w 6884782"/>
              <a:gd name="connsiteY39351" fmla="*/ 2103161 h 5973007"/>
              <a:gd name="connsiteX39352" fmla="*/ 5161130 w 6884782"/>
              <a:gd name="connsiteY39352" fmla="*/ 2105863 h 5973007"/>
              <a:gd name="connsiteX39353" fmla="*/ 5162410 w 6884782"/>
              <a:gd name="connsiteY39353" fmla="*/ 2106006 h 5973007"/>
              <a:gd name="connsiteX39354" fmla="*/ 5166038 w 6884782"/>
              <a:gd name="connsiteY39354" fmla="*/ 2104725 h 5973007"/>
              <a:gd name="connsiteX39355" fmla="*/ 5164118 w 6884782"/>
              <a:gd name="connsiteY39355" fmla="*/ 2102307 h 5973007"/>
              <a:gd name="connsiteX39356" fmla="*/ 5164544 w 6884782"/>
              <a:gd name="connsiteY39356" fmla="*/ 2096616 h 5973007"/>
              <a:gd name="connsiteX39357" fmla="*/ 5164971 w 6884782"/>
              <a:gd name="connsiteY39357" fmla="*/ 2096332 h 5973007"/>
              <a:gd name="connsiteX39358" fmla="*/ 5164971 w 6884782"/>
              <a:gd name="connsiteY39358" fmla="*/ 2095336 h 5973007"/>
              <a:gd name="connsiteX39359" fmla="*/ 5164971 w 6884782"/>
              <a:gd name="connsiteY39359" fmla="*/ 2094767 h 5973007"/>
              <a:gd name="connsiteX39360" fmla="*/ 5163477 w 6884782"/>
              <a:gd name="connsiteY39360" fmla="*/ 2094198 h 5973007"/>
              <a:gd name="connsiteX39361" fmla="*/ 5159423 w 6884782"/>
              <a:gd name="connsiteY39361" fmla="*/ 2098181 h 5973007"/>
              <a:gd name="connsiteX39362" fmla="*/ 5151526 w 6884782"/>
              <a:gd name="connsiteY39362" fmla="*/ 2103303 h 5973007"/>
              <a:gd name="connsiteX39363" fmla="*/ 5150032 w 6884782"/>
              <a:gd name="connsiteY39363" fmla="*/ 2104441 h 5973007"/>
              <a:gd name="connsiteX39364" fmla="*/ 5140214 w 6884782"/>
              <a:gd name="connsiteY39364" fmla="*/ 2111981 h 5973007"/>
              <a:gd name="connsiteX39365" fmla="*/ 5113110 w 6884782"/>
              <a:gd name="connsiteY39365" fmla="*/ 2109278 h 5973007"/>
              <a:gd name="connsiteX39366" fmla="*/ 5085793 w 6884782"/>
              <a:gd name="connsiteY39366" fmla="*/ 2083812 h 5973007"/>
              <a:gd name="connsiteX39367" fmla="*/ 5081097 w 6884782"/>
              <a:gd name="connsiteY39367" fmla="*/ 2040989 h 5973007"/>
              <a:gd name="connsiteX39368" fmla="*/ 5087500 w 6884782"/>
              <a:gd name="connsiteY39368" fmla="*/ 2035014 h 5973007"/>
              <a:gd name="connsiteX39369" fmla="*/ 5087714 w 6884782"/>
              <a:gd name="connsiteY39369" fmla="*/ 2034587 h 5973007"/>
              <a:gd name="connsiteX39370" fmla="*/ 5090488 w 6884782"/>
              <a:gd name="connsiteY39370" fmla="*/ 2030888 h 5973007"/>
              <a:gd name="connsiteX39371" fmla="*/ 5090914 w 6884782"/>
              <a:gd name="connsiteY39371" fmla="*/ 2031457 h 5973007"/>
              <a:gd name="connsiteX39372" fmla="*/ 5097317 w 6884782"/>
              <a:gd name="connsiteY39372" fmla="*/ 2022636 h 5973007"/>
              <a:gd name="connsiteX39373" fmla="*/ 5096037 w 6884782"/>
              <a:gd name="connsiteY39373" fmla="*/ 2020929 h 5973007"/>
              <a:gd name="connsiteX39374" fmla="*/ 5093902 w 6884782"/>
              <a:gd name="connsiteY39374" fmla="*/ 2014954 h 5973007"/>
              <a:gd name="connsiteX39375" fmla="*/ 5094970 w 6884782"/>
              <a:gd name="connsiteY39375" fmla="*/ 2014527 h 5973007"/>
              <a:gd name="connsiteX39376" fmla="*/ 5097744 w 6884782"/>
              <a:gd name="connsiteY39376" fmla="*/ 2019364 h 5973007"/>
              <a:gd name="connsiteX39377" fmla="*/ 5098811 w 6884782"/>
              <a:gd name="connsiteY39377" fmla="*/ 2020929 h 5973007"/>
              <a:gd name="connsiteX39378" fmla="*/ 5102013 w 6884782"/>
              <a:gd name="connsiteY39378" fmla="*/ 2017372 h 5973007"/>
              <a:gd name="connsiteX39379" fmla="*/ 5098171 w 6884782"/>
              <a:gd name="connsiteY39379" fmla="*/ 2010117 h 5973007"/>
              <a:gd name="connsiteX39380" fmla="*/ 5105213 w 6884782"/>
              <a:gd name="connsiteY39380" fmla="*/ 2013105 h 5973007"/>
              <a:gd name="connsiteX39381" fmla="*/ 5105641 w 6884782"/>
              <a:gd name="connsiteY39381" fmla="*/ 2013674 h 5973007"/>
              <a:gd name="connsiteX39382" fmla="*/ 5105854 w 6884782"/>
              <a:gd name="connsiteY39382" fmla="*/ 2013531 h 5973007"/>
              <a:gd name="connsiteX39383" fmla="*/ 5117165 w 6884782"/>
              <a:gd name="connsiteY39383" fmla="*/ 2009690 h 5973007"/>
              <a:gd name="connsiteX39384" fmla="*/ 5051218 w 6884782"/>
              <a:gd name="connsiteY39384" fmla="*/ 2009690 h 5973007"/>
              <a:gd name="connsiteX39385" fmla="*/ 5054633 w 6884782"/>
              <a:gd name="connsiteY39385" fmla="*/ 2011539 h 5973007"/>
              <a:gd name="connsiteX39386" fmla="*/ 5054846 w 6884782"/>
              <a:gd name="connsiteY39386" fmla="*/ 2012677 h 5973007"/>
              <a:gd name="connsiteX39387" fmla="*/ 5060396 w 6884782"/>
              <a:gd name="connsiteY39387" fmla="*/ 2011682 h 5973007"/>
              <a:gd name="connsiteX39388" fmla="*/ 5069573 w 6884782"/>
              <a:gd name="connsiteY39388" fmla="*/ 2015807 h 5973007"/>
              <a:gd name="connsiteX39389" fmla="*/ 5068505 w 6884782"/>
              <a:gd name="connsiteY39389" fmla="*/ 2025908 h 5973007"/>
              <a:gd name="connsiteX39390" fmla="*/ 5054420 w 6884782"/>
              <a:gd name="connsiteY39390" fmla="*/ 2029323 h 5973007"/>
              <a:gd name="connsiteX39391" fmla="*/ 5051218 w 6884782"/>
              <a:gd name="connsiteY39391" fmla="*/ 2025197 h 5973007"/>
              <a:gd name="connsiteX39392" fmla="*/ 5051005 w 6884782"/>
              <a:gd name="connsiteY39392" fmla="*/ 2017942 h 5973007"/>
              <a:gd name="connsiteX39393" fmla="*/ 5050792 w 6884782"/>
              <a:gd name="connsiteY39393" fmla="*/ 2018084 h 5973007"/>
              <a:gd name="connsiteX39394" fmla="*/ 5049511 w 6884782"/>
              <a:gd name="connsiteY39394" fmla="*/ 2016945 h 5973007"/>
              <a:gd name="connsiteX39395" fmla="*/ 5048658 w 6884782"/>
              <a:gd name="connsiteY39395" fmla="*/ 2010544 h 5973007"/>
              <a:gd name="connsiteX39396" fmla="*/ 5051218 w 6884782"/>
              <a:gd name="connsiteY39396" fmla="*/ 2009690 h 5973007"/>
              <a:gd name="connsiteX39397" fmla="*/ 5890812 w 6884782"/>
              <a:gd name="connsiteY39397" fmla="*/ 2008836 h 5973007"/>
              <a:gd name="connsiteX39398" fmla="*/ 5892092 w 6884782"/>
              <a:gd name="connsiteY39398" fmla="*/ 2011113 h 5973007"/>
              <a:gd name="connsiteX39399" fmla="*/ 5894013 w 6884782"/>
              <a:gd name="connsiteY39399" fmla="*/ 2018369 h 5973007"/>
              <a:gd name="connsiteX39400" fmla="*/ 5890385 w 6884782"/>
              <a:gd name="connsiteY39400" fmla="*/ 2017657 h 5973007"/>
              <a:gd name="connsiteX39401" fmla="*/ 5889958 w 6884782"/>
              <a:gd name="connsiteY39401" fmla="*/ 2014385 h 5973007"/>
              <a:gd name="connsiteX39402" fmla="*/ 5888678 w 6884782"/>
              <a:gd name="connsiteY39402" fmla="*/ 2012108 h 5973007"/>
              <a:gd name="connsiteX39403" fmla="*/ 5890812 w 6884782"/>
              <a:gd name="connsiteY39403" fmla="*/ 2008836 h 5973007"/>
              <a:gd name="connsiteX39404" fmla="*/ 3887867 w 6884782"/>
              <a:gd name="connsiteY39404" fmla="*/ 2008836 h 5973007"/>
              <a:gd name="connsiteX39405" fmla="*/ 3886800 w 6884782"/>
              <a:gd name="connsiteY39405" fmla="*/ 2009832 h 5973007"/>
              <a:gd name="connsiteX39406" fmla="*/ 3885733 w 6884782"/>
              <a:gd name="connsiteY39406" fmla="*/ 2010970 h 5973007"/>
              <a:gd name="connsiteX39407" fmla="*/ 3892349 w 6884782"/>
              <a:gd name="connsiteY39407" fmla="*/ 2013389 h 5973007"/>
              <a:gd name="connsiteX39408" fmla="*/ 5864561 w 6884782"/>
              <a:gd name="connsiteY39408" fmla="*/ 2008409 h 5973007"/>
              <a:gd name="connsiteX39409" fmla="*/ 5866909 w 6884782"/>
              <a:gd name="connsiteY39409" fmla="*/ 2019364 h 5973007"/>
              <a:gd name="connsiteX39410" fmla="*/ 5865202 w 6884782"/>
              <a:gd name="connsiteY39410" fmla="*/ 2021641 h 5973007"/>
              <a:gd name="connsiteX39411" fmla="*/ 5862427 w 6884782"/>
              <a:gd name="connsiteY39411" fmla="*/ 2020075 h 5973007"/>
              <a:gd name="connsiteX39412" fmla="*/ 5864561 w 6884782"/>
              <a:gd name="connsiteY39412" fmla="*/ 2008409 h 5973007"/>
              <a:gd name="connsiteX39413" fmla="*/ 1619987 w 6884782"/>
              <a:gd name="connsiteY39413" fmla="*/ 2008407 h 5973007"/>
              <a:gd name="connsiteX39414" fmla="*/ 1630313 w 6884782"/>
              <a:gd name="connsiteY39414" fmla="*/ 2011661 h 5973007"/>
              <a:gd name="connsiteX39415" fmla="*/ 1631345 w 6884782"/>
              <a:gd name="connsiteY39415" fmla="*/ 2015533 h 5973007"/>
              <a:gd name="connsiteX39416" fmla="*/ 1629073 w 6884782"/>
              <a:gd name="connsiteY39416" fmla="*/ 2021419 h 5973007"/>
              <a:gd name="connsiteX39417" fmla="*/ 1621536 w 6884782"/>
              <a:gd name="connsiteY39417" fmla="*/ 2020335 h 5973007"/>
              <a:gd name="connsiteX39418" fmla="*/ 1621845 w 6884782"/>
              <a:gd name="connsiteY39418" fmla="*/ 2021264 h 5973007"/>
              <a:gd name="connsiteX39419" fmla="*/ 1621226 w 6884782"/>
              <a:gd name="connsiteY39419" fmla="*/ 2020644 h 5973007"/>
              <a:gd name="connsiteX39420" fmla="*/ 1621226 w 6884782"/>
              <a:gd name="connsiteY39420" fmla="*/ 2020180 h 5973007"/>
              <a:gd name="connsiteX39421" fmla="*/ 1618025 w 6884782"/>
              <a:gd name="connsiteY39421" fmla="*/ 2017547 h 5973007"/>
              <a:gd name="connsiteX39422" fmla="*/ 1616373 w 6884782"/>
              <a:gd name="connsiteY39422" fmla="*/ 2014294 h 5973007"/>
              <a:gd name="connsiteX39423" fmla="*/ 1619987 w 6884782"/>
              <a:gd name="connsiteY39423" fmla="*/ 2008407 h 5973007"/>
              <a:gd name="connsiteX39424" fmla="*/ 1546882 w 6884782"/>
              <a:gd name="connsiteY39424" fmla="*/ 2007633 h 5973007"/>
              <a:gd name="connsiteX39425" fmla="*/ 1556898 w 6884782"/>
              <a:gd name="connsiteY39425" fmla="*/ 2009183 h 5973007"/>
              <a:gd name="connsiteX39426" fmla="*/ 1548431 w 6884782"/>
              <a:gd name="connsiteY39426" fmla="*/ 2015997 h 5973007"/>
              <a:gd name="connsiteX39427" fmla="*/ 1546469 w 6884782"/>
              <a:gd name="connsiteY39427" fmla="*/ 2012280 h 5973007"/>
              <a:gd name="connsiteX39428" fmla="*/ 1546882 w 6884782"/>
              <a:gd name="connsiteY39428" fmla="*/ 2007633 h 5973007"/>
              <a:gd name="connsiteX39429" fmla="*/ 1132411 w 6884782"/>
              <a:gd name="connsiteY39429" fmla="*/ 2007323 h 5973007"/>
              <a:gd name="connsiteX39430" fmla="*/ 1134476 w 6884782"/>
              <a:gd name="connsiteY39430" fmla="*/ 2008872 h 5973007"/>
              <a:gd name="connsiteX39431" fmla="*/ 1134373 w 6884782"/>
              <a:gd name="connsiteY39431" fmla="*/ 2008098 h 5973007"/>
              <a:gd name="connsiteX39432" fmla="*/ 1142324 w 6884782"/>
              <a:gd name="connsiteY39432" fmla="*/ 2008562 h 5973007"/>
              <a:gd name="connsiteX39433" fmla="*/ 1144802 w 6884782"/>
              <a:gd name="connsiteY39433" fmla="*/ 2012745 h 5973007"/>
              <a:gd name="connsiteX39434" fmla="*/ 1142633 w 6884782"/>
              <a:gd name="connsiteY39434" fmla="*/ 2020335 h 5973007"/>
              <a:gd name="connsiteX39435" fmla="*/ 1138297 w 6884782"/>
              <a:gd name="connsiteY39435" fmla="*/ 2019715 h 5973007"/>
              <a:gd name="connsiteX39436" fmla="*/ 1135405 w 6884782"/>
              <a:gd name="connsiteY39436" fmla="*/ 2015223 h 5973007"/>
              <a:gd name="connsiteX39437" fmla="*/ 1134476 w 6884782"/>
              <a:gd name="connsiteY39437" fmla="*/ 2011970 h 5973007"/>
              <a:gd name="connsiteX39438" fmla="*/ 1132824 w 6884782"/>
              <a:gd name="connsiteY39438" fmla="*/ 2012125 h 5973007"/>
              <a:gd name="connsiteX39439" fmla="*/ 1130862 w 6884782"/>
              <a:gd name="connsiteY39439" fmla="*/ 2009492 h 5973007"/>
              <a:gd name="connsiteX39440" fmla="*/ 1132411 w 6884782"/>
              <a:gd name="connsiteY39440" fmla="*/ 2007323 h 5973007"/>
              <a:gd name="connsiteX39441" fmla="*/ 1162562 w 6884782"/>
              <a:gd name="connsiteY39441" fmla="*/ 2006859 h 5973007"/>
              <a:gd name="connsiteX39442" fmla="*/ 1152753 w 6884782"/>
              <a:gd name="connsiteY39442" fmla="*/ 2032261 h 5973007"/>
              <a:gd name="connsiteX39443" fmla="*/ 1145112 w 6884782"/>
              <a:gd name="connsiteY39443" fmla="*/ 2029164 h 5973007"/>
              <a:gd name="connsiteX39444" fmla="*/ 1162562 w 6884782"/>
              <a:gd name="connsiteY39444" fmla="*/ 2006859 h 5973007"/>
              <a:gd name="connsiteX39445" fmla="*/ 786825 w 6884782"/>
              <a:gd name="connsiteY39445" fmla="*/ 2006317 h 5973007"/>
              <a:gd name="connsiteX39446" fmla="*/ 793627 w 6884782"/>
              <a:gd name="connsiteY39446" fmla="*/ 2010576 h 5973007"/>
              <a:gd name="connsiteX39447" fmla="*/ 791356 w 6884782"/>
              <a:gd name="connsiteY39447" fmla="*/ 2017392 h 5973007"/>
              <a:gd name="connsiteX39448" fmla="*/ 779172 w 6884782"/>
              <a:gd name="connsiteY39448" fmla="*/ 2012745 h 5973007"/>
              <a:gd name="connsiteX39449" fmla="*/ 786825 w 6884782"/>
              <a:gd name="connsiteY39449" fmla="*/ 2006317 h 5973007"/>
              <a:gd name="connsiteX39450" fmla="*/ 5145337 w 6884782"/>
              <a:gd name="connsiteY39450" fmla="*/ 2006276 h 5973007"/>
              <a:gd name="connsiteX39451" fmla="*/ 5146190 w 6884782"/>
              <a:gd name="connsiteY39451" fmla="*/ 2008694 h 5973007"/>
              <a:gd name="connsiteX39452" fmla="*/ 5156861 w 6884782"/>
              <a:gd name="connsiteY39452" fmla="*/ 2023063 h 5973007"/>
              <a:gd name="connsiteX39453" fmla="*/ 5140855 w 6884782"/>
              <a:gd name="connsiteY39453" fmla="*/ 2008125 h 5973007"/>
              <a:gd name="connsiteX39454" fmla="*/ 5145337 w 6884782"/>
              <a:gd name="connsiteY39454" fmla="*/ 2006276 h 5973007"/>
              <a:gd name="connsiteX39455" fmla="*/ 1573419 w 6884782"/>
              <a:gd name="connsiteY39455" fmla="*/ 2005949 h 5973007"/>
              <a:gd name="connsiteX39456" fmla="*/ 1577755 w 6884782"/>
              <a:gd name="connsiteY39456" fmla="*/ 2006239 h 5973007"/>
              <a:gd name="connsiteX39457" fmla="*/ 1567223 w 6884782"/>
              <a:gd name="connsiteY39457" fmla="*/ 2008562 h 5973007"/>
              <a:gd name="connsiteX39458" fmla="*/ 1573419 w 6884782"/>
              <a:gd name="connsiteY39458" fmla="*/ 2005949 h 5973007"/>
              <a:gd name="connsiteX39459" fmla="*/ 817583 w 6884782"/>
              <a:gd name="connsiteY39459" fmla="*/ 2005929 h 5973007"/>
              <a:gd name="connsiteX39460" fmla="*/ 838544 w 6884782"/>
              <a:gd name="connsiteY39460" fmla="*/ 2020954 h 5973007"/>
              <a:gd name="connsiteX39461" fmla="*/ 817583 w 6884782"/>
              <a:gd name="connsiteY39461" fmla="*/ 2005929 h 5973007"/>
              <a:gd name="connsiteX39462" fmla="*/ 5791145 w 6884782"/>
              <a:gd name="connsiteY39462" fmla="*/ 2004711 h 5973007"/>
              <a:gd name="connsiteX39463" fmla="*/ 5797548 w 6884782"/>
              <a:gd name="connsiteY39463" fmla="*/ 2008409 h 5973007"/>
              <a:gd name="connsiteX39464" fmla="*/ 5802029 w 6884782"/>
              <a:gd name="connsiteY39464" fmla="*/ 2013389 h 5973007"/>
              <a:gd name="connsiteX39465" fmla="*/ 5803950 w 6884782"/>
              <a:gd name="connsiteY39465" fmla="*/ 2008409 h 5973007"/>
              <a:gd name="connsiteX39466" fmla="*/ 5808432 w 6884782"/>
              <a:gd name="connsiteY39466" fmla="*/ 2006560 h 5973007"/>
              <a:gd name="connsiteX39467" fmla="*/ 5805871 w 6884782"/>
              <a:gd name="connsiteY39467" fmla="*/ 2011397 h 5973007"/>
              <a:gd name="connsiteX39468" fmla="*/ 5802456 w 6884782"/>
              <a:gd name="connsiteY39468" fmla="*/ 2013815 h 5973007"/>
              <a:gd name="connsiteX39469" fmla="*/ 5802883 w 6884782"/>
              <a:gd name="connsiteY39469" fmla="*/ 2014243 h 5973007"/>
              <a:gd name="connsiteX39470" fmla="*/ 5805231 w 6884782"/>
              <a:gd name="connsiteY39470" fmla="*/ 2021214 h 5973007"/>
              <a:gd name="connsiteX39471" fmla="*/ 5803737 w 6884782"/>
              <a:gd name="connsiteY39471" fmla="*/ 2024913 h 5973007"/>
              <a:gd name="connsiteX39472" fmla="*/ 5805871 w 6884782"/>
              <a:gd name="connsiteY39472" fmla="*/ 2025908 h 5973007"/>
              <a:gd name="connsiteX39473" fmla="*/ 5799682 w 6884782"/>
              <a:gd name="connsiteY39473" fmla="*/ 2046395 h 5973007"/>
              <a:gd name="connsiteX39474" fmla="*/ 5797974 w 6884782"/>
              <a:gd name="connsiteY39474" fmla="*/ 2025197 h 5973007"/>
              <a:gd name="connsiteX39475" fmla="*/ 5800749 w 6884782"/>
              <a:gd name="connsiteY39475" fmla="*/ 2024771 h 5973007"/>
              <a:gd name="connsiteX39476" fmla="*/ 5796054 w 6884782"/>
              <a:gd name="connsiteY39476" fmla="*/ 2016661 h 5973007"/>
              <a:gd name="connsiteX39477" fmla="*/ 5791145 w 6884782"/>
              <a:gd name="connsiteY39477" fmla="*/ 2004711 h 5973007"/>
              <a:gd name="connsiteX39478" fmla="*/ 6200911 w 6884782"/>
              <a:gd name="connsiteY39478" fmla="*/ 2004141 h 5973007"/>
              <a:gd name="connsiteX39479" fmla="*/ 6210515 w 6884782"/>
              <a:gd name="connsiteY39479" fmla="*/ 2008409 h 5973007"/>
              <a:gd name="connsiteX39480" fmla="*/ 6200911 w 6884782"/>
              <a:gd name="connsiteY39480" fmla="*/ 2004141 h 5973007"/>
              <a:gd name="connsiteX39481" fmla="*/ 5089634 w 6884782"/>
              <a:gd name="connsiteY39481" fmla="*/ 2004141 h 5973007"/>
              <a:gd name="connsiteX39482" fmla="*/ 5094543 w 6884782"/>
              <a:gd name="connsiteY39482" fmla="*/ 2006703 h 5973007"/>
              <a:gd name="connsiteX39483" fmla="*/ 5093902 w 6884782"/>
              <a:gd name="connsiteY39483" fmla="*/ 2008409 h 5973007"/>
              <a:gd name="connsiteX39484" fmla="*/ 5089634 w 6884782"/>
              <a:gd name="connsiteY39484" fmla="*/ 2004141 h 5973007"/>
              <a:gd name="connsiteX39485" fmla="*/ 5962734 w 6884782"/>
              <a:gd name="connsiteY39485" fmla="*/ 2003714 h 5973007"/>
              <a:gd name="connsiteX39486" fmla="*/ 5968284 w 6884782"/>
              <a:gd name="connsiteY39486" fmla="*/ 2007271 h 5973007"/>
              <a:gd name="connsiteX39487" fmla="*/ 5967857 w 6884782"/>
              <a:gd name="connsiteY39487" fmla="*/ 2009974 h 5973007"/>
              <a:gd name="connsiteX39488" fmla="*/ 5959106 w 6884782"/>
              <a:gd name="connsiteY39488" fmla="*/ 2007271 h 5973007"/>
              <a:gd name="connsiteX39489" fmla="*/ 5959533 w 6884782"/>
              <a:gd name="connsiteY39489" fmla="*/ 2004568 h 5973007"/>
              <a:gd name="connsiteX39490" fmla="*/ 5962734 w 6884782"/>
              <a:gd name="connsiteY39490" fmla="*/ 2003714 h 5973007"/>
              <a:gd name="connsiteX39491" fmla="*/ 5815475 w 6884782"/>
              <a:gd name="connsiteY39491" fmla="*/ 2003714 h 5973007"/>
              <a:gd name="connsiteX39492" fmla="*/ 5820810 w 6884782"/>
              <a:gd name="connsiteY39492" fmla="*/ 2008409 h 5973007"/>
              <a:gd name="connsiteX39493" fmla="*/ 5815902 w 6884782"/>
              <a:gd name="connsiteY39493" fmla="*/ 2015807 h 5973007"/>
              <a:gd name="connsiteX39494" fmla="*/ 5813127 w 6884782"/>
              <a:gd name="connsiteY39494" fmla="*/ 2009548 h 5973007"/>
              <a:gd name="connsiteX39495" fmla="*/ 5813767 w 6884782"/>
              <a:gd name="connsiteY39495" fmla="*/ 2007983 h 5973007"/>
              <a:gd name="connsiteX39496" fmla="*/ 5814194 w 6884782"/>
              <a:gd name="connsiteY39496" fmla="*/ 2006703 h 5973007"/>
              <a:gd name="connsiteX39497" fmla="*/ 5154300 w 6884782"/>
              <a:gd name="connsiteY39497" fmla="*/ 2003714 h 5973007"/>
              <a:gd name="connsiteX39498" fmla="*/ 5159636 w 6884782"/>
              <a:gd name="connsiteY39498" fmla="*/ 2012250 h 5973007"/>
              <a:gd name="connsiteX39499" fmla="*/ 5161343 w 6884782"/>
              <a:gd name="connsiteY39499" fmla="*/ 2018510 h 5973007"/>
              <a:gd name="connsiteX39500" fmla="*/ 5160276 w 6884782"/>
              <a:gd name="connsiteY39500" fmla="*/ 2018938 h 5973007"/>
              <a:gd name="connsiteX39501" fmla="*/ 5154300 w 6884782"/>
              <a:gd name="connsiteY39501" fmla="*/ 2008409 h 5973007"/>
              <a:gd name="connsiteX39502" fmla="*/ 5153233 w 6884782"/>
              <a:gd name="connsiteY39502" fmla="*/ 2004141 h 5973007"/>
              <a:gd name="connsiteX39503" fmla="*/ 5153660 w 6884782"/>
              <a:gd name="connsiteY39503" fmla="*/ 2005279 h 5973007"/>
              <a:gd name="connsiteX39504" fmla="*/ 5154300 w 6884782"/>
              <a:gd name="connsiteY39504" fmla="*/ 2003714 h 5973007"/>
              <a:gd name="connsiteX39505" fmla="*/ 5081524 w 6884782"/>
              <a:gd name="connsiteY39505" fmla="*/ 2003288 h 5973007"/>
              <a:gd name="connsiteX39506" fmla="*/ 5081524 w 6884782"/>
              <a:gd name="connsiteY39506" fmla="*/ 2014385 h 5973007"/>
              <a:gd name="connsiteX39507" fmla="*/ 5081524 w 6884782"/>
              <a:gd name="connsiteY39507" fmla="*/ 2003288 h 5973007"/>
              <a:gd name="connsiteX39508" fmla="*/ 4992955 w 6884782"/>
              <a:gd name="connsiteY39508" fmla="*/ 2002719 h 5973007"/>
              <a:gd name="connsiteX39509" fmla="*/ 4992741 w 6884782"/>
              <a:gd name="connsiteY39509" fmla="*/ 2008694 h 5973007"/>
              <a:gd name="connsiteX39510" fmla="*/ 4988900 w 6884782"/>
              <a:gd name="connsiteY39510" fmla="*/ 2011255 h 5973007"/>
              <a:gd name="connsiteX39511" fmla="*/ 4992955 w 6884782"/>
              <a:gd name="connsiteY39511" fmla="*/ 2002719 h 5973007"/>
              <a:gd name="connsiteX39512" fmla="*/ 1222967 w 6884782"/>
              <a:gd name="connsiteY39512" fmla="*/ 2001747 h 5973007"/>
              <a:gd name="connsiteX39513" fmla="*/ 1223793 w 6884782"/>
              <a:gd name="connsiteY39513" fmla="*/ 2002676 h 5973007"/>
              <a:gd name="connsiteX39514" fmla="*/ 1227717 w 6884782"/>
              <a:gd name="connsiteY39514" fmla="*/ 2011661 h 5973007"/>
              <a:gd name="connsiteX39515" fmla="*/ 1219972 w 6884782"/>
              <a:gd name="connsiteY39515" fmla="*/ 2011970 h 5973007"/>
              <a:gd name="connsiteX39516" fmla="*/ 1215016 w 6884782"/>
              <a:gd name="connsiteY39516" fmla="*/ 2004690 h 5973007"/>
              <a:gd name="connsiteX39517" fmla="*/ 1222967 w 6884782"/>
              <a:gd name="connsiteY39517" fmla="*/ 2001747 h 5973007"/>
              <a:gd name="connsiteX39518" fmla="*/ 5992400 w 6884782"/>
              <a:gd name="connsiteY39518" fmla="*/ 2001723 h 5973007"/>
              <a:gd name="connsiteX39519" fmla="*/ 5993467 w 6884782"/>
              <a:gd name="connsiteY39519" fmla="*/ 2002861 h 5973007"/>
              <a:gd name="connsiteX39520" fmla="*/ 5991546 w 6884782"/>
              <a:gd name="connsiteY39520" fmla="*/ 2002719 h 5973007"/>
              <a:gd name="connsiteX39521" fmla="*/ 5992400 w 6884782"/>
              <a:gd name="connsiteY39521" fmla="*/ 2001723 h 5973007"/>
              <a:gd name="connsiteX39522" fmla="*/ 5046950 w 6884782"/>
              <a:gd name="connsiteY39522" fmla="*/ 2000869 h 5973007"/>
              <a:gd name="connsiteX39523" fmla="*/ 5048018 w 6884782"/>
              <a:gd name="connsiteY39523" fmla="*/ 2013674 h 5973007"/>
              <a:gd name="connsiteX39524" fmla="*/ 5045456 w 6884782"/>
              <a:gd name="connsiteY39524" fmla="*/ 2013389 h 5973007"/>
              <a:gd name="connsiteX39525" fmla="*/ 5045670 w 6884782"/>
              <a:gd name="connsiteY39525" fmla="*/ 2014385 h 5973007"/>
              <a:gd name="connsiteX39526" fmla="*/ 5044816 w 6884782"/>
              <a:gd name="connsiteY39526" fmla="*/ 2020075 h 5973007"/>
              <a:gd name="connsiteX39527" fmla="*/ 5043109 w 6884782"/>
              <a:gd name="connsiteY39527" fmla="*/ 2015239 h 5973007"/>
              <a:gd name="connsiteX39528" fmla="*/ 5042682 w 6884782"/>
              <a:gd name="connsiteY39528" fmla="*/ 2013105 h 5973007"/>
              <a:gd name="connsiteX39529" fmla="*/ 5039480 w 6884782"/>
              <a:gd name="connsiteY39529" fmla="*/ 2012677 h 5973007"/>
              <a:gd name="connsiteX39530" fmla="*/ 5033291 w 6884782"/>
              <a:gd name="connsiteY39530" fmla="*/ 2005421 h 5973007"/>
              <a:gd name="connsiteX39531" fmla="*/ 5046950 w 6884782"/>
              <a:gd name="connsiteY39531" fmla="*/ 2000869 h 5973007"/>
              <a:gd name="connsiteX39532" fmla="*/ 5949929 w 6884782"/>
              <a:gd name="connsiteY39532" fmla="*/ 2000584 h 5973007"/>
              <a:gd name="connsiteX39533" fmla="*/ 5953558 w 6884782"/>
              <a:gd name="connsiteY39533" fmla="*/ 2002719 h 5973007"/>
              <a:gd name="connsiteX39534" fmla="*/ 5953558 w 6884782"/>
              <a:gd name="connsiteY39534" fmla="*/ 2007983 h 5973007"/>
              <a:gd name="connsiteX39535" fmla="*/ 5948435 w 6884782"/>
              <a:gd name="connsiteY39535" fmla="*/ 2016661 h 5973007"/>
              <a:gd name="connsiteX39536" fmla="*/ 5943740 w 6884782"/>
              <a:gd name="connsiteY39536" fmla="*/ 2007271 h 5973007"/>
              <a:gd name="connsiteX39537" fmla="*/ 5945234 w 6884782"/>
              <a:gd name="connsiteY39537" fmla="*/ 2004853 h 5973007"/>
              <a:gd name="connsiteX39538" fmla="*/ 5949929 w 6884782"/>
              <a:gd name="connsiteY39538" fmla="*/ 2000584 h 5973007"/>
              <a:gd name="connsiteX39539" fmla="*/ 5420648 w 6884782"/>
              <a:gd name="connsiteY39539" fmla="*/ 2000300 h 5973007"/>
              <a:gd name="connsiteX39540" fmla="*/ 5421289 w 6884782"/>
              <a:gd name="connsiteY39540" fmla="*/ 2001723 h 5973007"/>
              <a:gd name="connsiteX39541" fmla="*/ 5419368 w 6884782"/>
              <a:gd name="connsiteY39541" fmla="*/ 2003146 h 5973007"/>
              <a:gd name="connsiteX39542" fmla="*/ 5417874 w 6884782"/>
              <a:gd name="connsiteY39542" fmla="*/ 2003714 h 5973007"/>
              <a:gd name="connsiteX39543" fmla="*/ 5419368 w 6884782"/>
              <a:gd name="connsiteY39543" fmla="*/ 2000584 h 5973007"/>
              <a:gd name="connsiteX39544" fmla="*/ 5420648 w 6884782"/>
              <a:gd name="connsiteY39544" fmla="*/ 2000300 h 5973007"/>
              <a:gd name="connsiteX39545" fmla="*/ 5634281 w 6884782"/>
              <a:gd name="connsiteY39545" fmla="*/ 1999589 h 5973007"/>
              <a:gd name="connsiteX39546" fmla="*/ 5635989 w 6884782"/>
              <a:gd name="connsiteY39546" fmla="*/ 2003146 h 5973007"/>
              <a:gd name="connsiteX39547" fmla="*/ 5632787 w 6884782"/>
              <a:gd name="connsiteY39547" fmla="*/ 2005707 h 5973007"/>
              <a:gd name="connsiteX39548" fmla="*/ 5632361 w 6884782"/>
              <a:gd name="connsiteY39548" fmla="*/ 2010544 h 5973007"/>
              <a:gd name="connsiteX39549" fmla="*/ 5629373 w 6884782"/>
              <a:gd name="connsiteY39549" fmla="*/ 2013105 h 5973007"/>
              <a:gd name="connsiteX39550" fmla="*/ 5629159 w 6884782"/>
              <a:gd name="connsiteY39550" fmla="*/ 2011966 h 5973007"/>
              <a:gd name="connsiteX39551" fmla="*/ 5631080 w 6884782"/>
              <a:gd name="connsiteY39551" fmla="*/ 2009405 h 5973007"/>
              <a:gd name="connsiteX39552" fmla="*/ 5632147 w 6884782"/>
              <a:gd name="connsiteY39552" fmla="*/ 2001012 h 5973007"/>
              <a:gd name="connsiteX39553" fmla="*/ 5634281 w 6884782"/>
              <a:gd name="connsiteY39553" fmla="*/ 1999589 h 5973007"/>
              <a:gd name="connsiteX39554" fmla="*/ 1142737 w 6884782"/>
              <a:gd name="connsiteY39554" fmla="*/ 1998650 h 5973007"/>
              <a:gd name="connsiteX39555" fmla="*/ 1139639 w 6884782"/>
              <a:gd name="connsiteY39555" fmla="*/ 2001902 h 5973007"/>
              <a:gd name="connsiteX39556" fmla="*/ 1136025 w 6884782"/>
              <a:gd name="connsiteY39556" fmla="*/ 2001747 h 5973007"/>
              <a:gd name="connsiteX39557" fmla="*/ 1142737 w 6884782"/>
              <a:gd name="connsiteY39557" fmla="*/ 1998650 h 5973007"/>
              <a:gd name="connsiteX39558" fmla="*/ 4902252 w 6884782"/>
              <a:gd name="connsiteY39558" fmla="*/ 1998308 h 5973007"/>
              <a:gd name="connsiteX39559" fmla="*/ 4913990 w 6884782"/>
              <a:gd name="connsiteY39559" fmla="*/ 2005849 h 5973007"/>
              <a:gd name="connsiteX39560" fmla="*/ 4899477 w 6884782"/>
              <a:gd name="connsiteY39560" fmla="*/ 2009690 h 5973007"/>
              <a:gd name="connsiteX39561" fmla="*/ 4897556 w 6884782"/>
              <a:gd name="connsiteY39561" fmla="*/ 2010544 h 5973007"/>
              <a:gd name="connsiteX39562" fmla="*/ 4892861 w 6884782"/>
              <a:gd name="connsiteY39562" fmla="*/ 2010970 h 5973007"/>
              <a:gd name="connsiteX39563" fmla="*/ 4892221 w 6884782"/>
              <a:gd name="connsiteY39563" fmla="*/ 2012393 h 5973007"/>
              <a:gd name="connsiteX39564" fmla="*/ 4886245 w 6884782"/>
              <a:gd name="connsiteY39564" fmla="*/ 2011113 h 5973007"/>
              <a:gd name="connsiteX39565" fmla="*/ 4886458 w 6884782"/>
              <a:gd name="connsiteY39565" fmla="*/ 2010970 h 5973007"/>
              <a:gd name="connsiteX39566" fmla="*/ 4880056 w 6884782"/>
              <a:gd name="connsiteY39566" fmla="*/ 2009974 h 5973007"/>
              <a:gd name="connsiteX39567" fmla="*/ 4894995 w 6884782"/>
              <a:gd name="connsiteY39567" fmla="*/ 2001296 h 5973007"/>
              <a:gd name="connsiteX39568" fmla="*/ 4900117 w 6884782"/>
              <a:gd name="connsiteY39568" fmla="*/ 2001866 h 5973007"/>
              <a:gd name="connsiteX39569" fmla="*/ 5616567 w 6884782"/>
              <a:gd name="connsiteY39569" fmla="*/ 1997597 h 5973007"/>
              <a:gd name="connsiteX39570" fmla="*/ 5611232 w 6884782"/>
              <a:gd name="connsiteY39570" fmla="*/ 2016661 h 5973007"/>
              <a:gd name="connsiteX39571" fmla="*/ 5616567 w 6884782"/>
              <a:gd name="connsiteY39571" fmla="*/ 1997597 h 5973007"/>
              <a:gd name="connsiteX39572" fmla="*/ 4993595 w 6884782"/>
              <a:gd name="connsiteY39572" fmla="*/ 1997597 h 5973007"/>
              <a:gd name="connsiteX39573" fmla="*/ 4994876 w 6884782"/>
              <a:gd name="connsiteY39573" fmla="*/ 1998735 h 5973007"/>
              <a:gd name="connsiteX39574" fmla="*/ 4994876 w 6884782"/>
              <a:gd name="connsiteY39574" fmla="*/ 1999589 h 5973007"/>
              <a:gd name="connsiteX39575" fmla="*/ 4992741 w 6884782"/>
              <a:gd name="connsiteY39575" fmla="*/ 2002434 h 5973007"/>
              <a:gd name="connsiteX39576" fmla="*/ 4992741 w 6884782"/>
              <a:gd name="connsiteY39576" fmla="*/ 1998166 h 5973007"/>
              <a:gd name="connsiteX39577" fmla="*/ 4994235 w 6884782"/>
              <a:gd name="connsiteY39577" fmla="*/ 1998593 h 5973007"/>
              <a:gd name="connsiteX39578" fmla="*/ 4993595 w 6884782"/>
              <a:gd name="connsiteY39578" fmla="*/ 1997597 h 5973007"/>
              <a:gd name="connsiteX39579" fmla="*/ 945285 w 6884782"/>
              <a:gd name="connsiteY39579" fmla="*/ 1997584 h 5973007"/>
              <a:gd name="connsiteX39580" fmla="*/ 952745 w 6884782"/>
              <a:gd name="connsiteY39580" fmla="*/ 2001747 h 5973007"/>
              <a:gd name="connsiteX39581" fmla="*/ 954397 w 6884782"/>
              <a:gd name="connsiteY39581" fmla="*/ 2002831 h 5973007"/>
              <a:gd name="connsiteX39582" fmla="*/ 954397 w 6884782"/>
              <a:gd name="connsiteY39582" fmla="*/ 2005310 h 5973007"/>
              <a:gd name="connsiteX39583" fmla="*/ 941490 w 6884782"/>
              <a:gd name="connsiteY39583" fmla="*/ 2003916 h 5973007"/>
              <a:gd name="connsiteX39584" fmla="*/ 939838 w 6884782"/>
              <a:gd name="connsiteY39584" fmla="*/ 2002986 h 5973007"/>
              <a:gd name="connsiteX39585" fmla="*/ 936431 w 6884782"/>
              <a:gd name="connsiteY39585" fmla="*/ 1997720 h 5973007"/>
              <a:gd name="connsiteX39586" fmla="*/ 945285 w 6884782"/>
              <a:gd name="connsiteY39586" fmla="*/ 1997584 h 5973007"/>
              <a:gd name="connsiteX39587" fmla="*/ 6046395 w 6884782"/>
              <a:gd name="connsiteY39587" fmla="*/ 1996885 h 5973007"/>
              <a:gd name="connsiteX39588" fmla="*/ 6051304 w 6884782"/>
              <a:gd name="connsiteY39588" fmla="*/ 2001581 h 5973007"/>
              <a:gd name="connsiteX39589" fmla="*/ 6051090 w 6884782"/>
              <a:gd name="connsiteY39589" fmla="*/ 2005849 h 5973007"/>
              <a:gd name="connsiteX39590" fmla="*/ 6047462 w 6884782"/>
              <a:gd name="connsiteY39590" fmla="*/ 2007840 h 5973007"/>
              <a:gd name="connsiteX39591" fmla="*/ 6042981 w 6884782"/>
              <a:gd name="connsiteY39591" fmla="*/ 2006560 h 5973007"/>
              <a:gd name="connsiteX39592" fmla="*/ 6046395 w 6884782"/>
              <a:gd name="connsiteY39592" fmla="*/ 1996885 h 5973007"/>
              <a:gd name="connsiteX39593" fmla="*/ 4873440 w 6884782"/>
              <a:gd name="connsiteY39593" fmla="*/ 1996885 h 5973007"/>
              <a:gd name="connsiteX39594" fmla="*/ 4881123 w 6884782"/>
              <a:gd name="connsiteY39594" fmla="*/ 2004853 h 5973007"/>
              <a:gd name="connsiteX39595" fmla="*/ 4869812 w 6884782"/>
              <a:gd name="connsiteY39595" fmla="*/ 1999874 h 5973007"/>
              <a:gd name="connsiteX39596" fmla="*/ 4873440 w 6884782"/>
              <a:gd name="connsiteY39596" fmla="*/ 1996885 h 5973007"/>
              <a:gd name="connsiteX39597" fmla="*/ 4755206 w 6884782"/>
              <a:gd name="connsiteY39597" fmla="*/ 1996174 h 5973007"/>
              <a:gd name="connsiteX39598" fmla="*/ 4759687 w 6884782"/>
              <a:gd name="connsiteY39598" fmla="*/ 1998451 h 5973007"/>
              <a:gd name="connsiteX39599" fmla="*/ 4761394 w 6884782"/>
              <a:gd name="connsiteY39599" fmla="*/ 2003003 h 5973007"/>
              <a:gd name="connsiteX39600" fmla="*/ 4758193 w 6884782"/>
              <a:gd name="connsiteY39600" fmla="*/ 2003430 h 5973007"/>
              <a:gd name="connsiteX39601" fmla="*/ 4757126 w 6884782"/>
              <a:gd name="connsiteY39601" fmla="*/ 2006276 h 5973007"/>
              <a:gd name="connsiteX39602" fmla="*/ 4756059 w 6884782"/>
              <a:gd name="connsiteY39602" fmla="*/ 2006133 h 5973007"/>
              <a:gd name="connsiteX39603" fmla="*/ 4754779 w 6884782"/>
              <a:gd name="connsiteY39603" fmla="*/ 2003999 h 5973007"/>
              <a:gd name="connsiteX39604" fmla="*/ 4754565 w 6884782"/>
              <a:gd name="connsiteY39604" fmla="*/ 2004141 h 5973007"/>
              <a:gd name="connsiteX39605" fmla="*/ 4750296 w 6884782"/>
              <a:gd name="connsiteY39605" fmla="*/ 2000158 h 5973007"/>
              <a:gd name="connsiteX39606" fmla="*/ 4755206 w 6884782"/>
              <a:gd name="connsiteY39606" fmla="*/ 1996174 h 5973007"/>
              <a:gd name="connsiteX39607" fmla="*/ 1144802 w 6884782"/>
              <a:gd name="connsiteY39607" fmla="*/ 1996016 h 5973007"/>
              <a:gd name="connsiteX39608" fmla="*/ 1145525 w 6884782"/>
              <a:gd name="connsiteY39608" fmla="*/ 1996945 h 5973007"/>
              <a:gd name="connsiteX39609" fmla="*/ 1145628 w 6884782"/>
              <a:gd name="connsiteY39609" fmla="*/ 1996016 h 5973007"/>
              <a:gd name="connsiteX39610" fmla="*/ 1145834 w 6884782"/>
              <a:gd name="connsiteY39610" fmla="*/ 1997255 h 5973007"/>
              <a:gd name="connsiteX39611" fmla="*/ 1145422 w 6884782"/>
              <a:gd name="connsiteY39611" fmla="*/ 1997720 h 5973007"/>
              <a:gd name="connsiteX39612" fmla="*/ 1142737 w 6884782"/>
              <a:gd name="connsiteY39612" fmla="*/ 1998494 h 5973007"/>
              <a:gd name="connsiteX39613" fmla="*/ 1144802 w 6884782"/>
              <a:gd name="connsiteY39613" fmla="*/ 1996016 h 5973007"/>
              <a:gd name="connsiteX39614" fmla="*/ 5120153 w 6884782"/>
              <a:gd name="connsiteY39614" fmla="*/ 1994609 h 5973007"/>
              <a:gd name="connsiteX39615" fmla="*/ 5135519 w 6884782"/>
              <a:gd name="connsiteY39615" fmla="*/ 2009405 h 5973007"/>
              <a:gd name="connsiteX39616" fmla="*/ 5137226 w 6884782"/>
              <a:gd name="connsiteY39616" fmla="*/ 2011682 h 5973007"/>
              <a:gd name="connsiteX39617" fmla="*/ 5135519 w 6884782"/>
              <a:gd name="connsiteY39617" fmla="*/ 2014812 h 5973007"/>
              <a:gd name="connsiteX39618" fmla="*/ 5120153 w 6884782"/>
              <a:gd name="connsiteY39618" fmla="*/ 2005991 h 5973007"/>
              <a:gd name="connsiteX39619" fmla="*/ 5118659 w 6884782"/>
              <a:gd name="connsiteY39619" fmla="*/ 2003714 h 5973007"/>
              <a:gd name="connsiteX39620" fmla="*/ 5117379 w 6884782"/>
              <a:gd name="connsiteY39620" fmla="*/ 1995179 h 5973007"/>
              <a:gd name="connsiteX39621" fmla="*/ 5120153 w 6884782"/>
              <a:gd name="connsiteY39621" fmla="*/ 1994609 h 5973007"/>
              <a:gd name="connsiteX39622" fmla="*/ 5251406 w 6884782"/>
              <a:gd name="connsiteY39622" fmla="*/ 1994182 h 5973007"/>
              <a:gd name="connsiteX39623" fmla="*/ 5268053 w 6884782"/>
              <a:gd name="connsiteY39623" fmla="*/ 1997455 h 5973007"/>
              <a:gd name="connsiteX39624" fmla="*/ 5252687 w 6884782"/>
              <a:gd name="connsiteY39624" fmla="*/ 2003430 h 5973007"/>
              <a:gd name="connsiteX39625" fmla="*/ 5245644 w 6884782"/>
              <a:gd name="connsiteY39625" fmla="*/ 2004426 h 5973007"/>
              <a:gd name="connsiteX39626" fmla="*/ 5246498 w 6884782"/>
              <a:gd name="connsiteY39626" fmla="*/ 2005849 h 5973007"/>
              <a:gd name="connsiteX39627" fmla="*/ 5242656 w 6884782"/>
              <a:gd name="connsiteY39627" fmla="*/ 2013105 h 5973007"/>
              <a:gd name="connsiteX39628" fmla="*/ 5239455 w 6884782"/>
              <a:gd name="connsiteY39628" fmla="*/ 2011682 h 5973007"/>
              <a:gd name="connsiteX39629" fmla="*/ 5237320 w 6884782"/>
              <a:gd name="connsiteY39629" fmla="*/ 2004568 h 5973007"/>
              <a:gd name="connsiteX39630" fmla="*/ 5237320 w 6884782"/>
              <a:gd name="connsiteY39630" fmla="*/ 2003714 h 5973007"/>
              <a:gd name="connsiteX39631" fmla="*/ 5235400 w 6884782"/>
              <a:gd name="connsiteY39631" fmla="*/ 2003430 h 5973007"/>
              <a:gd name="connsiteX39632" fmla="*/ 5237107 w 6884782"/>
              <a:gd name="connsiteY39632" fmla="*/ 2001723 h 5973007"/>
              <a:gd name="connsiteX39633" fmla="*/ 5236894 w 6884782"/>
              <a:gd name="connsiteY39633" fmla="*/ 2001438 h 5973007"/>
              <a:gd name="connsiteX39634" fmla="*/ 5237320 w 6884782"/>
              <a:gd name="connsiteY39634" fmla="*/ 2000727 h 5973007"/>
              <a:gd name="connsiteX39635" fmla="*/ 5239668 w 6884782"/>
              <a:gd name="connsiteY39635" fmla="*/ 1998735 h 5973007"/>
              <a:gd name="connsiteX39636" fmla="*/ 5240095 w 6884782"/>
              <a:gd name="connsiteY39636" fmla="*/ 1998735 h 5973007"/>
              <a:gd name="connsiteX39637" fmla="*/ 5242443 w 6884782"/>
              <a:gd name="connsiteY39637" fmla="*/ 1996601 h 5973007"/>
              <a:gd name="connsiteX39638" fmla="*/ 5251406 w 6884782"/>
              <a:gd name="connsiteY39638" fmla="*/ 1994182 h 5973007"/>
              <a:gd name="connsiteX39639" fmla="*/ 759140 w 6884782"/>
              <a:gd name="connsiteY39639" fmla="*/ 1993847 h 5973007"/>
              <a:gd name="connsiteX39640" fmla="*/ 774112 w 6884782"/>
              <a:gd name="connsiteY39640" fmla="*/ 2004535 h 5973007"/>
              <a:gd name="connsiteX39641" fmla="*/ 771427 w 6884782"/>
              <a:gd name="connsiteY39641" fmla="*/ 2006239 h 5973007"/>
              <a:gd name="connsiteX39642" fmla="*/ 757797 w 6884782"/>
              <a:gd name="connsiteY39642" fmla="*/ 1996016 h 5973007"/>
              <a:gd name="connsiteX39643" fmla="*/ 759140 w 6884782"/>
              <a:gd name="connsiteY39643" fmla="*/ 1993847 h 5973007"/>
              <a:gd name="connsiteX39644" fmla="*/ 1133857 w 6884782"/>
              <a:gd name="connsiteY39644" fmla="*/ 1993538 h 5973007"/>
              <a:gd name="connsiteX39645" fmla="*/ 1133857 w 6884782"/>
              <a:gd name="connsiteY39645" fmla="*/ 1998339 h 5973007"/>
              <a:gd name="connsiteX39646" fmla="*/ 1132928 w 6884782"/>
              <a:gd name="connsiteY39646" fmla="*/ 1999269 h 5973007"/>
              <a:gd name="connsiteX39647" fmla="*/ 1132308 w 6884782"/>
              <a:gd name="connsiteY39647" fmla="*/ 1999888 h 5973007"/>
              <a:gd name="connsiteX39648" fmla="*/ 1130553 w 6884782"/>
              <a:gd name="connsiteY39648" fmla="*/ 2001437 h 5973007"/>
              <a:gd name="connsiteX39649" fmla="*/ 1128384 w 6884782"/>
              <a:gd name="connsiteY39649" fmla="*/ 1999269 h 5973007"/>
              <a:gd name="connsiteX39650" fmla="*/ 1128488 w 6884782"/>
              <a:gd name="connsiteY39650" fmla="*/ 1996945 h 5973007"/>
              <a:gd name="connsiteX39651" fmla="*/ 1133857 w 6884782"/>
              <a:gd name="connsiteY39651" fmla="*/ 1993538 h 5973007"/>
              <a:gd name="connsiteX39652" fmla="*/ 1152236 w 6884782"/>
              <a:gd name="connsiteY39652" fmla="*/ 1992763 h 5973007"/>
              <a:gd name="connsiteX39653" fmla="*/ 1157503 w 6884782"/>
              <a:gd name="connsiteY39653" fmla="*/ 1994467 h 5973007"/>
              <a:gd name="connsiteX39654" fmla="*/ 1158741 w 6884782"/>
              <a:gd name="connsiteY39654" fmla="*/ 2001902 h 5973007"/>
              <a:gd name="connsiteX39655" fmla="*/ 1154508 w 6884782"/>
              <a:gd name="connsiteY39655" fmla="*/ 2002521 h 5973007"/>
              <a:gd name="connsiteX39656" fmla="*/ 1152133 w 6884782"/>
              <a:gd name="connsiteY39656" fmla="*/ 1998030 h 5973007"/>
              <a:gd name="connsiteX39657" fmla="*/ 1151720 w 6884782"/>
              <a:gd name="connsiteY39657" fmla="*/ 1995086 h 5973007"/>
              <a:gd name="connsiteX39658" fmla="*/ 1152236 w 6884782"/>
              <a:gd name="connsiteY39658" fmla="*/ 1992763 h 5973007"/>
              <a:gd name="connsiteX39659" fmla="*/ 1540790 w 6884782"/>
              <a:gd name="connsiteY39659" fmla="*/ 1992608 h 5973007"/>
              <a:gd name="connsiteX39660" fmla="*/ 1546985 w 6884782"/>
              <a:gd name="connsiteY39660" fmla="*/ 1993538 h 5973007"/>
              <a:gd name="connsiteX39661" fmla="*/ 1540170 w 6884782"/>
              <a:gd name="connsiteY39661" fmla="*/ 2004535 h 5973007"/>
              <a:gd name="connsiteX39662" fmla="*/ 1539137 w 6884782"/>
              <a:gd name="connsiteY39662" fmla="*/ 1998494 h 5973007"/>
              <a:gd name="connsiteX39663" fmla="*/ 1540790 w 6884782"/>
              <a:gd name="connsiteY39663" fmla="*/ 1992608 h 5973007"/>
              <a:gd name="connsiteX39664" fmla="*/ 1535313 w 6884782"/>
              <a:gd name="connsiteY39664" fmla="*/ 1991597 h 5973007"/>
              <a:gd name="connsiteX39665" fmla="*/ 1537279 w 6884782"/>
              <a:gd name="connsiteY39665" fmla="*/ 1992298 h 5973007"/>
              <a:gd name="connsiteX39666" fmla="*/ 1538621 w 6884782"/>
              <a:gd name="connsiteY39666" fmla="*/ 1994002 h 5973007"/>
              <a:gd name="connsiteX39667" fmla="*/ 1535214 w 6884782"/>
              <a:gd name="connsiteY39667" fmla="*/ 1991524 h 5973007"/>
              <a:gd name="connsiteX39668" fmla="*/ 1535313 w 6884782"/>
              <a:gd name="connsiteY39668" fmla="*/ 1991597 h 5973007"/>
              <a:gd name="connsiteX39669" fmla="*/ 1535246 w 6884782"/>
              <a:gd name="connsiteY39669" fmla="*/ 1991572 h 5973007"/>
              <a:gd name="connsiteX39670" fmla="*/ 1128178 w 6884782"/>
              <a:gd name="connsiteY39670" fmla="*/ 1991369 h 5973007"/>
              <a:gd name="connsiteX39671" fmla="*/ 1128900 w 6884782"/>
              <a:gd name="connsiteY39671" fmla="*/ 1991834 h 5973007"/>
              <a:gd name="connsiteX39672" fmla="*/ 1126526 w 6884782"/>
              <a:gd name="connsiteY39672" fmla="*/ 1993847 h 5973007"/>
              <a:gd name="connsiteX39673" fmla="*/ 1128178 w 6884782"/>
              <a:gd name="connsiteY39673" fmla="*/ 1991369 h 5973007"/>
              <a:gd name="connsiteX39674" fmla="*/ 1266025 w 6884782"/>
              <a:gd name="connsiteY39674" fmla="*/ 1990750 h 5973007"/>
              <a:gd name="connsiteX39675" fmla="*/ 1266541 w 6884782"/>
              <a:gd name="connsiteY39675" fmla="*/ 1991214 h 5973007"/>
              <a:gd name="connsiteX39676" fmla="*/ 1267057 w 6884782"/>
              <a:gd name="connsiteY39676" fmla="*/ 1993693 h 5973007"/>
              <a:gd name="connsiteX39677" fmla="*/ 1264682 w 6884782"/>
              <a:gd name="connsiteY39677" fmla="*/ 1991834 h 5973007"/>
              <a:gd name="connsiteX39678" fmla="*/ 1265715 w 6884782"/>
              <a:gd name="connsiteY39678" fmla="*/ 1991059 h 5973007"/>
              <a:gd name="connsiteX39679" fmla="*/ 1264889 w 6884782"/>
              <a:gd name="connsiteY39679" fmla="*/ 1991059 h 5973007"/>
              <a:gd name="connsiteX39680" fmla="*/ 1266025 w 6884782"/>
              <a:gd name="connsiteY39680" fmla="*/ 1990750 h 5973007"/>
              <a:gd name="connsiteX39681" fmla="*/ 5802883 w 6884782"/>
              <a:gd name="connsiteY39681" fmla="*/ 1990626 h 5973007"/>
              <a:gd name="connsiteX39682" fmla="*/ 5804590 w 6884782"/>
              <a:gd name="connsiteY39682" fmla="*/ 1992760 h 5973007"/>
              <a:gd name="connsiteX39683" fmla="*/ 5805231 w 6884782"/>
              <a:gd name="connsiteY39683" fmla="*/ 1992476 h 5973007"/>
              <a:gd name="connsiteX39684" fmla="*/ 5803950 w 6884782"/>
              <a:gd name="connsiteY39684" fmla="*/ 1990768 h 5973007"/>
              <a:gd name="connsiteX39685" fmla="*/ 781237 w 6884782"/>
              <a:gd name="connsiteY39685" fmla="*/ 1990285 h 5973007"/>
              <a:gd name="connsiteX39686" fmla="*/ 786709 w 6884782"/>
              <a:gd name="connsiteY39686" fmla="*/ 1999114 h 5973007"/>
              <a:gd name="connsiteX39687" fmla="*/ 781443 w 6884782"/>
              <a:gd name="connsiteY39687" fmla="*/ 2000508 h 5973007"/>
              <a:gd name="connsiteX39688" fmla="*/ 779998 w 6884782"/>
              <a:gd name="connsiteY39688" fmla="*/ 1995241 h 5973007"/>
              <a:gd name="connsiteX39689" fmla="*/ 781237 w 6884782"/>
              <a:gd name="connsiteY39689" fmla="*/ 1990285 h 5973007"/>
              <a:gd name="connsiteX39690" fmla="*/ 5438149 w 6884782"/>
              <a:gd name="connsiteY39690" fmla="*/ 1989915 h 5973007"/>
              <a:gd name="connsiteX39691" fmla="*/ 5440923 w 6884782"/>
              <a:gd name="connsiteY39691" fmla="*/ 1992190 h 5973007"/>
              <a:gd name="connsiteX39692" fmla="*/ 5436441 w 6884782"/>
              <a:gd name="connsiteY39692" fmla="*/ 2001012 h 5973007"/>
              <a:gd name="connsiteX39693" fmla="*/ 5438149 w 6884782"/>
              <a:gd name="connsiteY39693" fmla="*/ 1989915 h 5973007"/>
              <a:gd name="connsiteX39694" fmla="*/ 6131763 w 6884782"/>
              <a:gd name="connsiteY39694" fmla="*/ 1988777 h 5973007"/>
              <a:gd name="connsiteX39695" fmla="*/ 6134324 w 6884782"/>
              <a:gd name="connsiteY39695" fmla="*/ 1993755 h 5973007"/>
              <a:gd name="connsiteX39696" fmla="*/ 6127494 w 6884782"/>
              <a:gd name="connsiteY39696" fmla="*/ 1995748 h 5973007"/>
              <a:gd name="connsiteX39697" fmla="*/ 6124933 w 6884782"/>
              <a:gd name="connsiteY39697" fmla="*/ 1990910 h 5973007"/>
              <a:gd name="connsiteX39698" fmla="*/ 6131763 w 6884782"/>
              <a:gd name="connsiteY39698" fmla="*/ 1988777 h 5973007"/>
              <a:gd name="connsiteX39699" fmla="*/ 6261949 w 6884782"/>
              <a:gd name="connsiteY39699" fmla="*/ 1988065 h 5973007"/>
              <a:gd name="connsiteX39700" fmla="*/ 6273047 w 6884782"/>
              <a:gd name="connsiteY39700" fmla="*/ 1991764 h 5973007"/>
              <a:gd name="connsiteX39701" fmla="*/ 6275394 w 6884782"/>
              <a:gd name="connsiteY39701" fmla="*/ 1993187 h 5973007"/>
              <a:gd name="connsiteX39702" fmla="*/ 6277742 w 6884782"/>
              <a:gd name="connsiteY39702" fmla="*/ 1994467 h 5973007"/>
              <a:gd name="connsiteX39703" fmla="*/ 6279236 w 6884782"/>
              <a:gd name="connsiteY39703" fmla="*/ 1999447 h 5973007"/>
              <a:gd name="connsiteX39704" fmla="*/ 6257894 w 6884782"/>
              <a:gd name="connsiteY39704" fmla="*/ 1991195 h 5973007"/>
              <a:gd name="connsiteX39705" fmla="*/ 6258961 w 6884782"/>
              <a:gd name="connsiteY39705" fmla="*/ 1988777 h 5973007"/>
              <a:gd name="connsiteX39706" fmla="*/ 6261949 w 6884782"/>
              <a:gd name="connsiteY39706" fmla="*/ 1988065 h 5973007"/>
              <a:gd name="connsiteX39707" fmla="*/ 734668 w 6884782"/>
              <a:gd name="connsiteY39707" fmla="*/ 1987961 h 5973007"/>
              <a:gd name="connsiteX39708" fmla="*/ 732087 w 6884782"/>
              <a:gd name="connsiteY39708" fmla="*/ 1996636 h 5973007"/>
              <a:gd name="connsiteX39709" fmla="*/ 734668 w 6884782"/>
              <a:gd name="connsiteY39709" fmla="*/ 1987961 h 5973007"/>
              <a:gd name="connsiteX39710" fmla="*/ 5941179 w 6884782"/>
              <a:gd name="connsiteY39710" fmla="*/ 1986643 h 5973007"/>
              <a:gd name="connsiteX39711" fmla="*/ 5902336 w 6884782"/>
              <a:gd name="connsiteY39711" fmla="*/ 2029750 h 5973007"/>
              <a:gd name="connsiteX39712" fmla="*/ 5901056 w 6884782"/>
              <a:gd name="connsiteY39712" fmla="*/ 2028327 h 5973007"/>
              <a:gd name="connsiteX39713" fmla="*/ 5901483 w 6884782"/>
              <a:gd name="connsiteY39713" fmla="*/ 2031600 h 5973007"/>
              <a:gd name="connsiteX39714" fmla="*/ 5900416 w 6884782"/>
              <a:gd name="connsiteY39714" fmla="*/ 2036579 h 5973007"/>
              <a:gd name="connsiteX39715" fmla="*/ 5898068 w 6884782"/>
              <a:gd name="connsiteY39715" fmla="*/ 2038713 h 5973007"/>
              <a:gd name="connsiteX39716" fmla="*/ 5894013 w 6884782"/>
              <a:gd name="connsiteY39716" fmla="*/ 2034729 h 5973007"/>
              <a:gd name="connsiteX39717" fmla="*/ 5897215 w 6884782"/>
              <a:gd name="connsiteY39717" fmla="*/ 2023490 h 5973007"/>
              <a:gd name="connsiteX39718" fmla="*/ 5898495 w 6884782"/>
              <a:gd name="connsiteY39718" fmla="*/ 2024628 h 5973007"/>
              <a:gd name="connsiteX39719" fmla="*/ 5894867 w 6884782"/>
              <a:gd name="connsiteY39719" fmla="*/ 2018084 h 5973007"/>
              <a:gd name="connsiteX39720" fmla="*/ 5900416 w 6884782"/>
              <a:gd name="connsiteY39720" fmla="*/ 2014243 h 5973007"/>
              <a:gd name="connsiteX39721" fmla="*/ 5899775 w 6884782"/>
              <a:gd name="connsiteY39721" fmla="*/ 2013247 h 5973007"/>
              <a:gd name="connsiteX39722" fmla="*/ 5900629 w 6884782"/>
              <a:gd name="connsiteY39722" fmla="*/ 2009548 h 5973007"/>
              <a:gd name="connsiteX39723" fmla="*/ 5903617 w 6884782"/>
              <a:gd name="connsiteY39723" fmla="*/ 2011539 h 5973007"/>
              <a:gd name="connsiteX39724" fmla="*/ 5903617 w 6884782"/>
              <a:gd name="connsiteY39724" fmla="*/ 2012108 h 5973007"/>
              <a:gd name="connsiteX39725" fmla="*/ 5917489 w 6884782"/>
              <a:gd name="connsiteY39725" fmla="*/ 2002576 h 5973007"/>
              <a:gd name="connsiteX39726" fmla="*/ 5917276 w 6884782"/>
              <a:gd name="connsiteY39726" fmla="*/ 2002008 h 5973007"/>
              <a:gd name="connsiteX39727" fmla="*/ 5925600 w 6884782"/>
              <a:gd name="connsiteY39727" fmla="*/ 1993045 h 5973007"/>
              <a:gd name="connsiteX39728" fmla="*/ 5927307 w 6884782"/>
              <a:gd name="connsiteY39728" fmla="*/ 1995890 h 5973007"/>
              <a:gd name="connsiteX39729" fmla="*/ 5830414 w 6884782"/>
              <a:gd name="connsiteY39729" fmla="*/ 1986643 h 5973007"/>
              <a:gd name="connsiteX39730" fmla="*/ 5837244 w 6884782"/>
              <a:gd name="connsiteY39730" fmla="*/ 2003288 h 5973007"/>
              <a:gd name="connsiteX39731" fmla="*/ 5824225 w 6884782"/>
              <a:gd name="connsiteY39731" fmla="*/ 1991907 h 5973007"/>
              <a:gd name="connsiteX39732" fmla="*/ 5830414 w 6884782"/>
              <a:gd name="connsiteY39732" fmla="*/ 1986643 h 5973007"/>
              <a:gd name="connsiteX39733" fmla="*/ 6015663 w 6884782"/>
              <a:gd name="connsiteY39733" fmla="*/ 1986216 h 5973007"/>
              <a:gd name="connsiteX39734" fmla="*/ 6020144 w 6884782"/>
              <a:gd name="connsiteY39734" fmla="*/ 1986500 h 5973007"/>
              <a:gd name="connsiteX39735" fmla="*/ 6033803 w 6884782"/>
              <a:gd name="connsiteY39735" fmla="*/ 1999162 h 5973007"/>
              <a:gd name="connsiteX39736" fmla="*/ 6024626 w 6884782"/>
              <a:gd name="connsiteY39736" fmla="*/ 2025908 h 5973007"/>
              <a:gd name="connsiteX39737" fmla="*/ 6003711 w 6884782"/>
              <a:gd name="connsiteY39737" fmla="*/ 1995179 h 5973007"/>
              <a:gd name="connsiteX39738" fmla="*/ 6015663 w 6884782"/>
              <a:gd name="connsiteY39738" fmla="*/ 1986216 h 5973007"/>
              <a:gd name="connsiteX39739" fmla="*/ 898330 w 6884782"/>
              <a:gd name="connsiteY39739" fmla="*/ 1986103 h 5973007"/>
              <a:gd name="connsiteX39740" fmla="*/ 898330 w 6884782"/>
              <a:gd name="connsiteY39740" fmla="*/ 1986877 h 5973007"/>
              <a:gd name="connsiteX39741" fmla="*/ 900085 w 6884782"/>
              <a:gd name="connsiteY39741" fmla="*/ 1987187 h 5973007"/>
              <a:gd name="connsiteX39742" fmla="*/ 900085 w 6884782"/>
              <a:gd name="connsiteY39742" fmla="*/ 1986257 h 5973007"/>
              <a:gd name="connsiteX39743" fmla="*/ 901840 w 6884782"/>
              <a:gd name="connsiteY39743" fmla="*/ 1987342 h 5973007"/>
              <a:gd name="connsiteX39744" fmla="*/ 904318 w 6884782"/>
              <a:gd name="connsiteY39744" fmla="*/ 1993538 h 5973007"/>
              <a:gd name="connsiteX39745" fmla="*/ 899878 w 6884782"/>
              <a:gd name="connsiteY39745" fmla="*/ 1993073 h 5973007"/>
              <a:gd name="connsiteX39746" fmla="*/ 897813 w 6884782"/>
              <a:gd name="connsiteY39746" fmla="*/ 1989975 h 5973007"/>
              <a:gd name="connsiteX39747" fmla="*/ 898330 w 6884782"/>
              <a:gd name="connsiteY39747" fmla="*/ 1986103 h 5973007"/>
              <a:gd name="connsiteX39748" fmla="*/ 1048774 w 6884782"/>
              <a:gd name="connsiteY39748" fmla="*/ 1985948 h 5973007"/>
              <a:gd name="connsiteX39749" fmla="*/ 1055692 w 6884782"/>
              <a:gd name="connsiteY39749" fmla="*/ 1986412 h 5973007"/>
              <a:gd name="connsiteX39750" fmla="*/ 1048774 w 6884782"/>
              <a:gd name="connsiteY39750" fmla="*/ 1985948 h 5973007"/>
              <a:gd name="connsiteX39751" fmla="*/ 4976949 w 6884782"/>
              <a:gd name="connsiteY39751" fmla="*/ 1985931 h 5973007"/>
              <a:gd name="connsiteX39752" fmla="*/ 4981430 w 6884782"/>
              <a:gd name="connsiteY39752" fmla="*/ 1986358 h 5973007"/>
              <a:gd name="connsiteX39753" fmla="*/ 4976949 w 6884782"/>
              <a:gd name="connsiteY39753" fmla="*/ 1995890 h 5973007"/>
              <a:gd name="connsiteX39754" fmla="*/ 4974174 w 6884782"/>
              <a:gd name="connsiteY39754" fmla="*/ 1995890 h 5973007"/>
              <a:gd name="connsiteX39755" fmla="*/ 4968412 w 6884782"/>
              <a:gd name="connsiteY39755" fmla="*/ 1993898 h 5973007"/>
              <a:gd name="connsiteX39756" fmla="*/ 4968198 w 6884782"/>
              <a:gd name="connsiteY39756" fmla="*/ 1989488 h 5973007"/>
              <a:gd name="connsiteX39757" fmla="*/ 4972040 w 6884782"/>
              <a:gd name="connsiteY39757" fmla="*/ 1986358 h 5973007"/>
              <a:gd name="connsiteX39758" fmla="*/ 4976949 w 6884782"/>
              <a:gd name="connsiteY39758" fmla="*/ 1985931 h 5973007"/>
              <a:gd name="connsiteX39759" fmla="*/ 5795626 w 6884782"/>
              <a:gd name="connsiteY39759" fmla="*/ 1985219 h 5973007"/>
              <a:gd name="connsiteX39760" fmla="*/ 5800535 w 6884782"/>
              <a:gd name="connsiteY39760" fmla="*/ 1988208 h 5973007"/>
              <a:gd name="connsiteX39761" fmla="*/ 5800535 w 6884782"/>
              <a:gd name="connsiteY39761" fmla="*/ 1986643 h 5973007"/>
              <a:gd name="connsiteX39762" fmla="*/ 5804164 w 6884782"/>
              <a:gd name="connsiteY39762" fmla="*/ 1990199 h 5973007"/>
              <a:gd name="connsiteX39763" fmla="*/ 5805871 w 6884782"/>
              <a:gd name="connsiteY39763" fmla="*/ 1992049 h 5973007"/>
              <a:gd name="connsiteX39764" fmla="*/ 5806724 w 6884782"/>
              <a:gd name="connsiteY39764" fmla="*/ 1991764 h 5973007"/>
              <a:gd name="connsiteX39765" fmla="*/ 5810780 w 6884782"/>
              <a:gd name="connsiteY39765" fmla="*/ 1993755 h 5973007"/>
              <a:gd name="connsiteX39766" fmla="*/ 5810353 w 6884782"/>
              <a:gd name="connsiteY39766" fmla="*/ 1995890 h 5973007"/>
              <a:gd name="connsiteX39767" fmla="*/ 5810566 w 6884782"/>
              <a:gd name="connsiteY39767" fmla="*/ 1996601 h 5973007"/>
              <a:gd name="connsiteX39768" fmla="*/ 5818463 w 6884782"/>
              <a:gd name="connsiteY39768" fmla="*/ 2000300 h 5973007"/>
              <a:gd name="connsiteX39769" fmla="*/ 5819316 w 6884782"/>
              <a:gd name="connsiteY39769" fmla="*/ 2002719 h 5973007"/>
              <a:gd name="connsiteX39770" fmla="*/ 5815902 w 6884782"/>
              <a:gd name="connsiteY39770" fmla="*/ 2003430 h 5973007"/>
              <a:gd name="connsiteX39771" fmla="*/ 5813767 w 6884782"/>
              <a:gd name="connsiteY39771" fmla="*/ 1999447 h 5973007"/>
              <a:gd name="connsiteX39772" fmla="*/ 5809285 w 6884782"/>
              <a:gd name="connsiteY39772" fmla="*/ 1997455 h 5973007"/>
              <a:gd name="connsiteX39773" fmla="*/ 5809285 w 6884782"/>
              <a:gd name="connsiteY39773" fmla="*/ 1997313 h 5973007"/>
              <a:gd name="connsiteX39774" fmla="*/ 5806511 w 6884782"/>
              <a:gd name="connsiteY39774" fmla="*/ 1996601 h 5973007"/>
              <a:gd name="connsiteX39775" fmla="*/ 5806938 w 6884782"/>
              <a:gd name="connsiteY39775" fmla="*/ 1997597 h 5973007"/>
              <a:gd name="connsiteX39776" fmla="*/ 5796694 w 6884782"/>
              <a:gd name="connsiteY39776" fmla="*/ 2001438 h 5973007"/>
              <a:gd name="connsiteX39777" fmla="*/ 5791358 w 6884782"/>
              <a:gd name="connsiteY39777" fmla="*/ 1997597 h 5973007"/>
              <a:gd name="connsiteX39778" fmla="*/ 5789651 w 6884782"/>
              <a:gd name="connsiteY39778" fmla="*/ 1986784 h 5973007"/>
              <a:gd name="connsiteX39779" fmla="*/ 5795626 w 6884782"/>
              <a:gd name="connsiteY39779" fmla="*/ 1985219 h 5973007"/>
              <a:gd name="connsiteX39780" fmla="*/ 6048316 w 6884782"/>
              <a:gd name="connsiteY39780" fmla="*/ 1984935 h 5973007"/>
              <a:gd name="connsiteX39781" fmla="*/ 6055359 w 6884782"/>
              <a:gd name="connsiteY39781" fmla="*/ 1988777 h 5973007"/>
              <a:gd name="connsiteX39782" fmla="*/ 6060480 w 6884782"/>
              <a:gd name="connsiteY39782" fmla="*/ 1999874 h 5973007"/>
              <a:gd name="connsiteX39783" fmla="*/ 6047462 w 6884782"/>
              <a:gd name="connsiteY39783" fmla="*/ 1993187 h 5973007"/>
              <a:gd name="connsiteX39784" fmla="*/ 6044901 w 6884782"/>
              <a:gd name="connsiteY39784" fmla="*/ 1985931 h 5973007"/>
              <a:gd name="connsiteX39785" fmla="*/ 6048316 w 6884782"/>
              <a:gd name="connsiteY39785" fmla="*/ 1984935 h 5973007"/>
              <a:gd name="connsiteX39786" fmla="*/ 3641581 w 6884782"/>
              <a:gd name="connsiteY39786" fmla="*/ 1984793 h 5973007"/>
              <a:gd name="connsiteX39787" fmla="*/ 3647130 w 6884782"/>
              <a:gd name="connsiteY39787" fmla="*/ 1986073 h 5973007"/>
              <a:gd name="connsiteX39788" fmla="*/ 3646276 w 6884782"/>
              <a:gd name="connsiteY39788" fmla="*/ 1993898 h 5973007"/>
              <a:gd name="connsiteX39789" fmla="*/ 3638593 w 6884782"/>
              <a:gd name="connsiteY39789" fmla="*/ 1988492 h 5973007"/>
              <a:gd name="connsiteX39790" fmla="*/ 3641581 w 6884782"/>
              <a:gd name="connsiteY39790" fmla="*/ 1984793 h 5973007"/>
              <a:gd name="connsiteX39791" fmla="*/ 5952490 w 6884782"/>
              <a:gd name="connsiteY39791" fmla="*/ 1984366 h 5973007"/>
              <a:gd name="connsiteX39792" fmla="*/ 5957399 w 6884782"/>
              <a:gd name="connsiteY39792" fmla="*/ 1989488 h 5973007"/>
              <a:gd name="connsiteX39793" fmla="*/ 5957399 w 6884782"/>
              <a:gd name="connsiteY39793" fmla="*/ 1989630 h 5973007"/>
              <a:gd name="connsiteX39794" fmla="*/ 5960814 w 6884782"/>
              <a:gd name="connsiteY39794" fmla="*/ 1989915 h 5973007"/>
              <a:gd name="connsiteX39795" fmla="*/ 5950570 w 6884782"/>
              <a:gd name="connsiteY39795" fmla="*/ 1998308 h 5973007"/>
              <a:gd name="connsiteX39796" fmla="*/ 5949075 w 6884782"/>
              <a:gd name="connsiteY39796" fmla="*/ 1998024 h 5973007"/>
              <a:gd name="connsiteX39797" fmla="*/ 5946087 w 6884782"/>
              <a:gd name="connsiteY39797" fmla="*/ 1999304 h 5973007"/>
              <a:gd name="connsiteX39798" fmla="*/ 5942673 w 6884782"/>
              <a:gd name="connsiteY39798" fmla="*/ 1996032 h 5973007"/>
              <a:gd name="connsiteX39799" fmla="*/ 5952490 w 6884782"/>
              <a:gd name="connsiteY39799" fmla="*/ 1984366 h 5973007"/>
              <a:gd name="connsiteX39800" fmla="*/ 1573935 w 6884782"/>
              <a:gd name="connsiteY39800" fmla="*/ 1983469 h 5973007"/>
              <a:gd name="connsiteX39801" fmla="*/ 1583537 w 6884782"/>
              <a:gd name="connsiteY39801" fmla="*/ 1987961 h 5973007"/>
              <a:gd name="connsiteX39802" fmla="*/ 1576619 w 6884782"/>
              <a:gd name="connsiteY39802" fmla="*/ 1993693 h 5973007"/>
              <a:gd name="connsiteX39803" fmla="*/ 1572799 w 6884782"/>
              <a:gd name="connsiteY39803" fmla="*/ 1985793 h 5973007"/>
              <a:gd name="connsiteX39804" fmla="*/ 1573935 w 6884782"/>
              <a:gd name="connsiteY39804" fmla="*/ 1983469 h 5973007"/>
              <a:gd name="connsiteX39805" fmla="*/ 5017071 w 6884782"/>
              <a:gd name="connsiteY39805" fmla="*/ 1983370 h 5973007"/>
              <a:gd name="connsiteX39806" fmla="*/ 5029236 w 6884782"/>
              <a:gd name="connsiteY39806" fmla="*/ 1991764 h 5973007"/>
              <a:gd name="connsiteX39807" fmla="*/ 5027316 w 6884782"/>
              <a:gd name="connsiteY39807" fmla="*/ 1996459 h 5973007"/>
              <a:gd name="connsiteX39808" fmla="*/ 5013870 w 6884782"/>
              <a:gd name="connsiteY39808" fmla="*/ 1989772 h 5973007"/>
              <a:gd name="connsiteX39809" fmla="*/ 5017071 w 6884782"/>
              <a:gd name="connsiteY39809" fmla="*/ 1983370 h 5973007"/>
              <a:gd name="connsiteX39810" fmla="*/ 920013 w 6884782"/>
              <a:gd name="connsiteY39810" fmla="*/ 1983314 h 5973007"/>
              <a:gd name="connsiteX39811" fmla="*/ 928687 w 6884782"/>
              <a:gd name="connsiteY39811" fmla="*/ 1985018 h 5973007"/>
              <a:gd name="connsiteX39812" fmla="*/ 934469 w 6884782"/>
              <a:gd name="connsiteY39812" fmla="*/ 1996945 h 5973007"/>
              <a:gd name="connsiteX39813" fmla="*/ 934366 w 6884782"/>
              <a:gd name="connsiteY39813" fmla="*/ 1997100 h 5973007"/>
              <a:gd name="connsiteX39814" fmla="*/ 934366 w 6884782"/>
              <a:gd name="connsiteY39814" fmla="*/ 2002057 h 5973007"/>
              <a:gd name="connsiteX39815" fmla="*/ 932714 w 6884782"/>
              <a:gd name="connsiteY39815" fmla="*/ 2002831 h 5973007"/>
              <a:gd name="connsiteX39816" fmla="*/ 933540 w 6884782"/>
              <a:gd name="connsiteY39816" fmla="*/ 2005774 h 5973007"/>
              <a:gd name="connsiteX39817" fmla="*/ 927138 w 6884782"/>
              <a:gd name="connsiteY39817" fmla="*/ 2007633 h 5973007"/>
              <a:gd name="connsiteX39818" fmla="*/ 931991 w 6884782"/>
              <a:gd name="connsiteY39818" fmla="*/ 2017856 h 5973007"/>
              <a:gd name="connsiteX39819" fmla="*/ 931371 w 6884782"/>
              <a:gd name="connsiteY39819" fmla="*/ 2020180 h 5973007"/>
              <a:gd name="connsiteX39820" fmla="*/ 931371 w 6884782"/>
              <a:gd name="connsiteY39820" fmla="*/ 2021419 h 5973007"/>
              <a:gd name="connsiteX39821" fmla="*/ 934263 w 6884782"/>
              <a:gd name="connsiteY39821" fmla="*/ 2013209 h 5973007"/>
              <a:gd name="connsiteX39822" fmla="*/ 940665 w 6884782"/>
              <a:gd name="connsiteY39822" fmla="*/ 2007323 h 5973007"/>
              <a:gd name="connsiteX39823" fmla="*/ 952849 w 6884782"/>
              <a:gd name="connsiteY39823" fmla="*/ 2006859 h 5973007"/>
              <a:gd name="connsiteX39824" fmla="*/ 953262 w 6884782"/>
              <a:gd name="connsiteY39824" fmla="*/ 2006704 h 5973007"/>
              <a:gd name="connsiteX39825" fmla="*/ 952952 w 6884782"/>
              <a:gd name="connsiteY39825" fmla="*/ 2006549 h 5973007"/>
              <a:gd name="connsiteX39826" fmla="*/ 953571 w 6884782"/>
              <a:gd name="connsiteY39826" fmla="*/ 2006084 h 5973007"/>
              <a:gd name="connsiteX39827" fmla="*/ 954397 w 6884782"/>
              <a:gd name="connsiteY39827" fmla="*/ 2005310 h 5973007"/>
              <a:gd name="connsiteX39828" fmla="*/ 954707 w 6884782"/>
              <a:gd name="connsiteY39828" fmla="*/ 2005155 h 5973007"/>
              <a:gd name="connsiteX39829" fmla="*/ 955740 w 6884782"/>
              <a:gd name="connsiteY39829" fmla="*/ 2005774 h 5973007"/>
              <a:gd name="connsiteX39830" fmla="*/ 957186 w 6884782"/>
              <a:gd name="connsiteY39830" fmla="*/ 2005155 h 5973007"/>
              <a:gd name="connsiteX39831" fmla="*/ 961832 w 6884782"/>
              <a:gd name="connsiteY39831" fmla="*/ 2003761 h 5973007"/>
              <a:gd name="connsiteX39832" fmla="*/ 973190 w 6884782"/>
              <a:gd name="connsiteY39832" fmla="*/ 2008872 h 5973007"/>
              <a:gd name="connsiteX39833" fmla="*/ 976495 w 6884782"/>
              <a:gd name="connsiteY39833" fmla="*/ 2011041 h 5973007"/>
              <a:gd name="connsiteX39834" fmla="*/ 979489 w 6884782"/>
              <a:gd name="connsiteY39834" fmla="*/ 2012590 h 5973007"/>
              <a:gd name="connsiteX39835" fmla="*/ 979798 w 6884782"/>
              <a:gd name="connsiteY39835" fmla="*/ 2012745 h 5973007"/>
              <a:gd name="connsiteX39836" fmla="*/ 986923 w 6884782"/>
              <a:gd name="connsiteY39836" fmla="*/ 2013829 h 5973007"/>
              <a:gd name="connsiteX39837" fmla="*/ 992809 w 6884782"/>
              <a:gd name="connsiteY39837" fmla="*/ 2018011 h 5973007"/>
              <a:gd name="connsiteX39838" fmla="*/ 994874 w 6884782"/>
              <a:gd name="connsiteY39838" fmla="*/ 2025136 h 5973007"/>
              <a:gd name="connsiteX39839" fmla="*/ 993635 w 6884782"/>
              <a:gd name="connsiteY39839" fmla="*/ 2027615 h 5973007"/>
              <a:gd name="connsiteX39840" fmla="*/ 997662 w 6884782"/>
              <a:gd name="connsiteY39840" fmla="*/ 2037373 h 5973007"/>
              <a:gd name="connsiteX39841" fmla="*/ 997662 w 6884782"/>
              <a:gd name="connsiteY39841" fmla="*/ 2037683 h 5973007"/>
              <a:gd name="connsiteX39842" fmla="*/ 998694 w 6884782"/>
              <a:gd name="connsiteY39842" fmla="*/ 2038922 h 5973007"/>
              <a:gd name="connsiteX39843" fmla="*/ 1000346 w 6884782"/>
              <a:gd name="connsiteY39843" fmla="*/ 2038303 h 5973007"/>
              <a:gd name="connsiteX39844" fmla="*/ 1008297 w 6884782"/>
              <a:gd name="connsiteY39844" fmla="*/ 2030713 h 5973007"/>
              <a:gd name="connsiteX39845" fmla="*/ 1008400 w 6884782"/>
              <a:gd name="connsiteY39845" fmla="*/ 2036134 h 5973007"/>
              <a:gd name="connsiteX39846" fmla="*/ 1009640 w 6884782"/>
              <a:gd name="connsiteY39846" fmla="*/ 2035669 h 5973007"/>
              <a:gd name="connsiteX39847" fmla="*/ 1017900 w 6884782"/>
              <a:gd name="connsiteY39847" fmla="*/ 2034275 h 5973007"/>
              <a:gd name="connsiteX39848" fmla="*/ 1022753 w 6884782"/>
              <a:gd name="connsiteY39848" fmla="*/ 2034275 h 5973007"/>
              <a:gd name="connsiteX39849" fmla="*/ 1021307 w 6884782"/>
              <a:gd name="connsiteY39849" fmla="*/ 2032572 h 5973007"/>
              <a:gd name="connsiteX39850" fmla="*/ 1019759 w 6884782"/>
              <a:gd name="connsiteY39850" fmla="*/ 2025601 h 5973007"/>
              <a:gd name="connsiteX39851" fmla="*/ 1027710 w 6884782"/>
              <a:gd name="connsiteY39851" fmla="*/ 2025291 h 5973007"/>
              <a:gd name="connsiteX39852" fmla="*/ 1030601 w 6884782"/>
              <a:gd name="connsiteY39852" fmla="*/ 2029164 h 5973007"/>
              <a:gd name="connsiteX39853" fmla="*/ 1030291 w 6884782"/>
              <a:gd name="connsiteY39853" fmla="*/ 2032572 h 5973007"/>
              <a:gd name="connsiteX39854" fmla="*/ 1030291 w 6884782"/>
              <a:gd name="connsiteY39854" fmla="*/ 2034430 h 5973007"/>
              <a:gd name="connsiteX39855" fmla="*/ 1044540 w 6884782"/>
              <a:gd name="connsiteY39855" fmla="*/ 2034895 h 5973007"/>
              <a:gd name="connsiteX39856" fmla="*/ 1042475 w 6884782"/>
              <a:gd name="connsiteY39856" fmla="*/ 2044189 h 5973007"/>
              <a:gd name="connsiteX39857" fmla="*/ 1020069 w 6884782"/>
              <a:gd name="connsiteY39857" fmla="*/ 2042175 h 5973007"/>
              <a:gd name="connsiteX39858" fmla="*/ 1008607 w 6884782"/>
              <a:gd name="connsiteY39858" fmla="*/ 2041091 h 5973007"/>
              <a:gd name="connsiteX39859" fmla="*/ 1008607 w 6884782"/>
              <a:gd name="connsiteY39859" fmla="*/ 2044498 h 5973007"/>
              <a:gd name="connsiteX39860" fmla="*/ 1004890 w 6884782"/>
              <a:gd name="connsiteY39860" fmla="*/ 2055961 h 5973007"/>
              <a:gd name="connsiteX39861" fmla="*/ 1002721 w 6884782"/>
              <a:gd name="connsiteY39861" fmla="*/ 2058904 h 5973007"/>
              <a:gd name="connsiteX39862" fmla="*/ 1003134 w 6884782"/>
              <a:gd name="connsiteY39862" fmla="*/ 2060453 h 5973007"/>
              <a:gd name="connsiteX39863" fmla="*/ 1003031 w 6884782"/>
              <a:gd name="connsiteY39863" fmla="*/ 2061692 h 5973007"/>
              <a:gd name="connsiteX39864" fmla="*/ 1003341 w 6884782"/>
              <a:gd name="connsiteY39864" fmla="*/ 2062002 h 5973007"/>
              <a:gd name="connsiteX39865" fmla="*/ 1003857 w 6884782"/>
              <a:gd name="connsiteY39865" fmla="*/ 2063086 h 5973007"/>
              <a:gd name="connsiteX39866" fmla="*/ 1003031 w 6884782"/>
              <a:gd name="connsiteY39866" fmla="*/ 2062931 h 5973007"/>
              <a:gd name="connsiteX39867" fmla="*/ 1002928 w 6884782"/>
              <a:gd name="connsiteY39867" fmla="*/ 2062931 h 5973007"/>
              <a:gd name="connsiteX39868" fmla="*/ 1002618 w 6884782"/>
              <a:gd name="connsiteY39868" fmla="*/ 2065409 h 5973007"/>
              <a:gd name="connsiteX39869" fmla="*/ 996423 w 6884782"/>
              <a:gd name="connsiteY39869" fmla="*/ 2062931 h 5973007"/>
              <a:gd name="connsiteX39870" fmla="*/ 990950 w 6884782"/>
              <a:gd name="connsiteY39870" fmla="*/ 2059368 h 5973007"/>
              <a:gd name="connsiteX39871" fmla="*/ 995287 w 6884782"/>
              <a:gd name="connsiteY39871" fmla="*/ 2058904 h 5973007"/>
              <a:gd name="connsiteX39872" fmla="*/ 994461 w 6884782"/>
              <a:gd name="connsiteY39872" fmla="*/ 2057200 h 5973007"/>
              <a:gd name="connsiteX39873" fmla="*/ 997042 w 6884782"/>
              <a:gd name="connsiteY39873" fmla="*/ 2056580 h 5973007"/>
              <a:gd name="connsiteX39874" fmla="*/ 996836 w 6884782"/>
              <a:gd name="connsiteY39874" fmla="*/ 2055186 h 5973007"/>
              <a:gd name="connsiteX39875" fmla="*/ 997662 w 6884782"/>
              <a:gd name="connsiteY39875" fmla="*/ 2049765 h 5973007"/>
              <a:gd name="connsiteX39876" fmla="*/ 996216 w 6884782"/>
              <a:gd name="connsiteY39876" fmla="*/ 2049765 h 5973007"/>
              <a:gd name="connsiteX39877" fmla="*/ 994668 w 6884782"/>
              <a:gd name="connsiteY39877" fmla="*/ 2053637 h 5973007"/>
              <a:gd name="connsiteX39878" fmla="*/ 990950 w 6884782"/>
              <a:gd name="connsiteY39878" fmla="*/ 2059368 h 5973007"/>
              <a:gd name="connsiteX39879" fmla="*/ 990227 w 6884782"/>
              <a:gd name="connsiteY39879" fmla="*/ 2060453 h 5973007"/>
              <a:gd name="connsiteX39880" fmla="*/ 985994 w 6884782"/>
              <a:gd name="connsiteY39880" fmla="*/ 2068507 h 5973007"/>
              <a:gd name="connsiteX39881" fmla="*/ 967201 w 6884782"/>
              <a:gd name="connsiteY39881" fmla="*/ 2074548 h 5973007"/>
              <a:gd name="connsiteX39882" fmla="*/ 941594 w 6884782"/>
              <a:gd name="connsiteY39882" fmla="*/ 2065719 h 5973007"/>
              <a:gd name="connsiteX39883" fmla="*/ 925899 w 6884782"/>
              <a:gd name="connsiteY39883" fmla="*/ 2038768 h 5973007"/>
              <a:gd name="connsiteX39884" fmla="*/ 929306 w 6884782"/>
              <a:gd name="connsiteY39884" fmla="*/ 2030868 h 5973007"/>
              <a:gd name="connsiteX39885" fmla="*/ 930752 w 6884782"/>
              <a:gd name="connsiteY39885" fmla="*/ 2024207 h 5973007"/>
              <a:gd name="connsiteX39886" fmla="*/ 926931 w 6884782"/>
              <a:gd name="connsiteY39886" fmla="*/ 2025291 h 5973007"/>
              <a:gd name="connsiteX39887" fmla="*/ 920426 w 6884782"/>
              <a:gd name="connsiteY39887" fmla="*/ 2026531 h 5973007"/>
              <a:gd name="connsiteX39888" fmla="*/ 910617 w 6884782"/>
              <a:gd name="connsiteY39888" fmla="*/ 2016617 h 5973007"/>
              <a:gd name="connsiteX39889" fmla="*/ 911236 w 6884782"/>
              <a:gd name="connsiteY39889" fmla="*/ 2015688 h 5973007"/>
              <a:gd name="connsiteX39890" fmla="*/ 912062 w 6884782"/>
              <a:gd name="connsiteY39890" fmla="*/ 2013984 h 5973007"/>
              <a:gd name="connsiteX39891" fmla="*/ 910927 w 6884782"/>
              <a:gd name="connsiteY39891" fmla="*/ 2011350 h 5973007"/>
              <a:gd name="connsiteX39892" fmla="*/ 912269 w 6884782"/>
              <a:gd name="connsiteY39892" fmla="*/ 2008872 h 5973007"/>
              <a:gd name="connsiteX39893" fmla="*/ 916606 w 6884782"/>
              <a:gd name="connsiteY39893" fmla="*/ 2007478 h 5973007"/>
              <a:gd name="connsiteX39894" fmla="*/ 917329 w 6884782"/>
              <a:gd name="connsiteY39894" fmla="*/ 2008098 h 5973007"/>
              <a:gd name="connsiteX39895" fmla="*/ 922492 w 6884782"/>
              <a:gd name="connsiteY39895" fmla="*/ 2006704 h 5973007"/>
              <a:gd name="connsiteX39896" fmla="*/ 925692 w 6884782"/>
              <a:gd name="connsiteY39896" fmla="*/ 2007169 h 5973007"/>
              <a:gd name="connsiteX39897" fmla="*/ 920736 w 6884782"/>
              <a:gd name="connsiteY39897" fmla="*/ 2005929 h 5973007"/>
              <a:gd name="connsiteX39898" fmla="*/ 918981 w 6884782"/>
              <a:gd name="connsiteY39898" fmla="*/ 2005155 h 5973007"/>
              <a:gd name="connsiteX39899" fmla="*/ 918981 w 6884782"/>
              <a:gd name="connsiteY39899" fmla="*/ 2006084 h 5973007"/>
              <a:gd name="connsiteX39900" fmla="*/ 918051 w 6884782"/>
              <a:gd name="connsiteY39900" fmla="*/ 2005155 h 5973007"/>
              <a:gd name="connsiteX39901" fmla="*/ 917845 w 6884782"/>
              <a:gd name="connsiteY39901" fmla="*/ 2005000 h 5973007"/>
              <a:gd name="connsiteX39902" fmla="*/ 917019 w 6884782"/>
              <a:gd name="connsiteY39902" fmla="*/ 2005000 h 5973007"/>
              <a:gd name="connsiteX39903" fmla="*/ 914127 w 6884782"/>
              <a:gd name="connsiteY39903" fmla="*/ 2002521 h 5973007"/>
              <a:gd name="connsiteX39904" fmla="*/ 914231 w 6884782"/>
              <a:gd name="connsiteY39904" fmla="*/ 2001747 h 5973007"/>
              <a:gd name="connsiteX39905" fmla="*/ 909378 w 6884782"/>
              <a:gd name="connsiteY39905" fmla="*/ 2001902 h 5973007"/>
              <a:gd name="connsiteX39906" fmla="*/ 908035 w 6884782"/>
              <a:gd name="connsiteY39906" fmla="*/ 2001592 h 5973007"/>
              <a:gd name="connsiteX39907" fmla="*/ 907622 w 6884782"/>
              <a:gd name="connsiteY39907" fmla="*/ 2002057 h 5973007"/>
              <a:gd name="connsiteX39908" fmla="*/ 906899 w 6884782"/>
              <a:gd name="connsiteY39908" fmla="*/ 2001437 h 5973007"/>
              <a:gd name="connsiteX39909" fmla="*/ 902563 w 6884782"/>
              <a:gd name="connsiteY39909" fmla="*/ 2000663 h 5973007"/>
              <a:gd name="connsiteX39910" fmla="*/ 899259 w 6884782"/>
              <a:gd name="connsiteY39910" fmla="*/ 1996945 h 5973007"/>
              <a:gd name="connsiteX39911" fmla="*/ 905041 w 6884782"/>
              <a:gd name="connsiteY39911" fmla="*/ 1996171 h 5973007"/>
              <a:gd name="connsiteX39912" fmla="*/ 905454 w 6884782"/>
              <a:gd name="connsiteY39912" fmla="*/ 1995861 h 5973007"/>
              <a:gd name="connsiteX39913" fmla="*/ 905764 w 6884782"/>
              <a:gd name="connsiteY39913" fmla="*/ 1996016 h 5973007"/>
              <a:gd name="connsiteX39914" fmla="*/ 912682 w 6884782"/>
              <a:gd name="connsiteY39914" fmla="*/ 1995396 h 5973007"/>
              <a:gd name="connsiteX39915" fmla="*/ 919187 w 6884782"/>
              <a:gd name="connsiteY39915" fmla="*/ 1996481 h 5973007"/>
              <a:gd name="connsiteX39916" fmla="*/ 919394 w 6884782"/>
              <a:gd name="connsiteY39916" fmla="*/ 1995551 h 5973007"/>
              <a:gd name="connsiteX39917" fmla="*/ 920013 w 6884782"/>
              <a:gd name="connsiteY39917" fmla="*/ 1983314 h 5973007"/>
              <a:gd name="connsiteX39918" fmla="*/ 4949844 w 6884782"/>
              <a:gd name="connsiteY39918" fmla="*/ 1983086 h 5973007"/>
              <a:gd name="connsiteX39919" fmla="*/ 4959448 w 6884782"/>
              <a:gd name="connsiteY39919" fmla="*/ 1993898 h 5973007"/>
              <a:gd name="connsiteX39920" fmla="*/ 4947283 w 6884782"/>
              <a:gd name="connsiteY39920" fmla="*/ 1997455 h 5973007"/>
              <a:gd name="connsiteX39921" fmla="*/ 4949844 w 6884782"/>
              <a:gd name="connsiteY39921" fmla="*/ 1983086 h 5973007"/>
              <a:gd name="connsiteX39922" fmla="*/ 1062817 w 6884782"/>
              <a:gd name="connsiteY39922" fmla="*/ 1983005 h 5973007"/>
              <a:gd name="connsiteX39923" fmla="*/ 1067876 w 6884782"/>
              <a:gd name="connsiteY39923" fmla="*/ 1984089 h 5973007"/>
              <a:gd name="connsiteX39924" fmla="*/ 1058480 w 6884782"/>
              <a:gd name="connsiteY39924" fmla="*/ 1990285 h 5973007"/>
              <a:gd name="connsiteX39925" fmla="*/ 1058686 w 6884782"/>
              <a:gd name="connsiteY39925" fmla="*/ 1985018 h 5973007"/>
              <a:gd name="connsiteX39926" fmla="*/ 1062817 w 6884782"/>
              <a:gd name="connsiteY39926" fmla="*/ 1983005 h 5973007"/>
              <a:gd name="connsiteX39927" fmla="*/ 720212 w 6884782"/>
              <a:gd name="connsiteY39927" fmla="*/ 1983005 h 5973007"/>
              <a:gd name="connsiteX39928" fmla="*/ 722071 w 6884782"/>
              <a:gd name="connsiteY39928" fmla="*/ 1983779 h 5973007"/>
              <a:gd name="connsiteX39929" fmla="*/ 727027 w 6884782"/>
              <a:gd name="connsiteY39929" fmla="*/ 1999114 h 5973007"/>
              <a:gd name="connsiteX39930" fmla="*/ 719180 w 6884782"/>
              <a:gd name="connsiteY39930" fmla="*/ 1996636 h 5973007"/>
              <a:gd name="connsiteX39931" fmla="*/ 717424 w 6884782"/>
              <a:gd name="connsiteY39931" fmla="*/ 1993538 h 5973007"/>
              <a:gd name="connsiteX39932" fmla="*/ 717631 w 6884782"/>
              <a:gd name="connsiteY39932" fmla="*/ 1989820 h 5973007"/>
              <a:gd name="connsiteX39933" fmla="*/ 717012 w 6884782"/>
              <a:gd name="connsiteY39933" fmla="*/ 1986877 h 5973007"/>
              <a:gd name="connsiteX39934" fmla="*/ 717734 w 6884782"/>
              <a:gd name="connsiteY39934" fmla="*/ 1984089 h 5973007"/>
              <a:gd name="connsiteX39935" fmla="*/ 720212 w 6884782"/>
              <a:gd name="connsiteY39935" fmla="*/ 1983005 h 5973007"/>
              <a:gd name="connsiteX39936" fmla="*/ 1503204 w 6884782"/>
              <a:gd name="connsiteY39936" fmla="*/ 1982695 h 5973007"/>
              <a:gd name="connsiteX39937" fmla="*/ 1505166 w 6884782"/>
              <a:gd name="connsiteY39937" fmla="*/ 1985793 h 5973007"/>
              <a:gd name="connsiteX39938" fmla="*/ 1503411 w 6884782"/>
              <a:gd name="connsiteY39938" fmla="*/ 1987651 h 5973007"/>
              <a:gd name="connsiteX39939" fmla="*/ 1502895 w 6884782"/>
              <a:gd name="connsiteY39939" fmla="*/ 1985018 h 5973007"/>
              <a:gd name="connsiteX39940" fmla="*/ 1503204 w 6884782"/>
              <a:gd name="connsiteY39940" fmla="*/ 1982695 h 5973007"/>
              <a:gd name="connsiteX39941" fmla="*/ 5424277 w 6884782"/>
              <a:gd name="connsiteY39941" fmla="*/ 1982089 h 5973007"/>
              <a:gd name="connsiteX39942" fmla="*/ 5437081 w 6884782"/>
              <a:gd name="connsiteY39942" fmla="*/ 1985362 h 5973007"/>
              <a:gd name="connsiteX39943" fmla="*/ 5424277 w 6884782"/>
              <a:gd name="connsiteY39943" fmla="*/ 1982089 h 5973007"/>
              <a:gd name="connsiteX39944" fmla="*/ 1181045 w 6884782"/>
              <a:gd name="connsiteY39944" fmla="*/ 1981920 h 5973007"/>
              <a:gd name="connsiteX39945" fmla="*/ 1182387 w 6884782"/>
              <a:gd name="connsiteY39945" fmla="*/ 1982230 h 5973007"/>
              <a:gd name="connsiteX39946" fmla="*/ 1180632 w 6884782"/>
              <a:gd name="connsiteY39946" fmla="*/ 1984553 h 5973007"/>
              <a:gd name="connsiteX39947" fmla="*/ 1179702 w 6884782"/>
              <a:gd name="connsiteY39947" fmla="*/ 1983624 h 5973007"/>
              <a:gd name="connsiteX39948" fmla="*/ 1179702 w 6884782"/>
              <a:gd name="connsiteY39948" fmla="*/ 1984399 h 5973007"/>
              <a:gd name="connsiteX39949" fmla="*/ 1179393 w 6884782"/>
              <a:gd name="connsiteY39949" fmla="*/ 1983314 h 5973007"/>
              <a:gd name="connsiteX39950" fmla="*/ 1179702 w 6884782"/>
              <a:gd name="connsiteY39950" fmla="*/ 1982849 h 5973007"/>
              <a:gd name="connsiteX39951" fmla="*/ 1181045 w 6884782"/>
              <a:gd name="connsiteY39951" fmla="*/ 1981920 h 5973007"/>
              <a:gd name="connsiteX39952" fmla="*/ 5285340 w 6884782"/>
              <a:gd name="connsiteY39952" fmla="*/ 1980809 h 5973007"/>
              <a:gd name="connsiteX39953" fmla="*/ 5289608 w 6884782"/>
              <a:gd name="connsiteY39953" fmla="*/ 1980952 h 5973007"/>
              <a:gd name="connsiteX39954" fmla="*/ 5295371 w 6884782"/>
              <a:gd name="connsiteY39954" fmla="*/ 1983654 h 5973007"/>
              <a:gd name="connsiteX39955" fmla="*/ 5298999 w 6884782"/>
              <a:gd name="connsiteY39955" fmla="*/ 1983370 h 5973007"/>
              <a:gd name="connsiteX39956" fmla="*/ 5299426 w 6884782"/>
              <a:gd name="connsiteY39956" fmla="*/ 1984508 h 5973007"/>
              <a:gd name="connsiteX39957" fmla="*/ 5285340 w 6884782"/>
              <a:gd name="connsiteY39957" fmla="*/ 1987781 h 5973007"/>
              <a:gd name="connsiteX39958" fmla="*/ 5283632 w 6884782"/>
              <a:gd name="connsiteY39958" fmla="*/ 1986500 h 5973007"/>
              <a:gd name="connsiteX39959" fmla="*/ 5284059 w 6884782"/>
              <a:gd name="connsiteY39959" fmla="*/ 1983228 h 5973007"/>
              <a:gd name="connsiteX39960" fmla="*/ 5285340 w 6884782"/>
              <a:gd name="connsiteY39960" fmla="*/ 1980809 h 5973007"/>
              <a:gd name="connsiteX39961" fmla="*/ 1501965 w 6884782"/>
              <a:gd name="connsiteY39961" fmla="*/ 1980526 h 5973007"/>
              <a:gd name="connsiteX39962" fmla="*/ 1502998 w 6884782"/>
              <a:gd name="connsiteY39962" fmla="*/ 1982230 h 5973007"/>
              <a:gd name="connsiteX39963" fmla="*/ 1502275 w 6884782"/>
              <a:gd name="connsiteY39963" fmla="*/ 1982540 h 5973007"/>
              <a:gd name="connsiteX39964" fmla="*/ 1501656 w 6884782"/>
              <a:gd name="connsiteY39964" fmla="*/ 1981456 h 5973007"/>
              <a:gd name="connsiteX39965" fmla="*/ 1501965 w 6884782"/>
              <a:gd name="connsiteY39965" fmla="*/ 1980526 h 5973007"/>
              <a:gd name="connsiteX39966" fmla="*/ 4820512 w 6884782"/>
              <a:gd name="connsiteY39966" fmla="*/ 1980240 h 5973007"/>
              <a:gd name="connsiteX39967" fmla="*/ 4839293 w 6884782"/>
              <a:gd name="connsiteY39967" fmla="*/ 1989630 h 5973007"/>
              <a:gd name="connsiteX39968" fmla="*/ 4840360 w 6884782"/>
              <a:gd name="connsiteY39968" fmla="*/ 1992760 h 5973007"/>
              <a:gd name="connsiteX39969" fmla="*/ 4843348 w 6884782"/>
              <a:gd name="connsiteY39969" fmla="*/ 1994467 h 5973007"/>
              <a:gd name="connsiteX39970" fmla="*/ 4850390 w 6884782"/>
              <a:gd name="connsiteY39970" fmla="*/ 2005279 h 5973007"/>
              <a:gd name="connsiteX39971" fmla="*/ 4842067 w 6884782"/>
              <a:gd name="connsiteY39971" fmla="*/ 2011682 h 5973007"/>
              <a:gd name="connsiteX39972" fmla="*/ 4840573 w 6884782"/>
              <a:gd name="connsiteY39972" fmla="*/ 2012250 h 5973007"/>
              <a:gd name="connsiteX39973" fmla="*/ 4836518 w 6884782"/>
              <a:gd name="connsiteY39973" fmla="*/ 2023348 h 5973007"/>
              <a:gd name="connsiteX39974" fmla="*/ 4830543 w 6884782"/>
              <a:gd name="connsiteY39974" fmla="*/ 2040705 h 5973007"/>
              <a:gd name="connsiteX39975" fmla="*/ 4817097 w 6884782"/>
              <a:gd name="connsiteY39975" fmla="*/ 2031172 h 5973007"/>
              <a:gd name="connsiteX39976" fmla="*/ 4811335 w 6884782"/>
              <a:gd name="connsiteY39976" fmla="*/ 2029750 h 5973007"/>
              <a:gd name="connsiteX39977" fmla="*/ 4810908 w 6884782"/>
              <a:gd name="connsiteY39977" fmla="*/ 2030888 h 5973007"/>
              <a:gd name="connsiteX39978" fmla="*/ 4811335 w 6884782"/>
              <a:gd name="connsiteY39978" fmla="*/ 2031030 h 5973007"/>
              <a:gd name="connsiteX39979" fmla="*/ 4805786 w 6884782"/>
              <a:gd name="connsiteY39979" fmla="*/ 2037859 h 5973007"/>
              <a:gd name="connsiteX39980" fmla="*/ 4801518 w 6884782"/>
              <a:gd name="connsiteY39980" fmla="*/ 2026905 h 5973007"/>
              <a:gd name="connsiteX39981" fmla="*/ 4801731 w 6884782"/>
              <a:gd name="connsiteY39981" fmla="*/ 2026335 h 5973007"/>
              <a:gd name="connsiteX39982" fmla="*/ 4797890 w 6884782"/>
              <a:gd name="connsiteY39982" fmla="*/ 2023490 h 5973007"/>
              <a:gd name="connsiteX39983" fmla="*/ 4795115 w 6884782"/>
              <a:gd name="connsiteY39983" fmla="*/ 2018795 h 5973007"/>
              <a:gd name="connsiteX39984" fmla="*/ 4793834 w 6884782"/>
              <a:gd name="connsiteY39984" fmla="*/ 2012250 h 5973007"/>
              <a:gd name="connsiteX39985" fmla="*/ 4791060 w 6884782"/>
              <a:gd name="connsiteY39985" fmla="*/ 2011397 h 5973007"/>
              <a:gd name="connsiteX39986" fmla="*/ 4797035 w 6884782"/>
              <a:gd name="connsiteY39986" fmla="*/ 1994467 h 5973007"/>
              <a:gd name="connsiteX39987" fmla="*/ 4797890 w 6884782"/>
              <a:gd name="connsiteY39987" fmla="*/ 1994894 h 5973007"/>
              <a:gd name="connsiteX39988" fmla="*/ 4802158 w 6884782"/>
              <a:gd name="connsiteY39988" fmla="*/ 1989061 h 5973007"/>
              <a:gd name="connsiteX39989" fmla="*/ 4820512 w 6884782"/>
              <a:gd name="connsiteY39989" fmla="*/ 1980240 h 5973007"/>
              <a:gd name="connsiteX39990" fmla="*/ 5396959 w 6884782"/>
              <a:gd name="connsiteY39990" fmla="*/ 1979956 h 5973007"/>
              <a:gd name="connsiteX39991" fmla="*/ 5406136 w 6884782"/>
              <a:gd name="connsiteY39991" fmla="*/ 1982659 h 5973007"/>
              <a:gd name="connsiteX39992" fmla="*/ 5412751 w 6884782"/>
              <a:gd name="connsiteY39992" fmla="*/ 1988492 h 5973007"/>
              <a:gd name="connsiteX39993" fmla="*/ 5413392 w 6884782"/>
              <a:gd name="connsiteY39993" fmla="*/ 1987781 h 5973007"/>
              <a:gd name="connsiteX39994" fmla="*/ 5414886 w 6884782"/>
              <a:gd name="connsiteY39994" fmla="*/ 1989915 h 5973007"/>
              <a:gd name="connsiteX39995" fmla="*/ 5414459 w 6884782"/>
              <a:gd name="connsiteY39995" fmla="*/ 1990910 h 5973007"/>
              <a:gd name="connsiteX39996" fmla="*/ 5417234 w 6884782"/>
              <a:gd name="connsiteY39996" fmla="*/ 1997313 h 5973007"/>
              <a:gd name="connsiteX39997" fmla="*/ 5414672 w 6884782"/>
              <a:gd name="connsiteY39997" fmla="*/ 2004141 h 5973007"/>
              <a:gd name="connsiteX39998" fmla="*/ 5409337 w 6884782"/>
              <a:gd name="connsiteY39998" fmla="*/ 2006418 h 5973007"/>
              <a:gd name="connsiteX39999" fmla="*/ 5396959 w 6884782"/>
              <a:gd name="connsiteY39999" fmla="*/ 1979956 h 5973007"/>
              <a:gd name="connsiteX40000" fmla="*/ 1034628 w 6884782"/>
              <a:gd name="connsiteY40000" fmla="*/ 1979906 h 5973007"/>
              <a:gd name="connsiteX40001" fmla="*/ 1034215 w 6884782"/>
              <a:gd name="connsiteY40001" fmla="*/ 1987342 h 5973007"/>
              <a:gd name="connsiteX40002" fmla="*/ 1031633 w 6884782"/>
              <a:gd name="connsiteY40002" fmla="*/ 1988271 h 5973007"/>
              <a:gd name="connsiteX40003" fmla="*/ 1028742 w 6884782"/>
              <a:gd name="connsiteY40003" fmla="*/ 1983314 h 5973007"/>
              <a:gd name="connsiteX40004" fmla="*/ 1030291 w 6884782"/>
              <a:gd name="connsiteY40004" fmla="*/ 1980836 h 5973007"/>
              <a:gd name="connsiteX40005" fmla="*/ 1034628 w 6884782"/>
              <a:gd name="connsiteY40005" fmla="*/ 1979906 h 5973007"/>
              <a:gd name="connsiteX40006" fmla="*/ 813556 w 6884782"/>
              <a:gd name="connsiteY40006" fmla="*/ 1979906 h 5973007"/>
              <a:gd name="connsiteX40007" fmla="*/ 817996 w 6884782"/>
              <a:gd name="connsiteY40007" fmla="*/ 1983779 h 5973007"/>
              <a:gd name="connsiteX40008" fmla="*/ 814072 w 6884782"/>
              <a:gd name="connsiteY40008" fmla="*/ 1986567 h 5973007"/>
              <a:gd name="connsiteX40009" fmla="*/ 810768 w 6884782"/>
              <a:gd name="connsiteY40009" fmla="*/ 1985483 h 5973007"/>
              <a:gd name="connsiteX40010" fmla="*/ 810871 w 6884782"/>
              <a:gd name="connsiteY40010" fmla="*/ 1986103 h 5973007"/>
              <a:gd name="connsiteX40011" fmla="*/ 810252 w 6884782"/>
              <a:gd name="connsiteY40011" fmla="*/ 1985948 h 5973007"/>
              <a:gd name="connsiteX40012" fmla="*/ 809219 w 6884782"/>
              <a:gd name="connsiteY40012" fmla="*/ 1989200 h 5973007"/>
              <a:gd name="connsiteX40013" fmla="*/ 805295 w 6884782"/>
              <a:gd name="connsiteY40013" fmla="*/ 1986722 h 5973007"/>
              <a:gd name="connsiteX40014" fmla="*/ 807877 w 6884782"/>
              <a:gd name="connsiteY40014" fmla="*/ 1984399 h 5973007"/>
              <a:gd name="connsiteX40015" fmla="*/ 809323 w 6884782"/>
              <a:gd name="connsiteY40015" fmla="*/ 1984863 h 5973007"/>
              <a:gd name="connsiteX40016" fmla="*/ 810665 w 6884782"/>
              <a:gd name="connsiteY40016" fmla="*/ 1985173 h 5973007"/>
              <a:gd name="connsiteX40017" fmla="*/ 811388 w 6884782"/>
              <a:gd name="connsiteY40017" fmla="*/ 1983779 h 5973007"/>
              <a:gd name="connsiteX40018" fmla="*/ 813556 w 6884782"/>
              <a:gd name="connsiteY40018" fmla="*/ 1979906 h 5973007"/>
              <a:gd name="connsiteX40019" fmla="*/ 5201679 w 6884782"/>
              <a:gd name="connsiteY40019" fmla="*/ 1979813 h 5973007"/>
              <a:gd name="connsiteX40020" fmla="*/ 5205735 w 6884782"/>
              <a:gd name="connsiteY40020" fmla="*/ 1982089 h 5973007"/>
              <a:gd name="connsiteX40021" fmla="*/ 5189728 w 6884782"/>
              <a:gd name="connsiteY40021" fmla="*/ 1992760 h 5973007"/>
              <a:gd name="connsiteX40022" fmla="*/ 5186953 w 6884782"/>
              <a:gd name="connsiteY40022" fmla="*/ 1986073 h 5973007"/>
              <a:gd name="connsiteX40023" fmla="*/ 5201679 w 6884782"/>
              <a:gd name="connsiteY40023" fmla="*/ 1979813 h 5973007"/>
              <a:gd name="connsiteX40024" fmla="*/ 4756486 w 6884782"/>
              <a:gd name="connsiteY40024" fmla="*/ 1979244 h 5973007"/>
              <a:gd name="connsiteX40025" fmla="*/ 4757766 w 6884782"/>
              <a:gd name="connsiteY40025" fmla="*/ 1983940 h 5973007"/>
              <a:gd name="connsiteX40026" fmla="*/ 4756486 w 6884782"/>
              <a:gd name="connsiteY40026" fmla="*/ 1987354 h 5973007"/>
              <a:gd name="connsiteX40027" fmla="*/ 4764596 w 6884782"/>
              <a:gd name="connsiteY40027" fmla="*/ 1988918 h 5973007"/>
              <a:gd name="connsiteX40028" fmla="*/ 4770998 w 6884782"/>
              <a:gd name="connsiteY40028" fmla="*/ 1991622 h 5973007"/>
              <a:gd name="connsiteX40029" fmla="*/ 4771425 w 6884782"/>
              <a:gd name="connsiteY40029" fmla="*/ 1997028 h 5973007"/>
              <a:gd name="connsiteX40030" fmla="*/ 4754779 w 6884782"/>
              <a:gd name="connsiteY40030" fmla="*/ 1987069 h 5973007"/>
              <a:gd name="connsiteX40031" fmla="*/ 4753498 w 6884782"/>
              <a:gd name="connsiteY40031" fmla="*/ 1983797 h 5973007"/>
              <a:gd name="connsiteX40032" fmla="*/ 4756486 w 6884782"/>
              <a:gd name="connsiteY40032" fmla="*/ 1979244 h 5973007"/>
              <a:gd name="connsiteX40033" fmla="*/ 5580286 w 6884782"/>
              <a:gd name="connsiteY40033" fmla="*/ 1979102 h 5973007"/>
              <a:gd name="connsiteX40034" fmla="*/ 5584554 w 6884782"/>
              <a:gd name="connsiteY40034" fmla="*/ 1982943 h 5973007"/>
              <a:gd name="connsiteX40035" fmla="*/ 5586049 w 6884782"/>
              <a:gd name="connsiteY40035" fmla="*/ 1984935 h 5973007"/>
              <a:gd name="connsiteX40036" fmla="*/ 5584768 w 6884782"/>
              <a:gd name="connsiteY40036" fmla="*/ 1986643 h 5973007"/>
              <a:gd name="connsiteX40037" fmla="*/ 5585195 w 6884782"/>
              <a:gd name="connsiteY40037" fmla="*/ 1986500 h 5973007"/>
              <a:gd name="connsiteX40038" fmla="*/ 5591170 w 6884782"/>
              <a:gd name="connsiteY40038" fmla="*/ 1986784 h 5973007"/>
              <a:gd name="connsiteX40039" fmla="*/ 5591384 w 6884782"/>
              <a:gd name="connsiteY40039" fmla="*/ 1986643 h 5973007"/>
              <a:gd name="connsiteX40040" fmla="*/ 5593091 w 6884782"/>
              <a:gd name="connsiteY40040" fmla="*/ 1986358 h 5973007"/>
              <a:gd name="connsiteX40041" fmla="*/ 5592878 w 6884782"/>
              <a:gd name="connsiteY40041" fmla="*/ 1986784 h 5973007"/>
              <a:gd name="connsiteX40042" fmla="*/ 5592878 w 6884782"/>
              <a:gd name="connsiteY40042" fmla="*/ 1986927 h 5973007"/>
              <a:gd name="connsiteX40043" fmla="*/ 5592238 w 6884782"/>
              <a:gd name="connsiteY40043" fmla="*/ 1988777 h 5973007"/>
              <a:gd name="connsiteX40044" fmla="*/ 5591811 w 6884782"/>
              <a:gd name="connsiteY40044" fmla="*/ 1989488 h 5973007"/>
              <a:gd name="connsiteX40045" fmla="*/ 5590530 w 6884782"/>
              <a:gd name="connsiteY40045" fmla="*/ 1992190 h 5973007"/>
              <a:gd name="connsiteX40046" fmla="*/ 5590744 w 6884782"/>
              <a:gd name="connsiteY40046" fmla="*/ 1993613 h 5973007"/>
              <a:gd name="connsiteX40047" fmla="*/ 5588396 w 6884782"/>
              <a:gd name="connsiteY40047" fmla="*/ 1997455 h 5973007"/>
              <a:gd name="connsiteX40048" fmla="*/ 5587329 w 6884782"/>
              <a:gd name="connsiteY40048" fmla="*/ 2003430 h 5973007"/>
              <a:gd name="connsiteX40049" fmla="*/ 5589250 w 6884782"/>
              <a:gd name="connsiteY40049" fmla="*/ 2003430 h 5973007"/>
              <a:gd name="connsiteX40050" fmla="*/ 5592665 w 6884782"/>
              <a:gd name="connsiteY40050" fmla="*/ 2005564 h 5973007"/>
              <a:gd name="connsiteX40051" fmla="*/ 5594158 w 6884782"/>
              <a:gd name="connsiteY40051" fmla="*/ 2008125 h 5973007"/>
              <a:gd name="connsiteX40052" fmla="*/ 5594158 w 6884782"/>
              <a:gd name="connsiteY40052" fmla="*/ 2005849 h 5973007"/>
              <a:gd name="connsiteX40053" fmla="*/ 5598853 w 6884782"/>
              <a:gd name="connsiteY40053" fmla="*/ 2007698 h 5973007"/>
              <a:gd name="connsiteX40054" fmla="*/ 5599921 w 6884782"/>
              <a:gd name="connsiteY40054" fmla="*/ 2011539 h 5973007"/>
              <a:gd name="connsiteX40055" fmla="*/ 5598640 w 6884782"/>
              <a:gd name="connsiteY40055" fmla="*/ 2011397 h 5973007"/>
              <a:gd name="connsiteX40056" fmla="*/ 5594799 w 6884782"/>
              <a:gd name="connsiteY40056" fmla="*/ 2011682 h 5973007"/>
              <a:gd name="connsiteX40057" fmla="*/ 5595225 w 6884782"/>
              <a:gd name="connsiteY40057" fmla="*/ 2015807 h 5973007"/>
              <a:gd name="connsiteX40058" fmla="*/ 5594372 w 6884782"/>
              <a:gd name="connsiteY40058" fmla="*/ 2017942 h 5973007"/>
              <a:gd name="connsiteX40059" fmla="*/ 5595012 w 6884782"/>
              <a:gd name="connsiteY40059" fmla="*/ 2019791 h 5973007"/>
              <a:gd name="connsiteX40060" fmla="*/ 5602268 w 6884782"/>
              <a:gd name="connsiteY40060" fmla="*/ 2017942 h 5973007"/>
              <a:gd name="connsiteX40061" fmla="*/ 5610592 w 6884782"/>
              <a:gd name="connsiteY40061" fmla="*/ 2016945 h 5973007"/>
              <a:gd name="connsiteX40062" fmla="*/ 5611019 w 6884782"/>
              <a:gd name="connsiteY40062" fmla="*/ 2017088 h 5973007"/>
              <a:gd name="connsiteX40063" fmla="*/ 5611019 w 6884782"/>
              <a:gd name="connsiteY40063" fmla="*/ 2016661 h 5973007"/>
              <a:gd name="connsiteX40064" fmla="*/ 5611445 w 6884782"/>
              <a:gd name="connsiteY40064" fmla="*/ 2017230 h 5973007"/>
              <a:gd name="connsiteX40065" fmla="*/ 5613580 w 6884782"/>
              <a:gd name="connsiteY40065" fmla="*/ 2017942 h 5973007"/>
              <a:gd name="connsiteX40066" fmla="*/ 5610592 w 6884782"/>
              <a:gd name="connsiteY40066" fmla="*/ 2020502 h 5973007"/>
              <a:gd name="connsiteX40067" fmla="*/ 5609098 w 6884782"/>
              <a:gd name="connsiteY40067" fmla="*/ 2020929 h 5973007"/>
              <a:gd name="connsiteX40068" fmla="*/ 5608244 w 6884782"/>
              <a:gd name="connsiteY40068" fmla="*/ 2022067 h 5973007"/>
              <a:gd name="connsiteX40069" fmla="*/ 5607391 w 6884782"/>
              <a:gd name="connsiteY40069" fmla="*/ 2021498 h 5973007"/>
              <a:gd name="connsiteX40070" fmla="*/ 5604189 w 6884782"/>
              <a:gd name="connsiteY40070" fmla="*/ 2022352 h 5973007"/>
              <a:gd name="connsiteX40071" fmla="*/ 5597360 w 6884782"/>
              <a:gd name="connsiteY40071" fmla="*/ 2026905 h 5973007"/>
              <a:gd name="connsiteX40072" fmla="*/ 5589037 w 6884782"/>
              <a:gd name="connsiteY40072" fmla="*/ 2027331 h 5973007"/>
              <a:gd name="connsiteX40073" fmla="*/ 5588610 w 6884782"/>
              <a:gd name="connsiteY40073" fmla="*/ 2024059 h 5973007"/>
              <a:gd name="connsiteX40074" fmla="*/ 5585195 w 6884782"/>
              <a:gd name="connsiteY40074" fmla="*/ 2025055 h 5973007"/>
              <a:gd name="connsiteX40075" fmla="*/ 5573883 w 6884782"/>
              <a:gd name="connsiteY40075" fmla="*/ 2016234 h 5973007"/>
              <a:gd name="connsiteX40076" fmla="*/ 5574524 w 6884782"/>
              <a:gd name="connsiteY40076" fmla="*/ 2009121 h 5973007"/>
              <a:gd name="connsiteX40077" fmla="*/ 5577298 w 6884782"/>
              <a:gd name="connsiteY40077" fmla="*/ 2005279 h 5973007"/>
              <a:gd name="connsiteX40078" fmla="*/ 5577298 w 6884782"/>
              <a:gd name="connsiteY40078" fmla="*/ 2005138 h 5973007"/>
              <a:gd name="connsiteX40079" fmla="*/ 5576871 w 6884782"/>
              <a:gd name="connsiteY40079" fmla="*/ 1997313 h 5973007"/>
              <a:gd name="connsiteX40080" fmla="*/ 5580286 w 6884782"/>
              <a:gd name="connsiteY40080" fmla="*/ 1988492 h 5973007"/>
              <a:gd name="connsiteX40081" fmla="*/ 5583487 w 6884782"/>
              <a:gd name="connsiteY40081" fmla="*/ 1987212 h 5973007"/>
              <a:gd name="connsiteX40082" fmla="*/ 5580926 w 6884782"/>
              <a:gd name="connsiteY40082" fmla="*/ 1983940 h 5973007"/>
              <a:gd name="connsiteX40083" fmla="*/ 5580286 w 6884782"/>
              <a:gd name="connsiteY40083" fmla="*/ 1979102 h 5973007"/>
              <a:gd name="connsiteX40084" fmla="*/ 1174540 w 6884782"/>
              <a:gd name="connsiteY40084" fmla="*/ 1978822 h 5973007"/>
              <a:gd name="connsiteX40085" fmla="*/ 1176811 w 6884782"/>
              <a:gd name="connsiteY40085" fmla="*/ 1979287 h 5973007"/>
              <a:gd name="connsiteX40086" fmla="*/ 1170616 w 6884782"/>
              <a:gd name="connsiteY40086" fmla="*/ 1984399 h 5973007"/>
              <a:gd name="connsiteX40087" fmla="*/ 1166796 w 6884782"/>
              <a:gd name="connsiteY40087" fmla="*/ 1986877 h 5973007"/>
              <a:gd name="connsiteX40088" fmla="*/ 1164524 w 6884782"/>
              <a:gd name="connsiteY40088" fmla="*/ 1986567 h 5973007"/>
              <a:gd name="connsiteX40089" fmla="*/ 1164111 w 6884782"/>
              <a:gd name="connsiteY40089" fmla="*/ 1985793 h 5973007"/>
              <a:gd name="connsiteX40090" fmla="*/ 1165247 w 6884782"/>
              <a:gd name="connsiteY40090" fmla="*/ 1984244 h 5973007"/>
              <a:gd name="connsiteX40091" fmla="*/ 1172991 w 6884782"/>
              <a:gd name="connsiteY40091" fmla="*/ 1979906 h 5973007"/>
              <a:gd name="connsiteX40092" fmla="*/ 1174540 w 6884782"/>
              <a:gd name="connsiteY40092" fmla="*/ 1978822 h 5973007"/>
              <a:gd name="connsiteX40093" fmla="*/ 6088652 w 6884782"/>
              <a:gd name="connsiteY40093" fmla="*/ 1978248 h 5973007"/>
              <a:gd name="connsiteX40094" fmla="*/ 6101457 w 6884782"/>
              <a:gd name="connsiteY40094" fmla="*/ 1986358 h 5973007"/>
              <a:gd name="connsiteX40095" fmla="*/ 6085237 w 6884782"/>
              <a:gd name="connsiteY40095" fmla="*/ 1978533 h 5973007"/>
              <a:gd name="connsiteX40096" fmla="*/ 6088652 w 6884782"/>
              <a:gd name="connsiteY40096" fmla="*/ 1978248 h 5973007"/>
              <a:gd name="connsiteX40097" fmla="*/ 4679228 w 6884782"/>
              <a:gd name="connsiteY40097" fmla="*/ 1977964 h 5973007"/>
              <a:gd name="connsiteX40098" fmla="*/ 4682429 w 6884782"/>
              <a:gd name="connsiteY40098" fmla="*/ 1978248 h 5973007"/>
              <a:gd name="connsiteX40099" fmla="*/ 4674959 w 6884782"/>
              <a:gd name="connsiteY40099" fmla="*/ 1983797 h 5973007"/>
              <a:gd name="connsiteX40100" fmla="*/ 4673039 w 6884782"/>
              <a:gd name="connsiteY40100" fmla="*/ 1983086 h 5973007"/>
              <a:gd name="connsiteX40101" fmla="*/ 4679228 w 6884782"/>
              <a:gd name="connsiteY40101" fmla="*/ 1977964 h 5973007"/>
              <a:gd name="connsiteX40102" fmla="*/ 1153579 w 6884782"/>
              <a:gd name="connsiteY40102" fmla="*/ 1977893 h 5973007"/>
              <a:gd name="connsiteX40103" fmla="*/ 1158122 w 6884782"/>
              <a:gd name="connsiteY40103" fmla="*/ 1981456 h 5973007"/>
              <a:gd name="connsiteX40104" fmla="*/ 1158432 w 6884782"/>
              <a:gd name="connsiteY40104" fmla="*/ 1980836 h 5973007"/>
              <a:gd name="connsiteX40105" fmla="*/ 1162356 w 6884782"/>
              <a:gd name="connsiteY40105" fmla="*/ 1984399 h 5973007"/>
              <a:gd name="connsiteX40106" fmla="*/ 1162562 w 6884782"/>
              <a:gd name="connsiteY40106" fmla="*/ 1988581 h 5973007"/>
              <a:gd name="connsiteX40107" fmla="*/ 1159774 w 6884782"/>
              <a:gd name="connsiteY40107" fmla="*/ 1988426 h 5973007"/>
              <a:gd name="connsiteX40108" fmla="*/ 1159671 w 6884782"/>
              <a:gd name="connsiteY40108" fmla="*/ 1988891 h 5973007"/>
              <a:gd name="connsiteX40109" fmla="*/ 1143460 w 6884782"/>
              <a:gd name="connsiteY40109" fmla="*/ 1989665 h 5973007"/>
              <a:gd name="connsiteX40110" fmla="*/ 1153579 w 6884782"/>
              <a:gd name="connsiteY40110" fmla="*/ 1977893 h 5973007"/>
              <a:gd name="connsiteX40111" fmla="*/ 4749443 w 6884782"/>
              <a:gd name="connsiteY40111" fmla="*/ 1977822 h 5973007"/>
              <a:gd name="connsiteX40112" fmla="*/ 4752858 w 6884782"/>
              <a:gd name="connsiteY40112" fmla="*/ 1981948 h 5973007"/>
              <a:gd name="connsiteX40113" fmla="*/ 4752431 w 6884782"/>
              <a:gd name="connsiteY40113" fmla="*/ 1985646 h 5973007"/>
              <a:gd name="connsiteX40114" fmla="*/ 4748803 w 6884782"/>
              <a:gd name="connsiteY40114" fmla="*/ 1984935 h 5973007"/>
              <a:gd name="connsiteX40115" fmla="*/ 4746242 w 6884782"/>
              <a:gd name="connsiteY40115" fmla="*/ 1982089 h 5973007"/>
              <a:gd name="connsiteX40116" fmla="*/ 4746455 w 6884782"/>
              <a:gd name="connsiteY40116" fmla="*/ 1980240 h 5973007"/>
              <a:gd name="connsiteX40117" fmla="*/ 4748163 w 6884782"/>
              <a:gd name="connsiteY40117" fmla="*/ 1977964 h 5973007"/>
              <a:gd name="connsiteX40118" fmla="*/ 4749443 w 6884782"/>
              <a:gd name="connsiteY40118" fmla="*/ 1977822 h 5973007"/>
              <a:gd name="connsiteX40119" fmla="*/ 1499590 w 6884782"/>
              <a:gd name="connsiteY40119" fmla="*/ 1976809 h 5973007"/>
              <a:gd name="connsiteX40120" fmla="*/ 1500829 w 6884782"/>
              <a:gd name="connsiteY40120" fmla="*/ 1977274 h 5973007"/>
              <a:gd name="connsiteX40121" fmla="*/ 1500003 w 6884782"/>
              <a:gd name="connsiteY40121" fmla="*/ 1978822 h 5973007"/>
              <a:gd name="connsiteX40122" fmla="*/ 1499590 w 6884782"/>
              <a:gd name="connsiteY40122" fmla="*/ 1976809 h 5973007"/>
              <a:gd name="connsiteX40123" fmla="*/ 5645806 w 6884782"/>
              <a:gd name="connsiteY40123" fmla="*/ 1976683 h 5973007"/>
              <a:gd name="connsiteX40124" fmla="*/ 5654343 w 6884782"/>
              <a:gd name="connsiteY40124" fmla="*/ 1986500 h 5973007"/>
              <a:gd name="connsiteX40125" fmla="*/ 5645806 w 6884782"/>
              <a:gd name="connsiteY40125" fmla="*/ 1976683 h 5973007"/>
              <a:gd name="connsiteX40126" fmla="*/ 5812487 w 6884782"/>
              <a:gd name="connsiteY40126" fmla="*/ 1976541 h 5973007"/>
              <a:gd name="connsiteX40127" fmla="*/ 5813554 w 6884782"/>
              <a:gd name="connsiteY40127" fmla="*/ 1978818 h 5973007"/>
              <a:gd name="connsiteX40128" fmla="*/ 5813127 w 6884782"/>
              <a:gd name="connsiteY40128" fmla="*/ 1982801 h 5973007"/>
              <a:gd name="connsiteX40129" fmla="*/ 5810566 w 6884782"/>
              <a:gd name="connsiteY40129" fmla="*/ 1985646 h 5973007"/>
              <a:gd name="connsiteX40130" fmla="*/ 5805017 w 6884782"/>
              <a:gd name="connsiteY40130" fmla="*/ 1981948 h 5973007"/>
              <a:gd name="connsiteX40131" fmla="*/ 5812487 w 6884782"/>
              <a:gd name="connsiteY40131" fmla="*/ 1976541 h 5973007"/>
              <a:gd name="connsiteX40132" fmla="*/ 4783590 w 6884782"/>
              <a:gd name="connsiteY40132" fmla="*/ 1975687 h 5973007"/>
              <a:gd name="connsiteX40133" fmla="*/ 4789352 w 6884782"/>
              <a:gd name="connsiteY40133" fmla="*/ 1975687 h 5973007"/>
              <a:gd name="connsiteX40134" fmla="*/ 4789139 w 6884782"/>
              <a:gd name="connsiteY40134" fmla="*/ 1986358 h 5973007"/>
              <a:gd name="connsiteX40135" fmla="*/ 4778468 w 6884782"/>
              <a:gd name="connsiteY40135" fmla="*/ 1992333 h 5973007"/>
              <a:gd name="connsiteX40136" fmla="*/ 4775267 w 6884782"/>
              <a:gd name="connsiteY40136" fmla="*/ 1981094 h 5973007"/>
              <a:gd name="connsiteX40137" fmla="*/ 4776548 w 6884782"/>
              <a:gd name="connsiteY40137" fmla="*/ 1980098 h 5973007"/>
              <a:gd name="connsiteX40138" fmla="*/ 4783590 w 6884782"/>
              <a:gd name="connsiteY40138" fmla="*/ 1975687 h 5973007"/>
              <a:gd name="connsiteX40139" fmla="*/ 5921758 w 6884782"/>
              <a:gd name="connsiteY40139" fmla="*/ 1975404 h 5973007"/>
              <a:gd name="connsiteX40140" fmla="*/ 5927307 w 6884782"/>
              <a:gd name="connsiteY40140" fmla="*/ 1977822 h 5973007"/>
              <a:gd name="connsiteX40141" fmla="*/ 5918130 w 6884782"/>
              <a:gd name="connsiteY40141" fmla="*/ 1980952 h 5973007"/>
              <a:gd name="connsiteX40142" fmla="*/ 5921758 w 6884782"/>
              <a:gd name="connsiteY40142" fmla="*/ 1975404 h 5973007"/>
              <a:gd name="connsiteX40143" fmla="*/ 5779193 w 6884782"/>
              <a:gd name="connsiteY40143" fmla="*/ 1974977 h 5973007"/>
              <a:gd name="connsiteX40144" fmla="*/ 5781755 w 6884782"/>
              <a:gd name="connsiteY40144" fmla="*/ 1976826 h 5973007"/>
              <a:gd name="connsiteX40145" fmla="*/ 5777486 w 6884782"/>
              <a:gd name="connsiteY40145" fmla="*/ 1997455 h 5973007"/>
              <a:gd name="connsiteX40146" fmla="*/ 5777272 w 6884782"/>
              <a:gd name="connsiteY40146" fmla="*/ 2004426 h 5973007"/>
              <a:gd name="connsiteX40147" fmla="*/ 5777486 w 6884782"/>
              <a:gd name="connsiteY40147" fmla="*/ 2006560 h 5973007"/>
              <a:gd name="connsiteX40148" fmla="*/ 5777272 w 6884782"/>
              <a:gd name="connsiteY40148" fmla="*/ 2006703 h 5973007"/>
              <a:gd name="connsiteX40149" fmla="*/ 5777272 w 6884782"/>
              <a:gd name="connsiteY40149" fmla="*/ 2007129 h 5973007"/>
              <a:gd name="connsiteX40150" fmla="*/ 5772151 w 6884782"/>
              <a:gd name="connsiteY40150" fmla="*/ 2014812 h 5973007"/>
              <a:gd name="connsiteX40151" fmla="*/ 5770443 w 6884782"/>
              <a:gd name="connsiteY40151" fmla="*/ 2007556 h 5973007"/>
              <a:gd name="connsiteX40152" fmla="*/ 5768309 w 6884782"/>
              <a:gd name="connsiteY40152" fmla="*/ 2006987 h 5973007"/>
              <a:gd name="connsiteX40153" fmla="*/ 5763400 w 6884782"/>
              <a:gd name="connsiteY40153" fmla="*/ 1998024 h 5973007"/>
              <a:gd name="connsiteX40154" fmla="*/ 5767669 w 6884782"/>
              <a:gd name="connsiteY40154" fmla="*/ 1996317 h 5973007"/>
              <a:gd name="connsiteX40155" fmla="*/ 5767456 w 6884782"/>
              <a:gd name="connsiteY40155" fmla="*/ 1988492 h 5973007"/>
              <a:gd name="connsiteX40156" fmla="*/ 5770443 w 6884782"/>
              <a:gd name="connsiteY40156" fmla="*/ 1977395 h 5973007"/>
              <a:gd name="connsiteX40157" fmla="*/ 5779193 w 6884782"/>
              <a:gd name="connsiteY40157" fmla="*/ 1974977 h 5973007"/>
              <a:gd name="connsiteX40158" fmla="*/ 1102880 w 6884782"/>
              <a:gd name="connsiteY40158" fmla="*/ 1974950 h 5973007"/>
              <a:gd name="connsiteX40159" fmla="*/ 1104222 w 6884782"/>
              <a:gd name="connsiteY40159" fmla="*/ 1976964 h 5973007"/>
              <a:gd name="connsiteX40160" fmla="*/ 1102983 w 6884782"/>
              <a:gd name="connsiteY40160" fmla="*/ 1979597 h 5973007"/>
              <a:gd name="connsiteX40161" fmla="*/ 1105461 w 6884782"/>
              <a:gd name="connsiteY40161" fmla="*/ 1979906 h 5973007"/>
              <a:gd name="connsiteX40162" fmla="*/ 1116613 w 6884782"/>
              <a:gd name="connsiteY40162" fmla="*/ 2010266 h 5973007"/>
              <a:gd name="connsiteX40163" fmla="*/ 1111657 w 6884782"/>
              <a:gd name="connsiteY40163" fmla="*/ 2014449 h 5973007"/>
              <a:gd name="connsiteX40164" fmla="*/ 1112999 w 6884782"/>
              <a:gd name="connsiteY40164" fmla="*/ 2015997 h 5973007"/>
              <a:gd name="connsiteX40165" fmla="*/ 1113722 w 6884782"/>
              <a:gd name="connsiteY40165" fmla="*/ 2020180 h 5973007"/>
              <a:gd name="connsiteX40166" fmla="*/ 1105978 w 6884782"/>
              <a:gd name="connsiteY40166" fmla="*/ 2021264 h 5973007"/>
              <a:gd name="connsiteX40167" fmla="*/ 1103190 w 6884782"/>
              <a:gd name="connsiteY40167" fmla="*/ 2018166 h 5973007"/>
              <a:gd name="connsiteX40168" fmla="*/ 1100918 w 6884782"/>
              <a:gd name="connsiteY40168" fmla="*/ 2015223 h 5973007"/>
              <a:gd name="connsiteX40169" fmla="*/ 1095032 w 6884782"/>
              <a:gd name="connsiteY40169" fmla="*/ 2013674 h 5973007"/>
              <a:gd name="connsiteX40170" fmla="*/ 1075311 w 6884782"/>
              <a:gd name="connsiteY40170" fmla="*/ 1988891 h 5973007"/>
              <a:gd name="connsiteX40171" fmla="*/ 1097510 w 6884782"/>
              <a:gd name="connsiteY40171" fmla="*/ 1980216 h 5973007"/>
              <a:gd name="connsiteX40172" fmla="*/ 1099782 w 6884782"/>
              <a:gd name="connsiteY40172" fmla="*/ 1979752 h 5973007"/>
              <a:gd name="connsiteX40173" fmla="*/ 1101125 w 6884782"/>
              <a:gd name="connsiteY40173" fmla="*/ 1976034 h 5973007"/>
              <a:gd name="connsiteX40174" fmla="*/ 1102880 w 6884782"/>
              <a:gd name="connsiteY40174" fmla="*/ 1974950 h 5973007"/>
              <a:gd name="connsiteX40175" fmla="*/ 1276350 w 6884782"/>
              <a:gd name="connsiteY40175" fmla="*/ 1974021 h 5973007"/>
              <a:gd name="connsiteX40176" fmla="*/ 1278519 w 6884782"/>
              <a:gd name="connsiteY40176" fmla="*/ 1974175 h 5973007"/>
              <a:gd name="connsiteX40177" fmla="*/ 1278932 w 6884782"/>
              <a:gd name="connsiteY40177" fmla="*/ 1974950 h 5973007"/>
              <a:gd name="connsiteX40178" fmla="*/ 1280894 w 6884782"/>
              <a:gd name="connsiteY40178" fmla="*/ 1977893 h 5973007"/>
              <a:gd name="connsiteX40179" fmla="*/ 1278106 w 6884782"/>
              <a:gd name="connsiteY40179" fmla="*/ 1981301 h 5973007"/>
              <a:gd name="connsiteX40180" fmla="*/ 1273769 w 6884782"/>
              <a:gd name="connsiteY40180" fmla="*/ 1977583 h 5973007"/>
              <a:gd name="connsiteX40181" fmla="*/ 1276350 w 6884782"/>
              <a:gd name="connsiteY40181" fmla="*/ 1974021 h 5973007"/>
              <a:gd name="connsiteX40182" fmla="*/ 875200 w 6884782"/>
              <a:gd name="connsiteY40182" fmla="*/ 1973091 h 5973007"/>
              <a:gd name="connsiteX40183" fmla="*/ 880363 w 6884782"/>
              <a:gd name="connsiteY40183" fmla="*/ 1973711 h 5973007"/>
              <a:gd name="connsiteX40184" fmla="*/ 880260 w 6884782"/>
              <a:gd name="connsiteY40184" fmla="*/ 1981146 h 5973007"/>
              <a:gd name="connsiteX40185" fmla="*/ 874270 w 6884782"/>
              <a:gd name="connsiteY40185" fmla="*/ 1979597 h 5973007"/>
              <a:gd name="connsiteX40186" fmla="*/ 872928 w 6884782"/>
              <a:gd name="connsiteY40186" fmla="*/ 1977274 h 5973007"/>
              <a:gd name="connsiteX40187" fmla="*/ 873445 w 6884782"/>
              <a:gd name="connsiteY40187" fmla="*/ 1974640 h 5973007"/>
              <a:gd name="connsiteX40188" fmla="*/ 875200 w 6884782"/>
              <a:gd name="connsiteY40188" fmla="*/ 1973091 h 5973007"/>
              <a:gd name="connsiteX40189" fmla="*/ 5282139 w 6884782"/>
              <a:gd name="connsiteY40189" fmla="*/ 1972842 h 5973007"/>
              <a:gd name="connsiteX40190" fmla="*/ 5287047 w 6884782"/>
              <a:gd name="connsiteY40190" fmla="*/ 1973980 h 5973007"/>
              <a:gd name="connsiteX40191" fmla="*/ 5270828 w 6884782"/>
              <a:gd name="connsiteY40191" fmla="*/ 1988208 h 5973007"/>
              <a:gd name="connsiteX40192" fmla="*/ 5264638 w 6884782"/>
              <a:gd name="connsiteY40192" fmla="*/ 1984082 h 5973007"/>
              <a:gd name="connsiteX40193" fmla="*/ 5282139 w 6884782"/>
              <a:gd name="connsiteY40193" fmla="*/ 1972842 h 5973007"/>
              <a:gd name="connsiteX40194" fmla="*/ 6067097 w 6884782"/>
              <a:gd name="connsiteY40194" fmla="*/ 1972415 h 5973007"/>
              <a:gd name="connsiteX40195" fmla="*/ 6069231 w 6884782"/>
              <a:gd name="connsiteY40195" fmla="*/ 1977537 h 5973007"/>
              <a:gd name="connsiteX40196" fmla="*/ 6065389 w 6884782"/>
              <a:gd name="connsiteY40196" fmla="*/ 1978248 h 5973007"/>
              <a:gd name="connsiteX40197" fmla="*/ 6067097 w 6884782"/>
              <a:gd name="connsiteY40197" fmla="*/ 1972415 h 5973007"/>
              <a:gd name="connsiteX40198" fmla="*/ 6226308 w 6884782"/>
              <a:gd name="connsiteY40198" fmla="*/ 1971846 h 5973007"/>
              <a:gd name="connsiteX40199" fmla="*/ 6230363 w 6884782"/>
              <a:gd name="connsiteY40199" fmla="*/ 1977395 h 5973007"/>
              <a:gd name="connsiteX40200" fmla="*/ 6219052 w 6884782"/>
              <a:gd name="connsiteY40200" fmla="*/ 1987069 h 5973007"/>
              <a:gd name="connsiteX40201" fmla="*/ 6217558 w 6884782"/>
              <a:gd name="connsiteY40201" fmla="*/ 1978675 h 5973007"/>
              <a:gd name="connsiteX40202" fmla="*/ 6220119 w 6884782"/>
              <a:gd name="connsiteY40202" fmla="*/ 1975687 h 5973007"/>
              <a:gd name="connsiteX40203" fmla="*/ 6226735 w 6884782"/>
              <a:gd name="connsiteY40203" fmla="*/ 1972985 h 5973007"/>
              <a:gd name="connsiteX40204" fmla="*/ 6226308 w 6884782"/>
              <a:gd name="connsiteY40204" fmla="*/ 1971846 h 5973007"/>
              <a:gd name="connsiteX40205" fmla="*/ 5797548 w 6884782"/>
              <a:gd name="connsiteY40205" fmla="*/ 1971846 h 5973007"/>
              <a:gd name="connsiteX40206" fmla="*/ 5799041 w 6884782"/>
              <a:gd name="connsiteY40206" fmla="*/ 1972415 h 5973007"/>
              <a:gd name="connsiteX40207" fmla="*/ 5789011 w 6884782"/>
              <a:gd name="connsiteY40207" fmla="*/ 1975404 h 5973007"/>
              <a:gd name="connsiteX40208" fmla="*/ 5797548 w 6884782"/>
              <a:gd name="connsiteY40208" fmla="*/ 1971846 h 5973007"/>
              <a:gd name="connsiteX40209" fmla="*/ 961922 w 6884782"/>
              <a:gd name="connsiteY40209" fmla="*/ 1970323 h 5973007"/>
              <a:gd name="connsiteX40210" fmla="*/ 968234 w 6884782"/>
              <a:gd name="connsiteY40210" fmla="*/ 1976499 h 5973007"/>
              <a:gd name="connsiteX40211" fmla="*/ 965343 w 6884782"/>
              <a:gd name="connsiteY40211" fmla="*/ 1978513 h 5973007"/>
              <a:gd name="connsiteX40212" fmla="*/ 953675 w 6884782"/>
              <a:gd name="connsiteY40212" fmla="*/ 1970768 h 5973007"/>
              <a:gd name="connsiteX40213" fmla="*/ 961922 w 6884782"/>
              <a:gd name="connsiteY40213" fmla="*/ 1970323 h 5973007"/>
              <a:gd name="connsiteX40214" fmla="*/ 1115890 w 6884782"/>
              <a:gd name="connsiteY40214" fmla="*/ 1970303 h 5973007"/>
              <a:gd name="connsiteX40215" fmla="*/ 1117955 w 6884782"/>
              <a:gd name="connsiteY40215" fmla="*/ 1982695 h 5973007"/>
              <a:gd name="connsiteX40216" fmla="*/ 1111347 w 6884782"/>
              <a:gd name="connsiteY40216" fmla="*/ 1978048 h 5973007"/>
              <a:gd name="connsiteX40217" fmla="*/ 1115890 w 6884782"/>
              <a:gd name="connsiteY40217" fmla="*/ 1970303 h 5973007"/>
              <a:gd name="connsiteX40218" fmla="*/ 5123568 w 6884782"/>
              <a:gd name="connsiteY40218" fmla="*/ 1970282 h 5973007"/>
              <a:gd name="connsiteX40219" fmla="*/ 5130824 w 6884782"/>
              <a:gd name="connsiteY40219" fmla="*/ 1973980 h 5973007"/>
              <a:gd name="connsiteX40220" fmla="*/ 5134452 w 6884782"/>
              <a:gd name="connsiteY40220" fmla="*/ 1973127 h 5973007"/>
              <a:gd name="connsiteX40221" fmla="*/ 5139574 w 6884782"/>
              <a:gd name="connsiteY40221" fmla="*/ 1978106 h 5973007"/>
              <a:gd name="connsiteX40222" fmla="*/ 5134452 w 6884782"/>
              <a:gd name="connsiteY40222" fmla="*/ 1981236 h 5973007"/>
              <a:gd name="connsiteX40223" fmla="*/ 5128263 w 6884782"/>
              <a:gd name="connsiteY40223" fmla="*/ 1974265 h 5973007"/>
              <a:gd name="connsiteX40224" fmla="*/ 5123568 w 6884782"/>
              <a:gd name="connsiteY40224" fmla="*/ 1970282 h 5973007"/>
              <a:gd name="connsiteX40225" fmla="*/ 4966918 w 6884782"/>
              <a:gd name="connsiteY40225" fmla="*/ 1970282 h 5973007"/>
              <a:gd name="connsiteX40226" fmla="*/ 4973961 w 6884782"/>
              <a:gd name="connsiteY40226" fmla="*/ 1971420 h 5973007"/>
              <a:gd name="connsiteX40227" fmla="*/ 4966278 w 6884782"/>
              <a:gd name="connsiteY40227" fmla="*/ 1981094 h 5973007"/>
              <a:gd name="connsiteX40228" fmla="*/ 4966918 w 6884782"/>
              <a:gd name="connsiteY40228" fmla="*/ 1970282 h 5973007"/>
              <a:gd name="connsiteX40229" fmla="*/ 1062610 w 6884782"/>
              <a:gd name="connsiteY40229" fmla="*/ 1969993 h 5973007"/>
              <a:gd name="connsiteX40230" fmla="*/ 1054350 w 6884782"/>
              <a:gd name="connsiteY40230" fmla="*/ 1976344 h 5973007"/>
              <a:gd name="connsiteX40231" fmla="*/ 1054143 w 6884782"/>
              <a:gd name="connsiteY40231" fmla="*/ 1973866 h 5973007"/>
              <a:gd name="connsiteX40232" fmla="*/ 1062610 w 6884782"/>
              <a:gd name="connsiteY40232" fmla="*/ 1969993 h 5973007"/>
              <a:gd name="connsiteX40233" fmla="*/ 1229730 w 6884782"/>
              <a:gd name="connsiteY40233" fmla="*/ 1969161 h 5973007"/>
              <a:gd name="connsiteX40234" fmla="*/ 1241760 w 6884782"/>
              <a:gd name="connsiteY40234" fmla="*/ 1971387 h 5973007"/>
              <a:gd name="connsiteX40235" fmla="*/ 1225652 w 6884782"/>
              <a:gd name="connsiteY40235" fmla="*/ 1984553 h 5973007"/>
              <a:gd name="connsiteX40236" fmla="*/ 1221728 w 6884782"/>
              <a:gd name="connsiteY40236" fmla="*/ 1977274 h 5973007"/>
              <a:gd name="connsiteX40237" fmla="*/ 1229730 w 6884782"/>
              <a:gd name="connsiteY40237" fmla="*/ 1969161 h 5973007"/>
              <a:gd name="connsiteX40238" fmla="*/ 4699503 w 6884782"/>
              <a:gd name="connsiteY40238" fmla="*/ 1969001 h 5973007"/>
              <a:gd name="connsiteX40239" fmla="*/ 4699716 w 6884782"/>
              <a:gd name="connsiteY40239" fmla="*/ 1970993 h 5973007"/>
              <a:gd name="connsiteX40240" fmla="*/ 4698009 w 6884782"/>
              <a:gd name="connsiteY40240" fmla="*/ 1972415 h 5973007"/>
              <a:gd name="connsiteX40241" fmla="*/ 4694381 w 6884782"/>
              <a:gd name="connsiteY40241" fmla="*/ 1975545 h 5973007"/>
              <a:gd name="connsiteX40242" fmla="*/ 4699503 w 6884782"/>
              <a:gd name="connsiteY40242" fmla="*/ 1969001 h 5973007"/>
              <a:gd name="connsiteX40243" fmla="*/ 1082745 w 6884782"/>
              <a:gd name="connsiteY40243" fmla="*/ 1968754 h 5973007"/>
              <a:gd name="connsiteX40244" fmla="*/ 1084914 w 6884782"/>
              <a:gd name="connsiteY40244" fmla="*/ 1970148 h 5973007"/>
              <a:gd name="connsiteX40245" fmla="*/ 1084294 w 6884782"/>
              <a:gd name="connsiteY40245" fmla="*/ 1972627 h 5973007"/>
              <a:gd name="connsiteX40246" fmla="*/ 1084397 w 6884782"/>
              <a:gd name="connsiteY40246" fmla="*/ 1974485 h 5973007"/>
              <a:gd name="connsiteX40247" fmla="*/ 1082022 w 6884782"/>
              <a:gd name="connsiteY40247" fmla="*/ 1976034 h 5973007"/>
              <a:gd name="connsiteX40248" fmla="*/ 1081919 w 6884782"/>
              <a:gd name="connsiteY40248" fmla="*/ 1974175 h 5973007"/>
              <a:gd name="connsiteX40249" fmla="*/ 1082745 w 6884782"/>
              <a:gd name="connsiteY40249" fmla="*/ 1968754 h 5973007"/>
              <a:gd name="connsiteX40250" fmla="*/ 867456 w 6884782"/>
              <a:gd name="connsiteY40250" fmla="*/ 1967980 h 5973007"/>
              <a:gd name="connsiteX40251" fmla="*/ 862913 w 6884782"/>
              <a:gd name="connsiteY40251" fmla="*/ 1973556 h 5973007"/>
              <a:gd name="connsiteX40252" fmla="*/ 863635 w 6884782"/>
              <a:gd name="connsiteY40252" fmla="*/ 1969528 h 5973007"/>
              <a:gd name="connsiteX40253" fmla="*/ 867456 w 6884782"/>
              <a:gd name="connsiteY40253" fmla="*/ 1967980 h 5973007"/>
              <a:gd name="connsiteX40254" fmla="*/ 5616141 w 6884782"/>
              <a:gd name="connsiteY40254" fmla="*/ 1967863 h 5973007"/>
              <a:gd name="connsiteX40255" fmla="*/ 5637056 w 6884782"/>
              <a:gd name="connsiteY40255" fmla="*/ 1981094 h 5973007"/>
              <a:gd name="connsiteX40256" fmla="*/ 5628519 w 6884782"/>
              <a:gd name="connsiteY40256" fmla="*/ 1981948 h 5973007"/>
              <a:gd name="connsiteX40257" fmla="*/ 5620836 w 6884782"/>
              <a:gd name="connsiteY40257" fmla="*/ 1979387 h 5973007"/>
              <a:gd name="connsiteX40258" fmla="*/ 5621476 w 6884782"/>
              <a:gd name="connsiteY40258" fmla="*/ 1983513 h 5973007"/>
              <a:gd name="connsiteX40259" fmla="*/ 5619769 w 6884782"/>
              <a:gd name="connsiteY40259" fmla="*/ 1988208 h 5973007"/>
              <a:gd name="connsiteX40260" fmla="*/ 5618702 w 6884782"/>
              <a:gd name="connsiteY40260" fmla="*/ 1989345 h 5973007"/>
              <a:gd name="connsiteX40261" fmla="*/ 5619342 w 6884782"/>
              <a:gd name="connsiteY40261" fmla="*/ 1983654 h 5973007"/>
              <a:gd name="connsiteX40262" fmla="*/ 5620622 w 6884782"/>
              <a:gd name="connsiteY40262" fmla="*/ 1979244 h 5973007"/>
              <a:gd name="connsiteX40263" fmla="*/ 5620195 w 6884782"/>
              <a:gd name="connsiteY40263" fmla="*/ 1979102 h 5973007"/>
              <a:gd name="connsiteX40264" fmla="*/ 5607391 w 6884782"/>
              <a:gd name="connsiteY40264" fmla="*/ 1968858 h 5973007"/>
              <a:gd name="connsiteX40265" fmla="*/ 5616141 w 6884782"/>
              <a:gd name="connsiteY40265" fmla="*/ 1967863 h 5973007"/>
              <a:gd name="connsiteX40266" fmla="*/ 5104573 w 6884782"/>
              <a:gd name="connsiteY40266" fmla="*/ 1967863 h 5973007"/>
              <a:gd name="connsiteX40267" fmla="*/ 5106281 w 6884782"/>
              <a:gd name="connsiteY40267" fmla="*/ 1969712 h 5973007"/>
              <a:gd name="connsiteX40268" fmla="*/ 5106921 w 6884782"/>
              <a:gd name="connsiteY40268" fmla="*/ 1969855 h 5973007"/>
              <a:gd name="connsiteX40269" fmla="*/ 5108415 w 6884782"/>
              <a:gd name="connsiteY40269" fmla="*/ 1969143 h 5973007"/>
              <a:gd name="connsiteX40270" fmla="*/ 5113110 w 6884782"/>
              <a:gd name="connsiteY40270" fmla="*/ 1969428 h 5973007"/>
              <a:gd name="connsiteX40271" fmla="*/ 5119299 w 6884782"/>
              <a:gd name="connsiteY40271" fmla="*/ 1976683 h 5973007"/>
              <a:gd name="connsiteX40272" fmla="*/ 5120153 w 6884782"/>
              <a:gd name="connsiteY40272" fmla="*/ 1980382 h 5973007"/>
              <a:gd name="connsiteX40273" fmla="*/ 5118659 w 6884782"/>
              <a:gd name="connsiteY40273" fmla="*/ 1987354 h 5973007"/>
              <a:gd name="connsiteX40274" fmla="*/ 5117592 w 6884782"/>
              <a:gd name="connsiteY40274" fmla="*/ 1987923 h 5973007"/>
              <a:gd name="connsiteX40275" fmla="*/ 5117592 w 6884782"/>
              <a:gd name="connsiteY40275" fmla="*/ 1989203 h 5973007"/>
              <a:gd name="connsiteX40276" fmla="*/ 5110976 w 6884782"/>
              <a:gd name="connsiteY40276" fmla="*/ 1996744 h 5973007"/>
              <a:gd name="connsiteX40277" fmla="*/ 5109909 w 6884782"/>
              <a:gd name="connsiteY40277" fmla="*/ 1996317 h 5973007"/>
              <a:gd name="connsiteX40278" fmla="*/ 5109056 w 6884782"/>
              <a:gd name="connsiteY40278" fmla="*/ 2003714 h 5973007"/>
              <a:gd name="connsiteX40279" fmla="*/ 5107561 w 6884782"/>
              <a:gd name="connsiteY40279" fmla="*/ 2003856 h 5973007"/>
              <a:gd name="connsiteX40280" fmla="*/ 5109482 w 6884782"/>
              <a:gd name="connsiteY40280" fmla="*/ 2005849 h 5973007"/>
              <a:gd name="connsiteX40281" fmla="*/ 5103720 w 6884782"/>
              <a:gd name="connsiteY40281" fmla="*/ 2011539 h 5973007"/>
              <a:gd name="connsiteX40282" fmla="*/ 5099665 w 6884782"/>
              <a:gd name="connsiteY40282" fmla="*/ 2003430 h 5973007"/>
              <a:gd name="connsiteX40283" fmla="*/ 5100945 w 6884782"/>
              <a:gd name="connsiteY40283" fmla="*/ 2002861 h 5973007"/>
              <a:gd name="connsiteX40284" fmla="*/ 5099878 w 6884782"/>
              <a:gd name="connsiteY40284" fmla="*/ 2002434 h 5973007"/>
              <a:gd name="connsiteX40285" fmla="*/ 5093049 w 6884782"/>
              <a:gd name="connsiteY40285" fmla="*/ 1996744 h 5973007"/>
              <a:gd name="connsiteX40286" fmla="*/ 5091128 w 6884782"/>
              <a:gd name="connsiteY40286" fmla="*/ 1994894 h 5973007"/>
              <a:gd name="connsiteX40287" fmla="*/ 5090488 w 6884782"/>
              <a:gd name="connsiteY40287" fmla="*/ 1995890 h 5973007"/>
              <a:gd name="connsiteX40288" fmla="*/ 5090061 w 6884782"/>
              <a:gd name="connsiteY40288" fmla="*/ 1994182 h 5973007"/>
              <a:gd name="connsiteX40289" fmla="*/ 5089847 w 6884782"/>
              <a:gd name="connsiteY40289" fmla="*/ 1994040 h 5973007"/>
              <a:gd name="connsiteX40290" fmla="*/ 5088780 w 6884782"/>
              <a:gd name="connsiteY40290" fmla="*/ 1993472 h 5973007"/>
              <a:gd name="connsiteX40291" fmla="*/ 5086433 w 6884782"/>
              <a:gd name="connsiteY40291" fmla="*/ 1988777 h 5973007"/>
              <a:gd name="connsiteX40292" fmla="*/ 5087073 w 6884782"/>
              <a:gd name="connsiteY40292" fmla="*/ 1987923 h 5973007"/>
              <a:gd name="connsiteX40293" fmla="*/ 5084512 w 6884782"/>
              <a:gd name="connsiteY40293" fmla="*/ 1986784 h 5973007"/>
              <a:gd name="connsiteX40294" fmla="*/ 5083658 w 6884782"/>
              <a:gd name="connsiteY40294" fmla="*/ 1987781 h 5973007"/>
              <a:gd name="connsiteX40295" fmla="*/ 5053353 w 6884782"/>
              <a:gd name="connsiteY40295" fmla="*/ 1984651 h 5973007"/>
              <a:gd name="connsiteX40296" fmla="*/ 5064877 w 6884782"/>
              <a:gd name="connsiteY40296" fmla="*/ 1981948 h 5973007"/>
              <a:gd name="connsiteX40297" fmla="*/ 5063384 w 6884782"/>
              <a:gd name="connsiteY40297" fmla="*/ 1979671 h 5973007"/>
              <a:gd name="connsiteX40298" fmla="*/ 5068932 w 6884782"/>
              <a:gd name="connsiteY40298" fmla="*/ 1980667 h 5973007"/>
              <a:gd name="connsiteX40299" fmla="*/ 5069146 w 6884782"/>
              <a:gd name="connsiteY40299" fmla="*/ 1980952 h 5973007"/>
              <a:gd name="connsiteX40300" fmla="*/ 5071707 w 6884782"/>
              <a:gd name="connsiteY40300" fmla="*/ 1980240 h 5973007"/>
              <a:gd name="connsiteX40301" fmla="*/ 5072987 w 6884782"/>
              <a:gd name="connsiteY40301" fmla="*/ 1980240 h 5973007"/>
              <a:gd name="connsiteX40302" fmla="*/ 5072987 w 6884782"/>
              <a:gd name="connsiteY40302" fmla="*/ 1980098 h 5973007"/>
              <a:gd name="connsiteX40303" fmla="*/ 5070640 w 6884782"/>
              <a:gd name="connsiteY40303" fmla="*/ 1973553 h 5973007"/>
              <a:gd name="connsiteX40304" fmla="*/ 5088567 w 6884782"/>
              <a:gd name="connsiteY40304" fmla="*/ 1978960 h 5973007"/>
              <a:gd name="connsiteX40305" fmla="*/ 5096250 w 6884782"/>
              <a:gd name="connsiteY40305" fmla="*/ 1984082 h 5973007"/>
              <a:gd name="connsiteX40306" fmla="*/ 5096890 w 6884782"/>
              <a:gd name="connsiteY40306" fmla="*/ 1983086 h 5973007"/>
              <a:gd name="connsiteX40307" fmla="*/ 5097530 w 6884782"/>
              <a:gd name="connsiteY40307" fmla="*/ 1980098 h 5973007"/>
              <a:gd name="connsiteX40308" fmla="*/ 5096464 w 6884782"/>
              <a:gd name="connsiteY40308" fmla="*/ 1979956 h 5973007"/>
              <a:gd name="connsiteX40309" fmla="*/ 5093049 w 6884782"/>
              <a:gd name="connsiteY40309" fmla="*/ 1976399 h 5973007"/>
              <a:gd name="connsiteX40310" fmla="*/ 5094756 w 6884782"/>
              <a:gd name="connsiteY40310" fmla="*/ 1974407 h 5973007"/>
              <a:gd name="connsiteX40311" fmla="*/ 5097744 w 6884782"/>
              <a:gd name="connsiteY40311" fmla="*/ 1976114 h 5973007"/>
              <a:gd name="connsiteX40312" fmla="*/ 5098171 w 6884782"/>
              <a:gd name="connsiteY40312" fmla="*/ 1976399 h 5973007"/>
              <a:gd name="connsiteX40313" fmla="*/ 5098385 w 6884782"/>
              <a:gd name="connsiteY40313" fmla="*/ 1975261 h 5973007"/>
              <a:gd name="connsiteX40314" fmla="*/ 5104573 w 6884782"/>
              <a:gd name="connsiteY40314" fmla="*/ 1967863 h 5973007"/>
              <a:gd name="connsiteX40315" fmla="*/ 983671 w 6884782"/>
              <a:gd name="connsiteY40315" fmla="*/ 1966721 h 5973007"/>
              <a:gd name="connsiteX40316" fmla="*/ 993325 w 6884782"/>
              <a:gd name="connsiteY40316" fmla="*/ 1967050 h 5973007"/>
              <a:gd name="connsiteX40317" fmla="*/ 993015 w 6884782"/>
              <a:gd name="connsiteY40317" fmla="*/ 1975415 h 5973007"/>
              <a:gd name="connsiteX40318" fmla="*/ 988885 w 6884782"/>
              <a:gd name="connsiteY40318" fmla="*/ 1978668 h 5973007"/>
              <a:gd name="connsiteX40319" fmla="*/ 987130 w 6884782"/>
              <a:gd name="connsiteY40319" fmla="*/ 1978822 h 5973007"/>
              <a:gd name="connsiteX40320" fmla="*/ 987233 w 6884782"/>
              <a:gd name="connsiteY40320" fmla="*/ 1978822 h 5973007"/>
              <a:gd name="connsiteX40321" fmla="*/ 981554 w 6884782"/>
              <a:gd name="connsiteY40321" fmla="*/ 1987342 h 5973007"/>
              <a:gd name="connsiteX40322" fmla="*/ 975565 w 6884782"/>
              <a:gd name="connsiteY40322" fmla="*/ 1982540 h 5973007"/>
              <a:gd name="connsiteX40323" fmla="*/ 978250 w 6884782"/>
              <a:gd name="connsiteY40323" fmla="*/ 1977118 h 5973007"/>
              <a:gd name="connsiteX40324" fmla="*/ 975256 w 6884782"/>
              <a:gd name="connsiteY40324" fmla="*/ 1972317 h 5973007"/>
              <a:gd name="connsiteX40325" fmla="*/ 983671 w 6884782"/>
              <a:gd name="connsiteY40325" fmla="*/ 1966721 h 5973007"/>
              <a:gd name="connsiteX40326" fmla="*/ 5825506 w 6884782"/>
              <a:gd name="connsiteY40326" fmla="*/ 1966582 h 5973007"/>
              <a:gd name="connsiteX40327" fmla="*/ 5806938 w 6884782"/>
              <a:gd name="connsiteY40327" fmla="*/ 1970566 h 5973007"/>
              <a:gd name="connsiteX40328" fmla="*/ 5825506 w 6884782"/>
              <a:gd name="connsiteY40328" fmla="*/ 1966582 h 5973007"/>
              <a:gd name="connsiteX40329" fmla="*/ 1384976 w 6884782"/>
              <a:gd name="connsiteY40329" fmla="*/ 1965966 h 5973007"/>
              <a:gd name="connsiteX40330" fmla="*/ 1385389 w 6884782"/>
              <a:gd name="connsiteY40330" fmla="*/ 1966431 h 5973007"/>
              <a:gd name="connsiteX40331" fmla="*/ 1385286 w 6884782"/>
              <a:gd name="connsiteY40331" fmla="*/ 1966121 h 5973007"/>
              <a:gd name="connsiteX40332" fmla="*/ 5750168 w 6884782"/>
              <a:gd name="connsiteY40332" fmla="*/ 1965871 h 5973007"/>
              <a:gd name="connsiteX40333" fmla="*/ 5760413 w 6884782"/>
              <a:gd name="connsiteY40333" fmla="*/ 1975261 h 5973007"/>
              <a:gd name="connsiteX40334" fmla="*/ 5760413 w 6884782"/>
              <a:gd name="connsiteY40334" fmla="*/ 1977679 h 5973007"/>
              <a:gd name="connsiteX40335" fmla="*/ 5757638 w 6884782"/>
              <a:gd name="connsiteY40335" fmla="*/ 1979529 h 5973007"/>
              <a:gd name="connsiteX40336" fmla="*/ 5752942 w 6884782"/>
              <a:gd name="connsiteY40336" fmla="*/ 1976399 h 5973007"/>
              <a:gd name="connsiteX40337" fmla="*/ 5751876 w 6884782"/>
              <a:gd name="connsiteY40337" fmla="*/ 1969712 h 5973007"/>
              <a:gd name="connsiteX40338" fmla="*/ 5749528 w 6884782"/>
              <a:gd name="connsiteY40338" fmla="*/ 1966867 h 5973007"/>
              <a:gd name="connsiteX40339" fmla="*/ 5750168 w 6884782"/>
              <a:gd name="connsiteY40339" fmla="*/ 1965871 h 5973007"/>
              <a:gd name="connsiteX40340" fmla="*/ 1039377 w 6884782"/>
              <a:gd name="connsiteY40340" fmla="*/ 1965501 h 5973007"/>
              <a:gd name="connsiteX40341" fmla="*/ 1040203 w 6884782"/>
              <a:gd name="connsiteY40341" fmla="*/ 1966121 h 5973007"/>
              <a:gd name="connsiteX40342" fmla="*/ 1042578 w 6884782"/>
              <a:gd name="connsiteY40342" fmla="*/ 1966121 h 5973007"/>
              <a:gd name="connsiteX40343" fmla="*/ 1043921 w 6884782"/>
              <a:gd name="connsiteY40343" fmla="*/ 1969219 h 5973007"/>
              <a:gd name="connsiteX40344" fmla="*/ 1040410 w 6884782"/>
              <a:gd name="connsiteY40344" fmla="*/ 1973556 h 5973007"/>
              <a:gd name="connsiteX40345" fmla="*/ 1036589 w 6884782"/>
              <a:gd name="connsiteY40345" fmla="*/ 1973866 h 5973007"/>
              <a:gd name="connsiteX40346" fmla="*/ 1037725 w 6884782"/>
              <a:gd name="connsiteY40346" fmla="*/ 1975260 h 5973007"/>
              <a:gd name="connsiteX40347" fmla="*/ 1034215 w 6884782"/>
              <a:gd name="connsiteY40347" fmla="*/ 1979287 h 5973007"/>
              <a:gd name="connsiteX40348" fmla="*/ 1033079 w 6884782"/>
              <a:gd name="connsiteY40348" fmla="*/ 1975725 h 5973007"/>
              <a:gd name="connsiteX40349" fmla="*/ 1034628 w 6884782"/>
              <a:gd name="connsiteY40349" fmla="*/ 1974021 h 5973007"/>
              <a:gd name="connsiteX40350" fmla="*/ 1033905 w 6884782"/>
              <a:gd name="connsiteY40350" fmla="*/ 1974175 h 5973007"/>
              <a:gd name="connsiteX40351" fmla="*/ 1032356 w 6884782"/>
              <a:gd name="connsiteY40351" fmla="*/ 1969219 h 5973007"/>
              <a:gd name="connsiteX40352" fmla="*/ 1030084 w 6884782"/>
              <a:gd name="connsiteY40352" fmla="*/ 1967980 h 5973007"/>
              <a:gd name="connsiteX40353" fmla="*/ 1039377 w 6884782"/>
              <a:gd name="connsiteY40353" fmla="*/ 1965501 h 5973007"/>
              <a:gd name="connsiteX40354" fmla="*/ 1076240 w 6884782"/>
              <a:gd name="connsiteY40354" fmla="*/ 1965346 h 5973007"/>
              <a:gd name="connsiteX40355" fmla="*/ 1077479 w 6884782"/>
              <a:gd name="connsiteY40355" fmla="*/ 1970458 h 5973007"/>
              <a:gd name="connsiteX40356" fmla="*/ 1075827 w 6884782"/>
              <a:gd name="connsiteY40356" fmla="*/ 1972627 h 5973007"/>
              <a:gd name="connsiteX40357" fmla="*/ 1074381 w 6884782"/>
              <a:gd name="connsiteY40357" fmla="*/ 1970458 h 5973007"/>
              <a:gd name="connsiteX40358" fmla="*/ 1075311 w 6884782"/>
              <a:gd name="connsiteY40358" fmla="*/ 1968754 h 5973007"/>
              <a:gd name="connsiteX40359" fmla="*/ 1074691 w 6884782"/>
              <a:gd name="connsiteY40359" fmla="*/ 1966276 h 5973007"/>
              <a:gd name="connsiteX40360" fmla="*/ 1076240 w 6884782"/>
              <a:gd name="connsiteY40360" fmla="*/ 1965346 h 5973007"/>
              <a:gd name="connsiteX40361" fmla="*/ 5947582 w 6884782"/>
              <a:gd name="connsiteY40361" fmla="*/ 1965302 h 5973007"/>
              <a:gd name="connsiteX40362" fmla="*/ 5953984 w 6884782"/>
              <a:gd name="connsiteY40362" fmla="*/ 1969855 h 5973007"/>
              <a:gd name="connsiteX40363" fmla="*/ 5953344 w 6884782"/>
              <a:gd name="connsiteY40363" fmla="*/ 1973838 h 5973007"/>
              <a:gd name="connsiteX40364" fmla="*/ 5948435 w 6884782"/>
              <a:gd name="connsiteY40364" fmla="*/ 1977537 h 5973007"/>
              <a:gd name="connsiteX40365" fmla="*/ 5944594 w 6884782"/>
              <a:gd name="connsiteY40365" fmla="*/ 1967863 h 5973007"/>
              <a:gd name="connsiteX40366" fmla="*/ 5947582 w 6884782"/>
              <a:gd name="connsiteY40366" fmla="*/ 1965302 h 5973007"/>
              <a:gd name="connsiteX40367" fmla="*/ 5826573 w 6884782"/>
              <a:gd name="connsiteY40367" fmla="*/ 1965302 h 5973007"/>
              <a:gd name="connsiteX40368" fmla="*/ 5828280 w 6884782"/>
              <a:gd name="connsiteY40368" fmla="*/ 1966725 h 5973007"/>
              <a:gd name="connsiteX40369" fmla="*/ 5825719 w 6884782"/>
              <a:gd name="connsiteY40369" fmla="*/ 1966725 h 5973007"/>
              <a:gd name="connsiteX40370" fmla="*/ 5826573 w 6884782"/>
              <a:gd name="connsiteY40370" fmla="*/ 1965302 h 5973007"/>
              <a:gd name="connsiteX40371" fmla="*/ 5832122 w 6884782"/>
              <a:gd name="connsiteY40371" fmla="*/ 1965160 h 5973007"/>
              <a:gd name="connsiteX40372" fmla="*/ 5835536 w 6884782"/>
              <a:gd name="connsiteY40372" fmla="*/ 1965160 h 5973007"/>
              <a:gd name="connsiteX40373" fmla="*/ 5846421 w 6884782"/>
              <a:gd name="connsiteY40373" fmla="*/ 1970566 h 5973007"/>
              <a:gd name="connsiteX40374" fmla="*/ 5838737 w 6884782"/>
              <a:gd name="connsiteY40374" fmla="*/ 1979387 h 5973007"/>
              <a:gd name="connsiteX40375" fmla="*/ 5837244 w 6884782"/>
              <a:gd name="connsiteY40375" fmla="*/ 1978960 h 5973007"/>
              <a:gd name="connsiteX40376" fmla="*/ 5826359 w 6884782"/>
              <a:gd name="connsiteY40376" fmla="*/ 1970993 h 5973007"/>
              <a:gd name="connsiteX40377" fmla="*/ 5832122 w 6884782"/>
              <a:gd name="connsiteY40377" fmla="*/ 1965160 h 5973007"/>
              <a:gd name="connsiteX40378" fmla="*/ 1240107 w 6884782"/>
              <a:gd name="connsiteY40378" fmla="*/ 1964882 h 5973007"/>
              <a:gd name="connsiteX40379" fmla="*/ 1242173 w 6884782"/>
              <a:gd name="connsiteY40379" fmla="*/ 1965192 h 5973007"/>
              <a:gd name="connsiteX40380" fmla="*/ 1240314 w 6884782"/>
              <a:gd name="connsiteY40380" fmla="*/ 1965656 h 5973007"/>
              <a:gd name="connsiteX40381" fmla="*/ 1240107 w 6884782"/>
              <a:gd name="connsiteY40381" fmla="*/ 1964882 h 5973007"/>
              <a:gd name="connsiteX40382" fmla="*/ 6226308 w 6884782"/>
              <a:gd name="connsiteY40382" fmla="*/ 1964591 h 5973007"/>
              <a:gd name="connsiteX40383" fmla="*/ 6228442 w 6884782"/>
              <a:gd name="connsiteY40383" fmla="*/ 1965302 h 5973007"/>
              <a:gd name="connsiteX40384" fmla="*/ 6231643 w 6884782"/>
              <a:gd name="connsiteY40384" fmla="*/ 1967009 h 5973007"/>
              <a:gd name="connsiteX40385" fmla="*/ 6232070 w 6884782"/>
              <a:gd name="connsiteY40385" fmla="*/ 1969001 h 5973007"/>
              <a:gd name="connsiteX40386" fmla="*/ 6231430 w 6884782"/>
              <a:gd name="connsiteY40386" fmla="*/ 1971704 h 5973007"/>
              <a:gd name="connsiteX40387" fmla="*/ 6225668 w 6884782"/>
              <a:gd name="connsiteY40387" fmla="*/ 1969570 h 5973007"/>
              <a:gd name="connsiteX40388" fmla="*/ 6224814 w 6884782"/>
              <a:gd name="connsiteY40388" fmla="*/ 1965871 h 5973007"/>
              <a:gd name="connsiteX40389" fmla="*/ 6226308 w 6884782"/>
              <a:gd name="connsiteY40389" fmla="*/ 1964591 h 5973007"/>
              <a:gd name="connsiteX40390" fmla="*/ 1234635 w 6884782"/>
              <a:gd name="connsiteY40390" fmla="*/ 1964417 h 5973007"/>
              <a:gd name="connsiteX40391" fmla="*/ 1239798 w 6884782"/>
              <a:gd name="connsiteY40391" fmla="*/ 1965656 h 5973007"/>
              <a:gd name="connsiteX40392" fmla="*/ 1236390 w 6884782"/>
              <a:gd name="connsiteY40392" fmla="*/ 1966585 h 5973007"/>
              <a:gd name="connsiteX40393" fmla="*/ 1234635 w 6884782"/>
              <a:gd name="connsiteY40393" fmla="*/ 1964417 h 5973007"/>
              <a:gd name="connsiteX40394" fmla="*/ 1019449 w 6884782"/>
              <a:gd name="connsiteY40394" fmla="*/ 1964262 h 5973007"/>
              <a:gd name="connsiteX40395" fmla="*/ 1024922 w 6884782"/>
              <a:gd name="connsiteY40395" fmla="*/ 1972782 h 5973007"/>
              <a:gd name="connsiteX40396" fmla="*/ 1022340 w 6884782"/>
              <a:gd name="connsiteY40396" fmla="*/ 1972627 h 5973007"/>
              <a:gd name="connsiteX40397" fmla="*/ 1018416 w 6884782"/>
              <a:gd name="connsiteY40397" fmla="*/ 1966276 h 5973007"/>
              <a:gd name="connsiteX40398" fmla="*/ 1019449 w 6884782"/>
              <a:gd name="connsiteY40398" fmla="*/ 1964262 h 5973007"/>
              <a:gd name="connsiteX40399" fmla="*/ 1244238 w 6884782"/>
              <a:gd name="connsiteY40399" fmla="*/ 1963797 h 5973007"/>
              <a:gd name="connsiteX40400" fmla="*/ 1246303 w 6884782"/>
              <a:gd name="connsiteY40400" fmla="*/ 1964107 h 5973007"/>
              <a:gd name="connsiteX40401" fmla="*/ 1245683 w 6884782"/>
              <a:gd name="connsiteY40401" fmla="*/ 1965037 h 5973007"/>
              <a:gd name="connsiteX40402" fmla="*/ 1244238 w 6884782"/>
              <a:gd name="connsiteY40402" fmla="*/ 1963797 h 5973007"/>
              <a:gd name="connsiteX40403" fmla="*/ 5148965 w 6884782"/>
              <a:gd name="connsiteY40403" fmla="*/ 1963594 h 5973007"/>
              <a:gd name="connsiteX40404" fmla="*/ 5153233 w 6884782"/>
              <a:gd name="connsiteY40404" fmla="*/ 1966725 h 5973007"/>
              <a:gd name="connsiteX40405" fmla="*/ 5154727 w 6884782"/>
              <a:gd name="connsiteY40405" fmla="*/ 1971135 h 5973007"/>
              <a:gd name="connsiteX40406" fmla="*/ 5164544 w 6884782"/>
              <a:gd name="connsiteY40406" fmla="*/ 1974977 h 5973007"/>
              <a:gd name="connsiteX40407" fmla="*/ 5169026 w 6884782"/>
              <a:gd name="connsiteY40407" fmla="*/ 1986073 h 5973007"/>
              <a:gd name="connsiteX40408" fmla="*/ 5164331 w 6884782"/>
              <a:gd name="connsiteY40408" fmla="*/ 1987212 h 5973007"/>
              <a:gd name="connsiteX40409" fmla="*/ 5158996 w 6884782"/>
              <a:gd name="connsiteY40409" fmla="*/ 1978391 h 5973007"/>
              <a:gd name="connsiteX40410" fmla="*/ 5155154 w 6884782"/>
              <a:gd name="connsiteY40410" fmla="*/ 1972415 h 5973007"/>
              <a:gd name="connsiteX40411" fmla="*/ 5155368 w 6884782"/>
              <a:gd name="connsiteY40411" fmla="*/ 1973127 h 5973007"/>
              <a:gd name="connsiteX40412" fmla="*/ 5142562 w 6884782"/>
              <a:gd name="connsiteY40412" fmla="*/ 1978533 h 5973007"/>
              <a:gd name="connsiteX40413" fmla="*/ 5148965 w 6884782"/>
              <a:gd name="connsiteY40413" fmla="*/ 1963594 h 5973007"/>
              <a:gd name="connsiteX40414" fmla="*/ 5831694 w 6884782"/>
              <a:gd name="connsiteY40414" fmla="*/ 1963452 h 5973007"/>
              <a:gd name="connsiteX40415" fmla="*/ 5833615 w 6884782"/>
              <a:gd name="connsiteY40415" fmla="*/ 1963452 h 5973007"/>
              <a:gd name="connsiteX40416" fmla="*/ 5833829 w 6884782"/>
              <a:gd name="connsiteY40416" fmla="*/ 1964448 h 5973007"/>
              <a:gd name="connsiteX40417" fmla="*/ 5831268 w 6884782"/>
              <a:gd name="connsiteY40417" fmla="*/ 1964448 h 5973007"/>
              <a:gd name="connsiteX40418" fmla="*/ 5831694 w 6884782"/>
              <a:gd name="connsiteY40418" fmla="*/ 1963452 h 5973007"/>
              <a:gd name="connsiteX40419" fmla="*/ 4835238 w 6884782"/>
              <a:gd name="connsiteY40419" fmla="*/ 1963310 h 5973007"/>
              <a:gd name="connsiteX40420" fmla="*/ 4845909 w 6884782"/>
              <a:gd name="connsiteY40420" fmla="*/ 1963452 h 5973007"/>
              <a:gd name="connsiteX40421" fmla="*/ 4849323 w 6884782"/>
              <a:gd name="connsiteY40421" fmla="*/ 1974834 h 5973007"/>
              <a:gd name="connsiteX40422" fmla="*/ 4816670 w 6884782"/>
              <a:gd name="connsiteY40422" fmla="*/ 1977537 h 5973007"/>
              <a:gd name="connsiteX40423" fmla="*/ 4812615 w 6884782"/>
              <a:gd name="connsiteY40423" fmla="*/ 1974977 h 5973007"/>
              <a:gd name="connsiteX40424" fmla="*/ 4810694 w 6884782"/>
              <a:gd name="connsiteY40424" fmla="*/ 1977110 h 5973007"/>
              <a:gd name="connsiteX40425" fmla="*/ 4808133 w 6884782"/>
              <a:gd name="connsiteY40425" fmla="*/ 1981094 h 5973007"/>
              <a:gd name="connsiteX40426" fmla="*/ 4804719 w 6884782"/>
              <a:gd name="connsiteY40426" fmla="*/ 1981805 h 5973007"/>
              <a:gd name="connsiteX40427" fmla="*/ 4806853 w 6884782"/>
              <a:gd name="connsiteY40427" fmla="*/ 1971277 h 5973007"/>
              <a:gd name="connsiteX40428" fmla="*/ 4814109 w 6884782"/>
              <a:gd name="connsiteY40428" fmla="*/ 1966298 h 5973007"/>
              <a:gd name="connsiteX40429" fmla="*/ 4815603 w 6884782"/>
              <a:gd name="connsiteY40429" fmla="*/ 1968290 h 5973007"/>
              <a:gd name="connsiteX40430" fmla="*/ 4815603 w 6884782"/>
              <a:gd name="connsiteY40430" fmla="*/ 1971846 h 5973007"/>
              <a:gd name="connsiteX40431" fmla="*/ 4812829 w 6884782"/>
              <a:gd name="connsiteY40431" fmla="*/ 1974692 h 5973007"/>
              <a:gd name="connsiteX40432" fmla="*/ 4826701 w 6884782"/>
              <a:gd name="connsiteY40432" fmla="*/ 1966013 h 5973007"/>
              <a:gd name="connsiteX40433" fmla="*/ 4835238 w 6884782"/>
              <a:gd name="connsiteY40433" fmla="*/ 1963310 h 5973007"/>
              <a:gd name="connsiteX40434" fmla="*/ 1260346 w 6884782"/>
              <a:gd name="connsiteY40434" fmla="*/ 1963178 h 5973007"/>
              <a:gd name="connsiteX40435" fmla="*/ 1246303 w 6884782"/>
              <a:gd name="connsiteY40435" fmla="*/ 1964262 h 5973007"/>
              <a:gd name="connsiteX40436" fmla="*/ 1260346 w 6884782"/>
              <a:gd name="connsiteY40436" fmla="*/ 1963178 h 5973007"/>
              <a:gd name="connsiteX40437" fmla="*/ 4943228 w 6884782"/>
              <a:gd name="connsiteY40437" fmla="*/ 1963168 h 5973007"/>
              <a:gd name="connsiteX40438" fmla="*/ 4945576 w 6884782"/>
              <a:gd name="connsiteY40438" fmla="*/ 1964876 h 5973007"/>
              <a:gd name="connsiteX40439" fmla="*/ 4944722 w 6884782"/>
              <a:gd name="connsiteY40439" fmla="*/ 1968717 h 5973007"/>
              <a:gd name="connsiteX40440" fmla="*/ 4938960 w 6884782"/>
              <a:gd name="connsiteY40440" fmla="*/ 1973696 h 5973007"/>
              <a:gd name="connsiteX40441" fmla="*/ 4931703 w 6884782"/>
              <a:gd name="connsiteY40441" fmla="*/ 1975830 h 5973007"/>
              <a:gd name="connsiteX40442" fmla="*/ 4933411 w 6884782"/>
              <a:gd name="connsiteY40442" fmla="*/ 1968005 h 5973007"/>
              <a:gd name="connsiteX40443" fmla="*/ 4943228 w 6884782"/>
              <a:gd name="connsiteY40443" fmla="*/ 1963168 h 5973007"/>
              <a:gd name="connsiteX40444" fmla="*/ 6033376 w 6884782"/>
              <a:gd name="connsiteY40444" fmla="*/ 1962884 h 5973007"/>
              <a:gd name="connsiteX40445" fmla="*/ 6041486 w 6884782"/>
              <a:gd name="connsiteY40445" fmla="*/ 1968574 h 5973007"/>
              <a:gd name="connsiteX40446" fmla="*/ 6039993 w 6884782"/>
              <a:gd name="connsiteY40446" fmla="*/ 1979813 h 5973007"/>
              <a:gd name="connsiteX40447" fmla="*/ 6024413 w 6884782"/>
              <a:gd name="connsiteY40447" fmla="*/ 1975972 h 5973007"/>
              <a:gd name="connsiteX40448" fmla="*/ 6033376 w 6884782"/>
              <a:gd name="connsiteY40448" fmla="*/ 1962884 h 5973007"/>
              <a:gd name="connsiteX40449" fmla="*/ 3617891 w 6884782"/>
              <a:gd name="connsiteY40449" fmla="*/ 1962172 h 5973007"/>
              <a:gd name="connsiteX40450" fmla="*/ 3621093 w 6884782"/>
              <a:gd name="connsiteY40450" fmla="*/ 1963879 h 5973007"/>
              <a:gd name="connsiteX40451" fmla="*/ 3615117 w 6884782"/>
              <a:gd name="connsiteY40451" fmla="*/ 1977110 h 5973007"/>
              <a:gd name="connsiteX40452" fmla="*/ 3607220 w 6884782"/>
              <a:gd name="connsiteY40452" fmla="*/ 1967436 h 5973007"/>
              <a:gd name="connsiteX40453" fmla="*/ 3617891 w 6884782"/>
              <a:gd name="connsiteY40453" fmla="*/ 1962172 h 5973007"/>
              <a:gd name="connsiteX40454" fmla="*/ 1273666 w 6884782"/>
              <a:gd name="connsiteY40454" fmla="*/ 1961474 h 5973007"/>
              <a:gd name="connsiteX40455" fmla="*/ 1267367 w 6884782"/>
              <a:gd name="connsiteY40455" fmla="*/ 1963178 h 5973007"/>
              <a:gd name="connsiteX40456" fmla="*/ 1266231 w 6884782"/>
              <a:gd name="connsiteY40456" fmla="*/ 1962558 h 5973007"/>
              <a:gd name="connsiteX40457" fmla="*/ 1273666 w 6884782"/>
              <a:gd name="connsiteY40457" fmla="*/ 1961474 h 5973007"/>
              <a:gd name="connsiteX40458" fmla="*/ 5311591 w 6884782"/>
              <a:gd name="connsiteY40458" fmla="*/ 1961034 h 5973007"/>
              <a:gd name="connsiteX40459" fmla="*/ 5318420 w 6884782"/>
              <a:gd name="connsiteY40459" fmla="*/ 1963310 h 5973007"/>
              <a:gd name="connsiteX40460" fmla="*/ 5320341 w 6884782"/>
              <a:gd name="connsiteY40460" fmla="*/ 1967294 h 5973007"/>
              <a:gd name="connsiteX40461" fmla="*/ 5317993 w 6884782"/>
              <a:gd name="connsiteY40461" fmla="*/ 1970566 h 5973007"/>
              <a:gd name="connsiteX40462" fmla="*/ 5313298 w 6884782"/>
              <a:gd name="connsiteY40462" fmla="*/ 1970993 h 5973007"/>
              <a:gd name="connsiteX40463" fmla="*/ 5311591 w 6884782"/>
              <a:gd name="connsiteY40463" fmla="*/ 1961034 h 5973007"/>
              <a:gd name="connsiteX40464" fmla="*/ 1216668 w 6884782"/>
              <a:gd name="connsiteY40464" fmla="*/ 1960545 h 5973007"/>
              <a:gd name="connsiteX40465" fmla="*/ 1220179 w 6884782"/>
              <a:gd name="connsiteY40465" fmla="*/ 1960854 h 5973007"/>
              <a:gd name="connsiteX40466" fmla="*/ 1221005 w 6884782"/>
              <a:gd name="connsiteY40466" fmla="*/ 1963488 h 5973007"/>
              <a:gd name="connsiteX40467" fmla="*/ 1216668 w 6884782"/>
              <a:gd name="connsiteY40467" fmla="*/ 1960545 h 5973007"/>
              <a:gd name="connsiteX40468" fmla="*/ 5075126 w 6884782"/>
              <a:gd name="connsiteY40468" fmla="*/ 1960325 h 5973007"/>
              <a:gd name="connsiteX40469" fmla="*/ 5077256 w 6884782"/>
              <a:gd name="connsiteY40469" fmla="*/ 1961603 h 5973007"/>
              <a:gd name="connsiteX40470" fmla="*/ 5077896 w 6884782"/>
              <a:gd name="connsiteY40470" fmla="*/ 1960607 h 5973007"/>
              <a:gd name="connsiteX40471" fmla="*/ 5079390 w 6884782"/>
              <a:gd name="connsiteY40471" fmla="*/ 1962741 h 5973007"/>
              <a:gd name="connsiteX40472" fmla="*/ 5079176 w 6884782"/>
              <a:gd name="connsiteY40472" fmla="*/ 1971988 h 5973007"/>
              <a:gd name="connsiteX40473" fmla="*/ 5073841 w 6884782"/>
              <a:gd name="connsiteY40473" fmla="*/ 1969001 h 5973007"/>
              <a:gd name="connsiteX40474" fmla="*/ 5072774 w 6884782"/>
              <a:gd name="connsiteY40474" fmla="*/ 1964022 h 5973007"/>
              <a:gd name="connsiteX40475" fmla="*/ 1214706 w 6884782"/>
              <a:gd name="connsiteY40475" fmla="*/ 1959770 h 5973007"/>
              <a:gd name="connsiteX40476" fmla="*/ 1216049 w 6884782"/>
              <a:gd name="connsiteY40476" fmla="*/ 1960390 h 5973007"/>
              <a:gd name="connsiteX40477" fmla="*/ 1216049 w 6884782"/>
              <a:gd name="connsiteY40477" fmla="*/ 1961164 h 5973007"/>
              <a:gd name="connsiteX40478" fmla="*/ 1214087 w 6884782"/>
              <a:gd name="connsiteY40478" fmla="*/ 1960235 h 5973007"/>
              <a:gd name="connsiteX40479" fmla="*/ 1214706 w 6884782"/>
              <a:gd name="connsiteY40479" fmla="*/ 1959770 h 5973007"/>
              <a:gd name="connsiteX40480" fmla="*/ 892547 w 6884782"/>
              <a:gd name="connsiteY40480" fmla="*/ 1959770 h 5973007"/>
              <a:gd name="connsiteX40481" fmla="*/ 894096 w 6884782"/>
              <a:gd name="connsiteY40481" fmla="*/ 1960700 h 5973007"/>
              <a:gd name="connsiteX40482" fmla="*/ 891618 w 6884782"/>
              <a:gd name="connsiteY40482" fmla="*/ 1963178 h 5973007"/>
              <a:gd name="connsiteX40483" fmla="*/ 890792 w 6884782"/>
              <a:gd name="connsiteY40483" fmla="*/ 1961784 h 5973007"/>
              <a:gd name="connsiteX40484" fmla="*/ 890069 w 6884782"/>
              <a:gd name="connsiteY40484" fmla="*/ 1962404 h 5973007"/>
              <a:gd name="connsiteX40485" fmla="*/ 889965 w 6884782"/>
              <a:gd name="connsiteY40485" fmla="*/ 1960700 h 5973007"/>
              <a:gd name="connsiteX40486" fmla="*/ 890688 w 6884782"/>
              <a:gd name="connsiteY40486" fmla="*/ 1960080 h 5973007"/>
              <a:gd name="connsiteX40487" fmla="*/ 890792 w 6884782"/>
              <a:gd name="connsiteY40487" fmla="*/ 1959926 h 5973007"/>
              <a:gd name="connsiteX40488" fmla="*/ 892547 w 6884782"/>
              <a:gd name="connsiteY40488" fmla="*/ 1959770 h 5973007"/>
              <a:gd name="connsiteX40489" fmla="*/ 5075762 w 6884782"/>
              <a:gd name="connsiteY40489" fmla="*/ 1959327 h 5973007"/>
              <a:gd name="connsiteX40490" fmla="*/ 5075126 w 6884782"/>
              <a:gd name="connsiteY40490" fmla="*/ 1960325 h 5973007"/>
              <a:gd name="connsiteX40491" fmla="*/ 5075122 w 6884782"/>
              <a:gd name="connsiteY40491" fmla="*/ 1960322 h 5973007"/>
              <a:gd name="connsiteX40492" fmla="*/ 5075762 w 6884782"/>
              <a:gd name="connsiteY40492" fmla="*/ 1959327 h 5973007"/>
              <a:gd name="connsiteX40493" fmla="*/ 1298654 w 6884782"/>
              <a:gd name="connsiteY40493" fmla="*/ 1959150 h 5973007"/>
              <a:gd name="connsiteX40494" fmla="*/ 1298654 w 6884782"/>
              <a:gd name="connsiteY40494" fmla="*/ 1960854 h 5973007"/>
              <a:gd name="connsiteX40495" fmla="*/ 1297931 w 6884782"/>
              <a:gd name="connsiteY40495" fmla="*/ 1963023 h 5973007"/>
              <a:gd name="connsiteX40496" fmla="*/ 1298654 w 6884782"/>
              <a:gd name="connsiteY40496" fmla="*/ 1964572 h 5973007"/>
              <a:gd name="connsiteX40497" fmla="*/ 1294833 w 6884782"/>
              <a:gd name="connsiteY40497" fmla="*/ 1969838 h 5973007"/>
              <a:gd name="connsiteX40498" fmla="*/ 1295659 w 6884782"/>
              <a:gd name="connsiteY40498" fmla="*/ 1965811 h 5973007"/>
              <a:gd name="connsiteX40499" fmla="*/ 1296382 w 6884782"/>
              <a:gd name="connsiteY40499" fmla="*/ 1963642 h 5973007"/>
              <a:gd name="connsiteX40500" fmla="*/ 1296382 w 6884782"/>
              <a:gd name="connsiteY40500" fmla="*/ 1961784 h 5973007"/>
              <a:gd name="connsiteX40501" fmla="*/ 1298654 w 6884782"/>
              <a:gd name="connsiteY40501" fmla="*/ 1959150 h 5973007"/>
              <a:gd name="connsiteX40502" fmla="*/ 5645166 w 6884782"/>
              <a:gd name="connsiteY40502" fmla="*/ 1958900 h 5973007"/>
              <a:gd name="connsiteX40503" fmla="*/ 5648367 w 6884782"/>
              <a:gd name="connsiteY40503" fmla="*/ 1960181 h 5973007"/>
              <a:gd name="connsiteX40504" fmla="*/ 5647300 w 6884782"/>
              <a:gd name="connsiteY40504" fmla="*/ 1965017 h 5973007"/>
              <a:gd name="connsiteX40505" fmla="*/ 5643672 w 6884782"/>
              <a:gd name="connsiteY40505" fmla="*/ 1965729 h 5973007"/>
              <a:gd name="connsiteX40506" fmla="*/ 5643672 w 6884782"/>
              <a:gd name="connsiteY40506" fmla="*/ 1964591 h 5973007"/>
              <a:gd name="connsiteX40507" fmla="*/ 5642605 w 6884782"/>
              <a:gd name="connsiteY40507" fmla="*/ 1959469 h 5973007"/>
              <a:gd name="connsiteX40508" fmla="*/ 5645166 w 6884782"/>
              <a:gd name="connsiteY40508" fmla="*/ 1958900 h 5973007"/>
              <a:gd name="connsiteX40509" fmla="*/ 1210576 w 6884782"/>
              <a:gd name="connsiteY40509" fmla="*/ 1957912 h 5973007"/>
              <a:gd name="connsiteX40510" fmla="*/ 1212435 w 6884782"/>
              <a:gd name="connsiteY40510" fmla="*/ 1960080 h 5973007"/>
              <a:gd name="connsiteX40511" fmla="*/ 1212744 w 6884782"/>
              <a:gd name="connsiteY40511" fmla="*/ 1961319 h 5973007"/>
              <a:gd name="connsiteX40512" fmla="*/ 1213570 w 6884782"/>
              <a:gd name="connsiteY40512" fmla="*/ 1961784 h 5973007"/>
              <a:gd name="connsiteX40513" fmla="*/ 1213054 w 6884782"/>
              <a:gd name="connsiteY40513" fmla="*/ 1962404 h 5973007"/>
              <a:gd name="connsiteX40514" fmla="*/ 1213777 w 6884782"/>
              <a:gd name="connsiteY40514" fmla="*/ 1964727 h 5973007"/>
              <a:gd name="connsiteX40515" fmla="*/ 1217081 w 6884782"/>
              <a:gd name="connsiteY40515" fmla="*/ 1969683 h 5973007"/>
              <a:gd name="connsiteX40516" fmla="*/ 1217391 w 6884782"/>
              <a:gd name="connsiteY40516" fmla="*/ 1975725 h 5973007"/>
              <a:gd name="connsiteX40517" fmla="*/ 1215016 w 6884782"/>
              <a:gd name="connsiteY40517" fmla="*/ 1976189 h 5973007"/>
              <a:gd name="connsiteX40518" fmla="*/ 1215636 w 6884782"/>
              <a:gd name="connsiteY40518" fmla="*/ 1978513 h 5973007"/>
              <a:gd name="connsiteX40519" fmla="*/ 1209337 w 6884782"/>
              <a:gd name="connsiteY40519" fmla="*/ 1986877 h 5973007"/>
              <a:gd name="connsiteX40520" fmla="*/ 1204174 w 6884782"/>
              <a:gd name="connsiteY40520" fmla="*/ 1986412 h 5973007"/>
              <a:gd name="connsiteX40521" fmla="*/ 1201386 w 6884782"/>
              <a:gd name="connsiteY40521" fmla="*/ 1984244 h 5973007"/>
              <a:gd name="connsiteX40522" fmla="*/ 1201283 w 6884782"/>
              <a:gd name="connsiteY40522" fmla="*/ 1984244 h 5973007"/>
              <a:gd name="connsiteX40523" fmla="*/ 1195604 w 6884782"/>
              <a:gd name="connsiteY40523" fmla="*/ 1984553 h 5973007"/>
              <a:gd name="connsiteX40524" fmla="*/ 1189202 w 6884782"/>
              <a:gd name="connsiteY40524" fmla="*/ 1982075 h 5973007"/>
              <a:gd name="connsiteX40525" fmla="*/ 1188273 w 6884782"/>
              <a:gd name="connsiteY40525" fmla="*/ 1979906 h 5973007"/>
              <a:gd name="connsiteX40526" fmla="*/ 1185898 w 6884782"/>
              <a:gd name="connsiteY40526" fmla="*/ 1981765 h 5973007"/>
              <a:gd name="connsiteX40527" fmla="*/ 1182387 w 6884782"/>
              <a:gd name="connsiteY40527" fmla="*/ 1982075 h 5973007"/>
              <a:gd name="connsiteX40528" fmla="*/ 1185072 w 6884782"/>
              <a:gd name="connsiteY40528" fmla="*/ 1979132 h 5973007"/>
              <a:gd name="connsiteX40529" fmla="*/ 1186621 w 6884782"/>
              <a:gd name="connsiteY40529" fmla="*/ 1978048 h 5973007"/>
              <a:gd name="connsiteX40530" fmla="*/ 1187860 w 6884782"/>
              <a:gd name="connsiteY40530" fmla="*/ 1978822 h 5973007"/>
              <a:gd name="connsiteX40531" fmla="*/ 1187757 w 6884782"/>
              <a:gd name="connsiteY40531" fmla="*/ 1978513 h 5973007"/>
              <a:gd name="connsiteX40532" fmla="*/ 1187963 w 6884782"/>
              <a:gd name="connsiteY40532" fmla="*/ 1974175 h 5973007"/>
              <a:gd name="connsiteX40533" fmla="*/ 1187860 w 6884782"/>
              <a:gd name="connsiteY40533" fmla="*/ 1974175 h 5973007"/>
              <a:gd name="connsiteX40534" fmla="*/ 1187653 w 6884782"/>
              <a:gd name="connsiteY40534" fmla="*/ 1972936 h 5973007"/>
              <a:gd name="connsiteX40535" fmla="*/ 1187963 w 6884782"/>
              <a:gd name="connsiteY40535" fmla="*/ 1972936 h 5973007"/>
              <a:gd name="connsiteX40536" fmla="*/ 1188066 w 6884782"/>
              <a:gd name="connsiteY40536" fmla="*/ 1973091 h 5973007"/>
              <a:gd name="connsiteX40537" fmla="*/ 1189408 w 6884782"/>
              <a:gd name="connsiteY40537" fmla="*/ 1973401 h 5973007"/>
              <a:gd name="connsiteX40538" fmla="*/ 1189822 w 6884782"/>
              <a:gd name="connsiteY40538" fmla="*/ 1973866 h 5973007"/>
              <a:gd name="connsiteX40539" fmla="*/ 1191887 w 6884782"/>
              <a:gd name="connsiteY40539" fmla="*/ 1974640 h 5973007"/>
              <a:gd name="connsiteX40540" fmla="*/ 1192919 w 6884782"/>
              <a:gd name="connsiteY40540" fmla="*/ 1974640 h 5973007"/>
              <a:gd name="connsiteX40541" fmla="*/ 1195707 w 6884782"/>
              <a:gd name="connsiteY40541" fmla="*/ 1976189 h 5973007"/>
              <a:gd name="connsiteX40542" fmla="*/ 1200044 w 6884782"/>
              <a:gd name="connsiteY40542" fmla="*/ 1977118 h 5973007"/>
              <a:gd name="connsiteX40543" fmla="*/ 1200044 w 6884782"/>
              <a:gd name="connsiteY40543" fmla="*/ 1975570 h 5973007"/>
              <a:gd name="connsiteX40544" fmla="*/ 1201593 w 6884782"/>
              <a:gd name="connsiteY40544" fmla="*/ 1973091 h 5973007"/>
              <a:gd name="connsiteX40545" fmla="*/ 1203452 w 6884782"/>
              <a:gd name="connsiteY40545" fmla="*/ 1972007 h 5973007"/>
              <a:gd name="connsiteX40546" fmla="*/ 1201799 w 6884782"/>
              <a:gd name="connsiteY40546" fmla="*/ 1972007 h 5973007"/>
              <a:gd name="connsiteX40547" fmla="*/ 1203142 w 6884782"/>
              <a:gd name="connsiteY40547" fmla="*/ 1968599 h 5973007"/>
              <a:gd name="connsiteX40548" fmla="*/ 1205930 w 6884782"/>
              <a:gd name="connsiteY40548" fmla="*/ 1967980 h 5973007"/>
              <a:gd name="connsiteX40549" fmla="*/ 1205826 w 6884782"/>
              <a:gd name="connsiteY40549" fmla="*/ 1968754 h 5973007"/>
              <a:gd name="connsiteX40550" fmla="*/ 1206033 w 6884782"/>
              <a:gd name="connsiteY40550" fmla="*/ 1971542 h 5973007"/>
              <a:gd name="connsiteX40551" fmla="*/ 1209028 w 6884782"/>
              <a:gd name="connsiteY40551" fmla="*/ 1971387 h 5973007"/>
              <a:gd name="connsiteX40552" fmla="*/ 1210473 w 6884782"/>
              <a:gd name="connsiteY40552" fmla="*/ 1971852 h 5973007"/>
              <a:gd name="connsiteX40553" fmla="*/ 1211919 w 6884782"/>
              <a:gd name="connsiteY40553" fmla="*/ 1971542 h 5973007"/>
              <a:gd name="connsiteX40554" fmla="*/ 1210473 w 6884782"/>
              <a:gd name="connsiteY40554" fmla="*/ 1966121 h 5973007"/>
              <a:gd name="connsiteX40555" fmla="*/ 1209854 w 6884782"/>
              <a:gd name="connsiteY40555" fmla="*/ 1960235 h 5973007"/>
              <a:gd name="connsiteX40556" fmla="*/ 1209957 w 6884782"/>
              <a:gd name="connsiteY40556" fmla="*/ 1959926 h 5973007"/>
              <a:gd name="connsiteX40557" fmla="*/ 1209647 w 6884782"/>
              <a:gd name="connsiteY40557" fmla="*/ 1959770 h 5973007"/>
              <a:gd name="connsiteX40558" fmla="*/ 1209957 w 6884782"/>
              <a:gd name="connsiteY40558" fmla="*/ 1959460 h 5973007"/>
              <a:gd name="connsiteX40559" fmla="*/ 5080244 w 6884782"/>
              <a:gd name="connsiteY40559" fmla="*/ 1957051 h 5973007"/>
              <a:gd name="connsiteX40560" fmla="*/ 5082805 w 6884782"/>
              <a:gd name="connsiteY40560" fmla="*/ 1957051 h 5973007"/>
              <a:gd name="connsiteX40561" fmla="*/ 5089847 w 6884782"/>
              <a:gd name="connsiteY40561" fmla="*/ 1958900 h 5973007"/>
              <a:gd name="connsiteX40562" fmla="*/ 5087073 w 6884782"/>
              <a:gd name="connsiteY40562" fmla="*/ 1961603 h 5973007"/>
              <a:gd name="connsiteX40563" fmla="*/ 5084085 w 6884782"/>
              <a:gd name="connsiteY40563" fmla="*/ 1960322 h 5973007"/>
              <a:gd name="connsiteX40564" fmla="*/ 5081524 w 6884782"/>
              <a:gd name="connsiteY40564" fmla="*/ 1960322 h 5973007"/>
              <a:gd name="connsiteX40565" fmla="*/ 5080244 w 6884782"/>
              <a:gd name="connsiteY40565" fmla="*/ 1957051 h 5973007"/>
              <a:gd name="connsiteX40566" fmla="*/ 5298572 w 6884782"/>
              <a:gd name="connsiteY40566" fmla="*/ 1956908 h 5973007"/>
              <a:gd name="connsiteX40567" fmla="*/ 5301987 w 6884782"/>
              <a:gd name="connsiteY40567" fmla="*/ 1956908 h 5973007"/>
              <a:gd name="connsiteX40568" fmla="*/ 5306896 w 6884782"/>
              <a:gd name="connsiteY40568" fmla="*/ 1965017 h 5973007"/>
              <a:gd name="connsiteX40569" fmla="*/ 5310737 w 6884782"/>
              <a:gd name="connsiteY40569" fmla="*/ 1969712 h 5973007"/>
              <a:gd name="connsiteX40570" fmla="*/ 5304334 w 6884782"/>
              <a:gd name="connsiteY40570" fmla="*/ 1964876 h 5973007"/>
              <a:gd name="connsiteX40571" fmla="*/ 5300706 w 6884782"/>
              <a:gd name="connsiteY40571" fmla="*/ 1965017 h 5973007"/>
              <a:gd name="connsiteX40572" fmla="*/ 5296651 w 6884782"/>
              <a:gd name="connsiteY40572" fmla="*/ 1959184 h 5973007"/>
              <a:gd name="connsiteX40573" fmla="*/ 5298572 w 6884782"/>
              <a:gd name="connsiteY40573" fmla="*/ 1956908 h 5973007"/>
              <a:gd name="connsiteX40574" fmla="*/ 1116923 w 6884782"/>
              <a:gd name="connsiteY40574" fmla="*/ 1956827 h 5973007"/>
              <a:gd name="connsiteX40575" fmla="*/ 1118162 w 6884782"/>
              <a:gd name="connsiteY40575" fmla="*/ 1956982 h 5973007"/>
              <a:gd name="connsiteX40576" fmla="*/ 1115271 w 6884782"/>
              <a:gd name="connsiteY40576" fmla="*/ 1960854 h 5973007"/>
              <a:gd name="connsiteX40577" fmla="*/ 1116923 w 6884782"/>
              <a:gd name="connsiteY40577" fmla="*/ 1956827 h 5973007"/>
              <a:gd name="connsiteX40578" fmla="*/ 778552 w 6884782"/>
              <a:gd name="connsiteY40578" fmla="*/ 1956827 h 5973007"/>
              <a:gd name="connsiteX40579" fmla="*/ 781753 w 6884782"/>
              <a:gd name="connsiteY40579" fmla="*/ 1960700 h 5973007"/>
              <a:gd name="connsiteX40580" fmla="*/ 773183 w 6884782"/>
              <a:gd name="connsiteY40580" fmla="*/ 1962713 h 5973007"/>
              <a:gd name="connsiteX40581" fmla="*/ 778552 w 6884782"/>
              <a:gd name="connsiteY40581" fmla="*/ 1956827 h 5973007"/>
              <a:gd name="connsiteX40582" fmla="*/ 5100305 w 6884782"/>
              <a:gd name="connsiteY40582" fmla="*/ 1956339 h 5973007"/>
              <a:gd name="connsiteX40583" fmla="*/ 5108415 w 6884782"/>
              <a:gd name="connsiteY40583" fmla="*/ 1962029 h 5973007"/>
              <a:gd name="connsiteX40584" fmla="*/ 5108628 w 6884782"/>
              <a:gd name="connsiteY40584" fmla="*/ 1965017 h 5973007"/>
              <a:gd name="connsiteX40585" fmla="*/ 5102866 w 6884782"/>
              <a:gd name="connsiteY40585" fmla="*/ 1966582 h 5973007"/>
              <a:gd name="connsiteX40586" fmla="*/ 5095823 w 6884782"/>
              <a:gd name="connsiteY40586" fmla="*/ 1958473 h 5973007"/>
              <a:gd name="connsiteX40587" fmla="*/ 5100305 w 6884782"/>
              <a:gd name="connsiteY40587" fmla="*/ 1956339 h 5973007"/>
              <a:gd name="connsiteX40588" fmla="*/ 3704326 w 6884782"/>
              <a:gd name="connsiteY40588" fmla="*/ 1956339 h 5973007"/>
              <a:gd name="connsiteX40589" fmla="*/ 3709876 w 6884782"/>
              <a:gd name="connsiteY40589" fmla="*/ 1962172 h 5973007"/>
              <a:gd name="connsiteX40590" fmla="*/ 3707741 w 6884782"/>
              <a:gd name="connsiteY40590" fmla="*/ 1965729 h 5973007"/>
              <a:gd name="connsiteX40591" fmla="*/ 3704326 w 6884782"/>
              <a:gd name="connsiteY40591" fmla="*/ 1956339 h 5973007"/>
              <a:gd name="connsiteX40592" fmla="*/ 1195810 w 6884782"/>
              <a:gd name="connsiteY40592" fmla="*/ 1955743 h 5973007"/>
              <a:gd name="connsiteX40593" fmla="*/ 1209647 w 6884782"/>
              <a:gd name="connsiteY40593" fmla="*/ 1959616 h 5973007"/>
              <a:gd name="connsiteX40594" fmla="*/ 1195810 w 6884782"/>
              <a:gd name="connsiteY40594" fmla="*/ 1955743 h 5973007"/>
              <a:gd name="connsiteX40595" fmla="*/ 959663 w 6884782"/>
              <a:gd name="connsiteY40595" fmla="*/ 1955433 h 5973007"/>
              <a:gd name="connsiteX40596" fmla="*/ 965239 w 6884782"/>
              <a:gd name="connsiteY40596" fmla="*/ 1965192 h 5973007"/>
              <a:gd name="connsiteX40597" fmla="*/ 961625 w 6884782"/>
              <a:gd name="connsiteY40597" fmla="*/ 1966585 h 5973007"/>
              <a:gd name="connsiteX40598" fmla="*/ 962142 w 6884782"/>
              <a:gd name="connsiteY40598" fmla="*/ 1966895 h 5973007"/>
              <a:gd name="connsiteX40599" fmla="*/ 938806 w 6884782"/>
              <a:gd name="connsiteY40599" fmla="*/ 1967980 h 5973007"/>
              <a:gd name="connsiteX40600" fmla="*/ 951506 w 6884782"/>
              <a:gd name="connsiteY40600" fmla="*/ 1963488 h 5973007"/>
              <a:gd name="connsiteX40601" fmla="*/ 955740 w 6884782"/>
              <a:gd name="connsiteY40601" fmla="*/ 1964107 h 5973007"/>
              <a:gd name="connsiteX40602" fmla="*/ 956669 w 6884782"/>
              <a:gd name="connsiteY40602" fmla="*/ 1961009 h 5973007"/>
              <a:gd name="connsiteX40603" fmla="*/ 959663 w 6884782"/>
              <a:gd name="connsiteY40603" fmla="*/ 1955433 h 5973007"/>
              <a:gd name="connsiteX40604" fmla="*/ 4990821 w 6884782"/>
              <a:gd name="connsiteY40604" fmla="*/ 1954774 h 5973007"/>
              <a:gd name="connsiteX40605" fmla="*/ 4992528 w 6884782"/>
              <a:gd name="connsiteY40605" fmla="*/ 1956481 h 5973007"/>
              <a:gd name="connsiteX40606" fmla="*/ 4996370 w 6884782"/>
              <a:gd name="connsiteY40606" fmla="*/ 1960181 h 5973007"/>
              <a:gd name="connsiteX40607" fmla="*/ 4989113 w 6884782"/>
              <a:gd name="connsiteY40607" fmla="*/ 1955058 h 5973007"/>
              <a:gd name="connsiteX40608" fmla="*/ 4990821 w 6884782"/>
              <a:gd name="connsiteY40608" fmla="*/ 1954774 h 5973007"/>
              <a:gd name="connsiteX40609" fmla="*/ 5497693 w 6884782"/>
              <a:gd name="connsiteY40609" fmla="*/ 1954347 h 5973007"/>
              <a:gd name="connsiteX40610" fmla="*/ 5523730 w 6884782"/>
              <a:gd name="connsiteY40610" fmla="*/ 1965017 h 5973007"/>
              <a:gd name="connsiteX40611" fmla="*/ 5543578 w 6884782"/>
              <a:gd name="connsiteY40611" fmla="*/ 1996885 h 5973007"/>
              <a:gd name="connsiteX40612" fmla="*/ 5536108 w 6884782"/>
              <a:gd name="connsiteY40612" fmla="*/ 2038286 h 5973007"/>
              <a:gd name="connsiteX40613" fmla="*/ 5525437 w 6884782"/>
              <a:gd name="connsiteY40613" fmla="*/ 2043123 h 5973007"/>
              <a:gd name="connsiteX40614" fmla="*/ 5520956 w 6884782"/>
              <a:gd name="connsiteY40614" fmla="*/ 2046395 h 5973007"/>
              <a:gd name="connsiteX40615" fmla="*/ 5518181 w 6884782"/>
              <a:gd name="connsiteY40615" fmla="*/ 2063183 h 5973007"/>
              <a:gd name="connsiteX40616" fmla="*/ 5511565 w 6884782"/>
              <a:gd name="connsiteY40616" fmla="*/ 2074707 h 5973007"/>
              <a:gd name="connsiteX40617" fmla="*/ 5506443 w 6884782"/>
              <a:gd name="connsiteY40617" fmla="*/ 2078975 h 5973007"/>
              <a:gd name="connsiteX40618" fmla="*/ 5512419 w 6884782"/>
              <a:gd name="connsiteY40618" fmla="*/ 2083385 h 5973007"/>
              <a:gd name="connsiteX40619" fmla="*/ 5527571 w 6884782"/>
              <a:gd name="connsiteY40619" fmla="*/ 2104156 h 5973007"/>
              <a:gd name="connsiteX40620" fmla="*/ 5504522 w 6884782"/>
              <a:gd name="connsiteY40620" fmla="*/ 2082531 h 5973007"/>
              <a:gd name="connsiteX40621" fmla="*/ 5505162 w 6884782"/>
              <a:gd name="connsiteY40621" fmla="*/ 2080255 h 5973007"/>
              <a:gd name="connsiteX40622" fmla="*/ 5502602 w 6884782"/>
              <a:gd name="connsiteY40622" fmla="*/ 2082389 h 5973007"/>
              <a:gd name="connsiteX40623" fmla="*/ 5481473 w 6884782"/>
              <a:gd name="connsiteY40623" fmla="*/ 2097043 h 5973007"/>
              <a:gd name="connsiteX40624" fmla="*/ 5478698 w 6884782"/>
              <a:gd name="connsiteY40624" fmla="*/ 2095478 h 5973007"/>
              <a:gd name="connsiteX40625" fmla="*/ 5479552 w 6884782"/>
              <a:gd name="connsiteY40625" fmla="*/ 2096332 h 5973007"/>
              <a:gd name="connsiteX40626" fmla="*/ 5482753 w 6884782"/>
              <a:gd name="connsiteY40626" fmla="*/ 2099604 h 5973007"/>
              <a:gd name="connsiteX40627" fmla="*/ 5474217 w 6884782"/>
              <a:gd name="connsiteY40627" fmla="*/ 2093914 h 5973007"/>
              <a:gd name="connsiteX40628" fmla="*/ 5473149 w 6884782"/>
              <a:gd name="connsiteY40628" fmla="*/ 2092775 h 5973007"/>
              <a:gd name="connsiteX40629" fmla="*/ 5466961 w 6884782"/>
              <a:gd name="connsiteY40629" fmla="*/ 2092348 h 5973007"/>
              <a:gd name="connsiteX40630" fmla="*/ 5454795 w 6884782"/>
              <a:gd name="connsiteY40630" fmla="*/ 2095194 h 5973007"/>
              <a:gd name="connsiteX40631" fmla="*/ 5430892 w 6884782"/>
              <a:gd name="connsiteY40631" fmla="*/ 2070723 h 5973007"/>
              <a:gd name="connsiteX40632" fmla="*/ 5432173 w 6884782"/>
              <a:gd name="connsiteY40632" fmla="*/ 2027758 h 5973007"/>
              <a:gd name="connsiteX40633" fmla="*/ 5451167 w 6884782"/>
              <a:gd name="connsiteY40633" fmla="*/ 2008694 h 5973007"/>
              <a:gd name="connsiteX40634" fmla="*/ 5452875 w 6884782"/>
              <a:gd name="connsiteY40634" fmla="*/ 2006987 h 5973007"/>
              <a:gd name="connsiteX40635" fmla="*/ 5452021 w 6884782"/>
              <a:gd name="connsiteY40635" fmla="*/ 1991053 h 5973007"/>
              <a:gd name="connsiteX40636" fmla="*/ 5456290 w 6884782"/>
              <a:gd name="connsiteY40636" fmla="*/ 1978248 h 5973007"/>
              <a:gd name="connsiteX40637" fmla="*/ 5449247 w 6884782"/>
              <a:gd name="connsiteY40637" fmla="*/ 1975687 h 5973007"/>
              <a:gd name="connsiteX40638" fmla="*/ 5446685 w 6884782"/>
              <a:gd name="connsiteY40638" fmla="*/ 1974692 h 5973007"/>
              <a:gd name="connsiteX40639" fmla="*/ 5446899 w 6884782"/>
              <a:gd name="connsiteY40639" fmla="*/ 1975972 h 5973007"/>
              <a:gd name="connsiteX40640" fmla="*/ 5446259 w 6884782"/>
              <a:gd name="connsiteY40640" fmla="*/ 1974550 h 5973007"/>
              <a:gd name="connsiteX40641" fmla="*/ 5439856 w 6884782"/>
              <a:gd name="connsiteY40641" fmla="*/ 1971846 h 5973007"/>
              <a:gd name="connsiteX40642" fmla="*/ 5431319 w 6884782"/>
              <a:gd name="connsiteY40642" fmla="*/ 1960465 h 5973007"/>
              <a:gd name="connsiteX40643" fmla="*/ 5438149 w 6884782"/>
              <a:gd name="connsiteY40643" fmla="*/ 1962172 h 5973007"/>
              <a:gd name="connsiteX40644" fmla="*/ 5443484 w 6884782"/>
              <a:gd name="connsiteY40644" fmla="*/ 1963737 h 5973007"/>
              <a:gd name="connsiteX40645" fmla="*/ 5443697 w 6884782"/>
              <a:gd name="connsiteY40645" fmla="*/ 1962599 h 5973007"/>
              <a:gd name="connsiteX40646" fmla="*/ 5444124 w 6884782"/>
              <a:gd name="connsiteY40646" fmla="*/ 1963879 h 5973007"/>
              <a:gd name="connsiteX40647" fmla="*/ 5446259 w 6884782"/>
              <a:gd name="connsiteY40647" fmla="*/ 1964448 h 5973007"/>
              <a:gd name="connsiteX40648" fmla="*/ 5456930 w 6884782"/>
              <a:gd name="connsiteY40648" fmla="*/ 1973838 h 5973007"/>
              <a:gd name="connsiteX40649" fmla="*/ 5456503 w 6884782"/>
              <a:gd name="connsiteY40649" fmla="*/ 1976968 h 5973007"/>
              <a:gd name="connsiteX40650" fmla="*/ 5457143 w 6884782"/>
              <a:gd name="connsiteY40650" fmla="*/ 1975118 h 5973007"/>
              <a:gd name="connsiteX40651" fmla="*/ 5497693 w 6884782"/>
              <a:gd name="connsiteY40651" fmla="*/ 1954347 h 5973007"/>
              <a:gd name="connsiteX40652" fmla="*/ 1358336 w 6884782"/>
              <a:gd name="connsiteY40652" fmla="*/ 1954039 h 5973007"/>
              <a:gd name="connsiteX40653" fmla="*/ 1358542 w 6884782"/>
              <a:gd name="connsiteY40653" fmla="*/ 1955278 h 5973007"/>
              <a:gd name="connsiteX40654" fmla="*/ 1357923 w 6884782"/>
              <a:gd name="connsiteY40654" fmla="*/ 1957602 h 5973007"/>
              <a:gd name="connsiteX40655" fmla="*/ 1356994 w 6884782"/>
              <a:gd name="connsiteY40655" fmla="*/ 1957912 h 5973007"/>
              <a:gd name="connsiteX40656" fmla="*/ 1357200 w 6884782"/>
              <a:gd name="connsiteY40656" fmla="*/ 1958841 h 5973007"/>
              <a:gd name="connsiteX40657" fmla="*/ 1357200 w 6884782"/>
              <a:gd name="connsiteY40657" fmla="*/ 1958996 h 5973007"/>
              <a:gd name="connsiteX40658" fmla="*/ 1359162 w 6884782"/>
              <a:gd name="connsiteY40658" fmla="*/ 1957137 h 5973007"/>
              <a:gd name="connsiteX40659" fmla="*/ 1360194 w 6884782"/>
              <a:gd name="connsiteY40659" fmla="*/ 1955278 h 5973007"/>
              <a:gd name="connsiteX40660" fmla="*/ 1358749 w 6884782"/>
              <a:gd name="connsiteY40660" fmla="*/ 1954504 h 5973007"/>
              <a:gd name="connsiteX40661" fmla="*/ 1358336 w 6884782"/>
              <a:gd name="connsiteY40661" fmla="*/ 1954039 h 5973007"/>
              <a:gd name="connsiteX40662" fmla="*/ 1086049 w 6884782"/>
              <a:gd name="connsiteY40662" fmla="*/ 1954039 h 5973007"/>
              <a:gd name="connsiteX40663" fmla="*/ 1087598 w 6884782"/>
              <a:gd name="connsiteY40663" fmla="*/ 1957912 h 5973007"/>
              <a:gd name="connsiteX40664" fmla="*/ 1082229 w 6884782"/>
              <a:gd name="connsiteY40664" fmla="*/ 1964417 h 5973007"/>
              <a:gd name="connsiteX40665" fmla="*/ 1080370 w 6884782"/>
              <a:gd name="connsiteY40665" fmla="*/ 1961629 h 5973007"/>
              <a:gd name="connsiteX40666" fmla="*/ 1083984 w 6884782"/>
              <a:gd name="connsiteY40666" fmla="*/ 1954814 h 5973007"/>
              <a:gd name="connsiteX40667" fmla="*/ 1086049 w 6884782"/>
              <a:gd name="connsiteY40667" fmla="*/ 1954039 h 5973007"/>
              <a:gd name="connsiteX40668" fmla="*/ 5575164 w 6884782"/>
              <a:gd name="connsiteY40668" fmla="*/ 1953920 h 5973007"/>
              <a:gd name="connsiteX40669" fmla="*/ 5577511 w 6884782"/>
              <a:gd name="connsiteY40669" fmla="*/ 1955628 h 5973007"/>
              <a:gd name="connsiteX40670" fmla="*/ 5581140 w 6884782"/>
              <a:gd name="connsiteY40670" fmla="*/ 1961746 h 5973007"/>
              <a:gd name="connsiteX40671" fmla="*/ 5581354 w 6884782"/>
              <a:gd name="connsiteY40671" fmla="*/ 1962029 h 5973007"/>
              <a:gd name="connsiteX40672" fmla="*/ 5585622 w 6884782"/>
              <a:gd name="connsiteY40672" fmla="*/ 1966867 h 5973007"/>
              <a:gd name="connsiteX40673" fmla="*/ 5584768 w 6884782"/>
              <a:gd name="connsiteY40673" fmla="*/ 1972558 h 5973007"/>
              <a:gd name="connsiteX40674" fmla="*/ 5580286 w 6884782"/>
              <a:gd name="connsiteY40674" fmla="*/ 1976968 h 5973007"/>
              <a:gd name="connsiteX40675" fmla="*/ 5580713 w 6884782"/>
              <a:gd name="connsiteY40675" fmla="*/ 1977253 h 5973007"/>
              <a:gd name="connsiteX40676" fmla="*/ 5580073 w 6884782"/>
              <a:gd name="connsiteY40676" fmla="*/ 1979102 h 5973007"/>
              <a:gd name="connsiteX40677" fmla="*/ 5579219 w 6884782"/>
              <a:gd name="connsiteY40677" fmla="*/ 1978818 h 5973007"/>
              <a:gd name="connsiteX40678" fmla="*/ 5578152 w 6884782"/>
              <a:gd name="connsiteY40678" fmla="*/ 1977537 h 5973007"/>
              <a:gd name="connsiteX40679" fmla="*/ 5574524 w 6884782"/>
              <a:gd name="connsiteY40679" fmla="*/ 1978533 h 5973007"/>
              <a:gd name="connsiteX40680" fmla="*/ 5575378 w 6884782"/>
              <a:gd name="connsiteY40680" fmla="*/ 1963452 h 5973007"/>
              <a:gd name="connsiteX40681" fmla="*/ 5577085 w 6884782"/>
              <a:gd name="connsiteY40681" fmla="*/ 1962599 h 5973007"/>
              <a:gd name="connsiteX40682" fmla="*/ 5576231 w 6884782"/>
              <a:gd name="connsiteY40682" fmla="*/ 1959896 h 5973007"/>
              <a:gd name="connsiteX40683" fmla="*/ 5573883 w 6884782"/>
              <a:gd name="connsiteY40683" fmla="*/ 1957762 h 5973007"/>
              <a:gd name="connsiteX40684" fmla="*/ 5574311 w 6884782"/>
              <a:gd name="connsiteY40684" fmla="*/ 1954490 h 5973007"/>
              <a:gd name="connsiteX40685" fmla="*/ 1046089 w 6884782"/>
              <a:gd name="connsiteY40685" fmla="*/ 1953884 h 5973007"/>
              <a:gd name="connsiteX40686" fmla="*/ 1046502 w 6884782"/>
              <a:gd name="connsiteY40686" fmla="*/ 1961474 h 5973007"/>
              <a:gd name="connsiteX40687" fmla="*/ 1044850 w 6884782"/>
              <a:gd name="connsiteY40687" fmla="*/ 1962558 h 5973007"/>
              <a:gd name="connsiteX40688" fmla="*/ 1040513 w 6884782"/>
              <a:gd name="connsiteY40688" fmla="*/ 1964107 h 5973007"/>
              <a:gd name="connsiteX40689" fmla="*/ 1038758 w 6884782"/>
              <a:gd name="connsiteY40689" fmla="*/ 1961629 h 5973007"/>
              <a:gd name="connsiteX40690" fmla="*/ 1040100 w 6884782"/>
              <a:gd name="connsiteY40690" fmla="*/ 1958066 h 5973007"/>
              <a:gd name="connsiteX40691" fmla="*/ 1046089 w 6884782"/>
              <a:gd name="connsiteY40691" fmla="*/ 1953884 h 5973007"/>
              <a:gd name="connsiteX40692" fmla="*/ 1592831 w 6884782"/>
              <a:gd name="connsiteY40692" fmla="*/ 1952645 h 5973007"/>
              <a:gd name="connsiteX40693" fmla="*/ 1594586 w 6884782"/>
              <a:gd name="connsiteY40693" fmla="*/ 1953264 h 5973007"/>
              <a:gd name="connsiteX40694" fmla="*/ 1598200 w 6884782"/>
              <a:gd name="connsiteY40694" fmla="*/ 1954659 h 5973007"/>
              <a:gd name="connsiteX40695" fmla="*/ 1591798 w 6884782"/>
              <a:gd name="connsiteY40695" fmla="*/ 1953264 h 5973007"/>
              <a:gd name="connsiteX40696" fmla="*/ 1592831 w 6884782"/>
              <a:gd name="connsiteY40696" fmla="*/ 1952645 h 5973007"/>
              <a:gd name="connsiteX40697" fmla="*/ 1031323 w 6884782"/>
              <a:gd name="connsiteY40697" fmla="*/ 1952490 h 5973007"/>
              <a:gd name="connsiteX40698" fmla="*/ 1036280 w 6884782"/>
              <a:gd name="connsiteY40698" fmla="*/ 1956827 h 5973007"/>
              <a:gd name="connsiteX40699" fmla="*/ 1035247 w 6884782"/>
              <a:gd name="connsiteY40699" fmla="*/ 1958531 h 5973007"/>
              <a:gd name="connsiteX40700" fmla="*/ 1032872 w 6884782"/>
              <a:gd name="connsiteY40700" fmla="*/ 1958222 h 5973007"/>
              <a:gd name="connsiteX40701" fmla="*/ 1030188 w 6884782"/>
              <a:gd name="connsiteY40701" fmla="*/ 1954194 h 5973007"/>
              <a:gd name="connsiteX40702" fmla="*/ 1031323 w 6884782"/>
              <a:gd name="connsiteY40702" fmla="*/ 1952490 h 5973007"/>
              <a:gd name="connsiteX40703" fmla="*/ 6104872 w 6884782"/>
              <a:gd name="connsiteY40703" fmla="*/ 1952071 h 5973007"/>
              <a:gd name="connsiteX40704" fmla="*/ 6109781 w 6884782"/>
              <a:gd name="connsiteY40704" fmla="*/ 1952782 h 5973007"/>
              <a:gd name="connsiteX40705" fmla="*/ 6113835 w 6884782"/>
              <a:gd name="connsiteY40705" fmla="*/ 1955058 h 5973007"/>
              <a:gd name="connsiteX40706" fmla="*/ 6115970 w 6884782"/>
              <a:gd name="connsiteY40706" fmla="*/ 1959611 h 5973007"/>
              <a:gd name="connsiteX40707" fmla="*/ 6119598 w 6884782"/>
              <a:gd name="connsiteY40707" fmla="*/ 1966582 h 5973007"/>
              <a:gd name="connsiteX40708" fmla="*/ 6114903 w 6884782"/>
              <a:gd name="connsiteY40708" fmla="*/ 1970708 h 5973007"/>
              <a:gd name="connsiteX40709" fmla="*/ 6107647 w 6884782"/>
              <a:gd name="connsiteY40709" fmla="*/ 1968147 h 5973007"/>
              <a:gd name="connsiteX40710" fmla="*/ 6107006 w 6884782"/>
              <a:gd name="connsiteY40710" fmla="*/ 1968858 h 5973007"/>
              <a:gd name="connsiteX40711" fmla="*/ 6099110 w 6884782"/>
              <a:gd name="connsiteY40711" fmla="*/ 1959611 h 5973007"/>
              <a:gd name="connsiteX40712" fmla="*/ 6099750 w 6884782"/>
              <a:gd name="connsiteY40712" fmla="*/ 1956766 h 5973007"/>
              <a:gd name="connsiteX40713" fmla="*/ 6099536 w 6884782"/>
              <a:gd name="connsiteY40713" fmla="*/ 1956481 h 5973007"/>
              <a:gd name="connsiteX40714" fmla="*/ 6104872 w 6884782"/>
              <a:gd name="connsiteY40714" fmla="*/ 1952071 h 5973007"/>
              <a:gd name="connsiteX40715" fmla="*/ 3658228 w 6884782"/>
              <a:gd name="connsiteY40715" fmla="*/ 1951929 h 5973007"/>
              <a:gd name="connsiteX40716" fmla="*/ 3655667 w 6884782"/>
              <a:gd name="connsiteY40716" fmla="*/ 1962884 h 5973007"/>
              <a:gd name="connsiteX40717" fmla="*/ 3644142 w 6884782"/>
              <a:gd name="connsiteY40717" fmla="*/ 1965017 h 5973007"/>
              <a:gd name="connsiteX40718" fmla="*/ 3658228 w 6884782"/>
              <a:gd name="connsiteY40718" fmla="*/ 1951929 h 5973007"/>
              <a:gd name="connsiteX40719" fmla="*/ 1278829 w 6884782"/>
              <a:gd name="connsiteY40719" fmla="*/ 1951560 h 5973007"/>
              <a:gd name="connsiteX40720" fmla="*/ 1280687 w 6884782"/>
              <a:gd name="connsiteY40720" fmla="*/ 1952955 h 5973007"/>
              <a:gd name="connsiteX40721" fmla="*/ 1282546 w 6884782"/>
              <a:gd name="connsiteY40721" fmla="*/ 1953574 h 5973007"/>
              <a:gd name="connsiteX40722" fmla="*/ 1285437 w 6884782"/>
              <a:gd name="connsiteY40722" fmla="*/ 1958222 h 5973007"/>
              <a:gd name="connsiteX40723" fmla="*/ 1268503 w 6884782"/>
              <a:gd name="connsiteY40723" fmla="*/ 1955588 h 5973007"/>
              <a:gd name="connsiteX40724" fmla="*/ 1266954 w 6884782"/>
              <a:gd name="connsiteY40724" fmla="*/ 1954504 h 5973007"/>
              <a:gd name="connsiteX40725" fmla="*/ 1267470 w 6884782"/>
              <a:gd name="connsiteY40725" fmla="*/ 1952335 h 5973007"/>
              <a:gd name="connsiteX40726" fmla="*/ 1278829 w 6884782"/>
              <a:gd name="connsiteY40726" fmla="*/ 1951560 h 5973007"/>
              <a:gd name="connsiteX40727" fmla="*/ 974532 w 6884782"/>
              <a:gd name="connsiteY40727" fmla="*/ 1951406 h 5973007"/>
              <a:gd name="connsiteX40728" fmla="*/ 983722 w 6884782"/>
              <a:gd name="connsiteY40728" fmla="*/ 1958531 h 5973007"/>
              <a:gd name="connsiteX40729" fmla="*/ 970299 w 6884782"/>
              <a:gd name="connsiteY40729" fmla="*/ 1958376 h 5973007"/>
              <a:gd name="connsiteX40730" fmla="*/ 974532 w 6884782"/>
              <a:gd name="connsiteY40730" fmla="*/ 1951406 h 5973007"/>
              <a:gd name="connsiteX40731" fmla="*/ 5826359 w 6884782"/>
              <a:gd name="connsiteY40731" fmla="*/ 1951360 h 5973007"/>
              <a:gd name="connsiteX40732" fmla="*/ 5830841 w 6884782"/>
              <a:gd name="connsiteY40732" fmla="*/ 1955486 h 5973007"/>
              <a:gd name="connsiteX40733" fmla="*/ 5832975 w 6884782"/>
              <a:gd name="connsiteY40733" fmla="*/ 1958189 h 5973007"/>
              <a:gd name="connsiteX40734" fmla="*/ 5835109 w 6884782"/>
              <a:gd name="connsiteY40734" fmla="*/ 1959754 h 5973007"/>
              <a:gd name="connsiteX40735" fmla="*/ 5836390 w 6884782"/>
              <a:gd name="connsiteY40735" fmla="*/ 1962029 h 5973007"/>
              <a:gd name="connsiteX40736" fmla="*/ 5836603 w 6884782"/>
              <a:gd name="connsiteY40736" fmla="*/ 1961887 h 5973007"/>
              <a:gd name="connsiteX40737" fmla="*/ 5838951 w 6884782"/>
              <a:gd name="connsiteY40737" fmla="*/ 1961461 h 5973007"/>
              <a:gd name="connsiteX40738" fmla="*/ 5840232 w 6884782"/>
              <a:gd name="connsiteY40738" fmla="*/ 1962172 h 5973007"/>
              <a:gd name="connsiteX40739" fmla="*/ 5841085 w 6884782"/>
              <a:gd name="connsiteY40739" fmla="*/ 1964306 h 5973007"/>
              <a:gd name="connsiteX40740" fmla="*/ 5837457 w 6884782"/>
              <a:gd name="connsiteY40740" fmla="*/ 1964306 h 5973007"/>
              <a:gd name="connsiteX40741" fmla="*/ 5837030 w 6884782"/>
              <a:gd name="connsiteY40741" fmla="*/ 1964164 h 5973007"/>
              <a:gd name="connsiteX40742" fmla="*/ 5837030 w 6884782"/>
              <a:gd name="connsiteY40742" fmla="*/ 1964733 h 5973007"/>
              <a:gd name="connsiteX40743" fmla="*/ 5835323 w 6884782"/>
              <a:gd name="connsiteY40743" fmla="*/ 1963594 h 5973007"/>
              <a:gd name="connsiteX40744" fmla="*/ 5834469 w 6884782"/>
              <a:gd name="connsiteY40744" fmla="*/ 1963168 h 5973007"/>
              <a:gd name="connsiteX40745" fmla="*/ 5834896 w 6884782"/>
              <a:gd name="connsiteY40745" fmla="*/ 1963026 h 5973007"/>
              <a:gd name="connsiteX40746" fmla="*/ 5832762 w 6884782"/>
              <a:gd name="connsiteY40746" fmla="*/ 1960607 h 5973007"/>
              <a:gd name="connsiteX40747" fmla="*/ 5830414 w 6884782"/>
              <a:gd name="connsiteY40747" fmla="*/ 1960038 h 5973007"/>
              <a:gd name="connsiteX40748" fmla="*/ 5826359 w 6884782"/>
              <a:gd name="connsiteY40748" fmla="*/ 1951360 h 5973007"/>
              <a:gd name="connsiteX40749" fmla="*/ 5331225 w 6884782"/>
              <a:gd name="connsiteY40749" fmla="*/ 1951360 h 5973007"/>
              <a:gd name="connsiteX40750" fmla="*/ 5331866 w 6884782"/>
              <a:gd name="connsiteY40750" fmla="*/ 1952213 h 5973007"/>
              <a:gd name="connsiteX40751" fmla="*/ 5331866 w 6884782"/>
              <a:gd name="connsiteY40751" fmla="*/ 1953493 h 5973007"/>
              <a:gd name="connsiteX40752" fmla="*/ 5331225 w 6884782"/>
              <a:gd name="connsiteY40752" fmla="*/ 1951360 h 5973007"/>
              <a:gd name="connsiteX40753" fmla="*/ 5216192 w 6884782"/>
              <a:gd name="connsiteY40753" fmla="*/ 1951075 h 5973007"/>
              <a:gd name="connsiteX40754" fmla="*/ 5219820 w 6884782"/>
              <a:gd name="connsiteY40754" fmla="*/ 1955058 h 5973007"/>
              <a:gd name="connsiteX40755" fmla="*/ 5220247 w 6884782"/>
              <a:gd name="connsiteY40755" fmla="*/ 1960607 h 5973007"/>
              <a:gd name="connsiteX40756" fmla="*/ 5220247 w 6884782"/>
              <a:gd name="connsiteY40756" fmla="*/ 1963452 h 5973007"/>
              <a:gd name="connsiteX40757" fmla="*/ 5220461 w 6884782"/>
              <a:gd name="connsiteY40757" fmla="*/ 1963879 h 5973007"/>
              <a:gd name="connsiteX40758" fmla="*/ 5221954 w 6884782"/>
              <a:gd name="connsiteY40758" fmla="*/ 1966156 h 5973007"/>
              <a:gd name="connsiteX40759" fmla="*/ 5221954 w 6884782"/>
              <a:gd name="connsiteY40759" fmla="*/ 1966440 h 5973007"/>
              <a:gd name="connsiteX40760" fmla="*/ 5221741 w 6884782"/>
              <a:gd name="connsiteY40760" fmla="*/ 1966867 h 5973007"/>
              <a:gd name="connsiteX40761" fmla="*/ 5222381 w 6884782"/>
              <a:gd name="connsiteY40761" fmla="*/ 1968147 h 5973007"/>
              <a:gd name="connsiteX40762" fmla="*/ 5221314 w 6884782"/>
              <a:gd name="connsiteY40762" fmla="*/ 1971420 h 5973007"/>
              <a:gd name="connsiteX40763" fmla="*/ 5217046 w 6884782"/>
              <a:gd name="connsiteY40763" fmla="*/ 1968147 h 5973007"/>
              <a:gd name="connsiteX40764" fmla="*/ 5215765 w 6884782"/>
              <a:gd name="connsiteY40764" fmla="*/ 1969570 h 5973007"/>
              <a:gd name="connsiteX40765" fmla="*/ 5210003 w 6884782"/>
              <a:gd name="connsiteY40765" fmla="*/ 1969570 h 5973007"/>
              <a:gd name="connsiteX40766" fmla="*/ 5215338 w 6884782"/>
              <a:gd name="connsiteY40766" fmla="*/ 1962172 h 5973007"/>
              <a:gd name="connsiteX40767" fmla="*/ 5215552 w 6884782"/>
              <a:gd name="connsiteY40767" fmla="*/ 1962314 h 5973007"/>
              <a:gd name="connsiteX40768" fmla="*/ 5215125 w 6884782"/>
              <a:gd name="connsiteY40768" fmla="*/ 1959896 h 5973007"/>
              <a:gd name="connsiteX40769" fmla="*/ 5212991 w 6884782"/>
              <a:gd name="connsiteY40769" fmla="*/ 1957904 h 5973007"/>
              <a:gd name="connsiteX40770" fmla="*/ 5214058 w 6884782"/>
              <a:gd name="connsiteY40770" fmla="*/ 1954632 h 5973007"/>
              <a:gd name="connsiteX40771" fmla="*/ 5214698 w 6884782"/>
              <a:gd name="connsiteY40771" fmla="*/ 1954205 h 5973007"/>
              <a:gd name="connsiteX40772" fmla="*/ 5216192 w 6884782"/>
              <a:gd name="connsiteY40772" fmla="*/ 1951075 h 5973007"/>
              <a:gd name="connsiteX40773" fmla="*/ 1380639 w 6884782"/>
              <a:gd name="connsiteY40773" fmla="*/ 1950786 h 5973007"/>
              <a:gd name="connsiteX40774" fmla="*/ 1379916 w 6884782"/>
              <a:gd name="connsiteY40774" fmla="*/ 1953729 h 5973007"/>
              <a:gd name="connsiteX40775" fmla="*/ 1379916 w 6884782"/>
              <a:gd name="connsiteY40775" fmla="*/ 1958841 h 5973007"/>
              <a:gd name="connsiteX40776" fmla="*/ 1382704 w 6884782"/>
              <a:gd name="connsiteY40776" fmla="*/ 1959150 h 5973007"/>
              <a:gd name="connsiteX40777" fmla="*/ 1382807 w 6884782"/>
              <a:gd name="connsiteY40777" fmla="*/ 1959150 h 5973007"/>
              <a:gd name="connsiteX40778" fmla="*/ 1100092 w 6884782"/>
              <a:gd name="connsiteY40778" fmla="*/ 1949857 h 5973007"/>
              <a:gd name="connsiteX40779" fmla="*/ 1106391 w 6884782"/>
              <a:gd name="connsiteY40779" fmla="*/ 1951560 h 5973007"/>
              <a:gd name="connsiteX40780" fmla="*/ 1105255 w 6884782"/>
              <a:gd name="connsiteY40780" fmla="*/ 1952180 h 5973007"/>
              <a:gd name="connsiteX40781" fmla="*/ 1103500 w 6884782"/>
              <a:gd name="connsiteY40781" fmla="*/ 1951560 h 5973007"/>
              <a:gd name="connsiteX40782" fmla="*/ 1100092 w 6884782"/>
              <a:gd name="connsiteY40782" fmla="*/ 1949857 h 5973007"/>
              <a:gd name="connsiteX40783" fmla="*/ 934263 w 6884782"/>
              <a:gd name="connsiteY40783" fmla="*/ 1949393 h 5973007"/>
              <a:gd name="connsiteX40784" fmla="*/ 937360 w 6884782"/>
              <a:gd name="connsiteY40784" fmla="*/ 1950631 h 5973007"/>
              <a:gd name="connsiteX40785" fmla="*/ 937670 w 6884782"/>
              <a:gd name="connsiteY40785" fmla="*/ 1950012 h 5973007"/>
              <a:gd name="connsiteX40786" fmla="*/ 942729 w 6884782"/>
              <a:gd name="connsiteY40786" fmla="*/ 1953264 h 5973007"/>
              <a:gd name="connsiteX40787" fmla="*/ 940355 w 6884782"/>
              <a:gd name="connsiteY40787" fmla="*/ 1955588 h 5973007"/>
              <a:gd name="connsiteX40788" fmla="*/ 940768 w 6884782"/>
              <a:gd name="connsiteY40788" fmla="*/ 1957137 h 5973007"/>
              <a:gd name="connsiteX40789" fmla="*/ 946860 w 6884782"/>
              <a:gd name="connsiteY40789" fmla="*/ 1957912 h 5973007"/>
              <a:gd name="connsiteX40790" fmla="*/ 952642 w 6884782"/>
              <a:gd name="connsiteY40790" fmla="*/ 1959926 h 5973007"/>
              <a:gd name="connsiteX40791" fmla="*/ 930132 w 6884782"/>
              <a:gd name="connsiteY40791" fmla="*/ 1962558 h 5973007"/>
              <a:gd name="connsiteX40792" fmla="*/ 934263 w 6884782"/>
              <a:gd name="connsiteY40792" fmla="*/ 1958376 h 5973007"/>
              <a:gd name="connsiteX40793" fmla="*/ 935192 w 6884782"/>
              <a:gd name="connsiteY40793" fmla="*/ 1958222 h 5973007"/>
              <a:gd name="connsiteX40794" fmla="*/ 933850 w 6884782"/>
              <a:gd name="connsiteY40794" fmla="*/ 1958066 h 5973007"/>
              <a:gd name="connsiteX40795" fmla="*/ 914334 w 6884782"/>
              <a:gd name="connsiteY40795" fmla="*/ 1956053 h 5973007"/>
              <a:gd name="connsiteX40796" fmla="*/ 924556 w 6884782"/>
              <a:gd name="connsiteY40796" fmla="*/ 1952025 h 5973007"/>
              <a:gd name="connsiteX40797" fmla="*/ 934263 w 6884782"/>
              <a:gd name="connsiteY40797" fmla="*/ 1949393 h 5973007"/>
              <a:gd name="connsiteX40798" fmla="*/ 5962734 w 6884782"/>
              <a:gd name="connsiteY40798" fmla="*/ 1947661 h 5973007"/>
              <a:gd name="connsiteX40799" fmla="*/ 5966149 w 6884782"/>
              <a:gd name="connsiteY40799" fmla="*/ 1948088 h 5973007"/>
              <a:gd name="connsiteX40800" fmla="*/ 5954411 w 6884782"/>
              <a:gd name="connsiteY40800" fmla="*/ 1955058 h 5973007"/>
              <a:gd name="connsiteX40801" fmla="*/ 5962734 w 6884782"/>
              <a:gd name="connsiteY40801" fmla="*/ 1947661 h 5973007"/>
              <a:gd name="connsiteX40802" fmla="*/ 1601195 w 6884782"/>
              <a:gd name="connsiteY40802" fmla="*/ 1947533 h 5973007"/>
              <a:gd name="connsiteX40803" fmla="*/ 1608629 w 6884782"/>
              <a:gd name="connsiteY40803" fmla="*/ 1949393 h 5973007"/>
              <a:gd name="connsiteX40804" fmla="*/ 1610178 w 6884782"/>
              <a:gd name="connsiteY40804" fmla="*/ 1952490 h 5973007"/>
              <a:gd name="connsiteX40805" fmla="*/ 1609558 w 6884782"/>
              <a:gd name="connsiteY40805" fmla="*/ 1956053 h 5973007"/>
              <a:gd name="connsiteX40806" fmla="*/ 1608835 w 6884782"/>
              <a:gd name="connsiteY40806" fmla="*/ 1961938 h 5973007"/>
              <a:gd name="connsiteX40807" fmla="*/ 1604499 w 6884782"/>
              <a:gd name="connsiteY40807" fmla="*/ 1962558 h 5973007"/>
              <a:gd name="connsiteX40808" fmla="*/ 1600369 w 6884782"/>
              <a:gd name="connsiteY40808" fmla="*/ 1953419 h 5973007"/>
              <a:gd name="connsiteX40809" fmla="*/ 1601195 w 6884782"/>
              <a:gd name="connsiteY40809" fmla="*/ 1947533 h 5973007"/>
              <a:gd name="connsiteX40810" fmla="*/ 1211609 w 6884782"/>
              <a:gd name="connsiteY40810" fmla="*/ 1947533 h 5973007"/>
              <a:gd name="connsiteX40811" fmla="*/ 1212641 w 6884782"/>
              <a:gd name="connsiteY40811" fmla="*/ 1949857 h 5973007"/>
              <a:gd name="connsiteX40812" fmla="*/ 1209937 w 6884782"/>
              <a:gd name="connsiteY40812" fmla="*/ 1947828 h 5973007"/>
              <a:gd name="connsiteX40813" fmla="*/ 5090274 w 6884782"/>
              <a:gd name="connsiteY40813" fmla="*/ 1947234 h 5973007"/>
              <a:gd name="connsiteX40814" fmla="*/ 5092195 w 6884782"/>
              <a:gd name="connsiteY40814" fmla="*/ 1948656 h 5973007"/>
              <a:gd name="connsiteX40815" fmla="*/ 5095823 w 6884782"/>
              <a:gd name="connsiteY40815" fmla="*/ 1948088 h 5973007"/>
              <a:gd name="connsiteX40816" fmla="*/ 5096677 w 6884782"/>
              <a:gd name="connsiteY40816" fmla="*/ 1950079 h 5973007"/>
              <a:gd name="connsiteX40817" fmla="*/ 5089207 w 6884782"/>
              <a:gd name="connsiteY40817" fmla="*/ 1951360 h 5973007"/>
              <a:gd name="connsiteX40818" fmla="*/ 5086859 w 6884782"/>
              <a:gd name="connsiteY40818" fmla="*/ 1948799 h 5973007"/>
              <a:gd name="connsiteX40819" fmla="*/ 5090274 w 6884782"/>
              <a:gd name="connsiteY40819" fmla="*/ 1947234 h 5973007"/>
              <a:gd name="connsiteX40820" fmla="*/ 5341683 w 6884782"/>
              <a:gd name="connsiteY40820" fmla="*/ 1947091 h 5973007"/>
              <a:gd name="connsiteX40821" fmla="*/ 5336561 w 6884782"/>
              <a:gd name="connsiteY40821" fmla="*/ 1952782 h 5973007"/>
              <a:gd name="connsiteX40822" fmla="*/ 5334854 w 6884782"/>
              <a:gd name="connsiteY40822" fmla="*/ 1949368 h 5973007"/>
              <a:gd name="connsiteX40823" fmla="*/ 5341683 w 6884782"/>
              <a:gd name="connsiteY40823" fmla="*/ 1947091 h 5973007"/>
              <a:gd name="connsiteX40824" fmla="*/ 1040100 w 6884782"/>
              <a:gd name="connsiteY40824" fmla="*/ 1946914 h 5973007"/>
              <a:gd name="connsiteX40825" fmla="*/ 1042578 w 6884782"/>
              <a:gd name="connsiteY40825" fmla="*/ 1946914 h 5973007"/>
              <a:gd name="connsiteX40826" fmla="*/ 1041649 w 6884782"/>
              <a:gd name="connsiteY40826" fmla="*/ 1950321 h 5973007"/>
              <a:gd name="connsiteX40827" fmla="*/ 1039067 w 6884782"/>
              <a:gd name="connsiteY40827" fmla="*/ 1948153 h 5973007"/>
              <a:gd name="connsiteX40828" fmla="*/ 1040100 w 6884782"/>
              <a:gd name="connsiteY40828" fmla="*/ 1946914 h 5973007"/>
              <a:gd name="connsiteX40829" fmla="*/ 5497052 w 6884782"/>
              <a:gd name="connsiteY40829" fmla="*/ 1946665 h 5973007"/>
              <a:gd name="connsiteX40830" fmla="*/ 5497693 w 6884782"/>
              <a:gd name="connsiteY40830" fmla="*/ 1947803 h 5973007"/>
              <a:gd name="connsiteX40831" fmla="*/ 5496839 w 6884782"/>
              <a:gd name="connsiteY40831" fmla="*/ 1947945 h 5973007"/>
              <a:gd name="connsiteX40832" fmla="*/ 5497266 w 6884782"/>
              <a:gd name="connsiteY40832" fmla="*/ 1949653 h 5973007"/>
              <a:gd name="connsiteX40833" fmla="*/ 5498974 w 6884782"/>
              <a:gd name="connsiteY40833" fmla="*/ 1948656 h 5973007"/>
              <a:gd name="connsiteX40834" fmla="*/ 5505162 w 6884782"/>
              <a:gd name="connsiteY40834" fmla="*/ 1946665 h 5973007"/>
              <a:gd name="connsiteX40835" fmla="*/ 5507297 w 6884782"/>
              <a:gd name="connsiteY40835" fmla="*/ 1947661 h 5973007"/>
              <a:gd name="connsiteX40836" fmla="*/ 5507937 w 6884782"/>
              <a:gd name="connsiteY40836" fmla="*/ 1950791 h 5973007"/>
              <a:gd name="connsiteX40837" fmla="*/ 5503242 w 6884782"/>
              <a:gd name="connsiteY40837" fmla="*/ 1953920 h 5973007"/>
              <a:gd name="connsiteX40838" fmla="*/ 5498974 w 6884782"/>
              <a:gd name="connsiteY40838" fmla="*/ 1953210 h 5973007"/>
              <a:gd name="connsiteX40839" fmla="*/ 5497693 w 6884782"/>
              <a:gd name="connsiteY40839" fmla="*/ 1952640 h 5973007"/>
              <a:gd name="connsiteX40840" fmla="*/ 5497693 w 6884782"/>
              <a:gd name="connsiteY40840" fmla="*/ 1952925 h 5973007"/>
              <a:gd name="connsiteX40841" fmla="*/ 5494278 w 6884782"/>
              <a:gd name="connsiteY40841" fmla="*/ 1952782 h 5973007"/>
              <a:gd name="connsiteX40842" fmla="*/ 5493211 w 6884782"/>
              <a:gd name="connsiteY40842" fmla="*/ 1953067 h 5973007"/>
              <a:gd name="connsiteX40843" fmla="*/ 5492998 w 6884782"/>
              <a:gd name="connsiteY40843" fmla="*/ 1952782 h 5973007"/>
              <a:gd name="connsiteX40844" fmla="*/ 5491717 w 6884782"/>
              <a:gd name="connsiteY40844" fmla="*/ 1952782 h 5973007"/>
              <a:gd name="connsiteX40845" fmla="*/ 5493424 w 6884782"/>
              <a:gd name="connsiteY40845" fmla="*/ 1947945 h 5973007"/>
              <a:gd name="connsiteX40846" fmla="*/ 5497052 w 6884782"/>
              <a:gd name="connsiteY40846" fmla="*/ 1946665 h 5973007"/>
              <a:gd name="connsiteX40847" fmla="*/ 6217131 w 6884782"/>
              <a:gd name="connsiteY40847" fmla="*/ 1946380 h 5973007"/>
              <a:gd name="connsiteX40848" fmla="*/ 6221612 w 6884782"/>
              <a:gd name="connsiteY40848" fmla="*/ 1946522 h 5973007"/>
              <a:gd name="connsiteX40849" fmla="*/ 6228015 w 6884782"/>
              <a:gd name="connsiteY40849" fmla="*/ 1955343 h 5973007"/>
              <a:gd name="connsiteX40850" fmla="*/ 6228229 w 6884782"/>
              <a:gd name="connsiteY40850" fmla="*/ 1959896 h 5973007"/>
              <a:gd name="connsiteX40851" fmla="*/ 6215424 w 6884782"/>
              <a:gd name="connsiteY40851" fmla="*/ 1959469 h 5973007"/>
              <a:gd name="connsiteX40852" fmla="*/ 6212009 w 6884782"/>
              <a:gd name="connsiteY40852" fmla="*/ 1959896 h 5973007"/>
              <a:gd name="connsiteX40853" fmla="*/ 6214356 w 6884782"/>
              <a:gd name="connsiteY40853" fmla="*/ 1962741 h 5973007"/>
              <a:gd name="connsiteX40854" fmla="*/ 6215210 w 6884782"/>
              <a:gd name="connsiteY40854" fmla="*/ 1970850 h 5973007"/>
              <a:gd name="connsiteX40855" fmla="*/ 6197710 w 6884782"/>
              <a:gd name="connsiteY40855" fmla="*/ 1984224 h 5973007"/>
              <a:gd name="connsiteX40856" fmla="*/ 6194722 w 6884782"/>
              <a:gd name="connsiteY40856" fmla="*/ 1983513 h 5973007"/>
              <a:gd name="connsiteX40857" fmla="*/ 6189599 w 6884782"/>
              <a:gd name="connsiteY40857" fmla="*/ 1983940 h 5973007"/>
              <a:gd name="connsiteX40858" fmla="*/ 6188319 w 6884782"/>
              <a:gd name="connsiteY40858" fmla="*/ 1968574 h 5973007"/>
              <a:gd name="connsiteX40859" fmla="*/ 6199417 w 6884782"/>
              <a:gd name="connsiteY40859" fmla="*/ 1954916 h 5973007"/>
              <a:gd name="connsiteX40860" fmla="*/ 6203472 w 6884782"/>
              <a:gd name="connsiteY40860" fmla="*/ 1954774 h 5973007"/>
              <a:gd name="connsiteX40861" fmla="*/ 6204539 w 6884782"/>
              <a:gd name="connsiteY40861" fmla="*/ 1951218 h 5973007"/>
              <a:gd name="connsiteX40862" fmla="*/ 6217131 w 6884782"/>
              <a:gd name="connsiteY40862" fmla="*/ 1946380 h 5973007"/>
              <a:gd name="connsiteX40863" fmla="*/ 1207892 w 6884782"/>
              <a:gd name="connsiteY40863" fmla="*/ 1946294 h 5973007"/>
              <a:gd name="connsiteX40864" fmla="*/ 1209937 w 6884782"/>
              <a:gd name="connsiteY40864" fmla="*/ 1947828 h 5973007"/>
              <a:gd name="connsiteX40865" fmla="*/ 1209854 w 6884782"/>
              <a:gd name="connsiteY40865" fmla="*/ 1947843 h 5973007"/>
              <a:gd name="connsiteX40866" fmla="*/ 1207892 w 6884782"/>
              <a:gd name="connsiteY40866" fmla="*/ 1946294 h 5973007"/>
              <a:gd name="connsiteX40867" fmla="*/ 5976820 w 6884782"/>
              <a:gd name="connsiteY40867" fmla="*/ 1945811 h 5973007"/>
              <a:gd name="connsiteX40868" fmla="*/ 5979595 w 6884782"/>
              <a:gd name="connsiteY40868" fmla="*/ 1947234 h 5973007"/>
              <a:gd name="connsiteX40869" fmla="*/ 5979808 w 6884782"/>
              <a:gd name="connsiteY40869" fmla="*/ 1953351 h 5973007"/>
              <a:gd name="connsiteX40870" fmla="*/ 5975540 w 6884782"/>
              <a:gd name="connsiteY40870" fmla="*/ 1957904 h 5973007"/>
              <a:gd name="connsiteX40871" fmla="*/ 5974472 w 6884782"/>
              <a:gd name="connsiteY40871" fmla="*/ 1961603 h 5973007"/>
              <a:gd name="connsiteX40872" fmla="*/ 5973405 w 6884782"/>
              <a:gd name="connsiteY40872" fmla="*/ 1961461 h 5973007"/>
              <a:gd name="connsiteX40873" fmla="*/ 5974899 w 6884782"/>
              <a:gd name="connsiteY40873" fmla="*/ 1947091 h 5973007"/>
              <a:gd name="connsiteX40874" fmla="*/ 5976820 w 6884782"/>
              <a:gd name="connsiteY40874" fmla="*/ 1945811 h 5973007"/>
              <a:gd name="connsiteX40875" fmla="*/ 5476351 w 6884782"/>
              <a:gd name="connsiteY40875" fmla="*/ 1945100 h 5973007"/>
              <a:gd name="connsiteX40876" fmla="*/ 5480192 w 6884782"/>
              <a:gd name="connsiteY40876" fmla="*/ 1946096 h 5973007"/>
              <a:gd name="connsiteX40877" fmla="*/ 5468668 w 6884782"/>
              <a:gd name="connsiteY40877" fmla="*/ 1958331 h 5973007"/>
              <a:gd name="connsiteX40878" fmla="*/ 5468241 w 6884782"/>
              <a:gd name="connsiteY40878" fmla="*/ 1950648 h 5973007"/>
              <a:gd name="connsiteX40879" fmla="*/ 5476351 w 6884782"/>
              <a:gd name="connsiteY40879" fmla="*/ 1945100 h 5973007"/>
              <a:gd name="connsiteX40880" fmla="*/ 4861061 w 6884782"/>
              <a:gd name="connsiteY40880" fmla="*/ 1942681 h 5973007"/>
              <a:gd name="connsiteX40881" fmla="*/ 4861702 w 6884782"/>
              <a:gd name="connsiteY40881" fmla="*/ 1947518 h 5973007"/>
              <a:gd name="connsiteX40882" fmla="*/ 4858501 w 6884782"/>
              <a:gd name="connsiteY40882" fmla="*/ 1948941 h 5973007"/>
              <a:gd name="connsiteX40883" fmla="*/ 4861061 w 6884782"/>
              <a:gd name="connsiteY40883" fmla="*/ 1942681 h 5973007"/>
              <a:gd name="connsiteX40884" fmla="*/ 5784955 w 6884782"/>
              <a:gd name="connsiteY40884" fmla="*/ 1942397 h 5973007"/>
              <a:gd name="connsiteX40885" fmla="*/ 5787730 w 6884782"/>
              <a:gd name="connsiteY40885" fmla="*/ 1942539 h 5973007"/>
              <a:gd name="connsiteX40886" fmla="*/ 5789864 w 6884782"/>
              <a:gd name="connsiteY40886" fmla="*/ 1945526 h 5973007"/>
              <a:gd name="connsiteX40887" fmla="*/ 5788157 w 6884782"/>
              <a:gd name="connsiteY40887" fmla="*/ 1950506 h 5973007"/>
              <a:gd name="connsiteX40888" fmla="*/ 5785383 w 6884782"/>
              <a:gd name="connsiteY40888" fmla="*/ 1950363 h 5973007"/>
              <a:gd name="connsiteX40889" fmla="*/ 5782608 w 6884782"/>
              <a:gd name="connsiteY40889" fmla="*/ 1948515 h 5973007"/>
              <a:gd name="connsiteX40890" fmla="*/ 5784955 w 6884782"/>
              <a:gd name="connsiteY40890" fmla="*/ 1942397 h 5973007"/>
              <a:gd name="connsiteX40891" fmla="*/ 903492 w 6884782"/>
              <a:gd name="connsiteY40891" fmla="*/ 1942267 h 5973007"/>
              <a:gd name="connsiteX40892" fmla="*/ 907003 w 6884782"/>
              <a:gd name="connsiteY40892" fmla="*/ 1942732 h 5973007"/>
              <a:gd name="connsiteX40893" fmla="*/ 900704 w 6884782"/>
              <a:gd name="connsiteY40893" fmla="*/ 1943661 h 5973007"/>
              <a:gd name="connsiteX40894" fmla="*/ 903492 w 6884782"/>
              <a:gd name="connsiteY40894" fmla="*/ 1942267 h 5973007"/>
              <a:gd name="connsiteX40895" fmla="*/ 4735144 w 6884782"/>
              <a:gd name="connsiteY40895" fmla="*/ 1941827 h 5973007"/>
              <a:gd name="connsiteX40896" fmla="*/ 4742187 w 6884782"/>
              <a:gd name="connsiteY40896" fmla="*/ 1947091 h 5973007"/>
              <a:gd name="connsiteX40897" fmla="*/ 4733009 w 6884782"/>
              <a:gd name="connsiteY40897" fmla="*/ 1950221 h 5973007"/>
              <a:gd name="connsiteX40898" fmla="*/ 4735144 w 6884782"/>
              <a:gd name="connsiteY40898" fmla="*/ 1941827 h 5973007"/>
              <a:gd name="connsiteX40899" fmla="*/ 1199838 w 6884782"/>
              <a:gd name="connsiteY40899" fmla="*/ 1941647 h 5973007"/>
              <a:gd name="connsiteX40900" fmla="*/ 1201696 w 6884782"/>
              <a:gd name="connsiteY40900" fmla="*/ 1943971 h 5973007"/>
              <a:gd name="connsiteX40901" fmla="*/ 1205207 w 6884782"/>
              <a:gd name="connsiteY40901" fmla="*/ 1944281 h 5973007"/>
              <a:gd name="connsiteX40902" fmla="*/ 1207065 w 6884782"/>
              <a:gd name="connsiteY40902" fmla="*/ 1946604 h 5973007"/>
              <a:gd name="connsiteX40903" fmla="*/ 1206239 w 6884782"/>
              <a:gd name="connsiteY40903" fmla="*/ 1946759 h 5973007"/>
              <a:gd name="connsiteX40904" fmla="*/ 1204381 w 6884782"/>
              <a:gd name="connsiteY40904" fmla="*/ 1945210 h 5973007"/>
              <a:gd name="connsiteX40905" fmla="*/ 1198289 w 6884782"/>
              <a:gd name="connsiteY40905" fmla="*/ 1944436 h 5973007"/>
              <a:gd name="connsiteX40906" fmla="*/ 1197256 w 6884782"/>
              <a:gd name="connsiteY40906" fmla="*/ 1942886 h 5973007"/>
              <a:gd name="connsiteX40907" fmla="*/ 1199838 w 6884782"/>
              <a:gd name="connsiteY40907" fmla="*/ 1941647 h 5973007"/>
              <a:gd name="connsiteX40908" fmla="*/ 1320751 w 6884782"/>
              <a:gd name="connsiteY40908" fmla="*/ 1941182 h 5973007"/>
              <a:gd name="connsiteX40909" fmla="*/ 1322299 w 6884782"/>
              <a:gd name="connsiteY40909" fmla="*/ 1943661 h 5973007"/>
              <a:gd name="connsiteX40910" fmla="*/ 1325707 w 6884782"/>
              <a:gd name="connsiteY40910" fmla="*/ 1944436 h 5973007"/>
              <a:gd name="connsiteX40911" fmla="*/ 1327359 w 6884782"/>
              <a:gd name="connsiteY40911" fmla="*/ 1946759 h 5973007"/>
              <a:gd name="connsiteX40912" fmla="*/ 1326430 w 6884782"/>
              <a:gd name="connsiteY40912" fmla="*/ 1946759 h 5973007"/>
              <a:gd name="connsiteX40913" fmla="*/ 1324881 w 6884782"/>
              <a:gd name="connsiteY40913" fmla="*/ 1945210 h 5973007"/>
              <a:gd name="connsiteX40914" fmla="*/ 1318892 w 6884782"/>
              <a:gd name="connsiteY40914" fmla="*/ 1943816 h 5973007"/>
              <a:gd name="connsiteX40915" fmla="*/ 1318169 w 6884782"/>
              <a:gd name="connsiteY40915" fmla="*/ 1942112 h 5973007"/>
              <a:gd name="connsiteX40916" fmla="*/ 1320751 w 6884782"/>
              <a:gd name="connsiteY40916" fmla="*/ 1941182 h 5973007"/>
              <a:gd name="connsiteX40917" fmla="*/ 1183833 w 6884782"/>
              <a:gd name="connsiteY40917" fmla="*/ 1940873 h 5973007"/>
              <a:gd name="connsiteX40918" fmla="*/ 1184452 w 6884782"/>
              <a:gd name="connsiteY40918" fmla="*/ 1947069 h 5973007"/>
              <a:gd name="connsiteX40919" fmla="*/ 1182594 w 6884782"/>
              <a:gd name="connsiteY40919" fmla="*/ 1952645 h 5973007"/>
              <a:gd name="connsiteX40920" fmla="*/ 1185588 w 6884782"/>
              <a:gd name="connsiteY40920" fmla="*/ 1952180 h 5973007"/>
              <a:gd name="connsiteX40921" fmla="*/ 1188996 w 6884782"/>
              <a:gd name="connsiteY40921" fmla="*/ 1953419 h 5973007"/>
              <a:gd name="connsiteX40922" fmla="*/ 1189822 w 6884782"/>
              <a:gd name="connsiteY40922" fmla="*/ 1954349 h 5973007"/>
              <a:gd name="connsiteX40923" fmla="*/ 1185692 w 6884782"/>
              <a:gd name="connsiteY40923" fmla="*/ 1953729 h 5973007"/>
              <a:gd name="connsiteX40924" fmla="*/ 1182491 w 6884782"/>
              <a:gd name="connsiteY40924" fmla="*/ 1952800 h 5973007"/>
              <a:gd name="connsiteX40925" fmla="*/ 1182387 w 6884782"/>
              <a:gd name="connsiteY40925" fmla="*/ 1953110 h 5973007"/>
              <a:gd name="connsiteX40926" fmla="*/ 1174953 w 6884782"/>
              <a:gd name="connsiteY40926" fmla="*/ 1962404 h 5973007"/>
              <a:gd name="connsiteX40927" fmla="*/ 1174230 w 6884782"/>
              <a:gd name="connsiteY40927" fmla="*/ 1956053 h 5973007"/>
              <a:gd name="connsiteX40928" fmla="*/ 1183833 w 6884782"/>
              <a:gd name="connsiteY40928" fmla="*/ 1940873 h 5973007"/>
              <a:gd name="connsiteX40929" fmla="*/ 3583531 w 6884782"/>
              <a:gd name="connsiteY40929" fmla="*/ 1940689 h 5973007"/>
              <a:gd name="connsiteX40930" fmla="*/ 3590574 w 6884782"/>
              <a:gd name="connsiteY40930" fmla="*/ 1942255 h 5973007"/>
              <a:gd name="connsiteX40931" fmla="*/ 3589720 w 6884782"/>
              <a:gd name="connsiteY40931" fmla="*/ 1954063 h 5973007"/>
              <a:gd name="connsiteX40932" fmla="*/ 3587373 w 6884782"/>
              <a:gd name="connsiteY40932" fmla="*/ 1956055 h 5973007"/>
              <a:gd name="connsiteX40933" fmla="*/ 3590360 w 6884782"/>
              <a:gd name="connsiteY40933" fmla="*/ 1963168 h 5973007"/>
              <a:gd name="connsiteX40934" fmla="*/ 3589933 w 6884782"/>
              <a:gd name="connsiteY40934" fmla="*/ 1969001 h 5973007"/>
              <a:gd name="connsiteX40935" fmla="*/ 3585452 w 6884782"/>
              <a:gd name="connsiteY40935" fmla="*/ 1962457 h 5973007"/>
              <a:gd name="connsiteX40936" fmla="*/ 3585238 w 6884782"/>
              <a:gd name="connsiteY40936" fmla="*/ 1958189 h 5973007"/>
              <a:gd name="connsiteX40937" fmla="*/ 3582250 w 6884782"/>
              <a:gd name="connsiteY40937" fmla="*/ 1960892 h 5973007"/>
              <a:gd name="connsiteX40938" fmla="*/ 3563043 w 6884782"/>
              <a:gd name="connsiteY40938" fmla="*/ 1952925 h 5973007"/>
              <a:gd name="connsiteX40939" fmla="*/ 3576488 w 6884782"/>
              <a:gd name="connsiteY40939" fmla="*/ 1941543 h 5973007"/>
              <a:gd name="connsiteX40940" fmla="*/ 3583531 w 6884782"/>
              <a:gd name="connsiteY40940" fmla="*/ 1940689 h 5973007"/>
              <a:gd name="connsiteX40941" fmla="*/ 3933539 w 6884782"/>
              <a:gd name="connsiteY40941" fmla="*/ 1939979 h 5973007"/>
              <a:gd name="connsiteX40942" fmla="*/ 3935887 w 6884782"/>
              <a:gd name="connsiteY40942" fmla="*/ 1943250 h 5973007"/>
              <a:gd name="connsiteX40943" fmla="*/ 3936741 w 6884782"/>
              <a:gd name="connsiteY40943" fmla="*/ 1948799 h 5973007"/>
              <a:gd name="connsiteX40944" fmla="*/ 3936741 w 6884782"/>
              <a:gd name="connsiteY40944" fmla="*/ 1947661 h 5973007"/>
              <a:gd name="connsiteX40945" fmla="*/ 3940369 w 6884782"/>
              <a:gd name="connsiteY40945" fmla="*/ 1944957 h 5973007"/>
              <a:gd name="connsiteX40946" fmla="*/ 3939942 w 6884782"/>
              <a:gd name="connsiteY40946" fmla="*/ 1944389 h 5973007"/>
              <a:gd name="connsiteX40947" fmla="*/ 3933966 w 6884782"/>
              <a:gd name="connsiteY40947" fmla="*/ 1940120 h 5973007"/>
              <a:gd name="connsiteX40948" fmla="*/ 4860635 w 6884782"/>
              <a:gd name="connsiteY40948" fmla="*/ 1939267 h 5973007"/>
              <a:gd name="connsiteX40949" fmla="*/ 4861061 w 6884782"/>
              <a:gd name="connsiteY40949" fmla="*/ 1941827 h 5973007"/>
              <a:gd name="connsiteX40950" fmla="*/ 4859994 w 6884782"/>
              <a:gd name="connsiteY40950" fmla="*/ 1941827 h 5973007"/>
              <a:gd name="connsiteX40951" fmla="*/ 4860635 w 6884782"/>
              <a:gd name="connsiteY40951" fmla="*/ 1939267 h 5973007"/>
              <a:gd name="connsiteX40952" fmla="*/ 1093174 w 6884782"/>
              <a:gd name="connsiteY40952" fmla="*/ 1939014 h 5973007"/>
              <a:gd name="connsiteX40953" fmla="*/ 1097924 w 6884782"/>
              <a:gd name="connsiteY40953" fmla="*/ 1945055 h 5973007"/>
              <a:gd name="connsiteX40954" fmla="*/ 1092967 w 6884782"/>
              <a:gd name="connsiteY40954" fmla="*/ 1940563 h 5973007"/>
              <a:gd name="connsiteX40955" fmla="*/ 1093174 w 6884782"/>
              <a:gd name="connsiteY40955" fmla="*/ 1939014 h 5973007"/>
              <a:gd name="connsiteX40956" fmla="*/ 6075847 w 6884782"/>
              <a:gd name="connsiteY40956" fmla="*/ 1938982 h 5973007"/>
              <a:gd name="connsiteX40957" fmla="*/ 6070084 w 6884782"/>
              <a:gd name="connsiteY40957" fmla="*/ 1946665 h 5973007"/>
              <a:gd name="connsiteX40958" fmla="*/ 6063895 w 6884782"/>
              <a:gd name="connsiteY40958" fmla="*/ 1950791 h 5973007"/>
              <a:gd name="connsiteX40959" fmla="*/ 6064322 w 6884782"/>
              <a:gd name="connsiteY40959" fmla="*/ 1954347 h 5973007"/>
              <a:gd name="connsiteX40960" fmla="*/ 6067737 w 6884782"/>
              <a:gd name="connsiteY40960" fmla="*/ 1949083 h 5973007"/>
              <a:gd name="connsiteX40961" fmla="*/ 6089719 w 6884782"/>
              <a:gd name="connsiteY40961" fmla="*/ 1940832 h 5973007"/>
              <a:gd name="connsiteX40962" fmla="*/ 6079902 w 6884782"/>
              <a:gd name="connsiteY40962" fmla="*/ 1953493 h 5973007"/>
              <a:gd name="connsiteX40963" fmla="*/ 6064536 w 6884782"/>
              <a:gd name="connsiteY40963" fmla="*/ 1956481 h 5973007"/>
              <a:gd name="connsiteX40964" fmla="*/ 6064536 w 6884782"/>
              <a:gd name="connsiteY40964" fmla="*/ 1960038 h 5973007"/>
              <a:gd name="connsiteX40965" fmla="*/ 6059627 w 6884782"/>
              <a:gd name="connsiteY40965" fmla="*/ 1961034 h 5973007"/>
              <a:gd name="connsiteX40966" fmla="*/ 6057066 w 6884782"/>
              <a:gd name="connsiteY40966" fmla="*/ 1959184 h 5973007"/>
              <a:gd name="connsiteX40967" fmla="*/ 6056426 w 6884782"/>
              <a:gd name="connsiteY40967" fmla="*/ 1966440 h 5973007"/>
              <a:gd name="connsiteX40968" fmla="*/ 6044047 w 6884782"/>
              <a:gd name="connsiteY40968" fmla="*/ 1957335 h 5973007"/>
              <a:gd name="connsiteX40969" fmla="*/ 6047889 w 6884782"/>
              <a:gd name="connsiteY40969" fmla="*/ 1953493 h 5973007"/>
              <a:gd name="connsiteX40970" fmla="*/ 6047035 w 6884782"/>
              <a:gd name="connsiteY40970" fmla="*/ 1953493 h 5973007"/>
              <a:gd name="connsiteX40971" fmla="*/ 6051517 w 6884782"/>
              <a:gd name="connsiteY40971" fmla="*/ 1947518 h 5973007"/>
              <a:gd name="connsiteX40972" fmla="*/ 6051944 w 6884782"/>
              <a:gd name="connsiteY40972" fmla="*/ 1945811 h 5973007"/>
              <a:gd name="connsiteX40973" fmla="*/ 6054078 w 6884782"/>
              <a:gd name="connsiteY40973" fmla="*/ 1940262 h 5973007"/>
              <a:gd name="connsiteX40974" fmla="*/ 6059413 w 6884782"/>
              <a:gd name="connsiteY40974" fmla="*/ 1942255 h 5973007"/>
              <a:gd name="connsiteX40975" fmla="*/ 6060480 w 6884782"/>
              <a:gd name="connsiteY40975" fmla="*/ 1941543 h 5973007"/>
              <a:gd name="connsiteX40976" fmla="*/ 6075847 w 6884782"/>
              <a:gd name="connsiteY40976" fmla="*/ 1938982 h 5973007"/>
              <a:gd name="connsiteX40977" fmla="*/ 3659722 w 6884782"/>
              <a:gd name="connsiteY40977" fmla="*/ 1938982 h 5973007"/>
              <a:gd name="connsiteX40978" fmla="*/ 3664844 w 6884782"/>
              <a:gd name="connsiteY40978" fmla="*/ 1944957 h 5973007"/>
              <a:gd name="connsiteX40979" fmla="*/ 3655453 w 6884782"/>
              <a:gd name="connsiteY40979" fmla="*/ 1945242 h 5973007"/>
              <a:gd name="connsiteX40980" fmla="*/ 3659722 w 6884782"/>
              <a:gd name="connsiteY40980" fmla="*/ 1938982 h 5973007"/>
              <a:gd name="connsiteX40981" fmla="*/ 1218630 w 6884782"/>
              <a:gd name="connsiteY40981" fmla="*/ 1938704 h 5973007"/>
              <a:gd name="connsiteX40982" fmla="*/ 1240727 w 6884782"/>
              <a:gd name="connsiteY40982" fmla="*/ 1949393 h 5973007"/>
              <a:gd name="connsiteX40983" fmla="*/ 1218630 w 6884782"/>
              <a:gd name="connsiteY40983" fmla="*/ 1938704 h 5973007"/>
              <a:gd name="connsiteX40984" fmla="*/ 6011181 w 6884782"/>
              <a:gd name="connsiteY40984" fmla="*/ 1938414 h 5973007"/>
              <a:gd name="connsiteX40985" fmla="*/ 6021211 w 6884782"/>
              <a:gd name="connsiteY40985" fmla="*/ 1941259 h 5973007"/>
              <a:gd name="connsiteX40986" fmla="*/ 6020998 w 6884782"/>
              <a:gd name="connsiteY40986" fmla="*/ 1949510 h 5973007"/>
              <a:gd name="connsiteX40987" fmla="*/ 6027400 w 6884782"/>
              <a:gd name="connsiteY40987" fmla="*/ 1953920 h 5973007"/>
              <a:gd name="connsiteX40988" fmla="*/ 6007766 w 6884782"/>
              <a:gd name="connsiteY40988" fmla="*/ 1970423 h 5973007"/>
              <a:gd name="connsiteX40989" fmla="*/ 6005418 w 6884782"/>
              <a:gd name="connsiteY40989" fmla="*/ 1967151 h 5973007"/>
              <a:gd name="connsiteX40990" fmla="*/ 6004138 w 6884782"/>
              <a:gd name="connsiteY40990" fmla="*/ 1967863 h 5973007"/>
              <a:gd name="connsiteX40991" fmla="*/ 5999016 w 6884782"/>
              <a:gd name="connsiteY40991" fmla="*/ 1969428 h 5973007"/>
              <a:gd name="connsiteX40992" fmla="*/ 5999442 w 6884782"/>
              <a:gd name="connsiteY40992" fmla="*/ 1969997 h 5973007"/>
              <a:gd name="connsiteX40993" fmla="*/ 5998162 w 6884782"/>
              <a:gd name="connsiteY40993" fmla="*/ 1973269 h 5973007"/>
              <a:gd name="connsiteX40994" fmla="*/ 5988985 w 6884782"/>
              <a:gd name="connsiteY40994" fmla="*/ 1975261 h 5973007"/>
              <a:gd name="connsiteX40995" fmla="*/ 5983223 w 6884782"/>
              <a:gd name="connsiteY40995" fmla="*/ 1977395 h 5973007"/>
              <a:gd name="connsiteX40996" fmla="*/ 5990052 w 6884782"/>
              <a:gd name="connsiteY40996" fmla="*/ 1972842 h 5973007"/>
              <a:gd name="connsiteX40997" fmla="*/ 5991119 w 6884782"/>
              <a:gd name="connsiteY40997" fmla="*/ 1969428 h 5973007"/>
              <a:gd name="connsiteX40998" fmla="*/ 5993254 w 6884782"/>
              <a:gd name="connsiteY40998" fmla="*/ 1968574 h 5973007"/>
              <a:gd name="connsiteX40999" fmla="*/ 5992826 w 6884782"/>
              <a:gd name="connsiteY40999" fmla="*/ 1967009 h 5973007"/>
              <a:gd name="connsiteX41000" fmla="*/ 5991119 w 6884782"/>
              <a:gd name="connsiteY41000" fmla="*/ 1963737 h 5973007"/>
              <a:gd name="connsiteX41001" fmla="*/ 5999656 w 6884782"/>
              <a:gd name="connsiteY41001" fmla="*/ 1960892 h 5973007"/>
              <a:gd name="connsiteX41002" fmla="*/ 6003284 w 6884782"/>
              <a:gd name="connsiteY41002" fmla="*/ 1960322 h 5973007"/>
              <a:gd name="connsiteX41003" fmla="*/ 6003284 w 6884782"/>
              <a:gd name="connsiteY41003" fmla="*/ 1959896 h 5973007"/>
              <a:gd name="connsiteX41004" fmla="*/ 6006699 w 6884782"/>
              <a:gd name="connsiteY41004" fmla="*/ 1953493 h 5973007"/>
              <a:gd name="connsiteX41005" fmla="*/ 6008620 w 6884782"/>
              <a:gd name="connsiteY41005" fmla="*/ 1952213 h 5973007"/>
              <a:gd name="connsiteX41006" fmla="*/ 6011181 w 6884782"/>
              <a:gd name="connsiteY41006" fmla="*/ 1938414 h 5973007"/>
              <a:gd name="connsiteX41007" fmla="*/ 5680167 w 6884782"/>
              <a:gd name="connsiteY41007" fmla="*/ 1938271 h 5973007"/>
              <a:gd name="connsiteX41008" fmla="*/ 5682514 w 6884782"/>
              <a:gd name="connsiteY41008" fmla="*/ 1946380 h 5973007"/>
              <a:gd name="connsiteX41009" fmla="*/ 5681447 w 6884782"/>
              <a:gd name="connsiteY41009" fmla="*/ 1951645 h 5973007"/>
              <a:gd name="connsiteX41010" fmla="*/ 5681020 w 6884782"/>
              <a:gd name="connsiteY41010" fmla="*/ 1953778 h 5973007"/>
              <a:gd name="connsiteX41011" fmla="*/ 5682514 w 6884782"/>
              <a:gd name="connsiteY41011" fmla="*/ 1952498 h 5973007"/>
              <a:gd name="connsiteX41012" fmla="*/ 5714954 w 6884782"/>
              <a:gd name="connsiteY41012" fmla="*/ 1942824 h 5973007"/>
              <a:gd name="connsiteX41013" fmla="*/ 5750382 w 6884782"/>
              <a:gd name="connsiteY41013" fmla="*/ 1971704 h 5973007"/>
              <a:gd name="connsiteX41014" fmla="*/ 5747181 w 6884782"/>
              <a:gd name="connsiteY41014" fmla="*/ 1987781 h 5973007"/>
              <a:gd name="connsiteX41015" fmla="*/ 5748034 w 6884782"/>
              <a:gd name="connsiteY41015" fmla="*/ 1990768 h 5973007"/>
              <a:gd name="connsiteX41016" fmla="*/ 5754650 w 6884782"/>
              <a:gd name="connsiteY41016" fmla="*/ 1993045 h 5973007"/>
              <a:gd name="connsiteX41017" fmla="*/ 5753156 w 6884782"/>
              <a:gd name="connsiteY41017" fmla="*/ 2001866 h 5973007"/>
              <a:gd name="connsiteX41018" fmla="*/ 5749955 w 6884782"/>
              <a:gd name="connsiteY41018" fmla="*/ 2004853 h 5973007"/>
              <a:gd name="connsiteX41019" fmla="*/ 5751235 w 6884782"/>
              <a:gd name="connsiteY41019" fmla="*/ 2006844 h 5973007"/>
              <a:gd name="connsiteX41020" fmla="*/ 5739711 w 6884782"/>
              <a:gd name="connsiteY41020" fmla="*/ 2028611 h 5973007"/>
              <a:gd name="connsiteX41021" fmla="*/ 5728186 w 6884782"/>
              <a:gd name="connsiteY41021" fmla="*/ 2036437 h 5973007"/>
              <a:gd name="connsiteX41022" fmla="*/ 5724558 w 6884782"/>
              <a:gd name="connsiteY41022" fmla="*/ 2035014 h 5973007"/>
              <a:gd name="connsiteX41023" fmla="*/ 5723277 w 6884782"/>
              <a:gd name="connsiteY41023" fmla="*/ 2033449 h 5973007"/>
              <a:gd name="connsiteX41024" fmla="*/ 5721570 w 6884782"/>
              <a:gd name="connsiteY41024" fmla="*/ 2032880 h 5973007"/>
              <a:gd name="connsiteX41025" fmla="*/ 5709618 w 6884782"/>
              <a:gd name="connsiteY41025" fmla="*/ 2035725 h 5973007"/>
              <a:gd name="connsiteX41026" fmla="*/ 5714314 w 6884782"/>
              <a:gd name="connsiteY41026" fmla="*/ 2036437 h 5973007"/>
              <a:gd name="connsiteX41027" fmla="*/ 5713033 w 6884782"/>
              <a:gd name="connsiteY41027" fmla="*/ 2036294 h 5973007"/>
              <a:gd name="connsiteX41028" fmla="*/ 5713246 w 6884782"/>
              <a:gd name="connsiteY41028" fmla="*/ 2038713 h 5973007"/>
              <a:gd name="connsiteX41029" fmla="*/ 5714314 w 6884782"/>
              <a:gd name="connsiteY41029" fmla="*/ 2038713 h 5973007"/>
              <a:gd name="connsiteX41030" fmla="*/ 5713246 w 6884782"/>
              <a:gd name="connsiteY41030" fmla="*/ 2041131 h 5973007"/>
              <a:gd name="connsiteX41031" fmla="*/ 5705350 w 6884782"/>
              <a:gd name="connsiteY41031" fmla="*/ 2044403 h 5973007"/>
              <a:gd name="connsiteX41032" fmla="*/ 5703856 w 6884782"/>
              <a:gd name="connsiteY41032" fmla="*/ 2040847 h 5973007"/>
              <a:gd name="connsiteX41033" fmla="*/ 5704497 w 6884782"/>
              <a:gd name="connsiteY41033" fmla="*/ 2039282 h 5973007"/>
              <a:gd name="connsiteX41034" fmla="*/ 5702789 w 6884782"/>
              <a:gd name="connsiteY41034" fmla="*/ 2037290 h 5973007"/>
              <a:gd name="connsiteX41035" fmla="*/ 5689130 w 6884782"/>
              <a:gd name="connsiteY41035" fmla="*/ 2040705 h 5973007"/>
              <a:gd name="connsiteX41036" fmla="*/ 5654556 w 6884782"/>
              <a:gd name="connsiteY41036" fmla="*/ 2007698 h 5973007"/>
              <a:gd name="connsiteX41037" fmla="*/ 5654983 w 6884782"/>
              <a:gd name="connsiteY41037" fmla="*/ 2006276 h 5973007"/>
              <a:gd name="connsiteX41038" fmla="*/ 5653489 w 6884782"/>
              <a:gd name="connsiteY41038" fmla="*/ 2004568 h 5973007"/>
              <a:gd name="connsiteX41039" fmla="*/ 5651568 w 6884782"/>
              <a:gd name="connsiteY41039" fmla="*/ 1996317 h 5973007"/>
              <a:gd name="connsiteX41040" fmla="*/ 5656904 w 6884782"/>
              <a:gd name="connsiteY41040" fmla="*/ 1993472 h 5973007"/>
              <a:gd name="connsiteX41041" fmla="*/ 5658398 w 6884782"/>
              <a:gd name="connsiteY41041" fmla="*/ 1993472 h 5973007"/>
              <a:gd name="connsiteX41042" fmla="*/ 5658611 w 6884782"/>
              <a:gd name="connsiteY41042" fmla="*/ 1991053 h 5973007"/>
              <a:gd name="connsiteX41043" fmla="*/ 5657971 w 6884782"/>
              <a:gd name="connsiteY41043" fmla="*/ 1977537 h 5973007"/>
              <a:gd name="connsiteX41044" fmla="*/ 5668855 w 6884782"/>
              <a:gd name="connsiteY41044" fmla="*/ 1964306 h 5973007"/>
              <a:gd name="connsiteX41045" fmla="*/ 5679100 w 6884782"/>
              <a:gd name="connsiteY41045" fmla="*/ 1955486 h 5973007"/>
              <a:gd name="connsiteX41046" fmla="*/ 5679100 w 6884782"/>
              <a:gd name="connsiteY41046" fmla="*/ 1947091 h 5973007"/>
              <a:gd name="connsiteX41047" fmla="*/ 5680167 w 6884782"/>
              <a:gd name="connsiteY41047" fmla="*/ 1938271 h 5973007"/>
              <a:gd name="connsiteX41048" fmla="*/ 1268090 w 6884782"/>
              <a:gd name="connsiteY41048" fmla="*/ 1937465 h 5973007"/>
              <a:gd name="connsiteX41049" fmla="*/ 1267780 w 6884782"/>
              <a:gd name="connsiteY41049" fmla="*/ 1937620 h 5973007"/>
              <a:gd name="connsiteX41050" fmla="*/ 1267780 w 6884782"/>
              <a:gd name="connsiteY41050" fmla="*/ 1937775 h 5973007"/>
              <a:gd name="connsiteX41051" fmla="*/ 1267987 w 6884782"/>
              <a:gd name="connsiteY41051" fmla="*/ 1939169 h 5973007"/>
              <a:gd name="connsiteX41052" fmla="*/ 6330457 w 6884782"/>
              <a:gd name="connsiteY41052" fmla="*/ 1936990 h 5973007"/>
              <a:gd name="connsiteX41053" fmla="*/ 6330670 w 6884782"/>
              <a:gd name="connsiteY41053" fmla="*/ 1950363 h 5973007"/>
              <a:gd name="connsiteX41054" fmla="*/ 6330457 w 6884782"/>
              <a:gd name="connsiteY41054" fmla="*/ 1936990 h 5973007"/>
              <a:gd name="connsiteX41055" fmla="*/ 5562359 w 6884782"/>
              <a:gd name="connsiteY41055" fmla="*/ 1936848 h 5973007"/>
              <a:gd name="connsiteX41056" fmla="*/ 5565774 w 6884782"/>
              <a:gd name="connsiteY41056" fmla="*/ 1937560 h 5973007"/>
              <a:gd name="connsiteX41057" fmla="*/ 5563212 w 6884782"/>
              <a:gd name="connsiteY41057" fmla="*/ 1944815 h 5973007"/>
              <a:gd name="connsiteX41058" fmla="*/ 5552969 w 6884782"/>
              <a:gd name="connsiteY41058" fmla="*/ 1946522 h 5973007"/>
              <a:gd name="connsiteX41059" fmla="*/ 5552115 w 6884782"/>
              <a:gd name="connsiteY41059" fmla="*/ 1940689 h 5973007"/>
              <a:gd name="connsiteX41060" fmla="*/ 5558304 w 6884782"/>
              <a:gd name="connsiteY41060" fmla="*/ 1937560 h 5973007"/>
              <a:gd name="connsiteX41061" fmla="*/ 5562359 w 6884782"/>
              <a:gd name="connsiteY41061" fmla="*/ 1936848 h 5973007"/>
              <a:gd name="connsiteX41062" fmla="*/ 1044540 w 6884782"/>
              <a:gd name="connsiteY41062" fmla="*/ 1936846 h 5973007"/>
              <a:gd name="connsiteX41063" fmla="*/ 1047741 w 6884782"/>
              <a:gd name="connsiteY41063" fmla="*/ 1938550 h 5973007"/>
              <a:gd name="connsiteX41064" fmla="*/ 1048670 w 6884782"/>
              <a:gd name="connsiteY41064" fmla="*/ 1939943 h 5973007"/>
              <a:gd name="connsiteX41065" fmla="*/ 1042888 w 6884782"/>
              <a:gd name="connsiteY41065" fmla="*/ 1945674 h 5973007"/>
              <a:gd name="connsiteX41066" fmla="*/ 1037106 w 6884782"/>
              <a:gd name="connsiteY41066" fmla="*/ 1941802 h 5973007"/>
              <a:gd name="connsiteX41067" fmla="*/ 1038138 w 6884782"/>
              <a:gd name="connsiteY41067" fmla="*/ 1940098 h 5973007"/>
              <a:gd name="connsiteX41068" fmla="*/ 1039687 w 6884782"/>
              <a:gd name="connsiteY41068" fmla="*/ 1938550 h 5973007"/>
              <a:gd name="connsiteX41069" fmla="*/ 1044540 w 6884782"/>
              <a:gd name="connsiteY41069" fmla="*/ 1936846 h 5973007"/>
              <a:gd name="connsiteX41070" fmla="*/ 3570726 w 6884782"/>
              <a:gd name="connsiteY41070" fmla="*/ 1936137 h 5973007"/>
              <a:gd name="connsiteX41071" fmla="*/ 3560268 w 6884782"/>
              <a:gd name="connsiteY41071" fmla="*/ 1945242 h 5973007"/>
              <a:gd name="connsiteX41072" fmla="*/ 3570726 w 6884782"/>
              <a:gd name="connsiteY41072" fmla="*/ 1936137 h 5973007"/>
              <a:gd name="connsiteX41073" fmla="*/ 922078 w 6884782"/>
              <a:gd name="connsiteY41073" fmla="*/ 1935296 h 5973007"/>
              <a:gd name="connsiteX41074" fmla="*/ 926208 w 6884782"/>
              <a:gd name="connsiteY41074" fmla="*/ 1939169 h 5973007"/>
              <a:gd name="connsiteX41075" fmla="*/ 926931 w 6884782"/>
              <a:gd name="connsiteY41075" fmla="*/ 1939014 h 5973007"/>
              <a:gd name="connsiteX41076" fmla="*/ 929306 w 6884782"/>
              <a:gd name="connsiteY41076" fmla="*/ 1947379 h 5973007"/>
              <a:gd name="connsiteX41077" fmla="*/ 928170 w 6884782"/>
              <a:gd name="connsiteY41077" fmla="*/ 1949082 h 5973007"/>
              <a:gd name="connsiteX41078" fmla="*/ 928170 w 6884782"/>
              <a:gd name="connsiteY41078" fmla="*/ 1949393 h 5973007"/>
              <a:gd name="connsiteX41079" fmla="*/ 920220 w 6884782"/>
              <a:gd name="connsiteY41079" fmla="*/ 1948772 h 5973007"/>
              <a:gd name="connsiteX41080" fmla="*/ 918258 w 6884782"/>
              <a:gd name="connsiteY41080" fmla="*/ 1946139 h 5973007"/>
              <a:gd name="connsiteX41081" fmla="*/ 918155 w 6884782"/>
              <a:gd name="connsiteY41081" fmla="*/ 1942422 h 5973007"/>
              <a:gd name="connsiteX41082" fmla="*/ 917329 w 6884782"/>
              <a:gd name="connsiteY41082" fmla="*/ 1939789 h 5973007"/>
              <a:gd name="connsiteX41083" fmla="*/ 917845 w 6884782"/>
              <a:gd name="connsiteY41083" fmla="*/ 1936691 h 5973007"/>
              <a:gd name="connsiteX41084" fmla="*/ 922078 w 6884782"/>
              <a:gd name="connsiteY41084" fmla="*/ 1935296 h 5973007"/>
              <a:gd name="connsiteX41085" fmla="*/ 1548121 w 6884782"/>
              <a:gd name="connsiteY41085" fmla="*/ 1935142 h 5973007"/>
              <a:gd name="connsiteX41086" fmla="*/ 1588287 w 6884782"/>
              <a:gd name="connsiteY41086" fmla="*/ 1964262 h 5973007"/>
              <a:gd name="connsiteX41087" fmla="*/ 1589733 w 6884782"/>
              <a:gd name="connsiteY41087" fmla="*/ 1966121 h 5973007"/>
              <a:gd name="connsiteX41088" fmla="*/ 1590146 w 6884782"/>
              <a:gd name="connsiteY41088" fmla="*/ 1964572 h 5973007"/>
              <a:gd name="connsiteX41089" fmla="*/ 1595722 w 6884782"/>
              <a:gd name="connsiteY41089" fmla="*/ 1965346 h 5973007"/>
              <a:gd name="connsiteX41090" fmla="*/ 1592624 w 6884782"/>
              <a:gd name="connsiteY41090" fmla="*/ 1969683 h 5973007"/>
              <a:gd name="connsiteX41091" fmla="*/ 1593347 w 6884782"/>
              <a:gd name="connsiteY41091" fmla="*/ 1970458 h 5973007"/>
              <a:gd name="connsiteX41092" fmla="*/ 1596961 w 6884782"/>
              <a:gd name="connsiteY41092" fmla="*/ 1976964 h 5973007"/>
              <a:gd name="connsiteX41093" fmla="*/ 1567430 w 6884782"/>
              <a:gd name="connsiteY41093" fmla="*/ 1967670 h 5973007"/>
              <a:gd name="connsiteX41094" fmla="*/ 1560718 w 6884782"/>
              <a:gd name="connsiteY41094" fmla="*/ 1958376 h 5973007"/>
              <a:gd name="connsiteX41095" fmla="*/ 1560511 w 6884782"/>
              <a:gd name="connsiteY41095" fmla="*/ 1958686 h 5973007"/>
              <a:gd name="connsiteX41096" fmla="*/ 1555865 w 6884782"/>
              <a:gd name="connsiteY41096" fmla="*/ 1955588 h 5973007"/>
              <a:gd name="connsiteX41097" fmla="*/ 1557620 w 6884782"/>
              <a:gd name="connsiteY41097" fmla="*/ 1954039 h 5973007"/>
              <a:gd name="connsiteX41098" fmla="*/ 1554936 w 6884782"/>
              <a:gd name="connsiteY41098" fmla="*/ 1950321 h 5973007"/>
              <a:gd name="connsiteX41099" fmla="*/ 1548121 w 6884782"/>
              <a:gd name="connsiteY41099" fmla="*/ 1935142 h 5973007"/>
              <a:gd name="connsiteX41100" fmla="*/ 4869385 w 6884782"/>
              <a:gd name="connsiteY41100" fmla="*/ 1935141 h 5973007"/>
              <a:gd name="connsiteX41101" fmla="*/ 4876855 w 6884782"/>
              <a:gd name="connsiteY41101" fmla="*/ 1938840 h 5973007"/>
              <a:gd name="connsiteX41102" fmla="*/ 4864476 w 6884782"/>
              <a:gd name="connsiteY41102" fmla="*/ 1951929 h 5973007"/>
              <a:gd name="connsiteX41103" fmla="*/ 4869385 w 6884782"/>
              <a:gd name="connsiteY41103" fmla="*/ 1935141 h 5973007"/>
              <a:gd name="connsiteX41104" fmla="*/ 1059512 w 6884782"/>
              <a:gd name="connsiteY41104" fmla="*/ 1934987 h 5973007"/>
              <a:gd name="connsiteX41105" fmla="*/ 1066740 w 6884782"/>
              <a:gd name="connsiteY41105" fmla="*/ 1940098 h 5973007"/>
              <a:gd name="connsiteX41106" fmla="*/ 1055175 w 6884782"/>
              <a:gd name="connsiteY41106" fmla="*/ 1938704 h 5973007"/>
              <a:gd name="connsiteX41107" fmla="*/ 1059512 w 6884782"/>
              <a:gd name="connsiteY41107" fmla="*/ 1934987 h 5973007"/>
              <a:gd name="connsiteX41108" fmla="*/ 5940966 w 6884782"/>
              <a:gd name="connsiteY41108" fmla="*/ 1934857 h 5973007"/>
              <a:gd name="connsiteX41109" fmla="*/ 5942246 w 6884782"/>
              <a:gd name="connsiteY41109" fmla="*/ 1937417 h 5973007"/>
              <a:gd name="connsiteX41110" fmla="*/ 5942459 w 6884782"/>
              <a:gd name="connsiteY41110" fmla="*/ 1941116 h 5973007"/>
              <a:gd name="connsiteX41111" fmla="*/ 5936484 w 6884782"/>
              <a:gd name="connsiteY41111" fmla="*/ 1942112 h 5973007"/>
              <a:gd name="connsiteX41112" fmla="*/ 5935203 w 6884782"/>
              <a:gd name="connsiteY41112" fmla="*/ 1939552 h 5973007"/>
              <a:gd name="connsiteX41113" fmla="*/ 5936271 w 6884782"/>
              <a:gd name="connsiteY41113" fmla="*/ 1935852 h 5973007"/>
              <a:gd name="connsiteX41114" fmla="*/ 5940966 w 6884782"/>
              <a:gd name="connsiteY41114" fmla="*/ 1934857 h 5973007"/>
              <a:gd name="connsiteX41115" fmla="*/ 667010 w 6884782"/>
              <a:gd name="connsiteY41115" fmla="*/ 1934696 h 5973007"/>
              <a:gd name="connsiteX41116" fmla="*/ 674057 w 6884782"/>
              <a:gd name="connsiteY41116" fmla="*/ 1938550 h 5973007"/>
              <a:gd name="connsiteX41117" fmla="*/ 675812 w 6884782"/>
              <a:gd name="connsiteY41117" fmla="*/ 1940408 h 5973007"/>
              <a:gd name="connsiteX41118" fmla="*/ 679220 w 6884782"/>
              <a:gd name="connsiteY41118" fmla="*/ 1942422 h 5973007"/>
              <a:gd name="connsiteX41119" fmla="*/ 674676 w 6884782"/>
              <a:gd name="connsiteY41119" fmla="*/ 1952025 h 5973007"/>
              <a:gd name="connsiteX41120" fmla="*/ 659911 w 6884782"/>
              <a:gd name="connsiteY41120" fmla="*/ 1953110 h 5973007"/>
              <a:gd name="connsiteX41121" fmla="*/ 656193 w 6884782"/>
              <a:gd name="connsiteY41121" fmla="*/ 1943661 h 5973007"/>
              <a:gd name="connsiteX41122" fmla="*/ 658465 w 6884782"/>
              <a:gd name="connsiteY41122" fmla="*/ 1938704 h 5973007"/>
              <a:gd name="connsiteX41123" fmla="*/ 661356 w 6884782"/>
              <a:gd name="connsiteY41123" fmla="*/ 1936071 h 5973007"/>
              <a:gd name="connsiteX41124" fmla="*/ 667010 w 6884782"/>
              <a:gd name="connsiteY41124" fmla="*/ 1934696 h 5973007"/>
              <a:gd name="connsiteX41125" fmla="*/ 866836 w 6884782"/>
              <a:gd name="connsiteY41125" fmla="*/ 1934522 h 5973007"/>
              <a:gd name="connsiteX41126" fmla="*/ 857646 w 6884782"/>
              <a:gd name="connsiteY41126" fmla="*/ 1957137 h 5973007"/>
              <a:gd name="connsiteX41127" fmla="*/ 851658 w 6884782"/>
              <a:gd name="connsiteY41127" fmla="*/ 1961629 h 5973007"/>
              <a:gd name="connsiteX41128" fmla="*/ 853516 w 6884782"/>
              <a:gd name="connsiteY41128" fmla="*/ 1945365 h 5973007"/>
              <a:gd name="connsiteX41129" fmla="*/ 837718 w 6884782"/>
              <a:gd name="connsiteY41129" fmla="*/ 1939014 h 5973007"/>
              <a:gd name="connsiteX41130" fmla="*/ 841642 w 6884782"/>
              <a:gd name="connsiteY41130" fmla="*/ 1937000 h 5973007"/>
              <a:gd name="connsiteX41131" fmla="*/ 857440 w 6884782"/>
              <a:gd name="connsiteY41131" fmla="*/ 1938860 h 5973007"/>
              <a:gd name="connsiteX41132" fmla="*/ 866836 w 6884782"/>
              <a:gd name="connsiteY41132" fmla="*/ 1934522 h 5973007"/>
              <a:gd name="connsiteX41133" fmla="*/ 4859781 w 6884782"/>
              <a:gd name="connsiteY41133" fmla="*/ 1933007 h 5973007"/>
              <a:gd name="connsiteX41134" fmla="*/ 4861061 w 6884782"/>
              <a:gd name="connsiteY41134" fmla="*/ 1934287 h 5973007"/>
              <a:gd name="connsiteX41135" fmla="*/ 4859141 w 6884782"/>
              <a:gd name="connsiteY41135" fmla="*/ 1935710 h 5973007"/>
              <a:gd name="connsiteX41136" fmla="*/ 4859781 w 6884782"/>
              <a:gd name="connsiteY41136" fmla="*/ 1933007 h 5973007"/>
              <a:gd name="connsiteX41137" fmla="*/ 1508573 w 6884782"/>
              <a:gd name="connsiteY41137" fmla="*/ 1932818 h 5973007"/>
              <a:gd name="connsiteX41138" fmla="*/ 1502585 w 6884782"/>
              <a:gd name="connsiteY41138" fmla="*/ 1941647 h 5973007"/>
              <a:gd name="connsiteX41139" fmla="*/ 1508573 w 6884782"/>
              <a:gd name="connsiteY41139" fmla="*/ 1932818 h 5973007"/>
              <a:gd name="connsiteX41140" fmla="*/ 1168654 w 6884782"/>
              <a:gd name="connsiteY41140" fmla="*/ 1932663 h 5973007"/>
              <a:gd name="connsiteX41141" fmla="*/ 1172165 w 6884782"/>
              <a:gd name="connsiteY41141" fmla="*/ 1933593 h 5973007"/>
              <a:gd name="connsiteX41142" fmla="*/ 1172681 w 6884782"/>
              <a:gd name="connsiteY41142" fmla="*/ 1936071 h 5973007"/>
              <a:gd name="connsiteX41143" fmla="*/ 1171855 w 6884782"/>
              <a:gd name="connsiteY41143" fmla="*/ 1936071 h 5973007"/>
              <a:gd name="connsiteX41144" fmla="*/ 1168138 w 6884782"/>
              <a:gd name="connsiteY41144" fmla="*/ 1936846 h 5973007"/>
              <a:gd name="connsiteX41145" fmla="*/ 1167725 w 6884782"/>
              <a:gd name="connsiteY41145" fmla="*/ 1934987 h 5973007"/>
              <a:gd name="connsiteX41146" fmla="*/ 1168654 w 6884782"/>
              <a:gd name="connsiteY41146" fmla="*/ 1932663 h 5973007"/>
              <a:gd name="connsiteX41147" fmla="*/ 4686057 w 6884782"/>
              <a:gd name="connsiteY41147" fmla="*/ 1931015 h 5973007"/>
              <a:gd name="connsiteX41148" fmla="*/ 4691606 w 6884782"/>
              <a:gd name="connsiteY41148" fmla="*/ 1931158 h 5973007"/>
              <a:gd name="connsiteX41149" fmla="*/ 4682216 w 6884782"/>
              <a:gd name="connsiteY41149" fmla="*/ 1935710 h 5973007"/>
              <a:gd name="connsiteX41150" fmla="*/ 4686057 w 6884782"/>
              <a:gd name="connsiteY41150" fmla="*/ 1931015 h 5973007"/>
              <a:gd name="connsiteX41151" fmla="*/ 1536866 w 6884782"/>
              <a:gd name="connsiteY41151" fmla="*/ 1930959 h 5973007"/>
              <a:gd name="connsiteX41152" fmla="*/ 1547398 w 6884782"/>
              <a:gd name="connsiteY41152" fmla="*/ 1938394 h 5973007"/>
              <a:gd name="connsiteX41153" fmla="*/ 1533768 w 6884782"/>
              <a:gd name="connsiteY41153" fmla="*/ 1933283 h 5973007"/>
              <a:gd name="connsiteX41154" fmla="*/ 1536866 w 6884782"/>
              <a:gd name="connsiteY41154" fmla="*/ 1930959 h 5973007"/>
              <a:gd name="connsiteX41155" fmla="*/ 599506 w 6884782"/>
              <a:gd name="connsiteY41155" fmla="*/ 1930959 h 5973007"/>
              <a:gd name="connsiteX41156" fmla="*/ 600332 w 6884782"/>
              <a:gd name="connsiteY41156" fmla="*/ 1931269 h 5973007"/>
              <a:gd name="connsiteX41157" fmla="*/ 601055 w 6884782"/>
              <a:gd name="connsiteY41157" fmla="*/ 1934522 h 5973007"/>
              <a:gd name="connsiteX41158" fmla="*/ 599402 w 6884782"/>
              <a:gd name="connsiteY41158" fmla="*/ 1934367 h 5973007"/>
              <a:gd name="connsiteX41159" fmla="*/ 599402 w 6884782"/>
              <a:gd name="connsiteY41159" fmla="*/ 1935142 h 5973007"/>
              <a:gd name="connsiteX41160" fmla="*/ 597751 w 6884782"/>
              <a:gd name="connsiteY41160" fmla="*/ 1934212 h 5973007"/>
              <a:gd name="connsiteX41161" fmla="*/ 597751 w 6884782"/>
              <a:gd name="connsiteY41161" fmla="*/ 1933438 h 5973007"/>
              <a:gd name="connsiteX41162" fmla="*/ 597544 w 6884782"/>
              <a:gd name="connsiteY41162" fmla="*/ 1933128 h 5973007"/>
              <a:gd name="connsiteX41163" fmla="*/ 598577 w 6884782"/>
              <a:gd name="connsiteY41163" fmla="*/ 1931889 h 5973007"/>
              <a:gd name="connsiteX41164" fmla="*/ 599506 w 6884782"/>
              <a:gd name="connsiteY41164" fmla="*/ 1930959 h 5973007"/>
              <a:gd name="connsiteX41165" fmla="*/ 977940 w 6884782"/>
              <a:gd name="connsiteY41165" fmla="*/ 1930649 h 5973007"/>
              <a:gd name="connsiteX41166" fmla="*/ 980418 w 6884782"/>
              <a:gd name="connsiteY41166" fmla="*/ 1932818 h 5973007"/>
              <a:gd name="connsiteX41167" fmla="*/ 975256 w 6884782"/>
              <a:gd name="connsiteY41167" fmla="*/ 1938239 h 5973007"/>
              <a:gd name="connsiteX41168" fmla="*/ 973397 w 6884782"/>
              <a:gd name="connsiteY41168" fmla="*/ 1933593 h 5973007"/>
              <a:gd name="connsiteX41169" fmla="*/ 974842 w 6884782"/>
              <a:gd name="connsiteY41169" fmla="*/ 1930959 h 5973007"/>
              <a:gd name="connsiteX41170" fmla="*/ 977940 w 6884782"/>
              <a:gd name="connsiteY41170" fmla="*/ 1930649 h 5973007"/>
              <a:gd name="connsiteX41171" fmla="*/ 5112684 w 6884782"/>
              <a:gd name="connsiteY41171" fmla="*/ 1930446 h 5973007"/>
              <a:gd name="connsiteX41172" fmla="*/ 5127623 w 6884782"/>
              <a:gd name="connsiteY41172" fmla="*/ 1931015 h 5973007"/>
              <a:gd name="connsiteX41173" fmla="*/ 5141495 w 6884782"/>
              <a:gd name="connsiteY41173" fmla="*/ 1933291 h 5973007"/>
              <a:gd name="connsiteX41174" fmla="*/ 5144697 w 6884782"/>
              <a:gd name="connsiteY41174" fmla="*/ 1936421 h 5973007"/>
              <a:gd name="connsiteX41175" fmla="*/ 5145550 w 6884782"/>
              <a:gd name="connsiteY41175" fmla="*/ 1935710 h 5973007"/>
              <a:gd name="connsiteX41176" fmla="*/ 5150032 w 6884782"/>
              <a:gd name="connsiteY41176" fmla="*/ 1942824 h 5973007"/>
              <a:gd name="connsiteX41177" fmla="*/ 5145764 w 6884782"/>
              <a:gd name="connsiteY41177" fmla="*/ 1944246 h 5973007"/>
              <a:gd name="connsiteX41178" fmla="*/ 5144910 w 6884782"/>
              <a:gd name="connsiteY41178" fmla="*/ 1948656 h 5973007"/>
              <a:gd name="connsiteX41179" fmla="*/ 5146190 w 6884782"/>
              <a:gd name="connsiteY41179" fmla="*/ 1948230 h 5973007"/>
              <a:gd name="connsiteX41180" fmla="*/ 5148111 w 6884782"/>
              <a:gd name="connsiteY41180" fmla="*/ 1949226 h 5973007"/>
              <a:gd name="connsiteX41181" fmla="*/ 5148111 w 6884782"/>
              <a:gd name="connsiteY41181" fmla="*/ 1952356 h 5973007"/>
              <a:gd name="connsiteX41182" fmla="*/ 5142989 w 6884782"/>
              <a:gd name="connsiteY41182" fmla="*/ 1955628 h 5973007"/>
              <a:gd name="connsiteX41183" fmla="*/ 5136586 w 6884782"/>
              <a:gd name="connsiteY41183" fmla="*/ 1954063 h 5973007"/>
              <a:gd name="connsiteX41184" fmla="*/ 5133172 w 6884782"/>
              <a:gd name="connsiteY41184" fmla="*/ 1955058 h 5973007"/>
              <a:gd name="connsiteX41185" fmla="*/ 5132531 w 6884782"/>
              <a:gd name="connsiteY41185" fmla="*/ 1953920 h 5973007"/>
              <a:gd name="connsiteX41186" fmla="*/ 5139574 w 6884782"/>
              <a:gd name="connsiteY41186" fmla="*/ 1950506 h 5973007"/>
              <a:gd name="connsiteX41187" fmla="*/ 5144056 w 6884782"/>
              <a:gd name="connsiteY41187" fmla="*/ 1948941 h 5973007"/>
              <a:gd name="connsiteX41188" fmla="*/ 5136160 w 6884782"/>
              <a:gd name="connsiteY41188" fmla="*/ 1943820 h 5973007"/>
              <a:gd name="connsiteX41189" fmla="*/ 5112684 w 6884782"/>
              <a:gd name="connsiteY41189" fmla="*/ 1930446 h 5973007"/>
              <a:gd name="connsiteX41190" fmla="*/ 1264166 w 6884782"/>
              <a:gd name="connsiteY41190" fmla="*/ 1930030 h 5973007"/>
              <a:gd name="connsiteX41191" fmla="*/ 1264889 w 6884782"/>
              <a:gd name="connsiteY41191" fmla="*/ 1930959 h 5973007"/>
              <a:gd name="connsiteX41192" fmla="*/ 1264786 w 6884782"/>
              <a:gd name="connsiteY41192" fmla="*/ 1931579 h 5973007"/>
              <a:gd name="connsiteX41193" fmla="*/ 1262617 w 6884782"/>
              <a:gd name="connsiteY41193" fmla="*/ 1932973 h 5973007"/>
              <a:gd name="connsiteX41194" fmla="*/ 1262617 w 6884782"/>
              <a:gd name="connsiteY41194" fmla="*/ 1932353 h 5973007"/>
              <a:gd name="connsiteX41195" fmla="*/ 1263340 w 6884782"/>
              <a:gd name="connsiteY41195" fmla="*/ 1930185 h 5973007"/>
              <a:gd name="connsiteX41196" fmla="*/ 1264476 w 6884782"/>
              <a:gd name="connsiteY41196" fmla="*/ 1930804 h 5973007"/>
              <a:gd name="connsiteX41197" fmla="*/ 1264166 w 6884782"/>
              <a:gd name="connsiteY41197" fmla="*/ 1930030 h 5973007"/>
              <a:gd name="connsiteX41198" fmla="*/ 5053780 w 6884782"/>
              <a:gd name="connsiteY41198" fmla="*/ 1930019 h 5973007"/>
              <a:gd name="connsiteX41199" fmla="*/ 5059969 w 6884782"/>
              <a:gd name="connsiteY41199" fmla="*/ 1933576 h 5973007"/>
              <a:gd name="connsiteX41200" fmla="*/ 5055701 w 6884782"/>
              <a:gd name="connsiteY41200" fmla="*/ 1942966 h 5973007"/>
              <a:gd name="connsiteX41201" fmla="*/ 5048871 w 6884782"/>
              <a:gd name="connsiteY41201" fmla="*/ 1937844 h 5973007"/>
              <a:gd name="connsiteX41202" fmla="*/ 5048444 w 6884782"/>
              <a:gd name="connsiteY41202" fmla="*/ 1934145 h 5973007"/>
              <a:gd name="connsiteX41203" fmla="*/ 5050792 w 6884782"/>
              <a:gd name="connsiteY41203" fmla="*/ 1930873 h 5973007"/>
              <a:gd name="connsiteX41204" fmla="*/ 5053780 w 6884782"/>
              <a:gd name="connsiteY41204" fmla="*/ 1930019 h 5973007"/>
              <a:gd name="connsiteX41205" fmla="*/ 5811847 w 6884782"/>
              <a:gd name="connsiteY41205" fmla="*/ 1928739 h 5973007"/>
              <a:gd name="connsiteX41206" fmla="*/ 5822731 w 6884782"/>
              <a:gd name="connsiteY41206" fmla="*/ 1934999 h 5973007"/>
              <a:gd name="connsiteX41207" fmla="*/ 5803310 w 6884782"/>
              <a:gd name="connsiteY41207" fmla="*/ 1935141 h 5973007"/>
              <a:gd name="connsiteX41208" fmla="*/ 5811847 w 6884782"/>
              <a:gd name="connsiteY41208" fmla="*/ 1928739 h 5973007"/>
              <a:gd name="connsiteX41209" fmla="*/ 1187757 w 6884782"/>
              <a:gd name="connsiteY41209" fmla="*/ 1928481 h 5973007"/>
              <a:gd name="connsiteX41210" fmla="*/ 1180632 w 6884782"/>
              <a:gd name="connsiteY41210" fmla="*/ 1934522 h 5973007"/>
              <a:gd name="connsiteX41211" fmla="*/ 1187757 w 6884782"/>
              <a:gd name="connsiteY41211" fmla="*/ 1928481 h 5973007"/>
              <a:gd name="connsiteX41212" fmla="*/ 1215842 w 6884782"/>
              <a:gd name="connsiteY41212" fmla="*/ 1928326 h 5973007"/>
              <a:gd name="connsiteX41213" fmla="*/ 1219972 w 6884782"/>
              <a:gd name="connsiteY41213" fmla="*/ 1934832 h 5973007"/>
              <a:gd name="connsiteX41214" fmla="*/ 1215532 w 6884782"/>
              <a:gd name="connsiteY41214" fmla="*/ 1929721 h 5973007"/>
              <a:gd name="connsiteX41215" fmla="*/ 1215842 w 6884782"/>
              <a:gd name="connsiteY41215" fmla="*/ 1928326 h 5973007"/>
              <a:gd name="connsiteX41216" fmla="*/ 5515406 w 6884782"/>
              <a:gd name="connsiteY41216" fmla="*/ 1927743 h 5973007"/>
              <a:gd name="connsiteX41217" fmla="*/ 5546139 w 6884782"/>
              <a:gd name="connsiteY41217" fmla="*/ 1951786 h 5973007"/>
              <a:gd name="connsiteX41218" fmla="*/ 5511138 w 6884782"/>
              <a:gd name="connsiteY41218" fmla="*/ 1938271 h 5973007"/>
              <a:gd name="connsiteX41219" fmla="*/ 5515406 w 6884782"/>
              <a:gd name="connsiteY41219" fmla="*/ 1927743 h 5973007"/>
              <a:gd name="connsiteX41220" fmla="*/ 5946087 w 6884782"/>
              <a:gd name="connsiteY41220" fmla="*/ 1927458 h 5973007"/>
              <a:gd name="connsiteX41221" fmla="*/ 5951423 w 6884782"/>
              <a:gd name="connsiteY41221" fmla="*/ 1930589 h 5973007"/>
              <a:gd name="connsiteX41222" fmla="*/ 5957826 w 6884782"/>
              <a:gd name="connsiteY41222" fmla="*/ 1942397 h 5973007"/>
              <a:gd name="connsiteX41223" fmla="*/ 5947155 w 6884782"/>
              <a:gd name="connsiteY41223" fmla="*/ 1944246 h 5973007"/>
              <a:gd name="connsiteX41224" fmla="*/ 5946087 w 6884782"/>
              <a:gd name="connsiteY41224" fmla="*/ 1942966 h 5973007"/>
              <a:gd name="connsiteX41225" fmla="*/ 5941179 w 6884782"/>
              <a:gd name="connsiteY41225" fmla="*/ 1928881 h 5973007"/>
              <a:gd name="connsiteX41226" fmla="*/ 5946087 w 6884782"/>
              <a:gd name="connsiteY41226" fmla="*/ 1927458 h 5973007"/>
              <a:gd name="connsiteX41227" fmla="*/ 3581610 w 6884782"/>
              <a:gd name="connsiteY41227" fmla="*/ 1925894 h 5973007"/>
              <a:gd name="connsiteX41228" fmla="*/ 3588013 w 6884782"/>
              <a:gd name="connsiteY41228" fmla="*/ 1926463 h 5973007"/>
              <a:gd name="connsiteX41229" fmla="*/ 3585878 w 6884782"/>
              <a:gd name="connsiteY41229" fmla="*/ 1940405 h 5973007"/>
              <a:gd name="connsiteX41230" fmla="*/ 3576488 w 6884782"/>
              <a:gd name="connsiteY41230" fmla="*/ 1928739 h 5973007"/>
              <a:gd name="connsiteX41231" fmla="*/ 3581610 w 6884782"/>
              <a:gd name="connsiteY41231" fmla="*/ 1925894 h 5973007"/>
              <a:gd name="connsiteX41232" fmla="*/ 3736980 w 6884782"/>
              <a:gd name="connsiteY41232" fmla="*/ 1925751 h 5973007"/>
              <a:gd name="connsiteX41233" fmla="*/ 3740394 w 6884782"/>
              <a:gd name="connsiteY41233" fmla="*/ 1927174 h 5973007"/>
              <a:gd name="connsiteX41234" fmla="*/ 3741248 w 6884782"/>
              <a:gd name="connsiteY41234" fmla="*/ 1926321 h 5973007"/>
              <a:gd name="connsiteX41235" fmla="*/ 3746157 w 6884782"/>
              <a:gd name="connsiteY41235" fmla="*/ 1932295 h 5973007"/>
              <a:gd name="connsiteX41236" fmla="*/ 3749358 w 6884782"/>
              <a:gd name="connsiteY41236" fmla="*/ 1935710 h 5973007"/>
              <a:gd name="connsiteX41237" fmla="*/ 3747224 w 6884782"/>
              <a:gd name="connsiteY41237" fmla="*/ 1943535 h 5973007"/>
              <a:gd name="connsiteX41238" fmla="*/ 3732071 w 6884782"/>
              <a:gd name="connsiteY41238" fmla="*/ 1926321 h 5973007"/>
              <a:gd name="connsiteX41239" fmla="*/ 3736980 w 6884782"/>
              <a:gd name="connsiteY41239" fmla="*/ 1925751 h 5973007"/>
              <a:gd name="connsiteX41240" fmla="*/ 5720930 w 6884782"/>
              <a:gd name="connsiteY41240" fmla="*/ 1925467 h 5973007"/>
              <a:gd name="connsiteX41241" fmla="*/ 5709832 w 6884782"/>
              <a:gd name="connsiteY41241" fmla="*/ 1933860 h 5973007"/>
              <a:gd name="connsiteX41242" fmla="*/ 5720930 w 6884782"/>
              <a:gd name="connsiteY41242" fmla="*/ 1925467 h 5973007"/>
              <a:gd name="connsiteX41243" fmla="*/ 5570042 w 6884782"/>
              <a:gd name="connsiteY41243" fmla="*/ 1925467 h 5973007"/>
              <a:gd name="connsiteX41244" fmla="*/ 5586262 w 6884782"/>
              <a:gd name="connsiteY41244" fmla="*/ 1939409 h 5973007"/>
              <a:gd name="connsiteX41245" fmla="*/ 5581140 w 6884782"/>
              <a:gd name="connsiteY41245" fmla="*/ 1945669 h 5973007"/>
              <a:gd name="connsiteX41246" fmla="*/ 5581994 w 6884782"/>
              <a:gd name="connsiteY41246" fmla="*/ 1946096 h 5973007"/>
              <a:gd name="connsiteX41247" fmla="*/ 5577085 w 6884782"/>
              <a:gd name="connsiteY41247" fmla="*/ 1951502 h 5973007"/>
              <a:gd name="connsiteX41248" fmla="*/ 5571323 w 6884782"/>
              <a:gd name="connsiteY41248" fmla="*/ 1951786 h 5973007"/>
              <a:gd name="connsiteX41249" fmla="*/ 5571536 w 6884782"/>
              <a:gd name="connsiteY41249" fmla="*/ 1947945 h 5973007"/>
              <a:gd name="connsiteX41250" fmla="*/ 5571109 w 6884782"/>
              <a:gd name="connsiteY41250" fmla="*/ 1947803 h 5973007"/>
              <a:gd name="connsiteX41251" fmla="*/ 5570042 w 6884782"/>
              <a:gd name="connsiteY41251" fmla="*/ 1925467 h 5973007"/>
              <a:gd name="connsiteX41252" fmla="*/ 998281 w 6884782"/>
              <a:gd name="connsiteY41252" fmla="*/ 1925228 h 5973007"/>
              <a:gd name="connsiteX41253" fmla="*/ 1003134 w 6884782"/>
              <a:gd name="connsiteY41253" fmla="*/ 1951871 h 5973007"/>
              <a:gd name="connsiteX41254" fmla="*/ 995803 w 6884782"/>
              <a:gd name="connsiteY41254" fmla="*/ 1954814 h 5973007"/>
              <a:gd name="connsiteX41255" fmla="*/ 991054 w 6884782"/>
              <a:gd name="connsiteY41255" fmla="*/ 1953264 h 5973007"/>
              <a:gd name="connsiteX41256" fmla="*/ 990331 w 6884782"/>
              <a:gd name="connsiteY41256" fmla="*/ 1953419 h 5973007"/>
              <a:gd name="connsiteX41257" fmla="*/ 990227 w 6884782"/>
              <a:gd name="connsiteY41257" fmla="*/ 1952955 h 5973007"/>
              <a:gd name="connsiteX41258" fmla="*/ 989711 w 6884782"/>
              <a:gd name="connsiteY41258" fmla="*/ 1952800 h 5973007"/>
              <a:gd name="connsiteX41259" fmla="*/ 984342 w 6884782"/>
              <a:gd name="connsiteY41259" fmla="*/ 1940408 h 5973007"/>
              <a:gd name="connsiteX41260" fmla="*/ 998281 w 6884782"/>
              <a:gd name="connsiteY41260" fmla="*/ 1925228 h 5973007"/>
              <a:gd name="connsiteX41261" fmla="*/ 654335 w 6884782"/>
              <a:gd name="connsiteY41261" fmla="*/ 1924918 h 5973007"/>
              <a:gd name="connsiteX41262" fmla="*/ 661356 w 6884782"/>
              <a:gd name="connsiteY41262" fmla="*/ 1927397 h 5973007"/>
              <a:gd name="connsiteX41263" fmla="*/ 659498 w 6884782"/>
              <a:gd name="connsiteY41263" fmla="*/ 1932973 h 5973007"/>
              <a:gd name="connsiteX41264" fmla="*/ 656917 w 6884782"/>
              <a:gd name="connsiteY41264" fmla="*/ 1933593 h 5973007"/>
              <a:gd name="connsiteX41265" fmla="*/ 651754 w 6884782"/>
              <a:gd name="connsiteY41265" fmla="*/ 1932199 h 5973007"/>
              <a:gd name="connsiteX41266" fmla="*/ 651754 w 6884782"/>
              <a:gd name="connsiteY41266" fmla="*/ 1932973 h 5973007"/>
              <a:gd name="connsiteX41267" fmla="*/ 650927 w 6884782"/>
              <a:gd name="connsiteY41267" fmla="*/ 1927861 h 5973007"/>
              <a:gd name="connsiteX41268" fmla="*/ 654335 w 6884782"/>
              <a:gd name="connsiteY41268" fmla="*/ 1924918 h 5973007"/>
              <a:gd name="connsiteX41269" fmla="*/ 6285425 w 6884782"/>
              <a:gd name="connsiteY41269" fmla="*/ 1924471 h 5973007"/>
              <a:gd name="connsiteX41270" fmla="*/ 6286065 w 6884782"/>
              <a:gd name="connsiteY41270" fmla="*/ 1925467 h 5973007"/>
              <a:gd name="connsiteX41271" fmla="*/ 6286493 w 6884782"/>
              <a:gd name="connsiteY41271" fmla="*/ 1925467 h 5973007"/>
              <a:gd name="connsiteX41272" fmla="*/ 6286065 w 6884782"/>
              <a:gd name="connsiteY41272" fmla="*/ 1928028 h 5973007"/>
              <a:gd name="connsiteX41273" fmla="*/ 6284572 w 6884782"/>
              <a:gd name="connsiteY41273" fmla="*/ 1930162 h 5973007"/>
              <a:gd name="connsiteX41274" fmla="*/ 6281584 w 6884782"/>
              <a:gd name="connsiteY41274" fmla="*/ 1926889 h 5973007"/>
              <a:gd name="connsiteX41275" fmla="*/ 6283505 w 6884782"/>
              <a:gd name="connsiteY41275" fmla="*/ 1925609 h 5973007"/>
              <a:gd name="connsiteX41276" fmla="*/ 6283078 w 6884782"/>
              <a:gd name="connsiteY41276" fmla="*/ 1924613 h 5973007"/>
              <a:gd name="connsiteX41277" fmla="*/ 6285425 w 6884782"/>
              <a:gd name="connsiteY41277" fmla="*/ 1924471 h 5973007"/>
              <a:gd name="connsiteX41278" fmla="*/ 5557664 w 6884782"/>
              <a:gd name="connsiteY41278" fmla="*/ 1924471 h 5973007"/>
              <a:gd name="connsiteX41279" fmla="*/ 5561078 w 6884782"/>
              <a:gd name="connsiteY41279" fmla="*/ 1927316 h 5973007"/>
              <a:gd name="connsiteX41280" fmla="*/ 5560012 w 6884782"/>
              <a:gd name="connsiteY41280" fmla="*/ 1928312 h 5973007"/>
              <a:gd name="connsiteX41281" fmla="*/ 5561078 w 6884782"/>
              <a:gd name="connsiteY41281" fmla="*/ 1928454 h 5973007"/>
              <a:gd name="connsiteX41282" fmla="*/ 5559584 w 6884782"/>
              <a:gd name="connsiteY41282" fmla="*/ 1928739 h 5973007"/>
              <a:gd name="connsiteX41283" fmla="*/ 5558731 w 6884782"/>
              <a:gd name="connsiteY41283" fmla="*/ 1928170 h 5973007"/>
              <a:gd name="connsiteX41284" fmla="*/ 5557664 w 6884782"/>
              <a:gd name="connsiteY41284" fmla="*/ 1924471 h 5973007"/>
              <a:gd name="connsiteX41285" fmla="*/ 5888464 w 6884782"/>
              <a:gd name="connsiteY41285" fmla="*/ 1923759 h 5973007"/>
              <a:gd name="connsiteX41286" fmla="*/ 5883129 w 6884782"/>
              <a:gd name="connsiteY41286" fmla="*/ 1935141 h 5973007"/>
              <a:gd name="connsiteX41287" fmla="*/ 5885049 w 6884782"/>
              <a:gd name="connsiteY41287" fmla="*/ 1936848 h 5973007"/>
              <a:gd name="connsiteX41288" fmla="*/ 5887611 w 6884782"/>
              <a:gd name="connsiteY41288" fmla="*/ 1943962 h 5973007"/>
              <a:gd name="connsiteX41289" fmla="*/ 5886544 w 6884782"/>
              <a:gd name="connsiteY41289" fmla="*/ 1951502 h 5973007"/>
              <a:gd name="connsiteX41290" fmla="*/ 5879928 w 6884782"/>
              <a:gd name="connsiteY41290" fmla="*/ 1946807 h 5973007"/>
              <a:gd name="connsiteX41291" fmla="*/ 5880141 w 6884782"/>
              <a:gd name="connsiteY41291" fmla="*/ 1941401 h 5973007"/>
              <a:gd name="connsiteX41292" fmla="*/ 5877580 w 6884782"/>
              <a:gd name="connsiteY41292" fmla="*/ 1947091 h 5973007"/>
              <a:gd name="connsiteX41293" fmla="*/ 5859439 w 6884782"/>
              <a:gd name="connsiteY41293" fmla="*/ 1947803 h 5973007"/>
              <a:gd name="connsiteX41294" fmla="*/ 5888464 w 6884782"/>
              <a:gd name="connsiteY41294" fmla="*/ 1923759 h 5973007"/>
              <a:gd name="connsiteX41295" fmla="*/ 1435778 w 6884782"/>
              <a:gd name="connsiteY41295" fmla="*/ 1923525 h 5973007"/>
              <a:gd name="connsiteX41296" fmla="*/ 1439805 w 6884782"/>
              <a:gd name="connsiteY41296" fmla="*/ 1928946 h 5973007"/>
              <a:gd name="connsiteX41297" fmla="*/ 1439289 w 6884782"/>
              <a:gd name="connsiteY41297" fmla="*/ 1930340 h 5973007"/>
              <a:gd name="connsiteX41298" fmla="*/ 1435571 w 6884782"/>
              <a:gd name="connsiteY41298" fmla="*/ 1925848 h 5973007"/>
              <a:gd name="connsiteX41299" fmla="*/ 1435778 w 6884782"/>
              <a:gd name="connsiteY41299" fmla="*/ 1923525 h 5973007"/>
              <a:gd name="connsiteX41300" fmla="*/ 5733735 w 6884782"/>
              <a:gd name="connsiteY41300" fmla="*/ 1921910 h 5973007"/>
              <a:gd name="connsiteX41301" fmla="*/ 5739497 w 6884782"/>
              <a:gd name="connsiteY41301" fmla="*/ 1922337 h 5973007"/>
              <a:gd name="connsiteX41302" fmla="*/ 5745473 w 6884782"/>
              <a:gd name="connsiteY41302" fmla="*/ 1931158 h 5973007"/>
              <a:gd name="connsiteX41303" fmla="*/ 5735229 w 6884782"/>
              <a:gd name="connsiteY41303" fmla="*/ 1937844 h 5973007"/>
              <a:gd name="connsiteX41304" fmla="*/ 5733735 w 6884782"/>
              <a:gd name="connsiteY41304" fmla="*/ 1921910 h 5973007"/>
              <a:gd name="connsiteX41305" fmla="*/ 1229059 w 6884782"/>
              <a:gd name="connsiteY41305" fmla="*/ 1921821 h 5973007"/>
              <a:gd name="connsiteX41306" fmla="*/ 1230092 w 6884782"/>
              <a:gd name="connsiteY41306" fmla="*/ 1929565 h 5973007"/>
              <a:gd name="connsiteX41307" fmla="*/ 1226788 w 6884782"/>
              <a:gd name="connsiteY41307" fmla="*/ 1925848 h 5973007"/>
              <a:gd name="connsiteX41308" fmla="*/ 1229059 w 6884782"/>
              <a:gd name="connsiteY41308" fmla="*/ 1921821 h 5973007"/>
              <a:gd name="connsiteX41309" fmla="*/ 3856068 w 6884782"/>
              <a:gd name="connsiteY41309" fmla="*/ 1921626 h 5973007"/>
              <a:gd name="connsiteX41310" fmla="*/ 3856281 w 6884782"/>
              <a:gd name="connsiteY41310" fmla="*/ 1926463 h 5973007"/>
              <a:gd name="connsiteX41311" fmla="*/ 3852866 w 6884782"/>
              <a:gd name="connsiteY41311" fmla="*/ 1927601 h 5973007"/>
              <a:gd name="connsiteX41312" fmla="*/ 3856068 w 6884782"/>
              <a:gd name="connsiteY41312" fmla="*/ 1921626 h 5973007"/>
              <a:gd name="connsiteX41313" fmla="*/ 1148726 w 6884782"/>
              <a:gd name="connsiteY41313" fmla="*/ 1921356 h 5973007"/>
              <a:gd name="connsiteX41314" fmla="*/ 1151410 w 6884782"/>
              <a:gd name="connsiteY41314" fmla="*/ 1922285 h 5973007"/>
              <a:gd name="connsiteX41315" fmla="*/ 1152236 w 6884782"/>
              <a:gd name="connsiteY41315" fmla="*/ 1935142 h 5973007"/>
              <a:gd name="connsiteX41316" fmla="*/ 1151514 w 6884782"/>
              <a:gd name="connsiteY41316" fmla="*/ 1935916 h 5973007"/>
              <a:gd name="connsiteX41317" fmla="*/ 1161116 w 6884782"/>
              <a:gd name="connsiteY41317" fmla="*/ 1939789 h 5973007"/>
              <a:gd name="connsiteX41318" fmla="*/ 1163904 w 6884782"/>
              <a:gd name="connsiteY41318" fmla="*/ 1940718 h 5973007"/>
              <a:gd name="connsiteX41319" fmla="*/ 1164730 w 6884782"/>
              <a:gd name="connsiteY41319" fmla="*/ 1940098 h 5973007"/>
              <a:gd name="connsiteX41320" fmla="*/ 1167828 w 6884782"/>
              <a:gd name="connsiteY41320" fmla="*/ 1938550 h 5973007"/>
              <a:gd name="connsiteX41321" fmla="*/ 1169067 w 6884782"/>
              <a:gd name="connsiteY41321" fmla="*/ 1941647 h 5973007"/>
              <a:gd name="connsiteX41322" fmla="*/ 1168964 w 6884782"/>
              <a:gd name="connsiteY41322" fmla="*/ 1942422 h 5973007"/>
              <a:gd name="connsiteX41323" fmla="*/ 1169274 w 6884782"/>
              <a:gd name="connsiteY41323" fmla="*/ 1942422 h 5973007"/>
              <a:gd name="connsiteX41324" fmla="*/ 1168964 w 6884782"/>
              <a:gd name="connsiteY41324" fmla="*/ 1942732 h 5973007"/>
              <a:gd name="connsiteX41325" fmla="*/ 1168861 w 6884782"/>
              <a:gd name="connsiteY41325" fmla="*/ 1943816 h 5973007"/>
              <a:gd name="connsiteX41326" fmla="*/ 1167518 w 6884782"/>
              <a:gd name="connsiteY41326" fmla="*/ 1946294 h 5973007"/>
              <a:gd name="connsiteX41327" fmla="*/ 1165763 w 6884782"/>
              <a:gd name="connsiteY41327" fmla="*/ 1947224 h 5973007"/>
              <a:gd name="connsiteX41328" fmla="*/ 1163491 w 6884782"/>
              <a:gd name="connsiteY41328" fmla="*/ 1948463 h 5973007"/>
              <a:gd name="connsiteX41329" fmla="*/ 1163078 w 6884782"/>
              <a:gd name="connsiteY41329" fmla="*/ 1948463 h 5973007"/>
              <a:gd name="connsiteX41330" fmla="*/ 1162149 w 6884782"/>
              <a:gd name="connsiteY41330" fmla="*/ 1949547 h 5973007"/>
              <a:gd name="connsiteX41331" fmla="*/ 1158432 w 6884782"/>
              <a:gd name="connsiteY41331" fmla="*/ 1958222 h 5973007"/>
              <a:gd name="connsiteX41332" fmla="*/ 1159981 w 6884782"/>
              <a:gd name="connsiteY41332" fmla="*/ 1958996 h 5973007"/>
              <a:gd name="connsiteX41333" fmla="*/ 1162975 w 6884782"/>
              <a:gd name="connsiteY41333" fmla="*/ 1962404 h 5973007"/>
              <a:gd name="connsiteX41334" fmla="*/ 1155850 w 6884782"/>
              <a:gd name="connsiteY41334" fmla="*/ 1966121 h 5973007"/>
              <a:gd name="connsiteX41335" fmla="*/ 1154198 w 6884782"/>
              <a:gd name="connsiteY41335" fmla="*/ 1965192 h 5973007"/>
              <a:gd name="connsiteX41336" fmla="*/ 1152959 w 6884782"/>
              <a:gd name="connsiteY41336" fmla="*/ 1966431 h 5973007"/>
              <a:gd name="connsiteX41337" fmla="*/ 1149242 w 6884782"/>
              <a:gd name="connsiteY41337" fmla="*/ 1968599 h 5973007"/>
              <a:gd name="connsiteX41338" fmla="*/ 1141395 w 6884782"/>
              <a:gd name="connsiteY41338" fmla="*/ 1970303 h 5973007"/>
              <a:gd name="connsiteX41339" fmla="*/ 1137471 w 6884782"/>
              <a:gd name="connsiteY41339" fmla="*/ 1969528 h 5973007"/>
              <a:gd name="connsiteX41340" fmla="*/ 1137264 w 6884782"/>
              <a:gd name="connsiteY41340" fmla="*/ 1969683 h 5973007"/>
              <a:gd name="connsiteX41341" fmla="*/ 1131069 w 6884782"/>
              <a:gd name="connsiteY41341" fmla="*/ 1969219 h 5973007"/>
              <a:gd name="connsiteX41342" fmla="*/ 1132308 w 6884782"/>
              <a:gd name="connsiteY41342" fmla="*/ 1967205 h 5973007"/>
              <a:gd name="connsiteX41343" fmla="*/ 1129313 w 6884782"/>
              <a:gd name="connsiteY41343" fmla="*/ 1964882 h 5973007"/>
              <a:gd name="connsiteX41344" fmla="*/ 1127455 w 6884782"/>
              <a:gd name="connsiteY41344" fmla="*/ 1961938 h 5973007"/>
              <a:gd name="connsiteX41345" fmla="*/ 1125080 w 6884782"/>
              <a:gd name="connsiteY41345" fmla="*/ 1961164 h 5973007"/>
              <a:gd name="connsiteX41346" fmla="*/ 1125596 w 6884782"/>
              <a:gd name="connsiteY41346" fmla="*/ 1963488 h 5973007"/>
              <a:gd name="connsiteX41347" fmla="*/ 1124047 w 6884782"/>
              <a:gd name="connsiteY41347" fmla="*/ 1966431 h 5973007"/>
              <a:gd name="connsiteX41348" fmla="*/ 1117336 w 6884782"/>
              <a:gd name="connsiteY41348" fmla="*/ 1961009 h 5973007"/>
              <a:gd name="connsiteX41349" fmla="*/ 1120021 w 6884782"/>
              <a:gd name="connsiteY41349" fmla="*/ 1958376 h 5973007"/>
              <a:gd name="connsiteX41350" fmla="*/ 1121260 w 6884782"/>
              <a:gd name="connsiteY41350" fmla="*/ 1958996 h 5973007"/>
              <a:gd name="connsiteX41351" fmla="*/ 1117439 w 6884782"/>
              <a:gd name="connsiteY41351" fmla="*/ 1956362 h 5973007"/>
              <a:gd name="connsiteX41352" fmla="*/ 1112483 w 6884782"/>
              <a:gd name="connsiteY41352" fmla="*/ 1942886 h 5973007"/>
              <a:gd name="connsiteX41353" fmla="*/ 1115890 w 6884782"/>
              <a:gd name="connsiteY41353" fmla="*/ 1934832 h 5973007"/>
              <a:gd name="connsiteX41354" fmla="*/ 1121053 w 6884782"/>
              <a:gd name="connsiteY41354" fmla="*/ 1930804 h 5973007"/>
              <a:gd name="connsiteX41355" fmla="*/ 1125699 w 6884782"/>
              <a:gd name="connsiteY41355" fmla="*/ 1929101 h 5973007"/>
              <a:gd name="connsiteX41356" fmla="*/ 1126629 w 6884782"/>
              <a:gd name="connsiteY41356" fmla="*/ 1927861 h 5973007"/>
              <a:gd name="connsiteX41357" fmla="*/ 1127248 w 6884782"/>
              <a:gd name="connsiteY41357" fmla="*/ 1928636 h 5973007"/>
              <a:gd name="connsiteX41358" fmla="*/ 1131275 w 6884782"/>
              <a:gd name="connsiteY41358" fmla="*/ 1927087 h 5973007"/>
              <a:gd name="connsiteX41359" fmla="*/ 1143150 w 6884782"/>
              <a:gd name="connsiteY41359" fmla="*/ 1922750 h 5973007"/>
              <a:gd name="connsiteX41360" fmla="*/ 1143047 w 6884782"/>
              <a:gd name="connsiteY41360" fmla="*/ 1924144 h 5973007"/>
              <a:gd name="connsiteX41361" fmla="*/ 1143976 w 6884782"/>
              <a:gd name="connsiteY41361" fmla="*/ 1923370 h 5973007"/>
              <a:gd name="connsiteX41362" fmla="*/ 1148726 w 6884782"/>
              <a:gd name="connsiteY41362" fmla="*/ 1921356 h 5973007"/>
              <a:gd name="connsiteX41363" fmla="*/ 1263547 w 6884782"/>
              <a:gd name="connsiteY41363" fmla="*/ 1921046 h 5973007"/>
              <a:gd name="connsiteX41364" fmla="*/ 1265199 w 6884782"/>
              <a:gd name="connsiteY41364" fmla="*/ 1921975 h 5973007"/>
              <a:gd name="connsiteX41365" fmla="*/ 1261172 w 6884782"/>
              <a:gd name="connsiteY41365" fmla="*/ 1925538 h 5973007"/>
              <a:gd name="connsiteX41366" fmla="*/ 1257455 w 6884782"/>
              <a:gd name="connsiteY41366" fmla="*/ 1928017 h 5973007"/>
              <a:gd name="connsiteX41367" fmla="*/ 1243722 w 6884782"/>
              <a:gd name="connsiteY41367" fmla="*/ 1933128 h 5973007"/>
              <a:gd name="connsiteX41368" fmla="*/ 1248161 w 6884782"/>
              <a:gd name="connsiteY41368" fmla="*/ 1929256 h 5973007"/>
              <a:gd name="connsiteX41369" fmla="*/ 1247645 w 6884782"/>
              <a:gd name="connsiteY41369" fmla="*/ 1927087 h 5973007"/>
              <a:gd name="connsiteX41370" fmla="*/ 1250536 w 6884782"/>
              <a:gd name="connsiteY41370" fmla="*/ 1923989 h 5973007"/>
              <a:gd name="connsiteX41371" fmla="*/ 1250743 w 6884782"/>
              <a:gd name="connsiteY41371" fmla="*/ 1927397 h 5973007"/>
              <a:gd name="connsiteX41372" fmla="*/ 1250639 w 6884782"/>
              <a:gd name="connsiteY41372" fmla="*/ 1927707 h 5973007"/>
              <a:gd name="connsiteX41373" fmla="*/ 1255183 w 6884782"/>
              <a:gd name="connsiteY41373" fmla="*/ 1925073 h 5973007"/>
              <a:gd name="connsiteX41374" fmla="*/ 1260449 w 6884782"/>
              <a:gd name="connsiteY41374" fmla="*/ 1921201 h 5973007"/>
              <a:gd name="connsiteX41375" fmla="*/ 1262824 w 6884782"/>
              <a:gd name="connsiteY41375" fmla="*/ 1921666 h 5973007"/>
              <a:gd name="connsiteX41376" fmla="*/ 1263547 w 6884782"/>
              <a:gd name="connsiteY41376" fmla="*/ 1921046 h 5973007"/>
              <a:gd name="connsiteX41377" fmla="*/ 4907587 w 6884782"/>
              <a:gd name="connsiteY41377" fmla="*/ 1920914 h 5973007"/>
              <a:gd name="connsiteX41378" fmla="*/ 4905453 w 6884782"/>
              <a:gd name="connsiteY41378" fmla="*/ 1926605 h 5973007"/>
              <a:gd name="connsiteX41379" fmla="*/ 4903959 w 6884782"/>
              <a:gd name="connsiteY41379" fmla="*/ 1929593 h 5973007"/>
              <a:gd name="connsiteX41380" fmla="*/ 4903319 w 6884782"/>
              <a:gd name="connsiteY41380" fmla="*/ 1932295 h 5973007"/>
              <a:gd name="connsiteX41381" fmla="*/ 4899690 w 6884782"/>
              <a:gd name="connsiteY41381" fmla="*/ 1936137 h 5973007"/>
              <a:gd name="connsiteX41382" fmla="*/ 4900117 w 6884782"/>
              <a:gd name="connsiteY41382" fmla="*/ 1933433 h 5973007"/>
              <a:gd name="connsiteX41383" fmla="*/ 4901825 w 6884782"/>
              <a:gd name="connsiteY41383" fmla="*/ 1930446 h 5973007"/>
              <a:gd name="connsiteX41384" fmla="*/ 4901184 w 6884782"/>
              <a:gd name="connsiteY41384" fmla="*/ 1928170 h 5973007"/>
              <a:gd name="connsiteX41385" fmla="*/ 4907587 w 6884782"/>
              <a:gd name="connsiteY41385" fmla="*/ 1920914 h 5973007"/>
              <a:gd name="connsiteX41386" fmla="*/ 5949929 w 6884782"/>
              <a:gd name="connsiteY41386" fmla="*/ 1919776 h 5973007"/>
              <a:gd name="connsiteX41387" fmla="*/ 5954198 w 6884782"/>
              <a:gd name="connsiteY41387" fmla="*/ 1922621 h 5973007"/>
              <a:gd name="connsiteX41388" fmla="*/ 5951423 w 6884782"/>
              <a:gd name="connsiteY41388" fmla="*/ 1925609 h 5973007"/>
              <a:gd name="connsiteX41389" fmla="*/ 5949929 w 6884782"/>
              <a:gd name="connsiteY41389" fmla="*/ 1919776 h 5973007"/>
              <a:gd name="connsiteX41390" fmla="*/ 1572799 w 6884782"/>
              <a:gd name="connsiteY41390" fmla="*/ 1919188 h 5973007"/>
              <a:gd name="connsiteX41391" fmla="*/ 1575380 w 6884782"/>
              <a:gd name="connsiteY41391" fmla="*/ 1920736 h 5973007"/>
              <a:gd name="connsiteX41392" fmla="*/ 1568462 w 6884782"/>
              <a:gd name="connsiteY41392" fmla="*/ 1923215 h 5973007"/>
              <a:gd name="connsiteX41393" fmla="*/ 1572799 w 6884782"/>
              <a:gd name="connsiteY41393" fmla="*/ 1919188 h 5973007"/>
              <a:gd name="connsiteX41394" fmla="*/ 5041401 w 6884782"/>
              <a:gd name="connsiteY41394" fmla="*/ 1919065 h 5973007"/>
              <a:gd name="connsiteX41395" fmla="*/ 5046737 w 6884782"/>
              <a:gd name="connsiteY41395" fmla="*/ 1919349 h 5973007"/>
              <a:gd name="connsiteX41396" fmla="*/ 5038200 w 6884782"/>
              <a:gd name="connsiteY41396" fmla="*/ 1923759 h 5973007"/>
              <a:gd name="connsiteX41397" fmla="*/ 5041401 w 6884782"/>
              <a:gd name="connsiteY41397" fmla="*/ 1919065 h 5973007"/>
              <a:gd name="connsiteX41398" fmla="*/ 6137952 w 6884782"/>
              <a:gd name="connsiteY41398" fmla="*/ 1918780 h 5973007"/>
              <a:gd name="connsiteX41399" fmla="*/ 6139660 w 6884782"/>
              <a:gd name="connsiteY41399" fmla="*/ 1919918 h 5973007"/>
              <a:gd name="connsiteX41400" fmla="*/ 6140300 w 6884782"/>
              <a:gd name="connsiteY41400" fmla="*/ 1918780 h 5973007"/>
              <a:gd name="connsiteX41401" fmla="*/ 6141367 w 6884782"/>
              <a:gd name="connsiteY41401" fmla="*/ 1921057 h 5973007"/>
              <a:gd name="connsiteX41402" fmla="*/ 6140727 w 6884782"/>
              <a:gd name="connsiteY41402" fmla="*/ 1922053 h 5973007"/>
              <a:gd name="connsiteX41403" fmla="*/ 6140940 w 6884782"/>
              <a:gd name="connsiteY41403" fmla="*/ 1922337 h 5973007"/>
              <a:gd name="connsiteX41404" fmla="*/ 6138592 w 6884782"/>
              <a:gd name="connsiteY41404" fmla="*/ 1923475 h 5973007"/>
              <a:gd name="connsiteX41405" fmla="*/ 6136245 w 6884782"/>
              <a:gd name="connsiteY41405" fmla="*/ 1923332 h 5973007"/>
              <a:gd name="connsiteX41406" fmla="*/ 6137952 w 6884782"/>
              <a:gd name="connsiteY41406" fmla="*/ 1918780 h 5973007"/>
              <a:gd name="connsiteX41407" fmla="*/ 3855855 w 6884782"/>
              <a:gd name="connsiteY41407" fmla="*/ 1918069 h 5973007"/>
              <a:gd name="connsiteX41408" fmla="*/ 3856068 w 6884782"/>
              <a:gd name="connsiteY41408" fmla="*/ 1920772 h 5973007"/>
              <a:gd name="connsiteX41409" fmla="*/ 3855001 w 6884782"/>
              <a:gd name="connsiteY41409" fmla="*/ 1920772 h 5973007"/>
              <a:gd name="connsiteX41410" fmla="*/ 3855855 w 6884782"/>
              <a:gd name="connsiteY41410" fmla="*/ 1918069 h 5973007"/>
              <a:gd name="connsiteX41411" fmla="*/ 3569872 w 6884782"/>
              <a:gd name="connsiteY41411" fmla="*/ 1917073 h 5973007"/>
              <a:gd name="connsiteX41412" fmla="*/ 3571366 w 6884782"/>
              <a:gd name="connsiteY41412" fmla="*/ 1917642 h 5973007"/>
              <a:gd name="connsiteX41413" fmla="*/ 3571366 w 6884782"/>
              <a:gd name="connsiteY41413" fmla="*/ 1917215 h 5973007"/>
              <a:gd name="connsiteX41414" fmla="*/ 3573286 w 6884782"/>
              <a:gd name="connsiteY41414" fmla="*/ 1919349 h 5973007"/>
              <a:gd name="connsiteX41415" fmla="*/ 3573500 w 6884782"/>
              <a:gd name="connsiteY41415" fmla="*/ 1923190 h 5973007"/>
              <a:gd name="connsiteX41416" fmla="*/ 3570939 w 6884782"/>
              <a:gd name="connsiteY41416" fmla="*/ 1923048 h 5973007"/>
              <a:gd name="connsiteX41417" fmla="*/ 3569872 w 6884782"/>
              <a:gd name="connsiteY41417" fmla="*/ 1917073 h 5973007"/>
              <a:gd name="connsiteX41418" fmla="*/ 3559414 w 6884782"/>
              <a:gd name="connsiteY41418" fmla="*/ 1917073 h 5973007"/>
              <a:gd name="connsiteX41419" fmla="*/ 3560908 w 6884782"/>
              <a:gd name="connsiteY41419" fmla="*/ 1920345 h 5973007"/>
              <a:gd name="connsiteX41420" fmla="*/ 3558774 w 6884782"/>
              <a:gd name="connsiteY41420" fmla="*/ 1921199 h 5973007"/>
              <a:gd name="connsiteX41421" fmla="*/ 3558988 w 6884782"/>
              <a:gd name="connsiteY41421" fmla="*/ 1918638 h 5973007"/>
              <a:gd name="connsiteX41422" fmla="*/ 3559414 w 6884782"/>
              <a:gd name="connsiteY41422" fmla="*/ 1917073 h 5973007"/>
              <a:gd name="connsiteX41423" fmla="*/ 1401600 w 6884782"/>
              <a:gd name="connsiteY41423" fmla="*/ 1916864 h 5973007"/>
              <a:gd name="connsiteX41424" fmla="*/ 1404904 w 6884782"/>
              <a:gd name="connsiteY41424" fmla="*/ 1923679 h 5973007"/>
              <a:gd name="connsiteX41425" fmla="*/ 1401497 w 6884782"/>
              <a:gd name="connsiteY41425" fmla="*/ 1920891 h 5973007"/>
              <a:gd name="connsiteX41426" fmla="*/ 1401600 w 6884782"/>
              <a:gd name="connsiteY41426" fmla="*/ 1916864 h 5973007"/>
              <a:gd name="connsiteX41427" fmla="*/ 1300616 w 6884782"/>
              <a:gd name="connsiteY41427" fmla="*/ 1916554 h 5973007"/>
              <a:gd name="connsiteX41428" fmla="*/ 1305985 w 6884782"/>
              <a:gd name="connsiteY41428" fmla="*/ 1926777 h 5973007"/>
              <a:gd name="connsiteX41429" fmla="*/ 1305366 w 6884782"/>
              <a:gd name="connsiteY41429" fmla="*/ 1928946 h 5973007"/>
              <a:gd name="connsiteX41430" fmla="*/ 1305572 w 6884782"/>
              <a:gd name="connsiteY41430" fmla="*/ 1930959 h 5973007"/>
              <a:gd name="connsiteX41431" fmla="*/ 1302577 w 6884782"/>
              <a:gd name="connsiteY41431" fmla="*/ 1935451 h 5973007"/>
              <a:gd name="connsiteX41432" fmla="*/ 1298137 w 6884782"/>
              <a:gd name="connsiteY41432" fmla="*/ 1918878 h 5973007"/>
              <a:gd name="connsiteX41433" fmla="*/ 1298550 w 6884782"/>
              <a:gd name="connsiteY41433" fmla="*/ 1917019 h 5973007"/>
              <a:gd name="connsiteX41434" fmla="*/ 1300616 w 6884782"/>
              <a:gd name="connsiteY41434" fmla="*/ 1916554 h 5973007"/>
              <a:gd name="connsiteX41435" fmla="*/ 3571579 w 6884782"/>
              <a:gd name="connsiteY41435" fmla="*/ 1916361 h 5973007"/>
              <a:gd name="connsiteX41436" fmla="*/ 3571366 w 6884782"/>
              <a:gd name="connsiteY41436" fmla="*/ 1917215 h 5973007"/>
              <a:gd name="connsiteX41437" fmla="*/ 3570939 w 6884782"/>
              <a:gd name="connsiteY41437" fmla="*/ 1916647 h 5973007"/>
              <a:gd name="connsiteX41438" fmla="*/ 3571579 w 6884782"/>
              <a:gd name="connsiteY41438" fmla="*/ 1916361 h 5973007"/>
              <a:gd name="connsiteX41439" fmla="*/ 5479339 w 6884782"/>
              <a:gd name="connsiteY41439" fmla="*/ 1915792 h 5973007"/>
              <a:gd name="connsiteX41440" fmla="*/ 5497479 w 6884782"/>
              <a:gd name="connsiteY41440" fmla="*/ 1915792 h 5973007"/>
              <a:gd name="connsiteX41441" fmla="*/ 5510711 w 6884782"/>
              <a:gd name="connsiteY41441" fmla="*/ 1920629 h 5973007"/>
              <a:gd name="connsiteX41442" fmla="*/ 5509004 w 6884782"/>
              <a:gd name="connsiteY41442" fmla="*/ 1933576 h 5973007"/>
              <a:gd name="connsiteX41443" fmla="*/ 5479339 w 6884782"/>
              <a:gd name="connsiteY41443" fmla="*/ 1915792 h 5973007"/>
              <a:gd name="connsiteX41444" fmla="*/ 3600604 w 6884782"/>
              <a:gd name="connsiteY41444" fmla="*/ 1915792 h 5973007"/>
              <a:gd name="connsiteX41445" fmla="*/ 3608714 w 6884782"/>
              <a:gd name="connsiteY41445" fmla="*/ 1918069 h 5973007"/>
              <a:gd name="connsiteX41446" fmla="*/ 3607434 w 6884782"/>
              <a:gd name="connsiteY41446" fmla="*/ 1926605 h 5973007"/>
              <a:gd name="connsiteX41447" fmla="*/ 3592281 w 6884782"/>
              <a:gd name="connsiteY41447" fmla="*/ 1917215 h 5973007"/>
              <a:gd name="connsiteX41448" fmla="*/ 3600604 w 6884782"/>
              <a:gd name="connsiteY41448" fmla="*/ 1915792 h 5973007"/>
              <a:gd name="connsiteX41449" fmla="*/ 1304642 w 6884782"/>
              <a:gd name="connsiteY41449" fmla="*/ 1915780 h 5973007"/>
              <a:gd name="connsiteX41450" fmla="*/ 1305469 w 6884782"/>
              <a:gd name="connsiteY41450" fmla="*/ 1915780 h 5973007"/>
              <a:gd name="connsiteX41451" fmla="*/ 1304642 w 6884782"/>
              <a:gd name="connsiteY41451" fmla="*/ 1917328 h 5973007"/>
              <a:gd name="connsiteX41452" fmla="*/ 1304333 w 6884782"/>
              <a:gd name="connsiteY41452" fmla="*/ 1917019 h 5973007"/>
              <a:gd name="connsiteX41453" fmla="*/ 1304642 w 6884782"/>
              <a:gd name="connsiteY41453" fmla="*/ 1915780 h 5973007"/>
              <a:gd name="connsiteX41454" fmla="*/ 5355128 w 6884782"/>
              <a:gd name="connsiteY41454" fmla="*/ 1915508 h 5973007"/>
              <a:gd name="connsiteX41455" fmla="*/ 5380098 w 6884782"/>
              <a:gd name="connsiteY41455" fmla="*/ 1945242 h 5973007"/>
              <a:gd name="connsiteX41456" fmla="*/ 5370922 w 6884782"/>
              <a:gd name="connsiteY41456" fmla="*/ 1951502 h 5973007"/>
              <a:gd name="connsiteX41457" fmla="*/ 5355128 w 6884782"/>
              <a:gd name="connsiteY41457" fmla="*/ 1915508 h 5973007"/>
              <a:gd name="connsiteX41458" fmla="*/ 5315005 w 6884782"/>
              <a:gd name="connsiteY41458" fmla="*/ 1915508 h 5973007"/>
              <a:gd name="connsiteX41459" fmla="*/ 5314579 w 6884782"/>
              <a:gd name="connsiteY41459" fmla="*/ 1916931 h 5973007"/>
              <a:gd name="connsiteX41460" fmla="*/ 5315432 w 6884782"/>
              <a:gd name="connsiteY41460" fmla="*/ 1916361 h 5973007"/>
              <a:gd name="connsiteX41461" fmla="*/ 1266231 w 6884782"/>
              <a:gd name="connsiteY41461" fmla="*/ 1915470 h 5973007"/>
              <a:gd name="connsiteX41462" fmla="*/ 1289464 w 6884782"/>
              <a:gd name="connsiteY41462" fmla="*/ 1925073 h 5973007"/>
              <a:gd name="connsiteX41463" fmla="*/ 1293801 w 6884782"/>
              <a:gd name="connsiteY41463" fmla="*/ 1930959 h 5973007"/>
              <a:gd name="connsiteX41464" fmla="*/ 1277073 w 6884782"/>
              <a:gd name="connsiteY41464" fmla="*/ 1928636 h 5973007"/>
              <a:gd name="connsiteX41465" fmla="*/ 1269845 w 6884782"/>
              <a:gd name="connsiteY41465" fmla="*/ 1943661 h 5973007"/>
              <a:gd name="connsiteX41466" fmla="*/ 1268090 w 6884782"/>
              <a:gd name="connsiteY41466" fmla="*/ 1939943 h 5973007"/>
              <a:gd name="connsiteX41467" fmla="*/ 1264889 w 6884782"/>
              <a:gd name="connsiteY41467" fmla="*/ 1940253 h 5973007"/>
              <a:gd name="connsiteX41468" fmla="*/ 1264063 w 6884782"/>
              <a:gd name="connsiteY41468" fmla="*/ 1939479 h 5973007"/>
              <a:gd name="connsiteX41469" fmla="*/ 1262824 w 6884782"/>
              <a:gd name="connsiteY41469" fmla="*/ 1940253 h 5973007"/>
              <a:gd name="connsiteX41470" fmla="*/ 1261791 w 6884782"/>
              <a:gd name="connsiteY41470" fmla="*/ 1941028 h 5973007"/>
              <a:gd name="connsiteX41471" fmla="*/ 1259829 w 6884782"/>
              <a:gd name="connsiteY41471" fmla="*/ 1939789 h 5973007"/>
              <a:gd name="connsiteX41472" fmla="*/ 1259933 w 6884782"/>
              <a:gd name="connsiteY41472" fmla="*/ 1938394 h 5973007"/>
              <a:gd name="connsiteX41473" fmla="*/ 1257868 w 6884782"/>
              <a:gd name="connsiteY41473" fmla="*/ 1937930 h 5973007"/>
              <a:gd name="connsiteX41474" fmla="*/ 1262721 w 6884782"/>
              <a:gd name="connsiteY41474" fmla="*/ 1933128 h 5973007"/>
              <a:gd name="connsiteX41475" fmla="*/ 1261998 w 6884782"/>
              <a:gd name="connsiteY41475" fmla="*/ 1935142 h 5973007"/>
              <a:gd name="connsiteX41476" fmla="*/ 1263443 w 6884782"/>
              <a:gd name="connsiteY41476" fmla="*/ 1933593 h 5973007"/>
              <a:gd name="connsiteX41477" fmla="*/ 1268606 w 6884782"/>
              <a:gd name="connsiteY41477" fmla="*/ 1932044 h 5973007"/>
              <a:gd name="connsiteX41478" fmla="*/ 1268606 w 6884782"/>
              <a:gd name="connsiteY41478" fmla="*/ 1934212 h 5973007"/>
              <a:gd name="connsiteX41479" fmla="*/ 1269639 w 6884782"/>
              <a:gd name="connsiteY41479" fmla="*/ 1930030 h 5973007"/>
              <a:gd name="connsiteX41480" fmla="*/ 1270362 w 6884782"/>
              <a:gd name="connsiteY41480" fmla="*/ 1924764 h 5973007"/>
              <a:gd name="connsiteX41481" fmla="*/ 1266025 w 6884782"/>
              <a:gd name="connsiteY41481" fmla="*/ 1919188 h 5973007"/>
              <a:gd name="connsiteX41482" fmla="*/ 1266231 w 6884782"/>
              <a:gd name="connsiteY41482" fmla="*/ 1915470 h 5973007"/>
              <a:gd name="connsiteX41483" fmla="*/ 3888081 w 6884782"/>
              <a:gd name="connsiteY41483" fmla="*/ 1915365 h 5973007"/>
              <a:gd name="connsiteX41484" fmla="*/ 3893630 w 6884782"/>
              <a:gd name="connsiteY41484" fmla="*/ 1922194 h 5973007"/>
              <a:gd name="connsiteX41485" fmla="*/ 3891496 w 6884782"/>
              <a:gd name="connsiteY41485" fmla="*/ 1924755 h 5973007"/>
              <a:gd name="connsiteX41486" fmla="*/ 3880611 w 6884782"/>
              <a:gd name="connsiteY41486" fmla="*/ 1918353 h 5973007"/>
              <a:gd name="connsiteX41487" fmla="*/ 3888081 w 6884782"/>
              <a:gd name="connsiteY41487" fmla="*/ 1915365 h 5973007"/>
              <a:gd name="connsiteX41488" fmla="*/ 5553182 w 6884782"/>
              <a:gd name="connsiteY41488" fmla="*/ 1915223 h 5973007"/>
              <a:gd name="connsiteX41489" fmla="*/ 5557450 w 6884782"/>
              <a:gd name="connsiteY41489" fmla="*/ 1924471 h 5973007"/>
              <a:gd name="connsiteX41490" fmla="*/ 5553182 w 6884782"/>
              <a:gd name="connsiteY41490" fmla="*/ 1920202 h 5973007"/>
              <a:gd name="connsiteX41491" fmla="*/ 5553182 w 6884782"/>
              <a:gd name="connsiteY41491" fmla="*/ 1915223 h 5973007"/>
              <a:gd name="connsiteX41492" fmla="*/ 776590 w 6884782"/>
              <a:gd name="connsiteY41492" fmla="*/ 1914695 h 5973007"/>
              <a:gd name="connsiteX41493" fmla="*/ 778656 w 6884782"/>
              <a:gd name="connsiteY41493" fmla="*/ 1916709 h 5973007"/>
              <a:gd name="connsiteX41494" fmla="*/ 769569 w 6884782"/>
              <a:gd name="connsiteY41494" fmla="*/ 1930959 h 5973007"/>
              <a:gd name="connsiteX41495" fmla="*/ 750776 w 6884782"/>
              <a:gd name="connsiteY41495" fmla="*/ 1930340 h 5973007"/>
              <a:gd name="connsiteX41496" fmla="*/ 749950 w 6884782"/>
              <a:gd name="connsiteY41496" fmla="*/ 1925228 h 5973007"/>
              <a:gd name="connsiteX41497" fmla="*/ 759657 w 6884782"/>
              <a:gd name="connsiteY41497" fmla="*/ 1916864 h 5973007"/>
              <a:gd name="connsiteX41498" fmla="*/ 765749 w 6884782"/>
              <a:gd name="connsiteY41498" fmla="*/ 1915160 h 5973007"/>
              <a:gd name="connsiteX41499" fmla="*/ 776590 w 6884782"/>
              <a:gd name="connsiteY41499" fmla="*/ 1914695 h 5973007"/>
              <a:gd name="connsiteX41500" fmla="*/ 1534426 w 6884782"/>
              <a:gd name="connsiteY41500" fmla="*/ 1914231 h 5973007"/>
              <a:gd name="connsiteX41501" fmla="*/ 1540376 w 6884782"/>
              <a:gd name="connsiteY41501" fmla="*/ 1914231 h 5973007"/>
              <a:gd name="connsiteX41502" fmla="*/ 1542855 w 6884782"/>
              <a:gd name="connsiteY41502" fmla="*/ 1917638 h 5973007"/>
              <a:gd name="connsiteX41503" fmla="*/ 1540376 w 6884782"/>
              <a:gd name="connsiteY41503" fmla="*/ 1924609 h 5973007"/>
              <a:gd name="connsiteX41504" fmla="*/ 1531497 w 6884782"/>
              <a:gd name="connsiteY41504" fmla="*/ 1922130 h 5973007"/>
              <a:gd name="connsiteX41505" fmla="*/ 1534426 w 6884782"/>
              <a:gd name="connsiteY41505" fmla="*/ 1914231 h 5973007"/>
              <a:gd name="connsiteX41506" fmla="*/ 3849239 w 6884782"/>
              <a:gd name="connsiteY41506" fmla="*/ 1914228 h 5973007"/>
              <a:gd name="connsiteX41507" fmla="*/ 3850306 w 6884782"/>
              <a:gd name="connsiteY41507" fmla="*/ 1915650 h 5973007"/>
              <a:gd name="connsiteX41508" fmla="*/ 3849879 w 6884782"/>
              <a:gd name="connsiteY41508" fmla="*/ 1918069 h 5973007"/>
              <a:gd name="connsiteX41509" fmla="*/ 3848385 w 6884782"/>
              <a:gd name="connsiteY41509" fmla="*/ 1923048 h 5973007"/>
              <a:gd name="connsiteX41510" fmla="*/ 3849239 w 6884782"/>
              <a:gd name="connsiteY41510" fmla="*/ 1914228 h 5973007"/>
              <a:gd name="connsiteX41511" fmla="*/ 4973961 w 6884782"/>
              <a:gd name="connsiteY41511" fmla="*/ 1913658 h 5973007"/>
              <a:gd name="connsiteX41512" fmla="*/ 4978869 w 6884782"/>
              <a:gd name="connsiteY41512" fmla="*/ 1919065 h 5973007"/>
              <a:gd name="connsiteX41513" fmla="*/ 4970973 w 6884782"/>
              <a:gd name="connsiteY41513" fmla="*/ 1923048 h 5973007"/>
              <a:gd name="connsiteX41514" fmla="*/ 4970333 w 6884782"/>
              <a:gd name="connsiteY41514" fmla="*/ 1914512 h 5973007"/>
              <a:gd name="connsiteX41515" fmla="*/ 4973961 w 6884782"/>
              <a:gd name="connsiteY41515" fmla="*/ 1913658 h 5973007"/>
              <a:gd name="connsiteX41516" fmla="*/ 1521816 w 6884782"/>
              <a:gd name="connsiteY41516" fmla="*/ 1913263 h 5973007"/>
              <a:gd name="connsiteX41517" fmla="*/ 1530464 w 6884782"/>
              <a:gd name="connsiteY41517" fmla="*/ 1919188 h 5973007"/>
              <a:gd name="connsiteX41518" fmla="*/ 1509606 w 6884782"/>
              <a:gd name="connsiteY41518" fmla="*/ 1919188 h 5973007"/>
              <a:gd name="connsiteX41519" fmla="*/ 1510845 w 6884782"/>
              <a:gd name="connsiteY41519" fmla="*/ 1915005 h 5973007"/>
              <a:gd name="connsiteX41520" fmla="*/ 1521816 w 6884782"/>
              <a:gd name="connsiteY41520" fmla="*/ 1913263 h 5973007"/>
              <a:gd name="connsiteX41521" fmla="*/ 5970204 w 6884782"/>
              <a:gd name="connsiteY41521" fmla="*/ 1913090 h 5973007"/>
              <a:gd name="connsiteX41522" fmla="*/ 5972552 w 6884782"/>
              <a:gd name="connsiteY41522" fmla="*/ 1918069 h 5973007"/>
              <a:gd name="connsiteX41523" fmla="*/ 5965509 w 6884782"/>
              <a:gd name="connsiteY41523" fmla="*/ 1919918 h 5973007"/>
              <a:gd name="connsiteX41524" fmla="*/ 5970204 w 6884782"/>
              <a:gd name="connsiteY41524" fmla="*/ 1913090 h 5973007"/>
              <a:gd name="connsiteX41525" fmla="*/ 797551 w 6884782"/>
              <a:gd name="connsiteY41525" fmla="*/ 1912372 h 5973007"/>
              <a:gd name="connsiteX41526" fmla="*/ 798584 w 6884782"/>
              <a:gd name="connsiteY41526" fmla="*/ 1915470 h 5973007"/>
              <a:gd name="connsiteX41527" fmla="*/ 797035 w 6884782"/>
              <a:gd name="connsiteY41527" fmla="*/ 1915780 h 5973007"/>
              <a:gd name="connsiteX41528" fmla="*/ 797035 w 6884782"/>
              <a:gd name="connsiteY41528" fmla="*/ 1916554 h 5973007"/>
              <a:gd name="connsiteX41529" fmla="*/ 795383 w 6884782"/>
              <a:gd name="connsiteY41529" fmla="*/ 1915935 h 5973007"/>
              <a:gd name="connsiteX41530" fmla="*/ 795280 w 6884782"/>
              <a:gd name="connsiteY41530" fmla="*/ 1915160 h 5973007"/>
              <a:gd name="connsiteX41531" fmla="*/ 795073 w 6884782"/>
              <a:gd name="connsiteY41531" fmla="*/ 1915005 h 5973007"/>
              <a:gd name="connsiteX41532" fmla="*/ 796002 w 6884782"/>
              <a:gd name="connsiteY41532" fmla="*/ 1913456 h 5973007"/>
              <a:gd name="connsiteX41533" fmla="*/ 797551 w 6884782"/>
              <a:gd name="connsiteY41533" fmla="*/ 1912372 h 5973007"/>
              <a:gd name="connsiteX41534" fmla="*/ 1241140 w 6884782"/>
              <a:gd name="connsiteY41534" fmla="*/ 1912217 h 5973007"/>
              <a:gd name="connsiteX41535" fmla="*/ 1243515 w 6884782"/>
              <a:gd name="connsiteY41535" fmla="*/ 1913456 h 5973007"/>
              <a:gd name="connsiteX41536" fmla="*/ 1248988 w 6884782"/>
              <a:gd name="connsiteY41536" fmla="*/ 1922905 h 5973007"/>
              <a:gd name="connsiteX41537" fmla="*/ 1241140 w 6884782"/>
              <a:gd name="connsiteY41537" fmla="*/ 1912217 h 5973007"/>
              <a:gd name="connsiteX41538" fmla="*/ 1430512 w 6884782"/>
              <a:gd name="connsiteY41538" fmla="*/ 1910978 h 5973007"/>
              <a:gd name="connsiteX41539" fmla="*/ 1431544 w 6884782"/>
              <a:gd name="connsiteY41539" fmla="*/ 1912217 h 5973007"/>
              <a:gd name="connsiteX41540" fmla="*/ 1433816 w 6884782"/>
              <a:gd name="connsiteY41540" fmla="*/ 1914850 h 5973007"/>
              <a:gd name="connsiteX41541" fmla="*/ 1429066 w 6884782"/>
              <a:gd name="connsiteY41541" fmla="*/ 1911133 h 5973007"/>
              <a:gd name="connsiteX41542" fmla="*/ 1430512 w 6884782"/>
              <a:gd name="connsiteY41542" fmla="*/ 1910978 h 5973007"/>
              <a:gd name="connsiteX41543" fmla="*/ 5518394 w 6884782"/>
              <a:gd name="connsiteY41543" fmla="*/ 1910101 h 5973007"/>
              <a:gd name="connsiteX41544" fmla="*/ 5516901 w 6884782"/>
              <a:gd name="connsiteY41544" fmla="*/ 1920345 h 5973007"/>
              <a:gd name="connsiteX41545" fmla="*/ 5517114 w 6884782"/>
              <a:gd name="connsiteY41545" fmla="*/ 1911098 h 5973007"/>
              <a:gd name="connsiteX41546" fmla="*/ 5518394 w 6884782"/>
              <a:gd name="connsiteY41546" fmla="*/ 1910101 h 5973007"/>
              <a:gd name="connsiteX41547" fmla="*/ 3690454 w 6884782"/>
              <a:gd name="connsiteY41547" fmla="*/ 1908395 h 5973007"/>
              <a:gd name="connsiteX41548" fmla="*/ 3693442 w 6884782"/>
              <a:gd name="connsiteY41548" fmla="*/ 1912663 h 5973007"/>
              <a:gd name="connsiteX41549" fmla="*/ 3683411 w 6884782"/>
              <a:gd name="connsiteY41549" fmla="*/ 1927316 h 5973007"/>
              <a:gd name="connsiteX41550" fmla="*/ 3690454 w 6884782"/>
              <a:gd name="connsiteY41550" fmla="*/ 1908395 h 5973007"/>
              <a:gd name="connsiteX41551" fmla="*/ 1109695 w 6884782"/>
              <a:gd name="connsiteY41551" fmla="*/ 1908345 h 5973007"/>
              <a:gd name="connsiteX41552" fmla="*/ 1111347 w 6884782"/>
              <a:gd name="connsiteY41552" fmla="*/ 1909584 h 5973007"/>
              <a:gd name="connsiteX41553" fmla="*/ 1111244 w 6884782"/>
              <a:gd name="connsiteY41553" fmla="*/ 1910358 h 5973007"/>
              <a:gd name="connsiteX41554" fmla="*/ 1110624 w 6884782"/>
              <a:gd name="connsiteY41554" fmla="*/ 1913611 h 5973007"/>
              <a:gd name="connsiteX41555" fmla="*/ 1106081 w 6884782"/>
              <a:gd name="connsiteY41555" fmla="*/ 1915005 h 5973007"/>
              <a:gd name="connsiteX41556" fmla="*/ 1104738 w 6884782"/>
              <a:gd name="connsiteY41556" fmla="*/ 1912217 h 5973007"/>
              <a:gd name="connsiteX41557" fmla="*/ 1105152 w 6884782"/>
              <a:gd name="connsiteY41557" fmla="*/ 1910048 h 5973007"/>
              <a:gd name="connsiteX41558" fmla="*/ 1109695 w 6884782"/>
              <a:gd name="connsiteY41558" fmla="*/ 1908345 h 5973007"/>
              <a:gd name="connsiteX41559" fmla="*/ 4623952 w 6884782"/>
              <a:gd name="connsiteY41559" fmla="*/ 1908252 h 5973007"/>
              <a:gd name="connsiteX41560" fmla="*/ 4623312 w 6884782"/>
              <a:gd name="connsiteY41560" fmla="*/ 1908821 h 5973007"/>
              <a:gd name="connsiteX41561" fmla="*/ 4623739 w 6884782"/>
              <a:gd name="connsiteY41561" fmla="*/ 1908679 h 5973007"/>
              <a:gd name="connsiteX41562" fmla="*/ 5542511 w 6884782"/>
              <a:gd name="connsiteY41562" fmla="*/ 1908110 h 5973007"/>
              <a:gd name="connsiteX41563" fmla="*/ 5545712 w 6884782"/>
              <a:gd name="connsiteY41563" fmla="*/ 1910244 h 5973007"/>
              <a:gd name="connsiteX41564" fmla="*/ 5543578 w 6884782"/>
              <a:gd name="connsiteY41564" fmla="*/ 1913090 h 5973007"/>
              <a:gd name="connsiteX41565" fmla="*/ 5544645 w 6884782"/>
              <a:gd name="connsiteY41565" fmla="*/ 1913090 h 5973007"/>
              <a:gd name="connsiteX41566" fmla="*/ 5543791 w 6884782"/>
              <a:gd name="connsiteY41566" fmla="*/ 1923902 h 5973007"/>
              <a:gd name="connsiteX41567" fmla="*/ 5538242 w 6884782"/>
              <a:gd name="connsiteY41567" fmla="*/ 1927316 h 5973007"/>
              <a:gd name="connsiteX41568" fmla="*/ 5527571 w 6884782"/>
              <a:gd name="connsiteY41568" fmla="*/ 1924471 h 5973007"/>
              <a:gd name="connsiteX41569" fmla="*/ 5528639 w 6884782"/>
              <a:gd name="connsiteY41569" fmla="*/ 1918353 h 5973007"/>
              <a:gd name="connsiteX41570" fmla="*/ 5534614 w 6884782"/>
              <a:gd name="connsiteY41570" fmla="*/ 1914370 h 5973007"/>
              <a:gd name="connsiteX41571" fmla="*/ 5539096 w 6884782"/>
              <a:gd name="connsiteY41571" fmla="*/ 1913090 h 5973007"/>
              <a:gd name="connsiteX41572" fmla="*/ 5539096 w 6884782"/>
              <a:gd name="connsiteY41572" fmla="*/ 1910813 h 5973007"/>
              <a:gd name="connsiteX41573" fmla="*/ 5542511 w 6884782"/>
              <a:gd name="connsiteY41573" fmla="*/ 1908110 h 5973007"/>
              <a:gd name="connsiteX41574" fmla="*/ 1047534 w 6884782"/>
              <a:gd name="connsiteY41574" fmla="*/ 1908035 h 5973007"/>
              <a:gd name="connsiteX41575" fmla="*/ 1052078 w 6884782"/>
              <a:gd name="connsiteY41575" fmla="*/ 1922750 h 5973007"/>
              <a:gd name="connsiteX41576" fmla="*/ 1047328 w 6884782"/>
              <a:gd name="connsiteY41576" fmla="*/ 1923679 h 5973007"/>
              <a:gd name="connsiteX41577" fmla="*/ 1045160 w 6884782"/>
              <a:gd name="connsiteY41577" fmla="*/ 1921975 h 5973007"/>
              <a:gd name="connsiteX41578" fmla="*/ 1043198 w 6884782"/>
              <a:gd name="connsiteY41578" fmla="*/ 1923215 h 5973007"/>
              <a:gd name="connsiteX41579" fmla="*/ 1040823 w 6884782"/>
              <a:gd name="connsiteY41579" fmla="*/ 1920891 h 5973007"/>
              <a:gd name="connsiteX41580" fmla="*/ 1042785 w 6884782"/>
              <a:gd name="connsiteY41580" fmla="*/ 1917328 h 5973007"/>
              <a:gd name="connsiteX41581" fmla="*/ 1042991 w 6884782"/>
              <a:gd name="connsiteY41581" fmla="*/ 1914850 h 5973007"/>
              <a:gd name="connsiteX41582" fmla="*/ 1043198 w 6884782"/>
              <a:gd name="connsiteY41582" fmla="*/ 1909119 h 5973007"/>
              <a:gd name="connsiteX41583" fmla="*/ 1047534 w 6884782"/>
              <a:gd name="connsiteY41583" fmla="*/ 1908035 h 5973007"/>
              <a:gd name="connsiteX41584" fmla="*/ 884390 w 6884782"/>
              <a:gd name="connsiteY41584" fmla="*/ 1907570 h 5973007"/>
              <a:gd name="connsiteX41585" fmla="*/ 886662 w 6884782"/>
              <a:gd name="connsiteY41585" fmla="*/ 1908190 h 5973007"/>
              <a:gd name="connsiteX41586" fmla="*/ 879743 w 6884782"/>
              <a:gd name="connsiteY41586" fmla="*/ 1912062 h 5973007"/>
              <a:gd name="connsiteX41587" fmla="*/ 884390 w 6884782"/>
              <a:gd name="connsiteY41587" fmla="*/ 1907570 h 5973007"/>
              <a:gd name="connsiteX41588" fmla="*/ 5490010 w 6884782"/>
              <a:gd name="connsiteY41588" fmla="*/ 1907541 h 5973007"/>
              <a:gd name="connsiteX41589" fmla="*/ 5493851 w 6884782"/>
              <a:gd name="connsiteY41589" fmla="*/ 1911240 h 5973007"/>
              <a:gd name="connsiteX41590" fmla="*/ 5492571 w 6884782"/>
              <a:gd name="connsiteY41590" fmla="*/ 1913517 h 5973007"/>
              <a:gd name="connsiteX41591" fmla="*/ 5489796 w 6884782"/>
              <a:gd name="connsiteY41591" fmla="*/ 1915508 h 5973007"/>
              <a:gd name="connsiteX41592" fmla="*/ 5485101 w 6884782"/>
              <a:gd name="connsiteY41592" fmla="*/ 1910813 h 5973007"/>
              <a:gd name="connsiteX41593" fmla="*/ 5486381 w 6884782"/>
              <a:gd name="connsiteY41593" fmla="*/ 1908395 h 5973007"/>
              <a:gd name="connsiteX41594" fmla="*/ 5490010 w 6884782"/>
              <a:gd name="connsiteY41594" fmla="*/ 1907541 h 5973007"/>
              <a:gd name="connsiteX41595" fmla="*/ 5106708 w 6884782"/>
              <a:gd name="connsiteY41595" fmla="*/ 1906972 h 5973007"/>
              <a:gd name="connsiteX41596" fmla="*/ 5110976 w 6884782"/>
              <a:gd name="connsiteY41596" fmla="*/ 1909533 h 5973007"/>
              <a:gd name="connsiteX41597" fmla="*/ 5102226 w 6884782"/>
              <a:gd name="connsiteY41597" fmla="*/ 1907256 h 5973007"/>
              <a:gd name="connsiteX41598" fmla="*/ 5106708 w 6884782"/>
              <a:gd name="connsiteY41598" fmla="*/ 1906972 h 5973007"/>
              <a:gd name="connsiteX41599" fmla="*/ 4962863 w 6884782"/>
              <a:gd name="connsiteY41599" fmla="*/ 1906687 h 5973007"/>
              <a:gd name="connsiteX41600" fmla="*/ 4965851 w 6884782"/>
              <a:gd name="connsiteY41600" fmla="*/ 1909248 h 5973007"/>
              <a:gd name="connsiteX41601" fmla="*/ 4964783 w 6884782"/>
              <a:gd name="connsiteY41601" fmla="*/ 1909817 h 5973007"/>
              <a:gd name="connsiteX41602" fmla="*/ 4961795 w 6884782"/>
              <a:gd name="connsiteY41602" fmla="*/ 1913517 h 5973007"/>
              <a:gd name="connsiteX41603" fmla="*/ 4958167 w 6884782"/>
              <a:gd name="connsiteY41603" fmla="*/ 1908252 h 5973007"/>
              <a:gd name="connsiteX41604" fmla="*/ 4962863 w 6884782"/>
              <a:gd name="connsiteY41604" fmla="*/ 1906687 h 5973007"/>
              <a:gd name="connsiteX41605" fmla="*/ 1348527 w 6884782"/>
              <a:gd name="connsiteY41605" fmla="*/ 1906486 h 5973007"/>
              <a:gd name="connsiteX41606" fmla="*/ 1351934 w 6884782"/>
              <a:gd name="connsiteY41606" fmla="*/ 1911597 h 5973007"/>
              <a:gd name="connsiteX41607" fmla="*/ 1352037 w 6884782"/>
              <a:gd name="connsiteY41607" fmla="*/ 1912062 h 5973007"/>
              <a:gd name="connsiteX41608" fmla="*/ 1353793 w 6884782"/>
              <a:gd name="connsiteY41608" fmla="*/ 1910513 h 5973007"/>
              <a:gd name="connsiteX41609" fmla="*/ 1361950 w 6884782"/>
              <a:gd name="connsiteY41609" fmla="*/ 1908035 h 5973007"/>
              <a:gd name="connsiteX41610" fmla="*/ 1364118 w 6884782"/>
              <a:gd name="connsiteY41610" fmla="*/ 1908964 h 5973007"/>
              <a:gd name="connsiteX41611" fmla="*/ 1365873 w 6884782"/>
              <a:gd name="connsiteY41611" fmla="*/ 1908190 h 5973007"/>
              <a:gd name="connsiteX41612" fmla="*/ 1378884 w 6884782"/>
              <a:gd name="connsiteY41612" fmla="*/ 1906951 h 5973007"/>
              <a:gd name="connsiteX41613" fmla="*/ 1368661 w 6884782"/>
              <a:gd name="connsiteY41613" fmla="*/ 1914385 h 5973007"/>
              <a:gd name="connsiteX41614" fmla="*/ 1365667 w 6884782"/>
              <a:gd name="connsiteY41614" fmla="*/ 1914385 h 5973007"/>
              <a:gd name="connsiteX41615" fmla="*/ 1363912 w 6884782"/>
              <a:gd name="connsiteY41615" fmla="*/ 1917019 h 5973007"/>
              <a:gd name="connsiteX41616" fmla="*/ 1349353 w 6884782"/>
              <a:gd name="connsiteY41616" fmla="*/ 1917174 h 5973007"/>
              <a:gd name="connsiteX41617" fmla="*/ 1349869 w 6884782"/>
              <a:gd name="connsiteY41617" fmla="*/ 1913921 h 5973007"/>
              <a:gd name="connsiteX41618" fmla="*/ 1350178 w 6884782"/>
              <a:gd name="connsiteY41618" fmla="*/ 1913611 h 5973007"/>
              <a:gd name="connsiteX41619" fmla="*/ 1349869 w 6884782"/>
              <a:gd name="connsiteY41619" fmla="*/ 1912837 h 5973007"/>
              <a:gd name="connsiteX41620" fmla="*/ 1348527 w 6884782"/>
              <a:gd name="connsiteY41620" fmla="*/ 1906486 h 5973007"/>
              <a:gd name="connsiteX41621" fmla="*/ 1589939 w 6884782"/>
              <a:gd name="connsiteY41621" fmla="*/ 1906021 h 5973007"/>
              <a:gd name="connsiteX41622" fmla="*/ 1590249 w 6884782"/>
              <a:gd name="connsiteY41622" fmla="*/ 1906796 h 5973007"/>
              <a:gd name="connsiteX41623" fmla="*/ 1586326 w 6884782"/>
              <a:gd name="connsiteY41623" fmla="*/ 1908345 h 5973007"/>
              <a:gd name="connsiteX41624" fmla="*/ 1586945 w 6884782"/>
              <a:gd name="connsiteY41624" fmla="*/ 1906176 h 5973007"/>
              <a:gd name="connsiteX41625" fmla="*/ 1589939 w 6884782"/>
              <a:gd name="connsiteY41625" fmla="*/ 1906021 h 5973007"/>
              <a:gd name="connsiteX41626" fmla="*/ 3705607 w 6884782"/>
              <a:gd name="connsiteY41626" fmla="*/ 1905264 h 5973007"/>
              <a:gd name="connsiteX41627" fmla="*/ 3716491 w 6884782"/>
              <a:gd name="connsiteY41627" fmla="*/ 1917642 h 5973007"/>
              <a:gd name="connsiteX41628" fmla="*/ 3712009 w 6884782"/>
              <a:gd name="connsiteY41628" fmla="*/ 1920914 h 5973007"/>
              <a:gd name="connsiteX41629" fmla="*/ 3702405 w 6884782"/>
              <a:gd name="connsiteY41629" fmla="*/ 1917500 h 5973007"/>
              <a:gd name="connsiteX41630" fmla="*/ 3705607 w 6884782"/>
              <a:gd name="connsiteY41630" fmla="*/ 1905264 h 5973007"/>
              <a:gd name="connsiteX41631" fmla="*/ 3824268 w 6884782"/>
              <a:gd name="connsiteY41631" fmla="*/ 1905122 h 5973007"/>
              <a:gd name="connsiteX41632" fmla="*/ 3830671 w 6884782"/>
              <a:gd name="connsiteY41632" fmla="*/ 1911524 h 5973007"/>
              <a:gd name="connsiteX41633" fmla="*/ 3831524 w 6884782"/>
              <a:gd name="connsiteY41633" fmla="*/ 1911524 h 5973007"/>
              <a:gd name="connsiteX41634" fmla="*/ 3833232 w 6884782"/>
              <a:gd name="connsiteY41634" fmla="*/ 1914228 h 5973007"/>
              <a:gd name="connsiteX41635" fmla="*/ 3839421 w 6884782"/>
              <a:gd name="connsiteY41635" fmla="*/ 1920202 h 5973007"/>
              <a:gd name="connsiteX41636" fmla="*/ 3840915 w 6884782"/>
              <a:gd name="connsiteY41636" fmla="*/ 1920202 h 5973007"/>
              <a:gd name="connsiteX41637" fmla="*/ 3857135 w 6884782"/>
              <a:gd name="connsiteY41637" fmla="*/ 1962172 h 5973007"/>
              <a:gd name="connsiteX41638" fmla="*/ 3843690 w 6884782"/>
              <a:gd name="connsiteY41638" fmla="*/ 1968717 h 5973007"/>
              <a:gd name="connsiteX41639" fmla="*/ 3838568 w 6884782"/>
              <a:gd name="connsiteY41639" fmla="*/ 1969143 h 5973007"/>
              <a:gd name="connsiteX41640" fmla="*/ 3833232 w 6884782"/>
              <a:gd name="connsiteY41640" fmla="*/ 1981379 h 5973007"/>
              <a:gd name="connsiteX41641" fmla="*/ 3829390 w 6884782"/>
              <a:gd name="connsiteY41641" fmla="*/ 1969712 h 5973007"/>
              <a:gd name="connsiteX41642" fmla="*/ 3828750 w 6884782"/>
              <a:gd name="connsiteY41642" fmla="*/ 1969855 h 5973007"/>
              <a:gd name="connsiteX41643" fmla="*/ 3820427 w 6884782"/>
              <a:gd name="connsiteY41643" fmla="*/ 1947803 h 5973007"/>
              <a:gd name="connsiteX41644" fmla="*/ 3820854 w 6884782"/>
              <a:gd name="connsiteY41644" fmla="*/ 1940832 h 5973007"/>
              <a:gd name="connsiteX41645" fmla="*/ 3819573 w 6884782"/>
              <a:gd name="connsiteY41645" fmla="*/ 1926463 h 5973007"/>
              <a:gd name="connsiteX41646" fmla="*/ 3821921 w 6884782"/>
              <a:gd name="connsiteY41646" fmla="*/ 1916219 h 5973007"/>
              <a:gd name="connsiteX41647" fmla="*/ 3821707 w 6884782"/>
              <a:gd name="connsiteY41647" fmla="*/ 1915081 h 5973007"/>
              <a:gd name="connsiteX41648" fmla="*/ 3822134 w 6884782"/>
              <a:gd name="connsiteY41648" fmla="*/ 1914796 h 5973007"/>
              <a:gd name="connsiteX41649" fmla="*/ 5556597 w 6884782"/>
              <a:gd name="connsiteY41649" fmla="*/ 1904838 h 5973007"/>
              <a:gd name="connsiteX41650" fmla="*/ 5560012 w 6884782"/>
              <a:gd name="connsiteY41650" fmla="*/ 1904838 h 5973007"/>
              <a:gd name="connsiteX41651" fmla="*/ 5564707 w 6884782"/>
              <a:gd name="connsiteY41651" fmla="*/ 1912236 h 5973007"/>
              <a:gd name="connsiteX41652" fmla="*/ 5557877 w 6884782"/>
              <a:gd name="connsiteY41652" fmla="*/ 1912236 h 5973007"/>
              <a:gd name="connsiteX41653" fmla="*/ 5556810 w 6884782"/>
              <a:gd name="connsiteY41653" fmla="*/ 1910955 h 5973007"/>
              <a:gd name="connsiteX41654" fmla="*/ 5555743 w 6884782"/>
              <a:gd name="connsiteY41654" fmla="*/ 1910101 h 5973007"/>
              <a:gd name="connsiteX41655" fmla="*/ 5553609 w 6884782"/>
              <a:gd name="connsiteY41655" fmla="*/ 1907683 h 5973007"/>
              <a:gd name="connsiteX41656" fmla="*/ 5556597 w 6884782"/>
              <a:gd name="connsiteY41656" fmla="*/ 1904838 h 5973007"/>
              <a:gd name="connsiteX41657" fmla="*/ 5230918 w 6884782"/>
              <a:gd name="connsiteY41657" fmla="*/ 1904838 h 5973007"/>
              <a:gd name="connsiteX41658" fmla="*/ 5233906 w 6884782"/>
              <a:gd name="connsiteY41658" fmla="*/ 1904838 h 5973007"/>
              <a:gd name="connsiteX41659" fmla="*/ 5225369 w 6884782"/>
              <a:gd name="connsiteY41659" fmla="*/ 1912947 h 5973007"/>
              <a:gd name="connsiteX41660" fmla="*/ 5230918 w 6884782"/>
              <a:gd name="connsiteY41660" fmla="*/ 1904838 h 5973007"/>
              <a:gd name="connsiteX41661" fmla="*/ 3517157 w 6884782"/>
              <a:gd name="connsiteY41661" fmla="*/ 1904838 h 5973007"/>
              <a:gd name="connsiteX41662" fmla="*/ 3520572 w 6884782"/>
              <a:gd name="connsiteY41662" fmla="*/ 1906260 h 5973007"/>
              <a:gd name="connsiteX41663" fmla="*/ 3516303 w 6884782"/>
              <a:gd name="connsiteY41663" fmla="*/ 1914796 h 5973007"/>
              <a:gd name="connsiteX41664" fmla="*/ 3517157 w 6884782"/>
              <a:gd name="connsiteY41664" fmla="*/ 1904838 h 5973007"/>
              <a:gd name="connsiteX41665" fmla="*/ 1352037 w 6884782"/>
              <a:gd name="connsiteY41665" fmla="*/ 1904162 h 5973007"/>
              <a:gd name="connsiteX41666" fmla="*/ 1354722 w 6884782"/>
              <a:gd name="connsiteY41666" fmla="*/ 1905711 h 5973007"/>
              <a:gd name="connsiteX41667" fmla="*/ 1355858 w 6884782"/>
              <a:gd name="connsiteY41667" fmla="*/ 1904472 h 5973007"/>
              <a:gd name="connsiteX41668" fmla="*/ 1357097 w 6884782"/>
              <a:gd name="connsiteY41668" fmla="*/ 1904937 h 5973007"/>
              <a:gd name="connsiteX41669" fmla="*/ 1357406 w 6884782"/>
              <a:gd name="connsiteY41669" fmla="*/ 1907415 h 5973007"/>
              <a:gd name="connsiteX41670" fmla="*/ 1352760 w 6884782"/>
              <a:gd name="connsiteY41670" fmla="*/ 1905711 h 5973007"/>
              <a:gd name="connsiteX41671" fmla="*/ 1350901 w 6884782"/>
              <a:gd name="connsiteY41671" fmla="*/ 1905402 h 5973007"/>
              <a:gd name="connsiteX41672" fmla="*/ 1352037 w 6884782"/>
              <a:gd name="connsiteY41672" fmla="*/ 1904162 h 5973007"/>
              <a:gd name="connsiteX41673" fmla="*/ 1598820 w 6884782"/>
              <a:gd name="connsiteY41673" fmla="*/ 1903388 h 5973007"/>
              <a:gd name="connsiteX41674" fmla="*/ 1599955 w 6884782"/>
              <a:gd name="connsiteY41674" fmla="*/ 1905711 h 5973007"/>
              <a:gd name="connsiteX41675" fmla="*/ 1595619 w 6884782"/>
              <a:gd name="connsiteY41675" fmla="*/ 1906486 h 5973007"/>
              <a:gd name="connsiteX41676" fmla="*/ 1595205 w 6884782"/>
              <a:gd name="connsiteY41676" fmla="*/ 1903853 h 5973007"/>
              <a:gd name="connsiteX41677" fmla="*/ 1598820 w 6884782"/>
              <a:gd name="connsiteY41677" fmla="*/ 1903388 h 5973007"/>
              <a:gd name="connsiteX41678" fmla="*/ 1283578 w 6884782"/>
              <a:gd name="connsiteY41678" fmla="*/ 1903388 h 5973007"/>
              <a:gd name="connsiteX41679" fmla="*/ 1291116 w 6884782"/>
              <a:gd name="connsiteY41679" fmla="*/ 1905557 h 5973007"/>
              <a:gd name="connsiteX41680" fmla="*/ 1290187 w 6884782"/>
              <a:gd name="connsiteY41680" fmla="*/ 1906486 h 5973007"/>
              <a:gd name="connsiteX41681" fmla="*/ 1277590 w 6884782"/>
              <a:gd name="connsiteY41681" fmla="*/ 1904472 h 5973007"/>
              <a:gd name="connsiteX41682" fmla="*/ 1283578 w 6884782"/>
              <a:gd name="connsiteY41682" fmla="*/ 1903388 h 5973007"/>
              <a:gd name="connsiteX41683" fmla="*/ 1496493 w 6884782"/>
              <a:gd name="connsiteY41683" fmla="*/ 1902614 h 5973007"/>
              <a:gd name="connsiteX41684" fmla="*/ 1496183 w 6884782"/>
              <a:gd name="connsiteY41684" fmla="*/ 1910823 h 5973007"/>
              <a:gd name="connsiteX41685" fmla="*/ 1494531 w 6884782"/>
              <a:gd name="connsiteY41685" fmla="*/ 1914076 h 5973007"/>
              <a:gd name="connsiteX41686" fmla="*/ 1494840 w 6884782"/>
              <a:gd name="connsiteY41686" fmla="*/ 1914076 h 5973007"/>
              <a:gd name="connsiteX41687" fmla="*/ 1496183 w 6884782"/>
              <a:gd name="connsiteY41687" fmla="*/ 1916864 h 5973007"/>
              <a:gd name="connsiteX41688" fmla="*/ 1494118 w 6884782"/>
              <a:gd name="connsiteY41688" fmla="*/ 1920117 h 5973007"/>
              <a:gd name="connsiteX41689" fmla="*/ 1490813 w 6884782"/>
              <a:gd name="connsiteY41689" fmla="*/ 1922130 h 5973007"/>
              <a:gd name="connsiteX41690" fmla="*/ 1488645 w 6884782"/>
              <a:gd name="connsiteY41690" fmla="*/ 1923060 h 5973007"/>
              <a:gd name="connsiteX41691" fmla="*/ 1483586 w 6884782"/>
              <a:gd name="connsiteY41691" fmla="*/ 1927861 h 5973007"/>
              <a:gd name="connsiteX41692" fmla="*/ 1475222 w 6884782"/>
              <a:gd name="connsiteY41692" fmla="*/ 1929101 h 5973007"/>
              <a:gd name="connsiteX41693" fmla="*/ 1496493 w 6884782"/>
              <a:gd name="connsiteY41693" fmla="*/ 1902614 h 5973007"/>
              <a:gd name="connsiteX41694" fmla="*/ 1487612 w 6884782"/>
              <a:gd name="connsiteY41694" fmla="*/ 1902614 h 5973007"/>
              <a:gd name="connsiteX41695" fmla="*/ 1487406 w 6884782"/>
              <a:gd name="connsiteY41695" fmla="*/ 1906951 h 5973007"/>
              <a:gd name="connsiteX41696" fmla="*/ 1483895 w 6884782"/>
              <a:gd name="connsiteY41696" fmla="*/ 1906176 h 5973007"/>
              <a:gd name="connsiteX41697" fmla="*/ 1483069 w 6884782"/>
              <a:gd name="connsiteY41697" fmla="*/ 1903698 h 5973007"/>
              <a:gd name="connsiteX41698" fmla="*/ 1483999 w 6884782"/>
              <a:gd name="connsiteY41698" fmla="*/ 1903698 h 5973007"/>
              <a:gd name="connsiteX41699" fmla="*/ 1487612 w 6884782"/>
              <a:gd name="connsiteY41699" fmla="*/ 1902614 h 5973007"/>
              <a:gd name="connsiteX41700" fmla="*/ 934263 w 6884782"/>
              <a:gd name="connsiteY41700" fmla="*/ 1902614 h 5973007"/>
              <a:gd name="connsiteX41701" fmla="*/ 946860 w 6884782"/>
              <a:gd name="connsiteY41701" fmla="*/ 1915780 h 5973007"/>
              <a:gd name="connsiteX41702" fmla="*/ 939426 w 6884782"/>
              <a:gd name="connsiteY41702" fmla="*/ 1940873 h 5973007"/>
              <a:gd name="connsiteX41703" fmla="*/ 936741 w 6884782"/>
              <a:gd name="connsiteY41703" fmla="*/ 1940563 h 5973007"/>
              <a:gd name="connsiteX41704" fmla="*/ 924763 w 6884782"/>
              <a:gd name="connsiteY41704" fmla="*/ 1920891 h 5973007"/>
              <a:gd name="connsiteX41705" fmla="*/ 934263 w 6884782"/>
              <a:gd name="connsiteY41705" fmla="*/ 1902614 h 5973007"/>
              <a:gd name="connsiteX41706" fmla="*/ 5954625 w 6884782"/>
              <a:gd name="connsiteY41706" fmla="*/ 1902277 h 5973007"/>
              <a:gd name="connsiteX41707" fmla="*/ 5955691 w 6884782"/>
              <a:gd name="connsiteY41707" fmla="*/ 1903842 h 5973007"/>
              <a:gd name="connsiteX41708" fmla="*/ 5956332 w 6884782"/>
              <a:gd name="connsiteY41708" fmla="*/ 1906545 h 5973007"/>
              <a:gd name="connsiteX41709" fmla="*/ 5950356 w 6884782"/>
              <a:gd name="connsiteY41709" fmla="*/ 1908110 h 5973007"/>
              <a:gd name="connsiteX41710" fmla="*/ 5948222 w 6884782"/>
              <a:gd name="connsiteY41710" fmla="*/ 1905549 h 5973007"/>
              <a:gd name="connsiteX41711" fmla="*/ 5950996 w 6884782"/>
              <a:gd name="connsiteY41711" fmla="*/ 1902846 h 5973007"/>
              <a:gd name="connsiteX41712" fmla="*/ 5954625 w 6884782"/>
              <a:gd name="connsiteY41712" fmla="*/ 1902277 h 5973007"/>
              <a:gd name="connsiteX41713" fmla="*/ 5564066 w 6884782"/>
              <a:gd name="connsiteY41713" fmla="*/ 1902134 h 5973007"/>
              <a:gd name="connsiteX41714" fmla="*/ 5567481 w 6884782"/>
              <a:gd name="connsiteY41714" fmla="*/ 1904411 h 5973007"/>
              <a:gd name="connsiteX41715" fmla="*/ 5566840 w 6884782"/>
              <a:gd name="connsiteY41715" fmla="*/ 1905407 h 5973007"/>
              <a:gd name="connsiteX41716" fmla="*/ 5564066 w 6884782"/>
              <a:gd name="connsiteY41716" fmla="*/ 1902134 h 5973007"/>
              <a:gd name="connsiteX41717" fmla="*/ 1276040 w 6884782"/>
              <a:gd name="connsiteY41717" fmla="*/ 1901994 h 5973007"/>
              <a:gd name="connsiteX41718" fmla="*/ 1268400 w 6884782"/>
              <a:gd name="connsiteY41718" fmla="*/ 1915005 h 5973007"/>
              <a:gd name="connsiteX41719" fmla="*/ 1267573 w 6884782"/>
              <a:gd name="connsiteY41719" fmla="*/ 1915005 h 5973007"/>
              <a:gd name="connsiteX41720" fmla="*/ 1266748 w 6884782"/>
              <a:gd name="connsiteY41720" fmla="*/ 1913146 h 5973007"/>
              <a:gd name="connsiteX41721" fmla="*/ 1268606 w 6884782"/>
              <a:gd name="connsiteY41721" fmla="*/ 1909893 h 5973007"/>
              <a:gd name="connsiteX41722" fmla="*/ 1275008 w 6884782"/>
              <a:gd name="connsiteY41722" fmla="*/ 1903698 h 5973007"/>
              <a:gd name="connsiteX41723" fmla="*/ 1276040 w 6884782"/>
              <a:gd name="connsiteY41723" fmla="*/ 1901994 h 5973007"/>
              <a:gd name="connsiteX41724" fmla="*/ 5132531 w 6884782"/>
              <a:gd name="connsiteY41724" fmla="*/ 1901565 h 5973007"/>
              <a:gd name="connsiteX41725" fmla="*/ 5133812 w 6884782"/>
              <a:gd name="connsiteY41725" fmla="*/ 1902988 h 5973007"/>
              <a:gd name="connsiteX41726" fmla="*/ 5133172 w 6884782"/>
              <a:gd name="connsiteY41726" fmla="*/ 1906403 h 5973007"/>
              <a:gd name="connsiteX41727" fmla="*/ 5128690 w 6884782"/>
              <a:gd name="connsiteY41727" fmla="*/ 1904695 h 5973007"/>
              <a:gd name="connsiteX41728" fmla="*/ 5132531 w 6884782"/>
              <a:gd name="connsiteY41728" fmla="*/ 1901565 h 5973007"/>
              <a:gd name="connsiteX41729" fmla="*/ 4984205 w 6884782"/>
              <a:gd name="connsiteY41729" fmla="*/ 1901281 h 5973007"/>
              <a:gd name="connsiteX41730" fmla="*/ 4986552 w 6884782"/>
              <a:gd name="connsiteY41730" fmla="*/ 1904695 h 5973007"/>
              <a:gd name="connsiteX41731" fmla="*/ 4976522 w 6884782"/>
              <a:gd name="connsiteY41731" fmla="*/ 1903984 h 5973007"/>
              <a:gd name="connsiteX41732" fmla="*/ 4984205 w 6884782"/>
              <a:gd name="connsiteY41732" fmla="*/ 1901281 h 5973007"/>
              <a:gd name="connsiteX41733" fmla="*/ 4633770 w 6884782"/>
              <a:gd name="connsiteY41733" fmla="*/ 1901281 h 5973007"/>
              <a:gd name="connsiteX41734" fmla="*/ 4633343 w 6884782"/>
              <a:gd name="connsiteY41734" fmla="*/ 1905122 h 5973007"/>
              <a:gd name="connsiteX41735" fmla="*/ 4633343 w 6884782"/>
              <a:gd name="connsiteY41735" fmla="*/ 1905264 h 5973007"/>
              <a:gd name="connsiteX41736" fmla="*/ 4644867 w 6884782"/>
              <a:gd name="connsiteY41736" fmla="*/ 1902277 h 5973007"/>
              <a:gd name="connsiteX41737" fmla="*/ 4640812 w 6884782"/>
              <a:gd name="connsiteY41737" fmla="*/ 1901281 h 5973007"/>
              <a:gd name="connsiteX41738" fmla="*/ 3488132 w 6884782"/>
              <a:gd name="connsiteY41738" fmla="*/ 1901139 h 5973007"/>
              <a:gd name="connsiteX41739" fmla="*/ 3479809 w 6884782"/>
              <a:gd name="connsiteY41739" fmla="*/ 1905264 h 5973007"/>
              <a:gd name="connsiteX41740" fmla="*/ 3478315 w 6884782"/>
              <a:gd name="connsiteY41740" fmla="*/ 1904695 h 5973007"/>
              <a:gd name="connsiteX41741" fmla="*/ 3488132 w 6884782"/>
              <a:gd name="connsiteY41741" fmla="*/ 1901139 h 5973007"/>
              <a:gd name="connsiteX41742" fmla="*/ 1509090 w 6884782"/>
              <a:gd name="connsiteY41742" fmla="*/ 1900445 h 5973007"/>
              <a:gd name="connsiteX41743" fmla="*/ 1513943 w 6884782"/>
              <a:gd name="connsiteY41743" fmla="*/ 1900755 h 5973007"/>
              <a:gd name="connsiteX41744" fmla="*/ 1508883 w 6884782"/>
              <a:gd name="connsiteY41744" fmla="*/ 1903078 h 5973007"/>
              <a:gd name="connsiteX41745" fmla="*/ 1509090 w 6884782"/>
              <a:gd name="connsiteY41745" fmla="*/ 1900445 h 5973007"/>
              <a:gd name="connsiteX41746" fmla="*/ 861957 w 6884782"/>
              <a:gd name="connsiteY41746" fmla="*/ 1900387 h 5973007"/>
              <a:gd name="connsiteX41747" fmla="*/ 871173 w 6884782"/>
              <a:gd name="connsiteY41747" fmla="*/ 1901994 h 5973007"/>
              <a:gd name="connsiteX41748" fmla="*/ 873031 w 6884782"/>
              <a:gd name="connsiteY41748" fmla="*/ 1903388 h 5973007"/>
              <a:gd name="connsiteX41749" fmla="*/ 876542 w 6884782"/>
              <a:gd name="connsiteY41749" fmla="*/ 1904627 h 5973007"/>
              <a:gd name="connsiteX41750" fmla="*/ 872825 w 6884782"/>
              <a:gd name="connsiteY41750" fmla="*/ 1915315 h 5973007"/>
              <a:gd name="connsiteX41751" fmla="*/ 861363 w 6884782"/>
              <a:gd name="connsiteY41751" fmla="*/ 1921046 h 5973007"/>
              <a:gd name="connsiteX41752" fmla="*/ 858782 w 6884782"/>
              <a:gd name="connsiteY41752" fmla="*/ 1920117 h 5973007"/>
              <a:gd name="connsiteX41753" fmla="*/ 857027 w 6884782"/>
              <a:gd name="connsiteY41753" fmla="*/ 1921975 h 5973007"/>
              <a:gd name="connsiteX41754" fmla="*/ 844223 w 6884782"/>
              <a:gd name="connsiteY41754" fmla="*/ 1920117 h 5973007"/>
              <a:gd name="connsiteX41755" fmla="*/ 842571 w 6884782"/>
              <a:gd name="connsiteY41755" fmla="*/ 1912372 h 5973007"/>
              <a:gd name="connsiteX41756" fmla="*/ 843810 w 6884782"/>
              <a:gd name="connsiteY41756" fmla="*/ 1909274 h 5973007"/>
              <a:gd name="connsiteX41757" fmla="*/ 852277 w 6884782"/>
              <a:gd name="connsiteY41757" fmla="*/ 1913301 h 5973007"/>
              <a:gd name="connsiteX41758" fmla="*/ 854549 w 6884782"/>
              <a:gd name="connsiteY41758" fmla="*/ 1914076 h 5973007"/>
              <a:gd name="connsiteX41759" fmla="*/ 853826 w 6884782"/>
              <a:gd name="connsiteY41759" fmla="*/ 1911442 h 5973007"/>
              <a:gd name="connsiteX41760" fmla="*/ 855685 w 6884782"/>
              <a:gd name="connsiteY41760" fmla="*/ 1905866 h 5973007"/>
              <a:gd name="connsiteX41761" fmla="*/ 861957 w 6884782"/>
              <a:gd name="connsiteY41761" fmla="*/ 1900387 h 5973007"/>
              <a:gd name="connsiteX41762" fmla="*/ 3910917 w 6884782"/>
              <a:gd name="connsiteY41762" fmla="*/ 1900285 h 5973007"/>
              <a:gd name="connsiteX41763" fmla="*/ 3913905 w 6884782"/>
              <a:gd name="connsiteY41763" fmla="*/ 1900854 h 5973007"/>
              <a:gd name="connsiteX41764" fmla="*/ 3914545 w 6884782"/>
              <a:gd name="connsiteY41764" fmla="*/ 1904838 h 5973007"/>
              <a:gd name="connsiteX41765" fmla="*/ 3913478 w 6884782"/>
              <a:gd name="connsiteY41765" fmla="*/ 1905549 h 5973007"/>
              <a:gd name="connsiteX41766" fmla="*/ 3910917 w 6884782"/>
              <a:gd name="connsiteY41766" fmla="*/ 1900285 h 5973007"/>
              <a:gd name="connsiteX41767" fmla="*/ 1071284 w 6884782"/>
              <a:gd name="connsiteY41767" fmla="*/ 1899826 h 5973007"/>
              <a:gd name="connsiteX41768" fmla="*/ 1069528 w 6884782"/>
              <a:gd name="connsiteY41768" fmla="*/ 1904937 h 5973007"/>
              <a:gd name="connsiteX41769" fmla="*/ 1067463 w 6884782"/>
              <a:gd name="connsiteY41769" fmla="*/ 1903233 h 5973007"/>
              <a:gd name="connsiteX41770" fmla="*/ 1071284 w 6884782"/>
              <a:gd name="connsiteY41770" fmla="*/ 1899826 h 5973007"/>
              <a:gd name="connsiteX41771" fmla="*/ 5144483 w 6884782"/>
              <a:gd name="connsiteY41771" fmla="*/ 1899716 h 5973007"/>
              <a:gd name="connsiteX41772" fmla="*/ 5142562 w 6884782"/>
              <a:gd name="connsiteY41772" fmla="*/ 1899859 h 5973007"/>
              <a:gd name="connsiteX41773" fmla="*/ 5142989 w 6884782"/>
              <a:gd name="connsiteY41773" fmla="*/ 1900285 h 5973007"/>
              <a:gd name="connsiteX41774" fmla="*/ 5143843 w 6884782"/>
              <a:gd name="connsiteY41774" fmla="*/ 1900997 h 5973007"/>
              <a:gd name="connsiteX41775" fmla="*/ 5144056 w 6884782"/>
              <a:gd name="connsiteY41775" fmla="*/ 1901565 h 5973007"/>
              <a:gd name="connsiteX41776" fmla="*/ 5529919 w 6884782"/>
              <a:gd name="connsiteY41776" fmla="*/ 1899432 h 5973007"/>
              <a:gd name="connsiteX41777" fmla="*/ 5533547 w 6884782"/>
              <a:gd name="connsiteY41777" fmla="*/ 1901423 h 5973007"/>
              <a:gd name="connsiteX41778" fmla="*/ 5535041 w 6884782"/>
              <a:gd name="connsiteY41778" fmla="*/ 1904838 h 5973007"/>
              <a:gd name="connsiteX41779" fmla="*/ 5529279 w 6884782"/>
              <a:gd name="connsiteY41779" fmla="*/ 1908679 h 5973007"/>
              <a:gd name="connsiteX41780" fmla="*/ 5527358 w 6884782"/>
              <a:gd name="connsiteY41780" fmla="*/ 1899574 h 5973007"/>
              <a:gd name="connsiteX41781" fmla="*/ 5529919 w 6884782"/>
              <a:gd name="connsiteY41781" fmla="*/ 1899432 h 5973007"/>
              <a:gd name="connsiteX41782" fmla="*/ 1528605 w 6884782"/>
              <a:gd name="connsiteY41782" fmla="*/ 1898586 h 5973007"/>
              <a:gd name="connsiteX41783" fmla="*/ 1532116 w 6884782"/>
              <a:gd name="connsiteY41783" fmla="*/ 1905402 h 5973007"/>
              <a:gd name="connsiteX41784" fmla="*/ 1521687 w 6884782"/>
              <a:gd name="connsiteY41784" fmla="*/ 1901529 h 5973007"/>
              <a:gd name="connsiteX41785" fmla="*/ 1528605 w 6884782"/>
              <a:gd name="connsiteY41785" fmla="*/ 1898586 h 5973007"/>
              <a:gd name="connsiteX41786" fmla="*/ 3542128 w 6884782"/>
              <a:gd name="connsiteY41786" fmla="*/ 1898435 h 5973007"/>
              <a:gd name="connsiteX41787" fmla="*/ 3546182 w 6884782"/>
              <a:gd name="connsiteY41787" fmla="*/ 1904126 h 5973007"/>
              <a:gd name="connsiteX41788" fmla="*/ 3542128 w 6884782"/>
              <a:gd name="connsiteY41788" fmla="*/ 1898435 h 5973007"/>
              <a:gd name="connsiteX41789" fmla="*/ 1301029 w 6884782"/>
              <a:gd name="connsiteY41789" fmla="*/ 1898432 h 5973007"/>
              <a:gd name="connsiteX41790" fmla="*/ 1307740 w 6884782"/>
              <a:gd name="connsiteY41790" fmla="*/ 1901529 h 5973007"/>
              <a:gd name="connsiteX41791" fmla="*/ 1309186 w 6884782"/>
              <a:gd name="connsiteY41791" fmla="*/ 1907260 h 5973007"/>
              <a:gd name="connsiteX41792" fmla="*/ 1304952 w 6884782"/>
              <a:gd name="connsiteY41792" fmla="*/ 1907415 h 5973007"/>
              <a:gd name="connsiteX41793" fmla="*/ 1302577 w 6884782"/>
              <a:gd name="connsiteY41793" fmla="*/ 1903388 h 5973007"/>
              <a:gd name="connsiteX41794" fmla="*/ 1300512 w 6884782"/>
              <a:gd name="connsiteY41794" fmla="*/ 1900910 h 5973007"/>
              <a:gd name="connsiteX41795" fmla="*/ 1300306 w 6884782"/>
              <a:gd name="connsiteY41795" fmla="*/ 1899670 h 5973007"/>
              <a:gd name="connsiteX41796" fmla="*/ 1301029 w 6884782"/>
              <a:gd name="connsiteY41796" fmla="*/ 1898432 h 5973007"/>
              <a:gd name="connsiteX41797" fmla="*/ 1497009 w 6884782"/>
              <a:gd name="connsiteY41797" fmla="*/ 1897037 h 5973007"/>
              <a:gd name="connsiteX41798" fmla="*/ 1497835 w 6884782"/>
              <a:gd name="connsiteY41798" fmla="*/ 1898432 h 5973007"/>
              <a:gd name="connsiteX41799" fmla="*/ 1495976 w 6884782"/>
              <a:gd name="connsiteY41799" fmla="*/ 1898432 h 5973007"/>
              <a:gd name="connsiteX41800" fmla="*/ 1494840 w 6884782"/>
              <a:gd name="connsiteY41800" fmla="*/ 1898122 h 5973007"/>
              <a:gd name="connsiteX41801" fmla="*/ 1497009 w 6884782"/>
              <a:gd name="connsiteY41801" fmla="*/ 1897037 h 5973007"/>
              <a:gd name="connsiteX41802" fmla="*/ 986510 w 6884782"/>
              <a:gd name="connsiteY41802" fmla="*/ 1896727 h 5973007"/>
              <a:gd name="connsiteX41803" fmla="*/ 994977 w 6884782"/>
              <a:gd name="connsiteY41803" fmla="*/ 1901219 h 5973007"/>
              <a:gd name="connsiteX41804" fmla="*/ 989401 w 6884782"/>
              <a:gd name="connsiteY41804" fmla="*/ 1903078 h 5973007"/>
              <a:gd name="connsiteX41805" fmla="*/ 983722 w 6884782"/>
              <a:gd name="connsiteY41805" fmla="*/ 1898432 h 5973007"/>
              <a:gd name="connsiteX41806" fmla="*/ 986510 w 6884782"/>
              <a:gd name="connsiteY41806" fmla="*/ 1896727 h 5973007"/>
              <a:gd name="connsiteX41807" fmla="*/ 5236680 w 6884782"/>
              <a:gd name="connsiteY41807" fmla="*/ 1896017 h 5973007"/>
              <a:gd name="connsiteX41808" fmla="*/ 5244790 w 6884782"/>
              <a:gd name="connsiteY41808" fmla="*/ 1906260 h 5973007"/>
              <a:gd name="connsiteX41809" fmla="*/ 5236894 w 6884782"/>
              <a:gd name="connsiteY41809" fmla="*/ 1905407 h 5973007"/>
              <a:gd name="connsiteX41810" fmla="*/ 5232199 w 6884782"/>
              <a:gd name="connsiteY41810" fmla="*/ 1896586 h 5973007"/>
              <a:gd name="connsiteX41811" fmla="*/ 5236680 w 6884782"/>
              <a:gd name="connsiteY41811" fmla="*/ 1896017 h 5973007"/>
              <a:gd name="connsiteX41812" fmla="*/ 1279551 w 6884782"/>
              <a:gd name="connsiteY41812" fmla="*/ 1895953 h 5973007"/>
              <a:gd name="connsiteX41813" fmla="*/ 1282030 w 6884782"/>
              <a:gd name="connsiteY41813" fmla="*/ 1896727 h 5973007"/>
              <a:gd name="connsiteX41814" fmla="*/ 1278415 w 6884782"/>
              <a:gd name="connsiteY41814" fmla="*/ 1900136 h 5973007"/>
              <a:gd name="connsiteX41815" fmla="*/ 1277590 w 6884782"/>
              <a:gd name="connsiteY41815" fmla="*/ 1901839 h 5973007"/>
              <a:gd name="connsiteX41816" fmla="*/ 1276763 w 6884782"/>
              <a:gd name="connsiteY41816" fmla="*/ 1900290 h 5973007"/>
              <a:gd name="connsiteX41817" fmla="*/ 1279448 w 6884782"/>
              <a:gd name="connsiteY41817" fmla="*/ 1898432 h 5973007"/>
              <a:gd name="connsiteX41818" fmla="*/ 1278622 w 6884782"/>
              <a:gd name="connsiteY41818" fmla="*/ 1896882 h 5973007"/>
              <a:gd name="connsiteX41819" fmla="*/ 1279551 w 6884782"/>
              <a:gd name="connsiteY41819" fmla="*/ 1895953 h 5973007"/>
              <a:gd name="connsiteX41820" fmla="*/ 1098543 w 6884782"/>
              <a:gd name="connsiteY41820" fmla="*/ 1895333 h 5973007"/>
              <a:gd name="connsiteX41821" fmla="*/ 1100298 w 6884782"/>
              <a:gd name="connsiteY41821" fmla="*/ 1895798 h 5973007"/>
              <a:gd name="connsiteX41822" fmla="*/ 1103293 w 6884782"/>
              <a:gd name="connsiteY41822" fmla="*/ 1901374 h 5973007"/>
              <a:gd name="connsiteX41823" fmla="*/ 1098853 w 6884782"/>
              <a:gd name="connsiteY41823" fmla="*/ 1901994 h 5973007"/>
              <a:gd name="connsiteX41824" fmla="*/ 1096581 w 6884782"/>
              <a:gd name="connsiteY41824" fmla="*/ 1899515 h 5973007"/>
              <a:gd name="connsiteX41825" fmla="*/ 1096788 w 6884782"/>
              <a:gd name="connsiteY41825" fmla="*/ 1895488 h 5973007"/>
              <a:gd name="connsiteX41826" fmla="*/ 1096788 w 6884782"/>
              <a:gd name="connsiteY41826" fmla="*/ 1896263 h 5973007"/>
              <a:gd name="connsiteX41827" fmla="*/ 1098543 w 6884782"/>
              <a:gd name="connsiteY41827" fmla="*/ 1896108 h 5973007"/>
              <a:gd name="connsiteX41828" fmla="*/ 1098543 w 6884782"/>
              <a:gd name="connsiteY41828" fmla="*/ 1895333 h 5973007"/>
              <a:gd name="connsiteX41829" fmla="*/ 6144995 w 6884782"/>
              <a:gd name="connsiteY41829" fmla="*/ 1895164 h 5973007"/>
              <a:gd name="connsiteX41830" fmla="*/ 6163562 w 6884782"/>
              <a:gd name="connsiteY41830" fmla="*/ 1896302 h 5973007"/>
              <a:gd name="connsiteX41831" fmla="*/ 6165910 w 6884782"/>
              <a:gd name="connsiteY41831" fmla="*/ 1898720 h 5973007"/>
              <a:gd name="connsiteX41832" fmla="*/ 6166977 w 6884782"/>
              <a:gd name="connsiteY41832" fmla="*/ 1898862 h 5973007"/>
              <a:gd name="connsiteX41833" fmla="*/ 6168258 w 6884782"/>
              <a:gd name="connsiteY41833" fmla="*/ 1901281 h 5973007"/>
              <a:gd name="connsiteX41834" fmla="*/ 6161429 w 6884782"/>
              <a:gd name="connsiteY41834" fmla="*/ 1902277 h 5973007"/>
              <a:gd name="connsiteX41835" fmla="*/ 6155666 w 6884782"/>
              <a:gd name="connsiteY41835" fmla="*/ 1901992 h 5973007"/>
              <a:gd name="connsiteX41836" fmla="*/ 6137098 w 6884782"/>
              <a:gd name="connsiteY41836" fmla="*/ 1896302 h 5973007"/>
              <a:gd name="connsiteX41837" fmla="*/ 6144995 w 6884782"/>
              <a:gd name="connsiteY41837" fmla="*/ 1895164 h 5973007"/>
              <a:gd name="connsiteX41838" fmla="*/ 5020913 w 6884782"/>
              <a:gd name="connsiteY41838" fmla="*/ 1894452 h 5973007"/>
              <a:gd name="connsiteX41839" fmla="*/ 5025821 w 6884782"/>
              <a:gd name="connsiteY41839" fmla="*/ 1895875 h 5973007"/>
              <a:gd name="connsiteX41840" fmla="*/ 5025821 w 6884782"/>
              <a:gd name="connsiteY41840" fmla="*/ 1899574 h 5973007"/>
              <a:gd name="connsiteX41841" fmla="*/ 5019846 w 6884782"/>
              <a:gd name="connsiteY41841" fmla="*/ 1898151 h 5973007"/>
              <a:gd name="connsiteX41842" fmla="*/ 5020913 w 6884782"/>
              <a:gd name="connsiteY41842" fmla="*/ 1894452 h 5973007"/>
              <a:gd name="connsiteX41843" fmla="*/ 1006232 w 6884782"/>
              <a:gd name="connsiteY41843" fmla="*/ 1893320 h 5973007"/>
              <a:gd name="connsiteX41844" fmla="*/ 1015525 w 6884782"/>
              <a:gd name="connsiteY41844" fmla="*/ 1893320 h 5973007"/>
              <a:gd name="connsiteX41845" fmla="*/ 1041442 w 6884782"/>
              <a:gd name="connsiteY41845" fmla="*/ 1912062 h 5973007"/>
              <a:gd name="connsiteX41846" fmla="*/ 1039377 w 6884782"/>
              <a:gd name="connsiteY41846" fmla="*/ 1912837 h 5973007"/>
              <a:gd name="connsiteX41847" fmla="*/ 1039894 w 6884782"/>
              <a:gd name="connsiteY41847" fmla="*/ 1913766 h 5973007"/>
              <a:gd name="connsiteX41848" fmla="*/ 1034215 w 6884782"/>
              <a:gd name="connsiteY41848" fmla="*/ 1919342 h 5973007"/>
              <a:gd name="connsiteX41849" fmla="*/ 1030704 w 6884782"/>
              <a:gd name="connsiteY41849" fmla="*/ 1918413 h 5973007"/>
              <a:gd name="connsiteX41850" fmla="*/ 1027296 w 6884782"/>
              <a:gd name="connsiteY41850" fmla="*/ 1922905 h 5973007"/>
              <a:gd name="connsiteX41851" fmla="*/ 1023372 w 6884782"/>
              <a:gd name="connsiteY41851" fmla="*/ 1926932 h 5973007"/>
              <a:gd name="connsiteX41852" fmla="*/ 1016041 w 6884782"/>
              <a:gd name="connsiteY41852" fmla="*/ 1929256 h 5973007"/>
              <a:gd name="connsiteX41853" fmla="*/ 995597 w 6884782"/>
              <a:gd name="connsiteY41853" fmla="*/ 1906951 h 5973007"/>
              <a:gd name="connsiteX41854" fmla="*/ 1006232 w 6884782"/>
              <a:gd name="connsiteY41854" fmla="*/ 1893320 h 5973007"/>
              <a:gd name="connsiteX41855" fmla="*/ 5009175 w 6884782"/>
              <a:gd name="connsiteY41855" fmla="*/ 1893029 h 5973007"/>
              <a:gd name="connsiteX41856" fmla="*/ 5013017 w 6884782"/>
              <a:gd name="connsiteY41856" fmla="*/ 1894310 h 5973007"/>
              <a:gd name="connsiteX41857" fmla="*/ 5013017 w 6884782"/>
              <a:gd name="connsiteY41857" fmla="*/ 1895448 h 5973007"/>
              <a:gd name="connsiteX41858" fmla="*/ 5007254 w 6884782"/>
              <a:gd name="connsiteY41858" fmla="*/ 1895164 h 5973007"/>
              <a:gd name="connsiteX41859" fmla="*/ 5009175 w 6884782"/>
              <a:gd name="connsiteY41859" fmla="*/ 1893029 h 5973007"/>
              <a:gd name="connsiteX41860" fmla="*/ 3858415 w 6884782"/>
              <a:gd name="connsiteY41860" fmla="*/ 1893029 h 5973007"/>
              <a:gd name="connsiteX41861" fmla="*/ 3857989 w 6884782"/>
              <a:gd name="connsiteY41861" fmla="*/ 1902277 h 5973007"/>
              <a:gd name="connsiteX41862" fmla="*/ 3857562 w 6884782"/>
              <a:gd name="connsiteY41862" fmla="*/ 1905549 h 5973007"/>
              <a:gd name="connsiteX41863" fmla="*/ 3859056 w 6884782"/>
              <a:gd name="connsiteY41863" fmla="*/ 1905691 h 5973007"/>
              <a:gd name="connsiteX41864" fmla="*/ 3866953 w 6884782"/>
              <a:gd name="connsiteY41864" fmla="*/ 1916504 h 5973007"/>
              <a:gd name="connsiteX41865" fmla="*/ 3858415 w 6884782"/>
              <a:gd name="connsiteY41865" fmla="*/ 1917215 h 5973007"/>
              <a:gd name="connsiteX41866" fmla="*/ 3854787 w 6884782"/>
              <a:gd name="connsiteY41866" fmla="*/ 1914654 h 5973007"/>
              <a:gd name="connsiteX41867" fmla="*/ 3854787 w 6884782"/>
              <a:gd name="connsiteY41867" fmla="*/ 1914512 h 5973007"/>
              <a:gd name="connsiteX41868" fmla="*/ 3852866 w 6884782"/>
              <a:gd name="connsiteY41868" fmla="*/ 1910813 h 5973007"/>
              <a:gd name="connsiteX41869" fmla="*/ 3854787 w 6884782"/>
              <a:gd name="connsiteY41869" fmla="*/ 1905549 h 5973007"/>
              <a:gd name="connsiteX41870" fmla="*/ 3856068 w 6884782"/>
              <a:gd name="connsiteY41870" fmla="*/ 1905549 h 5973007"/>
              <a:gd name="connsiteX41871" fmla="*/ 3856281 w 6884782"/>
              <a:gd name="connsiteY41871" fmla="*/ 1902134 h 5973007"/>
              <a:gd name="connsiteX41872" fmla="*/ 3858415 w 6884782"/>
              <a:gd name="connsiteY41872" fmla="*/ 1893029 h 5973007"/>
              <a:gd name="connsiteX41873" fmla="*/ 4915911 w 6884782"/>
              <a:gd name="connsiteY41873" fmla="*/ 1892745 h 5973007"/>
              <a:gd name="connsiteX41874" fmla="*/ 4922099 w 6884782"/>
              <a:gd name="connsiteY41874" fmla="*/ 1898435 h 5973007"/>
              <a:gd name="connsiteX41875" fmla="*/ 4922740 w 6884782"/>
              <a:gd name="connsiteY41875" fmla="*/ 1902419 h 5973007"/>
              <a:gd name="connsiteX41876" fmla="*/ 4923594 w 6884782"/>
              <a:gd name="connsiteY41876" fmla="*/ 1901281 h 5973007"/>
              <a:gd name="connsiteX41877" fmla="*/ 4925941 w 6884782"/>
              <a:gd name="connsiteY41877" fmla="*/ 1899289 h 5973007"/>
              <a:gd name="connsiteX41878" fmla="*/ 4927862 w 6884782"/>
              <a:gd name="connsiteY41878" fmla="*/ 1913374 h 5973007"/>
              <a:gd name="connsiteX41879" fmla="*/ 4920606 w 6884782"/>
              <a:gd name="connsiteY41879" fmla="*/ 1912236 h 5973007"/>
              <a:gd name="connsiteX41880" fmla="*/ 4920819 w 6884782"/>
              <a:gd name="connsiteY41880" fmla="*/ 1910671 h 5973007"/>
              <a:gd name="connsiteX41881" fmla="*/ 4912496 w 6884782"/>
              <a:gd name="connsiteY41881" fmla="*/ 1904269 h 5973007"/>
              <a:gd name="connsiteX41882" fmla="*/ 4912923 w 6884782"/>
              <a:gd name="connsiteY41882" fmla="*/ 1893172 h 5973007"/>
              <a:gd name="connsiteX41883" fmla="*/ 4915911 w 6884782"/>
              <a:gd name="connsiteY41883" fmla="*/ 1892745 h 5973007"/>
              <a:gd name="connsiteX41884" fmla="*/ 1465619 w 6884782"/>
              <a:gd name="connsiteY41884" fmla="*/ 1892236 h 5973007"/>
              <a:gd name="connsiteX41885" fmla="*/ 1463554 w 6884782"/>
              <a:gd name="connsiteY41885" fmla="*/ 1901064 h 5973007"/>
              <a:gd name="connsiteX41886" fmla="*/ 1462108 w 6884782"/>
              <a:gd name="connsiteY41886" fmla="*/ 1899206 h 5973007"/>
              <a:gd name="connsiteX41887" fmla="*/ 1465619 w 6884782"/>
              <a:gd name="connsiteY41887" fmla="*/ 1892236 h 5973007"/>
              <a:gd name="connsiteX41888" fmla="*/ 853051 w 6884782"/>
              <a:gd name="connsiteY41888" fmla="*/ 1892003 h 5973007"/>
              <a:gd name="connsiteX41889" fmla="*/ 857750 w 6884782"/>
              <a:gd name="connsiteY41889" fmla="*/ 1893939 h 5973007"/>
              <a:gd name="connsiteX41890" fmla="*/ 856407 w 6884782"/>
              <a:gd name="connsiteY41890" fmla="*/ 1899980 h 5973007"/>
              <a:gd name="connsiteX41891" fmla="*/ 853826 w 6884782"/>
              <a:gd name="connsiteY41891" fmla="*/ 1901064 h 5973007"/>
              <a:gd name="connsiteX41892" fmla="*/ 848663 w 6884782"/>
              <a:gd name="connsiteY41892" fmla="*/ 1901064 h 5973007"/>
              <a:gd name="connsiteX41893" fmla="*/ 848663 w 6884782"/>
              <a:gd name="connsiteY41893" fmla="*/ 1901839 h 5973007"/>
              <a:gd name="connsiteX41894" fmla="*/ 847424 w 6884782"/>
              <a:gd name="connsiteY41894" fmla="*/ 1897037 h 5973007"/>
              <a:gd name="connsiteX41895" fmla="*/ 853051 w 6884782"/>
              <a:gd name="connsiteY41895" fmla="*/ 1892003 h 5973007"/>
              <a:gd name="connsiteX41896" fmla="*/ 4896062 w 6884782"/>
              <a:gd name="connsiteY41896" fmla="*/ 1891323 h 5973007"/>
              <a:gd name="connsiteX41897" fmla="*/ 4908868 w 6884782"/>
              <a:gd name="connsiteY41897" fmla="*/ 1913090 h 5973007"/>
              <a:gd name="connsiteX41898" fmla="*/ 4904599 w 6884782"/>
              <a:gd name="connsiteY41898" fmla="*/ 1913800 h 5973007"/>
              <a:gd name="connsiteX41899" fmla="*/ 4893074 w 6884782"/>
              <a:gd name="connsiteY41899" fmla="*/ 1893314 h 5973007"/>
              <a:gd name="connsiteX41900" fmla="*/ 4896062 w 6884782"/>
              <a:gd name="connsiteY41900" fmla="*/ 1891323 h 5973007"/>
              <a:gd name="connsiteX41901" fmla="*/ 1067050 w 6884782"/>
              <a:gd name="connsiteY41901" fmla="*/ 1891151 h 5973007"/>
              <a:gd name="connsiteX41902" fmla="*/ 1064159 w 6884782"/>
              <a:gd name="connsiteY41902" fmla="*/ 1896263 h 5973007"/>
              <a:gd name="connsiteX41903" fmla="*/ 1060029 w 6884782"/>
              <a:gd name="connsiteY41903" fmla="*/ 1893010 h 5973007"/>
              <a:gd name="connsiteX41904" fmla="*/ 1067050 w 6884782"/>
              <a:gd name="connsiteY41904" fmla="*/ 1891151 h 5973007"/>
              <a:gd name="connsiteX41905" fmla="*/ 1553593 w 6884782"/>
              <a:gd name="connsiteY41905" fmla="*/ 1890531 h 5973007"/>
              <a:gd name="connsiteX41906" fmla="*/ 1559272 w 6884782"/>
              <a:gd name="connsiteY41906" fmla="*/ 1891925 h 5973007"/>
              <a:gd name="connsiteX41907" fmla="*/ 1546778 w 6884782"/>
              <a:gd name="connsiteY41907" fmla="*/ 1903078 h 5973007"/>
              <a:gd name="connsiteX41908" fmla="*/ 1546262 w 6884782"/>
              <a:gd name="connsiteY41908" fmla="*/ 1899515 h 5973007"/>
              <a:gd name="connsiteX41909" fmla="*/ 1547398 w 6884782"/>
              <a:gd name="connsiteY41909" fmla="*/ 1897037 h 5973007"/>
              <a:gd name="connsiteX41910" fmla="*/ 1546778 w 6884782"/>
              <a:gd name="connsiteY41910" fmla="*/ 1896417 h 5973007"/>
              <a:gd name="connsiteX41911" fmla="*/ 1551115 w 6884782"/>
              <a:gd name="connsiteY41911" fmla="*/ 1892855 h 5973007"/>
              <a:gd name="connsiteX41912" fmla="*/ 1231537 w 6884782"/>
              <a:gd name="connsiteY41912" fmla="*/ 1889912 h 5973007"/>
              <a:gd name="connsiteX41913" fmla="*/ 1237423 w 6884782"/>
              <a:gd name="connsiteY41913" fmla="*/ 1896108 h 5973007"/>
              <a:gd name="connsiteX41914" fmla="*/ 1237010 w 6884782"/>
              <a:gd name="connsiteY41914" fmla="*/ 1897037 h 5973007"/>
              <a:gd name="connsiteX41915" fmla="*/ 1230298 w 6884782"/>
              <a:gd name="connsiteY41915" fmla="*/ 1904317 h 5973007"/>
              <a:gd name="connsiteX41916" fmla="*/ 1226581 w 6884782"/>
              <a:gd name="connsiteY41916" fmla="*/ 1899670 h 5973007"/>
              <a:gd name="connsiteX41917" fmla="*/ 1226891 w 6884782"/>
              <a:gd name="connsiteY41917" fmla="*/ 1897347 h 5973007"/>
              <a:gd name="connsiteX41918" fmla="*/ 1231537 w 6884782"/>
              <a:gd name="connsiteY41918" fmla="*/ 1889912 h 5973007"/>
              <a:gd name="connsiteX41919" fmla="*/ 6016516 w 6884782"/>
              <a:gd name="connsiteY41919" fmla="*/ 1889757 h 5973007"/>
              <a:gd name="connsiteX41920" fmla="*/ 6027827 w 6884782"/>
              <a:gd name="connsiteY41920" fmla="*/ 1891323 h 5973007"/>
              <a:gd name="connsiteX41921" fmla="*/ 6030175 w 6884782"/>
              <a:gd name="connsiteY41921" fmla="*/ 1891323 h 5973007"/>
              <a:gd name="connsiteX41922" fmla="*/ 6032523 w 6884782"/>
              <a:gd name="connsiteY41922" fmla="*/ 1893883 h 5973007"/>
              <a:gd name="connsiteX41923" fmla="*/ 6022279 w 6884782"/>
              <a:gd name="connsiteY41923" fmla="*/ 1894594 h 5973007"/>
              <a:gd name="connsiteX41924" fmla="*/ 6016516 w 6884782"/>
              <a:gd name="connsiteY41924" fmla="*/ 1894310 h 5973007"/>
              <a:gd name="connsiteX41925" fmla="*/ 6014168 w 6884782"/>
              <a:gd name="connsiteY41925" fmla="*/ 1891749 h 5973007"/>
              <a:gd name="connsiteX41926" fmla="*/ 6013955 w 6884782"/>
              <a:gd name="connsiteY41926" fmla="*/ 1890611 h 5973007"/>
              <a:gd name="connsiteX41927" fmla="*/ 6016516 w 6884782"/>
              <a:gd name="connsiteY41927" fmla="*/ 1889757 h 5973007"/>
              <a:gd name="connsiteX41928" fmla="*/ 1223793 w 6884782"/>
              <a:gd name="connsiteY41928" fmla="*/ 1889603 h 5973007"/>
              <a:gd name="connsiteX41929" fmla="*/ 1223999 w 6884782"/>
              <a:gd name="connsiteY41929" fmla="*/ 1890531 h 5973007"/>
              <a:gd name="connsiteX41930" fmla="*/ 1224826 w 6884782"/>
              <a:gd name="connsiteY41930" fmla="*/ 1890841 h 5973007"/>
              <a:gd name="connsiteX41931" fmla="*/ 1493292 w 6884782"/>
              <a:gd name="connsiteY41931" fmla="*/ 1889447 h 5973007"/>
              <a:gd name="connsiteX41932" fmla="*/ 1493911 w 6884782"/>
              <a:gd name="connsiteY41932" fmla="*/ 1889447 h 5973007"/>
              <a:gd name="connsiteX41933" fmla="*/ 1493601 w 6884782"/>
              <a:gd name="connsiteY41933" fmla="*/ 1889912 h 5973007"/>
              <a:gd name="connsiteX41934" fmla="*/ 1493292 w 6884782"/>
              <a:gd name="connsiteY41934" fmla="*/ 1889447 h 5973007"/>
              <a:gd name="connsiteX41935" fmla="*/ 5127410 w 6884782"/>
              <a:gd name="connsiteY41935" fmla="*/ 1888761 h 5973007"/>
              <a:gd name="connsiteX41936" fmla="*/ 5129330 w 6884782"/>
              <a:gd name="connsiteY41936" fmla="*/ 1890326 h 5973007"/>
              <a:gd name="connsiteX41937" fmla="*/ 5121647 w 6884782"/>
              <a:gd name="connsiteY41937" fmla="*/ 1896586 h 5973007"/>
              <a:gd name="connsiteX41938" fmla="*/ 5119727 w 6884782"/>
              <a:gd name="connsiteY41938" fmla="*/ 1895021 h 5973007"/>
              <a:gd name="connsiteX41939" fmla="*/ 5121007 w 6884782"/>
              <a:gd name="connsiteY41939" fmla="*/ 1891749 h 5973007"/>
              <a:gd name="connsiteX41940" fmla="*/ 5127410 w 6884782"/>
              <a:gd name="connsiteY41940" fmla="*/ 1888761 h 5973007"/>
              <a:gd name="connsiteX41941" fmla="*/ 1498041 w 6884782"/>
              <a:gd name="connsiteY41941" fmla="*/ 1887589 h 5973007"/>
              <a:gd name="connsiteX41942" fmla="*/ 1498248 w 6884782"/>
              <a:gd name="connsiteY41942" fmla="*/ 1889447 h 5973007"/>
              <a:gd name="connsiteX41943" fmla="*/ 1494014 w 6884782"/>
              <a:gd name="connsiteY41943" fmla="*/ 1890686 h 5973007"/>
              <a:gd name="connsiteX41944" fmla="*/ 1494324 w 6884782"/>
              <a:gd name="connsiteY41944" fmla="*/ 1889603 h 5973007"/>
              <a:gd name="connsiteX41945" fmla="*/ 1493911 w 6884782"/>
              <a:gd name="connsiteY41945" fmla="*/ 1889447 h 5973007"/>
              <a:gd name="connsiteX41946" fmla="*/ 1495357 w 6884782"/>
              <a:gd name="connsiteY41946" fmla="*/ 1888053 h 5973007"/>
              <a:gd name="connsiteX41947" fmla="*/ 1498041 w 6884782"/>
              <a:gd name="connsiteY41947" fmla="*/ 1887589 h 5973007"/>
              <a:gd name="connsiteX41948" fmla="*/ 6069871 w 6884782"/>
              <a:gd name="connsiteY41948" fmla="*/ 1887481 h 5973007"/>
              <a:gd name="connsiteX41949" fmla="*/ 6072432 w 6884782"/>
              <a:gd name="connsiteY41949" fmla="*/ 1888334 h 5973007"/>
              <a:gd name="connsiteX41950" fmla="*/ 6077341 w 6884782"/>
              <a:gd name="connsiteY41950" fmla="*/ 1893029 h 5973007"/>
              <a:gd name="connsiteX41951" fmla="*/ 6077981 w 6884782"/>
              <a:gd name="connsiteY41951" fmla="*/ 1891891 h 5973007"/>
              <a:gd name="connsiteX41952" fmla="*/ 6074993 w 6884782"/>
              <a:gd name="connsiteY41952" fmla="*/ 1898720 h 5973007"/>
              <a:gd name="connsiteX41953" fmla="*/ 6062401 w 6884782"/>
              <a:gd name="connsiteY41953" fmla="*/ 1893598 h 5973007"/>
              <a:gd name="connsiteX41954" fmla="*/ 6068804 w 6884782"/>
              <a:gd name="connsiteY41954" fmla="*/ 1887623 h 5973007"/>
              <a:gd name="connsiteX41955" fmla="*/ 6069871 w 6884782"/>
              <a:gd name="connsiteY41955" fmla="*/ 1887481 h 5973007"/>
              <a:gd name="connsiteX41956" fmla="*/ 1078099 w 6884782"/>
              <a:gd name="connsiteY41956" fmla="*/ 1887434 h 5973007"/>
              <a:gd name="connsiteX41957" fmla="*/ 1078511 w 6884782"/>
              <a:gd name="connsiteY41957" fmla="*/ 1894869 h 5973007"/>
              <a:gd name="connsiteX41958" fmla="*/ 1072420 w 6884782"/>
              <a:gd name="connsiteY41958" fmla="*/ 1894869 h 5973007"/>
              <a:gd name="connsiteX41959" fmla="*/ 1070870 w 6884782"/>
              <a:gd name="connsiteY41959" fmla="*/ 1892855 h 5973007"/>
              <a:gd name="connsiteX41960" fmla="*/ 1071284 w 6884782"/>
              <a:gd name="connsiteY41960" fmla="*/ 1890067 h 5973007"/>
              <a:gd name="connsiteX41961" fmla="*/ 1072936 w 6884782"/>
              <a:gd name="connsiteY41961" fmla="*/ 1888053 h 5973007"/>
              <a:gd name="connsiteX41962" fmla="*/ 1078099 w 6884782"/>
              <a:gd name="connsiteY41962" fmla="*/ 1887434 h 5973007"/>
              <a:gd name="connsiteX41963" fmla="*/ 1308566 w 6884782"/>
              <a:gd name="connsiteY41963" fmla="*/ 1887279 h 5973007"/>
              <a:gd name="connsiteX41964" fmla="*/ 1313936 w 6884782"/>
              <a:gd name="connsiteY41964" fmla="*/ 1889603 h 5973007"/>
              <a:gd name="connsiteX41965" fmla="*/ 1315691 w 6884782"/>
              <a:gd name="connsiteY41965" fmla="*/ 1888363 h 5973007"/>
              <a:gd name="connsiteX41966" fmla="*/ 1319718 w 6884782"/>
              <a:gd name="connsiteY41966" fmla="*/ 1889603 h 5973007"/>
              <a:gd name="connsiteX41967" fmla="*/ 1316827 w 6884782"/>
              <a:gd name="connsiteY41967" fmla="*/ 1891306 h 5973007"/>
              <a:gd name="connsiteX41968" fmla="*/ 1316310 w 6884782"/>
              <a:gd name="connsiteY41968" fmla="*/ 1891306 h 5973007"/>
              <a:gd name="connsiteX41969" fmla="*/ 1320647 w 6884782"/>
              <a:gd name="connsiteY41969" fmla="*/ 1894404 h 5973007"/>
              <a:gd name="connsiteX41970" fmla="*/ 1326223 w 6884782"/>
              <a:gd name="connsiteY41970" fmla="*/ 1897657 h 5973007"/>
              <a:gd name="connsiteX41971" fmla="*/ 1326842 w 6884782"/>
              <a:gd name="connsiteY41971" fmla="*/ 1899980 h 5973007"/>
              <a:gd name="connsiteX41972" fmla="*/ 1327669 w 6884782"/>
              <a:gd name="connsiteY41972" fmla="*/ 1900445 h 5973007"/>
              <a:gd name="connsiteX41973" fmla="*/ 1327772 w 6884782"/>
              <a:gd name="connsiteY41973" fmla="*/ 1901529 h 5973007"/>
              <a:gd name="connsiteX41974" fmla="*/ 1328082 w 6884782"/>
              <a:gd name="connsiteY41974" fmla="*/ 1901839 h 5973007"/>
              <a:gd name="connsiteX41975" fmla="*/ 1328495 w 6884782"/>
              <a:gd name="connsiteY41975" fmla="*/ 1902149 h 5973007"/>
              <a:gd name="connsiteX41976" fmla="*/ 1330973 w 6884782"/>
              <a:gd name="connsiteY41976" fmla="*/ 1897967 h 5973007"/>
              <a:gd name="connsiteX41977" fmla="*/ 1336445 w 6884782"/>
              <a:gd name="connsiteY41977" fmla="*/ 1897812 h 5973007"/>
              <a:gd name="connsiteX41978" fmla="*/ 1336136 w 6884782"/>
              <a:gd name="connsiteY41978" fmla="*/ 1900136 h 5973007"/>
              <a:gd name="connsiteX41979" fmla="*/ 1339853 w 6884782"/>
              <a:gd name="connsiteY41979" fmla="*/ 1900600 h 5973007"/>
              <a:gd name="connsiteX41980" fmla="*/ 1348217 w 6884782"/>
              <a:gd name="connsiteY41980" fmla="*/ 1903853 h 5973007"/>
              <a:gd name="connsiteX41981" fmla="*/ 1350178 w 6884782"/>
              <a:gd name="connsiteY41981" fmla="*/ 1904007 h 5973007"/>
              <a:gd name="connsiteX41982" fmla="*/ 1338821 w 6884782"/>
              <a:gd name="connsiteY41982" fmla="*/ 1903233 h 5973007"/>
              <a:gd name="connsiteX41983" fmla="*/ 1335723 w 6884782"/>
              <a:gd name="connsiteY41983" fmla="*/ 1902614 h 5973007"/>
              <a:gd name="connsiteX41984" fmla="*/ 1335620 w 6884782"/>
              <a:gd name="connsiteY41984" fmla="*/ 1903698 h 5973007"/>
              <a:gd name="connsiteX41985" fmla="*/ 1334690 w 6884782"/>
              <a:gd name="connsiteY41985" fmla="*/ 1905092 h 5973007"/>
              <a:gd name="connsiteX41986" fmla="*/ 1335000 w 6884782"/>
              <a:gd name="connsiteY41986" fmla="*/ 1906951 h 5973007"/>
              <a:gd name="connsiteX41987" fmla="*/ 1335413 w 6884782"/>
              <a:gd name="connsiteY41987" fmla="*/ 1907260 h 5973007"/>
              <a:gd name="connsiteX41988" fmla="*/ 1338407 w 6884782"/>
              <a:gd name="connsiteY41988" fmla="*/ 1907415 h 5973007"/>
              <a:gd name="connsiteX41989" fmla="*/ 1339130 w 6884782"/>
              <a:gd name="connsiteY41989" fmla="*/ 1909274 h 5973007"/>
              <a:gd name="connsiteX41990" fmla="*/ 1336445 w 6884782"/>
              <a:gd name="connsiteY41990" fmla="*/ 1910048 h 5973007"/>
              <a:gd name="connsiteX41991" fmla="*/ 1335103 w 6884782"/>
              <a:gd name="connsiteY41991" fmla="*/ 1907725 h 5973007"/>
              <a:gd name="connsiteX41992" fmla="*/ 1336342 w 6884782"/>
              <a:gd name="connsiteY41992" fmla="*/ 1914385 h 5973007"/>
              <a:gd name="connsiteX41993" fmla="*/ 1335929 w 6884782"/>
              <a:gd name="connsiteY41993" fmla="*/ 1917019 h 5973007"/>
              <a:gd name="connsiteX41994" fmla="*/ 1336962 w 6884782"/>
              <a:gd name="connsiteY41994" fmla="*/ 1916864 h 5973007"/>
              <a:gd name="connsiteX41995" fmla="*/ 1335516 w 6884782"/>
              <a:gd name="connsiteY41995" fmla="*/ 1921511 h 5973007"/>
              <a:gd name="connsiteX41996" fmla="*/ 1335206 w 6884782"/>
              <a:gd name="connsiteY41996" fmla="*/ 1921356 h 5973007"/>
              <a:gd name="connsiteX41997" fmla="*/ 1334484 w 6884782"/>
              <a:gd name="connsiteY41997" fmla="*/ 1925693 h 5973007"/>
              <a:gd name="connsiteX41998" fmla="*/ 1330870 w 6884782"/>
              <a:gd name="connsiteY41998" fmla="*/ 1932044 h 5973007"/>
              <a:gd name="connsiteX41999" fmla="*/ 1326223 w 6884782"/>
              <a:gd name="connsiteY41999" fmla="*/ 1915780 h 5973007"/>
              <a:gd name="connsiteX42000" fmla="*/ 1309599 w 6884782"/>
              <a:gd name="connsiteY42000" fmla="*/ 1915315 h 5973007"/>
              <a:gd name="connsiteX42001" fmla="*/ 1321990 w 6884782"/>
              <a:gd name="connsiteY42001" fmla="*/ 1909584 h 5973007"/>
              <a:gd name="connsiteX42002" fmla="*/ 1324158 w 6884782"/>
              <a:gd name="connsiteY42002" fmla="*/ 1908964 h 5973007"/>
              <a:gd name="connsiteX42003" fmla="*/ 1325294 w 6884782"/>
              <a:gd name="connsiteY42003" fmla="*/ 1907570 h 5973007"/>
              <a:gd name="connsiteX42004" fmla="*/ 1328185 w 6884782"/>
              <a:gd name="connsiteY42004" fmla="*/ 1902614 h 5973007"/>
              <a:gd name="connsiteX42005" fmla="*/ 1327772 w 6884782"/>
              <a:gd name="connsiteY42005" fmla="*/ 1902303 h 5973007"/>
              <a:gd name="connsiteX42006" fmla="*/ 1327565 w 6884782"/>
              <a:gd name="connsiteY42006" fmla="*/ 1902303 h 5973007"/>
              <a:gd name="connsiteX42007" fmla="*/ 1327462 w 6884782"/>
              <a:gd name="connsiteY42007" fmla="*/ 1902303 h 5973007"/>
              <a:gd name="connsiteX42008" fmla="*/ 1326842 w 6884782"/>
              <a:gd name="connsiteY42008" fmla="*/ 1902149 h 5973007"/>
              <a:gd name="connsiteX42009" fmla="*/ 1326017 w 6884782"/>
              <a:gd name="connsiteY42009" fmla="*/ 1902149 h 5973007"/>
              <a:gd name="connsiteX42010" fmla="*/ 1325913 w 6884782"/>
              <a:gd name="connsiteY42010" fmla="*/ 1901994 h 5973007"/>
              <a:gd name="connsiteX42011" fmla="*/ 1324984 w 6884782"/>
              <a:gd name="connsiteY42011" fmla="*/ 1901839 h 5973007"/>
              <a:gd name="connsiteX42012" fmla="*/ 1322506 w 6884782"/>
              <a:gd name="connsiteY42012" fmla="*/ 1900136 h 5973007"/>
              <a:gd name="connsiteX42013" fmla="*/ 1318789 w 6884782"/>
              <a:gd name="connsiteY42013" fmla="*/ 1897657 h 5973007"/>
              <a:gd name="connsiteX42014" fmla="*/ 1308566 w 6884782"/>
              <a:gd name="connsiteY42014" fmla="*/ 1887279 h 5973007"/>
              <a:gd name="connsiteX42015" fmla="*/ 1121995 w 6884782"/>
              <a:gd name="connsiteY42015" fmla="*/ 1887066 h 5973007"/>
              <a:gd name="connsiteX42016" fmla="*/ 1126732 w 6884782"/>
              <a:gd name="connsiteY42016" fmla="*/ 1887124 h 5973007"/>
              <a:gd name="connsiteX42017" fmla="*/ 1131895 w 6884782"/>
              <a:gd name="connsiteY42017" fmla="*/ 1901684 h 5973007"/>
              <a:gd name="connsiteX42018" fmla="*/ 1131069 w 6884782"/>
              <a:gd name="connsiteY42018" fmla="*/ 1901839 h 5973007"/>
              <a:gd name="connsiteX42019" fmla="*/ 1133134 w 6884782"/>
              <a:gd name="connsiteY42019" fmla="*/ 1906486 h 5973007"/>
              <a:gd name="connsiteX42020" fmla="*/ 1132411 w 6884782"/>
              <a:gd name="connsiteY42020" fmla="*/ 1907105 h 5973007"/>
              <a:gd name="connsiteX42021" fmla="*/ 1132411 w 6884782"/>
              <a:gd name="connsiteY42021" fmla="*/ 1907415 h 5973007"/>
              <a:gd name="connsiteX42022" fmla="*/ 1135405 w 6884782"/>
              <a:gd name="connsiteY42022" fmla="*/ 1910204 h 5973007"/>
              <a:gd name="connsiteX42023" fmla="*/ 1135405 w 6884782"/>
              <a:gd name="connsiteY42023" fmla="*/ 1909738 h 5973007"/>
              <a:gd name="connsiteX42024" fmla="*/ 1142737 w 6884782"/>
              <a:gd name="connsiteY42024" fmla="*/ 1902923 h 5973007"/>
              <a:gd name="connsiteX42025" fmla="*/ 1142943 w 6884782"/>
              <a:gd name="connsiteY42025" fmla="*/ 1902303 h 5973007"/>
              <a:gd name="connsiteX42026" fmla="*/ 1141911 w 6884782"/>
              <a:gd name="connsiteY42026" fmla="*/ 1902459 h 5973007"/>
              <a:gd name="connsiteX42027" fmla="*/ 1140878 w 6884782"/>
              <a:gd name="connsiteY42027" fmla="*/ 1902923 h 5973007"/>
              <a:gd name="connsiteX42028" fmla="*/ 1139123 w 6884782"/>
              <a:gd name="connsiteY42028" fmla="*/ 1902303 h 5973007"/>
              <a:gd name="connsiteX42029" fmla="*/ 1135405 w 6884782"/>
              <a:gd name="connsiteY42029" fmla="*/ 1897812 h 5973007"/>
              <a:gd name="connsiteX42030" fmla="*/ 1148726 w 6884782"/>
              <a:gd name="connsiteY42030" fmla="*/ 1897037 h 5973007"/>
              <a:gd name="connsiteX42031" fmla="*/ 1151514 w 6884782"/>
              <a:gd name="connsiteY42031" fmla="*/ 1897967 h 5973007"/>
              <a:gd name="connsiteX42032" fmla="*/ 1153475 w 6884782"/>
              <a:gd name="connsiteY42032" fmla="*/ 1895953 h 5973007"/>
              <a:gd name="connsiteX42033" fmla="*/ 1156264 w 6884782"/>
              <a:gd name="connsiteY42033" fmla="*/ 1899206 h 5973007"/>
              <a:gd name="connsiteX42034" fmla="*/ 1154818 w 6884782"/>
              <a:gd name="connsiteY42034" fmla="*/ 1901064 h 5973007"/>
              <a:gd name="connsiteX42035" fmla="*/ 1156367 w 6884782"/>
              <a:gd name="connsiteY42035" fmla="*/ 1901529 h 5973007"/>
              <a:gd name="connsiteX42036" fmla="*/ 1153062 w 6884782"/>
              <a:gd name="connsiteY42036" fmla="*/ 1905402 h 5973007"/>
              <a:gd name="connsiteX42037" fmla="*/ 1152340 w 6884782"/>
              <a:gd name="connsiteY42037" fmla="*/ 1907105 h 5973007"/>
              <a:gd name="connsiteX42038" fmla="*/ 1151410 w 6884782"/>
              <a:gd name="connsiteY42038" fmla="*/ 1905557 h 5973007"/>
              <a:gd name="connsiteX42039" fmla="*/ 1153889 w 6884782"/>
              <a:gd name="connsiteY42039" fmla="*/ 1903543 h 5973007"/>
              <a:gd name="connsiteX42040" fmla="*/ 1152856 w 6884782"/>
              <a:gd name="connsiteY42040" fmla="*/ 1901994 h 5973007"/>
              <a:gd name="connsiteX42041" fmla="*/ 1153785 w 6884782"/>
              <a:gd name="connsiteY42041" fmla="*/ 1901064 h 5973007"/>
              <a:gd name="connsiteX42042" fmla="*/ 1153889 w 6884782"/>
              <a:gd name="connsiteY42042" fmla="*/ 1900910 h 5973007"/>
              <a:gd name="connsiteX42043" fmla="*/ 1153785 w 6884782"/>
              <a:gd name="connsiteY42043" fmla="*/ 1900755 h 5973007"/>
              <a:gd name="connsiteX42044" fmla="*/ 1153785 w 6884782"/>
              <a:gd name="connsiteY42044" fmla="*/ 1901064 h 5973007"/>
              <a:gd name="connsiteX42045" fmla="*/ 1145215 w 6884782"/>
              <a:gd name="connsiteY42045" fmla="*/ 1901684 h 5973007"/>
              <a:gd name="connsiteX42046" fmla="*/ 1144699 w 6884782"/>
              <a:gd name="connsiteY42046" fmla="*/ 1902614 h 5973007"/>
              <a:gd name="connsiteX42047" fmla="*/ 1145215 w 6884782"/>
              <a:gd name="connsiteY42047" fmla="*/ 1903388 h 5973007"/>
              <a:gd name="connsiteX42048" fmla="*/ 1147590 w 6884782"/>
              <a:gd name="connsiteY42048" fmla="*/ 1903698 h 5973007"/>
              <a:gd name="connsiteX42049" fmla="*/ 1152030 w 6884782"/>
              <a:gd name="connsiteY42049" fmla="*/ 1910358 h 5973007"/>
              <a:gd name="connsiteX42050" fmla="*/ 1147590 w 6884782"/>
              <a:gd name="connsiteY42050" fmla="*/ 1916399 h 5973007"/>
              <a:gd name="connsiteX42051" fmla="*/ 1146970 w 6884782"/>
              <a:gd name="connsiteY42051" fmla="*/ 1916864 h 5973007"/>
              <a:gd name="connsiteX42052" fmla="*/ 1146454 w 6884782"/>
              <a:gd name="connsiteY42052" fmla="*/ 1917793 h 5973007"/>
              <a:gd name="connsiteX42053" fmla="*/ 1144492 w 6884782"/>
              <a:gd name="connsiteY42053" fmla="*/ 1920891 h 5973007"/>
              <a:gd name="connsiteX42054" fmla="*/ 1143666 w 6884782"/>
              <a:gd name="connsiteY42054" fmla="*/ 1921046 h 5973007"/>
              <a:gd name="connsiteX42055" fmla="*/ 1142737 w 6884782"/>
              <a:gd name="connsiteY42055" fmla="*/ 1919342 h 5973007"/>
              <a:gd name="connsiteX42056" fmla="*/ 1143253 w 6884782"/>
              <a:gd name="connsiteY42056" fmla="*/ 1918103 h 5973007"/>
              <a:gd name="connsiteX42057" fmla="*/ 1139949 w 6884782"/>
              <a:gd name="connsiteY42057" fmla="*/ 1918413 h 5973007"/>
              <a:gd name="connsiteX42058" fmla="*/ 1137058 w 6884782"/>
              <a:gd name="connsiteY42058" fmla="*/ 1915625 h 5973007"/>
              <a:gd name="connsiteX42059" fmla="*/ 1136232 w 6884782"/>
              <a:gd name="connsiteY42059" fmla="*/ 1914231 h 5973007"/>
              <a:gd name="connsiteX42060" fmla="*/ 1136335 w 6884782"/>
              <a:gd name="connsiteY42060" fmla="*/ 1916244 h 5973007"/>
              <a:gd name="connsiteX42061" fmla="*/ 1133444 w 6884782"/>
              <a:gd name="connsiteY42061" fmla="*/ 1919342 h 5973007"/>
              <a:gd name="connsiteX42062" fmla="*/ 1118885 w 6884782"/>
              <a:gd name="connsiteY42062" fmla="*/ 1911288 h 5973007"/>
              <a:gd name="connsiteX42063" fmla="*/ 1118678 w 6884782"/>
              <a:gd name="connsiteY42063" fmla="*/ 1910358 h 5973007"/>
              <a:gd name="connsiteX42064" fmla="*/ 1117749 w 6884782"/>
              <a:gd name="connsiteY42064" fmla="*/ 1909584 h 5973007"/>
              <a:gd name="connsiteX42065" fmla="*/ 1117542 w 6884782"/>
              <a:gd name="connsiteY42065" fmla="*/ 1909584 h 5973007"/>
              <a:gd name="connsiteX42066" fmla="*/ 1116613 w 6884782"/>
              <a:gd name="connsiteY42066" fmla="*/ 1909738 h 5973007"/>
              <a:gd name="connsiteX42067" fmla="*/ 1113619 w 6884782"/>
              <a:gd name="connsiteY42067" fmla="*/ 1908035 h 5973007"/>
              <a:gd name="connsiteX42068" fmla="*/ 1113205 w 6884782"/>
              <a:gd name="connsiteY42068" fmla="*/ 1907105 h 5973007"/>
              <a:gd name="connsiteX42069" fmla="*/ 1113825 w 6884782"/>
              <a:gd name="connsiteY42069" fmla="*/ 1905866 h 5973007"/>
              <a:gd name="connsiteX42070" fmla="*/ 1117955 w 6884782"/>
              <a:gd name="connsiteY42070" fmla="*/ 1902768 h 5973007"/>
              <a:gd name="connsiteX42071" fmla="*/ 1117955 w 6884782"/>
              <a:gd name="connsiteY42071" fmla="*/ 1887589 h 5973007"/>
              <a:gd name="connsiteX42072" fmla="*/ 1121995 w 6884782"/>
              <a:gd name="connsiteY42072" fmla="*/ 1887066 h 5973007"/>
              <a:gd name="connsiteX42073" fmla="*/ 5609524 w 6884782"/>
              <a:gd name="connsiteY42073" fmla="*/ 1886628 h 5973007"/>
              <a:gd name="connsiteX42074" fmla="*/ 5615287 w 6884782"/>
              <a:gd name="connsiteY42074" fmla="*/ 1888904 h 5973007"/>
              <a:gd name="connsiteX42075" fmla="*/ 5614860 w 6884782"/>
              <a:gd name="connsiteY42075" fmla="*/ 1890611 h 5973007"/>
              <a:gd name="connsiteX42076" fmla="*/ 5609524 w 6884782"/>
              <a:gd name="connsiteY42076" fmla="*/ 1886628 h 5973007"/>
              <a:gd name="connsiteX42077" fmla="*/ 1354515 w 6884782"/>
              <a:gd name="connsiteY42077" fmla="*/ 1886504 h 5973007"/>
              <a:gd name="connsiteX42078" fmla="*/ 1359471 w 6884782"/>
              <a:gd name="connsiteY42078" fmla="*/ 1902149 h 5973007"/>
              <a:gd name="connsiteX42079" fmla="*/ 1359471 w 6884782"/>
              <a:gd name="connsiteY42079" fmla="*/ 1904007 h 5973007"/>
              <a:gd name="connsiteX42080" fmla="*/ 1357097 w 6884782"/>
              <a:gd name="connsiteY42080" fmla="*/ 1904937 h 5973007"/>
              <a:gd name="connsiteX42081" fmla="*/ 1351314 w 6884782"/>
              <a:gd name="connsiteY42081" fmla="*/ 1893320 h 5973007"/>
              <a:gd name="connsiteX42082" fmla="*/ 1351418 w 6884782"/>
              <a:gd name="connsiteY42082" fmla="*/ 1891461 h 5973007"/>
              <a:gd name="connsiteX42083" fmla="*/ 1354515 w 6884782"/>
              <a:gd name="connsiteY42083" fmla="*/ 1886504 h 5973007"/>
              <a:gd name="connsiteX42084" fmla="*/ 3558134 w 6884782"/>
              <a:gd name="connsiteY42084" fmla="*/ 1885774 h 5973007"/>
              <a:gd name="connsiteX42085" fmla="*/ 3561122 w 6884782"/>
              <a:gd name="connsiteY42085" fmla="*/ 1903130 h 5973007"/>
              <a:gd name="connsiteX42086" fmla="*/ 3554506 w 6884782"/>
              <a:gd name="connsiteY42086" fmla="*/ 1903130 h 5973007"/>
              <a:gd name="connsiteX42087" fmla="*/ 3558134 w 6884782"/>
              <a:gd name="connsiteY42087" fmla="*/ 1885774 h 5973007"/>
              <a:gd name="connsiteX42088" fmla="*/ 5853677 w 6884782"/>
              <a:gd name="connsiteY42088" fmla="*/ 1885489 h 5973007"/>
              <a:gd name="connsiteX42089" fmla="*/ 5854104 w 6884782"/>
              <a:gd name="connsiteY42089" fmla="*/ 1894168 h 5973007"/>
              <a:gd name="connsiteX42090" fmla="*/ 5845994 w 6884782"/>
              <a:gd name="connsiteY42090" fmla="*/ 1891323 h 5973007"/>
              <a:gd name="connsiteX42091" fmla="*/ 5853677 w 6884782"/>
              <a:gd name="connsiteY42091" fmla="*/ 1885489 h 5973007"/>
              <a:gd name="connsiteX42092" fmla="*/ 1259210 w 6884782"/>
              <a:gd name="connsiteY42092" fmla="*/ 1884181 h 5973007"/>
              <a:gd name="connsiteX42093" fmla="*/ 1259520 w 6884782"/>
              <a:gd name="connsiteY42093" fmla="*/ 1884955 h 5973007"/>
              <a:gd name="connsiteX42094" fmla="*/ 1259933 w 6884782"/>
              <a:gd name="connsiteY42094" fmla="*/ 1884955 h 5973007"/>
              <a:gd name="connsiteX42095" fmla="*/ 5683581 w 6884782"/>
              <a:gd name="connsiteY42095" fmla="*/ 1883782 h 5973007"/>
              <a:gd name="connsiteX42096" fmla="*/ 5685289 w 6884782"/>
              <a:gd name="connsiteY42096" fmla="*/ 1884636 h 5973007"/>
              <a:gd name="connsiteX42097" fmla="*/ 5689557 w 6884782"/>
              <a:gd name="connsiteY42097" fmla="*/ 1890469 h 5973007"/>
              <a:gd name="connsiteX42098" fmla="*/ 5710686 w 6884782"/>
              <a:gd name="connsiteY42098" fmla="*/ 1890469 h 5973007"/>
              <a:gd name="connsiteX42099" fmla="*/ 5711113 w 6884782"/>
              <a:gd name="connsiteY42099" fmla="*/ 1902419 h 5973007"/>
              <a:gd name="connsiteX42100" fmla="*/ 5691051 w 6884782"/>
              <a:gd name="connsiteY42100" fmla="*/ 1909533 h 5973007"/>
              <a:gd name="connsiteX42101" fmla="*/ 5691051 w 6884782"/>
              <a:gd name="connsiteY42101" fmla="*/ 1908395 h 5973007"/>
              <a:gd name="connsiteX42102" fmla="*/ 5684435 w 6884782"/>
              <a:gd name="connsiteY42102" fmla="*/ 1911240 h 5973007"/>
              <a:gd name="connsiteX42103" fmla="*/ 5683581 w 6884782"/>
              <a:gd name="connsiteY42103" fmla="*/ 1910244 h 5973007"/>
              <a:gd name="connsiteX42104" fmla="*/ 5683155 w 6884782"/>
              <a:gd name="connsiteY42104" fmla="*/ 1910244 h 5973007"/>
              <a:gd name="connsiteX42105" fmla="*/ 5679313 w 6884782"/>
              <a:gd name="connsiteY42105" fmla="*/ 1914370 h 5973007"/>
              <a:gd name="connsiteX42106" fmla="*/ 5679953 w 6884782"/>
              <a:gd name="connsiteY42106" fmla="*/ 1914370 h 5973007"/>
              <a:gd name="connsiteX42107" fmla="*/ 5689344 w 6884782"/>
              <a:gd name="connsiteY42107" fmla="*/ 1924471 h 5973007"/>
              <a:gd name="connsiteX42108" fmla="*/ 5690411 w 6884782"/>
              <a:gd name="connsiteY42108" fmla="*/ 1924755 h 5973007"/>
              <a:gd name="connsiteX42109" fmla="*/ 5689984 w 6884782"/>
              <a:gd name="connsiteY42109" fmla="*/ 1923332 h 5973007"/>
              <a:gd name="connsiteX42110" fmla="*/ 5689557 w 6884782"/>
              <a:gd name="connsiteY42110" fmla="*/ 1921910 h 5973007"/>
              <a:gd name="connsiteX42111" fmla="*/ 5690197 w 6884782"/>
              <a:gd name="connsiteY42111" fmla="*/ 1919492 h 5973007"/>
              <a:gd name="connsiteX42112" fmla="*/ 5696387 w 6884782"/>
              <a:gd name="connsiteY42112" fmla="*/ 1914370 h 5973007"/>
              <a:gd name="connsiteX42113" fmla="*/ 5697454 w 6884782"/>
              <a:gd name="connsiteY42113" fmla="*/ 1932723 h 5973007"/>
              <a:gd name="connsiteX42114" fmla="*/ 5696387 w 6884782"/>
              <a:gd name="connsiteY42114" fmla="*/ 1936564 h 5973007"/>
              <a:gd name="connsiteX42115" fmla="*/ 5698947 w 6884782"/>
              <a:gd name="connsiteY42115" fmla="*/ 1939267 h 5973007"/>
              <a:gd name="connsiteX42116" fmla="*/ 5694466 w 6884782"/>
              <a:gd name="connsiteY42116" fmla="*/ 1943108 h 5973007"/>
              <a:gd name="connsiteX42117" fmla="*/ 5691904 w 6884782"/>
              <a:gd name="connsiteY42117" fmla="*/ 1941116 h 5973007"/>
              <a:gd name="connsiteX42118" fmla="*/ 5691264 w 6884782"/>
              <a:gd name="connsiteY42118" fmla="*/ 1943250 h 5973007"/>
              <a:gd name="connsiteX42119" fmla="*/ 5686142 w 6884782"/>
              <a:gd name="connsiteY42119" fmla="*/ 1938698 h 5973007"/>
              <a:gd name="connsiteX42120" fmla="*/ 5683581 w 6884782"/>
              <a:gd name="connsiteY42120" fmla="*/ 1937844 h 5973007"/>
              <a:gd name="connsiteX42121" fmla="*/ 5685716 w 6884782"/>
              <a:gd name="connsiteY42121" fmla="*/ 1936421 h 5973007"/>
              <a:gd name="connsiteX42122" fmla="*/ 5688490 w 6884782"/>
              <a:gd name="connsiteY42122" fmla="*/ 1939836 h 5973007"/>
              <a:gd name="connsiteX42123" fmla="*/ 5690624 w 6884782"/>
              <a:gd name="connsiteY42123" fmla="*/ 1938555 h 5973007"/>
              <a:gd name="connsiteX42124" fmla="*/ 5691904 w 6884782"/>
              <a:gd name="connsiteY42124" fmla="*/ 1939694 h 5973007"/>
              <a:gd name="connsiteX42125" fmla="*/ 5692118 w 6884782"/>
              <a:gd name="connsiteY42125" fmla="*/ 1939979 h 5973007"/>
              <a:gd name="connsiteX42126" fmla="*/ 5692332 w 6884782"/>
              <a:gd name="connsiteY42126" fmla="*/ 1939694 h 5973007"/>
              <a:gd name="connsiteX42127" fmla="*/ 5691904 w 6884782"/>
              <a:gd name="connsiteY42127" fmla="*/ 1939694 h 5973007"/>
              <a:gd name="connsiteX42128" fmla="*/ 5691051 w 6884782"/>
              <a:gd name="connsiteY42128" fmla="*/ 1927885 h 5973007"/>
              <a:gd name="connsiteX42129" fmla="*/ 5689771 w 6884782"/>
              <a:gd name="connsiteY42129" fmla="*/ 1927174 h 5973007"/>
              <a:gd name="connsiteX42130" fmla="*/ 5688917 w 6884782"/>
              <a:gd name="connsiteY42130" fmla="*/ 1927885 h 5973007"/>
              <a:gd name="connsiteX42131" fmla="*/ 5688490 w 6884782"/>
              <a:gd name="connsiteY42131" fmla="*/ 1931158 h 5973007"/>
              <a:gd name="connsiteX42132" fmla="*/ 5679100 w 6884782"/>
              <a:gd name="connsiteY42132" fmla="*/ 1937275 h 5973007"/>
              <a:gd name="connsiteX42133" fmla="*/ 5670776 w 6884782"/>
              <a:gd name="connsiteY42133" fmla="*/ 1931158 h 5973007"/>
              <a:gd name="connsiteX42134" fmla="*/ 5670349 w 6884782"/>
              <a:gd name="connsiteY42134" fmla="*/ 1930304 h 5973007"/>
              <a:gd name="connsiteX42135" fmla="*/ 5669069 w 6884782"/>
              <a:gd name="connsiteY42135" fmla="*/ 1929593 h 5973007"/>
              <a:gd name="connsiteX42136" fmla="*/ 5664587 w 6884782"/>
              <a:gd name="connsiteY42136" fmla="*/ 1927031 h 5973007"/>
              <a:gd name="connsiteX42137" fmla="*/ 5664374 w 6884782"/>
              <a:gd name="connsiteY42137" fmla="*/ 1925751 h 5973007"/>
              <a:gd name="connsiteX42138" fmla="*/ 5666934 w 6884782"/>
              <a:gd name="connsiteY42138" fmla="*/ 1924471 h 5973007"/>
              <a:gd name="connsiteX42139" fmla="*/ 5668642 w 6884782"/>
              <a:gd name="connsiteY42139" fmla="*/ 1925183 h 5973007"/>
              <a:gd name="connsiteX42140" fmla="*/ 5668215 w 6884782"/>
              <a:gd name="connsiteY42140" fmla="*/ 1920629 h 5973007"/>
              <a:gd name="connsiteX42141" fmla="*/ 5671843 w 6884782"/>
              <a:gd name="connsiteY42141" fmla="*/ 1916647 h 5973007"/>
              <a:gd name="connsiteX42142" fmla="*/ 5673764 w 6884782"/>
              <a:gd name="connsiteY42142" fmla="*/ 1915508 h 5973007"/>
              <a:gd name="connsiteX42143" fmla="*/ 5670990 w 6884782"/>
              <a:gd name="connsiteY42143" fmla="*/ 1915650 h 5973007"/>
              <a:gd name="connsiteX42144" fmla="*/ 5666934 w 6884782"/>
              <a:gd name="connsiteY42144" fmla="*/ 1911666 h 5973007"/>
              <a:gd name="connsiteX42145" fmla="*/ 5677819 w 6884782"/>
              <a:gd name="connsiteY42145" fmla="*/ 1891606 h 5973007"/>
              <a:gd name="connsiteX42146" fmla="*/ 5679313 w 6884782"/>
              <a:gd name="connsiteY42146" fmla="*/ 1891323 h 5973007"/>
              <a:gd name="connsiteX42147" fmla="*/ 5680380 w 6884782"/>
              <a:gd name="connsiteY42147" fmla="*/ 1890042 h 5973007"/>
              <a:gd name="connsiteX42148" fmla="*/ 5680167 w 6884782"/>
              <a:gd name="connsiteY42148" fmla="*/ 1889757 h 5973007"/>
              <a:gd name="connsiteX42149" fmla="*/ 5679953 w 6884782"/>
              <a:gd name="connsiteY42149" fmla="*/ 1888477 h 5973007"/>
              <a:gd name="connsiteX42150" fmla="*/ 5682301 w 6884782"/>
              <a:gd name="connsiteY42150" fmla="*/ 1884351 h 5973007"/>
              <a:gd name="connsiteX42151" fmla="*/ 5683581 w 6884782"/>
              <a:gd name="connsiteY42151" fmla="*/ 1883782 h 5973007"/>
              <a:gd name="connsiteX42152" fmla="*/ 3504352 w 6884782"/>
              <a:gd name="connsiteY42152" fmla="*/ 1883782 h 5973007"/>
              <a:gd name="connsiteX42153" fmla="*/ 3505420 w 6884782"/>
              <a:gd name="connsiteY42153" fmla="*/ 1886912 h 5973007"/>
              <a:gd name="connsiteX42154" fmla="*/ 3505420 w 6884782"/>
              <a:gd name="connsiteY42154" fmla="*/ 1888050 h 5973007"/>
              <a:gd name="connsiteX42155" fmla="*/ 3504352 w 6884782"/>
              <a:gd name="connsiteY42155" fmla="*/ 1888477 h 5973007"/>
              <a:gd name="connsiteX42156" fmla="*/ 3504352 w 6884782"/>
              <a:gd name="connsiteY42156" fmla="*/ 1883782 h 5973007"/>
              <a:gd name="connsiteX42157" fmla="*/ 5523730 w 6884782"/>
              <a:gd name="connsiteY42157" fmla="*/ 1883497 h 5973007"/>
              <a:gd name="connsiteX42158" fmla="*/ 5519675 w 6884782"/>
              <a:gd name="connsiteY42158" fmla="*/ 1901992 h 5973007"/>
              <a:gd name="connsiteX42159" fmla="*/ 5523730 w 6884782"/>
              <a:gd name="connsiteY42159" fmla="*/ 1883497 h 5973007"/>
              <a:gd name="connsiteX42160" fmla="*/ 4726394 w 6884782"/>
              <a:gd name="connsiteY42160" fmla="*/ 1883497 h 5973007"/>
              <a:gd name="connsiteX42161" fmla="*/ 4735571 w 6884782"/>
              <a:gd name="connsiteY42161" fmla="*/ 1891323 h 5973007"/>
              <a:gd name="connsiteX42162" fmla="*/ 4731729 w 6884782"/>
              <a:gd name="connsiteY42162" fmla="*/ 1917215 h 5973007"/>
              <a:gd name="connsiteX42163" fmla="*/ 4731516 w 6884782"/>
              <a:gd name="connsiteY42163" fmla="*/ 1917357 h 5973007"/>
              <a:gd name="connsiteX42164" fmla="*/ 4737918 w 6884782"/>
              <a:gd name="connsiteY42164" fmla="*/ 1922194 h 5973007"/>
              <a:gd name="connsiteX42165" fmla="*/ 4733864 w 6884782"/>
              <a:gd name="connsiteY42165" fmla="*/ 1933291 h 5973007"/>
              <a:gd name="connsiteX42166" fmla="*/ 4727034 w 6884782"/>
              <a:gd name="connsiteY42166" fmla="*/ 1934714 h 5973007"/>
              <a:gd name="connsiteX42167" fmla="*/ 4726821 w 6884782"/>
              <a:gd name="connsiteY42167" fmla="*/ 1935710 h 5973007"/>
              <a:gd name="connsiteX42168" fmla="*/ 4718497 w 6884782"/>
              <a:gd name="connsiteY42168" fmla="*/ 1942824 h 5973007"/>
              <a:gd name="connsiteX42169" fmla="*/ 4711881 w 6884782"/>
              <a:gd name="connsiteY42169" fmla="*/ 1924471 h 5973007"/>
              <a:gd name="connsiteX42170" fmla="*/ 4710174 w 6884782"/>
              <a:gd name="connsiteY42170" fmla="*/ 1920202 h 5973007"/>
              <a:gd name="connsiteX42171" fmla="*/ 4708253 w 6884782"/>
              <a:gd name="connsiteY42171" fmla="*/ 1924471 h 5973007"/>
              <a:gd name="connsiteX42172" fmla="*/ 4700997 w 6884782"/>
              <a:gd name="connsiteY42172" fmla="*/ 1909817 h 5973007"/>
              <a:gd name="connsiteX42173" fmla="*/ 4705479 w 6884782"/>
              <a:gd name="connsiteY42173" fmla="*/ 1910955 h 5973007"/>
              <a:gd name="connsiteX42174" fmla="*/ 4708680 w 6884782"/>
              <a:gd name="connsiteY42174" fmla="*/ 1912663 h 5973007"/>
              <a:gd name="connsiteX42175" fmla="*/ 4709107 w 6884782"/>
              <a:gd name="connsiteY42175" fmla="*/ 1907968 h 5973007"/>
              <a:gd name="connsiteX42176" fmla="*/ 4713802 w 6884782"/>
              <a:gd name="connsiteY42176" fmla="*/ 1913090 h 5973007"/>
              <a:gd name="connsiteX42177" fmla="*/ 4714655 w 6884782"/>
              <a:gd name="connsiteY42177" fmla="*/ 1913943 h 5973007"/>
              <a:gd name="connsiteX42178" fmla="*/ 4717643 w 6884782"/>
              <a:gd name="connsiteY42178" fmla="*/ 1912663 h 5973007"/>
              <a:gd name="connsiteX42179" fmla="*/ 4722766 w 6884782"/>
              <a:gd name="connsiteY42179" fmla="*/ 1913800 h 5973007"/>
              <a:gd name="connsiteX42180" fmla="*/ 4719778 w 6884782"/>
              <a:gd name="connsiteY42180" fmla="*/ 1904981 h 5973007"/>
              <a:gd name="connsiteX42181" fmla="*/ 4721485 w 6884782"/>
              <a:gd name="connsiteY42181" fmla="*/ 1885204 h 5973007"/>
              <a:gd name="connsiteX42182" fmla="*/ 4726394 w 6884782"/>
              <a:gd name="connsiteY42182" fmla="*/ 1883497 h 5973007"/>
              <a:gd name="connsiteX42183" fmla="*/ 1626389 w 6884782"/>
              <a:gd name="connsiteY42183" fmla="*/ 1883251 h 5973007"/>
              <a:gd name="connsiteX42184" fmla="*/ 1628970 w 6884782"/>
              <a:gd name="connsiteY42184" fmla="*/ 1888363 h 5973007"/>
              <a:gd name="connsiteX42185" fmla="*/ 1627215 w 6884782"/>
              <a:gd name="connsiteY42185" fmla="*/ 1890686 h 5973007"/>
              <a:gd name="connsiteX42186" fmla="*/ 1622775 w 6884782"/>
              <a:gd name="connsiteY42186" fmla="*/ 1891461 h 5973007"/>
              <a:gd name="connsiteX42187" fmla="*/ 1621742 w 6884782"/>
              <a:gd name="connsiteY42187" fmla="*/ 1890067 h 5973007"/>
              <a:gd name="connsiteX42188" fmla="*/ 1623704 w 6884782"/>
              <a:gd name="connsiteY42188" fmla="*/ 1884026 h 5973007"/>
              <a:gd name="connsiteX42189" fmla="*/ 1626389 w 6884782"/>
              <a:gd name="connsiteY42189" fmla="*/ 1883251 h 5973007"/>
              <a:gd name="connsiteX42190" fmla="*/ 1395095 w 6884782"/>
              <a:gd name="connsiteY42190" fmla="*/ 1883251 h 5973007"/>
              <a:gd name="connsiteX42191" fmla="*/ 1403149 w 6884782"/>
              <a:gd name="connsiteY42191" fmla="*/ 1886194 h 5973007"/>
              <a:gd name="connsiteX42192" fmla="*/ 1404182 w 6884782"/>
              <a:gd name="connsiteY42192" fmla="*/ 1891151 h 5973007"/>
              <a:gd name="connsiteX42193" fmla="*/ 1404904 w 6884782"/>
              <a:gd name="connsiteY42193" fmla="*/ 1891306 h 5973007"/>
              <a:gd name="connsiteX42194" fmla="*/ 1410067 w 6884782"/>
              <a:gd name="connsiteY42194" fmla="*/ 1897347 h 5973007"/>
              <a:gd name="connsiteX42195" fmla="*/ 1396747 w 6884782"/>
              <a:gd name="connsiteY42195" fmla="*/ 1902149 h 5973007"/>
              <a:gd name="connsiteX42196" fmla="*/ 1393649 w 6884782"/>
              <a:gd name="connsiteY42196" fmla="*/ 1903388 h 5973007"/>
              <a:gd name="connsiteX42197" fmla="*/ 1396747 w 6884782"/>
              <a:gd name="connsiteY42197" fmla="*/ 1904782 h 5973007"/>
              <a:gd name="connsiteX42198" fmla="*/ 1386112 w 6884782"/>
              <a:gd name="connsiteY42198" fmla="*/ 1910048 h 5973007"/>
              <a:gd name="connsiteX42199" fmla="*/ 1386938 w 6884782"/>
              <a:gd name="connsiteY42199" fmla="*/ 1906796 h 5973007"/>
              <a:gd name="connsiteX42200" fmla="*/ 1388177 w 6884782"/>
              <a:gd name="connsiteY42200" fmla="*/ 1904472 h 5973007"/>
              <a:gd name="connsiteX42201" fmla="*/ 1384769 w 6884782"/>
              <a:gd name="connsiteY42201" fmla="*/ 1904162 h 5973007"/>
              <a:gd name="connsiteX42202" fmla="*/ 1388487 w 6884782"/>
              <a:gd name="connsiteY42202" fmla="*/ 1900755 h 5973007"/>
              <a:gd name="connsiteX42203" fmla="*/ 1389106 w 6884782"/>
              <a:gd name="connsiteY42203" fmla="*/ 1900136 h 5973007"/>
              <a:gd name="connsiteX42204" fmla="*/ 1388177 w 6884782"/>
              <a:gd name="connsiteY42204" fmla="*/ 1897967 h 5973007"/>
              <a:gd name="connsiteX42205" fmla="*/ 1389003 w 6884782"/>
              <a:gd name="connsiteY42205" fmla="*/ 1894249 h 5973007"/>
              <a:gd name="connsiteX42206" fmla="*/ 1382601 w 6884782"/>
              <a:gd name="connsiteY42206" fmla="*/ 1896417 h 5973007"/>
              <a:gd name="connsiteX42207" fmla="*/ 1368248 w 6884782"/>
              <a:gd name="connsiteY42207" fmla="*/ 1895178 h 5973007"/>
              <a:gd name="connsiteX42208" fmla="*/ 1367009 w 6884782"/>
              <a:gd name="connsiteY42208" fmla="*/ 1891616 h 5973007"/>
              <a:gd name="connsiteX42209" fmla="*/ 1372689 w 6884782"/>
              <a:gd name="connsiteY42209" fmla="*/ 1884955 h 5973007"/>
              <a:gd name="connsiteX42210" fmla="*/ 1391481 w 6884782"/>
              <a:gd name="connsiteY42210" fmla="*/ 1887743 h 5973007"/>
              <a:gd name="connsiteX42211" fmla="*/ 1391584 w 6884782"/>
              <a:gd name="connsiteY42211" fmla="*/ 1887898 h 5973007"/>
              <a:gd name="connsiteX42212" fmla="*/ 5634281 w 6884782"/>
              <a:gd name="connsiteY42212" fmla="*/ 1882786 h 5973007"/>
              <a:gd name="connsiteX42213" fmla="*/ 5645379 w 6884782"/>
              <a:gd name="connsiteY42213" fmla="*/ 1887481 h 5973007"/>
              <a:gd name="connsiteX42214" fmla="*/ 5651142 w 6884782"/>
              <a:gd name="connsiteY42214" fmla="*/ 1894594 h 5973007"/>
              <a:gd name="connsiteX42215" fmla="*/ 5653276 w 6884782"/>
              <a:gd name="connsiteY42215" fmla="*/ 1900997 h 5973007"/>
              <a:gd name="connsiteX42216" fmla="*/ 5655196 w 6884782"/>
              <a:gd name="connsiteY42216" fmla="*/ 1902277 h 5973007"/>
              <a:gd name="connsiteX42217" fmla="*/ 5654129 w 6884782"/>
              <a:gd name="connsiteY42217" fmla="*/ 1903130 h 5973007"/>
              <a:gd name="connsiteX42218" fmla="*/ 5656050 w 6884782"/>
              <a:gd name="connsiteY42218" fmla="*/ 1908679 h 5973007"/>
              <a:gd name="connsiteX42219" fmla="*/ 5662026 w 6884782"/>
              <a:gd name="connsiteY42219" fmla="*/ 1925040 h 5973007"/>
              <a:gd name="connsiteX42220" fmla="*/ 5660105 w 6884782"/>
              <a:gd name="connsiteY42220" fmla="*/ 1924897 h 5973007"/>
              <a:gd name="connsiteX42221" fmla="*/ 5661172 w 6884782"/>
              <a:gd name="connsiteY42221" fmla="*/ 1926178 h 5973007"/>
              <a:gd name="connsiteX42222" fmla="*/ 5663947 w 6884782"/>
              <a:gd name="connsiteY42222" fmla="*/ 1932723 h 5973007"/>
              <a:gd name="connsiteX42223" fmla="*/ 5662666 w 6884782"/>
              <a:gd name="connsiteY42223" fmla="*/ 1936421 h 5973007"/>
              <a:gd name="connsiteX42224" fmla="*/ 5644952 w 6884782"/>
              <a:gd name="connsiteY42224" fmla="*/ 1937560 h 5973007"/>
              <a:gd name="connsiteX42225" fmla="*/ 5643885 w 6884782"/>
              <a:gd name="connsiteY42225" fmla="*/ 1936564 h 5973007"/>
              <a:gd name="connsiteX42226" fmla="*/ 5638550 w 6884782"/>
              <a:gd name="connsiteY42226" fmla="*/ 1949795 h 5973007"/>
              <a:gd name="connsiteX42227" fmla="*/ 5637269 w 6884782"/>
              <a:gd name="connsiteY42227" fmla="*/ 1953636 h 5973007"/>
              <a:gd name="connsiteX42228" fmla="*/ 5638123 w 6884782"/>
              <a:gd name="connsiteY42228" fmla="*/ 1954916 h 5973007"/>
              <a:gd name="connsiteX42229" fmla="*/ 5640257 w 6884782"/>
              <a:gd name="connsiteY42229" fmla="*/ 1959184 h 5973007"/>
              <a:gd name="connsiteX42230" fmla="*/ 5635989 w 6884782"/>
              <a:gd name="connsiteY42230" fmla="*/ 1960749 h 5973007"/>
              <a:gd name="connsiteX42231" fmla="*/ 5635135 w 6884782"/>
              <a:gd name="connsiteY42231" fmla="*/ 1960607 h 5973007"/>
              <a:gd name="connsiteX42232" fmla="*/ 5634921 w 6884782"/>
              <a:gd name="connsiteY42232" fmla="*/ 1961034 h 5973007"/>
              <a:gd name="connsiteX42233" fmla="*/ 5634708 w 6884782"/>
              <a:gd name="connsiteY42233" fmla="*/ 1960607 h 5973007"/>
              <a:gd name="connsiteX42234" fmla="*/ 5633001 w 6884782"/>
              <a:gd name="connsiteY42234" fmla="*/ 1960607 h 5973007"/>
              <a:gd name="connsiteX42235" fmla="*/ 5629586 w 6884782"/>
              <a:gd name="connsiteY42235" fmla="*/ 1958615 h 5973007"/>
              <a:gd name="connsiteX42236" fmla="*/ 5628306 w 6884782"/>
              <a:gd name="connsiteY42236" fmla="*/ 1956197 h 5973007"/>
              <a:gd name="connsiteX42237" fmla="*/ 5626598 w 6884782"/>
              <a:gd name="connsiteY42237" fmla="*/ 1953067 h 5973007"/>
              <a:gd name="connsiteX42238" fmla="*/ 5626598 w 6884782"/>
              <a:gd name="connsiteY42238" fmla="*/ 1952498 h 5973007"/>
              <a:gd name="connsiteX42239" fmla="*/ 5625104 w 6884782"/>
              <a:gd name="connsiteY42239" fmla="*/ 1951360 h 5973007"/>
              <a:gd name="connsiteX42240" fmla="*/ 5613366 w 6884782"/>
              <a:gd name="connsiteY42240" fmla="*/ 1946096 h 5973007"/>
              <a:gd name="connsiteX42241" fmla="*/ 5612299 w 6884782"/>
              <a:gd name="connsiteY42241" fmla="*/ 1948230 h 5973007"/>
              <a:gd name="connsiteX42242" fmla="*/ 5607391 w 6884782"/>
              <a:gd name="connsiteY42242" fmla="*/ 1952356 h 5973007"/>
              <a:gd name="connsiteX42243" fmla="*/ 5602482 w 6884782"/>
              <a:gd name="connsiteY42243" fmla="*/ 1942539 h 5973007"/>
              <a:gd name="connsiteX42244" fmla="*/ 5603762 w 6884782"/>
              <a:gd name="connsiteY42244" fmla="*/ 1940262 h 5973007"/>
              <a:gd name="connsiteX42245" fmla="*/ 5601841 w 6884782"/>
              <a:gd name="connsiteY42245" fmla="*/ 1938555 h 5973007"/>
              <a:gd name="connsiteX42246" fmla="*/ 5598853 w 6884782"/>
              <a:gd name="connsiteY42246" fmla="*/ 1933433 h 5973007"/>
              <a:gd name="connsiteX42247" fmla="*/ 5596506 w 6884782"/>
              <a:gd name="connsiteY42247" fmla="*/ 1922621 h 5973007"/>
              <a:gd name="connsiteX42248" fmla="*/ 5597787 w 6884782"/>
              <a:gd name="connsiteY42248" fmla="*/ 1917215 h 5973007"/>
              <a:gd name="connsiteX42249" fmla="*/ 5597360 w 6884782"/>
              <a:gd name="connsiteY42249" fmla="*/ 1916931 h 5973007"/>
              <a:gd name="connsiteX42250" fmla="*/ 5598213 w 6884782"/>
              <a:gd name="connsiteY42250" fmla="*/ 1908395 h 5973007"/>
              <a:gd name="connsiteX42251" fmla="*/ 5600988 w 6884782"/>
              <a:gd name="connsiteY42251" fmla="*/ 1910101 h 5973007"/>
              <a:gd name="connsiteX42252" fmla="*/ 5603976 w 6884782"/>
              <a:gd name="connsiteY42252" fmla="*/ 1905976 h 5973007"/>
              <a:gd name="connsiteX42253" fmla="*/ 5608031 w 6884782"/>
              <a:gd name="connsiteY42253" fmla="*/ 1903416 h 5973007"/>
              <a:gd name="connsiteX42254" fmla="*/ 5609098 w 6884782"/>
              <a:gd name="connsiteY42254" fmla="*/ 1900143 h 5973007"/>
              <a:gd name="connsiteX42255" fmla="*/ 5605896 w 6884782"/>
              <a:gd name="connsiteY42255" fmla="*/ 1900854 h 5973007"/>
              <a:gd name="connsiteX42256" fmla="*/ 5601841 w 6884782"/>
              <a:gd name="connsiteY42256" fmla="*/ 1898720 h 5973007"/>
              <a:gd name="connsiteX42257" fmla="*/ 5609524 w 6884782"/>
              <a:gd name="connsiteY42257" fmla="*/ 1889473 h 5973007"/>
              <a:gd name="connsiteX42258" fmla="*/ 5612939 w 6884782"/>
              <a:gd name="connsiteY42258" fmla="*/ 1893172 h 5973007"/>
              <a:gd name="connsiteX42259" fmla="*/ 5612086 w 6884782"/>
              <a:gd name="connsiteY42259" fmla="*/ 1894879 h 5973007"/>
              <a:gd name="connsiteX42260" fmla="*/ 5615927 w 6884782"/>
              <a:gd name="connsiteY42260" fmla="*/ 1889757 h 5973007"/>
              <a:gd name="connsiteX42261" fmla="*/ 5634281 w 6884782"/>
              <a:gd name="connsiteY42261" fmla="*/ 1882786 h 5973007"/>
              <a:gd name="connsiteX42262" fmla="*/ 741690 w 6884782"/>
              <a:gd name="connsiteY42262" fmla="*/ 1882477 h 5973007"/>
              <a:gd name="connsiteX42263" fmla="*/ 746439 w 6884782"/>
              <a:gd name="connsiteY42263" fmla="*/ 1883251 h 5973007"/>
              <a:gd name="connsiteX42264" fmla="*/ 747369 w 6884782"/>
              <a:gd name="connsiteY42264" fmla="*/ 1885110 h 5973007"/>
              <a:gd name="connsiteX42265" fmla="*/ 746956 w 6884782"/>
              <a:gd name="connsiteY42265" fmla="*/ 1885730 h 5973007"/>
              <a:gd name="connsiteX42266" fmla="*/ 745200 w 6884782"/>
              <a:gd name="connsiteY42266" fmla="*/ 1888518 h 5973007"/>
              <a:gd name="connsiteX42267" fmla="*/ 740657 w 6884782"/>
              <a:gd name="connsiteY42267" fmla="*/ 1887434 h 5973007"/>
              <a:gd name="connsiteX42268" fmla="*/ 740451 w 6884782"/>
              <a:gd name="connsiteY42268" fmla="*/ 1884181 h 5973007"/>
              <a:gd name="connsiteX42269" fmla="*/ 741690 w 6884782"/>
              <a:gd name="connsiteY42269" fmla="*/ 1882477 h 5973007"/>
              <a:gd name="connsiteX42270" fmla="*/ 876452 w 6884782"/>
              <a:gd name="connsiteY42270" fmla="*/ 1881819 h 5973007"/>
              <a:gd name="connsiteX42271" fmla="*/ 874787 w 6884782"/>
              <a:gd name="connsiteY42271" fmla="*/ 1888053 h 5973007"/>
              <a:gd name="connsiteX42272" fmla="*/ 869830 w 6884782"/>
              <a:gd name="connsiteY42272" fmla="*/ 1882322 h 5973007"/>
              <a:gd name="connsiteX42273" fmla="*/ 876452 w 6884782"/>
              <a:gd name="connsiteY42273" fmla="*/ 1881819 h 5973007"/>
              <a:gd name="connsiteX42274" fmla="*/ 5585835 w 6884782"/>
              <a:gd name="connsiteY42274" fmla="*/ 1881221 h 5973007"/>
              <a:gd name="connsiteX42275" fmla="*/ 5596506 w 6884782"/>
              <a:gd name="connsiteY42275" fmla="*/ 1887623 h 5973007"/>
              <a:gd name="connsiteX42276" fmla="*/ 5579432 w 6884782"/>
              <a:gd name="connsiteY42276" fmla="*/ 1890469 h 5973007"/>
              <a:gd name="connsiteX42277" fmla="*/ 5585835 w 6884782"/>
              <a:gd name="connsiteY42277" fmla="*/ 1881221 h 5973007"/>
              <a:gd name="connsiteX42278" fmla="*/ 5523516 w 6884782"/>
              <a:gd name="connsiteY42278" fmla="*/ 1880937 h 5973007"/>
              <a:gd name="connsiteX42279" fmla="*/ 5525011 w 6884782"/>
              <a:gd name="connsiteY42279" fmla="*/ 1880937 h 5973007"/>
              <a:gd name="connsiteX42280" fmla="*/ 5523943 w 6884782"/>
              <a:gd name="connsiteY42280" fmla="*/ 1883497 h 5973007"/>
              <a:gd name="connsiteX42281" fmla="*/ 5522876 w 6884782"/>
              <a:gd name="connsiteY42281" fmla="*/ 1882075 h 5973007"/>
              <a:gd name="connsiteX42282" fmla="*/ 5523516 w 6884782"/>
              <a:gd name="connsiteY42282" fmla="*/ 1880937 h 5973007"/>
              <a:gd name="connsiteX42283" fmla="*/ 1413165 w 6884782"/>
              <a:gd name="connsiteY42283" fmla="*/ 1880153 h 5973007"/>
              <a:gd name="connsiteX42284" fmla="*/ 1415436 w 6884782"/>
              <a:gd name="connsiteY42284" fmla="*/ 1886814 h 5973007"/>
              <a:gd name="connsiteX42285" fmla="*/ 1409344 w 6884782"/>
              <a:gd name="connsiteY42285" fmla="*/ 1885265 h 5973007"/>
              <a:gd name="connsiteX42286" fmla="*/ 1413165 w 6884782"/>
              <a:gd name="connsiteY42286" fmla="*/ 1880153 h 5973007"/>
              <a:gd name="connsiteX42287" fmla="*/ 811181 w 6884782"/>
              <a:gd name="connsiteY42287" fmla="*/ 1880153 h 5973007"/>
              <a:gd name="connsiteX42288" fmla="*/ 812730 w 6884782"/>
              <a:gd name="connsiteY42288" fmla="*/ 1881857 h 5973007"/>
              <a:gd name="connsiteX42289" fmla="*/ 806225 w 6884782"/>
              <a:gd name="connsiteY42289" fmla="*/ 1890222 h 5973007"/>
              <a:gd name="connsiteX42290" fmla="*/ 803850 w 6884782"/>
              <a:gd name="connsiteY42290" fmla="*/ 1890686 h 5973007"/>
              <a:gd name="connsiteX42291" fmla="*/ 802198 w 6884782"/>
              <a:gd name="connsiteY42291" fmla="*/ 1891461 h 5973007"/>
              <a:gd name="connsiteX42292" fmla="*/ 796416 w 6884782"/>
              <a:gd name="connsiteY42292" fmla="*/ 1890686 h 5973007"/>
              <a:gd name="connsiteX42293" fmla="*/ 809323 w 6884782"/>
              <a:gd name="connsiteY42293" fmla="*/ 1880463 h 5973007"/>
              <a:gd name="connsiteX42294" fmla="*/ 811181 w 6884782"/>
              <a:gd name="connsiteY42294" fmla="*/ 1880153 h 5973007"/>
              <a:gd name="connsiteX42295" fmla="*/ 1958339 w 6884782"/>
              <a:gd name="connsiteY42295" fmla="*/ 1880058 h 5973007"/>
              <a:gd name="connsiteX42296" fmla="*/ 1957015 w 6884782"/>
              <a:gd name="connsiteY42296" fmla="*/ 1881547 h 5973007"/>
              <a:gd name="connsiteX42297" fmla="*/ 1955054 w 6884782"/>
              <a:gd name="connsiteY42297" fmla="*/ 1887589 h 5973007"/>
              <a:gd name="connsiteX42298" fmla="*/ 1958339 w 6884782"/>
              <a:gd name="connsiteY42298" fmla="*/ 1889343 h 5973007"/>
              <a:gd name="connsiteX42299" fmla="*/ 5295371 w 6884782"/>
              <a:gd name="connsiteY42299" fmla="*/ 1879372 h 5973007"/>
              <a:gd name="connsiteX42300" fmla="*/ 5313512 w 6884782"/>
              <a:gd name="connsiteY42300" fmla="*/ 1893456 h 5973007"/>
              <a:gd name="connsiteX42301" fmla="*/ 5316286 w 6884782"/>
              <a:gd name="connsiteY42301" fmla="*/ 1902704 h 5973007"/>
              <a:gd name="connsiteX42302" fmla="*/ 5316286 w 6884782"/>
              <a:gd name="connsiteY42302" fmla="*/ 1902846 h 5973007"/>
              <a:gd name="connsiteX42303" fmla="*/ 5322048 w 6884782"/>
              <a:gd name="connsiteY42303" fmla="*/ 1900997 h 5973007"/>
              <a:gd name="connsiteX42304" fmla="*/ 5331012 w 6884782"/>
              <a:gd name="connsiteY42304" fmla="*/ 1912805 h 5973007"/>
              <a:gd name="connsiteX42305" fmla="*/ 5330371 w 6884782"/>
              <a:gd name="connsiteY42305" fmla="*/ 1914085 h 5973007"/>
              <a:gd name="connsiteX42306" fmla="*/ 5330585 w 6884782"/>
              <a:gd name="connsiteY42306" fmla="*/ 1914085 h 5973007"/>
              <a:gd name="connsiteX42307" fmla="*/ 5333786 w 6884782"/>
              <a:gd name="connsiteY42307" fmla="*/ 1921910 h 5973007"/>
              <a:gd name="connsiteX42308" fmla="*/ 5336347 w 6884782"/>
              <a:gd name="connsiteY42308" fmla="*/ 1921626 h 5973007"/>
              <a:gd name="connsiteX42309" fmla="*/ 5340402 w 6884782"/>
              <a:gd name="connsiteY42309" fmla="*/ 1924471 h 5973007"/>
              <a:gd name="connsiteX42310" fmla="*/ 5338909 w 6884782"/>
              <a:gd name="connsiteY42310" fmla="*/ 1926889 h 5973007"/>
              <a:gd name="connsiteX42311" fmla="*/ 5333786 w 6884782"/>
              <a:gd name="connsiteY42311" fmla="*/ 1924613 h 5973007"/>
              <a:gd name="connsiteX42312" fmla="*/ 5332719 w 6884782"/>
              <a:gd name="connsiteY42312" fmla="*/ 1925183 h 5973007"/>
              <a:gd name="connsiteX42313" fmla="*/ 5331652 w 6884782"/>
              <a:gd name="connsiteY42313" fmla="*/ 1928596 h 5973007"/>
              <a:gd name="connsiteX42314" fmla="*/ 5321408 w 6884782"/>
              <a:gd name="connsiteY42314" fmla="*/ 1934999 h 5973007"/>
              <a:gd name="connsiteX42315" fmla="*/ 5312658 w 6884782"/>
              <a:gd name="connsiteY42315" fmla="*/ 1925609 h 5973007"/>
              <a:gd name="connsiteX42316" fmla="*/ 5312658 w 6884782"/>
              <a:gd name="connsiteY42316" fmla="*/ 1922906 h 5973007"/>
              <a:gd name="connsiteX42317" fmla="*/ 5306896 w 6884782"/>
              <a:gd name="connsiteY42317" fmla="*/ 1931868 h 5973007"/>
              <a:gd name="connsiteX42318" fmla="*/ 5303267 w 6884782"/>
              <a:gd name="connsiteY42318" fmla="*/ 1932438 h 5973007"/>
              <a:gd name="connsiteX42319" fmla="*/ 5284913 w 6884782"/>
              <a:gd name="connsiteY42319" fmla="*/ 1904838 h 5973007"/>
              <a:gd name="connsiteX42320" fmla="*/ 5284913 w 6884782"/>
              <a:gd name="connsiteY42320" fmla="*/ 1904553 h 5973007"/>
              <a:gd name="connsiteX42321" fmla="*/ 5282992 w 6884782"/>
              <a:gd name="connsiteY42321" fmla="*/ 1904981 h 5973007"/>
              <a:gd name="connsiteX42322" fmla="*/ 5281925 w 6884782"/>
              <a:gd name="connsiteY42322" fmla="*/ 1902988 h 5973007"/>
              <a:gd name="connsiteX42323" fmla="*/ 5279791 w 6884782"/>
              <a:gd name="connsiteY42323" fmla="*/ 1902277 h 5973007"/>
              <a:gd name="connsiteX42324" fmla="*/ 5277871 w 6884782"/>
              <a:gd name="connsiteY42324" fmla="*/ 1905264 h 5973007"/>
              <a:gd name="connsiteX42325" fmla="*/ 5274456 w 6884782"/>
              <a:gd name="connsiteY42325" fmla="*/ 1905976 h 5973007"/>
              <a:gd name="connsiteX42326" fmla="*/ 5275096 w 6884782"/>
              <a:gd name="connsiteY42326" fmla="*/ 1907683 h 5973007"/>
              <a:gd name="connsiteX42327" fmla="*/ 5297291 w 6884782"/>
              <a:gd name="connsiteY42327" fmla="*/ 1945811 h 5973007"/>
              <a:gd name="connsiteX42328" fmla="*/ 5294303 w 6884782"/>
              <a:gd name="connsiteY42328" fmla="*/ 1945669 h 5973007"/>
              <a:gd name="connsiteX42329" fmla="*/ 5294517 w 6884782"/>
              <a:gd name="connsiteY42329" fmla="*/ 1947091 h 5973007"/>
              <a:gd name="connsiteX42330" fmla="*/ 5284273 w 6884782"/>
              <a:gd name="connsiteY42330" fmla="*/ 1951075 h 5973007"/>
              <a:gd name="connsiteX42331" fmla="*/ 5280218 w 6884782"/>
              <a:gd name="connsiteY42331" fmla="*/ 1947945 h 5973007"/>
              <a:gd name="connsiteX42332" fmla="*/ 5273388 w 6884782"/>
              <a:gd name="connsiteY42332" fmla="*/ 1951502 h 5973007"/>
              <a:gd name="connsiteX42333" fmla="*/ 5266346 w 6884782"/>
              <a:gd name="connsiteY42333" fmla="*/ 1954490 h 5973007"/>
              <a:gd name="connsiteX42334" fmla="*/ 5255675 w 6884782"/>
              <a:gd name="connsiteY42334" fmla="*/ 1953493 h 5973007"/>
              <a:gd name="connsiteX42335" fmla="*/ 5263358 w 6884782"/>
              <a:gd name="connsiteY42335" fmla="*/ 1902704 h 5973007"/>
              <a:gd name="connsiteX42336" fmla="*/ 5271895 w 6884782"/>
              <a:gd name="connsiteY42336" fmla="*/ 1906403 h 5973007"/>
              <a:gd name="connsiteX42337" fmla="*/ 5267840 w 6884782"/>
              <a:gd name="connsiteY42337" fmla="*/ 1901708 h 5973007"/>
              <a:gd name="connsiteX42338" fmla="*/ 5266986 w 6884782"/>
              <a:gd name="connsiteY42338" fmla="*/ 1900143 h 5973007"/>
              <a:gd name="connsiteX42339" fmla="*/ 5264638 w 6884782"/>
              <a:gd name="connsiteY42339" fmla="*/ 1898009 h 5973007"/>
              <a:gd name="connsiteX42340" fmla="*/ 5264852 w 6884782"/>
              <a:gd name="connsiteY42340" fmla="*/ 1888334 h 5973007"/>
              <a:gd name="connsiteX42341" fmla="*/ 5264425 w 6884782"/>
              <a:gd name="connsiteY42341" fmla="*/ 1889615 h 5973007"/>
              <a:gd name="connsiteX42342" fmla="*/ 5259730 w 6884782"/>
              <a:gd name="connsiteY42342" fmla="*/ 1885631 h 5973007"/>
              <a:gd name="connsiteX42343" fmla="*/ 5264852 w 6884782"/>
              <a:gd name="connsiteY42343" fmla="*/ 1887908 h 5973007"/>
              <a:gd name="connsiteX42344" fmla="*/ 5264852 w 6884782"/>
              <a:gd name="connsiteY42344" fmla="*/ 1886058 h 5973007"/>
              <a:gd name="connsiteX42345" fmla="*/ 5268053 w 6884782"/>
              <a:gd name="connsiteY42345" fmla="*/ 1883924 h 5973007"/>
              <a:gd name="connsiteX42346" fmla="*/ 5279791 w 6884782"/>
              <a:gd name="connsiteY42346" fmla="*/ 1892318 h 5973007"/>
              <a:gd name="connsiteX42347" fmla="*/ 5280645 w 6884782"/>
              <a:gd name="connsiteY42347" fmla="*/ 1897440 h 5973007"/>
              <a:gd name="connsiteX42348" fmla="*/ 5282992 w 6884782"/>
              <a:gd name="connsiteY42348" fmla="*/ 1900285 h 5973007"/>
              <a:gd name="connsiteX42349" fmla="*/ 5285340 w 6884782"/>
              <a:gd name="connsiteY42349" fmla="*/ 1901565 h 5973007"/>
              <a:gd name="connsiteX42350" fmla="*/ 5286407 w 6884782"/>
              <a:gd name="connsiteY42350" fmla="*/ 1892745 h 5973007"/>
              <a:gd name="connsiteX42351" fmla="*/ 5289395 w 6884782"/>
              <a:gd name="connsiteY42351" fmla="*/ 1888477 h 5973007"/>
              <a:gd name="connsiteX42352" fmla="*/ 5288115 w 6884782"/>
              <a:gd name="connsiteY42352" fmla="*/ 1886058 h 5973007"/>
              <a:gd name="connsiteX42353" fmla="*/ 5290675 w 6884782"/>
              <a:gd name="connsiteY42353" fmla="*/ 1883497 h 5973007"/>
              <a:gd name="connsiteX42354" fmla="*/ 5293023 w 6884782"/>
              <a:gd name="connsiteY42354" fmla="*/ 1882928 h 5973007"/>
              <a:gd name="connsiteX42355" fmla="*/ 1667485 w 6884782"/>
              <a:gd name="connsiteY42355" fmla="*/ 1878914 h 5973007"/>
              <a:gd name="connsiteX42356" fmla="*/ 1675023 w 6884782"/>
              <a:gd name="connsiteY42356" fmla="*/ 1883251 h 5973007"/>
              <a:gd name="connsiteX42357" fmla="*/ 1672854 w 6884782"/>
              <a:gd name="connsiteY42357" fmla="*/ 1888827 h 5973007"/>
              <a:gd name="connsiteX42358" fmla="*/ 1664697 w 6884782"/>
              <a:gd name="connsiteY42358" fmla="*/ 1880773 h 5973007"/>
              <a:gd name="connsiteX42359" fmla="*/ 1667485 w 6884782"/>
              <a:gd name="connsiteY42359" fmla="*/ 1878914 h 5973007"/>
              <a:gd name="connsiteX42360" fmla="*/ 1249710 w 6884782"/>
              <a:gd name="connsiteY42360" fmla="*/ 1878856 h 5973007"/>
              <a:gd name="connsiteX42361" fmla="*/ 1254357 w 6884782"/>
              <a:gd name="connsiteY42361" fmla="*/ 1879379 h 5973007"/>
              <a:gd name="connsiteX42362" fmla="*/ 1256112 w 6884782"/>
              <a:gd name="connsiteY42362" fmla="*/ 1881083 h 5973007"/>
              <a:gd name="connsiteX42363" fmla="*/ 1256422 w 6884782"/>
              <a:gd name="connsiteY42363" fmla="*/ 1879070 h 5973007"/>
              <a:gd name="connsiteX42364" fmla="*/ 1272324 w 6884782"/>
              <a:gd name="connsiteY42364" fmla="*/ 1884646 h 5973007"/>
              <a:gd name="connsiteX42365" fmla="*/ 1273562 w 6884782"/>
              <a:gd name="connsiteY42365" fmla="*/ 1886039 h 5973007"/>
              <a:gd name="connsiteX42366" fmla="*/ 1272736 w 6884782"/>
              <a:gd name="connsiteY42366" fmla="*/ 1888053 h 5973007"/>
              <a:gd name="connsiteX42367" fmla="*/ 1270052 w 6884782"/>
              <a:gd name="connsiteY42367" fmla="*/ 1888982 h 5973007"/>
              <a:gd name="connsiteX42368" fmla="*/ 1270362 w 6884782"/>
              <a:gd name="connsiteY42368" fmla="*/ 1889603 h 5973007"/>
              <a:gd name="connsiteX42369" fmla="*/ 1270568 w 6884782"/>
              <a:gd name="connsiteY42369" fmla="*/ 1889603 h 5973007"/>
              <a:gd name="connsiteX42370" fmla="*/ 1277899 w 6884782"/>
              <a:gd name="connsiteY42370" fmla="*/ 1892700 h 5973007"/>
              <a:gd name="connsiteX42371" fmla="*/ 1279655 w 6884782"/>
              <a:gd name="connsiteY42371" fmla="*/ 1893474 h 5973007"/>
              <a:gd name="connsiteX42372" fmla="*/ 1279551 w 6884782"/>
              <a:gd name="connsiteY42372" fmla="*/ 1895953 h 5973007"/>
              <a:gd name="connsiteX42373" fmla="*/ 1273149 w 6884782"/>
              <a:gd name="connsiteY42373" fmla="*/ 1895798 h 5973007"/>
              <a:gd name="connsiteX42374" fmla="*/ 1272839 w 6884782"/>
              <a:gd name="connsiteY42374" fmla="*/ 1900910 h 5973007"/>
              <a:gd name="connsiteX42375" fmla="*/ 1257351 w 6884782"/>
              <a:gd name="connsiteY42375" fmla="*/ 1895643 h 5973007"/>
              <a:gd name="connsiteX42376" fmla="*/ 1256938 w 6884782"/>
              <a:gd name="connsiteY42376" fmla="*/ 1895333 h 5973007"/>
              <a:gd name="connsiteX42377" fmla="*/ 1256835 w 6884782"/>
              <a:gd name="connsiteY42377" fmla="*/ 1895643 h 5973007"/>
              <a:gd name="connsiteX42378" fmla="*/ 1258694 w 6884782"/>
              <a:gd name="connsiteY42378" fmla="*/ 1899515 h 5973007"/>
              <a:gd name="connsiteX42379" fmla="*/ 1245890 w 6884782"/>
              <a:gd name="connsiteY42379" fmla="*/ 1901529 h 5973007"/>
              <a:gd name="connsiteX42380" fmla="*/ 1244031 w 6884782"/>
              <a:gd name="connsiteY42380" fmla="*/ 1901064 h 5973007"/>
              <a:gd name="connsiteX42381" fmla="*/ 1244031 w 6884782"/>
              <a:gd name="connsiteY42381" fmla="*/ 1901839 h 5973007"/>
              <a:gd name="connsiteX42382" fmla="*/ 1243205 w 6884782"/>
              <a:gd name="connsiteY42382" fmla="*/ 1901064 h 5973007"/>
              <a:gd name="connsiteX42383" fmla="*/ 1242999 w 6884782"/>
              <a:gd name="connsiteY42383" fmla="*/ 1901064 h 5973007"/>
              <a:gd name="connsiteX42384" fmla="*/ 1242069 w 6884782"/>
              <a:gd name="connsiteY42384" fmla="*/ 1901064 h 5973007"/>
              <a:gd name="connsiteX42385" fmla="*/ 1239281 w 6884782"/>
              <a:gd name="connsiteY42385" fmla="*/ 1899051 h 5973007"/>
              <a:gd name="connsiteX42386" fmla="*/ 1238868 w 6884782"/>
              <a:gd name="connsiteY42386" fmla="*/ 1898122 h 5973007"/>
              <a:gd name="connsiteX42387" fmla="*/ 1239695 w 6884782"/>
              <a:gd name="connsiteY42387" fmla="*/ 1896882 h 5973007"/>
              <a:gd name="connsiteX42388" fmla="*/ 1244134 w 6884782"/>
              <a:gd name="connsiteY42388" fmla="*/ 1894249 h 5973007"/>
              <a:gd name="connsiteX42389" fmla="*/ 1245683 w 6884782"/>
              <a:gd name="connsiteY42389" fmla="*/ 1878914 h 5973007"/>
              <a:gd name="connsiteX42390" fmla="*/ 1249710 w 6884782"/>
              <a:gd name="connsiteY42390" fmla="*/ 1878856 h 5973007"/>
              <a:gd name="connsiteX42391" fmla="*/ 6095908 w 6884782"/>
              <a:gd name="connsiteY42391" fmla="*/ 1878802 h 5973007"/>
              <a:gd name="connsiteX42392" fmla="*/ 6104445 w 6884782"/>
              <a:gd name="connsiteY42392" fmla="*/ 1880937 h 5973007"/>
              <a:gd name="connsiteX42393" fmla="*/ 6095908 w 6884782"/>
              <a:gd name="connsiteY42393" fmla="*/ 1878802 h 5973007"/>
              <a:gd name="connsiteX42394" fmla="*/ 5022193 w 6884782"/>
              <a:gd name="connsiteY42394" fmla="*/ 1876953 h 5973007"/>
              <a:gd name="connsiteX42395" fmla="*/ 5030944 w 6884782"/>
              <a:gd name="connsiteY42395" fmla="*/ 1880510 h 5973007"/>
              <a:gd name="connsiteX42396" fmla="*/ 5027316 w 6884782"/>
              <a:gd name="connsiteY42396" fmla="*/ 1891323 h 5973007"/>
              <a:gd name="connsiteX42397" fmla="*/ 5022193 w 6884782"/>
              <a:gd name="connsiteY42397" fmla="*/ 1876953 h 5973007"/>
              <a:gd name="connsiteX42398" fmla="*/ 1290290 w 6884782"/>
              <a:gd name="connsiteY42398" fmla="*/ 1876901 h 5973007"/>
              <a:gd name="connsiteX42399" fmla="*/ 1286573 w 6884782"/>
              <a:gd name="connsiteY42399" fmla="*/ 1900755 h 5973007"/>
              <a:gd name="connsiteX42400" fmla="*/ 1286160 w 6884782"/>
              <a:gd name="connsiteY42400" fmla="*/ 1889137 h 5973007"/>
              <a:gd name="connsiteX42401" fmla="*/ 1290290 w 6884782"/>
              <a:gd name="connsiteY42401" fmla="*/ 1876901 h 5973007"/>
              <a:gd name="connsiteX42402" fmla="*/ 3836647 w 6884782"/>
              <a:gd name="connsiteY42402" fmla="*/ 1875103 h 5973007"/>
              <a:gd name="connsiteX42403" fmla="*/ 3838781 w 6884782"/>
              <a:gd name="connsiteY42403" fmla="*/ 1877949 h 5973007"/>
              <a:gd name="connsiteX42404" fmla="*/ 3838354 w 6884782"/>
              <a:gd name="connsiteY42404" fmla="*/ 1880937 h 5973007"/>
              <a:gd name="connsiteX42405" fmla="*/ 3835366 w 6884782"/>
              <a:gd name="connsiteY42405" fmla="*/ 1885062 h 5973007"/>
              <a:gd name="connsiteX42406" fmla="*/ 3829817 w 6884782"/>
              <a:gd name="connsiteY42406" fmla="*/ 1886343 h 5973007"/>
              <a:gd name="connsiteX42407" fmla="*/ 3830885 w 6884782"/>
              <a:gd name="connsiteY42407" fmla="*/ 1886058 h 5973007"/>
              <a:gd name="connsiteX42408" fmla="*/ 3830244 w 6884782"/>
              <a:gd name="connsiteY42408" fmla="*/ 1883782 h 5973007"/>
              <a:gd name="connsiteX42409" fmla="*/ 3829177 w 6884782"/>
              <a:gd name="connsiteY42409" fmla="*/ 1884209 h 5973007"/>
              <a:gd name="connsiteX42410" fmla="*/ 3829817 w 6884782"/>
              <a:gd name="connsiteY42410" fmla="*/ 1881506 h 5973007"/>
              <a:gd name="connsiteX42411" fmla="*/ 3836647 w 6884782"/>
              <a:gd name="connsiteY42411" fmla="*/ 1875103 h 5973007"/>
              <a:gd name="connsiteX42412" fmla="*/ 3709876 w 6884782"/>
              <a:gd name="connsiteY42412" fmla="*/ 1875103 h 5973007"/>
              <a:gd name="connsiteX42413" fmla="*/ 3715638 w 6884782"/>
              <a:gd name="connsiteY42413" fmla="*/ 1876953 h 5973007"/>
              <a:gd name="connsiteX42414" fmla="*/ 3709876 w 6884782"/>
              <a:gd name="connsiteY42414" fmla="*/ 1903842 h 5973007"/>
              <a:gd name="connsiteX42415" fmla="*/ 3709876 w 6884782"/>
              <a:gd name="connsiteY42415" fmla="*/ 1875103 h 5973007"/>
              <a:gd name="connsiteX42416" fmla="*/ 1070870 w 6884782"/>
              <a:gd name="connsiteY42416" fmla="*/ 1874887 h 5973007"/>
              <a:gd name="connsiteX42417" fmla="*/ 1096065 w 6884782"/>
              <a:gd name="connsiteY42417" fmla="*/ 1887279 h 5973007"/>
              <a:gd name="connsiteX42418" fmla="*/ 1092038 w 6884782"/>
              <a:gd name="connsiteY42418" fmla="*/ 1894094 h 5973007"/>
              <a:gd name="connsiteX42419" fmla="*/ 1070870 w 6884782"/>
              <a:gd name="connsiteY42419" fmla="*/ 1874887 h 5973007"/>
              <a:gd name="connsiteX42420" fmla="*/ 5524157 w 6884782"/>
              <a:gd name="connsiteY42420" fmla="*/ 1874819 h 5973007"/>
              <a:gd name="connsiteX42421" fmla="*/ 5525224 w 6884782"/>
              <a:gd name="connsiteY42421" fmla="*/ 1874961 h 5973007"/>
              <a:gd name="connsiteX42422" fmla="*/ 5523943 w 6884782"/>
              <a:gd name="connsiteY42422" fmla="*/ 1877380 h 5973007"/>
              <a:gd name="connsiteX42423" fmla="*/ 5524157 w 6884782"/>
              <a:gd name="connsiteY42423" fmla="*/ 1874819 h 5973007"/>
              <a:gd name="connsiteX42424" fmla="*/ 1051035 w 6884782"/>
              <a:gd name="connsiteY42424" fmla="*/ 1874720 h 5973007"/>
              <a:gd name="connsiteX42425" fmla="*/ 1050426 w 6884782"/>
              <a:gd name="connsiteY42425" fmla="*/ 1890686 h 5973007"/>
              <a:gd name="connsiteX42426" fmla="*/ 1039377 w 6884782"/>
              <a:gd name="connsiteY42426" fmla="*/ 1879534 h 5973007"/>
              <a:gd name="connsiteX42427" fmla="*/ 1044643 w 6884782"/>
              <a:gd name="connsiteY42427" fmla="*/ 1875042 h 5973007"/>
              <a:gd name="connsiteX42428" fmla="*/ 1051035 w 6884782"/>
              <a:gd name="connsiteY42428" fmla="*/ 1874720 h 5973007"/>
              <a:gd name="connsiteX42429" fmla="*/ 3859910 w 6884782"/>
              <a:gd name="connsiteY42429" fmla="*/ 1874534 h 5973007"/>
              <a:gd name="connsiteX42430" fmla="*/ 3860336 w 6884782"/>
              <a:gd name="connsiteY42430" fmla="*/ 1883782 h 5973007"/>
              <a:gd name="connsiteX42431" fmla="*/ 3859269 w 6884782"/>
              <a:gd name="connsiteY42431" fmla="*/ 1884921 h 5973007"/>
              <a:gd name="connsiteX42432" fmla="*/ 3859910 w 6884782"/>
              <a:gd name="connsiteY42432" fmla="*/ 1874534 h 5973007"/>
              <a:gd name="connsiteX42433" fmla="*/ 1620194 w 6884782"/>
              <a:gd name="connsiteY42433" fmla="*/ 1874267 h 5973007"/>
              <a:gd name="connsiteX42434" fmla="*/ 1625873 w 6884782"/>
              <a:gd name="connsiteY42434" fmla="*/ 1877210 h 5973007"/>
              <a:gd name="connsiteX42435" fmla="*/ 1617303 w 6884782"/>
              <a:gd name="connsiteY42435" fmla="*/ 1884491 h 5973007"/>
              <a:gd name="connsiteX42436" fmla="*/ 1613998 w 6884782"/>
              <a:gd name="connsiteY42436" fmla="*/ 1876436 h 5973007"/>
              <a:gd name="connsiteX42437" fmla="*/ 1620194 w 6884782"/>
              <a:gd name="connsiteY42437" fmla="*/ 1874267 h 5973007"/>
              <a:gd name="connsiteX42438" fmla="*/ 3732071 w 6884782"/>
              <a:gd name="connsiteY42438" fmla="*/ 1874250 h 5973007"/>
              <a:gd name="connsiteX42439" fmla="*/ 3735699 w 6884782"/>
              <a:gd name="connsiteY42439" fmla="*/ 1874392 h 5973007"/>
              <a:gd name="connsiteX42440" fmla="*/ 3735272 w 6884782"/>
              <a:gd name="connsiteY42440" fmla="*/ 1881079 h 5973007"/>
              <a:gd name="connsiteX42441" fmla="*/ 3732071 w 6884782"/>
              <a:gd name="connsiteY42441" fmla="*/ 1874250 h 5973007"/>
              <a:gd name="connsiteX42442" fmla="*/ 5167532 w 6884782"/>
              <a:gd name="connsiteY42442" fmla="*/ 1874108 h 5973007"/>
              <a:gd name="connsiteX42443" fmla="*/ 5176069 w 6884782"/>
              <a:gd name="connsiteY42443" fmla="*/ 1897724 h 5973007"/>
              <a:gd name="connsiteX42444" fmla="*/ 5175642 w 6884782"/>
              <a:gd name="connsiteY42444" fmla="*/ 1900570 h 5973007"/>
              <a:gd name="connsiteX42445" fmla="*/ 5177990 w 6884782"/>
              <a:gd name="connsiteY42445" fmla="*/ 1900285 h 5973007"/>
              <a:gd name="connsiteX42446" fmla="*/ 5181191 w 6884782"/>
              <a:gd name="connsiteY42446" fmla="*/ 1902277 h 5973007"/>
              <a:gd name="connsiteX42447" fmla="*/ 5182258 w 6884782"/>
              <a:gd name="connsiteY42447" fmla="*/ 1905834 h 5973007"/>
              <a:gd name="connsiteX42448" fmla="*/ 5176069 w 6884782"/>
              <a:gd name="connsiteY42448" fmla="*/ 1909533 h 5973007"/>
              <a:gd name="connsiteX42449" fmla="*/ 5175429 w 6884782"/>
              <a:gd name="connsiteY42449" fmla="*/ 1901565 h 5973007"/>
              <a:gd name="connsiteX42450" fmla="*/ 5152593 w 6884782"/>
              <a:gd name="connsiteY42450" fmla="*/ 1925324 h 5973007"/>
              <a:gd name="connsiteX42451" fmla="*/ 5149392 w 6884782"/>
              <a:gd name="connsiteY42451" fmla="*/ 1923332 h 5973007"/>
              <a:gd name="connsiteX42452" fmla="*/ 5144910 w 6884782"/>
              <a:gd name="connsiteY42452" fmla="*/ 1912236 h 5973007"/>
              <a:gd name="connsiteX42453" fmla="*/ 5144269 w 6884782"/>
              <a:gd name="connsiteY42453" fmla="*/ 1913374 h 5973007"/>
              <a:gd name="connsiteX42454" fmla="*/ 5142562 w 6884782"/>
              <a:gd name="connsiteY42454" fmla="*/ 1914370 h 5973007"/>
              <a:gd name="connsiteX42455" fmla="*/ 5140428 w 6884782"/>
              <a:gd name="connsiteY42455" fmla="*/ 1915508 h 5973007"/>
              <a:gd name="connsiteX42456" fmla="*/ 5138934 w 6884782"/>
              <a:gd name="connsiteY42456" fmla="*/ 1914512 h 5973007"/>
              <a:gd name="connsiteX42457" fmla="*/ 5138294 w 6884782"/>
              <a:gd name="connsiteY42457" fmla="*/ 1915365 h 5973007"/>
              <a:gd name="connsiteX42458" fmla="*/ 5135306 w 6884782"/>
              <a:gd name="connsiteY42458" fmla="*/ 1917357 h 5973007"/>
              <a:gd name="connsiteX42459" fmla="*/ 5133385 w 6884782"/>
              <a:gd name="connsiteY42459" fmla="*/ 1915081 h 5973007"/>
              <a:gd name="connsiteX42460" fmla="*/ 5132318 w 6884782"/>
              <a:gd name="connsiteY42460" fmla="*/ 1913800 h 5973007"/>
              <a:gd name="connsiteX42461" fmla="*/ 5130184 w 6884782"/>
              <a:gd name="connsiteY42461" fmla="*/ 1915650 h 5973007"/>
              <a:gd name="connsiteX42462" fmla="*/ 5127196 w 6884782"/>
              <a:gd name="connsiteY42462" fmla="*/ 1918780 h 5973007"/>
              <a:gd name="connsiteX42463" fmla="*/ 5121434 w 6884782"/>
              <a:gd name="connsiteY42463" fmla="*/ 1904126 h 5973007"/>
              <a:gd name="connsiteX42464" fmla="*/ 5125915 w 6884782"/>
              <a:gd name="connsiteY42464" fmla="*/ 1903557 h 5973007"/>
              <a:gd name="connsiteX42465" fmla="*/ 5130611 w 6884782"/>
              <a:gd name="connsiteY42465" fmla="*/ 1906403 h 5973007"/>
              <a:gd name="connsiteX42466" fmla="*/ 5132318 w 6884782"/>
              <a:gd name="connsiteY42466" fmla="*/ 1911382 h 5973007"/>
              <a:gd name="connsiteX42467" fmla="*/ 5132958 w 6884782"/>
              <a:gd name="connsiteY42467" fmla="*/ 1910244 h 5973007"/>
              <a:gd name="connsiteX42468" fmla="*/ 5135093 w 6884782"/>
              <a:gd name="connsiteY42468" fmla="*/ 1909817 h 5973007"/>
              <a:gd name="connsiteX42469" fmla="*/ 5134666 w 6884782"/>
              <a:gd name="connsiteY42469" fmla="*/ 1906972 h 5973007"/>
              <a:gd name="connsiteX42470" fmla="*/ 5137226 w 6884782"/>
              <a:gd name="connsiteY42470" fmla="*/ 1901850 h 5973007"/>
              <a:gd name="connsiteX42471" fmla="*/ 5141069 w 6884782"/>
              <a:gd name="connsiteY42471" fmla="*/ 1900000 h 5973007"/>
              <a:gd name="connsiteX42472" fmla="*/ 5138294 w 6884782"/>
              <a:gd name="connsiteY42472" fmla="*/ 1900143 h 5973007"/>
              <a:gd name="connsiteX42473" fmla="*/ 5141282 w 6884782"/>
              <a:gd name="connsiteY42473" fmla="*/ 1894452 h 5973007"/>
              <a:gd name="connsiteX42474" fmla="*/ 5144910 w 6884782"/>
              <a:gd name="connsiteY42474" fmla="*/ 1895164 h 5973007"/>
              <a:gd name="connsiteX42475" fmla="*/ 5145337 w 6884782"/>
              <a:gd name="connsiteY42475" fmla="*/ 1892033 h 5973007"/>
              <a:gd name="connsiteX42476" fmla="*/ 5167532 w 6884782"/>
              <a:gd name="connsiteY42476" fmla="*/ 1874108 h 5973007"/>
              <a:gd name="connsiteX42477" fmla="*/ 3602525 w 6884782"/>
              <a:gd name="connsiteY42477" fmla="*/ 1874108 h 5973007"/>
              <a:gd name="connsiteX42478" fmla="*/ 3624721 w 6884782"/>
              <a:gd name="connsiteY42478" fmla="*/ 1886058 h 5973007"/>
              <a:gd name="connsiteX42479" fmla="*/ 3602525 w 6884782"/>
              <a:gd name="connsiteY42479" fmla="*/ 1874108 h 5973007"/>
              <a:gd name="connsiteX42480" fmla="*/ 1531393 w 6884782"/>
              <a:gd name="connsiteY42480" fmla="*/ 1873958 h 5973007"/>
              <a:gd name="connsiteX42481" fmla="*/ 1529844 w 6884782"/>
              <a:gd name="connsiteY42481" fmla="*/ 1875661 h 5973007"/>
              <a:gd name="connsiteX42482" fmla="*/ 1531909 w 6884782"/>
              <a:gd name="connsiteY42482" fmla="*/ 1875661 h 5973007"/>
              <a:gd name="connsiteX42483" fmla="*/ 1543681 w 6884782"/>
              <a:gd name="connsiteY42483" fmla="*/ 1890222 h 5973007"/>
              <a:gd name="connsiteX42484" fmla="*/ 1515079 w 6884782"/>
              <a:gd name="connsiteY42484" fmla="*/ 1892545 h 5973007"/>
              <a:gd name="connsiteX42485" fmla="*/ 1513943 w 6884782"/>
              <a:gd name="connsiteY42485" fmla="*/ 1888827 h 5973007"/>
              <a:gd name="connsiteX42486" fmla="*/ 1525301 w 6884782"/>
              <a:gd name="connsiteY42486" fmla="*/ 1875971 h 5973007"/>
              <a:gd name="connsiteX42487" fmla="*/ 1527160 w 6884782"/>
              <a:gd name="connsiteY42487" fmla="*/ 1875816 h 5973007"/>
              <a:gd name="connsiteX42488" fmla="*/ 1528399 w 6884782"/>
              <a:gd name="connsiteY42488" fmla="*/ 1874577 h 5973007"/>
              <a:gd name="connsiteX42489" fmla="*/ 1531393 w 6884782"/>
              <a:gd name="connsiteY42489" fmla="*/ 1873958 h 5973007"/>
              <a:gd name="connsiteX42490" fmla="*/ 3819360 w 6884782"/>
              <a:gd name="connsiteY42490" fmla="*/ 1873538 h 5973007"/>
              <a:gd name="connsiteX42491" fmla="*/ 3824055 w 6884782"/>
              <a:gd name="connsiteY42491" fmla="*/ 1877380 h 5973007"/>
              <a:gd name="connsiteX42492" fmla="*/ 3824268 w 6884782"/>
              <a:gd name="connsiteY42492" fmla="*/ 1882359 h 5973007"/>
              <a:gd name="connsiteX42493" fmla="*/ 3819360 w 6884782"/>
              <a:gd name="connsiteY42493" fmla="*/ 1873538 h 5973007"/>
              <a:gd name="connsiteX42494" fmla="*/ 887488 w 6884782"/>
              <a:gd name="connsiteY42494" fmla="*/ 1873183 h 5973007"/>
              <a:gd name="connsiteX42495" fmla="*/ 897400 w 6884782"/>
              <a:gd name="connsiteY42495" fmla="*/ 1882787 h 5973007"/>
              <a:gd name="connsiteX42496" fmla="*/ 886662 w 6884782"/>
              <a:gd name="connsiteY42496" fmla="*/ 1877365 h 5973007"/>
              <a:gd name="connsiteX42497" fmla="*/ 887488 w 6884782"/>
              <a:gd name="connsiteY42497" fmla="*/ 1873183 h 5973007"/>
              <a:gd name="connsiteX42498" fmla="*/ 1337478 w 6884782"/>
              <a:gd name="connsiteY42498" fmla="*/ 1872718 h 5973007"/>
              <a:gd name="connsiteX42499" fmla="*/ 1337478 w 6884782"/>
              <a:gd name="connsiteY42499" fmla="*/ 1874422 h 5973007"/>
              <a:gd name="connsiteX42500" fmla="*/ 1337788 w 6884782"/>
              <a:gd name="connsiteY42500" fmla="*/ 1873648 h 5973007"/>
              <a:gd name="connsiteX42501" fmla="*/ 1337581 w 6884782"/>
              <a:gd name="connsiteY42501" fmla="*/ 1873493 h 5973007"/>
              <a:gd name="connsiteX42502" fmla="*/ 1338098 w 6884782"/>
              <a:gd name="connsiteY42502" fmla="*/ 1872873 h 5973007"/>
              <a:gd name="connsiteX42503" fmla="*/ 1438463 w 6884782"/>
              <a:gd name="connsiteY42503" fmla="*/ 1872409 h 5973007"/>
              <a:gd name="connsiteX42504" fmla="*/ 1441147 w 6884782"/>
              <a:gd name="connsiteY42504" fmla="*/ 1872718 h 5973007"/>
              <a:gd name="connsiteX42505" fmla="*/ 1440631 w 6884782"/>
              <a:gd name="connsiteY42505" fmla="*/ 1875352 h 5973007"/>
              <a:gd name="connsiteX42506" fmla="*/ 1438566 w 6884782"/>
              <a:gd name="connsiteY42506" fmla="*/ 1877210 h 5973007"/>
              <a:gd name="connsiteX42507" fmla="*/ 1437224 w 6884782"/>
              <a:gd name="connsiteY42507" fmla="*/ 1877056 h 5973007"/>
              <a:gd name="connsiteX42508" fmla="*/ 1435571 w 6884782"/>
              <a:gd name="connsiteY42508" fmla="*/ 1875816 h 5973007"/>
              <a:gd name="connsiteX42509" fmla="*/ 1435468 w 6884782"/>
              <a:gd name="connsiteY42509" fmla="*/ 1874887 h 5973007"/>
              <a:gd name="connsiteX42510" fmla="*/ 1438463 w 6884782"/>
              <a:gd name="connsiteY42510" fmla="*/ 1872409 h 5973007"/>
              <a:gd name="connsiteX42511" fmla="*/ 5676752 w 6884782"/>
              <a:gd name="connsiteY42511" fmla="*/ 1872116 h 5973007"/>
              <a:gd name="connsiteX42512" fmla="*/ 5679740 w 6884782"/>
              <a:gd name="connsiteY42512" fmla="*/ 1872827 h 5973007"/>
              <a:gd name="connsiteX42513" fmla="*/ 5682088 w 6884782"/>
              <a:gd name="connsiteY42513" fmla="*/ 1879087 h 5973007"/>
              <a:gd name="connsiteX42514" fmla="*/ 5680380 w 6884782"/>
              <a:gd name="connsiteY42514" fmla="*/ 1881221 h 5973007"/>
              <a:gd name="connsiteX42515" fmla="*/ 5679100 w 6884782"/>
              <a:gd name="connsiteY42515" fmla="*/ 1881079 h 5973007"/>
              <a:gd name="connsiteX42516" fmla="*/ 5674618 w 6884782"/>
              <a:gd name="connsiteY42516" fmla="*/ 1880226 h 5973007"/>
              <a:gd name="connsiteX42517" fmla="*/ 5672697 w 6884782"/>
              <a:gd name="connsiteY42517" fmla="*/ 1874108 h 5973007"/>
              <a:gd name="connsiteX42518" fmla="*/ 5676752 w 6884782"/>
              <a:gd name="connsiteY42518" fmla="*/ 1872116 h 5973007"/>
              <a:gd name="connsiteX42519" fmla="*/ 3478528 w 6884782"/>
              <a:gd name="connsiteY42519" fmla="*/ 1871831 h 5973007"/>
              <a:gd name="connsiteX42520" fmla="*/ 3483437 w 6884782"/>
              <a:gd name="connsiteY42520" fmla="*/ 1873397 h 5973007"/>
              <a:gd name="connsiteX42521" fmla="*/ 3472980 w 6884782"/>
              <a:gd name="connsiteY42521" fmla="*/ 1886201 h 5973007"/>
              <a:gd name="connsiteX42522" fmla="*/ 3468071 w 6884782"/>
              <a:gd name="connsiteY42522" fmla="*/ 1880937 h 5973007"/>
              <a:gd name="connsiteX42523" fmla="*/ 3478528 w 6884782"/>
              <a:gd name="connsiteY42523" fmla="*/ 1871831 h 5973007"/>
              <a:gd name="connsiteX42524" fmla="*/ 1258590 w 6884782"/>
              <a:gd name="connsiteY42524" fmla="*/ 1871169 h 5973007"/>
              <a:gd name="connsiteX42525" fmla="*/ 1260656 w 6884782"/>
              <a:gd name="connsiteY42525" fmla="*/ 1878449 h 5973007"/>
              <a:gd name="connsiteX42526" fmla="*/ 1258590 w 6884782"/>
              <a:gd name="connsiteY42526" fmla="*/ 1875506 h 5973007"/>
              <a:gd name="connsiteX42527" fmla="*/ 1258590 w 6884782"/>
              <a:gd name="connsiteY42527" fmla="*/ 1871169 h 5973007"/>
              <a:gd name="connsiteX42528" fmla="*/ 6026547 w 6884782"/>
              <a:gd name="connsiteY42528" fmla="*/ 1870836 h 5973007"/>
              <a:gd name="connsiteX42529" fmla="*/ 6033376 w 6884782"/>
              <a:gd name="connsiteY42529" fmla="*/ 1875246 h 5973007"/>
              <a:gd name="connsiteX42530" fmla="*/ 6015236 w 6884782"/>
              <a:gd name="connsiteY42530" fmla="*/ 1879514 h 5973007"/>
              <a:gd name="connsiteX42531" fmla="*/ 6015022 w 6884782"/>
              <a:gd name="connsiteY42531" fmla="*/ 1871831 h 5973007"/>
              <a:gd name="connsiteX42532" fmla="*/ 6026547 w 6884782"/>
              <a:gd name="connsiteY42532" fmla="*/ 1870836 h 5973007"/>
              <a:gd name="connsiteX42533" fmla="*/ 3876556 w 6884782"/>
              <a:gd name="connsiteY42533" fmla="*/ 1870551 h 5973007"/>
              <a:gd name="connsiteX42534" fmla="*/ 3882532 w 6884782"/>
              <a:gd name="connsiteY42534" fmla="*/ 1872827 h 5973007"/>
              <a:gd name="connsiteX42535" fmla="*/ 3876343 w 6884782"/>
              <a:gd name="connsiteY42535" fmla="*/ 1881648 h 5973007"/>
              <a:gd name="connsiteX42536" fmla="*/ 3864391 w 6884782"/>
              <a:gd name="connsiteY42536" fmla="*/ 1879087 h 5973007"/>
              <a:gd name="connsiteX42537" fmla="*/ 3876556 w 6884782"/>
              <a:gd name="connsiteY42537" fmla="*/ 1870551 h 5973007"/>
              <a:gd name="connsiteX42538" fmla="*/ 1481624 w 6884782"/>
              <a:gd name="connsiteY42538" fmla="*/ 1870395 h 5973007"/>
              <a:gd name="connsiteX42539" fmla="*/ 1486787 w 6884782"/>
              <a:gd name="connsiteY42539" fmla="*/ 1871325 h 5973007"/>
              <a:gd name="connsiteX42540" fmla="*/ 1482243 w 6884782"/>
              <a:gd name="connsiteY42540" fmla="*/ 1873648 h 5973007"/>
              <a:gd name="connsiteX42541" fmla="*/ 1481624 w 6884782"/>
              <a:gd name="connsiteY42541" fmla="*/ 1870395 h 5973007"/>
              <a:gd name="connsiteX42542" fmla="*/ 4868531 w 6884782"/>
              <a:gd name="connsiteY42542" fmla="*/ 1870266 h 5973007"/>
              <a:gd name="connsiteX42543" fmla="*/ 4860421 w 6884782"/>
              <a:gd name="connsiteY42543" fmla="*/ 1879941 h 5973007"/>
              <a:gd name="connsiteX42544" fmla="*/ 4868531 w 6884782"/>
              <a:gd name="connsiteY42544" fmla="*/ 1870266 h 5973007"/>
              <a:gd name="connsiteX42545" fmla="*/ 4635050 w 6884782"/>
              <a:gd name="connsiteY42545" fmla="*/ 1869697 h 5973007"/>
              <a:gd name="connsiteX42546" fmla="*/ 4633770 w 6884782"/>
              <a:gd name="connsiteY42546" fmla="*/ 1869982 h 5973007"/>
              <a:gd name="connsiteX42547" fmla="*/ 4633556 w 6884782"/>
              <a:gd name="connsiteY42547" fmla="*/ 1869982 h 5973007"/>
              <a:gd name="connsiteX42548" fmla="*/ 4636117 w 6884782"/>
              <a:gd name="connsiteY42548" fmla="*/ 1872685 h 5973007"/>
              <a:gd name="connsiteX42549" fmla="*/ 4638678 w 6884782"/>
              <a:gd name="connsiteY42549" fmla="*/ 1874108 h 5973007"/>
              <a:gd name="connsiteX42550" fmla="*/ 4639745 w 6884782"/>
              <a:gd name="connsiteY42550" fmla="*/ 1872116 h 5973007"/>
              <a:gd name="connsiteX42551" fmla="*/ 4640386 w 6884782"/>
              <a:gd name="connsiteY42551" fmla="*/ 1871546 h 5973007"/>
              <a:gd name="connsiteX42552" fmla="*/ 4638678 w 6884782"/>
              <a:gd name="connsiteY42552" fmla="*/ 1871831 h 5973007"/>
              <a:gd name="connsiteX42553" fmla="*/ 4635477 w 6884782"/>
              <a:gd name="connsiteY42553" fmla="*/ 1870978 h 5973007"/>
              <a:gd name="connsiteX42554" fmla="*/ 1462005 w 6884782"/>
              <a:gd name="connsiteY42554" fmla="*/ 1869466 h 5973007"/>
              <a:gd name="connsiteX42555" fmla="*/ 1465412 w 6884782"/>
              <a:gd name="connsiteY42555" fmla="*/ 1870550 h 5973007"/>
              <a:gd name="connsiteX42556" fmla="*/ 1464999 w 6884782"/>
              <a:gd name="connsiteY42556" fmla="*/ 1873183 h 5973007"/>
              <a:gd name="connsiteX42557" fmla="*/ 1460766 w 6884782"/>
              <a:gd name="connsiteY42557" fmla="*/ 1872099 h 5973007"/>
              <a:gd name="connsiteX42558" fmla="*/ 1462005 w 6884782"/>
              <a:gd name="connsiteY42558" fmla="*/ 1869466 h 5973007"/>
              <a:gd name="connsiteX42559" fmla="*/ 3817226 w 6884782"/>
              <a:gd name="connsiteY42559" fmla="*/ 1869413 h 5973007"/>
              <a:gd name="connsiteX42560" fmla="*/ 3817866 w 6884782"/>
              <a:gd name="connsiteY42560" fmla="*/ 1869839 h 5973007"/>
              <a:gd name="connsiteX42561" fmla="*/ 3819146 w 6884782"/>
              <a:gd name="connsiteY42561" fmla="*/ 1873538 h 5973007"/>
              <a:gd name="connsiteX42562" fmla="*/ 3815731 w 6884782"/>
              <a:gd name="connsiteY42562" fmla="*/ 1870978 h 5973007"/>
              <a:gd name="connsiteX42563" fmla="*/ 3816799 w 6884782"/>
              <a:gd name="connsiteY42563" fmla="*/ 1869839 h 5973007"/>
              <a:gd name="connsiteX42564" fmla="*/ 3815518 w 6884782"/>
              <a:gd name="connsiteY42564" fmla="*/ 1869839 h 5973007"/>
              <a:gd name="connsiteX42565" fmla="*/ 3817226 w 6884782"/>
              <a:gd name="connsiteY42565" fmla="*/ 1869413 h 5973007"/>
              <a:gd name="connsiteX42566" fmla="*/ 3558774 w 6884782"/>
              <a:gd name="connsiteY42566" fmla="*/ 1869128 h 5973007"/>
              <a:gd name="connsiteX42567" fmla="*/ 3553652 w 6884782"/>
              <a:gd name="connsiteY42567" fmla="*/ 1875530 h 5973007"/>
              <a:gd name="connsiteX42568" fmla="*/ 3551944 w 6884782"/>
              <a:gd name="connsiteY42568" fmla="*/ 1872401 h 5973007"/>
              <a:gd name="connsiteX42569" fmla="*/ 3558774 w 6884782"/>
              <a:gd name="connsiteY42569" fmla="*/ 1869128 h 5973007"/>
              <a:gd name="connsiteX42570" fmla="*/ 5364946 w 6884782"/>
              <a:gd name="connsiteY42570" fmla="*/ 1868702 h 5973007"/>
              <a:gd name="connsiteX42571" fmla="*/ 5367080 w 6884782"/>
              <a:gd name="connsiteY42571" fmla="*/ 1870409 h 5973007"/>
              <a:gd name="connsiteX42572" fmla="*/ 5366867 w 6884782"/>
              <a:gd name="connsiteY42572" fmla="*/ 1871546 h 5973007"/>
              <a:gd name="connsiteX42573" fmla="*/ 5366439 w 6884782"/>
              <a:gd name="connsiteY42573" fmla="*/ 1876384 h 5973007"/>
              <a:gd name="connsiteX42574" fmla="*/ 5360464 w 6884782"/>
              <a:gd name="connsiteY42574" fmla="*/ 1878518 h 5973007"/>
              <a:gd name="connsiteX42575" fmla="*/ 5358970 w 6884782"/>
              <a:gd name="connsiteY42575" fmla="*/ 1871405 h 5973007"/>
              <a:gd name="connsiteX42576" fmla="*/ 5364946 w 6884782"/>
              <a:gd name="connsiteY42576" fmla="*/ 1868702 h 5973007"/>
              <a:gd name="connsiteX42577" fmla="*/ 5525651 w 6884782"/>
              <a:gd name="connsiteY42577" fmla="*/ 1868132 h 5973007"/>
              <a:gd name="connsiteX42578" fmla="*/ 5527785 w 6884782"/>
              <a:gd name="connsiteY42578" fmla="*/ 1868417 h 5973007"/>
              <a:gd name="connsiteX42579" fmla="*/ 5524157 w 6884782"/>
              <a:gd name="connsiteY42579" fmla="*/ 1873965 h 5973007"/>
              <a:gd name="connsiteX42580" fmla="*/ 5524370 w 6884782"/>
              <a:gd name="connsiteY42580" fmla="*/ 1869128 h 5973007"/>
              <a:gd name="connsiteX42581" fmla="*/ 5525651 w 6884782"/>
              <a:gd name="connsiteY42581" fmla="*/ 1868132 h 5973007"/>
              <a:gd name="connsiteX42582" fmla="*/ 955224 w 6884782"/>
              <a:gd name="connsiteY42582" fmla="*/ 1867297 h 5973007"/>
              <a:gd name="connsiteX42583" fmla="*/ 959767 w 6884782"/>
              <a:gd name="connsiteY42583" fmla="*/ 1868846 h 5973007"/>
              <a:gd name="connsiteX42584" fmla="*/ 956050 w 6884782"/>
              <a:gd name="connsiteY42584" fmla="*/ 1871634 h 5973007"/>
              <a:gd name="connsiteX42585" fmla="*/ 953985 w 6884782"/>
              <a:gd name="connsiteY42585" fmla="*/ 1869001 h 5973007"/>
              <a:gd name="connsiteX42586" fmla="*/ 955224 w 6884782"/>
              <a:gd name="connsiteY42586" fmla="*/ 1867297 h 5973007"/>
              <a:gd name="connsiteX42587" fmla="*/ 991905 w 6884782"/>
              <a:gd name="connsiteY42587" fmla="*/ 1867084 h 5973007"/>
              <a:gd name="connsiteX42588" fmla="*/ 1000863 w 6884782"/>
              <a:gd name="connsiteY42588" fmla="*/ 1869621 h 5973007"/>
              <a:gd name="connsiteX42589" fmla="*/ 1002515 w 6884782"/>
              <a:gd name="connsiteY42589" fmla="*/ 1871325 h 5973007"/>
              <a:gd name="connsiteX42590" fmla="*/ 1005819 w 6884782"/>
              <a:gd name="connsiteY42590" fmla="*/ 1872873 h 5973007"/>
              <a:gd name="connsiteX42591" fmla="*/ 1001069 w 6884782"/>
              <a:gd name="connsiteY42591" fmla="*/ 1883096 h 5973007"/>
              <a:gd name="connsiteX42592" fmla="*/ 986303 w 6884782"/>
              <a:gd name="connsiteY42592" fmla="*/ 1886349 h 5973007"/>
              <a:gd name="connsiteX42593" fmla="*/ 982793 w 6884782"/>
              <a:gd name="connsiteY42593" fmla="*/ 1877520 h 5973007"/>
              <a:gd name="connsiteX42594" fmla="*/ 985271 w 6884782"/>
              <a:gd name="connsiteY42594" fmla="*/ 1872099 h 5973007"/>
              <a:gd name="connsiteX42595" fmla="*/ 991905 w 6884782"/>
              <a:gd name="connsiteY42595" fmla="*/ 1867084 h 5973007"/>
              <a:gd name="connsiteX42596" fmla="*/ 3503498 w 6884782"/>
              <a:gd name="connsiteY42596" fmla="*/ 1866710 h 5973007"/>
              <a:gd name="connsiteX42597" fmla="*/ 3510755 w 6884782"/>
              <a:gd name="connsiteY42597" fmla="*/ 1869982 h 5973007"/>
              <a:gd name="connsiteX42598" fmla="*/ 3511608 w 6884782"/>
              <a:gd name="connsiteY42598" fmla="*/ 1876668 h 5973007"/>
              <a:gd name="connsiteX42599" fmla="*/ 3501151 w 6884782"/>
              <a:gd name="connsiteY42599" fmla="*/ 1882359 h 5973007"/>
              <a:gd name="connsiteX42600" fmla="*/ 3494961 w 6884782"/>
              <a:gd name="connsiteY42600" fmla="*/ 1872401 h 5973007"/>
              <a:gd name="connsiteX42601" fmla="*/ 3503498 w 6884782"/>
              <a:gd name="connsiteY42601" fmla="*/ 1866710 h 5973007"/>
              <a:gd name="connsiteX42602" fmla="*/ 926415 w 6884782"/>
              <a:gd name="connsiteY42602" fmla="*/ 1866678 h 5973007"/>
              <a:gd name="connsiteX42603" fmla="*/ 926105 w 6884782"/>
              <a:gd name="connsiteY42603" fmla="*/ 1877830 h 5973007"/>
              <a:gd name="connsiteX42604" fmla="*/ 921768 w 6884782"/>
              <a:gd name="connsiteY42604" fmla="*/ 1876901 h 5973007"/>
              <a:gd name="connsiteX42605" fmla="*/ 918051 w 6884782"/>
              <a:gd name="connsiteY42605" fmla="*/ 1870240 h 5973007"/>
              <a:gd name="connsiteX42606" fmla="*/ 922285 w 6884782"/>
              <a:gd name="connsiteY42606" fmla="*/ 1867917 h 5973007"/>
              <a:gd name="connsiteX42607" fmla="*/ 926415 w 6884782"/>
              <a:gd name="connsiteY42607" fmla="*/ 1866678 h 5973007"/>
              <a:gd name="connsiteX42608" fmla="*/ 1453744 w 6884782"/>
              <a:gd name="connsiteY42608" fmla="*/ 1866213 h 5973007"/>
              <a:gd name="connsiteX42609" fmla="*/ 1454054 w 6884782"/>
              <a:gd name="connsiteY42609" fmla="*/ 1868536 h 5973007"/>
              <a:gd name="connsiteX42610" fmla="*/ 1456120 w 6884782"/>
              <a:gd name="connsiteY42610" fmla="*/ 1869311 h 5973007"/>
              <a:gd name="connsiteX42611" fmla="*/ 1456016 w 6884782"/>
              <a:gd name="connsiteY42611" fmla="*/ 1870085 h 5973007"/>
              <a:gd name="connsiteX42612" fmla="*/ 1454467 w 6884782"/>
              <a:gd name="connsiteY42612" fmla="*/ 1871014 h 5973007"/>
              <a:gd name="connsiteX42613" fmla="*/ 1454570 w 6884782"/>
              <a:gd name="connsiteY42613" fmla="*/ 1871169 h 5973007"/>
              <a:gd name="connsiteX42614" fmla="*/ 1451679 w 6884782"/>
              <a:gd name="connsiteY42614" fmla="*/ 1874267 h 5973007"/>
              <a:gd name="connsiteX42615" fmla="*/ 1448788 w 6884782"/>
              <a:gd name="connsiteY42615" fmla="*/ 1870705 h 5973007"/>
              <a:gd name="connsiteX42616" fmla="*/ 1450440 w 6884782"/>
              <a:gd name="connsiteY42616" fmla="*/ 1867452 h 5973007"/>
              <a:gd name="connsiteX42617" fmla="*/ 1453744 w 6884782"/>
              <a:gd name="connsiteY42617" fmla="*/ 1866213 h 5973007"/>
              <a:gd name="connsiteX42618" fmla="*/ 5031797 w 6884782"/>
              <a:gd name="connsiteY42618" fmla="*/ 1865856 h 5973007"/>
              <a:gd name="connsiteX42619" fmla="*/ 5050578 w 6884782"/>
              <a:gd name="connsiteY42619" fmla="*/ 1876953 h 5973007"/>
              <a:gd name="connsiteX42620" fmla="*/ 5064877 w 6884782"/>
              <a:gd name="connsiteY42620" fmla="*/ 1876953 h 5973007"/>
              <a:gd name="connsiteX42621" fmla="*/ 5040547 w 6884782"/>
              <a:gd name="connsiteY42621" fmla="*/ 1900143 h 5973007"/>
              <a:gd name="connsiteX42622" fmla="*/ 5030517 w 6884782"/>
              <a:gd name="connsiteY42622" fmla="*/ 1902419 h 5973007"/>
              <a:gd name="connsiteX42623" fmla="*/ 5041828 w 6884782"/>
              <a:gd name="connsiteY42623" fmla="*/ 1883070 h 5973007"/>
              <a:gd name="connsiteX42624" fmla="*/ 5025608 w 6884782"/>
              <a:gd name="connsiteY42624" fmla="*/ 1866141 h 5973007"/>
              <a:gd name="connsiteX42625" fmla="*/ 5031797 w 6884782"/>
              <a:gd name="connsiteY42625" fmla="*/ 1865856 h 5973007"/>
              <a:gd name="connsiteX42626" fmla="*/ 3618958 w 6884782"/>
              <a:gd name="connsiteY42626" fmla="*/ 1865856 h 5973007"/>
              <a:gd name="connsiteX42627" fmla="*/ 3622160 w 6884782"/>
              <a:gd name="connsiteY42627" fmla="*/ 1866425 h 5973007"/>
              <a:gd name="connsiteX42628" fmla="*/ 3618105 w 6884782"/>
              <a:gd name="connsiteY42628" fmla="*/ 1868986 h 5973007"/>
              <a:gd name="connsiteX42629" fmla="*/ 3615330 w 6884782"/>
              <a:gd name="connsiteY42629" fmla="*/ 1866567 h 5973007"/>
              <a:gd name="connsiteX42630" fmla="*/ 3618958 w 6884782"/>
              <a:gd name="connsiteY42630" fmla="*/ 1865856 h 5973007"/>
              <a:gd name="connsiteX42631" fmla="*/ 5624678 w 6884782"/>
              <a:gd name="connsiteY42631" fmla="*/ 1865714 h 5973007"/>
              <a:gd name="connsiteX42632" fmla="*/ 5622330 w 6884782"/>
              <a:gd name="connsiteY42632" fmla="*/ 1874392 h 5973007"/>
              <a:gd name="connsiteX42633" fmla="*/ 5621476 w 6884782"/>
              <a:gd name="connsiteY42633" fmla="*/ 1872827 h 5973007"/>
              <a:gd name="connsiteX42634" fmla="*/ 5622330 w 6884782"/>
              <a:gd name="connsiteY42634" fmla="*/ 1870551 h 5973007"/>
              <a:gd name="connsiteX42635" fmla="*/ 5624678 w 6884782"/>
              <a:gd name="connsiteY42635" fmla="*/ 1865714 h 5973007"/>
              <a:gd name="connsiteX42636" fmla="*/ 3923508 w 6884782"/>
              <a:gd name="connsiteY42636" fmla="*/ 1865572 h 5973007"/>
              <a:gd name="connsiteX42637" fmla="*/ 3927564 w 6884782"/>
              <a:gd name="connsiteY42637" fmla="*/ 1867136 h 5973007"/>
              <a:gd name="connsiteX42638" fmla="*/ 3925643 w 6884782"/>
              <a:gd name="connsiteY42638" fmla="*/ 1872685 h 5973007"/>
              <a:gd name="connsiteX42639" fmla="*/ 3920094 w 6884782"/>
              <a:gd name="connsiteY42639" fmla="*/ 1868559 h 5973007"/>
              <a:gd name="connsiteX42640" fmla="*/ 3923508 w 6884782"/>
              <a:gd name="connsiteY42640" fmla="*/ 1865572 h 5973007"/>
              <a:gd name="connsiteX42641" fmla="*/ 3678716 w 6884782"/>
              <a:gd name="connsiteY42641" fmla="*/ 1865429 h 5973007"/>
              <a:gd name="connsiteX42642" fmla="*/ 3691095 w 6884782"/>
              <a:gd name="connsiteY42642" fmla="*/ 1873681 h 5973007"/>
              <a:gd name="connsiteX42643" fmla="*/ 3678716 w 6884782"/>
              <a:gd name="connsiteY42643" fmla="*/ 1865429 h 5973007"/>
              <a:gd name="connsiteX42644" fmla="*/ 5230918 w 6884782"/>
              <a:gd name="connsiteY42644" fmla="*/ 1864576 h 5973007"/>
              <a:gd name="connsiteX42645" fmla="*/ 5241589 w 6884782"/>
              <a:gd name="connsiteY42645" fmla="*/ 1866567 h 5973007"/>
              <a:gd name="connsiteX42646" fmla="*/ 5242656 w 6884782"/>
              <a:gd name="connsiteY42646" fmla="*/ 1869128 h 5973007"/>
              <a:gd name="connsiteX42647" fmla="*/ 5239668 w 6884782"/>
              <a:gd name="connsiteY42647" fmla="*/ 1870978 h 5973007"/>
              <a:gd name="connsiteX42648" fmla="*/ 5230918 w 6884782"/>
              <a:gd name="connsiteY42648" fmla="*/ 1864576 h 5973007"/>
              <a:gd name="connsiteX42649" fmla="*/ 1256112 w 6884782"/>
              <a:gd name="connsiteY42649" fmla="*/ 1864509 h 5973007"/>
              <a:gd name="connsiteX42650" fmla="*/ 1259726 w 6884782"/>
              <a:gd name="connsiteY42650" fmla="*/ 1864509 h 5973007"/>
              <a:gd name="connsiteX42651" fmla="*/ 1261481 w 6884782"/>
              <a:gd name="connsiteY42651" fmla="*/ 1866678 h 5973007"/>
              <a:gd name="connsiteX42652" fmla="*/ 1260656 w 6884782"/>
              <a:gd name="connsiteY42652" fmla="*/ 1866987 h 5973007"/>
              <a:gd name="connsiteX42653" fmla="*/ 1257661 w 6884782"/>
              <a:gd name="connsiteY42653" fmla="*/ 1868691 h 5973007"/>
              <a:gd name="connsiteX42654" fmla="*/ 1256112 w 6884782"/>
              <a:gd name="connsiteY42654" fmla="*/ 1864509 h 5973007"/>
              <a:gd name="connsiteX42655" fmla="*/ 3896831 w 6884782"/>
              <a:gd name="connsiteY42655" fmla="*/ 1864434 h 5973007"/>
              <a:gd name="connsiteX42656" fmla="*/ 3891496 w 6884782"/>
              <a:gd name="connsiteY42656" fmla="*/ 1872970 h 5973007"/>
              <a:gd name="connsiteX42657" fmla="*/ 3889362 w 6884782"/>
              <a:gd name="connsiteY42657" fmla="*/ 1873397 h 5973007"/>
              <a:gd name="connsiteX42658" fmla="*/ 3896831 w 6884782"/>
              <a:gd name="connsiteY42658" fmla="*/ 1864434 h 5973007"/>
              <a:gd name="connsiteX42659" fmla="*/ 1527676 w 6884782"/>
              <a:gd name="connsiteY42659" fmla="*/ 1864354 h 5973007"/>
              <a:gd name="connsiteX42660" fmla="*/ 1528915 w 6884782"/>
              <a:gd name="connsiteY42660" fmla="*/ 1867917 h 5973007"/>
              <a:gd name="connsiteX42661" fmla="*/ 1526230 w 6884782"/>
              <a:gd name="connsiteY42661" fmla="*/ 1868691 h 5973007"/>
              <a:gd name="connsiteX42662" fmla="*/ 1525611 w 6884782"/>
              <a:gd name="connsiteY42662" fmla="*/ 1867297 h 5973007"/>
              <a:gd name="connsiteX42663" fmla="*/ 1526024 w 6884782"/>
              <a:gd name="connsiteY42663" fmla="*/ 1865903 h 5973007"/>
              <a:gd name="connsiteX42664" fmla="*/ 1527676 w 6884782"/>
              <a:gd name="connsiteY42664" fmla="*/ 1864354 h 5973007"/>
              <a:gd name="connsiteX42665" fmla="*/ 3624081 w 6884782"/>
              <a:gd name="connsiteY42665" fmla="*/ 1864291 h 5973007"/>
              <a:gd name="connsiteX42666" fmla="*/ 3625361 w 6884782"/>
              <a:gd name="connsiteY42666" fmla="*/ 1864576 h 5973007"/>
              <a:gd name="connsiteX42667" fmla="*/ 3623013 w 6884782"/>
              <a:gd name="connsiteY42667" fmla="*/ 1865998 h 5973007"/>
              <a:gd name="connsiteX42668" fmla="*/ 3622587 w 6884782"/>
              <a:gd name="connsiteY42668" fmla="*/ 1865002 h 5973007"/>
              <a:gd name="connsiteX42669" fmla="*/ 3624081 w 6884782"/>
              <a:gd name="connsiteY42669" fmla="*/ 1864291 h 5973007"/>
              <a:gd name="connsiteX42670" fmla="*/ 853103 w 6884782"/>
              <a:gd name="connsiteY42670" fmla="*/ 1864199 h 5973007"/>
              <a:gd name="connsiteX42671" fmla="*/ 867559 w 6884782"/>
              <a:gd name="connsiteY42671" fmla="*/ 1868227 h 5973007"/>
              <a:gd name="connsiteX42672" fmla="*/ 865391 w 6884782"/>
              <a:gd name="connsiteY42672" fmla="*/ 1875971 h 5973007"/>
              <a:gd name="connsiteX42673" fmla="*/ 849179 w 6884782"/>
              <a:gd name="connsiteY42673" fmla="*/ 1866213 h 5973007"/>
              <a:gd name="connsiteX42674" fmla="*/ 853103 w 6884782"/>
              <a:gd name="connsiteY42674" fmla="*/ 1864199 h 5973007"/>
              <a:gd name="connsiteX42675" fmla="*/ 1019191 w 6884782"/>
              <a:gd name="connsiteY42675" fmla="*/ 1864025 h 5973007"/>
              <a:gd name="connsiteX42676" fmla="*/ 1028019 w 6884782"/>
              <a:gd name="connsiteY42676" fmla="*/ 1869466 h 5973007"/>
              <a:gd name="connsiteX42677" fmla="*/ 1027193 w 6884782"/>
              <a:gd name="connsiteY42677" fmla="*/ 1872099 h 5973007"/>
              <a:gd name="connsiteX42678" fmla="*/ 1027399 w 6884782"/>
              <a:gd name="connsiteY42678" fmla="*/ 1872409 h 5973007"/>
              <a:gd name="connsiteX42679" fmla="*/ 1022237 w 6884782"/>
              <a:gd name="connsiteY42679" fmla="*/ 1878760 h 5973007"/>
              <a:gd name="connsiteX42680" fmla="*/ 1017694 w 6884782"/>
              <a:gd name="connsiteY42680" fmla="*/ 1875042 h 5973007"/>
              <a:gd name="connsiteX42681" fmla="*/ 1018106 w 6884782"/>
              <a:gd name="connsiteY42681" fmla="*/ 1874422 h 5973007"/>
              <a:gd name="connsiteX42682" fmla="*/ 1017074 w 6884782"/>
              <a:gd name="connsiteY42682" fmla="*/ 1874113 h 5973007"/>
              <a:gd name="connsiteX42683" fmla="*/ 1012531 w 6884782"/>
              <a:gd name="connsiteY42683" fmla="*/ 1869156 h 5973007"/>
              <a:gd name="connsiteX42684" fmla="*/ 1019191 w 6884782"/>
              <a:gd name="connsiteY42684" fmla="*/ 1864025 h 5973007"/>
              <a:gd name="connsiteX42685" fmla="*/ 5472296 w 6884782"/>
              <a:gd name="connsiteY42685" fmla="*/ 1863722 h 5973007"/>
              <a:gd name="connsiteX42686" fmla="*/ 5474857 w 6884782"/>
              <a:gd name="connsiteY42686" fmla="*/ 1864718 h 5973007"/>
              <a:gd name="connsiteX42687" fmla="*/ 5470802 w 6884782"/>
              <a:gd name="connsiteY42687" fmla="*/ 1866425 h 5973007"/>
              <a:gd name="connsiteX42688" fmla="*/ 5470375 w 6884782"/>
              <a:gd name="connsiteY42688" fmla="*/ 1865287 h 5973007"/>
              <a:gd name="connsiteX42689" fmla="*/ 5472296 w 6884782"/>
              <a:gd name="connsiteY42689" fmla="*/ 1863722 h 5973007"/>
              <a:gd name="connsiteX42690" fmla="*/ 3472552 w 6884782"/>
              <a:gd name="connsiteY42690" fmla="*/ 1863580 h 5973007"/>
              <a:gd name="connsiteX42691" fmla="*/ 3470845 w 6884782"/>
              <a:gd name="connsiteY42691" fmla="*/ 1869555 h 5973007"/>
              <a:gd name="connsiteX42692" fmla="*/ 3466577 w 6884782"/>
              <a:gd name="connsiteY42692" fmla="*/ 1871831 h 5973007"/>
              <a:gd name="connsiteX42693" fmla="*/ 3472552 w 6884782"/>
              <a:gd name="connsiteY42693" fmla="*/ 1863580 h 5973007"/>
              <a:gd name="connsiteX42694" fmla="*/ 5866269 w 6884782"/>
              <a:gd name="connsiteY42694" fmla="*/ 1863437 h 5973007"/>
              <a:gd name="connsiteX42695" fmla="*/ 5869257 w 6884782"/>
              <a:gd name="connsiteY42695" fmla="*/ 1864718 h 5973007"/>
              <a:gd name="connsiteX42696" fmla="*/ 5842152 w 6884782"/>
              <a:gd name="connsiteY42696" fmla="*/ 1884209 h 5973007"/>
              <a:gd name="connsiteX42697" fmla="*/ 5866269 w 6884782"/>
              <a:gd name="connsiteY42697" fmla="*/ 1863437 h 5973007"/>
              <a:gd name="connsiteX42698" fmla="*/ 1337272 w 6884782"/>
              <a:gd name="connsiteY42698" fmla="*/ 1863425 h 5973007"/>
              <a:gd name="connsiteX42699" fmla="*/ 1337478 w 6884782"/>
              <a:gd name="connsiteY42699" fmla="*/ 1869156 h 5973007"/>
              <a:gd name="connsiteX42700" fmla="*/ 1337478 w 6884782"/>
              <a:gd name="connsiteY42700" fmla="*/ 1871789 h 5973007"/>
              <a:gd name="connsiteX42701" fmla="*/ 1337994 w 6884782"/>
              <a:gd name="connsiteY42701" fmla="*/ 1869311 h 5973007"/>
              <a:gd name="connsiteX42702" fmla="*/ 1340060 w 6884782"/>
              <a:gd name="connsiteY42702" fmla="*/ 1868846 h 5973007"/>
              <a:gd name="connsiteX42703" fmla="*/ 1344293 w 6884782"/>
              <a:gd name="connsiteY42703" fmla="*/ 1871789 h 5973007"/>
              <a:gd name="connsiteX42704" fmla="*/ 1349972 w 6884782"/>
              <a:gd name="connsiteY42704" fmla="*/ 1869001 h 5973007"/>
              <a:gd name="connsiteX42705" fmla="*/ 1350488 w 6884782"/>
              <a:gd name="connsiteY42705" fmla="*/ 1868691 h 5973007"/>
              <a:gd name="connsiteX42706" fmla="*/ 1352760 w 6884782"/>
              <a:gd name="connsiteY42706" fmla="*/ 1867452 h 5973007"/>
              <a:gd name="connsiteX42707" fmla="*/ 1352863 w 6884782"/>
              <a:gd name="connsiteY42707" fmla="*/ 1867452 h 5973007"/>
              <a:gd name="connsiteX42708" fmla="*/ 1353586 w 6884782"/>
              <a:gd name="connsiteY42708" fmla="*/ 1866987 h 5973007"/>
              <a:gd name="connsiteX42709" fmla="*/ 1358956 w 6884782"/>
              <a:gd name="connsiteY42709" fmla="*/ 1867142 h 5973007"/>
              <a:gd name="connsiteX42710" fmla="*/ 1362053 w 6884782"/>
              <a:gd name="connsiteY42710" fmla="*/ 1875197 h 5973007"/>
              <a:gd name="connsiteX42711" fmla="*/ 1361227 w 6884782"/>
              <a:gd name="connsiteY42711" fmla="*/ 1877520 h 5973007"/>
              <a:gd name="connsiteX42712" fmla="*/ 1363086 w 6884782"/>
              <a:gd name="connsiteY42712" fmla="*/ 1876901 h 5973007"/>
              <a:gd name="connsiteX42713" fmla="*/ 1364531 w 6884782"/>
              <a:gd name="connsiteY42713" fmla="*/ 1893629 h 5973007"/>
              <a:gd name="connsiteX42714" fmla="*/ 1363808 w 6884782"/>
              <a:gd name="connsiteY42714" fmla="*/ 1895333 h 5973007"/>
              <a:gd name="connsiteX42715" fmla="*/ 1361640 w 6884782"/>
              <a:gd name="connsiteY42715" fmla="*/ 1895488 h 5973007"/>
              <a:gd name="connsiteX42716" fmla="*/ 1358129 w 6884782"/>
              <a:gd name="connsiteY42716" fmla="*/ 1884800 h 5973007"/>
              <a:gd name="connsiteX42717" fmla="*/ 1359059 w 6884782"/>
              <a:gd name="connsiteY42717" fmla="*/ 1882632 h 5973007"/>
              <a:gd name="connsiteX42718" fmla="*/ 1359575 w 6884782"/>
              <a:gd name="connsiteY42718" fmla="*/ 1881547 h 5973007"/>
              <a:gd name="connsiteX42719" fmla="*/ 1357510 w 6884782"/>
              <a:gd name="connsiteY42719" fmla="*/ 1883716 h 5973007"/>
              <a:gd name="connsiteX42720" fmla="*/ 1349765 w 6884782"/>
              <a:gd name="connsiteY42720" fmla="*/ 1884491 h 5973007"/>
              <a:gd name="connsiteX42721" fmla="*/ 1349353 w 6884782"/>
              <a:gd name="connsiteY42721" fmla="*/ 1883716 h 5973007"/>
              <a:gd name="connsiteX42722" fmla="*/ 1345326 w 6884782"/>
              <a:gd name="connsiteY42722" fmla="*/ 1887279 h 5973007"/>
              <a:gd name="connsiteX42723" fmla="*/ 1338407 w 6884782"/>
              <a:gd name="connsiteY42723" fmla="*/ 1876281 h 5973007"/>
              <a:gd name="connsiteX42724" fmla="*/ 1338098 w 6884782"/>
              <a:gd name="connsiteY42724" fmla="*/ 1874422 h 5973007"/>
              <a:gd name="connsiteX42725" fmla="*/ 1337478 w 6884782"/>
              <a:gd name="connsiteY42725" fmla="*/ 1874732 h 5973007"/>
              <a:gd name="connsiteX42726" fmla="*/ 1337478 w 6884782"/>
              <a:gd name="connsiteY42726" fmla="*/ 1876591 h 5973007"/>
              <a:gd name="connsiteX42727" fmla="*/ 1332109 w 6884782"/>
              <a:gd name="connsiteY42727" fmla="*/ 1886194 h 5973007"/>
              <a:gd name="connsiteX42728" fmla="*/ 1330767 w 6884782"/>
              <a:gd name="connsiteY42728" fmla="*/ 1873183 h 5973007"/>
              <a:gd name="connsiteX42729" fmla="*/ 1337272 w 6884782"/>
              <a:gd name="connsiteY42729" fmla="*/ 1863425 h 5973007"/>
              <a:gd name="connsiteX42730" fmla="*/ 938393 w 6884782"/>
              <a:gd name="connsiteY42730" fmla="*/ 1862960 h 5973007"/>
              <a:gd name="connsiteX42731" fmla="*/ 944072 w 6884782"/>
              <a:gd name="connsiteY42731" fmla="*/ 1870550 h 5973007"/>
              <a:gd name="connsiteX42732" fmla="*/ 933333 w 6884782"/>
              <a:gd name="connsiteY42732" fmla="*/ 1864819 h 5973007"/>
              <a:gd name="connsiteX42733" fmla="*/ 938393 w 6884782"/>
              <a:gd name="connsiteY42733" fmla="*/ 1862960 h 5973007"/>
              <a:gd name="connsiteX42734" fmla="*/ 1147590 w 6884782"/>
              <a:gd name="connsiteY42734" fmla="*/ 1862340 h 5973007"/>
              <a:gd name="connsiteX42735" fmla="*/ 1152443 w 6884782"/>
              <a:gd name="connsiteY42735" fmla="*/ 1869621 h 5973007"/>
              <a:gd name="connsiteX42736" fmla="*/ 1140878 w 6884782"/>
              <a:gd name="connsiteY42736" fmla="*/ 1870859 h 5973007"/>
              <a:gd name="connsiteX42737" fmla="*/ 1141188 w 6884782"/>
              <a:gd name="connsiteY42737" fmla="*/ 1866678 h 5973007"/>
              <a:gd name="connsiteX42738" fmla="*/ 1147590 w 6884782"/>
              <a:gd name="connsiteY42738" fmla="*/ 1862340 h 5973007"/>
              <a:gd name="connsiteX42739" fmla="*/ 4724046 w 6884782"/>
              <a:gd name="connsiteY42739" fmla="*/ 1861872 h 5973007"/>
              <a:gd name="connsiteX42740" fmla="*/ 4726607 w 6884782"/>
              <a:gd name="connsiteY42740" fmla="*/ 1862015 h 5973007"/>
              <a:gd name="connsiteX42741" fmla="*/ 4733437 w 6884782"/>
              <a:gd name="connsiteY42741" fmla="*/ 1866283 h 5973007"/>
              <a:gd name="connsiteX42742" fmla="*/ 4711881 w 6884782"/>
              <a:gd name="connsiteY42742" fmla="*/ 1873112 h 5973007"/>
              <a:gd name="connsiteX42743" fmla="*/ 4709320 w 6884782"/>
              <a:gd name="connsiteY42743" fmla="*/ 1873112 h 5973007"/>
              <a:gd name="connsiteX42744" fmla="*/ 4708040 w 6884782"/>
              <a:gd name="connsiteY42744" fmla="*/ 1869839 h 5973007"/>
              <a:gd name="connsiteX42745" fmla="*/ 4724046 w 6884782"/>
              <a:gd name="connsiteY42745" fmla="*/ 1861872 h 5973007"/>
              <a:gd name="connsiteX42746" fmla="*/ 6084810 w 6884782"/>
              <a:gd name="connsiteY42746" fmla="*/ 1861446 h 5973007"/>
              <a:gd name="connsiteX42747" fmla="*/ 6083957 w 6884782"/>
              <a:gd name="connsiteY42747" fmla="*/ 1861588 h 5973007"/>
              <a:gd name="connsiteX42748" fmla="*/ 6083957 w 6884782"/>
              <a:gd name="connsiteY42748" fmla="*/ 1861730 h 5973007"/>
              <a:gd name="connsiteX42749" fmla="*/ 3630484 w 6884782"/>
              <a:gd name="connsiteY42749" fmla="*/ 1861446 h 5973007"/>
              <a:gd name="connsiteX42750" fmla="*/ 3629843 w 6884782"/>
              <a:gd name="connsiteY42750" fmla="*/ 1863010 h 5973007"/>
              <a:gd name="connsiteX42751" fmla="*/ 3627709 w 6884782"/>
              <a:gd name="connsiteY42751" fmla="*/ 1861872 h 5973007"/>
              <a:gd name="connsiteX42752" fmla="*/ 3630484 w 6884782"/>
              <a:gd name="connsiteY42752" fmla="*/ 1861446 h 5973007"/>
              <a:gd name="connsiteX42753" fmla="*/ 4707399 w 6884782"/>
              <a:gd name="connsiteY42753" fmla="*/ 1861303 h 5973007"/>
              <a:gd name="connsiteX42754" fmla="*/ 4709107 w 6884782"/>
              <a:gd name="connsiteY42754" fmla="*/ 1862868 h 5973007"/>
              <a:gd name="connsiteX42755" fmla="*/ 4706972 w 6884782"/>
              <a:gd name="connsiteY42755" fmla="*/ 1866567 h 5973007"/>
              <a:gd name="connsiteX42756" fmla="*/ 4708680 w 6884782"/>
              <a:gd name="connsiteY42756" fmla="*/ 1868132 h 5973007"/>
              <a:gd name="connsiteX42757" fmla="*/ 4708040 w 6884782"/>
              <a:gd name="connsiteY42757" fmla="*/ 1869839 h 5973007"/>
              <a:gd name="connsiteX42758" fmla="*/ 4704625 w 6884782"/>
              <a:gd name="connsiteY42758" fmla="*/ 1870266 h 5973007"/>
              <a:gd name="connsiteX42759" fmla="*/ 4706972 w 6884782"/>
              <a:gd name="connsiteY42759" fmla="*/ 1863864 h 5973007"/>
              <a:gd name="connsiteX42760" fmla="*/ 4707399 w 6884782"/>
              <a:gd name="connsiteY42760" fmla="*/ 1861303 h 5973007"/>
              <a:gd name="connsiteX42761" fmla="*/ 5694039 w 6884782"/>
              <a:gd name="connsiteY42761" fmla="*/ 1860877 h 5973007"/>
              <a:gd name="connsiteX42762" fmla="*/ 5699588 w 6884782"/>
              <a:gd name="connsiteY42762" fmla="*/ 1861161 h 5973007"/>
              <a:gd name="connsiteX42763" fmla="*/ 5698521 w 6884782"/>
              <a:gd name="connsiteY42763" fmla="*/ 1861303 h 5973007"/>
              <a:gd name="connsiteX42764" fmla="*/ 5698734 w 6884782"/>
              <a:gd name="connsiteY42764" fmla="*/ 1863580 h 5973007"/>
              <a:gd name="connsiteX42765" fmla="*/ 5700015 w 6884782"/>
              <a:gd name="connsiteY42765" fmla="*/ 1863580 h 5973007"/>
              <a:gd name="connsiteX42766" fmla="*/ 5699161 w 6884782"/>
              <a:gd name="connsiteY42766" fmla="*/ 1865998 h 5973007"/>
              <a:gd name="connsiteX42767" fmla="*/ 5691691 w 6884782"/>
              <a:gd name="connsiteY42767" fmla="*/ 1870124 h 5973007"/>
              <a:gd name="connsiteX42768" fmla="*/ 5690624 w 6884782"/>
              <a:gd name="connsiteY42768" fmla="*/ 1864149 h 5973007"/>
              <a:gd name="connsiteX42769" fmla="*/ 5694039 w 6884782"/>
              <a:gd name="connsiteY42769" fmla="*/ 1860877 h 5973007"/>
              <a:gd name="connsiteX42770" fmla="*/ 657226 w 6884782"/>
              <a:gd name="connsiteY42770" fmla="*/ 1860791 h 5973007"/>
              <a:gd name="connsiteX42771" fmla="*/ 670959 w 6884782"/>
              <a:gd name="connsiteY42771" fmla="*/ 1877210 h 5973007"/>
              <a:gd name="connsiteX42772" fmla="*/ 667035 w 6884782"/>
              <a:gd name="connsiteY42772" fmla="*/ 1878914 h 5973007"/>
              <a:gd name="connsiteX42773" fmla="*/ 656090 w 6884782"/>
              <a:gd name="connsiteY42773" fmla="*/ 1866523 h 5973007"/>
              <a:gd name="connsiteX42774" fmla="*/ 657226 w 6884782"/>
              <a:gd name="connsiteY42774" fmla="*/ 1860791 h 5973007"/>
              <a:gd name="connsiteX42775" fmla="*/ 5134879 w 6884782"/>
              <a:gd name="connsiteY42775" fmla="*/ 1860023 h 5973007"/>
              <a:gd name="connsiteX42776" fmla="*/ 5141282 w 6884782"/>
              <a:gd name="connsiteY42776" fmla="*/ 1863437 h 5973007"/>
              <a:gd name="connsiteX42777" fmla="*/ 5130398 w 6884782"/>
              <a:gd name="connsiteY42777" fmla="*/ 1865998 h 5973007"/>
              <a:gd name="connsiteX42778" fmla="*/ 5134879 w 6884782"/>
              <a:gd name="connsiteY42778" fmla="*/ 1860023 h 5973007"/>
              <a:gd name="connsiteX42779" fmla="*/ 1301751 w 6884782"/>
              <a:gd name="connsiteY42779" fmla="*/ 1859707 h 5973007"/>
              <a:gd name="connsiteX42780" fmla="*/ 1297415 w 6884782"/>
              <a:gd name="connsiteY42780" fmla="*/ 1866058 h 5973007"/>
              <a:gd name="connsiteX42781" fmla="*/ 1300203 w 6884782"/>
              <a:gd name="connsiteY42781" fmla="*/ 1860017 h 5973007"/>
              <a:gd name="connsiteX42782" fmla="*/ 1301751 w 6884782"/>
              <a:gd name="connsiteY42782" fmla="*/ 1859707 h 5973007"/>
              <a:gd name="connsiteX42783" fmla="*/ 5349580 w 6884782"/>
              <a:gd name="connsiteY42783" fmla="*/ 1859312 h 5973007"/>
              <a:gd name="connsiteX42784" fmla="*/ 5336774 w 6884782"/>
              <a:gd name="connsiteY42784" fmla="*/ 1880226 h 5973007"/>
              <a:gd name="connsiteX42785" fmla="*/ 5313512 w 6884782"/>
              <a:gd name="connsiteY42785" fmla="*/ 1882502 h 5973007"/>
              <a:gd name="connsiteX42786" fmla="*/ 5349580 w 6884782"/>
              <a:gd name="connsiteY42786" fmla="*/ 1859312 h 5973007"/>
              <a:gd name="connsiteX42787" fmla="*/ 3853720 w 6884782"/>
              <a:gd name="connsiteY42787" fmla="*/ 1859170 h 5973007"/>
              <a:gd name="connsiteX42788" fmla="*/ 3858629 w 6884782"/>
              <a:gd name="connsiteY42788" fmla="*/ 1862868 h 5973007"/>
              <a:gd name="connsiteX42789" fmla="*/ 3854147 w 6884782"/>
              <a:gd name="connsiteY42789" fmla="*/ 1876526 h 5973007"/>
              <a:gd name="connsiteX42790" fmla="*/ 3847318 w 6884782"/>
              <a:gd name="connsiteY42790" fmla="*/ 1876668 h 5973007"/>
              <a:gd name="connsiteX42791" fmla="*/ 3853720 w 6884782"/>
              <a:gd name="connsiteY42791" fmla="*/ 1859170 h 5973007"/>
              <a:gd name="connsiteX42792" fmla="*/ 1449408 w 6884782"/>
              <a:gd name="connsiteY42792" fmla="*/ 1858933 h 5973007"/>
              <a:gd name="connsiteX42793" fmla="*/ 1442180 w 6884782"/>
              <a:gd name="connsiteY42793" fmla="*/ 1871014 h 5973007"/>
              <a:gd name="connsiteX42794" fmla="*/ 1439805 w 6884782"/>
              <a:gd name="connsiteY42794" fmla="*/ 1871944 h 5973007"/>
              <a:gd name="connsiteX42795" fmla="*/ 1436501 w 6884782"/>
              <a:gd name="connsiteY42795" fmla="*/ 1869775 h 5973007"/>
              <a:gd name="connsiteX42796" fmla="*/ 1439908 w 6884782"/>
              <a:gd name="connsiteY42796" fmla="*/ 1868846 h 5973007"/>
              <a:gd name="connsiteX42797" fmla="*/ 1442386 w 6884782"/>
              <a:gd name="connsiteY42797" fmla="*/ 1869775 h 5973007"/>
              <a:gd name="connsiteX42798" fmla="*/ 1443522 w 6884782"/>
              <a:gd name="connsiteY42798" fmla="*/ 1863889 h 5973007"/>
              <a:gd name="connsiteX42799" fmla="*/ 1445484 w 6884782"/>
              <a:gd name="connsiteY42799" fmla="*/ 1859242 h 5973007"/>
              <a:gd name="connsiteX42800" fmla="*/ 1449408 w 6884782"/>
              <a:gd name="connsiteY42800" fmla="*/ 1858933 h 5973007"/>
              <a:gd name="connsiteX42801" fmla="*/ 1010672 w 6884782"/>
              <a:gd name="connsiteY42801" fmla="*/ 1858623 h 5973007"/>
              <a:gd name="connsiteX42802" fmla="*/ 1005819 w 6884782"/>
              <a:gd name="connsiteY42802" fmla="*/ 1865438 h 5973007"/>
              <a:gd name="connsiteX42803" fmla="*/ 1010672 w 6884782"/>
              <a:gd name="connsiteY42803" fmla="*/ 1858623 h 5973007"/>
              <a:gd name="connsiteX42804" fmla="*/ 863739 w 6884782"/>
              <a:gd name="connsiteY42804" fmla="*/ 1858623 h 5973007"/>
              <a:gd name="connsiteX42805" fmla="*/ 874684 w 6884782"/>
              <a:gd name="connsiteY42805" fmla="*/ 1862185 h 5973007"/>
              <a:gd name="connsiteX42806" fmla="*/ 867456 w 6884782"/>
              <a:gd name="connsiteY42806" fmla="*/ 1865748 h 5973007"/>
              <a:gd name="connsiteX42807" fmla="*/ 859712 w 6884782"/>
              <a:gd name="connsiteY42807" fmla="*/ 1860481 h 5973007"/>
              <a:gd name="connsiteX42808" fmla="*/ 863739 w 6884782"/>
              <a:gd name="connsiteY42808" fmla="*/ 1858623 h 5973007"/>
              <a:gd name="connsiteX42809" fmla="*/ 3474473 w 6884782"/>
              <a:gd name="connsiteY42809" fmla="*/ 1858600 h 5973007"/>
              <a:gd name="connsiteX42810" fmla="*/ 3475540 w 6884782"/>
              <a:gd name="connsiteY42810" fmla="*/ 1859880 h 5973007"/>
              <a:gd name="connsiteX42811" fmla="*/ 3475327 w 6884782"/>
              <a:gd name="connsiteY42811" fmla="*/ 1860734 h 5973007"/>
              <a:gd name="connsiteX42812" fmla="*/ 3472552 w 6884782"/>
              <a:gd name="connsiteY42812" fmla="*/ 1863437 h 5973007"/>
              <a:gd name="connsiteX42813" fmla="*/ 3473407 w 6884782"/>
              <a:gd name="connsiteY42813" fmla="*/ 1859170 h 5973007"/>
              <a:gd name="connsiteX42814" fmla="*/ 3474900 w 6884782"/>
              <a:gd name="connsiteY42814" fmla="*/ 1859739 h 5973007"/>
              <a:gd name="connsiteX42815" fmla="*/ 3474473 w 6884782"/>
              <a:gd name="connsiteY42815" fmla="*/ 1858600 h 5973007"/>
              <a:gd name="connsiteX42816" fmla="*/ 4705905 w 6884782"/>
              <a:gd name="connsiteY42816" fmla="*/ 1858031 h 5973007"/>
              <a:gd name="connsiteX42817" fmla="*/ 4698863 w 6884782"/>
              <a:gd name="connsiteY42817" fmla="*/ 1862726 h 5973007"/>
              <a:gd name="connsiteX42818" fmla="*/ 4698222 w 6884782"/>
              <a:gd name="connsiteY42818" fmla="*/ 1862868 h 5973007"/>
              <a:gd name="connsiteX42819" fmla="*/ 4700356 w 6884782"/>
              <a:gd name="connsiteY42819" fmla="*/ 1865287 h 5973007"/>
              <a:gd name="connsiteX42820" fmla="*/ 4703771 w 6884782"/>
              <a:gd name="connsiteY42820" fmla="*/ 1876526 h 5973007"/>
              <a:gd name="connsiteX42821" fmla="*/ 4702491 w 6884782"/>
              <a:gd name="connsiteY42821" fmla="*/ 1879514 h 5973007"/>
              <a:gd name="connsiteX42822" fmla="*/ 4703558 w 6884782"/>
              <a:gd name="connsiteY42822" fmla="*/ 1881933 h 5973007"/>
              <a:gd name="connsiteX42823" fmla="*/ 4705265 w 6884782"/>
              <a:gd name="connsiteY42823" fmla="*/ 1899859 h 5973007"/>
              <a:gd name="connsiteX42824" fmla="*/ 4695021 w 6884782"/>
              <a:gd name="connsiteY42824" fmla="*/ 1885774 h 5973007"/>
              <a:gd name="connsiteX42825" fmla="*/ 4695021 w 6884782"/>
              <a:gd name="connsiteY42825" fmla="*/ 1881648 h 5973007"/>
              <a:gd name="connsiteX42826" fmla="*/ 4691393 w 6884782"/>
              <a:gd name="connsiteY42826" fmla="*/ 1879230 h 5973007"/>
              <a:gd name="connsiteX42827" fmla="*/ 4691180 w 6884782"/>
              <a:gd name="connsiteY42827" fmla="*/ 1859170 h 5973007"/>
              <a:gd name="connsiteX42828" fmla="*/ 4695661 w 6884782"/>
              <a:gd name="connsiteY42828" fmla="*/ 1859880 h 5973007"/>
              <a:gd name="connsiteX42829" fmla="*/ 4696088 w 6884782"/>
              <a:gd name="connsiteY42829" fmla="*/ 1860307 h 5973007"/>
              <a:gd name="connsiteX42830" fmla="*/ 4697155 w 6884782"/>
              <a:gd name="connsiteY42830" fmla="*/ 1859880 h 5973007"/>
              <a:gd name="connsiteX42831" fmla="*/ 4705905 w 6884782"/>
              <a:gd name="connsiteY42831" fmla="*/ 1858031 h 5973007"/>
              <a:gd name="connsiteX42832" fmla="*/ 1575496 w 6884782"/>
              <a:gd name="connsiteY42832" fmla="*/ 1856667 h 5973007"/>
              <a:gd name="connsiteX42833" fmla="*/ 1578788 w 6884782"/>
              <a:gd name="connsiteY42833" fmla="*/ 1861101 h 5973007"/>
              <a:gd name="connsiteX42834" fmla="*/ 1575174 w 6884782"/>
              <a:gd name="connsiteY42834" fmla="*/ 1864819 h 5973007"/>
              <a:gd name="connsiteX42835" fmla="*/ 1569495 w 6884782"/>
              <a:gd name="connsiteY42835" fmla="*/ 1858158 h 5973007"/>
              <a:gd name="connsiteX42836" fmla="*/ 1575496 w 6884782"/>
              <a:gd name="connsiteY42836" fmla="*/ 1856667 h 5973007"/>
              <a:gd name="connsiteX42837" fmla="*/ 3490053 w 6884782"/>
              <a:gd name="connsiteY42837" fmla="*/ 1856182 h 5973007"/>
              <a:gd name="connsiteX42838" fmla="*/ 3495815 w 6884782"/>
              <a:gd name="connsiteY42838" fmla="*/ 1860307 h 5973007"/>
              <a:gd name="connsiteX42839" fmla="*/ 3484504 w 6884782"/>
              <a:gd name="connsiteY42839" fmla="*/ 1865572 h 5973007"/>
              <a:gd name="connsiteX42840" fmla="*/ 3483223 w 6884782"/>
              <a:gd name="connsiteY42840" fmla="*/ 1860734 h 5973007"/>
              <a:gd name="connsiteX42841" fmla="*/ 3490053 w 6884782"/>
              <a:gd name="connsiteY42841" fmla="*/ 1856182 h 5973007"/>
              <a:gd name="connsiteX42842" fmla="*/ 5835536 w 6884782"/>
              <a:gd name="connsiteY42842" fmla="*/ 1856040 h 5973007"/>
              <a:gd name="connsiteX42843" fmla="*/ 5839165 w 6884782"/>
              <a:gd name="connsiteY42843" fmla="*/ 1859880 h 5973007"/>
              <a:gd name="connsiteX42844" fmla="*/ 5839805 w 6884782"/>
              <a:gd name="connsiteY42844" fmla="*/ 1863154 h 5973007"/>
              <a:gd name="connsiteX42845" fmla="*/ 5830627 w 6884782"/>
              <a:gd name="connsiteY42845" fmla="*/ 1858600 h 5973007"/>
              <a:gd name="connsiteX42846" fmla="*/ 5835536 w 6884782"/>
              <a:gd name="connsiteY42846" fmla="*/ 1856040 h 5973007"/>
              <a:gd name="connsiteX42847" fmla="*/ 5637483 w 6884782"/>
              <a:gd name="connsiteY42847" fmla="*/ 1855897 h 5973007"/>
              <a:gd name="connsiteX42848" fmla="*/ 5639617 w 6884782"/>
              <a:gd name="connsiteY42848" fmla="*/ 1856182 h 5973007"/>
              <a:gd name="connsiteX42849" fmla="*/ 5631293 w 6884782"/>
              <a:gd name="connsiteY42849" fmla="*/ 1862726 h 5973007"/>
              <a:gd name="connsiteX42850" fmla="*/ 5637483 w 6884782"/>
              <a:gd name="connsiteY42850" fmla="*/ 1855897 h 5973007"/>
              <a:gd name="connsiteX42851" fmla="*/ 1509090 w 6884782"/>
              <a:gd name="connsiteY42851" fmla="*/ 1855680 h 5973007"/>
              <a:gd name="connsiteX42852" fmla="*/ 1514563 w 6884782"/>
              <a:gd name="connsiteY42852" fmla="*/ 1857848 h 5973007"/>
              <a:gd name="connsiteX42853" fmla="*/ 1514769 w 6884782"/>
              <a:gd name="connsiteY42853" fmla="*/ 1860791 h 5973007"/>
              <a:gd name="connsiteX42854" fmla="*/ 1517144 w 6884782"/>
              <a:gd name="connsiteY42854" fmla="*/ 1860636 h 5973007"/>
              <a:gd name="connsiteX42855" fmla="*/ 1523236 w 6884782"/>
              <a:gd name="connsiteY42855" fmla="*/ 1865438 h 5973007"/>
              <a:gd name="connsiteX42856" fmla="*/ 1513427 w 6884782"/>
              <a:gd name="connsiteY42856" fmla="*/ 1873338 h 5973007"/>
              <a:gd name="connsiteX42857" fmla="*/ 1509916 w 6884782"/>
              <a:gd name="connsiteY42857" fmla="*/ 1863580 h 5973007"/>
              <a:gd name="connsiteX42858" fmla="*/ 1510742 w 6884782"/>
              <a:gd name="connsiteY42858" fmla="*/ 1862805 h 5973007"/>
              <a:gd name="connsiteX42859" fmla="*/ 1510123 w 6884782"/>
              <a:gd name="connsiteY42859" fmla="*/ 1862031 h 5973007"/>
              <a:gd name="connsiteX42860" fmla="*/ 1509090 w 6884782"/>
              <a:gd name="connsiteY42860" fmla="*/ 1855680 h 5973007"/>
              <a:gd name="connsiteX42861" fmla="*/ 1192506 w 6884782"/>
              <a:gd name="connsiteY42861" fmla="*/ 1855525 h 5973007"/>
              <a:gd name="connsiteX42862" fmla="*/ 1198908 w 6884782"/>
              <a:gd name="connsiteY42862" fmla="*/ 1856609 h 5973007"/>
              <a:gd name="connsiteX42863" fmla="*/ 1201076 w 6884782"/>
              <a:gd name="connsiteY42863" fmla="*/ 1858933 h 5973007"/>
              <a:gd name="connsiteX42864" fmla="*/ 1202522 w 6884782"/>
              <a:gd name="connsiteY42864" fmla="*/ 1858158 h 5973007"/>
              <a:gd name="connsiteX42865" fmla="*/ 1218217 w 6884782"/>
              <a:gd name="connsiteY42865" fmla="*/ 1866368 h 5973007"/>
              <a:gd name="connsiteX42866" fmla="*/ 1223999 w 6884782"/>
              <a:gd name="connsiteY42866" fmla="*/ 1874887 h 5973007"/>
              <a:gd name="connsiteX42867" fmla="*/ 1222864 w 6884782"/>
              <a:gd name="connsiteY42867" fmla="*/ 1877520 h 5973007"/>
              <a:gd name="connsiteX42868" fmla="*/ 1221831 w 6884782"/>
              <a:gd name="connsiteY42868" fmla="*/ 1878295 h 5973007"/>
              <a:gd name="connsiteX42869" fmla="*/ 1221315 w 6884782"/>
              <a:gd name="connsiteY42869" fmla="*/ 1879534 h 5973007"/>
              <a:gd name="connsiteX42870" fmla="*/ 1223380 w 6884782"/>
              <a:gd name="connsiteY42870" fmla="*/ 1888208 h 5973007"/>
              <a:gd name="connsiteX42871" fmla="*/ 1223896 w 6884782"/>
              <a:gd name="connsiteY42871" fmla="*/ 1884955 h 5973007"/>
              <a:gd name="connsiteX42872" fmla="*/ 1223896 w 6884782"/>
              <a:gd name="connsiteY42872" fmla="*/ 1885730 h 5973007"/>
              <a:gd name="connsiteX42873" fmla="*/ 1225652 w 6884782"/>
              <a:gd name="connsiteY42873" fmla="*/ 1885730 h 5973007"/>
              <a:gd name="connsiteX42874" fmla="*/ 1225652 w 6884782"/>
              <a:gd name="connsiteY42874" fmla="*/ 1884800 h 5973007"/>
              <a:gd name="connsiteX42875" fmla="*/ 1227407 w 6884782"/>
              <a:gd name="connsiteY42875" fmla="*/ 1885575 h 5973007"/>
              <a:gd name="connsiteX42876" fmla="*/ 1229782 w 6884782"/>
              <a:gd name="connsiteY42876" fmla="*/ 1891461 h 5973007"/>
              <a:gd name="connsiteX42877" fmla="*/ 1227200 w 6884782"/>
              <a:gd name="connsiteY42877" fmla="*/ 1892545 h 5973007"/>
              <a:gd name="connsiteX42878" fmla="*/ 1226065 w 6884782"/>
              <a:gd name="connsiteY42878" fmla="*/ 1891925 h 5973007"/>
              <a:gd name="connsiteX42879" fmla="*/ 1224619 w 6884782"/>
              <a:gd name="connsiteY42879" fmla="*/ 1893165 h 5973007"/>
              <a:gd name="connsiteX42880" fmla="*/ 1227097 w 6884782"/>
              <a:gd name="connsiteY42880" fmla="*/ 1903078 h 5973007"/>
              <a:gd name="connsiteX42881" fmla="*/ 1203142 w 6884782"/>
              <a:gd name="connsiteY42881" fmla="*/ 1928171 h 5973007"/>
              <a:gd name="connsiteX42882" fmla="*/ 1202006 w 6884782"/>
              <a:gd name="connsiteY42882" fmla="*/ 1927861 h 5973007"/>
              <a:gd name="connsiteX42883" fmla="*/ 1200870 w 6884782"/>
              <a:gd name="connsiteY42883" fmla="*/ 1928946 h 5973007"/>
              <a:gd name="connsiteX42884" fmla="*/ 1194778 w 6884782"/>
              <a:gd name="connsiteY42884" fmla="*/ 1930340 h 5973007"/>
              <a:gd name="connsiteX42885" fmla="*/ 1192816 w 6884782"/>
              <a:gd name="connsiteY42885" fmla="*/ 1926468 h 5973007"/>
              <a:gd name="connsiteX42886" fmla="*/ 1192816 w 6884782"/>
              <a:gd name="connsiteY42886" fmla="*/ 1925538 h 5973007"/>
              <a:gd name="connsiteX42887" fmla="*/ 1191061 w 6884782"/>
              <a:gd name="connsiteY42887" fmla="*/ 1925383 h 5973007"/>
              <a:gd name="connsiteX42888" fmla="*/ 1181251 w 6884782"/>
              <a:gd name="connsiteY42888" fmla="*/ 1925693 h 5973007"/>
              <a:gd name="connsiteX42889" fmla="*/ 1171649 w 6884782"/>
              <a:gd name="connsiteY42889" fmla="*/ 1917793 h 5973007"/>
              <a:gd name="connsiteX42890" fmla="*/ 1165247 w 6884782"/>
              <a:gd name="connsiteY42890" fmla="*/ 1910358 h 5973007"/>
              <a:gd name="connsiteX42891" fmla="*/ 1159155 w 6884782"/>
              <a:gd name="connsiteY42891" fmla="*/ 1910358 h 5973007"/>
              <a:gd name="connsiteX42892" fmla="*/ 1152753 w 6884782"/>
              <a:gd name="connsiteY42892" fmla="*/ 1909584 h 5973007"/>
              <a:gd name="connsiteX42893" fmla="*/ 1158535 w 6884782"/>
              <a:gd name="connsiteY42893" fmla="*/ 1908035 h 5973007"/>
              <a:gd name="connsiteX42894" fmla="*/ 1162459 w 6884782"/>
              <a:gd name="connsiteY42894" fmla="*/ 1908655 h 5973007"/>
              <a:gd name="connsiteX42895" fmla="*/ 1164008 w 6884782"/>
              <a:gd name="connsiteY42895" fmla="*/ 1908964 h 5973007"/>
              <a:gd name="connsiteX42896" fmla="*/ 1163078 w 6884782"/>
              <a:gd name="connsiteY42896" fmla="*/ 1907880 h 5973007"/>
              <a:gd name="connsiteX42897" fmla="*/ 1156057 w 6884782"/>
              <a:gd name="connsiteY42897" fmla="*/ 1884491 h 5973007"/>
              <a:gd name="connsiteX42898" fmla="*/ 1177018 w 6884782"/>
              <a:gd name="connsiteY42898" fmla="*/ 1858623 h 5973007"/>
              <a:gd name="connsiteX42899" fmla="*/ 1188686 w 6884782"/>
              <a:gd name="connsiteY42899" fmla="*/ 1860946 h 5973007"/>
              <a:gd name="connsiteX42900" fmla="*/ 1190854 w 6884782"/>
              <a:gd name="connsiteY42900" fmla="*/ 1860327 h 5973007"/>
              <a:gd name="connsiteX42901" fmla="*/ 5357049 w 6884782"/>
              <a:gd name="connsiteY42901" fmla="*/ 1855470 h 5973007"/>
              <a:gd name="connsiteX42902" fmla="*/ 5358970 w 6884782"/>
              <a:gd name="connsiteY42902" fmla="*/ 1857035 h 5973007"/>
              <a:gd name="connsiteX42903" fmla="*/ 5358970 w 6884782"/>
              <a:gd name="connsiteY42903" fmla="*/ 1858173 h 5973007"/>
              <a:gd name="connsiteX42904" fmla="*/ 5359183 w 6884782"/>
              <a:gd name="connsiteY42904" fmla="*/ 1858458 h 5973007"/>
              <a:gd name="connsiteX42905" fmla="*/ 5357689 w 6884782"/>
              <a:gd name="connsiteY42905" fmla="*/ 1860307 h 5973007"/>
              <a:gd name="connsiteX42906" fmla="*/ 5355555 w 6884782"/>
              <a:gd name="connsiteY42906" fmla="*/ 1861019 h 5973007"/>
              <a:gd name="connsiteX42907" fmla="*/ 5354701 w 6884782"/>
              <a:gd name="connsiteY42907" fmla="*/ 1856325 h 5973007"/>
              <a:gd name="connsiteX42908" fmla="*/ 5356836 w 6884782"/>
              <a:gd name="connsiteY42908" fmla="*/ 1856608 h 5973007"/>
              <a:gd name="connsiteX42909" fmla="*/ 5357049 w 6884782"/>
              <a:gd name="connsiteY42909" fmla="*/ 1855470 h 5973007"/>
              <a:gd name="connsiteX42910" fmla="*/ 5019205 w 6884782"/>
              <a:gd name="connsiteY42910" fmla="*/ 1855470 h 5973007"/>
              <a:gd name="connsiteX42911" fmla="*/ 5020700 w 6884782"/>
              <a:gd name="connsiteY42911" fmla="*/ 1858885 h 5973007"/>
              <a:gd name="connsiteX42912" fmla="*/ 5020486 w 6884782"/>
              <a:gd name="connsiteY42912" fmla="*/ 1864861 h 5973007"/>
              <a:gd name="connsiteX42913" fmla="*/ 5004906 w 6884782"/>
              <a:gd name="connsiteY42913" fmla="*/ 1874534 h 5973007"/>
              <a:gd name="connsiteX42914" fmla="*/ 4996156 w 6884782"/>
              <a:gd name="connsiteY42914" fmla="*/ 1868132 h 5973007"/>
              <a:gd name="connsiteX42915" fmla="*/ 4994876 w 6884782"/>
              <a:gd name="connsiteY42915" fmla="*/ 1864007 h 5973007"/>
              <a:gd name="connsiteX42916" fmla="*/ 5019205 w 6884782"/>
              <a:gd name="connsiteY42916" fmla="*/ 1855470 h 5973007"/>
              <a:gd name="connsiteX42917" fmla="*/ 3738687 w 6884782"/>
              <a:gd name="connsiteY42917" fmla="*/ 1854759 h 5973007"/>
              <a:gd name="connsiteX42918" fmla="*/ 3740394 w 6884782"/>
              <a:gd name="connsiteY42918" fmla="*/ 1857747 h 5973007"/>
              <a:gd name="connsiteX42919" fmla="*/ 3738474 w 6884782"/>
              <a:gd name="connsiteY42919" fmla="*/ 1858885 h 5973007"/>
              <a:gd name="connsiteX42920" fmla="*/ 3738260 w 6884782"/>
              <a:gd name="connsiteY42920" fmla="*/ 1856325 h 5973007"/>
              <a:gd name="connsiteX42921" fmla="*/ 3738687 w 6884782"/>
              <a:gd name="connsiteY42921" fmla="*/ 1854759 h 5973007"/>
              <a:gd name="connsiteX42922" fmla="*/ 1465671 w 6884782"/>
              <a:gd name="connsiteY42922" fmla="*/ 1854480 h 5973007"/>
              <a:gd name="connsiteX42923" fmla="*/ 1471711 w 6884782"/>
              <a:gd name="connsiteY42923" fmla="*/ 1855525 h 5973007"/>
              <a:gd name="connsiteX42924" fmla="*/ 1471918 w 6884782"/>
              <a:gd name="connsiteY42924" fmla="*/ 1860946 h 5973007"/>
              <a:gd name="connsiteX42925" fmla="*/ 1462108 w 6884782"/>
              <a:gd name="connsiteY42925" fmla="*/ 1861566 h 5973007"/>
              <a:gd name="connsiteX42926" fmla="*/ 1465671 w 6884782"/>
              <a:gd name="connsiteY42926" fmla="*/ 1854480 h 5973007"/>
              <a:gd name="connsiteX42927" fmla="*/ 5945661 w 6884782"/>
              <a:gd name="connsiteY42927" fmla="*/ 1854332 h 5973007"/>
              <a:gd name="connsiteX42928" fmla="*/ 5957399 w 6884782"/>
              <a:gd name="connsiteY42928" fmla="*/ 1873538 h 5973007"/>
              <a:gd name="connsiteX42929" fmla="*/ 5978100 w 6884782"/>
              <a:gd name="connsiteY42929" fmla="*/ 1864576 h 5973007"/>
              <a:gd name="connsiteX42930" fmla="*/ 5958893 w 6884782"/>
              <a:gd name="connsiteY42930" fmla="*/ 1884636 h 5973007"/>
              <a:gd name="connsiteX42931" fmla="*/ 5956972 w 6884782"/>
              <a:gd name="connsiteY42931" fmla="*/ 1894879 h 5973007"/>
              <a:gd name="connsiteX42932" fmla="*/ 5955478 w 6884782"/>
              <a:gd name="connsiteY42932" fmla="*/ 1896302 h 5973007"/>
              <a:gd name="connsiteX42933" fmla="*/ 5955691 w 6884782"/>
              <a:gd name="connsiteY42933" fmla="*/ 1902277 h 5973007"/>
              <a:gd name="connsiteX42934" fmla="*/ 5947582 w 6884782"/>
              <a:gd name="connsiteY42934" fmla="*/ 1898151 h 5973007"/>
              <a:gd name="connsiteX42935" fmla="*/ 5948649 w 6884782"/>
              <a:gd name="connsiteY42935" fmla="*/ 1895875 h 5973007"/>
              <a:gd name="connsiteX42936" fmla="*/ 5951210 w 6884782"/>
              <a:gd name="connsiteY42936" fmla="*/ 1894594 h 5973007"/>
              <a:gd name="connsiteX42937" fmla="*/ 5949929 w 6884782"/>
              <a:gd name="connsiteY42937" fmla="*/ 1891891 h 5973007"/>
              <a:gd name="connsiteX42938" fmla="*/ 5948862 w 6884782"/>
              <a:gd name="connsiteY42938" fmla="*/ 1893172 h 5973007"/>
              <a:gd name="connsiteX42939" fmla="*/ 5939045 w 6884782"/>
              <a:gd name="connsiteY42939" fmla="*/ 1899574 h 5973007"/>
              <a:gd name="connsiteX42940" fmla="*/ 5933069 w 6884782"/>
              <a:gd name="connsiteY42940" fmla="*/ 1902277 h 5973007"/>
              <a:gd name="connsiteX42941" fmla="*/ 5935630 w 6884782"/>
              <a:gd name="connsiteY42941" fmla="*/ 1903700 h 5973007"/>
              <a:gd name="connsiteX42942" fmla="*/ 5941606 w 6884782"/>
              <a:gd name="connsiteY42942" fmla="*/ 1911524 h 5973007"/>
              <a:gd name="connsiteX42943" fmla="*/ 5931788 w 6884782"/>
              <a:gd name="connsiteY42943" fmla="*/ 1916361 h 5973007"/>
              <a:gd name="connsiteX42944" fmla="*/ 5926026 w 6884782"/>
              <a:gd name="connsiteY42944" fmla="*/ 1913090 h 5973007"/>
              <a:gd name="connsiteX42945" fmla="*/ 5924532 w 6884782"/>
              <a:gd name="connsiteY42945" fmla="*/ 1908536 h 5973007"/>
              <a:gd name="connsiteX42946" fmla="*/ 5923465 w 6884782"/>
              <a:gd name="connsiteY42946" fmla="*/ 1906403 h 5973007"/>
              <a:gd name="connsiteX42947" fmla="*/ 5905111 w 6884782"/>
              <a:gd name="connsiteY42947" fmla="*/ 1913658 h 5973007"/>
              <a:gd name="connsiteX42948" fmla="*/ 5902550 w 6884782"/>
              <a:gd name="connsiteY42948" fmla="*/ 1900854 h 5973007"/>
              <a:gd name="connsiteX42949" fmla="*/ 5932002 w 6884782"/>
              <a:gd name="connsiteY42949" fmla="*/ 1890753 h 5973007"/>
              <a:gd name="connsiteX42950" fmla="*/ 5947155 w 6884782"/>
              <a:gd name="connsiteY42950" fmla="*/ 1885631 h 5973007"/>
              <a:gd name="connsiteX42951" fmla="*/ 5945234 w 6884782"/>
              <a:gd name="connsiteY42951" fmla="*/ 1881648 h 5973007"/>
              <a:gd name="connsiteX42952" fmla="*/ 5943527 w 6884782"/>
              <a:gd name="connsiteY42952" fmla="*/ 1865002 h 5973007"/>
              <a:gd name="connsiteX42953" fmla="*/ 5945661 w 6884782"/>
              <a:gd name="connsiteY42953" fmla="*/ 1854332 h 5973007"/>
              <a:gd name="connsiteX42954" fmla="*/ 3749145 w 6884782"/>
              <a:gd name="connsiteY42954" fmla="*/ 1853621 h 5973007"/>
              <a:gd name="connsiteX42955" fmla="*/ 3750639 w 6884782"/>
              <a:gd name="connsiteY42955" fmla="*/ 1854190 h 5973007"/>
              <a:gd name="connsiteX42956" fmla="*/ 3750852 w 6884782"/>
              <a:gd name="connsiteY42956" fmla="*/ 1853621 h 5973007"/>
              <a:gd name="connsiteX42957" fmla="*/ 3752772 w 6884782"/>
              <a:gd name="connsiteY42957" fmla="*/ 1855613 h 5973007"/>
              <a:gd name="connsiteX42958" fmla="*/ 3753413 w 6884782"/>
              <a:gd name="connsiteY42958" fmla="*/ 1859312 h 5973007"/>
              <a:gd name="connsiteX42959" fmla="*/ 3750852 w 6884782"/>
              <a:gd name="connsiteY42959" fmla="*/ 1859454 h 5973007"/>
              <a:gd name="connsiteX42960" fmla="*/ 3749145 w 6884782"/>
              <a:gd name="connsiteY42960" fmla="*/ 1853621 h 5973007"/>
              <a:gd name="connsiteX42961" fmla="*/ 6287346 w 6884782"/>
              <a:gd name="connsiteY42961" fmla="*/ 1853194 h 5973007"/>
              <a:gd name="connsiteX42962" fmla="*/ 6283718 w 6884782"/>
              <a:gd name="connsiteY42962" fmla="*/ 1863580 h 5973007"/>
              <a:gd name="connsiteX42963" fmla="*/ 6277529 w 6884782"/>
              <a:gd name="connsiteY42963" fmla="*/ 1860592 h 5973007"/>
              <a:gd name="connsiteX42964" fmla="*/ 6287346 w 6884782"/>
              <a:gd name="connsiteY42964" fmla="*/ 1853194 h 5973007"/>
              <a:gd name="connsiteX42965" fmla="*/ 5282992 w 6884782"/>
              <a:gd name="connsiteY42965" fmla="*/ 1853194 h 5973007"/>
              <a:gd name="connsiteX42966" fmla="*/ 5287261 w 6884782"/>
              <a:gd name="connsiteY42966" fmla="*/ 1855897 h 5973007"/>
              <a:gd name="connsiteX42967" fmla="*/ 5287261 w 6884782"/>
              <a:gd name="connsiteY42967" fmla="*/ 1854759 h 5973007"/>
              <a:gd name="connsiteX42968" fmla="*/ 5287901 w 6884782"/>
              <a:gd name="connsiteY42968" fmla="*/ 1862015 h 5973007"/>
              <a:gd name="connsiteX42969" fmla="*/ 5279791 w 6884782"/>
              <a:gd name="connsiteY42969" fmla="*/ 1866852 h 5973007"/>
              <a:gd name="connsiteX42970" fmla="*/ 5279578 w 6884782"/>
              <a:gd name="connsiteY42970" fmla="*/ 1866710 h 5973007"/>
              <a:gd name="connsiteX42971" fmla="*/ 5277657 w 6884782"/>
              <a:gd name="connsiteY42971" fmla="*/ 1872685 h 5973007"/>
              <a:gd name="connsiteX42972" fmla="*/ 5276163 w 6884782"/>
              <a:gd name="connsiteY42972" fmla="*/ 1869413 h 5973007"/>
              <a:gd name="connsiteX42973" fmla="*/ 5276803 w 6884782"/>
              <a:gd name="connsiteY42973" fmla="*/ 1864861 h 5973007"/>
              <a:gd name="connsiteX42974" fmla="*/ 5274029 w 6884782"/>
              <a:gd name="connsiteY42974" fmla="*/ 1862157 h 5973007"/>
              <a:gd name="connsiteX42975" fmla="*/ 5276803 w 6884782"/>
              <a:gd name="connsiteY42975" fmla="*/ 1854190 h 5973007"/>
              <a:gd name="connsiteX42976" fmla="*/ 5280431 w 6884782"/>
              <a:gd name="connsiteY42976" fmla="*/ 1853621 h 5973007"/>
              <a:gd name="connsiteX42977" fmla="*/ 5282992 w 6884782"/>
              <a:gd name="connsiteY42977" fmla="*/ 1853194 h 5973007"/>
              <a:gd name="connsiteX42978" fmla="*/ 5102013 w 6884782"/>
              <a:gd name="connsiteY42978" fmla="*/ 1852767 h 5973007"/>
              <a:gd name="connsiteX42979" fmla="*/ 5104360 w 6884782"/>
              <a:gd name="connsiteY42979" fmla="*/ 1854617 h 5973007"/>
              <a:gd name="connsiteX42980" fmla="*/ 5093476 w 6884782"/>
              <a:gd name="connsiteY42980" fmla="*/ 1855755 h 5973007"/>
              <a:gd name="connsiteX42981" fmla="*/ 5102013 w 6884782"/>
              <a:gd name="connsiteY42981" fmla="*/ 1852767 h 5973007"/>
              <a:gd name="connsiteX42982" fmla="*/ 3850519 w 6884782"/>
              <a:gd name="connsiteY42982" fmla="*/ 1852767 h 5973007"/>
              <a:gd name="connsiteX42983" fmla="*/ 3854147 w 6884782"/>
              <a:gd name="connsiteY42983" fmla="*/ 1852910 h 5973007"/>
              <a:gd name="connsiteX42984" fmla="*/ 3855001 w 6884782"/>
              <a:gd name="connsiteY42984" fmla="*/ 1853478 h 5973007"/>
              <a:gd name="connsiteX42985" fmla="*/ 3854787 w 6884782"/>
              <a:gd name="connsiteY42985" fmla="*/ 1854617 h 5973007"/>
              <a:gd name="connsiteX42986" fmla="*/ 3850519 w 6884782"/>
              <a:gd name="connsiteY42986" fmla="*/ 1852767 h 5973007"/>
              <a:gd name="connsiteX42987" fmla="*/ 3750852 w 6884782"/>
              <a:gd name="connsiteY42987" fmla="*/ 1852767 h 5973007"/>
              <a:gd name="connsiteX42988" fmla="*/ 3750852 w 6884782"/>
              <a:gd name="connsiteY42988" fmla="*/ 1853621 h 5973007"/>
              <a:gd name="connsiteX42989" fmla="*/ 3749998 w 6884782"/>
              <a:gd name="connsiteY42989" fmla="*/ 1853052 h 5973007"/>
              <a:gd name="connsiteX42990" fmla="*/ 3750852 w 6884782"/>
              <a:gd name="connsiteY42990" fmla="*/ 1852767 h 5973007"/>
              <a:gd name="connsiteX42991" fmla="*/ 757694 w 6884782"/>
              <a:gd name="connsiteY42991" fmla="*/ 1852582 h 5973007"/>
              <a:gd name="connsiteX42992" fmla="*/ 777313 w 6884782"/>
              <a:gd name="connsiteY42992" fmla="*/ 1867297 h 5973007"/>
              <a:gd name="connsiteX42993" fmla="*/ 758520 w 6884782"/>
              <a:gd name="connsiteY42993" fmla="*/ 1857848 h 5973007"/>
              <a:gd name="connsiteX42994" fmla="*/ 757282 w 6884782"/>
              <a:gd name="connsiteY42994" fmla="*/ 1854131 h 5973007"/>
              <a:gd name="connsiteX42995" fmla="*/ 757694 w 6884782"/>
              <a:gd name="connsiteY42995" fmla="*/ 1852582 h 5973007"/>
              <a:gd name="connsiteX42996" fmla="*/ 627798 w 6884782"/>
              <a:gd name="connsiteY42996" fmla="*/ 1852582 h 5973007"/>
              <a:gd name="connsiteX42997" fmla="*/ 629347 w 6884782"/>
              <a:gd name="connsiteY42997" fmla="*/ 1859552 h 5973007"/>
              <a:gd name="connsiteX42998" fmla="*/ 624184 w 6884782"/>
              <a:gd name="connsiteY42998" fmla="*/ 1858158 h 5973007"/>
              <a:gd name="connsiteX42999" fmla="*/ 622635 w 6884782"/>
              <a:gd name="connsiteY42999" fmla="*/ 1855525 h 5973007"/>
              <a:gd name="connsiteX43000" fmla="*/ 624391 w 6884782"/>
              <a:gd name="connsiteY43000" fmla="*/ 1853202 h 5973007"/>
              <a:gd name="connsiteX43001" fmla="*/ 627798 w 6884782"/>
              <a:gd name="connsiteY43001" fmla="*/ 1852582 h 5973007"/>
              <a:gd name="connsiteX43002" fmla="*/ 4993808 w 6884782"/>
              <a:gd name="connsiteY43002" fmla="*/ 1852056 h 5973007"/>
              <a:gd name="connsiteX43003" fmla="*/ 4999784 w 6884782"/>
              <a:gd name="connsiteY43003" fmla="*/ 1853336 h 5973007"/>
              <a:gd name="connsiteX43004" fmla="*/ 4978016 w 6884782"/>
              <a:gd name="connsiteY43004" fmla="*/ 1867848 h 5973007"/>
              <a:gd name="connsiteX43005" fmla="*/ 4955820 w 6884782"/>
              <a:gd name="connsiteY43005" fmla="*/ 1861446 h 5973007"/>
              <a:gd name="connsiteX43006" fmla="*/ 4962863 w 6884782"/>
              <a:gd name="connsiteY43006" fmla="*/ 1860877 h 5973007"/>
              <a:gd name="connsiteX43007" fmla="*/ 4965851 w 6884782"/>
              <a:gd name="connsiteY43007" fmla="*/ 1858173 h 5973007"/>
              <a:gd name="connsiteX43008" fmla="*/ 4975881 w 6884782"/>
              <a:gd name="connsiteY43008" fmla="*/ 1854474 h 5973007"/>
              <a:gd name="connsiteX43009" fmla="*/ 4977802 w 6884782"/>
              <a:gd name="connsiteY43009" fmla="*/ 1856040 h 5973007"/>
              <a:gd name="connsiteX43010" fmla="*/ 4988046 w 6884782"/>
              <a:gd name="connsiteY43010" fmla="*/ 1852483 h 5973007"/>
              <a:gd name="connsiteX43011" fmla="*/ 4993808 w 6884782"/>
              <a:gd name="connsiteY43011" fmla="*/ 1852056 h 5973007"/>
              <a:gd name="connsiteX43012" fmla="*/ 1249607 w 6884782"/>
              <a:gd name="connsiteY43012" fmla="*/ 1851962 h 5973007"/>
              <a:gd name="connsiteX43013" fmla="*/ 1249710 w 6884782"/>
              <a:gd name="connsiteY43013" fmla="*/ 1853821 h 5973007"/>
              <a:gd name="connsiteX43014" fmla="*/ 1249194 w 6884782"/>
              <a:gd name="connsiteY43014" fmla="*/ 1855990 h 5973007"/>
              <a:gd name="connsiteX43015" fmla="*/ 1250124 w 6884782"/>
              <a:gd name="connsiteY43015" fmla="*/ 1857384 h 5973007"/>
              <a:gd name="connsiteX43016" fmla="*/ 1246922 w 6884782"/>
              <a:gd name="connsiteY43016" fmla="*/ 1863115 h 5973007"/>
              <a:gd name="connsiteX43017" fmla="*/ 1246819 w 6884782"/>
              <a:gd name="connsiteY43017" fmla="*/ 1861101 h 5973007"/>
              <a:gd name="connsiteX43018" fmla="*/ 1247232 w 6884782"/>
              <a:gd name="connsiteY43018" fmla="*/ 1858933 h 5973007"/>
              <a:gd name="connsiteX43019" fmla="*/ 1247748 w 6884782"/>
              <a:gd name="connsiteY43019" fmla="*/ 1856764 h 5973007"/>
              <a:gd name="connsiteX43020" fmla="*/ 1247542 w 6884782"/>
              <a:gd name="connsiteY43020" fmla="*/ 1854905 h 5973007"/>
              <a:gd name="connsiteX43021" fmla="*/ 1249607 w 6884782"/>
              <a:gd name="connsiteY43021" fmla="*/ 1851962 h 5973007"/>
              <a:gd name="connsiteX43022" fmla="*/ 1179599 w 6884782"/>
              <a:gd name="connsiteY43022" fmla="*/ 1851498 h 5973007"/>
              <a:gd name="connsiteX43023" fmla="*/ 1181355 w 6884782"/>
              <a:gd name="connsiteY43023" fmla="*/ 1851498 h 5973007"/>
              <a:gd name="connsiteX43024" fmla="*/ 1182697 w 6884782"/>
              <a:gd name="connsiteY43024" fmla="*/ 1853357 h 5973007"/>
              <a:gd name="connsiteX43025" fmla="*/ 1180425 w 6884782"/>
              <a:gd name="connsiteY43025" fmla="*/ 1856764 h 5973007"/>
              <a:gd name="connsiteX43026" fmla="*/ 1175572 w 6884782"/>
              <a:gd name="connsiteY43026" fmla="*/ 1857694 h 5973007"/>
              <a:gd name="connsiteX43027" fmla="*/ 1173507 w 6884782"/>
              <a:gd name="connsiteY43027" fmla="*/ 1859242 h 5973007"/>
              <a:gd name="connsiteX43028" fmla="*/ 1172784 w 6884782"/>
              <a:gd name="connsiteY43028" fmla="*/ 1858778 h 5973007"/>
              <a:gd name="connsiteX43029" fmla="*/ 1179599 w 6884782"/>
              <a:gd name="connsiteY43029" fmla="*/ 1851498 h 5973007"/>
              <a:gd name="connsiteX43030" fmla="*/ 5407416 w 6884782"/>
              <a:gd name="connsiteY43030" fmla="*/ 1850776 h 5973007"/>
              <a:gd name="connsiteX43031" fmla="*/ 5456503 w 6884782"/>
              <a:gd name="connsiteY43031" fmla="*/ 1860023 h 5973007"/>
              <a:gd name="connsiteX43032" fmla="*/ 5472296 w 6884782"/>
              <a:gd name="connsiteY43032" fmla="*/ 1886628 h 5973007"/>
              <a:gd name="connsiteX43033" fmla="*/ 5447112 w 6884782"/>
              <a:gd name="connsiteY43033" fmla="*/ 1944673 h 5973007"/>
              <a:gd name="connsiteX43034" fmla="*/ 5400160 w 6884782"/>
              <a:gd name="connsiteY43034" fmla="*/ 1939409 h 5973007"/>
              <a:gd name="connsiteX43035" fmla="*/ 5382233 w 6884782"/>
              <a:gd name="connsiteY43035" fmla="*/ 1916788 h 5973007"/>
              <a:gd name="connsiteX43036" fmla="*/ 5380098 w 6884782"/>
              <a:gd name="connsiteY43036" fmla="*/ 1880226 h 5973007"/>
              <a:gd name="connsiteX43037" fmla="*/ 5383726 w 6884782"/>
              <a:gd name="connsiteY43037" fmla="*/ 1876526 h 5973007"/>
              <a:gd name="connsiteX43038" fmla="*/ 5381379 w 6884782"/>
              <a:gd name="connsiteY43038" fmla="*/ 1872685 h 5973007"/>
              <a:gd name="connsiteX43039" fmla="*/ 5385647 w 6884782"/>
              <a:gd name="connsiteY43039" fmla="*/ 1871973 h 5973007"/>
              <a:gd name="connsiteX43040" fmla="*/ 5387568 w 6884782"/>
              <a:gd name="connsiteY43040" fmla="*/ 1872258 h 5973007"/>
              <a:gd name="connsiteX43041" fmla="*/ 5393757 w 6884782"/>
              <a:gd name="connsiteY43041" fmla="*/ 1865572 h 5973007"/>
              <a:gd name="connsiteX43042" fmla="*/ 5401013 w 6884782"/>
              <a:gd name="connsiteY43042" fmla="*/ 1857889 h 5973007"/>
              <a:gd name="connsiteX43043" fmla="*/ 5401440 w 6884782"/>
              <a:gd name="connsiteY43043" fmla="*/ 1854190 h 5973007"/>
              <a:gd name="connsiteX43044" fmla="*/ 5404642 w 6884782"/>
              <a:gd name="connsiteY43044" fmla="*/ 1853906 h 5973007"/>
              <a:gd name="connsiteX43045" fmla="*/ 977527 w 6884782"/>
              <a:gd name="connsiteY43045" fmla="*/ 1850568 h 5973007"/>
              <a:gd name="connsiteX43046" fmla="*/ 985787 w 6884782"/>
              <a:gd name="connsiteY43046" fmla="*/ 1856919 h 5973007"/>
              <a:gd name="connsiteX43047" fmla="*/ 984549 w 6884782"/>
              <a:gd name="connsiteY43047" fmla="*/ 1858003 h 5973007"/>
              <a:gd name="connsiteX43048" fmla="*/ 986303 w 6884782"/>
              <a:gd name="connsiteY43048" fmla="*/ 1858623 h 5973007"/>
              <a:gd name="connsiteX43049" fmla="*/ 988472 w 6884782"/>
              <a:gd name="connsiteY43049" fmla="*/ 1860172 h 5973007"/>
              <a:gd name="connsiteX43050" fmla="*/ 986510 w 6884782"/>
              <a:gd name="connsiteY43050" fmla="*/ 1866213 h 5973007"/>
              <a:gd name="connsiteX43051" fmla="*/ 983825 w 6884782"/>
              <a:gd name="connsiteY43051" fmla="*/ 1867142 h 5973007"/>
              <a:gd name="connsiteX43052" fmla="*/ 978663 w 6884782"/>
              <a:gd name="connsiteY43052" fmla="*/ 1866523 h 5973007"/>
              <a:gd name="connsiteX43053" fmla="*/ 978663 w 6884782"/>
              <a:gd name="connsiteY43053" fmla="*/ 1867297 h 5973007"/>
              <a:gd name="connsiteX43054" fmla="*/ 978043 w 6884782"/>
              <a:gd name="connsiteY43054" fmla="*/ 1862340 h 5973007"/>
              <a:gd name="connsiteX43055" fmla="*/ 978559 w 6884782"/>
              <a:gd name="connsiteY43055" fmla="*/ 1861876 h 5973007"/>
              <a:gd name="connsiteX43056" fmla="*/ 977837 w 6884782"/>
              <a:gd name="connsiteY43056" fmla="*/ 1862185 h 5973007"/>
              <a:gd name="connsiteX43057" fmla="*/ 975049 w 6884782"/>
              <a:gd name="connsiteY43057" fmla="*/ 1856764 h 5973007"/>
              <a:gd name="connsiteX43058" fmla="*/ 977527 w 6884782"/>
              <a:gd name="connsiteY43058" fmla="*/ 1850568 h 5973007"/>
              <a:gd name="connsiteX43059" fmla="*/ 777003 w 6884782"/>
              <a:gd name="connsiteY43059" fmla="*/ 1849794 h 5973007"/>
              <a:gd name="connsiteX43060" fmla="*/ 781960 w 6884782"/>
              <a:gd name="connsiteY43060" fmla="*/ 1850568 h 5973007"/>
              <a:gd name="connsiteX43061" fmla="*/ 780824 w 6884782"/>
              <a:gd name="connsiteY43061" fmla="*/ 1853821 h 5973007"/>
              <a:gd name="connsiteX43062" fmla="*/ 777003 w 6884782"/>
              <a:gd name="connsiteY43062" fmla="*/ 1849794 h 5973007"/>
              <a:gd name="connsiteX43063" fmla="*/ 3945278 w 6884782"/>
              <a:gd name="connsiteY43063" fmla="*/ 1849637 h 5973007"/>
              <a:gd name="connsiteX43064" fmla="*/ 3951253 w 6884782"/>
              <a:gd name="connsiteY43064" fmla="*/ 1865002 h 5973007"/>
              <a:gd name="connsiteX43065" fmla="*/ 3945491 w 6884782"/>
              <a:gd name="connsiteY43065" fmla="*/ 1866283 h 5973007"/>
              <a:gd name="connsiteX43066" fmla="*/ 3937594 w 6884782"/>
              <a:gd name="connsiteY43066" fmla="*/ 1859312 h 5973007"/>
              <a:gd name="connsiteX43067" fmla="*/ 3945278 w 6884782"/>
              <a:gd name="connsiteY43067" fmla="*/ 1849637 h 5973007"/>
              <a:gd name="connsiteX43068" fmla="*/ 1593450 w 6884782"/>
              <a:gd name="connsiteY43068" fmla="*/ 1849329 h 5973007"/>
              <a:gd name="connsiteX43069" fmla="*/ 1588907 w 6884782"/>
              <a:gd name="connsiteY43069" fmla="*/ 1854905 h 5973007"/>
              <a:gd name="connsiteX43070" fmla="*/ 1587874 w 6884782"/>
              <a:gd name="connsiteY43070" fmla="*/ 1849484 h 5973007"/>
              <a:gd name="connsiteX43071" fmla="*/ 1593450 w 6884782"/>
              <a:gd name="connsiteY43071" fmla="*/ 1849329 h 5973007"/>
              <a:gd name="connsiteX43072" fmla="*/ 964000 w 6884782"/>
              <a:gd name="connsiteY43072" fmla="*/ 1848865 h 5973007"/>
              <a:gd name="connsiteX43073" fmla="*/ 971641 w 6884782"/>
              <a:gd name="connsiteY43073" fmla="*/ 1853357 h 5973007"/>
              <a:gd name="connsiteX43074" fmla="*/ 961522 w 6884782"/>
              <a:gd name="connsiteY43074" fmla="*/ 1853202 h 5973007"/>
              <a:gd name="connsiteX43075" fmla="*/ 964000 w 6884782"/>
              <a:gd name="connsiteY43075" fmla="*/ 1848865 h 5973007"/>
              <a:gd name="connsiteX43076" fmla="*/ 1280894 w 6884782"/>
              <a:gd name="connsiteY43076" fmla="*/ 1848710 h 5973007"/>
              <a:gd name="connsiteX43077" fmla="*/ 1282959 w 6884782"/>
              <a:gd name="connsiteY43077" fmla="*/ 1850568 h 5973007"/>
              <a:gd name="connsiteX43078" fmla="*/ 1281720 w 6884782"/>
              <a:gd name="connsiteY43078" fmla="*/ 1853202 h 5973007"/>
              <a:gd name="connsiteX43079" fmla="*/ 1282752 w 6884782"/>
              <a:gd name="connsiteY43079" fmla="*/ 1856454 h 5973007"/>
              <a:gd name="connsiteX43080" fmla="*/ 1282442 w 6884782"/>
              <a:gd name="connsiteY43080" fmla="*/ 1857384 h 5973007"/>
              <a:gd name="connsiteX43081" fmla="*/ 1283269 w 6884782"/>
              <a:gd name="connsiteY43081" fmla="*/ 1857384 h 5973007"/>
              <a:gd name="connsiteX43082" fmla="*/ 1275215 w 6884782"/>
              <a:gd name="connsiteY43082" fmla="*/ 1881857 h 5973007"/>
              <a:gd name="connsiteX43083" fmla="*/ 1267780 w 6884782"/>
              <a:gd name="connsiteY43083" fmla="*/ 1873648 h 5973007"/>
              <a:gd name="connsiteX43084" fmla="*/ 1277796 w 6884782"/>
              <a:gd name="connsiteY43084" fmla="*/ 1857538 h 5973007"/>
              <a:gd name="connsiteX43085" fmla="*/ 1281100 w 6884782"/>
              <a:gd name="connsiteY43085" fmla="*/ 1857384 h 5973007"/>
              <a:gd name="connsiteX43086" fmla="*/ 1281100 w 6884782"/>
              <a:gd name="connsiteY43086" fmla="*/ 1856919 h 5973007"/>
              <a:gd name="connsiteX43087" fmla="*/ 1281513 w 6884782"/>
              <a:gd name="connsiteY43087" fmla="*/ 1856145 h 5973007"/>
              <a:gd name="connsiteX43088" fmla="*/ 1279861 w 6884782"/>
              <a:gd name="connsiteY43088" fmla="*/ 1850103 h 5973007"/>
              <a:gd name="connsiteX43089" fmla="*/ 1280894 w 6884782"/>
              <a:gd name="connsiteY43089" fmla="*/ 1848710 h 5973007"/>
              <a:gd name="connsiteX43090" fmla="*/ 815311 w 6884782"/>
              <a:gd name="connsiteY43090" fmla="*/ 1848090 h 5973007"/>
              <a:gd name="connsiteX43091" fmla="*/ 837822 w 6884782"/>
              <a:gd name="connsiteY43091" fmla="*/ 1855990 h 5973007"/>
              <a:gd name="connsiteX43092" fmla="*/ 815311 w 6884782"/>
              <a:gd name="connsiteY43092" fmla="*/ 1848090 h 5973007"/>
              <a:gd name="connsiteX43093" fmla="*/ 3774755 w 6884782"/>
              <a:gd name="connsiteY43093" fmla="*/ 1847504 h 5973007"/>
              <a:gd name="connsiteX43094" fmla="*/ 3782225 w 6884782"/>
              <a:gd name="connsiteY43094" fmla="*/ 1847788 h 5973007"/>
              <a:gd name="connsiteX43095" fmla="*/ 3786280 w 6884782"/>
              <a:gd name="connsiteY43095" fmla="*/ 1869271 h 5973007"/>
              <a:gd name="connsiteX43096" fmla="*/ 3788414 w 6884782"/>
              <a:gd name="connsiteY43096" fmla="*/ 1868702 h 5973007"/>
              <a:gd name="connsiteX43097" fmla="*/ 3804847 w 6884782"/>
              <a:gd name="connsiteY43097" fmla="*/ 1873112 h 5973007"/>
              <a:gd name="connsiteX43098" fmla="*/ 3808689 w 6884782"/>
              <a:gd name="connsiteY43098" fmla="*/ 1877807 h 5973007"/>
              <a:gd name="connsiteX43099" fmla="*/ 3811677 w 6884782"/>
              <a:gd name="connsiteY43099" fmla="*/ 1878660 h 5973007"/>
              <a:gd name="connsiteX43100" fmla="*/ 3810823 w 6884782"/>
              <a:gd name="connsiteY43100" fmla="*/ 1881221 h 5973007"/>
              <a:gd name="connsiteX43101" fmla="*/ 3811677 w 6884782"/>
              <a:gd name="connsiteY43101" fmla="*/ 1882644 h 5973007"/>
              <a:gd name="connsiteX43102" fmla="*/ 3810823 w 6884782"/>
              <a:gd name="connsiteY43102" fmla="*/ 1884067 h 5973007"/>
              <a:gd name="connsiteX43103" fmla="*/ 3809969 w 6884782"/>
              <a:gd name="connsiteY43103" fmla="*/ 1885774 h 5973007"/>
              <a:gd name="connsiteX43104" fmla="*/ 3811890 w 6884782"/>
              <a:gd name="connsiteY43104" fmla="*/ 1886058 h 5973007"/>
              <a:gd name="connsiteX43105" fmla="*/ 3814665 w 6884782"/>
              <a:gd name="connsiteY43105" fmla="*/ 1887908 h 5973007"/>
              <a:gd name="connsiteX43106" fmla="*/ 3814238 w 6884782"/>
              <a:gd name="connsiteY43106" fmla="*/ 1889757 h 5973007"/>
              <a:gd name="connsiteX43107" fmla="*/ 3821281 w 6884782"/>
              <a:gd name="connsiteY43107" fmla="*/ 1886628 h 5973007"/>
              <a:gd name="connsiteX43108" fmla="*/ 3827043 w 6884782"/>
              <a:gd name="connsiteY43108" fmla="*/ 1886769 h 5973007"/>
              <a:gd name="connsiteX43109" fmla="*/ 3843476 w 6884782"/>
              <a:gd name="connsiteY43109" fmla="*/ 1894452 h 5973007"/>
              <a:gd name="connsiteX43110" fmla="*/ 3821067 w 6884782"/>
              <a:gd name="connsiteY43110" fmla="*/ 1894879 h 5973007"/>
              <a:gd name="connsiteX43111" fmla="*/ 3814024 w 6884782"/>
              <a:gd name="connsiteY43111" fmla="*/ 1890184 h 5973007"/>
              <a:gd name="connsiteX43112" fmla="*/ 3813170 w 6884782"/>
              <a:gd name="connsiteY43112" fmla="*/ 1893883 h 5973007"/>
              <a:gd name="connsiteX43113" fmla="*/ 3796737 w 6884782"/>
              <a:gd name="connsiteY43113" fmla="*/ 1897867 h 5973007"/>
              <a:gd name="connsiteX43114" fmla="*/ 3796524 w 6884782"/>
              <a:gd name="connsiteY43114" fmla="*/ 1897013 h 5973007"/>
              <a:gd name="connsiteX43115" fmla="*/ 3787774 w 6884782"/>
              <a:gd name="connsiteY43115" fmla="*/ 1895448 h 5973007"/>
              <a:gd name="connsiteX43116" fmla="*/ 3786280 w 6884782"/>
              <a:gd name="connsiteY43116" fmla="*/ 1906118 h 5973007"/>
              <a:gd name="connsiteX43117" fmla="*/ 3777103 w 6884782"/>
              <a:gd name="connsiteY43117" fmla="*/ 1928454 h 5973007"/>
              <a:gd name="connsiteX43118" fmla="*/ 3754267 w 6884782"/>
              <a:gd name="connsiteY43118" fmla="*/ 1925040 h 5973007"/>
              <a:gd name="connsiteX43119" fmla="*/ 3752346 w 6884782"/>
              <a:gd name="connsiteY43119" fmla="*/ 1921626 h 5973007"/>
              <a:gd name="connsiteX43120" fmla="*/ 3749785 w 6884782"/>
              <a:gd name="connsiteY43120" fmla="*/ 1922194 h 5973007"/>
              <a:gd name="connsiteX43121" fmla="*/ 3744449 w 6884782"/>
              <a:gd name="connsiteY43121" fmla="*/ 1913517 h 5973007"/>
              <a:gd name="connsiteX43122" fmla="*/ 3740394 w 6884782"/>
              <a:gd name="connsiteY43122" fmla="*/ 1916647 h 5973007"/>
              <a:gd name="connsiteX43123" fmla="*/ 3738474 w 6884782"/>
              <a:gd name="connsiteY43123" fmla="*/ 1916077 h 5973007"/>
              <a:gd name="connsiteX43124" fmla="*/ 3732498 w 6884782"/>
              <a:gd name="connsiteY43124" fmla="*/ 1910813 h 5973007"/>
              <a:gd name="connsiteX43125" fmla="*/ 3731218 w 6884782"/>
              <a:gd name="connsiteY43125" fmla="*/ 1905549 h 5973007"/>
              <a:gd name="connsiteX43126" fmla="*/ 3728870 w 6884782"/>
              <a:gd name="connsiteY43126" fmla="*/ 1906118 h 5973007"/>
              <a:gd name="connsiteX43127" fmla="*/ 3734205 w 6884782"/>
              <a:gd name="connsiteY43127" fmla="*/ 1891749 h 5973007"/>
              <a:gd name="connsiteX43128" fmla="*/ 3735059 w 6884782"/>
              <a:gd name="connsiteY43128" fmla="*/ 1893456 h 5973007"/>
              <a:gd name="connsiteX43129" fmla="*/ 3736553 w 6884782"/>
              <a:gd name="connsiteY43129" fmla="*/ 1892745 h 5973007"/>
              <a:gd name="connsiteX43130" fmla="*/ 3738474 w 6884782"/>
              <a:gd name="connsiteY43130" fmla="*/ 1892318 h 5973007"/>
              <a:gd name="connsiteX43131" fmla="*/ 3740821 w 6884782"/>
              <a:gd name="connsiteY43131" fmla="*/ 1894452 h 5973007"/>
              <a:gd name="connsiteX43132" fmla="*/ 3741248 w 6884782"/>
              <a:gd name="connsiteY43132" fmla="*/ 1890184 h 5973007"/>
              <a:gd name="connsiteX43133" fmla="*/ 3743809 w 6884782"/>
              <a:gd name="connsiteY43133" fmla="*/ 1886628 h 5973007"/>
              <a:gd name="connsiteX43134" fmla="*/ 3743809 w 6884782"/>
              <a:gd name="connsiteY43134" fmla="*/ 1885631 h 5973007"/>
              <a:gd name="connsiteX43135" fmla="*/ 3745090 w 6884782"/>
              <a:gd name="connsiteY43135" fmla="*/ 1880510 h 5973007"/>
              <a:gd name="connsiteX43136" fmla="*/ 3744022 w 6884782"/>
              <a:gd name="connsiteY43136" fmla="*/ 1881648 h 5973007"/>
              <a:gd name="connsiteX43137" fmla="*/ 3742315 w 6884782"/>
              <a:gd name="connsiteY43137" fmla="*/ 1882359 h 5973007"/>
              <a:gd name="connsiteX43138" fmla="*/ 3746157 w 6884782"/>
              <a:gd name="connsiteY43138" fmla="*/ 1877380 h 5973007"/>
              <a:gd name="connsiteX43139" fmla="*/ 3747651 w 6884782"/>
              <a:gd name="connsiteY43139" fmla="*/ 1872116 h 5973007"/>
              <a:gd name="connsiteX43140" fmla="*/ 3774755 w 6884782"/>
              <a:gd name="connsiteY43140" fmla="*/ 1847504 h 5973007"/>
              <a:gd name="connsiteX43141" fmla="*/ 904318 w 6884782"/>
              <a:gd name="connsiteY43141" fmla="*/ 1847470 h 5973007"/>
              <a:gd name="connsiteX43142" fmla="*/ 909378 w 6884782"/>
              <a:gd name="connsiteY43142" fmla="*/ 1847935 h 5973007"/>
              <a:gd name="connsiteX43143" fmla="*/ 912682 w 6884782"/>
              <a:gd name="connsiteY43143" fmla="*/ 1847625 h 5973007"/>
              <a:gd name="connsiteX43144" fmla="*/ 914747 w 6884782"/>
              <a:gd name="connsiteY43144" fmla="*/ 1849484 h 5973007"/>
              <a:gd name="connsiteX43145" fmla="*/ 908242 w 6884782"/>
              <a:gd name="connsiteY43145" fmla="*/ 1852891 h 5973007"/>
              <a:gd name="connsiteX43146" fmla="*/ 902150 w 6884782"/>
              <a:gd name="connsiteY43146" fmla="*/ 1850879 h 5973007"/>
              <a:gd name="connsiteX43147" fmla="*/ 904318 w 6884782"/>
              <a:gd name="connsiteY43147" fmla="*/ 1847470 h 5973007"/>
              <a:gd name="connsiteX43148" fmla="*/ 3877837 w 6884782"/>
              <a:gd name="connsiteY43148" fmla="*/ 1846792 h 5973007"/>
              <a:gd name="connsiteX43149" fmla="*/ 3883812 w 6884782"/>
              <a:gd name="connsiteY43149" fmla="*/ 1854332 h 5973007"/>
              <a:gd name="connsiteX43150" fmla="*/ 3877837 w 6884782"/>
              <a:gd name="connsiteY43150" fmla="*/ 1846792 h 5973007"/>
              <a:gd name="connsiteX43151" fmla="*/ 853632 w 6884782"/>
              <a:gd name="connsiteY43151" fmla="*/ 1846096 h 5973007"/>
              <a:gd name="connsiteX43152" fmla="*/ 867972 w 6884782"/>
              <a:gd name="connsiteY43152" fmla="*/ 1848555 h 5973007"/>
              <a:gd name="connsiteX43153" fmla="*/ 840609 w 6884782"/>
              <a:gd name="connsiteY43153" fmla="*/ 1855835 h 5973007"/>
              <a:gd name="connsiteX43154" fmla="*/ 853632 w 6884782"/>
              <a:gd name="connsiteY43154" fmla="*/ 1846096 h 5973007"/>
              <a:gd name="connsiteX43155" fmla="*/ 1433919 w 6884782"/>
              <a:gd name="connsiteY43155" fmla="*/ 1845921 h 5973007"/>
              <a:gd name="connsiteX43156" fmla="*/ 1441664 w 6884782"/>
              <a:gd name="connsiteY43156" fmla="*/ 1846076 h 5973007"/>
              <a:gd name="connsiteX43157" fmla="*/ 1446000 w 6884782"/>
              <a:gd name="connsiteY43157" fmla="*/ 1853821 h 5973007"/>
              <a:gd name="connsiteX43158" fmla="*/ 1437843 w 6884782"/>
              <a:gd name="connsiteY43158" fmla="*/ 1856145 h 5973007"/>
              <a:gd name="connsiteX43159" fmla="*/ 1437120 w 6884782"/>
              <a:gd name="connsiteY43159" fmla="*/ 1855215 h 5973007"/>
              <a:gd name="connsiteX43160" fmla="*/ 1433919 w 6884782"/>
              <a:gd name="connsiteY43160" fmla="*/ 1850103 h 5973007"/>
              <a:gd name="connsiteX43161" fmla="*/ 1433919 w 6884782"/>
              <a:gd name="connsiteY43161" fmla="*/ 1845921 h 5973007"/>
              <a:gd name="connsiteX43162" fmla="*/ 6069871 w 6884782"/>
              <a:gd name="connsiteY43162" fmla="*/ 1845654 h 5973007"/>
              <a:gd name="connsiteX43163" fmla="*/ 6073499 w 6884782"/>
              <a:gd name="connsiteY43163" fmla="*/ 1846508 h 5973007"/>
              <a:gd name="connsiteX43164" fmla="*/ 6074780 w 6884782"/>
              <a:gd name="connsiteY43164" fmla="*/ 1847788 h 5973007"/>
              <a:gd name="connsiteX43165" fmla="*/ 6075847 w 6884782"/>
              <a:gd name="connsiteY43165" fmla="*/ 1847646 h 5973007"/>
              <a:gd name="connsiteX43166" fmla="*/ 6076060 w 6884782"/>
              <a:gd name="connsiteY43166" fmla="*/ 1848926 h 5973007"/>
              <a:gd name="connsiteX43167" fmla="*/ 6078835 w 6884782"/>
              <a:gd name="connsiteY43167" fmla="*/ 1851060 h 5973007"/>
              <a:gd name="connsiteX43168" fmla="*/ 6086091 w 6884782"/>
              <a:gd name="connsiteY43168" fmla="*/ 1854190 h 5973007"/>
              <a:gd name="connsiteX43169" fmla="*/ 6091853 w 6884782"/>
              <a:gd name="connsiteY43169" fmla="*/ 1861161 h 5973007"/>
              <a:gd name="connsiteX43170" fmla="*/ 6089719 w 6884782"/>
              <a:gd name="connsiteY43170" fmla="*/ 1863580 h 5973007"/>
              <a:gd name="connsiteX43171" fmla="*/ 6092493 w 6884782"/>
              <a:gd name="connsiteY43171" fmla="*/ 1865856 h 5973007"/>
              <a:gd name="connsiteX43172" fmla="*/ 6093348 w 6884782"/>
              <a:gd name="connsiteY43172" fmla="*/ 1881363 h 5973007"/>
              <a:gd name="connsiteX43173" fmla="*/ 6088225 w 6884782"/>
              <a:gd name="connsiteY43173" fmla="*/ 1885347 h 5973007"/>
              <a:gd name="connsiteX43174" fmla="*/ 6079902 w 6884782"/>
              <a:gd name="connsiteY43174" fmla="*/ 1883355 h 5973007"/>
              <a:gd name="connsiteX43175" fmla="*/ 6077127 w 6884782"/>
              <a:gd name="connsiteY43175" fmla="*/ 1879230 h 5973007"/>
              <a:gd name="connsiteX43176" fmla="*/ 6074566 w 6884782"/>
              <a:gd name="connsiteY43176" fmla="*/ 1881079 h 5973007"/>
              <a:gd name="connsiteX43177" fmla="*/ 6056426 w 6884782"/>
              <a:gd name="connsiteY43177" fmla="*/ 1872401 h 5973007"/>
              <a:gd name="connsiteX43178" fmla="*/ 6055999 w 6884782"/>
              <a:gd name="connsiteY43178" fmla="*/ 1869128 h 5973007"/>
              <a:gd name="connsiteX43179" fmla="*/ 6053651 w 6884782"/>
              <a:gd name="connsiteY43179" fmla="*/ 1864576 h 5973007"/>
              <a:gd name="connsiteX43180" fmla="*/ 6066243 w 6884782"/>
              <a:gd name="connsiteY43180" fmla="*/ 1855044 h 5973007"/>
              <a:gd name="connsiteX43181" fmla="*/ 6073499 w 6884782"/>
              <a:gd name="connsiteY43181" fmla="*/ 1853336 h 5973007"/>
              <a:gd name="connsiteX43182" fmla="*/ 6074993 w 6884782"/>
              <a:gd name="connsiteY43182" fmla="*/ 1853621 h 5973007"/>
              <a:gd name="connsiteX43183" fmla="*/ 6074566 w 6884782"/>
              <a:gd name="connsiteY43183" fmla="*/ 1853336 h 5973007"/>
              <a:gd name="connsiteX43184" fmla="*/ 6069871 w 6884782"/>
              <a:gd name="connsiteY43184" fmla="*/ 1845654 h 5973007"/>
              <a:gd name="connsiteX43185" fmla="*/ 1487716 w 6884782"/>
              <a:gd name="connsiteY43185" fmla="*/ 1845457 h 5973007"/>
              <a:gd name="connsiteX43186" fmla="*/ 1499384 w 6884782"/>
              <a:gd name="connsiteY43186" fmla="*/ 1850103 h 5973007"/>
              <a:gd name="connsiteX43187" fmla="*/ 1499074 w 6884782"/>
              <a:gd name="connsiteY43187" fmla="*/ 1853976 h 5973007"/>
              <a:gd name="connsiteX43188" fmla="*/ 1498764 w 6884782"/>
              <a:gd name="connsiteY43188" fmla="*/ 1853976 h 5973007"/>
              <a:gd name="connsiteX43189" fmla="*/ 1499590 w 6884782"/>
              <a:gd name="connsiteY43189" fmla="*/ 1854750 h 5973007"/>
              <a:gd name="connsiteX43190" fmla="*/ 1501139 w 6884782"/>
              <a:gd name="connsiteY43190" fmla="*/ 1856919 h 5973007"/>
              <a:gd name="connsiteX43191" fmla="*/ 1496183 w 6884782"/>
              <a:gd name="connsiteY43191" fmla="*/ 1860636 h 5973007"/>
              <a:gd name="connsiteX43192" fmla="*/ 1488955 w 6884782"/>
              <a:gd name="connsiteY43192" fmla="*/ 1862340 h 5973007"/>
              <a:gd name="connsiteX43193" fmla="*/ 1488129 w 6884782"/>
              <a:gd name="connsiteY43193" fmla="*/ 1864354 h 5973007"/>
              <a:gd name="connsiteX43194" fmla="*/ 1485341 w 6884782"/>
              <a:gd name="connsiteY43194" fmla="*/ 1866832 h 5973007"/>
              <a:gd name="connsiteX43195" fmla="*/ 1479352 w 6884782"/>
              <a:gd name="connsiteY43195" fmla="*/ 1865593 h 5973007"/>
              <a:gd name="connsiteX43196" fmla="*/ 1481211 w 6884782"/>
              <a:gd name="connsiteY43196" fmla="*/ 1860946 h 5973007"/>
              <a:gd name="connsiteX43197" fmla="*/ 1477494 w 6884782"/>
              <a:gd name="connsiteY43197" fmla="*/ 1857074 h 5973007"/>
              <a:gd name="connsiteX43198" fmla="*/ 1486890 w 6884782"/>
              <a:gd name="connsiteY43198" fmla="*/ 1856145 h 5973007"/>
              <a:gd name="connsiteX43199" fmla="*/ 1495460 w 6884782"/>
              <a:gd name="connsiteY43199" fmla="*/ 1853666 h 5973007"/>
              <a:gd name="connsiteX43200" fmla="*/ 1491227 w 6884782"/>
              <a:gd name="connsiteY43200" fmla="*/ 1852737 h 5973007"/>
              <a:gd name="connsiteX43201" fmla="*/ 1486374 w 6884782"/>
              <a:gd name="connsiteY43201" fmla="*/ 1847780 h 5973007"/>
              <a:gd name="connsiteX43202" fmla="*/ 1487716 w 6884782"/>
              <a:gd name="connsiteY43202" fmla="*/ 1845457 h 5973007"/>
              <a:gd name="connsiteX43203" fmla="*/ 6227802 w 6884782"/>
              <a:gd name="connsiteY43203" fmla="*/ 1845369 h 5973007"/>
              <a:gd name="connsiteX43204" fmla="*/ 6226948 w 6884782"/>
              <a:gd name="connsiteY43204" fmla="*/ 1854190 h 5973007"/>
              <a:gd name="connsiteX43205" fmla="*/ 6219265 w 6884782"/>
              <a:gd name="connsiteY43205" fmla="*/ 1851487 h 5973007"/>
              <a:gd name="connsiteX43206" fmla="*/ 6227802 w 6884782"/>
              <a:gd name="connsiteY43206" fmla="*/ 1845369 h 5973007"/>
              <a:gd name="connsiteX43207" fmla="*/ 1649931 w 6884782"/>
              <a:gd name="connsiteY43207" fmla="*/ 1844217 h 5973007"/>
              <a:gd name="connsiteX43208" fmla="*/ 1652409 w 6884782"/>
              <a:gd name="connsiteY43208" fmla="*/ 1845147 h 5973007"/>
              <a:gd name="connsiteX43209" fmla="*/ 1652513 w 6884782"/>
              <a:gd name="connsiteY43209" fmla="*/ 1846386 h 5973007"/>
              <a:gd name="connsiteX43210" fmla="*/ 1651997 w 6884782"/>
              <a:gd name="connsiteY43210" fmla="*/ 1848400 h 5973007"/>
              <a:gd name="connsiteX43211" fmla="*/ 1647763 w 6884782"/>
              <a:gd name="connsiteY43211" fmla="*/ 1847470 h 5973007"/>
              <a:gd name="connsiteX43212" fmla="*/ 1646834 w 6884782"/>
              <a:gd name="connsiteY43212" fmla="*/ 1846231 h 5973007"/>
              <a:gd name="connsiteX43213" fmla="*/ 1647247 w 6884782"/>
              <a:gd name="connsiteY43213" fmla="*/ 1844992 h 5973007"/>
              <a:gd name="connsiteX43214" fmla="*/ 1649931 w 6884782"/>
              <a:gd name="connsiteY43214" fmla="*/ 1844217 h 5973007"/>
              <a:gd name="connsiteX43215" fmla="*/ 855271 w 6884782"/>
              <a:gd name="connsiteY43215" fmla="*/ 1843908 h 5973007"/>
              <a:gd name="connsiteX43216" fmla="*/ 852793 w 6884782"/>
              <a:gd name="connsiteY43216" fmla="*/ 1844372 h 5973007"/>
              <a:gd name="connsiteX43217" fmla="*/ 851967 w 6884782"/>
              <a:gd name="connsiteY43217" fmla="*/ 1845767 h 5973007"/>
              <a:gd name="connsiteX43218" fmla="*/ 849179 w 6884782"/>
              <a:gd name="connsiteY43218" fmla="*/ 1844992 h 5973007"/>
              <a:gd name="connsiteX43219" fmla="*/ 855271 w 6884782"/>
              <a:gd name="connsiteY43219" fmla="*/ 1843908 h 5973007"/>
              <a:gd name="connsiteX43220" fmla="*/ 4811548 w 6884782"/>
              <a:gd name="connsiteY43220" fmla="*/ 1842808 h 5973007"/>
              <a:gd name="connsiteX43221" fmla="*/ 4816030 w 6884782"/>
              <a:gd name="connsiteY43221" fmla="*/ 1843235 h 5973007"/>
              <a:gd name="connsiteX43222" fmla="*/ 4819018 w 6884782"/>
              <a:gd name="connsiteY43222" fmla="*/ 1845085 h 5973007"/>
              <a:gd name="connsiteX43223" fmla="*/ 4819658 w 6884782"/>
              <a:gd name="connsiteY43223" fmla="*/ 1849068 h 5973007"/>
              <a:gd name="connsiteX43224" fmla="*/ 4819658 w 6884782"/>
              <a:gd name="connsiteY43224" fmla="*/ 1849353 h 5973007"/>
              <a:gd name="connsiteX43225" fmla="*/ 4831610 w 6884782"/>
              <a:gd name="connsiteY43225" fmla="*/ 1855613 h 5973007"/>
              <a:gd name="connsiteX43226" fmla="*/ 4844202 w 6884782"/>
              <a:gd name="connsiteY43226" fmla="*/ 1866567 h 5973007"/>
              <a:gd name="connsiteX43227" fmla="*/ 4845909 w 6884782"/>
              <a:gd name="connsiteY43227" fmla="*/ 1863295 h 5973007"/>
              <a:gd name="connsiteX43228" fmla="*/ 4849323 w 6884782"/>
              <a:gd name="connsiteY43228" fmla="*/ 1856040 h 5973007"/>
              <a:gd name="connsiteX43229" fmla="*/ 4852952 w 6884782"/>
              <a:gd name="connsiteY43229" fmla="*/ 1856040 h 5973007"/>
              <a:gd name="connsiteX43230" fmla="*/ 4854873 w 6884782"/>
              <a:gd name="connsiteY43230" fmla="*/ 1857889 h 5973007"/>
              <a:gd name="connsiteX43231" fmla="*/ 4855940 w 6884782"/>
              <a:gd name="connsiteY43231" fmla="*/ 1872685 h 5973007"/>
              <a:gd name="connsiteX43232" fmla="*/ 4854232 w 6884782"/>
              <a:gd name="connsiteY43232" fmla="*/ 1876811 h 5973007"/>
              <a:gd name="connsiteX43233" fmla="*/ 4858928 w 6884782"/>
              <a:gd name="connsiteY43233" fmla="*/ 1884493 h 5973007"/>
              <a:gd name="connsiteX43234" fmla="*/ 4862769 w 6884782"/>
              <a:gd name="connsiteY43234" fmla="*/ 1897297 h 5973007"/>
              <a:gd name="connsiteX43235" fmla="*/ 4862342 w 6884782"/>
              <a:gd name="connsiteY43235" fmla="*/ 1910244 h 5973007"/>
              <a:gd name="connsiteX43236" fmla="*/ 4860635 w 6884782"/>
              <a:gd name="connsiteY43236" fmla="*/ 1914085 h 5973007"/>
              <a:gd name="connsiteX43237" fmla="*/ 4860848 w 6884782"/>
              <a:gd name="connsiteY43237" fmla="*/ 1917215 h 5973007"/>
              <a:gd name="connsiteX43238" fmla="*/ 4861061 w 6884782"/>
              <a:gd name="connsiteY43238" fmla="*/ 1918780 h 5973007"/>
              <a:gd name="connsiteX43239" fmla="*/ 4862342 w 6884782"/>
              <a:gd name="connsiteY43239" fmla="*/ 1916219 h 5973007"/>
              <a:gd name="connsiteX43240" fmla="*/ 4861702 w 6884782"/>
              <a:gd name="connsiteY43240" fmla="*/ 1913943 h 5973007"/>
              <a:gd name="connsiteX43241" fmla="*/ 4864903 w 6884782"/>
              <a:gd name="connsiteY43241" fmla="*/ 1911524 h 5973007"/>
              <a:gd name="connsiteX43242" fmla="*/ 4861915 w 6884782"/>
              <a:gd name="connsiteY43242" fmla="*/ 1918638 h 5973007"/>
              <a:gd name="connsiteX43243" fmla="*/ 4861061 w 6884782"/>
              <a:gd name="connsiteY43243" fmla="*/ 1919207 h 5973007"/>
              <a:gd name="connsiteX43244" fmla="*/ 4861061 w 6884782"/>
              <a:gd name="connsiteY43244" fmla="*/ 1920488 h 5973007"/>
              <a:gd name="connsiteX43245" fmla="*/ 4861275 w 6884782"/>
              <a:gd name="connsiteY43245" fmla="*/ 1921626 h 5973007"/>
              <a:gd name="connsiteX43246" fmla="*/ 4861061 w 6884782"/>
              <a:gd name="connsiteY43246" fmla="*/ 1922621 h 5973007"/>
              <a:gd name="connsiteX43247" fmla="*/ 4861061 w 6884782"/>
              <a:gd name="connsiteY43247" fmla="*/ 1925894 h 5973007"/>
              <a:gd name="connsiteX43248" fmla="*/ 4859994 w 6884782"/>
              <a:gd name="connsiteY43248" fmla="*/ 1933007 h 5973007"/>
              <a:gd name="connsiteX43249" fmla="*/ 4859568 w 6884782"/>
              <a:gd name="connsiteY43249" fmla="*/ 1925467 h 5973007"/>
              <a:gd name="connsiteX43250" fmla="*/ 4858714 w 6884782"/>
              <a:gd name="connsiteY43250" fmla="*/ 1929308 h 5973007"/>
              <a:gd name="connsiteX43251" fmla="*/ 4859568 w 6884782"/>
              <a:gd name="connsiteY43251" fmla="*/ 1933291 h 5973007"/>
              <a:gd name="connsiteX43252" fmla="*/ 4857647 w 6884782"/>
              <a:gd name="connsiteY43252" fmla="*/ 1935284 h 5973007"/>
              <a:gd name="connsiteX43253" fmla="*/ 4855513 w 6884782"/>
              <a:gd name="connsiteY43253" fmla="*/ 1932295 h 5973007"/>
              <a:gd name="connsiteX43254" fmla="*/ 4858287 w 6884782"/>
              <a:gd name="connsiteY43254" fmla="*/ 1928881 h 5973007"/>
              <a:gd name="connsiteX43255" fmla="*/ 4858287 w 6884782"/>
              <a:gd name="connsiteY43255" fmla="*/ 1924044 h 5973007"/>
              <a:gd name="connsiteX43256" fmla="*/ 4859568 w 6884782"/>
              <a:gd name="connsiteY43256" fmla="*/ 1922337 h 5973007"/>
              <a:gd name="connsiteX43257" fmla="*/ 4860635 w 6884782"/>
              <a:gd name="connsiteY43257" fmla="*/ 1914370 h 5973007"/>
              <a:gd name="connsiteX43258" fmla="*/ 4858073 w 6884782"/>
              <a:gd name="connsiteY43258" fmla="*/ 1920488 h 5973007"/>
              <a:gd name="connsiteX43259" fmla="*/ 4845909 w 6884782"/>
              <a:gd name="connsiteY43259" fmla="*/ 1941259 h 5973007"/>
              <a:gd name="connsiteX43260" fmla="*/ 4820939 w 6884782"/>
              <a:gd name="connsiteY43260" fmla="*/ 1949226 h 5973007"/>
              <a:gd name="connsiteX43261" fmla="*/ 4804932 w 6884782"/>
              <a:gd name="connsiteY43261" fmla="*/ 1941543 h 5973007"/>
              <a:gd name="connsiteX43262" fmla="*/ 4802158 w 6884782"/>
              <a:gd name="connsiteY43262" fmla="*/ 1940689 h 5973007"/>
              <a:gd name="connsiteX43263" fmla="*/ 4801944 w 6884782"/>
              <a:gd name="connsiteY43263" fmla="*/ 1944957 h 5973007"/>
              <a:gd name="connsiteX43264" fmla="*/ 4797890 w 6884782"/>
              <a:gd name="connsiteY43264" fmla="*/ 1949368 h 5973007"/>
              <a:gd name="connsiteX43265" fmla="*/ 4794261 w 6884782"/>
              <a:gd name="connsiteY43265" fmla="*/ 1948656 h 5973007"/>
              <a:gd name="connsiteX43266" fmla="*/ 4793407 w 6884782"/>
              <a:gd name="connsiteY43266" fmla="*/ 1940120 h 5973007"/>
              <a:gd name="connsiteX43267" fmla="*/ 4795968 w 6884782"/>
              <a:gd name="connsiteY43267" fmla="*/ 1938555 h 5973007"/>
              <a:gd name="connsiteX43268" fmla="*/ 4787219 w 6884782"/>
              <a:gd name="connsiteY43268" fmla="*/ 1935425 h 5973007"/>
              <a:gd name="connsiteX43269" fmla="*/ 4777188 w 6884782"/>
              <a:gd name="connsiteY43269" fmla="*/ 1915792 h 5973007"/>
              <a:gd name="connsiteX43270" fmla="*/ 4776334 w 6884782"/>
              <a:gd name="connsiteY43270" fmla="*/ 1913800 h 5973007"/>
              <a:gd name="connsiteX43271" fmla="*/ 4774626 w 6884782"/>
              <a:gd name="connsiteY43271" fmla="*/ 1916931 h 5973007"/>
              <a:gd name="connsiteX43272" fmla="*/ 4767797 w 6884782"/>
              <a:gd name="connsiteY43272" fmla="*/ 1918922 h 5973007"/>
              <a:gd name="connsiteX43273" fmla="*/ 4760541 w 6884782"/>
              <a:gd name="connsiteY43273" fmla="*/ 1917500 h 5973007"/>
              <a:gd name="connsiteX43274" fmla="*/ 4764169 w 6884782"/>
              <a:gd name="connsiteY43274" fmla="*/ 1910955 h 5973007"/>
              <a:gd name="connsiteX43275" fmla="*/ 4774626 w 6884782"/>
              <a:gd name="connsiteY43275" fmla="*/ 1911098 h 5973007"/>
              <a:gd name="connsiteX43276" fmla="*/ 4776121 w 6884782"/>
              <a:gd name="connsiteY43276" fmla="*/ 1913231 h 5973007"/>
              <a:gd name="connsiteX43277" fmla="*/ 4767370 w 6884782"/>
              <a:gd name="connsiteY43277" fmla="*/ 1896017 h 5973007"/>
              <a:gd name="connsiteX43278" fmla="*/ 4788285 w 6884782"/>
              <a:gd name="connsiteY43278" fmla="*/ 1851914 h 5973007"/>
              <a:gd name="connsiteX43279" fmla="*/ 4792340 w 6884782"/>
              <a:gd name="connsiteY43279" fmla="*/ 1852483 h 5973007"/>
              <a:gd name="connsiteX43280" fmla="*/ 4792554 w 6884782"/>
              <a:gd name="connsiteY43280" fmla="*/ 1852056 h 5973007"/>
              <a:gd name="connsiteX43281" fmla="*/ 4796395 w 6884782"/>
              <a:gd name="connsiteY43281" fmla="*/ 1850776 h 5973007"/>
              <a:gd name="connsiteX43282" fmla="*/ 4798743 w 6884782"/>
              <a:gd name="connsiteY43282" fmla="*/ 1852198 h 5973007"/>
              <a:gd name="connsiteX43283" fmla="*/ 4805359 w 6884782"/>
              <a:gd name="connsiteY43283" fmla="*/ 1850918 h 5973007"/>
              <a:gd name="connsiteX43284" fmla="*/ 4806639 w 6884782"/>
              <a:gd name="connsiteY43284" fmla="*/ 1851060 h 5973007"/>
              <a:gd name="connsiteX43285" fmla="*/ 4808774 w 6884782"/>
              <a:gd name="connsiteY43285" fmla="*/ 1850349 h 5973007"/>
              <a:gd name="connsiteX43286" fmla="*/ 4808347 w 6884782"/>
              <a:gd name="connsiteY43286" fmla="*/ 1845796 h 5973007"/>
              <a:gd name="connsiteX43287" fmla="*/ 4811548 w 6884782"/>
              <a:gd name="connsiteY43287" fmla="*/ 1842808 h 5973007"/>
              <a:gd name="connsiteX43288" fmla="*/ 4750083 w 6884782"/>
              <a:gd name="connsiteY43288" fmla="*/ 1842808 h 5973007"/>
              <a:gd name="connsiteX43289" fmla="*/ 4751151 w 6884782"/>
              <a:gd name="connsiteY43289" fmla="*/ 1843235 h 5973007"/>
              <a:gd name="connsiteX43290" fmla="*/ 4751364 w 6884782"/>
              <a:gd name="connsiteY43290" fmla="*/ 1842951 h 5973007"/>
              <a:gd name="connsiteX43291" fmla="*/ 4752218 w 6884782"/>
              <a:gd name="connsiteY43291" fmla="*/ 1843662 h 5973007"/>
              <a:gd name="connsiteX43292" fmla="*/ 4752431 w 6884782"/>
              <a:gd name="connsiteY43292" fmla="*/ 1842808 h 5973007"/>
              <a:gd name="connsiteX43293" fmla="*/ 1589836 w 6884782"/>
              <a:gd name="connsiteY43293" fmla="*/ 1842204 h 5973007"/>
              <a:gd name="connsiteX43294" fmla="*/ 1590559 w 6884782"/>
              <a:gd name="connsiteY43294" fmla="*/ 1845457 h 5973007"/>
              <a:gd name="connsiteX43295" fmla="*/ 1589113 w 6884782"/>
              <a:gd name="connsiteY43295" fmla="*/ 1842513 h 5973007"/>
              <a:gd name="connsiteX43296" fmla="*/ 1589836 w 6884782"/>
              <a:gd name="connsiteY43296" fmla="*/ 1842204 h 5973007"/>
              <a:gd name="connsiteX43297" fmla="*/ 1330353 w 6884782"/>
              <a:gd name="connsiteY43297" fmla="*/ 1841584 h 5973007"/>
              <a:gd name="connsiteX43298" fmla="*/ 1339646 w 6884782"/>
              <a:gd name="connsiteY43298" fmla="*/ 1849794 h 5973007"/>
              <a:gd name="connsiteX43299" fmla="*/ 1339543 w 6884782"/>
              <a:gd name="connsiteY43299" fmla="*/ 1852737 h 5973007"/>
              <a:gd name="connsiteX43300" fmla="*/ 1340679 w 6884782"/>
              <a:gd name="connsiteY43300" fmla="*/ 1850568 h 5973007"/>
              <a:gd name="connsiteX43301" fmla="*/ 1344706 w 6884782"/>
              <a:gd name="connsiteY43301" fmla="*/ 1849484 h 5973007"/>
              <a:gd name="connsiteX43302" fmla="*/ 1343983 w 6884782"/>
              <a:gd name="connsiteY43302" fmla="*/ 1849794 h 5973007"/>
              <a:gd name="connsiteX43303" fmla="*/ 1344706 w 6884782"/>
              <a:gd name="connsiteY43303" fmla="*/ 1851343 h 5973007"/>
              <a:gd name="connsiteX43304" fmla="*/ 1345532 w 6884782"/>
              <a:gd name="connsiteY43304" fmla="*/ 1851188 h 5973007"/>
              <a:gd name="connsiteX43305" fmla="*/ 1345532 w 6884782"/>
              <a:gd name="connsiteY43305" fmla="*/ 1853047 h 5973007"/>
              <a:gd name="connsiteX43306" fmla="*/ 1341092 w 6884782"/>
              <a:gd name="connsiteY43306" fmla="*/ 1857538 h 5973007"/>
              <a:gd name="connsiteX43307" fmla="*/ 1339130 w 6884782"/>
              <a:gd name="connsiteY43307" fmla="*/ 1855525 h 5973007"/>
              <a:gd name="connsiteX43308" fmla="*/ 1339130 w 6884782"/>
              <a:gd name="connsiteY43308" fmla="*/ 1854286 h 5973007"/>
              <a:gd name="connsiteX43309" fmla="*/ 1334690 w 6884782"/>
              <a:gd name="connsiteY43309" fmla="*/ 1852272 h 5973007"/>
              <a:gd name="connsiteX43310" fmla="*/ 1330353 w 6884782"/>
              <a:gd name="connsiteY43310" fmla="*/ 1841584 h 5973007"/>
              <a:gd name="connsiteX43311" fmla="*/ 3509261 w 6884782"/>
              <a:gd name="connsiteY43311" fmla="*/ 1841528 h 5973007"/>
              <a:gd name="connsiteX43312" fmla="*/ 3512035 w 6884782"/>
              <a:gd name="connsiteY43312" fmla="*/ 1841955 h 5973007"/>
              <a:gd name="connsiteX43313" fmla="*/ 3501791 w 6884782"/>
              <a:gd name="connsiteY43313" fmla="*/ 1848072 h 5973007"/>
              <a:gd name="connsiteX43314" fmla="*/ 3509261 w 6884782"/>
              <a:gd name="connsiteY43314" fmla="*/ 1841528 h 5973007"/>
              <a:gd name="connsiteX43315" fmla="*/ 5213631 w 6884782"/>
              <a:gd name="connsiteY43315" fmla="*/ 1841386 h 5973007"/>
              <a:gd name="connsiteX43316" fmla="*/ 5218540 w 6884782"/>
              <a:gd name="connsiteY43316" fmla="*/ 1845939 h 5973007"/>
              <a:gd name="connsiteX43317" fmla="*/ 5212350 w 6884782"/>
              <a:gd name="connsiteY43317" fmla="*/ 1847219 h 5973007"/>
              <a:gd name="connsiteX43318" fmla="*/ 5213631 w 6884782"/>
              <a:gd name="connsiteY43318" fmla="*/ 1841386 h 5973007"/>
              <a:gd name="connsiteX43319" fmla="*/ 895232 w 6884782"/>
              <a:gd name="connsiteY43319" fmla="*/ 1841274 h 5973007"/>
              <a:gd name="connsiteX43320" fmla="*/ 901014 w 6884782"/>
              <a:gd name="connsiteY43320" fmla="*/ 1849329 h 5973007"/>
              <a:gd name="connsiteX43321" fmla="*/ 898226 w 6884782"/>
              <a:gd name="connsiteY43321" fmla="*/ 1851962 h 5973007"/>
              <a:gd name="connsiteX43322" fmla="*/ 890998 w 6884782"/>
              <a:gd name="connsiteY43322" fmla="*/ 1844992 h 5973007"/>
              <a:gd name="connsiteX43323" fmla="*/ 895232 w 6884782"/>
              <a:gd name="connsiteY43323" fmla="*/ 1841274 h 5973007"/>
              <a:gd name="connsiteX43324" fmla="*/ 992292 w 6884782"/>
              <a:gd name="connsiteY43324" fmla="*/ 1840965 h 5973007"/>
              <a:gd name="connsiteX43325" fmla="*/ 997765 w 6884782"/>
              <a:gd name="connsiteY43325" fmla="*/ 1848555 h 5973007"/>
              <a:gd name="connsiteX43326" fmla="*/ 991363 w 6884782"/>
              <a:gd name="connsiteY43326" fmla="*/ 1843133 h 5973007"/>
              <a:gd name="connsiteX43327" fmla="*/ 992292 w 6884782"/>
              <a:gd name="connsiteY43327" fmla="*/ 1840965 h 5973007"/>
              <a:gd name="connsiteX43328" fmla="*/ 5591384 w 6884782"/>
              <a:gd name="connsiteY43328" fmla="*/ 1840675 h 5973007"/>
              <a:gd name="connsiteX43329" fmla="*/ 5598853 w 6884782"/>
              <a:gd name="connsiteY43329" fmla="*/ 1841813 h 5973007"/>
              <a:gd name="connsiteX43330" fmla="*/ 5596720 w 6884782"/>
              <a:gd name="connsiteY43330" fmla="*/ 1844800 h 5973007"/>
              <a:gd name="connsiteX43331" fmla="*/ 5593518 w 6884782"/>
              <a:gd name="connsiteY43331" fmla="*/ 1843947 h 5973007"/>
              <a:gd name="connsiteX43332" fmla="*/ 5590957 w 6884782"/>
              <a:gd name="connsiteY43332" fmla="*/ 1844089 h 5973007"/>
              <a:gd name="connsiteX43333" fmla="*/ 5588823 w 6884782"/>
              <a:gd name="connsiteY43333" fmla="*/ 1840817 h 5973007"/>
              <a:gd name="connsiteX43334" fmla="*/ 5591384 w 6884782"/>
              <a:gd name="connsiteY43334" fmla="*/ 1840675 h 5973007"/>
              <a:gd name="connsiteX43335" fmla="*/ 1508367 w 6884782"/>
              <a:gd name="connsiteY43335" fmla="*/ 1839725 h 5973007"/>
              <a:gd name="connsiteX43336" fmla="*/ 1506508 w 6884782"/>
              <a:gd name="connsiteY43336" fmla="*/ 1842359 h 5973007"/>
              <a:gd name="connsiteX43337" fmla="*/ 1505682 w 6884782"/>
              <a:gd name="connsiteY43337" fmla="*/ 1841584 h 5973007"/>
              <a:gd name="connsiteX43338" fmla="*/ 1505682 w 6884782"/>
              <a:gd name="connsiteY43338" fmla="*/ 1842359 h 5973007"/>
              <a:gd name="connsiteX43339" fmla="*/ 1505476 w 6884782"/>
              <a:gd name="connsiteY43339" fmla="*/ 1841274 h 5973007"/>
              <a:gd name="connsiteX43340" fmla="*/ 1505786 w 6884782"/>
              <a:gd name="connsiteY43340" fmla="*/ 1840810 h 5973007"/>
              <a:gd name="connsiteX43341" fmla="*/ 1508367 w 6884782"/>
              <a:gd name="connsiteY43341" fmla="*/ 1839725 h 5973007"/>
              <a:gd name="connsiteX43342" fmla="*/ 3731218 w 6884782"/>
              <a:gd name="connsiteY43342" fmla="*/ 1838683 h 5973007"/>
              <a:gd name="connsiteX43343" fmla="*/ 3731218 w 6884782"/>
              <a:gd name="connsiteY43343" fmla="*/ 1839963 h 5973007"/>
              <a:gd name="connsiteX43344" fmla="*/ 3732711 w 6884782"/>
              <a:gd name="connsiteY43344" fmla="*/ 1844942 h 5973007"/>
              <a:gd name="connsiteX43345" fmla="*/ 3726735 w 6884782"/>
              <a:gd name="connsiteY43345" fmla="*/ 1844658 h 5973007"/>
              <a:gd name="connsiteX43346" fmla="*/ 3727803 w 6884782"/>
              <a:gd name="connsiteY43346" fmla="*/ 1839679 h 5973007"/>
              <a:gd name="connsiteX43347" fmla="*/ 3731218 w 6884782"/>
              <a:gd name="connsiteY43347" fmla="*/ 1838683 h 5973007"/>
              <a:gd name="connsiteX43348" fmla="*/ 5608458 w 6884782"/>
              <a:gd name="connsiteY43348" fmla="*/ 1838540 h 5973007"/>
              <a:gd name="connsiteX43349" fmla="*/ 5618062 w 6884782"/>
              <a:gd name="connsiteY43349" fmla="*/ 1843520 h 5973007"/>
              <a:gd name="connsiteX43350" fmla="*/ 5618915 w 6884782"/>
              <a:gd name="connsiteY43350" fmla="*/ 1846365 h 5973007"/>
              <a:gd name="connsiteX43351" fmla="*/ 5613580 w 6884782"/>
              <a:gd name="connsiteY43351" fmla="*/ 1848499 h 5973007"/>
              <a:gd name="connsiteX43352" fmla="*/ 5604829 w 6884782"/>
              <a:gd name="connsiteY43352" fmla="*/ 1841101 h 5973007"/>
              <a:gd name="connsiteX43353" fmla="*/ 5608458 w 6884782"/>
              <a:gd name="connsiteY43353" fmla="*/ 1838540 h 5973007"/>
              <a:gd name="connsiteX43354" fmla="*/ 863016 w 6884782"/>
              <a:gd name="connsiteY43354" fmla="*/ 1838486 h 5973007"/>
              <a:gd name="connsiteX43355" fmla="*/ 864978 w 6884782"/>
              <a:gd name="connsiteY43355" fmla="*/ 1838642 h 5973007"/>
              <a:gd name="connsiteX43356" fmla="*/ 864358 w 6884782"/>
              <a:gd name="connsiteY43356" fmla="*/ 1841274 h 5973007"/>
              <a:gd name="connsiteX43357" fmla="*/ 861260 w 6884782"/>
              <a:gd name="connsiteY43357" fmla="*/ 1841120 h 5973007"/>
              <a:gd name="connsiteX43358" fmla="*/ 858782 w 6884782"/>
              <a:gd name="connsiteY43358" fmla="*/ 1843288 h 5973007"/>
              <a:gd name="connsiteX43359" fmla="*/ 855685 w 6884782"/>
              <a:gd name="connsiteY43359" fmla="*/ 1843288 h 5973007"/>
              <a:gd name="connsiteX43360" fmla="*/ 855478 w 6884782"/>
              <a:gd name="connsiteY43360" fmla="*/ 1842359 h 5973007"/>
              <a:gd name="connsiteX43361" fmla="*/ 856097 w 6884782"/>
              <a:gd name="connsiteY43361" fmla="*/ 1842513 h 5973007"/>
              <a:gd name="connsiteX43362" fmla="*/ 858472 w 6884782"/>
              <a:gd name="connsiteY43362" fmla="*/ 1842204 h 5973007"/>
              <a:gd name="connsiteX43363" fmla="*/ 863016 w 6884782"/>
              <a:gd name="connsiteY43363" fmla="*/ 1838486 h 5973007"/>
              <a:gd name="connsiteX43364" fmla="*/ 6138379 w 6884782"/>
              <a:gd name="connsiteY43364" fmla="*/ 1837687 h 5973007"/>
              <a:gd name="connsiteX43365" fmla="*/ 6145635 w 6884782"/>
              <a:gd name="connsiteY43365" fmla="*/ 1864861 h 5973007"/>
              <a:gd name="connsiteX43366" fmla="*/ 6137952 w 6884782"/>
              <a:gd name="connsiteY43366" fmla="*/ 1852056 h 5973007"/>
              <a:gd name="connsiteX43367" fmla="*/ 6138379 w 6884782"/>
              <a:gd name="connsiteY43367" fmla="*/ 1837687 h 5973007"/>
              <a:gd name="connsiteX43368" fmla="*/ 1035350 w 6884782"/>
              <a:gd name="connsiteY43368" fmla="*/ 1837092 h 5973007"/>
              <a:gd name="connsiteX43369" fmla="*/ 1041856 w 6884782"/>
              <a:gd name="connsiteY43369" fmla="*/ 1858468 h 5973007"/>
              <a:gd name="connsiteX43370" fmla="*/ 1032459 w 6884782"/>
              <a:gd name="connsiteY43370" fmla="*/ 1841894 h 5973007"/>
              <a:gd name="connsiteX43371" fmla="*/ 1035350 w 6884782"/>
              <a:gd name="connsiteY43371" fmla="*/ 1837092 h 5973007"/>
              <a:gd name="connsiteX43372" fmla="*/ 3777103 w 6884782"/>
              <a:gd name="connsiteY43372" fmla="*/ 1836549 h 5973007"/>
              <a:gd name="connsiteX43373" fmla="*/ 3775822 w 6884782"/>
              <a:gd name="connsiteY43373" fmla="*/ 1843662 h 5973007"/>
              <a:gd name="connsiteX43374" fmla="*/ 3772407 w 6884782"/>
              <a:gd name="connsiteY43374" fmla="*/ 1837545 h 5973007"/>
              <a:gd name="connsiteX43375" fmla="*/ 3777103 w 6884782"/>
              <a:gd name="connsiteY43375" fmla="*/ 1836549 h 5973007"/>
              <a:gd name="connsiteX43376" fmla="*/ 1511258 w 6884782"/>
              <a:gd name="connsiteY43376" fmla="*/ 1836163 h 5973007"/>
              <a:gd name="connsiteX43377" fmla="*/ 1514872 w 6884782"/>
              <a:gd name="connsiteY43377" fmla="*/ 1836163 h 5973007"/>
              <a:gd name="connsiteX43378" fmla="*/ 1508367 w 6884782"/>
              <a:gd name="connsiteY43378" fmla="*/ 1839725 h 5973007"/>
              <a:gd name="connsiteX43379" fmla="*/ 1511258 w 6884782"/>
              <a:gd name="connsiteY43379" fmla="*/ 1836163 h 5973007"/>
              <a:gd name="connsiteX43380" fmla="*/ 1180735 w 6884782"/>
              <a:gd name="connsiteY43380" fmla="*/ 1835853 h 5973007"/>
              <a:gd name="connsiteX43381" fmla="*/ 1195707 w 6884782"/>
              <a:gd name="connsiteY43381" fmla="*/ 1838951 h 5973007"/>
              <a:gd name="connsiteX43382" fmla="*/ 1200767 w 6884782"/>
              <a:gd name="connsiteY43382" fmla="*/ 1839106 h 5973007"/>
              <a:gd name="connsiteX43383" fmla="*/ 1202316 w 6884782"/>
              <a:gd name="connsiteY43383" fmla="*/ 1838951 h 5973007"/>
              <a:gd name="connsiteX43384" fmla="*/ 1202419 w 6884782"/>
              <a:gd name="connsiteY43384" fmla="*/ 1839106 h 5973007"/>
              <a:gd name="connsiteX43385" fmla="*/ 1202729 w 6884782"/>
              <a:gd name="connsiteY43385" fmla="*/ 1839106 h 5973007"/>
              <a:gd name="connsiteX43386" fmla="*/ 1208304 w 6884782"/>
              <a:gd name="connsiteY43386" fmla="*/ 1842824 h 5973007"/>
              <a:gd name="connsiteX43387" fmla="*/ 1203038 w 6884782"/>
              <a:gd name="connsiteY43387" fmla="*/ 1844217 h 5973007"/>
              <a:gd name="connsiteX43388" fmla="*/ 1202626 w 6884782"/>
              <a:gd name="connsiteY43388" fmla="*/ 1845767 h 5973007"/>
              <a:gd name="connsiteX43389" fmla="*/ 1196120 w 6884782"/>
              <a:gd name="connsiteY43389" fmla="*/ 1849329 h 5973007"/>
              <a:gd name="connsiteX43390" fmla="*/ 1194881 w 6884782"/>
              <a:gd name="connsiteY43390" fmla="*/ 1846076 h 5973007"/>
              <a:gd name="connsiteX43391" fmla="*/ 1189202 w 6884782"/>
              <a:gd name="connsiteY43391" fmla="*/ 1846231 h 5973007"/>
              <a:gd name="connsiteX43392" fmla="*/ 1181148 w 6884782"/>
              <a:gd name="connsiteY43392" fmla="*/ 1844063 h 5973007"/>
              <a:gd name="connsiteX43393" fmla="*/ 1179290 w 6884782"/>
              <a:gd name="connsiteY43393" fmla="*/ 1837712 h 5973007"/>
              <a:gd name="connsiteX43394" fmla="*/ 1180735 w 6884782"/>
              <a:gd name="connsiteY43394" fmla="*/ 1835853 h 5973007"/>
              <a:gd name="connsiteX43395" fmla="*/ 1228233 w 6884782"/>
              <a:gd name="connsiteY43395" fmla="*/ 1835698 h 5973007"/>
              <a:gd name="connsiteX43396" fmla="*/ 1230092 w 6884782"/>
              <a:gd name="connsiteY43396" fmla="*/ 1836163 h 5973007"/>
              <a:gd name="connsiteX43397" fmla="*/ 1237216 w 6884782"/>
              <a:gd name="connsiteY43397" fmla="*/ 1841429 h 5973007"/>
              <a:gd name="connsiteX43398" fmla="*/ 1238765 w 6884782"/>
              <a:gd name="connsiteY43398" fmla="*/ 1842359 h 5973007"/>
              <a:gd name="connsiteX43399" fmla="*/ 1239385 w 6884782"/>
              <a:gd name="connsiteY43399" fmla="*/ 1844682 h 5973007"/>
              <a:gd name="connsiteX43400" fmla="*/ 1235151 w 6884782"/>
              <a:gd name="connsiteY43400" fmla="*/ 1843908 h 5973007"/>
              <a:gd name="connsiteX43401" fmla="*/ 1232157 w 6884782"/>
              <a:gd name="connsiteY43401" fmla="*/ 1841120 h 5973007"/>
              <a:gd name="connsiteX43402" fmla="*/ 1230711 w 6884782"/>
              <a:gd name="connsiteY43402" fmla="*/ 1842049 h 5973007"/>
              <a:gd name="connsiteX43403" fmla="*/ 1227510 w 6884782"/>
              <a:gd name="connsiteY43403" fmla="*/ 1842049 h 5973007"/>
              <a:gd name="connsiteX43404" fmla="*/ 1230504 w 6884782"/>
              <a:gd name="connsiteY43404" fmla="*/ 1840035 h 5973007"/>
              <a:gd name="connsiteX43405" fmla="*/ 1231331 w 6884782"/>
              <a:gd name="connsiteY43405" fmla="*/ 1840035 h 5973007"/>
              <a:gd name="connsiteX43406" fmla="*/ 1230608 w 6884782"/>
              <a:gd name="connsiteY43406" fmla="*/ 1839261 h 5973007"/>
              <a:gd name="connsiteX43407" fmla="*/ 1228439 w 6884782"/>
              <a:gd name="connsiteY43407" fmla="*/ 1838642 h 5973007"/>
              <a:gd name="connsiteX43408" fmla="*/ 1227717 w 6884782"/>
              <a:gd name="connsiteY43408" fmla="*/ 1836318 h 5973007"/>
              <a:gd name="connsiteX43409" fmla="*/ 3573074 w 6884782"/>
              <a:gd name="connsiteY43409" fmla="*/ 1835127 h 5973007"/>
              <a:gd name="connsiteX43410" fmla="*/ 3597190 w 6884782"/>
              <a:gd name="connsiteY43410" fmla="*/ 1861019 h 5973007"/>
              <a:gd name="connsiteX43411" fmla="*/ 3588013 w 6884782"/>
              <a:gd name="connsiteY43411" fmla="*/ 1868844 h 5973007"/>
              <a:gd name="connsiteX43412" fmla="*/ 3587159 w 6884782"/>
              <a:gd name="connsiteY43412" fmla="*/ 1865287 h 5973007"/>
              <a:gd name="connsiteX43413" fmla="*/ 3581824 w 6884782"/>
              <a:gd name="connsiteY43413" fmla="*/ 1871405 h 5973007"/>
              <a:gd name="connsiteX43414" fmla="*/ 3579903 w 6884782"/>
              <a:gd name="connsiteY43414" fmla="*/ 1863580 h 5973007"/>
              <a:gd name="connsiteX43415" fmla="*/ 3584171 w 6884782"/>
              <a:gd name="connsiteY43415" fmla="*/ 1857462 h 5973007"/>
              <a:gd name="connsiteX43416" fmla="*/ 3579049 w 6884782"/>
              <a:gd name="connsiteY43416" fmla="*/ 1851203 h 5973007"/>
              <a:gd name="connsiteX43417" fmla="*/ 3573074 w 6884782"/>
              <a:gd name="connsiteY43417" fmla="*/ 1835127 h 5973007"/>
              <a:gd name="connsiteX43418" fmla="*/ 5986211 w 6884782"/>
              <a:gd name="connsiteY43418" fmla="*/ 1833988 h 5973007"/>
              <a:gd name="connsiteX43419" fmla="*/ 5978314 w 6884782"/>
              <a:gd name="connsiteY43419" fmla="*/ 1844089 h 5973007"/>
              <a:gd name="connsiteX43420" fmla="*/ 5986211 w 6884782"/>
              <a:gd name="connsiteY43420" fmla="*/ 1833988 h 5973007"/>
              <a:gd name="connsiteX43421" fmla="*/ 5770443 w 6884782"/>
              <a:gd name="connsiteY43421" fmla="*/ 1833988 h 5973007"/>
              <a:gd name="connsiteX43422" fmla="*/ 5789224 w 6884782"/>
              <a:gd name="connsiteY43422" fmla="*/ 1840675 h 5973007"/>
              <a:gd name="connsiteX43423" fmla="*/ 5799682 w 6884782"/>
              <a:gd name="connsiteY43423" fmla="*/ 1844231 h 5973007"/>
              <a:gd name="connsiteX43424" fmla="*/ 5802029 w 6884782"/>
              <a:gd name="connsiteY43424" fmla="*/ 1839679 h 5973007"/>
              <a:gd name="connsiteX43425" fmla="*/ 5804590 w 6884782"/>
              <a:gd name="connsiteY43425" fmla="*/ 1845796 h 5973007"/>
              <a:gd name="connsiteX43426" fmla="*/ 5808219 w 6884782"/>
              <a:gd name="connsiteY43426" fmla="*/ 1847219 h 5973007"/>
              <a:gd name="connsiteX43427" fmla="*/ 5819956 w 6884782"/>
              <a:gd name="connsiteY43427" fmla="*/ 1895733 h 5973007"/>
              <a:gd name="connsiteX43428" fmla="*/ 5801816 w 6884782"/>
              <a:gd name="connsiteY43428" fmla="*/ 1920914 h 5973007"/>
              <a:gd name="connsiteX43429" fmla="*/ 5738643 w 6884782"/>
              <a:gd name="connsiteY43429" fmla="*/ 1921483 h 5973007"/>
              <a:gd name="connsiteX43430" fmla="*/ 5724344 w 6884782"/>
              <a:gd name="connsiteY43430" fmla="*/ 1876242 h 5973007"/>
              <a:gd name="connsiteX43431" fmla="*/ 5737790 w 6884782"/>
              <a:gd name="connsiteY43431" fmla="*/ 1850633 h 5973007"/>
              <a:gd name="connsiteX43432" fmla="*/ 5770443 w 6884782"/>
              <a:gd name="connsiteY43432" fmla="*/ 1833988 h 5973007"/>
              <a:gd name="connsiteX43433" fmla="*/ 4751791 w 6884782"/>
              <a:gd name="connsiteY43433" fmla="*/ 1833561 h 5973007"/>
              <a:gd name="connsiteX43434" fmla="*/ 4765236 w 6884782"/>
              <a:gd name="connsiteY43434" fmla="*/ 1842524 h 5973007"/>
              <a:gd name="connsiteX43435" fmla="*/ 4757339 w 6884782"/>
              <a:gd name="connsiteY43435" fmla="*/ 1842808 h 5973007"/>
              <a:gd name="connsiteX43436" fmla="*/ 4753711 w 6884782"/>
              <a:gd name="connsiteY43436" fmla="*/ 1842808 h 5973007"/>
              <a:gd name="connsiteX43437" fmla="*/ 4757126 w 6884782"/>
              <a:gd name="connsiteY43437" fmla="*/ 1843520 h 5973007"/>
              <a:gd name="connsiteX43438" fmla="*/ 4757766 w 6884782"/>
              <a:gd name="connsiteY43438" fmla="*/ 1846365 h 5973007"/>
              <a:gd name="connsiteX43439" fmla="*/ 4753711 w 6884782"/>
              <a:gd name="connsiteY43439" fmla="*/ 1852198 h 5973007"/>
              <a:gd name="connsiteX43440" fmla="*/ 4757553 w 6884782"/>
              <a:gd name="connsiteY43440" fmla="*/ 1860023 h 5973007"/>
              <a:gd name="connsiteX43441" fmla="*/ 4757980 w 6884782"/>
              <a:gd name="connsiteY43441" fmla="*/ 1860734 h 5973007"/>
              <a:gd name="connsiteX43442" fmla="*/ 4759687 w 6884782"/>
              <a:gd name="connsiteY43442" fmla="*/ 1863864 h 5973007"/>
              <a:gd name="connsiteX43443" fmla="*/ 4759687 w 6884782"/>
              <a:gd name="connsiteY43443" fmla="*/ 1864007 h 5973007"/>
              <a:gd name="connsiteX43444" fmla="*/ 4760327 w 6884782"/>
              <a:gd name="connsiteY43444" fmla="*/ 1865002 h 5973007"/>
              <a:gd name="connsiteX43445" fmla="*/ 4760114 w 6884782"/>
              <a:gd name="connsiteY43445" fmla="*/ 1872401 h 5973007"/>
              <a:gd name="connsiteX43446" fmla="*/ 4749016 w 6884782"/>
              <a:gd name="connsiteY43446" fmla="*/ 1876668 h 5973007"/>
              <a:gd name="connsiteX43447" fmla="*/ 4745815 w 6884782"/>
              <a:gd name="connsiteY43447" fmla="*/ 1875530 h 5973007"/>
              <a:gd name="connsiteX43448" fmla="*/ 4746668 w 6884782"/>
              <a:gd name="connsiteY43448" fmla="*/ 1878092 h 5973007"/>
              <a:gd name="connsiteX43449" fmla="*/ 4723619 w 6884782"/>
              <a:gd name="connsiteY43449" fmla="*/ 1880083 h 5973007"/>
              <a:gd name="connsiteX43450" fmla="*/ 4721271 w 6884782"/>
              <a:gd name="connsiteY43450" fmla="*/ 1879087 h 5973007"/>
              <a:gd name="connsiteX43451" fmla="*/ 4721058 w 6884782"/>
              <a:gd name="connsiteY43451" fmla="*/ 1876100 h 5973007"/>
              <a:gd name="connsiteX43452" fmla="*/ 4735784 w 6884782"/>
              <a:gd name="connsiteY43452" fmla="*/ 1871262 h 5973007"/>
              <a:gd name="connsiteX43453" fmla="*/ 4738772 w 6884782"/>
              <a:gd name="connsiteY43453" fmla="*/ 1872543 h 5973007"/>
              <a:gd name="connsiteX43454" fmla="*/ 4740266 w 6884782"/>
              <a:gd name="connsiteY43454" fmla="*/ 1873254 h 5973007"/>
              <a:gd name="connsiteX43455" fmla="*/ 4737278 w 6884782"/>
              <a:gd name="connsiteY43455" fmla="*/ 1870409 h 5973007"/>
              <a:gd name="connsiteX43456" fmla="*/ 4736211 w 6884782"/>
              <a:gd name="connsiteY43456" fmla="*/ 1859739 h 5973007"/>
              <a:gd name="connsiteX43457" fmla="*/ 4737278 w 6884782"/>
              <a:gd name="connsiteY43457" fmla="*/ 1859170 h 5973007"/>
              <a:gd name="connsiteX43458" fmla="*/ 4732369 w 6884782"/>
              <a:gd name="connsiteY43458" fmla="*/ 1853621 h 5973007"/>
              <a:gd name="connsiteX43459" fmla="*/ 4747522 w 6884782"/>
              <a:gd name="connsiteY43459" fmla="*/ 1844089 h 5973007"/>
              <a:gd name="connsiteX43460" fmla="*/ 4750083 w 6884782"/>
              <a:gd name="connsiteY43460" fmla="*/ 1843662 h 5973007"/>
              <a:gd name="connsiteX43461" fmla="*/ 4749656 w 6884782"/>
              <a:gd name="connsiteY43461" fmla="*/ 1842808 h 5973007"/>
              <a:gd name="connsiteX43462" fmla="*/ 4747095 w 6884782"/>
              <a:gd name="connsiteY43462" fmla="*/ 1842808 h 5973007"/>
              <a:gd name="connsiteX43463" fmla="*/ 4733864 w 6884782"/>
              <a:gd name="connsiteY43463" fmla="*/ 1835411 h 5973007"/>
              <a:gd name="connsiteX43464" fmla="*/ 4751791 w 6884782"/>
              <a:gd name="connsiteY43464" fmla="*/ 1833561 h 5973007"/>
              <a:gd name="connsiteX43465" fmla="*/ 4795328 w 6884782"/>
              <a:gd name="connsiteY43465" fmla="*/ 1832992 h 5973007"/>
              <a:gd name="connsiteX43466" fmla="*/ 4784017 w 6884782"/>
              <a:gd name="connsiteY43466" fmla="*/ 1845796 h 5973007"/>
              <a:gd name="connsiteX43467" fmla="*/ 4779962 w 6884782"/>
              <a:gd name="connsiteY43467" fmla="*/ 1845654 h 5973007"/>
              <a:gd name="connsiteX43468" fmla="*/ 4782950 w 6884782"/>
              <a:gd name="connsiteY43468" fmla="*/ 1847219 h 5973007"/>
              <a:gd name="connsiteX43469" fmla="*/ 4784444 w 6884782"/>
              <a:gd name="connsiteY43469" fmla="*/ 1852767 h 5973007"/>
              <a:gd name="connsiteX43470" fmla="*/ 4784017 w 6884782"/>
              <a:gd name="connsiteY43470" fmla="*/ 1851771 h 5973007"/>
              <a:gd name="connsiteX43471" fmla="*/ 4781883 w 6884782"/>
              <a:gd name="connsiteY43471" fmla="*/ 1852767 h 5973007"/>
              <a:gd name="connsiteX43472" fmla="*/ 4782096 w 6884782"/>
              <a:gd name="connsiteY43472" fmla="*/ 1853906 h 5973007"/>
              <a:gd name="connsiteX43473" fmla="*/ 4779535 w 6884782"/>
              <a:gd name="connsiteY43473" fmla="*/ 1853906 h 5973007"/>
              <a:gd name="connsiteX43474" fmla="*/ 4773346 w 6884782"/>
              <a:gd name="connsiteY43474" fmla="*/ 1847788 h 5973007"/>
              <a:gd name="connsiteX43475" fmla="*/ 4776121 w 6884782"/>
              <a:gd name="connsiteY43475" fmla="*/ 1845085 h 5973007"/>
              <a:gd name="connsiteX43476" fmla="*/ 4777828 w 6884782"/>
              <a:gd name="connsiteY43476" fmla="*/ 1845085 h 5973007"/>
              <a:gd name="connsiteX43477" fmla="*/ 4780602 w 6884782"/>
              <a:gd name="connsiteY43477" fmla="*/ 1838967 h 5973007"/>
              <a:gd name="connsiteX43478" fmla="*/ 4795328 w 6884782"/>
              <a:gd name="connsiteY43478" fmla="*/ 1832992 h 5973007"/>
              <a:gd name="connsiteX43479" fmla="*/ 6182557 w 6884782"/>
              <a:gd name="connsiteY43479" fmla="*/ 1832850 h 5973007"/>
              <a:gd name="connsiteX43480" fmla="*/ 6187252 w 6884782"/>
              <a:gd name="connsiteY43480" fmla="*/ 1833135 h 5973007"/>
              <a:gd name="connsiteX43481" fmla="*/ 6175087 w 6884782"/>
              <a:gd name="connsiteY43481" fmla="*/ 1847504 h 5973007"/>
              <a:gd name="connsiteX43482" fmla="*/ 6170392 w 6884782"/>
              <a:gd name="connsiteY43482" fmla="*/ 1838256 h 5973007"/>
              <a:gd name="connsiteX43483" fmla="*/ 6182557 w 6884782"/>
              <a:gd name="connsiteY43483" fmla="*/ 1832850 h 5973007"/>
              <a:gd name="connsiteX43484" fmla="*/ 3839421 w 6884782"/>
              <a:gd name="connsiteY43484" fmla="*/ 1832565 h 5973007"/>
              <a:gd name="connsiteX43485" fmla="*/ 3844756 w 6884782"/>
              <a:gd name="connsiteY43485" fmla="*/ 1839536 h 5973007"/>
              <a:gd name="connsiteX43486" fmla="*/ 3845184 w 6884782"/>
              <a:gd name="connsiteY43486" fmla="*/ 1842524 h 5973007"/>
              <a:gd name="connsiteX43487" fmla="*/ 3847104 w 6884782"/>
              <a:gd name="connsiteY43487" fmla="*/ 1843235 h 5973007"/>
              <a:gd name="connsiteX43488" fmla="*/ 3847958 w 6884782"/>
              <a:gd name="connsiteY43488" fmla="*/ 1855044 h 5973007"/>
              <a:gd name="connsiteX43489" fmla="*/ 3844756 w 6884782"/>
              <a:gd name="connsiteY43489" fmla="*/ 1857178 h 5973007"/>
              <a:gd name="connsiteX43490" fmla="*/ 3844116 w 6884782"/>
              <a:gd name="connsiteY43490" fmla="*/ 1858458 h 5973007"/>
              <a:gd name="connsiteX43491" fmla="*/ 3841342 w 6884782"/>
              <a:gd name="connsiteY43491" fmla="*/ 1859027 h 5973007"/>
              <a:gd name="connsiteX43492" fmla="*/ 3838994 w 6884782"/>
              <a:gd name="connsiteY43492" fmla="*/ 1857178 h 5973007"/>
              <a:gd name="connsiteX43493" fmla="*/ 3838781 w 6884782"/>
              <a:gd name="connsiteY43493" fmla="*/ 1857035 h 5973007"/>
              <a:gd name="connsiteX43494" fmla="*/ 3836433 w 6884782"/>
              <a:gd name="connsiteY43494" fmla="*/ 1856608 h 5973007"/>
              <a:gd name="connsiteX43495" fmla="*/ 3835793 w 6884782"/>
              <a:gd name="connsiteY43495" fmla="*/ 1854759 h 5973007"/>
              <a:gd name="connsiteX43496" fmla="*/ 3832378 w 6884782"/>
              <a:gd name="connsiteY43496" fmla="*/ 1855328 h 5973007"/>
              <a:gd name="connsiteX43497" fmla="*/ 3828110 w 6884782"/>
              <a:gd name="connsiteY43497" fmla="*/ 1858458 h 5973007"/>
              <a:gd name="connsiteX43498" fmla="*/ 3827257 w 6884782"/>
              <a:gd name="connsiteY43498" fmla="*/ 1858885 h 5973007"/>
              <a:gd name="connsiteX43499" fmla="*/ 3825976 w 6884782"/>
              <a:gd name="connsiteY43499" fmla="*/ 1863437 h 5973007"/>
              <a:gd name="connsiteX43500" fmla="*/ 3821067 w 6884782"/>
              <a:gd name="connsiteY43500" fmla="*/ 1862726 h 5973007"/>
              <a:gd name="connsiteX43501" fmla="*/ 3820854 w 6884782"/>
              <a:gd name="connsiteY43501" fmla="*/ 1861019 h 5973007"/>
              <a:gd name="connsiteX43502" fmla="*/ 3815945 w 6884782"/>
              <a:gd name="connsiteY43502" fmla="*/ 1860877 h 5973007"/>
              <a:gd name="connsiteX43503" fmla="*/ 3814024 w 6884782"/>
              <a:gd name="connsiteY43503" fmla="*/ 1849211 h 5973007"/>
              <a:gd name="connsiteX43504" fmla="*/ 3832805 w 6884782"/>
              <a:gd name="connsiteY43504" fmla="*/ 1836122 h 5973007"/>
              <a:gd name="connsiteX43505" fmla="*/ 3833232 w 6884782"/>
              <a:gd name="connsiteY43505" fmla="*/ 1837260 h 5973007"/>
              <a:gd name="connsiteX43506" fmla="*/ 3839421 w 6884782"/>
              <a:gd name="connsiteY43506" fmla="*/ 1832565 h 5973007"/>
              <a:gd name="connsiteX43507" fmla="*/ 5570896 w 6884782"/>
              <a:gd name="connsiteY43507" fmla="*/ 1831570 h 5973007"/>
              <a:gd name="connsiteX43508" fmla="*/ 5583061 w 6884782"/>
              <a:gd name="connsiteY43508" fmla="*/ 1862157 h 5973007"/>
              <a:gd name="connsiteX43509" fmla="*/ 5583487 w 6884782"/>
              <a:gd name="connsiteY43509" fmla="*/ 1865287 h 5973007"/>
              <a:gd name="connsiteX43510" fmla="*/ 5588823 w 6884782"/>
              <a:gd name="connsiteY43510" fmla="*/ 1867136 h 5973007"/>
              <a:gd name="connsiteX43511" fmla="*/ 5590103 w 6884782"/>
              <a:gd name="connsiteY43511" fmla="*/ 1869555 h 5973007"/>
              <a:gd name="connsiteX43512" fmla="*/ 5587329 w 6884782"/>
              <a:gd name="connsiteY43512" fmla="*/ 1871405 h 5973007"/>
              <a:gd name="connsiteX43513" fmla="*/ 5583701 w 6884782"/>
              <a:gd name="connsiteY43513" fmla="*/ 1869839 h 5973007"/>
              <a:gd name="connsiteX43514" fmla="*/ 5583274 w 6884782"/>
              <a:gd name="connsiteY43514" fmla="*/ 1873112 h 5973007"/>
              <a:gd name="connsiteX43515" fmla="*/ 5541444 w 6884782"/>
              <a:gd name="connsiteY43515" fmla="*/ 1888477 h 5973007"/>
              <a:gd name="connsiteX43516" fmla="*/ 5535682 w 6884782"/>
              <a:gd name="connsiteY43516" fmla="*/ 1881648 h 5973007"/>
              <a:gd name="connsiteX43517" fmla="*/ 5533761 w 6884782"/>
              <a:gd name="connsiteY43517" fmla="*/ 1883497 h 5973007"/>
              <a:gd name="connsiteX43518" fmla="*/ 5527999 w 6884782"/>
              <a:gd name="connsiteY43518" fmla="*/ 1884493 h 5973007"/>
              <a:gd name="connsiteX43519" fmla="*/ 5526504 w 6884782"/>
              <a:gd name="connsiteY43519" fmla="*/ 1873823 h 5973007"/>
              <a:gd name="connsiteX43520" fmla="*/ 5530559 w 6884782"/>
              <a:gd name="connsiteY43520" fmla="*/ 1869982 h 5973007"/>
              <a:gd name="connsiteX43521" fmla="*/ 5534614 w 6884782"/>
              <a:gd name="connsiteY43521" fmla="*/ 1866852 h 5973007"/>
              <a:gd name="connsiteX43522" fmla="*/ 5536748 w 6884782"/>
              <a:gd name="connsiteY43522" fmla="*/ 1858743 h 5973007"/>
              <a:gd name="connsiteX43523" fmla="*/ 5570896 w 6884782"/>
              <a:gd name="connsiteY43523" fmla="*/ 1831570 h 5973007"/>
              <a:gd name="connsiteX43524" fmla="*/ 1190441 w 6884782"/>
              <a:gd name="connsiteY43524" fmla="*/ 1831361 h 5973007"/>
              <a:gd name="connsiteX43525" fmla="*/ 1197463 w 6884782"/>
              <a:gd name="connsiteY43525" fmla="*/ 1832756 h 5973007"/>
              <a:gd name="connsiteX43526" fmla="*/ 1194158 w 6884782"/>
              <a:gd name="connsiteY43526" fmla="*/ 1836937 h 5973007"/>
              <a:gd name="connsiteX43527" fmla="*/ 1190958 w 6884782"/>
              <a:gd name="connsiteY43527" fmla="*/ 1837247 h 5973007"/>
              <a:gd name="connsiteX43528" fmla="*/ 1189512 w 6884782"/>
              <a:gd name="connsiteY43528" fmla="*/ 1834769 h 5973007"/>
              <a:gd name="connsiteX43529" fmla="*/ 1190441 w 6884782"/>
              <a:gd name="connsiteY43529" fmla="*/ 1831361 h 5973007"/>
              <a:gd name="connsiteX43530" fmla="*/ 1238042 w 6884782"/>
              <a:gd name="connsiteY43530" fmla="*/ 1831206 h 5973007"/>
              <a:gd name="connsiteX43531" fmla="*/ 1239591 w 6884782"/>
              <a:gd name="connsiteY43531" fmla="*/ 1835389 h 5973007"/>
              <a:gd name="connsiteX43532" fmla="*/ 1238249 w 6884782"/>
              <a:gd name="connsiteY43532" fmla="*/ 1837247 h 5973007"/>
              <a:gd name="connsiteX43533" fmla="*/ 1237320 w 6884782"/>
              <a:gd name="connsiteY43533" fmla="*/ 1837092 h 5973007"/>
              <a:gd name="connsiteX43534" fmla="*/ 1233912 w 6884782"/>
              <a:gd name="connsiteY43534" fmla="*/ 1837092 h 5973007"/>
              <a:gd name="connsiteX43535" fmla="*/ 1232673 w 6884782"/>
              <a:gd name="connsiteY43535" fmla="*/ 1834924 h 5973007"/>
              <a:gd name="connsiteX43536" fmla="*/ 1232673 w 6884782"/>
              <a:gd name="connsiteY43536" fmla="*/ 1832756 h 5973007"/>
              <a:gd name="connsiteX43537" fmla="*/ 1238042 w 6884782"/>
              <a:gd name="connsiteY43537" fmla="*/ 1831206 h 5973007"/>
              <a:gd name="connsiteX43538" fmla="*/ 1644252 w 6884782"/>
              <a:gd name="connsiteY43538" fmla="*/ 1830897 h 5973007"/>
              <a:gd name="connsiteX43539" fmla="*/ 1637747 w 6884782"/>
              <a:gd name="connsiteY43539" fmla="*/ 1843908 h 5973007"/>
              <a:gd name="connsiteX43540" fmla="*/ 1632068 w 6884782"/>
              <a:gd name="connsiteY43540" fmla="*/ 1837092 h 5973007"/>
              <a:gd name="connsiteX43541" fmla="*/ 1637644 w 6884782"/>
              <a:gd name="connsiteY43541" fmla="*/ 1832756 h 5973007"/>
              <a:gd name="connsiteX43542" fmla="*/ 1644252 w 6884782"/>
              <a:gd name="connsiteY43542" fmla="*/ 1830897 h 5973007"/>
              <a:gd name="connsiteX43543" fmla="*/ 1272324 w 6884782"/>
              <a:gd name="connsiteY43543" fmla="*/ 1830897 h 5973007"/>
              <a:gd name="connsiteX43544" fmla="*/ 1276763 w 6884782"/>
              <a:gd name="connsiteY43544" fmla="*/ 1834924 h 5973007"/>
              <a:gd name="connsiteX43545" fmla="*/ 1276763 w 6884782"/>
              <a:gd name="connsiteY43545" fmla="*/ 1835389 h 5973007"/>
              <a:gd name="connsiteX43546" fmla="*/ 1277280 w 6884782"/>
              <a:gd name="connsiteY43546" fmla="*/ 1835543 h 5973007"/>
              <a:gd name="connsiteX43547" fmla="*/ 1276763 w 6884782"/>
              <a:gd name="connsiteY43547" fmla="*/ 1835853 h 5973007"/>
              <a:gd name="connsiteX43548" fmla="*/ 1276247 w 6884782"/>
              <a:gd name="connsiteY43548" fmla="*/ 1837557 h 5973007"/>
              <a:gd name="connsiteX43549" fmla="*/ 1272839 w 6884782"/>
              <a:gd name="connsiteY43549" fmla="*/ 1841739 h 5973007"/>
              <a:gd name="connsiteX43550" fmla="*/ 1273666 w 6884782"/>
              <a:gd name="connsiteY43550" fmla="*/ 1842049 h 5973007"/>
              <a:gd name="connsiteX43551" fmla="*/ 1268606 w 6884782"/>
              <a:gd name="connsiteY43551" fmla="*/ 1840810 h 5973007"/>
              <a:gd name="connsiteX43552" fmla="*/ 1268090 w 6884782"/>
              <a:gd name="connsiteY43552" fmla="*/ 1838951 h 5973007"/>
              <a:gd name="connsiteX43553" fmla="*/ 1265405 w 6884782"/>
              <a:gd name="connsiteY43553" fmla="*/ 1839261 h 5973007"/>
              <a:gd name="connsiteX43554" fmla="*/ 1254047 w 6884782"/>
              <a:gd name="connsiteY43554" fmla="*/ 1836163 h 5973007"/>
              <a:gd name="connsiteX43555" fmla="*/ 1259520 w 6884782"/>
              <a:gd name="connsiteY43555" fmla="*/ 1832910 h 5973007"/>
              <a:gd name="connsiteX43556" fmla="*/ 1269329 w 6884782"/>
              <a:gd name="connsiteY43556" fmla="*/ 1832291 h 5973007"/>
              <a:gd name="connsiteX43557" fmla="*/ 1269639 w 6884782"/>
              <a:gd name="connsiteY43557" fmla="*/ 1832291 h 5973007"/>
              <a:gd name="connsiteX43558" fmla="*/ 3795457 w 6884782"/>
              <a:gd name="connsiteY43558" fmla="*/ 1830858 h 5973007"/>
              <a:gd name="connsiteX43559" fmla="*/ 3801006 w 6884782"/>
              <a:gd name="connsiteY43559" fmla="*/ 1858885 h 5973007"/>
              <a:gd name="connsiteX43560" fmla="*/ 3795670 w 6884782"/>
              <a:gd name="connsiteY43560" fmla="*/ 1863580 h 5973007"/>
              <a:gd name="connsiteX43561" fmla="*/ 3795457 w 6884782"/>
              <a:gd name="connsiteY43561" fmla="*/ 1830858 h 5973007"/>
              <a:gd name="connsiteX43562" fmla="*/ 5596293 w 6884782"/>
              <a:gd name="connsiteY43562" fmla="*/ 1830289 h 5973007"/>
              <a:gd name="connsiteX43563" fmla="*/ 5598640 w 6884782"/>
              <a:gd name="connsiteY43563" fmla="*/ 1831712 h 5973007"/>
              <a:gd name="connsiteX43564" fmla="*/ 5602055 w 6884782"/>
              <a:gd name="connsiteY43564" fmla="*/ 1830716 h 5973007"/>
              <a:gd name="connsiteX43565" fmla="*/ 5603549 w 6884782"/>
              <a:gd name="connsiteY43565" fmla="*/ 1832850 h 5973007"/>
              <a:gd name="connsiteX43566" fmla="*/ 5596293 w 6884782"/>
              <a:gd name="connsiteY43566" fmla="*/ 1834557 h 5973007"/>
              <a:gd name="connsiteX43567" fmla="*/ 5593518 w 6884782"/>
              <a:gd name="connsiteY43567" fmla="*/ 1832281 h 5973007"/>
              <a:gd name="connsiteX43568" fmla="*/ 5596293 w 6884782"/>
              <a:gd name="connsiteY43568" fmla="*/ 1830289 h 5973007"/>
              <a:gd name="connsiteX43569" fmla="*/ 1158019 w 6884782"/>
              <a:gd name="connsiteY43569" fmla="*/ 1829967 h 5973007"/>
              <a:gd name="connsiteX43570" fmla="*/ 1161633 w 6884782"/>
              <a:gd name="connsiteY43570" fmla="*/ 1831206 h 5973007"/>
              <a:gd name="connsiteX43571" fmla="*/ 1161530 w 6884782"/>
              <a:gd name="connsiteY43571" fmla="*/ 1833220 h 5973007"/>
              <a:gd name="connsiteX43572" fmla="*/ 1160084 w 6884782"/>
              <a:gd name="connsiteY43572" fmla="*/ 1835389 h 5973007"/>
              <a:gd name="connsiteX43573" fmla="*/ 1155747 w 6884782"/>
              <a:gd name="connsiteY43573" fmla="*/ 1833530 h 5973007"/>
              <a:gd name="connsiteX43574" fmla="*/ 1155850 w 6884782"/>
              <a:gd name="connsiteY43574" fmla="*/ 1831516 h 5973007"/>
              <a:gd name="connsiteX43575" fmla="*/ 1158019 w 6884782"/>
              <a:gd name="connsiteY43575" fmla="*/ 1829967 h 5973007"/>
              <a:gd name="connsiteX43576" fmla="*/ 924350 w 6884782"/>
              <a:gd name="connsiteY43576" fmla="*/ 1829658 h 5973007"/>
              <a:gd name="connsiteX43577" fmla="*/ 926208 w 6884782"/>
              <a:gd name="connsiteY43577" fmla="*/ 1829967 h 5973007"/>
              <a:gd name="connsiteX43578" fmla="*/ 926415 w 6884782"/>
              <a:gd name="connsiteY43578" fmla="*/ 1832910 h 5973007"/>
              <a:gd name="connsiteX43579" fmla="*/ 928377 w 6884782"/>
              <a:gd name="connsiteY43579" fmla="*/ 1833220 h 5973007"/>
              <a:gd name="connsiteX43580" fmla="*/ 928687 w 6884782"/>
              <a:gd name="connsiteY43580" fmla="*/ 1834459 h 5973007"/>
              <a:gd name="connsiteX43581" fmla="*/ 926622 w 6884782"/>
              <a:gd name="connsiteY43581" fmla="*/ 1835853 h 5973007"/>
              <a:gd name="connsiteX43582" fmla="*/ 925383 w 6884782"/>
              <a:gd name="connsiteY43582" fmla="*/ 1831361 h 5973007"/>
              <a:gd name="connsiteX43583" fmla="*/ 924350 w 6884782"/>
              <a:gd name="connsiteY43583" fmla="*/ 1829658 h 5973007"/>
              <a:gd name="connsiteX43584" fmla="*/ 5114177 w 6884782"/>
              <a:gd name="connsiteY43584" fmla="*/ 1828582 h 5973007"/>
              <a:gd name="connsiteX43585" fmla="*/ 5123355 w 6884782"/>
              <a:gd name="connsiteY43585" fmla="*/ 1830147 h 5973007"/>
              <a:gd name="connsiteX43586" fmla="*/ 5107988 w 6884782"/>
              <a:gd name="connsiteY43586" fmla="*/ 1842667 h 5973007"/>
              <a:gd name="connsiteX43587" fmla="*/ 5104573 w 6884782"/>
              <a:gd name="connsiteY43587" fmla="*/ 1831143 h 5973007"/>
              <a:gd name="connsiteX43588" fmla="*/ 5114177 w 6884782"/>
              <a:gd name="connsiteY43588" fmla="*/ 1828582 h 5973007"/>
              <a:gd name="connsiteX43589" fmla="*/ 921872 w 6884782"/>
              <a:gd name="connsiteY43589" fmla="*/ 1828263 h 5973007"/>
              <a:gd name="connsiteX43590" fmla="*/ 919703 w 6884782"/>
              <a:gd name="connsiteY43590" fmla="*/ 1833530 h 5973007"/>
              <a:gd name="connsiteX43591" fmla="*/ 913508 w 6884782"/>
              <a:gd name="connsiteY43591" fmla="*/ 1838022 h 5973007"/>
              <a:gd name="connsiteX43592" fmla="*/ 913198 w 6884782"/>
              <a:gd name="connsiteY43592" fmla="*/ 1836782 h 5973007"/>
              <a:gd name="connsiteX43593" fmla="*/ 921872 w 6884782"/>
              <a:gd name="connsiteY43593" fmla="*/ 1828263 h 5973007"/>
              <a:gd name="connsiteX43594" fmla="*/ 818925 w 6884782"/>
              <a:gd name="connsiteY43594" fmla="*/ 1827799 h 5973007"/>
              <a:gd name="connsiteX43595" fmla="*/ 821094 w 6884782"/>
              <a:gd name="connsiteY43595" fmla="*/ 1834304 h 5973007"/>
              <a:gd name="connsiteX43596" fmla="*/ 815828 w 6884782"/>
              <a:gd name="connsiteY43596" fmla="*/ 1834304 h 5973007"/>
              <a:gd name="connsiteX43597" fmla="*/ 814072 w 6884782"/>
              <a:gd name="connsiteY43597" fmla="*/ 1831981 h 5973007"/>
              <a:gd name="connsiteX43598" fmla="*/ 815621 w 6884782"/>
              <a:gd name="connsiteY43598" fmla="*/ 1829193 h 5973007"/>
              <a:gd name="connsiteX43599" fmla="*/ 818925 w 6884782"/>
              <a:gd name="connsiteY43599" fmla="*/ 1827799 h 5973007"/>
              <a:gd name="connsiteX43600" fmla="*/ 3696003 w 6884782"/>
              <a:gd name="connsiteY43600" fmla="*/ 1827728 h 5973007"/>
              <a:gd name="connsiteX43601" fmla="*/ 3732498 w 6884782"/>
              <a:gd name="connsiteY43601" fmla="*/ 1857035 h 5973007"/>
              <a:gd name="connsiteX43602" fmla="*/ 3721400 w 6884782"/>
              <a:gd name="connsiteY43602" fmla="*/ 1856751 h 5973007"/>
              <a:gd name="connsiteX43603" fmla="*/ 3716918 w 6884782"/>
              <a:gd name="connsiteY43603" fmla="*/ 1854332 h 5973007"/>
              <a:gd name="connsiteX43604" fmla="*/ 3716918 w 6884782"/>
              <a:gd name="connsiteY43604" fmla="*/ 1854901 h 5973007"/>
              <a:gd name="connsiteX43605" fmla="*/ 3713076 w 6884782"/>
              <a:gd name="connsiteY43605" fmla="*/ 1856608 h 5973007"/>
              <a:gd name="connsiteX43606" fmla="*/ 3708381 w 6884782"/>
              <a:gd name="connsiteY43606" fmla="*/ 1853906 h 5973007"/>
              <a:gd name="connsiteX43607" fmla="*/ 3705820 w 6884782"/>
              <a:gd name="connsiteY43607" fmla="*/ 1849353 h 5973007"/>
              <a:gd name="connsiteX43608" fmla="*/ 3704540 w 6884782"/>
              <a:gd name="connsiteY43608" fmla="*/ 1846223 h 5973007"/>
              <a:gd name="connsiteX43609" fmla="*/ 3697924 w 6884782"/>
              <a:gd name="connsiteY43609" fmla="*/ 1839394 h 5973007"/>
              <a:gd name="connsiteX43610" fmla="*/ 3696003 w 6884782"/>
              <a:gd name="connsiteY43610" fmla="*/ 1827728 h 5973007"/>
              <a:gd name="connsiteX43611" fmla="*/ 1217081 w 6884782"/>
              <a:gd name="connsiteY43611" fmla="*/ 1827644 h 5973007"/>
              <a:gd name="connsiteX43612" fmla="*/ 1217598 w 6884782"/>
              <a:gd name="connsiteY43612" fmla="*/ 1833065 h 5973007"/>
              <a:gd name="connsiteX43613" fmla="*/ 1211299 w 6884782"/>
              <a:gd name="connsiteY43613" fmla="*/ 1837402 h 5973007"/>
              <a:gd name="connsiteX43614" fmla="*/ 1209028 w 6884782"/>
              <a:gd name="connsiteY43614" fmla="*/ 1833685 h 5973007"/>
              <a:gd name="connsiteX43615" fmla="*/ 1212125 w 6884782"/>
              <a:gd name="connsiteY43615" fmla="*/ 1829813 h 5973007"/>
              <a:gd name="connsiteX43616" fmla="*/ 1217081 w 6884782"/>
              <a:gd name="connsiteY43616" fmla="*/ 1827644 h 5973007"/>
              <a:gd name="connsiteX43617" fmla="*/ 1742656 w 6884782"/>
              <a:gd name="connsiteY43617" fmla="*/ 1826095 h 5973007"/>
              <a:gd name="connsiteX43618" fmla="*/ 1742346 w 6884782"/>
              <a:gd name="connsiteY43618" fmla="*/ 1827799 h 5973007"/>
              <a:gd name="connsiteX43619" fmla="*/ 1741830 w 6884782"/>
              <a:gd name="connsiteY43619" fmla="*/ 1827024 h 5973007"/>
              <a:gd name="connsiteX43620" fmla="*/ 1742656 w 6884782"/>
              <a:gd name="connsiteY43620" fmla="*/ 1826095 h 5973007"/>
              <a:gd name="connsiteX43621" fmla="*/ 5187594 w 6884782"/>
              <a:gd name="connsiteY43621" fmla="*/ 1826021 h 5973007"/>
              <a:gd name="connsiteX43622" fmla="*/ 5194850 w 6884782"/>
              <a:gd name="connsiteY43622" fmla="*/ 1826448 h 5973007"/>
              <a:gd name="connsiteX43623" fmla="*/ 5197838 w 6884782"/>
              <a:gd name="connsiteY43623" fmla="*/ 1839252 h 5973007"/>
              <a:gd name="connsiteX43624" fmla="*/ 5187594 w 6884782"/>
              <a:gd name="connsiteY43624" fmla="*/ 1826021 h 5973007"/>
              <a:gd name="connsiteX43625" fmla="*/ 679220 w 6884782"/>
              <a:gd name="connsiteY43625" fmla="*/ 1825785 h 5973007"/>
              <a:gd name="connsiteX43626" fmla="*/ 682833 w 6884782"/>
              <a:gd name="connsiteY43626" fmla="*/ 1827179 h 5973007"/>
              <a:gd name="connsiteX43627" fmla="*/ 683763 w 6884782"/>
              <a:gd name="connsiteY43627" fmla="*/ 1828883 h 5973007"/>
              <a:gd name="connsiteX43628" fmla="*/ 682008 w 6884782"/>
              <a:gd name="connsiteY43628" fmla="*/ 1830432 h 5973007"/>
              <a:gd name="connsiteX43629" fmla="*/ 676845 w 6884782"/>
              <a:gd name="connsiteY43629" fmla="*/ 1829813 h 5973007"/>
              <a:gd name="connsiteX43630" fmla="*/ 676019 w 6884782"/>
              <a:gd name="connsiteY43630" fmla="*/ 1828108 h 5973007"/>
              <a:gd name="connsiteX43631" fmla="*/ 679220 w 6884782"/>
              <a:gd name="connsiteY43631" fmla="*/ 1825785 h 5973007"/>
              <a:gd name="connsiteX43632" fmla="*/ 1511671 w 6884782"/>
              <a:gd name="connsiteY43632" fmla="*/ 1825475 h 5973007"/>
              <a:gd name="connsiteX43633" fmla="*/ 1513736 w 6884782"/>
              <a:gd name="connsiteY43633" fmla="*/ 1825940 h 5973007"/>
              <a:gd name="connsiteX43634" fmla="*/ 1516834 w 6884782"/>
              <a:gd name="connsiteY43634" fmla="*/ 1828108 h 5973007"/>
              <a:gd name="connsiteX43635" fmla="*/ 1517763 w 6884782"/>
              <a:gd name="connsiteY43635" fmla="*/ 1832136 h 5973007"/>
              <a:gd name="connsiteX43636" fmla="*/ 1517557 w 6884782"/>
              <a:gd name="connsiteY43636" fmla="*/ 1831361 h 5973007"/>
              <a:gd name="connsiteX43637" fmla="*/ 1515802 w 6884782"/>
              <a:gd name="connsiteY43637" fmla="*/ 1831826 h 5973007"/>
              <a:gd name="connsiteX43638" fmla="*/ 1516111 w 6884782"/>
              <a:gd name="connsiteY43638" fmla="*/ 1832601 h 5973007"/>
              <a:gd name="connsiteX43639" fmla="*/ 1514253 w 6884782"/>
              <a:gd name="connsiteY43639" fmla="*/ 1832136 h 5973007"/>
              <a:gd name="connsiteX43640" fmla="*/ 1509606 w 6884782"/>
              <a:gd name="connsiteY43640" fmla="*/ 1827024 h 5973007"/>
              <a:gd name="connsiteX43641" fmla="*/ 1511671 w 6884782"/>
              <a:gd name="connsiteY43641" fmla="*/ 1825475 h 5973007"/>
              <a:gd name="connsiteX43642" fmla="*/ 5728186 w 6884782"/>
              <a:gd name="connsiteY43642" fmla="*/ 1825452 h 5973007"/>
              <a:gd name="connsiteX43643" fmla="*/ 5710899 w 6884782"/>
              <a:gd name="connsiteY43643" fmla="*/ 1860307 h 5973007"/>
              <a:gd name="connsiteX43644" fmla="*/ 5701509 w 6884782"/>
              <a:gd name="connsiteY43644" fmla="*/ 1854617 h 5973007"/>
              <a:gd name="connsiteX43645" fmla="*/ 5728186 w 6884782"/>
              <a:gd name="connsiteY43645" fmla="*/ 1825452 h 5973007"/>
              <a:gd name="connsiteX43646" fmla="*/ 5703216 w 6884782"/>
              <a:gd name="connsiteY43646" fmla="*/ 1825452 h 5973007"/>
              <a:gd name="connsiteX43647" fmla="*/ 5707058 w 6884782"/>
              <a:gd name="connsiteY43647" fmla="*/ 1826021 h 5973007"/>
              <a:gd name="connsiteX43648" fmla="*/ 5709832 w 6884782"/>
              <a:gd name="connsiteY43648" fmla="*/ 1828297 h 5973007"/>
              <a:gd name="connsiteX43649" fmla="*/ 5710686 w 6884782"/>
              <a:gd name="connsiteY43649" fmla="*/ 1835411 h 5973007"/>
              <a:gd name="connsiteX43650" fmla="*/ 5700442 w 6884782"/>
              <a:gd name="connsiteY43650" fmla="*/ 1835980 h 5973007"/>
              <a:gd name="connsiteX43651" fmla="*/ 5700442 w 6884782"/>
              <a:gd name="connsiteY43651" fmla="*/ 1827586 h 5973007"/>
              <a:gd name="connsiteX43652" fmla="*/ 5703216 w 6884782"/>
              <a:gd name="connsiteY43652" fmla="*/ 1825452 h 5973007"/>
              <a:gd name="connsiteX43653" fmla="*/ 5950356 w 6884782"/>
              <a:gd name="connsiteY43653" fmla="*/ 1824456 h 5973007"/>
              <a:gd name="connsiteX43654" fmla="*/ 5953130 w 6884782"/>
              <a:gd name="connsiteY43654" fmla="*/ 1824883 h 5973007"/>
              <a:gd name="connsiteX43655" fmla="*/ 5953344 w 6884782"/>
              <a:gd name="connsiteY43655" fmla="*/ 1828440 h 5973007"/>
              <a:gd name="connsiteX43656" fmla="*/ 5943527 w 6884782"/>
              <a:gd name="connsiteY43656" fmla="*/ 1832565 h 5973007"/>
              <a:gd name="connsiteX43657" fmla="*/ 5950356 w 6884782"/>
              <a:gd name="connsiteY43657" fmla="*/ 1824456 h 5973007"/>
              <a:gd name="connsiteX43658" fmla="*/ 1006955 w 6884782"/>
              <a:gd name="connsiteY43658" fmla="*/ 1824081 h 5973007"/>
              <a:gd name="connsiteX43659" fmla="*/ 1005303 w 6884782"/>
              <a:gd name="connsiteY43659" fmla="*/ 1829967 h 5973007"/>
              <a:gd name="connsiteX43660" fmla="*/ 1005199 w 6884782"/>
              <a:gd name="connsiteY43660" fmla="*/ 1826559 h 5973007"/>
              <a:gd name="connsiteX43661" fmla="*/ 1006955 w 6884782"/>
              <a:gd name="connsiteY43661" fmla="*/ 1824081 h 5973007"/>
              <a:gd name="connsiteX43662" fmla="*/ 936844 w 6884782"/>
              <a:gd name="connsiteY43662" fmla="*/ 1823462 h 5973007"/>
              <a:gd name="connsiteX43663" fmla="*/ 943039 w 6884782"/>
              <a:gd name="connsiteY43663" fmla="*/ 1823616 h 5973007"/>
              <a:gd name="connsiteX43664" fmla="*/ 932610 w 6884782"/>
              <a:gd name="connsiteY43664" fmla="*/ 1835079 h 5973007"/>
              <a:gd name="connsiteX43665" fmla="*/ 930958 w 6884782"/>
              <a:gd name="connsiteY43665" fmla="*/ 1835853 h 5973007"/>
              <a:gd name="connsiteX43666" fmla="*/ 928687 w 6884782"/>
              <a:gd name="connsiteY43666" fmla="*/ 1834459 h 5973007"/>
              <a:gd name="connsiteX43667" fmla="*/ 935192 w 6884782"/>
              <a:gd name="connsiteY43667" fmla="*/ 1824236 h 5973007"/>
              <a:gd name="connsiteX43668" fmla="*/ 936844 w 6884782"/>
              <a:gd name="connsiteY43668" fmla="*/ 1823462 h 5973007"/>
              <a:gd name="connsiteX43669" fmla="*/ 1177534 w 6884782"/>
              <a:gd name="connsiteY43669" fmla="*/ 1823307 h 5973007"/>
              <a:gd name="connsiteX43670" fmla="*/ 1179702 w 6884782"/>
              <a:gd name="connsiteY43670" fmla="*/ 1830587 h 5973007"/>
              <a:gd name="connsiteX43671" fmla="*/ 1177121 w 6884782"/>
              <a:gd name="connsiteY43671" fmla="*/ 1824391 h 5973007"/>
              <a:gd name="connsiteX43672" fmla="*/ 1177534 w 6884782"/>
              <a:gd name="connsiteY43672" fmla="*/ 1823307 h 5973007"/>
              <a:gd name="connsiteX43673" fmla="*/ 785677 w 6884782"/>
              <a:gd name="connsiteY43673" fmla="*/ 1822997 h 5973007"/>
              <a:gd name="connsiteX43674" fmla="*/ 792079 w 6884782"/>
              <a:gd name="connsiteY43674" fmla="*/ 1828418 h 5973007"/>
              <a:gd name="connsiteX43675" fmla="*/ 785573 w 6884782"/>
              <a:gd name="connsiteY43675" fmla="*/ 1825475 h 5973007"/>
              <a:gd name="connsiteX43676" fmla="*/ 785677 w 6884782"/>
              <a:gd name="connsiteY43676" fmla="*/ 1822997 h 5973007"/>
              <a:gd name="connsiteX43677" fmla="*/ 5839591 w 6884782"/>
              <a:gd name="connsiteY43677" fmla="*/ 1822180 h 5973007"/>
              <a:gd name="connsiteX43678" fmla="*/ 5847915 w 6884782"/>
              <a:gd name="connsiteY43678" fmla="*/ 1829862 h 5973007"/>
              <a:gd name="connsiteX43679" fmla="*/ 5832762 w 6884782"/>
              <a:gd name="connsiteY43679" fmla="*/ 1828724 h 5973007"/>
              <a:gd name="connsiteX43680" fmla="*/ 5839591 w 6884782"/>
              <a:gd name="connsiteY43680" fmla="*/ 1822180 h 5973007"/>
              <a:gd name="connsiteX43681" fmla="*/ 1682457 w 6884782"/>
              <a:gd name="connsiteY43681" fmla="*/ 1821913 h 5973007"/>
              <a:gd name="connsiteX43682" fmla="*/ 1688239 w 6884782"/>
              <a:gd name="connsiteY43682" fmla="*/ 1824081 h 5973007"/>
              <a:gd name="connsiteX43683" fmla="*/ 1690201 w 6884782"/>
              <a:gd name="connsiteY43683" fmla="*/ 1829967 h 5973007"/>
              <a:gd name="connsiteX43684" fmla="*/ 1679256 w 6884782"/>
              <a:gd name="connsiteY43684" fmla="*/ 1830587 h 5973007"/>
              <a:gd name="connsiteX43685" fmla="*/ 1682457 w 6884782"/>
              <a:gd name="connsiteY43685" fmla="*/ 1821913 h 5973007"/>
              <a:gd name="connsiteX43686" fmla="*/ 1057963 w 6884782"/>
              <a:gd name="connsiteY43686" fmla="*/ 1821448 h 5973007"/>
              <a:gd name="connsiteX43687" fmla="*/ 1057447 w 6884782"/>
              <a:gd name="connsiteY43687" fmla="*/ 1826559 h 5973007"/>
              <a:gd name="connsiteX43688" fmla="*/ 1054246 w 6884782"/>
              <a:gd name="connsiteY43688" fmla="*/ 1830432 h 5973007"/>
              <a:gd name="connsiteX43689" fmla="*/ 1061061 w 6884782"/>
              <a:gd name="connsiteY43689" fmla="*/ 1831361 h 5973007"/>
              <a:gd name="connsiteX43690" fmla="*/ 1067979 w 6884782"/>
              <a:gd name="connsiteY43690" fmla="*/ 1835853 h 5973007"/>
              <a:gd name="connsiteX43691" fmla="*/ 1070251 w 6884782"/>
              <a:gd name="connsiteY43691" fmla="*/ 1862495 h 5973007"/>
              <a:gd name="connsiteX43692" fmla="*/ 1067670 w 6884782"/>
              <a:gd name="connsiteY43692" fmla="*/ 1863580 h 5973007"/>
              <a:gd name="connsiteX43693" fmla="*/ 1047638 w 6884782"/>
              <a:gd name="connsiteY43693" fmla="*/ 1840500 h 5973007"/>
              <a:gd name="connsiteX43694" fmla="*/ 1048877 w 6884782"/>
              <a:gd name="connsiteY43694" fmla="*/ 1835079 h 5973007"/>
              <a:gd name="connsiteX43695" fmla="*/ 1051562 w 6884782"/>
              <a:gd name="connsiteY43695" fmla="*/ 1830432 h 5973007"/>
              <a:gd name="connsiteX43696" fmla="*/ 1050529 w 6884782"/>
              <a:gd name="connsiteY43696" fmla="*/ 1829813 h 5973007"/>
              <a:gd name="connsiteX43697" fmla="*/ 1051665 w 6884782"/>
              <a:gd name="connsiteY43697" fmla="*/ 1821758 h 5973007"/>
              <a:gd name="connsiteX43698" fmla="*/ 1057963 w 6884782"/>
              <a:gd name="connsiteY43698" fmla="*/ 1821448 h 5973007"/>
              <a:gd name="connsiteX43699" fmla="*/ 5269120 w 6884782"/>
              <a:gd name="connsiteY43699" fmla="*/ 1820899 h 5973007"/>
              <a:gd name="connsiteX43700" fmla="*/ 5274029 w 6884782"/>
              <a:gd name="connsiteY43700" fmla="*/ 1822607 h 5973007"/>
              <a:gd name="connsiteX43701" fmla="*/ 5274242 w 6884782"/>
              <a:gd name="connsiteY43701" fmla="*/ 1822749 h 5973007"/>
              <a:gd name="connsiteX43702" fmla="*/ 5275096 w 6884782"/>
              <a:gd name="connsiteY43702" fmla="*/ 1820899 h 5973007"/>
              <a:gd name="connsiteX43703" fmla="*/ 5278937 w 6884782"/>
              <a:gd name="connsiteY43703" fmla="*/ 1823034 h 5973007"/>
              <a:gd name="connsiteX43704" fmla="*/ 5279364 w 6884782"/>
              <a:gd name="connsiteY43704" fmla="*/ 1826591 h 5973007"/>
              <a:gd name="connsiteX43705" fmla="*/ 5278724 w 6884782"/>
              <a:gd name="connsiteY43705" fmla="*/ 1827444 h 5973007"/>
              <a:gd name="connsiteX43706" fmla="*/ 5280004 w 6884782"/>
              <a:gd name="connsiteY43706" fmla="*/ 1830005 h 5973007"/>
              <a:gd name="connsiteX43707" fmla="*/ 5282139 w 6884782"/>
              <a:gd name="connsiteY43707" fmla="*/ 1839110 h 5973007"/>
              <a:gd name="connsiteX43708" fmla="*/ 5278937 w 6884782"/>
              <a:gd name="connsiteY43708" fmla="*/ 1846223 h 5973007"/>
              <a:gd name="connsiteX43709" fmla="*/ 5258022 w 6884782"/>
              <a:gd name="connsiteY43709" fmla="*/ 1845085 h 5973007"/>
              <a:gd name="connsiteX43710" fmla="*/ 5255888 w 6884782"/>
              <a:gd name="connsiteY43710" fmla="*/ 1842382 h 5973007"/>
              <a:gd name="connsiteX43711" fmla="*/ 5255461 w 6884782"/>
              <a:gd name="connsiteY43711" fmla="*/ 1842097 h 5973007"/>
              <a:gd name="connsiteX43712" fmla="*/ 5254821 w 6884782"/>
              <a:gd name="connsiteY43712" fmla="*/ 1843804 h 5973007"/>
              <a:gd name="connsiteX43713" fmla="*/ 5253114 w 6884782"/>
              <a:gd name="connsiteY43713" fmla="*/ 1844089 h 5973007"/>
              <a:gd name="connsiteX43714" fmla="*/ 5249912 w 6884782"/>
              <a:gd name="connsiteY43714" fmla="*/ 1843235 h 5973007"/>
              <a:gd name="connsiteX43715" fmla="*/ 5247351 w 6884782"/>
              <a:gd name="connsiteY43715" fmla="*/ 1843520 h 5973007"/>
              <a:gd name="connsiteX43716" fmla="*/ 5245644 w 6884782"/>
              <a:gd name="connsiteY43716" fmla="*/ 1840390 h 5973007"/>
              <a:gd name="connsiteX43717" fmla="*/ 5248205 w 6884782"/>
              <a:gd name="connsiteY43717" fmla="*/ 1840105 h 5973007"/>
              <a:gd name="connsiteX43718" fmla="*/ 5252047 w 6884782"/>
              <a:gd name="connsiteY43718" fmla="*/ 1840959 h 5973007"/>
              <a:gd name="connsiteX43719" fmla="*/ 5253967 w 6884782"/>
              <a:gd name="connsiteY43719" fmla="*/ 1841101 h 5973007"/>
              <a:gd name="connsiteX43720" fmla="*/ 5251406 w 6884782"/>
              <a:gd name="connsiteY43720" fmla="*/ 1839252 h 5973007"/>
              <a:gd name="connsiteX43721" fmla="*/ 5253327 w 6884782"/>
              <a:gd name="connsiteY43721" fmla="*/ 1836264 h 5973007"/>
              <a:gd name="connsiteX43722" fmla="*/ 5253754 w 6884782"/>
              <a:gd name="connsiteY43722" fmla="*/ 1833561 h 5973007"/>
              <a:gd name="connsiteX43723" fmla="*/ 5251619 w 6884782"/>
              <a:gd name="connsiteY43723" fmla="*/ 1831570 h 5973007"/>
              <a:gd name="connsiteX43724" fmla="*/ 5254821 w 6884782"/>
              <a:gd name="connsiteY43724" fmla="*/ 1829578 h 5973007"/>
              <a:gd name="connsiteX43725" fmla="*/ 5255248 w 6884782"/>
              <a:gd name="connsiteY43725" fmla="*/ 1829720 h 5973007"/>
              <a:gd name="connsiteX43726" fmla="*/ 5258022 w 6884782"/>
              <a:gd name="connsiteY43726" fmla="*/ 1825879 h 5973007"/>
              <a:gd name="connsiteX43727" fmla="*/ 5269120 w 6884782"/>
              <a:gd name="connsiteY43727" fmla="*/ 1820899 h 5973007"/>
              <a:gd name="connsiteX43728" fmla="*/ 5688917 w 6884782"/>
              <a:gd name="connsiteY43728" fmla="*/ 1820757 h 5973007"/>
              <a:gd name="connsiteX43729" fmla="*/ 5693826 w 6884782"/>
              <a:gd name="connsiteY43729" fmla="*/ 1826021 h 5973007"/>
              <a:gd name="connsiteX43730" fmla="*/ 5686569 w 6884782"/>
              <a:gd name="connsiteY43730" fmla="*/ 1823602 h 5973007"/>
              <a:gd name="connsiteX43731" fmla="*/ 5688917 w 6884782"/>
              <a:gd name="connsiteY43731" fmla="*/ 1820757 h 5973007"/>
              <a:gd name="connsiteX43732" fmla="*/ 1293388 w 6884782"/>
              <a:gd name="connsiteY43732" fmla="*/ 1820673 h 5973007"/>
              <a:gd name="connsiteX43733" fmla="*/ 1296589 w 6884782"/>
              <a:gd name="connsiteY43733" fmla="*/ 1823926 h 5973007"/>
              <a:gd name="connsiteX43734" fmla="*/ 1296795 w 6884782"/>
              <a:gd name="connsiteY43734" fmla="*/ 1823771 h 5973007"/>
              <a:gd name="connsiteX43735" fmla="*/ 1297208 w 6884782"/>
              <a:gd name="connsiteY43735" fmla="*/ 1824391 h 5973007"/>
              <a:gd name="connsiteX43736" fmla="*/ 1298447 w 6884782"/>
              <a:gd name="connsiteY43736" fmla="*/ 1825475 h 5973007"/>
              <a:gd name="connsiteX43737" fmla="*/ 1300306 w 6884782"/>
              <a:gd name="connsiteY43737" fmla="*/ 1828728 h 5973007"/>
              <a:gd name="connsiteX43738" fmla="*/ 1301648 w 6884782"/>
              <a:gd name="connsiteY43738" fmla="*/ 1833840 h 5973007"/>
              <a:gd name="connsiteX43739" fmla="*/ 1301132 w 6884782"/>
              <a:gd name="connsiteY43739" fmla="*/ 1835853 h 5973007"/>
              <a:gd name="connsiteX43740" fmla="*/ 1304126 w 6884782"/>
              <a:gd name="connsiteY43740" fmla="*/ 1835543 h 5973007"/>
              <a:gd name="connsiteX43741" fmla="*/ 1308566 w 6884782"/>
              <a:gd name="connsiteY43741" fmla="*/ 1836627 h 5973007"/>
              <a:gd name="connsiteX43742" fmla="*/ 1309599 w 6884782"/>
              <a:gd name="connsiteY43742" fmla="*/ 1844837 h 5973007"/>
              <a:gd name="connsiteX43743" fmla="*/ 1295143 w 6884782"/>
              <a:gd name="connsiteY43743" fmla="*/ 1846386 h 5973007"/>
              <a:gd name="connsiteX43744" fmla="*/ 1294110 w 6884782"/>
              <a:gd name="connsiteY43744" fmla="*/ 1844992 h 5973007"/>
              <a:gd name="connsiteX43745" fmla="*/ 1292768 w 6884782"/>
              <a:gd name="connsiteY43745" fmla="*/ 1851653 h 5973007"/>
              <a:gd name="connsiteX43746" fmla="*/ 1290187 w 6884782"/>
              <a:gd name="connsiteY43746" fmla="*/ 1870395 h 5973007"/>
              <a:gd name="connsiteX43747" fmla="*/ 1283888 w 6884782"/>
              <a:gd name="connsiteY43747" fmla="*/ 1850879 h 5973007"/>
              <a:gd name="connsiteX43748" fmla="*/ 1286469 w 6884782"/>
              <a:gd name="connsiteY43748" fmla="*/ 1846696 h 5973007"/>
              <a:gd name="connsiteX43749" fmla="*/ 1293801 w 6884782"/>
              <a:gd name="connsiteY43749" fmla="*/ 1844682 h 5973007"/>
              <a:gd name="connsiteX43750" fmla="*/ 1292562 w 6884782"/>
              <a:gd name="connsiteY43750" fmla="*/ 1842978 h 5973007"/>
              <a:gd name="connsiteX43751" fmla="*/ 1291839 w 6884782"/>
              <a:gd name="connsiteY43751" fmla="*/ 1843133 h 5973007"/>
              <a:gd name="connsiteX43752" fmla="*/ 1285230 w 6884782"/>
              <a:gd name="connsiteY43752" fmla="*/ 1842359 h 5973007"/>
              <a:gd name="connsiteX43753" fmla="*/ 1281513 w 6884782"/>
              <a:gd name="connsiteY43753" fmla="*/ 1838177 h 5973007"/>
              <a:gd name="connsiteX43754" fmla="*/ 1280377 w 6884782"/>
              <a:gd name="connsiteY43754" fmla="*/ 1834459 h 5973007"/>
              <a:gd name="connsiteX43755" fmla="*/ 1280377 w 6884782"/>
              <a:gd name="connsiteY43755" fmla="*/ 1831516 h 5973007"/>
              <a:gd name="connsiteX43756" fmla="*/ 1287708 w 6884782"/>
              <a:gd name="connsiteY43756" fmla="*/ 1823926 h 5973007"/>
              <a:gd name="connsiteX43757" fmla="*/ 1290187 w 6884782"/>
              <a:gd name="connsiteY43757" fmla="*/ 1822997 h 5973007"/>
              <a:gd name="connsiteX43758" fmla="*/ 1293388 w 6884782"/>
              <a:gd name="connsiteY43758" fmla="*/ 1820673 h 5973007"/>
              <a:gd name="connsiteX43759" fmla="*/ 1527986 w 6884782"/>
              <a:gd name="connsiteY43759" fmla="*/ 1820364 h 5973007"/>
              <a:gd name="connsiteX43760" fmla="*/ 1533355 w 6884782"/>
              <a:gd name="connsiteY43760" fmla="*/ 1825011 h 5973007"/>
              <a:gd name="connsiteX43761" fmla="*/ 1535936 w 6884782"/>
              <a:gd name="connsiteY43761" fmla="*/ 1831052 h 5973007"/>
              <a:gd name="connsiteX43762" fmla="*/ 1535936 w 6884782"/>
              <a:gd name="connsiteY43762" fmla="*/ 1830742 h 5973007"/>
              <a:gd name="connsiteX43763" fmla="*/ 1538518 w 6884782"/>
              <a:gd name="connsiteY43763" fmla="*/ 1829193 h 5973007"/>
              <a:gd name="connsiteX43764" fmla="*/ 1541925 w 6884782"/>
              <a:gd name="connsiteY43764" fmla="*/ 1830122 h 5973007"/>
              <a:gd name="connsiteX43765" fmla="*/ 1543991 w 6884782"/>
              <a:gd name="connsiteY43765" fmla="*/ 1831981 h 5973007"/>
              <a:gd name="connsiteX43766" fmla="*/ 1544507 w 6884782"/>
              <a:gd name="connsiteY43766" fmla="*/ 1834769 h 5973007"/>
              <a:gd name="connsiteX43767" fmla="*/ 1543474 w 6884782"/>
              <a:gd name="connsiteY43767" fmla="*/ 1836782 h 5973007"/>
              <a:gd name="connsiteX43768" fmla="*/ 1538621 w 6884782"/>
              <a:gd name="connsiteY43768" fmla="*/ 1838022 h 5973007"/>
              <a:gd name="connsiteX43769" fmla="*/ 1536349 w 6884782"/>
              <a:gd name="connsiteY43769" fmla="*/ 1834614 h 5973007"/>
              <a:gd name="connsiteX43770" fmla="*/ 1536040 w 6884782"/>
              <a:gd name="connsiteY43770" fmla="*/ 1831206 h 5973007"/>
              <a:gd name="connsiteX43771" fmla="*/ 1532013 w 6884782"/>
              <a:gd name="connsiteY43771" fmla="*/ 1835389 h 5973007"/>
              <a:gd name="connsiteX43772" fmla="*/ 1528296 w 6884782"/>
              <a:gd name="connsiteY43772" fmla="*/ 1834304 h 5973007"/>
              <a:gd name="connsiteX43773" fmla="*/ 1526127 w 6884782"/>
              <a:gd name="connsiteY43773" fmla="*/ 1831826 h 5973007"/>
              <a:gd name="connsiteX43774" fmla="*/ 1523856 w 6884782"/>
              <a:gd name="connsiteY43774" fmla="*/ 1838486 h 5973007"/>
              <a:gd name="connsiteX43775" fmla="*/ 1520448 w 6884782"/>
              <a:gd name="connsiteY43775" fmla="*/ 1843598 h 5973007"/>
              <a:gd name="connsiteX43776" fmla="*/ 1523236 w 6884782"/>
              <a:gd name="connsiteY43776" fmla="*/ 1844063 h 5973007"/>
              <a:gd name="connsiteX43777" fmla="*/ 1526127 w 6884782"/>
              <a:gd name="connsiteY43777" fmla="*/ 1855990 h 5973007"/>
              <a:gd name="connsiteX43778" fmla="*/ 1518280 w 6884782"/>
              <a:gd name="connsiteY43778" fmla="*/ 1855060 h 5973007"/>
              <a:gd name="connsiteX43779" fmla="*/ 1517867 w 6884782"/>
              <a:gd name="connsiteY43779" fmla="*/ 1852891 h 5973007"/>
              <a:gd name="connsiteX43780" fmla="*/ 1517041 w 6884782"/>
              <a:gd name="connsiteY43780" fmla="*/ 1851807 h 5973007"/>
              <a:gd name="connsiteX43781" fmla="*/ 1514769 w 6884782"/>
              <a:gd name="connsiteY43781" fmla="*/ 1852582 h 5973007"/>
              <a:gd name="connsiteX43782" fmla="*/ 1511568 w 6884782"/>
              <a:gd name="connsiteY43782" fmla="*/ 1855370 h 5973007"/>
              <a:gd name="connsiteX43783" fmla="*/ 1510948 w 6884782"/>
              <a:gd name="connsiteY43783" fmla="*/ 1850103 h 5973007"/>
              <a:gd name="connsiteX43784" fmla="*/ 1512188 w 6884782"/>
              <a:gd name="connsiteY43784" fmla="*/ 1845147 h 5973007"/>
              <a:gd name="connsiteX43785" fmla="*/ 1517144 w 6884782"/>
              <a:gd name="connsiteY43785" fmla="*/ 1847161 h 5973007"/>
              <a:gd name="connsiteX43786" fmla="*/ 1517557 w 6884782"/>
              <a:gd name="connsiteY43786" fmla="*/ 1845147 h 5973007"/>
              <a:gd name="connsiteX43787" fmla="*/ 1518899 w 6884782"/>
              <a:gd name="connsiteY43787" fmla="*/ 1843133 h 5973007"/>
              <a:gd name="connsiteX43788" fmla="*/ 1520241 w 6884782"/>
              <a:gd name="connsiteY43788" fmla="*/ 1843443 h 5973007"/>
              <a:gd name="connsiteX43789" fmla="*/ 1517970 w 6884782"/>
              <a:gd name="connsiteY43789" fmla="*/ 1838177 h 5973007"/>
              <a:gd name="connsiteX43790" fmla="*/ 1518073 w 6884782"/>
              <a:gd name="connsiteY43790" fmla="*/ 1834149 h 5973007"/>
              <a:gd name="connsiteX43791" fmla="*/ 1523546 w 6884782"/>
              <a:gd name="connsiteY43791" fmla="*/ 1822223 h 5973007"/>
              <a:gd name="connsiteX43792" fmla="*/ 1524268 w 6884782"/>
              <a:gd name="connsiteY43792" fmla="*/ 1822997 h 5973007"/>
              <a:gd name="connsiteX43793" fmla="*/ 4953045 w 6884782"/>
              <a:gd name="connsiteY43793" fmla="*/ 1820330 h 5973007"/>
              <a:gd name="connsiteX43794" fmla="*/ 4957314 w 6884782"/>
              <a:gd name="connsiteY43794" fmla="*/ 1821184 h 5973007"/>
              <a:gd name="connsiteX43795" fmla="*/ 4948777 w 6884782"/>
              <a:gd name="connsiteY43795" fmla="*/ 1822180 h 5973007"/>
              <a:gd name="connsiteX43796" fmla="*/ 4953045 w 6884782"/>
              <a:gd name="connsiteY43796" fmla="*/ 1820330 h 5973007"/>
              <a:gd name="connsiteX43797" fmla="*/ 739315 w 6884782"/>
              <a:gd name="connsiteY43797" fmla="*/ 1819899 h 5973007"/>
              <a:gd name="connsiteX43798" fmla="*/ 760482 w 6884782"/>
              <a:gd name="connsiteY43798" fmla="*/ 1829658 h 5973007"/>
              <a:gd name="connsiteX43799" fmla="*/ 732913 w 6884782"/>
              <a:gd name="connsiteY43799" fmla="*/ 1822687 h 5973007"/>
              <a:gd name="connsiteX43800" fmla="*/ 739315 w 6884782"/>
              <a:gd name="connsiteY43800" fmla="*/ 1819899 h 5973007"/>
              <a:gd name="connsiteX43801" fmla="*/ 1577342 w 6884782"/>
              <a:gd name="connsiteY43801" fmla="*/ 1819435 h 5973007"/>
              <a:gd name="connsiteX43802" fmla="*/ 1582505 w 6884782"/>
              <a:gd name="connsiteY43802" fmla="*/ 1822532 h 5973007"/>
              <a:gd name="connsiteX43803" fmla="*/ 1572179 w 6884782"/>
              <a:gd name="connsiteY43803" fmla="*/ 1830587 h 5973007"/>
              <a:gd name="connsiteX43804" fmla="*/ 1572283 w 6884782"/>
              <a:gd name="connsiteY43804" fmla="*/ 1827799 h 5973007"/>
              <a:gd name="connsiteX43805" fmla="*/ 1577342 w 6884782"/>
              <a:gd name="connsiteY43805" fmla="*/ 1819435 h 5973007"/>
              <a:gd name="connsiteX43806" fmla="*/ 1494944 w 6884782"/>
              <a:gd name="connsiteY43806" fmla="*/ 1818969 h 5973007"/>
              <a:gd name="connsiteX43807" fmla="*/ 1496596 w 6884782"/>
              <a:gd name="connsiteY43807" fmla="*/ 1821293 h 5973007"/>
              <a:gd name="connsiteX43808" fmla="*/ 1497422 w 6884782"/>
              <a:gd name="connsiteY43808" fmla="*/ 1821603 h 5973007"/>
              <a:gd name="connsiteX43809" fmla="*/ 1497938 w 6884782"/>
              <a:gd name="connsiteY43809" fmla="*/ 1823771 h 5973007"/>
              <a:gd name="connsiteX43810" fmla="*/ 1496596 w 6884782"/>
              <a:gd name="connsiteY43810" fmla="*/ 1825475 h 5973007"/>
              <a:gd name="connsiteX43811" fmla="*/ 1496493 w 6884782"/>
              <a:gd name="connsiteY43811" fmla="*/ 1825630 h 5973007"/>
              <a:gd name="connsiteX43812" fmla="*/ 1496183 w 6884782"/>
              <a:gd name="connsiteY43812" fmla="*/ 1827334 h 5973007"/>
              <a:gd name="connsiteX43813" fmla="*/ 1494840 w 6884782"/>
              <a:gd name="connsiteY43813" fmla="*/ 1827799 h 5973007"/>
              <a:gd name="connsiteX43814" fmla="*/ 1495254 w 6884782"/>
              <a:gd name="connsiteY43814" fmla="*/ 1830122 h 5973007"/>
              <a:gd name="connsiteX43815" fmla="*/ 1497422 w 6884782"/>
              <a:gd name="connsiteY43815" fmla="*/ 1833375 h 5973007"/>
              <a:gd name="connsiteX43816" fmla="*/ 1497732 w 6884782"/>
              <a:gd name="connsiteY43816" fmla="*/ 1833995 h 5973007"/>
              <a:gd name="connsiteX43817" fmla="*/ 1501139 w 6884782"/>
              <a:gd name="connsiteY43817" fmla="*/ 1834924 h 5973007"/>
              <a:gd name="connsiteX43818" fmla="*/ 1500520 w 6884782"/>
              <a:gd name="connsiteY43818" fmla="*/ 1838486 h 5973007"/>
              <a:gd name="connsiteX43819" fmla="*/ 1499384 w 6884782"/>
              <a:gd name="connsiteY43819" fmla="*/ 1838642 h 5973007"/>
              <a:gd name="connsiteX43820" fmla="*/ 1499280 w 6884782"/>
              <a:gd name="connsiteY43820" fmla="*/ 1842204 h 5973007"/>
              <a:gd name="connsiteX43821" fmla="*/ 1490813 w 6884782"/>
              <a:gd name="connsiteY43821" fmla="*/ 1843598 h 5973007"/>
              <a:gd name="connsiteX43822" fmla="*/ 1481314 w 6884782"/>
              <a:gd name="connsiteY43822" fmla="*/ 1829967 h 5973007"/>
              <a:gd name="connsiteX43823" fmla="*/ 1482140 w 6884782"/>
              <a:gd name="connsiteY43823" fmla="*/ 1829658 h 5973007"/>
              <a:gd name="connsiteX43824" fmla="*/ 1478630 w 6884782"/>
              <a:gd name="connsiteY43824" fmla="*/ 1825166 h 5973007"/>
              <a:gd name="connsiteX43825" fmla="*/ 1483792 w 6884782"/>
              <a:gd name="connsiteY43825" fmla="*/ 1821138 h 5973007"/>
              <a:gd name="connsiteX43826" fmla="*/ 1485961 w 6884782"/>
              <a:gd name="connsiteY43826" fmla="*/ 1820983 h 5973007"/>
              <a:gd name="connsiteX43827" fmla="*/ 1486374 w 6884782"/>
              <a:gd name="connsiteY43827" fmla="*/ 1819589 h 5973007"/>
              <a:gd name="connsiteX43828" fmla="*/ 1494944 w 6884782"/>
              <a:gd name="connsiteY43828" fmla="*/ 1818969 h 5973007"/>
              <a:gd name="connsiteX43829" fmla="*/ 1192094 w 6884782"/>
              <a:gd name="connsiteY43829" fmla="*/ 1818815 h 5973007"/>
              <a:gd name="connsiteX43830" fmla="*/ 1190854 w 6884782"/>
              <a:gd name="connsiteY43830" fmla="*/ 1819899 h 5973007"/>
              <a:gd name="connsiteX43831" fmla="*/ 1190751 w 6884782"/>
              <a:gd name="connsiteY43831" fmla="*/ 1820519 h 5973007"/>
              <a:gd name="connsiteX43832" fmla="*/ 1192300 w 6884782"/>
              <a:gd name="connsiteY43832" fmla="*/ 1819280 h 5973007"/>
              <a:gd name="connsiteX43833" fmla="*/ 5349153 w 6884782"/>
              <a:gd name="connsiteY43833" fmla="*/ 1818765 h 5973007"/>
              <a:gd name="connsiteX43834" fmla="*/ 5353421 w 6884782"/>
              <a:gd name="connsiteY43834" fmla="*/ 1821469 h 5973007"/>
              <a:gd name="connsiteX43835" fmla="*/ 5350220 w 6884782"/>
              <a:gd name="connsiteY43835" fmla="*/ 1833277 h 5973007"/>
              <a:gd name="connsiteX43836" fmla="*/ 5338695 w 6884782"/>
              <a:gd name="connsiteY43836" fmla="*/ 1827301 h 5973007"/>
              <a:gd name="connsiteX43837" fmla="*/ 5349153 w 6884782"/>
              <a:gd name="connsiteY43837" fmla="*/ 1818765 h 5973007"/>
              <a:gd name="connsiteX43838" fmla="*/ 1278622 w 6884782"/>
              <a:gd name="connsiteY43838" fmla="*/ 1818350 h 5973007"/>
              <a:gd name="connsiteX43839" fmla="*/ 1279241 w 6884782"/>
              <a:gd name="connsiteY43839" fmla="*/ 1821913 h 5973007"/>
              <a:gd name="connsiteX43840" fmla="*/ 1277073 w 6884782"/>
              <a:gd name="connsiteY43840" fmla="*/ 1823462 h 5973007"/>
              <a:gd name="connsiteX43841" fmla="*/ 1276763 w 6884782"/>
              <a:gd name="connsiteY43841" fmla="*/ 1822687 h 5973007"/>
              <a:gd name="connsiteX43842" fmla="*/ 1274595 w 6884782"/>
              <a:gd name="connsiteY43842" fmla="*/ 1819589 h 5973007"/>
              <a:gd name="connsiteX43843" fmla="*/ 1278622 w 6884782"/>
              <a:gd name="connsiteY43843" fmla="*/ 1818350 h 5973007"/>
              <a:gd name="connsiteX43844" fmla="*/ 3589933 w 6884782"/>
              <a:gd name="connsiteY43844" fmla="*/ 1817770 h 5973007"/>
              <a:gd name="connsiteX43845" fmla="*/ 3598044 w 6884782"/>
              <a:gd name="connsiteY43845" fmla="*/ 1827871 h 5973007"/>
              <a:gd name="connsiteX43846" fmla="*/ 3594202 w 6884782"/>
              <a:gd name="connsiteY43846" fmla="*/ 1830431 h 5973007"/>
              <a:gd name="connsiteX43847" fmla="*/ 3589933 w 6884782"/>
              <a:gd name="connsiteY43847" fmla="*/ 1817770 h 5973007"/>
              <a:gd name="connsiteX43848" fmla="*/ 1587771 w 6884782"/>
              <a:gd name="connsiteY43848" fmla="*/ 1817266 h 5973007"/>
              <a:gd name="connsiteX43849" fmla="*/ 1591385 w 6884782"/>
              <a:gd name="connsiteY43849" fmla="*/ 1817576 h 5973007"/>
              <a:gd name="connsiteX43850" fmla="*/ 1593657 w 6884782"/>
              <a:gd name="connsiteY43850" fmla="*/ 1830277 h 5973007"/>
              <a:gd name="connsiteX43851" fmla="*/ 1586119 w 6884782"/>
              <a:gd name="connsiteY43851" fmla="*/ 1821913 h 5973007"/>
              <a:gd name="connsiteX43852" fmla="*/ 1587771 w 6884782"/>
              <a:gd name="connsiteY43852" fmla="*/ 1817266 h 5973007"/>
              <a:gd name="connsiteX43853" fmla="*/ 1539034 w 6884782"/>
              <a:gd name="connsiteY43853" fmla="*/ 1817266 h 5973007"/>
              <a:gd name="connsiteX43854" fmla="*/ 1540686 w 6884782"/>
              <a:gd name="connsiteY43854" fmla="*/ 1817576 h 5973007"/>
              <a:gd name="connsiteX43855" fmla="*/ 1544403 w 6884782"/>
              <a:gd name="connsiteY43855" fmla="*/ 1818660 h 5973007"/>
              <a:gd name="connsiteX43856" fmla="*/ 1538002 w 6884782"/>
              <a:gd name="connsiteY43856" fmla="*/ 1818040 h 5973007"/>
              <a:gd name="connsiteX43857" fmla="*/ 1539034 w 6884782"/>
              <a:gd name="connsiteY43857" fmla="*/ 1817266 h 5973007"/>
              <a:gd name="connsiteX43858" fmla="*/ 5158142 w 6884782"/>
              <a:gd name="connsiteY43858" fmla="*/ 1816774 h 5973007"/>
              <a:gd name="connsiteX43859" fmla="*/ 5156008 w 6884782"/>
              <a:gd name="connsiteY43859" fmla="*/ 1823887 h 5973007"/>
              <a:gd name="connsiteX43860" fmla="*/ 5157502 w 6884782"/>
              <a:gd name="connsiteY43860" fmla="*/ 1824741 h 5973007"/>
              <a:gd name="connsiteX43861" fmla="*/ 5159849 w 6884782"/>
              <a:gd name="connsiteY43861" fmla="*/ 1828866 h 5973007"/>
              <a:gd name="connsiteX43862" fmla="*/ 5151739 w 6884782"/>
              <a:gd name="connsiteY43862" fmla="*/ 1835411 h 5973007"/>
              <a:gd name="connsiteX43863" fmla="*/ 5150032 w 6884782"/>
              <a:gd name="connsiteY43863" fmla="*/ 1832423 h 5973007"/>
              <a:gd name="connsiteX43864" fmla="*/ 5149605 w 6884782"/>
              <a:gd name="connsiteY43864" fmla="*/ 1832138 h 5973007"/>
              <a:gd name="connsiteX43865" fmla="*/ 5136160 w 6884782"/>
              <a:gd name="connsiteY43865" fmla="*/ 1839679 h 5973007"/>
              <a:gd name="connsiteX43866" fmla="*/ 5158142 w 6884782"/>
              <a:gd name="connsiteY43866" fmla="*/ 1816774 h 5973007"/>
              <a:gd name="connsiteX43867" fmla="*/ 1202316 w 6884782"/>
              <a:gd name="connsiteY43867" fmla="*/ 1816491 h 5973007"/>
              <a:gd name="connsiteX43868" fmla="*/ 1205826 w 6884782"/>
              <a:gd name="connsiteY43868" fmla="*/ 1818350 h 5973007"/>
              <a:gd name="connsiteX43869" fmla="*/ 1207582 w 6884782"/>
              <a:gd name="connsiteY43869" fmla="*/ 1820828 h 5973007"/>
              <a:gd name="connsiteX43870" fmla="*/ 1207892 w 6884782"/>
              <a:gd name="connsiteY43870" fmla="*/ 1820519 h 5973007"/>
              <a:gd name="connsiteX43871" fmla="*/ 1212951 w 6884782"/>
              <a:gd name="connsiteY43871" fmla="*/ 1818815 h 5973007"/>
              <a:gd name="connsiteX43872" fmla="*/ 1215636 w 6884782"/>
              <a:gd name="connsiteY43872" fmla="*/ 1819899 h 5973007"/>
              <a:gd name="connsiteX43873" fmla="*/ 1216359 w 6884782"/>
              <a:gd name="connsiteY43873" fmla="*/ 1818350 h 5973007"/>
              <a:gd name="connsiteX43874" fmla="*/ 1231227 w 6884782"/>
              <a:gd name="connsiteY43874" fmla="*/ 1822842 h 5973007"/>
              <a:gd name="connsiteX43875" fmla="*/ 1215842 w 6884782"/>
              <a:gd name="connsiteY43875" fmla="*/ 1824236 h 5973007"/>
              <a:gd name="connsiteX43876" fmla="*/ 1215532 w 6884782"/>
              <a:gd name="connsiteY43876" fmla="*/ 1822068 h 5973007"/>
              <a:gd name="connsiteX43877" fmla="*/ 1209647 w 6884782"/>
              <a:gd name="connsiteY43877" fmla="*/ 1825475 h 5973007"/>
              <a:gd name="connsiteX43878" fmla="*/ 1200870 w 6884782"/>
              <a:gd name="connsiteY43878" fmla="*/ 1829038 h 5973007"/>
              <a:gd name="connsiteX43879" fmla="*/ 1203555 w 6884782"/>
              <a:gd name="connsiteY43879" fmla="*/ 1824391 h 5973007"/>
              <a:gd name="connsiteX43880" fmla="*/ 1207272 w 6884782"/>
              <a:gd name="connsiteY43880" fmla="*/ 1821138 h 5973007"/>
              <a:gd name="connsiteX43881" fmla="*/ 1203658 w 6884782"/>
              <a:gd name="connsiteY43881" fmla="*/ 1819899 h 5973007"/>
              <a:gd name="connsiteX43882" fmla="*/ 1202316 w 6884782"/>
              <a:gd name="connsiteY43882" fmla="*/ 1816491 h 5973007"/>
              <a:gd name="connsiteX43883" fmla="*/ 677774 w 6884782"/>
              <a:gd name="connsiteY43883" fmla="*/ 1816491 h 5973007"/>
              <a:gd name="connsiteX43884" fmla="*/ 680252 w 6884782"/>
              <a:gd name="connsiteY43884" fmla="*/ 1819280 h 5973007"/>
              <a:gd name="connsiteX43885" fmla="*/ 676948 w 6884782"/>
              <a:gd name="connsiteY43885" fmla="*/ 1819899 h 5973007"/>
              <a:gd name="connsiteX43886" fmla="*/ 676432 w 6884782"/>
              <a:gd name="connsiteY43886" fmla="*/ 1818350 h 5973007"/>
              <a:gd name="connsiteX43887" fmla="*/ 677774 w 6884782"/>
              <a:gd name="connsiteY43887" fmla="*/ 1816491 h 5973007"/>
              <a:gd name="connsiteX43888" fmla="*/ 4656819 w 6884782"/>
              <a:gd name="connsiteY43888" fmla="*/ 1816205 h 5973007"/>
              <a:gd name="connsiteX43889" fmla="*/ 4658100 w 6884782"/>
              <a:gd name="connsiteY43889" fmla="*/ 1819761 h 5973007"/>
              <a:gd name="connsiteX43890" fmla="*/ 4654685 w 6884782"/>
              <a:gd name="connsiteY43890" fmla="*/ 1821895 h 5973007"/>
              <a:gd name="connsiteX43891" fmla="*/ 4653617 w 6884782"/>
              <a:gd name="connsiteY43891" fmla="*/ 1826591 h 5973007"/>
              <a:gd name="connsiteX43892" fmla="*/ 4650416 w 6884782"/>
              <a:gd name="connsiteY43892" fmla="*/ 1828866 h 5973007"/>
              <a:gd name="connsiteX43893" fmla="*/ 4650416 w 6884782"/>
              <a:gd name="connsiteY43893" fmla="*/ 1827586 h 5973007"/>
              <a:gd name="connsiteX43894" fmla="*/ 4652550 w 6884782"/>
              <a:gd name="connsiteY43894" fmla="*/ 1825452 h 5973007"/>
              <a:gd name="connsiteX43895" fmla="*/ 4654471 w 6884782"/>
              <a:gd name="connsiteY43895" fmla="*/ 1817200 h 5973007"/>
              <a:gd name="connsiteX43896" fmla="*/ 4656819 w 6884782"/>
              <a:gd name="connsiteY43896" fmla="*/ 1816205 h 5973007"/>
              <a:gd name="connsiteX43897" fmla="*/ 5999656 w 6884782"/>
              <a:gd name="connsiteY43897" fmla="*/ 1815778 h 5973007"/>
              <a:gd name="connsiteX43898" fmla="*/ 6004138 w 6884782"/>
              <a:gd name="connsiteY43898" fmla="*/ 1816347 h 5973007"/>
              <a:gd name="connsiteX43899" fmla="*/ 6002857 w 6884782"/>
              <a:gd name="connsiteY43899" fmla="*/ 1816205 h 5973007"/>
              <a:gd name="connsiteX43900" fmla="*/ 6004138 w 6884782"/>
              <a:gd name="connsiteY43900" fmla="*/ 1817485 h 5973007"/>
              <a:gd name="connsiteX43901" fmla="*/ 5987918 w 6884782"/>
              <a:gd name="connsiteY43901" fmla="*/ 1819050 h 5973007"/>
              <a:gd name="connsiteX43902" fmla="*/ 5987918 w 6884782"/>
              <a:gd name="connsiteY43902" fmla="*/ 1817912 h 5973007"/>
              <a:gd name="connsiteX43903" fmla="*/ 5999656 w 6884782"/>
              <a:gd name="connsiteY43903" fmla="*/ 1815778 h 5973007"/>
              <a:gd name="connsiteX43904" fmla="*/ 1781790 w 6884782"/>
              <a:gd name="connsiteY43904" fmla="*/ 1815349 h 5973007"/>
              <a:gd name="connsiteX43905" fmla="*/ 1789431 w 6884782"/>
              <a:gd name="connsiteY43905" fmla="*/ 1817266 h 5973007"/>
              <a:gd name="connsiteX43906" fmla="*/ 1782306 w 6884782"/>
              <a:gd name="connsiteY43906" fmla="*/ 1827179 h 5973007"/>
              <a:gd name="connsiteX43907" fmla="*/ 1778795 w 6884782"/>
              <a:gd name="connsiteY43907" fmla="*/ 1822842 h 5973007"/>
              <a:gd name="connsiteX43908" fmla="*/ 1781790 w 6884782"/>
              <a:gd name="connsiteY43908" fmla="*/ 1815349 h 5973007"/>
              <a:gd name="connsiteX43909" fmla="*/ 5980662 w 6884782"/>
              <a:gd name="connsiteY43909" fmla="*/ 1815066 h 5973007"/>
              <a:gd name="connsiteX43910" fmla="*/ 5981942 w 6884782"/>
              <a:gd name="connsiteY43910" fmla="*/ 1816489 h 5973007"/>
              <a:gd name="connsiteX43911" fmla="*/ 5976180 w 6884782"/>
              <a:gd name="connsiteY43911" fmla="*/ 1818623 h 5973007"/>
              <a:gd name="connsiteX43912" fmla="*/ 5980662 w 6884782"/>
              <a:gd name="connsiteY43912" fmla="*/ 1815066 h 5973007"/>
              <a:gd name="connsiteX43913" fmla="*/ 917638 w 6884782"/>
              <a:gd name="connsiteY43913" fmla="*/ 1814942 h 5973007"/>
              <a:gd name="connsiteX43914" fmla="*/ 919703 w 6884782"/>
              <a:gd name="connsiteY43914" fmla="*/ 1815252 h 5973007"/>
              <a:gd name="connsiteX43915" fmla="*/ 921768 w 6884782"/>
              <a:gd name="connsiteY43915" fmla="*/ 1818505 h 5973007"/>
              <a:gd name="connsiteX43916" fmla="*/ 924040 w 6884782"/>
              <a:gd name="connsiteY43916" fmla="*/ 1826714 h 5973007"/>
              <a:gd name="connsiteX43917" fmla="*/ 925073 w 6884782"/>
              <a:gd name="connsiteY43917" fmla="*/ 1828418 h 5973007"/>
              <a:gd name="connsiteX43918" fmla="*/ 917122 w 6884782"/>
              <a:gd name="connsiteY43918" fmla="*/ 1815562 h 5973007"/>
              <a:gd name="connsiteX43919" fmla="*/ 917638 w 6884782"/>
              <a:gd name="connsiteY43919" fmla="*/ 1814942 h 5973007"/>
              <a:gd name="connsiteX43920" fmla="*/ 5438149 w 6884782"/>
              <a:gd name="connsiteY43920" fmla="*/ 1814355 h 5973007"/>
              <a:gd name="connsiteX43921" fmla="*/ 5440923 w 6884782"/>
              <a:gd name="connsiteY43921" fmla="*/ 1815066 h 5973007"/>
              <a:gd name="connsiteX43922" fmla="*/ 5438149 w 6884782"/>
              <a:gd name="connsiteY43922" fmla="*/ 1830858 h 5973007"/>
              <a:gd name="connsiteX43923" fmla="*/ 5435588 w 6884782"/>
              <a:gd name="connsiteY43923" fmla="*/ 1833135 h 5973007"/>
              <a:gd name="connsiteX43924" fmla="*/ 5434307 w 6884782"/>
              <a:gd name="connsiteY43924" fmla="*/ 1835553 h 5973007"/>
              <a:gd name="connsiteX43925" fmla="*/ 5426837 w 6884782"/>
              <a:gd name="connsiteY43925" fmla="*/ 1839110 h 5973007"/>
              <a:gd name="connsiteX43926" fmla="*/ 5428331 w 6884782"/>
              <a:gd name="connsiteY43926" fmla="*/ 1835127 h 5973007"/>
              <a:gd name="connsiteX43927" fmla="*/ 5427051 w 6884782"/>
              <a:gd name="connsiteY43927" fmla="*/ 1835127 h 5973007"/>
              <a:gd name="connsiteX43928" fmla="*/ 5426624 w 6884782"/>
              <a:gd name="connsiteY43928" fmla="*/ 1829436 h 5973007"/>
              <a:gd name="connsiteX43929" fmla="*/ 5430679 w 6884782"/>
              <a:gd name="connsiteY43929" fmla="*/ 1828013 h 5973007"/>
              <a:gd name="connsiteX43930" fmla="*/ 5431746 w 6884782"/>
              <a:gd name="connsiteY43930" fmla="*/ 1825025 h 5973007"/>
              <a:gd name="connsiteX43931" fmla="*/ 5436228 w 6884782"/>
              <a:gd name="connsiteY43931" fmla="*/ 1816205 h 5973007"/>
              <a:gd name="connsiteX43932" fmla="*/ 5438149 w 6884782"/>
              <a:gd name="connsiteY43932" fmla="*/ 1814355 h 5973007"/>
              <a:gd name="connsiteX43933" fmla="*/ 1493808 w 6884782"/>
              <a:gd name="connsiteY43933" fmla="*/ 1813858 h 5973007"/>
              <a:gd name="connsiteX43934" fmla="*/ 1494737 w 6884782"/>
              <a:gd name="connsiteY43934" fmla="*/ 1813858 h 5973007"/>
              <a:gd name="connsiteX43935" fmla="*/ 1493292 w 6884782"/>
              <a:gd name="connsiteY43935" fmla="*/ 1816956 h 5973007"/>
              <a:gd name="connsiteX43936" fmla="*/ 1493395 w 6884782"/>
              <a:gd name="connsiteY43936" fmla="*/ 1814478 h 5973007"/>
              <a:gd name="connsiteX43937" fmla="*/ 1493808 w 6884782"/>
              <a:gd name="connsiteY43937" fmla="*/ 1813858 h 5973007"/>
              <a:gd name="connsiteX43938" fmla="*/ 5048018 w 6884782"/>
              <a:gd name="connsiteY43938" fmla="*/ 1813075 h 5973007"/>
              <a:gd name="connsiteX43939" fmla="*/ 5048658 w 6884782"/>
              <a:gd name="connsiteY43939" fmla="*/ 1813928 h 5973007"/>
              <a:gd name="connsiteX43940" fmla="*/ 5047590 w 6884782"/>
              <a:gd name="connsiteY43940" fmla="*/ 1818481 h 5973007"/>
              <a:gd name="connsiteX43941" fmla="*/ 5047377 w 6884782"/>
              <a:gd name="connsiteY43941" fmla="*/ 1813928 h 5973007"/>
              <a:gd name="connsiteX43942" fmla="*/ 5048018 w 6884782"/>
              <a:gd name="connsiteY43942" fmla="*/ 1813075 h 5973007"/>
              <a:gd name="connsiteX43943" fmla="*/ 1546882 w 6884782"/>
              <a:gd name="connsiteY43943" fmla="*/ 1812929 h 5973007"/>
              <a:gd name="connsiteX43944" fmla="*/ 1547604 w 6884782"/>
              <a:gd name="connsiteY43944" fmla="*/ 1815407 h 5973007"/>
              <a:gd name="connsiteX43945" fmla="*/ 1543268 w 6884782"/>
              <a:gd name="connsiteY43945" fmla="*/ 1813084 h 5973007"/>
              <a:gd name="connsiteX43946" fmla="*/ 1546882 w 6884782"/>
              <a:gd name="connsiteY43946" fmla="*/ 1812929 h 5973007"/>
              <a:gd name="connsiteX43947" fmla="*/ 1542751 w 6884782"/>
              <a:gd name="connsiteY43947" fmla="*/ 1812929 h 5973007"/>
              <a:gd name="connsiteX43948" fmla="*/ 1542648 w 6884782"/>
              <a:gd name="connsiteY43948" fmla="*/ 1813703 h 5973007"/>
              <a:gd name="connsiteX43949" fmla="*/ 1540790 w 6884782"/>
              <a:gd name="connsiteY43949" fmla="*/ 1813084 h 5973007"/>
              <a:gd name="connsiteX43950" fmla="*/ 1542751 w 6884782"/>
              <a:gd name="connsiteY43950" fmla="*/ 1812929 h 5973007"/>
              <a:gd name="connsiteX43951" fmla="*/ 1182181 w 6884782"/>
              <a:gd name="connsiteY43951" fmla="*/ 1812774 h 5973007"/>
              <a:gd name="connsiteX43952" fmla="*/ 1185072 w 6884782"/>
              <a:gd name="connsiteY43952" fmla="*/ 1813084 h 5973007"/>
              <a:gd name="connsiteX43953" fmla="*/ 1187137 w 6884782"/>
              <a:gd name="connsiteY43953" fmla="*/ 1814942 h 5973007"/>
              <a:gd name="connsiteX43954" fmla="*/ 1184452 w 6884782"/>
              <a:gd name="connsiteY43954" fmla="*/ 1819124 h 5973007"/>
              <a:gd name="connsiteX43955" fmla="*/ 1180529 w 6884782"/>
              <a:gd name="connsiteY43955" fmla="*/ 1813703 h 5973007"/>
              <a:gd name="connsiteX43956" fmla="*/ 1182181 w 6884782"/>
              <a:gd name="connsiteY43956" fmla="*/ 1812774 h 5973007"/>
              <a:gd name="connsiteX43957" fmla="*/ 841125 w 6884782"/>
              <a:gd name="connsiteY43957" fmla="*/ 1812619 h 5973007"/>
              <a:gd name="connsiteX43958" fmla="*/ 844843 w 6884782"/>
              <a:gd name="connsiteY43958" fmla="*/ 1813238 h 5973007"/>
              <a:gd name="connsiteX43959" fmla="*/ 843294 w 6884782"/>
              <a:gd name="connsiteY43959" fmla="*/ 1814168 h 5973007"/>
              <a:gd name="connsiteX43960" fmla="*/ 840919 w 6884782"/>
              <a:gd name="connsiteY43960" fmla="*/ 1814478 h 5973007"/>
              <a:gd name="connsiteX43961" fmla="*/ 840093 w 6884782"/>
              <a:gd name="connsiteY43961" fmla="*/ 1815872 h 5973007"/>
              <a:gd name="connsiteX43962" fmla="*/ 833175 w 6884782"/>
              <a:gd name="connsiteY43962" fmla="*/ 1815252 h 5973007"/>
              <a:gd name="connsiteX43963" fmla="*/ 834930 w 6884782"/>
              <a:gd name="connsiteY43963" fmla="*/ 1814478 h 5973007"/>
              <a:gd name="connsiteX43964" fmla="*/ 837098 w 6884782"/>
              <a:gd name="connsiteY43964" fmla="*/ 1814013 h 5973007"/>
              <a:gd name="connsiteX43965" fmla="*/ 839473 w 6884782"/>
              <a:gd name="connsiteY43965" fmla="*/ 1813548 h 5973007"/>
              <a:gd name="connsiteX43966" fmla="*/ 841125 w 6884782"/>
              <a:gd name="connsiteY43966" fmla="*/ 1812619 h 5973007"/>
              <a:gd name="connsiteX43967" fmla="*/ 855168 w 6884782"/>
              <a:gd name="connsiteY43967" fmla="*/ 1812464 h 5973007"/>
              <a:gd name="connsiteX43968" fmla="*/ 864152 w 6884782"/>
              <a:gd name="connsiteY43968" fmla="*/ 1821448 h 5973007"/>
              <a:gd name="connsiteX43969" fmla="*/ 858886 w 6884782"/>
              <a:gd name="connsiteY43969" fmla="*/ 1824546 h 5973007"/>
              <a:gd name="connsiteX43970" fmla="*/ 852071 w 6884782"/>
              <a:gd name="connsiteY43970" fmla="*/ 1818660 h 5973007"/>
              <a:gd name="connsiteX43971" fmla="*/ 852071 w 6884782"/>
              <a:gd name="connsiteY43971" fmla="*/ 1815717 h 5973007"/>
              <a:gd name="connsiteX43972" fmla="*/ 855168 w 6884782"/>
              <a:gd name="connsiteY43972" fmla="*/ 1812464 h 5973007"/>
              <a:gd name="connsiteX43973" fmla="*/ 1310012 w 6884782"/>
              <a:gd name="connsiteY43973" fmla="*/ 1811999 h 5973007"/>
              <a:gd name="connsiteX43974" fmla="*/ 1310735 w 6884782"/>
              <a:gd name="connsiteY43974" fmla="*/ 1819435 h 5973007"/>
              <a:gd name="connsiteX43975" fmla="*/ 1306501 w 6884782"/>
              <a:gd name="connsiteY43975" fmla="*/ 1823462 h 5973007"/>
              <a:gd name="connsiteX43976" fmla="*/ 1304126 w 6884782"/>
              <a:gd name="connsiteY43976" fmla="*/ 1819899 h 5973007"/>
              <a:gd name="connsiteX43977" fmla="*/ 1306501 w 6884782"/>
              <a:gd name="connsiteY43977" fmla="*/ 1815717 h 5973007"/>
              <a:gd name="connsiteX43978" fmla="*/ 1307534 w 6884782"/>
              <a:gd name="connsiteY43978" fmla="*/ 1812774 h 5973007"/>
              <a:gd name="connsiteX43979" fmla="*/ 1310012 w 6884782"/>
              <a:gd name="connsiteY43979" fmla="*/ 1811999 h 5973007"/>
              <a:gd name="connsiteX43980" fmla="*/ 6179996 w 6884782"/>
              <a:gd name="connsiteY43980" fmla="*/ 1811225 h 5973007"/>
              <a:gd name="connsiteX43981" fmla="*/ 6207313 w 6884782"/>
              <a:gd name="connsiteY43981" fmla="*/ 1823318 h 5973007"/>
              <a:gd name="connsiteX43982" fmla="*/ 6172526 w 6884782"/>
              <a:gd name="connsiteY43982" fmla="*/ 1816205 h 5973007"/>
              <a:gd name="connsiteX43983" fmla="*/ 6179996 w 6884782"/>
              <a:gd name="connsiteY43983" fmla="*/ 1811225 h 5973007"/>
              <a:gd name="connsiteX43984" fmla="*/ 1500623 w 6884782"/>
              <a:gd name="connsiteY43984" fmla="*/ 1811070 h 5973007"/>
              <a:gd name="connsiteX43985" fmla="*/ 1510639 w 6884782"/>
              <a:gd name="connsiteY43985" fmla="*/ 1814478 h 5973007"/>
              <a:gd name="connsiteX43986" fmla="*/ 1510742 w 6884782"/>
              <a:gd name="connsiteY43986" fmla="*/ 1819280 h 5973007"/>
              <a:gd name="connsiteX43987" fmla="*/ 1497938 w 6884782"/>
              <a:gd name="connsiteY43987" fmla="*/ 1814788 h 5973007"/>
              <a:gd name="connsiteX43988" fmla="*/ 1500623 w 6884782"/>
              <a:gd name="connsiteY43988" fmla="*/ 1811070 h 5973007"/>
              <a:gd name="connsiteX43989" fmla="*/ 5703003 w 6884782"/>
              <a:gd name="connsiteY43989" fmla="*/ 1810514 h 5973007"/>
              <a:gd name="connsiteX43990" fmla="*/ 5705777 w 6884782"/>
              <a:gd name="connsiteY43990" fmla="*/ 1820188 h 5973007"/>
              <a:gd name="connsiteX43991" fmla="*/ 5698521 w 6884782"/>
              <a:gd name="connsiteY43991" fmla="*/ 1816205 h 5973007"/>
              <a:gd name="connsiteX43992" fmla="*/ 5703003 w 6884782"/>
              <a:gd name="connsiteY43992" fmla="*/ 1810514 h 5973007"/>
              <a:gd name="connsiteX43993" fmla="*/ 821300 w 6884782"/>
              <a:gd name="connsiteY43993" fmla="*/ 1810141 h 5973007"/>
              <a:gd name="connsiteX43994" fmla="*/ 824088 w 6884782"/>
              <a:gd name="connsiteY43994" fmla="*/ 1810295 h 5973007"/>
              <a:gd name="connsiteX43995" fmla="*/ 824914 w 6884782"/>
              <a:gd name="connsiteY43995" fmla="*/ 1814788 h 5973007"/>
              <a:gd name="connsiteX43996" fmla="*/ 823056 w 6884782"/>
              <a:gd name="connsiteY43996" fmla="*/ 1815407 h 5973007"/>
              <a:gd name="connsiteX43997" fmla="*/ 820371 w 6884782"/>
              <a:gd name="connsiteY43997" fmla="*/ 1814323 h 5973007"/>
              <a:gd name="connsiteX43998" fmla="*/ 819545 w 6884782"/>
              <a:gd name="connsiteY43998" fmla="*/ 1810760 h 5973007"/>
              <a:gd name="connsiteX43999" fmla="*/ 821300 w 6884782"/>
              <a:gd name="connsiteY43999" fmla="*/ 1810141 h 5973007"/>
              <a:gd name="connsiteX44000" fmla="*/ 1515905 w 6884782"/>
              <a:gd name="connsiteY44000" fmla="*/ 1809831 h 5973007"/>
              <a:gd name="connsiteX44001" fmla="*/ 1516628 w 6884782"/>
              <a:gd name="connsiteY44001" fmla="*/ 1810605 h 5973007"/>
              <a:gd name="connsiteX44002" fmla="*/ 1509090 w 6884782"/>
              <a:gd name="connsiteY44002" fmla="*/ 1810295 h 5973007"/>
              <a:gd name="connsiteX44003" fmla="*/ 1515905 w 6884782"/>
              <a:gd name="connsiteY44003" fmla="*/ 1809831 h 5973007"/>
              <a:gd name="connsiteX44004" fmla="*/ 3737406 w 6884782"/>
              <a:gd name="connsiteY44004" fmla="*/ 1809803 h 5973007"/>
              <a:gd name="connsiteX44005" fmla="*/ 3747010 w 6884782"/>
              <a:gd name="connsiteY44005" fmla="*/ 1814497 h 5973007"/>
              <a:gd name="connsiteX44006" fmla="*/ 3734845 w 6884782"/>
              <a:gd name="connsiteY44006" fmla="*/ 1811794 h 5973007"/>
              <a:gd name="connsiteX44007" fmla="*/ 3737406 w 6884782"/>
              <a:gd name="connsiteY44007" fmla="*/ 1809803 h 5973007"/>
              <a:gd name="connsiteX44008" fmla="*/ 3789268 w 6884782"/>
              <a:gd name="connsiteY44008" fmla="*/ 1809660 h 5973007"/>
              <a:gd name="connsiteX44009" fmla="*/ 3797591 w 6884782"/>
              <a:gd name="connsiteY44009" fmla="*/ 1822891 h 5973007"/>
              <a:gd name="connsiteX44010" fmla="*/ 3794389 w 6884782"/>
              <a:gd name="connsiteY44010" fmla="*/ 1824029 h 5973007"/>
              <a:gd name="connsiteX44011" fmla="*/ 3793749 w 6884782"/>
              <a:gd name="connsiteY44011" fmla="*/ 1823887 h 5973007"/>
              <a:gd name="connsiteX44012" fmla="*/ 3793536 w 6884782"/>
              <a:gd name="connsiteY44012" fmla="*/ 1824029 h 5973007"/>
              <a:gd name="connsiteX44013" fmla="*/ 3789908 w 6884782"/>
              <a:gd name="connsiteY44013" fmla="*/ 1825167 h 5973007"/>
              <a:gd name="connsiteX44014" fmla="*/ 3784786 w 6884782"/>
              <a:gd name="connsiteY44014" fmla="*/ 1820188 h 5973007"/>
              <a:gd name="connsiteX44015" fmla="*/ 3787987 w 6884782"/>
              <a:gd name="connsiteY44015" fmla="*/ 1814070 h 5973007"/>
              <a:gd name="connsiteX44016" fmla="*/ 3788841 w 6884782"/>
              <a:gd name="connsiteY44016" fmla="*/ 1813928 h 5973007"/>
              <a:gd name="connsiteX44017" fmla="*/ 4865330 w 6884782"/>
              <a:gd name="connsiteY44017" fmla="*/ 1809376 h 5973007"/>
              <a:gd name="connsiteX44018" fmla="*/ 4864263 w 6884782"/>
              <a:gd name="connsiteY44018" fmla="*/ 1833419 h 5973007"/>
              <a:gd name="connsiteX44019" fmla="*/ 4862982 w 6884782"/>
              <a:gd name="connsiteY44019" fmla="*/ 1835838 h 5973007"/>
              <a:gd name="connsiteX44020" fmla="*/ 4859994 w 6884782"/>
              <a:gd name="connsiteY44020" fmla="*/ 1836122 h 5973007"/>
              <a:gd name="connsiteX44021" fmla="*/ 4857220 w 6884782"/>
              <a:gd name="connsiteY44021" fmla="*/ 1820899 h 5973007"/>
              <a:gd name="connsiteX44022" fmla="*/ 4858928 w 6884782"/>
              <a:gd name="connsiteY44022" fmla="*/ 1817912 h 5973007"/>
              <a:gd name="connsiteX44023" fmla="*/ 4859354 w 6884782"/>
              <a:gd name="connsiteY44023" fmla="*/ 1815208 h 5973007"/>
              <a:gd name="connsiteX44024" fmla="*/ 4865330 w 6884782"/>
              <a:gd name="connsiteY44024" fmla="*/ 1809376 h 5973007"/>
              <a:gd name="connsiteX44025" fmla="*/ 5510071 w 6884782"/>
              <a:gd name="connsiteY44025" fmla="*/ 1808664 h 5973007"/>
              <a:gd name="connsiteX44026" fmla="*/ 5518394 w 6884782"/>
              <a:gd name="connsiteY44026" fmla="*/ 1818339 h 5973007"/>
              <a:gd name="connsiteX44027" fmla="*/ 5524157 w 6884782"/>
              <a:gd name="connsiteY44027" fmla="*/ 1824883 h 5973007"/>
              <a:gd name="connsiteX44028" fmla="*/ 5524157 w 6884782"/>
              <a:gd name="connsiteY44028" fmla="*/ 1824456 h 5973007"/>
              <a:gd name="connsiteX44029" fmla="*/ 5527571 w 6884782"/>
              <a:gd name="connsiteY44029" fmla="*/ 1822891 h 5973007"/>
              <a:gd name="connsiteX44030" fmla="*/ 5528212 w 6884782"/>
              <a:gd name="connsiteY44030" fmla="*/ 1825879 h 5973007"/>
              <a:gd name="connsiteX44031" fmla="*/ 5526504 w 6884782"/>
              <a:gd name="connsiteY44031" fmla="*/ 1827586 h 5973007"/>
              <a:gd name="connsiteX44032" fmla="*/ 5526931 w 6884782"/>
              <a:gd name="connsiteY44032" fmla="*/ 1828013 h 5973007"/>
              <a:gd name="connsiteX44033" fmla="*/ 5520102 w 6884782"/>
              <a:gd name="connsiteY44033" fmla="*/ 1845085 h 5973007"/>
              <a:gd name="connsiteX44034" fmla="*/ 5518608 w 6884782"/>
              <a:gd name="connsiteY44034" fmla="*/ 1838398 h 5973007"/>
              <a:gd name="connsiteX44035" fmla="*/ 5516901 w 6884782"/>
              <a:gd name="connsiteY44035" fmla="*/ 1839679 h 5973007"/>
              <a:gd name="connsiteX44036" fmla="*/ 5513913 w 6884782"/>
              <a:gd name="connsiteY44036" fmla="*/ 1837830 h 5973007"/>
              <a:gd name="connsiteX44037" fmla="*/ 5515833 w 6884782"/>
              <a:gd name="connsiteY44037" fmla="*/ 1835127 h 5973007"/>
              <a:gd name="connsiteX44038" fmla="*/ 5517328 w 6884782"/>
              <a:gd name="connsiteY44038" fmla="*/ 1833988 h 5973007"/>
              <a:gd name="connsiteX44039" fmla="*/ 5513273 w 6884782"/>
              <a:gd name="connsiteY44039" fmla="*/ 1825594 h 5973007"/>
              <a:gd name="connsiteX44040" fmla="*/ 5510071 w 6884782"/>
              <a:gd name="connsiteY44040" fmla="*/ 1808664 h 5973007"/>
              <a:gd name="connsiteX44041" fmla="*/ 1199528 w 6884782"/>
              <a:gd name="connsiteY44041" fmla="*/ 1808591 h 5973007"/>
              <a:gd name="connsiteX44042" fmla="*/ 1200044 w 6884782"/>
              <a:gd name="connsiteY44042" fmla="*/ 1811070 h 5973007"/>
              <a:gd name="connsiteX44043" fmla="*/ 1197153 w 6884782"/>
              <a:gd name="connsiteY44043" fmla="*/ 1812619 h 5973007"/>
              <a:gd name="connsiteX44044" fmla="*/ 1195707 w 6884782"/>
              <a:gd name="connsiteY44044" fmla="*/ 1815872 h 5973007"/>
              <a:gd name="connsiteX44045" fmla="*/ 1195604 w 6884782"/>
              <a:gd name="connsiteY44045" fmla="*/ 1816026 h 5973007"/>
              <a:gd name="connsiteX44046" fmla="*/ 1195088 w 6884782"/>
              <a:gd name="connsiteY44046" fmla="*/ 1817885 h 5973007"/>
              <a:gd name="connsiteX44047" fmla="*/ 1195810 w 6884782"/>
              <a:gd name="connsiteY44047" fmla="*/ 1817576 h 5973007"/>
              <a:gd name="connsiteX44048" fmla="*/ 1198599 w 6884782"/>
              <a:gd name="connsiteY44048" fmla="*/ 1825011 h 5973007"/>
              <a:gd name="connsiteX44049" fmla="*/ 1195810 w 6884782"/>
              <a:gd name="connsiteY44049" fmla="*/ 1828883 h 5973007"/>
              <a:gd name="connsiteX44050" fmla="*/ 1187963 w 6884782"/>
              <a:gd name="connsiteY44050" fmla="*/ 1830122 h 5973007"/>
              <a:gd name="connsiteX44051" fmla="*/ 1186827 w 6884782"/>
              <a:gd name="connsiteY44051" fmla="*/ 1825785 h 5973007"/>
              <a:gd name="connsiteX44052" fmla="*/ 1188996 w 6884782"/>
              <a:gd name="connsiteY44052" fmla="*/ 1822223 h 5973007"/>
              <a:gd name="connsiteX44053" fmla="*/ 1187860 w 6884782"/>
              <a:gd name="connsiteY44053" fmla="*/ 1822223 h 5973007"/>
              <a:gd name="connsiteX44054" fmla="*/ 1190441 w 6884782"/>
              <a:gd name="connsiteY44054" fmla="*/ 1819589 h 5973007"/>
              <a:gd name="connsiteX44055" fmla="*/ 1191784 w 6884782"/>
              <a:gd name="connsiteY44055" fmla="*/ 1818350 h 5973007"/>
              <a:gd name="connsiteX44056" fmla="*/ 1191577 w 6884782"/>
              <a:gd name="connsiteY44056" fmla="*/ 1817730 h 5973007"/>
              <a:gd name="connsiteX44057" fmla="*/ 1193023 w 6884782"/>
              <a:gd name="connsiteY44057" fmla="*/ 1814942 h 5973007"/>
              <a:gd name="connsiteX44058" fmla="*/ 1194571 w 6884782"/>
              <a:gd name="connsiteY44058" fmla="*/ 1815252 h 5973007"/>
              <a:gd name="connsiteX44059" fmla="*/ 1195088 w 6884782"/>
              <a:gd name="connsiteY44059" fmla="*/ 1814942 h 5973007"/>
              <a:gd name="connsiteX44060" fmla="*/ 1197772 w 6884782"/>
              <a:gd name="connsiteY44060" fmla="*/ 1809366 h 5973007"/>
              <a:gd name="connsiteX44061" fmla="*/ 1199528 w 6884782"/>
              <a:gd name="connsiteY44061" fmla="*/ 1808591 h 5973007"/>
              <a:gd name="connsiteX44062" fmla="*/ 5569188 w 6884782"/>
              <a:gd name="connsiteY44062" fmla="*/ 1808380 h 5973007"/>
              <a:gd name="connsiteX44063" fmla="*/ 5576445 w 6884782"/>
              <a:gd name="connsiteY44063" fmla="*/ 1808664 h 5973007"/>
              <a:gd name="connsiteX44064" fmla="*/ 5579219 w 6884782"/>
              <a:gd name="connsiteY44064" fmla="*/ 1814355 h 5973007"/>
              <a:gd name="connsiteX44065" fmla="*/ 5577725 w 6884782"/>
              <a:gd name="connsiteY44065" fmla="*/ 1821326 h 5973007"/>
              <a:gd name="connsiteX44066" fmla="*/ 5569188 w 6884782"/>
              <a:gd name="connsiteY44066" fmla="*/ 1808380 h 5973007"/>
              <a:gd name="connsiteX44067" fmla="*/ 1121879 w 6884782"/>
              <a:gd name="connsiteY44067" fmla="*/ 1808282 h 5973007"/>
              <a:gd name="connsiteX44068" fmla="*/ 1140156 w 6884782"/>
              <a:gd name="connsiteY44068" fmla="*/ 1821293 h 5973007"/>
              <a:gd name="connsiteX44069" fmla="*/ 1140568 w 6884782"/>
              <a:gd name="connsiteY44069" fmla="*/ 1867142 h 5973007"/>
              <a:gd name="connsiteX44070" fmla="*/ 1107733 w 6884782"/>
              <a:gd name="connsiteY44070" fmla="*/ 1877520 h 5973007"/>
              <a:gd name="connsiteX44071" fmla="*/ 1089147 w 6884782"/>
              <a:gd name="connsiteY44071" fmla="*/ 1867917 h 5973007"/>
              <a:gd name="connsiteX44072" fmla="*/ 1077066 w 6884782"/>
              <a:gd name="connsiteY44072" fmla="*/ 1844217 h 5973007"/>
              <a:gd name="connsiteX44073" fmla="*/ 1081919 w 6884782"/>
              <a:gd name="connsiteY44073" fmla="*/ 1830432 h 5973007"/>
              <a:gd name="connsiteX44074" fmla="*/ 1084500 w 6884782"/>
              <a:gd name="connsiteY44074" fmla="*/ 1822997 h 5973007"/>
              <a:gd name="connsiteX44075" fmla="*/ 1081196 w 6884782"/>
              <a:gd name="connsiteY44075" fmla="*/ 1821138 h 5973007"/>
              <a:gd name="connsiteX44076" fmla="*/ 1085636 w 6884782"/>
              <a:gd name="connsiteY44076" fmla="*/ 1819280 h 5973007"/>
              <a:gd name="connsiteX44077" fmla="*/ 1086669 w 6884782"/>
              <a:gd name="connsiteY44077" fmla="*/ 1816646 h 5973007"/>
              <a:gd name="connsiteX44078" fmla="*/ 1121879 w 6884782"/>
              <a:gd name="connsiteY44078" fmla="*/ 1808282 h 5973007"/>
              <a:gd name="connsiteX44079" fmla="*/ 672198 w 6884782"/>
              <a:gd name="connsiteY44079" fmla="*/ 1807972 h 5973007"/>
              <a:gd name="connsiteX44080" fmla="*/ 673644 w 6884782"/>
              <a:gd name="connsiteY44080" fmla="*/ 1807972 h 5973007"/>
              <a:gd name="connsiteX44081" fmla="*/ 675399 w 6884782"/>
              <a:gd name="connsiteY44081" fmla="*/ 1807972 h 5973007"/>
              <a:gd name="connsiteX44082" fmla="*/ 677051 w 6884782"/>
              <a:gd name="connsiteY44082" fmla="*/ 1815717 h 5973007"/>
              <a:gd name="connsiteX44083" fmla="*/ 669927 w 6884782"/>
              <a:gd name="connsiteY44083" fmla="*/ 1817421 h 5973007"/>
              <a:gd name="connsiteX44084" fmla="*/ 669100 w 6884782"/>
              <a:gd name="connsiteY44084" fmla="*/ 1815717 h 5973007"/>
              <a:gd name="connsiteX44085" fmla="*/ 668584 w 6884782"/>
              <a:gd name="connsiteY44085" fmla="*/ 1813548 h 5973007"/>
              <a:gd name="connsiteX44086" fmla="*/ 670133 w 6884782"/>
              <a:gd name="connsiteY44086" fmla="*/ 1809211 h 5973007"/>
              <a:gd name="connsiteX44087" fmla="*/ 672198 w 6884782"/>
              <a:gd name="connsiteY44087" fmla="*/ 1807972 h 5973007"/>
              <a:gd name="connsiteX44088" fmla="*/ 3774755 w 6884782"/>
              <a:gd name="connsiteY44088" fmla="*/ 1807811 h 5973007"/>
              <a:gd name="connsiteX44089" fmla="*/ 3778170 w 6884782"/>
              <a:gd name="connsiteY44089" fmla="*/ 1809660 h 5973007"/>
              <a:gd name="connsiteX44090" fmla="*/ 3776676 w 6884782"/>
              <a:gd name="connsiteY44090" fmla="*/ 1814355 h 5973007"/>
              <a:gd name="connsiteX44091" fmla="*/ 3773261 w 6884782"/>
              <a:gd name="connsiteY44091" fmla="*/ 1813643 h 5973007"/>
              <a:gd name="connsiteX44092" fmla="*/ 3774755 w 6884782"/>
              <a:gd name="connsiteY44092" fmla="*/ 1807811 h 5973007"/>
              <a:gd name="connsiteX44093" fmla="*/ 1203658 w 6884782"/>
              <a:gd name="connsiteY44093" fmla="*/ 1807662 h 5973007"/>
              <a:gd name="connsiteX44094" fmla="*/ 1208924 w 6884782"/>
              <a:gd name="connsiteY44094" fmla="*/ 1811070 h 5973007"/>
              <a:gd name="connsiteX44095" fmla="*/ 1204484 w 6884782"/>
              <a:gd name="connsiteY44095" fmla="*/ 1813084 h 5973007"/>
              <a:gd name="connsiteX44096" fmla="*/ 1203348 w 6884782"/>
              <a:gd name="connsiteY44096" fmla="*/ 1812619 h 5973007"/>
              <a:gd name="connsiteX44097" fmla="*/ 1202419 w 6884782"/>
              <a:gd name="connsiteY44097" fmla="*/ 1812309 h 5973007"/>
              <a:gd name="connsiteX44098" fmla="*/ 1200251 w 6884782"/>
              <a:gd name="connsiteY44098" fmla="*/ 1811380 h 5973007"/>
              <a:gd name="connsiteX44099" fmla="*/ 1203658 w 6884782"/>
              <a:gd name="connsiteY44099" fmla="*/ 1807662 h 5973007"/>
              <a:gd name="connsiteX44100" fmla="*/ 5342323 w 6884782"/>
              <a:gd name="connsiteY44100" fmla="*/ 1806957 h 5973007"/>
              <a:gd name="connsiteX44101" fmla="*/ 5348512 w 6884782"/>
              <a:gd name="connsiteY44101" fmla="*/ 1811225 h 5973007"/>
              <a:gd name="connsiteX44102" fmla="*/ 5342110 w 6884782"/>
              <a:gd name="connsiteY44102" fmla="*/ 1811794 h 5973007"/>
              <a:gd name="connsiteX44103" fmla="*/ 5342323 w 6884782"/>
              <a:gd name="connsiteY44103" fmla="*/ 1806957 h 5973007"/>
              <a:gd name="connsiteX44104" fmla="*/ 798894 w 6884782"/>
              <a:gd name="connsiteY44104" fmla="*/ 1806578 h 5973007"/>
              <a:gd name="connsiteX44105" fmla="*/ 816654 w 6884782"/>
              <a:gd name="connsiteY44105" fmla="*/ 1809521 h 5973007"/>
              <a:gd name="connsiteX44106" fmla="*/ 785367 w 6884782"/>
              <a:gd name="connsiteY44106" fmla="*/ 1818040 h 5973007"/>
              <a:gd name="connsiteX44107" fmla="*/ 798894 w 6884782"/>
              <a:gd name="connsiteY44107" fmla="*/ 1806578 h 5973007"/>
              <a:gd name="connsiteX44108" fmla="*/ 3486638 w 6884782"/>
              <a:gd name="connsiteY44108" fmla="*/ 1806246 h 5973007"/>
              <a:gd name="connsiteX44109" fmla="*/ 3489199 w 6884782"/>
              <a:gd name="connsiteY44109" fmla="*/ 1810087 h 5973007"/>
              <a:gd name="connsiteX44110" fmla="*/ 3482370 w 6884782"/>
              <a:gd name="connsiteY44110" fmla="*/ 1811794 h 5973007"/>
              <a:gd name="connsiteX44111" fmla="*/ 3486638 w 6884782"/>
              <a:gd name="connsiteY44111" fmla="*/ 1806246 h 5973007"/>
              <a:gd name="connsiteX44112" fmla="*/ 1150378 w 6884782"/>
              <a:gd name="connsiteY44112" fmla="*/ 1806113 h 5973007"/>
              <a:gd name="connsiteX44113" fmla="*/ 1150481 w 6884782"/>
              <a:gd name="connsiteY44113" fmla="*/ 1820364 h 5973007"/>
              <a:gd name="connsiteX44114" fmla="*/ 1145834 w 6884782"/>
              <a:gd name="connsiteY44114" fmla="*/ 1814013 h 5973007"/>
              <a:gd name="connsiteX44115" fmla="*/ 1150378 w 6884782"/>
              <a:gd name="connsiteY44115" fmla="*/ 1806113 h 5973007"/>
              <a:gd name="connsiteX44116" fmla="*/ 5161770 w 6884782"/>
              <a:gd name="connsiteY44116" fmla="*/ 1805961 h 5973007"/>
              <a:gd name="connsiteX44117" fmla="*/ 5176709 w 6884782"/>
              <a:gd name="connsiteY44117" fmla="*/ 1810656 h 5973007"/>
              <a:gd name="connsiteX44118" fmla="*/ 5175002 w 6884782"/>
              <a:gd name="connsiteY44118" fmla="*/ 1813643 h 5973007"/>
              <a:gd name="connsiteX44119" fmla="*/ 5177990 w 6884782"/>
              <a:gd name="connsiteY44119" fmla="*/ 1815778 h 5973007"/>
              <a:gd name="connsiteX44120" fmla="*/ 5177136 w 6884782"/>
              <a:gd name="connsiteY44120" fmla="*/ 1819904 h 5973007"/>
              <a:gd name="connsiteX44121" fmla="*/ 5177563 w 6884782"/>
              <a:gd name="connsiteY44121" fmla="*/ 1819761 h 5973007"/>
              <a:gd name="connsiteX44122" fmla="*/ 5179697 w 6884782"/>
              <a:gd name="connsiteY44122" fmla="*/ 1822038 h 5973007"/>
              <a:gd name="connsiteX44123" fmla="*/ 5180551 w 6884782"/>
              <a:gd name="connsiteY44123" fmla="*/ 1825879 h 5973007"/>
              <a:gd name="connsiteX44124" fmla="*/ 5182258 w 6884782"/>
              <a:gd name="connsiteY44124" fmla="*/ 1831428 h 5973007"/>
              <a:gd name="connsiteX44125" fmla="*/ 5183325 w 6884782"/>
              <a:gd name="connsiteY44125" fmla="*/ 1851060 h 5973007"/>
              <a:gd name="connsiteX44126" fmla="*/ 5179697 w 6884782"/>
              <a:gd name="connsiteY44126" fmla="*/ 1843804 h 5973007"/>
              <a:gd name="connsiteX44127" fmla="*/ 5177990 w 6884782"/>
              <a:gd name="connsiteY44127" fmla="*/ 1836549 h 5973007"/>
              <a:gd name="connsiteX44128" fmla="*/ 5171161 w 6884782"/>
              <a:gd name="connsiteY44128" fmla="*/ 1838398 h 5973007"/>
              <a:gd name="connsiteX44129" fmla="*/ 5166038 w 6884782"/>
              <a:gd name="connsiteY44129" fmla="*/ 1834842 h 5973007"/>
              <a:gd name="connsiteX44130" fmla="*/ 5165185 w 6884782"/>
              <a:gd name="connsiteY44130" fmla="*/ 1824456 h 5973007"/>
              <a:gd name="connsiteX44131" fmla="*/ 5171801 w 6884782"/>
              <a:gd name="connsiteY44131" fmla="*/ 1823744 h 5973007"/>
              <a:gd name="connsiteX44132" fmla="*/ 5175215 w 6884782"/>
              <a:gd name="connsiteY44132" fmla="*/ 1824314 h 5973007"/>
              <a:gd name="connsiteX44133" fmla="*/ 5175856 w 6884782"/>
              <a:gd name="connsiteY44133" fmla="*/ 1822891 h 5973007"/>
              <a:gd name="connsiteX44134" fmla="*/ 5175642 w 6884782"/>
              <a:gd name="connsiteY44134" fmla="*/ 1821895 h 5973007"/>
              <a:gd name="connsiteX44135" fmla="*/ 5174789 w 6884782"/>
              <a:gd name="connsiteY44135" fmla="*/ 1822891 h 5973007"/>
              <a:gd name="connsiteX44136" fmla="*/ 5173508 w 6884782"/>
              <a:gd name="connsiteY44136" fmla="*/ 1823176 h 5973007"/>
              <a:gd name="connsiteX44137" fmla="*/ 5168813 w 6884782"/>
              <a:gd name="connsiteY44137" fmla="*/ 1820757 h 5973007"/>
              <a:gd name="connsiteX44138" fmla="*/ 5167106 w 6884782"/>
              <a:gd name="connsiteY44138" fmla="*/ 1822180 h 5973007"/>
              <a:gd name="connsiteX44139" fmla="*/ 5161770 w 6884782"/>
              <a:gd name="connsiteY44139" fmla="*/ 1805961 h 5973007"/>
              <a:gd name="connsiteX44140" fmla="*/ 3895551 w 6884782"/>
              <a:gd name="connsiteY44140" fmla="*/ 1805677 h 5973007"/>
              <a:gd name="connsiteX44141" fmla="*/ 3929271 w 6884782"/>
              <a:gd name="connsiteY44141" fmla="*/ 1825879 h 5973007"/>
              <a:gd name="connsiteX44142" fmla="*/ 3925429 w 6884782"/>
              <a:gd name="connsiteY44142" fmla="*/ 1813217 h 5973007"/>
              <a:gd name="connsiteX44143" fmla="*/ 3929484 w 6884782"/>
              <a:gd name="connsiteY44143" fmla="*/ 1826021 h 5973007"/>
              <a:gd name="connsiteX44144" fmla="*/ 3943143 w 6884782"/>
              <a:gd name="connsiteY44144" fmla="*/ 1835269 h 5973007"/>
              <a:gd name="connsiteX44145" fmla="*/ 3888081 w 6884782"/>
              <a:gd name="connsiteY44145" fmla="*/ 1817200 h 5973007"/>
              <a:gd name="connsiteX44146" fmla="*/ 3895551 w 6884782"/>
              <a:gd name="connsiteY44146" fmla="*/ 1805677 h 5973007"/>
              <a:gd name="connsiteX44147" fmla="*/ 1539550 w 6884782"/>
              <a:gd name="connsiteY44147" fmla="*/ 1805184 h 5973007"/>
              <a:gd name="connsiteX44148" fmla="*/ 1540170 w 6884782"/>
              <a:gd name="connsiteY44148" fmla="*/ 1811380 h 5973007"/>
              <a:gd name="connsiteX44149" fmla="*/ 1538311 w 6884782"/>
              <a:gd name="connsiteY44149" fmla="*/ 1814013 h 5973007"/>
              <a:gd name="connsiteX44150" fmla="*/ 1538208 w 6884782"/>
              <a:gd name="connsiteY44150" fmla="*/ 1814013 h 5973007"/>
              <a:gd name="connsiteX44151" fmla="*/ 1535524 w 6884782"/>
              <a:gd name="connsiteY44151" fmla="*/ 1815252 h 5973007"/>
              <a:gd name="connsiteX44152" fmla="*/ 1531600 w 6884782"/>
              <a:gd name="connsiteY44152" fmla="*/ 1813858 h 5973007"/>
              <a:gd name="connsiteX44153" fmla="*/ 1531703 w 6884782"/>
              <a:gd name="connsiteY44153" fmla="*/ 1812929 h 5973007"/>
              <a:gd name="connsiteX44154" fmla="*/ 1529225 w 6884782"/>
              <a:gd name="connsiteY44154" fmla="*/ 1812929 h 5973007"/>
              <a:gd name="connsiteX44155" fmla="*/ 1522616 w 6884782"/>
              <a:gd name="connsiteY44155" fmla="*/ 1811380 h 5973007"/>
              <a:gd name="connsiteX44156" fmla="*/ 1529225 w 6884782"/>
              <a:gd name="connsiteY44156" fmla="*/ 1811690 h 5973007"/>
              <a:gd name="connsiteX44157" fmla="*/ 1531703 w 6884782"/>
              <a:gd name="connsiteY44157" fmla="*/ 1811999 h 5973007"/>
              <a:gd name="connsiteX44158" fmla="*/ 1531806 w 6884782"/>
              <a:gd name="connsiteY44158" fmla="*/ 1810760 h 5973007"/>
              <a:gd name="connsiteX44159" fmla="*/ 1539550 w 6884782"/>
              <a:gd name="connsiteY44159" fmla="*/ 1805184 h 5973007"/>
              <a:gd name="connsiteX44160" fmla="*/ 1173301 w 6884782"/>
              <a:gd name="connsiteY44160" fmla="*/ 1804100 h 5973007"/>
              <a:gd name="connsiteX44161" fmla="*/ 1176192 w 6884782"/>
              <a:gd name="connsiteY44161" fmla="*/ 1817576 h 5973007"/>
              <a:gd name="connsiteX44162" fmla="*/ 1173301 w 6884782"/>
              <a:gd name="connsiteY44162" fmla="*/ 1804100 h 5973007"/>
              <a:gd name="connsiteX44163" fmla="*/ 3911130 w 6884782"/>
              <a:gd name="connsiteY44163" fmla="*/ 1803969 h 5973007"/>
              <a:gd name="connsiteX44164" fmla="*/ 3914758 w 6884782"/>
              <a:gd name="connsiteY44164" fmla="*/ 1805534 h 5973007"/>
              <a:gd name="connsiteX44165" fmla="*/ 3913691 w 6884782"/>
              <a:gd name="connsiteY44165" fmla="*/ 1807669 h 5973007"/>
              <a:gd name="connsiteX44166" fmla="*/ 3907502 w 6884782"/>
              <a:gd name="connsiteY44166" fmla="*/ 1806246 h 5973007"/>
              <a:gd name="connsiteX44167" fmla="*/ 3908782 w 6884782"/>
              <a:gd name="connsiteY44167" fmla="*/ 1805250 h 5973007"/>
              <a:gd name="connsiteX44168" fmla="*/ 3908356 w 6884782"/>
              <a:gd name="connsiteY44168" fmla="*/ 1804823 h 5973007"/>
              <a:gd name="connsiteX44169" fmla="*/ 3911130 w 6884782"/>
              <a:gd name="connsiteY44169" fmla="*/ 1803969 h 5973007"/>
              <a:gd name="connsiteX44170" fmla="*/ 5640044 w 6884782"/>
              <a:gd name="connsiteY44170" fmla="*/ 1803827 h 5973007"/>
              <a:gd name="connsiteX44171" fmla="*/ 5645379 w 6884782"/>
              <a:gd name="connsiteY44171" fmla="*/ 1809803 h 5973007"/>
              <a:gd name="connsiteX44172" fmla="*/ 5638336 w 6884782"/>
              <a:gd name="connsiteY44172" fmla="*/ 1819904 h 5973007"/>
              <a:gd name="connsiteX44173" fmla="*/ 5640044 w 6884782"/>
              <a:gd name="connsiteY44173" fmla="*/ 1803827 h 5973007"/>
              <a:gd name="connsiteX44174" fmla="*/ 5186100 w 6884782"/>
              <a:gd name="connsiteY44174" fmla="*/ 1803685 h 5973007"/>
              <a:gd name="connsiteX44175" fmla="*/ 5190155 w 6884782"/>
              <a:gd name="connsiteY44175" fmla="*/ 1804823 h 5973007"/>
              <a:gd name="connsiteX44176" fmla="*/ 5192289 w 6884782"/>
              <a:gd name="connsiteY44176" fmla="*/ 1811510 h 5973007"/>
              <a:gd name="connsiteX44177" fmla="*/ 5180124 w 6884782"/>
              <a:gd name="connsiteY44177" fmla="*/ 1812933 h 5973007"/>
              <a:gd name="connsiteX44178" fmla="*/ 5186100 w 6884782"/>
              <a:gd name="connsiteY44178" fmla="*/ 1803685 h 5973007"/>
              <a:gd name="connsiteX44179" fmla="*/ 714533 w 6884782"/>
              <a:gd name="connsiteY44179" fmla="*/ 1803635 h 5973007"/>
              <a:gd name="connsiteX44180" fmla="*/ 719799 w 6884782"/>
              <a:gd name="connsiteY44180" fmla="*/ 1805803 h 5973007"/>
              <a:gd name="connsiteX44181" fmla="*/ 720729 w 6884782"/>
              <a:gd name="connsiteY44181" fmla="*/ 1808282 h 5973007"/>
              <a:gd name="connsiteX44182" fmla="*/ 718044 w 6884782"/>
              <a:gd name="connsiteY44182" fmla="*/ 1807972 h 5973007"/>
              <a:gd name="connsiteX44183" fmla="*/ 717115 w 6884782"/>
              <a:gd name="connsiteY44183" fmla="*/ 1806268 h 5973007"/>
              <a:gd name="connsiteX44184" fmla="*/ 714430 w 6884782"/>
              <a:gd name="connsiteY44184" fmla="*/ 1805184 h 5973007"/>
              <a:gd name="connsiteX44185" fmla="*/ 714533 w 6884782"/>
              <a:gd name="connsiteY44185" fmla="*/ 1803635 h 5973007"/>
              <a:gd name="connsiteX44186" fmla="*/ 6004351 w 6884782"/>
              <a:gd name="connsiteY44186" fmla="*/ 1803258 h 5973007"/>
              <a:gd name="connsiteX44187" fmla="*/ 6004778 w 6884782"/>
              <a:gd name="connsiteY44187" fmla="*/ 1808096 h 5973007"/>
              <a:gd name="connsiteX44188" fmla="*/ 6002217 w 6884782"/>
              <a:gd name="connsiteY44188" fmla="*/ 1807953 h 5973007"/>
              <a:gd name="connsiteX44189" fmla="*/ 5985143 w 6884782"/>
              <a:gd name="connsiteY44189" fmla="*/ 1813217 h 5973007"/>
              <a:gd name="connsiteX44190" fmla="*/ 6004351 w 6884782"/>
              <a:gd name="connsiteY44190" fmla="*/ 1803258 h 5973007"/>
              <a:gd name="connsiteX44191" fmla="*/ 4732369 w 6884782"/>
              <a:gd name="connsiteY44191" fmla="*/ 1802974 h 5973007"/>
              <a:gd name="connsiteX44192" fmla="*/ 4729168 w 6884782"/>
              <a:gd name="connsiteY44192" fmla="*/ 1810371 h 5973007"/>
              <a:gd name="connsiteX44193" fmla="*/ 4730876 w 6884782"/>
              <a:gd name="connsiteY44193" fmla="*/ 1812790 h 5973007"/>
              <a:gd name="connsiteX44194" fmla="*/ 4729168 w 6884782"/>
              <a:gd name="connsiteY44194" fmla="*/ 1818339 h 5973007"/>
              <a:gd name="connsiteX44195" fmla="*/ 4726821 w 6884782"/>
              <a:gd name="connsiteY44195" fmla="*/ 1814355 h 5973007"/>
              <a:gd name="connsiteX44196" fmla="*/ 4726821 w 6884782"/>
              <a:gd name="connsiteY44196" fmla="*/ 1813643 h 5973007"/>
              <a:gd name="connsiteX44197" fmla="*/ 4722552 w 6884782"/>
              <a:gd name="connsiteY44197" fmla="*/ 1819619 h 5973007"/>
              <a:gd name="connsiteX44198" fmla="*/ 4718070 w 6884782"/>
              <a:gd name="connsiteY44198" fmla="*/ 1827301 h 5973007"/>
              <a:gd name="connsiteX44199" fmla="*/ 4714869 w 6884782"/>
              <a:gd name="connsiteY44199" fmla="*/ 1828155 h 5973007"/>
              <a:gd name="connsiteX44200" fmla="*/ 4714229 w 6884782"/>
              <a:gd name="connsiteY44200" fmla="*/ 1829293 h 5973007"/>
              <a:gd name="connsiteX44201" fmla="*/ 4712735 w 6884782"/>
              <a:gd name="connsiteY44201" fmla="*/ 1829436 h 5973007"/>
              <a:gd name="connsiteX44202" fmla="*/ 4712308 w 6884782"/>
              <a:gd name="connsiteY44202" fmla="*/ 1829862 h 5973007"/>
              <a:gd name="connsiteX44203" fmla="*/ 4711881 w 6884782"/>
              <a:gd name="connsiteY44203" fmla="*/ 1830431 h 5973007"/>
              <a:gd name="connsiteX44204" fmla="*/ 4717643 w 6884782"/>
              <a:gd name="connsiteY44204" fmla="*/ 1833846 h 5973007"/>
              <a:gd name="connsiteX44205" fmla="*/ 4717857 w 6884782"/>
              <a:gd name="connsiteY44205" fmla="*/ 1841386 h 5973007"/>
              <a:gd name="connsiteX44206" fmla="*/ 4714655 w 6884782"/>
              <a:gd name="connsiteY44206" fmla="*/ 1840959 h 5973007"/>
              <a:gd name="connsiteX44207" fmla="*/ 4714015 w 6884782"/>
              <a:gd name="connsiteY44207" fmla="*/ 1846081 h 5973007"/>
              <a:gd name="connsiteX44208" fmla="*/ 4709534 w 6884782"/>
              <a:gd name="connsiteY44208" fmla="*/ 1857605 h 5973007"/>
              <a:gd name="connsiteX44209" fmla="*/ 4709320 w 6884782"/>
              <a:gd name="connsiteY44209" fmla="*/ 1860307 h 5973007"/>
              <a:gd name="connsiteX44210" fmla="*/ 4710387 w 6884782"/>
              <a:gd name="connsiteY44210" fmla="*/ 1844658 h 5973007"/>
              <a:gd name="connsiteX44211" fmla="*/ 4711241 w 6884782"/>
              <a:gd name="connsiteY44211" fmla="*/ 1840390 h 5973007"/>
              <a:gd name="connsiteX44212" fmla="*/ 4709747 w 6884782"/>
              <a:gd name="connsiteY44212" fmla="*/ 1840248 h 5973007"/>
              <a:gd name="connsiteX44213" fmla="*/ 4707826 w 6884782"/>
              <a:gd name="connsiteY44213" fmla="*/ 1838967 h 5973007"/>
              <a:gd name="connsiteX44214" fmla="*/ 4705265 w 6884782"/>
              <a:gd name="connsiteY44214" fmla="*/ 1839394 h 5973007"/>
              <a:gd name="connsiteX44215" fmla="*/ 4704838 w 6884782"/>
              <a:gd name="connsiteY44215" fmla="*/ 1839963 h 5973007"/>
              <a:gd name="connsiteX44216" fmla="*/ 4704625 w 6884782"/>
              <a:gd name="connsiteY44216" fmla="*/ 1844089 h 5973007"/>
              <a:gd name="connsiteX44217" fmla="*/ 4702064 w 6884782"/>
              <a:gd name="connsiteY44217" fmla="*/ 1845085 h 5973007"/>
              <a:gd name="connsiteX44218" fmla="*/ 4700997 w 6884782"/>
              <a:gd name="connsiteY44218" fmla="*/ 1841386 h 5973007"/>
              <a:gd name="connsiteX44219" fmla="*/ 4704198 w 6884782"/>
              <a:gd name="connsiteY44219" fmla="*/ 1839536 h 5973007"/>
              <a:gd name="connsiteX44220" fmla="*/ 4695021 w 6884782"/>
              <a:gd name="connsiteY44220" fmla="*/ 1841244 h 5973007"/>
              <a:gd name="connsiteX44221" fmla="*/ 4691393 w 6884782"/>
              <a:gd name="connsiteY44221" fmla="*/ 1840675 h 5973007"/>
              <a:gd name="connsiteX44222" fmla="*/ 4691606 w 6884782"/>
              <a:gd name="connsiteY44222" fmla="*/ 1842097 h 5973007"/>
              <a:gd name="connsiteX44223" fmla="*/ 4685204 w 6884782"/>
              <a:gd name="connsiteY44223" fmla="*/ 1840105 h 5973007"/>
              <a:gd name="connsiteX44224" fmla="*/ 4685417 w 6884782"/>
              <a:gd name="connsiteY44224" fmla="*/ 1839679 h 5973007"/>
              <a:gd name="connsiteX44225" fmla="*/ 4679442 w 6884782"/>
              <a:gd name="connsiteY44225" fmla="*/ 1838683 h 5973007"/>
              <a:gd name="connsiteX44226" fmla="*/ 4670691 w 6884782"/>
              <a:gd name="connsiteY44226" fmla="*/ 1833703 h 5973007"/>
              <a:gd name="connsiteX44227" fmla="*/ 4693100 w 6884782"/>
              <a:gd name="connsiteY44227" fmla="*/ 1827301 h 5973007"/>
              <a:gd name="connsiteX44228" fmla="*/ 4693741 w 6884782"/>
              <a:gd name="connsiteY44228" fmla="*/ 1804396 h 5973007"/>
              <a:gd name="connsiteX44229" fmla="*/ 4701637 w 6884782"/>
              <a:gd name="connsiteY44229" fmla="*/ 1821469 h 5973007"/>
              <a:gd name="connsiteX44230" fmla="*/ 4702491 w 6884782"/>
              <a:gd name="connsiteY44230" fmla="*/ 1824456 h 5973007"/>
              <a:gd name="connsiteX44231" fmla="*/ 4704412 w 6884782"/>
              <a:gd name="connsiteY44231" fmla="*/ 1826021 h 5973007"/>
              <a:gd name="connsiteX44232" fmla="*/ 4711241 w 6884782"/>
              <a:gd name="connsiteY44232" fmla="*/ 1830005 h 5973007"/>
              <a:gd name="connsiteX44233" fmla="*/ 4711668 w 6884782"/>
              <a:gd name="connsiteY44233" fmla="*/ 1829436 h 5973007"/>
              <a:gd name="connsiteX44234" fmla="*/ 4711668 w 6884782"/>
              <a:gd name="connsiteY44234" fmla="*/ 1829151 h 5973007"/>
              <a:gd name="connsiteX44235" fmla="*/ 4711668 w 6884782"/>
              <a:gd name="connsiteY44235" fmla="*/ 1829009 h 5973007"/>
              <a:gd name="connsiteX44236" fmla="*/ 4711881 w 6884782"/>
              <a:gd name="connsiteY44236" fmla="*/ 1828155 h 5973007"/>
              <a:gd name="connsiteX44237" fmla="*/ 4711881 w 6884782"/>
              <a:gd name="connsiteY44237" fmla="*/ 1827017 h 5973007"/>
              <a:gd name="connsiteX44238" fmla="*/ 4712095 w 6884782"/>
              <a:gd name="connsiteY44238" fmla="*/ 1826875 h 5973007"/>
              <a:gd name="connsiteX44239" fmla="*/ 4712308 w 6884782"/>
              <a:gd name="connsiteY44239" fmla="*/ 1825594 h 5973007"/>
              <a:gd name="connsiteX44240" fmla="*/ 4714655 w 6884782"/>
              <a:gd name="connsiteY44240" fmla="*/ 1822180 h 5973007"/>
              <a:gd name="connsiteX44241" fmla="*/ 4718070 w 6884782"/>
              <a:gd name="connsiteY44241" fmla="*/ 1817058 h 5973007"/>
              <a:gd name="connsiteX44242" fmla="*/ 4732369 w 6884782"/>
              <a:gd name="connsiteY44242" fmla="*/ 1802974 h 5973007"/>
              <a:gd name="connsiteX44243" fmla="*/ 5591597 w 6884782"/>
              <a:gd name="connsiteY44243" fmla="*/ 1802404 h 5973007"/>
              <a:gd name="connsiteX44244" fmla="*/ 5596933 w 6884782"/>
              <a:gd name="connsiteY44244" fmla="*/ 1814070 h 5973007"/>
              <a:gd name="connsiteX44245" fmla="*/ 5588396 w 6884782"/>
              <a:gd name="connsiteY44245" fmla="*/ 1802689 h 5973007"/>
              <a:gd name="connsiteX44246" fmla="*/ 5591597 w 6884782"/>
              <a:gd name="connsiteY44246" fmla="*/ 1802404 h 5973007"/>
              <a:gd name="connsiteX44247" fmla="*/ 5448179 w 6884782"/>
              <a:gd name="connsiteY44247" fmla="*/ 1802262 h 5973007"/>
              <a:gd name="connsiteX44248" fmla="*/ 5455222 w 6884782"/>
              <a:gd name="connsiteY44248" fmla="*/ 1834984 h 5973007"/>
              <a:gd name="connsiteX44249" fmla="*/ 5448179 w 6884782"/>
              <a:gd name="connsiteY44249" fmla="*/ 1802262 h 5973007"/>
              <a:gd name="connsiteX44250" fmla="*/ 1428937 w 6884782"/>
              <a:gd name="connsiteY44250" fmla="*/ 1802241 h 5973007"/>
              <a:gd name="connsiteX44251" fmla="*/ 1433300 w 6884782"/>
              <a:gd name="connsiteY44251" fmla="*/ 1802396 h 5973007"/>
              <a:gd name="connsiteX44252" fmla="*/ 1435262 w 6884782"/>
              <a:gd name="connsiteY44252" fmla="*/ 1826095 h 5973007"/>
              <a:gd name="connsiteX44253" fmla="*/ 1433403 w 6884782"/>
              <a:gd name="connsiteY44253" fmla="*/ 1829038 h 5973007"/>
              <a:gd name="connsiteX44254" fmla="*/ 1434952 w 6884782"/>
              <a:gd name="connsiteY44254" fmla="*/ 1830432 h 5973007"/>
              <a:gd name="connsiteX44255" fmla="*/ 1437843 w 6884782"/>
              <a:gd name="connsiteY44255" fmla="*/ 1832291 h 5973007"/>
              <a:gd name="connsiteX44256" fmla="*/ 1438359 w 6884782"/>
              <a:gd name="connsiteY44256" fmla="*/ 1834769 h 5973007"/>
              <a:gd name="connsiteX44257" fmla="*/ 1430718 w 6884782"/>
              <a:gd name="connsiteY44257" fmla="*/ 1833220 h 5973007"/>
              <a:gd name="connsiteX44258" fmla="*/ 1427105 w 6884782"/>
              <a:gd name="connsiteY44258" fmla="*/ 1827954 h 5973007"/>
              <a:gd name="connsiteX44259" fmla="*/ 1428550 w 6884782"/>
              <a:gd name="connsiteY44259" fmla="*/ 1826869 h 5973007"/>
              <a:gd name="connsiteX44260" fmla="*/ 1431132 w 6884782"/>
              <a:gd name="connsiteY44260" fmla="*/ 1826869 h 5973007"/>
              <a:gd name="connsiteX44261" fmla="*/ 1433197 w 6884782"/>
              <a:gd name="connsiteY44261" fmla="*/ 1828883 h 5973007"/>
              <a:gd name="connsiteX44262" fmla="*/ 1426898 w 6884782"/>
              <a:gd name="connsiteY44262" fmla="*/ 1818815 h 5973007"/>
              <a:gd name="connsiteX44263" fmla="*/ 1424936 w 6884782"/>
              <a:gd name="connsiteY44263" fmla="*/ 1812619 h 5973007"/>
              <a:gd name="connsiteX44264" fmla="*/ 1425039 w 6884782"/>
              <a:gd name="connsiteY44264" fmla="*/ 1804874 h 5973007"/>
              <a:gd name="connsiteX44265" fmla="*/ 1428937 w 6884782"/>
              <a:gd name="connsiteY44265" fmla="*/ 1802241 h 5973007"/>
              <a:gd name="connsiteX44266" fmla="*/ 6080755 w 6884782"/>
              <a:gd name="connsiteY44266" fmla="*/ 1802120 h 5973007"/>
              <a:gd name="connsiteX44267" fmla="*/ 6082036 w 6884782"/>
              <a:gd name="connsiteY44267" fmla="*/ 1803543 h 5973007"/>
              <a:gd name="connsiteX44268" fmla="*/ 6082890 w 6884782"/>
              <a:gd name="connsiteY44268" fmla="*/ 1806246 h 5973007"/>
              <a:gd name="connsiteX44269" fmla="*/ 6077127 w 6884782"/>
              <a:gd name="connsiteY44269" fmla="*/ 1808380 h 5973007"/>
              <a:gd name="connsiteX44270" fmla="*/ 6074566 w 6884782"/>
              <a:gd name="connsiteY44270" fmla="*/ 1805961 h 5973007"/>
              <a:gd name="connsiteX44271" fmla="*/ 6077127 w 6884782"/>
              <a:gd name="connsiteY44271" fmla="*/ 1802974 h 5973007"/>
              <a:gd name="connsiteX44272" fmla="*/ 6080755 w 6884782"/>
              <a:gd name="connsiteY44272" fmla="*/ 1802120 h 5973007"/>
              <a:gd name="connsiteX44273" fmla="*/ 5084726 w 6884782"/>
              <a:gd name="connsiteY44273" fmla="*/ 1802120 h 5973007"/>
              <a:gd name="connsiteX44274" fmla="*/ 5087927 w 6884782"/>
              <a:gd name="connsiteY44274" fmla="*/ 1803685 h 5973007"/>
              <a:gd name="connsiteX44275" fmla="*/ 5091768 w 6884782"/>
              <a:gd name="connsiteY44275" fmla="*/ 1810371 h 5973007"/>
              <a:gd name="connsiteX44276" fmla="*/ 5067865 w 6884782"/>
              <a:gd name="connsiteY44276" fmla="*/ 1855755 h 5973007"/>
              <a:gd name="connsiteX44277" fmla="*/ 5060182 w 6884782"/>
              <a:gd name="connsiteY44277" fmla="*/ 1833277 h 5973007"/>
              <a:gd name="connsiteX44278" fmla="*/ 5084726 w 6884782"/>
              <a:gd name="connsiteY44278" fmla="*/ 1802120 h 5973007"/>
              <a:gd name="connsiteX44279" fmla="*/ 1173404 w 6884782"/>
              <a:gd name="connsiteY44279" fmla="*/ 1802086 h 5973007"/>
              <a:gd name="connsiteX44280" fmla="*/ 1173404 w 6884782"/>
              <a:gd name="connsiteY44280" fmla="*/ 1804100 h 5973007"/>
              <a:gd name="connsiteX44281" fmla="*/ 1172371 w 6884782"/>
              <a:gd name="connsiteY44281" fmla="*/ 1803325 h 5973007"/>
              <a:gd name="connsiteX44282" fmla="*/ 1173404 w 6884782"/>
              <a:gd name="connsiteY44282" fmla="*/ 1802086 h 5973007"/>
              <a:gd name="connsiteX44283" fmla="*/ 1455397 w 6884782"/>
              <a:gd name="connsiteY44283" fmla="*/ 1801621 h 5973007"/>
              <a:gd name="connsiteX44284" fmla="*/ 1460043 w 6884782"/>
              <a:gd name="connsiteY44284" fmla="*/ 1807662 h 5973007"/>
              <a:gd name="connsiteX44285" fmla="*/ 1460456 w 6884782"/>
              <a:gd name="connsiteY44285" fmla="*/ 1808746 h 5973007"/>
              <a:gd name="connsiteX44286" fmla="*/ 1468510 w 6884782"/>
              <a:gd name="connsiteY44286" fmla="*/ 1811690 h 5973007"/>
              <a:gd name="connsiteX44287" fmla="*/ 1481107 w 6884782"/>
              <a:gd name="connsiteY44287" fmla="*/ 1816026 h 5973007"/>
              <a:gd name="connsiteX44288" fmla="*/ 1474189 w 6884782"/>
              <a:gd name="connsiteY44288" fmla="*/ 1825785 h 5973007"/>
              <a:gd name="connsiteX44289" fmla="*/ 1473157 w 6884782"/>
              <a:gd name="connsiteY44289" fmla="*/ 1829967 h 5973007"/>
              <a:gd name="connsiteX44290" fmla="*/ 1473983 w 6884782"/>
              <a:gd name="connsiteY44290" fmla="*/ 1830277 h 5973007"/>
              <a:gd name="connsiteX44291" fmla="*/ 1474086 w 6884782"/>
              <a:gd name="connsiteY44291" fmla="*/ 1829967 h 5973007"/>
              <a:gd name="connsiteX44292" fmla="*/ 1479042 w 6884782"/>
              <a:gd name="connsiteY44292" fmla="*/ 1833995 h 5973007"/>
              <a:gd name="connsiteX44293" fmla="*/ 1471092 w 6884782"/>
              <a:gd name="connsiteY44293" fmla="*/ 1837092 h 5973007"/>
              <a:gd name="connsiteX44294" fmla="*/ 1470678 w 6884782"/>
              <a:gd name="connsiteY44294" fmla="*/ 1836937 h 5973007"/>
              <a:gd name="connsiteX44295" fmla="*/ 1468613 w 6884782"/>
              <a:gd name="connsiteY44295" fmla="*/ 1839725 h 5973007"/>
              <a:gd name="connsiteX44296" fmla="*/ 1465206 w 6884782"/>
              <a:gd name="connsiteY44296" fmla="*/ 1841739 h 5973007"/>
              <a:gd name="connsiteX44297" fmla="*/ 1460456 w 6884782"/>
              <a:gd name="connsiteY44297" fmla="*/ 1842669 h 5973007"/>
              <a:gd name="connsiteX44298" fmla="*/ 1459837 w 6884782"/>
              <a:gd name="connsiteY44298" fmla="*/ 1844682 h 5973007"/>
              <a:gd name="connsiteX44299" fmla="*/ 1447549 w 6884782"/>
              <a:gd name="connsiteY44299" fmla="*/ 1840346 h 5973007"/>
              <a:gd name="connsiteX44300" fmla="*/ 1447859 w 6884782"/>
              <a:gd name="connsiteY44300" fmla="*/ 1839725 h 5973007"/>
              <a:gd name="connsiteX44301" fmla="*/ 1443626 w 6884782"/>
              <a:gd name="connsiteY44301" fmla="*/ 1836627 h 5973007"/>
              <a:gd name="connsiteX44302" fmla="*/ 1437224 w 6884782"/>
              <a:gd name="connsiteY44302" fmla="*/ 1823307 h 5973007"/>
              <a:gd name="connsiteX44303" fmla="*/ 1444039 w 6884782"/>
              <a:gd name="connsiteY44303" fmla="*/ 1809676 h 5973007"/>
              <a:gd name="connsiteX44304" fmla="*/ 1446310 w 6884782"/>
              <a:gd name="connsiteY44304" fmla="*/ 1808902 h 5973007"/>
              <a:gd name="connsiteX44305" fmla="*/ 1447549 w 6884782"/>
              <a:gd name="connsiteY44305" fmla="*/ 1806733 h 5973007"/>
              <a:gd name="connsiteX44306" fmla="*/ 1455397 w 6884782"/>
              <a:gd name="connsiteY44306" fmla="*/ 1801621 h 5973007"/>
              <a:gd name="connsiteX44307" fmla="*/ 6114903 w 6884782"/>
              <a:gd name="connsiteY44307" fmla="*/ 1801267 h 5973007"/>
              <a:gd name="connsiteX44308" fmla="*/ 6122373 w 6884782"/>
              <a:gd name="connsiteY44308" fmla="*/ 1802547 h 5973007"/>
              <a:gd name="connsiteX44309" fmla="*/ 6112342 w 6884782"/>
              <a:gd name="connsiteY44309" fmla="*/ 1815351 h 5973007"/>
              <a:gd name="connsiteX44310" fmla="*/ 6109140 w 6884782"/>
              <a:gd name="connsiteY44310" fmla="*/ 1804112 h 5973007"/>
              <a:gd name="connsiteX44311" fmla="*/ 6114903 w 6884782"/>
              <a:gd name="connsiteY44311" fmla="*/ 1801267 h 5973007"/>
              <a:gd name="connsiteX44312" fmla="*/ 5934990 w 6884782"/>
              <a:gd name="connsiteY44312" fmla="*/ 1799986 h 5973007"/>
              <a:gd name="connsiteX44313" fmla="*/ 5936271 w 6884782"/>
              <a:gd name="connsiteY44313" fmla="*/ 1803685 h 5973007"/>
              <a:gd name="connsiteX44314" fmla="*/ 5933923 w 6884782"/>
              <a:gd name="connsiteY44314" fmla="*/ 1805961 h 5973007"/>
              <a:gd name="connsiteX44315" fmla="*/ 5932856 w 6884782"/>
              <a:gd name="connsiteY44315" fmla="*/ 1808238 h 5973007"/>
              <a:gd name="connsiteX44316" fmla="*/ 5929441 w 6884782"/>
              <a:gd name="connsiteY44316" fmla="*/ 1808096 h 5973007"/>
              <a:gd name="connsiteX44317" fmla="*/ 5930508 w 6884782"/>
              <a:gd name="connsiteY44317" fmla="*/ 1805819 h 5973007"/>
              <a:gd name="connsiteX44318" fmla="*/ 5934990 w 6884782"/>
              <a:gd name="connsiteY44318" fmla="*/ 1799986 h 5973007"/>
              <a:gd name="connsiteX44319" fmla="*/ 958941 w 6884782"/>
              <a:gd name="connsiteY44319" fmla="*/ 1799917 h 5973007"/>
              <a:gd name="connsiteX44320" fmla="*/ 962761 w 6884782"/>
              <a:gd name="connsiteY44320" fmla="*/ 1807972 h 5973007"/>
              <a:gd name="connsiteX44321" fmla="*/ 960283 w 6884782"/>
              <a:gd name="connsiteY44321" fmla="*/ 1814478 h 5973007"/>
              <a:gd name="connsiteX44322" fmla="*/ 962864 w 6884782"/>
              <a:gd name="connsiteY44322" fmla="*/ 1817885 h 5973007"/>
              <a:gd name="connsiteX44323" fmla="*/ 957805 w 6884782"/>
              <a:gd name="connsiteY44323" fmla="*/ 1824236 h 5973007"/>
              <a:gd name="connsiteX44324" fmla="*/ 941904 w 6884782"/>
              <a:gd name="connsiteY44324" fmla="*/ 1818815 h 5973007"/>
              <a:gd name="connsiteX44325" fmla="*/ 942317 w 6884782"/>
              <a:gd name="connsiteY44325" fmla="*/ 1818195 h 5973007"/>
              <a:gd name="connsiteX44326" fmla="*/ 936844 w 6884782"/>
              <a:gd name="connsiteY44326" fmla="*/ 1816491 h 5973007"/>
              <a:gd name="connsiteX44327" fmla="*/ 936534 w 6884782"/>
              <a:gd name="connsiteY44327" fmla="*/ 1813084 h 5973007"/>
              <a:gd name="connsiteX44328" fmla="*/ 942007 w 6884782"/>
              <a:gd name="connsiteY44328" fmla="*/ 1805803 h 5973007"/>
              <a:gd name="connsiteX44329" fmla="*/ 942420 w 6884782"/>
              <a:gd name="connsiteY44329" fmla="*/ 1805339 h 5973007"/>
              <a:gd name="connsiteX44330" fmla="*/ 942936 w 6884782"/>
              <a:gd name="connsiteY44330" fmla="*/ 1804409 h 5973007"/>
              <a:gd name="connsiteX44331" fmla="*/ 942626 w 6884782"/>
              <a:gd name="connsiteY44331" fmla="*/ 1804100 h 5973007"/>
              <a:gd name="connsiteX44332" fmla="*/ 942936 w 6884782"/>
              <a:gd name="connsiteY44332" fmla="*/ 1804100 h 5973007"/>
              <a:gd name="connsiteX44333" fmla="*/ 943762 w 6884782"/>
              <a:gd name="connsiteY44333" fmla="*/ 1802241 h 5973007"/>
              <a:gd name="connsiteX44334" fmla="*/ 945208 w 6884782"/>
              <a:gd name="connsiteY44334" fmla="*/ 1802860 h 5973007"/>
              <a:gd name="connsiteX44335" fmla="*/ 947789 w 6884782"/>
              <a:gd name="connsiteY44335" fmla="*/ 1802086 h 5973007"/>
              <a:gd name="connsiteX44336" fmla="*/ 949544 w 6884782"/>
              <a:gd name="connsiteY44336" fmla="*/ 1803480 h 5973007"/>
              <a:gd name="connsiteX44337" fmla="*/ 949648 w 6884782"/>
              <a:gd name="connsiteY44337" fmla="*/ 1808437 h 5973007"/>
              <a:gd name="connsiteX44338" fmla="*/ 955636 w 6884782"/>
              <a:gd name="connsiteY44338" fmla="*/ 1811690 h 5973007"/>
              <a:gd name="connsiteX44339" fmla="*/ 958631 w 6884782"/>
              <a:gd name="connsiteY44339" fmla="*/ 1813084 h 5973007"/>
              <a:gd name="connsiteX44340" fmla="*/ 957805 w 6884782"/>
              <a:gd name="connsiteY44340" fmla="*/ 1812154 h 5973007"/>
              <a:gd name="connsiteX44341" fmla="*/ 958941 w 6884782"/>
              <a:gd name="connsiteY44341" fmla="*/ 1799917 h 5973007"/>
              <a:gd name="connsiteX44342" fmla="*/ 1561028 w 6884782"/>
              <a:gd name="connsiteY44342" fmla="*/ 1799763 h 5973007"/>
              <a:gd name="connsiteX44343" fmla="*/ 1547088 w 6884782"/>
              <a:gd name="connsiteY44343" fmla="*/ 1812154 h 5973007"/>
              <a:gd name="connsiteX44344" fmla="*/ 1561028 w 6884782"/>
              <a:gd name="connsiteY44344" fmla="*/ 1799763 h 5973007"/>
              <a:gd name="connsiteX44345" fmla="*/ 1036693 w 6884782"/>
              <a:gd name="connsiteY44345" fmla="*/ 1799608 h 5973007"/>
              <a:gd name="connsiteX44346" fmla="*/ 1035144 w 6884782"/>
              <a:gd name="connsiteY44346" fmla="*/ 1816801 h 5973007"/>
              <a:gd name="connsiteX44347" fmla="*/ 1009743 w 6884782"/>
              <a:gd name="connsiteY44347" fmla="*/ 1830122 h 5973007"/>
              <a:gd name="connsiteX44348" fmla="*/ 1008091 w 6884782"/>
              <a:gd name="connsiteY44348" fmla="*/ 1828263 h 5973007"/>
              <a:gd name="connsiteX44349" fmla="*/ 1007471 w 6884782"/>
              <a:gd name="connsiteY44349" fmla="*/ 1822687 h 5973007"/>
              <a:gd name="connsiteX44350" fmla="*/ 1036693 w 6884782"/>
              <a:gd name="connsiteY44350" fmla="*/ 1799608 h 5973007"/>
              <a:gd name="connsiteX44351" fmla="*/ 722794 w 6884782"/>
              <a:gd name="connsiteY44351" fmla="*/ 1799608 h 5973007"/>
              <a:gd name="connsiteX44352" fmla="*/ 724136 w 6884782"/>
              <a:gd name="connsiteY44352" fmla="*/ 1800227 h 5973007"/>
              <a:gd name="connsiteX44353" fmla="*/ 725891 w 6884782"/>
              <a:gd name="connsiteY44353" fmla="*/ 1802241 h 5973007"/>
              <a:gd name="connsiteX44354" fmla="*/ 727543 w 6884782"/>
              <a:gd name="connsiteY44354" fmla="*/ 1803325 h 5973007"/>
              <a:gd name="connsiteX44355" fmla="*/ 727543 w 6884782"/>
              <a:gd name="connsiteY44355" fmla="*/ 1805803 h 5973007"/>
              <a:gd name="connsiteX44356" fmla="*/ 725788 w 6884782"/>
              <a:gd name="connsiteY44356" fmla="*/ 1804874 h 5973007"/>
              <a:gd name="connsiteX44357" fmla="*/ 721452 w 6884782"/>
              <a:gd name="connsiteY44357" fmla="*/ 1800847 h 5973007"/>
              <a:gd name="connsiteX44358" fmla="*/ 722794 w 6884782"/>
              <a:gd name="connsiteY44358" fmla="*/ 1799608 h 5973007"/>
              <a:gd name="connsiteX44359" fmla="*/ 1760209 w 6884782"/>
              <a:gd name="connsiteY44359" fmla="*/ 1799143 h 5973007"/>
              <a:gd name="connsiteX44360" fmla="*/ 1762791 w 6884782"/>
              <a:gd name="connsiteY44360" fmla="*/ 1803790 h 5973007"/>
              <a:gd name="connsiteX44361" fmla="*/ 1753601 w 6884782"/>
              <a:gd name="connsiteY44361" fmla="*/ 1807972 h 5973007"/>
              <a:gd name="connsiteX44362" fmla="*/ 1753084 w 6884782"/>
              <a:gd name="connsiteY44362" fmla="*/ 1805029 h 5973007"/>
              <a:gd name="connsiteX44363" fmla="*/ 1753188 w 6884782"/>
              <a:gd name="connsiteY44363" fmla="*/ 1801776 h 5973007"/>
              <a:gd name="connsiteX44364" fmla="*/ 1755356 w 6884782"/>
              <a:gd name="connsiteY44364" fmla="*/ 1800382 h 5973007"/>
              <a:gd name="connsiteX44365" fmla="*/ 1756905 w 6884782"/>
              <a:gd name="connsiteY44365" fmla="*/ 1799453 h 5973007"/>
              <a:gd name="connsiteX44366" fmla="*/ 1760519 w 6884782"/>
              <a:gd name="connsiteY44366" fmla="*/ 1799917 h 5973007"/>
              <a:gd name="connsiteX44367" fmla="*/ 1760209 w 6884782"/>
              <a:gd name="connsiteY44367" fmla="*/ 1799143 h 5973007"/>
              <a:gd name="connsiteX44368" fmla="*/ 883770 w 6884782"/>
              <a:gd name="connsiteY44368" fmla="*/ 1798988 h 5973007"/>
              <a:gd name="connsiteX44369" fmla="*/ 890275 w 6884782"/>
              <a:gd name="connsiteY44369" fmla="*/ 1815717 h 5973007"/>
              <a:gd name="connsiteX44370" fmla="*/ 881189 w 6884782"/>
              <a:gd name="connsiteY44370" fmla="*/ 1803170 h 5973007"/>
              <a:gd name="connsiteX44371" fmla="*/ 883770 w 6884782"/>
              <a:gd name="connsiteY44371" fmla="*/ 1798988 h 5973007"/>
              <a:gd name="connsiteX44372" fmla="*/ 1220553 w 6884782"/>
              <a:gd name="connsiteY44372" fmla="*/ 1798601 h 5973007"/>
              <a:gd name="connsiteX44373" fmla="*/ 1230401 w 6884782"/>
              <a:gd name="connsiteY44373" fmla="*/ 1801931 h 5973007"/>
              <a:gd name="connsiteX44374" fmla="*/ 1230401 w 6884782"/>
              <a:gd name="connsiteY44374" fmla="*/ 1806113 h 5973007"/>
              <a:gd name="connsiteX44375" fmla="*/ 1209854 w 6884782"/>
              <a:gd name="connsiteY44375" fmla="*/ 1807817 h 5973007"/>
              <a:gd name="connsiteX44376" fmla="*/ 1220553 w 6884782"/>
              <a:gd name="connsiteY44376" fmla="*/ 1798601 h 5973007"/>
              <a:gd name="connsiteX44377" fmla="*/ 1171752 w 6884782"/>
              <a:gd name="connsiteY44377" fmla="*/ 1798059 h 5973007"/>
              <a:gd name="connsiteX44378" fmla="*/ 1171752 w 6884782"/>
              <a:gd name="connsiteY44378" fmla="*/ 1799917 h 5973007"/>
              <a:gd name="connsiteX44379" fmla="*/ 1170926 w 6884782"/>
              <a:gd name="connsiteY44379" fmla="*/ 1799608 h 5973007"/>
              <a:gd name="connsiteX44380" fmla="*/ 1171029 w 6884782"/>
              <a:gd name="connsiteY44380" fmla="*/ 1798213 h 5973007"/>
              <a:gd name="connsiteX44381" fmla="*/ 1171752 w 6884782"/>
              <a:gd name="connsiteY44381" fmla="*/ 1798059 h 5973007"/>
              <a:gd name="connsiteX44382" fmla="*/ 5970631 w 6884782"/>
              <a:gd name="connsiteY44382" fmla="*/ 1797425 h 5973007"/>
              <a:gd name="connsiteX44383" fmla="*/ 5971698 w 6884782"/>
              <a:gd name="connsiteY44383" fmla="*/ 1798421 h 5973007"/>
              <a:gd name="connsiteX44384" fmla="*/ 5969564 w 6884782"/>
              <a:gd name="connsiteY44384" fmla="*/ 1798421 h 5973007"/>
              <a:gd name="connsiteX44385" fmla="*/ 5970631 w 6884782"/>
              <a:gd name="connsiteY44385" fmla="*/ 1797425 h 5973007"/>
              <a:gd name="connsiteX44386" fmla="*/ 4691393 w 6884782"/>
              <a:gd name="connsiteY44386" fmla="*/ 1797140 h 5973007"/>
              <a:gd name="connsiteX44387" fmla="*/ 4693100 w 6884782"/>
              <a:gd name="connsiteY44387" fmla="*/ 1797567 h 5973007"/>
              <a:gd name="connsiteX44388" fmla="*/ 4693100 w 6884782"/>
              <a:gd name="connsiteY44388" fmla="*/ 1798705 h 5973007"/>
              <a:gd name="connsiteX44389" fmla="*/ 4690966 w 6884782"/>
              <a:gd name="connsiteY44389" fmla="*/ 1797567 h 5973007"/>
              <a:gd name="connsiteX44390" fmla="*/ 4691393 w 6884782"/>
              <a:gd name="connsiteY44390" fmla="*/ 1797140 h 5973007"/>
              <a:gd name="connsiteX44391" fmla="*/ 4825207 w 6884782"/>
              <a:gd name="connsiteY44391" fmla="*/ 1796856 h 5973007"/>
              <a:gd name="connsiteX44392" fmla="*/ 4830969 w 6884782"/>
              <a:gd name="connsiteY44392" fmla="*/ 1800128 h 5973007"/>
              <a:gd name="connsiteX44393" fmla="*/ 4835024 w 6884782"/>
              <a:gd name="connsiteY44393" fmla="*/ 1801551 h 5973007"/>
              <a:gd name="connsiteX44394" fmla="*/ 4836091 w 6884782"/>
              <a:gd name="connsiteY44394" fmla="*/ 1804966 h 5973007"/>
              <a:gd name="connsiteX44395" fmla="*/ 4825847 w 6884782"/>
              <a:gd name="connsiteY44395" fmla="*/ 1805961 h 5973007"/>
              <a:gd name="connsiteX44396" fmla="*/ 4820298 w 6884782"/>
              <a:gd name="connsiteY44396" fmla="*/ 1800128 h 5973007"/>
              <a:gd name="connsiteX44397" fmla="*/ 4825207 w 6884782"/>
              <a:gd name="connsiteY44397" fmla="*/ 1796856 h 5973007"/>
              <a:gd name="connsiteX44398" fmla="*/ 1228543 w 6884782"/>
              <a:gd name="connsiteY44398" fmla="*/ 1796045 h 5973007"/>
              <a:gd name="connsiteX44399" fmla="*/ 1229575 w 6884782"/>
              <a:gd name="connsiteY44399" fmla="*/ 1796355 h 5973007"/>
              <a:gd name="connsiteX44400" fmla="*/ 1229472 w 6884782"/>
              <a:gd name="connsiteY44400" fmla="*/ 1797129 h 5973007"/>
              <a:gd name="connsiteX44401" fmla="*/ 1228027 w 6884782"/>
              <a:gd name="connsiteY44401" fmla="*/ 1796200 h 5973007"/>
              <a:gd name="connsiteX44402" fmla="*/ 1228543 w 6884782"/>
              <a:gd name="connsiteY44402" fmla="*/ 1796045 h 5973007"/>
              <a:gd name="connsiteX44403" fmla="*/ 790220 w 6884782"/>
              <a:gd name="connsiteY44403" fmla="*/ 1796045 h 5973007"/>
              <a:gd name="connsiteX44404" fmla="*/ 795486 w 6884782"/>
              <a:gd name="connsiteY44404" fmla="*/ 1796510 h 5973007"/>
              <a:gd name="connsiteX44405" fmla="*/ 792802 w 6884782"/>
              <a:gd name="connsiteY44405" fmla="*/ 1802086 h 5973007"/>
              <a:gd name="connsiteX44406" fmla="*/ 791046 w 6884782"/>
              <a:gd name="connsiteY44406" fmla="*/ 1801002 h 5973007"/>
              <a:gd name="connsiteX44407" fmla="*/ 789704 w 6884782"/>
              <a:gd name="connsiteY44407" fmla="*/ 1798523 h 5973007"/>
              <a:gd name="connsiteX44408" fmla="*/ 790220 w 6884782"/>
              <a:gd name="connsiteY44408" fmla="*/ 1796045 h 5973007"/>
              <a:gd name="connsiteX44409" fmla="*/ 1044127 w 6884782"/>
              <a:gd name="connsiteY44409" fmla="*/ 1795580 h 5973007"/>
              <a:gd name="connsiteX44410" fmla="*/ 1055898 w 6884782"/>
              <a:gd name="connsiteY44410" fmla="*/ 1812619 h 5973007"/>
              <a:gd name="connsiteX44411" fmla="*/ 1047741 w 6884782"/>
              <a:gd name="connsiteY44411" fmla="*/ 1815252 h 5973007"/>
              <a:gd name="connsiteX44412" fmla="*/ 1040306 w 6884782"/>
              <a:gd name="connsiteY44412" fmla="*/ 1806733 h 5973007"/>
              <a:gd name="connsiteX44413" fmla="*/ 1044127 w 6884782"/>
              <a:gd name="connsiteY44413" fmla="*/ 1795580 h 5973007"/>
              <a:gd name="connsiteX44414" fmla="*/ 965859 w 6884782"/>
              <a:gd name="connsiteY44414" fmla="*/ 1795425 h 5973007"/>
              <a:gd name="connsiteX44415" fmla="*/ 969266 w 6884782"/>
              <a:gd name="connsiteY44415" fmla="*/ 1798059 h 5973007"/>
              <a:gd name="connsiteX44416" fmla="*/ 968544 w 6884782"/>
              <a:gd name="connsiteY44416" fmla="*/ 1797594 h 5973007"/>
              <a:gd name="connsiteX44417" fmla="*/ 967614 w 6884782"/>
              <a:gd name="connsiteY44417" fmla="*/ 1798988 h 5973007"/>
              <a:gd name="connsiteX44418" fmla="*/ 968337 w 6884782"/>
              <a:gd name="connsiteY44418" fmla="*/ 1799453 h 5973007"/>
              <a:gd name="connsiteX44419" fmla="*/ 966788 w 6884782"/>
              <a:gd name="connsiteY44419" fmla="*/ 1800382 h 5973007"/>
              <a:gd name="connsiteX44420" fmla="*/ 960076 w 6884782"/>
              <a:gd name="connsiteY44420" fmla="*/ 1798988 h 5973007"/>
              <a:gd name="connsiteX44421" fmla="*/ 962245 w 6884782"/>
              <a:gd name="connsiteY44421" fmla="*/ 1795580 h 5973007"/>
              <a:gd name="connsiteX44422" fmla="*/ 965859 w 6884782"/>
              <a:gd name="connsiteY44422" fmla="*/ 1795425 h 5973007"/>
              <a:gd name="connsiteX44423" fmla="*/ 5574951 w 6884782"/>
              <a:gd name="connsiteY44423" fmla="*/ 1795007 h 5973007"/>
              <a:gd name="connsiteX44424" fmla="*/ 5574311 w 6884782"/>
              <a:gd name="connsiteY44424" fmla="*/ 1804681 h 5973007"/>
              <a:gd name="connsiteX44425" fmla="*/ 5574951 w 6884782"/>
              <a:gd name="connsiteY44425" fmla="*/ 1795007 h 5973007"/>
              <a:gd name="connsiteX44426" fmla="*/ 6380184 w 6884782"/>
              <a:gd name="connsiteY44426" fmla="*/ 1794865 h 5973007"/>
              <a:gd name="connsiteX44427" fmla="*/ 6383812 w 6884782"/>
              <a:gd name="connsiteY44427" fmla="*/ 1803258 h 5973007"/>
              <a:gd name="connsiteX44428" fmla="*/ 6375488 w 6884782"/>
              <a:gd name="connsiteY44428" fmla="*/ 1803685 h 5973007"/>
              <a:gd name="connsiteX44429" fmla="*/ 6380184 w 6884782"/>
              <a:gd name="connsiteY44429" fmla="*/ 1794865 h 5973007"/>
              <a:gd name="connsiteX44430" fmla="*/ 4932984 w 6884782"/>
              <a:gd name="connsiteY44430" fmla="*/ 1794580 h 5973007"/>
              <a:gd name="connsiteX44431" fmla="*/ 4939600 w 6884782"/>
              <a:gd name="connsiteY44431" fmla="*/ 1794722 h 5973007"/>
              <a:gd name="connsiteX44432" fmla="*/ 4948350 w 6884782"/>
              <a:gd name="connsiteY44432" fmla="*/ 1796002 h 5973007"/>
              <a:gd name="connsiteX44433" fmla="*/ 4962223 w 6884782"/>
              <a:gd name="connsiteY44433" fmla="*/ 1801267 h 5973007"/>
              <a:gd name="connsiteX44434" fmla="*/ 4963503 w 6884782"/>
              <a:gd name="connsiteY44434" fmla="*/ 1805107 h 5973007"/>
              <a:gd name="connsiteX44435" fmla="*/ 4944296 w 6884782"/>
              <a:gd name="connsiteY44435" fmla="*/ 1817912 h 5973007"/>
              <a:gd name="connsiteX44436" fmla="*/ 4934905 w 6884782"/>
              <a:gd name="connsiteY44436" fmla="*/ 1815351 h 5973007"/>
              <a:gd name="connsiteX44437" fmla="*/ 4937039 w 6884782"/>
              <a:gd name="connsiteY44437" fmla="*/ 1819477 h 5973007"/>
              <a:gd name="connsiteX44438" fmla="*/ 4911002 w 6884782"/>
              <a:gd name="connsiteY44438" fmla="*/ 1848215 h 5973007"/>
              <a:gd name="connsiteX44439" fmla="*/ 4900757 w 6884782"/>
              <a:gd name="connsiteY44439" fmla="*/ 1844231 h 5973007"/>
              <a:gd name="connsiteX44440" fmla="*/ 4894355 w 6884782"/>
              <a:gd name="connsiteY44440" fmla="*/ 1837260 h 5973007"/>
              <a:gd name="connsiteX44441" fmla="*/ 4893074 w 6884782"/>
              <a:gd name="connsiteY44441" fmla="*/ 1838683 h 5973007"/>
              <a:gd name="connsiteX44442" fmla="*/ 4882830 w 6884782"/>
              <a:gd name="connsiteY44442" fmla="*/ 1831996 h 5973007"/>
              <a:gd name="connsiteX44443" fmla="*/ 4893501 w 6884782"/>
              <a:gd name="connsiteY44443" fmla="*/ 1821753 h 5973007"/>
              <a:gd name="connsiteX44444" fmla="*/ 4896916 w 6884782"/>
              <a:gd name="connsiteY44444" fmla="*/ 1824029 h 5973007"/>
              <a:gd name="connsiteX44445" fmla="*/ 4897983 w 6884782"/>
              <a:gd name="connsiteY44445" fmla="*/ 1827728 h 5973007"/>
              <a:gd name="connsiteX44446" fmla="*/ 4901184 w 6884782"/>
              <a:gd name="connsiteY44446" fmla="*/ 1825025 h 5973007"/>
              <a:gd name="connsiteX44447" fmla="*/ 4903319 w 6884782"/>
              <a:gd name="connsiteY44447" fmla="*/ 1822038 h 5973007"/>
              <a:gd name="connsiteX44448" fmla="*/ 4900757 w 6884782"/>
              <a:gd name="connsiteY44448" fmla="*/ 1821469 h 5973007"/>
              <a:gd name="connsiteX44449" fmla="*/ 4901825 w 6884782"/>
              <a:gd name="connsiteY44449" fmla="*/ 1820188 h 5973007"/>
              <a:gd name="connsiteX44450" fmla="*/ 4901398 w 6884782"/>
              <a:gd name="connsiteY44450" fmla="*/ 1820046 h 5973007"/>
              <a:gd name="connsiteX44451" fmla="*/ 4903959 w 6884782"/>
              <a:gd name="connsiteY44451" fmla="*/ 1818765 h 5973007"/>
              <a:gd name="connsiteX44452" fmla="*/ 4905453 w 6884782"/>
              <a:gd name="connsiteY44452" fmla="*/ 1819335 h 5973007"/>
              <a:gd name="connsiteX44453" fmla="*/ 4907800 w 6884782"/>
              <a:gd name="connsiteY44453" fmla="*/ 1816489 h 5973007"/>
              <a:gd name="connsiteX44454" fmla="*/ 4914843 w 6884782"/>
              <a:gd name="connsiteY44454" fmla="*/ 1809660 h 5973007"/>
              <a:gd name="connsiteX44455" fmla="*/ 4921246 w 6884782"/>
              <a:gd name="connsiteY44455" fmla="*/ 1806957 h 5973007"/>
              <a:gd name="connsiteX44456" fmla="*/ 4921032 w 6884782"/>
              <a:gd name="connsiteY44456" fmla="*/ 1806672 h 5973007"/>
              <a:gd name="connsiteX44457" fmla="*/ 4932984 w 6884782"/>
              <a:gd name="connsiteY44457" fmla="*/ 1794580 h 5973007"/>
              <a:gd name="connsiteX44458" fmla="*/ 1681218 w 6884782"/>
              <a:gd name="connsiteY44458" fmla="*/ 1794496 h 5973007"/>
              <a:gd name="connsiteX44459" fmla="*/ 1684419 w 6884782"/>
              <a:gd name="connsiteY44459" fmla="*/ 1798368 h 5973007"/>
              <a:gd name="connsiteX44460" fmla="*/ 1676778 w 6884782"/>
              <a:gd name="connsiteY44460" fmla="*/ 1803015 h 5973007"/>
              <a:gd name="connsiteX44461" fmla="*/ 1675539 w 6884782"/>
              <a:gd name="connsiteY44461" fmla="*/ 1800692 h 5973007"/>
              <a:gd name="connsiteX44462" fmla="*/ 1675539 w 6884782"/>
              <a:gd name="connsiteY44462" fmla="*/ 1798368 h 5973007"/>
              <a:gd name="connsiteX44463" fmla="*/ 1678120 w 6884782"/>
              <a:gd name="connsiteY44463" fmla="*/ 1794961 h 5973007"/>
              <a:gd name="connsiteX44464" fmla="*/ 1681218 w 6884782"/>
              <a:gd name="connsiteY44464" fmla="*/ 1794496 h 5973007"/>
              <a:gd name="connsiteX44465" fmla="*/ 1293284 w 6884782"/>
              <a:gd name="connsiteY44465" fmla="*/ 1794496 h 5973007"/>
              <a:gd name="connsiteX44466" fmla="*/ 1297208 w 6884782"/>
              <a:gd name="connsiteY44466" fmla="*/ 1799143 h 5973007"/>
              <a:gd name="connsiteX44467" fmla="*/ 1298964 w 6884782"/>
              <a:gd name="connsiteY44467" fmla="*/ 1806888 h 5973007"/>
              <a:gd name="connsiteX44468" fmla="*/ 1297725 w 6884782"/>
              <a:gd name="connsiteY44468" fmla="*/ 1806423 h 5973007"/>
              <a:gd name="connsiteX44469" fmla="*/ 1293284 w 6884782"/>
              <a:gd name="connsiteY44469" fmla="*/ 1794496 h 5973007"/>
              <a:gd name="connsiteX44470" fmla="*/ 1192119 w 6884782"/>
              <a:gd name="connsiteY44470" fmla="*/ 1793896 h 5973007"/>
              <a:gd name="connsiteX44471" fmla="*/ 1199941 w 6884782"/>
              <a:gd name="connsiteY44471" fmla="*/ 1795580 h 5973007"/>
              <a:gd name="connsiteX44472" fmla="*/ 1191680 w 6884782"/>
              <a:gd name="connsiteY44472" fmla="*/ 1805184 h 5973007"/>
              <a:gd name="connsiteX44473" fmla="*/ 1187860 w 6884782"/>
              <a:gd name="connsiteY44473" fmla="*/ 1800692 h 5973007"/>
              <a:gd name="connsiteX44474" fmla="*/ 1192119 w 6884782"/>
              <a:gd name="connsiteY44474" fmla="*/ 1793896 h 5973007"/>
              <a:gd name="connsiteX44475" fmla="*/ 1409344 w 6884782"/>
              <a:gd name="connsiteY44475" fmla="*/ 1793877 h 5973007"/>
              <a:gd name="connsiteX44476" fmla="*/ 1409344 w 6884782"/>
              <a:gd name="connsiteY44476" fmla="*/ 1794651 h 5973007"/>
              <a:gd name="connsiteX44477" fmla="*/ 1407486 w 6884782"/>
              <a:gd name="connsiteY44477" fmla="*/ 1794186 h 5973007"/>
              <a:gd name="connsiteX44478" fmla="*/ 1409344 w 6884782"/>
              <a:gd name="connsiteY44478" fmla="*/ 1793877 h 5973007"/>
              <a:gd name="connsiteX44479" fmla="*/ 1403872 w 6884782"/>
              <a:gd name="connsiteY44479" fmla="*/ 1793877 h 5973007"/>
              <a:gd name="connsiteX44480" fmla="*/ 1404904 w 6884782"/>
              <a:gd name="connsiteY44480" fmla="*/ 1795270 h 5973007"/>
              <a:gd name="connsiteX44481" fmla="*/ 1402942 w 6884782"/>
              <a:gd name="connsiteY44481" fmla="*/ 1794806 h 5973007"/>
              <a:gd name="connsiteX44482" fmla="*/ 1403872 w 6884782"/>
              <a:gd name="connsiteY44482" fmla="*/ 1793877 h 5973007"/>
              <a:gd name="connsiteX44483" fmla="*/ 1098233 w 6884782"/>
              <a:gd name="connsiteY44483" fmla="*/ 1793722 h 5973007"/>
              <a:gd name="connsiteX44484" fmla="*/ 1094929 w 6884782"/>
              <a:gd name="connsiteY44484" fmla="*/ 1800537 h 5973007"/>
              <a:gd name="connsiteX44485" fmla="*/ 1093070 w 6884782"/>
              <a:gd name="connsiteY44485" fmla="*/ 1796819 h 5973007"/>
              <a:gd name="connsiteX44486" fmla="*/ 1095859 w 6884782"/>
              <a:gd name="connsiteY44486" fmla="*/ 1794186 h 5973007"/>
              <a:gd name="connsiteX44487" fmla="*/ 1098233 w 6884782"/>
              <a:gd name="connsiteY44487" fmla="*/ 1793722 h 5973007"/>
              <a:gd name="connsiteX44488" fmla="*/ 757488 w 6884782"/>
              <a:gd name="connsiteY44488" fmla="*/ 1793567 h 5973007"/>
              <a:gd name="connsiteX44489" fmla="*/ 764096 w 6884782"/>
              <a:gd name="connsiteY44489" fmla="*/ 1803170 h 5973007"/>
              <a:gd name="connsiteX44490" fmla="*/ 756868 w 6884782"/>
              <a:gd name="connsiteY44490" fmla="*/ 1801312 h 5973007"/>
              <a:gd name="connsiteX44491" fmla="*/ 756146 w 6884782"/>
              <a:gd name="connsiteY44491" fmla="*/ 1797594 h 5973007"/>
              <a:gd name="connsiteX44492" fmla="*/ 757488 w 6884782"/>
              <a:gd name="connsiteY44492" fmla="*/ 1793567 h 5973007"/>
              <a:gd name="connsiteX44493" fmla="*/ 5775352 w 6884782"/>
              <a:gd name="connsiteY44493" fmla="*/ 1793441 h 5973007"/>
              <a:gd name="connsiteX44494" fmla="*/ 5782822 w 6884782"/>
              <a:gd name="connsiteY44494" fmla="*/ 1795149 h 5973007"/>
              <a:gd name="connsiteX44495" fmla="*/ 5789224 w 6884782"/>
              <a:gd name="connsiteY44495" fmla="*/ 1798990 h 5973007"/>
              <a:gd name="connsiteX44496" fmla="*/ 5790078 w 6884782"/>
              <a:gd name="connsiteY44496" fmla="*/ 1797425 h 5973007"/>
              <a:gd name="connsiteX44497" fmla="*/ 5801389 w 6884782"/>
              <a:gd name="connsiteY44497" fmla="*/ 1798990 h 5973007"/>
              <a:gd name="connsiteX44498" fmla="*/ 5801816 w 6884782"/>
              <a:gd name="connsiteY44498" fmla="*/ 1807669 h 5973007"/>
              <a:gd name="connsiteX44499" fmla="*/ 5794773 w 6884782"/>
              <a:gd name="connsiteY44499" fmla="*/ 1806957 h 5973007"/>
              <a:gd name="connsiteX44500" fmla="*/ 5789224 w 6884782"/>
              <a:gd name="connsiteY44500" fmla="*/ 1802547 h 5973007"/>
              <a:gd name="connsiteX44501" fmla="*/ 5787943 w 6884782"/>
              <a:gd name="connsiteY44501" fmla="*/ 1811936 h 5973007"/>
              <a:gd name="connsiteX44502" fmla="*/ 5781755 w 6884782"/>
              <a:gd name="connsiteY44502" fmla="*/ 1821469 h 5973007"/>
              <a:gd name="connsiteX44503" fmla="*/ 5745046 w 6884782"/>
              <a:gd name="connsiteY44503" fmla="*/ 1824599 h 5973007"/>
              <a:gd name="connsiteX44504" fmla="*/ 5743766 w 6884782"/>
              <a:gd name="connsiteY44504" fmla="*/ 1821042 h 5973007"/>
              <a:gd name="connsiteX44505" fmla="*/ 5775352 w 6884782"/>
              <a:gd name="connsiteY44505" fmla="*/ 1793441 h 5973007"/>
              <a:gd name="connsiteX44506" fmla="*/ 3923508 w 6884782"/>
              <a:gd name="connsiteY44506" fmla="*/ 1793441 h 5973007"/>
              <a:gd name="connsiteX44507" fmla="*/ 3935247 w 6884782"/>
              <a:gd name="connsiteY44507" fmla="*/ 1801124 h 5973007"/>
              <a:gd name="connsiteX44508" fmla="*/ 3920948 w 6884782"/>
              <a:gd name="connsiteY44508" fmla="*/ 1804823 h 5973007"/>
              <a:gd name="connsiteX44509" fmla="*/ 3923508 w 6884782"/>
              <a:gd name="connsiteY44509" fmla="*/ 1793441 h 5973007"/>
              <a:gd name="connsiteX44510" fmla="*/ 1413474 w 6884782"/>
              <a:gd name="connsiteY44510" fmla="*/ 1793412 h 5973007"/>
              <a:gd name="connsiteX44511" fmla="*/ 1414507 w 6884782"/>
              <a:gd name="connsiteY44511" fmla="*/ 1795735 h 5973007"/>
              <a:gd name="connsiteX44512" fmla="*/ 1409964 w 6884782"/>
              <a:gd name="connsiteY44512" fmla="*/ 1793877 h 5973007"/>
              <a:gd name="connsiteX44513" fmla="*/ 1413474 w 6884782"/>
              <a:gd name="connsiteY44513" fmla="*/ 1793412 h 5973007"/>
              <a:gd name="connsiteX44514" fmla="*/ 3717772 w 6884782"/>
              <a:gd name="connsiteY44514" fmla="*/ 1793157 h 5973007"/>
              <a:gd name="connsiteX44515" fmla="*/ 3727163 w 6884782"/>
              <a:gd name="connsiteY44515" fmla="*/ 1796998 h 5973007"/>
              <a:gd name="connsiteX44516" fmla="*/ 3692588 w 6884782"/>
              <a:gd name="connsiteY44516" fmla="*/ 1817200 h 5973007"/>
              <a:gd name="connsiteX44517" fmla="*/ 3717772 w 6884782"/>
              <a:gd name="connsiteY44517" fmla="*/ 1793157 h 5973007"/>
              <a:gd name="connsiteX44518" fmla="*/ 1494428 w 6884782"/>
              <a:gd name="connsiteY44518" fmla="*/ 1792947 h 5973007"/>
              <a:gd name="connsiteX44519" fmla="*/ 1489058 w 6884782"/>
              <a:gd name="connsiteY44519" fmla="*/ 1797284 h 5973007"/>
              <a:gd name="connsiteX44520" fmla="*/ 1494428 w 6884782"/>
              <a:gd name="connsiteY44520" fmla="*/ 1792947 h 5973007"/>
              <a:gd name="connsiteX44521" fmla="*/ 1171649 w 6884782"/>
              <a:gd name="connsiteY44521" fmla="*/ 1792792 h 5973007"/>
              <a:gd name="connsiteX44522" fmla="*/ 1171649 w 6884782"/>
              <a:gd name="connsiteY44522" fmla="*/ 1795425 h 5973007"/>
              <a:gd name="connsiteX44523" fmla="*/ 1171545 w 6884782"/>
              <a:gd name="connsiteY44523" fmla="*/ 1795735 h 5973007"/>
              <a:gd name="connsiteX44524" fmla="*/ 1171958 w 6884782"/>
              <a:gd name="connsiteY44524" fmla="*/ 1795735 h 5973007"/>
              <a:gd name="connsiteX44525" fmla="*/ 1171132 w 6884782"/>
              <a:gd name="connsiteY44525" fmla="*/ 1796974 h 5973007"/>
              <a:gd name="connsiteX44526" fmla="*/ 1170823 w 6884782"/>
              <a:gd name="connsiteY44526" fmla="*/ 1797594 h 5973007"/>
              <a:gd name="connsiteX44527" fmla="*/ 1170719 w 6884782"/>
              <a:gd name="connsiteY44527" fmla="*/ 1797439 h 5973007"/>
              <a:gd name="connsiteX44528" fmla="*/ 1168861 w 6884782"/>
              <a:gd name="connsiteY44528" fmla="*/ 1798833 h 5973007"/>
              <a:gd name="connsiteX44529" fmla="*/ 1168551 w 6884782"/>
              <a:gd name="connsiteY44529" fmla="*/ 1800537 h 5973007"/>
              <a:gd name="connsiteX44530" fmla="*/ 1162149 w 6884782"/>
              <a:gd name="connsiteY44530" fmla="*/ 1803480 h 5973007"/>
              <a:gd name="connsiteX44531" fmla="*/ 1165247 w 6884782"/>
              <a:gd name="connsiteY44531" fmla="*/ 1800227 h 5973007"/>
              <a:gd name="connsiteX44532" fmla="*/ 1167208 w 6884782"/>
              <a:gd name="connsiteY44532" fmla="*/ 1798678 h 5973007"/>
              <a:gd name="connsiteX44533" fmla="*/ 1168344 w 6884782"/>
              <a:gd name="connsiteY44533" fmla="*/ 1797129 h 5973007"/>
              <a:gd name="connsiteX44534" fmla="*/ 1169893 w 6884782"/>
              <a:gd name="connsiteY44534" fmla="*/ 1796200 h 5973007"/>
              <a:gd name="connsiteX44535" fmla="*/ 1169893 w 6884782"/>
              <a:gd name="connsiteY44535" fmla="*/ 1796045 h 5973007"/>
              <a:gd name="connsiteX44536" fmla="*/ 1169480 w 6884782"/>
              <a:gd name="connsiteY44536" fmla="*/ 1794341 h 5973007"/>
              <a:gd name="connsiteX44537" fmla="*/ 1170100 w 6884782"/>
              <a:gd name="connsiteY44537" fmla="*/ 1793412 h 5973007"/>
              <a:gd name="connsiteX44538" fmla="*/ 1171649 w 6884782"/>
              <a:gd name="connsiteY44538" fmla="*/ 1792792 h 5973007"/>
              <a:gd name="connsiteX44539" fmla="*/ 6247650 w 6884782"/>
              <a:gd name="connsiteY44539" fmla="*/ 1792303 h 5973007"/>
              <a:gd name="connsiteX44540" fmla="*/ 6251918 w 6884782"/>
              <a:gd name="connsiteY44540" fmla="*/ 1793584 h 5973007"/>
              <a:gd name="connsiteX44541" fmla="*/ 6234845 w 6884782"/>
              <a:gd name="connsiteY44541" fmla="*/ 1804396 h 5973007"/>
              <a:gd name="connsiteX44542" fmla="*/ 6233991 w 6884782"/>
              <a:gd name="connsiteY44542" fmla="*/ 1794438 h 5973007"/>
              <a:gd name="connsiteX44543" fmla="*/ 6247650 w 6884782"/>
              <a:gd name="connsiteY44543" fmla="*/ 1792303 h 5973007"/>
              <a:gd name="connsiteX44544" fmla="*/ 1283578 w 6884782"/>
              <a:gd name="connsiteY44544" fmla="*/ 1792018 h 5973007"/>
              <a:gd name="connsiteX44545" fmla="*/ 1284611 w 6884782"/>
              <a:gd name="connsiteY44545" fmla="*/ 1792327 h 5973007"/>
              <a:gd name="connsiteX44546" fmla="*/ 1284301 w 6884782"/>
              <a:gd name="connsiteY44546" fmla="*/ 1792173 h 5973007"/>
              <a:gd name="connsiteX44547" fmla="*/ 4715296 w 6884782"/>
              <a:gd name="connsiteY44547" fmla="*/ 1791592 h 5973007"/>
              <a:gd name="connsiteX44548" fmla="*/ 4717003 w 6884782"/>
              <a:gd name="connsiteY44548" fmla="*/ 1792588 h 5973007"/>
              <a:gd name="connsiteX44549" fmla="*/ 4712735 w 6884782"/>
              <a:gd name="connsiteY44549" fmla="*/ 1801835 h 5973007"/>
              <a:gd name="connsiteX44550" fmla="*/ 4704838 w 6884782"/>
              <a:gd name="connsiteY44550" fmla="*/ 1803827 h 5973007"/>
              <a:gd name="connsiteX44551" fmla="*/ 4704625 w 6884782"/>
              <a:gd name="connsiteY44551" fmla="*/ 1797994 h 5973007"/>
              <a:gd name="connsiteX44552" fmla="*/ 4710174 w 6884782"/>
              <a:gd name="connsiteY44552" fmla="*/ 1794722 h 5973007"/>
              <a:gd name="connsiteX44553" fmla="*/ 4713588 w 6884782"/>
              <a:gd name="connsiteY44553" fmla="*/ 1791876 h 5973007"/>
              <a:gd name="connsiteX44554" fmla="*/ 4715296 w 6884782"/>
              <a:gd name="connsiteY44554" fmla="*/ 1791592 h 5973007"/>
              <a:gd name="connsiteX44555" fmla="*/ 3776462 w 6884782"/>
              <a:gd name="connsiteY44555" fmla="*/ 1791308 h 5973007"/>
              <a:gd name="connsiteX44556" fmla="*/ 3781158 w 6884782"/>
              <a:gd name="connsiteY44556" fmla="*/ 1793726 h 5973007"/>
              <a:gd name="connsiteX44557" fmla="*/ 3782865 w 6884782"/>
              <a:gd name="connsiteY44557" fmla="*/ 1798136 h 5973007"/>
              <a:gd name="connsiteX44558" fmla="*/ 3779664 w 6884782"/>
              <a:gd name="connsiteY44558" fmla="*/ 1798705 h 5973007"/>
              <a:gd name="connsiteX44559" fmla="*/ 3778597 w 6884782"/>
              <a:gd name="connsiteY44559" fmla="*/ 1801551 h 5973007"/>
              <a:gd name="connsiteX44560" fmla="*/ 3777530 w 6884782"/>
              <a:gd name="connsiteY44560" fmla="*/ 1801267 h 5973007"/>
              <a:gd name="connsiteX44561" fmla="*/ 3776249 w 6884782"/>
              <a:gd name="connsiteY44561" fmla="*/ 1799132 h 5973007"/>
              <a:gd name="connsiteX44562" fmla="*/ 3776035 w 6884782"/>
              <a:gd name="connsiteY44562" fmla="*/ 1799275 h 5973007"/>
              <a:gd name="connsiteX44563" fmla="*/ 3771767 w 6884782"/>
              <a:gd name="connsiteY44563" fmla="*/ 1795433 h 5973007"/>
              <a:gd name="connsiteX44564" fmla="*/ 3776462 w 6884782"/>
              <a:gd name="connsiteY44564" fmla="*/ 1791308 h 5973007"/>
              <a:gd name="connsiteX44565" fmla="*/ 1387351 w 6884782"/>
              <a:gd name="connsiteY44565" fmla="*/ 1791089 h 5973007"/>
              <a:gd name="connsiteX44566" fmla="*/ 1392514 w 6884782"/>
              <a:gd name="connsiteY44566" fmla="*/ 1793257 h 5973007"/>
              <a:gd name="connsiteX44567" fmla="*/ 1392927 w 6884782"/>
              <a:gd name="connsiteY44567" fmla="*/ 1793877 h 5973007"/>
              <a:gd name="connsiteX44568" fmla="*/ 1393856 w 6884782"/>
              <a:gd name="connsiteY44568" fmla="*/ 1793877 h 5973007"/>
              <a:gd name="connsiteX44569" fmla="*/ 1394682 w 6884782"/>
              <a:gd name="connsiteY44569" fmla="*/ 1793722 h 5973007"/>
              <a:gd name="connsiteX44570" fmla="*/ 1395405 w 6884782"/>
              <a:gd name="connsiteY44570" fmla="*/ 1793877 h 5973007"/>
              <a:gd name="connsiteX44571" fmla="*/ 1397780 w 6884782"/>
              <a:gd name="connsiteY44571" fmla="*/ 1793877 h 5973007"/>
              <a:gd name="connsiteX44572" fmla="*/ 1402942 w 6884782"/>
              <a:gd name="connsiteY44572" fmla="*/ 1794651 h 5973007"/>
              <a:gd name="connsiteX44573" fmla="*/ 1397470 w 6884782"/>
              <a:gd name="connsiteY44573" fmla="*/ 1794961 h 5973007"/>
              <a:gd name="connsiteX44574" fmla="*/ 1400258 w 6884782"/>
              <a:gd name="connsiteY44574" fmla="*/ 1795580 h 5973007"/>
              <a:gd name="connsiteX44575" fmla="*/ 1403149 w 6884782"/>
              <a:gd name="connsiteY44575" fmla="*/ 1794961 h 5973007"/>
              <a:gd name="connsiteX44576" fmla="*/ 1404595 w 6884782"/>
              <a:gd name="connsiteY44576" fmla="*/ 1796355 h 5973007"/>
              <a:gd name="connsiteX44577" fmla="*/ 1402426 w 6884782"/>
              <a:gd name="connsiteY44577" fmla="*/ 1797904 h 5973007"/>
              <a:gd name="connsiteX44578" fmla="*/ 1399948 w 6884782"/>
              <a:gd name="connsiteY44578" fmla="*/ 1795890 h 5973007"/>
              <a:gd name="connsiteX44579" fmla="*/ 1396437 w 6884782"/>
              <a:gd name="connsiteY44579" fmla="*/ 1795890 h 5973007"/>
              <a:gd name="connsiteX44580" fmla="*/ 1395198 w 6884782"/>
              <a:gd name="connsiteY44580" fmla="*/ 1794961 h 5973007"/>
              <a:gd name="connsiteX44581" fmla="*/ 1389416 w 6884782"/>
              <a:gd name="connsiteY44581" fmla="*/ 1794186 h 5973007"/>
              <a:gd name="connsiteX44582" fmla="*/ 1393856 w 6884782"/>
              <a:gd name="connsiteY44582" fmla="*/ 1796045 h 5973007"/>
              <a:gd name="connsiteX44583" fmla="*/ 1408931 w 6884782"/>
              <a:gd name="connsiteY44583" fmla="*/ 1804874 h 5973007"/>
              <a:gd name="connsiteX44584" fmla="*/ 1414714 w 6884782"/>
              <a:gd name="connsiteY44584" fmla="*/ 1822997 h 5973007"/>
              <a:gd name="connsiteX44585" fmla="*/ 1409138 w 6884782"/>
              <a:gd name="connsiteY44585" fmla="*/ 1834614 h 5973007"/>
              <a:gd name="connsiteX44586" fmla="*/ 1408518 w 6884782"/>
              <a:gd name="connsiteY44586" fmla="*/ 1836627 h 5973007"/>
              <a:gd name="connsiteX44587" fmla="*/ 1411616 w 6884782"/>
              <a:gd name="connsiteY44587" fmla="*/ 1836782 h 5973007"/>
              <a:gd name="connsiteX44588" fmla="*/ 1414817 w 6884782"/>
              <a:gd name="connsiteY44588" fmla="*/ 1839725 h 5973007"/>
              <a:gd name="connsiteX44589" fmla="*/ 1414301 w 6884782"/>
              <a:gd name="connsiteY44589" fmla="*/ 1842359 h 5973007"/>
              <a:gd name="connsiteX44590" fmla="*/ 1408105 w 6884782"/>
              <a:gd name="connsiteY44590" fmla="*/ 1842978 h 5973007"/>
              <a:gd name="connsiteX44591" fmla="*/ 1406969 w 6884782"/>
              <a:gd name="connsiteY44591" fmla="*/ 1841120 h 5973007"/>
              <a:gd name="connsiteX44592" fmla="*/ 1404698 w 6884782"/>
              <a:gd name="connsiteY44592" fmla="*/ 1847470 h 5973007"/>
              <a:gd name="connsiteX44593" fmla="*/ 1390448 w 6884782"/>
              <a:gd name="connsiteY44593" fmla="*/ 1854750 h 5973007"/>
              <a:gd name="connsiteX44594" fmla="*/ 1389003 w 6884782"/>
              <a:gd name="connsiteY44594" fmla="*/ 1855370 h 5973007"/>
              <a:gd name="connsiteX44595" fmla="*/ 1391275 w 6884782"/>
              <a:gd name="connsiteY44595" fmla="*/ 1856609 h 5973007"/>
              <a:gd name="connsiteX44596" fmla="*/ 1392720 w 6884782"/>
              <a:gd name="connsiteY44596" fmla="*/ 1861566 h 5973007"/>
              <a:gd name="connsiteX44597" fmla="*/ 1391688 w 6884782"/>
              <a:gd name="connsiteY44597" fmla="*/ 1866832 h 5973007"/>
              <a:gd name="connsiteX44598" fmla="*/ 1386938 w 6884782"/>
              <a:gd name="connsiteY44598" fmla="*/ 1864199 h 5973007"/>
              <a:gd name="connsiteX44599" fmla="*/ 1387041 w 6884782"/>
              <a:gd name="connsiteY44599" fmla="*/ 1856609 h 5973007"/>
              <a:gd name="connsiteX44600" fmla="*/ 1388590 w 6884782"/>
              <a:gd name="connsiteY44600" fmla="*/ 1855525 h 5973007"/>
              <a:gd name="connsiteX44601" fmla="*/ 1376096 w 6884782"/>
              <a:gd name="connsiteY44601" fmla="*/ 1861876 h 5973007"/>
              <a:gd name="connsiteX44602" fmla="*/ 1344087 w 6884782"/>
              <a:gd name="connsiteY44602" fmla="*/ 1846696 h 5973007"/>
              <a:gd name="connsiteX44603" fmla="*/ 1344499 w 6884782"/>
              <a:gd name="connsiteY44603" fmla="*/ 1843753 h 5973007"/>
              <a:gd name="connsiteX44604" fmla="*/ 1344190 w 6884782"/>
              <a:gd name="connsiteY44604" fmla="*/ 1843598 h 5973007"/>
              <a:gd name="connsiteX44605" fmla="*/ 1343260 w 6884782"/>
              <a:gd name="connsiteY44605" fmla="*/ 1840810 h 5973007"/>
              <a:gd name="connsiteX44606" fmla="*/ 1344293 w 6884782"/>
              <a:gd name="connsiteY44606" fmla="*/ 1839106 h 5973007"/>
              <a:gd name="connsiteX44607" fmla="*/ 1343364 w 6884782"/>
              <a:gd name="connsiteY44607" fmla="*/ 1834304 h 5973007"/>
              <a:gd name="connsiteX44608" fmla="*/ 1343467 w 6884782"/>
              <a:gd name="connsiteY44608" fmla="*/ 1833375 h 5973007"/>
              <a:gd name="connsiteX44609" fmla="*/ 1342951 w 6884782"/>
              <a:gd name="connsiteY44609" fmla="*/ 1831826 h 5973007"/>
              <a:gd name="connsiteX44610" fmla="*/ 1339646 w 6884782"/>
              <a:gd name="connsiteY44610" fmla="*/ 1832136 h 5973007"/>
              <a:gd name="connsiteX44611" fmla="*/ 1337478 w 6884782"/>
              <a:gd name="connsiteY44611" fmla="*/ 1829813 h 5973007"/>
              <a:gd name="connsiteX44612" fmla="*/ 1337788 w 6884782"/>
              <a:gd name="connsiteY44612" fmla="*/ 1826559 h 5973007"/>
              <a:gd name="connsiteX44613" fmla="*/ 1339130 w 6884782"/>
              <a:gd name="connsiteY44613" fmla="*/ 1824391 h 5973007"/>
              <a:gd name="connsiteX44614" fmla="*/ 1342021 w 6884782"/>
              <a:gd name="connsiteY44614" fmla="*/ 1823926 h 5973007"/>
              <a:gd name="connsiteX44615" fmla="*/ 1342228 w 6884782"/>
              <a:gd name="connsiteY44615" fmla="*/ 1823926 h 5973007"/>
              <a:gd name="connsiteX44616" fmla="*/ 1346771 w 6884782"/>
              <a:gd name="connsiteY44616" fmla="*/ 1815252 h 5973007"/>
              <a:gd name="connsiteX44617" fmla="*/ 1354722 w 6884782"/>
              <a:gd name="connsiteY44617" fmla="*/ 1806113 h 5973007"/>
              <a:gd name="connsiteX44618" fmla="*/ 1352347 w 6884782"/>
              <a:gd name="connsiteY44618" fmla="*/ 1804874 h 5973007"/>
              <a:gd name="connsiteX44619" fmla="*/ 1347081 w 6884782"/>
              <a:gd name="connsiteY44619" fmla="*/ 1802396 h 5973007"/>
              <a:gd name="connsiteX44620" fmla="*/ 1347081 w 6884782"/>
              <a:gd name="connsiteY44620" fmla="*/ 1799763 h 5973007"/>
              <a:gd name="connsiteX44621" fmla="*/ 1348423 w 6884782"/>
              <a:gd name="connsiteY44621" fmla="*/ 1798368 h 5973007"/>
              <a:gd name="connsiteX44622" fmla="*/ 1359162 w 6884782"/>
              <a:gd name="connsiteY44622" fmla="*/ 1797594 h 5973007"/>
              <a:gd name="connsiteX44623" fmla="*/ 1362156 w 6884782"/>
              <a:gd name="connsiteY44623" fmla="*/ 1798833 h 5973007"/>
              <a:gd name="connsiteX44624" fmla="*/ 1367732 w 6884782"/>
              <a:gd name="connsiteY44624" fmla="*/ 1795425 h 5973007"/>
              <a:gd name="connsiteX44625" fmla="*/ 1377025 w 6884782"/>
              <a:gd name="connsiteY44625" fmla="*/ 1792637 h 5973007"/>
              <a:gd name="connsiteX44626" fmla="*/ 1386422 w 6884782"/>
              <a:gd name="connsiteY44626" fmla="*/ 1792947 h 5973007"/>
              <a:gd name="connsiteX44627" fmla="*/ 1389209 w 6884782"/>
              <a:gd name="connsiteY44627" fmla="*/ 1794186 h 5973007"/>
              <a:gd name="connsiteX44628" fmla="*/ 1391481 w 6884782"/>
              <a:gd name="connsiteY44628" fmla="*/ 1794031 h 5973007"/>
              <a:gd name="connsiteX44629" fmla="*/ 1392617 w 6884782"/>
              <a:gd name="connsiteY44629" fmla="*/ 1793877 h 5973007"/>
              <a:gd name="connsiteX44630" fmla="*/ 1390758 w 6884782"/>
              <a:gd name="connsiteY44630" fmla="*/ 1792947 h 5973007"/>
              <a:gd name="connsiteX44631" fmla="*/ 1389106 w 6884782"/>
              <a:gd name="connsiteY44631" fmla="*/ 1793412 h 5973007"/>
              <a:gd name="connsiteX44632" fmla="*/ 1387351 w 6884782"/>
              <a:gd name="connsiteY44632" fmla="*/ 1791089 h 5973007"/>
              <a:gd name="connsiteX44633" fmla="*/ 1323758 w 6884782"/>
              <a:gd name="connsiteY44633" fmla="*/ 1790701 h 5973007"/>
              <a:gd name="connsiteX44634" fmla="*/ 1330663 w 6884782"/>
              <a:gd name="connsiteY44634" fmla="*/ 1791553 h 5973007"/>
              <a:gd name="connsiteX44635" fmla="*/ 1332419 w 6884782"/>
              <a:gd name="connsiteY44635" fmla="*/ 1792482 h 5973007"/>
              <a:gd name="connsiteX44636" fmla="*/ 1332625 w 6884782"/>
              <a:gd name="connsiteY44636" fmla="*/ 1794651 h 5973007"/>
              <a:gd name="connsiteX44637" fmla="*/ 1321576 w 6884782"/>
              <a:gd name="connsiteY44637" fmla="*/ 1796665 h 5973007"/>
              <a:gd name="connsiteX44638" fmla="*/ 1319408 w 6884782"/>
              <a:gd name="connsiteY44638" fmla="*/ 1795425 h 5973007"/>
              <a:gd name="connsiteX44639" fmla="*/ 1317446 w 6884782"/>
              <a:gd name="connsiteY44639" fmla="*/ 1795115 h 5973007"/>
              <a:gd name="connsiteX44640" fmla="*/ 1313213 w 6884782"/>
              <a:gd name="connsiteY44640" fmla="*/ 1790779 h 5973007"/>
              <a:gd name="connsiteX44641" fmla="*/ 1323758 w 6884782"/>
              <a:gd name="connsiteY44641" fmla="*/ 1790701 h 5973007"/>
              <a:gd name="connsiteX44642" fmla="*/ 739212 w 6884782"/>
              <a:gd name="connsiteY44642" fmla="*/ 1790314 h 5973007"/>
              <a:gd name="connsiteX44643" fmla="*/ 741793 w 6884782"/>
              <a:gd name="connsiteY44643" fmla="*/ 1790623 h 5973007"/>
              <a:gd name="connsiteX44644" fmla="*/ 745097 w 6884782"/>
              <a:gd name="connsiteY44644" fmla="*/ 1798213 h 5973007"/>
              <a:gd name="connsiteX44645" fmla="*/ 739005 w 6884782"/>
              <a:gd name="connsiteY44645" fmla="*/ 1792173 h 5973007"/>
              <a:gd name="connsiteX44646" fmla="*/ 739212 w 6884782"/>
              <a:gd name="connsiteY44646" fmla="*/ 1790314 h 5973007"/>
              <a:gd name="connsiteX44647" fmla="*/ 5927520 w 6884782"/>
              <a:gd name="connsiteY44647" fmla="*/ 1790169 h 5973007"/>
              <a:gd name="connsiteX44648" fmla="*/ 5929868 w 6884782"/>
              <a:gd name="connsiteY44648" fmla="*/ 1790169 h 5973007"/>
              <a:gd name="connsiteX44649" fmla="*/ 5927947 w 6884782"/>
              <a:gd name="connsiteY44649" fmla="*/ 1797567 h 5973007"/>
              <a:gd name="connsiteX44650" fmla="*/ 5924532 w 6884782"/>
              <a:gd name="connsiteY44650" fmla="*/ 1798705 h 5973007"/>
              <a:gd name="connsiteX44651" fmla="*/ 5924532 w 6884782"/>
              <a:gd name="connsiteY44651" fmla="*/ 1794865 h 5973007"/>
              <a:gd name="connsiteX44652" fmla="*/ 5926666 w 6884782"/>
              <a:gd name="connsiteY44652" fmla="*/ 1793726 h 5973007"/>
              <a:gd name="connsiteX44653" fmla="*/ 5927520 w 6884782"/>
              <a:gd name="connsiteY44653" fmla="*/ 1790169 h 5973007"/>
              <a:gd name="connsiteX44654" fmla="*/ 957082 w 6884782"/>
              <a:gd name="connsiteY44654" fmla="*/ 1790159 h 5973007"/>
              <a:gd name="connsiteX44655" fmla="*/ 958528 w 6884782"/>
              <a:gd name="connsiteY44655" fmla="*/ 1796819 h 5973007"/>
              <a:gd name="connsiteX44656" fmla="*/ 953365 w 6884782"/>
              <a:gd name="connsiteY44656" fmla="*/ 1796355 h 5973007"/>
              <a:gd name="connsiteX44657" fmla="*/ 951816 w 6884782"/>
              <a:gd name="connsiteY44657" fmla="*/ 1793722 h 5973007"/>
              <a:gd name="connsiteX44658" fmla="*/ 953571 w 6884782"/>
              <a:gd name="connsiteY44658" fmla="*/ 1791243 h 5973007"/>
              <a:gd name="connsiteX44659" fmla="*/ 957082 w 6884782"/>
              <a:gd name="connsiteY44659" fmla="*/ 1790159 h 5973007"/>
              <a:gd name="connsiteX44660" fmla="*/ 710403 w 6884782"/>
              <a:gd name="connsiteY44660" fmla="*/ 1789694 h 5973007"/>
              <a:gd name="connsiteX44661" fmla="*/ 714843 w 6884782"/>
              <a:gd name="connsiteY44661" fmla="*/ 1790934 h 5973007"/>
              <a:gd name="connsiteX44662" fmla="*/ 717321 w 6884782"/>
              <a:gd name="connsiteY44662" fmla="*/ 1798678 h 5973007"/>
              <a:gd name="connsiteX44663" fmla="*/ 713811 w 6884782"/>
              <a:gd name="connsiteY44663" fmla="*/ 1798368 h 5973007"/>
              <a:gd name="connsiteX44664" fmla="*/ 709887 w 6884782"/>
              <a:gd name="connsiteY44664" fmla="*/ 1791708 h 5973007"/>
              <a:gd name="connsiteX44665" fmla="*/ 710403 w 6884782"/>
              <a:gd name="connsiteY44665" fmla="*/ 1789694 h 5973007"/>
              <a:gd name="connsiteX44666" fmla="*/ 871586 w 6884782"/>
              <a:gd name="connsiteY44666" fmla="*/ 1789385 h 5973007"/>
              <a:gd name="connsiteX44667" fmla="*/ 872619 w 6884782"/>
              <a:gd name="connsiteY44667" fmla="*/ 1790934 h 5973007"/>
              <a:gd name="connsiteX44668" fmla="*/ 870966 w 6884782"/>
              <a:gd name="connsiteY44668" fmla="*/ 1792792 h 5973007"/>
              <a:gd name="connsiteX44669" fmla="*/ 865803 w 6884782"/>
              <a:gd name="connsiteY44669" fmla="*/ 1793567 h 5973007"/>
              <a:gd name="connsiteX44670" fmla="*/ 864874 w 6884782"/>
              <a:gd name="connsiteY44670" fmla="*/ 1792018 h 5973007"/>
              <a:gd name="connsiteX44671" fmla="*/ 871586 w 6884782"/>
              <a:gd name="connsiteY44671" fmla="*/ 1789385 h 5973007"/>
              <a:gd name="connsiteX44672" fmla="*/ 1176089 w 6884782"/>
              <a:gd name="connsiteY44672" fmla="*/ 1789075 h 5973007"/>
              <a:gd name="connsiteX44673" fmla="*/ 1182491 w 6884782"/>
              <a:gd name="connsiteY44673" fmla="*/ 1794496 h 5973007"/>
              <a:gd name="connsiteX44674" fmla="*/ 1182284 w 6884782"/>
              <a:gd name="connsiteY44674" fmla="*/ 1795580 h 5973007"/>
              <a:gd name="connsiteX44675" fmla="*/ 1176501 w 6884782"/>
              <a:gd name="connsiteY44675" fmla="*/ 1803635 h 5973007"/>
              <a:gd name="connsiteX44676" fmla="*/ 1172268 w 6884782"/>
              <a:gd name="connsiteY44676" fmla="*/ 1799298 h 5973007"/>
              <a:gd name="connsiteX44677" fmla="*/ 1172268 w 6884782"/>
              <a:gd name="connsiteY44677" fmla="*/ 1796819 h 5973007"/>
              <a:gd name="connsiteX44678" fmla="*/ 1176089 w 6884782"/>
              <a:gd name="connsiteY44678" fmla="*/ 1789075 h 5973007"/>
              <a:gd name="connsiteX44679" fmla="*/ 4688832 w 6884782"/>
              <a:gd name="connsiteY44679" fmla="*/ 1788604 h 5973007"/>
              <a:gd name="connsiteX44680" fmla="*/ 4691393 w 6884782"/>
              <a:gd name="connsiteY44680" fmla="*/ 1789173 h 5973007"/>
              <a:gd name="connsiteX44681" fmla="*/ 4692033 w 6884782"/>
              <a:gd name="connsiteY44681" fmla="*/ 1792019 h 5973007"/>
              <a:gd name="connsiteX44682" fmla="*/ 4677947 w 6884782"/>
              <a:gd name="connsiteY44682" fmla="*/ 1799417 h 5973007"/>
              <a:gd name="connsiteX44683" fmla="*/ 4674959 w 6884782"/>
              <a:gd name="connsiteY44683" fmla="*/ 1798563 h 5973007"/>
              <a:gd name="connsiteX44684" fmla="*/ 4672185 w 6884782"/>
              <a:gd name="connsiteY44684" fmla="*/ 1798848 h 5973007"/>
              <a:gd name="connsiteX44685" fmla="*/ 4665996 w 6884782"/>
              <a:gd name="connsiteY44685" fmla="*/ 1794722 h 5973007"/>
              <a:gd name="connsiteX44686" fmla="*/ 4688832 w 6884782"/>
              <a:gd name="connsiteY44686" fmla="*/ 1788604 h 5973007"/>
              <a:gd name="connsiteX44687" fmla="*/ 5160703 w 6884782"/>
              <a:gd name="connsiteY44687" fmla="*/ 1788035 h 5973007"/>
              <a:gd name="connsiteX44688" fmla="*/ 5166679 w 6884782"/>
              <a:gd name="connsiteY44688" fmla="*/ 1791308 h 5973007"/>
              <a:gd name="connsiteX44689" fmla="*/ 5171161 w 6884782"/>
              <a:gd name="connsiteY44689" fmla="*/ 1792873 h 5973007"/>
              <a:gd name="connsiteX44690" fmla="*/ 5172654 w 6884782"/>
              <a:gd name="connsiteY44690" fmla="*/ 1796287 h 5973007"/>
              <a:gd name="connsiteX44691" fmla="*/ 5162624 w 6884782"/>
              <a:gd name="connsiteY44691" fmla="*/ 1796998 h 5973007"/>
              <a:gd name="connsiteX44692" fmla="*/ 5156008 w 6884782"/>
              <a:gd name="connsiteY44692" fmla="*/ 1791165 h 5973007"/>
              <a:gd name="connsiteX44693" fmla="*/ 5160703 w 6884782"/>
              <a:gd name="connsiteY44693" fmla="*/ 1788035 h 5973007"/>
              <a:gd name="connsiteX44694" fmla="*/ 1074071 w 6884782"/>
              <a:gd name="connsiteY44694" fmla="*/ 1787835 h 5973007"/>
              <a:gd name="connsiteX44695" fmla="*/ 1073245 w 6884782"/>
              <a:gd name="connsiteY44695" fmla="*/ 1798833 h 5973007"/>
              <a:gd name="connsiteX44696" fmla="*/ 1068496 w 6884782"/>
              <a:gd name="connsiteY44696" fmla="*/ 1794031 h 5973007"/>
              <a:gd name="connsiteX44697" fmla="*/ 1074071 w 6884782"/>
              <a:gd name="connsiteY44697" fmla="*/ 1787835 h 5973007"/>
              <a:gd name="connsiteX44698" fmla="*/ 4761608 w 6884782"/>
              <a:gd name="connsiteY44698" fmla="*/ 1787609 h 5973007"/>
              <a:gd name="connsiteX44699" fmla="*/ 4769931 w 6884782"/>
              <a:gd name="connsiteY44699" fmla="*/ 1791450 h 5973007"/>
              <a:gd name="connsiteX44700" fmla="*/ 4770358 w 6884782"/>
              <a:gd name="connsiteY44700" fmla="*/ 1793584 h 5973007"/>
              <a:gd name="connsiteX44701" fmla="*/ 4761608 w 6884782"/>
              <a:gd name="connsiteY44701" fmla="*/ 1787609 h 5973007"/>
              <a:gd name="connsiteX44702" fmla="*/ 5341896 w 6884782"/>
              <a:gd name="connsiteY44702" fmla="*/ 1786471 h 5973007"/>
              <a:gd name="connsiteX44703" fmla="*/ 5368787 w 6884782"/>
              <a:gd name="connsiteY44703" fmla="*/ 1793157 h 5973007"/>
              <a:gd name="connsiteX44704" fmla="*/ 5371562 w 6884782"/>
              <a:gd name="connsiteY44704" fmla="*/ 1800412 h 5973007"/>
              <a:gd name="connsiteX44705" fmla="*/ 5366653 w 6884782"/>
              <a:gd name="connsiteY44705" fmla="*/ 1801693 h 5973007"/>
              <a:gd name="connsiteX44706" fmla="*/ 5371135 w 6884782"/>
              <a:gd name="connsiteY44706" fmla="*/ 1806246 h 5973007"/>
              <a:gd name="connsiteX44707" fmla="*/ 5372415 w 6884782"/>
              <a:gd name="connsiteY44707" fmla="*/ 1810229 h 5973007"/>
              <a:gd name="connsiteX44708" fmla="*/ 5381166 w 6884782"/>
              <a:gd name="connsiteY44708" fmla="*/ 1811225 h 5973007"/>
              <a:gd name="connsiteX44709" fmla="*/ 5386074 w 6884782"/>
              <a:gd name="connsiteY44709" fmla="*/ 1815493 h 5973007"/>
              <a:gd name="connsiteX44710" fmla="*/ 5386288 w 6884782"/>
              <a:gd name="connsiteY44710" fmla="*/ 1824314 h 5973007"/>
              <a:gd name="connsiteX44711" fmla="*/ 5387781 w 6884782"/>
              <a:gd name="connsiteY44711" fmla="*/ 1830858 h 5973007"/>
              <a:gd name="connsiteX44712" fmla="*/ 5373696 w 6884782"/>
              <a:gd name="connsiteY44712" fmla="*/ 1839820 h 5973007"/>
              <a:gd name="connsiteX44713" fmla="*/ 5369214 w 6884782"/>
              <a:gd name="connsiteY44713" fmla="*/ 1831285 h 5973007"/>
              <a:gd name="connsiteX44714" fmla="*/ 5369854 w 6884782"/>
              <a:gd name="connsiteY44714" fmla="*/ 1830858 h 5973007"/>
              <a:gd name="connsiteX44715" fmla="*/ 5366867 w 6884782"/>
              <a:gd name="connsiteY44715" fmla="*/ 1829151 h 5973007"/>
              <a:gd name="connsiteX44716" fmla="*/ 5364305 w 6884782"/>
              <a:gd name="connsiteY44716" fmla="*/ 1829436 h 5973007"/>
              <a:gd name="connsiteX44717" fmla="*/ 5363025 w 6884782"/>
              <a:gd name="connsiteY44717" fmla="*/ 1828866 h 5973007"/>
              <a:gd name="connsiteX44718" fmla="*/ 5358756 w 6884782"/>
              <a:gd name="connsiteY44718" fmla="*/ 1836691 h 5973007"/>
              <a:gd name="connsiteX44719" fmla="*/ 5352781 w 6884782"/>
              <a:gd name="connsiteY44719" fmla="*/ 1843235 h 5973007"/>
              <a:gd name="connsiteX44720" fmla="*/ 5352781 w 6884782"/>
              <a:gd name="connsiteY44720" fmla="*/ 1839394 h 5973007"/>
              <a:gd name="connsiteX44721" fmla="*/ 5353421 w 6884782"/>
              <a:gd name="connsiteY44721" fmla="*/ 1837830 h 5973007"/>
              <a:gd name="connsiteX44722" fmla="*/ 5353208 w 6884782"/>
              <a:gd name="connsiteY44722" fmla="*/ 1836549 h 5973007"/>
              <a:gd name="connsiteX44723" fmla="*/ 5354275 w 6884782"/>
              <a:gd name="connsiteY44723" fmla="*/ 1836122 h 5973007"/>
              <a:gd name="connsiteX44724" fmla="*/ 5355768 w 6884782"/>
              <a:gd name="connsiteY44724" fmla="*/ 1832992 h 5973007"/>
              <a:gd name="connsiteX44725" fmla="*/ 5357049 w 6884782"/>
              <a:gd name="connsiteY44725" fmla="*/ 1825025 h 5973007"/>
              <a:gd name="connsiteX44726" fmla="*/ 5357263 w 6884782"/>
              <a:gd name="connsiteY44726" fmla="*/ 1824456 h 5973007"/>
              <a:gd name="connsiteX44727" fmla="*/ 5355128 w 6884782"/>
              <a:gd name="connsiteY44727" fmla="*/ 1820899 h 5973007"/>
              <a:gd name="connsiteX44728" fmla="*/ 5359824 w 6884782"/>
              <a:gd name="connsiteY44728" fmla="*/ 1803401 h 5973007"/>
              <a:gd name="connsiteX44729" fmla="*/ 5362598 w 6884782"/>
              <a:gd name="connsiteY44729" fmla="*/ 1802120 h 5973007"/>
              <a:gd name="connsiteX44730" fmla="*/ 5354061 w 6884782"/>
              <a:gd name="connsiteY44730" fmla="*/ 1800412 h 5973007"/>
              <a:gd name="connsiteX44731" fmla="*/ 5341896 w 6884782"/>
              <a:gd name="connsiteY44731" fmla="*/ 1786471 h 5973007"/>
              <a:gd name="connsiteX44732" fmla="*/ 1543784 w 6884782"/>
              <a:gd name="connsiteY44732" fmla="*/ 1785822 h 5973007"/>
              <a:gd name="connsiteX44733" fmla="*/ 1545539 w 6884782"/>
              <a:gd name="connsiteY44733" fmla="*/ 1787371 h 5973007"/>
              <a:gd name="connsiteX44734" fmla="*/ 1540996 w 6884782"/>
              <a:gd name="connsiteY44734" fmla="*/ 1795270 h 5973007"/>
              <a:gd name="connsiteX44735" fmla="*/ 1538828 w 6884782"/>
              <a:gd name="connsiteY44735" fmla="*/ 1789849 h 5973007"/>
              <a:gd name="connsiteX44736" fmla="*/ 1543784 w 6884782"/>
              <a:gd name="connsiteY44736" fmla="*/ 1785822 h 5973007"/>
              <a:gd name="connsiteX44737" fmla="*/ 1776317 w 6884782"/>
              <a:gd name="connsiteY44737" fmla="*/ 1785202 h 5973007"/>
              <a:gd name="connsiteX44738" fmla="*/ 1770844 w 6884782"/>
              <a:gd name="connsiteY44738" fmla="*/ 1803635 h 5973007"/>
              <a:gd name="connsiteX44739" fmla="*/ 1764442 w 6884782"/>
              <a:gd name="connsiteY44739" fmla="*/ 1804100 h 5973007"/>
              <a:gd name="connsiteX44740" fmla="*/ 1762377 w 6884782"/>
              <a:gd name="connsiteY44740" fmla="*/ 1797594 h 5973007"/>
              <a:gd name="connsiteX44741" fmla="*/ 1776317 w 6884782"/>
              <a:gd name="connsiteY44741" fmla="*/ 1785202 h 5973007"/>
              <a:gd name="connsiteX44742" fmla="*/ 5183112 w 6884782"/>
              <a:gd name="connsiteY44742" fmla="*/ 1784479 h 5973007"/>
              <a:gd name="connsiteX44743" fmla="*/ 5190581 w 6884782"/>
              <a:gd name="connsiteY44743" fmla="*/ 1787466 h 5973007"/>
              <a:gd name="connsiteX44744" fmla="*/ 5175856 w 6884782"/>
              <a:gd name="connsiteY44744" fmla="*/ 1799417 h 5973007"/>
              <a:gd name="connsiteX44745" fmla="*/ 5174362 w 6884782"/>
              <a:gd name="connsiteY44745" fmla="*/ 1788462 h 5973007"/>
              <a:gd name="connsiteX44746" fmla="*/ 5183112 w 6884782"/>
              <a:gd name="connsiteY44746" fmla="*/ 1784479 h 5973007"/>
              <a:gd name="connsiteX44747" fmla="*/ 1213984 w 6884782"/>
              <a:gd name="connsiteY44747" fmla="*/ 1784428 h 5973007"/>
              <a:gd name="connsiteX44748" fmla="*/ 1222760 w 6884782"/>
              <a:gd name="connsiteY44748" fmla="*/ 1785512 h 5973007"/>
              <a:gd name="connsiteX44749" fmla="*/ 1212331 w 6884782"/>
              <a:gd name="connsiteY44749" fmla="*/ 1792327 h 5973007"/>
              <a:gd name="connsiteX44750" fmla="*/ 1211919 w 6884782"/>
              <a:gd name="connsiteY44750" fmla="*/ 1787680 h 5973007"/>
              <a:gd name="connsiteX44751" fmla="*/ 1213984 w 6884782"/>
              <a:gd name="connsiteY44751" fmla="*/ 1784428 h 5973007"/>
              <a:gd name="connsiteX44752" fmla="*/ 5945447 w 6884782"/>
              <a:gd name="connsiteY44752" fmla="*/ 1784336 h 5973007"/>
              <a:gd name="connsiteX44753" fmla="*/ 5948222 w 6884782"/>
              <a:gd name="connsiteY44753" fmla="*/ 1785190 h 5973007"/>
              <a:gd name="connsiteX44754" fmla="*/ 5947368 w 6884782"/>
              <a:gd name="connsiteY44754" fmla="*/ 1791165 h 5973007"/>
              <a:gd name="connsiteX44755" fmla="*/ 5937124 w 6884782"/>
              <a:gd name="connsiteY44755" fmla="*/ 1794295 h 5973007"/>
              <a:gd name="connsiteX44756" fmla="*/ 5936911 w 6884782"/>
              <a:gd name="connsiteY44756" fmla="*/ 1789458 h 5973007"/>
              <a:gd name="connsiteX44757" fmla="*/ 5945447 w 6884782"/>
              <a:gd name="connsiteY44757" fmla="*/ 1784336 h 5973007"/>
              <a:gd name="connsiteX44758" fmla="*/ 5664587 w 6884782"/>
              <a:gd name="connsiteY44758" fmla="*/ 1784052 h 5973007"/>
              <a:gd name="connsiteX44759" fmla="*/ 5669496 w 6884782"/>
              <a:gd name="connsiteY44759" fmla="*/ 1786755 h 5973007"/>
              <a:gd name="connsiteX44760" fmla="*/ 5672910 w 6884782"/>
              <a:gd name="connsiteY44760" fmla="*/ 1787039 h 5973007"/>
              <a:gd name="connsiteX44761" fmla="*/ 5681020 w 6884782"/>
              <a:gd name="connsiteY44761" fmla="*/ 1787324 h 5973007"/>
              <a:gd name="connsiteX44762" fmla="*/ 5682301 w 6884782"/>
              <a:gd name="connsiteY44762" fmla="*/ 1793299 h 5973007"/>
              <a:gd name="connsiteX44763" fmla="*/ 5662239 w 6884782"/>
              <a:gd name="connsiteY44763" fmla="*/ 1799559 h 5973007"/>
              <a:gd name="connsiteX44764" fmla="*/ 5660746 w 6884782"/>
              <a:gd name="connsiteY44764" fmla="*/ 1793015 h 5973007"/>
              <a:gd name="connsiteX44765" fmla="*/ 5663093 w 6884782"/>
              <a:gd name="connsiteY44765" fmla="*/ 1790027 h 5973007"/>
              <a:gd name="connsiteX44766" fmla="*/ 5661386 w 6884782"/>
              <a:gd name="connsiteY44766" fmla="*/ 1787324 h 5973007"/>
              <a:gd name="connsiteX44767" fmla="*/ 5664587 w 6884782"/>
              <a:gd name="connsiteY44767" fmla="*/ 1784052 h 5973007"/>
              <a:gd name="connsiteX44768" fmla="*/ 4618617 w 6884782"/>
              <a:gd name="connsiteY44768" fmla="*/ 1784052 h 5973007"/>
              <a:gd name="connsiteX44769" fmla="*/ 4624166 w 6884782"/>
              <a:gd name="connsiteY44769" fmla="*/ 1785190 h 5973007"/>
              <a:gd name="connsiteX44770" fmla="*/ 4627154 w 6884782"/>
              <a:gd name="connsiteY44770" fmla="*/ 1786186 h 5973007"/>
              <a:gd name="connsiteX44771" fmla="*/ 4629715 w 6884782"/>
              <a:gd name="connsiteY44771" fmla="*/ 1786186 h 5973007"/>
              <a:gd name="connsiteX44772" fmla="*/ 4633343 w 6884782"/>
              <a:gd name="connsiteY44772" fmla="*/ 1789316 h 5973007"/>
              <a:gd name="connsiteX44773" fmla="*/ 4630995 w 6884782"/>
              <a:gd name="connsiteY44773" fmla="*/ 1789316 h 5973007"/>
              <a:gd name="connsiteX44774" fmla="*/ 4628007 w 6884782"/>
              <a:gd name="connsiteY44774" fmla="*/ 1788320 h 5973007"/>
              <a:gd name="connsiteX44775" fmla="*/ 4625873 w 6884782"/>
              <a:gd name="connsiteY44775" fmla="*/ 1789316 h 5973007"/>
              <a:gd name="connsiteX44776" fmla="*/ 4618617 w 6884782"/>
              <a:gd name="connsiteY44776" fmla="*/ 1784052 h 5973007"/>
              <a:gd name="connsiteX44777" fmla="*/ 1802854 w 6884782"/>
              <a:gd name="connsiteY44777" fmla="*/ 1783963 h 5973007"/>
              <a:gd name="connsiteX44778" fmla="*/ 1800582 w 6884782"/>
              <a:gd name="connsiteY44778" fmla="*/ 1801467 h 5973007"/>
              <a:gd name="connsiteX44779" fmla="*/ 1785817 w 6884782"/>
              <a:gd name="connsiteY44779" fmla="*/ 1809831 h 5973007"/>
              <a:gd name="connsiteX44780" fmla="*/ 1802854 w 6884782"/>
              <a:gd name="connsiteY44780" fmla="*/ 1783963 h 5973007"/>
              <a:gd name="connsiteX44781" fmla="*/ 1365796 w 6884782"/>
              <a:gd name="connsiteY44781" fmla="*/ 1783905 h 5973007"/>
              <a:gd name="connsiteX44782" fmla="*/ 1364428 w 6884782"/>
              <a:gd name="connsiteY44782" fmla="*/ 1794341 h 5973007"/>
              <a:gd name="connsiteX44783" fmla="*/ 1357406 w 6884782"/>
              <a:gd name="connsiteY44783" fmla="*/ 1788455 h 5973007"/>
              <a:gd name="connsiteX44784" fmla="*/ 1365796 w 6884782"/>
              <a:gd name="connsiteY44784" fmla="*/ 1783905 h 5973007"/>
              <a:gd name="connsiteX44785" fmla="*/ 5256529 w 6884782"/>
              <a:gd name="connsiteY44785" fmla="*/ 1783625 h 5973007"/>
              <a:gd name="connsiteX44786" fmla="*/ 5267840 w 6884782"/>
              <a:gd name="connsiteY44786" fmla="*/ 1793015 h 5973007"/>
              <a:gd name="connsiteX44787" fmla="*/ 5268053 w 6884782"/>
              <a:gd name="connsiteY44787" fmla="*/ 1797994 h 5973007"/>
              <a:gd name="connsiteX44788" fmla="*/ 5259943 w 6884782"/>
              <a:gd name="connsiteY44788" fmla="*/ 1804681 h 5973007"/>
              <a:gd name="connsiteX44789" fmla="*/ 5249272 w 6884782"/>
              <a:gd name="connsiteY44789" fmla="*/ 1796287 h 5973007"/>
              <a:gd name="connsiteX44790" fmla="*/ 5250126 w 6884782"/>
              <a:gd name="connsiteY44790" fmla="*/ 1790738 h 5973007"/>
              <a:gd name="connsiteX44791" fmla="*/ 5256529 w 6884782"/>
              <a:gd name="connsiteY44791" fmla="*/ 1783625 h 5973007"/>
              <a:gd name="connsiteX44792" fmla="*/ 1501862 w 6884782"/>
              <a:gd name="connsiteY44792" fmla="*/ 1783499 h 5973007"/>
              <a:gd name="connsiteX44793" fmla="*/ 1508058 w 6884782"/>
              <a:gd name="connsiteY44793" fmla="*/ 1787371 h 5973007"/>
              <a:gd name="connsiteX44794" fmla="*/ 1508264 w 6884782"/>
              <a:gd name="connsiteY44794" fmla="*/ 1788920 h 5973007"/>
              <a:gd name="connsiteX44795" fmla="*/ 1501862 w 6884782"/>
              <a:gd name="connsiteY44795" fmla="*/ 1783499 h 5973007"/>
              <a:gd name="connsiteX44796" fmla="*/ 5822091 w 6884782"/>
              <a:gd name="connsiteY44796" fmla="*/ 1783340 h 5973007"/>
              <a:gd name="connsiteX44797" fmla="*/ 5837244 w 6884782"/>
              <a:gd name="connsiteY44797" fmla="*/ 1788604 h 5973007"/>
              <a:gd name="connsiteX44798" fmla="*/ 5813981 w 6884782"/>
              <a:gd name="connsiteY44798" fmla="*/ 1804823 h 5973007"/>
              <a:gd name="connsiteX44799" fmla="*/ 5810139 w 6884782"/>
              <a:gd name="connsiteY44799" fmla="*/ 1793584 h 5973007"/>
              <a:gd name="connsiteX44800" fmla="*/ 5822091 w 6884782"/>
              <a:gd name="connsiteY44800" fmla="*/ 1783340 h 5973007"/>
              <a:gd name="connsiteX44801" fmla="*/ 829354 w 6884782"/>
              <a:gd name="connsiteY44801" fmla="*/ 1782879 h 5973007"/>
              <a:gd name="connsiteX44802" fmla="*/ 832142 w 6884782"/>
              <a:gd name="connsiteY44802" fmla="*/ 1784428 h 5973007"/>
              <a:gd name="connsiteX44803" fmla="*/ 835653 w 6884782"/>
              <a:gd name="connsiteY44803" fmla="*/ 1788146 h 5973007"/>
              <a:gd name="connsiteX44804" fmla="*/ 838337 w 6884782"/>
              <a:gd name="connsiteY44804" fmla="*/ 1789230 h 5973007"/>
              <a:gd name="connsiteX44805" fmla="*/ 838337 w 6884782"/>
              <a:gd name="connsiteY44805" fmla="*/ 1790004 h 5973007"/>
              <a:gd name="connsiteX44806" fmla="*/ 827702 w 6884782"/>
              <a:gd name="connsiteY44806" fmla="*/ 1787371 h 5973007"/>
              <a:gd name="connsiteX44807" fmla="*/ 826773 w 6884782"/>
              <a:gd name="connsiteY44807" fmla="*/ 1785822 h 5973007"/>
              <a:gd name="connsiteX44808" fmla="*/ 827805 w 6884782"/>
              <a:gd name="connsiteY44808" fmla="*/ 1783963 h 5973007"/>
              <a:gd name="connsiteX44809" fmla="*/ 829354 w 6884782"/>
              <a:gd name="connsiteY44809" fmla="*/ 1782879 h 5973007"/>
              <a:gd name="connsiteX44810" fmla="*/ 1117697 w 6884782"/>
              <a:gd name="connsiteY44810" fmla="*/ 1782801 h 5973007"/>
              <a:gd name="connsiteX44811" fmla="*/ 1120743 w 6884782"/>
              <a:gd name="connsiteY44811" fmla="*/ 1783344 h 5973007"/>
              <a:gd name="connsiteX44812" fmla="*/ 1118678 w 6884782"/>
              <a:gd name="connsiteY44812" fmla="*/ 1789385 h 5973007"/>
              <a:gd name="connsiteX44813" fmla="*/ 1114341 w 6884782"/>
              <a:gd name="connsiteY44813" fmla="*/ 1783653 h 5973007"/>
              <a:gd name="connsiteX44814" fmla="*/ 1117697 w 6884782"/>
              <a:gd name="connsiteY44814" fmla="*/ 1782801 h 5973007"/>
              <a:gd name="connsiteX44815" fmla="*/ 1407176 w 6884782"/>
              <a:gd name="connsiteY44815" fmla="*/ 1782414 h 5973007"/>
              <a:gd name="connsiteX44816" fmla="*/ 1416675 w 6884782"/>
              <a:gd name="connsiteY44816" fmla="*/ 1791398 h 5973007"/>
              <a:gd name="connsiteX44817" fmla="*/ 1404491 w 6884782"/>
              <a:gd name="connsiteY44817" fmla="*/ 1787835 h 5973007"/>
              <a:gd name="connsiteX44818" fmla="*/ 1407176 w 6884782"/>
              <a:gd name="connsiteY44818" fmla="*/ 1782414 h 5973007"/>
              <a:gd name="connsiteX44819" fmla="*/ 6111275 w 6884782"/>
              <a:gd name="connsiteY44819" fmla="*/ 1782345 h 5973007"/>
              <a:gd name="connsiteX44820" fmla="*/ 6118104 w 6884782"/>
              <a:gd name="connsiteY44820" fmla="*/ 1797425 h 5973007"/>
              <a:gd name="connsiteX44821" fmla="*/ 6113409 w 6884782"/>
              <a:gd name="connsiteY44821" fmla="*/ 1799844 h 5973007"/>
              <a:gd name="connsiteX44822" fmla="*/ 6111275 w 6884782"/>
              <a:gd name="connsiteY44822" fmla="*/ 1782345 h 5973007"/>
              <a:gd name="connsiteX44823" fmla="*/ 1738319 w 6884782"/>
              <a:gd name="connsiteY44823" fmla="*/ 1782104 h 5973007"/>
              <a:gd name="connsiteX44824" fmla="*/ 1745443 w 6884782"/>
              <a:gd name="connsiteY44824" fmla="*/ 1782569 h 5973007"/>
              <a:gd name="connsiteX44825" fmla="*/ 1752258 w 6884782"/>
              <a:gd name="connsiteY44825" fmla="*/ 1790314 h 5973007"/>
              <a:gd name="connsiteX44826" fmla="*/ 1752155 w 6884782"/>
              <a:gd name="connsiteY44826" fmla="*/ 1796045 h 5973007"/>
              <a:gd name="connsiteX44827" fmla="*/ 1738009 w 6884782"/>
              <a:gd name="connsiteY44827" fmla="*/ 1801467 h 5973007"/>
              <a:gd name="connsiteX44828" fmla="*/ 1735737 w 6884782"/>
              <a:gd name="connsiteY44828" fmla="*/ 1800227 h 5973007"/>
              <a:gd name="connsiteX44829" fmla="*/ 1731917 w 6884782"/>
              <a:gd name="connsiteY44829" fmla="*/ 1799453 h 5973007"/>
              <a:gd name="connsiteX44830" fmla="*/ 1731607 w 6884782"/>
              <a:gd name="connsiteY44830" fmla="*/ 1792173 h 5973007"/>
              <a:gd name="connsiteX44831" fmla="*/ 1732433 w 6884782"/>
              <a:gd name="connsiteY44831" fmla="*/ 1788610 h 5973007"/>
              <a:gd name="connsiteX44832" fmla="*/ 1738319 w 6884782"/>
              <a:gd name="connsiteY44832" fmla="*/ 1782104 h 5973007"/>
              <a:gd name="connsiteX44833" fmla="*/ 5721570 w 6884782"/>
              <a:gd name="connsiteY44833" fmla="*/ 1782060 h 5973007"/>
              <a:gd name="connsiteX44834" fmla="*/ 5727759 w 6884782"/>
              <a:gd name="connsiteY44834" fmla="*/ 1789316 h 5973007"/>
              <a:gd name="connsiteX44835" fmla="*/ 5706417 w 6884782"/>
              <a:gd name="connsiteY44835" fmla="*/ 1797283 h 5973007"/>
              <a:gd name="connsiteX44836" fmla="*/ 5721570 w 6884782"/>
              <a:gd name="connsiteY44836" fmla="*/ 1782060 h 5973007"/>
              <a:gd name="connsiteX44837" fmla="*/ 4860208 w 6884782"/>
              <a:gd name="connsiteY44837" fmla="*/ 1781917 h 5973007"/>
              <a:gd name="connsiteX44838" fmla="*/ 4853805 w 6884782"/>
              <a:gd name="connsiteY44838" fmla="*/ 1787324 h 5973007"/>
              <a:gd name="connsiteX44839" fmla="*/ 4843134 w 6884782"/>
              <a:gd name="connsiteY44839" fmla="*/ 1789743 h 5973007"/>
              <a:gd name="connsiteX44840" fmla="*/ 4843774 w 6884782"/>
              <a:gd name="connsiteY44840" fmla="*/ 1788035 h 5973007"/>
              <a:gd name="connsiteX44841" fmla="*/ 4860208 w 6884782"/>
              <a:gd name="connsiteY44841" fmla="*/ 1781917 h 5973007"/>
              <a:gd name="connsiteX44842" fmla="*/ 5627025 w 6884782"/>
              <a:gd name="connsiteY44842" fmla="*/ 1781633 h 5973007"/>
              <a:gd name="connsiteX44843" fmla="*/ 5628733 w 6884782"/>
              <a:gd name="connsiteY44843" fmla="*/ 1783056 h 5973007"/>
              <a:gd name="connsiteX44844" fmla="*/ 5628733 w 6884782"/>
              <a:gd name="connsiteY44844" fmla="*/ 1786471 h 5973007"/>
              <a:gd name="connsiteX44845" fmla="*/ 5624037 w 6884782"/>
              <a:gd name="connsiteY44845" fmla="*/ 1785190 h 5973007"/>
              <a:gd name="connsiteX44846" fmla="*/ 5627025 w 6884782"/>
              <a:gd name="connsiteY44846" fmla="*/ 1781633 h 5973007"/>
              <a:gd name="connsiteX44847" fmla="*/ 985064 w 6884782"/>
              <a:gd name="connsiteY44847" fmla="*/ 1781485 h 5973007"/>
              <a:gd name="connsiteX44848" fmla="*/ 987749 w 6884782"/>
              <a:gd name="connsiteY44848" fmla="*/ 1781640 h 5973007"/>
              <a:gd name="connsiteX44849" fmla="*/ 990021 w 6884782"/>
              <a:gd name="connsiteY44849" fmla="*/ 1783653 h 5973007"/>
              <a:gd name="connsiteX44850" fmla="*/ 990640 w 6884782"/>
              <a:gd name="connsiteY44850" fmla="*/ 1785977 h 5973007"/>
              <a:gd name="connsiteX44851" fmla="*/ 987956 w 6884782"/>
              <a:gd name="connsiteY44851" fmla="*/ 1790159 h 5973007"/>
              <a:gd name="connsiteX44852" fmla="*/ 981244 w 6884782"/>
              <a:gd name="connsiteY44852" fmla="*/ 1785822 h 5973007"/>
              <a:gd name="connsiteX44853" fmla="*/ 985064 w 6884782"/>
              <a:gd name="connsiteY44853" fmla="*/ 1781485 h 5973007"/>
              <a:gd name="connsiteX44854" fmla="*/ 5608458 w 6884782"/>
              <a:gd name="connsiteY44854" fmla="*/ 1781207 h 5973007"/>
              <a:gd name="connsiteX44855" fmla="*/ 5613366 w 6884782"/>
              <a:gd name="connsiteY44855" fmla="*/ 1783198 h 5973007"/>
              <a:gd name="connsiteX44856" fmla="*/ 5619129 w 6884782"/>
              <a:gd name="connsiteY44856" fmla="*/ 1791308 h 5973007"/>
              <a:gd name="connsiteX44857" fmla="*/ 5608671 w 6884782"/>
              <a:gd name="connsiteY44857" fmla="*/ 1791876 h 5973007"/>
              <a:gd name="connsiteX44858" fmla="*/ 5607177 w 6884782"/>
              <a:gd name="connsiteY44858" fmla="*/ 1789600 h 5973007"/>
              <a:gd name="connsiteX44859" fmla="*/ 5605043 w 6884782"/>
              <a:gd name="connsiteY44859" fmla="*/ 1783625 h 5973007"/>
              <a:gd name="connsiteX44860" fmla="*/ 5608458 w 6884782"/>
              <a:gd name="connsiteY44860" fmla="*/ 1781207 h 5973007"/>
              <a:gd name="connsiteX44861" fmla="*/ 6006912 w 6884782"/>
              <a:gd name="connsiteY44861" fmla="*/ 1781064 h 5973007"/>
              <a:gd name="connsiteX44862" fmla="*/ 6036151 w 6884782"/>
              <a:gd name="connsiteY44862" fmla="*/ 1837545 h 5973007"/>
              <a:gd name="connsiteX44863" fmla="*/ 6023559 w 6884782"/>
              <a:gd name="connsiteY44863" fmla="*/ 1839963 h 5973007"/>
              <a:gd name="connsiteX44864" fmla="*/ 6006912 w 6884782"/>
              <a:gd name="connsiteY44864" fmla="*/ 1781064 h 5973007"/>
              <a:gd name="connsiteX44865" fmla="*/ 1834450 w 6884782"/>
              <a:gd name="connsiteY44865" fmla="*/ 1780556 h 5973007"/>
              <a:gd name="connsiteX44866" fmla="*/ 1838994 w 6884782"/>
              <a:gd name="connsiteY44866" fmla="*/ 1787371 h 5973007"/>
              <a:gd name="connsiteX44867" fmla="*/ 1827945 w 6884782"/>
              <a:gd name="connsiteY44867" fmla="*/ 1783344 h 5973007"/>
              <a:gd name="connsiteX44868" fmla="*/ 1830630 w 6884782"/>
              <a:gd name="connsiteY44868" fmla="*/ 1781640 h 5973007"/>
              <a:gd name="connsiteX44869" fmla="*/ 1834450 w 6884782"/>
              <a:gd name="connsiteY44869" fmla="*/ 1780556 h 5973007"/>
              <a:gd name="connsiteX44870" fmla="*/ 5086859 w 6884782"/>
              <a:gd name="connsiteY44870" fmla="*/ 1780495 h 5973007"/>
              <a:gd name="connsiteX44871" fmla="*/ 5102653 w 6884782"/>
              <a:gd name="connsiteY44871" fmla="*/ 1793584 h 5973007"/>
              <a:gd name="connsiteX44872" fmla="*/ 5095610 w 6884782"/>
              <a:gd name="connsiteY44872" fmla="*/ 1802262 h 5973007"/>
              <a:gd name="connsiteX44873" fmla="*/ 5079603 w 6884782"/>
              <a:gd name="connsiteY44873" fmla="*/ 1789173 h 5973007"/>
              <a:gd name="connsiteX44874" fmla="*/ 5080244 w 6884782"/>
              <a:gd name="connsiteY44874" fmla="*/ 1783767 h 5973007"/>
              <a:gd name="connsiteX44875" fmla="*/ 5079817 w 6884782"/>
              <a:gd name="connsiteY44875" fmla="*/ 1783198 h 5973007"/>
              <a:gd name="connsiteX44876" fmla="*/ 5080457 w 6884782"/>
              <a:gd name="connsiteY44876" fmla="*/ 1781917 h 5973007"/>
              <a:gd name="connsiteX44877" fmla="*/ 5080671 w 6884782"/>
              <a:gd name="connsiteY44877" fmla="*/ 1780922 h 5973007"/>
              <a:gd name="connsiteX44878" fmla="*/ 5086859 w 6884782"/>
              <a:gd name="connsiteY44878" fmla="*/ 1780495 h 5973007"/>
              <a:gd name="connsiteX44879" fmla="*/ 865700 w 6884782"/>
              <a:gd name="connsiteY44879" fmla="*/ 1780091 h 5973007"/>
              <a:gd name="connsiteX44880" fmla="*/ 868489 w 6884782"/>
              <a:gd name="connsiteY44880" fmla="*/ 1782259 h 5973007"/>
              <a:gd name="connsiteX44881" fmla="*/ 865184 w 6884782"/>
              <a:gd name="connsiteY44881" fmla="*/ 1783653 h 5973007"/>
              <a:gd name="connsiteX44882" fmla="*/ 864461 w 6884782"/>
              <a:gd name="connsiteY44882" fmla="*/ 1782259 h 5973007"/>
              <a:gd name="connsiteX44883" fmla="*/ 865700 w 6884782"/>
              <a:gd name="connsiteY44883" fmla="*/ 1780091 h 5973007"/>
              <a:gd name="connsiteX44884" fmla="*/ 867972 w 6884782"/>
              <a:gd name="connsiteY44884" fmla="*/ 1779781 h 5973007"/>
              <a:gd name="connsiteX44885" fmla="*/ 867972 w 6884782"/>
              <a:gd name="connsiteY44885" fmla="*/ 1781175 h 5973007"/>
              <a:gd name="connsiteX44886" fmla="*/ 867249 w 6884782"/>
              <a:gd name="connsiteY44886" fmla="*/ 1780401 h 5973007"/>
              <a:gd name="connsiteX44887" fmla="*/ 867972 w 6884782"/>
              <a:gd name="connsiteY44887" fmla="*/ 1779781 h 5973007"/>
              <a:gd name="connsiteX44888" fmla="*/ 5103293 w 6884782"/>
              <a:gd name="connsiteY44888" fmla="*/ 1779499 h 5973007"/>
              <a:gd name="connsiteX44889" fmla="*/ 5115031 w 6884782"/>
              <a:gd name="connsiteY44889" fmla="*/ 1790027 h 5973007"/>
              <a:gd name="connsiteX44890" fmla="*/ 5103933 w 6884782"/>
              <a:gd name="connsiteY44890" fmla="*/ 1790454 h 5973007"/>
              <a:gd name="connsiteX44891" fmla="*/ 5097104 w 6884782"/>
              <a:gd name="connsiteY44891" fmla="*/ 1779642 h 5973007"/>
              <a:gd name="connsiteX44892" fmla="*/ 5103293 w 6884782"/>
              <a:gd name="connsiteY44892" fmla="*/ 1779499 h 5973007"/>
              <a:gd name="connsiteX44893" fmla="*/ 1455087 w 6884782"/>
              <a:gd name="connsiteY44893" fmla="*/ 1779316 h 5973007"/>
              <a:gd name="connsiteX44894" fmla="*/ 1451473 w 6884782"/>
              <a:gd name="connsiteY44894" fmla="*/ 1787526 h 5973007"/>
              <a:gd name="connsiteX44895" fmla="*/ 1449304 w 6884782"/>
              <a:gd name="connsiteY44895" fmla="*/ 1784892 h 5973007"/>
              <a:gd name="connsiteX44896" fmla="*/ 1455087 w 6884782"/>
              <a:gd name="connsiteY44896" fmla="*/ 1779316 h 5973007"/>
              <a:gd name="connsiteX44897" fmla="*/ 1806674 w 6884782"/>
              <a:gd name="connsiteY44897" fmla="*/ 1779161 h 5973007"/>
              <a:gd name="connsiteX44898" fmla="*/ 1808533 w 6884782"/>
              <a:gd name="connsiteY44898" fmla="*/ 1779471 h 5973007"/>
              <a:gd name="connsiteX44899" fmla="*/ 1808842 w 6884782"/>
              <a:gd name="connsiteY44899" fmla="*/ 1780401 h 5973007"/>
              <a:gd name="connsiteX44900" fmla="*/ 1809049 w 6884782"/>
              <a:gd name="connsiteY44900" fmla="*/ 1780556 h 5973007"/>
              <a:gd name="connsiteX44901" fmla="*/ 1808636 w 6884782"/>
              <a:gd name="connsiteY44901" fmla="*/ 1782104 h 5973007"/>
              <a:gd name="connsiteX44902" fmla="*/ 1807294 w 6884782"/>
              <a:gd name="connsiteY44902" fmla="*/ 1783189 h 5973007"/>
              <a:gd name="connsiteX44903" fmla="*/ 1805435 w 6884782"/>
              <a:gd name="connsiteY44903" fmla="*/ 1780401 h 5973007"/>
              <a:gd name="connsiteX44904" fmla="*/ 1806984 w 6884782"/>
              <a:gd name="connsiteY44904" fmla="*/ 1779936 h 5973007"/>
              <a:gd name="connsiteX44905" fmla="*/ 1806674 w 6884782"/>
              <a:gd name="connsiteY44905" fmla="*/ 1779161 h 5973007"/>
              <a:gd name="connsiteX44906" fmla="*/ 5635775 w 6884782"/>
              <a:gd name="connsiteY44906" fmla="*/ 1778930 h 5973007"/>
              <a:gd name="connsiteX44907" fmla="*/ 5638123 w 6884782"/>
              <a:gd name="connsiteY44907" fmla="*/ 1780353 h 5973007"/>
              <a:gd name="connsiteX44908" fmla="*/ 5640471 w 6884782"/>
              <a:gd name="connsiteY44908" fmla="*/ 1782487 h 5973007"/>
              <a:gd name="connsiteX44909" fmla="*/ 5642605 w 6884782"/>
              <a:gd name="connsiteY44909" fmla="*/ 1789173 h 5973007"/>
              <a:gd name="connsiteX44910" fmla="*/ 5640257 w 6884782"/>
              <a:gd name="connsiteY44910" fmla="*/ 1793726 h 5973007"/>
              <a:gd name="connsiteX44911" fmla="*/ 5638336 w 6884782"/>
              <a:gd name="connsiteY44911" fmla="*/ 1794865 h 5973007"/>
              <a:gd name="connsiteX44912" fmla="*/ 5630440 w 6884782"/>
              <a:gd name="connsiteY44912" fmla="*/ 1786897 h 5973007"/>
              <a:gd name="connsiteX44913" fmla="*/ 5635775 w 6884782"/>
              <a:gd name="connsiteY44913" fmla="*/ 1778930 h 5973007"/>
              <a:gd name="connsiteX44914" fmla="*/ 5195704 w 6884782"/>
              <a:gd name="connsiteY44914" fmla="*/ 1776796 h 5973007"/>
              <a:gd name="connsiteX44915" fmla="*/ 5198051 w 6884782"/>
              <a:gd name="connsiteY44915" fmla="*/ 1778219 h 5973007"/>
              <a:gd name="connsiteX44916" fmla="*/ 5196557 w 6884782"/>
              <a:gd name="connsiteY44916" fmla="*/ 1782060 h 5973007"/>
              <a:gd name="connsiteX44917" fmla="*/ 5198905 w 6884782"/>
              <a:gd name="connsiteY44917" fmla="*/ 1783482 h 5973007"/>
              <a:gd name="connsiteX44918" fmla="*/ 5198692 w 6884782"/>
              <a:gd name="connsiteY44918" fmla="*/ 1785190 h 5973007"/>
              <a:gd name="connsiteX44919" fmla="*/ 5195277 w 6884782"/>
              <a:gd name="connsiteY44919" fmla="*/ 1785901 h 5973007"/>
              <a:gd name="connsiteX44920" fmla="*/ 5196131 w 6884782"/>
              <a:gd name="connsiteY44920" fmla="*/ 1779499 h 5973007"/>
              <a:gd name="connsiteX44921" fmla="*/ 5195704 w 6884782"/>
              <a:gd name="connsiteY44921" fmla="*/ 1776796 h 5973007"/>
              <a:gd name="connsiteX44922" fmla="*/ 5022407 w 6884782"/>
              <a:gd name="connsiteY44922" fmla="*/ 1776654 h 5973007"/>
              <a:gd name="connsiteX44923" fmla="*/ 5025181 w 6884782"/>
              <a:gd name="connsiteY44923" fmla="*/ 1777365 h 5973007"/>
              <a:gd name="connsiteX44924" fmla="*/ 5026035 w 6884782"/>
              <a:gd name="connsiteY44924" fmla="*/ 1780210 h 5973007"/>
              <a:gd name="connsiteX44925" fmla="*/ 5022620 w 6884782"/>
              <a:gd name="connsiteY44925" fmla="*/ 1783482 h 5973007"/>
              <a:gd name="connsiteX44926" fmla="*/ 5025395 w 6884782"/>
              <a:gd name="connsiteY44926" fmla="*/ 1784621 h 5973007"/>
              <a:gd name="connsiteX44927" fmla="*/ 5028169 w 6884782"/>
              <a:gd name="connsiteY44927" fmla="*/ 1787893 h 5973007"/>
              <a:gd name="connsiteX44928" fmla="*/ 5028383 w 6884782"/>
              <a:gd name="connsiteY44928" fmla="*/ 1784479 h 5973007"/>
              <a:gd name="connsiteX44929" fmla="*/ 5049511 w 6884782"/>
              <a:gd name="connsiteY44929" fmla="*/ 1800128 h 5973007"/>
              <a:gd name="connsiteX44930" fmla="*/ 5048658 w 6884782"/>
              <a:gd name="connsiteY44930" fmla="*/ 1807669 h 5973007"/>
              <a:gd name="connsiteX44931" fmla="*/ 5027742 w 6884782"/>
              <a:gd name="connsiteY44931" fmla="*/ 1793299 h 5973007"/>
              <a:gd name="connsiteX44932" fmla="*/ 5027956 w 6884782"/>
              <a:gd name="connsiteY44932" fmla="*/ 1789743 h 5973007"/>
              <a:gd name="connsiteX44933" fmla="*/ 5021553 w 6884782"/>
              <a:gd name="connsiteY44933" fmla="*/ 1794865 h 5973007"/>
              <a:gd name="connsiteX44934" fmla="*/ 5016218 w 6884782"/>
              <a:gd name="connsiteY44934" fmla="*/ 1793868 h 5973007"/>
              <a:gd name="connsiteX44935" fmla="*/ 5020913 w 6884782"/>
              <a:gd name="connsiteY44935" fmla="*/ 1796430 h 5973007"/>
              <a:gd name="connsiteX44936" fmla="*/ 5031157 w 6884782"/>
              <a:gd name="connsiteY44936" fmla="*/ 1810229 h 5973007"/>
              <a:gd name="connsiteX44937" fmla="*/ 5032864 w 6884782"/>
              <a:gd name="connsiteY44937" fmla="*/ 1817770 h 5973007"/>
              <a:gd name="connsiteX44938" fmla="*/ 5031797 w 6884782"/>
              <a:gd name="connsiteY44938" fmla="*/ 1825167 h 5973007"/>
              <a:gd name="connsiteX44939" fmla="*/ 5033504 w 6884782"/>
              <a:gd name="connsiteY44939" fmla="*/ 1825310 h 5973007"/>
              <a:gd name="connsiteX44940" fmla="*/ 5036919 w 6884782"/>
              <a:gd name="connsiteY44940" fmla="*/ 1829009 h 5973007"/>
              <a:gd name="connsiteX44941" fmla="*/ 5036706 w 6884782"/>
              <a:gd name="connsiteY44941" fmla="*/ 1832138 h 5973007"/>
              <a:gd name="connsiteX44942" fmla="*/ 5042255 w 6884782"/>
              <a:gd name="connsiteY44942" fmla="*/ 1831001 h 5973007"/>
              <a:gd name="connsiteX44943" fmla="*/ 5059329 w 6884782"/>
              <a:gd name="connsiteY44943" fmla="*/ 1839679 h 5973007"/>
              <a:gd name="connsiteX44944" fmla="*/ 5022407 w 6884782"/>
              <a:gd name="connsiteY44944" fmla="*/ 1839963 h 5973007"/>
              <a:gd name="connsiteX44945" fmla="*/ 5027529 w 6884782"/>
              <a:gd name="connsiteY44945" fmla="*/ 1835980 h 5973007"/>
              <a:gd name="connsiteX44946" fmla="*/ 5026676 w 6884782"/>
              <a:gd name="connsiteY44946" fmla="*/ 1833419 h 5973007"/>
              <a:gd name="connsiteX44947" fmla="*/ 5028596 w 6884782"/>
              <a:gd name="connsiteY44947" fmla="*/ 1826591 h 5973007"/>
              <a:gd name="connsiteX44948" fmla="*/ 5019419 w 6884782"/>
              <a:gd name="connsiteY44948" fmla="*/ 1829293 h 5973007"/>
              <a:gd name="connsiteX44949" fmla="*/ 5008108 w 6884782"/>
              <a:gd name="connsiteY44949" fmla="*/ 1827444 h 5973007"/>
              <a:gd name="connsiteX44950" fmla="*/ 4990394 w 6884782"/>
              <a:gd name="connsiteY44950" fmla="*/ 1795291 h 5973007"/>
              <a:gd name="connsiteX44951" fmla="*/ 4993168 w 6884782"/>
              <a:gd name="connsiteY44951" fmla="*/ 1792588 h 5973007"/>
              <a:gd name="connsiteX44952" fmla="*/ 5004693 w 6884782"/>
              <a:gd name="connsiteY44952" fmla="*/ 1790454 h 5973007"/>
              <a:gd name="connsiteX44953" fmla="*/ 5011736 w 6884782"/>
              <a:gd name="connsiteY44953" fmla="*/ 1791876 h 5973007"/>
              <a:gd name="connsiteX44954" fmla="*/ 5009602 w 6884782"/>
              <a:gd name="connsiteY44954" fmla="*/ 1788178 h 5973007"/>
              <a:gd name="connsiteX44955" fmla="*/ 5011096 w 6884782"/>
              <a:gd name="connsiteY44955" fmla="*/ 1786613 h 5973007"/>
              <a:gd name="connsiteX44956" fmla="*/ 5010029 w 6884782"/>
              <a:gd name="connsiteY44956" fmla="*/ 1786328 h 5973007"/>
              <a:gd name="connsiteX44957" fmla="*/ 5007467 w 6884782"/>
              <a:gd name="connsiteY44957" fmla="*/ 1786613 h 5973007"/>
              <a:gd name="connsiteX44958" fmla="*/ 5000425 w 6884782"/>
              <a:gd name="connsiteY44958" fmla="*/ 1782202 h 5973007"/>
              <a:gd name="connsiteX44959" fmla="*/ 5022407 w 6884782"/>
              <a:gd name="connsiteY44959" fmla="*/ 1776654 h 5973007"/>
              <a:gd name="connsiteX44960" fmla="*/ 5152380 w 6884782"/>
              <a:gd name="connsiteY44960" fmla="*/ 1775943 h 5973007"/>
              <a:gd name="connsiteX44961" fmla="*/ 5153020 w 6884782"/>
              <a:gd name="connsiteY44961" fmla="*/ 1776227 h 5973007"/>
              <a:gd name="connsiteX44962" fmla="*/ 5153660 w 6884782"/>
              <a:gd name="connsiteY44962" fmla="*/ 1777792 h 5973007"/>
              <a:gd name="connsiteX44963" fmla="*/ 5152593 w 6884782"/>
              <a:gd name="connsiteY44963" fmla="*/ 1778361 h 5973007"/>
              <a:gd name="connsiteX44964" fmla="*/ 5152380 w 6884782"/>
              <a:gd name="connsiteY44964" fmla="*/ 1775943 h 5973007"/>
              <a:gd name="connsiteX44965" fmla="*/ 6212436 w 6884782"/>
              <a:gd name="connsiteY44965" fmla="*/ 1775800 h 5973007"/>
              <a:gd name="connsiteX44966" fmla="*/ 6218625 w 6884782"/>
              <a:gd name="connsiteY44966" fmla="*/ 1779215 h 5973007"/>
              <a:gd name="connsiteX44967" fmla="*/ 6220546 w 6884782"/>
              <a:gd name="connsiteY44967" fmla="*/ 1784194 h 5973007"/>
              <a:gd name="connsiteX44968" fmla="*/ 6220546 w 6884782"/>
              <a:gd name="connsiteY44968" fmla="*/ 1784479 h 5973007"/>
              <a:gd name="connsiteX44969" fmla="*/ 6222040 w 6884782"/>
              <a:gd name="connsiteY44969" fmla="*/ 1783340 h 5973007"/>
              <a:gd name="connsiteX44970" fmla="*/ 6224387 w 6884782"/>
              <a:gd name="connsiteY44970" fmla="*/ 1783482 h 5973007"/>
              <a:gd name="connsiteX44971" fmla="*/ 6225881 w 6884782"/>
              <a:gd name="connsiteY44971" fmla="*/ 1785759 h 5973007"/>
              <a:gd name="connsiteX44972" fmla="*/ 6226521 w 6884782"/>
              <a:gd name="connsiteY44972" fmla="*/ 1790596 h 5973007"/>
              <a:gd name="connsiteX44973" fmla="*/ 6224600 w 6884782"/>
              <a:gd name="connsiteY44973" fmla="*/ 1793157 h 5973007"/>
              <a:gd name="connsiteX44974" fmla="*/ 6222253 w 6884782"/>
              <a:gd name="connsiteY44974" fmla="*/ 1792019 h 5973007"/>
              <a:gd name="connsiteX44975" fmla="*/ 6219905 w 6884782"/>
              <a:gd name="connsiteY44975" fmla="*/ 1792161 h 5973007"/>
              <a:gd name="connsiteX44976" fmla="*/ 6219692 w 6884782"/>
              <a:gd name="connsiteY44976" fmla="*/ 1791023 h 5973007"/>
              <a:gd name="connsiteX44977" fmla="*/ 6219905 w 6884782"/>
              <a:gd name="connsiteY44977" fmla="*/ 1790881 h 5973007"/>
              <a:gd name="connsiteX44978" fmla="*/ 6219052 w 6884782"/>
              <a:gd name="connsiteY44978" fmla="*/ 1790169 h 5973007"/>
              <a:gd name="connsiteX44979" fmla="*/ 6218412 w 6884782"/>
              <a:gd name="connsiteY44979" fmla="*/ 1793441 h 5973007"/>
              <a:gd name="connsiteX44980" fmla="*/ 6200911 w 6884782"/>
              <a:gd name="connsiteY44980" fmla="*/ 1788035 h 5973007"/>
              <a:gd name="connsiteX44981" fmla="*/ 6204753 w 6884782"/>
              <a:gd name="connsiteY44981" fmla="*/ 1778361 h 5973007"/>
              <a:gd name="connsiteX44982" fmla="*/ 6212436 w 6884782"/>
              <a:gd name="connsiteY44982" fmla="*/ 1775800 h 5973007"/>
              <a:gd name="connsiteX44983" fmla="*/ 5214911 w 6884782"/>
              <a:gd name="connsiteY44983" fmla="*/ 1775800 h 5973007"/>
              <a:gd name="connsiteX44984" fmla="*/ 5222808 w 6884782"/>
              <a:gd name="connsiteY44984" fmla="*/ 1779499 h 5973007"/>
              <a:gd name="connsiteX44985" fmla="*/ 5203174 w 6884782"/>
              <a:gd name="connsiteY44985" fmla="*/ 1788035 h 5973007"/>
              <a:gd name="connsiteX44986" fmla="*/ 5200612 w 6884782"/>
              <a:gd name="connsiteY44986" fmla="*/ 1788320 h 5973007"/>
              <a:gd name="connsiteX44987" fmla="*/ 5198692 w 6884782"/>
              <a:gd name="connsiteY44987" fmla="*/ 1785190 h 5973007"/>
              <a:gd name="connsiteX44988" fmla="*/ 5212350 w 6884782"/>
              <a:gd name="connsiteY44988" fmla="*/ 1776085 h 5973007"/>
              <a:gd name="connsiteX44989" fmla="*/ 5214911 w 6884782"/>
              <a:gd name="connsiteY44989" fmla="*/ 1775800 h 5973007"/>
              <a:gd name="connsiteX44990" fmla="*/ 3841982 w 6884782"/>
              <a:gd name="connsiteY44990" fmla="*/ 1775516 h 5973007"/>
              <a:gd name="connsiteX44991" fmla="*/ 3860550 w 6884782"/>
              <a:gd name="connsiteY44991" fmla="*/ 1784763 h 5973007"/>
              <a:gd name="connsiteX44992" fmla="*/ 3860550 w 6884782"/>
              <a:gd name="connsiteY44992" fmla="*/ 1784905 h 5973007"/>
              <a:gd name="connsiteX44993" fmla="*/ 3866526 w 6884782"/>
              <a:gd name="connsiteY44993" fmla="*/ 1790596 h 5973007"/>
              <a:gd name="connsiteX44994" fmla="*/ 3874422 w 6884782"/>
              <a:gd name="connsiteY44994" fmla="*/ 1800840 h 5973007"/>
              <a:gd name="connsiteX44995" fmla="*/ 3867593 w 6884782"/>
              <a:gd name="connsiteY44995" fmla="*/ 1799132 h 5973007"/>
              <a:gd name="connsiteX44996" fmla="*/ 3863751 w 6884782"/>
              <a:gd name="connsiteY44996" fmla="*/ 1796856 h 5973007"/>
              <a:gd name="connsiteX44997" fmla="*/ 3863751 w 6884782"/>
              <a:gd name="connsiteY44997" fmla="*/ 1799417 h 5973007"/>
              <a:gd name="connsiteX44998" fmla="*/ 3863965 w 6884782"/>
              <a:gd name="connsiteY44998" fmla="*/ 1799702 h 5973007"/>
              <a:gd name="connsiteX44999" fmla="*/ 3863537 w 6884782"/>
              <a:gd name="connsiteY44999" fmla="*/ 1801835 h 5973007"/>
              <a:gd name="connsiteX45000" fmla="*/ 3863324 w 6884782"/>
              <a:gd name="connsiteY45000" fmla="*/ 1803685 h 5973007"/>
              <a:gd name="connsiteX45001" fmla="*/ 3852013 w 6884782"/>
              <a:gd name="connsiteY45001" fmla="*/ 1835838 h 5973007"/>
              <a:gd name="connsiteX45002" fmla="*/ 3846037 w 6884782"/>
              <a:gd name="connsiteY45002" fmla="*/ 1829436 h 5973007"/>
              <a:gd name="connsiteX45003" fmla="*/ 3844756 w 6884782"/>
              <a:gd name="connsiteY45003" fmla="*/ 1829009 h 5973007"/>
              <a:gd name="connsiteX45004" fmla="*/ 3843049 w 6884782"/>
              <a:gd name="connsiteY45004" fmla="*/ 1830431 h 5973007"/>
              <a:gd name="connsiteX45005" fmla="*/ 3832592 w 6884782"/>
              <a:gd name="connsiteY45005" fmla="*/ 1827444 h 5973007"/>
              <a:gd name="connsiteX45006" fmla="*/ 3832378 w 6884782"/>
              <a:gd name="connsiteY45006" fmla="*/ 1826875 h 5973007"/>
              <a:gd name="connsiteX45007" fmla="*/ 3830244 w 6884782"/>
              <a:gd name="connsiteY45007" fmla="*/ 1830858 h 5973007"/>
              <a:gd name="connsiteX45008" fmla="*/ 3827043 w 6884782"/>
              <a:gd name="connsiteY45008" fmla="*/ 1832992 h 5973007"/>
              <a:gd name="connsiteX45009" fmla="*/ 3822988 w 6884782"/>
              <a:gd name="connsiteY45009" fmla="*/ 1822180 h 5973007"/>
              <a:gd name="connsiteX45010" fmla="*/ 3822988 w 6884782"/>
              <a:gd name="connsiteY45010" fmla="*/ 1821469 h 5973007"/>
              <a:gd name="connsiteX45011" fmla="*/ 3819360 w 6884782"/>
              <a:gd name="connsiteY45011" fmla="*/ 1818623 h 5973007"/>
              <a:gd name="connsiteX45012" fmla="*/ 3816372 w 6884782"/>
              <a:gd name="connsiteY45012" fmla="*/ 1813928 h 5973007"/>
              <a:gd name="connsiteX45013" fmla="*/ 3815305 w 6884782"/>
              <a:gd name="connsiteY45013" fmla="*/ 1807526 h 5973007"/>
              <a:gd name="connsiteX45014" fmla="*/ 3812530 w 6884782"/>
              <a:gd name="connsiteY45014" fmla="*/ 1806530 h 5973007"/>
              <a:gd name="connsiteX45015" fmla="*/ 3818506 w 6884782"/>
              <a:gd name="connsiteY45015" fmla="*/ 1789743 h 5973007"/>
              <a:gd name="connsiteX45016" fmla="*/ 3819146 w 6884782"/>
              <a:gd name="connsiteY45016" fmla="*/ 1790027 h 5973007"/>
              <a:gd name="connsiteX45017" fmla="*/ 3823628 w 6884782"/>
              <a:gd name="connsiteY45017" fmla="*/ 1784194 h 5973007"/>
              <a:gd name="connsiteX45018" fmla="*/ 3841982 w 6884782"/>
              <a:gd name="connsiteY45018" fmla="*/ 1775516 h 5973007"/>
              <a:gd name="connsiteX45019" fmla="*/ 1537666 w 6884782"/>
              <a:gd name="connsiteY45019" fmla="*/ 1774921 h 5973007"/>
              <a:gd name="connsiteX45020" fmla="*/ 1542132 w 6884782"/>
              <a:gd name="connsiteY45020" fmla="*/ 1775444 h 5973007"/>
              <a:gd name="connsiteX45021" fmla="*/ 1536143 w 6884782"/>
              <a:gd name="connsiteY45021" fmla="*/ 1779161 h 5973007"/>
              <a:gd name="connsiteX45022" fmla="*/ 1537666 w 6884782"/>
              <a:gd name="connsiteY45022" fmla="*/ 1774921 h 5973007"/>
              <a:gd name="connsiteX45023" fmla="*/ 3777743 w 6884782"/>
              <a:gd name="connsiteY45023" fmla="*/ 1774378 h 5973007"/>
              <a:gd name="connsiteX45024" fmla="*/ 3779237 w 6884782"/>
              <a:gd name="connsiteY45024" fmla="*/ 1779215 h 5973007"/>
              <a:gd name="connsiteX45025" fmla="*/ 3777956 w 6884782"/>
              <a:gd name="connsiteY45025" fmla="*/ 1782629 h 5973007"/>
              <a:gd name="connsiteX45026" fmla="*/ 3786066 w 6884782"/>
              <a:gd name="connsiteY45026" fmla="*/ 1784194 h 5973007"/>
              <a:gd name="connsiteX45027" fmla="*/ 3792469 w 6884782"/>
              <a:gd name="connsiteY45027" fmla="*/ 1786755 h 5973007"/>
              <a:gd name="connsiteX45028" fmla="*/ 3792682 w 6884782"/>
              <a:gd name="connsiteY45028" fmla="*/ 1792161 h 5973007"/>
              <a:gd name="connsiteX45029" fmla="*/ 3776035 w 6884782"/>
              <a:gd name="connsiteY45029" fmla="*/ 1782345 h 5973007"/>
              <a:gd name="connsiteX45030" fmla="*/ 3776249 w 6884782"/>
              <a:gd name="connsiteY45030" fmla="*/ 1782345 h 5973007"/>
              <a:gd name="connsiteX45031" fmla="*/ 3774969 w 6884782"/>
              <a:gd name="connsiteY45031" fmla="*/ 1779072 h 5973007"/>
              <a:gd name="connsiteX45032" fmla="*/ 3777743 w 6884782"/>
              <a:gd name="connsiteY45032" fmla="*/ 1774378 h 5973007"/>
              <a:gd name="connsiteX45033" fmla="*/ 1211609 w 6884782"/>
              <a:gd name="connsiteY45033" fmla="*/ 1774049 h 5973007"/>
              <a:gd name="connsiteX45034" fmla="*/ 1213261 w 6884782"/>
              <a:gd name="connsiteY45034" fmla="*/ 1775444 h 5973007"/>
              <a:gd name="connsiteX45035" fmla="*/ 1212022 w 6884782"/>
              <a:gd name="connsiteY45035" fmla="*/ 1777457 h 5973007"/>
              <a:gd name="connsiteX45036" fmla="*/ 1203658 w 6884782"/>
              <a:gd name="connsiteY45036" fmla="*/ 1775753 h 5973007"/>
              <a:gd name="connsiteX45037" fmla="*/ 1211609 w 6884782"/>
              <a:gd name="connsiteY45037" fmla="*/ 1774049 h 5973007"/>
              <a:gd name="connsiteX45038" fmla="*/ 1297001 w 6884782"/>
              <a:gd name="connsiteY45038" fmla="*/ 1773740 h 5973007"/>
              <a:gd name="connsiteX45039" fmla="*/ 1303197 w 6884782"/>
              <a:gd name="connsiteY45039" fmla="*/ 1785667 h 5973007"/>
              <a:gd name="connsiteX45040" fmla="*/ 1303403 w 6884782"/>
              <a:gd name="connsiteY45040" fmla="*/ 1788610 h 5973007"/>
              <a:gd name="connsiteX45041" fmla="*/ 1305985 w 6884782"/>
              <a:gd name="connsiteY45041" fmla="*/ 1789694 h 5973007"/>
              <a:gd name="connsiteX45042" fmla="*/ 1304126 w 6884782"/>
              <a:gd name="connsiteY45042" fmla="*/ 1793567 h 5973007"/>
              <a:gd name="connsiteX45043" fmla="*/ 1301855 w 6884782"/>
              <a:gd name="connsiteY45043" fmla="*/ 1792947 h 5973007"/>
              <a:gd name="connsiteX45044" fmla="*/ 1302061 w 6884782"/>
              <a:gd name="connsiteY45044" fmla="*/ 1794496 h 5973007"/>
              <a:gd name="connsiteX45045" fmla="*/ 1297311 w 6884782"/>
              <a:gd name="connsiteY45045" fmla="*/ 1793102 h 5973007"/>
              <a:gd name="connsiteX45046" fmla="*/ 1295350 w 6884782"/>
              <a:gd name="connsiteY45046" fmla="*/ 1793102 h 5973007"/>
              <a:gd name="connsiteX45047" fmla="*/ 1296382 w 6884782"/>
              <a:gd name="connsiteY45047" fmla="*/ 1791553 h 5973007"/>
              <a:gd name="connsiteX45048" fmla="*/ 1299273 w 6884782"/>
              <a:gd name="connsiteY45048" fmla="*/ 1793102 h 5973007"/>
              <a:gd name="connsiteX45049" fmla="*/ 1300306 w 6884782"/>
              <a:gd name="connsiteY45049" fmla="*/ 1791553 h 5973007"/>
              <a:gd name="connsiteX45050" fmla="*/ 1301545 w 6884782"/>
              <a:gd name="connsiteY45050" fmla="*/ 1791863 h 5973007"/>
              <a:gd name="connsiteX45051" fmla="*/ 1301648 w 6884782"/>
              <a:gd name="connsiteY45051" fmla="*/ 1792018 h 5973007"/>
              <a:gd name="connsiteX45052" fmla="*/ 1301855 w 6884782"/>
              <a:gd name="connsiteY45052" fmla="*/ 1791863 h 5973007"/>
              <a:gd name="connsiteX45053" fmla="*/ 1301545 w 6884782"/>
              <a:gd name="connsiteY45053" fmla="*/ 1791863 h 5973007"/>
              <a:gd name="connsiteX45054" fmla="*/ 1297415 w 6884782"/>
              <a:gd name="connsiteY45054" fmla="*/ 1784428 h 5973007"/>
              <a:gd name="connsiteX45055" fmla="*/ 1296382 w 6884782"/>
              <a:gd name="connsiteY45055" fmla="*/ 1784273 h 5973007"/>
              <a:gd name="connsiteX45056" fmla="*/ 1295969 w 6884782"/>
              <a:gd name="connsiteY45056" fmla="*/ 1785047 h 5973007"/>
              <a:gd name="connsiteX45057" fmla="*/ 1296589 w 6884782"/>
              <a:gd name="connsiteY45057" fmla="*/ 1787371 h 5973007"/>
              <a:gd name="connsiteX45058" fmla="*/ 1292252 w 6884782"/>
              <a:gd name="connsiteY45058" fmla="*/ 1794031 h 5973007"/>
              <a:gd name="connsiteX45059" fmla="*/ 1289670 w 6884782"/>
              <a:gd name="connsiteY45059" fmla="*/ 1793412 h 5973007"/>
              <a:gd name="connsiteX45060" fmla="*/ 1287089 w 6884782"/>
              <a:gd name="connsiteY45060" fmla="*/ 1792947 h 5973007"/>
              <a:gd name="connsiteX45061" fmla="*/ 1288225 w 6884782"/>
              <a:gd name="connsiteY45061" fmla="*/ 1793257 h 5973007"/>
              <a:gd name="connsiteX45062" fmla="*/ 1289774 w 6884782"/>
              <a:gd name="connsiteY45062" fmla="*/ 1796974 h 5973007"/>
              <a:gd name="connsiteX45063" fmla="*/ 1283165 w 6884782"/>
              <a:gd name="connsiteY45063" fmla="*/ 1795425 h 5973007"/>
              <a:gd name="connsiteX45064" fmla="*/ 1283372 w 6884782"/>
              <a:gd name="connsiteY45064" fmla="*/ 1792018 h 5973007"/>
              <a:gd name="connsiteX45065" fmla="*/ 1283269 w 6884782"/>
              <a:gd name="connsiteY45065" fmla="*/ 1792018 h 5973007"/>
              <a:gd name="connsiteX45066" fmla="*/ 1279551 w 6884782"/>
              <a:gd name="connsiteY45066" fmla="*/ 1791553 h 5973007"/>
              <a:gd name="connsiteX45067" fmla="*/ 1279138 w 6884782"/>
              <a:gd name="connsiteY45067" fmla="*/ 1790779 h 5973007"/>
              <a:gd name="connsiteX45068" fmla="*/ 1280377 w 6884782"/>
              <a:gd name="connsiteY45068" fmla="*/ 1789230 h 5973007"/>
              <a:gd name="connsiteX45069" fmla="*/ 1281720 w 6884782"/>
              <a:gd name="connsiteY45069" fmla="*/ 1789230 h 5973007"/>
              <a:gd name="connsiteX45070" fmla="*/ 1280067 w 6884782"/>
              <a:gd name="connsiteY45070" fmla="*/ 1786286 h 5973007"/>
              <a:gd name="connsiteX45071" fmla="*/ 1286057 w 6884782"/>
              <a:gd name="connsiteY45071" fmla="*/ 1778542 h 5973007"/>
              <a:gd name="connsiteX45072" fmla="*/ 1295350 w 6884782"/>
              <a:gd name="connsiteY45072" fmla="*/ 1782724 h 5973007"/>
              <a:gd name="connsiteX45073" fmla="*/ 1296072 w 6884782"/>
              <a:gd name="connsiteY45073" fmla="*/ 1782414 h 5973007"/>
              <a:gd name="connsiteX45074" fmla="*/ 1295350 w 6884782"/>
              <a:gd name="connsiteY45074" fmla="*/ 1781640 h 5973007"/>
              <a:gd name="connsiteX45075" fmla="*/ 1294627 w 6884782"/>
              <a:gd name="connsiteY45075" fmla="*/ 1780865 h 5973007"/>
              <a:gd name="connsiteX45076" fmla="*/ 1294420 w 6884782"/>
              <a:gd name="connsiteY45076" fmla="*/ 1779006 h 5973007"/>
              <a:gd name="connsiteX45077" fmla="*/ 1297001 w 6884782"/>
              <a:gd name="connsiteY45077" fmla="*/ 1773740 h 5973007"/>
              <a:gd name="connsiteX45078" fmla="*/ 3700698 w 6884782"/>
              <a:gd name="connsiteY45078" fmla="*/ 1773097 h 5973007"/>
              <a:gd name="connsiteX45079" fmla="*/ 3703686 w 6884782"/>
              <a:gd name="connsiteY45079" fmla="*/ 1773524 h 5973007"/>
              <a:gd name="connsiteX45080" fmla="*/ 3696430 w 6884782"/>
              <a:gd name="connsiteY45080" fmla="*/ 1778930 h 5973007"/>
              <a:gd name="connsiteX45081" fmla="*/ 3694509 w 6884782"/>
              <a:gd name="connsiteY45081" fmla="*/ 1778361 h 5973007"/>
              <a:gd name="connsiteX45082" fmla="*/ 3700698 w 6884782"/>
              <a:gd name="connsiteY45082" fmla="*/ 1773097 h 5973007"/>
              <a:gd name="connsiteX45083" fmla="*/ 990227 w 6884782"/>
              <a:gd name="connsiteY45083" fmla="*/ 1772811 h 5973007"/>
              <a:gd name="connsiteX45084" fmla="*/ 998178 w 6884782"/>
              <a:gd name="connsiteY45084" fmla="*/ 1774359 h 5973007"/>
              <a:gd name="connsiteX45085" fmla="*/ 990227 w 6884782"/>
              <a:gd name="connsiteY45085" fmla="*/ 1772811 h 5973007"/>
              <a:gd name="connsiteX45086" fmla="*/ 5773644 w 6884782"/>
              <a:gd name="connsiteY45086" fmla="*/ 1772528 h 5973007"/>
              <a:gd name="connsiteX45087" fmla="*/ 5780047 w 6884782"/>
              <a:gd name="connsiteY45087" fmla="*/ 1776512 h 5973007"/>
              <a:gd name="connsiteX45088" fmla="*/ 5750595 w 6884782"/>
              <a:gd name="connsiteY45088" fmla="*/ 1785474 h 5973007"/>
              <a:gd name="connsiteX45089" fmla="*/ 5773644 w 6884782"/>
              <a:gd name="connsiteY45089" fmla="*/ 1772528 h 5973007"/>
              <a:gd name="connsiteX45090" fmla="*/ 1099369 w 6884782"/>
              <a:gd name="connsiteY45090" fmla="*/ 1772346 h 5973007"/>
              <a:gd name="connsiteX45091" fmla="*/ 1113515 w 6884782"/>
              <a:gd name="connsiteY45091" fmla="*/ 1792018 h 5973007"/>
              <a:gd name="connsiteX45092" fmla="*/ 1098440 w 6884782"/>
              <a:gd name="connsiteY45092" fmla="*/ 1774514 h 5973007"/>
              <a:gd name="connsiteX45093" fmla="*/ 1099369 w 6884782"/>
              <a:gd name="connsiteY45093" fmla="*/ 1772346 h 5973007"/>
              <a:gd name="connsiteX45094" fmla="*/ 862809 w 6884782"/>
              <a:gd name="connsiteY45094" fmla="*/ 1772346 h 5973007"/>
              <a:gd name="connsiteX45095" fmla="*/ 864874 w 6884782"/>
              <a:gd name="connsiteY45095" fmla="*/ 1779471 h 5973007"/>
              <a:gd name="connsiteX45096" fmla="*/ 858059 w 6884782"/>
              <a:gd name="connsiteY45096" fmla="*/ 1782879 h 5973007"/>
              <a:gd name="connsiteX45097" fmla="*/ 857130 w 6884782"/>
              <a:gd name="connsiteY45097" fmla="*/ 1781330 h 5973007"/>
              <a:gd name="connsiteX45098" fmla="*/ 856407 w 6884782"/>
              <a:gd name="connsiteY45098" fmla="*/ 1779316 h 5973007"/>
              <a:gd name="connsiteX45099" fmla="*/ 856511 w 6884782"/>
              <a:gd name="connsiteY45099" fmla="*/ 1777302 h 5973007"/>
              <a:gd name="connsiteX45100" fmla="*/ 857646 w 6884782"/>
              <a:gd name="connsiteY45100" fmla="*/ 1774669 h 5973007"/>
              <a:gd name="connsiteX45101" fmla="*/ 860951 w 6884782"/>
              <a:gd name="connsiteY45101" fmla="*/ 1772501 h 5973007"/>
              <a:gd name="connsiteX45102" fmla="*/ 862809 w 6884782"/>
              <a:gd name="connsiteY45102" fmla="*/ 1772346 h 5973007"/>
              <a:gd name="connsiteX45103" fmla="*/ 984549 w 6884782"/>
              <a:gd name="connsiteY45103" fmla="*/ 1772191 h 5973007"/>
              <a:gd name="connsiteX45104" fmla="*/ 987853 w 6884782"/>
              <a:gd name="connsiteY45104" fmla="*/ 1773430 h 5973007"/>
              <a:gd name="connsiteX45105" fmla="*/ 984549 w 6884782"/>
              <a:gd name="connsiteY45105" fmla="*/ 1773121 h 5973007"/>
              <a:gd name="connsiteX45106" fmla="*/ 983929 w 6884782"/>
              <a:gd name="connsiteY45106" fmla="*/ 1772501 h 5973007"/>
              <a:gd name="connsiteX45107" fmla="*/ 984549 w 6884782"/>
              <a:gd name="connsiteY45107" fmla="*/ 1772191 h 5973007"/>
              <a:gd name="connsiteX45108" fmla="*/ 4729809 w 6884782"/>
              <a:gd name="connsiteY45108" fmla="*/ 1772101 h 5973007"/>
              <a:gd name="connsiteX45109" fmla="*/ 4746668 w 6884782"/>
              <a:gd name="connsiteY45109" fmla="*/ 1777792 h 5973007"/>
              <a:gd name="connsiteX45110" fmla="*/ 4713802 w 6884782"/>
              <a:gd name="connsiteY45110" fmla="*/ 1772670 h 5973007"/>
              <a:gd name="connsiteX45111" fmla="*/ 4729809 w 6884782"/>
              <a:gd name="connsiteY45111" fmla="*/ 1772101 h 5973007"/>
              <a:gd name="connsiteX45112" fmla="*/ 839680 w 6884782"/>
              <a:gd name="connsiteY45112" fmla="*/ 1771571 h 5973007"/>
              <a:gd name="connsiteX45113" fmla="*/ 842984 w 6884782"/>
              <a:gd name="connsiteY45113" fmla="*/ 1772346 h 5973007"/>
              <a:gd name="connsiteX45114" fmla="*/ 843810 w 6884782"/>
              <a:gd name="connsiteY45114" fmla="*/ 1772036 h 5973007"/>
              <a:gd name="connsiteX45115" fmla="*/ 846288 w 6884782"/>
              <a:gd name="connsiteY45115" fmla="*/ 1773121 h 5973007"/>
              <a:gd name="connsiteX45116" fmla="*/ 846908 w 6884782"/>
              <a:gd name="connsiteY45116" fmla="*/ 1774049 h 5973007"/>
              <a:gd name="connsiteX45117" fmla="*/ 849696 w 6884782"/>
              <a:gd name="connsiteY45117" fmla="*/ 1776218 h 5973007"/>
              <a:gd name="connsiteX45118" fmla="*/ 848353 w 6884782"/>
              <a:gd name="connsiteY45118" fmla="*/ 1776993 h 5973007"/>
              <a:gd name="connsiteX45119" fmla="*/ 847940 w 6884782"/>
              <a:gd name="connsiteY45119" fmla="*/ 1780091 h 5973007"/>
              <a:gd name="connsiteX45120" fmla="*/ 849490 w 6884782"/>
              <a:gd name="connsiteY45120" fmla="*/ 1784428 h 5973007"/>
              <a:gd name="connsiteX45121" fmla="*/ 846288 w 6884782"/>
              <a:gd name="connsiteY45121" fmla="*/ 1779006 h 5973007"/>
              <a:gd name="connsiteX45122" fmla="*/ 845049 w 6884782"/>
              <a:gd name="connsiteY45122" fmla="*/ 1778542 h 5973007"/>
              <a:gd name="connsiteX45123" fmla="*/ 844843 w 6884782"/>
              <a:gd name="connsiteY45123" fmla="*/ 1778697 h 5973007"/>
              <a:gd name="connsiteX45124" fmla="*/ 844533 w 6884782"/>
              <a:gd name="connsiteY45124" fmla="*/ 1778387 h 5973007"/>
              <a:gd name="connsiteX45125" fmla="*/ 843707 w 6884782"/>
              <a:gd name="connsiteY45125" fmla="*/ 1777922 h 5973007"/>
              <a:gd name="connsiteX45126" fmla="*/ 843500 w 6884782"/>
              <a:gd name="connsiteY45126" fmla="*/ 1777612 h 5973007"/>
              <a:gd name="connsiteX45127" fmla="*/ 841435 w 6884782"/>
              <a:gd name="connsiteY45127" fmla="*/ 1776528 h 5973007"/>
              <a:gd name="connsiteX45128" fmla="*/ 837615 w 6884782"/>
              <a:gd name="connsiteY45128" fmla="*/ 1774979 h 5973007"/>
              <a:gd name="connsiteX45129" fmla="*/ 837408 w 6884782"/>
              <a:gd name="connsiteY45129" fmla="*/ 1772811 h 5973007"/>
              <a:gd name="connsiteX45130" fmla="*/ 839680 w 6884782"/>
              <a:gd name="connsiteY45130" fmla="*/ 1771571 h 5973007"/>
              <a:gd name="connsiteX45131" fmla="*/ 3804847 w 6884782"/>
              <a:gd name="connsiteY45131" fmla="*/ 1770963 h 5973007"/>
              <a:gd name="connsiteX45132" fmla="*/ 3810823 w 6884782"/>
              <a:gd name="connsiteY45132" fmla="*/ 1770963 h 5973007"/>
              <a:gd name="connsiteX45133" fmla="*/ 3810610 w 6884782"/>
              <a:gd name="connsiteY45133" fmla="*/ 1781633 h 5973007"/>
              <a:gd name="connsiteX45134" fmla="*/ 3799939 w 6884782"/>
              <a:gd name="connsiteY45134" fmla="*/ 1787466 h 5973007"/>
              <a:gd name="connsiteX45135" fmla="*/ 3796737 w 6884782"/>
              <a:gd name="connsiteY45135" fmla="*/ 1776369 h 5973007"/>
              <a:gd name="connsiteX45136" fmla="*/ 3798018 w 6884782"/>
              <a:gd name="connsiteY45136" fmla="*/ 1775231 h 5973007"/>
              <a:gd name="connsiteX45137" fmla="*/ 3804847 w 6884782"/>
              <a:gd name="connsiteY45137" fmla="*/ 1770963 h 5973007"/>
              <a:gd name="connsiteX45138" fmla="*/ 3555573 w 6884782"/>
              <a:gd name="connsiteY45138" fmla="*/ 1770678 h 5973007"/>
              <a:gd name="connsiteX45139" fmla="*/ 3567311 w 6884782"/>
              <a:gd name="connsiteY45139" fmla="*/ 1777792 h 5973007"/>
              <a:gd name="connsiteX45140" fmla="*/ 3552799 w 6884782"/>
              <a:gd name="connsiteY45140" fmla="*/ 1790738 h 5973007"/>
              <a:gd name="connsiteX45141" fmla="*/ 3550237 w 6884782"/>
              <a:gd name="connsiteY45141" fmla="*/ 1770963 h 5973007"/>
              <a:gd name="connsiteX45142" fmla="*/ 3555573 w 6884782"/>
              <a:gd name="connsiteY45142" fmla="*/ 1770678 h 5973007"/>
              <a:gd name="connsiteX45143" fmla="*/ 1531187 w 6884782"/>
              <a:gd name="connsiteY45143" fmla="*/ 1770642 h 5973007"/>
              <a:gd name="connsiteX45144" fmla="*/ 1531600 w 6884782"/>
              <a:gd name="connsiteY45144" fmla="*/ 1771262 h 5973007"/>
              <a:gd name="connsiteX45145" fmla="*/ 1527882 w 6884782"/>
              <a:gd name="connsiteY45145" fmla="*/ 1773275 h 5973007"/>
              <a:gd name="connsiteX45146" fmla="*/ 1528296 w 6884782"/>
              <a:gd name="connsiteY45146" fmla="*/ 1771107 h 5973007"/>
              <a:gd name="connsiteX45147" fmla="*/ 1531187 w 6884782"/>
              <a:gd name="connsiteY45147" fmla="*/ 1770642 h 5973007"/>
              <a:gd name="connsiteX45148" fmla="*/ 1189408 w 6884782"/>
              <a:gd name="connsiteY45148" fmla="*/ 1770642 h 5973007"/>
              <a:gd name="connsiteX45149" fmla="*/ 1191370 w 6884782"/>
              <a:gd name="connsiteY45149" fmla="*/ 1770642 h 5973007"/>
              <a:gd name="connsiteX45150" fmla="*/ 1192094 w 6884782"/>
              <a:gd name="connsiteY45150" fmla="*/ 1772811 h 5973007"/>
              <a:gd name="connsiteX45151" fmla="*/ 1189512 w 6884782"/>
              <a:gd name="connsiteY45151" fmla="*/ 1777302 h 5973007"/>
              <a:gd name="connsiteX45152" fmla="*/ 1187550 w 6884782"/>
              <a:gd name="connsiteY45152" fmla="*/ 1777302 h 5973007"/>
              <a:gd name="connsiteX45153" fmla="*/ 1186621 w 6884782"/>
              <a:gd name="connsiteY45153" fmla="*/ 1773585 h 5973007"/>
              <a:gd name="connsiteX45154" fmla="*/ 1189408 w 6884782"/>
              <a:gd name="connsiteY45154" fmla="*/ 1770642 h 5973007"/>
              <a:gd name="connsiteX45155" fmla="*/ 1181251 w 6884782"/>
              <a:gd name="connsiteY45155" fmla="*/ 1769867 h 5973007"/>
              <a:gd name="connsiteX45156" fmla="*/ 1180425 w 6884782"/>
              <a:gd name="connsiteY45156" fmla="*/ 1773121 h 5973007"/>
              <a:gd name="connsiteX45157" fmla="*/ 1178876 w 6884782"/>
              <a:gd name="connsiteY45157" fmla="*/ 1773121 h 5973007"/>
              <a:gd name="connsiteX45158" fmla="*/ 1177740 w 6884782"/>
              <a:gd name="connsiteY45158" fmla="*/ 1771107 h 5973007"/>
              <a:gd name="connsiteX45159" fmla="*/ 1168964 w 6884782"/>
              <a:gd name="connsiteY45159" fmla="*/ 1769867 h 5973007"/>
              <a:gd name="connsiteX45160" fmla="*/ 1176605 w 6884782"/>
              <a:gd name="connsiteY45160" fmla="*/ 1771416 h 5973007"/>
              <a:gd name="connsiteX45161" fmla="*/ 1175366 w 6884782"/>
              <a:gd name="connsiteY45161" fmla="*/ 1778542 h 5973007"/>
              <a:gd name="connsiteX45162" fmla="*/ 1173404 w 6884782"/>
              <a:gd name="connsiteY45162" fmla="*/ 1778542 h 5973007"/>
              <a:gd name="connsiteX45163" fmla="*/ 1171339 w 6884782"/>
              <a:gd name="connsiteY45163" fmla="*/ 1778232 h 5973007"/>
              <a:gd name="connsiteX45164" fmla="*/ 1167828 w 6884782"/>
              <a:gd name="connsiteY45164" fmla="*/ 1775134 h 5973007"/>
              <a:gd name="connsiteX45165" fmla="*/ 1167622 w 6884782"/>
              <a:gd name="connsiteY45165" fmla="*/ 1772656 h 5973007"/>
              <a:gd name="connsiteX45166" fmla="*/ 1168138 w 6884782"/>
              <a:gd name="connsiteY45166" fmla="*/ 1771262 h 5973007"/>
              <a:gd name="connsiteX45167" fmla="*/ 1168964 w 6884782"/>
              <a:gd name="connsiteY45167" fmla="*/ 1769867 h 5973007"/>
              <a:gd name="connsiteX45168" fmla="*/ 6106793 w 6884782"/>
              <a:gd name="connsiteY45168" fmla="*/ 1769825 h 5973007"/>
              <a:gd name="connsiteX45169" fmla="*/ 6109567 w 6884782"/>
              <a:gd name="connsiteY45169" fmla="*/ 1774520 h 5973007"/>
              <a:gd name="connsiteX45170" fmla="*/ 6103164 w 6884782"/>
              <a:gd name="connsiteY45170" fmla="*/ 1777223 h 5973007"/>
              <a:gd name="connsiteX45171" fmla="*/ 6100176 w 6884782"/>
              <a:gd name="connsiteY45171" fmla="*/ 1772670 h 5973007"/>
              <a:gd name="connsiteX45172" fmla="*/ 6106793 w 6884782"/>
              <a:gd name="connsiteY45172" fmla="*/ 1769825 h 5973007"/>
              <a:gd name="connsiteX45173" fmla="*/ 5618702 w 6884782"/>
              <a:gd name="connsiteY45173" fmla="*/ 1769398 h 5973007"/>
              <a:gd name="connsiteX45174" fmla="*/ 5621050 w 6884782"/>
              <a:gd name="connsiteY45174" fmla="*/ 1770963 h 5973007"/>
              <a:gd name="connsiteX45175" fmla="*/ 5615074 w 6884782"/>
              <a:gd name="connsiteY45175" fmla="*/ 1777792 h 5973007"/>
              <a:gd name="connsiteX45176" fmla="*/ 5612726 w 6884782"/>
              <a:gd name="connsiteY45176" fmla="*/ 1776369 h 5973007"/>
              <a:gd name="connsiteX45177" fmla="*/ 5613366 w 6884782"/>
              <a:gd name="connsiteY45177" fmla="*/ 1773097 h 5973007"/>
              <a:gd name="connsiteX45178" fmla="*/ 5618702 w 6884782"/>
              <a:gd name="connsiteY45178" fmla="*/ 1769398 h 5973007"/>
              <a:gd name="connsiteX45179" fmla="*/ 5599921 w 6884782"/>
              <a:gd name="connsiteY45179" fmla="*/ 1769256 h 5973007"/>
              <a:gd name="connsiteX45180" fmla="*/ 5603122 w 6884782"/>
              <a:gd name="connsiteY45180" fmla="*/ 1782060 h 5973007"/>
              <a:gd name="connsiteX45181" fmla="*/ 5602482 w 6884782"/>
              <a:gd name="connsiteY45181" fmla="*/ 1783198 h 5973007"/>
              <a:gd name="connsiteX45182" fmla="*/ 5602482 w 6884782"/>
              <a:gd name="connsiteY45182" fmla="*/ 1786471 h 5973007"/>
              <a:gd name="connsiteX45183" fmla="*/ 5598000 w 6884782"/>
              <a:gd name="connsiteY45183" fmla="*/ 1788320 h 5973007"/>
              <a:gd name="connsiteX45184" fmla="*/ 5592025 w 6884782"/>
              <a:gd name="connsiteY45184" fmla="*/ 1783625 h 5973007"/>
              <a:gd name="connsiteX45185" fmla="*/ 5591597 w 6884782"/>
              <a:gd name="connsiteY45185" fmla="*/ 1778219 h 5973007"/>
              <a:gd name="connsiteX45186" fmla="*/ 5589677 w 6884782"/>
              <a:gd name="connsiteY45186" fmla="*/ 1779784 h 5973007"/>
              <a:gd name="connsiteX45187" fmla="*/ 5584128 w 6884782"/>
              <a:gd name="connsiteY45187" fmla="*/ 1774946 h 5973007"/>
              <a:gd name="connsiteX45188" fmla="*/ 5589037 w 6884782"/>
              <a:gd name="connsiteY45188" fmla="*/ 1773381 h 5973007"/>
              <a:gd name="connsiteX45189" fmla="*/ 5591384 w 6884782"/>
              <a:gd name="connsiteY45189" fmla="*/ 1775516 h 5973007"/>
              <a:gd name="connsiteX45190" fmla="*/ 5591384 w 6884782"/>
              <a:gd name="connsiteY45190" fmla="*/ 1774520 h 5973007"/>
              <a:gd name="connsiteX45191" fmla="*/ 5598000 w 6884782"/>
              <a:gd name="connsiteY45191" fmla="*/ 1772386 h 5973007"/>
              <a:gd name="connsiteX45192" fmla="*/ 4991248 w 6884782"/>
              <a:gd name="connsiteY45192" fmla="*/ 1768971 h 5973007"/>
              <a:gd name="connsiteX45193" fmla="*/ 4995089 w 6884782"/>
              <a:gd name="connsiteY45193" fmla="*/ 1771959 h 5973007"/>
              <a:gd name="connsiteX45194" fmla="*/ 4996583 w 6884782"/>
              <a:gd name="connsiteY45194" fmla="*/ 1775373 h 5973007"/>
              <a:gd name="connsiteX45195" fmla="*/ 4995516 w 6884782"/>
              <a:gd name="connsiteY45195" fmla="*/ 1779215 h 5973007"/>
              <a:gd name="connsiteX45196" fmla="*/ 4993168 w 6884782"/>
              <a:gd name="connsiteY45196" fmla="*/ 1781207 h 5973007"/>
              <a:gd name="connsiteX45197" fmla="*/ 4986339 w 6884782"/>
              <a:gd name="connsiteY45197" fmla="*/ 1780068 h 5973007"/>
              <a:gd name="connsiteX45198" fmla="*/ 4986979 w 6884782"/>
              <a:gd name="connsiteY45198" fmla="*/ 1769541 h 5973007"/>
              <a:gd name="connsiteX45199" fmla="*/ 4991248 w 6884782"/>
              <a:gd name="connsiteY45199" fmla="*/ 1768971 h 5973007"/>
              <a:gd name="connsiteX45200" fmla="*/ 4863623 w 6884782"/>
              <a:gd name="connsiteY45200" fmla="*/ 1768544 h 5973007"/>
              <a:gd name="connsiteX45201" fmla="*/ 4863196 w 6884782"/>
              <a:gd name="connsiteY45201" fmla="*/ 1769967 h 5973007"/>
              <a:gd name="connsiteX45202" fmla="*/ 4863409 w 6884782"/>
              <a:gd name="connsiteY45202" fmla="*/ 1769541 h 5973007"/>
              <a:gd name="connsiteX45203" fmla="*/ 732396 w 6884782"/>
              <a:gd name="connsiteY45203" fmla="*/ 1768474 h 5973007"/>
              <a:gd name="connsiteX45204" fmla="*/ 734152 w 6884782"/>
              <a:gd name="connsiteY45204" fmla="*/ 1772811 h 5973007"/>
              <a:gd name="connsiteX45205" fmla="*/ 731570 w 6884782"/>
              <a:gd name="connsiteY45205" fmla="*/ 1769248 h 5973007"/>
              <a:gd name="connsiteX45206" fmla="*/ 732396 w 6884782"/>
              <a:gd name="connsiteY45206" fmla="*/ 1768474 h 5973007"/>
              <a:gd name="connsiteX45207" fmla="*/ 5578792 w 6884782"/>
              <a:gd name="connsiteY45207" fmla="*/ 1767406 h 5973007"/>
              <a:gd name="connsiteX45208" fmla="*/ 5581994 w 6884782"/>
              <a:gd name="connsiteY45208" fmla="*/ 1769541 h 5973007"/>
              <a:gd name="connsiteX45209" fmla="*/ 5583487 w 6884782"/>
              <a:gd name="connsiteY45209" fmla="*/ 1775516 h 5973007"/>
              <a:gd name="connsiteX45210" fmla="*/ 5573030 w 6884782"/>
              <a:gd name="connsiteY45210" fmla="*/ 1774946 h 5973007"/>
              <a:gd name="connsiteX45211" fmla="*/ 5571749 w 6884782"/>
              <a:gd name="connsiteY45211" fmla="*/ 1771390 h 5973007"/>
              <a:gd name="connsiteX45212" fmla="*/ 5578792 w 6884782"/>
              <a:gd name="connsiteY45212" fmla="*/ 1767406 h 5973007"/>
              <a:gd name="connsiteX45213" fmla="*/ 932300 w 6884782"/>
              <a:gd name="connsiteY45213" fmla="*/ 1767389 h 5973007"/>
              <a:gd name="connsiteX45214" fmla="*/ 933540 w 6884782"/>
              <a:gd name="connsiteY45214" fmla="*/ 1768474 h 5973007"/>
              <a:gd name="connsiteX45215" fmla="*/ 925279 w 6884782"/>
              <a:gd name="connsiteY45215" fmla="*/ 1768009 h 5973007"/>
              <a:gd name="connsiteX45216" fmla="*/ 932300 w 6884782"/>
              <a:gd name="connsiteY45216" fmla="*/ 1767389 h 5973007"/>
              <a:gd name="connsiteX45217" fmla="*/ 1539654 w 6884782"/>
              <a:gd name="connsiteY45217" fmla="*/ 1767079 h 5973007"/>
              <a:gd name="connsiteX45218" fmla="*/ 1541099 w 6884782"/>
              <a:gd name="connsiteY45218" fmla="*/ 1769403 h 5973007"/>
              <a:gd name="connsiteX45219" fmla="*/ 1536763 w 6884782"/>
              <a:gd name="connsiteY45219" fmla="*/ 1770487 h 5973007"/>
              <a:gd name="connsiteX45220" fmla="*/ 1536143 w 6884782"/>
              <a:gd name="connsiteY45220" fmla="*/ 1767854 h 5973007"/>
              <a:gd name="connsiteX45221" fmla="*/ 1539654 w 6884782"/>
              <a:gd name="connsiteY45221" fmla="*/ 1767079 h 5973007"/>
              <a:gd name="connsiteX45222" fmla="*/ 5473149 w 6884782"/>
              <a:gd name="connsiteY45222" fmla="*/ 1765984 h 5973007"/>
              <a:gd name="connsiteX45223" fmla="*/ 5486168 w 6884782"/>
              <a:gd name="connsiteY45223" fmla="*/ 1773524 h 5973007"/>
              <a:gd name="connsiteX45224" fmla="*/ 5487235 w 6884782"/>
              <a:gd name="connsiteY45224" fmla="*/ 1775658 h 5973007"/>
              <a:gd name="connsiteX45225" fmla="*/ 5491931 w 6884782"/>
              <a:gd name="connsiteY45225" fmla="*/ 1773524 h 5973007"/>
              <a:gd name="connsiteX45226" fmla="*/ 5491077 w 6884782"/>
              <a:gd name="connsiteY45226" fmla="*/ 1775231 h 5973007"/>
              <a:gd name="connsiteX45227" fmla="*/ 5488729 w 6884782"/>
              <a:gd name="connsiteY45227" fmla="*/ 1776085 h 5973007"/>
              <a:gd name="connsiteX45228" fmla="*/ 5487662 w 6884782"/>
              <a:gd name="connsiteY45228" fmla="*/ 1776369 h 5973007"/>
              <a:gd name="connsiteX45229" fmla="*/ 5488729 w 6884782"/>
              <a:gd name="connsiteY45229" fmla="*/ 1778788 h 5973007"/>
              <a:gd name="connsiteX45230" fmla="*/ 5480406 w 6884782"/>
              <a:gd name="connsiteY45230" fmla="*/ 1787609 h 5973007"/>
              <a:gd name="connsiteX45231" fmla="*/ 5468454 w 6884782"/>
              <a:gd name="connsiteY45231" fmla="*/ 1766695 h 5973007"/>
              <a:gd name="connsiteX45232" fmla="*/ 5473149 w 6884782"/>
              <a:gd name="connsiteY45232" fmla="*/ 1765984 h 5973007"/>
              <a:gd name="connsiteX45233" fmla="*/ 6046181 w 6884782"/>
              <a:gd name="connsiteY45233" fmla="*/ 1765699 h 5973007"/>
              <a:gd name="connsiteX45234" fmla="*/ 6048102 w 6884782"/>
              <a:gd name="connsiteY45234" fmla="*/ 1768687 h 5973007"/>
              <a:gd name="connsiteX45235" fmla="*/ 6048316 w 6884782"/>
              <a:gd name="connsiteY45235" fmla="*/ 1769256 h 5973007"/>
              <a:gd name="connsiteX45236" fmla="*/ 6050237 w 6884782"/>
              <a:gd name="connsiteY45236" fmla="*/ 1768402 h 5973007"/>
              <a:gd name="connsiteX45237" fmla="*/ 6051517 w 6884782"/>
              <a:gd name="connsiteY45237" fmla="*/ 1770821 h 5973007"/>
              <a:gd name="connsiteX45238" fmla="*/ 6049169 w 6884782"/>
              <a:gd name="connsiteY45238" fmla="*/ 1772670 h 5973007"/>
              <a:gd name="connsiteX45239" fmla="*/ 6049596 w 6884782"/>
              <a:gd name="connsiteY45239" fmla="*/ 1773666 h 5973007"/>
              <a:gd name="connsiteX45240" fmla="*/ 6049169 w 6884782"/>
              <a:gd name="connsiteY45240" fmla="*/ 1777507 h 5973007"/>
              <a:gd name="connsiteX45241" fmla="*/ 6049596 w 6884782"/>
              <a:gd name="connsiteY45241" fmla="*/ 1777792 h 5973007"/>
              <a:gd name="connsiteX45242" fmla="*/ 6050023 w 6884782"/>
              <a:gd name="connsiteY45242" fmla="*/ 1789743 h 5973007"/>
              <a:gd name="connsiteX45243" fmla="*/ 6037431 w 6884782"/>
              <a:gd name="connsiteY45243" fmla="*/ 1792730 h 5973007"/>
              <a:gd name="connsiteX45244" fmla="*/ 6031455 w 6884782"/>
              <a:gd name="connsiteY45244" fmla="*/ 1789031 h 5973007"/>
              <a:gd name="connsiteX45245" fmla="*/ 6030602 w 6884782"/>
              <a:gd name="connsiteY45245" fmla="*/ 1785617 h 5973007"/>
              <a:gd name="connsiteX45246" fmla="*/ 6023986 w 6884782"/>
              <a:gd name="connsiteY45246" fmla="*/ 1783056 h 5973007"/>
              <a:gd name="connsiteX45247" fmla="*/ 6020784 w 6884782"/>
              <a:gd name="connsiteY45247" fmla="*/ 1776085 h 5973007"/>
              <a:gd name="connsiteX45248" fmla="*/ 6023986 w 6884782"/>
              <a:gd name="connsiteY45248" fmla="*/ 1774662 h 5973007"/>
              <a:gd name="connsiteX45249" fmla="*/ 6030815 w 6884782"/>
              <a:gd name="connsiteY45249" fmla="*/ 1777650 h 5973007"/>
              <a:gd name="connsiteX45250" fmla="*/ 6031882 w 6884782"/>
              <a:gd name="connsiteY45250" fmla="*/ 1774662 h 5973007"/>
              <a:gd name="connsiteX45251" fmla="*/ 6036151 w 6884782"/>
              <a:gd name="connsiteY45251" fmla="*/ 1771674 h 5973007"/>
              <a:gd name="connsiteX45252" fmla="*/ 6037858 w 6884782"/>
              <a:gd name="connsiteY45252" fmla="*/ 1771674 h 5973007"/>
              <a:gd name="connsiteX45253" fmla="*/ 6037645 w 6884782"/>
              <a:gd name="connsiteY45253" fmla="*/ 1770251 h 5973007"/>
              <a:gd name="connsiteX45254" fmla="*/ 6041059 w 6884782"/>
              <a:gd name="connsiteY45254" fmla="*/ 1768544 h 5973007"/>
              <a:gd name="connsiteX45255" fmla="*/ 6042553 w 6884782"/>
              <a:gd name="connsiteY45255" fmla="*/ 1766268 h 5973007"/>
              <a:gd name="connsiteX45256" fmla="*/ 6046181 w 6884782"/>
              <a:gd name="connsiteY45256" fmla="*/ 1765699 h 5973007"/>
              <a:gd name="connsiteX45257" fmla="*/ 3760243 w 6884782"/>
              <a:gd name="connsiteY45257" fmla="*/ 1765272 h 5973007"/>
              <a:gd name="connsiteX45258" fmla="*/ 3766645 w 6884782"/>
              <a:gd name="connsiteY45258" fmla="*/ 1793726 h 5973007"/>
              <a:gd name="connsiteX45259" fmla="*/ 3743809 w 6884782"/>
              <a:gd name="connsiteY45259" fmla="*/ 1769825 h 5973007"/>
              <a:gd name="connsiteX45260" fmla="*/ 3760243 w 6884782"/>
              <a:gd name="connsiteY45260" fmla="*/ 1765272 h 5973007"/>
              <a:gd name="connsiteX45261" fmla="*/ 3720973 w 6884782"/>
              <a:gd name="connsiteY45261" fmla="*/ 1764277 h 5973007"/>
              <a:gd name="connsiteX45262" fmla="*/ 3721187 w 6884782"/>
              <a:gd name="connsiteY45262" fmla="*/ 1766126 h 5973007"/>
              <a:gd name="connsiteX45263" fmla="*/ 3719479 w 6884782"/>
              <a:gd name="connsiteY45263" fmla="*/ 1767691 h 5973007"/>
              <a:gd name="connsiteX45264" fmla="*/ 3715851 w 6884782"/>
              <a:gd name="connsiteY45264" fmla="*/ 1770678 h 5973007"/>
              <a:gd name="connsiteX45265" fmla="*/ 3720973 w 6884782"/>
              <a:gd name="connsiteY45265" fmla="*/ 1764277 h 5973007"/>
              <a:gd name="connsiteX45266" fmla="*/ 4805146 w 6884782"/>
              <a:gd name="connsiteY45266" fmla="*/ 1764134 h 5973007"/>
              <a:gd name="connsiteX45267" fmla="*/ 4809201 w 6884782"/>
              <a:gd name="connsiteY45267" fmla="*/ 1764134 h 5973007"/>
              <a:gd name="connsiteX45268" fmla="*/ 4819658 w 6884782"/>
              <a:gd name="connsiteY45268" fmla="*/ 1774235 h 5973007"/>
              <a:gd name="connsiteX45269" fmla="*/ 4820939 w 6884782"/>
              <a:gd name="connsiteY45269" fmla="*/ 1777650 h 5973007"/>
              <a:gd name="connsiteX45270" fmla="*/ 4824140 w 6884782"/>
              <a:gd name="connsiteY45270" fmla="*/ 1782060 h 5973007"/>
              <a:gd name="connsiteX45271" fmla="*/ 4819658 w 6884782"/>
              <a:gd name="connsiteY45271" fmla="*/ 1786471 h 5973007"/>
              <a:gd name="connsiteX45272" fmla="*/ 4819872 w 6884782"/>
              <a:gd name="connsiteY45272" fmla="*/ 1786755 h 5973007"/>
              <a:gd name="connsiteX45273" fmla="*/ 4819018 w 6884782"/>
              <a:gd name="connsiteY45273" fmla="*/ 1787324 h 5973007"/>
              <a:gd name="connsiteX45274" fmla="*/ 4817524 w 6884782"/>
              <a:gd name="connsiteY45274" fmla="*/ 1789031 h 5973007"/>
              <a:gd name="connsiteX45275" fmla="*/ 4813042 w 6884782"/>
              <a:gd name="connsiteY45275" fmla="*/ 1791592 h 5973007"/>
              <a:gd name="connsiteX45276" fmla="*/ 4805999 w 6884782"/>
              <a:gd name="connsiteY45276" fmla="*/ 1793441 h 5973007"/>
              <a:gd name="connsiteX45277" fmla="*/ 4803225 w 6884782"/>
              <a:gd name="connsiteY45277" fmla="*/ 1792730 h 5973007"/>
              <a:gd name="connsiteX45278" fmla="*/ 4803651 w 6884782"/>
              <a:gd name="connsiteY45278" fmla="*/ 1796856 h 5973007"/>
              <a:gd name="connsiteX45279" fmla="*/ 4802158 w 6884782"/>
              <a:gd name="connsiteY45279" fmla="*/ 1802974 h 5973007"/>
              <a:gd name="connsiteX45280" fmla="*/ 4790847 w 6884782"/>
              <a:gd name="connsiteY45280" fmla="*/ 1804396 h 5973007"/>
              <a:gd name="connsiteX45281" fmla="*/ 4788712 w 6884782"/>
              <a:gd name="connsiteY45281" fmla="*/ 1784479 h 5973007"/>
              <a:gd name="connsiteX45282" fmla="*/ 4790633 w 6884782"/>
              <a:gd name="connsiteY45282" fmla="*/ 1783056 h 5973007"/>
              <a:gd name="connsiteX45283" fmla="*/ 4781456 w 6884782"/>
              <a:gd name="connsiteY45283" fmla="*/ 1781207 h 5973007"/>
              <a:gd name="connsiteX45284" fmla="*/ 4755632 w 6884782"/>
              <a:gd name="connsiteY45284" fmla="*/ 1777650 h 5973007"/>
              <a:gd name="connsiteX45285" fmla="*/ 4782523 w 6884782"/>
              <a:gd name="connsiteY45285" fmla="*/ 1768971 h 5973007"/>
              <a:gd name="connsiteX45286" fmla="*/ 4788285 w 6884782"/>
              <a:gd name="connsiteY45286" fmla="*/ 1772528 h 5973007"/>
              <a:gd name="connsiteX45287" fmla="*/ 4791060 w 6884782"/>
              <a:gd name="connsiteY45287" fmla="*/ 1782629 h 5973007"/>
              <a:gd name="connsiteX45288" fmla="*/ 4793407 w 6884782"/>
              <a:gd name="connsiteY45288" fmla="*/ 1780922 h 5973007"/>
              <a:gd name="connsiteX45289" fmla="*/ 4793194 w 6884782"/>
              <a:gd name="connsiteY45289" fmla="*/ 1779926 h 5973007"/>
              <a:gd name="connsiteX45290" fmla="*/ 4794261 w 6884782"/>
              <a:gd name="connsiteY45290" fmla="*/ 1770821 h 5973007"/>
              <a:gd name="connsiteX45291" fmla="*/ 4800023 w 6884782"/>
              <a:gd name="connsiteY45291" fmla="*/ 1765699 h 5973007"/>
              <a:gd name="connsiteX45292" fmla="*/ 4805146 w 6884782"/>
              <a:gd name="connsiteY45292" fmla="*/ 1764134 h 5973007"/>
              <a:gd name="connsiteX45293" fmla="*/ 6063255 w 6884782"/>
              <a:gd name="connsiteY45293" fmla="*/ 1763850 h 5973007"/>
              <a:gd name="connsiteX45294" fmla="*/ 6076487 w 6884782"/>
              <a:gd name="connsiteY45294" fmla="*/ 1770536 h 5973007"/>
              <a:gd name="connsiteX45295" fmla="*/ 6059840 w 6884782"/>
              <a:gd name="connsiteY45295" fmla="*/ 1764419 h 5973007"/>
              <a:gd name="connsiteX45296" fmla="*/ 6063255 w 6884782"/>
              <a:gd name="connsiteY45296" fmla="*/ 1763850 h 5973007"/>
              <a:gd name="connsiteX45297" fmla="*/ 5396318 w 6884782"/>
              <a:gd name="connsiteY45297" fmla="*/ 1763850 h 5973007"/>
              <a:gd name="connsiteX45298" fmla="*/ 5399733 w 6884782"/>
              <a:gd name="connsiteY45298" fmla="*/ 1765984 h 5973007"/>
              <a:gd name="connsiteX45299" fmla="*/ 5398239 w 6884782"/>
              <a:gd name="connsiteY45299" fmla="*/ 1772955 h 5973007"/>
              <a:gd name="connsiteX45300" fmla="*/ 5392264 w 6884782"/>
              <a:gd name="connsiteY45300" fmla="*/ 1766410 h 5973007"/>
              <a:gd name="connsiteX45301" fmla="*/ 5396318 w 6884782"/>
              <a:gd name="connsiteY45301" fmla="*/ 1763850 h 5973007"/>
              <a:gd name="connsiteX45302" fmla="*/ 5352781 w 6884782"/>
              <a:gd name="connsiteY45302" fmla="*/ 1763707 h 5973007"/>
              <a:gd name="connsiteX45303" fmla="*/ 5342537 w 6884782"/>
              <a:gd name="connsiteY45303" fmla="*/ 1774235 h 5973007"/>
              <a:gd name="connsiteX45304" fmla="*/ 5328664 w 6884782"/>
              <a:gd name="connsiteY45304" fmla="*/ 1777365 h 5973007"/>
              <a:gd name="connsiteX45305" fmla="*/ 5352781 w 6884782"/>
              <a:gd name="connsiteY45305" fmla="*/ 1763707 h 5973007"/>
              <a:gd name="connsiteX45306" fmla="*/ 5280431 w 6884782"/>
              <a:gd name="connsiteY45306" fmla="*/ 1762569 h 5973007"/>
              <a:gd name="connsiteX45307" fmla="*/ 5294730 w 6884782"/>
              <a:gd name="connsiteY45307" fmla="*/ 1773524 h 5973007"/>
              <a:gd name="connsiteX45308" fmla="*/ 5299639 w 6884782"/>
              <a:gd name="connsiteY45308" fmla="*/ 1778788 h 5973007"/>
              <a:gd name="connsiteX45309" fmla="*/ 5302200 w 6884782"/>
              <a:gd name="connsiteY45309" fmla="*/ 1777080 h 5973007"/>
              <a:gd name="connsiteX45310" fmla="*/ 5304334 w 6884782"/>
              <a:gd name="connsiteY45310" fmla="*/ 1778503 h 5973007"/>
              <a:gd name="connsiteX45311" fmla="*/ 5306255 w 6884782"/>
              <a:gd name="connsiteY45311" fmla="*/ 1780637 h 5973007"/>
              <a:gd name="connsiteX45312" fmla="*/ 5307322 w 6884782"/>
              <a:gd name="connsiteY45312" fmla="*/ 1783340 h 5973007"/>
              <a:gd name="connsiteX45313" fmla="*/ 5307322 w 6884782"/>
              <a:gd name="connsiteY45313" fmla="*/ 1787182 h 5973007"/>
              <a:gd name="connsiteX45314" fmla="*/ 5304334 w 6884782"/>
              <a:gd name="connsiteY45314" fmla="*/ 1791876 h 5973007"/>
              <a:gd name="connsiteX45315" fmla="*/ 5302200 w 6884782"/>
              <a:gd name="connsiteY45315" fmla="*/ 1793015 h 5973007"/>
              <a:gd name="connsiteX45316" fmla="*/ 5297078 w 6884782"/>
              <a:gd name="connsiteY45316" fmla="*/ 1790454 h 5973007"/>
              <a:gd name="connsiteX45317" fmla="*/ 5296438 w 6884782"/>
              <a:gd name="connsiteY45317" fmla="*/ 1788320 h 5973007"/>
              <a:gd name="connsiteX45318" fmla="*/ 5291956 w 6884782"/>
              <a:gd name="connsiteY45318" fmla="*/ 1784336 h 5973007"/>
              <a:gd name="connsiteX45319" fmla="*/ 5289608 w 6884782"/>
              <a:gd name="connsiteY45319" fmla="*/ 1783625 h 5973007"/>
              <a:gd name="connsiteX45320" fmla="*/ 5290035 w 6884782"/>
              <a:gd name="connsiteY45320" fmla="*/ 1782629 h 5973007"/>
              <a:gd name="connsiteX45321" fmla="*/ 5288755 w 6884782"/>
              <a:gd name="connsiteY45321" fmla="*/ 1781349 h 5973007"/>
              <a:gd name="connsiteX45322" fmla="*/ 5285340 w 6884782"/>
              <a:gd name="connsiteY45322" fmla="*/ 1775373 h 5973007"/>
              <a:gd name="connsiteX45323" fmla="*/ 5281499 w 6884782"/>
              <a:gd name="connsiteY45323" fmla="*/ 1776369 h 5973007"/>
              <a:gd name="connsiteX45324" fmla="*/ 5279364 w 6884782"/>
              <a:gd name="connsiteY45324" fmla="*/ 1775089 h 5973007"/>
              <a:gd name="connsiteX45325" fmla="*/ 5280431 w 6884782"/>
              <a:gd name="connsiteY45325" fmla="*/ 1771817 h 5973007"/>
              <a:gd name="connsiteX45326" fmla="*/ 5282566 w 6884782"/>
              <a:gd name="connsiteY45326" fmla="*/ 1769825 h 5973007"/>
              <a:gd name="connsiteX45327" fmla="*/ 5972765 w 6884782"/>
              <a:gd name="connsiteY45327" fmla="*/ 1762427 h 5973007"/>
              <a:gd name="connsiteX45328" fmla="*/ 5973619 w 6884782"/>
              <a:gd name="connsiteY45328" fmla="*/ 1768260 h 5973007"/>
              <a:gd name="connsiteX45329" fmla="*/ 5964655 w 6884782"/>
              <a:gd name="connsiteY45329" fmla="*/ 1771106 h 5973007"/>
              <a:gd name="connsiteX45330" fmla="*/ 5959106 w 6884782"/>
              <a:gd name="connsiteY45330" fmla="*/ 1773808 h 5973007"/>
              <a:gd name="connsiteX45331" fmla="*/ 5965296 w 6884782"/>
              <a:gd name="connsiteY45331" fmla="*/ 1768687 h 5973007"/>
              <a:gd name="connsiteX45332" fmla="*/ 5966149 w 6884782"/>
              <a:gd name="connsiteY45332" fmla="*/ 1765130 h 5973007"/>
              <a:gd name="connsiteX45333" fmla="*/ 5972765 w 6884782"/>
              <a:gd name="connsiteY45333" fmla="*/ 1762427 h 5973007"/>
              <a:gd name="connsiteX45334" fmla="*/ 4865330 w 6884782"/>
              <a:gd name="connsiteY45334" fmla="*/ 1762427 h 5973007"/>
              <a:gd name="connsiteX45335" fmla="*/ 4867464 w 6884782"/>
              <a:gd name="connsiteY45335" fmla="*/ 1764134 h 5973007"/>
              <a:gd name="connsiteX45336" fmla="*/ 4867464 w 6884782"/>
              <a:gd name="connsiteY45336" fmla="*/ 1765984 h 5973007"/>
              <a:gd name="connsiteX45337" fmla="*/ 4871519 w 6884782"/>
              <a:gd name="connsiteY45337" fmla="*/ 1763707 h 5973007"/>
              <a:gd name="connsiteX45338" fmla="*/ 4882190 w 6884782"/>
              <a:gd name="connsiteY45338" fmla="*/ 1771959 h 5973007"/>
              <a:gd name="connsiteX45339" fmla="*/ 4876428 w 6884782"/>
              <a:gd name="connsiteY45339" fmla="*/ 1784763 h 5973007"/>
              <a:gd name="connsiteX45340" fmla="*/ 4876855 w 6884782"/>
              <a:gd name="connsiteY45340" fmla="*/ 1785759 h 5973007"/>
              <a:gd name="connsiteX45341" fmla="*/ 4877922 w 6884782"/>
              <a:gd name="connsiteY45341" fmla="*/ 1784763 h 5973007"/>
              <a:gd name="connsiteX45342" fmla="*/ 4878989 w 6884782"/>
              <a:gd name="connsiteY45342" fmla="*/ 1783767 h 5973007"/>
              <a:gd name="connsiteX45343" fmla="*/ 4881550 w 6884782"/>
              <a:gd name="connsiteY45343" fmla="*/ 1783482 h 5973007"/>
              <a:gd name="connsiteX45344" fmla="*/ 4888806 w 6884782"/>
              <a:gd name="connsiteY45344" fmla="*/ 1787039 h 5973007"/>
              <a:gd name="connsiteX45345" fmla="*/ 4872373 w 6884782"/>
              <a:gd name="connsiteY45345" fmla="*/ 1795575 h 5973007"/>
              <a:gd name="connsiteX45346" fmla="*/ 4868318 w 6884782"/>
              <a:gd name="connsiteY45346" fmla="*/ 1795860 h 5973007"/>
              <a:gd name="connsiteX45347" fmla="*/ 4866824 w 6884782"/>
              <a:gd name="connsiteY45347" fmla="*/ 1799417 h 5973007"/>
              <a:gd name="connsiteX45348" fmla="*/ 4861488 w 6884782"/>
              <a:gd name="connsiteY45348" fmla="*/ 1796856 h 5973007"/>
              <a:gd name="connsiteX45349" fmla="*/ 4862342 w 6884782"/>
              <a:gd name="connsiteY45349" fmla="*/ 1793726 h 5973007"/>
              <a:gd name="connsiteX45350" fmla="*/ 4860208 w 6884782"/>
              <a:gd name="connsiteY45350" fmla="*/ 1794011 h 5973007"/>
              <a:gd name="connsiteX45351" fmla="*/ 4862129 w 6884782"/>
              <a:gd name="connsiteY45351" fmla="*/ 1787466 h 5973007"/>
              <a:gd name="connsiteX45352" fmla="*/ 4862129 w 6884782"/>
              <a:gd name="connsiteY45352" fmla="*/ 1784763 h 5973007"/>
              <a:gd name="connsiteX45353" fmla="*/ 4864263 w 6884782"/>
              <a:gd name="connsiteY45353" fmla="*/ 1786186 h 5973007"/>
              <a:gd name="connsiteX45354" fmla="*/ 4862129 w 6884782"/>
              <a:gd name="connsiteY45354" fmla="*/ 1790169 h 5973007"/>
              <a:gd name="connsiteX45355" fmla="*/ 4864263 w 6884782"/>
              <a:gd name="connsiteY45355" fmla="*/ 1791592 h 5973007"/>
              <a:gd name="connsiteX45356" fmla="*/ 4863836 w 6884782"/>
              <a:gd name="connsiteY45356" fmla="*/ 1793299 h 5973007"/>
              <a:gd name="connsiteX45357" fmla="*/ 4863623 w 6884782"/>
              <a:gd name="connsiteY45357" fmla="*/ 1793441 h 5973007"/>
              <a:gd name="connsiteX45358" fmla="*/ 4863836 w 6884782"/>
              <a:gd name="connsiteY45358" fmla="*/ 1793726 h 5973007"/>
              <a:gd name="connsiteX45359" fmla="*/ 4863836 w 6884782"/>
              <a:gd name="connsiteY45359" fmla="*/ 1793299 h 5973007"/>
              <a:gd name="connsiteX45360" fmla="*/ 4874080 w 6884782"/>
              <a:gd name="connsiteY45360" fmla="*/ 1787609 h 5973007"/>
              <a:gd name="connsiteX45361" fmla="*/ 4874294 w 6884782"/>
              <a:gd name="connsiteY45361" fmla="*/ 1786186 h 5973007"/>
              <a:gd name="connsiteX45362" fmla="*/ 4873227 w 6884782"/>
              <a:gd name="connsiteY45362" fmla="*/ 1785617 h 5973007"/>
              <a:gd name="connsiteX45363" fmla="*/ 4870025 w 6884782"/>
              <a:gd name="connsiteY45363" fmla="*/ 1786471 h 5973007"/>
              <a:gd name="connsiteX45364" fmla="*/ 4860848 w 6884782"/>
              <a:gd name="connsiteY45364" fmla="*/ 1780495 h 5973007"/>
              <a:gd name="connsiteX45365" fmla="*/ 4861702 w 6884782"/>
              <a:gd name="connsiteY45365" fmla="*/ 1776938 h 5973007"/>
              <a:gd name="connsiteX45366" fmla="*/ 4862342 w 6884782"/>
              <a:gd name="connsiteY45366" fmla="*/ 1773381 h 5973007"/>
              <a:gd name="connsiteX45367" fmla="*/ 4861915 w 6884782"/>
              <a:gd name="connsiteY45367" fmla="*/ 1774946 h 5973007"/>
              <a:gd name="connsiteX45368" fmla="*/ 4856793 w 6884782"/>
              <a:gd name="connsiteY45368" fmla="*/ 1777080 h 5973007"/>
              <a:gd name="connsiteX45369" fmla="*/ 4858928 w 6884782"/>
              <a:gd name="connsiteY45369" fmla="*/ 1767976 h 5973007"/>
              <a:gd name="connsiteX45370" fmla="*/ 4863623 w 6884782"/>
              <a:gd name="connsiteY45370" fmla="*/ 1768260 h 5973007"/>
              <a:gd name="connsiteX45371" fmla="*/ 4863623 w 6884782"/>
              <a:gd name="connsiteY45371" fmla="*/ 1768118 h 5973007"/>
              <a:gd name="connsiteX45372" fmla="*/ 4864263 w 6884782"/>
              <a:gd name="connsiteY45372" fmla="*/ 1762996 h 5973007"/>
              <a:gd name="connsiteX45373" fmla="*/ 4865330 w 6884782"/>
              <a:gd name="connsiteY45373" fmla="*/ 1762427 h 5973007"/>
              <a:gd name="connsiteX45374" fmla="*/ 4905666 w 6884782"/>
              <a:gd name="connsiteY45374" fmla="*/ 1761715 h 5973007"/>
              <a:gd name="connsiteX45375" fmla="*/ 4910361 w 6884782"/>
              <a:gd name="connsiteY45375" fmla="*/ 1762000 h 5973007"/>
              <a:gd name="connsiteX45376" fmla="*/ 4911428 w 6884782"/>
              <a:gd name="connsiteY45376" fmla="*/ 1764845 h 5973007"/>
              <a:gd name="connsiteX45377" fmla="*/ 4907800 w 6884782"/>
              <a:gd name="connsiteY45377" fmla="*/ 1771248 h 5973007"/>
              <a:gd name="connsiteX45378" fmla="*/ 4916337 w 6884782"/>
              <a:gd name="connsiteY45378" fmla="*/ 1790312 h 5973007"/>
              <a:gd name="connsiteX45379" fmla="*/ 4905453 w 6884782"/>
              <a:gd name="connsiteY45379" fmla="*/ 1795575 h 5973007"/>
              <a:gd name="connsiteX45380" fmla="*/ 4890941 w 6884782"/>
              <a:gd name="connsiteY45380" fmla="*/ 1780353 h 5973007"/>
              <a:gd name="connsiteX45381" fmla="*/ 4892007 w 6884782"/>
              <a:gd name="connsiteY45381" fmla="*/ 1779784 h 5973007"/>
              <a:gd name="connsiteX45382" fmla="*/ 4886672 w 6884782"/>
              <a:gd name="connsiteY45382" fmla="*/ 1774804 h 5973007"/>
              <a:gd name="connsiteX45383" fmla="*/ 4900757 w 6884782"/>
              <a:gd name="connsiteY45383" fmla="*/ 1763707 h 5973007"/>
              <a:gd name="connsiteX45384" fmla="*/ 4903319 w 6884782"/>
              <a:gd name="connsiteY45384" fmla="*/ 1762996 h 5973007"/>
              <a:gd name="connsiteX45385" fmla="*/ 4902678 w 6884782"/>
              <a:gd name="connsiteY45385" fmla="*/ 1762000 h 5973007"/>
              <a:gd name="connsiteX45386" fmla="*/ 4904386 w 6884782"/>
              <a:gd name="connsiteY45386" fmla="*/ 1762427 h 5973007"/>
              <a:gd name="connsiteX45387" fmla="*/ 4904599 w 6884782"/>
              <a:gd name="connsiteY45387" fmla="*/ 1762285 h 5973007"/>
              <a:gd name="connsiteX45388" fmla="*/ 4905666 w 6884782"/>
              <a:gd name="connsiteY45388" fmla="*/ 1761715 h 5973007"/>
              <a:gd name="connsiteX45389" fmla="*/ 1503824 w 6884782"/>
              <a:gd name="connsiteY45389" fmla="*/ 1761193 h 5973007"/>
              <a:gd name="connsiteX45390" fmla="*/ 1507851 w 6884782"/>
              <a:gd name="connsiteY45390" fmla="*/ 1762588 h 5973007"/>
              <a:gd name="connsiteX45391" fmla="*/ 1504857 w 6884782"/>
              <a:gd name="connsiteY45391" fmla="*/ 1766614 h 5973007"/>
              <a:gd name="connsiteX45392" fmla="*/ 1502585 w 6884782"/>
              <a:gd name="connsiteY45392" fmla="*/ 1764136 h 5973007"/>
              <a:gd name="connsiteX45393" fmla="*/ 1503824 w 6884782"/>
              <a:gd name="connsiteY45393" fmla="*/ 1761193 h 5973007"/>
              <a:gd name="connsiteX45394" fmla="*/ 4708680 w 6884782"/>
              <a:gd name="connsiteY45394" fmla="*/ 1760293 h 5973007"/>
              <a:gd name="connsiteX45395" fmla="*/ 4710174 w 6884782"/>
              <a:gd name="connsiteY45395" fmla="*/ 1768544 h 5973007"/>
              <a:gd name="connsiteX45396" fmla="*/ 4707186 w 6884782"/>
              <a:gd name="connsiteY45396" fmla="*/ 1778930 h 5973007"/>
              <a:gd name="connsiteX45397" fmla="*/ 4705905 w 6884782"/>
              <a:gd name="connsiteY45397" fmla="*/ 1777650 h 5973007"/>
              <a:gd name="connsiteX45398" fmla="*/ 4708680 w 6884782"/>
              <a:gd name="connsiteY45398" fmla="*/ 1760293 h 5973007"/>
              <a:gd name="connsiteX45399" fmla="*/ 1394166 w 6884782"/>
              <a:gd name="connsiteY45399" fmla="*/ 1760109 h 5973007"/>
              <a:gd name="connsiteX45400" fmla="*/ 1398296 w 6884782"/>
              <a:gd name="connsiteY45400" fmla="*/ 1761658 h 5973007"/>
              <a:gd name="connsiteX45401" fmla="*/ 1400464 w 6884782"/>
              <a:gd name="connsiteY45401" fmla="*/ 1762742 h 5973007"/>
              <a:gd name="connsiteX45402" fmla="*/ 1402426 w 6884782"/>
              <a:gd name="connsiteY45402" fmla="*/ 1763207 h 5973007"/>
              <a:gd name="connsiteX45403" fmla="*/ 1405214 w 6884782"/>
              <a:gd name="connsiteY45403" fmla="*/ 1765840 h 5973007"/>
              <a:gd name="connsiteX45404" fmla="*/ 1403252 w 6884782"/>
              <a:gd name="connsiteY45404" fmla="*/ 1765530 h 5973007"/>
              <a:gd name="connsiteX45405" fmla="*/ 1401084 w 6884782"/>
              <a:gd name="connsiteY45405" fmla="*/ 1764291 h 5973007"/>
              <a:gd name="connsiteX45406" fmla="*/ 1399432 w 6884782"/>
              <a:gd name="connsiteY45406" fmla="*/ 1764756 h 5973007"/>
              <a:gd name="connsiteX45407" fmla="*/ 1394166 w 6884782"/>
              <a:gd name="connsiteY45407" fmla="*/ 1760109 h 5973007"/>
              <a:gd name="connsiteX45408" fmla="*/ 4714442 w 6884782"/>
              <a:gd name="connsiteY45408" fmla="*/ 1759155 h 5973007"/>
              <a:gd name="connsiteX45409" fmla="*/ 4717003 w 6884782"/>
              <a:gd name="connsiteY45409" fmla="*/ 1762854 h 5973007"/>
              <a:gd name="connsiteX45410" fmla="*/ 4719138 w 6884782"/>
              <a:gd name="connsiteY45410" fmla="*/ 1761715 h 5973007"/>
              <a:gd name="connsiteX45411" fmla="*/ 4720418 w 6884782"/>
              <a:gd name="connsiteY45411" fmla="*/ 1762996 h 5973007"/>
              <a:gd name="connsiteX45412" fmla="*/ 4719351 w 6884782"/>
              <a:gd name="connsiteY45412" fmla="*/ 1766410 h 5973007"/>
              <a:gd name="connsiteX45413" fmla="*/ 4714655 w 6884782"/>
              <a:gd name="connsiteY45413" fmla="*/ 1761431 h 5973007"/>
              <a:gd name="connsiteX45414" fmla="*/ 4712308 w 6884782"/>
              <a:gd name="connsiteY45414" fmla="*/ 1760293 h 5973007"/>
              <a:gd name="connsiteX45415" fmla="*/ 4714442 w 6884782"/>
              <a:gd name="connsiteY45415" fmla="*/ 1759155 h 5973007"/>
              <a:gd name="connsiteX45416" fmla="*/ 1379039 w 6884782"/>
              <a:gd name="connsiteY45416" fmla="*/ 1759121 h 5973007"/>
              <a:gd name="connsiteX45417" fmla="*/ 1388487 w 6884782"/>
              <a:gd name="connsiteY45417" fmla="*/ 1759180 h 5973007"/>
              <a:gd name="connsiteX45418" fmla="*/ 1389003 w 6884782"/>
              <a:gd name="connsiteY45418" fmla="*/ 1762278 h 5973007"/>
              <a:gd name="connsiteX45419" fmla="*/ 1374134 w 6884782"/>
              <a:gd name="connsiteY45419" fmla="*/ 1770642 h 5973007"/>
              <a:gd name="connsiteX45420" fmla="*/ 1372689 w 6884782"/>
              <a:gd name="connsiteY45420" fmla="*/ 1768474 h 5973007"/>
              <a:gd name="connsiteX45421" fmla="*/ 1379039 w 6884782"/>
              <a:gd name="connsiteY45421" fmla="*/ 1759121 h 5973007"/>
              <a:gd name="connsiteX45422" fmla="*/ 1669860 w 6884782"/>
              <a:gd name="connsiteY45422" fmla="*/ 1758715 h 5973007"/>
              <a:gd name="connsiteX45423" fmla="*/ 1675642 w 6884782"/>
              <a:gd name="connsiteY45423" fmla="*/ 1760729 h 5973007"/>
              <a:gd name="connsiteX45424" fmla="*/ 1678430 w 6884782"/>
              <a:gd name="connsiteY45424" fmla="*/ 1763207 h 5973007"/>
              <a:gd name="connsiteX45425" fmla="*/ 1679669 w 6884782"/>
              <a:gd name="connsiteY45425" fmla="*/ 1766614 h 5973007"/>
              <a:gd name="connsiteX45426" fmla="*/ 1681631 w 6884782"/>
              <a:gd name="connsiteY45426" fmla="*/ 1772346 h 5973007"/>
              <a:gd name="connsiteX45427" fmla="*/ 1677914 w 6884782"/>
              <a:gd name="connsiteY45427" fmla="*/ 1774205 h 5973007"/>
              <a:gd name="connsiteX45428" fmla="*/ 1667692 w 6884782"/>
              <a:gd name="connsiteY45428" fmla="*/ 1761038 h 5973007"/>
              <a:gd name="connsiteX45429" fmla="*/ 1669860 w 6884782"/>
              <a:gd name="connsiteY45429" fmla="*/ 1758715 h 5973007"/>
              <a:gd name="connsiteX45430" fmla="*/ 1142221 w 6884782"/>
              <a:gd name="connsiteY45430" fmla="*/ 1758560 h 5973007"/>
              <a:gd name="connsiteX45431" fmla="*/ 1150481 w 6884782"/>
              <a:gd name="connsiteY45431" fmla="*/ 1762433 h 5973007"/>
              <a:gd name="connsiteX45432" fmla="*/ 1151720 w 6884782"/>
              <a:gd name="connsiteY45432" fmla="*/ 1760884 h 5973007"/>
              <a:gd name="connsiteX45433" fmla="*/ 1156883 w 6884782"/>
              <a:gd name="connsiteY45433" fmla="*/ 1759180 h 5973007"/>
              <a:gd name="connsiteX45434" fmla="*/ 1162356 w 6884782"/>
              <a:gd name="connsiteY45434" fmla="*/ 1759954 h 5973007"/>
              <a:gd name="connsiteX45435" fmla="*/ 1158948 w 6884782"/>
              <a:gd name="connsiteY45435" fmla="*/ 1764601 h 5973007"/>
              <a:gd name="connsiteX45436" fmla="*/ 1155025 w 6884782"/>
              <a:gd name="connsiteY45436" fmla="*/ 1764446 h 5973007"/>
              <a:gd name="connsiteX45437" fmla="*/ 1159051 w 6884782"/>
              <a:gd name="connsiteY45437" fmla="*/ 1766305 h 5973007"/>
              <a:gd name="connsiteX45438" fmla="*/ 1159671 w 6884782"/>
              <a:gd name="connsiteY45438" fmla="*/ 1779626 h 5973007"/>
              <a:gd name="connsiteX45439" fmla="*/ 1142221 w 6884782"/>
              <a:gd name="connsiteY45439" fmla="*/ 1758560 h 5973007"/>
              <a:gd name="connsiteX45440" fmla="*/ 901117 w 6884782"/>
              <a:gd name="connsiteY45440" fmla="*/ 1758560 h 5973007"/>
              <a:gd name="connsiteX45441" fmla="*/ 906590 w 6884782"/>
              <a:gd name="connsiteY45441" fmla="*/ 1759334 h 5973007"/>
              <a:gd name="connsiteX45442" fmla="*/ 907622 w 6884782"/>
              <a:gd name="connsiteY45442" fmla="*/ 1761658 h 5973007"/>
              <a:gd name="connsiteX45443" fmla="*/ 904938 w 6884782"/>
              <a:gd name="connsiteY45443" fmla="*/ 1761968 h 5973007"/>
              <a:gd name="connsiteX45444" fmla="*/ 903905 w 6884782"/>
              <a:gd name="connsiteY45444" fmla="*/ 1760419 h 5973007"/>
              <a:gd name="connsiteX45445" fmla="*/ 901117 w 6884782"/>
              <a:gd name="connsiteY45445" fmla="*/ 1760109 h 5973007"/>
              <a:gd name="connsiteX45446" fmla="*/ 901117 w 6884782"/>
              <a:gd name="connsiteY45446" fmla="*/ 1758560 h 5973007"/>
              <a:gd name="connsiteX45447" fmla="*/ 3964699 w 6884782"/>
              <a:gd name="connsiteY45447" fmla="*/ 1758443 h 5973007"/>
              <a:gd name="connsiteX45448" fmla="*/ 3966833 w 6884782"/>
              <a:gd name="connsiteY45448" fmla="*/ 1760008 h 5973007"/>
              <a:gd name="connsiteX45449" fmla="*/ 3966192 w 6884782"/>
              <a:gd name="connsiteY45449" fmla="*/ 1763850 h 5973007"/>
              <a:gd name="connsiteX45450" fmla="*/ 3960430 w 6884782"/>
              <a:gd name="connsiteY45450" fmla="*/ 1768829 h 5973007"/>
              <a:gd name="connsiteX45451" fmla="*/ 3953174 w 6884782"/>
              <a:gd name="connsiteY45451" fmla="*/ 1770963 h 5973007"/>
              <a:gd name="connsiteX45452" fmla="*/ 3954881 w 6884782"/>
              <a:gd name="connsiteY45452" fmla="*/ 1763138 h 5973007"/>
              <a:gd name="connsiteX45453" fmla="*/ 3964699 w 6884782"/>
              <a:gd name="connsiteY45453" fmla="*/ 1758443 h 5973007"/>
              <a:gd name="connsiteX45454" fmla="*/ 6179569 w 6884782"/>
              <a:gd name="connsiteY45454" fmla="*/ 1757448 h 5973007"/>
              <a:gd name="connsiteX45455" fmla="*/ 6187466 w 6884782"/>
              <a:gd name="connsiteY45455" fmla="*/ 1760293 h 5973007"/>
              <a:gd name="connsiteX45456" fmla="*/ 6186612 w 6884782"/>
              <a:gd name="connsiteY45456" fmla="*/ 1769114 h 5973007"/>
              <a:gd name="connsiteX45457" fmla="*/ 6173593 w 6884782"/>
              <a:gd name="connsiteY45457" fmla="*/ 1763138 h 5973007"/>
              <a:gd name="connsiteX45458" fmla="*/ 6179569 w 6884782"/>
              <a:gd name="connsiteY45458" fmla="*/ 1757448 h 5973007"/>
              <a:gd name="connsiteX45459" fmla="*/ 4825634 w 6884782"/>
              <a:gd name="connsiteY45459" fmla="*/ 1756167 h 5973007"/>
              <a:gd name="connsiteX45460" fmla="*/ 4827341 w 6884782"/>
              <a:gd name="connsiteY45460" fmla="*/ 1761715 h 5973007"/>
              <a:gd name="connsiteX45461" fmla="*/ 4822432 w 6884782"/>
              <a:gd name="connsiteY45461" fmla="*/ 1762569 h 5973007"/>
              <a:gd name="connsiteX45462" fmla="*/ 4820298 w 6884782"/>
              <a:gd name="connsiteY45462" fmla="*/ 1759582 h 5973007"/>
              <a:gd name="connsiteX45463" fmla="*/ 4821365 w 6884782"/>
              <a:gd name="connsiteY45463" fmla="*/ 1759155 h 5973007"/>
              <a:gd name="connsiteX45464" fmla="*/ 4825634 w 6884782"/>
              <a:gd name="connsiteY45464" fmla="*/ 1756167 h 5973007"/>
              <a:gd name="connsiteX45465" fmla="*/ 1533562 w 6884782"/>
              <a:gd name="connsiteY45465" fmla="*/ 1756081 h 5973007"/>
              <a:gd name="connsiteX45466" fmla="*/ 1525714 w 6884782"/>
              <a:gd name="connsiteY45466" fmla="*/ 1760419 h 5973007"/>
              <a:gd name="connsiteX45467" fmla="*/ 1525817 w 6884782"/>
              <a:gd name="connsiteY45467" fmla="*/ 1756701 h 5973007"/>
              <a:gd name="connsiteX45468" fmla="*/ 1533562 w 6884782"/>
              <a:gd name="connsiteY45468" fmla="*/ 1756081 h 5973007"/>
              <a:gd name="connsiteX45469" fmla="*/ 1748644 w 6884782"/>
              <a:gd name="connsiteY45469" fmla="*/ 1755772 h 5973007"/>
              <a:gd name="connsiteX45470" fmla="*/ 1750709 w 6884782"/>
              <a:gd name="connsiteY45470" fmla="*/ 1759334 h 5973007"/>
              <a:gd name="connsiteX45471" fmla="*/ 1736150 w 6884782"/>
              <a:gd name="connsiteY45471" fmla="*/ 1758405 h 5973007"/>
              <a:gd name="connsiteX45472" fmla="*/ 1748644 w 6884782"/>
              <a:gd name="connsiteY45472" fmla="*/ 1755772 h 5973007"/>
              <a:gd name="connsiteX45473" fmla="*/ 6235058 w 6884782"/>
              <a:gd name="connsiteY45473" fmla="*/ 1755598 h 5973007"/>
              <a:gd name="connsiteX45474" fmla="*/ 6246369 w 6884782"/>
              <a:gd name="connsiteY45474" fmla="*/ 1758159 h 5973007"/>
              <a:gd name="connsiteX45475" fmla="*/ 6248717 w 6884782"/>
              <a:gd name="connsiteY45475" fmla="*/ 1759297 h 5973007"/>
              <a:gd name="connsiteX45476" fmla="*/ 6251278 w 6884782"/>
              <a:gd name="connsiteY45476" fmla="*/ 1760293 h 5973007"/>
              <a:gd name="connsiteX45477" fmla="*/ 6252985 w 6884782"/>
              <a:gd name="connsiteY45477" fmla="*/ 1765130 h 5973007"/>
              <a:gd name="connsiteX45478" fmla="*/ 6231217 w 6884782"/>
              <a:gd name="connsiteY45478" fmla="*/ 1759155 h 5973007"/>
              <a:gd name="connsiteX45479" fmla="*/ 6232070 w 6884782"/>
              <a:gd name="connsiteY45479" fmla="*/ 1756594 h 5973007"/>
              <a:gd name="connsiteX45480" fmla="*/ 6235058 w 6884782"/>
              <a:gd name="connsiteY45480" fmla="*/ 1755598 h 5973007"/>
              <a:gd name="connsiteX45481" fmla="*/ 1455809 w 6884782"/>
              <a:gd name="connsiteY45481" fmla="*/ 1755462 h 5973007"/>
              <a:gd name="connsiteX45482" fmla="*/ 1458598 w 6884782"/>
              <a:gd name="connsiteY45482" fmla="*/ 1765995 h 5973007"/>
              <a:gd name="connsiteX45483" fmla="*/ 1459217 w 6884782"/>
              <a:gd name="connsiteY45483" fmla="*/ 1767389 h 5973007"/>
              <a:gd name="connsiteX45484" fmla="*/ 1459527 w 6884782"/>
              <a:gd name="connsiteY45484" fmla="*/ 1770797 h 5973007"/>
              <a:gd name="connsiteX45485" fmla="*/ 1460560 w 6884782"/>
              <a:gd name="connsiteY45485" fmla="*/ 1771262 h 5973007"/>
              <a:gd name="connsiteX45486" fmla="*/ 1459630 w 6884782"/>
              <a:gd name="connsiteY45486" fmla="*/ 1775599 h 5973007"/>
              <a:gd name="connsiteX45487" fmla="*/ 1459527 w 6884782"/>
              <a:gd name="connsiteY45487" fmla="*/ 1775444 h 5973007"/>
              <a:gd name="connsiteX45488" fmla="*/ 1458804 w 6884782"/>
              <a:gd name="connsiteY45488" fmla="*/ 1780091 h 5973007"/>
              <a:gd name="connsiteX45489" fmla="*/ 1452505 w 6884782"/>
              <a:gd name="connsiteY45489" fmla="*/ 1769248 h 5973007"/>
              <a:gd name="connsiteX45490" fmla="*/ 1452919 w 6884782"/>
              <a:gd name="connsiteY45490" fmla="*/ 1765530 h 5973007"/>
              <a:gd name="connsiteX45491" fmla="*/ 1450337 w 6884782"/>
              <a:gd name="connsiteY45491" fmla="*/ 1763981 h 5973007"/>
              <a:gd name="connsiteX45492" fmla="*/ 1455809 w 6884782"/>
              <a:gd name="connsiteY45492" fmla="*/ 1755462 h 5973007"/>
              <a:gd name="connsiteX45493" fmla="*/ 4607946 w 6884782"/>
              <a:gd name="connsiteY45493" fmla="*/ 1755029 h 5973007"/>
              <a:gd name="connsiteX45494" fmla="*/ 4612854 w 6884782"/>
              <a:gd name="connsiteY45494" fmla="*/ 1758586 h 5973007"/>
              <a:gd name="connsiteX45495" fmla="*/ 4612641 w 6884782"/>
              <a:gd name="connsiteY45495" fmla="*/ 1761573 h 5973007"/>
              <a:gd name="connsiteX45496" fmla="*/ 4611574 w 6884782"/>
              <a:gd name="connsiteY45496" fmla="*/ 1762142 h 5973007"/>
              <a:gd name="connsiteX45497" fmla="*/ 4607519 w 6884782"/>
              <a:gd name="connsiteY45497" fmla="*/ 1764845 h 5973007"/>
              <a:gd name="connsiteX45498" fmla="*/ 4602824 w 6884782"/>
              <a:gd name="connsiteY45498" fmla="*/ 1761004 h 5973007"/>
              <a:gd name="connsiteX45499" fmla="*/ 4607946 w 6884782"/>
              <a:gd name="connsiteY45499" fmla="*/ 1755029 h 5973007"/>
              <a:gd name="connsiteX45500" fmla="*/ 6209234 w 6884782"/>
              <a:gd name="connsiteY45500" fmla="*/ 1754887 h 5973007"/>
              <a:gd name="connsiteX45501" fmla="*/ 6221186 w 6884782"/>
              <a:gd name="connsiteY45501" fmla="*/ 1765130 h 5973007"/>
              <a:gd name="connsiteX45502" fmla="*/ 6194082 w 6884782"/>
              <a:gd name="connsiteY45502" fmla="*/ 1761431 h 5973007"/>
              <a:gd name="connsiteX45503" fmla="*/ 6196429 w 6884782"/>
              <a:gd name="connsiteY45503" fmla="*/ 1755740 h 5973007"/>
              <a:gd name="connsiteX45504" fmla="*/ 6203472 w 6884782"/>
              <a:gd name="connsiteY45504" fmla="*/ 1755029 h 5973007"/>
              <a:gd name="connsiteX45505" fmla="*/ 6209234 w 6884782"/>
              <a:gd name="connsiteY45505" fmla="*/ 1754887 h 5973007"/>
              <a:gd name="connsiteX45506" fmla="*/ 5262504 w 6884782"/>
              <a:gd name="connsiteY45506" fmla="*/ 1754887 h 5973007"/>
              <a:gd name="connsiteX45507" fmla="*/ 5267200 w 6884782"/>
              <a:gd name="connsiteY45507" fmla="*/ 1756736 h 5973007"/>
              <a:gd name="connsiteX45508" fmla="*/ 5269974 w 6884782"/>
              <a:gd name="connsiteY45508" fmla="*/ 1762142 h 5973007"/>
              <a:gd name="connsiteX45509" fmla="*/ 5269333 w 6884782"/>
              <a:gd name="connsiteY45509" fmla="*/ 1761004 h 5973007"/>
              <a:gd name="connsiteX45510" fmla="*/ 5267413 w 6884782"/>
              <a:gd name="connsiteY45510" fmla="*/ 1762285 h 5973007"/>
              <a:gd name="connsiteX45511" fmla="*/ 5268053 w 6884782"/>
              <a:gd name="connsiteY45511" fmla="*/ 1763281 h 5973007"/>
              <a:gd name="connsiteX45512" fmla="*/ 5265492 w 6884782"/>
              <a:gd name="connsiteY45512" fmla="*/ 1763565 h 5973007"/>
              <a:gd name="connsiteX45513" fmla="*/ 5257809 w 6884782"/>
              <a:gd name="connsiteY45513" fmla="*/ 1758017 h 5973007"/>
              <a:gd name="connsiteX45514" fmla="*/ 5262504 w 6884782"/>
              <a:gd name="connsiteY45514" fmla="*/ 1754887 h 5973007"/>
              <a:gd name="connsiteX45515" fmla="*/ 1497938 w 6884782"/>
              <a:gd name="connsiteY45515" fmla="*/ 1754378 h 5973007"/>
              <a:gd name="connsiteX45516" fmla="*/ 1503824 w 6884782"/>
              <a:gd name="connsiteY45516" fmla="*/ 1759180 h 5973007"/>
              <a:gd name="connsiteX45517" fmla="*/ 1500829 w 6884782"/>
              <a:gd name="connsiteY45517" fmla="*/ 1762742 h 5973007"/>
              <a:gd name="connsiteX45518" fmla="*/ 1488026 w 6884782"/>
              <a:gd name="connsiteY45518" fmla="*/ 1761658 h 5973007"/>
              <a:gd name="connsiteX45519" fmla="*/ 1487923 w 6884782"/>
              <a:gd name="connsiteY45519" fmla="*/ 1759489 h 5973007"/>
              <a:gd name="connsiteX45520" fmla="*/ 1492775 w 6884782"/>
              <a:gd name="connsiteY45520" fmla="*/ 1754997 h 5973007"/>
              <a:gd name="connsiteX45521" fmla="*/ 1497938 w 6884782"/>
              <a:gd name="connsiteY45521" fmla="*/ 1754378 h 5973007"/>
              <a:gd name="connsiteX45522" fmla="*/ 1210886 w 6884782"/>
              <a:gd name="connsiteY45522" fmla="*/ 1754378 h 5973007"/>
              <a:gd name="connsiteX45523" fmla="*/ 1210370 w 6884782"/>
              <a:gd name="connsiteY45523" fmla="*/ 1757011 h 5973007"/>
              <a:gd name="connsiteX45524" fmla="*/ 1207892 w 6884782"/>
              <a:gd name="connsiteY45524" fmla="*/ 1757321 h 5973007"/>
              <a:gd name="connsiteX45525" fmla="*/ 1206239 w 6884782"/>
              <a:gd name="connsiteY45525" fmla="*/ 1758250 h 5973007"/>
              <a:gd name="connsiteX45526" fmla="*/ 1203968 w 6884782"/>
              <a:gd name="connsiteY45526" fmla="*/ 1756701 h 5973007"/>
              <a:gd name="connsiteX45527" fmla="*/ 1205620 w 6884782"/>
              <a:gd name="connsiteY45527" fmla="*/ 1755772 h 5973007"/>
              <a:gd name="connsiteX45528" fmla="*/ 1210886 w 6884782"/>
              <a:gd name="connsiteY45528" fmla="*/ 1754378 h 5973007"/>
              <a:gd name="connsiteX45529" fmla="*/ 5092409 w 6884782"/>
              <a:gd name="connsiteY45529" fmla="*/ 1754175 h 5973007"/>
              <a:gd name="connsiteX45530" fmla="*/ 5100732 w 6884782"/>
              <a:gd name="connsiteY45530" fmla="*/ 1756309 h 5973007"/>
              <a:gd name="connsiteX45531" fmla="*/ 5097530 w 6884782"/>
              <a:gd name="connsiteY45531" fmla="*/ 1755456 h 5973007"/>
              <a:gd name="connsiteX45532" fmla="*/ 5095610 w 6884782"/>
              <a:gd name="connsiteY45532" fmla="*/ 1756736 h 5973007"/>
              <a:gd name="connsiteX45533" fmla="*/ 5092409 w 6884782"/>
              <a:gd name="connsiteY45533" fmla="*/ 1754175 h 5973007"/>
              <a:gd name="connsiteX45534" fmla="*/ 4998504 w 6884782"/>
              <a:gd name="connsiteY45534" fmla="*/ 1754033 h 5973007"/>
              <a:gd name="connsiteX45535" fmla="*/ 5000425 w 6884782"/>
              <a:gd name="connsiteY45535" fmla="*/ 1755456 h 5973007"/>
              <a:gd name="connsiteX45536" fmla="*/ 5004479 w 6884782"/>
              <a:gd name="connsiteY45536" fmla="*/ 1758870 h 5973007"/>
              <a:gd name="connsiteX45537" fmla="*/ 4996796 w 6884782"/>
              <a:gd name="connsiteY45537" fmla="*/ 1754460 h 5973007"/>
              <a:gd name="connsiteX45538" fmla="*/ 4998504 w 6884782"/>
              <a:gd name="connsiteY45538" fmla="*/ 1754033 h 5973007"/>
              <a:gd name="connsiteX45539" fmla="*/ 1299376 w 6884782"/>
              <a:gd name="connsiteY45539" fmla="*/ 1753758 h 5973007"/>
              <a:gd name="connsiteX45540" fmla="*/ 1303197 w 6884782"/>
              <a:gd name="connsiteY45540" fmla="*/ 1761658 h 5973007"/>
              <a:gd name="connsiteX45541" fmla="*/ 1292149 w 6884782"/>
              <a:gd name="connsiteY45541" fmla="*/ 1772191 h 5973007"/>
              <a:gd name="connsiteX45542" fmla="*/ 1291735 w 6884782"/>
              <a:gd name="connsiteY45542" fmla="*/ 1771416 h 5973007"/>
              <a:gd name="connsiteX45543" fmla="*/ 1288122 w 6884782"/>
              <a:gd name="connsiteY45543" fmla="*/ 1775289 h 5973007"/>
              <a:gd name="connsiteX45544" fmla="*/ 1280067 w 6884782"/>
              <a:gd name="connsiteY45544" fmla="*/ 1765066 h 5973007"/>
              <a:gd name="connsiteX45545" fmla="*/ 1279551 w 6884782"/>
              <a:gd name="connsiteY45545" fmla="*/ 1763207 h 5973007"/>
              <a:gd name="connsiteX45546" fmla="*/ 1278829 w 6884782"/>
              <a:gd name="connsiteY45546" fmla="*/ 1763672 h 5973007"/>
              <a:gd name="connsiteX45547" fmla="*/ 1279138 w 6884782"/>
              <a:gd name="connsiteY45547" fmla="*/ 1762433 h 5973007"/>
              <a:gd name="connsiteX45548" fmla="*/ 1279035 w 6884782"/>
              <a:gd name="connsiteY45548" fmla="*/ 1762278 h 5973007"/>
              <a:gd name="connsiteX45549" fmla="*/ 1278622 w 6884782"/>
              <a:gd name="connsiteY45549" fmla="*/ 1761503 h 5973007"/>
              <a:gd name="connsiteX45550" fmla="*/ 1278829 w 6884782"/>
              <a:gd name="connsiteY45550" fmla="*/ 1758095 h 5973007"/>
              <a:gd name="connsiteX45551" fmla="*/ 1280894 w 6884782"/>
              <a:gd name="connsiteY45551" fmla="*/ 1757321 h 5973007"/>
              <a:gd name="connsiteX45552" fmla="*/ 1285540 w 6884782"/>
              <a:gd name="connsiteY45552" fmla="*/ 1759954 h 5973007"/>
              <a:gd name="connsiteX45553" fmla="*/ 1299376 w 6884782"/>
              <a:gd name="connsiteY45553" fmla="*/ 1753758 h 5973007"/>
              <a:gd name="connsiteX45554" fmla="*/ 5602055 w 6884782"/>
              <a:gd name="connsiteY45554" fmla="*/ 1753179 h 5973007"/>
              <a:gd name="connsiteX45555" fmla="*/ 5604829 w 6884782"/>
              <a:gd name="connsiteY45555" fmla="*/ 1754602 h 5973007"/>
              <a:gd name="connsiteX45556" fmla="*/ 5593091 w 6884782"/>
              <a:gd name="connsiteY45556" fmla="*/ 1762142 h 5973007"/>
              <a:gd name="connsiteX45557" fmla="*/ 5593305 w 6884782"/>
              <a:gd name="connsiteY45557" fmla="*/ 1758586 h 5973007"/>
              <a:gd name="connsiteX45558" fmla="*/ 5602055 w 6884782"/>
              <a:gd name="connsiteY45558" fmla="*/ 1753179 h 5973007"/>
              <a:gd name="connsiteX45559" fmla="*/ 5235613 w 6884782"/>
              <a:gd name="connsiteY45559" fmla="*/ 1752895 h 5973007"/>
              <a:gd name="connsiteX45560" fmla="*/ 5237107 w 6884782"/>
              <a:gd name="connsiteY45560" fmla="*/ 1754602 h 5973007"/>
              <a:gd name="connsiteX45561" fmla="*/ 5240735 w 6884782"/>
              <a:gd name="connsiteY45561" fmla="*/ 1755029 h 5973007"/>
              <a:gd name="connsiteX45562" fmla="*/ 5242229 w 6884782"/>
              <a:gd name="connsiteY45562" fmla="*/ 1757874 h 5973007"/>
              <a:gd name="connsiteX45563" fmla="*/ 5239455 w 6884782"/>
              <a:gd name="connsiteY45563" fmla="*/ 1764134 h 5973007"/>
              <a:gd name="connsiteX45564" fmla="*/ 5245217 w 6884782"/>
              <a:gd name="connsiteY45564" fmla="*/ 1771532 h 5973007"/>
              <a:gd name="connsiteX45565" fmla="*/ 5248205 w 6884782"/>
              <a:gd name="connsiteY45565" fmla="*/ 1774946 h 5973007"/>
              <a:gd name="connsiteX45566" fmla="*/ 5247778 w 6884782"/>
              <a:gd name="connsiteY45566" fmla="*/ 1773381 h 5973007"/>
              <a:gd name="connsiteX45567" fmla="*/ 5255888 w 6884782"/>
              <a:gd name="connsiteY45567" fmla="*/ 1758443 h 5973007"/>
              <a:gd name="connsiteX45568" fmla="*/ 5256315 w 6884782"/>
              <a:gd name="connsiteY45568" fmla="*/ 1770821 h 5973007"/>
              <a:gd name="connsiteX45569" fmla="*/ 5249486 w 6884782"/>
              <a:gd name="connsiteY45569" fmla="*/ 1777792 h 5973007"/>
              <a:gd name="connsiteX45570" fmla="*/ 5250979 w 6884782"/>
              <a:gd name="connsiteY45570" fmla="*/ 1783482 h 5973007"/>
              <a:gd name="connsiteX45571" fmla="*/ 5240948 w 6884782"/>
              <a:gd name="connsiteY45571" fmla="*/ 1788604 h 5973007"/>
              <a:gd name="connsiteX45572" fmla="*/ 5223875 w 6884782"/>
              <a:gd name="connsiteY45572" fmla="*/ 1772813 h 5973007"/>
              <a:gd name="connsiteX45573" fmla="*/ 5224942 w 6884782"/>
              <a:gd name="connsiteY45573" fmla="*/ 1772243 h 5973007"/>
              <a:gd name="connsiteX45574" fmla="*/ 5218753 w 6884782"/>
              <a:gd name="connsiteY45574" fmla="*/ 1767264 h 5973007"/>
              <a:gd name="connsiteX45575" fmla="*/ 5231345 w 6884782"/>
              <a:gd name="connsiteY45575" fmla="*/ 1756452 h 5973007"/>
              <a:gd name="connsiteX45576" fmla="*/ 5232199 w 6884782"/>
              <a:gd name="connsiteY45576" fmla="*/ 1756309 h 5973007"/>
              <a:gd name="connsiteX45577" fmla="*/ 5233265 w 6884782"/>
              <a:gd name="connsiteY45577" fmla="*/ 1755171 h 5973007"/>
              <a:gd name="connsiteX45578" fmla="*/ 5233052 w 6884782"/>
              <a:gd name="connsiteY45578" fmla="*/ 1754887 h 5973007"/>
              <a:gd name="connsiteX45579" fmla="*/ 5233479 w 6884782"/>
              <a:gd name="connsiteY45579" fmla="*/ 1754887 h 5973007"/>
              <a:gd name="connsiteX45580" fmla="*/ 3615544 w 6884782"/>
              <a:gd name="connsiteY45580" fmla="*/ 1752895 h 5973007"/>
              <a:gd name="connsiteX45581" fmla="*/ 3613623 w 6884782"/>
              <a:gd name="connsiteY45581" fmla="*/ 1768829 h 5973007"/>
              <a:gd name="connsiteX45582" fmla="*/ 3613196 w 6884782"/>
              <a:gd name="connsiteY45582" fmla="*/ 1769114 h 5973007"/>
              <a:gd name="connsiteX45583" fmla="*/ 3613623 w 6884782"/>
              <a:gd name="connsiteY45583" fmla="*/ 1769967 h 5973007"/>
              <a:gd name="connsiteX45584" fmla="*/ 3616184 w 6884782"/>
              <a:gd name="connsiteY45584" fmla="*/ 1774662 h 5973007"/>
              <a:gd name="connsiteX45585" fmla="*/ 3614690 w 6884782"/>
              <a:gd name="connsiteY45585" fmla="*/ 1776654 h 5973007"/>
              <a:gd name="connsiteX45586" fmla="*/ 3626855 w 6884782"/>
              <a:gd name="connsiteY45586" fmla="*/ 1762000 h 5973007"/>
              <a:gd name="connsiteX45587" fmla="*/ 3636672 w 6884782"/>
              <a:gd name="connsiteY45587" fmla="*/ 1761858 h 5973007"/>
              <a:gd name="connsiteX45588" fmla="*/ 3636886 w 6884782"/>
              <a:gd name="connsiteY45588" fmla="*/ 1761715 h 5973007"/>
              <a:gd name="connsiteX45589" fmla="*/ 3636459 w 6884782"/>
              <a:gd name="connsiteY45589" fmla="*/ 1760435 h 5973007"/>
              <a:gd name="connsiteX45590" fmla="*/ 3635179 w 6884782"/>
              <a:gd name="connsiteY45590" fmla="*/ 1760293 h 5973007"/>
              <a:gd name="connsiteX45591" fmla="*/ 3636459 w 6884782"/>
              <a:gd name="connsiteY45591" fmla="*/ 1758017 h 5973007"/>
              <a:gd name="connsiteX45592" fmla="*/ 3644782 w 6884782"/>
              <a:gd name="connsiteY45592" fmla="*/ 1755456 h 5973007"/>
              <a:gd name="connsiteX45593" fmla="*/ 3646063 w 6884782"/>
              <a:gd name="connsiteY45593" fmla="*/ 1759012 h 5973007"/>
              <a:gd name="connsiteX45594" fmla="*/ 3644996 w 6884782"/>
              <a:gd name="connsiteY45594" fmla="*/ 1760720 h 5973007"/>
              <a:gd name="connsiteX45595" fmla="*/ 3652038 w 6884782"/>
              <a:gd name="connsiteY45595" fmla="*/ 1759297 h 5973007"/>
              <a:gd name="connsiteX45596" fmla="*/ 3675728 w 6884782"/>
              <a:gd name="connsiteY45596" fmla="*/ 1763138 h 5973007"/>
              <a:gd name="connsiteX45597" fmla="*/ 3690881 w 6884782"/>
              <a:gd name="connsiteY45597" fmla="*/ 1787324 h 5973007"/>
              <a:gd name="connsiteX45598" fmla="*/ 3689814 w 6884782"/>
              <a:gd name="connsiteY45598" fmla="*/ 1804112 h 5973007"/>
              <a:gd name="connsiteX45599" fmla="*/ 3687680 w 6884782"/>
              <a:gd name="connsiteY45599" fmla="*/ 1812790 h 5973007"/>
              <a:gd name="connsiteX45600" fmla="*/ 3690881 w 6884782"/>
              <a:gd name="connsiteY45600" fmla="*/ 1817770 h 5973007"/>
              <a:gd name="connsiteX45601" fmla="*/ 3686399 w 6884782"/>
              <a:gd name="connsiteY45601" fmla="*/ 1818765 h 5973007"/>
              <a:gd name="connsiteX45602" fmla="*/ 3685546 w 6884782"/>
              <a:gd name="connsiteY45602" fmla="*/ 1821469 h 5973007"/>
              <a:gd name="connsiteX45603" fmla="*/ 3681704 w 6884782"/>
              <a:gd name="connsiteY45603" fmla="*/ 1828866 h 5973007"/>
              <a:gd name="connsiteX45604" fmla="*/ 3682344 w 6884782"/>
              <a:gd name="connsiteY45604" fmla="*/ 1829293 h 5973007"/>
              <a:gd name="connsiteX45605" fmla="*/ 3682558 w 6884782"/>
              <a:gd name="connsiteY45605" fmla="*/ 1832850 h 5973007"/>
              <a:gd name="connsiteX45606" fmla="*/ 3677863 w 6884782"/>
              <a:gd name="connsiteY45606" fmla="*/ 1836406 h 5973007"/>
              <a:gd name="connsiteX45607" fmla="*/ 3677436 w 6884782"/>
              <a:gd name="connsiteY45607" fmla="*/ 1837402 h 5973007"/>
              <a:gd name="connsiteX45608" fmla="*/ 3664417 w 6884782"/>
              <a:gd name="connsiteY45608" fmla="*/ 1849637 h 5973007"/>
              <a:gd name="connsiteX45609" fmla="*/ 3652466 w 6884782"/>
              <a:gd name="connsiteY45609" fmla="*/ 1854332 h 5973007"/>
              <a:gd name="connsiteX45610" fmla="*/ 3648197 w 6884782"/>
              <a:gd name="connsiteY45610" fmla="*/ 1854474 h 5973007"/>
              <a:gd name="connsiteX45611" fmla="*/ 3645422 w 6884782"/>
              <a:gd name="connsiteY45611" fmla="*/ 1856040 h 5973007"/>
              <a:gd name="connsiteX45612" fmla="*/ 3630484 w 6884782"/>
              <a:gd name="connsiteY45612" fmla="*/ 1861588 h 5973007"/>
              <a:gd name="connsiteX45613" fmla="*/ 3639660 w 6884782"/>
              <a:gd name="connsiteY45613" fmla="*/ 1857035 h 5973007"/>
              <a:gd name="connsiteX45614" fmla="*/ 3647770 w 6884782"/>
              <a:gd name="connsiteY45614" fmla="*/ 1854474 h 5973007"/>
              <a:gd name="connsiteX45615" fmla="*/ 3641155 w 6884782"/>
              <a:gd name="connsiteY45615" fmla="*/ 1854617 h 5973007"/>
              <a:gd name="connsiteX45616" fmla="*/ 3617465 w 6884782"/>
              <a:gd name="connsiteY45616" fmla="*/ 1852056 h 5973007"/>
              <a:gd name="connsiteX45617" fmla="*/ 3599964 w 6884782"/>
              <a:gd name="connsiteY45617" fmla="*/ 1832138 h 5973007"/>
              <a:gd name="connsiteX45618" fmla="*/ 3601031 w 6884782"/>
              <a:gd name="connsiteY45618" fmla="*/ 1823744 h 5973007"/>
              <a:gd name="connsiteX45619" fmla="*/ 3600818 w 6884782"/>
              <a:gd name="connsiteY45619" fmla="*/ 1817627 h 5973007"/>
              <a:gd name="connsiteX45620" fmla="*/ 3596549 w 6884782"/>
              <a:gd name="connsiteY45620" fmla="*/ 1814070 h 5973007"/>
              <a:gd name="connsiteX45621" fmla="*/ 3597403 w 6884782"/>
              <a:gd name="connsiteY45621" fmla="*/ 1812506 h 5973007"/>
              <a:gd name="connsiteX45622" fmla="*/ 3595055 w 6884782"/>
              <a:gd name="connsiteY45622" fmla="*/ 1810798 h 5973007"/>
              <a:gd name="connsiteX45623" fmla="*/ 3594202 w 6884782"/>
              <a:gd name="connsiteY45623" fmla="*/ 1799702 h 5973007"/>
              <a:gd name="connsiteX45624" fmla="*/ 3598897 w 6884782"/>
              <a:gd name="connsiteY45624" fmla="*/ 1797283 h 5973007"/>
              <a:gd name="connsiteX45625" fmla="*/ 3598897 w 6884782"/>
              <a:gd name="connsiteY45625" fmla="*/ 1795860 h 5973007"/>
              <a:gd name="connsiteX45626" fmla="*/ 3612982 w 6884782"/>
              <a:gd name="connsiteY45626" fmla="*/ 1778930 h 5973007"/>
              <a:gd name="connsiteX45627" fmla="*/ 3614263 w 6884782"/>
              <a:gd name="connsiteY45627" fmla="*/ 1777223 h 5973007"/>
              <a:gd name="connsiteX45628" fmla="*/ 3610849 w 6884782"/>
              <a:gd name="connsiteY45628" fmla="*/ 1776796 h 5973007"/>
              <a:gd name="connsiteX45629" fmla="*/ 3606367 w 6884782"/>
              <a:gd name="connsiteY45629" fmla="*/ 1771817 h 5973007"/>
              <a:gd name="connsiteX45630" fmla="*/ 3601458 w 6884782"/>
              <a:gd name="connsiteY45630" fmla="*/ 1773666 h 5973007"/>
              <a:gd name="connsiteX45631" fmla="*/ 3589080 w 6884782"/>
              <a:gd name="connsiteY45631" fmla="*/ 1771817 h 5973007"/>
              <a:gd name="connsiteX45632" fmla="*/ 3585025 w 6884782"/>
              <a:gd name="connsiteY45632" fmla="*/ 1766410 h 5973007"/>
              <a:gd name="connsiteX45633" fmla="*/ 3584171 w 6884782"/>
              <a:gd name="connsiteY45633" fmla="*/ 1766410 h 5973007"/>
              <a:gd name="connsiteX45634" fmla="*/ 3581610 w 6884782"/>
              <a:gd name="connsiteY45634" fmla="*/ 1759297 h 5973007"/>
              <a:gd name="connsiteX45635" fmla="*/ 3587159 w 6884782"/>
              <a:gd name="connsiteY45635" fmla="*/ 1756736 h 5973007"/>
              <a:gd name="connsiteX45636" fmla="*/ 3589720 w 6884782"/>
              <a:gd name="connsiteY45636" fmla="*/ 1758443 h 5973007"/>
              <a:gd name="connsiteX45637" fmla="*/ 3589720 w 6884782"/>
              <a:gd name="connsiteY45637" fmla="*/ 1759582 h 5973007"/>
              <a:gd name="connsiteX45638" fmla="*/ 3589933 w 6884782"/>
              <a:gd name="connsiteY45638" fmla="*/ 1761715 h 5973007"/>
              <a:gd name="connsiteX45639" fmla="*/ 3596976 w 6884782"/>
              <a:gd name="connsiteY45639" fmla="*/ 1756309 h 5973007"/>
              <a:gd name="connsiteX45640" fmla="*/ 3615544 w 6884782"/>
              <a:gd name="connsiteY45640" fmla="*/ 1752895 h 5973007"/>
              <a:gd name="connsiteX45641" fmla="*/ 910410 w 6884782"/>
              <a:gd name="connsiteY45641" fmla="*/ 1752829 h 5973007"/>
              <a:gd name="connsiteX45642" fmla="*/ 912166 w 6884782"/>
              <a:gd name="connsiteY45642" fmla="*/ 1754378 h 5973007"/>
              <a:gd name="connsiteX45643" fmla="*/ 914024 w 6884782"/>
              <a:gd name="connsiteY45643" fmla="*/ 1754997 h 5973007"/>
              <a:gd name="connsiteX45644" fmla="*/ 914127 w 6884782"/>
              <a:gd name="connsiteY45644" fmla="*/ 1757631 h 5973007"/>
              <a:gd name="connsiteX45645" fmla="*/ 912372 w 6884782"/>
              <a:gd name="connsiteY45645" fmla="*/ 1757011 h 5973007"/>
              <a:gd name="connsiteX45646" fmla="*/ 907829 w 6884782"/>
              <a:gd name="connsiteY45646" fmla="*/ 1754068 h 5973007"/>
              <a:gd name="connsiteX45647" fmla="*/ 910410 w 6884782"/>
              <a:gd name="connsiteY45647" fmla="*/ 1752829 h 5973007"/>
              <a:gd name="connsiteX45648" fmla="*/ 731880 w 6884782"/>
              <a:gd name="connsiteY45648" fmla="*/ 1752364 h 5973007"/>
              <a:gd name="connsiteX45649" fmla="*/ 731880 w 6884782"/>
              <a:gd name="connsiteY45649" fmla="*/ 1753294 h 5973007"/>
              <a:gd name="connsiteX45650" fmla="*/ 732706 w 6884782"/>
              <a:gd name="connsiteY45650" fmla="*/ 1752519 h 5973007"/>
              <a:gd name="connsiteX45651" fmla="*/ 734255 w 6884782"/>
              <a:gd name="connsiteY45651" fmla="*/ 1764446 h 5973007"/>
              <a:gd name="connsiteX45652" fmla="*/ 733429 w 6884782"/>
              <a:gd name="connsiteY45652" fmla="*/ 1764291 h 5973007"/>
              <a:gd name="connsiteX45653" fmla="*/ 731570 w 6884782"/>
              <a:gd name="connsiteY45653" fmla="*/ 1755462 h 5973007"/>
              <a:gd name="connsiteX45654" fmla="*/ 731880 w 6884782"/>
              <a:gd name="connsiteY45654" fmla="*/ 1752364 h 5973007"/>
              <a:gd name="connsiteX45655" fmla="*/ 3928631 w 6884782"/>
              <a:gd name="connsiteY45655" fmla="*/ 1752183 h 5973007"/>
              <a:gd name="connsiteX45656" fmla="*/ 3933753 w 6884782"/>
              <a:gd name="connsiteY45656" fmla="*/ 1752326 h 5973007"/>
              <a:gd name="connsiteX45657" fmla="*/ 3934607 w 6884782"/>
              <a:gd name="connsiteY45657" fmla="*/ 1762854 h 5973007"/>
              <a:gd name="connsiteX45658" fmla="*/ 3928631 w 6884782"/>
              <a:gd name="connsiteY45658" fmla="*/ 1752183 h 5973007"/>
              <a:gd name="connsiteX45659" fmla="*/ 722278 w 6884782"/>
              <a:gd name="connsiteY45659" fmla="*/ 1750815 h 5973007"/>
              <a:gd name="connsiteX45660" fmla="*/ 725891 w 6884782"/>
              <a:gd name="connsiteY45660" fmla="*/ 1751125 h 5973007"/>
              <a:gd name="connsiteX45661" fmla="*/ 725891 w 6884782"/>
              <a:gd name="connsiteY45661" fmla="*/ 1752829 h 5973007"/>
              <a:gd name="connsiteX45662" fmla="*/ 730022 w 6884782"/>
              <a:gd name="connsiteY45662" fmla="*/ 1765840 h 5973007"/>
              <a:gd name="connsiteX45663" fmla="*/ 722278 w 6884782"/>
              <a:gd name="connsiteY45663" fmla="*/ 1750815 h 5973007"/>
              <a:gd name="connsiteX45664" fmla="*/ 5299212 w 6884782"/>
              <a:gd name="connsiteY45664" fmla="*/ 1749907 h 5973007"/>
              <a:gd name="connsiteX45665" fmla="*/ 5302414 w 6884782"/>
              <a:gd name="connsiteY45665" fmla="*/ 1751614 h 5973007"/>
              <a:gd name="connsiteX45666" fmla="*/ 5304121 w 6884782"/>
              <a:gd name="connsiteY45666" fmla="*/ 1755598 h 5973007"/>
              <a:gd name="connsiteX45667" fmla="*/ 5303694 w 6884782"/>
              <a:gd name="connsiteY45667" fmla="*/ 1758870 h 5973007"/>
              <a:gd name="connsiteX45668" fmla="*/ 5298145 w 6884782"/>
              <a:gd name="connsiteY45668" fmla="*/ 1762427 h 5973007"/>
              <a:gd name="connsiteX45669" fmla="*/ 5293877 w 6884782"/>
              <a:gd name="connsiteY45669" fmla="*/ 1758443 h 5973007"/>
              <a:gd name="connsiteX45670" fmla="*/ 5292810 w 6884782"/>
              <a:gd name="connsiteY45670" fmla="*/ 1755456 h 5973007"/>
              <a:gd name="connsiteX45671" fmla="*/ 5291743 w 6884782"/>
              <a:gd name="connsiteY45671" fmla="*/ 1756736 h 5973007"/>
              <a:gd name="connsiteX45672" fmla="*/ 5285767 w 6884782"/>
              <a:gd name="connsiteY45672" fmla="*/ 1756309 h 5973007"/>
              <a:gd name="connsiteX45673" fmla="*/ 5293663 w 6884782"/>
              <a:gd name="connsiteY45673" fmla="*/ 1750619 h 5973007"/>
              <a:gd name="connsiteX45674" fmla="*/ 5293663 w 6884782"/>
              <a:gd name="connsiteY45674" fmla="*/ 1751188 h 5973007"/>
              <a:gd name="connsiteX45675" fmla="*/ 5294517 w 6884782"/>
              <a:gd name="connsiteY45675" fmla="*/ 1750050 h 5973007"/>
              <a:gd name="connsiteX45676" fmla="*/ 5299212 w 6884782"/>
              <a:gd name="connsiteY45676" fmla="*/ 1749907 h 5973007"/>
              <a:gd name="connsiteX45677" fmla="*/ 4012291 w 6884782"/>
              <a:gd name="connsiteY45677" fmla="*/ 1749907 h 5973007"/>
              <a:gd name="connsiteX45678" fmla="*/ 4013999 w 6884782"/>
              <a:gd name="connsiteY45678" fmla="*/ 1751614 h 5973007"/>
              <a:gd name="connsiteX45679" fmla="*/ 4017627 w 6884782"/>
              <a:gd name="connsiteY45679" fmla="*/ 1755313 h 5973007"/>
              <a:gd name="connsiteX45680" fmla="*/ 4016773 w 6884782"/>
              <a:gd name="connsiteY45680" fmla="*/ 1754745 h 5973007"/>
              <a:gd name="connsiteX45681" fmla="*/ 4010371 w 6884782"/>
              <a:gd name="connsiteY45681" fmla="*/ 1750192 h 5973007"/>
              <a:gd name="connsiteX45682" fmla="*/ 4012291 w 6884782"/>
              <a:gd name="connsiteY45682" fmla="*/ 1749907 h 5973007"/>
              <a:gd name="connsiteX45683" fmla="*/ 1480694 w 6884782"/>
              <a:gd name="connsiteY45683" fmla="*/ 1749886 h 5973007"/>
              <a:gd name="connsiteX45684" fmla="*/ 1478010 w 6884782"/>
              <a:gd name="connsiteY45684" fmla="*/ 1770178 h 5973007"/>
              <a:gd name="connsiteX45685" fmla="*/ 1477287 w 6884782"/>
              <a:gd name="connsiteY45685" fmla="*/ 1771416 h 5973007"/>
              <a:gd name="connsiteX45686" fmla="*/ 1478733 w 6884782"/>
              <a:gd name="connsiteY45686" fmla="*/ 1771416 h 5973007"/>
              <a:gd name="connsiteX45687" fmla="*/ 1481933 w 6884782"/>
              <a:gd name="connsiteY45687" fmla="*/ 1776838 h 5973007"/>
              <a:gd name="connsiteX45688" fmla="*/ 1471608 w 6884782"/>
              <a:gd name="connsiteY45688" fmla="*/ 1796355 h 5973007"/>
              <a:gd name="connsiteX45689" fmla="*/ 1469440 w 6884782"/>
              <a:gd name="connsiteY45689" fmla="*/ 1786286 h 5973007"/>
              <a:gd name="connsiteX45690" fmla="*/ 1467477 w 6884782"/>
              <a:gd name="connsiteY45690" fmla="*/ 1789849 h 5973007"/>
              <a:gd name="connsiteX45691" fmla="*/ 1459217 w 6884782"/>
              <a:gd name="connsiteY45691" fmla="*/ 1784428 h 5973007"/>
              <a:gd name="connsiteX45692" fmla="*/ 1473879 w 6884782"/>
              <a:gd name="connsiteY45692" fmla="*/ 1759954 h 5973007"/>
              <a:gd name="connsiteX45693" fmla="*/ 1464690 w 6884782"/>
              <a:gd name="connsiteY45693" fmla="*/ 1762742 h 5973007"/>
              <a:gd name="connsiteX45694" fmla="*/ 1473983 w 6884782"/>
              <a:gd name="connsiteY45694" fmla="*/ 1759799 h 5973007"/>
              <a:gd name="connsiteX45695" fmla="*/ 1480694 w 6884782"/>
              <a:gd name="connsiteY45695" fmla="*/ 1749886 h 5973007"/>
              <a:gd name="connsiteX45696" fmla="*/ 999972 w 6884782"/>
              <a:gd name="connsiteY45696" fmla="*/ 1749847 h 5973007"/>
              <a:gd name="connsiteX45697" fmla="*/ 1023786 w 6884782"/>
              <a:gd name="connsiteY45697" fmla="*/ 1753913 h 5973007"/>
              <a:gd name="connsiteX45698" fmla="*/ 1022030 w 6884782"/>
              <a:gd name="connsiteY45698" fmla="*/ 1762897 h 5973007"/>
              <a:gd name="connsiteX45699" fmla="*/ 1010672 w 6884782"/>
              <a:gd name="connsiteY45699" fmla="*/ 1760419 h 5973007"/>
              <a:gd name="connsiteX45700" fmla="*/ 1009123 w 6884782"/>
              <a:gd name="connsiteY45700" fmla="*/ 1760729 h 5973007"/>
              <a:gd name="connsiteX45701" fmla="*/ 1006852 w 6884782"/>
              <a:gd name="connsiteY45701" fmla="*/ 1760264 h 5973007"/>
              <a:gd name="connsiteX45702" fmla="*/ 1006542 w 6884782"/>
              <a:gd name="connsiteY45702" fmla="*/ 1759334 h 5973007"/>
              <a:gd name="connsiteX45703" fmla="*/ 999521 w 6884782"/>
              <a:gd name="connsiteY45703" fmla="*/ 1757785 h 5973007"/>
              <a:gd name="connsiteX45704" fmla="*/ 978869 w 6884782"/>
              <a:gd name="connsiteY45704" fmla="*/ 1752984 h 5973007"/>
              <a:gd name="connsiteX45705" fmla="*/ 999972 w 6884782"/>
              <a:gd name="connsiteY45705" fmla="*/ 1749847 h 5973007"/>
              <a:gd name="connsiteX45706" fmla="*/ 3581610 w 6884782"/>
              <a:gd name="connsiteY45706" fmla="*/ 1749338 h 5973007"/>
              <a:gd name="connsiteX45707" fmla="*/ 3586305 w 6884782"/>
              <a:gd name="connsiteY45707" fmla="*/ 1754175 h 5973007"/>
              <a:gd name="connsiteX45708" fmla="*/ 3583957 w 6884782"/>
              <a:gd name="connsiteY45708" fmla="*/ 1756878 h 5973007"/>
              <a:gd name="connsiteX45709" fmla="*/ 3579049 w 6884782"/>
              <a:gd name="connsiteY45709" fmla="*/ 1750761 h 5973007"/>
              <a:gd name="connsiteX45710" fmla="*/ 3581610 w 6884782"/>
              <a:gd name="connsiteY45710" fmla="*/ 1749338 h 5973007"/>
              <a:gd name="connsiteX45711" fmla="*/ 4979296 w 6884782"/>
              <a:gd name="connsiteY45711" fmla="*/ 1749196 h 5973007"/>
              <a:gd name="connsiteX45712" fmla="*/ 4986339 w 6884782"/>
              <a:gd name="connsiteY45712" fmla="*/ 1750903 h 5973007"/>
              <a:gd name="connsiteX45713" fmla="*/ 4978442 w 6884782"/>
              <a:gd name="connsiteY45713" fmla="*/ 1757305 h 5973007"/>
              <a:gd name="connsiteX45714" fmla="*/ 4979296 w 6884782"/>
              <a:gd name="connsiteY45714" fmla="*/ 1749196 h 5973007"/>
              <a:gd name="connsiteX45715" fmla="*/ 4959235 w 6884782"/>
              <a:gd name="connsiteY45715" fmla="*/ 1749196 h 5973007"/>
              <a:gd name="connsiteX45716" fmla="*/ 4961795 w 6884782"/>
              <a:gd name="connsiteY45716" fmla="*/ 1751046 h 5973007"/>
              <a:gd name="connsiteX45717" fmla="*/ 4964357 w 6884782"/>
              <a:gd name="connsiteY45717" fmla="*/ 1755313 h 5973007"/>
              <a:gd name="connsiteX45718" fmla="*/ 4964143 w 6884782"/>
              <a:gd name="connsiteY45718" fmla="*/ 1756736 h 5973007"/>
              <a:gd name="connsiteX45719" fmla="*/ 4964997 w 6884782"/>
              <a:gd name="connsiteY45719" fmla="*/ 1755740 h 5973007"/>
              <a:gd name="connsiteX45720" fmla="*/ 4969692 w 6884782"/>
              <a:gd name="connsiteY45720" fmla="*/ 1755598 h 5973007"/>
              <a:gd name="connsiteX45721" fmla="*/ 4972680 w 6884782"/>
              <a:gd name="connsiteY45721" fmla="*/ 1757305 h 5973007"/>
              <a:gd name="connsiteX45722" fmla="*/ 4973747 w 6884782"/>
              <a:gd name="connsiteY45722" fmla="*/ 1761147 h 5973007"/>
              <a:gd name="connsiteX45723" fmla="*/ 4972894 w 6884782"/>
              <a:gd name="connsiteY45723" fmla="*/ 1764419 h 5973007"/>
              <a:gd name="connsiteX45724" fmla="*/ 4966704 w 6884782"/>
              <a:gd name="connsiteY45724" fmla="*/ 1768118 h 5973007"/>
              <a:gd name="connsiteX45725" fmla="*/ 4963290 w 6884782"/>
              <a:gd name="connsiteY45725" fmla="*/ 1764277 h 5973007"/>
              <a:gd name="connsiteX45726" fmla="*/ 4962009 w 6884782"/>
              <a:gd name="connsiteY45726" fmla="*/ 1759297 h 5973007"/>
              <a:gd name="connsiteX45727" fmla="*/ 4961155 w 6884782"/>
              <a:gd name="connsiteY45727" fmla="*/ 1759440 h 5973007"/>
              <a:gd name="connsiteX45728" fmla="*/ 4961155 w 6884782"/>
              <a:gd name="connsiteY45728" fmla="*/ 1760577 h 5973007"/>
              <a:gd name="connsiteX45729" fmla="*/ 4958808 w 6884782"/>
              <a:gd name="connsiteY45729" fmla="*/ 1759155 h 5973007"/>
              <a:gd name="connsiteX45730" fmla="*/ 4956033 w 6884782"/>
              <a:gd name="connsiteY45730" fmla="*/ 1750050 h 5973007"/>
              <a:gd name="connsiteX45731" fmla="*/ 4959235 w 6884782"/>
              <a:gd name="connsiteY45731" fmla="*/ 1749196 h 5973007"/>
              <a:gd name="connsiteX45732" fmla="*/ 3432003 w 6884782"/>
              <a:gd name="connsiteY45732" fmla="*/ 1749196 h 5973007"/>
              <a:gd name="connsiteX45733" fmla="*/ 3424747 w 6884782"/>
              <a:gd name="connsiteY45733" fmla="*/ 1761573 h 5973007"/>
              <a:gd name="connsiteX45734" fmla="*/ 3424747 w 6884782"/>
              <a:gd name="connsiteY45734" fmla="*/ 1762142 h 5973007"/>
              <a:gd name="connsiteX45735" fmla="*/ 3426880 w 6884782"/>
              <a:gd name="connsiteY45735" fmla="*/ 1764134 h 5973007"/>
              <a:gd name="connsiteX45736" fmla="*/ 3427521 w 6884782"/>
              <a:gd name="connsiteY45736" fmla="*/ 1770109 h 5973007"/>
              <a:gd name="connsiteX45737" fmla="*/ 3421545 w 6884782"/>
              <a:gd name="connsiteY45737" fmla="*/ 1774378 h 5973007"/>
              <a:gd name="connsiteX45738" fmla="*/ 3421069 w 6884782"/>
              <a:gd name="connsiteY45738" fmla="*/ 1774672 h 5973007"/>
              <a:gd name="connsiteX45739" fmla="*/ 3426390 w 6884782"/>
              <a:gd name="connsiteY45739" fmla="*/ 1787214 h 5973007"/>
              <a:gd name="connsiteX45740" fmla="*/ 3427948 w 6884782"/>
              <a:gd name="connsiteY45740" fmla="*/ 1785759 h 5973007"/>
              <a:gd name="connsiteX45741" fmla="*/ 3428161 w 6884782"/>
              <a:gd name="connsiteY45741" fmla="*/ 1775089 h 5973007"/>
              <a:gd name="connsiteX45742" fmla="*/ 3432003 w 6884782"/>
              <a:gd name="connsiteY45742" fmla="*/ 1749196 h 5973007"/>
              <a:gd name="connsiteX45743" fmla="*/ 5535468 w 6884782"/>
              <a:gd name="connsiteY45743" fmla="*/ 1748200 h 5973007"/>
              <a:gd name="connsiteX45744" fmla="*/ 5537175 w 6884782"/>
              <a:gd name="connsiteY45744" fmla="*/ 1751757 h 5973007"/>
              <a:gd name="connsiteX45745" fmla="*/ 5531200 w 6884782"/>
              <a:gd name="connsiteY45745" fmla="*/ 1750761 h 5973007"/>
              <a:gd name="connsiteX45746" fmla="*/ 5535468 w 6884782"/>
              <a:gd name="connsiteY45746" fmla="*/ 1748200 h 5973007"/>
              <a:gd name="connsiteX45747" fmla="*/ 4954112 w 6884782"/>
              <a:gd name="connsiteY45747" fmla="*/ 1747489 h 5973007"/>
              <a:gd name="connsiteX45748" fmla="*/ 4955607 w 6884782"/>
              <a:gd name="connsiteY45748" fmla="*/ 1747773 h 5973007"/>
              <a:gd name="connsiteX45749" fmla="*/ 4951124 w 6884782"/>
              <a:gd name="connsiteY45749" fmla="*/ 1751046 h 5973007"/>
              <a:gd name="connsiteX45750" fmla="*/ 4954112 w 6884782"/>
              <a:gd name="connsiteY45750" fmla="*/ 1747489 h 5973007"/>
              <a:gd name="connsiteX45751" fmla="*/ 1786643 w 6884782"/>
              <a:gd name="connsiteY45751" fmla="*/ 1747253 h 5973007"/>
              <a:gd name="connsiteX45752" fmla="*/ 1796659 w 6884782"/>
              <a:gd name="connsiteY45752" fmla="*/ 1755152 h 5973007"/>
              <a:gd name="connsiteX45753" fmla="*/ 1782512 w 6884782"/>
              <a:gd name="connsiteY45753" fmla="*/ 1753294 h 5973007"/>
              <a:gd name="connsiteX45754" fmla="*/ 1783029 w 6884782"/>
              <a:gd name="connsiteY45754" fmla="*/ 1751900 h 5973007"/>
              <a:gd name="connsiteX45755" fmla="*/ 1782719 w 6884782"/>
              <a:gd name="connsiteY45755" fmla="*/ 1751125 h 5973007"/>
              <a:gd name="connsiteX45756" fmla="*/ 1783235 w 6884782"/>
              <a:gd name="connsiteY45756" fmla="*/ 1751125 h 5973007"/>
              <a:gd name="connsiteX45757" fmla="*/ 1783545 w 6884782"/>
              <a:gd name="connsiteY45757" fmla="*/ 1750351 h 5973007"/>
              <a:gd name="connsiteX45758" fmla="*/ 1786643 w 6884782"/>
              <a:gd name="connsiteY45758" fmla="*/ 1747253 h 5973007"/>
              <a:gd name="connsiteX45759" fmla="*/ 1008194 w 6884782"/>
              <a:gd name="connsiteY45759" fmla="*/ 1746788 h 5973007"/>
              <a:gd name="connsiteX45760" fmla="*/ 1010672 w 6884782"/>
              <a:gd name="connsiteY45760" fmla="*/ 1749266 h 5973007"/>
              <a:gd name="connsiteX45761" fmla="*/ 1007265 w 6884782"/>
              <a:gd name="connsiteY45761" fmla="*/ 1750196 h 5973007"/>
              <a:gd name="connsiteX45762" fmla="*/ 1006748 w 6884782"/>
              <a:gd name="connsiteY45762" fmla="*/ 1748802 h 5973007"/>
              <a:gd name="connsiteX45763" fmla="*/ 1008194 w 6884782"/>
              <a:gd name="connsiteY45763" fmla="*/ 1746788 h 5973007"/>
              <a:gd name="connsiteX45764" fmla="*/ 4751151 w 6884782"/>
              <a:gd name="connsiteY45764" fmla="*/ 1746777 h 5973007"/>
              <a:gd name="connsiteX45765" fmla="*/ 4773346 w 6884782"/>
              <a:gd name="connsiteY45765" fmla="*/ 1760577 h 5973007"/>
              <a:gd name="connsiteX45766" fmla="*/ 4773560 w 6884782"/>
              <a:gd name="connsiteY45766" fmla="*/ 1765130 h 5973007"/>
              <a:gd name="connsiteX45767" fmla="*/ 4774200 w 6884782"/>
              <a:gd name="connsiteY45767" fmla="*/ 1765130 h 5973007"/>
              <a:gd name="connsiteX45768" fmla="*/ 4775267 w 6884782"/>
              <a:gd name="connsiteY45768" fmla="*/ 1765699 h 5973007"/>
              <a:gd name="connsiteX45769" fmla="*/ 4783590 w 6884782"/>
              <a:gd name="connsiteY45769" fmla="*/ 1763423 h 5973007"/>
              <a:gd name="connsiteX45770" fmla="*/ 4785511 w 6884782"/>
              <a:gd name="connsiteY45770" fmla="*/ 1764845 h 5973007"/>
              <a:gd name="connsiteX45771" fmla="*/ 4782950 w 6884782"/>
              <a:gd name="connsiteY45771" fmla="*/ 1767691 h 5973007"/>
              <a:gd name="connsiteX45772" fmla="*/ 4779322 w 6884782"/>
              <a:gd name="connsiteY45772" fmla="*/ 1765984 h 5973007"/>
              <a:gd name="connsiteX45773" fmla="*/ 4774840 w 6884782"/>
              <a:gd name="connsiteY45773" fmla="*/ 1767406 h 5973007"/>
              <a:gd name="connsiteX45774" fmla="*/ 4773560 w 6884782"/>
              <a:gd name="connsiteY45774" fmla="*/ 1766979 h 5973007"/>
              <a:gd name="connsiteX45775" fmla="*/ 4773560 w 6884782"/>
              <a:gd name="connsiteY45775" fmla="*/ 1768118 h 5973007"/>
              <a:gd name="connsiteX45776" fmla="*/ 4739839 w 6884782"/>
              <a:gd name="connsiteY45776" fmla="*/ 1757021 h 5973007"/>
              <a:gd name="connsiteX45777" fmla="*/ 4751151 w 6884782"/>
              <a:gd name="connsiteY45777" fmla="*/ 1746777 h 5973007"/>
              <a:gd name="connsiteX45778" fmla="*/ 4662795 w 6884782"/>
              <a:gd name="connsiteY45778" fmla="*/ 1746777 h 5973007"/>
              <a:gd name="connsiteX45779" fmla="*/ 4660874 w 6884782"/>
              <a:gd name="connsiteY45779" fmla="*/ 1747062 h 5973007"/>
              <a:gd name="connsiteX45780" fmla="*/ 4663221 w 6884782"/>
              <a:gd name="connsiteY45780" fmla="*/ 1747204 h 5973007"/>
              <a:gd name="connsiteX45781" fmla="*/ 4663008 w 6884782"/>
              <a:gd name="connsiteY45781" fmla="*/ 1746777 h 5973007"/>
              <a:gd name="connsiteX45782" fmla="*/ 3837287 w 6884782"/>
              <a:gd name="connsiteY45782" fmla="*/ 1746635 h 5973007"/>
              <a:gd name="connsiteX45783" fmla="*/ 3845824 w 6884782"/>
              <a:gd name="connsiteY45783" fmla="*/ 1755313 h 5973007"/>
              <a:gd name="connsiteX45784" fmla="*/ 3839421 w 6884782"/>
              <a:gd name="connsiteY45784" fmla="*/ 1762712 h 5973007"/>
              <a:gd name="connsiteX45785" fmla="*/ 3836860 w 6884782"/>
              <a:gd name="connsiteY45785" fmla="*/ 1763850 h 5973007"/>
              <a:gd name="connsiteX45786" fmla="*/ 3836860 w 6884782"/>
              <a:gd name="connsiteY45786" fmla="*/ 1766979 h 5973007"/>
              <a:gd name="connsiteX45787" fmla="*/ 3834299 w 6884782"/>
              <a:gd name="connsiteY45787" fmla="*/ 1769967 h 5973007"/>
              <a:gd name="connsiteX45788" fmla="*/ 3848171 w 6884782"/>
              <a:gd name="connsiteY45788" fmla="*/ 1761147 h 5973007"/>
              <a:gd name="connsiteX45789" fmla="*/ 3856708 w 6884782"/>
              <a:gd name="connsiteY45789" fmla="*/ 1758443 h 5973007"/>
              <a:gd name="connsiteX45790" fmla="*/ 3867379 w 6884782"/>
              <a:gd name="connsiteY45790" fmla="*/ 1758586 h 5973007"/>
              <a:gd name="connsiteX45791" fmla="*/ 3870794 w 6884782"/>
              <a:gd name="connsiteY45791" fmla="*/ 1769967 h 5973007"/>
              <a:gd name="connsiteX45792" fmla="*/ 3838141 w 6884782"/>
              <a:gd name="connsiteY45792" fmla="*/ 1772813 h 5973007"/>
              <a:gd name="connsiteX45793" fmla="*/ 3834085 w 6884782"/>
              <a:gd name="connsiteY45793" fmla="*/ 1770251 h 5973007"/>
              <a:gd name="connsiteX45794" fmla="*/ 3832165 w 6884782"/>
              <a:gd name="connsiteY45794" fmla="*/ 1772386 h 5973007"/>
              <a:gd name="connsiteX45795" fmla="*/ 3829604 w 6884782"/>
              <a:gd name="connsiteY45795" fmla="*/ 1776369 h 5973007"/>
              <a:gd name="connsiteX45796" fmla="*/ 3825976 w 6884782"/>
              <a:gd name="connsiteY45796" fmla="*/ 1777080 h 5973007"/>
              <a:gd name="connsiteX45797" fmla="*/ 3828110 w 6884782"/>
              <a:gd name="connsiteY45797" fmla="*/ 1766410 h 5973007"/>
              <a:gd name="connsiteX45798" fmla="*/ 3828750 w 6884782"/>
              <a:gd name="connsiteY45798" fmla="*/ 1765557 h 5973007"/>
              <a:gd name="connsiteX45799" fmla="*/ 3829390 w 6884782"/>
              <a:gd name="connsiteY45799" fmla="*/ 1764845 h 5973007"/>
              <a:gd name="connsiteX45800" fmla="*/ 3825336 w 6884782"/>
              <a:gd name="connsiteY45800" fmla="*/ 1760862 h 5973007"/>
              <a:gd name="connsiteX45801" fmla="*/ 3837287 w 6884782"/>
              <a:gd name="connsiteY45801" fmla="*/ 1746635 h 5973007"/>
              <a:gd name="connsiteX45802" fmla="*/ 1248574 w 6884782"/>
              <a:gd name="connsiteY45802" fmla="*/ 1746478 h 5973007"/>
              <a:gd name="connsiteX45803" fmla="*/ 1254563 w 6884782"/>
              <a:gd name="connsiteY45803" fmla="*/ 1756856 h 5973007"/>
              <a:gd name="connsiteX45804" fmla="*/ 1257971 w 6884782"/>
              <a:gd name="connsiteY45804" fmla="*/ 1759645 h 5973007"/>
              <a:gd name="connsiteX45805" fmla="*/ 1258694 w 6884782"/>
              <a:gd name="connsiteY45805" fmla="*/ 1758870 h 5973007"/>
              <a:gd name="connsiteX45806" fmla="*/ 1258487 w 6884782"/>
              <a:gd name="connsiteY45806" fmla="*/ 1758715 h 5973007"/>
              <a:gd name="connsiteX45807" fmla="*/ 1264166 w 6884782"/>
              <a:gd name="connsiteY45807" fmla="*/ 1755772 h 5973007"/>
              <a:gd name="connsiteX45808" fmla="*/ 1263753 w 6884782"/>
              <a:gd name="connsiteY45808" fmla="*/ 1764291 h 5973007"/>
              <a:gd name="connsiteX45809" fmla="*/ 1263443 w 6884782"/>
              <a:gd name="connsiteY45809" fmla="*/ 1764756 h 5973007"/>
              <a:gd name="connsiteX45810" fmla="*/ 1265095 w 6884782"/>
              <a:gd name="connsiteY45810" fmla="*/ 1767544 h 5973007"/>
              <a:gd name="connsiteX45811" fmla="*/ 1265612 w 6884782"/>
              <a:gd name="connsiteY45811" fmla="*/ 1771571 h 5973007"/>
              <a:gd name="connsiteX45812" fmla="*/ 1264166 w 6884782"/>
              <a:gd name="connsiteY45812" fmla="*/ 1777612 h 5973007"/>
              <a:gd name="connsiteX45813" fmla="*/ 1266025 w 6884782"/>
              <a:gd name="connsiteY45813" fmla="*/ 1777922 h 5973007"/>
              <a:gd name="connsiteX45814" fmla="*/ 1262204 w 6884782"/>
              <a:gd name="connsiteY45814" fmla="*/ 1781795 h 5973007"/>
              <a:gd name="connsiteX45815" fmla="*/ 1261998 w 6884782"/>
              <a:gd name="connsiteY45815" fmla="*/ 1781640 h 5973007"/>
              <a:gd name="connsiteX45816" fmla="*/ 1259210 w 6884782"/>
              <a:gd name="connsiteY45816" fmla="*/ 1785047 h 5973007"/>
              <a:gd name="connsiteX45817" fmla="*/ 1265405 w 6884782"/>
              <a:gd name="connsiteY45817" fmla="*/ 1786596 h 5973007"/>
              <a:gd name="connsiteX45818" fmla="*/ 1271600 w 6884782"/>
              <a:gd name="connsiteY45818" fmla="*/ 1789230 h 5973007"/>
              <a:gd name="connsiteX45819" fmla="*/ 1280894 w 6884782"/>
              <a:gd name="connsiteY45819" fmla="*/ 1795580 h 5973007"/>
              <a:gd name="connsiteX45820" fmla="*/ 1280894 w 6884782"/>
              <a:gd name="connsiteY45820" fmla="*/ 1795890 h 5973007"/>
              <a:gd name="connsiteX45821" fmla="*/ 1282959 w 6884782"/>
              <a:gd name="connsiteY45821" fmla="*/ 1797284 h 5973007"/>
              <a:gd name="connsiteX45822" fmla="*/ 1283062 w 6884782"/>
              <a:gd name="connsiteY45822" fmla="*/ 1804409 h 5973007"/>
              <a:gd name="connsiteX45823" fmla="*/ 1278519 w 6884782"/>
              <a:gd name="connsiteY45823" fmla="*/ 1801312 h 5973007"/>
              <a:gd name="connsiteX45824" fmla="*/ 1277073 w 6884782"/>
              <a:gd name="connsiteY45824" fmla="*/ 1803170 h 5973007"/>
              <a:gd name="connsiteX45825" fmla="*/ 1269639 w 6884782"/>
              <a:gd name="connsiteY45825" fmla="*/ 1804255 h 5973007"/>
              <a:gd name="connsiteX45826" fmla="*/ 1268709 w 6884782"/>
              <a:gd name="connsiteY45826" fmla="*/ 1804100 h 5973007"/>
              <a:gd name="connsiteX45827" fmla="*/ 1269019 w 6884782"/>
              <a:gd name="connsiteY45827" fmla="*/ 1814323 h 5973007"/>
              <a:gd name="connsiteX45828" fmla="*/ 1269329 w 6884782"/>
              <a:gd name="connsiteY45828" fmla="*/ 1817266 h 5973007"/>
              <a:gd name="connsiteX45829" fmla="*/ 1270258 w 6884782"/>
              <a:gd name="connsiteY45829" fmla="*/ 1817730 h 5973007"/>
              <a:gd name="connsiteX45830" fmla="*/ 1272943 w 6884782"/>
              <a:gd name="connsiteY45830" fmla="*/ 1820054 h 5973007"/>
              <a:gd name="connsiteX45831" fmla="*/ 1270465 w 6884782"/>
              <a:gd name="connsiteY45831" fmla="*/ 1822377 h 5973007"/>
              <a:gd name="connsiteX45832" fmla="*/ 1269948 w 6884782"/>
              <a:gd name="connsiteY45832" fmla="*/ 1822532 h 5973007"/>
              <a:gd name="connsiteX45833" fmla="*/ 1269948 w 6884782"/>
              <a:gd name="connsiteY45833" fmla="*/ 1822997 h 5973007"/>
              <a:gd name="connsiteX45834" fmla="*/ 1269535 w 6884782"/>
              <a:gd name="connsiteY45834" fmla="*/ 1822687 h 5973007"/>
              <a:gd name="connsiteX45835" fmla="*/ 1268503 w 6884782"/>
              <a:gd name="connsiteY45835" fmla="*/ 1822997 h 5973007"/>
              <a:gd name="connsiteX45836" fmla="*/ 1265715 w 6884782"/>
              <a:gd name="connsiteY45836" fmla="*/ 1822842 h 5973007"/>
              <a:gd name="connsiteX45837" fmla="*/ 1264063 w 6884782"/>
              <a:gd name="connsiteY45837" fmla="*/ 1821603 h 5973007"/>
              <a:gd name="connsiteX45838" fmla="*/ 1262101 w 6884782"/>
              <a:gd name="connsiteY45838" fmla="*/ 1820054 h 5973007"/>
              <a:gd name="connsiteX45839" fmla="*/ 1261998 w 6884782"/>
              <a:gd name="connsiteY45839" fmla="*/ 1819589 h 5973007"/>
              <a:gd name="connsiteX45840" fmla="*/ 1260552 w 6884782"/>
              <a:gd name="connsiteY45840" fmla="*/ 1819280 h 5973007"/>
              <a:gd name="connsiteX45841" fmla="*/ 1251156 w 6884782"/>
              <a:gd name="connsiteY45841" fmla="*/ 1819280 h 5973007"/>
              <a:gd name="connsiteX45842" fmla="*/ 1251053 w 6884782"/>
              <a:gd name="connsiteY45842" fmla="*/ 1820983 h 5973007"/>
              <a:gd name="connsiteX45843" fmla="*/ 1249194 w 6884782"/>
              <a:gd name="connsiteY45843" fmla="*/ 1825166 h 5973007"/>
              <a:gd name="connsiteX45844" fmla="*/ 1242895 w 6884782"/>
              <a:gd name="connsiteY45844" fmla="*/ 1820209 h 5973007"/>
              <a:gd name="connsiteX45845" fmla="*/ 1243102 w 6884782"/>
              <a:gd name="connsiteY45845" fmla="*/ 1818195 h 5973007"/>
              <a:gd name="connsiteX45846" fmla="*/ 1241450 w 6884782"/>
              <a:gd name="connsiteY45846" fmla="*/ 1817576 h 5973007"/>
              <a:gd name="connsiteX45847" fmla="*/ 1237836 w 6884782"/>
              <a:gd name="connsiteY45847" fmla="*/ 1815097 h 5973007"/>
              <a:gd name="connsiteX45848" fmla="*/ 1236803 w 6884782"/>
              <a:gd name="connsiteY45848" fmla="*/ 1790004 h 5973007"/>
              <a:gd name="connsiteX45849" fmla="*/ 1237320 w 6884782"/>
              <a:gd name="connsiteY45849" fmla="*/ 1789539 h 5973007"/>
              <a:gd name="connsiteX45850" fmla="*/ 1235151 w 6884782"/>
              <a:gd name="connsiteY45850" fmla="*/ 1788300 h 5973007"/>
              <a:gd name="connsiteX45851" fmla="*/ 1235048 w 6884782"/>
              <a:gd name="connsiteY45851" fmla="*/ 1790004 h 5973007"/>
              <a:gd name="connsiteX45852" fmla="*/ 1229678 w 6884782"/>
              <a:gd name="connsiteY45852" fmla="*/ 1791243 h 5973007"/>
              <a:gd name="connsiteX45853" fmla="*/ 1229575 w 6884782"/>
              <a:gd name="connsiteY45853" fmla="*/ 1786596 h 5973007"/>
              <a:gd name="connsiteX45854" fmla="*/ 1230814 w 6884782"/>
              <a:gd name="connsiteY45854" fmla="*/ 1784738 h 5973007"/>
              <a:gd name="connsiteX45855" fmla="*/ 1228027 w 6884782"/>
              <a:gd name="connsiteY45855" fmla="*/ 1779936 h 5973007"/>
              <a:gd name="connsiteX45856" fmla="*/ 1227613 w 6884782"/>
              <a:gd name="connsiteY45856" fmla="*/ 1775753 h 5973007"/>
              <a:gd name="connsiteX45857" fmla="*/ 1228233 w 6884782"/>
              <a:gd name="connsiteY45857" fmla="*/ 1770952 h 5973007"/>
              <a:gd name="connsiteX45858" fmla="*/ 1236494 w 6884782"/>
              <a:gd name="connsiteY45858" fmla="*/ 1759025 h 5973007"/>
              <a:gd name="connsiteX45859" fmla="*/ 1239075 w 6884782"/>
              <a:gd name="connsiteY45859" fmla="*/ 1756546 h 5973007"/>
              <a:gd name="connsiteX45860" fmla="*/ 1239385 w 6884782"/>
              <a:gd name="connsiteY45860" fmla="*/ 1755462 h 5973007"/>
              <a:gd name="connsiteX45861" fmla="*/ 1240727 w 6884782"/>
              <a:gd name="connsiteY45861" fmla="*/ 1752364 h 5973007"/>
              <a:gd name="connsiteX45862" fmla="*/ 1242173 w 6884782"/>
              <a:gd name="connsiteY45862" fmla="*/ 1751900 h 5973007"/>
              <a:gd name="connsiteX45863" fmla="*/ 1241863 w 6884782"/>
              <a:gd name="connsiteY45863" fmla="*/ 1754068 h 5973007"/>
              <a:gd name="connsiteX45864" fmla="*/ 1242482 w 6884782"/>
              <a:gd name="connsiteY45864" fmla="*/ 1753448 h 5973007"/>
              <a:gd name="connsiteX45865" fmla="*/ 1248574 w 6884782"/>
              <a:gd name="connsiteY45865" fmla="*/ 1746478 h 5973007"/>
              <a:gd name="connsiteX45866" fmla="*/ 3509901 w 6884782"/>
              <a:gd name="connsiteY45866" fmla="*/ 1746351 h 5973007"/>
              <a:gd name="connsiteX45867" fmla="*/ 3527188 w 6884782"/>
              <a:gd name="connsiteY45867" fmla="*/ 1774378 h 5973007"/>
              <a:gd name="connsiteX45868" fmla="*/ 3521852 w 6884782"/>
              <a:gd name="connsiteY45868" fmla="*/ 1771106 h 5973007"/>
              <a:gd name="connsiteX45869" fmla="*/ 3519718 w 6884782"/>
              <a:gd name="connsiteY45869" fmla="*/ 1772101 h 5973007"/>
              <a:gd name="connsiteX45870" fmla="*/ 3529109 w 6884782"/>
              <a:gd name="connsiteY45870" fmla="*/ 1775089 h 5973007"/>
              <a:gd name="connsiteX45871" fmla="*/ 3540207 w 6884782"/>
              <a:gd name="connsiteY45871" fmla="*/ 1782060 h 5973007"/>
              <a:gd name="connsiteX45872" fmla="*/ 3542768 w 6884782"/>
              <a:gd name="connsiteY45872" fmla="*/ 1784905 h 5973007"/>
              <a:gd name="connsiteX45873" fmla="*/ 3546396 w 6884782"/>
              <a:gd name="connsiteY45873" fmla="*/ 1785474 h 5973007"/>
              <a:gd name="connsiteX45874" fmla="*/ 3544688 w 6884782"/>
              <a:gd name="connsiteY45874" fmla="*/ 1786897 h 5973007"/>
              <a:gd name="connsiteX45875" fmla="*/ 3548530 w 6884782"/>
              <a:gd name="connsiteY45875" fmla="*/ 1791165 h 5973007"/>
              <a:gd name="connsiteX45876" fmla="*/ 3552158 w 6884782"/>
              <a:gd name="connsiteY45876" fmla="*/ 1801551 h 5973007"/>
              <a:gd name="connsiteX45877" fmla="*/ 3551732 w 6884782"/>
              <a:gd name="connsiteY45877" fmla="*/ 1803827 h 5973007"/>
              <a:gd name="connsiteX45878" fmla="*/ 3552372 w 6884782"/>
              <a:gd name="connsiteY45878" fmla="*/ 1803685 h 5973007"/>
              <a:gd name="connsiteX45879" fmla="*/ 3553865 w 6884782"/>
              <a:gd name="connsiteY45879" fmla="*/ 1804254 h 5973007"/>
              <a:gd name="connsiteX45880" fmla="*/ 3563043 w 6884782"/>
              <a:gd name="connsiteY45880" fmla="*/ 1814355 h 5973007"/>
              <a:gd name="connsiteX45881" fmla="*/ 3553012 w 6884782"/>
              <a:gd name="connsiteY45881" fmla="*/ 1818339 h 5973007"/>
              <a:gd name="connsiteX45882" fmla="*/ 3551304 w 6884782"/>
              <a:gd name="connsiteY45882" fmla="*/ 1817058 h 5973007"/>
              <a:gd name="connsiteX45883" fmla="*/ 3551091 w 6884782"/>
              <a:gd name="connsiteY45883" fmla="*/ 1817200 h 5973007"/>
              <a:gd name="connsiteX45884" fmla="*/ 3547463 w 6884782"/>
              <a:gd name="connsiteY45884" fmla="*/ 1819761 h 5973007"/>
              <a:gd name="connsiteX45885" fmla="*/ 3542128 w 6884782"/>
              <a:gd name="connsiteY45885" fmla="*/ 1815066 h 5973007"/>
              <a:gd name="connsiteX45886" fmla="*/ 3539566 w 6884782"/>
              <a:gd name="connsiteY45886" fmla="*/ 1811083 h 5973007"/>
              <a:gd name="connsiteX45887" fmla="*/ 3531670 w 6884782"/>
              <a:gd name="connsiteY45887" fmla="*/ 1810087 h 5973007"/>
              <a:gd name="connsiteX45888" fmla="*/ 3531457 w 6884782"/>
              <a:gd name="connsiteY45888" fmla="*/ 1811652 h 5973007"/>
              <a:gd name="connsiteX45889" fmla="*/ 3530816 w 6884782"/>
              <a:gd name="connsiteY45889" fmla="*/ 1813359 h 5973007"/>
              <a:gd name="connsiteX45890" fmla="*/ 3531883 w 6884782"/>
              <a:gd name="connsiteY45890" fmla="*/ 1813502 h 5973007"/>
              <a:gd name="connsiteX45891" fmla="*/ 3532737 w 6884782"/>
              <a:gd name="connsiteY45891" fmla="*/ 1824029 h 5973007"/>
              <a:gd name="connsiteX45892" fmla="*/ 3532097 w 6884782"/>
              <a:gd name="connsiteY45892" fmla="*/ 1829720 h 5973007"/>
              <a:gd name="connsiteX45893" fmla="*/ 3538286 w 6884782"/>
              <a:gd name="connsiteY45893" fmla="*/ 1826591 h 5973007"/>
              <a:gd name="connsiteX45894" fmla="*/ 3548743 w 6884782"/>
              <a:gd name="connsiteY45894" fmla="*/ 1828724 h 5973007"/>
              <a:gd name="connsiteX45895" fmla="*/ 3538286 w 6884782"/>
              <a:gd name="connsiteY45895" fmla="*/ 1849211 h 5973007"/>
              <a:gd name="connsiteX45896" fmla="*/ 3532097 w 6884782"/>
              <a:gd name="connsiteY45896" fmla="*/ 1838683 h 5973007"/>
              <a:gd name="connsiteX45897" fmla="*/ 3531243 w 6884782"/>
              <a:gd name="connsiteY45897" fmla="*/ 1831712 h 5973007"/>
              <a:gd name="connsiteX45898" fmla="*/ 3527188 w 6884782"/>
              <a:gd name="connsiteY45898" fmla="*/ 1833135 h 5973007"/>
              <a:gd name="connsiteX45899" fmla="*/ 3524840 w 6884782"/>
              <a:gd name="connsiteY45899" fmla="*/ 1821895 h 5973007"/>
              <a:gd name="connsiteX45900" fmla="*/ 3524840 w 6884782"/>
              <a:gd name="connsiteY45900" fmla="*/ 1821611 h 5973007"/>
              <a:gd name="connsiteX45901" fmla="*/ 3523987 w 6884782"/>
              <a:gd name="connsiteY45901" fmla="*/ 1822464 h 5973007"/>
              <a:gd name="connsiteX45902" fmla="*/ 3513956 w 6884782"/>
              <a:gd name="connsiteY45902" fmla="*/ 1824314 h 5973007"/>
              <a:gd name="connsiteX45903" fmla="*/ 3512889 w 6884782"/>
              <a:gd name="connsiteY45903" fmla="*/ 1823460 h 5973007"/>
              <a:gd name="connsiteX45904" fmla="*/ 3510115 w 6884782"/>
              <a:gd name="connsiteY45904" fmla="*/ 1823176 h 5973007"/>
              <a:gd name="connsiteX45905" fmla="*/ 3509901 w 6884782"/>
              <a:gd name="connsiteY45905" fmla="*/ 1822891 h 5973007"/>
              <a:gd name="connsiteX45906" fmla="*/ 3509688 w 6884782"/>
              <a:gd name="connsiteY45906" fmla="*/ 1822891 h 5973007"/>
              <a:gd name="connsiteX45907" fmla="*/ 3509261 w 6884782"/>
              <a:gd name="connsiteY45907" fmla="*/ 1821753 h 5973007"/>
              <a:gd name="connsiteX45908" fmla="*/ 3506700 w 6884782"/>
              <a:gd name="connsiteY45908" fmla="*/ 1816489 h 5973007"/>
              <a:gd name="connsiteX45909" fmla="*/ 3507767 w 6884782"/>
              <a:gd name="connsiteY45909" fmla="*/ 1815208 h 5973007"/>
              <a:gd name="connsiteX45910" fmla="*/ 3506700 w 6884782"/>
              <a:gd name="connsiteY45910" fmla="*/ 1811225 h 5973007"/>
              <a:gd name="connsiteX45911" fmla="*/ 3510541 w 6884782"/>
              <a:gd name="connsiteY45911" fmla="*/ 1804681 h 5973007"/>
              <a:gd name="connsiteX45912" fmla="*/ 3502432 w 6884782"/>
              <a:gd name="connsiteY45912" fmla="*/ 1800982 h 5973007"/>
              <a:gd name="connsiteX45913" fmla="*/ 3490694 w 6884782"/>
              <a:gd name="connsiteY45913" fmla="*/ 1791734 h 5973007"/>
              <a:gd name="connsiteX45914" fmla="*/ 3474047 w 6884782"/>
              <a:gd name="connsiteY45914" fmla="*/ 1801267 h 5973007"/>
              <a:gd name="connsiteX45915" fmla="*/ 3483864 w 6884782"/>
              <a:gd name="connsiteY45915" fmla="*/ 1778077 h 5973007"/>
              <a:gd name="connsiteX45916" fmla="*/ 3493468 w 6884782"/>
              <a:gd name="connsiteY45916" fmla="*/ 1768971 h 5973007"/>
              <a:gd name="connsiteX45917" fmla="*/ 3493041 w 6884782"/>
              <a:gd name="connsiteY45917" fmla="*/ 1767833 h 5973007"/>
              <a:gd name="connsiteX45918" fmla="*/ 3494749 w 6884782"/>
              <a:gd name="connsiteY45918" fmla="*/ 1761289 h 5973007"/>
              <a:gd name="connsiteX45919" fmla="*/ 3497736 w 6884782"/>
              <a:gd name="connsiteY45919" fmla="*/ 1762854 h 5973007"/>
              <a:gd name="connsiteX45920" fmla="*/ 3498376 w 6884782"/>
              <a:gd name="connsiteY45920" fmla="*/ 1766695 h 5973007"/>
              <a:gd name="connsiteX45921" fmla="*/ 3505846 w 6884782"/>
              <a:gd name="connsiteY45921" fmla="*/ 1763565 h 5973007"/>
              <a:gd name="connsiteX45922" fmla="*/ 3506486 w 6884782"/>
              <a:gd name="connsiteY45922" fmla="*/ 1763707 h 5973007"/>
              <a:gd name="connsiteX45923" fmla="*/ 3512035 w 6884782"/>
              <a:gd name="connsiteY45923" fmla="*/ 1760720 h 5973007"/>
              <a:gd name="connsiteX45924" fmla="*/ 3512889 w 6884782"/>
              <a:gd name="connsiteY45924" fmla="*/ 1760720 h 5973007"/>
              <a:gd name="connsiteX45925" fmla="*/ 3510115 w 6884782"/>
              <a:gd name="connsiteY45925" fmla="*/ 1753606 h 5973007"/>
              <a:gd name="connsiteX45926" fmla="*/ 3509901 w 6884782"/>
              <a:gd name="connsiteY45926" fmla="*/ 1746351 h 5973007"/>
              <a:gd name="connsiteX45927" fmla="*/ 896058 w 6884782"/>
              <a:gd name="connsiteY45927" fmla="*/ 1745704 h 5973007"/>
              <a:gd name="connsiteX45928" fmla="*/ 900394 w 6884782"/>
              <a:gd name="connsiteY45928" fmla="*/ 1745858 h 5973007"/>
              <a:gd name="connsiteX45929" fmla="*/ 903492 w 6884782"/>
              <a:gd name="connsiteY45929" fmla="*/ 1752984 h 5973007"/>
              <a:gd name="connsiteX45930" fmla="*/ 900085 w 6884782"/>
              <a:gd name="connsiteY45930" fmla="*/ 1753448 h 5973007"/>
              <a:gd name="connsiteX45931" fmla="*/ 895645 w 6884782"/>
              <a:gd name="connsiteY45931" fmla="*/ 1747717 h 5973007"/>
              <a:gd name="connsiteX45932" fmla="*/ 896058 w 6884782"/>
              <a:gd name="connsiteY45932" fmla="*/ 1745704 h 5973007"/>
              <a:gd name="connsiteX45933" fmla="*/ 4639745 w 6884782"/>
              <a:gd name="connsiteY45933" fmla="*/ 1745639 h 5973007"/>
              <a:gd name="connsiteX45934" fmla="*/ 4642733 w 6884782"/>
              <a:gd name="connsiteY45934" fmla="*/ 1746351 h 5973007"/>
              <a:gd name="connsiteX45935" fmla="*/ 4643800 w 6884782"/>
              <a:gd name="connsiteY45935" fmla="*/ 1762000 h 5973007"/>
              <a:gd name="connsiteX45936" fmla="*/ 4641879 w 6884782"/>
              <a:gd name="connsiteY45936" fmla="*/ 1764561 h 5973007"/>
              <a:gd name="connsiteX45937" fmla="*/ 4641026 w 6884782"/>
              <a:gd name="connsiteY45937" fmla="*/ 1767122 h 5973007"/>
              <a:gd name="connsiteX45938" fmla="*/ 4634623 w 6884782"/>
              <a:gd name="connsiteY45938" fmla="*/ 1771106 h 5973007"/>
              <a:gd name="connsiteX45939" fmla="*/ 4638251 w 6884782"/>
              <a:gd name="connsiteY45939" fmla="*/ 1747773 h 5973007"/>
              <a:gd name="connsiteX45940" fmla="*/ 4639745 w 6884782"/>
              <a:gd name="connsiteY45940" fmla="*/ 1745639 h 5973007"/>
              <a:gd name="connsiteX45941" fmla="*/ 1618722 w 6884782"/>
              <a:gd name="connsiteY45941" fmla="*/ 1745587 h 5973007"/>
              <a:gd name="connsiteX45942" fmla="*/ 1625873 w 6884782"/>
              <a:gd name="connsiteY45942" fmla="*/ 1747717 h 5973007"/>
              <a:gd name="connsiteX45943" fmla="*/ 1626699 w 6884782"/>
              <a:gd name="connsiteY45943" fmla="*/ 1755462 h 5973007"/>
              <a:gd name="connsiteX45944" fmla="*/ 1614514 w 6884782"/>
              <a:gd name="connsiteY45944" fmla="*/ 1755772 h 5973007"/>
              <a:gd name="connsiteX45945" fmla="*/ 1618722 w 6884782"/>
              <a:gd name="connsiteY45945" fmla="*/ 1745587 h 5973007"/>
              <a:gd name="connsiteX45946" fmla="*/ 4696728 w 6884782"/>
              <a:gd name="connsiteY45946" fmla="*/ 1745355 h 5973007"/>
              <a:gd name="connsiteX45947" fmla="*/ 4701210 w 6884782"/>
              <a:gd name="connsiteY45947" fmla="*/ 1747916 h 5973007"/>
              <a:gd name="connsiteX45948" fmla="*/ 4709747 w 6884782"/>
              <a:gd name="connsiteY45948" fmla="*/ 1756736 h 5973007"/>
              <a:gd name="connsiteX45949" fmla="*/ 4712095 w 6884782"/>
              <a:gd name="connsiteY45949" fmla="*/ 1758159 h 5973007"/>
              <a:gd name="connsiteX45950" fmla="*/ 4694167 w 6884782"/>
              <a:gd name="connsiteY45950" fmla="*/ 1747631 h 5973007"/>
              <a:gd name="connsiteX45951" fmla="*/ 4694167 w 6884782"/>
              <a:gd name="connsiteY45951" fmla="*/ 1746493 h 5973007"/>
              <a:gd name="connsiteX45952" fmla="*/ 4696728 w 6884782"/>
              <a:gd name="connsiteY45952" fmla="*/ 1745355 h 5973007"/>
              <a:gd name="connsiteX45953" fmla="*/ 5735869 w 6884782"/>
              <a:gd name="connsiteY45953" fmla="*/ 1745212 h 5973007"/>
              <a:gd name="connsiteX45954" fmla="*/ 5735656 w 6884782"/>
              <a:gd name="connsiteY45954" fmla="*/ 1766410 h 5973007"/>
              <a:gd name="connsiteX45955" fmla="*/ 5732028 w 6884782"/>
              <a:gd name="connsiteY45955" fmla="*/ 1765272 h 5973007"/>
              <a:gd name="connsiteX45956" fmla="*/ 5731387 w 6884782"/>
              <a:gd name="connsiteY45956" fmla="*/ 1765557 h 5973007"/>
              <a:gd name="connsiteX45957" fmla="*/ 5722637 w 6884782"/>
              <a:gd name="connsiteY45957" fmla="*/ 1758443 h 5973007"/>
              <a:gd name="connsiteX45958" fmla="*/ 5727759 w 6884782"/>
              <a:gd name="connsiteY45958" fmla="*/ 1752183 h 5973007"/>
              <a:gd name="connsiteX45959" fmla="*/ 5728613 w 6884782"/>
              <a:gd name="connsiteY45959" fmla="*/ 1752753 h 5973007"/>
              <a:gd name="connsiteX45960" fmla="*/ 5729253 w 6884782"/>
              <a:gd name="connsiteY45960" fmla="*/ 1751330 h 5973007"/>
              <a:gd name="connsiteX45961" fmla="*/ 5735869 w 6884782"/>
              <a:gd name="connsiteY45961" fmla="*/ 1745212 h 5973007"/>
              <a:gd name="connsiteX45962" fmla="*/ 4628647 w 6884782"/>
              <a:gd name="connsiteY45962" fmla="*/ 1744643 h 5973007"/>
              <a:gd name="connsiteX45963" fmla="*/ 4630141 w 6884782"/>
              <a:gd name="connsiteY45963" fmla="*/ 1754887 h 5973007"/>
              <a:gd name="connsiteX45964" fmla="*/ 4627794 w 6884782"/>
              <a:gd name="connsiteY45964" fmla="*/ 1746209 h 5973007"/>
              <a:gd name="connsiteX45965" fmla="*/ 4628647 w 6884782"/>
              <a:gd name="connsiteY45965" fmla="*/ 1744643 h 5973007"/>
              <a:gd name="connsiteX45966" fmla="*/ 5949716 w 6884782"/>
              <a:gd name="connsiteY45966" fmla="*/ 1742794 h 5973007"/>
              <a:gd name="connsiteX45967" fmla="*/ 5952703 w 6884782"/>
              <a:gd name="connsiteY45967" fmla="*/ 1744074 h 5973007"/>
              <a:gd name="connsiteX45968" fmla="*/ 5953558 w 6884782"/>
              <a:gd name="connsiteY45968" fmla="*/ 1750050 h 5973007"/>
              <a:gd name="connsiteX45969" fmla="*/ 5949502 w 6884782"/>
              <a:gd name="connsiteY45969" fmla="*/ 1755171 h 5973007"/>
              <a:gd name="connsiteX45970" fmla="*/ 5948862 w 6884782"/>
              <a:gd name="connsiteY45970" fmla="*/ 1758870 h 5973007"/>
              <a:gd name="connsiteX45971" fmla="*/ 5947795 w 6884782"/>
              <a:gd name="connsiteY45971" fmla="*/ 1759012 h 5973007"/>
              <a:gd name="connsiteX45972" fmla="*/ 5948008 w 6884782"/>
              <a:gd name="connsiteY45972" fmla="*/ 1744359 h 5973007"/>
              <a:gd name="connsiteX45973" fmla="*/ 5949716 w 6884782"/>
              <a:gd name="connsiteY45973" fmla="*/ 1742794 h 5973007"/>
              <a:gd name="connsiteX45974" fmla="*/ 4588311 w 6884782"/>
              <a:gd name="connsiteY45974" fmla="*/ 1742509 h 5973007"/>
              <a:gd name="connsiteX45975" fmla="*/ 4589378 w 6884782"/>
              <a:gd name="connsiteY45975" fmla="*/ 1743932 h 5973007"/>
              <a:gd name="connsiteX45976" fmla="*/ 4589378 w 6884782"/>
              <a:gd name="connsiteY45976" fmla="*/ 1742794 h 5973007"/>
              <a:gd name="connsiteX45977" fmla="*/ 4589805 w 6884782"/>
              <a:gd name="connsiteY45977" fmla="*/ 1744359 h 5973007"/>
              <a:gd name="connsiteX45978" fmla="*/ 4589165 w 6884782"/>
              <a:gd name="connsiteY45978" fmla="*/ 1745070 h 5973007"/>
              <a:gd name="connsiteX45979" fmla="*/ 4585750 w 6884782"/>
              <a:gd name="connsiteY45979" fmla="*/ 1745782 h 5973007"/>
              <a:gd name="connsiteX45980" fmla="*/ 4588311 w 6884782"/>
              <a:gd name="connsiteY45980" fmla="*/ 1742509 h 5973007"/>
              <a:gd name="connsiteX45981" fmla="*/ 1555452 w 6884782"/>
              <a:gd name="connsiteY45981" fmla="*/ 1742296 h 5973007"/>
              <a:gd name="connsiteX45982" fmla="*/ 1557930 w 6884782"/>
              <a:gd name="connsiteY45982" fmla="*/ 1743225 h 5973007"/>
              <a:gd name="connsiteX45983" fmla="*/ 1558653 w 6884782"/>
              <a:gd name="connsiteY45983" fmla="*/ 1744155 h 5973007"/>
              <a:gd name="connsiteX45984" fmla="*/ 1559479 w 6884782"/>
              <a:gd name="connsiteY45984" fmla="*/ 1744155 h 5973007"/>
              <a:gd name="connsiteX45985" fmla="*/ 1559376 w 6884782"/>
              <a:gd name="connsiteY45985" fmla="*/ 1745084 h 5973007"/>
              <a:gd name="connsiteX45986" fmla="*/ 1560821 w 6884782"/>
              <a:gd name="connsiteY45986" fmla="*/ 1746788 h 5973007"/>
              <a:gd name="connsiteX45987" fmla="*/ 1565674 w 6884782"/>
              <a:gd name="connsiteY45987" fmla="*/ 1749576 h 5973007"/>
              <a:gd name="connsiteX45988" fmla="*/ 1568256 w 6884782"/>
              <a:gd name="connsiteY45988" fmla="*/ 1754843 h 5973007"/>
              <a:gd name="connsiteX45989" fmla="*/ 1566294 w 6884782"/>
              <a:gd name="connsiteY45989" fmla="*/ 1756391 h 5973007"/>
              <a:gd name="connsiteX45990" fmla="*/ 1567739 w 6884782"/>
              <a:gd name="connsiteY45990" fmla="*/ 1758250 h 5973007"/>
              <a:gd name="connsiteX45991" fmla="*/ 1569495 w 6884782"/>
              <a:gd name="connsiteY45991" fmla="*/ 1760419 h 5973007"/>
              <a:gd name="connsiteX45992" fmla="*/ 1571560 w 6884782"/>
              <a:gd name="connsiteY45992" fmla="*/ 1760419 h 5973007"/>
              <a:gd name="connsiteX45993" fmla="*/ 1574451 w 6884782"/>
              <a:gd name="connsiteY45993" fmla="*/ 1761813 h 5973007"/>
              <a:gd name="connsiteX45994" fmla="*/ 1570837 w 6884782"/>
              <a:gd name="connsiteY45994" fmla="*/ 1766924 h 5973007"/>
              <a:gd name="connsiteX45995" fmla="*/ 1568462 w 6884782"/>
              <a:gd name="connsiteY45995" fmla="*/ 1764601 h 5973007"/>
              <a:gd name="connsiteX45996" fmla="*/ 1565158 w 6884782"/>
              <a:gd name="connsiteY45996" fmla="*/ 1768938 h 5973007"/>
              <a:gd name="connsiteX45997" fmla="*/ 1560305 w 6884782"/>
              <a:gd name="connsiteY45997" fmla="*/ 1771107 h 5973007"/>
              <a:gd name="connsiteX45998" fmla="*/ 1554523 w 6884782"/>
              <a:gd name="connsiteY45998" fmla="*/ 1769093 h 5973007"/>
              <a:gd name="connsiteX45999" fmla="*/ 1553490 w 6884782"/>
              <a:gd name="connsiteY45999" fmla="*/ 1766150 h 5973007"/>
              <a:gd name="connsiteX46000" fmla="*/ 1552561 w 6884782"/>
              <a:gd name="connsiteY46000" fmla="*/ 1767234 h 5973007"/>
              <a:gd name="connsiteX46001" fmla="*/ 1550186 w 6884782"/>
              <a:gd name="connsiteY46001" fmla="*/ 1769248 h 5973007"/>
              <a:gd name="connsiteX46002" fmla="*/ 1547811 w 6884782"/>
              <a:gd name="connsiteY46002" fmla="*/ 1766614 h 5973007"/>
              <a:gd name="connsiteX46003" fmla="*/ 1547708 w 6884782"/>
              <a:gd name="connsiteY46003" fmla="*/ 1764291 h 5973007"/>
              <a:gd name="connsiteX46004" fmla="*/ 1546469 w 6884782"/>
              <a:gd name="connsiteY46004" fmla="*/ 1764601 h 5973007"/>
              <a:gd name="connsiteX46005" fmla="*/ 1540376 w 6884782"/>
              <a:gd name="connsiteY46005" fmla="*/ 1756237 h 5973007"/>
              <a:gd name="connsiteX46006" fmla="*/ 1544403 w 6884782"/>
              <a:gd name="connsiteY46006" fmla="*/ 1754223 h 5973007"/>
              <a:gd name="connsiteX46007" fmla="*/ 1547708 w 6884782"/>
              <a:gd name="connsiteY46007" fmla="*/ 1753294 h 5973007"/>
              <a:gd name="connsiteX46008" fmla="*/ 1552561 w 6884782"/>
              <a:gd name="connsiteY46008" fmla="*/ 1758405 h 5973007"/>
              <a:gd name="connsiteX46009" fmla="*/ 1552458 w 6884782"/>
              <a:gd name="connsiteY46009" fmla="*/ 1758715 h 5973007"/>
              <a:gd name="connsiteX46010" fmla="*/ 1552664 w 6884782"/>
              <a:gd name="connsiteY46010" fmla="*/ 1758715 h 5973007"/>
              <a:gd name="connsiteX46011" fmla="*/ 1554006 w 6884782"/>
              <a:gd name="connsiteY46011" fmla="*/ 1759799 h 5973007"/>
              <a:gd name="connsiteX46012" fmla="*/ 1554626 w 6884782"/>
              <a:gd name="connsiteY46012" fmla="*/ 1758095 h 5973007"/>
              <a:gd name="connsiteX46013" fmla="*/ 1563093 w 6884782"/>
              <a:gd name="connsiteY46013" fmla="*/ 1754533 h 5973007"/>
              <a:gd name="connsiteX46014" fmla="*/ 1562267 w 6884782"/>
              <a:gd name="connsiteY46014" fmla="*/ 1754533 h 5973007"/>
              <a:gd name="connsiteX46015" fmla="*/ 1555452 w 6884782"/>
              <a:gd name="connsiteY46015" fmla="*/ 1742296 h 5973007"/>
              <a:gd name="connsiteX46016" fmla="*/ 1602227 w 6884782"/>
              <a:gd name="connsiteY46016" fmla="*/ 1741831 h 5973007"/>
              <a:gd name="connsiteX46017" fmla="*/ 1607287 w 6884782"/>
              <a:gd name="connsiteY46017" fmla="*/ 1743845 h 5973007"/>
              <a:gd name="connsiteX46018" fmla="*/ 1607803 w 6884782"/>
              <a:gd name="connsiteY46018" fmla="*/ 1743070 h 5973007"/>
              <a:gd name="connsiteX46019" fmla="*/ 1610488 w 6884782"/>
              <a:gd name="connsiteY46019" fmla="*/ 1753139 h 5973007"/>
              <a:gd name="connsiteX46020" fmla="*/ 1609662 w 6884782"/>
              <a:gd name="connsiteY46020" fmla="*/ 1757321 h 5973007"/>
              <a:gd name="connsiteX46021" fmla="*/ 1610074 w 6884782"/>
              <a:gd name="connsiteY46021" fmla="*/ 1757476 h 5973007"/>
              <a:gd name="connsiteX46022" fmla="*/ 1612553 w 6884782"/>
              <a:gd name="connsiteY46022" fmla="*/ 1757476 h 5973007"/>
              <a:gd name="connsiteX46023" fmla="*/ 1617922 w 6884782"/>
              <a:gd name="connsiteY46023" fmla="*/ 1760884 h 5973007"/>
              <a:gd name="connsiteX46024" fmla="*/ 1617199 w 6884782"/>
              <a:gd name="connsiteY46024" fmla="*/ 1763207 h 5973007"/>
              <a:gd name="connsiteX46025" fmla="*/ 1619471 w 6884782"/>
              <a:gd name="connsiteY46025" fmla="*/ 1763981 h 5973007"/>
              <a:gd name="connsiteX46026" fmla="*/ 1624014 w 6884782"/>
              <a:gd name="connsiteY46026" fmla="*/ 1767699 h 5973007"/>
              <a:gd name="connsiteX46027" fmla="*/ 1624014 w 6884782"/>
              <a:gd name="connsiteY46027" fmla="*/ 1767854 h 5973007"/>
              <a:gd name="connsiteX46028" fmla="*/ 1625873 w 6884782"/>
              <a:gd name="connsiteY46028" fmla="*/ 1769248 h 5973007"/>
              <a:gd name="connsiteX46029" fmla="*/ 1624117 w 6884782"/>
              <a:gd name="connsiteY46029" fmla="*/ 1788610 h 5973007"/>
              <a:gd name="connsiteX46030" fmla="*/ 1622981 w 6884782"/>
              <a:gd name="connsiteY46030" fmla="*/ 1788610 h 5973007"/>
              <a:gd name="connsiteX46031" fmla="*/ 1626699 w 6884782"/>
              <a:gd name="connsiteY46031" fmla="*/ 1789694 h 5973007"/>
              <a:gd name="connsiteX46032" fmla="*/ 1626389 w 6884782"/>
              <a:gd name="connsiteY46032" fmla="*/ 1793877 h 5973007"/>
              <a:gd name="connsiteX46033" fmla="*/ 1625047 w 6884782"/>
              <a:gd name="connsiteY46033" fmla="*/ 1795115 h 5973007"/>
              <a:gd name="connsiteX46034" fmla="*/ 1627422 w 6884782"/>
              <a:gd name="connsiteY46034" fmla="*/ 1795425 h 5973007"/>
              <a:gd name="connsiteX46035" fmla="*/ 1626596 w 6884782"/>
              <a:gd name="connsiteY46035" fmla="*/ 1801312 h 5973007"/>
              <a:gd name="connsiteX46036" fmla="*/ 1622052 w 6884782"/>
              <a:gd name="connsiteY46036" fmla="*/ 1800537 h 5973007"/>
              <a:gd name="connsiteX46037" fmla="*/ 1621949 w 6884782"/>
              <a:gd name="connsiteY46037" fmla="*/ 1797439 h 5973007"/>
              <a:gd name="connsiteX46038" fmla="*/ 1619677 w 6884782"/>
              <a:gd name="connsiteY46038" fmla="*/ 1798368 h 5973007"/>
              <a:gd name="connsiteX46039" fmla="*/ 1617819 w 6884782"/>
              <a:gd name="connsiteY46039" fmla="*/ 1807043 h 5973007"/>
              <a:gd name="connsiteX46040" fmla="*/ 1611623 w 6884782"/>
              <a:gd name="connsiteY46040" fmla="*/ 1798059 h 5973007"/>
              <a:gd name="connsiteX46041" fmla="*/ 1613275 w 6884782"/>
              <a:gd name="connsiteY46041" fmla="*/ 1793722 h 5973007"/>
              <a:gd name="connsiteX46042" fmla="*/ 1614721 w 6884782"/>
              <a:gd name="connsiteY46042" fmla="*/ 1794031 h 5973007"/>
              <a:gd name="connsiteX46043" fmla="*/ 1616270 w 6884782"/>
              <a:gd name="connsiteY46043" fmla="*/ 1791708 h 5973007"/>
              <a:gd name="connsiteX46044" fmla="*/ 1622568 w 6884782"/>
              <a:gd name="connsiteY46044" fmla="*/ 1788455 h 5973007"/>
              <a:gd name="connsiteX46045" fmla="*/ 1615340 w 6884782"/>
              <a:gd name="connsiteY46045" fmla="*/ 1787680 h 5973007"/>
              <a:gd name="connsiteX46046" fmla="*/ 1602640 w 6884782"/>
              <a:gd name="connsiteY46046" fmla="*/ 1772346 h 5973007"/>
              <a:gd name="connsiteX46047" fmla="*/ 1606874 w 6884782"/>
              <a:gd name="connsiteY46047" fmla="*/ 1765840 h 5973007"/>
              <a:gd name="connsiteX46048" fmla="*/ 1610694 w 6884782"/>
              <a:gd name="connsiteY46048" fmla="*/ 1764446 h 5973007"/>
              <a:gd name="connsiteX46049" fmla="*/ 1613275 w 6884782"/>
              <a:gd name="connsiteY46049" fmla="*/ 1762742 h 5973007"/>
              <a:gd name="connsiteX46050" fmla="*/ 1612449 w 6884782"/>
              <a:gd name="connsiteY46050" fmla="*/ 1763052 h 5973007"/>
              <a:gd name="connsiteX46051" fmla="*/ 1608009 w 6884782"/>
              <a:gd name="connsiteY46051" fmla="*/ 1761193 h 5973007"/>
              <a:gd name="connsiteX46052" fmla="*/ 1607287 w 6884782"/>
              <a:gd name="connsiteY46052" fmla="*/ 1762278 h 5973007"/>
              <a:gd name="connsiteX46053" fmla="*/ 1606770 w 6884782"/>
              <a:gd name="connsiteY46053" fmla="*/ 1760574 h 5973007"/>
              <a:gd name="connsiteX46054" fmla="*/ 1604189 w 6884782"/>
              <a:gd name="connsiteY46054" fmla="*/ 1759489 h 5973007"/>
              <a:gd name="connsiteX46055" fmla="*/ 1599233 w 6884782"/>
              <a:gd name="connsiteY46055" fmla="*/ 1755307 h 5973007"/>
              <a:gd name="connsiteX46056" fmla="*/ 1601917 w 6884782"/>
              <a:gd name="connsiteY46056" fmla="*/ 1755152 h 5973007"/>
              <a:gd name="connsiteX46057" fmla="*/ 1603156 w 6884782"/>
              <a:gd name="connsiteY46057" fmla="*/ 1755617 h 5973007"/>
              <a:gd name="connsiteX46058" fmla="*/ 1603879 w 6884782"/>
              <a:gd name="connsiteY46058" fmla="*/ 1755307 h 5973007"/>
              <a:gd name="connsiteX46059" fmla="*/ 1604292 w 6884782"/>
              <a:gd name="connsiteY46059" fmla="*/ 1756081 h 5973007"/>
              <a:gd name="connsiteX46060" fmla="*/ 1604499 w 6884782"/>
              <a:gd name="connsiteY46060" fmla="*/ 1756237 h 5973007"/>
              <a:gd name="connsiteX46061" fmla="*/ 1605531 w 6884782"/>
              <a:gd name="connsiteY46061" fmla="*/ 1756546 h 5973007"/>
              <a:gd name="connsiteX46062" fmla="*/ 1604499 w 6884782"/>
              <a:gd name="connsiteY46062" fmla="*/ 1753139 h 5973007"/>
              <a:gd name="connsiteX46063" fmla="*/ 1603466 w 6884782"/>
              <a:gd name="connsiteY46063" fmla="*/ 1753913 h 5973007"/>
              <a:gd name="connsiteX46064" fmla="*/ 1599336 w 6884782"/>
              <a:gd name="connsiteY46064" fmla="*/ 1751280 h 5973007"/>
              <a:gd name="connsiteX46065" fmla="*/ 1597477 w 6884782"/>
              <a:gd name="connsiteY46065" fmla="*/ 1749421 h 5973007"/>
              <a:gd name="connsiteX46066" fmla="*/ 1594896 w 6884782"/>
              <a:gd name="connsiteY46066" fmla="*/ 1752519 h 5973007"/>
              <a:gd name="connsiteX46067" fmla="*/ 1589836 w 6884782"/>
              <a:gd name="connsiteY46067" fmla="*/ 1760264 h 5973007"/>
              <a:gd name="connsiteX46068" fmla="*/ 1584776 w 6884782"/>
              <a:gd name="connsiteY46068" fmla="*/ 1756237 h 5973007"/>
              <a:gd name="connsiteX46069" fmla="*/ 1590146 w 6884782"/>
              <a:gd name="connsiteY46069" fmla="*/ 1744155 h 5973007"/>
              <a:gd name="connsiteX46070" fmla="*/ 1598510 w 6884782"/>
              <a:gd name="connsiteY46070" fmla="*/ 1743380 h 5973007"/>
              <a:gd name="connsiteX46071" fmla="*/ 1599130 w 6884782"/>
              <a:gd name="connsiteY46071" fmla="*/ 1743690 h 5973007"/>
              <a:gd name="connsiteX46072" fmla="*/ 1602227 w 6884782"/>
              <a:gd name="connsiteY46072" fmla="*/ 1741831 h 5973007"/>
              <a:gd name="connsiteX46073" fmla="*/ 1384124 w 6884782"/>
              <a:gd name="connsiteY46073" fmla="*/ 1741328 h 5973007"/>
              <a:gd name="connsiteX46074" fmla="*/ 1388693 w 6884782"/>
              <a:gd name="connsiteY46074" fmla="*/ 1745394 h 5973007"/>
              <a:gd name="connsiteX46075" fmla="*/ 1387867 w 6884782"/>
              <a:gd name="connsiteY46075" fmla="*/ 1750660 h 5973007"/>
              <a:gd name="connsiteX46076" fmla="*/ 1386731 w 6884782"/>
              <a:gd name="connsiteY46076" fmla="*/ 1750506 h 5973007"/>
              <a:gd name="connsiteX46077" fmla="*/ 1382085 w 6884782"/>
              <a:gd name="connsiteY46077" fmla="*/ 1756546 h 5973007"/>
              <a:gd name="connsiteX46078" fmla="*/ 1374031 w 6884782"/>
              <a:gd name="connsiteY46078" fmla="*/ 1756237 h 5973007"/>
              <a:gd name="connsiteX46079" fmla="*/ 1373721 w 6884782"/>
              <a:gd name="connsiteY46079" fmla="*/ 1754068 h 5973007"/>
              <a:gd name="connsiteX46080" fmla="*/ 1377851 w 6884782"/>
              <a:gd name="connsiteY46080" fmla="*/ 1749576 h 5973007"/>
              <a:gd name="connsiteX46081" fmla="*/ 1380742 w 6884782"/>
              <a:gd name="connsiteY46081" fmla="*/ 1749111 h 5973007"/>
              <a:gd name="connsiteX46082" fmla="*/ 1379916 w 6884782"/>
              <a:gd name="connsiteY46082" fmla="*/ 1748492 h 5973007"/>
              <a:gd name="connsiteX46083" fmla="*/ 1378471 w 6884782"/>
              <a:gd name="connsiteY46083" fmla="*/ 1746788 h 5973007"/>
              <a:gd name="connsiteX46084" fmla="*/ 1384124 w 6884782"/>
              <a:gd name="connsiteY46084" fmla="*/ 1741328 h 5973007"/>
              <a:gd name="connsiteX46085" fmla="*/ 1531497 w 6884782"/>
              <a:gd name="connsiteY46085" fmla="*/ 1741212 h 5973007"/>
              <a:gd name="connsiteX46086" fmla="*/ 1517144 w 6884782"/>
              <a:gd name="connsiteY46086" fmla="*/ 1748492 h 5973007"/>
              <a:gd name="connsiteX46087" fmla="*/ 1518899 w 6884782"/>
              <a:gd name="connsiteY46087" fmla="*/ 1745704 h 5973007"/>
              <a:gd name="connsiteX46088" fmla="*/ 1518693 w 6884782"/>
              <a:gd name="connsiteY46088" fmla="*/ 1745704 h 5973007"/>
              <a:gd name="connsiteX46089" fmla="*/ 1519106 w 6884782"/>
              <a:gd name="connsiteY46089" fmla="*/ 1744929 h 5973007"/>
              <a:gd name="connsiteX46090" fmla="*/ 1519415 w 6884782"/>
              <a:gd name="connsiteY46090" fmla="*/ 1744929 h 5973007"/>
              <a:gd name="connsiteX46091" fmla="*/ 1520035 w 6884782"/>
              <a:gd name="connsiteY46091" fmla="*/ 1744155 h 5973007"/>
              <a:gd name="connsiteX46092" fmla="*/ 1531497 w 6884782"/>
              <a:gd name="connsiteY46092" fmla="*/ 1741212 h 5973007"/>
              <a:gd name="connsiteX46093" fmla="*/ 1751639 w 6884782"/>
              <a:gd name="connsiteY46093" fmla="*/ 1741057 h 5973007"/>
              <a:gd name="connsiteX46094" fmla="*/ 1759486 w 6884782"/>
              <a:gd name="connsiteY46094" fmla="*/ 1741986 h 5973007"/>
              <a:gd name="connsiteX46095" fmla="*/ 1751329 w 6884782"/>
              <a:gd name="connsiteY46095" fmla="*/ 1744929 h 5973007"/>
              <a:gd name="connsiteX46096" fmla="*/ 1750916 w 6884782"/>
              <a:gd name="connsiteY46096" fmla="*/ 1743225 h 5973007"/>
              <a:gd name="connsiteX46097" fmla="*/ 1751639 w 6884782"/>
              <a:gd name="connsiteY46097" fmla="*/ 1741057 h 5973007"/>
              <a:gd name="connsiteX46098" fmla="*/ 5176496 w 6884782"/>
              <a:gd name="connsiteY46098" fmla="*/ 1740802 h 5973007"/>
              <a:gd name="connsiteX46099" fmla="*/ 5204027 w 6884782"/>
              <a:gd name="connsiteY46099" fmla="*/ 1753891 h 5973007"/>
              <a:gd name="connsiteX46100" fmla="*/ 5205521 w 6884782"/>
              <a:gd name="connsiteY46100" fmla="*/ 1763138 h 5973007"/>
              <a:gd name="connsiteX46101" fmla="*/ 5204027 w 6884782"/>
              <a:gd name="connsiteY46101" fmla="*/ 1765841 h 5973007"/>
              <a:gd name="connsiteX46102" fmla="*/ 5203814 w 6884782"/>
              <a:gd name="connsiteY46102" fmla="*/ 1768829 h 5973007"/>
              <a:gd name="connsiteX46103" fmla="*/ 5203174 w 6884782"/>
              <a:gd name="connsiteY46103" fmla="*/ 1777080 h 5973007"/>
              <a:gd name="connsiteX46104" fmla="*/ 5197411 w 6884782"/>
              <a:gd name="connsiteY46104" fmla="*/ 1777365 h 5973007"/>
              <a:gd name="connsiteX46105" fmla="*/ 5195704 w 6884782"/>
              <a:gd name="connsiteY46105" fmla="*/ 1774662 h 5973007"/>
              <a:gd name="connsiteX46106" fmla="*/ 5192503 w 6884782"/>
              <a:gd name="connsiteY46106" fmla="*/ 1775943 h 5973007"/>
              <a:gd name="connsiteX46107" fmla="*/ 5192076 w 6884782"/>
              <a:gd name="connsiteY46107" fmla="*/ 1777080 h 5973007"/>
              <a:gd name="connsiteX46108" fmla="*/ 5187807 w 6884782"/>
              <a:gd name="connsiteY46108" fmla="*/ 1779072 h 5973007"/>
              <a:gd name="connsiteX46109" fmla="*/ 5177563 w 6884782"/>
              <a:gd name="connsiteY46109" fmla="*/ 1781207 h 5973007"/>
              <a:gd name="connsiteX46110" fmla="*/ 5177777 w 6884782"/>
              <a:gd name="connsiteY46110" fmla="*/ 1779499 h 5973007"/>
              <a:gd name="connsiteX46111" fmla="*/ 5185246 w 6884782"/>
              <a:gd name="connsiteY46111" fmla="*/ 1776227 h 5973007"/>
              <a:gd name="connsiteX46112" fmla="*/ 5187807 w 6884782"/>
              <a:gd name="connsiteY46112" fmla="*/ 1775516 h 5973007"/>
              <a:gd name="connsiteX46113" fmla="*/ 5182685 w 6884782"/>
              <a:gd name="connsiteY46113" fmla="*/ 1774662 h 5973007"/>
              <a:gd name="connsiteX46114" fmla="*/ 5175002 w 6884782"/>
              <a:gd name="connsiteY46114" fmla="*/ 1768544 h 5973007"/>
              <a:gd name="connsiteX46115" fmla="*/ 5176496 w 6884782"/>
              <a:gd name="connsiteY46115" fmla="*/ 1740802 h 5973007"/>
              <a:gd name="connsiteX46116" fmla="*/ 3944850 w 6884782"/>
              <a:gd name="connsiteY46116" fmla="*/ 1740375 h 5973007"/>
              <a:gd name="connsiteX46117" fmla="*/ 3954881 w 6884782"/>
              <a:gd name="connsiteY46117" fmla="*/ 1760150 h 5973007"/>
              <a:gd name="connsiteX46118" fmla="*/ 3944850 w 6884782"/>
              <a:gd name="connsiteY46118" fmla="*/ 1740375 h 5973007"/>
              <a:gd name="connsiteX46119" fmla="*/ 787742 w 6884782"/>
              <a:gd name="connsiteY46119" fmla="*/ 1739818 h 5973007"/>
              <a:gd name="connsiteX46120" fmla="*/ 788465 w 6884782"/>
              <a:gd name="connsiteY46120" fmla="*/ 1747408 h 5973007"/>
              <a:gd name="connsiteX46121" fmla="*/ 788465 w 6884782"/>
              <a:gd name="connsiteY46121" fmla="*/ 1751590 h 5973007"/>
              <a:gd name="connsiteX46122" fmla="*/ 786606 w 6884782"/>
              <a:gd name="connsiteY46122" fmla="*/ 1753139 h 5973007"/>
              <a:gd name="connsiteX46123" fmla="*/ 785780 w 6884782"/>
              <a:gd name="connsiteY46123" fmla="*/ 1752984 h 5973007"/>
              <a:gd name="connsiteX46124" fmla="*/ 785058 w 6884782"/>
              <a:gd name="connsiteY46124" fmla="*/ 1751125 h 5973007"/>
              <a:gd name="connsiteX46125" fmla="*/ 785987 w 6884782"/>
              <a:gd name="connsiteY46125" fmla="*/ 1743070 h 5973007"/>
              <a:gd name="connsiteX46126" fmla="*/ 785987 w 6884782"/>
              <a:gd name="connsiteY46126" fmla="*/ 1741367 h 5973007"/>
              <a:gd name="connsiteX46127" fmla="*/ 787742 w 6884782"/>
              <a:gd name="connsiteY46127" fmla="*/ 1739818 h 5973007"/>
              <a:gd name="connsiteX46128" fmla="*/ 4669411 w 6884782"/>
              <a:gd name="connsiteY46128" fmla="*/ 1739664 h 5973007"/>
              <a:gd name="connsiteX46129" fmla="*/ 4670264 w 6884782"/>
              <a:gd name="connsiteY46129" fmla="*/ 1739664 h 5973007"/>
              <a:gd name="connsiteX46130" fmla="*/ 4673252 w 6884782"/>
              <a:gd name="connsiteY46130" fmla="*/ 1740660 h 5973007"/>
              <a:gd name="connsiteX46131" fmla="*/ 4672399 w 6884782"/>
              <a:gd name="connsiteY46131" fmla="*/ 1742225 h 5973007"/>
              <a:gd name="connsiteX46132" fmla="*/ 4673466 w 6884782"/>
              <a:gd name="connsiteY46132" fmla="*/ 1741798 h 5973007"/>
              <a:gd name="connsiteX46133" fmla="*/ 4672185 w 6884782"/>
              <a:gd name="connsiteY46133" fmla="*/ 1742794 h 5973007"/>
              <a:gd name="connsiteX46134" fmla="*/ 4671331 w 6884782"/>
              <a:gd name="connsiteY46134" fmla="*/ 1742652 h 5973007"/>
              <a:gd name="connsiteX46135" fmla="*/ 4669411 w 6884782"/>
              <a:gd name="connsiteY46135" fmla="*/ 1739664 h 5973007"/>
              <a:gd name="connsiteX46136" fmla="*/ 5048231 w 6884782"/>
              <a:gd name="connsiteY46136" fmla="*/ 1739237 h 5973007"/>
              <a:gd name="connsiteX46137" fmla="*/ 5072134 w 6884782"/>
              <a:gd name="connsiteY46137" fmla="*/ 1761715 h 5973007"/>
              <a:gd name="connsiteX46138" fmla="*/ 5071067 w 6884782"/>
              <a:gd name="connsiteY46138" fmla="*/ 1761289 h 5973007"/>
              <a:gd name="connsiteX46139" fmla="*/ 5071067 w 6884782"/>
              <a:gd name="connsiteY46139" fmla="*/ 1762427 h 5973007"/>
              <a:gd name="connsiteX46140" fmla="*/ 5067865 w 6884782"/>
              <a:gd name="connsiteY46140" fmla="*/ 1766979 h 5973007"/>
              <a:gd name="connsiteX46141" fmla="*/ 5064237 w 6884782"/>
              <a:gd name="connsiteY46141" fmla="*/ 1761004 h 5973007"/>
              <a:gd name="connsiteX46142" fmla="*/ 5065731 w 6884782"/>
              <a:gd name="connsiteY46142" fmla="*/ 1759724 h 5973007"/>
              <a:gd name="connsiteX46143" fmla="*/ 5063810 w 6884782"/>
              <a:gd name="connsiteY46143" fmla="*/ 1759155 h 5973007"/>
              <a:gd name="connsiteX46144" fmla="*/ 5059329 w 6884782"/>
              <a:gd name="connsiteY46144" fmla="*/ 1755456 h 5973007"/>
              <a:gd name="connsiteX46145" fmla="*/ 5058902 w 6884782"/>
              <a:gd name="connsiteY46145" fmla="*/ 1762427 h 5973007"/>
              <a:gd name="connsiteX46146" fmla="*/ 5039907 w 6884782"/>
              <a:gd name="connsiteY46146" fmla="*/ 1762996 h 5973007"/>
              <a:gd name="connsiteX46147" fmla="*/ 5040975 w 6884782"/>
              <a:gd name="connsiteY46147" fmla="*/ 1751046 h 5973007"/>
              <a:gd name="connsiteX46148" fmla="*/ 5051005 w 6884782"/>
              <a:gd name="connsiteY46148" fmla="*/ 1751046 h 5973007"/>
              <a:gd name="connsiteX46149" fmla="*/ 5056981 w 6884782"/>
              <a:gd name="connsiteY46149" fmla="*/ 1753606 h 5973007"/>
              <a:gd name="connsiteX46150" fmla="*/ 5056767 w 6884782"/>
              <a:gd name="connsiteY46150" fmla="*/ 1753322 h 5973007"/>
              <a:gd name="connsiteX46151" fmla="*/ 5048231 w 6884782"/>
              <a:gd name="connsiteY46151" fmla="*/ 1739237 h 5973007"/>
              <a:gd name="connsiteX46152" fmla="*/ 5005974 w 6884782"/>
              <a:gd name="connsiteY46152" fmla="*/ 1739237 h 5973007"/>
              <a:gd name="connsiteX46153" fmla="*/ 4995089 w 6884782"/>
              <a:gd name="connsiteY46153" fmla="*/ 1749765 h 5973007"/>
              <a:gd name="connsiteX46154" fmla="*/ 4991034 w 6884782"/>
              <a:gd name="connsiteY46154" fmla="*/ 1745782 h 5973007"/>
              <a:gd name="connsiteX46155" fmla="*/ 5005974 w 6884782"/>
              <a:gd name="connsiteY46155" fmla="*/ 1739237 h 5973007"/>
              <a:gd name="connsiteX46156" fmla="*/ 5519035 w 6884782"/>
              <a:gd name="connsiteY46156" fmla="*/ 1739095 h 5973007"/>
              <a:gd name="connsiteX46157" fmla="*/ 5521809 w 6884782"/>
              <a:gd name="connsiteY46157" fmla="*/ 1739664 h 5973007"/>
              <a:gd name="connsiteX46158" fmla="*/ 5520956 w 6884782"/>
              <a:gd name="connsiteY46158" fmla="*/ 1745639 h 5973007"/>
              <a:gd name="connsiteX46159" fmla="*/ 5517541 w 6884782"/>
              <a:gd name="connsiteY46159" fmla="*/ 1746635 h 5973007"/>
              <a:gd name="connsiteX46160" fmla="*/ 5516260 w 6884782"/>
              <a:gd name="connsiteY46160" fmla="*/ 1742936 h 5973007"/>
              <a:gd name="connsiteX46161" fmla="*/ 5517114 w 6884782"/>
              <a:gd name="connsiteY46161" fmla="*/ 1739522 h 5973007"/>
              <a:gd name="connsiteX46162" fmla="*/ 5519035 w 6884782"/>
              <a:gd name="connsiteY46162" fmla="*/ 1739095 h 5973007"/>
              <a:gd name="connsiteX46163" fmla="*/ 1004270 w 6884782"/>
              <a:gd name="connsiteY46163" fmla="*/ 1738578 h 5973007"/>
              <a:gd name="connsiteX46164" fmla="*/ 1006026 w 6884782"/>
              <a:gd name="connsiteY46164" fmla="*/ 1738578 h 5973007"/>
              <a:gd name="connsiteX46165" fmla="*/ 1006748 w 6884782"/>
              <a:gd name="connsiteY46165" fmla="*/ 1739663 h 5973007"/>
              <a:gd name="connsiteX46166" fmla="*/ 1007368 w 6884782"/>
              <a:gd name="connsiteY46166" fmla="*/ 1739198 h 5973007"/>
              <a:gd name="connsiteX46167" fmla="*/ 1010053 w 6884782"/>
              <a:gd name="connsiteY46167" fmla="*/ 1738888 h 5973007"/>
              <a:gd name="connsiteX46168" fmla="*/ 1011189 w 6884782"/>
              <a:gd name="connsiteY46168" fmla="*/ 1743070 h 5973007"/>
              <a:gd name="connsiteX46169" fmla="*/ 1009433 w 6884782"/>
              <a:gd name="connsiteY46169" fmla="*/ 1744155 h 5973007"/>
              <a:gd name="connsiteX46170" fmla="*/ 1007884 w 6884782"/>
              <a:gd name="connsiteY46170" fmla="*/ 1743845 h 5973007"/>
              <a:gd name="connsiteX46171" fmla="*/ 1007471 w 6884782"/>
              <a:gd name="connsiteY46171" fmla="*/ 1746013 h 5973007"/>
              <a:gd name="connsiteX46172" fmla="*/ 1000346 w 6884782"/>
              <a:gd name="connsiteY46172" fmla="*/ 1748802 h 5973007"/>
              <a:gd name="connsiteX46173" fmla="*/ 999521 w 6884782"/>
              <a:gd name="connsiteY46173" fmla="*/ 1747098 h 5973007"/>
              <a:gd name="connsiteX46174" fmla="*/ 999107 w 6884782"/>
              <a:gd name="connsiteY46174" fmla="*/ 1745084 h 5973007"/>
              <a:gd name="connsiteX46175" fmla="*/ 1000656 w 6884782"/>
              <a:gd name="connsiteY46175" fmla="*/ 1740437 h 5973007"/>
              <a:gd name="connsiteX46176" fmla="*/ 1004270 w 6884782"/>
              <a:gd name="connsiteY46176" fmla="*/ 1738578 h 5973007"/>
              <a:gd name="connsiteX46177" fmla="*/ 5799895 w 6884782"/>
              <a:gd name="connsiteY46177" fmla="*/ 1738099 h 5973007"/>
              <a:gd name="connsiteX46178" fmla="*/ 5831694 w 6884782"/>
              <a:gd name="connsiteY46178" fmla="*/ 1778361 h 5973007"/>
              <a:gd name="connsiteX46179" fmla="*/ 5808219 w 6884782"/>
              <a:gd name="connsiteY46179" fmla="*/ 1776227 h 5973007"/>
              <a:gd name="connsiteX46180" fmla="*/ 5789651 w 6884782"/>
              <a:gd name="connsiteY46180" fmla="*/ 1741229 h 5973007"/>
              <a:gd name="connsiteX46181" fmla="*/ 5792212 w 6884782"/>
              <a:gd name="connsiteY46181" fmla="*/ 1738953 h 5973007"/>
              <a:gd name="connsiteX46182" fmla="*/ 5799895 w 6884782"/>
              <a:gd name="connsiteY46182" fmla="*/ 1738099 h 5973007"/>
              <a:gd name="connsiteX46183" fmla="*/ 5103080 w 6884782"/>
              <a:gd name="connsiteY46183" fmla="*/ 1738099 h 5973007"/>
              <a:gd name="connsiteX46184" fmla="*/ 5106708 w 6884782"/>
              <a:gd name="connsiteY46184" fmla="*/ 1743932 h 5973007"/>
              <a:gd name="connsiteX46185" fmla="*/ 5106281 w 6884782"/>
              <a:gd name="connsiteY46185" fmla="*/ 1744786 h 5973007"/>
              <a:gd name="connsiteX46186" fmla="*/ 5107135 w 6884782"/>
              <a:gd name="connsiteY46186" fmla="*/ 1743932 h 5973007"/>
              <a:gd name="connsiteX46187" fmla="*/ 5113537 w 6884782"/>
              <a:gd name="connsiteY46187" fmla="*/ 1749196 h 5973007"/>
              <a:gd name="connsiteX46188" fmla="*/ 5113751 w 6884782"/>
              <a:gd name="connsiteY46188" fmla="*/ 1753606 h 5973007"/>
              <a:gd name="connsiteX46189" fmla="*/ 5115884 w 6884782"/>
              <a:gd name="connsiteY46189" fmla="*/ 1755029 h 5973007"/>
              <a:gd name="connsiteX46190" fmla="*/ 5113964 w 6884782"/>
              <a:gd name="connsiteY46190" fmla="*/ 1757732 h 5973007"/>
              <a:gd name="connsiteX46191" fmla="*/ 5113964 w 6884782"/>
              <a:gd name="connsiteY46191" fmla="*/ 1758443 h 5973007"/>
              <a:gd name="connsiteX46192" fmla="*/ 5100092 w 6884782"/>
              <a:gd name="connsiteY46192" fmla="*/ 1755029 h 5973007"/>
              <a:gd name="connsiteX46193" fmla="*/ 5100945 w 6884782"/>
              <a:gd name="connsiteY46193" fmla="*/ 1753037 h 5973007"/>
              <a:gd name="connsiteX46194" fmla="*/ 5098385 w 6884782"/>
              <a:gd name="connsiteY46194" fmla="*/ 1753179 h 5973007"/>
              <a:gd name="connsiteX46195" fmla="*/ 5094756 w 6884782"/>
              <a:gd name="connsiteY46195" fmla="*/ 1752468 h 5973007"/>
              <a:gd name="connsiteX46196" fmla="*/ 5093902 w 6884782"/>
              <a:gd name="connsiteY46196" fmla="*/ 1743932 h 5973007"/>
              <a:gd name="connsiteX46197" fmla="*/ 5096677 w 6884782"/>
              <a:gd name="connsiteY46197" fmla="*/ 1741087 h 5973007"/>
              <a:gd name="connsiteX46198" fmla="*/ 5103506 w 6884782"/>
              <a:gd name="connsiteY46198" fmla="*/ 1739095 h 5973007"/>
              <a:gd name="connsiteX46199" fmla="*/ 5103080 w 6884782"/>
              <a:gd name="connsiteY46199" fmla="*/ 1738099 h 5973007"/>
              <a:gd name="connsiteX46200" fmla="*/ 5303694 w 6884782"/>
              <a:gd name="connsiteY46200" fmla="*/ 1737957 h 5973007"/>
              <a:gd name="connsiteX46201" fmla="*/ 5307109 w 6884782"/>
              <a:gd name="connsiteY46201" fmla="*/ 1741229 h 5973007"/>
              <a:gd name="connsiteX46202" fmla="*/ 5303267 w 6884782"/>
              <a:gd name="connsiteY46202" fmla="*/ 1738953 h 5973007"/>
              <a:gd name="connsiteX46203" fmla="*/ 5303694 w 6884782"/>
              <a:gd name="connsiteY46203" fmla="*/ 1737957 h 5973007"/>
              <a:gd name="connsiteX46204" fmla="*/ 3882532 w 6884782"/>
              <a:gd name="connsiteY46204" fmla="*/ 1737815 h 5973007"/>
              <a:gd name="connsiteX46205" fmla="*/ 3883172 w 6884782"/>
              <a:gd name="connsiteY46205" fmla="*/ 1742794 h 5973007"/>
              <a:gd name="connsiteX46206" fmla="*/ 3879971 w 6884782"/>
              <a:gd name="connsiteY46206" fmla="*/ 1744217 h 5973007"/>
              <a:gd name="connsiteX46207" fmla="*/ 3882532 w 6884782"/>
              <a:gd name="connsiteY46207" fmla="*/ 1737815 h 5973007"/>
              <a:gd name="connsiteX46208" fmla="*/ 5989839 w 6884782"/>
              <a:gd name="connsiteY46208" fmla="*/ 1737388 h 5973007"/>
              <a:gd name="connsiteX46209" fmla="*/ 5992400 w 6884782"/>
              <a:gd name="connsiteY46209" fmla="*/ 1740802 h 5973007"/>
              <a:gd name="connsiteX46210" fmla="*/ 5992400 w 6884782"/>
              <a:gd name="connsiteY46210" fmla="*/ 1747916 h 5973007"/>
              <a:gd name="connsiteX46211" fmla="*/ 5990479 w 6884782"/>
              <a:gd name="connsiteY46211" fmla="*/ 1750761 h 5973007"/>
              <a:gd name="connsiteX46212" fmla="*/ 5991119 w 6884782"/>
              <a:gd name="connsiteY46212" fmla="*/ 1752326 h 5973007"/>
              <a:gd name="connsiteX46213" fmla="*/ 5978527 w 6884782"/>
              <a:gd name="connsiteY46213" fmla="*/ 1748484 h 5973007"/>
              <a:gd name="connsiteX46214" fmla="*/ 5982583 w 6884782"/>
              <a:gd name="connsiteY46214" fmla="*/ 1741798 h 5973007"/>
              <a:gd name="connsiteX46215" fmla="*/ 5985570 w 6884782"/>
              <a:gd name="connsiteY46215" fmla="*/ 1742936 h 5973007"/>
              <a:gd name="connsiteX46216" fmla="*/ 5985784 w 6884782"/>
              <a:gd name="connsiteY46216" fmla="*/ 1743220 h 5973007"/>
              <a:gd name="connsiteX46217" fmla="*/ 5901696 w 6884782"/>
              <a:gd name="connsiteY46217" fmla="*/ 1737103 h 5973007"/>
              <a:gd name="connsiteX46218" fmla="*/ 5904684 w 6884782"/>
              <a:gd name="connsiteY46218" fmla="*/ 1739095 h 5973007"/>
              <a:gd name="connsiteX46219" fmla="*/ 5901270 w 6884782"/>
              <a:gd name="connsiteY46219" fmla="*/ 1742509 h 5973007"/>
              <a:gd name="connsiteX46220" fmla="*/ 5899775 w 6884782"/>
              <a:gd name="connsiteY46220" fmla="*/ 1737815 h 5973007"/>
              <a:gd name="connsiteX46221" fmla="*/ 5901696 w 6884782"/>
              <a:gd name="connsiteY46221" fmla="*/ 1737103 h 5973007"/>
              <a:gd name="connsiteX46222" fmla="*/ 965007 w 6884782"/>
              <a:gd name="connsiteY46222" fmla="*/ 1736875 h 5973007"/>
              <a:gd name="connsiteX46223" fmla="*/ 976185 w 6884782"/>
              <a:gd name="connsiteY46223" fmla="*/ 1744310 h 5973007"/>
              <a:gd name="connsiteX46224" fmla="*/ 964103 w 6884782"/>
              <a:gd name="connsiteY46224" fmla="*/ 1743225 h 5973007"/>
              <a:gd name="connsiteX46225" fmla="*/ 951816 w 6884782"/>
              <a:gd name="connsiteY46225" fmla="*/ 1737804 h 5973007"/>
              <a:gd name="connsiteX46226" fmla="*/ 965007 w 6884782"/>
              <a:gd name="connsiteY46226" fmla="*/ 1736875 h 5973007"/>
              <a:gd name="connsiteX46227" fmla="*/ 5740991 w 6884782"/>
              <a:gd name="connsiteY46227" fmla="*/ 1735823 h 5973007"/>
              <a:gd name="connsiteX46228" fmla="*/ 5750595 w 6884782"/>
              <a:gd name="connsiteY46228" fmla="*/ 1742509 h 5973007"/>
              <a:gd name="connsiteX46229" fmla="*/ 5740991 w 6884782"/>
              <a:gd name="connsiteY46229" fmla="*/ 1735823 h 5973007"/>
              <a:gd name="connsiteX46230" fmla="*/ 5789864 w 6884782"/>
              <a:gd name="connsiteY46230" fmla="*/ 1735111 h 5973007"/>
              <a:gd name="connsiteX46231" fmla="*/ 5794773 w 6884782"/>
              <a:gd name="connsiteY46231" fmla="*/ 1735111 h 5973007"/>
              <a:gd name="connsiteX46232" fmla="*/ 5797974 w 6884782"/>
              <a:gd name="connsiteY46232" fmla="*/ 1737388 h 5973007"/>
              <a:gd name="connsiteX46233" fmla="*/ 5789864 w 6884782"/>
              <a:gd name="connsiteY46233" fmla="*/ 1735111 h 5973007"/>
              <a:gd name="connsiteX46234" fmla="*/ 1724982 w 6884782"/>
              <a:gd name="connsiteY46234" fmla="*/ 1734975 h 5973007"/>
              <a:gd name="connsiteX46235" fmla="*/ 1735118 w 6884782"/>
              <a:gd name="connsiteY46235" fmla="*/ 1736875 h 5973007"/>
              <a:gd name="connsiteX46236" fmla="*/ 1701663 w 6884782"/>
              <a:gd name="connsiteY46236" fmla="*/ 1761658 h 5973007"/>
              <a:gd name="connsiteX46237" fmla="*/ 1724982 w 6884782"/>
              <a:gd name="connsiteY46237" fmla="*/ 1734975 h 5973007"/>
              <a:gd name="connsiteX46238" fmla="*/ 4736638 w 6884782"/>
              <a:gd name="connsiteY46238" fmla="*/ 1734969 h 5973007"/>
              <a:gd name="connsiteX46239" fmla="*/ 4735571 w 6884782"/>
              <a:gd name="connsiteY46239" fmla="*/ 1735396 h 5973007"/>
              <a:gd name="connsiteX46240" fmla="*/ 4735571 w 6884782"/>
              <a:gd name="connsiteY46240" fmla="*/ 1735965 h 5973007"/>
              <a:gd name="connsiteX46241" fmla="*/ 5468668 w 6884782"/>
              <a:gd name="connsiteY46241" fmla="*/ 1734400 h 5973007"/>
              <a:gd name="connsiteX46242" fmla="*/ 5466106 w 6884782"/>
              <a:gd name="connsiteY46242" fmla="*/ 1736818 h 5973007"/>
              <a:gd name="connsiteX46243" fmla="*/ 5465893 w 6884782"/>
              <a:gd name="connsiteY46243" fmla="*/ 1739237 h 5973007"/>
              <a:gd name="connsiteX46244" fmla="*/ 5462265 w 6884782"/>
              <a:gd name="connsiteY46244" fmla="*/ 1740517 h 5973007"/>
              <a:gd name="connsiteX46245" fmla="*/ 5468668 w 6884782"/>
              <a:gd name="connsiteY46245" fmla="*/ 1734400 h 5973007"/>
              <a:gd name="connsiteX46246" fmla="*/ 3882105 w 6884782"/>
              <a:gd name="connsiteY46246" fmla="*/ 1734400 h 5973007"/>
              <a:gd name="connsiteX46247" fmla="*/ 3882532 w 6884782"/>
              <a:gd name="connsiteY46247" fmla="*/ 1736961 h 5973007"/>
              <a:gd name="connsiteX46248" fmla="*/ 3881465 w 6884782"/>
              <a:gd name="connsiteY46248" fmla="*/ 1737103 h 5973007"/>
              <a:gd name="connsiteX46249" fmla="*/ 3882105 w 6884782"/>
              <a:gd name="connsiteY46249" fmla="*/ 1734400 h 5973007"/>
              <a:gd name="connsiteX46250" fmla="*/ 1645181 w 6884782"/>
              <a:gd name="connsiteY46250" fmla="*/ 1734396 h 5973007"/>
              <a:gd name="connsiteX46251" fmla="*/ 1656333 w 6884782"/>
              <a:gd name="connsiteY46251" fmla="*/ 1751280 h 5973007"/>
              <a:gd name="connsiteX46252" fmla="*/ 1648176 w 6884782"/>
              <a:gd name="connsiteY46252" fmla="*/ 1744310 h 5973007"/>
              <a:gd name="connsiteX46253" fmla="*/ 1645181 w 6884782"/>
              <a:gd name="connsiteY46253" fmla="*/ 1734396 h 5973007"/>
              <a:gd name="connsiteX46254" fmla="*/ 1796245 w 6884782"/>
              <a:gd name="connsiteY46254" fmla="*/ 1734242 h 5973007"/>
              <a:gd name="connsiteX46255" fmla="*/ 1800272 w 6884782"/>
              <a:gd name="connsiteY46255" fmla="*/ 1738269 h 5973007"/>
              <a:gd name="connsiteX46256" fmla="*/ 1776524 w 6884782"/>
              <a:gd name="connsiteY46256" fmla="*/ 1737804 h 5973007"/>
              <a:gd name="connsiteX46257" fmla="*/ 1796245 w 6884782"/>
              <a:gd name="connsiteY46257" fmla="*/ 1734242 h 5973007"/>
              <a:gd name="connsiteX46258" fmla="*/ 4748589 w 6884782"/>
              <a:gd name="connsiteY46258" fmla="*/ 1734116 h 5973007"/>
              <a:gd name="connsiteX46259" fmla="*/ 4754565 w 6884782"/>
              <a:gd name="connsiteY46259" fmla="*/ 1734116 h 5973007"/>
              <a:gd name="connsiteX46260" fmla="*/ 4744535 w 6884782"/>
              <a:gd name="connsiteY46260" fmla="*/ 1736961 h 5973007"/>
              <a:gd name="connsiteX46261" fmla="*/ 4748589 w 6884782"/>
              <a:gd name="connsiteY46261" fmla="*/ 1734116 h 5973007"/>
              <a:gd name="connsiteX46262" fmla="*/ 1260242 w 6884782"/>
              <a:gd name="connsiteY46262" fmla="*/ 1733932 h 5973007"/>
              <a:gd name="connsiteX46263" fmla="*/ 1262411 w 6884782"/>
              <a:gd name="connsiteY46263" fmla="*/ 1734396 h 5973007"/>
              <a:gd name="connsiteX46264" fmla="*/ 1263443 w 6884782"/>
              <a:gd name="connsiteY46264" fmla="*/ 1736255 h 5973007"/>
              <a:gd name="connsiteX46265" fmla="*/ 1264166 w 6884782"/>
              <a:gd name="connsiteY46265" fmla="*/ 1738269 h 5973007"/>
              <a:gd name="connsiteX46266" fmla="*/ 1264682 w 6884782"/>
              <a:gd name="connsiteY46266" fmla="*/ 1736875 h 5973007"/>
              <a:gd name="connsiteX46267" fmla="*/ 1266438 w 6884782"/>
              <a:gd name="connsiteY46267" fmla="*/ 1735325 h 5973007"/>
              <a:gd name="connsiteX46268" fmla="*/ 1268606 w 6884782"/>
              <a:gd name="connsiteY46268" fmla="*/ 1735171 h 5973007"/>
              <a:gd name="connsiteX46269" fmla="*/ 1269019 w 6884782"/>
              <a:gd name="connsiteY46269" fmla="*/ 1735790 h 5973007"/>
              <a:gd name="connsiteX46270" fmla="*/ 1270878 w 6884782"/>
              <a:gd name="connsiteY46270" fmla="*/ 1738578 h 5973007"/>
              <a:gd name="connsiteX46271" fmla="*/ 1270671 w 6884782"/>
              <a:gd name="connsiteY46271" fmla="*/ 1738888 h 5973007"/>
              <a:gd name="connsiteX46272" fmla="*/ 1275318 w 6884782"/>
              <a:gd name="connsiteY46272" fmla="*/ 1738423 h 5973007"/>
              <a:gd name="connsiteX46273" fmla="*/ 1279138 w 6884782"/>
              <a:gd name="connsiteY46273" fmla="*/ 1740282 h 5973007"/>
              <a:gd name="connsiteX46274" fmla="*/ 1279655 w 6884782"/>
              <a:gd name="connsiteY46274" fmla="*/ 1739043 h 5973007"/>
              <a:gd name="connsiteX46275" fmla="*/ 1283475 w 6884782"/>
              <a:gd name="connsiteY46275" fmla="*/ 1737649 h 5973007"/>
              <a:gd name="connsiteX46276" fmla="*/ 1282752 w 6884782"/>
              <a:gd name="connsiteY46276" fmla="*/ 1737959 h 5973007"/>
              <a:gd name="connsiteX46277" fmla="*/ 1283682 w 6884782"/>
              <a:gd name="connsiteY46277" fmla="*/ 1739508 h 5973007"/>
              <a:gd name="connsiteX46278" fmla="*/ 1284507 w 6884782"/>
              <a:gd name="connsiteY46278" fmla="*/ 1739043 h 5973007"/>
              <a:gd name="connsiteX46279" fmla="*/ 1284611 w 6884782"/>
              <a:gd name="connsiteY46279" fmla="*/ 1740902 h 5973007"/>
              <a:gd name="connsiteX46280" fmla="*/ 1280791 w 6884782"/>
              <a:gd name="connsiteY46280" fmla="*/ 1745858 h 5973007"/>
              <a:gd name="connsiteX46281" fmla="*/ 1279138 w 6884782"/>
              <a:gd name="connsiteY46281" fmla="*/ 1744620 h 5973007"/>
              <a:gd name="connsiteX46282" fmla="*/ 1278932 w 6884782"/>
              <a:gd name="connsiteY46282" fmla="*/ 1746788 h 5973007"/>
              <a:gd name="connsiteX46283" fmla="*/ 1277590 w 6884782"/>
              <a:gd name="connsiteY46283" fmla="*/ 1748802 h 5973007"/>
              <a:gd name="connsiteX46284" fmla="*/ 1274285 w 6884782"/>
              <a:gd name="connsiteY46284" fmla="*/ 1751590 h 5973007"/>
              <a:gd name="connsiteX46285" fmla="*/ 1275937 w 6884782"/>
              <a:gd name="connsiteY46285" fmla="*/ 1752519 h 5973007"/>
              <a:gd name="connsiteX46286" fmla="*/ 1277073 w 6884782"/>
              <a:gd name="connsiteY46286" fmla="*/ 1754688 h 5973007"/>
              <a:gd name="connsiteX46287" fmla="*/ 1276557 w 6884782"/>
              <a:gd name="connsiteY46287" fmla="*/ 1756546 h 5973007"/>
              <a:gd name="connsiteX46288" fmla="*/ 1275731 w 6884782"/>
              <a:gd name="connsiteY46288" fmla="*/ 1756856 h 5973007"/>
              <a:gd name="connsiteX46289" fmla="*/ 1272427 w 6884782"/>
              <a:gd name="connsiteY46289" fmla="*/ 1757631 h 5973007"/>
              <a:gd name="connsiteX46290" fmla="*/ 1270362 w 6884782"/>
              <a:gd name="connsiteY46290" fmla="*/ 1755927 h 5973007"/>
              <a:gd name="connsiteX46291" fmla="*/ 1269432 w 6884782"/>
              <a:gd name="connsiteY46291" fmla="*/ 1754223 h 5973007"/>
              <a:gd name="connsiteX46292" fmla="*/ 1268503 w 6884782"/>
              <a:gd name="connsiteY46292" fmla="*/ 1754533 h 5973007"/>
              <a:gd name="connsiteX46293" fmla="*/ 1261275 w 6884782"/>
              <a:gd name="connsiteY46293" fmla="*/ 1752055 h 5973007"/>
              <a:gd name="connsiteX46294" fmla="*/ 1261481 w 6884782"/>
              <a:gd name="connsiteY46294" fmla="*/ 1751125 h 5973007"/>
              <a:gd name="connsiteX46295" fmla="*/ 1255905 w 6884782"/>
              <a:gd name="connsiteY46295" fmla="*/ 1752519 h 5973007"/>
              <a:gd name="connsiteX46296" fmla="*/ 1254357 w 6884782"/>
              <a:gd name="connsiteY46296" fmla="*/ 1749576 h 5973007"/>
              <a:gd name="connsiteX46297" fmla="*/ 1254357 w 6884782"/>
              <a:gd name="connsiteY46297" fmla="*/ 1746168 h 5973007"/>
              <a:gd name="connsiteX46298" fmla="*/ 1256422 w 6884782"/>
              <a:gd name="connsiteY46298" fmla="*/ 1740282 h 5973007"/>
              <a:gd name="connsiteX46299" fmla="*/ 1257248 w 6884782"/>
              <a:gd name="connsiteY46299" fmla="*/ 1738423 h 5973007"/>
              <a:gd name="connsiteX46300" fmla="*/ 1256422 w 6884782"/>
              <a:gd name="connsiteY46300" fmla="*/ 1738423 h 5973007"/>
              <a:gd name="connsiteX46301" fmla="*/ 1257455 w 6884782"/>
              <a:gd name="connsiteY46301" fmla="*/ 1737649 h 5973007"/>
              <a:gd name="connsiteX46302" fmla="*/ 1257455 w 6884782"/>
              <a:gd name="connsiteY46302" fmla="*/ 1737494 h 5973007"/>
              <a:gd name="connsiteX46303" fmla="*/ 1257661 w 6884782"/>
              <a:gd name="connsiteY46303" fmla="*/ 1736565 h 5973007"/>
              <a:gd name="connsiteX46304" fmla="*/ 1260242 w 6884782"/>
              <a:gd name="connsiteY46304" fmla="*/ 1733932 h 5973007"/>
              <a:gd name="connsiteX46305" fmla="*/ 4662581 w 6884782"/>
              <a:gd name="connsiteY46305" fmla="*/ 1733119 h 5973007"/>
              <a:gd name="connsiteX46306" fmla="*/ 4669197 w 6884782"/>
              <a:gd name="connsiteY46306" fmla="*/ 1739806 h 5973007"/>
              <a:gd name="connsiteX46307" fmla="*/ 4666423 w 6884782"/>
              <a:gd name="connsiteY46307" fmla="*/ 1738810 h 5973007"/>
              <a:gd name="connsiteX46308" fmla="*/ 4668557 w 6884782"/>
              <a:gd name="connsiteY46308" fmla="*/ 1740802 h 5973007"/>
              <a:gd name="connsiteX46309" fmla="*/ 4670691 w 6884782"/>
              <a:gd name="connsiteY46309" fmla="*/ 1747916 h 5973007"/>
              <a:gd name="connsiteX46310" fmla="*/ 4667703 w 6884782"/>
              <a:gd name="connsiteY46310" fmla="*/ 1747916 h 5973007"/>
              <a:gd name="connsiteX46311" fmla="*/ 4673466 w 6884782"/>
              <a:gd name="connsiteY46311" fmla="*/ 1749338 h 5973007"/>
              <a:gd name="connsiteX46312" fmla="*/ 4680722 w 6884782"/>
              <a:gd name="connsiteY46312" fmla="*/ 1750334 h 5973007"/>
              <a:gd name="connsiteX46313" fmla="*/ 4688405 w 6884782"/>
              <a:gd name="connsiteY46313" fmla="*/ 1744359 h 5973007"/>
              <a:gd name="connsiteX46314" fmla="*/ 4693527 w 6884782"/>
              <a:gd name="connsiteY46314" fmla="*/ 1744643 h 5973007"/>
              <a:gd name="connsiteX46315" fmla="*/ 4680295 w 6884782"/>
              <a:gd name="connsiteY46315" fmla="*/ 1776654 h 5973007"/>
              <a:gd name="connsiteX46316" fmla="*/ 4672185 w 6884782"/>
              <a:gd name="connsiteY46316" fmla="*/ 1782629 h 5973007"/>
              <a:gd name="connsiteX46317" fmla="*/ 4675386 w 6884782"/>
              <a:gd name="connsiteY46317" fmla="*/ 1759582 h 5973007"/>
              <a:gd name="connsiteX46318" fmla="*/ 4654685 w 6884782"/>
              <a:gd name="connsiteY46318" fmla="*/ 1749623 h 5973007"/>
              <a:gd name="connsiteX46319" fmla="*/ 4659807 w 6884782"/>
              <a:gd name="connsiteY46319" fmla="*/ 1747204 h 5973007"/>
              <a:gd name="connsiteX46320" fmla="*/ 4659380 w 6884782"/>
              <a:gd name="connsiteY46320" fmla="*/ 1742794 h 5973007"/>
              <a:gd name="connsiteX46321" fmla="*/ 4660447 w 6884782"/>
              <a:gd name="connsiteY46321" fmla="*/ 1741655 h 5973007"/>
              <a:gd name="connsiteX46322" fmla="*/ 4659380 w 6884782"/>
              <a:gd name="connsiteY46322" fmla="*/ 1739948 h 5973007"/>
              <a:gd name="connsiteX46323" fmla="*/ 4658313 w 6884782"/>
              <a:gd name="connsiteY46323" fmla="*/ 1738526 h 5973007"/>
              <a:gd name="connsiteX46324" fmla="*/ 4660020 w 6884782"/>
              <a:gd name="connsiteY46324" fmla="*/ 1735823 h 5973007"/>
              <a:gd name="connsiteX46325" fmla="*/ 4661941 w 6884782"/>
              <a:gd name="connsiteY46325" fmla="*/ 1735965 h 5973007"/>
              <a:gd name="connsiteX46326" fmla="*/ 871792 w 6884782"/>
              <a:gd name="connsiteY46326" fmla="*/ 1732692 h 5973007"/>
              <a:gd name="connsiteX46327" fmla="*/ 875303 w 6884782"/>
              <a:gd name="connsiteY46327" fmla="*/ 1735325 h 5973007"/>
              <a:gd name="connsiteX46328" fmla="*/ 865907 w 6884782"/>
              <a:gd name="connsiteY46328" fmla="*/ 1743225 h 5973007"/>
              <a:gd name="connsiteX46329" fmla="*/ 862293 w 6884782"/>
              <a:gd name="connsiteY46329" fmla="*/ 1741522 h 5973007"/>
              <a:gd name="connsiteX46330" fmla="*/ 868798 w 6884782"/>
              <a:gd name="connsiteY46330" fmla="*/ 1733777 h 5973007"/>
              <a:gd name="connsiteX46331" fmla="*/ 871792 w 6884782"/>
              <a:gd name="connsiteY46331" fmla="*/ 1732692 h 5973007"/>
              <a:gd name="connsiteX46332" fmla="*/ 1426072 w 6884782"/>
              <a:gd name="connsiteY46332" fmla="*/ 1732538 h 5973007"/>
              <a:gd name="connsiteX46333" fmla="*/ 1428860 w 6884782"/>
              <a:gd name="connsiteY46333" fmla="*/ 1733157 h 5973007"/>
              <a:gd name="connsiteX46334" fmla="*/ 1432474 w 6884782"/>
              <a:gd name="connsiteY46334" fmla="*/ 1737339 h 5973007"/>
              <a:gd name="connsiteX46335" fmla="*/ 1434023 w 6884782"/>
              <a:gd name="connsiteY46335" fmla="*/ 1742606 h 5973007"/>
              <a:gd name="connsiteX46336" fmla="*/ 1428343 w 6884782"/>
              <a:gd name="connsiteY46336" fmla="*/ 1741367 h 5973007"/>
              <a:gd name="connsiteX46337" fmla="*/ 1424833 w 6884782"/>
              <a:gd name="connsiteY46337" fmla="*/ 1734242 h 5973007"/>
              <a:gd name="connsiteX46338" fmla="*/ 1426072 w 6884782"/>
              <a:gd name="connsiteY46338" fmla="*/ 1732538 h 5973007"/>
              <a:gd name="connsiteX46339" fmla="*/ 980728 w 6884782"/>
              <a:gd name="connsiteY46339" fmla="*/ 1732073 h 5973007"/>
              <a:gd name="connsiteX46340" fmla="*/ 978456 w 6884782"/>
              <a:gd name="connsiteY46340" fmla="*/ 1738269 h 5973007"/>
              <a:gd name="connsiteX46341" fmla="*/ 976701 w 6884782"/>
              <a:gd name="connsiteY46341" fmla="*/ 1737649 h 5973007"/>
              <a:gd name="connsiteX46342" fmla="*/ 975152 w 6884782"/>
              <a:gd name="connsiteY46342" fmla="*/ 1735325 h 5973007"/>
              <a:gd name="connsiteX46343" fmla="*/ 975565 w 6884782"/>
              <a:gd name="connsiteY46343" fmla="*/ 1732847 h 5973007"/>
              <a:gd name="connsiteX46344" fmla="*/ 980728 w 6884782"/>
              <a:gd name="connsiteY46344" fmla="*/ 1732073 h 5973007"/>
              <a:gd name="connsiteX46345" fmla="*/ 1632894 w 6884782"/>
              <a:gd name="connsiteY46345" fmla="*/ 1731918 h 5973007"/>
              <a:gd name="connsiteX46346" fmla="*/ 1636508 w 6884782"/>
              <a:gd name="connsiteY46346" fmla="*/ 1743380 h 5973007"/>
              <a:gd name="connsiteX46347" fmla="*/ 1625563 w 6884782"/>
              <a:gd name="connsiteY46347" fmla="*/ 1739973 h 5973007"/>
              <a:gd name="connsiteX46348" fmla="*/ 1632894 w 6884782"/>
              <a:gd name="connsiteY46348" fmla="*/ 1731918 h 5973007"/>
              <a:gd name="connsiteX46349" fmla="*/ 6297164 w 6884782"/>
              <a:gd name="connsiteY46349" fmla="*/ 1731555 h 5973007"/>
              <a:gd name="connsiteX46350" fmla="*/ 6301859 w 6884782"/>
              <a:gd name="connsiteY46350" fmla="*/ 1732266 h 5973007"/>
              <a:gd name="connsiteX46351" fmla="*/ 6305700 w 6884782"/>
              <a:gd name="connsiteY46351" fmla="*/ 1740517 h 5973007"/>
              <a:gd name="connsiteX46352" fmla="*/ 6290761 w 6884782"/>
              <a:gd name="connsiteY46352" fmla="*/ 1739806 h 5973007"/>
              <a:gd name="connsiteX46353" fmla="*/ 6297164 w 6884782"/>
              <a:gd name="connsiteY46353" fmla="*/ 1731555 h 5973007"/>
              <a:gd name="connsiteX46354" fmla="*/ 4763742 w 6884782"/>
              <a:gd name="connsiteY46354" fmla="*/ 1730701 h 5973007"/>
              <a:gd name="connsiteX46355" fmla="*/ 4763742 w 6884782"/>
              <a:gd name="connsiteY46355" fmla="*/ 1735680 h 5973007"/>
              <a:gd name="connsiteX46356" fmla="*/ 4760754 w 6884782"/>
              <a:gd name="connsiteY46356" fmla="*/ 1738099 h 5973007"/>
              <a:gd name="connsiteX46357" fmla="*/ 4760327 w 6884782"/>
              <a:gd name="connsiteY46357" fmla="*/ 1736961 h 5973007"/>
              <a:gd name="connsiteX46358" fmla="*/ 4757980 w 6884782"/>
              <a:gd name="connsiteY46358" fmla="*/ 1732835 h 5973007"/>
              <a:gd name="connsiteX46359" fmla="*/ 4763742 w 6884782"/>
              <a:gd name="connsiteY46359" fmla="*/ 1730701 h 5973007"/>
              <a:gd name="connsiteX46360" fmla="*/ 3890855 w 6884782"/>
              <a:gd name="connsiteY46360" fmla="*/ 1730416 h 5973007"/>
              <a:gd name="connsiteX46361" fmla="*/ 3898325 w 6884782"/>
              <a:gd name="connsiteY46361" fmla="*/ 1733973 h 5973007"/>
              <a:gd name="connsiteX46362" fmla="*/ 3885733 w 6884782"/>
              <a:gd name="connsiteY46362" fmla="*/ 1747062 h 5973007"/>
              <a:gd name="connsiteX46363" fmla="*/ 3890855 w 6884782"/>
              <a:gd name="connsiteY46363" fmla="*/ 1730416 h 5973007"/>
              <a:gd name="connsiteX46364" fmla="*/ 5538883 w 6884782"/>
              <a:gd name="connsiteY46364" fmla="*/ 1729421 h 5973007"/>
              <a:gd name="connsiteX46365" fmla="*/ 5537602 w 6884782"/>
              <a:gd name="connsiteY46365" fmla="*/ 1736534 h 5973007"/>
              <a:gd name="connsiteX46366" fmla="*/ 5538883 w 6884782"/>
              <a:gd name="connsiteY46366" fmla="*/ 1729421 h 5973007"/>
              <a:gd name="connsiteX46367" fmla="*/ 1045263 w 6884782"/>
              <a:gd name="connsiteY46367" fmla="*/ 1728356 h 5973007"/>
              <a:gd name="connsiteX46368" fmla="*/ 1050632 w 6884782"/>
              <a:gd name="connsiteY46368" fmla="*/ 1729904 h 5973007"/>
              <a:gd name="connsiteX46369" fmla="*/ 1051458 w 6884782"/>
              <a:gd name="connsiteY46369" fmla="*/ 1732228 h 5973007"/>
              <a:gd name="connsiteX46370" fmla="*/ 1048670 w 6884782"/>
              <a:gd name="connsiteY46370" fmla="*/ 1732228 h 5973007"/>
              <a:gd name="connsiteX46371" fmla="*/ 1047844 w 6884782"/>
              <a:gd name="connsiteY46371" fmla="*/ 1730679 h 5973007"/>
              <a:gd name="connsiteX46372" fmla="*/ 1045263 w 6884782"/>
              <a:gd name="connsiteY46372" fmla="*/ 1730059 h 5973007"/>
              <a:gd name="connsiteX46373" fmla="*/ 1045263 w 6884782"/>
              <a:gd name="connsiteY46373" fmla="*/ 1728356 h 5973007"/>
              <a:gd name="connsiteX46374" fmla="*/ 4922099 w 6884782"/>
              <a:gd name="connsiteY46374" fmla="*/ 1728282 h 5973007"/>
              <a:gd name="connsiteX46375" fmla="*/ 4926795 w 6884782"/>
              <a:gd name="connsiteY46375" fmla="*/ 1728282 h 5973007"/>
              <a:gd name="connsiteX46376" fmla="*/ 4934905 w 6884782"/>
              <a:gd name="connsiteY46376" fmla="*/ 1731128 h 5973007"/>
              <a:gd name="connsiteX46377" fmla="*/ 4937466 w 6884782"/>
              <a:gd name="connsiteY46377" fmla="*/ 1732266 h 5973007"/>
              <a:gd name="connsiteX46378" fmla="*/ 4937466 w 6884782"/>
              <a:gd name="connsiteY46378" fmla="*/ 1731128 h 5973007"/>
              <a:gd name="connsiteX46379" fmla="*/ 4938533 w 6884782"/>
              <a:gd name="connsiteY46379" fmla="*/ 1732551 h 5973007"/>
              <a:gd name="connsiteX46380" fmla="*/ 4938746 w 6884782"/>
              <a:gd name="connsiteY46380" fmla="*/ 1732551 h 5973007"/>
              <a:gd name="connsiteX46381" fmla="*/ 4940027 w 6884782"/>
              <a:gd name="connsiteY46381" fmla="*/ 1732835 h 5973007"/>
              <a:gd name="connsiteX46382" fmla="*/ 4943655 w 6884782"/>
              <a:gd name="connsiteY46382" fmla="*/ 1736392 h 5973007"/>
              <a:gd name="connsiteX46383" fmla="*/ 4943015 w 6884782"/>
              <a:gd name="connsiteY46383" fmla="*/ 1739379 h 5973007"/>
              <a:gd name="connsiteX46384" fmla="*/ 4940453 w 6884782"/>
              <a:gd name="connsiteY46384" fmla="*/ 1740802 h 5973007"/>
              <a:gd name="connsiteX46385" fmla="*/ 4937679 w 6884782"/>
              <a:gd name="connsiteY46385" fmla="*/ 1741798 h 5973007"/>
              <a:gd name="connsiteX46386" fmla="*/ 4939600 w 6884782"/>
              <a:gd name="connsiteY46386" fmla="*/ 1742509 h 5973007"/>
              <a:gd name="connsiteX46387" fmla="*/ 4941734 w 6884782"/>
              <a:gd name="connsiteY46387" fmla="*/ 1744928 h 5973007"/>
              <a:gd name="connsiteX46388" fmla="*/ 4941948 w 6884782"/>
              <a:gd name="connsiteY46388" fmla="*/ 1747916 h 5973007"/>
              <a:gd name="connsiteX46389" fmla="*/ 4941094 w 6884782"/>
              <a:gd name="connsiteY46389" fmla="*/ 1748484 h 5973007"/>
              <a:gd name="connsiteX46390" fmla="*/ 4937253 w 6884782"/>
              <a:gd name="connsiteY46390" fmla="*/ 1751046 h 5973007"/>
              <a:gd name="connsiteX46391" fmla="*/ 4936825 w 6884782"/>
              <a:gd name="connsiteY46391" fmla="*/ 1750761 h 5973007"/>
              <a:gd name="connsiteX46392" fmla="*/ 4937466 w 6884782"/>
              <a:gd name="connsiteY46392" fmla="*/ 1757163 h 5973007"/>
              <a:gd name="connsiteX46393" fmla="*/ 4934905 w 6884782"/>
              <a:gd name="connsiteY46393" fmla="*/ 1762427 h 5973007"/>
              <a:gd name="connsiteX46394" fmla="*/ 4936612 w 6884782"/>
              <a:gd name="connsiteY46394" fmla="*/ 1763138 h 5973007"/>
              <a:gd name="connsiteX46395" fmla="*/ 4938533 w 6884782"/>
              <a:gd name="connsiteY46395" fmla="*/ 1768402 h 5973007"/>
              <a:gd name="connsiteX46396" fmla="*/ 4938106 w 6884782"/>
              <a:gd name="connsiteY46396" fmla="*/ 1767406 h 5973007"/>
              <a:gd name="connsiteX46397" fmla="*/ 4935972 w 6884782"/>
              <a:gd name="connsiteY46397" fmla="*/ 1768687 h 5973007"/>
              <a:gd name="connsiteX46398" fmla="*/ 4936612 w 6884782"/>
              <a:gd name="connsiteY46398" fmla="*/ 1769825 h 5973007"/>
              <a:gd name="connsiteX46399" fmla="*/ 4934051 w 6884782"/>
              <a:gd name="connsiteY46399" fmla="*/ 1769967 h 5973007"/>
              <a:gd name="connsiteX46400" fmla="*/ 4927222 w 6884782"/>
              <a:gd name="connsiteY46400" fmla="*/ 1764704 h 5973007"/>
              <a:gd name="connsiteX46401" fmla="*/ 4928929 w 6884782"/>
              <a:gd name="connsiteY46401" fmla="*/ 1762427 h 5973007"/>
              <a:gd name="connsiteX46402" fmla="*/ 4925941 w 6884782"/>
              <a:gd name="connsiteY46402" fmla="*/ 1762142 h 5973007"/>
              <a:gd name="connsiteX46403" fmla="*/ 4923167 w 6884782"/>
              <a:gd name="connsiteY46403" fmla="*/ 1760293 h 5973007"/>
              <a:gd name="connsiteX46404" fmla="*/ 4919325 w 6884782"/>
              <a:gd name="connsiteY46404" fmla="*/ 1755740 h 5973007"/>
              <a:gd name="connsiteX46405" fmla="*/ 4918045 w 6884782"/>
              <a:gd name="connsiteY46405" fmla="*/ 1758017 h 5973007"/>
              <a:gd name="connsiteX46406" fmla="*/ 4915057 w 6884782"/>
              <a:gd name="connsiteY46406" fmla="*/ 1759582 h 5973007"/>
              <a:gd name="connsiteX46407" fmla="*/ 4912496 w 6884782"/>
              <a:gd name="connsiteY46407" fmla="*/ 1758870 h 5973007"/>
              <a:gd name="connsiteX46408" fmla="*/ 4912069 w 6884782"/>
              <a:gd name="connsiteY46408" fmla="*/ 1757732 h 5973007"/>
              <a:gd name="connsiteX46409" fmla="*/ 4911002 w 6884782"/>
              <a:gd name="connsiteY46409" fmla="*/ 1753179 h 5973007"/>
              <a:gd name="connsiteX46410" fmla="*/ 4913349 w 6884782"/>
              <a:gd name="connsiteY46410" fmla="*/ 1750334 h 5973007"/>
              <a:gd name="connsiteX46411" fmla="*/ 4915697 w 6884782"/>
              <a:gd name="connsiteY46411" fmla="*/ 1749054 h 5973007"/>
              <a:gd name="connsiteX46412" fmla="*/ 4915270 w 6884782"/>
              <a:gd name="connsiteY46412" fmla="*/ 1747773 h 5973007"/>
              <a:gd name="connsiteX46413" fmla="*/ 4918685 w 6884782"/>
              <a:gd name="connsiteY46413" fmla="*/ 1737815 h 5973007"/>
              <a:gd name="connsiteX46414" fmla="*/ 4919966 w 6884782"/>
              <a:gd name="connsiteY46414" fmla="*/ 1738099 h 5973007"/>
              <a:gd name="connsiteX46415" fmla="*/ 4918045 w 6884782"/>
              <a:gd name="connsiteY46415" fmla="*/ 1730416 h 5973007"/>
              <a:gd name="connsiteX46416" fmla="*/ 4922099 w 6884782"/>
              <a:gd name="connsiteY46416" fmla="*/ 1728282 h 5973007"/>
              <a:gd name="connsiteX46417" fmla="*/ 3881251 w 6884782"/>
              <a:gd name="connsiteY46417" fmla="*/ 1728282 h 5973007"/>
              <a:gd name="connsiteX46418" fmla="*/ 3882532 w 6884782"/>
              <a:gd name="connsiteY46418" fmla="*/ 1729563 h 5973007"/>
              <a:gd name="connsiteX46419" fmla="*/ 3880611 w 6884782"/>
              <a:gd name="connsiteY46419" fmla="*/ 1730986 h 5973007"/>
              <a:gd name="connsiteX46420" fmla="*/ 3881251 w 6884782"/>
              <a:gd name="connsiteY46420" fmla="*/ 1728282 h 5973007"/>
              <a:gd name="connsiteX46421" fmla="*/ 1184865 w 6884782"/>
              <a:gd name="connsiteY46421" fmla="*/ 1728200 h 5973007"/>
              <a:gd name="connsiteX46422" fmla="*/ 1187550 w 6884782"/>
              <a:gd name="connsiteY46422" fmla="*/ 1728356 h 5973007"/>
              <a:gd name="connsiteX46423" fmla="*/ 1186207 w 6884782"/>
              <a:gd name="connsiteY46423" fmla="*/ 1730834 h 5973007"/>
              <a:gd name="connsiteX46424" fmla="*/ 1184246 w 6884782"/>
              <a:gd name="connsiteY46424" fmla="*/ 1730989 h 5973007"/>
              <a:gd name="connsiteX46425" fmla="*/ 1183213 w 6884782"/>
              <a:gd name="connsiteY46425" fmla="*/ 1731918 h 5973007"/>
              <a:gd name="connsiteX46426" fmla="*/ 1184349 w 6884782"/>
              <a:gd name="connsiteY46426" fmla="*/ 1732847 h 5973007"/>
              <a:gd name="connsiteX46427" fmla="*/ 1183730 w 6884782"/>
              <a:gd name="connsiteY46427" fmla="*/ 1736875 h 5973007"/>
              <a:gd name="connsiteX46428" fmla="*/ 1179702 w 6884782"/>
              <a:gd name="connsiteY46428" fmla="*/ 1734396 h 5973007"/>
              <a:gd name="connsiteX46429" fmla="*/ 1181458 w 6884782"/>
              <a:gd name="connsiteY46429" fmla="*/ 1730214 h 5973007"/>
              <a:gd name="connsiteX46430" fmla="*/ 1182181 w 6884782"/>
              <a:gd name="connsiteY46430" fmla="*/ 1730989 h 5973007"/>
              <a:gd name="connsiteX46431" fmla="*/ 1182697 w 6884782"/>
              <a:gd name="connsiteY46431" fmla="*/ 1730524 h 5973007"/>
              <a:gd name="connsiteX46432" fmla="*/ 1184865 w 6884782"/>
              <a:gd name="connsiteY46432" fmla="*/ 1728200 h 5973007"/>
              <a:gd name="connsiteX46433" fmla="*/ 5286407 w 6884782"/>
              <a:gd name="connsiteY46433" fmla="*/ 1727998 h 5973007"/>
              <a:gd name="connsiteX46434" fmla="*/ 5288755 w 6884782"/>
              <a:gd name="connsiteY46434" fmla="*/ 1730701 h 5973007"/>
              <a:gd name="connsiteX46435" fmla="*/ 5283206 w 6884782"/>
              <a:gd name="connsiteY46435" fmla="*/ 1741514 h 5973007"/>
              <a:gd name="connsiteX46436" fmla="*/ 5280645 w 6884782"/>
              <a:gd name="connsiteY46436" fmla="*/ 1739379 h 5973007"/>
              <a:gd name="connsiteX46437" fmla="*/ 5286407 w 6884782"/>
              <a:gd name="connsiteY46437" fmla="*/ 1727998 h 5973007"/>
              <a:gd name="connsiteX46438" fmla="*/ 4802798 w 6884782"/>
              <a:gd name="connsiteY46438" fmla="*/ 1727856 h 5973007"/>
              <a:gd name="connsiteX46439" fmla="*/ 4807280 w 6884782"/>
              <a:gd name="connsiteY46439" fmla="*/ 1735396 h 5973007"/>
              <a:gd name="connsiteX46440" fmla="*/ 4808133 w 6884782"/>
              <a:gd name="connsiteY46440" fmla="*/ 1748911 h 5973007"/>
              <a:gd name="connsiteX46441" fmla="*/ 4808133 w 6884782"/>
              <a:gd name="connsiteY46441" fmla="*/ 1749338 h 5973007"/>
              <a:gd name="connsiteX46442" fmla="*/ 4810054 w 6884782"/>
              <a:gd name="connsiteY46442" fmla="*/ 1753037 h 5973007"/>
              <a:gd name="connsiteX46443" fmla="*/ 4804505 w 6884782"/>
              <a:gd name="connsiteY46443" fmla="*/ 1759155 h 5973007"/>
              <a:gd name="connsiteX46444" fmla="*/ 4803865 w 6884782"/>
              <a:gd name="connsiteY46444" fmla="*/ 1759155 h 5973007"/>
              <a:gd name="connsiteX46445" fmla="*/ 4803651 w 6884782"/>
              <a:gd name="connsiteY46445" fmla="*/ 1759866 h 5973007"/>
              <a:gd name="connsiteX46446" fmla="*/ 4803225 w 6884782"/>
              <a:gd name="connsiteY46446" fmla="*/ 1759155 h 5973007"/>
              <a:gd name="connsiteX46447" fmla="*/ 4800877 w 6884782"/>
              <a:gd name="connsiteY46447" fmla="*/ 1758443 h 5973007"/>
              <a:gd name="connsiteX46448" fmla="*/ 4795115 w 6884782"/>
              <a:gd name="connsiteY46448" fmla="*/ 1753748 h 5973007"/>
              <a:gd name="connsiteX46449" fmla="*/ 4794688 w 6884782"/>
              <a:gd name="connsiteY46449" fmla="*/ 1754887 h 5973007"/>
              <a:gd name="connsiteX46450" fmla="*/ 4796395 w 6884782"/>
              <a:gd name="connsiteY46450" fmla="*/ 1747916 h 5973007"/>
              <a:gd name="connsiteX46451" fmla="*/ 4798956 w 6884782"/>
              <a:gd name="connsiteY46451" fmla="*/ 1747204 h 5973007"/>
              <a:gd name="connsiteX46452" fmla="*/ 4798530 w 6884782"/>
              <a:gd name="connsiteY46452" fmla="*/ 1743505 h 5973007"/>
              <a:gd name="connsiteX46453" fmla="*/ 4802798 w 6884782"/>
              <a:gd name="connsiteY46453" fmla="*/ 1727856 h 5973007"/>
              <a:gd name="connsiteX46454" fmla="*/ 3524627 w 6884782"/>
              <a:gd name="connsiteY46454" fmla="*/ 1727287 h 5973007"/>
              <a:gd name="connsiteX46455" fmla="*/ 3532737 w 6884782"/>
              <a:gd name="connsiteY46455" fmla="*/ 1729279 h 5973007"/>
              <a:gd name="connsiteX46456" fmla="*/ 3531030 w 6884782"/>
              <a:gd name="connsiteY46456" fmla="*/ 1730274 h 5973007"/>
              <a:gd name="connsiteX46457" fmla="*/ 3528895 w 6884782"/>
              <a:gd name="connsiteY46457" fmla="*/ 1729421 h 5973007"/>
              <a:gd name="connsiteX46458" fmla="*/ 3524627 w 6884782"/>
              <a:gd name="connsiteY46458" fmla="*/ 1727287 h 5973007"/>
              <a:gd name="connsiteX46459" fmla="*/ 1169377 w 6884782"/>
              <a:gd name="connsiteY46459" fmla="*/ 1726806 h 5973007"/>
              <a:gd name="connsiteX46460" fmla="*/ 1177431 w 6884782"/>
              <a:gd name="connsiteY46460" fmla="*/ 1727736 h 5973007"/>
              <a:gd name="connsiteX46461" fmla="*/ 1175675 w 6884782"/>
              <a:gd name="connsiteY46461" fmla="*/ 1730834 h 5973007"/>
              <a:gd name="connsiteX46462" fmla="*/ 1167931 w 6884782"/>
              <a:gd name="connsiteY46462" fmla="*/ 1731763 h 5973007"/>
              <a:gd name="connsiteX46463" fmla="*/ 1166383 w 6884782"/>
              <a:gd name="connsiteY46463" fmla="*/ 1730369 h 5973007"/>
              <a:gd name="connsiteX46464" fmla="*/ 1169377 w 6884782"/>
              <a:gd name="connsiteY46464" fmla="*/ 1726806 h 5973007"/>
              <a:gd name="connsiteX46465" fmla="*/ 5906818 w 6884782"/>
              <a:gd name="connsiteY46465" fmla="*/ 1726575 h 5973007"/>
              <a:gd name="connsiteX46466" fmla="*/ 5913221 w 6884782"/>
              <a:gd name="connsiteY46466" fmla="*/ 1728851 h 5973007"/>
              <a:gd name="connsiteX46467" fmla="*/ 5915782 w 6884782"/>
              <a:gd name="connsiteY46467" fmla="*/ 1733831 h 5973007"/>
              <a:gd name="connsiteX46468" fmla="*/ 5915782 w 6884782"/>
              <a:gd name="connsiteY46468" fmla="*/ 1736107 h 5973007"/>
              <a:gd name="connsiteX46469" fmla="*/ 5914288 w 6884782"/>
              <a:gd name="connsiteY46469" fmla="*/ 1737103 h 5973007"/>
              <a:gd name="connsiteX46470" fmla="*/ 5914929 w 6884782"/>
              <a:gd name="connsiteY46470" fmla="*/ 1737957 h 5973007"/>
              <a:gd name="connsiteX46471" fmla="*/ 5915355 w 6884782"/>
              <a:gd name="connsiteY46471" fmla="*/ 1741655 h 5973007"/>
              <a:gd name="connsiteX46472" fmla="*/ 5909593 w 6884782"/>
              <a:gd name="connsiteY46472" fmla="*/ 1743220 h 5973007"/>
              <a:gd name="connsiteX46473" fmla="*/ 5908099 w 6884782"/>
              <a:gd name="connsiteY46473" fmla="*/ 1740802 h 5973007"/>
              <a:gd name="connsiteX46474" fmla="*/ 5908526 w 6884782"/>
              <a:gd name="connsiteY46474" fmla="*/ 1738810 h 5973007"/>
              <a:gd name="connsiteX46475" fmla="*/ 5905751 w 6884782"/>
              <a:gd name="connsiteY46475" fmla="*/ 1738099 h 5973007"/>
              <a:gd name="connsiteX46476" fmla="*/ 5901910 w 6884782"/>
              <a:gd name="connsiteY46476" fmla="*/ 1728282 h 5973007"/>
              <a:gd name="connsiteX46477" fmla="*/ 5904044 w 6884782"/>
              <a:gd name="connsiteY46477" fmla="*/ 1727144 h 5973007"/>
              <a:gd name="connsiteX46478" fmla="*/ 5906818 w 6884782"/>
              <a:gd name="connsiteY46478" fmla="*/ 1726575 h 5973007"/>
              <a:gd name="connsiteX46479" fmla="*/ 853826 w 6884782"/>
              <a:gd name="connsiteY46479" fmla="*/ 1726032 h 5973007"/>
              <a:gd name="connsiteX46480" fmla="*/ 863325 w 6884782"/>
              <a:gd name="connsiteY46480" fmla="*/ 1726342 h 5973007"/>
              <a:gd name="connsiteX46481" fmla="*/ 864461 w 6884782"/>
              <a:gd name="connsiteY46481" fmla="*/ 1730679 h 5973007"/>
              <a:gd name="connsiteX46482" fmla="*/ 864152 w 6884782"/>
              <a:gd name="connsiteY46482" fmla="*/ 1730989 h 5973007"/>
              <a:gd name="connsiteX46483" fmla="*/ 859815 w 6884782"/>
              <a:gd name="connsiteY46483" fmla="*/ 1739508 h 5973007"/>
              <a:gd name="connsiteX46484" fmla="*/ 854549 w 6884782"/>
              <a:gd name="connsiteY46484" fmla="*/ 1740592 h 5973007"/>
              <a:gd name="connsiteX46485" fmla="*/ 853723 w 6884782"/>
              <a:gd name="connsiteY46485" fmla="*/ 1737959 h 5973007"/>
              <a:gd name="connsiteX46486" fmla="*/ 855891 w 6884782"/>
              <a:gd name="connsiteY46486" fmla="*/ 1734242 h 5973007"/>
              <a:gd name="connsiteX46487" fmla="*/ 854032 w 6884782"/>
              <a:gd name="connsiteY46487" fmla="*/ 1734242 h 5973007"/>
              <a:gd name="connsiteX46488" fmla="*/ 849902 w 6884782"/>
              <a:gd name="connsiteY46488" fmla="*/ 1732228 h 5973007"/>
              <a:gd name="connsiteX46489" fmla="*/ 853826 w 6884782"/>
              <a:gd name="connsiteY46489" fmla="*/ 1726032 h 5973007"/>
              <a:gd name="connsiteX46490" fmla="*/ 5441777 w 6884782"/>
              <a:gd name="connsiteY46490" fmla="*/ 1726006 h 5973007"/>
              <a:gd name="connsiteX46491" fmla="*/ 5461411 w 6884782"/>
              <a:gd name="connsiteY46491" fmla="*/ 1740660 h 5973007"/>
              <a:gd name="connsiteX46492" fmla="*/ 5462692 w 6884782"/>
              <a:gd name="connsiteY46492" fmla="*/ 1747773 h 5973007"/>
              <a:gd name="connsiteX46493" fmla="*/ 5441777 w 6884782"/>
              <a:gd name="connsiteY46493" fmla="*/ 1726006 h 5973007"/>
              <a:gd name="connsiteX46494" fmla="*/ 1268503 w 6884782"/>
              <a:gd name="connsiteY46494" fmla="*/ 1725257 h 5973007"/>
              <a:gd name="connsiteX46495" fmla="*/ 1270878 w 6884782"/>
              <a:gd name="connsiteY46495" fmla="*/ 1728510 h 5973007"/>
              <a:gd name="connsiteX46496" fmla="*/ 1268296 w 6884782"/>
              <a:gd name="connsiteY46496" fmla="*/ 1726342 h 5973007"/>
              <a:gd name="connsiteX46497" fmla="*/ 1268503 w 6884782"/>
              <a:gd name="connsiteY46497" fmla="*/ 1725257 h 5973007"/>
              <a:gd name="connsiteX46498" fmla="*/ 979386 w 6884782"/>
              <a:gd name="connsiteY46498" fmla="*/ 1725102 h 5973007"/>
              <a:gd name="connsiteX46499" fmla="*/ 984652 w 6884782"/>
              <a:gd name="connsiteY46499" fmla="*/ 1726652 h 5973007"/>
              <a:gd name="connsiteX46500" fmla="*/ 979386 w 6884782"/>
              <a:gd name="connsiteY46500" fmla="*/ 1725102 h 5973007"/>
              <a:gd name="connsiteX46501" fmla="*/ 4953686 w 6884782"/>
              <a:gd name="connsiteY46501" fmla="*/ 1725010 h 5973007"/>
              <a:gd name="connsiteX46502" fmla="*/ 4964143 w 6884782"/>
              <a:gd name="connsiteY46502" fmla="*/ 1734684 h 5973007"/>
              <a:gd name="connsiteX46503" fmla="*/ 4961795 w 6884782"/>
              <a:gd name="connsiteY46503" fmla="*/ 1740945 h 5973007"/>
              <a:gd name="connsiteX46504" fmla="*/ 4948137 w 6884782"/>
              <a:gd name="connsiteY46504" fmla="*/ 1728140 h 5973007"/>
              <a:gd name="connsiteX46505" fmla="*/ 4953686 w 6884782"/>
              <a:gd name="connsiteY46505" fmla="*/ 1725010 h 5973007"/>
              <a:gd name="connsiteX46506" fmla="*/ 1321783 w 6884782"/>
              <a:gd name="connsiteY46506" fmla="*/ 1724018 h 5973007"/>
              <a:gd name="connsiteX46507" fmla="*/ 1322506 w 6884782"/>
              <a:gd name="connsiteY46507" fmla="*/ 1730214 h 5973007"/>
              <a:gd name="connsiteX46508" fmla="*/ 1321164 w 6884782"/>
              <a:gd name="connsiteY46508" fmla="*/ 1727116 h 5973007"/>
              <a:gd name="connsiteX46509" fmla="*/ 1321783 w 6884782"/>
              <a:gd name="connsiteY46509" fmla="*/ 1724018 h 5973007"/>
              <a:gd name="connsiteX46510" fmla="*/ 1055072 w 6884782"/>
              <a:gd name="connsiteY46510" fmla="*/ 1723709 h 5973007"/>
              <a:gd name="connsiteX46511" fmla="*/ 1056724 w 6884782"/>
              <a:gd name="connsiteY46511" fmla="*/ 1725412 h 5973007"/>
              <a:gd name="connsiteX46512" fmla="*/ 1058376 w 6884782"/>
              <a:gd name="connsiteY46512" fmla="*/ 1726187 h 5973007"/>
              <a:gd name="connsiteX46513" fmla="*/ 1058273 w 6884782"/>
              <a:gd name="connsiteY46513" fmla="*/ 1728665 h 5973007"/>
              <a:gd name="connsiteX46514" fmla="*/ 1056621 w 6884782"/>
              <a:gd name="connsiteY46514" fmla="*/ 1727890 h 5973007"/>
              <a:gd name="connsiteX46515" fmla="*/ 1052388 w 6884782"/>
              <a:gd name="connsiteY46515" fmla="*/ 1724638 h 5973007"/>
              <a:gd name="connsiteX46516" fmla="*/ 1055072 w 6884782"/>
              <a:gd name="connsiteY46516" fmla="*/ 1723709 h 5973007"/>
              <a:gd name="connsiteX46517" fmla="*/ 1600575 w 6884782"/>
              <a:gd name="connsiteY46517" fmla="*/ 1723554 h 5973007"/>
              <a:gd name="connsiteX46518" fmla="*/ 1604602 w 6884782"/>
              <a:gd name="connsiteY46518" fmla="*/ 1730059 h 5973007"/>
              <a:gd name="connsiteX46519" fmla="*/ 1600059 w 6884782"/>
              <a:gd name="connsiteY46519" fmla="*/ 1735325 h 5973007"/>
              <a:gd name="connsiteX46520" fmla="*/ 1592728 w 6884782"/>
              <a:gd name="connsiteY46520" fmla="*/ 1730369 h 5973007"/>
              <a:gd name="connsiteX46521" fmla="*/ 1600575 w 6884782"/>
              <a:gd name="connsiteY46521" fmla="*/ 1723554 h 5973007"/>
              <a:gd name="connsiteX46522" fmla="*/ 3624721 w 6884782"/>
              <a:gd name="connsiteY46522" fmla="*/ 1722876 h 5973007"/>
              <a:gd name="connsiteX46523" fmla="*/ 3617678 w 6884782"/>
              <a:gd name="connsiteY46523" fmla="*/ 1729847 h 5973007"/>
              <a:gd name="connsiteX46524" fmla="*/ 3620026 w 6884782"/>
              <a:gd name="connsiteY46524" fmla="*/ 1729421 h 5973007"/>
              <a:gd name="connsiteX46525" fmla="*/ 3629203 w 6884782"/>
              <a:gd name="connsiteY46525" fmla="*/ 1734400 h 5973007"/>
              <a:gd name="connsiteX46526" fmla="*/ 3632191 w 6884782"/>
              <a:gd name="connsiteY46526" fmla="*/ 1745070 h 5973007"/>
              <a:gd name="connsiteX46527" fmla="*/ 3615544 w 6884782"/>
              <a:gd name="connsiteY46527" fmla="*/ 1752895 h 5973007"/>
              <a:gd name="connsiteX46528" fmla="*/ 3607647 w 6884782"/>
              <a:gd name="connsiteY46528" fmla="*/ 1750334 h 5973007"/>
              <a:gd name="connsiteX46529" fmla="*/ 3607007 w 6884782"/>
              <a:gd name="connsiteY46529" fmla="*/ 1742367 h 5973007"/>
              <a:gd name="connsiteX46530" fmla="*/ 3609995 w 6884782"/>
              <a:gd name="connsiteY46530" fmla="*/ 1735965 h 5973007"/>
              <a:gd name="connsiteX46531" fmla="*/ 3606794 w 6884782"/>
              <a:gd name="connsiteY46531" fmla="*/ 1737815 h 5973007"/>
              <a:gd name="connsiteX46532" fmla="*/ 3598044 w 6884782"/>
              <a:gd name="connsiteY46532" fmla="*/ 1739948 h 5973007"/>
              <a:gd name="connsiteX46533" fmla="*/ 3624721 w 6884782"/>
              <a:gd name="connsiteY46533" fmla="*/ 1722876 h 5973007"/>
              <a:gd name="connsiteX46534" fmla="*/ 1539344 w 6884782"/>
              <a:gd name="connsiteY46534" fmla="*/ 1722779 h 5973007"/>
              <a:gd name="connsiteX46535" fmla="*/ 1549463 w 6884782"/>
              <a:gd name="connsiteY46535" fmla="*/ 1729130 h 5973007"/>
              <a:gd name="connsiteX46536" fmla="*/ 1538311 w 6884782"/>
              <a:gd name="connsiteY46536" fmla="*/ 1726652 h 5973007"/>
              <a:gd name="connsiteX46537" fmla="*/ 1538311 w 6884782"/>
              <a:gd name="connsiteY46537" fmla="*/ 1724792 h 5973007"/>
              <a:gd name="connsiteX46538" fmla="*/ 1539344 w 6884782"/>
              <a:gd name="connsiteY46538" fmla="*/ 1722779 h 5973007"/>
              <a:gd name="connsiteX46539" fmla="*/ 1447136 w 6884782"/>
              <a:gd name="connsiteY46539" fmla="*/ 1722469 h 5973007"/>
              <a:gd name="connsiteX46540" fmla="*/ 1449718 w 6884782"/>
              <a:gd name="connsiteY46540" fmla="*/ 1731299 h 5973007"/>
              <a:gd name="connsiteX46541" fmla="*/ 1439289 w 6884782"/>
              <a:gd name="connsiteY46541" fmla="*/ 1729440 h 5973007"/>
              <a:gd name="connsiteX46542" fmla="*/ 1447136 w 6884782"/>
              <a:gd name="connsiteY46542" fmla="*/ 1722469 h 5973007"/>
              <a:gd name="connsiteX46543" fmla="*/ 5683795 w 6884782"/>
              <a:gd name="connsiteY46543" fmla="*/ 1721880 h 5973007"/>
              <a:gd name="connsiteX46544" fmla="*/ 5702575 w 6884782"/>
              <a:gd name="connsiteY46544" fmla="*/ 1736392 h 5973007"/>
              <a:gd name="connsiteX46545" fmla="*/ 5702789 w 6884782"/>
              <a:gd name="connsiteY46545" fmla="*/ 1749196 h 5973007"/>
              <a:gd name="connsiteX46546" fmla="*/ 5676752 w 6884782"/>
              <a:gd name="connsiteY46546" fmla="*/ 1784905 h 5973007"/>
              <a:gd name="connsiteX46547" fmla="*/ 5675685 w 6884782"/>
              <a:gd name="connsiteY46547" fmla="*/ 1782060 h 5973007"/>
              <a:gd name="connsiteX46548" fmla="*/ 5674618 w 6884782"/>
              <a:gd name="connsiteY46548" fmla="*/ 1782772 h 5973007"/>
              <a:gd name="connsiteX46549" fmla="*/ 5666721 w 6884782"/>
              <a:gd name="connsiteY46549" fmla="*/ 1774946 h 5973007"/>
              <a:gd name="connsiteX46550" fmla="*/ 5668002 w 6884782"/>
              <a:gd name="connsiteY46550" fmla="*/ 1770109 h 5973007"/>
              <a:gd name="connsiteX46551" fmla="*/ 5661813 w 6884782"/>
              <a:gd name="connsiteY46551" fmla="*/ 1765414 h 5973007"/>
              <a:gd name="connsiteX46552" fmla="*/ 5656477 w 6884782"/>
              <a:gd name="connsiteY46552" fmla="*/ 1760008 h 5973007"/>
              <a:gd name="connsiteX46553" fmla="*/ 5653063 w 6884782"/>
              <a:gd name="connsiteY46553" fmla="*/ 1749907 h 5973007"/>
              <a:gd name="connsiteX46554" fmla="*/ 5683795 w 6884782"/>
              <a:gd name="connsiteY46554" fmla="*/ 1721880 h 5973007"/>
              <a:gd name="connsiteX46555" fmla="*/ 1656643 w 6884782"/>
              <a:gd name="connsiteY46555" fmla="*/ 1720455 h 5973007"/>
              <a:gd name="connsiteX46556" fmla="*/ 1639606 w 6884782"/>
              <a:gd name="connsiteY46556" fmla="*/ 1736100 h 5973007"/>
              <a:gd name="connsiteX46557" fmla="*/ 1656643 w 6884782"/>
              <a:gd name="connsiteY46557" fmla="*/ 1720455 h 5973007"/>
              <a:gd name="connsiteX46558" fmla="*/ 1187860 w 6884782"/>
              <a:gd name="connsiteY46558" fmla="*/ 1720146 h 5973007"/>
              <a:gd name="connsiteX46559" fmla="*/ 1219146 w 6884782"/>
              <a:gd name="connsiteY46559" fmla="*/ 1748492 h 5973007"/>
              <a:gd name="connsiteX46560" fmla="*/ 1218114 w 6884782"/>
              <a:gd name="connsiteY46560" fmla="*/ 1749266 h 5973007"/>
              <a:gd name="connsiteX46561" fmla="*/ 1220489 w 6884782"/>
              <a:gd name="connsiteY46561" fmla="*/ 1748956 h 5973007"/>
              <a:gd name="connsiteX46562" fmla="*/ 1224103 w 6884782"/>
              <a:gd name="connsiteY46562" fmla="*/ 1749886 h 5973007"/>
              <a:gd name="connsiteX46563" fmla="*/ 1225652 w 6884782"/>
              <a:gd name="connsiteY46563" fmla="*/ 1751435 h 5973007"/>
              <a:gd name="connsiteX46564" fmla="*/ 1222760 w 6884782"/>
              <a:gd name="connsiteY46564" fmla="*/ 1754378 h 5973007"/>
              <a:gd name="connsiteX46565" fmla="*/ 1214603 w 6884782"/>
              <a:gd name="connsiteY46565" fmla="*/ 1752210 h 5973007"/>
              <a:gd name="connsiteX46566" fmla="*/ 1215429 w 6884782"/>
              <a:gd name="connsiteY46566" fmla="*/ 1751125 h 5973007"/>
              <a:gd name="connsiteX46567" fmla="*/ 1210679 w 6884782"/>
              <a:gd name="connsiteY46567" fmla="*/ 1753758 h 5973007"/>
              <a:gd name="connsiteX46568" fmla="*/ 1207892 w 6884782"/>
              <a:gd name="connsiteY46568" fmla="*/ 1749731 h 5973007"/>
              <a:gd name="connsiteX46569" fmla="*/ 1207169 w 6884782"/>
              <a:gd name="connsiteY46569" fmla="*/ 1750351 h 5973007"/>
              <a:gd name="connsiteX46570" fmla="*/ 1204484 w 6884782"/>
              <a:gd name="connsiteY46570" fmla="*/ 1749576 h 5973007"/>
              <a:gd name="connsiteX46571" fmla="*/ 1205930 w 6884782"/>
              <a:gd name="connsiteY46571" fmla="*/ 1747562 h 5973007"/>
              <a:gd name="connsiteX46572" fmla="*/ 1206343 w 6884782"/>
              <a:gd name="connsiteY46572" fmla="*/ 1747408 h 5973007"/>
              <a:gd name="connsiteX46573" fmla="*/ 1199425 w 6884782"/>
              <a:gd name="connsiteY46573" fmla="*/ 1737339 h 5973007"/>
              <a:gd name="connsiteX46574" fmla="*/ 1199011 w 6884782"/>
              <a:gd name="connsiteY46574" fmla="*/ 1737649 h 5973007"/>
              <a:gd name="connsiteX46575" fmla="*/ 1192506 w 6884782"/>
              <a:gd name="connsiteY46575" fmla="*/ 1731453 h 5973007"/>
              <a:gd name="connsiteX46576" fmla="*/ 1194571 w 6884782"/>
              <a:gd name="connsiteY46576" fmla="*/ 1730214 h 5973007"/>
              <a:gd name="connsiteX46577" fmla="*/ 1185692 w 6884782"/>
              <a:gd name="connsiteY46577" fmla="*/ 1720146 h 5973007"/>
              <a:gd name="connsiteX46578" fmla="*/ 1187963 w 6884782"/>
              <a:gd name="connsiteY46578" fmla="*/ 1721230 h 5973007"/>
              <a:gd name="connsiteX46579" fmla="*/ 1186414 w 6884782"/>
              <a:gd name="connsiteY46579" fmla="*/ 1722469 h 5973007"/>
              <a:gd name="connsiteX46580" fmla="*/ 1181148 w 6884782"/>
              <a:gd name="connsiteY46580" fmla="*/ 1724792 h 5973007"/>
              <a:gd name="connsiteX46581" fmla="*/ 1180425 w 6884782"/>
              <a:gd name="connsiteY46581" fmla="*/ 1723089 h 5973007"/>
              <a:gd name="connsiteX46582" fmla="*/ 1181664 w 6884782"/>
              <a:gd name="connsiteY46582" fmla="*/ 1722159 h 5973007"/>
              <a:gd name="connsiteX46583" fmla="*/ 1184039 w 6884782"/>
              <a:gd name="connsiteY46583" fmla="*/ 1721385 h 5973007"/>
              <a:gd name="connsiteX46584" fmla="*/ 1185692 w 6884782"/>
              <a:gd name="connsiteY46584" fmla="*/ 1720146 h 5973007"/>
              <a:gd name="connsiteX46585" fmla="*/ 4998931 w 6884782"/>
              <a:gd name="connsiteY46585" fmla="*/ 1720031 h 5973007"/>
              <a:gd name="connsiteX46586" fmla="*/ 5004693 w 6884782"/>
              <a:gd name="connsiteY46586" fmla="*/ 1723730 h 5973007"/>
              <a:gd name="connsiteX46587" fmla="*/ 5001492 w 6884782"/>
              <a:gd name="connsiteY46587" fmla="*/ 1727144 h 5973007"/>
              <a:gd name="connsiteX46588" fmla="*/ 4998931 w 6884782"/>
              <a:gd name="connsiteY46588" fmla="*/ 1720031 h 5973007"/>
              <a:gd name="connsiteX46589" fmla="*/ 1310115 w 6884782"/>
              <a:gd name="connsiteY46589" fmla="*/ 1719526 h 5973007"/>
              <a:gd name="connsiteX46590" fmla="*/ 1319408 w 6884782"/>
              <a:gd name="connsiteY46590" fmla="*/ 1733467 h 5973007"/>
              <a:gd name="connsiteX46591" fmla="*/ 1317550 w 6884782"/>
              <a:gd name="connsiteY46591" fmla="*/ 1740282 h 5973007"/>
              <a:gd name="connsiteX46592" fmla="*/ 1320544 w 6884782"/>
              <a:gd name="connsiteY46592" fmla="*/ 1738733 h 5973007"/>
              <a:gd name="connsiteX46593" fmla="*/ 1341402 w 6884782"/>
              <a:gd name="connsiteY46593" fmla="*/ 1757631 h 5973007"/>
              <a:gd name="connsiteX46594" fmla="*/ 1338511 w 6884782"/>
              <a:gd name="connsiteY46594" fmla="*/ 1765066 h 5973007"/>
              <a:gd name="connsiteX46595" fmla="*/ 1333451 w 6884782"/>
              <a:gd name="connsiteY46595" fmla="*/ 1769712 h 5973007"/>
              <a:gd name="connsiteX46596" fmla="*/ 1334484 w 6884782"/>
              <a:gd name="connsiteY46596" fmla="*/ 1770642 h 5973007"/>
              <a:gd name="connsiteX46597" fmla="*/ 1329631 w 6884782"/>
              <a:gd name="connsiteY46597" fmla="*/ 1778077 h 5973007"/>
              <a:gd name="connsiteX46598" fmla="*/ 1322196 w 6884782"/>
              <a:gd name="connsiteY46598" fmla="*/ 1770332 h 5973007"/>
              <a:gd name="connsiteX46599" fmla="*/ 1323848 w 6884782"/>
              <a:gd name="connsiteY46599" fmla="*/ 1767854 h 5973007"/>
              <a:gd name="connsiteX46600" fmla="*/ 1326533 w 6884782"/>
              <a:gd name="connsiteY46600" fmla="*/ 1767079 h 5973007"/>
              <a:gd name="connsiteX46601" fmla="*/ 1324571 w 6884782"/>
              <a:gd name="connsiteY46601" fmla="*/ 1764756 h 5973007"/>
              <a:gd name="connsiteX46602" fmla="*/ 1322403 w 6884782"/>
              <a:gd name="connsiteY46602" fmla="*/ 1763207 h 5973007"/>
              <a:gd name="connsiteX46603" fmla="*/ 1321990 w 6884782"/>
              <a:gd name="connsiteY46603" fmla="*/ 1765066 h 5973007"/>
              <a:gd name="connsiteX46604" fmla="*/ 1321060 w 6884782"/>
              <a:gd name="connsiteY46604" fmla="*/ 1764291 h 5973007"/>
              <a:gd name="connsiteX46605" fmla="*/ 1320957 w 6884782"/>
              <a:gd name="connsiteY46605" fmla="*/ 1764601 h 5973007"/>
              <a:gd name="connsiteX46606" fmla="*/ 1320028 w 6884782"/>
              <a:gd name="connsiteY46606" fmla="*/ 1762742 h 5973007"/>
              <a:gd name="connsiteX46607" fmla="*/ 1320441 w 6884782"/>
              <a:gd name="connsiteY46607" fmla="*/ 1761658 h 5973007"/>
              <a:gd name="connsiteX46608" fmla="*/ 1318375 w 6884782"/>
              <a:gd name="connsiteY46608" fmla="*/ 1759954 h 5973007"/>
              <a:gd name="connsiteX46609" fmla="*/ 1313419 w 6884782"/>
              <a:gd name="connsiteY46609" fmla="*/ 1754843 h 5973007"/>
              <a:gd name="connsiteX46610" fmla="*/ 1311458 w 6884782"/>
              <a:gd name="connsiteY46610" fmla="*/ 1750196 h 5973007"/>
              <a:gd name="connsiteX46611" fmla="*/ 1311251 w 6884782"/>
              <a:gd name="connsiteY46611" fmla="*/ 1750351 h 5973007"/>
              <a:gd name="connsiteX46612" fmla="*/ 1302474 w 6884782"/>
              <a:gd name="connsiteY46612" fmla="*/ 1741677 h 5973007"/>
              <a:gd name="connsiteX46613" fmla="*/ 1302577 w 6884782"/>
              <a:gd name="connsiteY46613" fmla="*/ 1736875 h 5973007"/>
              <a:gd name="connsiteX46614" fmla="*/ 1303507 w 6884782"/>
              <a:gd name="connsiteY46614" fmla="*/ 1730524 h 5973007"/>
              <a:gd name="connsiteX46615" fmla="*/ 1307327 w 6884782"/>
              <a:gd name="connsiteY46615" fmla="*/ 1720455 h 5973007"/>
              <a:gd name="connsiteX46616" fmla="*/ 1310115 w 6884782"/>
              <a:gd name="connsiteY46616" fmla="*/ 1719526 h 5973007"/>
              <a:gd name="connsiteX46617" fmla="*/ 1584983 w 6884782"/>
              <a:gd name="connsiteY46617" fmla="*/ 1719371 h 5973007"/>
              <a:gd name="connsiteX46618" fmla="*/ 1589217 w 6884782"/>
              <a:gd name="connsiteY46618" fmla="*/ 1721385 h 5973007"/>
              <a:gd name="connsiteX46619" fmla="*/ 1583847 w 6884782"/>
              <a:gd name="connsiteY46619" fmla="*/ 1721850 h 5973007"/>
              <a:gd name="connsiteX46620" fmla="*/ 1584983 w 6884782"/>
              <a:gd name="connsiteY46620" fmla="*/ 1719371 h 5973007"/>
              <a:gd name="connsiteX46621" fmla="*/ 1154818 w 6884782"/>
              <a:gd name="connsiteY46621" fmla="*/ 1719371 h 5973007"/>
              <a:gd name="connsiteX46622" fmla="*/ 1155437 w 6884782"/>
              <a:gd name="connsiteY46622" fmla="*/ 1723554 h 5973007"/>
              <a:gd name="connsiteX46623" fmla="*/ 1153579 w 6884782"/>
              <a:gd name="connsiteY46623" fmla="*/ 1724483 h 5973007"/>
              <a:gd name="connsiteX46624" fmla="*/ 1150997 w 6884782"/>
              <a:gd name="connsiteY46624" fmla="*/ 1723709 h 5973007"/>
              <a:gd name="connsiteX46625" fmla="*/ 1150274 w 6884782"/>
              <a:gd name="connsiteY46625" fmla="*/ 1720301 h 5973007"/>
              <a:gd name="connsiteX46626" fmla="*/ 1152030 w 6884782"/>
              <a:gd name="connsiteY46626" fmla="*/ 1719526 h 5973007"/>
              <a:gd name="connsiteX46627" fmla="*/ 1154818 w 6884782"/>
              <a:gd name="connsiteY46627" fmla="*/ 1719371 h 5973007"/>
              <a:gd name="connsiteX46628" fmla="*/ 916193 w 6884782"/>
              <a:gd name="connsiteY46628" fmla="*/ 1719371 h 5973007"/>
              <a:gd name="connsiteX46629" fmla="*/ 918258 w 6884782"/>
              <a:gd name="connsiteY46629" fmla="*/ 1723399 h 5973007"/>
              <a:gd name="connsiteX46630" fmla="*/ 915366 w 6884782"/>
              <a:gd name="connsiteY46630" fmla="*/ 1720301 h 5973007"/>
              <a:gd name="connsiteX46631" fmla="*/ 916193 w 6884782"/>
              <a:gd name="connsiteY46631" fmla="*/ 1719371 h 5973007"/>
              <a:gd name="connsiteX46632" fmla="*/ 1259003 w 6884782"/>
              <a:gd name="connsiteY46632" fmla="*/ 1719062 h 5973007"/>
              <a:gd name="connsiteX46633" fmla="*/ 1263547 w 6884782"/>
              <a:gd name="connsiteY46633" fmla="*/ 1720766 h 5973007"/>
              <a:gd name="connsiteX46634" fmla="*/ 1254254 w 6884782"/>
              <a:gd name="connsiteY46634" fmla="*/ 1730679 h 5973007"/>
              <a:gd name="connsiteX46635" fmla="*/ 1251982 w 6884782"/>
              <a:gd name="connsiteY46635" fmla="*/ 1726652 h 5973007"/>
              <a:gd name="connsiteX46636" fmla="*/ 1259003 w 6884782"/>
              <a:gd name="connsiteY46636" fmla="*/ 1719062 h 5973007"/>
              <a:gd name="connsiteX46637" fmla="*/ 820835 w 6884782"/>
              <a:gd name="connsiteY46637" fmla="*/ 1718984 h 5973007"/>
              <a:gd name="connsiteX46638" fmla="*/ 829044 w 6884782"/>
              <a:gd name="connsiteY46638" fmla="*/ 1720301 h 5973007"/>
              <a:gd name="connsiteX46639" fmla="*/ 829457 w 6884782"/>
              <a:gd name="connsiteY46639" fmla="*/ 1727271 h 5973007"/>
              <a:gd name="connsiteX46640" fmla="*/ 816034 w 6884782"/>
              <a:gd name="connsiteY46640" fmla="*/ 1727426 h 5973007"/>
              <a:gd name="connsiteX46641" fmla="*/ 820835 w 6884782"/>
              <a:gd name="connsiteY46641" fmla="*/ 1718984 h 5973007"/>
              <a:gd name="connsiteX46642" fmla="*/ 3586305 w 6884782"/>
              <a:gd name="connsiteY46642" fmla="*/ 1718324 h 5973007"/>
              <a:gd name="connsiteX46643" fmla="*/ 3591641 w 6884782"/>
              <a:gd name="connsiteY46643" fmla="*/ 1723019 h 5973007"/>
              <a:gd name="connsiteX46644" fmla="*/ 3591001 w 6884782"/>
              <a:gd name="connsiteY46644" fmla="*/ 1745497 h 5973007"/>
              <a:gd name="connsiteX46645" fmla="*/ 3579262 w 6884782"/>
              <a:gd name="connsiteY46645" fmla="*/ 1746351 h 5973007"/>
              <a:gd name="connsiteX46646" fmla="*/ 3586305 w 6884782"/>
              <a:gd name="connsiteY46646" fmla="*/ 1718324 h 5973007"/>
              <a:gd name="connsiteX46647" fmla="*/ 6066243 w 6884782"/>
              <a:gd name="connsiteY46647" fmla="*/ 1718181 h 5973007"/>
              <a:gd name="connsiteX46648" fmla="*/ 6075207 w 6884782"/>
              <a:gd name="connsiteY46648" fmla="*/ 1718608 h 5973007"/>
              <a:gd name="connsiteX46649" fmla="*/ 6076487 w 6884782"/>
              <a:gd name="connsiteY46649" fmla="*/ 1731412 h 5973007"/>
              <a:gd name="connsiteX46650" fmla="*/ 6063042 w 6884782"/>
              <a:gd name="connsiteY46650" fmla="*/ 1728567 h 5973007"/>
              <a:gd name="connsiteX46651" fmla="*/ 6066243 w 6884782"/>
              <a:gd name="connsiteY46651" fmla="*/ 1718181 h 5973007"/>
              <a:gd name="connsiteX46652" fmla="*/ 5078536 w 6884782"/>
              <a:gd name="connsiteY46652" fmla="*/ 1718181 h 5973007"/>
              <a:gd name="connsiteX46653" fmla="*/ 5083018 w 6884782"/>
              <a:gd name="connsiteY46653" fmla="*/ 1718324 h 5973007"/>
              <a:gd name="connsiteX46654" fmla="*/ 5092409 w 6884782"/>
              <a:gd name="connsiteY46654" fmla="*/ 1727571 h 5973007"/>
              <a:gd name="connsiteX46655" fmla="*/ 5092195 w 6884782"/>
              <a:gd name="connsiteY46655" fmla="*/ 1735680 h 5973007"/>
              <a:gd name="connsiteX46656" fmla="*/ 5073841 w 6884782"/>
              <a:gd name="connsiteY46656" fmla="*/ 1747489 h 5973007"/>
              <a:gd name="connsiteX46657" fmla="*/ 5070853 w 6884782"/>
              <a:gd name="connsiteY46657" fmla="*/ 1746351 h 5973007"/>
              <a:gd name="connsiteX46658" fmla="*/ 5065731 w 6884782"/>
              <a:gd name="connsiteY46658" fmla="*/ 1746351 h 5973007"/>
              <a:gd name="connsiteX46659" fmla="*/ 5066158 w 6884782"/>
              <a:gd name="connsiteY46659" fmla="*/ 1730701 h 5973007"/>
              <a:gd name="connsiteX46660" fmla="*/ 5078536 w 6884782"/>
              <a:gd name="connsiteY46660" fmla="*/ 1718181 h 5973007"/>
              <a:gd name="connsiteX46661" fmla="*/ 4768437 w 6884782"/>
              <a:gd name="connsiteY46661" fmla="*/ 1717897 h 5973007"/>
              <a:gd name="connsiteX46662" fmla="*/ 4771425 w 6884782"/>
              <a:gd name="connsiteY46662" fmla="*/ 1718466 h 5973007"/>
              <a:gd name="connsiteX46663" fmla="*/ 4774413 w 6884782"/>
              <a:gd name="connsiteY46663" fmla="*/ 1719177 h 5973007"/>
              <a:gd name="connsiteX46664" fmla="*/ 4776974 w 6884782"/>
              <a:gd name="connsiteY46664" fmla="*/ 1718893 h 5973007"/>
              <a:gd name="connsiteX46665" fmla="*/ 4781029 w 6884782"/>
              <a:gd name="connsiteY46665" fmla="*/ 1721738 h 5973007"/>
              <a:gd name="connsiteX46666" fmla="*/ 4778468 w 6884782"/>
              <a:gd name="connsiteY46666" fmla="*/ 1721880 h 5973007"/>
              <a:gd name="connsiteX46667" fmla="*/ 4775480 w 6884782"/>
              <a:gd name="connsiteY46667" fmla="*/ 1721169 h 5973007"/>
              <a:gd name="connsiteX46668" fmla="*/ 4773560 w 6884782"/>
              <a:gd name="connsiteY46668" fmla="*/ 1722450 h 5973007"/>
              <a:gd name="connsiteX46669" fmla="*/ 4765663 w 6884782"/>
              <a:gd name="connsiteY46669" fmla="*/ 1718039 h 5973007"/>
              <a:gd name="connsiteX46670" fmla="*/ 4768437 w 6884782"/>
              <a:gd name="connsiteY46670" fmla="*/ 1717897 h 5973007"/>
              <a:gd name="connsiteX46671" fmla="*/ 1385699 w 6884782"/>
              <a:gd name="connsiteY46671" fmla="*/ 1717822 h 5973007"/>
              <a:gd name="connsiteX46672" fmla="*/ 1386112 w 6884782"/>
              <a:gd name="connsiteY46672" fmla="*/ 1718597 h 5973007"/>
              <a:gd name="connsiteX46673" fmla="*/ 1388797 w 6884782"/>
              <a:gd name="connsiteY46673" fmla="*/ 1720766 h 5973007"/>
              <a:gd name="connsiteX46674" fmla="*/ 1384976 w 6884782"/>
              <a:gd name="connsiteY46674" fmla="*/ 1723399 h 5973007"/>
              <a:gd name="connsiteX46675" fmla="*/ 1383840 w 6884782"/>
              <a:gd name="connsiteY46675" fmla="*/ 1719991 h 5973007"/>
              <a:gd name="connsiteX46676" fmla="*/ 1385699 w 6884782"/>
              <a:gd name="connsiteY46676" fmla="*/ 1717822 h 5973007"/>
              <a:gd name="connsiteX46677" fmla="*/ 1551218 w 6884782"/>
              <a:gd name="connsiteY46677" fmla="*/ 1717203 h 5973007"/>
              <a:gd name="connsiteX46678" fmla="*/ 1557104 w 6884782"/>
              <a:gd name="connsiteY46678" fmla="*/ 1717822 h 5973007"/>
              <a:gd name="connsiteX46679" fmla="*/ 1563712 w 6884782"/>
              <a:gd name="connsiteY46679" fmla="*/ 1723554 h 5973007"/>
              <a:gd name="connsiteX46680" fmla="*/ 1553180 w 6884782"/>
              <a:gd name="connsiteY46680" fmla="*/ 1722934 h 5973007"/>
              <a:gd name="connsiteX46681" fmla="*/ 1549360 w 6884782"/>
              <a:gd name="connsiteY46681" fmla="*/ 1718907 h 5973007"/>
              <a:gd name="connsiteX46682" fmla="*/ 1551218 w 6884782"/>
              <a:gd name="connsiteY46682" fmla="*/ 1717203 h 5973007"/>
              <a:gd name="connsiteX46683" fmla="*/ 4626300 w 6884782"/>
              <a:gd name="connsiteY46683" fmla="*/ 1717185 h 5973007"/>
              <a:gd name="connsiteX46684" fmla="*/ 4627794 w 6884782"/>
              <a:gd name="connsiteY46684" fmla="*/ 1736534 h 5973007"/>
              <a:gd name="connsiteX46685" fmla="*/ 4626300 w 6884782"/>
              <a:gd name="connsiteY46685" fmla="*/ 1717185 h 5973007"/>
              <a:gd name="connsiteX46686" fmla="*/ 1227200 w 6884782"/>
              <a:gd name="connsiteY46686" fmla="*/ 1717048 h 5973007"/>
              <a:gd name="connsiteX46687" fmla="*/ 1232363 w 6884782"/>
              <a:gd name="connsiteY46687" fmla="*/ 1719526 h 5973007"/>
              <a:gd name="connsiteX46688" fmla="*/ 1230608 w 6884782"/>
              <a:gd name="connsiteY46688" fmla="*/ 1728200 h 5973007"/>
              <a:gd name="connsiteX46689" fmla="*/ 1224929 w 6884782"/>
              <a:gd name="connsiteY46689" fmla="*/ 1722624 h 5973007"/>
              <a:gd name="connsiteX46690" fmla="*/ 1224929 w 6884782"/>
              <a:gd name="connsiteY46690" fmla="*/ 1719991 h 5973007"/>
              <a:gd name="connsiteX46691" fmla="*/ 1227200 w 6884782"/>
              <a:gd name="connsiteY46691" fmla="*/ 1717048 h 5973007"/>
              <a:gd name="connsiteX46692" fmla="*/ 1485857 w 6884782"/>
              <a:gd name="connsiteY46692" fmla="*/ 1716893 h 5973007"/>
              <a:gd name="connsiteX46693" fmla="*/ 1480178 w 6884782"/>
              <a:gd name="connsiteY46693" fmla="*/ 1725102 h 5973007"/>
              <a:gd name="connsiteX46694" fmla="*/ 1483586 w 6884782"/>
              <a:gd name="connsiteY46694" fmla="*/ 1717512 h 5973007"/>
              <a:gd name="connsiteX46695" fmla="*/ 1485857 w 6884782"/>
              <a:gd name="connsiteY46695" fmla="*/ 1716893 h 5973007"/>
              <a:gd name="connsiteX46696" fmla="*/ 944691 w 6884782"/>
              <a:gd name="connsiteY46696" fmla="*/ 1715964 h 5973007"/>
              <a:gd name="connsiteX46697" fmla="*/ 947892 w 6884782"/>
              <a:gd name="connsiteY46697" fmla="*/ 1716273 h 5973007"/>
              <a:gd name="connsiteX46698" fmla="*/ 950164 w 6884782"/>
              <a:gd name="connsiteY46698" fmla="*/ 1719526 h 5973007"/>
              <a:gd name="connsiteX46699" fmla="*/ 950164 w 6884782"/>
              <a:gd name="connsiteY46699" fmla="*/ 1726342 h 5973007"/>
              <a:gd name="connsiteX46700" fmla="*/ 948615 w 6884782"/>
              <a:gd name="connsiteY46700" fmla="*/ 1725877 h 5973007"/>
              <a:gd name="connsiteX46701" fmla="*/ 947583 w 6884782"/>
              <a:gd name="connsiteY46701" fmla="*/ 1734242 h 5973007"/>
              <a:gd name="connsiteX46702" fmla="*/ 943142 w 6884782"/>
              <a:gd name="connsiteY46702" fmla="*/ 1741057 h 5973007"/>
              <a:gd name="connsiteX46703" fmla="*/ 939116 w 6884782"/>
              <a:gd name="connsiteY46703" fmla="*/ 1743690 h 5973007"/>
              <a:gd name="connsiteX46704" fmla="*/ 942729 w 6884782"/>
              <a:gd name="connsiteY46704" fmla="*/ 1744465 h 5973007"/>
              <a:gd name="connsiteX46705" fmla="*/ 955120 w 6884782"/>
              <a:gd name="connsiteY46705" fmla="*/ 1752674 h 5973007"/>
              <a:gd name="connsiteX46706" fmla="*/ 945518 w 6884782"/>
              <a:gd name="connsiteY46706" fmla="*/ 1758560 h 5973007"/>
              <a:gd name="connsiteX46707" fmla="*/ 930029 w 6884782"/>
              <a:gd name="connsiteY46707" fmla="*/ 1747098 h 5973007"/>
              <a:gd name="connsiteX46708" fmla="*/ 930029 w 6884782"/>
              <a:gd name="connsiteY46708" fmla="*/ 1746633 h 5973007"/>
              <a:gd name="connsiteX46709" fmla="*/ 923214 w 6884782"/>
              <a:gd name="connsiteY46709" fmla="*/ 1746478 h 5973007"/>
              <a:gd name="connsiteX46710" fmla="*/ 915676 w 6884782"/>
              <a:gd name="connsiteY46710" fmla="*/ 1744000 h 5973007"/>
              <a:gd name="connsiteX46711" fmla="*/ 914540 w 6884782"/>
              <a:gd name="connsiteY46711" fmla="*/ 1741522 h 5973007"/>
              <a:gd name="connsiteX46712" fmla="*/ 926415 w 6884782"/>
              <a:gd name="connsiteY46712" fmla="*/ 1724018 h 5973007"/>
              <a:gd name="connsiteX46713" fmla="*/ 943349 w 6884782"/>
              <a:gd name="connsiteY46713" fmla="*/ 1722469 h 5973007"/>
              <a:gd name="connsiteX46714" fmla="*/ 944175 w 6884782"/>
              <a:gd name="connsiteY46714" fmla="*/ 1722934 h 5973007"/>
              <a:gd name="connsiteX46715" fmla="*/ 943142 w 6884782"/>
              <a:gd name="connsiteY46715" fmla="*/ 1721850 h 5973007"/>
              <a:gd name="connsiteX46716" fmla="*/ 943246 w 6884782"/>
              <a:gd name="connsiteY46716" fmla="*/ 1719836 h 5973007"/>
              <a:gd name="connsiteX46717" fmla="*/ 944691 w 6884782"/>
              <a:gd name="connsiteY46717" fmla="*/ 1715964 h 5973007"/>
              <a:gd name="connsiteX46718" fmla="*/ 5771937 w 6884782"/>
              <a:gd name="connsiteY46718" fmla="*/ 1715905 h 5973007"/>
              <a:gd name="connsiteX46719" fmla="*/ 5774712 w 6884782"/>
              <a:gd name="connsiteY46719" fmla="*/ 1717185 h 5973007"/>
              <a:gd name="connsiteX46720" fmla="*/ 5764254 w 6884782"/>
              <a:gd name="connsiteY46720" fmla="*/ 1724726 h 5973007"/>
              <a:gd name="connsiteX46721" fmla="*/ 5771937 w 6884782"/>
              <a:gd name="connsiteY46721" fmla="*/ 1715905 h 5973007"/>
              <a:gd name="connsiteX46722" fmla="*/ 1465309 w 6884782"/>
              <a:gd name="connsiteY46722" fmla="*/ 1715654 h 5973007"/>
              <a:gd name="connsiteX46723" fmla="*/ 1466858 w 6884782"/>
              <a:gd name="connsiteY46723" fmla="*/ 1716893 h 5973007"/>
              <a:gd name="connsiteX46724" fmla="*/ 1468097 w 6884782"/>
              <a:gd name="connsiteY46724" fmla="*/ 1719216 h 5973007"/>
              <a:gd name="connsiteX46725" fmla="*/ 1464380 w 6884782"/>
              <a:gd name="connsiteY46725" fmla="*/ 1721695 h 5973007"/>
              <a:gd name="connsiteX46726" fmla="*/ 1462831 w 6884782"/>
              <a:gd name="connsiteY46726" fmla="*/ 1720301 h 5973007"/>
              <a:gd name="connsiteX46727" fmla="*/ 1462521 w 6884782"/>
              <a:gd name="connsiteY46727" fmla="*/ 1717667 h 5973007"/>
              <a:gd name="connsiteX46728" fmla="*/ 1465309 w 6884782"/>
              <a:gd name="connsiteY46728" fmla="*/ 1715654 h 5973007"/>
              <a:gd name="connsiteX46729" fmla="*/ 5161770 w 6884782"/>
              <a:gd name="connsiteY46729" fmla="*/ 1715478 h 5973007"/>
              <a:gd name="connsiteX46730" fmla="*/ 5160703 w 6884782"/>
              <a:gd name="connsiteY46730" fmla="*/ 1740233 h 5973007"/>
              <a:gd name="connsiteX46731" fmla="*/ 5161770 w 6884782"/>
              <a:gd name="connsiteY46731" fmla="*/ 1715478 h 5973007"/>
              <a:gd name="connsiteX46732" fmla="*/ 1041649 w 6884782"/>
              <a:gd name="connsiteY46732" fmla="*/ 1715034 h 5973007"/>
              <a:gd name="connsiteX46733" fmla="*/ 1045986 w 6884782"/>
              <a:gd name="connsiteY46733" fmla="*/ 1715654 h 5973007"/>
              <a:gd name="connsiteX46734" fmla="*/ 1048258 w 6884782"/>
              <a:gd name="connsiteY46734" fmla="*/ 1723089 h 5973007"/>
              <a:gd name="connsiteX46735" fmla="*/ 1044747 w 6884782"/>
              <a:gd name="connsiteY46735" fmla="*/ 1723399 h 5973007"/>
              <a:gd name="connsiteX46736" fmla="*/ 1041029 w 6884782"/>
              <a:gd name="connsiteY46736" fmla="*/ 1717203 h 5973007"/>
              <a:gd name="connsiteX46737" fmla="*/ 1041649 w 6884782"/>
              <a:gd name="connsiteY46737" fmla="*/ 1715034 h 5973007"/>
              <a:gd name="connsiteX46738" fmla="*/ 5868616 w 6884782"/>
              <a:gd name="connsiteY46738" fmla="*/ 1714340 h 5973007"/>
              <a:gd name="connsiteX46739" fmla="*/ 5866482 w 6884782"/>
              <a:gd name="connsiteY46739" fmla="*/ 1725295 h 5973007"/>
              <a:gd name="connsiteX46740" fmla="*/ 5868616 w 6884782"/>
              <a:gd name="connsiteY46740" fmla="*/ 1714340 h 5973007"/>
              <a:gd name="connsiteX46741" fmla="*/ 5448393 w 6884782"/>
              <a:gd name="connsiteY46741" fmla="*/ 1714340 h 5973007"/>
              <a:gd name="connsiteX46742" fmla="*/ 5463973 w 6884782"/>
              <a:gd name="connsiteY46742" fmla="*/ 1720458 h 5973007"/>
              <a:gd name="connsiteX46743" fmla="*/ 5434307 w 6884782"/>
              <a:gd name="connsiteY46743" fmla="*/ 1720315 h 5973007"/>
              <a:gd name="connsiteX46744" fmla="*/ 5448393 w 6884782"/>
              <a:gd name="connsiteY46744" fmla="*/ 1714340 h 5973007"/>
              <a:gd name="connsiteX46745" fmla="*/ 4626940 w 6884782"/>
              <a:gd name="connsiteY46745" fmla="*/ 1714340 h 5973007"/>
              <a:gd name="connsiteX46746" fmla="*/ 4626513 w 6884782"/>
              <a:gd name="connsiteY46746" fmla="*/ 1717185 h 5973007"/>
              <a:gd name="connsiteX46747" fmla="*/ 4625232 w 6884782"/>
              <a:gd name="connsiteY46747" fmla="*/ 1716332 h 5973007"/>
              <a:gd name="connsiteX46748" fmla="*/ 4626940 w 6884782"/>
              <a:gd name="connsiteY46748" fmla="*/ 1714340 h 5973007"/>
              <a:gd name="connsiteX46749" fmla="*/ 3708595 w 6884782"/>
              <a:gd name="connsiteY46749" fmla="*/ 1714198 h 5973007"/>
              <a:gd name="connsiteX46750" fmla="*/ 3725668 w 6884782"/>
              <a:gd name="connsiteY46750" fmla="*/ 1721453 h 5973007"/>
              <a:gd name="connsiteX46751" fmla="*/ 3707528 w 6884782"/>
              <a:gd name="connsiteY46751" fmla="*/ 1749765 h 5973007"/>
              <a:gd name="connsiteX46752" fmla="*/ 3695363 w 6884782"/>
              <a:gd name="connsiteY46752" fmla="*/ 1745355 h 5973007"/>
              <a:gd name="connsiteX46753" fmla="*/ 3708595 w 6884782"/>
              <a:gd name="connsiteY46753" fmla="*/ 1714198 h 5973007"/>
              <a:gd name="connsiteX46754" fmla="*/ 3560482 w 6884782"/>
              <a:gd name="connsiteY46754" fmla="*/ 1714056 h 5973007"/>
              <a:gd name="connsiteX46755" fmla="*/ 3570086 w 6884782"/>
              <a:gd name="connsiteY46755" fmla="*/ 1721169 h 5973007"/>
              <a:gd name="connsiteX46756" fmla="*/ 3544475 w 6884782"/>
              <a:gd name="connsiteY46756" fmla="*/ 1746351 h 5973007"/>
              <a:gd name="connsiteX46757" fmla="*/ 3560482 w 6884782"/>
              <a:gd name="connsiteY46757" fmla="*/ 1714056 h 5973007"/>
              <a:gd name="connsiteX46758" fmla="*/ 4669197 w 6884782"/>
              <a:gd name="connsiteY46758" fmla="*/ 1713629 h 5973007"/>
              <a:gd name="connsiteX46759" fmla="*/ 4674533 w 6884782"/>
              <a:gd name="connsiteY46759" fmla="*/ 1719746 h 5973007"/>
              <a:gd name="connsiteX46760" fmla="*/ 4677521 w 6884782"/>
              <a:gd name="connsiteY46760" fmla="*/ 1719035 h 5973007"/>
              <a:gd name="connsiteX46761" fmla="*/ 4681789 w 6884782"/>
              <a:gd name="connsiteY46761" fmla="*/ 1723019 h 5973007"/>
              <a:gd name="connsiteX46762" fmla="*/ 4677094 w 6884782"/>
              <a:gd name="connsiteY46762" fmla="*/ 1723303 h 5973007"/>
              <a:gd name="connsiteX46763" fmla="*/ 4676667 w 6884782"/>
              <a:gd name="connsiteY46763" fmla="*/ 1723161 h 5973007"/>
              <a:gd name="connsiteX46764" fmla="*/ 4680295 w 6884782"/>
              <a:gd name="connsiteY46764" fmla="*/ 1729421 h 5973007"/>
              <a:gd name="connsiteX46765" fmla="*/ 4685630 w 6884782"/>
              <a:gd name="connsiteY46765" fmla="*/ 1736676 h 5973007"/>
              <a:gd name="connsiteX46766" fmla="*/ 4684990 w 6884782"/>
              <a:gd name="connsiteY46766" fmla="*/ 1739948 h 5973007"/>
              <a:gd name="connsiteX46767" fmla="*/ 4685844 w 6884782"/>
              <a:gd name="connsiteY46767" fmla="*/ 1740945 h 5973007"/>
              <a:gd name="connsiteX46768" fmla="*/ 4684563 w 6884782"/>
              <a:gd name="connsiteY46768" fmla="*/ 1743220 h 5973007"/>
              <a:gd name="connsiteX46769" fmla="*/ 4679655 w 6884782"/>
              <a:gd name="connsiteY46769" fmla="*/ 1737672 h 5973007"/>
              <a:gd name="connsiteX46770" fmla="*/ 4676240 w 6884782"/>
              <a:gd name="connsiteY46770" fmla="*/ 1732551 h 5973007"/>
              <a:gd name="connsiteX46771" fmla="*/ 4669197 w 6884782"/>
              <a:gd name="connsiteY46771" fmla="*/ 1713629 h 5973007"/>
              <a:gd name="connsiteX46772" fmla="*/ 1681734 w 6884782"/>
              <a:gd name="connsiteY46772" fmla="*/ 1713331 h 5973007"/>
              <a:gd name="connsiteX46773" fmla="*/ 1683386 w 6884782"/>
              <a:gd name="connsiteY46773" fmla="*/ 1713640 h 5973007"/>
              <a:gd name="connsiteX46774" fmla="*/ 1684006 w 6884782"/>
              <a:gd name="connsiteY46774" fmla="*/ 1715344 h 5973007"/>
              <a:gd name="connsiteX46775" fmla="*/ 1683490 w 6884782"/>
              <a:gd name="connsiteY46775" fmla="*/ 1718752 h 5973007"/>
              <a:gd name="connsiteX46776" fmla="*/ 1681425 w 6884782"/>
              <a:gd name="connsiteY46776" fmla="*/ 1720301 h 5973007"/>
              <a:gd name="connsiteX46777" fmla="*/ 1679875 w 6884782"/>
              <a:gd name="connsiteY46777" fmla="*/ 1719371 h 5973007"/>
              <a:gd name="connsiteX46778" fmla="*/ 1678120 w 6884782"/>
              <a:gd name="connsiteY46778" fmla="*/ 1719216 h 5973007"/>
              <a:gd name="connsiteX46779" fmla="*/ 1678327 w 6884782"/>
              <a:gd name="connsiteY46779" fmla="*/ 1718287 h 5973007"/>
              <a:gd name="connsiteX46780" fmla="*/ 1677604 w 6884782"/>
              <a:gd name="connsiteY46780" fmla="*/ 1717512 h 5973007"/>
              <a:gd name="connsiteX46781" fmla="*/ 1679875 w 6884782"/>
              <a:gd name="connsiteY46781" fmla="*/ 1714260 h 5973007"/>
              <a:gd name="connsiteX46782" fmla="*/ 1681734 w 6884782"/>
              <a:gd name="connsiteY46782" fmla="*/ 1713331 h 5973007"/>
              <a:gd name="connsiteX46783" fmla="*/ 1515595 w 6884782"/>
              <a:gd name="connsiteY46783" fmla="*/ 1713176 h 5973007"/>
              <a:gd name="connsiteX46784" fmla="*/ 1519209 w 6884782"/>
              <a:gd name="connsiteY46784" fmla="*/ 1713795 h 5973007"/>
              <a:gd name="connsiteX46785" fmla="*/ 1516937 w 6884782"/>
              <a:gd name="connsiteY46785" fmla="*/ 1718907 h 5973007"/>
              <a:gd name="connsiteX46786" fmla="*/ 1514046 w 6884782"/>
              <a:gd name="connsiteY46786" fmla="*/ 1721385 h 5973007"/>
              <a:gd name="connsiteX46787" fmla="*/ 1514459 w 6884782"/>
              <a:gd name="connsiteY46787" fmla="*/ 1721695 h 5973007"/>
              <a:gd name="connsiteX46788" fmla="*/ 1514563 w 6884782"/>
              <a:gd name="connsiteY46788" fmla="*/ 1724173 h 5973007"/>
              <a:gd name="connsiteX46789" fmla="*/ 1509090 w 6884782"/>
              <a:gd name="connsiteY46789" fmla="*/ 1728200 h 5973007"/>
              <a:gd name="connsiteX46790" fmla="*/ 1505786 w 6884782"/>
              <a:gd name="connsiteY46790" fmla="*/ 1731299 h 5973007"/>
              <a:gd name="connsiteX46791" fmla="*/ 1509090 w 6884782"/>
              <a:gd name="connsiteY46791" fmla="*/ 1726342 h 5973007"/>
              <a:gd name="connsiteX46792" fmla="*/ 1508780 w 6884782"/>
              <a:gd name="connsiteY46792" fmla="*/ 1723709 h 5973007"/>
              <a:gd name="connsiteX46793" fmla="*/ 1509916 w 6884782"/>
              <a:gd name="connsiteY46793" fmla="*/ 1722469 h 5973007"/>
              <a:gd name="connsiteX46794" fmla="*/ 1509193 w 6884782"/>
              <a:gd name="connsiteY46794" fmla="*/ 1721695 h 5973007"/>
              <a:gd name="connsiteX46795" fmla="*/ 1507128 w 6884782"/>
              <a:gd name="connsiteY46795" fmla="*/ 1719991 h 5973007"/>
              <a:gd name="connsiteX46796" fmla="*/ 1515595 w 6884782"/>
              <a:gd name="connsiteY46796" fmla="*/ 1713176 h 5973007"/>
              <a:gd name="connsiteX46797" fmla="*/ 697806 w 6884782"/>
              <a:gd name="connsiteY46797" fmla="*/ 1713176 h 5973007"/>
              <a:gd name="connsiteX46798" fmla="*/ 700284 w 6884782"/>
              <a:gd name="connsiteY46798" fmla="*/ 1716738 h 5973007"/>
              <a:gd name="connsiteX46799" fmla="*/ 701110 w 6884782"/>
              <a:gd name="connsiteY46799" fmla="*/ 1716738 h 5973007"/>
              <a:gd name="connsiteX46800" fmla="*/ 702969 w 6884782"/>
              <a:gd name="connsiteY46800" fmla="*/ 1715344 h 5973007"/>
              <a:gd name="connsiteX46801" fmla="*/ 711642 w 6884782"/>
              <a:gd name="connsiteY46801" fmla="*/ 1716273 h 5973007"/>
              <a:gd name="connsiteX46802" fmla="*/ 714017 w 6884782"/>
              <a:gd name="connsiteY46802" fmla="*/ 1725722 h 5973007"/>
              <a:gd name="connsiteX46803" fmla="*/ 711435 w 6884782"/>
              <a:gd name="connsiteY46803" fmla="*/ 1729595 h 5973007"/>
              <a:gd name="connsiteX46804" fmla="*/ 701007 w 6884782"/>
              <a:gd name="connsiteY46804" fmla="*/ 1727736 h 5973007"/>
              <a:gd name="connsiteX46805" fmla="*/ 699355 w 6884782"/>
              <a:gd name="connsiteY46805" fmla="*/ 1718287 h 5973007"/>
              <a:gd name="connsiteX46806" fmla="*/ 697702 w 6884782"/>
              <a:gd name="connsiteY46806" fmla="*/ 1717357 h 5973007"/>
              <a:gd name="connsiteX46807" fmla="*/ 696051 w 6884782"/>
              <a:gd name="connsiteY46807" fmla="*/ 1713795 h 5973007"/>
              <a:gd name="connsiteX46808" fmla="*/ 697806 w 6884782"/>
              <a:gd name="connsiteY46808" fmla="*/ 1713176 h 5973007"/>
              <a:gd name="connsiteX46809" fmla="*/ 4973107 w 6884782"/>
              <a:gd name="connsiteY46809" fmla="*/ 1712633 h 5973007"/>
              <a:gd name="connsiteX46810" fmla="*/ 4989540 w 6884782"/>
              <a:gd name="connsiteY46810" fmla="*/ 1742082 h 5973007"/>
              <a:gd name="connsiteX46811" fmla="*/ 4970973 w 6884782"/>
              <a:gd name="connsiteY46811" fmla="*/ 1719746 h 5973007"/>
              <a:gd name="connsiteX46812" fmla="*/ 4973107 w 6884782"/>
              <a:gd name="connsiteY46812" fmla="*/ 1712633 h 5973007"/>
              <a:gd name="connsiteX46813" fmla="*/ 1278209 w 6884782"/>
              <a:gd name="connsiteY46813" fmla="*/ 1712091 h 5973007"/>
              <a:gd name="connsiteX46814" fmla="*/ 1280584 w 6884782"/>
              <a:gd name="connsiteY46814" fmla="*/ 1712711 h 5973007"/>
              <a:gd name="connsiteX46815" fmla="*/ 1283269 w 6884782"/>
              <a:gd name="connsiteY46815" fmla="*/ 1717203 h 5973007"/>
              <a:gd name="connsiteX46816" fmla="*/ 1280481 w 6884782"/>
              <a:gd name="connsiteY46816" fmla="*/ 1719681 h 5973007"/>
              <a:gd name="connsiteX46817" fmla="*/ 1276867 w 6884782"/>
              <a:gd name="connsiteY46817" fmla="*/ 1720611 h 5973007"/>
              <a:gd name="connsiteX46818" fmla="*/ 1276970 w 6884782"/>
              <a:gd name="connsiteY46818" fmla="*/ 1721230 h 5973007"/>
              <a:gd name="connsiteX46819" fmla="*/ 1277796 w 6884782"/>
              <a:gd name="connsiteY46819" fmla="*/ 1721230 h 5973007"/>
              <a:gd name="connsiteX46820" fmla="*/ 1276763 w 6884782"/>
              <a:gd name="connsiteY46820" fmla="*/ 1722934 h 5973007"/>
              <a:gd name="connsiteX46821" fmla="*/ 1270155 w 6884782"/>
              <a:gd name="connsiteY46821" fmla="*/ 1724948 h 5973007"/>
              <a:gd name="connsiteX46822" fmla="*/ 1269535 w 6884782"/>
              <a:gd name="connsiteY46822" fmla="*/ 1722624 h 5973007"/>
              <a:gd name="connsiteX46823" fmla="*/ 1270878 w 6884782"/>
              <a:gd name="connsiteY46823" fmla="*/ 1720766 h 5973007"/>
              <a:gd name="connsiteX46824" fmla="*/ 1273975 w 6884782"/>
              <a:gd name="connsiteY46824" fmla="*/ 1718907 h 5973007"/>
              <a:gd name="connsiteX46825" fmla="*/ 1275008 w 6884782"/>
              <a:gd name="connsiteY46825" fmla="*/ 1719062 h 5973007"/>
              <a:gd name="connsiteX46826" fmla="*/ 1274285 w 6884782"/>
              <a:gd name="connsiteY46826" fmla="*/ 1718442 h 5973007"/>
              <a:gd name="connsiteX46827" fmla="*/ 1274182 w 6884782"/>
              <a:gd name="connsiteY46827" fmla="*/ 1715034 h 5973007"/>
              <a:gd name="connsiteX46828" fmla="*/ 1275421 w 6884782"/>
              <a:gd name="connsiteY46828" fmla="*/ 1712866 h 5973007"/>
              <a:gd name="connsiteX46829" fmla="*/ 1278209 w 6884782"/>
              <a:gd name="connsiteY46829" fmla="*/ 1712091 h 5973007"/>
              <a:gd name="connsiteX46830" fmla="*/ 1430822 w 6884782"/>
              <a:gd name="connsiteY46830" fmla="*/ 1711936 h 5973007"/>
              <a:gd name="connsiteX46831" fmla="*/ 1437843 w 6884782"/>
              <a:gd name="connsiteY46831" fmla="*/ 1717512 h 5973007"/>
              <a:gd name="connsiteX46832" fmla="*/ 1429996 w 6884782"/>
              <a:gd name="connsiteY46832" fmla="*/ 1717048 h 5973007"/>
              <a:gd name="connsiteX46833" fmla="*/ 1430822 w 6884782"/>
              <a:gd name="connsiteY46833" fmla="*/ 1711936 h 5973007"/>
              <a:gd name="connsiteX46834" fmla="*/ 1073039 w 6884782"/>
              <a:gd name="connsiteY46834" fmla="*/ 1711317 h 5973007"/>
              <a:gd name="connsiteX46835" fmla="*/ 1076033 w 6884782"/>
              <a:gd name="connsiteY46835" fmla="*/ 1718597 h 5973007"/>
              <a:gd name="connsiteX46836" fmla="*/ 1070148 w 6884782"/>
              <a:gd name="connsiteY46836" fmla="*/ 1713485 h 5973007"/>
              <a:gd name="connsiteX46837" fmla="*/ 1070458 w 6884782"/>
              <a:gd name="connsiteY46837" fmla="*/ 1711472 h 5973007"/>
              <a:gd name="connsiteX46838" fmla="*/ 1073039 w 6884782"/>
              <a:gd name="connsiteY46838" fmla="*/ 1711317 h 5973007"/>
              <a:gd name="connsiteX46839" fmla="*/ 1016145 w 6884782"/>
              <a:gd name="connsiteY46839" fmla="*/ 1711317 h 5973007"/>
              <a:gd name="connsiteX46840" fmla="*/ 1019862 w 6884782"/>
              <a:gd name="connsiteY46840" fmla="*/ 1714105 h 5973007"/>
              <a:gd name="connsiteX46841" fmla="*/ 1022547 w 6884782"/>
              <a:gd name="connsiteY46841" fmla="*/ 1714570 h 5973007"/>
              <a:gd name="connsiteX46842" fmla="*/ 1022650 w 6884782"/>
              <a:gd name="connsiteY46842" fmla="*/ 1715344 h 5973007"/>
              <a:gd name="connsiteX46843" fmla="*/ 1012014 w 6884782"/>
              <a:gd name="connsiteY46843" fmla="*/ 1715189 h 5973007"/>
              <a:gd name="connsiteX46844" fmla="*/ 1010879 w 6884782"/>
              <a:gd name="connsiteY46844" fmla="*/ 1713950 h 5973007"/>
              <a:gd name="connsiteX46845" fmla="*/ 1011808 w 6884782"/>
              <a:gd name="connsiteY46845" fmla="*/ 1711781 h 5973007"/>
              <a:gd name="connsiteX46846" fmla="*/ 1016145 w 6884782"/>
              <a:gd name="connsiteY46846" fmla="*/ 1711317 h 5973007"/>
              <a:gd name="connsiteX46847" fmla="*/ 1175675 w 6884782"/>
              <a:gd name="connsiteY46847" fmla="*/ 1710852 h 5973007"/>
              <a:gd name="connsiteX46848" fmla="*/ 1178463 w 6884782"/>
              <a:gd name="connsiteY46848" fmla="*/ 1711317 h 5973007"/>
              <a:gd name="connsiteX46849" fmla="*/ 1181148 w 6884782"/>
              <a:gd name="connsiteY46849" fmla="*/ 1714879 h 5973007"/>
              <a:gd name="connsiteX46850" fmla="*/ 1174230 w 6884782"/>
              <a:gd name="connsiteY46850" fmla="*/ 1717667 h 5973007"/>
              <a:gd name="connsiteX46851" fmla="*/ 1172371 w 6884782"/>
              <a:gd name="connsiteY46851" fmla="*/ 1715654 h 5973007"/>
              <a:gd name="connsiteX46852" fmla="*/ 1175675 w 6884782"/>
              <a:gd name="connsiteY46852" fmla="*/ 1710852 h 5973007"/>
              <a:gd name="connsiteX46853" fmla="*/ 1141395 w 6884782"/>
              <a:gd name="connsiteY46853" fmla="*/ 1710852 h 5973007"/>
              <a:gd name="connsiteX46854" fmla="*/ 1143563 w 6884782"/>
              <a:gd name="connsiteY46854" fmla="*/ 1712711 h 5973007"/>
              <a:gd name="connsiteX46855" fmla="*/ 1139329 w 6884782"/>
              <a:gd name="connsiteY46855" fmla="*/ 1713950 h 5973007"/>
              <a:gd name="connsiteX46856" fmla="*/ 1141395 w 6884782"/>
              <a:gd name="connsiteY46856" fmla="*/ 1710852 h 5973007"/>
              <a:gd name="connsiteX46857" fmla="*/ 803747 w 6884782"/>
              <a:gd name="connsiteY46857" fmla="*/ 1710852 h 5973007"/>
              <a:gd name="connsiteX46858" fmla="*/ 807361 w 6884782"/>
              <a:gd name="connsiteY46858" fmla="*/ 1720611 h 5973007"/>
              <a:gd name="connsiteX46859" fmla="*/ 804160 w 6884782"/>
              <a:gd name="connsiteY46859" fmla="*/ 1722159 h 5973007"/>
              <a:gd name="connsiteX46860" fmla="*/ 798790 w 6884782"/>
              <a:gd name="connsiteY46860" fmla="*/ 1712556 h 5973007"/>
              <a:gd name="connsiteX46861" fmla="*/ 803747 w 6884782"/>
              <a:gd name="connsiteY46861" fmla="*/ 1710852 h 5973007"/>
              <a:gd name="connsiteX46862" fmla="*/ 5216832 w 6884782"/>
              <a:gd name="connsiteY46862" fmla="*/ 1710784 h 5973007"/>
              <a:gd name="connsiteX46863" fmla="*/ 5226223 w 6884782"/>
              <a:gd name="connsiteY46863" fmla="*/ 1717328 h 5973007"/>
              <a:gd name="connsiteX46864" fmla="*/ 5222808 w 6884782"/>
              <a:gd name="connsiteY46864" fmla="*/ 1724299 h 5973007"/>
              <a:gd name="connsiteX46865" fmla="*/ 5211070 w 6884782"/>
              <a:gd name="connsiteY46865" fmla="*/ 1717470 h 5973007"/>
              <a:gd name="connsiteX46866" fmla="*/ 5212991 w 6884782"/>
              <a:gd name="connsiteY46866" fmla="*/ 1712491 h 5973007"/>
              <a:gd name="connsiteX46867" fmla="*/ 5216832 w 6884782"/>
              <a:gd name="connsiteY46867" fmla="*/ 1710784 h 5973007"/>
              <a:gd name="connsiteX46868" fmla="*/ 5314365 w 6884782"/>
              <a:gd name="connsiteY46868" fmla="*/ 1710499 h 5973007"/>
              <a:gd name="connsiteX46869" fmla="*/ 5363238 w 6884782"/>
              <a:gd name="connsiteY46869" fmla="*/ 1736818 h 5973007"/>
              <a:gd name="connsiteX46870" fmla="*/ 5356196 w 6884782"/>
              <a:gd name="connsiteY46870" fmla="*/ 1747204 h 5973007"/>
              <a:gd name="connsiteX46871" fmla="*/ 5307322 w 6884782"/>
              <a:gd name="connsiteY46871" fmla="*/ 1710641 h 5973007"/>
              <a:gd name="connsiteX46872" fmla="*/ 5314365 w 6884782"/>
              <a:gd name="connsiteY46872" fmla="*/ 1710499 h 5973007"/>
              <a:gd name="connsiteX46873" fmla="*/ 1233189 w 6884782"/>
              <a:gd name="connsiteY46873" fmla="*/ 1710388 h 5973007"/>
              <a:gd name="connsiteX46874" fmla="*/ 1234738 w 6884782"/>
              <a:gd name="connsiteY46874" fmla="*/ 1710852 h 5973007"/>
              <a:gd name="connsiteX46875" fmla="*/ 1227200 w 6884782"/>
              <a:gd name="connsiteY46875" fmla="*/ 1714415 h 5973007"/>
              <a:gd name="connsiteX46876" fmla="*/ 1233189 w 6884782"/>
              <a:gd name="connsiteY46876" fmla="*/ 1710388 h 5973007"/>
              <a:gd name="connsiteX46877" fmla="*/ 4698009 w 6884782"/>
              <a:gd name="connsiteY46877" fmla="*/ 1710072 h 5973007"/>
              <a:gd name="connsiteX46878" fmla="*/ 4696301 w 6884782"/>
              <a:gd name="connsiteY46878" fmla="*/ 1713344 h 5973007"/>
              <a:gd name="connsiteX46879" fmla="*/ 4683283 w 6884782"/>
              <a:gd name="connsiteY46879" fmla="*/ 1720885 h 5973007"/>
              <a:gd name="connsiteX46880" fmla="*/ 4698009 w 6884782"/>
              <a:gd name="connsiteY46880" fmla="*/ 1710072 h 5973007"/>
              <a:gd name="connsiteX46881" fmla="*/ 1493292 w 6884782"/>
              <a:gd name="connsiteY46881" fmla="*/ 1709768 h 5973007"/>
              <a:gd name="connsiteX46882" fmla="*/ 1495047 w 6884782"/>
              <a:gd name="connsiteY46882" fmla="*/ 1712556 h 5973007"/>
              <a:gd name="connsiteX46883" fmla="*/ 1494944 w 6884782"/>
              <a:gd name="connsiteY46883" fmla="*/ 1712711 h 5973007"/>
              <a:gd name="connsiteX46884" fmla="*/ 1496493 w 6884782"/>
              <a:gd name="connsiteY46884" fmla="*/ 1713331 h 5973007"/>
              <a:gd name="connsiteX46885" fmla="*/ 1496493 w 6884782"/>
              <a:gd name="connsiteY46885" fmla="*/ 1716428 h 5973007"/>
              <a:gd name="connsiteX46886" fmla="*/ 1503411 w 6884782"/>
              <a:gd name="connsiteY46886" fmla="*/ 1712866 h 5973007"/>
              <a:gd name="connsiteX46887" fmla="*/ 1509090 w 6884782"/>
              <a:gd name="connsiteY46887" fmla="*/ 1711162 h 5973007"/>
              <a:gd name="connsiteX46888" fmla="*/ 1487923 w 6884782"/>
              <a:gd name="connsiteY46888" fmla="*/ 1729904 h 5973007"/>
              <a:gd name="connsiteX46889" fmla="*/ 1487406 w 6884782"/>
              <a:gd name="connsiteY46889" fmla="*/ 1726806 h 5973007"/>
              <a:gd name="connsiteX46890" fmla="*/ 1490297 w 6884782"/>
              <a:gd name="connsiteY46890" fmla="*/ 1721385 h 5973007"/>
              <a:gd name="connsiteX46891" fmla="*/ 1492879 w 6884782"/>
              <a:gd name="connsiteY46891" fmla="*/ 1719371 h 5973007"/>
              <a:gd name="connsiteX46892" fmla="*/ 1492569 w 6884782"/>
              <a:gd name="connsiteY46892" fmla="*/ 1718597 h 5973007"/>
              <a:gd name="connsiteX46893" fmla="*/ 1491536 w 6884782"/>
              <a:gd name="connsiteY46893" fmla="*/ 1713640 h 5973007"/>
              <a:gd name="connsiteX46894" fmla="*/ 1492259 w 6884782"/>
              <a:gd name="connsiteY46894" fmla="*/ 1712246 h 5973007"/>
              <a:gd name="connsiteX46895" fmla="*/ 1492879 w 6884782"/>
              <a:gd name="connsiteY46895" fmla="*/ 1712401 h 5973007"/>
              <a:gd name="connsiteX46896" fmla="*/ 1492775 w 6884782"/>
              <a:gd name="connsiteY46896" fmla="*/ 1712091 h 5973007"/>
              <a:gd name="connsiteX46897" fmla="*/ 1493292 w 6884782"/>
              <a:gd name="connsiteY46897" fmla="*/ 1709768 h 5973007"/>
              <a:gd name="connsiteX46898" fmla="*/ 5108842 w 6884782"/>
              <a:gd name="connsiteY46898" fmla="*/ 1709645 h 5973007"/>
              <a:gd name="connsiteX46899" fmla="*/ 5112470 w 6884782"/>
              <a:gd name="connsiteY46899" fmla="*/ 1711068 h 5973007"/>
              <a:gd name="connsiteX46900" fmla="*/ 5113537 w 6884782"/>
              <a:gd name="connsiteY46900" fmla="*/ 1712206 h 5973007"/>
              <a:gd name="connsiteX46901" fmla="*/ 5114818 w 6884782"/>
              <a:gd name="connsiteY46901" fmla="*/ 1712348 h 5973007"/>
              <a:gd name="connsiteX46902" fmla="*/ 5114818 w 6884782"/>
              <a:gd name="connsiteY46902" fmla="*/ 1713486 h 5973007"/>
              <a:gd name="connsiteX46903" fmla="*/ 5117165 w 6884782"/>
              <a:gd name="connsiteY46903" fmla="*/ 1716047 h 5973007"/>
              <a:gd name="connsiteX46904" fmla="*/ 5118232 w 6884782"/>
              <a:gd name="connsiteY46904" fmla="*/ 1716474 h 5973007"/>
              <a:gd name="connsiteX46905" fmla="*/ 5118659 w 6884782"/>
              <a:gd name="connsiteY46905" fmla="*/ 1716758 h 5973007"/>
              <a:gd name="connsiteX46906" fmla="*/ 5121220 w 6884782"/>
              <a:gd name="connsiteY46906" fmla="*/ 1718324 h 5973007"/>
              <a:gd name="connsiteX46907" fmla="*/ 5124422 w 6884782"/>
              <a:gd name="connsiteY46907" fmla="*/ 1719888 h 5973007"/>
              <a:gd name="connsiteX46908" fmla="*/ 5129330 w 6884782"/>
              <a:gd name="connsiteY46908" fmla="*/ 1727287 h 5973007"/>
              <a:gd name="connsiteX46909" fmla="*/ 5127196 w 6884782"/>
              <a:gd name="connsiteY46909" fmla="*/ 1729563 h 5973007"/>
              <a:gd name="connsiteX46910" fmla="*/ 5129543 w 6884782"/>
              <a:gd name="connsiteY46910" fmla="*/ 1731981 h 5973007"/>
              <a:gd name="connsiteX46911" fmla="*/ 5133172 w 6884782"/>
              <a:gd name="connsiteY46911" fmla="*/ 1738953 h 5973007"/>
              <a:gd name="connsiteX46912" fmla="*/ 5130184 w 6884782"/>
              <a:gd name="connsiteY46912" fmla="*/ 1744928 h 5973007"/>
              <a:gd name="connsiteX46913" fmla="*/ 5132531 w 6884782"/>
              <a:gd name="connsiteY46913" fmla="*/ 1746351 h 5973007"/>
              <a:gd name="connsiteX46914" fmla="*/ 5131891 w 6884782"/>
              <a:gd name="connsiteY46914" fmla="*/ 1753179 h 5973007"/>
              <a:gd name="connsiteX46915" fmla="*/ 5119727 w 6884782"/>
              <a:gd name="connsiteY46915" fmla="*/ 1751614 h 5973007"/>
              <a:gd name="connsiteX46916" fmla="*/ 5120367 w 6884782"/>
              <a:gd name="connsiteY46916" fmla="*/ 1750334 h 5973007"/>
              <a:gd name="connsiteX46917" fmla="*/ 5118872 w 6884782"/>
              <a:gd name="connsiteY46917" fmla="*/ 1750192 h 5973007"/>
              <a:gd name="connsiteX46918" fmla="*/ 5115244 w 6884782"/>
              <a:gd name="connsiteY46918" fmla="*/ 1747916 h 5973007"/>
              <a:gd name="connsiteX46919" fmla="*/ 5112256 w 6884782"/>
              <a:gd name="connsiteY46919" fmla="*/ 1732408 h 5973007"/>
              <a:gd name="connsiteX46920" fmla="*/ 5113751 w 6884782"/>
              <a:gd name="connsiteY46920" fmla="*/ 1731128 h 5973007"/>
              <a:gd name="connsiteX46921" fmla="*/ 5112256 w 6884782"/>
              <a:gd name="connsiteY46921" fmla="*/ 1729563 h 5973007"/>
              <a:gd name="connsiteX46922" fmla="*/ 5112684 w 6884782"/>
              <a:gd name="connsiteY46922" fmla="*/ 1718893 h 5973007"/>
              <a:gd name="connsiteX46923" fmla="*/ 5113537 w 6884782"/>
              <a:gd name="connsiteY46923" fmla="*/ 1718466 h 5973007"/>
              <a:gd name="connsiteX46924" fmla="*/ 5112897 w 6884782"/>
              <a:gd name="connsiteY46924" fmla="*/ 1717755 h 5973007"/>
              <a:gd name="connsiteX46925" fmla="*/ 5108842 w 6884782"/>
              <a:gd name="connsiteY46925" fmla="*/ 1709645 h 5973007"/>
              <a:gd name="connsiteX46926" fmla="*/ 1129727 w 6884782"/>
              <a:gd name="connsiteY46926" fmla="*/ 1709303 h 5973007"/>
              <a:gd name="connsiteX46927" fmla="*/ 1130862 w 6884782"/>
              <a:gd name="connsiteY46927" fmla="*/ 1713485 h 5973007"/>
              <a:gd name="connsiteX46928" fmla="*/ 1129004 w 6884782"/>
              <a:gd name="connsiteY46928" fmla="*/ 1715189 h 5973007"/>
              <a:gd name="connsiteX46929" fmla="*/ 1127042 w 6884782"/>
              <a:gd name="connsiteY46929" fmla="*/ 1713176 h 5973007"/>
              <a:gd name="connsiteX46930" fmla="*/ 1126629 w 6884782"/>
              <a:gd name="connsiteY46930" fmla="*/ 1710542 h 5973007"/>
              <a:gd name="connsiteX46931" fmla="*/ 1127765 w 6884782"/>
              <a:gd name="connsiteY46931" fmla="*/ 1709768 h 5973007"/>
              <a:gd name="connsiteX46932" fmla="*/ 1129727 w 6884782"/>
              <a:gd name="connsiteY46932" fmla="*/ 1709303 h 5973007"/>
              <a:gd name="connsiteX46933" fmla="*/ 1466548 w 6884782"/>
              <a:gd name="connsiteY46933" fmla="*/ 1709148 h 5973007"/>
              <a:gd name="connsiteX46934" fmla="*/ 1471092 w 6884782"/>
              <a:gd name="connsiteY46934" fmla="*/ 1709613 h 5973007"/>
              <a:gd name="connsiteX46935" fmla="*/ 1478630 w 6884782"/>
              <a:gd name="connsiteY46935" fmla="*/ 1715654 h 5973007"/>
              <a:gd name="connsiteX46936" fmla="*/ 1472228 w 6884782"/>
              <a:gd name="connsiteY46936" fmla="*/ 1719991 h 5973007"/>
              <a:gd name="connsiteX46937" fmla="*/ 1471092 w 6884782"/>
              <a:gd name="connsiteY46937" fmla="*/ 1719371 h 5973007"/>
              <a:gd name="connsiteX46938" fmla="*/ 1463657 w 6884782"/>
              <a:gd name="connsiteY46938" fmla="*/ 1711472 h 5973007"/>
              <a:gd name="connsiteX46939" fmla="*/ 1466548 w 6884782"/>
              <a:gd name="connsiteY46939" fmla="*/ 1709148 h 5973007"/>
              <a:gd name="connsiteX46940" fmla="*/ 5178417 w 6884782"/>
              <a:gd name="connsiteY46940" fmla="*/ 1708934 h 5973007"/>
              <a:gd name="connsiteX46941" fmla="*/ 5183112 w 6884782"/>
              <a:gd name="connsiteY46941" fmla="*/ 1736534 h 5973007"/>
              <a:gd name="connsiteX46942" fmla="*/ 5179910 w 6884782"/>
              <a:gd name="connsiteY46942" fmla="*/ 1730274 h 5973007"/>
              <a:gd name="connsiteX46943" fmla="*/ 5178844 w 6884782"/>
              <a:gd name="connsiteY46943" fmla="*/ 1727856 h 5973007"/>
              <a:gd name="connsiteX46944" fmla="*/ 5179057 w 6884782"/>
              <a:gd name="connsiteY46944" fmla="*/ 1730843 h 5973007"/>
              <a:gd name="connsiteX46945" fmla="*/ 5171801 w 6884782"/>
              <a:gd name="connsiteY46945" fmla="*/ 1731412 h 5973007"/>
              <a:gd name="connsiteX46946" fmla="*/ 5172654 w 6884782"/>
              <a:gd name="connsiteY46946" fmla="*/ 1722876 h 5973007"/>
              <a:gd name="connsiteX46947" fmla="*/ 5176282 w 6884782"/>
              <a:gd name="connsiteY46947" fmla="*/ 1722450 h 5973007"/>
              <a:gd name="connsiteX46948" fmla="*/ 5176709 w 6884782"/>
              <a:gd name="connsiteY46948" fmla="*/ 1722592 h 5973007"/>
              <a:gd name="connsiteX46949" fmla="*/ 5177136 w 6884782"/>
              <a:gd name="connsiteY46949" fmla="*/ 1716474 h 5973007"/>
              <a:gd name="connsiteX46950" fmla="*/ 5178417 w 6884782"/>
              <a:gd name="connsiteY46950" fmla="*/ 1708934 h 5973007"/>
              <a:gd name="connsiteX46951" fmla="*/ 6129415 w 6884782"/>
              <a:gd name="connsiteY46951" fmla="*/ 1708649 h 5973007"/>
              <a:gd name="connsiteX46952" fmla="*/ 6136031 w 6884782"/>
              <a:gd name="connsiteY46952" fmla="*/ 1712064 h 5973007"/>
              <a:gd name="connsiteX46953" fmla="*/ 6126214 w 6884782"/>
              <a:gd name="connsiteY46953" fmla="*/ 1729989 h 5973007"/>
              <a:gd name="connsiteX46954" fmla="*/ 6116610 w 6884782"/>
              <a:gd name="connsiteY46954" fmla="*/ 1724299 h 5973007"/>
              <a:gd name="connsiteX46955" fmla="*/ 6129415 w 6884782"/>
              <a:gd name="connsiteY46955" fmla="*/ 1708649 h 5973007"/>
              <a:gd name="connsiteX46956" fmla="*/ 4625446 w 6884782"/>
              <a:gd name="connsiteY46956" fmla="*/ 1708649 h 5973007"/>
              <a:gd name="connsiteX46957" fmla="*/ 4625019 w 6884782"/>
              <a:gd name="connsiteY46957" fmla="*/ 1711495 h 5973007"/>
              <a:gd name="connsiteX46958" fmla="*/ 4624379 w 6884782"/>
              <a:gd name="connsiteY46958" fmla="*/ 1708934 h 5973007"/>
              <a:gd name="connsiteX46959" fmla="*/ 4625446 w 6884782"/>
              <a:gd name="connsiteY46959" fmla="*/ 1708649 h 5973007"/>
              <a:gd name="connsiteX46960" fmla="*/ 1392824 w 6884782"/>
              <a:gd name="connsiteY46960" fmla="*/ 1708374 h 5973007"/>
              <a:gd name="connsiteX46961" fmla="*/ 1395714 w 6884782"/>
              <a:gd name="connsiteY46961" fmla="*/ 1714105 h 5973007"/>
              <a:gd name="connsiteX46962" fmla="*/ 1389519 w 6884782"/>
              <a:gd name="connsiteY46962" fmla="*/ 1714570 h 5973007"/>
              <a:gd name="connsiteX46963" fmla="*/ 1388900 w 6884782"/>
              <a:gd name="connsiteY46963" fmla="*/ 1711936 h 5973007"/>
              <a:gd name="connsiteX46964" fmla="*/ 1392824 w 6884782"/>
              <a:gd name="connsiteY46964" fmla="*/ 1708374 h 5973007"/>
              <a:gd name="connsiteX46965" fmla="*/ 1155747 w 6884782"/>
              <a:gd name="connsiteY46965" fmla="*/ 1708219 h 5973007"/>
              <a:gd name="connsiteX46966" fmla="*/ 1157090 w 6884782"/>
              <a:gd name="connsiteY46966" fmla="*/ 1715809 h 5973007"/>
              <a:gd name="connsiteX46967" fmla="*/ 1156160 w 6884782"/>
              <a:gd name="connsiteY46967" fmla="*/ 1716583 h 5973007"/>
              <a:gd name="connsiteX46968" fmla="*/ 1145938 w 6884782"/>
              <a:gd name="connsiteY46968" fmla="*/ 1720146 h 5973007"/>
              <a:gd name="connsiteX46969" fmla="*/ 1144802 w 6884782"/>
              <a:gd name="connsiteY46969" fmla="*/ 1716583 h 5973007"/>
              <a:gd name="connsiteX46970" fmla="*/ 1147177 w 6884782"/>
              <a:gd name="connsiteY46970" fmla="*/ 1712711 h 5973007"/>
              <a:gd name="connsiteX46971" fmla="*/ 1155747 w 6884782"/>
              <a:gd name="connsiteY46971" fmla="*/ 1708219 h 5973007"/>
              <a:gd name="connsiteX46972" fmla="*/ 1492053 w 6884782"/>
              <a:gd name="connsiteY46972" fmla="*/ 1707754 h 5973007"/>
              <a:gd name="connsiteX46973" fmla="*/ 1492982 w 6884782"/>
              <a:gd name="connsiteY46973" fmla="*/ 1709148 h 5973007"/>
              <a:gd name="connsiteX46974" fmla="*/ 1492362 w 6884782"/>
              <a:gd name="connsiteY46974" fmla="*/ 1709613 h 5973007"/>
              <a:gd name="connsiteX46975" fmla="*/ 1491743 w 6884782"/>
              <a:gd name="connsiteY46975" fmla="*/ 1708528 h 5973007"/>
              <a:gd name="connsiteX46976" fmla="*/ 1492053 w 6884782"/>
              <a:gd name="connsiteY46976" fmla="*/ 1707754 h 5973007"/>
              <a:gd name="connsiteX46977" fmla="*/ 5088994 w 6884782"/>
              <a:gd name="connsiteY46977" fmla="*/ 1707654 h 5973007"/>
              <a:gd name="connsiteX46978" fmla="*/ 5091555 w 6884782"/>
              <a:gd name="connsiteY46978" fmla="*/ 1707654 h 5973007"/>
              <a:gd name="connsiteX46979" fmla="*/ 5094543 w 6884782"/>
              <a:gd name="connsiteY46979" fmla="*/ 1708364 h 5973007"/>
              <a:gd name="connsiteX46980" fmla="*/ 5097744 w 6884782"/>
              <a:gd name="connsiteY46980" fmla="*/ 1709076 h 5973007"/>
              <a:gd name="connsiteX46981" fmla="*/ 5100305 w 6884782"/>
              <a:gd name="connsiteY46981" fmla="*/ 1708934 h 5973007"/>
              <a:gd name="connsiteX46982" fmla="*/ 5104787 w 6884782"/>
              <a:gd name="connsiteY46982" fmla="*/ 1711779 h 5973007"/>
              <a:gd name="connsiteX46983" fmla="*/ 5102439 w 6884782"/>
              <a:gd name="connsiteY46983" fmla="*/ 1711921 h 5973007"/>
              <a:gd name="connsiteX46984" fmla="*/ 5099238 w 6884782"/>
              <a:gd name="connsiteY46984" fmla="*/ 1711210 h 5973007"/>
              <a:gd name="connsiteX46985" fmla="*/ 5097317 w 6884782"/>
              <a:gd name="connsiteY46985" fmla="*/ 1712348 h 5973007"/>
              <a:gd name="connsiteX46986" fmla="*/ 5088994 w 6884782"/>
              <a:gd name="connsiteY46986" fmla="*/ 1707654 h 5973007"/>
              <a:gd name="connsiteX46987" fmla="*/ 4717430 w 6884782"/>
              <a:gd name="connsiteY46987" fmla="*/ 1706942 h 5973007"/>
              <a:gd name="connsiteX46988" fmla="*/ 4719138 w 6884782"/>
              <a:gd name="connsiteY46988" fmla="*/ 1708080 h 5973007"/>
              <a:gd name="connsiteX46989" fmla="*/ 4722766 w 6884782"/>
              <a:gd name="connsiteY46989" fmla="*/ 1714198 h 5973007"/>
              <a:gd name="connsiteX46990" fmla="*/ 4743894 w 6884782"/>
              <a:gd name="connsiteY46990" fmla="*/ 1716332 h 5973007"/>
              <a:gd name="connsiteX46991" fmla="*/ 4743254 w 6884782"/>
              <a:gd name="connsiteY46991" fmla="*/ 1728282 h 5973007"/>
              <a:gd name="connsiteX46992" fmla="*/ 4740906 w 6884782"/>
              <a:gd name="connsiteY46992" fmla="*/ 1730701 h 5973007"/>
              <a:gd name="connsiteX46993" fmla="*/ 4743680 w 6884782"/>
              <a:gd name="connsiteY46993" fmla="*/ 1731128 h 5973007"/>
              <a:gd name="connsiteX46994" fmla="*/ 4735997 w 6884782"/>
              <a:gd name="connsiteY46994" fmla="*/ 1753037 h 5973007"/>
              <a:gd name="connsiteX46995" fmla="*/ 4734077 w 6884782"/>
              <a:gd name="connsiteY46995" fmla="*/ 1754745 h 5973007"/>
              <a:gd name="connsiteX46996" fmla="*/ 4731302 w 6884782"/>
              <a:gd name="connsiteY46996" fmla="*/ 1753606 h 5973007"/>
              <a:gd name="connsiteX46997" fmla="*/ 4730022 w 6884782"/>
              <a:gd name="connsiteY46997" fmla="*/ 1749907 h 5973007"/>
              <a:gd name="connsiteX46998" fmla="*/ 4729168 w 6884782"/>
              <a:gd name="connsiteY46998" fmla="*/ 1750334 h 5973007"/>
              <a:gd name="connsiteX46999" fmla="*/ 4729168 w 6884782"/>
              <a:gd name="connsiteY46999" fmla="*/ 1750619 h 5973007"/>
              <a:gd name="connsiteX47000" fmla="*/ 4724900 w 6884782"/>
              <a:gd name="connsiteY47000" fmla="*/ 1760720 h 5973007"/>
              <a:gd name="connsiteX47001" fmla="*/ 4723833 w 6884782"/>
              <a:gd name="connsiteY47001" fmla="*/ 1763138 h 5973007"/>
              <a:gd name="connsiteX47002" fmla="*/ 4720418 w 6884782"/>
              <a:gd name="connsiteY47002" fmla="*/ 1762996 h 5973007"/>
              <a:gd name="connsiteX47003" fmla="*/ 4720631 w 6884782"/>
              <a:gd name="connsiteY47003" fmla="*/ 1754175 h 5973007"/>
              <a:gd name="connsiteX47004" fmla="*/ 4713588 w 6884782"/>
              <a:gd name="connsiteY47004" fmla="*/ 1753748 h 5973007"/>
              <a:gd name="connsiteX47005" fmla="*/ 4720845 w 6884782"/>
              <a:gd name="connsiteY47005" fmla="*/ 1732408 h 5973007"/>
              <a:gd name="connsiteX47006" fmla="*/ 4721271 w 6884782"/>
              <a:gd name="connsiteY47006" fmla="*/ 1731839 h 5973007"/>
              <a:gd name="connsiteX47007" fmla="*/ 4720845 w 6884782"/>
              <a:gd name="connsiteY47007" fmla="*/ 1731697 h 5973007"/>
              <a:gd name="connsiteX47008" fmla="*/ 4715509 w 6884782"/>
              <a:gd name="connsiteY47008" fmla="*/ 1734258 h 5973007"/>
              <a:gd name="connsiteX47009" fmla="*/ 4712735 w 6884782"/>
              <a:gd name="connsiteY47009" fmla="*/ 1716616 h 5973007"/>
              <a:gd name="connsiteX47010" fmla="*/ 4713375 w 6884782"/>
              <a:gd name="connsiteY47010" fmla="*/ 1714056 h 5973007"/>
              <a:gd name="connsiteX47011" fmla="*/ 4712308 w 6884782"/>
              <a:gd name="connsiteY47011" fmla="*/ 1714056 h 5973007"/>
              <a:gd name="connsiteX47012" fmla="*/ 4713375 w 6884782"/>
              <a:gd name="connsiteY47012" fmla="*/ 1712917 h 5973007"/>
              <a:gd name="connsiteX47013" fmla="*/ 4713375 w 6884782"/>
              <a:gd name="connsiteY47013" fmla="*/ 1712633 h 5973007"/>
              <a:gd name="connsiteX47014" fmla="*/ 4713375 w 6884782"/>
              <a:gd name="connsiteY47014" fmla="*/ 1711352 h 5973007"/>
              <a:gd name="connsiteX47015" fmla="*/ 4716150 w 6884782"/>
              <a:gd name="connsiteY47015" fmla="*/ 1707511 h 5973007"/>
              <a:gd name="connsiteX47016" fmla="*/ 4717430 w 6884782"/>
              <a:gd name="connsiteY47016" fmla="*/ 1706942 h 5973007"/>
              <a:gd name="connsiteX47017" fmla="*/ 3587373 w 6884782"/>
              <a:gd name="connsiteY47017" fmla="*/ 1706800 h 5973007"/>
              <a:gd name="connsiteX47018" fmla="*/ 3587586 w 6884782"/>
              <a:gd name="connsiteY47018" fmla="*/ 1716901 h 5973007"/>
              <a:gd name="connsiteX47019" fmla="*/ 3576915 w 6884782"/>
              <a:gd name="connsiteY47019" fmla="*/ 1719320 h 5973007"/>
              <a:gd name="connsiteX47020" fmla="*/ 3587373 w 6884782"/>
              <a:gd name="connsiteY47020" fmla="*/ 1706800 h 5973007"/>
              <a:gd name="connsiteX47021" fmla="*/ 1524475 w 6884782"/>
              <a:gd name="connsiteY47021" fmla="*/ 1706670 h 5973007"/>
              <a:gd name="connsiteX47022" fmla="*/ 1525404 w 6884782"/>
              <a:gd name="connsiteY47022" fmla="*/ 1709768 h 5973007"/>
              <a:gd name="connsiteX47023" fmla="*/ 1523752 w 6884782"/>
              <a:gd name="connsiteY47023" fmla="*/ 1706980 h 5973007"/>
              <a:gd name="connsiteX47024" fmla="*/ 1524475 w 6884782"/>
              <a:gd name="connsiteY47024" fmla="*/ 1706670 h 5973007"/>
              <a:gd name="connsiteX47025" fmla="*/ 3668899 w 6884782"/>
              <a:gd name="connsiteY47025" fmla="*/ 1706657 h 5973007"/>
              <a:gd name="connsiteX47026" fmla="*/ 3670393 w 6884782"/>
              <a:gd name="connsiteY47026" fmla="*/ 1709219 h 5973007"/>
              <a:gd name="connsiteX47027" fmla="*/ 3676795 w 6884782"/>
              <a:gd name="connsiteY47027" fmla="*/ 1710499 h 5973007"/>
              <a:gd name="connsiteX47028" fmla="*/ 3682344 w 6884782"/>
              <a:gd name="connsiteY47028" fmla="*/ 1715336 h 5973007"/>
              <a:gd name="connsiteX47029" fmla="*/ 3683838 w 6884782"/>
              <a:gd name="connsiteY47029" fmla="*/ 1723303 h 5973007"/>
              <a:gd name="connsiteX47030" fmla="*/ 3678716 w 6884782"/>
              <a:gd name="connsiteY47030" fmla="*/ 1727714 h 5973007"/>
              <a:gd name="connsiteX47031" fmla="*/ 3679356 w 6884782"/>
              <a:gd name="connsiteY47031" fmla="*/ 1731128 h 5973007"/>
              <a:gd name="connsiteX47032" fmla="*/ 3674875 w 6884782"/>
              <a:gd name="connsiteY47032" fmla="*/ 1738241 h 5973007"/>
              <a:gd name="connsiteX47033" fmla="*/ 3671673 w 6884782"/>
              <a:gd name="connsiteY47033" fmla="*/ 1731128 h 5973007"/>
              <a:gd name="connsiteX47034" fmla="*/ 3671033 w 6884782"/>
              <a:gd name="connsiteY47034" fmla="*/ 1729705 h 5973007"/>
              <a:gd name="connsiteX47035" fmla="*/ 3670820 w 6884782"/>
              <a:gd name="connsiteY47035" fmla="*/ 1729705 h 5973007"/>
              <a:gd name="connsiteX47036" fmla="*/ 3668472 w 6884782"/>
              <a:gd name="connsiteY47036" fmla="*/ 1728282 h 5973007"/>
              <a:gd name="connsiteX47037" fmla="*/ 3665057 w 6884782"/>
              <a:gd name="connsiteY47037" fmla="*/ 1718324 h 5973007"/>
              <a:gd name="connsiteX47038" fmla="*/ 3666338 w 6884782"/>
              <a:gd name="connsiteY47038" fmla="*/ 1716190 h 5973007"/>
              <a:gd name="connsiteX47039" fmla="*/ 3665697 w 6884782"/>
              <a:gd name="connsiteY47039" fmla="*/ 1712633 h 5973007"/>
              <a:gd name="connsiteX47040" fmla="*/ 3668899 w 6884782"/>
              <a:gd name="connsiteY47040" fmla="*/ 1706657 h 5973007"/>
              <a:gd name="connsiteX47041" fmla="*/ 1770535 w 6884782"/>
              <a:gd name="connsiteY47041" fmla="*/ 1706515 h 5973007"/>
              <a:gd name="connsiteX47042" fmla="*/ 1774871 w 6884782"/>
              <a:gd name="connsiteY47042" fmla="*/ 1710852 h 5973007"/>
              <a:gd name="connsiteX47043" fmla="*/ 1774355 w 6884782"/>
              <a:gd name="connsiteY47043" fmla="*/ 1717203 h 5973007"/>
              <a:gd name="connsiteX47044" fmla="*/ 1764339 w 6884782"/>
              <a:gd name="connsiteY47044" fmla="*/ 1713640 h 5973007"/>
              <a:gd name="connsiteX47045" fmla="*/ 1770535 w 6884782"/>
              <a:gd name="connsiteY47045" fmla="*/ 1706515 h 5973007"/>
              <a:gd name="connsiteX47046" fmla="*/ 1441664 w 6884782"/>
              <a:gd name="connsiteY47046" fmla="*/ 1706515 h 5973007"/>
              <a:gd name="connsiteX47047" fmla="*/ 1448582 w 6884782"/>
              <a:gd name="connsiteY47047" fmla="*/ 1709768 h 5973007"/>
              <a:gd name="connsiteX47048" fmla="*/ 1448582 w 6884782"/>
              <a:gd name="connsiteY47048" fmla="*/ 1711781 h 5973007"/>
              <a:gd name="connsiteX47049" fmla="*/ 1447136 w 6884782"/>
              <a:gd name="connsiteY47049" fmla="*/ 1715964 h 5973007"/>
              <a:gd name="connsiteX47050" fmla="*/ 1443935 w 6884782"/>
              <a:gd name="connsiteY47050" fmla="*/ 1716119 h 5973007"/>
              <a:gd name="connsiteX47051" fmla="*/ 1441664 w 6884782"/>
              <a:gd name="connsiteY47051" fmla="*/ 1713331 h 5973007"/>
              <a:gd name="connsiteX47052" fmla="*/ 1441354 w 6884782"/>
              <a:gd name="connsiteY47052" fmla="*/ 1709768 h 5973007"/>
              <a:gd name="connsiteX47053" fmla="*/ 1441664 w 6884782"/>
              <a:gd name="connsiteY47053" fmla="*/ 1706515 h 5973007"/>
              <a:gd name="connsiteX47054" fmla="*/ 5637909 w 6884782"/>
              <a:gd name="connsiteY47054" fmla="*/ 1706231 h 5973007"/>
              <a:gd name="connsiteX47055" fmla="*/ 5658611 w 6884782"/>
              <a:gd name="connsiteY47055" fmla="*/ 1725437 h 5973007"/>
              <a:gd name="connsiteX47056" fmla="*/ 5621903 w 6884782"/>
              <a:gd name="connsiteY47056" fmla="*/ 1732124 h 5973007"/>
              <a:gd name="connsiteX47057" fmla="*/ 5618062 w 6884782"/>
              <a:gd name="connsiteY47057" fmla="*/ 1722022 h 5973007"/>
              <a:gd name="connsiteX47058" fmla="*/ 5620195 w 6884782"/>
              <a:gd name="connsiteY47058" fmla="*/ 1715478 h 5973007"/>
              <a:gd name="connsiteX47059" fmla="*/ 5619769 w 6884782"/>
              <a:gd name="connsiteY47059" fmla="*/ 1714625 h 5973007"/>
              <a:gd name="connsiteX47060" fmla="*/ 5620409 w 6884782"/>
              <a:gd name="connsiteY47060" fmla="*/ 1714340 h 5973007"/>
              <a:gd name="connsiteX47061" fmla="*/ 5620836 w 6884782"/>
              <a:gd name="connsiteY47061" fmla="*/ 1713629 h 5973007"/>
              <a:gd name="connsiteX47062" fmla="*/ 5637909 w 6884782"/>
              <a:gd name="connsiteY47062" fmla="*/ 1706231 h 5973007"/>
              <a:gd name="connsiteX47063" fmla="*/ 1190235 w 6884782"/>
              <a:gd name="connsiteY47063" fmla="*/ 1705895 h 5973007"/>
              <a:gd name="connsiteX47064" fmla="*/ 1196327 w 6884782"/>
              <a:gd name="connsiteY47064" fmla="*/ 1713331 h 5973007"/>
              <a:gd name="connsiteX47065" fmla="*/ 1196120 w 6884782"/>
              <a:gd name="connsiteY47065" fmla="*/ 1714415 h 5973007"/>
              <a:gd name="connsiteX47066" fmla="*/ 1197050 w 6884782"/>
              <a:gd name="connsiteY47066" fmla="*/ 1716583 h 5973007"/>
              <a:gd name="connsiteX47067" fmla="*/ 1194674 w 6884782"/>
              <a:gd name="connsiteY47067" fmla="*/ 1719062 h 5973007"/>
              <a:gd name="connsiteX47068" fmla="*/ 1186207 w 6884782"/>
              <a:gd name="connsiteY47068" fmla="*/ 1711936 h 5973007"/>
              <a:gd name="connsiteX47069" fmla="*/ 1189925 w 6884782"/>
              <a:gd name="connsiteY47069" fmla="*/ 1708528 h 5973007"/>
              <a:gd name="connsiteX47070" fmla="*/ 1190028 w 6884782"/>
              <a:gd name="connsiteY47070" fmla="*/ 1708528 h 5973007"/>
              <a:gd name="connsiteX47071" fmla="*/ 6228869 w 6884782"/>
              <a:gd name="connsiteY47071" fmla="*/ 1705804 h 5973007"/>
              <a:gd name="connsiteX47072" fmla="*/ 6231643 w 6884782"/>
              <a:gd name="connsiteY47072" fmla="*/ 1726575 h 5973007"/>
              <a:gd name="connsiteX47073" fmla="*/ 6220119 w 6884782"/>
              <a:gd name="connsiteY47073" fmla="*/ 1725010 h 5973007"/>
              <a:gd name="connsiteX47074" fmla="*/ 6224174 w 6884782"/>
              <a:gd name="connsiteY47074" fmla="*/ 1706089 h 5973007"/>
              <a:gd name="connsiteX47075" fmla="*/ 6228869 w 6884782"/>
              <a:gd name="connsiteY47075" fmla="*/ 1705804 h 5973007"/>
              <a:gd name="connsiteX47076" fmla="*/ 5869043 w 6884782"/>
              <a:gd name="connsiteY47076" fmla="*/ 1705662 h 5973007"/>
              <a:gd name="connsiteX47077" fmla="*/ 5869470 w 6884782"/>
              <a:gd name="connsiteY47077" fmla="*/ 1706515 h 5973007"/>
              <a:gd name="connsiteX47078" fmla="*/ 5867976 w 6884782"/>
              <a:gd name="connsiteY47078" fmla="*/ 1711068 h 5973007"/>
              <a:gd name="connsiteX47079" fmla="*/ 5868403 w 6884782"/>
              <a:gd name="connsiteY47079" fmla="*/ 1706515 h 5973007"/>
              <a:gd name="connsiteX47080" fmla="*/ 5869043 w 6884782"/>
              <a:gd name="connsiteY47080" fmla="*/ 1705662 h 5973007"/>
              <a:gd name="connsiteX47081" fmla="*/ 5695533 w 6884782"/>
              <a:gd name="connsiteY47081" fmla="*/ 1705377 h 5973007"/>
              <a:gd name="connsiteX47082" fmla="*/ 5697880 w 6884782"/>
              <a:gd name="connsiteY47082" fmla="*/ 1709219 h 5973007"/>
              <a:gd name="connsiteX47083" fmla="*/ 5691691 w 6884782"/>
              <a:gd name="connsiteY47083" fmla="*/ 1720885 h 5973007"/>
              <a:gd name="connsiteX47084" fmla="*/ 5689344 w 6884782"/>
              <a:gd name="connsiteY47084" fmla="*/ 1713202 h 5973007"/>
              <a:gd name="connsiteX47085" fmla="*/ 5695533 w 6884782"/>
              <a:gd name="connsiteY47085" fmla="*/ 1705377 h 5973007"/>
              <a:gd name="connsiteX47086" fmla="*/ 1489781 w 6884782"/>
              <a:gd name="connsiteY47086" fmla="*/ 1704346 h 5973007"/>
              <a:gd name="connsiteX47087" fmla="*/ 1490917 w 6884782"/>
              <a:gd name="connsiteY47087" fmla="*/ 1704501 h 5973007"/>
              <a:gd name="connsiteX47088" fmla="*/ 1490091 w 6884782"/>
              <a:gd name="connsiteY47088" fmla="*/ 1706205 h 5973007"/>
              <a:gd name="connsiteX47089" fmla="*/ 1489781 w 6884782"/>
              <a:gd name="connsiteY47089" fmla="*/ 1704346 h 5973007"/>
              <a:gd name="connsiteX47090" fmla="*/ 5724558 w 6884782"/>
              <a:gd name="connsiteY47090" fmla="*/ 1704097 h 5973007"/>
              <a:gd name="connsiteX47091" fmla="*/ 5732028 w 6884782"/>
              <a:gd name="connsiteY47091" fmla="*/ 1707511 h 5973007"/>
              <a:gd name="connsiteX47092" fmla="*/ 5735229 w 6884782"/>
              <a:gd name="connsiteY47092" fmla="*/ 1728994 h 5973007"/>
              <a:gd name="connsiteX47093" fmla="*/ 5733095 w 6884782"/>
              <a:gd name="connsiteY47093" fmla="*/ 1731270 h 5973007"/>
              <a:gd name="connsiteX47094" fmla="*/ 5730960 w 6884782"/>
              <a:gd name="connsiteY47094" fmla="*/ 1735965 h 5973007"/>
              <a:gd name="connsiteX47095" fmla="*/ 5716661 w 6884782"/>
              <a:gd name="connsiteY47095" fmla="*/ 1729279 h 5973007"/>
              <a:gd name="connsiteX47096" fmla="*/ 5712393 w 6884782"/>
              <a:gd name="connsiteY47096" fmla="*/ 1708934 h 5973007"/>
              <a:gd name="connsiteX47097" fmla="*/ 5724558 w 6884782"/>
              <a:gd name="connsiteY47097" fmla="*/ 1704097 h 5973007"/>
              <a:gd name="connsiteX47098" fmla="*/ 6003071 w 6884782"/>
              <a:gd name="connsiteY47098" fmla="*/ 1703527 h 5973007"/>
              <a:gd name="connsiteX47099" fmla="*/ 6006272 w 6884782"/>
              <a:gd name="connsiteY47099" fmla="*/ 1711210 h 5973007"/>
              <a:gd name="connsiteX47100" fmla="*/ 6006485 w 6884782"/>
              <a:gd name="connsiteY47100" fmla="*/ 1720458 h 5973007"/>
              <a:gd name="connsiteX47101" fmla="*/ 6009687 w 6884782"/>
              <a:gd name="connsiteY47101" fmla="*/ 1722450 h 5973007"/>
              <a:gd name="connsiteX47102" fmla="*/ 6010113 w 6884782"/>
              <a:gd name="connsiteY47102" fmla="*/ 1726148 h 5973007"/>
              <a:gd name="connsiteX47103" fmla="*/ 5986638 w 6884782"/>
              <a:gd name="connsiteY47103" fmla="*/ 1729989 h 5973007"/>
              <a:gd name="connsiteX47104" fmla="*/ 5987704 w 6884782"/>
              <a:gd name="connsiteY47104" fmla="*/ 1725437 h 5973007"/>
              <a:gd name="connsiteX47105" fmla="*/ 5993467 w 6884782"/>
              <a:gd name="connsiteY47105" fmla="*/ 1721169 h 5973007"/>
              <a:gd name="connsiteX47106" fmla="*/ 5999016 w 6884782"/>
              <a:gd name="connsiteY47106" fmla="*/ 1718893 h 5973007"/>
              <a:gd name="connsiteX47107" fmla="*/ 5998589 w 6884782"/>
              <a:gd name="connsiteY47107" fmla="*/ 1710356 h 5973007"/>
              <a:gd name="connsiteX47108" fmla="*/ 6003071 w 6884782"/>
              <a:gd name="connsiteY47108" fmla="*/ 1703527 h 5973007"/>
              <a:gd name="connsiteX47109" fmla="*/ 4990607 w 6884782"/>
              <a:gd name="connsiteY47109" fmla="*/ 1703527 h 5973007"/>
              <a:gd name="connsiteX47110" fmla="*/ 4995089 w 6884782"/>
              <a:gd name="connsiteY47110" fmla="*/ 1705235 h 5973007"/>
              <a:gd name="connsiteX47111" fmla="*/ 4994449 w 6884782"/>
              <a:gd name="connsiteY47111" fmla="*/ 1710784 h 5973007"/>
              <a:gd name="connsiteX47112" fmla="*/ 4995516 w 6884782"/>
              <a:gd name="connsiteY47112" fmla="*/ 1714056 h 5973007"/>
              <a:gd name="connsiteX47113" fmla="*/ 4998504 w 6884782"/>
              <a:gd name="connsiteY47113" fmla="*/ 1721453 h 5973007"/>
              <a:gd name="connsiteX47114" fmla="*/ 4993595 w 6884782"/>
              <a:gd name="connsiteY47114" fmla="*/ 1725295 h 5973007"/>
              <a:gd name="connsiteX47115" fmla="*/ 4979723 w 6884782"/>
              <a:gd name="connsiteY47115" fmla="*/ 1709219 h 5973007"/>
              <a:gd name="connsiteX47116" fmla="*/ 4985272 w 6884782"/>
              <a:gd name="connsiteY47116" fmla="*/ 1705377 h 5973007"/>
              <a:gd name="connsiteX47117" fmla="*/ 4988900 w 6884782"/>
              <a:gd name="connsiteY47117" fmla="*/ 1706231 h 5973007"/>
              <a:gd name="connsiteX47118" fmla="*/ 1559995 w 6884782"/>
              <a:gd name="connsiteY47118" fmla="*/ 1703417 h 5973007"/>
              <a:gd name="connsiteX47119" fmla="*/ 1562886 w 6884782"/>
              <a:gd name="connsiteY47119" fmla="*/ 1706360 h 5973007"/>
              <a:gd name="connsiteX47120" fmla="*/ 1560718 w 6884782"/>
              <a:gd name="connsiteY47120" fmla="*/ 1707754 h 5973007"/>
              <a:gd name="connsiteX47121" fmla="*/ 1559169 w 6884782"/>
              <a:gd name="connsiteY47121" fmla="*/ 1705121 h 5973007"/>
              <a:gd name="connsiteX47122" fmla="*/ 1559995 w 6884782"/>
              <a:gd name="connsiteY47122" fmla="*/ 1703417 h 5973007"/>
              <a:gd name="connsiteX47123" fmla="*/ 1270774 w 6884782"/>
              <a:gd name="connsiteY47123" fmla="*/ 1702952 h 5973007"/>
              <a:gd name="connsiteX47124" fmla="*/ 1275421 w 6884782"/>
              <a:gd name="connsiteY47124" fmla="*/ 1708684 h 5973007"/>
              <a:gd name="connsiteX47125" fmla="*/ 1269535 w 6884782"/>
              <a:gd name="connsiteY47125" fmla="*/ 1708064 h 5973007"/>
              <a:gd name="connsiteX47126" fmla="*/ 1270774 w 6884782"/>
              <a:gd name="connsiteY47126" fmla="*/ 1702952 h 5973007"/>
              <a:gd name="connsiteX47127" fmla="*/ 928158 w 6884782"/>
              <a:gd name="connsiteY47127" fmla="*/ 1702836 h 5973007"/>
              <a:gd name="connsiteX47128" fmla="*/ 934366 w 6884782"/>
              <a:gd name="connsiteY47128" fmla="*/ 1706670 h 5973007"/>
              <a:gd name="connsiteX47129" fmla="*/ 936844 w 6884782"/>
              <a:gd name="connsiteY47129" fmla="*/ 1711162 h 5973007"/>
              <a:gd name="connsiteX47130" fmla="*/ 934985 w 6884782"/>
              <a:gd name="connsiteY47130" fmla="*/ 1716893 h 5973007"/>
              <a:gd name="connsiteX47131" fmla="*/ 923834 w 6884782"/>
              <a:gd name="connsiteY47131" fmla="*/ 1717512 h 5973007"/>
              <a:gd name="connsiteX47132" fmla="*/ 919600 w 6884782"/>
              <a:gd name="connsiteY47132" fmla="*/ 1709458 h 5973007"/>
              <a:gd name="connsiteX47133" fmla="*/ 919497 w 6884782"/>
              <a:gd name="connsiteY47133" fmla="*/ 1710233 h 5973007"/>
              <a:gd name="connsiteX47134" fmla="*/ 917638 w 6884782"/>
              <a:gd name="connsiteY47134" fmla="*/ 1711781 h 5973007"/>
              <a:gd name="connsiteX47135" fmla="*/ 917741 w 6884782"/>
              <a:gd name="connsiteY47135" fmla="*/ 1713331 h 5973007"/>
              <a:gd name="connsiteX47136" fmla="*/ 917741 w 6884782"/>
              <a:gd name="connsiteY47136" fmla="*/ 1714879 h 5973007"/>
              <a:gd name="connsiteX47137" fmla="*/ 916916 w 6884782"/>
              <a:gd name="connsiteY47137" fmla="*/ 1715034 h 5973007"/>
              <a:gd name="connsiteX47138" fmla="*/ 916399 w 6884782"/>
              <a:gd name="connsiteY47138" fmla="*/ 1712866 h 5973007"/>
              <a:gd name="connsiteX47139" fmla="*/ 913301 w 6884782"/>
              <a:gd name="connsiteY47139" fmla="*/ 1715189 h 5973007"/>
              <a:gd name="connsiteX47140" fmla="*/ 913715 w 6884782"/>
              <a:gd name="connsiteY47140" fmla="*/ 1717203 h 5973007"/>
              <a:gd name="connsiteX47141" fmla="*/ 912166 w 6884782"/>
              <a:gd name="connsiteY47141" fmla="*/ 1715964 h 5973007"/>
              <a:gd name="connsiteX47142" fmla="*/ 909791 w 6884782"/>
              <a:gd name="connsiteY47142" fmla="*/ 1717203 h 5973007"/>
              <a:gd name="connsiteX47143" fmla="*/ 907313 w 6884782"/>
              <a:gd name="connsiteY47143" fmla="*/ 1717512 h 5973007"/>
              <a:gd name="connsiteX47144" fmla="*/ 908138 w 6884782"/>
              <a:gd name="connsiteY47144" fmla="*/ 1715034 h 5973007"/>
              <a:gd name="connsiteX47145" fmla="*/ 909068 w 6884782"/>
              <a:gd name="connsiteY47145" fmla="*/ 1714260 h 5973007"/>
              <a:gd name="connsiteX47146" fmla="*/ 909068 w 6884782"/>
              <a:gd name="connsiteY47146" fmla="*/ 1713485 h 5973007"/>
              <a:gd name="connsiteX47147" fmla="*/ 909378 w 6884782"/>
              <a:gd name="connsiteY47147" fmla="*/ 1713485 h 5973007"/>
              <a:gd name="connsiteX47148" fmla="*/ 907932 w 6884782"/>
              <a:gd name="connsiteY47148" fmla="*/ 1709923 h 5973007"/>
              <a:gd name="connsiteX47149" fmla="*/ 904938 w 6884782"/>
              <a:gd name="connsiteY47149" fmla="*/ 1704191 h 5973007"/>
              <a:gd name="connsiteX47150" fmla="*/ 908449 w 6884782"/>
              <a:gd name="connsiteY47150" fmla="*/ 1703727 h 5973007"/>
              <a:gd name="connsiteX47151" fmla="*/ 908552 w 6884782"/>
              <a:gd name="connsiteY47151" fmla="*/ 1705431 h 5973007"/>
              <a:gd name="connsiteX47152" fmla="*/ 912372 w 6884782"/>
              <a:gd name="connsiteY47152" fmla="*/ 1710542 h 5973007"/>
              <a:gd name="connsiteX47153" fmla="*/ 912475 w 6884782"/>
              <a:gd name="connsiteY47153" fmla="*/ 1710852 h 5973007"/>
              <a:gd name="connsiteX47154" fmla="*/ 913405 w 6884782"/>
              <a:gd name="connsiteY47154" fmla="*/ 1709303 h 5973007"/>
              <a:gd name="connsiteX47155" fmla="*/ 914437 w 6884782"/>
              <a:gd name="connsiteY47155" fmla="*/ 1707289 h 5973007"/>
              <a:gd name="connsiteX47156" fmla="*/ 914540 w 6884782"/>
              <a:gd name="connsiteY47156" fmla="*/ 1707134 h 5973007"/>
              <a:gd name="connsiteX47157" fmla="*/ 914334 w 6884782"/>
              <a:gd name="connsiteY47157" fmla="*/ 1706670 h 5973007"/>
              <a:gd name="connsiteX47158" fmla="*/ 914540 w 6884782"/>
              <a:gd name="connsiteY47158" fmla="*/ 1703572 h 5973007"/>
              <a:gd name="connsiteX47159" fmla="*/ 914540 w 6884782"/>
              <a:gd name="connsiteY47159" fmla="*/ 1704346 h 5973007"/>
              <a:gd name="connsiteX47160" fmla="*/ 915366 w 6884782"/>
              <a:gd name="connsiteY47160" fmla="*/ 1703417 h 5973007"/>
              <a:gd name="connsiteX47161" fmla="*/ 916193 w 6884782"/>
              <a:gd name="connsiteY47161" fmla="*/ 1706050 h 5973007"/>
              <a:gd name="connsiteX47162" fmla="*/ 916709 w 6884782"/>
              <a:gd name="connsiteY47162" fmla="*/ 1705740 h 5973007"/>
              <a:gd name="connsiteX47163" fmla="*/ 919703 w 6884782"/>
              <a:gd name="connsiteY47163" fmla="*/ 1704346 h 5973007"/>
              <a:gd name="connsiteX47164" fmla="*/ 921356 w 6884782"/>
              <a:gd name="connsiteY47164" fmla="*/ 1706205 h 5973007"/>
              <a:gd name="connsiteX47165" fmla="*/ 923111 w 6884782"/>
              <a:gd name="connsiteY47165" fmla="*/ 1704811 h 5973007"/>
              <a:gd name="connsiteX47166" fmla="*/ 928158 w 6884782"/>
              <a:gd name="connsiteY47166" fmla="*/ 1702836 h 5973007"/>
              <a:gd name="connsiteX47167" fmla="*/ 1382395 w 6884782"/>
              <a:gd name="connsiteY47167" fmla="*/ 1702798 h 5973007"/>
              <a:gd name="connsiteX47168" fmla="*/ 1381878 w 6884782"/>
              <a:gd name="connsiteY47168" fmla="*/ 1710077 h 5973007"/>
              <a:gd name="connsiteX47169" fmla="*/ 1379916 w 6884782"/>
              <a:gd name="connsiteY47169" fmla="*/ 1704501 h 5973007"/>
              <a:gd name="connsiteX47170" fmla="*/ 1382395 w 6884782"/>
              <a:gd name="connsiteY47170" fmla="*/ 1702798 h 5973007"/>
              <a:gd name="connsiteX47171" fmla="*/ 1159877 w 6884782"/>
              <a:gd name="connsiteY47171" fmla="*/ 1702023 h 5973007"/>
              <a:gd name="connsiteX47172" fmla="*/ 1164937 w 6884782"/>
              <a:gd name="connsiteY47172" fmla="*/ 1710542 h 5973007"/>
              <a:gd name="connsiteX47173" fmla="*/ 1159567 w 6884782"/>
              <a:gd name="connsiteY47173" fmla="*/ 1704501 h 5973007"/>
              <a:gd name="connsiteX47174" fmla="*/ 1159877 w 6884782"/>
              <a:gd name="connsiteY47174" fmla="*/ 1702023 h 5973007"/>
              <a:gd name="connsiteX47175" fmla="*/ 5850903 w 6884782"/>
              <a:gd name="connsiteY47175" fmla="*/ 1701963 h 5973007"/>
              <a:gd name="connsiteX47176" fmla="*/ 5856665 w 6884782"/>
              <a:gd name="connsiteY47176" fmla="*/ 1707227 h 5973007"/>
              <a:gd name="connsiteX47177" fmla="*/ 5856451 w 6884782"/>
              <a:gd name="connsiteY47177" fmla="*/ 1710926 h 5973007"/>
              <a:gd name="connsiteX47178" fmla="*/ 5853677 w 6884782"/>
              <a:gd name="connsiteY47178" fmla="*/ 1714056 h 5973007"/>
              <a:gd name="connsiteX47179" fmla="*/ 5850476 w 6884782"/>
              <a:gd name="connsiteY47179" fmla="*/ 1714909 h 5973007"/>
              <a:gd name="connsiteX47180" fmla="*/ 5844927 w 6884782"/>
              <a:gd name="connsiteY47180" fmla="*/ 1711352 h 5973007"/>
              <a:gd name="connsiteX47181" fmla="*/ 5850903 w 6884782"/>
              <a:gd name="connsiteY47181" fmla="*/ 1701963 h 5973007"/>
              <a:gd name="connsiteX47182" fmla="*/ 5398880 w 6884782"/>
              <a:gd name="connsiteY47182" fmla="*/ 1701963 h 5973007"/>
              <a:gd name="connsiteX47183" fmla="*/ 5402935 w 6884782"/>
              <a:gd name="connsiteY47183" fmla="*/ 1701963 h 5973007"/>
              <a:gd name="connsiteX47184" fmla="*/ 5395892 w 6884782"/>
              <a:gd name="connsiteY47184" fmla="*/ 1706231 h 5973007"/>
              <a:gd name="connsiteX47185" fmla="*/ 5395465 w 6884782"/>
              <a:gd name="connsiteY47185" fmla="*/ 1702532 h 5973007"/>
              <a:gd name="connsiteX47186" fmla="*/ 5398880 w 6884782"/>
              <a:gd name="connsiteY47186" fmla="*/ 1701963 h 5973007"/>
              <a:gd name="connsiteX47187" fmla="*/ 1155850 w 6884782"/>
              <a:gd name="connsiteY47187" fmla="*/ 1701713 h 5973007"/>
              <a:gd name="connsiteX47188" fmla="*/ 1160600 w 6884782"/>
              <a:gd name="connsiteY47188" fmla="*/ 1701868 h 5973007"/>
              <a:gd name="connsiteX47189" fmla="*/ 1156160 w 6884782"/>
              <a:gd name="connsiteY47189" fmla="*/ 1702798 h 5973007"/>
              <a:gd name="connsiteX47190" fmla="*/ 1155850 w 6884782"/>
              <a:gd name="connsiteY47190" fmla="*/ 1701713 h 5973007"/>
              <a:gd name="connsiteX47191" fmla="*/ 5260370 w 6884782"/>
              <a:gd name="connsiteY47191" fmla="*/ 1701536 h 5973007"/>
              <a:gd name="connsiteX47192" fmla="*/ 5262504 w 6884782"/>
              <a:gd name="connsiteY47192" fmla="*/ 1701536 h 5973007"/>
              <a:gd name="connsiteX47193" fmla="*/ 5265492 w 6884782"/>
              <a:gd name="connsiteY47193" fmla="*/ 1702816 h 5973007"/>
              <a:gd name="connsiteX47194" fmla="*/ 5265065 w 6884782"/>
              <a:gd name="connsiteY47194" fmla="*/ 1705519 h 5973007"/>
              <a:gd name="connsiteX47195" fmla="*/ 5265492 w 6884782"/>
              <a:gd name="connsiteY47195" fmla="*/ 1707654 h 5973007"/>
              <a:gd name="connsiteX47196" fmla="*/ 5264425 w 6884782"/>
              <a:gd name="connsiteY47196" fmla="*/ 1708222 h 5973007"/>
              <a:gd name="connsiteX47197" fmla="*/ 5263785 w 6884782"/>
              <a:gd name="connsiteY47197" fmla="*/ 1709788 h 5973007"/>
              <a:gd name="connsiteX47198" fmla="*/ 5258662 w 6884782"/>
              <a:gd name="connsiteY47198" fmla="*/ 1709361 h 5973007"/>
              <a:gd name="connsiteX47199" fmla="*/ 5256529 w 6884782"/>
              <a:gd name="connsiteY47199" fmla="*/ 1707654 h 5973007"/>
              <a:gd name="connsiteX47200" fmla="*/ 5256102 w 6884782"/>
              <a:gd name="connsiteY47200" fmla="*/ 1705377 h 5973007"/>
              <a:gd name="connsiteX47201" fmla="*/ 5258022 w 6884782"/>
              <a:gd name="connsiteY47201" fmla="*/ 1703385 h 5973007"/>
              <a:gd name="connsiteX47202" fmla="*/ 5260370 w 6884782"/>
              <a:gd name="connsiteY47202" fmla="*/ 1701536 h 5973007"/>
              <a:gd name="connsiteX47203" fmla="*/ 1184452 w 6884782"/>
              <a:gd name="connsiteY47203" fmla="*/ 1701210 h 5973007"/>
              <a:gd name="connsiteX47204" fmla="*/ 1188169 w 6884782"/>
              <a:gd name="connsiteY47204" fmla="*/ 1702023 h 5973007"/>
              <a:gd name="connsiteX47205" fmla="*/ 1180219 w 6884782"/>
              <a:gd name="connsiteY47205" fmla="*/ 1705121 h 5973007"/>
              <a:gd name="connsiteX47206" fmla="*/ 1178567 w 6884782"/>
              <a:gd name="connsiteY47206" fmla="*/ 1704191 h 5973007"/>
              <a:gd name="connsiteX47207" fmla="*/ 1179806 w 6884782"/>
              <a:gd name="connsiteY47207" fmla="*/ 1702023 h 5973007"/>
              <a:gd name="connsiteX47208" fmla="*/ 1184452 w 6884782"/>
              <a:gd name="connsiteY47208" fmla="*/ 1701210 h 5973007"/>
              <a:gd name="connsiteX47209" fmla="*/ 4626087 w 6884782"/>
              <a:gd name="connsiteY47209" fmla="*/ 1701109 h 5973007"/>
              <a:gd name="connsiteX47210" fmla="*/ 4624379 w 6884782"/>
              <a:gd name="connsiteY47210" fmla="*/ 1708222 h 5973007"/>
              <a:gd name="connsiteX47211" fmla="*/ 4623099 w 6884782"/>
              <a:gd name="connsiteY47211" fmla="*/ 1703527 h 5973007"/>
              <a:gd name="connsiteX47212" fmla="*/ 4626087 w 6884782"/>
              <a:gd name="connsiteY47212" fmla="*/ 1701109 h 5973007"/>
              <a:gd name="connsiteX47213" fmla="*/ 1576103 w 6884782"/>
              <a:gd name="connsiteY47213" fmla="*/ 1700939 h 5973007"/>
              <a:gd name="connsiteX47214" fmla="*/ 1586945 w 6884782"/>
              <a:gd name="connsiteY47214" fmla="*/ 1702488 h 5973007"/>
              <a:gd name="connsiteX47215" fmla="*/ 1573832 w 6884782"/>
              <a:gd name="connsiteY47215" fmla="*/ 1702178 h 5973007"/>
              <a:gd name="connsiteX47216" fmla="*/ 1576103 w 6884782"/>
              <a:gd name="connsiteY47216" fmla="*/ 1700939 h 5973007"/>
              <a:gd name="connsiteX47217" fmla="*/ 1264373 w 6884782"/>
              <a:gd name="connsiteY47217" fmla="*/ 1700629 h 5973007"/>
              <a:gd name="connsiteX47218" fmla="*/ 1248161 w 6884782"/>
              <a:gd name="connsiteY47218" fmla="*/ 1714105 h 5973007"/>
              <a:gd name="connsiteX47219" fmla="*/ 1242999 w 6884782"/>
              <a:gd name="connsiteY47219" fmla="*/ 1712556 h 5973007"/>
              <a:gd name="connsiteX47220" fmla="*/ 1264373 w 6884782"/>
              <a:gd name="connsiteY47220" fmla="*/ 1700629 h 5973007"/>
              <a:gd name="connsiteX47221" fmla="*/ 1210473 w 6884782"/>
              <a:gd name="connsiteY47221" fmla="*/ 1700474 h 5973007"/>
              <a:gd name="connsiteX47222" fmla="*/ 1212744 w 6884782"/>
              <a:gd name="connsiteY47222" fmla="*/ 1703107 h 5973007"/>
              <a:gd name="connsiteX47223" fmla="*/ 1212951 w 6884782"/>
              <a:gd name="connsiteY47223" fmla="*/ 1704501 h 5973007"/>
              <a:gd name="connsiteX47224" fmla="*/ 1217907 w 6884782"/>
              <a:gd name="connsiteY47224" fmla="*/ 1701094 h 5973007"/>
              <a:gd name="connsiteX47225" fmla="*/ 1223173 w 6884782"/>
              <a:gd name="connsiteY47225" fmla="*/ 1700784 h 5973007"/>
              <a:gd name="connsiteX47226" fmla="*/ 1221315 w 6884782"/>
              <a:gd name="connsiteY47226" fmla="*/ 1703107 h 5973007"/>
              <a:gd name="connsiteX47227" fmla="*/ 1224412 w 6884782"/>
              <a:gd name="connsiteY47227" fmla="*/ 1706515 h 5973007"/>
              <a:gd name="connsiteX47228" fmla="*/ 1224206 w 6884782"/>
              <a:gd name="connsiteY47228" fmla="*/ 1710233 h 5973007"/>
              <a:gd name="connsiteX47229" fmla="*/ 1223380 w 6884782"/>
              <a:gd name="connsiteY47229" fmla="*/ 1711627 h 5973007"/>
              <a:gd name="connsiteX47230" fmla="*/ 1218733 w 6884782"/>
              <a:gd name="connsiteY47230" fmla="*/ 1711472 h 5973007"/>
              <a:gd name="connsiteX47231" fmla="*/ 1216875 w 6884782"/>
              <a:gd name="connsiteY47231" fmla="*/ 1709768 h 5973007"/>
              <a:gd name="connsiteX47232" fmla="*/ 1215429 w 6884782"/>
              <a:gd name="connsiteY47232" fmla="*/ 1712091 h 5973007"/>
              <a:gd name="connsiteX47233" fmla="*/ 1205723 w 6884782"/>
              <a:gd name="connsiteY47233" fmla="*/ 1723089 h 5973007"/>
              <a:gd name="connsiteX47234" fmla="*/ 1205723 w 6884782"/>
              <a:gd name="connsiteY47234" fmla="*/ 1717822 h 5973007"/>
              <a:gd name="connsiteX47235" fmla="*/ 1202832 w 6884782"/>
              <a:gd name="connsiteY47235" fmla="*/ 1718287 h 5973007"/>
              <a:gd name="connsiteX47236" fmla="*/ 1201076 w 6884782"/>
              <a:gd name="connsiteY47236" fmla="*/ 1717203 h 5973007"/>
              <a:gd name="connsiteX47237" fmla="*/ 1197979 w 6884782"/>
              <a:gd name="connsiteY47237" fmla="*/ 1713950 h 5973007"/>
              <a:gd name="connsiteX47238" fmla="*/ 1199528 w 6884782"/>
              <a:gd name="connsiteY47238" fmla="*/ 1711317 h 5973007"/>
              <a:gd name="connsiteX47239" fmla="*/ 1203348 w 6884782"/>
              <a:gd name="connsiteY47239" fmla="*/ 1711162 h 5973007"/>
              <a:gd name="connsiteX47240" fmla="*/ 1206756 w 6884782"/>
              <a:gd name="connsiteY47240" fmla="*/ 1712866 h 5973007"/>
              <a:gd name="connsiteX47241" fmla="*/ 1207065 w 6884782"/>
              <a:gd name="connsiteY47241" fmla="*/ 1713176 h 5973007"/>
              <a:gd name="connsiteX47242" fmla="*/ 1208408 w 6884782"/>
              <a:gd name="connsiteY47242" fmla="*/ 1710077 h 5973007"/>
              <a:gd name="connsiteX47243" fmla="*/ 1211919 w 6884782"/>
              <a:gd name="connsiteY47243" fmla="*/ 1705740 h 5973007"/>
              <a:gd name="connsiteX47244" fmla="*/ 1211712 w 6884782"/>
              <a:gd name="connsiteY47244" fmla="*/ 1705895 h 5973007"/>
              <a:gd name="connsiteX47245" fmla="*/ 1207582 w 6884782"/>
              <a:gd name="connsiteY47245" fmla="*/ 1703572 h 5973007"/>
              <a:gd name="connsiteX47246" fmla="*/ 1210473 w 6884782"/>
              <a:gd name="connsiteY47246" fmla="*/ 1700474 h 5973007"/>
              <a:gd name="connsiteX47247" fmla="*/ 1202832 w 6884782"/>
              <a:gd name="connsiteY47247" fmla="*/ 1700474 h 5973007"/>
              <a:gd name="connsiteX47248" fmla="*/ 1204794 w 6884782"/>
              <a:gd name="connsiteY47248" fmla="*/ 1700784 h 5973007"/>
              <a:gd name="connsiteX47249" fmla="*/ 1202832 w 6884782"/>
              <a:gd name="connsiteY47249" fmla="*/ 1707134 h 5973007"/>
              <a:gd name="connsiteX47250" fmla="*/ 1200870 w 6884782"/>
              <a:gd name="connsiteY47250" fmla="*/ 1706824 h 5973007"/>
              <a:gd name="connsiteX47251" fmla="*/ 1200251 w 6884782"/>
              <a:gd name="connsiteY47251" fmla="*/ 1704501 h 5973007"/>
              <a:gd name="connsiteX47252" fmla="*/ 1202832 w 6884782"/>
              <a:gd name="connsiteY47252" fmla="*/ 1700474 h 5973007"/>
              <a:gd name="connsiteX47253" fmla="*/ 3929911 w 6884782"/>
              <a:gd name="connsiteY47253" fmla="*/ 1700113 h 5973007"/>
              <a:gd name="connsiteX47254" fmla="*/ 3936100 w 6884782"/>
              <a:gd name="connsiteY47254" fmla="*/ 1706800 h 5973007"/>
              <a:gd name="connsiteX47255" fmla="*/ 3936741 w 6884782"/>
              <a:gd name="connsiteY47255" fmla="*/ 1713913 h 5973007"/>
              <a:gd name="connsiteX47256" fmla="*/ 3930338 w 6884782"/>
              <a:gd name="connsiteY47256" fmla="*/ 1722022 h 5973007"/>
              <a:gd name="connsiteX47257" fmla="*/ 3927777 w 6884782"/>
              <a:gd name="connsiteY47257" fmla="*/ 1720458 h 5973007"/>
              <a:gd name="connsiteX47258" fmla="*/ 3927564 w 6884782"/>
              <a:gd name="connsiteY47258" fmla="*/ 1720315 h 5973007"/>
              <a:gd name="connsiteX47259" fmla="*/ 3926923 w 6884782"/>
              <a:gd name="connsiteY47259" fmla="*/ 1721738 h 5973007"/>
              <a:gd name="connsiteX47260" fmla="*/ 3925216 w 6884782"/>
              <a:gd name="connsiteY47260" fmla="*/ 1724726 h 5973007"/>
              <a:gd name="connsiteX47261" fmla="*/ 3924789 w 6884782"/>
              <a:gd name="connsiteY47261" fmla="*/ 1727429 h 5973007"/>
              <a:gd name="connsiteX47262" fmla="*/ 3920948 w 6884782"/>
              <a:gd name="connsiteY47262" fmla="*/ 1731270 h 5973007"/>
              <a:gd name="connsiteX47263" fmla="*/ 3921588 w 6884782"/>
              <a:gd name="connsiteY47263" fmla="*/ 1728567 h 5973007"/>
              <a:gd name="connsiteX47264" fmla="*/ 3923082 w 6884782"/>
              <a:gd name="connsiteY47264" fmla="*/ 1725579 h 5973007"/>
              <a:gd name="connsiteX47265" fmla="*/ 3922441 w 6884782"/>
              <a:gd name="connsiteY47265" fmla="*/ 1723303 h 5973007"/>
              <a:gd name="connsiteX47266" fmla="*/ 3924576 w 6884782"/>
              <a:gd name="connsiteY47266" fmla="*/ 1718324 h 5973007"/>
              <a:gd name="connsiteX47267" fmla="*/ 3925429 w 6884782"/>
              <a:gd name="connsiteY47267" fmla="*/ 1717897 h 5973007"/>
              <a:gd name="connsiteX47268" fmla="*/ 3924362 w 6884782"/>
              <a:gd name="connsiteY47268" fmla="*/ 1710072 h 5973007"/>
              <a:gd name="connsiteX47269" fmla="*/ 3926923 w 6884782"/>
              <a:gd name="connsiteY47269" fmla="*/ 1700255 h 5973007"/>
              <a:gd name="connsiteX47270" fmla="*/ 3929911 w 6884782"/>
              <a:gd name="connsiteY47270" fmla="*/ 1700113 h 5973007"/>
              <a:gd name="connsiteX47271" fmla="*/ 5231558 w 6884782"/>
              <a:gd name="connsiteY47271" fmla="*/ 1699686 h 5973007"/>
              <a:gd name="connsiteX47272" fmla="*/ 5236253 w 6884782"/>
              <a:gd name="connsiteY47272" fmla="*/ 1700682 h 5973007"/>
              <a:gd name="connsiteX47273" fmla="*/ 5240522 w 6884782"/>
              <a:gd name="connsiteY47273" fmla="*/ 1702674 h 5973007"/>
              <a:gd name="connsiteX47274" fmla="*/ 5241589 w 6884782"/>
              <a:gd name="connsiteY47274" fmla="*/ 1704666 h 5973007"/>
              <a:gd name="connsiteX47275" fmla="*/ 5235827 w 6884782"/>
              <a:gd name="connsiteY47275" fmla="*/ 1703670 h 5973007"/>
              <a:gd name="connsiteX47276" fmla="*/ 853620 w 6884782"/>
              <a:gd name="connsiteY47276" fmla="*/ 1699544 h 5973007"/>
              <a:gd name="connsiteX47277" fmla="*/ 848353 w 6884782"/>
              <a:gd name="connsiteY47277" fmla="*/ 1710542 h 5973007"/>
              <a:gd name="connsiteX47278" fmla="*/ 848044 w 6884782"/>
              <a:gd name="connsiteY47278" fmla="*/ 1708064 h 5973007"/>
              <a:gd name="connsiteX47279" fmla="*/ 853620 w 6884782"/>
              <a:gd name="connsiteY47279" fmla="*/ 1699544 h 5973007"/>
              <a:gd name="connsiteX47280" fmla="*/ 5934563 w 6884782"/>
              <a:gd name="connsiteY47280" fmla="*/ 1699402 h 5973007"/>
              <a:gd name="connsiteX47281" fmla="*/ 5932429 w 6884782"/>
              <a:gd name="connsiteY47281" fmla="*/ 1706657 h 5973007"/>
              <a:gd name="connsiteX47282" fmla="*/ 5934563 w 6884782"/>
              <a:gd name="connsiteY47282" fmla="*/ 1699402 h 5973007"/>
              <a:gd name="connsiteX47283" fmla="*/ 1756285 w 6884782"/>
              <a:gd name="connsiteY47283" fmla="*/ 1699080 h 5973007"/>
              <a:gd name="connsiteX47284" fmla="*/ 1762687 w 6884782"/>
              <a:gd name="connsiteY47284" fmla="*/ 1703727 h 5973007"/>
              <a:gd name="connsiteX47285" fmla="*/ 1763616 w 6884782"/>
              <a:gd name="connsiteY47285" fmla="*/ 1706670 h 5973007"/>
              <a:gd name="connsiteX47286" fmla="*/ 1745030 w 6884782"/>
              <a:gd name="connsiteY47286" fmla="*/ 1712091 h 5973007"/>
              <a:gd name="connsiteX47287" fmla="*/ 1743998 w 6884782"/>
              <a:gd name="connsiteY47287" fmla="*/ 1709613 h 5973007"/>
              <a:gd name="connsiteX47288" fmla="*/ 1744308 w 6884782"/>
              <a:gd name="connsiteY47288" fmla="*/ 1705586 h 5973007"/>
              <a:gd name="connsiteX47289" fmla="*/ 1756285 w 6884782"/>
              <a:gd name="connsiteY47289" fmla="*/ 1699080 h 5973007"/>
              <a:gd name="connsiteX47290" fmla="*/ 5067865 w 6884782"/>
              <a:gd name="connsiteY47290" fmla="*/ 1698975 h 5973007"/>
              <a:gd name="connsiteX47291" fmla="*/ 5074055 w 6884782"/>
              <a:gd name="connsiteY47291" fmla="*/ 1704097 h 5973007"/>
              <a:gd name="connsiteX47292" fmla="*/ 5066585 w 6884782"/>
              <a:gd name="connsiteY47292" fmla="*/ 1708364 h 5973007"/>
              <a:gd name="connsiteX47293" fmla="*/ 5067865 w 6884782"/>
              <a:gd name="connsiteY47293" fmla="*/ 1698975 h 5973007"/>
              <a:gd name="connsiteX47294" fmla="*/ 1675332 w 6884782"/>
              <a:gd name="connsiteY47294" fmla="*/ 1698925 h 5973007"/>
              <a:gd name="connsiteX47295" fmla="*/ 1680392 w 6884782"/>
              <a:gd name="connsiteY47295" fmla="*/ 1700784 h 5973007"/>
              <a:gd name="connsiteX47296" fmla="*/ 1674093 w 6884782"/>
              <a:gd name="connsiteY47296" fmla="*/ 1704501 h 5973007"/>
              <a:gd name="connsiteX47297" fmla="*/ 1675332 w 6884782"/>
              <a:gd name="connsiteY47297" fmla="*/ 1698925 h 5973007"/>
              <a:gd name="connsiteX47298" fmla="*/ 5895934 w 6884782"/>
              <a:gd name="connsiteY47298" fmla="*/ 1698690 h 5973007"/>
              <a:gd name="connsiteX47299" fmla="*/ 5894653 w 6884782"/>
              <a:gd name="connsiteY47299" fmla="*/ 1760577 h 5973007"/>
              <a:gd name="connsiteX47300" fmla="*/ 5882275 w 6884782"/>
              <a:gd name="connsiteY47300" fmla="*/ 1758159 h 5973007"/>
              <a:gd name="connsiteX47301" fmla="*/ 5885903 w 6884782"/>
              <a:gd name="connsiteY47301" fmla="*/ 1742509 h 5973007"/>
              <a:gd name="connsiteX47302" fmla="*/ 5885263 w 6884782"/>
              <a:gd name="connsiteY47302" fmla="*/ 1740375 h 5973007"/>
              <a:gd name="connsiteX47303" fmla="*/ 5885903 w 6884782"/>
              <a:gd name="connsiteY47303" fmla="*/ 1737388 h 5973007"/>
              <a:gd name="connsiteX47304" fmla="*/ 5887184 w 6884782"/>
              <a:gd name="connsiteY47304" fmla="*/ 1736818 h 5973007"/>
              <a:gd name="connsiteX47305" fmla="*/ 5889318 w 6884782"/>
              <a:gd name="connsiteY47305" fmla="*/ 1727144 h 5973007"/>
              <a:gd name="connsiteX47306" fmla="*/ 5895934 w 6884782"/>
              <a:gd name="connsiteY47306" fmla="*/ 1698690 h 5973007"/>
              <a:gd name="connsiteX47307" fmla="*/ 4804505 w 6884782"/>
              <a:gd name="connsiteY47307" fmla="*/ 1698406 h 5973007"/>
              <a:gd name="connsiteX47308" fmla="*/ 4807493 w 6884782"/>
              <a:gd name="connsiteY47308" fmla="*/ 1698406 h 5973007"/>
              <a:gd name="connsiteX47309" fmla="*/ 4809627 w 6884782"/>
              <a:gd name="connsiteY47309" fmla="*/ 1705804 h 5973007"/>
              <a:gd name="connsiteX47310" fmla="*/ 4803865 w 6884782"/>
              <a:gd name="connsiteY47310" fmla="*/ 1707938 h 5973007"/>
              <a:gd name="connsiteX47311" fmla="*/ 4801304 w 6884782"/>
              <a:gd name="connsiteY47311" fmla="*/ 1706089 h 5973007"/>
              <a:gd name="connsiteX47312" fmla="*/ 4801518 w 6884782"/>
              <a:gd name="connsiteY47312" fmla="*/ 1704808 h 5973007"/>
              <a:gd name="connsiteX47313" fmla="*/ 4801518 w 6884782"/>
              <a:gd name="connsiteY47313" fmla="*/ 1700113 h 5973007"/>
              <a:gd name="connsiteX47314" fmla="*/ 4804505 w 6884782"/>
              <a:gd name="connsiteY47314" fmla="*/ 1698406 h 5973007"/>
              <a:gd name="connsiteX47315" fmla="*/ 1453538 w 6884782"/>
              <a:gd name="connsiteY47315" fmla="*/ 1698151 h 5973007"/>
              <a:gd name="connsiteX47316" fmla="*/ 1457875 w 6884782"/>
              <a:gd name="connsiteY47316" fmla="*/ 1698305 h 5973007"/>
              <a:gd name="connsiteX47317" fmla="*/ 1459733 w 6884782"/>
              <a:gd name="connsiteY47317" fmla="*/ 1701094 h 5973007"/>
              <a:gd name="connsiteX47318" fmla="*/ 1453538 w 6884782"/>
              <a:gd name="connsiteY47318" fmla="*/ 1698151 h 5973007"/>
              <a:gd name="connsiteX47319" fmla="*/ 1051149 w 6884782"/>
              <a:gd name="connsiteY47319" fmla="*/ 1697996 h 5973007"/>
              <a:gd name="connsiteX47320" fmla="*/ 1051252 w 6884782"/>
              <a:gd name="connsiteY47320" fmla="*/ 1699544 h 5973007"/>
              <a:gd name="connsiteX47321" fmla="*/ 1050529 w 6884782"/>
              <a:gd name="connsiteY47321" fmla="*/ 1698925 h 5973007"/>
              <a:gd name="connsiteX47322" fmla="*/ 1051149 w 6884782"/>
              <a:gd name="connsiteY47322" fmla="*/ 1697996 h 5973007"/>
              <a:gd name="connsiteX47323" fmla="*/ 1138091 w 6884782"/>
              <a:gd name="connsiteY47323" fmla="*/ 1697376 h 5973007"/>
              <a:gd name="connsiteX47324" fmla="*/ 1139639 w 6884782"/>
              <a:gd name="connsiteY47324" fmla="*/ 1700784 h 5973007"/>
              <a:gd name="connsiteX47325" fmla="*/ 1139536 w 6884782"/>
              <a:gd name="connsiteY47325" fmla="*/ 1701094 h 5973007"/>
              <a:gd name="connsiteX47326" fmla="*/ 1141807 w 6884782"/>
              <a:gd name="connsiteY47326" fmla="*/ 1700474 h 5973007"/>
              <a:gd name="connsiteX47327" fmla="*/ 1152546 w 6884782"/>
              <a:gd name="connsiteY47327" fmla="*/ 1702798 h 5973007"/>
              <a:gd name="connsiteX47328" fmla="*/ 1135612 w 6884782"/>
              <a:gd name="connsiteY47328" fmla="*/ 1703727 h 5973007"/>
              <a:gd name="connsiteX47329" fmla="*/ 1135922 w 6884782"/>
              <a:gd name="connsiteY47329" fmla="*/ 1702023 h 5973007"/>
              <a:gd name="connsiteX47330" fmla="*/ 1134580 w 6884782"/>
              <a:gd name="connsiteY47330" fmla="*/ 1700939 h 5973007"/>
              <a:gd name="connsiteX47331" fmla="*/ 1134476 w 6884782"/>
              <a:gd name="connsiteY47331" fmla="*/ 1699235 h 5973007"/>
              <a:gd name="connsiteX47332" fmla="*/ 1138091 w 6884782"/>
              <a:gd name="connsiteY47332" fmla="*/ 1697376 h 5973007"/>
              <a:gd name="connsiteX47333" fmla="*/ 6109354 w 6884782"/>
              <a:gd name="connsiteY47333" fmla="*/ 1697268 h 5973007"/>
              <a:gd name="connsiteX47334" fmla="*/ 6112768 w 6884782"/>
              <a:gd name="connsiteY47334" fmla="*/ 1697979 h 5973007"/>
              <a:gd name="connsiteX47335" fmla="*/ 6112342 w 6884782"/>
              <a:gd name="connsiteY47335" fmla="*/ 1706657 h 5973007"/>
              <a:gd name="connsiteX47336" fmla="*/ 6108714 w 6884782"/>
              <a:gd name="connsiteY47336" fmla="*/ 1708507 h 5973007"/>
              <a:gd name="connsiteX47337" fmla="*/ 6103378 w 6884782"/>
              <a:gd name="connsiteY47337" fmla="*/ 1706515 h 5973007"/>
              <a:gd name="connsiteX47338" fmla="*/ 6109354 w 6884782"/>
              <a:gd name="connsiteY47338" fmla="*/ 1697268 h 5973007"/>
              <a:gd name="connsiteX47339" fmla="*/ 1450647 w 6884782"/>
              <a:gd name="connsiteY47339" fmla="*/ 1696756 h 5973007"/>
              <a:gd name="connsiteX47340" fmla="*/ 1451266 w 6884782"/>
              <a:gd name="connsiteY47340" fmla="*/ 1696756 h 5973007"/>
              <a:gd name="connsiteX47341" fmla="*/ 1453332 w 6884782"/>
              <a:gd name="connsiteY47341" fmla="*/ 1698305 h 5973007"/>
              <a:gd name="connsiteX47342" fmla="*/ 1450234 w 6884782"/>
              <a:gd name="connsiteY47342" fmla="*/ 1698305 h 5973007"/>
              <a:gd name="connsiteX47343" fmla="*/ 1450543 w 6884782"/>
              <a:gd name="connsiteY47343" fmla="*/ 1697221 h 5973007"/>
              <a:gd name="connsiteX47344" fmla="*/ 1449821 w 6884782"/>
              <a:gd name="connsiteY47344" fmla="*/ 1697686 h 5973007"/>
              <a:gd name="connsiteX47345" fmla="*/ 1450647 w 6884782"/>
              <a:gd name="connsiteY47345" fmla="*/ 1696756 h 5973007"/>
              <a:gd name="connsiteX47346" fmla="*/ 1029259 w 6884782"/>
              <a:gd name="connsiteY47346" fmla="*/ 1696601 h 5973007"/>
              <a:gd name="connsiteX47347" fmla="*/ 1031427 w 6884782"/>
              <a:gd name="connsiteY47347" fmla="*/ 1703262 h 5973007"/>
              <a:gd name="connsiteX47348" fmla="*/ 1033389 w 6884782"/>
              <a:gd name="connsiteY47348" fmla="*/ 1707134 h 5973007"/>
              <a:gd name="connsiteX47349" fmla="*/ 1029671 w 6884782"/>
              <a:gd name="connsiteY47349" fmla="*/ 1702643 h 5973007"/>
              <a:gd name="connsiteX47350" fmla="*/ 1026987 w 6884782"/>
              <a:gd name="connsiteY47350" fmla="*/ 1702023 h 5973007"/>
              <a:gd name="connsiteX47351" fmla="*/ 1025025 w 6884782"/>
              <a:gd name="connsiteY47351" fmla="*/ 1697376 h 5973007"/>
              <a:gd name="connsiteX47352" fmla="*/ 1029259 w 6884782"/>
              <a:gd name="connsiteY47352" fmla="*/ 1696601 h 5973007"/>
              <a:gd name="connsiteX47353" fmla="*/ 5163691 w 6884782"/>
              <a:gd name="connsiteY47353" fmla="*/ 1696414 h 5973007"/>
              <a:gd name="connsiteX47354" fmla="*/ 5166252 w 6884782"/>
              <a:gd name="connsiteY47354" fmla="*/ 1696556 h 5973007"/>
              <a:gd name="connsiteX47355" fmla="*/ 5166465 w 6884782"/>
              <a:gd name="connsiteY47355" fmla="*/ 1697553 h 5973007"/>
              <a:gd name="connsiteX47356" fmla="*/ 5166892 w 6884782"/>
              <a:gd name="connsiteY47356" fmla="*/ 1697695 h 5973007"/>
              <a:gd name="connsiteX47357" fmla="*/ 5166465 w 6884782"/>
              <a:gd name="connsiteY47357" fmla="*/ 1700113 h 5973007"/>
              <a:gd name="connsiteX47358" fmla="*/ 5164758 w 6884782"/>
              <a:gd name="connsiteY47358" fmla="*/ 1702247 h 5973007"/>
              <a:gd name="connsiteX47359" fmla="*/ 5162197 w 6884782"/>
              <a:gd name="connsiteY47359" fmla="*/ 1698406 h 5973007"/>
              <a:gd name="connsiteX47360" fmla="*/ 5164118 w 6884782"/>
              <a:gd name="connsiteY47360" fmla="*/ 1697553 h 5973007"/>
              <a:gd name="connsiteX47361" fmla="*/ 5163691 w 6884782"/>
              <a:gd name="connsiteY47361" fmla="*/ 1696414 h 5973007"/>
              <a:gd name="connsiteX47362" fmla="*/ 1422664 w 6884782"/>
              <a:gd name="connsiteY47362" fmla="*/ 1695672 h 5973007"/>
              <a:gd name="connsiteX47363" fmla="*/ 1418947 w 6884782"/>
              <a:gd name="connsiteY47363" fmla="*/ 1700939 h 5973007"/>
              <a:gd name="connsiteX47364" fmla="*/ 1418740 w 6884782"/>
              <a:gd name="connsiteY47364" fmla="*/ 1699699 h 5973007"/>
              <a:gd name="connsiteX47365" fmla="*/ 1419980 w 6884782"/>
              <a:gd name="connsiteY47365" fmla="*/ 1698460 h 5973007"/>
              <a:gd name="connsiteX47366" fmla="*/ 1422664 w 6884782"/>
              <a:gd name="connsiteY47366" fmla="*/ 1695672 h 5973007"/>
              <a:gd name="connsiteX47367" fmla="*/ 1697429 w 6884782"/>
              <a:gd name="connsiteY47367" fmla="*/ 1695517 h 5973007"/>
              <a:gd name="connsiteX47368" fmla="*/ 1705070 w 6884782"/>
              <a:gd name="connsiteY47368" fmla="*/ 1698305 h 5973007"/>
              <a:gd name="connsiteX47369" fmla="*/ 1706722 w 6884782"/>
              <a:gd name="connsiteY47369" fmla="*/ 1699235 h 5973007"/>
              <a:gd name="connsiteX47370" fmla="*/ 1708271 w 6884782"/>
              <a:gd name="connsiteY47370" fmla="*/ 1700164 h 5973007"/>
              <a:gd name="connsiteX47371" fmla="*/ 1708581 w 6884782"/>
              <a:gd name="connsiteY47371" fmla="*/ 1703572 h 5973007"/>
              <a:gd name="connsiteX47372" fmla="*/ 1693815 w 6884782"/>
              <a:gd name="connsiteY47372" fmla="*/ 1697531 h 5973007"/>
              <a:gd name="connsiteX47373" fmla="*/ 1694951 w 6884782"/>
              <a:gd name="connsiteY47373" fmla="*/ 1695827 h 5973007"/>
              <a:gd name="connsiteX47374" fmla="*/ 1697429 w 6884782"/>
              <a:gd name="connsiteY47374" fmla="*/ 1695517 h 5973007"/>
              <a:gd name="connsiteX47375" fmla="*/ 1288535 w 6884782"/>
              <a:gd name="connsiteY47375" fmla="*/ 1695517 h 5973007"/>
              <a:gd name="connsiteX47376" fmla="*/ 1291323 w 6884782"/>
              <a:gd name="connsiteY47376" fmla="*/ 1696292 h 5973007"/>
              <a:gd name="connsiteX47377" fmla="*/ 1292768 w 6884782"/>
              <a:gd name="connsiteY47377" fmla="*/ 1697996 h 5973007"/>
              <a:gd name="connsiteX47378" fmla="*/ 1291942 w 6884782"/>
              <a:gd name="connsiteY47378" fmla="*/ 1702952 h 5973007"/>
              <a:gd name="connsiteX47379" fmla="*/ 1284301 w 6884782"/>
              <a:gd name="connsiteY47379" fmla="*/ 1702488 h 5973007"/>
              <a:gd name="connsiteX47380" fmla="*/ 1283888 w 6884782"/>
              <a:gd name="connsiteY47380" fmla="*/ 1699390 h 5973007"/>
              <a:gd name="connsiteX47381" fmla="*/ 1286057 w 6884782"/>
              <a:gd name="connsiteY47381" fmla="*/ 1696601 h 5973007"/>
              <a:gd name="connsiteX47382" fmla="*/ 1288535 w 6884782"/>
              <a:gd name="connsiteY47382" fmla="*/ 1695517 h 5973007"/>
              <a:gd name="connsiteX47383" fmla="*/ 1140981 w 6884782"/>
              <a:gd name="connsiteY47383" fmla="*/ 1695517 h 5973007"/>
              <a:gd name="connsiteX47384" fmla="*/ 1141702 w 6884782"/>
              <a:gd name="connsiteY47384" fmla="*/ 1695975 h 5973007"/>
              <a:gd name="connsiteX47385" fmla="*/ 1141704 w 6884782"/>
              <a:gd name="connsiteY47385" fmla="*/ 1695982 h 5973007"/>
              <a:gd name="connsiteX47386" fmla="*/ 1140981 w 6884782"/>
              <a:gd name="connsiteY47386" fmla="*/ 1695517 h 5973007"/>
              <a:gd name="connsiteX47387" fmla="*/ 1141395 w 6884782"/>
              <a:gd name="connsiteY47387" fmla="*/ 1694898 h 5973007"/>
              <a:gd name="connsiteX47388" fmla="*/ 1152856 w 6884782"/>
              <a:gd name="connsiteY47388" fmla="*/ 1698305 h 5973007"/>
              <a:gd name="connsiteX47389" fmla="*/ 1152546 w 6884782"/>
              <a:gd name="connsiteY47389" fmla="*/ 1699080 h 5973007"/>
              <a:gd name="connsiteX47390" fmla="*/ 1143666 w 6884782"/>
              <a:gd name="connsiteY47390" fmla="*/ 1697221 h 5973007"/>
              <a:gd name="connsiteX47391" fmla="*/ 1141702 w 6884782"/>
              <a:gd name="connsiteY47391" fmla="*/ 1695975 h 5973007"/>
              <a:gd name="connsiteX47392" fmla="*/ 6286919 w 6884782"/>
              <a:gd name="connsiteY47392" fmla="*/ 1694849 h 5973007"/>
              <a:gd name="connsiteX47393" fmla="*/ 6293108 w 6884782"/>
              <a:gd name="connsiteY47393" fmla="*/ 1696841 h 5973007"/>
              <a:gd name="connsiteX47394" fmla="*/ 6291614 w 6884782"/>
              <a:gd name="connsiteY47394" fmla="*/ 1706515 h 5973007"/>
              <a:gd name="connsiteX47395" fmla="*/ 6282864 w 6884782"/>
              <a:gd name="connsiteY47395" fmla="*/ 1704381 h 5973007"/>
              <a:gd name="connsiteX47396" fmla="*/ 6286919 w 6884782"/>
              <a:gd name="connsiteY47396" fmla="*/ 1694849 h 5973007"/>
              <a:gd name="connsiteX47397" fmla="*/ 5074268 w 6884782"/>
              <a:gd name="connsiteY47397" fmla="*/ 1694423 h 5973007"/>
              <a:gd name="connsiteX47398" fmla="*/ 5077043 w 6884782"/>
              <a:gd name="connsiteY47398" fmla="*/ 1694707 h 5973007"/>
              <a:gd name="connsiteX47399" fmla="*/ 5080244 w 6884782"/>
              <a:gd name="connsiteY47399" fmla="*/ 1696414 h 5973007"/>
              <a:gd name="connsiteX47400" fmla="*/ 5078750 w 6884782"/>
              <a:gd name="connsiteY47400" fmla="*/ 1702532 h 5973007"/>
              <a:gd name="connsiteX47401" fmla="*/ 5076188 w 6884782"/>
              <a:gd name="connsiteY47401" fmla="*/ 1702247 h 5973007"/>
              <a:gd name="connsiteX47402" fmla="*/ 5073414 w 6884782"/>
              <a:gd name="connsiteY47402" fmla="*/ 1699402 h 5973007"/>
              <a:gd name="connsiteX47403" fmla="*/ 5074268 w 6884782"/>
              <a:gd name="connsiteY47403" fmla="*/ 1694423 h 5973007"/>
              <a:gd name="connsiteX47404" fmla="*/ 1661290 w 6884782"/>
              <a:gd name="connsiteY47404" fmla="*/ 1694123 h 5973007"/>
              <a:gd name="connsiteX47405" fmla="*/ 1666143 w 6884782"/>
              <a:gd name="connsiteY47405" fmla="*/ 1698305 h 5973007"/>
              <a:gd name="connsiteX47406" fmla="*/ 1665626 w 6884782"/>
              <a:gd name="connsiteY47406" fmla="*/ 1700939 h 5973007"/>
              <a:gd name="connsiteX47407" fmla="*/ 1661806 w 6884782"/>
              <a:gd name="connsiteY47407" fmla="*/ 1702798 h 5973007"/>
              <a:gd name="connsiteX47408" fmla="*/ 1659121 w 6884782"/>
              <a:gd name="connsiteY47408" fmla="*/ 1695517 h 5973007"/>
              <a:gd name="connsiteX47409" fmla="*/ 1661290 w 6884782"/>
              <a:gd name="connsiteY47409" fmla="*/ 1694123 h 5973007"/>
              <a:gd name="connsiteX47410" fmla="*/ 1249400 w 6884782"/>
              <a:gd name="connsiteY47410" fmla="*/ 1694123 h 5973007"/>
              <a:gd name="connsiteX47411" fmla="*/ 1252189 w 6884782"/>
              <a:gd name="connsiteY47411" fmla="*/ 1697686 h 5973007"/>
              <a:gd name="connsiteX47412" fmla="*/ 1240521 w 6884782"/>
              <a:gd name="connsiteY47412" fmla="*/ 1707754 h 5973007"/>
              <a:gd name="connsiteX47413" fmla="*/ 1237732 w 6884782"/>
              <a:gd name="connsiteY47413" fmla="*/ 1703727 h 5973007"/>
              <a:gd name="connsiteX47414" fmla="*/ 1238352 w 6884782"/>
              <a:gd name="connsiteY47414" fmla="*/ 1701094 h 5973007"/>
              <a:gd name="connsiteX47415" fmla="*/ 1236390 w 6884782"/>
              <a:gd name="connsiteY47415" fmla="*/ 1699855 h 5973007"/>
              <a:gd name="connsiteX47416" fmla="*/ 1237629 w 6884782"/>
              <a:gd name="connsiteY47416" fmla="*/ 1696601 h 5973007"/>
              <a:gd name="connsiteX47417" fmla="*/ 1241656 w 6884782"/>
              <a:gd name="connsiteY47417" fmla="*/ 1697066 h 5973007"/>
              <a:gd name="connsiteX47418" fmla="*/ 1244031 w 6884782"/>
              <a:gd name="connsiteY47418" fmla="*/ 1696292 h 5973007"/>
              <a:gd name="connsiteX47419" fmla="*/ 1249400 w 6884782"/>
              <a:gd name="connsiteY47419" fmla="*/ 1694123 h 5973007"/>
              <a:gd name="connsiteX47420" fmla="*/ 5593945 w 6884782"/>
              <a:gd name="connsiteY47420" fmla="*/ 1693853 h 5973007"/>
              <a:gd name="connsiteX47421" fmla="*/ 5600988 w 6884782"/>
              <a:gd name="connsiteY47421" fmla="*/ 1718608 h 5973007"/>
              <a:gd name="connsiteX47422" fmla="*/ 5589463 w 6884782"/>
              <a:gd name="connsiteY47422" fmla="*/ 1718181 h 5973007"/>
              <a:gd name="connsiteX47423" fmla="*/ 5585195 w 6884782"/>
              <a:gd name="connsiteY47423" fmla="*/ 1712491 h 5973007"/>
              <a:gd name="connsiteX47424" fmla="*/ 5584768 w 6884782"/>
              <a:gd name="connsiteY47424" fmla="*/ 1710072 h 5973007"/>
              <a:gd name="connsiteX47425" fmla="*/ 5584768 w 6884782"/>
              <a:gd name="connsiteY47425" fmla="*/ 1710214 h 5973007"/>
              <a:gd name="connsiteX47426" fmla="*/ 5573030 w 6884782"/>
              <a:gd name="connsiteY47426" fmla="*/ 1702390 h 5973007"/>
              <a:gd name="connsiteX47427" fmla="*/ 5579859 w 6884782"/>
              <a:gd name="connsiteY47427" fmla="*/ 1694138 h 5973007"/>
              <a:gd name="connsiteX47428" fmla="*/ 5587329 w 6884782"/>
              <a:gd name="connsiteY47428" fmla="*/ 1697837 h 5973007"/>
              <a:gd name="connsiteX47429" fmla="*/ 5920264 w 6884782"/>
              <a:gd name="connsiteY47429" fmla="*/ 1693569 h 5973007"/>
              <a:gd name="connsiteX47430" fmla="*/ 5923892 w 6884782"/>
              <a:gd name="connsiteY47430" fmla="*/ 1694138 h 5973007"/>
              <a:gd name="connsiteX47431" fmla="*/ 5924745 w 6884782"/>
              <a:gd name="connsiteY47431" fmla="*/ 1701252 h 5973007"/>
              <a:gd name="connsiteX47432" fmla="*/ 5916422 w 6884782"/>
              <a:gd name="connsiteY47432" fmla="*/ 1698121 h 5973007"/>
              <a:gd name="connsiteX47433" fmla="*/ 5917062 w 6884782"/>
              <a:gd name="connsiteY47433" fmla="*/ 1695703 h 5973007"/>
              <a:gd name="connsiteX47434" fmla="*/ 5920264 w 6884782"/>
              <a:gd name="connsiteY47434" fmla="*/ 1693569 h 5973007"/>
              <a:gd name="connsiteX47435" fmla="*/ 5752942 w 6884782"/>
              <a:gd name="connsiteY47435" fmla="*/ 1693426 h 5973007"/>
              <a:gd name="connsiteX47436" fmla="*/ 5761480 w 6884782"/>
              <a:gd name="connsiteY47436" fmla="*/ 1696841 h 5973007"/>
              <a:gd name="connsiteX47437" fmla="*/ 5752942 w 6884782"/>
              <a:gd name="connsiteY47437" fmla="*/ 1708222 h 5973007"/>
              <a:gd name="connsiteX47438" fmla="*/ 5751235 w 6884782"/>
              <a:gd name="connsiteY47438" fmla="*/ 1706515 h 5973007"/>
              <a:gd name="connsiteX47439" fmla="*/ 5750382 w 6884782"/>
              <a:gd name="connsiteY47439" fmla="*/ 1708934 h 5973007"/>
              <a:gd name="connsiteX47440" fmla="*/ 5748247 w 6884782"/>
              <a:gd name="connsiteY47440" fmla="*/ 1711921 h 5973007"/>
              <a:gd name="connsiteX47441" fmla="*/ 5740138 w 6884782"/>
              <a:gd name="connsiteY47441" fmla="*/ 1709219 h 5973007"/>
              <a:gd name="connsiteX47442" fmla="*/ 5738643 w 6884782"/>
              <a:gd name="connsiteY47442" fmla="*/ 1705519 h 5973007"/>
              <a:gd name="connsiteX47443" fmla="*/ 5739497 w 6884782"/>
              <a:gd name="connsiteY47443" fmla="*/ 1698406 h 5973007"/>
              <a:gd name="connsiteX47444" fmla="*/ 5738430 w 6884782"/>
              <a:gd name="connsiteY47444" fmla="*/ 1698406 h 5973007"/>
              <a:gd name="connsiteX47445" fmla="*/ 5745259 w 6884782"/>
              <a:gd name="connsiteY47445" fmla="*/ 1697553 h 5973007"/>
              <a:gd name="connsiteX47446" fmla="*/ 5745900 w 6884782"/>
              <a:gd name="connsiteY47446" fmla="*/ 1698264 h 5973007"/>
              <a:gd name="connsiteX47447" fmla="*/ 5745473 w 6884782"/>
              <a:gd name="connsiteY47447" fmla="*/ 1697268 h 5973007"/>
              <a:gd name="connsiteX47448" fmla="*/ 5752942 w 6884782"/>
              <a:gd name="connsiteY47448" fmla="*/ 1693426 h 5973007"/>
              <a:gd name="connsiteX47449" fmla="*/ 1099266 w 6884782"/>
              <a:gd name="connsiteY47449" fmla="*/ 1693349 h 5973007"/>
              <a:gd name="connsiteX47450" fmla="*/ 1107010 w 6884782"/>
              <a:gd name="connsiteY47450" fmla="*/ 1698615 h 5973007"/>
              <a:gd name="connsiteX47451" fmla="*/ 1108766 w 6884782"/>
              <a:gd name="connsiteY47451" fmla="*/ 1700784 h 5973007"/>
              <a:gd name="connsiteX47452" fmla="*/ 1109385 w 6884782"/>
              <a:gd name="connsiteY47452" fmla="*/ 1701094 h 5973007"/>
              <a:gd name="connsiteX47453" fmla="*/ 1110624 w 6884782"/>
              <a:gd name="connsiteY47453" fmla="*/ 1703262 h 5973007"/>
              <a:gd name="connsiteX47454" fmla="*/ 1113825 w 6884782"/>
              <a:gd name="connsiteY47454" fmla="*/ 1707289 h 5973007"/>
              <a:gd name="connsiteX47455" fmla="*/ 1121260 w 6884782"/>
              <a:gd name="connsiteY47455" fmla="*/ 1708684 h 5973007"/>
              <a:gd name="connsiteX47456" fmla="*/ 1122292 w 6884782"/>
              <a:gd name="connsiteY47456" fmla="*/ 1709768 h 5973007"/>
              <a:gd name="connsiteX47457" fmla="*/ 1126629 w 6884782"/>
              <a:gd name="connsiteY47457" fmla="*/ 1709613 h 5973007"/>
              <a:gd name="connsiteX47458" fmla="*/ 1123634 w 6884782"/>
              <a:gd name="connsiteY47458" fmla="*/ 1715654 h 5973007"/>
              <a:gd name="connsiteX47459" fmla="*/ 1121982 w 6884782"/>
              <a:gd name="connsiteY47459" fmla="*/ 1714879 h 5973007"/>
              <a:gd name="connsiteX47460" fmla="*/ 1120950 w 6884782"/>
              <a:gd name="connsiteY47460" fmla="*/ 1712866 h 5973007"/>
              <a:gd name="connsiteX47461" fmla="*/ 1119091 w 6884782"/>
              <a:gd name="connsiteY47461" fmla="*/ 1713795 h 5973007"/>
              <a:gd name="connsiteX47462" fmla="*/ 1120021 w 6884782"/>
              <a:gd name="connsiteY47462" fmla="*/ 1714570 h 5973007"/>
              <a:gd name="connsiteX47463" fmla="*/ 1124667 w 6884782"/>
              <a:gd name="connsiteY47463" fmla="*/ 1721695 h 5973007"/>
              <a:gd name="connsiteX47464" fmla="*/ 1126629 w 6884782"/>
              <a:gd name="connsiteY47464" fmla="*/ 1726032 h 5973007"/>
              <a:gd name="connsiteX47465" fmla="*/ 1127661 w 6884782"/>
              <a:gd name="connsiteY47465" fmla="*/ 1724173 h 5973007"/>
              <a:gd name="connsiteX47466" fmla="*/ 1133340 w 6884782"/>
              <a:gd name="connsiteY47466" fmla="*/ 1719836 h 5973007"/>
              <a:gd name="connsiteX47467" fmla="*/ 1136851 w 6884782"/>
              <a:gd name="connsiteY47467" fmla="*/ 1726961 h 5973007"/>
              <a:gd name="connsiteX47468" fmla="*/ 1134476 w 6884782"/>
              <a:gd name="connsiteY47468" fmla="*/ 1731144 h 5973007"/>
              <a:gd name="connsiteX47469" fmla="*/ 1131172 w 6884782"/>
              <a:gd name="connsiteY47469" fmla="*/ 1732228 h 5973007"/>
              <a:gd name="connsiteX47470" fmla="*/ 1129623 w 6884782"/>
              <a:gd name="connsiteY47470" fmla="*/ 1733002 h 5973007"/>
              <a:gd name="connsiteX47471" fmla="*/ 1134889 w 6884782"/>
              <a:gd name="connsiteY47471" fmla="*/ 1746323 h 5973007"/>
              <a:gd name="connsiteX47472" fmla="*/ 1125596 w 6884782"/>
              <a:gd name="connsiteY47472" fmla="*/ 1748182 h 5973007"/>
              <a:gd name="connsiteX47473" fmla="*/ 1118265 w 6884782"/>
              <a:gd name="connsiteY47473" fmla="*/ 1726806 h 5973007"/>
              <a:gd name="connsiteX47474" fmla="*/ 1114548 w 6884782"/>
              <a:gd name="connsiteY47474" fmla="*/ 1715964 h 5973007"/>
              <a:gd name="connsiteX47475" fmla="*/ 1111657 w 6884782"/>
              <a:gd name="connsiteY47475" fmla="*/ 1717203 h 5973007"/>
              <a:gd name="connsiteX47476" fmla="*/ 1099576 w 6884782"/>
              <a:gd name="connsiteY47476" fmla="*/ 1718597 h 5973007"/>
              <a:gd name="connsiteX47477" fmla="*/ 1091831 w 6884782"/>
              <a:gd name="connsiteY47477" fmla="*/ 1716893 h 5973007"/>
              <a:gd name="connsiteX47478" fmla="*/ 1093587 w 6884782"/>
              <a:gd name="connsiteY47478" fmla="*/ 1713021 h 5973007"/>
              <a:gd name="connsiteX47479" fmla="*/ 1094310 w 6884782"/>
              <a:gd name="connsiteY47479" fmla="*/ 1712556 h 5973007"/>
              <a:gd name="connsiteX47480" fmla="*/ 1093277 w 6884782"/>
              <a:gd name="connsiteY47480" fmla="*/ 1712556 h 5973007"/>
              <a:gd name="connsiteX47481" fmla="*/ 1091212 w 6884782"/>
              <a:gd name="connsiteY47481" fmla="*/ 1712866 h 5973007"/>
              <a:gd name="connsiteX47482" fmla="*/ 1091212 w 6884782"/>
              <a:gd name="connsiteY47482" fmla="*/ 1711007 h 5973007"/>
              <a:gd name="connsiteX47483" fmla="*/ 1095549 w 6884782"/>
              <a:gd name="connsiteY47483" fmla="*/ 1710077 h 5973007"/>
              <a:gd name="connsiteX47484" fmla="*/ 1095962 w 6884782"/>
              <a:gd name="connsiteY47484" fmla="*/ 1709303 h 5973007"/>
              <a:gd name="connsiteX47485" fmla="*/ 1095342 w 6884782"/>
              <a:gd name="connsiteY47485" fmla="*/ 1707134 h 5973007"/>
              <a:gd name="connsiteX47486" fmla="*/ 1096788 w 6884782"/>
              <a:gd name="connsiteY47486" fmla="*/ 1701713 h 5973007"/>
              <a:gd name="connsiteX47487" fmla="*/ 1098956 w 6884782"/>
              <a:gd name="connsiteY47487" fmla="*/ 1700009 h 5973007"/>
              <a:gd name="connsiteX47488" fmla="*/ 1097717 w 6884782"/>
              <a:gd name="connsiteY47488" fmla="*/ 1696756 h 5973007"/>
              <a:gd name="connsiteX47489" fmla="*/ 1099266 w 6884782"/>
              <a:gd name="connsiteY47489" fmla="*/ 1693349 h 5973007"/>
              <a:gd name="connsiteX47490" fmla="*/ 1345119 w 6884782"/>
              <a:gd name="connsiteY47490" fmla="*/ 1693194 h 5973007"/>
              <a:gd name="connsiteX47491" fmla="*/ 1355651 w 6884782"/>
              <a:gd name="connsiteY47491" fmla="*/ 1708993 h 5973007"/>
              <a:gd name="connsiteX47492" fmla="*/ 1351004 w 6884782"/>
              <a:gd name="connsiteY47492" fmla="*/ 1725102 h 5973007"/>
              <a:gd name="connsiteX47493" fmla="*/ 1350592 w 6884782"/>
              <a:gd name="connsiteY47493" fmla="*/ 1719991 h 5973007"/>
              <a:gd name="connsiteX47494" fmla="*/ 1348630 w 6884782"/>
              <a:gd name="connsiteY47494" fmla="*/ 1717822 h 5973007"/>
              <a:gd name="connsiteX47495" fmla="*/ 1345945 w 6884782"/>
              <a:gd name="connsiteY47495" fmla="*/ 1710542 h 5973007"/>
              <a:gd name="connsiteX47496" fmla="*/ 1347081 w 6884782"/>
              <a:gd name="connsiteY47496" fmla="*/ 1709148 h 5973007"/>
              <a:gd name="connsiteX47497" fmla="*/ 1344499 w 6884782"/>
              <a:gd name="connsiteY47497" fmla="*/ 1701713 h 5973007"/>
              <a:gd name="connsiteX47498" fmla="*/ 1344190 w 6884782"/>
              <a:gd name="connsiteY47498" fmla="*/ 1697531 h 5973007"/>
              <a:gd name="connsiteX47499" fmla="*/ 1345119 w 6884782"/>
              <a:gd name="connsiteY47499" fmla="*/ 1693194 h 5973007"/>
              <a:gd name="connsiteX47500" fmla="*/ 1163698 w 6884782"/>
              <a:gd name="connsiteY47500" fmla="*/ 1692110 h 5973007"/>
              <a:gd name="connsiteX47501" fmla="*/ 1167002 w 6884782"/>
              <a:gd name="connsiteY47501" fmla="*/ 1695363 h 5973007"/>
              <a:gd name="connsiteX47502" fmla="*/ 1169687 w 6884782"/>
              <a:gd name="connsiteY47502" fmla="*/ 1695982 h 5973007"/>
              <a:gd name="connsiteX47503" fmla="*/ 1169584 w 6884782"/>
              <a:gd name="connsiteY47503" fmla="*/ 1696911 h 5973007"/>
              <a:gd name="connsiteX47504" fmla="*/ 1159155 w 6884782"/>
              <a:gd name="connsiteY47504" fmla="*/ 1695672 h 5973007"/>
              <a:gd name="connsiteX47505" fmla="*/ 1158225 w 6884782"/>
              <a:gd name="connsiteY47505" fmla="*/ 1694278 h 5973007"/>
              <a:gd name="connsiteX47506" fmla="*/ 1159258 w 6884782"/>
              <a:gd name="connsiteY47506" fmla="*/ 1692265 h 5973007"/>
              <a:gd name="connsiteX47507" fmla="*/ 1163698 w 6884782"/>
              <a:gd name="connsiteY47507" fmla="*/ 1692110 h 5973007"/>
              <a:gd name="connsiteX47508" fmla="*/ 4857860 w 6884782"/>
              <a:gd name="connsiteY47508" fmla="*/ 1692004 h 5973007"/>
              <a:gd name="connsiteX47509" fmla="*/ 4858073 w 6884782"/>
              <a:gd name="connsiteY47509" fmla="*/ 1692716 h 5973007"/>
              <a:gd name="connsiteX47510" fmla="*/ 4857647 w 6884782"/>
              <a:gd name="connsiteY47510" fmla="*/ 1694138 h 5973007"/>
              <a:gd name="connsiteX47511" fmla="*/ 4856580 w 6884782"/>
              <a:gd name="connsiteY47511" fmla="*/ 1693996 h 5973007"/>
              <a:gd name="connsiteX47512" fmla="*/ 4857860 w 6884782"/>
              <a:gd name="connsiteY47512" fmla="*/ 1692004 h 5973007"/>
              <a:gd name="connsiteX47513" fmla="*/ 4886032 w 6884782"/>
              <a:gd name="connsiteY47513" fmla="*/ 1691434 h 5973007"/>
              <a:gd name="connsiteX47514" fmla="*/ 4892648 w 6884782"/>
              <a:gd name="connsiteY47514" fmla="*/ 1692289 h 5973007"/>
              <a:gd name="connsiteX47515" fmla="*/ 4909081 w 6884782"/>
              <a:gd name="connsiteY47515" fmla="*/ 1703670 h 5973007"/>
              <a:gd name="connsiteX47516" fmla="*/ 4912496 w 6884782"/>
              <a:gd name="connsiteY47516" fmla="*/ 1707227 h 5973007"/>
              <a:gd name="connsiteX47517" fmla="*/ 4913990 w 6884782"/>
              <a:gd name="connsiteY47517" fmla="*/ 1707654 h 5973007"/>
              <a:gd name="connsiteX47518" fmla="*/ 4918258 w 6884782"/>
              <a:gd name="connsiteY47518" fmla="*/ 1709503 h 5973007"/>
              <a:gd name="connsiteX47519" fmla="*/ 4918898 w 6884782"/>
              <a:gd name="connsiteY47519" fmla="*/ 1711495 h 5973007"/>
              <a:gd name="connsiteX47520" fmla="*/ 4915911 w 6884782"/>
              <a:gd name="connsiteY47520" fmla="*/ 1711068 h 5973007"/>
              <a:gd name="connsiteX47521" fmla="*/ 4916764 w 6884782"/>
              <a:gd name="connsiteY47521" fmla="*/ 1711921 h 5973007"/>
              <a:gd name="connsiteX47522" fmla="*/ 4926368 w 6884782"/>
              <a:gd name="connsiteY47522" fmla="*/ 1720315 h 5973007"/>
              <a:gd name="connsiteX47523" fmla="*/ 4912069 w 6884782"/>
              <a:gd name="connsiteY47523" fmla="*/ 1728567 h 5973007"/>
              <a:gd name="connsiteX47524" fmla="*/ 4908227 w 6884782"/>
              <a:gd name="connsiteY47524" fmla="*/ 1733262 h 5973007"/>
              <a:gd name="connsiteX47525" fmla="*/ 4909295 w 6884782"/>
              <a:gd name="connsiteY47525" fmla="*/ 1734258 h 5973007"/>
              <a:gd name="connsiteX47526" fmla="*/ 4909508 w 6884782"/>
              <a:gd name="connsiteY47526" fmla="*/ 1733973 h 5973007"/>
              <a:gd name="connsiteX47527" fmla="*/ 4913563 w 6884782"/>
              <a:gd name="connsiteY47527" fmla="*/ 1741798 h 5973007"/>
              <a:gd name="connsiteX47528" fmla="*/ 4901825 w 6884782"/>
              <a:gd name="connsiteY47528" fmla="*/ 1741229 h 5973007"/>
              <a:gd name="connsiteX47529" fmla="*/ 4901184 w 6884782"/>
              <a:gd name="connsiteY47529" fmla="*/ 1740802 h 5973007"/>
              <a:gd name="connsiteX47530" fmla="*/ 4897343 w 6884782"/>
              <a:gd name="connsiteY47530" fmla="*/ 1743078 h 5973007"/>
              <a:gd name="connsiteX47531" fmla="*/ 4891794 w 6884782"/>
              <a:gd name="connsiteY47531" fmla="*/ 1743790 h 5973007"/>
              <a:gd name="connsiteX47532" fmla="*/ 4883471 w 6884782"/>
              <a:gd name="connsiteY47532" fmla="*/ 1741798 h 5973007"/>
              <a:gd name="connsiteX47533" fmla="*/ 4883044 w 6884782"/>
              <a:gd name="connsiteY47533" fmla="*/ 1744359 h 5973007"/>
              <a:gd name="connsiteX47534" fmla="*/ 4877708 w 6884782"/>
              <a:gd name="connsiteY47534" fmla="*/ 1739095 h 5973007"/>
              <a:gd name="connsiteX47535" fmla="*/ 4877922 w 6884782"/>
              <a:gd name="connsiteY47535" fmla="*/ 1738810 h 5973007"/>
              <a:gd name="connsiteX47536" fmla="*/ 4873227 w 6884782"/>
              <a:gd name="connsiteY47536" fmla="*/ 1734969 h 5973007"/>
              <a:gd name="connsiteX47537" fmla="*/ 4871092 w 6884782"/>
              <a:gd name="connsiteY47537" fmla="*/ 1743505 h 5973007"/>
              <a:gd name="connsiteX47538" fmla="*/ 4867464 w 6884782"/>
              <a:gd name="connsiteY47538" fmla="*/ 1752041 h 5973007"/>
              <a:gd name="connsiteX47539" fmla="*/ 4858714 w 6884782"/>
              <a:gd name="connsiteY47539" fmla="*/ 1764845 h 5973007"/>
              <a:gd name="connsiteX47540" fmla="*/ 4858287 w 6884782"/>
              <a:gd name="connsiteY47540" fmla="*/ 1764845 h 5973007"/>
              <a:gd name="connsiteX47541" fmla="*/ 4856366 w 6884782"/>
              <a:gd name="connsiteY47541" fmla="*/ 1767691 h 5973007"/>
              <a:gd name="connsiteX47542" fmla="*/ 4846549 w 6884782"/>
              <a:gd name="connsiteY47542" fmla="*/ 1767833 h 5973007"/>
              <a:gd name="connsiteX47543" fmla="*/ 4850817 w 6884782"/>
              <a:gd name="connsiteY47543" fmla="*/ 1761573 h 5973007"/>
              <a:gd name="connsiteX47544" fmla="*/ 4848257 w 6884782"/>
              <a:gd name="connsiteY47544" fmla="*/ 1759582 h 5973007"/>
              <a:gd name="connsiteX47545" fmla="*/ 4846762 w 6884782"/>
              <a:gd name="connsiteY47545" fmla="*/ 1749338 h 5973007"/>
              <a:gd name="connsiteX47546" fmla="*/ 4846976 w 6884782"/>
              <a:gd name="connsiteY47546" fmla="*/ 1748058 h 5973007"/>
              <a:gd name="connsiteX47547" fmla="*/ 4832890 w 6884782"/>
              <a:gd name="connsiteY47547" fmla="*/ 1748484 h 5973007"/>
              <a:gd name="connsiteX47548" fmla="*/ 4828835 w 6884782"/>
              <a:gd name="connsiteY47548" fmla="*/ 1748911 h 5973007"/>
              <a:gd name="connsiteX47549" fmla="*/ 4828195 w 6884782"/>
              <a:gd name="connsiteY47549" fmla="*/ 1750192 h 5973007"/>
              <a:gd name="connsiteX47550" fmla="*/ 4824993 w 6884782"/>
              <a:gd name="connsiteY47550" fmla="*/ 1753891 h 5973007"/>
              <a:gd name="connsiteX47551" fmla="*/ 4821792 w 6884782"/>
              <a:gd name="connsiteY47551" fmla="*/ 1750476 h 5973007"/>
              <a:gd name="connsiteX47552" fmla="*/ 4821579 w 6884782"/>
              <a:gd name="connsiteY47552" fmla="*/ 1749765 h 5973007"/>
              <a:gd name="connsiteX47553" fmla="*/ 4820939 w 6884782"/>
              <a:gd name="connsiteY47553" fmla="*/ 1749765 h 5973007"/>
              <a:gd name="connsiteX47554" fmla="*/ 4821365 w 6884782"/>
              <a:gd name="connsiteY47554" fmla="*/ 1749196 h 5973007"/>
              <a:gd name="connsiteX47555" fmla="*/ 4820939 w 6884782"/>
              <a:gd name="connsiteY47555" fmla="*/ 1747773 h 5973007"/>
              <a:gd name="connsiteX47556" fmla="*/ 4821152 w 6884782"/>
              <a:gd name="connsiteY47556" fmla="*/ 1743932 h 5973007"/>
              <a:gd name="connsiteX47557" fmla="*/ 4822860 w 6884782"/>
              <a:gd name="connsiteY47557" fmla="*/ 1741655 h 5973007"/>
              <a:gd name="connsiteX47558" fmla="*/ 4824993 w 6884782"/>
              <a:gd name="connsiteY47558" fmla="*/ 1738953 h 5973007"/>
              <a:gd name="connsiteX47559" fmla="*/ 4825634 w 6884782"/>
              <a:gd name="connsiteY47559" fmla="*/ 1738810 h 5973007"/>
              <a:gd name="connsiteX47560" fmla="*/ 4826060 w 6884782"/>
              <a:gd name="connsiteY47560" fmla="*/ 1736818 h 5973007"/>
              <a:gd name="connsiteX47561" fmla="*/ 4826060 w 6884782"/>
              <a:gd name="connsiteY47561" fmla="*/ 1723872 h 5973007"/>
              <a:gd name="connsiteX47562" fmla="*/ 4823713 w 6884782"/>
              <a:gd name="connsiteY47562" fmla="*/ 1723730 h 5973007"/>
              <a:gd name="connsiteX47563" fmla="*/ 4817951 w 6884782"/>
              <a:gd name="connsiteY47563" fmla="*/ 1721169 h 5973007"/>
              <a:gd name="connsiteX47564" fmla="*/ 4824780 w 6884782"/>
              <a:gd name="connsiteY47564" fmla="*/ 1712491 h 5973007"/>
              <a:gd name="connsiteX47565" fmla="*/ 4827555 w 6884782"/>
              <a:gd name="connsiteY47565" fmla="*/ 1712775 h 5973007"/>
              <a:gd name="connsiteX47566" fmla="*/ 4828408 w 6884782"/>
              <a:gd name="connsiteY47566" fmla="*/ 1710499 h 5973007"/>
              <a:gd name="connsiteX47567" fmla="*/ 4831823 w 6884782"/>
              <a:gd name="connsiteY47567" fmla="*/ 1705519 h 5973007"/>
              <a:gd name="connsiteX47568" fmla="*/ 4866397 w 6884782"/>
              <a:gd name="connsiteY47568" fmla="*/ 1704097 h 5973007"/>
              <a:gd name="connsiteX47569" fmla="*/ 4867037 w 6884782"/>
              <a:gd name="connsiteY47569" fmla="*/ 1704808 h 5973007"/>
              <a:gd name="connsiteX47570" fmla="*/ 4868744 w 6884782"/>
              <a:gd name="connsiteY47570" fmla="*/ 1701820 h 5973007"/>
              <a:gd name="connsiteX47571" fmla="*/ 4866397 w 6884782"/>
              <a:gd name="connsiteY47571" fmla="*/ 1701678 h 5973007"/>
              <a:gd name="connsiteX47572" fmla="*/ 4864690 w 6884782"/>
              <a:gd name="connsiteY47572" fmla="*/ 1694280 h 5973007"/>
              <a:gd name="connsiteX47573" fmla="*/ 4871092 w 6884782"/>
              <a:gd name="connsiteY47573" fmla="*/ 1694138 h 5973007"/>
              <a:gd name="connsiteX47574" fmla="*/ 4873653 w 6884782"/>
              <a:gd name="connsiteY47574" fmla="*/ 1695845 h 5973007"/>
              <a:gd name="connsiteX47575" fmla="*/ 4880270 w 6884782"/>
              <a:gd name="connsiteY47575" fmla="*/ 1692004 h 5973007"/>
              <a:gd name="connsiteX47576" fmla="*/ 4886032 w 6884782"/>
              <a:gd name="connsiteY47576" fmla="*/ 1691434 h 5973007"/>
              <a:gd name="connsiteX47577" fmla="*/ 4794688 w 6884782"/>
              <a:gd name="connsiteY47577" fmla="*/ 1691292 h 5973007"/>
              <a:gd name="connsiteX47578" fmla="*/ 4797463 w 6884782"/>
              <a:gd name="connsiteY47578" fmla="*/ 1695418 h 5973007"/>
              <a:gd name="connsiteX47579" fmla="*/ 4797463 w 6884782"/>
              <a:gd name="connsiteY47579" fmla="*/ 1696556 h 5973007"/>
              <a:gd name="connsiteX47580" fmla="*/ 4798530 w 6884782"/>
              <a:gd name="connsiteY47580" fmla="*/ 1695561 h 5973007"/>
              <a:gd name="connsiteX47581" fmla="*/ 4799383 w 6884782"/>
              <a:gd name="connsiteY47581" fmla="*/ 1692573 h 5973007"/>
              <a:gd name="connsiteX47582" fmla="*/ 4802585 w 6884782"/>
              <a:gd name="connsiteY47582" fmla="*/ 1691577 h 5973007"/>
              <a:gd name="connsiteX47583" fmla="*/ 4803438 w 6884782"/>
              <a:gd name="connsiteY47583" fmla="*/ 1692289 h 5973007"/>
              <a:gd name="connsiteX47584" fmla="*/ 4802798 w 6884782"/>
              <a:gd name="connsiteY47584" fmla="*/ 1694849 h 5973007"/>
              <a:gd name="connsiteX47585" fmla="*/ 4795542 w 6884782"/>
              <a:gd name="connsiteY47585" fmla="*/ 1704666 h 5973007"/>
              <a:gd name="connsiteX47586" fmla="*/ 4794261 w 6884782"/>
              <a:gd name="connsiteY47586" fmla="*/ 1706800 h 5973007"/>
              <a:gd name="connsiteX47587" fmla="*/ 4791060 w 6884782"/>
              <a:gd name="connsiteY47587" fmla="*/ 1707654 h 5973007"/>
              <a:gd name="connsiteX47588" fmla="*/ 4792127 w 6884782"/>
              <a:gd name="connsiteY47588" fmla="*/ 1701820 h 5973007"/>
              <a:gd name="connsiteX47589" fmla="*/ 4795968 w 6884782"/>
              <a:gd name="connsiteY47589" fmla="*/ 1697695 h 5973007"/>
              <a:gd name="connsiteX47590" fmla="*/ 4794688 w 6884782"/>
              <a:gd name="connsiteY47590" fmla="*/ 1695703 h 5973007"/>
              <a:gd name="connsiteX47591" fmla="*/ 4794688 w 6884782"/>
              <a:gd name="connsiteY47591" fmla="*/ 1691292 h 5973007"/>
              <a:gd name="connsiteX47592" fmla="*/ 5647087 w 6884782"/>
              <a:gd name="connsiteY47592" fmla="*/ 1691150 h 5973007"/>
              <a:gd name="connsiteX47593" fmla="*/ 5650928 w 6884782"/>
              <a:gd name="connsiteY47593" fmla="*/ 1693142 h 5973007"/>
              <a:gd name="connsiteX47594" fmla="*/ 5651142 w 6884782"/>
              <a:gd name="connsiteY47594" fmla="*/ 1697410 h 5973007"/>
              <a:gd name="connsiteX47595" fmla="*/ 5648154 w 6884782"/>
              <a:gd name="connsiteY47595" fmla="*/ 1700825 h 5973007"/>
              <a:gd name="connsiteX47596" fmla="*/ 5640897 w 6884782"/>
              <a:gd name="connsiteY47596" fmla="*/ 1693711 h 5973007"/>
              <a:gd name="connsiteX47597" fmla="*/ 5647087 w 6884782"/>
              <a:gd name="connsiteY47597" fmla="*/ 1691150 h 5973007"/>
              <a:gd name="connsiteX47598" fmla="*/ 4970546 w 6884782"/>
              <a:gd name="connsiteY47598" fmla="*/ 1690866 h 5973007"/>
              <a:gd name="connsiteX47599" fmla="*/ 4976095 w 6884782"/>
              <a:gd name="connsiteY47599" fmla="*/ 1699117 h 5973007"/>
              <a:gd name="connsiteX47600" fmla="*/ 4975454 w 6884782"/>
              <a:gd name="connsiteY47600" fmla="*/ 1701252 h 5973007"/>
              <a:gd name="connsiteX47601" fmla="*/ 4970546 w 6884782"/>
              <a:gd name="connsiteY47601" fmla="*/ 1690866 h 5973007"/>
              <a:gd name="connsiteX47602" fmla="*/ 1064365 w 6884782"/>
              <a:gd name="connsiteY47602" fmla="*/ 1690561 h 5973007"/>
              <a:gd name="connsiteX47603" fmla="*/ 1065914 w 6884782"/>
              <a:gd name="connsiteY47603" fmla="*/ 1694743 h 5973007"/>
              <a:gd name="connsiteX47604" fmla="*/ 1063333 w 6884782"/>
              <a:gd name="connsiteY47604" fmla="*/ 1691490 h 5973007"/>
              <a:gd name="connsiteX47605" fmla="*/ 1064365 w 6884782"/>
              <a:gd name="connsiteY47605" fmla="*/ 1690561 h 5973007"/>
              <a:gd name="connsiteX47606" fmla="*/ 5022407 w 6884782"/>
              <a:gd name="connsiteY47606" fmla="*/ 1690439 h 5973007"/>
              <a:gd name="connsiteX47607" fmla="*/ 5027316 w 6884782"/>
              <a:gd name="connsiteY47607" fmla="*/ 1691292 h 5973007"/>
              <a:gd name="connsiteX47608" fmla="*/ 5027742 w 6884782"/>
              <a:gd name="connsiteY47608" fmla="*/ 1694849 h 5973007"/>
              <a:gd name="connsiteX47609" fmla="*/ 5021767 w 6884782"/>
              <a:gd name="connsiteY47609" fmla="*/ 1694138 h 5973007"/>
              <a:gd name="connsiteX47610" fmla="*/ 5022407 w 6884782"/>
              <a:gd name="connsiteY47610" fmla="*/ 1690439 h 5973007"/>
              <a:gd name="connsiteX47611" fmla="*/ 4679228 w 6884782"/>
              <a:gd name="connsiteY47611" fmla="*/ 1690297 h 5973007"/>
              <a:gd name="connsiteX47612" fmla="*/ 4684777 w 6884782"/>
              <a:gd name="connsiteY47612" fmla="*/ 1693426 h 5973007"/>
              <a:gd name="connsiteX47613" fmla="*/ 4674106 w 6884782"/>
              <a:gd name="connsiteY47613" fmla="*/ 1694849 h 5973007"/>
              <a:gd name="connsiteX47614" fmla="*/ 4679228 w 6884782"/>
              <a:gd name="connsiteY47614" fmla="*/ 1690297 h 5973007"/>
              <a:gd name="connsiteX47615" fmla="*/ 5010669 w 6884782"/>
              <a:gd name="connsiteY47615" fmla="*/ 1690012 h 5973007"/>
              <a:gd name="connsiteX47616" fmla="*/ 5014724 w 6884782"/>
              <a:gd name="connsiteY47616" fmla="*/ 1691008 h 5973007"/>
              <a:gd name="connsiteX47617" fmla="*/ 5014724 w 6884782"/>
              <a:gd name="connsiteY47617" fmla="*/ 1692146 h 5973007"/>
              <a:gd name="connsiteX47618" fmla="*/ 5008962 w 6884782"/>
              <a:gd name="connsiteY47618" fmla="*/ 1692431 h 5973007"/>
              <a:gd name="connsiteX47619" fmla="*/ 5010669 w 6884782"/>
              <a:gd name="connsiteY47619" fmla="*/ 1690012 h 5973007"/>
              <a:gd name="connsiteX47620" fmla="*/ 4715296 w 6884782"/>
              <a:gd name="connsiteY47620" fmla="*/ 1690012 h 5973007"/>
              <a:gd name="connsiteX47621" fmla="*/ 4718497 w 6884782"/>
              <a:gd name="connsiteY47621" fmla="*/ 1690439 h 5973007"/>
              <a:gd name="connsiteX47622" fmla="*/ 4728741 w 6884782"/>
              <a:gd name="connsiteY47622" fmla="*/ 1696841 h 5973007"/>
              <a:gd name="connsiteX47623" fmla="*/ 4720205 w 6884782"/>
              <a:gd name="connsiteY47623" fmla="*/ 1704950 h 5973007"/>
              <a:gd name="connsiteX47624" fmla="*/ 4718924 w 6884782"/>
              <a:gd name="connsiteY47624" fmla="*/ 1704381 h 5973007"/>
              <a:gd name="connsiteX47625" fmla="*/ 4708893 w 6884782"/>
              <a:gd name="connsiteY47625" fmla="*/ 1695134 h 5973007"/>
              <a:gd name="connsiteX47626" fmla="*/ 4715296 w 6884782"/>
              <a:gd name="connsiteY47626" fmla="*/ 1690012 h 5973007"/>
              <a:gd name="connsiteX47627" fmla="*/ 1276557 w 6884782"/>
              <a:gd name="connsiteY47627" fmla="*/ 1689786 h 5973007"/>
              <a:gd name="connsiteX47628" fmla="*/ 1273356 w 6884782"/>
              <a:gd name="connsiteY47628" fmla="*/ 1695363 h 5973007"/>
              <a:gd name="connsiteX47629" fmla="*/ 1273046 w 6884782"/>
              <a:gd name="connsiteY47629" fmla="*/ 1694123 h 5973007"/>
              <a:gd name="connsiteX47630" fmla="*/ 1274079 w 6884782"/>
              <a:gd name="connsiteY47630" fmla="*/ 1692729 h 5973007"/>
              <a:gd name="connsiteX47631" fmla="*/ 1276557 w 6884782"/>
              <a:gd name="connsiteY47631" fmla="*/ 1689786 h 5973007"/>
              <a:gd name="connsiteX47632" fmla="*/ 1251053 w 6884782"/>
              <a:gd name="connsiteY47632" fmla="*/ 1689631 h 5973007"/>
              <a:gd name="connsiteX47633" fmla="*/ 1253531 w 6884782"/>
              <a:gd name="connsiteY47633" fmla="*/ 1691955 h 5973007"/>
              <a:gd name="connsiteX47634" fmla="*/ 1248368 w 6884782"/>
              <a:gd name="connsiteY47634" fmla="*/ 1693813 h 5973007"/>
              <a:gd name="connsiteX47635" fmla="*/ 1251053 w 6884782"/>
              <a:gd name="connsiteY47635" fmla="*/ 1689631 h 5973007"/>
              <a:gd name="connsiteX47636" fmla="*/ 766484 w 6884782"/>
              <a:gd name="connsiteY47636" fmla="*/ 1689554 h 5973007"/>
              <a:gd name="connsiteX47637" fmla="*/ 771221 w 6884782"/>
              <a:gd name="connsiteY47637" fmla="*/ 1694123 h 5973007"/>
              <a:gd name="connsiteX47638" fmla="*/ 769053 w 6884782"/>
              <a:gd name="connsiteY47638" fmla="*/ 1700784 h 5973007"/>
              <a:gd name="connsiteX47639" fmla="*/ 756765 w 6884782"/>
              <a:gd name="connsiteY47639" fmla="*/ 1694278 h 5973007"/>
              <a:gd name="connsiteX47640" fmla="*/ 759657 w 6884782"/>
              <a:gd name="connsiteY47640" fmla="*/ 1690096 h 5973007"/>
              <a:gd name="connsiteX47641" fmla="*/ 766484 w 6884782"/>
              <a:gd name="connsiteY47641" fmla="*/ 1689554 h 5973007"/>
              <a:gd name="connsiteX47642" fmla="*/ 1487819 w 6884782"/>
              <a:gd name="connsiteY47642" fmla="*/ 1689476 h 5973007"/>
              <a:gd name="connsiteX47643" fmla="*/ 1491743 w 6884782"/>
              <a:gd name="connsiteY47643" fmla="*/ 1689941 h 5973007"/>
              <a:gd name="connsiteX47644" fmla="*/ 1496183 w 6884782"/>
              <a:gd name="connsiteY47644" fmla="*/ 1694433 h 5973007"/>
              <a:gd name="connsiteX47645" fmla="*/ 1492259 w 6884782"/>
              <a:gd name="connsiteY47645" fmla="*/ 1700939 h 5973007"/>
              <a:gd name="connsiteX47646" fmla="*/ 1492156 w 6884782"/>
              <a:gd name="connsiteY47646" fmla="*/ 1700939 h 5973007"/>
              <a:gd name="connsiteX47647" fmla="*/ 1493189 w 6884782"/>
              <a:gd name="connsiteY47647" fmla="*/ 1701094 h 5973007"/>
              <a:gd name="connsiteX47648" fmla="*/ 1492362 w 6884782"/>
              <a:gd name="connsiteY47648" fmla="*/ 1701248 h 5973007"/>
              <a:gd name="connsiteX47649" fmla="*/ 1491846 w 6884782"/>
              <a:gd name="connsiteY47649" fmla="*/ 1701094 h 5973007"/>
              <a:gd name="connsiteX47650" fmla="*/ 1489265 w 6884782"/>
              <a:gd name="connsiteY47650" fmla="*/ 1702488 h 5973007"/>
              <a:gd name="connsiteX47651" fmla="*/ 1489884 w 6884782"/>
              <a:gd name="connsiteY47651" fmla="*/ 1704191 h 5973007"/>
              <a:gd name="connsiteX47652" fmla="*/ 1489058 w 6884782"/>
              <a:gd name="connsiteY47652" fmla="*/ 1702488 h 5973007"/>
              <a:gd name="connsiteX47653" fmla="*/ 1488232 w 6884782"/>
              <a:gd name="connsiteY47653" fmla="*/ 1702952 h 5973007"/>
              <a:gd name="connsiteX47654" fmla="*/ 1484618 w 6884782"/>
              <a:gd name="connsiteY47654" fmla="*/ 1703107 h 5973007"/>
              <a:gd name="connsiteX47655" fmla="*/ 1480591 w 6884782"/>
              <a:gd name="connsiteY47655" fmla="*/ 1697531 h 5973007"/>
              <a:gd name="connsiteX47656" fmla="*/ 1487819 w 6884782"/>
              <a:gd name="connsiteY47656" fmla="*/ 1689476 h 5973007"/>
              <a:gd name="connsiteX47657" fmla="*/ 5326743 w 6884782"/>
              <a:gd name="connsiteY47657" fmla="*/ 1688874 h 5973007"/>
              <a:gd name="connsiteX47658" fmla="*/ 5330158 w 6884782"/>
              <a:gd name="connsiteY47658" fmla="*/ 1690724 h 5973007"/>
              <a:gd name="connsiteX47659" fmla="*/ 5329945 w 6884782"/>
              <a:gd name="connsiteY47659" fmla="*/ 1695134 h 5973007"/>
              <a:gd name="connsiteX47660" fmla="*/ 5326316 w 6884782"/>
              <a:gd name="connsiteY47660" fmla="*/ 1698690 h 5973007"/>
              <a:gd name="connsiteX47661" fmla="*/ 5320128 w 6884782"/>
              <a:gd name="connsiteY47661" fmla="*/ 1691577 h 5973007"/>
              <a:gd name="connsiteX47662" fmla="*/ 5326743 w 6884782"/>
              <a:gd name="connsiteY47662" fmla="*/ 1688874 h 5973007"/>
              <a:gd name="connsiteX47663" fmla="*/ 1262307 w 6884782"/>
              <a:gd name="connsiteY47663" fmla="*/ 1688702 h 5973007"/>
              <a:gd name="connsiteX47664" fmla="*/ 1269948 w 6884782"/>
              <a:gd name="connsiteY47664" fmla="*/ 1696601 h 5973007"/>
              <a:gd name="connsiteX47665" fmla="*/ 1267057 w 6884782"/>
              <a:gd name="connsiteY47665" fmla="*/ 1699544 h 5973007"/>
              <a:gd name="connsiteX47666" fmla="*/ 1262307 w 6884782"/>
              <a:gd name="connsiteY47666" fmla="*/ 1688702 h 5973007"/>
              <a:gd name="connsiteX47667" fmla="*/ 1588958 w 6884782"/>
              <a:gd name="connsiteY47667" fmla="*/ 1688682 h 5973007"/>
              <a:gd name="connsiteX47668" fmla="*/ 1589836 w 6884782"/>
              <a:gd name="connsiteY47668" fmla="*/ 1693659 h 5973007"/>
              <a:gd name="connsiteX47669" fmla="*/ 1585293 w 6884782"/>
              <a:gd name="connsiteY47669" fmla="*/ 1691490 h 5973007"/>
              <a:gd name="connsiteX47670" fmla="*/ 1588958 w 6884782"/>
              <a:gd name="connsiteY47670" fmla="*/ 1688682 h 5973007"/>
              <a:gd name="connsiteX47671" fmla="*/ 4030645 w 6884782"/>
              <a:gd name="connsiteY47671" fmla="*/ 1688163 h 5973007"/>
              <a:gd name="connsiteX47672" fmla="*/ 4034487 w 6884782"/>
              <a:gd name="connsiteY47672" fmla="*/ 1689443 h 5973007"/>
              <a:gd name="connsiteX47673" fmla="*/ 4034487 w 6884782"/>
              <a:gd name="connsiteY47673" fmla="*/ 1690154 h 5973007"/>
              <a:gd name="connsiteX47674" fmla="*/ 4034701 w 6884782"/>
              <a:gd name="connsiteY47674" fmla="*/ 1690012 h 5973007"/>
              <a:gd name="connsiteX47675" fmla="*/ 4038968 w 6884782"/>
              <a:gd name="connsiteY47675" fmla="*/ 1688447 h 5973007"/>
              <a:gd name="connsiteX47676" fmla="*/ 4031712 w 6884782"/>
              <a:gd name="connsiteY47676" fmla="*/ 1693284 h 5973007"/>
              <a:gd name="connsiteX47677" fmla="*/ 4030005 w 6884782"/>
              <a:gd name="connsiteY47677" fmla="*/ 1692858 h 5973007"/>
              <a:gd name="connsiteX47678" fmla="*/ 4031072 w 6884782"/>
              <a:gd name="connsiteY47678" fmla="*/ 1692289 h 5973007"/>
              <a:gd name="connsiteX47679" fmla="*/ 4028725 w 6884782"/>
              <a:gd name="connsiteY47679" fmla="*/ 1690439 h 5973007"/>
              <a:gd name="connsiteX47680" fmla="*/ 4030645 w 6884782"/>
              <a:gd name="connsiteY47680" fmla="*/ 1688163 h 5973007"/>
              <a:gd name="connsiteX47681" fmla="*/ 3937381 w 6884782"/>
              <a:gd name="connsiteY47681" fmla="*/ 1687878 h 5973007"/>
              <a:gd name="connsiteX47682" fmla="*/ 3943570 w 6884782"/>
              <a:gd name="connsiteY47682" fmla="*/ 1693711 h 5973007"/>
              <a:gd name="connsiteX47683" fmla="*/ 3942503 w 6884782"/>
              <a:gd name="connsiteY47683" fmla="*/ 1706089 h 5973007"/>
              <a:gd name="connsiteX47684" fmla="*/ 3934179 w 6884782"/>
              <a:gd name="connsiteY47684" fmla="*/ 1688305 h 5973007"/>
              <a:gd name="connsiteX47685" fmla="*/ 3937381 w 6884782"/>
              <a:gd name="connsiteY47685" fmla="*/ 1687878 h 5973007"/>
              <a:gd name="connsiteX47686" fmla="*/ 4959235 w 6884782"/>
              <a:gd name="connsiteY47686" fmla="*/ 1687736 h 5973007"/>
              <a:gd name="connsiteX47687" fmla="*/ 4962863 w 6884782"/>
              <a:gd name="connsiteY47687" fmla="*/ 1687736 h 5973007"/>
              <a:gd name="connsiteX47688" fmla="*/ 4966918 w 6884782"/>
              <a:gd name="connsiteY47688" fmla="*/ 1690866 h 5973007"/>
              <a:gd name="connsiteX47689" fmla="*/ 4963503 w 6884782"/>
              <a:gd name="connsiteY47689" fmla="*/ 1697979 h 5973007"/>
              <a:gd name="connsiteX47690" fmla="*/ 4951552 w 6884782"/>
              <a:gd name="connsiteY47690" fmla="*/ 1695561 h 5973007"/>
              <a:gd name="connsiteX47691" fmla="*/ 4959235 w 6884782"/>
              <a:gd name="connsiteY47691" fmla="*/ 1687736 h 5973007"/>
              <a:gd name="connsiteX47692" fmla="*/ 1634236 w 6884782"/>
              <a:gd name="connsiteY47692" fmla="*/ 1687463 h 5973007"/>
              <a:gd name="connsiteX47693" fmla="*/ 1642187 w 6884782"/>
              <a:gd name="connsiteY47693" fmla="*/ 1698151 h 5973007"/>
              <a:gd name="connsiteX47694" fmla="*/ 1630623 w 6884782"/>
              <a:gd name="connsiteY47694" fmla="*/ 1691955 h 5973007"/>
              <a:gd name="connsiteX47695" fmla="*/ 1634236 w 6884782"/>
              <a:gd name="connsiteY47695" fmla="*/ 1687463 h 5973007"/>
              <a:gd name="connsiteX47696" fmla="*/ 1077066 w 6884782"/>
              <a:gd name="connsiteY47696" fmla="*/ 1687463 h 5973007"/>
              <a:gd name="connsiteX47697" fmla="*/ 1084397 w 6884782"/>
              <a:gd name="connsiteY47697" fmla="*/ 1693194 h 5973007"/>
              <a:gd name="connsiteX47698" fmla="*/ 1077066 w 6884782"/>
              <a:gd name="connsiteY47698" fmla="*/ 1687463 h 5973007"/>
              <a:gd name="connsiteX47699" fmla="*/ 5612939 w 6884782"/>
              <a:gd name="connsiteY47699" fmla="*/ 1686882 h 5973007"/>
              <a:gd name="connsiteX47700" fmla="*/ 5622543 w 6884782"/>
              <a:gd name="connsiteY47700" fmla="*/ 1692716 h 5973007"/>
              <a:gd name="connsiteX47701" fmla="*/ 5612726 w 6884782"/>
              <a:gd name="connsiteY47701" fmla="*/ 1705377 h 5973007"/>
              <a:gd name="connsiteX47702" fmla="*/ 5612939 w 6884782"/>
              <a:gd name="connsiteY47702" fmla="*/ 1686882 h 5973007"/>
              <a:gd name="connsiteX47703" fmla="*/ 1200457 w 6884782"/>
              <a:gd name="connsiteY47703" fmla="*/ 1686688 h 5973007"/>
              <a:gd name="connsiteX47704" fmla="*/ 1195810 w 6884782"/>
              <a:gd name="connsiteY47704" fmla="*/ 1692574 h 5973007"/>
              <a:gd name="connsiteX47705" fmla="*/ 1188996 w 6884782"/>
              <a:gd name="connsiteY47705" fmla="*/ 1688857 h 5973007"/>
              <a:gd name="connsiteX47706" fmla="*/ 1200457 w 6884782"/>
              <a:gd name="connsiteY47706" fmla="*/ 1686688 h 5973007"/>
              <a:gd name="connsiteX47707" fmla="*/ 1558653 w 6884782"/>
              <a:gd name="connsiteY47707" fmla="*/ 1686378 h 5973007"/>
              <a:gd name="connsiteX47708" fmla="*/ 1559685 w 6884782"/>
              <a:gd name="connsiteY47708" fmla="*/ 1693968 h 5973007"/>
              <a:gd name="connsiteX47709" fmla="*/ 1554006 w 6884782"/>
              <a:gd name="connsiteY47709" fmla="*/ 1691180 h 5973007"/>
              <a:gd name="connsiteX47710" fmla="*/ 1558653 w 6884782"/>
              <a:gd name="connsiteY47710" fmla="*/ 1686378 h 5973007"/>
              <a:gd name="connsiteX47711" fmla="*/ 4729168 w 6884782"/>
              <a:gd name="connsiteY47711" fmla="*/ 1686171 h 5973007"/>
              <a:gd name="connsiteX47712" fmla="*/ 4727888 w 6884782"/>
              <a:gd name="connsiteY47712" fmla="*/ 1686455 h 5973007"/>
              <a:gd name="connsiteX47713" fmla="*/ 4727461 w 6884782"/>
              <a:gd name="connsiteY47713" fmla="*/ 1687594 h 5973007"/>
              <a:gd name="connsiteX47714" fmla="*/ 955533 w 6884782"/>
              <a:gd name="connsiteY47714" fmla="*/ 1686068 h 5973007"/>
              <a:gd name="connsiteX47715" fmla="*/ 964310 w 6884782"/>
              <a:gd name="connsiteY47715" fmla="*/ 1689786 h 5973007"/>
              <a:gd name="connsiteX47716" fmla="*/ 958941 w 6884782"/>
              <a:gd name="connsiteY47716" fmla="*/ 1697531 h 5973007"/>
              <a:gd name="connsiteX47717" fmla="*/ 952745 w 6884782"/>
              <a:gd name="connsiteY47717" fmla="*/ 1691645 h 5973007"/>
              <a:gd name="connsiteX47718" fmla="*/ 955533 w 6884782"/>
              <a:gd name="connsiteY47718" fmla="*/ 1686068 h 5973007"/>
              <a:gd name="connsiteX47719" fmla="*/ 1568359 w 6884782"/>
              <a:gd name="connsiteY47719" fmla="*/ 1685604 h 5973007"/>
              <a:gd name="connsiteX47720" fmla="*/ 1576723 w 6884782"/>
              <a:gd name="connsiteY47720" fmla="*/ 1691490 h 5973007"/>
              <a:gd name="connsiteX47721" fmla="*/ 1565674 w 6884782"/>
              <a:gd name="connsiteY47721" fmla="*/ 1685759 h 5973007"/>
              <a:gd name="connsiteX47722" fmla="*/ 1568359 w 6884782"/>
              <a:gd name="connsiteY47722" fmla="*/ 1685604 h 5973007"/>
              <a:gd name="connsiteX47723" fmla="*/ 1597167 w 6884782"/>
              <a:gd name="connsiteY47723" fmla="*/ 1684830 h 5973007"/>
              <a:gd name="connsiteX47724" fmla="*/ 1635992 w 6884782"/>
              <a:gd name="connsiteY47724" fmla="*/ 1704346 h 5973007"/>
              <a:gd name="connsiteX47725" fmla="*/ 1628247 w 6884782"/>
              <a:gd name="connsiteY47725" fmla="*/ 1719526 h 5973007"/>
              <a:gd name="connsiteX47726" fmla="*/ 1599130 w 6884782"/>
              <a:gd name="connsiteY47726" fmla="*/ 1713021 h 5973007"/>
              <a:gd name="connsiteX47727" fmla="*/ 1596135 w 6884782"/>
              <a:gd name="connsiteY47727" fmla="*/ 1703107 h 5973007"/>
              <a:gd name="connsiteX47728" fmla="*/ 1594999 w 6884782"/>
              <a:gd name="connsiteY47728" fmla="*/ 1698305 h 5973007"/>
              <a:gd name="connsiteX47729" fmla="*/ 1593863 w 6884782"/>
              <a:gd name="connsiteY47729" fmla="*/ 1695053 h 5973007"/>
              <a:gd name="connsiteX47730" fmla="*/ 1594793 w 6884782"/>
              <a:gd name="connsiteY47730" fmla="*/ 1694743 h 5973007"/>
              <a:gd name="connsiteX47731" fmla="*/ 1594689 w 6884782"/>
              <a:gd name="connsiteY47731" fmla="*/ 1692574 h 5973007"/>
              <a:gd name="connsiteX47732" fmla="*/ 1597167 w 6884782"/>
              <a:gd name="connsiteY47732" fmla="*/ 1684830 h 5973007"/>
              <a:gd name="connsiteX47733" fmla="*/ 1463244 w 6884782"/>
              <a:gd name="connsiteY47733" fmla="*/ 1684830 h 5973007"/>
              <a:gd name="connsiteX47734" fmla="*/ 1465516 w 6884782"/>
              <a:gd name="connsiteY47734" fmla="*/ 1689476 h 5973007"/>
              <a:gd name="connsiteX47735" fmla="*/ 1458907 w 6884782"/>
              <a:gd name="connsiteY47735" fmla="*/ 1689321 h 5973007"/>
              <a:gd name="connsiteX47736" fmla="*/ 1458907 w 6884782"/>
              <a:gd name="connsiteY47736" fmla="*/ 1687463 h 5973007"/>
              <a:gd name="connsiteX47737" fmla="*/ 1460663 w 6884782"/>
              <a:gd name="connsiteY47737" fmla="*/ 1685294 h 5973007"/>
              <a:gd name="connsiteX47738" fmla="*/ 1463244 w 6884782"/>
              <a:gd name="connsiteY47738" fmla="*/ 1684830 h 5973007"/>
              <a:gd name="connsiteX47739" fmla="*/ 3664417 w 6884782"/>
              <a:gd name="connsiteY47739" fmla="*/ 1684464 h 5973007"/>
              <a:gd name="connsiteX47740" fmla="*/ 3664204 w 6884782"/>
              <a:gd name="connsiteY47740" fmla="*/ 1686740 h 5973007"/>
              <a:gd name="connsiteX47741" fmla="*/ 3666124 w 6884782"/>
              <a:gd name="connsiteY47741" fmla="*/ 1686029 h 5973007"/>
              <a:gd name="connsiteX47742" fmla="*/ 3666338 w 6884782"/>
              <a:gd name="connsiteY47742" fmla="*/ 1685032 h 5973007"/>
              <a:gd name="connsiteX47743" fmla="*/ 3665271 w 6884782"/>
              <a:gd name="connsiteY47743" fmla="*/ 1684748 h 5973007"/>
              <a:gd name="connsiteX47744" fmla="*/ 1374857 w 6884782"/>
              <a:gd name="connsiteY47744" fmla="*/ 1683590 h 5973007"/>
              <a:gd name="connsiteX47745" fmla="*/ 1375683 w 6884782"/>
              <a:gd name="connsiteY47745" fmla="*/ 1683590 h 5973007"/>
              <a:gd name="connsiteX47746" fmla="*/ 1375476 w 6884782"/>
              <a:gd name="connsiteY47746" fmla="*/ 1687772 h 5973007"/>
              <a:gd name="connsiteX47747" fmla="*/ 1373928 w 6884782"/>
              <a:gd name="connsiteY47747" fmla="*/ 1686378 h 5973007"/>
              <a:gd name="connsiteX47748" fmla="*/ 1374857 w 6884782"/>
              <a:gd name="connsiteY47748" fmla="*/ 1683590 h 5973007"/>
              <a:gd name="connsiteX47749" fmla="*/ 4608373 w 6884782"/>
              <a:gd name="connsiteY47749" fmla="*/ 1683325 h 5973007"/>
              <a:gd name="connsiteX47750" fmla="*/ 4616483 w 6884782"/>
              <a:gd name="connsiteY47750" fmla="*/ 1710926 h 5973007"/>
              <a:gd name="connsiteX47751" fmla="*/ 4598342 w 6884782"/>
              <a:gd name="connsiteY47751" fmla="*/ 1688732 h 5973007"/>
              <a:gd name="connsiteX47752" fmla="*/ 4608373 w 6884782"/>
              <a:gd name="connsiteY47752" fmla="*/ 1683325 h 5973007"/>
              <a:gd name="connsiteX47753" fmla="*/ 1009433 w 6884782"/>
              <a:gd name="connsiteY47753" fmla="*/ 1682971 h 5973007"/>
              <a:gd name="connsiteX47754" fmla="*/ 1014493 w 6884782"/>
              <a:gd name="connsiteY47754" fmla="*/ 1682971 h 5973007"/>
              <a:gd name="connsiteX47755" fmla="*/ 1016661 w 6884782"/>
              <a:gd name="connsiteY47755" fmla="*/ 1684365 h 5973007"/>
              <a:gd name="connsiteX47756" fmla="*/ 1017797 w 6884782"/>
              <a:gd name="connsiteY47756" fmla="*/ 1683900 h 5973007"/>
              <a:gd name="connsiteX47757" fmla="*/ 1015009 w 6884782"/>
              <a:gd name="connsiteY47757" fmla="*/ 1693039 h 5973007"/>
              <a:gd name="connsiteX47758" fmla="*/ 1010156 w 6884782"/>
              <a:gd name="connsiteY47758" fmla="*/ 1690096 h 5973007"/>
              <a:gd name="connsiteX47759" fmla="*/ 1010982 w 6884782"/>
              <a:gd name="connsiteY47759" fmla="*/ 1688082 h 5973007"/>
              <a:gd name="connsiteX47760" fmla="*/ 1011189 w 6884782"/>
              <a:gd name="connsiteY47760" fmla="*/ 1687772 h 5973007"/>
              <a:gd name="connsiteX47761" fmla="*/ 1006955 w 6884782"/>
              <a:gd name="connsiteY47761" fmla="*/ 1684830 h 5973007"/>
              <a:gd name="connsiteX47762" fmla="*/ 1009433 w 6884782"/>
              <a:gd name="connsiteY47762" fmla="*/ 1682971 h 5973007"/>
              <a:gd name="connsiteX47763" fmla="*/ 3928417 w 6884782"/>
              <a:gd name="connsiteY47763" fmla="*/ 1682756 h 5973007"/>
              <a:gd name="connsiteX47764" fmla="*/ 3932259 w 6884782"/>
              <a:gd name="connsiteY47764" fmla="*/ 1683468 h 5973007"/>
              <a:gd name="connsiteX47765" fmla="*/ 3928631 w 6884782"/>
              <a:gd name="connsiteY47765" fmla="*/ 1688163 h 5973007"/>
              <a:gd name="connsiteX47766" fmla="*/ 3928417 w 6884782"/>
              <a:gd name="connsiteY47766" fmla="*/ 1682756 h 5973007"/>
              <a:gd name="connsiteX47767" fmla="*/ 1227303 w 6884782"/>
              <a:gd name="connsiteY47767" fmla="*/ 1682351 h 5973007"/>
              <a:gd name="connsiteX47768" fmla="*/ 1228130 w 6884782"/>
              <a:gd name="connsiteY47768" fmla="*/ 1682351 h 5973007"/>
              <a:gd name="connsiteX47769" fmla="*/ 1228336 w 6884782"/>
              <a:gd name="connsiteY47769" fmla="*/ 1686533 h 5973007"/>
              <a:gd name="connsiteX47770" fmla="*/ 1226581 w 6884782"/>
              <a:gd name="connsiteY47770" fmla="*/ 1685294 h 5973007"/>
              <a:gd name="connsiteX47771" fmla="*/ 1227303 w 6884782"/>
              <a:gd name="connsiteY47771" fmla="*/ 1682351 h 5973007"/>
              <a:gd name="connsiteX47772" fmla="*/ 772460 w 6884782"/>
              <a:gd name="connsiteY47772" fmla="*/ 1682351 h 5973007"/>
              <a:gd name="connsiteX47773" fmla="*/ 782269 w 6884782"/>
              <a:gd name="connsiteY47773" fmla="*/ 1686998 h 5973007"/>
              <a:gd name="connsiteX47774" fmla="*/ 772460 w 6884782"/>
              <a:gd name="connsiteY47774" fmla="*/ 1682351 h 5973007"/>
              <a:gd name="connsiteX47775" fmla="*/ 5990266 w 6884782"/>
              <a:gd name="connsiteY47775" fmla="*/ 1682330 h 5973007"/>
              <a:gd name="connsiteX47776" fmla="*/ 5994747 w 6884782"/>
              <a:gd name="connsiteY47776" fmla="*/ 1682756 h 5973007"/>
              <a:gd name="connsiteX47777" fmla="*/ 5997095 w 6884782"/>
              <a:gd name="connsiteY47777" fmla="*/ 1682614 h 5973007"/>
              <a:gd name="connsiteX47778" fmla="*/ 5999656 w 6884782"/>
              <a:gd name="connsiteY47778" fmla="*/ 1684890 h 5973007"/>
              <a:gd name="connsiteX47779" fmla="*/ 5989626 w 6884782"/>
              <a:gd name="connsiteY47779" fmla="*/ 1686597 h 5973007"/>
              <a:gd name="connsiteX47780" fmla="*/ 5984076 w 6884782"/>
              <a:gd name="connsiteY47780" fmla="*/ 1687024 h 5973007"/>
              <a:gd name="connsiteX47781" fmla="*/ 5981302 w 6884782"/>
              <a:gd name="connsiteY47781" fmla="*/ 1684748 h 5973007"/>
              <a:gd name="connsiteX47782" fmla="*/ 5981088 w 6884782"/>
              <a:gd name="connsiteY47782" fmla="*/ 1683468 h 5973007"/>
              <a:gd name="connsiteX47783" fmla="*/ 5983436 w 6884782"/>
              <a:gd name="connsiteY47783" fmla="*/ 1682472 h 5973007"/>
              <a:gd name="connsiteX47784" fmla="*/ 5990266 w 6884782"/>
              <a:gd name="connsiteY47784" fmla="*/ 1682330 h 5973007"/>
              <a:gd name="connsiteX47785" fmla="*/ 1199631 w 6884782"/>
              <a:gd name="connsiteY47785" fmla="*/ 1682196 h 5973007"/>
              <a:gd name="connsiteX47786" fmla="*/ 1199528 w 6884782"/>
              <a:gd name="connsiteY47786" fmla="*/ 1683745 h 5973007"/>
              <a:gd name="connsiteX47787" fmla="*/ 1198805 w 6884782"/>
              <a:gd name="connsiteY47787" fmla="*/ 1682971 h 5973007"/>
              <a:gd name="connsiteX47788" fmla="*/ 1199631 w 6884782"/>
              <a:gd name="connsiteY47788" fmla="*/ 1682196 h 5973007"/>
              <a:gd name="connsiteX47789" fmla="*/ 5094116 w 6884782"/>
              <a:gd name="connsiteY47789" fmla="*/ 1681760 h 5973007"/>
              <a:gd name="connsiteX47790" fmla="*/ 5101372 w 6884782"/>
              <a:gd name="connsiteY47790" fmla="*/ 1683468 h 5973007"/>
              <a:gd name="connsiteX47791" fmla="*/ 5097530 w 6884782"/>
              <a:gd name="connsiteY47791" fmla="*/ 1695845 h 5973007"/>
              <a:gd name="connsiteX47792" fmla="*/ 5089847 w 6884782"/>
              <a:gd name="connsiteY47792" fmla="*/ 1693000 h 5973007"/>
              <a:gd name="connsiteX47793" fmla="*/ 5086646 w 6884782"/>
              <a:gd name="connsiteY47793" fmla="*/ 1684606 h 5973007"/>
              <a:gd name="connsiteX47794" fmla="*/ 5094116 w 6884782"/>
              <a:gd name="connsiteY47794" fmla="*/ 1681760 h 5973007"/>
              <a:gd name="connsiteX47795" fmla="*/ 5231985 w 6884782"/>
              <a:gd name="connsiteY47795" fmla="*/ 1681476 h 5973007"/>
              <a:gd name="connsiteX47796" fmla="*/ 5231985 w 6884782"/>
              <a:gd name="connsiteY47796" fmla="*/ 1690154 h 5973007"/>
              <a:gd name="connsiteX47797" fmla="*/ 5233479 w 6884782"/>
              <a:gd name="connsiteY47797" fmla="*/ 1687167 h 5973007"/>
              <a:gd name="connsiteX47798" fmla="*/ 5238601 w 6884782"/>
              <a:gd name="connsiteY47798" fmla="*/ 1684890 h 5973007"/>
              <a:gd name="connsiteX47799" fmla="*/ 5242016 w 6884782"/>
              <a:gd name="connsiteY47799" fmla="*/ 1691008 h 5973007"/>
              <a:gd name="connsiteX47800" fmla="*/ 5236253 w 6884782"/>
              <a:gd name="connsiteY47800" fmla="*/ 1694423 h 5973007"/>
              <a:gd name="connsiteX47801" fmla="*/ 5231772 w 6884782"/>
              <a:gd name="connsiteY47801" fmla="*/ 1692716 h 5973007"/>
              <a:gd name="connsiteX47802" fmla="*/ 5231772 w 6884782"/>
              <a:gd name="connsiteY47802" fmla="*/ 1693853 h 5973007"/>
              <a:gd name="connsiteX47803" fmla="*/ 5231558 w 6884782"/>
              <a:gd name="connsiteY47803" fmla="*/ 1699686 h 5973007"/>
              <a:gd name="connsiteX47804" fmla="*/ 5231345 w 6884782"/>
              <a:gd name="connsiteY47804" fmla="*/ 1704523 h 5973007"/>
              <a:gd name="connsiteX47805" fmla="*/ 5228784 w 6884782"/>
              <a:gd name="connsiteY47805" fmla="*/ 1704239 h 5973007"/>
              <a:gd name="connsiteX47806" fmla="*/ 5227077 w 6884782"/>
              <a:gd name="connsiteY47806" fmla="*/ 1701536 h 5973007"/>
              <a:gd name="connsiteX47807" fmla="*/ 5226863 w 6884782"/>
              <a:gd name="connsiteY47807" fmla="*/ 1689869 h 5973007"/>
              <a:gd name="connsiteX47808" fmla="*/ 5227290 w 6884782"/>
              <a:gd name="connsiteY47808" fmla="*/ 1687167 h 5973007"/>
              <a:gd name="connsiteX47809" fmla="*/ 5227717 w 6884782"/>
              <a:gd name="connsiteY47809" fmla="*/ 1684464 h 5973007"/>
              <a:gd name="connsiteX47810" fmla="*/ 5231985 w 6884782"/>
              <a:gd name="connsiteY47810" fmla="*/ 1681476 h 5973007"/>
              <a:gd name="connsiteX47811" fmla="*/ 5363452 w 6884782"/>
              <a:gd name="connsiteY47811" fmla="*/ 1680622 h 5973007"/>
              <a:gd name="connsiteX47812" fmla="*/ 5370922 w 6884782"/>
              <a:gd name="connsiteY47812" fmla="*/ 1686171 h 5973007"/>
              <a:gd name="connsiteX47813" fmla="*/ 5359824 w 6884782"/>
              <a:gd name="connsiteY47813" fmla="*/ 1682756 h 5973007"/>
              <a:gd name="connsiteX47814" fmla="*/ 5363452 w 6884782"/>
              <a:gd name="connsiteY47814" fmla="*/ 1680622 h 5973007"/>
              <a:gd name="connsiteX47815" fmla="*/ 1479559 w 6884782"/>
              <a:gd name="connsiteY47815" fmla="*/ 1680338 h 5973007"/>
              <a:gd name="connsiteX47816" fmla="*/ 1482966 w 6884782"/>
              <a:gd name="connsiteY47816" fmla="*/ 1685604 h 5973007"/>
              <a:gd name="connsiteX47817" fmla="*/ 1482656 w 6884782"/>
              <a:gd name="connsiteY47817" fmla="*/ 1686688 h 5973007"/>
              <a:gd name="connsiteX47818" fmla="*/ 1479559 w 6884782"/>
              <a:gd name="connsiteY47818" fmla="*/ 1680338 h 5973007"/>
              <a:gd name="connsiteX47819" fmla="*/ 5214911 w 6884782"/>
              <a:gd name="connsiteY47819" fmla="*/ 1680195 h 5973007"/>
              <a:gd name="connsiteX47820" fmla="*/ 5223449 w 6884782"/>
              <a:gd name="connsiteY47820" fmla="*/ 1686597 h 5973007"/>
              <a:gd name="connsiteX47821" fmla="*/ 5223449 w 6884782"/>
              <a:gd name="connsiteY47821" fmla="*/ 1698406 h 5973007"/>
              <a:gd name="connsiteX47822" fmla="*/ 5218540 w 6884782"/>
              <a:gd name="connsiteY47822" fmla="*/ 1698264 h 5973007"/>
              <a:gd name="connsiteX47823" fmla="*/ 5214911 w 6884782"/>
              <a:gd name="connsiteY47823" fmla="*/ 1680195 h 5973007"/>
              <a:gd name="connsiteX47824" fmla="*/ 1537589 w 6884782"/>
              <a:gd name="connsiteY47824" fmla="*/ 1679873 h 5973007"/>
              <a:gd name="connsiteX47825" fmla="*/ 1543061 w 6884782"/>
              <a:gd name="connsiteY47825" fmla="*/ 1683280 h 5973007"/>
              <a:gd name="connsiteX47826" fmla="*/ 1543164 w 6884782"/>
              <a:gd name="connsiteY47826" fmla="*/ 1684984 h 5973007"/>
              <a:gd name="connsiteX47827" fmla="*/ 1544920 w 6884782"/>
              <a:gd name="connsiteY47827" fmla="*/ 1685139 h 5973007"/>
              <a:gd name="connsiteX47828" fmla="*/ 1544816 w 6884782"/>
              <a:gd name="connsiteY47828" fmla="*/ 1685604 h 5973007"/>
              <a:gd name="connsiteX47829" fmla="*/ 1546365 w 6884782"/>
              <a:gd name="connsiteY47829" fmla="*/ 1685604 h 5973007"/>
              <a:gd name="connsiteX47830" fmla="*/ 1554729 w 6884782"/>
              <a:gd name="connsiteY47830" fmla="*/ 1695982 h 5973007"/>
              <a:gd name="connsiteX47831" fmla="*/ 1551735 w 6884782"/>
              <a:gd name="connsiteY47831" fmla="*/ 1697996 h 5973007"/>
              <a:gd name="connsiteX47832" fmla="*/ 1549463 w 6884782"/>
              <a:gd name="connsiteY47832" fmla="*/ 1697531 h 5973007"/>
              <a:gd name="connsiteX47833" fmla="*/ 1549463 w 6884782"/>
              <a:gd name="connsiteY47833" fmla="*/ 1697841 h 5973007"/>
              <a:gd name="connsiteX47834" fmla="*/ 1544094 w 6884782"/>
              <a:gd name="connsiteY47834" fmla="*/ 1703572 h 5973007"/>
              <a:gd name="connsiteX47835" fmla="*/ 1543577 w 6884782"/>
              <a:gd name="connsiteY47835" fmla="*/ 1701094 h 5973007"/>
              <a:gd name="connsiteX47836" fmla="*/ 1546159 w 6884782"/>
              <a:gd name="connsiteY47836" fmla="*/ 1697376 h 5973007"/>
              <a:gd name="connsiteX47837" fmla="*/ 1546882 w 6884782"/>
              <a:gd name="connsiteY47837" fmla="*/ 1697066 h 5973007"/>
              <a:gd name="connsiteX47838" fmla="*/ 1545539 w 6884782"/>
              <a:gd name="connsiteY47838" fmla="*/ 1695207 h 5973007"/>
              <a:gd name="connsiteX47839" fmla="*/ 1542958 w 6884782"/>
              <a:gd name="connsiteY47839" fmla="*/ 1693659 h 5973007"/>
              <a:gd name="connsiteX47840" fmla="*/ 1542648 w 6884782"/>
              <a:gd name="connsiteY47840" fmla="*/ 1691180 h 5973007"/>
              <a:gd name="connsiteX47841" fmla="*/ 1542648 w 6884782"/>
              <a:gd name="connsiteY47841" fmla="*/ 1691025 h 5973007"/>
              <a:gd name="connsiteX47842" fmla="*/ 1542545 w 6884782"/>
              <a:gd name="connsiteY47842" fmla="*/ 1691025 h 5973007"/>
              <a:gd name="connsiteX47843" fmla="*/ 1541409 w 6884782"/>
              <a:gd name="connsiteY47843" fmla="*/ 1692265 h 5973007"/>
              <a:gd name="connsiteX47844" fmla="*/ 1541719 w 6884782"/>
              <a:gd name="connsiteY47844" fmla="*/ 1692420 h 5973007"/>
              <a:gd name="connsiteX47845" fmla="*/ 1543991 w 6884782"/>
              <a:gd name="connsiteY47845" fmla="*/ 1700164 h 5973007"/>
              <a:gd name="connsiteX47846" fmla="*/ 1535214 w 6884782"/>
              <a:gd name="connsiteY47846" fmla="*/ 1695363 h 5973007"/>
              <a:gd name="connsiteX47847" fmla="*/ 1534078 w 6884782"/>
              <a:gd name="connsiteY47847" fmla="*/ 1692729 h 5973007"/>
              <a:gd name="connsiteX47848" fmla="*/ 1534284 w 6884782"/>
              <a:gd name="connsiteY47848" fmla="*/ 1690406 h 5973007"/>
              <a:gd name="connsiteX47849" fmla="*/ 1533355 w 6884782"/>
              <a:gd name="connsiteY47849" fmla="*/ 1690406 h 5973007"/>
              <a:gd name="connsiteX47850" fmla="*/ 1528399 w 6884782"/>
              <a:gd name="connsiteY47850" fmla="*/ 1691025 h 5973007"/>
              <a:gd name="connsiteX47851" fmla="*/ 1527160 w 6884782"/>
              <a:gd name="connsiteY47851" fmla="*/ 1686998 h 5973007"/>
              <a:gd name="connsiteX47852" fmla="*/ 1529948 w 6884782"/>
              <a:gd name="connsiteY47852" fmla="*/ 1683126 h 5973007"/>
              <a:gd name="connsiteX47853" fmla="*/ 1531083 w 6884782"/>
              <a:gd name="connsiteY47853" fmla="*/ 1682816 h 5973007"/>
              <a:gd name="connsiteX47854" fmla="*/ 1536349 w 6884782"/>
              <a:gd name="connsiteY47854" fmla="*/ 1681732 h 5973007"/>
              <a:gd name="connsiteX47855" fmla="*/ 4661514 w 6884782"/>
              <a:gd name="connsiteY47855" fmla="*/ 1679058 h 5973007"/>
              <a:gd name="connsiteX47856" fmla="*/ 4646788 w 6884782"/>
              <a:gd name="connsiteY47856" fmla="*/ 1709503 h 5973007"/>
              <a:gd name="connsiteX47857" fmla="*/ 4661514 w 6884782"/>
              <a:gd name="connsiteY47857" fmla="*/ 1679058 h 5973007"/>
              <a:gd name="connsiteX47858" fmla="*/ 3747651 w 6884782"/>
              <a:gd name="connsiteY47858" fmla="*/ 1678773 h 5973007"/>
              <a:gd name="connsiteX47859" fmla="*/ 3756828 w 6884782"/>
              <a:gd name="connsiteY47859" fmla="*/ 1686597 h 5973007"/>
              <a:gd name="connsiteX47860" fmla="*/ 3753200 w 6884782"/>
              <a:gd name="connsiteY47860" fmla="*/ 1712491 h 5973007"/>
              <a:gd name="connsiteX47861" fmla="*/ 3752986 w 6884782"/>
              <a:gd name="connsiteY47861" fmla="*/ 1712491 h 5973007"/>
              <a:gd name="connsiteX47862" fmla="*/ 3759388 w 6884782"/>
              <a:gd name="connsiteY47862" fmla="*/ 1717470 h 5973007"/>
              <a:gd name="connsiteX47863" fmla="*/ 3755120 w 6884782"/>
              <a:gd name="connsiteY47863" fmla="*/ 1728567 h 5973007"/>
              <a:gd name="connsiteX47864" fmla="*/ 3748291 w 6884782"/>
              <a:gd name="connsiteY47864" fmla="*/ 1729847 h 5973007"/>
              <a:gd name="connsiteX47865" fmla="*/ 3748291 w 6884782"/>
              <a:gd name="connsiteY47865" fmla="*/ 1730986 h 5973007"/>
              <a:gd name="connsiteX47866" fmla="*/ 3739754 w 6884782"/>
              <a:gd name="connsiteY47866" fmla="*/ 1737957 h 5973007"/>
              <a:gd name="connsiteX47867" fmla="*/ 3733351 w 6884782"/>
              <a:gd name="connsiteY47867" fmla="*/ 1719604 h 5973007"/>
              <a:gd name="connsiteX47868" fmla="*/ 3731644 w 6884782"/>
              <a:gd name="connsiteY47868" fmla="*/ 1715478 h 5973007"/>
              <a:gd name="connsiteX47869" fmla="*/ 3729723 w 6884782"/>
              <a:gd name="connsiteY47869" fmla="*/ 1719604 h 5973007"/>
              <a:gd name="connsiteX47870" fmla="*/ 3722467 w 6884782"/>
              <a:gd name="connsiteY47870" fmla="*/ 1705092 h 5973007"/>
              <a:gd name="connsiteX47871" fmla="*/ 3726949 w 6884782"/>
              <a:gd name="connsiteY47871" fmla="*/ 1706089 h 5973007"/>
              <a:gd name="connsiteX47872" fmla="*/ 3730150 w 6884782"/>
              <a:gd name="connsiteY47872" fmla="*/ 1707938 h 5973007"/>
              <a:gd name="connsiteX47873" fmla="*/ 3730363 w 6884782"/>
              <a:gd name="connsiteY47873" fmla="*/ 1703243 h 5973007"/>
              <a:gd name="connsiteX47874" fmla="*/ 3735272 w 6884782"/>
              <a:gd name="connsiteY47874" fmla="*/ 1708364 h 5973007"/>
              <a:gd name="connsiteX47875" fmla="*/ 3736126 w 6884782"/>
              <a:gd name="connsiteY47875" fmla="*/ 1709076 h 5973007"/>
              <a:gd name="connsiteX47876" fmla="*/ 3738901 w 6884782"/>
              <a:gd name="connsiteY47876" fmla="*/ 1707796 h 5973007"/>
              <a:gd name="connsiteX47877" fmla="*/ 3744236 w 6884782"/>
              <a:gd name="connsiteY47877" fmla="*/ 1709076 h 5973007"/>
              <a:gd name="connsiteX47878" fmla="*/ 3741248 w 6884782"/>
              <a:gd name="connsiteY47878" fmla="*/ 1700113 h 5973007"/>
              <a:gd name="connsiteX47879" fmla="*/ 3742956 w 6884782"/>
              <a:gd name="connsiteY47879" fmla="*/ 1680338 h 5973007"/>
              <a:gd name="connsiteX47880" fmla="*/ 3747651 w 6884782"/>
              <a:gd name="connsiteY47880" fmla="*/ 1678773 h 5973007"/>
              <a:gd name="connsiteX47881" fmla="*/ 1656436 w 6884782"/>
              <a:gd name="connsiteY47881" fmla="*/ 1678169 h 5973007"/>
              <a:gd name="connsiteX47882" fmla="*/ 1649622 w 6884782"/>
              <a:gd name="connsiteY47882" fmla="*/ 1681112 h 5973007"/>
              <a:gd name="connsiteX47883" fmla="*/ 1649105 w 6884782"/>
              <a:gd name="connsiteY47883" fmla="*/ 1679873 h 5973007"/>
              <a:gd name="connsiteX47884" fmla="*/ 1649622 w 6884782"/>
              <a:gd name="connsiteY47884" fmla="*/ 1678324 h 5973007"/>
              <a:gd name="connsiteX47885" fmla="*/ 1656436 w 6884782"/>
              <a:gd name="connsiteY47885" fmla="*/ 1678169 h 5973007"/>
              <a:gd name="connsiteX47886" fmla="*/ 1349146 w 6884782"/>
              <a:gd name="connsiteY47886" fmla="*/ 1678014 h 5973007"/>
              <a:gd name="connsiteX47887" fmla="*/ 1353483 w 6884782"/>
              <a:gd name="connsiteY47887" fmla="*/ 1678169 h 5973007"/>
              <a:gd name="connsiteX47888" fmla="*/ 1360504 w 6884782"/>
              <a:gd name="connsiteY47888" fmla="*/ 1689476 h 5973007"/>
              <a:gd name="connsiteX47889" fmla="*/ 1355858 w 6884782"/>
              <a:gd name="connsiteY47889" fmla="*/ 1695827 h 5973007"/>
              <a:gd name="connsiteX47890" fmla="*/ 1352863 w 6884782"/>
              <a:gd name="connsiteY47890" fmla="*/ 1696756 h 5973007"/>
              <a:gd name="connsiteX47891" fmla="*/ 1346668 w 6884782"/>
              <a:gd name="connsiteY47891" fmla="*/ 1679099 h 5973007"/>
              <a:gd name="connsiteX47892" fmla="*/ 1349146 w 6884782"/>
              <a:gd name="connsiteY47892" fmla="*/ 1678014 h 5973007"/>
              <a:gd name="connsiteX47893" fmla="*/ 5349580 w 6884782"/>
              <a:gd name="connsiteY47893" fmla="*/ 1677919 h 5973007"/>
              <a:gd name="connsiteX47894" fmla="*/ 5359610 w 6884782"/>
              <a:gd name="connsiteY47894" fmla="*/ 1684037 h 5973007"/>
              <a:gd name="connsiteX47895" fmla="*/ 5357903 w 6884782"/>
              <a:gd name="connsiteY47895" fmla="*/ 1690866 h 5973007"/>
              <a:gd name="connsiteX47896" fmla="*/ 5346378 w 6884782"/>
              <a:gd name="connsiteY47896" fmla="*/ 1692004 h 5973007"/>
              <a:gd name="connsiteX47897" fmla="*/ 5344457 w 6884782"/>
              <a:gd name="connsiteY47897" fmla="*/ 1680195 h 5973007"/>
              <a:gd name="connsiteX47898" fmla="*/ 5349580 w 6884782"/>
              <a:gd name="connsiteY47898" fmla="*/ 1677919 h 5973007"/>
              <a:gd name="connsiteX47899" fmla="*/ 1938842 w 6884782"/>
              <a:gd name="connsiteY47899" fmla="*/ 1677859 h 5973007"/>
              <a:gd name="connsiteX47900" fmla="*/ 1936674 w 6884782"/>
              <a:gd name="connsiteY47900" fmla="*/ 1690406 h 5973007"/>
              <a:gd name="connsiteX47901" fmla="*/ 1935228 w 6884782"/>
              <a:gd name="connsiteY47901" fmla="*/ 1682661 h 5973007"/>
              <a:gd name="connsiteX47902" fmla="*/ 1938842 w 6884782"/>
              <a:gd name="connsiteY47902" fmla="*/ 1677859 h 5973007"/>
              <a:gd name="connsiteX47903" fmla="*/ 1692886 w 6884782"/>
              <a:gd name="connsiteY47903" fmla="*/ 1677859 h 5973007"/>
              <a:gd name="connsiteX47904" fmla="*/ 1694435 w 6884782"/>
              <a:gd name="connsiteY47904" fmla="*/ 1679253 h 5973007"/>
              <a:gd name="connsiteX47905" fmla="*/ 1695984 w 6884782"/>
              <a:gd name="connsiteY47905" fmla="*/ 1682351 h 5973007"/>
              <a:gd name="connsiteX47906" fmla="*/ 1695158 w 6884782"/>
              <a:gd name="connsiteY47906" fmla="*/ 1684520 h 5973007"/>
              <a:gd name="connsiteX47907" fmla="*/ 1693299 w 6884782"/>
              <a:gd name="connsiteY47907" fmla="*/ 1684365 h 5973007"/>
              <a:gd name="connsiteX47908" fmla="*/ 1691750 w 6884782"/>
              <a:gd name="connsiteY47908" fmla="*/ 1684984 h 5973007"/>
              <a:gd name="connsiteX47909" fmla="*/ 1691337 w 6884782"/>
              <a:gd name="connsiteY47909" fmla="*/ 1684210 h 5973007"/>
              <a:gd name="connsiteX47910" fmla="*/ 1690201 w 6884782"/>
              <a:gd name="connsiteY47910" fmla="*/ 1683745 h 5973007"/>
              <a:gd name="connsiteX47911" fmla="*/ 1689995 w 6884782"/>
              <a:gd name="connsiteY47911" fmla="*/ 1681576 h 5973007"/>
              <a:gd name="connsiteX47912" fmla="*/ 1690201 w 6884782"/>
              <a:gd name="connsiteY47912" fmla="*/ 1679873 h 5973007"/>
              <a:gd name="connsiteX47913" fmla="*/ 1691234 w 6884782"/>
              <a:gd name="connsiteY47913" fmla="*/ 1678324 h 5973007"/>
              <a:gd name="connsiteX47914" fmla="*/ 1692886 w 6884782"/>
              <a:gd name="connsiteY47914" fmla="*/ 1677859 h 5973007"/>
              <a:gd name="connsiteX47915" fmla="*/ 5040334 w 6884782"/>
              <a:gd name="connsiteY47915" fmla="*/ 1677777 h 5973007"/>
              <a:gd name="connsiteX47916" fmla="*/ 5043962 w 6884782"/>
              <a:gd name="connsiteY47916" fmla="*/ 1678346 h 5973007"/>
              <a:gd name="connsiteX47917" fmla="*/ 5050578 w 6884782"/>
              <a:gd name="connsiteY47917" fmla="*/ 1677777 h 5973007"/>
              <a:gd name="connsiteX47918" fmla="*/ 5071493 w 6884782"/>
              <a:gd name="connsiteY47918" fmla="*/ 1691292 h 5973007"/>
              <a:gd name="connsiteX47919" fmla="*/ 5049298 w 6884782"/>
              <a:gd name="connsiteY47919" fmla="*/ 1689301 h 5973007"/>
              <a:gd name="connsiteX47920" fmla="*/ 5048871 w 6884782"/>
              <a:gd name="connsiteY47920" fmla="*/ 1689301 h 5973007"/>
              <a:gd name="connsiteX47921" fmla="*/ 5050365 w 6884782"/>
              <a:gd name="connsiteY47921" fmla="*/ 1692004 h 5973007"/>
              <a:gd name="connsiteX47922" fmla="*/ 5047804 w 6884782"/>
              <a:gd name="connsiteY47922" fmla="*/ 1696414 h 5973007"/>
              <a:gd name="connsiteX47923" fmla="*/ 5039267 w 6884782"/>
              <a:gd name="connsiteY47923" fmla="*/ 1699971 h 5973007"/>
              <a:gd name="connsiteX47924" fmla="*/ 5037987 w 6884782"/>
              <a:gd name="connsiteY47924" fmla="*/ 1695134 h 5973007"/>
              <a:gd name="connsiteX47925" fmla="*/ 5039054 w 6884782"/>
              <a:gd name="connsiteY47925" fmla="*/ 1692289 h 5973007"/>
              <a:gd name="connsiteX47926" fmla="*/ 5037347 w 6884782"/>
              <a:gd name="connsiteY47926" fmla="*/ 1691861 h 5973007"/>
              <a:gd name="connsiteX47927" fmla="*/ 5034145 w 6884782"/>
              <a:gd name="connsiteY47927" fmla="*/ 1687451 h 5973007"/>
              <a:gd name="connsiteX47928" fmla="*/ 5027316 w 6884782"/>
              <a:gd name="connsiteY47928" fmla="*/ 1684464 h 5973007"/>
              <a:gd name="connsiteX47929" fmla="*/ 5033932 w 6884782"/>
              <a:gd name="connsiteY47929" fmla="*/ 1680480 h 5973007"/>
              <a:gd name="connsiteX47930" fmla="*/ 5034145 w 6884782"/>
              <a:gd name="connsiteY47930" fmla="*/ 1678061 h 5973007"/>
              <a:gd name="connsiteX47931" fmla="*/ 5040334 w 6884782"/>
              <a:gd name="connsiteY47931" fmla="*/ 1677777 h 5973007"/>
              <a:gd name="connsiteX47932" fmla="*/ 968854 w 6884782"/>
              <a:gd name="connsiteY47932" fmla="*/ 1677704 h 5973007"/>
              <a:gd name="connsiteX47933" fmla="*/ 970093 w 6884782"/>
              <a:gd name="connsiteY47933" fmla="*/ 1684984 h 5973007"/>
              <a:gd name="connsiteX47934" fmla="*/ 970402 w 6884782"/>
              <a:gd name="connsiteY47934" fmla="*/ 1689166 h 5973007"/>
              <a:gd name="connsiteX47935" fmla="*/ 968750 w 6884782"/>
              <a:gd name="connsiteY47935" fmla="*/ 1691025 h 5973007"/>
              <a:gd name="connsiteX47936" fmla="*/ 967821 w 6884782"/>
              <a:gd name="connsiteY47936" fmla="*/ 1691180 h 5973007"/>
              <a:gd name="connsiteX47937" fmla="*/ 967098 w 6884782"/>
              <a:gd name="connsiteY47937" fmla="*/ 1689476 h 5973007"/>
              <a:gd name="connsiteX47938" fmla="*/ 966995 w 6884782"/>
              <a:gd name="connsiteY47938" fmla="*/ 1684675 h 5973007"/>
              <a:gd name="connsiteX47939" fmla="*/ 967304 w 6884782"/>
              <a:gd name="connsiteY47939" fmla="*/ 1681267 h 5973007"/>
              <a:gd name="connsiteX47940" fmla="*/ 967201 w 6884782"/>
              <a:gd name="connsiteY47940" fmla="*/ 1679563 h 5973007"/>
              <a:gd name="connsiteX47941" fmla="*/ 968854 w 6884782"/>
              <a:gd name="connsiteY47941" fmla="*/ 1677704 h 5973007"/>
              <a:gd name="connsiteX47942" fmla="*/ 1602433 w 6884782"/>
              <a:gd name="connsiteY47942" fmla="*/ 1676465 h 5973007"/>
              <a:gd name="connsiteX47943" fmla="*/ 1606461 w 6884782"/>
              <a:gd name="connsiteY47943" fmla="*/ 1680338 h 5973007"/>
              <a:gd name="connsiteX47944" fmla="*/ 1604396 w 6884782"/>
              <a:gd name="connsiteY47944" fmla="*/ 1686998 h 5973007"/>
              <a:gd name="connsiteX47945" fmla="*/ 1600988 w 6884782"/>
              <a:gd name="connsiteY47945" fmla="*/ 1682816 h 5973007"/>
              <a:gd name="connsiteX47946" fmla="*/ 1602433 w 6884782"/>
              <a:gd name="connsiteY47946" fmla="*/ 1676465 h 5973007"/>
              <a:gd name="connsiteX47947" fmla="*/ 1501759 w 6884782"/>
              <a:gd name="connsiteY47947" fmla="*/ 1676465 h 5973007"/>
              <a:gd name="connsiteX47948" fmla="*/ 1501036 w 6884782"/>
              <a:gd name="connsiteY47948" fmla="*/ 1680492 h 5973007"/>
              <a:gd name="connsiteX47949" fmla="*/ 1493808 w 6884782"/>
              <a:gd name="connsiteY47949" fmla="*/ 1681732 h 5973007"/>
              <a:gd name="connsiteX47950" fmla="*/ 1489161 w 6884782"/>
              <a:gd name="connsiteY47950" fmla="*/ 1683126 h 5973007"/>
              <a:gd name="connsiteX47951" fmla="*/ 1494944 w 6884782"/>
              <a:gd name="connsiteY47951" fmla="*/ 1680183 h 5973007"/>
              <a:gd name="connsiteX47952" fmla="*/ 1496183 w 6884782"/>
              <a:gd name="connsiteY47952" fmla="*/ 1677704 h 5973007"/>
              <a:gd name="connsiteX47953" fmla="*/ 1501759 w 6884782"/>
              <a:gd name="connsiteY47953" fmla="*/ 1676465 h 5973007"/>
              <a:gd name="connsiteX47954" fmla="*/ 858266 w 6884782"/>
              <a:gd name="connsiteY47954" fmla="*/ 1676465 h 5973007"/>
              <a:gd name="connsiteX47955" fmla="*/ 859918 w 6884782"/>
              <a:gd name="connsiteY47955" fmla="*/ 1681576 h 5973007"/>
              <a:gd name="connsiteX47956" fmla="*/ 856407 w 6884782"/>
              <a:gd name="connsiteY47956" fmla="*/ 1682971 h 5973007"/>
              <a:gd name="connsiteX47957" fmla="*/ 854755 w 6884782"/>
              <a:gd name="connsiteY47957" fmla="*/ 1677704 h 5973007"/>
              <a:gd name="connsiteX47958" fmla="*/ 858266 w 6884782"/>
              <a:gd name="connsiteY47958" fmla="*/ 1676465 h 5973007"/>
              <a:gd name="connsiteX47959" fmla="*/ 1041726 w 6884782"/>
              <a:gd name="connsiteY47959" fmla="*/ 1676426 h 5973007"/>
              <a:gd name="connsiteX47960" fmla="*/ 1046089 w 6884782"/>
              <a:gd name="connsiteY47960" fmla="*/ 1679408 h 5973007"/>
              <a:gd name="connsiteX47961" fmla="*/ 1037209 w 6884782"/>
              <a:gd name="connsiteY47961" fmla="*/ 1680647 h 5973007"/>
              <a:gd name="connsiteX47962" fmla="*/ 1041726 w 6884782"/>
              <a:gd name="connsiteY47962" fmla="*/ 1676426 h 5973007"/>
              <a:gd name="connsiteX47963" fmla="*/ 4631422 w 6884782"/>
              <a:gd name="connsiteY47963" fmla="*/ 1676354 h 5973007"/>
              <a:gd name="connsiteX47964" fmla="*/ 4630995 w 6884782"/>
              <a:gd name="connsiteY47964" fmla="*/ 1681192 h 5973007"/>
              <a:gd name="connsiteX47965" fmla="*/ 4627367 w 6884782"/>
              <a:gd name="connsiteY47965" fmla="*/ 1682330 h 5973007"/>
              <a:gd name="connsiteX47966" fmla="*/ 4631422 w 6884782"/>
              <a:gd name="connsiteY47966" fmla="*/ 1676354 h 5973007"/>
              <a:gd name="connsiteX47967" fmla="*/ 5323542 w 6884782"/>
              <a:gd name="connsiteY47967" fmla="*/ 1675643 h 5973007"/>
              <a:gd name="connsiteX47968" fmla="*/ 5329304 w 6884782"/>
              <a:gd name="connsiteY47968" fmla="*/ 1680622 h 5973007"/>
              <a:gd name="connsiteX47969" fmla="*/ 5323542 w 6884782"/>
              <a:gd name="connsiteY47969" fmla="*/ 1675643 h 5973007"/>
              <a:gd name="connsiteX47970" fmla="*/ 3624294 w 6884782"/>
              <a:gd name="connsiteY47970" fmla="*/ 1675501 h 5973007"/>
              <a:gd name="connsiteX47971" fmla="*/ 3629629 w 6884782"/>
              <a:gd name="connsiteY47971" fmla="*/ 1677350 h 5973007"/>
              <a:gd name="connsiteX47972" fmla="*/ 3630910 w 6884782"/>
              <a:gd name="connsiteY47972" fmla="*/ 1681618 h 5973007"/>
              <a:gd name="connsiteX47973" fmla="*/ 3612556 w 6884782"/>
              <a:gd name="connsiteY47973" fmla="*/ 1695845 h 5973007"/>
              <a:gd name="connsiteX47974" fmla="*/ 3610422 w 6884782"/>
              <a:gd name="connsiteY47974" fmla="*/ 1693142 h 5973007"/>
              <a:gd name="connsiteX47975" fmla="*/ 3624294 w 6884782"/>
              <a:gd name="connsiteY47975" fmla="*/ 1675501 h 5973007"/>
              <a:gd name="connsiteX47976" fmla="*/ 5427691 w 6884782"/>
              <a:gd name="connsiteY47976" fmla="*/ 1674931 h 5973007"/>
              <a:gd name="connsiteX47977" fmla="*/ 5436868 w 6884782"/>
              <a:gd name="connsiteY47977" fmla="*/ 1689301 h 5973007"/>
              <a:gd name="connsiteX47978" fmla="*/ 5440069 w 6884782"/>
              <a:gd name="connsiteY47978" fmla="*/ 1709219 h 5973007"/>
              <a:gd name="connsiteX47979" fmla="*/ 5434948 w 6884782"/>
              <a:gd name="connsiteY47979" fmla="*/ 1713202 h 5973007"/>
              <a:gd name="connsiteX47980" fmla="*/ 5432386 w 6884782"/>
              <a:gd name="connsiteY47980" fmla="*/ 1714056 h 5973007"/>
              <a:gd name="connsiteX47981" fmla="*/ 5431746 w 6884782"/>
              <a:gd name="connsiteY47981" fmla="*/ 1715051 h 5973007"/>
              <a:gd name="connsiteX47982" fmla="*/ 5426837 w 6884782"/>
              <a:gd name="connsiteY47982" fmla="*/ 1715478 h 5973007"/>
              <a:gd name="connsiteX47983" fmla="*/ 5428331 w 6884782"/>
              <a:gd name="connsiteY47983" fmla="*/ 1713202 h 5973007"/>
              <a:gd name="connsiteX47984" fmla="*/ 5429185 w 6884782"/>
              <a:gd name="connsiteY47984" fmla="*/ 1712206 h 5973007"/>
              <a:gd name="connsiteX47985" fmla="*/ 5430465 w 6884782"/>
              <a:gd name="connsiteY47985" fmla="*/ 1707654 h 5973007"/>
              <a:gd name="connsiteX47986" fmla="*/ 5427691 w 6884782"/>
              <a:gd name="connsiteY47986" fmla="*/ 1674931 h 5973007"/>
              <a:gd name="connsiteX47987" fmla="*/ 5758065 w 6884782"/>
              <a:gd name="connsiteY47987" fmla="*/ 1674789 h 5973007"/>
              <a:gd name="connsiteX47988" fmla="*/ 5764041 w 6884782"/>
              <a:gd name="connsiteY47988" fmla="*/ 1678204 h 5973007"/>
              <a:gd name="connsiteX47989" fmla="*/ 5757638 w 6884782"/>
              <a:gd name="connsiteY47989" fmla="*/ 1688732 h 5973007"/>
              <a:gd name="connsiteX47990" fmla="*/ 5758065 w 6884782"/>
              <a:gd name="connsiteY47990" fmla="*/ 1674789 h 5973007"/>
              <a:gd name="connsiteX47991" fmla="*/ 4673892 w 6884782"/>
              <a:gd name="connsiteY47991" fmla="*/ 1674789 h 5973007"/>
              <a:gd name="connsiteX47992" fmla="*/ 4675813 w 6884782"/>
              <a:gd name="connsiteY47992" fmla="*/ 1675216 h 5973007"/>
              <a:gd name="connsiteX47993" fmla="*/ 4666850 w 6884782"/>
              <a:gd name="connsiteY47993" fmla="*/ 1680907 h 5973007"/>
              <a:gd name="connsiteX47994" fmla="*/ 4673892 w 6884782"/>
              <a:gd name="connsiteY47994" fmla="*/ 1674789 h 5973007"/>
              <a:gd name="connsiteX47995" fmla="*/ 1065088 w 6884782"/>
              <a:gd name="connsiteY47995" fmla="*/ 1674452 h 5973007"/>
              <a:gd name="connsiteX47996" fmla="*/ 1066224 w 6884782"/>
              <a:gd name="connsiteY47996" fmla="*/ 1686223 h 5973007"/>
              <a:gd name="connsiteX47997" fmla="*/ 1065398 w 6884782"/>
              <a:gd name="connsiteY47997" fmla="*/ 1686223 h 5973007"/>
              <a:gd name="connsiteX47998" fmla="*/ 1063849 w 6884782"/>
              <a:gd name="connsiteY47998" fmla="*/ 1677704 h 5973007"/>
              <a:gd name="connsiteX47999" fmla="*/ 1064159 w 6884782"/>
              <a:gd name="connsiteY47999" fmla="*/ 1675381 h 5973007"/>
              <a:gd name="connsiteX48000" fmla="*/ 1375993 w 6884782"/>
              <a:gd name="connsiteY48000" fmla="*/ 1674297 h 5973007"/>
              <a:gd name="connsiteX48001" fmla="*/ 1378677 w 6884782"/>
              <a:gd name="connsiteY48001" fmla="*/ 1674297 h 5973007"/>
              <a:gd name="connsiteX48002" fmla="*/ 1377645 w 6884782"/>
              <a:gd name="connsiteY48002" fmla="*/ 1678633 h 5973007"/>
              <a:gd name="connsiteX48003" fmla="*/ 1374960 w 6884782"/>
              <a:gd name="connsiteY48003" fmla="*/ 1677859 h 5973007"/>
              <a:gd name="connsiteX48004" fmla="*/ 1375993 w 6884782"/>
              <a:gd name="connsiteY48004" fmla="*/ 1674297 h 5973007"/>
              <a:gd name="connsiteX48005" fmla="*/ 1058273 w 6884782"/>
              <a:gd name="connsiteY48005" fmla="*/ 1674142 h 5973007"/>
              <a:gd name="connsiteX48006" fmla="*/ 1058170 w 6884782"/>
              <a:gd name="connsiteY48006" fmla="*/ 1675845 h 5973007"/>
              <a:gd name="connsiteX48007" fmla="*/ 1061991 w 6884782"/>
              <a:gd name="connsiteY48007" fmla="*/ 1688237 h 5973007"/>
              <a:gd name="connsiteX48008" fmla="*/ 1054660 w 6884782"/>
              <a:gd name="connsiteY48008" fmla="*/ 1674297 h 5973007"/>
              <a:gd name="connsiteX48009" fmla="*/ 1058273 w 6884782"/>
              <a:gd name="connsiteY48009" fmla="*/ 1674142 h 5973007"/>
              <a:gd name="connsiteX48010" fmla="*/ 4570597 w 6884782"/>
              <a:gd name="connsiteY48010" fmla="*/ 1674078 h 5973007"/>
              <a:gd name="connsiteX48011" fmla="*/ 4574652 w 6884782"/>
              <a:gd name="connsiteY48011" fmla="*/ 1685032 h 5973007"/>
              <a:gd name="connsiteX48012" fmla="*/ 4573372 w 6884782"/>
              <a:gd name="connsiteY48012" fmla="*/ 1686171 h 5973007"/>
              <a:gd name="connsiteX48013" fmla="*/ 4560993 w 6884782"/>
              <a:gd name="connsiteY48013" fmla="*/ 1691577 h 5973007"/>
              <a:gd name="connsiteX48014" fmla="*/ 4560566 w 6884782"/>
              <a:gd name="connsiteY48014" fmla="*/ 1680907 h 5973007"/>
              <a:gd name="connsiteX48015" fmla="*/ 4570597 w 6884782"/>
              <a:gd name="connsiteY48015" fmla="*/ 1674078 h 5973007"/>
              <a:gd name="connsiteX48016" fmla="*/ 1565365 w 6884782"/>
              <a:gd name="connsiteY48016" fmla="*/ 1672902 h 5973007"/>
              <a:gd name="connsiteX48017" fmla="*/ 1570011 w 6884782"/>
              <a:gd name="connsiteY48017" fmla="*/ 1678479 h 5973007"/>
              <a:gd name="connsiteX48018" fmla="*/ 1565055 w 6884782"/>
              <a:gd name="connsiteY48018" fmla="*/ 1681267 h 5973007"/>
              <a:gd name="connsiteX48019" fmla="*/ 1563300 w 6884782"/>
              <a:gd name="connsiteY48019" fmla="*/ 1677239 h 5973007"/>
              <a:gd name="connsiteX48020" fmla="*/ 1565365 w 6884782"/>
              <a:gd name="connsiteY48020" fmla="*/ 1672902 h 5973007"/>
              <a:gd name="connsiteX48021" fmla="*/ 1230092 w 6884782"/>
              <a:gd name="connsiteY48021" fmla="*/ 1672902 h 5973007"/>
              <a:gd name="connsiteX48022" fmla="*/ 1229575 w 6884782"/>
              <a:gd name="connsiteY48022" fmla="*/ 1677239 h 5973007"/>
              <a:gd name="connsiteX48023" fmla="*/ 1226891 w 6884782"/>
              <a:gd name="connsiteY48023" fmla="*/ 1676775 h 5973007"/>
              <a:gd name="connsiteX48024" fmla="*/ 1227510 w 6884782"/>
              <a:gd name="connsiteY48024" fmla="*/ 1673212 h 5973007"/>
              <a:gd name="connsiteX48025" fmla="*/ 1230092 w 6884782"/>
              <a:gd name="connsiteY48025" fmla="*/ 1672902 h 5973007"/>
              <a:gd name="connsiteX48026" fmla="*/ 5832548 w 6884782"/>
              <a:gd name="connsiteY48026" fmla="*/ 1672797 h 5973007"/>
              <a:gd name="connsiteX48027" fmla="*/ 5837457 w 6884782"/>
              <a:gd name="connsiteY48027" fmla="*/ 1675785 h 5973007"/>
              <a:gd name="connsiteX48028" fmla="*/ 5837457 w 6884782"/>
              <a:gd name="connsiteY48028" fmla="*/ 1680765 h 5973007"/>
              <a:gd name="connsiteX48029" fmla="*/ 5833829 w 6884782"/>
              <a:gd name="connsiteY48029" fmla="*/ 1685460 h 5973007"/>
              <a:gd name="connsiteX48030" fmla="*/ 5834469 w 6884782"/>
              <a:gd name="connsiteY48030" fmla="*/ 1684464 h 5973007"/>
              <a:gd name="connsiteX48031" fmla="*/ 5832548 w 6884782"/>
              <a:gd name="connsiteY48031" fmla="*/ 1683183 h 5973007"/>
              <a:gd name="connsiteX48032" fmla="*/ 5831908 w 6884782"/>
              <a:gd name="connsiteY48032" fmla="*/ 1684179 h 5973007"/>
              <a:gd name="connsiteX48033" fmla="*/ 5830627 w 6884782"/>
              <a:gd name="connsiteY48033" fmla="*/ 1682045 h 5973007"/>
              <a:gd name="connsiteX48034" fmla="*/ 5832548 w 6884782"/>
              <a:gd name="connsiteY48034" fmla="*/ 1672797 h 5973007"/>
              <a:gd name="connsiteX48035" fmla="*/ 4631849 w 6884782"/>
              <a:gd name="connsiteY48035" fmla="*/ 1672797 h 5973007"/>
              <a:gd name="connsiteX48036" fmla="*/ 4632489 w 6884782"/>
              <a:gd name="connsiteY48036" fmla="*/ 1673651 h 5973007"/>
              <a:gd name="connsiteX48037" fmla="*/ 4631635 w 6884782"/>
              <a:gd name="connsiteY48037" fmla="*/ 1675501 h 5973007"/>
              <a:gd name="connsiteX48038" fmla="*/ 4630568 w 6884782"/>
              <a:gd name="connsiteY48038" fmla="*/ 1675501 h 5973007"/>
              <a:gd name="connsiteX48039" fmla="*/ 4631849 w 6884782"/>
              <a:gd name="connsiteY48039" fmla="*/ 1672797 h 5973007"/>
              <a:gd name="connsiteX48040" fmla="*/ 885668 w 6884782"/>
              <a:gd name="connsiteY48040" fmla="*/ 1672070 h 5973007"/>
              <a:gd name="connsiteX48041" fmla="*/ 891618 w 6884782"/>
              <a:gd name="connsiteY48041" fmla="*/ 1672438 h 5973007"/>
              <a:gd name="connsiteX48042" fmla="*/ 894819 w 6884782"/>
              <a:gd name="connsiteY48042" fmla="*/ 1681267 h 5973007"/>
              <a:gd name="connsiteX48043" fmla="*/ 892444 w 6884782"/>
              <a:gd name="connsiteY48043" fmla="*/ 1685759 h 5973007"/>
              <a:gd name="connsiteX48044" fmla="*/ 882015 w 6884782"/>
              <a:gd name="connsiteY48044" fmla="*/ 1686533 h 5973007"/>
              <a:gd name="connsiteX48045" fmla="*/ 879743 w 6884782"/>
              <a:gd name="connsiteY48045" fmla="*/ 1677549 h 5973007"/>
              <a:gd name="connsiteX48046" fmla="*/ 877988 w 6884782"/>
              <a:gd name="connsiteY48046" fmla="*/ 1676930 h 5973007"/>
              <a:gd name="connsiteX48047" fmla="*/ 876026 w 6884782"/>
              <a:gd name="connsiteY48047" fmla="*/ 1673832 h 5973007"/>
              <a:gd name="connsiteX48048" fmla="*/ 877781 w 6884782"/>
              <a:gd name="connsiteY48048" fmla="*/ 1672748 h 5973007"/>
              <a:gd name="connsiteX48049" fmla="*/ 880466 w 6884782"/>
              <a:gd name="connsiteY48049" fmla="*/ 1675691 h 5973007"/>
              <a:gd name="connsiteX48050" fmla="*/ 881396 w 6884782"/>
              <a:gd name="connsiteY48050" fmla="*/ 1675535 h 5973007"/>
              <a:gd name="connsiteX48051" fmla="*/ 883047 w 6884782"/>
              <a:gd name="connsiteY48051" fmla="*/ 1673677 h 5973007"/>
              <a:gd name="connsiteX48052" fmla="*/ 885668 w 6884782"/>
              <a:gd name="connsiteY48052" fmla="*/ 1672070 h 5973007"/>
              <a:gd name="connsiteX48053" fmla="*/ 1445587 w 6884782"/>
              <a:gd name="connsiteY48053" fmla="*/ 1671818 h 5973007"/>
              <a:gd name="connsiteX48054" fmla="*/ 1448995 w 6884782"/>
              <a:gd name="connsiteY48054" fmla="*/ 1673212 h 5973007"/>
              <a:gd name="connsiteX48055" fmla="*/ 1444142 w 6884782"/>
              <a:gd name="connsiteY48055" fmla="*/ 1682971 h 5973007"/>
              <a:gd name="connsiteX48056" fmla="*/ 1439495 w 6884782"/>
              <a:gd name="connsiteY48056" fmla="*/ 1680647 h 5973007"/>
              <a:gd name="connsiteX48057" fmla="*/ 1445587 w 6884782"/>
              <a:gd name="connsiteY48057" fmla="*/ 1671818 h 5973007"/>
              <a:gd name="connsiteX48058" fmla="*/ 1364841 w 6884782"/>
              <a:gd name="connsiteY48058" fmla="*/ 1670579 h 5973007"/>
              <a:gd name="connsiteX48059" fmla="*/ 1372689 w 6884782"/>
              <a:gd name="connsiteY48059" fmla="*/ 1673212 h 5973007"/>
              <a:gd name="connsiteX48060" fmla="*/ 1362260 w 6884782"/>
              <a:gd name="connsiteY48060" fmla="*/ 1676930 h 5973007"/>
              <a:gd name="connsiteX48061" fmla="*/ 1364841 w 6884782"/>
              <a:gd name="connsiteY48061" fmla="*/ 1670579 h 5973007"/>
              <a:gd name="connsiteX48062" fmla="*/ 1876992 w 6884782"/>
              <a:gd name="connsiteY48062" fmla="*/ 1670424 h 5973007"/>
              <a:gd name="connsiteX48063" fmla="*/ 1886388 w 6884782"/>
              <a:gd name="connsiteY48063" fmla="*/ 1703417 h 5973007"/>
              <a:gd name="connsiteX48064" fmla="*/ 1875443 w 6884782"/>
              <a:gd name="connsiteY48064" fmla="*/ 1680028 h 5973007"/>
              <a:gd name="connsiteX48065" fmla="*/ 1876992 w 6884782"/>
              <a:gd name="connsiteY48065" fmla="*/ 1670424 h 5973007"/>
              <a:gd name="connsiteX48066" fmla="*/ 998798 w 6884782"/>
              <a:gd name="connsiteY48066" fmla="*/ 1670114 h 5973007"/>
              <a:gd name="connsiteX48067" fmla="*/ 1001586 w 6884782"/>
              <a:gd name="connsiteY48067" fmla="*/ 1687308 h 5973007"/>
              <a:gd name="connsiteX48068" fmla="*/ 998178 w 6884782"/>
              <a:gd name="connsiteY48068" fmla="*/ 1686533 h 5973007"/>
              <a:gd name="connsiteX48069" fmla="*/ 995184 w 6884782"/>
              <a:gd name="connsiteY48069" fmla="*/ 1682196 h 5973007"/>
              <a:gd name="connsiteX48070" fmla="*/ 993531 w 6884782"/>
              <a:gd name="connsiteY48070" fmla="*/ 1678169 h 5973007"/>
              <a:gd name="connsiteX48071" fmla="*/ 987336 w 6884782"/>
              <a:gd name="connsiteY48071" fmla="*/ 1678479 h 5973007"/>
              <a:gd name="connsiteX48072" fmla="*/ 982380 w 6884782"/>
              <a:gd name="connsiteY48072" fmla="*/ 1675226 h 5973007"/>
              <a:gd name="connsiteX48073" fmla="*/ 987956 w 6884782"/>
              <a:gd name="connsiteY48073" fmla="*/ 1673057 h 5973007"/>
              <a:gd name="connsiteX48074" fmla="*/ 994668 w 6884782"/>
              <a:gd name="connsiteY48074" fmla="*/ 1672748 h 5973007"/>
              <a:gd name="connsiteX48075" fmla="*/ 996113 w 6884782"/>
              <a:gd name="connsiteY48075" fmla="*/ 1670424 h 5973007"/>
              <a:gd name="connsiteX48076" fmla="*/ 998798 w 6884782"/>
              <a:gd name="connsiteY48076" fmla="*/ 1670114 h 5973007"/>
              <a:gd name="connsiteX48077" fmla="*/ 4869599 w 6884782"/>
              <a:gd name="connsiteY48077" fmla="*/ 1669810 h 5973007"/>
              <a:gd name="connsiteX48078" fmla="*/ 4874080 w 6884782"/>
              <a:gd name="connsiteY48078" fmla="*/ 1672656 h 5973007"/>
              <a:gd name="connsiteX48079" fmla="*/ 4872586 w 6884782"/>
              <a:gd name="connsiteY48079" fmla="*/ 1684748 h 5973007"/>
              <a:gd name="connsiteX48080" fmla="*/ 4863196 w 6884782"/>
              <a:gd name="connsiteY48080" fmla="*/ 1670379 h 5973007"/>
              <a:gd name="connsiteX48081" fmla="*/ 4869599 w 6884782"/>
              <a:gd name="connsiteY48081" fmla="*/ 1669810 h 5973007"/>
              <a:gd name="connsiteX48082" fmla="*/ 5205521 w 6884782"/>
              <a:gd name="connsiteY48082" fmla="*/ 1669525 h 5973007"/>
              <a:gd name="connsiteX48083" fmla="*/ 5213418 w 6884782"/>
              <a:gd name="connsiteY48083" fmla="*/ 1674078 h 5973007"/>
              <a:gd name="connsiteX48084" fmla="*/ 5214698 w 6884782"/>
              <a:gd name="connsiteY48084" fmla="*/ 1679911 h 5973007"/>
              <a:gd name="connsiteX48085" fmla="*/ 5196771 w 6884782"/>
              <a:gd name="connsiteY48085" fmla="*/ 1673366 h 5973007"/>
              <a:gd name="connsiteX48086" fmla="*/ 5205521 w 6884782"/>
              <a:gd name="connsiteY48086" fmla="*/ 1669525 h 5973007"/>
              <a:gd name="connsiteX48087" fmla="*/ 6134110 w 6884782"/>
              <a:gd name="connsiteY48087" fmla="*/ 1668956 h 5973007"/>
              <a:gd name="connsiteX48088" fmla="*/ 6135604 w 6884782"/>
              <a:gd name="connsiteY48088" fmla="*/ 1670237 h 5973007"/>
              <a:gd name="connsiteX48089" fmla="*/ 6132830 w 6884782"/>
              <a:gd name="connsiteY48089" fmla="*/ 1680195 h 5973007"/>
              <a:gd name="connsiteX48090" fmla="*/ 6131976 w 6884782"/>
              <a:gd name="connsiteY48090" fmla="*/ 1679484 h 5973007"/>
              <a:gd name="connsiteX48091" fmla="*/ 6131549 w 6884782"/>
              <a:gd name="connsiteY48091" fmla="*/ 1679911 h 5973007"/>
              <a:gd name="connsiteX48092" fmla="*/ 6127494 w 6884782"/>
              <a:gd name="connsiteY48092" fmla="*/ 1679769 h 5973007"/>
              <a:gd name="connsiteX48093" fmla="*/ 6121946 w 6884782"/>
              <a:gd name="connsiteY48093" fmla="*/ 1680195 h 5973007"/>
              <a:gd name="connsiteX48094" fmla="*/ 6102951 w 6884782"/>
              <a:gd name="connsiteY48094" fmla="*/ 1676354 h 5973007"/>
              <a:gd name="connsiteX48095" fmla="*/ 6110634 w 6884782"/>
              <a:gd name="connsiteY48095" fmla="*/ 1674505 h 5973007"/>
              <a:gd name="connsiteX48096" fmla="*/ 6120878 w 6884782"/>
              <a:gd name="connsiteY48096" fmla="*/ 1674647 h 5973007"/>
              <a:gd name="connsiteX48097" fmla="*/ 6128348 w 6884782"/>
              <a:gd name="connsiteY48097" fmla="*/ 1673651 h 5973007"/>
              <a:gd name="connsiteX48098" fmla="*/ 6129629 w 6884782"/>
              <a:gd name="connsiteY48098" fmla="*/ 1671375 h 5973007"/>
              <a:gd name="connsiteX48099" fmla="*/ 6131976 w 6884782"/>
              <a:gd name="connsiteY48099" fmla="*/ 1669241 h 5973007"/>
              <a:gd name="connsiteX48100" fmla="*/ 6134110 w 6884782"/>
              <a:gd name="connsiteY48100" fmla="*/ 1668956 h 5973007"/>
              <a:gd name="connsiteX48101" fmla="*/ 6080969 w 6884782"/>
              <a:gd name="connsiteY48101" fmla="*/ 1668529 h 5973007"/>
              <a:gd name="connsiteX48102" fmla="*/ 6050877 w 6884782"/>
              <a:gd name="connsiteY48102" fmla="*/ 1688020 h 5973007"/>
              <a:gd name="connsiteX48103" fmla="*/ 6080969 w 6884782"/>
              <a:gd name="connsiteY48103" fmla="*/ 1668529 h 5973007"/>
              <a:gd name="connsiteX48104" fmla="*/ 1687827 w 6884782"/>
              <a:gd name="connsiteY48104" fmla="*/ 1667946 h 5973007"/>
              <a:gd name="connsiteX48105" fmla="*/ 1690924 w 6884782"/>
              <a:gd name="connsiteY48105" fmla="*/ 1669495 h 5973007"/>
              <a:gd name="connsiteX48106" fmla="*/ 1688033 w 6884782"/>
              <a:gd name="connsiteY48106" fmla="*/ 1682506 h 5973007"/>
              <a:gd name="connsiteX48107" fmla="*/ 1684212 w 6884782"/>
              <a:gd name="connsiteY48107" fmla="*/ 1675845 h 5973007"/>
              <a:gd name="connsiteX48108" fmla="*/ 1687827 w 6884782"/>
              <a:gd name="connsiteY48108" fmla="*/ 1667946 h 5973007"/>
              <a:gd name="connsiteX48109" fmla="*/ 5221314 w 6884782"/>
              <a:gd name="connsiteY48109" fmla="*/ 1667107 h 5973007"/>
              <a:gd name="connsiteX48110" fmla="*/ 5224942 w 6884782"/>
              <a:gd name="connsiteY48110" fmla="*/ 1675216 h 5973007"/>
              <a:gd name="connsiteX48111" fmla="*/ 5222808 w 6884782"/>
              <a:gd name="connsiteY48111" fmla="*/ 1678061 h 5973007"/>
              <a:gd name="connsiteX48112" fmla="*/ 5217046 w 6884782"/>
              <a:gd name="connsiteY48112" fmla="*/ 1678346 h 5973007"/>
              <a:gd name="connsiteX48113" fmla="*/ 5217686 w 6884782"/>
              <a:gd name="connsiteY48113" fmla="*/ 1667818 h 5973007"/>
              <a:gd name="connsiteX48114" fmla="*/ 5221314 w 6884782"/>
              <a:gd name="connsiteY48114" fmla="*/ 1667107 h 5973007"/>
              <a:gd name="connsiteX48115" fmla="*/ 4841854 w 6884782"/>
              <a:gd name="connsiteY48115" fmla="*/ 1666965 h 5973007"/>
              <a:gd name="connsiteX48116" fmla="*/ 4849964 w 6884782"/>
              <a:gd name="connsiteY48116" fmla="*/ 1695276 h 5973007"/>
              <a:gd name="connsiteX48117" fmla="*/ 4844202 w 6884782"/>
              <a:gd name="connsiteY48117" fmla="*/ 1695276 h 5973007"/>
              <a:gd name="connsiteX48118" fmla="*/ 4841854 w 6884782"/>
              <a:gd name="connsiteY48118" fmla="*/ 1666965 h 5973007"/>
              <a:gd name="connsiteX48119" fmla="*/ 1667485 w 6884782"/>
              <a:gd name="connsiteY48119" fmla="*/ 1666706 h 5973007"/>
              <a:gd name="connsiteX48120" fmla="*/ 1671512 w 6884782"/>
              <a:gd name="connsiteY48120" fmla="*/ 1668255 h 5973007"/>
              <a:gd name="connsiteX48121" fmla="*/ 1662012 w 6884782"/>
              <a:gd name="connsiteY48121" fmla="*/ 1686533 h 5973007"/>
              <a:gd name="connsiteX48122" fmla="*/ 1659018 w 6884782"/>
              <a:gd name="connsiteY48122" fmla="*/ 1680802 h 5973007"/>
              <a:gd name="connsiteX48123" fmla="*/ 1659225 w 6884782"/>
              <a:gd name="connsiteY48123" fmla="*/ 1673832 h 5973007"/>
              <a:gd name="connsiteX48124" fmla="*/ 1667485 w 6884782"/>
              <a:gd name="connsiteY48124" fmla="*/ 1666706 h 5973007"/>
              <a:gd name="connsiteX48125" fmla="*/ 4806213 w 6884782"/>
              <a:gd name="connsiteY48125" fmla="*/ 1665827 h 5973007"/>
              <a:gd name="connsiteX48126" fmla="*/ 4811548 w 6884782"/>
              <a:gd name="connsiteY48126" fmla="*/ 1670094 h 5973007"/>
              <a:gd name="connsiteX48127" fmla="*/ 4814536 w 6884782"/>
              <a:gd name="connsiteY48127" fmla="*/ 1676923 h 5973007"/>
              <a:gd name="connsiteX48128" fmla="*/ 4807066 w 6884782"/>
              <a:gd name="connsiteY48128" fmla="*/ 1677635 h 5973007"/>
              <a:gd name="connsiteX48129" fmla="*/ 4801091 w 6884782"/>
              <a:gd name="connsiteY48129" fmla="*/ 1668956 h 5973007"/>
              <a:gd name="connsiteX48130" fmla="*/ 4806213 w 6884782"/>
              <a:gd name="connsiteY48130" fmla="*/ 1665827 h 5973007"/>
              <a:gd name="connsiteX48131" fmla="*/ 5102226 w 6884782"/>
              <a:gd name="connsiteY48131" fmla="*/ 1664830 h 5973007"/>
              <a:gd name="connsiteX48132" fmla="*/ 5105000 w 6884782"/>
              <a:gd name="connsiteY48132" fmla="*/ 1668387 h 5973007"/>
              <a:gd name="connsiteX48133" fmla="*/ 5107348 w 6884782"/>
              <a:gd name="connsiteY48133" fmla="*/ 1674931 h 5973007"/>
              <a:gd name="connsiteX48134" fmla="*/ 5109909 w 6884782"/>
              <a:gd name="connsiteY48134" fmla="*/ 1677777 h 5973007"/>
              <a:gd name="connsiteX48135" fmla="*/ 5109482 w 6884782"/>
              <a:gd name="connsiteY48135" fmla="*/ 1678773 h 5973007"/>
              <a:gd name="connsiteX48136" fmla="*/ 5097744 w 6884782"/>
              <a:gd name="connsiteY48136" fmla="*/ 1669525 h 5973007"/>
              <a:gd name="connsiteX48137" fmla="*/ 5097317 w 6884782"/>
              <a:gd name="connsiteY48137" fmla="*/ 1667107 h 5973007"/>
              <a:gd name="connsiteX48138" fmla="*/ 5099665 w 6884782"/>
              <a:gd name="connsiteY48138" fmla="*/ 1665257 h 5973007"/>
              <a:gd name="connsiteX48139" fmla="*/ 5102226 w 6884782"/>
              <a:gd name="connsiteY48139" fmla="*/ 1664830 h 5973007"/>
              <a:gd name="connsiteX48140" fmla="*/ 5736083 w 6884782"/>
              <a:gd name="connsiteY48140" fmla="*/ 1664404 h 5973007"/>
              <a:gd name="connsiteX48141" fmla="*/ 5738430 w 6884782"/>
              <a:gd name="connsiteY48141" fmla="*/ 1666111 h 5973007"/>
              <a:gd name="connsiteX48142" fmla="*/ 5736296 w 6884782"/>
              <a:gd name="connsiteY48142" fmla="*/ 1672371 h 5973007"/>
              <a:gd name="connsiteX48143" fmla="*/ 5732668 w 6884782"/>
              <a:gd name="connsiteY48143" fmla="*/ 1667249 h 5973007"/>
              <a:gd name="connsiteX48144" fmla="*/ 5736083 w 6884782"/>
              <a:gd name="connsiteY48144" fmla="*/ 1664404 h 5973007"/>
              <a:gd name="connsiteX48145" fmla="*/ 4651057 w 6884782"/>
              <a:gd name="connsiteY48145" fmla="*/ 1664261 h 5973007"/>
              <a:gd name="connsiteX48146" fmla="*/ 4648922 w 6884782"/>
              <a:gd name="connsiteY48146" fmla="*/ 1666965 h 5973007"/>
              <a:gd name="connsiteX48147" fmla="*/ 4649349 w 6884782"/>
              <a:gd name="connsiteY48147" fmla="*/ 1669383 h 5973007"/>
              <a:gd name="connsiteX48148" fmla="*/ 4646148 w 6884782"/>
              <a:gd name="connsiteY48148" fmla="*/ 1670806 h 5973007"/>
              <a:gd name="connsiteX48149" fmla="*/ 4651057 w 6884782"/>
              <a:gd name="connsiteY48149" fmla="*/ 1664261 h 5973007"/>
              <a:gd name="connsiteX48150" fmla="*/ 3644782 w 6884782"/>
              <a:gd name="connsiteY48150" fmla="*/ 1664119 h 5973007"/>
              <a:gd name="connsiteX48151" fmla="*/ 3649478 w 6884782"/>
              <a:gd name="connsiteY48151" fmla="*/ 1664261 h 5973007"/>
              <a:gd name="connsiteX48152" fmla="*/ 3645636 w 6884782"/>
              <a:gd name="connsiteY48152" fmla="*/ 1670806 h 5973007"/>
              <a:gd name="connsiteX48153" fmla="*/ 3644782 w 6884782"/>
              <a:gd name="connsiteY48153" fmla="*/ 1664119 h 5973007"/>
              <a:gd name="connsiteX48154" fmla="*/ 918748 w 6884782"/>
              <a:gd name="connsiteY48154" fmla="*/ 1664054 h 5973007"/>
              <a:gd name="connsiteX48155" fmla="*/ 925279 w 6884782"/>
              <a:gd name="connsiteY48155" fmla="*/ 1666397 h 5973007"/>
              <a:gd name="connsiteX48156" fmla="*/ 915676 w 6884782"/>
              <a:gd name="connsiteY48156" fmla="*/ 1669650 h 5973007"/>
              <a:gd name="connsiteX48157" fmla="*/ 905248 w 6884782"/>
              <a:gd name="connsiteY48157" fmla="*/ 1666862 h 5973007"/>
              <a:gd name="connsiteX48158" fmla="*/ 909584 w 6884782"/>
              <a:gd name="connsiteY48158" fmla="*/ 1664383 h 5973007"/>
              <a:gd name="connsiteX48159" fmla="*/ 918748 w 6884782"/>
              <a:gd name="connsiteY48159" fmla="*/ 1664054 h 5973007"/>
              <a:gd name="connsiteX48160" fmla="*/ 5595866 w 6884782"/>
              <a:gd name="connsiteY48160" fmla="*/ 1663977 h 5973007"/>
              <a:gd name="connsiteX48161" fmla="*/ 5587969 w 6884782"/>
              <a:gd name="connsiteY48161" fmla="*/ 1684037 h 5973007"/>
              <a:gd name="connsiteX48162" fmla="*/ 5585195 w 6884782"/>
              <a:gd name="connsiteY48162" fmla="*/ 1680053 h 5973007"/>
              <a:gd name="connsiteX48163" fmla="*/ 5595866 w 6884782"/>
              <a:gd name="connsiteY48163" fmla="*/ 1663977 h 5973007"/>
              <a:gd name="connsiteX48164" fmla="*/ 1850093 w 6884782"/>
              <a:gd name="connsiteY48164" fmla="*/ 1663163 h 5973007"/>
              <a:gd name="connsiteX48165" fmla="*/ 1855514 w 6884782"/>
              <a:gd name="connsiteY48165" fmla="*/ 1667016 h 5973007"/>
              <a:gd name="connsiteX48166" fmla="*/ 1856031 w 6884782"/>
              <a:gd name="connsiteY48166" fmla="*/ 1671199 h 5973007"/>
              <a:gd name="connsiteX48167" fmla="*/ 1843434 w 6884782"/>
              <a:gd name="connsiteY48167" fmla="*/ 1665002 h 5973007"/>
              <a:gd name="connsiteX48168" fmla="*/ 1850093 w 6884782"/>
              <a:gd name="connsiteY48168" fmla="*/ 1663163 h 5973007"/>
              <a:gd name="connsiteX48169" fmla="*/ 5980448 w 6884782"/>
              <a:gd name="connsiteY48169" fmla="*/ 1662697 h 5973007"/>
              <a:gd name="connsiteX48170" fmla="*/ 5988345 w 6884782"/>
              <a:gd name="connsiteY48170" fmla="*/ 1666538 h 5973007"/>
              <a:gd name="connsiteX48171" fmla="*/ 5983009 w 6884782"/>
              <a:gd name="connsiteY48171" fmla="*/ 1678631 h 5973007"/>
              <a:gd name="connsiteX48172" fmla="*/ 5972338 w 6884782"/>
              <a:gd name="connsiteY48172" fmla="*/ 1671233 h 5973007"/>
              <a:gd name="connsiteX48173" fmla="*/ 5980448 w 6884782"/>
              <a:gd name="connsiteY48173" fmla="*/ 1662697 h 5973007"/>
              <a:gd name="connsiteX48174" fmla="*/ 5344244 w 6884782"/>
              <a:gd name="connsiteY48174" fmla="*/ 1662412 h 5973007"/>
              <a:gd name="connsiteX48175" fmla="*/ 5348726 w 6884782"/>
              <a:gd name="connsiteY48175" fmla="*/ 1664546 h 5973007"/>
              <a:gd name="connsiteX48176" fmla="*/ 5349793 w 6884782"/>
              <a:gd name="connsiteY48176" fmla="*/ 1668956 h 5973007"/>
              <a:gd name="connsiteX48177" fmla="*/ 5337628 w 6884782"/>
              <a:gd name="connsiteY48177" fmla="*/ 1669525 h 5973007"/>
              <a:gd name="connsiteX48178" fmla="*/ 5338268 w 6884782"/>
              <a:gd name="connsiteY48178" fmla="*/ 1664546 h 5973007"/>
              <a:gd name="connsiteX48179" fmla="*/ 5344244 w 6884782"/>
              <a:gd name="connsiteY48179" fmla="*/ 1662412 h 5973007"/>
              <a:gd name="connsiteX48180" fmla="*/ 1716738 w 6884782"/>
              <a:gd name="connsiteY48180" fmla="*/ 1661750 h 5973007"/>
              <a:gd name="connsiteX48181" fmla="*/ 1726547 w 6884782"/>
              <a:gd name="connsiteY48181" fmla="*/ 1671663 h 5973007"/>
              <a:gd name="connsiteX48182" fmla="*/ 1719216 w 6884782"/>
              <a:gd name="connsiteY48182" fmla="*/ 1678014 h 5973007"/>
              <a:gd name="connsiteX48183" fmla="*/ 1709407 w 6884782"/>
              <a:gd name="connsiteY48183" fmla="*/ 1676775 h 5973007"/>
              <a:gd name="connsiteX48184" fmla="*/ 1709097 w 6884782"/>
              <a:gd name="connsiteY48184" fmla="*/ 1672283 h 5973007"/>
              <a:gd name="connsiteX48185" fmla="*/ 1716738 w 6884782"/>
              <a:gd name="connsiteY48185" fmla="*/ 1661750 h 5973007"/>
              <a:gd name="connsiteX48186" fmla="*/ 1684316 w 6884782"/>
              <a:gd name="connsiteY48186" fmla="*/ 1661595 h 5973007"/>
              <a:gd name="connsiteX48187" fmla="*/ 1685968 w 6884782"/>
              <a:gd name="connsiteY48187" fmla="*/ 1662524 h 5973007"/>
              <a:gd name="connsiteX48188" fmla="*/ 1686277 w 6884782"/>
              <a:gd name="connsiteY48188" fmla="*/ 1664848 h 5973007"/>
              <a:gd name="connsiteX48189" fmla="*/ 1682973 w 6884782"/>
              <a:gd name="connsiteY48189" fmla="*/ 1672593 h 5973007"/>
              <a:gd name="connsiteX48190" fmla="*/ 1681837 w 6884782"/>
              <a:gd name="connsiteY48190" fmla="*/ 1674297 h 5973007"/>
              <a:gd name="connsiteX48191" fmla="*/ 1680702 w 6884782"/>
              <a:gd name="connsiteY48191" fmla="*/ 1675845 h 5973007"/>
              <a:gd name="connsiteX48192" fmla="*/ 1677088 w 6884782"/>
              <a:gd name="connsiteY48192" fmla="*/ 1676620 h 5973007"/>
              <a:gd name="connsiteX48193" fmla="*/ 1679669 w 6884782"/>
              <a:gd name="connsiteY48193" fmla="*/ 1670889 h 5973007"/>
              <a:gd name="connsiteX48194" fmla="*/ 1677810 w 6884782"/>
              <a:gd name="connsiteY48194" fmla="*/ 1672283 h 5973007"/>
              <a:gd name="connsiteX48195" fmla="*/ 1673680 w 6884782"/>
              <a:gd name="connsiteY48195" fmla="*/ 1672438 h 5973007"/>
              <a:gd name="connsiteX48196" fmla="*/ 1673164 w 6884782"/>
              <a:gd name="connsiteY48196" fmla="*/ 1667326 h 5973007"/>
              <a:gd name="connsiteX48197" fmla="*/ 1678017 w 6884782"/>
              <a:gd name="connsiteY48197" fmla="*/ 1666862 h 5973007"/>
              <a:gd name="connsiteX48198" fmla="*/ 1680495 w 6884782"/>
              <a:gd name="connsiteY48198" fmla="*/ 1669185 h 5973007"/>
              <a:gd name="connsiteX48199" fmla="*/ 1680805 w 6884782"/>
              <a:gd name="connsiteY48199" fmla="*/ 1668410 h 5973007"/>
              <a:gd name="connsiteX48200" fmla="*/ 1684316 w 6884782"/>
              <a:gd name="connsiteY48200" fmla="*/ 1661595 h 5973007"/>
              <a:gd name="connsiteX48201" fmla="*/ 5839805 w 6884782"/>
              <a:gd name="connsiteY48201" fmla="*/ 1661558 h 5973007"/>
              <a:gd name="connsiteX48202" fmla="*/ 5843433 w 6884782"/>
              <a:gd name="connsiteY48202" fmla="*/ 1663835 h 5973007"/>
              <a:gd name="connsiteX48203" fmla="*/ 5844713 w 6884782"/>
              <a:gd name="connsiteY48203" fmla="*/ 1668672 h 5973007"/>
              <a:gd name="connsiteX48204" fmla="*/ 5835536 w 6884782"/>
              <a:gd name="connsiteY48204" fmla="*/ 1670664 h 5973007"/>
              <a:gd name="connsiteX48205" fmla="*/ 5836390 w 6884782"/>
              <a:gd name="connsiteY48205" fmla="*/ 1663692 h 5973007"/>
              <a:gd name="connsiteX48206" fmla="*/ 5839805 w 6884782"/>
              <a:gd name="connsiteY48206" fmla="*/ 1661558 h 5973007"/>
              <a:gd name="connsiteX48207" fmla="*/ 5916849 w 6884782"/>
              <a:gd name="connsiteY48207" fmla="*/ 1661416 h 5973007"/>
              <a:gd name="connsiteX48208" fmla="*/ 5907886 w 6884782"/>
              <a:gd name="connsiteY48208" fmla="*/ 1694991 h 5973007"/>
              <a:gd name="connsiteX48209" fmla="*/ 5909379 w 6884782"/>
              <a:gd name="connsiteY48209" fmla="*/ 1678488 h 5973007"/>
              <a:gd name="connsiteX48210" fmla="*/ 5916849 w 6884782"/>
              <a:gd name="connsiteY48210" fmla="*/ 1661416 h 5973007"/>
              <a:gd name="connsiteX48211" fmla="*/ 1488955 w 6884782"/>
              <a:gd name="connsiteY48211" fmla="*/ 1661131 h 5973007"/>
              <a:gd name="connsiteX48212" fmla="*/ 1490813 w 6884782"/>
              <a:gd name="connsiteY48212" fmla="*/ 1662060 h 5973007"/>
              <a:gd name="connsiteX48213" fmla="*/ 1491020 w 6884782"/>
              <a:gd name="connsiteY48213" fmla="*/ 1662369 h 5973007"/>
              <a:gd name="connsiteX48214" fmla="*/ 1494118 w 6884782"/>
              <a:gd name="connsiteY48214" fmla="*/ 1664228 h 5973007"/>
              <a:gd name="connsiteX48215" fmla="*/ 1495976 w 6884782"/>
              <a:gd name="connsiteY48215" fmla="*/ 1667481 h 5973007"/>
              <a:gd name="connsiteX48216" fmla="*/ 1478010 w 6884782"/>
              <a:gd name="connsiteY48216" fmla="*/ 1678633 h 5973007"/>
              <a:gd name="connsiteX48217" fmla="*/ 1477906 w 6884782"/>
              <a:gd name="connsiteY48217" fmla="*/ 1673367 h 5973007"/>
              <a:gd name="connsiteX48218" fmla="*/ 1482760 w 6884782"/>
              <a:gd name="connsiteY48218" fmla="*/ 1666087 h 5973007"/>
              <a:gd name="connsiteX48219" fmla="*/ 1486683 w 6884782"/>
              <a:gd name="connsiteY48219" fmla="*/ 1663764 h 5973007"/>
              <a:gd name="connsiteX48220" fmla="*/ 1487406 w 6884782"/>
              <a:gd name="connsiteY48220" fmla="*/ 1661905 h 5973007"/>
              <a:gd name="connsiteX48221" fmla="*/ 1488955 w 6884782"/>
              <a:gd name="connsiteY48221" fmla="*/ 1661131 h 5973007"/>
              <a:gd name="connsiteX48222" fmla="*/ 6163136 w 6884782"/>
              <a:gd name="connsiteY48222" fmla="*/ 1660563 h 5973007"/>
              <a:gd name="connsiteX48223" fmla="*/ 6164629 w 6884782"/>
              <a:gd name="connsiteY48223" fmla="*/ 1661985 h 5973007"/>
              <a:gd name="connsiteX48224" fmla="*/ 6166764 w 6884782"/>
              <a:gd name="connsiteY48224" fmla="*/ 1664830 h 5973007"/>
              <a:gd name="connsiteX48225" fmla="*/ 6166124 w 6884782"/>
              <a:gd name="connsiteY48225" fmla="*/ 1666822 h 5973007"/>
              <a:gd name="connsiteX48226" fmla="*/ 6164203 w 6884782"/>
              <a:gd name="connsiteY48226" fmla="*/ 1669099 h 5973007"/>
              <a:gd name="connsiteX48227" fmla="*/ 6160148 w 6884782"/>
              <a:gd name="connsiteY48227" fmla="*/ 1664973 h 5973007"/>
              <a:gd name="connsiteX48228" fmla="*/ 6161215 w 6884782"/>
              <a:gd name="connsiteY48228" fmla="*/ 1661274 h 5973007"/>
              <a:gd name="connsiteX48229" fmla="*/ 6163136 w 6884782"/>
              <a:gd name="connsiteY48229" fmla="*/ 1660563 h 5973007"/>
              <a:gd name="connsiteX48230" fmla="*/ 1511671 w 6884782"/>
              <a:gd name="connsiteY48230" fmla="*/ 1660511 h 5973007"/>
              <a:gd name="connsiteX48231" fmla="*/ 1514046 w 6884782"/>
              <a:gd name="connsiteY48231" fmla="*/ 1661440 h 5973007"/>
              <a:gd name="connsiteX48232" fmla="*/ 1507438 w 6884782"/>
              <a:gd name="connsiteY48232" fmla="*/ 1665002 h 5973007"/>
              <a:gd name="connsiteX48233" fmla="*/ 1503514 w 6884782"/>
              <a:gd name="connsiteY48233" fmla="*/ 1666397 h 5973007"/>
              <a:gd name="connsiteX48234" fmla="*/ 1501139 w 6884782"/>
              <a:gd name="connsiteY48234" fmla="*/ 1665467 h 5973007"/>
              <a:gd name="connsiteX48235" fmla="*/ 1500829 w 6884782"/>
              <a:gd name="connsiteY48235" fmla="*/ 1664693 h 5973007"/>
              <a:gd name="connsiteX48236" fmla="*/ 1502172 w 6884782"/>
              <a:gd name="connsiteY48236" fmla="*/ 1663454 h 5973007"/>
              <a:gd name="connsiteX48237" fmla="*/ 1510123 w 6884782"/>
              <a:gd name="connsiteY48237" fmla="*/ 1661131 h 5973007"/>
              <a:gd name="connsiteX48238" fmla="*/ 1511671 w 6884782"/>
              <a:gd name="connsiteY48238" fmla="*/ 1660511 h 5973007"/>
              <a:gd name="connsiteX48239" fmla="*/ 891205 w 6884782"/>
              <a:gd name="connsiteY48239" fmla="*/ 1659736 h 5973007"/>
              <a:gd name="connsiteX48240" fmla="*/ 904008 w 6884782"/>
              <a:gd name="connsiteY48240" fmla="*/ 1662989 h 5973007"/>
              <a:gd name="connsiteX48241" fmla="*/ 899259 w 6884782"/>
              <a:gd name="connsiteY48241" fmla="*/ 1668875 h 5973007"/>
              <a:gd name="connsiteX48242" fmla="*/ 894199 w 6884782"/>
              <a:gd name="connsiteY48242" fmla="*/ 1668410 h 5973007"/>
              <a:gd name="connsiteX48243" fmla="*/ 888210 w 6884782"/>
              <a:gd name="connsiteY48243" fmla="*/ 1662679 h 5973007"/>
              <a:gd name="connsiteX48244" fmla="*/ 891205 w 6884782"/>
              <a:gd name="connsiteY48244" fmla="*/ 1659736 h 5973007"/>
              <a:gd name="connsiteX48245" fmla="*/ 1726754 w 6884782"/>
              <a:gd name="connsiteY48245" fmla="*/ 1659427 h 5973007"/>
              <a:gd name="connsiteX48246" fmla="*/ 1731710 w 6884782"/>
              <a:gd name="connsiteY48246" fmla="*/ 1661285 h 5973007"/>
              <a:gd name="connsiteX48247" fmla="*/ 1728716 w 6884782"/>
              <a:gd name="connsiteY48247" fmla="*/ 1666552 h 5973007"/>
              <a:gd name="connsiteX48248" fmla="*/ 1724999 w 6884782"/>
              <a:gd name="connsiteY48248" fmla="*/ 1664228 h 5973007"/>
              <a:gd name="connsiteX48249" fmla="*/ 1726754 w 6884782"/>
              <a:gd name="connsiteY48249" fmla="*/ 1659427 h 5973007"/>
              <a:gd name="connsiteX48250" fmla="*/ 1393030 w 6884782"/>
              <a:gd name="connsiteY48250" fmla="*/ 1659117 h 5973007"/>
              <a:gd name="connsiteX48251" fmla="*/ 1396231 w 6884782"/>
              <a:gd name="connsiteY48251" fmla="*/ 1665312 h 5973007"/>
              <a:gd name="connsiteX48252" fmla="*/ 1392824 w 6884782"/>
              <a:gd name="connsiteY48252" fmla="*/ 1662989 h 5973007"/>
              <a:gd name="connsiteX48253" fmla="*/ 1393030 w 6884782"/>
              <a:gd name="connsiteY48253" fmla="*/ 1659117 h 5973007"/>
              <a:gd name="connsiteX48254" fmla="*/ 4912283 w 6884782"/>
              <a:gd name="connsiteY48254" fmla="*/ 1658855 h 5973007"/>
              <a:gd name="connsiteX48255" fmla="*/ 4913563 w 6884782"/>
              <a:gd name="connsiteY48255" fmla="*/ 1661132 h 5973007"/>
              <a:gd name="connsiteX48256" fmla="*/ 4915483 w 6884782"/>
              <a:gd name="connsiteY48256" fmla="*/ 1668387 h 5973007"/>
              <a:gd name="connsiteX48257" fmla="*/ 4911855 w 6884782"/>
              <a:gd name="connsiteY48257" fmla="*/ 1667676 h 5973007"/>
              <a:gd name="connsiteX48258" fmla="*/ 4911428 w 6884782"/>
              <a:gd name="connsiteY48258" fmla="*/ 1664261 h 5973007"/>
              <a:gd name="connsiteX48259" fmla="*/ 4910148 w 6884782"/>
              <a:gd name="connsiteY48259" fmla="*/ 1661985 h 5973007"/>
              <a:gd name="connsiteX48260" fmla="*/ 4912283 w 6884782"/>
              <a:gd name="connsiteY48260" fmla="*/ 1658855 h 5973007"/>
              <a:gd name="connsiteX48261" fmla="*/ 4886032 w 6884782"/>
              <a:gd name="connsiteY48261" fmla="*/ 1658428 h 5973007"/>
              <a:gd name="connsiteX48262" fmla="*/ 4888379 w 6884782"/>
              <a:gd name="connsiteY48262" fmla="*/ 1669383 h 5973007"/>
              <a:gd name="connsiteX48263" fmla="*/ 4886458 w 6884782"/>
              <a:gd name="connsiteY48263" fmla="*/ 1671659 h 5973007"/>
              <a:gd name="connsiteX48264" fmla="*/ 4883684 w 6884782"/>
              <a:gd name="connsiteY48264" fmla="*/ 1669952 h 5973007"/>
              <a:gd name="connsiteX48265" fmla="*/ 4886032 w 6884782"/>
              <a:gd name="connsiteY48265" fmla="*/ 1658428 h 5973007"/>
              <a:gd name="connsiteX48266" fmla="*/ 1461489 w 6884782"/>
              <a:gd name="connsiteY48266" fmla="*/ 1658187 h 5973007"/>
              <a:gd name="connsiteX48267" fmla="*/ 1461282 w 6884782"/>
              <a:gd name="connsiteY48267" fmla="*/ 1660046 h 5973007"/>
              <a:gd name="connsiteX48268" fmla="*/ 1462005 w 6884782"/>
              <a:gd name="connsiteY48268" fmla="*/ 1659891 h 5973007"/>
              <a:gd name="connsiteX48269" fmla="*/ 1466135 w 6884782"/>
              <a:gd name="connsiteY48269" fmla="*/ 1660511 h 5973007"/>
              <a:gd name="connsiteX48270" fmla="*/ 1462625 w 6884782"/>
              <a:gd name="connsiteY48270" fmla="*/ 1661750 h 5973007"/>
              <a:gd name="connsiteX48271" fmla="*/ 1461076 w 6884782"/>
              <a:gd name="connsiteY48271" fmla="*/ 1662060 h 5973007"/>
              <a:gd name="connsiteX48272" fmla="*/ 1460766 w 6884782"/>
              <a:gd name="connsiteY48272" fmla="*/ 1664383 h 5973007"/>
              <a:gd name="connsiteX48273" fmla="*/ 1455500 w 6884782"/>
              <a:gd name="connsiteY48273" fmla="*/ 1668875 h 5973007"/>
              <a:gd name="connsiteX48274" fmla="*/ 1452196 w 6884782"/>
              <a:gd name="connsiteY48274" fmla="*/ 1658962 h 5973007"/>
              <a:gd name="connsiteX48275" fmla="*/ 1461489 w 6884782"/>
              <a:gd name="connsiteY48275" fmla="*/ 1658187 h 5973007"/>
              <a:gd name="connsiteX48276" fmla="*/ 1316517 w 6884782"/>
              <a:gd name="connsiteY48276" fmla="*/ 1657723 h 5973007"/>
              <a:gd name="connsiteX48277" fmla="*/ 1319821 w 6884782"/>
              <a:gd name="connsiteY48277" fmla="*/ 1658497 h 5973007"/>
              <a:gd name="connsiteX48278" fmla="*/ 1316517 w 6884782"/>
              <a:gd name="connsiteY48278" fmla="*/ 1658652 h 5973007"/>
              <a:gd name="connsiteX48279" fmla="*/ 1315897 w 6884782"/>
              <a:gd name="connsiteY48279" fmla="*/ 1658187 h 5973007"/>
              <a:gd name="connsiteX48280" fmla="*/ 1316517 w 6884782"/>
              <a:gd name="connsiteY48280" fmla="*/ 1657723 h 5973007"/>
              <a:gd name="connsiteX48281" fmla="*/ 1164111 w 6884782"/>
              <a:gd name="connsiteY48281" fmla="*/ 1657567 h 5973007"/>
              <a:gd name="connsiteX48282" fmla="*/ 1176089 w 6884782"/>
              <a:gd name="connsiteY48282" fmla="*/ 1671973 h 5973007"/>
              <a:gd name="connsiteX48283" fmla="*/ 1173714 w 6884782"/>
              <a:gd name="connsiteY48283" fmla="*/ 1673522 h 5973007"/>
              <a:gd name="connsiteX48284" fmla="*/ 1174230 w 6884782"/>
              <a:gd name="connsiteY48284" fmla="*/ 1674452 h 5973007"/>
              <a:gd name="connsiteX48285" fmla="*/ 1175366 w 6884782"/>
              <a:gd name="connsiteY48285" fmla="*/ 1678169 h 5973007"/>
              <a:gd name="connsiteX48286" fmla="*/ 1175779 w 6884782"/>
              <a:gd name="connsiteY48286" fmla="*/ 1677859 h 5973007"/>
              <a:gd name="connsiteX48287" fmla="*/ 1178154 w 6884782"/>
              <a:gd name="connsiteY48287" fmla="*/ 1678788 h 5973007"/>
              <a:gd name="connsiteX48288" fmla="*/ 1179599 w 6884782"/>
              <a:gd name="connsiteY48288" fmla="*/ 1685449 h 5973007"/>
              <a:gd name="connsiteX48289" fmla="*/ 1181148 w 6884782"/>
              <a:gd name="connsiteY48289" fmla="*/ 1689631 h 5973007"/>
              <a:gd name="connsiteX48290" fmla="*/ 1177844 w 6884782"/>
              <a:gd name="connsiteY48290" fmla="*/ 1684675 h 5973007"/>
              <a:gd name="connsiteX48291" fmla="*/ 1175366 w 6884782"/>
              <a:gd name="connsiteY48291" fmla="*/ 1683900 h 5973007"/>
              <a:gd name="connsiteX48292" fmla="*/ 1174643 w 6884782"/>
              <a:gd name="connsiteY48292" fmla="*/ 1682351 h 5973007"/>
              <a:gd name="connsiteX48293" fmla="*/ 1173610 w 6884782"/>
              <a:gd name="connsiteY48293" fmla="*/ 1682661 h 5973007"/>
              <a:gd name="connsiteX48294" fmla="*/ 1171235 w 6884782"/>
              <a:gd name="connsiteY48294" fmla="*/ 1683900 h 5973007"/>
              <a:gd name="connsiteX48295" fmla="*/ 1169170 w 6884782"/>
              <a:gd name="connsiteY48295" fmla="*/ 1677704 h 5973007"/>
              <a:gd name="connsiteX48296" fmla="*/ 1168757 w 6884782"/>
              <a:gd name="connsiteY48296" fmla="*/ 1675071 h 5973007"/>
              <a:gd name="connsiteX48297" fmla="*/ 1168448 w 6884782"/>
              <a:gd name="connsiteY48297" fmla="*/ 1675071 h 5973007"/>
              <a:gd name="connsiteX48298" fmla="*/ 1163801 w 6884782"/>
              <a:gd name="connsiteY48298" fmla="*/ 1672593 h 5973007"/>
              <a:gd name="connsiteX48299" fmla="*/ 1162872 w 6884782"/>
              <a:gd name="connsiteY48299" fmla="*/ 1671199 h 5973007"/>
              <a:gd name="connsiteX48300" fmla="*/ 1152753 w 6884782"/>
              <a:gd name="connsiteY48300" fmla="*/ 1669495 h 5973007"/>
              <a:gd name="connsiteX48301" fmla="*/ 1154921 w 6884782"/>
              <a:gd name="connsiteY48301" fmla="*/ 1662060 h 5973007"/>
              <a:gd name="connsiteX48302" fmla="*/ 1160910 w 6884782"/>
              <a:gd name="connsiteY48302" fmla="*/ 1662215 h 5973007"/>
              <a:gd name="connsiteX48303" fmla="*/ 5121647 w 6884782"/>
              <a:gd name="connsiteY48303" fmla="*/ 1656579 h 5973007"/>
              <a:gd name="connsiteX48304" fmla="*/ 5125275 w 6884782"/>
              <a:gd name="connsiteY48304" fmla="*/ 1659140 h 5973007"/>
              <a:gd name="connsiteX48305" fmla="*/ 5126555 w 6884782"/>
              <a:gd name="connsiteY48305" fmla="*/ 1659140 h 5973007"/>
              <a:gd name="connsiteX48306" fmla="*/ 5129117 w 6884782"/>
              <a:gd name="connsiteY48306" fmla="*/ 1661985 h 5973007"/>
              <a:gd name="connsiteX48307" fmla="*/ 5129117 w 6884782"/>
              <a:gd name="connsiteY48307" fmla="*/ 1663550 h 5973007"/>
              <a:gd name="connsiteX48308" fmla="*/ 5131678 w 6884782"/>
              <a:gd name="connsiteY48308" fmla="*/ 1667818 h 5973007"/>
              <a:gd name="connsiteX48309" fmla="*/ 5129543 w 6884782"/>
              <a:gd name="connsiteY48309" fmla="*/ 1667818 h 5973007"/>
              <a:gd name="connsiteX48310" fmla="*/ 5127196 w 6884782"/>
              <a:gd name="connsiteY48310" fmla="*/ 1671659 h 5973007"/>
              <a:gd name="connsiteX48311" fmla="*/ 5126769 w 6884782"/>
              <a:gd name="connsiteY48311" fmla="*/ 1678061 h 5973007"/>
              <a:gd name="connsiteX48312" fmla="*/ 5125489 w 6884782"/>
              <a:gd name="connsiteY48312" fmla="*/ 1669525 h 5973007"/>
              <a:gd name="connsiteX48313" fmla="*/ 5124422 w 6884782"/>
              <a:gd name="connsiteY48313" fmla="*/ 1668245 h 5973007"/>
              <a:gd name="connsiteX48314" fmla="*/ 5124208 w 6884782"/>
              <a:gd name="connsiteY48314" fmla="*/ 1668245 h 5973007"/>
              <a:gd name="connsiteX48315" fmla="*/ 5123995 w 6884782"/>
              <a:gd name="connsiteY48315" fmla="*/ 1667676 h 5973007"/>
              <a:gd name="connsiteX48316" fmla="*/ 5122927 w 6884782"/>
              <a:gd name="connsiteY48316" fmla="*/ 1666680 h 5973007"/>
              <a:gd name="connsiteX48317" fmla="*/ 5122927 w 6884782"/>
              <a:gd name="connsiteY48317" fmla="*/ 1666111 h 5973007"/>
              <a:gd name="connsiteX48318" fmla="*/ 5121007 w 6884782"/>
              <a:gd name="connsiteY48318" fmla="*/ 1663692 h 5973007"/>
              <a:gd name="connsiteX48319" fmla="*/ 5116952 w 6884782"/>
              <a:gd name="connsiteY48319" fmla="*/ 1659424 h 5973007"/>
              <a:gd name="connsiteX48320" fmla="*/ 5121647 w 6884782"/>
              <a:gd name="connsiteY48320" fmla="*/ 1656579 h 5973007"/>
              <a:gd name="connsiteX48321" fmla="*/ 4812615 w 6884782"/>
              <a:gd name="connsiteY48321" fmla="*/ 1654587 h 5973007"/>
              <a:gd name="connsiteX48322" fmla="*/ 4819018 w 6884782"/>
              <a:gd name="connsiteY48322" fmla="*/ 1658286 h 5973007"/>
              <a:gd name="connsiteX48323" fmla="*/ 4823500 w 6884782"/>
              <a:gd name="connsiteY48323" fmla="*/ 1663408 h 5973007"/>
              <a:gd name="connsiteX48324" fmla="*/ 4825207 w 6884782"/>
              <a:gd name="connsiteY48324" fmla="*/ 1658428 h 5973007"/>
              <a:gd name="connsiteX48325" fmla="*/ 4829903 w 6884782"/>
              <a:gd name="connsiteY48325" fmla="*/ 1656579 h 5973007"/>
              <a:gd name="connsiteX48326" fmla="*/ 4827341 w 6884782"/>
              <a:gd name="connsiteY48326" fmla="*/ 1661416 h 5973007"/>
              <a:gd name="connsiteX48327" fmla="*/ 4823927 w 6884782"/>
              <a:gd name="connsiteY48327" fmla="*/ 1663835 h 5973007"/>
              <a:gd name="connsiteX48328" fmla="*/ 4824353 w 6884782"/>
              <a:gd name="connsiteY48328" fmla="*/ 1664261 h 5973007"/>
              <a:gd name="connsiteX48329" fmla="*/ 4826701 w 6884782"/>
              <a:gd name="connsiteY48329" fmla="*/ 1671233 h 5973007"/>
              <a:gd name="connsiteX48330" fmla="*/ 4825207 w 6884782"/>
              <a:gd name="connsiteY48330" fmla="*/ 1674931 h 5973007"/>
              <a:gd name="connsiteX48331" fmla="*/ 4827341 w 6884782"/>
              <a:gd name="connsiteY48331" fmla="*/ 1675928 h 5973007"/>
              <a:gd name="connsiteX48332" fmla="*/ 4821152 w 6884782"/>
              <a:gd name="connsiteY48332" fmla="*/ 1696414 h 5973007"/>
              <a:gd name="connsiteX48333" fmla="*/ 4819232 w 6884782"/>
              <a:gd name="connsiteY48333" fmla="*/ 1675216 h 5973007"/>
              <a:gd name="connsiteX48334" fmla="*/ 4822219 w 6884782"/>
              <a:gd name="connsiteY48334" fmla="*/ 1674789 h 5973007"/>
              <a:gd name="connsiteX48335" fmla="*/ 4817524 w 6884782"/>
              <a:gd name="connsiteY48335" fmla="*/ 1666680 h 5973007"/>
              <a:gd name="connsiteX48336" fmla="*/ 4812615 w 6884782"/>
              <a:gd name="connsiteY48336" fmla="*/ 1654587 h 5973007"/>
              <a:gd name="connsiteX48337" fmla="*/ 1691453 w 6884782"/>
              <a:gd name="connsiteY48337" fmla="*/ 1654179 h 5973007"/>
              <a:gd name="connsiteX48338" fmla="*/ 1694641 w 6884782"/>
              <a:gd name="connsiteY48338" fmla="*/ 1655864 h 5973007"/>
              <a:gd name="connsiteX48339" fmla="*/ 1695054 w 6884782"/>
              <a:gd name="connsiteY48339" fmla="*/ 1656329 h 5973007"/>
              <a:gd name="connsiteX48340" fmla="*/ 1699185 w 6884782"/>
              <a:gd name="connsiteY48340" fmla="*/ 1655554 h 5973007"/>
              <a:gd name="connsiteX48341" fmla="*/ 1702386 w 6884782"/>
              <a:gd name="connsiteY48341" fmla="*/ 1655709 h 5973007"/>
              <a:gd name="connsiteX48342" fmla="*/ 1704451 w 6884782"/>
              <a:gd name="connsiteY48342" fmla="*/ 1656019 h 5973007"/>
              <a:gd name="connsiteX48343" fmla="*/ 1706309 w 6884782"/>
              <a:gd name="connsiteY48343" fmla="*/ 1656174 h 5973007"/>
              <a:gd name="connsiteX48344" fmla="*/ 1708787 w 6884782"/>
              <a:gd name="connsiteY48344" fmla="*/ 1658962 h 5973007"/>
              <a:gd name="connsiteX48345" fmla="*/ 1699804 w 6884782"/>
              <a:gd name="connsiteY48345" fmla="*/ 1659581 h 5973007"/>
              <a:gd name="connsiteX48346" fmla="*/ 1695880 w 6884782"/>
              <a:gd name="connsiteY48346" fmla="*/ 1659736 h 5973007"/>
              <a:gd name="connsiteX48347" fmla="*/ 1692060 w 6884782"/>
              <a:gd name="connsiteY48347" fmla="*/ 1661131 h 5973007"/>
              <a:gd name="connsiteX48348" fmla="*/ 1688342 w 6884782"/>
              <a:gd name="connsiteY48348" fmla="*/ 1659736 h 5973007"/>
              <a:gd name="connsiteX48349" fmla="*/ 1687827 w 6884782"/>
              <a:gd name="connsiteY48349" fmla="*/ 1657567 h 5973007"/>
              <a:gd name="connsiteX48350" fmla="*/ 1688342 w 6884782"/>
              <a:gd name="connsiteY48350" fmla="*/ 1654470 h 5973007"/>
              <a:gd name="connsiteX48351" fmla="*/ 1691453 w 6884782"/>
              <a:gd name="connsiteY48351" fmla="*/ 1654179 h 5973007"/>
              <a:gd name="connsiteX48352" fmla="*/ 5222381 w 6884782"/>
              <a:gd name="connsiteY48352" fmla="*/ 1654161 h 5973007"/>
              <a:gd name="connsiteX48353" fmla="*/ 5231985 w 6884782"/>
              <a:gd name="connsiteY48353" fmla="*/ 1658428 h 5973007"/>
              <a:gd name="connsiteX48354" fmla="*/ 5222381 w 6884782"/>
              <a:gd name="connsiteY48354" fmla="*/ 1654161 h 5973007"/>
              <a:gd name="connsiteX48355" fmla="*/ 1863981 w 6884782"/>
              <a:gd name="connsiteY48355" fmla="*/ 1653850 h 5973007"/>
              <a:gd name="connsiteX48356" fmla="*/ 1870590 w 6884782"/>
              <a:gd name="connsiteY48356" fmla="*/ 1657723 h 5973007"/>
              <a:gd name="connsiteX48357" fmla="*/ 1862226 w 6884782"/>
              <a:gd name="connsiteY48357" fmla="*/ 1657567 h 5973007"/>
              <a:gd name="connsiteX48358" fmla="*/ 1863981 w 6884782"/>
              <a:gd name="connsiteY48358" fmla="*/ 1653850 h 5973007"/>
              <a:gd name="connsiteX48359" fmla="*/ 1120537 w 6884782"/>
              <a:gd name="connsiteY48359" fmla="*/ 1653850 h 5973007"/>
              <a:gd name="connsiteX48360" fmla="*/ 1121053 w 6884782"/>
              <a:gd name="connsiteY48360" fmla="*/ 1661285 h 5973007"/>
              <a:gd name="connsiteX48361" fmla="*/ 1120846 w 6884782"/>
              <a:gd name="connsiteY48361" fmla="*/ 1665467 h 5973007"/>
              <a:gd name="connsiteX48362" fmla="*/ 1118988 w 6884782"/>
              <a:gd name="connsiteY48362" fmla="*/ 1667326 h 5973007"/>
              <a:gd name="connsiteX48363" fmla="*/ 1118162 w 6884782"/>
              <a:gd name="connsiteY48363" fmla="*/ 1667326 h 5973007"/>
              <a:gd name="connsiteX48364" fmla="*/ 1117542 w 6884782"/>
              <a:gd name="connsiteY48364" fmla="*/ 1665467 h 5973007"/>
              <a:gd name="connsiteX48365" fmla="*/ 1118678 w 6884782"/>
              <a:gd name="connsiteY48365" fmla="*/ 1657258 h 5973007"/>
              <a:gd name="connsiteX48366" fmla="*/ 1118678 w 6884782"/>
              <a:gd name="connsiteY48366" fmla="*/ 1655554 h 5973007"/>
              <a:gd name="connsiteX48367" fmla="*/ 1120537 w 6884782"/>
              <a:gd name="connsiteY48367" fmla="*/ 1653850 h 5973007"/>
              <a:gd name="connsiteX48368" fmla="*/ 4984205 w 6884782"/>
              <a:gd name="connsiteY48368" fmla="*/ 1653734 h 5973007"/>
              <a:gd name="connsiteX48369" fmla="*/ 4989754 w 6884782"/>
              <a:gd name="connsiteY48369" fmla="*/ 1657290 h 5973007"/>
              <a:gd name="connsiteX48370" fmla="*/ 4989327 w 6884782"/>
              <a:gd name="connsiteY48370" fmla="*/ 1659993 h 5973007"/>
              <a:gd name="connsiteX48371" fmla="*/ 4980577 w 6884782"/>
              <a:gd name="connsiteY48371" fmla="*/ 1657290 h 5973007"/>
              <a:gd name="connsiteX48372" fmla="*/ 4981004 w 6884782"/>
              <a:gd name="connsiteY48372" fmla="*/ 1654587 h 5973007"/>
              <a:gd name="connsiteX48373" fmla="*/ 4984205 w 6884782"/>
              <a:gd name="connsiteY48373" fmla="*/ 1653734 h 5973007"/>
              <a:gd name="connsiteX48374" fmla="*/ 4836945 w 6884782"/>
              <a:gd name="connsiteY48374" fmla="*/ 1653734 h 5973007"/>
              <a:gd name="connsiteX48375" fmla="*/ 4842067 w 6884782"/>
              <a:gd name="connsiteY48375" fmla="*/ 1658428 h 5973007"/>
              <a:gd name="connsiteX48376" fmla="*/ 4837372 w 6884782"/>
              <a:gd name="connsiteY48376" fmla="*/ 1665684 h 5973007"/>
              <a:gd name="connsiteX48377" fmla="*/ 4834598 w 6884782"/>
              <a:gd name="connsiteY48377" fmla="*/ 1659566 h 5973007"/>
              <a:gd name="connsiteX48378" fmla="*/ 4835238 w 6884782"/>
              <a:gd name="connsiteY48378" fmla="*/ 1658002 h 5973007"/>
              <a:gd name="connsiteX48379" fmla="*/ 4835664 w 6884782"/>
              <a:gd name="connsiteY48379" fmla="*/ 1656721 h 5973007"/>
              <a:gd name="connsiteX48380" fmla="*/ 1107010 w 6884782"/>
              <a:gd name="connsiteY48380" fmla="*/ 1653386 h 5973007"/>
              <a:gd name="connsiteX48381" fmla="*/ 1110108 w 6884782"/>
              <a:gd name="connsiteY48381" fmla="*/ 1666552 h 5973007"/>
              <a:gd name="connsiteX48382" fmla="*/ 1104532 w 6884782"/>
              <a:gd name="connsiteY48382" fmla="*/ 1666552 h 5973007"/>
              <a:gd name="connsiteX48383" fmla="*/ 1103809 w 6884782"/>
              <a:gd name="connsiteY48383" fmla="*/ 1658187 h 5973007"/>
              <a:gd name="connsiteX48384" fmla="*/ 1107010 w 6884782"/>
              <a:gd name="connsiteY48384" fmla="*/ 1653386 h 5973007"/>
              <a:gd name="connsiteX48385" fmla="*/ 4102995 w 6884782"/>
              <a:gd name="connsiteY48385" fmla="*/ 1653307 h 5973007"/>
              <a:gd name="connsiteX48386" fmla="*/ 4102995 w 6884782"/>
              <a:gd name="connsiteY48386" fmla="*/ 1664261 h 5973007"/>
              <a:gd name="connsiteX48387" fmla="*/ 4102995 w 6884782"/>
              <a:gd name="connsiteY48387" fmla="*/ 1653307 h 5973007"/>
              <a:gd name="connsiteX48388" fmla="*/ 1193023 w 6884782"/>
              <a:gd name="connsiteY48388" fmla="*/ 1652146 h 5973007"/>
              <a:gd name="connsiteX48389" fmla="*/ 1197360 w 6884782"/>
              <a:gd name="connsiteY48389" fmla="*/ 1652921 h 5973007"/>
              <a:gd name="connsiteX48390" fmla="*/ 1206239 w 6884782"/>
              <a:gd name="connsiteY48390" fmla="*/ 1652611 h 5973007"/>
              <a:gd name="connsiteX48391" fmla="*/ 1216359 w 6884782"/>
              <a:gd name="connsiteY48391" fmla="*/ 1659581 h 5973007"/>
              <a:gd name="connsiteX48392" fmla="*/ 1194055 w 6884782"/>
              <a:gd name="connsiteY48392" fmla="*/ 1674761 h 5973007"/>
              <a:gd name="connsiteX48393" fmla="*/ 1187550 w 6884782"/>
              <a:gd name="connsiteY48393" fmla="*/ 1666087 h 5973007"/>
              <a:gd name="connsiteX48394" fmla="*/ 1187757 w 6884782"/>
              <a:gd name="connsiteY48394" fmla="*/ 1662834 h 5973007"/>
              <a:gd name="connsiteX48395" fmla="*/ 1189615 w 6884782"/>
              <a:gd name="connsiteY48395" fmla="*/ 1659427 h 5973007"/>
              <a:gd name="connsiteX48396" fmla="*/ 1189512 w 6884782"/>
              <a:gd name="connsiteY48396" fmla="*/ 1659117 h 5973007"/>
              <a:gd name="connsiteX48397" fmla="*/ 1193023 w 6884782"/>
              <a:gd name="connsiteY48397" fmla="*/ 1652146 h 5973007"/>
              <a:gd name="connsiteX48398" fmla="*/ 5013870 w 6884782"/>
              <a:gd name="connsiteY48398" fmla="*/ 1651742 h 5973007"/>
              <a:gd name="connsiteX48399" fmla="*/ 5014937 w 6884782"/>
              <a:gd name="connsiteY48399" fmla="*/ 1652880 h 5973007"/>
              <a:gd name="connsiteX48400" fmla="*/ 5012803 w 6884782"/>
              <a:gd name="connsiteY48400" fmla="*/ 1652738 h 5973007"/>
              <a:gd name="connsiteX48401" fmla="*/ 5013870 w 6884782"/>
              <a:gd name="connsiteY48401" fmla="*/ 1651742 h 5973007"/>
              <a:gd name="connsiteX48402" fmla="*/ 1079647 w 6884782"/>
              <a:gd name="connsiteY48402" fmla="*/ 1651372 h 5973007"/>
              <a:gd name="connsiteX48403" fmla="*/ 1081402 w 6884782"/>
              <a:gd name="connsiteY48403" fmla="*/ 1660356 h 5973007"/>
              <a:gd name="connsiteX48404" fmla="*/ 1038655 w 6884782"/>
              <a:gd name="connsiteY48404" fmla="*/ 1672438 h 5973007"/>
              <a:gd name="connsiteX48405" fmla="*/ 1079647 w 6884782"/>
              <a:gd name="connsiteY48405" fmla="*/ 1651372 h 5973007"/>
              <a:gd name="connsiteX48406" fmla="*/ 703485 w 6884782"/>
              <a:gd name="connsiteY48406" fmla="*/ 1651372 h 5973007"/>
              <a:gd name="connsiteX48407" fmla="*/ 708338 w 6884782"/>
              <a:gd name="connsiteY48407" fmla="*/ 1659117 h 5973007"/>
              <a:gd name="connsiteX48408" fmla="*/ 702865 w 6884782"/>
              <a:gd name="connsiteY48408" fmla="*/ 1653695 h 5973007"/>
              <a:gd name="connsiteX48409" fmla="*/ 703485 w 6884782"/>
              <a:gd name="connsiteY48409" fmla="*/ 1651372 h 5973007"/>
              <a:gd name="connsiteX48410" fmla="*/ 3916252 w 6884782"/>
              <a:gd name="connsiteY48410" fmla="*/ 1651315 h 5973007"/>
              <a:gd name="connsiteX48411" fmla="*/ 3933539 w 6884782"/>
              <a:gd name="connsiteY48411" fmla="*/ 1655156 h 5973007"/>
              <a:gd name="connsiteX48412" fmla="*/ 3918813 w 6884782"/>
              <a:gd name="connsiteY48412" fmla="*/ 1660420 h 5973007"/>
              <a:gd name="connsiteX48413" fmla="*/ 3901526 w 6884782"/>
              <a:gd name="connsiteY48413" fmla="*/ 1659993 h 5973007"/>
              <a:gd name="connsiteX48414" fmla="*/ 3916252 w 6884782"/>
              <a:gd name="connsiteY48414" fmla="*/ 1651315 h 5973007"/>
              <a:gd name="connsiteX48415" fmla="*/ 4068421 w 6884782"/>
              <a:gd name="connsiteY48415" fmla="*/ 1650888 h 5973007"/>
              <a:gd name="connsiteX48416" fmla="*/ 4069488 w 6884782"/>
              <a:gd name="connsiteY48416" fmla="*/ 1663692 h 5973007"/>
              <a:gd name="connsiteX48417" fmla="*/ 4066713 w 6884782"/>
              <a:gd name="connsiteY48417" fmla="*/ 1663408 h 5973007"/>
              <a:gd name="connsiteX48418" fmla="*/ 4067140 w 6884782"/>
              <a:gd name="connsiteY48418" fmla="*/ 1664261 h 5973007"/>
              <a:gd name="connsiteX48419" fmla="*/ 4066286 w 6884782"/>
              <a:gd name="connsiteY48419" fmla="*/ 1670094 h 5973007"/>
              <a:gd name="connsiteX48420" fmla="*/ 4064579 w 6884782"/>
              <a:gd name="connsiteY48420" fmla="*/ 1665257 h 5973007"/>
              <a:gd name="connsiteX48421" fmla="*/ 4064152 w 6884782"/>
              <a:gd name="connsiteY48421" fmla="*/ 1663123 h 5973007"/>
              <a:gd name="connsiteX48422" fmla="*/ 4060951 w 6884782"/>
              <a:gd name="connsiteY48422" fmla="*/ 1662697 h 5973007"/>
              <a:gd name="connsiteX48423" fmla="*/ 4054762 w 6884782"/>
              <a:gd name="connsiteY48423" fmla="*/ 1655441 h 5973007"/>
              <a:gd name="connsiteX48424" fmla="*/ 4068421 w 6884782"/>
              <a:gd name="connsiteY48424" fmla="*/ 1650888 h 5973007"/>
              <a:gd name="connsiteX48425" fmla="*/ 1560821 w 6884782"/>
              <a:gd name="connsiteY48425" fmla="*/ 1650752 h 5973007"/>
              <a:gd name="connsiteX48426" fmla="*/ 1599645 w 6884782"/>
              <a:gd name="connsiteY48426" fmla="*/ 1666552 h 5973007"/>
              <a:gd name="connsiteX48427" fmla="*/ 1592728 w 6884782"/>
              <a:gd name="connsiteY48427" fmla="*/ 1667636 h 5973007"/>
              <a:gd name="connsiteX48428" fmla="*/ 1593037 w 6884782"/>
              <a:gd name="connsiteY48428" fmla="*/ 1668410 h 5973007"/>
              <a:gd name="connsiteX48429" fmla="*/ 1600885 w 6884782"/>
              <a:gd name="connsiteY48429" fmla="*/ 1672748 h 5973007"/>
              <a:gd name="connsiteX48430" fmla="*/ 1597994 w 6884782"/>
              <a:gd name="connsiteY48430" fmla="*/ 1680492 h 5973007"/>
              <a:gd name="connsiteX48431" fmla="*/ 1595309 w 6884782"/>
              <a:gd name="connsiteY48431" fmla="*/ 1682661 h 5973007"/>
              <a:gd name="connsiteX48432" fmla="*/ 1585293 w 6884782"/>
              <a:gd name="connsiteY48432" fmla="*/ 1668100 h 5973007"/>
              <a:gd name="connsiteX48433" fmla="*/ 1585603 w 6884782"/>
              <a:gd name="connsiteY48433" fmla="*/ 1667791 h 5973007"/>
              <a:gd name="connsiteX48434" fmla="*/ 1578065 w 6884782"/>
              <a:gd name="connsiteY48434" fmla="*/ 1666552 h 5973007"/>
              <a:gd name="connsiteX48435" fmla="*/ 1569082 w 6884782"/>
              <a:gd name="connsiteY48435" fmla="*/ 1663609 h 5973007"/>
              <a:gd name="connsiteX48436" fmla="*/ 1568978 w 6884782"/>
              <a:gd name="connsiteY48436" fmla="*/ 1665158 h 5973007"/>
              <a:gd name="connsiteX48437" fmla="*/ 1567223 w 6884782"/>
              <a:gd name="connsiteY48437" fmla="*/ 1668100 h 5973007"/>
              <a:gd name="connsiteX48438" fmla="*/ 1558240 w 6884782"/>
              <a:gd name="connsiteY48438" fmla="*/ 1665002 h 5973007"/>
              <a:gd name="connsiteX48439" fmla="*/ 1560718 w 6884782"/>
              <a:gd name="connsiteY48439" fmla="*/ 1660976 h 5973007"/>
              <a:gd name="connsiteX48440" fmla="*/ 1560925 w 6884782"/>
              <a:gd name="connsiteY48440" fmla="*/ 1660821 h 5973007"/>
              <a:gd name="connsiteX48441" fmla="*/ 1556175 w 6884782"/>
              <a:gd name="connsiteY48441" fmla="*/ 1659272 h 5973007"/>
              <a:gd name="connsiteX48442" fmla="*/ 1560821 w 6884782"/>
              <a:gd name="connsiteY48442" fmla="*/ 1650752 h 5973007"/>
              <a:gd name="connsiteX48443" fmla="*/ 4971186 w 6884782"/>
              <a:gd name="connsiteY48443" fmla="*/ 1650604 h 5973007"/>
              <a:gd name="connsiteX48444" fmla="*/ 4974814 w 6884782"/>
              <a:gd name="connsiteY48444" fmla="*/ 1652738 h 5973007"/>
              <a:gd name="connsiteX48445" fmla="*/ 4975028 w 6884782"/>
              <a:gd name="connsiteY48445" fmla="*/ 1658002 h 5973007"/>
              <a:gd name="connsiteX48446" fmla="*/ 4972680 w 6884782"/>
              <a:gd name="connsiteY48446" fmla="*/ 1662697 h 5973007"/>
              <a:gd name="connsiteX48447" fmla="*/ 4972253 w 6884782"/>
              <a:gd name="connsiteY48447" fmla="*/ 1663123 h 5973007"/>
              <a:gd name="connsiteX48448" fmla="*/ 4976522 w 6884782"/>
              <a:gd name="connsiteY48448" fmla="*/ 1664973 h 5973007"/>
              <a:gd name="connsiteX48449" fmla="*/ 4982497 w 6884782"/>
              <a:gd name="connsiteY48449" fmla="*/ 1669810 h 5973007"/>
              <a:gd name="connsiteX48450" fmla="*/ 4982284 w 6884782"/>
              <a:gd name="connsiteY48450" fmla="*/ 1669525 h 5973007"/>
              <a:gd name="connsiteX48451" fmla="*/ 4985485 w 6884782"/>
              <a:gd name="connsiteY48451" fmla="*/ 1663835 h 5973007"/>
              <a:gd name="connsiteX48452" fmla="*/ 4989754 w 6884782"/>
              <a:gd name="connsiteY48452" fmla="*/ 1667818 h 5973007"/>
              <a:gd name="connsiteX48453" fmla="*/ 4986125 w 6884782"/>
              <a:gd name="connsiteY48453" fmla="*/ 1670948 h 5973007"/>
              <a:gd name="connsiteX48454" fmla="*/ 4984205 w 6884782"/>
              <a:gd name="connsiteY48454" fmla="*/ 1671233 h 5973007"/>
              <a:gd name="connsiteX48455" fmla="*/ 4988900 w 6884782"/>
              <a:gd name="connsiteY48455" fmla="*/ 1678061 h 5973007"/>
              <a:gd name="connsiteX48456" fmla="*/ 4989327 w 6884782"/>
              <a:gd name="connsiteY48456" fmla="*/ 1685317 h 5973007"/>
              <a:gd name="connsiteX48457" fmla="*/ 4986125 w 6884782"/>
              <a:gd name="connsiteY48457" fmla="*/ 1682756 h 5973007"/>
              <a:gd name="connsiteX48458" fmla="*/ 4981430 w 6884782"/>
              <a:gd name="connsiteY48458" fmla="*/ 1687024 h 5973007"/>
              <a:gd name="connsiteX48459" fmla="*/ 4976308 w 6884782"/>
              <a:gd name="connsiteY48459" fmla="*/ 1686740 h 5973007"/>
              <a:gd name="connsiteX48460" fmla="*/ 4974387 w 6884782"/>
              <a:gd name="connsiteY48460" fmla="*/ 1685602 h 5973007"/>
              <a:gd name="connsiteX48461" fmla="*/ 4974601 w 6884782"/>
              <a:gd name="connsiteY48461" fmla="*/ 1679200 h 5973007"/>
              <a:gd name="connsiteX48462" fmla="*/ 4976949 w 6884782"/>
              <a:gd name="connsiteY48462" fmla="*/ 1676639 h 5973007"/>
              <a:gd name="connsiteX48463" fmla="*/ 4973747 w 6884782"/>
              <a:gd name="connsiteY48463" fmla="*/ 1674647 h 5973007"/>
              <a:gd name="connsiteX48464" fmla="*/ 4958595 w 6884782"/>
              <a:gd name="connsiteY48464" fmla="*/ 1661274 h 5973007"/>
              <a:gd name="connsiteX48465" fmla="*/ 4965851 w 6884782"/>
              <a:gd name="connsiteY48465" fmla="*/ 1661274 h 5973007"/>
              <a:gd name="connsiteX48466" fmla="*/ 4965210 w 6884782"/>
              <a:gd name="connsiteY48466" fmla="*/ 1657290 h 5973007"/>
              <a:gd name="connsiteX48467" fmla="*/ 4966704 w 6884782"/>
              <a:gd name="connsiteY48467" fmla="*/ 1654871 h 5973007"/>
              <a:gd name="connsiteX48468" fmla="*/ 4971186 w 6884782"/>
              <a:gd name="connsiteY48468" fmla="*/ 1650604 h 5973007"/>
              <a:gd name="connsiteX48469" fmla="*/ 1595205 w 6884782"/>
              <a:gd name="connsiteY48469" fmla="*/ 1650287 h 5973007"/>
              <a:gd name="connsiteX48470" fmla="*/ 1603466 w 6884782"/>
              <a:gd name="connsiteY48470" fmla="*/ 1653541 h 5973007"/>
              <a:gd name="connsiteX48471" fmla="*/ 1601607 w 6884782"/>
              <a:gd name="connsiteY48471" fmla="*/ 1656638 h 5973007"/>
              <a:gd name="connsiteX48472" fmla="*/ 1594689 w 6884782"/>
              <a:gd name="connsiteY48472" fmla="*/ 1653541 h 5973007"/>
              <a:gd name="connsiteX48473" fmla="*/ 1595205 w 6884782"/>
              <a:gd name="connsiteY48473" fmla="*/ 1650287 h 5973007"/>
              <a:gd name="connsiteX48474" fmla="*/ 1335206 w 6884782"/>
              <a:gd name="connsiteY48474" fmla="*/ 1649978 h 5973007"/>
              <a:gd name="connsiteX48475" fmla="*/ 1335413 w 6884782"/>
              <a:gd name="connsiteY48475" fmla="*/ 1676775 h 5973007"/>
              <a:gd name="connsiteX48476" fmla="*/ 1332522 w 6884782"/>
              <a:gd name="connsiteY48476" fmla="*/ 1673057 h 5973007"/>
              <a:gd name="connsiteX48477" fmla="*/ 1330663 w 6884782"/>
              <a:gd name="connsiteY48477" fmla="*/ 1673677 h 5973007"/>
              <a:gd name="connsiteX48478" fmla="*/ 1325707 w 6884782"/>
              <a:gd name="connsiteY48478" fmla="*/ 1672283 h 5973007"/>
              <a:gd name="connsiteX48479" fmla="*/ 1327669 w 6884782"/>
              <a:gd name="connsiteY48479" fmla="*/ 1678943 h 5973007"/>
              <a:gd name="connsiteX48480" fmla="*/ 1326326 w 6884782"/>
              <a:gd name="connsiteY48480" fmla="*/ 1687153 h 5973007"/>
              <a:gd name="connsiteX48481" fmla="*/ 1302991 w 6884782"/>
              <a:gd name="connsiteY48481" fmla="*/ 1700009 h 5973007"/>
              <a:gd name="connsiteX48482" fmla="*/ 1301029 w 6884782"/>
              <a:gd name="connsiteY48482" fmla="*/ 1697996 h 5973007"/>
              <a:gd name="connsiteX48483" fmla="*/ 1299480 w 6884782"/>
              <a:gd name="connsiteY48483" fmla="*/ 1689631 h 5973007"/>
              <a:gd name="connsiteX48484" fmla="*/ 1300512 w 6884782"/>
              <a:gd name="connsiteY48484" fmla="*/ 1684520 h 5973007"/>
              <a:gd name="connsiteX48485" fmla="*/ 1297828 w 6884782"/>
              <a:gd name="connsiteY48485" fmla="*/ 1686068 h 5973007"/>
              <a:gd name="connsiteX48486" fmla="*/ 1296692 w 6884782"/>
              <a:gd name="connsiteY48486" fmla="*/ 1684984 h 5973007"/>
              <a:gd name="connsiteX48487" fmla="*/ 1296485 w 6884782"/>
              <a:gd name="connsiteY48487" fmla="*/ 1685759 h 5973007"/>
              <a:gd name="connsiteX48488" fmla="*/ 1296692 w 6884782"/>
              <a:gd name="connsiteY48488" fmla="*/ 1687618 h 5973007"/>
              <a:gd name="connsiteX48489" fmla="*/ 1293491 w 6884782"/>
              <a:gd name="connsiteY48489" fmla="*/ 1692729 h 5973007"/>
              <a:gd name="connsiteX48490" fmla="*/ 1289464 w 6884782"/>
              <a:gd name="connsiteY48490" fmla="*/ 1676775 h 5973007"/>
              <a:gd name="connsiteX48491" fmla="*/ 1289980 w 6884782"/>
              <a:gd name="connsiteY48491" fmla="*/ 1674761 h 5973007"/>
              <a:gd name="connsiteX48492" fmla="*/ 1292045 w 6884782"/>
              <a:gd name="connsiteY48492" fmla="*/ 1674142 h 5973007"/>
              <a:gd name="connsiteX48493" fmla="*/ 1294420 w 6884782"/>
              <a:gd name="connsiteY48493" fmla="*/ 1676620 h 5973007"/>
              <a:gd name="connsiteX48494" fmla="*/ 1295246 w 6884782"/>
              <a:gd name="connsiteY48494" fmla="*/ 1674606 h 5973007"/>
              <a:gd name="connsiteX48495" fmla="*/ 1297621 w 6884782"/>
              <a:gd name="connsiteY48495" fmla="*/ 1672593 h 5973007"/>
              <a:gd name="connsiteX48496" fmla="*/ 1295143 w 6884782"/>
              <a:gd name="connsiteY48496" fmla="*/ 1672438 h 5973007"/>
              <a:gd name="connsiteX48497" fmla="*/ 1306501 w 6884782"/>
              <a:gd name="connsiteY48497" fmla="*/ 1657103 h 5973007"/>
              <a:gd name="connsiteX48498" fmla="*/ 1311974 w 6884782"/>
              <a:gd name="connsiteY48498" fmla="*/ 1657723 h 5973007"/>
              <a:gd name="connsiteX48499" fmla="*/ 1301545 w 6884782"/>
              <a:gd name="connsiteY48499" fmla="*/ 1672902 h 5973007"/>
              <a:gd name="connsiteX48500" fmla="*/ 1298964 w 6884782"/>
              <a:gd name="connsiteY48500" fmla="*/ 1672748 h 5973007"/>
              <a:gd name="connsiteX48501" fmla="*/ 1302681 w 6884782"/>
              <a:gd name="connsiteY48501" fmla="*/ 1677395 h 5973007"/>
              <a:gd name="connsiteX48502" fmla="*/ 1301958 w 6884782"/>
              <a:gd name="connsiteY48502" fmla="*/ 1681267 h 5973007"/>
              <a:gd name="connsiteX48503" fmla="*/ 1303817 w 6884782"/>
              <a:gd name="connsiteY48503" fmla="*/ 1677859 h 5973007"/>
              <a:gd name="connsiteX48504" fmla="*/ 1313832 w 6884782"/>
              <a:gd name="connsiteY48504" fmla="*/ 1670424 h 5973007"/>
              <a:gd name="connsiteX48505" fmla="*/ 1319305 w 6884782"/>
              <a:gd name="connsiteY48505" fmla="*/ 1669185 h 5973007"/>
              <a:gd name="connsiteX48506" fmla="*/ 1324674 w 6884782"/>
              <a:gd name="connsiteY48506" fmla="*/ 1669959 h 5973007"/>
              <a:gd name="connsiteX48507" fmla="*/ 1324777 w 6884782"/>
              <a:gd name="connsiteY48507" fmla="*/ 1668720 h 5973007"/>
              <a:gd name="connsiteX48508" fmla="*/ 1327462 w 6884782"/>
              <a:gd name="connsiteY48508" fmla="*/ 1666242 h 5973007"/>
              <a:gd name="connsiteX48509" fmla="*/ 1329734 w 6884782"/>
              <a:gd name="connsiteY48509" fmla="*/ 1666397 h 5973007"/>
              <a:gd name="connsiteX48510" fmla="*/ 1328908 w 6884782"/>
              <a:gd name="connsiteY48510" fmla="*/ 1662369 h 5973007"/>
              <a:gd name="connsiteX48511" fmla="*/ 1335206 w 6884782"/>
              <a:gd name="connsiteY48511" fmla="*/ 1649978 h 5973007"/>
              <a:gd name="connsiteX48512" fmla="*/ 4655752 w 6884782"/>
              <a:gd name="connsiteY48512" fmla="*/ 1649607 h 5973007"/>
              <a:gd name="connsiteX48513" fmla="*/ 4657459 w 6884782"/>
              <a:gd name="connsiteY48513" fmla="*/ 1653164 h 5973007"/>
              <a:gd name="connsiteX48514" fmla="*/ 4654258 w 6884782"/>
              <a:gd name="connsiteY48514" fmla="*/ 1655725 h 5973007"/>
              <a:gd name="connsiteX48515" fmla="*/ 4653831 w 6884782"/>
              <a:gd name="connsiteY48515" fmla="*/ 1660563 h 5973007"/>
              <a:gd name="connsiteX48516" fmla="*/ 4650629 w 6884782"/>
              <a:gd name="connsiteY48516" fmla="*/ 1663123 h 5973007"/>
              <a:gd name="connsiteX48517" fmla="*/ 4650416 w 6884782"/>
              <a:gd name="connsiteY48517" fmla="*/ 1661985 h 5973007"/>
              <a:gd name="connsiteX48518" fmla="*/ 4652550 w 6884782"/>
              <a:gd name="connsiteY48518" fmla="*/ 1659424 h 5973007"/>
              <a:gd name="connsiteX48519" fmla="*/ 4653617 w 6884782"/>
              <a:gd name="connsiteY48519" fmla="*/ 1651030 h 5973007"/>
              <a:gd name="connsiteX48520" fmla="*/ 4655752 w 6884782"/>
              <a:gd name="connsiteY48520" fmla="*/ 1649607 h 5973007"/>
              <a:gd name="connsiteX48521" fmla="*/ 1403356 w 6884782"/>
              <a:gd name="connsiteY48521" fmla="*/ 1649513 h 5973007"/>
              <a:gd name="connsiteX48522" fmla="*/ 1410170 w 6884782"/>
              <a:gd name="connsiteY48522" fmla="*/ 1652611 h 5973007"/>
              <a:gd name="connsiteX48523" fmla="*/ 1406453 w 6884782"/>
              <a:gd name="connsiteY48523" fmla="*/ 1657567 h 5973007"/>
              <a:gd name="connsiteX48524" fmla="*/ 1403768 w 6884782"/>
              <a:gd name="connsiteY48524" fmla="*/ 1657877 h 5973007"/>
              <a:gd name="connsiteX48525" fmla="*/ 1401394 w 6884782"/>
              <a:gd name="connsiteY48525" fmla="*/ 1656174 h 5973007"/>
              <a:gd name="connsiteX48526" fmla="*/ 1400774 w 6884782"/>
              <a:gd name="connsiteY48526" fmla="*/ 1654005 h 5973007"/>
              <a:gd name="connsiteX48527" fmla="*/ 1403356 w 6884782"/>
              <a:gd name="connsiteY48527" fmla="*/ 1649513 h 5973007"/>
              <a:gd name="connsiteX48528" fmla="*/ 871173 w 6884782"/>
              <a:gd name="connsiteY48528" fmla="*/ 1649513 h 5973007"/>
              <a:gd name="connsiteX48529" fmla="*/ 869830 w 6884782"/>
              <a:gd name="connsiteY48529" fmla="*/ 1662060 h 5973007"/>
              <a:gd name="connsiteX48530" fmla="*/ 863635 w 6884782"/>
              <a:gd name="connsiteY48530" fmla="*/ 1656483 h 5973007"/>
              <a:gd name="connsiteX48531" fmla="*/ 866217 w 6884782"/>
              <a:gd name="connsiteY48531" fmla="*/ 1650133 h 5973007"/>
              <a:gd name="connsiteX48532" fmla="*/ 871173 w 6884782"/>
              <a:gd name="connsiteY48532" fmla="*/ 1649513 h 5973007"/>
              <a:gd name="connsiteX48533" fmla="*/ 1664284 w 6884782"/>
              <a:gd name="connsiteY48533" fmla="*/ 1648584 h 5973007"/>
              <a:gd name="connsiteX48534" fmla="*/ 1667588 w 6884782"/>
              <a:gd name="connsiteY48534" fmla="*/ 1650287 h 5973007"/>
              <a:gd name="connsiteX48535" fmla="*/ 1668517 w 6884782"/>
              <a:gd name="connsiteY48535" fmla="*/ 1651991 h 5973007"/>
              <a:gd name="connsiteX48536" fmla="*/ 1668311 w 6884782"/>
              <a:gd name="connsiteY48536" fmla="*/ 1652456 h 5973007"/>
              <a:gd name="connsiteX48537" fmla="*/ 1668517 w 6884782"/>
              <a:gd name="connsiteY48537" fmla="*/ 1652611 h 5973007"/>
              <a:gd name="connsiteX48538" fmla="*/ 1668931 w 6884782"/>
              <a:gd name="connsiteY48538" fmla="*/ 1654625 h 5973007"/>
              <a:gd name="connsiteX48539" fmla="*/ 1664594 w 6884782"/>
              <a:gd name="connsiteY48539" fmla="*/ 1654934 h 5973007"/>
              <a:gd name="connsiteX48540" fmla="*/ 1663664 w 6884782"/>
              <a:gd name="connsiteY48540" fmla="*/ 1654315 h 5973007"/>
              <a:gd name="connsiteX48541" fmla="*/ 1662735 w 6884782"/>
              <a:gd name="connsiteY48541" fmla="*/ 1654315 h 5973007"/>
              <a:gd name="connsiteX48542" fmla="*/ 1661186 w 6884782"/>
              <a:gd name="connsiteY48542" fmla="*/ 1652611 h 5973007"/>
              <a:gd name="connsiteX48543" fmla="*/ 1662322 w 6884782"/>
              <a:gd name="connsiteY48543" fmla="*/ 1651062 h 5973007"/>
              <a:gd name="connsiteX48544" fmla="*/ 1662529 w 6884782"/>
              <a:gd name="connsiteY48544" fmla="*/ 1649358 h 5973007"/>
              <a:gd name="connsiteX48545" fmla="*/ 1663355 w 6884782"/>
              <a:gd name="connsiteY48545" fmla="*/ 1649358 h 5973007"/>
              <a:gd name="connsiteX48546" fmla="*/ 1664284 w 6884782"/>
              <a:gd name="connsiteY48546" fmla="*/ 1648584 h 5973007"/>
              <a:gd name="connsiteX48547" fmla="*/ 4638038 w 6884782"/>
              <a:gd name="connsiteY48547" fmla="*/ 1647616 h 5973007"/>
              <a:gd name="connsiteX48548" fmla="*/ 4632702 w 6884782"/>
              <a:gd name="connsiteY48548" fmla="*/ 1666680 h 5973007"/>
              <a:gd name="connsiteX48549" fmla="*/ 4638038 w 6884782"/>
              <a:gd name="connsiteY48549" fmla="*/ 1647616 h 5973007"/>
              <a:gd name="connsiteX48550" fmla="*/ 4009517 w 6884782"/>
              <a:gd name="connsiteY48550" fmla="*/ 1647616 h 5973007"/>
              <a:gd name="connsiteX48551" fmla="*/ 4015279 w 6884782"/>
              <a:gd name="connsiteY48551" fmla="*/ 1648043 h 5973007"/>
              <a:gd name="connsiteX48552" fmla="*/ 4015492 w 6884782"/>
              <a:gd name="connsiteY48552" fmla="*/ 1648185 h 5973007"/>
              <a:gd name="connsiteX48553" fmla="*/ 4021255 w 6884782"/>
              <a:gd name="connsiteY48553" fmla="*/ 1648470 h 5973007"/>
              <a:gd name="connsiteX48554" fmla="*/ 4014212 w 6884782"/>
              <a:gd name="connsiteY48554" fmla="*/ 1655868 h 5973007"/>
              <a:gd name="connsiteX48555" fmla="*/ 4013999 w 6884782"/>
              <a:gd name="connsiteY48555" fmla="*/ 1658713 h 5973007"/>
              <a:gd name="connsiteX48556" fmla="*/ 4010371 w 6884782"/>
              <a:gd name="connsiteY48556" fmla="*/ 1661274 h 5973007"/>
              <a:gd name="connsiteX48557" fmla="*/ 4010797 w 6884782"/>
              <a:gd name="connsiteY48557" fmla="*/ 1658144 h 5973007"/>
              <a:gd name="connsiteX48558" fmla="*/ 3999272 w 6884782"/>
              <a:gd name="connsiteY48558" fmla="*/ 1662981 h 5973007"/>
              <a:gd name="connsiteX48559" fmla="*/ 3977290 w 6884782"/>
              <a:gd name="connsiteY48559" fmla="*/ 1656721 h 5973007"/>
              <a:gd name="connsiteX48560" fmla="*/ 3984120 w 6884782"/>
              <a:gd name="connsiteY48560" fmla="*/ 1656010 h 5973007"/>
              <a:gd name="connsiteX48561" fmla="*/ 3987321 w 6884782"/>
              <a:gd name="connsiteY48561" fmla="*/ 1653307 h 5973007"/>
              <a:gd name="connsiteX48562" fmla="*/ 3997352 w 6884782"/>
              <a:gd name="connsiteY48562" fmla="*/ 1649607 h 5973007"/>
              <a:gd name="connsiteX48563" fmla="*/ 3999272 w 6884782"/>
              <a:gd name="connsiteY48563" fmla="*/ 1651172 h 5973007"/>
              <a:gd name="connsiteX48564" fmla="*/ 1174746 w 6884782"/>
              <a:gd name="connsiteY48564" fmla="*/ 1647344 h 5973007"/>
              <a:gd name="connsiteX48565" fmla="*/ 1182903 w 6884782"/>
              <a:gd name="connsiteY48565" fmla="*/ 1648429 h 5973007"/>
              <a:gd name="connsiteX48566" fmla="*/ 1180116 w 6884782"/>
              <a:gd name="connsiteY48566" fmla="*/ 1659736 h 5973007"/>
              <a:gd name="connsiteX48567" fmla="*/ 1170616 w 6884782"/>
              <a:gd name="connsiteY48567" fmla="*/ 1653231 h 5973007"/>
              <a:gd name="connsiteX48568" fmla="*/ 1174746 w 6884782"/>
              <a:gd name="connsiteY48568" fmla="*/ 1647344 h 5973007"/>
              <a:gd name="connsiteX48569" fmla="*/ 5067865 w 6884782"/>
              <a:gd name="connsiteY48569" fmla="*/ 1646905 h 5973007"/>
              <a:gd name="connsiteX48570" fmla="*/ 5072774 w 6884782"/>
              <a:gd name="connsiteY48570" fmla="*/ 1651599 h 5973007"/>
              <a:gd name="connsiteX48571" fmla="*/ 5072560 w 6884782"/>
              <a:gd name="connsiteY48571" fmla="*/ 1655868 h 5973007"/>
              <a:gd name="connsiteX48572" fmla="*/ 5068719 w 6884782"/>
              <a:gd name="connsiteY48572" fmla="*/ 1657859 h 5973007"/>
              <a:gd name="connsiteX48573" fmla="*/ 5064237 w 6884782"/>
              <a:gd name="connsiteY48573" fmla="*/ 1656579 h 5973007"/>
              <a:gd name="connsiteX48574" fmla="*/ 5067865 w 6884782"/>
              <a:gd name="connsiteY48574" fmla="*/ 1646905 h 5973007"/>
              <a:gd name="connsiteX48575" fmla="*/ 3894910 w 6884782"/>
              <a:gd name="connsiteY48575" fmla="*/ 1646905 h 5973007"/>
              <a:gd name="connsiteX48576" fmla="*/ 3902380 w 6884782"/>
              <a:gd name="connsiteY48576" fmla="*/ 1654871 h 5973007"/>
              <a:gd name="connsiteX48577" fmla="*/ 3891069 w 6884782"/>
              <a:gd name="connsiteY48577" fmla="*/ 1649892 h 5973007"/>
              <a:gd name="connsiteX48578" fmla="*/ 3894910 w 6884782"/>
              <a:gd name="connsiteY48578" fmla="*/ 1646905 h 5973007"/>
              <a:gd name="connsiteX48579" fmla="*/ 1909539 w 6884782"/>
              <a:gd name="connsiteY48579" fmla="*/ 1646672 h 5973007"/>
              <a:gd name="connsiteX48580" fmla="*/ 1926658 w 6884782"/>
              <a:gd name="connsiteY48580" fmla="*/ 1661440 h 5973007"/>
              <a:gd name="connsiteX48581" fmla="*/ 1931821 w 6884782"/>
              <a:gd name="connsiteY48581" fmla="*/ 1670734 h 5973007"/>
              <a:gd name="connsiteX48582" fmla="*/ 1933060 w 6884782"/>
              <a:gd name="connsiteY48582" fmla="*/ 1669030 h 5973007"/>
              <a:gd name="connsiteX48583" fmla="*/ 1932957 w 6884782"/>
              <a:gd name="connsiteY48583" fmla="*/ 1672748 h 5973007"/>
              <a:gd name="connsiteX48584" fmla="*/ 1933060 w 6884782"/>
              <a:gd name="connsiteY48584" fmla="*/ 1672902 h 5973007"/>
              <a:gd name="connsiteX48585" fmla="*/ 1932957 w 6884782"/>
              <a:gd name="connsiteY48585" fmla="*/ 1673057 h 5973007"/>
              <a:gd name="connsiteX48586" fmla="*/ 1932440 w 6884782"/>
              <a:gd name="connsiteY48586" fmla="*/ 1687463 h 5973007"/>
              <a:gd name="connsiteX48587" fmla="*/ 1925109 w 6884782"/>
              <a:gd name="connsiteY48587" fmla="*/ 1706050 h 5973007"/>
              <a:gd name="connsiteX48588" fmla="*/ 1921082 w 6884782"/>
              <a:gd name="connsiteY48588" fmla="*/ 1696137 h 5973007"/>
              <a:gd name="connsiteX48589" fmla="*/ 1921805 w 6884782"/>
              <a:gd name="connsiteY48589" fmla="*/ 1688237 h 5973007"/>
              <a:gd name="connsiteX48590" fmla="*/ 1923767 w 6884782"/>
              <a:gd name="connsiteY48590" fmla="*/ 1683435 h 5973007"/>
              <a:gd name="connsiteX48591" fmla="*/ 1918088 w 6884782"/>
              <a:gd name="connsiteY48591" fmla="*/ 1686533 h 5973007"/>
              <a:gd name="connsiteX48592" fmla="*/ 1902083 w 6884782"/>
              <a:gd name="connsiteY48592" fmla="*/ 1655399 h 5973007"/>
              <a:gd name="connsiteX48593" fmla="*/ 1909539 w 6884782"/>
              <a:gd name="connsiteY48593" fmla="*/ 1646672 h 5973007"/>
              <a:gd name="connsiteX48594" fmla="*/ 3669539 w 6884782"/>
              <a:gd name="connsiteY48594" fmla="*/ 1646335 h 5973007"/>
              <a:gd name="connsiteX48595" fmla="*/ 3670606 w 6884782"/>
              <a:gd name="connsiteY48595" fmla="*/ 1647616 h 5973007"/>
              <a:gd name="connsiteX48596" fmla="*/ 3670820 w 6884782"/>
              <a:gd name="connsiteY48596" fmla="*/ 1647332 h 5973007"/>
              <a:gd name="connsiteX48597" fmla="*/ 3671033 w 6884782"/>
              <a:gd name="connsiteY48597" fmla="*/ 1647901 h 5973007"/>
              <a:gd name="connsiteX48598" fmla="*/ 3671673 w 6884782"/>
              <a:gd name="connsiteY48598" fmla="*/ 1647758 h 5973007"/>
              <a:gd name="connsiteX48599" fmla="*/ 3674448 w 6884782"/>
              <a:gd name="connsiteY48599" fmla="*/ 1648754 h 5973007"/>
              <a:gd name="connsiteX48600" fmla="*/ 3674234 w 6884782"/>
              <a:gd name="connsiteY48600" fmla="*/ 1654587 h 5973007"/>
              <a:gd name="connsiteX48601" fmla="*/ 3668472 w 6884782"/>
              <a:gd name="connsiteY48601" fmla="*/ 1657433 h 5973007"/>
              <a:gd name="connsiteX48602" fmla="*/ 3664844 w 6884782"/>
              <a:gd name="connsiteY48602" fmla="*/ 1659851 h 5973007"/>
              <a:gd name="connsiteX48603" fmla="*/ 3662283 w 6884782"/>
              <a:gd name="connsiteY48603" fmla="*/ 1659140 h 5973007"/>
              <a:gd name="connsiteX48604" fmla="*/ 3663990 w 6884782"/>
              <a:gd name="connsiteY48604" fmla="*/ 1659993 h 5973007"/>
              <a:gd name="connsiteX48605" fmla="*/ 3665057 w 6884782"/>
              <a:gd name="connsiteY48605" fmla="*/ 1662270 h 5973007"/>
              <a:gd name="connsiteX48606" fmla="*/ 3663777 w 6884782"/>
              <a:gd name="connsiteY48606" fmla="*/ 1664546 h 5973007"/>
              <a:gd name="connsiteX48607" fmla="*/ 3662497 w 6884782"/>
              <a:gd name="connsiteY48607" fmla="*/ 1666253 h 5973007"/>
              <a:gd name="connsiteX48608" fmla="*/ 3669112 w 6884782"/>
              <a:gd name="connsiteY48608" fmla="*/ 1663123 h 5973007"/>
              <a:gd name="connsiteX48609" fmla="*/ 3665271 w 6884782"/>
              <a:gd name="connsiteY48609" fmla="*/ 1675928 h 5973007"/>
              <a:gd name="connsiteX48610" fmla="*/ 3664417 w 6884782"/>
              <a:gd name="connsiteY48610" fmla="*/ 1683752 h 5973007"/>
              <a:gd name="connsiteX48611" fmla="*/ 3665271 w 6884782"/>
              <a:gd name="connsiteY48611" fmla="*/ 1684037 h 5973007"/>
              <a:gd name="connsiteX48612" fmla="*/ 3666551 w 6884782"/>
              <a:gd name="connsiteY48612" fmla="*/ 1683468 h 5973007"/>
              <a:gd name="connsiteX48613" fmla="*/ 3666551 w 6884782"/>
              <a:gd name="connsiteY48613" fmla="*/ 1683183 h 5973007"/>
              <a:gd name="connsiteX48614" fmla="*/ 3670393 w 6884782"/>
              <a:gd name="connsiteY48614" fmla="*/ 1673224 h 5973007"/>
              <a:gd name="connsiteX48615" fmla="*/ 3671673 w 6884782"/>
              <a:gd name="connsiteY48615" fmla="*/ 1674505 h 5973007"/>
              <a:gd name="connsiteX48616" fmla="*/ 3669966 w 6884782"/>
              <a:gd name="connsiteY48616" fmla="*/ 1683041 h 5973007"/>
              <a:gd name="connsiteX48617" fmla="*/ 3669539 w 6884782"/>
              <a:gd name="connsiteY48617" fmla="*/ 1684748 h 5973007"/>
              <a:gd name="connsiteX48618" fmla="*/ 3672313 w 6884782"/>
              <a:gd name="connsiteY48618" fmla="*/ 1683752 h 5973007"/>
              <a:gd name="connsiteX48619" fmla="*/ 3690454 w 6884782"/>
              <a:gd name="connsiteY48619" fmla="*/ 1679200 h 5973007"/>
              <a:gd name="connsiteX48620" fmla="*/ 3696003 w 6884782"/>
              <a:gd name="connsiteY48620" fmla="*/ 1680480 h 5973007"/>
              <a:gd name="connsiteX48621" fmla="*/ 3694296 w 6884782"/>
              <a:gd name="connsiteY48621" fmla="*/ 1674931 h 5973007"/>
              <a:gd name="connsiteX48622" fmla="*/ 3693869 w 6884782"/>
              <a:gd name="connsiteY48622" fmla="*/ 1673794 h 5973007"/>
              <a:gd name="connsiteX48623" fmla="*/ 3690881 w 6884782"/>
              <a:gd name="connsiteY48623" fmla="*/ 1673794 h 5973007"/>
              <a:gd name="connsiteX48624" fmla="*/ 3685972 w 6884782"/>
              <a:gd name="connsiteY48624" fmla="*/ 1667392 h 5973007"/>
              <a:gd name="connsiteX48625" fmla="*/ 3687893 w 6884782"/>
              <a:gd name="connsiteY48625" fmla="*/ 1665400 h 5973007"/>
              <a:gd name="connsiteX48626" fmla="*/ 3691095 w 6884782"/>
              <a:gd name="connsiteY48626" fmla="*/ 1664688 h 5973007"/>
              <a:gd name="connsiteX48627" fmla="*/ 3689814 w 6884782"/>
              <a:gd name="connsiteY48627" fmla="*/ 1659708 h 5973007"/>
              <a:gd name="connsiteX48628" fmla="*/ 3687253 w 6884782"/>
              <a:gd name="connsiteY48628" fmla="*/ 1657148 h 5973007"/>
              <a:gd name="connsiteX48629" fmla="*/ 3687039 w 6884782"/>
              <a:gd name="connsiteY48629" fmla="*/ 1656294 h 5973007"/>
              <a:gd name="connsiteX48630" fmla="*/ 3685972 w 6884782"/>
              <a:gd name="connsiteY48630" fmla="*/ 1655868 h 5973007"/>
              <a:gd name="connsiteX48631" fmla="*/ 3685972 w 6884782"/>
              <a:gd name="connsiteY48631" fmla="*/ 1654729 h 5973007"/>
              <a:gd name="connsiteX48632" fmla="*/ 3687039 w 6884782"/>
              <a:gd name="connsiteY48632" fmla="*/ 1655298 h 5973007"/>
              <a:gd name="connsiteX48633" fmla="*/ 3686613 w 6884782"/>
              <a:gd name="connsiteY48633" fmla="*/ 1654018 h 5973007"/>
              <a:gd name="connsiteX48634" fmla="*/ 3685759 w 6884782"/>
              <a:gd name="connsiteY48634" fmla="*/ 1654444 h 5973007"/>
              <a:gd name="connsiteX48635" fmla="*/ 3685972 w 6884782"/>
              <a:gd name="connsiteY48635" fmla="*/ 1652026 h 5973007"/>
              <a:gd name="connsiteX48636" fmla="*/ 3686613 w 6884782"/>
              <a:gd name="connsiteY48636" fmla="*/ 1652453 h 5973007"/>
              <a:gd name="connsiteX48637" fmla="*/ 3686826 w 6884782"/>
              <a:gd name="connsiteY48637" fmla="*/ 1653449 h 5973007"/>
              <a:gd name="connsiteX48638" fmla="*/ 3689174 w 6884782"/>
              <a:gd name="connsiteY48638" fmla="*/ 1649750 h 5973007"/>
              <a:gd name="connsiteX48639" fmla="*/ 3694082 w 6884782"/>
              <a:gd name="connsiteY48639" fmla="*/ 1648470 h 5973007"/>
              <a:gd name="connsiteX48640" fmla="*/ 3700912 w 6884782"/>
              <a:gd name="connsiteY48640" fmla="*/ 1651742 h 5973007"/>
              <a:gd name="connsiteX48641" fmla="*/ 3700912 w 6884782"/>
              <a:gd name="connsiteY48641" fmla="*/ 1652311 h 5973007"/>
              <a:gd name="connsiteX48642" fmla="*/ 3709235 w 6884782"/>
              <a:gd name="connsiteY48642" fmla="*/ 1653876 h 5973007"/>
              <a:gd name="connsiteX48643" fmla="*/ 3712009 w 6884782"/>
              <a:gd name="connsiteY48643" fmla="*/ 1654871 h 5973007"/>
              <a:gd name="connsiteX48644" fmla="*/ 3712650 w 6884782"/>
              <a:gd name="connsiteY48644" fmla="*/ 1654444 h 5973007"/>
              <a:gd name="connsiteX48645" fmla="*/ 3716918 w 6884782"/>
              <a:gd name="connsiteY48645" fmla="*/ 1655014 h 5973007"/>
              <a:gd name="connsiteX48646" fmla="*/ 3717345 w 6884782"/>
              <a:gd name="connsiteY48646" fmla="*/ 1655441 h 5973007"/>
              <a:gd name="connsiteX48647" fmla="*/ 3718412 w 6884782"/>
              <a:gd name="connsiteY48647" fmla="*/ 1655156 h 5973007"/>
              <a:gd name="connsiteX48648" fmla="*/ 3727163 w 6884782"/>
              <a:gd name="connsiteY48648" fmla="*/ 1653164 h 5973007"/>
              <a:gd name="connsiteX48649" fmla="*/ 3720333 w 6884782"/>
              <a:gd name="connsiteY48649" fmla="*/ 1658002 h 5973007"/>
              <a:gd name="connsiteX48650" fmla="*/ 3719906 w 6884782"/>
              <a:gd name="connsiteY48650" fmla="*/ 1658002 h 5973007"/>
              <a:gd name="connsiteX48651" fmla="*/ 3726522 w 6884782"/>
              <a:gd name="connsiteY48651" fmla="*/ 1660563 h 5973007"/>
              <a:gd name="connsiteX48652" fmla="*/ 3727589 w 6884782"/>
              <a:gd name="connsiteY48652" fmla="*/ 1661274 h 5973007"/>
              <a:gd name="connsiteX48653" fmla="*/ 3728443 w 6884782"/>
              <a:gd name="connsiteY48653" fmla="*/ 1659140 h 5973007"/>
              <a:gd name="connsiteX48654" fmla="*/ 3728656 w 6884782"/>
              <a:gd name="connsiteY48654" fmla="*/ 1656437 h 5973007"/>
              <a:gd name="connsiteX48655" fmla="*/ 3730577 w 6884782"/>
              <a:gd name="connsiteY48655" fmla="*/ 1658002 h 5973007"/>
              <a:gd name="connsiteX48656" fmla="*/ 3728230 w 6884782"/>
              <a:gd name="connsiteY48656" fmla="*/ 1661700 h 5973007"/>
              <a:gd name="connsiteX48657" fmla="*/ 3730577 w 6884782"/>
              <a:gd name="connsiteY48657" fmla="*/ 1662412 h 5973007"/>
              <a:gd name="connsiteX48658" fmla="*/ 3730363 w 6884782"/>
              <a:gd name="connsiteY48658" fmla="*/ 1663123 h 5973007"/>
              <a:gd name="connsiteX48659" fmla="*/ 3731858 w 6884782"/>
              <a:gd name="connsiteY48659" fmla="*/ 1664119 h 5973007"/>
              <a:gd name="connsiteX48660" fmla="*/ 3741034 w 6884782"/>
              <a:gd name="connsiteY48660" fmla="*/ 1660278 h 5973007"/>
              <a:gd name="connsiteX48661" fmla="*/ 3745516 w 6884782"/>
              <a:gd name="connsiteY48661" fmla="*/ 1657006 h 5973007"/>
              <a:gd name="connsiteX48662" fmla="*/ 3748077 w 6884782"/>
              <a:gd name="connsiteY48662" fmla="*/ 1657148 h 5973007"/>
              <a:gd name="connsiteX48663" fmla="*/ 3754693 w 6884782"/>
              <a:gd name="connsiteY48663" fmla="*/ 1661416 h 5973007"/>
              <a:gd name="connsiteX48664" fmla="*/ 3737834 w 6884782"/>
              <a:gd name="connsiteY48664" fmla="*/ 1668245 h 5973007"/>
              <a:gd name="connsiteX48665" fmla="*/ 3735913 w 6884782"/>
              <a:gd name="connsiteY48665" fmla="*/ 1668245 h 5973007"/>
              <a:gd name="connsiteX48666" fmla="*/ 3737620 w 6884782"/>
              <a:gd name="connsiteY48666" fmla="*/ 1670521 h 5973007"/>
              <a:gd name="connsiteX48667" fmla="*/ 3733351 w 6884782"/>
              <a:gd name="connsiteY48667" fmla="*/ 1682899 h 5973007"/>
              <a:gd name="connsiteX48668" fmla="*/ 3725242 w 6884782"/>
              <a:gd name="connsiteY48668" fmla="*/ 1679058 h 5973007"/>
              <a:gd name="connsiteX48669" fmla="*/ 3726735 w 6884782"/>
              <a:gd name="connsiteY48669" fmla="*/ 1694991 h 5973007"/>
              <a:gd name="connsiteX48670" fmla="*/ 3716491 w 6884782"/>
              <a:gd name="connsiteY48670" fmla="*/ 1680907 h 5973007"/>
              <a:gd name="connsiteX48671" fmla="*/ 3716491 w 6884782"/>
              <a:gd name="connsiteY48671" fmla="*/ 1676781 h 5973007"/>
              <a:gd name="connsiteX48672" fmla="*/ 3712650 w 6884782"/>
              <a:gd name="connsiteY48672" fmla="*/ 1674363 h 5973007"/>
              <a:gd name="connsiteX48673" fmla="*/ 3712650 w 6884782"/>
              <a:gd name="connsiteY48673" fmla="*/ 1674220 h 5973007"/>
              <a:gd name="connsiteX48674" fmla="*/ 3709235 w 6884782"/>
              <a:gd name="connsiteY48674" fmla="*/ 1673082 h 5973007"/>
              <a:gd name="connsiteX48675" fmla="*/ 3699631 w 6884782"/>
              <a:gd name="connsiteY48675" fmla="*/ 1668956 h 5973007"/>
              <a:gd name="connsiteX48676" fmla="*/ 3697070 w 6884782"/>
              <a:gd name="connsiteY48676" fmla="*/ 1666538 h 5973007"/>
              <a:gd name="connsiteX48677" fmla="*/ 3697710 w 6884782"/>
              <a:gd name="connsiteY48677" fmla="*/ 1668387 h 5973007"/>
              <a:gd name="connsiteX48678" fmla="*/ 3697924 w 6884782"/>
              <a:gd name="connsiteY48678" fmla="*/ 1669241 h 5973007"/>
              <a:gd name="connsiteX48679" fmla="*/ 3700272 w 6884782"/>
              <a:gd name="connsiteY48679" fmla="*/ 1670379 h 5973007"/>
              <a:gd name="connsiteX48680" fmla="*/ 3701125 w 6884782"/>
              <a:gd name="connsiteY48680" fmla="*/ 1673794 h 5973007"/>
              <a:gd name="connsiteX48681" fmla="*/ 3698778 w 6884782"/>
              <a:gd name="connsiteY48681" fmla="*/ 1673794 h 5973007"/>
              <a:gd name="connsiteX48682" fmla="*/ 3698778 w 6884782"/>
              <a:gd name="connsiteY48682" fmla="*/ 1674078 h 5973007"/>
              <a:gd name="connsiteX48683" fmla="*/ 3698991 w 6884782"/>
              <a:gd name="connsiteY48683" fmla="*/ 1675501 h 5973007"/>
              <a:gd name="connsiteX48684" fmla="*/ 3699418 w 6884782"/>
              <a:gd name="connsiteY48684" fmla="*/ 1678061 h 5973007"/>
              <a:gd name="connsiteX48685" fmla="*/ 3696217 w 6884782"/>
              <a:gd name="connsiteY48685" fmla="*/ 1681618 h 5973007"/>
              <a:gd name="connsiteX48686" fmla="*/ 3696217 w 6884782"/>
              <a:gd name="connsiteY48686" fmla="*/ 1681333 h 5973007"/>
              <a:gd name="connsiteX48687" fmla="*/ 3694296 w 6884782"/>
              <a:gd name="connsiteY48687" fmla="*/ 1685032 h 5973007"/>
              <a:gd name="connsiteX48688" fmla="*/ 3676795 w 6884782"/>
              <a:gd name="connsiteY48688" fmla="*/ 1694423 h 5973007"/>
              <a:gd name="connsiteX48689" fmla="*/ 3667405 w 6884782"/>
              <a:gd name="connsiteY48689" fmla="*/ 1694423 h 5973007"/>
              <a:gd name="connsiteX48690" fmla="*/ 3671673 w 6884782"/>
              <a:gd name="connsiteY48690" fmla="*/ 1697410 h 5973007"/>
              <a:gd name="connsiteX48691" fmla="*/ 3681277 w 6884782"/>
              <a:gd name="connsiteY48691" fmla="*/ 1705092 h 5973007"/>
              <a:gd name="connsiteX48692" fmla="*/ 3681277 w 6884782"/>
              <a:gd name="connsiteY48692" fmla="*/ 1706373 h 5973007"/>
              <a:gd name="connsiteX48693" fmla="*/ 3678503 w 6884782"/>
              <a:gd name="connsiteY48693" fmla="*/ 1707227 h 5973007"/>
              <a:gd name="connsiteX48694" fmla="*/ 3674234 w 6884782"/>
              <a:gd name="connsiteY48694" fmla="*/ 1704381 h 5973007"/>
              <a:gd name="connsiteX48695" fmla="*/ 3666124 w 6884782"/>
              <a:gd name="connsiteY48695" fmla="*/ 1694849 h 5973007"/>
              <a:gd name="connsiteX48696" fmla="*/ 3665484 w 6884782"/>
              <a:gd name="connsiteY48696" fmla="*/ 1694423 h 5973007"/>
              <a:gd name="connsiteX48697" fmla="*/ 3663137 w 6884782"/>
              <a:gd name="connsiteY48697" fmla="*/ 1694423 h 5973007"/>
              <a:gd name="connsiteX48698" fmla="*/ 3660362 w 6884782"/>
              <a:gd name="connsiteY48698" fmla="*/ 1693284 h 5973007"/>
              <a:gd name="connsiteX48699" fmla="*/ 3656734 w 6884782"/>
              <a:gd name="connsiteY48699" fmla="*/ 1694423 h 5973007"/>
              <a:gd name="connsiteX48700" fmla="*/ 3655667 w 6884782"/>
              <a:gd name="connsiteY48700" fmla="*/ 1690439 h 5973007"/>
              <a:gd name="connsiteX48701" fmla="*/ 3654813 w 6884782"/>
              <a:gd name="connsiteY48701" fmla="*/ 1700255 h 5973007"/>
              <a:gd name="connsiteX48702" fmla="*/ 3655240 w 6884782"/>
              <a:gd name="connsiteY48702" fmla="*/ 1704097 h 5973007"/>
              <a:gd name="connsiteX48703" fmla="*/ 3655453 w 6884782"/>
              <a:gd name="connsiteY48703" fmla="*/ 1705092 h 5973007"/>
              <a:gd name="connsiteX48704" fmla="*/ 3655667 w 6884782"/>
              <a:gd name="connsiteY48704" fmla="*/ 1705235 h 5973007"/>
              <a:gd name="connsiteX48705" fmla="*/ 3657161 w 6884782"/>
              <a:gd name="connsiteY48705" fmla="*/ 1712633 h 5973007"/>
              <a:gd name="connsiteX48706" fmla="*/ 3656307 w 6884782"/>
              <a:gd name="connsiteY48706" fmla="*/ 1716474 h 5973007"/>
              <a:gd name="connsiteX48707" fmla="*/ 3656521 w 6884782"/>
              <a:gd name="connsiteY48707" fmla="*/ 1716332 h 5973007"/>
              <a:gd name="connsiteX48708" fmla="*/ 3658868 w 6884782"/>
              <a:gd name="connsiteY48708" fmla="*/ 1716901 h 5973007"/>
              <a:gd name="connsiteX48709" fmla="*/ 3660362 w 6884782"/>
              <a:gd name="connsiteY48709" fmla="*/ 1734542 h 5973007"/>
              <a:gd name="connsiteX48710" fmla="*/ 3659508 w 6884782"/>
              <a:gd name="connsiteY48710" fmla="*/ 1736961 h 5973007"/>
              <a:gd name="connsiteX48711" fmla="*/ 3660575 w 6884782"/>
              <a:gd name="connsiteY48711" fmla="*/ 1737103 h 5973007"/>
              <a:gd name="connsiteX48712" fmla="*/ 3659295 w 6884782"/>
              <a:gd name="connsiteY48712" fmla="*/ 1738241 h 5973007"/>
              <a:gd name="connsiteX48713" fmla="*/ 3659295 w 6884782"/>
              <a:gd name="connsiteY48713" fmla="*/ 1738526 h 5973007"/>
              <a:gd name="connsiteX48714" fmla="*/ 3659295 w 6884782"/>
              <a:gd name="connsiteY48714" fmla="*/ 1739664 h 5973007"/>
              <a:gd name="connsiteX48715" fmla="*/ 3656307 w 6884782"/>
              <a:gd name="connsiteY48715" fmla="*/ 1743220 h 5973007"/>
              <a:gd name="connsiteX48716" fmla="*/ 3653319 w 6884782"/>
              <a:gd name="connsiteY48716" fmla="*/ 1742509 h 5973007"/>
              <a:gd name="connsiteX48717" fmla="*/ 3652892 w 6884782"/>
              <a:gd name="connsiteY48717" fmla="*/ 1741798 h 5973007"/>
              <a:gd name="connsiteX48718" fmla="*/ 3646703 w 6884782"/>
              <a:gd name="connsiteY48718" fmla="*/ 1743078 h 5973007"/>
              <a:gd name="connsiteX48719" fmla="*/ 3647983 w 6884782"/>
              <a:gd name="connsiteY48719" fmla="*/ 1736107 h 5973007"/>
              <a:gd name="connsiteX48720" fmla="*/ 3649051 w 6884782"/>
              <a:gd name="connsiteY48720" fmla="*/ 1735823 h 5973007"/>
              <a:gd name="connsiteX48721" fmla="*/ 3646063 w 6884782"/>
              <a:gd name="connsiteY48721" fmla="*/ 1734969 h 5973007"/>
              <a:gd name="connsiteX48722" fmla="*/ 3628989 w 6884782"/>
              <a:gd name="connsiteY48722" fmla="*/ 1732408 h 5973007"/>
              <a:gd name="connsiteX48723" fmla="*/ 3628989 w 6884782"/>
              <a:gd name="connsiteY48723" fmla="*/ 1723445 h 5973007"/>
              <a:gd name="connsiteX48724" fmla="*/ 3630270 w 6884782"/>
              <a:gd name="connsiteY48724" fmla="*/ 1721169 h 5973007"/>
              <a:gd name="connsiteX48725" fmla="*/ 3628562 w 6884782"/>
              <a:gd name="connsiteY48725" fmla="*/ 1722450 h 5973007"/>
              <a:gd name="connsiteX48726" fmla="*/ 3626001 w 6884782"/>
              <a:gd name="connsiteY48726" fmla="*/ 1717185 h 5973007"/>
              <a:gd name="connsiteX48727" fmla="*/ 3630697 w 6884782"/>
              <a:gd name="connsiteY48727" fmla="*/ 1715621 h 5973007"/>
              <a:gd name="connsiteX48728" fmla="*/ 3632191 w 6884782"/>
              <a:gd name="connsiteY48728" fmla="*/ 1716758 h 5973007"/>
              <a:gd name="connsiteX48729" fmla="*/ 3633258 w 6884782"/>
              <a:gd name="connsiteY48729" fmla="*/ 1717897 h 5973007"/>
              <a:gd name="connsiteX48730" fmla="*/ 3635392 w 6884782"/>
              <a:gd name="connsiteY48730" fmla="*/ 1715905 h 5973007"/>
              <a:gd name="connsiteX48731" fmla="*/ 3646276 w 6884782"/>
              <a:gd name="connsiteY48731" fmla="*/ 1714340 h 5973007"/>
              <a:gd name="connsiteX48732" fmla="*/ 3647983 w 6884782"/>
              <a:gd name="connsiteY48732" fmla="*/ 1715193 h 5973007"/>
              <a:gd name="connsiteX48733" fmla="*/ 3648197 w 6884782"/>
              <a:gd name="connsiteY48733" fmla="*/ 1714767 h 5973007"/>
              <a:gd name="connsiteX48734" fmla="*/ 3649264 w 6884782"/>
              <a:gd name="connsiteY48734" fmla="*/ 1711352 h 5973007"/>
              <a:gd name="connsiteX48735" fmla="*/ 3647130 w 6884782"/>
              <a:gd name="connsiteY48735" fmla="*/ 1711779 h 5973007"/>
              <a:gd name="connsiteX48736" fmla="*/ 3651398 w 6884782"/>
              <a:gd name="connsiteY48736" fmla="*/ 1689728 h 5973007"/>
              <a:gd name="connsiteX48737" fmla="*/ 3652466 w 6884782"/>
              <a:gd name="connsiteY48737" fmla="*/ 1687594 h 5973007"/>
              <a:gd name="connsiteX48738" fmla="*/ 3653319 w 6884782"/>
              <a:gd name="connsiteY48738" fmla="*/ 1686882 h 5973007"/>
              <a:gd name="connsiteX48739" fmla="*/ 3653959 w 6884782"/>
              <a:gd name="connsiteY48739" fmla="*/ 1687309 h 5973007"/>
              <a:gd name="connsiteX48740" fmla="*/ 3654813 w 6884782"/>
              <a:gd name="connsiteY48740" fmla="*/ 1687167 h 5973007"/>
              <a:gd name="connsiteX48741" fmla="*/ 3654600 w 6884782"/>
              <a:gd name="connsiteY48741" fmla="*/ 1686597 h 5973007"/>
              <a:gd name="connsiteX48742" fmla="*/ 3655240 w 6884782"/>
              <a:gd name="connsiteY48742" fmla="*/ 1682330 h 5973007"/>
              <a:gd name="connsiteX48743" fmla="*/ 3652892 w 6884782"/>
              <a:gd name="connsiteY48743" fmla="*/ 1682045 h 5973007"/>
              <a:gd name="connsiteX48744" fmla="*/ 3648837 w 6884782"/>
              <a:gd name="connsiteY48744" fmla="*/ 1683325 h 5973007"/>
              <a:gd name="connsiteX48745" fmla="*/ 3647130 w 6884782"/>
              <a:gd name="connsiteY48745" fmla="*/ 1681618 h 5973007"/>
              <a:gd name="connsiteX48746" fmla="*/ 3650118 w 6884782"/>
              <a:gd name="connsiteY48746" fmla="*/ 1679058 h 5973007"/>
              <a:gd name="connsiteX48747" fmla="*/ 3653319 w 6884782"/>
              <a:gd name="connsiteY48747" fmla="*/ 1681618 h 5973007"/>
              <a:gd name="connsiteX48748" fmla="*/ 3655453 w 6884782"/>
              <a:gd name="connsiteY48748" fmla="*/ 1681192 h 5973007"/>
              <a:gd name="connsiteX48749" fmla="*/ 3656307 w 6884782"/>
              <a:gd name="connsiteY48749" fmla="*/ 1676212 h 5973007"/>
              <a:gd name="connsiteX48750" fmla="*/ 3661856 w 6884782"/>
              <a:gd name="connsiteY48750" fmla="*/ 1666680 h 5973007"/>
              <a:gd name="connsiteX48751" fmla="*/ 3660149 w 6884782"/>
              <a:gd name="connsiteY48751" fmla="*/ 1666965 h 5973007"/>
              <a:gd name="connsiteX48752" fmla="*/ 3656947 w 6884782"/>
              <a:gd name="connsiteY48752" fmla="*/ 1666111 h 5973007"/>
              <a:gd name="connsiteX48753" fmla="*/ 3656521 w 6884782"/>
              <a:gd name="connsiteY48753" fmla="*/ 1664830 h 5973007"/>
              <a:gd name="connsiteX48754" fmla="*/ 3655026 w 6884782"/>
              <a:gd name="connsiteY48754" fmla="*/ 1665257 h 5973007"/>
              <a:gd name="connsiteX48755" fmla="*/ 3649691 w 6884782"/>
              <a:gd name="connsiteY48755" fmla="*/ 1664830 h 5973007"/>
              <a:gd name="connsiteX48756" fmla="*/ 3656093 w 6884782"/>
              <a:gd name="connsiteY48756" fmla="*/ 1663123 h 5973007"/>
              <a:gd name="connsiteX48757" fmla="*/ 3656521 w 6884782"/>
              <a:gd name="connsiteY48757" fmla="*/ 1663123 h 5973007"/>
              <a:gd name="connsiteX48758" fmla="*/ 3656521 w 6884782"/>
              <a:gd name="connsiteY48758" fmla="*/ 1661985 h 5973007"/>
              <a:gd name="connsiteX48759" fmla="*/ 3655026 w 6884782"/>
              <a:gd name="connsiteY48759" fmla="*/ 1661416 h 5973007"/>
              <a:gd name="connsiteX48760" fmla="*/ 3656093 w 6884782"/>
              <a:gd name="connsiteY48760" fmla="*/ 1660847 h 5973007"/>
              <a:gd name="connsiteX48761" fmla="*/ 3656307 w 6884782"/>
              <a:gd name="connsiteY48761" fmla="*/ 1659140 h 5973007"/>
              <a:gd name="connsiteX48762" fmla="*/ 3661429 w 6884782"/>
              <a:gd name="connsiteY48762" fmla="*/ 1658713 h 5973007"/>
              <a:gd name="connsiteX48763" fmla="*/ 3666338 w 6884782"/>
              <a:gd name="connsiteY48763" fmla="*/ 1650177 h 5973007"/>
              <a:gd name="connsiteX48764" fmla="*/ 3668685 w 6884782"/>
              <a:gd name="connsiteY48764" fmla="*/ 1648612 h 5973007"/>
              <a:gd name="connsiteX48765" fmla="*/ 1362260 w 6884782"/>
              <a:gd name="connsiteY48765" fmla="*/ 1645950 h 5973007"/>
              <a:gd name="connsiteX48766" fmla="*/ 1379090 w 6884782"/>
              <a:gd name="connsiteY48766" fmla="*/ 1663609 h 5973007"/>
              <a:gd name="connsiteX48767" fmla="*/ 1380742 w 6884782"/>
              <a:gd name="connsiteY48767" fmla="*/ 1670889 h 5973007"/>
              <a:gd name="connsiteX48768" fmla="*/ 1366700 w 6884782"/>
              <a:gd name="connsiteY48768" fmla="*/ 1662679 h 5973007"/>
              <a:gd name="connsiteX48769" fmla="*/ 1354412 w 6884782"/>
              <a:gd name="connsiteY48769" fmla="*/ 1674452 h 5973007"/>
              <a:gd name="connsiteX48770" fmla="*/ 1354206 w 6884782"/>
              <a:gd name="connsiteY48770" fmla="*/ 1669959 h 5973007"/>
              <a:gd name="connsiteX48771" fmla="*/ 1362260 w 6884782"/>
              <a:gd name="connsiteY48771" fmla="*/ 1656329 h 5973007"/>
              <a:gd name="connsiteX48772" fmla="*/ 1362260 w 6884782"/>
              <a:gd name="connsiteY48772" fmla="*/ 1645950 h 5973007"/>
              <a:gd name="connsiteX48773" fmla="*/ 5257382 w 6884782"/>
              <a:gd name="connsiteY48773" fmla="*/ 1644770 h 5973007"/>
              <a:gd name="connsiteX48774" fmla="*/ 5279578 w 6884782"/>
              <a:gd name="connsiteY48774" fmla="*/ 1652311 h 5973007"/>
              <a:gd name="connsiteX48775" fmla="*/ 5280431 w 6884782"/>
              <a:gd name="connsiteY48775" fmla="*/ 1653307 h 5973007"/>
              <a:gd name="connsiteX48776" fmla="*/ 5279578 w 6884782"/>
              <a:gd name="connsiteY48776" fmla="*/ 1651315 h 5973007"/>
              <a:gd name="connsiteX48777" fmla="*/ 5280858 w 6884782"/>
              <a:gd name="connsiteY48777" fmla="*/ 1649039 h 5973007"/>
              <a:gd name="connsiteX48778" fmla="*/ 5284913 w 6884782"/>
              <a:gd name="connsiteY48778" fmla="*/ 1644913 h 5973007"/>
              <a:gd name="connsiteX48779" fmla="*/ 5288755 w 6884782"/>
              <a:gd name="connsiteY48779" fmla="*/ 1647047 h 5973007"/>
              <a:gd name="connsiteX48780" fmla="*/ 5289822 w 6884782"/>
              <a:gd name="connsiteY48780" fmla="*/ 1652311 h 5973007"/>
              <a:gd name="connsiteX48781" fmla="*/ 5285980 w 6884782"/>
              <a:gd name="connsiteY48781" fmla="*/ 1660847 h 5973007"/>
              <a:gd name="connsiteX48782" fmla="*/ 5284273 w 6884782"/>
              <a:gd name="connsiteY48782" fmla="*/ 1659566 h 5973007"/>
              <a:gd name="connsiteX48783" fmla="*/ 5278297 w 6884782"/>
              <a:gd name="connsiteY48783" fmla="*/ 1669525 h 5973007"/>
              <a:gd name="connsiteX48784" fmla="*/ 5268907 w 6884782"/>
              <a:gd name="connsiteY48784" fmla="*/ 1675501 h 5973007"/>
              <a:gd name="connsiteX48785" fmla="*/ 5262290 w 6884782"/>
              <a:gd name="connsiteY48785" fmla="*/ 1676639 h 5973007"/>
              <a:gd name="connsiteX48786" fmla="*/ 5266559 w 6884782"/>
              <a:gd name="connsiteY48786" fmla="*/ 1679769 h 5973007"/>
              <a:gd name="connsiteX48787" fmla="*/ 5270401 w 6884782"/>
              <a:gd name="connsiteY48787" fmla="*/ 1684464 h 5973007"/>
              <a:gd name="connsiteX48788" fmla="*/ 5274242 w 6884782"/>
              <a:gd name="connsiteY48788" fmla="*/ 1680907 h 5973007"/>
              <a:gd name="connsiteX48789" fmla="*/ 5281712 w 6884782"/>
              <a:gd name="connsiteY48789" fmla="*/ 1676496 h 5973007"/>
              <a:gd name="connsiteX48790" fmla="*/ 5281712 w 6884782"/>
              <a:gd name="connsiteY48790" fmla="*/ 1676354 h 5973007"/>
              <a:gd name="connsiteX48791" fmla="*/ 5281925 w 6884782"/>
              <a:gd name="connsiteY48791" fmla="*/ 1676354 h 5973007"/>
              <a:gd name="connsiteX48792" fmla="*/ 5283632 w 6884782"/>
              <a:gd name="connsiteY48792" fmla="*/ 1675501 h 5973007"/>
              <a:gd name="connsiteX48793" fmla="*/ 5283206 w 6884782"/>
              <a:gd name="connsiteY48793" fmla="*/ 1676496 h 5973007"/>
              <a:gd name="connsiteX48794" fmla="*/ 5290889 w 6884782"/>
              <a:gd name="connsiteY48794" fmla="*/ 1677066 h 5973007"/>
              <a:gd name="connsiteX48795" fmla="*/ 5308603 w 6884782"/>
              <a:gd name="connsiteY48795" fmla="*/ 1698264 h 5973007"/>
              <a:gd name="connsiteX48796" fmla="*/ 5294090 w 6884782"/>
              <a:gd name="connsiteY48796" fmla="*/ 1690154 h 5973007"/>
              <a:gd name="connsiteX48797" fmla="*/ 5287474 w 6884782"/>
              <a:gd name="connsiteY48797" fmla="*/ 1684464 h 5973007"/>
              <a:gd name="connsiteX48798" fmla="*/ 5282779 w 6884782"/>
              <a:gd name="connsiteY48798" fmla="*/ 1678061 h 5973007"/>
              <a:gd name="connsiteX48799" fmla="*/ 5280858 w 6884782"/>
              <a:gd name="connsiteY48799" fmla="*/ 1685317 h 5973007"/>
              <a:gd name="connsiteX48800" fmla="*/ 5275096 w 6884782"/>
              <a:gd name="connsiteY48800" fmla="*/ 1692004 h 5973007"/>
              <a:gd name="connsiteX48801" fmla="*/ 5277444 w 6884782"/>
              <a:gd name="connsiteY48801" fmla="*/ 1696841 h 5973007"/>
              <a:gd name="connsiteX48802" fmla="*/ 5270614 w 6884782"/>
              <a:gd name="connsiteY48802" fmla="*/ 1702105 h 5973007"/>
              <a:gd name="connsiteX48803" fmla="*/ 5264212 w 6884782"/>
              <a:gd name="connsiteY48803" fmla="*/ 1699828 h 5973007"/>
              <a:gd name="connsiteX48804" fmla="*/ 5262077 w 6884782"/>
              <a:gd name="connsiteY48804" fmla="*/ 1700967 h 5973007"/>
              <a:gd name="connsiteX48805" fmla="*/ 5253114 w 6884782"/>
              <a:gd name="connsiteY48805" fmla="*/ 1699828 h 5973007"/>
              <a:gd name="connsiteX48806" fmla="*/ 5258449 w 6884782"/>
              <a:gd name="connsiteY48806" fmla="*/ 1694991 h 5973007"/>
              <a:gd name="connsiteX48807" fmla="*/ 5252474 w 6884782"/>
              <a:gd name="connsiteY48807" fmla="*/ 1688305 h 5973007"/>
              <a:gd name="connsiteX48808" fmla="*/ 5251833 w 6884782"/>
              <a:gd name="connsiteY48808" fmla="*/ 1686740 h 5973007"/>
              <a:gd name="connsiteX48809" fmla="*/ 5249486 w 6884782"/>
              <a:gd name="connsiteY48809" fmla="*/ 1688732 h 5973007"/>
              <a:gd name="connsiteX48810" fmla="*/ 5243723 w 6884782"/>
              <a:gd name="connsiteY48810" fmla="*/ 1688874 h 5973007"/>
              <a:gd name="connsiteX48811" fmla="*/ 5239241 w 6884782"/>
              <a:gd name="connsiteY48811" fmla="*/ 1674931 h 5973007"/>
              <a:gd name="connsiteX48812" fmla="*/ 5239455 w 6884782"/>
              <a:gd name="connsiteY48812" fmla="*/ 1670237 h 5973007"/>
              <a:gd name="connsiteX48813" fmla="*/ 5232625 w 6884782"/>
              <a:gd name="connsiteY48813" fmla="*/ 1664119 h 5973007"/>
              <a:gd name="connsiteX48814" fmla="*/ 5232625 w 6884782"/>
              <a:gd name="connsiteY48814" fmla="*/ 1660278 h 5973007"/>
              <a:gd name="connsiteX48815" fmla="*/ 5257382 w 6884782"/>
              <a:gd name="connsiteY48815" fmla="*/ 1644770 h 5973007"/>
              <a:gd name="connsiteX48816" fmla="*/ 5220247 w 6884782"/>
              <a:gd name="connsiteY48816" fmla="*/ 1644628 h 5973007"/>
              <a:gd name="connsiteX48817" fmla="*/ 5221741 w 6884782"/>
              <a:gd name="connsiteY48817" fmla="*/ 1652453 h 5973007"/>
              <a:gd name="connsiteX48818" fmla="*/ 5214485 w 6884782"/>
              <a:gd name="connsiteY48818" fmla="*/ 1653022 h 5973007"/>
              <a:gd name="connsiteX48819" fmla="*/ 5220247 w 6884782"/>
              <a:gd name="connsiteY48819" fmla="*/ 1644628 h 5973007"/>
              <a:gd name="connsiteX48820" fmla="*/ 5599921 w 6884782"/>
              <a:gd name="connsiteY48820" fmla="*/ 1643490 h 5973007"/>
              <a:gd name="connsiteX48821" fmla="*/ 5605896 w 6884782"/>
              <a:gd name="connsiteY48821" fmla="*/ 1661132 h 5973007"/>
              <a:gd name="connsiteX48822" fmla="*/ 5605256 w 6884782"/>
              <a:gd name="connsiteY48822" fmla="*/ 1666822 h 5973007"/>
              <a:gd name="connsiteX48823" fmla="*/ 5609311 w 6884782"/>
              <a:gd name="connsiteY48823" fmla="*/ 1668102 h 5973007"/>
              <a:gd name="connsiteX48824" fmla="*/ 5616994 w 6884782"/>
              <a:gd name="connsiteY48824" fmla="*/ 1672229 h 5973007"/>
              <a:gd name="connsiteX48825" fmla="*/ 5603762 w 6884782"/>
              <a:gd name="connsiteY48825" fmla="*/ 1679911 h 5973007"/>
              <a:gd name="connsiteX48826" fmla="*/ 5601628 w 6884782"/>
              <a:gd name="connsiteY48826" fmla="*/ 1674931 h 5973007"/>
              <a:gd name="connsiteX48827" fmla="*/ 5601415 w 6884782"/>
              <a:gd name="connsiteY48827" fmla="*/ 1675643 h 5973007"/>
              <a:gd name="connsiteX48828" fmla="*/ 5599921 w 6884782"/>
              <a:gd name="connsiteY48828" fmla="*/ 1643490 h 5973007"/>
              <a:gd name="connsiteX48829" fmla="*/ 1463038 w 6884782"/>
              <a:gd name="connsiteY48829" fmla="*/ 1642543 h 5973007"/>
              <a:gd name="connsiteX48830" fmla="*/ 1470369 w 6884782"/>
              <a:gd name="connsiteY48830" fmla="*/ 1643317 h 5973007"/>
              <a:gd name="connsiteX48831" fmla="*/ 1472847 w 6884782"/>
              <a:gd name="connsiteY48831" fmla="*/ 1653541 h 5973007"/>
              <a:gd name="connsiteX48832" fmla="*/ 1469853 w 6884782"/>
              <a:gd name="connsiteY48832" fmla="*/ 1655864 h 5973007"/>
              <a:gd name="connsiteX48833" fmla="*/ 1464587 w 6884782"/>
              <a:gd name="connsiteY48833" fmla="*/ 1656019 h 5973007"/>
              <a:gd name="connsiteX48834" fmla="*/ 1464690 w 6884782"/>
              <a:gd name="connsiteY48834" fmla="*/ 1656174 h 5973007"/>
              <a:gd name="connsiteX48835" fmla="*/ 1463864 w 6884782"/>
              <a:gd name="connsiteY48835" fmla="*/ 1657103 h 5973007"/>
              <a:gd name="connsiteX48836" fmla="*/ 1459217 w 6884782"/>
              <a:gd name="connsiteY48836" fmla="*/ 1657723 h 5973007"/>
              <a:gd name="connsiteX48837" fmla="*/ 1458598 w 6884782"/>
              <a:gd name="connsiteY48837" fmla="*/ 1655864 h 5973007"/>
              <a:gd name="connsiteX48838" fmla="*/ 1459940 w 6884782"/>
              <a:gd name="connsiteY48838" fmla="*/ 1653386 h 5973007"/>
              <a:gd name="connsiteX48839" fmla="*/ 1460766 w 6884782"/>
              <a:gd name="connsiteY48839" fmla="*/ 1653231 h 5973007"/>
              <a:gd name="connsiteX48840" fmla="*/ 1460043 w 6884782"/>
              <a:gd name="connsiteY48840" fmla="*/ 1649203 h 5973007"/>
              <a:gd name="connsiteX48841" fmla="*/ 1463038 w 6884782"/>
              <a:gd name="connsiteY48841" fmla="*/ 1642543 h 5973007"/>
              <a:gd name="connsiteX48842" fmla="*/ 3525267 w 6884782"/>
              <a:gd name="connsiteY48842" fmla="*/ 1642494 h 5973007"/>
              <a:gd name="connsiteX48843" fmla="*/ 3524414 w 6884782"/>
              <a:gd name="connsiteY48843" fmla="*/ 1644913 h 5973007"/>
              <a:gd name="connsiteX48844" fmla="*/ 3527828 w 6884782"/>
              <a:gd name="connsiteY48844" fmla="*/ 1647189 h 5973007"/>
              <a:gd name="connsiteX48845" fmla="*/ 3526334 w 6884782"/>
              <a:gd name="connsiteY48845" fmla="*/ 1644913 h 5973007"/>
              <a:gd name="connsiteX48846" fmla="*/ 789394 w 6884782"/>
              <a:gd name="connsiteY48846" fmla="*/ 1642078 h 5973007"/>
              <a:gd name="connsiteX48847" fmla="*/ 790220 w 6884782"/>
              <a:gd name="connsiteY48847" fmla="*/ 1642078 h 5973007"/>
              <a:gd name="connsiteX48848" fmla="*/ 791046 w 6884782"/>
              <a:gd name="connsiteY48848" fmla="*/ 1647190 h 5973007"/>
              <a:gd name="connsiteX48849" fmla="*/ 791046 w 6884782"/>
              <a:gd name="connsiteY48849" fmla="*/ 1651217 h 5973007"/>
              <a:gd name="connsiteX48850" fmla="*/ 787226 w 6884782"/>
              <a:gd name="connsiteY48850" fmla="*/ 1664228 h 5973007"/>
              <a:gd name="connsiteX48851" fmla="*/ 786400 w 6884782"/>
              <a:gd name="connsiteY48851" fmla="*/ 1658342 h 5973007"/>
              <a:gd name="connsiteX48852" fmla="*/ 786709 w 6884782"/>
              <a:gd name="connsiteY48852" fmla="*/ 1645021 h 5973007"/>
              <a:gd name="connsiteX48853" fmla="*/ 788465 w 6884782"/>
              <a:gd name="connsiteY48853" fmla="*/ 1643627 h 5973007"/>
              <a:gd name="connsiteX48854" fmla="*/ 788465 w 6884782"/>
              <a:gd name="connsiteY48854" fmla="*/ 1642698 h 5973007"/>
              <a:gd name="connsiteX48855" fmla="*/ 789394 w 6884782"/>
              <a:gd name="connsiteY48855" fmla="*/ 1642078 h 5973007"/>
              <a:gd name="connsiteX48856" fmla="*/ 3465510 w 6884782"/>
              <a:gd name="connsiteY48856" fmla="*/ 1641783 h 5973007"/>
              <a:gd name="connsiteX48857" fmla="*/ 3459534 w 6884782"/>
              <a:gd name="connsiteY48857" fmla="*/ 1644628 h 5973007"/>
              <a:gd name="connsiteX48858" fmla="*/ 3459961 w 6884782"/>
              <a:gd name="connsiteY48858" fmla="*/ 1650888 h 5973007"/>
              <a:gd name="connsiteX48859" fmla="*/ 3461028 w 6884782"/>
              <a:gd name="connsiteY48859" fmla="*/ 1651457 h 5973007"/>
              <a:gd name="connsiteX48860" fmla="*/ 3465936 w 6884782"/>
              <a:gd name="connsiteY48860" fmla="*/ 1641783 h 5973007"/>
              <a:gd name="connsiteX48861" fmla="*/ 1691750 w 6884782"/>
              <a:gd name="connsiteY48861" fmla="*/ 1641304 h 5973007"/>
              <a:gd name="connsiteX48862" fmla="*/ 1692473 w 6884782"/>
              <a:gd name="connsiteY48862" fmla="*/ 1642853 h 5973007"/>
              <a:gd name="connsiteX48863" fmla="*/ 1693196 w 6884782"/>
              <a:gd name="connsiteY48863" fmla="*/ 1642543 h 5973007"/>
              <a:gd name="connsiteX48864" fmla="*/ 1692989 w 6884782"/>
              <a:gd name="connsiteY48864" fmla="*/ 1644247 h 5973007"/>
              <a:gd name="connsiteX48865" fmla="*/ 1692266 w 6884782"/>
              <a:gd name="connsiteY48865" fmla="*/ 1644556 h 5973007"/>
              <a:gd name="connsiteX48866" fmla="*/ 1692060 w 6884782"/>
              <a:gd name="connsiteY48866" fmla="*/ 1644866 h 5973007"/>
              <a:gd name="connsiteX48867" fmla="*/ 1690408 w 6884782"/>
              <a:gd name="connsiteY48867" fmla="*/ 1644247 h 5973007"/>
              <a:gd name="connsiteX48868" fmla="*/ 1688963 w 6884782"/>
              <a:gd name="connsiteY48868" fmla="*/ 1643008 h 5973007"/>
              <a:gd name="connsiteX48869" fmla="*/ 1689685 w 6884782"/>
              <a:gd name="connsiteY48869" fmla="*/ 1642078 h 5973007"/>
              <a:gd name="connsiteX48870" fmla="*/ 1691750 w 6884782"/>
              <a:gd name="connsiteY48870" fmla="*/ 1641304 h 5973007"/>
              <a:gd name="connsiteX48871" fmla="*/ 1227510 w 6884782"/>
              <a:gd name="connsiteY48871" fmla="*/ 1641149 h 5973007"/>
              <a:gd name="connsiteX48872" fmla="*/ 1226065 w 6884782"/>
              <a:gd name="connsiteY48872" fmla="*/ 1657258 h 5973007"/>
              <a:gd name="connsiteX48873" fmla="*/ 1226065 w 6884782"/>
              <a:gd name="connsiteY48873" fmla="*/ 1657567 h 5973007"/>
              <a:gd name="connsiteX48874" fmla="*/ 1228027 w 6884782"/>
              <a:gd name="connsiteY48874" fmla="*/ 1656483 h 5973007"/>
              <a:gd name="connsiteX48875" fmla="*/ 1231227 w 6884782"/>
              <a:gd name="connsiteY48875" fmla="*/ 1658342 h 5973007"/>
              <a:gd name="connsiteX48876" fmla="*/ 1233809 w 6884782"/>
              <a:gd name="connsiteY48876" fmla="*/ 1664538 h 5973007"/>
              <a:gd name="connsiteX48877" fmla="*/ 1230298 w 6884782"/>
              <a:gd name="connsiteY48877" fmla="*/ 1665467 h 5973007"/>
              <a:gd name="connsiteX48878" fmla="*/ 1228233 w 6884782"/>
              <a:gd name="connsiteY48878" fmla="*/ 1664693 h 5973007"/>
              <a:gd name="connsiteX48879" fmla="*/ 1227923 w 6884782"/>
              <a:gd name="connsiteY48879" fmla="*/ 1665932 h 5973007"/>
              <a:gd name="connsiteX48880" fmla="*/ 1224722 w 6884782"/>
              <a:gd name="connsiteY48880" fmla="*/ 1668255 h 5973007"/>
              <a:gd name="connsiteX48881" fmla="*/ 1222554 w 6884782"/>
              <a:gd name="connsiteY48881" fmla="*/ 1673212 h 5973007"/>
              <a:gd name="connsiteX48882" fmla="*/ 1219663 w 6884782"/>
              <a:gd name="connsiteY48882" fmla="*/ 1668410 h 5973007"/>
              <a:gd name="connsiteX48883" fmla="*/ 1217907 w 6884782"/>
              <a:gd name="connsiteY48883" fmla="*/ 1668255 h 5973007"/>
              <a:gd name="connsiteX48884" fmla="*/ 1217701 w 6884782"/>
              <a:gd name="connsiteY48884" fmla="*/ 1663764 h 5973007"/>
              <a:gd name="connsiteX48885" fmla="*/ 1218114 w 6884782"/>
              <a:gd name="connsiteY48885" fmla="*/ 1661131 h 5973007"/>
              <a:gd name="connsiteX48886" fmla="*/ 1217701 w 6884782"/>
              <a:gd name="connsiteY48886" fmla="*/ 1656329 h 5973007"/>
              <a:gd name="connsiteX48887" fmla="*/ 1227510 w 6884782"/>
              <a:gd name="connsiteY48887" fmla="*/ 1641149 h 5973007"/>
              <a:gd name="connsiteX48888" fmla="*/ 1278622 w 6884782"/>
              <a:gd name="connsiteY48888" fmla="*/ 1640684 h 5973007"/>
              <a:gd name="connsiteX48889" fmla="*/ 1278312 w 6884782"/>
              <a:gd name="connsiteY48889" fmla="*/ 1641459 h 5973007"/>
              <a:gd name="connsiteX48890" fmla="*/ 1279138 w 6884782"/>
              <a:gd name="connsiteY48890" fmla="*/ 1641459 h 5973007"/>
              <a:gd name="connsiteX48891" fmla="*/ 1282442 w 6884782"/>
              <a:gd name="connsiteY48891" fmla="*/ 1643782 h 5973007"/>
              <a:gd name="connsiteX48892" fmla="*/ 1278106 w 6884782"/>
              <a:gd name="connsiteY48892" fmla="*/ 1646415 h 5973007"/>
              <a:gd name="connsiteX48893" fmla="*/ 1277176 w 6884782"/>
              <a:gd name="connsiteY48893" fmla="*/ 1645331 h 5973007"/>
              <a:gd name="connsiteX48894" fmla="*/ 1276763 w 6884782"/>
              <a:gd name="connsiteY48894" fmla="*/ 1646725 h 5973007"/>
              <a:gd name="connsiteX48895" fmla="*/ 1274079 w 6884782"/>
              <a:gd name="connsiteY48895" fmla="*/ 1649978 h 5973007"/>
              <a:gd name="connsiteX48896" fmla="*/ 1279138 w 6884782"/>
              <a:gd name="connsiteY48896" fmla="*/ 1650287 h 5973007"/>
              <a:gd name="connsiteX48897" fmla="*/ 1279551 w 6884782"/>
              <a:gd name="connsiteY48897" fmla="*/ 1664073 h 5973007"/>
              <a:gd name="connsiteX48898" fmla="*/ 1270878 w 6884782"/>
              <a:gd name="connsiteY48898" fmla="*/ 1663299 h 5973007"/>
              <a:gd name="connsiteX48899" fmla="*/ 1270878 w 6884782"/>
              <a:gd name="connsiteY48899" fmla="*/ 1656019 h 5973007"/>
              <a:gd name="connsiteX48900" fmla="*/ 1272736 w 6884782"/>
              <a:gd name="connsiteY48900" fmla="*/ 1651682 h 5973007"/>
              <a:gd name="connsiteX48901" fmla="*/ 1272530 w 6884782"/>
              <a:gd name="connsiteY48901" fmla="*/ 1651837 h 5973007"/>
              <a:gd name="connsiteX48902" fmla="*/ 1262307 w 6884782"/>
              <a:gd name="connsiteY48902" fmla="*/ 1658032 h 5973007"/>
              <a:gd name="connsiteX48903" fmla="*/ 1278622 w 6884782"/>
              <a:gd name="connsiteY48903" fmla="*/ 1640684 h 5973007"/>
              <a:gd name="connsiteX48904" fmla="*/ 4824353 w 6884782"/>
              <a:gd name="connsiteY48904" fmla="*/ 1640645 h 5973007"/>
              <a:gd name="connsiteX48905" fmla="*/ 4826060 w 6884782"/>
              <a:gd name="connsiteY48905" fmla="*/ 1642779 h 5973007"/>
              <a:gd name="connsiteX48906" fmla="*/ 4826701 w 6884782"/>
              <a:gd name="connsiteY48906" fmla="*/ 1642494 h 5973007"/>
              <a:gd name="connsiteX48907" fmla="*/ 4825207 w 6884782"/>
              <a:gd name="connsiteY48907" fmla="*/ 1640787 h 5973007"/>
              <a:gd name="connsiteX48908" fmla="*/ 5813127 w 6884782"/>
              <a:gd name="connsiteY48908" fmla="*/ 1640360 h 5973007"/>
              <a:gd name="connsiteX48909" fmla="*/ 5823158 w 6884782"/>
              <a:gd name="connsiteY48909" fmla="*/ 1647901 h 5973007"/>
              <a:gd name="connsiteX48910" fmla="*/ 5823798 w 6884782"/>
              <a:gd name="connsiteY48910" fmla="*/ 1648470 h 5973007"/>
              <a:gd name="connsiteX48911" fmla="*/ 5825292 w 6884782"/>
              <a:gd name="connsiteY48911" fmla="*/ 1649181 h 5973007"/>
              <a:gd name="connsiteX48912" fmla="*/ 5825506 w 6884782"/>
              <a:gd name="connsiteY48912" fmla="*/ 1648754 h 5973007"/>
              <a:gd name="connsiteX48913" fmla="*/ 5825506 w 6884782"/>
              <a:gd name="connsiteY48913" fmla="*/ 1649181 h 5973007"/>
              <a:gd name="connsiteX48914" fmla="*/ 5828280 w 6884782"/>
              <a:gd name="connsiteY48914" fmla="*/ 1650319 h 5973007"/>
              <a:gd name="connsiteX48915" fmla="*/ 5827213 w 6884782"/>
              <a:gd name="connsiteY48915" fmla="*/ 1652311 h 5973007"/>
              <a:gd name="connsiteX48916" fmla="*/ 5828494 w 6884782"/>
              <a:gd name="connsiteY48916" fmla="*/ 1655868 h 5973007"/>
              <a:gd name="connsiteX48917" fmla="*/ 5826359 w 6884782"/>
              <a:gd name="connsiteY48917" fmla="*/ 1658286 h 5973007"/>
              <a:gd name="connsiteX48918" fmla="*/ 5819530 w 6884782"/>
              <a:gd name="connsiteY48918" fmla="*/ 1658428 h 5973007"/>
              <a:gd name="connsiteX48919" fmla="*/ 5815261 w 6884782"/>
              <a:gd name="connsiteY48919" fmla="*/ 1666680 h 5973007"/>
              <a:gd name="connsiteX48920" fmla="*/ 5813127 w 6884782"/>
              <a:gd name="connsiteY48920" fmla="*/ 1670806 h 5973007"/>
              <a:gd name="connsiteX48921" fmla="*/ 5814408 w 6884782"/>
              <a:gd name="connsiteY48921" fmla="*/ 1669668 h 5973007"/>
              <a:gd name="connsiteX48922" fmla="*/ 5831481 w 6884782"/>
              <a:gd name="connsiteY48922" fmla="*/ 1671233 h 5973007"/>
              <a:gd name="connsiteX48923" fmla="*/ 5820383 w 6884782"/>
              <a:gd name="connsiteY48923" fmla="*/ 1676496 h 5973007"/>
              <a:gd name="connsiteX48924" fmla="*/ 5811206 w 6884782"/>
              <a:gd name="connsiteY48924" fmla="*/ 1673082 h 5973007"/>
              <a:gd name="connsiteX48925" fmla="*/ 5806511 w 6884782"/>
              <a:gd name="connsiteY48925" fmla="*/ 1676639 h 5973007"/>
              <a:gd name="connsiteX48926" fmla="*/ 5797761 w 6884782"/>
              <a:gd name="connsiteY48926" fmla="*/ 1669668 h 5973007"/>
              <a:gd name="connsiteX48927" fmla="*/ 5805231 w 6884782"/>
              <a:gd name="connsiteY48927" fmla="*/ 1647758 h 5973007"/>
              <a:gd name="connsiteX48928" fmla="*/ 5806084 w 6884782"/>
              <a:gd name="connsiteY48928" fmla="*/ 1648327 h 5973007"/>
              <a:gd name="connsiteX48929" fmla="*/ 5808432 w 6884782"/>
              <a:gd name="connsiteY48929" fmla="*/ 1640787 h 5973007"/>
              <a:gd name="connsiteX48930" fmla="*/ 5813127 w 6884782"/>
              <a:gd name="connsiteY48930" fmla="*/ 1640360 h 5973007"/>
              <a:gd name="connsiteX48931" fmla="*/ 1198702 w 6884782"/>
              <a:gd name="connsiteY48931" fmla="*/ 1640219 h 5973007"/>
              <a:gd name="connsiteX48932" fmla="*/ 1201799 w 6884782"/>
              <a:gd name="connsiteY48932" fmla="*/ 1640374 h 5973007"/>
              <a:gd name="connsiteX48933" fmla="*/ 1203245 w 6884782"/>
              <a:gd name="connsiteY48933" fmla="*/ 1643163 h 5973007"/>
              <a:gd name="connsiteX48934" fmla="*/ 1202316 w 6884782"/>
              <a:gd name="connsiteY48934" fmla="*/ 1646415 h 5973007"/>
              <a:gd name="connsiteX48935" fmla="*/ 1195294 w 6884782"/>
              <a:gd name="connsiteY48935" fmla="*/ 1643782 h 5973007"/>
              <a:gd name="connsiteX48936" fmla="*/ 1198702 w 6884782"/>
              <a:gd name="connsiteY48936" fmla="*/ 1640219 h 5973007"/>
              <a:gd name="connsiteX48937" fmla="*/ 5558944 w 6884782"/>
              <a:gd name="connsiteY48937" fmla="*/ 1640218 h 5973007"/>
              <a:gd name="connsiteX48938" fmla="*/ 5553182 w 6884782"/>
              <a:gd name="connsiteY48938" fmla="*/ 1662697 h 5973007"/>
              <a:gd name="connsiteX48939" fmla="*/ 5551688 w 6884782"/>
              <a:gd name="connsiteY48939" fmla="*/ 1664973 h 5973007"/>
              <a:gd name="connsiteX48940" fmla="*/ 5548273 w 6884782"/>
              <a:gd name="connsiteY48940" fmla="*/ 1664973 h 5973007"/>
              <a:gd name="connsiteX48941" fmla="*/ 5550194 w 6884782"/>
              <a:gd name="connsiteY48941" fmla="*/ 1647189 h 5973007"/>
              <a:gd name="connsiteX48942" fmla="*/ 5551474 w 6884782"/>
              <a:gd name="connsiteY48942" fmla="*/ 1644913 h 5973007"/>
              <a:gd name="connsiteX48943" fmla="*/ 5558944 w 6884782"/>
              <a:gd name="connsiteY48943" fmla="*/ 1640218 h 5973007"/>
              <a:gd name="connsiteX48944" fmla="*/ 1031220 w 6884782"/>
              <a:gd name="connsiteY48944" fmla="*/ 1640065 h 5973007"/>
              <a:gd name="connsiteX48945" fmla="*/ 1032562 w 6884782"/>
              <a:gd name="connsiteY48945" fmla="*/ 1641768 h 5973007"/>
              <a:gd name="connsiteX48946" fmla="*/ 1033285 w 6884782"/>
              <a:gd name="connsiteY48946" fmla="*/ 1641613 h 5973007"/>
              <a:gd name="connsiteX48947" fmla="*/ 1036073 w 6884782"/>
              <a:gd name="connsiteY48947" fmla="*/ 1641768 h 5973007"/>
              <a:gd name="connsiteX48948" fmla="*/ 1036280 w 6884782"/>
              <a:gd name="connsiteY48948" fmla="*/ 1641459 h 5973007"/>
              <a:gd name="connsiteX48949" fmla="*/ 1044953 w 6884782"/>
              <a:gd name="connsiteY48949" fmla="*/ 1641149 h 5973007"/>
              <a:gd name="connsiteX48950" fmla="*/ 1047122 w 6884782"/>
              <a:gd name="connsiteY48950" fmla="*/ 1650287 h 5973007"/>
              <a:gd name="connsiteX48951" fmla="*/ 1044333 w 6884782"/>
              <a:gd name="connsiteY48951" fmla="*/ 1654625 h 5973007"/>
              <a:gd name="connsiteX48952" fmla="*/ 1041959 w 6884782"/>
              <a:gd name="connsiteY48952" fmla="*/ 1655244 h 5973007"/>
              <a:gd name="connsiteX48953" fmla="*/ 1040100 w 6884782"/>
              <a:gd name="connsiteY48953" fmla="*/ 1660046 h 5973007"/>
              <a:gd name="connsiteX48954" fmla="*/ 1035040 w 6884782"/>
              <a:gd name="connsiteY48954" fmla="*/ 1662369 h 5973007"/>
              <a:gd name="connsiteX48955" fmla="*/ 1034008 w 6884782"/>
              <a:gd name="connsiteY48955" fmla="*/ 1660046 h 5973007"/>
              <a:gd name="connsiteX48956" fmla="*/ 1036176 w 6884782"/>
              <a:gd name="connsiteY48956" fmla="*/ 1655244 h 5973007"/>
              <a:gd name="connsiteX48957" fmla="*/ 1034008 w 6884782"/>
              <a:gd name="connsiteY48957" fmla="*/ 1654315 h 5973007"/>
              <a:gd name="connsiteX48958" fmla="*/ 1031840 w 6884782"/>
              <a:gd name="connsiteY48958" fmla="*/ 1651217 h 5973007"/>
              <a:gd name="connsiteX48959" fmla="*/ 1031840 w 6884782"/>
              <a:gd name="connsiteY48959" fmla="*/ 1649978 h 5973007"/>
              <a:gd name="connsiteX48960" fmla="*/ 1030807 w 6884782"/>
              <a:gd name="connsiteY48960" fmla="*/ 1650287 h 5973007"/>
              <a:gd name="connsiteX48961" fmla="*/ 1029465 w 6884782"/>
              <a:gd name="connsiteY48961" fmla="*/ 1647654 h 5973007"/>
              <a:gd name="connsiteX48962" fmla="*/ 1027916 w 6884782"/>
              <a:gd name="connsiteY48962" fmla="*/ 1646725 h 5973007"/>
              <a:gd name="connsiteX48963" fmla="*/ 1027503 w 6884782"/>
              <a:gd name="connsiteY48963" fmla="*/ 1643937 h 5973007"/>
              <a:gd name="connsiteX48964" fmla="*/ 1029671 w 6884782"/>
              <a:gd name="connsiteY48964" fmla="*/ 1642543 h 5973007"/>
              <a:gd name="connsiteX48965" fmla="*/ 1030084 w 6884782"/>
              <a:gd name="connsiteY48965" fmla="*/ 1642543 h 5973007"/>
              <a:gd name="connsiteX48966" fmla="*/ 1029465 w 6884782"/>
              <a:gd name="connsiteY48966" fmla="*/ 1640994 h 5973007"/>
              <a:gd name="connsiteX48967" fmla="*/ 1031220 w 6884782"/>
              <a:gd name="connsiteY48967" fmla="*/ 1640065 h 5973007"/>
              <a:gd name="connsiteX48968" fmla="*/ 1236803 w 6884782"/>
              <a:gd name="connsiteY48968" fmla="*/ 1639290 h 5973007"/>
              <a:gd name="connsiteX48969" fmla="*/ 1239901 w 6884782"/>
              <a:gd name="connsiteY48969" fmla="*/ 1644711 h 5973007"/>
              <a:gd name="connsiteX48970" fmla="*/ 1233086 w 6884782"/>
              <a:gd name="connsiteY48970" fmla="*/ 1643782 h 5973007"/>
              <a:gd name="connsiteX48971" fmla="*/ 1236803 w 6884782"/>
              <a:gd name="connsiteY48971" fmla="*/ 1639290 h 5973007"/>
              <a:gd name="connsiteX48972" fmla="*/ 4804719 w 6884782"/>
              <a:gd name="connsiteY48972" fmla="*/ 1638938 h 5973007"/>
              <a:gd name="connsiteX48973" fmla="*/ 4809414 w 6884782"/>
              <a:gd name="connsiteY48973" fmla="*/ 1640218 h 5973007"/>
              <a:gd name="connsiteX48974" fmla="*/ 4807493 w 6884782"/>
              <a:gd name="connsiteY48974" fmla="*/ 1649892 h 5973007"/>
              <a:gd name="connsiteX48975" fmla="*/ 4801731 w 6884782"/>
              <a:gd name="connsiteY48975" fmla="*/ 1645340 h 5973007"/>
              <a:gd name="connsiteX48976" fmla="*/ 4801304 w 6884782"/>
              <a:gd name="connsiteY48976" fmla="*/ 1640930 h 5973007"/>
              <a:gd name="connsiteX48977" fmla="*/ 4804719 w 6884782"/>
              <a:gd name="connsiteY48977" fmla="*/ 1638938 h 5973007"/>
              <a:gd name="connsiteX48978" fmla="*/ 5153233 w 6884782"/>
              <a:gd name="connsiteY48978" fmla="*/ 1638795 h 5973007"/>
              <a:gd name="connsiteX48979" fmla="*/ 5155794 w 6884782"/>
              <a:gd name="connsiteY48979" fmla="*/ 1643775 h 5973007"/>
              <a:gd name="connsiteX48980" fmla="*/ 5148965 w 6884782"/>
              <a:gd name="connsiteY48980" fmla="*/ 1645767 h 5973007"/>
              <a:gd name="connsiteX48981" fmla="*/ 5146404 w 6884782"/>
              <a:gd name="connsiteY48981" fmla="*/ 1640930 h 5973007"/>
              <a:gd name="connsiteX48982" fmla="*/ 5153233 w 6884782"/>
              <a:gd name="connsiteY48982" fmla="*/ 1638795 h 5973007"/>
              <a:gd name="connsiteX48983" fmla="*/ 5005760 w 6884782"/>
              <a:gd name="connsiteY48983" fmla="*/ 1638226 h 5973007"/>
              <a:gd name="connsiteX48984" fmla="*/ 5008748 w 6884782"/>
              <a:gd name="connsiteY48984" fmla="*/ 1654018 h 5973007"/>
              <a:gd name="connsiteX48985" fmla="*/ 5000638 w 6884782"/>
              <a:gd name="connsiteY48985" fmla="*/ 1647616 h 5973007"/>
              <a:gd name="connsiteX48986" fmla="*/ 5005760 w 6884782"/>
              <a:gd name="connsiteY48986" fmla="*/ 1638226 h 5973007"/>
              <a:gd name="connsiteX48987" fmla="*/ 3833019 w 6884782"/>
              <a:gd name="connsiteY48987" fmla="*/ 1638084 h 5973007"/>
              <a:gd name="connsiteX48988" fmla="*/ 3837500 w 6884782"/>
              <a:gd name="connsiteY48988" fmla="*/ 1638368 h 5973007"/>
              <a:gd name="connsiteX48989" fmla="*/ 3840488 w 6884782"/>
              <a:gd name="connsiteY48989" fmla="*/ 1640360 h 5973007"/>
              <a:gd name="connsiteX48990" fmla="*/ 3841128 w 6884782"/>
              <a:gd name="connsiteY48990" fmla="*/ 1644202 h 5973007"/>
              <a:gd name="connsiteX48991" fmla="*/ 3840915 w 6884782"/>
              <a:gd name="connsiteY48991" fmla="*/ 1644486 h 5973007"/>
              <a:gd name="connsiteX48992" fmla="*/ 3852866 w 6884782"/>
              <a:gd name="connsiteY48992" fmla="*/ 1650746 h 5973007"/>
              <a:gd name="connsiteX48993" fmla="*/ 3873141 w 6884782"/>
              <a:gd name="connsiteY48993" fmla="*/ 1668387 h 5973007"/>
              <a:gd name="connsiteX48994" fmla="*/ 3879117 w 6884782"/>
              <a:gd name="connsiteY48994" fmla="*/ 1677635 h 5973007"/>
              <a:gd name="connsiteX48995" fmla="*/ 3894697 w 6884782"/>
              <a:gd name="connsiteY48995" fmla="*/ 1674220 h 5973007"/>
              <a:gd name="connsiteX48996" fmla="*/ 3913691 w 6884782"/>
              <a:gd name="connsiteY48996" fmla="*/ 1678346 h 5973007"/>
              <a:gd name="connsiteX48997" fmla="*/ 3906008 w 6884782"/>
              <a:gd name="connsiteY48997" fmla="*/ 1691861 h 5973007"/>
              <a:gd name="connsiteX48998" fmla="*/ 3888295 w 6884782"/>
              <a:gd name="connsiteY48998" fmla="*/ 1689869 h 5973007"/>
              <a:gd name="connsiteX48999" fmla="*/ 3882105 w 6884782"/>
              <a:gd name="connsiteY48999" fmla="*/ 1685460 h 5973007"/>
              <a:gd name="connsiteX49000" fmla="*/ 3884239 w 6884782"/>
              <a:gd name="connsiteY49000" fmla="*/ 1692573 h 5973007"/>
              <a:gd name="connsiteX49001" fmla="*/ 3883812 w 6884782"/>
              <a:gd name="connsiteY49001" fmla="*/ 1705377 h 5973007"/>
              <a:gd name="connsiteX49002" fmla="*/ 3882105 w 6884782"/>
              <a:gd name="connsiteY49002" fmla="*/ 1709361 h 5973007"/>
              <a:gd name="connsiteX49003" fmla="*/ 3882319 w 6884782"/>
              <a:gd name="connsiteY49003" fmla="*/ 1712491 h 5973007"/>
              <a:gd name="connsiteX49004" fmla="*/ 3882532 w 6884782"/>
              <a:gd name="connsiteY49004" fmla="*/ 1714056 h 5973007"/>
              <a:gd name="connsiteX49005" fmla="*/ 3883812 w 6884782"/>
              <a:gd name="connsiteY49005" fmla="*/ 1711495 h 5973007"/>
              <a:gd name="connsiteX49006" fmla="*/ 3883172 w 6884782"/>
              <a:gd name="connsiteY49006" fmla="*/ 1709076 h 5973007"/>
              <a:gd name="connsiteX49007" fmla="*/ 3886160 w 6884782"/>
              <a:gd name="connsiteY49007" fmla="*/ 1706800 h 5973007"/>
              <a:gd name="connsiteX49008" fmla="*/ 3883172 w 6884782"/>
              <a:gd name="connsiteY49008" fmla="*/ 1713913 h 5973007"/>
              <a:gd name="connsiteX49009" fmla="*/ 3882532 w 6884782"/>
              <a:gd name="connsiteY49009" fmla="*/ 1714340 h 5973007"/>
              <a:gd name="connsiteX49010" fmla="*/ 3882532 w 6884782"/>
              <a:gd name="connsiteY49010" fmla="*/ 1715763 h 5973007"/>
              <a:gd name="connsiteX49011" fmla="*/ 3882745 w 6884782"/>
              <a:gd name="connsiteY49011" fmla="*/ 1716758 h 5973007"/>
              <a:gd name="connsiteX49012" fmla="*/ 3882532 w 6884782"/>
              <a:gd name="connsiteY49012" fmla="*/ 1717897 h 5973007"/>
              <a:gd name="connsiteX49013" fmla="*/ 3882532 w 6884782"/>
              <a:gd name="connsiteY49013" fmla="*/ 1721169 h 5973007"/>
              <a:gd name="connsiteX49014" fmla="*/ 3881465 w 6884782"/>
              <a:gd name="connsiteY49014" fmla="*/ 1728282 h 5973007"/>
              <a:gd name="connsiteX49015" fmla="*/ 3881038 w 6884782"/>
              <a:gd name="connsiteY49015" fmla="*/ 1720600 h 5973007"/>
              <a:gd name="connsiteX49016" fmla="*/ 3880184 w 6884782"/>
              <a:gd name="connsiteY49016" fmla="*/ 1724583 h 5973007"/>
              <a:gd name="connsiteX49017" fmla="*/ 3881038 w 6884782"/>
              <a:gd name="connsiteY49017" fmla="*/ 1728567 h 5973007"/>
              <a:gd name="connsiteX49018" fmla="*/ 3879117 w 6884782"/>
              <a:gd name="connsiteY49018" fmla="*/ 1730416 h 5973007"/>
              <a:gd name="connsiteX49019" fmla="*/ 3876983 w 6884782"/>
              <a:gd name="connsiteY49019" fmla="*/ 1727571 h 5973007"/>
              <a:gd name="connsiteX49020" fmla="*/ 3879757 w 6884782"/>
              <a:gd name="connsiteY49020" fmla="*/ 1724014 h 5973007"/>
              <a:gd name="connsiteX49021" fmla="*/ 3879757 w 6884782"/>
              <a:gd name="connsiteY49021" fmla="*/ 1719177 h 5973007"/>
              <a:gd name="connsiteX49022" fmla="*/ 3881038 w 6884782"/>
              <a:gd name="connsiteY49022" fmla="*/ 1717470 h 5973007"/>
              <a:gd name="connsiteX49023" fmla="*/ 3881892 w 6884782"/>
              <a:gd name="connsiteY49023" fmla="*/ 1709645 h 5973007"/>
              <a:gd name="connsiteX49024" fmla="*/ 3879544 w 6884782"/>
              <a:gd name="connsiteY49024" fmla="*/ 1715621 h 5973007"/>
              <a:gd name="connsiteX49025" fmla="*/ 3867379 w 6884782"/>
              <a:gd name="connsiteY49025" fmla="*/ 1736392 h 5973007"/>
              <a:gd name="connsiteX49026" fmla="*/ 3842195 w 6884782"/>
              <a:gd name="connsiteY49026" fmla="*/ 1744359 h 5973007"/>
              <a:gd name="connsiteX49027" fmla="*/ 3808475 w 6884782"/>
              <a:gd name="connsiteY49027" fmla="*/ 1730701 h 5973007"/>
              <a:gd name="connsiteX49028" fmla="*/ 3801006 w 6884782"/>
              <a:gd name="connsiteY49028" fmla="*/ 1715621 h 5973007"/>
              <a:gd name="connsiteX49029" fmla="*/ 3799725 w 6884782"/>
              <a:gd name="connsiteY49029" fmla="*/ 1715478 h 5973007"/>
              <a:gd name="connsiteX49030" fmla="*/ 3799939 w 6884782"/>
              <a:gd name="connsiteY49030" fmla="*/ 1713202 h 5973007"/>
              <a:gd name="connsiteX49031" fmla="*/ 3798658 w 6884782"/>
              <a:gd name="connsiteY49031" fmla="*/ 1711068 h 5973007"/>
              <a:gd name="connsiteX49032" fmla="*/ 3797804 w 6884782"/>
              <a:gd name="connsiteY49032" fmla="*/ 1709076 h 5973007"/>
              <a:gd name="connsiteX49033" fmla="*/ 3795884 w 6884782"/>
              <a:gd name="connsiteY49033" fmla="*/ 1712064 h 5973007"/>
              <a:gd name="connsiteX49034" fmla="*/ 3789268 w 6884782"/>
              <a:gd name="connsiteY49034" fmla="*/ 1714056 h 5973007"/>
              <a:gd name="connsiteX49035" fmla="*/ 3781798 w 6884782"/>
              <a:gd name="connsiteY49035" fmla="*/ 1712633 h 5973007"/>
              <a:gd name="connsiteX49036" fmla="*/ 3785640 w 6884782"/>
              <a:gd name="connsiteY49036" fmla="*/ 1706231 h 5973007"/>
              <a:gd name="connsiteX49037" fmla="*/ 3796097 w 6884782"/>
              <a:gd name="connsiteY49037" fmla="*/ 1706231 h 5973007"/>
              <a:gd name="connsiteX49038" fmla="*/ 3797377 w 6884782"/>
              <a:gd name="connsiteY49038" fmla="*/ 1708364 h 5973007"/>
              <a:gd name="connsiteX49039" fmla="*/ 3793536 w 6884782"/>
              <a:gd name="connsiteY49039" fmla="*/ 1700398 h 5973007"/>
              <a:gd name="connsiteX49040" fmla="*/ 3792469 w 6884782"/>
              <a:gd name="connsiteY49040" fmla="*/ 1701394 h 5973007"/>
              <a:gd name="connsiteX49041" fmla="*/ 3781798 w 6884782"/>
              <a:gd name="connsiteY49041" fmla="*/ 1696556 h 5973007"/>
              <a:gd name="connsiteX49042" fmla="*/ 3783718 w 6884782"/>
              <a:gd name="connsiteY49042" fmla="*/ 1688305 h 5973007"/>
              <a:gd name="connsiteX49043" fmla="*/ 3789268 w 6884782"/>
              <a:gd name="connsiteY49043" fmla="*/ 1690581 h 5973007"/>
              <a:gd name="connsiteX49044" fmla="*/ 3793749 w 6884782"/>
              <a:gd name="connsiteY49044" fmla="*/ 1680195 h 5973007"/>
              <a:gd name="connsiteX49045" fmla="*/ 3809756 w 6884782"/>
              <a:gd name="connsiteY49045" fmla="*/ 1647047 h 5973007"/>
              <a:gd name="connsiteX49046" fmla="*/ 3813811 w 6884782"/>
              <a:gd name="connsiteY49046" fmla="*/ 1647616 h 5973007"/>
              <a:gd name="connsiteX49047" fmla="*/ 3814238 w 6884782"/>
              <a:gd name="connsiteY49047" fmla="*/ 1647189 h 5973007"/>
              <a:gd name="connsiteX49048" fmla="*/ 3817866 w 6884782"/>
              <a:gd name="connsiteY49048" fmla="*/ 1646051 h 5973007"/>
              <a:gd name="connsiteX49049" fmla="*/ 3820214 w 6884782"/>
              <a:gd name="connsiteY49049" fmla="*/ 1647474 h 5973007"/>
              <a:gd name="connsiteX49050" fmla="*/ 3826616 w 6884782"/>
              <a:gd name="connsiteY49050" fmla="*/ 1646051 h 5973007"/>
              <a:gd name="connsiteX49051" fmla="*/ 3828110 w 6884782"/>
              <a:gd name="connsiteY49051" fmla="*/ 1646335 h 5973007"/>
              <a:gd name="connsiteX49052" fmla="*/ 3830244 w 6884782"/>
              <a:gd name="connsiteY49052" fmla="*/ 1645624 h 5973007"/>
              <a:gd name="connsiteX49053" fmla="*/ 3829817 w 6884782"/>
              <a:gd name="connsiteY49053" fmla="*/ 1640930 h 5973007"/>
              <a:gd name="connsiteX49054" fmla="*/ 3833019 w 6884782"/>
              <a:gd name="connsiteY49054" fmla="*/ 1638084 h 5973007"/>
              <a:gd name="connsiteX49055" fmla="*/ 1422045 w 6884782"/>
              <a:gd name="connsiteY49055" fmla="*/ 1638051 h 5973007"/>
              <a:gd name="connsiteX49056" fmla="*/ 1422770 w 6884782"/>
              <a:gd name="connsiteY49056" fmla="*/ 1638512 h 5973007"/>
              <a:gd name="connsiteX49057" fmla="*/ 1422768 w 6884782"/>
              <a:gd name="connsiteY49057" fmla="*/ 1638515 h 5973007"/>
              <a:gd name="connsiteX49058" fmla="*/ 1422045 w 6884782"/>
              <a:gd name="connsiteY49058" fmla="*/ 1638051 h 5973007"/>
              <a:gd name="connsiteX49059" fmla="*/ 3771340 w 6884782"/>
              <a:gd name="connsiteY49059" fmla="*/ 1637941 h 5973007"/>
              <a:gd name="connsiteX49060" fmla="*/ 3772621 w 6884782"/>
              <a:gd name="connsiteY49060" fmla="*/ 1638368 h 5973007"/>
              <a:gd name="connsiteX49061" fmla="*/ 3772834 w 6884782"/>
              <a:gd name="connsiteY49061" fmla="*/ 1638226 h 5973007"/>
              <a:gd name="connsiteX49062" fmla="*/ 3773688 w 6884782"/>
              <a:gd name="connsiteY49062" fmla="*/ 1638795 h 5973007"/>
              <a:gd name="connsiteX49063" fmla="*/ 3773901 w 6884782"/>
              <a:gd name="connsiteY49063" fmla="*/ 1637941 h 5973007"/>
              <a:gd name="connsiteX49064" fmla="*/ 6161429 w 6884782"/>
              <a:gd name="connsiteY49064" fmla="*/ 1637231 h 5973007"/>
              <a:gd name="connsiteX49065" fmla="*/ 6166977 w 6884782"/>
              <a:gd name="connsiteY49065" fmla="*/ 1640360 h 5973007"/>
              <a:gd name="connsiteX49066" fmla="*/ 6159294 w 6884782"/>
              <a:gd name="connsiteY49066" fmla="*/ 1651172 h 5973007"/>
              <a:gd name="connsiteX49067" fmla="*/ 6161429 w 6884782"/>
              <a:gd name="connsiteY49067" fmla="*/ 1637231 h 5973007"/>
              <a:gd name="connsiteX49068" fmla="*/ 4962650 w 6884782"/>
              <a:gd name="connsiteY49068" fmla="*/ 1636661 h 5973007"/>
              <a:gd name="connsiteX49069" fmla="*/ 4923594 w 6884782"/>
              <a:gd name="connsiteY49069" fmla="*/ 1679769 h 5973007"/>
              <a:gd name="connsiteX49070" fmla="*/ 4922526 w 6884782"/>
              <a:gd name="connsiteY49070" fmla="*/ 1678346 h 5973007"/>
              <a:gd name="connsiteX49071" fmla="*/ 4922954 w 6884782"/>
              <a:gd name="connsiteY49071" fmla="*/ 1681618 h 5973007"/>
              <a:gd name="connsiteX49072" fmla="*/ 4921673 w 6884782"/>
              <a:gd name="connsiteY49072" fmla="*/ 1686597 h 5973007"/>
              <a:gd name="connsiteX49073" fmla="*/ 4919539 w 6884782"/>
              <a:gd name="connsiteY49073" fmla="*/ 1688732 h 5973007"/>
              <a:gd name="connsiteX49074" fmla="*/ 4915483 w 6884782"/>
              <a:gd name="connsiteY49074" fmla="*/ 1684748 h 5973007"/>
              <a:gd name="connsiteX49075" fmla="*/ 4918471 w 6884782"/>
              <a:gd name="connsiteY49075" fmla="*/ 1673509 h 5973007"/>
              <a:gd name="connsiteX49076" fmla="*/ 4919966 w 6884782"/>
              <a:gd name="connsiteY49076" fmla="*/ 1674647 h 5973007"/>
              <a:gd name="connsiteX49077" fmla="*/ 4916337 w 6884782"/>
              <a:gd name="connsiteY49077" fmla="*/ 1668102 h 5973007"/>
              <a:gd name="connsiteX49078" fmla="*/ 4921886 w 6884782"/>
              <a:gd name="connsiteY49078" fmla="*/ 1664261 h 5973007"/>
              <a:gd name="connsiteX49079" fmla="*/ 4921032 w 6884782"/>
              <a:gd name="connsiteY49079" fmla="*/ 1663265 h 5973007"/>
              <a:gd name="connsiteX49080" fmla="*/ 4922099 w 6884782"/>
              <a:gd name="connsiteY49080" fmla="*/ 1659566 h 5973007"/>
              <a:gd name="connsiteX49081" fmla="*/ 4924874 w 6884782"/>
              <a:gd name="connsiteY49081" fmla="*/ 1661558 h 5973007"/>
              <a:gd name="connsiteX49082" fmla="*/ 4925087 w 6884782"/>
              <a:gd name="connsiteY49082" fmla="*/ 1662127 h 5973007"/>
              <a:gd name="connsiteX49083" fmla="*/ 4938960 w 6884782"/>
              <a:gd name="connsiteY49083" fmla="*/ 1652596 h 5973007"/>
              <a:gd name="connsiteX49084" fmla="*/ 4938533 w 6884782"/>
              <a:gd name="connsiteY49084" fmla="*/ 1652026 h 5973007"/>
              <a:gd name="connsiteX49085" fmla="*/ 4947070 w 6884782"/>
              <a:gd name="connsiteY49085" fmla="*/ 1643063 h 5973007"/>
              <a:gd name="connsiteX49086" fmla="*/ 4948777 w 6884782"/>
              <a:gd name="connsiteY49086" fmla="*/ 1645908 h 5973007"/>
              <a:gd name="connsiteX49087" fmla="*/ 4851671 w 6884782"/>
              <a:gd name="connsiteY49087" fmla="*/ 1636661 h 5973007"/>
              <a:gd name="connsiteX49088" fmla="*/ 4858714 w 6884782"/>
              <a:gd name="connsiteY49088" fmla="*/ 1653307 h 5973007"/>
              <a:gd name="connsiteX49089" fmla="*/ 4845482 w 6884782"/>
              <a:gd name="connsiteY49089" fmla="*/ 1641925 h 5973007"/>
              <a:gd name="connsiteX49090" fmla="*/ 4851671 w 6884782"/>
              <a:gd name="connsiteY49090" fmla="*/ 1636661 h 5973007"/>
              <a:gd name="connsiteX49091" fmla="*/ 5037133 w 6884782"/>
              <a:gd name="connsiteY49091" fmla="*/ 1636234 h 5973007"/>
              <a:gd name="connsiteX49092" fmla="*/ 5041615 w 6884782"/>
              <a:gd name="connsiteY49092" fmla="*/ 1636519 h 5973007"/>
              <a:gd name="connsiteX49093" fmla="*/ 5046310 w 6884782"/>
              <a:gd name="connsiteY49093" fmla="*/ 1639080 h 5973007"/>
              <a:gd name="connsiteX49094" fmla="*/ 5046737 w 6884782"/>
              <a:gd name="connsiteY49094" fmla="*/ 1638938 h 5973007"/>
              <a:gd name="connsiteX49095" fmla="*/ 5056341 w 6884782"/>
              <a:gd name="connsiteY49095" fmla="*/ 1643775 h 5973007"/>
              <a:gd name="connsiteX49096" fmla="*/ 5055274 w 6884782"/>
              <a:gd name="connsiteY49096" fmla="*/ 1649750 h 5973007"/>
              <a:gd name="connsiteX49097" fmla="*/ 5055701 w 6884782"/>
              <a:gd name="connsiteY49097" fmla="*/ 1661985 h 5973007"/>
              <a:gd name="connsiteX49098" fmla="*/ 5046096 w 6884782"/>
              <a:gd name="connsiteY49098" fmla="*/ 1675928 h 5973007"/>
              <a:gd name="connsiteX49099" fmla="*/ 5025181 w 6884782"/>
              <a:gd name="connsiteY49099" fmla="*/ 1645197 h 5973007"/>
              <a:gd name="connsiteX49100" fmla="*/ 5037133 w 6884782"/>
              <a:gd name="connsiteY49100" fmla="*/ 1636234 h 5973007"/>
              <a:gd name="connsiteX49101" fmla="*/ 5742058 w 6884782"/>
              <a:gd name="connsiteY49101" fmla="*/ 1635950 h 5973007"/>
              <a:gd name="connsiteX49102" fmla="*/ 5744406 w 6884782"/>
              <a:gd name="connsiteY49102" fmla="*/ 1642921 h 5973007"/>
              <a:gd name="connsiteX49103" fmla="*/ 5734162 w 6884782"/>
              <a:gd name="connsiteY49103" fmla="*/ 1650888 h 5973007"/>
              <a:gd name="connsiteX49104" fmla="*/ 5742058 w 6884782"/>
              <a:gd name="connsiteY49104" fmla="*/ 1635950 h 5973007"/>
              <a:gd name="connsiteX49105" fmla="*/ 3998205 w 6884782"/>
              <a:gd name="connsiteY49105" fmla="*/ 1635950 h 5973007"/>
              <a:gd name="connsiteX49106" fmla="*/ 4002901 w 6884782"/>
              <a:gd name="connsiteY49106" fmla="*/ 1636376 h 5973007"/>
              <a:gd name="connsiteX49107" fmla="*/ 3998419 w 6884782"/>
              <a:gd name="connsiteY49107" fmla="*/ 1645908 h 5973007"/>
              <a:gd name="connsiteX49108" fmla="*/ 3995645 w 6884782"/>
              <a:gd name="connsiteY49108" fmla="*/ 1645908 h 5973007"/>
              <a:gd name="connsiteX49109" fmla="*/ 3989882 w 6884782"/>
              <a:gd name="connsiteY49109" fmla="*/ 1643917 h 5973007"/>
              <a:gd name="connsiteX49110" fmla="*/ 3989455 w 6884782"/>
              <a:gd name="connsiteY49110" fmla="*/ 1639507 h 5973007"/>
              <a:gd name="connsiteX49111" fmla="*/ 3993297 w 6884782"/>
              <a:gd name="connsiteY49111" fmla="*/ 1636376 h 5973007"/>
              <a:gd name="connsiteX49112" fmla="*/ 3998205 w 6884782"/>
              <a:gd name="connsiteY49112" fmla="*/ 1635950 h 5973007"/>
              <a:gd name="connsiteX49113" fmla="*/ 6103378 w 6884782"/>
              <a:gd name="connsiteY49113" fmla="*/ 1635523 h 5973007"/>
              <a:gd name="connsiteX49114" fmla="*/ 6111061 w 6884782"/>
              <a:gd name="connsiteY49114" fmla="*/ 1635666 h 5973007"/>
              <a:gd name="connsiteX49115" fmla="*/ 6095908 w 6884782"/>
              <a:gd name="connsiteY49115" fmla="*/ 1655868 h 5973007"/>
              <a:gd name="connsiteX49116" fmla="*/ 6103378 w 6884782"/>
              <a:gd name="connsiteY49116" fmla="*/ 1635523 h 5973007"/>
              <a:gd name="connsiteX49117" fmla="*/ 1424523 w 6884782"/>
              <a:gd name="connsiteY49117" fmla="*/ 1635417 h 5973007"/>
              <a:gd name="connsiteX49118" fmla="*/ 1431235 w 6884782"/>
              <a:gd name="connsiteY49118" fmla="*/ 1635573 h 5973007"/>
              <a:gd name="connsiteX49119" fmla="*/ 1429066 w 6884782"/>
              <a:gd name="connsiteY49119" fmla="*/ 1639445 h 5973007"/>
              <a:gd name="connsiteX49120" fmla="*/ 1425452 w 6884782"/>
              <a:gd name="connsiteY49120" fmla="*/ 1640219 h 5973007"/>
              <a:gd name="connsiteX49121" fmla="*/ 1422770 w 6884782"/>
              <a:gd name="connsiteY49121" fmla="*/ 1638512 h 5973007"/>
              <a:gd name="connsiteX49122" fmla="*/ 1423697 w 6884782"/>
              <a:gd name="connsiteY49122" fmla="*/ 1636966 h 5973007"/>
              <a:gd name="connsiteX49123" fmla="*/ 1422974 w 6884782"/>
              <a:gd name="connsiteY49123" fmla="*/ 1636502 h 5973007"/>
              <a:gd name="connsiteX49124" fmla="*/ 1424523 w 6884782"/>
              <a:gd name="connsiteY49124" fmla="*/ 1635417 h 5973007"/>
              <a:gd name="connsiteX49125" fmla="*/ 4817097 w 6884782"/>
              <a:gd name="connsiteY49125" fmla="*/ 1635239 h 5973007"/>
              <a:gd name="connsiteX49126" fmla="*/ 4822006 w 6884782"/>
              <a:gd name="connsiteY49126" fmla="*/ 1638226 h 5973007"/>
              <a:gd name="connsiteX49127" fmla="*/ 4822006 w 6884782"/>
              <a:gd name="connsiteY49127" fmla="*/ 1636661 h 5973007"/>
              <a:gd name="connsiteX49128" fmla="*/ 4825634 w 6884782"/>
              <a:gd name="connsiteY49128" fmla="*/ 1640218 h 5973007"/>
              <a:gd name="connsiteX49129" fmla="*/ 4827341 w 6884782"/>
              <a:gd name="connsiteY49129" fmla="*/ 1642068 h 5973007"/>
              <a:gd name="connsiteX49130" fmla="*/ 4828195 w 6884782"/>
              <a:gd name="connsiteY49130" fmla="*/ 1641783 h 5973007"/>
              <a:gd name="connsiteX49131" fmla="*/ 4832036 w 6884782"/>
              <a:gd name="connsiteY49131" fmla="*/ 1643775 h 5973007"/>
              <a:gd name="connsiteX49132" fmla="*/ 4831610 w 6884782"/>
              <a:gd name="connsiteY49132" fmla="*/ 1645908 h 5973007"/>
              <a:gd name="connsiteX49133" fmla="*/ 4832036 w 6884782"/>
              <a:gd name="connsiteY49133" fmla="*/ 1646620 h 5973007"/>
              <a:gd name="connsiteX49134" fmla="*/ 4839719 w 6884782"/>
              <a:gd name="connsiteY49134" fmla="*/ 1650319 h 5973007"/>
              <a:gd name="connsiteX49135" fmla="*/ 4840787 w 6884782"/>
              <a:gd name="connsiteY49135" fmla="*/ 1652738 h 5973007"/>
              <a:gd name="connsiteX49136" fmla="*/ 4837372 w 6884782"/>
              <a:gd name="connsiteY49136" fmla="*/ 1653449 h 5973007"/>
              <a:gd name="connsiteX49137" fmla="*/ 4835238 w 6884782"/>
              <a:gd name="connsiteY49137" fmla="*/ 1649466 h 5973007"/>
              <a:gd name="connsiteX49138" fmla="*/ 4830756 w 6884782"/>
              <a:gd name="connsiteY49138" fmla="*/ 1647474 h 5973007"/>
              <a:gd name="connsiteX49139" fmla="*/ 4830543 w 6884782"/>
              <a:gd name="connsiteY49139" fmla="*/ 1647332 h 5973007"/>
              <a:gd name="connsiteX49140" fmla="*/ 4827981 w 6884782"/>
              <a:gd name="connsiteY49140" fmla="*/ 1646620 h 5973007"/>
              <a:gd name="connsiteX49141" fmla="*/ 4828408 w 6884782"/>
              <a:gd name="connsiteY49141" fmla="*/ 1647616 h 5973007"/>
              <a:gd name="connsiteX49142" fmla="*/ 4818164 w 6884782"/>
              <a:gd name="connsiteY49142" fmla="*/ 1651457 h 5973007"/>
              <a:gd name="connsiteX49143" fmla="*/ 4812829 w 6884782"/>
              <a:gd name="connsiteY49143" fmla="*/ 1647616 h 5973007"/>
              <a:gd name="connsiteX49144" fmla="*/ 4811121 w 6884782"/>
              <a:gd name="connsiteY49144" fmla="*/ 1636803 h 5973007"/>
              <a:gd name="connsiteX49145" fmla="*/ 4817097 w 6884782"/>
              <a:gd name="connsiteY49145" fmla="*/ 1635239 h 5973007"/>
              <a:gd name="connsiteX49146" fmla="*/ 1953092 w 6884782"/>
              <a:gd name="connsiteY49146" fmla="*/ 1635108 h 5973007"/>
              <a:gd name="connsiteX49147" fmla="*/ 1958339 w 6884782"/>
              <a:gd name="connsiteY49147" fmla="*/ 1639964 h 5973007"/>
              <a:gd name="connsiteX49148" fmla="*/ 1958339 w 6884782"/>
              <a:gd name="connsiteY49148" fmla="*/ 1636773 h 5973007"/>
              <a:gd name="connsiteX49149" fmla="*/ 5069573 w 6884782"/>
              <a:gd name="connsiteY49149" fmla="*/ 1634954 h 5973007"/>
              <a:gd name="connsiteX49150" fmla="*/ 5076829 w 6884782"/>
              <a:gd name="connsiteY49150" fmla="*/ 1638795 h 5973007"/>
              <a:gd name="connsiteX49151" fmla="*/ 5081738 w 6884782"/>
              <a:gd name="connsiteY49151" fmla="*/ 1649892 h 5973007"/>
              <a:gd name="connsiteX49152" fmla="*/ 5068932 w 6884782"/>
              <a:gd name="connsiteY49152" fmla="*/ 1643205 h 5973007"/>
              <a:gd name="connsiteX49153" fmla="*/ 5066372 w 6884782"/>
              <a:gd name="connsiteY49153" fmla="*/ 1635950 h 5973007"/>
              <a:gd name="connsiteX49154" fmla="*/ 5069573 w 6884782"/>
              <a:gd name="connsiteY49154" fmla="*/ 1634954 h 5973007"/>
              <a:gd name="connsiteX49155" fmla="*/ 4889019 w 6884782"/>
              <a:gd name="connsiteY49155" fmla="*/ 1634954 h 5973007"/>
              <a:gd name="connsiteX49156" fmla="*/ 4893074 w 6884782"/>
              <a:gd name="connsiteY49156" fmla="*/ 1638795 h 5973007"/>
              <a:gd name="connsiteX49157" fmla="*/ 4893074 w 6884782"/>
              <a:gd name="connsiteY49157" fmla="*/ 1641498 h 5973007"/>
              <a:gd name="connsiteX49158" fmla="*/ 4890086 w 6884782"/>
              <a:gd name="connsiteY49158" fmla="*/ 1642494 h 5973007"/>
              <a:gd name="connsiteX49159" fmla="*/ 4883898 w 6884782"/>
              <a:gd name="connsiteY49159" fmla="*/ 1638938 h 5973007"/>
              <a:gd name="connsiteX49160" fmla="*/ 4883898 w 6884782"/>
              <a:gd name="connsiteY49160" fmla="*/ 1636234 h 5973007"/>
              <a:gd name="connsiteX49161" fmla="*/ 4889019 w 6884782"/>
              <a:gd name="connsiteY49161" fmla="*/ 1634954 h 5973007"/>
              <a:gd name="connsiteX49162" fmla="*/ 1231227 w 6884782"/>
              <a:gd name="connsiteY49162" fmla="*/ 1634798 h 5973007"/>
              <a:gd name="connsiteX49163" fmla="*/ 1235667 w 6884782"/>
              <a:gd name="connsiteY49163" fmla="*/ 1635882 h 5973007"/>
              <a:gd name="connsiteX49164" fmla="*/ 1235461 w 6884782"/>
              <a:gd name="connsiteY49164" fmla="*/ 1637741 h 5973007"/>
              <a:gd name="connsiteX49165" fmla="*/ 1233396 w 6884782"/>
              <a:gd name="connsiteY49165" fmla="*/ 1639755 h 5973007"/>
              <a:gd name="connsiteX49166" fmla="*/ 1229782 w 6884782"/>
              <a:gd name="connsiteY49166" fmla="*/ 1639135 h 5973007"/>
              <a:gd name="connsiteX49167" fmla="*/ 1229988 w 6884782"/>
              <a:gd name="connsiteY49167" fmla="*/ 1637121 h 5973007"/>
              <a:gd name="connsiteX49168" fmla="*/ 1231227 w 6884782"/>
              <a:gd name="connsiteY49168" fmla="*/ 1634798 h 5973007"/>
              <a:gd name="connsiteX49169" fmla="*/ 4973961 w 6884782"/>
              <a:gd name="connsiteY49169" fmla="*/ 1634385 h 5973007"/>
              <a:gd name="connsiteX49170" fmla="*/ 4978656 w 6884782"/>
              <a:gd name="connsiteY49170" fmla="*/ 1639507 h 5973007"/>
              <a:gd name="connsiteX49171" fmla="*/ 4978656 w 6884782"/>
              <a:gd name="connsiteY49171" fmla="*/ 1639649 h 5973007"/>
              <a:gd name="connsiteX49172" fmla="*/ 4982284 w 6884782"/>
              <a:gd name="connsiteY49172" fmla="*/ 1639933 h 5973007"/>
              <a:gd name="connsiteX49173" fmla="*/ 4972040 w 6884782"/>
              <a:gd name="connsiteY49173" fmla="*/ 1648327 h 5973007"/>
              <a:gd name="connsiteX49174" fmla="*/ 4970546 w 6884782"/>
              <a:gd name="connsiteY49174" fmla="*/ 1648043 h 5973007"/>
              <a:gd name="connsiteX49175" fmla="*/ 4967558 w 6884782"/>
              <a:gd name="connsiteY49175" fmla="*/ 1649323 h 5973007"/>
              <a:gd name="connsiteX49176" fmla="*/ 4964143 w 6884782"/>
              <a:gd name="connsiteY49176" fmla="*/ 1646051 h 5973007"/>
              <a:gd name="connsiteX49177" fmla="*/ 4973961 w 6884782"/>
              <a:gd name="connsiteY49177" fmla="*/ 1634385 h 5973007"/>
              <a:gd name="connsiteX49178" fmla="*/ 1197463 w 6884782"/>
              <a:gd name="connsiteY49178" fmla="*/ 1633714 h 5973007"/>
              <a:gd name="connsiteX49179" fmla="*/ 1192609 w 6884782"/>
              <a:gd name="connsiteY49179" fmla="*/ 1643008 h 5973007"/>
              <a:gd name="connsiteX49180" fmla="*/ 1187343 w 6884782"/>
              <a:gd name="connsiteY49180" fmla="*/ 1644866 h 5973007"/>
              <a:gd name="connsiteX49181" fmla="*/ 1186621 w 6884782"/>
              <a:gd name="connsiteY49181" fmla="*/ 1642543 h 5973007"/>
              <a:gd name="connsiteX49182" fmla="*/ 1189408 w 6884782"/>
              <a:gd name="connsiteY49182" fmla="*/ 1637276 h 5973007"/>
              <a:gd name="connsiteX49183" fmla="*/ 1197463 w 6884782"/>
              <a:gd name="connsiteY49183" fmla="*/ 1633714 h 5973007"/>
              <a:gd name="connsiteX49184" fmla="*/ 1596238 w 6884782"/>
              <a:gd name="connsiteY49184" fmla="*/ 1633404 h 5973007"/>
              <a:gd name="connsiteX49185" fmla="*/ 1604189 w 6884782"/>
              <a:gd name="connsiteY49185" fmla="*/ 1636037 h 5973007"/>
              <a:gd name="connsiteX49186" fmla="*/ 1604911 w 6884782"/>
              <a:gd name="connsiteY49186" fmla="*/ 1639445 h 5973007"/>
              <a:gd name="connsiteX49187" fmla="*/ 1606254 w 6884782"/>
              <a:gd name="connsiteY49187" fmla="*/ 1639445 h 5973007"/>
              <a:gd name="connsiteX49188" fmla="*/ 1607390 w 6884782"/>
              <a:gd name="connsiteY49188" fmla="*/ 1644401 h 5973007"/>
              <a:gd name="connsiteX49189" fmla="*/ 1605531 w 6884782"/>
              <a:gd name="connsiteY49189" fmla="*/ 1646570 h 5973007"/>
              <a:gd name="connsiteX49190" fmla="*/ 1602433 w 6884782"/>
              <a:gd name="connsiteY49190" fmla="*/ 1645950 h 5973007"/>
              <a:gd name="connsiteX49191" fmla="*/ 1600885 w 6884782"/>
              <a:gd name="connsiteY49191" fmla="*/ 1644401 h 5973007"/>
              <a:gd name="connsiteX49192" fmla="*/ 1597994 w 6884782"/>
              <a:gd name="connsiteY49192" fmla="*/ 1644401 h 5973007"/>
              <a:gd name="connsiteX49193" fmla="*/ 1593037 w 6884782"/>
              <a:gd name="connsiteY49193" fmla="*/ 1639755 h 5973007"/>
              <a:gd name="connsiteX49194" fmla="*/ 1593140 w 6884782"/>
              <a:gd name="connsiteY49194" fmla="*/ 1637431 h 5973007"/>
              <a:gd name="connsiteX49195" fmla="*/ 1596238 w 6884782"/>
              <a:gd name="connsiteY49195" fmla="*/ 1633404 h 5973007"/>
              <a:gd name="connsiteX49196" fmla="*/ 4038542 w 6884782"/>
              <a:gd name="connsiteY49196" fmla="*/ 1633389 h 5973007"/>
              <a:gd name="connsiteX49197" fmla="*/ 4050707 w 6884782"/>
              <a:gd name="connsiteY49197" fmla="*/ 1641783 h 5973007"/>
              <a:gd name="connsiteX49198" fmla="*/ 4048572 w 6884782"/>
              <a:gd name="connsiteY49198" fmla="*/ 1646478 h 5973007"/>
              <a:gd name="connsiteX49199" fmla="*/ 4035341 w 6884782"/>
              <a:gd name="connsiteY49199" fmla="*/ 1639791 h 5973007"/>
              <a:gd name="connsiteX49200" fmla="*/ 4038542 w 6884782"/>
              <a:gd name="connsiteY49200" fmla="*/ 1633389 h 5973007"/>
              <a:gd name="connsiteX49201" fmla="*/ 4445533 w 6884782"/>
              <a:gd name="connsiteY49201" fmla="*/ 1632109 h 5973007"/>
              <a:gd name="connsiteX49202" fmla="*/ 4458552 w 6884782"/>
              <a:gd name="connsiteY49202" fmla="*/ 1635381 h 5973007"/>
              <a:gd name="connsiteX49203" fmla="*/ 4445533 w 6884782"/>
              <a:gd name="connsiteY49203" fmla="*/ 1632109 h 5973007"/>
              <a:gd name="connsiteX49204" fmla="*/ 1458210 w 6884782"/>
              <a:gd name="connsiteY49204" fmla="*/ 1631138 h 5973007"/>
              <a:gd name="connsiteX49205" fmla="*/ 1462005 w 6884782"/>
              <a:gd name="connsiteY49205" fmla="*/ 1633869 h 5973007"/>
              <a:gd name="connsiteX49206" fmla="*/ 1453951 w 6884782"/>
              <a:gd name="connsiteY49206" fmla="*/ 1633869 h 5973007"/>
              <a:gd name="connsiteX49207" fmla="*/ 1458210 w 6884782"/>
              <a:gd name="connsiteY49207" fmla="*/ 1631138 h 5973007"/>
              <a:gd name="connsiteX49208" fmla="*/ 6218412 w 6884782"/>
              <a:gd name="connsiteY49208" fmla="*/ 1629832 h 5973007"/>
              <a:gd name="connsiteX49209" fmla="*/ 6221399 w 6884782"/>
              <a:gd name="connsiteY49209" fmla="*/ 1629975 h 5973007"/>
              <a:gd name="connsiteX49210" fmla="*/ 6225027 w 6884782"/>
              <a:gd name="connsiteY49210" fmla="*/ 1630686 h 5973007"/>
              <a:gd name="connsiteX49211" fmla="*/ 6223107 w 6884782"/>
              <a:gd name="connsiteY49211" fmla="*/ 1643205 h 5973007"/>
              <a:gd name="connsiteX49212" fmla="*/ 6218412 w 6884782"/>
              <a:gd name="connsiteY49212" fmla="*/ 1629832 h 5973007"/>
              <a:gd name="connsiteX49213" fmla="*/ 5783675 w 6884782"/>
              <a:gd name="connsiteY49213" fmla="*/ 1629548 h 5973007"/>
              <a:gd name="connsiteX49214" fmla="*/ 5797761 w 6884782"/>
              <a:gd name="connsiteY49214" fmla="*/ 1638511 h 5973007"/>
              <a:gd name="connsiteX49215" fmla="*/ 5799041 w 6884782"/>
              <a:gd name="connsiteY49215" fmla="*/ 1640787 h 5973007"/>
              <a:gd name="connsiteX49216" fmla="*/ 5798614 w 6884782"/>
              <a:gd name="connsiteY49216" fmla="*/ 1649466 h 5973007"/>
              <a:gd name="connsiteX49217" fmla="*/ 5783035 w 6884782"/>
              <a:gd name="connsiteY49217" fmla="*/ 1634954 h 5973007"/>
              <a:gd name="connsiteX49218" fmla="*/ 5781755 w 6884782"/>
              <a:gd name="connsiteY49218" fmla="*/ 1632678 h 5973007"/>
              <a:gd name="connsiteX49219" fmla="*/ 5783675 w 6884782"/>
              <a:gd name="connsiteY49219" fmla="*/ 1629548 h 5973007"/>
              <a:gd name="connsiteX49220" fmla="*/ 4601757 w 6884782"/>
              <a:gd name="connsiteY49220" fmla="*/ 1629121 h 5973007"/>
              <a:gd name="connsiteX49221" fmla="*/ 4605812 w 6884782"/>
              <a:gd name="connsiteY49221" fmla="*/ 1632820 h 5973007"/>
              <a:gd name="connsiteX49222" fmla="*/ 4607305 w 6884782"/>
              <a:gd name="connsiteY49222" fmla="*/ 1634954 h 5973007"/>
              <a:gd name="connsiteX49223" fmla="*/ 4606238 w 6884782"/>
              <a:gd name="connsiteY49223" fmla="*/ 1636661 h 5973007"/>
              <a:gd name="connsiteX49224" fmla="*/ 4606665 w 6884782"/>
              <a:gd name="connsiteY49224" fmla="*/ 1636519 h 5973007"/>
              <a:gd name="connsiteX49225" fmla="*/ 4612641 w 6884782"/>
              <a:gd name="connsiteY49225" fmla="*/ 1636803 h 5973007"/>
              <a:gd name="connsiteX49226" fmla="*/ 4612641 w 6884782"/>
              <a:gd name="connsiteY49226" fmla="*/ 1636661 h 5973007"/>
              <a:gd name="connsiteX49227" fmla="*/ 4614348 w 6884782"/>
              <a:gd name="connsiteY49227" fmla="*/ 1636376 h 5973007"/>
              <a:gd name="connsiteX49228" fmla="*/ 4614348 w 6884782"/>
              <a:gd name="connsiteY49228" fmla="*/ 1636803 h 5973007"/>
              <a:gd name="connsiteX49229" fmla="*/ 4614135 w 6884782"/>
              <a:gd name="connsiteY49229" fmla="*/ 1636946 h 5973007"/>
              <a:gd name="connsiteX49230" fmla="*/ 4613708 w 6884782"/>
              <a:gd name="connsiteY49230" fmla="*/ 1638795 h 5973007"/>
              <a:gd name="connsiteX49231" fmla="*/ 4613068 w 6884782"/>
              <a:gd name="connsiteY49231" fmla="*/ 1639365 h 5973007"/>
              <a:gd name="connsiteX49232" fmla="*/ 4612001 w 6884782"/>
              <a:gd name="connsiteY49232" fmla="*/ 1642210 h 5973007"/>
              <a:gd name="connsiteX49233" fmla="*/ 4612001 w 6884782"/>
              <a:gd name="connsiteY49233" fmla="*/ 1643632 h 5973007"/>
              <a:gd name="connsiteX49234" fmla="*/ 4609866 w 6884782"/>
              <a:gd name="connsiteY49234" fmla="*/ 1647474 h 5973007"/>
              <a:gd name="connsiteX49235" fmla="*/ 4608586 w 6884782"/>
              <a:gd name="connsiteY49235" fmla="*/ 1653449 h 5973007"/>
              <a:gd name="connsiteX49236" fmla="*/ 4610720 w 6884782"/>
              <a:gd name="connsiteY49236" fmla="*/ 1653449 h 5973007"/>
              <a:gd name="connsiteX49237" fmla="*/ 4614135 w 6884782"/>
              <a:gd name="connsiteY49237" fmla="*/ 1655583 h 5973007"/>
              <a:gd name="connsiteX49238" fmla="*/ 4615629 w 6884782"/>
              <a:gd name="connsiteY49238" fmla="*/ 1658144 h 5973007"/>
              <a:gd name="connsiteX49239" fmla="*/ 4615629 w 6884782"/>
              <a:gd name="connsiteY49239" fmla="*/ 1655868 h 5973007"/>
              <a:gd name="connsiteX49240" fmla="*/ 4620324 w 6884782"/>
              <a:gd name="connsiteY49240" fmla="*/ 1657717 h 5973007"/>
              <a:gd name="connsiteX49241" fmla="*/ 4621178 w 6884782"/>
              <a:gd name="connsiteY49241" fmla="*/ 1661558 h 5973007"/>
              <a:gd name="connsiteX49242" fmla="*/ 4620111 w 6884782"/>
              <a:gd name="connsiteY49242" fmla="*/ 1661416 h 5973007"/>
              <a:gd name="connsiteX49243" fmla="*/ 4616269 w 6884782"/>
              <a:gd name="connsiteY49243" fmla="*/ 1661700 h 5973007"/>
              <a:gd name="connsiteX49244" fmla="*/ 4616483 w 6884782"/>
              <a:gd name="connsiteY49244" fmla="*/ 1665827 h 5973007"/>
              <a:gd name="connsiteX49245" fmla="*/ 4615842 w 6884782"/>
              <a:gd name="connsiteY49245" fmla="*/ 1667818 h 5973007"/>
              <a:gd name="connsiteX49246" fmla="*/ 4616269 w 6884782"/>
              <a:gd name="connsiteY49246" fmla="*/ 1669810 h 5973007"/>
              <a:gd name="connsiteX49247" fmla="*/ 4623739 w 6884782"/>
              <a:gd name="connsiteY49247" fmla="*/ 1667818 h 5973007"/>
              <a:gd name="connsiteX49248" fmla="*/ 4631849 w 6884782"/>
              <a:gd name="connsiteY49248" fmla="*/ 1666965 h 5973007"/>
              <a:gd name="connsiteX49249" fmla="*/ 4632275 w 6884782"/>
              <a:gd name="connsiteY49249" fmla="*/ 1667107 h 5973007"/>
              <a:gd name="connsiteX49250" fmla="*/ 4632489 w 6884782"/>
              <a:gd name="connsiteY49250" fmla="*/ 1666680 h 5973007"/>
              <a:gd name="connsiteX49251" fmla="*/ 4632916 w 6884782"/>
              <a:gd name="connsiteY49251" fmla="*/ 1667107 h 5973007"/>
              <a:gd name="connsiteX49252" fmla="*/ 4635050 w 6884782"/>
              <a:gd name="connsiteY49252" fmla="*/ 1667960 h 5973007"/>
              <a:gd name="connsiteX49253" fmla="*/ 4632062 w 6884782"/>
              <a:gd name="connsiteY49253" fmla="*/ 1670521 h 5973007"/>
              <a:gd name="connsiteX49254" fmla="*/ 4630355 w 6884782"/>
              <a:gd name="connsiteY49254" fmla="*/ 1670948 h 5973007"/>
              <a:gd name="connsiteX49255" fmla="*/ 4629715 w 6884782"/>
              <a:gd name="connsiteY49255" fmla="*/ 1672086 h 5973007"/>
              <a:gd name="connsiteX49256" fmla="*/ 4628861 w 6884782"/>
              <a:gd name="connsiteY49256" fmla="*/ 1671375 h 5973007"/>
              <a:gd name="connsiteX49257" fmla="*/ 4625660 w 6884782"/>
              <a:gd name="connsiteY49257" fmla="*/ 1672371 h 5973007"/>
              <a:gd name="connsiteX49258" fmla="*/ 4618830 w 6884782"/>
              <a:gd name="connsiteY49258" fmla="*/ 1676923 h 5973007"/>
              <a:gd name="connsiteX49259" fmla="*/ 4610507 w 6884782"/>
              <a:gd name="connsiteY49259" fmla="*/ 1677350 h 5973007"/>
              <a:gd name="connsiteX49260" fmla="*/ 4609866 w 6884782"/>
              <a:gd name="connsiteY49260" fmla="*/ 1674078 h 5973007"/>
              <a:gd name="connsiteX49261" fmla="*/ 4606665 w 6884782"/>
              <a:gd name="connsiteY49261" fmla="*/ 1674931 h 5973007"/>
              <a:gd name="connsiteX49262" fmla="*/ 4595141 w 6884782"/>
              <a:gd name="connsiteY49262" fmla="*/ 1666253 h 5973007"/>
              <a:gd name="connsiteX49263" fmla="*/ 4595781 w 6884782"/>
              <a:gd name="connsiteY49263" fmla="*/ 1659140 h 5973007"/>
              <a:gd name="connsiteX49264" fmla="*/ 4598769 w 6884782"/>
              <a:gd name="connsiteY49264" fmla="*/ 1655298 h 5973007"/>
              <a:gd name="connsiteX49265" fmla="*/ 4598769 w 6884782"/>
              <a:gd name="connsiteY49265" fmla="*/ 1655156 h 5973007"/>
              <a:gd name="connsiteX49266" fmla="*/ 4598342 w 6884782"/>
              <a:gd name="connsiteY49266" fmla="*/ 1647332 h 5973007"/>
              <a:gd name="connsiteX49267" fmla="*/ 4601757 w 6884782"/>
              <a:gd name="connsiteY49267" fmla="*/ 1638511 h 5973007"/>
              <a:gd name="connsiteX49268" fmla="*/ 4604745 w 6884782"/>
              <a:gd name="connsiteY49268" fmla="*/ 1637231 h 5973007"/>
              <a:gd name="connsiteX49269" fmla="*/ 4602183 w 6884782"/>
              <a:gd name="connsiteY49269" fmla="*/ 1633958 h 5973007"/>
              <a:gd name="connsiteX49270" fmla="*/ 4601757 w 6884782"/>
              <a:gd name="connsiteY49270" fmla="*/ 1629121 h 5973007"/>
              <a:gd name="connsiteX49271" fmla="*/ 1623085 w 6884782"/>
              <a:gd name="connsiteY49271" fmla="*/ 1628757 h 5973007"/>
              <a:gd name="connsiteX49272" fmla="*/ 1636714 w 6884782"/>
              <a:gd name="connsiteY49272" fmla="*/ 1629841 h 5973007"/>
              <a:gd name="connsiteX49273" fmla="*/ 1638160 w 6884782"/>
              <a:gd name="connsiteY49273" fmla="*/ 1631545 h 5973007"/>
              <a:gd name="connsiteX49274" fmla="*/ 1638986 w 6884782"/>
              <a:gd name="connsiteY49274" fmla="*/ 1631700 h 5973007"/>
              <a:gd name="connsiteX49275" fmla="*/ 1639606 w 6884782"/>
              <a:gd name="connsiteY49275" fmla="*/ 1633404 h 5973007"/>
              <a:gd name="connsiteX49276" fmla="*/ 1634340 w 6884782"/>
              <a:gd name="connsiteY49276" fmla="*/ 1633869 h 5973007"/>
              <a:gd name="connsiteX49277" fmla="*/ 1630003 w 6884782"/>
              <a:gd name="connsiteY49277" fmla="*/ 1633559 h 5973007"/>
              <a:gd name="connsiteX49278" fmla="*/ 1616890 w 6884782"/>
              <a:gd name="connsiteY49278" fmla="*/ 1629376 h 5973007"/>
              <a:gd name="connsiteX49279" fmla="*/ 1623085 w 6884782"/>
              <a:gd name="connsiteY49279" fmla="*/ 1628757 h 5973007"/>
              <a:gd name="connsiteX49280" fmla="*/ 5110122 w 6884782"/>
              <a:gd name="connsiteY49280" fmla="*/ 1628267 h 5973007"/>
              <a:gd name="connsiteX49281" fmla="*/ 5122927 w 6884782"/>
              <a:gd name="connsiteY49281" fmla="*/ 1636376 h 5973007"/>
              <a:gd name="connsiteX49282" fmla="*/ 5106708 w 6884782"/>
              <a:gd name="connsiteY49282" fmla="*/ 1628552 h 5973007"/>
              <a:gd name="connsiteX49283" fmla="*/ 5110122 w 6884782"/>
              <a:gd name="connsiteY49283" fmla="*/ 1628267 h 5973007"/>
              <a:gd name="connsiteX49284" fmla="*/ 3816799 w 6884782"/>
              <a:gd name="connsiteY49284" fmla="*/ 1628125 h 5973007"/>
              <a:gd name="connsiteX49285" fmla="*/ 3805274 w 6884782"/>
              <a:gd name="connsiteY49285" fmla="*/ 1640930 h 5973007"/>
              <a:gd name="connsiteX49286" fmla="*/ 3801219 w 6884782"/>
              <a:gd name="connsiteY49286" fmla="*/ 1640930 h 5973007"/>
              <a:gd name="connsiteX49287" fmla="*/ 3804207 w 6884782"/>
              <a:gd name="connsiteY49287" fmla="*/ 1642494 h 5973007"/>
              <a:gd name="connsiteX49288" fmla="*/ 3805701 w 6884782"/>
              <a:gd name="connsiteY49288" fmla="*/ 1648043 h 5973007"/>
              <a:gd name="connsiteX49289" fmla="*/ 3805274 w 6884782"/>
              <a:gd name="connsiteY49289" fmla="*/ 1646905 h 5973007"/>
              <a:gd name="connsiteX49290" fmla="*/ 3803140 w 6884782"/>
              <a:gd name="connsiteY49290" fmla="*/ 1648043 h 5973007"/>
              <a:gd name="connsiteX49291" fmla="*/ 3803567 w 6884782"/>
              <a:gd name="connsiteY49291" fmla="*/ 1649039 h 5973007"/>
              <a:gd name="connsiteX49292" fmla="*/ 3801006 w 6884782"/>
              <a:gd name="connsiteY49292" fmla="*/ 1649039 h 5973007"/>
              <a:gd name="connsiteX49293" fmla="*/ 3794816 w 6884782"/>
              <a:gd name="connsiteY49293" fmla="*/ 1643063 h 5973007"/>
              <a:gd name="connsiteX49294" fmla="*/ 3797377 w 6884782"/>
              <a:gd name="connsiteY49294" fmla="*/ 1640218 h 5973007"/>
              <a:gd name="connsiteX49295" fmla="*/ 3799085 w 6884782"/>
              <a:gd name="connsiteY49295" fmla="*/ 1640218 h 5973007"/>
              <a:gd name="connsiteX49296" fmla="*/ 3802073 w 6884782"/>
              <a:gd name="connsiteY49296" fmla="*/ 1634100 h 5973007"/>
              <a:gd name="connsiteX49297" fmla="*/ 3816799 w 6884782"/>
              <a:gd name="connsiteY49297" fmla="*/ 1628125 h 5973007"/>
              <a:gd name="connsiteX49298" fmla="*/ 3770914 w 6884782"/>
              <a:gd name="connsiteY49298" fmla="*/ 1627840 h 5973007"/>
              <a:gd name="connsiteX49299" fmla="*/ 3771767 w 6884782"/>
              <a:gd name="connsiteY49299" fmla="*/ 1628979 h 5973007"/>
              <a:gd name="connsiteX49300" fmla="*/ 3773261 w 6884782"/>
              <a:gd name="connsiteY49300" fmla="*/ 1628837 h 5973007"/>
              <a:gd name="connsiteX49301" fmla="*/ 3786706 w 6884782"/>
              <a:gd name="connsiteY49301" fmla="*/ 1637799 h 5973007"/>
              <a:gd name="connsiteX49302" fmla="*/ 3778810 w 6884782"/>
              <a:gd name="connsiteY49302" fmla="*/ 1637941 h 5973007"/>
              <a:gd name="connsiteX49303" fmla="*/ 3775182 w 6884782"/>
              <a:gd name="connsiteY49303" fmla="*/ 1637941 h 5973007"/>
              <a:gd name="connsiteX49304" fmla="*/ 3778597 w 6884782"/>
              <a:gd name="connsiteY49304" fmla="*/ 1638653 h 5973007"/>
              <a:gd name="connsiteX49305" fmla="*/ 3779237 w 6884782"/>
              <a:gd name="connsiteY49305" fmla="*/ 1641641 h 5973007"/>
              <a:gd name="connsiteX49306" fmla="*/ 3775182 w 6884782"/>
              <a:gd name="connsiteY49306" fmla="*/ 1647474 h 5973007"/>
              <a:gd name="connsiteX49307" fmla="*/ 3779023 w 6884782"/>
              <a:gd name="connsiteY49307" fmla="*/ 1655298 h 5973007"/>
              <a:gd name="connsiteX49308" fmla="*/ 3779237 w 6884782"/>
              <a:gd name="connsiteY49308" fmla="*/ 1655868 h 5973007"/>
              <a:gd name="connsiteX49309" fmla="*/ 3779450 w 6884782"/>
              <a:gd name="connsiteY49309" fmla="*/ 1655868 h 5973007"/>
              <a:gd name="connsiteX49310" fmla="*/ 3781158 w 6884782"/>
              <a:gd name="connsiteY49310" fmla="*/ 1659140 h 5973007"/>
              <a:gd name="connsiteX49311" fmla="*/ 3781798 w 6884782"/>
              <a:gd name="connsiteY49311" fmla="*/ 1660278 h 5973007"/>
              <a:gd name="connsiteX49312" fmla="*/ 3781585 w 6884782"/>
              <a:gd name="connsiteY49312" fmla="*/ 1667676 h 5973007"/>
              <a:gd name="connsiteX49313" fmla="*/ 3770487 w 6884782"/>
              <a:gd name="connsiteY49313" fmla="*/ 1671802 h 5973007"/>
              <a:gd name="connsiteX49314" fmla="*/ 3767285 w 6884782"/>
              <a:gd name="connsiteY49314" fmla="*/ 1670664 h 5973007"/>
              <a:gd name="connsiteX49315" fmla="*/ 3768139 w 6884782"/>
              <a:gd name="connsiteY49315" fmla="*/ 1673366 h 5973007"/>
              <a:gd name="connsiteX49316" fmla="*/ 3745090 w 6884782"/>
              <a:gd name="connsiteY49316" fmla="*/ 1675216 h 5973007"/>
              <a:gd name="connsiteX49317" fmla="*/ 3742529 w 6884782"/>
              <a:gd name="connsiteY49317" fmla="*/ 1674220 h 5973007"/>
              <a:gd name="connsiteX49318" fmla="*/ 3742529 w 6884782"/>
              <a:gd name="connsiteY49318" fmla="*/ 1671233 h 5973007"/>
              <a:gd name="connsiteX49319" fmla="*/ 3757255 w 6884782"/>
              <a:gd name="connsiteY49319" fmla="*/ 1666395 h 5973007"/>
              <a:gd name="connsiteX49320" fmla="*/ 3760243 w 6884782"/>
              <a:gd name="connsiteY49320" fmla="*/ 1667676 h 5973007"/>
              <a:gd name="connsiteX49321" fmla="*/ 3761736 w 6884782"/>
              <a:gd name="connsiteY49321" fmla="*/ 1668387 h 5973007"/>
              <a:gd name="connsiteX49322" fmla="*/ 3758535 w 6884782"/>
              <a:gd name="connsiteY49322" fmla="*/ 1665542 h 5973007"/>
              <a:gd name="connsiteX49323" fmla="*/ 3757468 w 6884782"/>
              <a:gd name="connsiteY49323" fmla="*/ 1654871 h 5973007"/>
              <a:gd name="connsiteX49324" fmla="*/ 3758535 w 6884782"/>
              <a:gd name="connsiteY49324" fmla="*/ 1654444 h 5973007"/>
              <a:gd name="connsiteX49325" fmla="*/ 3753840 w 6884782"/>
              <a:gd name="connsiteY49325" fmla="*/ 1648897 h 5973007"/>
              <a:gd name="connsiteX49326" fmla="*/ 3768993 w 6884782"/>
              <a:gd name="connsiteY49326" fmla="*/ 1639222 h 5973007"/>
              <a:gd name="connsiteX49327" fmla="*/ 3771340 w 6884782"/>
              <a:gd name="connsiteY49327" fmla="*/ 1638795 h 5973007"/>
              <a:gd name="connsiteX49328" fmla="*/ 3771127 w 6884782"/>
              <a:gd name="connsiteY49328" fmla="*/ 1637941 h 5973007"/>
              <a:gd name="connsiteX49329" fmla="*/ 3768566 w 6884782"/>
              <a:gd name="connsiteY49329" fmla="*/ 1637941 h 5973007"/>
              <a:gd name="connsiteX49330" fmla="*/ 3755334 w 6884782"/>
              <a:gd name="connsiteY49330" fmla="*/ 1630544 h 5973007"/>
              <a:gd name="connsiteX49331" fmla="*/ 3763231 w 6884782"/>
              <a:gd name="connsiteY49331" fmla="*/ 1629548 h 5973007"/>
              <a:gd name="connsiteX49332" fmla="*/ 3768779 w 6884782"/>
              <a:gd name="connsiteY49332" fmla="*/ 1629121 h 5973007"/>
              <a:gd name="connsiteX49333" fmla="*/ 3769633 w 6884782"/>
              <a:gd name="connsiteY49333" fmla="*/ 1627983 h 5973007"/>
              <a:gd name="connsiteX49334" fmla="*/ 3770914 w 6884782"/>
              <a:gd name="connsiteY49334" fmla="*/ 1627840 h 5973007"/>
              <a:gd name="connsiteX49335" fmla="*/ 1421735 w 6884782"/>
              <a:gd name="connsiteY49335" fmla="*/ 1627828 h 5973007"/>
              <a:gd name="connsiteX49336" fmla="*/ 1423697 w 6884782"/>
              <a:gd name="connsiteY49336" fmla="*/ 1629841 h 5973007"/>
              <a:gd name="connsiteX49337" fmla="*/ 1422768 w 6884782"/>
              <a:gd name="connsiteY49337" fmla="*/ 1632010 h 5973007"/>
              <a:gd name="connsiteX49338" fmla="*/ 1422768 w 6884782"/>
              <a:gd name="connsiteY49338" fmla="*/ 1633869 h 5973007"/>
              <a:gd name="connsiteX49339" fmla="*/ 1420393 w 6884782"/>
              <a:gd name="connsiteY49339" fmla="*/ 1634798 h 5973007"/>
              <a:gd name="connsiteX49340" fmla="*/ 1420393 w 6884782"/>
              <a:gd name="connsiteY49340" fmla="*/ 1632939 h 5973007"/>
              <a:gd name="connsiteX49341" fmla="*/ 1421735 w 6884782"/>
              <a:gd name="connsiteY49341" fmla="*/ 1627828 h 5973007"/>
              <a:gd name="connsiteX49342" fmla="*/ 1181251 w 6884782"/>
              <a:gd name="connsiteY49342" fmla="*/ 1627363 h 5973007"/>
              <a:gd name="connsiteX49343" fmla="*/ 1181768 w 6884782"/>
              <a:gd name="connsiteY49343" fmla="*/ 1629996 h 5973007"/>
              <a:gd name="connsiteX49344" fmla="*/ 1177534 w 6884782"/>
              <a:gd name="connsiteY49344" fmla="*/ 1628757 h 5973007"/>
              <a:gd name="connsiteX49345" fmla="*/ 1181251 w 6884782"/>
              <a:gd name="connsiteY49345" fmla="*/ 1627363 h 5973007"/>
              <a:gd name="connsiteX49346" fmla="*/ 4667276 w 6884782"/>
              <a:gd name="connsiteY49346" fmla="*/ 1626702 h 5973007"/>
              <a:gd name="connsiteX49347" fmla="*/ 4675600 w 6884782"/>
              <a:gd name="connsiteY49347" fmla="*/ 1636519 h 5973007"/>
              <a:gd name="connsiteX49348" fmla="*/ 4667276 w 6884782"/>
              <a:gd name="connsiteY49348" fmla="*/ 1626702 h 5973007"/>
              <a:gd name="connsiteX49349" fmla="*/ 4833744 w 6884782"/>
              <a:gd name="connsiteY49349" fmla="*/ 1626560 h 5973007"/>
              <a:gd name="connsiteX49350" fmla="*/ 4835024 w 6884782"/>
              <a:gd name="connsiteY49350" fmla="*/ 1628837 h 5973007"/>
              <a:gd name="connsiteX49351" fmla="*/ 4834598 w 6884782"/>
              <a:gd name="connsiteY49351" fmla="*/ 1632820 h 5973007"/>
              <a:gd name="connsiteX49352" fmla="*/ 4832036 w 6884782"/>
              <a:gd name="connsiteY49352" fmla="*/ 1635666 h 5973007"/>
              <a:gd name="connsiteX49353" fmla="*/ 4826274 w 6884782"/>
              <a:gd name="connsiteY49353" fmla="*/ 1631966 h 5973007"/>
              <a:gd name="connsiteX49354" fmla="*/ 4833744 w 6884782"/>
              <a:gd name="connsiteY49354" fmla="*/ 1626560 h 5973007"/>
              <a:gd name="connsiteX49355" fmla="*/ 1313936 w 6884782"/>
              <a:gd name="connsiteY49355" fmla="*/ 1626433 h 5973007"/>
              <a:gd name="connsiteX49356" fmla="*/ 1346874 w 6884782"/>
              <a:gd name="connsiteY49356" fmla="*/ 1643782 h 5973007"/>
              <a:gd name="connsiteX49357" fmla="*/ 1330560 w 6884782"/>
              <a:gd name="connsiteY49357" fmla="*/ 1649358 h 5973007"/>
              <a:gd name="connsiteX49358" fmla="*/ 1307947 w 6884782"/>
              <a:gd name="connsiteY49358" fmla="*/ 1631545 h 5973007"/>
              <a:gd name="connsiteX49359" fmla="*/ 1309083 w 6884782"/>
              <a:gd name="connsiteY49359" fmla="*/ 1629222 h 5973007"/>
              <a:gd name="connsiteX49360" fmla="*/ 1313936 w 6884782"/>
              <a:gd name="connsiteY49360" fmla="*/ 1626433 h 5973007"/>
              <a:gd name="connsiteX49361" fmla="*/ 4958595 w 6884782"/>
              <a:gd name="connsiteY49361" fmla="*/ 1626418 h 5973007"/>
              <a:gd name="connsiteX49362" fmla="*/ 4959875 w 6884782"/>
              <a:gd name="connsiteY49362" fmla="*/ 1628125 h 5973007"/>
              <a:gd name="connsiteX49363" fmla="*/ 4960942 w 6884782"/>
              <a:gd name="connsiteY49363" fmla="*/ 1631397 h 5973007"/>
              <a:gd name="connsiteX49364" fmla="*/ 4962650 w 6884782"/>
              <a:gd name="connsiteY49364" fmla="*/ 1633674 h 5973007"/>
              <a:gd name="connsiteX49365" fmla="*/ 4961155 w 6884782"/>
              <a:gd name="connsiteY49365" fmla="*/ 1636803 h 5973007"/>
              <a:gd name="connsiteX49366" fmla="*/ 4959448 w 6884782"/>
              <a:gd name="connsiteY49366" fmla="*/ 1634669 h 5973007"/>
              <a:gd name="connsiteX49367" fmla="*/ 4956247 w 6884782"/>
              <a:gd name="connsiteY49367" fmla="*/ 1627414 h 5973007"/>
              <a:gd name="connsiteX49368" fmla="*/ 4958595 w 6884782"/>
              <a:gd name="connsiteY49368" fmla="*/ 1626418 h 5973007"/>
              <a:gd name="connsiteX49369" fmla="*/ 1253840 w 6884782"/>
              <a:gd name="connsiteY49369" fmla="*/ 1625969 h 5973007"/>
              <a:gd name="connsiteX49370" fmla="*/ 1259726 w 6884782"/>
              <a:gd name="connsiteY49370" fmla="*/ 1626124 h 5973007"/>
              <a:gd name="connsiteX49371" fmla="*/ 1268296 w 6884782"/>
              <a:gd name="connsiteY49371" fmla="*/ 1639445 h 5973007"/>
              <a:gd name="connsiteX49372" fmla="*/ 1267470 w 6884782"/>
              <a:gd name="connsiteY49372" fmla="*/ 1641613 h 5973007"/>
              <a:gd name="connsiteX49373" fmla="*/ 1267470 w 6884782"/>
              <a:gd name="connsiteY49373" fmla="*/ 1645331 h 5973007"/>
              <a:gd name="connsiteX49374" fmla="*/ 1256112 w 6884782"/>
              <a:gd name="connsiteY49374" fmla="*/ 1645021 h 5973007"/>
              <a:gd name="connsiteX49375" fmla="*/ 1247026 w 6884782"/>
              <a:gd name="connsiteY49375" fmla="*/ 1636037 h 5973007"/>
              <a:gd name="connsiteX49376" fmla="*/ 1247129 w 6884782"/>
              <a:gd name="connsiteY49376" fmla="*/ 1632784 h 5973007"/>
              <a:gd name="connsiteX49377" fmla="*/ 1253840 w 6884782"/>
              <a:gd name="connsiteY49377" fmla="*/ 1625969 h 5973007"/>
              <a:gd name="connsiteX49378" fmla="*/ 1731568 w 6884782"/>
              <a:gd name="connsiteY49378" fmla="*/ 1625543 h 5973007"/>
              <a:gd name="connsiteX49379" fmla="*/ 1740591 w 6884782"/>
              <a:gd name="connsiteY49379" fmla="*/ 1635573 h 5973007"/>
              <a:gd name="connsiteX49380" fmla="*/ 1731401 w 6884782"/>
              <a:gd name="connsiteY49380" fmla="*/ 1653541 h 5973007"/>
              <a:gd name="connsiteX49381" fmla="*/ 1716944 w 6884782"/>
              <a:gd name="connsiteY49381" fmla="*/ 1636811 h 5973007"/>
              <a:gd name="connsiteX49382" fmla="*/ 1718597 w 6884782"/>
              <a:gd name="connsiteY49382" fmla="*/ 1630151 h 5973007"/>
              <a:gd name="connsiteX49383" fmla="*/ 1731568 w 6884782"/>
              <a:gd name="connsiteY49383" fmla="*/ 1625543 h 5973007"/>
              <a:gd name="connsiteX49384" fmla="*/ 1787778 w 6884782"/>
              <a:gd name="connsiteY49384" fmla="*/ 1625504 h 5973007"/>
              <a:gd name="connsiteX49385" fmla="*/ 1787159 w 6884782"/>
              <a:gd name="connsiteY49385" fmla="*/ 1632939 h 5973007"/>
              <a:gd name="connsiteX49386" fmla="*/ 1781893 w 6884782"/>
              <a:gd name="connsiteY49386" fmla="*/ 1632165 h 5973007"/>
              <a:gd name="connsiteX49387" fmla="*/ 1787778 w 6884782"/>
              <a:gd name="connsiteY49387" fmla="*/ 1625504 h 5973007"/>
              <a:gd name="connsiteX49388" fmla="*/ 4943015 w 6884782"/>
              <a:gd name="connsiteY49388" fmla="*/ 1625422 h 5973007"/>
              <a:gd name="connsiteX49389" fmla="*/ 4948777 w 6884782"/>
              <a:gd name="connsiteY49389" fmla="*/ 1627840 h 5973007"/>
              <a:gd name="connsiteX49390" fmla="*/ 4947710 w 6884782"/>
              <a:gd name="connsiteY49390" fmla="*/ 1628837 h 5973007"/>
              <a:gd name="connsiteX49391" fmla="*/ 4948350 w 6884782"/>
              <a:gd name="connsiteY49391" fmla="*/ 1629548 h 5973007"/>
              <a:gd name="connsiteX49392" fmla="*/ 4951552 w 6884782"/>
              <a:gd name="connsiteY49392" fmla="*/ 1632535 h 5973007"/>
              <a:gd name="connsiteX49393" fmla="*/ 4951338 w 6884782"/>
              <a:gd name="connsiteY49393" fmla="*/ 1636234 h 5973007"/>
              <a:gd name="connsiteX49394" fmla="*/ 4947924 w 6884782"/>
              <a:gd name="connsiteY49394" fmla="*/ 1634385 h 5973007"/>
              <a:gd name="connsiteX49395" fmla="*/ 4947710 w 6884782"/>
              <a:gd name="connsiteY49395" fmla="*/ 1631682 h 5973007"/>
              <a:gd name="connsiteX49396" fmla="*/ 4946429 w 6884782"/>
              <a:gd name="connsiteY49396" fmla="*/ 1630259 h 5973007"/>
              <a:gd name="connsiteX49397" fmla="*/ 4945149 w 6884782"/>
              <a:gd name="connsiteY49397" fmla="*/ 1631824 h 5973007"/>
              <a:gd name="connsiteX49398" fmla="*/ 4939600 w 6884782"/>
              <a:gd name="connsiteY49398" fmla="*/ 1630971 h 5973007"/>
              <a:gd name="connsiteX49399" fmla="*/ 4943015 w 6884782"/>
              <a:gd name="connsiteY49399" fmla="*/ 1625422 h 5973007"/>
              <a:gd name="connsiteX49400" fmla="*/ 5875446 w 6884782"/>
              <a:gd name="connsiteY49400" fmla="*/ 1624995 h 5973007"/>
              <a:gd name="connsiteX49401" fmla="*/ 5876299 w 6884782"/>
              <a:gd name="connsiteY49401" fmla="*/ 1634527 h 5973007"/>
              <a:gd name="connsiteX49402" fmla="*/ 5874806 w 6884782"/>
              <a:gd name="connsiteY49402" fmla="*/ 1636234 h 5973007"/>
              <a:gd name="connsiteX49403" fmla="*/ 5875446 w 6884782"/>
              <a:gd name="connsiteY49403" fmla="*/ 1624995 h 5973007"/>
              <a:gd name="connsiteX49404" fmla="*/ 4600049 w 6884782"/>
              <a:gd name="connsiteY49404" fmla="*/ 1624995 h 5973007"/>
              <a:gd name="connsiteX49405" fmla="*/ 4600690 w 6884782"/>
              <a:gd name="connsiteY49405" fmla="*/ 1625422 h 5973007"/>
              <a:gd name="connsiteX49406" fmla="*/ 4601970 w 6884782"/>
              <a:gd name="connsiteY49406" fmla="*/ 1627272 h 5973007"/>
              <a:gd name="connsiteX49407" fmla="*/ 4601543 w 6884782"/>
              <a:gd name="connsiteY49407" fmla="*/ 1629121 h 5973007"/>
              <a:gd name="connsiteX49408" fmla="*/ 4598342 w 6884782"/>
              <a:gd name="connsiteY49408" fmla="*/ 1626702 h 5973007"/>
              <a:gd name="connsiteX49409" fmla="*/ 4599622 w 6884782"/>
              <a:gd name="connsiteY49409" fmla="*/ 1625422 h 5973007"/>
              <a:gd name="connsiteX49410" fmla="*/ 4598555 w 6884782"/>
              <a:gd name="connsiteY49410" fmla="*/ 1625422 h 5973007"/>
              <a:gd name="connsiteX49411" fmla="*/ 4600049 w 6884782"/>
              <a:gd name="connsiteY49411" fmla="*/ 1624995 h 5973007"/>
              <a:gd name="connsiteX49412" fmla="*/ 5179270 w 6884782"/>
              <a:gd name="connsiteY49412" fmla="*/ 1624853 h 5973007"/>
              <a:gd name="connsiteX49413" fmla="*/ 5183752 w 6884782"/>
              <a:gd name="connsiteY49413" fmla="*/ 1625280 h 5973007"/>
              <a:gd name="connsiteX49414" fmla="*/ 5186740 w 6884782"/>
              <a:gd name="connsiteY49414" fmla="*/ 1630402 h 5973007"/>
              <a:gd name="connsiteX49415" fmla="*/ 5170520 w 6884782"/>
              <a:gd name="connsiteY49415" fmla="*/ 1635239 h 5973007"/>
              <a:gd name="connsiteX49416" fmla="*/ 5166892 w 6884782"/>
              <a:gd name="connsiteY49416" fmla="*/ 1630971 h 5973007"/>
              <a:gd name="connsiteX49417" fmla="*/ 5179270 w 6884782"/>
              <a:gd name="connsiteY49417" fmla="*/ 1624853 h 5973007"/>
              <a:gd name="connsiteX49418" fmla="*/ 4800664 w 6884782"/>
              <a:gd name="connsiteY49418" fmla="*/ 1624853 h 5973007"/>
              <a:gd name="connsiteX49419" fmla="*/ 4803225 w 6884782"/>
              <a:gd name="connsiteY49419" fmla="*/ 1626845 h 5973007"/>
              <a:gd name="connsiteX49420" fmla="*/ 4798956 w 6884782"/>
              <a:gd name="connsiteY49420" fmla="*/ 1647474 h 5973007"/>
              <a:gd name="connsiteX49421" fmla="*/ 4798743 w 6884782"/>
              <a:gd name="connsiteY49421" fmla="*/ 1654444 h 5973007"/>
              <a:gd name="connsiteX49422" fmla="*/ 4798956 w 6884782"/>
              <a:gd name="connsiteY49422" fmla="*/ 1656579 h 5973007"/>
              <a:gd name="connsiteX49423" fmla="*/ 4798743 w 6884782"/>
              <a:gd name="connsiteY49423" fmla="*/ 1656721 h 5973007"/>
              <a:gd name="connsiteX49424" fmla="*/ 4798743 w 6884782"/>
              <a:gd name="connsiteY49424" fmla="*/ 1657148 h 5973007"/>
              <a:gd name="connsiteX49425" fmla="*/ 4793621 w 6884782"/>
              <a:gd name="connsiteY49425" fmla="*/ 1664830 h 5973007"/>
              <a:gd name="connsiteX49426" fmla="*/ 4791700 w 6884782"/>
              <a:gd name="connsiteY49426" fmla="*/ 1657575 h 5973007"/>
              <a:gd name="connsiteX49427" fmla="*/ 4789566 w 6884782"/>
              <a:gd name="connsiteY49427" fmla="*/ 1657006 h 5973007"/>
              <a:gd name="connsiteX49428" fmla="*/ 4784657 w 6884782"/>
              <a:gd name="connsiteY49428" fmla="*/ 1648043 h 5973007"/>
              <a:gd name="connsiteX49429" fmla="*/ 4789139 w 6884782"/>
              <a:gd name="connsiteY49429" fmla="*/ 1646335 h 5973007"/>
              <a:gd name="connsiteX49430" fmla="*/ 4788926 w 6884782"/>
              <a:gd name="connsiteY49430" fmla="*/ 1638511 h 5973007"/>
              <a:gd name="connsiteX49431" fmla="*/ 4791914 w 6884782"/>
              <a:gd name="connsiteY49431" fmla="*/ 1627414 h 5973007"/>
              <a:gd name="connsiteX49432" fmla="*/ 4800664 w 6884782"/>
              <a:gd name="connsiteY49432" fmla="*/ 1624853 h 5973007"/>
              <a:gd name="connsiteX49433" fmla="*/ 1601607 w 6884782"/>
              <a:gd name="connsiteY49433" fmla="*/ 1624575 h 5973007"/>
              <a:gd name="connsiteX49434" fmla="*/ 1603982 w 6884782"/>
              <a:gd name="connsiteY49434" fmla="*/ 1625504 h 5973007"/>
              <a:gd name="connsiteX49435" fmla="*/ 1604705 w 6884782"/>
              <a:gd name="connsiteY49435" fmla="*/ 1625195 h 5973007"/>
              <a:gd name="connsiteX49436" fmla="*/ 1606254 w 6884782"/>
              <a:gd name="connsiteY49436" fmla="*/ 1626433 h 5973007"/>
              <a:gd name="connsiteX49437" fmla="*/ 1602021 w 6884782"/>
              <a:gd name="connsiteY49437" fmla="*/ 1629067 h 5973007"/>
              <a:gd name="connsiteX49438" fmla="*/ 1598097 w 6884782"/>
              <a:gd name="connsiteY49438" fmla="*/ 1630616 h 5973007"/>
              <a:gd name="connsiteX49439" fmla="*/ 1584157 w 6884782"/>
              <a:gd name="connsiteY49439" fmla="*/ 1632320 h 5973007"/>
              <a:gd name="connsiteX49440" fmla="*/ 1589113 w 6884782"/>
              <a:gd name="connsiteY49440" fmla="*/ 1629222 h 5973007"/>
              <a:gd name="connsiteX49441" fmla="*/ 1601607 w 6884782"/>
              <a:gd name="connsiteY49441" fmla="*/ 1624575 h 5973007"/>
              <a:gd name="connsiteX49442" fmla="*/ 1539241 w 6884782"/>
              <a:gd name="connsiteY49442" fmla="*/ 1624575 h 5973007"/>
              <a:gd name="connsiteX49443" fmla="*/ 1538518 w 6884782"/>
              <a:gd name="connsiteY49443" fmla="*/ 1625040 h 5973007"/>
              <a:gd name="connsiteX49444" fmla="*/ 1537795 w 6884782"/>
              <a:gd name="connsiteY49444" fmla="*/ 1624730 h 5973007"/>
              <a:gd name="connsiteX49445" fmla="*/ 1538311 w 6884782"/>
              <a:gd name="connsiteY49445" fmla="*/ 1625349 h 5973007"/>
              <a:gd name="connsiteX49446" fmla="*/ 1456429 w 6884782"/>
              <a:gd name="connsiteY49446" fmla="*/ 1624420 h 5973007"/>
              <a:gd name="connsiteX49447" fmla="*/ 1457668 w 6884782"/>
              <a:gd name="connsiteY49447" fmla="*/ 1624885 h 5973007"/>
              <a:gd name="connsiteX49448" fmla="*/ 1454570 w 6884782"/>
              <a:gd name="connsiteY49448" fmla="*/ 1627982 h 5973007"/>
              <a:gd name="connsiteX49449" fmla="*/ 1456429 w 6884782"/>
              <a:gd name="connsiteY49449" fmla="*/ 1624420 h 5973007"/>
              <a:gd name="connsiteX49450" fmla="*/ 5664587 w 6884782"/>
              <a:gd name="connsiteY49450" fmla="*/ 1624142 h 5973007"/>
              <a:gd name="connsiteX49451" fmla="*/ 5689984 w 6884782"/>
              <a:gd name="connsiteY49451" fmla="*/ 1637231 h 5973007"/>
              <a:gd name="connsiteX49452" fmla="*/ 5671843 w 6884782"/>
              <a:gd name="connsiteY49452" fmla="*/ 1654587 h 5973007"/>
              <a:gd name="connsiteX49453" fmla="*/ 5637056 w 6884782"/>
              <a:gd name="connsiteY49453" fmla="*/ 1644344 h 5973007"/>
              <a:gd name="connsiteX49454" fmla="*/ 5637483 w 6884782"/>
              <a:gd name="connsiteY49454" fmla="*/ 1640645 h 5973007"/>
              <a:gd name="connsiteX49455" fmla="*/ 5664587 w 6884782"/>
              <a:gd name="connsiteY49455" fmla="*/ 1624142 h 5973007"/>
              <a:gd name="connsiteX49456" fmla="*/ 4984632 w 6884782"/>
              <a:gd name="connsiteY49456" fmla="*/ 1623857 h 5973007"/>
              <a:gd name="connsiteX49457" fmla="*/ 4987620 w 6884782"/>
              <a:gd name="connsiteY49457" fmla="*/ 1625565 h 5973007"/>
              <a:gd name="connsiteX49458" fmla="*/ 4987620 w 6884782"/>
              <a:gd name="connsiteY49458" fmla="*/ 1637088 h 5973007"/>
              <a:gd name="connsiteX49459" fmla="*/ 4983351 w 6884782"/>
              <a:gd name="connsiteY49459" fmla="*/ 1626133 h 5973007"/>
              <a:gd name="connsiteX49460" fmla="*/ 4984632 w 6884782"/>
              <a:gd name="connsiteY49460" fmla="*/ 1623857 h 5973007"/>
              <a:gd name="connsiteX49461" fmla="*/ 5790291 w 6884782"/>
              <a:gd name="connsiteY49461" fmla="*/ 1623573 h 5973007"/>
              <a:gd name="connsiteX49462" fmla="*/ 5789864 w 6884782"/>
              <a:gd name="connsiteY49462" fmla="*/ 1626133 h 5973007"/>
              <a:gd name="connsiteX49463" fmla="*/ 5785810 w 6884782"/>
              <a:gd name="connsiteY49463" fmla="*/ 1626418 h 5973007"/>
              <a:gd name="connsiteX49464" fmla="*/ 5785383 w 6884782"/>
              <a:gd name="connsiteY49464" fmla="*/ 1629121 h 5973007"/>
              <a:gd name="connsiteX49465" fmla="*/ 5783675 w 6884782"/>
              <a:gd name="connsiteY49465" fmla="*/ 1629548 h 5973007"/>
              <a:gd name="connsiteX49466" fmla="*/ 5781755 w 6884782"/>
              <a:gd name="connsiteY49466" fmla="*/ 1626702 h 5973007"/>
              <a:gd name="connsiteX49467" fmla="*/ 5787943 w 6884782"/>
              <a:gd name="connsiteY49467" fmla="*/ 1624995 h 5973007"/>
              <a:gd name="connsiteX49468" fmla="*/ 5790291 w 6884782"/>
              <a:gd name="connsiteY49468" fmla="*/ 1623573 h 5973007"/>
              <a:gd name="connsiteX49469" fmla="*/ 1415333 w 6884782"/>
              <a:gd name="connsiteY49469" fmla="*/ 1622871 h 5973007"/>
              <a:gd name="connsiteX49470" fmla="*/ 1416263 w 6884782"/>
              <a:gd name="connsiteY49470" fmla="*/ 1628292 h 5973007"/>
              <a:gd name="connsiteX49471" fmla="*/ 1414404 w 6884782"/>
              <a:gd name="connsiteY49471" fmla="*/ 1629996 h 5973007"/>
              <a:gd name="connsiteX49472" fmla="*/ 1413268 w 6884782"/>
              <a:gd name="connsiteY49472" fmla="*/ 1627518 h 5973007"/>
              <a:gd name="connsiteX49473" fmla="*/ 1414301 w 6884782"/>
              <a:gd name="connsiteY49473" fmla="*/ 1626124 h 5973007"/>
              <a:gd name="connsiteX49474" fmla="*/ 1413888 w 6884782"/>
              <a:gd name="connsiteY49474" fmla="*/ 1623491 h 5973007"/>
              <a:gd name="connsiteX49475" fmla="*/ 1415333 w 6884782"/>
              <a:gd name="connsiteY49475" fmla="*/ 1622871 h 5973007"/>
              <a:gd name="connsiteX49476" fmla="*/ 4892434 w 6884782"/>
              <a:gd name="connsiteY49476" fmla="*/ 1622719 h 5973007"/>
              <a:gd name="connsiteX49477" fmla="*/ 4894142 w 6884782"/>
              <a:gd name="connsiteY49477" fmla="*/ 1627556 h 5973007"/>
              <a:gd name="connsiteX49478" fmla="*/ 4889660 w 6884782"/>
              <a:gd name="connsiteY49478" fmla="*/ 1626418 h 5973007"/>
              <a:gd name="connsiteX49479" fmla="*/ 4889660 w 6884782"/>
              <a:gd name="connsiteY49479" fmla="*/ 1624284 h 5973007"/>
              <a:gd name="connsiteX49480" fmla="*/ 4892434 w 6884782"/>
              <a:gd name="connsiteY49480" fmla="*/ 1622719 h 5973007"/>
              <a:gd name="connsiteX49481" fmla="*/ 5088567 w 6884782"/>
              <a:gd name="connsiteY49481" fmla="*/ 1622435 h 5973007"/>
              <a:gd name="connsiteX49482" fmla="*/ 5090488 w 6884782"/>
              <a:gd name="connsiteY49482" fmla="*/ 1627556 h 5973007"/>
              <a:gd name="connsiteX49483" fmla="*/ 5086859 w 6884782"/>
              <a:gd name="connsiteY49483" fmla="*/ 1628267 h 5973007"/>
              <a:gd name="connsiteX49484" fmla="*/ 5088567 w 6884782"/>
              <a:gd name="connsiteY49484" fmla="*/ 1622435 h 5973007"/>
              <a:gd name="connsiteX49485" fmla="*/ 1002618 w 6884782"/>
              <a:gd name="connsiteY49485" fmla="*/ 1622097 h 5973007"/>
              <a:gd name="connsiteX49486" fmla="*/ 1000553 w 6884782"/>
              <a:gd name="connsiteY49486" fmla="*/ 1631700 h 5973007"/>
              <a:gd name="connsiteX49487" fmla="*/ 992912 w 6884782"/>
              <a:gd name="connsiteY49487" fmla="*/ 1629376 h 5973007"/>
              <a:gd name="connsiteX49488" fmla="*/ 993325 w 6884782"/>
              <a:gd name="connsiteY49488" fmla="*/ 1622871 h 5973007"/>
              <a:gd name="connsiteX49489" fmla="*/ 1002618 w 6884782"/>
              <a:gd name="connsiteY49489" fmla="*/ 1622097 h 5973007"/>
              <a:gd name="connsiteX49490" fmla="*/ 1031014 w 6884782"/>
              <a:gd name="connsiteY49490" fmla="*/ 1621942 h 5973007"/>
              <a:gd name="connsiteX49491" fmla="*/ 1026574 w 6884782"/>
              <a:gd name="connsiteY49491" fmla="*/ 1634023 h 5973007"/>
              <a:gd name="connsiteX49492" fmla="*/ 1026161 w 6884782"/>
              <a:gd name="connsiteY49492" fmla="*/ 1631700 h 5973007"/>
              <a:gd name="connsiteX49493" fmla="*/ 1031014 w 6884782"/>
              <a:gd name="connsiteY49493" fmla="*/ 1621942 h 5973007"/>
              <a:gd name="connsiteX49494" fmla="*/ 4819018 w 6884782"/>
              <a:gd name="connsiteY49494" fmla="*/ 1621865 h 5973007"/>
              <a:gd name="connsiteX49495" fmla="*/ 4820512 w 6884782"/>
              <a:gd name="connsiteY49495" fmla="*/ 1622435 h 5973007"/>
              <a:gd name="connsiteX49496" fmla="*/ 4810481 w 6884782"/>
              <a:gd name="connsiteY49496" fmla="*/ 1625422 h 5973007"/>
              <a:gd name="connsiteX49497" fmla="*/ 4819018 w 6884782"/>
              <a:gd name="connsiteY49497" fmla="*/ 1621865 h 5973007"/>
              <a:gd name="connsiteX49498" fmla="*/ 3940369 w 6884782"/>
              <a:gd name="connsiteY49498" fmla="*/ 1621723 h 5973007"/>
              <a:gd name="connsiteX49499" fmla="*/ 3945704 w 6884782"/>
              <a:gd name="connsiteY49499" fmla="*/ 1634669 h 5973007"/>
              <a:gd name="connsiteX49500" fmla="*/ 3940369 w 6884782"/>
              <a:gd name="connsiteY49500" fmla="*/ 1621723 h 5973007"/>
              <a:gd name="connsiteX49501" fmla="*/ 1119091 w 6884782"/>
              <a:gd name="connsiteY49501" fmla="*/ 1620857 h 5973007"/>
              <a:gd name="connsiteX49502" fmla="*/ 1124047 w 6884782"/>
              <a:gd name="connsiteY49502" fmla="*/ 1623026 h 5973007"/>
              <a:gd name="connsiteX49503" fmla="*/ 1120330 w 6884782"/>
              <a:gd name="connsiteY49503" fmla="*/ 1632165 h 5973007"/>
              <a:gd name="connsiteX49504" fmla="*/ 1115890 w 6884782"/>
              <a:gd name="connsiteY49504" fmla="*/ 1627518 h 5973007"/>
              <a:gd name="connsiteX49505" fmla="*/ 1115890 w 6884782"/>
              <a:gd name="connsiteY49505" fmla="*/ 1626743 h 5973007"/>
              <a:gd name="connsiteX49506" fmla="*/ 1116510 w 6884782"/>
              <a:gd name="connsiteY49506" fmla="*/ 1624885 h 5973007"/>
              <a:gd name="connsiteX49507" fmla="*/ 1119917 w 6884782"/>
              <a:gd name="connsiteY49507" fmla="*/ 1621322 h 5973007"/>
              <a:gd name="connsiteX49508" fmla="*/ 1119091 w 6884782"/>
              <a:gd name="connsiteY49508" fmla="*/ 1620857 h 5973007"/>
              <a:gd name="connsiteX49509" fmla="*/ 3988388 w 6884782"/>
              <a:gd name="connsiteY49509" fmla="*/ 1620300 h 5973007"/>
              <a:gd name="connsiteX49510" fmla="*/ 3995431 w 6884782"/>
              <a:gd name="connsiteY49510" fmla="*/ 1621438 h 5973007"/>
              <a:gd name="connsiteX49511" fmla="*/ 3987748 w 6884782"/>
              <a:gd name="connsiteY49511" fmla="*/ 1631113 h 5973007"/>
              <a:gd name="connsiteX49512" fmla="*/ 3988388 w 6884782"/>
              <a:gd name="connsiteY49512" fmla="*/ 1620300 h 5973007"/>
              <a:gd name="connsiteX49513" fmla="*/ 3474473 w 6884782"/>
              <a:gd name="connsiteY49513" fmla="*/ 1620016 h 5973007"/>
              <a:gd name="connsiteX49514" fmla="*/ 3472339 w 6884782"/>
              <a:gd name="connsiteY49514" fmla="*/ 1627840 h 5973007"/>
              <a:gd name="connsiteX49515" fmla="*/ 3471485 w 6884782"/>
              <a:gd name="connsiteY49515" fmla="*/ 1635523 h 5973007"/>
              <a:gd name="connsiteX49516" fmla="*/ 3471699 w 6884782"/>
              <a:gd name="connsiteY49516" fmla="*/ 1638795 h 5973007"/>
              <a:gd name="connsiteX49517" fmla="*/ 3473620 w 6884782"/>
              <a:gd name="connsiteY49517" fmla="*/ 1638368 h 5973007"/>
              <a:gd name="connsiteX49518" fmla="*/ 3476394 w 6884782"/>
              <a:gd name="connsiteY49518" fmla="*/ 1628837 h 5973007"/>
              <a:gd name="connsiteX49519" fmla="*/ 3477675 w 6884782"/>
              <a:gd name="connsiteY49519" fmla="*/ 1625991 h 5973007"/>
              <a:gd name="connsiteX49520" fmla="*/ 3475540 w 6884782"/>
              <a:gd name="connsiteY49520" fmla="*/ 1623857 h 5973007"/>
              <a:gd name="connsiteX49521" fmla="*/ 1274698 w 6884782"/>
              <a:gd name="connsiteY49521" fmla="*/ 1619928 h 5973007"/>
              <a:gd name="connsiteX49522" fmla="*/ 1274079 w 6884782"/>
              <a:gd name="connsiteY49522" fmla="*/ 1622252 h 5973007"/>
              <a:gd name="connsiteX49523" fmla="*/ 1275008 w 6884782"/>
              <a:gd name="connsiteY49523" fmla="*/ 1623645 h 5973007"/>
              <a:gd name="connsiteX49524" fmla="*/ 1273149 w 6884782"/>
              <a:gd name="connsiteY49524" fmla="*/ 1625969 h 5973007"/>
              <a:gd name="connsiteX49525" fmla="*/ 1274698 w 6884782"/>
              <a:gd name="connsiteY49525" fmla="*/ 1619928 h 5973007"/>
              <a:gd name="connsiteX49526" fmla="*/ 1221831 w 6884782"/>
              <a:gd name="connsiteY49526" fmla="*/ 1619463 h 5973007"/>
              <a:gd name="connsiteX49527" fmla="*/ 1230814 w 6884782"/>
              <a:gd name="connsiteY49527" fmla="*/ 1622252 h 5973007"/>
              <a:gd name="connsiteX49528" fmla="*/ 1228749 w 6884782"/>
              <a:gd name="connsiteY49528" fmla="*/ 1627828 h 5973007"/>
              <a:gd name="connsiteX49529" fmla="*/ 1222657 w 6884782"/>
              <a:gd name="connsiteY49529" fmla="*/ 1630151 h 5973007"/>
              <a:gd name="connsiteX49530" fmla="*/ 1220592 w 6884782"/>
              <a:gd name="connsiteY49530" fmla="*/ 1624730 h 5973007"/>
              <a:gd name="connsiteX49531" fmla="*/ 1221831 w 6884782"/>
              <a:gd name="connsiteY49531" fmla="*/ 1619463 h 5973007"/>
              <a:gd name="connsiteX49532" fmla="*/ 956979 w 6884782"/>
              <a:gd name="connsiteY49532" fmla="*/ 1618843 h 5973007"/>
              <a:gd name="connsiteX49533" fmla="*/ 971125 w 6884782"/>
              <a:gd name="connsiteY49533" fmla="*/ 1640684 h 5973007"/>
              <a:gd name="connsiteX49534" fmla="*/ 956979 w 6884782"/>
              <a:gd name="connsiteY49534" fmla="*/ 1618843 h 5973007"/>
              <a:gd name="connsiteX49535" fmla="*/ 1301751 w 6884782"/>
              <a:gd name="connsiteY49535" fmla="*/ 1618534 h 5973007"/>
              <a:gd name="connsiteX49536" fmla="*/ 1308050 w 6884782"/>
              <a:gd name="connsiteY49536" fmla="*/ 1623645 h 5973007"/>
              <a:gd name="connsiteX49537" fmla="*/ 1298550 w 6884782"/>
              <a:gd name="connsiteY49537" fmla="*/ 1635263 h 5973007"/>
              <a:gd name="connsiteX49538" fmla="*/ 1294627 w 6884782"/>
              <a:gd name="connsiteY49538" fmla="*/ 1634798 h 5973007"/>
              <a:gd name="connsiteX49539" fmla="*/ 1294214 w 6884782"/>
              <a:gd name="connsiteY49539" fmla="*/ 1635108 h 5973007"/>
              <a:gd name="connsiteX49540" fmla="*/ 1293284 w 6884782"/>
              <a:gd name="connsiteY49540" fmla="*/ 1634643 h 5973007"/>
              <a:gd name="connsiteX49541" fmla="*/ 1292562 w 6884782"/>
              <a:gd name="connsiteY49541" fmla="*/ 1634488 h 5973007"/>
              <a:gd name="connsiteX49542" fmla="*/ 1292252 w 6884782"/>
              <a:gd name="connsiteY49542" fmla="*/ 1629996 h 5973007"/>
              <a:gd name="connsiteX49543" fmla="*/ 1301751 w 6884782"/>
              <a:gd name="connsiteY49543" fmla="*/ 1618534 h 5973007"/>
              <a:gd name="connsiteX49544" fmla="*/ 1527366 w 6884782"/>
              <a:gd name="connsiteY49544" fmla="*/ 1618069 h 5973007"/>
              <a:gd name="connsiteX49545" fmla="*/ 1528502 w 6884782"/>
              <a:gd name="connsiteY49545" fmla="*/ 1618379 h 5973007"/>
              <a:gd name="connsiteX49546" fmla="*/ 1529225 w 6884782"/>
              <a:gd name="connsiteY49546" fmla="*/ 1618069 h 5973007"/>
              <a:gd name="connsiteX49547" fmla="*/ 1529741 w 6884782"/>
              <a:gd name="connsiteY49547" fmla="*/ 1618689 h 5973007"/>
              <a:gd name="connsiteX49548" fmla="*/ 1532116 w 6884782"/>
              <a:gd name="connsiteY49548" fmla="*/ 1619463 h 5973007"/>
              <a:gd name="connsiteX49549" fmla="*/ 1538002 w 6884782"/>
              <a:gd name="connsiteY49549" fmla="*/ 1619309 h 5973007"/>
              <a:gd name="connsiteX49550" fmla="*/ 1543681 w 6884782"/>
              <a:gd name="connsiteY49550" fmla="*/ 1622252 h 5973007"/>
              <a:gd name="connsiteX49551" fmla="*/ 1543164 w 6884782"/>
              <a:gd name="connsiteY49551" fmla="*/ 1624575 h 5973007"/>
              <a:gd name="connsiteX49552" fmla="*/ 1545539 w 6884782"/>
              <a:gd name="connsiteY49552" fmla="*/ 1625195 h 5973007"/>
              <a:gd name="connsiteX49553" fmla="*/ 1550805 w 6884782"/>
              <a:gd name="connsiteY49553" fmla="*/ 1635263 h 5973007"/>
              <a:gd name="connsiteX49554" fmla="*/ 1549566 w 6884782"/>
              <a:gd name="connsiteY49554" fmla="*/ 1636657 h 5973007"/>
              <a:gd name="connsiteX49555" fmla="*/ 1549463 w 6884782"/>
              <a:gd name="connsiteY49555" fmla="*/ 1636811 h 5973007"/>
              <a:gd name="connsiteX49556" fmla="*/ 1549876 w 6884782"/>
              <a:gd name="connsiteY49556" fmla="*/ 1636966 h 5973007"/>
              <a:gd name="connsiteX49557" fmla="*/ 1553593 w 6884782"/>
              <a:gd name="connsiteY49557" fmla="*/ 1637896 h 5973007"/>
              <a:gd name="connsiteX49558" fmla="*/ 1553800 w 6884782"/>
              <a:gd name="connsiteY49558" fmla="*/ 1639445 h 5973007"/>
              <a:gd name="connsiteX49559" fmla="*/ 1555968 w 6884782"/>
              <a:gd name="connsiteY49559" fmla="*/ 1636347 h 5973007"/>
              <a:gd name="connsiteX49560" fmla="*/ 1569185 w 6884782"/>
              <a:gd name="connsiteY49560" fmla="*/ 1634178 h 5973007"/>
              <a:gd name="connsiteX49561" fmla="*/ 1562783 w 6884782"/>
              <a:gd name="connsiteY49561" fmla="*/ 1647964 h 5973007"/>
              <a:gd name="connsiteX49562" fmla="*/ 1553387 w 6884782"/>
              <a:gd name="connsiteY49562" fmla="*/ 1642543 h 5973007"/>
              <a:gd name="connsiteX49563" fmla="*/ 1553284 w 6884782"/>
              <a:gd name="connsiteY49563" fmla="*/ 1640374 h 5973007"/>
              <a:gd name="connsiteX49564" fmla="*/ 1551528 w 6884782"/>
              <a:gd name="connsiteY49564" fmla="*/ 1641459 h 5973007"/>
              <a:gd name="connsiteX49565" fmla="*/ 1546159 w 6884782"/>
              <a:gd name="connsiteY49565" fmla="*/ 1641459 h 5973007"/>
              <a:gd name="connsiteX49566" fmla="*/ 1543371 w 6884782"/>
              <a:gd name="connsiteY49566" fmla="*/ 1640374 h 5973007"/>
              <a:gd name="connsiteX49567" fmla="*/ 1542235 w 6884782"/>
              <a:gd name="connsiteY49567" fmla="*/ 1640684 h 5973007"/>
              <a:gd name="connsiteX49568" fmla="*/ 1534801 w 6884782"/>
              <a:gd name="connsiteY49568" fmla="*/ 1631700 h 5973007"/>
              <a:gd name="connsiteX49569" fmla="*/ 1536349 w 6884782"/>
              <a:gd name="connsiteY49569" fmla="*/ 1627053 h 5973007"/>
              <a:gd name="connsiteX49570" fmla="*/ 1537279 w 6884782"/>
              <a:gd name="connsiteY49570" fmla="*/ 1626278 h 5973007"/>
              <a:gd name="connsiteX49571" fmla="*/ 1534491 w 6884782"/>
              <a:gd name="connsiteY49571" fmla="*/ 1627208 h 5973007"/>
              <a:gd name="connsiteX49572" fmla="*/ 1530773 w 6884782"/>
              <a:gd name="connsiteY49572" fmla="*/ 1626124 h 5973007"/>
              <a:gd name="connsiteX49573" fmla="*/ 1526437 w 6884782"/>
              <a:gd name="connsiteY49573" fmla="*/ 1625814 h 5973007"/>
              <a:gd name="connsiteX49574" fmla="*/ 1524991 w 6884782"/>
              <a:gd name="connsiteY49574" fmla="*/ 1624110 h 5973007"/>
              <a:gd name="connsiteX49575" fmla="*/ 1525198 w 6884782"/>
              <a:gd name="connsiteY49575" fmla="*/ 1623181 h 5973007"/>
              <a:gd name="connsiteX49576" fmla="*/ 1527160 w 6884782"/>
              <a:gd name="connsiteY49576" fmla="*/ 1622716 h 5973007"/>
              <a:gd name="connsiteX49577" fmla="*/ 1532116 w 6884782"/>
              <a:gd name="connsiteY49577" fmla="*/ 1623181 h 5973007"/>
              <a:gd name="connsiteX49578" fmla="*/ 1535110 w 6884782"/>
              <a:gd name="connsiteY49578" fmla="*/ 1623800 h 5973007"/>
              <a:gd name="connsiteX49579" fmla="*/ 1529948 w 6884782"/>
              <a:gd name="connsiteY49579" fmla="*/ 1622097 h 5973007"/>
              <a:gd name="connsiteX49580" fmla="*/ 1524578 w 6884782"/>
              <a:gd name="connsiteY49580" fmla="*/ 1618534 h 5973007"/>
              <a:gd name="connsiteX49581" fmla="*/ 1527366 w 6884782"/>
              <a:gd name="connsiteY49581" fmla="*/ 1618069 h 5973007"/>
              <a:gd name="connsiteX49582" fmla="*/ 4637611 w 6884782"/>
              <a:gd name="connsiteY49582" fmla="*/ 1617881 h 5973007"/>
              <a:gd name="connsiteX49583" fmla="*/ 4658526 w 6884782"/>
              <a:gd name="connsiteY49583" fmla="*/ 1631113 h 5973007"/>
              <a:gd name="connsiteX49584" fmla="*/ 4649989 w 6884782"/>
              <a:gd name="connsiteY49584" fmla="*/ 1631966 h 5973007"/>
              <a:gd name="connsiteX49585" fmla="*/ 4642306 w 6884782"/>
              <a:gd name="connsiteY49585" fmla="*/ 1629405 h 5973007"/>
              <a:gd name="connsiteX49586" fmla="*/ 4642946 w 6884782"/>
              <a:gd name="connsiteY49586" fmla="*/ 1633531 h 5973007"/>
              <a:gd name="connsiteX49587" fmla="*/ 4641239 w 6884782"/>
              <a:gd name="connsiteY49587" fmla="*/ 1638226 h 5973007"/>
              <a:gd name="connsiteX49588" fmla="*/ 4639958 w 6884782"/>
              <a:gd name="connsiteY49588" fmla="*/ 1639365 h 5973007"/>
              <a:gd name="connsiteX49589" fmla="*/ 4640812 w 6884782"/>
              <a:gd name="connsiteY49589" fmla="*/ 1633674 h 5973007"/>
              <a:gd name="connsiteX49590" fmla="*/ 4642093 w 6884782"/>
              <a:gd name="connsiteY49590" fmla="*/ 1629263 h 5973007"/>
              <a:gd name="connsiteX49591" fmla="*/ 4641666 w 6884782"/>
              <a:gd name="connsiteY49591" fmla="*/ 1629121 h 5973007"/>
              <a:gd name="connsiteX49592" fmla="*/ 4628861 w 6884782"/>
              <a:gd name="connsiteY49592" fmla="*/ 1618878 h 5973007"/>
              <a:gd name="connsiteX49593" fmla="*/ 4637611 w 6884782"/>
              <a:gd name="connsiteY49593" fmla="*/ 1617881 h 5973007"/>
              <a:gd name="connsiteX49594" fmla="*/ 1056931 w 6884782"/>
              <a:gd name="connsiteY49594" fmla="*/ 1617449 h 5973007"/>
              <a:gd name="connsiteX49595" fmla="*/ 1058480 w 6884782"/>
              <a:gd name="connsiteY49595" fmla="*/ 1621477 h 5973007"/>
              <a:gd name="connsiteX49596" fmla="*/ 1056724 w 6884782"/>
              <a:gd name="connsiteY49596" fmla="*/ 1623336 h 5973007"/>
              <a:gd name="connsiteX49597" fmla="*/ 1054556 w 6884782"/>
              <a:gd name="connsiteY49597" fmla="*/ 1621477 h 5973007"/>
              <a:gd name="connsiteX49598" fmla="*/ 1053936 w 6884782"/>
              <a:gd name="connsiteY49598" fmla="*/ 1618998 h 5973007"/>
              <a:gd name="connsiteX49599" fmla="*/ 1054969 w 6884782"/>
              <a:gd name="connsiteY49599" fmla="*/ 1618069 h 5973007"/>
              <a:gd name="connsiteX49600" fmla="*/ 1056931 w 6884782"/>
              <a:gd name="connsiteY49600" fmla="*/ 1617449 h 5973007"/>
              <a:gd name="connsiteX49601" fmla="*/ 1346048 w 6884782"/>
              <a:gd name="connsiteY49601" fmla="*/ 1617295 h 5973007"/>
              <a:gd name="connsiteX49602" fmla="*/ 1346874 w 6884782"/>
              <a:gd name="connsiteY49602" fmla="*/ 1625195 h 5973007"/>
              <a:gd name="connsiteX49603" fmla="*/ 1344706 w 6884782"/>
              <a:gd name="connsiteY49603" fmla="*/ 1618998 h 5973007"/>
              <a:gd name="connsiteX49604" fmla="*/ 1346048 w 6884782"/>
              <a:gd name="connsiteY49604" fmla="*/ 1617295 h 5973007"/>
              <a:gd name="connsiteX49605" fmla="*/ 1242379 w 6884782"/>
              <a:gd name="connsiteY49605" fmla="*/ 1616985 h 5973007"/>
              <a:gd name="connsiteX49606" fmla="*/ 1242482 w 6884782"/>
              <a:gd name="connsiteY49606" fmla="*/ 1618689 h 5973007"/>
              <a:gd name="connsiteX49607" fmla="*/ 1241966 w 6884782"/>
              <a:gd name="connsiteY49607" fmla="*/ 1621012 h 5973007"/>
              <a:gd name="connsiteX49608" fmla="*/ 1242792 w 6884782"/>
              <a:gd name="connsiteY49608" fmla="*/ 1622406 h 5973007"/>
              <a:gd name="connsiteX49609" fmla="*/ 1239385 w 6884782"/>
              <a:gd name="connsiteY49609" fmla="*/ 1628447 h 5973007"/>
              <a:gd name="connsiteX49610" fmla="*/ 1239385 w 6884782"/>
              <a:gd name="connsiteY49610" fmla="*/ 1626588 h 5973007"/>
              <a:gd name="connsiteX49611" fmla="*/ 1239901 w 6884782"/>
              <a:gd name="connsiteY49611" fmla="*/ 1624420 h 5973007"/>
              <a:gd name="connsiteX49612" fmla="*/ 1240417 w 6884782"/>
              <a:gd name="connsiteY49612" fmla="*/ 1622097 h 5973007"/>
              <a:gd name="connsiteX49613" fmla="*/ 1240314 w 6884782"/>
              <a:gd name="connsiteY49613" fmla="*/ 1620238 h 5973007"/>
              <a:gd name="connsiteX49614" fmla="*/ 1242379 w 6884782"/>
              <a:gd name="connsiteY49614" fmla="*/ 1616985 h 5973007"/>
              <a:gd name="connsiteX49615" fmla="*/ 3911770 w 6884782"/>
              <a:gd name="connsiteY49615" fmla="*/ 1616744 h 5973007"/>
              <a:gd name="connsiteX49616" fmla="*/ 3914972 w 6884782"/>
              <a:gd name="connsiteY49616" fmla="*/ 1616886 h 5973007"/>
              <a:gd name="connsiteX49617" fmla="*/ 3918173 w 6884782"/>
              <a:gd name="connsiteY49617" fmla="*/ 1619304 h 5973007"/>
              <a:gd name="connsiteX49618" fmla="*/ 3920308 w 6884782"/>
              <a:gd name="connsiteY49618" fmla="*/ 1624710 h 5973007"/>
              <a:gd name="connsiteX49619" fmla="*/ 3919667 w 6884782"/>
              <a:gd name="connsiteY49619" fmla="*/ 1626560 h 5973007"/>
              <a:gd name="connsiteX49620" fmla="*/ 3922441 w 6884782"/>
              <a:gd name="connsiteY49620" fmla="*/ 1626418 h 5973007"/>
              <a:gd name="connsiteX49621" fmla="*/ 3922868 w 6884782"/>
              <a:gd name="connsiteY49621" fmla="*/ 1628552 h 5973007"/>
              <a:gd name="connsiteX49622" fmla="*/ 3920308 w 6884782"/>
              <a:gd name="connsiteY49622" fmla="*/ 1627556 h 5973007"/>
              <a:gd name="connsiteX49623" fmla="*/ 3919453 w 6884782"/>
              <a:gd name="connsiteY49623" fmla="*/ 1626845 h 5973007"/>
              <a:gd name="connsiteX49624" fmla="*/ 3918813 w 6884782"/>
              <a:gd name="connsiteY49624" fmla="*/ 1629263 h 5973007"/>
              <a:gd name="connsiteX49625" fmla="*/ 3914545 w 6884782"/>
              <a:gd name="connsiteY49625" fmla="*/ 1633816 h 5973007"/>
              <a:gd name="connsiteX49626" fmla="*/ 3904301 w 6884782"/>
              <a:gd name="connsiteY49626" fmla="*/ 1627129 h 5973007"/>
              <a:gd name="connsiteX49627" fmla="*/ 3911770 w 6884782"/>
              <a:gd name="connsiteY49627" fmla="*/ 1616744 h 5973007"/>
              <a:gd name="connsiteX49628" fmla="*/ 4846976 w 6884782"/>
              <a:gd name="connsiteY49628" fmla="*/ 1616601 h 5973007"/>
              <a:gd name="connsiteX49629" fmla="*/ 4828408 w 6884782"/>
              <a:gd name="connsiteY49629" fmla="*/ 1620585 h 5973007"/>
              <a:gd name="connsiteX49630" fmla="*/ 4846976 w 6884782"/>
              <a:gd name="connsiteY49630" fmla="*/ 1616601 h 5973007"/>
              <a:gd name="connsiteX49631" fmla="*/ 5374976 w 6884782"/>
              <a:gd name="connsiteY49631" fmla="*/ 1616174 h 5973007"/>
              <a:gd name="connsiteX49632" fmla="*/ 5378605 w 6884782"/>
              <a:gd name="connsiteY49632" fmla="*/ 1617313 h 5973007"/>
              <a:gd name="connsiteX49633" fmla="*/ 5382446 w 6884782"/>
              <a:gd name="connsiteY49633" fmla="*/ 1624142 h 5973007"/>
              <a:gd name="connsiteX49634" fmla="*/ 5382019 w 6884782"/>
              <a:gd name="connsiteY49634" fmla="*/ 1629263 h 5973007"/>
              <a:gd name="connsiteX49635" fmla="*/ 5388209 w 6884782"/>
              <a:gd name="connsiteY49635" fmla="*/ 1629832 h 5973007"/>
              <a:gd name="connsiteX49636" fmla="*/ 5387355 w 6884782"/>
              <a:gd name="connsiteY49636" fmla="*/ 1636234 h 5973007"/>
              <a:gd name="connsiteX49637" fmla="*/ 5387141 w 6884782"/>
              <a:gd name="connsiteY49637" fmla="*/ 1636519 h 5973007"/>
              <a:gd name="connsiteX49638" fmla="*/ 5393971 w 6884782"/>
              <a:gd name="connsiteY49638" fmla="*/ 1635950 h 5973007"/>
              <a:gd name="connsiteX49639" fmla="*/ 5393971 w 6884782"/>
              <a:gd name="connsiteY49639" fmla="*/ 1641783 h 5973007"/>
              <a:gd name="connsiteX49640" fmla="*/ 5393544 w 6884782"/>
              <a:gd name="connsiteY49640" fmla="*/ 1645197 h 5973007"/>
              <a:gd name="connsiteX49641" fmla="*/ 5394824 w 6884782"/>
              <a:gd name="connsiteY49641" fmla="*/ 1645197 h 5973007"/>
              <a:gd name="connsiteX49642" fmla="*/ 5396745 w 6884782"/>
              <a:gd name="connsiteY49642" fmla="*/ 1651884 h 5973007"/>
              <a:gd name="connsiteX49643" fmla="*/ 5395892 w 6884782"/>
              <a:gd name="connsiteY49643" fmla="*/ 1653734 h 5973007"/>
              <a:gd name="connsiteX49644" fmla="*/ 5401654 w 6884782"/>
              <a:gd name="connsiteY49644" fmla="*/ 1653307 h 5973007"/>
              <a:gd name="connsiteX49645" fmla="*/ 5406989 w 6884782"/>
              <a:gd name="connsiteY49645" fmla="*/ 1655441 h 5973007"/>
              <a:gd name="connsiteX49646" fmla="*/ 5408270 w 6884782"/>
              <a:gd name="connsiteY49646" fmla="*/ 1658002 h 5973007"/>
              <a:gd name="connsiteX49647" fmla="*/ 5409764 w 6884782"/>
              <a:gd name="connsiteY49647" fmla="*/ 1655583 h 5973007"/>
              <a:gd name="connsiteX49648" fmla="*/ 5416593 w 6884782"/>
              <a:gd name="connsiteY49648" fmla="*/ 1652880 h 5973007"/>
              <a:gd name="connsiteX49649" fmla="*/ 5423850 w 6884782"/>
              <a:gd name="connsiteY49649" fmla="*/ 1653449 h 5973007"/>
              <a:gd name="connsiteX49650" fmla="*/ 5419794 w 6884782"/>
              <a:gd name="connsiteY49650" fmla="*/ 1660420 h 5973007"/>
              <a:gd name="connsiteX49651" fmla="*/ 5409123 w 6884782"/>
              <a:gd name="connsiteY49651" fmla="*/ 1661416 h 5973007"/>
              <a:gd name="connsiteX49652" fmla="*/ 5408056 w 6884782"/>
              <a:gd name="connsiteY49652" fmla="*/ 1659566 h 5973007"/>
              <a:gd name="connsiteX49653" fmla="*/ 5406989 w 6884782"/>
              <a:gd name="connsiteY49653" fmla="*/ 1664546 h 5973007"/>
              <a:gd name="connsiteX49654" fmla="*/ 5391623 w 6884782"/>
              <a:gd name="connsiteY49654" fmla="*/ 1674789 h 5973007"/>
              <a:gd name="connsiteX49655" fmla="*/ 5389916 w 6884782"/>
              <a:gd name="connsiteY49655" fmla="*/ 1662412 h 5973007"/>
              <a:gd name="connsiteX49656" fmla="*/ 5391196 w 6884782"/>
              <a:gd name="connsiteY49656" fmla="*/ 1656721 h 5973007"/>
              <a:gd name="connsiteX49657" fmla="*/ 5390769 w 6884782"/>
              <a:gd name="connsiteY49657" fmla="*/ 1656863 h 5973007"/>
              <a:gd name="connsiteX49658" fmla="*/ 5386288 w 6884782"/>
              <a:gd name="connsiteY49658" fmla="*/ 1655156 h 5973007"/>
              <a:gd name="connsiteX49659" fmla="*/ 5382233 w 6884782"/>
              <a:gd name="connsiteY49659" fmla="*/ 1649607 h 5973007"/>
              <a:gd name="connsiteX49660" fmla="*/ 5362598 w 6884782"/>
              <a:gd name="connsiteY49660" fmla="*/ 1650319 h 5973007"/>
              <a:gd name="connsiteX49661" fmla="*/ 5335280 w 6884782"/>
              <a:gd name="connsiteY49661" fmla="*/ 1651030 h 5973007"/>
              <a:gd name="connsiteX49662" fmla="*/ 5343177 w 6884782"/>
              <a:gd name="connsiteY49662" fmla="*/ 1645767 h 5973007"/>
              <a:gd name="connsiteX49663" fmla="*/ 5342323 w 6884782"/>
              <a:gd name="connsiteY49663" fmla="*/ 1644913 h 5973007"/>
              <a:gd name="connsiteX49664" fmla="*/ 5330158 w 6884782"/>
              <a:gd name="connsiteY49664" fmla="*/ 1643775 h 5973007"/>
              <a:gd name="connsiteX49665" fmla="*/ 5329518 w 6884782"/>
              <a:gd name="connsiteY49665" fmla="*/ 1632394 h 5973007"/>
              <a:gd name="connsiteX49666" fmla="*/ 5331652 w 6884782"/>
              <a:gd name="connsiteY49666" fmla="*/ 1628267 h 5973007"/>
              <a:gd name="connsiteX49667" fmla="*/ 5352354 w 6884782"/>
              <a:gd name="connsiteY49667" fmla="*/ 1640930 h 5973007"/>
              <a:gd name="connsiteX49668" fmla="*/ 5352140 w 6884782"/>
              <a:gd name="connsiteY49668" fmla="*/ 1641641 h 5973007"/>
              <a:gd name="connsiteX49669" fmla="*/ 5362384 w 6884782"/>
              <a:gd name="connsiteY49669" fmla="*/ 1638938 h 5973007"/>
              <a:gd name="connsiteX49670" fmla="*/ 5369427 w 6884782"/>
              <a:gd name="connsiteY49670" fmla="*/ 1638084 h 5973007"/>
              <a:gd name="connsiteX49671" fmla="*/ 5368787 w 6884782"/>
              <a:gd name="connsiteY49671" fmla="*/ 1637515 h 5973007"/>
              <a:gd name="connsiteX49672" fmla="*/ 5374976 w 6884782"/>
              <a:gd name="connsiteY49672" fmla="*/ 1616174 h 5973007"/>
              <a:gd name="connsiteX49673" fmla="*/ 1096994 w 6884782"/>
              <a:gd name="connsiteY49673" fmla="*/ 1615901 h 5973007"/>
              <a:gd name="connsiteX49674" fmla="*/ 1097098 w 6884782"/>
              <a:gd name="connsiteY49674" fmla="*/ 1616675 h 5973007"/>
              <a:gd name="connsiteX49675" fmla="*/ 1097201 w 6884782"/>
              <a:gd name="connsiteY49675" fmla="*/ 1616520 h 5973007"/>
              <a:gd name="connsiteX49676" fmla="*/ 4771638 w 6884782"/>
              <a:gd name="connsiteY49676" fmla="*/ 1615890 h 5973007"/>
              <a:gd name="connsiteX49677" fmla="*/ 4781669 w 6884782"/>
              <a:gd name="connsiteY49677" fmla="*/ 1625280 h 5973007"/>
              <a:gd name="connsiteX49678" fmla="*/ 4781669 w 6884782"/>
              <a:gd name="connsiteY49678" fmla="*/ 1627698 h 5973007"/>
              <a:gd name="connsiteX49679" fmla="*/ 4779108 w 6884782"/>
              <a:gd name="connsiteY49679" fmla="*/ 1629548 h 5973007"/>
              <a:gd name="connsiteX49680" fmla="*/ 4774413 w 6884782"/>
              <a:gd name="connsiteY49680" fmla="*/ 1626418 h 5973007"/>
              <a:gd name="connsiteX49681" fmla="*/ 4773133 w 6884782"/>
              <a:gd name="connsiteY49681" fmla="*/ 1619731 h 5973007"/>
              <a:gd name="connsiteX49682" fmla="*/ 4770998 w 6884782"/>
              <a:gd name="connsiteY49682" fmla="*/ 1616886 h 5973007"/>
              <a:gd name="connsiteX49683" fmla="*/ 4771638 w 6884782"/>
              <a:gd name="connsiteY49683" fmla="*/ 1615890 h 5973007"/>
              <a:gd name="connsiteX49684" fmla="*/ 3974516 w 6884782"/>
              <a:gd name="connsiteY49684" fmla="*/ 1615463 h 5973007"/>
              <a:gd name="connsiteX49685" fmla="*/ 3978784 w 6884782"/>
              <a:gd name="connsiteY49685" fmla="*/ 1616459 h 5973007"/>
              <a:gd name="connsiteX49686" fmla="*/ 3970247 w 6884782"/>
              <a:gd name="connsiteY49686" fmla="*/ 1617455 h 5973007"/>
              <a:gd name="connsiteX49687" fmla="*/ 3974516 w 6884782"/>
              <a:gd name="connsiteY49687" fmla="*/ 1615463 h 5973007"/>
              <a:gd name="connsiteX49688" fmla="*/ 4968838 w 6884782"/>
              <a:gd name="connsiteY49688" fmla="*/ 1615321 h 5973007"/>
              <a:gd name="connsiteX49689" fmla="*/ 4975454 w 6884782"/>
              <a:gd name="connsiteY49689" fmla="*/ 1619873 h 5973007"/>
              <a:gd name="connsiteX49690" fmla="*/ 4974814 w 6884782"/>
              <a:gd name="connsiteY49690" fmla="*/ 1623715 h 5973007"/>
              <a:gd name="connsiteX49691" fmla="*/ 4969906 w 6884782"/>
              <a:gd name="connsiteY49691" fmla="*/ 1627414 h 5973007"/>
              <a:gd name="connsiteX49692" fmla="*/ 4966064 w 6884782"/>
              <a:gd name="connsiteY49692" fmla="*/ 1617881 h 5973007"/>
              <a:gd name="connsiteX49693" fmla="*/ 4968838 w 6884782"/>
              <a:gd name="connsiteY49693" fmla="*/ 1615321 h 5973007"/>
              <a:gd name="connsiteX49694" fmla="*/ 4848043 w 6884782"/>
              <a:gd name="connsiteY49694" fmla="*/ 1615321 h 5973007"/>
              <a:gd name="connsiteX49695" fmla="*/ 4849750 w 6884782"/>
              <a:gd name="connsiteY49695" fmla="*/ 1616744 h 5973007"/>
              <a:gd name="connsiteX49696" fmla="*/ 4846976 w 6884782"/>
              <a:gd name="connsiteY49696" fmla="*/ 1616744 h 5973007"/>
              <a:gd name="connsiteX49697" fmla="*/ 4848043 w 6884782"/>
              <a:gd name="connsiteY49697" fmla="*/ 1615321 h 5973007"/>
              <a:gd name="connsiteX49698" fmla="*/ 1884530 w 6884782"/>
              <a:gd name="connsiteY49698" fmla="*/ 1615281 h 5973007"/>
              <a:gd name="connsiteX49699" fmla="*/ 1888350 w 6884782"/>
              <a:gd name="connsiteY49699" fmla="*/ 1622097 h 5973007"/>
              <a:gd name="connsiteX49700" fmla="*/ 1888143 w 6884782"/>
              <a:gd name="connsiteY49700" fmla="*/ 1625195 h 5973007"/>
              <a:gd name="connsiteX49701" fmla="*/ 1869351 w 6884782"/>
              <a:gd name="connsiteY49701" fmla="*/ 1623645 h 5973007"/>
              <a:gd name="connsiteX49702" fmla="*/ 1869454 w 6884782"/>
              <a:gd name="connsiteY49702" fmla="*/ 1622252 h 5973007"/>
              <a:gd name="connsiteX49703" fmla="*/ 1868215 w 6884782"/>
              <a:gd name="connsiteY49703" fmla="*/ 1623800 h 5973007"/>
              <a:gd name="connsiteX49704" fmla="*/ 1865530 w 6884782"/>
              <a:gd name="connsiteY49704" fmla="*/ 1618379 h 5973007"/>
              <a:gd name="connsiteX49705" fmla="*/ 1869454 w 6884782"/>
              <a:gd name="connsiteY49705" fmla="*/ 1616985 h 5973007"/>
              <a:gd name="connsiteX49706" fmla="*/ 1870383 w 6884782"/>
              <a:gd name="connsiteY49706" fmla="*/ 1618998 h 5973007"/>
              <a:gd name="connsiteX49707" fmla="*/ 1871313 w 6884782"/>
              <a:gd name="connsiteY49707" fmla="*/ 1617140 h 5973007"/>
              <a:gd name="connsiteX49708" fmla="*/ 1884530 w 6884782"/>
              <a:gd name="connsiteY49708" fmla="*/ 1615281 h 5973007"/>
              <a:gd name="connsiteX49709" fmla="*/ 4853592 w 6884782"/>
              <a:gd name="connsiteY49709" fmla="*/ 1615179 h 5973007"/>
              <a:gd name="connsiteX49710" fmla="*/ 4857006 w 6884782"/>
              <a:gd name="connsiteY49710" fmla="*/ 1615179 h 5973007"/>
              <a:gd name="connsiteX49711" fmla="*/ 4867677 w 6884782"/>
              <a:gd name="connsiteY49711" fmla="*/ 1620443 h 5973007"/>
              <a:gd name="connsiteX49712" fmla="*/ 4860208 w 6884782"/>
              <a:gd name="connsiteY49712" fmla="*/ 1629263 h 5973007"/>
              <a:gd name="connsiteX49713" fmla="*/ 4858714 w 6884782"/>
              <a:gd name="connsiteY49713" fmla="*/ 1628979 h 5973007"/>
              <a:gd name="connsiteX49714" fmla="*/ 4847616 w 6884782"/>
              <a:gd name="connsiteY49714" fmla="*/ 1621012 h 5973007"/>
              <a:gd name="connsiteX49715" fmla="*/ 4853592 w 6884782"/>
              <a:gd name="connsiteY49715" fmla="*/ 1615179 h 5973007"/>
              <a:gd name="connsiteX49716" fmla="*/ 5734375 w 6884782"/>
              <a:gd name="connsiteY49716" fmla="*/ 1614894 h 5973007"/>
              <a:gd name="connsiteX49717" fmla="*/ 5737576 w 6884782"/>
              <a:gd name="connsiteY49717" fmla="*/ 1620727 h 5973007"/>
              <a:gd name="connsiteX49718" fmla="*/ 5739284 w 6884782"/>
              <a:gd name="connsiteY49718" fmla="*/ 1626418 h 5973007"/>
              <a:gd name="connsiteX49719" fmla="*/ 5724131 w 6884782"/>
              <a:gd name="connsiteY49719" fmla="*/ 1625991 h 5973007"/>
              <a:gd name="connsiteX49720" fmla="*/ 5725198 w 6884782"/>
              <a:gd name="connsiteY49720" fmla="*/ 1620016 h 5973007"/>
              <a:gd name="connsiteX49721" fmla="*/ 5734375 w 6884782"/>
              <a:gd name="connsiteY49721" fmla="*/ 1614894 h 5973007"/>
              <a:gd name="connsiteX49722" fmla="*/ 5247565 w 6884782"/>
              <a:gd name="connsiteY49722" fmla="*/ 1614609 h 5973007"/>
              <a:gd name="connsiteX49723" fmla="*/ 5249699 w 6884782"/>
              <a:gd name="connsiteY49723" fmla="*/ 1615321 h 5973007"/>
              <a:gd name="connsiteX49724" fmla="*/ 5252687 w 6884782"/>
              <a:gd name="connsiteY49724" fmla="*/ 1616744 h 5973007"/>
              <a:gd name="connsiteX49725" fmla="*/ 5255248 w 6884782"/>
              <a:gd name="connsiteY49725" fmla="*/ 1616459 h 5973007"/>
              <a:gd name="connsiteX49726" fmla="*/ 5259730 w 6884782"/>
              <a:gd name="connsiteY49726" fmla="*/ 1616317 h 5973007"/>
              <a:gd name="connsiteX49727" fmla="*/ 5260797 w 6884782"/>
              <a:gd name="connsiteY49727" fmla="*/ 1619589 h 5973007"/>
              <a:gd name="connsiteX49728" fmla="*/ 5263998 w 6884782"/>
              <a:gd name="connsiteY49728" fmla="*/ 1618736 h 5973007"/>
              <a:gd name="connsiteX49729" fmla="*/ 5277016 w 6884782"/>
              <a:gd name="connsiteY49729" fmla="*/ 1627414 h 5973007"/>
              <a:gd name="connsiteX49730" fmla="*/ 5277657 w 6884782"/>
              <a:gd name="connsiteY49730" fmla="*/ 1634527 h 5973007"/>
              <a:gd name="connsiteX49731" fmla="*/ 5277230 w 6884782"/>
              <a:gd name="connsiteY49731" fmla="*/ 1635239 h 5973007"/>
              <a:gd name="connsiteX49732" fmla="*/ 5281925 w 6884782"/>
              <a:gd name="connsiteY49732" fmla="*/ 1636376 h 5973007"/>
              <a:gd name="connsiteX49733" fmla="*/ 5281072 w 6884782"/>
              <a:gd name="connsiteY49733" fmla="*/ 1638653 h 5973007"/>
              <a:gd name="connsiteX49734" fmla="*/ 5283419 w 6884782"/>
              <a:gd name="connsiteY49734" fmla="*/ 1638084 h 5973007"/>
              <a:gd name="connsiteX49735" fmla="*/ 5294517 w 6884782"/>
              <a:gd name="connsiteY49735" fmla="*/ 1641783 h 5973007"/>
              <a:gd name="connsiteX49736" fmla="*/ 5296865 w 6884782"/>
              <a:gd name="connsiteY49736" fmla="*/ 1643205 h 5973007"/>
              <a:gd name="connsiteX49737" fmla="*/ 5299212 w 6884782"/>
              <a:gd name="connsiteY49737" fmla="*/ 1644486 h 5973007"/>
              <a:gd name="connsiteX49738" fmla="*/ 5300706 w 6884782"/>
              <a:gd name="connsiteY49738" fmla="*/ 1649466 h 5973007"/>
              <a:gd name="connsiteX49739" fmla="*/ 5288968 w 6884782"/>
              <a:gd name="connsiteY49739" fmla="*/ 1645340 h 5973007"/>
              <a:gd name="connsiteX49740" fmla="*/ 5280431 w 6884782"/>
              <a:gd name="connsiteY49740" fmla="*/ 1641641 h 5973007"/>
              <a:gd name="connsiteX49741" fmla="*/ 5280004 w 6884782"/>
              <a:gd name="connsiteY49741" fmla="*/ 1643917 h 5973007"/>
              <a:gd name="connsiteX49742" fmla="*/ 5268907 w 6884782"/>
              <a:gd name="connsiteY49742" fmla="*/ 1641356 h 5973007"/>
              <a:gd name="connsiteX49743" fmla="*/ 5267200 w 6884782"/>
              <a:gd name="connsiteY49743" fmla="*/ 1640360 h 5973007"/>
              <a:gd name="connsiteX49744" fmla="*/ 5263785 w 6884782"/>
              <a:gd name="connsiteY49744" fmla="*/ 1640218 h 5973007"/>
              <a:gd name="connsiteX49745" fmla="*/ 5257595 w 6884782"/>
              <a:gd name="connsiteY49745" fmla="*/ 1635096 h 5973007"/>
              <a:gd name="connsiteX49746" fmla="*/ 5256955 w 6884782"/>
              <a:gd name="connsiteY49746" fmla="*/ 1622577 h 5973007"/>
              <a:gd name="connsiteX49747" fmla="*/ 5256315 w 6884782"/>
              <a:gd name="connsiteY49747" fmla="*/ 1623715 h 5973007"/>
              <a:gd name="connsiteX49748" fmla="*/ 5250126 w 6884782"/>
              <a:gd name="connsiteY49748" fmla="*/ 1625280 h 5973007"/>
              <a:gd name="connsiteX49749" fmla="*/ 5251833 w 6884782"/>
              <a:gd name="connsiteY49749" fmla="*/ 1627414 h 5973007"/>
              <a:gd name="connsiteX49750" fmla="*/ 5240522 w 6884782"/>
              <a:gd name="connsiteY49750" fmla="*/ 1637088 h 5973007"/>
              <a:gd name="connsiteX49751" fmla="*/ 5239028 w 6884782"/>
              <a:gd name="connsiteY49751" fmla="*/ 1628694 h 5973007"/>
              <a:gd name="connsiteX49752" fmla="*/ 5239455 w 6884782"/>
              <a:gd name="connsiteY49752" fmla="*/ 1627698 h 5973007"/>
              <a:gd name="connsiteX49753" fmla="*/ 5240095 w 6884782"/>
              <a:gd name="connsiteY49753" fmla="*/ 1626987 h 5973007"/>
              <a:gd name="connsiteX49754" fmla="*/ 5236894 w 6884782"/>
              <a:gd name="connsiteY49754" fmla="*/ 1625991 h 5973007"/>
              <a:gd name="connsiteX49755" fmla="*/ 5239455 w 6884782"/>
              <a:gd name="connsiteY49755" fmla="*/ 1623288 h 5973007"/>
              <a:gd name="connsiteX49756" fmla="*/ 5240948 w 6884782"/>
              <a:gd name="connsiteY49756" fmla="*/ 1622861 h 5973007"/>
              <a:gd name="connsiteX49757" fmla="*/ 5241376 w 6884782"/>
              <a:gd name="connsiteY49757" fmla="*/ 1621865 h 5973007"/>
              <a:gd name="connsiteX49758" fmla="*/ 5242443 w 6884782"/>
              <a:gd name="connsiteY49758" fmla="*/ 1622435 h 5973007"/>
              <a:gd name="connsiteX49759" fmla="*/ 5245644 w 6884782"/>
              <a:gd name="connsiteY49759" fmla="*/ 1621438 h 5973007"/>
              <a:gd name="connsiteX49760" fmla="*/ 5247778 w 6884782"/>
              <a:gd name="connsiteY49760" fmla="*/ 1620016 h 5973007"/>
              <a:gd name="connsiteX49761" fmla="*/ 5247138 w 6884782"/>
              <a:gd name="connsiteY49761" fmla="*/ 1619589 h 5973007"/>
              <a:gd name="connsiteX49762" fmla="*/ 5246284 w 6884782"/>
              <a:gd name="connsiteY49762" fmla="*/ 1615890 h 5973007"/>
              <a:gd name="connsiteX49763" fmla="*/ 5247565 w 6884782"/>
              <a:gd name="connsiteY49763" fmla="*/ 1614609 h 5973007"/>
              <a:gd name="connsiteX49764" fmla="*/ 1426175 w 6884782"/>
              <a:gd name="connsiteY49764" fmla="*/ 1614197 h 5973007"/>
              <a:gd name="connsiteX49765" fmla="*/ 1427311 w 6884782"/>
              <a:gd name="connsiteY49765" fmla="*/ 1618379 h 5973007"/>
              <a:gd name="connsiteX49766" fmla="*/ 1421425 w 6884782"/>
              <a:gd name="connsiteY49766" fmla="*/ 1623491 h 5973007"/>
              <a:gd name="connsiteX49767" fmla="*/ 1419876 w 6884782"/>
              <a:gd name="connsiteY49767" fmla="*/ 1620238 h 5973007"/>
              <a:gd name="connsiteX49768" fmla="*/ 1424007 w 6884782"/>
              <a:gd name="connsiteY49768" fmla="*/ 1614352 h 5973007"/>
              <a:gd name="connsiteX49769" fmla="*/ 1426175 w 6884782"/>
              <a:gd name="connsiteY49769" fmla="*/ 1614197 h 5973007"/>
              <a:gd name="connsiteX49770" fmla="*/ 3925429 w 6884782"/>
              <a:gd name="connsiteY49770" fmla="*/ 1614041 h 5973007"/>
              <a:gd name="connsiteX49771" fmla="*/ 3929058 w 6884782"/>
              <a:gd name="connsiteY49771" fmla="*/ 1615036 h 5973007"/>
              <a:gd name="connsiteX49772" fmla="*/ 3928204 w 6884782"/>
              <a:gd name="connsiteY49772" fmla="*/ 1617455 h 5973007"/>
              <a:gd name="connsiteX49773" fmla="*/ 3922228 w 6884782"/>
              <a:gd name="connsiteY49773" fmla="*/ 1616744 h 5973007"/>
              <a:gd name="connsiteX49774" fmla="*/ 3923295 w 6884782"/>
              <a:gd name="connsiteY49774" fmla="*/ 1615463 h 5973007"/>
              <a:gd name="connsiteX49775" fmla="*/ 3922868 w 6884782"/>
              <a:gd name="connsiteY49775" fmla="*/ 1615179 h 5973007"/>
              <a:gd name="connsiteX49776" fmla="*/ 3925429 w 6884782"/>
              <a:gd name="connsiteY49776" fmla="*/ 1614041 h 5973007"/>
              <a:gd name="connsiteX49777" fmla="*/ 5638763 w 6884782"/>
              <a:gd name="connsiteY49777" fmla="*/ 1613899 h 5973007"/>
              <a:gd name="connsiteX49778" fmla="*/ 5642818 w 6884782"/>
              <a:gd name="connsiteY49778" fmla="*/ 1614609 h 5973007"/>
              <a:gd name="connsiteX49779" fmla="*/ 5644739 w 6884782"/>
              <a:gd name="connsiteY49779" fmla="*/ 1620443 h 5973007"/>
              <a:gd name="connsiteX49780" fmla="*/ 5639404 w 6884782"/>
              <a:gd name="connsiteY49780" fmla="*/ 1626133 h 5973007"/>
              <a:gd name="connsiteX49781" fmla="*/ 5639617 w 6884782"/>
              <a:gd name="connsiteY49781" fmla="*/ 1627129 h 5973007"/>
              <a:gd name="connsiteX49782" fmla="*/ 5628092 w 6884782"/>
              <a:gd name="connsiteY49782" fmla="*/ 1630402 h 5973007"/>
              <a:gd name="connsiteX49783" fmla="*/ 5625745 w 6884782"/>
              <a:gd name="connsiteY49783" fmla="*/ 1628837 h 5973007"/>
              <a:gd name="connsiteX49784" fmla="*/ 5625318 w 6884782"/>
              <a:gd name="connsiteY49784" fmla="*/ 1628837 h 5973007"/>
              <a:gd name="connsiteX49785" fmla="*/ 5626171 w 6884782"/>
              <a:gd name="connsiteY49785" fmla="*/ 1617881 h 5973007"/>
              <a:gd name="connsiteX49786" fmla="*/ 5629800 w 6884782"/>
              <a:gd name="connsiteY49786" fmla="*/ 1615179 h 5973007"/>
              <a:gd name="connsiteX49787" fmla="*/ 5634921 w 6884782"/>
              <a:gd name="connsiteY49787" fmla="*/ 1615036 h 5973007"/>
              <a:gd name="connsiteX49788" fmla="*/ 5638763 w 6884782"/>
              <a:gd name="connsiteY49788" fmla="*/ 1613899 h 5973007"/>
              <a:gd name="connsiteX49789" fmla="*/ 5809712 w 6884782"/>
              <a:gd name="connsiteY49789" fmla="*/ 1613614 h 5973007"/>
              <a:gd name="connsiteX49790" fmla="*/ 5810780 w 6884782"/>
              <a:gd name="connsiteY49790" fmla="*/ 1614325 h 5973007"/>
              <a:gd name="connsiteX49791" fmla="*/ 5810139 w 6884782"/>
              <a:gd name="connsiteY49791" fmla="*/ 1617171 h 5973007"/>
              <a:gd name="connsiteX49792" fmla="*/ 5805657 w 6884782"/>
              <a:gd name="connsiteY49792" fmla="*/ 1620016 h 5973007"/>
              <a:gd name="connsiteX49793" fmla="*/ 5794346 w 6884782"/>
              <a:gd name="connsiteY49793" fmla="*/ 1623146 h 5973007"/>
              <a:gd name="connsiteX49794" fmla="*/ 5791998 w 6884782"/>
              <a:gd name="connsiteY49794" fmla="*/ 1624568 h 5973007"/>
              <a:gd name="connsiteX49795" fmla="*/ 5809712 w 6884782"/>
              <a:gd name="connsiteY49795" fmla="*/ 1613614 h 5973007"/>
              <a:gd name="connsiteX49796" fmla="*/ 4853165 w 6884782"/>
              <a:gd name="connsiteY49796" fmla="*/ 1613329 h 5973007"/>
              <a:gd name="connsiteX49797" fmla="*/ 4855086 w 6884782"/>
              <a:gd name="connsiteY49797" fmla="*/ 1613471 h 5973007"/>
              <a:gd name="connsiteX49798" fmla="*/ 4855299 w 6884782"/>
              <a:gd name="connsiteY49798" fmla="*/ 1614467 h 5973007"/>
              <a:gd name="connsiteX49799" fmla="*/ 4852738 w 6884782"/>
              <a:gd name="connsiteY49799" fmla="*/ 1614467 h 5973007"/>
              <a:gd name="connsiteX49800" fmla="*/ 4853165 w 6884782"/>
              <a:gd name="connsiteY49800" fmla="*/ 1613329 h 5973007"/>
              <a:gd name="connsiteX49801" fmla="*/ 1217701 w 6884782"/>
              <a:gd name="connsiteY49801" fmla="*/ 1613267 h 5973007"/>
              <a:gd name="connsiteX49802" fmla="*/ 1218424 w 6884782"/>
              <a:gd name="connsiteY49802" fmla="*/ 1613577 h 5973007"/>
              <a:gd name="connsiteX49803" fmla="*/ 1211712 w 6884782"/>
              <a:gd name="connsiteY49803" fmla="*/ 1622097 h 5973007"/>
              <a:gd name="connsiteX49804" fmla="*/ 1209957 w 6884782"/>
              <a:gd name="connsiteY49804" fmla="*/ 1622406 h 5973007"/>
              <a:gd name="connsiteX49805" fmla="*/ 1208614 w 6884782"/>
              <a:gd name="connsiteY49805" fmla="*/ 1620702 h 5973007"/>
              <a:gd name="connsiteX49806" fmla="*/ 1208304 w 6884782"/>
              <a:gd name="connsiteY49806" fmla="*/ 1618843 h 5973007"/>
              <a:gd name="connsiteX49807" fmla="*/ 1210886 w 6884782"/>
              <a:gd name="connsiteY49807" fmla="*/ 1616830 h 5973007"/>
              <a:gd name="connsiteX49808" fmla="*/ 1215636 w 6884782"/>
              <a:gd name="connsiteY49808" fmla="*/ 1615126 h 5973007"/>
              <a:gd name="connsiteX49809" fmla="*/ 1217701 w 6884782"/>
              <a:gd name="connsiteY49809" fmla="*/ 1613267 h 5973007"/>
              <a:gd name="connsiteX49810" fmla="*/ 5315219 w 6884782"/>
              <a:gd name="connsiteY49810" fmla="*/ 1613187 h 5973007"/>
              <a:gd name="connsiteX49811" fmla="*/ 5324183 w 6884782"/>
              <a:gd name="connsiteY49811" fmla="*/ 1622861 h 5973007"/>
              <a:gd name="connsiteX49812" fmla="*/ 5320981 w 6884782"/>
              <a:gd name="connsiteY49812" fmla="*/ 1628125 h 5973007"/>
              <a:gd name="connsiteX49813" fmla="*/ 5322262 w 6884782"/>
              <a:gd name="connsiteY49813" fmla="*/ 1628267 h 5973007"/>
              <a:gd name="connsiteX49814" fmla="*/ 5324396 w 6884782"/>
              <a:gd name="connsiteY49814" fmla="*/ 1631113 h 5973007"/>
              <a:gd name="connsiteX49815" fmla="*/ 5326103 w 6884782"/>
              <a:gd name="connsiteY49815" fmla="*/ 1640076 h 5973007"/>
              <a:gd name="connsiteX49816" fmla="*/ 5318847 w 6884782"/>
              <a:gd name="connsiteY49816" fmla="*/ 1637373 h 5973007"/>
              <a:gd name="connsiteX49817" fmla="*/ 5317780 w 6884782"/>
              <a:gd name="connsiteY49817" fmla="*/ 1628837 h 5973007"/>
              <a:gd name="connsiteX49818" fmla="*/ 5313085 w 6884782"/>
              <a:gd name="connsiteY49818" fmla="*/ 1629548 h 5973007"/>
              <a:gd name="connsiteX49819" fmla="*/ 5308603 w 6884782"/>
              <a:gd name="connsiteY49819" fmla="*/ 1618878 h 5973007"/>
              <a:gd name="connsiteX49820" fmla="*/ 5315219 w 6884782"/>
              <a:gd name="connsiteY49820" fmla="*/ 1613187 h 5973007"/>
              <a:gd name="connsiteX49821" fmla="*/ 1132101 w 6884782"/>
              <a:gd name="connsiteY49821" fmla="*/ 1613112 h 5973007"/>
              <a:gd name="connsiteX49822" fmla="*/ 1142530 w 6884782"/>
              <a:gd name="connsiteY49822" fmla="*/ 1613732 h 5973007"/>
              <a:gd name="connsiteX49823" fmla="*/ 1142427 w 6884782"/>
              <a:gd name="connsiteY49823" fmla="*/ 1617295 h 5973007"/>
              <a:gd name="connsiteX49824" fmla="*/ 1131689 w 6884782"/>
              <a:gd name="connsiteY49824" fmla="*/ 1618379 h 5973007"/>
              <a:gd name="connsiteX49825" fmla="*/ 1132101 w 6884782"/>
              <a:gd name="connsiteY49825" fmla="*/ 1613112 h 5973007"/>
              <a:gd name="connsiteX49826" fmla="*/ 5054846 w 6884782"/>
              <a:gd name="connsiteY49826" fmla="*/ 1612902 h 5973007"/>
              <a:gd name="connsiteX49827" fmla="*/ 5062957 w 6884782"/>
              <a:gd name="connsiteY49827" fmla="*/ 1618593 h 5973007"/>
              <a:gd name="connsiteX49828" fmla="*/ 5061463 w 6884782"/>
              <a:gd name="connsiteY49828" fmla="*/ 1629832 h 5973007"/>
              <a:gd name="connsiteX49829" fmla="*/ 5045883 w 6884782"/>
              <a:gd name="connsiteY49829" fmla="*/ 1625991 h 5973007"/>
              <a:gd name="connsiteX49830" fmla="*/ 5054846 w 6884782"/>
              <a:gd name="connsiteY49830" fmla="*/ 1612902 h 5973007"/>
              <a:gd name="connsiteX49831" fmla="*/ 1385905 w 6884782"/>
              <a:gd name="connsiteY49831" fmla="*/ 1612493 h 5973007"/>
              <a:gd name="connsiteX49832" fmla="*/ 1384253 w 6884782"/>
              <a:gd name="connsiteY49832" fmla="*/ 1618843 h 5973007"/>
              <a:gd name="connsiteX49833" fmla="*/ 1384047 w 6884782"/>
              <a:gd name="connsiteY49833" fmla="*/ 1615591 h 5973007"/>
              <a:gd name="connsiteX49834" fmla="*/ 1385905 w 6884782"/>
              <a:gd name="connsiteY49834" fmla="*/ 1612493 h 5973007"/>
              <a:gd name="connsiteX49835" fmla="*/ 1154611 w 6884782"/>
              <a:gd name="connsiteY49835" fmla="*/ 1612338 h 5973007"/>
              <a:gd name="connsiteX49836" fmla="*/ 1163698 w 6884782"/>
              <a:gd name="connsiteY49836" fmla="*/ 1619463 h 5973007"/>
              <a:gd name="connsiteX49837" fmla="*/ 1165969 w 6884782"/>
              <a:gd name="connsiteY49837" fmla="*/ 1630616 h 5973007"/>
              <a:gd name="connsiteX49838" fmla="*/ 1168551 w 6884782"/>
              <a:gd name="connsiteY49838" fmla="*/ 1630616 h 5973007"/>
              <a:gd name="connsiteX49839" fmla="*/ 1169274 w 6884782"/>
              <a:gd name="connsiteY49839" fmla="*/ 1634333 h 5973007"/>
              <a:gd name="connsiteX49840" fmla="*/ 1167931 w 6884782"/>
              <a:gd name="connsiteY49840" fmla="*/ 1636037 h 5973007"/>
              <a:gd name="connsiteX49841" fmla="*/ 1173197 w 6884782"/>
              <a:gd name="connsiteY49841" fmla="*/ 1636502 h 5973007"/>
              <a:gd name="connsiteX49842" fmla="*/ 1166589 w 6884782"/>
              <a:gd name="connsiteY49842" fmla="*/ 1645641 h 5973007"/>
              <a:gd name="connsiteX49843" fmla="*/ 1163801 w 6884782"/>
              <a:gd name="connsiteY49843" fmla="*/ 1642853 h 5973007"/>
              <a:gd name="connsiteX49844" fmla="*/ 1163698 w 6884782"/>
              <a:gd name="connsiteY49844" fmla="*/ 1643317 h 5973007"/>
              <a:gd name="connsiteX49845" fmla="*/ 1159464 w 6884782"/>
              <a:gd name="connsiteY49845" fmla="*/ 1640065 h 5973007"/>
              <a:gd name="connsiteX49846" fmla="*/ 1158225 w 6884782"/>
              <a:gd name="connsiteY49846" fmla="*/ 1639755 h 5973007"/>
              <a:gd name="connsiteX49847" fmla="*/ 1156470 w 6884782"/>
              <a:gd name="connsiteY49847" fmla="*/ 1639600 h 5973007"/>
              <a:gd name="connsiteX49848" fmla="*/ 1159258 w 6884782"/>
              <a:gd name="connsiteY49848" fmla="*/ 1641923 h 5973007"/>
              <a:gd name="connsiteX49849" fmla="*/ 1163078 w 6884782"/>
              <a:gd name="connsiteY49849" fmla="*/ 1643627 h 5973007"/>
              <a:gd name="connsiteX49850" fmla="*/ 1163698 w 6884782"/>
              <a:gd name="connsiteY49850" fmla="*/ 1645796 h 5973007"/>
              <a:gd name="connsiteX49851" fmla="*/ 1163285 w 6884782"/>
              <a:gd name="connsiteY49851" fmla="*/ 1646570 h 5973007"/>
              <a:gd name="connsiteX49852" fmla="*/ 1161323 w 6884782"/>
              <a:gd name="connsiteY49852" fmla="*/ 1646415 h 5973007"/>
              <a:gd name="connsiteX49853" fmla="*/ 1154301 w 6884782"/>
              <a:gd name="connsiteY49853" fmla="*/ 1642388 h 5973007"/>
              <a:gd name="connsiteX49854" fmla="*/ 1152753 w 6884782"/>
              <a:gd name="connsiteY49854" fmla="*/ 1641768 h 5973007"/>
              <a:gd name="connsiteX49855" fmla="*/ 1152133 w 6884782"/>
              <a:gd name="connsiteY49855" fmla="*/ 1639445 h 5973007"/>
              <a:gd name="connsiteX49856" fmla="*/ 1156057 w 6884782"/>
              <a:gd name="connsiteY49856" fmla="*/ 1639600 h 5973007"/>
              <a:gd name="connsiteX49857" fmla="*/ 1154198 w 6884782"/>
              <a:gd name="connsiteY49857" fmla="*/ 1638361 h 5973007"/>
              <a:gd name="connsiteX49858" fmla="*/ 1155644 w 6884782"/>
              <a:gd name="connsiteY49858" fmla="*/ 1634488 h 5973007"/>
              <a:gd name="connsiteX49859" fmla="*/ 1155128 w 6884782"/>
              <a:gd name="connsiteY49859" fmla="*/ 1633714 h 5973007"/>
              <a:gd name="connsiteX49860" fmla="*/ 1153269 w 6884782"/>
              <a:gd name="connsiteY49860" fmla="*/ 1622406 h 5973007"/>
              <a:gd name="connsiteX49861" fmla="*/ 1158845 w 6884782"/>
              <a:gd name="connsiteY49861" fmla="*/ 1626588 h 5973007"/>
              <a:gd name="connsiteX49862" fmla="*/ 1161839 w 6884782"/>
              <a:gd name="connsiteY49862" fmla="*/ 1631235 h 5973007"/>
              <a:gd name="connsiteX49863" fmla="*/ 1164421 w 6884782"/>
              <a:gd name="connsiteY49863" fmla="*/ 1630771 h 5973007"/>
              <a:gd name="connsiteX49864" fmla="*/ 1160600 w 6884782"/>
              <a:gd name="connsiteY49864" fmla="*/ 1628292 h 5973007"/>
              <a:gd name="connsiteX49865" fmla="*/ 1154611 w 6884782"/>
              <a:gd name="connsiteY49865" fmla="*/ 1612338 h 5973007"/>
              <a:gd name="connsiteX49866" fmla="*/ 1575690 w 6884782"/>
              <a:gd name="connsiteY49866" fmla="*/ 1612028 h 5973007"/>
              <a:gd name="connsiteX49867" fmla="*/ 1574761 w 6884782"/>
              <a:gd name="connsiteY49867" fmla="*/ 1614662 h 5973007"/>
              <a:gd name="connsiteX49868" fmla="*/ 1569701 w 6884782"/>
              <a:gd name="connsiteY49868" fmla="*/ 1612803 h 5973007"/>
              <a:gd name="connsiteX49869" fmla="*/ 1575690 w 6884782"/>
              <a:gd name="connsiteY49869" fmla="*/ 1612028 h 5973007"/>
              <a:gd name="connsiteX49870" fmla="*/ 6213503 w 6884782"/>
              <a:gd name="connsiteY49870" fmla="*/ 1611195 h 5973007"/>
              <a:gd name="connsiteX49871" fmla="*/ 6177435 w 6884782"/>
              <a:gd name="connsiteY49871" fmla="*/ 1622861 h 5973007"/>
              <a:gd name="connsiteX49872" fmla="*/ 6213503 w 6884782"/>
              <a:gd name="connsiteY49872" fmla="*/ 1611195 h 5973007"/>
              <a:gd name="connsiteX49873" fmla="*/ 5940966 w 6884782"/>
              <a:gd name="connsiteY49873" fmla="*/ 1611195 h 5973007"/>
              <a:gd name="connsiteX49874" fmla="*/ 5942459 w 6884782"/>
              <a:gd name="connsiteY49874" fmla="*/ 1612476 h 5973007"/>
              <a:gd name="connsiteX49875" fmla="*/ 5936911 w 6884782"/>
              <a:gd name="connsiteY49875" fmla="*/ 1615179 h 5973007"/>
              <a:gd name="connsiteX49876" fmla="*/ 5940966 w 6884782"/>
              <a:gd name="connsiteY49876" fmla="*/ 1611195 h 5973007"/>
              <a:gd name="connsiteX49877" fmla="*/ 5337201 w 6884782"/>
              <a:gd name="connsiteY49877" fmla="*/ 1610484 h 5973007"/>
              <a:gd name="connsiteX49878" fmla="*/ 5339549 w 6884782"/>
              <a:gd name="connsiteY49878" fmla="*/ 1611480 h 5973007"/>
              <a:gd name="connsiteX49879" fmla="*/ 5332292 w 6884782"/>
              <a:gd name="connsiteY49879" fmla="*/ 1611195 h 5973007"/>
              <a:gd name="connsiteX49880" fmla="*/ 5337201 w 6884782"/>
              <a:gd name="connsiteY49880" fmla="*/ 1610484 h 5973007"/>
              <a:gd name="connsiteX49881" fmla="*/ 1743468 w 6884782"/>
              <a:gd name="connsiteY49881" fmla="*/ 1610227 h 5973007"/>
              <a:gd name="connsiteX49882" fmla="*/ 1748954 w 6884782"/>
              <a:gd name="connsiteY49882" fmla="*/ 1614816 h 5973007"/>
              <a:gd name="connsiteX49883" fmla="*/ 1746786 w 6884782"/>
              <a:gd name="connsiteY49883" fmla="*/ 1622561 h 5973007"/>
              <a:gd name="connsiteX49884" fmla="*/ 1735737 w 6884782"/>
              <a:gd name="connsiteY49884" fmla="*/ 1618534 h 5973007"/>
              <a:gd name="connsiteX49885" fmla="*/ 1743468 w 6884782"/>
              <a:gd name="connsiteY49885" fmla="*/ 1610227 h 5973007"/>
              <a:gd name="connsiteX49886" fmla="*/ 5911727 w 6884782"/>
              <a:gd name="connsiteY49886" fmla="*/ 1610057 h 5973007"/>
              <a:gd name="connsiteX49887" fmla="*/ 5936057 w 6884782"/>
              <a:gd name="connsiteY49887" fmla="*/ 1626418 h 5973007"/>
              <a:gd name="connsiteX49888" fmla="*/ 5937978 w 6884782"/>
              <a:gd name="connsiteY49888" fmla="*/ 1649750 h 5973007"/>
              <a:gd name="connsiteX49889" fmla="*/ 5937551 w 6884782"/>
              <a:gd name="connsiteY49889" fmla="*/ 1650888 h 5973007"/>
              <a:gd name="connsiteX49890" fmla="*/ 5939045 w 6884782"/>
              <a:gd name="connsiteY49890" fmla="*/ 1649466 h 5973007"/>
              <a:gd name="connsiteX49891" fmla="*/ 5941606 w 6884782"/>
              <a:gd name="connsiteY49891" fmla="*/ 1649607 h 5973007"/>
              <a:gd name="connsiteX49892" fmla="*/ 5946942 w 6884782"/>
              <a:gd name="connsiteY49892" fmla="*/ 1651599 h 5973007"/>
              <a:gd name="connsiteX49893" fmla="*/ 5946515 w 6884782"/>
              <a:gd name="connsiteY49893" fmla="*/ 1656010 h 5973007"/>
              <a:gd name="connsiteX49894" fmla="*/ 5942246 w 6884782"/>
              <a:gd name="connsiteY49894" fmla="*/ 1659140 h 5973007"/>
              <a:gd name="connsiteX49895" fmla="*/ 5932856 w 6884782"/>
              <a:gd name="connsiteY49895" fmla="*/ 1659140 h 5973007"/>
              <a:gd name="connsiteX49896" fmla="*/ 5933283 w 6884782"/>
              <a:gd name="connsiteY49896" fmla="*/ 1657006 h 5973007"/>
              <a:gd name="connsiteX49897" fmla="*/ 5921758 w 6884782"/>
              <a:gd name="connsiteY49897" fmla="*/ 1655583 h 5973007"/>
              <a:gd name="connsiteX49898" fmla="*/ 5912581 w 6884782"/>
              <a:gd name="connsiteY49898" fmla="*/ 1649466 h 5973007"/>
              <a:gd name="connsiteX49899" fmla="*/ 5908739 w 6884782"/>
              <a:gd name="connsiteY49899" fmla="*/ 1643917 h 5973007"/>
              <a:gd name="connsiteX49900" fmla="*/ 5907672 w 6884782"/>
              <a:gd name="connsiteY49900" fmla="*/ 1648897 h 5973007"/>
              <a:gd name="connsiteX49901" fmla="*/ 5896574 w 6884782"/>
              <a:gd name="connsiteY49901" fmla="*/ 1665969 h 5973007"/>
              <a:gd name="connsiteX49902" fmla="*/ 5888251 w 6884782"/>
              <a:gd name="connsiteY49902" fmla="*/ 1652738 h 5973007"/>
              <a:gd name="connsiteX49903" fmla="*/ 5904044 w 6884782"/>
              <a:gd name="connsiteY49903" fmla="*/ 1631397 h 5973007"/>
              <a:gd name="connsiteX49904" fmla="*/ 5904684 w 6884782"/>
              <a:gd name="connsiteY49904" fmla="*/ 1631397 h 5973007"/>
              <a:gd name="connsiteX49905" fmla="*/ 5905111 w 6884782"/>
              <a:gd name="connsiteY49905" fmla="*/ 1622008 h 5973007"/>
              <a:gd name="connsiteX49906" fmla="*/ 5908312 w 6884782"/>
              <a:gd name="connsiteY49906" fmla="*/ 1611622 h 5973007"/>
              <a:gd name="connsiteX49907" fmla="*/ 5911727 w 6884782"/>
              <a:gd name="connsiteY49907" fmla="*/ 1610057 h 5973007"/>
              <a:gd name="connsiteX49908" fmla="*/ 5616141 w 6884782"/>
              <a:gd name="connsiteY49908" fmla="*/ 1609772 h 5973007"/>
              <a:gd name="connsiteX49909" fmla="*/ 5621690 w 6884782"/>
              <a:gd name="connsiteY49909" fmla="*/ 1623857 h 5973007"/>
              <a:gd name="connsiteX49910" fmla="*/ 5625318 w 6884782"/>
              <a:gd name="connsiteY49910" fmla="*/ 1637373 h 5973007"/>
              <a:gd name="connsiteX49911" fmla="*/ 5623824 w 6884782"/>
              <a:gd name="connsiteY49911" fmla="*/ 1641498 h 5973007"/>
              <a:gd name="connsiteX49912" fmla="*/ 5624464 w 6884782"/>
              <a:gd name="connsiteY49912" fmla="*/ 1641925 h 5973007"/>
              <a:gd name="connsiteX49913" fmla="*/ 5619982 w 6884782"/>
              <a:gd name="connsiteY49913" fmla="*/ 1648897 h 5973007"/>
              <a:gd name="connsiteX49914" fmla="*/ 5616994 w 6884782"/>
              <a:gd name="connsiteY49914" fmla="*/ 1645624 h 5973007"/>
              <a:gd name="connsiteX49915" fmla="*/ 5614647 w 6884782"/>
              <a:gd name="connsiteY49915" fmla="*/ 1646193 h 5973007"/>
              <a:gd name="connsiteX49916" fmla="*/ 5613580 w 6884782"/>
              <a:gd name="connsiteY49916" fmla="*/ 1654587 h 5973007"/>
              <a:gd name="connsiteX49917" fmla="*/ 5610805 w 6884782"/>
              <a:gd name="connsiteY49917" fmla="*/ 1662555 h 5973007"/>
              <a:gd name="connsiteX49918" fmla="*/ 5607177 w 6884782"/>
              <a:gd name="connsiteY49918" fmla="*/ 1631539 h 5973007"/>
              <a:gd name="connsiteX49919" fmla="*/ 5612939 w 6884782"/>
              <a:gd name="connsiteY49919" fmla="*/ 1637373 h 5973007"/>
              <a:gd name="connsiteX49920" fmla="*/ 5613153 w 6884782"/>
              <a:gd name="connsiteY49920" fmla="*/ 1638511 h 5973007"/>
              <a:gd name="connsiteX49921" fmla="*/ 5613366 w 6884782"/>
              <a:gd name="connsiteY49921" fmla="*/ 1636661 h 5973007"/>
              <a:gd name="connsiteX49922" fmla="*/ 5616141 w 6884782"/>
              <a:gd name="connsiteY49922" fmla="*/ 1609772 h 5973007"/>
              <a:gd name="connsiteX49923" fmla="*/ 1299170 w 6884782"/>
              <a:gd name="connsiteY49923" fmla="*/ 1609550 h 5973007"/>
              <a:gd name="connsiteX49924" fmla="*/ 1299480 w 6884782"/>
              <a:gd name="connsiteY49924" fmla="*/ 1617605 h 5973007"/>
              <a:gd name="connsiteX49925" fmla="*/ 1291632 w 6884782"/>
              <a:gd name="connsiteY49925" fmla="*/ 1622561 h 5973007"/>
              <a:gd name="connsiteX49926" fmla="*/ 1291529 w 6884782"/>
              <a:gd name="connsiteY49926" fmla="*/ 1618069 h 5973007"/>
              <a:gd name="connsiteX49927" fmla="*/ 1299170 w 6884782"/>
              <a:gd name="connsiteY49927" fmla="*/ 1609550 h 5973007"/>
              <a:gd name="connsiteX49928" fmla="*/ 1659508 w 6884782"/>
              <a:gd name="connsiteY49928" fmla="*/ 1609104 h 5973007"/>
              <a:gd name="connsiteX49929" fmla="*/ 1663355 w 6884782"/>
              <a:gd name="connsiteY49929" fmla="*/ 1611254 h 5973007"/>
              <a:gd name="connsiteX49930" fmla="*/ 1661290 w 6884782"/>
              <a:gd name="connsiteY49930" fmla="*/ 1612958 h 5973007"/>
              <a:gd name="connsiteX49931" fmla="*/ 1667795 w 6884782"/>
              <a:gd name="connsiteY49931" fmla="*/ 1616365 h 5973007"/>
              <a:gd name="connsiteX49932" fmla="*/ 1664800 w 6884782"/>
              <a:gd name="connsiteY49932" fmla="*/ 1632320 h 5973007"/>
              <a:gd name="connsiteX49933" fmla="*/ 1660154 w 6884782"/>
              <a:gd name="connsiteY49933" fmla="*/ 1626898 h 5973007"/>
              <a:gd name="connsiteX49934" fmla="*/ 1659328 w 6884782"/>
              <a:gd name="connsiteY49934" fmla="*/ 1628602 h 5973007"/>
              <a:gd name="connsiteX49935" fmla="*/ 1655610 w 6884782"/>
              <a:gd name="connsiteY49935" fmla="*/ 1629531 h 5973007"/>
              <a:gd name="connsiteX49936" fmla="*/ 1655714 w 6884782"/>
              <a:gd name="connsiteY49936" fmla="*/ 1629841 h 5973007"/>
              <a:gd name="connsiteX49937" fmla="*/ 1649828 w 6884782"/>
              <a:gd name="connsiteY49937" fmla="*/ 1633559 h 5973007"/>
              <a:gd name="connsiteX49938" fmla="*/ 1645388 w 6884782"/>
              <a:gd name="connsiteY49938" fmla="*/ 1626743 h 5973007"/>
              <a:gd name="connsiteX49939" fmla="*/ 1655094 w 6884782"/>
              <a:gd name="connsiteY49939" fmla="*/ 1623181 h 5973007"/>
              <a:gd name="connsiteX49940" fmla="*/ 1655094 w 6884782"/>
              <a:gd name="connsiteY49940" fmla="*/ 1623955 h 5973007"/>
              <a:gd name="connsiteX49941" fmla="*/ 1655817 w 6884782"/>
              <a:gd name="connsiteY49941" fmla="*/ 1622252 h 5973007"/>
              <a:gd name="connsiteX49942" fmla="*/ 1656333 w 6884782"/>
              <a:gd name="connsiteY49942" fmla="*/ 1622097 h 5973007"/>
              <a:gd name="connsiteX49943" fmla="*/ 1653029 w 6884782"/>
              <a:gd name="connsiteY49943" fmla="*/ 1616985 h 5973007"/>
              <a:gd name="connsiteX49944" fmla="*/ 1656436 w 6884782"/>
              <a:gd name="connsiteY49944" fmla="*/ 1613422 h 5973007"/>
              <a:gd name="connsiteX49945" fmla="*/ 1657985 w 6884782"/>
              <a:gd name="connsiteY49945" fmla="*/ 1613112 h 5973007"/>
              <a:gd name="connsiteX49946" fmla="*/ 1656436 w 6884782"/>
              <a:gd name="connsiteY49946" fmla="*/ 1612648 h 5973007"/>
              <a:gd name="connsiteX49947" fmla="*/ 1659508 w 6884782"/>
              <a:gd name="connsiteY49947" fmla="*/ 1609104 h 5973007"/>
              <a:gd name="connsiteX49948" fmla="*/ 1273769 w 6884782"/>
              <a:gd name="connsiteY49948" fmla="*/ 1608930 h 5973007"/>
              <a:gd name="connsiteX49949" fmla="*/ 1275731 w 6884782"/>
              <a:gd name="connsiteY49949" fmla="*/ 1610324 h 5973007"/>
              <a:gd name="connsiteX49950" fmla="*/ 1276247 w 6884782"/>
              <a:gd name="connsiteY49950" fmla="*/ 1610324 h 5973007"/>
              <a:gd name="connsiteX49951" fmla="*/ 1273769 w 6884782"/>
              <a:gd name="connsiteY49951" fmla="*/ 1620393 h 5973007"/>
              <a:gd name="connsiteX49952" fmla="*/ 1272324 w 6884782"/>
              <a:gd name="connsiteY49952" fmla="*/ 1619773 h 5973007"/>
              <a:gd name="connsiteX49953" fmla="*/ 1272427 w 6884782"/>
              <a:gd name="connsiteY49953" fmla="*/ 1621632 h 5973007"/>
              <a:gd name="connsiteX49954" fmla="*/ 1271910 w 6884782"/>
              <a:gd name="connsiteY49954" fmla="*/ 1624265 h 5973007"/>
              <a:gd name="connsiteX49955" fmla="*/ 1265715 w 6884782"/>
              <a:gd name="connsiteY49955" fmla="*/ 1624885 h 5973007"/>
              <a:gd name="connsiteX49956" fmla="*/ 1263650 w 6884782"/>
              <a:gd name="connsiteY49956" fmla="*/ 1622871 h 5973007"/>
              <a:gd name="connsiteX49957" fmla="*/ 1262204 w 6884782"/>
              <a:gd name="connsiteY49957" fmla="*/ 1617914 h 5973007"/>
              <a:gd name="connsiteX49958" fmla="*/ 1261481 w 6884782"/>
              <a:gd name="connsiteY49958" fmla="*/ 1618224 h 5973007"/>
              <a:gd name="connsiteX49959" fmla="*/ 1265715 w 6884782"/>
              <a:gd name="connsiteY49959" fmla="*/ 1615591 h 5973007"/>
              <a:gd name="connsiteX49960" fmla="*/ 1266334 w 6884782"/>
              <a:gd name="connsiteY49960" fmla="*/ 1615901 h 5973007"/>
              <a:gd name="connsiteX49961" fmla="*/ 1265715 w 6884782"/>
              <a:gd name="connsiteY49961" fmla="*/ 1615281 h 5973007"/>
              <a:gd name="connsiteX49962" fmla="*/ 1269535 w 6884782"/>
              <a:gd name="connsiteY49962" fmla="*/ 1610634 h 5973007"/>
              <a:gd name="connsiteX49963" fmla="*/ 1272736 w 6884782"/>
              <a:gd name="connsiteY49963" fmla="*/ 1610479 h 5973007"/>
              <a:gd name="connsiteX49964" fmla="*/ 4666636 w 6884782"/>
              <a:gd name="connsiteY49964" fmla="*/ 1608919 h 5973007"/>
              <a:gd name="connsiteX49965" fmla="*/ 4669838 w 6884782"/>
              <a:gd name="connsiteY49965" fmla="*/ 1610199 h 5973007"/>
              <a:gd name="connsiteX49966" fmla="*/ 4668557 w 6884782"/>
              <a:gd name="connsiteY49966" fmla="*/ 1615036 h 5973007"/>
              <a:gd name="connsiteX49967" fmla="*/ 4665142 w 6884782"/>
              <a:gd name="connsiteY49967" fmla="*/ 1615748 h 5973007"/>
              <a:gd name="connsiteX49968" fmla="*/ 4665142 w 6884782"/>
              <a:gd name="connsiteY49968" fmla="*/ 1614609 h 5973007"/>
              <a:gd name="connsiteX49969" fmla="*/ 4664075 w 6884782"/>
              <a:gd name="connsiteY49969" fmla="*/ 1609488 h 5973007"/>
              <a:gd name="connsiteX49970" fmla="*/ 4666636 w 6884782"/>
              <a:gd name="connsiteY49970" fmla="*/ 1608919 h 5973007"/>
              <a:gd name="connsiteX49971" fmla="*/ 4890300 w 6884782"/>
              <a:gd name="connsiteY49971" fmla="*/ 1608777 h 5973007"/>
              <a:gd name="connsiteX49972" fmla="*/ 4892221 w 6884782"/>
              <a:gd name="connsiteY49972" fmla="*/ 1609488 h 5973007"/>
              <a:gd name="connsiteX49973" fmla="*/ 4894142 w 6884782"/>
              <a:gd name="connsiteY49973" fmla="*/ 1610626 h 5973007"/>
              <a:gd name="connsiteX49974" fmla="*/ 4892007 w 6884782"/>
              <a:gd name="connsiteY49974" fmla="*/ 1621154 h 5973007"/>
              <a:gd name="connsiteX49975" fmla="*/ 4882190 w 6884782"/>
              <a:gd name="connsiteY49975" fmla="*/ 1619446 h 5973007"/>
              <a:gd name="connsiteX49976" fmla="*/ 4882190 w 6884782"/>
              <a:gd name="connsiteY49976" fmla="*/ 1616744 h 5973007"/>
              <a:gd name="connsiteX49977" fmla="*/ 4882617 w 6884782"/>
              <a:gd name="connsiteY49977" fmla="*/ 1613899 h 5973007"/>
              <a:gd name="connsiteX49978" fmla="*/ 4886885 w 6884782"/>
              <a:gd name="connsiteY49978" fmla="*/ 1609061 h 5973007"/>
              <a:gd name="connsiteX49979" fmla="*/ 4890300 w 6884782"/>
              <a:gd name="connsiteY49979" fmla="*/ 1608777 h 5973007"/>
              <a:gd name="connsiteX49980" fmla="*/ 4196045 w 6884782"/>
              <a:gd name="connsiteY49980" fmla="*/ 1608634 h 5973007"/>
              <a:gd name="connsiteX49981" fmla="*/ 4199460 w 6884782"/>
              <a:gd name="connsiteY49981" fmla="*/ 1610910 h 5973007"/>
              <a:gd name="connsiteX49982" fmla="*/ 4198606 w 6884782"/>
              <a:gd name="connsiteY49982" fmla="*/ 1615179 h 5973007"/>
              <a:gd name="connsiteX49983" fmla="*/ 4194765 w 6884782"/>
              <a:gd name="connsiteY49983" fmla="*/ 1618308 h 5973007"/>
              <a:gd name="connsiteX49984" fmla="*/ 4189216 w 6884782"/>
              <a:gd name="connsiteY49984" fmla="*/ 1610626 h 5973007"/>
              <a:gd name="connsiteX49985" fmla="*/ 4196045 w 6884782"/>
              <a:gd name="connsiteY49985" fmla="*/ 1608634 h 5973007"/>
              <a:gd name="connsiteX49986" fmla="*/ 5780474 w 6884782"/>
              <a:gd name="connsiteY49986" fmla="*/ 1608207 h 5973007"/>
              <a:gd name="connsiteX49987" fmla="*/ 5792212 w 6884782"/>
              <a:gd name="connsiteY49987" fmla="*/ 1620158 h 5973007"/>
              <a:gd name="connsiteX49988" fmla="*/ 5785169 w 6884782"/>
              <a:gd name="connsiteY49988" fmla="*/ 1617171 h 5973007"/>
              <a:gd name="connsiteX49989" fmla="*/ 5778980 w 6884782"/>
              <a:gd name="connsiteY49989" fmla="*/ 1608634 h 5973007"/>
              <a:gd name="connsiteX49990" fmla="*/ 5780474 w 6884782"/>
              <a:gd name="connsiteY49990" fmla="*/ 1608207 h 5973007"/>
              <a:gd name="connsiteX49991" fmla="*/ 4069488 w 6884782"/>
              <a:gd name="connsiteY49991" fmla="*/ 1608207 h 5973007"/>
              <a:gd name="connsiteX49992" fmla="*/ 4069914 w 6884782"/>
              <a:gd name="connsiteY49992" fmla="*/ 1609061 h 5973007"/>
              <a:gd name="connsiteX49993" fmla="*/ 4069061 w 6884782"/>
              <a:gd name="connsiteY49993" fmla="*/ 1613614 h 5973007"/>
              <a:gd name="connsiteX49994" fmla="*/ 4068847 w 6884782"/>
              <a:gd name="connsiteY49994" fmla="*/ 1609061 h 5973007"/>
              <a:gd name="connsiteX49995" fmla="*/ 4069488 w 6884782"/>
              <a:gd name="connsiteY49995" fmla="*/ 1608207 h 5973007"/>
              <a:gd name="connsiteX49996" fmla="*/ 1105048 w 6884782"/>
              <a:gd name="connsiteY49996" fmla="*/ 1607304 h 5973007"/>
              <a:gd name="connsiteX49997" fmla="*/ 1111450 w 6884782"/>
              <a:gd name="connsiteY49997" fmla="*/ 1609705 h 5973007"/>
              <a:gd name="connsiteX49998" fmla="*/ 1114341 w 6884782"/>
              <a:gd name="connsiteY49998" fmla="*/ 1613577 h 5973007"/>
              <a:gd name="connsiteX49999" fmla="*/ 1112896 w 6884782"/>
              <a:gd name="connsiteY49999" fmla="*/ 1619618 h 5973007"/>
              <a:gd name="connsiteX50000" fmla="*/ 1109901 w 6884782"/>
              <a:gd name="connsiteY50000" fmla="*/ 1621632 h 5973007"/>
              <a:gd name="connsiteX50001" fmla="*/ 1111244 w 6884782"/>
              <a:gd name="connsiteY50001" fmla="*/ 1623336 h 5973007"/>
              <a:gd name="connsiteX50002" fmla="*/ 1104842 w 6884782"/>
              <a:gd name="connsiteY50002" fmla="*/ 1636502 h 5973007"/>
              <a:gd name="connsiteX50003" fmla="*/ 1104326 w 6884782"/>
              <a:gd name="connsiteY50003" fmla="*/ 1636657 h 5973007"/>
              <a:gd name="connsiteX50004" fmla="*/ 1108766 w 6884782"/>
              <a:gd name="connsiteY50004" fmla="*/ 1640684 h 5973007"/>
              <a:gd name="connsiteX50005" fmla="*/ 1098027 w 6884782"/>
              <a:gd name="connsiteY50005" fmla="*/ 1649358 h 5973007"/>
              <a:gd name="connsiteX50006" fmla="*/ 1095239 w 6884782"/>
              <a:gd name="connsiteY50006" fmla="*/ 1644866 h 5973007"/>
              <a:gd name="connsiteX50007" fmla="*/ 1097510 w 6884782"/>
              <a:gd name="connsiteY50007" fmla="*/ 1638515 h 5973007"/>
              <a:gd name="connsiteX50008" fmla="*/ 1098750 w 6884782"/>
              <a:gd name="connsiteY50008" fmla="*/ 1638051 h 5973007"/>
              <a:gd name="connsiteX50009" fmla="*/ 1095962 w 6884782"/>
              <a:gd name="connsiteY50009" fmla="*/ 1634798 h 5973007"/>
              <a:gd name="connsiteX50010" fmla="*/ 1092348 w 6884782"/>
              <a:gd name="connsiteY50010" fmla="*/ 1629376 h 5973007"/>
              <a:gd name="connsiteX50011" fmla="*/ 1091109 w 6884782"/>
              <a:gd name="connsiteY50011" fmla="*/ 1624110 h 5973007"/>
              <a:gd name="connsiteX50012" fmla="*/ 1091315 w 6884782"/>
              <a:gd name="connsiteY50012" fmla="*/ 1623026 h 5973007"/>
              <a:gd name="connsiteX50013" fmla="*/ 1091109 w 6884782"/>
              <a:gd name="connsiteY50013" fmla="*/ 1623336 h 5973007"/>
              <a:gd name="connsiteX50014" fmla="*/ 1085533 w 6884782"/>
              <a:gd name="connsiteY50014" fmla="*/ 1626743 h 5973007"/>
              <a:gd name="connsiteX50015" fmla="*/ 1086153 w 6884782"/>
              <a:gd name="connsiteY50015" fmla="*/ 1624265 h 5973007"/>
              <a:gd name="connsiteX50016" fmla="*/ 1087082 w 6884782"/>
              <a:gd name="connsiteY50016" fmla="*/ 1623181 h 5973007"/>
              <a:gd name="connsiteX50017" fmla="*/ 1086978 w 6884782"/>
              <a:gd name="connsiteY50017" fmla="*/ 1622406 h 5973007"/>
              <a:gd name="connsiteX50018" fmla="*/ 1087908 w 6884782"/>
              <a:gd name="connsiteY50018" fmla="*/ 1622252 h 5973007"/>
              <a:gd name="connsiteX50019" fmla="*/ 1089457 w 6884782"/>
              <a:gd name="connsiteY50019" fmla="*/ 1620393 h 5973007"/>
              <a:gd name="connsiteX50020" fmla="*/ 1091728 w 6884782"/>
              <a:gd name="connsiteY50020" fmla="*/ 1614971 h 5973007"/>
              <a:gd name="connsiteX50021" fmla="*/ 1096788 w 6884782"/>
              <a:gd name="connsiteY50021" fmla="*/ 1610789 h 5973007"/>
              <a:gd name="connsiteX50022" fmla="*/ 1098543 w 6884782"/>
              <a:gd name="connsiteY50022" fmla="*/ 1612338 h 5973007"/>
              <a:gd name="connsiteX50023" fmla="*/ 1100195 w 6884782"/>
              <a:gd name="connsiteY50023" fmla="*/ 1610479 h 5973007"/>
              <a:gd name="connsiteX50024" fmla="*/ 1105048 w 6884782"/>
              <a:gd name="connsiteY50024" fmla="*/ 1607304 h 5973007"/>
              <a:gd name="connsiteX50025" fmla="*/ 4948564 w 6884782"/>
              <a:gd name="connsiteY50025" fmla="*/ 1607070 h 5973007"/>
              <a:gd name="connsiteX50026" fmla="*/ 4953472 w 6884782"/>
              <a:gd name="connsiteY50026" fmla="*/ 1611195 h 5973007"/>
              <a:gd name="connsiteX50027" fmla="*/ 4952192 w 6884782"/>
              <a:gd name="connsiteY50027" fmla="*/ 1622292 h 5973007"/>
              <a:gd name="connsiteX50028" fmla="*/ 4947924 w 6884782"/>
              <a:gd name="connsiteY50028" fmla="*/ 1619873 h 5973007"/>
              <a:gd name="connsiteX50029" fmla="*/ 4946643 w 6884782"/>
              <a:gd name="connsiteY50029" fmla="*/ 1609204 h 5973007"/>
              <a:gd name="connsiteX50030" fmla="*/ 4948564 w 6884782"/>
              <a:gd name="connsiteY50030" fmla="*/ 1607070 h 5973007"/>
              <a:gd name="connsiteX50031" fmla="*/ 5161556 w 6884782"/>
              <a:gd name="connsiteY50031" fmla="*/ 1606785 h 5973007"/>
              <a:gd name="connsiteX50032" fmla="*/ 5164758 w 6884782"/>
              <a:gd name="connsiteY50032" fmla="*/ 1606927 h 5973007"/>
              <a:gd name="connsiteX50033" fmla="*/ 5176496 w 6884782"/>
              <a:gd name="connsiteY50033" fmla="*/ 1612476 h 5973007"/>
              <a:gd name="connsiteX50034" fmla="*/ 5175642 w 6884782"/>
              <a:gd name="connsiteY50034" fmla="*/ 1618736 h 5973007"/>
              <a:gd name="connsiteX50035" fmla="*/ 5175002 w 6884782"/>
              <a:gd name="connsiteY50035" fmla="*/ 1619020 h 5973007"/>
              <a:gd name="connsiteX50036" fmla="*/ 5164758 w 6884782"/>
              <a:gd name="connsiteY50036" fmla="*/ 1627129 h 5973007"/>
              <a:gd name="connsiteX50037" fmla="*/ 5157502 w 6884782"/>
              <a:gd name="connsiteY50037" fmla="*/ 1625707 h 5973007"/>
              <a:gd name="connsiteX50038" fmla="*/ 5157928 w 6884782"/>
              <a:gd name="connsiteY50038" fmla="*/ 1621865 h 5973007"/>
              <a:gd name="connsiteX50039" fmla="*/ 5162837 w 6884782"/>
              <a:gd name="connsiteY50039" fmla="*/ 1618308 h 5973007"/>
              <a:gd name="connsiteX50040" fmla="*/ 5160490 w 6884782"/>
              <a:gd name="connsiteY50040" fmla="*/ 1617313 h 5973007"/>
              <a:gd name="connsiteX50041" fmla="*/ 5156435 w 6884782"/>
              <a:gd name="connsiteY50041" fmla="*/ 1612476 h 5973007"/>
              <a:gd name="connsiteX50042" fmla="*/ 5161556 w 6884782"/>
              <a:gd name="connsiteY50042" fmla="*/ 1606785 h 5973007"/>
              <a:gd name="connsiteX50043" fmla="*/ 3509901 w 6884782"/>
              <a:gd name="connsiteY50043" fmla="*/ 1606073 h 5973007"/>
              <a:gd name="connsiteX50044" fmla="*/ 3514383 w 6884782"/>
              <a:gd name="connsiteY50044" fmla="*/ 1606358 h 5973007"/>
              <a:gd name="connsiteX50045" fmla="*/ 3531670 w 6884782"/>
              <a:gd name="connsiteY50045" fmla="*/ 1624710 h 5973007"/>
              <a:gd name="connsiteX50046" fmla="*/ 3517157 w 6884782"/>
              <a:gd name="connsiteY50046" fmla="*/ 1619020 h 5973007"/>
              <a:gd name="connsiteX50047" fmla="*/ 3504992 w 6884782"/>
              <a:gd name="connsiteY50047" fmla="*/ 1607212 h 5973007"/>
              <a:gd name="connsiteX50048" fmla="*/ 3509901 w 6884782"/>
              <a:gd name="connsiteY50048" fmla="*/ 1606073 h 5973007"/>
              <a:gd name="connsiteX50049" fmla="*/ 1437327 w 6884782"/>
              <a:gd name="connsiteY50049" fmla="*/ 1605832 h 5973007"/>
              <a:gd name="connsiteX50050" fmla="*/ 1442386 w 6884782"/>
              <a:gd name="connsiteY50050" fmla="*/ 1606917 h 5973007"/>
              <a:gd name="connsiteX50051" fmla="*/ 1442799 w 6884782"/>
              <a:gd name="connsiteY50051" fmla="*/ 1607691 h 5973007"/>
              <a:gd name="connsiteX50052" fmla="*/ 1443729 w 6884782"/>
              <a:gd name="connsiteY50052" fmla="*/ 1607691 h 5973007"/>
              <a:gd name="connsiteX50053" fmla="*/ 1449201 w 6884782"/>
              <a:gd name="connsiteY50053" fmla="*/ 1612493 h 5973007"/>
              <a:gd name="connsiteX50054" fmla="*/ 1448892 w 6884782"/>
              <a:gd name="connsiteY50054" fmla="*/ 1613267 h 5973007"/>
              <a:gd name="connsiteX50055" fmla="*/ 1454261 w 6884782"/>
              <a:gd name="connsiteY50055" fmla="*/ 1613887 h 5973007"/>
              <a:gd name="connsiteX50056" fmla="*/ 1454364 w 6884782"/>
              <a:gd name="connsiteY50056" fmla="*/ 1614971 h 5973007"/>
              <a:gd name="connsiteX50057" fmla="*/ 1455809 w 6884782"/>
              <a:gd name="connsiteY50057" fmla="*/ 1613577 h 5973007"/>
              <a:gd name="connsiteX50058" fmla="*/ 1459940 w 6884782"/>
              <a:gd name="connsiteY50058" fmla="*/ 1617759 h 5973007"/>
              <a:gd name="connsiteX50059" fmla="*/ 1454054 w 6884782"/>
              <a:gd name="connsiteY50059" fmla="*/ 1620702 h 5973007"/>
              <a:gd name="connsiteX50060" fmla="*/ 1453641 w 6884782"/>
              <a:gd name="connsiteY50060" fmla="*/ 1619773 h 5973007"/>
              <a:gd name="connsiteX50061" fmla="*/ 1453332 w 6884782"/>
              <a:gd name="connsiteY50061" fmla="*/ 1620548 h 5973007"/>
              <a:gd name="connsiteX50062" fmla="*/ 1449201 w 6884782"/>
              <a:gd name="connsiteY50062" fmla="*/ 1625504 h 5973007"/>
              <a:gd name="connsiteX50063" fmla="*/ 1447859 w 6884782"/>
              <a:gd name="connsiteY50063" fmla="*/ 1626898 h 5973007"/>
              <a:gd name="connsiteX50064" fmla="*/ 1448582 w 6884782"/>
              <a:gd name="connsiteY50064" fmla="*/ 1627363 h 5973007"/>
              <a:gd name="connsiteX50065" fmla="*/ 1447342 w 6884782"/>
              <a:gd name="connsiteY50065" fmla="*/ 1627673 h 5973007"/>
              <a:gd name="connsiteX50066" fmla="*/ 1447239 w 6884782"/>
              <a:gd name="connsiteY50066" fmla="*/ 1627828 h 5973007"/>
              <a:gd name="connsiteX50067" fmla="*/ 1446826 w 6884782"/>
              <a:gd name="connsiteY50067" fmla="*/ 1628602 h 5973007"/>
              <a:gd name="connsiteX50068" fmla="*/ 1443419 w 6884782"/>
              <a:gd name="connsiteY50068" fmla="*/ 1630306 h 5973007"/>
              <a:gd name="connsiteX50069" fmla="*/ 1442799 w 6884782"/>
              <a:gd name="connsiteY50069" fmla="*/ 1629841 h 5973007"/>
              <a:gd name="connsiteX50070" fmla="*/ 1441973 w 6884782"/>
              <a:gd name="connsiteY50070" fmla="*/ 1631700 h 5973007"/>
              <a:gd name="connsiteX50071" fmla="*/ 1442696 w 6884782"/>
              <a:gd name="connsiteY50071" fmla="*/ 1632320 h 5973007"/>
              <a:gd name="connsiteX50072" fmla="*/ 1440425 w 6884782"/>
              <a:gd name="connsiteY50072" fmla="*/ 1654315 h 5973007"/>
              <a:gd name="connsiteX50073" fmla="*/ 1438463 w 6884782"/>
              <a:gd name="connsiteY50073" fmla="*/ 1645950 h 5973007"/>
              <a:gd name="connsiteX50074" fmla="*/ 1436810 w 6884782"/>
              <a:gd name="connsiteY50074" fmla="*/ 1647034 h 5973007"/>
              <a:gd name="connsiteX50075" fmla="*/ 1437533 w 6884782"/>
              <a:gd name="connsiteY50075" fmla="*/ 1643008 h 5973007"/>
              <a:gd name="connsiteX50076" fmla="*/ 1437740 w 6884782"/>
              <a:gd name="connsiteY50076" fmla="*/ 1642853 h 5973007"/>
              <a:gd name="connsiteX50077" fmla="*/ 1437224 w 6884782"/>
              <a:gd name="connsiteY50077" fmla="*/ 1640994 h 5973007"/>
              <a:gd name="connsiteX50078" fmla="*/ 1437224 w 6884782"/>
              <a:gd name="connsiteY50078" fmla="*/ 1640065 h 5973007"/>
              <a:gd name="connsiteX50079" fmla="*/ 1437120 w 6884782"/>
              <a:gd name="connsiteY50079" fmla="*/ 1640065 h 5973007"/>
              <a:gd name="connsiteX50080" fmla="*/ 1432371 w 6884782"/>
              <a:gd name="connsiteY50080" fmla="*/ 1641768 h 5973007"/>
              <a:gd name="connsiteX50081" fmla="*/ 1436295 w 6884782"/>
              <a:gd name="connsiteY50081" fmla="*/ 1628757 h 5973007"/>
              <a:gd name="connsiteX50082" fmla="*/ 1440011 w 6884782"/>
              <a:gd name="connsiteY50082" fmla="*/ 1623181 h 5973007"/>
              <a:gd name="connsiteX50083" fmla="*/ 1439289 w 6884782"/>
              <a:gd name="connsiteY50083" fmla="*/ 1622716 h 5973007"/>
              <a:gd name="connsiteX50084" fmla="*/ 1437120 w 6884782"/>
              <a:gd name="connsiteY50084" fmla="*/ 1622252 h 5973007"/>
              <a:gd name="connsiteX50085" fmla="*/ 1437017 w 6884782"/>
              <a:gd name="connsiteY50085" fmla="*/ 1623026 h 5973007"/>
              <a:gd name="connsiteX50086" fmla="*/ 1434436 w 6884782"/>
              <a:gd name="connsiteY50086" fmla="*/ 1625504 h 5973007"/>
              <a:gd name="connsiteX50087" fmla="*/ 1432990 w 6884782"/>
              <a:gd name="connsiteY50087" fmla="*/ 1624265 h 5973007"/>
              <a:gd name="connsiteX50088" fmla="*/ 1434229 w 6884782"/>
              <a:gd name="connsiteY50088" fmla="*/ 1622097 h 5973007"/>
              <a:gd name="connsiteX50089" fmla="*/ 1434436 w 6884782"/>
              <a:gd name="connsiteY50089" fmla="*/ 1621787 h 5973007"/>
              <a:gd name="connsiteX50090" fmla="*/ 1433610 w 6884782"/>
              <a:gd name="connsiteY50090" fmla="*/ 1621632 h 5973007"/>
              <a:gd name="connsiteX50091" fmla="*/ 1428240 w 6884782"/>
              <a:gd name="connsiteY50091" fmla="*/ 1617140 h 5973007"/>
              <a:gd name="connsiteX50092" fmla="*/ 1429583 w 6884782"/>
              <a:gd name="connsiteY50092" fmla="*/ 1615901 h 5973007"/>
              <a:gd name="connsiteX50093" fmla="*/ 1429686 w 6884782"/>
              <a:gd name="connsiteY50093" fmla="*/ 1615436 h 5973007"/>
              <a:gd name="connsiteX50094" fmla="*/ 1429169 w 6884782"/>
              <a:gd name="connsiteY50094" fmla="*/ 1614352 h 5973007"/>
              <a:gd name="connsiteX50095" fmla="*/ 1429376 w 6884782"/>
              <a:gd name="connsiteY50095" fmla="*/ 1610944 h 5973007"/>
              <a:gd name="connsiteX50096" fmla="*/ 1434642 w 6884782"/>
              <a:gd name="connsiteY50096" fmla="*/ 1606452 h 5973007"/>
              <a:gd name="connsiteX50097" fmla="*/ 1437327 w 6884782"/>
              <a:gd name="connsiteY50097" fmla="*/ 1605832 h 5973007"/>
              <a:gd name="connsiteX50098" fmla="*/ 1799640 w 6884782"/>
              <a:gd name="connsiteY50098" fmla="*/ 1604748 h 5973007"/>
              <a:gd name="connsiteX50099" fmla="*/ 1806674 w 6884782"/>
              <a:gd name="connsiteY50099" fmla="*/ 1607691 h 5973007"/>
              <a:gd name="connsiteX50100" fmla="*/ 1802854 w 6884782"/>
              <a:gd name="connsiteY50100" fmla="*/ 1615126 h 5973007"/>
              <a:gd name="connsiteX50101" fmla="*/ 1795316 w 6884782"/>
              <a:gd name="connsiteY50101" fmla="*/ 1610169 h 5973007"/>
              <a:gd name="connsiteX50102" fmla="*/ 1799640 w 6884782"/>
              <a:gd name="connsiteY50102" fmla="*/ 1604748 h 5973007"/>
              <a:gd name="connsiteX50103" fmla="*/ 5993894 w 6884782"/>
              <a:gd name="connsiteY50103" fmla="*/ 1604651 h 5973007"/>
              <a:gd name="connsiteX50104" fmla="*/ 5987704 w 6884782"/>
              <a:gd name="connsiteY50104" fmla="*/ 1614752 h 5973007"/>
              <a:gd name="connsiteX50105" fmla="*/ 5993894 w 6884782"/>
              <a:gd name="connsiteY50105" fmla="*/ 1604651 h 5973007"/>
              <a:gd name="connsiteX50106" fmla="*/ 3886800 w 6884782"/>
              <a:gd name="connsiteY50106" fmla="*/ 1604508 h 5973007"/>
              <a:gd name="connsiteX50107" fmla="*/ 3885733 w 6884782"/>
              <a:gd name="connsiteY50107" fmla="*/ 1628552 h 5973007"/>
              <a:gd name="connsiteX50108" fmla="*/ 3884239 w 6884782"/>
              <a:gd name="connsiteY50108" fmla="*/ 1631113 h 5973007"/>
              <a:gd name="connsiteX50109" fmla="*/ 3881465 w 6884782"/>
              <a:gd name="connsiteY50109" fmla="*/ 1631397 h 5973007"/>
              <a:gd name="connsiteX50110" fmla="*/ 3878691 w 6884782"/>
              <a:gd name="connsiteY50110" fmla="*/ 1616174 h 5973007"/>
              <a:gd name="connsiteX50111" fmla="*/ 3880398 w 6884782"/>
              <a:gd name="connsiteY50111" fmla="*/ 1613044 h 5973007"/>
              <a:gd name="connsiteX50112" fmla="*/ 3880824 w 6884782"/>
              <a:gd name="connsiteY50112" fmla="*/ 1610342 h 5973007"/>
              <a:gd name="connsiteX50113" fmla="*/ 3886800 w 6884782"/>
              <a:gd name="connsiteY50113" fmla="*/ 1604508 h 5973007"/>
              <a:gd name="connsiteX50114" fmla="*/ 4596634 w 6884782"/>
              <a:gd name="connsiteY50114" fmla="*/ 1603940 h 5973007"/>
              <a:gd name="connsiteX50115" fmla="*/ 4598769 w 6884782"/>
              <a:gd name="connsiteY50115" fmla="*/ 1605505 h 5973007"/>
              <a:gd name="connsiteX50116" fmla="*/ 4604745 w 6884782"/>
              <a:gd name="connsiteY50116" fmla="*/ 1616174 h 5973007"/>
              <a:gd name="connsiteX50117" fmla="*/ 4606238 w 6884782"/>
              <a:gd name="connsiteY50117" fmla="*/ 1618308 h 5973007"/>
              <a:gd name="connsiteX50118" fmla="*/ 4605598 w 6884782"/>
              <a:gd name="connsiteY50118" fmla="*/ 1621438 h 5973007"/>
              <a:gd name="connsiteX50119" fmla="*/ 4598555 w 6884782"/>
              <a:gd name="connsiteY50119" fmla="*/ 1612902 h 5973007"/>
              <a:gd name="connsiteX50120" fmla="*/ 4595141 w 6884782"/>
              <a:gd name="connsiteY50120" fmla="*/ 1607638 h 5973007"/>
              <a:gd name="connsiteX50121" fmla="*/ 4595567 w 6884782"/>
              <a:gd name="connsiteY50121" fmla="*/ 1604508 h 5973007"/>
              <a:gd name="connsiteX50122" fmla="*/ 1187653 w 6884782"/>
              <a:gd name="connsiteY50122" fmla="*/ 1603819 h 5973007"/>
              <a:gd name="connsiteX50123" fmla="*/ 1181974 w 6884782"/>
              <a:gd name="connsiteY50123" fmla="*/ 1615591 h 5973007"/>
              <a:gd name="connsiteX50124" fmla="*/ 1181768 w 6884782"/>
              <a:gd name="connsiteY50124" fmla="*/ 1613112 h 5973007"/>
              <a:gd name="connsiteX50125" fmla="*/ 1187653 w 6884782"/>
              <a:gd name="connsiteY50125" fmla="*/ 1603819 h 5973007"/>
              <a:gd name="connsiteX50126" fmla="*/ 3571793 w 6884782"/>
              <a:gd name="connsiteY50126" fmla="*/ 1603513 h 5973007"/>
              <a:gd name="connsiteX50127" fmla="*/ 3552372 w 6884782"/>
              <a:gd name="connsiteY50127" fmla="*/ 1620727 h 5973007"/>
              <a:gd name="connsiteX50128" fmla="*/ 3559201 w 6884782"/>
              <a:gd name="connsiteY50128" fmla="*/ 1608777 h 5973007"/>
              <a:gd name="connsiteX50129" fmla="*/ 3571793 w 6884782"/>
              <a:gd name="connsiteY50129" fmla="*/ 1603513 h 5973007"/>
              <a:gd name="connsiteX50130" fmla="*/ 1328288 w 6884782"/>
              <a:gd name="connsiteY50130" fmla="*/ 1603509 h 5973007"/>
              <a:gd name="connsiteX50131" fmla="*/ 1337375 w 6884782"/>
              <a:gd name="connsiteY50131" fmla="*/ 1614662 h 5973007"/>
              <a:gd name="connsiteX50132" fmla="*/ 1329011 w 6884782"/>
              <a:gd name="connsiteY50132" fmla="*/ 1617140 h 5973007"/>
              <a:gd name="connsiteX50133" fmla="*/ 1327153 w 6884782"/>
              <a:gd name="connsiteY50133" fmla="*/ 1610169 h 5973007"/>
              <a:gd name="connsiteX50134" fmla="*/ 1328288 w 6884782"/>
              <a:gd name="connsiteY50134" fmla="*/ 1603509 h 5973007"/>
              <a:gd name="connsiteX50135" fmla="*/ 1724379 w 6884782"/>
              <a:gd name="connsiteY50135" fmla="*/ 1602425 h 5973007"/>
              <a:gd name="connsiteX50136" fmla="*/ 1728406 w 6884782"/>
              <a:gd name="connsiteY50136" fmla="*/ 1611254 h 5973007"/>
              <a:gd name="connsiteX50137" fmla="*/ 1717667 w 6884782"/>
              <a:gd name="connsiteY50137" fmla="*/ 1609240 h 5973007"/>
              <a:gd name="connsiteX50138" fmla="*/ 1717461 w 6884782"/>
              <a:gd name="connsiteY50138" fmla="*/ 1607691 h 5973007"/>
              <a:gd name="connsiteX50139" fmla="*/ 1724379 w 6884782"/>
              <a:gd name="connsiteY50139" fmla="*/ 1602425 h 5973007"/>
              <a:gd name="connsiteX50140" fmla="*/ 1761448 w 6884782"/>
              <a:gd name="connsiteY50140" fmla="*/ 1602270 h 5973007"/>
              <a:gd name="connsiteX50141" fmla="*/ 1760209 w 6884782"/>
              <a:gd name="connsiteY50141" fmla="*/ 1614662 h 5973007"/>
              <a:gd name="connsiteX50142" fmla="*/ 1751742 w 6884782"/>
              <a:gd name="connsiteY50142" fmla="*/ 1607226 h 5973007"/>
              <a:gd name="connsiteX50143" fmla="*/ 1761448 w 6884782"/>
              <a:gd name="connsiteY50143" fmla="*/ 1602270 h 5973007"/>
              <a:gd name="connsiteX50144" fmla="*/ 5126129 w 6884782"/>
              <a:gd name="connsiteY50144" fmla="*/ 1602090 h 5973007"/>
              <a:gd name="connsiteX50145" fmla="*/ 5131251 w 6884782"/>
              <a:gd name="connsiteY50145" fmla="*/ 1602659 h 5973007"/>
              <a:gd name="connsiteX50146" fmla="*/ 5135306 w 6884782"/>
              <a:gd name="connsiteY50146" fmla="*/ 1605078 h 5973007"/>
              <a:gd name="connsiteX50147" fmla="*/ 5137440 w 6884782"/>
              <a:gd name="connsiteY50147" fmla="*/ 1609630 h 5973007"/>
              <a:gd name="connsiteX50148" fmla="*/ 5141069 w 6884782"/>
              <a:gd name="connsiteY50148" fmla="*/ 1616601 h 5973007"/>
              <a:gd name="connsiteX50149" fmla="*/ 5136373 w 6884782"/>
              <a:gd name="connsiteY50149" fmla="*/ 1620727 h 5973007"/>
              <a:gd name="connsiteX50150" fmla="*/ 5129117 w 6884782"/>
              <a:gd name="connsiteY50150" fmla="*/ 1618166 h 5973007"/>
              <a:gd name="connsiteX50151" fmla="*/ 5128263 w 6884782"/>
              <a:gd name="connsiteY50151" fmla="*/ 1618878 h 5973007"/>
              <a:gd name="connsiteX50152" fmla="*/ 5120580 w 6884782"/>
              <a:gd name="connsiteY50152" fmla="*/ 1609630 h 5973007"/>
              <a:gd name="connsiteX50153" fmla="*/ 5121220 w 6884782"/>
              <a:gd name="connsiteY50153" fmla="*/ 1606785 h 5973007"/>
              <a:gd name="connsiteX50154" fmla="*/ 5121007 w 6884782"/>
              <a:gd name="connsiteY50154" fmla="*/ 1606500 h 5973007"/>
              <a:gd name="connsiteX50155" fmla="*/ 5126129 w 6884782"/>
              <a:gd name="connsiteY50155" fmla="*/ 1602090 h 5973007"/>
              <a:gd name="connsiteX50156" fmla="*/ 4363793 w 6884782"/>
              <a:gd name="connsiteY50156" fmla="*/ 1602090 h 5973007"/>
              <a:gd name="connsiteX50157" fmla="*/ 4369983 w 6884782"/>
              <a:gd name="connsiteY50157" fmla="*/ 1606358 h 5973007"/>
              <a:gd name="connsiteX50158" fmla="*/ 4363367 w 6884782"/>
              <a:gd name="connsiteY50158" fmla="*/ 1606927 h 5973007"/>
              <a:gd name="connsiteX50159" fmla="*/ 4363793 w 6884782"/>
              <a:gd name="connsiteY50159" fmla="*/ 1602090 h 5973007"/>
              <a:gd name="connsiteX50160" fmla="*/ 1111140 w 6884782"/>
              <a:gd name="connsiteY50160" fmla="*/ 1601650 h 5973007"/>
              <a:gd name="connsiteX50161" fmla="*/ 1109488 w 6884782"/>
              <a:gd name="connsiteY50161" fmla="*/ 1607846 h 5973007"/>
              <a:gd name="connsiteX50162" fmla="*/ 1111140 w 6884782"/>
              <a:gd name="connsiteY50162" fmla="*/ 1601650 h 5973007"/>
              <a:gd name="connsiteX50163" fmla="*/ 4352696 w 6884782"/>
              <a:gd name="connsiteY50163" fmla="*/ 1601378 h 5973007"/>
              <a:gd name="connsiteX50164" fmla="*/ 4353336 w 6884782"/>
              <a:gd name="connsiteY50164" fmla="*/ 1602232 h 5973007"/>
              <a:gd name="connsiteX50165" fmla="*/ 4353336 w 6884782"/>
              <a:gd name="connsiteY50165" fmla="*/ 1603370 h 5973007"/>
              <a:gd name="connsiteX50166" fmla="*/ 4352696 w 6884782"/>
              <a:gd name="connsiteY50166" fmla="*/ 1601378 h 5973007"/>
              <a:gd name="connsiteX50167" fmla="*/ 4847830 w 6884782"/>
              <a:gd name="connsiteY50167" fmla="*/ 1601236 h 5973007"/>
              <a:gd name="connsiteX50168" fmla="*/ 4852311 w 6884782"/>
              <a:gd name="connsiteY50168" fmla="*/ 1605505 h 5973007"/>
              <a:gd name="connsiteX50169" fmla="*/ 4854445 w 6884782"/>
              <a:gd name="connsiteY50169" fmla="*/ 1608207 h 5973007"/>
              <a:gd name="connsiteX50170" fmla="*/ 4856580 w 6884782"/>
              <a:gd name="connsiteY50170" fmla="*/ 1609772 h 5973007"/>
              <a:gd name="connsiteX50171" fmla="*/ 4857860 w 6884782"/>
              <a:gd name="connsiteY50171" fmla="*/ 1611907 h 5973007"/>
              <a:gd name="connsiteX50172" fmla="*/ 4858073 w 6884782"/>
              <a:gd name="connsiteY50172" fmla="*/ 1611907 h 5973007"/>
              <a:gd name="connsiteX50173" fmla="*/ 4860421 w 6884782"/>
              <a:gd name="connsiteY50173" fmla="*/ 1611337 h 5973007"/>
              <a:gd name="connsiteX50174" fmla="*/ 4861702 w 6884782"/>
              <a:gd name="connsiteY50174" fmla="*/ 1612191 h 5973007"/>
              <a:gd name="connsiteX50175" fmla="*/ 4862556 w 6884782"/>
              <a:gd name="connsiteY50175" fmla="*/ 1614325 h 5973007"/>
              <a:gd name="connsiteX50176" fmla="*/ 4858928 w 6884782"/>
              <a:gd name="connsiteY50176" fmla="*/ 1614325 h 5973007"/>
              <a:gd name="connsiteX50177" fmla="*/ 4858501 w 6884782"/>
              <a:gd name="connsiteY50177" fmla="*/ 1614182 h 5973007"/>
              <a:gd name="connsiteX50178" fmla="*/ 4858501 w 6884782"/>
              <a:gd name="connsiteY50178" fmla="*/ 1614752 h 5973007"/>
              <a:gd name="connsiteX50179" fmla="*/ 4856793 w 6884782"/>
              <a:gd name="connsiteY50179" fmla="*/ 1613614 h 5973007"/>
              <a:gd name="connsiteX50180" fmla="*/ 4855940 w 6884782"/>
              <a:gd name="connsiteY50180" fmla="*/ 1613187 h 5973007"/>
              <a:gd name="connsiteX50181" fmla="*/ 4856153 w 6884782"/>
              <a:gd name="connsiteY50181" fmla="*/ 1613044 h 5973007"/>
              <a:gd name="connsiteX50182" fmla="*/ 4854232 w 6884782"/>
              <a:gd name="connsiteY50182" fmla="*/ 1610484 h 5973007"/>
              <a:gd name="connsiteX50183" fmla="*/ 4851885 w 6884782"/>
              <a:gd name="connsiteY50183" fmla="*/ 1610057 h 5973007"/>
              <a:gd name="connsiteX50184" fmla="*/ 4847830 w 6884782"/>
              <a:gd name="connsiteY50184" fmla="*/ 1601236 h 5973007"/>
              <a:gd name="connsiteX50185" fmla="*/ 5894440 w 6884782"/>
              <a:gd name="connsiteY50185" fmla="*/ 1600809 h 5973007"/>
              <a:gd name="connsiteX50186" fmla="*/ 5896147 w 6884782"/>
              <a:gd name="connsiteY50186" fmla="*/ 1604366 h 5973007"/>
              <a:gd name="connsiteX50187" fmla="*/ 5894013 w 6884782"/>
              <a:gd name="connsiteY50187" fmla="*/ 1606785 h 5973007"/>
              <a:gd name="connsiteX50188" fmla="*/ 5893160 w 6884782"/>
              <a:gd name="connsiteY50188" fmla="*/ 1609345 h 5973007"/>
              <a:gd name="connsiteX50189" fmla="*/ 5889745 w 6884782"/>
              <a:gd name="connsiteY50189" fmla="*/ 1609630 h 5973007"/>
              <a:gd name="connsiteX50190" fmla="*/ 5890599 w 6884782"/>
              <a:gd name="connsiteY50190" fmla="*/ 1607070 h 5973007"/>
              <a:gd name="connsiteX50191" fmla="*/ 5894440 w 6884782"/>
              <a:gd name="connsiteY50191" fmla="*/ 1600809 h 5973007"/>
              <a:gd name="connsiteX50192" fmla="*/ 3601458 w 6884782"/>
              <a:gd name="connsiteY50192" fmla="*/ 1600241 h 5973007"/>
              <a:gd name="connsiteX50193" fmla="*/ 3604233 w 6884782"/>
              <a:gd name="connsiteY50193" fmla="*/ 1601805 h 5973007"/>
              <a:gd name="connsiteX50194" fmla="*/ 3604233 w 6884782"/>
              <a:gd name="connsiteY50194" fmla="*/ 1602943 h 5973007"/>
              <a:gd name="connsiteX50195" fmla="*/ 3605086 w 6884782"/>
              <a:gd name="connsiteY50195" fmla="*/ 1607638 h 5973007"/>
              <a:gd name="connsiteX50196" fmla="*/ 3599751 w 6884782"/>
              <a:gd name="connsiteY50196" fmla="*/ 1610342 h 5973007"/>
              <a:gd name="connsiteX50197" fmla="*/ 3596336 w 6884782"/>
              <a:gd name="connsiteY50197" fmla="*/ 1603370 h 5973007"/>
              <a:gd name="connsiteX50198" fmla="*/ 3601458 w 6884782"/>
              <a:gd name="connsiteY50198" fmla="*/ 1600241 h 5973007"/>
              <a:gd name="connsiteX50199" fmla="*/ 5432813 w 6884782"/>
              <a:gd name="connsiteY50199" fmla="*/ 1599813 h 5973007"/>
              <a:gd name="connsiteX50200" fmla="*/ 5438149 w 6884782"/>
              <a:gd name="connsiteY50200" fmla="*/ 1600525 h 5973007"/>
              <a:gd name="connsiteX50201" fmla="*/ 5442417 w 6884782"/>
              <a:gd name="connsiteY50201" fmla="*/ 1602943 h 5973007"/>
              <a:gd name="connsiteX50202" fmla="*/ 5445191 w 6884782"/>
              <a:gd name="connsiteY50202" fmla="*/ 1607496 h 5973007"/>
              <a:gd name="connsiteX50203" fmla="*/ 5449887 w 6884782"/>
              <a:gd name="connsiteY50203" fmla="*/ 1614609 h 5973007"/>
              <a:gd name="connsiteX50204" fmla="*/ 5446045 w 6884782"/>
              <a:gd name="connsiteY50204" fmla="*/ 1618736 h 5973007"/>
              <a:gd name="connsiteX50205" fmla="*/ 5428331 w 6884782"/>
              <a:gd name="connsiteY50205" fmla="*/ 1604082 h 5973007"/>
              <a:gd name="connsiteX50206" fmla="*/ 5432813 w 6884782"/>
              <a:gd name="connsiteY50206" fmla="*/ 1599813 h 5973007"/>
              <a:gd name="connsiteX50207" fmla="*/ 3663137 w 6884782"/>
              <a:gd name="connsiteY50207" fmla="*/ 1599387 h 5973007"/>
              <a:gd name="connsiteX50208" fmla="*/ 3671673 w 6884782"/>
              <a:gd name="connsiteY50208" fmla="*/ 1604508 h 5973007"/>
              <a:gd name="connsiteX50209" fmla="*/ 3678076 w 6884782"/>
              <a:gd name="connsiteY50209" fmla="*/ 1611337 h 5973007"/>
              <a:gd name="connsiteX50210" fmla="*/ 3678076 w 6884782"/>
              <a:gd name="connsiteY50210" fmla="*/ 1611480 h 5973007"/>
              <a:gd name="connsiteX50211" fmla="*/ 3679143 w 6884782"/>
              <a:gd name="connsiteY50211" fmla="*/ 1612333 h 5973007"/>
              <a:gd name="connsiteX50212" fmla="*/ 3685119 w 6884782"/>
              <a:gd name="connsiteY50212" fmla="*/ 1631824 h 5973007"/>
              <a:gd name="connsiteX50213" fmla="*/ 3677863 w 6884782"/>
              <a:gd name="connsiteY50213" fmla="*/ 1644202 h 5973007"/>
              <a:gd name="connsiteX50214" fmla="*/ 3670606 w 6884782"/>
              <a:gd name="connsiteY50214" fmla="*/ 1626845 h 5973007"/>
              <a:gd name="connsiteX50215" fmla="*/ 3669753 w 6884782"/>
              <a:gd name="connsiteY50215" fmla="*/ 1627556 h 5973007"/>
              <a:gd name="connsiteX50216" fmla="*/ 3669966 w 6884782"/>
              <a:gd name="connsiteY50216" fmla="*/ 1630117 h 5973007"/>
              <a:gd name="connsiteX50217" fmla="*/ 3668472 w 6884782"/>
              <a:gd name="connsiteY50217" fmla="*/ 1631113 h 5973007"/>
              <a:gd name="connsiteX50218" fmla="*/ 3667832 w 6884782"/>
              <a:gd name="connsiteY50218" fmla="*/ 1631113 h 5973007"/>
              <a:gd name="connsiteX50219" fmla="*/ 3665057 w 6884782"/>
              <a:gd name="connsiteY50219" fmla="*/ 1637657 h 5973007"/>
              <a:gd name="connsiteX50220" fmla="*/ 3660362 w 6884782"/>
              <a:gd name="connsiteY50220" fmla="*/ 1643490 h 5973007"/>
              <a:gd name="connsiteX50221" fmla="*/ 3658441 w 6884782"/>
              <a:gd name="connsiteY50221" fmla="*/ 1645908 h 5973007"/>
              <a:gd name="connsiteX50222" fmla="*/ 3646276 w 6884782"/>
              <a:gd name="connsiteY50222" fmla="*/ 1653164 h 5973007"/>
              <a:gd name="connsiteX50223" fmla="*/ 3643288 w 6884782"/>
              <a:gd name="connsiteY50223" fmla="*/ 1629263 h 5973007"/>
              <a:gd name="connsiteX50224" fmla="*/ 3642008 w 6884782"/>
              <a:gd name="connsiteY50224" fmla="*/ 1628552 h 5973007"/>
              <a:gd name="connsiteX50225" fmla="*/ 3640941 w 6884782"/>
              <a:gd name="connsiteY50225" fmla="*/ 1627698 h 5973007"/>
              <a:gd name="connsiteX50226" fmla="*/ 3642008 w 6884782"/>
              <a:gd name="connsiteY50226" fmla="*/ 1627129 h 5973007"/>
              <a:gd name="connsiteX50227" fmla="*/ 3643929 w 6884782"/>
              <a:gd name="connsiteY50227" fmla="*/ 1627556 h 5973007"/>
              <a:gd name="connsiteX50228" fmla="*/ 3644142 w 6884782"/>
              <a:gd name="connsiteY50228" fmla="*/ 1627698 h 5973007"/>
              <a:gd name="connsiteX50229" fmla="*/ 3647770 w 6884782"/>
              <a:gd name="connsiteY50229" fmla="*/ 1622008 h 5973007"/>
              <a:gd name="connsiteX50230" fmla="*/ 3657801 w 6884782"/>
              <a:gd name="connsiteY50230" fmla="*/ 1611907 h 5973007"/>
              <a:gd name="connsiteX50231" fmla="*/ 3661429 w 6884782"/>
              <a:gd name="connsiteY50231" fmla="*/ 1612902 h 5973007"/>
              <a:gd name="connsiteX50232" fmla="*/ 3668259 w 6884782"/>
              <a:gd name="connsiteY50232" fmla="*/ 1623573 h 5973007"/>
              <a:gd name="connsiteX50233" fmla="*/ 3667832 w 6884782"/>
              <a:gd name="connsiteY50233" fmla="*/ 1628979 h 5973007"/>
              <a:gd name="connsiteX50234" fmla="*/ 3669112 w 6884782"/>
              <a:gd name="connsiteY50234" fmla="*/ 1627414 h 5973007"/>
              <a:gd name="connsiteX50235" fmla="*/ 3670180 w 6884782"/>
              <a:gd name="connsiteY50235" fmla="*/ 1626133 h 5973007"/>
              <a:gd name="connsiteX50236" fmla="*/ 3668685 w 6884782"/>
              <a:gd name="connsiteY50236" fmla="*/ 1622577 h 5973007"/>
              <a:gd name="connsiteX50237" fmla="*/ 3663137 w 6884782"/>
              <a:gd name="connsiteY50237" fmla="*/ 1599387 h 5973007"/>
              <a:gd name="connsiteX50238" fmla="*/ 1371966 w 6884782"/>
              <a:gd name="connsiteY50238" fmla="*/ 1599172 h 5973007"/>
              <a:gd name="connsiteX50239" fmla="*/ 1376509 w 6884782"/>
              <a:gd name="connsiteY50239" fmla="*/ 1604748 h 5973007"/>
              <a:gd name="connsiteX50240" fmla="*/ 1375373 w 6884782"/>
              <a:gd name="connsiteY50240" fmla="*/ 1606142 h 5973007"/>
              <a:gd name="connsiteX50241" fmla="*/ 1372998 w 6884782"/>
              <a:gd name="connsiteY50241" fmla="*/ 1605213 h 5973007"/>
              <a:gd name="connsiteX50242" fmla="*/ 1370830 w 6884782"/>
              <a:gd name="connsiteY50242" fmla="*/ 1600566 h 5973007"/>
              <a:gd name="connsiteX50243" fmla="*/ 1371966 w 6884782"/>
              <a:gd name="connsiteY50243" fmla="*/ 1599172 h 5973007"/>
              <a:gd name="connsiteX50244" fmla="*/ 1775594 w 6884782"/>
              <a:gd name="connsiteY50244" fmla="*/ 1598087 h 5973007"/>
              <a:gd name="connsiteX50245" fmla="*/ 1775904 w 6884782"/>
              <a:gd name="connsiteY50245" fmla="*/ 1600566 h 5973007"/>
              <a:gd name="connsiteX50246" fmla="*/ 1776007 w 6884782"/>
              <a:gd name="connsiteY50246" fmla="*/ 1600876 h 5973007"/>
              <a:gd name="connsiteX50247" fmla="*/ 1787159 w 6884782"/>
              <a:gd name="connsiteY50247" fmla="*/ 1599791 h 5973007"/>
              <a:gd name="connsiteX50248" fmla="*/ 1765888 w 6884782"/>
              <a:gd name="connsiteY50248" fmla="*/ 1608465 h 5973007"/>
              <a:gd name="connsiteX50249" fmla="*/ 1769296 w 6884782"/>
              <a:gd name="connsiteY50249" fmla="*/ 1604438 h 5973007"/>
              <a:gd name="connsiteX50250" fmla="*/ 1768676 w 6884782"/>
              <a:gd name="connsiteY50250" fmla="*/ 1603509 h 5973007"/>
              <a:gd name="connsiteX50251" fmla="*/ 1768263 w 6884782"/>
              <a:gd name="connsiteY50251" fmla="*/ 1599946 h 5973007"/>
              <a:gd name="connsiteX50252" fmla="*/ 1775594 w 6884782"/>
              <a:gd name="connsiteY50252" fmla="*/ 1598087 h 5973007"/>
              <a:gd name="connsiteX50253" fmla="*/ 1033905 w 6884782"/>
              <a:gd name="connsiteY50253" fmla="*/ 1597933 h 5973007"/>
              <a:gd name="connsiteX50254" fmla="*/ 1035866 w 6884782"/>
              <a:gd name="connsiteY50254" fmla="*/ 1602580 h 5973007"/>
              <a:gd name="connsiteX50255" fmla="*/ 1032562 w 6884782"/>
              <a:gd name="connsiteY50255" fmla="*/ 1604748 h 5973007"/>
              <a:gd name="connsiteX50256" fmla="*/ 1030498 w 6884782"/>
              <a:gd name="connsiteY50256" fmla="*/ 1600101 h 5973007"/>
              <a:gd name="connsiteX50257" fmla="*/ 1033905 w 6884782"/>
              <a:gd name="connsiteY50257" fmla="*/ 1597933 h 5973007"/>
              <a:gd name="connsiteX50258" fmla="*/ 4984205 w 6884782"/>
              <a:gd name="connsiteY50258" fmla="*/ 1597679 h 5973007"/>
              <a:gd name="connsiteX50259" fmla="*/ 4987620 w 6884782"/>
              <a:gd name="connsiteY50259" fmla="*/ 1598106 h 5973007"/>
              <a:gd name="connsiteX50260" fmla="*/ 4975881 w 6884782"/>
              <a:gd name="connsiteY50260" fmla="*/ 1605078 h 5973007"/>
              <a:gd name="connsiteX50261" fmla="*/ 4984205 w 6884782"/>
              <a:gd name="connsiteY50261" fmla="*/ 1597679 h 5973007"/>
              <a:gd name="connsiteX50262" fmla="*/ 1063746 w 6884782"/>
              <a:gd name="connsiteY50262" fmla="*/ 1597623 h 5973007"/>
              <a:gd name="connsiteX50263" fmla="*/ 1068599 w 6884782"/>
              <a:gd name="connsiteY50263" fmla="*/ 1598862 h 5973007"/>
              <a:gd name="connsiteX50264" fmla="*/ 1072420 w 6884782"/>
              <a:gd name="connsiteY50264" fmla="*/ 1600566 h 5973007"/>
              <a:gd name="connsiteX50265" fmla="*/ 1082745 w 6884782"/>
              <a:gd name="connsiteY50265" fmla="*/ 1609240 h 5973007"/>
              <a:gd name="connsiteX50266" fmla="*/ 1076963 w 6884782"/>
              <a:gd name="connsiteY50266" fmla="*/ 1607691 h 5973007"/>
              <a:gd name="connsiteX50267" fmla="*/ 1064985 w 6884782"/>
              <a:gd name="connsiteY50267" fmla="*/ 1601960 h 5973007"/>
              <a:gd name="connsiteX50268" fmla="*/ 1064365 w 6884782"/>
              <a:gd name="connsiteY50268" fmla="*/ 1599791 h 5973007"/>
              <a:gd name="connsiteX50269" fmla="*/ 1063642 w 6884782"/>
              <a:gd name="connsiteY50269" fmla="*/ 1599482 h 5973007"/>
              <a:gd name="connsiteX50270" fmla="*/ 1063333 w 6884782"/>
              <a:gd name="connsiteY50270" fmla="*/ 1598397 h 5973007"/>
              <a:gd name="connsiteX50271" fmla="*/ 1063746 w 6884782"/>
              <a:gd name="connsiteY50271" fmla="*/ 1597623 h 5973007"/>
              <a:gd name="connsiteX50272" fmla="*/ 1210473 w 6884782"/>
              <a:gd name="connsiteY50272" fmla="*/ 1597468 h 5973007"/>
              <a:gd name="connsiteX50273" fmla="*/ 1210473 w 6884782"/>
              <a:gd name="connsiteY50273" fmla="*/ 1599017 h 5973007"/>
              <a:gd name="connsiteX50274" fmla="*/ 1213261 w 6884782"/>
              <a:gd name="connsiteY50274" fmla="*/ 1600721 h 5973007"/>
              <a:gd name="connsiteX50275" fmla="*/ 1217907 w 6884782"/>
              <a:gd name="connsiteY50275" fmla="*/ 1601030 h 5973007"/>
              <a:gd name="connsiteX50276" fmla="*/ 1211712 w 6884782"/>
              <a:gd name="connsiteY50276" fmla="*/ 1601960 h 5973007"/>
              <a:gd name="connsiteX50277" fmla="*/ 1210783 w 6884782"/>
              <a:gd name="connsiteY50277" fmla="*/ 1602734 h 5973007"/>
              <a:gd name="connsiteX50278" fmla="*/ 1210783 w 6884782"/>
              <a:gd name="connsiteY50278" fmla="*/ 1602889 h 5973007"/>
              <a:gd name="connsiteX50279" fmla="*/ 1210370 w 6884782"/>
              <a:gd name="connsiteY50279" fmla="*/ 1603044 h 5973007"/>
              <a:gd name="connsiteX50280" fmla="*/ 1209647 w 6884782"/>
              <a:gd name="connsiteY50280" fmla="*/ 1603819 h 5973007"/>
              <a:gd name="connsiteX50281" fmla="*/ 1209234 w 6884782"/>
              <a:gd name="connsiteY50281" fmla="*/ 1603819 h 5973007"/>
              <a:gd name="connsiteX50282" fmla="*/ 1207478 w 6884782"/>
              <a:gd name="connsiteY50282" fmla="*/ 1605213 h 5973007"/>
              <a:gd name="connsiteX50283" fmla="*/ 1204381 w 6884782"/>
              <a:gd name="connsiteY50283" fmla="*/ 1608156 h 5973007"/>
              <a:gd name="connsiteX50284" fmla="*/ 1202316 w 6884782"/>
              <a:gd name="connsiteY50284" fmla="*/ 1604748 h 5973007"/>
              <a:gd name="connsiteX50285" fmla="*/ 1204174 w 6884782"/>
              <a:gd name="connsiteY50285" fmla="*/ 1602115 h 5973007"/>
              <a:gd name="connsiteX50286" fmla="*/ 1204174 w 6884782"/>
              <a:gd name="connsiteY50286" fmla="*/ 1601186 h 5973007"/>
              <a:gd name="connsiteX50287" fmla="*/ 1206239 w 6884782"/>
              <a:gd name="connsiteY50287" fmla="*/ 1599327 h 5973007"/>
              <a:gd name="connsiteX50288" fmla="*/ 1207375 w 6884782"/>
              <a:gd name="connsiteY50288" fmla="*/ 1599327 h 5973007"/>
              <a:gd name="connsiteX50289" fmla="*/ 6014596 w 6884782"/>
              <a:gd name="connsiteY50289" fmla="*/ 1597253 h 5973007"/>
              <a:gd name="connsiteX50290" fmla="*/ 6018010 w 6884782"/>
              <a:gd name="connsiteY50290" fmla="*/ 1603228 h 5973007"/>
              <a:gd name="connsiteX50291" fmla="*/ 6015449 w 6884782"/>
              <a:gd name="connsiteY50291" fmla="*/ 1624853 h 5973007"/>
              <a:gd name="connsiteX50292" fmla="*/ 6010968 w 6884782"/>
              <a:gd name="connsiteY50292" fmla="*/ 1611622 h 5973007"/>
              <a:gd name="connsiteX50293" fmla="*/ 6014596 w 6884782"/>
              <a:gd name="connsiteY50293" fmla="*/ 1597253 h 5973007"/>
              <a:gd name="connsiteX50294" fmla="*/ 4363153 w 6884782"/>
              <a:gd name="connsiteY50294" fmla="*/ 1597110 h 5973007"/>
              <a:gd name="connsiteX50295" fmla="*/ 4358031 w 6884782"/>
              <a:gd name="connsiteY50295" fmla="*/ 1602659 h 5973007"/>
              <a:gd name="connsiteX50296" fmla="*/ 4356324 w 6884782"/>
              <a:gd name="connsiteY50296" fmla="*/ 1599387 h 5973007"/>
              <a:gd name="connsiteX50297" fmla="*/ 4363153 w 6884782"/>
              <a:gd name="connsiteY50297" fmla="*/ 1597110 h 5973007"/>
              <a:gd name="connsiteX50298" fmla="*/ 933127 w 6884782"/>
              <a:gd name="connsiteY50298" fmla="*/ 1597003 h 5973007"/>
              <a:gd name="connsiteX50299" fmla="*/ 947789 w 6884782"/>
              <a:gd name="connsiteY50299" fmla="*/ 1607846 h 5973007"/>
              <a:gd name="connsiteX50300" fmla="*/ 933024 w 6884782"/>
              <a:gd name="connsiteY50300" fmla="*/ 1602425 h 5973007"/>
              <a:gd name="connsiteX50301" fmla="*/ 933127 w 6884782"/>
              <a:gd name="connsiteY50301" fmla="*/ 1597003 h 5973007"/>
              <a:gd name="connsiteX50302" fmla="*/ 5963161 w 6884782"/>
              <a:gd name="connsiteY50302" fmla="*/ 1596826 h 5973007"/>
              <a:gd name="connsiteX50303" fmla="*/ 5963801 w 6884782"/>
              <a:gd name="connsiteY50303" fmla="*/ 1601663 h 5973007"/>
              <a:gd name="connsiteX50304" fmla="*/ 5961667 w 6884782"/>
              <a:gd name="connsiteY50304" fmla="*/ 1601805 h 5973007"/>
              <a:gd name="connsiteX50305" fmla="*/ 5954625 w 6884782"/>
              <a:gd name="connsiteY50305" fmla="*/ 1607070 h 5973007"/>
              <a:gd name="connsiteX50306" fmla="*/ 5953984 w 6884782"/>
              <a:gd name="connsiteY50306" fmla="*/ 1607212 h 5973007"/>
              <a:gd name="connsiteX50307" fmla="*/ 5956118 w 6884782"/>
              <a:gd name="connsiteY50307" fmla="*/ 1608492 h 5973007"/>
              <a:gd name="connsiteX50308" fmla="*/ 5958893 w 6884782"/>
              <a:gd name="connsiteY50308" fmla="*/ 1609915 h 5973007"/>
              <a:gd name="connsiteX50309" fmla="*/ 5959106 w 6884782"/>
              <a:gd name="connsiteY50309" fmla="*/ 1610057 h 5973007"/>
              <a:gd name="connsiteX50310" fmla="*/ 5959746 w 6884782"/>
              <a:gd name="connsiteY50310" fmla="*/ 1609772 h 5973007"/>
              <a:gd name="connsiteX50311" fmla="*/ 5964228 w 6884782"/>
              <a:gd name="connsiteY50311" fmla="*/ 1610057 h 5973007"/>
              <a:gd name="connsiteX50312" fmla="*/ 5962948 w 6884782"/>
              <a:gd name="connsiteY50312" fmla="*/ 1610057 h 5973007"/>
              <a:gd name="connsiteX50313" fmla="*/ 5964228 w 6884782"/>
              <a:gd name="connsiteY50313" fmla="*/ 1611195 h 5973007"/>
              <a:gd name="connsiteX50314" fmla="*/ 5960600 w 6884782"/>
              <a:gd name="connsiteY50314" fmla="*/ 1612333 h 5973007"/>
              <a:gd name="connsiteX50315" fmla="*/ 5961027 w 6884782"/>
              <a:gd name="connsiteY50315" fmla="*/ 1613044 h 5973007"/>
              <a:gd name="connsiteX50316" fmla="*/ 5962948 w 6884782"/>
              <a:gd name="connsiteY50316" fmla="*/ 1617171 h 5973007"/>
              <a:gd name="connsiteX50317" fmla="*/ 5960387 w 6884782"/>
              <a:gd name="connsiteY50317" fmla="*/ 1619446 h 5973007"/>
              <a:gd name="connsiteX50318" fmla="*/ 5962521 w 6884782"/>
              <a:gd name="connsiteY50318" fmla="*/ 1621865 h 5973007"/>
              <a:gd name="connsiteX50319" fmla="*/ 5959746 w 6884782"/>
              <a:gd name="connsiteY50319" fmla="*/ 1637373 h 5973007"/>
              <a:gd name="connsiteX50320" fmla="*/ 5953558 w 6884782"/>
              <a:gd name="connsiteY50320" fmla="*/ 1640930 h 5973007"/>
              <a:gd name="connsiteX50321" fmla="*/ 5945661 w 6884782"/>
              <a:gd name="connsiteY50321" fmla="*/ 1638368 h 5973007"/>
              <a:gd name="connsiteX50322" fmla="*/ 5945020 w 6884782"/>
              <a:gd name="connsiteY50322" fmla="*/ 1622861 h 5973007"/>
              <a:gd name="connsiteX50323" fmla="*/ 5955905 w 6884782"/>
              <a:gd name="connsiteY50323" fmla="*/ 1617028 h 5973007"/>
              <a:gd name="connsiteX50324" fmla="*/ 5954838 w 6884782"/>
              <a:gd name="connsiteY50324" fmla="*/ 1616886 h 5973007"/>
              <a:gd name="connsiteX50325" fmla="*/ 5952703 w 6884782"/>
              <a:gd name="connsiteY50325" fmla="*/ 1614325 h 5973007"/>
              <a:gd name="connsiteX50326" fmla="*/ 5950783 w 6884782"/>
              <a:gd name="connsiteY50326" fmla="*/ 1614467 h 5973007"/>
              <a:gd name="connsiteX50327" fmla="*/ 5948435 w 6884782"/>
              <a:gd name="connsiteY50327" fmla="*/ 1614467 h 5973007"/>
              <a:gd name="connsiteX50328" fmla="*/ 5948222 w 6884782"/>
              <a:gd name="connsiteY50328" fmla="*/ 1613329 h 5973007"/>
              <a:gd name="connsiteX50329" fmla="*/ 5951423 w 6884782"/>
              <a:gd name="connsiteY50329" fmla="*/ 1612618 h 5973007"/>
              <a:gd name="connsiteX50330" fmla="*/ 5948008 w 6884782"/>
              <a:gd name="connsiteY50330" fmla="*/ 1608350 h 5973007"/>
              <a:gd name="connsiteX50331" fmla="*/ 5945234 w 6884782"/>
              <a:gd name="connsiteY50331" fmla="*/ 1608919 h 5973007"/>
              <a:gd name="connsiteX50332" fmla="*/ 5946942 w 6884782"/>
              <a:gd name="connsiteY50332" fmla="*/ 1606785 h 5973007"/>
              <a:gd name="connsiteX50333" fmla="*/ 5945234 w 6884782"/>
              <a:gd name="connsiteY50333" fmla="*/ 1603513 h 5973007"/>
              <a:gd name="connsiteX50334" fmla="*/ 5945020 w 6884782"/>
              <a:gd name="connsiteY50334" fmla="*/ 1600098 h 5973007"/>
              <a:gd name="connsiteX50335" fmla="*/ 5948222 w 6884782"/>
              <a:gd name="connsiteY50335" fmla="*/ 1601378 h 5973007"/>
              <a:gd name="connsiteX50336" fmla="*/ 5949289 w 6884782"/>
              <a:gd name="connsiteY50336" fmla="*/ 1602517 h 5973007"/>
              <a:gd name="connsiteX50337" fmla="*/ 5950356 w 6884782"/>
              <a:gd name="connsiteY50337" fmla="*/ 1602517 h 5973007"/>
              <a:gd name="connsiteX50338" fmla="*/ 5950356 w 6884782"/>
              <a:gd name="connsiteY50338" fmla="*/ 1602943 h 5973007"/>
              <a:gd name="connsiteX50339" fmla="*/ 5955265 w 6884782"/>
              <a:gd name="connsiteY50339" fmla="*/ 1600951 h 5973007"/>
              <a:gd name="connsiteX50340" fmla="*/ 5963161 w 6884782"/>
              <a:gd name="connsiteY50340" fmla="*/ 1596826 h 5973007"/>
              <a:gd name="connsiteX50341" fmla="*/ 1832398 w 6884782"/>
              <a:gd name="connsiteY50341" fmla="*/ 1596790 h 5973007"/>
              <a:gd name="connsiteX50342" fmla="*/ 1852933 w 6884782"/>
              <a:gd name="connsiteY50342" fmla="*/ 1597158 h 5973007"/>
              <a:gd name="connsiteX50343" fmla="*/ 1850662 w 6884782"/>
              <a:gd name="connsiteY50343" fmla="*/ 1625504 h 5973007"/>
              <a:gd name="connsiteX50344" fmla="*/ 1848906 w 6884782"/>
              <a:gd name="connsiteY50344" fmla="*/ 1626278 h 5973007"/>
              <a:gd name="connsiteX50345" fmla="*/ 1850455 w 6884782"/>
              <a:gd name="connsiteY50345" fmla="*/ 1626743 h 5973007"/>
              <a:gd name="connsiteX50346" fmla="*/ 1856547 w 6884782"/>
              <a:gd name="connsiteY50346" fmla="*/ 1629067 h 5973007"/>
              <a:gd name="connsiteX50347" fmla="*/ 1860264 w 6884782"/>
              <a:gd name="connsiteY50347" fmla="*/ 1631390 h 5973007"/>
              <a:gd name="connsiteX50348" fmla="*/ 1861813 w 6884782"/>
              <a:gd name="connsiteY50348" fmla="*/ 1627518 h 5973007"/>
              <a:gd name="connsiteX50349" fmla="*/ 1867492 w 6884782"/>
              <a:gd name="connsiteY50349" fmla="*/ 1623800 h 5973007"/>
              <a:gd name="connsiteX50350" fmla="*/ 1876063 w 6884782"/>
              <a:gd name="connsiteY50350" fmla="*/ 1629686 h 5973007"/>
              <a:gd name="connsiteX50351" fmla="*/ 1878540 w 6884782"/>
              <a:gd name="connsiteY50351" fmla="*/ 1635727 h 5973007"/>
              <a:gd name="connsiteX50352" fmla="*/ 1883497 w 6884782"/>
              <a:gd name="connsiteY50352" fmla="*/ 1638361 h 5973007"/>
              <a:gd name="connsiteX50353" fmla="*/ 1887421 w 6884782"/>
              <a:gd name="connsiteY50353" fmla="*/ 1645021 h 5973007"/>
              <a:gd name="connsiteX50354" fmla="*/ 1886492 w 6884782"/>
              <a:gd name="connsiteY50354" fmla="*/ 1653850 h 5973007"/>
              <a:gd name="connsiteX50355" fmla="*/ 1885562 w 6884782"/>
              <a:gd name="connsiteY50355" fmla="*/ 1655709 h 5973007"/>
              <a:gd name="connsiteX50356" fmla="*/ 1885872 w 6884782"/>
              <a:gd name="connsiteY50356" fmla="*/ 1656174 h 5973007"/>
              <a:gd name="connsiteX50357" fmla="*/ 1887421 w 6884782"/>
              <a:gd name="connsiteY50357" fmla="*/ 1664073 h 5973007"/>
              <a:gd name="connsiteX50358" fmla="*/ 1868732 w 6884782"/>
              <a:gd name="connsiteY50358" fmla="*/ 1661440 h 5973007"/>
              <a:gd name="connsiteX50359" fmla="*/ 1875753 w 6884782"/>
              <a:gd name="connsiteY50359" fmla="*/ 1657723 h 5973007"/>
              <a:gd name="connsiteX50360" fmla="*/ 1878128 w 6884782"/>
              <a:gd name="connsiteY50360" fmla="*/ 1655554 h 5973007"/>
              <a:gd name="connsiteX50361" fmla="*/ 1873688 w 6884782"/>
              <a:gd name="connsiteY50361" fmla="*/ 1648429 h 5973007"/>
              <a:gd name="connsiteX50362" fmla="*/ 1872345 w 6884782"/>
              <a:gd name="connsiteY50362" fmla="*/ 1643472 h 5973007"/>
              <a:gd name="connsiteX50363" fmla="*/ 1870590 w 6884782"/>
              <a:gd name="connsiteY50363" fmla="*/ 1644247 h 5973007"/>
              <a:gd name="connsiteX50364" fmla="*/ 1859129 w 6884782"/>
              <a:gd name="connsiteY50364" fmla="*/ 1640529 h 5973007"/>
              <a:gd name="connsiteX50365" fmla="*/ 1858612 w 6884782"/>
              <a:gd name="connsiteY50365" fmla="*/ 1635263 h 5973007"/>
              <a:gd name="connsiteX50366" fmla="*/ 1859129 w 6884782"/>
              <a:gd name="connsiteY50366" fmla="*/ 1634023 h 5973007"/>
              <a:gd name="connsiteX50367" fmla="*/ 1855618 w 6884782"/>
              <a:gd name="connsiteY50367" fmla="*/ 1634953 h 5973007"/>
              <a:gd name="connsiteX50368" fmla="*/ 1846944 w 6884782"/>
              <a:gd name="connsiteY50368" fmla="*/ 1633249 h 5973007"/>
              <a:gd name="connsiteX50369" fmla="*/ 1843124 w 6884782"/>
              <a:gd name="connsiteY50369" fmla="*/ 1630771 h 5973007"/>
              <a:gd name="connsiteX50370" fmla="*/ 1842917 w 6884782"/>
              <a:gd name="connsiteY50370" fmla="*/ 1632165 h 5973007"/>
              <a:gd name="connsiteX50371" fmla="*/ 1818652 w 6884782"/>
              <a:gd name="connsiteY50371" fmla="*/ 1634488 h 5973007"/>
              <a:gd name="connsiteX50372" fmla="*/ 1817826 w 6884782"/>
              <a:gd name="connsiteY50372" fmla="*/ 1630306 h 5973007"/>
              <a:gd name="connsiteX50373" fmla="*/ 1821956 w 6884782"/>
              <a:gd name="connsiteY50373" fmla="*/ 1624730 h 5973007"/>
              <a:gd name="connsiteX50374" fmla="*/ 1820407 w 6884782"/>
              <a:gd name="connsiteY50374" fmla="*/ 1623336 h 5973007"/>
              <a:gd name="connsiteX50375" fmla="*/ 1814729 w 6884782"/>
              <a:gd name="connsiteY50375" fmla="*/ 1615126 h 5973007"/>
              <a:gd name="connsiteX50376" fmla="*/ 1832398 w 6884782"/>
              <a:gd name="connsiteY50376" fmla="*/ 1596790 h 5973007"/>
              <a:gd name="connsiteX50377" fmla="*/ 5238388 w 6884782"/>
              <a:gd name="connsiteY50377" fmla="*/ 1596399 h 5973007"/>
              <a:gd name="connsiteX50378" fmla="*/ 5243083 w 6884782"/>
              <a:gd name="connsiteY50378" fmla="*/ 1596399 h 5973007"/>
              <a:gd name="connsiteX50379" fmla="*/ 5249486 w 6884782"/>
              <a:gd name="connsiteY50379" fmla="*/ 1605362 h 5973007"/>
              <a:gd name="connsiteX50380" fmla="*/ 5249486 w 6884782"/>
              <a:gd name="connsiteY50380" fmla="*/ 1609772 h 5973007"/>
              <a:gd name="connsiteX50381" fmla="*/ 5236894 w 6884782"/>
              <a:gd name="connsiteY50381" fmla="*/ 1609488 h 5973007"/>
              <a:gd name="connsiteX50382" fmla="*/ 5233479 w 6884782"/>
              <a:gd name="connsiteY50382" fmla="*/ 1609772 h 5973007"/>
              <a:gd name="connsiteX50383" fmla="*/ 5235827 w 6884782"/>
              <a:gd name="connsiteY50383" fmla="*/ 1612760 h 5973007"/>
              <a:gd name="connsiteX50384" fmla="*/ 5236467 w 6884782"/>
              <a:gd name="connsiteY50384" fmla="*/ 1620869 h 5973007"/>
              <a:gd name="connsiteX50385" fmla="*/ 5219180 w 6884782"/>
              <a:gd name="connsiteY50385" fmla="*/ 1634243 h 5973007"/>
              <a:gd name="connsiteX50386" fmla="*/ 5215978 w 6884782"/>
              <a:gd name="connsiteY50386" fmla="*/ 1633531 h 5973007"/>
              <a:gd name="connsiteX50387" fmla="*/ 5210857 w 6884782"/>
              <a:gd name="connsiteY50387" fmla="*/ 1633958 h 5973007"/>
              <a:gd name="connsiteX50388" fmla="*/ 5209576 w 6884782"/>
              <a:gd name="connsiteY50388" fmla="*/ 1618593 h 5973007"/>
              <a:gd name="connsiteX50389" fmla="*/ 5220887 w 6884782"/>
              <a:gd name="connsiteY50389" fmla="*/ 1604935 h 5973007"/>
              <a:gd name="connsiteX50390" fmla="*/ 5224729 w 6884782"/>
              <a:gd name="connsiteY50390" fmla="*/ 1604793 h 5973007"/>
              <a:gd name="connsiteX50391" fmla="*/ 5225796 w 6884782"/>
              <a:gd name="connsiteY50391" fmla="*/ 1601236 h 5973007"/>
              <a:gd name="connsiteX50392" fmla="*/ 5238388 w 6884782"/>
              <a:gd name="connsiteY50392" fmla="*/ 1596399 h 5973007"/>
              <a:gd name="connsiteX50393" fmla="*/ 1262101 w 6884782"/>
              <a:gd name="connsiteY50393" fmla="*/ 1596384 h 5973007"/>
              <a:gd name="connsiteX50394" fmla="*/ 1266438 w 6884782"/>
              <a:gd name="connsiteY50394" fmla="*/ 1598552 h 5973007"/>
              <a:gd name="connsiteX50395" fmla="*/ 1267470 w 6884782"/>
              <a:gd name="connsiteY50395" fmla="*/ 1596848 h 5973007"/>
              <a:gd name="connsiteX50396" fmla="*/ 1272427 w 6884782"/>
              <a:gd name="connsiteY50396" fmla="*/ 1597313 h 5973007"/>
              <a:gd name="connsiteX50397" fmla="*/ 1271291 w 6884782"/>
              <a:gd name="connsiteY50397" fmla="*/ 1606142 h 5973007"/>
              <a:gd name="connsiteX50398" fmla="*/ 1270362 w 6884782"/>
              <a:gd name="connsiteY50398" fmla="*/ 1605677 h 5973007"/>
              <a:gd name="connsiteX50399" fmla="*/ 1270258 w 6884782"/>
              <a:gd name="connsiteY50399" fmla="*/ 1606762 h 5973007"/>
              <a:gd name="connsiteX50400" fmla="*/ 1268606 w 6884782"/>
              <a:gd name="connsiteY50400" fmla="*/ 1609395 h 5973007"/>
              <a:gd name="connsiteX50401" fmla="*/ 1257351 w 6884782"/>
              <a:gd name="connsiteY50401" fmla="*/ 1611564 h 5973007"/>
              <a:gd name="connsiteX50402" fmla="*/ 1256422 w 6884782"/>
              <a:gd name="connsiteY50402" fmla="*/ 1610479 h 5973007"/>
              <a:gd name="connsiteX50403" fmla="*/ 1255286 w 6884782"/>
              <a:gd name="connsiteY50403" fmla="*/ 1611564 h 5973007"/>
              <a:gd name="connsiteX50404" fmla="*/ 1247542 w 6884782"/>
              <a:gd name="connsiteY50404" fmla="*/ 1611254 h 5973007"/>
              <a:gd name="connsiteX50405" fmla="*/ 1247232 w 6884782"/>
              <a:gd name="connsiteY50405" fmla="*/ 1610634 h 5973007"/>
              <a:gd name="connsiteX50406" fmla="*/ 1246716 w 6884782"/>
              <a:gd name="connsiteY50406" fmla="*/ 1611099 h 5973007"/>
              <a:gd name="connsiteX50407" fmla="*/ 1240830 w 6884782"/>
              <a:gd name="connsiteY50407" fmla="*/ 1614041 h 5973007"/>
              <a:gd name="connsiteX50408" fmla="*/ 1241863 w 6884782"/>
              <a:gd name="connsiteY50408" fmla="*/ 1611408 h 5973007"/>
              <a:gd name="connsiteX50409" fmla="*/ 1242689 w 6884782"/>
              <a:gd name="connsiteY50409" fmla="*/ 1610634 h 5973007"/>
              <a:gd name="connsiteX50410" fmla="*/ 1242792 w 6884782"/>
              <a:gd name="connsiteY50410" fmla="*/ 1609705 h 5973007"/>
              <a:gd name="connsiteX50411" fmla="*/ 1243618 w 6884782"/>
              <a:gd name="connsiteY50411" fmla="*/ 1609705 h 5973007"/>
              <a:gd name="connsiteX50412" fmla="*/ 1245477 w 6884782"/>
              <a:gd name="connsiteY50412" fmla="*/ 1608001 h 5973007"/>
              <a:gd name="connsiteX50413" fmla="*/ 1245787 w 6884782"/>
              <a:gd name="connsiteY50413" fmla="*/ 1607226 h 5973007"/>
              <a:gd name="connsiteX50414" fmla="*/ 1245993 w 6884782"/>
              <a:gd name="connsiteY50414" fmla="*/ 1606917 h 5973007"/>
              <a:gd name="connsiteX50415" fmla="*/ 1247129 w 6884782"/>
              <a:gd name="connsiteY50415" fmla="*/ 1605058 h 5973007"/>
              <a:gd name="connsiteX50416" fmla="*/ 1248265 w 6884782"/>
              <a:gd name="connsiteY50416" fmla="*/ 1602734 h 5973007"/>
              <a:gd name="connsiteX50417" fmla="*/ 1253634 w 6884782"/>
              <a:gd name="connsiteY50417" fmla="*/ 1599172 h 5973007"/>
              <a:gd name="connsiteX50418" fmla="*/ 1255286 w 6884782"/>
              <a:gd name="connsiteY50418" fmla="*/ 1600721 h 5973007"/>
              <a:gd name="connsiteX50419" fmla="*/ 1257041 w 6884782"/>
              <a:gd name="connsiteY50419" fmla="*/ 1599017 h 5973007"/>
              <a:gd name="connsiteX50420" fmla="*/ 1262101 w 6884782"/>
              <a:gd name="connsiteY50420" fmla="*/ 1596384 h 5973007"/>
              <a:gd name="connsiteX50421" fmla="*/ 1381156 w 6884782"/>
              <a:gd name="connsiteY50421" fmla="*/ 1595919 h 5973007"/>
              <a:gd name="connsiteX50422" fmla="*/ 1383634 w 6884782"/>
              <a:gd name="connsiteY50422" fmla="*/ 1596384 h 5973007"/>
              <a:gd name="connsiteX50423" fmla="*/ 1382395 w 6884782"/>
              <a:gd name="connsiteY50423" fmla="*/ 1599637 h 5973007"/>
              <a:gd name="connsiteX50424" fmla="*/ 1380123 w 6884782"/>
              <a:gd name="connsiteY50424" fmla="*/ 1596848 h 5973007"/>
              <a:gd name="connsiteX50425" fmla="*/ 1381156 w 6884782"/>
              <a:gd name="connsiteY50425" fmla="*/ 1595919 h 5973007"/>
              <a:gd name="connsiteX50426" fmla="*/ 4998291 w 6884782"/>
              <a:gd name="connsiteY50426" fmla="*/ 1595830 h 5973007"/>
              <a:gd name="connsiteX50427" fmla="*/ 5001065 w 6884782"/>
              <a:gd name="connsiteY50427" fmla="*/ 1597253 h 5973007"/>
              <a:gd name="connsiteX50428" fmla="*/ 5001278 w 6884782"/>
              <a:gd name="connsiteY50428" fmla="*/ 1603370 h 5973007"/>
              <a:gd name="connsiteX50429" fmla="*/ 4996796 w 6884782"/>
              <a:gd name="connsiteY50429" fmla="*/ 1607923 h 5973007"/>
              <a:gd name="connsiteX50430" fmla="*/ 4995943 w 6884782"/>
              <a:gd name="connsiteY50430" fmla="*/ 1611622 h 5973007"/>
              <a:gd name="connsiteX50431" fmla="*/ 4994663 w 6884782"/>
              <a:gd name="connsiteY50431" fmla="*/ 1611480 h 5973007"/>
              <a:gd name="connsiteX50432" fmla="*/ 4996370 w 6884782"/>
              <a:gd name="connsiteY50432" fmla="*/ 1597110 h 5973007"/>
              <a:gd name="connsiteX50433" fmla="*/ 4998291 w 6884782"/>
              <a:gd name="connsiteY50433" fmla="*/ 1595830 h 5973007"/>
              <a:gd name="connsiteX50434" fmla="*/ 1554419 w 6884782"/>
              <a:gd name="connsiteY50434" fmla="*/ 1595609 h 5973007"/>
              <a:gd name="connsiteX50435" fmla="*/ 1557724 w 6884782"/>
              <a:gd name="connsiteY50435" fmla="*/ 1596693 h 5973007"/>
              <a:gd name="connsiteX50436" fmla="*/ 1556071 w 6884782"/>
              <a:gd name="connsiteY50436" fmla="*/ 1597933 h 5973007"/>
              <a:gd name="connsiteX50437" fmla="*/ 1555245 w 6884782"/>
              <a:gd name="connsiteY50437" fmla="*/ 1598242 h 5973007"/>
              <a:gd name="connsiteX50438" fmla="*/ 1553077 w 6884782"/>
              <a:gd name="connsiteY50438" fmla="*/ 1600876 h 5973007"/>
              <a:gd name="connsiteX50439" fmla="*/ 1552767 w 6884782"/>
              <a:gd name="connsiteY50439" fmla="*/ 1601650 h 5973007"/>
              <a:gd name="connsiteX50440" fmla="*/ 1553180 w 6884782"/>
              <a:gd name="connsiteY50440" fmla="*/ 1601805 h 5973007"/>
              <a:gd name="connsiteX50441" fmla="*/ 1555142 w 6884782"/>
              <a:gd name="connsiteY50441" fmla="*/ 1606607 h 5973007"/>
              <a:gd name="connsiteX50442" fmla="*/ 1553800 w 6884782"/>
              <a:gd name="connsiteY50442" fmla="*/ 1607846 h 5973007"/>
              <a:gd name="connsiteX50443" fmla="*/ 1551322 w 6884782"/>
              <a:gd name="connsiteY50443" fmla="*/ 1606452 h 5973007"/>
              <a:gd name="connsiteX50444" fmla="*/ 1551115 w 6884782"/>
              <a:gd name="connsiteY50444" fmla="*/ 1607226 h 5973007"/>
              <a:gd name="connsiteX50445" fmla="*/ 1545230 w 6884782"/>
              <a:gd name="connsiteY50445" fmla="*/ 1623491 h 5973007"/>
              <a:gd name="connsiteX50446" fmla="*/ 1544507 w 6884782"/>
              <a:gd name="connsiteY50446" fmla="*/ 1618224 h 5973007"/>
              <a:gd name="connsiteX50447" fmla="*/ 1543371 w 6884782"/>
              <a:gd name="connsiteY50447" fmla="*/ 1618998 h 5973007"/>
              <a:gd name="connsiteX50448" fmla="*/ 1538518 w 6884782"/>
              <a:gd name="connsiteY50448" fmla="*/ 1618998 h 5973007"/>
              <a:gd name="connsiteX50449" fmla="*/ 1535627 w 6884782"/>
              <a:gd name="connsiteY50449" fmla="*/ 1616210 h 5973007"/>
              <a:gd name="connsiteX50450" fmla="*/ 1534904 w 6884782"/>
              <a:gd name="connsiteY50450" fmla="*/ 1614662 h 5973007"/>
              <a:gd name="connsiteX50451" fmla="*/ 1537485 w 6884782"/>
              <a:gd name="connsiteY50451" fmla="*/ 1611254 h 5973007"/>
              <a:gd name="connsiteX50452" fmla="*/ 1541409 w 6884782"/>
              <a:gd name="connsiteY50452" fmla="*/ 1610789 h 5973007"/>
              <a:gd name="connsiteX50453" fmla="*/ 1543474 w 6884782"/>
              <a:gd name="connsiteY50453" fmla="*/ 1612028 h 5973007"/>
              <a:gd name="connsiteX50454" fmla="*/ 1543371 w 6884782"/>
              <a:gd name="connsiteY50454" fmla="*/ 1611254 h 5973007"/>
              <a:gd name="connsiteX50455" fmla="*/ 1543474 w 6884782"/>
              <a:gd name="connsiteY50455" fmla="*/ 1610169 h 5973007"/>
              <a:gd name="connsiteX50456" fmla="*/ 1541925 w 6884782"/>
              <a:gd name="connsiteY50456" fmla="*/ 1609860 h 5973007"/>
              <a:gd name="connsiteX50457" fmla="*/ 1543474 w 6884782"/>
              <a:gd name="connsiteY50457" fmla="*/ 1606762 h 5973007"/>
              <a:gd name="connsiteX50458" fmla="*/ 1543784 w 6884782"/>
              <a:gd name="connsiteY50458" fmla="*/ 1607072 h 5973007"/>
              <a:gd name="connsiteX50459" fmla="*/ 1544094 w 6884782"/>
              <a:gd name="connsiteY50459" fmla="*/ 1604593 h 5973007"/>
              <a:gd name="connsiteX50460" fmla="*/ 1547295 w 6884782"/>
              <a:gd name="connsiteY50460" fmla="*/ 1597003 h 5973007"/>
              <a:gd name="connsiteX50461" fmla="*/ 1551735 w 6884782"/>
              <a:gd name="connsiteY50461" fmla="*/ 1596074 h 5973007"/>
              <a:gd name="connsiteX50462" fmla="*/ 1553593 w 6884782"/>
              <a:gd name="connsiteY50462" fmla="*/ 1596074 h 5973007"/>
              <a:gd name="connsiteX50463" fmla="*/ 978353 w 6884782"/>
              <a:gd name="connsiteY50463" fmla="*/ 1595609 h 5973007"/>
              <a:gd name="connsiteX50464" fmla="*/ 984652 w 6884782"/>
              <a:gd name="connsiteY50464" fmla="*/ 1596074 h 5973007"/>
              <a:gd name="connsiteX50465" fmla="*/ 985994 w 6884782"/>
              <a:gd name="connsiteY50465" fmla="*/ 1598552 h 5973007"/>
              <a:gd name="connsiteX50466" fmla="*/ 984549 w 6884782"/>
              <a:gd name="connsiteY50466" fmla="*/ 1602425 h 5973007"/>
              <a:gd name="connsiteX50467" fmla="*/ 977837 w 6884782"/>
              <a:gd name="connsiteY50467" fmla="*/ 1598087 h 5973007"/>
              <a:gd name="connsiteX50468" fmla="*/ 978353 w 6884782"/>
              <a:gd name="connsiteY50468" fmla="*/ 1595609 h 5973007"/>
              <a:gd name="connsiteX50469" fmla="*/ 872722 w 6884782"/>
              <a:gd name="connsiteY50469" fmla="*/ 1594990 h 5973007"/>
              <a:gd name="connsiteX50470" fmla="*/ 876233 w 6884782"/>
              <a:gd name="connsiteY50470" fmla="*/ 1595299 h 5973007"/>
              <a:gd name="connsiteX50471" fmla="*/ 877885 w 6884782"/>
              <a:gd name="connsiteY50471" fmla="*/ 1597158 h 5973007"/>
              <a:gd name="connsiteX50472" fmla="*/ 877059 w 6884782"/>
              <a:gd name="connsiteY50472" fmla="*/ 1598707 h 5973007"/>
              <a:gd name="connsiteX50473" fmla="*/ 877059 w 6884782"/>
              <a:gd name="connsiteY50473" fmla="*/ 1600411 h 5973007"/>
              <a:gd name="connsiteX50474" fmla="*/ 876129 w 6884782"/>
              <a:gd name="connsiteY50474" fmla="*/ 1600256 h 5973007"/>
              <a:gd name="connsiteX50475" fmla="*/ 875200 w 6884782"/>
              <a:gd name="connsiteY50475" fmla="*/ 1601030 h 5973007"/>
              <a:gd name="connsiteX50476" fmla="*/ 871689 w 6884782"/>
              <a:gd name="connsiteY50476" fmla="*/ 1599017 h 5973007"/>
              <a:gd name="connsiteX50477" fmla="*/ 870657 w 6884782"/>
              <a:gd name="connsiteY50477" fmla="*/ 1597158 h 5973007"/>
              <a:gd name="connsiteX50478" fmla="*/ 870966 w 6884782"/>
              <a:gd name="connsiteY50478" fmla="*/ 1595609 h 5973007"/>
              <a:gd name="connsiteX50479" fmla="*/ 872722 w 6884782"/>
              <a:gd name="connsiteY50479" fmla="*/ 1594990 h 5973007"/>
              <a:gd name="connsiteX50480" fmla="*/ 795073 w 6884782"/>
              <a:gd name="connsiteY50480" fmla="*/ 1594215 h 5973007"/>
              <a:gd name="connsiteX50481" fmla="*/ 801268 w 6884782"/>
              <a:gd name="connsiteY50481" fmla="*/ 1597313 h 5973007"/>
              <a:gd name="connsiteX50482" fmla="*/ 794970 w 6884782"/>
              <a:gd name="connsiteY50482" fmla="*/ 1599791 h 5973007"/>
              <a:gd name="connsiteX50483" fmla="*/ 794454 w 6884782"/>
              <a:gd name="connsiteY50483" fmla="*/ 1597158 h 5973007"/>
              <a:gd name="connsiteX50484" fmla="*/ 795073 w 6884782"/>
              <a:gd name="connsiteY50484" fmla="*/ 1594215 h 5973007"/>
              <a:gd name="connsiteX50485" fmla="*/ 3487492 w 6884782"/>
              <a:gd name="connsiteY50485" fmla="*/ 1594123 h 5973007"/>
              <a:gd name="connsiteX50486" fmla="*/ 3489840 w 6884782"/>
              <a:gd name="connsiteY50486" fmla="*/ 1595830 h 5973007"/>
              <a:gd name="connsiteX50487" fmla="*/ 3487278 w 6884782"/>
              <a:gd name="connsiteY50487" fmla="*/ 1602232 h 5973007"/>
              <a:gd name="connsiteX50488" fmla="*/ 3484078 w 6884782"/>
              <a:gd name="connsiteY50488" fmla="*/ 1601236 h 5973007"/>
              <a:gd name="connsiteX50489" fmla="*/ 3487492 w 6884782"/>
              <a:gd name="connsiteY50489" fmla="*/ 1594123 h 5973007"/>
              <a:gd name="connsiteX50490" fmla="*/ 3637953 w 6884782"/>
              <a:gd name="connsiteY50490" fmla="*/ 1593838 h 5973007"/>
              <a:gd name="connsiteX50491" fmla="*/ 3636886 w 6884782"/>
              <a:gd name="connsiteY50491" fmla="*/ 1596114 h 5973007"/>
              <a:gd name="connsiteX50492" fmla="*/ 3634752 w 6884782"/>
              <a:gd name="connsiteY50492" fmla="*/ 1598391 h 5973007"/>
              <a:gd name="connsiteX50493" fmla="*/ 3634965 w 6884782"/>
              <a:gd name="connsiteY50493" fmla="*/ 1600809 h 5973007"/>
              <a:gd name="connsiteX50494" fmla="*/ 3632191 w 6884782"/>
              <a:gd name="connsiteY50494" fmla="*/ 1604651 h 5973007"/>
              <a:gd name="connsiteX50495" fmla="*/ 3633044 w 6884782"/>
              <a:gd name="connsiteY50495" fmla="*/ 1604793 h 5973007"/>
              <a:gd name="connsiteX50496" fmla="*/ 3646276 w 6884782"/>
              <a:gd name="connsiteY50496" fmla="*/ 1609915 h 5973007"/>
              <a:gd name="connsiteX50497" fmla="*/ 3647130 w 6884782"/>
              <a:gd name="connsiteY50497" fmla="*/ 1613614 h 5973007"/>
              <a:gd name="connsiteX50498" fmla="*/ 3639874 w 6884782"/>
              <a:gd name="connsiteY50498" fmla="*/ 1624142 h 5973007"/>
              <a:gd name="connsiteX50499" fmla="*/ 3634752 w 6884782"/>
              <a:gd name="connsiteY50499" fmla="*/ 1626133 h 5973007"/>
              <a:gd name="connsiteX50500" fmla="*/ 3636886 w 6884782"/>
              <a:gd name="connsiteY50500" fmla="*/ 1626560 h 5973007"/>
              <a:gd name="connsiteX50501" fmla="*/ 3639874 w 6884782"/>
              <a:gd name="connsiteY50501" fmla="*/ 1628267 h 5973007"/>
              <a:gd name="connsiteX50502" fmla="*/ 3636886 w 6884782"/>
              <a:gd name="connsiteY50502" fmla="*/ 1627272 h 5973007"/>
              <a:gd name="connsiteX50503" fmla="*/ 3634538 w 6884782"/>
              <a:gd name="connsiteY50503" fmla="*/ 1628267 h 5973007"/>
              <a:gd name="connsiteX50504" fmla="*/ 3633258 w 6884782"/>
              <a:gd name="connsiteY50504" fmla="*/ 1627556 h 5973007"/>
              <a:gd name="connsiteX50505" fmla="*/ 3632831 w 6884782"/>
              <a:gd name="connsiteY50505" fmla="*/ 1626845 h 5973007"/>
              <a:gd name="connsiteX50506" fmla="*/ 3625788 w 6884782"/>
              <a:gd name="connsiteY50506" fmla="*/ 1626845 h 5973007"/>
              <a:gd name="connsiteX50507" fmla="*/ 3618532 w 6884782"/>
              <a:gd name="connsiteY50507" fmla="*/ 1624995 h 5973007"/>
              <a:gd name="connsiteX50508" fmla="*/ 3615757 w 6884782"/>
              <a:gd name="connsiteY50508" fmla="*/ 1624284 h 5973007"/>
              <a:gd name="connsiteX50509" fmla="*/ 3608074 w 6884782"/>
              <a:gd name="connsiteY50509" fmla="*/ 1619731 h 5973007"/>
              <a:gd name="connsiteX50510" fmla="*/ 3608501 w 6884782"/>
              <a:gd name="connsiteY50510" fmla="*/ 1620300 h 5973007"/>
              <a:gd name="connsiteX50511" fmla="*/ 3605726 w 6884782"/>
              <a:gd name="connsiteY50511" fmla="*/ 1628552 h 5973007"/>
              <a:gd name="connsiteX50512" fmla="*/ 3603379 w 6884782"/>
              <a:gd name="connsiteY50512" fmla="*/ 1629121 h 5973007"/>
              <a:gd name="connsiteX50513" fmla="*/ 3605086 w 6884782"/>
              <a:gd name="connsiteY50513" fmla="*/ 1632251 h 5973007"/>
              <a:gd name="connsiteX50514" fmla="*/ 3605086 w 6884782"/>
              <a:gd name="connsiteY50514" fmla="*/ 1632394 h 5973007"/>
              <a:gd name="connsiteX50515" fmla="*/ 3614904 w 6884782"/>
              <a:gd name="connsiteY50515" fmla="*/ 1633247 h 5973007"/>
              <a:gd name="connsiteX50516" fmla="*/ 3617251 w 6884782"/>
              <a:gd name="connsiteY50516" fmla="*/ 1634812 h 5973007"/>
              <a:gd name="connsiteX50517" fmla="*/ 3619813 w 6884782"/>
              <a:gd name="connsiteY50517" fmla="*/ 1634669 h 5973007"/>
              <a:gd name="connsiteX50518" fmla="*/ 3618958 w 6884782"/>
              <a:gd name="connsiteY50518" fmla="*/ 1636092 h 5973007"/>
              <a:gd name="connsiteX50519" fmla="*/ 3619385 w 6884782"/>
              <a:gd name="connsiteY50519" fmla="*/ 1636234 h 5973007"/>
              <a:gd name="connsiteX50520" fmla="*/ 3618745 w 6884782"/>
              <a:gd name="connsiteY50520" fmla="*/ 1636661 h 5973007"/>
              <a:gd name="connsiteX50521" fmla="*/ 3619172 w 6884782"/>
              <a:gd name="connsiteY50521" fmla="*/ 1637231 h 5973007"/>
              <a:gd name="connsiteX50522" fmla="*/ 3619385 w 6884782"/>
              <a:gd name="connsiteY50522" fmla="*/ 1640076 h 5973007"/>
              <a:gd name="connsiteX50523" fmla="*/ 3614050 w 6884782"/>
              <a:gd name="connsiteY50523" fmla="*/ 1642352 h 5973007"/>
              <a:gd name="connsiteX50524" fmla="*/ 3609141 w 6884782"/>
              <a:gd name="connsiteY50524" fmla="*/ 1638084 h 5973007"/>
              <a:gd name="connsiteX50525" fmla="*/ 3605300 w 6884782"/>
              <a:gd name="connsiteY50525" fmla="*/ 1635950 h 5973007"/>
              <a:gd name="connsiteX50526" fmla="*/ 3605086 w 6884782"/>
              <a:gd name="connsiteY50526" fmla="*/ 1633104 h 5973007"/>
              <a:gd name="connsiteX50527" fmla="*/ 3604873 w 6884782"/>
              <a:gd name="connsiteY50527" fmla="*/ 1635096 h 5973007"/>
              <a:gd name="connsiteX50528" fmla="*/ 3603379 w 6884782"/>
              <a:gd name="connsiteY50528" fmla="*/ 1636946 h 5973007"/>
              <a:gd name="connsiteX50529" fmla="*/ 3600818 w 6884782"/>
              <a:gd name="connsiteY50529" fmla="*/ 1636803 h 5973007"/>
              <a:gd name="connsiteX50530" fmla="*/ 3596976 w 6884782"/>
              <a:gd name="connsiteY50530" fmla="*/ 1634385 h 5973007"/>
              <a:gd name="connsiteX50531" fmla="*/ 3596336 w 6884782"/>
              <a:gd name="connsiteY50531" fmla="*/ 1631113 h 5973007"/>
              <a:gd name="connsiteX50532" fmla="*/ 3597403 w 6884782"/>
              <a:gd name="connsiteY50532" fmla="*/ 1630259 h 5973007"/>
              <a:gd name="connsiteX50533" fmla="*/ 3596549 w 6884782"/>
              <a:gd name="connsiteY50533" fmla="*/ 1628979 h 5973007"/>
              <a:gd name="connsiteX50534" fmla="*/ 3594628 w 6884782"/>
              <a:gd name="connsiteY50534" fmla="*/ 1623857 h 5973007"/>
              <a:gd name="connsiteX50535" fmla="*/ 3598470 w 6884782"/>
              <a:gd name="connsiteY50535" fmla="*/ 1628694 h 5973007"/>
              <a:gd name="connsiteX50536" fmla="*/ 3596976 w 6884782"/>
              <a:gd name="connsiteY50536" fmla="*/ 1622719 h 5973007"/>
              <a:gd name="connsiteX50537" fmla="*/ 3598897 w 6884782"/>
              <a:gd name="connsiteY50537" fmla="*/ 1615748 h 5973007"/>
              <a:gd name="connsiteX50538" fmla="*/ 3604446 w 6884782"/>
              <a:gd name="connsiteY50538" fmla="*/ 1616744 h 5973007"/>
              <a:gd name="connsiteX50539" fmla="*/ 3604019 w 6884782"/>
              <a:gd name="connsiteY50539" fmla="*/ 1616174 h 5973007"/>
              <a:gd name="connsiteX50540" fmla="*/ 3624721 w 6884782"/>
              <a:gd name="connsiteY50540" fmla="*/ 1603655 h 5973007"/>
              <a:gd name="connsiteX50541" fmla="*/ 3627709 w 6884782"/>
              <a:gd name="connsiteY50541" fmla="*/ 1604082 h 5973007"/>
              <a:gd name="connsiteX50542" fmla="*/ 3628349 w 6884782"/>
              <a:gd name="connsiteY50542" fmla="*/ 1602943 h 5973007"/>
              <a:gd name="connsiteX50543" fmla="*/ 3630484 w 6884782"/>
              <a:gd name="connsiteY50543" fmla="*/ 1600525 h 5973007"/>
              <a:gd name="connsiteX50544" fmla="*/ 3632617 w 6884782"/>
              <a:gd name="connsiteY50544" fmla="*/ 1598391 h 5973007"/>
              <a:gd name="connsiteX50545" fmla="*/ 3633684 w 6884782"/>
              <a:gd name="connsiteY50545" fmla="*/ 1595972 h 5973007"/>
              <a:gd name="connsiteX50546" fmla="*/ 3637953 w 6884782"/>
              <a:gd name="connsiteY50546" fmla="*/ 1593838 h 5973007"/>
              <a:gd name="connsiteX50547" fmla="*/ 1460043 w 6884782"/>
              <a:gd name="connsiteY50547" fmla="*/ 1593441 h 5973007"/>
              <a:gd name="connsiteX50548" fmla="*/ 1462315 w 6884782"/>
              <a:gd name="connsiteY50548" fmla="*/ 1594680 h 5973007"/>
              <a:gd name="connsiteX50549" fmla="*/ 1455913 w 6884782"/>
              <a:gd name="connsiteY50549" fmla="*/ 1605832 h 5973007"/>
              <a:gd name="connsiteX50550" fmla="*/ 1454261 w 6884782"/>
              <a:gd name="connsiteY50550" fmla="*/ 1606917 h 5973007"/>
              <a:gd name="connsiteX50551" fmla="*/ 1448065 w 6884782"/>
              <a:gd name="connsiteY50551" fmla="*/ 1607846 h 5973007"/>
              <a:gd name="connsiteX50552" fmla="*/ 1447652 w 6884782"/>
              <a:gd name="connsiteY50552" fmla="*/ 1605832 h 5973007"/>
              <a:gd name="connsiteX50553" fmla="*/ 1458391 w 6884782"/>
              <a:gd name="connsiteY50553" fmla="*/ 1594680 h 5973007"/>
              <a:gd name="connsiteX50554" fmla="*/ 1460043 w 6884782"/>
              <a:gd name="connsiteY50554" fmla="*/ 1593441 h 5973007"/>
              <a:gd name="connsiteX50555" fmla="*/ 1567739 w 6884782"/>
              <a:gd name="connsiteY50555" fmla="*/ 1593131 h 5973007"/>
              <a:gd name="connsiteX50556" fmla="*/ 1579820 w 6884782"/>
              <a:gd name="connsiteY50556" fmla="*/ 1605058 h 5973007"/>
              <a:gd name="connsiteX50557" fmla="*/ 1580233 w 6884782"/>
              <a:gd name="connsiteY50557" fmla="*/ 1607226 h 5973007"/>
              <a:gd name="connsiteX50558" fmla="*/ 1580337 w 6884782"/>
              <a:gd name="connsiteY50558" fmla="*/ 1607072 h 5973007"/>
              <a:gd name="connsiteX50559" fmla="*/ 1582712 w 6884782"/>
              <a:gd name="connsiteY50559" fmla="*/ 1615591 h 5973007"/>
              <a:gd name="connsiteX50560" fmla="*/ 1577859 w 6884782"/>
              <a:gd name="connsiteY50560" fmla="*/ 1611719 h 5973007"/>
              <a:gd name="connsiteX50561" fmla="*/ 1578478 w 6884782"/>
              <a:gd name="connsiteY50561" fmla="*/ 1608930 h 5973007"/>
              <a:gd name="connsiteX50562" fmla="*/ 1579304 w 6884782"/>
              <a:gd name="connsiteY50562" fmla="*/ 1608156 h 5973007"/>
              <a:gd name="connsiteX50563" fmla="*/ 1576310 w 6884782"/>
              <a:gd name="connsiteY50563" fmla="*/ 1606142 h 5973007"/>
              <a:gd name="connsiteX50564" fmla="*/ 1571766 w 6884782"/>
              <a:gd name="connsiteY50564" fmla="*/ 1602734 h 5973007"/>
              <a:gd name="connsiteX50565" fmla="*/ 1567739 w 6884782"/>
              <a:gd name="connsiteY50565" fmla="*/ 1593131 h 5973007"/>
              <a:gd name="connsiteX50566" fmla="*/ 5761053 w 6884782"/>
              <a:gd name="connsiteY50566" fmla="*/ 1592984 h 5973007"/>
              <a:gd name="connsiteX50567" fmla="*/ 5765748 w 6884782"/>
              <a:gd name="connsiteY50567" fmla="*/ 1595972 h 5973007"/>
              <a:gd name="connsiteX50568" fmla="*/ 5765108 w 6884782"/>
              <a:gd name="connsiteY50568" fmla="*/ 1602943 h 5973007"/>
              <a:gd name="connsiteX50569" fmla="*/ 5765535 w 6884782"/>
              <a:gd name="connsiteY50569" fmla="*/ 1607496 h 5973007"/>
              <a:gd name="connsiteX50570" fmla="*/ 5762973 w 6884782"/>
              <a:gd name="connsiteY50570" fmla="*/ 1610342 h 5973007"/>
              <a:gd name="connsiteX50571" fmla="*/ 5758278 w 6884782"/>
              <a:gd name="connsiteY50571" fmla="*/ 1601378 h 5973007"/>
              <a:gd name="connsiteX50572" fmla="*/ 5761053 w 6884782"/>
              <a:gd name="connsiteY50572" fmla="*/ 1592984 h 5973007"/>
              <a:gd name="connsiteX50573" fmla="*/ 3535511 w 6884782"/>
              <a:gd name="connsiteY50573" fmla="*/ 1592700 h 5973007"/>
              <a:gd name="connsiteX50574" fmla="*/ 3539566 w 6884782"/>
              <a:gd name="connsiteY50574" fmla="*/ 1595688 h 5973007"/>
              <a:gd name="connsiteX50575" fmla="*/ 3533377 w 6884782"/>
              <a:gd name="connsiteY50575" fmla="*/ 1602374 h 5973007"/>
              <a:gd name="connsiteX50576" fmla="*/ 3529536 w 6884782"/>
              <a:gd name="connsiteY50576" fmla="*/ 1594834 h 5973007"/>
              <a:gd name="connsiteX50577" fmla="*/ 3535511 w 6884782"/>
              <a:gd name="connsiteY50577" fmla="*/ 1592700 h 5973007"/>
              <a:gd name="connsiteX50578" fmla="*/ 4988046 w 6884782"/>
              <a:gd name="connsiteY50578" fmla="*/ 1592558 h 5973007"/>
              <a:gd name="connsiteX50579" fmla="*/ 4987833 w 6884782"/>
              <a:gd name="connsiteY50579" fmla="*/ 1599102 h 5973007"/>
              <a:gd name="connsiteX50580" fmla="*/ 4986552 w 6884782"/>
              <a:gd name="connsiteY50580" fmla="*/ 1592984 h 5973007"/>
              <a:gd name="connsiteX50581" fmla="*/ 4988046 w 6884782"/>
              <a:gd name="connsiteY50581" fmla="*/ 1592558 h 5973007"/>
              <a:gd name="connsiteX50582" fmla="*/ 4806426 w 6884782"/>
              <a:gd name="connsiteY50582" fmla="*/ 1592415 h 5973007"/>
              <a:gd name="connsiteX50583" fmla="*/ 4809201 w 6884782"/>
              <a:gd name="connsiteY50583" fmla="*/ 1592558 h 5973007"/>
              <a:gd name="connsiteX50584" fmla="*/ 4811335 w 6884782"/>
              <a:gd name="connsiteY50584" fmla="*/ 1595546 h 5973007"/>
              <a:gd name="connsiteX50585" fmla="*/ 4809627 w 6884782"/>
              <a:gd name="connsiteY50585" fmla="*/ 1600525 h 5973007"/>
              <a:gd name="connsiteX50586" fmla="*/ 4806853 w 6884782"/>
              <a:gd name="connsiteY50586" fmla="*/ 1600383 h 5973007"/>
              <a:gd name="connsiteX50587" fmla="*/ 4803865 w 6884782"/>
              <a:gd name="connsiteY50587" fmla="*/ 1598391 h 5973007"/>
              <a:gd name="connsiteX50588" fmla="*/ 4806426 w 6884782"/>
              <a:gd name="connsiteY50588" fmla="*/ 1592415 h 5973007"/>
              <a:gd name="connsiteX50589" fmla="*/ 3712864 w 6884782"/>
              <a:gd name="connsiteY50589" fmla="*/ 1592273 h 5973007"/>
              <a:gd name="connsiteX50590" fmla="*/ 3714357 w 6884782"/>
              <a:gd name="connsiteY50590" fmla="*/ 1592700 h 5973007"/>
              <a:gd name="connsiteX50591" fmla="*/ 3714357 w 6884782"/>
              <a:gd name="connsiteY50591" fmla="*/ 1593838 h 5973007"/>
              <a:gd name="connsiteX50592" fmla="*/ 3712223 w 6884782"/>
              <a:gd name="connsiteY50592" fmla="*/ 1592700 h 5973007"/>
              <a:gd name="connsiteX50593" fmla="*/ 3712864 w 6884782"/>
              <a:gd name="connsiteY50593" fmla="*/ 1592273 h 5973007"/>
              <a:gd name="connsiteX50594" fmla="*/ 5374976 w 6884782"/>
              <a:gd name="connsiteY50594" fmla="*/ 1591989 h 5973007"/>
              <a:gd name="connsiteX50595" fmla="*/ 5378818 w 6884782"/>
              <a:gd name="connsiteY50595" fmla="*/ 1594550 h 5973007"/>
              <a:gd name="connsiteX50596" fmla="*/ 5375830 w 6884782"/>
              <a:gd name="connsiteY50596" fmla="*/ 1603086 h 5973007"/>
              <a:gd name="connsiteX50597" fmla="*/ 5370281 w 6884782"/>
              <a:gd name="connsiteY50597" fmla="*/ 1593981 h 5973007"/>
              <a:gd name="connsiteX50598" fmla="*/ 5374976 w 6884782"/>
              <a:gd name="connsiteY50598" fmla="*/ 1591989 h 5973007"/>
              <a:gd name="connsiteX50599" fmla="*/ 3846678 w 6884782"/>
              <a:gd name="connsiteY50599" fmla="*/ 1591989 h 5973007"/>
              <a:gd name="connsiteX50600" fmla="*/ 3852226 w 6884782"/>
              <a:gd name="connsiteY50600" fmla="*/ 1595261 h 5973007"/>
              <a:gd name="connsiteX50601" fmla="*/ 3856495 w 6884782"/>
              <a:gd name="connsiteY50601" fmla="*/ 1596826 h 5973007"/>
              <a:gd name="connsiteX50602" fmla="*/ 3857562 w 6884782"/>
              <a:gd name="connsiteY50602" fmla="*/ 1600098 h 5973007"/>
              <a:gd name="connsiteX50603" fmla="*/ 3847318 w 6884782"/>
              <a:gd name="connsiteY50603" fmla="*/ 1601094 h 5973007"/>
              <a:gd name="connsiteX50604" fmla="*/ 3841555 w 6884782"/>
              <a:gd name="connsiteY50604" fmla="*/ 1595261 h 5973007"/>
              <a:gd name="connsiteX50605" fmla="*/ 3846678 w 6884782"/>
              <a:gd name="connsiteY50605" fmla="*/ 1591989 h 5973007"/>
              <a:gd name="connsiteX50606" fmla="*/ 1044088 w 6884782"/>
              <a:gd name="connsiteY50606" fmla="*/ 1591853 h 5973007"/>
              <a:gd name="connsiteX50607" fmla="*/ 1050529 w 6884782"/>
              <a:gd name="connsiteY50607" fmla="*/ 1591892 h 5973007"/>
              <a:gd name="connsiteX50608" fmla="*/ 1052284 w 6884782"/>
              <a:gd name="connsiteY50608" fmla="*/ 1595144 h 5973007"/>
              <a:gd name="connsiteX50609" fmla="*/ 1039584 w 6884782"/>
              <a:gd name="connsiteY50609" fmla="*/ 1596693 h 5973007"/>
              <a:gd name="connsiteX50610" fmla="*/ 1044088 w 6884782"/>
              <a:gd name="connsiteY50610" fmla="*/ 1591853 h 5973007"/>
              <a:gd name="connsiteX50611" fmla="*/ 1435674 w 6884782"/>
              <a:gd name="connsiteY50611" fmla="*/ 1591737 h 5973007"/>
              <a:gd name="connsiteX50612" fmla="*/ 1437946 w 6884782"/>
              <a:gd name="connsiteY50612" fmla="*/ 1595454 h 5973007"/>
              <a:gd name="connsiteX50613" fmla="*/ 1432887 w 6884782"/>
              <a:gd name="connsiteY50613" fmla="*/ 1599946 h 5973007"/>
              <a:gd name="connsiteX50614" fmla="*/ 1429996 w 6884782"/>
              <a:gd name="connsiteY50614" fmla="*/ 1603354 h 5973007"/>
              <a:gd name="connsiteX50615" fmla="*/ 1432680 w 6884782"/>
              <a:gd name="connsiteY50615" fmla="*/ 1598087 h 5973007"/>
              <a:gd name="connsiteX50616" fmla="*/ 1432061 w 6884782"/>
              <a:gd name="connsiteY50616" fmla="*/ 1595454 h 5973007"/>
              <a:gd name="connsiteX50617" fmla="*/ 1435674 w 6884782"/>
              <a:gd name="connsiteY50617" fmla="*/ 1591737 h 5973007"/>
              <a:gd name="connsiteX50618" fmla="*/ 5886117 w 6884782"/>
              <a:gd name="connsiteY50618" fmla="*/ 1591562 h 5973007"/>
              <a:gd name="connsiteX50619" fmla="*/ 5888464 w 6884782"/>
              <a:gd name="connsiteY50619" fmla="*/ 1591562 h 5973007"/>
              <a:gd name="connsiteX50620" fmla="*/ 5887184 w 6884782"/>
              <a:gd name="connsiteY50620" fmla="*/ 1599102 h 5973007"/>
              <a:gd name="connsiteX50621" fmla="*/ 5884196 w 6884782"/>
              <a:gd name="connsiteY50621" fmla="*/ 1600525 h 5973007"/>
              <a:gd name="connsiteX50622" fmla="*/ 5883556 w 6884782"/>
              <a:gd name="connsiteY50622" fmla="*/ 1596826 h 5973007"/>
              <a:gd name="connsiteX50623" fmla="*/ 5885690 w 6884782"/>
              <a:gd name="connsiteY50623" fmla="*/ 1595404 h 5973007"/>
              <a:gd name="connsiteX50624" fmla="*/ 5886117 w 6884782"/>
              <a:gd name="connsiteY50624" fmla="*/ 1591562 h 5973007"/>
              <a:gd name="connsiteX50625" fmla="*/ 5633214 w 6884782"/>
              <a:gd name="connsiteY50625" fmla="*/ 1590993 h 5973007"/>
              <a:gd name="connsiteX50626" fmla="*/ 5635135 w 6884782"/>
              <a:gd name="connsiteY50626" fmla="*/ 1594834 h 5973007"/>
              <a:gd name="connsiteX50627" fmla="*/ 5634495 w 6884782"/>
              <a:gd name="connsiteY50627" fmla="*/ 1599671 h 5973007"/>
              <a:gd name="connsiteX50628" fmla="*/ 5633214 w 6884782"/>
              <a:gd name="connsiteY50628" fmla="*/ 1590993 h 5973007"/>
              <a:gd name="connsiteX50629" fmla="*/ 1173301 w 6884782"/>
              <a:gd name="connsiteY50629" fmla="*/ 1590652 h 5973007"/>
              <a:gd name="connsiteX50630" fmla="*/ 1176295 w 6884782"/>
              <a:gd name="connsiteY50630" fmla="*/ 1594060 h 5973007"/>
              <a:gd name="connsiteX50631" fmla="*/ 1174437 w 6884782"/>
              <a:gd name="connsiteY50631" fmla="*/ 1599327 h 5973007"/>
              <a:gd name="connsiteX50632" fmla="*/ 1174953 w 6884782"/>
              <a:gd name="connsiteY50632" fmla="*/ 1599946 h 5973007"/>
              <a:gd name="connsiteX50633" fmla="*/ 1168241 w 6884782"/>
              <a:gd name="connsiteY50633" fmla="*/ 1605522 h 5973007"/>
              <a:gd name="connsiteX50634" fmla="*/ 1166176 w 6884782"/>
              <a:gd name="connsiteY50634" fmla="*/ 1605058 h 5973007"/>
              <a:gd name="connsiteX50635" fmla="*/ 1165969 w 6884782"/>
              <a:gd name="connsiteY50635" fmla="*/ 1605213 h 5973007"/>
              <a:gd name="connsiteX50636" fmla="*/ 1162769 w 6884782"/>
              <a:gd name="connsiteY50636" fmla="*/ 1601495 h 5973007"/>
              <a:gd name="connsiteX50637" fmla="*/ 1163182 w 6884782"/>
              <a:gd name="connsiteY50637" fmla="*/ 1597777 h 5973007"/>
              <a:gd name="connsiteX50638" fmla="*/ 1164937 w 6884782"/>
              <a:gd name="connsiteY50638" fmla="*/ 1594835 h 5973007"/>
              <a:gd name="connsiteX50639" fmla="*/ 1168241 w 6884782"/>
              <a:gd name="connsiteY50639" fmla="*/ 1593286 h 5973007"/>
              <a:gd name="connsiteX50640" fmla="*/ 1173301 w 6884782"/>
              <a:gd name="connsiteY50640" fmla="*/ 1590652 h 5973007"/>
              <a:gd name="connsiteX50641" fmla="*/ 1352450 w 6884782"/>
              <a:gd name="connsiteY50641" fmla="*/ 1590497 h 5973007"/>
              <a:gd name="connsiteX50642" fmla="*/ 1354309 w 6884782"/>
              <a:gd name="connsiteY50642" fmla="*/ 1598397 h 5973007"/>
              <a:gd name="connsiteX50643" fmla="*/ 1349972 w 6884782"/>
              <a:gd name="connsiteY50643" fmla="*/ 1595144 h 5973007"/>
              <a:gd name="connsiteX50644" fmla="*/ 1352450 w 6884782"/>
              <a:gd name="connsiteY50644" fmla="*/ 1590497 h 5973007"/>
              <a:gd name="connsiteX50645" fmla="*/ 5559798 w 6884782"/>
              <a:gd name="connsiteY50645" fmla="*/ 1589001 h 5973007"/>
              <a:gd name="connsiteX50646" fmla="*/ 5560865 w 6884782"/>
              <a:gd name="connsiteY50646" fmla="*/ 1596968 h 5973007"/>
              <a:gd name="connsiteX50647" fmla="*/ 5561292 w 6884782"/>
              <a:gd name="connsiteY50647" fmla="*/ 1597537 h 5973007"/>
              <a:gd name="connsiteX50648" fmla="*/ 5561078 w 6884782"/>
              <a:gd name="connsiteY50648" fmla="*/ 1597964 h 5973007"/>
              <a:gd name="connsiteX50649" fmla="*/ 5561932 w 6884782"/>
              <a:gd name="connsiteY50649" fmla="*/ 1607496 h 5973007"/>
              <a:gd name="connsiteX50650" fmla="*/ 5560438 w 6884782"/>
              <a:gd name="connsiteY50650" fmla="*/ 1616459 h 5973007"/>
              <a:gd name="connsiteX50651" fmla="*/ 5561719 w 6884782"/>
              <a:gd name="connsiteY50651" fmla="*/ 1616744 h 5973007"/>
              <a:gd name="connsiteX50652" fmla="*/ 5578579 w 6884782"/>
              <a:gd name="connsiteY50652" fmla="*/ 1617597 h 5973007"/>
              <a:gd name="connsiteX50653" fmla="*/ 5576231 w 6884782"/>
              <a:gd name="connsiteY50653" fmla="*/ 1629548 h 5973007"/>
              <a:gd name="connsiteX50654" fmla="*/ 5560012 w 6884782"/>
              <a:gd name="connsiteY50654" fmla="*/ 1637515 h 5973007"/>
              <a:gd name="connsiteX50655" fmla="*/ 5559584 w 6884782"/>
              <a:gd name="connsiteY50655" fmla="*/ 1637373 h 5973007"/>
              <a:gd name="connsiteX50656" fmla="*/ 5552755 w 6884782"/>
              <a:gd name="connsiteY50656" fmla="*/ 1637373 h 5973007"/>
              <a:gd name="connsiteX50657" fmla="*/ 5551688 w 6884782"/>
              <a:gd name="connsiteY50657" fmla="*/ 1635096 h 5973007"/>
              <a:gd name="connsiteX50658" fmla="*/ 5547633 w 6884782"/>
              <a:gd name="connsiteY50658" fmla="*/ 1636234 h 5973007"/>
              <a:gd name="connsiteX50659" fmla="*/ 5545072 w 6884782"/>
              <a:gd name="connsiteY50659" fmla="*/ 1627414 h 5973007"/>
              <a:gd name="connsiteX50660" fmla="*/ 5530986 w 6884782"/>
              <a:gd name="connsiteY50660" fmla="*/ 1634243 h 5973007"/>
              <a:gd name="connsiteX50661" fmla="*/ 5527785 w 6884782"/>
              <a:gd name="connsiteY50661" fmla="*/ 1633247 h 5973007"/>
              <a:gd name="connsiteX50662" fmla="*/ 5526077 w 6884782"/>
              <a:gd name="connsiteY50662" fmla="*/ 1633247 h 5973007"/>
              <a:gd name="connsiteX50663" fmla="*/ 5537389 w 6884782"/>
              <a:gd name="connsiteY50663" fmla="*/ 1637231 h 5973007"/>
              <a:gd name="connsiteX50664" fmla="*/ 5545499 w 6884782"/>
              <a:gd name="connsiteY50664" fmla="*/ 1646051 h 5973007"/>
              <a:gd name="connsiteX50665" fmla="*/ 5546139 w 6884782"/>
              <a:gd name="connsiteY50665" fmla="*/ 1662839 h 5973007"/>
              <a:gd name="connsiteX50666" fmla="*/ 5546353 w 6884782"/>
              <a:gd name="connsiteY50666" fmla="*/ 1663408 h 5973007"/>
              <a:gd name="connsiteX50667" fmla="*/ 5546779 w 6884782"/>
              <a:gd name="connsiteY50667" fmla="*/ 1663123 h 5973007"/>
              <a:gd name="connsiteX50668" fmla="*/ 5547206 w 6884782"/>
              <a:gd name="connsiteY50668" fmla="*/ 1663835 h 5973007"/>
              <a:gd name="connsiteX50669" fmla="*/ 5548273 w 6884782"/>
              <a:gd name="connsiteY50669" fmla="*/ 1664973 h 5973007"/>
              <a:gd name="connsiteX50670" fmla="*/ 5548486 w 6884782"/>
              <a:gd name="connsiteY50670" fmla="*/ 1665542 h 5973007"/>
              <a:gd name="connsiteX50671" fmla="*/ 5547846 w 6884782"/>
              <a:gd name="connsiteY50671" fmla="*/ 1666965 h 5973007"/>
              <a:gd name="connsiteX50672" fmla="*/ 5548486 w 6884782"/>
              <a:gd name="connsiteY50672" fmla="*/ 1668814 h 5973007"/>
              <a:gd name="connsiteX50673" fmla="*/ 5550407 w 6884782"/>
              <a:gd name="connsiteY50673" fmla="*/ 1675216 h 5973007"/>
              <a:gd name="connsiteX50674" fmla="*/ 5543365 w 6884782"/>
              <a:gd name="connsiteY50674" fmla="*/ 1690866 h 5973007"/>
              <a:gd name="connsiteX50675" fmla="*/ 5540377 w 6884782"/>
              <a:gd name="connsiteY50675" fmla="*/ 1695418 h 5973007"/>
              <a:gd name="connsiteX50676" fmla="*/ 5538242 w 6884782"/>
              <a:gd name="connsiteY50676" fmla="*/ 1699544 h 5973007"/>
              <a:gd name="connsiteX50677" fmla="*/ 5538029 w 6884782"/>
              <a:gd name="connsiteY50677" fmla="*/ 1699971 h 5973007"/>
              <a:gd name="connsiteX50678" fmla="*/ 5536535 w 6884782"/>
              <a:gd name="connsiteY50678" fmla="*/ 1709788 h 5973007"/>
              <a:gd name="connsiteX50679" fmla="*/ 5530773 w 6884782"/>
              <a:gd name="connsiteY50679" fmla="*/ 1717897 h 5973007"/>
              <a:gd name="connsiteX50680" fmla="*/ 5520956 w 6884782"/>
              <a:gd name="connsiteY50680" fmla="*/ 1720742 h 5973007"/>
              <a:gd name="connsiteX50681" fmla="*/ 5517541 w 6884782"/>
              <a:gd name="connsiteY50681" fmla="*/ 1719035 h 5973007"/>
              <a:gd name="connsiteX50682" fmla="*/ 5504095 w 6884782"/>
              <a:gd name="connsiteY50682" fmla="*/ 1724583 h 5973007"/>
              <a:gd name="connsiteX50683" fmla="*/ 5503669 w 6884782"/>
              <a:gd name="connsiteY50683" fmla="*/ 1724583 h 5973007"/>
              <a:gd name="connsiteX50684" fmla="*/ 5501961 w 6884782"/>
              <a:gd name="connsiteY50684" fmla="*/ 1726006 h 5973007"/>
              <a:gd name="connsiteX50685" fmla="*/ 5502815 w 6884782"/>
              <a:gd name="connsiteY50685" fmla="*/ 1728282 h 5973007"/>
              <a:gd name="connsiteX50686" fmla="*/ 5513273 w 6884782"/>
              <a:gd name="connsiteY50686" fmla="*/ 1739237 h 5973007"/>
              <a:gd name="connsiteX50687" fmla="*/ 5505802 w 6884782"/>
              <a:gd name="connsiteY50687" fmla="*/ 1739522 h 5973007"/>
              <a:gd name="connsiteX50688" fmla="*/ 5506657 w 6884782"/>
              <a:gd name="connsiteY50688" fmla="*/ 1741087 h 5973007"/>
              <a:gd name="connsiteX50689" fmla="*/ 5508364 w 6884782"/>
              <a:gd name="connsiteY50689" fmla="*/ 1752468 h 5973007"/>
              <a:gd name="connsiteX50690" fmla="*/ 5508364 w 6884782"/>
              <a:gd name="connsiteY50690" fmla="*/ 1759155 h 5973007"/>
              <a:gd name="connsiteX50691" fmla="*/ 5510711 w 6884782"/>
              <a:gd name="connsiteY50691" fmla="*/ 1757305 h 5973007"/>
              <a:gd name="connsiteX50692" fmla="*/ 5520315 w 6884782"/>
              <a:gd name="connsiteY50692" fmla="*/ 1755029 h 5973007"/>
              <a:gd name="connsiteX50693" fmla="*/ 5520742 w 6884782"/>
              <a:gd name="connsiteY50693" fmla="*/ 1765984 h 5973007"/>
              <a:gd name="connsiteX50694" fmla="*/ 5515406 w 6884782"/>
              <a:gd name="connsiteY50694" fmla="*/ 1769967 h 5973007"/>
              <a:gd name="connsiteX50695" fmla="*/ 5510711 w 6884782"/>
              <a:gd name="connsiteY50695" fmla="*/ 1769541 h 5973007"/>
              <a:gd name="connsiteX50696" fmla="*/ 5508364 w 6884782"/>
              <a:gd name="connsiteY50696" fmla="*/ 1769541 h 5973007"/>
              <a:gd name="connsiteX50697" fmla="*/ 5507510 w 6884782"/>
              <a:gd name="connsiteY50697" fmla="*/ 1789173 h 5973007"/>
              <a:gd name="connsiteX50698" fmla="*/ 5494705 w 6884782"/>
              <a:gd name="connsiteY50698" fmla="*/ 1786328 h 5973007"/>
              <a:gd name="connsiteX50699" fmla="*/ 5497479 w 6884782"/>
              <a:gd name="connsiteY50699" fmla="*/ 1755456 h 5973007"/>
              <a:gd name="connsiteX50700" fmla="*/ 5498974 w 6884782"/>
              <a:gd name="connsiteY50700" fmla="*/ 1739664 h 5973007"/>
              <a:gd name="connsiteX50701" fmla="*/ 5494491 w 6884782"/>
              <a:gd name="connsiteY50701" fmla="*/ 1739664 h 5973007"/>
              <a:gd name="connsiteX50702" fmla="*/ 5478485 w 6884782"/>
              <a:gd name="connsiteY50702" fmla="*/ 1734542 h 5973007"/>
              <a:gd name="connsiteX50703" fmla="*/ 5474430 w 6884782"/>
              <a:gd name="connsiteY50703" fmla="*/ 1731697 h 5973007"/>
              <a:gd name="connsiteX50704" fmla="*/ 5472296 w 6884782"/>
              <a:gd name="connsiteY50704" fmla="*/ 1732124 h 5973007"/>
              <a:gd name="connsiteX50705" fmla="*/ 5470589 w 6884782"/>
              <a:gd name="connsiteY50705" fmla="*/ 1732124 h 5973007"/>
              <a:gd name="connsiteX50706" fmla="*/ 5470161 w 6884782"/>
              <a:gd name="connsiteY50706" fmla="*/ 1732408 h 5973007"/>
              <a:gd name="connsiteX50707" fmla="*/ 5468668 w 6884782"/>
              <a:gd name="connsiteY50707" fmla="*/ 1733119 h 5973007"/>
              <a:gd name="connsiteX50708" fmla="*/ 5468881 w 6884782"/>
              <a:gd name="connsiteY50708" fmla="*/ 1731981 h 5973007"/>
              <a:gd name="connsiteX50709" fmla="*/ 5469094 w 6884782"/>
              <a:gd name="connsiteY50709" fmla="*/ 1731839 h 5973007"/>
              <a:gd name="connsiteX50710" fmla="*/ 5465466 w 6884782"/>
              <a:gd name="connsiteY50710" fmla="*/ 1731412 h 5973007"/>
              <a:gd name="connsiteX50711" fmla="*/ 5468881 w 6884782"/>
              <a:gd name="connsiteY50711" fmla="*/ 1722876 h 5973007"/>
              <a:gd name="connsiteX50712" fmla="*/ 5473789 w 6884782"/>
              <a:gd name="connsiteY50712" fmla="*/ 1715336 h 5973007"/>
              <a:gd name="connsiteX50713" fmla="*/ 5474430 w 6884782"/>
              <a:gd name="connsiteY50713" fmla="*/ 1721311 h 5973007"/>
              <a:gd name="connsiteX50714" fmla="*/ 5476991 w 6884782"/>
              <a:gd name="connsiteY50714" fmla="*/ 1720173 h 5973007"/>
              <a:gd name="connsiteX50715" fmla="*/ 5477632 w 6884782"/>
              <a:gd name="connsiteY50715" fmla="*/ 1723730 h 5973007"/>
              <a:gd name="connsiteX50716" fmla="*/ 5479552 w 6884782"/>
              <a:gd name="connsiteY50716" fmla="*/ 1723445 h 5973007"/>
              <a:gd name="connsiteX50717" fmla="*/ 5487022 w 6884782"/>
              <a:gd name="connsiteY50717" fmla="*/ 1724583 h 5973007"/>
              <a:gd name="connsiteX50718" fmla="*/ 5487022 w 6884782"/>
              <a:gd name="connsiteY50718" fmla="*/ 1722592 h 5973007"/>
              <a:gd name="connsiteX50719" fmla="*/ 5481686 w 6884782"/>
              <a:gd name="connsiteY50719" fmla="*/ 1720458 h 5973007"/>
              <a:gd name="connsiteX50720" fmla="*/ 5473789 w 6884782"/>
              <a:gd name="connsiteY50720" fmla="*/ 1715336 h 5973007"/>
              <a:gd name="connsiteX50721" fmla="*/ 5472296 w 6884782"/>
              <a:gd name="connsiteY50721" fmla="*/ 1714340 h 5973007"/>
              <a:gd name="connsiteX50722" fmla="*/ 5461411 w 6884782"/>
              <a:gd name="connsiteY50722" fmla="*/ 1708649 h 5973007"/>
              <a:gd name="connsiteX50723" fmla="*/ 5452875 w 6884782"/>
              <a:gd name="connsiteY50723" fmla="*/ 1682614 h 5973007"/>
              <a:gd name="connsiteX50724" fmla="*/ 5465039 w 6884782"/>
              <a:gd name="connsiteY50724" fmla="*/ 1647332 h 5973007"/>
              <a:gd name="connsiteX50725" fmla="*/ 5502388 w 6884782"/>
              <a:gd name="connsiteY50725" fmla="*/ 1625707 h 5973007"/>
              <a:gd name="connsiteX50726" fmla="*/ 5513273 w 6884782"/>
              <a:gd name="connsiteY50726" fmla="*/ 1630402 h 5973007"/>
              <a:gd name="connsiteX50727" fmla="*/ 5522236 w 6884782"/>
              <a:gd name="connsiteY50727" fmla="*/ 1632394 h 5973007"/>
              <a:gd name="connsiteX50728" fmla="*/ 5520742 w 6884782"/>
              <a:gd name="connsiteY50728" fmla="*/ 1627129 h 5973007"/>
              <a:gd name="connsiteX50729" fmla="*/ 5519035 w 6884782"/>
              <a:gd name="connsiteY50729" fmla="*/ 1618166 h 5973007"/>
              <a:gd name="connsiteX50730" fmla="*/ 5532907 w 6884782"/>
              <a:gd name="connsiteY50730" fmla="*/ 1604651 h 5973007"/>
              <a:gd name="connsiteX50731" fmla="*/ 5533974 w 6884782"/>
              <a:gd name="connsiteY50731" fmla="*/ 1605505 h 5973007"/>
              <a:gd name="connsiteX50732" fmla="*/ 5536322 w 6884782"/>
              <a:gd name="connsiteY50732" fmla="*/ 1606642 h 5973007"/>
              <a:gd name="connsiteX50733" fmla="*/ 5539950 w 6884782"/>
              <a:gd name="connsiteY50733" fmla="*/ 1605078 h 5973007"/>
              <a:gd name="connsiteX50734" fmla="*/ 5543578 w 6884782"/>
              <a:gd name="connsiteY50734" fmla="*/ 1606927 h 5973007"/>
              <a:gd name="connsiteX50735" fmla="*/ 5545499 w 6884782"/>
              <a:gd name="connsiteY50735" fmla="*/ 1612902 h 5973007"/>
              <a:gd name="connsiteX50736" fmla="*/ 5544645 w 6884782"/>
              <a:gd name="connsiteY50736" fmla="*/ 1613899 h 5973007"/>
              <a:gd name="connsiteX50737" fmla="*/ 5546353 w 6884782"/>
              <a:gd name="connsiteY50737" fmla="*/ 1621012 h 5973007"/>
              <a:gd name="connsiteX50738" fmla="*/ 5545712 w 6884782"/>
              <a:gd name="connsiteY50738" fmla="*/ 1625422 h 5973007"/>
              <a:gd name="connsiteX50739" fmla="*/ 5547419 w 6884782"/>
              <a:gd name="connsiteY50739" fmla="*/ 1618593 h 5973007"/>
              <a:gd name="connsiteX50740" fmla="*/ 5548486 w 6884782"/>
              <a:gd name="connsiteY50740" fmla="*/ 1616174 h 5973007"/>
              <a:gd name="connsiteX50741" fmla="*/ 5547206 w 6884782"/>
              <a:gd name="connsiteY50741" fmla="*/ 1616174 h 5973007"/>
              <a:gd name="connsiteX50742" fmla="*/ 5548700 w 6884782"/>
              <a:gd name="connsiteY50742" fmla="*/ 1614894 h 5973007"/>
              <a:gd name="connsiteX50743" fmla="*/ 5548700 w 6884782"/>
              <a:gd name="connsiteY50743" fmla="*/ 1614609 h 5973007"/>
              <a:gd name="connsiteX50744" fmla="*/ 5548913 w 6884782"/>
              <a:gd name="connsiteY50744" fmla="*/ 1613471 h 5973007"/>
              <a:gd name="connsiteX50745" fmla="*/ 5552115 w 6884782"/>
              <a:gd name="connsiteY50745" fmla="*/ 1609488 h 5973007"/>
              <a:gd name="connsiteX50746" fmla="*/ 5553182 w 6884782"/>
              <a:gd name="connsiteY50746" fmla="*/ 1609630 h 5973007"/>
              <a:gd name="connsiteX50747" fmla="*/ 5553182 w 6884782"/>
              <a:gd name="connsiteY50747" fmla="*/ 1602943 h 5973007"/>
              <a:gd name="connsiteX50748" fmla="*/ 5553395 w 6884782"/>
              <a:gd name="connsiteY50748" fmla="*/ 1601094 h 5973007"/>
              <a:gd name="connsiteX50749" fmla="*/ 5552755 w 6884782"/>
              <a:gd name="connsiteY50749" fmla="*/ 1600525 h 5973007"/>
              <a:gd name="connsiteX50750" fmla="*/ 5553609 w 6884782"/>
              <a:gd name="connsiteY50750" fmla="*/ 1599529 h 5973007"/>
              <a:gd name="connsiteX50751" fmla="*/ 5554676 w 6884782"/>
              <a:gd name="connsiteY50751" fmla="*/ 1593554 h 5973007"/>
              <a:gd name="connsiteX50752" fmla="*/ 5559798 w 6884782"/>
              <a:gd name="connsiteY50752" fmla="*/ 1589001 h 5973007"/>
              <a:gd name="connsiteX50753" fmla="*/ 1054246 w 6884782"/>
              <a:gd name="connsiteY50753" fmla="*/ 1588639 h 5973007"/>
              <a:gd name="connsiteX50754" fmla="*/ 1063436 w 6884782"/>
              <a:gd name="connsiteY50754" fmla="*/ 1596074 h 5973007"/>
              <a:gd name="connsiteX50755" fmla="*/ 1055279 w 6884782"/>
              <a:gd name="connsiteY50755" fmla="*/ 1598242 h 5973007"/>
              <a:gd name="connsiteX50756" fmla="*/ 1053317 w 6884782"/>
              <a:gd name="connsiteY50756" fmla="*/ 1594060 h 5973007"/>
              <a:gd name="connsiteX50757" fmla="*/ 1054246 w 6884782"/>
              <a:gd name="connsiteY50757" fmla="*/ 1588639 h 5973007"/>
              <a:gd name="connsiteX50758" fmla="*/ 5032438 w 6884782"/>
              <a:gd name="connsiteY50758" fmla="*/ 1588290 h 5973007"/>
              <a:gd name="connsiteX50759" fmla="*/ 5042682 w 6884782"/>
              <a:gd name="connsiteY50759" fmla="*/ 1591277 h 5973007"/>
              <a:gd name="connsiteX50760" fmla="*/ 5042468 w 6884782"/>
              <a:gd name="connsiteY50760" fmla="*/ 1599529 h 5973007"/>
              <a:gd name="connsiteX50761" fmla="*/ 5048871 w 6884782"/>
              <a:gd name="connsiteY50761" fmla="*/ 1603940 h 5973007"/>
              <a:gd name="connsiteX50762" fmla="*/ 5029023 w 6884782"/>
              <a:gd name="connsiteY50762" fmla="*/ 1620443 h 5973007"/>
              <a:gd name="connsiteX50763" fmla="*/ 5026889 w 6884782"/>
              <a:gd name="connsiteY50763" fmla="*/ 1617171 h 5973007"/>
              <a:gd name="connsiteX50764" fmla="*/ 5025608 w 6884782"/>
              <a:gd name="connsiteY50764" fmla="*/ 1617881 h 5973007"/>
              <a:gd name="connsiteX50765" fmla="*/ 5020486 w 6884782"/>
              <a:gd name="connsiteY50765" fmla="*/ 1619446 h 5973007"/>
              <a:gd name="connsiteX50766" fmla="*/ 5020913 w 6884782"/>
              <a:gd name="connsiteY50766" fmla="*/ 1620016 h 5973007"/>
              <a:gd name="connsiteX50767" fmla="*/ 5019633 w 6884782"/>
              <a:gd name="connsiteY50767" fmla="*/ 1623288 h 5973007"/>
              <a:gd name="connsiteX50768" fmla="*/ 5010455 w 6884782"/>
              <a:gd name="connsiteY50768" fmla="*/ 1625280 h 5973007"/>
              <a:gd name="connsiteX50769" fmla="*/ 5004693 w 6884782"/>
              <a:gd name="connsiteY50769" fmla="*/ 1627414 h 5973007"/>
              <a:gd name="connsiteX50770" fmla="*/ 5011522 w 6884782"/>
              <a:gd name="connsiteY50770" fmla="*/ 1622861 h 5973007"/>
              <a:gd name="connsiteX50771" fmla="*/ 5012590 w 6884782"/>
              <a:gd name="connsiteY50771" fmla="*/ 1619446 h 5973007"/>
              <a:gd name="connsiteX50772" fmla="*/ 5014724 w 6884782"/>
              <a:gd name="connsiteY50772" fmla="*/ 1618451 h 5973007"/>
              <a:gd name="connsiteX50773" fmla="*/ 5014297 w 6884782"/>
              <a:gd name="connsiteY50773" fmla="*/ 1617028 h 5973007"/>
              <a:gd name="connsiteX50774" fmla="*/ 5012590 w 6884782"/>
              <a:gd name="connsiteY50774" fmla="*/ 1613756 h 5973007"/>
              <a:gd name="connsiteX50775" fmla="*/ 5021126 w 6884782"/>
              <a:gd name="connsiteY50775" fmla="*/ 1610910 h 5973007"/>
              <a:gd name="connsiteX50776" fmla="*/ 5024754 w 6884782"/>
              <a:gd name="connsiteY50776" fmla="*/ 1610342 h 5973007"/>
              <a:gd name="connsiteX50777" fmla="*/ 5024754 w 6884782"/>
              <a:gd name="connsiteY50777" fmla="*/ 1609915 h 5973007"/>
              <a:gd name="connsiteX50778" fmla="*/ 5028169 w 6884782"/>
              <a:gd name="connsiteY50778" fmla="*/ 1603513 h 5973007"/>
              <a:gd name="connsiteX50779" fmla="*/ 5030090 w 6884782"/>
              <a:gd name="connsiteY50779" fmla="*/ 1602232 h 5973007"/>
              <a:gd name="connsiteX50780" fmla="*/ 5032438 w 6884782"/>
              <a:gd name="connsiteY50780" fmla="*/ 1588290 h 5973007"/>
              <a:gd name="connsiteX50781" fmla="*/ 4701637 w 6884782"/>
              <a:gd name="connsiteY50781" fmla="*/ 1588290 h 5973007"/>
              <a:gd name="connsiteX50782" fmla="*/ 4703771 w 6884782"/>
              <a:gd name="connsiteY50782" fmla="*/ 1596257 h 5973007"/>
              <a:gd name="connsiteX50783" fmla="*/ 4702917 w 6884782"/>
              <a:gd name="connsiteY50783" fmla="*/ 1601663 h 5973007"/>
              <a:gd name="connsiteX50784" fmla="*/ 4702491 w 6884782"/>
              <a:gd name="connsiteY50784" fmla="*/ 1603797 h 5973007"/>
              <a:gd name="connsiteX50785" fmla="*/ 4703984 w 6884782"/>
              <a:gd name="connsiteY50785" fmla="*/ 1602517 h 5973007"/>
              <a:gd name="connsiteX50786" fmla="*/ 4736211 w 6884782"/>
              <a:gd name="connsiteY50786" fmla="*/ 1592842 h 5973007"/>
              <a:gd name="connsiteX50787" fmla="*/ 4771852 w 6884782"/>
              <a:gd name="connsiteY50787" fmla="*/ 1621723 h 5973007"/>
              <a:gd name="connsiteX50788" fmla="*/ 4768651 w 6884782"/>
              <a:gd name="connsiteY50788" fmla="*/ 1637799 h 5973007"/>
              <a:gd name="connsiteX50789" fmla="*/ 4769505 w 6884782"/>
              <a:gd name="connsiteY50789" fmla="*/ 1640787 h 5973007"/>
              <a:gd name="connsiteX50790" fmla="*/ 4776121 w 6884782"/>
              <a:gd name="connsiteY50790" fmla="*/ 1643063 h 5973007"/>
              <a:gd name="connsiteX50791" fmla="*/ 4774626 w 6884782"/>
              <a:gd name="connsiteY50791" fmla="*/ 1651884 h 5973007"/>
              <a:gd name="connsiteX50792" fmla="*/ 4771425 w 6884782"/>
              <a:gd name="connsiteY50792" fmla="*/ 1654871 h 5973007"/>
              <a:gd name="connsiteX50793" fmla="*/ 4772493 w 6884782"/>
              <a:gd name="connsiteY50793" fmla="*/ 1656863 h 5973007"/>
              <a:gd name="connsiteX50794" fmla="*/ 4761181 w 6884782"/>
              <a:gd name="connsiteY50794" fmla="*/ 1678488 h 5973007"/>
              <a:gd name="connsiteX50795" fmla="*/ 4749443 w 6884782"/>
              <a:gd name="connsiteY50795" fmla="*/ 1686455 h 5973007"/>
              <a:gd name="connsiteX50796" fmla="*/ 4745815 w 6884782"/>
              <a:gd name="connsiteY50796" fmla="*/ 1684890 h 5973007"/>
              <a:gd name="connsiteX50797" fmla="*/ 4744748 w 6884782"/>
              <a:gd name="connsiteY50797" fmla="*/ 1683468 h 5973007"/>
              <a:gd name="connsiteX50798" fmla="*/ 4743040 w 6884782"/>
              <a:gd name="connsiteY50798" fmla="*/ 1682756 h 5973007"/>
              <a:gd name="connsiteX50799" fmla="*/ 4731089 w 6884782"/>
              <a:gd name="connsiteY50799" fmla="*/ 1685602 h 5973007"/>
              <a:gd name="connsiteX50800" fmla="*/ 4735571 w 6884782"/>
              <a:gd name="connsiteY50800" fmla="*/ 1686313 h 5973007"/>
              <a:gd name="connsiteX50801" fmla="*/ 4734504 w 6884782"/>
              <a:gd name="connsiteY50801" fmla="*/ 1686313 h 5973007"/>
              <a:gd name="connsiteX50802" fmla="*/ 4734504 w 6884782"/>
              <a:gd name="connsiteY50802" fmla="*/ 1688732 h 5973007"/>
              <a:gd name="connsiteX50803" fmla="*/ 4735784 w 6884782"/>
              <a:gd name="connsiteY50803" fmla="*/ 1688732 h 5973007"/>
              <a:gd name="connsiteX50804" fmla="*/ 4734717 w 6884782"/>
              <a:gd name="connsiteY50804" fmla="*/ 1691150 h 5973007"/>
              <a:gd name="connsiteX50805" fmla="*/ 4726607 w 6884782"/>
              <a:gd name="connsiteY50805" fmla="*/ 1694423 h 5973007"/>
              <a:gd name="connsiteX50806" fmla="*/ 4725113 w 6884782"/>
              <a:gd name="connsiteY50806" fmla="*/ 1690866 h 5973007"/>
              <a:gd name="connsiteX50807" fmla="*/ 4725967 w 6884782"/>
              <a:gd name="connsiteY50807" fmla="*/ 1689301 h 5973007"/>
              <a:gd name="connsiteX50808" fmla="*/ 4724259 w 6884782"/>
              <a:gd name="connsiteY50808" fmla="*/ 1687309 h 5973007"/>
              <a:gd name="connsiteX50809" fmla="*/ 4710600 w 6884782"/>
              <a:gd name="connsiteY50809" fmla="*/ 1690724 h 5973007"/>
              <a:gd name="connsiteX50810" fmla="*/ 4676027 w 6884782"/>
              <a:gd name="connsiteY50810" fmla="*/ 1657717 h 5973007"/>
              <a:gd name="connsiteX50811" fmla="*/ 4676454 w 6884782"/>
              <a:gd name="connsiteY50811" fmla="*/ 1656152 h 5973007"/>
              <a:gd name="connsiteX50812" fmla="*/ 4674959 w 6884782"/>
              <a:gd name="connsiteY50812" fmla="*/ 1654587 h 5973007"/>
              <a:gd name="connsiteX50813" fmla="*/ 4673039 w 6884782"/>
              <a:gd name="connsiteY50813" fmla="*/ 1646193 h 5973007"/>
              <a:gd name="connsiteX50814" fmla="*/ 4678374 w 6884782"/>
              <a:gd name="connsiteY50814" fmla="*/ 1643490 h 5973007"/>
              <a:gd name="connsiteX50815" fmla="*/ 4679655 w 6884782"/>
              <a:gd name="connsiteY50815" fmla="*/ 1643490 h 5973007"/>
              <a:gd name="connsiteX50816" fmla="*/ 4679868 w 6884782"/>
              <a:gd name="connsiteY50816" fmla="*/ 1641071 h 5973007"/>
              <a:gd name="connsiteX50817" fmla="*/ 4679442 w 6884782"/>
              <a:gd name="connsiteY50817" fmla="*/ 1627556 h 5973007"/>
              <a:gd name="connsiteX50818" fmla="*/ 4690326 w 6884782"/>
              <a:gd name="connsiteY50818" fmla="*/ 1614325 h 5973007"/>
              <a:gd name="connsiteX50819" fmla="*/ 4700570 w 6884782"/>
              <a:gd name="connsiteY50819" fmla="*/ 1605505 h 5973007"/>
              <a:gd name="connsiteX50820" fmla="*/ 4700570 w 6884782"/>
              <a:gd name="connsiteY50820" fmla="*/ 1597110 h 5973007"/>
              <a:gd name="connsiteX50821" fmla="*/ 4701637 w 6884782"/>
              <a:gd name="connsiteY50821" fmla="*/ 1588290 h 5973007"/>
              <a:gd name="connsiteX50822" fmla="*/ 1378780 w 6884782"/>
              <a:gd name="connsiteY50822" fmla="*/ 1588174 h 5973007"/>
              <a:gd name="connsiteX50823" fmla="*/ 1378884 w 6884782"/>
              <a:gd name="connsiteY50823" fmla="*/ 1589568 h 5973007"/>
              <a:gd name="connsiteX50824" fmla="*/ 1379194 w 6884782"/>
              <a:gd name="connsiteY50824" fmla="*/ 1589258 h 5973007"/>
              <a:gd name="connsiteX50825" fmla="*/ 1379710 w 6884782"/>
              <a:gd name="connsiteY50825" fmla="*/ 1588639 h 5973007"/>
              <a:gd name="connsiteX50826" fmla="*/ 1380123 w 6884782"/>
              <a:gd name="connsiteY50826" fmla="*/ 1588484 h 5973007"/>
              <a:gd name="connsiteX50827" fmla="*/ 5073841 w 6884782"/>
              <a:gd name="connsiteY50827" fmla="*/ 1587436 h 5973007"/>
              <a:gd name="connsiteX50828" fmla="*/ 5073628 w 6884782"/>
              <a:gd name="connsiteY50828" fmla="*/ 1592842 h 5973007"/>
              <a:gd name="connsiteX50829" fmla="*/ 5075335 w 6884782"/>
              <a:gd name="connsiteY50829" fmla="*/ 1590282 h 5973007"/>
              <a:gd name="connsiteX50830" fmla="*/ 5080671 w 6884782"/>
              <a:gd name="connsiteY50830" fmla="*/ 1592273 h 5973007"/>
              <a:gd name="connsiteX50831" fmla="*/ 5081738 w 6884782"/>
              <a:gd name="connsiteY50831" fmla="*/ 1591562 h 5973007"/>
              <a:gd name="connsiteX50832" fmla="*/ 5097317 w 6884782"/>
              <a:gd name="connsiteY50832" fmla="*/ 1589001 h 5973007"/>
              <a:gd name="connsiteX50833" fmla="*/ 5091555 w 6884782"/>
              <a:gd name="connsiteY50833" fmla="*/ 1596684 h 5973007"/>
              <a:gd name="connsiteX50834" fmla="*/ 5085152 w 6884782"/>
              <a:gd name="connsiteY50834" fmla="*/ 1600809 h 5973007"/>
              <a:gd name="connsiteX50835" fmla="*/ 5085793 w 6884782"/>
              <a:gd name="connsiteY50835" fmla="*/ 1604366 h 5973007"/>
              <a:gd name="connsiteX50836" fmla="*/ 5089207 w 6884782"/>
              <a:gd name="connsiteY50836" fmla="*/ 1599102 h 5973007"/>
              <a:gd name="connsiteX50837" fmla="*/ 5111189 w 6884782"/>
              <a:gd name="connsiteY50837" fmla="*/ 1590851 h 5973007"/>
              <a:gd name="connsiteX50838" fmla="*/ 5101372 w 6884782"/>
              <a:gd name="connsiteY50838" fmla="*/ 1603370 h 5973007"/>
              <a:gd name="connsiteX50839" fmla="*/ 5086006 w 6884782"/>
              <a:gd name="connsiteY50839" fmla="*/ 1606500 h 5973007"/>
              <a:gd name="connsiteX50840" fmla="*/ 5086006 w 6884782"/>
              <a:gd name="connsiteY50840" fmla="*/ 1610057 h 5973007"/>
              <a:gd name="connsiteX50841" fmla="*/ 5080884 w 6884782"/>
              <a:gd name="connsiteY50841" fmla="*/ 1611053 h 5973007"/>
              <a:gd name="connsiteX50842" fmla="*/ 5078536 w 6884782"/>
              <a:gd name="connsiteY50842" fmla="*/ 1609204 h 5973007"/>
              <a:gd name="connsiteX50843" fmla="*/ 5077896 w 6884782"/>
              <a:gd name="connsiteY50843" fmla="*/ 1616459 h 5973007"/>
              <a:gd name="connsiteX50844" fmla="*/ 5065304 w 6884782"/>
              <a:gd name="connsiteY50844" fmla="*/ 1607354 h 5973007"/>
              <a:gd name="connsiteX50845" fmla="*/ 5069146 w 6884782"/>
              <a:gd name="connsiteY50845" fmla="*/ 1603513 h 5973007"/>
              <a:gd name="connsiteX50846" fmla="*/ 5068505 w 6884782"/>
              <a:gd name="connsiteY50846" fmla="*/ 1603370 h 5973007"/>
              <a:gd name="connsiteX50847" fmla="*/ 5072987 w 6884782"/>
              <a:gd name="connsiteY50847" fmla="*/ 1597537 h 5973007"/>
              <a:gd name="connsiteX50848" fmla="*/ 5073414 w 6884782"/>
              <a:gd name="connsiteY50848" fmla="*/ 1595830 h 5973007"/>
              <a:gd name="connsiteX50849" fmla="*/ 5073628 w 6884782"/>
              <a:gd name="connsiteY50849" fmla="*/ 1593412 h 5973007"/>
              <a:gd name="connsiteX50850" fmla="*/ 5070426 w 6884782"/>
              <a:gd name="connsiteY50850" fmla="*/ 1597253 h 5973007"/>
              <a:gd name="connsiteX50851" fmla="*/ 5068079 w 6884782"/>
              <a:gd name="connsiteY50851" fmla="*/ 1602517 h 5973007"/>
              <a:gd name="connsiteX50852" fmla="*/ 5065091 w 6884782"/>
              <a:gd name="connsiteY50852" fmla="*/ 1603370 h 5973007"/>
              <a:gd name="connsiteX50853" fmla="*/ 5064024 w 6884782"/>
              <a:gd name="connsiteY50853" fmla="*/ 1602801 h 5973007"/>
              <a:gd name="connsiteX50854" fmla="*/ 5064237 w 6884782"/>
              <a:gd name="connsiteY50854" fmla="*/ 1600098 h 5973007"/>
              <a:gd name="connsiteX50855" fmla="*/ 5069786 w 6884782"/>
              <a:gd name="connsiteY50855" fmla="*/ 1590424 h 5973007"/>
              <a:gd name="connsiteX50856" fmla="*/ 5070640 w 6884782"/>
              <a:gd name="connsiteY50856" fmla="*/ 1588290 h 5973007"/>
              <a:gd name="connsiteX50857" fmla="*/ 5073841 w 6884782"/>
              <a:gd name="connsiteY50857" fmla="*/ 1587436 h 5973007"/>
              <a:gd name="connsiteX50858" fmla="*/ 5569402 w 6884782"/>
              <a:gd name="connsiteY50858" fmla="*/ 1587010 h 5973007"/>
              <a:gd name="connsiteX50859" fmla="*/ 5574737 w 6884782"/>
              <a:gd name="connsiteY50859" fmla="*/ 1587720 h 5973007"/>
              <a:gd name="connsiteX50860" fmla="*/ 5573670 w 6884782"/>
              <a:gd name="connsiteY50860" fmla="*/ 1587720 h 5973007"/>
              <a:gd name="connsiteX50861" fmla="*/ 5573457 w 6884782"/>
              <a:gd name="connsiteY50861" fmla="*/ 1590139 h 5973007"/>
              <a:gd name="connsiteX50862" fmla="*/ 5574524 w 6884782"/>
              <a:gd name="connsiteY50862" fmla="*/ 1590139 h 5973007"/>
              <a:gd name="connsiteX50863" fmla="*/ 5573243 w 6884782"/>
              <a:gd name="connsiteY50863" fmla="*/ 1592558 h 5973007"/>
              <a:gd name="connsiteX50864" fmla="*/ 5564707 w 6884782"/>
              <a:gd name="connsiteY50864" fmla="*/ 1596114 h 5973007"/>
              <a:gd name="connsiteX50865" fmla="*/ 5565133 w 6884782"/>
              <a:gd name="connsiteY50865" fmla="*/ 1589855 h 5973007"/>
              <a:gd name="connsiteX50866" fmla="*/ 5569402 w 6884782"/>
              <a:gd name="connsiteY50866" fmla="*/ 1587010 h 5973007"/>
              <a:gd name="connsiteX50867" fmla="*/ 5351927 w 6884782"/>
              <a:gd name="connsiteY50867" fmla="*/ 1587010 h 5973007"/>
              <a:gd name="connsiteX50868" fmla="*/ 5351927 w 6884782"/>
              <a:gd name="connsiteY50868" fmla="*/ 1600241 h 5973007"/>
              <a:gd name="connsiteX50869" fmla="*/ 5351927 w 6884782"/>
              <a:gd name="connsiteY50869" fmla="*/ 1587010 h 5973007"/>
              <a:gd name="connsiteX50870" fmla="*/ 4583829 w 6884782"/>
              <a:gd name="connsiteY50870" fmla="*/ 1586867 h 5973007"/>
              <a:gd name="connsiteX50871" fmla="*/ 4587031 w 6884782"/>
              <a:gd name="connsiteY50871" fmla="*/ 1587578 h 5973007"/>
              <a:gd name="connsiteX50872" fmla="*/ 4584683 w 6884782"/>
              <a:gd name="connsiteY50872" fmla="*/ 1594834 h 5973007"/>
              <a:gd name="connsiteX50873" fmla="*/ 4574439 w 6884782"/>
              <a:gd name="connsiteY50873" fmla="*/ 1596541 h 5973007"/>
              <a:gd name="connsiteX50874" fmla="*/ 4573585 w 6884782"/>
              <a:gd name="connsiteY50874" fmla="*/ 1590709 h 5973007"/>
              <a:gd name="connsiteX50875" fmla="*/ 4579774 w 6884782"/>
              <a:gd name="connsiteY50875" fmla="*/ 1587436 h 5973007"/>
              <a:gd name="connsiteX50876" fmla="*/ 4583829 w 6884782"/>
              <a:gd name="connsiteY50876" fmla="*/ 1586867 h 5973007"/>
              <a:gd name="connsiteX50877" fmla="*/ 1694641 w 6884782"/>
              <a:gd name="connsiteY50877" fmla="*/ 1586625 h 5973007"/>
              <a:gd name="connsiteX50878" fmla="*/ 1699081 w 6884782"/>
              <a:gd name="connsiteY50878" fmla="*/ 1590188 h 5973007"/>
              <a:gd name="connsiteX50879" fmla="*/ 1699288 w 6884782"/>
              <a:gd name="connsiteY50879" fmla="*/ 1593441 h 5973007"/>
              <a:gd name="connsiteX50880" fmla="*/ 1700527 w 6884782"/>
              <a:gd name="connsiteY50880" fmla="*/ 1593131 h 5973007"/>
              <a:gd name="connsiteX50881" fmla="*/ 1715705 w 6884782"/>
              <a:gd name="connsiteY50881" fmla="*/ 1615901 h 5973007"/>
              <a:gd name="connsiteX50882" fmla="*/ 1715396 w 6884782"/>
              <a:gd name="connsiteY50882" fmla="*/ 1618379 h 5973007"/>
              <a:gd name="connsiteX50883" fmla="*/ 1716325 w 6884782"/>
              <a:gd name="connsiteY50883" fmla="*/ 1618534 h 5973007"/>
              <a:gd name="connsiteX50884" fmla="*/ 1722417 w 6884782"/>
              <a:gd name="connsiteY50884" fmla="*/ 1620857 h 5973007"/>
              <a:gd name="connsiteX50885" fmla="*/ 1695054 w 6884782"/>
              <a:gd name="connsiteY50885" fmla="*/ 1622871 h 5973007"/>
              <a:gd name="connsiteX50886" fmla="*/ 1698668 w 6884782"/>
              <a:gd name="connsiteY50886" fmla="*/ 1618998 h 5973007"/>
              <a:gd name="connsiteX50887" fmla="*/ 1693712 w 6884782"/>
              <a:gd name="connsiteY50887" fmla="*/ 1613887 h 5973007"/>
              <a:gd name="connsiteX50888" fmla="*/ 1690408 w 6884782"/>
              <a:gd name="connsiteY50888" fmla="*/ 1605832 h 5973007"/>
              <a:gd name="connsiteX50889" fmla="*/ 1690201 w 6884782"/>
              <a:gd name="connsiteY50889" fmla="*/ 1601030 h 5973007"/>
              <a:gd name="connsiteX50890" fmla="*/ 1686897 w 6884782"/>
              <a:gd name="connsiteY50890" fmla="*/ 1598087 h 5973007"/>
              <a:gd name="connsiteX50891" fmla="*/ 1686071 w 6884782"/>
              <a:gd name="connsiteY50891" fmla="*/ 1592047 h 5973007"/>
              <a:gd name="connsiteX50892" fmla="*/ 1687413 w 6884782"/>
              <a:gd name="connsiteY50892" fmla="*/ 1588794 h 5973007"/>
              <a:gd name="connsiteX50893" fmla="*/ 1694641 w 6884782"/>
              <a:gd name="connsiteY50893" fmla="*/ 1586625 h 5973007"/>
              <a:gd name="connsiteX50894" fmla="*/ 4026163 w 6884782"/>
              <a:gd name="connsiteY50894" fmla="*/ 1585587 h 5973007"/>
              <a:gd name="connsiteX50895" fmla="*/ 4052628 w 6884782"/>
              <a:gd name="connsiteY50895" fmla="*/ 1605362 h 5973007"/>
              <a:gd name="connsiteX50896" fmla="*/ 4054122 w 6884782"/>
              <a:gd name="connsiteY50896" fmla="*/ 1612902 h 5973007"/>
              <a:gd name="connsiteX50897" fmla="*/ 4053268 w 6884782"/>
              <a:gd name="connsiteY50897" fmla="*/ 1620300 h 5973007"/>
              <a:gd name="connsiteX50898" fmla="*/ 4054975 w 6884782"/>
              <a:gd name="connsiteY50898" fmla="*/ 1620443 h 5973007"/>
              <a:gd name="connsiteX50899" fmla="*/ 4057963 w 6884782"/>
              <a:gd name="connsiteY50899" fmla="*/ 1631397 h 5973007"/>
              <a:gd name="connsiteX50900" fmla="*/ 4050280 w 6884782"/>
              <a:gd name="connsiteY50900" fmla="*/ 1635381 h 5973007"/>
              <a:gd name="connsiteX50901" fmla="*/ 4048146 w 6884782"/>
              <a:gd name="connsiteY50901" fmla="*/ 1628552 h 5973007"/>
              <a:gd name="connsiteX50902" fmla="*/ 4049853 w 6884782"/>
              <a:gd name="connsiteY50902" fmla="*/ 1621865 h 5973007"/>
              <a:gd name="connsiteX50903" fmla="*/ 4040676 w 6884782"/>
              <a:gd name="connsiteY50903" fmla="*/ 1624426 h 5973007"/>
              <a:gd name="connsiteX50904" fmla="*/ 4029578 w 6884782"/>
              <a:gd name="connsiteY50904" fmla="*/ 1622577 h 5973007"/>
              <a:gd name="connsiteX50905" fmla="*/ 4011864 w 6884782"/>
              <a:gd name="connsiteY50905" fmla="*/ 1590424 h 5973007"/>
              <a:gd name="connsiteX50906" fmla="*/ 4014639 w 6884782"/>
              <a:gd name="connsiteY50906" fmla="*/ 1587720 h 5973007"/>
              <a:gd name="connsiteX50907" fmla="*/ 4026163 w 6884782"/>
              <a:gd name="connsiteY50907" fmla="*/ 1585587 h 5973007"/>
              <a:gd name="connsiteX50908" fmla="*/ 1723346 w 6884782"/>
              <a:gd name="connsiteY50908" fmla="*/ 1584921 h 5973007"/>
              <a:gd name="connsiteX50909" fmla="*/ 1725308 w 6884782"/>
              <a:gd name="connsiteY50909" fmla="*/ 1589878 h 5973007"/>
              <a:gd name="connsiteX50910" fmla="*/ 1724586 w 6884782"/>
              <a:gd name="connsiteY50910" fmla="*/ 1592356 h 5973007"/>
              <a:gd name="connsiteX50911" fmla="*/ 1724896 w 6884782"/>
              <a:gd name="connsiteY50911" fmla="*/ 1592666 h 5973007"/>
              <a:gd name="connsiteX50912" fmla="*/ 1724999 w 6884782"/>
              <a:gd name="connsiteY50912" fmla="*/ 1599172 h 5973007"/>
              <a:gd name="connsiteX50913" fmla="*/ 1710956 w 6884782"/>
              <a:gd name="connsiteY50913" fmla="*/ 1598862 h 5973007"/>
              <a:gd name="connsiteX50914" fmla="*/ 1711988 w 6884782"/>
              <a:gd name="connsiteY50914" fmla="*/ 1591737 h 5973007"/>
              <a:gd name="connsiteX50915" fmla="*/ 1714983 w 6884782"/>
              <a:gd name="connsiteY50915" fmla="*/ 1590033 h 5973007"/>
              <a:gd name="connsiteX50916" fmla="*/ 1717048 w 6884782"/>
              <a:gd name="connsiteY50916" fmla="*/ 1586160 h 5973007"/>
              <a:gd name="connsiteX50917" fmla="*/ 1723346 w 6884782"/>
              <a:gd name="connsiteY50917" fmla="*/ 1584921 h 5973007"/>
              <a:gd name="connsiteX50918" fmla="*/ 4962436 w 6884782"/>
              <a:gd name="connsiteY50918" fmla="*/ 1584875 h 5973007"/>
              <a:gd name="connsiteX50919" fmla="*/ 4963503 w 6884782"/>
              <a:gd name="connsiteY50919" fmla="*/ 1587294 h 5973007"/>
              <a:gd name="connsiteX50920" fmla="*/ 4963716 w 6884782"/>
              <a:gd name="connsiteY50920" fmla="*/ 1591135 h 5973007"/>
              <a:gd name="connsiteX50921" fmla="*/ 4957954 w 6884782"/>
              <a:gd name="connsiteY50921" fmla="*/ 1591989 h 5973007"/>
              <a:gd name="connsiteX50922" fmla="*/ 4956674 w 6884782"/>
              <a:gd name="connsiteY50922" fmla="*/ 1589428 h 5973007"/>
              <a:gd name="connsiteX50923" fmla="*/ 4957741 w 6884782"/>
              <a:gd name="connsiteY50923" fmla="*/ 1585871 h 5973007"/>
              <a:gd name="connsiteX50924" fmla="*/ 4962436 w 6884782"/>
              <a:gd name="connsiteY50924" fmla="*/ 1584875 h 5973007"/>
              <a:gd name="connsiteX50925" fmla="*/ 1410067 w 6884782"/>
              <a:gd name="connsiteY50925" fmla="*/ 1584147 h 5973007"/>
              <a:gd name="connsiteX50926" fmla="*/ 1411100 w 6884782"/>
              <a:gd name="connsiteY50926" fmla="*/ 1587245 h 5973007"/>
              <a:gd name="connsiteX50927" fmla="*/ 1414301 w 6884782"/>
              <a:gd name="connsiteY50927" fmla="*/ 1587864 h 5973007"/>
              <a:gd name="connsiteX50928" fmla="*/ 1413991 w 6884782"/>
              <a:gd name="connsiteY50928" fmla="*/ 1586935 h 5973007"/>
              <a:gd name="connsiteX50929" fmla="*/ 1414714 w 6884782"/>
              <a:gd name="connsiteY50929" fmla="*/ 1585541 h 5973007"/>
              <a:gd name="connsiteX50930" fmla="*/ 1416985 w 6884782"/>
              <a:gd name="connsiteY50930" fmla="*/ 1585541 h 5973007"/>
              <a:gd name="connsiteX50931" fmla="*/ 1419361 w 6884782"/>
              <a:gd name="connsiteY50931" fmla="*/ 1589258 h 5973007"/>
              <a:gd name="connsiteX50932" fmla="*/ 1418225 w 6884782"/>
              <a:gd name="connsiteY50932" fmla="*/ 1593905 h 5973007"/>
              <a:gd name="connsiteX50933" fmla="*/ 1418947 w 6884782"/>
              <a:gd name="connsiteY50933" fmla="*/ 1596384 h 5973007"/>
              <a:gd name="connsiteX50934" fmla="*/ 1418121 w 6884782"/>
              <a:gd name="connsiteY50934" fmla="*/ 1596848 h 5973007"/>
              <a:gd name="connsiteX50935" fmla="*/ 1415643 w 6884782"/>
              <a:gd name="connsiteY50935" fmla="*/ 1591737 h 5973007"/>
              <a:gd name="connsiteX50936" fmla="*/ 1414507 w 6884782"/>
              <a:gd name="connsiteY50936" fmla="*/ 1588484 h 5973007"/>
              <a:gd name="connsiteX50937" fmla="*/ 1410790 w 6884782"/>
              <a:gd name="connsiteY50937" fmla="*/ 1594215 h 5973007"/>
              <a:gd name="connsiteX50938" fmla="*/ 1401084 w 6884782"/>
              <a:gd name="connsiteY50938" fmla="*/ 1611254 h 5973007"/>
              <a:gd name="connsiteX50939" fmla="*/ 1401497 w 6884782"/>
              <a:gd name="connsiteY50939" fmla="*/ 1600411 h 5973007"/>
              <a:gd name="connsiteX50940" fmla="*/ 1403149 w 6884782"/>
              <a:gd name="connsiteY50940" fmla="*/ 1590343 h 5973007"/>
              <a:gd name="connsiteX50941" fmla="*/ 1405421 w 6884782"/>
              <a:gd name="connsiteY50941" fmla="*/ 1588019 h 5973007"/>
              <a:gd name="connsiteX50942" fmla="*/ 1404904 w 6884782"/>
              <a:gd name="connsiteY50942" fmla="*/ 1587400 h 5973007"/>
              <a:gd name="connsiteX50943" fmla="*/ 1410067 w 6884782"/>
              <a:gd name="connsiteY50943" fmla="*/ 1584147 h 5973007"/>
              <a:gd name="connsiteX50944" fmla="*/ 5903190 w 6884782"/>
              <a:gd name="connsiteY50944" fmla="*/ 1584022 h 5973007"/>
              <a:gd name="connsiteX50945" fmla="*/ 5905965 w 6884782"/>
              <a:gd name="connsiteY50945" fmla="*/ 1584591 h 5973007"/>
              <a:gd name="connsiteX50946" fmla="*/ 5905751 w 6884782"/>
              <a:gd name="connsiteY50946" fmla="*/ 1590566 h 5973007"/>
              <a:gd name="connsiteX50947" fmla="*/ 5895934 w 6884782"/>
              <a:gd name="connsiteY50947" fmla="*/ 1594834 h 5973007"/>
              <a:gd name="connsiteX50948" fmla="*/ 5895294 w 6884782"/>
              <a:gd name="connsiteY50948" fmla="*/ 1590139 h 5973007"/>
              <a:gd name="connsiteX50949" fmla="*/ 5903190 w 6884782"/>
              <a:gd name="connsiteY50949" fmla="*/ 1584022 h 5973007"/>
              <a:gd name="connsiteX50950" fmla="*/ 3710089 w 6884782"/>
              <a:gd name="connsiteY50950" fmla="*/ 1583737 h 5973007"/>
              <a:gd name="connsiteX50951" fmla="*/ 3712650 w 6884782"/>
              <a:gd name="connsiteY50951" fmla="*/ 1584448 h 5973007"/>
              <a:gd name="connsiteX50952" fmla="*/ 3713290 w 6884782"/>
              <a:gd name="connsiteY50952" fmla="*/ 1587294 h 5973007"/>
              <a:gd name="connsiteX50953" fmla="*/ 3699418 w 6884782"/>
              <a:gd name="connsiteY50953" fmla="*/ 1594550 h 5973007"/>
              <a:gd name="connsiteX50954" fmla="*/ 3696217 w 6884782"/>
              <a:gd name="connsiteY50954" fmla="*/ 1593696 h 5973007"/>
              <a:gd name="connsiteX50955" fmla="*/ 3693655 w 6884782"/>
              <a:gd name="connsiteY50955" fmla="*/ 1593981 h 5973007"/>
              <a:gd name="connsiteX50956" fmla="*/ 3687466 w 6884782"/>
              <a:gd name="connsiteY50956" fmla="*/ 1589855 h 5973007"/>
              <a:gd name="connsiteX50957" fmla="*/ 3710089 w 6884782"/>
              <a:gd name="connsiteY50957" fmla="*/ 1583737 h 5973007"/>
              <a:gd name="connsiteX50958" fmla="*/ 5260797 w 6884782"/>
              <a:gd name="connsiteY50958" fmla="*/ 1583026 h 5973007"/>
              <a:gd name="connsiteX50959" fmla="*/ 5267626 w 6884782"/>
              <a:gd name="connsiteY50959" fmla="*/ 1592700 h 5973007"/>
              <a:gd name="connsiteX50960" fmla="*/ 5260797 w 6884782"/>
              <a:gd name="connsiteY50960" fmla="*/ 1583026 h 5973007"/>
              <a:gd name="connsiteX50961" fmla="*/ 3783078 w 6884782"/>
              <a:gd name="connsiteY50961" fmla="*/ 1582883 h 5973007"/>
              <a:gd name="connsiteX50962" fmla="*/ 3791401 w 6884782"/>
              <a:gd name="connsiteY50962" fmla="*/ 1586583 h 5973007"/>
              <a:gd name="connsiteX50963" fmla="*/ 3791828 w 6884782"/>
              <a:gd name="connsiteY50963" fmla="*/ 1588717 h 5973007"/>
              <a:gd name="connsiteX50964" fmla="*/ 3783078 w 6884782"/>
              <a:gd name="connsiteY50964" fmla="*/ 1582883 h 5973007"/>
              <a:gd name="connsiteX50965" fmla="*/ 1631035 w 6884782"/>
              <a:gd name="connsiteY50965" fmla="*/ 1582598 h 5973007"/>
              <a:gd name="connsiteX50966" fmla="*/ 1641155 w 6884782"/>
              <a:gd name="connsiteY50966" fmla="*/ 1584612 h 5973007"/>
              <a:gd name="connsiteX50967" fmla="*/ 1621020 w 6884782"/>
              <a:gd name="connsiteY50967" fmla="*/ 1586470 h 5973007"/>
              <a:gd name="connsiteX50968" fmla="*/ 1631035 w 6884782"/>
              <a:gd name="connsiteY50968" fmla="*/ 1582598 h 5973007"/>
              <a:gd name="connsiteX50969" fmla="*/ 1534594 w 6884782"/>
              <a:gd name="connsiteY50969" fmla="*/ 1582598 h 5973007"/>
              <a:gd name="connsiteX50970" fmla="*/ 1554316 w 6884782"/>
              <a:gd name="connsiteY50970" fmla="*/ 1591427 h 5973007"/>
              <a:gd name="connsiteX50971" fmla="*/ 1534594 w 6884782"/>
              <a:gd name="connsiteY50971" fmla="*/ 1582598 h 5973007"/>
              <a:gd name="connsiteX50972" fmla="*/ 1290290 w 6884782"/>
              <a:gd name="connsiteY50972" fmla="*/ 1581514 h 5973007"/>
              <a:gd name="connsiteX50973" fmla="*/ 1290703 w 6884782"/>
              <a:gd name="connsiteY50973" fmla="*/ 1582288 h 5973007"/>
              <a:gd name="connsiteX50974" fmla="*/ 1288948 w 6884782"/>
              <a:gd name="connsiteY50974" fmla="*/ 1582443 h 5973007"/>
              <a:gd name="connsiteX50975" fmla="*/ 1289154 w 6884782"/>
              <a:gd name="connsiteY50975" fmla="*/ 1581978 h 5973007"/>
              <a:gd name="connsiteX50976" fmla="*/ 1290290 w 6884782"/>
              <a:gd name="connsiteY50976" fmla="*/ 1581514 h 5973007"/>
              <a:gd name="connsiteX50977" fmla="*/ 4133940 w 6884782"/>
              <a:gd name="connsiteY50977" fmla="*/ 1580465 h 5973007"/>
              <a:gd name="connsiteX50978" fmla="*/ 4149093 w 6884782"/>
              <a:gd name="connsiteY50978" fmla="*/ 1581034 h 5973007"/>
              <a:gd name="connsiteX50979" fmla="*/ 4162965 w 6884782"/>
              <a:gd name="connsiteY50979" fmla="*/ 1583310 h 5973007"/>
              <a:gd name="connsiteX50980" fmla="*/ 4166167 w 6884782"/>
              <a:gd name="connsiteY50980" fmla="*/ 1586440 h 5973007"/>
              <a:gd name="connsiteX50981" fmla="*/ 4166807 w 6884782"/>
              <a:gd name="connsiteY50981" fmla="*/ 1585729 h 5973007"/>
              <a:gd name="connsiteX50982" fmla="*/ 4171289 w 6884782"/>
              <a:gd name="connsiteY50982" fmla="*/ 1592700 h 5973007"/>
              <a:gd name="connsiteX50983" fmla="*/ 4167020 w 6884782"/>
              <a:gd name="connsiteY50983" fmla="*/ 1594123 h 5973007"/>
              <a:gd name="connsiteX50984" fmla="*/ 4166167 w 6884782"/>
              <a:gd name="connsiteY50984" fmla="*/ 1599387 h 5973007"/>
              <a:gd name="connsiteX50985" fmla="*/ 4133940 w 6884782"/>
              <a:gd name="connsiteY50985" fmla="*/ 1580465 h 5973007"/>
              <a:gd name="connsiteX50986" fmla="*/ 5411258 w 6884782"/>
              <a:gd name="connsiteY50986" fmla="*/ 1580181 h 5973007"/>
              <a:gd name="connsiteX50987" fmla="*/ 5415313 w 6884782"/>
              <a:gd name="connsiteY50987" fmla="*/ 1584875 h 5973007"/>
              <a:gd name="connsiteX50988" fmla="*/ 5413606 w 6884782"/>
              <a:gd name="connsiteY50988" fmla="*/ 1591135 h 5973007"/>
              <a:gd name="connsiteX50989" fmla="*/ 5412538 w 6884782"/>
              <a:gd name="connsiteY50989" fmla="*/ 1592273 h 5973007"/>
              <a:gd name="connsiteX50990" fmla="*/ 5406349 w 6884782"/>
              <a:gd name="connsiteY50990" fmla="*/ 1596541 h 5973007"/>
              <a:gd name="connsiteX50991" fmla="*/ 5405922 w 6884782"/>
              <a:gd name="connsiteY50991" fmla="*/ 1599671 h 5973007"/>
              <a:gd name="connsiteX50992" fmla="*/ 5392904 w 6884782"/>
              <a:gd name="connsiteY50992" fmla="*/ 1589855 h 5973007"/>
              <a:gd name="connsiteX50993" fmla="*/ 5394824 w 6884782"/>
              <a:gd name="connsiteY50993" fmla="*/ 1584022 h 5973007"/>
              <a:gd name="connsiteX50994" fmla="*/ 5400800 w 6884782"/>
              <a:gd name="connsiteY50994" fmla="*/ 1583737 h 5973007"/>
              <a:gd name="connsiteX50995" fmla="*/ 5402721 w 6884782"/>
              <a:gd name="connsiteY50995" fmla="*/ 1585587 h 5973007"/>
              <a:gd name="connsiteX50996" fmla="*/ 5405282 w 6884782"/>
              <a:gd name="connsiteY50996" fmla="*/ 1583737 h 5973007"/>
              <a:gd name="connsiteX50997" fmla="*/ 5411258 w 6884782"/>
              <a:gd name="connsiteY50997" fmla="*/ 1580181 h 5973007"/>
              <a:gd name="connsiteX50998" fmla="*/ 3840275 w 6884782"/>
              <a:gd name="connsiteY50998" fmla="*/ 1580181 h 5973007"/>
              <a:gd name="connsiteX50999" fmla="*/ 3840915 w 6884782"/>
              <a:gd name="connsiteY50999" fmla="*/ 1580465 h 5973007"/>
              <a:gd name="connsiteX51000" fmla="*/ 3841128 w 6884782"/>
              <a:gd name="connsiteY51000" fmla="*/ 1581888 h 5973007"/>
              <a:gd name="connsiteX51001" fmla="*/ 3840275 w 6884782"/>
              <a:gd name="connsiteY51001" fmla="*/ 1582599 h 5973007"/>
              <a:gd name="connsiteX51002" fmla="*/ 3840275 w 6884782"/>
              <a:gd name="connsiteY51002" fmla="*/ 1580181 h 5973007"/>
              <a:gd name="connsiteX51003" fmla="*/ 3595269 w 6884782"/>
              <a:gd name="connsiteY51003" fmla="*/ 1580181 h 5973007"/>
              <a:gd name="connsiteX51004" fmla="*/ 3605086 w 6884782"/>
              <a:gd name="connsiteY51004" fmla="*/ 1583026 h 5973007"/>
              <a:gd name="connsiteX51005" fmla="*/ 3596336 w 6884782"/>
              <a:gd name="connsiteY51005" fmla="*/ 1581461 h 5973007"/>
              <a:gd name="connsiteX51006" fmla="*/ 3595269 w 6884782"/>
              <a:gd name="connsiteY51006" fmla="*/ 1580181 h 5973007"/>
              <a:gd name="connsiteX51007" fmla="*/ 4075250 w 6884782"/>
              <a:gd name="connsiteY51007" fmla="*/ 1580038 h 5973007"/>
              <a:gd name="connsiteX51008" fmla="*/ 4081439 w 6884782"/>
              <a:gd name="connsiteY51008" fmla="*/ 1583595 h 5973007"/>
              <a:gd name="connsiteX51009" fmla="*/ 4077171 w 6884782"/>
              <a:gd name="connsiteY51009" fmla="*/ 1592984 h 5973007"/>
              <a:gd name="connsiteX51010" fmla="*/ 4070341 w 6884782"/>
              <a:gd name="connsiteY51010" fmla="*/ 1587863 h 5973007"/>
              <a:gd name="connsiteX51011" fmla="*/ 4069914 w 6884782"/>
              <a:gd name="connsiteY51011" fmla="*/ 1584022 h 5973007"/>
              <a:gd name="connsiteX51012" fmla="*/ 4072262 w 6884782"/>
              <a:gd name="connsiteY51012" fmla="*/ 1580892 h 5973007"/>
              <a:gd name="connsiteX51013" fmla="*/ 4075250 w 6884782"/>
              <a:gd name="connsiteY51013" fmla="*/ 1580038 h 5973007"/>
              <a:gd name="connsiteX51014" fmla="*/ 1193023 w 6884782"/>
              <a:gd name="connsiteY51014" fmla="*/ 1579965 h 5973007"/>
              <a:gd name="connsiteX51015" fmla="*/ 1194468 w 6884782"/>
              <a:gd name="connsiteY51015" fmla="*/ 1584921 h 5973007"/>
              <a:gd name="connsiteX51016" fmla="*/ 1190958 w 6884782"/>
              <a:gd name="connsiteY51016" fmla="*/ 1586780 h 5973007"/>
              <a:gd name="connsiteX51017" fmla="*/ 1189408 w 6884782"/>
              <a:gd name="connsiteY51017" fmla="*/ 1581823 h 5973007"/>
              <a:gd name="connsiteX51018" fmla="*/ 1193023 w 6884782"/>
              <a:gd name="connsiteY51018" fmla="*/ 1579965 h 5973007"/>
              <a:gd name="connsiteX51019" fmla="*/ 4049853 w 6884782"/>
              <a:gd name="connsiteY51019" fmla="*/ 1579611 h 5973007"/>
              <a:gd name="connsiteX51020" fmla="*/ 4070981 w 6884782"/>
              <a:gd name="connsiteY51020" fmla="*/ 1595404 h 5973007"/>
              <a:gd name="connsiteX51021" fmla="*/ 4069914 w 6884782"/>
              <a:gd name="connsiteY51021" fmla="*/ 1602943 h 5973007"/>
              <a:gd name="connsiteX51022" fmla="*/ 4049853 w 6884782"/>
              <a:gd name="connsiteY51022" fmla="*/ 1579611 h 5973007"/>
              <a:gd name="connsiteX51023" fmla="*/ 3640087 w 6884782"/>
              <a:gd name="connsiteY51023" fmla="*/ 1579327 h 5973007"/>
              <a:gd name="connsiteX51024" fmla="*/ 3645636 w 6884782"/>
              <a:gd name="connsiteY51024" fmla="*/ 1580323 h 5973007"/>
              <a:gd name="connsiteX51025" fmla="*/ 3648624 w 6884782"/>
              <a:gd name="connsiteY51025" fmla="*/ 1581461 h 5973007"/>
              <a:gd name="connsiteX51026" fmla="*/ 3651185 w 6884782"/>
              <a:gd name="connsiteY51026" fmla="*/ 1581461 h 5973007"/>
              <a:gd name="connsiteX51027" fmla="*/ 3654813 w 6884782"/>
              <a:gd name="connsiteY51027" fmla="*/ 1584448 h 5973007"/>
              <a:gd name="connsiteX51028" fmla="*/ 3652466 w 6884782"/>
              <a:gd name="connsiteY51028" fmla="*/ 1584448 h 5973007"/>
              <a:gd name="connsiteX51029" fmla="*/ 3649264 w 6884782"/>
              <a:gd name="connsiteY51029" fmla="*/ 1583595 h 5973007"/>
              <a:gd name="connsiteX51030" fmla="*/ 3647343 w 6884782"/>
              <a:gd name="connsiteY51030" fmla="*/ 1584448 h 5973007"/>
              <a:gd name="connsiteX51031" fmla="*/ 3640087 w 6884782"/>
              <a:gd name="connsiteY51031" fmla="*/ 1579327 h 5973007"/>
              <a:gd name="connsiteX51032" fmla="*/ 1468304 w 6884782"/>
              <a:gd name="connsiteY51032" fmla="*/ 1579190 h 5973007"/>
              <a:gd name="connsiteX51033" fmla="*/ 1457462 w 6884782"/>
              <a:gd name="connsiteY51033" fmla="*/ 1590808 h 5973007"/>
              <a:gd name="connsiteX51034" fmla="*/ 1456120 w 6884782"/>
              <a:gd name="connsiteY51034" fmla="*/ 1587554 h 5973007"/>
              <a:gd name="connsiteX51035" fmla="*/ 1457875 w 6884782"/>
              <a:gd name="connsiteY51035" fmla="*/ 1586935 h 5973007"/>
              <a:gd name="connsiteX51036" fmla="*/ 1468304 w 6884782"/>
              <a:gd name="connsiteY51036" fmla="*/ 1579190 h 5973007"/>
              <a:gd name="connsiteX51037" fmla="*/ 958218 w 6884782"/>
              <a:gd name="connsiteY51037" fmla="*/ 1579190 h 5973007"/>
              <a:gd name="connsiteX51038" fmla="*/ 965446 w 6884782"/>
              <a:gd name="connsiteY51038" fmla="*/ 1581049 h 5973007"/>
              <a:gd name="connsiteX51039" fmla="*/ 964930 w 6884782"/>
              <a:gd name="connsiteY51039" fmla="*/ 1581669 h 5973007"/>
              <a:gd name="connsiteX51040" fmla="*/ 965239 w 6884782"/>
              <a:gd name="connsiteY51040" fmla="*/ 1582133 h 5973007"/>
              <a:gd name="connsiteX51041" fmla="*/ 965136 w 6884782"/>
              <a:gd name="connsiteY51041" fmla="*/ 1584921 h 5973007"/>
              <a:gd name="connsiteX51042" fmla="*/ 965446 w 6884782"/>
              <a:gd name="connsiteY51042" fmla="*/ 1589104 h 5973007"/>
              <a:gd name="connsiteX51043" fmla="*/ 962658 w 6884782"/>
              <a:gd name="connsiteY51043" fmla="*/ 1602734 h 5973007"/>
              <a:gd name="connsiteX51044" fmla="*/ 961316 w 6884782"/>
              <a:gd name="connsiteY51044" fmla="*/ 1597158 h 5973007"/>
              <a:gd name="connsiteX51045" fmla="*/ 961316 w 6884782"/>
              <a:gd name="connsiteY51045" fmla="*/ 1589878 h 5973007"/>
              <a:gd name="connsiteX51046" fmla="*/ 960696 w 6884782"/>
              <a:gd name="connsiteY51046" fmla="*/ 1584302 h 5973007"/>
              <a:gd name="connsiteX51047" fmla="*/ 959044 w 6884782"/>
              <a:gd name="connsiteY51047" fmla="*/ 1583373 h 5973007"/>
              <a:gd name="connsiteX51048" fmla="*/ 957392 w 6884782"/>
              <a:gd name="connsiteY51048" fmla="*/ 1581669 h 5973007"/>
              <a:gd name="connsiteX51049" fmla="*/ 957289 w 6884782"/>
              <a:gd name="connsiteY51049" fmla="*/ 1580274 h 5973007"/>
              <a:gd name="connsiteX51050" fmla="*/ 958218 w 6884782"/>
              <a:gd name="connsiteY51050" fmla="*/ 1579190 h 5973007"/>
              <a:gd name="connsiteX51051" fmla="*/ 4833317 w 6884782"/>
              <a:gd name="connsiteY51051" fmla="*/ 1578758 h 5973007"/>
              <a:gd name="connsiteX51052" fmla="*/ 4844202 w 6884782"/>
              <a:gd name="connsiteY51052" fmla="*/ 1585018 h 5973007"/>
              <a:gd name="connsiteX51053" fmla="*/ 4824567 w 6884782"/>
              <a:gd name="connsiteY51053" fmla="*/ 1585160 h 5973007"/>
              <a:gd name="connsiteX51054" fmla="*/ 4833317 w 6884782"/>
              <a:gd name="connsiteY51054" fmla="*/ 1578758 h 5973007"/>
              <a:gd name="connsiteX51055" fmla="*/ 988575 w 6884782"/>
              <a:gd name="connsiteY51055" fmla="*/ 1578725 h 5973007"/>
              <a:gd name="connsiteX51056" fmla="*/ 1001586 w 6884782"/>
              <a:gd name="connsiteY51056" fmla="*/ 1585851 h 5973007"/>
              <a:gd name="connsiteX51057" fmla="*/ 997455 w 6884782"/>
              <a:gd name="connsiteY51057" fmla="*/ 1592821 h 5973007"/>
              <a:gd name="connsiteX51058" fmla="*/ 986097 w 6884782"/>
              <a:gd name="connsiteY51058" fmla="*/ 1583527 h 5973007"/>
              <a:gd name="connsiteX51059" fmla="*/ 988575 w 6884782"/>
              <a:gd name="connsiteY51059" fmla="*/ 1578725 h 5973007"/>
              <a:gd name="connsiteX51060" fmla="*/ 1759280 w 6884782"/>
              <a:gd name="connsiteY51060" fmla="*/ 1578416 h 5973007"/>
              <a:gd name="connsiteX51061" fmla="*/ 1759486 w 6884782"/>
              <a:gd name="connsiteY51061" fmla="*/ 1584302 h 5973007"/>
              <a:gd name="connsiteX51062" fmla="*/ 1757731 w 6884782"/>
              <a:gd name="connsiteY51062" fmla="*/ 1597623 h 5973007"/>
              <a:gd name="connsiteX51063" fmla="*/ 1755872 w 6884782"/>
              <a:gd name="connsiteY51063" fmla="*/ 1599327 h 5973007"/>
              <a:gd name="connsiteX51064" fmla="*/ 1755769 w 6884782"/>
              <a:gd name="connsiteY51064" fmla="*/ 1600101 h 5973007"/>
              <a:gd name="connsiteX51065" fmla="*/ 1753910 w 6884782"/>
              <a:gd name="connsiteY51065" fmla="*/ 1600876 h 5973007"/>
              <a:gd name="connsiteX51066" fmla="*/ 1753084 w 6884782"/>
              <a:gd name="connsiteY51066" fmla="*/ 1598707 h 5973007"/>
              <a:gd name="connsiteX51067" fmla="*/ 1753704 w 6884782"/>
              <a:gd name="connsiteY51067" fmla="*/ 1595919 h 5973007"/>
              <a:gd name="connsiteX51068" fmla="*/ 1754117 w 6884782"/>
              <a:gd name="connsiteY51068" fmla="*/ 1591737 h 5973007"/>
              <a:gd name="connsiteX51069" fmla="*/ 1759280 w 6884782"/>
              <a:gd name="connsiteY51069" fmla="*/ 1578416 h 5973007"/>
              <a:gd name="connsiteX51070" fmla="*/ 1574451 w 6884782"/>
              <a:gd name="connsiteY51070" fmla="*/ 1578261 h 5973007"/>
              <a:gd name="connsiteX51071" fmla="*/ 1579717 w 6884782"/>
              <a:gd name="connsiteY51071" fmla="*/ 1582133 h 5973007"/>
              <a:gd name="connsiteX51072" fmla="*/ 1569598 w 6884782"/>
              <a:gd name="connsiteY51072" fmla="*/ 1588794 h 5973007"/>
              <a:gd name="connsiteX51073" fmla="*/ 1574451 w 6884782"/>
              <a:gd name="connsiteY51073" fmla="*/ 1578261 h 5973007"/>
              <a:gd name="connsiteX51074" fmla="*/ 4536877 w 6884782"/>
              <a:gd name="connsiteY51074" fmla="*/ 1577762 h 5973007"/>
              <a:gd name="connsiteX51075" fmla="*/ 4567609 w 6884782"/>
              <a:gd name="connsiteY51075" fmla="*/ 1601805 h 5973007"/>
              <a:gd name="connsiteX51076" fmla="*/ 4532609 w 6884782"/>
              <a:gd name="connsiteY51076" fmla="*/ 1588290 h 5973007"/>
              <a:gd name="connsiteX51077" fmla="*/ 4536877 w 6884782"/>
              <a:gd name="connsiteY51077" fmla="*/ 1577762 h 5973007"/>
              <a:gd name="connsiteX51078" fmla="*/ 1634649 w 6884782"/>
              <a:gd name="connsiteY51078" fmla="*/ 1577641 h 5973007"/>
              <a:gd name="connsiteX51079" fmla="*/ 1635889 w 6884782"/>
              <a:gd name="connsiteY51079" fmla="*/ 1578571 h 5973007"/>
              <a:gd name="connsiteX51080" fmla="*/ 1634030 w 6884782"/>
              <a:gd name="connsiteY51080" fmla="*/ 1578106 h 5973007"/>
              <a:gd name="connsiteX51081" fmla="*/ 1634649 w 6884782"/>
              <a:gd name="connsiteY51081" fmla="*/ 1577641 h 5973007"/>
              <a:gd name="connsiteX51082" fmla="*/ 5769376 w 6884782"/>
              <a:gd name="connsiteY51082" fmla="*/ 1577619 h 5973007"/>
              <a:gd name="connsiteX51083" fmla="*/ 5774284 w 6884782"/>
              <a:gd name="connsiteY51083" fmla="*/ 1583595 h 5973007"/>
              <a:gd name="connsiteX51084" fmla="*/ 5763187 w 6884782"/>
              <a:gd name="connsiteY51084" fmla="*/ 1591420 h 5973007"/>
              <a:gd name="connsiteX51085" fmla="*/ 5759772 w 6884782"/>
              <a:gd name="connsiteY51085" fmla="*/ 1587578 h 5973007"/>
              <a:gd name="connsiteX51086" fmla="*/ 5769376 w 6884782"/>
              <a:gd name="connsiteY51086" fmla="*/ 1577619 h 5973007"/>
              <a:gd name="connsiteX51087" fmla="*/ 4967558 w 6884782"/>
              <a:gd name="connsiteY51087" fmla="*/ 1577335 h 5973007"/>
              <a:gd name="connsiteX51088" fmla="*/ 4972894 w 6884782"/>
              <a:gd name="connsiteY51088" fmla="*/ 1580607 h 5973007"/>
              <a:gd name="connsiteX51089" fmla="*/ 4979083 w 6884782"/>
              <a:gd name="connsiteY51089" fmla="*/ 1592415 h 5973007"/>
              <a:gd name="connsiteX51090" fmla="*/ 4968625 w 6884782"/>
              <a:gd name="connsiteY51090" fmla="*/ 1594265 h 5973007"/>
              <a:gd name="connsiteX51091" fmla="*/ 4967558 w 6884782"/>
              <a:gd name="connsiteY51091" fmla="*/ 1592984 h 5973007"/>
              <a:gd name="connsiteX51092" fmla="*/ 4962650 w 6884782"/>
              <a:gd name="connsiteY51092" fmla="*/ 1578900 h 5973007"/>
              <a:gd name="connsiteX51093" fmla="*/ 4967558 w 6884782"/>
              <a:gd name="connsiteY51093" fmla="*/ 1577335 h 5973007"/>
              <a:gd name="connsiteX51094" fmla="*/ 3881678 w 6884782"/>
              <a:gd name="connsiteY51094" fmla="*/ 1577051 h 5973007"/>
              <a:gd name="connsiteX51095" fmla="*/ 3875276 w 6884782"/>
              <a:gd name="connsiteY51095" fmla="*/ 1582457 h 5973007"/>
              <a:gd name="connsiteX51096" fmla="*/ 3864605 w 6884782"/>
              <a:gd name="connsiteY51096" fmla="*/ 1584875 h 5973007"/>
              <a:gd name="connsiteX51097" fmla="*/ 3865032 w 6884782"/>
              <a:gd name="connsiteY51097" fmla="*/ 1583168 h 5973007"/>
              <a:gd name="connsiteX51098" fmla="*/ 3881678 w 6884782"/>
              <a:gd name="connsiteY51098" fmla="*/ 1577051 h 5973007"/>
              <a:gd name="connsiteX51099" fmla="*/ 1327359 w 6884782"/>
              <a:gd name="connsiteY51099" fmla="*/ 1577021 h 5973007"/>
              <a:gd name="connsiteX51100" fmla="*/ 1332109 w 6884782"/>
              <a:gd name="connsiteY51100" fmla="*/ 1582908 h 5973007"/>
              <a:gd name="connsiteX51101" fmla="*/ 1329940 w 6884782"/>
              <a:gd name="connsiteY51101" fmla="*/ 1584147 h 5973007"/>
              <a:gd name="connsiteX51102" fmla="*/ 1329734 w 6884782"/>
              <a:gd name="connsiteY51102" fmla="*/ 1584457 h 5973007"/>
              <a:gd name="connsiteX51103" fmla="*/ 1335206 w 6884782"/>
              <a:gd name="connsiteY51103" fmla="*/ 1594215 h 5973007"/>
              <a:gd name="connsiteX51104" fmla="*/ 1318582 w 6884782"/>
              <a:gd name="connsiteY51104" fmla="*/ 1578261 h 5973007"/>
              <a:gd name="connsiteX51105" fmla="*/ 1323745 w 6884782"/>
              <a:gd name="connsiteY51105" fmla="*/ 1579810 h 5973007"/>
              <a:gd name="connsiteX51106" fmla="*/ 1324365 w 6884782"/>
              <a:gd name="connsiteY51106" fmla="*/ 1578725 h 5973007"/>
              <a:gd name="connsiteX51107" fmla="*/ 1327359 w 6884782"/>
              <a:gd name="connsiteY51107" fmla="*/ 1577021 h 5973007"/>
              <a:gd name="connsiteX51108" fmla="*/ 5609952 w 6884782"/>
              <a:gd name="connsiteY51108" fmla="*/ 1576197 h 5973007"/>
              <a:gd name="connsiteX51109" fmla="*/ 5610592 w 6884782"/>
              <a:gd name="connsiteY51109" fmla="*/ 1577193 h 5973007"/>
              <a:gd name="connsiteX51110" fmla="*/ 5611019 w 6884782"/>
              <a:gd name="connsiteY51110" fmla="*/ 1577335 h 5973007"/>
              <a:gd name="connsiteX51111" fmla="*/ 5611019 w 6884782"/>
              <a:gd name="connsiteY51111" fmla="*/ 1579754 h 5973007"/>
              <a:gd name="connsiteX51112" fmla="*/ 5609952 w 6884782"/>
              <a:gd name="connsiteY51112" fmla="*/ 1581888 h 5973007"/>
              <a:gd name="connsiteX51113" fmla="*/ 5606323 w 6884782"/>
              <a:gd name="connsiteY51113" fmla="*/ 1578616 h 5973007"/>
              <a:gd name="connsiteX51114" fmla="*/ 5608244 w 6884782"/>
              <a:gd name="connsiteY51114" fmla="*/ 1577335 h 5973007"/>
              <a:gd name="connsiteX51115" fmla="*/ 5607391 w 6884782"/>
              <a:gd name="connsiteY51115" fmla="*/ 1576481 h 5973007"/>
              <a:gd name="connsiteX51116" fmla="*/ 5609952 w 6884782"/>
              <a:gd name="connsiteY51116" fmla="*/ 1576197 h 5973007"/>
              <a:gd name="connsiteX51117" fmla="*/ 1464999 w 6884782"/>
              <a:gd name="connsiteY51117" fmla="*/ 1575937 h 5973007"/>
              <a:gd name="connsiteX51118" fmla="*/ 1465309 w 6884782"/>
              <a:gd name="connsiteY51118" fmla="*/ 1576712 h 5973007"/>
              <a:gd name="connsiteX51119" fmla="*/ 1457668 w 6884782"/>
              <a:gd name="connsiteY51119" fmla="*/ 1581049 h 5973007"/>
              <a:gd name="connsiteX51120" fmla="*/ 1454570 w 6884782"/>
              <a:gd name="connsiteY51120" fmla="*/ 1581823 h 5973007"/>
              <a:gd name="connsiteX51121" fmla="*/ 1455397 w 6884782"/>
              <a:gd name="connsiteY51121" fmla="*/ 1581514 h 5973007"/>
              <a:gd name="connsiteX51122" fmla="*/ 1454261 w 6884782"/>
              <a:gd name="connsiteY51122" fmla="*/ 1581049 h 5973007"/>
              <a:gd name="connsiteX51123" fmla="*/ 1460456 w 6884782"/>
              <a:gd name="connsiteY51123" fmla="*/ 1577176 h 5973007"/>
              <a:gd name="connsiteX51124" fmla="*/ 1464999 w 6884782"/>
              <a:gd name="connsiteY51124" fmla="*/ 1575937 h 5973007"/>
              <a:gd name="connsiteX51125" fmla="*/ 1245064 w 6884782"/>
              <a:gd name="connsiteY51125" fmla="*/ 1575627 h 5973007"/>
              <a:gd name="connsiteX51126" fmla="*/ 1263030 w 6884782"/>
              <a:gd name="connsiteY51126" fmla="*/ 1576402 h 5973007"/>
              <a:gd name="connsiteX51127" fmla="*/ 1245064 w 6884782"/>
              <a:gd name="connsiteY51127" fmla="*/ 1575627 h 5973007"/>
              <a:gd name="connsiteX51128" fmla="*/ 4742187 w 6884782"/>
              <a:gd name="connsiteY51128" fmla="*/ 1575486 h 5973007"/>
              <a:gd name="connsiteX51129" fmla="*/ 4731302 w 6884782"/>
              <a:gd name="connsiteY51129" fmla="*/ 1583879 h 5973007"/>
              <a:gd name="connsiteX51130" fmla="*/ 4742187 w 6884782"/>
              <a:gd name="connsiteY51130" fmla="*/ 1575486 h 5973007"/>
              <a:gd name="connsiteX51131" fmla="*/ 4591299 w 6884782"/>
              <a:gd name="connsiteY51131" fmla="*/ 1575486 h 5973007"/>
              <a:gd name="connsiteX51132" fmla="*/ 4607519 w 6884782"/>
              <a:gd name="connsiteY51132" fmla="*/ 1589428 h 5973007"/>
              <a:gd name="connsiteX51133" fmla="*/ 4602610 w 6884782"/>
              <a:gd name="connsiteY51133" fmla="*/ 1595688 h 5973007"/>
              <a:gd name="connsiteX51134" fmla="*/ 4603464 w 6884782"/>
              <a:gd name="connsiteY51134" fmla="*/ 1596114 h 5973007"/>
              <a:gd name="connsiteX51135" fmla="*/ 4598555 w 6884782"/>
              <a:gd name="connsiteY51135" fmla="*/ 1601521 h 5973007"/>
              <a:gd name="connsiteX51136" fmla="*/ 4592793 w 6884782"/>
              <a:gd name="connsiteY51136" fmla="*/ 1601805 h 5973007"/>
              <a:gd name="connsiteX51137" fmla="*/ 4593006 w 6884782"/>
              <a:gd name="connsiteY51137" fmla="*/ 1597964 h 5973007"/>
              <a:gd name="connsiteX51138" fmla="*/ 4592366 w 6884782"/>
              <a:gd name="connsiteY51138" fmla="*/ 1597822 h 5973007"/>
              <a:gd name="connsiteX51139" fmla="*/ 4591299 w 6884782"/>
              <a:gd name="connsiteY51139" fmla="*/ 1575486 h 5973007"/>
              <a:gd name="connsiteX51140" fmla="*/ 1140156 w 6884782"/>
              <a:gd name="connsiteY51140" fmla="*/ 1574853 h 5973007"/>
              <a:gd name="connsiteX51141" fmla="*/ 1140981 w 6884782"/>
              <a:gd name="connsiteY51141" fmla="*/ 1575318 h 5973007"/>
              <a:gd name="connsiteX51142" fmla="*/ 1141188 w 6884782"/>
              <a:gd name="connsiteY51142" fmla="*/ 1575318 h 5973007"/>
              <a:gd name="connsiteX51143" fmla="*/ 1142014 w 6884782"/>
              <a:gd name="connsiteY51143" fmla="*/ 1576867 h 5973007"/>
              <a:gd name="connsiteX51144" fmla="*/ 1141911 w 6884782"/>
              <a:gd name="connsiteY51144" fmla="*/ 1578725 h 5973007"/>
              <a:gd name="connsiteX51145" fmla="*/ 1138606 w 6884782"/>
              <a:gd name="connsiteY51145" fmla="*/ 1577486 h 5973007"/>
              <a:gd name="connsiteX51146" fmla="*/ 1139433 w 6884782"/>
              <a:gd name="connsiteY51146" fmla="*/ 1576092 h 5973007"/>
              <a:gd name="connsiteX51147" fmla="*/ 1138606 w 6884782"/>
              <a:gd name="connsiteY51147" fmla="*/ 1575627 h 5973007"/>
              <a:gd name="connsiteX51148" fmla="*/ 1140156 w 6884782"/>
              <a:gd name="connsiteY51148" fmla="*/ 1574853 h 5973007"/>
              <a:gd name="connsiteX51149" fmla="*/ 4579134 w 6884782"/>
              <a:gd name="connsiteY51149" fmla="*/ 1574489 h 5973007"/>
              <a:gd name="connsiteX51150" fmla="*/ 4582548 w 6884782"/>
              <a:gd name="connsiteY51150" fmla="*/ 1577335 h 5973007"/>
              <a:gd name="connsiteX51151" fmla="*/ 4581268 w 6884782"/>
              <a:gd name="connsiteY51151" fmla="*/ 1578331 h 5973007"/>
              <a:gd name="connsiteX51152" fmla="*/ 4582548 w 6884782"/>
              <a:gd name="connsiteY51152" fmla="*/ 1578473 h 5973007"/>
              <a:gd name="connsiteX51153" fmla="*/ 4580841 w 6884782"/>
              <a:gd name="connsiteY51153" fmla="*/ 1578758 h 5973007"/>
              <a:gd name="connsiteX51154" fmla="*/ 4580201 w 6884782"/>
              <a:gd name="connsiteY51154" fmla="*/ 1578189 h 5973007"/>
              <a:gd name="connsiteX51155" fmla="*/ 4579134 w 6884782"/>
              <a:gd name="connsiteY51155" fmla="*/ 1574489 h 5973007"/>
              <a:gd name="connsiteX51156" fmla="*/ 6020358 w 6884782"/>
              <a:gd name="connsiteY51156" fmla="*/ 1573779 h 5973007"/>
              <a:gd name="connsiteX51157" fmla="*/ 6024413 w 6884782"/>
              <a:gd name="connsiteY51157" fmla="*/ 1577904 h 5973007"/>
              <a:gd name="connsiteX51158" fmla="*/ 6019931 w 6884782"/>
              <a:gd name="connsiteY51158" fmla="*/ 1595546 h 5973007"/>
              <a:gd name="connsiteX51159" fmla="*/ 6011821 w 6884782"/>
              <a:gd name="connsiteY51159" fmla="*/ 1589001 h 5973007"/>
              <a:gd name="connsiteX51160" fmla="*/ 6012461 w 6884782"/>
              <a:gd name="connsiteY51160" fmla="*/ 1582030 h 5973007"/>
              <a:gd name="connsiteX51161" fmla="*/ 6020358 w 6884782"/>
              <a:gd name="connsiteY51161" fmla="*/ 1573779 h 5973007"/>
              <a:gd name="connsiteX51162" fmla="*/ 4909721 w 6884782"/>
              <a:gd name="connsiteY51162" fmla="*/ 1573779 h 5973007"/>
              <a:gd name="connsiteX51163" fmla="*/ 4904386 w 6884782"/>
              <a:gd name="connsiteY51163" fmla="*/ 1585160 h 5973007"/>
              <a:gd name="connsiteX51164" fmla="*/ 4906520 w 6884782"/>
              <a:gd name="connsiteY51164" fmla="*/ 1586867 h 5973007"/>
              <a:gd name="connsiteX51165" fmla="*/ 4908868 w 6884782"/>
              <a:gd name="connsiteY51165" fmla="*/ 1593981 h 5973007"/>
              <a:gd name="connsiteX51166" fmla="*/ 4907800 w 6884782"/>
              <a:gd name="connsiteY51166" fmla="*/ 1601521 h 5973007"/>
              <a:gd name="connsiteX51167" fmla="*/ 4901398 w 6884782"/>
              <a:gd name="connsiteY51167" fmla="*/ 1596826 h 5973007"/>
              <a:gd name="connsiteX51168" fmla="*/ 4901612 w 6884782"/>
              <a:gd name="connsiteY51168" fmla="*/ 1591420 h 5973007"/>
              <a:gd name="connsiteX51169" fmla="*/ 4899050 w 6884782"/>
              <a:gd name="connsiteY51169" fmla="*/ 1596968 h 5973007"/>
              <a:gd name="connsiteX51170" fmla="*/ 4880696 w 6884782"/>
              <a:gd name="connsiteY51170" fmla="*/ 1597822 h 5973007"/>
              <a:gd name="connsiteX51171" fmla="*/ 4909721 w 6884782"/>
              <a:gd name="connsiteY51171" fmla="*/ 1573779 h 5973007"/>
              <a:gd name="connsiteX51172" fmla="*/ 5384580 w 6884782"/>
              <a:gd name="connsiteY51172" fmla="*/ 1573494 h 5973007"/>
              <a:gd name="connsiteX51173" fmla="*/ 5386501 w 6884782"/>
              <a:gd name="connsiteY51173" fmla="*/ 1576055 h 5973007"/>
              <a:gd name="connsiteX51174" fmla="*/ 5382233 w 6884782"/>
              <a:gd name="connsiteY51174" fmla="*/ 1586156 h 5973007"/>
              <a:gd name="connsiteX51175" fmla="*/ 5384580 w 6884782"/>
              <a:gd name="connsiteY51175" fmla="*/ 1573494 h 5973007"/>
              <a:gd name="connsiteX51176" fmla="*/ 5179270 w 6884782"/>
              <a:gd name="connsiteY51176" fmla="*/ 1573352 h 5973007"/>
              <a:gd name="connsiteX51177" fmla="*/ 5166465 w 6884782"/>
              <a:gd name="connsiteY51177" fmla="*/ 1584306 h 5973007"/>
              <a:gd name="connsiteX51178" fmla="*/ 5167532 w 6884782"/>
              <a:gd name="connsiteY51178" fmla="*/ 1580892 h 5973007"/>
              <a:gd name="connsiteX51179" fmla="*/ 5179270 w 6884782"/>
              <a:gd name="connsiteY51179" fmla="*/ 1573352 h 5973007"/>
              <a:gd name="connsiteX51180" fmla="*/ 1471918 w 6884782"/>
              <a:gd name="connsiteY51180" fmla="*/ 1573304 h 5973007"/>
              <a:gd name="connsiteX51181" fmla="*/ 1473157 w 6884782"/>
              <a:gd name="connsiteY51181" fmla="*/ 1573459 h 5973007"/>
              <a:gd name="connsiteX51182" fmla="*/ 1470885 w 6884782"/>
              <a:gd name="connsiteY51182" fmla="*/ 1576867 h 5973007"/>
              <a:gd name="connsiteX51183" fmla="*/ 1469749 w 6884782"/>
              <a:gd name="connsiteY51183" fmla="*/ 1576247 h 5973007"/>
              <a:gd name="connsiteX51184" fmla="*/ 1471918 w 6884782"/>
              <a:gd name="connsiteY51184" fmla="*/ 1573304 h 5973007"/>
              <a:gd name="connsiteX51185" fmla="*/ 4997437 w 6884782"/>
              <a:gd name="connsiteY51185" fmla="*/ 1572640 h 5973007"/>
              <a:gd name="connsiteX51186" fmla="*/ 4992741 w 6884782"/>
              <a:gd name="connsiteY51186" fmla="*/ 1588432 h 5973007"/>
              <a:gd name="connsiteX51187" fmla="*/ 4991675 w 6884782"/>
              <a:gd name="connsiteY51187" fmla="*/ 1588005 h 5973007"/>
              <a:gd name="connsiteX51188" fmla="*/ 4994235 w 6884782"/>
              <a:gd name="connsiteY51188" fmla="*/ 1575770 h 5973007"/>
              <a:gd name="connsiteX51189" fmla="*/ 4995953 w 6884782"/>
              <a:gd name="connsiteY51189" fmla="*/ 1573064 h 5973007"/>
              <a:gd name="connsiteX51190" fmla="*/ 4996583 w 6884782"/>
              <a:gd name="connsiteY51190" fmla="*/ 1572071 h 5973007"/>
              <a:gd name="connsiteX51191" fmla="*/ 4995953 w 6884782"/>
              <a:gd name="connsiteY51191" fmla="*/ 1573064 h 5973007"/>
              <a:gd name="connsiteX51192" fmla="*/ 4995943 w 6884782"/>
              <a:gd name="connsiteY51192" fmla="*/ 1573067 h 5973007"/>
              <a:gd name="connsiteX51193" fmla="*/ 4996583 w 6884782"/>
              <a:gd name="connsiteY51193" fmla="*/ 1572071 h 5973007"/>
              <a:gd name="connsiteX51194" fmla="*/ 4754992 w 6884782"/>
              <a:gd name="connsiteY51194" fmla="*/ 1571929 h 5973007"/>
              <a:gd name="connsiteX51195" fmla="*/ 4760754 w 6884782"/>
              <a:gd name="connsiteY51195" fmla="*/ 1572356 h 5973007"/>
              <a:gd name="connsiteX51196" fmla="*/ 4766730 w 6884782"/>
              <a:gd name="connsiteY51196" fmla="*/ 1581176 h 5973007"/>
              <a:gd name="connsiteX51197" fmla="*/ 4756699 w 6884782"/>
              <a:gd name="connsiteY51197" fmla="*/ 1587863 h 5973007"/>
              <a:gd name="connsiteX51198" fmla="*/ 4754992 w 6884782"/>
              <a:gd name="connsiteY51198" fmla="*/ 1571929 h 5973007"/>
              <a:gd name="connsiteX51199" fmla="*/ 1232157 w 6884782"/>
              <a:gd name="connsiteY51199" fmla="*/ 1571910 h 5973007"/>
              <a:gd name="connsiteX51200" fmla="*/ 1233912 w 6884782"/>
              <a:gd name="connsiteY51200" fmla="*/ 1572220 h 5973007"/>
              <a:gd name="connsiteX51201" fmla="*/ 1235461 w 6884782"/>
              <a:gd name="connsiteY51201" fmla="*/ 1573459 h 5973007"/>
              <a:gd name="connsiteX51202" fmla="*/ 1232673 w 6884782"/>
              <a:gd name="connsiteY51202" fmla="*/ 1575318 h 5973007"/>
              <a:gd name="connsiteX51203" fmla="*/ 1232054 w 6884782"/>
              <a:gd name="connsiteY51203" fmla="*/ 1573924 h 5973007"/>
              <a:gd name="connsiteX51204" fmla="*/ 1231227 w 6884782"/>
              <a:gd name="connsiteY51204" fmla="*/ 1574233 h 5973007"/>
              <a:gd name="connsiteX51205" fmla="*/ 1231331 w 6884782"/>
              <a:gd name="connsiteY51205" fmla="*/ 1572375 h 5973007"/>
              <a:gd name="connsiteX51206" fmla="*/ 1232054 w 6884782"/>
              <a:gd name="connsiteY51206" fmla="*/ 1572220 h 5973007"/>
              <a:gd name="connsiteX51207" fmla="*/ 1232157 w 6884782"/>
              <a:gd name="connsiteY51207" fmla="*/ 1571910 h 5973007"/>
              <a:gd name="connsiteX51208" fmla="*/ 5724558 w 6884782"/>
              <a:gd name="connsiteY51208" fmla="*/ 1571644 h 5973007"/>
              <a:gd name="connsiteX51209" fmla="*/ 5730534 w 6884782"/>
              <a:gd name="connsiteY51209" fmla="*/ 1572925 h 5973007"/>
              <a:gd name="connsiteX51210" fmla="*/ 5717088 w 6884782"/>
              <a:gd name="connsiteY51210" fmla="*/ 1586440 h 5973007"/>
              <a:gd name="connsiteX51211" fmla="*/ 5724558 w 6884782"/>
              <a:gd name="connsiteY51211" fmla="*/ 1571644 h 5973007"/>
              <a:gd name="connsiteX51212" fmla="*/ 1089754 w 6884782"/>
              <a:gd name="connsiteY51212" fmla="*/ 1571619 h 5973007"/>
              <a:gd name="connsiteX51213" fmla="*/ 1099369 w 6884782"/>
              <a:gd name="connsiteY51213" fmla="*/ 1571755 h 5973007"/>
              <a:gd name="connsiteX51214" fmla="*/ 1090179 w 6884782"/>
              <a:gd name="connsiteY51214" fmla="*/ 1577331 h 5973007"/>
              <a:gd name="connsiteX51215" fmla="*/ 1079751 w 6884782"/>
              <a:gd name="connsiteY51215" fmla="*/ 1577176 h 5973007"/>
              <a:gd name="connsiteX51216" fmla="*/ 1089754 w 6884782"/>
              <a:gd name="connsiteY51216" fmla="*/ 1571619 h 5973007"/>
              <a:gd name="connsiteX51217" fmla="*/ 857233 w 6884782"/>
              <a:gd name="connsiteY51217" fmla="*/ 1571445 h 5973007"/>
              <a:gd name="connsiteX51218" fmla="*/ 859298 w 6884782"/>
              <a:gd name="connsiteY51218" fmla="*/ 1571755 h 5973007"/>
              <a:gd name="connsiteX51219" fmla="*/ 853826 w 6884782"/>
              <a:gd name="connsiteY51219" fmla="*/ 1586470 h 5973007"/>
              <a:gd name="connsiteX51220" fmla="*/ 852071 w 6884782"/>
              <a:gd name="connsiteY51220" fmla="*/ 1585386 h 5973007"/>
              <a:gd name="connsiteX51221" fmla="*/ 851451 w 6884782"/>
              <a:gd name="connsiteY51221" fmla="*/ 1583063 h 5973007"/>
              <a:gd name="connsiteX51222" fmla="*/ 854032 w 6884782"/>
              <a:gd name="connsiteY51222" fmla="*/ 1575473 h 5973007"/>
              <a:gd name="connsiteX51223" fmla="*/ 854858 w 6884782"/>
              <a:gd name="connsiteY51223" fmla="*/ 1573924 h 5973007"/>
              <a:gd name="connsiteX51224" fmla="*/ 855788 w 6884782"/>
              <a:gd name="connsiteY51224" fmla="*/ 1572220 h 5973007"/>
              <a:gd name="connsiteX51225" fmla="*/ 857233 w 6884782"/>
              <a:gd name="connsiteY51225" fmla="*/ 1571445 h 5973007"/>
              <a:gd name="connsiteX51226" fmla="*/ 3569232 w 6884782"/>
              <a:gd name="connsiteY51226" fmla="*/ 1571217 h 5973007"/>
              <a:gd name="connsiteX51227" fmla="*/ 3587373 w 6884782"/>
              <a:gd name="connsiteY51227" fmla="*/ 1577619 h 5973007"/>
              <a:gd name="connsiteX51228" fmla="*/ 3569232 w 6884782"/>
              <a:gd name="connsiteY51228" fmla="*/ 1571217 h 5973007"/>
              <a:gd name="connsiteX51229" fmla="*/ 5319700 w 6884782"/>
              <a:gd name="connsiteY51229" fmla="*/ 1570791 h 5973007"/>
              <a:gd name="connsiteX51230" fmla="*/ 5324183 w 6884782"/>
              <a:gd name="connsiteY51230" fmla="*/ 1572498 h 5973007"/>
              <a:gd name="connsiteX51231" fmla="*/ 5324183 w 6884782"/>
              <a:gd name="connsiteY51231" fmla="*/ 1576197 h 5973007"/>
              <a:gd name="connsiteX51232" fmla="*/ 5317780 w 6884782"/>
              <a:gd name="connsiteY51232" fmla="*/ 1576055 h 5973007"/>
              <a:gd name="connsiteX51233" fmla="*/ 5319700 w 6884782"/>
              <a:gd name="connsiteY51233" fmla="*/ 1570791 h 5973007"/>
              <a:gd name="connsiteX51234" fmla="*/ 1441457 w 6884782"/>
              <a:gd name="connsiteY51234" fmla="*/ 1570361 h 5973007"/>
              <a:gd name="connsiteX51235" fmla="*/ 1442283 w 6884782"/>
              <a:gd name="connsiteY51235" fmla="*/ 1573769 h 5973007"/>
              <a:gd name="connsiteX51236" fmla="*/ 1435881 w 6884782"/>
              <a:gd name="connsiteY51236" fmla="*/ 1577641 h 5973007"/>
              <a:gd name="connsiteX51237" fmla="*/ 1431544 w 6884782"/>
              <a:gd name="connsiteY51237" fmla="*/ 1580429 h 5973007"/>
              <a:gd name="connsiteX51238" fmla="*/ 1432061 w 6884782"/>
              <a:gd name="connsiteY51238" fmla="*/ 1580274 h 5973007"/>
              <a:gd name="connsiteX51239" fmla="*/ 1435985 w 6884782"/>
              <a:gd name="connsiteY51239" fmla="*/ 1589568 h 5973007"/>
              <a:gd name="connsiteX51240" fmla="*/ 1425142 w 6884782"/>
              <a:gd name="connsiteY51240" fmla="*/ 1584921 h 5973007"/>
              <a:gd name="connsiteX51241" fmla="*/ 1427414 w 6884782"/>
              <a:gd name="connsiteY51241" fmla="*/ 1581823 h 5973007"/>
              <a:gd name="connsiteX51242" fmla="*/ 1430615 w 6884782"/>
              <a:gd name="connsiteY51242" fmla="*/ 1580739 h 5973007"/>
              <a:gd name="connsiteX51243" fmla="*/ 1433403 w 6884782"/>
              <a:gd name="connsiteY51243" fmla="*/ 1573614 h 5973007"/>
              <a:gd name="connsiteX51244" fmla="*/ 1441457 w 6884782"/>
              <a:gd name="connsiteY51244" fmla="*/ 1570361 h 5973007"/>
              <a:gd name="connsiteX51245" fmla="*/ 4971186 w 6884782"/>
              <a:gd name="connsiteY51245" fmla="*/ 1569795 h 5973007"/>
              <a:gd name="connsiteX51246" fmla="*/ 4975454 w 6884782"/>
              <a:gd name="connsiteY51246" fmla="*/ 1572640 h 5973007"/>
              <a:gd name="connsiteX51247" fmla="*/ 4972894 w 6884782"/>
              <a:gd name="connsiteY51247" fmla="*/ 1575628 h 5973007"/>
              <a:gd name="connsiteX51248" fmla="*/ 4971186 w 6884782"/>
              <a:gd name="connsiteY51248" fmla="*/ 1569795 h 5973007"/>
              <a:gd name="connsiteX51249" fmla="*/ 1662322 w 6884782"/>
              <a:gd name="connsiteY51249" fmla="*/ 1569586 h 5973007"/>
              <a:gd name="connsiteX51250" fmla="*/ 1673680 w 6884782"/>
              <a:gd name="connsiteY51250" fmla="*/ 1570516 h 5973007"/>
              <a:gd name="connsiteX51251" fmla="*/ 1681734 w 6884782"/>
              <a:gd name="connsiteY51251" fmla="*/ 1583373 h 5973007"/>
              <a:gd name="connsiteX51252" fmla="*/ 1674506 w 6884782"/>
              <a:gd name="connsiteY51252" fmla="*/ 1589568 h 5973007"/>
              <a:gd name="connsiteX51253" fmla="*/ 1668517 w 6884782"/>
              <a:gd name="connsiteY51253" fmla="*/ 1589258 h 5973007"/>
              <a:gd name="connsiteX51254" fmla="*/ 1666039 w 6884782"/>
              <a:gd name="connsiteY51254" fmla="*/ 1587554 h 5973007"/>
              <a:gd name="connsiteX51255" fmla="*/ 1668827 w 6884782"/>
              <a:gd name="connsiteY51255" fmla="*/ 1593751 h 5973007"/>
              <a:gd name="connsiteX51256" fmla="*/ 1668827 w 6884782"/>
              <a:gd name="connsiteY51256" fmla="*/ 1608465 h 5973007"/>
              <a:gd name="connsiteX51257" fmla="*/ 1663251 w 6884782"/>
              <a:gd name="connsiteY51257" fmla="*/ 1598397 h 5973007"/>
              <a:gd name="connsiteX51258" fmla="*/ 1661806 w 6884782"/>
              <a:gd name="connsiteY51258" fmla="*/ 1599172 h 5973007"/>
              <a:gd name="connsiteX51259" fmla="*/ 1655404 w 6884782"/>
              <a:gd name="connsiteY51259" fmla="*/ 1594990 h 5973007"/>
              <a:gd name="connsiteX51260" fmla="*/ 1656230 w 6884782"/>
              <a:gd name="connsiteY51260" fmla="*/ 1590033 h 5973007"/>
              <a:gd name="connsiteX51261" fmla="*/ 1659225 w 6884782"/>
              <a:gd name="connsiteY51261" fmla="*/ 1589723 h 5973007"/>
              <a:gd name="connsiteX51262" fmla="*/ 1660257 w 6884782"/>
              <a:gd name="connsiteY51262" fmla="*/ 1589723 h 5973007"/>
              <a:gd name="connsiteX51263" fmla="*/ 1659844 w 6884782"/>
              <a:gd name="connsiteY51263" fmla="*/ 1584457 h 5973007"/>
              <a:gd name="connsiteX51264" fmla="*/ 1661598 w 6884782"/>
              <a:gd name="connsiteY51264" fmla="*/ 1584595 h 5973007"/>
              <a:gd name="connsiteX51265" fmla="*/ 1661599 w 6884782"/>
              <a:gd name="connsiteY51265" fmla="*/ 1584612 h 5973007"/>
              <a:gd name="connsiteX51266" fmla="*/ 1661806 w 6884782"/>
              <a:gd name="connsiteY51266" fmla="*/ 1584612 h 5973007"/>
              <a:gd name="connsiteX51267" fmla="*/ 1661598 w 6884782"/>
              <a:gd name="connsiteY51267" fmla="*/ 1584595 h 5973007"/>
              <a:gd name="connsiteX51268" fmla="*/ 1661083 w 6884782"/>
              <a:gd name="connsiteY51268" fmla="*/ 1575318 h 5973007"/>
              <a:gd name="connsiteX51269" fmla="*/ 1662012 w 6884782"/>
              <a:gd name="connsiteY51269" fmla="*/ 1573304 h 5973007"/>
              <a:gd name="connsiteX51270" fmla="*/ 1662322 w 6884782"/>
              <a:gd name="connsiteY51270" fmla="*/ 1569586 h 5973007"/>
              <a:gd name="connsiteX51271" fmla="*/ 1027193 w 6884782"/>
              <a:gd name="connsiteY51271" fmla="*/ 1569432 h 5973007"/>
              <a:gd name="connsiteX51272" fmla="*/ 1026987 w 6884782"/>
              <a:gd name="connsiteY51272" fmla="*/ 1576092 h 5973007"/>
              <a:gd name="connsiteX51273" fmla="*/ 1021927 w 6884782"/>
              <a:gd name="connsiteY51273" fmla="*/ 1573769 h 5973007"/>
              <a:gd name="connsiteX51274" fmla="*/ 1027193 w 6884782"/>
              <a:gd name="connsiteY51274" fmla="*/ 1569432 h 5973007"/>
              <a:gd name="connsiteX51275" fmla="*/ 3566670 w 6884782"/>
              <a:gd name="connsiteY51275" fmla="*/ 1569368 h 5973007"/>
              <a:gd name="connsiteX51276" fmla="*/ 3569232 w 6884782"/>
              <a:gd name="connsiteY51276" fmla="*/ 1570933 h 5973007"/>
              <a:gd name="connsiteX51277" fmla="*/ 3567951 w 6884782"/>
              <a:gd name="connsiteY51277" fmla="*/ 1571787 h 5973007"/>
              <a:gd name="connsiteX51278" fmla="*/ 3566670 w 6884782"/>
              <a:gd name="connsiteY51278" fmla="*/ 1569368 h 5973007"/>
              <a:gd name="connsiteX51279" fmla="*/ 4062658 w 6884782"/>
              <a:gd name="connsiteY51279" fmla="*/ 1569083 h 5973007"/>
              <a:gd name="connsiteX51280" fmla="*/ 4068207 w 6884782"/>
              <a:gd name="connsiteY51280" fmla="*/ 1569368 h 5973007"/>
              <a:gd name="connsiteX51281" fmla="*/ 4059457 w 6884782"/>
              <a:gd name="connsiteY51281" fmla="*/ 1573779 h 5973007"/>
              <a:gd name="connsiteX51282" fmla="*/ 4062658 w 6884782"/>
              <a:gd name="connsiteY51282" fmla="*/ 1569083 h 5973007"/>
              <a:gd name="connsiteX51283" fmla="*/ 5159209 w 6884782"/>
              <a:gd name="connsiteY51283" fmla="*/ 1568799 h 5973007"/>
              <a:gd name="connsiteX51284" fmla="*/ 5161130 w 6884782"/>
              <a:gd name="connsiteY51284" fmla="*/ 1569937 h 5973007"/>
              <a:gd name="connsiteX51285" fmla="*/ 5161770 w 6884782"/>
              <a:gd name="connsiteY51285" fmla="*/ 1568799 h 5973007"/>
              <a:gd name="connsiteX51286" fmla="*/ 5162837 w 6884782"/>
              <a:gd name="connsiteY51286" fmla="*/ 1570933 h 5973007"/>
              <a:gd name="connsiteX51287" fmla="*/ 5162197 w 6884782"/>
              <a:gd name="connsiteY51287" fmla="*/ 1572071 h 5973007"/>
              <a:gd name="connsiteX51288" fmla="*/ 5162197 w 6884782"/>
              <a:gd name="connsiteY51288" fmla="*/ 1572356 h 5973007"/>
              <a:gd name="connsiteX51289" fmla="*/ 5160063 w 6884782"/>
              <a:gd name="connsiteY51289" fmla="*/ 1573494 h 5973007"/>
              <a:gd name="connsiteX51290" fmla="*/ 5157502 w 6884782"/>
              <a:gd name="connsiteY51290" fmla="*/ 1573352 h 5973007"/>
              <a:gd name="connsiteX51291" fmla="*/ 5159209 w 6884782"/>
              <a:gd name="connsiteY51291" fmla="*/ 1568799 h 5973007"/>
              <a:gd name="connsiteX51292" fmla="*/ 3560908 w 6884782"/>
              <a:gd name="connsiteY51292" fmla="*/ 1568515 h 5973007"/>
              <a:gd name="connsiteX51293" fmla="*/ 3563470 w 6884782"/>
              <a:gd name="connsiteY51293" fmla="*/ 1569937 h 5973007"/>
              <a:gd name="connsiteX51294" fmla="*/ 3560908 w 6884782"/>
              <a:gd name="connsiteY51294" fmla="*/ 1569510 h 5973007"/>
              <a:gd name="connsiteX51295" fmla="*/ 3560908 w 6884782"/>
              <a:gd name="connsiteY51295" fmla="*/ 1568515 h 5973007"/>
              <a:gd name="connsiteX51296" fmla="*/ 1521791 w 6884782"/>
              <a:gd name="connsiteY51296" fmla="*/ 1568502 h 5973007"/>
              <a:gd name="connsiteX51297" fmla="*/ 1520241 w 6884782"/>
              <a:gd name="connsiteY51297" fmla="*/ 1568657 h 5973007"/>
              <a:gd name="connsiteX51298" fmla="*/ 1521171 w 6884782"/>
              <a:gd name="connsiteY51298" fmla="*/ 1570826 h 5973007"/>
              <a:gd name="connsiteX51299" fmla="*/ 1520965 w 6884782"/>
              <a:gd name="connsiteY51299" fmla="*/ 1571291 h 5973007"/>
              <a:gd name="connsiteX51300" fmla="*/ 1521068 w 6884782"/>
              <a:gd name="connsiteY51300" fmla="*/ 1571600 h 5973007"/>
              <a:gd name="connsiteX51301" fmla="*/ 1520965 w 6884782"/>
              <a:gd name="connsiteY51301" fmla="*/ 1571755 h 5973007"/>
              <a:gd name="connsiteX51302" fmla="*/ 1521068 w 6884782"/>
              <a:gd name="connsiteY51302" fmla="*/ 1571755 h 5973007"/>
              <a:gd name="connsiteX51303" fmla="*/ 1521068 w 6884782"/>
              <a:gd name="connsiteY51303" fmla="*/ 1571600 h 5973007"/>
              <a:gd name="connsiteX51304" fmla="*/ 1521274 w 6884782"/>
              <a:gd name="connsiteY51304" fmla="*/ 1571136 h 5973007"/>
              <a:gd name="connsiteX51305" fmla="*/ 1521171 w 6884782"/>
              <a:gd name="connsiteY51305" fmla="*/ 1570826 h 5973007"/>
              <a:gd name="connsiteX51306" fmla="*/ 5481686 w 6884782"/>
              <a:gd name="connsiteY51306" fmla="*/ 1567945 h 5973007"/>
              <a:gd name="connsiteX51307" fmla="*/ 5484888 w 6884782"/>
              <a:gd name="connsiteY51307" fmla="*/ 1574489 h 5973007"/>
              <a:gd name="connsiteX51308" fmla="*/ 5482540 w 6884782"/>
              <a:gd name="connsiteY51308" fmla="*/ 1586440 h 5973007"/>
              <a:gd name="connsiteX51309" fmla="*/ 5481260 w 6884782"/>
              <a:gd name="connsiteY51309" fmla="*/ 1588432 h 5973007"/>
              <a:gd name="connsiteX51310" fmla="*/ 5480832 w 6884782"/>
              <a:gd name="connsiteY51310" fmla="*/ 1589428 h 5973007"/>
              <a:gd name="connsiteX51311" fmla="*/ 5479552 w 6884782"/>
              <a:gd name="connsiteY51311" fmla="*/ 1590566 h 5973007"/>
              <a:gd name="connsiteX51312" fmla="*/ 5476137 w 6884782"/>
              <a:gd name="connsiteY51312" fmla="*/ 1595830 h 5973007"/>
              <a:gd name="connsiteX51313" fmla="*/ 5465253 w 6884782"/>
              <a:gd name="connsiteY51313" fmla="*/ 1591989 h 5973007"/>
              <a:gd name="connsiteX51314" fmla="*/ 5481686 w 6884782"/>
              <a:gd name="connsiteY51314" fmla="*/ 1567945 h 5973007"/>
              <a:gd name="connsiteX51315" fmla="*/ 1303713 w 6884782"/>
              <a:gd name="connsiteY51315" fmla="*/ 1567728 h 5973007"/>
              <a:gd name="connsiteX51316" fmla="*/ 1304230 w 6884782"/>
              <a:gd name="connsiteY51316" fmla="*/ 1575008 h 5973007"/>
              <a:gd name="connsiteX51317" fmla="*/ 1299996 w 6884782"/>
              <a:gd name="connsiteY51317" fmla="*/ 1579810 h 5973007"/>
              <a:gd name="connsiteX51318" fmla="*/ 1297725 w 6884782"/>
              <a:gd name="connsiteY51318" fmla="*/ 1576402 h 5973007"/>
              <a:gd name="connsiteX51319" fmla="*/ 1300099 w 6884782"/>
              <a:gd name="connsiteY51319" fmla="*/ 1572065 h 5973007"/>
              <a:gd name="connsiteX51320" fmla="*/ 1301235 w 6884782"/>
              <a:gd name="connsiteY51320" fmla="*/ 1568812 h 5973007"/>
              <a:gd name="connsiteX51321" fmla="*/ 1303713 w 6884782"/>
              <a:gd name="connsiteY51321" fmla="*/ 1567728 h 5973007"/>
              <a:gd name="connsiteX51322" fmla="*/ 5515406 w 6884782"/>
              <a:gd name="connsiteY51322" fmla="*/ 1567661 h 5973007"/>
              <a:gd name="connsiteX51323" fmla="*/ 5525011 w 6884782"/>
              <a:gd name="connsiteY51323" fmla="*/ 1578189 h 5973007"/>
              <a:gd name="connsiteX51324" fmla="*/ 5513913 w 6884782"/>
              <a:gd name="connsiteY51324" fmla="*/ 1584448 h 5973007"/>
              <a:gd name="connsiteX51325" fmla="*/ 5513059 w 6884782"/>
              <a:gd name="connsiteY51325" fmla="*/ 1581888 h 5973007"/>
              <a:gd name="connsiteX51326" fmla="*/ 5512419 w 6884782"/>
              <a:gd name="connsiteY51326" fmla="*/ 1582599 h 5973007"/>
              <a:gd name="connsiteX51327" fmla="*/ 5506870 w 6884782"/>
              <a:gd name="connsiteY51327" fmla="*/ 1584164 h 5973007"/>
              <a:gd name="connsiteX51328" fmla="*/ 5510498 w 6884782"/>
              <a:gd name="connsiteY51328" fmla="*/ 1580607 h 5973007"/>
              <a:gd name="connsiteX51329" fmla="*/ 5512205 w 6884782"/>
              <a:gd name="connsiteY51329" fmla="*/ 1579327 h 5973007"/>
              <a:gd name="connsiteX51330" fmla="*/ 5511138 w 6884782"/>
              <a:gd name="connsiteY51330" fmla="*/ 1576197 h 5973007"/>
              <a:gd name="connsiteX51331" fmla="*/ 5515406 w 6884782"/>
              <a:gd name="connsiteY51331" fmla="*/ 1567661 h 5973007"/>
              <a:gd name="connsiteX51332" fmla="*/ 3751065 w 6884782"/>
              <a:gd name="connsiteY51332" fmla="*/ 1567234 h 5973007"/>
              <a:gd name="connsiteX51333" fmla="*/ 3768139 w 6884782"/>
              <a:gd name="connsiteY51333" fmla="*/ 1572925 h 5973007"/>
              <a:gd name="connsiteX51334" fmla="*/ 3760456 w 6884782"/>
              <a:gd name="connsiteY51334" fmla="*/ 1577193 h 5973007"/>
              <a:gd name="connsiteX51335" fmla="*/ 3762803 w 6884782"/>
              <a:gd name="connsiteY51335" fmla="*/ 1582457 h 5973007"/>
              <a:gd name="connsiteX51336" fmla="*/ 3762376 w 6884782"/>
              <a:gd name="connsiteY51336" fmla="*/ 1590566 h 5973007"/>
              <a:gd name="connsiteX51337" fmla="*/ 3760029 w 6884782"/>
              <a:gd name="connsiteY51337" fmla="*/ 1593127 h 5973007"/>
              <a:gd name="connsiteX51338" fmla="*/ 3763657 w 6884782"/>
              <a:gd name="connsiteY51338" fmla="*/ 1596968 h 5973007"/>
              <a:gd name="connsiteX51339" fmla="*/ 3754480 w 6884782"/>
              <a:gd name="connsiteY51339" fmla="*/ 1600241 h 5973007"/>
              <a:gd name="connsiteX51340" fmla="*/ 3754480 w 6884782"/>
              <a:gd name="connsiteY51340" fmla="*/ 1599387 h 5973007"/>
              <a:gd name="connsiteX51341" fmla="*/ 3753840 w 6884782"/>
              <a:gd name="connsiteY51341" fmla="*/ 1600241 h 5973007"/>
              <a:gd name="connsiteX51342" fmla="*/ 3752986 w 6884782"/>
              <a:gd name="connsiteY51342" fmla="*/ 1599813 h 5973007"/>
              <a:gd name="connsiteX51343" fmla="*/ 3750425 w 6884782"/>
              <a:gd name="connsiteY51343" fmla="*/ 1605505 h 5973007"/>
              <a:gd name="connsiteX51344" fmla="*/ 3752346 w 6884782"/>
              <a:gd name="connsiteY51344" fmla="*/ 1607923 h 5973007"/>
              <a:gd name="connsiteX51345" fmla="*/ 3750425 w 6884782"/>
              <a:gd name="connsiteY51345" fmla="*/ 1613614 h 5973007"/>
              <a:gd name="connsiteX51346" fmla="*/ 3748291 w 6884782"/>
              <a:gd name="connsiteY51346" fmla="*/ 1609488 h 5973007"/>
              <a:gd name="connsiteX51347" fmla="*/ 3748291 w 6884782"/>
              <a:gd name="connsiteY51347" fmla="*/ 1608777 h 5973007"/>
              <a:gd name="connsiteX51348" fmla="*/ 3744022 w 6884782"/>
              <a:gd name="connsiteY51348" fmla="*/ 1614752 h 5973007"/>
              <a:gd name="connsiteX51349" fmla="*/ 3739541 w 6884782"/>
              <a:gd name="connsiteY51349" fmla="*/ 1622577 h 5973007"/>
              <a:gd name="connsiteX51350" fmla="*/ 3736339 w 6884782"/>
              <a:gd name="connsiteY51350" fmla="*/ 1623288 h 5973007"/>
              <a:gd name="connsiteX51351" fmla="*/ 3735699 w 6884782"/>
              <a:gd name="connsiteY51351" fmla="*/ 1624426 h 5973007"/>
              <a:gd name="connsiteX51352" fmla="*/ 3734205 w 6884782"/>
              <a:gd name="connsiteY51352" fmla="*/ 1624710 h 5973007"/>
              <a:gd name="connsiteX51353" fmla="*/ 3733992 w 6884782"/>
              <a:gd name="connsiteY51353" fmla="*/ 1624710 h 5973007"/>
              <a:gd name="connsiteX51354" fmla="*/ 3733778 w 6884782"/>
              <a:gd name="connsiteY51354" fmla="*/ 1624995 h 5973007"/>
              <a:gd name="connsiteX51355" fmla="*/ 3733351 w 6884782"/>
              <a:gd name="connsiteY51355" fmla="*/ 1625565 h 5973007"/>
              <a:gd name="connsiteX51356" fmla="*/ 3739114 w 6884782"/>
              <a:gd name="connsiteY51356" fmla="*/ 1628979 h 5973007"/>
              <a:gd name="connsiteX51357" fmla="*/ 3739327 w 6884782"/>
              <a:gd name="connsiteY51357" fmla="*/ 1636661 h 5973007"/>
              <a:gd name="connsiteX51358" fmla="*/ 3736126 w 6884782"/>
              <a:gd name="connsiteY51358" fmla="*/ 1636092 h 5973007"/>
              <a:gd name="connsiteX51359" fmla="*/ 3735486 w 6884782"/>
              <a:gd name="connsiteY51359" fmla="*/ 1641356 h 5973007"/>
              <a:gd name="connsiteX51360" fmla="*/ 3730791 w 6884782"/>
              <a:gd name="connsiteY51360" fmla="*/ 1652738 h 5973007"/>
              <a:gd name="connsiteX51361" fmla="*/ 3730791 w 6884782"/>
              <a:gd name="connsiteY51361" fmla="*/ 1655441 h 5973007"/>
              <a:gd name="connsiteX51362" fmla="*/ 3731858 w 6884782"/>
              <a:gd name="connsiteY51362" fmla="*/ 1639791 h 5973007"/>
              <a:gd name="connsiteX51363" fmla="*/ 3732711 w 6884782"/>
              <a:gd name="connsiteY51363" fmla="*/ 1635666 h 5973007"/>
              <a:gd name="connsiteX51364" fmla="*/ 3731218 w 6884782"/>
              <a:gd name="connsiteY51364" fmla="*/ 1635381 h 5973007"/>
              <a:gd name="connsiteX51365" fmla="*/ 3729083 w 6884782"/>
              <a:gd name="connsiteY51365" fmla="*/ 1634100 h 5973007"/>
              <a:gd name="connsiteX51366" fmla="*/ 3726735 w 6884782"/>
              <a:gd name="connsiteY51366" fmla="*/ 1634527 h 5973007"/>
              <a:gd name="connsiteX51367" fmla="*/ 3726309 w 6884782"/>
              <a:gd name="connsiteY51367" fmla="*/ 1635239 h 5973007"/>
              <a:gd name="connsiteX51368" fmla="*/ 3725882 w 6884782"/>
              <a:gd name="connsiteY51368" fmla="*/ 1639222 h 5973007"/>
              <a:gd name="connsiteX51369" fmla="*/ 3723535 w 6884782"/>
              <a:gd name="connsiteY51369" fmla="*/ 1640218 h 5973007"/>
              <a:gd name="connsiteX51370" fmla="*/ 3722467 w 6884782"/>
              <a:gd name="connsiteY51370" fmla="*/ 1636519 h 5973007"/>
              <a:gd name="connsiteX51371" fmla="*/ 3725668 w 6884782"/>
              <a:gd name="connsiteY51371" fmla="*/ 1634669 h 5973007"/>
              <a:gd name="connsiteX51372" fmla="*/ 3716491 w 6884782"/>
              <a:gd name="connsiteY51372" fmla="*/ 1636376 h 5973007"/>
              <a:gd name="connsiteX51373" fmla="*/ 3712864 w 6884782"/>
              <a:gd name="connsiteY51373" fmla="*/ 1635950 h 5973007"/>
              <a:gd name="connsiteX51374" fmla="*/ 3713076 w 6884782"/>
              <a:gd name="connsiteY51374" fmla="*/ 1637231 h 5973007"/>
              <a:gd name="connsiteX51375" fmla="*/ 3706674 w 6884782"/>
              <a:gd name="connsiteY51375" fmla="*/ 1635239 h 5973007"/>
              <a:gd name="connsiteX51376" fmla="*/ 3706888 w 6884782"/>
              <a:gd name="connsiteY51376" fmla="*/ 1634812 h 5973007"/>
              <a:gd name="connsiteX51377" fmla="*/ 3700912 w 6884782"/>
              <a:gd name="connsiteY51377" fmla="*/ 1633816 h 5973007"/>
              <a:gd name="connsiteX51378" fmla="*/ 3691948 w 6884782"/>
              <a:gd name="connsiteY51378" fmla="*/ 1628979 h 5973007"/>
              <a:gd name="connsiteX51379" fmla="*/ 3714357 w 6884782"/>
              <a:gd name="connsiteY51379" fmla="*/ 1622435 h 5973007"/>
              <a:gd name="connsiteX51380" fmla="*/ 3715211 w 6884782"/>
              <a:gd name="connsiteY51380" fmla="*/ 1599671 h 5973007"/>
              <a:gd name="connsiteX51381" fmla="*/ 3722894 w 6884782"/>
              <a:gd name="connsiteY51381" fmla="*/ 1616601 h 5973007"/>
              <a:gd name="connsiteX51382" fmla="*/ 3723747 w 6884782"/>
              <a:gd name="connsiteY51382" fmla="*/ 1619589 h 5973007"/>
              <a:gd name="connsiteX51383" fmla="*/ 3725882 w 6884782"/>
              <a:gd name="connsiteY51383" fmla="*/ 1621154 h 5973007"/>
              <a:gd name="connsiteX51384" fmla="*/ 3732498 w 6884782"/>
              <a:gd name="connsiteY51384" fmla="*/ 1625280 h 5973007"/>
              <a:gd name="connsiteX51385" fmla="*/ 3733138 w 6884782"/>
              <a:gd name="connsiteY51385" fmla="*/ 1624710 h 5973007"/>
              <a:gd name="connsiteX51386" fmla="*/ 3733138 w 6884782"/>
              <a:gd name="connsiteY51386" fmla="*/ 1624284 h 5973007"/>
              <a:gd name="connsiteX51387" fmla="*/ 3733351 w 6884782"/>
              <a:gd name="connsiteY51387" fmla="*/ 1623288 h 5973007"/>
              <a:gd name="connsiteX51388" fmla="*/ 3733351 w 6884782"/>
              <a:gd name="connsiteY51388" fmla="*/ 1622150 h 5973007"/>
              <a:gd name="connsiteX51389" fmla="*/ 3733565 w 6884782"/>
              <a:gd name="connsiteY51389" fmla="*/ 1620727 h 5973007"/>
              <a:gd name="connsiteX51390" fmla="*/ 3736126 w 6884782"/>
              <a:gd name="connsiteY51390" fmla="*/ 1617455 h 5973007"/>
              <a:gd name="connsiteX51391" fmla="*/ 3739541 w 6884782"/>
              <a:gd name="connsiteY51391" fmla="*/ 1612191 h 5973007"/>
              <a:gd name="connsiteX51392" fmla="*/ 3748505 w 6884782"/>
              <a:gd name="connsiteY51392" fmla="*/ 1601948 h 5973007"/>
              <a:gd name="connsiteX51393" fmla="*/ 3751919 w 6884782"/>
              <a:gd name="connsiteY51393" fmla="*/ 1599529 h 5973007"/>
              <a:gd name="connsiteX51394" fmla="*/ 3746797 w 6884782"/>
              <a:gd name="connsiteY51394" fmla="*/ 1597395 h 5973007"/>
              <a:gd name="connsiteX51395" fmla="*/ 3739754 w 6884782"/>
              <a:gd name="connsiteY51395" fmla="*/ 1591277 h 5973007"/>
              <a:gd name="connsiteX51396" fmla="*/ 3738047 w 6884782"/>
              <a:gd name="connsiteY51396" fmla="*/ 1588717 h 5973007"/>
              <a:gd name="connsiteX51397" fmla="*/ 3734205 w 6884782"/>
              <a:gd name="connsiteY51397" fmla="*/ 1596968 h 5973007"/>
              <a:gd name="connsiteX51398" fmla="*/ 3726309 w 6884782"/>
              <a:gd name="connsiteY51398" fmla="*/ 1598960 h 5973007"/>
              <a:gd name="connsiteX51399" fmla="*/ 3725882 w 6884782"/>
              <a:gd name="connsiteY51399" fmla="*/ 1593127 h 5973007"/>
              <a:gd name="connsiteX51400" fmla="*/ 3731644 w 6884782"/>
              <a:gd name="connsiteY51400" fmla="*/ 1589855 h 5973007"/>
              <a:gd name="connsiteX51401" fmla="*/ 3735059 w 6884782"/>
              <a:gd name="connsiteY51401" fmla="*/ 1587010 h 5973007"/>
              <a:gd name="connsiteX51402" fmla="*/ 3737193 w 6884782"/>
              <a:gd name="connsiteY51402" fmla="*/ 1587578 h 5973007"/>
              <a:gd name="connsiteX51403" fmla="*/ 3734418 w 6884782"/>
              <a:gd name="connsiteY51403" fmla="*/ 1584022 h 5973007"/>
              <a:gd name="connsiteX51404" fmla="*/ 3731644 w 6884782"/>
              <a:gd name="connsiteY51404" fmla="*/ 1577619 h 5973007"/>
              <a:gd name="connsiteX51405" fmla="*/ 3738474 w 6884782"/>
              <a:gd name="connsiteY51405" fmla="*/ 1570364 h 5973007"/>
              <a:gd name="connsiteX51406" fmla="*/ 3738687 w 6884782"/>
              <a:gd name="connsiteY51406" fmla="*/ 1570222 h 5973007"/>
              <a:gd name="connsiteX51407" fmla="*/ 3735272 w 6884782"/>
              <a:gd name="connsiteY51407" fmla="*/ 1567945 h 5973007"/>
              <a:gd name="connsiteX51408" fmla="*/ 3751065 w 6884782"/>
              <a:gd name="connsiteY51408" fmla="*/ 1567234 h 5973007"/>
              <a:gd name="connsiteX51409" fmla="*/ 1593657 w 6884782"/>
              <a:gd name="connsiteY51409" fmla="*/ 1567108 h 5973007"/>
              <a:gd name="connsiteX51410" fmla="*/ 1594793 w 6884782"/>
              <a:gd name="connsiteY51410" fmla="*/ 1570516 h 5973007"/>
              <a:gd name="connsiteX51411" fmla="*/ 1599026 w 6884782"/>
              <a:gd name="connsiteY51411" fmla="*/ 1570826 h 5973007"/>
              <a:gd name="connsiteX51412" fmla="*/ 1600162 w 6884782"/>
              <a:gd name="connsiteY51412" fmla="*/ 1572065 h 5973007"/>
              <a:gd name="connsiteX51413" fmla="*/ 1600781 w 6884782"/>
              <a:gd name="connsiteY51413" fmla="*/ 1572065 h 5973007"/>
              <a:gd name="connsiteX51414" fmla="*/ 1611830 w 6884782"/>
              <a:gd name="connsiteY51414" fmla="*/ 1583682 h 5973007"/>
              <a:gd name="connsiteX51415" fmla="*/ 1609455 w 6884782"/>
              <a:gd name="connsiteY51415" fmla="*/ 1590033 h 5973007"/>
              <a:gd name="connsiteX51416" fmla="*/ 1593347 w 6884782"/>
              <a:gd name="connsiteY51416" fmla="*/ 1590033 h 5973007"/>
              <a:gd name="connsiteX51417" fmla="*/ 1588700 w 6884782"/>
              <a:gd name="connsiteY51417" fmla="*/ 1588019 h 5973007"/>
              <a:gd name="connsiteX51418" fmla="*/ 1585603 w 6884782"/>
              <a:gd name="connsiteY51418" fmla="*/ 1588019 h 5973007"/>
              <a:gd name="connsiteX51419" fmla="*/ 1584776 w 6884782"/>
              <a:gd name="connsiteY51419" fmla="*/ 1584612 h 5973007"/>
              <a:gd name="connsiteX51420" fmla="*/ 1581472 w 6884782"/>
              <a:gd name="connsiteY51420" fmla="*/ 1578416 h 5973007"/>
              <a:gd name="connsiteX51421" fmla="*/ 1585087 w 6884782"/>
              <a:gd name="connsiteY51421" fmla="*/ 1576247 h 5973007"/>
              <a:gd name="connsiteX51422" fmla="*/ 1585706 w 6884782"/>
              <a:gd name="connsiteY51422" fmla="*/ 1574698 h 5973007"/>
              <a:gd name="connsiteX51423" fmla="*/ 1590662 w 6884782"/>
              <a:gd name="connsiteY51423" fmla="*/ 1571136 h 5973007"/>
              <a:gd name="connsiteX51424" fmla="*/ 1590972 w 6884782"/>
              <a:gd name="connsiteY51424" fmla="*/ 1568192 h 5973007"/>
              <a:gd name="connsiteX51425" fmla="*/ 1593657 w 6884782"/>
              <a:gd name="connsiteY51425" fmla="*/ 1567108 h 5973007"/>
              <a:gd name="connsiteX51426" fmla="*/ 4376599 w 6884782"/>
              <a:gd name="connsiteY51426" fmla="*/ 1565527 h 5973007"/>
              <a:gd name="connsiteX51427" fmla="*/ 4401355 w 6884782"/>
              <a:gd name="connsiteY51427" fmla="*/ 1595261 h 5973007"/>
              <a:gd name="connsiteX51428" fmla="*/ 4392392 w 6884782"/>
              <a:gd name="connsiteY51428" fmla="*/ 1601521 h 5973007"/>
              <a:gd name="connsiteX51429" fmla="*/ 4390898 w 6884782"/>
              <a:gd name="connsiteY51429" fmla="*/ 1596114 h 5973007"/>
              <a:gd name="connsiteX51430" fmla="*/ 4385349 w 6884782"/>
              <a:gd name="connsiteY51430" fmla="*/ 1597537 h 5973007"/>
              <a:gd name="connsiteX51431" fmla="*/ 4363367 w 6884782"/>
              <a:gd name="connsiteY51431" fmla="*/ 1581603 h 5973007"/>
              <a:gd name="connsiteX51432" fmla="*/ 4375532 w 6884782"/>
              <a:gd name="connsiteY51432" fmla="*/ 1586014 h 5973007"/>
              <a:gd name="connsiteX51433" fmla="*/ 4387056 w 6884782"/>
              <a:gd name="connsiteY51433" fmla="*/ 1587863 h 5973007"/>
              <a:gd name="connsiteX51434" fmla="*/ 4383001 w 6884782"/>
              <a:gd name="connsiteY51434" fmla="*/ 1582457 h 5973007"/>
              <a:gd name="connsiteX51435" fmla="*/ 4376599 w 6884782"/>
              <a:gd name="connsiteY51435" fmla="*/ 1565527 h 5973007"/>
              <a:gd name="connsiteX51436" fmla="*/ 4574652 w 6884782"/>
              <a:gd name="connsiteY51436" fmla="*/ 1565242 h 5973007"/>
              <a:gd name="connsiteX51437" fmla="*/ 4578920 w 6884782"/>
              <a:gd name="connsiteY51437" fmla="*/ 1574489 h 5973007"/>
              <a:gd name="connsiteX51438" fmla="*/ 4574439 w 6884782"/>
              <a:gd name="connsiteY51438" fmla="*/ 1570222 h 5973007"/>
              <a:gd name="connsiteX51439" fmla="*/ 4574652 w 6884782"/>
              <a:gd name="connsiteY51439" fmla="*/ 1565242 h 5973007"/>
              <a:gd name="connsiteX51440" fmla="*/ 1560718 w 6884782"/>
              <a:gd name="connsiteY51440" fmla="*/ 1565095 h 5973007"/>
              <a:gd name="connsiteX51441" fmla="*/ 1565984 w 6884782"/>
              <a:gd name="connsiteY51441" fmla="*/ 1567573 h 5973007"/>
              <a:gd name="connsiteX51442" fmla="*/ 1562990 w 6884782"/>
              <a:gd name="connsiteY51442" fmla="*/ 1571910 h 5973007"/>
              <a:gd name="connsiteX51443" fmla="*/ 1559066 w 6884782"/>
              <a:gd name="connsiteY51443" fmla="*/ 1566334 h 5973007"/>
              <a:gd name="connsiteX51444" fmla="*/ 1560718 w 6884782"/>
              <a:gd name="connsiteY51444" fmla="*/ 1565095 h 5973007"/>
              <a:gd name="connsiteX51445" fmla="*/ 1170306 w 6884782"/>
              <a:gd name="connsiteY51445" fmla="*/ 1564940 h 5973007"/>
              <a:gd name="connsiteX51446" fmla="*/ 1174850 w 6884782"/>
              <a:gd name="connsiteY51446" fmla="*/ 1565559 h 5973007"/>
              <a:gd name="connsiteX51447" fmla="*/ 1175056 w 6884782"/>
              <a:gd name="connsiteY51447" fmla="*/ 1566024 h 5973007"/>
              <a:gd name="connsiteX51448" fmla="*/ 1180941 w 6884782"/>
              <a:gd name="connsiteY51448" fmla="*/ 1573459 h 5973007"/>
              <a:gd name="connsiteX51449" fmla="*/ 1179909 w 6884782"/>
              <a:gd name="connsiteY51449" fmla="*/ 1578725 h 5973007"/>
              <a:gd name="connsiteX51450" fmla="*/ 1177121 w 6884782"/>
              <a:gd name="connsiteY51450" fmla="*/ 1578416 h 5973007"/>
              <a:gd name="connsiteX51451" fmla="*/ 1174540 w 6884782"/>
              <a:gd name="connsiteY51451" fmla="*/ 1574853 h 5973007"/>
              <a:gd name="connsiteX51452" fmla="*/ 1173817 w 6884782"/>
              <a:gd name="connsiteY51452" fmla="*/ 1576557 h 5973007"/>
              <a:gd name="connsiteX51453" fmla="*/ 1170306 w 6884782"/>
              <a:gd name="connsiteY51453" fmla="*/ 1579500 h 5973007"/>
              <a:gd name="connsiteX51454" fmla="*/ 1166176 w 6884782"/>
              <a:gd name="connsiteY51454" fmla="*/ 1575783 h 5973007"/>
              <a:gd name="connsiteX51455" fmla="*/ 1166279 w 6884782"/>
              <a:gd name="connsiteY51455" fmla="*/ 1573459 h 5973007"/>
              <a:gd name="connsiteX51456" fmla="*/ 1170306 w 6884782"/>
              <a:gd name="connsiteY51456" fmla="*/ 1564940 h 5973007"/>
              <a:gd name="connsiteX51457" fmla="*/ 3554506 w 6884782"/>
              <a:gd name="connsiteY51457" fmla="*/ 1564815 h 5973007"/>
              <a:gd name="connsiteX51458" fmla="*/ 3560055 w 6884782"/>
              <a:gd name="connsiteY51458" fmla="*/ 1569368 h 5973007"/>
              <a:gd name="connsiteX51459" fmla="*/ 3555359 w 6884782"/>
              <a:gd name="connsiteY51459" fmla="*/ 1568515 h 5973007"/>
              <a:gd name="connsiteX51460" fmla="*/ 3554506 w 6884782"/>
              <a:gd name="connsiteY51460" fmla="*/ 1564815 h 5973007"/>
              <a:gd name="connsiteX51461" fmla="*/ 1691957 w 6884782"/>
              <a:gd name="connsiteY51461" fmla="*/ 1564785 h 5973007"/>
              <a:gd name="connsiteX51462" fmla="*/ 1692989 w 6884782"/>
              <a:gd name="connsiteY51462" fmla="*/ 1569896 h 5973007"/>
              <a:gd name="connsiteX51463" fmla="*/ 1689375 w 6884782"/>
              <a:gd name="connsiteY51463" fmla="*/ 1571445 h 5973007"/>
              <a:gd name="connsiteX51464" fmla="*/ 1687517 w 6884782"/>
              <a:gd name="connsiteY51464" fmla="*/ 1568812 h 5973007"/>
              <a:gd name="connsiteX51465" fmla="*/ 1687413 w 6884782"/>
              <a:gd name="connsiteY51465" fmla="*/ 1567573 h 5973007"/>
              <a:gd name="connsiteX51466" fmla="*/ 1688239 w 6884782"/>
              <a:gd name="connsiteY51466" fmla="*/ 1566334 h 5973007"/>
              <a:gd name="connsiteX51467" fmla="*/ 1691957 w 6884782"/>
              <a:gd name="connsiteY51467" fmla="*/ 1564785 h 5973007"/>
              <a:gd name="connsiteX51468" fmla="*/ 1533562 w 6884782"/>
              <a:gd name="connsiteY51468" fmla="*/ 1564320 h 5973007"/>
              <a:gd name="connsiteX51469" fmla="*/ 1542441 w 6884782"/>
              <a:gd name="connsiteY51469" fmla="*/ 1572375 h 5973007"/>
              <a:gd name="connsiteX51470" fmla="*/ 1540067 w 6884782"/>
              <a:gd name="connsiteY51470" fmla="*/ 1575318 h 5973007"/>
              <a:gd name="connsiteX51471" fmla="*/ 1537072 w 6884782"/>
              <a:gd name="connsiteY51471" fmla="*/ 1573769 h 5973007"/>
              <a:gd name="connsiteX51472" fmla="*/ 1535936 w 6884782"/>
              <a:gd name="connsiteY51472" fmla="*/ 1571755 h 5973007"/>
              <a:gd name="connsiteX51473" fmla="*/ 1535627 w 6884782"/>
              <a:gd name="connsiteY51473" fmla="*/ 1571291 h 5973007"/>
              <a:gd name="connsiteX51474" fmla="*/ 1533562 w 6884782"/>
              <a:gd name="connsiteY51474" fmla="*/ 1564320 h 5973007"/>
              <a:gd name="connsiteX51475" fmla="*/ 5826786 w 6884782"/>
              <a:gd name="connsiteY51475" fmla="*/ 1564104 h 5973007"/>
              <a:gd name="connsiteX51476" fmla="*/ 5832762 w 6884782"/>
              <a:gd name="connsiteY51476" fmla="*/ 1567661 h 5973007"/>
              <a:gd name="connsiteX51477" fmla="*/ 5809499 w 6884782"/>
              <a:gd name="connsiteY51477" fmla="*/ 1576624 h 5973007"/>
              <a:gd name="connsiteX51478" fmla="*/ 5826786 w 6884782"/>
              <a:gd name="connsiteY51478" fmla="*/ 1564104 h 5973007"/>
              <a:gd name="connsiteX51479" fmla="*/ 4012504 w 6884782"/>
              <a:gd name="connsiteY51479" fmla="*/ 1564104 h 5973007"/>
              <a:gd name="connsiteX51480" fmla="*/ 4016346 w 6884782"/>
              <a:gd name="connsiteY51480" fmla="*/ 1567234 h 5973007"/>
              <a:gd name="connsiteX51481" fmla="*/ 4018054 w 6884782"/>
              <a:gd name="connsiteY51481" fmla="*/ 1570506 h 5973007"/>
              <a:gd name="connsiteX51482" fmla="*/ 4016987 w 6884782"/>
              <a:gd name="connsiteY51482" fmla="*/ 1574489 h 5973007"/>
              <a:gd name="connsiteX51483" fmla="*/ 4014639 w 6884782"/>
              <a:gd name="connsiteY51483" fmla="*/ 1576481 h 5973007"/>
              <a:gd name="connsiteX51484" fmla="*/ 4007809 w 6884782"/>
              <a:gd name="connsiteY51484" fmla="*/ 1575201 h 5973007"/>
              <a:gd name="connsiteX51485" fmla="*/ 4008450 w 6884782"/>
              <a:gd name="connsiteY51485" fmla="*/ 1564673 h 5973007"/>
              <a:gd name="connsiteX51486" fmla="*/ 4012504 w 6884782"/>
              <a:gd name="connsiteY51486" fmla="*/ 1564104 h 5973007"/>
              <a:gd name="connsiteX51487" fmla="*/ 3803780 w 6884782"/>
              <a:gd name="connsiteY51487" fmla="*/ 1564104 h 5973007"/>
              <a:gd name="connsiteX51488" fmla="*/ 3809543 w 6884782"/>
              <a:gd name="connsiteY51488" fmla="*/ 1567661 h 5973007"/>
              <a:gd name="connsiteX51489" fmla="*/ 3812530 w 6884782"/>
              <a:gd name="connsiteY51489" fmla="*/ 1577904 h 5973007"/>
              <a:gd name="connsiteX51490" fmla="*/ 3817012 w 6884782"/>
              <a:gd name="connsiteY51490" fmla="*/ 1574347 h 5973007"/>
              <a:gd name="connsiteX51491" fmla="*/ 3824482 w 6884782"/>
              <a:gd name="connsiteY51491" fmla="*/ 1584733 h 5973007"/>
              <a:gd name="connsiteX51492" fmla="*/ 3823628 w 6884782"/>
              <a:gd name="connsiteY51492" fmla="*/ 1598106 h 5973007"/>
              <a:gd name="connsiteX51493" fmla="*/ 3812103 w 6884782"/>
              <a:gd name="connsiteY51493" fmla="*/ 1599671 h 5973007"/>
              <a:gd name="connsiteX51494" fmla="*/ 3810183 w 6884782"/>
              <a:gd name="connsiteY51494" fmla="*/ 1579611 h 5973007"/>
              <a:gd name="connsiteX51495" fmla="*/ 3812103 w 6884782"/>
              <a:gd name="connsiteY51495" fmla="*/ 1578189 h 5973007"/>
              <a:gd name="connsiteX51496" fmla="*/ 3802927 w 6884782"/>
              <a:gd name="connsiteY51496" fmla="*/ 1576481 h 5973007"/>
              <a:gd name="connsiteX51497" fmla="*/ 3777103 w 6884782"/>
              <a:gd name="connsiteY51497" fmla="*/ 1572782 h 5973007"/>
              <a:gd name="connsiteX51498" fmla="*/ 3803780 w 6884782"/>
              <a:gd name="connsiteY51498" fmla="*/ 1564104 h 5973007"/>
              <a:gd name="connsiteX51499" fmla="*/ 3885093 w 6884782"/>
              <a:gd name="connsiteY51499" fmla="*/ 1563820 h 5973007"/>
              <a:gd name="connsiteX51500" fmla="*/ 3884666 w 6884782"/>
              <a:gd name="connsiteY51500" fmla="*/ 1565100 h 5973007"/>
              <a:gd name="connsiteX51501" fmla="*/ 3884880 w 6884782"/>
              <a:gd name="connsiteY51501" fmla="*/ 1564815 h 5973007"/>
              <a:gd name="connsiteX51502" fmla="*/ 4991461 w 6884782"/>
              <a:gd name="connsiteY51502" fmla="*/ 1563108 h 5973007"/>
              <a:gd name="connsiteX51503" fmla="*/ 4994022 w 6884782"/>
              <a:gd name="connsiteY51503" fmla="*/ 1568088 h 5973007"/>
              <a:gd name="connsiteX51504" fmla="*/ 4989327 w 6884782"/>
              <a:gd name="connsiteY51504" fmla="*/ 1570222 h 5973007"/>
              <a:gd name="connsiteX51505" fmla="*/ 4988900 w 6884782"/>
              <a:gd name="connsiteY51505" fmla="*/ 1570080 h 5973007"/>
              <a:gd name="connsiteX51506" fmla="*/ 4989754 w 6884782"/>
              <a:gd name="connsiteY51506" fmla="*/ 1573209 h 5973007"/>
              <a:gd name="connsiteX51507" fmla="*/ 4986552 w 6884782"/>
              <a:gd name="connsiteY51507" fmla="*/ 1588005 h 5973007"/>
              <a:gd name="connsiteX51508" fmla="*/ 4985272 w 6884782"/>
              <a:gd name="connsiteY51508" fmla="*/ 1564673 h 5973007"/>
              <a:gd name="connsiteX51509" fmla="*/ 4987620 w 6884782"/>
              <a:gd name="connsiteY51509" fmla="*/ 1565100 h 5973007"/>
              <a:gd name="connsiteX51510" fmla="*/ 4989113 w 6884782"/>
              <a:gd name="connsiteY51510" fmla="*/ 1563251 h 5973007"/>
              <a:gd name="connsiteX51511" fmla="*/ 4991461 w 6884782"/>
              <a:gd name="connsiteY51511" fmla="*/ 1563108 h 5973007"/>
              <a:gd name="connsiteX51512" fmla="*/ 1141911 w 6884782"/>
              <a:gd name="connsiteY51512" fmla="*/ 1562926 h 5973007"/>
              <a:gd name="connsiteX51513" fmla="*/ 1149862 w 6884782"/>
              <a:gd name="connsiteY51513" fmla="*/ 1572220 h 5973007"/>
              <a:gd name="connsiteX51514" fmla="*/ 1147383 w 6884782"/>
              <a:gd name="connsiteY51514" fmla="*/ 1571445 h 5973007"/>
              <a:gd name="connsiteX51515" fmla="*/ 1141911 w 6884782"/>
              <a:gd name="connsiteY51515" fmla="*/ 1562926 h 5973007"/>
              <a:gd name="connsiteX51516" fmla="*/ 5300493 w 6884782"/>
              <a:gd name="connsiteY51516" fmla="*/ 1562539 h 5973007"/>
              <a:gd name="connsiteX51517" fmla="*/ 5303908 w 6884782"/>
              <a:gd name="connsiteY51517" fmla="*/ 1562539 h 5973007"/>
              <a:gd name="connsiteX51518" fmla="*/ 5308176 w 6884782"/>
              <a:gd name="connsiteY51518" fmla="*/ 1566665 h 5973007"/>
              <a:gd name="connsiteX51519" fmla="*/ 5307962 w 6884782"/>
              <a:gd name="connsiteY51519" fmla="*/ 1573636 h 5973007"/>
              <a:gd name="connsiteX51520" fmla="*/ 5307109 w 6884782"/>
              <a:gd name="connsiteY51520" fmla="*/ 1574632 h 5973007"/>
              <a:gd name="connsiteX51521" fmla="*/ 5307536 w 6884782"/>
              <a:gd name="connsiteY51521" fmla="*/ 1575486 h 5973007"/>
              <a:gd name="connsiteX51522" fmla="*/ 5307749 w 6884782"/>
              <a:gd name="connsiteY51522" fmla="*/ 1575486 h 5973007"/>
              <a:gd name="connsiteX51523" fmla="*/ 5307536 w 6884782"/>
              <a:gd name="connsiteY51523" fmla="*/ 1578046 h 5973007"/>
              <a:gd name="connsiteX51524" fmla="*/ 5306042 w 6884782"/>
              <a:gd name="connsiteY51524" fmla="*/ 1580181 h 5973007"/>
              <a:gd name="connsiteX51525" fmla="*/ 5304548 w 6884782"/>
              <a:gd name="connsiteY51525" fmla="*/ 1579469 h 5973007"/>
              <a:gd name="connsiteX51526" fmla="*/ 5303694 w 6884782"/>
              <a:gd name="connsiteY51526" fmla="*/ 1578046 h 5973007"/>
              <a:gd name="connsiteX51527" fmla="*/ 5302200 w 6884782"/>
              <a:gd name="connsiteY51527" fmla="*/ 1579611 h 5973007"/>
              <a:gd name="connsiteX51528" fmla="*/ 5293450 w 6884782"/>
              <a:gd name="connsiteY51528" fmla="*/ 1573779 h 5973007"/>
              <a:gd name="connsiteX51529" fmla="*/ 5296438 w 6884782"/>
              <a:gd name="connsiteY51529" fmla="*/ 1564531 h 5973007"/>
              <a:gd name="connsiteX51530" fmla="*/ 5300493 w 6884782"/>
              <a:gd name="connsiteY51530" fmla="*/ 1562539 h 5973007"/>
              <a:gd name="connsiteX51531" fmla="*/ 1530773 w 6884782"/>
              <a:gd name="connsiteY51531" fmla="*/ 1562152 h 5973007"/>
              <a:gd name="connsiteX51532" fmla="*/ 1530258 w 6884782"/>
              <a:gd name="connsiteY51532" fmla="*/ 1565559 h 5973007"/>
              <a:gd name="connsiteX51533" fmla="*/ 1528502 w 6884782"/>
              <a:gd name="connsiteY51533" fmla="*/ 1565405 h 5973007"/>
              <a:gd name="connsiteX51534" fmla="*/ 1525921 w 6884782"/>
              <a:gd name="connsiteY51534" fmla="*/ 1567108 h 5973007"/>
              <a:gd name="connsiteX51535" fmla="*/ 1524268 w 6884782"/>
              <a:gd name="connsiteY51535" fmla="*/ 1567728 h 5973007"/>
              <a:gd name="connsiteX51536" fmla="*/ 1526127 w 6884782"/>
              <a:gd name="connsiteY51536" fmla="*/ 1568192 h 5973007"/>
              <a:gd name="connsiteX51537" fmla="*/ 1528192 w 6884782"/>
              <a:gd name="connsiteY51537" fmla="*/ 1569432 h 5973007"/>
              <a:gd name="connsiteX51538" fmla="*/ 1528192 w 6884782"/>
              <a:gd name="connsiteY51538" fmla="*/ 1571291 h 5973007"/>
              <a:gd name="connsiteX51539" fmla="*/ 1528192 w 6884782"/>
              <a:gd name="connsiteY51539" fmla="*/ 1571755 h 5973007"/>
              <a:gd name="connsiteX51540" fmla="*/ 1532529 w 6884782"/>
              <a:gd name="connsiteY51540" fmla="*/ 1572375 h 5973007"/>
              <a:gd name="connsiteX51541" fmla="*/ 1533562 w 6884782"/>
              <a:gd name="connsiteY51541" fmla="*/ 1572995 h 5973007"/>
              <a:gd name="connsiteX51542" fmla="*/ 1534078 w 6884782"/>
              <a:gd name="connsiteY51542" fmla="*/ 1572840 h 5973007"/>
              <a:gd name="connsiteX51543" fmla="*/ 1535214 w 6884782"/>
              <a:gd name="connsiteY51543" fmla="*/ 1572685 h 5973007"/>
              <a:gd name="connsiteX51544" fmla="*/ 1534697 w 6884782"/>
              <a:gd name="connsiteY51544" fmla="*/ 1573459 h 5973007"/>
              <a:gd name="connsiteX51545" fmla="*/ 1534594 w 6884782"/>
              <a:gd name="connsiteY51545" fmla="*/ 1573614 h 5973007"/>
              <a:gd name="connsiteX51546" fmla="*/ 1536866 w 6884782"/>
              <a:gd name="connsiteY51546" fmla="*/ 1574853 h 5973007"/>
              <a:gd name="connsiteX51547" fmla="*/ 1532013 w 6884782"/>
              <a:gd name="connsiteY51547" fmla="*/ 1579500 h 5973007"/>
              <a:gd name="connsiteX51548" fmla="*/ 1526540 w 6884782"/>
              <a:gd name="connsiteY51548" fmla="*/ 1583063 h 5973007"/>
              <a:gd name="connsiteX51549" fmla="*/ 1527986 w 6884782"/>
              <a:gd name="connsiteY51549" fmla="*/ 1578725 h 5973007"/>
              <a:gd name="connsiteX51550" fmla="*/ 1527882 w 6884782"/>
              <a:gd name="connsiteY51550" fmla="*/ 1578880 h 5973007"/>
              <a:gd name="connsiteX51551" fmla="*/ 1525921 w 6884782"/>
              <a:gd name="connsiteY51551" fmla="*/ 1578880 h 5973007"/>
              <a:gd name="connsiteX51552" fmla="*/ 1526437 w 6884782"/>
              <a:gd name="connsiteY51552" fmla="*/ 1576402 h 5973007"/>
              <a:gd name="connsiteX51553" fmla="*/ 1528399 w 6884782"/>
              <a:gd name="connsiteY51553" fmla="*/ 1576092 h 5973007"/>
              <a:gd name="connsiteX51554" fmla="*/ 1528502 w 6884782"/>
              <a:gd name="connsiteY51554" fmla="*/ 1575163 h 5973007"/>
              <a:gd name="connsiteX51555" fmla="*/ 1527573 w 6884782"/>
              <a:gd name="connsiteY51555" fmla="*/ 1572530 h 5973007"/>
              <a:gd name="connsiteX51556" fmla="*/ 1525817 w 6884782"/>
              <a:gd name="connsiteY51556" fmla="*/ 1573924 h 5973007"/>
              <a:gd name="connsiteX51557" fmla="*/ 1521687 w 6884782"/>
              <a:gd name="connsiteY51557" fmla="*/ 1573614 h 5973007"/>
              <a:gd name="connsiteX51558" fmla="*/ 1521481 w 6884782"/>
              <a:gd name="connsiteY51558" fmla="*/ 1573304 h 5973007"/>
              <a:gd name="connsiteX51559" fmla="*/ 1520758 w 6884782"/>
              <a:gd name="connsiteY51559" fmla="*/ 1573304 h 5973007"/>
              <a:gd name="connsiteX51560" fmla="*/ 1520345 w 6884782"/>
              <a:gd name="connsiteY51560" fmla="*/ 1573304 h 5973007"/>
              <a:gd name="connsiteX51561" fmla="*/ 1519932 w 6884782"/>
              <a:gd name="connsiteY51561" fmla="*/ 1574388 h 5973007"/>
              <a:gd name="connsiteX51562" fmla="*/ 1522823 w 6884782"/>
              <a:gd name="connsiteY51562" fmla="*/ 1577331 h 5973007"/>
              <a:gd name="connsiteX51563" fmla="*/ 1526540 w 6884782"/>
              <a:gd name="connsiteY51563" fmla="*/ 1583063 h 5973007"/>
              <a:gd name="connsiteX51564" fmla="*/ 1527366 w 6884782"/>
              <a:gd name="connsiteY51564" fmla="*/ 1584147 h 5973007"/>
              <a:gd name="connsiteX51565" fmla="*/ 1532839 w 6884782"/>
              <a:gd name="connsiteY51565" fmla="*/ 1591272 h 5973007"/>
              <a:gd name="connsiteX51566" fmla="*/ 1530877 w 6884782"/>
              <a:gd name="connsiteY51566" fmla="*/ 1610944 h 5973007"/>
              <a:gd name="connsiteX51567" fmla="*/ 1512394 w 6884782"/>
              <a:gd name="connsiteY51567" fmla="*/ 1630771 h 5973007"/>
              <a:gd name="connsiteX51568" fmla="*/ 1481314 w 6884782"/>
              <a:gd name="connsiteY51568" fmla="*/ 1634178 h 5973007"/>
              <a:gd name="connsiteX51569" fmla="*/ 1476977 w 6884782"/>
              <a:gd name="connsiteY51569" fmla="*/ 1629531 h 5973007"/>
              <a:gd name="connsiteX51570" fmla="*/ 1476667 w 6884782"/>
              <a:gd name="connsiteY51570" fmla="*/ 1629376 h 5973007"/>
              <a:gd name="connsiteX51571" fmla="*/ 1473983 w 6884782"/>
              <a:gd name="connsiteY51571" fmla="*/ 1627363 h 5973007"/>
              <a:gd name="connsiteX51572" fmla="*/ 1474396 w 6884782"/>
              <a:gd name="connsiteY51572" fmla="*/ 1627053 h 5973007"/>
              <a:gd name="connsiteX51573" fmla="*/ 1467994 w 6884782"/>
              <a:gd name="connsiteY51573" fmla="*/ 1622406 h 5973007"/>
              <a:gd name="connsiteX51574" fmla="*/ 1466755 w 6884782"/>
              <a:gd name="connsiteY51574" fmla="*/ 1623336 h 5973007"/>
              <a:gd name="connsiteX51575" fmla="*/ 1462418 w 6884782"/>
              <a:gd name="connsiteY51575" fmla="*/ 1624885 h 5973007"/>
              <a:gd name="connsiteX51576" fmla="*/ 1462108 w 6884782"/>
              <a:gd name="connsiteY51576" fmla="*/ 1624110 h 5973007"/>
              <a:gd name="connsiteX51577" fmla="*/ 1465619 w 6884782"/>
              <a:gd name="connsiteY51577" fmla="*/ 1622097 h 5973007"/>
              <a:gd name="connsiteX51578" fmla="*/ 1466755 w 6884782"/>
              <a:gd name="connsiteY51578" fmla="*/ 1621322 h 5973007"/>
              <a:gd name="connsiteX51579" fmla="*/ 1464173 w 6884782"/>
              <a:gd name="connsiteY51579" fmla="*/ 1618998 h 5973007"/>
              <a:gd name="connsiteX51580" fmla="*/ 1458907 w 6884782"/>
              <a:gd name="connsiteY51580" fmla="*/ 1621787 h 5973007"/>
              <a:gd name="connsiteX51581" fmla="*/ 1461076 w 6884782"/>
              <a:gd name="connsiteY51581" fmla="*/ 1616675 h 5973007"/>
              <a:gd name="connsiteX51582" fmla="*/ 1461489 w 6884782"/>
              <a:gd name="connsiteY51582" fmla="*/ 1616365 h 5973007"/>
              <a:gd name="connsiteX51583" fmla="*/ 1461386 w 6884782"/>
              <a:gd name="connsiteY51583" fmla="*/ 1616210 h 5973007"/>
              <a:gd name="connsiteX51584" fmla="*/ 1458598 w 6884782"/>
              <a:gd name="connsiteY51584" fmla="*/ 1608001 h 5973007"/>
              <a:gd name="connsiteX51585" fmla="*/ 1463141 w 6884782"/>
              <a:gd name="connsiteY51585" fmla="*/ 1596693 h 5973007"/>
              <a:gd name="connsiteX51586" fmla="*/ 1463141 w 6884782"/>
              <a:gd name="connsiteY51586" fmla="*/ 1596229 h 5973007"/>
              <a:gd name="connsiteX51587" fmla="*/ 1462831 w 6884782"/>
              <a:gd name="connsiteY51587" fmla="*/ 1596384 h 5973007"/>
              <a:gd name="connsiteX51588" fmla="*/ 1462625 w 6884782"/>
              <a:gd name="connsiteY51588" fmla="*/ 1595764 h 5973007"/>
              <a:gd name="connsiteX51589" fmla="*/ 1462315 w 6884782"/>
              <a:gd name="connsiteY51589" fmla="*/ 1594680 h 5973007"/>
              <a:gd name="connsiteX51590" fmla="*/ 1462315 w 6884782"/>
              <a:gd name="connsiteY51590" fmla="*/ 1594215 h 5973007"/>
              <a:gd name="connsiteX51591" fmla="*/ 1463244 w 6884782"/>
              <a:gd name="connsiteY51591" fmla="*/ 1593441 h 5973007"/>
              <a:gd name="connsiteX51592" fmla="*/ 1463347 w 6884782"/>
              <a:gd name="connsiteY51592" fmla="*/ 1591892 h 5973007"/>
              <a:gd name="connsiteX51593" fmla="*/ 1463967 w 6884782"/>
              <a:gd name="connsiteY51593" fmla="*/ 1587245 h 5973007"/>
              <a:gd name="connsiteX51594" fmla="*/ 1473157 w 6884782"/>
              <a:gd name="connsiteY51594" fmla="*/ 1578880 h 5973007"/>
              <a:gd name="connsiteX51595" fmla="*/ 1476564 w 6884782"/>
              <a:gd name="connsiteY51595" fmla="*/ 1576712 h 5973007"/>
              <a:gd name="connsiteX51596" fmla="*/ 1479145 w 6884782"/>
              <a:gd name="connsiteY51596" fmla="*/ 1574543 h 5973007"/>
              <a:gd name="connsiteX51597" fmla="*/ 1479455 w 6884782"/>
              <a:gd name="connsiteY51597" fmla="*/ 1574388 h 5973007"/>
              <a:gd name="connsiteX51598" fmla="*/ 1483276 w 6884782"/>
              <a:gd name="connsiteY51598" fmla="*/ 1568348 h 5973007"/>
              <a:gd name="connsiteX51599" fmla="*/ 1489471 w 6884782"/>
              <a:gd name="connsiteY51599" fmla="*/ 1564630 h 5973007"/>
              <a:gd name="connsiteX51600" fmla="*/ 1496905 w 6884782"/>
              <a:gd name="connsiteY51600" fmla="*/ 1565714 h 5973007"/>
              <a:gd name="connsiteX51601" fmla="*/ 1497215 w 6884782"/>
              <a:gd name="connsiteY51601" fmla="*/ 1566024 h 5973007"/>
              <a:gd name="connsiteX51602" fmla="*/ 1501656 w 6884782"/>
              <a:gd name="connsiteY51602" fmla="*/ 1565714 h 5973007"/>
              <a:gd name="connsiteX51603" fmla="*/ 1507025 w 6884782"/>
              <a:gd name="connsiteY51603" fmla="*/ 1566644 h 5973007"/>
              <a:gd name="connsiteX51604" fmla="*/ 1505166 w 6884782"/>
              <a:gd name="connsiteY51604" fmla="*/ 1567883 h 5973007"/>
              <a:gd name="connsiteX51605" fmla="*/ 1509090 w 6884782"/>
              <a:gd name="connsiteY51605" fmla="*/ 1567883 h 5973007"/>
              <a:gd name="connsiteX51606" fmla="*/ 1509400 w 6884782"/>
              <a:gd name="connsiteY51606" fmla="*/ 1568038 h 5973007"/>
              <a:gd name="connsiteX51607" fmla="*/ 1515595 w 6884782"/>
              <a:gd name="connsiteY51607" fmla="*/ 1566334 h 5973007"/>
              <a:gd name="connsiteX51608" fmla="*/ 1517454 w 6884782"/>
              <a:gd name="connsiteY51608" fmla="*/ 1566953 h 5973007"/>
              <a:gd name="connsiteX51609" fmla="*/ 1519829 w 6884782"/>
              <a:gd name="connsiteY51609" fmla="*/ 1565250 h 5973007"/>
              <a:gd name="connsiteX51610" fmla="*/ 1530773 w 6884782"/>
              <a:gd name="connsiteY51610" fmla="*/ 1562152 h 5973007"/>
              <a:gd name="connsiteX51611" fmla="*/ 5676752 w 6884782"/>
              <a:gd name="connsiteY51611" fmla="*/ 1562112 h 5973007"/>
              <a:gd name="connsiteX51612" fmla="*/ 5682941 w 6884782"/>
              <a:gd name="connsiteY51612" fmla="*/ 1568657 h 5973007"/>
              <a:gd name="connsiteX51613" fmla="*/ 5682088 w 6884782"/>
              <a:gd name="connsiteY51613" fmla="*/ 1571644 h 5973007"/>
              <a:gd name="connsiteX51614" fmla="*/ 5676752 w 6884782"/>
              <a:gd name="connsiteY51614" fmla="*/ 1562112 h 5973007"/>
              <a:gd name="connsiteX51615" fmla="*/ 3832592 w 6884782"/>
              <a:gd name="connsiteY51615" fmla="*/ 1561116 h 5973007"/>
              <a:gd name="connsiteX51616" fmla="*/ 3827043 w 6884782"/>
              <a:gd name="connsiteY51616" fmla="*/ 1572925 h 5973007"/>
              <a:gd name="connsiteX51617" fmla="*/ 3832592 w 6884782"/>
              <a:gd name="connsiteY51617" fmla="*/ 1561116 h 5973007"/>
              <a:gd name="connsiteX51618" fmla="*/ 1383221 w 6884782"/>
              <a:gd name="connsiteY51618" fmla="*/ 1560758 h 5973007"/>
              <a:gd name="connsiteX51619" fmla="*/ 1385905 w 6884782"/>
              <a:gd name="connsiteY51619" fmla="*/ 1565250 h 5973007"/>
              <a:gd name="connsiteX51620" fmla="*/ 1380123 w 6884782"/>
              <a:gd name="connsiteY51620" fmla="*/ 1565714 h 5973007"/>
              <a:gd name="connsiteX51621" fmla="*/ 1397367 w 6884782"/>
              <a:gd name="connsiteY51621" fmla="*/ 1582288 h 5973007"/>
              <a:gd name="connsiteX51622" fmla="*/ 1395921 w 6884782"/>
              <a:gd name="connsiteY51622" fmla="*/ 1584612 h 5973007"/>
              <a:gd name="connsiteX51623" fmla="*/ 1387867 w 6884782"/>
              <a:gd name="connsiteY51623" fmla="*/ 1587864 h 5973007"/>
              <a:gd name="connsiteX51624" fmla="*/ 1388693 w 6884782"/>
              <a:gd name="connsiteY51624" fmla="*/ 1588329 h 5973007"/>
              <a:gd name="connsiteX51625" fmla="*/ 1389416 w 6884782"/>
              <a:gd name="connsiteY51625" fmla="*/ 1589568 h 5973007"/>
              <a:gd name="connsiteX51626" fmla="*/ 1390242 w 6884782"/>
              <a:gd name="connsiteY51626" fmla="*/ 1591117 h 5973007"/>
              <a:gd name="connsiteX51627" fmla="*/ 1389519 w 6884782"/>
              <a:gd name="connsiteY51627" fmla="*/ 1592201 h 5973007"/>
              <a:gd name="connsiteX51628" fmla="*/ 1390139 w 6884782"/>
              <a:gd name="connsiteY51628" fmla="*/ 1592666 h 5973007"/>
              <a:gd name="connsiteX51629" fmla="*/ 1391584 w 6884782"/>
              <a:gd name="connsiteY51629" fmla="*/ 1594835 h 5973007"/>
              <a:gd name="connsiteX51630" fmla="*/ 1389932 w 6884782"/>
              <a:gd name="connsiteY51630" fmla="*/ 1596229 h 5973007"/>
              <a:gd name="connsiteX51631" fmla="*/ 1389003 w 6884782"/>
              <a:gd name="connsiteY51631" fmla="*/ 1597003 h 5973007"/>
              <a:gd name="connsiteX51632" fmla="*/ 1390345 w 6884782"/>
              <a:gd name="connsiteY51632" fmla="*/ 1598552 h 5973007"/>
              <a:gd name="connsiteX51633" fmla="*/ 1392617 w 6884782"/>
              <a:gd name="connsiteY51633" fmla="*/ 1600721 h 5973007"/>
              <a:gd name="connsiteX51634" fmla="*/ 1381981 w 6884782"/>
              <a:gd name="connsiteY51634" fmla="*/ 1604903 h 5973007"/>
              <a:gd name="connsiteX51635" fmla="*/ 1381568 w 6884782"/>
              <a:gd name="connsiteY51635" fmla="*/ 1601650 h 5973007"/>
              <a:gd name="connsiteX51636" fmla="*/ 1383634 w 6884782"/>
              <a:gd name="connsiteY51636" fmla="*/ 1598242 h 5973007"/>
              <a:gd name="connsiteX51637" fmla="*/ 1387247 w 6884782"/>
              <a:gd name="connsiteY51637" fmla="*/ 1597003 h 5973007"/>
              <a:gd name="connsiteX51638" fmla="*/ 1386422 w 6884782"/>
              <a:gd name="connsiteY51638" fmla="*/ 1596539 h 5973007"/>
              <a:gd name="connsiteX51639" fmla="*/ 1386112 w 6884782"/>
              <a:gd name="connsiteY51639" fmla="*/ 1594990 h 5973007"/>
              <a:gd name="connsiteX51640" fmla="*/ 1384047 w 6884782"/>
              <a:gd name="connsiteY51640" fmla="*/ 1595299 h 5973007"/>
              <a:gd name="connsiteX51641" fmla="*/ 1380329 w 6884782"/>
              <a:gd name="connsiteY51641" fmla="*/ 1593441 h 5973007"/>
              <a:gd name="connsiteX51642" fmla="*/ 1378987 w 6884782"/>
              <a:gd name="connsiteY51642" fmla="*/ 1590652 h 5973007"/>
              <a:gd name="connsiteX51643" fmla="*/ 1379090 w 6884782"/>
              <a:gd name="connsiteY51643" fmla="*/ 1592666 h 5973007"/>
              <a:gd name="connsiteX51644" fmla="*/ 1374960 w 6884782"/>
              <a:gd name="connsiteY51644" fmla="*/ 1590497 h 5973007"/>
              <a:gd name="connsiteX51645" fmla="*/ 1375476 w 6884782"/>
              <a:gd name="connsiteY51645" fmla="*/ 1587864 h 5973007"/>
              <a:gd name="connsiteX51646" fmla="*/ 1373205 w 6884782"/>
              <a:gd name="connsiteY51646" fmla="*/ 1587554 h 5973007"/>
              <a:gd name="connsiteX51647" fmla="*/ 1360194 w 6884782"/>
              <a:gd name="connsiteY51647" fmla="*/ 1571445 h 5973007"/>
              <a:gd name="connsiteX51648" fmla="*/ 1377335 w 6884782"/>
              <a:gd name="connsiteY51648" fmla="*/ 1565250 h 5973007"/>
              <a:gd name="connsiteX51649" fmla="*/ 1379400 w 6884782"/>
              <a:gd name="connsiteY51649" fmla="*/ 1565559 h 5973007"/>
              <a:gd name="connsiteX51650" fmla="*/ 1379194 w 6884782"/>
              <a:gd name="connsiteY51650" fmla="*/ 1563855 h 5973007"/>
              <a:gd name="connsiteX51651" fmla="*/ 1380639 w 6884782"/>
              <a:gd name="connsiteY51651" fmla="*/ 1561532 h 5973007"/>
              <a:gd name="connsiteX51652" fmla="*/ 1383221 w 6884782"/>
              <a:gd name="connsiteY51652" fmla="*/ 1560758 h 5973007"/>
              <a:gd name="connsiteX51653" fmla="*/ 5471229 w 6884782"/>
              <a:gd name="connsiteY51653" fmla="*/ 1560263 h 5973007"/>
              <a:gd name="connsiteX51654" fmla="*/ 5478912 w 6884782"/>
              <a:gd name="connsiteY51654" fmla="*/ 1566523 h 5973007"/>
              <a:gd name="connsiteX51655" fmla="*/ 5471656 w 6884782"/>
              <a:gd name="connsiteY51655" fmla="*/ 1561828 h 5973007"/>
              <a:gd name="connsiteX51656" fmla="*/ 5471229 w 6884782"/>
              <a:gd name="connsiteY51656" fmla="*/ 1560263 h 5973007"/>
              <a:gd name="connsiteX51657" fmla="*/ 5269333 w 6884782"/>
              <a:gd name="connsiteY51657" fmla="*/ 1560263 h 5973007"/>
              <a:gd name="connsiteX51658" fmla="*/ 5288115 w 6884782"/>
              <a:gd name="connsiteY51658" fmla="*/ 1571502 h 5973007"/>
              <a:gd name="connsiteX51659" fmla="*/ 5274242 w 6884782"/>
              <a:gd name="connsiteY51659" fmla="*/ 1570222 h 5973007"/>
              <a:gd name="connsiteX51660" fmla="*/ 5262717 w 6884782"/>
              <a:gd name="connsiteY51660" fmla="*/ 1560974 h 5973007"/>
              <a:gd name="connsiteX51661" fmla="*/ 5269333 w 6884782"/>
              <a:gd name="connsiteY51661" fmla="*/ 1560263 h 5973007"/>
              <a:gd name="connsiteX51662" fmla="*/ 4539651 w 6884782"/>
              <a:gd name="connsiteY51662" fmla="*/ 1560121 h 5973007"/>
              <a:gd name="connsiteX51663" fmla="*/ 4538371 w 6884782"/>
              <a:gd name="connsiteY51663" fmla="*/ 1570364 h 5973007"/>
              <a:gd name="connsiteX51664" fmla="*/ 4538584 w 6884782"/>
              <a:gd name="connsiteY51664" fmla="*/ 1561116 h 5973007"/>
              <a:gd name="connsiteX51665" fmla="*/ 4539651 w 6884782"/>
              <a:gd name="connsiteY51665" fmla="*/ 1560121 h 5973007"/>
              <a:gd name="connsiteX51666" fmla="*/ 1343467 w 6884782"/>
              <a:gd name="connsiteY51666" fmla="*/ 1559983 h 5973007"/>
              <a:gd name="connsiteX51667" fmla="*/ 1338201 w 6884782"/>
              <a:gd name="connsiteY51667" fmla="*/ 1562616 h 5973007"/>
              <a:gd name="connsiteX51668" fmla="*/ 1332935 w 6884782"/>
              <a:gd name="connsiteY51668" fmla="*/ 1563855 h 5973007"/>
              <a:gd name="connsiteX51669" fmla="*/ 1334277 w 6884782"/>
              <a:gd name="connsiteY51669" fmla="*/ 1568812 h 5973007"/>
              <a:gd name="connsiteX51670" fmla="*/ 1331696 w 6884782"/>
              <a:gd name="connsiteY51670" fmla="*/ 1572530 h 5973007"/>
              <a:gd name="connsiteX51671" fmla="*/ 1324158 w 6884782"/>
              <a:gd name="connsiteY51671" fmla="*/ 1573149 h 5973007"/>
              <a:gd name="connsiteX51672" fmla="*/ 1323641 w 6884782"/>
              <a:gd name="connsiteY51672" fmla="*/ 1568348 h 5973007"/>
              <a:gd name="connsiteX51673" fmla="*/ 1324055 w 6884782"/>
              <a:gd name="connsiteY51673" fmla="*/ 1565869 h 5973007"/>
              <a:gd name="connsiteX51674" fmla="*/ 1323022 w 6884782"/>
              <a:gd name="connsiteY51674" fmla="*/ 1565405 h 5973007"/>
              <a:gd name="connsiteX51675" fmla="*/ 1322299 w 6884782"/>
              <a:gd name="connsiteY51675" fmla="*/ 1565559 h 5973007"/>
              <a:gd name="connsiteX51676" fmla="*/ 1323022 w 6884782"/>
              <a:gd name="connsiteY51676" fmla="*/ 1566179 h 5973007"/>
              <a:gd name="connsiteX51677" fmla="*/ 1323229 w 6884782"/>
              <a:gd name="connsiteY51677" fmla="*/ 1567108 h 5973007"/>
              <a:gd name="connsiteX51678" fmla="*/ 1321473 w 6884782"/>
              <a:gd name="connsiteY51678" fmla="*/ 1570516 h 5973007"/>
              <a:gd name="connsiteX51679" fmla="*/ 1322506 w 6884782"/>
              <a:gd name="connsiteY51679" fmla="*/ 1571755 h 5973007"/>
              <a:gd name="connsiteX51680" fmla="*/ 1310735 w 6884782"/>
              <a:gd name="connsiteY51680" fmla="*/ 1575627 h 5973007"/>
              <a:gd name="connsiteX51681" fmla="*/ 1314142 w 6884782"/>
              <a:gd name="connsiteY51681" fmla="*/ 1564785 h 5973007"/>
              <a:gd name="connsiteX51682" fmla="*/ 1316310 w 6884782"/>
              <a:gd name="connsiteY51682" fmla="*/ 1566024 h 5973007"/>
              <a:gd name="connsiteX51683" fmla="*/ 1317860 w 6884782"/>
              <a:gd name="connsiteY51683" fmla="*/ 1563855 h 5973007"/>
              <a:gd name="connsiteX51684" fmla="*/ 1320854 w 6884782"/>
              <a:gd name="connsiteY51684" fmla="*/ 1564475 h 5973007"/>
              <a:gd name="connsiteX51685" fmla="*/ 1320751 w 6884782"/>
              <a:gd name="connsiteY51685" fmla="*/ 1564165 h 5973007"/>
              <a:gd name="connsiteX51686" fmla="*/ 1322403 w 6884782"/>
              <a:gd name="connsiteY51686" fmla="*/ 1562616 h 5973007"/>
              <a:gd name="connsiteX51687" fmla="*/ 1325191 w 6884782"/>
              <a:gd name="connsiteY51687" fmla="*/ 1561997 h 5973007"/>
              <a:gd name="connsiteX51688" fmla="*/ 1329218 w 6884782"/>
              <a:gd name="connsiteY51688" fmla="*/ 1560758 h 5973007"/>
              <a:gd name="connsiteX51689" fmla="*/ 1343467 w 6884782"/>
              <a:gd name="connsiteY51689" fmla="*/ 1559983 h 5973007"/>
              <a:gd name="connsiteX51690" fmla="*/ 5102866 w 6884782"/>
              <a:gd name="connsiteY51690" fmla="*/ 1559267 h 5973007"/>
              <a:gd name="connsiteX51691" fmla="*/ 5110122 w 6884782"/>
              <a:gd name="connsiteY51691" fmla="*/ 1559836 h 5973007"/>
              <a:gd name="connsiteX51692" fmla="*/ 5109269 w 6884782"/>
              <a:gd name="connsiteY51692" fmla="*/ 1574205 h 5973007"/>
              <a:gd name="connsiteX51693" fmla="*/ 5104360 w 6884782"/>
              <a:gd name="connsiteY51693" fmla="*/ 1574063 h 5973007"/>
              <a:gd name="connsiteX51694" fmla="*/ 5102866 w 6884782"/>
              <a:gd name="connsiteY51694" fmla="*/ 1559267 h 5973007"/>
              <a:gd name="connsiteX51695" fmla="*/ 1250794 w 6884782"/>
              <a:gd name="connsiteY51695" fmla="*/ 1558937 h 5973007"/>
              <a:gd name="connsiteX51696" fmla="*/ 1260346 w 6884782"/>
              <a:gd name="connsiteY51696" fmla="*/ 1560138 h 5973007"/>
              <a:gd name="connsiteX51697" fmla="*/ 1255802 w 6884782"/>
              <a:gd name="connsiteY51697" fmla="*/ 1562462 h 5973007"/>
              <a:gd name="connsiteX51698" fmla="*/ 1254047 w 6884782"/>
              <a:gd name="connsiteY51698" fmla="*/ 1563236 h 5973007"/>
              <a:gd name="connsiteX51699" fmla="*/ 1256215 w 6884782"/>
              <a:gd name="connsiteY51699" fmla="*/ 1563081 h 5973007"/>
              <a:gd name="connsiteX51700" fmla="*/ 1256628 w 6884782"/>
              <a:gd name="connsiteY51700" fmla="*/ 1568348 h 5973007"/>
              <a:gd name="connsiteX51701" fmla="*/ 1250433 w 6884782"/>
              <a:gd name="connsiteY51701" fmla="*/ 1567728 h 5973007"/>
              <a:gd name="connsiteX51702" fmla="*/ 1250124 w 6884782"/>
              <a:gd name="connsiteY51702" fmla="*/ 1565095 h 5973007"/>
              <a:gd name="connsiteX51703" fmla="*/ 1250227 w 6884782"/>
              <a:gd name="connsiteY51703" fmla="*/ 1564785 h 5973007"/>
              <a:gd name="connsiteX51704" fmla="*/ 1245787 w 6884782"/>
              <a:gd name="connsiteY51704" fmla="*/ 1564475 h 5973007"/>
              <a:gd name="connsiteX51705" fmla="*/ 1240314 w 6884782"/>
              <a:gd name="connsiteY51705" fmla="*/ 1563546 h 5973007"/>
              <a:gd name="connsiteX51706" fmla="*/ 1250794 w 6884782"/>
              <a:gd name="connsiteY51706" fmla="*/ 1558937 h 5973007"/>
              <a:gd name="connsiteX51707" fmla="*/ 1479042 w 6884782"/>
              <a:gd name="connsiteY51707" fmla="*/ 1558744 h 5973007"/>
              <a:gd name="connsiteX51708" fmla="*/ 1479559 w 6884782"/>
              <a:gd name="connsiteY51708" fmla="*/ 1561377 h 5973007"/>
              <a:gd name="connsiteX51709" fmla="*/ 1477494 w 6884782"/>
              <a:gd name="connsiteY51709" fmla="*/ 1562926 h 5973007"/>
              <a:gd name="connsiteX51710" fmla="*/ 1476255 w 6884782"/>
              <a:gd name="connsiteY51710" fmla="*/ 1564475 h 5973007"/>
              <a:gd name="connsiteX51711" fmla="*/ 1473673 w 6884782"/>
              <a:gd name="connsiteY51711" fmla="*/ 1564320 h 5973007"/>
              <a:gd name="connsiteX51712" fmla="*/ 1474809 w 6884782"/>
              <a:gd name="connsiteY51712" fmla="*/ 1562616 h 5973007"/>
              <a:gd name="connsiteX51713" fmla="*/ 1479042 w 6884782"/>
              <a:gd name="connsiteY51713" fmla="*/ 1558744 h 5973007"/>
              <a:gd name="connsiteX51714" fmla="*/ 4563981 w 6884782"/>
              <a:gd name="connsiteY51714" fmla="*/ 1558129 h 5973007"/>
              <a:gd name="connsiteX51715" fmla="*/ 4566969 w 6884782"/>
              <a:gd name="connsiteY51715" fmla="*/ 1560263 h 5973007"/>
              <a:gd name="connsiteX51716" fmla="*/ 4564835 w 6884782"/>
              <a:gd name="connsiteY51716" fmla="*/ 1563108 h 5973007"/>
              <a:gd name="connsiteX51717" fmla="*/ 4565902 w 6884782"/>
              <a:gd name="connsiteY51717" fmla="*/ 1562966 h 5973007"/>
              <a:gd name="connsiteX51718" fmla="*/ 4565262 w 6884782"/>
              <a:gd name="connsiteY51718" fmla="*/ 1573921 h 5973007"/>
              <a:gd name="connsiteX51719" fmla="*/ 4559499 w 6884782"/>
              <a:gd name="connsiteY51719" fmla="*/ 1577335 h 5973007"/>
              <a:gd name="connsiteX51720" fmla="*/ 4549042 w 6884782"/>
              <a:gd name="connsiteY51720" fmla="*/ 1574347 h 5973007"/>
              <a:gd name="connsiteX51721" fmla="*/ 4549895 w 6884782"/>
              <a:gd name="connsiteY51721" fmla="*/ 1568372 h 5973007"/>
              <a:gd name="connsiteX51722" fmla="*/ 4556085 w 6884782"/>
              <a:gd name="connsiteY51722" fmla="*/ 1564388 h 5973007"/>
              <a:gd name="connsiteX51723" fmla="*/ 4560566 w 6884782"/>
              <a:gd name="connsiteY51723" fmla="*/ 1563108 h 5973007"/>
              <a:gd name="connsiteX51724" fmla="*/ 4560353 w 6884782"/>
              <a:gd name="connsiteY51724" fmla="*/ 1560832 h 5973007"/>
              <a:gd name="connsiteX51725" fmla="*/ 4563981 w 6884782"/>
              <a:gd name="connsiteY51725" fmla="*/ 1558129 h 5973007"/>
              <a:gd name="connsiteX51726" fmla="*/ 1609558 w 6884782"/>
              <a:gd name="connsiteY51726" fmla="*/ 1557659 h 5973007"/>
              <a:gd name="connsiteX51727" fmla="*/ 1616270 w 6884782"/>
              <a:gd name="connsiteY51727" fmla="*/ 1563236 h 5973007"/>
              <a:gd name="connsiteX51728" fmla="*/ 1614514 w 6884782"/>
              <a:gd name="connsiteY51728" fmla="*/ 1571445 h 5973007"/>
              <a:gd name="connsiteX51729" fmla="*/ 1608113 w 6884782"/>
              <a:gd name="connsiteY51729" fmla="*/ 1561687 h 5973007"/>
              <a:gd name="connsiteX51730" fmla="*/ 1609558 w 6884782"/>
              <a:gd name="connsiteY51730" fmla="*/ 1557659 h 5973007"/>
              <a:gd name="connsiteX51731" fmla="*/ 4511480 w 6884782"/>
              <a:gd name="connsiteY51731" fmla="*/ 1557560 h 5973007"/>
              <a:gd name="connsiteX51732" fmla="*/ 4515108 w 6884782"/>
              <a:gd name="connsiteY51732" fmla="*/ 1561259 h 5973007"/>
              <a:gd name="connsiteX51733" fmla="*/ 4514041 w 6884782"/>
              <a:gd name="connsiteY51733" fmla="*/ 1563535 h 5973007"/>
              <a:gd name="connsiteX51734" fmla="*/ 4511053 w 6884782"/>
              <a:gd name="connsiteY51734" fmla="*/ 1565527 h 5973007"/>
              <a:gd name="connsiteX51735" fmla="*/ 4506571 w 6884782"/>
              <a:gd name="connsiteY51735" fmla="*/ 1560832 h 5973007"/>
              <a:gd name="connsiteX51736" fmla="*/ 4507852 w 6884782"/>
              <a:gd name="connsiteY51736" fmla="*/ 1558414 h 5973007"/>
              <a:gd name="connsiteX51737" fmla="*/ 4511480 w 6884782"/>
              <a:gd name="connsiteY51737" fmla="*/ 1557560 h 5973007"/>
              <a:gd name="connsiteX51738" fmla="*/ 3886800 w 6884782"/>
              <a:gd name="connsiteY51738" fmla="*/ 1557560 h 5973007"/>
              <a:gd name="connsiteX51739" fmla="*/ 3888935 w 6884782"/>
              <a:gd name="connsiteY51739" fmla="*/ 1559267 h 5973007"/>
              <a:gd name="connsiteX51740" fmla="*/ 3888935 w 6884782"/>
              <a:gd name="connsiteY51740" fmla="*/ 1561116 h 5973007"/>
              <a:gd name="connsiteX51741" fmla="*/ 3892990 w 6884782"/>
              <a:gd name="connsiteY51741" fmla="*/ 1558840 h 5973007"/>
              <a:gd name="connsiteX51742" fmla="*/ 3903447 w 6884782"/>
              <a:gd name="connsiteY51742" fmla="*/ 1567234 h 5973007"/>
              <a:gd name="connsiteX51743" fmla="*/ 3897898 w 6884782"/>
              <a:gd name="connsiteY51743" fmla="*/ 1579896 h 5973007"/>
              <a:gd name="connsiteX51744" fmla="*/ 3898111 w 6884782"/>
              <a:gd name="connsiteY51744" fmla="*/ 1580892 h 5973007"/>
              <a:gd name="connsiteX51745" fmla="*/ 3899392 w 6884782"/>
              <a:gd name="connsiteY51745" fmla="*/ 1580038 h 5973007"/>
              <a:gd name="connsiteX51746" fmla="*/ 3900459 w 6884782"/>
              <a:gd name="connsiteY51746" fmla="*/ 1578900 h 5973007"/>
              <a:gd name="connsiteX51747" fmla="*/ 3903020 w 6884782"/>
              <a:gd name="connsiteY51747" fmla="*/ 1578616 h 5973007"/>
              <a:gd name="connsiteX51748" fmla="*/ 3910277 w 6884782"/>
              <a:gd name="connsiteY51748" fmla="*/ 1582315 h 5973007"/>
              <a:gd name="connsiteX51749" fmla="*/ 3893843 w 6884782"/>
              <a:gd name="connsiteY51749" fmla="*/ 1590709 h 5973007"/>
              <a:gd name="connsiteX51750" fmla="*/ 3889788 w 6884782"/>
              <a:gd name="connsiteY51750" fmla="*/ 1591135 h 5973007"/>
              <a:gd name="connsiteX51751" fmla="*/ 3888295 w 6884782"/>
              <a:gd name="connsiteY51751" fmla="*/ 1594692 h 5973007"/>
              <a:gd name="connsiteX51752" fmla="*/ 3882959 w 6884782"/>
              <a:gd name="connsiteY51752" fmla="*/ 1591989 h 5973007"/>
              <a:gd name="connsiteX51753" fmla="*/ 3883812 w 6884782"/>
              <a:gd name="connsiteY51753" fmla="*/ 1589001 h 5973007"/>
              <a:gd name="connsiteX51754" fmla="*/ 3881678 w 6884782"/>
              <a:gd name="connsiteY51754" fmla="*/ 1589143 h 5973007"/>
              <a:gd name="connsiteX51755" fmla="*/ 3883599 w 6884782"/>
              <a:gd name="connsiteY51755" fmla="*/ 1582599 h 5973007"/>
              <a:gd name="connsiteX51756" fmla="*/ 3883599 w 6884782"/>
              <a:gd name="connsiteY51756" fmla="*/ 1580038 h 5973007"/>
              <a:gd name="connsiteX51757" fmla="*/ 3885733 w 6884782"/>
              <a:gd name="connsiteY51757" fmla="*/ 1581461 h 5973007"/>
              <a:gd name="connsiteX51758" fmla="*/ 3883599 w 6884782"/>
              <a:gd name="connsiteY51758" fmla="*/ 1585302 h 5973007"/>
              <a:gd name="connsiteX51759" fmla="*/ 3885733 w 6884782"/>
              <a:gd name="connsiteY51759" fmla="*/ 1586725 h 5973007"/>
              <a:gd name="connsiteX51760" fmla="*/ 3885093 w 6884782"/>
              <a:gd name="connsiteY51760" fmla="*/ 1588432 h 5973007"/>
              <a:gd name="connsiteX51761" fmla="*/ 3885093 w 6884782"/>
              <a:gd name="connsiteY51761" fmla="*/ 1588717 h 5973007"/>
              <a:gd name="connsiteX51762" fmla="*/ 3885307 w 6884782"/>
              <a:gd name="connsiteY51762" fmla="*/ 1588859 h 5973007"/>
              <a:gd name="connsiteX51763" fmla="*/ 3885093 w 6884782"/>
              <a:gd name="connsiteY51763" fmla="*/ 1588432 h 5973007"/>
              <a:gd name="connsiteX51764" fmla="*/ 3895551 w 6884782"/>
              <a:gd name="connsiteY51764" fmla="*/ 1582883 h 5973007"/>
              <a:gd name="connsiteX51765" fmla="*/ 3895764 w 6884782"/>
              <a:gd name="connsiteY51765" fmla="*/ 1581461 h 5973007"/>
              <a:gd name="connsiteX51766" fmla="*/ 3894697 w 6884782"/>
              <a:gd name="connsiteY51766" fmla="*/ 1580750 h 5973007"/>
              <a:gd name="connsiteX51767" fmla="*/ 3891496 w 6884782"/>
              <a:gd name="connsiteY51767" fmla="*/ 1581603 h 5973007"/>
              <a:gd name="connsiteX51768" fmla="*/ 3882105 w 6884782"/>
              <a:gd name="connsiteY51768" fmla="*/ 1575628 h 5973007"/>
              <a:gd name="connsiteX51769" fmla="*/ 3883172 w 6884782"/>
              <a:gd name="connsiteY51769" fmla="*/ 1572071 h 5973007"/>
              <a:gd name="connsiteX51770" fmla="*/ 3883812 w 6884782"/>
              <a:gd name="connsiteY51770" fmla="*/ 1568657 h 5973007"/>
              <a:gd name="connsiteX51771" fmla="*/ 3883386 w 6884782"/>
              <a:gd name="connsiteY51771" fmla="*/ 1570080 h 5973007"/>
              <a:gd name="connsiteX51772" fmla="*/ 3878264 w 6884782"/>
              <a:gd name="connsiteY51772" fmla="*/ 1572356 h 5973007"/>
              <a:gd name="connsiteX51773" fmla="*/ 3880398 w 6884782"/>
              <a:gd name="connsiteY51773" fmla="*/ 1563108 h 5973007"/>
              <a:gd name="connsiteX51774" fmla="*/ 3885093 w 6884782"/>
              <a:gd name="connsiteY51774" fmla="*/ 1563393 h 5973007"/>
              <a:gd name="connsiteX51775" fmla="*/ 3885733 w 6884782"/>
              <a:gd name="connsiteY51775" fmla="*/ 1558129 h 5973007"/>
              <a:gd name="connsiteX51776" fmla="*/ 3886800 w 6884782"/>
              <a:gd name="connsiteY51776" fmla="*/ 1557560 h 5973007"/>
              <a:gd name="connsiteX51777" fmla="*/ 1183317 w 6884782"/>
              <a:gd name="connsiteY51777" fmla="*/ 1557505 h 5973007"/>
              <a:gd name="connsiteX51778" fmla="*/ 1186827 w 6884782"/>
              <a:gd name="connsiteY51778" fmla="*/ 1569277 h 5973007"/>
              <a:gd name="connsiteX51779" fmla="*/ 1183730 w 6884782"/>
              <a:gd name="connsiteY51779" fmla="*/ 1571910 h 5973007"/>
              <a:gd name="connsiteX51780" fmla="*/ 1179290 w 6884782"/>
              <a:gd name="connsiteY51780" fmla="*/ 1562926 h 5973007"/>
              <a:gd name="connsiteX51781" fmla="*/ 1179599 w 6884782"/>
              <a:gd name="connsiteY51781" fmla="*/ 1559673 h 5973007"/>
              <a:gd name="connsiteX51782" fmla="*/ 1183317 w 6884782"/>
              <a:gd name="connsiteY51782" fmla="*/ 1557505 h 5973007"/>
              <a:gd name="connsiteX51783" fmla="*/ 3615971 w 6884782"/>
              <a:gd name="connsiteY51783" fmla="*/ 1557417 h 5973007"/>
              <a:gd name="connsiteX51784" fmla="*/ 3618958 w 6884782"/>
              <a:gd name="connsiteY51784" fmla="*/ 1557702 h 5973007"/>
              <a:gd name="connsiteX51785" fmla="*/ 3610208 w 6884782"/>
              <a:gd name="connsiteY51785" fmla="*/ 1569083 h 5973007"/>
              <a:gd name="connsiteX51786" fmla="*/ 3605726 w 6884782"/>
              <a:gd name="connsiteY51786" fmla="*/ 1563393 h 5973007"/>
              <a:gd name="connsiteX51787" fmla="*/ 3615971 w 6884782"/>
              <a:gd name="connsiteY51787" fmla="*/ 1557417 h 5973007"/>
              <a:gd name="connsiteX51788" fmla="*/ 1526850 w 6884782"/>
              <a:gd name="connsiteY51788" fmla="*/ 1557350 h 5973007"/>
              <a:gd name="connsiteX51789" fmla="*/ 1530154 w 6884782"/>
              <a:gd name="connsiteY51789" fmla="*/ 1559519 h 5973007"/>
              <a:gd name="connsiteX51790" fmla="*/ 1526643 w 6884782"/>
              <a:gd name="connsiteY51790" fmla="*/ 1563236 h 5973007"/>
              <a:gd name="connsiteX51791" fmla="*/ 1523339 w 6884782"/>
              <a:gd name="connsiteY51791" fmla="*/ 1561067 h 5973007"/>
              <a:gd name="connsiteX51792" fmla="*/ 1526850 w 6884782"/>
              <a:gd name="connsiteY51792" fmla="*/ 1557350 h 5973007"/>
              <a:gd name="connsiteX51793" fmla="*/ 6004992 w 6884782"/>
              <a:gd name="connsiteY51793" fmla="*/ 1556991 h 5973007"/>
              <a:gd name="connsiteX51794" fmla="*/ 6006485 w 6884782"/>
              <a:gd name="connsiteY51794" fmla="*/ 1559409 h 5973007"/>
              <a:gd name="connsiteX51795" fmla="*/ 6002430 w 6884782"/>
              <a:gd name="connsiteY51795" fmla="*/ 1563108 h 5973007"/>
              <a:gd name="connsiteX51796" fmla="*/ 6002644 w 6884782"/>
              <a:gd name="connsiteY51796" fmla="*/ 1564388 h 5973007"/>
              <a:gd name="connsiteX51797" fmla="*/ 6005205 w 6884782"/>
              <a:gd name="connsiteY51797" fmla="*/ 1566665 h 5973007"/>
              <a:gd name="connsiteX51798" fmla="*/ 6006912 w 6884782"/>
              <a:gd name="connsiteY51798" fmla="*/ 1578616 h 5973007"/>
              <a:gd name="connsiteX51799" fmla="*/ 5994747 w 6884782"/>
              <a:gd name="connsiteY51799" fmla="*/ 1582883 h 5973007"/>
              <a:gd name="connsiteX51800" fmla="*/ 5988558 w 6884782"/>
              <a:gd name="connsiteY51800" fmla="*/ 1579611 h 5973007"/>
              <a:gd name="connsiteX51801" fmla="*/ 5987704 w 6884782"/>
              <a:gd name="connsiteY51801" fmla="*/ 1565242 h 5973007"/>
              <a:gd name="connsiteX51802" fmla="*/ 5999869 w 6884782"/>
              <a:gd name="connsiteY51802" fmla="*/ 1562255 h 5973007"/>
              <a:gd name="connsiteX51803" fmla="*/ 6000723 w 6884782"/>
              <a:gd name="connsiteY51803" fmla="*/ 1559694 h 5973007"/>
              <a:gd name="connsiteX51804" fmla="*/ 6004992 w 6884782"/>
              <a:gd name="connsiteY51804" fmla="*/ 1556991 h 5973007"/>
              <a:gd name="connsiteX51805" fmla="*/ 4128178 w 6884782"/>
              <a:gd name="connsiteY51805" fmla="*/ 1556991 h 5973007"/>
              <a:gd name="connsiteX51806" fmla="*/ 4132233 w 6884782"/>
              <a:gd name="connsiteY51806" fmla="*/ 1559551 h 5973007"/>
              <a:gd name="connsiteX51807" fmla="*/ 4123696 w 6884782"/>
              <a:gd name="connsiteY51807" fmla="*/ 1557275 h 5973007"/>
              <a:gd name="connsiteX51808" fmla="*/ 4128178 w 6884782"/>
              <a:gd name="connsiteY51808" fmla="*/ 1556991 h 5973007"/>
              <a:gd name="connsiteX51809" fmla="*/ 1797381 w 6884782"/>
              <a:gd name="connsiteY51809" fmla="*/ 1556730 h 5973007"/>
              <a:gd name="connsiteX51810" fmla="*/ 1803473 w 6884782"/>
              <a:gd name="connsiteY51810" fmla="*/ 1559053 h 5973007"/>
              <a:gd name="connsiteX51811" fmla="*/ 1796142 w 6884782"/>
              <a:gd name="connsiteY51811" fmla="*/ 1559363 h 5973007"/>
              <a:gd name="connsiteX51812" fmla="*/ 1797381 w 6884782"/>
              <a:gd name="connsiteY51812" fmla="*/ 1556730 h 5973007"/>
              <a:gd name="connsiteX51813" fmla="*/ 1557414 w 6884782"/>
              <a:gd name="connsiteY51813" fmla="*/ 1556420 h 5973007"/>
              <a:gd name="connsiteX51814" fmla="*/ 1549050 w 6884782"/>
              <a:gd name="connsiteY51814" fmla="*/ 1567883 h 5973007"/>
              <a:gd name="connsiteX51815" fmla="*/ 1546469 w 6884782"/>
              <a:gd name="connsiteY51815" fmla="*/ 1567263 h 5973007"/>
              <a:gd name="connsiteX51816" fmla="*/ 1548224 w 6884782"/>
              <a:gd name="connsiteY51816" fmla="*/ 1568657 h 5973007"/>
              <a:gd name="connsiteX51817" fmla="*/ 1551012 w 6884782"/>
              <a:gd name="connsiteY51817" fmla="*/ 1585386 h 5973007"/>
              <a:gd name="connsiteX51818" fmla="*/ 1542235 w 6884782"/>
              <a:gd name="connsiteY51818" fmla="*/ 1569896 h 5973007"/>
              <a:gd name="connsiteX51819" fmla="*/ 1543474 w 6884782"/>
              <a:gd name="connsiteY51819" fmla="*/ 1564785 h 5973007"/>
              <a:gd name="connsiteX51820" fmla="*/ 1544713 w 6884782"/>
              <a:gd name="connsiteY51820" fmla="*/ 1565869 h 5973007"/>
              <a:gd name="connsiteX51821" fmla="*/ 1550083 w 6884782"/>
              <a:gd name="connsiteY51821" fmla="*/ 1560912 h 5973007"/>
              <a:gd name="connsiteX51822" fmla="*/ 1557414 w 6884782"/>
              <a:gd name="connsiteY51822" fmla="*/ 1556420 h 5973007"/>
              <a:gd name="connsiteX51823" fmla="*/ 954294 w 6884782"/>
              <a:gd name="connsiteY51823" fmla="*/ 1556420 h 5973007"/>
              <a:gd name="connsiteX51824" fmla="*/ 955740 w 6884782"/>
              <a:gd name="connsiteY51824" fmla="*/ 1556885 h 5973007"/>
              <a:gd name="connsiteX51825" fmla="*/ 957392 w 6884782"/>
              <a:gd name="connsiteY51825" fmla="*/ 1558279 h 5973007"/>
              <a:gd name="connsiteX51826" fmla="*/ 954397 w 6884782"/>
              <a:gd name="connsiteY51826" fmla="*/ 1561222 h 5973007"/>
              <a:gd name="connsiteX51827" fmla="*/ 951713 w 6884782"/>
              <a:gd name="connsiteY51827" fmla="*/ 1560448 h 5973007"/>
              <a:gd name="connsiteX51828" fmla="*/ 951196 w 6884782"/>
              <a:gd name="connsiteY51828" fmla="*/ 1559053 h 5973007"/>
              <a:gd name="connsiteX51829" fmla="*/ 952229 w 6884782"/>
              <a:gd name="connsiteY51829" fmla="*/ 1557969 h 5973007"/>
              <a:gd name="connsiteX51830" fmla="*/ 954294 w 6884782"/>
              <a:gd name="connsiteY51830" fmla="*/ 1556420 h 5973007"/>
              <a:gd name="connsiteX51831" fmla="*/ 936534 w 6884782"/>
              <a:gd name="connsiteY51831" fmla="*/ 1556265 h 5973007"/>
              <a:gd name="connsiteX51832" fmla="*/ 944382 w 6884782"/>
              <a:gd name="connsiteY51832" fmla="*/ 1561842 h 5973007"/>
              <a:gd name="connsiteX51833" fmla="*/ 934263 w 6884782"/>
              <a:gd name="connsiteY51833" fmla="*/ 1560293 h 5973007"/>
              <a:gd name="connsiteX51834" fmla="*/ 936534 w 6884782"/>
              <a:gd name="connsiteY51834" fmla="*/ 1556265 h 5973007"/>
              <a:gd name="connsiteX51835" fmla="*/ 1492362 w 6884782"/>
              <a:gd name="connsiteY51835" fmla="*/ 1555955 h 5973007"/>
              <a:gd name="connsiteX51836" fmla="*/ 1489471 w 6884782"/>
              <a:gd name="connsiteY51836" fmla="*/ 1563081 h 5973007"/>
              <a:gd name="connsiteX51837" fmla="*/ 1487509 w 6884782"/>
              <a:gd name="connsiteY51837" fmla="*/ 1563546 h 5973007"/>
              <a:gd name="connsiteX51838" fmla="*/ 1486580 w 6884782"/>
              <a:gd name="connsiteY51838" fmla="*/ 1561222 h 5973007"/>
              <a:gd name="connsiteX51839" fmla="*/ 1491020 w 6884782"/>
              <a:gd name="connsiteY51839" fmla="*/ 1556265 h 5973007"/>
              <a:gd name="connsiteX51840" fmla="*/ 1492362 w 6884782"/>
              <a:gd name="connsiteY51840" fmla="*/ 1555955 h 5973007"/>
              <a:gd name="connsiteX51841" fmla="*/ 3730150 w 6884782"/>
              <a:gd name="connsiteY51841" fmla="*/ 1555568 h 5973007"/>
              <a:gd name="connsiteX51842" fmla="*/ 3731644 w 6884782"/>
              <a:gd name="connsiteY51842" fmla="*/ 1563820 h 5973007"/>
              <a:gd name="connsiteX51843" fmla="*/ 3728656 w 6884782"/>
              <a:gd name="connsiteY51843" fmla="*/ 1574063 h 5973007"/>
              <a:gd name="connsiteX51844" fmla="*/ 3727376 w 6884782"/>
              <a:gd name="connsiteY51844" fmla="*/ 1572925 h 5973007"/>
              <a:gd name="connsiteX51845" fmla="*/ 3730150 w 6884782"/>
              <a:gd name="connsiteY51845" fmla="*/ 1555568 h 5973007"/>
              <a:gd name="connsiteX51846" fmla="*/ 1125906 w 6884782"/>
              <a:gd name="connsiteY51846" fmla="*/ 1555336 h 5973007"/>
              <a:gd name="connsiteX51847" fmla="*/ 1126629 w 6884782"/>
              <a:gd name="connsiteY51847" fmla="*/ 1560293 h 5973007"/>
              <a:gd name="connsiteX51848" fmla="*/ 1126422 w 6884782"/>
              <a:gd name="connsiteY51848" fmla="*/ 1564475 h 5973007"/>
              <a:gd name="connsiteX51849" fmla="*/ 1122292 w 6884782"/>
              <a:gd name="connsiteY51849" fmla="*/ 1577951 h 5973007"/>
              <a:gd name="connsiteX51850" fmla="*/ 1121466 w 6884782"/>
              <a:gd name="connsiteY51850" fmla="*/ 1572220 h 5973007"/>
              <a:gd name="connsiteX51851" fmla="*/ 1122292 w 6884782"/>
              <a:gd name="connsiteY51851" fmla="*/ 1558899 h 5973007"/>
              <a:gd name="connsiteX51852" fmla="*/ 1124047 w 6884782"/>
              <a:gd name="connsiteY51852" fmla="*/ 1557195 h 5973007"/>
              <a:gd name="connsiteX51853" fmla="*/ 1124151 w 6884782"/>
              <a:gd name="connsiteY51853" fmla="*/ 1556265 h 5973007"/>
              <a:gd name="connsiteX51854" fmla="*/ 1125906 w 6884782"/>
              <a:gd name="connsiteY51854" fmla="*/ 1555336 h 5973007"/>
              <a:gd name="connsiteX51855" fmla="*/ 4252388 w 6884782"/>
              <a:gd name="connsiteY51855" fmla="*/ 1554857 h 5973007"/>
              <a:gd name="connsiteX51856" fmla="*/ 4255376 w 6884782"/>
              <a:gd name="connsiteY51856" fmla="*/ 1554857 h 5973007"/>
              <a:gd name="connsiteX51857" fmla="*/ 4246840 w 6884782"/>
              <a:gd name="connsiteY51857" fmla="*/ 1562966 h 5973007"/>
              <a:gd name="connsiteX51858" fmla="*/ 4252388 w 6884782"/>
              <a:gd name="connsiteY51858" fmla="*/ 1554857 h 5973007"/>
              <a:gd name="connsiteX51859" fmla="*/ 1297311 w 6884782"/>
              <a:gd name="connsiteY51859" fmla="*/ 1554717 h 5973007"/>
              <a:gd name="connsiteX51860" fmla="*/ 1305985 w 6884782"/>
              <a:gd name="connsiteY51860" fmla="*/ 1565405 h 5973007"/>
              <a:gd name="connsiteX51861" fmla="*/ 1298034 w 6884782"/>
              <a:gd name="connsiteY51861" fmla="*/ 1566488 h 5973007"/>
              <a:gd name="connsiteX51862" fmla="*/ 1295143 w 6884782"/>
              <a:gd name="connsiteY51862" fmla="*/ 1560138 h 5973007"/>
              <a:gd name="connsiteX51863" fmla="*/ 1297311 w 6884782"/>
              <a:gd name="connsiteY51863" fmla="*/ 1554717 h 5973007"/>
              <a:gd name="connsiteX51864" fmla="*/ 4578067 w 6884782"/>
              <a:gd name="connsiteY51864" fmla="*/ 1554714 h 5973007"/>
              <a:gd name="connsiteX51865" fmla="*/ 4581268 w 6884782"/>
              <a:gd name="connsiteY51865" fmla="*/ 1554857 h 5973007"/>
              <a:gd name="connsiteX51866" fmla="*/ 4585963 w 6884782"/>
              <a:gd name="connsiteY51866" fmla="*/ 1562255 h 5973007"/>
              <a:gd name="connsiteX51867" fmla="*/ 4579348 w 6884782"/>
              <a:gd name="connsiteY51867" fmla="*/ 1562255 h 5973007"/>
              <a:gd name="connsiteX51868" fmla="*/ 4578067 w 6884782"/>
              <a:gd name="connsiteY51868" fmla="*/ 1560974 h 5973007"/>
              <a:gd name="connsiteX51869" fmla="*/ 4577213 w 6884782"/>
              <a:gd name="connsiteY51869" fmla="*/ 1560121 h 5973007"/>
              <a:gd name="connsiteX51870" fmla="*/ 4575079 w 6884782"/>
              <a:gd name="connsiteY51870" fmla="*/ 1557702 h 5973007"/>
              <a:gd name="connsiteX51871" fmla="*/ 4578067 w 6884782"/>
              <a:gd name="connsiteY51871" fmla="*/ 1554714 h 5973007"/>
              <a:gd name="connsiteX51872" fmla="*/ 3735913 w 6884782"/>
              <a:gd name="connsiteY51872" fmla="*/ 1554430 h 5973007"/>
              <a:gd name="connsiteX51873" fmla="*/ 3738260 w 6884782"/>
              <a:gd name="connsiteY51873" fmla="*/ 1557986 h 5973007"/>
              <a:gd name="connsiteX51874" fmla="*/ 3740608 w 6884782"/>
              <a:gd name="connsiteY51874" fmla="*/ 1556991 h 5973007"/>
              <a:gd name="connsiteX51875" fmla="*/ 3741889 w 6884782"/>
              <a:gd name="connsiteY51875" fmla="*/ 1558129 h 5973007"/>
              <a:gd name="connsiteX51876" fmla="*/ 3740821 w 6884782"/>
              <a:gd name="connsiteY51876" fmla="*/ 1561686 h 5973007"/>
              <a:gd name="connsiteX51877" fmla="*/ 3736126 w 6884782"/>
              <a:gd name="connsiteY51877" fmla="*/ 1556706 h 5973007"/>
              <a:gd name="connsiteX51878" fmla="*/ 3733565 w 6884782"/>
              <a:gd name="connsiteY51878" fmla="*/ 1555426 h 5973007"/>
              <a:gd name="connsiteX51879" fmla="*/ 3735913 w 6884782"/>
              <a:gd name="connsiteY51879" fmla="*/ 1554430 h 5973007"/>
              <a:gd name="connsiteX51880" fmla="*/ 1314762 w 6884782"/>
              <a:gd name="connsiteY51880" fmla="*/ 1553477 h 5973007"/>
              <a:gd name="connsiteX51881" fmla="*/ 1315794 w 6884782"/>
              <a:gd name="connsiteY51881" fmla="*/ 1562307 h 5973007"/>
              <a:gd name="connsiteX51882" fmla="*/ 1309083 w 6884782"/>
              <a:gd name="connsiteY51882" fmla="*/ 1557969 h 5973007"/>
              <a:gd name="connsiteX51883" fmla="*/ 1309908 w 6884782"/>
              <a:gd name="connsiteY51883" fmla="*/ 1555026 h 5973007"/>
              <a:gd name="connsiteX51884" fmla="*/ 1314762 w 6884782"/>
              <a:gd name="connsiteY51884" fmla="*/ 1553477 h 5973007"/>
              <a:gd name="connsiteX51885" fmla="*/ 5586902 w 6884782"/>
              <a:gd name="connsiteY51885" fmla="*/ 1552722 h 5973007"/>
              <a:gd name="connsiteX51886" fmla="*/ 5590530 w 6884782"/>
              <a:gd name="connsiteY51886" fmla="*/ 1553434 h 5973007"/>
              <a:gd name="connsiteX51887" fmla="*/ 5592665 w 6884782"/>
              <a:gd name="connsiteY51887" fmla="*/ 1555852 h 5973007"/>
              <a:gd name="connsiteX51888" fmla="*/ 5592025 w 6884782"/>
              <a:gd name="connsiteY51888" fmla="*/ 1562966 h 5973007"/>
              <a:gd name="connsiteX51889" fmla="*/ 5581567 w 6884782"/>
              <a:gd name="connsiteY51889" fmla="*/ 1562824 h 5973007"/>
              <a:gd name="connsiteX51890" fmla="*/ 5583701 w 6884782"/>
              <a:gd name="connsiteY51890" fmla="*/ 1554572 h 5973007"/>
              <a:gd name="connsiteX51891" fmla="*/ 5586902 w 6884782"/>
              <a:gd name="connsiteY51891" fmla="*/ 1552722 h 5973007"/>
              <a:gd name="connsiteX51892" fmla="*/ 4975881 w 6884782"/>
              <a:gd name="connsiteY51892" fmla="*/ 1552296 h 5973007"/>
              <a:gd name="connsiteX51893" fmla="*/ 4976949 w 6884782"/>
              <a:gd name="connsiteY51893" fmla="*/ 1553861 h 5973007"/>
              <a:gd name="connsiteX51894" fmla="*/ 4977589 w 6884782"/>
              <a:gd name="connsiteY51894" fmla="*/ 1556564 h 5973007"/>
              <a:gd name="connsiteX51895" fmla="*/ 4971826 w 6884782"/>
              <a:gd name="connsiteY51895" fmla="*/ 1558129 h 5973007"/>
              <a:gd name="connsiteX51896" fmla="*/ 4969479 w 6884782"/>
              <a:gd name="connsiteY51896" fmla="*/ 1555568 h 5973007"/>
              <a:gd name="connsiteX51897" fmla="*/ 4972253 w 6884782"/>
              <a:gd name="connsiteY51897" fmla="*/ 1552865 h 5973007"/>
              <a:gd name="connsiteX51898" fmla="*/ 4975881 w 6884782"/>
              <a:gd name="connsiteY51898" fmla="*/ 1552296 h 5973007"/>
              <a:gd name="connsiteX51899" fmla="*/ 4585536 w 6884782"/>
              <a:gd name="connsiteY51899" fmla="*/ 1552154 h 5973007"/>
              <a:gd name="connsiteX51900" fmla="*/ 4588951 w 6884782"/>
              <a:gd name="connsiteY51900" fmla="*/ 1554430 h 5973007"/>
              <a:gd name="connsiteX51901" fmla="*/ 4588311 w 6884782"/>
              <a:gd name="connsiteY51901" fmla="*/ 1555426 h 5973007"/>
              <a:gd name="connsiteX51902" fmla="*/ 4585536 w 6884782"/>
              <a:gd name="connsiteY51902" fmla="*/ 1552154 h 5973007"/>
              <a:gd name="connsiteX51903" fmla="*/ 1474912 w 6884782"/>
              <a:gd name="connsiteY51903" fmla="*/ 1551774 h 5973007"/>
              <a:gd name="connsiteX51904" fmla="*/ 1476564 w 6884782"/>
              <a:gd name="connsiteY51904" fmla="*/ 1551774 h 5973007"/>
              <a:gd name="connsiteX51905" fmla="*/ 1474086 w 6884782"/>
              <a:gd name="connsiteY51905" fmla="*/ 1556885 h 5973007"/>
              <a:gd name="connsiteX51906" fmla="*/ 1471401 w 6884782"/>
              <a:gd name="connsiteY51906" fmla="*/ 1557659 h 5973007"/>
              <a:gd name="connsiteX51907" fmla="*/ 1471401 w 6884782"/>
              <a:gd name="connsiteY51907" fmla="*/ 1555955 h 5973007"/>
              <a:gd name="connsiteX51908" fmla="*/ 1471918 w 6884782"/>
              <a:gd name="connsiteY51908" fmla="*/ 1555026 h 5973007"/>
              <a:gd name="connsiteX51909" fmla="*/ 1473673 w 6884782"/>
              <a:gd name="connsiteY51909" fmla="*/ 1554251 h 5973007"/>
              <a:gd name="connsiteX51910" fmla="*/ 1474912 w 6884782"/>
              <a:gd name="connsiteY51910" fmla="*/ 1551774 h 5973007"/>
              <a:gd name="connsiteX51911" fmla="*/ 1821027 w 6884782"/>
              <a:gd name="connsiteY51911" fmla="*/ 1551309 h 5973007"/>
              <a:gd name="connsiteX51912" fmla="*/ 1832592 w 6884782"/>
              <a:gd name="connsiteY51912" fmla="*/ 1570981 h 5973007"/>
              <a:gd name="connsiteX51913" fmla="*/ 1812354 w 6884782"/>
              <a:gd name="connsiteY51913" fmla="*/ 1559208 h 5973007"/>
              <a:gd name="connsiteX51914" fmla="*/ 1821027 w 6884782"/>
              <a:gd name="connsiteY51914" fmla="*/ 1551309 h 5973007"/>
              <a:gd name="connsiteX51915" fmla="*/ 3847104 w 6884782"/>
              <a:gd name="connsiteY51915" fmla="*/ 1551300 h 5973007"/>
              <a:gd name="connsiteX51916" fmla="*/ 3848811 w 6884782"/>
              <a:gd name="connsiteY51916" fmla="*/ 1556991 h 5973007"/>
              <a:gd name="connsiteX51917" fmla="*/ 3843903 w 6884782"/>
              <a:gd name="connsiteY51917" fmla="*/ 1557702 h 5973007"/>
              <a:gd name="connsiteX51918" fmla="*/ 3841769 w 6884782"/>
              <a:gd name="connsiteY51918" fmla="*/ 1554857 h 5973007"/>
              <a:gd name="connsiteX51919" fmla="*/ 3842836 w 6884782"/>
              <a:gd name="connsiteY51919" fmla="*/ 1554430 h 5973007"/>
              <a:gd name="connsiteX51920" fmla="*/ 3847104 w 6884782"/>
              <a:gd name="connsiteY51920" fmla="*/ 1551300 h 5973007"/>
              <a:gd name="connsiteX51921" fmla="*/ 4091470 w 6884782"/>
              <a:gd name="connsiteY51921" fmla="*/ 1550731 h 5973007"/>
              <a:gd name="connsiteX51922" fmla="*/ 4089122 w 6884782"/>
              <a:gd name="connsiteY51922" fmla="*/ 1562112 h 5973007"/>
              <a:gd name="connsiteX51923" fmla="*/ 4091470 w 6884782"/>
              <a:gd name="connsiteY51923" fmla="*/ 1550731 h 5973007"/>
              <a:gd name="connsiteX51924" fmla="*/ 3629203 w 6884782"/>
              <a:gd name="connsiteY51924" fmla="*/ 1550304 h 5973007"/>
              <a:gd name="connsiteX51925" fmla="*/ 3634324 w 6884782"/>
              <a:gd name="connsiteY51925" fmla="*/ 1553861 h 5973007"/>
              <a:gd name="connsiteX51926" fmla="*/ 3633898 w 6884782"/>
              <a:gd name="connsiteY51926" fmla="*/ 1556706 h 5973007"/>
              <a:gd name="connsiteX51927" fmla="*/ 3632831 w 6884782"/>
              <a:gd name="connsiteY51927" fmla="*/ 1557417 h 5973007"/>
              <a:gd name="connsiteX51928" fmla="*/ 3628989 w 6884782"/>
              <a:gd name="connsiteY51928" fmla="*/ 1559978 h 5973007"/>
              <a:gd name="connsiteX51929" fmla="*/ 3624294 w 6884782"/>
              <a:gd name="connsiteY51929" fmla="*/ 1556137 h 5973007"/>
              <a:gd name="connsiteX51930" fmla="*/ 3629203 w 6884782"/>
              <a:gd name="connsiteY51930" fmla="*/ 1550304 h 5973007"/>
              <a:gd name="connsiteX51931" fmla="*/ 3533804 w 6884782"/>
              <a:gd name="connsiteY51931" fmla="*/ 1549877 h 5973007"/>
              <a:gd name="connsiteX51932" fmla="*/ 3538073 w 6884782"/>
              <a:gd name="connsiteY51932" fmla="*/ 1552296 h 5973007"/>
              <a:gd name="connsiteX51933" fmla="*/ 3537646 w 6884782"/>
              <a:gd name="connsiteY51933" fmla="*/ 1555995 h 5973007"/>
              <a:gd name="connsiteX51934" fmla="*/ 3533804 w 6884782"/>
              <a:gd name="connsiteY51934" fmla="*/ 1549877 h 5973007"/>
              <a:gd name="connsiteX51935" fmla="*/ 6110634 w 6884782"/>
              <a:gd name="connsiteY51935" fmla="*/ 1549593 h 5973007"/>
              <a:gd name="connsiteX51936" fmla="*/ 6112768 w 6884782"/>
              <a:gd name="connsiteY51936" fmla="*/ 1550020 h 5973007"/>
              <a:gd name="connsiteX51937" fmla="*/ 6113835 w 6884782"/>
              <a:gd name="connsiteY51937" fmla="*/ 1552438 h 5973007"/>
              <a:gd name="connsiteX51938" fmla="*/ 6113409 w 6884782"/>
              <a:gd name="connsiteY51938" fmla="*/ 1557275 h 5973007"/>
              <a:gd name="connsiteX51939" fmla="*/ 6110634 w 6884782"/>
              <a:gd name="connsiteY51939" fmla="*/ 1559551 h 5973007"/>
              <a:gd name="connsiteX51940" fmla="*/ 6108500 w 6884782"/>
              <a:gd name="connsiteY51940" fmla="*/ 1558414 h 5973007"/>
              <a:gd name="connsiteX51941" fmla="*/ 6106366 w 6884782"/>
              <a:gd name="connsiteY51941" fmla="*/ 1558414 h 5973007"/>
              <a:gd name="connsiteX51942" fmla="*/ 6106366 w 6884782"/>
              <a:gd name="connsiteY51942" fmla="*/ 1557133 h 5973007"/>
              <a:gd name="connsiteX51943" fmla="*/ 6105512 w 6884782"/>
              <a:gd name="connsiteY51943" fmla="*/ 1555995 h 5973007"/>
              <a:gd name="connsiteX51944" fmla="*/ 6108073 w 6884782"/>
              <a:gd name="connsiteY51944" fmla="*/ 1551015 h 5973007"/>
              <a:gd name="connsiteX51945" fmla="*/ 6110634 w 6884782"/>
              <a:gd name="connsiteY51945" fmla="*/ 1549593 h 5973007"/>
              <a:gd name="connsiteX51946" fmla="*/ 4551390 w 6884782"/>
              <a:gd name="connsiteY51946" fmla="*/ 1549450 h 5973007"/>
              <a:gd name="connsiteX51947" fmla="*/ 4555018 w 6884782"/>
              <a:gd name="connsiteY51947" fmla="*/ 1551442 h 5973007"/>
              <a:gd name="connsiteX51948" fmla="*/ 4556298 w 6884782"/>
              <a:gd name="connsiteY51948" fmla="*/ 1554857 h 5973007"/>
              <a:gd name="connsiteX51949" fmla="*/ 4550749 w 6884782"/>
              <a:gd name="connsiteY51949" fmla="*/ 1558698 h 5973007"/>
              <a:gd name="connsiteX51950" fmla="*/ 4548828 w 6884782"/>
              <a:gd name="connsiteY51950" fmla="*/ 1549593 h 5973007"/>
              <a:gd name="connsiteX51951" fmla="*/ 4551390 w 6884782"/>
              <a:gd name="connsiteY51951" fmla="*/ 1549450 h 5973007"/>
              <a:gd name="connsiteX51952" fmla="*/ 1122705 w 6884782"/>
              <a:gd name="connsiteY51952" fmla="*/ 1549295 h 5973007"/>
              <a:gd name="connsiteX51953" fmla="*/ 1128074 w 6884782"/>
              <a:gd name="connsiteY51953" fmla="*/ 1549915 h 5973007"/>
              <a:gd name="connsiteX51954" fmla="*/ 1127868 w 6884782"/>
              <a:gd name="connsiteY51954" fmla="*/ 1553632 h 5973007"/>
              <a:gd name="connsiteX51955" fmla="*/ 1122499 w 6884782"/>
              <a:gd name="connsiteY51955" fmla="*/ 1553013 h 5973007"/>
              <a:gd name="connsiteX51956" fmla="*/ 1122705 w 6884782"/>
              <a:gd name="connsiteY51956" fmla="*/ 1549295 h 5973007"/>
              <a:gd name="connsiteX51957" fmla="*/ 4019974 w 6884782"/>
              <a:gd name="connsiteY51957" fmla="*/ 1549166 h 5973007"/>
              <a:gd name="connsiteX51958" fmla="*/ 4021895 w 6884782"/>
              <a:gd name="connsiteY51958" fmla="*/ 1550589 h 5973007"/>
              <a:gd name="connsiteX51959" fmla="*/ 4025950 w 6884782"/>
              <a:gd name="connsiteY51959" fmla="*/ 1554145 h 5973007"/>
              <a:gd name="connsiteX51960" fmla="*/ 4018267 w 6884782"/>
              <a:gd name="connsiteY51960" fmla="*/ 1549593 h 5973007"/>
              <a:gd name="connsiteX51961" fmla="*/ 4019974 w 6884782"/>
              <a:gd name="connsiteY51961" fmla="*/ 1549166 h 5973007"/>
              <a:gd name="connsiteX51962" fmla="*/ 1329863 w 6884782"/>
              <a:gd name="connsiteY51962" fmla="*/ 1549024 h 5973007"/>
              <a:gd name="connsiteX51963" fmla="*/ 1334897 w 6884782"/>
              <a:gd name="connsiteY51963" fmla="*/ 1549450 h 5973007"/>
              <a:gd name="connsiteX51964" fmla="*/ 1325294 w 6884782"/>
              <a:gd name="connsiteY51964" fmla="*/ 1556885 h 5973007"/>
              <a:gd name="connsiteX51965" fmla="*/ 1325603 w 6884782"/>
              <a:gd name="connsiteY51965" fmla="*/ 1551618 h 5973007"/>
              <a:gd name="connsiteX51966" fmla="*/ 1329863 w 6884782"/>
              <a:gd name="connsiteY51966" fmla="*/ 1549024 h 5973007"/>
              <a:gd name="connsiteX51967" fmla="*/ 1294420 w 6884782"/>
              <a:gd name="connsiteY51967" fmla="*/ 1548676 h 5973007"/>
              <a:gd name="connsiteX51968" fmla="*/ 1295659 w 6884782"/>
              <a:gd name="connsiteY51968" fmla="*/ 1548830 h 5973007"/>
              <a:gd name="connsiteX51969" fmla="*/ 1296176 w 6884782"/>
              <a:gd name="connsiteY51969" fmla="*/ 1551309 h 5973007"/>
              <a:gd name="connsiteX51970" fmla="*/ 1291529 w 6884782"/>
              <a:gd name="connsiteY51970" fmla="*/ 1550689 h 5973007"/>
              <a:gd name="connsiteX51971" fmla="*/ 1289567 w 6884782"/>
              <a:gd name="connsiteY51971" fmla="*/ 1550999 h 5973007"/>
              <a:gd name="connsiteX51972" fmla="*/ 1290600 w 6884782"/>
              <a:gd name="connsiteY51972" fmla="*/ 1549295 h 5973007"/>
              <a:gd name="connsiteX51973" fmla="*/ 1293388 w 6884782"/>
              <a:gd name="connsiteY51973" fmla="*/ 1550380 h 5973007"/>
              <a:gd name="connsiteX51974" fmla="*/ 1294420 w 6884782"/>
              <a:gd name="connsiteY51974" fmla="*/ 1548676 h 5973007"/>
              <a:gd name="connsiteX51975" fmla="*/ 4217387 w 6884782"/>
              <a:gd name="connsiteY51975" fmla="*/ 1548597 h 5973007"/>
              <a:gd name="connsiteX51976" fmla="*/ 4223577 w 6884782"/>
              <a:gd name="connsiteY51976" fmla="*/ 1554288 h 5973007"/>
              <a:gd name="connsiteX51977" fmla="*/ 4225711 w 6884782"/>
              <a:gd name="connsiteY51977" fmla="*/ 1558983 h 5973007"/>
              <a:gd name="connsiteX51978" fmla="*/ 4225284 w 6884782"/>
              <a:gd name="connsiteY51978" fmla="*/ 1564104 h 5973007"/>
              <a:gd name="connsiteX51979" fmla="*/ 4224644 w 6884782"/>
              <a:gd name="connsiteY51979" fmla="*/ 1572214 h 5973007"/>
              <a:gd name="connsiteX51980" fmla="*/ 4218882 w 6884782"/>
              <a:gd name="connsiteY51980" fmla="*/ 1572498 h 5973007"/>
              <a:gd name="connsiteX51981" fmla="*/ 4213546 w 6884782"/>
              <a:gd name="connsiteY51981" fmla="*/ 1550304 h 5973007"/>
              <a:gd name="connsiteX51982" fmla="*/ 4217387 w 6884782"/>
              <a:gd name="connsiteY51982" fmla="*/ 1548597 h 5973007"/>
              <a:gd name="connsiteX51983" fmla="*/ 5717729 w 6884782"/>
              <a:gd name="connsiteY51983" fmla="*/ 1548455 h 5973007"/>
              <a:gd name="connsiteX51984" fmla="*/ 5710045 w 6884782"/>
              <a:gd name="connsiteY51984" fmla="*/ 1555426 h 5973007"/>
              <a:gd name="connsiteX51985" fmla="*/ 5717729 w 6884782"/>
              <a:gd name="connsiteY51985" fmla="*/ 1548455 h 5973007"/>
              <a:gd name="connsiteX51986" fmla="*/ 1489161 w 6884782"/>
              <a:gd name="connsiteY51986" fmla="*/ 1547901 h 5973007"/>
              <a:gd name="connsiteX51987" fmla="*/ 1491227 w 6884782"/>
              <a:gd name="connsiteY51987" fmla="*/ 1548676 h 5973007"/>
              <a:gd name="connsiteX51988" fmla="*/ 1489678 w 6884782"/>
              <a:gd name="connsiteY51988" fmla="*/ 1552858 h 5973007"/>
              <a:gd name="connsiteX51989" fmla="*/ 1481521 w 6884782"/>
              <a:gd name="connsiteY51989" fmla="*/ 1554872 h 5973007"/>
              <a:gd name="connsiteX51990" fmla="*/ 1482037 w 6884782"/>
              <a:gd name="connsiteY51990" fmla="*/ 1551464 h 5973007"/>
              <a:gd name="connsiteX51991" fmla="*/ 1489161 w 6884782"/>
              <a:gd name="connsiteY51991" fmla="*/ 1547901 h 5973007"/>
              <a:gd name="connsiteX51992" fmla="*/ 3531883 w 6884782"/>
              <a:gd name="connsiteY51992" fmla="*/ 1547743 h 5973007"/>
              <a:gd name="connsiteX51993" fmla="*/ 3533164 w 6884782"/>
              <a:gd name="connsiteY51993" fmla="*/ 1549450 h 5973007"/>
              <a:gd name="connsiteX51994" fmla="*/ 3532523 w 6884782"/>
              <a:gd name="connsiteY51994" fmla="*/ 1550304 h 5973007"/>
              <a:gd name="connsiteX51995" fmla="*/ 3530816 w 6884782"/>
              <a:gd name="connsiteY51995" fmla="*/ 1548170 h 5973007"/>
              <a:gd name="connsiteX51996" fmla="*/ 3531883 w 6884782"/>
              <a:gd name="connsiteY51996" fmla="*/ 1547743 h 5973007"/>
              <a:gd name="connsiteX51997" fmla="*/ 5192929 w 6884782"/>
              <a:gd name="connsiteY51997" fmla="*/ 1546605 h 5973007"/>
              <a:gd name="connsiteX51998" fmla="*/ 5198051 w 6884782"/>
              <a:gd name="connsiteY51998" fmla="*/ 1546890 h 5973007"/>
              <a:gd name="connsiteX51999" fmla="*/ 5197198 w 6884782"/>
              <a:gd name="connsiteY51999" fmla="*/ 1554288 h 5973007"/>
              <a:gd name="connsiteX52000" fmla="*/ 5192076 w 6884782"/>
              <a:gd name="connsiteY52000" fmla="*/ 1554003 h 5973007"/>
              <a:gd name="connsiteX52001" fmla="*/ 5192929 w 6884782"/>
              <a:gd name="connsiteY52001" fmla="*/ 1546605 h 5973007"/>
              <a:gd name="connsiteX52002" fmla="*/ 4258151 w 6884782"/>
              <a:gd name="connsiteY52002" fmla="*/ 1546036 h 5973007"/>
              <a:gd name="connsiteX52003" fmla="*/ 4266261 w 6884782"/>
              <a:gd name="connsiteY52003" fmla="*/ 1556279 h 5973007"/>
              <a:gd name="connsiteX52004" fmla="*/ 4258151 w 6884782"/>
              <a:gd name="connsiteY52004" fmla="*/ 1555426 h 5973007"/>
              <a:gd name="connsiteX52005" fmla="*/ 4253669 w 6884782"/>
              <a:gd name="connsiteY52005" fmla="*/ 1546605 h 5973007"/>
              <a:gd name="connsiteX52006" fmla="*/ 4258151 w 6884782"/>
              <a:gd name="connsiteY52006" fmla="*/ 1546036 h 5973007"/>
              <a:gd name="connsiteX52007" fmla="*/ 5493851 w 6884782"/>
              <a:gd name="connsiteY52007" fmla="*/ 1545609 h 5973007"/>
              <a:gd name="connsiteX52008" fmla="*/ 5501534 w 6884782"/>
              <a:gd name="connsiteY52008" fmla="*/ 1560121 h 5973007"/>
              <a:gd name="connsiteX52009" fmla="*/ 5489796 w 6884782"/>
              <a:gd name="connsiteY52009" fmla="*/ 1558414 h 5973007"/>
              <a:gd name="connsiteX52010" fmla="*/ 5493851 w 6884782"/>
              <a:gd name="connsiteY52010" fmla="*/ 1545609 h 5973007"/>
              <a:gd name="connsiteX52011" fmla="*/ 5166465 w 6884782"/>
              <a:gd name="connsiteY52011" fmla="*/ 1545183 h 5973007"/>
              <a:gd name="connsiteX52012" fmla="*/ 5184819 w 6884782"/>
              <a:gd name="connsiteY52012" fmla="*/ 1546320 h 5973007"/>
              <a:gd name="connsiteX52013" fmla="*/ 5187167 w 6884782"/>
              <a:gd name="connsiteY52013" fmla="*/ 1548739 h 5973007"/>
              <a:gd name="connsiteX52014" fmla="*/ 5188448 w 6884782"/>
              <a:gd name="connsiteY52014" fmla="*/ 1548881 h 5973007"/>
              <a:gd name="connsiteX52015" fmla="*/ 5189728 w 6884782"/>
              <a:gd name="connsiteY52015" fmla="*/ 1551300 h 5973007"/>
              <a:gd name="connsiteX52016" fmla="*/ 5182898 w 6884782"/>
              <a:gd name="connsiteY52016" fmla="*/ 1552296 h 5973007"/>
              <a:gd name="connsiteX52017" fmla="*/ 5177136 w 6884782"/>
              <a:gd name="connsiteY52017" fmla="*/ 1552011 h 5973007"/>
              <a:gd name="connsiteX52018" fmla="*/ 5158568 w 6884782"/>
              <a:gd name="connsiteY52018" fmla="*/ 1546320 h 5973007"/>
              <a:gd name="connsiteX52019" fmla="*/ 5166465 w 6884782"/>
              <a:gd name="connsiteY52019" fmla="*/ 1545183 h 5973007"/>
              <a:gd name="connsiteX52020" fmla="*/ 5858372 w 6884782"/>
              <a:gd name="connsiteY52020" fmla="*/ 1544898 h 5973007"/>
              <a:gd name="connsiteX52021" fmla="*/ 5859226 w 6884782"/>
              <a:gd name="connsiteY52021" fmla="*/ 1545894 h 5973007"/>
              <a:gd name="connsiteX52022" fmla="*/ 5857092 w 6884782"/>
              <a:gd name="connsiteY52022" fmla="*/ 1545894 h 5973007"/>
              <a:gd name="connsiteX52023" fmla="*/ 5858372 w 6884782"/>
              <a:gd name="connsiteY52023" fmla="*/ 1544898 h 5973007"/>
              <a:gd name="connsiteX52024" fmla="*/ 4000767 w 6884782"/>
              <a:gd name="connsiteY52024" fmla="*/ 1544471 h 5973007"/>
              <a:gd name="connsiteX52025" fmla="*/ 4007596 w 6884782"/>
              <a:gd name="connsiteY52025" fmla="*/ 1546036 h 5973007"/>
              <a:gd name="connsiteX52026" fmla="*/ 3999913 w 6884782"/>
              <a:gd name="connsiteY52026" fmla="*/ 1552438 h 5973007"/>
              <a:gd name="connsiteX52027" fmla="*/ 4000767 w 6884782"/>
              <a:gd name="connsiteY52027" fmla="*/ 1544471 h 5973007"/>
              <a:gd name="connsiteX52028" fmla="*/ 3980705 w 6884782"/>
              <a:gd name="connsiteY52028" fmla="*/ 1544471 h 5973007"/>
              <a:gd name="connsiteX52029" fmla="*/ 3983053 w 6884782"/>
              <a:gd name="connsiteY52029" fmla="*/ 1546178 h 5973007"/>
              <a:gd name="connsiteX52030" fmla="*/ 3985827 w 6884782"/>
              <a:gd name="connsiteY52030" fmla="*/ 1550589 h 5973007"/>
              <a:gd name="connsiteX52031" fmla="*/ 3985614 w 6884782"/>
              <a:gd name="connsiteY52031" fmla="*/ 1552011 h 5973007"/>
              <a:gd name="connsiteX52032" fmla="*/ 3986467 w 6884782"/>
              <a:gd name="connsiteY52032" fmla="*/ 1551015 h 5973007"/>
              <a:gd name="connsiteX52033" fmla="*/ 3991162 w 6884782"/>
              <a:gd name="connsiteY52033" fmla="*/ 1550873 h 5973007"/>
              <a:gd name="connsiteX52034" fmla="*/ 3994150 w 6884782"/>
              <a:gd name="connsiteY52034" fmla="*/ 1552438 h 5973007"/>
              <a:gd name="connsiteX52035" fmla="*/ 3995217 w 6884782"/>
              <a:gd name="connsiteY52035" fmla="*/ 1556279 h 5973007"/>
              <a:gd name="connsiteX52036" fmla="*/ 3994364 w 6884782"/>
              <a:gd name="connsiteY52036" fmla="*/ 1559551 h 5973007"/>
              <a:gd name="connsiteX52037" fmla="*/ 3988175 w 6884782"/>
              <a:gd name="connsiteY52037" fmla="*/ 1563393 h 5973007"/>
              <a:gd name="connsiteX52038" fmla="*/ 3985827 w 6884782"/>
              <a:gd name="connsiteY52038" fmla="*/ 1560690 h 5973007"/>
              <a:gd name="connsiteX52039" fmla="*/ 3984546 w 6884782"/>
              <a:gd name="connsiteY52039" fmla="*/ 1562397 h 5973007"/>
              <a:gd name="connsiteX52040" fmla="*/ 3983053 w 6884782"/>
              <a:gd name="connsiteY52040" fmla="*/ 1563535 h 5973007"/>
              <a:gd name="connsiteX52041" fmla="*/ 3979638 w 6884782"/>
              <a:gd name="connsiteY52041" fmla="*/ 1558271 h 5973007"/>
              <a:gd name="connsiteX52042" fmla="*/ 3981986 w 6884782"/>
              <a:gd name="connsiteY52042" fmla="*/ 1557417 h 5973007"/>
              <a:gd name="connsiteX52043" fmla="*/ 3984120 w 6884782"/>
              <a:gd name="connsiteY52043" fmla="*/ 1556849 h 5973007"/>
              <a:gd name="connsiteX52044" fmla="*/ 3983479 w 6884782"/>
              <a:gd name="connsiteY52044" fmla="*/ 1554430 h 5973007"/>
              <a:gd name="connsiteX52045" fmla="*/ 3982626 w 6884782"/>
              <a:gd name="connsiteY52045" fmla="*/ 1554572 h 5973007"/>
              <a:gd name="connsiteX52046" fmla="*/ 3982626 w 6884782"/>
              <a:gd name="connsiteY52046" fmla="*/ 1555852 h 5973007"/>
              <a:gd name="connsiteX52047" fmla="*/ 3980278 w 6884782"/>
              <a:gd name="connsiteY52047" fmla="*/ 1554288 h 5973007"/>
              <a:gd name="connsiteX52048" fmla="*/ 3977290 w 6884782"/>
              <a:gd name="connsiteY52048" fmla="*/ 1545183 h 5973007"/>
              <a:gd name="connsiteX52049" fmla="*/ 3980705 w 6884782"/>
              <a:gd name="connsiteY52049" fmla="*/ 1544471 h 5973007"/>
              <a:gd name="connsiteX52050" fmla="*/ 5248845 w 6884782"/>
              <a:gd name="connsiteY52050" fmla="*/ 1544186 h 5973007"/>
              <a:gd name="connsiteX52051" fmla="*/ 5263145 w 6884782"/>
              <a:gd name="connsiteY52051" fmla="*/ 1555568 h 5973007"/>
              <a:gd name="connsiteX52052" fmla="*/ 5253967 w 6884782"/>
              <a:gd name="connsiteY52052" fmla="*/ 1560121 h 5973007"/>
              <a:gd name="connsiteX52053" fmla="*/ 5247778 w 6884782"/>
              <a:gd name="connsiteY52053" fmla="*/ 1556849 h 5973007"/>
              <a:gd name="connsiteX52054" fmla="*/ 5243510 w 6884782"/>
              <a:gd name="connsiteY52054" fmla="*/ 1546320 h 5973007"/>
              <a:gd name="connsiteX52055" fmla="*/ 5248845 w 6884782"/>
              <a:gd name="connsiteY52055" fmla="*/ 1544186 h 5973007"/>
              <a:gd name="connsiteX52056" fmla="*/ 1900225 w 6884782"/>
              <a:gd name="connsiteY52056" fmla="*/ 1543874 h 5973007"/>
              <a:gd name="connsiteX52057" fmla="*/ 1916333 w 6884782"/>
              <a:gd name="connsiteY52057" fmla="*/ 1564475 h 5973007"/>
              <a:gd name="connsiteX52058" fmla="*/ 1915816 w 6884782"/>
              <a:gd name="connsiteY52058" fmla="*/ 1554717 h 5973007"/>
              <a:gd name="connsiteX52059" fmla="*/ 1920669 w 6884782"/>
              <a:gd name="connsiteY52059" fmla="*/ 1557505 h 5973007"/>
              <a:gd name="connsiteX52060" fmla="*/ 1921186 w 6884782"/>
              <a:gd name="connsiteY52060" fmla="*/ 1557659 h 5973007"/>
              <a:gd name="connsiteX52061" fmla="*/ 1921805 w 6884782"/>
              <a:gd name="connsiteY52061" fmla="*/ 1556420 h 5973007"/>
              <a:gd name="connsiteX52062" fmla="*/ 1925006 w 6884782"/>
              <a:gd name="connsiteY52062" fmla="*/ 1558434 h 5973007"/>
              <a:gd name="connsiteX52063" fmla="*/ 1920669 w 6884782"/>
              <a:gd name="connsiteY52063" fmla="*/ 1554097 h 5973007"/>
              <a:gd name="connsiteX52064" fmla="*/ 1909931 w 6884782"/>
              <a:gd name="connsiteY52064" fmla="*/ 1551929 h 5973007"/>
              <a:gd name="connsiteX52065" fmla="*/ 1906110 w 6884782"/>
              <a:gd name="connsiteY52065" fmla="*/ 1544958 h 5973007"/>
              <a:gd name="connsiteX52066" fmla="*/ 1900225 w 6884782"/>
              <a:gd name="connsiteY52066" fmla="*/ 1543874 h 5973007"/>
              <a:gd name="connsiteX52067" fmla="*/ 1279655 w 6884782"/>
              <a:gd name="connsiteY52067" fmla="*/ 1543874 h 5973007"/>
              <a:gd name="connsiteX52068" fmla="*/ 1281616 w 6884782"/>
              <a:gd name="connsiteY52068" fmla="*/ 1544958 h 5973007"/>
              <a:gd name="connsiteX52069" fmla="*/ 1283785 w 6884782"/>
              <a:gd name="connsiteY52069" fmla="*/ 1545113 h 5973007"/>
              <a:gd name="connsiteX52070" fmla="*/ 1289774 w 6884782"/>
              <a:gd name="connsiteY52070" fmla="*/ 1545578 h 5973007"/>
              <a:gd name="connsiteX52071" fmla="*/ 1289980 w 6884782"/>
              <a:gd name="connsiteY52071" fmla="*/ 1549760 h 5973007"/>
              <a:gd name="connsiteX52072" fmla="*/ 1288018 w 6884782"/>
              <a:gd name="connsiteY52072" fmla="*/ 1550999 h 5973007"/>
              <a:gd name="connsiteX52073" fmla="*/ 1288948 w 6884782"/>
              <a:gd name="connsiteY52073" fmla="*/ 1553322 h 5973007"/>
              <a:gd name="connsiteX52074" fmla="*/ 1289774 w 6884782"/>
              <a:gd name="connsiteY52074" fmla="*/ 1553632 h 5973007"/>
              <a:gd name="connsiteX52075" fmla="*/ 1291219 w 6884782"/>
              <a:gd name="connsiteY52075" fmla="*/ 1556730 h 5973007"/>
              <a:gd name="connsiteX52076" fmla="*/ 1292768 w 6884782"/>
              <a:gd name="connsiteY52076" fmla="*/ 1564165 h 5973007"/>
              <a:gd name="connsiteX52077" fmla="*/ 1291529 w 6884782"/>
              <a:gd name="connsiteY52077" fmla="*/ 1564010 h 5973007"/>
              <a:gd name="connsiteX52078" fmla="*/ 1289154 w 6884782"/>
              <a:gd name="connsiteY52078" fmla="*/ 1558589 h 5973007"/>
              <a:gd name="connsiteX52079" fmla="*/ 1288638 w 6884782"/>
              <a:gd name="connsiteY52079" fmla="*/ 1556730 h 5973007"/>
              <a:gd name="connsiteX52080" fmla="*/ 1288018 w 6884782"/>
              <a:gd name="connsiteY52080" fmla="*/ 1560448 h 5973007"/>
              <a:gd name="connsiteX52081" fmla="*/ 1283578 w 6884782"/>
              <a:gd name="connsiteY52081" fmla="*/ 1566024 h 5973007"/>
              <a:gd name="connsiteX52082" fmla="*/ 1263443 w 6884782"/>
              <a:gd name="connsiteY52082" fmla="*/ 1564940 h 5973007"/>
              <a:gd name="connsiteX52083" fmla="*/ 1272943 w 6884782"/>
              <a:gd name="connsiteY52083" fmla="*/ 1544958 h 5973007"/>
              <a:gd name="connsiteX52084" fmla="*/ 1279655 w 6884782"/>
              <a:gd name="connsiteY52084" fmla="*/ 1543874 h 5973007"/>
              <a:gd name="connsiteX52085" fmla="*/ 1438566 w 6884782"/>
              <a:gd name="connsiteY52085" fmla="*/ 1543719 h 5973007"/>
              <a:gd name="connsiteX52086" fmla="*/ 1446310 w 6884782"/>
              <a:gd name="connsiteY52086" fmla="*/ 1555336 h 5973007"/>
              <a:gd name="connsiteX52087" fmla="*/ 1441457 w 6884782"/>
              <a:gd name="connsiteY52087" fmla="*/ 1557350 h 5973007"/>
              <a:gd name="connsiteX52088" fmla="*/ 1436914 w 6884782"/>
              <a:gd name="connsiteY52088" fmla="*/ 1546662 h 5973007"/>
              <a:gd name="connsiteX52089" fmla="*/ 1438566 w 6884782"/>
              <a:gd name="connsiteY52089" fmla="*/ 1543719 h 5973007"/>
              <a:gd name="connsiteX52090" fmla="*/ 5521809 w 6884782"/>
              <a:gd name="connsiteY52090" fmla="*/ 1543618 h 5973007"/>
              <a:gd name="connsiteX52091" fmla="*/ 5529065 w 6884782"/>
              <a:gd name="connsiteY52091" fmla="*/ 1543902 h 5973007"/>
              <a:gd name="connsiteX52092" fmla="*/ 5526077 w 6884782"/>
              <a:gd name="connsiteY52092" fmla="*/ 1558414 h 5973007"/>
              <a:gd name="connsiteX52093" fmla="*/ 5521169 w 6884782"/>
              <a:gd name="connsiteY52093" fmla="*/ 1558414 h 5973007"/>
              <a:gd name="connsiteX52094" fmla="*/ 5521809 w 6884782"/>
              <a:gd name="connsiteY52094" fmla="*/ 1543618 h 5973007"/>
              <a:gd name="connsiteX52095" fmla="*/ 5281499 w 6884782"/>
              <a:gd name="connsiteY52095" fmla="*/ 1543048 h 5973007"/>
              <a:gd name="connsiteX52096" fmla="*/ 5293450 w 6884782"/>
              <a:gd name="connsiteY52096" fmla="*/ 1546178 h 5973007"/>
              <a:gd name="connsiteX52097" fmla="*/ 5281925 w 6884782"/>
              <a:gd name="connsiteY52097" fmla="*/ 1557702 h 5973007"/>
              <a:gd name="connsiteX52098" fmla="*/ 5278511 w 6884782"/>
              <a:gd name="connsiteY52098" fmla="*/ 1553149 h 5973007"/>
              <a:gd name="connsiteX52099" fmla="*/ 5281499 w 6884782"/>
              <a:gd name="connsiteY52099" fmla="*/ 1543048 h 5973007"/>
              <a:gd name="connsiteX52100" fmla="*/ 3975583 w 6884782"/>
              <a:gd name="connsiteY52100" fmla="*/ 1542764 h 5973007"/>
              <a:gd name="connsiteX52101" fmla="*/ 3977077 w 6884782"/>
              <a:gd name="connsiteY52101" fmla="*/ 1542906 h 5973007"/>
              <a:gd name="connsiteX52102" fmla="*/ 3972595 w 6884782"/>
              <a:gd name="connsiteY52102" fmla="*/ 1546320 h 5973007"/>
              <a:gd name="connsiteX52103" fmla="*/ 3975583 w 6884782"/>
              <a:gd name="connsiteY52103" fmla="*/ 1542764 h 5973007"/>
              <a:gd name="connsiteX52104" fmla="*/ 5452448 w 6884782"/>
              <a:gd name="connsiteY52104" fmla="*/ 1542337 h 5973007"/>
              <a:gd name="connsiteX52105" fmla="*/ 5465466 w 6884782"/>
              <a:gd name="connsiteY52105" fmla="*/ 1554999 h 5973007"/>
              <a:gd name="connsiteX52106" fmla="*/ 5452448 w 6884782"/>
              <a:gd name="connsiteY52106" fmla="*/ 1542337 h 5973007"/>
              <a:gd name="connsiteX52107" fmla="*/ 1789637 w 6884782"/>
              <a:gd name="connsiteY52107" fmla="*/ 1541938 h 5973007"/>
              <a:gd name="connsiteX52108" fmla="*/ 1800995 w 6884782"/>
              <a:gd name="connsiteY52108" fmla="*/ 1547746 h 5973007"/>
              <a:gd name="connsiteX52109" fmla="*/ 1798001 w 6884782"/>
              <a:gd name="connsiteY52109" fmla="*/ 1552548 h 5973007"/>
              <a:gd name="connsiteX52110" fmla="*/ 1778589 w 6884782"/>
              <a:gd name="connsiteY52110" fmla="*/ 1547282 h 5973007"/>
              <a:gd name="connsiteX52111" fmla="*/ 1789637 w 6884782"/>
              <a:gd name="connsiteY52111" fmla="*/ 1541938 h 5973007"/>
              <a:gd name="connsiteX52112" fmla="*/ 3772621 w 6884782"/>
              <a:gd name="connsiteY52112" fmla="*/ 1541910 h 5973007"/>
              <a:gd name="connsiteX52113" fmla="*/ 3794603 w 6884782"/>
              <a:gd name="connsiteY52113" fmla="*/ 1555710 h 5973007"/>
              <a:gd name="connsiteX52114" fmla="*/ 3794816 w 6884782"/>
              <a:gd name="connsiteY52114" fmla="*/ 1560263 h 5973007"/>
              <a:gd name="connsiteX52115" fmla="*/ 3795670 w 6884782"/>
              <a:gd name="connsiteY52115" fmla="*/ 1560263 h 5973007"/>
              <a:gd name="connsiteX52116" fmla="*/ 3796737 w 6884782"/>
              <a:gd name="connsiteY52116" fmla="*/ 1560974 h 5973007"/>
              <a:gd name="connsiteX52117" fmla="*/ 3804847 w 6884782"/>
              <a:gd name="connsiteY52117" fmla="*/ 1558556 h 5973007"/>
              <a:gd name="connsiteX52118" fmla="*/ 3806982 w 6884782"/>
              <a:gd name="connsiteY52118" fmla="*/ 1559978 h 5973007"/>
              <a:gd name="connsiteX52119" fmla="*/ 3804420 w 6884782"/>
              <a:gd name="connsiteY52119" fmla="*/ 1562966 h 5973007"/>
              <a:gd name="connsiteX52120" fmla="*/ 3800792 w 6884782"/>
              <a:gd name="connsiteY52120" fmla="*/ 1561116 h 5973007"/>
              <a:gd name="connsiteX52121" fmla="*/ 3796311 w 6884782"/>
              <a:gd name="connsiteY52121" fmla="*/ 1562681 h 5973007"/>
              <a:gd name="connsiteX52122" fmla="*/ 3795030 w 6884782"/>
              <a:gd name="connsiteY52122" fmla="*/ 1562112 h 5973007"/>
              <a:gd name="connsiteX52123" fmla="*/ 3795030 w 6884782"/>
              <a:gd name="connsiteY52123" fmla="*/ 1563251 h 5973007"/>
              <a:gd name="connsiteX52124" fmla="*/ 3761096 w 6884782"/>
              <a:gd name="connsiteY52124" fmla="*/ 1552154 h 5973007"/>
              <a:gd name="connsiteX52125" fmla="*/ 3772621 w 6884782"/>
              <a:gd name="connsiteY52125" fmla="*/ 1541910 h 5973007"/>
              <a:gd name="connsiteX52126" fmla="*/ 3684265 w 6884782"/>
              <a:gd name="connsiteY52126" fmla="*/ 1541910 h 5973007"/>
              <a:gd name="connsiteX52127" fmla="*/ 3682344 w 6884782"/>
              <a:gd name="connsiteY52127" fmla="*/ 1542337 h 5973007"/>
              <a:gd name="connsiteX52128" fmla="*/ 3684478 w 6884782"/>
              <a:gd name="connsiteY52128" fmla="*/ 1542479 h 5973007"/>
              <a:gd name="connsiteX52129" fmla="*/ 3684478 w 6884782"/>
              <a:gd name="connsiteY52129" fmla="*/ 1542053 h 5973007"/>
              <a:gd name="connsiteX52130" fmla="*/ 1076343 w 6884782"/>
              <a:gd name="connsiteY52130" fmla="*/ 1541705 h 5973007"/>
              <a:gd name="connsiteX52131" fmla="*/ 1086875 w 6884782"/>
              <a:gd name="connsiteY52131" fmla="*/ 1550380 h 5973007"/>
              <a:gd name="connsiteX52132" fmla="*/ 1080164 w 6884782"/>
              <a:gd name="connsiteY52132" fmla="*/ 1553787 h 5973007"/>
              <a:gd name="connsiteX52133" fmla="*/ 1076240 w 6884782"/>
              <a:gd name="connsiteY52133" fmla="*/ 1544958 h 5973007"/>
              <a:gd name="connsiteX52134" fmla="*/ 1076343 w 6884782"/>
              <a:gd name="connsiteY52134" fmla="*/ 1541705 h 5973007"/>
              <a:gd name="connsiteX52135" fmla="*/ 5842365 w 6884782"/>
              <a:gd name="connsiteY52135" fmla="*/ 1541626 h 5973007"/>
              <a:gd name="connsiteX52136" fmla="*/ 5845780 w 6884782"/>
              <a:gd name="connsiteY52136" fmla="*/ 1550873 h 5973007"/>
              <a:gd name="connsiteX52137" fmla="*/ 5843646 w 6884782"/>
              <a:gd name="connsiteY52137" fmla="*/ 1552296 h 5973007"/>
              <a:gd name="connsiteX52138" fmla="*/ 5841085 w 6884782"/>
              <a:gd name="connsiteY52138" fmla="*/ 1550020 h 5973007"/>
              <a:gd name="connsiteX52139" fmla="*/ 5840232 w 6884782"/>
              <a:gd name="connsiteY52139" fmla="*/ 1542906 h 5973007"/>
              <a:gd name="connsiteX52140" fmla="*/ 5842365 w 6884782"/>
              <a:gd name="connsiteY52140" fmla="*/ 1541626 h 5973007"/>
              <a:gd name="connsiteX52141" fmla="*/ 1023579 w 6884782"/>
              <a:gd name="connsiteY52141" fmla="*/ 1541551 h 5973007"/>
              <a:gd name="connsiteX52142" fmla="*/ 1029981 w 6884782"/>
              <a:gd name="connsiteY52142" fmla="*/ 1542015 h 5973007"/>
              <a:gd name="connsiteX52143" fmla="*/ 1025644 w 6884782"/>
              <a:gd name="connsiteY52143" fmla="*/ 1551464 h 5973007"/>
              <a:gd name="connsiteX52144" fmla="*/ 1021514 w 6884782"/>
              <a:gd name="connsiteY52144" fmla="*/ 1547127 h 5973007"/>
              <a:gd name="connsiteX52145" fmla="*/ 1023579 w 6884782"/>
              <a:gd name="connsiteY52145" fmla="*/ 1541551 h 5973007"/>
              <a:gd name="connsiteX52146" fmla="*/ 3917533 w 6884782"/>
              <a:gd name="connsiteY52146" fmla="*/ 1541341 h 5973007"/>
              <a:gd name="connsiteX52147" fmla="*/ 3932899 w 6884782"/>
              <a:gd name="connsiteY52147" fmla="*/ 1557702 h 5973007"/>
              <a:gd name="connsiteX52148" fmla="*/ 3932472 w 6884782"/>
              <a:gd name="connsiteY52148" fmla="*/ 1558840 h 5973007"/>
              <a:gd name="connsiteX52149" fmla="*/ 3932686 w 6884782"/>
              <a:gd name="connsiteY52149" fmla="*/ 1560121 h 5973007"/>
              <a:gd name="connsiteX52150" fmla="*/ 3929271 w 6884782"/>
              <a:gd name="connsiteY52150" fmla="*/ 1566380 h 5973007"/>
              <a:gd name="connsiteX52151" fmla="*/ 3937808 w 6884782"/>
              <a:gd name="connsiteY52151" fmla="*/ 1585445 h 5973007"/>
              <a:gd name="connsiteX52152" fmla="*/ 3926923 w 6884782"/>
              <a:gd name="connsiteY52152" fmla="*/ 1590851 h 5973007"/>
              <a:gd name="connsiteX52153" fmla="*/ 3912411 w 6884782"/>
              <a:gd name="connsiteY52153" fmla="*/ 1575486 h 5973007"/>
              <a:gd name="connsiteX52154" fmla="*/ 3913478 w 6884782"/>
              <a:gd name="connsiteY52154" fmla="*/ 1574917 h 5973007"/>
              <a:gd name="connsiteX52155" fmla="*/ 3908142 w 6884782"/>
              <a:gd name="connsiteY52155" fmla="*/ 1570080 h 5973007"/>
              <a:gd name="connsiteX52156" fmla="*/ 3914118 w 6884782"/>
              <a:gd name="connsiteY52156" fmla="*/ 1562255 h 5973007"/>
              <a:gd name="connsiteX52157" fmla="*/ 3920734 w 6884782"/>
              <a:gd name="connsiteY52157" fmla="*/ 1559409 h 5973007"/>
              <a:gd name="connsiteX52158" fmla="*/ 3916039 w 6884782"/>
              <a:gd name="connsiteY52158" fmla="*/ 1555284 h 5973007"/>
              <a:gd name="connsiteX52159" fmla="*/ 3914545 w 6884782"/>
              <a:gd name="connsiteY52159" fmla="*/ 1543333 h 5973007"/>
              <a:gd name="connsiteX52160" fmla="*/ 3917533 w 6884782"/>
              <a:gd name="connsiteY52160" fmla="*/ 1541341 h 5973007"/>
              <a:gd name="connsiteX52161" fmla="*/ 1643220 w 6884782"/>
              <a:gd name="connsiteY52161" fmla="*/ 1541240 h 5973007"/>
              <a:gd name="connsiteX52162" fmla="*/ 1649105 w 6884782"/>
              <a:gd name="connsiteY52162" fmla="*/ 1548520 h 5973007"/>
              <a:gd name="connsiteX52163" fmla="*/ 1637644 w 6884782"/>
              <a:gd name="connsiteY52163" fmla="*/ 1548211 h 5973007"/>
              <a:gd name="connsiteX52164" fmla="*/ 1643220 w 6884782"/>
              <a:gd name="connsiteY52164" fmla="*/ 1541240 h 5973007"/>
              <a:gd name="connsiteX52165" fmla="*/ 5855598 w 6884782"/>
              <a:gd name="connsiteY52165" fmla="*/ 1541057 h 5973007"/>
              <a:gd name="connsiteX52166" fmla="*/ 5858586 w 6884782"/>
              <a:gd name="connsiteY52166" fmla="*/ 1542906 h 5973007"/>
              <a:gd name="connsiteX52167" fmla="*/ 5855598 w 6884782"/>
              <a:gd name="connsiteY52167" fmla="*/ 1546605 h 5973007"/>
              <a:gd name="connsiteX52168" fmla="*/ 5853890 w 6884782"/>
              <a:gd name="connsiteY52168" fmla="*/ 1542053 h 5973007"/>
              <a:gd name="connsiteX52169" fmla="*/ 5855598 w 6884782"/>
              <a:gd name="connsiteY52169" fmla="*/ 1541057 h 5973007"/>
              <a:gd name="connsiteX52170" fmla="*/ 3661216 w 6884782"/>
              <a:gd name="connsiteY52170" fmla="*/ 1540914 h 5973007"/>
              <a:gd name="connsiteX52171" fmla="*/ 3664204 w 6884782"/>
              <a:gd name="connsiteY52171" fmla="*/ 1541483 h 5973007"/>
              <a:gd name="connsiteX52172" fmla="*/ 3665271 w 6884782"/>
              <a:gd name="connsiteY52172" fmla="*/ 1557275 h 5973007"/>
              <a:gd name="connsiteX52173" fmla="*/ 3663137 w 6884782"/>
              <a:gd name="connsiteY52173" fmla="*/ 1559836 h 5973007"/>
              <a:gd name="connsiteX52174" fmla="*/ 3662497 w 6884782"/>
              <a:gd name="connsiteY52174" fmla="*/ 1562255 h 5973007"/>
              <a:gd name="connsiteX52175" fmla="*/ 3656093 w 6884782"/>
              <a:gd name="connsiteY52175" fmla="*/ 1566238 h 5973007"/>
              <a:gd name="connsiteX52176" fmla="*/ 3659722 w 6884782"/>
              <a:gd name="connsiteY52176" fmla="*/ 1543048 h 5973007"/>
              <a:gd name="connsiteX52177" fmla="*/ 3661216 w 6884782"/>
              <a:gd name="connsiteY52177" fmla="*/ 1540914 h 5973007"/>
              <a:gd name="connsiteX52178" fmla="*/ 3717985 w 6884782"/>
              <a:gd name="connsiteY52178" fmla="*/ 1540630 h 5973007"/>
              <a:gd name="connsiteX52179" fmla="*/ 3722680 w 6884782"/>
              <a:gd name="connsiteY52179" fmla="*/ 1543191 h 5973007"/>
              <a:gd name="connsiteX52180" fmla="*/ 3731218 w 6884782"/>
              <a:gd name="connsiteY52180" fmla="*/ 1552011 h 5973007"/>
              <a:gd name="connsiteX52181" fmla="*/ 3733565 w 6884782"/>
              <a:gd name="connsiteY52181" fmla="*/ 1553292 h 5973007"/>
              <a:gd name="connsiteX52182" fmla="*/ 3715638 w 6884782"/>
              <a:gd name="connsiteY52182" fmla="*/ 1542764 h 5973007"/>
              <a:gd name="connsiteX52183" fmla="*/ 3715424 w 6884782"/>
              <a:gd name="connsiteY52183" fmla="*/ 1541626 h 5973007"/>
              <a:gd name="connsiteX52184" fmla="*/ 3717985 w 6884782"/>
              <a:gd name="connsiteY52184" fmla="*/ 1540630 h 5973007"/>
              <a:gd name="connsiteX52185" fmla="*/ 6029108 w 6884782"/>
              <a:gd name="connsiteY52185" fmla="*/ 1539919 h 5973007"/>
              <a:gd name="connsiteX52186" fmla="*/ 6037858 w 6884782"/>
              <a:gd name="connsiteY52186" fmla="*/ 1543475 h 5973007"/>
              <a:gd name="connsiteX52187" fmla="*/ 6038498 w 6884782"/>
              <a:gd name="connsiteY52187" fmla="*/ 1550304 h 5973007"/>
              <a:gd name="connsiteX52188" fmla="*/ 6021211 w 6884782"/>
              <a:gd name="connsiteY52188" fmla="*/ 1548455 h 5973007"/>
              <a:gd name="connsiteX52189" fmla="*/ 6029108 w 6884782"/>
              <a:gd name="connsiteY52189" fmla="*/ 1539919 h 5973007"/>
              <a:gd name="connsiteX52190" fmla="*/ 5451167 w 6884782"/>
              <a:gd name="connsiteY52190" fmla="*/ 1539919 h 5973007"/>
              <a:gd name="connsiteX52191" fmla="*/ 5452448 w 6884782"/>
              <a:gd name="connsiteY52191" fmla="*/ 1542195 h 5973007"/>
              <a:gd name="connsiteX52192" fmla="*/ 5450954 w 6884782"/>
              <a:gd name="connsiteY52192" fmla="*/ 1542479 h 5973007"/>
              <a:gd name="connsiteX52193" fmla="*/ 5451167 w 6884782"/>
              <a:gd name="connsiteY52193" fmla="*/ 1539919 h 5973007"/>
              <a:gd name="connsiteX52194" fmla="*/ 3650118 w 6884782"/>
              <a:gd name="connsiteY52194" fmla="*/ 1539919 h 5973007"/>
              <a:gd name="connsiteX52195" fmla="*/ 3651612 w 6884782"/>
              <a:gd name="connsiteY52195" fmla="*/ 1550162 h 5973007"/>
              <a:gd name="connsiteX52196" fmla="*/ 3649264 w 6884782"/>
              <a:gd name="connsiteY52196" fmla="*/ 1541341 h 5973007"/>
              <a:gd name="connsiteX52197" fmla="*/ 3650118 w 6884782"/>
              <a:gd name="connsiteY52197" fmla="*/ 1539919 h 5973007"/>
              <a:gd name="connsiteX52198" fmla="*/ 5037987 w 6884782"/>
              <a:gd name="connsiteY52198" fmla="*/ 1539776 h 5973007"/>
              <a:gd name="connsiteX52199" fmla="*/ 5049298 w 6884782"/>
              <a:gd name="connsiteY52199" fmla="*/ 1541341 h 5973007"/>
              <a:gd name="connsiteX52200" fmla="*/ 5051646 w 6884782"/>
              <a:gd name="connsiteY52200" fmla="*/ 1541341 h 5973007"/>
              <a:gd name="connsiteX52201" fmla="*/ 5053993 w 6884782"/>
              <a:gd name="connsiteY52201" fmla="*/ 1543902 h 5973007"/>
              <a:gd name="connsiteX52202" fmla="*/ 5043749 w 6884782"/>
              <a:gd name="connsiteY52202" fmla="*/ 1544613 h 5973007"/>
              <a:gd name="connsiteX52203" fmla="*/ 5037987 w 6884782"/>
              <a:gd name="connsiteY52203" fmla="*/ 1544328 h 5973007"/>
              <a:gd name="connsiteX52204" fmla="*/ 5035425 w 6884782"/>
              <a:gd name="connsiteY52204" fmla="*/ 1541768 h 5973007"/>
              <a:gd name="connsiteX52205" fmla="*/ 5035425 w 6884782"/>
              <a:gd name="connsiteY52205" fmla="*/ 1540630 h 5973007"/>
              <a:gd name="connsiteX52206" fmla="*/ 5037987 w 6884782"/>
              <a:gd name="connsiteY52206" fmla="*/ 1539776 h 5973007"/>
              <a:gd name="connsiteX52207" fmla="*/ 5592025 w 6884782"/>
              <a:gd name="connsiteY52207" fmla="*/ 1538923 h 5973007"/>
              <a:gd name="connsiteX52208" fmla="*/ 5597787 w 6884782"/>
              <a:gd name="connsiteY52208" fmla="*/ 1539919 h 5973007"/>
              <a:gd name="connsiteX52209" fmla="*/ 5599708 w 6884782"/>
              <a:gd name="connsiteY52209" fmla="*/ 1545183 h 5973007"/>
              <a:gd name="connsiteX52210" fmla="*/ 5592025 w 6884782"/>
              <a:gd name="connsiteY52210" fmla="*/ 1538923 h 5973007"/>
              <a:gd name="connsiteX52211" fmla="*/ 5370708 w 6884782"/>
              <a:gd name="connsiteY52211" fmla="*/ 1538780 h 5973007"/>
              <a:gd name="connsiteX52212" fmla="*/ 5378818 w 6884782"/>
              <a:gd name="connsiteY52212" fmla="*/ 1541057 h 5973007"/>
              <a:gd name="connsiteX52213" fmla="*/ 5379671 w 6884782"/>
              <a:gd name="connsiteY52213" fmla="*/ 1546463 h 5973007"/>
              <a:gd name="connsiteX52214" fmla="*/ 5363452 w 6884782"/>
              <a:gd name="connsiteY52214" fmla="*/ 1544186 h 5973007"/>
              <a:gd name="connsiteX52215" fmla="*/ 5370708 w 6884782"/>
              <a:gd name="connsiteY52215" fmla="*/ 1538780 h 5973007"/>
              <a:gd name="connsiteX52216" fmla="*/ 1570527 w 6884782"/>
              <a:gd name="connsiteY52216" fmla="*/ 1538762 h 5973007"/>
              <a:gd name="connsiteX52217" fmla="*/ 1571044 w 6884782"/>
              <a:gd name="connsiteY52217" fmla="*/ 1540466 h 5973007"/>
              <a:gd name="connsiteX52218" fmla="*/ 1567223 w 6884782"/>
              <a:gd name="connsiteY52218" fmla="*/ 1542635 h 5973007"/>
              <a:gd name="connsiteX52219" fmla="*/ 1567017 w 6884782"/>
              <a:gd name="connsiteY52219" fmla="*/ 1543564 h 5973007"/>
              <a:gd name="connsiteX52220" fmla="*/ 1568462 w 6884782"/>
              <a:gd name="connsiteY52220" fmla="*/ 1545268 h 5973007"/>
              <a:gd name="connsiteX52221" fmla="*/ 1567120 w 6884782"/>
              <a:gd name="connsiteY52221" fmla="*/ 1553632 h 5973007"/>
              <a:gd name="connsiteX52222" fmla="*/ 1557207 w 6884782"/>
              <a:gd name="connsiteY52222" fmla="*/ 1555491 h 5973007"/>
              <a:gd name="connsiteX52223" fmla="*/ 1553284 w 6884782"/>
              <a:gd name="connsiteY52223" fmla="*/ 1552703 h 5973007"/>
              <a:gd name="connsiteX52224" fmla="*/ 1553077 w 6884782"/>
              <a:gd name="connsiteY52224" fmla="*/ 1548676 h 5973007"/>
              <a:gd name="connsiteX52225" fmla="*/ 1555762 w 6884782"/>
              <a:gd name="connsiteY52225" fmla="*/ 1542790 h 5973007"/>
              <a:gd name="connsiteX52226" fmla="*/ 1565571 w 6884782"/>
              <a:gd name="connsiteY52226" fmla="*/ 1541705 h 5973007"/>
              <a:gd name="connsiteX52227" fmla="*/ 1566707 w 6884782"/>
              <a:gd name="connsiteY52227" fmla="*/ 1540156 h 5973007"/>
              <a:gd name="connsiteX52228" fmla="*/ 1570527 w 6884782"/>
              <a:gd name="connsiteY52228" fmla="*/ 1538762 h 5973007"/>
              <a:gd name="connsiteX52229" fmla="*/ 5911941 w 6884782"/>
              <a:gd name="connsiteY52229" fmla="*/ 1538069 h 5973007"/>
              <a:gd name="connsiteX52230" fmla="*/ 5922612 w 6884782"/>
              <a:gd name="connsiteY52230" fmla="*/ 1547032 h 5973007"/>
              <a:gd name="connsiteX52231" fmla="*/ 5923892 w 6884782"/>
              <a:gd name="connsiteY52231" fmla="*/ 1551157 h 5973007"/>
              <a:gd name="connsiteX52232" fmla="*/ 5920477 w 6884782"/>
              <a:gd name="connsiteY52232" fmla="*/ 1555995 h 5973007"/>
              <a:gd name="connsiteX52233" fmla="*/ 5909379 w 6884782"/>
              <a:gd name="connsiteY52233" fmla="*/ 1543048 h 5973007"/>
              <a:gd name="connsiteX52234" fmla="*/ 5911941 w 6884782"/>
              <a:gd name="connsiteY52234" fmla="*/ 1538069 h 5973007"/>
              <a:gd name="connsiteX52235" fmla="*/ 3609782 w 6884782"/>
              <a:gd name="connsiteY52235" fmla="*/ 1537784 h 5973007"/>
              <a:gd name="connsiteX52236" fmla="*/ 3610849 w 6884782"/>
              <a:gd name="connsiteY52236" fmla="*/ 1539207 h 5973007"/>
              <a:gd name="connsiteX52237" fmla="*/ 3610849 w 6884782"/>
              <a:gd name="connsiteY52237" fmla="*/ 1537927 h 5973007"/>
              <a:gd name="connsiteX52238" fmla="*/ 3611062 w 6884782"/>
              <a:gd name="connsiteY52238" fmla="*/ 1539634 h 5973007"/>
              <a:gd name="connsiteX52239" fmla="*/ 3610635 w 6884782"/>
              <a:gd name="connsiteY52239" fmla="*/ 1540345 h 5973007"/>
              <a:gd name="connsiteX52240" fmla="*/ 3607220 w 6884782"/>
              <a:gd name="connsiteY52240" fmla="*/ 1540914 h 5973007"/>
              <a:gd name="connsiteX52241" fmla="*/ 3609782 w 6884782"/>
              <a:gd name="connsiteY52241" fmla="*/ 1537784 h 5973007"/>
              <a:gd name="connsiteX52242" fmla="*/ 5090274 w 6884782"/>
              <a:gd name="connsiteY52242" fmla="*/ 1537500 h 5973007"/>
              <a:gd name="connsiteX52243" fmla="*/ 5091342 w 6884782"/>
              <a:gd name="connsiteY52243" fmla="*/ 1537500 h 5973007"/>
              <a:gd name="connsiteX52244" fmla="*/ 5093902 w 6884782"/>
              <a:gd name="connsiteY52244" fmla="*/ 1538354 h 5973007"/>
              <a:gd name="connsiteX52245" fmla="*/ 5098811 w 6884782"/>
              <a:gd name="connsiteY52245" fmla="*/ 1543048 h 5973007"/>
              <a:gd name="connsiteX52246" fmla="*/ 5099451 w 6884782"/>
              <a:gd name="connsiteY52246" fmla="*/ 1541910 h 5973007"/>
              <a:gd name="connsiteX52247" fmla="*/ 5096464 w 6884782"/>
              <a:gd name="connsiteY52247" fmla="*/ 1548739 h 5973007"/>
              <a:gd name="connsiteX52248" fmla="*/ 5083872 w 6884782"/>
              <a:gd name="connsiteY52248" fmla="*/ 1543618 h 5973007"/>
              <a:gd name="connsiteX52249" fmla="*/ 5090274 w 6884782"/>
              <a:gd name="connsiteY52249" fmla="*/ 1537500 h 5973007"/>
              <a:gd name="connsiteX52250" fmla="*/ 1219250 w 6884782"/>
              <a:gd name="connsiteY52250" fmla="*/ 1537213 h 5973007"/>
              <a:gd name="connsiteX52251" fmla="*/ 1214500 w 6884782"/>
              <a:gd name="connsiteY52251" fmla="*/ 1550225 h 5973007"/>
              <a:gd name="connsiteX52252" fmla="*/ 1211712 w 6884782"/>
              <a:gd name="connsiteY52252" fmla="*/ 1543874 h 5973007"/>
              <a:gd name="connsiteX52253" fmla="*/ 1215016 w 6884782"/>
              <a:gd name="connsiteY52253" fmla="*/ 1538143 h 5973007"/>
              <a:gd name="connsiteX52254" fmla="*/ 1219250 w 6884782"/>
              <a:gd name="connsiteY52254" fmla="*/ 1537213 h 5973007"/>
              <a:gd name="connsiteX52255" fmla="*/ 5446259 w 6884782"/>
              <a:gd name="connsiteY52255" fmla="*/ 1536789 h 5973007"/>
              <a:gd name="connsiteX52256" fmla="*/ 5447752 w 6884782"/>
              <a:gd name="connsiteY52256" fmla="*/ 1537784 h 5973007"/>
              <a:gd name="connsiteX52257" fmla="*/ 5447752 w 6884782"/>
              <a:gd name="connsiteY52257" fmla="*/ 1539065 h 5973007"/>
              <a:gd name="connsiteX52258" fmla="*/ 5445619 w 6884782"/>
              <a:gd name="connsiteY52258" fmla="*/ 1537784 h 5973007"/>
              <a:gd name="connsiteX52259" fmla="*/ 5446259 w 6884782"/>
              <a:gd name="connsiteY52259" fmla="*/ 1536789 h 5973007"/>
              <a:gd name="connsiteX52260" fmla="*/ 4630995 w 6884782"/>
              <a:gd name="connsiteY52260" fmla="*/ 1536646 h 5973007"/>
              <a:gd name="connsiteX52261" fmla="*/ 4636544 w 6884782"/>
              <a:gd name="connsiteY52261" fmla="*/ 1538923 h 5973007"/>
              <a:gd name="connsiteX52262" fmla="*/ 4636330 w 6884782"/>
              <a:gd name="connsiteY52262" fmla="*/ 1540630 h 5973007"/>
              <a:gd name="connsiteX52263" fmla="*/ 4630995 w 6884782"/>
              <a:gd name="connsiteY52263" fmla="*/ 1536646 h 5973007"/>
              <a:gd name="connsiteX52264" fmla="*/ 3417704 w 6884782"/>
              <a:gd name="connsiteY52264" fmla="*/ 1536504 h 5973007"/>
              <a:gd name="connsiteX52265" fmla="*/ 3413222 w 6884782"/>
              <a:gd name="connsiteY52265" fmla="*/ 1538069 h 5973007"/>
              <a:gd name="connsiteX52266" fmla="*/ 3411942 w 6884782"/>
              <a:gd name="connsiteY52266" fmla="*/ 1537500 h 5973007"/>
              <a:gd name="connsiteX52267" fmla="*/ 3411301 w 6884782"/>
              <a:gd name="connsiteY52267" fmla="*/ 1543618 h 5973007"/>
              <a:gd name="connsiteX52268" fmla="*/ 3410661 w 6884782"/>
              <a:gd name="connsiteY52268" fmla="*/ 1571502 h 5973007"/>
              <a:gd name="connsiteX52269" fmla="*/ 3406819 w 6884782"/>
              <a:gd name="connsiteY52269" fmla="*/ 1569652 h 5973007"/>
              <a:gd name="connsiteX52270" fmla="*/ 3405326 w 6884782"/>
              <a:gd name="connsiteY52270" fmla="*/ 1571929 h 5973007"/>
              <a:gd name="connsiteX52271" fmla="*/ 3406179 w 6884782"/>
              <a:gd name="connsiteY52271" fmla="*/ 1571502 h 5973007"/>
              <a:gd name="connsiteX52272" fmla="*/ 3410234 w 6884782"/>
              <a:gd name="connsiteY52272" fmla="*/ 1573209 h 5973007"/>
              <a:gd name="connsiteX52273" fmla="*/ 3411088 w 6884782"/>
              <a:gd name="connsiteY52273" fmla="*/ 1576481 h 5973007"/>
              <a:gd name="connsiteX52274" fmla="*/ 3408313 w 6884782"/>
              <a:gd name="connsiteY52274" fmla="*/ 1577904 h 5973007"/>
              <a:gd name="connsiteX52275" fmla="*/ 3409594 w 6884782"/>
              <a:gd name="connsiteY52275" fmla="*/ 1580038 h 5973007"/>
              <a:gd name="connsiteX52276" fmla="*/ 3415356 w 6884782"/>
              <a:gd name="connsiteY52276" fmla="*/ 1581176 h 5973007"/>
              <a:gd name="connsiteX52277" fmla="*/ 3415783 w 6884782"/>
              <a:gd name="connsiteY52277" fmla="*/ 1583453 h 5973007"/>
              <a:gd name="connsiteX52278" fmla="*/ 3417704 w 6884782"/>
              <a:gd name="connsiteY52278" fmla="*/ 1580750 h 5973007"/>
              <a:gd name="connsiteX52279" fmla="*/ 3422826 w 6884782"/>
              <a:gd name="connsiteY52279" fmla="*/ 1584022 h 5973007"/>
              <a:gd name="connsiteX52280" fmla="*/ 3418771 w 6884782"/>
              <a:gd name="connsiteY52280" fmla="*/ 1595688 h 5973007"/>
              <a:gd name="connsiteX52281" fmla="*/ 3415356 w 6884782"/>
              <a:gd name="connsiteY52281" fmla="*/ 1595546 h 5973007"/>
              <a:gd name="connsiteX52282" fmla="*/ 3415356 w 6884782"/>
              <a:gd name="connsiteY52282" fmla="*/ 1595830 h 5973007"/>
              <a:gd name="connsiteX52283" fmla="*/ 3426240 w 6884782"/>
              <a:gd name="connsiteY52283" fmla="*/ 1599102 h 5973007"/>
              <a:gd name="connsiteX52284" fmla="*/ 3418344 w 6884782"/>
              <a:gd name="connsiteY52284" fmla="*/ 1572782 h 5973007"/>
              <a:gd name="connsiteX52285" fmla="*/ 3424747 w 6884782"/>
              <a:gd name="connsiteY52285" fmla="*/ 1565527 h 5973007"/>
              <a:gd name="connsiteX52286" fmla="*/ 3417704 w 6884782"/>
              <a:gd name="connsiteY52286" fmla="*/ 1537784 h 5973007"/>
              <a:gd name="connsiteX52287" fmla="*/ 1702902 w 6884782"/>
              <a:gd name="connsiteY52287" fmla="*/ 1536439 h 5973007"/>
              <a:gd name="connsiteX52288" fmla="*/ 1702902 w 6884782"/>
              <a:gd name="connsiteY52288" fmla="*/ 1538917 h 5973007"/>
              <a:gd name="connsiteX52289" fmla="*/ 1696500 w 6884782"/>
              <a:gd name="connsiteY52289" fmla="*/ 1547901 h 5973007"/>
              <a:gd name="connsiteX52290" fmla="*/ 1696500 w 6884782"/>
              <a:gd name="connsiteY52290" fmla="*/ 1545268 h 5973007"/>
              <a:gd name="connsiteX52291" fmla="*/ 1702902 w 6884782"/>
              <a:gd name="connsiteY52291" fmla="*/ 1536439 h 5973007"/>
              <a:gd name="connsiteX52292" fmla="*/ 4875147 w 6884782"/>
              <a:gd name="connsiteY52292" fmla="*/ 1535366 h 5973007"/>
              <a:gd name="connsiteX52293" fmla="*/ 4875574 w 6884782"/>
              <a:gd name="connsiteY52293" fmla="*/ 1544186 h 5973007"/>
              <a:gd name="connsiteX52294" fmla="*/ 4867251 w 6884782"/>
              <a:gd name="connsiteY52294" fmla="*/ 1541341 h 5973007"/>
              <a:gd name="connsiteX52295" fmla="*/ 4875147 w 6884782"/>
              <a:gd name="connsiteY52295" fmla="*/ 1535366 h 5973007"/>
              <a:gd name="connsiteX52296" fmla="*/ 3690667 w 6884782"/>
              <a:gd name="connsiteY52296" fmla="*/ 1534939 h 5973007"/>
              <a:gd name="connsiteX52297" fmla="*/ 3691734 w 6884782"/>
              <a:gd name="connsiteY52297" fmla="*/ 1534939 h 5973007"/>
              <a:gd name="connsiteX52298" fmla="*/ 3694723 w 6884782"/>
              <a:gd name="connsiteY52298" fmla="*/ 1535935 h 5973007"/>
              <a:gd name="connsiteX52299" fmla="*/ 3693869 w 6884782"/>
              <a:gd name="connsiteY52299" fmla="*/ 1537500 h 5973007"/>
              <a:gd name="connsiteX52300" fmla="*/ 3694936 w 6884782"/>
              <a:gd name="connsiteY52300" fmla="*/ 1537073 h 5973007"/>
              <a:gd name="connsiteX52301" fmla="*/ 3693442 w 6884782"/>
              <a:gd name="connsiteY52301" fmla="*/ 1538069 h 5973007"/>
              <a:gd name="connsiteX52302" fmla="*/ 3692802 w 6884782"/>
              <a:gd name="connsiteY52302" fmla="*/ 1537784 h 5973007"/>
              <a:gd name="connsiteX52303" fmla="*/ 3690667 w 6884782"/>
              <a:gd name="connsiteY52303" fmla="*/ 1534939 h 5973007"/>
              <a:gd name="connsiteX52304" fmla="*/ 5747821 w 6884782"/>
              <a:gd name="connsiteY52304" fmla="*/ 1534512 h 5973007"/>
              <a:gd name="connsiteX52305" fmla="*/ 5750382 w 6884782"/>
              <a:gd name="connsiteY52305" fmla="*/ 1540061 h 5973007"/>
              <a:gd name="connsiteX52306" fmla="*/ 5745473 w 6884782"/>
              <a:gd name="connsiteY52306" fmla="*/ 1555141 h 5973007"/>
              <a:gd name="connsiteX52307" fmla="*/ 5740564 w 6884782"/>
              <a:gd name="connsiteY52307" fmla="*/ 1545183 h 5973007"/>
              <a:gd name="connsiteX52308" fmla="*/ 5747821 w 6884782"/>
              <a:gd name="connsiteY52308" fmla="*/ 1534512 h 5973007"/>
              <a:gd name="connsiteX52309" fmla="*/ 1339750 w 6884782"/>
              <a:gd name="connsiteY52309" fmla="*/ 1534425 h 5973007"/>
              <a:gd name="connsiteX52310" fmla="*/ 1340679 w 6884782"/>
              <a:gd name="connsiteY52310" fmla="*/ 1538917 h 5973007"/>
              <a:gd name="connsiteX52311" fmla="*/ 1336445 w 6884782"/>
              <a:gd name="connsiteY52311" fmla="*/ 1537987 h 5973007"/>
              <a:gd name="connsiteX52312" fmla="*/ 1339750 w 6884782"/>
              <a:gd name="connsiteY52312" fmla="*/ 1534425 h 5973007"/>
              <a:gd name="connsiteX52313" fmla="*/ 4027444 w 6884782"/>
              <a:gd name="connsiteY52313" fmla="*/ 1534370 h 5973007"/>
              <a:gd name="connsiteX52314" fmla="*/ 4016559 w 6884782"/>
              <a:gd name="connsiteY52314" fmla="*/ 1544898 h 5973007"/>
              <a:gd name="connsiteX52315" fmla="*/ 4012504 w 6884782"/>
              <a:gd name="connsiteY52315" fmla="*/ 1540914 h 5973007"/>
              <a:gd name="connsiteX52316" fmla="*/ 4027444 w 6884782"/>
              <a:gd name="connsiteY52316" fmla="*/ 1534370 h 5973007"/>
              <a:gd name="connsiteX52317" fmla="*/ 4289523 w 6884782"/>
              <a:gd name="connsiteY52317" fmla="*/ 1533943 h 5973007"/>
              <a:gd name="connsiteX52318" fmla="*/ 4301048 w 6884782"/>
              <a:gd name="connsiteY52318" fmla="*/ 1542337 h 5973007"/>
              <a:gd name="connsiteX52319" fmla="*/ 4299341 w 6884782"/>
              <a:gd name="connsiteY52319" fmla="*/ 1555284 h 5973007"/>
              <a:gd name="connsiteX52320" fmla="*/ 4294859 w 6884782"/>
              <a:gd name="connsiteY52320" fmla="*/ 1556279 h 5973007"/>
              <a:gd name="connsiteX52321" fmla="*/ 4286322 w 6884782"/>
              <a:gd name="connsiteY52321" fmla="*/ 1536077 h 5973007"/>
              <a:gd name="connsiteX52322" fmla="*/ 4289523 w 6884782"/>
              <a:gd name="connsiteY52322" fmla="*/ 1533943 h 5973007"/>
              <a:gd name="connsiteX52323" fmla="*/ 1637231 w 6884782"/>
              <a:gd name="connsiteY52323" fmla="*/ 1533806 h 5973007"/>
              <a:gd name="connsiteX52324" fmla="*/ 1640019 w 6884782"/>
              <a:gd name="connsiteY52324" fmla="*/ 1533806 h 5973007"/>
              <a:gd name="connsiteX52325" fmla="*/ 1640845 w 6884782"/>
              <a:gd name="connsiteY52325" fmla="*/ 1534890 h 5973007"/>
              <a:gd name="connsiteX52326" fmla="*/ 1641980 w 6884782"/>
              <a:gd name="connsiteY52326" fmla="*/ 1534270 h 5973007"/>
              <a:gd name="connsiteX52327" fmla="*/ 1644459 w 6884782"/>
              <a:gd name="connsiteY52327" fmla="*/ 1533806 h 5973007"/>
              <a:gd name="connsiteX52328" fmla="*/ 1643323 w 6884782"/>
              <a:gd name="connsiteY52328" fmla="*/ 1536284 h 5973007"/>
              <a:gd name="connsiteX52329" fmla="*/ 1642394 w 6884782"/>
              <a:gd name="connsiteY52329" fmla="*/ 1537213 h 5973007"/>
              <a:gd name="connsiteX52330" fmla="*/ 1642291 w 6884782"/>
              <a:gd name="connsiteY52330" fmla="*/ 1537987 h 5973007"/>
              <a:gd name="connsiteX52331" fmla="*/ 1641877 w 6884782"/>
              <a:gd name="connsiteY52331" fmla="*/ 1537987 h 5973007"/>
              <a:gd name="connsiteX52332" fmla="*/ 1641980 w 6884782"/>
              <a:gd name="connsiteY52332" fmla="*/ 1539227 h 5973007"/>
              <a:gd name="connsiteX52333" fmla="*/ 1639915 w 6884782"/>
              <a:gd name="connsiteY52333" fmla="*/ 1540776 h 5973007"/>
              <a:gd name="connsiteX52334" fmla="*/ 1638883 w 6884782"/>
              <a:gd name="connsiteY52334" fmla="*/ 1540466 h 5973007"/>
              <a:gd name="connsiteX52335" fmla="*/ 1637540 w 6884782"/>
              <a:gd name="connsiteY52335" fmla="*/ 1542480 h 5973007"/>
              <a:gd name="connsiteX52336" fmla="*/ 1636301 w 6884782"/>
              <a:gd name="connsiteY52336" fmla="*/ 1544648 h 5973007"/>
              <a:gd name="connsiteX52337" fmla="*/ 1630726 w 6884782"/>
              <a:gd name="connsiteY52337" fmla="*/ 1547901 h 5973007"/>
              <a:gd name="connsiteX52338" fmla="*/ 1629280 w 6884782"/>
              <a:gd name="connsiteY52338" fmla="*/ 1546197 h 5973007"/>
              <a:gd name="connsiteX52339" fmla="*/ 1627318 w 6884782"/>
              <a:gd name="connsiteY52339" fmla="*/ 1547901 h 5973007"/>
              <a:gd name="connsiteX52340" fmla="*/ 1616270 w 6884782"/>
              <a:gd name="connsiteY52340" fmla="*/ 1546662 h 5973007"/>
              <a:gd name="connsiteX52341" fmla="*/ 1614205 w 6884782"/>
              <a:gd name="connsiteY52341" fmla="*/ 1542325 h 5973007"/>
              <a:gd name="connsiteX52342" fmla="*/ 1616579 w 6884782"/>
              <a:gd name="connsiteY52342" fmla="*/ 1536439 h 5973007"/>
              <a:gd name="connsiteX52343" fmla="*/ 1627938 w 6884782"/>
              <a:gd name="connsiteY52343" fmla="*/ 1535045 h 5973007"/>
              <a:gd name="connsiteX52344" fmla="*/ 1631345 w 6884782"/>
              <a:gd name="connsiteY52344" fmla="*/ 1542790 h 5973007"/>
              <a:gd name="connsiteX52345" fmla="*/ 1631448 w 6884782"/>
              <a:gd name="connsiteY52345" fmla="*/ 1542015 h 5973007"/>
              <a:gd name="connsiteX52346" fmla="*/ 1634856 w 6884782"/>
              <a:gd name="connsiteY52346" fmla="*/ 1539382 h 5973007"/>
              <a:gd name="connsiteX52347" fmla="*/ 4705052 w 6884782"/>
              <a:gd name="connsiteY52347" fmla="*/ 1533801 h 5973007"/>
              <a:gd name="connsiteX52348" fmla="*/ 4706759 w 6884782"/>
              <a:gd name="connsiteY52348" fmla="*/ 1534654 h 5973007"/>
              <a:gd name="connsiteX52349" fmla="*/ 4711027 w 6884782"/>
              <a:gd name="connsiteY52349" fmla="*/ 1540345 h 5973007"/>
              <a:gd name="connsiteX52350" fmla="*/ 4731942 w 6884782"/>
              <a:gd name="connsiteY52350" fmla="*/ 1540345 h 5973007"/>
              <a:gd name="connsiteX52351" fmla="*/ 4732583 w 6884782"/>
              <a:gd name="connsiteY52351" fmla="*/ 1552438 h 5973007"/>
              <a:gd name="connsiteX52352" fmla="*/ 4712522 w 6884782"/>
              <a:gd name="connsiteY52352" fmla="*/ 1559551 h 5973007"/>
              <a:gd name="connsiteX52353" fmla="*/ 4712308 w 6884782"/>
              <a:gd name="connsiteY52353" fmla="*/ 1558414 h 5973007"/>
              <a:gd name="connsiteX52354" fmla="*/ 4705905 w 6884782"/>
              <a:gd name="connsiteY52354" fmla="*/ 1561259 h 5973007"/>
              <a:gd name="connsiteX52355" fmla="*/ 4705052 w 6884782"/>
              <a:gd name="connsiteY52355" fmla="*/ 1560263 h 5973007"/>
              <a:gd name="connsiteX52356" fmla="*/ 4704625 w 6884782"/>
              <a:gd name="connsiteY52356" fmla="*/ 1560263 h 5973007"/>
              <a:gd name="connsiteX52357" fmla="*/ 4700783 w 6884782"/>
              <a:gd name="connsiteY52357" fmla="*/ 1564388 h 5973007"/>
              <a:gd name="connsiteX52358" fmla="*/ 4701424 w 6884782"/>
              <a:gd name="connsiteY52358" fmla="*/ 1564388 h 5973007"/>
              <a:gd name="connsiteX52359" fmla="*/ 4710814 w 6884782"/>
              <a:gd name="connsiteY52359" fmla="*/ 1574489 h 5973007"/>
              <a:gd name="connsiteX52360" fmla="*/ 4711668 w 6884782"/>
              <a:gd name="connsiteY52360" fmla="*/ 1574774 h 5973007"/>
              <a:gd name="connsiteX52361" fmla="*/ 4711454 w 6884782"/>
              <a:gd name="connsiteY52361" fmla="*/ 1573352 h 5973007"/>
              <a:gd name="connsiteX52362" fmla="*/ 4710814 w 6884782"/>
              <a:gd name="connsiteY52362" fmla="*/ 1571929 h 5973007"/>
              <a:gd name="connsiteX52363" fmla="*/ 4711668 w 6884782"/>
              <a:gd name="connsiteY52363" fmla="*/ 1569510 h 5973007"/>
              <a:gd name="connsiteX52364" fmla="*/ 4717857 w 6884782"/>
              <a:gd name="connsiteY52364" fmla="*/ 1564388 h 5973007"/>
              <a:gd name="connsiteX52365" fmla="*/ 4718924 w 6884782"/>
              <a:gd name="connsiteY52365" fmla="*/ 1582741 h 5973007"/>
              <a:gd name="connsiteX52366" fmla="*/ 4717643 w 6884782"/>
              <a:gd name="connsiteY52366" fmla="*/ 1586583 h 5973007"/>
              <a:gd name="connsiteX52367" fmla="*/ 4720418 w 6884782"/>
              <a:gd name="connsiteY52367" fmla="*/ 1589286 h 5973007"/>
              <a:gd name="connsiteX52368" fmla="*/ 4715936 w 6884782"/>
              <a:gd name="connsiteY52368" fmla="*/ 1593127 h 5973007"/>
              <a:gd name="connsiteX52369" fmla="*/ 4713375 w 6884782"/>
              <a:gd name="connsiteY52369" fmla="*/ 1591135 h 5973007"/>
              <a:gd name="connsiteX52370" fmla="*/ 4712735 w 6884782"/>
              <a:gd name="connsiteY52370" fmla="*/ 1593269 h 5973007"/>
              <a:gd name="connsiteX52371" fmla="*/ 4707399 w 6884782"/>
              <a:gd name="connsiteY52371" fmla="*/ 1588717 h 5973007"/>
              <a:gd name="connsiteX52372" fmla="*/ 4705052 w 6884782"/>
              <a:gd name="connsiteY52372" fmla="*/ 1587720 h 5973007"/>
              <a:gd name="connsiteX52373" fmla="*/ 4707186 w 6884782"/>
              <a:gd name="connsiteY52373" fmla="*/ 1586440 h 5973007"/>
              <a:gd name="connsiteX52374" fmla="*/ 4709960 w 6884782"/>
              <a:gd name="connsiteY52374" fmla="*/ 1589855 h 5973007"/>
              <a:gd name="connsiteX52375" fmla="*/ 4712095 w 6884782"/>
              <a:gd name="connsiteY52375" fmla="*/ 1588432 h 5973007"/>
              <a:gd name="connsiteX52376" fmla="*/ 4713375 w 6884782"/>
              <a:gd name="connsiteY52376" fmla="*/ 1589712 h 5973007"/>
              <a:gd name="connsiteX52377" fmla="*/ 4713588 w 6884782"/>
              <a:gd name="connsiteY52377" fmla="*/ 1589855 h 5973007"/>
              <a:gd name="connsiteX52378" fmla="*/ 4713802 w 6884782"/>
              <a:gd name="connsiteY52378" fmla="*/ 1589712 h 5973007"/>
              <a:gd name="connsiteX52379" fmla="*/ 4713375 w 6884782"/>
              <a:gd name="connsiteY52379" fmla="*/ 1589712 h 5973007"/>
              <a:gd name="connsiteX52380" fmla="*/ 4712522 w 6884782"/>
              <a:gd name="connsiteY52380" fmla="*/ 1577904 h 5973007"/>
              <a:gd name="connsiteX52381" fmla="*/ 4711241 w 6884782"/>
              <a:gd name="connsiteY52381" fmla="*/ 1577193 h 5973007"/>
              <a:gd name="connsiteX52382" fmla="*/ 4710174 w 6884782"/>
              <a:gd name="connsiteY52382" fmla="*/ 1577904 h 5973007"/>
              <a:gd name="connsiteX52383" fmla="*/ 4709747 w 6884782"/>
              <a:gd name="connsiteY52383" fmla="*/ 1581176 h 5973007"/>
              <a:gd name="connsiteX52384" fmla="*/ 4700570 w 6884782"/>
              <a:gd name="connsiteY52384" fmla="*/ 1587294 h 5973007"/>
              <a:gd name="connsiteX52385" fmla="*/ 4692246 w 6884782"/>
              <a:gd name="connsiteY52385" fmla="*/ 1581176 h 5973007"/>
              <a:gd name="connsiteX52386" fmla="*/ 4691606 w 6884782"/>
              <a:gd name="connsiteY52386" fmla="*/ 1580323 h 5973007"/>
              <a:gd name="connsiteX52387" fmla="*/ 4690326 w 6884782"/>
              <a:gd name="connsiteY52387" fmla="*/ 1579611 h 5973007"/>
              <a:gd name="connsiteX52388" fmla="*/ 4686057 w 6884782"/>
              <a:gd name="connsiteY52388" fmla="*/ 1576909 h 5973007"/>
              <a:gd name="connsiteX52389" fmla="*/ 4685844 w 6884782"/>
              <a:gd name="connsiteY52389" fmla="*/ 1575770 h 5973007"/>
              <a:gd name="connsiteX52390" fmla="*/ 4688192 w 6884782"/>
              <a:gd name="connsiteY52390" fmla="*/ 1574489 h 5973007"/>
              <a:gd name="connsiteX52391" fmla="*/ 4689899 w 6884782"/>
              <a:gd name="connsiteY52391" fmla="*/ 1575201 h 5973007"/>
              <a:gd name="connsiteX52392" fmla="*/ 4689472 w 6884782"/>
              <a:gd name="connsiteY52392" fmla="*/ 1570648 h 5973007"/>
              <a:gd name="connsiteX52393" fmla="*/ 4693313 w 6884782"/>
              <a:gd name="connsiteY52393" fmla="*/ 1566665 h 5973007"/>
              <a:gd name="connsiteX52394" fmla="*/ 4695234 w 6884782"/>
              <a:gd name="connsiteY52394" fmla="*/ 1565527 h 5973007"/>
              <a:gd name="connsiteX52395" fmla="*/ 4692460 w 6884782"/>
              <a:gd name="connsiteY52395" fmla="*/ 1565669 h 5973007"/>
              <a:gd name="connsiteX52396" fmla="*/ 4688192 w 6884782"/>
              <a:gd name="connsiteY52396" fmla="*/ 1561686 h 5973007"/>
              <a:gd name="connsiteX52397" fmla="*/ 4699289 w 6884782"/>
              <a:gd name="connsiteY52397" fmla="*/ 1541626 h 5973007"/>
              <a:gd name="connsiteX52398" fmla="*/ 4700570 w 6884782"/>
              <a:gd name="connsiteY52398" fmla="*/ 1541341 h 5973007"/>
              <a:gd name="connsiteX52399" fmla="*/ 4701637 w 6884782"/>
              <a:gd name="connsiteY52399" fmla="*/ 1540061 h 5973007"/>
              <a:gd name="connsiteX52400" fmla="*/ 4701637 w 6884782"/>
              <a:gd name="connsiteY52400" fmla="*/ 1539776 h 5973007"/>
              <a:gd name="connsiteX52401" fmla="*/ 4701424 w 6884782"/>
              <a:gd name="connsiteY52401" fmla="*/ 1538496 h 5973007"/>
              <a:gd name="connsiteX52402" fmla="*/ 4703771 w 6884782"/>
              <a:gd name="connsiteY52402" fmla="*/ 1534370 h 5973007"/>
              <a:gd name="connsiteX52403" fmla="*/ 4705052 w 6884782"/>
              <a:gd name="connsiteY52403" fmla="*/ 1533801 h 5973007"/>
              <a:gd name="connsiteX52404" fmla="*/ 4544987 w 6884782"/>
              <a:gd name="connsiteY52404" fmla="*/ 1533517 h 5973007"/>
              <a:gd name="connsiteX52405" fmla="*/ 4541145 w 6884782"/>
              <a:gd name="connsiteY52405" fmla="*/ 1552011 h 5973007"/>
              <a:gd name="connsiteX52406" fmla="*/ 4544987 w 6884782"/>
              <a:gd name="connsiteY52406" fmla="*/ 1533517 h 5973007"/>
              <a:gd name="connsiteX52407" fmla="*/ 3422399 w 6884782"/>
              <a:gd name="connsiteY52407" fmla="*/ 1533374 h 5973007"/>
              <a:gd name="connsiteX52408" fmla="*/ 3421545 w 6884782"/>
              <a:gd name="connsiteY52408" fmla="*/ 1534228 h 5973007"/>
              <a:gd name="connsiteX52409" fmla="*/ 3422399 w 6884782"/>
              <a:gd name="connsiteY52409" fmla="*/ 1534654 h 5973007"/>
              <a:gd name="connsiteX52410" fmla="*/ 4124550 w 6884782"/>
              <a:gd name="connsiteY52410" fmla="*/ 1533232 h 5973007"/>
              <a:gd name="connsiteX52411" fmla="*/ 4128178 w 6884782"/>
              <a:gd name="connsiteY52411" fmla="*/ 1539065 h 5973007"/>
              <a:gd name="connsiteX52412" fmla="*/ 4127751 w 6884782"/>
              <a:gd name="connsiteY52412" fmla="*/ 1539919 h 5973007"/>
              <a:gd name="connsiteX52413" fmla="*/ 4128605 w 6884782"/>
              <a:gd name="connsiteY52413" fmla="*/ 1539207 h 5973007"/>
              <a:gd name="connsiteX52414" fmla="*/ 4135008 w 6884782"/>
              <a:gd name="connsiteY52414" fmla="*/ 1544471 h 5973007"/>
              <a:gd name="connsiteX52415" fmla="*/ 4135435 w 6884782"/>
              <a:gd name="connsiteY52415" fmla="*/ 1553576 h 5973007"/>
              <a:gd name="connsiteX52416" fmla="*/ 4121562 w 6884782"/>
              <a:gd name="connsiteY52416" fmla="*/ 1550304 h 5973007"/>
              <a:gd name="connsiteX52417" fmla="*/ 4122416 w 6884782"/>
              <a:gd name="connsiteY52417" fmla="*/ 1548170 h 5973007"/>
              <a:gd name="connsiteX52418" fmla="*/ 4119855 w 6884782"/>
              <a:gd name="connsiteY52418" fmla="*/ 1548455 h 5973007"/>
              <a:gd name="connsiteX52419" fmla="*/ 4116226 w 6884782"/>
              <a:gd name="connsiteY52419" fmla="*/ 1547601 h 5973007"/>
              <a:gd name="connsiteX52420" fmla="*/ 4115373 w 6884782"/>
              <a:gd name="connsiteY52420" fmla="*/ 1539065 h 5973007"/>
              <a:gd name="connsiteX52421" fmla="*/ 4118147 w 6884782"/>
              <a:gd name="connsiteY52421" fmla="*/ 1536362 h 5973007"/>
              <a:gd name="connsiteX52422" fmla="*/ 4124977 w 6884782"/>
              <a:gd name="connsiteY52422" fmla="*/ 1534228 h 5973007"/>
              <a:gd name="connsiteX52423" fmla="*/ 4124550 w 6884782"/>
              <a:gd name="connsiteY52423" fmla="*/ 1533232 h 5973007"/>
              <a:gd name="connsiteX52424" fmla="*/ 1543474 w 6884782"/>
              <a:gd name="connsiteY52424" fmla="*/ 1533186 h 5973007"/>
              <a:gd name="connsiteX52425" fmla="*/ 1545230 w 6884782"/>
              <a:gd name="connsiteY52425" fmla="*/ 1550534 h 5973007"/>
              <a:gd name="connsiteX52426" fmla="*/ 1539034 w 6884782"/>
              <a:gd name="connsiteY52426" fmla="*/ 1547436 h 5973007"/>
              <a:gd name="connsiteX52427" fmla="*/ 1538518 w 6884782"/>
              <a:gd name="connsiteY52427" fmla="*/ 1546507 h 5973007"/>
              <a:gd name="connsiteX52428" fmla="*/ 1535730 w 6884782"/>
              <a:gd name="connsiteY52428" fmla="*/ 1546042 h 5973007"/>
              <a:gd name="connsiteX52429" fmla="*/ 1529328 w 6884782"/>
              <a:gd name="connsiteY52429" fmla="*/ 1540931 h 5973007"/>
              <a:gd name="connsiteX52430" fmla="*/ 1532529 w 6884782"/>
              <a:gd name="connsiteY52430" fmla="*/ 1539227 h 5973007"/>
              <a:gd name="connsiteX52431" fmla="*/ 1535420 w 6884782"/>
              <a:gd name="connsiteY52431" fmla="*/ 1539537 h 5973007"/>
              <a:gd name="connsiteX52432" fmla="*/ 1535420 w 6884782"/>
              <a:gd name="connsiteY52432" fmla="*/ 1539072 h 5973007"/>
              <a:gd name="connsiteX52433" fmla="*/ 1531703 w 6884782"/>
              <a:gd name="connsiteY52433" fmla="*/ 1539227 h 5973007"/>
              <a:gd name="connsiteX52434" fmla="*/ 1532735 w 6884782"/>
              <a:gd name="connsiteY52434" fmla="*/ 1538297 h 5973007"/>
              <a:gd name="connsiteX52435" fmla="*/ 1534491 w 6884782"/>
              <a:gd name="connsiteY52435" fmla="*/ 1538452 h 5973007"/>
              <a:gd name="connsiteX52436" fmla="*/ 1535420 w 6884782"/>
              <a:gd name="connsiteY52436" fmla="*/ 1538607 h 5973007"/>
              <a:gd name="connsiteX52437" fmla="*/ 1535317 w 6884782"/>
              <a:gd name="connsiteY52437" fmla="*/ 1536594 h 5973007"/>
              <a:gd name="connsiteX52438" fmla="*/ 1543474 w 6884782"/>
              <a:gd name="connsiteY52438" fmla="*/ 1533186 h 5973007"/>
              <a:gd name="connsiteX52439" fmla="*/ 4655752 w 6884782"/>
              <a:gd name="connsiteY52439" fmla="*/ 1532805 h 5973007"/>
              <a:gd name="connsiteX52440" fmla="*/ 4666850 w 6884782"/>
              <a:gd name="connsiteY52440" fmla="*/ 1537500 h 5973007"/>
              <a:gd name="connsiteX52441" fmla="*/ 4672399 w 6884782"/>
              <a:gd name="connsiteY52441" fmla="*/ 1544613 h 5973007"/>
              <a:gd name="connsiteX52442" fmla="*/ 4674746 w 6884782"/>
              <a:gd name="connsiteY52442" fmla="*/ 1551015 h 5973007"/>
              <a:gd name="connsiteX52443" fmla="*/ 4676454 w 6884782"/>
              <a:gd name="connsiteY52443" fmla="*/ 1552296 h 5973007"/>
              <a:gd name="connsiteX52444" fmla="*/ 4675386 w 6884782"/>
              <a:gd name="connsiteY52444" fmla="*/ 1553149 h 5973007"/>
              <a:gd name="connsiteX52445" fmla="*/ 4677521 w 6884782"/>
              <a:gd name="connsiteY52445" fmla="*/ 1558698 h 5973007"/>
              <a:gd name="connsiteX52446" fmla="*/ 4683496 w 6884782"/>
              <a:gd name="connsiteY52446" fmla="*/ 1575059 h 5973007"/>
              <a:gd name="connsiteX52447" fmla="*/ 4681575 w 6884782"/>
              <a:gd name="connsiteY52447" fmla="*/ 1574917 h 5973007"/>
              <a:gd name="connsiteX52448" fmla="*/ 4682642 w 6884782"/>
              <a:gd name="connsiteY52448" fmla="*/ 1576197 h 5973007"/>
              <a:gd name="connsiteX52449" fmla="*/ 4685417 w 6884782"/>
              <a:gd name="connsiteY52449" fmla="*/ 1582741 h 5973007"/>
              <a:gd name="connsiteX52450" fmla="*/ 4684137 w 6884782"/>
              <a:gd name="connsiteY52450" fmla="*/ 1586440 h 5973007"/>
              <a:gd name="connsiteX52451" fmla="*/ 4666423 w 6884782"/>
              <a:gd name="connsiteY52451" fmla="*/ 1587578 h 5973007"/>
              <a:gd name="connsiteX52452" fmla="*/ 4665356 w 6884782"/>
              <a:gd name="connsiteY52452" fmla="*/ 1586583 h 5973007"/>
              <a:gd name="connsiteX52453" fmla="*/ 4660020 w 6884782"/>
              <a:gd name="connsiteY52453" fmla="*/ 1599813 h 5973007"/>
              <a:gd name="connsiteX52454" fmla="*/ 4658740 w 6884782"/>
              <a:gd name="connsiteY52454" fmla="*/ 1603655 h 5973007"/>
              <a:gd name="connsiteX52455" fmla="*/ 4659593 w 6884782"/>
              <a:gd name="connsiteY52455" fmla="*/ 1604793 h 5973007"/>
              <a:gd name="connsiteX52456" fmla="*/ 4661728 w 6884782"/>
              <a:gd name="connsiteY52456" fmla="*/ 1609061 h 5973007"/>
              <a:gd name="connsiteX52457" fmla="*/ 4657459 w 6884782"/>
              <a:gd name="connsiteY52457" fmla="*/ 1610768 h 5973007"/>
              <a:gd name="connsiteX52458" fmla="*/ 4656392 w 6884782"/>
              <a:gd name="connsiteY52458" fmla="*/ 1610626 h 5973007"/>
              <a:gd name="connsiteX52459" fmla="*/ 4656392 w 6884782"/>
              <a:gd name="connsiteY52459" fmla="*/ 1611053 h 5973007"/>
              <a:gd name="connsiteX52460" fmla="*/ 4655965 w 6884782"/>
              <a:gd name="connsiteY52460" fmla="*/ 1610626 h 5973007"/>
              <a:gd name="connsiteX52461" fmla="*/ 4654471 w 6884782"/>
              <a:gd name="connsiteY52461" fmla="*/ 1610484 h 5973007"/>
              <a:gd name="connsiteX52462" fmla="*/ 4651057 w 6884782"/>
              <a:gd name="connsiteY52462" fmla="*/ 1608634 h 5973007"/>
              <a:gd name="connsiteX52463" fmla="*/ 4649776 w 6884782"/>
              <a:gd name="connsiteY52463" fmla="*/ 1606215 h 5973007"/>
              <a:gd name="connsiteX52464" fmla="*/ 4648069 w 6884782"/>
              <a:gd name="connsiteY52464" fmla="*/ 1603086 h 5973007"/>
              <a:gd name="connsiteX52465" fmla="*/ 4648069 w 6884782"/>
              <a:gd name="connsiteY52465" fmla="*/ 1602517 h 5973007"/>
              <a:gd name="connsiteX52466" fmla="*/ 4646574 w 6884782"/>
              <a:gd name="connsiteY52466" fmla="*/ 1601236 h 5973007"/>
              <a:gd name="connsiteX52467" fmla="*/ 4634623 w 6884782"/>
              <a:gd name="connsiteY52467" fmla="*/ 1596114 h 5973007"/>
              <a:gd name="connsiteX52468" fmla="*/ 4633556 w 6884782"/>
              <a:gd name="connsiteY52468" fmla="*/ 1598249 h 5973007"/>
              <a:gd name="connsiteX52469" fmla="*/ 4628861 w 6884782"/>
              <a:gd name="connsiteY52469" fmla="*/ 1602374 h 5973007"/>
              <a:gd name="connsiteX52470" fmla="*/ 4623739 w 6884782"/>
              <a:gd name="connsiteY52470" fmla="*/ 1592558 h 5973007"/>
              <a:gd name="connsiteX52471" fmla="*/ 4625019 w 6884782"/>
              <a:gd name="connsiteY52471" fmla="*/ 1590282 h 5973007"/>
              <a:gd name="connsiteX52472" fmla="*/ 4623312 w 6884782"/>
              <a:gd name="connsiteY52472" fmla="*/ 1588574 h 5973007"/>
              <a:gd name="connsiteX52473" fmla="*/ 4620324 w 6884782"/>
              <a:gd name="connsiteY52473" fmla="*/ 1583453 h 5973007"/>
              <a:gd name="connsiteX52474" fmla="*/ 4617976 w 6884782"/>
              <a:gd name="connsiteY52474" fmla="*/ 1572640 h 5973007"/>
              <a:gd name="connsiteX52475" fmla="*/ 4619044 w 6884782"/>
              <a:gd name="connsiteY52475" fmla="*/ 1567234 h 5973007"/>
              <a:gd name="connsiteX52476" fmla="*/ 4618830 w 6884782"/>
              <a:gd name="connsiteY52476" fmla="*/ 1566950 h 5973007"/>
              <a:gd name="connsiteX52477" fmla="*/ 4619470 w 6884782"/>
              <a:gd name="connsiteY52477" fmla="*/ 1558414 h 5973007"/>
              <a:gd name="connsiteX52478" fmla="*/ 4622245 w 6884782"/>
              <a:gd name="connsiteY52478" fmla="*/ 1560121 h 5973007"/>
              <a:gd name="connsiteX52479" fmla="*/ 4625446 w 6884782"/>
              <a:gd name="connsiteY52479" fmla="*/ 1555995 h 5973007"/>
              <a:gd name="connsiteX52480" fmla="*/ 4629501 w 6884782"/>
              <a:gd name="connsiteY52480" fmla="*/ 1553434 h 5973007"/>
              <a:gd name="connsiteX52481" fmla="*/ 4630568 w 6884782"/>
              <a:gd name="connsiteY52481" fmla="*/ 1550162 h 5973007"/>
              <a:gd name="connsiteX52482" fmla="*/ 4627367 w 6884782"/>
              <a:gd name="connsiteY52482" fmla="*/ 1550873 h 5973007"/>
              <a:gd name="connsiteX52483" fmla="*/ 4623312 w 6884782"/>
              <a:gd name="connsiteY52483" fmla="*/ 1548739 h 5973007"/>
              <a:gd name="connsiteX52484" fmla="*/ 4630782 w 6884782"/>
              <a:gd name="connsiteY52484" fmla="*/ 1539491 h 5973007"/>
              <a:gd name="connsiteX52485" fmla="*/ 4634410 w 6884782"/>
              <a:gd name="connsiteY52485" fmla="*/ 1543191 h 5973007"/>
              <a:gd name="connsiteX52486" fmla="*/ 4633556 w 6884782"/>
              <a:gd name="connsiteY52486" fmla="*/ 1544898 h 5973007"/>
              <a:gd name="connsiteX52487" fmla="*/ 4637184 w 6884782"/>
              <a:gd name="connsiteY52487" fmla="*/ 1539634 h 5973007"/>
              <a:gd name="connsiteX52488" fmla="*/ 4655752 w 6884782"/>
              <a:gd name="connsiteY52488" fmla="*/ 1532805 h 5973007"/>
              <a:gd name="connsiteX52489" fmla="*/ 1490813 w 6884782"/>
              <a:gd name="connsiteY52489" fmla="*/ 1532566 h 5973007"/>
              <a:gd name="connsiteX52490" fmla="*/ 1495460 w 6884782"/>
              <a:gd name="connsiteY52490" fmla="*/ 1540776 h 5973007"/>
              <a:gd name="connsiteX52491" fmla="*/ 1485754 w 6884782"/>
              <a:gd name="connsiteY52491" fmla="*/ 1542790 h 5973007"/>
              <a:gd name="connsiteX52492" fmla="*/ 1484722 w 6884782"/>
              <a:gd name="connsiteY52492" fmla="*/ 1534890 h 5973007"/>
              <a:gd name="connsiteX52493" fmla="*/ 1490813 w 6884782"/>
              <a:gd name="connsiteY52493" fmla="*/ 1532566 h 5973007"/>
              <a:gd name="connsiteX52494" fmla="*/ 1199321 w 6884782"/>
              <a:gd name="connsiteY52494" fmla="*/ 1532102 h 5973007"/>
              <a:gd name="connsiteX52495" fmla="*/ 1199734 w 6884782"/>
              <a:gd name="connsiteY52495" fmla="*/ 1537368 h 5973007"/>
              <a:gd name="connsiteX52496" fmla="*/ 1193642 w 6884782"/>
              <a:gd name="connsiteY52496" fmla="*/ 1533186 h 5973007"/>
              <a:gd name="connsiteX52497" fmla="*/ 1199321 w 6884782"/>
              <a:gd name="connsiteY52497" fmla="*/ 1532102 h 5973007"/>
              <a:gd name="connsiteX52498" fmla="*/ 1608835 w 6884782"/>
              <a:gd name="connsiteY52498" fmla="*/ 1531792 h 5973007"/>
              <a:gd name="connsiteX52499" fmla="*/ 1610591 w 6884782"/>
              <a:gd name="connsiteY52499" fmla="*/ 1532876 h 5973007"/>
              <a:gd name="connsiteX52500" fmla="*/ 1612449 w 6884782"/>
              <a:gd name="connsiteY52500" fmla="*/ 1535819 h 5973007"/>
              <a:gd name="connsiteX52501" fmla="*/ 1611933 w 6884782"/>
              <a:gd name="connsiteY52501" fmla="*/ 1538143 h 5973007"/>
              <a:gd name="connsiteX52502" fmla="*/ 1609971 w 6884782"/>
              <a:gd name="connsiteY52502" fmla="*/ 1538143 h 5973007"/>
              <a:gd name="connsiteX52503" fmla="*/ 1608526 w 6884782"/>
              <a:gd name="connsiteY52503" fmla="*/ 1538917 h 5973007"/>
              <a:gd name="connsiteX52504" fmla="*/ 1608009 w 6884782"/>
              <a:gd name="connsiteY52504" fmla="*/ 1538143 h 5973007"/>
              <a:gd name="connsiteX52505" fmla="*/ 1606770 w 6884782"/>
              <a:gd name="connsiteY52505" fmla="*/ 1537833 h 5973007"/>
              <a:gd name="connsiteX52506" fmla="*/ 1606461 w 6884782"/>
              <a:gd name="connsiteY52506" fmla="*/ 1533961 h 5973007"/>
              <a:gd name="connsiteX52507" fmla="*/ 1607287 w 6884782"/>
              <a:gd name="connsiteY52507" fmla="*/ 1532257 h 5973007"/>
              <a:gd name="connsiteX52508" fmla="*/ 1608835 w 6884782"/>
              <a:gd name="connsiteY52508" fmla="*/ 1531792 h 5973007"/>
              <a:gd name="connsiteX52509" fmla="*/ 1428447 w 6884782"/>
              <a:gd name="connsiteY52509" fmla="*/ 1531637 h 5973007"/>
              <a:gd name="connsiteX52510" fmla="*/ 1430822 w 6884782"/>
              <a:gd name="connsiteY52510" fmla="*/ 1532412 h 5973007"/>
              <a:gd name="connsiteX52511" fmla="*/ 1428447 w 6884782"/>
              <a:gd name="connsiteY52511" fmla="*/ 1535509 h 5973007"/>
              <a:gd name="connsiteX52512" fmla="*/ 1429479 w 6884782"/>
              <a:gd name="connsiteY52512" fmla="*/ 1536439 h 5973007"/>
              <a:gd name="connsiteX52513" fmla="*/ 1429479 w 6884782"/>
              <a:gd name="connsiteY52513" fmla="*/ 1540621 h 5973007"/>
              <a:gd name="connsiteX52514" fmla="*/ 1424110 w 6884782"/>
              <a:gd name="connsiteY52514" fmla="*/ 1536749 h 5973007"/>
              <a:gd name="connsiteX52515" fmla="*/ 1424213 w 6884782"/>
              <a:gd name="connsiteY52515" fmla="*/ 1536594 h 5973007"/>
              <a:gd name="connsiteX52516" fmla="*/ 1422458 w 6884782"/>
              <a:gd name="connsiteY52516" fmla="*/ 1536903 h 5973007"/>
              <a:gd name="connsiteX52517" fmla="*/ 1421012 w 6884782"/>
              <a:gd name="connsiteY52517" fmla="*/ 1538452 h 5973007"/>
              <a:gd name="connsiteX52518" fmla="*/ 1418637 w 6884782"/>
              <a:gd name="connsiteY52518" fmla="*/ 1537678 h 5973007"/>
              <a:gd name="connsiteX52519" fmla="*/ 1418328 w 6884782"/>
              <a:gd name="connsiteY52519" fmla="*/ 1537213 h 5973007"/>
              <a:gd name="connsiteX52520" fmla="*/ 1416056 w 6884782"/>
              <a:gd name="connsiteY52520" fmla="*/ 1536129 h 5973007"/>
              <a:gd name="connsiteX52521" fmla="*/ 1418947 w 6884782"/>
              <a:gd name="connsiteY52521" fmla="*/ 1533496 h 5973007"/>
              <a:gd name="connsiteX52522" fmla="*/ 1422974 w 6884782"/>
              <a:gd name="connsiteY52522" fmla="*/ 1533186 h 5973007"/>
              <a:gd name="connsiteX52523" fmla="*/ 1425039 w 6884782"/>
              <a:gd name="connsiteY52523" fmla="*/ 1533186 h 5973007"/>
              <a:gd name="connsiteX52524" fmla="*/ 1425349 w 6884782"/>
              <a:gd name="connsiteY52524" fmla="*/ 1533031 h 5973007"/>
              <a:gd name="connsiteX52525" fmla="*/ 1427001 w 6884782"/>
              <a:gd name="connsiteY52525" fmla="*/ 1531947 h 5973007"/>
              <a:gd name="connsiteX52526" fmla="*/ 1427208 w 6884782"/>
              <a:gd name="connsiteY52526" fmla="*/ 1531947 h 5973007"/>
              <a:gd name="connsiteX52527" fmla="*/ 1427517 w 6884782"/>
              <a:gd name="connsiteY52527" fmla="*/ 1532102 h 5973007"/>
              <a:gd name="connsiteX52528" fmla="*/ 1291529 w 6884782"/>
              <a:gd name="connsiteY52528" fmla="*/ 1531327 h 5973007"/>
              <a:gd name="connsiteX52529" fmla="*/ 1297725 w 6884782"/>
              <a:gd name="connsiteY52529" fmla="*/ 1545578 h 5973007"/>
              <a:gd name="connsiteX52530" fmla="*/ 1297931 w 6884782"/>
              <a:gd name="connsiteY52530" fmla="*/ 1547436 h 5973007"/>
              <a:gd name="connsiteX52531" fmla="*/ 1295659 w 6884782"/>
              <a:gd name="connsiteY52531" fmla="*/ 1548830 h 5973007"/>
              <a:gd name="connsiteX52532" fmla="*/ 1289051 w 6884782"/>
              <a:gd name="connsiteY52532" fmla="*/ 1538917 h 5973007"/>
              <a:gd name="connsiteX52533" fmla="*/ 1288844 w 6884782"/>
              <a:gd name="connsiteY52533" fmla="*/ 1537058 h 5973007"/>
              <a:gd name="connsiteX52534" fmla="*/ 1291529 w 6884782"/>
              <a:gd name="connsiteY52534" fmla="*/ 1531327 h 5973007"/>
              <a:gd name="connsiteX52535" fmla="*/ 4607305 w 6884782"/>
              <a:gd name="connsiteY52535" fmla="*/ 1531240 h 5973007"/>
              <a:gd name="connsiteX52536" fmla="*/ 4617976 w 6884782"/>
              <a:gd name="connsiteY52536" fmla="*/ 1537500 h 5973007"/>
              <a:gd name="connsiteX52537" fmla="*/ 4600903 w 6884782"/>
              <a:gd name="connsiteY52537" fmla="*/ 1540345 h 5973007"/>
              <a:gd name="connsiteX52538" fmla="*/ 4607305 w 6884782"/>
              <a:gd name="connsiteY52538" fmla="*/ 1531240 h 5973007"/>
              <a:gd name="connsiteX52539" fmla="*/ 5442417 w 6884782"/>
              <a:gd name="connsiteY52539" fmla="*/ 1531098 h 5973007"/>
              <a:gd name="connsiteX52540" fmla="*/ 5444338 w 6884782"/>
              <a:gd name="connsiteY52540" fmla="*/ 1533943 h 5973007"/>
              <a:gd name="connsiteX52541" fmla="*/ 5444978 w 6884782"/>
              <a:gd name="connsiteY52541" fmla="*/ 1537216 h 5973007"/>
              <a:gd name="connsiteX52542" fmla="*/ 5441350 w 6884782"/>
              <a:gd name="connsiteY52542" fmla="*/ 1534797 h 5973007"/>
              <a:gd name="connsiteX52543" fmla="*/ 5442417 w 6884782"/>
              <a:gd name="connsiteY52543" fmla="*/ 1531098 h 5973007"/>
              <a:gd name="connsiteX52544" fmla="*/ 4544987 w 6884782"/>
              <a:gd name="connsiteY52544" fmla="*/ 1530955 h 5973007"/>
              <a:gd name="connsiteX52545" fmla="*/ 4546481 w 6884782"/>
              <a:gd name="connsiteY52545" fmla="*/ 1530955 h 5973007"/>
              <a:gd name="connsiteX52546" fmla="*/ 4545200 w 6884782"/>
              <a:gd name="connsiteY52546" fmla="*/ 1533517 h 5973007"/>
              <a:gd name="connsiteX52547" fmla="*/ 4544347 w 6884782"/>
              <a:gd name="connsiteY52547" fmla="*/ 1532094 h 5973007"/>
              <a:gd name="connsiteX52548" fmla="*/ 4544987 w 6884782"/>
              <a:gd name="connsiteY52548" fmla="*/ 1530955 h 5973007"/>
              <a:gd name="connsiteX52549" fmla="*/ 1224103 w 6884782"/>
              <a:gd name="connsiteY52549" fmla="*/ 1530862 h 5973007"/>
              <a:gd name="connsiteX52550" fmla="*/ 1232673 w 6884782"/>
              <a:gd name="connsiteY52550" fmla="*/ 1530862 h 5973007"/>
              <a:gd name="connsiteX52551" fmla="*/ 1232570 w 6884782"/>
              <a:gd name="connsiteY52551" fmla="*/ 1534425 h 5973007"/>
              <a:gd name="connsiteX52552" fmla="*/ 1219456 w 6884782"/>
              <a:gd name="connsiteY52552" fmla="*/ 1537058 h 5973007"/>
              <a:gd name="connsiteX52553" fmla="*/ 1224103 w 6884782"/>
              <a:gd name="connsiteY52553" fmla="*/ 1530862 h 5973007"/>
              <a:gd name="connsiteX52554" fmla="*/ 3757895 w 6884782"/>
              <a:gd name="connsiteY52554" fmla="*/ 1530102 h 5973007"/>
              <a:gd name="connsiteX52555" fmla="*/ 3757041 w 6884782"/>
              <a:gd name="connsiteY52555" fmla="*/ 1530529 h 5973007"/>
              <a:gd name="connsiteX52556" fmla="*/ 3756828 w 6884782"/>
              <a:gd name="connsiteY52556" fmla="*/ 1531098 h 5973007"/>
              <a:gd name="connsiteX52557" fmla="*/ 5859652 w 6884782"/>
              <a:gd name="connsiteY52557" fmla="*/ 1529960 h 5973007"/>
              <a:gd name="connsiteX52558" fmla="*/ 5862640 w 6884782"/>
              <a:gd name="connsiteY52558" fmla="*/ 1530102 h 5973007"/>
              <a:gd name="connsiteX52559" fmla="*/ 5866269 w 6884782"/>
              <a:gd name="connsiteY52559" fmla="*/ 1531667 h 5973007"/>
              <a:gd name="connsiteX52560" fmla="*/ 5869043 w 6884782"/>
              <a:gd name="connsiteY52560" fmla="*/ 1536362 h 5973007"/>
              <a:gd name="connsiteX52561" fmla="*/ 5869470 w 6884782"/>
              <a:gd name="connsiteY52561" fmla="*/ 1538780 h 5973007"/>
              <a:gd name="connsiteX52562" fmla="*/ 5859439 w 6884782"/>
              <a:gd name="connsiteY52562" fmla="*/ 1541626 h 5973007"/>
              <a:gd name="connsiteX52563" fmla="*/ 5854744 w 6884782"/>
              <a:gd name="connsiteY52563" fmla="*/ 1532236 h 5973007"/>
              <a:gd name="connsiteX52564" fmla="*/ 5856878 w 6884782"/>
              <a:gd name="connsiteY52564" fmla="*/ 1530955 h 5973007"/>
              <a:gd name="connsiteX52565" fmla="*/ 5859652 w 6884782"/>
              <a:gd name="connsiteY52565" fmla="*/ 1529960 h 5973007"/>
              <a:gd name="connsiteX52566" fmla="*/ 1215842 w 6884782"/>
              <a:gd name="connsiteY52566" fmla="*/ 1529778 h 5973007"/>
              <a:gd name="connsiteX52567" fmla="*/ 1217907 w 6884782"/>
              <a:gd name="connsiteY52567" fmla="*/ 1531327 h 5973007"/>
              <a:gd name="connsiteX52568" fmla="*/ 1218114 w 6884782"/>
              <a:gd name="connsiteY52568" fmla="*/ 1535509 h 5973007"/>
              <a:gd name="connsiteX52569" fmla="*/ 1210473 w 6884782"/>
              <a:gd name="connsiteY52569" fmla="*/ 1535045 h 5973007"/>
              <a:gd name="connsiteX52570" fmla="*/ 1209957 w 6884782"/>
              <a:gd name="connsiteY52570" fmla="*/ 1532412 h 5973007"/>
              <a:gd name="connsiteX52571" fmla="*/ 1215842 w 6884782"/>
              <a:gd name="connsiteY52571" fmla="*/ 1529778 h 5973007"/>
              <a:gd name="connsiteX52572" fmla="*/ 3770059 w 6884782"/>
              <a:gd name="connsiteY52572" fmla="*/ 1529248 h 5973007"/>
              <a:gd name="connsiteX52573" fmla="*/ 3776035 w 6884782"/>
              <a:gd name="connsiteY52573" fmla="*/ 1529248 h 5973007"/>
              <a:gd name="connsiteX52574" fmla="*/ 3766005 w 6884782"/>
              <a:gd name="connsiteY52574" fmla="*/ 1532094 h 5973007"/>
              <a:gd name="connsiteX52575" fmla="*/ 3770059 w 6884782"/>
              <a:gd name="connsiteY52575" fmla="*/ 1529248 h 5973007"/>
              <a:gd name="connsiteX52576" fmla="*/ 1246406 w 6884782"/>
              <a:gd name="connsiteY52576" fmla="*/ 1528849 h 5973007"/>
              <a:gd name="connsiteX52577" fmla="*/ 1251466 w 6884782"/>
              <a:gd name="connsiteY52577" fmla="*/ 1531327 h 5973007"/>
              <a:gd name="connsiteX52578" fmla="*/ 1246509 w 6884782"/>
              <a:gd name="connsiteY52578" fmla="*/ 1539847 h 5973007"/>
              <a:gd name="connsiteX52579" fmla="*/ 1242895 w 6884782"/>
              <a:gd name="connsiteY52579" fmla="*/ 1538452 h 5973007"/>
              <a:gd name="connsiteX52580" fmla="*/ 1241656 w 6884782"/>
              <a:gd name="connsiteY52580" fmla="*/ 1535664 h 5973007"/>
              <a:gd name="connsiteX52581" fmla="*/ 1246406 w 6884782"/>
              <a:gd name="connsiteY52581" fmla="*/ 1528849 h 5973007"/>
              <a:gd name="connsiteX52582" fmla="*/ 5773004 w 6884782"/>
              <a:gd name="connsiteY52582" fmla="*/ 1528680 h 5973007"/>
              <a:gd name="connsiteX52583" fmla="*/ 5772577 w 6884782"/>
              <a:gd name="connsiteY52583" fmla="*/ 1529533 h 5973007"/>
              <a:gd name="connsiteX52584" fmla="*/ 5773004 w 6884782"/>
              <a:gd name="connsiteY52584" fmla="*/ 1532805 h 5973007"/>
              <a:gd name="connsiteX52585" fmla="*/ 5778340 w 6884782"/>
              <a:gd name="connsiteY52585" fmla="*/ 1539065 h 5973007"/>
              <a:gd name="connsiteX52586" fmla="*/ 5777913 w 6884782"/>
              <a:gd name="connsiteY52586" fmla="*/ 1541768 h 5973007"/>
              <a:gd name="connsiteX52587" fmla="*/ 5774498 w 6884782"/>
              <a:gd name="connsiteY52587" fmla="*/ 1540914 h 5973007"/>
              <a:gd name="connsiteX52588" fmla="*/ 5774498 w 6884782"/>
              <a:gd name="connsiteY52588" fmla="*/ 1536646 h 5973007"/>
              <a:gd name="connsiteX52589" fmla="*/ 5771510 w 6884782"/>
              <a:gd name="connsiteY52589" fmla="*/ 1533232 h 5973007"/>
              <a:gd name="connsiteX52590" fmla="*/ 5771510 w 6884782"/>
              <a:gd name="connsiteY52590" fmla="*/ 1528964 h 5973007"/>
              <a:gd name="connsiteX52591" fmla="*/ 5773004 w 6884782"/>
              <a:gd name="connsiteY52591" fmla="*/ 1528680 h 5973007"/>
              <a:gd name="connsiteX52592" fmla="*/ 5117379 w 6884782"/>
              <a:gd name="connsiteY52592" fmla="*/ 1528680 h 5973007"/>
              <a:gd name="connsiteX52593" fmla="*/ 5125915 w 6884782"/>
              <a:gd name="connsiteY52593" fmla="*/ 1530955 h 5973007"/>
              <a:gd name="connsiteX52594" fmla="*/ 5117379 w 6884782"/>
              <a:gd name="connsiteY52594" fmla="*/ 1528680 h 5973007"/>
              <a:gd name="connsiteX52595" fmla="*/ 3684051 w 6884782"/>
              <a:gd name="connsiteY52595" fmla="*/ 1528252 h 5973007"/>
              <a:gd name="connsiteX52596" fmla="*/ 3690667 w 6884782"/>
              <a:gd name="connsiteY52596" fmla="*/ 1534939 h 5973007"/>
              <a:gd name="connsiteX52597" fmla="*/ 3687893 w 6884782"/>
              <a:gd name="connsiteY52597" fmla="*/ 1533943 h 5973007"/>
              <a:gd name="connsiteX52598" fmla="*/ 3690027 w 6884782"/>
              <a:gd name="connsiteY52598" fmla="*/ 1535935 h 5973007"/>
              <a:gd name="connsiteX52599" fmla="*/ 3692162 w 6884782"/>
              <a:gd name="connsiteY52599" fmla="*/ 1543191 h 5973007"/>
              <a:gd name="connsiteX52600" fmla="*/ 3689174 w 6884782"/>
              <a:gd name="connsiteY52600" fmla="*/ 1543048 h 5973007"/>
              <a:gd name="connsiteX52601" fmla="*/ 3694936 w 6884782"/>
              <a:gd name="connsiteY52601" fmla="*/ 1544613 h 5973007"/>
              <a:gd name="connsiteX52602" fmla="*/ 3702193 w 6884782"/>
              <a:gd name="connsiteY52602" fmla="*/ 1545609 h 5973007"/>
              <a:gd name="connsiteX52603" fmla="*/ 3709876 w 6884782"/>
              <a:gd name="connsiteY52603" fmla="*/ 1539634 h 5973007"/>
              <a:gd name="connsiteX52604" fmla="*/ 3714997 w 6884782"/>
              <a:gd name="connsiteY52604" fmla="*/ 1539919 h 5973007"/>
              <a:gd name="connsiteX52605" fmla="*/ 3701765 w 6884782"/>
              <a:gd name="connsiteY52605" fmla="*/ 1571787 h 5973007"/>
              <a:gd name="connsiteX52606" fmla="*/ 3693655 w 6884782"/>
              <a:gd name="connsiteY52606" fmla="*/ 1577904 h 5973007"/>
              <a:gd name="connsiteX52607" fmla="*/ 3696643 w 6884782"/>
              <a:gd name="connsiteY52607" fmla="*/ 1554857 h 5973007"/>
              <a:gd name="connsiteX52608" fmla="*/ 3676155 w 6884782"/>
              <a:gd name="connsiteY52608" fmla="*/ 1544898 h 5973007"/>
              <a:gd name="connsiteX52609" fmla="*/ 3681277 w 6884782"/>
              <a:gd name="connsiteY52609" fmla="*/ 1542337 h 5973007"/>
              <a:gd name="connsiteX52610" fmla="*/ 3680851 w 6884782"/>
              <a:gd name="connsiteY52610" fmla="*/ 1537927 h 5973007"/>
              <a:gd name="connsiteX52611" fmla="*/ 3681704 w 6884782"/>
              <a:gd name="connsiteY52611" fmla="*/ 1536789 h 5973007"/>
              <a:gd name="connsiteX52612" fmla="*/ 3680637 w 6884782"/>
              <a:gd name="connsiteY52612" fmla="*/ 1535224 h 5973007"/>
              <a:gd name="connsiteX52613" fmla="*/ 3679783 w 6884782"/>
              <a:gd name="connsiteY52613" fmla="*/ 1533801 h 5973007"/>
              <a:gd name="connsiteX52614" fmla="*/ 3681277 w 6884782"/>
              <a:gd name="connsiteY52614" fmla="*/ 1530955 h 5973007"/>
              <a:gd name="connsiteX52615" fmla="*/ 3683411 w 6884782"/>
              <a:gd name="connsiteY52615" fmla="*/ 1531098 h 5973007"/>
              <a:gd name="connsiteX52616" fmla="*/ 5497266 w 6884782"/>
              <a:gd name="connsiteY52616" fmla="*/ 1528110 h 5973007"/>
              <a:gd name="connsiteX52617" fmla="*/ 5501534 w 6884782"/>
              <a:gd name="connsiteY52617" fmla="*/ 1529533 h 5973007"/>
              <a:gd name="connsiteX52618" fmla="*/ 5495986 w 6884782"/>
              <a:gd name="connsiteY52618" fmla="*/ 1531809 h 5973007"/>
              <a:gd name="connsiteX52619" fmla="*/ 5492144 w 6884782"/>
              <a:gd name="connsiteY52619" fmla="*/ 1529248 h 5973007"/>
              <a:gd name="connsiteX52620" fmla="*/ 5497266 w 6884782"/>
              <a:gd name="connsiteY52620" fmla="*/ 1528110 h 5973007"/>
              <a:gd name="connsiteX52621" fmla="*/ 5999656 w 6884782"/>
              <a:gd name="connsiteY52621" fmla="*/ 1527683 h 5973007"/>
              <a:gd name="connsiteX52622" fmla="*/ 6001577 w 6884782"/>
              <a:gd name="connsiteY52622" fmla="*/ 1532520 h 5973007"/>
              <a:gd name="connsiteX52623" fmla="*/ 5994321 w 6884782"/>
              <a:gd name="connsiteY52623" fmla="*/ 1534797 h 5973007"/>
              <a:gd name="connsiteX52624" fmla="*/ 5992400 w 6884782"/>
              <a:gd name="connsiteY52624" fmla="*/ 1529960 h 5973007"/>
              <a:gd name="connsiteX52625" fmla="*/ 5999656 w 6884782"/>
              <a:gd name="connsiteY52625" fmla="*/ 1527683 h 5973007"/>
              <a:gd name="connsiteX52626" fmla="*/ 5505589 w 6884782"/>
              <a:gd name="connsiteY52626" fmla="*/ 1527541 h 5973007"/>
              <a:gd name="connsiteX52627" fmla="*/ 5505802 w 6884782"/>
              <a:gd name="connsiteY52627" fmla="*/ 1529106 h 5973007"/>
              <a:gd name="connsiteX52628" fmla="*/ 5506443 w 6884782"/>
              <a:gd name="connsiteY52628" fmla="*/ 1528110 h 5973007"/>
              <a:gd name="connsiteX52629" fmla="*/ 5506016 w 6884782"/>
              <a:gd name="connsiteY52629" fmla="*/ 1529675 h 5973007"/>
              <a:gd name="connsiteX52630" fmla="*/ 5505162 w 6884782"/>
              <a:gd name="connsiteY52630" fmla="*/ 1530244 h 5973007"/>
              <a:gd name="connsiteX52631" fmla="*/ 5501748 w 6884782"/>
              <a:gd name="connsiteY52631" fmla="*/ 1529391 h 5973007"/>
              <a:gd name="connsiteX52632" fmla="*/ 5505589 w 6884782"/>
              <a:gd name="connsiteY52632" fmla="*/ 1527541 h 5973007"/>
              <a:gd name="connsiteX52633" fmla="*/ 1069322 w 6884782"/>
              <a:gd name="connsiteY52633" fmla="*/ 1526990 h 5973007"/>
              <a:gd name="connsiteX52634" fmla="*/ 1064159 w 6884782"/>
              <a:gd name="connsiteY52634" fmla="*/ 1552393 h 5973007"/>
              <a:gd name="connsiteX52635" fmla="*/ 1060545 w 6884782"/>
              <a:gd name="connsiteY52635" fmla="*/ 1546817 h 5973007"/>
              <a:gd name="connsiteX52636" fmla="*/ 1069322 w 6884782"/>
              <a:gd name="connsiteY52636" fmla="*/ 1526990 h 5973007"/>
              <a:gd name="connsiteX52637" fmla="*/ 1103396 w 6884782"/>
              <a:gd name="connsiteY52637" fmla="*/ 1526526 h 5973007"/>
              <a:gd name="connsiteX52638" fmla="*/ 1114238 w 6884782"/>
              <a:gd name="connsiteY52638" fmla="*/ 1532876 h 5973007"/>
              <a:gd name="connsiteX52639" fmla="*/ 1101847 w 6884782"/>
              <a:gd name="connsiteY52639" fmla="*/ 1531482 h 5973007"/>
              <a:gd name="connsiteX52640" fmla="*/ 1103396 w 6884782"/>
              <a:gd name="connsiteY52640" fmla="*/ 1526526 h 5973007"/>
              <a:gd name="connsiteX52641" fmla="*/ 3785213 w 6884782"/>
              <a:gd name="connsiteY52641" fmla="*/ 1525834 h 5973007"/>
              <a:gd name="connsiteX52642" fmla="*/ 3785213 w 6884782"/>
              <a:gd name="connsiteY52642" fmla="*/ 1530955 h 5973007"/>
              <a:gd name="connsiteX52643" fmla="*/ 3782225 w 6884782"/>
              <a:gd name="connsiteY52643" fmla="*/ 1533232 h 5973007"/>
              <a:gd name="connsiteX52644" fmla="*/ 3781798 w 6884782"/>
              <a:gd name="connsiteY52644" fmla="*/ 1532094 h 5973007"/>
              <a:gd name="connsiteX52645" fmla="*/ 3779450 w 6884782"/>
              <a:gd name="connsiteY52645" fmla="*/ 1527968 h 5973007"/>
              <a:gd name="connsiteX52646" fmla="*/ 3785213 w 6884782"/>
              <a:gd name="connsiteY52646" fmla="*/ 1525834 h 5973007"/>
              <a:gd name="connsiteX52647" fmla="*/ 4545627 w 6884782"/>
              <a:gd name="connsiteY52647" fmla="*/ 1524838 h 5973007"/>
              <a:gd name="connsiteX52648" fmla="*/ 4546694 w 6884782"/>
              <a:gd name="connsiteY52648" fmla="*/ 1524980 h 5973007"/>
              <a:gd name="connsiteX52649" fmla="*/ 4545414 w 6884782"/>
              <a:gd name="connsiteY52649" fmla="*/ 1527399 h 5973007"/>
              <a:gd name="connsiteX52650" fmla="*/ 4545627 w 6884782"/>
              <a:gd name="connsiteY52650" fmla="*/ 1524838 h 5973007"/>
              <a:gd name="connsiteX52651" fmla="*/ 1203658 w 6884782"/>
              <a:gd name="connsiteY52651" fmla="*/ 1524667 h 5973007"/>
              <a:gd name="connsiteX52652" fmla="*/ 1200560 w 6884782"/>
              <a:gd name="connsiteY52652" fmla="*/ 1531637 h 5973007"/>
              <a:gd name="connsiteX52653" fmla="*/ 1203658 w 6884782"/>
              <a:gd name="connsiteY52653" fmla="*/ 1524667 h 5973007"/>
              <a:gd name="connsiteX52654" fmla="*/ 5805657 w 6884782"/>
              <a:gd name="connsiteY52654" fmla="*/ 1523984 h 5973007"/>
              <a:gd name="connsiteX52655" fmla="*/ 5809712 w 6884782"/>
              <a:gd name="connsiteY52655" fmla="*/ 1523984 h 5973007"/>
              <a:gd name="connsiteX52656" fmla="*/ 5814194 w 6884782"/>
              <a:gd name="connsiteY52656" fmla="*/ 1528252 h 5973007"/>
              <a:gd name="connsiteX52657" fmla="*/ 5801602 w 6884782"/>
              <a:gd name="connsiteY52657" fmla="*/ 1540630 h 5973007"/>
              <a:gd name="connsiteX52658" fmla="*/ 5797548 w 6884782"/>
              <a:gd name="connsiteY52658" fmla="*/ 1533374 h 5973007"/>
              <a:gd name="connsiteX52659" fmla="*/ 5805657 w 6884782"/>
              <a:gd name="connsiteY52659" fmla="*/ 1523984 h 5973007"/>
              <a:gd name="connsiteX52660" fmla="*/ 4189002 w 6884782"/>
              <a:gd name="connsiteY52660" fmla="*/ 1523984 h 5973007"/>
              <a:gd name="connsiteX52661" fmla="*/ 4197540 w 6884782"/>
              <a:gd name="connsiteY52661" fmla="*/ 1547743 h 5973007"/>
              <a:gd name="connsiteX52662" fmla="*/ 4174063 w 6884782"/>
              <a:gd name="connsiteY52662" fmla="*/ 1575343 h 5973007"/>
              <a:gd name="connsiteX52663" fmla="*/ 4170862 w 6884782"/>
              <a:gd name="connsiteY52663" fmla="*/ 1573352 h 5973007"/>
              <a:gd name="connsiteX52664" fmla="*/ 4164673 w 6884782"/>
              <a:gd name="connsiteY52664" fmla="*/ 1558129 h 5973007"/>
              <a:gd name="connsiteX52665" fmla="*/ 4165740 w 6884782"/>
              <a:gd name="connsiteY52665" fmla="*/ 1549735 h 5973007"/>
              <a:gd name="connsiteX52666" fmla="*/ 4159764 w 6884782"/>
              <a:gd name="connsiteY52666" fmla="*/ 1550162 h 5973007"/>
              <a:gd name="connsiteX52667" fmla="*/ 4162752 w 6884782"/>
              <a:gd name="connsiteY52667" fmla="*/ 1544471 h 5973007"/>
              <a:gd name="connsiteX52668" fmla="*/ 4166380 w 6884782"/>
              <a:gd name="connsiteY52668" fmla="*/ 1545183 h 5973007"/>
              <a:gd name="connsiteX52669" fmla="*/ 4166807 w 6884782"/>
              <a:gd name="connsiteY52669" fmla="*/ 1542053 h 5973007"/>
              <a:gd name="connsiteX52670" fmla="*/ 4189002 w 6884782"/>
              <a:gd name="connsiteY52670" fmla="*/ 1523984 h 5973007"/>
              <a:gd name="connsiteX52671" fmla="*/ 3811250 w 6884782"/>
              <a:gd name="connsiteY52671" fmla="*/ 1523984 h 5973007"/>
              <a:gd name="connsiteX52672" fmla="*/ 3814665 w 6884782"/>
              <a:gd name="connsiteY52672" fmla="*/ 1527399 h 5973007"/>
              <a:gd name="connsiteX52673" fmla="*/ 3813811 w 6884782"/>
              <a:gd name="connsiteY52673" fmla="*/ 1529533 h 5973007"/>
              <a:gd name="connsiteX52674" fmla="*/ 3814238 w 6884782"/>
              <a:gd name="connsiteY52674" fmla="*/ 1530102 h 5973007"/>
              <a:gd name="connsiteX52675" fmla="*/ 3810396 w 6884782"/>
              <a:gd name="connsiteY52675" fmla="*/ 1533090 h 5973007"/>
              <a:gd name="connsiteX52676" fmla="*/ 3805701 w 6884782"/>
              <a:gd name="connsiteY52676" fmla="*/ 1533943 h 5973007"/>
              <a:gd name="connsiteX52677" fmla="*/ 3806555 w 6884782"/>
              <a:gd name="connsiteY52677" fmla="*/ 1524838 h 5973007"/>
              <a:gd name="connsiteX52678" fmla="*/ 3810610 w 6884782"/>
              <a:gd name="connsiteY52678" fmla="*/ 1526118 h 5973007"/>
              <a:gd name="connsiteX52679" fmla="*/ 3811250 w 6884782"/>
              <a:gd name="connsiteY52679" fmla="*/ 1523984 h 5973007"/>
              <a:gd name="connsiteX52680" fmla="*/ 3943570 w 6884782"/>
              <a:gd name="connsiteY52680" fmla="*/ 1523415 h 5973007"/>
              <a:gd name="connsiteX52681" fmla="*/ 3948052 w 6884782"/>
              <a:gd name="connsiteY52681" fmla="*/ 1523415 h 5973007"/>
              <a:gd name="connsiteX52682" fmla="*/ 3956375 w 6884782"/>
              <a:gd name="connsiteY52682" fmla="*/ 1526403 h 5973007"/>
              <a:gd name="connsiteX52683" fmla="*/ 3958723 w 6884782"/>
              <a:gd name="connsiteY52683" fmla="*/ 1527399 h 5973007"/>
              <a:gd name="connsiteX52684" fmla="*/ 3958936 w 6884782"/>
              <a:gd name="connsiteY52684" fmla="*/ 1526261 h 5973007"/>
              <a:gd name="connsiteX52685" fmla="*/ 3960004 w 6884782"/>
              <a:gd name="connsiteY52685" fmla="*/ 1527825 h 5973007"/>
              <a:gd name="connsiteX52686" fmla="*/ 3960216 w 6884782"/>
              <a:gd name="connsiteY52686" fmla="*/ 1527825 h 5973007"/>
              <a:gd name="connsiteX52687" fmla="*/ 3961284 w 6884782"/>
              <a:gd name="connsiteY52687" fmla="*/ 1527968 h 5973007"/>
              <a:gd name="connsiteX52688" fmla="*/ 3965125 w 6884782"/>
              <a:gd name="connsiteY52688" fmla="*/ 1531667 h 5973007"/>
              <a:gd name="connsiteX52689" fmla="*/ 3964485 w 6884782"/>
              <a:gd name="connsiteY52689" fmla="*/ 1534512 h 5973007"/>
              <a:gd name="connsiteX52690" fmla="*/ 3958509 w 6884782"/>
              <a:gd name="connsiteY52690" fmla="*/ 1537216 h 5973007"/>
              <a:gd name="connsiteX52691" fmla="*/ 3958936 w 6884782"/>
              <a:gd name="connsiteY52691" fmla="*/ 1552296 h 5973007"/>
              <a:gd name="connsiteX52692" fmla="*/ 3956375 w 6884782"/>
              <a:gd name="connsiteY52692" fmla="*/ 1557702 h 5973007"/>
              <a:gd name="connsiteX52693" fmla="*/ 3958083 w 6884782"/>
              <a:gd name="connsiteY52693" fmla="*/ 1558414 h 5973007"/>
              <a:gd name="connsiteX52694" fmla="*/ 3960004 w 6884782"/>
              <a:gd name="connsiteY52694" fmla="*/ 1563678 h 5973007"/>
              <a:gd name="connsiteX52695" fmla="*/ 3959576 w 6884782"/>
              <a:gd name="connsiteY52695" fmla="*/ 1562681 h 5973007"/>
              <a:gd name="connsiteX52696" fmla="*/ 3957442 w 6884782"/>
              <a:gd name="connsiteY52696" fmla="*/ 1563820 h 5973007"/>
              <a:gd name="connsiteX52697" fmla="*/ 3958083 w 6884782"/>
              <a:gd name="connsiteY52697" fmla="*/ 1564958 h 5973007"/>
              <a:gd name="connsiteX52698" fmla="*/ 3955521 w 6884782"/>
              <a:gd name="connsiteY52698" fmla="*/ 1565242 h 5973007"/>
              <a:gd name="connsiteX52699" fmla="*/ 3950826 w 6884782"/>
              <a:gd name="connsiteY52699" fmla="*/ 1563251 h 5973007"/>
              <a:gd name="connsiteX52700" fmla="*/ 3950400 w 6884782"/>
              <a:gd name="connsiteY52700" fmla="*/ 1562681 h 5973007"/>
              <a:gd name="connsiteX52701" fmla="*/ 3949333 w 6884782"/>
              <a:gd name="connsiteY52701" fmla="*/ 1563393 h 5973007"/>
              <a:gd name="connsiteX52702" fmla="*/ 3942076 w 6884782"/>
              <a:gd name="connsiteY52702" fmla="*/ 1562255 h 5973007"/>
              <a:gd name="connsiteX52703" fmla="*/ 3942930 w 6884782"/>
              <a:gd name="connsiteY52703" fmla="*/ 1554857 h 5973007"/>
              <a:gd name="connsiteX52704" fmla="*/ 3943357 w 6884782"/>
              <a:gd name="connsiteY52704" fmla="*/ 1554145 h 5973007"/>
              <a:gd name="connsiteX52705" fmla="*/ 3940795 w 6884782"/>
              <a:gd name="connsiteY52705" fmla="*/ 1551015 h 5973007"/>
              <a:gd name="connsiteX52706" fmla="*/ 3939515 w 6884782"/>
              <a:gd name="connsiteY52706" fmla="*/ 1553149 h 5973007"/>
              <a:gd name="connsiteX52707" fmla="*/ 3936527 w 6884782"/>
              <a:gd name="connsiteY52707" fmla="*/ 1554714 h 5973007"/>
              <a:gd name="connsiteX52708" fmla="*/ 3933966 w 6884782"/>
              <a:gd name="connsiteY52708" fmla="*/ 1554003 h 5973007"/>
              <a:gd name="connsiteX52709" fmla="*/ 3933539 w 6884782"/>
              <a:gd name="connsiteY52709" fmla="*/ 1553007 h 5973007"/>
              <a:gd name="connsiteX52710" fmla="*/ 3932472 w 6884782"/>
              <a:gd name="connsiteY52710" fmla="*/ 1548455 h 5973007"/>
              <a:gd name="connsiteX52711" fmla="*/ 3934607 w 6884782"/>
              <a:gd name="connsiteY52711" fmla="*/ 1545467 h 5973007"/>
              <a:gd name="connsiteX52712" fmla="*/ 3937167 w 6884782"/>
              <a:gd name="connsiteY52712" fmla="*/ 1544186 h 5973007"/>
              <a:gd name="connsiteX52713" fmla="*/ 3936741 w 6884782"/>
              <a:gd name="connsiteY52713" fmla="*/ 1542906 h 5973007"/>
              <a:gd name="connsiteX52714" fmla="*/ 3940155 w 6884782"/>
              <a:gd name="connsiteY52714" fmla="*/ 1533090 h 5973007"/>
              <a:gd name="connsiteX52715" fmla="*/ 3941222 w 6884782"/>
              <a:gd name="connsiteY52715" fmla="*/ 1533232 h 5973007"/>
              <a:gd name="connsiteX52716" fmla="*/ 3939515 w 6884782"/>
              <a:gd name="connsiteY52716" fmla="*/ 1525692 h 5973007"/>
              <a:gd name="connsiteX52717" fmla="*/ 3943570 w 6884782"/>
              <a:gd name="connsiteY52717" fmla="*/ 1523415 h 5973007"/>
              <a:gd name="connsiteX52718" fmla="*/ 1744346 w 6884782"/>
              <a:gd name="connsiteY52718" fmla="*/ 1523292 h 5973007"/>
              <a:gd name="connsiteX52719" fmla="*/ 1749574 w 6884782"/>
              <a:gd name="connsiteY52719" fmla="*/ 1524976 h 5973007"/>
              <a:gd name="connsiteX52720" fmla="*/ 1749367 w 6884782"/>
              <a:gd name="connsiteY52720" fmla="*/ 1525131 h 5973007"/>
              <a:gd name="connsiteX52721" fmla="*/ 1751845 w 6884782"/>
              <a:gd name="connsiteY52721" fmla="*/ 1525751 h 5973007"/>
              <a:gd name="connsiteX52722" fmla="*/ 1755976 w 6884782"/>
              <a:gd name="connsiteY52722" fmla="*/ 1526835 h 5973007"/>
              <a:gd name="connsiteX52723" fmla="*/ 1752258 w 6884782"/>
              <a:gd name="connsiteY52723" fmla="*/ 1534580 h 5973007"/>
              <a:gd name="connsiteX52724" fmla="*/ 1746786 w 6884782"/>
              <a:gd name="connsiteY52724" fmla="*/ 1530862 h 5973007"/>
              <a:gd name="connsiteX52725" fmla="*/ 1746373 w 6884782"/>
              <a:gd name="connsiteY52725" fmla="*/ 1528074 h 5973007"/>
              <a:gd name="connsiteX52726" fmla="*/ 1746579 w 6884782"/>
              <a:gd name="connsiteY52726" fmla="*/ 1527300 h 5973007"/>
              <a:gd name="connsiteX52727" fmla="*/ 1745443 w 6884782"/>
              <a:gd name="connsiteY52727" fmla="*/ 1528229 h 5973007"/>
              <a:gd name="connsiteX52728" fmla="*/ 1741520 w 6884782"/>
              <a:gd name="connsiteY52728" fmla="*/ 1527764 h 5973007"/>
              <a:gd name="connsiteX52729" fmla="*/ 1744346 w 6884782"/>
              <a:gd name="connsiteY52729" fmla="*/ 1523292 h 5973007"/>
              <a:gd name="connsiteX52730" fmla="*/ 1382498 w 6884782"/>
              <a:gd name="connsiteY52730" fmla="*/ 1523273 h 5973007"/>
              <a:gd name="connsiteX52731" fmla="*/ 1388383 w 6884782"/>
              <a:gd name="connsiteY52731" fmla="*/ 1529468 h 5973007"/>
              <a:gd name="connsiteX52732" fmla="*/ 1382498 w 6884782"/>
              <a:gd name="connsiteY52732" fmla="*/ 1525441 h 5973007"/>
              <a:gd name="connsiteX52733" fmla="*/ 1382498 w 6884782"/>
              <a:gd name="connsiteY52733" fmla="*/ 1523273 h 5973007"/>
              <a:gd name="connsiteX52734" fmla="*/ 6130056 w 6884782"/>
              <a:gd name="connsiteY52734" fmla="*/ 1523131 h 5973007"/>
              <a:gd name="connsiteX52735" fmla="*/ 6140513 w 6884782"/>
              <a:gd name="connsiteY52735" fmla="*/ 1526688 h 5973007"/>
              <a:gd name="connsiteX52736" fmla="*/ 6142647 w 6884782"/>
              <a:gd name="connsiteY52736" fmla="*/ 1527825 h 5973007"/>
              <a:gd name="connsiteX52737" fmla="*/ 6144995 w 6884782"/>
              <a:gd name="connsiteY52737" fmla="*/ 1529106 h 5973007"/>
              <a:gd name="connsiteX52738" fmla="*/ 6146275 w 6884782"/>
              <a:gd name="connsiteY52738" fmla="*/ 1531098 h 5973007"/>
              <a:gd name="connsiteX52739" fmla="*/ 6145635 w 6884782"/>
              <a:gd name="connsiteY52739" fmla="*/ 1533943 h 5973007"/>
              <a:gd name="connsiteX52740" fmla="*/ 6125574 w 6884782"/>
              <a:gd name="connsiteY52740" fmla="*/ 1526403 h 5973007"/>
              <a:gd name="connsiteX52741" fmla="*/ 6126854 w 6884782"/>
              <a:gd name="connsiteY52741" fmla="*/ 1523984 h 5973007"/>
              <a:gd name="connsiteX52742" fmla="*/ 6130056 w 6884782"/>
              <a:gd name="connsiteY52742" fmla="*/ 1523131 h 5973007"/>
              <a:gd name="connsiteX52743" fmla="*/ 3824268 w 6884782"/>
              <a:gd name="connsiteY52743" fmla="*/ 1522988 h 5973007"/>
              <a:gd name="connsiteX52744" fmla="*/ 3828750 w 6884782"/>
              <a:gd name="connsiteY52744" fmla="*/ 1530529 h 5973007"/>
              <a:gd name="connsiteX52745" fmla="*/ 3824909 w 6884782"/>
              <a:gd name="connsiteY52745" fmla="*/ 1554999 h 5973007"/>
              <a:gd name="connsiteX52746" fmla="*/ 3824268 w 6884782"/>
              <a:gd name="connsiteY52746" fmla="*/ 1522988 h 5973007"/>
              <a:gd name="connsiteX52747" fmla="*/ 3575634 w 6884782"/>
              <a:gd name="connsiteY52747" fmla="*/ 1522561 h 5973007"/>
              <a:gd name="connsiteX52748" fmla="*/ 3591214 w 6884782"/>
              <a:gd name="connsiteY52748" fmla="*/ 1532094 h 5973007"/>
              <a:gd name="connsiteX52749" fmla="*/ 3594628 w 6884782"/>
              <a:gd name="connsiteY52749" fmla="*/ 1536219 h 5973007"/>
              <a:gd name="connsiteX52750" fmla="*/ 3594628 w 6884782"/>
              <a:gd name="connsiteY52750" fmla="*/ 1536077 h 5973007"/>
              <a:gd name="connsiteX52751" fmla="*/ 3599751 w 6884782"/>
              <a:gd name="connsiteY52751" fmla="*/ 1531809 h 5973007"/>
              <a:gd name="connsiteX52752" fmla="*/ 3603379 w 6884782"/>
              <a:gd name="connsiteY52752" fmla="*/ 1532378 h 5973007"/>
              <a:gd name="connsiteX52753" fmla="*/ 3607007 w 6884782"/>
              <a:gd name="connsiteY52753" fmla="*/ 1538638 h 5973007"/>
              <a:gd name="connsiteX52754" fmla="*/ 3606794 w 6884782"/>
              <a:gd name="connsiteY52754" fmla="*/ 1541057 h 5973007"/>
              <a:gd name="connsiteX52755" fmla="*/ 3607220 w 6884782"/>
              <a:gd name="connsiteY52755" fmla="*/ 1541057 h 5973007"/>
              <a:gd name="connsiteX52756" fmla="*/ 3606794 w 6884782"/>
              <a:gd name="connsiteY52756" fmla="*/ 1541483 h 5973007"/>
              <a:gd name="connsiteX52757" fmla="*/ 3606580 w 6884782"/>
              <a:gd name="connsiteY52757" fmla="*/ 1542479 h 5973007"/>
              <a:gd name="connsiteX52758" fmla="*/ 3607861 w 6884782"/>
              <a:gd name="connsiteY52758" fmla="*/ 1542053 h 5973007"/>
              <a:gd name="connsiteX52759" fmla="*/ 3615330 w 6884782"/>
              <a:gd name="connsiteY52759" fmla="*/ 1543048 h 5973007"/>
              <a:gd name="connsiteX52760" fmla="*/ 3612129 w 6884782"/>
              <a:gd name="connsiteY52760" fmla="*/ 1549877 h 5973007"/>
              <a:gd name="connsiteX52761" fmla="*/ 3611062 w 6884782"/>
              <a:gd name="connsiteY52761" fmla="*/ 1549593 h 5973007"/>
              <a:gd name="connsiteX52762" fmla="*/ 3610849 w 6884782"/>
              <a:gd name="connsiteY52762" fmla="*/ 1549735 h 5973007"/>
              <a:gd name="connsiteX52763" fmla="*/ 3610208 w 6884782"/>
              <a:gd name="connsiteY52763" fmla="*/ 1552722 h 5973007"/>
              <a:gd name="connsiteX52764" fmla="*/ 3605940 w 6884782"/>
              <a:gd name="connsiteY52764" fmla="*/ 1551157 h 5973007"/>
              <a:gd name="connsiteX52765" fmla="*/ 3605300 w 6884782"/>
              <a:gd name="connsiteY52765" fmla="*/ 1549877 h 5973007"/>
              <a:gd name="connsiteX52766" fmla="*/ 3604659 w 6884782"/>
              <a:gd name="connsiteY52766" fmla="*/ 1550020 h 5973007"/>
              <a:gd name="connsiteX52767" fmla="*/ 3603592 w 6884782"/>
              <a:gd name="connsiteY52767" fmla="*/ 1552011 h 5973007"/>
              <a:gd name="connsiteX52768" fmla="*/ 3604446 w 6884782"/>
              <a:gd name="connsiteY52768" fmla="*/ 1554430 h 5973007"/>
              <a:gd name="connsiteX52769" fmla="*/ 3600178 w 6884782"/>
              <a:gd name="connsiteY52769" fmla="*/ 1555141 h 5973007"/>
              <a:gd name="connsiteX52770" fmla="*/ 3596763 w 6884782"/>
              <a:gd name="connsiteY52770" fmla="*/ 1556564 h 5973007"/>
              <a:gd name="connsiteX52771" fmla="*/ 3593135 w 6884782"/>
              <a:gd name="connsiteY52771" fmla="*/ 1554288 h 5973007"/>
              <a:gd name="connsiteX52772" fmla="*/ 3592921 w 6884782"/>
              <a:gd name="connsiteY52772" fmla="*/ 1552865 h 5973007"/>
              <a:gd name="connsiteX52773" fmla="*/ 3584384 w 6884782"/>
              <a:gd name="connsiteY52773" fmla="*/ 1545183 h 5973007"/>
              <a:gd name="connsiteX52774" fmla="*/ 3570086 w 6884782"/>
              <a:gd name="connsiteY52774" fmla="*/ 1563820 h 5973007"/>
              <a:gd name="connsiteX52775" fmla="*/ 3577341 w 6884782"/>
              <a:gd name="connsiteY52775" fmla="*/ 1537073 h 5973007"/>
              <a:gd name="connsiteX52776" fmla="*/ 3575634 w 6884782"/>
              <a:gd name="connsiteY52776" fmla="*/ 1522561 h 5973007"/>
              <a:gd name="connsiteX52777" fmla="*/ 915366 w 6884782"/>
              <a:gd name="connsiteY52777" fmla="*/ 1522498 h 5973007"/>
              <a:gd name="connsiteX52778" fmla="*/ 923834 w 6884782"/>
              <a:gd name="connsiteY52778" fmla="*/ 1548676 h 5973007"/>
              <a:gd name="connsiteX52779" fmla="*/ 915366 w 6884782"/>
              <a:gd name="connsiteY52779" fmla="*/ 1522498 h 5973007"/>
              <a:gd name="connsiteX52780" fmla="*/ 4698009 w 6884782"/>
              <a:gd name="connsiteY52780" fmla="*/ 1522135 h 5973007"/>
              <a:gd name="connsiteX52781" fmla="*/ 4700997 w 6884782"/>
              <a:gd name="connsiteY52781" fmla="*/ 1522704 h 5973007"/>
              <a:gd name="connsiteX52782" fmla="*/ 4703344 w 6884782"/>
              <a:gd name="connsiteY52782" fmla="*/ 1528964 h 5973007"/>
              <a:gd name="connsiteX52783" fmla="*/ 4701637 w 6884782"/>
              <a:gd name="connsiteY52783" fmla="*/ 1531240 h 5973007"/>
              <a:gd name="connsiteX52784" fmla="*/ 4700570 w 6884782"/>
              <a:gd name="connsiteY52784" fmla="*/ 1531098 h 5973007"/>
              <a:gd name="connsiteX52785" fmla="*/ 4696088 w 6884782"/>
              <a:gd name="connsiteY52785" fmla="*/ 1530244 h 5973007"/>
              <a:gd name="connsiteX52786" fmla="*/ 4694167 w 6884782"/>
              <a:gd name="connsiteY52786" fmla="*/ 1523984 h 5973007"/>
              <a:gd name="connsiteX52787" fmla="*/ 4698009 w 6884782"/>
              <a:gd name="connsiteY52787" fmla="*/ 1522135 h 5973007"/>
              <a:gd name="connsiteX52788" fmla="*/ 1505269 w 6884782"/>
              <a:gd name="connsiteY52788" fmla="*/ 1521724 h 5973007"/>
              <a:gd name="connsiteX52789" fmla="*/ 1507541 w 6884782"/>
              <a:gd name="connsiteY52789" fmla="*/ 1532102 h 5973007"/>
              <a:gd name="connsiteX52790" fmla="*/ 1502172 w 6884782"/>
              <a:gd name="connsiteY52790" fmla="*/ 1532412 h 5973007"/>
              <a:gd name="connsiteX52791" fmla="*/ 1500003 w 6884782"/>
              <a:gd name="connsiteY52791" fmla="*/ 1527300 h 5973007"/>
              <a:gd name="connsiteX52792" fmla="*/ 1501552 w 6884782"/>
              <a:gd name="connsiteY52792" fmla="*/ 1522188 h 5973007"/>
              <a:gd name="connsiteX52793" fmla="*/ 1505269 w 6884782"/>
              <a:gd name="connsiteY52793" fmla="*/ 1521724 h 5973007"/>
              <a:gd name="connsiteX52794" fmla="*/ 1757731 w 6884782"/>
              <a:gd name="connsiteY52794" fmla="*/ 1521259 h 5973007"/>
              <a:gd name="connsiteX52795" fmla="*/ 1762687 w 6884782"/>
              <a:gd name="connsiteY52795" fmla="*/ 1521569 h 5973007"/>
              <a:gd name="connsiteX52796" fmla="*/ 1763410 w 6884782"/>
              <a:gd name="connsiteY52796" fmla="*/ 1528074 h 5973007"/>
              <a:gd name="connsiteX52797" fmla="*/ 1756595 w 6884782"/>
              <a:gd name="connsiteY52797" fmla="*/ 1528384 h 5973007"/>
              <a:gd name="connsiteX52798" fmla="*/ 1757731 w 6884782"/>
              <a:gd name="connsiteY52798" fmla="*/ 1521259 h 5973007"/>
              <a:gd name="connsiteX52799" fmla="*/ 5924745 w 6884782"/>
              <a:gd name="connsiteY52799" fmla="*/ 1520997 h 5973007"/>
              <a:gd name="connsiteX52800" fmla="*/ 5933069 w 6884782"/>
              <a:gd name="connsiteY52800" fmla="*/ 1526403 h 5973007"/>
              <a:gd name="connsiteX52801" fmla="*/ 5932856 w 6884782"/>
              <a:gd name="connsiteY52801" fmla="*/ 1539491 h 5973007"/>
              <a:gd name="connsiteX52802" fmla="*/ 5926666 w 6884782"/>
              <a:gd name="connsiteY52802" fmla="*/ 1541057 h 5973007"/>
              <a:gd name="connsiteX52803" fmla="*/ 5926240 w 6884782"/>
              <a:gd name="connsiteY52803" fmla="*/ 1540630 h 5973007"/>
              <a:gd name="connsiteX52804" fmla="*/ 5914715 w 6884782"/>
              <a:gd name="connsiteY52804" fmla="*/ 1534654 h 5973007"/>
              <a:gd name="connsiteX52805" fmla="*/ 5913007 w 6884782"/>
              <a:gd name="connsiteY52805" fmla="*/ 1527399 h 5973007"/>
              <a:gd name="connsiteX52806" fmla="*/ 5916636 w 6884782"/>
              <a:gd name="connsiteY52806" fmla="*/ 1526261 h 5973007"/>
              <a:gd name="connsiteX52807" fmla="*/ 5921758 w 6884782"/>
              <a:gd name="connsiteY52807" fmla="*/ 1529248 h 5973007"/>
              <a:gd name="connsiteX52808" fmla="*/ 5921758 w 6884782"/>
              <a:gd name="connsiteY52808" fmla="*/ 1526688 h 5973007"/>
              <a:gd name="connsiteX52809" fmla="*/ 5924745 w 6884782"/>
              <a:gd name="connsiteY52809" fmla="*/ 1520997 h 5973007"/>
              <a:gd name="connsiteX52810" fmla="*/ 5048018 w 6884782"/>
              <a:gd name="connsiteY52810" fmla="*/ 1520854 h 5973007"/>
              <a:gd name="connsiteX52811" fmla="*/ 5054633 w 6884782"/>
              <a:gd name="connsiteY52811" fmla="*/ 1525265 h 5973007"/>
              <a:gd name="connsiteX52812" fmla="*/ 5036492 w 6884782"/>
              <a:gd name="connsiteY52812" fmla="*/ 1529533 h 5973007"/>
              <a:gd name="connsiteX52813" fmla="*/ 5036492 w 6884782"/>
              <a:gd name="connsiteY52813" fmla="*/ 1521851 h 5973007"/>
              <a:gd name="connsiteX52814" fmla="*/ 5048018 w 6884782"/>
              <a:gd name="connsiteY52814" fmla="*/ 1520854 h 5973007"/>
              <a:gd name="connsiteX52815" fmla="*/ 3975156 w 6884782"/>
              <a:gd name="connsiteY52815" fmla="*/ 1520143 h 5973007"/>
              <a:gd name="connsiteX52816" fmla="*/ 3985614 w 6884782"/>
              <a:gd name="connsiteY52816" fmla="*/ 1529960 h 5973007"/>
              <a:gd name="connsiteX52817" fmla="*/ 3983053 w 6884782"/>
              <a:gd name="connsiteY52817" fmla="*/ 1536077 h 5973007"/>
              <a:gd name="connsiteX52818" fmla="*/ 3969607 w 6884782"/>
              <a:gd name="connsiteY52818" fmla="*/ 1523273 h 5973007"/>
              <a:gd name="connsiteX52819" fmla="*/ 3975156 w 6884782"/>
              <a:gd name="connsiteY52819" fmla="*/ 1520143 h 5973007"/>
              <a:gd name="connsiteX52820" fmla="*/ 5769163 w 6884782"/>
              <a:gd name="connsiteY52820" fmla="*/ 1520001 h 5973007"/>
              <a:gd name="connsiteX52821" fmla="*/ 5770656 w 6884782"/>
              <a:gd name="connsiteY52821" fmla="*/ 1528395 h 5973007"/>
              <a:gd name="connsiteX52822" fmla="*/ 5770016 w 6884782"/>
              <a:gd name="connsiteY52822" fmla="*/ 1524980 h 5973007"/>
              <a:gd name="connsiteX52823" fmla="*/ 5768096 w 6884782"/>
              <a:gd name="connsiteY52823" fmla="*/ 1523842 h 5973007"/>
              <a:gd name="connsiteX52824" fmla="*/ 5769163 w 6884782"/>
              <a:gd name="connsiteY52824" fmla="*/ 1520001 h 5973007"/>
              <a:gd name="connsiteX52825" fmla="*/ 5740138 w 6884782"/>
              <a:gd name="connsiteY52825" fmla="*/ 1520001 h 5973007"/>
              <a:gd name="connsiteX52826" fmla="*/ 5742699 w 6884782"/>
              <a:gd name="connsiteY52826" fmla="*/ 1525407 h 5973007"/>
              <a:gd name="connsiteX52827" fmla="*/ 5737363 w 6884782"/>
              <a:gd name="connsiteY52827" fmla="*/ 1545325 h 5973007"/>
              <a:gd name="connsiteX52828" fmla="*/ 5726479 w 6884782"/>
              <a:gd name="connsiteY52828" fmla="*/ 1542337 h 5973007"/>
              <a:gd name="connsiteX52829" fmla="*/ 5740138 w 6884782"/>
              <a:gd name="connsiteY52829" fmla="*/ 1520001 h 5973007"/>
              <a:gd name="connsiteX52830" fmla="*/ 4386203 w 6884782"/>
              <a:gd name="connsiteY52830" fmla="*/ 1518720 h 5973007"/>
              <a:gd name="connsiteX52831" fmla="*/ 4388550 w 6884782"/>
              <a:gd name="connsiteY52831" fmla="*/ 1520428 h 5973007"/>
              <a:gd name="connsiteX52832" fmla="*/ 4388337 w 6884782"/>
              <a:gd name="connsiteY52832" fmla="*/ 1521566 h 5973007"/>
              <a:gd name="connsiteX52833" fmla="*/ 4387910 w 6884782"/>
              <a:gd name="connsiteY52833" fmla="*/ 1526403 h 5973007"/>
              <a:gd name="connsiteX52834" fmla="*/ 4381934 w 6884782"/>
              <a:gd name="connsiteY52834" fmla="*/ 1528537 h 5973007"/>
              <a:gd name="connsiteX52835" fmla="*/ 4380440 w 6884782"/>
              <a:gd name="connsiteY52835" fmla="*/ 1521423 h 5973007"/>
              <a:gd name="connsiteX52836" fmla="*/ 4386203 w 6884782"/>
              <a:gd name="connsiteY52836" fmla="*/ 1518720 h 5973007"/>
              <a:gd name="connsiteX52837" fmla="*/ 5957826 w 6884782"/>
              <a:gd name="connsiteY52837" fmla="*/ 1518436 h 5973007"/>
              <a:gd name="connsiteX52838" fmla="*/ 5969564 w 6884782"/>
              <a:gd name="connsiteY52838" fmla="*/ 1526118 h 5973007"/>
              <a:gd name="connsiteX52839" fmla="*/ 5954411 w 6884782"/>
              <a:gd name="connsiteY52839" fmla="*/ 1518863 h 5973007"/>
              <a:gd name="connsiteX52840" fmla="*/ 5957826 w 6884782"/>
              <a:gd name="connsiteY52840" fmla="*/ 1518436 h 5973007"/>
              <a:gd name="connsiteX52841" fmla="*/ 5222594 w 6884782"/>
              <a:gd name="connsiteY52841" fmla="*/ 1518151 h 5973007"/>
              <a:gd name="connsiteX52842" fmla="*/ 5229424 w 6884782"/>
              <a:gd name="connsiteY52842" fmla="*/ 1520286 h 5973007"/>
              <a:gd name="connsiteX52843" fmla="*/ 5220674 w 6884782"/>
              <a:gd name="connsiteY52843" fmla="*/ 1535224 h 5973007"/>
              <a:gd name="connsiteX52844" fmla="*/ 5222594 w 6884782"/>
              <a:gd name="connsiteY52844" fmla="*/ 1518151 h 5973007"/>
              <a:gd name="connsiteX52845" fmla="*/ 4547121 w 6884782"/>
              <a:gd name="connsiteY52845" fmla="*/ 1518151 h 5973007"/>
              <a:gd name="connsiteX52846" fmla="*/ 4549255 w 6884782"/>
              <a:gd name="connsiteY52846" fmla="*/ 1518294 h 5973007"/>
              <a:gd name="connsiteX52847" fmla="*/ 4545627 w 6884782"/>
              <a:gd name="connsiteY52847" fmla="*/ 1523984 h 5973007"/>
              <a:gd name="connsiteX52848" fmla="*/ 4545840 w 6884782"/>
              <a:gd name="connsiteY52848" fmla="*/ 1519005 h 5973007"/>
              <a:gd name="connsiteX52849" fmla="*/ 4547121 w 6884782"/>
              <a:gd name="connsiteY52849" fmla="*/ 1518151 h 5973007"/>
              <a:gd name="connsiteX52850" fmla="*/ 1237216 w 6884782"/>
              <a:gd name="connsiteY52850" fmla="*/ 1517696 h 5973007"/>
              <a:gd name="connsiteX52851" fmla="*/ 1236494 w 6884782"/>
              <a:gd name="connsiteY52851" fmla="*/ 1521879 h 5973007"/>
              <a:gd name="connsiteX52852" fmla="*/ 1233602 w 6884782"/>
              <a:gd name="connsiteY52852" fmla="*/ 1524976 h 5973007"/>
              <a:gd name="connsiteX52853" fmla="*/ 1234325 w 6884782"/>
              <a:gd name="connsiteY52853" fmla="*/ 1521569 h 5973007"/>
              <a:gd name="connsiteX52854" fmla="*/ 1235771 w 6884782"/>
              <a:gd name="connsiteY52854" fmla="*/ 1518471 h 5973007"/>
              <a:gd name="connsiteX52855" fmla="*/ 1237216 w 6884782"/>
              <a:gd name="connsiteY52855" fmla="*/ 1517696 h 5973007"/>
              <a:gd name="connsiteX52856" fmla="*/ 5697454 w 6884782"/>
              <a:gd name="connsiteY52856" fmla="*/ 1517582 h 5973007"/>
              <a:gd name="connsiteX52857" fmla="*/ 5701722 w 6884782"/>
              <a:gd name="connsiteY52857" fmla="*/ 1531809 h 5973007"/>
              <a:gd name="connsiteX52858" fmla="*/ 5693399 w 6884782"/>
              <a:gd name="connsiteY52858" fmla="*/ 1529960 h 5973007"/>
              <a:gd name="connsiteX52859" fmla="*/ 5691904 w 6884782"/>
              <a:gd name="connsiteY52859" fmla="*/ 1526403 h 5973007"/>
              <a:gd name="connsiteX52860" fmla="*/ 5691904 w 6884782"/>
              <a:gd name="connsiteY52860" fmla="*/ 1519289 h 5973007"/>
              <a:gd name="connsiteX52861" fmla="*/ 5690838 w 6884782"/>
              <a:gd name="connsiteY52861" fmla="*/ 1519289 h 5973007"/>
              <a:gd name="connsiteX52862" fmla="*/ 5697454 w 6884782"/>
              <a:gd name="connsiteY52862" fmla="*/ 1517582 h 5973007"/>
              <a:gd name="connsiteX52863" fmla="*/ 1227303 w 6884782"/>
              <a:gd name="connsiteY52863" fmla="*/ 1517386 h 5973007"/>
              <a:gd name="connsiteX52864" fmla="*/ 1229782 w 6884782"/>
              <a:gd name="connsiteY52864" fmla="*/ 1521569 h 5973007"/>
              <a:gd name="connsiteX52865" fmla="*/ 1228543 w 6884782"/>
              <a:gd name="connsiteY52865" fmla="*/ 1524822 h 5973007"/>
              <a:gd name="connsiteX52866" fmla="*/ 1229369 w 6884782"/>
              <a:gd name="connsiteY52866" fmla="*/ 1524822 h 5973007"/>
              <a:gd name="connsiteX52867" fmla="*/ 1233602 w 6884782"/>
              <a:gd name="connsiteY52867" fmla="*/ 1524976 h 5973007"/>
              <a:gd name="connsiteX52868" fmla="*/ 1237113 w 6884782"/>
              <a:gd name="connsiteY52868" fmla="*/ 1525131 h 5973007"/>
              <a:gd name="connsiteX52869" fmla="*/ 1236906 w 6884782"/>
              <a:gd name="connsiteY52869" fmla="*/ 1526990 h 5973007"/>
              <a:gd name="connsiteX52870" fmla="*/ 1234945 w 6884782"/>
              <a:gd name="connsiteY52870" fmla="*/ 1528229 h 5973007"/>
              <a:gd name="connsiteX52871" fmla="*/ 1226477 w 6884782"/>
              <a:gd name="connsiteY52871" fmla="*/ 1528384 h 5973007"/>
              <a:gd name="connsiteX52872" fmla="*/ 1224516 w 6884782"/>
              <a:gd name="connsiteY52872" fmla="*/ 1528074 h 5973007"/>
              <a:gd name="connsiteX52873" fmla="*/ 1222554 w 6884782"/>
              <a:gd name="connsiteY52873" fmla="*/ 1527764 h 5973007"/>
              <a:gd name="connsiteX52874" fmla="*/ 1220386 w 6884782"/>
              <a:gd name="connsiteY52874" fmla="*/ 1524667 h 5973007"/>
              <a:gd name="connsiteX52875" fmla="*/ 1226684 w 6884782"/>
              <a:gd name="connsiteY52875" fmla="*/ 1524667 h 5973007"/>
              <a:gd name="connsiteX52876" fmla="*/ 1224516 w 6884782"/>
              <a:gd name="connsiteY52876" fmla="*/ 1523583 h 5973007"/>
              <a:gd name="connsiteX52877" fmla="*/ 1222864 w 6884782"/>
              <a:gd name="connsiteY52877" fmla="*/ 1519865 h 5973007"/>
              <a:gd name="connsiteX52878" fmla="*/ 1227303 w 6884782"/>
              <a:gd name="connsiteY52878" fmla="*/ 1517386 h 5973007"/>
              <a:gd name="connsiteX52879" fmla="*/ 3595696 w 6884782"/>
              <a:gd name="connsiteY52879" fmla="*/ 1517156 h 5973007"/>
              <a:gd name="connsiteX52880" fmla="*/ 3609355 w 6884782"/>
              <a:gd name="connsiteY52880" fmla="*/ 1518578 h 5973007"/>
              <a:gd name="connsiteX52881" fmla="*/ 3619172 w 6884782"/>
              <a:gd name="connsiteY52881" fmla="*/ 1527825 h 5973007"/>
              <a:gd name="connsiteX52882" fmla="*/ 3595696 w 6884782"/>
              <a:gd name="connsiteY52882" fmla="*/ 1517156 h 5973007"/>
              <a:gd name="connsiteX52883" fmla="*/ 1356580 w 6884782"/>
              <a:gd name="connsiteY52883" fmla="*/ 1516922 h 5973007"/>
              <a:gd name="connsiteX52884" fmla="*/ 1357923 w 6884782"/>
              <a:gd name="connsiteY52884" fmla="*/ 1519090 h 5973007"/>
              <a:gd name="connsiteX52885" fmla="*/ 1353276 w 6884782"/>
              <a:gd name="connsiteY52885" fmla="*/ 1525441 h 5973007"/>
              <a:gd name="connsiteX52886" fmla="*/ 1354722 w 6884782"/>
              <a:gd name="connsiteY52886" fmla="*/ 1517696 h 5973007"/>
              <a:gd name="connsiteX52887" fmla="*/ 1356580 w 6884782"/>
              <a:gd name="connsiteY52887" fmla="*/ 1516922 h 5973007"/>
              <a:gd name="connsiteX52888" fmla="*/ 1027090 w 6884782"/>
              <a:gd name="connsiteY52888" fmla="*/ 1516922 h 5973007"/>
              <a:gd name="connsiteX52889" fmla="*/ 1024405 w 6884782"/>
              <a:gd name="connsiteY52889" fmla="*/ 1536594 h 5973007"/>
              <a:gd name="connsiteX52890" fmla="*/ 1020275 w 6884782"/>
              <a:gd name="connsiteY52890" fmla="*/ 1534890 h 5973007"/>
              <a:gd name="connsiteX52891" fmla="*/ 1019759 w 6884782"/>
              <a:gd name="connsiteY52891" fmla="*/ 1529778 h 5973007"/>
              <a:gd name="connsiteX52892" fmla="*/ 1019655 w 6884782"/>
              <a:gd name="connsiteY52892" fmla="*/ 1525596 h 5973007"/>
              <a:gd name="connsiteX52893" fmla="*/ 1027090 w 6884782"/>
              <a:gd name="connsiteY52893" fmla="*/ 1516922 h 5973007"/>
              <a:gd name="connsiteX52894" fmla="*/ 4646148 w 6884782"/>
              <a:gd name="connsiteY52894" fmla="*/ 1515733 h 5973007"/>
              <a:gd name="connsiteX52895" fmla="*/ 4643800 w 6884782"/>
              <a:gd name="connsiteY52895" fmla="*/ 1524411 h 5973007"/>
              <a:gd name="connsiteX52896" fmla="*/ 4642946 w 6884782"/>
              <a:gd name="connsiteY52896" fmla="*/ 1522846 h 5973007"/>
              <a:gd name="connsiteX52897" fmla="*/ 4643800 w 6884782"/>
              <a:gd name="connsiteY52897" fmla="*/ 1520428 h 5973007"/>
              <a:gd name="connsiteX52898" fmla="*/ 4646148 w 6884782"/>
              <a:gd name="connsiteY52898" fmla="*/ 1515733 h 5973007"/>
              <a:gd name="connsiteX52899" fmla="*/ 4053268 w 6884782"/>
              <a:gd name="connsiteY52899" fmla="*/ 1515733 h 5973007"/>
              <a:gd name="connsiteX52900" fmla="*/ 4072049 w 6884782"/>
              <a:gd name="connsiteY52900" fmla="*/ 1526830 h 5973007"/>
              <a:gd name="connsiteX52901" fmla="*/ 4086134 w 6884782"/>
              <a:gd name="connsiteY52901" fmla="*/ 1526830 h 5973007"/>
              <a:gd name="connsiteX52902" fmla="*/ 4075037 w 6884782"/>
              <a:gd name="connsiteY52902" fmla="*/ 1541768 h 5973007"/>
              <a:gd name="connsiteX52903" fmla="*/ 4068207 w 6884782"/>
              <a:gd name="connsiteY52903" fmla="*/ 1546178 h 5973007"/>
              <a:gd name="connsiteX52904" fmla="*/ 4072476 w 6884782"/>
              <a:gd name="connsiteY52904" fmla="*/ 1546178 h 5973007"/>
              <a:gd name="connsiteX52905" fmla="*/ 4080799 w 6884782"/>
              <a:gd name="connsiteY52905" fmla="*/ 1549735 h 5973007"/>
              <a:gd name="connsiteX52906" fmla="*/ 4061378 w 6884782"/>
              <a:gd name="connsiteY52906" fmla="*/ 1558129 h 5973007"/>
              <a:gd name="connsiteX52907" fmla="*/ 4060738 w 6884782"/>
              <a:gd name="connsiteY52907" fmla="*/ 1552154 h 5973007"/>
              <a:gd name="connsiteX52908" fmla="*/ 4061164 w 6884782"/>
              <a:gd name="connsiteY52908" fmla="*/ 1550304 h 5973007"/>
              <a:gd name="connsiteX52909" fmla="*/ 4051987 w 6884782"/>
              <a:gd name="connsiteY52909" fmla="*/ 1552438 h 5973007"/>
              <a:gd name="connsiteX52910" fmla="*/ 4063299 w 6884782"/>
              <a:gd name="connsiteY52910" fmla="*/ 1533090 h 5973007"/>
              <a:gd name="connsiteX52911" fmla="*/ 4047079 w 6884782"/>
              <a:gd name="connsiteY52911" fmla="*/ 1516160 h 5973007"/>
              <a:gd name="connsiteX52912" fmla="*/ 4053268 w 6884782"/>
              <a:gd name="connsiteY52912" fmla="*/ 1515733 h 5973007"/>
              <a:gd name="connsiteX52913" fmla="*/ 1615134 w 6884782"/>
              <a:gd name="connsiteY52913" fmla="*/ 1515683 h 5973007"/>
              <a:gd name="connsiteX52914" fmla="*/ 1607700 w 6884782"/>
              <a:gd name="connsiteY52914" fmla="*/ 1531792 h 5973007"/>
              <a:gd name="connsiteX52915" fmla="*/ 1606047 w 6884782"/>
              <a:gd name="connsiteY52915" fmla="*/ 1528694 h 5973007"/>
              <a:gd name="connsiteX52916" fmla="*/ 1606254 w 6884782"/>
              <a:gd name="connsiteY52916" fmla="*/ 1524667 h 5973007"/>
              <a:gd name="connsiteX52917" fmla="*/ 1609455 w 6884782"/>
              <a:gd name="connsiteY52917" fmla="*/ 1517077 h 5973007"/>
              <a:gd name="connsiteX52918" fmla="*/ 1615134 w 6884782"/>
              <a:gd name="connsiteY52918" fmla="*/ 1515683 h 5973007"/>
              <a:gd name="connsiteX52919" fmla="*/ 1383531 w 6884782"/>
              <a:gd name="connsiteY52919" fmla="*/ 1515373 h 5973007"/>
              <a:gd name="connsiteX52920" fmla="*/ 1382911 w 6884782"/>
              <a:gd name="connsiteY52920" fmla="*/ 1521104 h 5973007"/>
              <a:gd name="connsiteX52921" fmla="*/ 1376509 w 6884782"/>
              <a:gd name="connsiteY52921" fmla="*/ 1524512 h 5973007"/>
              <a:gd name="connsiteX52922" fmla="*/ 1376096 w 6884782"/>
              <a:gd name="connsiteY52922" fmla="*/ 1521259 h 5973007"/>
              <a:gd name="connsiteX52923" fmla="*/ 1383531 w 6884782"/>
              <a:gd name="connsiteY52923" fmla="*/ 1515373 h 5973007"/>
              <a:gd name="connsiteX52924" fmla="*/ 1594070 w 6884782"/>
              <a:gd name="connsiteY52924" fmla="*/ 1514753 h 5973007"/>
              <a:gd name="connsiteX52925" fmla="*/ 1581163 w 6884782"/>
              <a:gd name="connsiteY52925" fmla="*/ 1527145 h 5973007"/>
              <a:gd name="connsiteX52926" fmla="*/ 1579304 w 6884782"/>
              <a:gd name="connsiteY52926" fmla="*/ 1527919 h 5973007"/>
              <a:gd name="connsiteX52927" fmla="*/ 1577755 w 6884782"/>
              <a:gd name="connsiteY52927" fmla="*/ 1526526 h 5973007"/>
              <a:gd name="connsiteX52928" fmla="*/ 1584157 w 6884782"/>
              <a:gd name="connsiteY52928" fmla="*/ 1516922 h 5973007"/>
              <a:gd name="connsiteX52929" fmla="*/ 1586532 w 6884782"/>
              <a:gd name="connsiteY52929" fmla="*/ 1516148 h 5973007"/>
              <a:gd name="connsiteX52930" fmla="*/ 1588184 w 6884782"/>
              <a:gd name="connsiteY52930" fmla="*/ 1514908 h 5973007"/>
              <a:gd name="connsiteX52931" fmla="*/ 1594070 w 6884782"/>
              <a:gd name="connsiteY52931" fmla="*/ 1514753 h 5973007"/>
              <a:gd name="connsiteX52932" fmla="*/ 1712401 w 6884782"/>
              <a:gd name="connsiteY52932" fmla="*/ 1514598 h 5973007"/>
              <a:gd name="connsiteX52933" fmla="*/ 1715602 w 6884782"/>
              <a:gd name="connsiteY52933" fmla="*/ 1515218 h 5973007"/>
              <a:gd name="connsiteX52934" fmla="*/ 1715396 w 6884782"/>
              <a:gd name="connsiteY52934" fmla="*/ 1531173 h 5973007"/>
              <a:gd name="connsiteX52935" fmla="*/ 1712711 w 6884782"/>
              <a:gd name="connsiteY52935" fmla="*/ 1531637 h 5973007"/>
              <a:gd name="connsiteX52936" fmla="*/ 1707342 w 6884782"/>
              <a:gd name="connsiteY52936" fmla="*/ 1522653 h 5973007"/>
              <a:gd name="connsiteX52937" fmla="*/ 1712401 w 6884782"/>
              <a:gd name="connsiteY52937" fmla="*/ 1514598 h 5973007"/>
              <a:gd name="connsiteX52938" fmla="*/ 1463347 w 6884782"/>
              <a:gd name="connsiteY52938" fmla="*/ 1514289 h 5973007"/>
              <a:gd name="connsiteX52939" fmla="*/ 1465206 w 6884782"/>
              <a:gd name="connsiteY52939" fmla="*/ 1515838 h 5973007"/>
              <a:gd name="connsiteX52940" fmla="*/ 1462108 w 6884782"/>
              <a:gd name="connsiteY52940" fmla="*/ 1518006 h 5973007"/>
              <a:gd name="connsiteX52941" fmla="*/ 1461282 w 6884782"/>
              <a:gd name="connsiteY52941" fmla="*/ 1516302 h 5973007"/>
              <a:gd name="connsiteX52942" fmla="*/ 1461799 w 6884782"/>
              <a:gd name="connsiteY52942" fmla="*/ 1514753 h 5973007"/>
              <a:gd name="connsiteX52943" fmla="*/ 1463347 w 6884782"/>
              <a:gd name="connsiteY52943" fmla="*/ 1514289 h 5973007"/>
              <a:gd name="connsiteX52944" fmla="*/ 929513 w 6884782"/>
              <a:gd name="connsiteY52944" fmla="*/ 1514289 h 5973007"/>
              <a:gd name="connsiteX52945" fmla="*/ 938599 w 6884782"/>
              <a:gd name="connsiteY52945" fmla="*/ 1515528 h 5973007"/>
              <a:gd name="connsiteX52946" fmla="*/ 928893 w 6884782"/>
              <a:gd name="connsiteY52946" fmla="*/ 1518935 h 5973007"/>
              <a:gd name="connsiteX52947" fmla="*/ 928997 w 6884782"/>
              <a:gd name="connsiteY52947" fmla="*/ 1516767 h 5973007"/>
              <a:gd name="connsiteX52948" fmla="*/ 929513 w 6884782"/>
              <a:gd name="connsiteY52948" fmla="*/ 1514289 h 5973007"/>
              <a:gd name="connsiteX52949" fmla="*/ 4493766 w 6884782"/>
              <a:gd name="connsiteY52949" fmla="*/ 1513741 h 5973007"/>
              <a:gd name="connsiteX52950" fmla="*/ 4496327 w 6884782"/>
              <a:gd name="connsiteY52950" fmla="*/ 1514737 h 5973007"/>
              <a:gd name="connsiteX52951" fmla="*/ 4492272 w 6884782"/>
              <a:gd name="connsiteY52951" fmla="*/ 1516444 h 5973007"/>
              <a:gd name="connsiteX52952" fmla="*/ 4491845 w 6884782"/>
              <a:gd name="connsiteY52952" fmla="*/ 1515306 h 5973007"/>
              <a:gd name="connsiteX52953" fmla="*/ 4493766 w 6884782"/>
              <a:gd name="connsiteY52953" fmla="*/ 1513741 h 5973007"/>
              <a:gd name="connsiteX52954" fmla="*/ 4887739 w 6884782"/>
              <a:gd name="connsiteY52954" fmla="*/ 1513457 h 5973007"/>
              <a:gd name="connsiteX52955" fmla="*/ 4890727 w 6884782"/>
              <a:gd name="connsiteY52955" fmla="*/ 1514737 h 5973007"/>
              <a:gd name="connsiteX52956" fmla="*/ 4863623 w 6884782"/>
              <a:gd name="connsiteY52956" fmla="*/ 1534228 h 5973007"/>
              <a:gd name="connsiteX52957" fmla="*/ 4887739 w 6884782"/>
              <a:gd name="connsiteY52957" fmla="*/ 1513457 h 5973007"/>
              <a:gd name="connsiteX52958" fmla="*/ 4099793 w 6884782"/>
              <a:gd name="connsiteY52958" fmla="*/ 1513314 h 5973007"/>
              <a:gd name="connsiteX52959" fmla="*/ 4104489 w 6884782"/>
              <a:gd name="connsiteY52959" fmla="*/ 1513599 h 5973007"/>
              <a:gd name="connsiteX52960" fmla="*/ 4113666 w 6884782"/>
              <a:gd name="connsiteY52960" fmla="*/ 1522704 h 5973007"/>
              <a:gd name="connsiteX52961" fmla="*/ 4113666 w 6884782"/>
              <a:gd name="connsiteY52961" fmla="*/ 1530955 h 5973007"/>
              <a:gd name="connsiteX52962" fmla="*/ 4095311 w 6884782"/>
              <a:gd name="connsiteY52962" fmla="*/ 1542621 h 5973007"/>
              <a:gd name="connsiteX52963" fmla="*/ 4092324 w 6884782"/>
              <a:gd name="connsiteY52963" fmla="*/ 1541483 h 5973007"/>
              <a:gd name="connsiteX52964" fmla="*/ 4087201 w 6884782"/>
              <a:gd name="connsiteY52964" fmla="*/ 1541483 h 5973007"/>
              <a:gd name="connsiteX52965" fmla="*/ 4087628 w 6884782"/>
              <a:gd name="connsiteY52965" fmla="*/ 1525834 h 5973007"/>
              <a:gd name="connsiteX52966" fmla="*/ 4099793 w 6884782"/>
              <a:gd name="connsiteY52966" fmla="*/ 1513314 h 5973007"/>
              <a:gd name="connsiteX52967" fmla="*/ 1858096 w 6884782"/>
              <a:gd name="connsiteY52967" fmla="*/ 1513050 h 5973007"/>
              <a:gd name="connsiteX52968" fmla="*/ 1859645 w 6884782"/>
              <a:gd name="connsiteY52968" fmla="*/ 1518161 h 5973007"/>
              <a:gd name="connsiteX52969" fmla="*/ 1854275 w 6884782"/>
              <a:gd name="connsiteY52969" fmla="*/ 1517696 h 5973007"/>
              <a:gd name="connsiteX52970" fmla="*/ 1853553 w 6884782"/>
              <a:gd name="connsiteY52970" fmla="*/ 1515838 h 5973007"/>
              <a:gd name="connsiteX52971" fmla="*/ 1853243 w 6884782"/>
              <a:gd name="connsiteY52971" fmla="*/ 1516612 h 5973007"/>
              <a:gd name="connsiteX52972" fmla="*/ 1853036 w 6884782"/>
              <a:gd name="connsiteY52972" fmla="*/ 1517386 h 5973007"/>
              <a:gd name="connsiteX52973" fmla="*/ 1854689 w 6884782"/>
              <a:gd name="connsiteY52973" fmla="*/ 1518316 h 5973007"/>
              <a:gd name="connsiteX52974" fmla="*/ 1856031 w 6884782"/>
              <a:gd name="connsiteY52974" fmla="*/ 1521724 h 5973007"/>
              <a:gd name="connsiteX52975" fmla="*/ 1854172 w 6884782"/>
              <a:gd name="connsiteY52975" fmla="*/ 1522653 h 5973007"/>
              <a:gd name="connsiteX52976" fmla="*/ 1852004 w 6884782"/>
              <a:gd name="connsiteY52976" fmla="*/ 1519090 h 5973007"/>
              <a:gd name="connsiteX52977" fmla="*/ 1851178 w 6884782"/>
              <a:gd name="connsiteY52977" fmla="*/ 1519090 h 5973007"/>
              <a:gd name="connsiteX52978" fmla="*/ 1850971 w 6884782"/>
              <a:gd name="connsiteY52978" fmla="*/ 1519245 h 5973007"/>
              <a:gd name="connsiteX52979" fmla="*/ 1849629 w 6884782"/>
              <a:gd name="connsiteY52979" fmla="*/ 1520329 h 5973007"/>
              <a:gd name="connsiteX52980" fmla="*/ 1852004 w 6884782"/>
              <a:gd name="connsiteY52980" fmla="*/ 1523428 h 5973007"/>
              <a:gd name="connsiteX52981" fmla="*/ 1862330 w 6884782"/>
              <a:gd name="connsiteY52981" fmla="*/ 1537678 h 5973007"/>
              <a:gd name="connsiteX52982" fmla="*/ 1872655 w 6884782"/>
              <a:gd name="connsiteY52982" fmla="*/ 1547901 h 5973007"/>
              <a:gd name="connsiteX52983" fmla="*/ 1878540 w 6884782"/>
              <a:gd name="connsiteY52983" fmla="*/ 1558124 h 5973007"/>
              <a:gd name="connsiteX52984" fmla="*/ 1889383 w 6884782"/>
              <a:gd name="connsiteY52984" fmla="*/ 1572375 h 5973007"/>
              <a:gd name="connsiteX52985" fmla="*/ 1900225 w 6884782"/>
              <a:gd name="connsiteY52985" fmla="*/ 1584302 h 5973007"/>
              <a:gd name="connsiteX52986" fmla="*/ 1911583 w 6884782"/>
              <a:gd name="connsiteY52986" fmla="*/ 1595144 h 5973007"/>
              <a:gd name="connsiteX52987" fmla="*/ 1921805 w 6884782"/>
              <a:gd name="connsiteY52987" fmla="*/ 1605368 h 5973007"/>
              <a:gd name="connsiteX52988" fmla="*/ 1917985 w 6884782"/>
              <a:gd name="connsiteY52988" fmla="*/ 1606607 h 5973007"/>
              <a:gd name="connsiteX52989" fmla="*/ 1921805 w 6884782"/>
              <a:gd name="connsiteY52989" fmla="*/ 1611719 h 5973007"/>
              <a:gd name="connsiteX52990" fmla="*/ 1922838 w 6884782"/>
              <a:gd name="connsiteY52990" fmla="*/ 1606607 h 5973007"/>
              <a:gd name="connsiteX52991" fmla="*/ 1938016 w 6884782"/>
              <a:gd name="connsiteY52991" fmla="*/ 1619153 h 5973007"/>
              <a:gd name="connsiteX52992" fmla="*/ 1953711 w 6884782"/>
              <a:gd name="connsiteY52992" fmla="*/ 1632320 h 5973007"/>
              <a:gd name="connsiteX52993" fmla="*/ 1948755 w 6884782"/>
              <a:gd name="connsiteY52993" fmla="*/ 1632939 h 5973007"/>
              <a:gd name="connsiteX52994" fmla="*/ 1954460 w 6884782"/>
              <a:gd name="connsiteY52994" fmla="*/ 1634004 h 5973007"/>
              <a:gd name="connsiteX52995" fmla="*/ 1958339 w 6884782"/>
              <a:gd name="connsiteY52995" fmla="*/ 1636726 h 5973007"/>
              <a:gd name="connsiteX52996" fmla="*/ 1958339 w 6884782"/>
              <a:gd name="connsiteY52996" fmla="*/ 1585092 h 5973007"/>
              <a:gd name="connsiteX52997" fmla="*/ 1948755 w 6884782"/>
              <a:gd name="connsiteY52997" fmla="*/ 1583837 h 5973007"/>
              <a:gd name="connsiteX52998" fmla="*/ 1947103 w 6884782"/>
              <a:gd name="connsiteY52998" fmla="*/ 1576402 h 5973007"/>
              <a:gd name="connsiteX52999" fmla="*/ 1942353 w 6884782"/>
              <a:gd name="connsiteY52999" fmla="*/ 1572995 h 5973007"/>
              <a:gd name="connsiteX53000" fmla="*/ 1937500 w 6884782"/>
              <a:gd name="connsiteY53000" fmla="*/ 1574698 h 5973007"/>
              <a:gd name="connsiteX53001" fmla="*/ 1932957 w 6884782"/>
              <a:gd name="connsiteY53001" fmla="*/ 1566334 h 5973007"/>
              <a:gd name="connsiteX53002" fmla="*/ 1929033 w 6884782"/>
              <a:gd name="connsiteY53002" fmla="*/ 1566179 h 5973007"/>
              <a:gd name="connsiteX53003" fmla="*/ 1929240 w 6884782"/>
              <a:gd name="connsiteY53003" fmla="*/ 1566798 h 5973007"/>
              <a:gd name="connsiteX53004" fmla="*/ 1926865 w 6884782"/>
              <a:gd name="connsiteY53004" fmla="*/ 1570052 h 5973007"/>
              <a:gd name="connsiteX53005" fmla="*/ 1922115 w 6884782"/>
              <a:gd name="connsiteY53005" fmla="*/ 1567263 h 5973007"/>
              <a:gd name="connsiteX53006" fmla="*/ 1922528 w 6884782"/>
              <a:gd name="connsiteY53006" fmla="*/ 1569277 h 5973007"/>
              <a:gd name="connsiteX53007" fmla="*/ 1928827 w 6884782"/>
              <a:gd name="connsiteY53007" fmla="*/ 1580274 h 5973007"/>
              <a:gd name="connsiteX53008" fmla="*/ 1919120 w 6884782"/>
              <a:gd name="connsiteY53008" fmla="*/ 1567263 h 5973007"/>
              <a:gd name="connsiteX53009" fmla="*/ 1913441 w 6884782"/>
              <a:gd name="connsiteY53009" fmla="*/ 1564475 h 5973007"/>
              <a:gd name="connsiteX53010" fmla="*/ 1909104 w 6884782"/>
              <a:gd name="connsiteY53010" fmla="*/ 1560758 h 5973007"/>
              <a:gd name="connsiteX53011" fmla="*/ 1910860 w 6884782"/>
              <a:gd name="connsiteY53011" fmla="*/ 1563701 h 5973007"/>
              <a:gd name="connsiteX53012" fmla="*/ 1893616 w 6884782"/>
              <a:gd name="connsiteY53012" fmla="*/ 1576712 h 5973007"/>
              <a:gd name="connsiteX53013" fmla="*/ 1886801 w 6884782"/>
              <a:gd name="connsiteY53013" fmla="*/ 1562307 h 5973007"/>
              <a:gd name="connsiteX53014" fmla="*/ 1887627 w 6884782"/>
              <a:gd name="connsiteY53014" fmla="*/ 1554407 h 5973007"/>
              <a:gd name="connsiteX53015" fmla="*/ 1889176 w 6884782"/>
              <a:gd name="connsiteY53015" fmla="*/ 1551309 h 5973007"/>
              <a:gd name="connsiteX53016" fmla="*/ 1881225 w 6884782"/>
              <a:gd name="connsiteY53016" fmla="*/ 1548985 h 5973007"/>
              <a:gd name="connsiteX53017" fmla="*/ 1888350 w 6884782"/>
              <a:gd name="connsiteY53017" fmla="*/ 1549295 h 5973007"/>
              <a:gd name="connsiteX53018" fmla="*/ 1889899 w 6884782"/>
              <a:gd name="connsiteY53018" fmla="*/ 1549760 h 5973007"/>
              <a:gd name="connsiteX53019" fmla="*/ 1890931 w 6884782"/>
              <a:gd name="connsiteY53019" fmla="*/ 1547591 h 5973007"/>
              <a:gd name="connsiteX53020" fmla="*/ 1888453 w 6884782"/>
              <a:gd name="connsiteY53020" fmla="*/ 1546352 h 5973007"/>
              <a:gd name="connsiteX53021" fmla="*/ 1884013 w 6884782"/>
              <a:gd name="connsiteY53021" fmla="*/ 1541551 h 5973007"/>
              <a:gd name="connsiteX53022" fmla="*/ 1879676 w 6884782"/>
              <a:gd name="connsiteY53022" fmla="*/ 1544958 h 5973007"/>
              <a:gd name="connsiteX53023" fmla="*/ 1869867 w 6884782"/>
              <a:gd name="connsiteY53023" fmla="*/ 1527919 h 5973007"/>
              <a:gd name="connsiteX53024" fmla="*/ 1867596 w 6884782"/>
              <a:gd name="connsiteY53024" fmla="*/ 1524202 h 5973007"/>
              <a:gd name="connsiteX53025" fmla="*/ 1864601 w 6884782"/>
              <a:gd name="connsiteY53025" fmla="*/ 1523118 h 5973007"/>
              <a:gd name="connsiteX53026" fmla="*/ 1859541 w 6884782"/>
              <a:gd name="connsiteY53026" fmla="*/ 1519710 h 5973007"/>
              <a:gd name="connsiteX53027" fmla="*/ 1863259 w 6884782"/>
              <a:gd name="connsiteY53027" fmla="*/ 1518006 h 5973007"/>
              <a:gd name="connsiteX53028" fmla="*/ 1045572 w 6884782"/>
              <a:gd name="connsiteY53028" fmla="*/ 1513050 h 5973007"/>
              <a:gd name="connsiteX53029" fmla="*/ 1047431 w 6884782"/>
              <a:gd name="connsiteY53029" fmla="*/ 1514444 h 5973007"/>
              <a:gd name="connsiteX53030" fmla="*/ 1046605 w 6884782"/>
              <a:gd name="connsiteY53030" fmla="*/ 1516148 h 5973007"/>
              <a:gd name="connsiteX53031" fmla="*/ 1046708 w 6884782"/>
              <a:gd name="connsiteY53031" fmla="*/ 1517851 h 5973007"/>
              <a:gd name="connsiteX53032" fmla="*/ 1045883 w 6884782"/>
              <a:gd name="connsiteY53032" fmla="*/ 1518006 h 5973007"/>
              <a:gd name="connsiteX53033" fmla="*/ 1045779 w 6884782"/>
              <a:gd name="connsiteY53033" fmla="*/ 1517851 h 5973007"/>
              <a:gd name="connsiteX53034" fmla="*/ 1045263 w 6884782"/>
              <a:gd name="connsiteY53034" fmla="*/ 1518471 h 5973007"/>
              <a:gd name="connsiteX53035" fmla="*/ 1047638 w 6884782"/>
              <a:gd name="connsiteY53035" fmla="*/ 1519090 h 5973007"/>
              <a:gd name="connsiteX53036" fmla="*/ 1043714 w 6884782"/>
              <a:gd name="connsiteY53036" fmla="*/ 1531637 h 5973007"/>
              <a:gd name="connsiteX53037" fmla="*/ 1036693 w 6884782"/>
              <a:gd name="connsiteY53037" fmla="*/ 1528849 h 5973007"/>
              <a:gd name="connsiteX53038" fmla="*/ 1034834 w 6884782"/>
              <a:gd name="connsiteY53038" fmla="*/ 1523273 h 5973007"/>
              <a:gd name="connsiteX53039" fmla="*/ 1037312 w 6884782"/>
              <a:gd name="connsiteY53039" fmla="*/ 1518781 h 5973007"/>
              <a:gd name="connsiteX53040" fmla="*/ 1040926 w 6884782"/>
              <a:gd name="connsiteY53040" fmla="*/ 1517386 h 5973007"/>
              <a:gd name="connsiteX53041" fmla="*/ 1041133 w 6884782"/>
              <a:gd name="connsiteY53041" fmla="*/ 1517541 h 5973007"/>
              <a:gd name="connsiteX53042" fmla="*/ 1040306 w 6884782"/>
              <a:gd name="connsiteY53042" fmla="*/ 1516302 h 5973007"/>
              <a:gd name="connsiteX53043" fmla="*/ 1040306 w 6884782"/>
              <a:gd name="connsiteY53043" fmla="*/ 1514598 h 5973007"/>
              <a:gd name="connsiteX53044" fmla="*/ 1042062 w 6884782"/>
              <a:gd name="connsiteY53044" fmla="*/ 1513514 h 5973007"/>
              <a:gd name="connsiteX53045" fmla="*/ 1045572 w 6884782"/>
              <a:gd name="connsiteY53045" fmla="*/ 1513050 h 5973007"/>
              <a:gd name="connsiteX53046" fmla="*/ 3789908 w 6884782"/>
              <a:gd name="connsiteY53046" fmla="*/ 1513030 h 5973007"/>
              <a:gd name="connsiteX53047" fmla="*/ 3792896 w 6884782"/>
              <a:gd name="connsiteY53047" fmla="*/ 1513599 h 5973007"/>
              <a:gd name="connsiteX53048" fmla="*/ 3795884 w 6884782"/>
              <a:gd name="connsiteY53048" fmla="*/ 1514310 h 5973007"/>
              <a:gd name="connsiteX53049" fmla="*/ 3798444 w 6884782"/>
              <a:gd name="connsiteY53049" fmla="*/ 1514025 h 5973007"/>
              <a:gd name="connsiteX53050" fmla="*/ 3802499 w 6884782"/>
              <a:gd name="connsiteY53050" fmla="*/ 1516871 h 5973007"/>
              <a:gd name="connsiteX53051" fmla="*/ 3799939 w 6884782"/>
              <a:gd name="connsiteY53051" fmla="*/ 1517156 h 5973007"/>
              <a:gd name="connsiteX53052" fmla="*/ 3796951 w 6884782"/>
              <a:gd name="connsiteY53052" fmla="*/ 1516444 h 5973007"/>
              <a:gd name="connsiteX53053" fmla="*/ 3794816 w 6884782"/>
              <a:gd name="connsiteY53053" fmla="*/ 1517582 h 5973007"/>
              <a:gd name="connsiteX53054" fmla="*/ 3787133 w 6884782"/>
              <a:gd name="connsiteY53054" fmla="*/ 1513172 h 5973007"/>
              <a:gd name="connsiteX53055" fmla="*/ 3789908 w 6884782"/>
              <a:gd name="connsiteY53055" fmla="*/ 1513030 h 5973007"/>
              <a:gd name="connsiteX53056" fmla="*/ 5394397 w 6884782"/>
              <a:gd name="connsiteY53056" fmla="*/ 1512034 h 5973007"/>
              <a:gd name="connsiteX53057" fmla="*/ 5402080 w 6884782"/>
              <a:gd name="connsiteY53057" fmla="*/ 1516017 h 5973007"/>
              <a:gd name="connsiteX53058" fmla="*/ 5402508 w 6884782"/>
              <a:gd name="connsiteY53058" fmla="*/ 1520001 h 5973007"/>
              <a:gd name="connsiteX53059" fmla="*/ 5398452 w 6884782"/>
              <a:gd name="connsiteY53059" fmla="*/ 1523984 h 5973007"/>
              <a:gd name="connsiteX53060" fmla="*/ 5392264 w 6884782"/>
              <a:gd name="connsiteY53060" fmla="*/ 1514879 h 5973007"/>
              <a:gd name="connsiteX53061" fmla="*/ 5394397 w 6884782"/>
              <a:gd name="connsiteY53061" fmla="*/ 1512034 h 5973007"/>
              <a:gd name="connsiteX53062" fmla="*/ 1165143 w 6884782"/>
              <a:gd name="connsiteY53062" fmla="*/ 1511965 h 5973007"/>
              <a:gd name="connsiteX53063" fmla="*/ 1168344 w 6884782"/>
              <a:gd name="connsiteY53063" fmla="*/ 1511965 h 5973007"/>
              <a:gd name="connsiteX53064" fmla="*/ 1168138 w 6884782"/>
              <a:gd name="connsiteY53064" fmla="*/ 1521104 h 5973007"/>
              <a:gd name="connsiteX53065" fmla="*/ 1168344 w 6884782"/>
              <a:gd name="connsiteY53065" fmla="*/ 1523583 h 5973007"/>
              <a:gd name="connsiteX53066" fmla="*/ 1170513 w 6884782"/>
              <a:gd name="connsiteY53066" fmla="*/ 1521879 h 5973007"/>
              <a:gd name="connsiteX53067" fmla="*/ 1176398 w 6884782"/>
              <a:gd name="connsiteY53067" fmla="*/ 1521414 h 5973007"/>
              <a:gd name="connsiteX53068" fmla="*/ 1186104 w 6884782"/>
              <a:gd name="connsiteY53068" fmla="*/ 1533961 h 5973007"/>
              <a:gd name="connsiteX53069" fmla="*/ 1185588 w 6884782"/>
              <a:gd name="connsiteY53069" fmla="*/ 1536284 h 5973007"/>
              <a:gd name="connsiteX53070" fmla="*/ 1185898 w 6884782"/>
              <a:gd name="connsiteY53070" fmla="*/ 1540001 h 5973007"/>
              <a:gd name="connsiteX53071" fmla="*/ 1174746 w 6884782"/>
              <a:gd name="connsiteY53071" fmla="*/ 1540931 h 5973007"/>
              <a:gd name="connsiteX53072" fmla="*/ 1164834 w 6884782"/>
              <a:gd name="connsiteY53072" fmla="*/ 1532721 h 5973007"/>
              <a:gd name="connsiteX53073" fmla="*/ 1164730 w 6884782"/>
              <a:gd name="connsiteY53073" fmla="*/ 1529933 h 5973007"/>
              <a:gd name="connsiteX53074" fmla="*/ 1162149 w 6884782"/>
              <a:gd name="connsiteY53074" fmla="*/ 1529159 h 5973007"/>
              <a:gd name="connsiteX53075" fmla="*/ 1158638 w 6884782"/>
              <a:gd name="connsiteY53075" fmla="*/ 1520020 h 5973007"/>
              <a:gd name="connsiteX53076" fmla="*/ 1158638 w 6884782"/>
              <a:gd name="connsiteY53076" fmla="*/ 1516612 h 5973007"/>
              <a:gd name="connsiteX53077" fmla="*/ 1165143 w 6884782"/>
              <a:gd name="connsiteY53077" fmla="*/ 1511965 h 5973007"/>
              <a:gd name="connsiteX53078" fmla="*/ 1088643 w 6884782"/>
              <a:gd name="connsiteY53078" fmla="*/ 1511810 h 5973007"/>
              <a:gd name="connsiteX53079" fmla="*/ 1091728 w 6884782"/>
              <a:gd name="connsiteY53079" fmla="*/ 1512740 h 5973007"/>
              <a:gd name="connsiteX53080" fmla="*/ 1089766 w 6884782"/>
              <a:gd name="connsiteY53080" fmla="*/ 1518471 h 5973007"/>
              <a:gd name="connsiteX53081" fmla="*/ 1088218 w 6884782"/>
              <a:gd name="connsiteY53081" fmla="*/ 1517851 h 5973007"/>
              <a:gd name="connsiteX53082" fmla="*/ 1088321 w 6884782"/>
              <a:gd name="connsiteY53082" fmla="*/ 1518006 h 5973007"/>
              <a:gd name="connsiteX53083" fmla="*/ 1085843 w 6884782"/>
              <a:gd name="connsiteY53083" fmla="*/ 1521569 h 5973007"/>
              <a:gd name="connsiteX53084" fmla="*/ 1077169 w 6884782"/>
              <a:gd name="connsiteY53084" fmla="*/ 1523273 h 5973007"/>
              <a:gd name="connsiteX53085" fmla="*/ 1082848 w 6884782"/>
              <a:gd name="connsiteY53085" fmla="*/ 1513979 h 5973007"/>
              <a:gd name="connsiteX53086" fmla="*/ 1085533 w 6884782"/>
              <a:gd name="connsiteY53086" fmla="*/ 1513824 h 5973007"/>
              <a:gd name="connsiteX53087" fmla="*/ 1085326 w 6884782"/>
              <a:gd name="connsiteY53087" fmla="*/ 1512275 h 5973007"/>
              <a:gd name="connsiteX53088" fmla="*/ 1088643 w 6884782"/>
              <a:gd name="connsiteY53088" fmla="*/ 1511810 h 5973007"/>
              <a:gd name="connsiteX53089" fmla="*/ 5106281 w 6884782"/>
              <a:gd name="connsiteY53089" fmla="*/ 1511465 h 5973007"/>
              <a:gd name="connsiteX53090" fmla="*/ 5105213 w 6884782"/>
              <a:gd name="connsiteY53090" fmla="*/ 1511607 h 5973007"/>
              <a:gd name="connsiteX53091" fmla="*/ 5105427 w 6884782"/>
              <a:gd name="connsiteY53091" fmla="*/ 1511749 h 5973007"/>
              <a:gd name="connsiteX53092" fmla="*/ 5676325 w 6884782"/>
              <a:gd name="connsiteY53092" fmla="*/ 1510895 h 5973007"/>
              <a:gd name="connsiteX53093" fmla="*/ 5680593 w 6884782"/>
              <a:gd name="connsiteY53093" fmla="*/ 1512603 h 5973007"/>
              <a:gd name="connsiteX53094" fmla="*/ 5675045 w 6884782"/>
              <a:gd name="connsiteY53094" fmla="*/ 1524269 h 5973007"/>
              <a:gd name="connsiteX53095" fmla="*/ 5673977 w 6884782"/>
              <a:gd name="connsiteY53095" fmla="*/ 1527399 h 5973007"/>
              <a:gd name="connsiteX53096" fmla="*/ 5677605 w 6884782"/>
              <a:gd name="connsiteY53096" fmla="*/ 1526403 h 5973007"/>
              <a:gd name="connsiteX53097" fmla="*/ 5685289 w 6884782"/>
              <a:gd name="connsiteY53097" fmla="*/ 1528964 h 5973007"/>
              <a:gd name="connsiteX53098" fmla="*/ 5690624 w 6884782"/>
              <a:gd name="connsiteY53098" fmla="*/ 1550304 h 5973007"/>
              <a:gd name="connsiteX53099" fmla="*/ 5688704 w 6884782"/>
              <a:gd name="connsiteY53099" fmla="*/ 1552865 h 5973007"/>
              <a:gd name="connsiteX53100" fmla="*/ 5686996 w 6884782"/>
              <a:gd name="connsiteY53100" fmla="*/ 1557702 h 5973007"/>
              <a:gd name="connsiteX53101" fmla="*/ 5672484 w 6884782"/>
              <a:gd name="connsiteY53101" fmla="*/ 1552580 h 5973007"/>
              <a:gd name="connsiteX53102" fmla="*/ 5664374 w 6884782"/>
              <a:gd name="connsiteY53102" fmla="*/ 1536789 h 5973007"/>
              <a:gd name="connsiteX53103" fmla="*/ 5665867 w 6884782"/>
              <a:gd name="connsiteY53103" fmla="*/ 1533232 h 5973007"/>
              <a:gd name="connsiteX53104" fmla="*/ 5663093 w 6884782"/>
              <a:gd name="connsiteY53104" fmla="*/ 1530813 h 5973007"/>
              <a:gd name="connsiteX53105" fmla="*/ 5665654 w 6884782"/>
              <a:gd name="connsiteY53105" fmla="*/ 1513172 h 5973007"/>
              <a:gd name="connsiteX53106" fmla="*/ 5676325 w 6884782"/>
              <a:gd name="connsiteY53106" fmla="*/ 1510895 h 5973007"/>
              <a:gd name="connsiteX53107" fmla="*/ 4715509 w 6884782"/>
              <a:gd name="connsiteY53107" fmla="*/ 1510895 h 5973007"/>
              <a:gd name="connsiteX53108" fmla="*/ 4721058 w 6884782"/>
              <a:gd name="connsiteY53108" fmla="*/ 1511180 h 5973007"/>
              <a:gd name="connsiteX53109" fmla="*/ 4719991 w 6884782"/>
              <a:gd name="connsiteY53109" fmla="*/ 1511180 h 5973007"/>
              <a:gd name="connsiteX53110" fmla="*/ 4720205 w 6884782"/>
              <a:gd name="connsiteY53110" fmla="*/ 1513599 h 5973007"/>
              <a:gd name="connsiteX53111" fmla="*/ 4721271 w 6884782"/>
              <a:gd name="connsiteY53111" fmla="*/ 1513599 h 5973007"/>
              <a:gd name="connsiteX53112" fmla="*/ 4720631 w 6884782"/>
              <a:gd name="connsiteY53112" fmla="*/ 1516017 h 5973007"/>
              <a:gd name="connsiteX53113" fmla="*/ 4712948 w 6884782"/>
              <a:gd name="connsiteY53113" fmla="*/ 1520143 h 5973007"/>
              <a:gd name="connsiteX53114" fmla="*/ 4712095 w 6884782"/>
              <a:gd name="connsiteY53114" fmla="*/ 1514025 h 5973007"/>
              <a:gd name="connsiteX53115" fmla="*/ 4715509 w 6884782"/>
              <a:gd name="connsiteY53115" fmla="*/ 1510895 h 5973007"/>
              <a:gd name="connsiteX53116" fmla="*/ 1806674 w 6884782"/>
              <a:gd name="connsiteY53116" fmla="*/ 1510106 h 5973007"/>
              <a:gd name="connsiteX53117" fmla="*/ 1808533 w 6884782"/>
              <a:gd name="connsiteY53117" fmla="*/ 1512275 h 5973007"/>
              <a:gd name="connsiteX53118" fmla="*/ 1808739 w 6884782"/>
              <a:gd name="connsiteY53118" fmla="*/ 1514908 h 5973007"/>
              <a:gd name="connsiteX53119" fmla="*/ 1807500 w 6884782"/>
              <a:gd name="connsiteY53119" fmla="*/ 1515683 h 5973007"/>
              <a:gd name="connsiteX53120" fmla="*/ 1805435 w 6884782"/>
              <a:gd name="connsiteY53120" fmla="*/ 1515993 h 5973007"/>
              <a:gd name="connsiteX53121" fmla="*/ 1804403 w 6884782"/>
              <a:gd name="connsiteY53121" fmla="*/ 1513979 h 5973007"/>
              <a:gd name="connsiteX53122" fmla="*/ 1804609 w 6884782"/>
              <a:gd name="connsiteY53122" fmla="*/ 1511655 h 5973007"/>
              <a:gd name="connsiteX53123" fmla="*/ 1805435 w 6884782"/>
              <a:gd name="connsiteY53123" fmla="*/ 1510416 h 5973007"/>
              <a:gd name="connsiteX53124" fmla="*/ 1806674 w 6884782"/>
              <a:gd name="connsiteY53124" fmla="*/ 1510106 h 5973007"/>
              <a:gd name="connsiteX53125" fmla="*/ 3648411 w 6884782"/>
              <a:gd name="connsiteY53125" fmla="*/ 1509615 h 5973007"/>
              <a:gd name="connsiteX53126" fmla="*/ 3647983 w 6884782"/>
              <a:gd name="connsiteY53126" fmla="*/ 1512461 h 5973007"/>
              <a:gd name="connsiteX53127" fmla="*/ 3646703 w 6884782"/>
              <a:gd name="connsiteY53127" fmla="*/ 1511465 h 5973007"/>
              <a:gd name="connsiteX53128" fmla="*/ 3648411 w 6884782"/>
              <a:gd name="connsiteY53128" fmla="*/ 1509615 h 5973007"/>
              <a:gd name="connsiteX53129" fmla="*/ 3690667 w 6884782"/>
              <a:gd name="connsiteY53129" fmla="*/ 1508904 h 5973007"/>
              <a:gd name="connsiteX53130" fmla="*/ 3696003 w 6884782"/>
              <a:gd name="connsiteY53130" fmla="*/ 1514879 h 5973007"/>
              <a:gd name="connsiteX53131" fmla="*/ 3698991 w 6884782"/>
              <a:gd name="connsiteY53131" fmla="*/ 1514310 h 5973007"/>
              <a:gd name="connsiteX53132" fmla="*/ 3703259 w 6884782"/>
              <a:gd name="connsiteY53132" fmla="*/ 1518151 h 5973007"/>
              <a:gd name="connsiteX53133" fmla="*/ 3698564 w 6884782"/>
              <a:gd name="connsiteY53133" fmla="*/ 1518578 h 5973007"/>
              <a:gd name="connsiteX53134" fmla="*/ 3698137 w 6884782"/>
              <a:gd name="connsiteY53134" fmla="*/ 1518294 h 5973007"/>
              <a:gd name="connsiteX53135" fmla="*/ 3701765 w 6884782"/>
              <a:gd name="connsiteY53135" fmla="*/ 1524553 h 5973007"/>
              <a:gd name="connsiteX53136" fmla="*/ 3707101 w 6884782"/>
              <a:gd name="connsiteY53136" fmla="*/ 1531809 h 5973007"/>
              <a:gd name="connsiteX53137" fmla="*/ 3706461 w 6884782"/>
              <a:gd name="connsiteY53137" fmla="*/ 1535081 h 5973007"/>
              <a:gd name="connsiteX53138" fmla="*/ 3707314 w 6884782"/>
              <a:gd name="connsiteY53138" fmla="*/ 1536077 h 5973007"/>
              <a:gd name="connsiteX53139" fmla="*/ 3706034 w 6884782"/>
              <a:gd name="connsiteY53139" fmla="*/ 1538354 h 5973007"/>
              <a:gd name="connsiteX53140" fmla="*/ 3700912 w 6884782"/>
              <a:gd name="connsiteY53140" fmla="*/ 1532805 h 5973007"/>
              <a:gd name="connsiteX53141" fmla="*/ 3697710 w 6884782"/>
              <a:gd name="connsiteY53141" fmla="*/ 1527825 h 5973007"/>
              <a:gd name="connsiteX53142" fmla="*/ 3690667 w 6884782"/>
              <a:gd name="connsiteY53142" fmla="*/ 1508904 h 5973007"/>
              <a:gd name="connsiteX53143" fmla="*/ 5754437 w 6884782"/>
              <a:gd name="connsiteY53143" fmla="*/ 1508193 h 5973007"/>
              <a:gd name="connsiteX53144" fmla="*/ 5764254 w 6884782"/>
              <a:gd name="connsiteY53144" fmla="*/ 1545894 h 5973007"/>
              <a:gd name="connsiteX53145" fmla="*/ 5754437 w 6884782"/>
              <a:gd name="connsiteY53145" fmla="*/ 1508193 h 5973007"/>
              <a:gd name="connsiteX53146" fmla="*/ 3571153 w 6884782"/>
              <a:gd name="connsiteY53146" fmla="*/ 1508193 h 5973007"/>
              <a:gd name="connsiteX53147" fmla="*/ 3568165 w 6884782"/>
              <a:gd name="connsiteY53147" fmla="*/ 1518294 h 5973007"/>
              <a:gd name="connsiteX53148" fmla="*/ 3571153 w 6884782"/>
              <a:gd name="connsiteY53148" fmla="*/ 1508193 h 5973007"/>
              <a:gd name="connsiteX53149" fmla="*/ 989827 w 6884782"/>
              <a:gd name="connsiteY53149" fmla="*/ 1507938 h 5973007"/>
              <a:gd name="connsiteX53150" fmla="*/ 999107 w 6884782"/>
              <a:gd name="connsiteY53150" fmla="*/ 1509487 h 5973007"/>
              <a:gd name="connsiteX53151" fmla="*/ 997971 w 6884782"/>
              <a:gd name="connsiteY53151" fmla="*/ 1517696 h 5973007"/>
              <a:gd name="connsiteX53152" fmla="*/ 984239 w 6884782"/>
              <a:gd name="connsiteY53152" fmla="*/ 1514908 h 5973007"/>
              <a:gd name="connsiteX53153" fmla="*/ 984032 w 6884782"/>
              <a:gd name="connsiteY53153" fmla="*/ 1511501 h 5973007"/>
              <a:gd name="connsiteX53154" fmla="*/ 989827 w 6884782"/>
              <a:gd name="connsiteY53154" fmla="*/ 1507938 h 5973007"/>
              <a:gd name="connsiteX53155" fmla="*/ 1645181 w 6884782"/>
              <a:gd name="connsiteY53155" fmla="*/ 1507783 h 5973007"/>
              <a:gd name="connsiteX53156" fmla="*/ 1649725 w 6884782"/>
              <a:gd name="connsiteY53156" fmla="*/ 1508093 h 5973007"/>
              <a:gd name="connsiteX53157" fmla="*/ 1648692 w 6884782"/>
              <a:gd name="connsiteY53157" fmla="*/ 1513205 h 5973007"/>
              <a:gd name="connsiteX53158" fmla="*/ 1643942 w 6884782"/>
              <a:gd name="connsiteY53158" fmla="*/ 1513359 h 5973007"/>
              <a:gd name="connsiteX53159" fmla="*/ 1642910 w 6884782"/>
              <a:gd name="connsiteY53159" fmla="*/ 1511501 h 5973007"/>
              <a:gd name="connsiteX53160" fmla="*/ 1643426 w 6884782"/>
              <a:gd name="connsiteY53160" fmla="*/ 1510726 h 5973007"/>
              <a:gd name="connsiteX53161" fmla="*/ 1645181 w 6884782"/>
              <a:gd name="connsiteY53161" fmla="*/ 1507783 h 5973007"/>
              <a:gd name="connsiteX53162" fmla="*/ 1285230 w 6884782"/>
              <a:gd name="connsiteY53162" fmla="*/ 1507008 h 5973007"/>
              <a:gd name="connsiteX53163" fmla="*/ 1290290 w 6884782"/>
              <a:gd name="connsiteY53163" fmla="*/ 1511965 h 5973007"/>
              <a:gd name="connsiteX53164" fmla="*/ 1294420 w 6884782"/>
              <a:gd name="connsiteY53164" fmla="*/ 1510881 h 5973007"/>
              <a:gd name="connsiteX53165" fmla="*/ 1298137 w 6884782"/>
              <a:gd name="connsiteY53165" fmla="*/ 1518161 h 5973007"/>
              <a:gd name="connsiteX53166" fmla="*/ 1286676 w 6884782"/>
              <a:gd name="connsiteY53166" fmla="*/ 1530553 h 5973007"/>
              <a:gd name="connsiteX53167" fmla="*/ 1286263 w 6884782"/>
              <a:gd name="connsiteY53167" fmla="*/ 1529778 h 5973007"/>
              <a:gd name="connsiteX53168" fmla="*/ 1282649 w 6884782"/>
              <a:gd name="connsiteY53168" fmla="*/ 1534270 h 5973007"/>
              <a:gd name="connsiteX53169" fmla="*/ 1274801 w 6884782"/>
              <a:gd name="connsiteY53169" fmla="*/ 1525131 h 5973007"/>
              <a:gd name="connsiteX53170" fmla="*/ 1274698 w 6884782"/>
              <a:gd name="connsiteY53170" fmla="*/ 1524512 h 5973007"/>
              <a:gd name="connsiteX53171" fmla="*/ 1273872 w 6884782"/>
              <a:gd name="connsiteY53171" fmla="*/ 1523737 h 5973007"/>
              <a:gd name="connsiteX53172" fmla="*/ 1273666 w 6884782"/>
              <a:gd name="connsiteY53172" fmla="*/ 1523892 h 5973007"/>
              <a:gd name="connsiteX53173" fmla="*/ 1273666 w 6884782"/>
              <a:gd name="connsiteY53173" fmla="*/ 1523583 h 5973007"/>
              <a:gd name="connsiteX53174" fmla="*/ 1272220 w 6884782"/>
              <a:gd name="connsiteY53174" fmla="*/ 1522033 h 5973007"/>
              <a:gd name="connsiteX53175" fmla="*/ 1273459 w 6884782"/>
              <a:gd name="connsiteY53175" fmla="*/ 1520949 h 5973007"/>
              <a:gd name="connsiteX53176" fmla="*/ 1273769 w 6884782"/>
              <a:gd name="connsiteY53176" fmla="*/ 1518316 h 5973007"/>
              <a:gd name="connsiteX53177" fmla="*/ 1275834 w 6884782"/>
              <a:gd name="connsiteY53177" fmla="*/ 1517231 h 5973007"/>
              <a:gd name="connsiteX53178" fmla="*/ 1280377 w 6884782"/>
              <a:gd name="connsiteY53178" fmla="*/ 1519245 h 5973007"/>
              <a:gd name="connsiteX53179" fmla="*/ 1285747 w 6884782"/>
              <a:gd name="connsiteY53179" fmla="*/ 1515063 h 5973007"/>
              <a:gd name="connsiteX53180" fmla="*/ 1288225 w 6884782"/>
              <a:gd name="connsiteY53180" fmla="*/ 1512895 h 5973007"/>
              <a:gd name="connsiteX53181" fmla="*/ 1287089 w 6884782"/>
              <a:gd name="connsiteY53181" fmla="*/ 1513205 h 5973007"/>
              <a:gd name="connsiteX53182" fmla="*/ 1276247 w 6884782"/>
              <a:gd name="connsiteY53182" fmla="*/ 1507318 h 5973007"/>
              <a:gd name="connsiteX53183" fmla="*/ 1285230 w 6884782"/>
              <a:gd name="connsiteY53183" fmla="*/ 1507008 h 5973007"/>
              <a:gd name="connsiteX53184" fmla="*/ 1674093 w 6884782"/>
              <a:gd name="connsiteY53184" fmla="*/ 1506389 h 5973007"/>
              <a:gd name="connsiteX53185" fmla="*/ 1675745 w 6884782"/>
              <a:gd name="connsiteY53185" fmla="*/ 1511810 h 5973007"/>
              <a:gd name="connsiteX53186" fmla="*/ 1669034 w 6884782"/>
              <a:gd name="connsiteY53186" fmla="*/ 1510571 h 5973007"/>
              <a:gd name="connsiteX53187" fmla="*/ 1668931 w 6884782"/>
              <a:gd name="connsiteY53187" fmla="*/ 1508402 h 5973007"/>
              <a:gd name="connsiteX53188" fmla="*/ 1670066 w 6884782"/>
              <a:gd name="connsiteY53188" fmla="*/ 1507318 h 5973007"/>
              <a:gd name="connsiteX53189" fmla="*/ 1674093 w 6884782"/>
              <a:gd name="connsiteY53189" fmla="*/ 1506389 h 5973007"/>
              <a:gd name="connsiteX53190" fmla="*/ 1522513 w 6884782"/>
              <a:gd name="connsiteY53190" fmla="*/ 1506079 h 5973007"/>
              <a:gd name="connsiteX53191" fmla="*/ 1528296 w 6884782"/>
              <a:gd name="connsiteY53191" fmla="*/ 1508712 h 5973007"/>
              <a:gd name="connsiteX53192" fmla="*/ 1520551 w 6884782"/>
              <a:gd name="connsiteY53192" fmla="*/ 1511965 h 5973007"/>
              <a:gd name="connsiteX53193" fmla="*/ 1522513 w 6884782"/>
              <a:gd name="connsiteY53193" fmla="*/ 1506079 h 5973007"/>
              <a:gd name="connsiteX53194" fmla="*/ 4857006 w 6884782"/>
              <a:gd name="connsiteY53194" fmla="*/ 1506058 h 5973007"/>
              <a:gd name="connsiteX53195" fmla="*/ 4860635 w 6884782"/>
              <a:gd name="connsiteY53195" fmla="*/ 1509900 h 5973007"/>
              <a:gd name="connsiteX53196" fmla="*/ 4861275 w 6884782"/>
              <a:gd name="connsiteY53196" fmla="*/ 1513172 h 5973007"/>
              <a:gd name="connsiteX53197" fmla="*/ 4851885 w 6884782"/>
              <a:gd name="connsiteY53197" fmla="*/ 1508620 h 5973007"/>
              <a:gd name="connsiteX53198" fmla="*/ 4857006 w 6884782"/>
              <a:gd name="connsiteY53198" fmla="*/ 1506058 h 5973007"/>
              <a:gd name="connsiteX53199" fmla="*/ 1027503 w 6884782"/>
              <a:gd name="connsiteY53199" fmla="*/ 1505924 h 5973007"/>
              <a:gd name="connsiteX53200" fmla="*/ 1038551 w 6884782"/>
              <a:gd name="connsiteY53200" fmla="*/ 1516922 h 5973007"/>
              <a:gd name="connsiteX53201" fmla="*/ 1036899 w 6884782"/>
              <a:gd name="connsiteY53201" fmla="*/ 1518161 h 5973007"/>
              <a:gd name="connsiteX53202" fmla="*/ 1034628 w 6884782"/>
              <a:gd name="connsiteY53202" fmla="*/ 1517696 h 5973007"/>
              <a:gd name="connsiteX53203" fmla="*/ 1028638 w 6884782"/>
              <a:gd name="connsiteY53203" fmla="*/ 1512275 h 5973007"/>
              <a:gd name="connsiteX53204" fmla="*/ 1027503 w 6884782"/>
              <a:gd name="connsiteY53204" fmla="*/ 1510881 h 5973007"/>
              <a:gd name="connsiteX53205" fmla="*/ 1026470 w 6884782"/>
              <a:gd name="connsiteY53205" fmla="*/ 1509332 h 5973007"/>
              <a:gd name="connsiteX53206" fmla="*/ 1026161 w 6884782"/>
              <a:gd name="connsiteY53206" fmla="*/ 1507628 h 5973007"/>
              <a:gd name="connsiteX53207" fmla="*/ 1027503 w 6884782"/>
              <a:gd name="connsiteY53207" fmla="*/ 1505924 h 5973007"/>
              <a:gd name="connsiteX53208" fmla="*/ 4658953 w 6884782"/>
              <a:gd name="connsiteY53208" fmla="*/ 1505916 h 5973007"/>
              <a:gd name="connsiteX53209" fmla="*/ 4661087 w 6884782"/>
              <a:gd name="connsiteY53209" fmla="*/ 1506201 h 5973007"/>
              <a:gd name="connsiteX53210" fmla="*/ 4652764 w 6884782"/>
              <a:gd name="connsiteY53210" fmla="*/ 1512745 h 5973007"/>
              <a:gd name="connsiteX53211" fmla="*/ 4658953 w 6884782"/>
              <a:gd name="connsiteY53211" fmla="*/ 1505916 h 5973007"/>
              <a:gd name="connsiteX53212" fmla="*/ 4238302 w 6884782"/>
              <a:gd name="connsiteY53212" fmla="*/ 1505916 h 5973007"/>
              <a:gd name="connsiteX53213" fmla="*/ 4247693 w 6884782"/>
              <a:gd name="connsiteY53213" fmla="*/ 1512461 h 5973007"/>
              <a:gd name="connsiteX53214" fmla="*/ 4244065 w 6884782"/>
              <a:gd name="connsiteY53214" fmla="*/ 1519432 h 5973007"/>
              <a:gd name="connsiteX53215" fmla="*/ 4232327 w 6884782"/>
              <a:gd name="connsiteY53215" fmla="*/ 1512603 h 5973007"/>
              <a:gd name="connsiteX53216" fmla="*/ 4234461 w 6884782"/>
              <a:gd name="connsiteY53216" fmla="*/ 1507766 h 5973007"/>
              <a:gd name="connsiteX53217" fmla="*/ 4238302 w 6884782"/>
              <a:gd name="connsiteY53217" fmla="*/ 1505916 h 5973007"/>
              <a:gd name="connsiteX53218" fmla="*/ 3719479 w 6884782"/>
              <a:gd name="connsiteY53218" fmla="*/ 1505347 h 5973007"/>
              <a:gd name="connsiteX53219" fmla="*/ 3717772 w 6884782"/>
              <a:gd name="connsiteY53219" fmla="*/ 1508620 h 5973007"/>
              <a:gd name="connsiteX53220" fmla="*/ 3704540 w 6884782"/>
              <a:gd name="connsiteY53220" fmla="*/ 1516017 h 5973007"/>
              <a:gd name="connsiteX53221" fmla="*/ 3719479 w 6884782"/>
              <a:gd name="connsiteY53221" fmla="*/ 1505347 h 5973007"/>
              <a:gd name="connsiteX53222" fmla="*/ 4130312 w 6884782"/>
              <a:gd name="connsiteY53222" fmla="*/ 1504920 h 5973007"/>
              <a:gd name="connsiteX53223" fmla="*/ 4133940 w 6884782"/>
              <a:gd name="connsiteY53223" fmla="*/ 1506201 h 5973007"/>
              <a:gd name="connsiteX53224" fmla="*/ 4135008 w 6884782"/>
              <a:gd name="connsiteY53224" fmla="*/ 1507481 h 5973007"/>
              <a:gd name="connsiteX53225" fmla="*/ 4136075 w 6884782"/>
              <a:gd name="connsiteY53225" fmla="*/ 1507481 h 5973007"/>
              <a:gd name="connsiteX53226" fmla="*/ 4136288 w 6884782"/>
              <a:gd name="connsiteY53226" fmla="*/ 1508620 h 5973007"/>
              <a:gd name="connsiteX53227" fmla="*/ 4138636 w 6884782"/>
              <a:gd name="connsiteY53227" fmla="*/ 1511180 h 5973007"/>
              <a:gd name="connsiteX53228" fmla="*/ 4145892 w 6884782"/>
              <a:gd name="connsiteY53228" fmla="*/ 1515022 h 5973007"/>
              <a:gd name="connsiteX53229" fmla="*/ 4150801 w 6884782"/>
              <a:gd name="connsiteY53229" fmla="*/ 1522419 h 5973007"/>
              <a:gd name="connsiteX53230" fmla="*/ 4148666 w 6884782"/>
              <a:gd name="connsiteY53230" fmla="*/ 1524696 h 5973007"/>
              <a:gd name="connsiteX53231" fmla="*/ 4151014 w 6884782"/>
              <a:gd name="connsiteY53231" fmla="*/ 1527114 h 5973007"/>
              <a:gd name="connsiteX53232" fmla="*/ 4154642 w 6884782"/>
              <a:gd name="connsiteY53232" fmla="*/ 1534228 h 5973007"/>
              <a:gd name="connsiteX53233" fmla="*/ 4151654 w 6884782"/>
              <a:gd name="connsiteY53233" fmla="*/ 1540203 h 5973007"/>
              <a:gd name="connsiteX53234" fmla="*/ 4154002 w 6884782"/>
              <a:gd name="connsiteY53234" fmla="*/ 1541483 h 5973007"/>
              <a:gd name="connsiteX53235" fmla="*/ 4153362 w 6884782"/>
              <a:gd name="connsiteY53235" fmla="*/ 1548312 h 5973007"/>
              <a:gd name="connsiteX53236" fmla="*/ 4141197 w 6884782"/>
              <a:gd name="connsiteY53236" fmla="*/ 1546747 h 5973007"/>
              <a:gd name="connsiteX53237" fmla="*/ 4141837 w 6884782"/>
              <a:gd name="connsiteY53237" fmla="*/ 1545609 h 5973007"/>
              <a:gd name="connsiteX53238" fmla="*/ 4140343 w 6884782"/>
              <a:gd name="connsiteY53238" fmla="*/ 1545325 h 5973007"/>
              <a:gd name="connsiteX53239" fmla="*/ 4136502 w 6884782"/>
              <a:gd name="connsiteY53239" fmla="*/ 1543191 h 5973007"/>
              <a:gd name="connsiteX53240" fmla="*/ 4133514 w 6884782"/>
              <a:gd name="connsiteY53240" fmla="*/ 1527541 h 5973007"/>
              <a:gd name="connsiteX53241" fmla="*/ 4143758 w 6884782"/>
              <a:gd name="connsiteY53241" fmla="*/ 1522135 h 5973007"/>
              <a:gd name="connsiteX53242" fmla="*/ 4142691 w 6884782"/>
              <a:gd name="connsiteY53242" fmla="*/ 1521993 h 5973007"/>
              <a:gd name="connsiteX53243" fmla="*/ 4130312 w 6884782"/>
              <a:gd name="connsiteY53243" fmla="*/ 1504920 h 5973007"/>
              <a:gd name="connsiteX53244" fmla="*/ 4300835 w 6884782"/>
              <a:gd name="connsiteY53244" fmla="*/ 1504636 h 5973007"/>
              <a:gd name="connsiteX53245" fmla="*/ 4302115 w 6884782"/>
              <a:gd name="connsiteY53245" fmla="*/ 1507766 h 5973007"/>
              <a:gd name="connsiteX53246" fmla="*/ 4299127 w 6884782"/>
              <a:gd name="connsiteY53246" fmla="*/ 1522561 h 5973007"/>
              <a:gd name="connsiteX53247" fmla="*/ 4297633 w 6884782"/>
              <a:gd name="connsiteY53247" fmla="*/ 1519432 h 5973007"/>
              <a:gd name="connsiteX53248" fmla="*/ 4300835 w 6884782"/>
              <a:gd name="connsiteY53248" fmla="*/ 1504636 h 5973007"/>
              <a:gd name="connsiteX53249" fmla="*/ 1761448 w 6884782"/>
              <a:gd name="connsiteY53249" fmla="*/ 1504530 h 5973007"/>
              <a:gd name="connsiteX53250" fmla="*/ 1763203 w 6884782"/>
              <a:gd name="connsiteY53250" fmla="*/ 1506698 h 5973007"/>
              <a:gd name="connsiteX53251" fmla="*/ 1759486 w 6884782"/>
              <a:gd name="connsiteY53251" fmla="*/ 1511036 h 5973007"/>
              <a:gd name="connsiteX53252" fmla="*/ 1756698 w 6884782"/>
              <a:gd name="connsiteY53252" fmla="*/ 1510416 h 5973007"/>
              <a:gd name="connsiteX53253" fmla="*/ 1754220 w 6884782"/>
              <a:gd name="connsiteY53253" fmla="*/ 1506698 h 5973007"/>
              <a:gd name="connsiteX53254" fmla="*/ 1755149 w 6884782"/>
              <a:gd name="connsiteY53254" fmla="*/ 1505150 h 5973007"/>
              <a:gd name="connsiteX53255" fmla="*/ 1761448 w 6884782"/>
              <a:gd name="connsiteY53255" fmla="*/ 1504530 h 5973007"/>
              <a:gd name="connsiteX53256" fmla="*/ 5639830 w 6884782"/>
              <a:gd name="connsiteY53256" fmla="*/ 1504209 h 5973007"/>
              <a:gd name="connsiteX53257" fmla="*/ 5642605 w 6884782"/>
              <a:gd name="connsiteY53257" fmla="*/ 1509615 h 5973007"/>
              <a:gd name="connsiteX53258" fmla="*/ 5640044 w 6884782"/>
              <a:gd name="connsiteY53258" fmla="*/ 1531383 h 5973007"/>
              <a:gd name="connsiteX53259" fmla="*/ 5645806 w 6884782"/>
              <a:gd name="connsiteY53259" fmla="*/ 1544328 h 5973007"/>
              <a:gd name="connsiteX53260" fmla="*/ 5614647 w 6884782"/>
              <a:gd name="connsiteY53260" fmla="*/ 1531667 h 5973007"/>
              <a:gd name="connsiteX53261" fmla="*/ 5608458 w 6884782"/>
              <a:gd name="connsiteY53261" fmla="*/ 1523415 h 5973007"/>
              <a:gd name="connsiteX53262" fmla="*/ 5630866 w 6884782"/>
              <a:gd name="connsiteY53262" fmla="*/ 1525976 h 5973007"/>
              <a:gd name="connsiteX53263" fmla="*/ 5639830 w 6884782"/>
              <a:gd name="connsiteY53263" fmla="*/ 1504209 h 5973007"/>
              <a:gd name="connsiteX53264" fmla="*/ 4199887 w 6884782"/>
              <a:gd name="connsiteY53264" fmla="*/ 1504209 h 5973007"/>
              <a:gd name="connsiteX53265" fmla="*/ 4204582 w 6884782"/>
              <a:gd name="connsiteY53265" fmla="*/ 1531667 h 5973007"/>
              <a:gd name="connsiteX53266" fmla="*/ 4198180 w 6884782"/>
              <a:gd name="connsiteY53266" fmla="*/ 1518294 h 5973007"/>
              <a:gd name="connsiteX53267" fmla="*/ 4199887 w 6884782"/>
              <a:gd name="connsiteY53267" fmla="*/ 1504209 h 5973007"/>
              <a:gd name="connsiteX53268" fmla="*/ 1596754 w 6884782"/>
              <a:gd name="connsiteY53268" fmla="*/ 1504065 h 5973007"/>
              <a:gd name="connsiteX53269" fmla="*/ 1602124 w 6884782"/>
              <a:gd name="connsiteY53269" fmla="*/ 1507008 h 5973007"/>
              <a:gd name="connsiteX53270" fmla="*/ 1603156 w 6884782"/>
              <a:gd name="connsiteY53270" fmla="*/ 1511191 h 5973007"/>
              <a:gd name="connsiteX53271" fmla="*/ 1598406 w 6884782"/>
              <a:gd name="connsiteY53271" fmla="*/ 1516302 h 5973007"/>
              <a:gd name="connsiteX53272" fmla="*/ 1591178 w 6884782"/>
              <a:gd name="connsiteY53272" fmla="*/ 1509797 h 5973007"/>
              <a:gd name="connsiteX53273" fmla="*/ 1596754 w 6884782"/>
              <a:gd name="connsiteY53273" fmla="*/ 1504065 h 5973007"/>
              <a:gd name="connsiteX53274" fmla="*/ 5868616 w 6884782"/>
              <a:gd name="connsiteY53274" fmla="*/ 1503782 h 5973007"/>
              <a:gd name="connsiteX53275" fmla="*/ 5870323 w 6884782"/>
              <a:gd name="connsiteY53275" fmla="*/ 1507055 h 5973007"/>
              <a:gd name="connsiteX53276" fmla="*/ 5869257 w 6884782"/>
              <a:gd name="connsiteY53276" fmla="*/ 1511465 h 5973007"/>
              <a:gd name="connsiteX53277" fmla="*/ 5869897 w 6884782"/>
              <a:gd name="connsiteY53277" fmla="*/ 1512745 h 5973007"/>
              <a:gd name="connsiteX53278" fmla="*/ 5868190 w 6884782"/>
              <a:gd name="connsiteY53278" fmla="*/ 1516017 h 5973007"/>
              <a:gd name="connsiteX53279" fmla="*/ 5866909 w 6884782"/>
              <a:gd name="connsiteY53279" fmla="*/ 1516871 h 5973007"/>
              <a:gd name="connsiteX53280" fmla="*/ 5863921 w 6884782"/>
              <a:gd name="connsiteY53280" fmla="*/ 1520712 h 5973007"/>
              <a:gd name="connsiteX53281" fmla="*/ 5863067 w 6884782"/>
              <a:gd name="connsiteY53281" fmla="*/ 1518863 h 5973007"/>
              <a:gd name="connsiteX53282" fmla="*/ 5858586 w 6884782"/>
              <a:gd name="connsiteY53282" fmla="*/ 1518294 h 5973007"/>
              <a:gd name="connsiteX53283" fmla="*/ 5852610 w 6884782"/>
              <a:gd name="connsiteY53283" fmla="*/ 1520428 h 5973007"/>
              <a:gd name="connsiteX53284" fmla="*/ 5860079 w 6884782"/>
              <a:gd name="connsiteY53284" fmla="*/ 1516017 h 5973007"/>
              <a:gd name="connsiteX53285" fmla="*/ 5860720 w 6884782"/>
              <a:gd name="connsiteY53285" fmla="*/ 1514310 h 5973007"/>
              <a:gd name="connsiteX53286" fmla="*/ 5860507 w 6884782"/>
              <a:gd name="connsiteY53286" fmla="*/ 1514168 h 5973007"/>
              <a:gd name="connsiteX53287" fmla="*/ 5860933 w 6884782"/>
              <a:gd name="connsiteY53287" fmla="*/ 1513599 h 5973007"/>
              <a:gd name="connsiteX53288" fmla="*/ 5861574 w 6884782"/>
              <a:gd name="connsiteY53288" fmla="*/ 1512461 h 5973007"/>
              <a:gd name="connsiteX53289" fmla="*/ 5862000 w 6884782"/>
              <a:gd name="connsiteY53289" fmla="*/ 1512176 h 5973007"/>
              <a:gd name="connsiteX53290" fmla="*/ 5863494 w 6884782"/>
              <a:gd name="connsiteY53290" fmla="*/ 1509330 h 5973007"/>
              <a:gd name="connsiteX53291" fmla="*/ 5865842 w 6884782"/>
              <a:gd name="connsiteY53291" fmla="*/ 1504209 h 5973007"/>
              <a:gd name="connsiteX53292" fmla="*/ 5868616 w 6884782"/>
              <a:gd name="connsiteY53292" fmla="*/ 1503782 h 5973007"/>
              <a:gd name="connsiteX53293" fmla="*/ 3646917 w 6884782"/>
              <a:gd name="connsiteY53293" fmla="*/ 1503782 h 5973007"/>
              <a:gd name="connsiteX53294" fmla="*/ 3646490 w 6884782"/>
              <a:gd name="connsiteY53294" fmla="*/ 1506628 h 5973007"/>
              <a:gd name="connsiteX53295" fmla="*/ 3645850 w 6884782"/>
              <a:gd name="connsiteY53295" fmla="*/ 1504209 h 5973007"/>
              <a:gd name="connsiteX53296" fmla="*/ 3646917 w 6884782"/>
              <a:gd name="connsiteY53296" fmla="*/ 1503782 h 5973007"/>
              <a:gd name="connsiteX53297" fmla="*/ 4972680 w 6884782"/>
              <a:gd name="connsiteY53297" fmla="*/ 1503498 h 5973007"/>
              <a:gd name="connsiteX53298" fmla="*/ 4975241 w 6884782"/>
              <a:gd name="connsiteY53298" fmla="*/ 1503498 h 5973007"/>
              <a:gd name="connsiteX53299" fmla="*/ 4976522 w 6884782"/>
              <a:gd name="connsiteY53299" fmla="*/ 1509473 h 5973007"/>
              <a:gd name="connsiteX53300" fmla="*/ 4977589 w 6884782"/>
              <a:gd name="connsiteY53300" fmla="*/ 1510042 h 5973007"/>
              <a:gd name="connsiteX53301" fmla="*/ 4980577 w 6884782"/>
              <a:gd name="connsiteY53301" fmla="*/ 1509188 h 5973007"/>
              <a:gd name="connsiteX53302" fmla="*/ 4988046 w 6884782"/>
              <a:gd name="connsiteY53302" fmla="*/ 1511180 h 5973007"/>
              <a:gd name="connsiteX53303" fmla="*/ 4990394 w 6884782"/>
              <a:gd name="connsiteY53303" fmla="*/ 1514168 h 5973007"/>
              <a:gd name="connsiteX53304" fmla="*/ 4994876 w 6884782"/>
              <a:gd name="connsiteY53304" fmla="*/ 1512461 h 5973007"/>
              <a:gd name="connsiteX53305" fmla="*/ 4999571 w 6884782"/>
              <a:gd name="connsiteY53305" fmla="*/ 1514595 h 5973007"/>
              <a:gd name="connsiteX53306" fmla="*/ 4992315 w 6884782"/>
              <a:gd name="connsiteY53306" fmla="*/ 1525265 h 5973007"/>
              <a:gd name="connsiteX53307" fmla="*/ 4989327 w 6884782"/>
              <a:gd name="connsiteY53307" fmla="*/ 1527683 h 5973007"/>
              <a:gd name="connsiteX53308" fmla="*/ 4988900 w 6884782"/>
              <a:gd name="connsiteY53308" fmla="*/ 1528537 h 5973007"/>
              <a:gd name="connsiteX53309" fmla="*/ 4985912 w 6884782"/>
              <a:gd name="connsiteY53309" fmla="*/ 1530244 h 5973007"/>
              <a:gd name="connsiteX53310" fmla="*/ 4980363 w 6884782"/>
              <a:gd name="connsiteY53310" fmla="*/ 1534654 h 5973007"/>
              <a:gd name="connsiteX53311" fmla="*/ 4978442 w 6884782"/>
              <a:gd name="connsiteY53311" fmla="*/ 1544898 h 5973007"/>
              <a:gd name="connsiteX53312" fmla="*/ 4976949 w 6884782"/>
              <a:gd name="connsiteY53312" fmla="*/ 1546320 h 5973007"/>
              <a:gd name="connsiteX53313" fmla="*/ 4977162 w 6884782"/>
              <a:gd name="connsiteY53313" fmla="*/ 1552296 h 5973007"/>
              <a:gd name="connsiteX53314" fmla="*/ 4968838 w 6884782"/>
              <a:gd name="connsiteY53314" fmla="*/ 1548170 h 5973007"/>
              <a:gd name="connsiteX53315" fmla="*/ 4969906 w 6884782"/>
              <a:gd name="connsiteY53315" fmla="*/ 1545894 h 5973007"/>
              <a:gd name="connsiteX53316" fmla="*/ 4972680 w 6884782"/>
              <a:gd name="connsiteY53316" fmla="*/ 1544471 h 5973007"/>
              <a:gd name="connsiteX53317" fmla="*/ 4971400 w 6884782"/>
              <a:gd name="connsiteY53317" fmla="*/ 1541910 h 5973007"/>
              <a:gd name="connsiteX53318" fmla="*/ 4970333 w 6884782"/>
              <a:gd name="connsiteY53318" fmla="*/ 1543191 h 5973007"/>
              <a:gd name="connsiteX53319" fmla="*/ 4960515 w 6884782"/>
              <a:gd name="connsiteY53319" fmla="*/ 1549593 h 5973007"/>
              <a:gd name="connsiteX53320" fmla="*/ 4954539 w 6884782"/>
              <a:gd name="connsiteY53320" fmla="*/ 1552296 h 5973007"/>
              <a:gd name="connsiteX53321" fmla="*/ 4957100 w 6884782"/>
              <a:gd name="connsiteY53321" fmla="*/ 1553719 h 5973007"/>
              <a:gd name="connsiteX53322" fmla="*/ 4963076 w 6884782"/>
              <a:gd name="connsiteY53322" fmla="*/ 1561543 h 5973007"/>
              <a:gd name="connsiteX53323" fmla="*/ 4953259 w 6884782"/>
              <a:gd name="connsiteY53323" fmla="*/ 1566380 h 5973007"/>
              <a:gd name="connsiteX53324" fmla="*/ 4947496 w 6884782"/>
              <a:gd name="connsiteY53324" fmla="*/ 1563108 h 5973007"/>
              <a:gd name="connsiteX53325" fmla="*/ 4946003 w 6884782"/>
              <a:gd name="connsiteY53325" fmla="*/ 1558556 h 5973007"/>
              <a:gd name="connsiteX53326" fmla="*/ 4944936 w 6884782"/>
              <a:gd name="connsiteY53326" fmla="*/ 1556422 h 5973007"/>
              <a:gd name="connsiteX53327" fmla="*/ 4926582 w 6884782"/>
              <a:gd name="connsiteY53327" fmla="*/ 1563678 h 5973007"/>
              <a:gd name="connsiteX53328" fmla="*/ 4924020 w 6884782"/>
              <a:gd name="connsiteY53328" fmla="*/ 1550873 h 5973007"/>
              <a:gd name="connsiteX53329" fmla="*/ 4953472 w 6884782"/>
              <a:gd name="connsiteY53329" fmla="*/ 1540772 h 5973007"/>
              <a:gd name="connsiteX53330" fmla="*/ 4968412 w 6884782"/>
              <a:gd name="connsiteY53330" fmla="*/ 1535650 h 5973007"/>
              <a:gd name="connsiteX53331" fmla="*/ 4966704 w 6884782"/>
              <a:gd name="connsiteY53331" fmla="*/ 1531667 h 5973007"/>
              <a:gd name="connsiteX53332" fmla="*/ 4964783 w 6884782"/>
              <a:gd name="connsiteY53332" fmla="*/ 1515022 h 5973007"/>
              <a:gd name="connsiteX53333" fmla="*/ 4967131 w 6884782"/>
              <a:gd name="connsiteY53333" fmla="*/ 1504351 h 5973007"/>
              <a:gd name="connsiteX53334" fmla="*/ 4972466 w 6884782"/>
              <a:gd name="connsiteY53334" fmla="*/ 1506770 h 5973007"/>
              <a:gd name="connsiteX53335" fmla="*/ 4973107 w 6884782"/>
              <a:gd name="connsiteY53335" fmla="*/ 1507766 h 5973007"/>
              <a:gd name="connsiteX53336" fmla="*/ 4973107 w 6884782"/>
              <a:gd name="connsiteY53336" fmla="*/ 1506343 h 5973007"/>
              <a:gd name="connsiteX53337" fmla="*/ 4972680 w 6884782"/>
              <a:gd name="connsiteY53337" fmla="*/ 1503498 h 5973007"/>
              <a:gd name="connsiteX53338" fmla="*/ 1624737 w 6884782"/>
              <a:gd name="connsiteY53338" fmla="*/ 1503291 h 5973007"/>
              <a:gd name="connsiteX53339" fmla="*/ 1631139 w 6884782"/>
              <a:gd name="connsiteY53339" fmla="*/ 1511965 h 5973007"/>
              <a:gd name="connsiteX53340" fmla="*/ 1624737 w 6884782"/>
              <a:gd name="connsiteY53340" fmla="*/ 1506079 h 5973007"/>
              <a:gd name="connsiteX53341" fmla="*/ 1624737 w 6884782"/>
              <a:gd name="connsiteY53341" fmla="*/ 1503291 h 5973007"/>
              <a:gd name="connsiteX53342" fmla="*/ 5308816 w 6884782"/>
              <a:gd name="connsiteY53342" fmla="*/ 1503213 h 5973007"/>
              <a:gd name="connsiteX53343" fmla="*/ 5305188 w 6884782"/>
              <a:gd name="connsiteY53343" fmla="*/ 1513599 h 5973007"/>
              <a:gd name="connsiteX53344" fmla="*/ 5298999 w 6884782"/>
              <a:gd name="connsiteY53344" fmla="*/ 1510611 h 5973007"/>
              <a:gd name="connsiteX53345" fmla="*/ 5308816 w 6884782"/>
              <a:gd name="connsiteY53345" fmla="*/ 1503213 h 5973007"/>
              <a:gd name="connsiteX53346" fmla="*/ 4123483 w 6884782"/>
              <a:gd name="connsiteY53346" fmla="*/ 1502786 h 5973007"/>
              <a:gd name="connsiteX53347" fmla="*/ 4125831 w 6884782"/>
              <a:gd name="connsiteY53347" fmla="*/ 1504636 h 5973007"/>
              <a:gd name="connsiteX53348" fmla="*/ 4114946 w 6884782"/>
              <a:gd name="connsiteY53348" fmla="*/ 1505774 h 5973007"/>
              <a:gd name="connsiteX53349" fmla="*/ 4123483 w 6884782"/>
              <a:gd name="connsiteY53349" fmla="*/ 1502786 h 5973007"/>
              <a:gd name="connsiteX53350" fmla="*/ 3591641 w 6884782"/>
              <a:gd name="connsiteY53350" fmla="*/ 1502786 h 5973007"/>
              <a:gd name="connsiteX53351" fmla="*/ 3593988 w 6884782"/>
              <a:gd name="connsiteY53351" fmla="*/ 1505632 h 5973007"/>
              <a:gd name="connsiteX53352" fmla="*/ 3595483 w 6884782"/>
              <a:gd name="connsiteY53352" fmla="*/ 1520570 h 5973007"/>
              <a:gd name="connsiteX53353" fmla="*/ 3591641 w 6884782"/>
              <a:gd name="connsiteY53353" fmla="*/ 1502786 h 5973007"/>
              <a:gd name="connsiteX53354" fmla="*/ 3738901 w 6884782"/>
              <a:gd name="connsiteY53354" fmla="*/ 1502217 h 5973007"/>
              <a:gd name="connsiteX53355" fmla="*/ 3740394 w 6884782"/>
              <a:gd name="connsiteY53355" fmla="*/ 1503213 h 5973007"/>
              <a:gd name="connsiteX53356" fmla="*/ 3744236 w 6884782"/>
              <a:gd name="connsiteY53356" fmla="*/ 1509330 h 5973007"/>
              <a:gd name="connsiteX53357" fmla="*/ 3765364 w 6884782"/>
              <a:gd name="connsiteY53357" fmla="*/ 1511465 h 5973007"/>
              <a:gd name="connsiteX53358" fmla="*/ 3764724 w 6884782"/>
              <a:gd name="connsiteY53358" fmla="*/ 1523415 h 5973007"/>
              <a:gd name="connsiteX53359" fmla="*/ 3762376 w 6884782"/>
              <a:gd name="connsiteY53359" fmla="*/ 1525976 h 5973007"/>
              <a:gd name="connsiteX53360" fmla="*/ 3764938 w 6884782"/>
              <a:gd name="connsiteY53360" fmla="*/ 1526261 h 5973007"/>
              <a:gd name="connsiteX53361" fmla="*/ 3757468 w 6884782"/>
              <a:gd name="connsiteY53361" fmla="*/ 1548170 h 5973007"/>
              <a:gd name="connsiteX53362" fmla="*/ 3755547 w 6884782"/>
              <a:gd name="connsiteY53362" fmla="*/ 1549877 h 5973007"/>
              <a:gd name="connsiteX53363" fmla="*/ 3752772 w 6884782"/>
              <a:gd name="connsiteY53363" fmla="*/ 1548881 h 5973007"/>
              <a:gd name="connsiteX53364" fmla="*/ 3751492 w 6884782"/>
              <a:gd name="connsiteY53364" fmla="*/ 1545040 h 5973007"/>
              <a:gd name="connsiteX53365" fmla="*/ 3750639 w 6884782"/>
              <a:gd name="connsiteY53365" fmla="*/ 1545467 h 5973007"/>
              <a:gd name="connsiteX53366" fmla="*/ 3750639 w 6884782"/>
              <a:gd name="connsiteY53366" fmla="*/ 1545894 h 5973007"/>
              <a:gd name="connsiteX53367" fmla="*/ 3746370 w 6884782"/>
              <a:gd name="connsiteY53367" fmla="*/ 1555995 h 5973007"/>
              <a:gd name="connsiteX53368" fmla="*/ 3745303 w 6884782"/>
              <a:gd name="connsiteY53368" fmla="*/ 1558271 h 5973007"/>
              <a:gd name="connsiteX53369" fmla="*/ 3741889 w 6884782"/>
              <a:gd name="connsiteY53369" fmla="*/ 1558129 h 5973007"/>
              <a:gd name="connsiteX53370" fmla="*/ 3741889 w 6884782"/>
              <a:gd name="connsiteY53370" fmla="*/ 1549450 h 5973007"/>
              <a:gd name="connsiteX53371" fmla="*/ 3735059 w 6884782"/>
              <a:gd name="connsiteY53371" fmla="*/ 1548881 h 5973007"/>
              <a:gd name="connsiteX53372" fmla="*/ 3742102 w 6884782"/>
              <a:gd name="connsiteY53372" fmla="*/ 1527541 h 5973007"/>
              <a:gd name="connsiteX53373" fmla="*/ 3742742 w 6884782"/>
              <a:gd name="connsiteY53373" fmla="*/ 1526972 h 5973007"/>
              <a:gd name="connsiteX53374" fmla="*/ 3742315 w 6884782"/>
              <a:gd name="connsiteY53374" fmla="*/ 1526830 h 5973007"/>
              <a:gd name="connsiteX53375" fmla="*/ 3736980 w 6884782"/>
              <a:gd name="connsiteY53375" fmla="*/ 1529391 h 5973007"/>
              <a:gd name="connsiteX53376" fmla="*/ 3734205 w 6884782"/>
              <a:gd name="connsiteY53376" fmla="*/ 1511749 h 5973007"/>
              <a:gd name="connsiteX53377" fmla="*/ 3734845 w 6884782"/>
              <a:gd name="connsiteY53377" fmla="*/ 1509330 h 5973007"/>
              <a:gd name="connsiteX53378" fmla="*/ 3733778 w 6884782"/>
              <a:gd name="connsiteY53378" fmla="*/ 1509188 h 5973007"/>
              <a:gd name="connsiteX53379" fmla="*/ 3734845 w 6884782"/>
              <a:gd name="connsiteY53379" fmla="*/ 1508050 h 5973007"/>
              <a:gd name="connsiteX53380" fmla="*/ 3734845 w 6884782"/>
              <a:gd name="connsiteY53380" fmla="*/ 1507766 h 5973007"/>
              <a:gd name="connsiteX53381" fmla="*/ 3734845 w 6884782"/>
              <a:gd name="connsiteY53381" fmla="*/ 1506486 h 5973007"/>
              <a:gd name="connsiteX53382" fmla="*/ 3737620 w 6884782"/>
              <a:gd name="connsiteY53382" fmla="*/ 1502644 h 5973007"/>
              <a:gd name="connsiteX53383" fmla="*/ 3738901 w 6884782"/>
              <a:gd name="connsiteY53383" fmla="*/ 1502217 h 5973007"/>
              <a:gd name="connsiteX53384" fmla="*/ 1129004 w 6884782"/>
              <a:gd name="connsiteY53384" fmla="*/ 1502052 h 5973007"/>
              <a:gd name="connsiteX53385" fmla="*/ 1132308 w 6884782"/>
              <a:gd name="connsiteY53385" fmla="*/ 1508712 h 5973007"/>
              <a:gd name="connsiteX53386" fmla="*/ 1129933 w 6884782"/>
              <a:gd name="connsiteY53386" fmla="*/ 1513205 h 5973007"/>
              <a:gd name="connsiteX53387" fmla="*/ 1122292 w 6884782"/>
              <a:gd name="connsiteY53387" fmla="*/ 1516302 h 5973007"/>
              <a:gd name="connsiteX53388" fmla="*/ 1120743 w 6884782"/>
              <a:gd name="connsiteY53388" fmla="*/ 1512430 h 5973007"/>
              <a:gd name="connsiteX53389" fmla="*/ 1129004 w 6884782"/>
              <a:gd name="connsiteY53389" fmla="*/ 1502052 h 5973007"/>
              <a:gd name="connsiteX53390" fmla="*/ 5393330 w 6884782"/>
              <a:gd name="connsiteY53390" fmla="*/ 1501648 h 5973007"/>
              <a:gd name="connsiteX53391" fmla="*/ 5379245 w 6884782"/>
              <a:gd name="connsiteY53391" fmla="*/ 1518863 h 5973007"/>
              <a:gd name="connsiteX53392" fmla="*/ 5393330 w 6884782"/>
              <a:gd name="connsiteY53392" fmla="*/ 1501648 h 5973007"/>
              <a:gd name="connsiteX53393" fmla="*/ 5503669 w 6884782"/>
              <a:gd name="connsiteY53393" fmla="*/ 1501506 h 5973007"/>
              <a:gd name="connsiteX53394" fmla="*/ 5507937 w 6884782"/>
              <a:gd name="connsiteY53394" fmla="*/ 1503925 h 5973007"/>
              <a:gd name="connsiteX53395" fmla="*/ 5510498 w 6884782"/>
              <a:gd name="connsiteY53395" fmla="*/ 1508193 h 5973007"/>
              <a:gd name="connsiteX53396" fmla="*/ 5511992 w 6884782"/>
              <a:gd name="connsiteY53396" fmla="*/ 1512461 h 5973007"/>
              <a:gd name="connsiteX53397" fmla="*/ 5501321 w 6884782"/>
              <a:gd name="connsiteY53397" fmla="*/ 1512176 h 5973007"/>
              <a:gd name="connsiteX53398" fmla="*/ 5500467 w 6884782"/>
              <a:gd name="connsiteY53398" fmla="*/ 1509757 h 5973007"/>
              <a:gd name="connsiteX53399" fmla="*/ 5499827 w 6884782"/>
              <a:gd name="connsiteY53399" fmla="*/ 1503640 h 5973007"/>
              <a:gd name="connsiteX53400" fmla="*/ 5503669 w 6884782"/>
              <a:gd name="connsiteY53400" fmla="*/ 1501506 h 5973007"/>
              <a:gd name="connsiteX53401" fmla="*/ 4428887 w 6884782"/>
              <a:gd name="connsiteY53401" fmla="*/ 1500794 h 5973007"/>
              <a:gd name="connsiteX53402" fmla="*/ 4477973 w 6884782"/>
              <a:gd name="connsiteY53402" fmla="*/ 1510042 h 5973007"/>
              <a:gd name="connsiteX53403" fmla="*/ 4493766 w 6884782"/>
              <a:gd name="connsiteY53403" fmla="*/ 1536646 h 5973007"/>
              <a:gd name="connsiteX53404" fmla="*/ 4468583 w 6884782"/>
              <a:gd name="connsiteY53404" fmla="*/ 1594692 h 5973007"/>
              <a:gd name="connsiteX53405" fmla="*/ 4421417 w 6884782"/>
              <a:gd name="connsiteY53405" fmla="*/ 1589428 h 5973007"/>
              <a:gd name="connsiteX53406" fmla="*/ 4403489 w 6884782"/>
              <a:gd name="connsiteY53406" fmla="*/ 1566807 h 5973007"/>
              <a:gd name="connsiteX53407" fmla="*/ 4401569 w 6884782"/>
              <a:gd name="connsiteY53407" fmla="*/ 1530244 h 5973007"/>
              <a:gd name="connsiteX53408" fmla="*/ 4415228 w 6884782"/>
              <a:gd name="connsiteY53408" fmla="*/ 1515591 h 5973007"/>
              <a:gd name="connsiteX53409" fmla="*/ 4422484 w 6884782"/>
              <a:gd name="connsiteY53409" fmla="*/ 1507908 h 5973007"/>
              <a:gd name="connsiteX53410" fmla="*/ 4422911 w 6884782"/>
              <a:gd name="connsiteY53410" fmla="*/ 1504209 h 5973007"/>
              <a:gd name="connsiteX53411" fmla="*/ 4426112 w 6884782"/>
              <a:gd name="connsiteY53411" fmla="*/ 1503925 h 5973007"/>
              <a:gd name="connsiteX53412" fmla="*/ 1235874 w 6884782"/>
              <a:gd name="connsiteY53412" fmla="*/ 1500348 h 5973007"/>
              <a:gd name="connsiteX53413" fmla="*/ 1237836 w 6884782"/>
              <a:gd name="connsiteY53413" fmla="*/ 1500658 h 5973007"/>
              <a:gd name="connsiteX53414" fmla="*/ 1239385 w 6884782"/>
              <a:gd name="connsiteY53414" fmla="*/ 1500348 h 5973007"/>
              <a:gd name="connsiteX53415" fmla="*/ 1239798 w 6884782"/>
              <a:gd name="connsiteY53415" fmla="*/ 1501122 h 5973007"/>
              <a:gd name="connsiteX53416" fmla="*/ 1240934 w 6884782"/>
              <a:gd name="connsiteY53416" fmla="*/ 1501587 h 5973007"/>
              <a:gd name="connsiteX53417" fmla="*/ 1240624 w 6884782"/>
              <a:gd name="connsiteY53417" fmla="*/ 1505305 h 5973007"/>
              <a:gd name="connsiteX53418" fmla="*/ 1239385 w 6884782"/>
              <a:gd name="connsiteY53418" fmla="*/ 1506854 h 5973007"/>
              <a:gd name="connsiteX53419" fmla="*/ 1237732 w 6884782"/>
              <a:gd name="connsiteY53419" fmla="*/ 1507163 h 5973007"/>
              <a:gd name="connsiteX53420" fmla="*/ 1236287 w 6884782"/>
              <a:gd name="connsiteY53420" fmla="*/ 1505769 h 5973007"/>
              <a:gd name="connsiteX53421" fmla="*/ 1234945 w 6884782"/>
              <a:gd name="connsiteY53421" fmla="*/ 1504065 h 5973007"/>
              <a:gd name="connsiteX53422" fmla="*/ 1234945 w 6884782"/>
              <a:gd name="connsiteY53422" fmla="*/ 1502517 h 5973007"/>
              <a:gd name="connsiteX53423" fmla="*/ 1235874 w 6884782"/>
              <a:gd name="connsiteY53423" fmla="*/ 1500348 h 5973007"/>
              <a:gd name="connsiteX53424" fmla="*/ 1736254 w 6884782"/>
              <a:gd name="connsiteY53424" fmla="*/ 1500038 h 5973007"/>
              <a:gd name="connsiteX53425" fmla="*/ 1736564 w 6884782"/>
              <a:gd name="connsiteY53425" fmla="*/ 1522653 h 5973007"/>
              <a:gd name="connsiteX53426" fmla="*/ 1730265 w 6884782"/>
              <a:gd name="connsiteY53426" fmla="*/ 1511191 h 5973007"/>
              <a:gd name="connsiteX53427" fmla="*/ 1736254 w 6884782"/>
              <a:gd name="connsiteY53427" fmla="*/ 1500038 h 5973007"/>
              <a:gd name="connsiteX53428" fmla="*/ 1010879 w 6884782"/>
              <a:gd name="connsiteY53428" fmla="*/ 1499728 h 5973007"/>
              <a:gd name="connsiteX53429" fmla="*/ 1011911 w 6884782"/>
              <a:gd name="connsiteY53429" fmla="*/ 1509487 h 5973007"/>
              <a:gd name="connsiteX53430" fmla="*/ 1007058 w 6884782"/>
              <a:gd name="connsiteY53430" fmla="*/ 1507628 h 5973007"/>
              <a:gd name="connsiteX53431" fmla="*/ 1010879 w 6884782"/>
              <a:gd name="connsiteY53431" fmla="*/ 1499728 h 5973007"/>
              <a:gd name="connsiteX53432" fmla="*/ 1155954 w 6884782"/>
              <a:gd name="connsiteY53432" fmla="*/ 1498799 h 5973007"/>
              <a:gd name="connsiteX53433" fmla="*/ 1148932 w 6884782"/>
              <a:gd name="connsiteY53433" fmla="*/ 1503756 h 5973007"/>
              <a:gd name="connsiteX53434" fmla="*/ 1155954 w 6884782"/>
              <a:gd name="connsiteY53434" fmla="*/ 1498799 h 5973007"/>
              <a:gd name="connsiteX53435" fmla="*/ 4011864 w 6884782"/>
              <a:gd name="connsiteY53435" fmla="*/ 1498661 h 5973007"/>
              <a:gd name="connsiteX53436" fmla="*/ 4016559 w 6884782"/>
              <a:gd name="connsiteY53436" fmla="*/ 1500368 h 5973007"/>
              <a:gd name="connsiteX53437" fmla="*/ 4015919 w 6884782"/>
              <a:gd name="connsiteY53437" fmla="*/ 1505916 h 5973007"/>
              <a:gd name="connsiteX53438" fmla="*/ 4016987 w 6884782"/>
              <a:gd name="connsiteY53438" fmla="*/ 1509188 h 5973007"/>
              <a:gd name="connsiteX53439" fmla="*/ 4019334 w 6884782"/>
              <a:gd name="connsiteY53439" fmla="*/ 1512461 h 5973007"/>
              <a:gd name="connsiteX53440" fmla="*/ 4019334 w 6884782"/>
              <a:gd name="connsiteY53440" fmla="*/ 1513030 h 5973007"/>
              <a:gd name="connsiteX53441" fmla="*/ 4028938 w 6884782"/>
              <a:gd name="connsiteY53441" fmla="*/ 1510327 h 5973007"/>
              <a:gd name="connsiteX53442" fmla="*/ 4040676 w 6884782"/>
              <a:gd name="connsiteY53442" fmla="*/ 1505489 h 5973007"/>
              <a:gd name="connsiteX53443" fmla="*/ 4042170 w 6884782"/>
              <a:gd name="connsiteY53443" fmla="*/ 1508904 h 5973007"/>
              <a:gd name="connsiteX53444" fmla="*/ 4041957 w 6884782"/>
              <a:gd name="connsiteY53444" fmla="*/ 1514737 h 5973007"/>
              <a:gd name="connsiteX53445" fmla="*/ 4026377 w 6884782"/>
              <a:gd name="connsiteY53445" fmla="*/ 1524553 h 5973007"/>
              <a:gd name="connsiteX53446" fmla="*/ 4021682 w 6884782"/>
              <a:gd name="connsiteY53446" fmla="*/ 1521708 h 5973007"/>
              <a:gd name="connsiteX53447" fmla="*/ 4018267 w 6884782"/>
              <a:gd name="connsiteY53447" fmla="*/ 1518863 h 5973007"/>
              <a:gd name="connsiteX53448" fmla="*/ 4017627 w 6884782"/>
              <a:gd name="connsiteY53448" fmla="*/ 1519859 h 5973007"/>
              <a:gd name="connsiteX53449" fmla="*/ 4015066 w 6884782"/>
              <a:gd name="connsiteY53449" fmla="*/ 1520428 h 5973007"/>
              <a:gd name="connsiteX53450" fmla="*/ 4001193 w 6884782"/>
              <a:gd name="connsiteY53450" fmla="*/ 1504351 h 5973007"/>
              <a:gd name="connsiteX53451" fmla="*/ 4006743 w 6884782"/>
              <a:gd name="connsiteY53451" fmla="*/ 1500652 h 5973007"/>
              <a:gd name="connsiteX53452" fmla="*/ 4010371 w 6884782"/>
              <a:gd name="connsiteY53452" fmla="*/ 1501506 h 5973007"/>
              <a:gd name="connsiteX53453" fmla="*/ 1449718 w 6884782"/>
              <a:gd name="connsiteY53453" fmla="*/ 1498489 h 5973007"/>
              <a:gd name="connsiteX53454" fmla="*/ 1454054 w 6884782"/>
              <a:gd name="connsiteY53454" fmla="*/ 1509642 h 5973007"/>
              <a:gd name="connsiteX53455" fmla="*/ 1454777 w 6884782"/>
              <a:gd name="connsiteY53455" fmla="*/ 1514753 h 5973007"/>
              <a:gd name="connsiteX53456" fmla="*/ 1455809 w 6884782"/>
              <a:gd name="connsiteY53456" fmla="*/ 1514134 h 5973007"/>
              <a:gd name="connsiteX53457" fmla="*/ 1461076 w 6884782"/>
              <a:gd name="connsiteY53457" fmla="*/ 1516922 h 5973007"/>
              <a:gd name="connsiteX53458" fmla="*/ 1460043 w 6884782"/>
              <a:gd name="connsiteY53458" fmla="*/ 1519245 h 5973007"/>
              <a:gd name="connsiteX53459" fmla="*/ 1454880 w 6884782"/>
              <a:gd name="connsiteY53459" fmla="*/ 1520794 h 5973007"/>
              <a:gd name="connsiteX53460" fmla="*/ 1454261 w 6884782"/>
              <a:gd name="connsiteY53460" fmla="*/ 1520794 h 5973007"/>
              <a:gd name="connsiteX53461" fmla="*/ 1454054 w 6884782"/>
              <a:gd name="connsiteY53461" fmla="*/ 1522188 h 5973007"/>
              <a:gd name="connsiteX53462" fmla="*/ 1452815 w 6884782"/>
              <a:gd name="connsiteY53462" fmla="*/ 1520949 h 5973007"/>
              <a:gd name="connsiteX53463" fmla="*/ 1452608 w 6884782"/>
              <a:gd name="connsiteY53463" fmla="*/ 1521104 h 5973007"/>
              <a:gd name="connsiteX53464" fmla="*/ 1452093 w 6884782"/>
              <a:gd name="connsiteY53464" fmla="*/ 1520794 h 5973007"/>
              <a:gd name="connsiteX53465" fmla="*/ 1450647 w 6884782"/>
              <a:gd name="connsiteY53465" fmla="*/ 1519090 h 5973007"/>
              <a:gd name="connsiteX53466" fmla="*/ 1450647 w 6884782"/>
              <a:gd name="connsiteY53466" fmla="*/ 1518781 h 5973007"/>
              <a:gd name="connsiteX53467" fmla="*/ 1449098 w 6884782"/>
              <a:gd name="connsiteY53467" fmla="*/ 1517077 h 5973007"/>
              <a:gd name="connsiteX53468" fmla="*/ 1447342 w 6884782"/>
              <a:gd name="connsiteY53468" fmla="*/ 1510571 h 5973007"/>
              <a:gd name="connsiteX53469" fmla="*/ 1449718 w 6884782"/>
              <a:gd name="connsiteY53469" fmla="*/ 1498489 h 5973007"/>
              <a:gd name="connsiteX53470" fmla="*/ 1304952 w 6884782"/>
              <a:gd name="connsiteY53470" fmla="*/ 1498489 h 5973007"/>
              <a:gd name="connsiteX53471" fmla="*/ 1309805 w 6884782"/>
              <a:gd name="connsiteY53471" fmla="*/ 1504375 h 5973007"/>
              <a:gd name="connsiteX53472" fmla="*/ 1303713 w 6884782"/>
              <a:gd name="connsiteY53472" fmla="*/ 1512120 h 5973007"/>
              <a:gd name="connsiteX53473" fmla="*/ 1299686 w 6884782"/>
              <a:gd name="connsiteY53473" fmla="*/ 1511501 h 5973007"/>
              <a:gd name="connsiteX53474" fmla="*/ 1294524 w 6884782"/>
              <a:gd name="connsiteY53474" fmla="*/ 1506854 h 5973007"/>
              <a:gd name="connsiteX53475" fmla="*/ 1301338 w 6884782"/>
              <a:gd name="connsiteY53475" fmla="*/ 1498644 h 5973007"/>
              <a:gd name="connsiteX53476" fmla="*/ 1304952 w 6884782"/>
              <a:gd name="connsiteY53476" fmla="*/ 1498489 h 5973007"/>
              <a:gd name="connsiteX53477" fmla="*/ 5810139 w 6884782"/>
              <a:gd name="connsiteY53477" fmla="*/ 1497949 h 5973007"/>
              <a:gd name="connsiteX53478" fmla="*/ 5811420 w 6884782"/>
              <a:gd name="connsiteY53478" fmla="*/ 1500368 h 5973007"/>
              <a:gd name="connsiteX53479" fmla="*/ 5812060 w 6884782"/>
              <a:gd name="connsiteY53479" fmla="*/ 1503498 h 5973007"/>
              <a:gd name="connsiteX53480" fmla="*/ 5812487 w 6884782"/>
              <a:gd name="connsiteY53480" fmla="*/ 1506628 h 5973007"/>
              <a:gd name="connsiteX53481" fmla="*/ 5813767 w 6884782"/>
              <a:gd name="connsiteY53481" fmla="*/ 1508904 h 5973007"/>
              <a:gd name="connsiteX53482" fmla="*/ 5813127 w 6884782"/>
              <a:gd name="connsiteY53482" fmla="*/ 1514025 h 5973007"/>
              <a:gd name="connsiteX53483" fmla="*/ 5811847 w 6884782"/>
              <a:gd name="connsiteY53483" fmla="*/ 1511892 h 5973007"/>
              <a:gd name="connsiteX53484" fmla="*/ 5811206 w 6884782"/>
              <a:gd name="connsiteY53484" fmla="*/ 1508620 h 5973007"/>
              <a:gd name="connsiteX53485" fmla="*/ 5809285 w 6884782"/>
              <a:gd name="connsiteY53485" fmla="*/ 1507481 h 5973007"/>
              <a:gd name="connsiteX53486" fmla="*/ 5810139 w 6884782"/>
              <a:gd name="connsiteY53486" fmla="*/ 1497949 h 5973007"/>
              <a:gd name="connsiteX53487" fmla="*/ 1479869 w 6884782"/>
              <a:gd name="connsiteY53487" fmla="*/ 1497715 h 5973007"/>
              <a:gd name="connsiteX53488" fmla="*/ 1478010 w 6884782"/>
              <a:gd name="connsiteY53488" fmla="*/ 1512585 h 5973007"/>
              <a:gd name="connsiteX53489" fmla="*/ 1473983 w 6884782"/>
              <a:gd name="connsiteY53489" fmla="*/ 1516767 h 5973007"/>
              <a:gd name="connsiteX53490" fmla="*/ 1477184 w 6884782"/>
              <a:gd name="connsiteY53490" fmla="*/ 1522343 h 5973007"/>
              <a:gd name="connsiteX53491" fmla="*/ 1467477 w 6884782"/>
              <a:gd name="connsiteY53491" fmla="*/ 1540311 h 5973007"/>
              <a:gd name="connsiteX53492" fmla="*/ 1464587 w 6884782"/>
              <a:gd name="connsiteY53492" fmla="*/ 1528539 h 5973007"/>
              <a:gd name="connsiteX53493" fmla="*/ 1464999 w 6884782"/>
              <a:gd name="connsiteY53493" fmla="*/ 1522188 h 5973007"/>
              <a:gd name="connsiteX53494" fmla="*/ 1465826 w 6884782"/>
              <a:gd name="connsiteY53494" fmla="*/ 1519400 h 5973007"/>
              <a:gd name="connsiteX53495" fmla="*/ 1465619 w 6884782"/>
              <a:gd name="connsiteY53495" fmla="*/ 1519555 h 5973007"/>
              <a:gd name="connsiteX53496" fmla="*/ 1466032 w 6884782"/>
              <a:gd name="connsiteY53496" fmla="*/ 1518781 h 5973007"/>
              <a:gd name="connsiteX53497" fmla="*/ 1467168 w 6884782"/>
              <a:gd name="connsiteY53497" fmla="*/ 1515373 h 5973007"/>
              <a:gd name="connsiteX53498" fmla="*/ 1466135 w 6884782"/>
              <a:gd name="connsiteY53498" fmla="*/ 1515063 h 5973007"/>
              <a:gd name="connsiteX53499" fmla="*/ 1463760 w 6884782"/>
              <a:gd name="connsiteY53499" fmla="*/ 1509951 h 5973007"/>
              <a:gd name="connsiteX53500" fmla="*/ 1464690 w 6884782"/>
              <a:gd name="connsiteY53500" fmla="*/ 1508093 h 5973007"/>
              <a:gd name="connsiteX53501" fmla="*/ 1465826 w 6884782"/>
              <a:gd name="connsiteY53501" fmla="*/ 1507628 h 5973007"/>
              <a:gd name="connsiteX53502" fmla="*/ 1465619 w 6884782"/>
              <a:gd name="connsiteY53502" fmla="*/ 1507163 h 5973007"/>
              <a:gd name="connsiteX53503" fmla="*/ 1470162 w 6884782"/>
              <a:gd name="connsiteY53503" fmla="*/ 1506698 h 5973007"/>
              <a:gd name="connsiteX53504" fmla="*/ 1470266 w 6884782"/>
              <a:gd name="connsiteY53504" fmla="*/ 1507628 h 5973007"/>
              <a:gd name="connsiteX53505" fmla="*/ 1471918 w 6884782"/>
              <a:gd name="connsiteY53505" fmla="*/ 1508248 h 5973007"/>
              <a:gd name="connsiteX53506" fmla="*/ 1474912 w 6884782"/>
              <a:gd name="connsiteY53506" fmla="*/ 1502981 h 5973007"/>
              <a:gd name="connsiteX53507" fmla="*/ 1479869 w 6884782"/>
              <a:gd name="connsiteY53507" fmla="*/ 1497715 h 5973007"/>
              <a:gd name="connsiteX53508" fmla="*/ 1278932 w 6884782"/>
              <a:gd name="connsiteY53508" fmla="*/ 1497095 h 5973007"/>
              <a:gd name="connsiteX53509" fmla="*/ 1278106 w 6884782"/>
              <a:gd name="connsiteY53509" fmla="*/ 1497560 h 5973007"/>
              <a:gd name="connsiteX53510" fmla="*/ 1279035 w 6884782"/>
              <a:gd name="connsiteY53510" fmla="*/ 1498954 h 5973007"/>
              <a:gd name="connsiteX53511" fmla="*/ 1279758 w 6884782"/>
              <a:gd name="connsiteY53511" fmla="*/ 1498489 h 5973007"/>
              <a:gd name="connsiteX53512" fmla="*/ 1279964 w 6884782"/>
              <a:gd name="connsiteY53512" fmla="*/ 1500348 h 5973007"/>
              <a:gd name="connsiteX53513" fmla="*/ 1275937 w 6884782"/>
              <a:gd name="connsiteY53513" fmla="*/ 1505924 h 5973007"/>
              <a:gd name="connsiteX53514" fmla="*/ 1273666 w 6884782"/>
              <a:gd name="connsiteY53514" fmla="*/ 1502517 h 5973007"/>
              <a:gd name="connsiteX53515" fmla="*/ 1275008 w 6884782"/>
              <a:gd name="connsiteY53515" fmla="*/ 1499109 h 5973007"/>
              <a:gd name="connsiteX53516" fmla="*/ 1278932 w 6884782"/>
              <a:gd name="connsiteY53516" fmla="*/ 1497095 h 5973007"/>
              <a:gd name="connsiteX53517" fmla="*/ 5416593 w 6884782"/>
              <a:gd name="connsiteY53517" fmla="*/ 1496527 h 5973007"/>
              <a:gd name="connsiteX53518" fmla="*/ 5428972 w 6884782"/>
              <a:gd name="connsiteY53518" fmla="*/ 1512745 h 5973007"/>
              <a:gd name="connsiteX53519" fmla="*/ 5420008 w 6884782"/>
              <a:gd name="connsiteY53519" fmla="*/ 1519147 h 5973007"/>
              <a:gd name="connsiteX53520" fmla="*/ 5410831 w 6884782"/>
              <a:gd name="connsiteY53520" fmla="*/ 1501079 h 5973007"/>
              <a:gd name="connsiteX53521" fmla="*/ 5416593 w 6884782"/>
              <a:gd name="connsiteY53521" fmla="*/ 1496527 h 5973007"/>
              <a:gd name="connsiteX53522" fmla="*/ 3647557 w 6884782"/>
              <a:gd name="connsiteY53522" fmla="*/ 1496384 h 5973007"/>
              <a:gd name="connsiteX53523" fmla="*/ 3645636 w 6884782"/>
              <a:gd name="connsiteY53523" fmla="*/ 1503356 h 5973007"/>
              <a:gd name="connsiteX53524" fmla="*/ 3644569 w 6884782"/>
              <a:gd name="connsiteY53524" fmla="*/ 1498661 h 5973007"/>
              <a:gd name="connsiteX53525" fmla="*/ 3647557 w 6884782"/>
              <a:gd name="connsiteY53525" fmla="*/ 1496384 h 5973007"/>
              <a:gd name="connsiteX53526" fmla="*/ 5091342 w 6884782"/>
              <a:gd name="connsiteY53526" fmla="*/ 1495673 h 5973007"/>
              <a:gd name="connsiteX53527" fmla="*/ 5094756 w 6884782"/>
              <a:gd name="connsiteY53527" fmla="*/ 1496527 h 5973007"/>
              <a:gd name="connsiteX53528" fmla="*/ 5096250 w 6884782"/>
              <a:gd name="connsiteY53528" fmla="*/ 1497807 h 5973007"/>
              <a:gd name="connsiteX53529" fmla="*/ 5097317 w 6884782"/>
              <a:gd name="connsiteY53529" fmla="*/ 1497664 h 5973007"/>
              <a:gd name="connsiteX53530" fmla="*/ 5097530 w 6884782"/>
              <a:gd name="connsiteY53530" fmla="*/ 1498945 h 5973007"/>
              <a:gd name="connsiteX53531" fmla="*/ 5100092 w 6884782"/>
              <a:gd name="connsiteY53531" fmla="*/ 1501079 h 5973007"/>
              <a:gd name="connsiteX53532" fmla="*/ 5107561 w 6884782"/>
              <a:gd name="connsiteY53532" fmla="*/ 1504209 h 5973007"/>
              <a:gd name="connsiteX53533" fmla="*/ 5113324 w 6884782"/>
              <a:gd name="connsiteY53533" fmla="*/ 1511180 h 5973007"/>
              <a:gd name="connsiteX53534" fmla="*/ 5111189 w 6884782"/>
              <a:gd name="connsiteY53534" fmla="*/ 1513599 h 5973007"/>
              <a:gd name="connsiteX53535" fmla="*/ 5113751 w 6884782"/>
              <a:gd name="connsiteY53535" fmla="*/ 1515875 h 5973007"/>
              <a:gd name="connsiteX53536" fmla="*/ 5114818 w 6884782"/>
              <a:gd name="connsiteY53536" fmla="*/ 1531383 h 5973007"/>
              <a:gd name="connsiteX53537" fmla="*/ 5109482 w 6884782"/>
              <a:gd name="connsiteY53537" fmla="*/ 1535366 h 5973007"/>
              <a:gd name="connsiteX53538" fmla="*/ 5101159 w 6884782"/>
              <a:gd name="connsiteY53538" fmla="*/ 1533374 h 5973007"/>
              <a:gd name="connsiteX53539" fmla="*/ 5098385 w 6884782"/>
              <a:gd name="connsiteY53539" fmla="*/ 1529248 h 5973007"/>
              <a:gd name="connsiteX53540" fmla="*/ 5096037 w 6884782"/>
              <a:gd name="connsiteY53540" fmla="*/ 1531098 h 5973007"/>
              <a:gd name="connsiteX53541" fmla="*/ 5077896 w 6884782"/>
              <a:gd name="connsiteY53541" fmla="*/ 1522277 h 5973007"/>
              <a:gd name="connsiteX53542" fmla="*/ 5077683 w 6884782"/>
              <a:gd name="connsiteY53542" fmla="*/ 1521566 h 5973007"/>
              <a:gd name="connsiteX53543" fmla="*/ 5072134 w 6884782"/>
              <a:gd name="connsiteY53543" fmla="*/ 1527683 h 5973007"/>
              <a:gd name="connsiteX53544" fmla="*/ 5060182 w 6884782"/>
              <a:gd name="connsiteY53544" fmla="*/ 1512887 h 5973007"/>
              <a:gd name="connsiteX53545" fmla="*/ 5066372 w 6884782"/>
              <a:gd name="connsiteY53545" fmla="*/ 1509046 h 5973007"/>
              <a:gd name="connsiteX53546" fmla="*/ 5075122 w 6884782"/>
              <a:gd name="connsiteY53546" fmla="*/ 1512176 h 5973007"/>
              <a:gd name="connsiteX53547" fmla="*/ 5075762 w 6884782"/>
              <a:gd name="connsiteY53547" fmla="*/ 1513883 h 5973007"/>
              <a:gd name="connsiteX53548" fmla="*/ 5080244 w 6884782"/>
              <a:gd name="connsiteY53548" fmla="*/ 1510042 h 5973007"/>
              <a:gd name="connsiteX53549" fmla="*/ 5087714 w 6884782"/>
              <a:gd name="connsiteY53549" fmla="*/ 1505063 h 5973007"/>
              <a:gd name="connsiteX53550" fmla="*/ 5094970 w 6884782"/>
              <a:gd name="connsiteY53550" fmla="*/ 1503356 h 5973007"/>
              <a:gd name="connsiteX53551" fmla="*/ 5096464 w 6884782"/>
              <a:gd name="connsiteY53551" fmla="*/ 1503640 h 5973007"/>
              <a:gd name="connsiteX53552" fmla="*/ 5096037 w 6884782"/>
              <a:gd name="connsiteY53552" fmla="*/ 1503356 h 5973007"/>
              <a:gd name="connsiteX53553" fmla="*/ 5091342 w 6884782"/>
              <a:gd name="connsiteY53553" fmla="*/ 1495673 h 5973007"/>
              <a:gd name="connsiteX53554" fmla="*/ 4089336 w 6884782"/>
              <a:gd name="connsiteY53554" fmla="*/ 1494250 h 5973007"/>
              <a:gd name="connsiteX53555" fmla="*/ 4095525 w 6884782"/>
              <a:gd name="connsiteY53555" fmla="*/ 1499229 h 5973007"/>
              <a:gd name="connsiteX53556" fmla="*/ 4088055 w 6884782"/>
              <a:gd name="connsiteY53556" fmla="*/ 1503640 h 5973007"/>
              <a:gd name="connsiteX53557" fmla="*/ 4089336 w 6884782"/>
              <a:gd name="connsiteY53557" fmla="*/ 1494250 h 5973007"/>
              <a:gd name="connsiteX53558" fmla="*/ 1725928 w 6884782"/>
              <a:gd name="connsiteY53558" fmla="*/ 1494152 h 5973007"/>
              <a:gd name="connsiteX53559" fmla="*/ 1732949 w 6884782"/>
              <a:gd name="connsiteY53559" fmla="*/ 1496475 h 5973007"/>
              <a:gd name="connsiteX53560" fmla="*/ 1725928 w 6884782"/>
              <a:gd name="connsiteY53560" fmla="*/ 1494152 h 5973007"/>
              <a:gd name="connsiteX53561" fmla="*/ 1027090 w 6884782"/>
              <a:gd name="connsiteY53561" fmla="*/ 1493842 h 5973007"/>
              <a:gd name="connsiteX53562" fmla="*/ 1022753 w 6884782"/>
              <a:gd name="connsiteY53562" fmla="*/ 1509642 h 5973007"/>
              <a:gd name="connsiteX53563" fmla="*/ 1020894 w 6884782"/>
              <a:gd name="connsiteY53563" fmla="*/ 1509022 h 5973007"/>
              <a:gd name="connsiteX53564" fmla="*/ 1020172 w 6884782"/>
              <a:gd name="connsiteY53564" fmla="*/ 1506854 h 5973007"/>
              <a:gd name="connsiteX53565" fmla="*/ 1022030 w 6884782"/>
              <a:gd name="connsiteY53565" fmla="*/ 1498799 h 5973007"/>
              <a:gd name="connsiteX53566" fmla="*/ 1022857 w 6884782"/>
              <a:gd name="connsiteY53566" fmla="*/ 1496940 h 5973007"/>
              <a:gd name="connsiteX53567" fmla="*/ 1023579 w 6884782"/>
              <a:gd name="connsiteY53567" fmla="*/ 1495082 h 5973007"/>
              <a:gd name="connsiteX53568" fmla="*/ 1027090 w 6884782"/>
              <a:gd name="connsiteY53568" fmla="*/ 1493842 h 5973007"/>
              <a:gd name="connsiteX53569" fmla="*/ 1715602 w 6884782"/>
              <a:gd name="connsiteY53569" fmla="*/ 1493687 h 5973007"/>
              <a:gd name="connsiteX53570" fmla="*/ 1720455 w 6884782"/>
              <a:gd name="connsiteY53570" fmla="*/ 1498025 h 5973007"/>
              <a:gd name="connsiteX53571" fmla="*/ 1714983 w 6884782"/>
              <a:gd name="connsiteY53571" fmla="*/ 1500813 h 5973007"/>
              <a:gd name="connsiteX53572" fmla="*/ 1713331 w 6884782"/>
              <a:gd name="connsiteY53572" fmla="*/ 1496475 h 5973007"/>
              <a:gd name="connsiteX53573" fmla="*/ 1715602 w 6884782"/>
              <a:gd name="connsiteY53573" fmla="*/ 1493687 h 5973007"/>
              <a:gd name="connsiteX53574" fmla="*/ 3825976 w 6884782"/>
              <a:gd name="connsiteY53574" fmla="*/ 1493681 h 5973007"/>
              <a:gd name="connsiteX53575" fmla="*/ 3828750 w 6884782"/>
              <a:gd name="connsiteY53575" fmla="*/ 1493681 h 5973007"/>
              <a:gd name="connsiteX53576" fmla="*/ 3830885 w 6884782"/>
              <a:gd name="connsiteY53576" fmla="*/ 1501079 h 5973007"/>
              <a:gd name="connsiteX53577" fmla="*/ 3825122 w 6884782"/>
              <a:gd name="connsiteY53577" fmla="*/ 1503213 h 5973007"/>
              <a:gd name="connsiteX53578" fmla="*/ 3822774 w 6884782"/>
              <a:gd name="connsiteY53578" fmla="*/ 1501221 h 5973007"/>
              <a:gd name="connsiteX53579" fmla="*/ 3822774 w 6884782"/>
              <a:gd name="connsiteY53579" fmla="*/ 1500083 h 5973007"/>
              <a:gd name="connsiteX53580" fmla="*/ 3822988 w 6884782"/>
              <a:gd name="connsiteY53580" fmla="*/ 1495388 h 5973007"/>
              <a:gd name="connsiteX53581" fmla="*/ 3825976 w 6884782"/>
              <a:gd name="connsiteY53581" fmla="*/ 1493681 h 5973007"/>
              <a:gd name="connsiteX53582" fmla="*/ 1525921 w 6884782"/>
              <a:gd name="connsiteY53582" fmla="*/ 1492758 h 5973007"/>
              <a:gd name="connsiteX53583" fmla="*/ 1526334 w 6884782"/>
              <a:gd name="connsiteY53583" fmla="*/ 1493378 h 5973007"/>
              <a:gd name="connsiteX53584" fmla="*/ 1525301 w 6884782"/>
              <a:gd name="connsiteY53584" fmla="*/ 1495856 h 5973007"/>
              <a:gd name="connsiteX53585" fmla="*/ 1524475 w 6884782"/>
              <a:gd name="connsiteY53585" fmla="*/ 1495856 h 5973007"/>
              <a:gd name="connsiteX53586" fmla="*/ 1524165 w 6884782"/>
              <a:gd name="connsiteY53586" fmla="*/ 1496475 h 5973007"/>
              <a:gd name="connsiteX53587" fmla="*/ 1511568 w 6884782"/>
              <a:gd name="connsiteY53587" fmla="*/ 1498799 h 5973007"/>
              <a:gd name="connsiteX53588" fmla="*/ 1517763 w 6884782"/>
              <a:gd name="connsiteY53588" fmla="*/ 1493223 h 5973007"/>
              <a:gd name="connsiteX53589" fmla="*/ 1523752 w 6884782"/>
              <a:gd name="connsiteY53589" fmla="*/ 1493533 h 5973007"/>
              <a:gd name="connsiteX53590" fmla="*/ 5376043 w 6884782"/>
              <a:gd name="connsiteY53590" fmla="*/ 1491547 h 5973007"/>
              <a:gd name="connsiteX53591" fmla="*/ 5377964 w 6884782"/>
              <a:gd name="connsiteY53591" fmla="*/ 1496242 h 5973007"/>
              <a:gd name="connsiteX53592" fmla="*/ 5368574 w 6884782"/>
              <a:gd name="connsiteY53592" fmla="*/ 1501364 h 5973007"/>
              <a:gd name="connsiteX53593" fmla="*/ 5376043 w 6884782"/>
              <a:gd name="connsiteY53593" fmla="*/ 1491547 h 5973007"/>
              <a:gd name="connsiteX53594" fmla="*/ 4185161 w 6884782"/>
              <a:gd name="connsiteY53594" fmla="*/ 1491547 h 5973007"/>
              <a:gd name="connsiteX53595" fmla="*/ 4187722 w 6884782"/>
              <a:gd name="connsiteY53595" fmla="*/ 1491690 h 5973007"/>
              <a:gd name="connsiteX53596" fmla="*/ 4187935 w 6884782"/>
              <a:gd name="connsiteY53596" fmla="*/ 1492827 h 5973007"/>
              <a:gd name="connsiteX53597" fmla="*/ 4188362 w 6884782"/>
              <a:gd name="connsiteY53597" fmla="*/ 1492827 h 5973007"/>
              <a:gd name="connsiteX53598" fmla="*/ 4187722 w 6884782"/>
              <a:gd name="connsiteY53598" fmla="*/ 1495388 h 5973007"/>
              <a:gd name="connsiteX53599" fmla="*/ 4186228 w 6884782"/>
              <a:gd name="connsiteY53599" fmla="*/ 1497380 h 5973007"/>
              <a:gd name="connsiteX53600" fmla="*/ 4183454 w 6884782"/>
              <a:gd name="connsiteY53600" fmla="*/ 1493681 h 5973007"/>
              <a:gd name="connsiteX53601" fmla="*/ 4185588 w 6884782"/>
              <a:gd name="connsiteY53601" fmla="*/ 1492685 h 5973007"/>
              <a:gd name="connsiteX53602" fmla="*/ 4185161 w 6884782"/>
              <a:gd name="connsiteY53602" fmla="*/ 1491547 h 5973007"/>
              <a:gd name="connsiteX53603" fmla="*/ 4235101 w 6884782"/>
              <a:gd name="connsiteY53603" fmla="*/ 1491405 h 5973007"/>
              <a:gd name="connsiteX53604" fmla="*/ 4240010 w 6884782"/>
              <a:gd name="connsiteY53604" fmla="*/ 1495815 h 5973007"/>
              <a:gd name="connsiteX53605" fmla="*/ 4233821 w 6884782"/>
              <a:gd name="connsiteY53605" fmla="*/ 1497238 h 5973007"/>
              <a:gd name="connsiteX53606" fmla="*/ 4235101 w 6884782"/>
              <a:gd name="connsiteY53606" fmla="*/ 1491405 h 5973007"/>
              <a:gd name="connsiteX53607" fmla="*/ 4612641 w 6884782"/>
              <a:gd name="connsiteY53607" fmla="*/ 1490693 h 5973007"/>
              <a:gd name="connsiteX53608" fmla="*/ 4620111 w 6884782"/>
              <a:gd name="connsiteY53608" fmla="*/ 1491832 h 5973007"/>
              <a:gd name="connsiteX53609" fmla="*/ 4618190 w 6884782"/>
              <a:gd name="connsiteY53609" fmla="*/ 1494820 h 5973007"/>
              <a:gd name="connsiteX53610" fmla="*/ 4614775 w 6884782"/>
              <a:gd name="connsiteY53610" fmla="*/ 1493966 h 5973007"/>
              <a:gd name="connsiteX53611" fmla="*/ 4612214 w 6884782"/>
              <a:gd name="connsiteY53611" fmla="*/ 1494108 h 5973007"/>
              <a:gd name="connsiteX53612" fmla="*/ 4610080 w 6884782"/>
              <a:gd name="connsiteY53612" fmla="*/ 1490835 h 5973007"/>
              <a:gd name="connsiteX53613" fmla="*/ 4612641 w 6884782"/>
              <a:gd name="connsiteY53613" fmla="*/ 1490693 h 5973007"/>
              <a:gd name="connsiteX53614" fmla="*/ 1039790 w 6884782"/>
              <a:gd name="connsiteY53614" fmla="*/ 1489970 h 5973007"/>
              <a:gd name="connsiteX53615" fmla="*/ 1049496 w 6884782"/>
              <a:gd name="connsiteY53615" fmla="*/ 1491364 h 5973007"/>
              <a:gd name="connsiteX53616" fmla="*/ 1049806 w 6884782"/>
              <a:gd name="connsiteY53616" fmla="*/ 1494927 h 5973007"/>
              <a:gd name="connsiteX53617" fmla="*/ 1049703 w 6884782"/>
              <a:gd name="connsiteY53617" fmla="*/ 1495082 h 5973007"/>
              <a:gd name="connsiteX53618" fmla="*/ 1053317 w 6884782"/>
              <a:gd name="connsiteY53618" fmla="*/ 1495701 h 5973007"/>
              <a:gd name="connsiteX53619" fmla="*/ 1056621 w 6884782"/>
              <a:gd name="connsiteY53619" fmla="*/ 1499109 h 5973007"/>
              <a:gd name="connsiteX53620" fmla="*/ 1056724 w 6884782"/>
              <a:gd name="connsiteY53620" fmla="*/ 1499573 h 5973007"/>
              <a:gd name="connsiteX53621" fmla="*/ 1058170 w 6884782"/>
              <a:gd name="connsiteY53621" fmla="*/ 1499109 h 5973007"/>
              <a:gd name="connsiteX53622" fmla="*/ 1059202 w 6884782"/>
              <a:gd name="connsiteY53622" fmla="*/ 1500658 h 5973007"/>
              <a:gd name="connsiteX53623" fmla="*/ 1060752 w 6884782"/>
              <a:gd name="connsiteY53623" fmla="*/ 1501432 h 5973007"/>
              <a:gd name="connsiteX53624" fmla="*/ 1060235 w 6884782"/>
              <a:gd name="connsiteY53624" fmla="*/ 1502052 h 5973007"/>
              <a:gd name="connsiteX53625" fmla="*/ 1060545 w 6884782"/>
              <a:gd name="connsiteY53625" fmla="*/ 1503291 h 5973007"/>
              <a:gd name="connsiteX53626" fmla="*/ 1057344 w 6884782"/>
              <a:gd name="connsiteY53626" fmla="*/ 1505615 h 5973007"/>
              <a:gd name="connsiteX53627" fmla="*/ 1056311 w 6884782"/>
              <a:gd name="connsiteY53627" fmla="*/ 1505769 h 5973007"/>
              <a:gd name="connsiteX53628" fmla="*/ 1055589 w 6884782"/>
              <a:gd name="connsiteY53628" fmla="*/ 1507008 h 5973007"/>
              <a:gd name="connsiteX53629" fmla="*/ 1048361 w 6884782"/>
              <a:gd name="connsiteY53629" fmla="*/ 1507628 h 5973007"/>
              <a:gd name="connsiteX53630" fmla="*/ 1047638 w 6884782"/>
              <a:gd name="connsiteY53630" fmla="*/ 1502207 h 5973007"/>
              <a:gd name="connsiteX53631" fmla="*/ 1046812 w 6884782"/>
              <a:gd name="connsiteY53631" fmla="*/ 1498179 h 5973007"/>
              <a:gd name="connsiteX53632" fmla="*/ 1045056 w 6884782"/>
              <a:gd name="connsiteY53632" fmla="*/ 1498954 h 5973007"/>
              <a:gd name="connsiteX53633" fmla="*/ 1037106 w 6884782"/>
              <a:gd name="connsiteY53633" fmla="*/ 1491054 h 5973007"/>
              <a:gd name="connsiteX53634" fmla="*/ 1039790 w 6884782"/>
              <a:gd name="connsiteY53634" fmla="*/ 1489970 h 5973007"/>
              <a:gd name="connsiteX53635" fmla="*/ 5850689 w 6884782"/>
              <a:gd name="connsiteY53635" fmla="*/ 1489128 h 5973007"/>
              <a:gd name="connsiteX53636" fmla="*/ 5853250 w 6884782"/>
              <a:gd name="connsiteY53636" fmla="*/ 1490551 h 5973007"/>
              <a:gd name="connsiteX53637" fmla="*/ 5854744 w 6884782"/>
              <a:gd name="connsiteY53637" fmla="*/ 1492685 h 5973007"/>
              <a:gd name="connsiteX53638" fmla="*/ 5852610 w 6884782"/>
              <a:gd name="connsiteY53638" fmla="*/ 1496527 h 5973007"/>
              <a:gd name="connsiteX53639" fmla="*/ 5847701 w 6884782"/>
              <a:gd name="connsiteY53639" fmla="*/ 1501364 h 5973007"/>
              <a:gd name="connsiteX53640" fmla="*/ 5845994 w 6884782"/>
              <a:gd name="connsiteY53640" fmla="*/ 1505063 h 5973007"/>
              <a:gd name="connsiteX53641" fmla="*/ 5844927 w 6884782"/>
              <a:gd name="connsiteY53641" fmla="*/ 1505063 h 5973007"/>
              <a:gd name="connsiteX53642" fmla="*/ 5848768 w 6884782"/>
              <a:gd name="connsiteY53642" fmla="*/ 1490408 h 5973007"/>
              <a:gd name="connsiteX53643" fmla="*/ 5850689 w 6884782"/>
              <a:gd name="connsiteY53643" fmla="*/ 1489128 h 5973007"/>
              <a:gd name="connsiteX53644" fmla="*/ 1769296 w 6884782"/>
              <a:gd name="connsiteY53644" fmla="*/ 1489040 h 5973007"/>
              <a:gd name="connsiteX53645" fmla="*/ 1770122 w 6884782"/>
              <a:gd name="connsiteY53645" fmla="*/ 1489040 h 5973007"/>
              <a:gd name="connsiteX53646" fmla="*/ 1770638 w 6884782"/>
              <a:gd name="connsiteY53646" fmla="*/ 1490899 h 5973007"/>
              <a:gd name="connsiteX53647" fmla="*/ 1768883 w 6884782"/>
              <a:gd name="connsiteY53647" fmla="*/ 1499109 h 5973007"/>
              <a:gd name="connsiteX53648" fmla="*/ 1768779 w 6884782"/>
              <a:gd name="connsiteY53648" fmla="*/ 1500038 h 5973007"/>
              <a:gd name="connsiteX53649" fmla="*/ 1768573 w 6884782"/>
              <a:gd name="connsiteY53649" fmla="*/ 1503756 h 5973007"/>
              <a:gd name="connsiteX53650" fmla="*/ 1758454 w 6884782"/>
              <a:gd name="connsiteY53650" fmla="*/ 1498799 h 5973007"/>
              <a:gd name="connsiteX53651" fmla="*/ 1764442 w 6884782"/>
              <a:gd name="connsiteY53651" fmla="*/ 1492448 h 5973007"/>
              <a:gd name="connsiteX53652" fmla="*/ 1766817 w 6884782"/>
              <a:gd name="connsiteY53652" fmla="*/ 1495082 h 5973007"/>
              <a:gd name="connsiteX53653" fmla="*/ 1766921 w 6884782"/>
              <a:gd name="connsiteY53653" fmla="*/ 1494927 h 5973007"/>
              <a:gd name="connsiteX53654" fmla="*/ 1767334 w 6884782"/>
              <a:gd name="connsiteY53654" fmla="*/ 1490590 h 5973007"/>
              <a:gd name="connsiteX53655" fmla="*/ 1769296 w 6884782"/>
              <a:gd name="connsiteY53655" fmla="*/ 1489040 h 5973007"/>
              <a:gd name="connsiteX53656" fmla="*/ 3474473 w 6884782"/>
              <a:gd name="connsiteY53656" fmla="*/ 1488702 h 5973007"/>
              <a:gd name="connsiteX53657" fmla="*/ 3473833 w 6884782"/>
              <a:gd name="connsiteY53657" fmla="*/ 1489271 h 5973007"/>
              <a:gd name="connsiteX53658" fmla="*/ 3474473 w 6884782"/>
              <a:gd name="connsiteY53658" fmla="*/ 1489982 h 5973007"/>
              <a:gd name="connsiteX53659" fmla="*/ 5336561 w 6884782"/>
              <a:gd name="connsiteY53659" fmla="*/ 1488560 h 5973007"/>
              <a:gd name="connsiteX53660" fmla="*/ 5349153 w 6884782"/>
              <a:gd name="connsiteY53660" fmla="*/ 1510469 h 5973007"/>
              <a:gd name="connsiteX53661" fmla="*/ 5333573 w 6884782"/>
              <a:gd name="connsiteY53661" fmla="*/ 1495388 h 5973007"/>
              <a:gd name="connsiteX53662" fmla="*/ 5336561 w 6884782"/>
              <a:gd name="connsiteY53662" fmla="*/ 1488560 h 5973007"/>
              <a:gd name="connsiteX53663" fmla="*/ 4629928 w 6884782"/>
              <a:gd name="connsiteY53663" fmla="*/ 1488560 h 5973007"/>
              <a:gd name="connsiteX53664" fmla="*/ 4639318 w 6884782"/>
              <a:gd name="connsiteY53664" fmla="*/ 1493539 h 5973007"/>
              <a:gd name="connsiteX53665" fmla="*/ 4640386 w 6884782"/>
              <a:gd name="connsiteY53665" fmla="*/ 1496384 h 5973007"/>
              <a:gd name="connsiteX53666" fmla="*/ 4635050 w 6884782"/>
              <a:gd name="connsiteY53666" fmla="*/ 1498518 h 5973007"/>
              <a:gd name="connsiteX53667" fmla="*/ 4626087 w 6884782"/>
              <a:gd name="connsiteY53667" fmla="*/ 1491120 h 5973007"/>
              <a:gd name="connsiteX53668" fmla="*/ 4629928 w 6884782"/>
              <a:gd name="connsiteY53668" fmla="*/ 1488560 h 5973007"/>
              <a:gd name="connsiteX53669" fmla="*/ 1700940 w 6884782"/>
              <a:gd name="connsiteY53669" fmla="*/ 1488421 h 5973007"/>
              <a:gd name="connsiteX53670" fmla="*/ 1703521 w 6884782"/>
              <a:gd name="connsiteY53670" fmla="*/ 1489040 h 5973007"/>
              <a:gd name="connsiteX53671" fmla="*/ 1693196 w 6884782"/>
              <a:gd name="connsiteY53671" fmla="*/ 1526680 h 5973007"/>
              <a:gd name="connsiteX53672" fmla="*/ 1688446 w 6884782"/>
              <a:gd name="connsiteY53672" fmla="*/ 1521104 h 5973007"/>
              <a:gd name="connsiteX53673" fmla="*/ 1684212 w 6884782"/>
              <a:gd name="connsiteY53673" fmla="*/ 1522498 h 5973007"/>
              <a:gd name="connsiteX53674" fmla="*/ 1681734 w 6884782"/>
              <a:gd name="connsiteY53674" fmla="*/ 1518781 h 5973007"/>
              <a:gd name="connsiteX53675" fmla="*/ 1684626 w 6884782"/>
              <a:gd name="connsiteY53675" fmla="*/ 1513824 h 5973007"/>
              <a:gd name="connsiteX53676" fmla="*/ 1685555 w 6884782"/>
              <a:gd name="connsiteY53676" fmla="*/ 1513205 h 5973007"/>
              <a:gd name="connsiteX53677" fmla="*/ 1685245 w 6884782"/>
              <a:gd name="connsiteY53677" fmla="*/ 1511965 h 5973007"/>
              <a:gd name="connsiteX53678" fmla="*/ 1700940 w 6884782"/>
              <a:gd name="connsiteY53678" fmla="*/ 1488421 h 5973007"/>
              <a:gd name="connsiteX53679" fmla="*/ 1334794 w 6884782"/>
              <a:gd name="connsiteY53679" fmla="*/ 1488266 h 5973007"/>
              <a:gd name="connsiteX53680" fmla="*/ 1339956 w 6884782"/>
              <a:gd name="connsiteY53680" fmla="*/ 1490590 h 5973007"/>
              <a:gd name="connsiteX53681" fmla="*/ 1339130 w 6884782"/>
              <a:gd name="connsiteY53681" fmla="*/ 1505769 h 5973007"/>
              <a:gd name="connsiteX53682" fmla="*/ 1337168 w 6884782"/>
              <a:gd name="connsiteY53682" fmla="*/ 1507318 h 5973007"/>
              <a:gd name="connsiteX53683" fmla="*/ 1336962 w 6884782"/>
              <a:gd name="connsiteY53683" fmla="*/ 1507628 h 5973007"/>
              <a:gd name="connsiteX53684" fmla="*/ 1338201 w 6884782"/>
              <a:gd name="connsiteY53684" fmla="*/ 1508093 h 5973007"/>
              <a:gd name="connsiteX53685" fmla="*/ 1338407 w 6884782"/>
              <a:gd name="connsiteY53685" fmla="*/ 1509332 h 5973007"/>
              <a:gd name="connsiteX53686" fmla="*/ 1337788 w 6884782"/>
              <a:gd name="connsiteY53686" fmla="*/ 1511655 h 5973007"/>
              <a:gd name="connsiteX53687" fmla="*/ 1337994 w 6884782"/>
              <a:gd name="connsiteY53687" fmla="*/ 1513514 h 5973007"/>
              <a:gd name="connsiteX53688" fmla="*/ 1335723 w 6884782"/>
              <a:gd name="connsiteY53688" fmla="*/ 1514753 h 5973007"/>
              <a:gd name="connsiteX53689" fmla="*/ 1335516 w 6884782"/>
              <a:gd name="connsiteY53689" fmla="*/ 1512895 h 5973007"/>
              <a:gd name="connsiteX53690" fmla="*/ 1336136 w 6884782"/>
              <a:gd name="connsiteY53690" fmla="*/ 1510106 h 5973007"/>
              <a:gd name="connsiteX53691" fmla="*/ 1336239 w 6884782"/>
              <a:gd name="connsiteY53691" fmla="*/ 1508712 h 5973007"/>
              <a:gd name="connsiteX53692" fmla="*/ 1334897 w 6884782"/>
              <a:gd name="connsiteY53692" fmla="*/ 1510571 h 5973007"/>
              <a:gd name="connsiteX53693" fmla="*/ 1332728 w 6884782"/>
              <a:gd name="connsiteY53693" fmla="*/ 1509177 h 5973007"/>
              <a:gd name="connsiteX53694" fmla="*/ 1330767 w 6884782"/>
              <a:gd name="connsiteY53694" fmla="*/ 1508867 h 5973007"/>
              <a:gd name="connsiteX53695" fmla="*/ 1329321 w 6884782"/>
              <a:gd name="connsiteY53695" fmla="*/ 1510416 h 5973007"/>
              <a:gd name="connsiteX53696" fmla="*/ 1327875 w 6884782"/>
              <a:gd name="connsiteY53696" fmla="*/ 1508093 h 5973007"/>
              <a:gd name="connsiteX53697" fmla="*/ 1327978 w 6884782"/>
              <a:gd name="connsiteY53697" fmla="*/ 1507783 h 5973007"/>
              <a:gd name="connsiteX53698" fmla="*/ 1325191 w 6884782"/>
              <a:gd name="connsiteY53698" fmla="*/ 1505769 h 5973007"/>
              <a:gd name="connsiteX53699" fmla="*/ 1321576 w 6884782"/>
              <a:gd name="connsiteY53699" fmla="*/ 1497715 h 5973007"/>
              <a:gd name="connsiteX53700" fmla="*/ 1322816 w 6884782"/>
              <a:gd name="connsiteY53700" fmla="*/ 1494152 h 5973007"/>
              <a:gd name="connsiteX53701" fmla="*/ 1322919 w 6884782"/>
              <a:gd name="connsiteY53701" fmla="*/ 1493997 h 5973007"/>
              <a:gd name="connsiteX53702" fmla="*/ 1321576 w 6884782"/>
              <a:gd name="connsiteY53702" fmla="*/ 1493378 h 5973007"/>
              <a:gd name="connsiteX53703" fmla="*/ 1323126 w 6884782"/>
              <a:gd name="connsiteY53703" fmla="*/ 1490590 h 5973007"/>
              <a:gd name="connsiteX53704" fmla="*/ 1325707 w 6884782"/>
              <a:gd name="connsiteY53704" fmla="*/ 1490280 h 5973007"/>
              <a:gd name="connsiteX53705" fmla="*/ 1326326 w 6884782"/>
              <a:gd name="connsiteY53705" fmla="*/ 1490744 h 5973007"/>
              <a:gd name="connsiteX53706" fmla="*/ 1328185 w 6884782"/>
              <a:gd name="connsiteY53706" fmla="*/ 1489815 h 5973007"/>
              <a:gd name="connsiteX53707" fmla="*/ 1334794 w 6884782"/>
              <a:gd name="connsiteY53707" fmla="*/ 1488266 h 5973007"/>
              <a:gd name="connsiteX53708" fmla="*/ 5159636 w 6884782"/>
              <a:gd name="connsiteY53708" fmla="*/ 1487706 h 5973007"/>
              <a:gd name="connsiteX53709" fmla="*/ 5167106 w 6884782"/>
              <a:gd name="connsiteY53709" fmla="*/ 1514737 h 5973007"/>
              <a:gd name="connsiteX53710" fmla="*/ 5159423 w 6884782"/>
              <a:gd name="connsiteY53710" fmla="*/ 1502075 h 5973007"/>
              <a:gd name="connsiteX53711" fmla="*/ 5159636 w 6884782"/>
              <a:gd name="connsiteY53711" fmla="*/ 1487706 h 5973007"/>
              <a:gd name="connsiteX53712" fmla="*/ 3879331 w 6884782"/>
              <a:gd name="connsiteY53712" fmla="*/ 1487137 h 5973007"/>
              <a:gd name="connsiteX53713" fmla="*/ 3879544 w 6884782"/>
              <a:gd name="connsiteY53713" fmla="*/ 1487848 h 5973007"/>
              <a:gd name="connsiteX53714" fmla="*/ 3879117 w 6884782"/>
              <a:gd name="connsiteY53714" fmla="*/ 1489271 h 5973007"/>
              <a:gd name="connsiteX53715" fmla="*/ 3878050 w 6884782"/>
              <a:gd name="connsiteY53715" fmla="*/ 1489128 h 5973007"/>
              <a:gd name="connsiteX53716" fmla="*/ 3879331 w 6884782"/>
              <a:gd name="connsiteY53716" fmla="*/ 1487137 h 5973007"/>
              <a:gd name="connsiteX53717" fmla="*/ 1513324 w 6884782"/>
              <a:gd name="connsiteY53717" fmla="*/ 1486872 h 5973007"/>
              <a:gd name="connsiteX53718" fmla="*/ 1515698 w 6884782"/>
              <a:gd name="connsiteY53718" fmla="*/ 1487646 h 5973007"/>
              <a:gd name="connsiteX53719" fmla="*/ 1516524 w 6884782"/>
              <a:gd name="connsiteY53719" fmla="*/ 1487337 h 5973007"/>
              <a:gd name="connsiteX53720" fmla="*/ 1518073 w 6884782"/>
              <a:gd name="connsiteY53720" fmla="*/ 1488421 h 5973007"/>
              <a:gd name="connsiteX53721" fmla="*/ 1514149 w 6884782"/>
              <a:gd name="connsiteY53721" fmla="*/ 1491364 h 5973007"/>
              <a:gd name="connsiteX53722" fmla="*/ 1510432 w 6884782"/>
              <a:gd name="connsiteY53722" fmla="*/ 1493378 h 5973007"/>
              <a:gd name="connsiteX53723" fmla="*/ 1496905 w 6884782"/>
              <a:gd name="connsiteY53723" fmla="*/ 1496475 h 5973007"/>
              <a:gd name="connsiteX53724" fmla="*/ 1501449 w 6884782"/>
              <a:gd name="connsiteY53724" fmla="*/ 1492913 h 5973007"/>
              <a:gd name="connsiteX53725" fmla="*/ 1513324 w 6884782"/>
              <a:gd name="connsiteY53725" fmla="*/ 1486872 h 5973007"/>
              <a:gd name="connsiteX53726" fmla="*/ 3907502 w 6884782"/>
              <a:gd name="connsiteY53726" fmla="*/ 1486568 h 5973007"/>
              <a:gd name="connsiteX53727" fmla="*/ 3914118 w 6884782"/>
              <a:gd name="connsiteY53727" fmla="*/ 1487563 h 5973007"/>
              <a:gd name="connsiteX53728" fmla="*/ 3930338 w 6884782"/>
              <a:gd name="connsiteY53728" fmla="*/ 1498945 h 5973007"/>
              <a:gd name="connsiteX53729" fmla="*/ 3933753 w 6884782"/>
              <a:gd name="connsiteY53729" fmla="*/ 1502502 h 5973007"/>
              <a:gd name="connsiteX53730" fmla="*/ 3935460 w 6884782"/>
              <a:gd name="connsiteY53730" fmla="*/ 1502786 h 5973007"/>
              <a:gd name="connsiteX53731" fmla="*/ 3939729 w 6884782"/>
              <a:gd name="connsiteY53731" fmla="*/ 1504636 h 5973007"/>
              <a:gd name="connsiteX53732" fmla="*/ 3940369 w 6884782"/>
              <a:gd name="connsiteY53732" fmla="*/ 1506770 h 5973007"/>
              <a:gd name="connsiteX53733" fmla="*/ 3937381 w 6884782"/>
              <a:gd name="connsiteY53733" fmla="*/ 1506201 h 5973007"/>
              <a:gd name="connsiteX53734" fmla="*/ 3938234 w 6884782"/>
              <a:gd name="connsiteY53734" fmla="*/ 1507197 h 5973007"/>
              <a:gd name="connsiteX53735" fmla="*/ 3947625 w 6884782"/>
              <a:gd name="connsiteY53735" fmla="*/ 1515448 h 5973007"/>
              <a:gd name="connsiteX53736" fmla="*/ 3933539 w 6884782"/>
              <a:gd name="connsiteY53736" fmla="*/ 1523842 h 5973007"/>
              <a:gd name="connsiteX53737" fmla="*/ 3929698 w 6884782"/>
              <a:gd name="connsiteY53737" fmla="*/ 1528537 h 5973007"/>
              <a:gd name="connsiteX53738" fmla="*/ 3930551 w 6884782"/>
              <a:gd name="connsiteY53738" fmla="*/ 1529391 h 5973007"/>
              <a:gd name="connsiteX53739" fmla="*/ 3930978 w 6884782"/>
              <a:gd name="connsiteY53739" fmla="*/ 1529106 h 5973007"/>
              <a:gd name="connsiteX53740" fmla="*/ 3935033 w 6884782"/>
              <a:gd name="connsiteY53740" fmla="*/ 1536931 h 5973007"/>
              <a:gd name="connsiteX53741" fmla="*/ 3923295 w 6884782"/>
              <a:gd name="connsiteY53741" fmla="*/ 1536362 h 5973007"/>
              <a:gd name="connsiteX53742" fmla="*/ 3922655 w 6884782"/>
              <a:gd name="connsiteY53742" fmla="*/ 1536077 h 5973007"/>
              <a:gd name="connsiteX53743" fmla="*/ 3918600 w 6884782"/>
              <a:gd name="connsiteY53743" fmla="*/ 1538211 h 5973007"/>
              <a:gd name="connsiteX53744" fmla="*/ 3913264 w 6884782"/>
              <a:gd name="connsiteY53744" fmla="*/ 1538923 h 5973007"/>
              <a:gd name="connsiteX53745" fmla="*/ 3904941 w 6884782"/>
              <a:gd name="connsiteY53745" fmla="*/ 1537073 h 5973007"/>
              <a:gd name="connsiteX53746" fmla="*/ 3904514 w 6884782"/>
              <a:gd name="connsiteY53746" fmla="*/ 1539634 h 5973007"/>
              <a:gd name="connsiteX53747" fmla="*/ 3899178 w 6884782"/>
              <a:gd name="connsiteY53747" fmla="*/ 1534228 h 5973007"/>
              <a:gd name="connsiteX53748" fmla="*/ 3899178 w 6884782"/>
              <a:gd name="connsiteY53748" fmla="*/ 1533943 h 5973007"/>
              <a:gd name="connsiteX53749" fmla="*/ 3896191 w 6884782"/>
              <a:gd name="connsiteY53749" fmla="*/ 1531383 h 5973007"/>
              <a:gd name="connsiteX53750" fmla="*/ 3896191 w 6884782"/>
              <a:gd name="connsiteY53750" fmla="*/ 1531809 h 5973007"/>
              <a:gd name="connsiteX53751" fmla="*/ 3895124 w 6884782"/>
              <a:gd name="connsiteY53751" fmla="*/ 1534512 h 5973007"/>
              <a:gd name="connsiteX53752" fmla="*/ 3893203 w 6884782"/>
              <a:gd name="connsiteY53752" fmla="*/ 1535366 h 5973007"/>
              <a:gd name="connsiteX53753" fmla="*/ 3892563 w 6884782"/>
              <a:gd name="connsiteY53753" fmla="*/ 1538638 h 5973007"/>
              <a:gd name="connsiteX53754" fmla="*/ 3888935 w 6884782"/>
              <a:gd name="connsiteY53754" fmla="*/ 1547174 h 5973007"/>
              <a:gd name="connsiteX53755" fmla="*/ 3880184 w 6884782"/>
              <a:gd name="connsiteY53755" fmla="*/ 1559978 h 5973007"/>
              <a:gd name="connsiteX53756" fmla="*/ 3879757 w 6884782"/>
              <a:gd name="connsiteY53756" fmla="*/ 1559978 h 5973007"/>
              <a:gd name="connsiteX53757" fmla="*/ 3877837 w 6884782"/>
              <a:gd name="connsiteY53757" fmla="*/ 1562966 h 5973007"/>
              <a:gd name="connsiteX53758" fmla="*/ 3868020 w 6884782"/>
              <a:gd name="connsiteY53758" fmla="*/ 1562966 h 5973007"/>
              <a:gd name="connsiteX53759" fmla="*/ 3872288 w 6884782"/>
              <a:gd name="connsiteY53759" fmla="*/ 1556706 h 5973007"/>
              <a:gd name="connsiteX53760" fmla="*/ 3869727 w 6884782"/>
              <a:gd name="connsiteY53760" fmla="*/ 1554714 h 5973007"/>
              <a:gd name="connsiteX53761" fmla="*/ 3868020 w 6884782"/>
              <a:gd name="connsiteY53761" fmla="*/ 1544613 h 5973007"/>
              <a:gd name="connsiteX53762" fmla="*/ 3868446 w 6884782"/>
              <a:gd name="connsiteY53762" fmla="*/ 1543191 h 5973007"/>
              <a:gd name="connsiteX53763" fmla="*/ 3854361 w 6884782"/>
              <a:gd name="connsiteY53763" fmla="*/ 1543618 h 5973007"/>
              <a:gd name="connsiteX53764" fmla="*/ 3850306 w 6884782"/>
              <a:gd name="connsiteY53764" fmla="*/ 1544044 h 5973007"/>
              <a:gd name="connsiteX53765" fmla="*/ 3849452 w 6884782"/>
              <a:gd name="connsiteY53765" fmla="*/ 1545325 h 5973007"/>
              <a:gd name="connsiteX53766" fmla="*/ 3846464 w 6884782"/>
              <a:gd name="connsiteY53766" fmla="*/ 1549024 h 5973007"/>
              <a:gd name="connsiteX53767" fmla="*/ 3843263 w 6884782"/>
              <a:gd name="connsiteY53767" fmla="*/ 1545609 h 5973007"/>
              <a:gd name="connsiteX53768" fmla="*/ 3843049 w 6884782"/>
              <a:gd name="connsiteY53768" fmla="*/ 1544898 h 5973007"/>
              <a:gd name="connsiteX53769" fmla="*/ 3842409 w 6884782"/>
              <a:gd name="connsiteY53769" fmla="*/ 1544898 h 5973007"/>
              <a:gd name="connsiteX53770" fmla="*/ 3842836 w 6884782"/>
              <a:gd name="connsiteY53770" fmla="*/ 1544471 h 5973007"/>
              <a:gd name="connsiteX53771" fmla="*/ 3842195 w 6884782"/>
              <a:gd name="connsiteY53771" fmla="*/ 1542906 h 5973007"/>
              <a:gd name="connsiteX53772" fmla="*/ 3842623 w 6884782"/>
              <a:gd name="connsiteY53772" fmla="*/ 1539065 h 5973007"/>
              <a:gd name="connsiteX53773" fmla="*/ 3844330 w 6884782"/>
              <a:gd name="connsiteY53773" fmla="*/ 1536789 h 5973007"/>
              <a:gd name="connsiteX53774" fmla="*/ 3846464 w 6884782"/>
              <a:gd name="connsiteY53774" fmla="*/ 1534228 h 5973007"/>
              <a:gd name="connsiteX53775" fmla="*/ 3847104 w 6884782"/>
              <a:gd name="connsiteY53775" fmla="*/ 1533943 h 5973007"/>
              <a:gd name="connsiteX53776" fmla="*/ 3847531 w 6884782"/>
              <a:gd name="connsiteY53776" fmla="*/ 1532094 h 5973007"/>
              <a:gd name="connsiteX53777" fmla="*/ 3847531 w 6884782"/>
              <a:gd name="connsiteY53777" fmla="*/ 1519005 h 5973007"/>
              <a:gd name="connsiteX53778" fmla="*/ 3845184 w 6884782"/>
              <a:gd name="connsiteY53778" fmla="*/ 1518863 h 5973007"/>
              <a:gd name="connsiteX53779" fmla="*/ 3839421 w 6884782"/>
              <a:gd name="connsiteY53779" fmla="*/ 1516302 h 5973007"/>
              <a:gd name="connsiteX53780" fmla="*/ 3846251 w 6884782"/>
              <a:gd name="connsiteY53780" fmla="*/ 1507766 h 5973007"/>
              <a:gd name="connsiteX53781" fmla="*/ 3849025 w 6884782"/>
              <a:gd name="connsiteY53781" fmla="*/ 1507908 h 5973007"/>
              <a:gd name="connsiteX53782" fmla="*/ 3849665 w 6884782"/>
              <a:gd name="connsiteY53782" fmla="*/ 1505632 h 5973007"/>
              <a:gd name="connsiteX53783" fmla="*/ 3853294 w 6884782"/>
              <a:gd name="connsiteY53783" fmla="*/ 1500794 h 5973007"/>
              <a:gd name="connsiteX53784" fmla="*/ 3887867 w 6884782"/>
              <a:gd name="connsiteY53784" fmla="*/ 1499372 h 5973007"/>
              <a:gd name="connsiteX53785" fmla="*/ 3888295 w 6884782"/>
              <a:gd name="connsiteY53785" fmla="*/ 1500083 h 5973007"/>
              <a:gd name="connsiteX53786" fmla="*/ 3890215 w 6884782"/>
              <a:gd name="connsiteY53786" fmla="*/ 1497096 h 5973007"/>
              <a:gd name="connsiteX53787" fmla="*/ 3887867 w 6884782"/>
              <a:gd name="connsiteY53787" fmla="*/ 1496811 h 5973007"/>
              <a:gd name="connsiteX53788" fmla="*/ 3886160 w 6884782"/>
              <a:gd name="connsiteY53788" fmla="*/ 1489413 h 5973007"/>
              <a:gd name="connsiteX53789" fmla="*/ 3892563 w 6884782"/>
              <a:gd name="connsiteY53789" fmla="*/ 1489271 h 5973007"/>
              <a:gd name="connsiteX53790" fmla="*/ 3895124 w 6884782"/>
              <a:gd name="connsiteY53790" fmla="*/ 1490978 h 5973007"/>
              <a:gd name="connsiteX53791" fmla="*/ 3901740 w 6884782"/>
              <a:gd name="connsiteY53791" fmla="*/ 1487279 h 5973007"/>
              <a:gd name="connsiteX53792" fmla="*/ 3907502 w 6884782"/>
              <a:gd name="connsiteY53792" fmla="*/ 1486568 h 5973007"/>
              <a:gd name="connsiteX53793" fmla="*/ 3816158 w 6884782"/>
              <a:gd name="connsiteY53793" fmla="*/ 1486568 h 5973007"/>
              <a:gd name="connsiteX53794" fmla="*/ 3818719 w 6884782"/>
              <a:gd name="connsiteY53794" fmla="*/ 1490551 h 5973007"/>
              <a:gd name="connsiteX53795" fmla="*/ 3818719 w 6884782"/>
              <a:gd name="connsiteY53795" fmla="*/ 1491690 h 5973007"/>
              <a:gd name="connsiteX53796" fmla="*/ 3819786 w 6884782"/>
              <a:gd name="connsiteY53796" fmla="*/ 1490693 h 5973007"/>
              <a:gd name="connsiteX53797" fmla="*/ 3820854 w 6884782"/>
              <a:gd name="connsiteY53797" fmla="*/ 1487706 h 5973007"/>
              <a:gd name="connsiteX53798" fmla="*/ 3823841 w 6884782"/>
              <a:gd name="connsiteY53798" fmla="*/ 1486852 h 5973007"/>
              <a:gd name="connsiteX53799" fmla="*/ 3824909 w 6884782"/>
              <a:gd name="connsiteY53799" fmla="*/ 1487421 h 5973007"/>
              <a:gd name="connsiteX53800" fmla="*/ 3824268 w 6884782"/>
              <a:gd name="connsiteY53800" fmla="*/ 1490125 h 5973007"/>
              <a:gd name="connsiteX53801" fmla="*/ 3817012 w 6884782"/>
              <a:gd name="connsiteY53801" fmla="*/ 1499799 h 5973007"/>
              <a:gd name="connsiteX53802" fmla="*/ 3815518 w 6884782"/>
              <a:gd name="connsiteY53802" fmla="*/ 1501933 h 5973007"/>
              <a:gd name="connsiteX53803" fmla="*/ 3812317 w 6884782"/>
              <a:gd name="connsiteY53803" fmla="*/ 1502786 h 5973007"/>
              <a:gd name="connsiteX53804" fmla="*/ 3813598 w 6884782"/>
              <a:gd name="connsiteY53804" fmla="*/ 1496953 h 5973007"/>
              <a:gd name="connsiteX53805" fmla="*/ 3817439 w 6884782"/>
              <a:gd name="connsiteY53805" fmla="*/ 1492970 h 5973007"/>
              <a:gd name="connsiteX53806" fmla="*/ 3816158 w 6884782"/>
              <a:gd name="connsiteY53806" fmla="*/ 1490835 h 5973007"/>
              <a:gd name="connsiteX53807" fmla="*/ 3816158 w 6884782"/>
              <a:gd name="connsiteY53807" fmla="*/ 1486568 h 5973007"/>
              <a:gd name="connsiteX53808" fmla="*/ 3991803 w 6884782"/>
              <a:gd name="connsiteY53808" fmla="*/ 1486141 h 5973007"/>
              <a:gd name="connsiteX53809" fmla="*/ 3997565 w 6884782"/>
              <a:gd name="connsiteY53809" fmla="*/ 1494392 h 5973007"/>
              <a:gd name="connsiteX53810" fmla="*/ 3996925 w 6884782"/>
              <a:gd name="connsiteY53810" fmla="*/ 1496527 h 5973007"/>
              <a:gd name="connsiteX53811" fmla="*/ 3991803 w 6884782"/>
              <a:gd name="connsiteY53811" fmla="*/ 1486141 h 5973007"/>
              <a:gd name="connsiteX53812" fmla="*/ 3700698 w 6884782"/>
              <a:gd name="connsiteY53812" fmla="*/ 1485430 h 5973007"/>
              <a:gd name="connsiteX53813" fmla="*/ 3706247 w 6884782"/>
              <a:gd name="connsiteY53813" fmla="*/ 1488702 h 5973007"/>
              <a:gd name="connsiteX53814" fmla="*/ 3695576 w 6884782"/>
              <a:gd name="connsiteY53814" fmla="*/ 1489982 h 5973007"/>
              <a:gd name="connsiteX53815" fmla="*/ 3700698 w 6884782"/>
              <a:gd name="connsiteY53815" fmla="*/ 1485430 h 5973007"/>
              <a:gd name="connsiteX53816" fmla="*/ 4032139 w 6884782"/>
              <a:gd name="connsiteY53816" fmla="*/ 1485145 h 5973007"/>
              <a:gd name="connsiteX53817" fmla="*/ 4035981 w 6884782"/>
              <a:gd name="connsiteY53817" fmla="*/ 1486141 h 5973007"/>
              <a:gd name="connsiteX53818" fmla="*/ 4036194 w 6884782"/>
              <a:gd name="connsiteY53818" fmla="*/ 1487279 h 5973007"/>
              <a:gd name="connsiteX53819" fmla="*/ 4030432 w 6884782"/>
              <a:gd name="connsiteY53819" fmla="*/ 1487563 h 5973007"/>
              <a:gd name="connsiteX53820" fmla="*/ 4032139 w 6884782"/>
              <a:gd name="connsiteY53820" fmla="*/ 1485145 h 5973007"/>
              <a:gd name="connsiteX53821" fmla="*/ 3736766 w 6884782"/>
              <a:gd name="connsiteY53821" fmla="*/ 1485145 h 5973007"/>
              <a:gd name="connsiteX53822" fmla="*/ 3739968 w 6884782"/>
              <a:gd name="connsiteY53822" fmla="*/ 1485571 h 5973007"/>
              <a:gd name="connsiteX53823" fmla="*/ 3750212 w 6884782"/>
              <a:gd name="connsiteY53823" fmla="*/ 1492116 h 5973007"/>
              <a:gd name="connsiteX53824" fmla="*/ 3741675 w 6884782"/>
              <a:gd name="connsiteY53824" fmla="*/ 1500083 h 5973007"/>
              <a:gd name="connsiteX53825" fmla="*/ 3740394 w 6884782"/>
              <a:gd name="connsiteY53825" fmla="*/ 1499656 h 5973007"/>
              <a:gd name="connsiteX53826" fmla="*/ 3730150 w 6884782"/>
              <a:gd name="connsiteY53826" fmla="*/ 1490408 h 5973007"/>
              <a:gd name="connsiteX53827" fmla="*/ 3736766 w 6884782"/>
              <a:gd name="connsiteY53827" fmla="*/ 1485145 h 5973007"/>
              <a:gd name="connsiteX53828" fmla="*/ 1432680 w 6884782"/>
              <a:gd name="connsiteY53828" fmla="*/ 1484704 h 5973007"/>
              <a:gd name="connsiteX53829" fmla="*/ 1443006 w 6884782"/>
              <a:gd name="connsiteY53829" fmla="*/ 1496475 h 5973007"/>
              <a:gd name="connsiteX53830" fmla="*/ 1440011 w 6884782"/>
              <a:gd name="connsiteY53830" fmla="*/ 1500968 h 5973007"/>
              <a:gd name="connsiteX53831" fmla="*/ 1431854 w 6884782"/>
              <a:gd name="connsiteY53831" fmla="*/ 1488266 h 5973007"/>
              <a:gd name="connsiteX53832" fmla="*/ 1432680 w 6884782"/>
              <a:gd name="connsiteY53832" fmla="*/ 1484704 h 5973007"/>
              <a:gd name="connsiteX53833" fmla="*/ 5233906 w 6884782"/>
              <a:gd name="connsiteY53833" fmla="*/ 1484149 h 5973007"/>
              <a:gd name="connsiteX53834" fmla="*/ 5246711 w 6884782"/>
              <a:gd name="connsiteY53834" fmla="*/ 1491974 h 5973007"/>
              <a:gd name="connsiteX53835" fmla="*/ 5246924 w 6884782"/>
              <a:gd name="connsiteY53835" fmla="*/ 1495673 h 5973007"/>
              <a:gd name="connsiteX53836" fmla="*/ 5249059 w 6884782"/>
              <a:gd name="connsiteY53836" fmla="*/ 1495388 h 5973007"/>
              <a:gd name="connsiteX53837" fmla="*/ 5248419 w 6884782"/>
              <a:gd name="connsiteY53837" fmla="*/ 1504209 h 5973007"/>
              <a:gd name="connsiteX53838" fmla="*/ 5240522 w 6884782"/>
              <a:gd name="connsiteY53838" fmla="*/ 1501506 h 5973007"/>
              <a:gd name="connsiteX53839" fmla="*/ 5241376 w 6884782"/>
              <a:gd name="connsiteY53839" fmla="*/ 1499372 h 5973007"/>
              <a:gd name="connsiteX53840" fmla="*/ 5241162 w 6884782"/>
              <a:gd name="connsiteY53840" fmla="*/ 1499514 h 5973007"/>
              <a:gd name="connsiteX53841" fmla="*/ 5236253 w 6884782"/>
              <a:gd name="connsiteY53841" fmla="*/ 1496100 h 5973007"/>
              <a:gd name="connsiteX53842" fmla="*/ 5233906 w 6884782"/>
              <a:gd name="connsiteY53842" fmla="*/ 1484149 h 5973007"/>
              <a:gd name="connsiteX53843" fmla="*/ 1351418 w 6884782"/>
              <a:gd name="connsiteY53843" fmla="*/ 1484084 h 5973007"/>
              <a:gd name="connsiteX53844" fmla="*/ 1354928 w 6884782"/>
              <a:gd name="connsiteY53844" fmla="*/ 1489970 h 5973007"/>
              <a:gd name="connsiteX53845" fmla="*/ 1354825 w 6884782"/>
              <a:gd name="connsiteY53845" fmla="*/ 1490125 h 5973007"/>
              <a:gd name="connsiteX53846" fmla="*/ 1359162 w 6884782"/>
              <a:gd name="connsiteY53846" fmla="*/ 1491519 h 5973007"/>
              <a:gd name="connsiteX53847" fmla="*/ 1356787 w 6884782"/>
              <a:gd name="connsiteY53847" fmla="*/ 1492603 h 5973007"/>
              <a:gd name="connsiteX53848" fmla="*/ 1353483 w 6884782"/>
              <a:gd name="connsiteY53848" fmla="*/ 1492139 h 5973007"/>
              <a:gd name="connsiteX53849" fmla="*/ 1351521 w 6884782"/>
              <a:gd name="connsiteY53849" fmla="*/ 1494152 h 5973007"/>
              <a:gd name="connsiteX53850" fmla="*/ 1345738 w 6884782"/>
              <a:gd name="connsiteY53850" fmla="*/ 1492139 h 5973007"/>
              <a:gd name="connsiteX53851" fmla="*/ 1345326 w 6884782"/>
              <a:gd name="connsiteY53851" fmla="*/ 1489505 h 5973007"/>
              <a:gd name="connsiteX53852" fmla="*/ 1345016 w 6884782"/>
              <a:gd name="connsiteY53852" fmla="*/ 1487646 h 5973007"/>
              <a:gd name="connsiteX53853" fmla="*/ 1346977 w 6884782"/>
              <a:gd name="connsiteY53853" fmla="*/ 1484549 h 5973007"/>
              <a:gd name="connsiteX53854" fmla="*/ 1346152 w 6884782"/>
              <a:gd name="connsiteY53854" fmla="*/ 1484549 h 5973007"/>
              <a:gd name="connsiteX53855" fmla="*/ 1351418 w 6884782"/>
              <a:gd name="connsiteY53855" fmla="*/ 1484084 h 5973007"/>
              <a:gd name="connsiteX53856" fmla="*/ 5007681 w 6884782"/>
              <a:gd name="connsiteY53856" fmla="*/ 1484007 h 5973007"/>
              <a:gd name="connsiteX53857" fmla="*/ 4999784 w 6884782"/>
              <a:gd name="connsiteY53857" fmla="*/ 1494108 h 5973007"/>
              <a:gd name="connsiteX53858" fmla="*/ 5007681 w 6884782"/>
              <a:gd name="connsiteY53858" fmla="*/ 1484007 h 5973007"/>
              <a:gd name="connsiteX53859" fmla="*/ 4791700 w 6884782"/>
              <a:gd name="connsiteY53859" fmla="*/ 1484007 h 5973007"/>
              <a:gd name="connsiteX53860" fmla="*/ 4810694 w 6884782"/>
              <a:gd name="connsiteY53860" fmla="*/ 1490693 h 5973007"/>
              <a:gd name="connsiteX53861" fmla="*/ 4820939 w 6884782"/>
              <a:gd name="connsiteY53861" fmla="*/ 1494250 h 5973007"/>
              <a:gd name="connsiteX53862" fmla="*/ 4823500 w 6884782"/>
              <a:gd name="connsiteY53862" fmla="*/ 1489698 h 5973007"/>
              <a:gd name="connsiteX53863" fmla="*/ 4826060 w 6884782"/>
              <a:gd name="connsiteY53863" fmla="*/ 1495815 h 5973007"/>
              <a:gd name="connsiteX53864" fmla="*/ 4829689 w 6884782"/>
              <a:gd name="connsiteY53864" fmla="*/ 1497238 h 5973007"/>
              <a:gd name="connsiteX53865" fmla="*/ 4841214 w 6884782"/>
              <a:gd name="connsiteY53865" fmla="*/ 1545752 h 5973007"/>
              <a:gd name="connsiteX53866" fmla="*/ 4823286 w 6884782"/>
              <a:gd name="connsiteY53866" fmla="*/ 1570933 h 5973007"/>
              <a:gd name="connsiteX53867" fmla="*/ 4760114 w 6884782"/>
              <a:gd name="connsiteY53867" fmla="*/ 1571502 h 5973007"/>
              <a:gd name="connsiteX53868" fmla="*/ 4745815 w 6884782"/>
              <a:gd name="connsiteY53868" fmla="*/ 1526261 h 5973007"/>
              <a:gd name="connsiteX53869" fmla="*/ 4759047 w 6884782"/>
              <a:gd name="connsiteY53869" fmla="*/ 1500652 h 5973007"/>
              <a:gd name="connsiteX53870" fmla="*/ 4791700 w 6884782"/>
              <a:gd name="connsiteY53870" fmla="*/ 1484007 h 5973007"/>
              <a:gd name="connsiteX53871" fmla="*/ 4348000 w 6884782"/>
              <a:gd name="connsiteY53871" fmla="*/ 1484007 h 5973007"/>
              <a:gd name="connsiteX53872" fmla="*/ 4351629 w 6884782"/>
              <a:gd name="connsiteY53872" fmla="*/ 1485856 h 5973007"/>
              <a:gd name="connsiteX53873" fmla="*/ 4351202 w 6884782"/>
              <a:gd name="connsiteY53873" fmla="*/ 1490267 h 5973007"/>
              <a:gd name="connsiteX53874" fmla="*/ 4347787 w 6884782"/>
              <a:gd name="connsiteY53874" fmla="*/ 1493823 h 5973007"/>
              <a:gd name="connsiteX53875" fmla="*/ 4341598 w 6884782"/>
              <a:gd name="connsiteY53875" fmla="*/ 1486852 h 5973007"/>
              <a:gd name="connsiteX53876" fmla="*/ 4348000 w 6884782"/>
              <a:gd name="connsiteY53876" fmla="*/ 1484007 h 5973007"/>
              <a:gd name="connsiteX53877" fmla="*/ 1140568 w 6884782"/>
              <a:gd name="connsiteY53877" fmla="*/ 1483929 h 5973007"/>
              <a:gd name="connsiteX53878" fmla="*/ 1139639 w 6884782"/>
              <a:gd name="connsiteY53878" fmla="*/ 1493997 h 5973007"/>
              <a:gd name="connsiteX53879" fmla="*/ 1132928 w 6884782"/>
              <a:gd name="connsiteY53879" fmla="*/ 1502362 h 5973007"/>
              <a:gd name="connsiteX53880" fmla="*/ 1132411 w 6884782"/>
              <a:gd name="connsiteY53880" fmla="*/ 1497560 h 5973007"/>
              <a:gd name="connsiteX53881" fmla="*/ 1140568 w 6884782"/>
              <a:gd name="connsiteY53881" fmla="*/ 1483929 h 5973007"/>
              <a:gd name="connsiteX53882" fmla="*/ 1569701 w 6884782"/>
              <a:gd name="connsiteY53882" fmla="*/ 1483619 h 5973007"/>
              <a:gd name="connsiteX53883" fmla="*/ 1573005 w 6884782"/>
              <a:gd name="connsiteY53883" fmla="*/ 1483774 h 5973007"/>
              <a:gd name="connsiteX53884" fmla="*/ 1572902 w 6884782"/>
              <a:gd name="connsiteY53884" fmla="*/ 1484549 h 5973007"/>
              <a:gd name="connsiteX53885" fmla="*/ 1569701 w 6884782"/>
              <a:gd name="connsiteY53885" fmla="*/ 1483619 h 5973007"/>
              <a:gd name="connsiteX53886" fmla="*/ 1261391 w 6884782"/>
              <a:gd name="connsiteY53886" fmla="*/ 1483213 h 5973007"/>
              <a:gd name="connsiteX53887" fmla="*/ 1263960 w 6884782"/>
              <a:gd name="connsiteY53887" fmla="*/ 1487492 h 5973007"/>
              <a:gd name="connsiteX53888" fmla="*/ 1262411 w 6884782"/>
              <a:gd name="connsiteY53888" fmla="*/ 1489350 h 5973007"/>
              <a:gd name="connsiteX53889" fmla="*/ 1254150 w 6884782"/>
              <a:gd name="connsiteY53889" fmla="*/ 1485168 h 5973007"/>
              <a:gd name="connsiteX53890" fmla="*/ 1256112 w 6884782"/>
              <a:gd name="connsiteY53890" fmla="*/ 1483464 h 5973007"/>
              <a:gd name="connsiteX53891" fmla="*/ 1261391 w 6884782"/>
              <a:gd name="connsiteY53891" fmla="*/ 1483213 h 5973007"/>
              <a:gd name="connsiteX53892" fmla="*/ 5204027 w 6884782"/>
              <a:gd name="connsiteY53892" fmla="*/ 1482869 h 5973007"/>
              <a:gd name="connsiteX53893" fmla="*/ 5208509 w 6884782"/>
              <a:gd name="connsiteY53893" fmla="*/ 1483011 h 5973007"/>
              <a:gd name="connsiteX53894" fmla="*/ 5196557 w 6884782"/>
              <a:gd name="connsiteY53894" fmla="*/ 1497522 h 5973007"/>
              <a:gd name="connsiteX53895" fmla="*/ 5191862 w 6884782"/>
              <a:gd name="connsiteY53895" fmla="*/ 1488275 h 5973007"/>
              <a:gd name="connsiteX53896" fmla="*/ 5204027 w 6884782"/>
              <a:gd name="connsiteY53896" fmla="*/ 1482869 h 5973007"/>
              <a:gd name="connsiteX53897" fmla="*/ 3980705 w 6884782"/>
              <a:gd name="connsiteY53897" fmla="*/ 1482869 h 5973007"/>
              <a:gd name="connsiteX53898" fmla="*/ 3984120 w 6884782"/>
              <a:gd name="connsiteY53898" fmla="*/ 1483011 h 5973007"/>
              <a:gd name="connsiteX53899" fmla="*/ 3988388 w 6884782"/>
              <a:gd name="connsiteY53899" fmla="*/ 1485998 h 5973007"/>
              <a:gd name="connsiteX53900" fmla="*/ 3984974 w 6884782"/>
              <a:gd name="connsiteY53900" fmla="*/ 1493112 h 5973007"/>
              <a:gd name="connsiteX53901" fmla="*/ 3973022 w 6884782"/>
              <a:gd name="connsiteY53901" fmla="*/ 1490835 h 5973007"/>
              <a:gd name="connsiteX53902" fmla="*/ 3980705 w 6884782"/>
              <a:gd name="connsiteY53902" fmla="*/ 1482869 h 5973007"/>
              <a:gd name="connsiteX53903" fmla="*/ 1488852 w 6884782"/>
              <a:gd name="connsiteY53903" fmla="*/ 1482225 h 5973007"/>
              <a:gd name="connsiteX53904" fmla="*/ 1490710 w 6884782"/>
              <a:gd name="connsiteY53904" fmla="*/ 1493378 h 5973007"/>
              <a:gd name="connsiteX53905" fmla="*/ 1485857 w 6884782"/>
              <a:gd name="connsiteY53905" fmla="*/ 1491054 h 5973007"/>
              <a:gd name="connsiteX53906" fmla="*/ 1485754 w 6884782"/>
              <a:gd name="connsiteY53906" fmla="*/ 1486407 h 5973007"/>
              <a:gd name="connsiteX53907" fmla="*/ 1488852 w 6884782"/>
              <a:gd name="connsiteY53907" fmla="*/ 1482225 h 5973007"/>
              <a:gd name="connsiteX53908" fmla="*/ 4592366 w 6884782"/>
              <a:gd name="connsiteY53908" fmla="*/ 1481589 h 5973007"/>
              <a:gd name="connsiteX53909" fmla="*/ 4604318 w 6884782"/>
              <a:gd name="connsiteY53909" fmla="*/ 1512176 h 5973007"/>
              <a:gd name="connsiteX53910" fmla="*/ 4604958 w 6884782"/>
              <a:gd name="connsiteY53910" fmla="*/ 1515306 h 5973007"/>
              <a:gd name="connsiteX53911" fmla="*/ 4610080 w 6884782"/>
              <a:gd name="connsiteY53911" fmla="*/ 1517156 h 5973007"/>
              <a:gd name="connsiteX53912" fmla="*/ 4611574 w 6884782"/>
              <a:gd name="connsiteY53912" fmla="*/ 1519574 h 5973007"/>
              <a:gd name="connsiteX53913" fmla="*/ 4608799 w 6884782"/>
              <a:gd name="connsiteY53913" fmla="*/ 1521423 h 5973007"/>
              <a:gd name="connsiteX53914" fmla="*/ 4605171 w 6884782"/>
              <a:gd name="connsiteY53914" fmla="*/ 1519717 h 5973007"/>
              <a:gd name="connsiteX53915" fmla="*/ 4604745 w 6884782"/>
              <a:gd name="connsiteY53915" fmla="*/ 1523131 h 5973007"/>
              <a:gd name="connsiteX53916" fmla="*/ 4562914 w 6884782"/>
              <a:gd name="connsiteY53916" fmla="*/ 1538496 h 5973007"/>
              <a:gd name="connsiteX53917" fmla="*/ 4557152 w 6884782"/>
              <a:gd name="connsiteY53917" fmla="*/ 1531667 h 5973007"/>
              <a:gd name="connsiteX53918" fmla="*/ 4555018 w 6884782"/>
              <a:gd name="connsiteY53918" fmla="*/ 1533517 h 5973007"/>
              <a:gd name="connsiteX53919" fmla="*/ 4549255 w 6884782"/>
              <a:gd name="connsiteY53919" fmla="*/ 1534512 h 5973007"/>
              <a:gd name="connsiteX53920" fmla="*/ 4547761 w 6884782"/>
              <a:gd name="connsiteY53920" fmla="*/ 1523842 h 5973007"/>
              <a:gd name="connsiteX53921" fmla="*/ 4552030 w 6884782"/>
              <a:gd name="connsiteY53921" fmla="*/ 1520001 h 5973007"/>
              <a:gd name="connsiteX53922" fmla="*/ 4556085 w 6884782"/>
              <a:gd name="connsiteY53922" fmla="*/ 1516871 h 5973007"/>
              <a:gd name="connsiteX53923" fmla="*/ 4558219 w 6884782"/>
              <a:gd name="connsiteY53923" fmla="*/ 1508762 h 5973007"/>
              <a:gd name="connsiteX53924" fmla="*/ 4592366 w 6884782"/>
              <a:gd name="connsiteY53924" fmla="*/ 1481589 h 5973007"/>
              <a:gd name="connsiteX53925" fmla="*/ 3750639 w 6884782"/>
              <a:gd name="connsiteY53925" fmla="*/ 1481304 h 5973007"/>
              <a:gd name="connsiteX53926" fmla="*/ 3749358 w 6884782"/>
              <a:gd name="connsiteY53926" fmla="*/ 1481589 h 5973007"/>
              <a:gd name="connsiteX53927" fmla="*/ 3748717 w 6884782"/>
              <a:gd name="connsiteY53927" fmla="*/ 1482869 h 5973007"/>
              <a:gd name="connsiteX53928" fmla="*/ 1671305 w 6884782"/>
              <a:gd name="connsiteY53928" fmla="*/ 1480521 h 5973007"/>
              <a:gd name="connsiteX53929" fmla="*/ 1672958 w 6884782"/>
              <a:gd name="connsiteY53929" fmla="*/ 1488576 h 5973007"/>
              <a:gd name="connsiteX53930" fmla="*/ 1665833 w 6884782"/>
              <a:gd name="connsiteY53930" fmla="*/ 1493378 h 5973007"/>
              <a:gd name="connsiteX53931" fmla="*/ 1665007 w 6884782"/>
              <a:gd name="connsiteY53931" fmla="*/ 1488886 h 5973007"/>
              <a:gd name="connsiteX53932" fmla="*/ 1665420 w 6884782"/>
              <a:gd name="connsiteY53932" fmla="*/ 1485168 h 5973007"/>
              <a:gd name="connsiteX53933" fmla="*/ 1671305 w 6884782"/>
              <a:gd name="connsiteY53933" fmla="*/ 1480521 h 5973007"/>
              <a:gd name="connsiteX53934" fmla="*/ 1586016 w 6884782"/>
              <a:gd name="connsiteY53934" fmla="*/ 1480521 h 5973007"/>
              <a:gd name="connsiteX53935" fmla="*/ 1596961 w 6884782"/>
              <a:gd name="connsiteY53935" fmla="*/ 1491829 h 5973007"/>
              <a:gd name="connsiteX53936" fmla="*/ 1588907 w 6884782"/>
              <a:gd name="connsiteY53936" fmla="*/ 1494152 h 5973007"/>
              <a:gd name="connsiteX53937" fmla="*/ 1586016 w 6884782"/>
              <a:gd name="connsiteY53937" fmla="*/ 1487337 h 5973007"/>
              <a:gd name="connsiteX53938" fmla="*/ 1586016 w 6884782"/>
              <a:gd name="connsiteY53938" fmla="*/ 1480521 h 5973007"/>
              <a:gd name="connsiteX53939" fmla="*/ 4617763 w 6884782"/>
              <a:gd name="connsiteY53939" fmla="*/ 1480308 h 5973007"/>
              <a:gd name="connsiteX53940" fmla="*/ 4620111 w 6884782"/>
              <a:gd name="connsiteY53940" fmla="*/ 1481589 h 5973007"/>
              <a:gd name="connsiteX53941" fmla="*/ 4623525 w 6884782"/>
              <a:gd name="connsiteY53941" fmla="*/ 1480734 h 5973007"/>
              <a:gd name="connsiteX53942" fmla="*/ 4624806 w 6884782"/>
              <a:gd name="connsiteY53942" fmla="*/ 1482869 h 5973007"/>
              <a:gd name="connsiteX53943" fmla="*/ 4617763 w 6884782"/>
              <a:gd name="connsiteY53943" fmla="*/ 1484576 h 5973007"/>
              <a:gd name="connsiteX53944" fmla="*/ 4614775 w 6884782"/>
              <a:gd name="connsiteY53944" fmla="*/ 1482299 h 5973007"/>
              <a:gd name="connsiteX53945" fmla="*/ 4617763 w 6884782"/>
              <a:gd name="connsiteY53945" fmla="*/ 1480308 h 5973007"/>
              <a:gd name="connsiteX53946" fmla="*/ 1122189 w 6884782"/>
              <a:gd name="connsiteY53946" fmla="*/ 1480057 h 5973007"/>
              <a:gd name="connsiteX53947" fmla="*/ 1130553 w 6884782"/>
              <a:gd name="connsiteY53947" fmla="*/ 1488421 h 5973007"/>
              <a:gd name="connsiteX53948" fmla="*/ 1127248 w 6884782"/>
              <a:gd name="connsiteY53948" fmla="*/ 1490899 h 5973007"/>
              <a:gd name="connsiteX53949" fmla="*/ 1119917 w 6884782"/>
              <a:gd name="connsiteY53949" fmla="*/ 1488730 h 5973007"/>
              <a:gd name="connsiteX53950" fmla="*/ 1122189 w 6884782"/>
              <a:gd name="connsiteY53950" fmla="*/ 1480057 h 5973007"/>
              <a:gd name="connsiteX53951" fmla="*/ 5378391 w 6884782"/>
              <a:gd name="connsiteY53951" fmla="*/ 1480024 h 5973007"/>
              <a:gd name="connsiteX53952" fmla="*/ 5380525 w 6884782"/>
              <a:gd name="connsiteY53952" fmla="*/ 1490408 h 5973007"/>
              <a:gd name="connsiteX53953" fmla="*/ 5378391 w 6884782"/>
              <a:gd name="connsiteY53953" fmla="*/ 1480024 h 5973007"/>
              <a:gd name="connsiteX53954" fmla="*/ 1470369 w 6884782"/>
              <a:gd name="connsiteY53954" fmla="*/ 1479902 h 5973007"/>
              <a:gd name="connsiteX53955" fmla="*/ 1471918 w 6884782"/>
              <a:gd name="connsiteY53955" fmla="*/ 1481296 h 5973007"/>
              <a:gd name="connsiteX53956" fmla="*/ 1472124 w 6884782"/>
              <a:gd name="connsiteY53956" fmla="*/ 1484084 h 5973007"/>
              <a:gd name="connsiteX53957" fmla="*/ 1469130 w 6884782"/>
              <a:gd name="connsiteY53957" fmla="*/ 1485942 h 5973007"/>
              <a:gd name="connsiteX53958" fmla="*/ 1467581 w 6884782"/>
              <a:gd name="connsiteY53958" fmla="*/ 1484549 h 5973007"/>
              <a:gd name="connsiteX53959" fmla="*/ 1466342 w 6884782"/>
              <a:gd name="connsiteY53959" fmla="*/ 1483154 h 5973007"/>
              <a:gd name="connsiteX53960" fmla="*/ 1466652 w 6884782"/>
              <a:gd name="connsiteY53960" fmla="*/ 1482070 h 5973007"/>
              <a:gd name="connsiteX53961" fmla="*/ 1470369 w 6884782"/>
              <a:gd name="connsiteY53961" fmla="*/ 1479902 h 5973007"/>
              <a:gd name="connsiteX53962" fmla="*/ 1532323 w 6884782"/>
              <a:gd name="connsiteY53962" fmla="*/ 1479747 h 5973007"/>
              <a:gd name="connsiteX53963" fmla="*/ 1534904 w 6884782"/>
              <a:gd name="connsiteY53963" fmla="*/ 1487492 h 5973007"/>
              <a:gd name="connsiteX53964" fmla="*/ 1534491 w 6884782"/>
              <a:gd name="connsiteY53964" fmla="*/ 1487956 h 5973007"/>
              <a:gd name="connsiteX53965" fmla="*/ 1534594 w 6884782"/>
              <a:gd name="connsiteY53965" fmla="*/ 1487956 h 5973007"/>
              <a:gd name="connsiteX53966" fmla="*/ 1535936 w 6884782"/>
              <a:gd name="connsiteY53966" fmla="*/ 1489970 h 5973007"/>
              <a:gd name="connsiteX53967" fmla="*/ 1531600 w 6884782"/>
              <a:gd name="connsiteY53967" fmla="*/ 1491829 h 5973007"/>
              <a:gd name="connsiteX53968" fmla="*/ 1531290 w 6884782"/>
              <a:gd name="connsiteY53968" fmla="*/ 1490590 h 5973007"/>
              <a:gd name="connsiteX53969" fmla="*/ 1529122 w 6884782"/>
              <a:gd name="connsiteY53969" fmla="*/ 1491209 h 5973007"/>
              <a:gd name="connsiteX53970" fmla="*/ 1524268 w 6884782"/>
              <a:gd name="connsiteY53970" fmla="*/ 1489195 h 5973007"/>
              <a:gd name="connsiteX53971" fmla="*/ 1528605 w 6884782"/>
              <a:gd name="connsiteY53971" fmla="*/ 1480211 h 5973007"/>
              <a:gd name="connsiteX53972" fmla="*/ 1532323 w 6884782"/>
              <a:gd name="connsiteY53972" fmla="*/ 1479747 h 5973007"/>
              <a:gd name="connsiteX53973" fmla="*/ 5816328 w 6884782"/>
              <a:gd name="connsiteY53973" fmla="*/ 1479169 h 5973007"/>
              <a:gd name="connsiteX53974" fmla="*/ 5817395 w 6884782"/>
              <a:gd name="connsiteY53974" fmla="*/ 1481589 h 5973007"/>
              <a:gd name="connsiteX53975" fmla="*/ 5816968 w 6884782"/>
              <a:gd name="connsiteY53975" fmla="*/ 1485430 h 5973007"/>
              <a:gd name="connsiteX53976" fmla="*/ 5810993 w 6884782"/>
              <a:gd name="connsiteY53976" fmla="*/ 1486568 h 5973007"/>
              <a:gd name="connsiteX53977" fmla="*/ 5809926 w 6884782"/>
              <a:gd name="connsiteY53977" fmla="*/ 1484007 h 5973007"/>
              <a:gd name="connsiteX53978" fmla="*/ 5811420 w 6884782"/>
              <a:gd name="connsiteY53978" fmla="*/ 1480308 h 5973007"/>
              <a:gd name="connsiteX53979" fmla="*/ 5816328 w 6884782"/>
              <a:gd name="connsiteY53979" fmla="*/ 1479169 h 5973007"/>
              <a:gd name="connsiteX53980" fmla="*/ 1578581 w 6884782"/>
              <a:gd name="connsiteY53980" fmla="*/ 1479127 h 5973007"/>
              <a:gd name="connsiteX53981" fmla="*/ 1582918 w 6884782"/>
              <a:gd name="connsiteY53981" fmla="*/ 1481761 h 5973007"/>
              <a:gd name="connsiteX53982" fmla="*/ 1577549 w 6884782"/>
              <a:gd name="connsiteY53982" fmla="*/ 1481450 h 5973007"/>
              <a:gd name="connsiteX53983" fmla="*/ 1578581 w 6884782"/>
              <a:gd name="connsiteY53983" fmla="*/ 1479127 h 5973007"/>
              <a:gd name="connsiteX53984" fmla="*/ 5547419 w 6884782"/>
              <a:gd name="connsiteY53984" fmla="*/ 1476467 h 5973007"/>
              <a:gd name="connsiteX53985" fmla="*/ 5526718 w 6884782"/>
              <a:gd name="connsiteY53985" fmla="*/ 1505489 h 5973007"/>
              <a:gd name="connsiteX53986" fmla="*/ 5547419 w 6884782"/>
              <a:gd name="connsiteY53986" fmla="*/ 1476467 h 5973007"/>
              <a:gd name="connsiteX53987" fmla="*/ 4208851 w 6884782"/>
              <a:gd name="connsiteY53987" fmla="*/ 1476040 h 5973007"/>
              <a:gd name="connsiteX53988" fmla="*/ 4216320 w 6884782"/>
              <a:gd name="connsiteY53988" fmla="*/ 1476467 h 5973007"/>
              <a:gd name="connsiteX53989" fmla="*/ 4219308 w 6884782"/>
              <a:gd name="connsiteY53989" fmla="*/ 1489271 h 5973007"/>
              <a:gd name="connsiteX53990" fmla="*/ 4208851 w 6884782"/>
              <a:gd name="connsiteY53990" fmla="*/ 1476040 h 5973007"/>
              <a:gd name="connsiteX53991" fmla="*/ 1440321 w 6884782"/>
              <a:gd name="connsiteY53991" fmla="*/ 1475719 h 5973007"/>
              <a:gd name="connsiteX53992" fmla="*/ 1442696 w 6884782"/>
              <a:gd name="connsiteY53992" fmla="*/ 1485942 h 5973007"/>
              <a:gd name="connsiteX53993" fmla="*/ 1441767 w 6884782"/>
              <a:gd name="connsiteY53993" fmla="*/ 1487182 h 5973007"/>
              <a:gd name="connsiteX53994" fmla="*/ 1439392 w 6884782"/>
              <a:gd name="connsiteY53994" fmla="*/ 1486872 h 5973007"/>
              <a:gd name="connsiteX53995" fmla="*/ 1437637 w 6884782"/>
              <a:gd name="connsiteY53995" fmla="*/ 1485942 h 5973007"/>
              <a:gd name="connsiteX53996" fmla="*/ 1437740 w 6884782"/>
              <a:gd name="connsiteY53996" fmla="*/ 1482845 h 5973007"/>
              <a:gd name="connsiteX53997" fmla="*/ 1439702 w 6884782"/>
              <a:gd name="connsiteY53997" fmla="*/ 1478662 h 5973007"/>
              <a:gd name="connsiteX53998" fmla="*/ 1439495 w 6884782"/>
              <a:gd name="connsiteY53998" fmla="*/ 1476029 h 5973007"/>
              <a:gd name="connsiteX53999" fmla="*/ 1440321 w 6884782"/>
              <a:gd name="connsiteY53999" fmla="*/ 1475719 h 5973007"/>
              <a:gd name="connsiteX54000" fmla="*/ 4749443 w 6884782"/>
              <a:gd name="connsiteY54000" fmla="*/ 1475471 h 5973007"/>
              <a:gd name="connsiteX54001" fmla="*/ 4732369 w 6884782"/>
              <a:gd name="connsiteY54001" fmla="*/ 1510184 h 5973007"/>
              <a:gd name="connsiteX54002" fmla="*/ 4722979 w 6884782"/>
              <a:gd name="connsiteY54002" fmla="*/ 1504636 h 5973007"/>
              <a:gd name="connsiteX54003" fmla="*/ 4749443 w 6884782"/>
              <a:gd name="connsiteY54003" fmla="*/ 1475471 h 5973007"/>
              <a:gd name="connsiteX54004" fmla="*/ 4724686 w 6884782"/>
              <a:gd name="connsiteY54004" fmla="*/ 1475471 h 5973007"/>
              <a:gd name="connsiteX54005" fmla="*/ 4728528 w 6884782"/>
              <a:gd name="connsiteY54005" fmla="*/ 1476040 h 5973007"/>
              <a:gd name="connsiteX54006" fmla="*/ 4731302 w 6884782"/>
              <a:gd name="connsiteY54006" fmla="*/ 1478316 h 5973007"/>
              <a:gd name="connsiteX54007" fmla="*/ 4732156 w 6884782"/>
              <a:gd name="connsiteY54007" fmla="*/ 1485430 h 5973007"/>
              <a:gd name="connsiteX54008" fmla="*/ 4721912 w 6884782"/>
              <a:gd name="connsiteY54008" fmla="*/ 1485998 h 5973007"/>
              <a:gd name="connsiteX54009" fmla="*/ 4721912 w 6884782"/>
              <a:gd name="connsiteY54009" fmla="*/ 1477605 h 5973007"/>
              <a:gd name="connsiteX54010" fmla="*/ 4724686 w 6884782"/>
              <a:gd name="connsiteY54010" fmla="*/ 1475471 h 5973007"/>
              <a:gd name="connsiteX54011" fmla="*/ 1645285 w 6884782"/>
              <a:gd name="connsiteY54011" fmla="*/ 1474945 h 5973007"/>
              <a:gd name="connsiteX54012" fmla="*/ 1650138 w 6884782"/>
              <a:gd name="connsiteY54012" fmla="*/ 1479437 h 5973007"/>
              <a:gd name="connsiteX54013" fmla="*/ 1640122 w 6884782"/>
              <a:gd name="connsiteY54013" fmla="*/ 1483309 h 5973007"/>
              <a:gd name="connsiteX54014" fmla="*/ 1639090 w 6884782"/>
              <a:gd name="connsiteY54014" fmla="*/ 1479902 h 5973007"/>
              <a:gd name="connsiteX54015" fmla="*/ 1639812 w 6884782"/>
              <a:gd name="connsiteY54015" fmla="*/ 1477578 h 5973007"/>
              <a:gd name="connsiteX54016" fmla="*/ 1645285 w 6884782"/>
              <a:gd name="connsiteY54016" fmla="*/ 1474945 h 5973007"/>
              <a:gd name="connsiteX54017" fmla="*/ 1197153 w 6884782"/>
              <a:gd name="connsiteY54017" fmla="*/ 1474790 h 5973007"/>
              <a:gd name="connsiteX54018" fmla="*/ 1194158 w 6884782"/>
              <a:gd name="connsiteY54018" fmla="*/ 1483309 h 5973007"/>
              <a:gd name="connsiteX54019" fmla="*/ 1191474 w 6884782"/>
              <a:gd name="connsiteY54019" fmla="*/ 1489505 h 5973007"/>
              <a:gd name="connsiteX54020" fmla="*/ 1193126 w 6884782"/>
              <a:gd name="connsiteY54020" fmla="*/ 1489815 h 5973007"/>
              <a:gd name="connsiteX54021" fmla="*/ 1191267 w 6884782"/>
              <a:gd name="connsiteY54021" fmla="*/ 1497870 h 5973007"/>
              <a:gd name="connsiteX54022" fmla="*/ 1190544 w 6884782"/>
              <a:gd name="connsiteY54022" fmla="*/ 1499109 h 5973007"/>
              <a:gd name="connsiteX54023" fmla="*/ 1190441 w 6884782"/>
              <a:gd name="connsiteY54023" fmla="*/ 1501587 h 5973007"/>
              <a:gd name="connsiteX54024" fmla="*/ 1186724 w 6884782"/>
              <a:gd name="connsiteY54024" fmla="*/ 1506079 h 5973007"/>
              <a:gd name="connsiteX54025" fmla="*/ 1177637 w 6884782"/>
              <a:gd name="connsiteY54025" fmla="*/ 1506544 h 5973007"/>
              <a:gd name="connsiteX54026" fmla="*/ 1178463 w 6884782"/>
              <a:gd name="connsiteY54026" fmla="*/ 1507008 h 5973007"/>
              <a:gd name="connsiteX54027" fmla="*/ 1179599 w 6884782"/>
              <a:gd name="connsiteY54027" fmla="*/ 1511501 h 5973007"/>
              <a:gd name="connsiteX54028" fmla="*/ 1181148 w 6884782"/>
              <a:gd name="connsiteY54028" fmla="*/ 1510262 h 5973007"/>
              <a:gd name="connsiteX54029" fmla="*/ 1188169 w 6884782"/>
              <a:gd name="connsiteY54029" fmla="*/ 1518471 h 5973007"/>
              <a:gd name="connsiteX54030" fmla="*/ 1182077 w 6884782"/>
              <a:gd name="connsiteY54030" fmla="*/ 1519555 h 5973007"/>
              <a:gd name="connsiteX54031" fmla="*/ 1181355 w 6884782"/>
              <a:gd name="connsiteY54031" fmla="*/ 1519245 h 5973007"/>
              <a:gd name="connsiteX54032" fmla="*/ 1180838 w 6884782"/>
              <a:gd name="connsiteY54032" fmla="*/ 1518781 h 5973007"/>
              <a:gd name="connsiteX54033" fmla="*/ 1180116 w 6884782"/>
              <a:gd name="connsiteY54033" fmla="*/ 1521104 h 5973007"/>
              <a:gd name="connsiteX54034" fmla="*/ 1178154 w 6884782"/>
              <a:gd name="connsiteY54034" fmla="*/ 1519245 h 5973007"/>
              <a:gd name="connsiteX54035" fmla="*/ 1177844 w 6884782"/>
              <a:gd name="connsiteY54035" fmla="*/ 1518161 h 5973007"/>
              <a:gd name="connsiteX54036" fmla="*/ 1177121 w 6884782"/>
              <a:gd name="connsiteY54036" fmla="*/ 1517851 h 5973007"/>
              <a:gd name="connsiteX54037" fmla="*/ 1177534 w 6884782"/>
              <a:gd name="connsiteY54037" fmla="*/ 1517077 h 5973007"/>
              <a:gd name="connsiteX54038" fmla="*/ 1176811 w 6884782"/>
              <a:gd name="connsiteY54038" fmla="*/ 1514753 h 5973007"/>
              <a:gd name="connsiteX54039" fmla="*/ 1175779 w 6884782"/>
              <a:gd name="connsiteY54039" fmla="*/ 1513205 h 5973007"/>
              <a:gd name="connsiteX54040" fmla="*/ 1175469 w 6884782"/>
              <a:gd name="connsiteY54040" fmla="*/ 1513669 h 5973007"/>
              <a:gd name="connsiteX54041" fmla="*/ 1172784 w 6884782"/>
              <a:gd name="connsiteY54041" fmla="*/ 1514289 h 5973007"/>
              <a:gd name="connsiteX54042" fmla="*/ 1171855 w 6884782"/>
              <a:gd name="connsiteY54042" fmla="*/ 1513359 h 5973007"/>
              <a:gd name="connsiteX54043" fmla="*/ 1172371 w 6884782"/>
              <a:gd name="connsiteY54043" fmla="*/ 1511810 h 5973007"/>
              <a:gd name="connsiteX54044" fmla="*/ 1173404 w 6884782"/>
              <a:gd name="connsiteY54044" fmla="*/ 1509642 h 5973007"/>
              <a:gd name="connsiteX54045" fmla="*/ 1173197 w 6884782"/>
              <a:gd name="connsiteY54045" fmla="*/ 1507783 h 5973007"/>
              <a:gd name="connsiteX54046" fmla="*/ 1173094 w 6884782"/>
              <a:gd name="connsiteY54046" fmla="*/ 1504530 h 5973007"/>
              <a:gd name="connsiteX54047" fmla="*/ 1175469 w 6884782"/>
              <a:gd name="connsiteY54047" fmla="*/ 1503756 h 5973007"/>
              <a:gd name="connsiteX54048" fmla="*/ 1174850 w 6884782"/>
              <a:gd name="connsiteY54048" fmla="*/ 1501432 h 5973007"/>
              <a:gd name="connsiteX54049" fmla="*/ 1181148 w 6884782"/>
              <a:gd name="connsiteY54049" fmla="*/ 1491984 h 5973007"/>
              <a:gd name="connsiteX54050" fmla="*/ 1186311 w 6884782"/>
              <a:gd name="connsiteY54050" fmla="*/ 1491519 h 5973007"/>
              <a:gd name="connsiteX54051" fmla="*/ 1186827 w 6884782"/>
              <a:gd name="connsiteY54051" fmla="*/ 1491829 h 5973007"/>
              <a:gd name="connsiteX54052" fmla="*/ 1187653 w 6884782"/>
              <a:gd name="connsiteY54052" fmla="*/ 1488421 h 5973007"/>
              <a:gd name="connsiteX54053" fmla="*/ 1189305 w 6884782"/>
              <a:gd name="connsiteY54053" fmla="*/ 1489040 h 5973007"/>
              <a:gd name="connsiteX54054" fmla="*/ 1188892 w 6884782"/>
              <a:gd name="connsiteY54054" fmla="*/ 1487337 h 5973007"/>
              <a:gd name="connsiteX54055" fmla="*/ 1191577 w 6884782"/>
              <a:gd name="connsiteY54055" fmla="*/ 1479282 h 5973007"/>
              <a:gd name="connsiteX54056" fmla="*/ 1192609 w 6884782"/>
              <a:gd name="connsiteY54056" fmla="*/ 1477578 h 5973007"/>
              <a:gd name="connsiteX54057" fmla="*/ 1193539 w 6884782"/>
              <a:gd name="connsiteY54057" fmla="*/ 1475874 h 5973007"/>
              <a:gd name="connsiteX54058" fmla="*/ 1197153 w 6884782"/>
              <a:gd name="connsiteY54058" fmla="*/ 1474790 h 5973007"/>
              <a:gd name="connsiteX54059" fmla="*/ 4971826 w 6884782"/>
              <a:gd name="connsiteY54059" fmla="*/ 1474475 h 5973007"/>
              <a:gd name="connsiteX54060" fmla="*/ 4974601 w 6884782"/>
              <a:gd name="connsiteY54060" fmla="*/ 1474902 h 5973007"/>
              <a:gd name="connsiteX54061" fmla="*/ 4974814 w 6884782"/>
              <a:gd name="connsiteY54061" fmla="*/ 1478458 h 5973007"/>
              <a:gd name="connsiteX54062" fmla="*/ 4964783 w 6884782"/>
              <a:gd name="connsiteY54062" fmla="*/ 1482584 h 5973007"/>
              <a:gd name="connsiteX54063" fmla="*/ 4971826 w 6884782"/>
              <a:gd name="connsiteY54063" fmla="*/ 1474475 h 5973007"/>
              <a:gd name="connsiteX54064" fmla="*/ 5931148 w 6884782"/>
              <a:gd name="connsiteY54064" fmla="*/ 1474332 h 5973007"/>
              <a:gd name="connsiteX54065" fmla="*/ 5940966 w 6884782"/>
              <a:gd name="connsiteY54065" fmla="*/ 1492258 h 5973007"/>
              <a:gd name="connsiteX54066" fmla="*/ 5931361 w 6884782"/>
              <a:gd name="connsiteY54066" fmla="*/ 1492827 h 5973007"/>
              <a:gd name="connsiteX54067" fmla="*/ 5931148 w 6884782"/>
              <a:gd name="connsiteY54067" fmla="*/ 1474332 h 5973007"/>
              <a:gd name="connsiteX54068" fmla="*/ 3682771 w 6884782"/>
              <a:gd name="connsiteY54068" fmla="*/ 1474332 h 5973007"/>
              <a:gd name="connsiteX54069" fmla="*/ 3674234 w 6884782"/>
              <a:gd name="connsiteY54069" fmla="*/ 1501648 h 5973007"/>
              <a:gd name="connsiteX54070" fmla="*/ 3673167 w 6884782"/>
              <a:gd name="connsiteY54070" fmla="*/ 1502502 h 5973007"/>
              <a:gd name="connsiteX54071" fmla="*/ 3675301 w 6884782"/>
              <a:gd name="connsiteY54071" fmla="*/ 1504920 h 5973007"/>
              <a:gd name="connsiteX54072" fmla="*/ 3676155 w 6884782"/>
              <a:gd name="connsiteY54072" fmla="*/ 1506343 h 5973007"/>
              <a:gd name="connsiteX54073" fmla="*/ 3677009 w 6884782"/>
              <a:gd name="connsiteY54073" fmla="*/ 1504066 h 5973007"/>
              <a:gd name="connsiteX54074" fmla="*/ 3674448 w 6884782"/>
              <a:gd name="connsiteY54074" fmla="*/ 1517867 h 5973007"/>
              <a:gd name="connsiteX54075" fmla="*/ 3651826 w 6884782"/>
              <a:gd name="connsiteY54075" fmla="*/ 1520712 h 5973007"/>
              <a:gd name="connsiteX54076" fmla="*/ 3648197 w 6884782"/>
              <a:gd name="connsiteY54076" fmla="*/ 1515591 h 5973007"/>
              <a:gd name="connsiteX54077" fmla="*/ 3649478 w 6884782"/>
              <a:gd name="connsiteY54077" fmla="*/ 1522135 h 5973007"/>
              <a:gd name="connsiteX54078" fmla="*/ 3649264 w 6884782"/>
              <a:gd name="connsiteY54078" fmla="*/ 1531667 h 5973007"/>
              <a:gd name="connsiteX54079" fmla="*/ 3647343 w 6884782"/>
              <a:gd name="connsiteY54079" fmla="*/ 1516871 h 5973007"/>
              <a:gd name="connsiteX54080" fmla="*/ 3647557 w 6884782"/>
              <a:gd name="connsiteY54080" fmla="*/ 1514595 h 5973007"/>
              <a:gd name="connsiteX54081" fmla="*/ 3647557 w 6884782"/>
              <a:gd name="connsiteY54081" fmla="*/ 1514310 h 5973007"/>
              <a:gd name="connsiteX54082" fmla="*/ 3647557 w 6884782"/>
              <a:gd name="connsiteY54082" fmla="*/ 1514025 h 5973007"/>
              <a:gd name="connsiteX54083" fmla="*/ 3647770 w 6884782"/>
              <a:gd name="connsiteY54083" fmla="*/ 1512461 h 5973007"/>
              <a:gd name="connsiteX54084" fmla="*/ 3647983 w 6884782"/>
              <a:gd name="connsiteY54084" fmla="*/ 1513457 h 5973007"/>
              <a:gd name="connsiteX54085" fmla="*/ 3651398 w 6884782"/>
              <a:gd name="connsiteY54085" fmla="*/ 1507055 h 5973007"/>
              <a:gd name="connsiteX54086" fmla="*/ 3656947 w 6884782"/>
              <a:gd name="connsiteY54086" fmla="*/ 1500368 h 5973007"/>
              <a:gd name="connsiteX54087" fmla="*/ 3658868 w 6884782"/>
              <a:gd name="connsiteY54087" fmla="*/ 1499656 h 5973007"/>
              <a:gd name="connsiteX54088" fmla="*/ 3664204 w 6884782"/>
              <a:gd name="connsiteY54088" fmla="*/ 1500083 h 5973007"/>
              <a:gd name="connsiteX54089" fmla="*/ 3668899 w 6884782"/>
              <a:gd name="connsiteY54089" fmla="*/ 1500083 h 5973007"/>
              <a:gd name="connsiteX54090" fmla="*/ 3669325 w 6884782"/>
              <a:gd name="connsiteY54090" fmla="*/ 1496100 h 5973007"/>
              <a:gd name="connsiteX54091" fmla="*/ 3682771 w 6884782"/>
              <a:gd name="connsiteY54091" fmla="*/ 1474332 h 5973007"/>
              <a:gd name="connsiteX54092" fmla="*/ 5764894 w 6884782"/>
              <a:gd name="connsiteY54092" fmla="*/ 1473336 h 5973007"/>
              <a:gd name="connsiteX54093" fmla="*/ 5754010 w 6884782"/>
              <a:gd name="connsiteY54093" fmla="*/ 1504351 h 5973007"/>
              <a:gd name="connsiteX54094" fmla="*/ 5764894 w 6884782"/>
              <a:gd name="connsiteY54094" fmla="*/ 1473336 h 5973007"/>
              <a:gd name="connsiteX54095" fmla="*/ 4061805 w 6884782"/>
              <a:gd name="connsiteY54095" fmla="*/ 1472910 h 5973007"/>
              <a:gd name="connsiteX54096" fmla="*/ 4066500 w 6884782"/>
              <a:gd name="connsiteY54096" fmla="*/ 1473621 h 5973007"/>
              <a:gd name="connsiteX54097" fmla="*/ 4069488 w 6884782"/>
              <a:gd name="connsiteY54097" fmla="*/ 1481872 h 5973007"/>
              <a:gd name="connsiteX54098" fmla="*/ 4074823 w 6884782"/>
              <a:gd name="connsiteY54098" fmla="*/ 1482869 h 5973007"/>
              <a:gd name="connsiteX54099" fmla="*/ 4080799 w 6884782"/>
              <a:gd name="connsiteY54099" fmla="*/ 1489698 h 5973007"/>
              <a:gd name="connsiteX54100" fmla="*/ 4071409 w 6884782"/>
              <a:gd name="connsiteY54100" fmla="*/ 1489840 h 5973007"/>
              <a:gd name="connsiteX54101" fmla="*/ 4070128 w 6884782"/>
              <a:gd name="connsiteY54101" fmla="*/ 1489982 h 5973007"/>
              <a:gd name="connsiteX54102" fmla="*/ 4069274 w 6884782"/>
              <a:gd name="connsiteY54102" fmla="*/ 1491547 h 5973007"/>
              <a:gd name="connsiteX54103" fmla="*/ 4060738 w 6884782"/>
              <a:gd name="connsiteY54103" fmla="*/ 1495104 h 5973007"/>
              <a:gd name="connsiteX54104" fmla="*/ 4059670 w 6884782"/>
              <a:gd name="connsiteY54104" fmla="*/ 1491263 h 5973007"/>
              <a:gd name="connsiteX54105" fmla="*/ 4053908 w 6884782"/>
              <a:gd name="connsiteY54105" fmla="*/ 1491547 h 5973007"/>
              <a:gd name="connsiteX54106" fmla="*/ 4043877 w 6884782"/>
              <a:gd name="connsiteY54106" fmla="*/ 1489982 h 5973007"/>
              <a:gd name="connsiteX54107" fmla="*/ 4044304 w 6884782"/>
              <a:gd name="connsiteY54107" fmla="*/ 1489698 h 5973007"/>
              <a:gd name="connsiteX54108" fmla="*/ 4043237 w 6884782"/>
              <a:gd name="connsiteY54108" fmla="*/ 1489271 h 5973007"/>
              <a:gd name="connsiteX54109" fmla="*/ 4043877 w 6884782"/>
              <a:gd name="connsiteY54109" fmla="*/ 1485571 h 5973007"/>
              <a:gd name="connsiteX54110" fmla="*/ 4048359 w 6884782"/>
              <a:gd name="connsiteY54110" fmla="*/ 1486425 h 5973007"/>
              <a:gd name="connsiteX54111" fmla="*/ 4051774 w 6884782"/>
              <a:gd name="connsiteY54111" fmla="*/ 1483580 h 5973007"/>
              <a:gd name="connsiteX54112" fmla="*/ 4055615 w 6884782"/>
              <a:gd name="connsiteY54112" fmla="*/ 1482869 h 5973007"/>
              <a:gd name="connsiteX54113" fmla="*/ 4054548 w 6884782"/>
              <a:gd name="connsiteY54113" fmla="*/ 1481304 h 5973007"/>
              <a:gd name="connsiteX54114" fmla="*/ 4055615 w 6884782"/>
              <a:gd name="connsiteY54114" fmla="*/ 1473336 h 5973007"/>
              <a:gd name="connsiteX54115" fmla="*/ 4061805 w 6884782"/>
              <a:gd name="connsiteY54115" fmla="*/ 1472910 h 5973007"/>
              <a:gd name="connsiteX54116" fmla="*/ 1274182 w 6884782"/>
              <a:gd name="connsiteY54116" fmla="*/ 1472312 h 5973007"/>
              <a:gd name="connsiteX54117" fmla="*/ 1276557 w 6884782"/>
              <a:gd name="connsiteY54117" fmla="*/ 1472622 h 5973007"/>
              <a:gd name="connsiteX54118" fmla="*/ 1279138 w 6884782"/>
              <a:gd name="connsiteY54118" fmla="*/ 1476649 h 5973007"/>
              <a:gd name="connsiteX54119" fmla="*/ 1276247 w 6884782"/>
              <a:gd name="connsiteY54119" fmla="*/ 1479747 h 5973007"/>
              <a:gd name="connsiteX54120" fmla="*/ 1274079 w 6884782"/>
              <a:gd name="connsiteY54120" fmla="*/ 1480521 h 5973007"/>
              <a:gd name="connsiteX54121" fmla="*/ 1275008 w 6884782"/>
              <a:gd name="connsiteY54121" fmla="*/ 1481296 h 5973007"/>
              <a:gd name="connsiteX54122" fmla="*/ 1274698 w 6884782"/>
              <a:gd name="connsiteY54122" fmla="*/ 1485633 h 5973007"/>
              <a:gd name="connsiteX54123" fmla="*/ 1270568 w 6884782"/>
              <a:gd name="connsiteY54123" fmla="*/ 1479902 h 5973007"/>
              <a:gd name="connsiteX54124" fmla="*/ 1270981 w 6884782"/>
              <a:gd name="connsiteY54124" fmla="*/ 1479902 h 5973007"/>
              <a:gd name="connsiteX54125" fmla="*/ 1270155 w 6884782"/>
              <a:gd name="connsiteY54125" fmla="*/ 1479282 h 5973007"/>
              <a:gd name="connsiteX54126" fmla="*/ 1270052 w 6884782"/>
              <a:gd name="connsiteY54126" fmla="*/ 1475874 h 5973007"/>
              <a:gd name="connsiteX54127" fmla="*/ 1271291 w 6884782"/>
              <a:gd name="connsiteY54127" fmla="*/ 1473551 h 5973007"/>
              <a:gd name="connsiteX54128" fmla="*/ 1274182 w 6884782"/>
              <a:gd name="connsiteY54128" fmla="*/ 1472312 h 5973007"/>
              <a:gd name="connsiteX54129" fmla="*/ 4860848 w 6884782"/>
              <a:gd name="connsiteY54129" fmla="*/ 1472198 h 5973007"/>
              <a:gd name="connsiteX54130" fmla="*/ 4869385 w 6884782"/>
              <a:gd name="connsiteY54130" fmla="*/ 1479881 h 5973007"/>
              <a:gd name="connsiteX54131" fmla="*/ 4854232 w 6884782"/>
              <a:gd name="connsiteY54131" fmla="*/ 1478743 h 5973007"/>
              <a:gd name="connsiteX54132" fmla="*/ 4860848 w 6884782"/>
              <a:gd name="connsiteY54132" fmla="*/ 1472198 h 5973007"/>
              <a:gd name="connsiteX54133" fmla="*/ 1827429 w 6884782"/>
              <a:gd name="connsiteY54133" fmla="*/ 1472002 h 5973007"/>
              <a:gd name="connsiteX54134" fmla="*/ 1833521 w 6884782"/>
              <a:gd name="connsiteY54134" fmla="*/ 1486562 h 5973007"/>
              <a:gd name="connsiteX54135" fmla="*/ 1830010 w 6884782"/>
              <a:gd name="connsiteY54135" fmla="*/ 1486407 h 5973007"/>
              <a:gd name="connsiteX54136" fmla="*/ 1830217 w 6884782"/>
              <a:gd name="connsiteY54136" fmla="*/ 1484858 h 5973007"/>
              <a:gd name="connsiteX54137" fmla="*/ 1827429 w 6884782"/>
              <a:gd name="connsiteY54137" fmla="*/ 1478973 h 5973007"/>
              <a:gd name="connsiteX54138" fmla="*/ 1827429 w 6884782"/>
              <a:gd name="connsiteY54138" fmla="*/ 1472002 h 5973007"/>
              <a:gd name="connsiteX54139" fmla="*/ 5787090 w 6884782"/>
              <a:gd name="connsiteY54139" fmla="*/ 1471630 h 5973007"/>
              <a:gd name="connsiteX54140" fmla="*/ 5790931 w 6884782"/>
              <a:gd name="connsiteY54140" fmla="*/ 1473763 h 5973007"/>
              <a:gd name="connsiteX54141" fmla="*/ 5792852 w 6884782"/>
              <a:gd name="connsiteY54141" fmla="*/ 1478316 h 5973007"/>
              <a:gd name="connsiteX54142" fmla="*/ 5783889 w 6884782"/>
              <a:gd name="connsiteY54142" fmla="*/ 1481304 h 5973007"/>
              <a:gd name="connsiteX54143" fmla="*/ 5784102 w 6884782"/>
              <a:gd name="connsiteY54143" fmla="*/ 1474048 h 5973007"/>
              <a:gd name="connsiteX54144" fmla="*/ 5787090 w 6884782"/>
              <a:gd name="connsiteY54144" fmla="*/ 1471630 h 5973007"/>
              <a:gd name="connsiteX54145" fmla="*/ 1668621 w 6884782"/>
              <a:gd name="connsiteY54145" fmla="*/ 1471383 h 5973007"/>
              <a:gd name="connsiteX54146" fmla="*/ 1673680 w 6884782"/>
              <a:gd name="connsiteY54146" fmla="*/ 1474016 h 5973007"/>
              <a:gd name="connsiteX54147" fmla="*/ 1667485 w 6884782"/>
              <a:gd name="connsiteY54147" fmla="*/ 1476804 h 5973007"/>
              <a:gd name="connsiteX54148" fmla="*/ 1668621 w 6884782"/>
              <a:gd name="connsiteY54148" fmla="*/ 1471383 h 5973007"/>
              <a:gd name="connsiteX54149" fmla="*/ 1737596 w 6884782"/>
              <a:gd name="connsiteY54149" fmla="*/ 1471228 h 5973007"/>
              <a:gd name="connsiteX54150" fmla="*/ 1745237 w 6884782"/>
              <a:gd name="connsiteY54150" fmla="*/ 1494927 h 5973007"/>
              <a:gd name="connsiteX54151" fmla="*/ 1733775 w 6884782"/>
              <a:gd name="connsiteY54151" fmla="*/ 1492294 h 5973007"/>
              <a:gd name="connsiteX54152" fmla="*/ 1731091 w 6884782"/>
              <a:gd name="connsiteY54152" fmla="*/ 1487492 h 5973007"/>
              <a:gd name="connsiteX54153" fmla="*/ 1731298 w 6884782"/>
              <a:gd name="connsiteY54153" fmla="*/ 1481761 h 5973007"/>
              <a:gd name="connsiteX54154" fmla="*/ 1730368 w 6884782"/>
              <a:gd name="connsiteY54154" fmla="*/ 1477113 h 5973007"/>
              <a:gd name="connsiteX54155" fmla="*/ 1731298 w 6884782"/>
              <a:gd name="connsiteY54155" fmla="*/ 1472467 h 5973007"/>
              <a:gd name="connsiteX54156" fmla="*/ 1737596 w 6884782"/>
              <a:gd name="connsiteY54156" fmla="*/ 1471228 h 5973007"/>
              <a:gd name="connsiteX54157" fmla="*/ 4710387 w 6884782"/>
              <a:gd name="connsiteY54157" fmla="*/ 1470776 h 5973007"/>
              <a:gd name="connsiteX54158" fmla="*/ 4715082 w 6884782"/>
              <a:gd name="connsiteY54158" fmla="*/ 1476040 h 5973007"/>
              <a:gd name="connsiteX54159" fmla="*/ 4708040 w 6884782"/>
              <a:gd name="connsiteY54159" fmla="*/ 1473621 h 5973007"/>
              <a:gd name="connsiteX54160" fmla="*/ 4710387 w 6884782"/>
              <a:gd name="connsiteY54160" fmla="*/ 1470776 h 5973007"/>
              <a:gd name="connsiteX54161" fmla="*/ 4305103 w 6884782"/>
              <a:gd name="connsiteY54161" fmla="*/ 1470633 h 5973007"/>
              <a:gd name="connsiteX54162" fmla="*/ 4302115 w 6884782"/>
              <a:gd name="connsiteY54162" fmla="*/ 1480450 h 5973007"/>
              <a:gd name="connsiteX54163" fmla="*/ 4299767 w 6884782"/>
              <a:gd name="connsiteY54163" fmla="*/ 1483296 h 5973007"/>
              <a:gd name="connsiteX54164" fmla="*/ 4300621 w 6884782"/>
              <a:gd name="connsiteY54164" fmla="*/ 1487137 h 5973007"/>
              <a:gd name="connsiteX54165" fmla="*/ 4299127 w 6884782"/>
              <a:gd name="connsiteY54165" fmla="*/ 1491547 h 5973007"/>
              <a:gd name="connsiteX54166" fmla="*/ 4297420 w 6884782"/>
              <a:gd name="connsiteY54166" fmla="*/ 1490267 h 5973007"/>
              <a:gd name="connsiteX54167" fmla="*/ 4295926 w 6884782"/>
              <a:gd name="connsiteY54167" fmla="*/ 1487848 h 5973007"/>
              <a:gd name="connsiteX54168" fmla="*/ 4294005 w 6884782"/>
              <a:gd name="connsiteY54168" fmla="*/ 1490125 h 5973007"/>
              <a:gd name="connsiteX54169" fmla="*/ 4274370 w 6884782"/>
              <a:gd name="connsiteY54169" fmla="*/ 1495104 h 5973007"/>
              <a:gd name="connsiteX54170" fmla="*/ 4288670 w 6884782"/>
              <a:gd name="connsiteY54170" fmla="*/ 1482299 h 5973007"/>
              <a:gd name="connsiteX54171" fmla="*/ 4294219 w 6884782"/>
              <a:gd name="connsiteY54171" fmla="*/ 1477177 h 5973007"/>
              <a:gd name="connsiteX54172" fmla="*/ 4292938 w 6884782"/>
              <a:gd name="connsiteY54172" fmla="*/ 1474902 h 5973007"/>
              <a:gd name="connsiteX54173" fmla="*/ 4296566 w 6884782"/>
              <a:gd name="connsiteY54173" fmla="*/ 1470918 h 5973007"/>
              <a:gd name="connsiteX54174" fmla="*/ 4300408 w 6884782"/>
              <a:gd name="connsiteY54174" fmla="*/ 1473052 h 5973007"/>
              <a:gd name="connsiteX54175" fmla="*/ 4300408 w 6884782"/>
              <a:gd name="connsiteY54175" fmla="*/ 1473336 h 5973007"/>
              <a:gd name="connsiteX54176" fmla="*/ 1263753 w 6884782"/>
              <a:gd name="connsiteY54176" fmla="*/ 1470143 h 5973007"/>
              <a:gd name="connsiteX54177" fmla="*/ 1262101 w 6884782"/>
              <a:gd name="connsiteY54177" fmla="*/ 1472931 h 5973007"/>
              <a:gd name="connsiteX54178" fmla="*/ 1261378 w 6884782"/>
              <a:gd name="connsiteY54178" fmla="*/ 1472622 h 5973007"/>
              <a:gd name="connsiteX54179" fmla="*/ 1263753 w 6884782"/>
              <a:gd name="connsiteY54179" fmla="*/ 1470143 h 5973007"/>
              <a:gd name="connsiteX54180" fmla="*/ 1294317 w 6884782"/>
              <a:gd name="connsiteY54180" fmla="*/ 1469988 h 5973007"/>
              <a:gd name="connsiteX54181" fmla="*/ 1297105 w 6884782"/>
              <a:gd name="connsiteY54181" fmla="*/ 1469988 h 5973007"/>
              <a:gd name="connsiteX54182" fmla="*/ 1300512 w 6884782"/>
              <a:gd name="connsiteY54182" fmla="*/ 1472157 h 5973007"/>
              <a:gd name="connsiteX54183" fmla="*/ 1301338 w 6884782"/>
              <a:gd name="connsiteY54183" fmla="*/ 1473706 h 5973007"/>
              <a:gd name="connsiteX54184" fmla="*/ 1299480 w 6884782"/>
              <a:gd name="connsiteY54184" fmla="*/ 1477423 h 5973007"/>
              <a:gd name="connsiteX54185" fmla="*/ 1297931 w 6884782"/>
              <a:gd name="connsiteY54185" fmla="*/ 1477888 h 5973007"/>
              <a:gd name="connsiteX54186" fmla="*/ 1295040 w 6884782"/>
              <a:gd name="connsiteY54186" fmla="*/ 1481141 h 5973007"/>
              <a:gd name="connsiteX54187" fmla="*/ 1294524 w 6884782"/>
              <a:gd name="connsiteY54187" fmla="*/ 1482845 h 5973007"/>
              <a:gd name="connsiteX54188" fmla="*/ 1293801 w 6884782"/>
              <a:gd name="connsiteY54188" fmla="*/ 1482535 h 5973007"/>
              <a:gd name="connsiteX54189" fmla="*/ 1292871 w 6884782"/>
              <a:gd name="connsiteY54189" fmla="*/ 1483464 h 5973007"/>
              <a:gd name="connsiteX54190" fmla="*/ 1288535 w 6884782"/>
              <a:gd name="connsiteY54190" fmla="*/ 1485942 h 5973007"/>
              <a:gd name="connsiteX54191" fmla="*/ 1289258 w 6884782"/>
              <a:gd name="connsiteY54191" fmla="*/ 1488730 h 5973007"/>
              <a:gd name="connsiteX54192" fmla="*/ 1288328 w 6884782"/>
              <a:gd name="connsiteY54192" fmla="*/ 1490280 h 5973007"/>
              <a:gd name="connsiteX54193" fmla="*/ 1285953 w 6884782"/>
              <a:gd name="connsiteY54193" fmla="*/ 1489505 h 5973007"/>
              <a:gd name="connsiteX54194" fmla="*/ 1284507 w 6884782"/>
              <a:gd name="connsiteY54194" fmla="*/ 1487956 h 5973007"/>
              <a:gd name="connsiteX54195" fmla="*/ 1279241 w 6884782"/>
              <a:gd name="connsiteY54195" fmla="*/ 1489505 h 5973007"/>
              <a:gd name="connsiteX54196" fmla="*/ 1287193 w 6884782"/>
              <a:gd name="connsiteY54196" fmla="*/ 1479127 h 5973007"/>
              <a:gd name="connsiteX54197" fmla="*/ 1291013 w 6884782"/>
              <a:gd name="connsiteY54197" fmla="*/ 1475565 h 5973007"/>
              <a:gd name="connsiteX54198" fmla="*/ 1289774 w 6884782"/>
              <a:gd name="connsiteY54198" fmla="*/ 1473706 h 5973007"/>
              <a:gd name="connsiteX54199" fmla="*/ 1290806 w 6884782"/>
              <a:gd name="connsiteY54199" fmla="*/ 1472157 h 5973007"/>
              <a:gd name="connsiteX54200" fmla="*/ 1292355 w 6884782"/>
              <a:gd name="connsiteY54200" fmla="*/ 1470763 h 5973007"/>
              <a:gd name="connsiteX54201" fmla="*/ 1294317 w 6884782"/>
              <a:gd name="connsiteY54201" fmla="*/ 1469988 h 5973007"/>
              <a:gd name="connsiteX54202" fmla="*/ 3695149 w 6884782"/>
              <a:gd name="connsiteY54202" fmla="*/ 1469922 h 5973007"/>
              <a:gd name="connsiteX54203" fmla="*/ 3697284 w 6884782"/>
              <a:gd name="connsiteY54203" fmla="*/ 1470491 h 5973007"/>
              <a:gd name="connsiteX54204" fmla="*/ 3688320 w 6884782"/>
              <a:gd name="connsiteY54204" fmla="*/ 1476040 h 5973007"/>
              <a:gd name="connsiteX54205" fmla="*/ 3695149 w 6884782"/>
              <a:gd name="connsiteY54205" fmla="*/ 1469922 h 5973007"/>
              <a:gd name="connsiteX54206" fmla="*/ 4198820 w 6884782"/>
              <a:gd name="connsiteY54206" fmla="*/ 1469780 h 5973007"/>
              <a:gd name="connsiteX54207" fmla="*/ 4201168 w 6884782"/>
              <a:gd name="connsiteY54207" fmla="*/ 1472056 h 5973007"/>
              <a:gd name="connsiteX54208" fmla="*/ 4202021 w 6884782"/>
              <a:gd name="connsiteY54208" fmla="*/ 1475897 h 5973007"/>
              <a:gd name="connsiteX54209" fmla="*/ 4203728 w 6884782"/>
              <a:gd name="connsiteY54209" fmla="*/ 1481446 h 5973007"/>
              <a:gd name="connsiteX54210" fmla="*/ 4204796 w 6884782"/>
              <a:gd name="connsiteY54210" fmla="*/ 1501079 h 5973007"/>
              <a:gd name="connsiteX54211" fmla="*/ 4200954 w 6884782"/>
              <a:gd name="connsiteY54211" fmla="*/ 1493823 h 5973007"/>
              <a:gd name="connsiteX54212" fmla="*/ 4199460 w 6884782"/>
              <a:gd name="connsiteY54212" fmla="*/ 1486568 h 5973007"/>
              <a:gd name="connsiteX54213" fmla="*/ 4192631 w 6884782"/>
              <a:gd name="connsiteY54213" fmla="*/ 1488417 h 5973007"/>
              <a:gd name="connsiteX54214" fmla="*/ 4187509 w 6884782"/>
              <a:gd name="connsiteY54214" fmla="*/ 1484861 h 5973007"/>
              <a:gd name="connsiteX54215" fmla="*/ 4186655 w 6884782"/>
              <a:gd name="connsiteY54215" fmla="*/ 1474475 h 5973007"/>
              <a:gd name="connsiteX54216" fmla="*/ 4193271 w 6884782"/>
              <a:gd name="connsiteY54216" fmla="*/ 1473763 h 5973007"/>
              <a:gd name="connsiteX54217" fmla="*/ 4196686 w 6884782"/>
              <a:gd name="connsiteY54217" fmla="*/ 1474332 h 5973007"/>
              <a:gd name="connsiteX54218" fmla="*/ 4197326 w 6884782"/>
              <a:gd name="connsiteY54218" fmla="*/ 1472910 h 5973007"/>
              <a:gd name="connsiteX54219" fmla="*/ 4197113 w 6884782"/>
              <a:gd name="connsiteY54219" fmla="*/ 1471772 h 5973007"/>
              <a:gd name="connsiteX54220" fmla="*/ 4198820 w 6884782"/>
              <a:gd name="connsiteY54220" fmla="*/ 1469780 h 5973007"/>
              <a:gd name="connsiteX54221" fmla="*/ 1137058 w 6884782"/>
              <a:gd name="connsiteY54221" fmla="*/ 1469369 h 5973007"/>
              <a:gd name="connsiteX54222" fmla="*/ 1142117 w 6884782"/>
              <a:gd name="connsiteY54222" fmla="*/ 1469524 h 5973007"/>
              <a:gd name="connsiteX54223" fmla="*/ 1142840 w 6884782"/>
              <a:gd name="connsiteY54223" fmla="*/ 1470143 h 5973007"/>
              <a:gd name="connsiteX54224" fmla="*/ 1143460 w 6884782"/>
              <a:gd name="connsiteY54224" fmla="*/ 1469833 h 5973007"/>
              <a:gd name="connsiteX54225" fmla="*/ 1143460 w 6884782"/>
              <a:gd name="connsiteY54225" fmla="*/ 1469678 h 5973007"/>
              <a:gd name="connsiteX54226" fmla="*/ 1145318 w 6884782"/>
              <a:gd name="connsiteY54226" fmla="*/ 1469833 h 5973007"/>
              <a:gd name="connsiteX54227" fmla="*/ 1146867 w 6884782"/>
              <a:gd name="connsiteY54227" fmla="*/ 1470918 h 5973007"/>
              <a:gd name="connsiteX54228" fmla="*/ 1146351 w 6884782"/>
              <a:gd name="connsiteY54228" fmla="*/ 1472002 h 5973007"/>
              <a:gd name="connsiteX54229" fmla="*/ 1145318 w 6884782"/>
              <a:gd name="connsiteY54229" fmla="*/ 1472622 h 5973007"/>
              <a:gd name="connsiteX54230" fmla="*/ 1146454 w 6884782"/>
              <a:gd name="connsiteY54230" fmla="*/ 1473706 h 5973007"/>
              <a:gd name="connsiteX54231" fmla="*/ 1142221 w 6884782"/>
              <a:gd name="connsiteY54231" fmla="*/ 1480057 h 5973007"/>
              <a:gd name="connsiteX54232" fmla="*/ 1135509 w 6884782"/>
              <a:gd name="connsiteY54232" fmla="*/ 1477888 h 5973007"/>
              <a:gd name="connsiteX54233" fmla="*/ 1134063 w 6884782"/>
              <a:gd name="connsiteY54233" fmla="*/ 1474945 h 5973007"/>
              <a:gd name="connsiteX54234" fmla="*/ 1134063 w 6884782"/>
              <a:gd name="connsiteY54234" fmla="*/ 1472467 h 5973007"/>
              <a:gd name="connsiteX54235" fmla="*/ 1137058 w 6884782"/>
              <a:gd name="connsiteY54235" fmla="*/ 1469369 h 5973007"/>
              <a:gd name="connsiteX54236" fmla="*/ 4005248 w 6884782"/>
              <a:gd name="connsiteY54236" fmla="*/ 1469353 h 5973007"/>
              <a:gd name="connsiteX54237" fmla="*/ 4009517 w 6884782"/>
              <a:gd name="connsiteY54237" fmla="*/ 1472056 h 5973007"/>
              <a:gd name="connsiteX54238" fmla="*/ 4009090 w 6884782"/>
              <a:gd name="connsiteY54238" fmla="*/ 1474759 h 5973007"/>
              <a:gd name="connsiteX54239" fmla="*/ 4008023 w 6884782"/>
              <a:gd name="connsiteY54239" fmla="*/ 1477605 h 5973007"/>
              <a:gd name="connsiteX54240" fmla="*/ 4002901 w 6884782"/>
              <a:gd name="connsiteY54240" fmla="*/ 1482299 h 5973007"/>
              <a:gd name="connsiteX54241" fmla="*/ 3997779 w 6884782"/>
              <a:gd name="connsiteY54241" fmla="*/ 1481872 h 5973007"/>
              <a:gd name="connsiteX54242" fmla="*/ 3995858 w 6884782"/>
              <a:gd name="connsiteY54242" fmla="*/ 1480734 h 5973007"/>
              <a:gd name="connsiteX54243" fmla="*/ 3999913 w 6884782"/>
              <a:gd name="connsiteY54243" fmla="*/ 1470207 h 5973007"/>
              <a:gd name="connsiteX54244" fmla="*/ 4005248 w 6884782"/>
              <a:gd name="connsiteY54244" fmla="*/ 1469353 h 5973007"/>
              <a:gd name="connsiteX54245" fmla="*/ 3592068 w 6884782"/>
              <a:gd name="connsiteY54245" fmla="*/ 1469353 h 5973007"/>
              <a:gd name="connsiteX54246" fmla="*/ 3595909 w 6884782"/>
              <a:gd name="connsiteY54246" fmla="*/ 1480166 h 5973007"/>
              <a:gd name="connsiteX54247" fmla="*/ 3594842 w 6884782"/>
              <a:gd name="connsiteY54247" fmla="*/ 1481446 h 5973007"/>
              <a:gd name="connsiteX54248" fmla="*/ 3582464 w 6884782"/>
              <a:gd name="connsiteY54248" fmla="*/ 1486852 h 5973007"/>
              <a:gd name="connsiteX54249" fmla="*/ 3582037 w 6884782"/>
              <a:gd name="connsiteY54249" fmla="*/ 1476040 h 5973007"/>
              <a:gd name="connsiteX54250" fmla="*/ 3592068 w 6884782"/>
              <a:gd name="connsiteY54250" fmla="*/ 1469353 h 5973007"/>
              <a:gd name="connsiteX54251" fmla="*/ 5481686 w 6884782"/>
              <a:gd name="connsiteY54251" fmla="*/ 1469068 h 5973007"/>
              <a:gd name="connsiteX54252" fmla="*/ 5489369 w 6884782"/>
              <a:gd name="connsiteY54252" fmla="*/ 1473336 h 5973007"/>
              <a:gd name="connsiteX54253" fmla="*/ 5478698 w 6884782"/>
              <a:gd name="connsiteY54253" fmla="*/ 1482869 h 5973007"/>
              <a:gd name="connsiteX54254" fmla="*/ 5481686 w 6884782"/>
              <a:gd name="connsiteY54254" fmla="*/ 1469068 h 5973007"/>
              <a:gd name="connsiteX54255" fmla="*/ 1232570 w 6884782"/>
              <a:gd name="connsiteY54255" fmla="*/ 1469059 h 5973007"/>
              <a:gd name="connsiteX54256" fmla="*/ 1226684 w 6884782"/>
              <a:gd name="connsiteY54256" fmla="*/ 1479592 h 5973007"/>
              <a:gd name="connsiteX54257" fmla="*/ 1222554 w 6884782"/>
              <a:gd name="connsiteY54257" fmla="*/ 1484394 h 5973007"/>
              <a:gd name="connsiteX54258" fmla="*/ 1217907 w 6884782"/>
              <a:gd name="connsiteY54258" fmla="*/ 1487801 h 5973007"/>
              <a:gd name="connsiteX54259" fmla="*/ 1223173 w 6884782"/>
              <a:gd name="connsiteY54259" fmla="*/ 1489195 h 5973007"/>
              <a:gd name="connsiteX54260" fmla="*/ 1228027 w 6884782"/>
              <a:gd name="connsiteY54260" fmla="*/ 1493378 h 5973007"/>
              <a:gd name="connsiteX54261" fmla="*/ 1231537 w 6884782"/>
              <a:gd name="connsiteY54261" fmla="*/ 1491674 h 5973007"/>
              <a:gd name="connsiteX54262" fmla="*/ 1235358 w 6884782"/>
              <a:gd name="connsiteY54262" fmla="*/ 1496630 h 5973007"/>
              <a:gd name="connsiteX54263" fmla="*/ 1233705 w 6884782"/>
              <a:gd name="connsiteY54263" fmla="*/ 1501277 h 5973007"/>
              <a:gd name="connsiteX54264" fmla="*/ 1234532 w 6884782"/>
              <a:gd name="connsiteY54264" fmla="*/ 1502826 h 5973007"/>
              <a:gd name="connsiteX54265" fmla="*/ 1233705 w 6884782"/>
              <a:gd name="connsiteY54265" fmla="*/ 1509332 h 5973007"/>
              <a:gd name="connsiteX54266" fmla="*/ 1230195 w 6884782"/>
              <a:gd name="connsiteY54266" fmla="*/ 1505460 h 5973007"/>
              <a:gd name="connsiteX54267" fmla="*/ 1225342 w 6884782"/>
              <a:gd name="connsiteY54267" fmla="*/ 1509797 h 5973007"/>
              <a:gd name="connsiteX54268" fmla="*/ 1224206 w 6884782"/>
              <a:gd name="connsiteY54268" fmla="*/ 1510262 h 5973007"/>
              <a:gd name="connsiteX54269" fmla="*/ 1225652 w 6884782"/>
              <a:gd name="connsiteY54269" fmla="*/ 1511965 h 5973007"/>
              <a:gd name="connsiteX54270" fmla="*/ 1225755 w 6884782"/>
              <a:gd name="connsiteY54270" fmla="*/ 1516148 h 5973007"/>
              <a:gd name="connsiteX54271" fmla="*/ 1215636 w 6884782"/>
              <a:gd name="connsiteY54271" fmla="*/ 1519400 h 5973007"/>
              <a:gd name="connsiteX54272" fmla="*/ 1212228 w 6884782"/>
              <a:gd name="connsiteY54272" fmla="*/ 1519245 h 5973007"/>
              <a:gd name="connsiteX54273" fmla="*/ 1207788 w 6884782"/>
              <a:gd name="connsiteY54273" fmla="*/ 1524202 h 5973007"/>
              <a:gd name="connsiteX54274" fmla="*/ 1205000 w 6884782"/>
              <a:gd name="connsiteY54274" fmla="*/ 1524202 h 5973007"/>
              <a:gd name="connsiteX54275" fmla="*/ 1193745 w 6884782"/>
              <a:gd name="connsiteY54275" fmla="*/ 1506234 h 5973007"/>
              <a:gd name="connsiteX54276" fmla="*/ 1199218 w 6884782"/>
              <a:gd name="connsiteY54276" fmla="*/ 1490125 h 5973007"/>
              <a:gd name="connsiteX54277" fmla="*/ 1199941 w 6884782"/>
              <a:gd name="connsiteY54277" fmla="*/ 1489505 h 5973007"/>
              <a:gd name="connsiteX54278" fmla="*/ 1198495 w 6884782"/>
              <a:gd name="connsiteY54278" fmla="*/ 1490125 h 5973007"/>
              <a:gd name="connsiteX54279" fmla="*/ 1196843 w 6884782"/>
              <a:gd name="connsiteY54279" fmla="*/ 1489195 h 5973007"/>
              <a:gd name="connsiteX54280" fmla="*/ 1193849 w 6884782"/>
              <a:gd name="connsiteY54280" fmla="*/ 1486252 h 5973007"/>
              <a:gd name="connsiteX54281" fmla="*/ 1195397 w 6884782"/>
              <a:gd name="connsiteY54281" fmla="*/ 1483464 h 5973007"/>
              <a:gd name="connsiteX54282" fmla="*/ 1199218 w 6884782"/>
              <a:gd name="connsiteY54282" fmla="*/ 1482690 h 5973007"/>
              <a:gd name="connsiteX54283" fmla="*/ 1205413 w 6884782"/>
              <a:gd name="connsiteY54283" fmla="*/ 1485478 h 5973007"/>
              <a:gd name="connsiteX54284" fmla="*/ 1204484 w 6884782"/>
              <a:gd name="connsiteY54284" fmla="*/ 1486717 h 5973007"/>
              <a:gd name="connsiteX54285" fmla="*/ 1211712 w 6884782"/>
              <a:gd name="connsiteY54285" fmla="*/ 1491054 h 5973007"/>
              <a:gd name="connsiteX54286" fmla="*/ 1216049 w 6884782"/>
              <a:gd name="connsiteY54286" fmla="*/ 1497870 h 5973007"/>
              <a:gd name="connsiteX54287" fmla="*/ 1216875 w 6884782"/>
              <a:gd name="connsiteY54287" fmla="*/ 1502672 h 5973007"/>
              <a:gd name="connsiteX54288" fmla="*/ 1219146 w 6884782"/>
              <a:gd name="connsiteY54288" fmla="*/ 1499573 h 5973007"/>
              <a:gd name="connsiteX54289" fmla="*/ 1222554 w 6884782"/>
              <a:gd name="connsiteY54289" fmla="*/ 1496785 h 5973007"/>
              <a:gd name="connsiteX54290" fmla="*/ 1219972 w 6884782"/>
              <a:gd name="connsiteY54290" fmla="*/ 1493997 h 5973007"/>
              <a:gd name="connsiteX54291" fmla="*/ 1216772 w 6884782"/>
              <a:gd name="connsiteY54291" fmla="*/ 1488576 h 5973007"/>
              <a:gd name="connsiteX54292" fmla="*/ 1216668 w 6884782"/>
              <a:gd name="connsiteY54292" fmla="*/ 1488576 h 5973007"/>
              <a:gd name="connsiteX54293" fmla="*/ 1216668 w 6884782"/>
              <a:gd name="connsiteY54293" fmla="*/ 1488421 h 5973007"/>
              <a:gd name="connsiteX54294" fmla="*/ 1216049 w 6884782"/>
              <a:gd name="connsiteY54294" fmla="*/ 1487182 h 5973007"/>
              <a:gd name="connsiteX54295" fmla="*/ 1216772 w 6884782"/>
              <a:gd name="connsiteY54295" fmla="*/ 1487492 h 5973007"/>
              <a:gd name="connsiteX54296" fmla="*/ 1217185 w 6884782"/>
              <a:gd name="connsiteY54296" fmla="*/ 1481916 h 5973007"/>
              <a:gd name="connsiteX54297" fmla="*/ 1232570 w 6884782"/>
              <a:gd name="connsiteY54297" fmla="*/ 1469059 h 5973007"/>
              <a:gd name="connsiteX54298" fmla="*/ 5422782 w 6884782"/>
              <a:gd name="connsiteY54298" fmla="*/ 1468926 h 5973007"/>
              <a:gd name="connsiteX54299" fmla="*/ 5420435 w 6884782"/>
              <a:gd name="connsiteY54299" fmla="*/ 1479881 h 5973007"/>
              <a:gd name="connsiteX54300" fmla="*/ 5414246 w 6884782"/>
              <a:gd name="connsiteY54300" fmla="*/ 1483580 h 5973007"/>
              <a:gd name="connsiteX54301" fmla="*/ 5404215 w 6884782"/>
              <a:gd name="connsiteY54301" fmla="*/ 1480877 h 5973007"/>
              <a:gd name="connsiteX54302" fmla="*/ 5405922 w 6884782"/>
              <a:gd name="connsiteY54302" fmla="*/ 1474759 h 5973007"/>
              <a:gd name="connsiteX54303" fmla="*/ 5422782 w 6884782"/>
              <a:gd name="connsiteY54303" fmla="*/ 1468926 h 5973007"/>
              <a:gd name="connsiteX54304" fmla="*/ 1091005 w 6884782"/>
              <a:gd name="connsiteY54304" fmla="*/ 1468904 h 5973007"/>
              <a:gd name="connsiteX54305" fmla="*/ 1098543 w 6884782"/>
              <a:gd name="connsiteY54305" fmla="*/ 1471537 h 5973007"/>
              <a:gd name="connsiteX54306" fmla="*/ 1096375 w 6884782"/>
              <a:gd name="connsiteY54306" fmla="*/ 1476029 h 5973007"/>
              <a:gd name="connsiteX54307" fmla="*/ 1091005 w 6884782"/>
              <a:gd name="connsiteY54307" fmla="*/ 1468904 h 5973007"/>
              <a:gd name="connsiteX54308" fmla="*/ 4370623 w 6884782"/>
              <a:gd name="connsiteY54308" fmla="*/ 1468784 h 5973007"/>
              <a:gd name="connsiteX54309" fmla="*/ 4374678 w 6884782"/>
              <a:gd name="connsiteY54309" fmla="*/ 1471345 h 5973007"/>
              <a:gd name="connsiteX54310" fmla="*/ 4371690 w 6884782"/>
              <a:gd name="connsiteY54310" fmla="*/ 1483296 h 5973007"/>
              <a:gd name="connsiteX54311" fmla="*/ 4360165 w 6884782"/>
              <a:gd name="connsiteY54311" fmla="*/ 1477320 h 5973007"/>
              <a:gd name="connsiteX54312" fmla="*/ 4370623 w 6884782"/>
              <a:gd name="connsiteY54312" fmla="*/ 1468784 h 5973007"/>
              <a:gd name="connsiteX54313" fmla="*/ 1535975 w 6884782"/>
              <a:gd name="connsiteY54313" fmla="*/ 1468129 h 5973007"/>
              <a:gd name="connsiteX54314" fmla="*/ 1543164 w 6884782"/>
              <a:gd name="connsiteY54314" fmla="*/ 1468904 h 5973007"/>
              <a:gd name="connsiteX54315" fmla="*/ 1545023 w 6884782"/>
              <a:gd name="connsiteY54315" fmla="*/ 1473241 h 5973007"/>
              <a:gd name="connsiteX54316" fmla="*/ 1531806 w 6884782"/>
              <a:gd name="connsiteY54316" fmla="*/ 1475255 h 5973007"/>
              <a:gd name="connsiteX54317" fmla="*/ 1535975 w 6884782"/>
              <a:gd name="connsiteY54317" fmla="*/ 1468129 h 5973007"/>
              <a:gd name="connsiteX54318" fmla="*/ 1429583 w 6884782"/>
              <a:gd name="connsiteY54318" fmla="*/ 1467510 h 5973007"/>
              <a:gd name="connsiteX54319" fmla="*/ 1426072 w 6884782"/>
              <a:gd name="connsiteY54319" fmla="*/ 1472157 h 5973007"/>
              <a:gd name="connsiteX54320" fmla="*/ 1426175 w 6884782"/>
              <a:gd name="connsiteY54320" fmla="*/ 1474790 h 5973007"/>
              <a:gd name="connsiteX54321" fmla="*/ 1421942 w 6884782"/>
              <a:gd name="connsiteY54321" fmla="*/ 1477733 h 5973007"/>
              <a:gd name="connsiteX54322" fmla="*/ 1420290 w 6884782"/>
              <a:gd name="connsiteY54322" fmla="*/ 1476339 h 5973007"/>
              <a:gd name="connsiteX54323" fmla="*/ 1420290 w 6884782"/>
              <a:gd name="connsiteY54323" fmla="*/ 1473861 h 5973007"/>
              <a:gd name="connsiteX54324" fmla="*/ 1426175 w 6884782"/>
              <a:gd name="connsiteY54324" fmla="*/ 1470298 h 5973007"/>
              <a:gd name="connsiteX54325" fmla="*/ 1429583 w 6884782"/>
              <a:gd name="connsiteY54325" fmla="*/ 1467510 h 5973007"/>
              <a:gd name="connsiteX54326" fmla="*/ 1690821 w 6884782"/>
              <a:gd name="connsiteY54326" fmla="*/ 1466890 h 5973007"/>
              <a:gd name="connsiteX54327" fmla="*/ 1690614 w 6884782"/>
              <a:gd name="connsiteY54327" fmla="*/ 1468284 h 5973007"/>
              <a:gd name="connsiteX54328" fmla="*/ 1690408 w 6884782"/>
              <a:gd name="connsiteY54328" fmla="*/ 1467510 h 5973007"/>
              <a:gd name="connsiteX54329" fmla="*/ 1690821 w 6884782"/>
              <a:gd name="connsiteY54329" fmla="*/ 1466890 h 5973007"/>
              <a:gd name="connsiteX54330" fmla="*/ 4179612 w 6884782"/>
              <a:gd name="connsiteY54330" fmla="*/ 1466793 h 5973007"/>
              <a:gd name="connsiteX54331" fmla="*/ 4177478 w 6884782"/>
              <a:gd name="connsiteY54331" fmla="*/ 1473905 h 5973007"/>
              <a:gd name="connsiteX54332" fmla="*/ 4178972 w 6884782"/>
              <a:gd name="connsiteY54332" fmla="*/ 1474759 h 5973007"/>
              <a:gd name="connsiteX54333" fmla="*/ 4181319 w 6884782"/>
              <a:gd name="connsiteY54333" fmla="*/ 1478885 h 5973007"/>
              <a:gd name="connsiteX54334" fmla="*/ 4173210 w 6884782"/>
              <a:gd name="connsiteY54334" fmla="*/ 1485430 h 5973007"/>
              <a:gd name="connsiteX54335" fmla="*/ 4171289 w 6884782"/>
              <a:gd name="connsiteY54335" fmla="*/ 1482299 h 5973007"/>
              <a:gd name="connsiteX54336" fmla="*/ 4171075 w 6884782"/>
              <a:gd name="connsiteY54336" fmla="*/ 1482157 h 5973007"/>
              <a:gd name="connsiteX54337" fmla="*/ 4157630 w 6884782"/>
              <a:gd name="connsiteY54337" fmla="*/ 1489698 h 5973007"/>
              <a:gd name="connsiteX54338" fmla="*/ 4179612 w 6884782"/>
              <a:gd name="connsiteY54338" fmla="*/ 1466793 h 5973007"/>
              <a:gd name="connsiteX54339" fmla="*/ 1634236 w 6884782"/>
              <a:gd name="connsiteY54339" fmla="*/ 1466445 h 5973007"/>
              <a:gd name="connsiteX54340" fmla="*/ 1639296 w 6884782"/>
              <a:gd name="connsiteY54340" fmla="*/ 1467045 h 5973007"/>
              <a:gd name="connsiteX54341" fmla="*/ 1624427 w 6884782"/>
              <a:gd name="connsiteY54341" fmla="*/ 1484858 h 5973007"/>
              <a:gd name="connsiteX54342" fmla="*/ 1618748 w 6884782"/>
              <a:gd name="connsiteY54342" fmla="*/ 1487027 h 5973007"/>
              <a:gd name="connsiteX54343" fmla="*/ 1626182 w 6884782"/>
              <a:gd name="connsiteY54343" fmla="*/ 1488266 h 5973007"/>
              <a:gd name="connsiteX54344" fmla="*/ 1611004 w 6884782"/>
              <a:gd name="connsiteY54344" fmla="*/ 1497250 h 5973007"/>
              <a:gd name="connsiteX54345" fmla="*/ 1616476 w 6884782"/>
              <a:gd name="connsiteY54345" fmla="*/ 1504840 h 5973007"/>
              <a:gd name="connsiteX54346" fmla="*/ 1617406 w 6884782"/>
              <a:gd name="connsiteY54346" fmla="*/ 1508558 h 5973007"/>
              <a:gd name="connsiteX54347" fmla="*/ 1617922 w 6884782"/>
              <a:gd name="connsiteY54347" fmla="*/ 1508558 h 5973007"/>
              <a:gd name="connsiteX54348" fmla="*/ 1619884 w 6884782"/>
              <a:gd name="connsiteY54348" fmla="*/ 1508558 h 5973007"/>
              <a:gd name="connsiteX54349" fmla="*/ 1622568 w 6884782"/>
              <a:gd name="connsiteY54349" fmla="*/ 1511191 h 5973007"/>
              <a:gd name="connsiteX54350" fmla="*/ 1606254 w 6884782"/>
              <a:gd name="connsiteY54350" fmla="*/ 1513514 h 5973007"/>
              <a:gd name="connsiteX54351" fmla="*/ 1606047 w 6884782"/>
              <a:gd name="connsiteY54351" fmla="*/ 1511655 h 5973007"/>
              <a:gd name="connsiteX54352" fmla="*/ 1607803 w 6884782"/>
              <a:gd name="connsiteY54352" fmla="*/ 1510106 h 5973007"/>
              <a:gd name="connsiteX54353" fmla="*/ 1610074 w 6884782"/>
              <a:gd name="connsiteY54353" fmla="*/ 1509487 h 5973007"/>
              <a:gd name="connsiteX54354" fmla="*/ 1608319 w 6884782"/>
              <a:gd name="connsiteY54354" fmla="*/ 1507318 h 5973007"/>
              <a:gd name="connsiteX54355" fmla="*/ 1602846 w 6884782"/>
              <a:gd name="connsiteY54355" fmla="*/ 1498799 h 5973007"/>
              <a:gd name="connsiteX54356" fmla="*/ 1593243 w 6884782"/>
              <a:gd name="connsiteY54356" fmla="*/ 1494927 h 5973007"/>
              <a:gd name="connsiteX54357" fmla="*/ 1606461 w 6884782"/>
              <a:gd name="connsiteY54357" fmla="*/ 1488730 h 5973007"/>
              <a:gd name="connsiteX54358" fmla="*/ 1617612 w 6884782"/>
              <a:gd name="connsiteY54358" fmla="*/ 1487182 h 5973007"/>
              <a:gd name="connsiteX54359" fmla="*/ 1613585 w 6884782"/>
              <a:gd name="connsiteY54359" fmla="*/ 1487337 h 5973007"/>
              <a:gd name="connsiteX54360" fmla="*/ 1611623 w 6884782"/>
              <a:gd name="connsiteY54360" fmla="*/ 1485478 h 5973007"/>
              <a:gd name="connsiteX54361" fmla="*/ 1620503 w 6884782"/>
              <a:gd name="connsiteY54361" fmla="*/ 1469678 h 5973007"/>
              <a:gd name="connsiteX54362" fmla="*/ 1634236 w 6884782"/>
              <a:gd name="connsiteY54362" fmla="*/ 1466445 h 5973007"/>
              <a:gd name="connsiteX54363" fmla="*/ 1585499 w 6884782"/>
              <a:gd name="connsiteY54363" fmla="*/ 1465961 h 5973007"/>
              <a:gd name="connsiteX54364" fmla="*/ 1592624 w 6884782"/>
              <a:gd name="connsiteY54364" fmla="*/ 1476649 h 5973007"/>
              <a:gd name="connsiteX54365" fmla="*/ 1588081 w 6884782"/>
              <a:gd name="connsiteY54365" fmla="*/ 1478662 h 5973007"/>
              <a:gd name="connsiteX54366" fmla="*/ 1583641 w 6884782"/>
              <a:gd name="connsiteY54366" fmla="*/ 1468904 h 5973007"/>
              <a:gd name="connsiteX54367" fmla="*/ 1585499 w 6884782"/>
              <a:gd name="connsiteY54367" fmla="*/ 1465961 h 5973007"/>
              <a:gd name="connsiteX54368" fmla="*/ 5021126 w 6884782"/>
              <a:gd name="connsiteY54368" fmla="*/ 1465796 h 5973007"/>
              <a:gd name="connsiteX54369" fmla="*/ 5024328 w 6884782"/>
              <a:gd name="connsiteY54369" fmla="*/ 1466223 h 5973007"/>
              <a:gd name="connsiteX54370" fmla="*/ 5025608 w 6884782"/>
              <a:gd name="connsiteY54370" fmla="*/ 1467503 h 5973007"/>
              <a:gd name="connsiteX54371" fmla="*/ 5009388 w 6884782"/>
              <a:gd name="connsiteY54371" fmla="*/ 1469068 h 5973007"/>
              <a:gd name="connsiteX54372" fmla="*/ 5009388 w 6884782"/>
              <a:gd name="connsiteY54372" fmla="*/ 1467930 h 5973007"/>
              <a:gd name="connsiteX54373" fmla="*/ 5021126 w 6884782"/>
              <a:gd name="connsiteY54373" fmla="*/ 1465796 h 5973007"/>
              <a:gd name="connsiteX54374" fmla="*/ 1824022 w 6884782"/>
              <a:gd name="connsiteY54374" fmla="*/ 1465186 h 5973007"/>
              <a:gd name="connsiteX54375" fmla="*/ 1826293 w 6884782"/>
              <a:gd name="connsiteY54375" fmla="*/ 1468594 h 5973007"/>
              <a:gd name="connsiteX54376" fmla="*/ 1825261 w 6884782"/>
              <a:gd name="connsiteY54376" fmla="*/ 1469524 h 5973007"/>
              <a:gd name="connsiteX54377" fmla="*/ 1823505 w 6884782"/>
              <a:gd name="connsiteY54377" fmla="*/ 1466271 h 5973007"/>
              <a:gd name="connsiteX54378" fmla="*/ 1824022 w 6884782"/>
              <a:gd name="connsiteY54378" fmla="*/ 1465186 h 5973007"/>
              <a:gd name="connsiteX54379" fmla="*/ 5130398 w 6884782"/>
              <a:gd name="connsiteY54379" fmla="*/ 1465085 h 5973007"/>
              <a:gd name="connsiteX54380" fmla="*/ 5131464 w 6884782"/>
              <a:gd name="connsiteY54380" fmla="*/ 1465654 h 5973007"/>
              <a:gd name="connsiteX54381" fmla="*/ 5129757 w 6884782"/>
              <a:gd name="connsiteY54381" fmla="*/ 1472340 h 5973007"/>
              <a:gd name="connsiteX54382" fmla="*/ 5127410 w 6884782"/>
              <a:gd name="connsiteY54382" fmla="*/ 1477605 h 5973007"/>
              <a:gd name="connsiteX54383" fmla="*/ 5115458 w 6884782"/>
              <a:gd name="connsiteY54383" fmla="*/ 1491832 h 5973007"/>
              <a:gd name="connsiteX54384" fmla="*/ 5117592 w 6884782"/>
              <a:gd name="connsiteY54384" fmla="*/ 1483865 h 5973007"/>
              <a:gd name="connsiteX54385" fmla="*/ 5125489 w 6884782"/>
              <a:gd name="connsiteY54385" fmla="*/ 1467361 h 5973007"/>
              <a:gd name="connsiteX54386" fmla="*/ 5128477 w 6884782"/>
              <a:gd name="connsiteY54386" fmla="*/ 1466508 h 5973007"/>
              <a:gd name="connsiteX54387" fmla="*/ 5128903 w 6884782"/>
              <a:gd name="connsiteY54387" fmla="*/ 1465512 h 5973007"/>
              <a:gd name="connsiteX54388" fmla="*/ 5130398 w 6884782"/>
              <a:gd name="connsiteY54388" fmla="*/ 1465085 h 5973007"/>
              <a:gd name="connsiteX54389" fmla="*/ 5002132 w 6884782"/>
              <a:gd name="connsiteY54389" fmla="*/ 1465085 h 5973007"/>
              <a:gd name="connsiteX54390" fmla="*/ 5003412 w 6884782"/>
              <a:gd name="connsiteY54390" fmla="*/ 1466508 h 5973007"/>
              <a:gd name="connsiteX54391" fmla="*/ 4997650 w 6884782"/>
              <a:gd name="connsiteY54391" fmla="*/ 1468641 h 5973007"/>
              <a:gd name="connsiteX54392" fmla="*/ 5002132 w 6884782"/>
              <a:gd name="connsiteY54392" fmla="*/ 1465085 h 5973007"/>
              <a:gd name="connsiteX54393" fmla="*/ 3891069 w 6884782"/>
              <a:gd name="connsiteY54393" fmla="*/ 1465085 h 5973007"/>
              <a:gd name="connsiteX54394" fmla="*/ 3895551 w 6884782"/>
              <a:gd name="connsiteY54394" fmla="*/ 1467788 h 5973007"/>
              <a:gd name="connsiteX54395" fmla="*/ 3894057 w 6884782"/>
              <a:gd name="connsiteY54395" fmla="*/ 1480024 h 5973007"/>
              <a:gd name="connsiteX54396" fmla="*/ 3884666 w 6884782"/>
              <a:gd name="connsiteY54396" fmla="*/ 1465512 h 5973007"/>
              <a:gd name="connsiteX54397" fmla="*/ 3891069 w 6884782"/>
              <a:gd name="connsiteY54397" fmla="*/ 1465085 h 5973007"/>
              <a:gd name="connsiteX54398" fmla="*/ 4226991 w 6884782"/>
              <a:gd name="connsiteY54398" fmla="*/ 1464800 h 5973007"/>
              <a:gd name="connsiteX54399" fmla="*/ 4234888 w 6884782"/>
              <a:gd name="connsiteY54399" fmla="*/ 1469353 h 5973007"/>
              <a:gd name="connsiteX54400" fmla="*/ 4236169 w 6884782"/>
              <a:gd name="connsiteY54400" fmla="*/ 1475044 h 5973007"/>
              <a:gd name="connsiteX54401" fmla="*/ 4218241 w 6884782"/>
              <a:gd name="connsiteY54401" fmla="*/ 1468499 h 5973007"/>
              <a:gd name="connsiteX54402" fmla="*/ 4226991 w 6884782"/>
              <a:gd name="connsiteY54402" fmla="*/ 1464800 h 5973007"/>
              <a:gd name="connsiteX54403" fmla="*/ 977527 w 6884782"/>
              <a:gd name="connsiteY54403" fmla="*/ 1464722 h 5973007"/>
              <a:gd name="connsiteX54404" fmla="*/ 984549 w 6884782"/>
              <a:gd name="connsiteY54404" fmla="*/ 1465961 h 5973007"/>
              <a:gd name="connsiteX54405" fmla="*/ 983000 w 6884782"/>
              <a:gd name="connsiteY54405" fmla="*/ 1472157 h 5973007"/>
              <a:gd name="connsiteX54406" fmla="*/ 976081 w 6884782"/>
              <a:gd name="connsiteY54406" fmla="*/ 1469214 h 5973007"/>
              <a:gd name="connsiteX54407" fmla="*/ 977527 w 6884782"/>
              <a:gd name="connsiteY54407" fmla="*/ 1464722 h 5973007"/>
              <a:gd name="connsiteX54408" fmla="*/ 4459619 w 6884782"/>
              <a:gd name="connsiteY54408" fmla="*/ 1464374 h 5973007"/>
              <a:gd name="connsiteX54409" fmla="*/ 4462393 w 6884782"/>
              <a:gd name="connsiteY54409" fmla="*/ 1465085 h 5973007"/>
              <a:gd name="connsiteX54410" fmla="*/ 4459619 w 6884782"/>
              <a:gd name="connsiteY54410" fmla="*/ 1480877 h 5973007"/>
              <a:gd name="connsiteX54411" fmla="*/ 4457058 w 6884782"/>
              <a:gd name="connsiteY54411" fmla="*/ 1483153 h 5973007"/>
              <a:gd name="connsiteX54412" fmla="*/ 4455564 w 6884782"/>
              <a:gd name="connsiteY54412" fmla="*/ 1485571 h 5973007"/>
              <a:gd name="connsiteX54413" fmla="*/ 4448308 w 6884782"/>
              <a:gd name="connsiteY54413" fmla="*/ 1489128 h 5973007"/>
              <a:gd name="connsiteX54414" fmla="*/ 4449588 w 6884782"/>
              <a:gd name="connsiteY54414" fmla="*/ 1485145 h 5973007"/>
              <a:gd name="connsiteX54415" fmla="*/ 4448521 w 6884782"/>
              <a:gd name="connsiteY54415" fmla="*/ 1485145 h 5973007"/>
              <a:gd name="connsiteX54416" fmla="*/ 4448094 w 6884782"/>
              <a:gd name="connsiteY54416" fmla="*/ 1479454 h 5973007"/>
              <a:gd name="connsiteX54417" fmla="*/ 4452149 w 6884782"/>
              <a:gd name="connsiteY54417" fmla="*/ 1478032 h 5973007"/>
              <a:gd name="connsiteX54418" fmla="*/ 4453216 w 6884782"/>
              <a:gd name="connsiteY54418" fmla="*/ 1475044 h 5973007"/>
              <a:gd name="connsiteX54419" fmla="*/ 4457698 w 6884782"/>
              <a:gd name="connsiteY54419" fmla="*/ 1466223 h 5973007"/>
              <a:gd name="connsiteX54420" fmla="*/ 4459619 w 6884782"/>
              <a:gd name="connsiteY54420" fmla="*/ 1464374 h 5973007"/>
              <a:gd name="connsiteX54421" fmla="*/ 1390862 w 6884782"/>
              <a:gd name="connsiteY54421" fmla="*/ 1464102 h 5973007"/>
              <a:gd name="connsiteX54422" fmla="*/ 1390242 w 6884782"/>
              <a:gd name="connsiteY54422" fmla="*/ 1464412 h 5973007"/>
              <a:gd name="connsiteX54423" fmla="*/ 1391275 w 6884782"/>
              <a:gd name="connsiteY54423" fmla="*/ 1464722 h 5973007"/>
              <a:gd name="connsiteX54424" fmla="*/ 4001620 w 6884782"/>
              <a:gd name="connsiteY54424" fmla="*/ 1463663 h 5973007"/>
              <a:gd name="connsiteX54425" fmla="*/ 4003327 w 6884782"/>
              <a:gd name="connsiteY54425" fmla="*/ 1465085 h 5973007"/>
              <a:gd name="connsiteX54426" fmla="*/ 4002687 w 6884782"/>
              <a:gd name="connsiteY54426" fmla="*/ 1467219 h 5973007"/>
              <a:gd name="connsiteX54427" fmla="*/ 3999700 w 6884782"/>
              <a:gd name="connsiteY54427" fmla="*/ 1468641 h 5973007"/>
              <a:gd name="connsiteX54428" fmla="*/ 3999059 w 6884782"/>
              <a:gd name="connsiteY54428" fmla="*/ 1463804 h 5973007"/>
              <a:gd name="connsiteX54429" fmla="*/ 4001620 w 6884782"/>
              <a:gd name="connsiteY54429" fmla="*/ 1463663 h 5973007"/>
              <a:gd name="connsiteX54430" fmla="*/ 5439429 w 6884782"/>
              <a:gd name="connsiteY54430" fmla="*/ 1463236 h 5973007"/>
              <a:gd name="connsiteX54431" fmla="*/ 5440283 w 6884782"/>
              <a:gd name="connsiteY54431" fmla="*/ 1466935 h 5973007"/>
              <a:gd name="connsiteX54432" fmla="*/ 5434520 w 6884782"/>
              <a:gd name="connsiteY54432" fmla="*/ 1465654 h 5973007"/>
              <a:gd name="connsiteX54433" fmla="*/ 5439429 w 6884782"/>
              <a:gd name="connsiteY54433" fmla="*/ 1463236 h 5973007"/>
              <a:gd name="connsiteX54434" fmla="*/ 4242571 w 6884782"/>
              <a:gd name="connsiteY54434" fmla="*/ 1462382 h 5973007"/>
              <a:gd name="connsiteX54435" fmla="*/ 4246412 w 6884782"/>
              <a:gd name="connsiteY54435" fmla="*/ 1470349 h 5973007"/>
              <a:gd name="connsiteX54436" fmla="*/ 4244278 w 6884782"/>
              <a:gd name="connsiteY54436" fmla="*/ 1473336 h 5973007"/>
              <a:gd name="connsiteX54437" fmla="*/ 4238302 w 6884782"/>
              <a:gd name="connsiteY54437" fmla="*/ 1473621 h 5973007"/>
              <a:gd name="connsiteX54438" fmla="*/ 4239156 w 6884782"/>
              <a:gd name="connsiteY54438" fmla="*/ 1462951 h 5973007"/>
              <a:gd name="connsiteX54439" fmla="*/ 4242571 w 6884782"/>
              <a:gd name="connsiteY54439" fmla="*/ 1462382 h 5973007"/>
              <a:gd name="connsiteX54440" fmla="*/ 1709510 w 6884782"/>
              <a:gd name="connsiteY54440" fmla="*/ 1462089 h 5973007"/>
              <a:gd name="connsiteX54441" fmla="*/ 1712298 w 6884782"/>
              <a:gd name="connsiteY54441" fmla="*/ 1467355 h 5973007"/>
              <a:gd name="connsiteX54442" fmla="*/ 1714776 w 6884782"/>
              <a:gd name="connsiteY54442" fmla="*/ 1468284 h 5973007"/>
              <a:gd name="connsiteX54443" fmla="*/ 1715809 w 6884782"/>
              <a:gd name="connsiteY54443" fmla="*/ 1473396 h 5973007"/>
              <a:gd name="connsiteX54444" fmla="*/ 1711575 w 6884782"/>
              <a:gd name="connsiteY54444" fmla="*/ 1473241 h 5973007"/>
              <a:gd name="connsiteX54445" fmla="*/ 1710646 w 6884782"/>
              <a:gd name="connsiteY54445" fmla="*/ 1466426 h 5973007"/>
              <a:gd name="connsiteX54446" fmla="*/ 1709407 w 6884782"/>
              <a:gd name="connsiteY54446" fmla="*/ 1464257 h 5973007"/>
              <a:gd name="connsiteX54447" fmla="*/ 1709510 w 6884782"/>
              <a:gd name="connsiteY54447" fmla="*/ 1462089 h 5973007"/>
              <a:gd name="connsiteX54448" fmla="*/ 1741416 w 6884782"/>
              <a:gd name="connsiteY54448" fmla="*/ 1461624 h 5973007"/>
              <a:gd name="connsiteX54449" fmla="*/ 1744411 w 6884782"/>
              <a:gd name="connsiteY54449" fmla="*/ 1466271 h 5973007"/>
              <a:gd name="connsiteX54450" fmla="*/ 1726547 w 6884782"/>
              <a:gd name="connsiteY54450" fmla="*/ 1466426 h 5973007"/>
              <a:gd name="connsiteX54451" fmla="*/ 1741416 w 6884782"/>
              <a:gd name="connsiteY54451" fmla="*/ 1461624 h 5973007"/>
              <a:gd name="connsiteX54452" fmla="*/ 5201466 w 6884782"/>
              <a:gd name="connsiteY54452" fmla="*/ 1461244 h 5973007"/>
              <a:gd name="connsiteX54453" fmla="*/ 5228784 w 6884782"/>
              <a:gd name="connsiteY54453" fmla="*/ 1473336 h 5973007"/>
              <a:gd name="connsiteX54454" fmla="*/ 5193783 w 6884782"/>
              <a:gd name="connsiteY54454" fmla="*/ 1466223 h 5973007"/>
              <a:gd name="connsiteX54455" fmla="*/ 5201466 w 6884782"/>
              <a:gd name="connsiteY54455" fmla="*/ 1461244 h 5973007"/>
              <a:gd name="connsiteX54456" fmla="*/ 3827683 w 6884782"/>
              <a:gd name="connsiteY54456" fmla="*/ 1460959 h 5973007"/>
              <a:gd name="connsiteX54457" fmla="*/ 3833019 w 6884782"/>
              <a:gd name="connsiteY54457" fmla="*/ 1465227 h 5973007"/>
              <a:gd name="connsiteX54458" fmla="*/ 3836007 w 6884782"/>
              <a:gd name="connsiteY54458" fmla="*/ 1472198 h 5973007"/>
              <a:gd name="connsiteX54459" fmla="*/ 3828323 w 6884782"/>
              <a:gd name="connsiteY54459" fmla="*/ 1472767 h 5973007"/>
              <a:gd name="connsiteX54460" fmla="*/ 3822561 w 6884782"/>
              <a:gd name="connsiteY54460" fmla="*/ 1464089 h 5973007"/>
              <a:gd name="connsiteX54461" fmla="*/ 3827683 w 6884782"/>
              <a:gd name="connsiteY54461" fmla="*/ 1460959 h 5973007"/>
              <a:gd name="connsiteX54462" fmla="*/ 1043817 w 6884782"/>
              <a:gd name="connsiteY54462" fmla="*/ 1460694 h 5973007"/>
              <a:gd name="connsiteX54463" fmla="*/ 1060855 w 6884782"/>
              <a:gd name="connsiteY54463" fmla="*/ 1468439 h 5973007"/>
              <a:gd name="connsiteX54464" fmla="*/ 1043817 w 6884782"/>
              <a:gd name="connsiteY54464" fmla="*/ 1460694 h 5973007"/>
              <a:gd name="connsiteX54465" fmla="*/ 1427827 w 6884782"/>
              <a:gd name="connsiteY54465" fmla="*/ 1460539 h 5973007"/>
              <a:gd name="connsiteX54466" fmla="*/ 1430202 w 6884782"/>
              <a:gd name="connsiteY54466" fmla="*/ 1462244 h 5973007"/>
              <a:gd name="connsiteX54467" fmla="*/ 1430512 w 6884782"/>
              <a:gd name="connsiteY54467" fmla="*/ 1465651 h 5973007"/>
              <a:gd name="connsiteX54468" fmla="*/ 1423284 w 6884782"/>
              <a:gd name="connsiteY54468" fmla="*/ 1466890 h 5973007"/>
              <a:gd name="connsiteX54469" fmla="*/ 1424936 w 6884782"/>
              <a:gd name="connsiteY54469" fmla="*/ 1461934 h 5973007"/>
              <a:gd name="connsiteX54470" fmla="*/ 1427827 w 6884782"/>
              <a:gd name="connsiteY54470" fmla="*/ 1460539 h 5973007"/>
              <a:gd name="connsiteX54471" fmla="*/ 4724473 w 6884782"/>
              <a:gd name="connsiteY54471" fmla="*/ 1460532 h 5973007"/>
              <a:gd name="connsiteX54472" fmla="*/ 4727034 w 6884782"/>
              <a:gd name="connsiteY54472" fmla="*/ 1470207 h 5973007"/>
              <a:gd name="connsiteX54473" fmla="*/ 4719991 w 6884782"/>
              <a:gd name="connsiteY54473" fmla="*/ 1466223 h 5973007"/>
              <a:gd name="connsiteX54474" fmla="*/ 4724473 w 6884782"/>
              <a:gd name="connsiteY54474" fmla="*/ 1460532 h 5973007"/>
              <a:gd name="connsiteX54475" fmla="*/ 5573883 w 6884782"/>
              <a:gd name="connsiteY54475" fmla="*/ 1459537 h 5973007"/>
              <a:gd name="connsiteX54476" fmla="*/ 5577085 w 6884782"/>
              <a:gd name="connsiteY54476" fmla="*/ 1463093 h 5973007"/>
              <a:gd name="connsiteX54477" fmla="*/ 5576658 w 6884782"/>
              <a:gd name="connsiteY54477" fmla="*/ 1465085 h 5973007"/>
              <a:gd name="connsiteX54478" fmla="*/ 5576018 w 6884782"/>
              <a:gd name="connsiteY54478" fmla="*/ 1466935 h 5973007"/>
              <a:gd name="connsiteX54479" fmla="*/ 5577939 w 6884782"/>
              <a:gd name="connsiteY54479" fmla="*/ 1467930 h 5973007"/>
              <a:gd name="connsiteX54480" fmla="*/ 5583487 w 6884782"/>
              <a:gd name="connsiteY54480" fmla="*/ 1470918 h 5973007"/>
              <a:gd name="connsiteX54481" fmla="*/ 5577939 w 6884782"/>
              <a:gd name="connsiteY54481" fmla="*/ 1477035 h 5973007"/>
              <a:gd name="connsiteX54482" fmla="*/ 5574097 w 6884782"/>
              <a:gd name="connsiteY54482" fmla="*/ 1471630 h 5973007"/>
              <a:gd name="connsiteX54483" fmla="*/ 5575591 w 6884782"/>
              <a:gd name="connsiteY54483" fmla="*/ 1467077 h 5973007"/>
              <a:gd name="connsiteX54484" fmla="*/ 5574737 w 6884782"/>
              <a:gd name="connsiteY54484" fmla="*/ 1467219 h 5973007"/>
              <a:gd name="connsiteX54485" fmla="*/ 5574951 w 6884782"/>
              <a:gd name="connsiteY54485" fmla="*/ 1466366 h 5973007"/>
              <a:gd name="connsiteX54486" fmla="*/ 5570469 w 6884782"/>
              <a:gd name="connsiteY54486" fmla="*/ 1464943 h 5973007"/>
              <a:gd name="connsiteX54487" fmla="*/ 5573883 w 6884782"/>
              <a:gd name="connsiteY54487" fmla="*/ 1459537 h 5973007"/>
              <a:gd name="connsiteX54488" fmla="*/ 4289096 w 6884782"/>
              <a:gd name="connsiteY54488" fmla="*/ 1459252 h 5973007"/>
              <a:gd name="connsiteX54489" fmla="*/ 4291444 w 6884782"/>
              <a:gd name="connsiteY54489" fmla="*/ 1459537 h 5973007"/>
              <a:gd name="connsiteX54490" fmla="*/ 4292724 w 6884782"/>
              <a:gd name="connsiteY54490" fmla="*/ 1462097 h 5973007"/>
              <a:gd name="connsiteX54491" fmla="*/ 4292938 w 6884782"/>
              <a:gd name="connsiteY54491" fmla="*/ 1466935 h 5973007"/>
              <a:gd name="connsiteX54492" fmla="*/ 4290804 w 6884782"/>
              <a:gd name="connsiteY54492" fmla="*/ 1469211 h 5973007"/>
              <a:gd name="connsiteX54493" fmla="*/ 4288456 w 6884782"/>
              <a:gd name="connsiteY54493" fmla="*/ 1467930 h 5973007"/>
              <a:gd name="connsiteX54494" fmla="*/ 4286109 w 6884782"/>
              <a:gd name="connsiteY54494" fmla="*/ 1467788 h 5973007"/>
              <a:gd name="connsiteX54495" fmla="*/ 4286109 w 6884782"/>
              <a:gd name="connsiteY54495" fmla="*/ 1466650 h 5973007"/>
              <a:gd name="connsiteX54496" fmla="*/ 4284828 w 6884782"/>
              <a:gd name="connsiteY54496" fmla="*/ 1465369 h 5973007"/>
              <a:gd name="connsiteX54497" fmla="*/ 4286962 w 6884782"/>
              <a:gd name="connsiteY54497" fmla="*/ 1460532 h 5973007"/>
              <a:gd name="connsiteX54498" fmla="*/ 4289096 w 6884782"/>
              <a:gd name="connsiteY54498" fmla="*/ 1459252 h 5973007"/>
              <a:gd name="connsiteX54499" fmla="*/ 4006956 w 6884782"/>
              <a:gd name="connsiteY54499" fmla="*/ 1458967 h 5973007"/>
              <a:gd name="connsiteX54500" fmla="*/ 4011011 w 6884782"/>
              <a:gd name="connsiteY54500" fmla="*/ 1463093 h 5973007"/>
              <a:gd name="connsiteX54501" fmla="*/ 4005035 w 6884782"/>
              <a:gd name="connsiteY54501" fmla="*/ 1466508 h 5973007"/>
              <a:gd name="connsiteX54502" fmla="*/ 4006956 w 6884782"/>
              <a:gd name="connsiteY54502" fmla="*/ 1458967 h 5973007"/>
              <a:gd name="connsiteX54503" fmla="*/ 4531328 w 6884782"/>
              <a:gd name="connsiteY54503" fmla="*/ 1458682 h 5973007"/>
              <a:gd name="connsiteX54504" fmla="*/ 4539651 w 6884782"/>
              <a:gd name="connsiteY54504" fmla="*/ 1468215 h 5973007"/>
              <a:gd name="connsiteX54505" fmla="*/ 4545627 w 6884782"/>
              <a:gd name="connsiteY54505" fmla="*/ 1474759 h 5973007"/>
              <a:gd name="connsiteX54506" fmla="*/ 4545627 w 6884782"/>
              <a:gd name="connsiteY54506" fmla="*/ 1474475 h 5973007"/>
              <a:gd name="connsiteX54507" fmla="*/ 4548828 w 6884782"/>
              <a:gd name="connsiteY54507" fmla="*/ 1472910 h 5973007"/>
              <a:gd name="connsiteX54508" fmla="*/ 4549469 w 6884782"/>
              <a:gd name="connsiteY54508" fmla="*/ 1475897 h 5973007"/>
              <a:gd name="connsiteX54509" fmla="*/ 4547761 w 6884782"/>
              <a:gd name="connsiteY54509" fmla="*/ 1477605 h 5973007"/>
              <a:gd name="connsiteX54510" fmla="*/ 4548188 w 6884782"/>
              <a:gd name="connsiteY54510" fmla="*/ 1478032 h 5973007"/>
              <a:gd name="connsiteX54511" fmla="*/ 4541572 w 6884782"/>
              <a:gd name="connsiteY54511" fmla="*/ 1495104 h 5973007"/>
              <a:gd name="connsiteX54512" fmla="*/ 4540078 w 6884782"/>
              <a:gd name="connsiteY54512" fmla="*/ 1488417 h 5973007"/>
              <a:gd name="connsiteX54513" fmla="*/ 4538371 w 6884782"/>
              <a:gd name="connsiteY54513" fmla="*/ 1489698 h 5973007"/>
              <a:gd name="connsiteX54514" fmla="*/ 4535383 w 6884782"/>
              <a:gd name="connsiteY54514" fmla="*/ 1487848 h 5973007"/>
              <a:gd name="connsiteX54515" fmla="*/ 4537304 w 6884782"/>
              <a:gd name="connsiteY54515" fmla="*/ 1485145 h 5973007"/>
              <a:gd name="connsiteX54516" fmla="*/ 4538584 w 6884782"/>
              <a:gd name="connsiteY54516" fmla="*/ 1484007 h 5973007"/>
              <a:gd name="connsiteX54517" fmla="*/ 4534529 w 6884782"/>
              <a:gd name="connsiteY54517" fmla="*/ 1475613 h 5973007"/>
              <a:gd name="connsiteX54518" fmla="*/ 4531328 w 6884782"/>
              <a:gd name="connsiteY54518" fmla="*/ 1458682 h 5973007"/>
              <a:gd name="connsiteX54519" fmla="*/ 4590445 w 6884782"/>
              <a:gd name="connsiteY54519" fmla="*/ 1458399 h 5973007"/>
              <a:gd name="connsiteX54520" fmla="*/ 4597702 w 6884782"/>
              <a:gd name="connsiteY54520" fmla="*/ 1458682 h 5973007"/>
              <a:gd name="connsiteX54521" fmla="*/ 4600476 w 6884782"/>
              <a:gd name="connsiteY54521" fmla="*/ 1464374 h 5973007"/>
              <a:gd name="connsiteX54522" fmla="*/ 4598982 w 6884782"/>
              <a:gd name="connsiteY54522" fmla="*/ 1471345 h 5973007"/>
              <a:gd name="connsiteX54523" fmla="*/ 4590445 w 6884782"/>
              <a:gd name="connsiteY54523" fmla="*/ 1458399 h 5973007"/>
              <a:gd name="connsiteX54524" fmla="*/ 1141291 w 6884782"/>
              <a:gd name="connsiteY54524" fmla="*/ 1457751 h 5973007"/>
              <a:gd name="connsiteX54525" fmla="*/ 1143976 w 6884782"/>
              <a:gd name="connsiteY54525" fmla="*/ 1457751 h 5973007"/>
              <a:gd name="connsiteX54526" fmla="*/ 1143872 w 6884782"/>
              <a:gd name="connsiteY54526" fmla="*/ 1462398 h 5973007"/>
              <a:gd name="connsiteX54527" fmla="*/ 1140052 w 6884782"/>
              <a:gd name="connsiteY54527" fmla="*/ 1461005 h 5973007"/>
              <a:gd name="connsiteX54528" fmla="*/ 1141291 w 6884782"/>
              <a:gd name="connsiteY54528" fmla="*/ 1457751 h 5973007"/>
              <a:gd name="connsiteX54529" fmla="*/ 4028085 w 6884782"/>
              <a:gd name="connsiteY54529" fmla="*/ 1456976 h 5973007"/>
              <a:gd name="connsiteX54530" fmla="*/ 4030859 w 6884782"/>
              <a:gd name="connsiteY54530" fmla="*/ 1458825 h 5973007"/>
              <a:gd name="connsiteX54531" fmla="*/ 4030645 w 6884782"/>
              <a:gd name="connsiteY54531" fmla="*/ 1464516 h 5973007"/>
              <a:gd name="connsiteX54532" fmla="*/ 4020188 w 6884782"/>
              <a:gd name="connsiteY54532" fmla="*/ 1463378 h 5973007"/>
              <a:gd name="connsiteX54533" fmla="*/ 4028085 w 6884782"/>
              <a:gd name="connsiteY54533" fmla="*/ 1456976 h 5973007"/>
              <a:gd name="connsiteX54534" fmla="*/ 1746063 w 6884782"/>
              <a:gd name="connsiteY54534" fmla="*/ 1456358 h 5973007"/>
              <a:gd name="connsiteX54535" fmla="*/ 1757937 w 6884782"/>
              <a:gd name="connsiteY54535" fmla="*/ 1456977 h 5973007"/>
              <a:gd name="connsiteX54536" fmla="*/ 1769502 w 6884782"/>
              <a:gd name="connsiteY54536" fmla="*/ 1461934 h 5973007"/>
              <a:gd name="connsiteX54537" fmla="*/ 1746063 w 6884782"/>
              <a:gd name="connsiteY54537" fmla="*/ 1456358 h 5973007"/>
              <a:gd name="connsiteX54538" fmla="*/ 1190338 w 6884782"/>
              <a:gd name="connsiteY54538" fmla="*/ 1456358 h 5973007"/>
              <a:gd name="connsiteX54539" fmla="*/ 1188376 w 6884782"/>
              <a:gd name="connsiteY54539" fmla="*/ 1461624 h 5973007"/>
              <a:gd name="connsiteX54540" fmla="*/ 1182181 w 6884782"/>
              <a:gd name="connsiteY54540" fmla="*/ 1462398 h 5973007"/>
              <a:gd name="connsiteX54541" fmla="*/ 1182697 w 6884782"/>
              <a:gd name="connsiteY54541" fmla="*/ 1465806 h 5973007"/>
              <a:gd name="connsiteX54542" fmla="*/ 1174953 w 6884782"/>
              <a:gd name="connsiteY54542" fmla="*/ 1469059 h 5973007"/>
              <a:gd name="connsiteX54543" fmla="*/ 1170823 w 6884782"/>
              <a:gd name="connsiteY54543" fmla="*/ 1464257 h 5973007"/>
              <a:gd name="connsiteX54544" fmla="*/ 1177844 w 6884782"/>
              <a:gd name="connsiteY54544" fmla="*/ 1457751 h 5973007"/>
              <a:gd name="connsiteX54545" fmla="*/ 1181664 w 6884782"/>
              <a:gd name="connsiteY54545" fmla="*/ 1460075 h 5973007"/>
              <a:gd name="connsiteX54546" fmla="*/ 1181768 w 6884782"/>
              <a:gd name="connsiteY54546" fmla="*/ 1459145 h 5973007"/>
              <a:gd name="connsiteX54547" fmla="*/ 1183833 w 6884782"/>
              <a:gd name="connsiteY54547" fmla="*/ 1457597 h 5973007"/>
              <a:gd name="connsiteX54548" fmla="*/ 1190338 w 6884782"/>
              <a:gd name="connsiteY54548" fmla="*/ 1456358 h 5973007"/>
              <a:gd name="connsiteX54549" fmla="*/ 4183240 w 6884782"/>
              <a:gd name="connsiteY54549" fmla="*/ 1455980 h 5973007"/>
              <a:gd name="connsiteX54550" fmla="*/ 4198180 w 6884782"/>
              <a:gd name="connsiteY54550" fmla="*/ 1460674 h 5973007"/>
              <a:gd name="connsiteX54551" fmla="*/ 4188576 w 6884782"/>
              <a:gd name="connsiteY54551" fmla="*/ 1472198 h 5973007"/>
              <a:gd name="connsiteX54552" fmla="*/ 4183240 w 6884782"/>
              <a:gd name="connsiteY54552" fmla="*/ 1455980 h 5973007"/>
              <a:gd name="connsiteX54553" fmla="*/ 1721385 w 6884782"/>
              <a:gd name="connsiteY54553" fmla="*/ 1455738 h 5973007"/>
              <a:gd name="connsiteX54554" fmla="*/ 1731710 w 6884782"/>
              <a:gd name="connsiteY54554" fmla="*/ 1457751 h 5973007"/>
              <a:gd name="connsiteX54555" fmla="*/ 1732536 w 6884782"/>
              <a:gd name="connsiteY54555" fmla="*/ 1459145 h 5973007"/>
              <a:gd name="connsiteX54556" fmla="*/ 1731298 w 6884782"/>
              <a:gd name="connsiteY54556" fmla="*/ 1461005 h 5973007"/>
              <a:gd name="connsiteX54557" fmla="*/ 1726961 w 6884782"/>
              <a:gd name="connsiteY54557" fmla="*/ 1460849 h 5973007"/>
              <a:gd name="connsiteX54558" fmla="*/ 1723863 w 6884782"/>
              <a:gd name="connsiteY54558" fmla="*/ 1457441 h 5973007"/>
              <a:gd name="connsiteX54559" fmla="*/ 1721281 w 6884782"/>
              <a:gd name="connsiteY54559" fmla="*/ 1456667 h 5973007"/>
              <a:gd name="connsiteX54560" fmla="*/ 1721385 w 6884782"/>
              <a:gd name="connsiteY54560" fmla="*/ 1455738 h 5973007"/>
              <a:gd name="connsiteX54561" fmla="*/ 1009226 w 6884782"/>
              <a:gd name="connsiteY54561" fmla="*/ 1455738 h 5973007"/>
              <a:gd name="connsiteX54562" fmla="*/ 1008710 w 6884782"/>
              <a:gd name="connsiteY54562" fmla="*/ 1466426 h 5973007"/>
              <a:gd name="connsiteX54563" fmla="*/ 1002721 w 6884782"/>
              <a:gd name="connsiteY54563" fmla="*/ 1461779 h 5973007"/>
              <a:gd name="connsiteX54564" fmla="*/ 1003237 w 6884782"/>
              <a:gd name="connsiteY54564" fmla="*/ 1458371 h 5973007"/>
              <a:gd name="connsiteX54565" fmla="*/ 1009226 w 6884782"/>
              <a:gd name="connsiteY54565" fmla="*/ 1455738 h 5973007"/>
              <a:gd name="connsiteX54566" fmla="*/ 1219766 w 6884782"/>
              <a:gd name="connsiteY54566" fmla="*/ 1454034 h 5973007"/>
              <a:gd name="connsiteX54567" fmla="*/ 1216152 w 6884782"/>
              <a:gd name="connsiteY54567" fmla="*/ 1458216 h 5973007"/>
              <a:gd name="connsiteX54568" fmla="*/ 1219766 w 6884782"/>
              <a:gd name="connsiteY54568" fmla="*/ 1454034 h 5973007"/>
              <a:gd name="connsiteX54569" fmla="*/ 3933753 w 6884782"/>
              <a:gd name="connsiteY54569" fmla="*/ 1453988 h 5973007"/>
              <a:gd name="connsiteX54570" fmla="*/ 3934820 w 6884782"/>
              <a:gd name="connsiteY54570" fmla="*/ 1456264 h 5973007"/>
              <a:gd name="connsiteX54571" fmla="*/ 3936741 w 6884782"/>
              <a:gd name="connsiteY54571" fmla="*/ 1463663 h 5973007"/>
              <a:gd name="connsiteX54572" fmla="*/ 3933326 w 6884782"/>
              <a:gd name="connsiteY54572" fmla="*/ 1462951 h 5973007"/>
              <a:gd name="connsiteX54573" fmla="*/ 3932899 w 6884782"/>
              <a:gd name="connsiteY54573" fmla="*/ 1459537 h 5973007"/>
              <a:gd name="connsiteX54574" fmla="*/ 3931618 w 6884782"/>
              <a:gd name="connsiteY54574" fmla="*/ 1457260 h 5973007"/>
              <a:gd name="connsiteX54575" fmla="*/ 3933753 w 6884782"/>
              <a:gd name="connsiteY54575" fmla="*/ 1453988 h 5973007"/>
              <a:gd name="connsiteX54576" fmla="*/ 4661514 w 6884782"/>
              <a:gd name="connsiteY54576" fmla="*/ 1453845 h 5973007"/>
              <a:gd name="connsiteX54577" fmla="*/ 4666636 w 6884782"/>
              <a:gd name="connsiteY54577" fmla="*/ 1459821 h 5973007"/>
              <a:gd name="connsiteX54578" fmla="*/ 4659593 w 6884782"/>
              <a:gd name="connsiteY54578" fmla="*/ 1469780 h 5973007"/>
              <a:gd name="connsiteX54579" fmla="*/ 4661514 w 6884782"/>
              <a:gd name="connsiteY54579" fmla="*/ 1453845 h 5973007"/>
              <a:gd name="connsiteX54580" fmla="*/ 3907502 w 6884782"/>
              <a:gd name="connsiteY54580" fmla="*/ 1453704 h 5973007"/>
              <a:gd name="connsiteX54581" fmla="*/ 3909637 w 6884782"/>
              <a:gd name="connsiteY54581" fmla="*/ 1464516 h 5973007"/>
              <a:gd name="connsiteX54582" fmla="*/ 3907929 w 6884782"/>
              <a:gd name="connsiteY54582" fmla="*/ 1466935 h 5973007"/>
              <a:gd name="connsiteX54583" fmla="*/ 3905154 w 6884782"/>
              <a:gd name="connsiteY54583" fmla="*/ 1465085 h 5973007"/>
              <a:gd name="connsiteX54584" fmla="*/ 3907502 w 6884782"/>
              <a:gd name="connsiteY54584" fmla="*/ 1453704 h 5973007"/>
              <a:gd name="connsiteX54585" fmla="*/ 1227097 w 6884782"/>
              <a:gd name="connsiteY54585" fmla="*/ 1453415 h 5973007"/>
              <a:gd name="connsiteX54586" fmla="*/ 1230298 w 6884782"/>
              <a:gd name="connsiteY54586" fmla="*/ 1453569 h 5973007"/>
              <a:gd name="connsiteX54587" fmla="*/ 1232879 w 6884782"/>
              <a:gd name="connsiteY54587" fmla="*/ 1456203 h 5973007"/>
              <a:gd name="connsiteX54588" fmla="*/ 1227717 w 6884782"/>
              <a:gd name="connsiteY54588" fmla="*/ 1460694 h 5973007"/>
              <a:gd name="connsiteX54589" fmla="*/ 1225755 w 6884782"/>
              <a:gd name="connsiteY54589" fmla="*/ 1455893 h 5973007"/>
              <a:gd name="connsiteX54590" fmla="*/ 1227097 w 6884782"/>
              <a:gd name="connsiteY54590" fmla="*/ 1453415 h 5973007"/>
              <a:gd name="connsiteX54591" fmla="*/ 5025821 w 6884782"/>
              <a:gd name="connsiteY54591" fmla="*/ 1453135 h 5973007"/>
              <a:gd name="connsiteX54592" fmla="*/ 5026035 w 6884782"/>
              <a:gd name="connsiteY54592" fmla="*/ 1458114 h 5973007"/>
              <a:gd name="connsiteX54593" fmla="*/ 5023688 w 6884782"/>
              <a:gd name="connsiteY54593" fmla="*/ 1457972 h 5973007"/>
              <a:gd name="connsiteX54594" fmla="*/ 5006614 w 6884782"/>
              <a:gd name="connsiteY54594" fmla="*/ 1463236 h 5973007"/>
              <a:gd name="connsiteX54595" fmla="*/ 5025821 w 6884782"/>
              <a:gd name="connsiteY54595" fmla="*/ 1453135 h 5973007"/>
              <a:gd name="connsiteX54596" fmla="*/ 4613068 w 6884782"/>
              <a:gd name="connsiteY54596" fmla="*/ 1452423 h 5973007"/>
              <a:gd name="connsiteX54597" fmla="*/ 4618403 w 6884782"/>
              <a:gd name="connsiteY54597" fmla="*/ 1464089 h 5973007"/>
              <a:gd name="connsiteX54598" fmla="*/ 4609653 w 6884782"/>
              <a:gd name="connsiteY54598" fmla="*/ 1452708 h 5973007"/>
              <a:gd name="connsiteX54599" fmla="*/ 4613068 w 6884782"/>
              <a:gd name="connsiteY54599" fmla="*/ 1452423 h 5973007"/>
              <a:gd name="connsiteX54600" fmla="*/ 4469650 w 6884782"/>
              <a:gd name="connsiteY54600" fmla="*/ 1452281 h 5973007"/>
              <a:gd name="connsiteX54601" fmla="*/ 4476479 w 6884782"/>
              <a:gd name="connsiteY54601" fmla="*/ 1485003 h 5973007"/>
              <a:gd name="connsiteX54602" fmla="*/ 4469650 w 6884782"/>
              <a:gd name="connsiteY54602" fmla="*/ 1452281 h 5973007"/>
              <a:gd name="connsiteX54603" fmla="*/ 1416882 w 6884782"/>
              <a:gd name="connsiteY54603" fmla="*/ 1452175 h 5973007"/>
              <a:gd name="connsiteX54604" fmla="*/ 1417811 w 6884782"/>
              <a:gd name="connsiteY54604" fmla="*/ 1452175 h 5973007"/>
              <a:gd name="connsiteX54605" fmla="*/ 1416263 w 6884782"/>
              <a:gd name="connsiteY54605" fmla="*/ 1452640 h 5973007"/>
              <a:gd name="connsiteX54606" fmla="*/ 1416882 w 6884782"/>
              <a:gd name="connsiteY54606" fmla="*/ 1452175 h 5973007"/>
              <a:gd name="connsiteX54607" fmla="*/ 5102013 w 6884782"/>
              <a:gd name="connsiteY54607" fmla="*/ 1452138 h 5973007"/>
              <a:gd name="connsiteX54608" fmla="*/ 5103293 w 6884782"/>
              <a:gd name="connsiteY54608" fmla="*/ 1453561 h 5973007"/>
              <a:gd name="connsiteX54609" fmla="*/ 5104147 w 6884782"/>
              <a:gd name="connsiteY54609" fmla="*/ 1456264 h 5973007"/>
              <a:gd name="connsiteX54610" fmla="*/ 5098598 w 6884782"/>
              <a:gd name="connsiteY54610" fmla="*/ 1458399 h 5973007"/>
              <a:gd name="connsiteX54611" fmla="*/ 5096037 w 6884782"/>
              <a:gd name="connsiteY54611" fmla="*/ 1455980 h 5973007"/>
              <a:gd name="connsiteX54612" fmla="*/ 5098598 w 6884782"/>
              <a:gd name="connsiteY54612" fmla="*/ 1452992 h 5973007"/>
              <a:gd name="connsiteX54613" fmla="*/ 5102013 w 6884782"/>
              <a:gd name="connsiteY54613" fmla="*/ 1452138 h 5973007"/>
              <a:gd name="connsiteX54614" fmla="*/ 5136373 w 6884782"/>
              <a:gd name="connsiteY54614" fmla="*/ 1451285 h 5973007"/>
              <a:gd name="connsiteX54615" fmla="*/ 5143843 w 6884782"/>
              <a:gd name="connsiteY54615" fmla="*/ 1452565 h 5973007"/>
              <a:gd name="connsiteX54616" fmla="*/ 5133598 w 6884782"/>
              <a:gd name="connsiteY54616" fmla="*/ 1465227 h 5973007"/>
              <a:gd name="connsiteX54617" fmla="*/ 5130611 w 6884782"/>
              <a:gd name="connsiteY54617" fmla="*/ 1453988 h 5973007"/>
              <a:gd name="connsiteX54618" fmla="*/ 5136373 w 6884782"/>
              <a:gd name="connsiteY54618" fmla="*/ 1451285 h 5973007"/>
              <a:gd name="connsiteX54619" fmla="*/ 4387056 w 6884782"/>
              <a:gd name="connsiteY54619" fmla="*/ 1450716 h 5973007"/>
              <a:gd name="connsiteX54620" fmla="*/ 4392605 w 6884782"/>
              <a:gd name="connsiteY54620" fmla="*/ 1456264 h 5973007"/>
              <a:gd name="connsiteX54621" fmla="*/ 4393672 w 6884782"/>
              <a:gd name="connsiteY54621" fmla="*/ 1460248 h 5973007"/>
              <a:gd name="connsiteX54622" fmla="*/ 4402636 w 6884782"/>
              <a:gd name="connsiteY54622" fmla="*/ 1461244 h 5973007"/>
              <a:gd name="connsiteX54623" fmla="*/ 4407545 w 6884782"/>
              <a:gd name="connsiteY54623" fmla="*/ 1465512 h 5973007"/>
              <a:gd name="connsiteX54624" fmla="*/ 4407758 w 6884782"/>
              <a:gd name="connsiteY54624" fmla="*/ 1474332 h 5973007"/>
              <a:gd name="connsiteX54625" fmla="*/ 4394313 w 6884782"/>
              <a:gd name="connsiteY54625" fmla="*/ 1482299 h 5973007"/>
              <a:gd name="connsiteX54626" fmla="*/ 4392392 w 6884782"/>
              <a:gd name="connsiteY54626" fmla="*/ 1481446 h 5973007"/>
              <a:gd name="connsiteX54627" fmla="*/ 4388550 w 6884782"/>
              <a:gd name="connsiteY54627" fmla="*/ 1485003 h 5973007"/>
              <a:gd name="connsiteX54628" fmla="*/ 4384709 w 6884782"/>
              <a:gd name="connsiteY54628" fmla="*/ 1484433 h 5973007"/>
              <a:gd name="connsiteX54629" fmla="*/ 4382575 w 6884782"/>
              <a:gd name="connsiteY54629" fmla="*/ 1482299 h 5973007"/>
              <a:gd name="connsiteX54630" fmla="*/ 4380227 w 6884782"/>
              <a:gd name="connsiteY54630" fmla="*/ 1486710 h 5973007"/>
              <a:gd name="connsiteX54631" fmla="*/ 4374038 w 6884782"/>
              <a:gd name="connsiteY54631" fmla="*/ 1493254 h 5973007"/>
              <a:gd name="connsiteX54632" fmla="*/ 4374251 w 6884782"/>
              <a:gd name="connsiteY54632" fmla="*/ 1489413 h 5973007"/>
              <a:gd name="connsiteX54633" fmla="*/ 4374891 w 6884782"/>
              <a:gd name="connsiteY54633" fmla="*/ 1487848 h 5973007"/>
              <a:gd name="connsiteX54634" fmla="*/ 4374678 w 6884782"/>
              <a:gd name="connsiteY54634" fmla="*/ 1486568 h 5973007"/>
              <a:gd name="connsiteX54635" fmla="*/ 4375745 w 6884782"/>
              <a:gd name="connsiteY54635" fmla="*/ 1486141 h 5973007"/>
              <a:gd name="connsiteX54636" fmla="*/ 4377239 w 6884782"/>
              <a:gd name="connsiteY54636" fmla="*/ 1483011 h 5973007"/>
              <a:gd name="connsiteX54637" fmla="*/ 4378306 w 6884782"/>
              <a:gd name="connsiteY54637" fmla="*/ 1475044 h 5973007"/>
              <a:gd name="connsiteX54638" fmla="*/ 4378733 w 6884782"/>
              <a:gd name="connsiteY54638" fmla="*/ 1474475 h 5973007"/>
              <a:gd name="connsiteX54639" fmla="*/ 4376385 w 6884782"/>
              <a:gd name="connsiteY54639" fmla="*/ 1470918 h 5973007"/>
              <a:gd name="connsiteX54640" fmla="*/ 4387056 w 6884782"/>
              <a:gd name="connsiteY54640" fmla="*/ 1450716 h 5973007"/>
              <a:gd name="connsiteX54641" fmla="*/ 5951637 w 6884782"/>
              <a:gd name="connsiteY54641" fmla="*/ 1450574 h 5973007"/>
              <a:gd name="connsiteX54642" fmla="*/ 5953984 w 6884782"/>
              <a:gd name="connsiteY54642" fmla="*/ 1457402 h 5973007"/>
              <a:gd name="connsiteX54643" fmla="*/ 5940539 w 6884782"/>
              <a:gd name="connsiteY54643" fmla="*/ 1462382 h 5973007"/>
              <a:gd name="connsiteX54644" fmla="*/ 5938618 w 6884782"/>
              <a:gd name="connsiteY54644" fmla="*/ 1457972 h 5973007"/>
              <a:gd name="connsiteX54645" fmla="*/ 5951637 w 6884782"/>
              <a:gd name="connsiteY54645" fmla="*/ 1450574 h 5973007"/>
              <a:gd name="connsiteX54646" fmla="*/ 1542029 w 6884782"/>
              <a:gd name="connsiteY54646" fmla="*/ 1450472 h 5973007"/>
              <a:gd name="connsiteX54647" fmla="*/ 1537072 w 6884782"/>
              <a:gd name="connsiteY54647" fmla="*/ 1457597 h 5973007"/>
              <a:gd name="connsiteX54648" fmla="*/ 1536453 w 6884782"/>
              <a:gd name="connsiteY54648" fmla="*/ 1455738 h 5973007"/>
              <a:gd name="connsiteX54649" fmla="*/ 1536969 w 6884782"/>
              <a:gd name="connsiteY54649" fmla="*/ 1453879 h 5973007"/>
              <a:gd name="connsiteX54650" fmla="*/ 1540067 w 6884782"/>
              <a:gd name="connsiteY54650" fmla="*/ 1450936 h 5973007"/>
              <a:gd name="connsiteX54651" fmla="*/ 1542029 w 6884782"/>
              <a:gd name="connsiteY54651" fmla="*/ 1450472 h 5973007"/>
              <a:gd name="connsiteX54652" fmla="*/ 4956460 w 6884782"/>
              <a:gd name="connsiteY54652" fmla="*/ 1450005 h 5973007"/>
              <a:gd name="connsiteX54653" fmla="*/ 4957741 w 6884782"/>
              <a:gd name="connsiteY54653" fmla="*/ 1453704 h 5973007"/>
              <a:gd name="connsiteX54654" fmla="*/ 4955393 w 6884782"/>
              <a:gd name="connsiteY54654" fmla="*/ 1455980 h 5973007"/>
              <a:gd name="connsiteX54655" fmla="*/ 4954326 w 6884782"/>
              <a:gd name="connsiteY54655" fmla="*/ 1458256 h 5973007"/>
              <a:gd name="connsiteX54656" fmla="*/ 4950911 w 6884782"/>
              <a:gd name="connsiteY54656" fmla="*/ 1458114 h 5973007"/>
              <a:gd name="connsiteX54657" fmla="*/ 4951979 w 6884782"/>
              <a:gd name="connsiteY54657" fmla="*/ 1455837 h 5973007"/>
              <a:gd name="connsiteX54658" fmla="*/ 4956460 w 6884782"/>
              <a:gd name="connsiteY54658" fmla="*/ 1450005 h 5973007"/>
              <a:gd name="connsiteX54659" fmla="*/ 3834085 w 6884782"/>
              <a:gd name="connsiteY54659" fmla="*/ 1449862 h 5973007"/>
              <a:gd name="connsiteX54660" fmla="*/ 3840488 w 6884782"/>
              <a:gd name="connsiteY54660" fmla="*/ 1453419 h 5973007"/>
              <a:gd name="connsiteX54661" fmla="*/ 3844970 w 6884782"/>
              <a:gd name="connsiteY54661" fmla="*/ 1458541 h 5973007"/>
              <a:gd name="connsiteX54662" fmla="*/ 3846678 w 6884782"/>
              <a:gd name="connsiteY54662" fmla="*/ 1453561 h 5973007"/>
              <a:gd name="connsiteX54663" fmla="*/ 3851373 w 6884782"/>
              <a:gd name="connsiteY54663" fmla="*/ 1451712 h 5973007"/>
              <a:gd name="connsiteX54664" fmla="*/ 3848811 w 6884782"/>
              <a:gd name="connsiteY54664" fmla="*/ 1456549 h 5973007"/>
              <a:gd name="connsiteX54665" fmla="*/ 3845184 w 6884782"/>
              <a:gd name="connsiteY54665" fmla="*/ 1458967 h 5973007"/>
              <a:gd name="connsiteX54666" fmla="*/ 3845824 w 6884782"/>
              <a:gd name="connsiteY54666" fmla="*/ 1459394 h 5973007"/>
              <a:gd name="connsiteX54667" fmla="*/ 3847958 w 6884782"/>
              <a:gd name="connsiteY54667" fmla="*/ 1466366 h 5973007"/>
              <a:gd name="connsiteX54668" fmla="*/ 3846678 w 6884782"/>
              <a:gd name="connsiteY54668" fmla="*/ 1470065 h 5973007"/>
              <a:gd name="connsiteX54669" fmla="*/ 3848811 w 6884782"/>
              <a:gd name="connsiteY54669" fmla="*/ 1471203 h 5973007"/>
              <a:gd name="connsiteX54670" fmla="*/ 3842623 w 6884782"/>
              <a:gd name="connsiteY54670" fmla="*/ 1491547 h 5973007"/>
              <a:gd name="connsiteX54671" fmla="*/ 3840702 w 6884782"/>
              <a:gd name="connsiteY54671" fmla="*/ 1470491 h 5973007"/>
              <a:gd name="connsiteX54672" fmla="*/ 3843690 w 6884782"/>
              <a:gd name="connsiteY54672" fmla="*/ 1469922 h 5973007"/>
              <a:gd name="connsiteX54673" fmla="*/ 3838781 w 6884782"/>
              <a:gd name="connsiteY54673" fmla="*/ 1461813 h 5973007"/>
              <a:gd name="connsiteX54674" fmla="*/ 3834085 w 6884782"/>
              <a:gd name="connsiteY54674" fmla="*/ 1449862 h 5973007"/>
              <a:gd name="connsiteX54675" fmla="*/ 4243852 w 6884782"/>
              <a:gd name="connsiteY54675" fmla="*/ 1449293 h 5973007"/>
              <a:gd name="connsiteX54676" fmla="*/ 4253242 w 6884782"/>
              <a:gd name="connsiteY54676" fmla="*/ 1453704 h 5973007"/>
              <a:gd name="connsiteX54677" fmla="*/ 4243852 w 6884782"/>
              <a:gd name="connsiteY54677" fmla="*/ 1449293 h 5973007"/>
              <a:gd name="connsiteX54678" fmla="*/ 5386074 w 6884782"/>
              <a:gd name="connsiteY54678" fmla="*/ 1449151 h 5973007"/>
              <a:gd name="connsiteX54679" fmla="*/ 5387568 w 6884782"/>
              <a:gd name="connsiteY54679" fmla="*/ 1450716 h 5973007"/>
              <a:gd name="connsiteX54680" fmla="*/ 5388635 w 6884782"/>
              <a:gd name="connsiteY54680" fmla="*/ 1453419 h 5973007"/>
              <a:gd name="connsiteX54681" fmla="*/ 5383300 w 6884782"/>
              <a:gd name="connsiteY54681" fmla="*/ 1455410 h 5973007"/>
              <a:gd name="connsiteX54682" fmla="*/ 5380525 w 6884782"/>
              <a:gd name="connsiteY54682" fmla="*/ 1452992 h 5973007"/>
              <a:gd name="connsiteX54683" fmla="*/ 5382659 w 6884782"/>
              <a:gd name="connsiteY54683" fmla="*/ 1450146 h 5973007"/>
              <a:gd name="connsiteX54684" fmla="*/ 5386074 w 6884782"/>
              <a:gd name="connsiteY54684" fmla="*/ 1449151 h 5973007"/>
              <a:gd name="connsiteX54685" fmla="*/ 4005675 w 6884782"/>
              <a:gd name="connsiteY54685" fmla="*/ 1448866 h 5973007"/>
              <a:gd name="connsiteX54686" fmla="*/ 4011224 w 6884782"/>
              <a:gd name="connsiteY54686" fmla="*/ 1452423 h 5973007"/>
              <a:gd name="connsiteX54687" fmla="*/ 4010797 w 6884782"/>
              <a:gd name="connsiteY54687" fmla="*/ 1455127 h 5973007"/>
              <a:gd name="connsiteX54688" fmla="*/ 4002047 w 6884782"/>
              <a:gd name="connsiteY54688" fmla="*/ 1452423 h 5973007"/>
              <a:gd name="connsiteX54689" fmla="*/ 4002474 w 6884782"/>
              <a:gd name="connsiteY54689" fmla="*/ 1449862 h 5973007"/>
              <a:gd name="connsiteX54690" fmla="*/ 4005675 w 6884782"/>
              <a:gd name="connsiteY54690" fmla="*/ 1448866 h 5973007"/>
              <a:gd name="connsiteX54691" fmla="*/ 3858415 w 6884782"/>
              <a:gd name="connsiteY54691" fmla="*/ 1448866 h 5973007"/>
              <a:gd name="connsiteX54692" fmla="*/ 3863537 w 6884782"/>
              <a:gd name="connsiteY54692" fmla="*/ 1453561 h 5973007"/>
              <a:gd name="connsiteX54693" fmla="*/ 3858629 w 6884782"/>
              <a:gd name="connsiteY54693" fmla="*/ 1460817 h 5973007"/>
              <a:gd name="connsiteX54694" fmla="*/ 3855855 w 6884782"/>
              <a:gd name="connsiteY54694" fmla="*/ 1454700 h 5973007"/>
              <a:gd name="connsiteX54695" fmla="*/ 3856708 w 6884782"/>
              <a:gd name="connsiteY54695" fmla="*/ 1453135 h 5973007"/>
              <a:gd name="connsiteX54696" fmla="*/ 3857135 w 6884782"/>
              <a:gd name="connsiteY54696" fmla="*/ 1451996 h 5973007"/>
              <a:gd name="connsiteX54697" fmla="*/ 5511565 w 6884782"/>
              <a:gd name="connsiteY54697" fmla="*/ 1448155 h 5973007"/>
              <a:gd name="connsiteX54698" fmla="*/ 5516901 w 6884782"/>
              <a:gd name="connsiteY54698" fmla="*/ 1448440 h 5973007"/>
              <a:gd name="connsiteX54699" fmla="*/ 5524370 w 6884782"/>
              <a:gd name="connsiteY54699" fmla="*/ 1454272 h 5973007"/>
              <a:gd name="connsiteX54700" fmla="*/ 5512419 w 6884782"/>
              <a:gd name="connsiteY54700" fmla="*/ 1467930 h 5973007"/>
              <a:gd name="connsiteX54701" fmla="*/ 5505162 w 6884782"/>
              <a:gd name="connsiteY54701" fmla="*/ 1460532 h 5973007"/>
              <a:gd name="connsiteX54702" fmla="*/ 5511565 w 6884782"/>
              <a:gd name="connsiteY54702" fmla="*/ 1448155 h 5973007"/>
              <a:gd name="connsiteX54703" fmla="*/ 4991888 w 6884782"/>
              <a:gd name="connsiteY54703" fmla="*/ 1447443 h 5973007"/>
              <a:gd name="connsiteX54704" fmla="*/ 4993168 w 6884782"/>
              <a:gd name="connsiteY54704" fmla="*/ 1448298 h 5973007"/>
              <a:gd name="connsiteX54705" fmla="*/ 4991034 w 6884782"/>
              <a:gd name="connsiteY54705" fmla="*/ 1448440 h 5973007"/>
              <a:gd name="connsiteX54706" fmla="*/ 4991888 w 6884782"/>
              <a:gd name="connsiteY54706" fmla="*/ 1447443 h 5973007"/>
              <a:gd name="connsiteX54707" fmla="*/ 5706204 w 6884782"/>
              <a:gd name="connsiteY54707" fmla="*/ 1447301 h 5973007"/>
              <a:gd name="connsiteX54708" fmla="*/ 5720289 w 6884782"/>
              <a:gd name="connsiteY54708" fmla="*/ 1465085 h 5973007"/>
              <a:gd name="connsiteX54709" fmla="*/ 5720716 w 6884782"/>
              <a:gd name="connsiteY54709" fmla="*/ 1467646 h 5973007"/>
              <a:gd name="connsiteX54710" fmla="*/ 5718582 w 6884782"/>
              <a:gd name="connsiteY54710" fmla="*/ 1469780 h 5973007"/>
              <a:gd name="connsiteX54711" fmla="*/ 5706844 w 6884782"/>
              <a:gd name="connsiteY54711" fmla="*/ 1460817 h 5973007"/>
              <a:gd name="connsiteX54712" fmla="*/ 5706417 w 6884782"/>
              <a:gd name="connsiteY54712" fmla="*/ 1457545 h 5973007"/>
              <a:gd name="connsiteX54713" fmla="*/ 5705137 w 6884782"/>
              <a:gd name="connsiteY54713" fmla="*/ 1455268 h 5973007"/>
              <a:gd name="connsiteX54714" fmla="*/ 5706204 w 6884782"/>
              <a:gd name="connsiteY54714" fmla="*/ 1447301 h 5973007"/>
              <a:gd name="connsiteX54715" fmla="*/ 4035341 w 6884782"/>
              <a:gd name="connsiteY54715" fmla="*/ 1447017 h 5973007"/>
              <a:gd name="connsiteX54716" fmla="*/ 4036408 w 6884782"/>
              <a:gd name="connsiteY54716" fmla="*/ 1448013 h 5973007"/>
              <a:gd name="connsiteX54717" fmla="*/ 4034273 w 6884782"/>
              <a:gd name="connsiteY54717" fmla="*/ 1448013 h 5973007"/>
              <a:gd name="connsiteX54718" fmla="*/ 4035341 w 6884782"/>
              <a:gd name="connsiteY54718" fmla="*/ 1447017 h 5973007"/>
              <a:gd name="connsiteX54719" fmla="*/ 1169584 w 6884782"/>
              <a:gd name="connsiteY54719" fmla="*/ 1446599 h 5973007"/>
              <a:gd name="connsiteX54720" fmla="*/ 1169377 w 6884782"/>
              <a:gd name="connsiteY54720" fmla="*/ 1451865 h 5973007"/>
              <a:gd name="connsiteX54721" fmla="*/ 1168861 w 6884782"/>
              <a:gd name="connsiteY54721" fmla="*/ 1448303 h 5973007"/>
              <a:gd name="connsiteX54722" fmla="*/ 1169584 w 6884782"/>
              <a:gd name="connsiteY54722" fmla="*/ 1446599 h 5973007"/>
              <a:gd name="connsiteX54723" fmla="*/ 1396747 w 6884782"/>
              <a:gd name="connsiteY54723" fmla="*/ 1445979 h 5973007"/>
              <a:gd name="connsiteX54724" fmla="*/ 1398502 w 6884782"/>
              <a:gd name="connsiteY54724" fmla="*/ 1447064 h 5973007"/>
              <a:gd name="connsiteX54725" fmla="*/ 1396850 w 6884782"/>
              <a:gd name="connsiteY54725" fmla="*/ 1450781 h 5973007"/>
              <a:gd name="connsiteX54726" fmla="*/ 1397263 w 6884782"/>
              <a:gd name="connsiteY54726" fmla="*/ 1451556 h 5973007"/>
              <a:gd name="connsiteX54727" fmla="*/ 1399741 w 6884782"/>
              <a:gd name="connsiteY54727" fmla="*/ 1452330 h 5973007"/>
              <a:gd name="connsiteX54728" fmla="*/ 1404388 w 6884782"/>
              <a:gd name="connsiteY54728" fmla="*/ 1459765 h 5973007"/>
              <a:gd name="connsiteX54729" fmla="*/ 1397573 w 6884782"/>
              <a:gd name="connsiteY54729" fmla="*/ 1466116 h 5973007"/>
              <a:gd name="connsiteX54730" fmla="*/ 1395611 w 6884782"/>
              <a:gd name="connsiteY54730" fmla="*/ 1466116 h 5973007"/>
              <a:gd name="connsiteX54731" fmla="*/ 1402116 w 6884782"/>
              <a:gd name="connsiteY54731" fmla="*/ 1470298 h 5973007"/>
              <a:gd name="connsiteX54732" fmla="*/ 1402529 w 6884782"/>
              <a:gd name="connsiteY54732" fmla="*/ 1472931 h 5973007"/>
              <a:gd name="connsiteX54733" fmla="*/ 1382498 w 6884782"/>
              <a:gd name="connsiteY54733" fmla="*/ 1486252 h 5973007"/>
              <a:gd name="connsiteX54734" fmla="*/ 1382291 w 6884782"/>
              <a:gd name="connsiteY54734" fmla="*/ 1486252 h 5973007"/>
              <a:gd name="connsiteX54735" fmla="*/ 1382601 w 6884782"/>
              <a:gd name="connsiteY54735" fmla="*/ 1487646 h 5973007"/>
              <a:gd name="connsiteX54736" fmla="*/ 1381156 w 6884782"/>
              <a:gd name="connsiteY54736" fmla="*/ 1488421 h 5973007"/>
              <a:gd name="connsiteX54737" fmla="*/ 1380639 w 6884782"/>
              <a:gd name="connsiteY54737" fmla="*/ 1489970 h 5973007"/>
              <a:gd name="connsiteX54738" fmla="*/ 1382807 w 6884782"/>
              <a:gd name="connsiteY54738" fmla="*/ 1491364 h 5973007"/>
              <a:gd name="connsiteX54739" fmla="*/ 1383324 w 6884782"/>
              <a:gd name="connsiteY54739" fmla="*/ 1493842 h 5973007"/>
              <a:gd name="connsiteX54740" fmla="*/ 1384563 w 6884782"/>
              <a:gd name="connsiteY54740" fmla="*/ 1493378 h 5973007"/>
              <a:gd name="connsiteX54741" fmla="*/ 1412235 w 6884782"/>
              <a:gd name="connsiteY54741" fmla="*/ 1477269 h 5973007"/>
              <a:gd name="connsiteX54742" fmla="*/ 1412132 w 6884782"/>
              <a:gd name="connsiteY54742" fmla="*/ 1479437 h 5973007"/>
              <a:gd name="connsiteX54743" fmla="*/ 1413165 w 6884782"/>
              <a:gd name="connsiteY54743" fmla="*/ 1479282 h 5973007"/>
              <a:gd name="connsiteX54744" fmla="*/ 1416056 w 6884782"/>
              <a:gd name="connsiteY54744" fmla="*/ 1486717 h 5973007"/>
              <a:gd name="connsiteX54745" fmla="*/ 1413784 w 6884782"/>
              <a:gd name="connsiteY54745" fmla="*/ 1489660 h 5973007"/>
              <a:gd name="connsiteX54746" fmla="*/ 1416366 w 6884782"/>
              <a:gd name="connsiteY54746" fmla="*/ 1494617 h 5973007"/>
              <a:gd name="connsiteX54747" fmla="*/ 1418534 w 6884782"/>
              <a:gd name="connsiteY54747" fmla="*/ 1499728 h 5973007"/>
              <a:gd name="connsiteX54748" fmla="*/ 1417811 w 6884782"/>
              <a:gd name="connsiteY54748" fmla="*/ 1507473 h 5973007"/>
              <a:gd name="connsiteX54749" fmla="*/ 1380949 w 6884782"/>
              <a:gd name="connsiteY54749" fmla="*/ 1501897 h 5973007"/>
              <a:gd name="connsiteX54750" fmla="*/ 1383634 w 6884782"/>
              <a:gd name="connsiteY54750" fmla="*/ 1495701 h 5973007"/>
              <a:gd name="connsiteX54751" fmla="*/ 1380226 w 6884782"/>
              <a:gd name="connsiteY54751" fmla="*/ 1498644 h 5973007"/>
              <a:gd name="connsiteX54752" fmla="*/ 1379090 w 6884782"/>
              <a:gd name="connsiteY54752" fmla="*/ 1499264 h 5973007"/>
              <a:gd name="connsiteX54753" fmla="*/ 1377541 w 6884782"/>
              <a:gd name="connsiteY54753" fmla="*/ 1500968 h 5973007"/>
              <a:gd name="connsiteX54754" fmla="*/ 1370520 w 6884782"/>
              <a:gd name="connsiteY54754" fmla="*/ 1500813 h 5973007"/>
              <a:gd name="connsiteX54755" fmla="*/ 1371449 w 6884782"/>
              <a:gd name="connsiteY54755" fmla="*/ 1501122 h 5973007"/>
              <a:gd name="connsiteX54756" fmla="*/ 1368558 w 6884782"/>
              <a:gd name="connsiteY54756" fmla="*/ 1504530 h 5973007"/>
              <a:gd name="connsiteX54757" fmla="*/ 1370210 w 6884782"/>
              <a:gd name="connsiteY54757" fmla="*/ 1500813 h 5973007"/>
              <a:gd name="connsiteX54758" fmla="*/ 1368868 w 6884782"/>
              <a:gd name="connsiteY54758" fmla="*/ 1500813 h 5973007"/>
              <a:gd name="connsiteX54759" fmla="*/ 1367319 w 6884782"/>
              <a:gd name="connsiteY54759" fmla="*/ 1498489 h 5973007"/>
              <a:gd name="connsiteX54760" fmla="*/ 1373411 w 6884782"/>
              <a:gd name="connsiteY54760" fmla="*/ 1489970 h 5973007"/>
              <a:gd name="connsiteX54761" fmla="*/ 1377129 w 6884782"/>
              <a:gd name="connsiteY54761" fmla="*/ 1489350 h 5973007"/>
              <a:gd name="connsiteX54762" fmla="*/ 1379194 w 6884782"/>
              <a:gd name="connsiteY54762" fmla="*/ 1487646 h 5973007"/>
              <a:gd name="connsiteX54763" fmla="*/ 1380123 w 6884782"/>
              <a:gd name="connsiteY54763" fmla="*/ 1485942 h 5973007"/>
              <a:gd name="connsiteX54764" fmla="*/ 1373721 w 6884782"/>
              <a:gd name="connsiteY54764" fmla="*/ 1485168 h 5973007"/>
              <a:gd name="connsiteX54765" fmla="*/ 1370624 w 6884782"/>
              <a:gd name="connsiteY54765" fmla="*/ 1483000 h 5973007"/>
              <a:gd name="connsiteX54766" fmla="*/ 1368868 w 6884782"/>
              <a:gd name="connsiteY54766" fmla="*/ 1483929 h 5973007"/>
              <a:gd name="connsiteX54767" fmla="*/ 1367009 w 6884782"/>
              <a:gd name="connsiteY54767" fmla="*/ 1482070 h 5973007"/>
              <a:gd name="connsiteX54768" fmla="*/ 1366596 w 6884782"/>
              <a:gd name="connsiteY54768" fmla="*/ 1480366 h 5973007"/>
              <a:gd name="connsiteX54769" fmla="*/ 1364015 w 6884782"/>
              <a:gd name="connsiteY54769" fmla="*/ 1478662 h 5973007"/>
              <a:gd name="connsiteX54770" fmla="*/ 1374237 w 6884782"/>
              <a:gd name="connsiteY54770" fmla="*/ 1465496 h 5973007"/>
              <a:gd name="connsiteX54771" fmla="*/ 1380949 w 6884782"/>
              <a:gd name="connsiteY54771" fmla="*/ 1463483 h 5973007"/>
              <a:gd name="connsiteX54772" fmla="*/ 1381052 w 6884782"/>
              <a:gd name="connsiteY54772" fmla="*/ 1463483 h 5973007"/>
              <a:gd name="connsiteX54773" fmla="*/ 1379710 w 6884782"/>
              <a:gd name="connsiteY54773" fmla="*/ 1459301 h 5973007"/>
              <a:gd name="connsiteX54774" fmla="*/ 1388280 w 6884782"/>
              <a:gd name="connsiteY54774" fmla="*/ 1452795 h 5973007"/>
              <a:gd name="connsiteX54775" fmla="*/ 1389209 w 6884782"/>
              <a:gd name="connsiteY54775" fmla="*/ 1453260 h 5973007"/>
              <a:gd name="connsiteX54776" fmla="*/ 1389209 w 6884782"/>
              <a:gd name="connsiteY54776" fmla="*/ 1453105 h 5973007"/>
              <a:gd name="connsiteX54777" fmla="*/ 1394889 w 6884782"/>
              <a:gd name="connsiteY54777" fmla="*/ 1450781 h 5973007"/>
              <a:gd name="connsiteX54778" fmla="*/ 1394682 w 6884782"/>
              <a:gd name="connsiteY54778" fmla="*/ 1448922 h 5973007"/>
              <a:gd name="connsiteX54779" fmla="*/ 1396747 w 6884782"/>
              <a:gd name="connsiteY54779" fmla="*/ 1445979 h 5973007"/>
              <a:gd name="connsiteX54780" fmla="*/ 3992657 w 6884782"/>
              <a:gd name="connsiteY54780" fmla="*/ 1445879 h 5973007"/>
              <a:gd name="connsiteX54781" fmla="*/ 3996285 w 6884782"/>
              <a:gd name="connsiteY54781" fmla="*/ 1447871 h 5973007"/>
              <a:gd name="connsiteX54782" fmla="*/ 3996498 w 6884782"/>
              <a:gd name="connsiteY54782" fmla="*/ 1453135 h 5973007"/>
              <a:gd name="connsiteX54783" fmla="*/ 3991376 w 6884782"/>
              <a:gd name="connsiteY54783" fmla="*/ 1461813 h 5973007"/>
              <a:gd name="connsiteX54784" fmla="*/ 3986467 w 6884782"/>
              <a:gd name="connsiteY54784" fmla="*/ 1452423 h 5973007"/>
              <a:gd name="connsiteX54785" fmla="*/ 3987961 w 6884782"/>
              <a:gd name="connsiteY54785" fmla="*/ 1450146 h 5973007"/>
              <a:gd name="connsiteX54786" fmla="*/ 3992657 w 6884782"/>
              <a:gd name="connsiteY54786" fmla="*/ 1445879 h 5973007"/>
              <a:gd name="connsiteX54787" fmla="*/ 5672697 w 6884782"/>
              <a:gd name="connsiteY54787" fmla="*/ 1445452 h 5973007"/>
              <a:gd name="connsiteX54788" fmla="*/ 5674831 w 6884782"/>
              <a:gd name="connsiteY54788" fmla="*/ 1446732 h 5973007"/>
              <a:gd name="connsiteX54789" fmla="*/ 5676325 w 6884782"/>
              <a:gd name="connsiteY54789" fmla="*/ 1448866 h 5973007"/>
              <a:gd name="connsiteX54790" fmla="*/ 5672057 w 6884782"/>
              <a:gd name="connsiteY54790" fmla="*/ 1450289 h 5973007"/>
              <a:gd name="connsiteX54791" fmla="*/ 5671843 w 6884782"/>
              <a:gd name="connsiteY54791" fmla="*/ 1448155 h 5973007"/>
              <a:gd name="connsiteX54792" fmla="*/ 5670562 w 6884782"/>
              <a:gd name="connsiteY54792" fmla="*/ 1448155 h 5973007"/>
              <a:gd name="connsiteX54793" fmla="*/ 5671417 w 6884782"/>
              <a:gd name="connsiteY54793" fmla="*/ 1445879 h 5973007"/>
              <a:gd name="connsiteX54794" fmla="*/ 5672484 w 6884782"/>
              <a:gd name="connsiteY54794" fmla="*/ 1445879 h 5973007"/>
              <a:gd name="connsiteX54795" fmla="*/ 5672697 w 6884782"/>
              <a:gd name="connsiteY54795" fmla="*/ 1445452 h 5973007"/>
              <a:gd name="connsiteX54796" fmla="*/ 1611623 w 6884782"/>
              <a:gd name="connsiteY54796" fmla="*/ 1445205 h 5973007"/>
              <a:gd name="connsiteX54797" fmla="*/ 1629796 w 6884782"/>
              <a:gd name="connsiteY54797" fmla="*/ 1446599 h 5973007"/>
              <a:gd name="connsiteX54798" fmla="*/ 1611623 w 6884782"/>
              <a:gd name="connsiteY54798" fmla="*/ 1445205 h 5973007"/>
              <a:gd name="connsiteX54799" fmla="*/ 1413165 w 6884782"/>
              <a:gd name="connsiteY54799" fmla="*/ 1445050 h 5973007"/>
              <a:gd name="connsiteX54800" fmla="*/ 1417295 w 6884782"/>
              <a:gd name="connsiteY54800" fmla="*/ 1448768 h 5973007"/>
              <a:gd name="connsiteX54801" fmla="*/ 1414817 w 6884782"/>
              <a:gd name="connsiteY54801" fmla="*/ 1450007 h 5973007"/>
              <a:gd name="connsiteX54802" fmla="*/ 1413165 w 6884782"/>
              <a:gd name="connsiteY54802" fmla="*/ 1445050 h 5973007"/>
              <a:gd name="connsiteX54803" fmla="*/ 4596421 w 6884782"/>
              <a:gd name="connsiteY54803" fmla="*/ 1445025 h 5973007"/>
              <a:gd name="connsiteX54804" fmla="*/ 4595781 w 6884782"/>
              <a:gd name="connsiteY54804" fmla="*/ 1454557 h 5973007"/>
              <a:gd name="connsiteX54805" fmla="*/ 4596421 w 6884782"/>
              <a:gd name="connsiteY54805" fmla="*/ 1445025 h 5973007"/>
              <a:gd name="connsiteX54806" fmla="*/ 5401440 w 6884782"/>
              <a:gd name="connsiteY54806" fmla="*/ 1444883 h 5973007"/>
              <a:gd name="connsiteX54807" fmla="*/ 5405068 w 6884782"/>
              <a:gd name="connsiteY54807" fmla="*/ 1453135 h 5973007"/>
              <a:gd name="connsiteX54808" fmla="*/ 5396745 w 6884782"/>
              <a:gd name="connsiteY54808" fmla="*/ 1453561 h 5973007"/>
              <a:gd name="connsiteX54809" fmla="*/ 5401440 w 6884782"/>
              <a:gd name="connsiteY54809" fmla="*/ 1444883 h 5973007"/>
              <a:gd name="connsiteX54810" fmla="*/ 6110634 w 6884782"/>
              <a:gd name="connsiteY54810" fmla="*/ 1444598 h 5973007"/>
              <a:gd name="connsiteX54811" fmla="*/ 6114690 w 6884782"/>
              <a:gd name="connsiteY54811" fmla="*/ 1445452 h 5973007"/>
              <a:gd name="connsiteX54812" fmla="*/ 6110421 w 6884782"/>
              <a:gd name="connsiteY54812" fmla="*/ 1453988 h 5973007"/>
              <a:gd name="connsiteX54813" fmla="*/ 6107006 w 6884782"/>
              <a:gd name="connsiteY54813" fmla="*/ 1445309 h 5973007"/>
              <a:gd name="connsiteX54814" fmla="*/ 6110634 w 6884782"/>
              <a:gd name="connsiteY54814" fmla="*/ 1444598 h 5973007"/>
              <a:gd name="connsiteX54815" fmla="*/ 4796822 w 6884782"/>
              <a:gd name="connsiteY54815" fmla="*/ 1443460 h 5973007"/>
              <a:gd name="connsiteX54816" fmla="*/ 4804292 w 6884782"/>
              <a:gd name="connsiteY54816" fmla="*/ 1445168 h 5973007"/>
              <a:gd name="connsiteX54817" fmla="*/ 4810694 w 6884782"/>
              <a:gd name="connsiteY54817" fmla="*/ 1448866 h 5973007"/>
              <a:gd name="connsiteX54818" fmla="*/ 4811548 w 6884782"/>
              <a:gd name="connsiteY54818" fmla="*/ 1447443 h 5973007"/>
              <a:gd name="connsiteX54819" fmla="*/ 4822646 w 6884782"/>
              <a:gd name="connsiteY54819" fmla="*/ 1449008 h 5973007"/>
              <a:gd name="connsiteX54820" fmla="*/ 4823073 w 6884782"/>
              <a:gd name="connsiteY54820" fmla="*/ 1457687 h 5973007"/>
              <a:gd name="connsiteX54821" fmla="*/ 4816030 w 6884782"/>
              <a:gd name="connsiteY54821" fmla="*/ 1456976 h 5973007"/>
              <a:gd name="connsiteX54822" fmla="*/ 4810694 w 6884782"/>
              <a:gd name="connsiteY54822" fmla="*/ 1452565 h 5973007"/>
              <a:gd name="connsiteX54823" fmla="*/ 4809414 w 6884782"/>
              <a:gd name="connsiteY54823" fmla="*/ 1461955 h 5973007"/>
              <a:gd name="connsiteX54824" fmla="*/ 4803225 w 6884782"/>
              <a:gd name="connsiteY54824" fmla="*/ 1471487 h 5973007"/>
              <a:gd name="connsiteX54825" fmla="*/ 4766517 w 6884782"/>
              <a:gd name="connsiteY54825" fmla="*/ 1474617 h 5973007"/>
              <a:gd name="connsiteX54826" fmla="*/ 4765022 w 6884782"/>
              <a:gd name="connsiteY54826" fmla="*/ 1471060 h 5973007"/>
              <a:gd name="connsiteX54827" fmla="*/ 4796822 w 6884782"/>
              <a:gd name="connsiteY54827" fmla="*/ 1443460 h 5973007"/>
              <a:gd name="connsiteX54828" fmla="*/ 1020275 w 6884782"/>
              <a:gd name="connsiteY54828" fmla="*/ 1443346 h 5973007"/>
              <a:gd name="connsiteX54829" fmla="*/ 1028535 w 6884782"/>
              <a:gd name="connsiteY54829" fmla="*/ 1446599 h 5973007"/>
              <a:gd name="connsiteX54830" fmla="*/ 1022030 w 6884782"/>
              <a:gd name="connsiteY54830" fmla="*/ 1458216 h 5973007"/>
              <a:gd name="connsiteX54831" fmla="*/ 1015732 w 6884782"/>
              <a:gd name="connsiteY54831" fmla="*/ 1454654 h 5973007"/>
              <a:gd name="connsiteX54832" fmla="*/ 1015938 w 6884782"/>
              <a:gd name="connsiteY54832" fmla="*/ 1452485 h 5973007"/>
              <a:gd name="connsiteX54833" fmla="*/ 1020275 w 6884782"/>
              <a:gd name="connsiteY54833" fmla="*/ 1443346 h 5973007"/>
              <a:gd name="connsiteX54834" fmla="*/ 1680082 w 6884782"/>
              <a:gd name="connsiteY54834" fmla="*/ 1442107 h 5973007"/>
              <a:gd name="connsiteX54835" fmla="*/ 1683283 w 6884782"/>
              <a:gd name="connsiteY54835" fmla="*/ 1444121 h 5973007"/>
              <a:gd name="connsiteX54836" fmla="*/ 1680805 w 6884782"/>
              <a:gd name="connsiteY54836" fmla="*/ 1456822 h 5973007"/>
              <a:gd name="connsiteX54837" fmla="*/ 1676778 w 6884782"/>
              <a:gd name="connsiteY54837" fmla="*/ 1449542 h 5973007"/>
              <a:gd name="connsiteX54838" fmla="*/ 1680082 w 6884782"/>
              <a:gd name="connsiteY54838" fmla="*/ 1442107 h 5973007"/>
              <a:gd name="connsiteX54839" fmla="*/ 4089336 w 6884782"/>
              <a:gd name="connsiteY54839" fmla="*/ 1442037 h 5973007"/>
              <a:gd name="connsiteX54840" fmla="*/ 4094244 w 6884782"/>
              <a:gd name="connsiteY54840" fmla="*/ 1446732 h 5973007"/>
              <a:gd name="connsiteX54841" fmla="*/ 4093818 w 6884782"/>
              <a:gd name="connsiteY54841" fmla="*/ 1451000 h 5973007"/>
              <a:gd name="connsiteX54842" fmla="*/ 4090189 w 6884782"/>
              <a:gd name="connsiteY54842" fmla="*/ 1452992 h 5973007"/>
              <a:gd name="connsiteX54843" fmla="*/ 4085708 w 6884782"/>
              <a:gd name="connsiteY54843" fmla="*/ 1451712 h 5973007"/>
              <a:gd name="connsiteX54844" fmla="*/ 4089336 w 6884782"/>
              <a:gd name="connsiteY54844" fmla="*/ 1442037 h 5973007"/>
              <a:gd name="connsiteX54845" fmla="*/ 4948991 w 6884782"/>
              <a:gd name="connsiteY54845" fmla="*/ 1440188 h 5973007"/>
              <a:gd name="connsiteX54846" fmla="*/ 4951338 w 6884782"/>
              <a:gd name="connsiteY54846" fmla="*/ 1440188 h 5973007"/>
              <a:gd name="connsiteX54847" fmla="*/ 4949204 w 6884782"/>
              <a:gd name="connsiteY54847" fmla="*/ 1447586 h 5973007"/>
              <a:gd name="connsiteX54848" fmla="*/ 4946003 w 6884782"/>
              <a:gd name="connsiteY54848" fmla="*/ 1448724 h 5973007"/>
              <a:gd name="connsiteX54849" fmla="*/ 4946003 w 6884782"/>
              <a:gd name="connsiteY54849" fmla="*/ 1444883 h 5973007"/>
              <a:gd name="connsiteX54850" fmla="*/ 4948137 w 6884782"/>
              <a:gd name="connsiteY54850" fmla="*/ 1443745 h 5973007"/>
              <a:gd name="connsiteX54851" fmla="*/ 4948991 w 6884782"/>
              <a:gd name="connsiteY54851" fmla="*/ 1440188 h 5973007"/>
              <a:gd name="connsiteX54852" fmla="*/ 1314555 w 6884782"/>
              <a:gd name="connsiteY54852" fmla="*/ 1440093 h 5973007"/>
              <a:gd name="connsiteX54853" fmla="*/ 1314968 w 6884782"/>
              <a:gd name="connsiteY54853" fmla="*/ 1444740 h 5973007"/>
              <a:gd name="connsiteX54854" fmla="*/ 1311458 w 6884782"/>
              <a:gd name="connsiteY54854" fmla="*/ 1444585 h 5973007"/>
              <a:gd name="connsiteX54855" fmla="*/ 1314555 w 6884782"/>
              <a:gd name="connsiteY54855" fmla="*/ 1440093 h 5973007"/>
              <a:gd name="connsiteX54856" fmla="*/ 1096271 w 6884782"/>
              <a:gd name="connsiteY54856" fmla="*/ 1439629 h 5973007"/>
              <a:gd name="connsiteX54857" fmla="*/ 1085326 w 6884782"/>
              <a:gd name="connsiteY54857" fmla="*/ 1450936 h 5973007"/>
              <a:gd name="connsiteX54858" fmla="*/ 1080370 w 6884782"/>
              <a:gd name="connsiteY54858" fmla="*/ 1448768 h 5973007"/>
              <a:gd name="connsiteX54859" fmla="*/ 1096271 w 6884782"/>
              <a:gd name="connsiteY54859" fmla="*/ 1439629 h 5973007"/>
              <a:gd name="connsiteX54860" fmla="*/ 5495131 w 6884782"/>
              <a:gd name="connsiteY54860" fmla="*/ 1439619 h 5973007"/>
              <a:gd name="connsiteX54861" fmla="*/ 5499827 w 6884782"/>
              <a:gd name="connsiteY54861" fmla="*/ 1440188 h 5973007"/>
              <a:gd name="connsiteX54862" fmla="*/ 5485528 w 6884782"/>
              <a:gd name="connsiteY54862" fmla="*/ 1463520 h 5973007"/>
              <a:gd name="connsiteX54863" fmla="*/ 5481046 w 6884782"/>
              <a:gd name="connsiteY54863" fmla="*/ 1458825 h 5973007"/>
              <a:gd name="connsiteX54864" fmla="*/ 5495131 w 6884782"/>
              <a:gd name="connsiteY54864" fmla="*/ 1439619 h 5973007"/>
              <a:gd name="connsiteX54865" fmla="*/ 1349456 w 6884782"/>
              <a:gd name="connsiteY54865" fmla="*/ 1439319 h 5973007"/>
              <a:gd name="connsiteX54866" fmla="*/ 1364634 w 6884782"/>
              <a:gd name="connsiteY54866" fmla="*/ 1448612 h 5973007"/>
              <a:gd name="connsiteX54867" fmla="*/ 1366287 w 6884782"/>
              <a:gd name="connsiteY54867" fmla="*/ 1465496 h 5973007"/>
              <a:gd name="connsiteX54868" fmla="*/ 1349456 w 6884782"/>
              <a:gd name="connsiteY54868" fmla="*/ 1439319 h 5973007"/>
              <a:gd name="connsiteX54869" fmla="*/ 5363665 w 6884782"/>
              <a:gd name="connsiteY54869" fmla="*/ 1439192 h 5973007"/>
              <a:gd name="connsiteX54870" fmla="*/ 5370495 w 6884782"/>
              <a:gd name="connsiteY54870" fmla="*/ 1450574 h 5973007"/>
              <a:gd name="connsiteX54871" fmla="*/ 5358543 w 6884782"/>
              <a:gd name="connsiteY54871" fmla="*/ 1442891 h 5973007"/>
              <a:gd name="connsiteX54872" fmla="*/ 5363665 w 6884782"/>
              <a:gd name="connsiteY54872" fmla="*/ 1439192 h 5973007"/>
              <a:gd name="connsiteX54873" fmla="*/ 1718906 w 6884782"/>
              <a:gd name="connsiteY54873" fmla="*/ 1439164 h 5973007"/>
              <a:gd name="connsiteX54874" fmla="*/ 1723966 w 6884782"/>
              <a:gd name="connsiteY54874" fmla="*/ 1441642 h 5973007"/>
              <a:gd name="connsiteX54875" fmla="*/ 1721075 w 6884782"/>
              <a:gd name="connsiteY54875" fmla="*/ 1446599 h 5973007"/>
              <a:gd name="connsiteX54876" fmla="*/ 1717254 w 6884782"/>
              <a:gd name="connsiteY54876" fmla="*/ 1443656 h 5973007"/>
              <a:gd name="connsiteX54877" fmla="*/ 1718906 w 6884782"/>
              <a:gd name="connsiteY54877" fmla="*/ 1439164 h 5973007"/>
              <a:gd name="connsiteX54878" fmla="*/ 1211299 w 6884782"/>
              <a:gd name="connsiteY54878" fmla="*/ 1439164 h 5973007"/>
              <a:gd name="connsiteX54879" fmla="*/ 1211712 w 6884782"/>
              <a:gd name="connsiteY54879" fmla="*/ 1447993 h 5973007"/>
              <a:gd name="connsiteX54880" fmla="*/ 1208098 w 6884782"/>
              <a:gd name="connsiteY54880" fmla="*/ 1447528 h 5973007"/>
              <a:gd name="connsiteX54881" fmla="*/ 1206549 w 6884782"/>
              <a:gd name="connsiteY54881" fmla="*/ 1443191 h 5973007"/>
              <a:gd name="connsiteX54882" fmla="*/ 1208098 w 6884782"/>
              <a:gd name="connsiteY54882" fmla="*/ 1439938 h 5973007"/>
              <a:gd name="connsiteX54883" fmla="*/ 1211299 w 6884782"/>
              <a:gd name="connsiteY54883" fmla="*/ 1439164 h 5973007"/>
              <a:gd name="connsiteX54884" fmla="*/ 1594689 w 6884782"/>
              <a:gd name="connsiteY54884" fmla="*/ 1438699 h 5973007"/>
              <a:gd name="connsiteX54885" fmla="*/ 1598923 w 6884782"/>
              <a:gd name="connsiteY54885" fmla="*/ 1443191 h 5973007"/>
              <a:gd name="connsiteX54886" fmla="*/ 1597064 w 6884782"/>
              <a:gd name="connsiteY54886" fmla="*/ 1449542 h 5973007"/>
              <a:gd name="connsiteX54887" fmla="*/ 1593450 w 6884782"/>
              <a:gd name="connsiteY54887" fmla="*/ 1444895 h 5973007"/>
              <a:gd name="connsiteX54888" fmla="*/ 1594689 w 6884782"/>
              <a:gd name="connsiteY54888" fmla="*/ 1438699 h 5973007"/>
              <a:gd name="connsiteX54889" fmla="*/ 1514219 w 6884782"/>
              <a:gd name="connsiteY54889" fmla="*/ 1438590 h 5973007"/>
              <a:gd name="connsiteX54890" fmla="*/ 1526953 w 6884782"/>
              <a:gd name="connsiteY54890" fmla="*/ 1469369 h 5973007"/>
              <a:gd name="connsiteX54891" fmla="*/ 1496286 w 6884782"/>
              <a:gd name="connsiteY54891" fmla="*/ 1477423 h 5973007"/>
              <a:gd name="connsiteX54892" fmla="*/ 1497215 w 6884782"/>
              <a:gd name="connsiteY54892" fmla="*/ 1453569 h 5973007"/>
              <a:gd name="connsiteX54893" fmla="*/ 1500313 w 6884782"/>
              <a:gd name="connsiteY54893" fmla="*/ 1446134 h 5973007"/>
              <a:gd name="connsiteX54894" fmla="*/ 1514219 w 6884782"/>
              <a:gd name="connsiteY54894" fmla="*/ 1438590 h 5973007"/>
              <a:gd name="connsiteX54895" fmla="*/ 5320128 w 6884782"/>
              <a:gd name="connsiteY54895" fmla="*/ 1438196 h 5973007"/>
              <a:gd name="connsiteX54896" fmla="*/ 5309457 w 6884782"/>
              <a:gd name="connsiteY54896" fmla="*/ 1461671 h 5973007"/>
              <a:gd name="connsiteX54897" fmla="*/ 5320128 w 6884782"/>
              <a:gd name="connsiteY54897" fmla="*/ 1438196 h 5973007"/>
              <a:gd name="connsiteX54898" fmla="*/ 5833189 w 6884782"/>
              <a:gd name="connsiteY54898" fmla="*/ 1438054 h 5973007"/>
              <a:gd name="connsiteX54899" fmla="*/ 5836603 w 6884782"/>
              <a:gd name="connsiteY54899" fmla="*/ 1438765 h 5973007"/>
              <a:gd name="connsiteX54900" fmla="*/ 5835963 w 6884782"/>
              <a:gd name="connsiteY54900" fmla="*/ 1446021 h 5973007"/>
              <a:gd name="connsiteX54901" fmla="*/ 5828280 w 6884782"/>
              <a:gd name="connsiteY54901" fmla="*/ 1442322 h 5973007"/>
              <a:gd name="connsiteX54902" fmla="*/ 5829774 w 6884782"/>
              <a:gd name="connsiteY54902" fmla="*/ 1439904 h 5973007"/>
              <a:gd name="connsiteX54903" fmla="*/ 5833189 w 6884782"/>
              <a:gd name="connsiteY54903" fmla="*/ 1438054 h 5973007"/>
              <a:gd name="connsiteX54904" fmla="*/ 4181960 w 6884782"/>
              <a:gd name="connsiteY54904" fmla="*/ 1438054 h 5973007"/>
              <a:gd name="connsiteX54905" fmla="*/ 4188149 w 6884782"/>
              <a:gd name="connsiteY54905" fmla="*/ 1441326 h 5973007"/>
              <a:gd name="connsiteX54906" fmla="*/ 4192417 w 6884782"/>
              <a:gd name="connsiteY54906" fmla="*/ 1442891 h 5973007"/>
              <a:gd name="connsiteX54907" fmla="*/ 4194125 w 6884782"/>
              <a:gd name="connsiteY54907" fmla="*/ 1446306 h 5973007"/>
              <a:gd name="connsiteX54908" fmla="*/ 4183881 w 6884782"/>
              <a:gd name="connsiteY54908" fmla="*/ 1447017 h 5973007"/>
              <a:gd name="connsiteX54909" fmla="*/ 4177478 w 6884782"/>
              <a:gd name="connsiteY54909" fmla="*/ 1441042 h 5973007"/>
              <a:gd name="connsiteX54910" fmla="*/ 4181960 w 6884782"/>
              <a:gd name="connsiteY54910" fmla="*/ 1438054 h 5973007"/>
              <a:gd name="connsiteX54911" fmla="*/ 1151823 w 6884782"/>
              <a:gd name="connsiteY54911" fmla="*/ 1437615 h 5973007"/>
              <a:gd name="connsiteX54912" fmla="*/ 1161426 w 6884782"/>
              <a:gd name="connsiteY54912" fmla="*/ 1437615 h 5973007"/>
              <a:gd name="connsiteX54913" fmla="*/ 1151823 w 6884782"/>
              <a:gd name="connsiteY54913" fmla="*/ 1437615 h 5973007"/>
              <a:gd name="connsiteX54914" fmla="*/ 1280067 w 6884782"/>
              <a:gd name="connsiteY54914" fmla="*/ 1436995 h 5973007"/>
              <a:gd name="connsiteX54915" fmla="*/ 1287708 w 6884782"/>
              <a:gd name="connsiteY54915" fmla="*/ 1444430 h 5973007"/>
              <a:gd name="connsiteX54916" fmla="*/ 1289980 w 6884782"/>
              <a:gd name="connsiteY54916" fmla="*/ 1454499 h 5973007"/>
              <a:gd name="connsiteX54917" fmla="*/ 1280067 w 6884782"/>
              <a:gd name="connsiteY54917" fmla="*/ 1436995 h 5973007"/>
              <a:gd name="connsiteX54918" fmla="*/ 1321990 w 6884782"/>
              <a:gd name="connsiteY54918" fmla="*/ 1436531 h 5973007"/>
              <a:gd name="connsiteX54919" fmla="*/ 1330560 w 6884782"/>
              <a:gd name="connsiteY54919" fmla="*/ 1438854 h 5973007"/>
              <a:gd name="connsiteX54920" fmla="*/ 1326223 w 6884782"/>
              <a:gd name="connsiteY54920" fmla="*/ 1447218 h 5973007"/>
              <a:gd name="connsiteX54921" fmla="*/ 1320028 w 6884782"/>
              <a:gd name="connsiteY54921" fmla="*/ 1439629 h 5973007"/>
              <a:gd name="connsiteX54922" fmla="*/ 1321990 w 6884782"/>
              <a:gd name="connsiteY54922" fmla="*/ 1436531 h 5973007"/>
              <a:gd name="connsiteX54923" fmla="*/ 3845824 w 6884782"/>
              <a:gd name="connsiteY54923" fmla="*/ 1435777 h 5973007"/>
              <a:gd name="connsiteX54924" fmla="*/ 3847531 w 6884782"/>
              <a:gd name="connsiteY54924" fmla="*/ 1437912 h 5973007"/>
              <a:gd name="connsiteX54925" fmla="*/ 3847958 w 6884782"/>
              <a:gd name="connsiteY54925" fmla="*/ 1437627 h 5973007"/>
              <a:gd name="connsiteX54926" fmla="*/ 3846678 w 6884782"/>
              <a:gd name="connsiteY54926" fmla="*/ 1435920 h 5973007"/>
              <a:gd name="connsiteX54927" fmla="*/ 1697610 w 6884782"/>
              <a:gd name="connsiteY54927" fmla="*/ 1435117 h 5973007"/>
              <a:gd name="connsiteX54928" fmla="*/ 1700010 w 6884782"/>
              <a:gd name="connsiteY54928" fmla="*/ 1440558 h 5973007"/>
              <a:gd name="connsiteX54929" fmla="*/ 1697945 w 6884782"/>
              <a:gd name="connsiteY54929" fmla="*/ 1444121 h 5973007"/>
              <a:gd name="connsiteX54930" fmla="*/ 1690511 w 6884782"/>
              <a:gd name="connsiteY54930" fmla="*/ 1444585 h 5973007"/>
              <a:gd name="connsiteX54931" fmla="*/ 1689169 w 6884782"/>
              <a:gd name="connsiteY54931" fmla="*/ 1435601 h 5973007"/>
              <a:gd name="connsiteX54932" fmla="*/ 1697610 w 6884782"/>
              <a:gd name="connsiteY54932" fmla="*/ 1435117 h 5973007"/>
              <a:gd name="connsiteX54933" fmla="*/ 4204582 w 6884782"/>
              <a:gd name="connsiteY54933" fmla="*/ 1434497 h 5973007"/>
              <a:gd name="connsiteX54934" fmla="*/ 4212052 w 6884782"/>
              <a:gd name="connsiteY54934" fmla="*/ 1437485 h 5973007"/>
              <a:gd name="connsiteX54935" fmla="*/ 4197326 w 6884782"/>
              <a:gd name="connsiteY54935" fmla="*/ 1449435 h 5973007"/>
              <a:gd name="connsiteX54936" fmla="*/ 4195832 w 6884782"/>
              <a:gd name="connsiteY54936" fmla="*/ 1438481 h 5973007"/>
              <a:gd name="connsiteX54937" fmla="*/ 4204582 w 6884782"/>
              <a:gd name="connsiteY54937" fmla="*/ 1434497 h 5973007"/>
              <a:gd name="connsiteX54938" fmla="*/ 4966704 w 6884782"/>
              <a:gd name="connsiteY54938" fmla="*/ 1434355 h 5973007"/>
              <a:gd name="connsiteX54939" fmla="*/ 4969692 w 6884782"/>
              <a:gd name="connsiteY54939" fmla="*/ 1435209 h 5973007"/>
              <a:gd name="connsiteX54940" fmla="*/ 4968838 w 6884782"/>
              <a:gd name="connsiteY54940" fmla="*/ 1441184 h 5973007"/>
              <a:gd name="connsiteX54941" fmla="*/ 4958595 w 6884782"/>
              <a:gd name="connsiteY54941" fmla="*/ 1444314 h 5973007"/>
              <a:gd name="connsiteX54942" fmla="*/ 4958167 w 6884782"/>
              <a:gd name="connsiteY54942" fmla="*/ 1439477 h 5973007"/>
              <a:gd name="connsiteX54943" fmla="*/ 4966704 w 6884782"/>
              <a:gd name="connsiteY54943" fmla="*/ 1434355 h 5973007"/>
              <a:gd name="connsiteX54944" fmla="*/ 4686057 w 6884782"/>
              <a:gd name="connsiteY54944" fmla="*/ 1434070 h 5973007"/>
              <a:gd name="connsiteX54945" fmla="*/ 4690966 w 6884782"/>
              <a:gd name="connsiteY54945" fmla="*/ 1436773 h 5973007"/>
              <a:gd name="connsiteX54946" fmla="*/ 4694381 w 6884782"/>
              <a:gd name="connsiteY54946" fmla="*/ 1437058 h 5973007"/>
              <a:gd name="connsiteX54947" fmla="*/ 4702277 w 6884782"/>
              <a:gd name="connsiteY54947" fmla="*/ 1437343 h 5973007"/>
              <a:gd name="connsiteX54948" fmla="*/ 4703771 w 6884782"/>
              <a:gd name="connsiteY54948" fmla="*/ 1443318 h 5973007"/>
              <a:gd name="connsiteX54949" fmla="*/ 4683496 w 6884782"/>
              <a:gd name="connsiteY54949" fmla="*/ 1449578 h 5973007"/>
              <a:gd name="connsiteX54950" fmla="*/ 4682216 w 6884782"/>
              <a:gd name="connsiteY54950" fmla="*/ 1443033 h 5973007"/>
              <a:gd name="connsiteX54951" fmla="*/ 4684563 w 6884782"/>
              <a:gd name="connsiteY54951" fmla="*/ 1440046 h 5973007"/>
              <a:gd name="connsiteX54952" fmla="*/ 4682856 w 6884782"/>
              <a:gd name="connsiteY54952" fmla="*/ 1437343 h 5973007"/>
              <a:gd name="connsiteX54953" fmla="*/ 4686057 w 6884782"/>
              <a:gd name="connsiteY54953" fmla="*/ 1434070 h 5973007"/>
              <a:gd name="connsiteX54954" fmla="*/ 4174703 w 6884782"/>
              <a:gd name="connsiteY54954" fmla="*/ 1434070 h 5973007"/>
              <a:gd name="connsiteX54955" fmla="*/ 4177051 w 6884782"/>
              <a:gd name="connsiteY54955" fmla="*/ 1438907 h 5973007"/>
              <a:gd name="connsiteX54956" fmla="*/ 4170435 w 6884782"/>
              <a:gd name="connsiteY54956" fmla="*/ 1440899 h 5973007"/>
              <a:gd name="connsiteX54957" fmla="*/ 4167874 w 6884782"/>
              <a:gd name="connsiteY54957" fmla="*/ 1436062 h 5973007"/>
              <a:gd name="connsiteX54958" fmla="*/ 4174703 w 6884782"/>
              <a:gd name="connsiteY54958" fmla="*/ 1434070 h 5973007"/>
              <a:gd name="connsiteX54959" fmla="*/ 1474706 w 6884782"/>
              <a:gd name="connsiteY54959" fmla="*/ 1433897 h 5973007"/>
              <a:gd name="connsiteX54960" fmla="*/ 1474809 w 6884782"/>
              <a:gd name="connsiteY54960" fmla="*/ 1435137 h 5973007"/>
              <a:gd name="connsiteX54961" fmla="*/ 1473570 w 6884782"/>
              <a:gd name="connsiteY54961" fmla="*/ 1436531 h 5973007"/>
              <a:gd name="connsiteX54962" fmla="*/ 1470575 w 6884782"/>
              <a:gd name="connsiteY54962" fmla="*/ 1439009 h 5973007"/>
              <a:gd name="connsiteX54963" fmla="*/ 1474706 w 6884782"/>
              <a:gd name="connsiteY54963" fmla="*/ 1433897 h 5973007"/>
              <a:gd name="connsiteX54964" fmla="*/ 4277999 w 6884782"/>
              <a:gd name="connsiteY54964" fmla="*/ 1433643 h 5973007"/>
              <a:gd name="connsiteX54965" fmla="*/ 4289310 w 6884782"/>
              <a:gd name="connsiteY54965" fmla="*/ 1443033 h 5973007"/>
              <a:gd name="connsiteX54966" fmla="*/ 4289310 w 6884782"/>
              <a:gd name="connsiteY54966" fmla="*/ 1448013 h 5973007"/>
              <a:gd name="connsiteX54967" fmla="*/ 4281413 w 6884782"/>
              <a:gd name="connsiteY54967" fmla="*/ 1454557 h 5973007"/>
              <a:gd name="connsiteX54968" fmla="*/ 4270742 w 6884782"/>
              <a:gd name="connsiteY54968" fmla="*/ 1446306 h 5973007"/>
              <a:gd name="connsiteX54969" fmla="*/ 4271596 w 6884782"/>
              <a:gd name="connsiteY54969" fmla="*/ 1440757 h 5973007"/>
              <a:gd name="connsiteX54970" fmla="*/ 4277999 w 6884782"/>
              <a:gd name="connsiteY54970" fmla="*/ 1433643 h 5973007"/>
              <a:gd name="connsiteX54971" fmla="*/ 6026547 w 6884782"/>
              <a:gd name="connsiteY54971" fmla="*/ 1433501 h 5973007"/>
              <a:gd name="connsiteX54972" fmla="*/ 6044688 w 6884782"/>
              <a:gd name="connsiteY54972" fmla="*/ 1433928 h 5973007"/>
              <a:gd name="connsiteX54973" fmla="*/ 6046822 w 6884782"/>
              <a:gd name="connsiteY54973" fmla="*/ 1436347 h 5973007"/>
              <a:gd name="connsiteX54974" fmla="*/ 6047889 w 6884782"/>
              <a:gd name="connsiteY54974" fmla="*/ 1436347 h 5973007"/>
              <a:gd name="connsiteX54975" fmla="*/ 6048742 w 6884782"/>
              <a:gd name="connsiteY54975" fmla="*/ 1437627 h 5973007"/>
              <a:gd name="connsiteX54976" fmla="*/ 6048742 w 6884782"/>
              <a:gd name="connsiteY54976" fmla="*/ 1438765 h 5973007"/>
              <a:gd name="connsiteX54977" fmla="*/ 6041913 w 6884782"/>
              <a:gd name="connsiteY54977" fmla="*/ 1439904 h 5973007"/>
              <a:gd name="connsiteX54978" fmla="*/ 6036151 w 6884782"/>
              <a:gd name="connsiteY54978" fmla="*/ 1439904 h 5973007"/>
              <a:gd name="connsiteX54979" fmla="*/ 6018437 w 6884782"/>
              <a:gd name="connsiteY54979" fmla="*/ 1434782 h 5973007"/>
              <a:gd name="connsiteX54980" fmla="*/ 6026547 w 6884782"/>
              <a:gd name="connsiteY54980" fmla="*/ 1433501 h 5973007"/>
              <a:gd name="connsiteX54981" fmla="*/ 4843348 w 6884782"/>
              <a:gd name="connsiteY54981" fmla="*/ 1433359 h 5973007"/>
              <a:gd name="connsiteX54982" fmla="*/ 4858714 w 6884782"/>
              <a:gd name="connsiteY54982" fmla="*/ 1438623 h 5973007"/>
              <a:gd name="connsiteX54983" fmla="*/ 4835238 w 6884782"/>
              <a:gd name="connsiteY54983" fmla="*/ 1454842 h 5973007"/>
              <a:gd name="connsiteX54984" fmla="*/ 4831610 w 6884782"/>
              <a:gd name="connsiteY54984" fmla="*/ 1443603 h 5973007"/>
              <a:gd name="connsiteX54985" fmla="*/ 4843348 w 6884782"/>
              <a:gd name="connsiteY54985" fmla="*/ 1433359 h 5973007"/>
              <a:gd name="connsiteX54986" fmla="*/ 5796054 w 6884782"/>
              <a:gd name="connsiteY54986" fmla="*/ 1432363 h 5973007"/>
              <a:gd name="connsiteX54987" fmla="*/ 5799682 w 6884782"/>
              <a:gd name="connsiteY54987" fmla="*/ 1432505 h 5973007"/>
              <a:gd name="connsiteX54988" fmla="*/ 5791998 w 6884782"/>
              <a:gd name="connsiteY54988" fmla="*/ 1441326 h 5973007"/>
              <a:gd name="connsiteX54989" fmla="*/ 5796054 w 6884782"/>
              <a:gd name="connsiteY54989" fmla="*/ 1432363 h 5973007"/>
              <a:gd name="connsiteX54990" fmla="*/ 5132745 w 6884782"/>
              <a:gd name="connsiteY54990" fmla="*/ 1432363 h 5973007"/>
              <a:gd name="connsiteX54991" fmla="*/ 5139361 w 6884782"/>
              <a:gd name="connsiteY54991" fmla="*/ 1447443 h 5973007"/>
              <a:gd name="connsiteX54992" fmla="*/ 5134879 w 6884782"/>
              <a:gd name="connsiteY54992" fmla="*/ 1449862 h 5973007"/>
              <a:gd name="connsiteX54993" fmla="*/ 5132745 w 6884782"/>
              <a:gd name="connsiteY54993" fmla="*/ 1432363 h 5973007"/>
              <a:gd name="connsiteX54994" fmla="*/ 1348836 w 6884782"/>
              <a:gd name="connsiteY54994" fmla="*/ 1432349 h 5973007"/>
              <a:gd name="connsiteX54995" fmla="*/ 1350178 w 6884782"/>
              <a:gd name="connsiteY54995" fmla="*/ 1433433 h 5973007"/>
              <a:gd name="connsiteX54996" fmla="*/ 1350695 w 6884782"/>
              <a:gd name="connsiteY54996" fmla="*/ 1434982 h 5973007"/>
              <a:gd name="connsiteX54997" fmla="*/ 1347288 w 6884782"/>
              <a:gd name="connsiteY54997" fmla="*/ 1435601 h 5973007"/>
              <a:gd name="connsiteX54998" fmla="*/ 1347494 w 6884782"/>
              <a:gd name="connsiteY54998" fmla="*/ 1434052 h 5973007"/>
              <a:gd name="connsiteX54999" fmla="*/ 1346668 w 6884782"/>
              <a:gd name="connsiteY54999" fmla="*/ 1433897 h 5973007"/>
              <a:gd name="connsiteX55000" fmla="*/ 1347804 w 6884782"/>
              <a:gd name="connsiteY55000" fmla="*/ 1432504 h 5973007"/>
              <a:gd name="connsiteX55001" fmla="*/ 1348630 w 6884782"/>
              <a:gd name="connsiteY55001" fmla="*/ 1432504 h 5973007"/>
              <a:gd name="connsiteX55002" fmla="*/ 1348836 w 6884782"/>
              <a:gd name="connsiteY55002" fmla="*/ 1432349 h 5973007"/>
              <a:gd name="connsiteX55003" fmla="*/ 5806511 w 6884782"/>
              <a:gd name="connsiteY55003" fmla="*/ 1432078 h 5973007"/>
              <a:gd name="connsiteX55004" fmla="*/ 5822091 w 6884782"/>
              <a:gd name="connsiteY55004" fmla="*/ 1450858 h 5973007"/>
              <a:gd name="connsiteX55005" fmla="*/ 5818036 w 6884782"/>
              <a:gd name="connsiteY55005" fmla="*/ 1475186 h 5973007"/>
              <a:gd name="connsiteX55006" fmla="*/ 5806511 w 6884782"/>
              <a:gd name="connsiteY55006" fmla="*/ 1432078 h 5973007"/>
              <a:gd name="connsiteX55007" fmla="*/ 4743040 w 6884782"/>
              <a:gd name="connsiteY55007" fmla="*/ 1432078 h 5973007"/>
              <a:gd name="connsiteX55008" fmla="*/ 4749230 w 6884782"/>
              <a:gd name="connsiteY55008" fmla="*/ 1439334 h 5973007"/>
              <a:gd name="connsiteX55009" fmla="*/ 4727674 w 6884782"/>
              <a:gd name="connsiteY55009" fmla="*/ 1447301 h 5973007"/>
              <a:gd name="connsiteX55010" fmla="*/ 4743040 w 6884782"/>
              <a:gd name="connsiteY55010" fmla="*/ 1432078 h 5973007"/>
              <a:gd name="connsiteX55011" fmla="*/ 1222244 w 6884782"/>
              <a:gd name="connsiteY55011" fmla="*/ 1432039 h 5973007"/>
              <a:gd name="connsiteX55012" fmla="*/ 1227200 w 6884782"/>
              <a:gd name="connsiteY55012" fmla="*/ 1433278 h 5973007"/>
              <a:gd name="connsiteX55013" fmla="*/ 1228027 w 6884782"/>
              <a:gd name="connsiteY55013" fmla="*/ 1441642 h 5973007"/>
              <a:gd name="connsiteX55014" fmla="*/ 1219456 w 6884782"/>
              <a:gd name="connsiteY55014" fmla="*/ 1443037 h 5973007"/>
              <a:gd name="connsiteX55015" fmla="*/ 1217804 w 6884782"/>
              <a:gd name="connsiteY55015" fmla="*/ 1439319 h 5973007"/>
              <a:gd name="connsiteX55016" fmla="*/ 1222244 w 6884782"/>
              <a:gd name="connsiteY55016" fmla="*/ 1432039 h 5973007"/>
              <a:gd name="connsiteX55017" fmla="*/ 3873141 w 6884782"/>
              <a:gd name="connsiteY55017" fmla="*/ 1431936 h 5973007"/>
              <a:gd name="connsiteX55018" fmla="*/ 3880184 w 6884782"/>
              <a:gd name="connsiteY55018" fmla="*/ 1448440 h 5973007"/>
              <a:gd name="connsiteX55019" fmla="*/ 3866953 w 6884782"/>
              <a:gd name="connsiteY55019" fmla="*/ 1437058 h 5973007"/>
              <a:gd name="connsiteX55020" fmla="*/ 3873141 w 6884782"/>
              <a:gd name="connsiteY55020" fmla="*/ 1431936 h 5973007"/>
              <a:gd name="connsiteX55021" fmla="*/ 3984120 w 6884782"/>
              <a:gd name="connsiteY55021" fmla="*/ 1431794 h 5973007"/>
              <a:gd name="connsiteX55022" fmla="*/ 3978998 w 6884782"/>
              <a:gd name="connsiteY55022" fmla="*/ 1445168 h 5973007"/>
              <a:gd name="connsiteX55023" fmla="*/ 3976650 w 6884782"/>
              <a:gd name="connsiteY55023" fmla="*/ 1447443 h 5973007"/>
              <a:gd name="connsiteX55024" fmla="*/ 3977717 w 6884782"/>
              <a:gd name="connsiteY55024" fmla="*/ 1447728 h 5973007"/>
              <a:gd name="connsiteX55025" fmla="*/ 3983693 w 6884782"/>
              <a:gd name="connsiteY55025" fmla="*/ 1451285 h 5973007"/>
              <a:gd name="connsiteX55026" fmla="*/ 3984974 w 6884782"/>
              <a:gd name="connsiteY55026" fmla="*/ 1455127 h 5973007"/>
              <a:gd name="connsiteX55027" fmla="*/ 3965766 w 6884782"/>
              <a:gd name="connsiteY55027" fmla="*/ 1467930 h 5973007"/>
              <a:gd name="connsiteX55028" fmla="*/ 3957016 w 6884782"/>
              <a:gd name="connsiteY55028" fmla="*/ 1465512 h 5973007"/>
              <a:gd name="connsiteX55029" fmla="*/ 3945064 w 6884782"/>
              <a:gd name="connsiteY55029" fmla="*/ 1474902 h 5973007"/>
              <a:gd name="connsiteX55030" fmla="*/ 3943997 w 6884782"/>
              <a:gd name="connsiteY55030" fmla="*/ 1473479 h 5973007"/>
              <a:gd name="connsiteX55031" fmla="*/ 3944210 w 6884782"/>
              <a:gd name="connsiteY55031" fmla="*/ 1476894 h 5973007"/>
              <a:gd name="connsiteX55032" fmla="*/ 3943143 w 6884782"/>
              <a:gd name="connsiteY55032" fmla="*/ 1481872 h 5973007"/>
              <a:gd name="connsiteX55033" fmla="*/ 3941009 w 6884782"/>
              <a:gd name="connsiteY55033" fmla="*/ 1483865 h 5973007"/>
              <a:gd name="connsiteX55034" fmla="*/ 3936741 w 6884782"/>
              <a:gd name="connsiteY55034" fmla="*/ 1479881 h 5973007"/>
              <a:gd name="connsiteX55035" fmla="*/ 3939942 w 6884782"/>
              <a:gd name="connsiteY55035" fmla="*/ 1468641 h 5973007"/>
              <a:gd name="connsiteX55036" fmla="*/ 3941222 w 6884782"/>
              <a:gd name="connsiteY55036" fmla="*/ 1469780 h 5973007"/>
              <a:gd name="connsiteX55037" fmla="*/ 3937808 w 6884782"/>
              <a:gd name="connsiteY55037" fmla="*/ 1463378 h 5973007"/>
              <a:gd name="connsiteX55038" fmla="*/ 3943357 w 6884782"/>
              <a:gd name="connsiteY55038" fmla="*/ 1459394 h 5973007"/>
              <a:gd name="connsiteX55039" fmla="*/ 3942503 w 6884782"/>
              <a:gd name="connsiteY55039" fmla="*/ 1458399 h 5973007"/>
              <a:gd name="connsiteX55040" fmla="*/ 3942930 w 6884782"/>
              <a:gd name="connsiteY55040" fmla="*/ 1457118 h 5973007"/>
              <a:gd name="connsiteX55041" fmla="*/ 3942289 w 6884782"/>
              <a:gd name="connsiteY55041" fmla="*/ 1456691 h 5973007"/>
              <a:gd name="connsiteX55042" fmla="*/ 3954454 w 6884782"/>
              <a:gd name="connsiteY55042" fmla="*/ 1444598 h 5973007"/>
              <a:gd name="connsiteX55043" fmla="*/ 3960644 w 6884782"/>
              <a:gd name="connsiteY55043" fmla="*/ 1444598 h 5973007"/>
              <a:gd name="connsiteX55044" fmla="*/ 3961924 w 6884782"/>
              <a:gd name="connsiteY55044" fmla="*/ 1439904 h 5973007"/>
              <a:gd name="connsiteX55045" fmla="*/ 3968327 w 6884782"/>
              <a:gd name="connsiteY55045" fmla="*/ 1438196 h 5973007"/>
              <a:gd name="connsiteX55046" fmla="*/ 3970034 w 6884782"/>
              <a:gd name="connsiteY55046" fmla="*/ 1441042 h 5973007"/>
              <a:gd name="connsiteX55047" fmla="*/ 5898495 w 6884782"/>
              <a:gd name="connsiteY55047" fmla="*/ 1431652 h 5973007"/>
              <a:gd name="connsiteX55048" fmla="*/ 5909806 w 6884782"/>
              <a:gd name="connsiteY55048" fmla="*/ 1432932 h 5973007"/>
              <a:gd name="connsiteX55049" fmla="*/ 5912154 w 6884782"/>
              <a:gd name="connsiteY55049" fmla="*/ 1432932 h 5973007"/>
              <a:gd name="connsiteX55050" fmla="*/ 5914074 w 6884782"/>
              <a:gd name="connsiteY55050" fmla="*/ 1435351 h 5973007"/>
              <a:gd name="connsiteX55051" fmla="*/ 5903617 w 6884782"/>
              <a:gd name="connsiteY55051" fmla="*/ 1436347 h 5973007"/>
              <a:gd name="connsiteX55052" fmla="*/ 5897855 w 6884782"/>
              <a:gd name="connsiteY55052" fmla="*/ 1436347 h 5973007"/>
              <a:gd name="connsiteX55053" fmla="*/ 5895934 w 6884782"/>
              <a:gd name="connsiteY55053" fmla="*/ 1433928 h 5973007"/>
              <a:gd name="connsiteX55054" fmla="*/ 5895934 w 6884782"/>
              <a:gd name="connsiteY55054" fmla="*/ 1432648 h 5973007"/>
              <a:gd name="connsiteX55055" fmla="*/ 5898495 w 6884782"/>
              <a:gd name="connsiteY55055" fmla="*/ 1431652 h 5973007"/>
              <a:gd name="connsiteX55056" fmla="*/ 4648496 w 6884782"/>
              <a:gd name="connsiteY55056" fmla="*/ 1431652 h 5973007"/>
              <a:gd name="connsiteX55057" fmla="*/ 4650203 w 6884782"/>
              <a:gd name="connsiteY55057" fmla="*/ 1433074 h 5973007"/>
              <a:gd name="connsiteX55058" fmla="*/ 4650203 w 6884782"/>
              <a:gd name="connsiteY55058" fmla="*/ 1436489 h 5973007"/>
              <a:gd name="connsiteX55059" fmla="*/ 4645508 w 6884782"/>
              <a:gd name="connsiteY55059" fmla="*/ 1435209 h 5973007"/>
              <a:gd name="connsiteX55060" fmla="*/ 4648496 w 6884782"/>
              <a:gd name="connsiteY55060" fmla="*/ 1431652 h 5973007"/>
              <a:gd name="connsiteX55061" fmla="*/ 4629928 w 6884782"/>
              <a:gd name="connsiteY55061" fmla="*/ 1431225 h 5973007"/>
              <a:gd name="connsiteX55062" fmla="*/ 4634837 w 6884782"/>
              <a:gd name="connsiteY55062" fmla="*/ 1433074 h 5973007"/>
              <a:gd name="connsiteX55063" fmla="*/ 4640599 w 6884782"/>
              <a:gd name="connsiteY55063" fmla="*/ 1441326 h 5973007"/>
              <a:gd name="connsiteX55064" fmla="*/ 4630141 w 6884782"/>
              <a:gd name="connsiteY55064" fmla="*/ 1441895 h 5973007"/>
              <a:gd name="connsiteX55065" fmla="*/ 4628647 w 6884782"/>
              <a:gd name="connsiteY55065" fmla="*/ 1439619 h 5973007"/>
              <a:gd name="connsiteX55066" fmla="*/ 4626513 w 6884782"/>
              <a:gd name="connsiteY55066" fmla="*/ 1433643 h 5973007"/>
              <a:gd name="connsiteX55067" fmla="*/ 4629928 w 6884782"/>
              <a:gd name="connsiteY55067" fmla="*/ 1431225 h 5973007"/>
              <a:gd name="connsiteX55068" fmla="*/ 5028383 w 6884782"/>
              <a:gd name="connsiteY55068" fmla="*/ 1431083 h 5973007"/>
              <a:gd name="connsiteX55069" fmla="*/ 5057408 w 6884782"/>
              <a:gd name="connsiteY55069" fmla="*/ 1487563 h 5973007"/>
              <a:gd name="connsiteX55070" fmla="*/ 5045030 w 6884782"/>
              <a:gd name="connsiteY55070" fmla="*/ 1489982 h 5973007"/>
              <a:gd name="connsiteX55071" fmla="*/ 5028383 w 6884782"/>
              <a:gd name="connsiteY55071" fmla="*/ 1431083 h 5973007"/>
              <a:gd name="connsiteX55072" fmla="*/ 1020559 w 6884782"/>
              <a:gd name="connsiteY55072" fmla="*/ 1430102 h 5973007"/>
              <a:gd name="connsiteX55073" fmla="*/ 1032459 w 6884782"/>
              <a:gd name="connsiteY55073" fmla="*/ 1437615 h 5973007"/>
              <a:gd name="connsiteX55074" fmla="*/ 1005096 w 6884782"/>
              <a:gd name="connsiteY55074" fmla="*/ 1434672 h 5973007"/>
              <a:gd name="connsiteX55075" fmla="*/ 1020559 w 6884782"/>
              <a:gd name="connsiteY55075" fmla="*/ 1430102 h 5973007"/>
              <a:gd name="connsiteX55076" fmla="*/ 4091043 w 6884782"/>
              <a:gd name="connsiteY55076" fmla="*/ 1430087 h 5973007"/>
              <a:gd name="connsiteX55077" fmla="*/ 4098086 w 6884782"/>
              <a:gd name="connsiteY55077" fmla="*/ 1434070 h 5973007"/>
              <a:gd name="connsiteX55078" fmla="*/ 4101074 w 6884782"/>
              <a:gd name="connsiteY55078" fmla="*/ 1437485 h 5973007"/>
              <a:gd name="connsiteX55079" fmla="*/ 4102141 w 6884782"/>
              <a:gd name="connsiteY55079" fmla="*/ 1430798 h 5973007"/>
              <a:gd name="connsiteX55080" fmla="*/ 4108330 w 6884782"/>
              <a:gd name="connsiteY55080" fmla="*/ 1430514 h 5973007"/>
              <a:gd name="connsiteX55081" fmla="*/ 4124123 w 6884782"/>
              <a:gd name="connsiteY55081" fmla="*/ 1443460 h 5973007"/>
              <a:gd name="connsiteX55082" fmla="*/ 4117081 w 6884782"/>
              <a:gd name="connsiteY55082" fmla="*/ 1452281 h 5973007"/>
              <a:gd name="connsiteX55083" fmla="*/ 4104275 w 6884782"/>
              <a:gd name="connsiteY55083" fmla="*/ 1446590 h 5973007"/>
              <a:gd name="connsiteX55084" fmla="*/ 4103208 w 6884782"/>
              <a:gd name="connsiteY55084" fmla="*/ 1444171 h 5973007"/>
              <a:gd name="connsiteX55085" fmla="*/ 4103208 w 6884782"/>
              <a:gd name="connsiteY55085" fmla="*/ 1445025 h 5973007"/>
              <a:gd name="connsiteX55086" fmla="*/ 4090403 w 6884782"/>
              <a:gd name="connsiteY55086" fmla="*/ 1438481 h 5973007"/>
              <a:gd name="connsiteX55087" fmla="*/ 4087628 w 6884782"/>
              <a:gd name="connsiteY55087" fmla="*/ 1431225 h 5973007"/>
              <a:gd name="connsiteX55088" fmla="*/ 4091043 w 6884782"/>
              <a:gd name="connsiteY55088" fmla="*/ 1430087 h 5973007"/>
              <a:gd name="connsiteX55089" fmla="*/ 1520655 w 6884782"/>
              <a:gd name="connsiteY55089" fmla="*/ 1429560 h 5973007"/>
              <a:gd name="connsiteX55090" fmla="*/ 1521687 w 6884782"/>
              <a:gd name="connsiteY55090" fmla="*/ 1432658 h 5973007"/>
              <a:gd name="connsiteX55091" fmla="*/ 1519932 w 6884782"/>
              <a:gd name="connsiteY55091" fmla="*/ 1430025 h 5973007"/>
              <a:gd name="connsiteX55092" fmla="*/ 1520655 w 6884782"/>
              <a:gd name="connsiteY55092" fmla="*/ 1429560 h 5973007"/>
              <a:gd name="connsiteX55093" fmla="*/ 4124764 w 6884782"/>
              <a:gd name="connsiteY55093" fmla="*/ 1429518 h 5973007"/>
              <a:gd name="connsiteX55094" fmla="*/ 4136502 w 6884782"/>
              <a:gd name="connsiteY55094" fmla="*/ 1439904 h 5973007"/>
              <a:gd name="connsiteX55095" fmla="*/ 4125404 w 6884782"/>
              <a:gd name="connsiteY55095" fmla="*/ 1440472 h 5973007"/>
              <a:gd name="connsiteX55096" fmla="*/ 4118574 w 6884782"/>
              <a:gd name="connsiteY55096" fmla="*/ 1429660 h 5973007"/>
              <a:gd name="connsiteX55097" fmla="*/ 4124764 w 6884782"/>
              <a:gd name="connsiteY55097" fmla="*/ 1429518 h 5973007"/>
              <a:gd name="connsiteX55098" fmla="*/ 3995431 w 6884782"/>
              <a:gd name="connsiteY55098" fmla="*/ 1429518 h 5973007"/>
              <a:gd name="connsiteX55099" fmla="*/ 4000126 w 6884782"/>
              <a:gd name="connsiteY55099" fmla="*/ 1434782 h 5973007"/>
              <a:gd name="connsiteX55100" fmla="*/ 4003755 w 6884782"/>
              <a:gd name="connsiteY55100" fmla="*/ 1435209 h 5973007"/>
              <a:gd name="connsiteX55101" fmla="*/ 3993297 w 6884782"/>
              <a:gd name="connsiteY55101" fmla="*/ 1443460 h 5973007"/>
              <a:gd name="connsiteX55102" fmla="*/ 3992016 w 6884782"/>
              <a:gd name="connsiteY55102" fmla="*/ 1443176 h 5973007"/>
              <a:gd name="connsiteX55103" fmla="*/ 3989029 w 6884782"/>
              <a:gd name="connsiteY55103" fmla="*/ 1444456 h 5973007"/>
              <a:gd name="connsiteX55104" fmla="*/ 3985400 w 6884782"/>
              <a:gd name="connsiteY55104" fmla="*/ 1441184 h 5973007"/>
              <a:gd name="connsiteX55105" fmla="*/ 3995431 w 6884782"/>
              <a:gd name="connsiteY55105" fmla="*/ 1429518 h 5973007"/>
              <a:gd name="connsiteX55106" fmla="*/ 1260552 w 6884782"/>
              <a:gd name="connsiteY55106" fmla="*/ 1429405 h 5973007"/>
              <a:gd name="connsiteX55107" fmla="*/ 1268090 w 6884782"/>
              <a:gd name="connsiteY55107" fmla="*/ 1434517 h 5973007"/>
              <a:gd name="connsiteX55108" fmla="*/ 1241553 w 6884782"/>
              <a:gd name="connsiteY55108" fmla="*/ 1469988 h 5973007"/>
              <a:gd name="connsiteX55109" fmla="*/ 1241450 w 6884782"/>
              <a:gd name="connsiteY55109" fmla="*/ 1464877 h 5973007"/>
              <a:gd name="connsiteX55110" fmla="*/ 1260552 w 6884782"/>
              <a:gd name="connsiteY55110" fmla="*/ 1429405 h 5973007"/>
              <a:gd name="connsiteX55111" fmla="*/ 5449247 w 6884782"/>
              <a:gd name="connsiteY55111" fmla="*/ 1429376 h 5973007"/>
              <a:gd name="connsiteX55112" fmla="*/ 5463118 w 6884782"/>
              <a:gd name="connsiteY55112" fmla="*/ 1439334 h 5973007"/>
              <a:gd name="connsiteX55113" fmla="*/ 5466747 w 6884782"/>
              <a:gd name="connsiteY55113" fmla="*/ 1456549 h 5973007"/>
              <a:gd name="connsiteX55114" fmla="*/ 5455862 w 6884782"/>
              <a:gd name="connsiteY55114" fmla="*/ 1445452 h 5973007"/>
              <a:gd name="connsiteX55115" fmla="*/ 5449247 w 6884782"/>
              <a:gd name="connsiteY55115" fmla="*/ 1429376 h 5973007"/>
              <a:gd name="connsiteX55116" fmla="*/ 1739351 w 6884782"/>
              <a:gd name="connsiteY55116" fmla="*/ 1429096 h 5973007"/>
              <a:gd name="connsiteX55117" fmla="*/ 1741933 w 6884782"/>
              <a:gd name="connsiteY55117" fmla="*/ 1430025 h 5973007"/>
              <a:gd name="connsiteX55118" fmla="*/ 1742449 w 6884782"/>
              <a:gd name="connsiteY55118" fmla="*/ 1433588 h 5973007"/>
              <a:gd name="connsiteX55119" fmla="*/ 1740487 w 6884782"/>
              <a:gd name="connsiteY55119" fmla="*/ 1434362 h 5973007"/>
              <a:gd name="connsiteX55120" fmla="*/ 1737803 w 6884782"/>
              <a:gd name="connsiteY55120" fmla="*/ 1434207 h 5973007"/>
              <a:gd name="connsiteX55121" fmla="*/ 1737493 w 6884782"/>
              <a:gd name="connsiteY55121" fmla="*/ 1429870 h 5973007"/>
              <a:gd name="connsiteX55122" fmla="*/ 1739351 w 6884782"/>
              <a:gd name="connsiteY55122" fmla="*/ 1429096 h 5973007"/>
              <a:gd name="connsiteX55123" fmla="*/ 5017071 w 6884782"/>
              <a:gd name="connsiteY55123" fmla="*/ 1429091 h 5973007"/>
              <a:gd name="connsiteX55124" fmla="*/ 5018779 w 6884782"/>
              <a:gd name="connsiteY55124" fmla="*/ 1441326 h 5973007"/>
              <a:gd name="connsiteX55125" fmla="*/ 5017071 w 6884782"/>
              <a:gd name="connsiteY55125" fmla="*/ 1429091 h 5973007"/>
              <a:gd name="connsiteX55126" fmla="*/ 5278297 w 6884782"/>
              <a:gd name="connsiteY55126" fmla="*/ 1428948 h 5973007"/>
              <a:gd name="connsiteX55127" fmla="*/ 5279791 w 6884782"/>
              <a:gd name="connsiteY55127" fmla="*/ 1432648 h 5973007"/>
              <a:gd name="connsiteX55128" fmla="*/ 5277871 w 6884782"/>
              <a:gd name="connsiteY55128" fmla="*/ 1446021 h 5973007"/>
              <a:gd name="connsiteX55129" fmla="*/ 5272961 w 6884782"/>
              <a:gd name="connsiteY55129" fmla="*/ 1446448 h 5973007"/>
              <a:gd name="connsiteX55130" fmla="*/ 5272748 w 6884782"/>
              <a:gd name="connsiteY55130" fmla="*/ 1446306 h 5973007"/>
              <a:gd name="connsiteX55131" fmla="*/ 5271895 w 6884782"/>
              <a:gd name="connsiteY55131" fmla="*/ 1451285 h 5973007"/>
              <a:gd name="connsiteX55132" fmla="*/ 5267200 w 6884782"/>
              <a:gd name="connsiteY55132" fmla="*/ 1455837 h 5973007"/>
              <a:gd name="connsiteX55133" fmla="*/ 5266559 w 6884782"/>
              <a:gd name="connsiteY55133" fmla="*/ 1455980 h 5973007"/>
              <a:gd name="connsiteX55134" fmla="*/ 5267200 w 6884782"/>
              <a:gd name="connsiteY55134" fmla="*/ 1457972 h 5973007"/>
              <a:gd name="connsiteX55135" fmla="*/ 5265065 w 6884782"/>
              <a:gd name="connsiteY55135" fmla="*/ 1459394 h 5973007"/>
              <a:gd name="connsiteX55136" fmla="*/ 5263998 w 6884782"/>
              <a:gd name="connsiteY55136" fmla="*/ 1461529 h 5973007"/>
              <a:gd name="connsiteX55137" fmla="*/ 5263145 w 6884782"/>
              <a:gd name="connsiteY55137" fmla="*/ 1460817 h 5973007"/>
              <a:gd name="connsiteX55138" fmla="*/ 5261437 w 6884782"/>
              <a:gd name="connsiteY55138" fmla="*/ 1461244 h 5973007"/>
              <a:gd name="connsiteX55139" fmla="*/ 5258236 w 6884782"/>
              <a:gd name="connsiteY55139" fmla="*/ 1456833 h 5973007"/>
              <a:gd name="connsiteX55140" fmla="*/ 5258022 w 6884782"/>
              <a:gd name="connsiteY55140" fmla="*/ 1455410 h 5973007"/>
              <a:gd name="connsiteX55141" fmla="*/ 5256315 w 6884782"/>
              <a:gd name="connsiteY55141" fmla="*/ 1454415 h 5973007"/>
              <a:gd name="connsiteX55142" fmla="*/ 5255461 w 6884782"/>
              <a:gd name="connsiteY55142" fmla="*/ 1444456 h 5973007"/>
              <a:gd name="connsiteX55143" fmla="*/ 5262931 w 6884782"/>
              <a:gd name="connsiteY55143" fmla="*/ 1443460 h 5973007"/>
              <a:gd name="connsiteX55144" fmla="*/ 5268480 w 6884782"/>
              <a:gd name="connsiteY55144" fmla="*/ 1442322 h 5973007"/>
              <a:gd name="connsiteX55145" fmla="*/ 5267413 w 6884782"/>
              <a:gd name="connsiteY55145" fmla="*/ 1439904 h 5973007"/>
              <a:gd name="connsiteX55146" fmla="*/ 5278297 w 6884782"/>
              <a:gd name="connsiteY55146" fmla="*/ 1428948 h 5973007"/>
              <a:gd name="connsiteX55147" fmla="*/ 4657245 w 6884782"/>
              <a:gd name="connsiteY55147" fmla="*/ 1428948 h 5973007"/>
              <a:gd name="connsiteX55148" fmla="*/ 4659593 w 6884782"/>
              <a:gd name="connsiteY55148" fmla="*/ 1430371 h 5973007"/>
              <a:gd name="connsiteX55149" fmla="*/ 4661728 w 6884782"/>
              <a:gd name="connsiteY55149" fmla="*/ 1432505 h 5973007"/>
              <a:gd name="connsiteX55150" fmla="*/ 4664075 w 6884782"/>
              <a:gd name="connsiteY55150" fmla="*/ 1439192 h 5973007"/>
              <a:gd name="connsiteX55151" fmla="*/ 4661728 w 6884782"/>
              <a:gd name="connsiteY55151" fmla="*/ 1443603 h 5973007"/>
              <a:gd name="connsiteX55152" fmla="*/ 4659807 w 6884782"/>
              <a:gd name="connsiteY55152" fmla="*/ 1444883 h 5973007"/>
              <a:gd name="connsiteX55153" fmla="*/ 4651910 w 6884782"/>
              <a:gd name="connsiteY55153" fmla="*/ 1436915 h 5973007"/>
              <a:gd name="connsiteX55154" fmla="*/ 4657245 w 6884782"/>
              <a:gd name="connsiteY55154" fmla="*/ 1428948 h 5973007"/>
              <a:gd name="connsiteX55155" fmla="*/ 1567430 w 6884782"/>
              <a:gd name="connsiteY55155" fmla="*/ 1427856 h 5973007"/>
              <a:gd name="connsiteX55156" fmla="*/ 1581782 w 6884782"/>
              <a:gd name="connsiteY55156" fmla="*/ 1448458 h 5973007"/>
              <a:gd name="connsiteX55157" fmla="*/ 1564539 w 6884782"/>
              <a:gd name="connsiteY55157" fmla="*/ 1440093 h 5973007"/>
              <a:gd name="connsiteX55158" fmla="*/ 1563816 w 6884782"/>
              <a:gd name="connsiteY55158" fmla="*/ 1438544 h 5973007"/>
              <a:gd name="connsiteX55159" fmla="*/ 1562061 w 6884782"/>
              <a:gd name="connsiteY55159" fmla="*/ 1438235 h 5973007"/>
              <a:gd name="connsiteX55160" fmla="*/ 1559479 w 6884782"/>
              <a:gd name="connsiteY55160" fmla="*/ 1434517 h 5973007"/>
              <a:gd name="connsiteX55161" fmla="*/ 1559789 w 6884782"/>
              <a:gd name="connsiteY55161" fmla="*/ 1431574 h 5973007"/>
              <a:gd name="connsiteX55162" fmla="*/ 1561751 w 6884782"/>
              <a:gd name="connsiteY55162" fmla="*/ 1430800 h 5973007"/>
              <a:gd name="connsiteX55163" fmla="*/ 1564435 w 6884782"/>
              <a:gd name="connsiteY55163" fmla="*/ 1430335 h 5973007"/>
              <a:gd name="connsiteX55164" fmla="*/ 1564848 w 6884782"/>
              <a:gd name="connsiteY55164" fmla="*/ 1430800 h 5973007"/>
              <a:gd name="connsiteX55165" fmla="*/ 4217174 w 6884782"/>
              <a:gd name="connsiteY55165" fmla="*/ 1426815 h 5973007"/>
              <a:gd name="connsiteX55166" fmla="*/ 4219522 w 6884782"/>
              <a:gd name="connsiteY55166" fmla="*/ 1428237 h 5973007"/>
              <a:gd name="connsiteX55167" fmla="*/ 4218027 w 6884782"/>
              <a:gd name="connsiteY55167" fmla="*/ 1432078 h 5973007"/>
              <a:gd name="connsiteX55168" fmla="*/ 4220375 w 6884782"/>
              <a:gd name="connsiteY55168" fmla="*/ 1433501 h 5973007"/>
              <a:gd name="connsiteX55169" fmla="*/ 4220162 w 6884782"/>
              <a:gd name="connsiteY55169" fmla="*/ 1435209 h 5973007"/>
              <a:gd name="connsiteX55170" fmla="*/ 4216534 w 6884782"/>
              <a:gd name="connsiteY55170" fmla="*/ 1435920 h 5973007"/>
              <a:gd name="connsiteX55171" fmla="*/ 4217601 w 6884782"/>
              <a:gd name="connsiteY55171" fmla="*/ 1429518 h 5973007"/>
              <a:gd name="connsiteX55172" fmla="*/ 4217174 w 6884782"/>
              <a:gd name="connsiteY55172" fmla="*/ 1426815 h 5973007"/>
              <a:gd name="connsiteX55173" fmla="*/ 4043877 w 6884782"/>
              <a:gd name="connsiteY55173" fmla="*/ 1426673 h 5973007"/>
              <a:gd name="connsiteX55174" fmla="*/ 4046439 w 6884782"/>
              <a:gd name="connsiteY55174" fmla="*/ 1427384 h 5973007"/>
              <a:gd name="connsiteX55175" fmla="*/ 4047505 w 6884782"/>
              <a:gd name="connsiteY55175" fmla="*/ 1430229 h 5973007"/>
              <a:gd name="connsiteX55176" fmla="*/ 4043877 w 6884782"/>
              <a:gd name="connsiteY55176" fmla="*/ 1433501 h 5973007"/>
              <a:gd name="connsiteX55177" fmla="*/ 4046865 w 6884782"/>
              <a:gd name="connsiteY55177" fmla="*/ 1434640 h 5973007"/>
              <a:gd name="connsiteX55178" fmla="*/ 4049213 w 6884782"/>
              <a:gd name="connsiteY55178" fmla="*/ 1437627 h 5973007"/>
              <a:gd name="connsiteX55179" fmla="*/ 4054122 w 6884782"/>
              <a:gd name="connsiteY55179" fmla="*/ 1432648 h 5973007"/>
              <a:gd name="connsiteX55180" fmla="*/ 4063085 w 6884782"/>
              <a:gd name="connsiteY55180" fmla="*/ 1431652 h 5973007"/>
              <a:gd name="connsiteX55181" fmla="*/ 4076744 w 6884782"/>
              <a:gd name="connsiteY55181" fmla="*/ 1444314 h 5973007"/>
              <a:gd name="connsiteX55182" fmla="*/ 4067567 w 6884782"/>
              <a:gd name="connsiteY55182" fmla="*/ 1471203 h 5973007"/>
              <a:gd name="connsiteX55183" fmla="*/ 4045371 w 6884782"/>
              <a:gd name="connsiteY55183" fmla="*/ 1450146 h 5973007"/>
              <a:gd name="connsiteX55184" fmla="*/ 4046439 w 6884782"/>
              <a:gd name="connsiteY55184" fmla="*/ 1442179 h 5973007"/>
              <a:gd name="connsiteX55185" fmla="*/ 4043024 w 6884782"/>
              <a:gd name="connsiteY55185" fmla="*/ 1444883 h 5973007"/>
              <a:gd name="connsiteX55186" fmla="*/ 4033846 w 6884782"/>
              <a:gd name="connsiteY55186" fmla="*/ 1443176 h 5973007"/>
              <a:gd name="connsiteX55187" fmla="*/ 4031072 w 6884782"/>
              <a:gd name="connsiteY55187" fmla="*/ 1438196 h 5973007"/>
              <a:gd name="connsiteX55188" fmla="*/ 4032566 w 6884782"/>
              <a:gd name="connsiteY55188" fmla="*/ 1436632 h 5973007"/>
              <a:gd name="connsiteX55189" fmla="*/ 4031499 w 6884782"/>
              <a:gd name="connsiteY55189" fmla="*/ 1436347 h 5973007"/>
              <a:gd name="connsiteX55190" fmla="*/ 4028938 w 6884782"/>
              <a:gd name="connsiteY55190" fmla="*/ 1436632 h 5973007"/>
              <a:gd name="connsiteX55191" fmla="*/ 4021895 w 6884782"/>
              <a:gd name="connsiteY55191" fmla="*/ 1432221 h 5973007"/>
              <a:gd name="connsiteX55192" fmla="*/ 4043877 w 6884782"/>
              <a:gd name="connsiteY55192" fmla="*/ 1426673 h 5973007"/>
              <a:gd name="connsiteX55193" fmla="*/ 1357510 w 6884782"/>
              <a:gd name="connsiteY55193" fmla="*/ 1426617 h 5973007"/>
              <a:gd name="connsiteX55194" fmla="*/ 1358336 w 6884782"/>
              <a:gd name="connsiteY55194" fmla="*/ 1426772 h 5973007"/>
              <a:gd name="connsiteX55195" fmla="*/ 1361846 w 6884782"/>
              <a:gd name="connsiteY55195" fmla="*/ 1427082 h 5973007"/>
              <a:gd name="connsiteX55196" fmla="*/ 1363395 w 6884782"/>
              <a:gd name="connsiteY55196" fmla="*/ 1431419 h 5973007"/>
              <a:gd name="connsiteX55197" fmla="*/ 1358232 w 6884782"/>
              <a:gd name="connsiteY55197" fmla="*/ 1432504 h 5973007"/>
              <a:gd name="connsiteX55198" fmla="*/ 1356271 w 6884782"/>
              <a:gd name="connsiteY55198" fmla="*/ 1428166 h 5973007"/>
              <a:gd name="connsiteX55199" fmla="*/ 1357510 w 6884782"/>
              <a:gd name="connsiteY55199" fmla="*/ 1426617 h 5973007"/>
              <a:gd name="connsiteX55200" fmla="*/ 4173850 w 6884782"/>
              <a:gd name="connsiteY55200" fmla="*/ 1425961 h 5973007"/>
              <a:gd name="connsiteX55201" fmla="*/ 4174490 w 6884782"/>
              <a:gd name="connsiteY55201" fmla="*/ 1426246 h 5973007"/>
              <a:gd name="connsiteX55202" fmla="*/ 4174917 w 6884782"/>
              <a:gd name="connsiteY55202" fmla="*/ 1427811 h 5973007"/>
              <a:gd name="connsiteX55203" fmla="*/ 4174063 w 6884782"/>
              <a:gd name="connsiteY55203" fmla="*/ 1428379 h 5973007"/>
              <a:gd name="connsiteX55204" fmla="*/ 4173850 w 6884782"/>
              <a:gd name="connsiteY55204" fmla="*/ 1425961 h 5973007"/>
              <a:gd name="connsiteX55205" fmla="*/ 1546778 w 6884782"/>
              <a:gd name="connsiteY55205" fmla="*/ 1425843 h 5973007"/>
              <a:gd name="connsiteX55206" fmla="*/ 1552148 w 6884782"/>
              <a:gd name="connsiteY55206" fmla="*/ 1437615 h 5973007"/>
              <a:gd name="connsiteX55207" fmla="*/ 1549463 w 6884782"/>
              <a:gd name="connsiteY55207" fmla="*/ 1440248 h 5973007"/>
              <a:gd name="connsiteX55208" fmla="*/ 1543268 w 6884782"/>
              <a:gd name="connsiteY55208" fmla="*/ 1429405 h 5973007"/>
              <a:gd name="connsiteX55209" fmla="*/ 1544507 w 6884782"/>
              <a:gd name="connsiteY55209" fmla="*/ 1426462 h 5973007"/>
              <a:gd name="connsiteX55210" fmla="*/ 1546778 w 6884782"/>
              <a:gd name="connsiteY55210" fmla="*/ 1425843 h 5973007"/>
              <a:gd name="connsiteX55211" fmla="*/ 5233906 w 6884782"/>
              <a:gd name="connsiteY55211" fmla="*/ 1425819 h 5973007"/>
              <a:gd name="connsiteX55212" fmla="*/ 5240095 w 6884782"/>
              <a:gd name="connsiteY55212" fmla="*/ 1429233 h 5973007"/>
              <a:gd name="connsiteX55213" fmla="*/ 5242016 w 6884782"/>
              <a:gd name="connsiteY55213" fmla="*/ 1434213 h 5973007"/>
              <a:gd name="connsiteX55214" fmla="*/ 5241803 w 6884782"/>
              <a:gd name="connsiteY55214" fmla="*/ 1434497 h 5973007"/>
              <a:gd name="connsiteX55215" fmla="*/ 5243510 w 6884782"/>
              <a:gd name="connsiteY55215" fmla="*/ 1433359 h 5973007"/>
              <a:gd name="connsiteX55216" fmla="*/ 5245858 w 6884782"/>
              <a:gd name="connsiteY55216" fmla="*/ 1433359 h 5973007"/>
              <a:gd name="connsiteX55217" fmla="*/ 5247351 w 6884782"/>
              <a:gd name="connsiteY55217" fmla="*/ 1435777 h 5973007"/>
              <a:gd name="connsiteX55218" fmla="*/ 5247991 w 6884782"/>
              <a:gd name="connsiteY55218" fmla="*/ 1440614 h 5973007"/>
              <a:gd name="connsiteX55219" fmla="*/ 5246071 w 6884782"/>
              <a:gd name="connsiteY55219" fmla="*/ 1443176 h 5973007"/>
              <a:gd name="connsiteX55220" fmla="*/ 5243723 w 6884782"/>
              <a:gd name="connsiteY55220" fmla="*/ 1442037 h 5973007"/>
              <a:gd name="connsiteX55221" fmla="*/ 5241376 w 6884782"/>
              <a:gd name="connsiteY55221" fmla="*/ 1442179 h 5973007"/>
              <a:gd name="connsiteX55222" fmla="*/ 5241162 w 6884782"/>
              <a:gd name="connsiteY55222" fmla="*/ 1441042 h 5973007"/>
              <a:gd name="connsiteX55223" fmla="*/ 5241376 w 6884782"/>
              <a:gd name="connsiteY55223" fmla="*/ 1440899 h 5973007"/>
              <a:gd name="connsiteX55224" fmla="*/ 5240522 w 6884782"/>
              <a:gd name="connsiteY55224" fmla="*/ 1440188 h 5973007"/>
              <a:gd name="connsiteX55225" fmla="*/ 5239668 w 6884782"/>
              <a:gd name="connsiteY55225" fmla="*/ 1443460 h 5973007"/>
              <a:gd name="connsiteX55226" fmla="*/ 5222381 w 6884782"/>
              <a:gd name="connsiteY55226" fmla="*/ 1438054 h 5973007"/>
              <a:gd name="connsiteX55227" fmla="*/ 5226223 w 6884782"/>
              <a:gd name="connsiteY55227" fmla="*/ 1428379 h 5973007"/>
              <a:gd name="connsiteX55228" fmla="*/ 5233906 w 6884782"/>
              <a:gd name="connsiteY55228" fmla="*/ 1425819 h 5973007"/>
              <a:gd name="connsiteX55229" fmla="*/ 5562145 w 6884782"/>
              <a:gd name="connsiteY55229" fmla="*/ 1424681 h 5973007"/>
              <a:gd name="connsiteX55230" fmla="*/ 5568975 w 6884782"/>
              <a:gd name="connsiteY55230" fmla="*/ 1426388 h 5973007"/>
              <a:gd name="connsiteX55231" fmla="*/ 5556810 w 6884782"/>
              <a:gd name="connsiteY55231" fmla="*/ 1433928 h 5973007"/>
              <a:gd name="connsiteX55232" fmla="*/ 5555103 w 6884782"/>
              <a:gd name="connsiteY55232" fmla="*/ 1426673 h 5973007"/>
              <a:gd name="connsiteX55233" fmla="*/ 5562145 w 6884782"/>
              <a:gd name="connsiteY55233" fmla="*/ 1424681 h 5973007"/>
              <a:gd name="connsiteX55234" fmla="*/ 3663563 w 6884782"/>
              <a:gd name="connsiteY55234" fmla="*/ 1424538 h 5973007"/>
              <a:gd name="connsiteX55235" fmla="*/ 3664417 w 6884782"/>
              <a:gd name="connsiteY55235" fmla="*/ 1428806 h 5973007"/>
              <a:gd name="connsiteX55236" fmla="*/ 3662709 w 6884782"/>
              <a:gd name="connsiteY55236" fmla="*/ 1433359 h 5973007"/>
              <a:gd name="connsiteX55237" fmla="*/ 3661429 w 6884782"/>
              <a:gd name="connsiteY55237" fmla="*/ 1434497 h 5973007"/>
              <a:gd name="connsiteX55238" fmla="*/ 3662069 w 6884782"/>
              <a:gd name="connsiteY55238" fmla="*/ 1428806 h 5973007"/>
              <a:gd name="connsiteX55239" fmla="*/ 3623227 w 6884782"/>
              <a:gd name="connsiteY55239" fmla="*/ 1424254 h 5973007"/>
              <a:gd name="connsiteX55240" fmla="*/ 3627282 w 6884782"/>
              <a:gd name="connsiteY55240" fmla="*/ 1428095 h 5973007"/>
              <a:gd name="connsiteX55241" fmla="*/ 3628776 w 6884782"/>
              <a:gd name="connsiteY55241" fmla="*/ 1430229 h 5973007"/>
              <a:gd name="connsiteX55242" fmla="*/ 3627709 w 6884782"/>
              <a:gd name="connsiteY55242" fmla="*/ 1431936 h 5973007"/>
              <a:gd name="connsiteX55243" fmla="*/ 3628136 w 6884782"/>
              <a:gd name="connsiteY55243" fmla="*/ 1431652 h 5973007"/>
              <a:gd name="connsiteX55244" fmla="*/ 3634111 w 6884782"/>
              <a:gd name="connsiteY55244" fmla="*/ 1431936 h 5973007"/>
              <a:gd name="connsiteX55245" fmla="*/ 3635819 w 6884782"/>
              <a:gd name="connsiteY55245" fmla="*/ 1431510 h 5973007"/>
              <a:gd name="connsiteX55246" fmla="*/ 3635819 w 6884782"/>
              <a:gd name="connsiteY55246" fmla="*/ 1432078 h 5973007"/>
              <a:gd name="connsiteX55247" fmla="*/ 3635605 w 6884782"/>
              <a:gd name="connsiteY55247" fmla="*/ 1432078 h 5973007"/>
              <a:gd name="connsiteX55248" fmla="*/ 3635179 w 6884782"/>
              <a:gd name="connsiteY55248" fmla="*/ 1433928 h 5973007"/>
              <a:gd name="connsiteX55249" fmla="*/ 3634538 w 6884782"/>
              <a:gd name="connsiteY55249" fmla="*/ 1434497 h 5973007"/>
              <a:gd name="connsiteX55250" fmla="*/ 3633258 w 6884782"/>
              <a:gd name="connsiteY55250" fmla="*/ 1437343 h 5973007"/>
              <a:gd name="connsiteX55251" fmla="*/ 3633471 w 6884782"/>
              <a:gd name="connsiteY55251" fmla="*/ 1438765 h 5973007"/>
              <a:gd name="connsiteX55252" fmla="*/ 3631337 w 6884782"/>
              <a:gd name="connsiteY55252" fmla="*/ 1442749 h 5973007"/>
              <a:gd name="connsiteX55253" fmla="*/ 3630484 w 6884782"/>
              <a:gd name="connsiteY55253" fmla="*/ 1446306 h 5973007"/>
              <a:gd name="connsiteX55254" fmla="*/ 3634965 w 6884782"/>
              <a:gd name="connsiteY55254" fmla="*/ 1442464 h 5973007"/>
              <a:gd name="connsiteX55255" fmla="*/ 3647983 w 6884782"/>
              <a:gd name="connsiteY55255" fmla="*/ 1436062 h 5973007"/>
              <a:gd name="connsiteX55256" fmla="*/ 3656307 w 6884782"/>
              <a:gd name="connsiteY55256" fmla="*/ 1435635 h 5973007"/>
              <a:gd name="connsiteX55257" fmla="*/ 3673380 w 6884782"/>
              <a:gd name="connsiteY55257" fmla="*/ 1447017 h 5973007"/>
              <a:gd name="connsiteX55258" fmla="*/ 3673380 w 6884782"/>
              <a:gd name="connsiteY55258" fmla="*/ 1449862 h 5973007"/>
              <a:gd name="connsiteX55259" fmla="*/ 3674234 w 6884782"/>
              <a:gd name="connsiteY55259" fmla="*/ 1453277 h 5973007"/>
              <a:gd name="connsiteX55260" fmla="*/ 3675301 w 6884782"/>
              <a:gd name="connsiteY55260" fmla="*/ 1450289 h 5973007"/>
              <a:gd name="connsiteX55261" fmla="*/ 3675088 w 6884782"/>
              <a:gd name="connsiteY55261" fmla="*/ 1446163 h 5973007"/>
              <a:gd name="connsiteX55262" fmla="*/ 3677222 w 6884782"/>
              <a:gd name="connsiteY55262" fmla="*/ 1444883 h 5973007"/>
              <a:gd name="connsiteX55263" fmla="*/ 3678716 w 6884782"/>
              <a:gd name="connsiteY55263" fmla="*/ 1448298 h 5973007"/>
              <a:gd name="connsiteX55264" fmla="*/ 3675728 w 6884782"/>
              <a:gd name="connsiteY55264" fmla="*/ 1450858 h 5973007"/>
              <a:gd name="connsiteX55265" fmla="*/ 3675301 w 6884782"/>
              <a:gd name="connsiteY55265" fmla="*/ 1455695 h 5973007"/>
              <a:gd name="connsiteX55266" fmla="*/ 3675088 w 6884782"/>
              <a:gd name="connsiteY55266" fmla="*/ 1455837 h 5973007"/>
              <a:gd name="connsiteX55267" fmla="*/ 3674875 w 6884782"/>
              <a:gd name="connsiteY55267" fmla="*/ 1473479 h 5973007"/>
              <a:gd name="connsiteX55268" fmla="*/ 3664844 w 6884782"/>
              <a:gd name="connsiteY55268" fmla="*/ 1485856 h 5973007"/>
              <a:gd name="connsiteX55269" fmla="*/ 3644782 w 6884782"/>
              <a:gd name="connsiteY55269" fmla="*/ 1492970 h 5973007"/>
              <a:gd name="connsiteX55270" fmla="*/ 3641155 w 6884782"/>
              <a:gd name="connsiteY55270" fmla="*/ 1491832 h 5973007"/>
              <a:gd name="connsiteX55271" fmla="*/ 3641795 w 6884782"/>
              <a:gd name="connsiteY55271" fmla="*/ 1498376 h 5973007"/>
              <a:gd name="connsiteX55272" fmla="*/ 3637953 w 6884782"/>
              <a:gd name="connsiteY55272" fmla="*/ 1506058 h 5973007"/>
              <a:gd name="connsiteX55273" fmla="*/ 3619599 w 6884782"/>
              <a:gd name="connsiteY55273" fmla="*/ 1483865 h 5973007"/>
              <a:gd name="connsiteX55274" fmla="*/ 3624721 w 6884782"/>
              <a:gd name="connsiteY55274" fmla="*/ 1479454 h 5973007"/>
              <a:gd name="connsiteX55275" fmla="*/ 3625575 w 6884782"/>
              <a:gd name="connsiteY55275" fmla="*/ 1479312 h 5973007"/>
              <a:gd name="connsiteX55276" fmla="*/ 3625148 w 6884782"/>
              <a:gd name="connsiteY55276" fmla="*/ 1478458 h 5973007"/>
              <a:gd name="connsiteX55277" fmla="*/ 3622373 w 6884782"/>
              <a:gd name="connsiteY55277" fmla="*/ 1472767 h 5973007"/>
              <a:gd name="connsiteX55278" fmla="*/ 3615330 w 6884782"/>
              <a:gd name="connsiteY55278" fmla="*/ 1465654 h 5973007"/>
              <a:gd name="connsiteX55279" fmla="*/ 3617678 w 6884782"/>
              <a:gd name="connsiteY55279" fmla="*/ 1463236 h 5973007"/>
              <a:gd name="connsiteX55280" fmla="*/ 3616611 w 6884782"/>
              <a:gd name="connsiteY55280" fmla="*/ 1461386 h 5973007"/>
              <a:gd name="connsiteX55281" fmla="*/ 3617251 w 6884782"/>
              <a:gd name="connsiteY55281" fmla="*/ 1454415 h 5973007"/>
              <a:gd name="connsiteX55282" fmla="*/ 3620026 w 6884782"/>
              <a:gd name="connsiteY55282" fmla="*/ 1450431 h 5973007"/>
              <a:gd name="connsiteX55283" fmla="*/ 3620239 w 6884782"/>
              <a:gd name="connsiteY55283" fmla="*/ 1450289 h 5973007"/>
              <a:gd name="connsiteX55284" fmla="*/ 3619599 w 6884782"/>
              <a:gd name="connsiteY55284" fmla="*/ 1442464 h 5973007"/>
              <a:gd name="connsiteX55285" fmla="*/ 3623227 w 6884782"/>
              <a:gd name="connsiteY55285" fmla="*/ 1433643 h 5973007"/>
              <a:gd name="connsiteX55286" fmla="*/ 3626215 w 6884782"/>
              <a:gd name="connsiteY55286" fmla="*/ 1432363 h 5973007"/>
              <a:gd name="connsiteX55287" fmla="*/ 3623653 w 6884782"/>
              <a:gd name="connsiteY55287" fmla="*/ 1429091 h 5973007"/>
              <a:gd name="connsiteX55288" fmla="*/ 3623227 w 6884782"/>
              <a:gd name="connsiteY55288" fmla="*/ 1424254 h 5973007"/>
              <a:gd name="connsiteX55289" fmla="*/ 1052801 w 6884782"/>
              <a:gd name="connsiteY55289" fmla="*/ 1424139 h 5973007"/>
              <a:gd name="connsiteX55290" fmla="*/ 1047225 w 6884782"/>
              <a:gd name="connsiteY55290" fmla="*/ 1432813 h 5973007"/>
              <a:gd name="connsiteX55291" fmla="*/ 1044540 w 6884782"/>
              <a:gd name="connsiteY55291" fmla="*/ 1429096 h 5973007"/>
              <a:gd name="connsiteX55292" fmla="*/ 1052801 w 6884782"/>
              <a:gd name="connsiteY55292" fmla="*/ 1424139 h 5973007"/>
              <a:gd name="connsiteX55293" fmla="*/ 1223793 w 6884782"/>
              <a:gd name="connsiteY55293" fmla="*/ 1423829 h 5973007"/>
              <a:gd name="connsiteX55294" fmla="*/ 1221315 w 6884782"/>
              <a:gd name="connsiteY55294" fmla="*/ 1431884 h 5973007"/>
              <a:gd name="connsiteX55295" fmla="*/ 1219766 w 6884782"/>
              <a:gd name="connsiteY55295" fmla="*/ 1429250 h 5973007"/>
              <a:gd name="connsiteX55296" fmla="*/ 1223793 w 6884782"/>
              <a:gd name="connsiteY55296" fmla="*/ 1423829 h 5973007"/>
              <a:gd name="connsiteX55297" fmla="*/ 5538242 w 6884782"/>
              <a:gd name="connsiteY55297" fmla="*/ 1423542 h 5973007"/>
              <a:gd name="connsiteX55298" fmla="*/ 5541230 w 6884782"/>
              <a:gd name="connsiteY55298" fmla="*/ 1443603 h 5973007"/>
              <a:gd name="connsiteX55299" fmla="*/ 5531840 w 6884782"/>
              <a:gd name="connsiteY55299" fmla="*/ 1440330 h 5973007"/>
              <a:gd name="connsiteX55300" fmla="*/ 5538242 w 6884782"/>
              <a:gd name="connsiteY55300" fmla="*/ 1423542 h 5973007"/>
              <a:gd name="connsiteX55301" fmla="*/ 4131380 w 6884782"/>
              <a:gd name="connsiteY55301" fmla="*/ 1423542 h 5973007"/>
              <a:gd name="connsiteX55302" fmla="*/ 4144185 w 6884782"/>
              <a:gd name="connsiteY55302" fmla="*/ 1431510 h 5973007"/>
              <a:gd name="connsiteX55303" fmla="*/ 4127964 w 6884782"/>
              <a:gd name="connsiteY55303" fmla="*/ 1423827 h 5973007"/>
              <a:gd name="connsiteX55304" fmla="*/ 4131380 w 6884782"/>
              <a:gd name="connsiteY55304" fmla="*/ 1423542 h 5973007"/>
              <a:gd name="connsiteX55305" fmla="*/ 4794902 w 6884782"/>
              <a:gd name="connsiteY55305" fmla="*/ 1422547 h 5973007"/>
              <a:gd name="connsiteX55306" fmla="*/ 4801518 w 6884782"/>
              <a:gd name="connsiteY55306" fmla="*/ 1426530 h 5973007"/>
              <a:gd name="connsiteX55307" fmla="*/ 4772065 w 6884782"/>
              <a:gd name="connsiteY55307" fmla="*/ 1435493 h 5973007"/>
              <a:gd name="connsiteX55308" fmla="*/ 4794902 w 6884782"/>
              <a:gd name="connsiteY55308" fmla="*/ 1422547 h 5973007"/>
              <a:gd name="connsiteX55309" fmla="*/ 1594341 w 6884782"/>
              <a:gd name="connsiteY55309" fmla="*/ 1422338 h 5973007"/>
              <a:gd name="connsiteX55310" fmla="*/ 1601401 w 6884782"/>
              <a:gd name="connsiteY55310" fmla="*/ 1423365 h 5973007"/>
              <a:gd name="connsiteX55311" fmla="*/ 1599439 w 6884782"/>
              <a:gd name="connsiteY55311" fmla="*/ 1428476 h 5973007"/>
              <a:gd name="connsiteX55312" fmla="*/ 1590146 w 6884782"/>
              <a:gd name="connsiteY55312" fmla="*/ 1428166 h 5973007"/>
              <a:gd name="connsiteX55313" fmla="*/ 1594341 w 6884782"/>
              <a:gd name="connsiteY55313" fmla="*/ 1422338 h 5973007"/>
              <a:gd name="connsiteX55314" fmla="*/ 3688534 w 6884782"/>
              <a:gd name="connsiteY55314" fmla="*/ 1421835 h 5973007"/>
              <a:gd name="connsiteX55315" fmla="*/ 3697070 w 6884782"/>
              <a:gd name="connsiteY55315" fmla="*/ 1431652 h 5973007"/>
              <a:gd name="connsiteX55316" fmla="*/ 3688534 w 6884782"/>
              <a:gd name="connsiteY55316" fmla="*/ 1421835 h 5973007"/>
              <a:gd name="connsiteX55317" fmla="*/ 3855214 w 6884782"/>
              <a:gd name="connsiteY55317" fmla="*/ 1421693 h 5973007"/>
              <a:gd name="connsiteX55318" fmla="*/ 3856495 w 6884782"/>
              <a:gd name="connsiteY55318" fmla="*/ 1423969 h 5973007"/>
              <a:gd name="connsiteX55319" fmla="*/ 3855855 w 6884782"/>
              <a:gd name="connsiteY55319" fmla="*/ 1428095 h 5973007"/>
              <a:gd name="connsiteX55320" fmla="*/ 3853294 w 6884782"/>
              <a:gd name="connsiteY55320" fmla="*/ 1430798 h 5973007"/>
              <a:gd name="connsiteX55321" fmla="*/ 3847744 w 6884782"/>
              <a:gd name="connsiteY55321" fmla="*/ 1427099 h 5973007"/>
              <a:gd name="connsiteX55322" fmla="*/ 3855214 w 6884782"/>
              <a:gd name="connsiteY55322" fmla="*/ 1421693 h 5973007"/>
              <a:gd name="connsiteX55323" fmla="*/ 3964485 w 6884782"/>
              <a:gd name="connsiteY55323" fmla="*/ 1420697 h 5973007"/>
              <a:gd name="connsiteX55324" fmla="*/ 3970034 w 6884782"/>
              <a:gd name="connsiteY55324" fmla="*/ 1422974 h 5973007"/>
              <a:gd name="connsiteX55325" fmla="*/ 3961071 w 6884782"/>
              <a:gd name="connsiteY55325" fmla="*/ 1426246 h 5973007"/>
              <a:gd name="connsiteX55326" fmla="*/ 3964485 w 6884782"/>
              <a:gd name="connsiteY55326" fmla="*/ 1420697 h 5973007"/>
              <a:gd name="connsiteX55327" fmla="*/ 5762547 w 6884782"/>
              <a:gd name="connsiteY55327" fmla="*/ 1420555 h 5973007"/>
              <a:gd name="connsiteX55328" fmla="*/ 5761480 w 6884782"/>
              <a:gd name="connsiteY55328" fmla="*/ 1427384 h 5973007"/>
              <a:gd name="connsiteX55329" fmla="*/ 5757211 w 6884782"/>
              <a:gd name="connsiteY55329" fmla="*/ 1425819 h 5973007"/>
              <a:gd name="connsiteX55330" fmla="*/ 5762547 w 6884782"/>
              <a:gd name="connsiteY55330" fmla="*/ 1420555 h 5973007"/>
              <a:gd name="connsiteX55331" fmla="*/ 3621520 w 6884782"/>
              <a:gd name="connsiteY55331" fmla="*/ 1420270 h 5973007"/>
              <a:gd name="connsiteX55332" fmla="*/ 3622160 w 6884782"/>
              <a:gd name="connsiteY55332" fmla="*/ 1420697 h 5973007"/>
              <a:gd name="connsiteX55333" fmla="*/ 3623441 w 6884782"/>
              <a:gd name="connsiteY55333" fmla="*/ 1422404 h 5973007"/>
              <a:gd name="connsiteX55334" fmla="*/ 3623013 w 6884782"/>
              <a:gd name="connsiteY55334" fmla="*/ 1424254 h 5973007"/>
              <a:gd name="connsiteX55335" fmla="*/ 3619813 w 6884782"/>
              <a:gd name="connsiteY55335" fmla="*/ 1421835 h 5973007"/>
              <a:gd name="connsiteX55336" fmla="*/ 3621093 w 6884782"/>
              <a:gd name="connsiteY55336" fmla="*/ 1420697 h 5973007"/>
              <a:gd name="connsiteX55337" fmla="*/ 3620026 w 6884782"/>
              <a:gd name="connsiteY55337" fmla="*/ 1420555 h 5973007"/>
              <a:gd name="connsiteX55338" fmla="*/ 3621520 w 6884782"/>
              <a:gd name="connsiteY55338" fmla="*/ 1420270 h 5973007"/>
              <a:gd name="connsiteX55339" fmla="*/ 967614 w 6884782"/>
              <a:gd name="connsiteY55339" fmla="*/ 1420267 h 5973007"/>
              <a:gd name="connsiteX55340" fmla="*/ 978559 w 6884782"/>
              <a:gd name="connsiteY55340" fmla="*/ 1423519 h 5973007"/>
              <a:gd name="connsiteX55341" fmla="*/ 968750 w 6884782"/>
              <a:gd name="connsiteY55341" fmla="*/ 1426462 h 5973007"/>
              <a:gd name="connsiteX55342" fmla="*/ 967614 w 6884782"/>
              <a:gd name="connsiteY55342" fmla="*/ 1420267 h 5973007"/>
              <a:gd name="connsiteX55343" fmla="*/ 5128050 w 6884782"/>
              <a:gd name="connsiteY55343" fmla="*/ 1419843 h 5973007"/>
              <a:gd name="connsiteX55344" fmla="*/ 5131038 w 6884782"/>
              <a:gd name="connsiteY55344" fmla="*/ 1424538 h 5973007"/>
              <a:gd name="connsiteX55345" fmla="*/ 5124635 w 6884782"/>
              <a:gd name="connsiteY55345" fmla="*/ 1427241 h 5973007"/>
              <a:gd name="connsiteX55346" fmla="*/ 5121647 w 6884782"/>
              <a:gd name="connsiteY55346" fmla="*/ 1422689 h 5973007"/>
              <a:gd name="connsiteX55347" fmla="*/ 5128050 w 6884782"/>
              <a:gd name="connsiteY55347" fmla="*/ 1419843 h 5973007"/>
              <a:gd name="connsiteX55348" fmla="*/ 986820 w 6884782"/>
              <a:gd name="connsiteY55348" fmla="*/ 1419647 h 5973007"/>
              <a:gd name="connsiteX55349" fmla="*/ 989195 w 6884782"/>
              <a:gd name="connsiteY55349" fmla="*/ 1419957 h 5973007"/>
              <a:gd name="connsiteX55350" fmla="*/ 989711 w 6884782"/>
              <a:gd name="connsiteY55350" fmla="*/ 1432504 h 5973007"/>
              <a:gd name="connsiteX55351" fmla="*/ 986200 w 6884782"/>
              <a:gd name="connsiteY55351" fmla="*/ 1433743 h 5973007"/>
              <a:gd name="connsiteX55352" fmla="*/ 984135 w 6884782"/>
              <a:gd name="connsiteY55352" fmla="*/ 1425998 h 5973007"/>
              <a:gd name="connsiteX55353" fmla="*/ 986820 w 6884782"/>
              <a:gd name="connsiteY55353" fmla="*/ 1419647 h 5973007"/>
              <a:gd name="connsiteX55354" fmla="*/ 4640172 w 6884782"/>
              <a:gd name="connsiteY55354" fmla="*/ 1419417 h 5973007"/>
              <a:gd name="connsiteX55355" fmla="*/ 4642520 w 6884782"/>
              <a:gd name="connsiteY55355" fmla="*/ 1420982 h 5973007"/>
              <a:gd name="connsiteX55356" fmla="*/ 4636544 w 6884782"/>
              <a:gd name="connsiteY55356" fmla="*/ 1427811 h 5973007"/>
              <a:gd name="connsiteX55357" fmla="*/ 4634196 w 6884782"/>
              <a:gd name="connsiteY55357" fmla="*/ 1426388 h 5973007"/>
              <a:gd name="connsiteX55358" fmla="*/ 4634623 w 6884782"/>
              <a:gd name="connsiteY55358" fmla="*/ 1423116 h 5973007"/>
              <a:gd name="connsiteX55359" fmla="*/ 4640172 w 6884782"/>
              <a:gd name="connsiteY55359" fmla="*/ 1419417 h 5973007"/>
              <a:gd name="connsiteX55360" fmla="*/ 4621178 w 6884782"/>
              <a:gd name="connsiteY55360" fmla="*/ 1419274 h 5973007"/>
              <a:gd name="connsiteX55361" fmla="*/ 4624592 w 6884782"/>
              <a:gd name="connsiteY55361" fmla="*/ 1432078 h 5973007"/>
              <a:gd name="connsiteX55362" fmla="*/ 4623739 w 6884782"/>
              <a:gd name="connsiteY55362" fmla="*/ 1433217 h 5973007"/>
              <a:gd name="connsiteX55363" fmla="*/ 4623739 w 6884782"/>
              <a:gd name="connsiteY55363" fmla="*/ 1436489 h 5973007"/>
              <a:gd name="connsiteX55364" fmla="*/ 4619470 w 6884782"/>
              <a:gd name="connsiteY55364" fmla="*/ 1438338 h 5973007"/>
              <a:gd name="connsiteX55365" fmla="*/ 4613495 w 6884782"/>
              <a:gd name="connsiteY55365" fmla="*/ 1433501 h 5973007"/>
              <a:gd name="connsiteX55366" fmla="*/ 4613068 w 6884782"/>
              <a:gd name="connsiteY55366" fmla="*/ 1428237 h 5973007"/>
              <a:gd name="connsiteX55367" fmla="*/ 4611147 w 6884782"/>
              <a:gd name="connsiteY55367" fmla="*/ 1429802 h 5973007"/>
              <a:gd name="connsiteX55368" fmla="*/ 4605598 w 6884782"/>
              <a:gd name="connsiteY55368" fmla="*/ 1424965 h 5973007"/>
              <a:gd name="connsiteX55369" fmla="*/ 4610507 w 6884782"/>
              <a:gd name="connsiteY55369" fmla="*/ 1423400 h 5973007"/>
              <a:gd name="connsiteX55370" fmla="*/ 4612854 w 6884782"/>
              <a:gd name="connsiteY55370" fmla="*/ 1425534 h 5973007"/>
              <a:gd name="connsiteX55371" fmla="*/ 4612641 w 6884782"/>
              <a:gd name="connsiteY55371" fmla="*/ 1424538 h 5973007"/>
              <a:gd name="connsiteX55372" fmla="*/ 4619470 w 6884782"/>
              <a:gd name="connsiteY55372" fmla="*/ 1422404 h 5973007"/>
              <a:gd name="connsiteX55373" fmla="*/ 1085946 w 6884782"/>
              <a:gd name="connsiteY55373" fmla="*/ 1418717 h 5973007"/>
              <a:gd name="connsiteX55374" fmla="*/ 1089663 w 6884782"/>
              <a:gd name="connsiteY55374" fmla="*/ 1425533 h 5973007"/>
              <a:gd name="connsiteX55375" fmla="*/ 1082538 w 6884782"/>
              <a:gd name="connsiteY55375" fmla="*/ 1420112 h 5973007"/>
              <a:gd name="connsiteX55376" fmla="*/ 1085946 w 6884782"/>
              <a:gd name="connsiteY55376" fmla="*/ 1418717 h 5973007"/>
              <a:gd name="connsiteX55377" fmla="*/ 1704038 w 6884782"/>
              <a:gd name="connsiteY55377" fmla="*/ 1418408 h 5973007"/>
              <a:gd name="connsiteX55378" fmla="*/ 1709613 w 6884782"/>
              <a:gd name="connsiteY55378" fmla="*/ 1423365 h 5973007"/>
              <a:gd name="connsiteX55379" fmla="*/ 1704761 w 6884782"/>
              <a:gd name="connsiteY55379" fmla="*/ 1429405 h 5973007"/>
              <a:gd name="connsiteX55380" fmla="*/ 1702489 w 6884782"/>
              <a:gd name="connsiteY55380" fmla="*/ 1423829 h 5973007"/>
              <a:gd name="connsiteX55381" fmla="*/ 1704038 w 6884782"/>
              <a:gd name="connsiteY55381" fmla="*/ 1418408 h 5973007"/>
              <a:gd name="connsiteX55382" fmla="*/ 1580646 w 6884782"/>
              <a:gd name="connsiteY55382" fmla="*/ 1418408 h 5973007"/>
              <a:gd name="connsiteX55383" fmla="*/ 1584467 w 6884782"/>
              <a:gd name="connsiteY55383" fmla="*/ 1420267 h 5973007"/>
              <a:gd name="connsiteX55384" fmla="*/ 1581886 w 6884782"/>
              <a:gd name="connsiteY55384" fmla="*/ 1423055 h 5973007"/>
              <a:gd name="connsiteX55385" fmla="*/ 1579098 w 6884782"/>
              <a:gd name="connsiteY55385" fmla="*/ 1422745 h 5973007"/>
              <a:gd name="connsiteX55386" fmla="*/ 1578891 w 6884782"/>
              <a:gd name="connsiteY55386" fmla="*/ 1421815 h 5973007"/>
              <a:gd name="connsiteX55387" fmla="*/ 1579614 w 6884782"/>
              <a:gd name="connsiteY55387" fmla="*/ 1421971 h 5973007"/>
              <a:gd name="connsiteX55388" fmla="*/ 1580646 w 6884782"/>
              <a:gd name="connsiteY55388" fmla="*/ 1418408 h 5973007"/>
              <a:gd name="connsiteX55389" fmla="*/ 1157296 w 6884782"/>
              <a:gd name="connsiteY55389" fmla="*/ 1418098 h 5973007"/>
              <a:gd name="connsiteX55390" fmla="*/ 1163491 w 6884782"/>
              <a:gd name="connsiteY55390" fmla="*/ 1420267 h 5973007"/>
              <a:gd name="connsiteX55391" fmla="*/ 1156883 w 6884782"/>
              <a:gd name="connsiteY55391" fmla="*/ 1424294 h 5973007"/>
              <a:gd name="connsiteX55392" fmla="*/ 1155437 w 6884782"/>
              <a:gd name="connsiteY55392" fmla="*/ 1420886 h 5973007"/>
              <a:gd name="connsiteX55393" fmla="*/ 1157296 w 6884782"/>
              <a:gd name="connsiteY55393" fmla="*/ 1418098 h 5973007"/>
              <a:gd name="connsiteX55394" fmla="*/ 4109824 w 6884782"/>
              <a:gd name="connsiteY55394" fmla="*/ 1417710 h 5973007"/>
              <a:gd name="connsiteX55395" fmla="*/ 4111958 w 6884782"/>
              <a:gd name="connsiteY55395" fmla="*/ 1422831 h 5973007"/>
              <a:gd name="connsiteX55396" fmla="*/ 4108330 w 6884782"/>
              <a:gd name="connsiteY55396" fmla="*/ 1423400 h 5973007"/>
              <a:gd name="connsiteX55397" fmla="*/ 4109824 w 6884782"/>
              <a:gd name="connsiteY55397" fmla="*/ 1417710 h 5973007"/>
              <a:gd name="connsiteX55398" fmla="*/ 3483864 w 6884782"/>
              <a:gd name="connsiteY55398" fmla="*/ 1417710 h 5973007"/>
              <a:gd name="connsiteX55399" fmla="*/ 3484078 w 6884782"/>
              <a:gd name="connsiteY55399" fmla="*/ 1421409 h 5973007"/>
              <a:gd name="connsiteX55400" fmla="*/ 3485571 w 6884782"/>
              <a:gd name="connsiteY55400" fmla="*/ 1421693 h 5973007"/>
              <a:gd name="connsiteX55401" fmla="*/ 3487278 w 6884782"/>
              <a:gd name="connsiteY55401" fmla="*/ 1424111 h 5973007"/>
              <a:gd name="connsiteX55402" fmla="*/ 3484291 w 6884782"/>
              <a:gd name="connsiteY55402" fmla="*/ 1423258 h 5973007"/>
              <a:gd name="connsiteX55403" fmla="*/ 3484078 w 6884782"/>
              <a:gd name="connsiteY55403" fmla="*/ 1423258 h 5973007"/>
              <a:gd name="connsiteX55404" fmla="*/ 3484718 w 6884782"/>
              <a:gd name="connsiteY55404" fmla="*/ 1431367 h 5973007"/>
              <a:gd name="connsiteX55405" fmla="*/ 3483437 w 6884782"/>
              <a:gd name="connsiteY55405" fmla="*/ 1442322 h 5973007"/>
              <a:gd name="connsiteX55406" fmla="*/ 3483010 w 6884782"/>
              <a:gd name="connsiteY55406" fmla="*/ 1442322 h 5973007"/>
              <a:gd name="connsiteX55407" fmla="*/ 3483010 w 6884782"/>
              <a:gd name="connsiteY55407" fmla="*/ 1442606 h 5973007"/>
              <a:gd name="connsiteX55408" fmla="*/ 3483010 w 6884782"/>
              <a:gd name="connsiteY55408" fmla="*/ 1442749 h 5973007"/>
              <a:gd name="connsiteX55409" fmla="*/ 3483223 w 6884782"/>
              <a:gd name="connsiteY55409" fmla="*/ 1445309 h 5973007"/>
              <a:gd name="connsiteX55410" fmla="*/ 3483864 w 6884782"/>
              <a:gd name="connsiteY55410" fmla="*/ 1445309 h 5973007"/>
              <a:gd name="connsiteX55411" fmla="*/ 3486211 w 6884782"/>
              <a:gd name="connsiteY55411" fmla="*/ 1446590 h 5973007"/>
              <a:gd name="connsiteX55412" fmla="*/ 3486852 w 6884782"/>
              <a:gd name="connsiteY55412" fmla="*/ 1448724 h 5973007"/>
              <a:gd name="connsiteX55413" fmla="*/ 3485358 w 6884782"/>
              <a:gd name="connsiteY55413" fmla="*/ 1451000 h 5973007"/>
              <a:gd name="connsiteX55414" fmla="*/ 3484291 w 6884782"/>
              <a:gd name="connsiteY55414" fmla="*/ 1452423 h 5973007"/>
              <a:gd name="connsiteX55415" fmla="*/ 3484718 w 6884782"/>
              <a:gd name="connsiteY55415" fmla="*/ 1455695 h 5973007"/>
              <a:gd name="connsiteX55416" fmla="*/ 3484931 w 6884782"/>
              <a:gd name="connsiteY55416" fmla="*/ 1464516 h 5973007"/>
              <a:gd name="connsiteX55417" fmla="*/ 3493894 w 6884782"/>
              <a:gd name="connsiteY55417" fmla="*/ 1453988 h 5973007"/>
              <a:gd name="connsiteX55418" fmla="*/ 3489840 w 6884782"/>
              <a:gd name="connsiteY55418" fmla="*/ 1451854 h 5973007"/>
              <a:gd name="connsiteX55419" fmla="*/ 3486852 w 6884782"/>
              <a:gd name="connsiteY55419" fmla="*/ 1447159 h 5973007"/>
              <a:gd name="connsiteX55420" fmla="*/ 3491120 w 6884782"/>
              <a:gd name="connsiteY55420" fmla="*/ 1444883 h 5973007"/>
              <a:gd name="connsiteX55421" fmla="*/ 3495389 w 6884782"/>
              <a:gd name="connsiteY55421" fmla="*/ 1445025 h 5973007"/>
              <a:gd name="connsiteX55422" fmla="*/ 3494749 w 6884782"/>
              <a:gd name="connsiteY55422" fmla="*/ 1436347 h 5973007"/>
              <a:gd name="connsiteX55423" fmla="*/ 3499017 w 6884782"/>
              <a:gd name="connsiteY55423" fmla="*/ 1423400 h 5973007"/>
              <a:gd name="connsiteX55424" fmla="*/ 3491974 w 6884782"/>
              <a:gd name="connsiteY55424" fmla="*/ 1420839 h 5973007"/>
              <a:gd name="connsiteX55425" fmla="*/ 3489626 w 6884782"/>
              <a:gd name="connsiteY55425" fmla="*/ 1419843 h 5973007"/>
              <a:gd name="connsiteX55426" fmla="*/ 3489626 w 6884782"/>
              <a:gd name="connsiteY55426" fmla="*/ 1421266 h 5973007"/>
              <a:gd name="connsiteX55427" fmla="*/ 3489199 w 6884782"/>
              <a:gd name="connsiteY55427" fmla="*/ 1419701 h 5973007"/>
              <a:gd name="connsiteX55428" fmla="*/ 1122395 w 6884782"/>
              <a:gd name="connsiteY55428" fmla="*/ 1417479 h 5973007"/>
              <a:gd name="connsiteX55429" fmla="*/ 1120743 w 6884782"/>
              <a:gd name="connsiteY55429" fmla="*/ 1429250 h 5973007"/>
              <a:gd name="connsiteX55430" fmla="*/ 1116820 w 6884782"/>
              <a:gd name="connsiteY55430" fmla="*/ 1423984 h 5973007"/>
              <a:gd name="connsiteX55431" fmla="*/ 1118472 w 6884782"/>
              <a:gd name="connsiteY55431" fmla="*/ 1418098 h 5973007"/>
              <a:gd name="connsiteX55432" fmla="*/ 1122395 w 6884782"/>
              <a:gd name="connsiteY55432" fmla="*/ 1417479 h 5973007"/>
              <a:gd name="connsiteX55433" fmla="*/ 4600049 w 6884782"/>
              <a:gd name="connsiteY55433" fmla="*/ 1417425 h 5973007"/>
              <a:gd name="connsiteX55434" fmla="*/ 4603464 w 6884782"/>
              <a:gd name="connsiteY55434" fmla="*/ 1419559 h 5973007"/>
              <a:gd name="connsiteX55435" fmla="*/ 4604745 w 6884782"/>
              <a:gd name="connsiteY55435" fmla="*/ 1425534 h 5973007"/>
              <a:gd name="connsiteX55436" fmla="*/ 4594500 w 6884782"/>
              <a:gd name="connsiteY55436" fmla="*/ 1424965 h 5973007"/>
              <a:gd name="connsiteX55437" fmla="*/ 4593219 w 6884782"/>
              <a:gd name="connsiteY55437" fmla="*/ 1421409 h 5973007"/>
              <a:gd name="connsiteX55438" fmla="*/ 4600049 w 6884782"/>
              <a:gd name="connsiteY55438" fmla="*/ 1417425 h 5973007"/>
              <a:gd name="connsiteX55439" fmla="*/ 1552251 w 6884782"/>
              <a:gd name="connsiteY55439" fmla="*/ 1417323 h 5973007"/>
              <a:gd name="connsiteX55440" fmla="*/ 1560821 w 6884782"/>
              <a:gd name="connsiteY55440" fmla="*/ 1420267 h 5973007"/>
              <a:gd name="connsiteX55441" fmla="*/ 1559169 w 6884782"/>
              <a:gd name="connsiteY55441" fmla="*/ 1425378 h 5973007"/>
              <a:gd name="connsiteX55442" fmla="*/ 1549876 w 6884782"/>
              <a:gd name="connsiteY55442" fmla="*/ 1421041 h 5973007"/>
              <a:gd name="connsiteX55443" fmla="*/ 1552251 w 6884782"/>
              <a:gd name="connsiteY55443" fmla="*/ 1417323 h 5973007"/>
              <a:gd name="connsiteX55444" fmla="*/ 1411823 w 6884782"/>
              <a:gd name="connsiteY55444" fmla="*/ 1417169 h 5973007"/>
              <a:gd name="connsiteX55445" fmla="*/ 1416366 w 6884782"/>
              <a:gd name="connsiteY55445" fmla="*/ 1423829 h 5973007"/>
              <a:gd name="connsiteX55446" fmla="*/ 1390242 w 6884782"/>
              <a:gd name="connsiteY55446" fmla="*/ 1435292 h 5973007"/>
              <a:gd name="connsiteX55447" fmla="*/ 1411823 w 6884782"/>
              <a:gd name="connsiteY55447" fmla="*/ 1417169 h 5973007"/>
              <a:gd name="connsiteX55448" fmla="*/ 5424063 w 6884782"/>
              <a:gd name="connsiteY55448" fmla="*/ 1416002 h 5973007"/>
              <a:gd name="connsiteX55449" fmla="*/ 5433453 w 6884782"/>
              <a:gd name="connsiteY55449" fmla="*/ 1428948 h 5973007"/>
              <a:gd name="connsiteX55450" fmla="*/ 5437508 w 6884782"/>
              <a:gd name="connsiteY55450" fmla="*/ 1448013 h 5973007"/>
              <a:gd name="connsiteX55451" fmla="*/ 5421929 w 6884782"/>
              <a:gd name="connsiteY55451" fmla="*/ 1446306 h 5973007"/>
              <a:gd name="connsiteX55452" fmla="*/ 5424063 w 6884782"/>
              <a:gd name="connsiteY55452" fmla="*/ 1416002 h 5973007"/>
              <a:gd name="connsiteX55453" fmla="*/ 4494406 w 6884782"/>
              <a:gd name="connsiteY55453" fmla="*/ 1416002 h 5973007"/>
              <a:gd name="connsiteX55454" fmla="*/ 4507639 w 6884782"/>
              <a:gd name="connsiteY55454" fmla="*/ 1423542 h 5973007"/>
              <a:gd name="connsiteX55455" fmla="*/ 4508706 w 6884782"/>
              <a:gd name="connsiteY55455" fmla="*/ 1425677 h 5973007"/>
              <a:gd name="connsiteX55456" fmla="*/ 4513187 w 6884782"/>
              <a:gd name="connsiteY55456" fmla="*/ 1423542 h 5973007"/>
              <a:gd name="connsiteX55457" fmla="*/ 4512547 w 6884782"/>
              <a:gd name="connsiteY55457" fmla="*/ 1425250 h 5973007"/>
              <a:gd name="connsiteX55458" fmla="*/ 4510199 w 6884782"/>
              <a:gd name="connsiteY55458" fmla="*/ 1426103 h 5973007"/>
              <a:gd name="connsiteX55459" fmla="*/ 4508919 w 6884782"/>
              <a:gd name="connsiteY55459" fmla="*/ 1426388 h 5973007"/>
              <a:gd name="connsiteX55460" fmla="*/ 4510199 w 6884782"/>
              <a:gd name="connsiteY55460" fmla="*/ 1428806 h 5973007"/>
              <a:gd name="connsiteX55461" fmla="*/ 4501876 w 6884782"/>
              <a:gd name="connsiteY55461" fmla="*/ 1437627 h 5973007"/>
              <a:gd name="connsiteX55462" fmla="*/ 4489925 w 6884782"/>
              <a:gd name="connsiteY55462" fmla="*/ 1416714 h 5973007"/>
              <a:gd name="connsiteX55463" fmla="*/ 4494406 w 6884782"/>
              <a:gd name="connsiteY55463" fmla="*/ 1416002 h 5973007"/>
              <a:gd name="connsiteX55464" fmla="*/ 5454368 w 6884782"/>
              <a:gd name="connsiteY55464" fmla="*/ 1415718 h 5973007"/>
              <a:gd name="connsiteX55465" fmla="*/ 5458637 w 6884782"/>
              <a:gd name="connsiteY55465" fmla="*/ 1417994 h 5973007"/>
              <a:gd name="connsiteX55466" fmla="*/ 5454155 w 6884782"/>
              <a:gd name="connsiteY55466" fmla="*/ 1428237 h 5973007"/>
              <a:gd name="connsiteX55467" fmla="*/ 5454368 w 6884782"/>
              <a:gd name="connsiteY55467" fmla="*/ 1415718 h 5973007"/>
              <a:gd name="connsiteX55468" fmla="*/ 5067652 w 6884782"/>
              <a:gd name="connsiteY55468" fmla="*/ 1415718 h 5973007"/>
              <a:gd name="connsiteX55469" fmla="*/ 5069573 w 6884782"/>
              <a:gd name="connsiteY55469" fmla="*/ 1418705 h 5973007"/>
              <a:gd name="connsiteX55470" fmla="*/ 5069573 w 6884782"/>
              <a:gd name="connsiteY55470" fmla="*/ 1419274 h 5973007"/>
              <a:gd name="connsiteX55471" fmla="*/ 5071707 w 6884782"/>
              <a:gd name="connsiteY55471" fmla="*/ 1418421 h 5973007"/>
              <a:gd name="connsiteX55472" fmla="*/ 5072987 w 6884782"/>
              <a:gd name="connsiteY55472" fmla="*/ 1420839 h 5973007"/>
              <a:gd name="connsiteX55473" fmla="*/ 5070640 w 6884782"/>
              <a:gd name="connsiteY55473" fmla="*/ 1422689 h 5973007"/>
              <a:gd name="connsiteX55474" fmla="*/ 5070853 w 6884782"/>
              <a:gd name="connsiteY55474" fmla="*/ 1423684 h 5973007"/>
              <a:gd name="connsiteX55475" fmla="*/ 5070640 w 6884782"/>
              <a:gd name="connsiteY55475" fmla="*/ 1427526 h 5973007"/>
              <a:gd name="connsiteX55476" fmla="*/ 5071067 w 6884782"/>
              <a:gd name="connsiteY55476" fmla="*/ 1427811 h 5973007"/>
              <a:gd name="connsiteX55477" fmla="*/ 5071493 w 6884782"/>
              <a:gd name="connsiteY55477" fmla="*/ 1439761 h 5973007"/>
              <a:gd name="connsiteX55478" fmla="*/ 5058902 w 6884782"/>
              <a:gd name="connsiteY55478" fmla="*/ 1442749 h 5973007"/>
              <a:gd name="connsiteX55479" fmla="*/ 5052926 w 6884782"/>
              <a:gd name="connsiteY55479" fmla="*/ 1438907 h 5973007"/>
              <a:gd name="connsiteX55480" fmla="*/ 5052072 w 6884782"/>
              <a:gd name="connsiteY55480" fmla="*/ 1435635 h 5973007"/>
              <a:gd name="connsiteX55481" fmla="*/ 5045456 w 6884782"/>
              <a:gd name="connsiteY55481" fmla="*/ 1433074 h 5973007"/>
              <a:gd name="connsiteX55482" fmla="*/ 5042255 w 6884782"/>
              <a:gd name="connsiteY55482" fmla="*/ 1426103 h 5973007"/>
              <a:gd name="connsiteX55483" fmla="*/ 5045456 w 6884782"/>
              <a:gd name="connsiteY55483" fmla="*/ 1424681 h 5973007"/>
              <a:gd name="connsiteX55484" fmla="*/ 5052072 w 6884782"/>
              <a:gd name="connsiteY55484" fmla="*/ 1427668 h 5973007"/>
              <a:gd name="connsiteX55485" fmla="*/ 5053353 w 6884782"/>
              <a:gd name="connsiteY55485" fmla="*/ 1424681 h 5973007"/>
              <a:gd name="connsiteX55486" fmla="*/ 5057621 w 6884782"/>
              <a:gd name="connsiteY55486" fmla="*/ 1421693 h 5973007"/>
              <a:gd name="connsiteX55487" fmla="*/ 5059329 w 6884782"/>
              <a:gd name="connsiteY55487" fmla="*/ 1421693 h 5973007"/>
              <a:gd name="connsiteX55488" fmla="*/ 5058902 w 6884782"/>
              <a:gd name="connsiteY55488" fmla="*/ 1420270 h 5973007"/>
              <a:gd name="connsiteX55489" fmla="*/ 5062530 w 6884782"/>
              <a:gd name="connsiteY55489" fmla="*/ 1418421 h 5973007"/>
              <a:gd name="connsiteX55490" fmla="*/ 5063810 w 6884782"/>
              <a:gd name="connsiteY55490" fmla="*/ 1416287 h 5973007"/>
              <a:gd name="connsiteX55491" fmla="*/ 5067652 w 6884782"/>
              <a:gd name="connsiteY55491" fmla="*/ 1415718 h 5973007"/>
              <a:gd name="connsiteX55492" fmla="*/ 5606964 w 6884782"/>
              <a:gd name="connsiteY55492" fmla="*/ 1415291 h 5973007"/>
              <a:gd name="connsiteX55493" fmla="*/ 5615074 w 6884782"/>
              <a:gd name="connsiteY55493" fmla="*/ 1422689 h 5973007"/>
              <a:gd name="connsiteX55494" fmla="*/ 5609738 w 6884782"/>
              <a:gd name="connsiteY55494" fmla="*/ 1427099 h 5973007"/>
              <a:gd name="connsiteX55495" fmla="*/ 5606964 w 6884782"/>
              <a:gd name="connsiteY55495" fmla="*/ 1415291 h 5973007"/>
              <a:gd name="connsiteX55496" fmla="*/ 5993254 w 6884782"/>
              <a:gd name="connsiteY55496" fmla="*/ 1414295 h 5973007"/>
              <a:gd name="connsiteX55497" fmla="*/ 5986851 w 6884782"/>
              <a:gd name="connsiteY55497" fmla="*/ 1427811 h 5973007"/>
              <a:gd name="connsiteX55498" fmla="*/ 5993254 w 6884782"/>
              <a:gd name="connsiteY55498" fmla="*/ 1414295 h 5973007"/>
              <a:gd name="connsiteX55499" fmla="*/ 3826616 w 6884782"/>
              <a:gd name="connsiteY55499" fmla="*/ 1414153 h 5973007"/>
              <a:gd name="connsiteX55500" fmla="*/ 3834513 w 6884782"/>
              <a:gd name="connsiteY55500" fmla="*/ 1415575 h 5973007"/>
              <a:gd name="connsiteX55501" fmla="*/ 3836647 w 6884782"/>
              <a:gd name="connsiteY55501" fmla="*/ 1417425 h 5973007"/>
              <a:gd name="connsiteX55502" fmla="*/ 3840488 w 6884782"/>
              <a:gd name="connsiteY55502" fmla="*/ 1416998 h 5973007"/>
              <a:gd name="connsiteX55503" fmla="*/ 3841982 w 6884782"/>
              <a:gd name="connsiteY55503" fmla="*/ 1417710 h 5973007"/>
              <a:gd name="connsiteX55504" fmla="*/ 3838141 w 6884782"/>
              <a:gd name="connsiteY55504" fmla="*/ 1419132 h 5973007"/>
              <a:gd name="connsiteX55505" fmla="*/ 3841128 w 6884782"/>
              <a:gd name="connsiteY55505" fmla="*/ 1424254 h 5973007"/>
              <a:gd name="connsiteX55506" fmla="*/ 3842195 w 6884782"/>
              <a:gd name="connsiteY55506" fmla="*/ 1427668 h 5973007"/>
              <a:gd name="connsiteX55507" fmla="*/ 3845397 w 6884782"/>
              <a:gd name="connsiteY55507" fmla="*/ 1432078 h 5973007"/>
              <a:gd name="connsiteX55508" fmla="*/ 3844543 w 6884782"/>
              <a:gd name="connsiteY55508" fmla="*/ 1432932 h 5973007"/>
              <a:gd name="connsiteX55509" fmla="*/ 3847104 w 6884782"/>
              <a:gd name="connsiteY55509" fmla="*/ 1435493 h 5973007"/>
              <a:gd name="connsiteX55510" fmla="*/ 3848599 w 6884782"/>
              <a:gd name="connsiteY55510" fmla="*/ 1437343 h 5973007"/>
              <a:gd name="connsiteX55511" fmla="*/ 3849452 w 6884782"/>
              <a:gd name="connsiteY55511" fmla="*/ 1436915 h 5973007"/>
              <a:gd name="connsiteX55512" fmla="*/ 3853507 w 6884782"/>
              <a:gd name="connsiteY55512" fmla="*/ 1438907 h 5973007"/>
              <a:gd name="connsiteX55513" fmla="*/ 3853080 w 6884782"/>
              <a:gd name="connsiteY55513" fmla="*/ 1441042 h 5973007"/>
              <a:gd name="connsiteX55514" fmla="*/ 3853294 w 6884782"/>
              <a:gd name="connsiteY55514" fmla="*/ 1441753 h 5973007"/>
              <a:gd name="connsiteX55515" fmla="*/ 3861190 w 6884782"/>
              <a:gd name="connsiteY55515" fmla="*/ 1445452 h 5973007"/>
              <a:gd name="connsiteX55516" fmla="*/ 3862257 w 6884782"/>
              <a:gd name="connsiteY55516" fmla="*/ 1448013 h 5973007"/>
              <a:gd name="connsiteX55517" fmla="*/ 3858629 w 6884782"/>
              <a:gd name="connsiteY55517" fmla="*/ 1448582 h 5973007"/>
              <a:gd name="connsiteX55518" fmla="*/ 3856708 w 6884782"/>
              <a:gd name="connsiteY55518" fmla="*/ 1444598 h 5973007"/>
              <a:gd name="connsiteX55519" fmla="*/ 3852226 w 6884782"/>
              <a:gd name="connsiteY55519" fmla="*/ 1442749 h 5973007"/>
              <a:gd name="connsiteX55520" fmla="*/ 3852013 w 6884782"/>
              <a:gd name="connsiteY55520" fmla="*/ 1442464 h 5973007"/>
              <a:gd name="connsiteX55521" fmla="*/ 3849452 w 6884782"/>
              <a:gd name="connsiteY55521" fmla="*/ 1441753 h 5973007"/>
              <a:gd name="connsiteX55522" fmla="*/ 3849879 w 6884782"/>
              <a:gd name="connsiteY55522" fmla="*/ 1442749 h 5973007"/>
              <a:gd name="connsiteX55523" fmla="*/ 3839635 w 6884782"/>
              <a:gd name="connsiteY55523" fmla="*/ 1446590 h 5973007"/>
              <a:gd name="connsiteX55524" fmla="*/ 3834085 w 6884782"/>
              <a:gd name="connsiteY55524" fmla="*/ 1442749 h 5973007"/>
              <a:gd name="connsiteX55525" fmla="*/ 3834085 w 6884782"/>
              <a:gd name="connsiteY55525" fmla="*/ 1441753 h 5973007"/>
              <a:gd name="connsiteX55526" fmla="*/ 3827470 w 6884782"/>
              <a:gd name="connsiteY55526" fmla="*/ 1443318 h 5973007"/>
              <a:gd name="connsiteX55527" fmla="*/ 3821921 w 6884782"/>
              <a:gd name="connsiteY55527" fmla="*/ 1442037 h 5973007"/>
              <a:gd name="connsiteX55528" fmla="*/ 3820427 w 6884782"/>
              <a:gd name="connsiteY55528" fmla="*/ 1440330 h 5973007"/>
              <a:gd name="connsiteX55529" fmla="*/ 3820427 w 6884782"/>
              <a:gd name="connsiteY55529" fmla="*/ 1442749 h 5973007"/>
              <a:gd name="connsiteX55530" fmla="*/ 3820214 w 6884782"/>
              <a:gd name="connsiteY55530" fmla="*/ 1449578 h 5973007"/>
              <a:gd name="connsiteX55531" fmla="*/ 3820214 w 6884782"/>
              <a:gd name="connsiteY55531" fmla="*/ 1451712 h 5973007"/>
              <a:gd name="connsiteX55532" fmla="*/ 3820214 w 6884782"/>
              <a:gd name="connsiteY55532" fmla="*/ 1451854 h 5973007"/>
              <a:gd name="connsiteX55533" fmla="*/ 3820214 w 6884782"/>
              <a:gd name="connsiteY55533" fmla="*/ 1452281 h 5973007"/>
              <a:gd name="connsiteX55534" fmla="*/ 3815091 w 6884782"/>
              <a:gd name="connsiteY55534" fmla="*/ 1460105 h 5973007"/>
              <a:gd name="connsiteX55535" fmla="*/ 3813170 w 6884782"/>
              <a:gd name="connsiteY55535" fmla="*/ 1452708 h 5973007"/>
              <a:gd name="connsiteX55536" fmla="*/ 3811036 w 6884782"/>
              <a:gd name="connsiteY55536" fmla="*/ 1452281 h 5973007"/>
              <a:gd name="connsiteX55537" fmla="*/ 3806128 w 6884782"/>
              <a:gd name="connsiteY55537" fmla="*/ 1443176 h 5973007"/>
              <a:gd name="connsiteX55538" fmla="*/ 3810610 w 6884782"/>
              <a:gd name="connsiteY55538" fmla="*/ 1441610 h 5973007"/>
              <a:gd name="connsiteX55539" fmla="*/ 3810396 w 6884782"/>
              <a:gd name="connsiteY55539" fmla="*/ 1433643 h 5973007"/>
              <a:gd name="connsiteX55540" fmla="*/ 3813170 w 6884782"/>
              <a:gd name="connsiteY55540" fmla="*/ 1422689 h 5973007"/>
              <a:gd name="connsiteX55541" fmla="*/ 3815518 w 6884782"/>
              <a:gd name="connsiteY55541" fmla="*/ 1421693 h 5973007"/>
              <a:gd name="connsiteX55542" fmla="*/ 3815731 w 6884782"/>
              <a:gd name="connsiteY55542" fmla="*/ 1420839 h 5973007"/>
              <a:gd name="connsiteX55543" fmla="*/ 3821281 w 6884782"/>
              <a:gd name="connsiteY55543" fmla="*/ 1415718 h 5973007"/>
              <a:gd name="connsiteX55544" fmla="*/ 3826616 w 6884782"/>
              <a:gd name="connsiteY55544" fmla="*/ 1414153 h 5973007"/>
              <a:gd name="connsiteX55545" fmla="*/ 5255461 w 6884782"/>
              <a:gd name="connsiteY55545" fmla="*/ 1413868 h 5973007"/>
              <a:gd name="connsiteX55546" fmla="*/ 5257809 w 6884782"/>
              <a:gd name="connsiteY55546" fmla="*/ 1415718 h 5973007"/>
              <a:gd name="connsiteX55547" fmla="*/ 5242656 w 6884782"/>
              <a:gd name="connsiteY55547" fmla="*/ 1430940 h 5973007"/>
              <a:gd name="connsiteX55548" fmla="*/ 5240948 w 6884782"/>
              <a:gd name="connsiteY55548" fmla="*/ 1428664 h 5973007"/>
              <a:gd name="connsiteX55549" fmla="*/ 5241589 w 6884782"/>
              <a:gd name="connsiteY55549" fmla="*/ 1425534 h 5973007"/>
              <a:gd name="connsiteX55550" fmla="*/ 5249059 w 6884782"/>
              <a:gd name="connsiteY55550" fmla="*/ 1417282 h 5973007"/>
              <a:gd name="connsiteX55551" fmla="*/ 5250979 w 6884782"/>
              <a:gd name="connsiteY55551" fmla="*/ 1415718 h 5973007"/>
              <a:gd name="connsiteX55552" fmla="*/ 5253114 w 6884782"/>
              <a:gd name="connsiteY55552" fmla="*/ 1414295 h 5973007"/>
              <a:gd name="connsiteX55553" fmla="*/ 5255461 w 6884782"/>
              <a:gd name="connsiteY55553" fmla="*/ 1413868 h 5973007"/>
              <a:gd name="connsiteX55554" fmla="*/ 5084512 w 6884782"/>
              <a:gd name="connsiteY55554" fmla="*/ 1413868 h 5973007"/>
              <a:gd name="connsiteX55555" fmla="*/ 5097957 w 6884782"/>
              <a:gd name="connsiteY55555" fmla="*/ 1420555 h 5973007"/>
              <a:gd name="connsiteX55556" fmla="*/ 5081311 w 6884782"/>
              <a:gd name="connsiteY55556" fmla="*/ 1414437 h 5973007"/>
              <a:gd name="connsiteX55557" fmla="*/ 5084512 w 6884782"/>
              <a:gd name="connsiteY55557" fmla="*/ 1413868 h 5973007"/>
              <a:gd name="connsiteX55558" fmla="*/ 4417788 w 6884782"/>
              <a:gd name="connsiteY55558" fmla="*/ 1413868 h 5973007"/>
              <a:gd name="connsiteX55559" fmla="*/ 4421203 w 6884782"/>
              <a:gd name="connsiteY55559" fmla="*/ 1416002 h 5973007"/>
              <a:gd name="connsiteX55560" fmla="*/ 4419496 w 6884782"/>
              <a:gd name="connsiteY55560" fmla="*/ 1422974 h 5973007"/>
              <a:gd name="connsiteX55561" fmla="*/ 4413734 w 6884782"/>
              <a:gd name="connsiteY55561" fmla="*/ 1416429 h 5973007"/>
              <a:gd name="connsiteX55562" fmla="*/ 4417788 w 6884782"/>
              <a:gd name="connsiteY55562" fmla="*/ 1413868 h 5973007"/>
              <a:gd name="connsiteX55563" fmla="*/ 1615444 w 6884782"/>
              <a:gd name="connsiteY55563" fmla="*/ 1413761 h 5973007"/>
              <a:gd name="connsiteX55564" fmla="*/ 1626699 w 6884782"/>
              <a:gd name="connsiteY55564" fmla="*/ 1432813 h 5973007"/>
              <a:gd name="connsiteX55565" fmla="*/ 1622775 w 6884782"/>
              <a:gd name="connsiteY55565" fmla="*/ 1429715 h 5973007"/>
              <a:gd name="connsiteX55566" fmla="*/ 1622465 w 6884782"/>
              <a:gd name="connsiteY55566" fmla="*/ 1429560 h 5973007"/>
              <a:gd name="connsiteX55567" fmla="*/ 1622465 w 6884782"/>
              <a:gd name="connsiteY55567" fmla="*/ 1430180 h 5973007"/>
              <a:gd name="connsiteX55568" fmla="*/ 1614721 w 6884782"/>
              <a:gd name="connsiteY55568" fmla="*/ 1436066 h 5973007"/>
              <a:gd name="connsiteX55569" fmla="*/ 1601814 w 6884782"/>
              <a:gd name="connsiteY55569" fmla="*/ 1432658 h 5973007"/>
              <a:gd name="connsiteX55570" fmla="*/ 1611210 w 6884782"/>
              <a:gd name="connsiteY55570" fmla="*/ 1424294 h 5973007"/>
              <a:gd name="connsiteX55571" fmla="*/ 1616373 w 6884782"/>
              <a:gd name="connsiteY55571" fmla="*/ 1423829 h 5973007"/>
              <a:gd name="connsiteX55572" fmla="*/ 1614411 w 6884782"/>
              <a:gd name="connsiteY55572" fmla="*/ 1421351 h 5973007"/>
              <a:gd name="connsiteX55573" fmla="*/ 1613689 w 6884782"/>
              <a:gd name="connsiteY55573" fmla="*/ 1416549 h 5973007"/>
              <a:gd name="connsiteX55574" fmla="*/ 1615444 w 6884782"/>
              <a:gd name="connsiteY55574" fmla="*/ 1413761 h 5973007"/>
              <a:gd name="connsiteX55575" fmla="*/ 4374251 w 6884782"/>
              <a:gd name="connsiteY55575" fmla="*/ 1413726 h 5973007"/>
              <a:gd name="connsiteX55576" fmla="*/ 4364007 w 6884782"/>
              <a:gd name="connsiteY55576" fmla="*/ 1424254 h 5973007"/>
              <a:gd name="connsiteX55577" fmla="*/ 4350134 w 6884782"/>
              <a:gd name="connsiteY55577" fmla="*/ 1427384 h 5973007"/>
              <a:gd name="connsiteX55578" fmla="*/ 4374251 w 6884782"/>
              <a:gd name="connsiteY55578" fmla="*/ 1413726 h 5973007"/>
              <a:gd name="connsiteX55579" fmla="*/ 3659082 w 6884782"/>
              <a:gd name="connsiteY55579" fmla="*/ 1413157 h 5973007"/>
              <a:gd name="connsiteX55580" fmla="*/ 3679783 w 6884782"/>
              <a:gd name="connsiteY55580" fmla="*/ 1426388 h 5973007"/>
              <a:gd name="connsiteX55581" fmla="*/ 3671460 w 6884782"/>
              <a:gd name="connsiteY55581" fmla="*/ 1427099 h 5973007"/>
              <a:gd name="connsiteX55582" fmla="*/ 3663563 w 6884782"/>
              <a:gd name="connsiteY55582" fmla="*/ 1424538 h 5973007"/>
              <a:gd name="connsiteX55583" fmla="*/ 3663137 w 6884782"/>
              <a:gd name="connsiteY55583" fmla="*/ 1424254 h 5973007"/>
              <a:gd name="connsiteX55584" fmla="*/ 3650331 w 6884782"/>
              <a:gd name="connsiteY55584" fmla="*/ 1414153 h 5973007"/>
              <a:gd name="connsiteX55585" fmla="*/ 3659082 w 6884782"/>
              <a:gd name="connsiteY55585" fmla="*/ 1413157 h 5973007"/>
              <a:gd name="connsiteX55586" fmla="*/ 1076279 w 6884782"/>
              <a:gd name="connsiteY55586" fmla="*/ 1412812 h 5973007"/>
              <a:gd name="connsiteX55587" fmla="*/ 1081712 w 6884782"/>
              <a:gd name="connsiteY55587" fmla="*/ 1416859 h 5973007"/>
              <a:gd name="connsiteX55588" fmla="*/ 1074175 w 6884782"/>
              <a:gd name="connsiteY55588" fmla="*/ 1418408 h 5973007"/>
              <a:gd name="connsiteX55589" fmla="*/ 1076279 w 6884782"/>
              <a:gd name="connsiteY55589" fmla="*/ 1412812 h 5973007"/>
              <a:gd name="connsiteX55590" fmla="*/ 4301902 w 6884782"/>
              <a:gd name="connsiteY55590" fmla="*/ 1412588 h 5973007"/>
              <a:gd name="connsiteX55591" fmla="*/ 4326445 w 6884782"/>
              <a:gd name="connsiteY55591" fmla="*/ 1438054 h 5973007"/>
              <a:gd name="connsiteX55592" fmla="*/ 4322177 w 6884782"/>
              <a:gd name="connsiteY55592" fmla="*/ 1439477 h 5973007"/>
              <a:gd name="connsiteX55593" fmla="*/ 4318549 w 6884782"/>
              <a:gd name="connsiteY55593" fmla="*/ 1438481 h 5973007"/>
              <a:gd name="connsiteX55594" fmla="*/ 4320683 w 6884782"/>
              <a:gd name="connsiteY55594" fmla="*/ 1439619 h 5973007"/>
              <a:gd name="connsiteX55595" fmla="*/ 4321963 w 6884782"/>
              <a:gd name="connsiteY55595" fmla="*/ 1444598 h 5973007"/>
              <a:gd name="connsiteX55596" fmla="*/ 4300621 w 6884782"/>
              <a:gd name="connsiteY55596" fmla="*/ 1436347 h 5973007"/>
              <a:gd name="connsiteX55597" fmla="*/ 4301688 w 6884782"/>
              <a:gd name="connsiteY55597" fmla="*/ 1434070 h 5973007"/>
              <a:gd name="connsiteX55598" fmla="*/ 4304890 w 6884782"/>
              <a:gd name="connsiteY55598" fmla="*/ 1433359 h 5973007"/>
              <a:gd name="connsiteX55599" fmla="*/ 4315987 w 6884782"/>
              <a:gd name="connsiteY55599" fmla="*/ 1437058 h 5973007"/>
              <a:gd name="connsiteX55600" fmla="*/ 4317268 w 6884782"/>
              <a:gd name="connsiteY55600" fmla="*/ 1437769 h 5973007"/>
              <a:gd name="connsiteX55601" fmla="*/ 4310225 w 6884782"/>
              <a:gd name="connsiteY55601" fmla="*/ 1431367 h 5973007"/>
              <a:gd name="connsiteX55602" fmla="*/ 4301902 w 6884782"/>
              <a:gd name="connsiteY55602" fmla="*/ 1412588 h 5973007"/>
              <a:gd name="connsiteX55603" fmla="*/ 1143872 w 6884782"/>
              <a:gd name="connsiteY55603" fmla="*/ 1412522 h 5973007"/>
              <a:gd name="connsiteX55604" fmla="*/ 1151204 w 6884782"/>
              <a:gd name="connsiteY55604" fmla="*/ 1415620 h 5973007"/>
              <a:gd name="connsiteX55605" fmla="*/ 1142014 w 6884782"/>
              <a:gd name="connsiteY55605" fmla="*/ 1413916 h 5973007"/>
              <a:gd name="connsiteX55606" fmla="*/ 1143872 w 6884782"/>
              <a:gd name="connsiteY55606" fmla="*/ 1412522 h 5973007"/>
              <a:gd name="connsiteX55607" fmla="*/ 4994022 w 6884782"/>
              <a:gd name="connsiteY55607" fmla="*/ 1412303 h 5973007"/>
              <a:gd name="connsiteX55608" fmla="*/ 4995089 w 6884782"/>
              <a:gd name="connsiteY55608" fmla="*/ 1418137 h 5973007"/>
              <a:gd name="connsiteX55609" fmla="*/ 4985912 w 6884782"/>
              <a:gd name="connsiteY55609" fmla="*/ 1421124 h 5973007"/>
              <a:gd name="connsiteX55610" fmla="*/ 4980577 w 6884782"/>
              <a:gd name="connsiteY55610" fmla="*/ 1423827 h 5973007"/>
              <a:gd name="connsiteX55611" fmla="*/ 4986766 w 6884782"/>
              <a:gd name="connsiteY55611" fmla="*/ 1418705 h 5973007"/>
              <a:gd name="connsiteX55612" fmla="*/ 4987620 w 6884782"/>
              <a:gd name="connsiteY55612" fmla="*/ 1415006 h 5973007"/>
              <a:gd name="connsiteX55613" fmla="*/ 4994022 w 6884782"/>
              <a:gd name="connsiteY55613" fmla="*/ 1412303 h 5973007"/>
              <a:gd name="connsiteX55614" fmla="*/ 3868446 w 6884782"/>
              <a:gd name="connsiteY55614" fmla="*/ 1411734 h 5973007"/>
              <a:gd name="connsiteX55615" fmla="*/ 3849879 w 6884782"/>
              <a:gd name="connsiteY55615" fmla="*/ 1415718 h 5973007"/>
              <a:gd name="connsiteX55616" fmla="*/ 3868446 w 6884782"/>
              <a:gd name="connsiteY55616" fmla="*/ 1411734 h 5973007"/>
              <a:gd name="connsiteX55617" fmla="*/ 1328804 w 6884782"/>
              <a:gd name="connsiteY55617" fmla="*/ 1411593 h 5973007"/>
              <a:gd name="connsiteX55618" fmla="*/ 1335309 w 6884782"/>
              <a:gd name="connsiteY55618" fmla="*/ 1421815 h 5973007"/>
              <a:gd name="connsiteX55619" fmla="*/ 1329114 w 6884782"/>
              <a:gd name="connsiteY55619" fmla="*/ 1425069 h 5973007"/>
              <a:gd name="connsiteX55620" fmla="*/ 1328804 w 6884782"/>
              <a:gd name="connsiteY55620" fmla="*/ 1424604 h 5973007"/>
              <a:gd name="connsiteX55621" fmla="*/ 1327565 w 6884782"/>
              <a:gd name="connsiteY55621" fmla="*/ 1426772 h 5973007"/>
              <a:gd name="connsiteX55622" fmla="*/ 1327772 w 6884782"/>
              <a:gd name="connsiteY55622" fmla="*/ 1428631 h 5973007"/>
              <a:gd name="connsiteX55623" fmla="*/ 1327359 w 6884782"/>
              <a:gd name="connsiteY55623" fmla="*/ 1429560 h 5973007"/>
              <a:gd name="connsiteX55624" fmla="*/ 1333038 w 6884782"/>
              <a:gd name="connsiteY55624" fmla="*/ 1432658 h 5973007"/>
              <a:gd name="connsiteX55625" fmla="*/ 1337788 w 6884782"/>
              <a:gd name="connsiteY55625" fmla="*/ 1436995 h 5973007"/>
              <a:gd name="connsiteX55626" fmla="*/ 1335000 w 6884782"/>
              <a:gd name="connsiteY55626" fmla="*/ 1436995 h 5973007"/>
              <a:gd name="connsiteX55627" fmla="*/ 1333864 w 6884782"/>
              <a:gd name="connsiteY55627" fmla="*/ 1436531 h 5973007"/>
              <a:gd name="connsiteX55628" fmla="*/ 1332935 w 6884782"/>
              <a:gd name="connsiteY55628" fmla="*/ 1436685 h 5973007"/>
              <a:gd name="connsiteX55629" fmla="*/ 1332625 w 6884782"/>
              <a:gd name="connsiteY55629" fmla="*/ 1435911 h 5973007"/>
              <a:gd name="connsiteX55630" fmla="*/ 1330353 w 6884782"/>
              <a:gd name="connsiteY55630" fmla="*/ 1434827 h 5973007"/>
              <a:gd name="connsiteX55631" fmla="*/ 1324571 w 6884782"/>
              <a:gd name="connsiteY55631" fmla="*/ 1433897 h 5973007"/>
              <a:gd name="connsiteX55632" fmla="*/ 1324158 w 6884782"/>
              <a:gd name="connsiteY55632" fmla="*/ 1433743 h 5973007"/>
              <a:gd name="connsiteX55633" fmla="*/ 1321576 w 6884782"/>
              <a:gd name="connsiteY55633" fmla="*/ 1435292 h 5973007"/>
              <a:gd name="connsiteX55634" fmla="*/ 1308876 w 6884782"/>
              <a:gd name="connsiteY55634" fmla="*/ 1431884 h 5973007"/>
              <a:gd name="connsiteX55635" fmla="*/ 1307947 w 6884782"/>
              <a:gd name="connsiteY55635" fmla="*/ 1429870 h 5973007"/>
              <a:gd name="connsiteX55636" fmla="*/ 1306708 w 6884782"/>
              <a:gd name="connsiteY55636" fmla="*/ 1436066 h 5973007"/>
              <a:gd name="connsiteX55637" fmla="*/ 1296589 w 6884782"/>
              <a:gd name="connsiteY55637" fmla="*/ 1444895 h 5973007"/>
              <a:gd name="connsiteX55638" fmla="*/ 1301442 w 6884782"/>
              <a:gd name="connsiteY55638" fmla="*/ 1425378 h 5973007"/>
              <a:gd name="connsiteX55639" fmla="*/ 1306708 w 6884782"/>
              <a:gd name="connsiteY55639" fmla="*/ 1423365 h 5973007"/>
              <a:gd name="connsiteX55640" fmla="*/ 1307637 w 6884782"/>
              <a:gd name="connsiteY55640" fmla="*/ 1426927 h 5973007"/>
              <a:gd name="connsiteX55641" fmla="*/ 1310941 w 6884782"/>
              <a:gd name="connsiteY55641" fmla="*/ 1423674 h 5973007"/>
              <a:gd name="connsiteX55642" fmla="*/ 1313832 w 6884782"/>
              <a:gd name="connsiteY55642" fmla="*/ 1422745 h 5973007"/>
              <a:gd name="connsiteX55643" fmla="*/ 1314555 w 6884782"/>
              <a:gd name="connsiteY55643" fmla="*/ 1416394 h 5973007"/>
              <a:gd name="connsiteX55644" fmla="*/ 1317653 w 6884782"/>
              <a:gd name="connsiteY55644" fmla="*/ 1412832 h 5973007"/>
              <a:gd name="connsiteX55645" fmla="*/ 1324055 w 6884782"/>
              <a:gd name="connsiteY55645" fmla="*/ 1412677 h 5973007"/>
              <a:gd name="connsiteX55646" fmla="*/ 1586635 w 6884782"/>
              <a:gd name="connsiteY55646" fmla="*/ 1411438 h 5973007"/>
              <a:gd name="connsiteX55647" fmla="*/ 1594999 w 6884782"/>
              <a:gd name="connsiteY55647" fmla="*/ 1415929 h 5973007"/>
              <a:gd name="connsiteX55648" fmla="*/ 1593140 w 6884782"/>
              <a:gd name="connsiteY55648" fmla="*/ 1418717 h 5973007"/>
              <a:gd name="connsiteX55649" fmla="*/ 1586119 w 6884782"/>
              <a:gd name="connsiteY55649" fmla="*/ 1414536 h 5973007"/>
              <a:gd name="connsiteX55650" fmla="*/ 1586635 w 6884782"/>
              <a:gd name="connsiteY55650" fmla="*/ 1411438 h 5973007"/>
              <a:gd name="connsiteX55651" fmla="*/ 3793109 w 6884782"/>
              <a:gd name="connsiteY55651" fmla="*/ 1411023 h 5973007"/>
              <a:gd name="connsiteX55652" fmla="*/ 3803140 w 6884782"/>
              <a:gd name="connsiteY55652" fmla="*/ 1420555 h 5973007"/>
              <a:gd name="connsiteX55653" fmla="*/ 3803140 w 6884782"/>
              <a:gd name="connsiteY55653" fmla="*/ 1422831 h 5973007"/>
              <a:gd name="connsiteX55654" fmla="*/ 3800579 w 6884782"/>
              <a:gd name="connsiteY55654" fmla="*/ 1424681 h 5973007"/>
              <a:gd name="connsiteX55655" fmla="*/ 3795670 w 6884782"/>
              <a:gd name="connsiteY55655" fmla="*/ 1421551 h 5973007"/>
              <a:gd name="connsiteX55656" fmla="*/ 3794603 w 6884782"/>
              <a:gd name="connsiteY55656" fmla="*/ 1415006 h 5973007"/>
              <a:gd name="connsiteX55657" fmla="*/ 3792469 w 6884782"/>
              <a:gd name="connsiteY55657" fmla="*/ 1412161 h 5973007"/>
              <a:gd name="connsiteX55658" fmla="*/ 3793109 w 6884782"/>
              <a:gd name="connsiteY55658" fmla="*/ 1411023 h 5973007"/>
              <a:gd name="connsiteX55659" fmla="*/ 1054866 w 6884782"/>
              <a:gd name="connsiteY55659" fmla="*/ 1410973 h 5973007"/>
              <a:gd name="connsiteX55660" fmla="*/ 1056311 w 6884782"/>
              <a:gd name="connsiteY55660" fmla="*/ 1414845 h 5973007"/>
              <a:gd name="connsiteX55661" fmla="*/ 1054556 w 6884782"/>
              <a:gd name="connsiteY55661" fmla="*/ 1416859 h 5973007"/>
              <a:gd name="connsiteX55662" fmla="*/ 1052491 w 6884782"/>
              <a:gd name="connsiteY55662" fmla="*/ 1415310 h 5973007"/>
              <a:gd name="connsiteX55663" fmla="*/ 1051768 w 6884782"/>
              <a:gd name="connsiteY55663" fmla="*/ 1412832 h 5973007"/>
              <a:gd name="connsiteX55664" fmla="*/ 1052904 w 6884782"/>
              <a:gd name="connsiteY55664" fmla="*/ 1411747 h 5973007"/>
              <a:gd name="connsiteX55665" fmla="*/ 1054866 w 6884782"/>
              <a:gd name="connsiteY55665" fmla="*/ 1410973 h 5973007"/>
              <a:gd name="connsiteX55666" fmla="*/ 3990309 w 6884782"/>
              <a:gd name="connsiteY55666" fmla="*/ 1410454 h 5973007"/>
              <a:gd name="connsiteX55667" fmla="*/ 3996925 w 6884782"/>
              <a:gd name="connsiteY55667" fmla="*/ 1415006 h 5973007"/>
              <a:gd name="connsiteX55668" fmla="*/ 3996285 w 6884782"/>
              <a:gd name="connsiteY55668" fmla="*/ 1418847 h 5973007"/>
              <a:gd name="connsiteX55669" fmla="*/ 3991162 w 6884782"/>
              <a:gd name="connsiteY55669" fmla="*/ 1422689 h 5973007"/>
              <a:gd name="connsiteX55670" fmla="*/ 3987534 w 6884782"/>
              <a:gd name="connsiteY55670" fmla="*/ 1413157 h 5973007"/>
              <a:gd name="connsiteX55671" fmla="*/ 3990309 w 6884782"/>
              <a:gd name="connsiteY55671" fmla="*/ 1410454 h 5973007"/>
              <a:gd name="connsiteX55672" fmla="*/ 3869300 w 6884782"/>
              <a:gd name="connsiteY55672" fmla="*/ 1410454 h 5973007"/>
              <a:gd name="connsiteX55673" fmla="*/ 3871221 w 6884782"/>
              <a:gd name="connsiteY55673" fmla="*/ 1412018 h 5973007"/>
              <a:gd name="connsiteX55674" fmla="*/ 3868446 w 6884782"/>
              <a:gd name="connsiteY55674" fmla="*/ 1412018 h 5973007"/>
              <a:gd name="connsiteX55675" fmla="*/ 3869300 w 6884782"/>
              <a:gd name="connsiteY55675" fmla="*/ 1410454 h 5973007"/>
              <a:gd name="connsiteX55676" fmla="*/ 3875062 w 6884782"/>
              <a:gd name="connsiteY55676" fmla="*/ 1410311 h 5973007"/>
              <a:gd name="connsiteX55677" fmla="*/ 3878264 w 6884782"/>
              <a:gd name="connsiteY55677" fmla="*/ 1410311 h 5973007"/>
              <a:gd name="connsiteX55678" fmla="*/ 3889148 w 6884782"/>
              <a:gd name="connsiteY55678" fmla="*/ 1415718 h 5973007"/>
              <a:gd name="connsiteX55679" fmla="*/ 3881465 w 6884782"/>
              <a:gd name="connsiteY55679" fmla="*/ 1424538 h 5973007"/>
              <a:gd name="connsiteX55680" fmla="*/ 3879971 w 6884782"/>
              <a:gd name="connsiteY55680" fmla="*/ 1424111 h 5973007"/>
              <a:gd name="connsiteX55681" fmla="*/ 3869086 w 6884782"/>
              <a:gd name="connsiteY55681" fmla="*/ 1416145 h 5973007"/>
              <a:gd name="connsiteX55682" fmla="*/ 3875062 w 6884782"/>
              <a:gd name="connsiteY55682" fmla="*/ 1410311 h 5973007"/>
              <a:gd name="connsiteX55683" fmla="*/ 1499487 w 6884782"/>
              <a:gd name="connsiteY55683" fmla="*/ 1410198 h 5973007"/>
              <a:gd name="connsiteX55684" fmla="*/ 1500829 w 6884782"/>
              <a:gd name="connsiteY55684" fmla="*/ 1418408 h 5973007"/>
              <a:gd name="connsiteX55685" fmla="*/ 1498145 w 6884782"/>
              <a:gd name="connsiteY55685" fmla="*/ 1414536 h 5973007"/>
              <a:gd name="connsiteX55686" fmla="*/ 1499487 w 6884782"/>
              <a:gd name="connsiteY55686" fmla="*/ 1410198 h 5973007"/>
              <a:gd name="connsiteX55687" fmla="*/ 3874636 w 6884782"/>
              <a:gd name="connsiteY55687" fmla="*/ 1408604 h 5973007"/>
              <a:gd name="connsiteX55688" fmla="*/ 3876556 w 6884782"/>
              <a:gd name="connsiteY55688" fmla="*/ 1408604 h 5973007"/>
              <a:gd name="connsiteX55689" fmla="*/ 3876769 w 6884782"/>
              <a:gd name="connsiteY55689" fmla="*/ 1409600 h 5973007"/>
              <a:gd name="connsiteX55690" fmla="*/ 3873995 w 6884782"/>
              <a:gd name="connsiteY55690" fmla="*/ 1409600 h 5973007"/>
              <a:gd name="connsiteX55691" fmla="*/ 3874636 w 6884782"/>
              <a:gd name="connsiteY55691" fmla="*/ 1408604 h 5973007"/>
              <a:gd name="connsiteX55692" fmla="*/ 4076317 w 6884782"/>
              <a:gd name="connsiteY55692" fmla="*/ 1408178 h 5973007"/>
              <a:gd name="connsiteX55693" fmla="*/ 4084427 w 6884782"/>
              <a:gd name="connsiteY55693" fmla="*/ 1413726 h 5973007"/>
              <a:gd name="connsiteX55694" fmla="*/ 4082720 w 6884782"/>
              <a:gd name="connsiteY55694" fmla="*/ 1424965 h 5973007"/>
              <a:gd name="connsiteX55695" fmla="*/ 4067354 w 6884782"/>
              <a:gd name="connsiteY55695" fmla="*/ 1421124 h 5973007"/>
              <a:gd name="connsiteX55696" fmla="*/ 4076317 w 6884782"/>
              <a:gd name="connsiteY55696" fmla="*/ 1408178 h 5973007"/>
              <a:gd name="connsiteX55697" fmla="*/ 5164331 w 6884782"/>
              <a:gd name="connsiteY55697" fmla="*/ 1408035 h 5973007"/>
              <a:gd name="connsiteX55698" fmla="*/ 5170307 w 6884782"/>
              <a:gd name="connsiteY55698" fmla="*/ 1415291 h 5973007"/>
              <a:gd name="connsiteX55699" fmla="*/ 5161130 w 6884782"/>
              <a:gd name="connsiteY55699" fmla="*/ 1415006 h 5973007"/>
              <a:gd name="connsiteX55700" fmla="*/ 5164331 w 6884782"/>
              <a:gd name="connsiteY55700" fmla="*/ 1408035 h 5973007"/>
              <a:gd name="connsiteX55701" fmla="*/ 1738422 w 6884782"/>
              <a:gd name="connsiteY55701" fmla="*/ 1407875 h 5973007"/>
              <a:gd name="connsiteX55702" fmla="*/ 1740384 w 6884782"/>
              <a:gd name="connsiteY55702" fmla="*/ 1408649 h 5973007"/>
              <a:gd name="connsiteX55703" fmla="*/ 1737803 w 6884782"/>
              <a:gd name="connsiteY55703" fmla="*/ 1411282 h 5973007"/>
              <a:gd name="connsiteX55704" fmla="*/ 1735944 w 6884782"/>
              <a:gd name="connsiteY55704" fmla="*/ 1409114 h 5973007"/>
              <a:gd name="connsiteX55705" fmla="*/ 1738422 w 6884782"/>
              <a:gd name="connsiteY55705" fmla="*/ 1407875 h 5973007"/>
              <a:gd name="connsiteX55706" fmla="*/ 1089869 w 6884782"/>
              <a:gd name="connsiteY55706" fmla="*/ 1407565 h 5973007"/>
              <a:gd name="connsiteX55707" fmla="*/ 1102364 w 6884782"/>
              <a:gd name="connsiteY55707" fmla="*/ 1417788 h 5973007"/>
              <a:gd name="connsiteX55708" fmla="*/ 1089869 w 6884782"/>
              <a:gd name="connsiteY55708" fmla="*/ 1407565 h 5973007"/>
              <a:gd name="connsiteX55709" fmla="*/ 5201039 w 6884782"/>
              <a:gd name="connsiteY55709" fmla="*/ 1407466 h 5973007"/>
              <a:gd name="connsiteX55710" fmla="*/ 5208722 w 6884782"/>
              <a:gd name="connsiteY55710" fmla="*/ 1410311 h 5973007"/>
              <a:gd name="connsiteX55711" fmla="*/ 5208082 w 6884782"/>
              <a:gd name="connsiteY55711" fmla="*/ 1419132 h 5973007"/>
              <a:gd name="connsiteX55712" fmla="*/ 5195064 w 6884782"/>
              <a:gd name="connsiteY55712" fmla="*/ 1413157 h 5973007"/>
              <a:gd name="connsiteX55713" fmla="*/ 5201039 w 6884782"/>
              <a:gd name="connsiteY55713" fmla="*/ 1407466 h 5973007"/>
              <a:gd name="connsiteX55714" fmla="*/ 1558653 w 6884782"/>
              <a:gd name="connsiteY55714" fmla="*/ 1406791 h 5973007"/>
              <a:gd name="connsiteX55715" fmla="*/ 1559789 w 6884782"/>
              <a:gd name="connsiteY55715" fmla="*/ 1411902 h 5973007"/>
              <a:gd name="connsiteX55716" fmla="*/ 1557414 w 6884782"/>
              <a:gd name="connsiteY55716" fmla="*/ 1411902 h 5973007"/>
              <a:gd name="connsiteX55717" fmla="*/ 1557414 w 6884782"/>
              <a:gd name="connsiteY55717" fmla="*/ 1413296 h 5973007"/>
              <a:gd name="connsiteX55718" fmla="*/ 1555039 w 6884782"/>
              <a:gd name="connsiteY55718" fmla="*/ 1411902 h 5973007"/>
              <a:gd name="connsiteX55719" fmla="*/ 1555039 w 6884782"/>
              <a:gd name="connsiteY55719" fmla="*/ 1410663 h 5973007"/>
              <a:gd name="connsiteX55720" fmla="*/ 1554626 w 6884782"/>
              <a:gd name="connsiteY55720" fmla="*/ 1410353 h 5973007"/>
              <a:gd name="connsiteX55721" fmla="*/ 1556175 w 6884782"/>
              <a:gd name="connsiteY55721" fmla="*/ 1408030 h 5973007"/>
              <a:gd name="connsiteX55722" fmla="*/ 1558653 w 6884782"/>
              <a:gd name="connsiteY55722" fmla="*/ 1406791 h 5973007"/>
              <a:gd name="connsiteX55723" fmla="*/ 1712608 w 6884782"/>
              <a:gd name="connsiteY55723" fmla="*/ 1406016 h 5973007"/>
              <a:gd name="connsiteX55724" fmla="*/ 1731917 w 6884782"/>
              <a:gd name="connsiteY55724" fmla="*/ 1417169 h 5973007"/>
              <a:gd name="connsiteX55725" fmla="*/ 1723346 w 6884782"/>
              <a:gd name="connsiteY55725" fmla="*/ 1433897 h 5973007"/>
              <a:gd name="connsiteX55726" fmla="*/ 1708271 w 6884782"/>
              <a:gd name="connsiteY55726" fmla="*/ 1415155 h 5973007"/>
              <a:gd name="connsiteX55727" fmla="*/ 1709717 w 6884782"/>
              <a:gd name="connsiteY55727" fmla="*/ 1408649 h 5973007"/>
              <a:gd name="connsiteX55728" fmla="*/ 1712608 w 6884782"/>
              <a:gd name="connsiteY55728" fmla="*/ 1406016 h 5973007"/>
              <a:gd name="connsiteX55729" fmla="*/ 5256529 w 6884782"/>
              <a:gd name="connsiteY55729" fmla="*/ 1405616 h 5973007"/>
              <a:gd name="connsiteX55730" fmla="*/ 5267626 w 6884782"/>
              <a:gd name="connsiteY55730" fmla="*/ 1408178 h 5973007"/>
              <a:gd name="connsiteX55731" fmla="*/ 5270187 w 6884782"/>
              <a:gd name="connsiteY55731" fmla="*/ 1409316 h 5973007"/>
              <a:gd name="connsiteX55732" fmla="*/ 5272748 w 6884782"/>
              <a:gd name="connsiteY55732" fmla="*/ 1410311 h 5973007"/>
              <a:gd name="connsiteX55733" fmla="*/ 5274456 w 6884782"/>
              <a:gd name="connsiteY55733" fmla="*/ 1415148 h 5973007"/>
              <a:gd name="connsiteX55734" fmla="*/ 5252687 w 6884782"/>
              <a:gd name="connsiteY55734" fmla="*/ 1409173 h 5973007"/>
              <a:gd name="connsiteX55735" fmla="*/ 5253541 w 6884782"/>
              <a:gd name="connsiteY55735" fmla="*/ 1406612 h 5973007"/>
              <a:gd name="connsiteX55736" fmla="*/ 5256529 w 6884782"/>
              <a:gd name="connsiteY55736" fmla="*/ 1405616 h 5973007"/>
              <a:gd name="connsiteX55737" fmla="*/ 5230705 w 6884782"/>
              <a:gd name="connsiteY55737" fmla="*/ 1404906 h 5973007"/>
              <a:gd name="connsiteX55738" fmla="*/ 5242656 w 6884782"/>
              <a:gd name="connsiteY55738" fmla="*/ 1415148 h 5973007"/>
              <a:gd name="connsiteX55739" fmla="*/ 5215552 w 6884782"/>
              <a:gd name="connsiteY55739" fmla="*/ 1411450 h 5973007"/>
              <a:gd name="connsiteX55740" fmla="*/ 5217899 w 6884782"/>
              <a:gd name="connsiteY55740" fmla="*/ 1405759 h 5973007"/>
              <a:gd name="connsiteX55741" fmla="*/ 5224942 w 6884782"/>
              <a:gd name="connsiteY55741" fmla="*/ 1405047 h 5973007"/>
              <a:gd name="connsiteX55742" fmla="*/ 5230705 w 6884782"/>
              <a:gd name="connsiteY55742" fmla="*/ 1404906 h 5973007"/>
              <a:gd name="connsiteX55743" fmla="*/ 4283974 w 6884782"/>
              <a:gd name="connsiteY55743" fmla="*/ 1404906 h 5973007"/>
              <a:gd name="connsiteX55744" fmla="*/ 4288670 w 6884782"/>
              <a:gd name="connsiteY55744" fmla="*/ 1406755 h 5973007"/>
              <a:gd name="connsiteX55745" fmla="*/ 4291444 w 6884782"/>
              <a:gd name="connsiteY55745" fmla="*/ 1412018 h 5973007"/>
              <a:gd name="connsiteX55746" fmla="*/ 4290804 w 6884782"/>
              <a:gd name="connsiteY55746" fmla="*/ 1411023 h 5973007"/>
              <a:gd name="connsiteX55747" fmla="*/ 4288883 w 6884782"/>
              <a:gd name="connsiteY55747" fmla="*/ 1412303 h 5973007"/>
              <a:gd name="connsiteX55748" fmla="*/ 4289523 w 6884782"/>
              <a:gd name="connsiteY55748" fmla="*/ 1413299 h 5973007"/>
              <a:gd name="connsiteX55749" fmla="*/ 4286962 w 6884782"/>
              <a:gd name="connsiteY55749" fmla="*/ 1413583 h 5973007"/>
              <a:gd name="connsiteX55750" fmla="*/ 4279279 w 6884782"/>
              <a:gd name="connsiteY55750" fmla="*/ 1408035 h 5973007"/>
              <a:gd name="connsiteX55751" fmla="*/ 4283974 w 6884782"/>
              <a:gd name="connsiteY55751" fmla="*/ 1404906 h 5973007"/>
              <a:gd name="connsiteX55752" fmla="*/ 1635269 w 6884782"/>
              <a:gd name="connsiteY55752" fmla="*/ 1404467 h 5973007"/>
              <a:gd name="connsiteX55753" fmla="*/ 1631035 w 6884782"/>
              <a:gd name="connsiteY55753" fmla="*/ 1411438 h 5973007"/>
              <a:gd name="connsiteX55754" fmla="*/ 1629693 w 6884782"/>
              <a:gd name="connsiteY55754" fmla="*/ 1408959 h 5973007"/>
              <a:gd name="connsiteX55755" fmla="*/ 1635269 w 6884782"/>
              <a:gd name="connsiteY55755" fmla="*/ 1404467 h 5973007"/>
              <a:gd name="connsiteX55756" fmla="*/ 4113879 w 6884782"/>
              <a:gd name="connsiteY55756" fmla="*/ 1404194 h 5973007"/>
              <a:gd name="connsiteX55757" fmla="*/ 4122202 w 6884782"/>
              <a:gd name="connsiteY55757" fmla="*/ 1406328 h 5973007"/>
              <a:gd name="connsiteX55758" fmla="*/ 4119001 w 6884782"/>
              <a:gd name="connsiteY55758" fmla="*/ 1405474 h 5973007"/>
              <a:gd name="connsiteX55759" fmla="*/ 4116867 w 6884782"/>
              <a:gd name="connsiteY55759" fmla="*/ 1406755 h 5973007"/>
              <a:gd name="connsiteX55760" fmla="*/ 4113879 w 6884782"/>
              <a:gd name="connsiteY55760" fmla="*/ 1404194 h 5973007"/>
              <a:gd name="connsiteX55761" fmla="*/ 3688107 w 6884782"/>
              <a:gd name="connsiteY55761" fmla="*/ 1404052 h 5973007"/>
              <a:gd name="connsiteX55762" fmla="*/ 3691308 w 6884782"/>
              <a:gd name="connsiteY55762" fmla="*/ 1405332 h 5973007"/>
              <a:gd name="connsiteX55763" fmla="*/ 3690027 w 6884782"/>
              <a:gd name="connsiteY55763" fmla="*/ 1410169 h 5973007"/>
              <a:gd name="connsiteX55764" fmla="*/ 3686613 w 6884782"/>
              <a:gd name="connsiteY55764" fmla="*/ 1411023 h 5973007"/>
              <a:gd name="connsiteX55765" fmla="*/ 3686613 w 6884782"/>
              <a:gd name="connsiteY55765" fmla="*/ 1409743 h 5973007"/>
              <a:gd name="connsiteX55766" fmla="*/ 3685546 w 6884782"/>
              <a:gd name="connsiteY55766" fmla="*/ 1404621 h 5973007"/>
              <a:gd name="connsiteX55767" fmla="*/ 3688107 w 6884782"/>
              <a:gd name="connsiteY55767" fmla="*/ 1404052 h 5973007"/>
              <a:gd name="connsiteX55768" fmla="*/ 1695364 w 6884782"/>
              <a:gd name="connsiteY55768" fmla="*/ 1403693 h 5973007"/>
              <a:gd name="connsiteX55769" fmla="*/ 1699495 w 6884782"/>
              <a:gd name="connsiteY55769" fmla="*/ 1406481 h 5973007"/>
              <a:gd name="connsiteX55770" fmla="*/ 1699907 w 6884782"/>
              <a:gd name="connsiteY55770" fmla="*/ 1406326 h 5973007"/>
              <a:gd name="connsiteX55771" fmla="*/ 1700217 w 6884782"/>
              <a:gd name="connsiteY55771" fmla="*/ 1406946 h 5973007"/>
              <a:gd name="connsiteX55772" fmla="*/ 1701973 w 6884782"/>
              <a:gd name="connsiteY55772" fmla="*/ 1408030 h 5973007"/>
              <a:gd name="connsiteX55773" fmla="*/ 1699804 w 6884782"/>
              <a:gd name="connsiteY55773" fmla="*/ 1420886 h 5973007"/>
              <a:gd name="connsiteX55774" fmla="*/ 1693505 w 6884782"/>
              <a:gd name="connsiteY55774" fmla="*/ 1421971 h 5973007"/>
              <a:gd name="connsiteX55775" fmla="*/ 1692370 w 6884782"/>
              <a:gd name="connsiteY55775" fmla="*/ 1421351 h 5973007"/>
              <a:gd name="connsiteX55776" fmla="*/ 1693402 w 6884782"/>
              <a:gd name="connsiteY55776" fmla="*/ 1423210 h 5973007"/>
              <a:gd name="connsiteX55777" fmla="*/ 1691543 w 6884782"/>
              <a:gd name="connsiteY55777" fmla="*/ 1433433 h 5973007"/>
              <a:gd name="connsiteX55778" fmla="*/ 1679669 w 6884782"/>
              <a:gd name="connsiteY55778" fmla="*/ 1418253 h 5973007"/>
              <a:gd name="connsiteX55779" fmla="*/ 1682973 w 6884782"/>
              <a:gd name="connsiteY55779" fmla="*/ 1414381 h 5973007"/>
              <a:gd name="connsiteX55780" fmla="*/ 1685555 w 6884782"/>
              <a:gd name="connsiteY55780" fmla="*/ 1414071 h 5973007"/>
              <a:gd name="connsiteX55781" fmla="*/ 1695364 w 6884782"/>
              <a:gd name="connsiteY55781" fmla="*/ 1403693 h 5973007"/>
              <a:gd name="connsiteX55782" fmla="*/ 4135008 w 6884782"/>
              <a:gd name="connsiteY55782" fmla="*/ 1403625 h 5973007"/>
              <a:gd name="connsiteX55783" fmla="*/ 4137355 w 6884782"/>
              <a:gd name="connsiteY55783" fmla="*/ 1405047 h 5973007"/>
              <a:gd name="connsiteX55784" fmla="*/ 4135221 w 6884782"/>
              <a:gd name="connsiteY55784" fmla="*/ 1407893 h 5973007"/>
              <a:gd name="connsiteX55785" fmla="*/ 4131380 w 6884782"/>
              <a:gd name="connsiteY55785" fmla="*/ 1406044 h 5973007"/>
              <a:gd name="connsiteX55786" fmla="*/ 4126897 w 6884782"/>
              <a:gd name="connsiteY55786" fmla="*/ 1407466 h 5973007"/>
              <a:gd name="connsiteX55787" fmla="*/ 4123056 w 6884782"/>
              <a:gd name="connsiteY55787" fmla="*/ 1405616 h 5973007"/>
              <a:gd name="connsiteX55788" fmla="*/ 4124123 w 6884782"/>
              <a:gd name="connsiteY55788" fmla="*/ 1404906 h 5973007"/>
              <a:gd name="connsiteX55789" fmla="*/ 4127324 w 6884782"/>
              <a:gd name="connsiteY55789" fmla="*/ 1405759 h 5973007"/>
              <a:gd name="connsiteX55790" fmla="*/ 4135008 w 6884782"/>
              <a:gd name="connsiteY55790" fmla="*/ 1403625 h 5973007"/>
              <a:gd name="connsiteX55791" fmla="*/ 4623525 w 6884782"/>
              <a:gd name="connsiteY55791" fmla="*/ 1403198 h 5973007"/>
              <a:gd name="connsiteX55792" fmla="*/ 4626300 w 6884782"/>
              <a:gd name="connsiteY55792" fmla="*/ 1404621 h 5973007"/>
              <a:gd name="connsiteX55793" fmla="*/ 4614561 w 6884782"/>
              <a:gd name="connsiteY55793" fmla="*/ 1412161 h 5973007"/>
              <a:gd name="connsiteX55794" fmla="*/ 4614775 w 6884782"/>
              <a:gd name="connsiteY55794" fmla="*/ 1408604 h 5973007"/>
              <a:gd name="connsiteX55795" fmla="*/ 4623525 w 6884782"/>
              <a:gd name="connsiteY55795" fmla="*/ 1403198 h 5973007"/>
              <a:gd name="connsiteX55796" fmla="*/ 1281720 w 6884782"/>
              <a:gd name="connsiteY55796" fmla="*/ 1402918 h 5973007"/>
              <a:gd name="connsiteX55797" fmla="*/ 1286779 w 6884782"/>
              <a:gd name="connsiteY55797" fmla="*/ 1404003 h 5973007"/>
              <a:gd name="connsiteX55798" fmla="*/ 1282030 w 6884782"/>
              <a:gd name="connsiteY55798" fmla="*/ 1408339 h 5973007"/>
              <a:gd name="connsiteX55799" fmla="*/ 1280171 w 6884782"/>
              <a:gd name="connsiteY55799" fmla="*/ 1405397 h 5973007"/>
              <a:gd name="connsiteX55800" fmla="*/ 1281720 w 6884782"/>
              <a:gd name="connsiteY55800" fmla="*/ 1402918 h 5973007"/>
              <a:gd name="connsiteX55801" fmla="*/ 1793767 w 6884782"/>
              <a:gd name="connsiteY55801" fmla="*/ 1402299 h 5973007"/>
              <a:gd name="connsiteX55802" fmla="*/ 1795316 w 6884782"/>
              <a:gd name="connsiteY55802" fmla="*/ 1405397 h 5973007"/>
              <a:gd name="connsiteX55803" fmla="*/ 1793354 w 6884782"/>
              <a:gd name="connsiteY55803" fmla="*/ 1407101 h 5973007"/>
              <a:gd name="connsiteX55804" fmla="*/ 1793044 w 6884782"/>
              <a:gd name="connsiteY55804" fmla="*/ 1404467 h 5973007"/>
              <a:gd name="connsiteX55805" fmla="*/ 1793767 w 6884782"/>
              <a:gd name="connsiteY55805" fmla="*/ 1402299 h 5973007"/>
              <a:gd name="connsiteX55806" fmla="*/ 1653106 w 6884782"/>
              <a:gd name="connsiteY55806" fmla="*/ 1401931 h 5973007"/>
              <a:gd name="connsiteX55807" fmla="*/ 1666452 w 6884782"/>
              <a:gd name="connsiteY55807" fmla="*/ 1406636 h 5973007"/>
              <a:gd name="connsiteX55808" fmla="*/ 1668931 w 6884782"/>
              <a:gd name="connsiteY55808" fmla="*/ 1409424 h 5973007"/>
              <a:gd name="connsiteX55809" fmla="*/ 1673990 w 6884782"/>
              <a:gd name="connsiteY55809" fmla="*/ 1412057 h 5973007"/>
              <a:gd name="connsiteX55810" fmla="*/ 1667692 w 6884782"/>
              <a:gd name="connsiteY55810" fmla="*/ 1428166 h 5973007"/>
              <a:gd name="connsiteX55811" fmla="*/ 1646214 w 6884782"/>
              <a:gd name="connsiteY55811" fmla="*/ 1432193 h 5973007"/>
              <a:gd name="connsiteX55812" fmla="*/ 1640432 w 6884782"/>
              <a:gd name="connsiteY55812" fmla="*/ 1417788 h 5973007"/>
              <a:gd name="connsiteX55813" fmla="*/ 1643633 w 6884782"/>
              <a:gd name="connsiteY55813" fmla="*/ 1409424 h 5973007"/>
              <a:gd name="connsiteX55814" fmla="*/ 1653106 w 6884782"/>
              <a:gd name="connsiteY55814" fmla="*/ 1401931 h 5973007"/>
              <a:gd name="connsiteX55815" fmla="*/ 1103190 w 6884782"/>
              <a:gd name="connsiteY55815" fmla="*/ 1400904 h 5973007"/>
              <a:gd name="connsiteX55816" fmla="*/ 1106081 w 6884782"/>
              <a:gd name="connsiteY55816" fmla="*/ 1403848 h 5973007"/>
              <a:gd name="connsiteX55817" fmla="*/ 1099472 w 6884782"/>
              <a:gd name="connsiteY55817" fmla="*/ 1408339 h 5973007"/>
              <a:gd name="connsiteX55818" fmla="*/ 1097407 w 6884782"/>
              <a:gd name="connsiteY55818" fmla="*/ 1406791 h 5973007"/>
              <a:gd name="connsiteX55819" fmla="*/ 1100298 w 6884782"/>
              <a:gd name="connsiteY55819" fmla="*/ 1401215 h 5973007"/>
              <a:gd name="connsiteX55820" fmla="*/ 1103190 w 6884782"/>
              <a:gd name="connsiteY55820" fmla="*/ 1400904 h 5973007"/>
              <a:gd name="connsiteX55821" fmla="*/ 1235255 w 6884782"/>
              <a:gd name="connsiteY55821" fmla="*/ 1400595 h 5973007"/>
              <a:gd name="connsiteX55822" fmla="*/ 1238352 w 6884782"/>
              <a:gd name="connsiteY55822" fmla="*/ 1405706 h 5973007"/>
              <a:gd name="connsiteX55823" fmla="*/ 1235667 w 6884782"/>
              <a:gd name="connsiteY55823" fmla="*/ 1406016 h 5973007"/>
              <a:gd name="connsiteX55824" fmla="*/ 1235255 w 6884782"/>
              <a:gd name="connsiteY55824" fmla="*/ 1403538 h 5973007"/>
              <a:gd name="connsiteX55825" fmla="*/ 1235255 w 6884782"/>
              <a:gd name="connsiteY55825" fmla="*/ 1400595 h 5973007"/>
              <a:gd name="connsiteX55826" fmla="*/ 1792735 w 6884782"/>
              <a:gd name="connsiteY55826" fmla="*/ 1399975 h 5973007"/>
              <a:gd name="connsiteX55827" fmla="*/ 1793561 w 6884782"/>
              <a:gd name="connsiteY55827" fmla="*/ 1401679 h 5973007"/>
              <a:gd name="connsiteX55828" fmla="*/ 1792838 w 6884782"/>
              <a:gd name="connsiteY55828" fmla="*/ 1401989 h 5973007"/>
              <a:gd name="connsiteX55829" fmla="*/ 1792322 w 6884782"/>
              <a:gd name="connsiteY55829" fmla="*/ 1400750 h 5973007"/>
              <a:gd name="connsiteX55830" fmla="*/ 1792735 w 6884782"/>
              <a:gd name="connsiteY55830" fmla="*/ 1399975 h 5973007"/>
              <a:gd name="connsiteX55831" fmla="*/ 4320469 w 6884782"/>
              <a:gd name="connsiteY55831" fmla="*/ 1399926 h 5973007"/>
              <a:gd name="connsiteX55832" fmla="*/ 4323884 w 6884782"/>
              <a:gd name="connsiteY55832" fmla="*/ 1401633 h 5973007"/>
              <a:gd name="connsiteX55833" fmla="*/ 4325592 w 6884782"/>
              <a:gd name="connsiteY55833" fmla="*/ 1405616 h 5973007"/>
              <a:gd name="connsiteX55834" fmla="*/ 4324951 w 6884782"/>
              <a:gd name="connsiteY55834" fmla="*/ 1408889 h 5973007"/>
              <a:gd name="connsiteX55835" fmla="*/ 4319616 w 6884782"/>
              <a:gd name="connsiteY55835" fmla="*/ 1412446 h 5973007"/>
              <a:gd name="connsiteX55836" fmla="*/ 4315347 w 6884782"/>
              <a:gd name="connsiteY55836" fmla="*/ 1408462 h 5973007"/>
              <a:gd name="connsiteX55837" fmla="*/ 4314280 w 6884782"/>
              <a:gd name="connsiteY55837" fmla="*/ 1405474 h 5973007"/>
              <a:gd name="connsiteX55838" fmla="*/ 4313213 w 6884782"/>
              <a:gd name="connsiteY55838" fmla="*/ 1406755 h 5973007"/>
              <a:gd name="connsiteX55839" fmla="*/ 4307237 w 6884782"/>
              <a:gd name="connsiteY55839" fmla="*/ 1406328 h 5973007"/>
              <a:gd name="connsiteX55840" fmla="*/ 4315134 w 6884782"/>
              <a:gd name="connsiteY55840" fmla="*/ 1400637 h 5973007"/>
              <a:gd name="connsiteX55841" fmla="*/ 4314921 w 6884782"/>
              <a:gd name="connsiteY55841" fmla="*/ 1401206 h 5973007"/>
              <a:gd name="connsiteX55842" fmla="*/ 4315987 w 6884782"/>
              <a:gd name="connsiteY55842" fmla="*/ 1400068 h 5973007"/>
              <a:gd name="connsiteX55843" fmla="*/ 4320469 w 6884782"/>
              <a:gd name="connsiteY55843" fmla="*/ 1399926 h 5973007"/>
              <a:gd name="connsiteX55844" fmla="*/ 5328451 w 6884782"/>
              <a:gd name="connsiteY55844" fmla="*/ 1399499 h 5973007"/>
              <a:gd name="connsiteX55845" fmla="*/ 5331439 w 6884782"/>
              <a:gd name="connsiteY55845" fmla="*/ 1399784 h 5973007"/>
              <a:gd name="connsiteX55846" fmla="*/ 5344030 w 6884782"/>
              <a:gd name="connsiteY55846" fmla="*/ 1405759 h 5973007"/>
              <a:gd name="connsiteX55847" fmla="*/ 5339549 w 6884782"/>
              <a:gd name="connsiteY55847" fmla="*/ 1417140 h 5973007"/>
              <a:gd name="connsiteX55848" fmla="*/ 5323542 w 6884782"/>
              <a:gd name="connsiteY55848" fmla="*/ 1408178 h 5973007"/>
              <a:gd name="connsiteX55849" fmla="*/ 5328451 w 6884782"/>
              <a:gd name="connsiteY55849" fmla="*/ 1399499 h 5973007"/>
              <a:gd name="connsiteX55850" fmla="*/ 3618105 w 6884782"/>
              <a:gd name="connsiteY55850" fmla="*/ 1399072 h 5973007"/>
              <a:gd name="connsiteX55851" fmla="*/ 3620239 w 6884782"/>
              <a:gd name="connsiteY55851" fmla="*/ 1400780 h 5973007"/>
              <a:gd name="connsiteX55852" fmla="*/ 3626215 w 6884782"/>
              <a:gd name="connsiteY55852" fmla="*/ 1411307 h 5973007"/>
              <a:gd name="connsiteX55853" fmla="*/ 3627495 w 6884782"/>
              <a:gd name="connsiteY55853" fmla="*/ 1413442 h 5973007"/>
              <a:gd name="connsiteX55854" fmla="*/ 3627068 w 6884782"/>
              <a:gd name="connsiteY55854" fmla="*/ 1416714 h 5973007"/>
              <a:gd name="connsiteX55855" fmla="*/ 3620026 w 6884782"/>
              <a:gd name="connsiteY55855" fmla="*/ 1408035 h 5973007"/>
              <a:gd name="connsiteX55856" fmla="*/ 3616611 w 6884782"/>
              <a:gd name="connsiteY55856" fmla="*/ 1402914 h 5973007"/>
              <a:gd name="connsiteX55857" fmla="*/ 3617038 w 6884782"/>
              <a:gd name="connsiteY55857" fmla="*/ 1399642 h 5973007"/>
              <a:gd name="connsiteX55858" fmla="*/ 1054660 w 6884782"/>
              <a:gd name="connsiteY55858" fmla="*/ 1399046 h 5973007"/>
              <a:gd name="connsiteX55859" fmla="*/ 1054969 w 6884782"/>
              <a:gd name="connsiteY55859" fmla="*/ 1405087 h 5973007"/>
              <a:gd name="connsiteX55860" fmla="*/ 1048670 w 6884782"/>
              <a:gd name="connsiteY55860" fmla="*/ 1401679 h 5973007"/>
              <a:gd name="connsiteX55861" fmla="*/ 1054660 w 6884782"/>
              <a:gd name="connsiteY55861" fmla="*/ 1399046 h 5973007"/>
              <a:gd name="connsiteX55862" fmla="*/ 4556938 w 6884782"/>
              <a:gd name="connsiteY55862" fmla="*/ 1398219 h 5973007"/>
              <a:gd name="connsiteX55863" fmla="*/ 4558646 w 6884782"/>
              <a:gd name="connsiteY55863" fmla="*/ 1401775 h 5973007"/>
              <a:gd name="connsiteX55864" fmla="*/ 4552670 w 6884782"/>
              <a:gd name="connsiteY55864" fmla="*/ 1400780 h 5973007"/>
              <a:gd name="connsiteX55865" fmla="*/ 4556938 w 6884782"/>
              <a:gd name="connsiteY55865" fmla="*/ 1398219 h 5973007"/>
              <a:gd name="connsiteX55866" fmla="*/ 4147599 w 6884782"/>
              <a:gd name="connsiteY55866" fmla="*/ 1397223 h 5973007"/>
              <a:gd name="connsiteX55867" fmla="*/ 4152508 w 6884782"/>
              <a:gd name="connsiteY55867" fmla="*/ 1397934 h 5973007"/>
              <a:gd name="connsiteX55868" fmla="*/ 4156777 w 6884782"/>
              <a:gd name="connsiteY55868" fmla="*/ 1400210 h 5973007"/>
              <a:gd name="connsiteX55869" fmla="*/ 4158910 w 6884782"/>
              <a:gd name="connsiteY55869" fmla="*/ 1404763 h 5973007"/>
              <a:gd name="connsiteX55870" fmla="*/ 4162539 w 6884782"/>
              <a:gd name="connsiteY55870" fmla="*/ 1411734 h 5973007"/>
              <a:gd name="connsiteX55871" fmla="*/ 4157844 w 6884782"/>
              <a:gd name="connsiteY55871" fmla="*/ 1416002 h 5973007"/>
              <a:gd name="connsiteX55872" fmla="*/ 4150374 w 6884782"/>
              <a:gd name="connsiteY55872" fmla="*/ 1413442 h 5973007"/>
              <a:gd name="connsiteX55873" fmla="*/ 4149733 w 6884782"/>
              <a:gd name="connsiteY55873" fmla="*/ 1414010 h 5973007"/>
              <a:gd name="connsiteX55874" fmla="*/ 4142051 w 6884782"/>
              <a:gd name="connsiteY55874" fmla="*/ 1404906 h 5973007"/>
              <a:gd name="connsiteX55875" fmla="*/ 4142691 w 6884782"/>
              <a:gd name="connsiteY55875" fmla="*/ 1401917 h 5973007"/>
              <a:gd name="connsiteX55876" fmla="*/ 4142477 w 6884782"/>
              <a:gd name="connsiteY55876" fmla="*/ 1401633 h 5973007"/>
              <a:gd name="connsiteX55877" fmla="*/ 4147599 w 6884782"/>
              <a:gd name="connsiteY55877" fmla="*/ 1397223 h 5973007"/>
              <a:gd name="connsiteX55878" fmla="*/ 3869300 w 6884782"/>
              <a:gd name="connsiteY55878" fmla="*/ 1396369 h 5973007"/>
              <a:gd name="connsiteX55879" fmla="*/ 3873568 w 6884782"/>
              <a:gd name="connsiteY55879" fmla="*/ 1400637 h 5973007"/>
              <a:gd name="connsiteX55880" fmla="*/ 3875703 w 6884782"/>
              <a:gd name="connsiteY55880" fmla="*/ 1403340 h 5973007"/>
              <a:gd name="connsiteX55881" fmla="*/ 3878050 w 6884782"/>
              <a:gd name="connsiteY55881" fmla="*/ 1404906 h 5973007"/>
              <a:gd name="connsiteX55882" fmla="*/ 3879331 w 6884782"/>
              <a:gd name="connsiteY55882" fmla="*/ 1407181 h 5973007"/>
              <a:gd name="connsiteX55883" fmla="*/ 3879331 w 6884782"/>
              <a:gd name="connsiteY55883" fmla="*/ 1407039 h 5973007"/>
              <a:gd name="connsiteX55884" fmla="*/ 3881892 w 6884782"/>
              <a:gd name="connsiteY55884" fmla="*/ 1406470 h 5973007"/>
              <a:gd name="connsiteX55885" fmla="*/ 3883172 w 6884782"/>
              <a:gd name="connsiteY55885" fmla="*/ 1407466 h 5973007"/>
              <a:gd name="connsiteX55886" fmla="*/ 3884026 w 6884782"/>
              <a:gd name="connsiteY55886" fmla="*/ 1409458 h 5973007"/>
              <a:gd name="connsiteX55887" fmla="*/ 3880398 w 6884782"/>
              <a:gd name="connsiteY55887" fmla="*/ 1409600 h 5973007"/>
              <a:gd name="connsiteX55888" fmla="*/ 3879757 w 6884782"/>
              <a:gd name="connsiteY55888" fmla="*/ 1409316 h 5973007"/>
              <a:gd name="connsiteX55889" fmla="*/ 3879971 w 6884782"/>
              <a:gd name="connsiteY55889" fmla="*/ 1409885 h 5973007"/>
              <a:gd name="connsiteX55890" fmla="*/ 3878264 w 6884782"/>
              <a:gd name="connsiteY55890" fmla="*/ 1408746 h 5973007"/>
              <a:gd name="connsiteX55891" fmla="*/ 3877197 w 6884782"/>
              <a:gd name="connsiteY55891" fmla="*/ 1408462 h 5973007"/>
              <a:gd name="connsiteX55892" fmla="*/ 3877624 w 6884782"/>
              <a:gd name="connsiteY55892" fmla="*/ 1408178 h 5973007"/>
              <a:gd name="connsiteX55893" fmla="*/ 3875489 w 6884782"/>
              <a:gd name="connsiteY55893" fmla="*/ 1405616 h 5973007"/>
              <a:gd name="connsiteX55894" fmla="*/ 3873355 w 6884782"/>
              <a:gd name="connsiteY55894" fmla="*/ 1405332 h 5973007"/>
              <a:gd name="connsiteX55895" fmla="*/ 3869300 w 6884782"/>
              <a:gd name="connsiteY55895" fmla="*/ 1396369 h 5973007"/>
              <a:gd name="connsiteX55896" fmla="*/ 3823841 w 6884782"/>
              <a:gd name="connsiteY55896" fmla="*/ 1396085 h 5973007"/>
              <a:gd name="connsiteX55897" fmla="*/ 3831311 w 6884782"/>
              <a:gd name="connsiteY55897" fmla="*/ 1403056 h 5973007"/>
              <a:gd name="connsiteX55898" fmla="*/ 3825976 w 6884782"/>
              <a:gd name="connsiteY55898" fmla="*/ 1409173 h 5973007"/>
              <a:gd name="connsiteX55899" fmla="*/ 3822348 w 6884782"/>
              <a:gd name="connsiteY55899" fmla="*/ 1408462 h 5973007"/>
              <a:gd name="connsiteX55900" fmla="*/ 3816585 w 6884782"/>
              <a:gd name="connsiteY55900" fmla="*/ 1403767 h 5973007"/>
              <a:gd name="connsiteX55901" fmla="*/ 3815945 w 6884782"/>
              <a:gd name="connsiteY55901" fmla="*/ 1404906 h 5973007"/>
              <a:gd name="connsiteX55902" fmla="*/ 3817866 w 6884782"/>
              <a:gd name="connsiteY55902" fmla="*/ 1397934 h 5973007"/>
              <a:gd name="connsiteX55903" fmla="*/ 3823841 w 6884782"/>
              <a:gd name="connsiteY55903" fmla="*/ 1396085 h 5973007"/>
              <a:gd name="connsiteX55904" fmla="*/ 1790670 w 6884782"/>
              <a:gd name="connsiteY55904" fmla="*/ 1395948 h 5973007"/>
              <a:gd name="connsiteX55905" fmla="*/ 1791806 w 6884782"/>
              <a:gd name="connsiteY55905" fmla="*/ 1396568 h 5973007"/>
              <a:gd name="connsiteX55906" fmla="*/ 1790773 w 6884782"/>
              <a:gd name="connsiteY55906" fmla="*/ 1397961 h 5973007"/>
              <a:gd name="connsiteX55907" fmla="*/ 1790670 w 6884782"/>
              <a:gd name="connsiteY55907" fmla="*/ 1395948 h 5973007"/>
              <a:gd name="connsiteX55908" fmla="*/ 4757339 w 6884782"/>
              <a:gd name="connsiteY55908" fmla="*/ 1395089 h 5973007"/>
              <a:gd name="connsiteX55909" fmla="*/ 4756913 w 6884782"/>
              <a:gd name="connsiteY55909" fmla="*/ 1416429 h 5973007"/>
              <a:gd name="connsiteX55910" fmla="*/ 4753284 w 6884782"/>
              <a:gd name="connsiteY55910" fmla="*/ 1415291 h 5973007"/>
              <a:gd name="connsiteX55911" fmla="*/ 4752858 w 6884782"/>
              <a:gd name="connsiteY55911" fmla="*/ 1415575 h 5973007"/>
              <a:gd name="connsiteX55912" fmla="*/ 4744108 w 6884782"/>
              <a:gd name="connsiteY55912" fmla="*/ 1408462 h 5973007"/>
              <a:gd name="connsiteX55913" fmla="*/ 4749230 w 6884782"/>
              <a:gd name="connsiteY55913" fmla="*/ 1402202 h 5973007"/>
              <a:gd name="connsiteX55914" fmla="*/ 4750083 w 6884782"/>
              <a:gd name="connsiteY55914" fmla="*/ 1402771 h 5973007"/>
              <a:gd name="connsiteX55915" fmla="*/ 4750510 w 6884782"/>
              <a:gd name="connsiteY55915" fmla="*/ 1401349 h 5973007"/>
              <a:gd name="connsiteX55916" fmla="*/ 4757339 w 6884782"/>
              <a:gd name="connsiteY55916" fmla="*/ 1395089 h 5973007"/>
              <a:gd name="connsiteX55917" fmla="*/ 1587048 w 6884782"/>
              <a:gd name="connsiteY55917" fmla="*/ 1394709 h 5973007"/>
              <a:gd name="connsiteX55918" fmla="*/ 1595102 w 6884782"/>
              <a:gd name="connsiteY55918" fmla="*/ 1398271 h 5973007"/>
              <a:gd name="connsiteX55919" fmla="*/ 1593140 w 6884782"/>
              <a:gd name="connsiteY55919" fmla="*/ 1406481 h 5973007"/>
              <a:gd name="connsiteX55920" fmla="*/ 1584054 w 6884782"/>
              <a:gd name="connsiteY55920" fmla="*/ 1398271 h 5973007"/>
              <a:gd name="connsiteX55921" fmla="*/ 1587048 w 6884782"/>
              <a:gd name="connsiteY55921" fmla="*/ 1394709 h 5973007"/>
              <a:gd name="connsiteX55922" fmla="*/ 5561078 w 6884782"/>
              <a:gd name="connsiteY55922" fmla="*/ 1394093 h 5973007"/>
              <a:gd name="connsiteX55923" fmla="*/ 5564280 w 6884782"/>
              <a:gd name="connsiteY55923" fmla="*/ 1395942 h 5973007"/>
              <a:gd name="connsiteX55924" fmla="*/ 5549341 w 6884782"/>
              <a:gd name="connsiteY55924" fmla="*/ 1416571 h 5973007"/>
              <a:gd name="connsiteX55925" fmla="*/ 5546993 w 6884782"/>
              <a:gd name="connsiteY55925" fmla="*/ 1412872 h 5973007"/>
              <a:gd name="connsiteX55926" fmla="*/ 5561078 w 6884782"/>
              <a:gd name="connsiteY55926" fmla="*/ 1394093 h 5973007"/>
              <a:gd name="connsiteX55927" fmla="*/ 5756571 w 6884782"/>
              <a:gd name="connsiteY55927" fmla="*/ 1393524 h 5973007"/>
              <a:gd name="connsiteX55928" fmla="*/ 5758705 w 6884782"/>
              <a:gd name="connsiteY55928" fmla="*/ 1393950 h 5973007"/>
              <a:gd name="connsiteX55929" fmla="*/ 5738430 w 6884782"/>
              <a:gd name="connsiteY55929" fmla="*/ 1420982 h 5973007"/>
              <a:gd name="connsiteX55930" fmla="*/ 5751449 w 6884782"/>
              <a:gd name="connsiteY55930" fmla="*/ 1395089 h 5973007"/>
              <a:gd name="connsiteX55931" fmla="*/ 5756571 w 6884782"/>
              <a:gd name="connsiteY55931" fmla="*/ 1393524 h 5973007"/>
              <a:gd name="connsiteX55932" fmla="*/ 4971186 w 6884782"/>
              <a:gd name="connsiteY55932" fmla="*/ 1392813 h 5973007"/>
              <a:gd name="connsiteX55933" fmla="*/ 4974174 w 6884782"/>
              <a:gd name="connsiteY55933" fmla="*/ 1394093 h 5973007"/>
              <a:gd name="connsiteX55934" fmla="*/ 4974814 w 6884782"/>
              <a:gd name="connsiteY55934" fmla="*/ 1400068 h 5973007"/>
              <a:gd name="connsiteX55935" fmla="*/ 4970973 w 6884782"/>
              <a:gd name="connsiteY55935" fmla="*/ 1405190 h 5973007"/>
              <a:gd name="connsiteX55936" fmla="*/ 4970333 w 6884782"/>
              <a:gd name="connsiteY55936" fmla="*/ 1408889 h 5973007"/>
              <a:gd name="connsiteX55937" fmla="*/ 4969266 w 6884782"/>
              <a:gd name="connsiteY55937" fmla="*/ 1409031 h 5973007"/>
              <a:gd name="connsiteX55938" fmla="*/ 4969479 w 6884782"/>
              <a:gd name="connsiteY55938" fmla="*/ 1394377 h 5973007"/>
              <a:gd name="connsiteX55939" fmla="*/ 4971186 w 6884782"/>
              <a:gd name="connsiteY55939" fmla="*/ 1392813 h 5973007"/>
              <a:gd name="connsiteX55940" fmla="*/ 4005675 w 6884782"/>
              <a:gd name="connsiteY55940" fmla="*/ 1392813 h 5973007"/>
              <a:gd name="connsiteX55941" fmla="*/ 4008876 w 6884782"/>
              <a:gd name="connsiteY55941" fmla="*/ 1393239 h 5973007"/>
              <a:gd name="connsiteX55942" fmla="*/ 3997138 w 6884782"/>
              <a:gd name="connsiteY55942" fmla="*/ 1400352 h 5973007"/>
              <a:gd name="connsiteX55943" fmla="*/ 4005675 w 6884782"/>
              <a:gd name="connsiteY55943" fmla="*/ 1392813 h 5973007"/>
              <a:gd name="connsiteX55944" fmla="*/ 5976820 w 6884782"/>
              <a:gd name="connsiteY55944" fmla="*/ 1392670 h 5973007"/>
              <a:gd name="connsiteX55945" fmla="*/ 5982796 w 6884782"/>
              <a:gd name="connsiteY55945" fmla="*/ 1396796 h 5973007"/>
              <a:gd name="connsiteX55946" fmla="*/ 5977033 w 6884782"/>
              <a:gd name="connsiteY55946" fmla="*/ 1412588 h 5973007"/>
              <a:gd name="connsiteX55947" fmla="*/ 5968070 w 6884782"/>
              <a:gd name="connsiteY55947" fmla="*/ 1409743 h 5973007"/>
              <a:gd name="connsiteX55948" fmla="*/ 5976820 w 6884782"/>
              <a:gd name="connsiteY55948" fmla="*/ 1392670 h 5973007"/>
              <a:gd name="connsiteX55949" fmla="*/ 5834682 w 6884782"/>
              <a:gd name="connsiteY55949" fmla="*/ 1391816 h 5973007"/>
              <a:gd name="connsiteX55950" fmla="*/ 5840018 w 6884782"/>
              <a:gd name="connsiteY55950" fmla="*/ 1393666 h 5973007"/>
              <a:gd name="connsiteX55951" fmla="*/ 5826786 w 6884782"/>
              <a:gd name="connsiteY55951" fmla="*/ 1402771 h 5973007"/>
              <a:gd name="connsiteX55952" fmla="*/ 5829347 w 6884782"/>
              <a:gd name="connsiteY55952" fmla="*/ 1392813 h 5973007"/>
              <a:gd name="connsiteX55953" fmla="*/ 5834682 w 6884782"/>
              <a:gd name="connsiteY55953" fmla="*/ 1391816 h 5973007"/>
              <a:gd name="connsiteX55954" fmla="*/ 3539993 w 6884782"/>
              <a:gd name="connsiteY55954" fmla="*/ 1391816 h 5973007"/>
              <a:gd name="connsiteX55955" fmla="*/ 3540633 w 6884782"/>
              <a:gd name="connsiteY55955" fmla="*/ 1392955 h 5973007"/>
              <a:gd name="connsiteX55956" fmla="*/ 3539780 w 6884782"/>
              <a:gd name="connsiteY55956" fmla="*/ 1393097 h 5973007"/>
              <a:gd name="connsiteX55957" fmla="*/ 3539993 w 6884782"/>
              <a:gd name="connsiteY55957" fmla="*/ 1394946 h 5973007"/>
              <a:gd name="connsiteX55958" fmla="*/ 3541701 w 6884782"/>
              <a:gd name="connsiteY55958" fmla="*/ 1393950 h 5973007"/>
              <a:gd name="connsiteX55959" fmla="*/ 3548103 w 6884782"/>
              <a:gd name="connsiteY55959" fmla="*/ 1391816 h 5973007"/>
              <a:gd name="connsiteX55960" fmla="*/ 3550237 w 6884782"/>
              <a:gd name="connsiteY55960" fmla="*/ 1392813 h 5973007"/>
              <a:gd name="connsiteX55961" fmla="*/ 3550664 w 6884782"/>
              <a:gd name="connsiteY55961" fmla="*/ 1395942 h 5973007"/>
              <a:gd name="connsiteX55962" fmla="*/ 3545969 w 6884782"/>
              <a:gd name="connsiteY55962" fmla="*/ 1399072 h 5973007"/>
              <a:gd name="connsiteX55963" fmla="*/ 3541914 w 6884782"/>
              <a:gd name="connsiteY55963" fmla="*/ 1398361 h 5973007"/>
              <a:gd name="connsiteX55964" fmla="*/ 3540420 w 6884782"/>
              <a:gd name="connsiteY55964" fmla="*/ 1397792 h 5973007"/>
              <a:gd name="connsiteX55965" fmla="*/ 3540420 w 6884782"/>
              <a:gd name="connsiteY55965" fmla="*/ 1398076 h 5973007"/>
              <a:gd name="connsiteX55966" fmla="*/ 3537219 w 6884782"/>
              <a:gd name="connsiteY55966" fmla="*/ 1397934 h 5973007"/>
              <a:gd name="connsiteX55967" fmla="*/ 3536152 w 6884782"/>
              <a:gd name="connsiteY55967" fmla="*/ 1398219 h 5973007"/>
              <a:gd name="connsiteX55968" fmla="*/ 3535725 w 6884782"/>
              <a:gd name="connsiteY55968" fmla="*/ 1397934 h 5973007"/>
              <a:gd name="connsiteX55969" fmla="*/ 3534658 w 6884782"/>
              <a:gd name="connsiteY55969" fmla="*/ 1397934 h 5973007"/>
              <a:gd name="connsiteX55970" fmla="*/ 3536365 w 6884782"/>
              <a:gd name="connsiteY55970" fmla="*/ 1392955 h 5973007"/>
              <a:gd name="connsiteX55971" fmla="*/ 3539993 w 6884782"/>
              <a:gd name="connsiteY55971" fmla="*/ 1391816 h 5973007"/>
              <a:gd name="connsiteX55972" fmla="*/ 1559892 w 6884782"/>
              <a:gd name="connsiteY55972" fmla="*/ 1391611 h 5973007"/>
              <a:gd name="connsiteX55973" fmla="*/ 1554006 w 6884782"/>
              <a:gd name="connsiteY55973" fmla="*/ 1404467 h 5973007"/>
              <a:gd name="connsiteX55974" fmla="*/ 1544300 w 6884782"/>
              <a:gd name="connsiteY55974" fmla="*/ 1397807 h 5973007"/>
              <a:gd name="connsiteX55975" fmla="*/ 1546572 w 6884782"/>
              <a:gd name="connsiteY55975" fmla="*/ 1392230 h 5973007"/>
              <a:gd name="connsiteX55976" fmla="*/ 1559892 w 6884782"/>
              <a:gd name="connsiteY55976" fmla="*/ 1391611 h 5973007"/>
              <a:gd name="connsiteX55977" fmla="*/ 1150274 w 6884782"/>
              <a:gd name="connsiteY55977" fmla="*/ 1391611 h 5973007"/>
              <a:gd name="connsiteX55978" fmla="*/ 1154818 w 6884782"/>
              <a:gd name="connsiteY55978" fmla="*/ 1392850 h 5973007"/>
              <a:gd name="connsiteX55979" fmla="*/ 1155644 w 6884782"/>
              <a:gd name="connsiteY55979" fmla="*/ 1393625 h 5973007"/>
              <a:gd name="connsiteX55980" fmla="*/ 1158741 w 6884782"/>
              <a:gd name="connsiteY55980" fmla="*/ 1398116 h 5973007"/>
              <a:gd name="connsiteX55981" fmla="*/ 1161013 w 6884782"/>
              <a:gd name="connsiteY55981" fmla="*/ 1398426 h 5973007"/>
              <a:gd name="connsiteX55982" fmla="*/ 1153889 w 6884782"/>
              <a:gd name="connsiteY55982" fmla="*/ 1407875 h 5973007"/>
              <a:gd name="connsiteX55983" fmla="*/ 1149655 w 6884782"/>
              <a:gd name="connsiteY55983" fmla="*/ 1406481 h 5973007"/>
              <a:gd name="connsiteX55984" fmla="*/ 1149448 w 6884782"/>
              <a:gd name="connsiteY55984" fmla="*/ 1402144 h 5973007"/>
              <a:gd name="connsiteX55985" fmla="*/ 1150791 w 6884782"/>
              <a:gd name="connsiteY55985" fmla="*/ 1400750 h 5973007"/>
              <a:gd name="connsiteX55986" fmla="*/ 1149448 w 6884782"/>
              <a:gd name="connsiteY55986" fmla="*/ 1398891 h 5973007"/>
              <a:gd name="connsiteX55987" fmla="*/ 1146867 w 6884782"/>
              <a:gd name="connsiteY55987" fmla="*/ 1394554 h 5973007"/>
              <a:gd name="connsiteX55988" fmla="*/ 1150274 w 6884782"/>
              <a:gd name="connsiteY55988" fmla="*/ 1391611 h 5973007"/>
              <a:gd name="connsiteX55989" fmla="*/ 4259858 w 6884782"/>
              <a:gd name="connsiteY55989" fmla="*/ 1391532 h 5973007"/>
              <a:gd name="connsiteX55990" fmla="*/ 4264553 w 6884782"/>
              <a:gd name="connsiteY55990" fmla="*/ 1391532 h 5973007"/>
              <a:gd name="connsiteX55991" fmla="*/ 4270956 w 6884782"/>
              <a:gd name="connsiteY55991" fmla="*/ 1400495 h 5973007"/>
              <a:gd name="connsiteX55992" fmla="*/ 4270956 w 6884782"/>
              <a:gd name="connsiteY55992" fmla="*/ 1405047 h 5973007"/>
              <a:gd name="connsiteX55993" fmla="*/ 4259004 w 6884782"/>
              <a:gd name="connsiteY55993" fmla="*/ 1404763 h 5973007"/>
              <a:gd name="connsiteX55994" fmla="*/ 4262206 w 6884782"/>
              <a:gd name="connsiteY55994" fmla="*/ 1405047 h 5973007"/>
              <a:gd name="connsiteX55995" fmla="*/ 4263486 w 6884782"/>
              <a:gd name="connsiteY55995" fmla="*/ 1407893 h 5973007"/>
              <a:gd name="connsiteX55996" fmla="*/ 4260925 w 6884782"/>
              <a:gd name="connsiteY55996" fmla="*/ 1414153 h 5973007"/>
              <a:gd name="connsiteX55997" fmla="*/ 4262632 w 6884782"/>
              <a:gd name="connsiteY55997" fmla="*/ 1417994 h 5973007"/>
              <a:gd name="connsiteX55998" fmla="*/ 4264553 w 6884782"/>
              <a:gd name="connsiteY55998" fmla="*/ 1419701 h 5973007"/>
              <a:gd name="connsiteX55999" fmla="*/ 4266901 w 6884782"/>
              <a:gd name="connsiteY55999" fmla="*/ 1418137 h 5973007"/>
              <a:gd name="connsiteX56000" fmla="*/ 4269675 w 6884782"/>
              <a:gd name="connsiteY56000" fmla="*/ 1418137 h 5973007"/>
              <a:gd name="connsiteX56001" fmla="*/ 4269035 w 6884782"/>
              <a:gd name="connsiteY56001" fmla="*/ 1417140 h 5973007"/>
              <a:gd name="connsiteX56002" fmla="*/ 4269889 w 6884782"/>
              <a:gd name="connsiteY56002" fmla="*/ 1418137 h 5973007"/>
              <a:gd name="connsiteX56003" fmla="*/ 4270102 w 6884782"/>
              <a:gd name="connsiteY56003" fmla="*/ 1416002 h 5973007"/>
              <a:gd name="connsiteX56004" fmla="*/ 4268608 w 6884782"/>
              <a:gd name="connsiteY56004" fmla="*/ 1414864 h 5973007"/>
              <a:gd name="connsiteX56005" fmla="*/ 4267754 w 6884782"/>
              <a:gd name="connsiteY56005" fmla="*/ 1411023 h 5973007"/>
              <a:gd name="connsiteX56006" fmla="*/ 4269035 w 6884782"/>
              <a:gd name="connsiteY56006" fmla="*/ 1409885 h 5973007"/>
              <a:gd name="connsiteX56007" fmla="*/ 4271169 w 6884782"/>
              <a:gd name="connsiteY56007" fmla="*/ 1410454 h 5973007"/>
              <a:gd name="connsiteX56008" fmla="*/ 4272663 w 6884782"/>
              <a:gd name="connsiteY56008" fmla="*/ 1411307 h 5973007"/>
              <a:gd name="connsiteX56009" fmla="*/ 4273090 w 6884782"/>
              <a:gd name="connsiteY56009" fmla="*/ 1410596 h 5973007"/>
              <a:gd name="connsiteX56010" fmla="*/ 4277358 w 6884782"/>
              <a:gd name="connsiteY56010" fmla="*/ 1408462 h 5973007"/>
              <a:gd name="connsiteX56011" fmla="*/ 4277785 w 6884782"/>
              <a:gd name="connsiteY56011" fmla="*/ 1420697 h 5973007"/>
              <a:gd name="connsiteX56012" fmla="*/ 4272237 w 6884782"/>
              <a:gd name="connsiteY56012" fmla="*/ 1426673 h 5973007"/>
              <a:gd name="connsiteX56013" fmla="*/ 4271382 w 6884782"/>
              <a:gd name="connsiteY56013" fmla="*/ 1429233 h 5973007"/>
              <a:gd name="connsiteX56014" fmla="*/ 4272237 w 6884782"/>
              <a:gd name="connsiteY56014" fmla="*/ 1433501 h 5973007"/>
              <a:gd name="connsiteX56015" fmla="*/ 4262419 w 6884782"/>
              <a:gd name="connsiteY56015" fmla="*/ 1438481 h 5973007"/>
              <a:gd name="connsiteX56016" fmla="*/ 4248973 w 6884782"/>
              <a:gd name="connsiteY56016" fmla="*/ 1433359 h 5973007"/>
              <a:gd name="connsiteX56017" fmla="*/ 4247693 w 6884782"/>
              <a:gd name="connsiteY56017" fmla="*/ 1429376 h 5973007"/>
              <a:gd name="connsiteX56018" fmla="*/ 4244065 w 6884782"/>
              <a:gd name="connsiteY56018" fmla="*/ 1429518 h 5973007"/>
              <a:gd name="connsiteX56019" fmla="*/ 4224644 w 6884782"/>
              <a:gd name="connsiteY56019" fmla="*/ 1438054 h 5973007"/>
              <a:gd name="connsiteX56020" fmla="*/ 4222083 w 6884782"/>
              <a:gd name="connsiteY56020" fmla="*/ 1438196 h 5973007"/>
              <a:gd name="connsiteX56021" fmla="*/ 4220162 w 6884782"/>
              <a:gd name="connsiteY56021" fmla="*/ 1435209 h 5973007"/>
              <a:gd name="connsiteX56022" fmla="*/ 4230193 w 6884782"/>
              <a:gd name="connsiteY56022" fmla="*/ 1429518 h 5973007"/>
              <a:gd name="connsiteX56023" fmla="*/ 4232113 w 6884782"/>
              <a:gd name="connsiteY56023" fmla="*/ 1427811 h 5973007"/>
              <a:gd name="connsiteX56024" fmla="*/ 4231260 w 6884782"/>
              <a:gd name="connsiteY56024" fmla="*/ 1422689 h 5973007"/>
              <a:gd name="connsiteX56025" fmla="*/ 4231046 w 6884782"/>
              <a:gd name="connsiteY56025" fmla="*/ 1413726 h 5973007"/>
              <a:gd name="connsiteX56026" fmla="*/ 4242357 w 6884782"/>
              <a:gd name="connsiteY56026" fmla="*/ 1400068 h 5973007"/>
              <a:gd name="connsiteX56027" fmla="*/ 4246199 w 6884782"/>
              <a:gd name="connsiteY56027" fmla="*/ 1399926 h 5973007"/>
              <a:gd name="connsiteX56028" fmla="*/ 4247266 w 6884782"/>
              <a:gd name="connsiteY56028" fmla="*/ 1396369 h 5973007"/>
              <a:gd name="connsiteX56029" fmla="*/ 4259858 w 6884782"/>
              <a:gd name="connsiteY56029" fmla="*/ 1391532 h 5973007"/>
              <a:gd name="connsiteX56030" fmla="*/ 3957656 w 6884782"/>
              <a:gd name="connsiteY56030" fmla="*/ 1391390 h 5973007"/>
              <a:gd name="connsiteX56031" fmla="*/ 3963205 w 6884782"/>
              <a:gd name="connsiteY56031" fmla="*/ 1394946 h 5973007"/>
              <a:gd name="connsiteX56032" fmla="*/ 3963418 w 6884782"/>
              <a:gd name="connsiteY56032" fmla="*/ 1397934 h 5973007"/>
              <a:gd name="connsiteX56033" fmla="*/ 3962351 w 6884782"/>
              <a:gd name="connsiteY56033" fmla="*/ 1398503 h 5973007"/>
              <a:gd name="connsiteX56034" fmla="*/ 3958723 w 6884782"/>
              <a:gd name="connsiteY56034" fmla="*/ 1400922 h 5973007"/>
              <a:gd name="connsiteX56035" fmla="*/ 3953388 w 6884782"/>
              <a:gd name="connsiteY56035" fmla="*/ 1397080 h 5973007"/>
              <a:gd name="connsiteX56036" fmla="*/ 3957656 w 6884782"/>
              <a:gd name="connsiteY56036" fmla="*/ 1391390 h 5973007"/>
              <a:gd name="connsiteX56037" fmla="*/ 4019547 w 6884782"/>
              <a:gd name="connsiteY56037" fmla="*/ 1390963 h 5973007"/>
              <a:gd name="connsiteX56038" fmla="*/ 4022535 w 6884782"/>
              <a:gd name="connsiteY56038" fmla="*/ 1392528 h 5973007"/>
              <a:gd name="connsiteX56039" fmla="*/ 4022749 w 6884782"/>
              <a:gd name="connsiteY56039" fmla="*/ 1398503 h 5973007"/>
              <a:gd name="connsiteX56040" fmla="*/ 4018267 w 6884782"/>
              <a:gd name="connsiteY56040" fmla="*/ 1403198 h 5973007"/>
              <a:gd name="connsiteX56041" fmla="*/ 4017200 w 6884782"/>
              <a:gd name="connsiteY56041" fmla="*/ 1406755 h 5973007"/>
              <a:gd name="connsiteX56042" fmla="*/ 4016133 w 6884782"/>
              <a:gd name="connsiteY56042" fmla="*/ 1406755 h 5973007"/>
              <a:gd name="connsiteX56043" fmla="*/ 4017840 w 6884782"/>
              <a:gd name="connsiteY56043" fmla="*/ 1392243 h 5973007"/>
              <a:gd name="connsiteX56044" fmla="*/ 4019547 w 6884782"/>
              <a:gd name="connsiteY56044" fmla="*/ 1390963 h 5973007"/>
              <a:gd name="connsiteX56045" fmla="*/ 4197753 w 6884782"/>
              <a:gd name="connsiteY56045" fmla="*/ 1390821 h 5973007"/>
              <a:gd name="connsiteX56046" fmla="*/ 4225498 w 6884782"/>
              <a:gd name="connsiteY56046" fmla="*/ 1403909 h 5973007"/>
              <a:gd name="connsiteX56047" fmla="*/ 4226991 w 6884782"/>
              <a:gd name="connsiteY56047" fmla="*/ 1413157 h 5973007"/>
              <a:gd name="connsiteX56048" fmla="*/ 4221656 w 6884782"/>
              <a:gd name="connsiteY56048" fmla="*/ 1422689 h 5973007"/>
              <a:gd name="connsiteX56049" fmla="*/ 4218455 w 6884782"/>
              <a:gd name="connsiteY56049" fmla="*/ 1424111 h 5973007"/>
              <a:gd name="connsiteX56050" fmla="*/ 4218882 w 6884782"/>
              <a:gd name="connsiteY56050" fmla="*/ 1425677 h 5973007"/>
              <a:gd name="connsiteX56051" fmla="*/ 4218027 w 6884782"/>
              <a:gd name="connsiteY56051" fmla="*/ 1424254 h 5973007"/>
              <a:gd name="connsiteX56052" fmla="*/ 4213973 w 6884782"/>
              <a:gd name="connsiteY56052" fmla="*/ 1425961 h 5973007"/>
              <a:gd name="connsiteX56053" fmla="*/ 4213546 w 6884782"/>
              <a:gd name="connsiteY56053" fmla="*/ 1427099 h 5973007"/>
              <a:gd name="connsiteX56054" fmla="*/ 4209277 w 6884782"/>
              <a:gd name="connsiteY56054" fmla="*/ 1429091 h 5973007"/>
              <a:gd name="connsiteX56055" fmla="*/ 4198820 w 6884782"/>
              <a:gd name="connsiteY56055" fmla="*/ 1431225 h 5973007"/>
              <a:gd name="connsiteX56056" fmla="*/ 4199033 w 6884782"/>
              <a:gd name="connsiteY56056" fmla="*/ 1429518 h 5973007"/>
              <a:gd name="connsiteX56057" fmla="*/ 4206716 w 6884782"/>
              <a:gd name="connsiteY56057" fmla="*/ 1426246 h 5973007"/>
              <a:gd name="connsiteX56058" fmla="*/ 4209064 w 6884782"/>
              <a:gd name="connsiteY56058" fmla="*/ 1425534 h 5973007"/>
              <a:gd name="connsiteX56059" fmla="*/ 4204156 w 6884782"/>
              <a:gd name="connsiteY56059" fmla="*/ 1424681 h 5973007"/>
              <a:gd name="connsiteX56060" fmla="*/ 4196472 w 6884782"/>
              <a:gd name="connsiteY56060" fmla="*/ 1418563 h 5973007"/>
              <a:gd name="connsiteX56061" fmla="*/ 4197753 w 6884782"/>
              <a:gd name="connsiteY56061" fmla="*/ 1390821 h 5973007"/>
              <a:gd name="connsiteX56062" fmla="*/ 3519078 w 6884782"/>
              <a:gd name="connsiteY56062" fmla="*/ 1390251 h 5973007"/>
              <a:gd name="connsiteX56063" fmla="*/ 3522919 w 6884782"/>
              <a:gd name="connsiteY56063" fmla="*/ 1391248 h 5973007"/>
              <a:gd name="connsiteX56064" fmla="*/ 3511608 w 6884782"/>
              <a:gd name="connsiteY56064" fmla="*/ 1403482 h 5973007"/>
              <a:gd name="connsiteX56065" fmla="*/ 3511182 w 6884782"/>
              <a:gd name="connsiteY56065" fmla="*/ 1395800 h 5973007"/>
              <a:gd name="connsiteX56066" fmla="*/ 3519078 w 6884782"/>
              <a:gd name="connsiteY56066" fmla="*/ 1390251 h 5973007"/>
              <a:gd name="connsiteX56067" fmla="*/ 1449614 w 6884782"/>
              <a:gd name="connsiteY56067" fmla="*/ 1390217 h 5973007"/>
              <a:gd name="connsiteX56068" fmla="*/ 1454570 w 6884782"/>
              <a:gd name="connsiteY56068" fmla="*/ 1392075 h 5973007"/>
              <a:gd name="connsiteX56069" fmla="*/ 1456223 w 6884782"/>
              <a:gd name="connsiteY56069" fmla="*/ 1395948 h 5973007"/>
              <a:gd name="connsiteX56070" fmla="*/ 1437017 w 6884782"/>
              <a:gd name="connsiteY56070" fmla="*/ 1404932 h 5973007"/>
              <a:gd name="connsiteX56071" fmla="*/ 1438979 w 6884782"/>
              <a:gd name="connsiteY56071" fmla="*/ 1398271 h 5973007"/>
              <a:gd name="connsiteX56072" fmla="*/ 1443212 w 6884782"/>
              <a:gd name="connsiteY56072" fmla="*/ 1393470 h 5973007"/>
              <a:gd name="connsiteX56073" fmla="*/ 1442696 w 6884782"/>
              <a:gd name="connsiteY56073" fmla="*/ 1393005 h 5973007"/>
              <a:gd name="connsiteX56074" fmla="*/ 1444245 w 6884782"/>
              <a:gd name="connsiteY56074" fmla="*/ 1391921 h 5973007"/>
              <a:gd name="connsiteX56075" fmla="*/ 1444968 w 6884782"/>
              <a:gd name="connsiteY56075" fmla="*/ 1392230 h 5973007"/>
              <a:gd name="connsiteX56076" fmla="*/ 1582195 w 6884782"/>
              <a:gd name="connsiteY56076" fmla="*/ 1389907 h 5973007"/>
              <a:gd name="connsiteX56077" fmla="*/ 1580646 w 6884782"/>
              <a:gd name="connsiteY56077" fmla="*/ 1396258 h 5973007"/>
              <a:gd name="connsiteX56078" fmla="*/ 1576516 w 6884782"/>
              <a:gd name="connsiteY56078" fmla="*/ 1391301 h 5973007"/>
              <a:gd name="connsiteX56079" fmla="*/ 1582195 w 6884782"/>
              <a:gd name="connsiteY56079" fmla="*/ 1389907 h 5973007"/>
              <a:gd name="connsiteX56080" fmla="*/ 4540505 w 6884782"/>
              <a:gd name="connsiteY56080" fmla="*/ 1389113 h 5973007"/>
              <a:gd name="connsiteX56081" fmla="*/ 4543279 w 6884782"/>
              <a:gd name="connsiteY56081" fmla="*/ 1389683 h 5973007"/>
              <a:gd name="connsiteX56082" fmla="*/ 4542426 w 6884782"/>
              <a:gd name="connsiteY56082" fmla="*/ 1395658 h 5973007"/>
              <a:gd name="connsiteX56083" fmla="*/ 4538798 w 6884782"/>
              <a:gd name="connsiteY56083" fmla="*/ 1396654 h 5973007"/>
              <a:gd name="connsiteX56084" fmla="*/ 4537517 w 6884782"/>
              <a:gd name="connsiteY56084" fmla="*/ 1392955 h 5973007"/>
              <a:gd name="connsiteX56085" fmla="*/ 4538584 w 6884782"/>
              <a:gd name="connsiteY56085" fmla="*/ 1389398 h 5973007"/>
              <a:gd name="connsiteX56086" fmla="*/ 4540505 w 6884782"/>
              <a:gd name="connsiteY56086" fmla="*/ 1389113 h 5973007"/>
              <a:gd name="connsiteX56087" fmla="*/ 1463244 w 6884782"/>
              <a:gd name="connsiteY56087" fmla="*/ 1388668 h 5973007"/>
              <a:gd name="connsiteX56088" fmla="*/ 1487509 w 6884782"/>
              <a:gd name="connsiteY56088" fmla="*/ 1391611 h 5973007"/>
              <a:gd name="connsiteX56089" fmla="*/ 1494221 w 6884782"/>
              <a:gd name="connsiteY56089" fmla="*/ 1395173 h 5973007"/>
              <a:gd name="connsiteX56090" fmla="*/ 1463347 w 6884782"/>
              <a:gd name="connsiteY56090" fmla="*/ 1418408 h 5973007"/>
              <a:gd name="connsiteX56091" fmla="*/ 1461592 w 6884782"/>
              <a:gd name="connsiteY56091" fmla="*/ 1412057 h 5973007"/>
              <a:gd name="connsiteX56092" fmla="*/ 1463244 w 6884782"/>
              <a:gd name="connsiteY56092" fmla="*/ 1388668 h 5973007"/>
              <a:gd name="connsiteX56093" fmla="*/ 4821365 w 6884782"/>
              <a:gd name="connsiteY56093" fmla="*/ 1388118 h 5973007"/>
              <a:gd name="connsiteX56094" fmla="*/ 4853165 w 6884782"/>
              <a:gd name="connsiteY56094" fmla="*/ 1428379 h 5973007"/>
              <a:gd name="connsiteX56095" fmla="*/ 4829475 w 6884782"/>
              <a:gd name="connsiteY56095" fmla="*/ 1426246 h 5973007"/>
              <a:gd name="connsiteX56096" fmla="*/ 4811121 w 6884782"/>
              <a:gd name="connsiteY56096" fmla="*/ 1391248 h 5973007"/>
              <a:gd name="connsiteX56097" fmla="*/ 4813682 w 6884782"/>
              <a:gd name="connsiteY56097" fmla="*/ 1388971 h 5973007"/>
              <a:gd name="connsiteX56098" fmla="*/ 4821365 w 6884782"/>
              <a:gd name="connsiteY56098" fmla="*/ 1388118 h 5973007"/>
              <a:gd name="connsiteX56099" fmla="*/ 4324951 w 6884782"/>
              <a:gd name="connsiteY56099" fmla="*/ 1387975 h 5973007"/>
              <a:gd name="connsiteX56100" fmla="*/ 4328579 w 6884782"/>
              <a:gd name="connsiteY56100" fmla="*/ 1391248 h 5973007"/>
              <a:gd name="connsiteX56101" fmla="*/ 4324524 w 6884782"/>
              <a:gd name="connsiteY56101" fmla="*/ 1388971 h 5973007"/>
              <a:gd name="connsiteX56102" fmla="*/ 4324951 w 6884782"/>
              <a:gd name="connsiteY56102" fmla="*/ 1387975 h 5973007"/>
              <a:gd name="connsiteX56103" fmla="*/ 1512497 w 6884782"/>
              <a:gd name="connsiteY56103" fmla="*/ 1387583 h 5973007"/>
              <a:gd name="connsiteX56104" fmla="*/ 1529225 w 6884782"/>
              <a:gd name="connsiteY56104" fmla="*/ 1396722 h 5973007"/>
              <a:gd name="connsiteX56105" fmla="*/ 1531290 w 6884782"/>
              <a:gd name="connsiteY56105" fmla="*/ 1397497 h 5973007"/>
              <a:gd name="connsiteX56106" fmla="*/ 1530670 w 6884782"/>
              <a:gd name="connsiteY56106" fmla="*/ 1398891 h 5973007"/>
              <a:gd name="connsiteX56107" fmla="*/ 1532219 w 6884782"/>
              <a:gd name="connsiteY56107" fmla="*/ 1401215 h 5973007"/>
              <a:gd name="connsiteX56108" fmla="*/ 1529018 w 6884782"/>
              <a:gd name="connsiteY56108" fmla="*/ 1400750 h 5973007"/>
              <a:gd name="connsiteX56109" fmla="*/ 1527470 w 6884782"/>
              <a:gd name="connsiteY56109" fmla="*/ 1401524 h 5973007"/>
              <a:gd name="connsiteX56110" fmla="*/ 1524785 w 6884782"/>
              <a:gd name="connsiteY56110" fmla="*/ 1400750 h 5973007"/>
              <a:gd name="connsiteX56111" fmla="*/ 1523546 w 6884782"/>
              <a:gd name="connsiteY56111" fmla="*/ 1399201 h 5973007"/>
              <a:gd name="connsiteX56112" fmla="*/ 1519415 w 6884782"/>
              <a:gd name="connsiteY56112" fmla="*/ 1397032 h 5973007"/>
              <a:gd name="connsiteX56113" fmla="*/ 1512497 w 6884782"/>
              <a:gd name="connsiteY56113" fmla="*/ 1387583 h 5973007"/>
              <a:gd name="connsiteX56114" fmla="*/ 5255461 w 6884782"/>
              <a:gd name="connsiteY56114" fmla="*/ 1387549 h 5973007"/>
              <a:gd name="connsiteX56115" fmla="*/ 5266346 w 6884782"/>
              <a:gd name="connsiteY56115" fmla="*/ 1392813 h 5973007"/>
              <a:gd name="connsiteX56116" fmla="*/ 5252900 w 6884782"/>
              <a:gd name="connsiteY56116" fmla="*/ 1394235 h 5973007"/>
              <a:gd name="connsiteX56117" fmla="*/ 5255461 w 6884782"/>
              <a:gd name="connsiteY56117" fmla="*/ 1387549 h 5973007"/>
              <a:gd name="connsiteX56118" fmla="*/ 3827897 w 6884782"/>
              <a:gd name="connsiteY56118" fmla="*/ 1387549 h 5973007"/>
              <a:gd name="connsiteX56119" fmla="*/ 3830457 w 6884782"/>
              <a:gd name="connsiteY56119" fmla="*/ 1387833 h 5973007"/>
              <a:gd name="connsiteX56120" fmla="*/ 3832805 w 6884782"/>
              <a:gd name="connsiteY56120" fmla="*/ 1390678 h 5973007"/>
              <a:gd name="connsiteX56121" fmla="*/ 3830885 w 6884782"/>
              <a:gd name="connsiteY56121" fmla="*/ 1395658 h 5973007"/>
              <a:gd name="connsiteX56122" fmla="*/ 3828323 w 6884782"/>
              <a:gd name="connsiteY56122" fmla="*/ 1395515 h 5973007"/>
              <a:gd name="connsiteX56123" fmla="*/ 3825336 w 6884782"/>
              <a:gd name="connsiteY56123" fmla="*/ 1393666 h 5973007"/>
              <a:gd name="connsiteX56124" fmla="*/ 3827897 w 6884782"/>
              <a:gd name="connsiteY56124" fmla="*/ 1387549 h 5973007"/>
              <a:gd name="connsiteX56125" fmla="*/ 5011309 w 6884782"/>
              <a:gd name="connsiteY56125" fmla="*/ 1387406 h 5973007"/>
              <a:gd name="connsiteX56126" fmla="*/ 5013870 w 6884782"/>
              <a:gd name="connsiteY56126" fmla="*/ 1390821 h 5973007"/>
              <a:gd name="connsiteX56127" fmla="*/ 5013870 w 6884782"/>
              <a:gd name="connsiteY56127" fmla="*/ 1397792 h 5973007"/>
              <a:gd name="connsiteX56128" fmla="*/ 5011949 w 6884782"/>
              <a:gd name="connsiteY56128" fmla="*/ 1400780 h 5973007"/>
              <a:gd name="connsiteX56129" fmla="*/ 5012590 w 6884782"/>
              <a:gd name="connsiteY56129" fmla="*/ 1402344 h 5973007"/>
              <a:gd name="connsiteX56130" fmla="*/ 4999998 w 6884782"/>
              <a:gd name="connsiteY56130" fmla="*/ 1398503 h 5973007"/>
              <a:gd name="connsiteX56131" fmla="*/ 5004053 w 6884782"/>
              <a:gd name="connsiteY56131" fmla="*/ 1391816 h 5973007"/>
              <a:gd name="connsiteX56132" fmla="*/ 5006827 w 6884782"/>
              <a:gd name="connsiteY56132" fmla="*/ 1392955 h 5973007"/>
              <a:gd name="connsiteX56133" fmla="*/ 5007254 w 6884782"/>
              <a:gd name="connsiteY56133" fmla="*/ 1393239 h 5973007"/>
              <a:gd name="connsiteX56134" fmla="*/ 1452815 w 6884782"/>
              <a:gd name="connsiteY56134" fmla="*/ 1387274 h 5973007"/>
              <a:gd name="connsiteX56135" fmla="*/ 1453848 w 6884782"/>
              <a:gd name="connsiteY56135" fmla="*/ 1388668 h 5973007"/>
              <a:gd name="connsiteX56136" fmla="*/ 1454261 w 6884782"/>
              <a:gd name="connsiteY56136" fmla="*/ 1389752 h 5973007"/>
              <a:gd name="connsiteX56137" fmla="*/ 1451989 w 6884782"/>
              <a:gd name="connsiteY56137" fmla="*/ 1388668 h 5973007"/>
              <a:gd name="connsiteX56138" fmla="*/ 1451783 w 6884782"/>
              <a:gd name="connsiteY56138" fmla="*/ 1387738 h 5973007"/>
              <a:gd name="connsiteX56139" fmla="*/ 1452815 w 6884782"/>
              <a:gd name="connsiteY56139" fmla="*/ 1387274 h 5973007"/>
              <a:gd name="connsiteX56140" fmla="*/ 4923167 w 6884782"/>
              <a:gd name="connsiteY56140" fmla="*/ 1387121 h 5973007"/>
              <a:gd name="connsiteX56141" fmla="*/ 4925941 w 6884782"/>
              <a:gd name="connsiteY56141" fmla="*/ 1389113 h 5973007"/>
              <a:gd name="connsiteX56142" fmla="*/ 4922526 w 6884782"/>
              <a:gd name="connsiteY56142" fmla="*/ 1392528 h 5973007"/>
              <a:gd name="connsiteX56143" fmla="*/ 4921246 w 6884782"/>
              <a:gd name="connsiteY56143" fmla="*/ 1387833 h 5973007"/>
              <a:gd name="connsiteX56144" fmla="*/ 4923167 w 6884782"/>
              <a:gd name="connsiteY56144" fmla="*/ 1387121 h 5973007"/>
              <a:gd name="connsiteX56145" fmla="*/ 1066121 w 6884782"/>
              <a:gd name="connsiteY56145" fmla="*/ 1386190 h 5973007"/>
              <a:gd name="connsiteX56146" fmla="*/ 1074071 w 6884782"/>
              <a:gd name="connsiteY56146" fmla="*/ 1387893 h 5973007"/>
              <a:gd name="connsiteX56147" fmla="*/ 1076756 w 6884782"/>
              <a:gd name="connsiteY56147" fmla="*/ 1392385 h 5973007"/>
              <a:gd name="connsiteX56148" fmla="*/ 1074794 w 6884782"/>
              <a:gd name="connsiteY56148" fmla="*/ 1399665 h 5973007"/>
              <a:gd name="connsiteX56149" fmla="*/ 1070354 w 6884782"/>
              <a:gd name="connsiteY56149" fmla="*/ 1398426 h 5973007"/>
              <a:gd name="connsiteX56150" fmla="*/ 1066121 w 6884782"/>
              <a:gd name="connsiteY56150" fmla="*/ 1386190 h 5973007"/>
              <a:gd name="connsiteX56151" fmla="*/ 4762462 w 6884782"/>
              <a:gd name="connsiteY56151" fmla="*/ 1385841 h 5973007"/>
              <a:gd name="connsiteX56152" fmla="*/ 4771852 w 6884782"/>
              <a:gd name="connsiteY56152" fmla="*/ 1392528 h 5973007"/>
              <a:gd name="connsiteX56153" fmla="*/ 4762462 w 6884782"/>
              <a:gd name="connsiteY56153" fmla="*/ 1385841 h 5973007"/>
              <a:gd name="connsiteX56154" fmla="*/ 1200044 w 6884782"/>
              <a:gd name="connsiteY56154" fmla="*/ 1385415 h 5973007"/>
              <a:gd name="connsiteX56155" fmla="*/ 1205104 w 6884782"/>
              <a:gd name="connsiteY56155" fmla="*/ 1388358 h 5973007"/>
              <a:gd name="connsiteX56156" fmla="*/ 1205826 w 6884782"/>
              <a:gd name="connsiteY56156" fmla="*/ 1396103 h 5973007"/>
              <a:gd name="connsiteX56157" fmla="*/ 1204484 w 6884782"/>
              <a:gd name="connsiteY56157" fmla="*/ 1396877 h 5973007"/>
              <a:gd name="connsiteX56158" fmla="*/ 1208098 w 6884782"/>
              <a:gd name="connsiteY56158" fmla="*/ 1397651 h 5973007"/>
              <a:gd name="connsiteX56159" fmla="*/ 1215532 w 6884782"/>
              <a:gd name="connsiteY56159" fmla="*/ 1408804 h 5973007"/>
              <a:gd name="connsiteX56160" fmla="*/ 1206549 w 6884782"/>
              <a:gd name="connsiteY56160" fmla="*/ 1410043 h 5973007"/>
              <a:gd name="connsiteX56161" fmla="*/ 1202419 w 6884782"/>
              <a:gd name="connsiteY56161" fmla="*/ 1409114 h 5973007"/>
              <a:gd name="connsiteX56162" fmla="*/ 1202522 w 6884782"/>
              <a:gd name="connsiteY56162" fmla="*/ 1409424 h 5973007"/>
              <a:gd name="connsiteX56163" fmla="*/ 1201283 w 6884782"/>
              <a:gd name="connsiteY56163" fmla="*/ 1412677 h 5973007"/>
              <a:gd name="connsiteX56164" fmla="*/ 1197256 w 6884782"/>
              <a:gd name="connsiteY56164" fmla="*/ 1415620 h 5973007"/>
              <a:gd name="connsiteX56165" fmla="*/ 1197772 w 6884782"/>
              <a:gd name="connsiteY56165" fmla="*/ 1429870 h 5973007"/>
              <a:gd name="connsiteX56166" fmla="*/ 1198289 w 6884782"/>
              <a:gd name="connsiteY56166" fmla="*/ 1449697 h 5973007"/>
              <a:gd name="connsiteX56167" fmla="*/ 1194468 w 6884782"/>
              <a:gd name="connsiteY56167" fmla="*/ 1443966 h 5973007"/>
              <a:gd name="connsiteX56168" fmla="*/ 1193849 w 6884782"/>
              <a:gd name="connsiteY56168" fmla="*/ 1444585 h 5973007"/>
              <a:gd name="connsiteX56169" fmla="*/ 1193023 w 6884782"/>
              <a:gd name="connsiteY56169" fmla="*/ 1453415 h 5973007"/>
              <a:gd name="connsiteX56170" fmla="*/ 1184762 w 6884782"/>
              <a:gd name="connsiteY56170" fmla="*/ 1453879 h 5973007"/>
              <a:gd name="connsiteX56171" fmla="*/ 1181768 w 6884782"/>
              <a:gd name="connsiteY56171" fmla="*/ 1452330 h 5973007"/>
              <a:gd name="connsiteX56172" fmla="*/ 1190958 w 6884782"/>
              <a:gd name="connsiteY56172" fmla="*/ 1437305 h 5973007"/>
              <a:gd name="connsiteX56173" fmla="*/ 1191474 w 6884782"/>
              <a:gd name="connsiteY56173" fmla="*/ 1437460 h 5973007"/>
              <a:gd name="connsiteX56174" fmla="*/ 1189512 w 6884782"/>
              <a:gd name="connsiteY56174" fmla="*/ 1430025 h 5973007"/>
              <a:gd name="connsiteX56175" fmla="*/ 1188892 w 6884782"/>
              <a:gd name="connsiteY56175" fmla="*/ 1424914 h 5973007"/>
              <a:gd name="connsiteX56176" fmla="*/ 1188479 w 6884782"/>
              <a:gd name="connsiteY56176" fmla="*/ 1425378 h 5973007"/>
              <a:gd name="connsiteX56177" fmla="*/ 1172991 w 6884782"/>
              <a:gd name="connsiteY56177" fmla="*/ 1420886 h 5973007"/>
              <a:gd name="connsiteX56178" fmla="*/ 1173817 w 6884782"/>
              <a:gd name="connsiteY56178" fmla="*/ 1418253 h 5973007"/>
              <a:gd name="connsiteX56179" fmla="*/ 1178773 w 6884782"/>
              <a:gd name="connsiteY56179" fmla="*/ 1415465 h 5973007"/>
              <a:gd name="connsiteX56180" fmla="*/ 1182491 w 6884782"/>
              <a:gd name="connsiteY56180" fmla="*/ 1415775 h 5973007"/>
              <a:gd name="connsiteX56181" fmla="*/ 1182903 w 6884782"/>
              <a:gd name="connsiteY56181" fmla="*/ 1411282 h 5973007"/>
              <a:gd name="connsiteX56182" fmla="*/ 1187550 w 6884782"/>
              <a:gd name="connsiteY56182" fmla="*/ 1411902 h 5973007"/>
              <a:gd name="connsiteX56183" fmla="*/ 1187757 w 6884782"/>
              <a:gd name="connsiteY56183" fmla="*/ 1412057 h 5973007"/>
              <a:gd name="connsiteX56184" fmla="*/ 1187343 w 6884782"/>
              <a:gd name="connsiteY56184" fmla="*/ 1407101 h 5973007"/>
              <a:gd name="connsiteX56185" fmla="*/ 1191577 w 6884782"/>
              <a:gd name="connsiteY56185" fmla="*/ 1407101 h 5973007"/>
              <a:gd name="connsiteX56186" fmla="*/ 1194055 w 6884782"/>
              <a:gd name="connsiteY56186" fmla="*/ 1407410 h 5973007"/>
              <a:gd name="connsiteX56187" fmla="*/ 1194055 w 6884782"/>
              <a:gd name="connsiteY56187" fmla="*/ 1406481 h 5973007"/>
              <a:gd name="connsiteX56188" fmla="*/ 1198908 w 6884782"/>
              <a:gd name="connsiteY56188" fmla="*/ 1405087 h 5973007"/>
              <a:gd name="connsiteX56189" fmla="*/ 1200251 w 6884782"/>
              <a:gd name="connsiteY56189" fmla="*/ 1405706 h 5973007"/>
              <a:gd name="connsiteX56190" fmla="*/ 1199941 w 6884782"/>
              <a:gd name="connsiteY56190" fmla="*/ 1401524 h 5973007"/>
              <a:gd name="connsiteX56191" fmla="*/ 1201490 w 6884782"/>
              <a:gd name="connsiteY56191" fmla="*/ 1397651 h 5973007"/>
              <a:gd name="connsiteX56192" fmla="*/ 1203348 w 6884782"/>
              <a:gd name="connsiteY56192" fmla="*/ 1396722 h 5973007"/>
              <a:gd name="connsiteX56193" fmla="*/ 1201593 w 6884782"/>
              <a:gd name="connsiteY56193" fmla="*/ 1395638 h 5973007"/>
              <a:gd name="connsiteX56194" fmla="*/ 1199631 w 6884782"/>
              <a:gd name="connsiteY56194" fmla="*/ 1390682 h 5973007"/>
              <a:gd name="connsiteX56195" fmla="*/ 1200044 w 6884782"/>
              <a:gd name="connsiteY56195" fmla="*/ 1385415 h 5973007"/>
              <a:gd name="connsiteX56196" fmla="*/ 4816030 w 6884782"/>
              <a:gd name="connsiteY56196" fmla="*/ 1384988 h 5973007"/>
              <a:gd name="connsiteX56197" fmla="*/ 4819445 w 6884782"/>
              <a:gd name="connsiteY56197" fmla="*/ 1387406 h 5973007"/>
              <a:gd name="connsiteX56198" fmla="*/ 4811335 w 6884782"/>
              <a:gd name="connsiteY56198" fmla="*/ 1385130 h 5973007"/>
              <a:gd name="connsiteX56199" fmla="*/ 4816030 w 6884782"/>
              <a:gd name="connsiteY56199" fmla="*/ 1384988 h 5973007"/>
              <a:gd name="connsiteX56200" fmla="*/ 5355982 w 6884782"/>
              <a:gd name="connsiteY56200" fmla="*/ 1384845 h 5973007"/>
              <a:gd name="connsiteX56201" fmla="*/ 5351927 w 6884782"/>
              <a:gd name="connsiteY56201" fmla="*/ 1422547 h 5973007"/>
              <a:gd name="connsiteX56202" fmla="*/ 5355982 w 6884782"/>
              <a:gd name="connsiteY56202" fmla="*/ 1384845 h 5973007"/>
              <a:gd name="connsiteX56203" fmla="*/ 4490138 w 6884782"/>
              <a:gd name="connsiteY56203" fmla="*/ 1384419 h 5973007"/>
              <a:gd name="connsiteX56204" fmla="*/ 4487577 w 6884782"/>
              <a:gd name="connsiteY56204" fmla="*/ 1386837 h 5973007"/>
              <a:gd name="connsiteX56205" fmla="*/ 4487364 w 6884782"/>
              <a:gd name="connsiteY56205" fmla="*/ 1389256 h 5973007"/>
              <a:gd name="connsiteX56206" fmla="*/ 4483735 w 6884782"/>
              <a:gd name="connsiteY56206" fmla="*/ 1390394 h 5973007"/>
              <a:gd name="connsiteX56207" fmla="*/ 4490138 w 6884782"/>
              <a:gd name="connsiteY56207" fmla="*/ 1384419 h 5973007"/>
              <a:gd name="connsiteX56208" fmla="*/ 4118574 w 6884782"/>
              <a:gd name="connsiteY56208" fmla="*/ 1384276 h 5973007"/>
              <a:gd name="connsiteX56209" fmla="*/ 4113025 w 6884782"/>
              <a:gd name="connsiteY56209" fmla="*/ 1391816 h 5973007"/>
              <a:gd name="connsiteX56210" fmla="*/ 4106622 w 6884782"/>
              <a:gd name="connsiteY56210" fmla="*/ 1395942 h 5973007"/>
              <a:gd name="connsiteX56211" fmla="*/ 4107263 w 6884782"/>
              <a:gd name="connsiteY56211" fmla="*/ 1399499 h 5973007"/>
              <a:gd name="connsiteX56212" fmla="*/ 4110464 w 6884782"/>
              <a:gd name="connsiteY56212" fmla="*/ 1394235 h 5973007"/>
              <a:gd name="connsiteX56213" fmla="*/ 4132447 w 6884782"/>
              <a:gd name="connsiteY56213" fmla="*/ 1386126 h 5973007"/>
              <a:gd name="connsiteX56214" fmla="*/ 4122843 w 6884782"/>
              <a:gd name="connsiteY56214" fmla="*/ 1398645 h 5973007"/>
              <a:gd name="connsiteX56215" fmla="*/ 4107263 w 6884782"/>
              <a:gd name="connsiteY56215" fmla="*/ 1401775 h 5973007"/>
              <a:gd name="connsiteX56216" fmla="*/ 4107263 w 6884782"/>
              <a:gd name="connsiteY56216" fmla="*/ 1405332 h 5973007"/>
              <a:gd name="connsiteX56217" fmla="*/ 4102354 w 6884782"/>
              <a:gd name="connsiteY56217" fmla="*/ 1406186 h 5973007"/>
              <a:gd name="connsiteX56218" fmla="*/ 4099793 w 6884782"/>
              <a:gd name="connsiteY56218" fmla="*/ 1404337 h 5973007"/>
              <a:gd name="connsiteX56219" fmla="*/ 4099153 w 6884782"/>
              <a:gd name="connsiteY56219" fmla="*/ 1411592 h 5973007"/>
              <a:gd name="connsiteX56220" fmla="*/ 4092110 w 6884782"/>
              <a:gd name="connsiteY56220" fmla="*/ 1403625 h 5973007"/>
              <a:gd name="connsiteX56221" fmla="*/ 4090403 w 6884782"/>
              <a:gd name="connsiteY56221" fmla="*/ 1403340 h 5973007"/>
              <a:gd name="connsiteX56222" fmla="*/ 4091256 w 6884782"/>
              <a:gd name="connsiteY56222" fmla="*/ 1404621 h 5973007"/>
              <a:gd name="connsiteX56223" fmla="*/ 4093604 w 6884782"/>
              <a:gd name="connsiteY56223" fmla="*/ 1411734 h 5973007"/>
              <a:gd name="connsiteX56224" fmla="*/ 4069488 w 6884782"/>
              <a:gd name="connsiteY56224" fmla="*/ 1389256 h 5973007"/>
              <a:gd name="connsiteX56225" fmla="*/ 4085921 w 6884782"/>
              <a:gd name="connsiteY56225" fmla="*/ 1397365 h 5973007"/>
              <a:gd name="connsiteX56226" fmla="*/ 4088482 w 6884782"/>
              <a:gd name="connsiteY56226" fmla="*/ 1400780 h 5973007"/>
              <a:gd name="connsiteX56227" fmla="*/ 4090616 w 6884782"/>
              <a:gd name="connsiteY56227" fmla="*/ 1398645 h 5973007"/>
              <a:gd name="connsiteX56228" fmla="*/ 4089763 w 6884782"/>
              <a:gd name="connsiteY56228" fmla="*/ 1398645 h 5973007"/>
              <a:gd name="connsiteX56229" fmla="*/ 4094458 w 6884782"/>
              <a:gd name="connsiteY56229" fmla="*/ 1392813 h 5973007"/>
              <a:gd name="connsiteX56230" fmla="*/ 4094884 w 6884782"/>
              <a:gd name="connsiteY56230" fmla="*/ 1391106 h 5973007"/>
              <a:gd name="connsiteX56231" fmla="*/ 4096805 w 6884782"/>
              <a:gd name="connsiteY56231" fmla="*/ 1385414 h 5973007"/>
              <a:gd name="connsiteX56232" fmla="*/ 4102141 w 6884782"/>
              <a:gd name="connsiteY56232" fmla="*/ 1387549 h 5973007"/>
              <a:gd name="connsiteX56233" fmla="*/ 4103208 w 6884782"/>
              <a:gd name="connsiteY56233" fmla="*/ 1386837 h 5973007"/>
              <a:gd name="connsiteX56234" fmla="*/ 4118574 w 6884782"/>
              <a:gd name="connsiteY56234" fmla="*/ 1384276 h 5973007"/>
              <a:gd name="connsiteX56235" fmla="*/ 941387 w 6884782"/>
              <a:gd name="connsiteY56235" fmla="*/ 1384021 h 5973007"/>
              <a:gd name="connsiteX56236" fmla="*/ 944795 w 6884782"/>
              <a:gd name="connsiteY56236" fmla="*/ 1385880 h 5973007"/>
              <a:gd name="connsiteX56237" fmla="*/ 945621 w 6884782"/>
              <a:gd name="connsiteY56237" fmla="*/ 1388358 h 5973007"/>
              <a:gd name="connsiteX56238" fmla="*/ 942936 w 6884782"/>
              <a:gd name="connsiteY56238" fmla="*/ 1388978 h 5973007"/>
              <a:gd name="connsiteX56239" fmla="*/ 940355 w 6884782"/>
              <a:gd name="connsiteY56239" fmla="*/ 1387893 h 5973007"/>
              <a:gd name="connsiteX56240" fmla="*/ 940045 w 6884782"/>
              <a:gd name="connsiteY56240" fmla="*/ 1386499 h 5973007"/>
              <a:gd name="connsiteX56241" fmla="*/ 940355 w 6884782"/>
              <a:gd name="connsiteY56241" fmla="*/ 1384486 h 5973007"/>
              <a:gd name="connsiteX56242" fmla="*/ 941387 w 6884782"/>
              <a:gd name="connsiteY56242" fmla="*/ 1384021 h 5973007"/>
              <a:gd name="connsiteX56243" fmla="*/ 1686484 w 6884782"/>
              <a:gd name="connsiteY56243" fmla="*/ 1383866 h 5973007"/>
              <a:gd name="connsiteX56244" fmla="*/ 1686897 w 6884782"/>
              <a:gd name="connsiteY56244" fmla="*/ 1384640 h 5973007"/>
              <a:gd name="connsiteX56245" fmla="*/ 1689272 w 6884782"/>
              <a:gd name="connsiteY56245" fmla="*/ 1387583 h 5973007"/>
              <a:gd name="connsiteX56246" fmla="*/ 1686071 w 6884782"/>
              <a:gd name="connsiteY56246" fmla="*/ 1388823 h 5973007"/>
              <a:gd name="connsiteX56247" fmla="*/ 1688963 w 6884782"/>
              <a:gd name="connsiteY56247" fmla="*/ 1390836 h 5973007"/>
              <a:gd name="connsiteX56248" fmla="*/ 1690305 w 6884782"/>
              <a:gd name="connsiteY56248" fmla="*/ 1394399 h 5973007"/>
              <a:gd name="connsiteX56249" fmla="*/ 1692783 w 6884782"/>
              <a:gd name="connsiteY56249" fmla="*/ 1395638 h 5973007"/>
              <a:gd name="connsiteX56250" fmla="*/ 1690821 w 6884782"/>
              <a:gd name="connsiteY56250" fmla="*/ 1397032 h 5973007"/>
              <a:gd name="connsiteX56251" fmla="*/ 1689892 w 6884782"/>
              <a:gd name="connsiteY56251" fmla="*/ 1402299 h 5973007"/>
              <a:gd name="connsiteX56252" fmla="*/ 1685451 w 6884782"/>
              <a:gd name="connsiteY56252" fmla="*/ 1407410 h 5973007"/>
              <a:gd name="connsiteX56253" fmla="*/ 1677294 w 6884782"/>
              <a:gd name="connsiteY56253" fmla="*/ 1401215 h 5973007"/>
              <a:gd name="connsiteX56254" fmla="*/ 1677191 w 6884782"/>
              <a:gd name="connsiteY56254" fmla="*/ 1400904 h 5973007"/>
              <a:gd name="connsiteX56255" fmla="*/ 1675952 w 6884782"/>
              <a:gd name="connsiteY56255" fmla="*/ 1400595 h 5973007"/>
              <a:gd name="connsiteX56256" fmla="*/ 1672751 w 6884782"/>
              <a:gd name="connsiteY56256" fmla="*/ 1398426 h 5973007"/>
              <a:gd name="connsiteX56257" fmla="*/ 1670996 w 6884782"/>
              <a:gd name="connsiteY56257" fmla="*/ 1396722 h 5973007"/>
              <a:gd name="connsiteX56258" fmla="*/ 1664594 w 6884782"/>
              <a:gd name="connsiteY56258" fmla="*/ 1394244 h 5973007"/>
              <a:gd name="connsiteX56259" fmla="*/ 1660050 w 6884782"/>
              <a:gd name="connsiteY56259" fmla="*/ 1386964 h 5973007"/>
              <a:gd name="connsiteX56260" fmla="*/ 1676468 w 6884782"/>
              <a:gd name="connsiteY56260" fmla="*/ 1390371 h 5973007"/>
              <a:gd name="connsiteX56261" fmla="*/ 1676881 w 6884782"/>
              <a:gd name="connsiteY56261" fmla="*/ 1390526 h 5973007"/>
              <a:gd name="connsiteX56262" fmla="*/ 1680702 w 6884782"/>
              <a:gd name="connsiteY56262" fmla="*/ 1388203 h 5973007"/>
              <a:gd name="connsiteX56263" fmla="*/ 1684729 w 6884782"/>
              <a:gd name="connsiteY56263" fmla="*/ 1387893 h 5973007"/>
              <a:gd name="connsiteX56264" fmla="*/ 1685038 w 6884782"/>
              <a:gd name="connsiteY56264" fmla="*/ 1388048 h 5973007"/>
              <a:gd name="connsiteX56265" fmla="*/ 1684832 w 6884782"/>
              <a:gd name="connsiteY56265" fmla="*/ 1387428 h 5973007"/>
              <a:gd name="connsiteX56266" fmla="*/ 1684522 w 6884782"/>
              <a:gd name="connsiteY56266" fmla="*/ 1385570 h 5973007"/>
              <a:gd name="connsiteX56267" fmla="*/ 1686484 w 6884782"/>
              <a:gd name="connsiteY56267" fmla="*/ 1383866 h 5973007"/>
              <a:gd name="connsiteX56268" fmla="*/ 4053908 w 6884782"/>
              <a:gd name="connsiteY56268" fmla="*/ 1383565 h 5973007"/>
              <a:gd name="connsiteX56269" fmla="*/ 4064152 w 6884782"/>
              <a:gd name="connsiteY56269" fmla="*/ 1386410 h 5973007"/>
              <a:gd name="connsiteX56270" fmla="*/ 4063939 w 6884782"/>
              <a:gd name="connsiteY56270" fmla="*/ 1394662 h 5973007"/>
              <a:gd name="connsiteX56271" fmla="*/ 4070341 w 6884782"/>
              <a:gd name="connsiteY56271" fmla="*/ 1399215 h 5973007"/>
              <a:gd name="connsiteX56272" fmla="*/ 4050493 w 6884782"/>
              <a:gd name="connsiteY56272" fmla="*/ 1415718 h 5973007"/>
              <a:gd name="connsiteX56273" fmla="*/ 4048146 w 6884782"/>
              <a:gd name="connsiteY56273" fmla="*/ 1412303 h 5973007"/>
              <a:gd name="connsiteX56274" fmla="*/ 4047079 w 6884782"/>
              <a:gd name="connsiteY56274" fmla="*/ 1413015 h 5973007"/>
              <a:gd name="connsiteX56275" fmla="*/ 4041957 w 6884782"/>
              <a:gd name="connsiteY56275" fmla="*/ 1414580 h 5973007"/>
              <a:gd name="connsiteX56276" fmla="*/ 4042170 w 6884782"/>
              <a:gd name="connsiteY56276" fmla="*/ 1415148 h 5973007"/>
              <a:gd name="connsiteX56277" fmla="*/ 4041103 w 6884782"/>
              <a:gd name="connsiteY56277" fmla="*/ 1418563 h 5973007"/>
              <a:gd name="connsiteX56278" fmla="*/ 4031712 w 6884782"/>
              <a:gd name="connsiteY56278" fmla="*/ 1420412 h 5973007"/>
              <a:gd name="connsiteX56279" fmla="*/ 4025950 w 6884782"/>
              <a:gd name="connsiteY56279" fmla="*/ 1422547 h 5973007"/>
              <a:gd name="connsiteX56280" fmla="*/ 4032780 w 6884782"/>
              <a:gd name="connsiteY56280" fmla="*/ 1418137 h 5973007"/>
              <a:gd name="connsiteX56281" fmla="*/ 4033846 w 6884782"/>
              <a:gd name="connsiteY56281" fmla="*/ 1414580 h 5973007"/>
              <a:gd name="connsiteX56282" fmla="*/ 4036194 w 6884782"/>
              <a:gd name="connsiteY56282" fmla="*/ 1413583 h 5973007"/>
              <a:gd name="connsiteX56283" fmla="*/ 4035768 w 6884782"/>
              <a:gd name="connsiteY56283" fmla="*/ 1412161 h 5973007"/>
              <a:gd name="connsiteX56284" fmla="*/ 4034060 w 6884782"/>
              <a:gd name="connsiteY56284" fmla="*/ 1408889 h 5973007"/>
              <a:gd name="connsiteX56285" fmla="*/ 4042383 w 6884782"/>
              <a:gd name="connsiteY56285" fmla="*/ 1406044 h 5973007"/>
              <a:gd name="connsiteX56286" fmla="*/ 4046225 w 6884782"/>
              <a:gd name="connsiteY56286" fmla="*/ 1405474 h 5973007"/>
              <a:gd name="connsiteX56287" fmla="*/ 4046225 w 6884782"/>
              <a:gd name="connsiteY56287" fmla="*/ 1405047 h 5973007"/>
              <a:gd name="connsiteX56288" fmla="*/ 4049639 w 6884782"/>
              <a:gd name="connsiteY56288" fmla="*/ 1398645 h 5973007"/>
              <a:gd name="connsiteX56289" fmla="*/ 4051560 w 6884782"/>
              <a:gd name="connsiteY56289" fmla="*/ 1397507 h 5973007"/>
              <a:gd name="connsiteX56290" fmla="*/ 4053908 w 6884782"/>
              <a:gd name="connsiteY56290" fmla="*/ 1383565 h 5973007"/>
              <a:gd name="connsiteX56291" fmla="*/ 3722894 w 6884782"/>
              <a:gd name="connsiteY56291" fmla="*/ 1383423 h 5973007"/>
              <a:gd name="connsiteX56292" fmla="*/ 3725242 w 6884782"/>
              <a:gd name="connsiteY56292" fmla="*/ 1391532 h 5973007"/>
              <a:gd name="connsiteX56293" fmla="*/ 3724388 w 6884782"/>
              <a:gd name="connsiteY56293" fmla="*/ 1396796 h 5973007"/>
              <a:gd name="connsiteX56294" fmla="*/ 3723747 w 6884782"/>
              <a:gd name="connsiteY56294" fmla="*/ 1398930 h 5973007"/>
              <a:gd name="connsiteX56295" fmla="*/ 3725455 w 6884782"/>
              <a:gd name="connsiteY56295" fmla="*/ 1397792 h 5973007"/>
              <a:gd name="connsiteX56296" fmla="*/ 3757681 w 6884782"/>
              <a:gd name="connsiteY56296" fmla="*/ 1387975 h 5973007"/>
              <a:gd name="connsiteX56297" fmla="*/ 3793109 w 6884782"/>
              <a:gd name="connsiteY56297" fmla="*/ 1416856 h 5973007"/>
              <a:gd name="connsiteX56298" fmla="*/ 3790121 w 6884782"/>
              <a:gd name="connsiteY56298" fmla="*/ 1433074 h 5973007"/>
              <a:gd name="connsiteX56299" fmla="*/ 3790975 w 6884782"/>
              <a:gd name="connsiteY56299" fmla="*/ 1435920 h 5973007"/>
              <a:gd name="connsiteX56300" fmla="*/ 3797377 w 6884782"/>
              <a:gd name="connsiteY56300" fmla="*/ 1438196 h 5973007"/>
              <a:gd name="connsiteX56301" fmla="*/ 3795884 w 6884782"/>
              <a:gd name="connsiteY56301" fmla="*/ 1447017 h 5973007"/>
              <a:gd name="connsiteX56302" fmla="*/ 3792682 w 6884782"/>
              <a:gd name="connsiteY56302" fmla="*/ 1450005 h 5973007"/>
              <a:gd name="connsiteX56303" fmla="*/ 3793963 w 6884782"/>
              <a:gd name="connsiteY56303" fmla="*/ 1451996 h 5973007"/>
              <a:gd name="connsiteX56304" fmla="*/ 3782652 w 6884782"/>
              <a:gd name="connsiteY56304" fmla="*/ 1473763 h 5973007"/>
              <a:gd name="connsiteX56305" fmla="*/ 3770914 w 6884782"/>
              <a:gd name="connsiteY56305" fmla="*/ 1481589 h 5973007"/>
              <a:gd name="connsiteX56306" fmla="*/ 3767285 w 6884782"/>
              <a:gd name="connsiteY56306" fmla="*/ 1480166 h 5973007"/>
              <a:gd name="connsiteX56307" fmla="*/ 3766218 w 6884782"/>
              <a:gd name="connsiteY56307" fmla="*/ 1478601 h 5973007"/>
              <a:gd name="connsiteX56308" fmla="*/ 3764298 w 6884782"/>
              <a:gd name="connsiteY56308" fmla="*/ 1478032 h 5973007"/>
              <a:gd name="connsiteX56309" fmla="*/ 3752560 w 6884782"/>
              <a:gd name="connsiteY56309" fmla="*/ 1480877 h 5973007"/>
              <a:gd name="connsiteX56310" fmla="*/ 3757041 w 6884782"/>
              <a:gd name="connsiteY56310" fmla="*/ 1481589 h 5973007"/>
              <a:gd name="connsiteX56311" fmla="*/ 3755974 w 6884782"/>
              <a:gd name="connsiteY56311" fmla="*/ 1481446 h 5973007"/>
              <a:gd name="connsiteX56312" fmla="*/ 3755974 w 6884782"/>
              <a:gd name="connsiteY56312" fmla="*/ 1484007 h 5973007"/>
              <a:gd name="connsiteX56313" fmla="*/ 3757255 w 6884782"/>
              <a:gd name="connsiteY56313" fmla="*/ 1484007 h 5973007"/>
              <a:gd name="connsiteX56314" fmla="*/ 3756187 w 6884782"/>
              <a:gd name="connsiteY56314" fmla="*/ 1486425 h 5973007"/>
              <a:gd name="connsiteX56315" fmla="*/ 3748077 w 6884782"/>
              <a:gd name="connsiteY56315" fmla="*/ 1489555 h 5973007"/>
              <a:gd name="connsiteX56316" fmla="*/ 3746584 w 6884782"/>
              <a:gd name="connsiteY56316" fmla="*/ 1486141 h 5973007"/>
              <a:gd name="connsiteX56317" fmla="*/ 3747437 w 6884782"/>
              <a:gd name="connsiteY56317" fmla="*/ 1484433 h 5973007"/>
              <a:gd name="connsiteX56318" fmla="*/ 3745516 w 6884782"/>
              <a:gd name="connsiteY56318" fmla="*/ 1482584 h 5973007"/>
              <a:gd name="connsiteX56319" fmla="*/ 3731858 w 6884782"/>
              <a:gd name="connsiteY56319" fmla="*/ 1485856 h 5973007"/>
              <a:gd name="connsiteX56320" fmla="*/ 3723107 w 6884782"/>
              <a:gd name="connsiteY56320" fmla="*/ 1478032 h 5973007"/>
              <a:gd name="connsiteX56321" fmla="*/ 3720333 w 6884782"/>
              <a:gd name="connsiteY56321" fmla="*/ 1476467 h 5973007"/>
              <a:gd name="connsiteX56322" fmla="*/ 3717985 w 6884782"/>
              <a:gd name="connsiteY56322" fmla="*/ 1475897 h 5973007"/>
              <a:gd name="connsiteX56323" fmla="*/ 3715211 w 6884782"/>
              <a:gd name="connsiteY56323" fmla="*/ 1473336 h 5973007"/>
              <a:gd name="connsiteX56324" fmla="*/ 3712009 w 6884782"/>
              <a:gd name="connsiteY56324" fmla="*/ 1471630 h 5973007"/>
              <a:gd name="connsiteX56325" fmla="*/ 3697284 w 6884782"/>
              <a:gd name="connsiteY56325" fmla="*/ 1452850 h 5973007"/>
              <a:gd name="connsiteX56326" fmla="*/ 3697924 w 6884782"/>
              <a:gd name="connsiteY56326" fmla="*/ 1451285 h 5973007"/>
              <a:gd name="connsiteX56327" fmla="*/ 3696430 w 6884782"/>
              <a:gd name="connsiteY56327" fmla="*/ 1449862 h 5973007"/>
              <a:gd name="connsiteX56328" fmla="*/ 3694509 w 6884782"/>
              <a:gd name="connsiteY56328" fmla="*/ 1441326 h 5973007"/>
              <a:gd name="connsiteX56329" fmla="*/ 3699845 w 6884782"/>
              <a:gd name="connsiteY56329" fmla="*/ 1438765 h 5973007"/>
              <a:gd name="connsiteX56330" fmla="*/ 3701125 w 6884782"/>
              <a:gd name="connsiteY56330" fmla="*/ 1438765 h 5973007"/>
              <a:gd name="connsiteX56331" fmla="*/ 3701338 w 6884782"/>
              <a:gd name="connsiteY56331" fmla="*/ 1436205 h 5973007"/>
              <a:gd name="connsiteX56332" fmla="*/ 3700912 w 6884782"/>
              <a:gd name="connsiteY56332" fmla="*/ 1422689 h 5973007"/>
              <a:gd name="connsiteX56333" fmla="*/ 3711796 w 6884782"/>
              <a:gd name="connsiteY56333" fmla="*/ 1409458 h 5973007"/>
              <a:gd name="connsiteX56334" fmla="*/ 3721827 w 6884782"/>
              <a:gd name="connsiteY56334" fmla="*/ 1400637 h 5973007"/>
              <a:gd name="connsiteX56335" fmla="*/ 3722040 w 6884782"/>
              <a:gd name="connsiteY56335" fmla="*/ 1392243 h 5973007"/>
              <a:gd name="connsiteX56336" fmla="*/ 3722894 w 6884782"/>
              <a:gd name="connsiteY56336" fmla="*/ 1383423 h 5973007"/>
              <a:gd name="connsiteX56337" fmla="*/ 5658611 w 6884782"/>
              <a:gd name="connsiteY56337" fmla="*/ 1383280 h 5973007"/>
              <a:gd name="connsiteX56338" fmla="*/ 5670349 w 6884782"/>
              <a:gd name="connsiteY56338" fmla="*/ 1396654 h 5973007"/>
              <a:gd name="connsiteX56339" fmla="*/ 5672484 w 6884782"/>
              <a:gd name="connsiteY56339" fmla="*/ 1405047 h 5973007"/>
              <a:gd name="connsiteX56340" fmla="*/ 5673337 w 6884782"/>
              <a:gd name="connsiteY56340" fmla="*/ 1419986 h 5973007"/>
              <a:gd name="connsiteX56341" fmla="*/ 5670349 w 6884782"/>
              <a:gd name="connsiteY56341" fmla="*/ 1422831 h 5973007"/>
              <a:gd name="connsiteX56342" fmla="*/ 5650928 w 6884782"/>
              <a:gd name="connsiteY56342" fmla="*/ 1410311 h 5973007"/>
              <a:gd name="connsiteX56343" fmla="*/ 5651568 w 6884782"/>
              <a:gd name="connsiteY56343" fmla="*/ 1384419 h 5973007"/>
              <a:gd name="connsiteX56344" fmla="*/ 5658611 w 6884782"/>
              <a:gd name="connsiteY56344" fmla="*/ 1383280 h 5973007"/>
              <a:gd name="connsiteX56345" fmla="*/ 1786952 w 6884782"/>
              <a:gd name="connsiteY56345" fmla="*/ 1382627 h 5973007"/>
              <a:gd name="connsiteX56346" fmla="*/ 1790773 w 6884782"/>
              <a:gd name="connsiteY56346" fmla="*/ 1395948 h 5973007"/>
              <a:gd name="connsiteX56347" fmla="*/ 1786952 w 6884782"/>
              <a:gd name="connsiteY56347" fmla="*/ 1382627 h 5973007"/>
              <a:gd name="connsiteX56348" fmla="*/ 3605086 w 6884782"/>
              <a:gd name="connsiteY56348" fmla="*/ 1382142 h 5973007"/>
              <a:gd name="connsiteX56349" fmla="*/ 3608501 w 6884782"/>
              <a:gd name="connsiteY56349" fmla="*/ 1382854 h 5973007"/>
              <a:gd name="connsiteX56350" fmla="*/ 3606154 w 6884782"/>
              <a:gd name="connsiteY56350" fmla="*/ 1389967 h 5973007"/>
              <a:gd name="connsiteX56351" fmla="*/ 3595909 w 6884782"/>
              <a:gd name="connsiteY56351" fmla="*/ 1391816 h 5973007"/>
              <a:gd name="connsiteX56352" fmla="*/ 3595055 w 6884782"/>
              <a:gd name="connsiteY56352" fmla="*/ 1385841 h 5973007"/>
              <a:gd name="connsiteX56353" fmla="*/ 3601245 w 6884782"/>
              <a:gd name="connsiteY56353" fmla="*/ 1382569 h 5973007"/>
              <a:gd name="connsiteX56354" fmla="*/ 3605086 w 6884782"/>
              <a:gd name="connsiteY56354" fmla="*/ 1382142 h 5973007"/>
              <a:gd name="connsiteX56355" fmla="*/ 1097924 w 6884782"/>
              <a:gd name="connsiteY56355" fmla="*/ 1381697 h 5973007"/>
              <a:gd name="connsiteX56356" fmla="*/ 1102570 w 6884782"/>
              <a:gd name="connsiteY56356" fmla="*/ 1388203 h 5973007"/>
              <a:gd name="connsiteX56357" fmla="*/ 1089457 w 6884782"/>
              <a:gd name="connsiteY56357" fmla="*/ 1394864 h 5973007"/>
              <a:gd name="connsiteX56358" fmla="*/ 1086153 w 6884782"/>
              <a:gd name="connsiteY56358" fmla="*/ 1390682 h 5973007"/>
              <a:gd name="connsiteX56359" fmla="*/ 1097924 w 6884782"/>
              <a:gd name="connsiteY56359" fmla="*/ 1381697 h 5973007"/>
              <a:gd name="connsiteX56360" fmla="*/ 5318633 w 6884782"/>
              <a:gd name="connsiteY56360" fmla="*/ 1381573 h 5973007"/>
              <a:gd name="connsiteX56361" fmla="*/ 5323329 w 6884782"/>
              <a:gd name="connsiteY56361" fmla="*/ 1382284 h 5973007"/>
              <a:gd name="connsiteX56362" fmla="*/ 5326957 w 6884782"/>
              <a:gd name="connsiteY56362" fmla="*/ 1390536 h 5973007"/>
              <a:gd name="connsiteX56363" fmla="*/ 5312231 w 6884782"/>
              <a:gd name="connsiteY56363" fmla="*/ 1389825 h 5973007"/>
              <a:gd name="connsiteX56364" fmla="*/ 5318633 w 6884782"/>
              <a:gd name="connsiteY56364" fmla="*/ 1381573 h 5973007"/>
              <a:gd name="connsiteX56365" fmla="*/ 3983693 w 6884782"/>
              <a:gd name="connsiteY56365" fmla="*/ 1380008 h 5973007"/>
              <a:gd name="connsiteX56366" fmla="*/ 3984974 w 6884782"/>
              <a:gd name="connsiteY56366" fmla="*/ 1382569 h 5973007"/>
              <a:gd name="connsiteX56367" fmla="*/ 3985187 w 6884782"/>
              <a:gd name="connsiteY56367" fmla="*/ 1386268 h 5973007"/>
              <a:gd name="connsiteX56368" fmla="*/ 3979425 w 6884782"/>
              <a:gd name="connsiteY56368" fmla="*/ 1387264 h 5973007"/>
              <a:gd name="connsiteX56369" fmla="*/ 3977931 w 6884782"/>
              <a:gd name="connsiteY56369" fmla="*/ 1384703 h 5973007"/>
              <a:gd name="connsiteX56370" fmla="*/ 3978998 w 6884782"/>
              <a:gd name="connsiteY56370" fmla="*/ 1381004 h 5973007"/>
              <a:gd name="connsiteX56371" fmla="*/ 3983693 w 6884782"/>
              <a:gd name="connsiteY56371" fmla="*/ 1380008 h 5973007"/>
              <a:gd name="connsiteX56372" fmla="*/ 4560353 w 6884782"/>
              <a:gd name="connsiteY56372" fmla="*/ 1379439 h 5973007"/>
              <a:gd name="connsiteX56373" fmla="*/ 4559073 w 6884782"/>
              <a:gd name="connsiteY56373" fmla="*/ 1386553 h 5973007"/>
              <a:gd name="connsiteX56374" fmla="*/ 4560353 w 6884782"/>
              <a:gd name="connsiteY56374" fmla="*/ 1379439 h 5973007"/>
              <a:gd name="connsiteX56375" fmla="*/ 4307878 w 6884782"/>
              <a:gd name="connsiteY56375" fmla="*/ 1378017 h 5973007"/>
              <a:gd name="connsiteX56376" fmla="*/ 4310225 w 6884782"/>
              <a:gd name="connsiteY56376" fmla="*/ 1380720 h 5973007"/>
              <a:gd name="connsiteX56377" fmla="*/ 4304463 w 6884782"/>
              <a:gd name="connsiteY56377" fmla="*/ 1391532 h 5973007"/>
              <a:gd name="connsiteX56378" fmla="*/ 4302115 w 6884782"/>
              <a:gd name="connsiteY56378" fmla="*/ 1389398 h 5973007"/>
              <a:gd name="connsiteX56379" fmla="*/ 4307878 w 6884782"/>
              <a:gd name="connsiteY56379" fmla="*/ 1378017 h 5973007"/>
              <a:gd name="connsiteX56380" fmla="*/ 1533562 w 6884782"/>
              <a:gd name="connsiteY56380" fmla="*/ 1376741 h 5973007"/>
              <a:gd name="connsiteX56381" fmla="*/ 1534904 w 6884782"/>
              <a:gd name="connsiteY56381" fmla="*/ 1379374 h 5973007"/>
              <a:gd name="connsiteX56382" fmla="*/ 1533768 w 6884782"/>
              <a:gd name="connsiteY56382" fmla="*/ 1379839 h 5973007"/>
              <a:gd name="connsiteX56383" fmla="*/ 1534491 w 6884782"/>
              <a:gd name="connsiteY56383" fmla="*/ 1380148 h 5973007"/>
              <a:gd name="connsiteX56384" fmla="*/ 1533355 w 6884782"/>
              <a:gd name="connsiteY56384" fmla="*/ 1379993 h 5973007"/>
              <a:gd name="connsiteX56385" fmla="*/ 1533045 w 6884782"/>
              <a:gd name="connsiteY56385" fmla="*/ 1379374 h 5973007"/>
              <a:gd name="connsiteX56386" fmla="*/ 1532632 w 6884782"/>
              <a:gd name="connsiteY56386" fmla="*/ 1377825 h 5973007"/>
              <a:gd name="connsiteX56387" fmla="*/ 1533562 w 6884782"/>
              <a:gd name="connsiteY56387" fmla="*/ 1376741 h 5973007"/>
              <a:gd name="connsiteX56388" fmla="*/ 4928289 w 6884782"/>
              <a:gd name="connsiteY56388" fmla="*/ 1376594 h 5973007"/>
              <a:gd name="connsiteX56389" fmla="*/ 4934691 w 6884782"/>
              <a:gd name="connsiteY56389" fmla="*/ 1378728 h 5973007"/>
              <a:gd name="connsiteX56390" fmla="*/ 4937253 w 6884782"/>
              <a:gd name="connsiteY56390" fmla="*/ 1383707 h 5973007"/>
              <a:gd name="connsiteX56391" fmla="*/ 4937253 w 6884782"/>
              <a:gd name="connsiteY56391" fmla="*/ 1386126 h 5973007"/>
              <a:gd name="connsiteX56392" fmla="*/ 4935758 w 6884782"/>
              <a:gd name="connsiteY56392" fmla="*/ 1387121 h 5973007"/>
              <a:gd name="connsiteX56393" fmla="*/ 4936399 w 6884782"/>
              <a:gd name="connsiteY56393" fmla="*/ 1387975 h 5973007"/>
              <a:gd name="connsiteX56394" fmla="*/ 4936825 w 6884782"/>
              <a:gd name="connsiteY56394" fmla="*/ 1391674 h 5973007"/>
              <a:gd name="connsiteX56395" fmla="*/ 4931063 w 6884782"/>
              <a:gd name="connsiteY56395" fmla="*/ 1393239 h 5973007"/>
              <a:gd name="connsiteX56396" fmla="*/ 4929569 w 6884782"/>
              <a:gd name="connsiteY56396" fmla="*/ 1390821 h 5973007"/>
              <a:gd name="connsiteX56397" fmla="*/ 4929996 w 6884782"/>
              <a:gd name="connsiteY56397" fmla="*/ 1388686 h 5973007"/>
              <a:gd name="connsiteX56398" fmla="*/ 4927008 w 6884782"/>
              <a:gd name="connsiteY56398" fmla="*/ 1388118 h 5973007"/>
              <a:gd name="connsiteX56399" fmla="*/ 4923167 w 6884782"/>
              <a:gd name="connsiteY56399" fmla="*/ 1378301 h 5973007"/>
              <a:gd name="connsiteX56400" fmla="*/ 4925514 w 6884782"/>
              <a:gd name="connsiteY56400" fmla="*/ 1377163 h 5973007"/>
              <a:gd name="connsiteX56401" fmla="*/ 4928289 w 6884782"/>
              <a:gd name="connsiteY56401" fmla="*/ 1376594 h 5973007"/>
              <a:gd name="connsiteX56402" fmla="*/ 4463247 w 6884782"/>
              <a:gd name="connsiteY56402" fmla="*/ 1376025 h 5973007"/>
              <a:gd name="connsiteX56403" fmla="*/ 4482669 w 6884782"/>
              <a:gd name="connsiteY56403" fmla="*/ 1390678 h 5973007"/>
              <a:gd name="connsiteX56404" fmla="*/ 4484162 w 6884782"/>
              <a:gd name="connsiteY56404" fmla="*/ 1397792 h 5973007"/>
              <a:gd name="connsiteX56405" fmla="*/ 4463247 w 6884782"/>
              <a:gd name="connsiteY56405" fmla="*/ 1376025 h 5973007"/>
              <a:gd name="connsiteX56406" fmla="*/ 1440941 w 6884782"/>
              <a:gd name="connsiteY56406" fmla="*/ 1375811 h 5973007"/>
              <a:gd name="connsiteX56407" fmla="*/ 1438566 w 6884782"/>
              <a:gd name="connsiteY56407" fmla="*/ 1385105 h 5973007"/>
              <a:gd name="connsiteX56408" fmla="*/ 1440941 w 6884782"/>
              <a:gd name="connsiteY56408" fmla="*/ 1375811 h 5973007"/>
              <a:gd name="connsiteX56409" fmla="*/ 1050942 w 6884782"/>
              <a:gd name="connsiteY56409" fmla="*/ 1375502 h 5973007"/>
              <a:gd name="connsiteX56410" fmla="*/ 1049703 w 6884782"/>
              <a:gd name="connsiteY56410" fmla="*/ 1386809 h 5973007"/>
              <a:gd name="connsiteX56411" fmla="*/ 1027710 w 6884782"/>
              <a:gd name="connsiteY56411" fmla="*/ 1385260 h 5973007"/>
              <a:gd name="connsiteX56412" fmla="*/ 1037106 w 6884782"/>
              <a:gd name="connsiteY56412" fmla="*/ 1378445 h 5973007"/>
              <a:gd name="connsiteX56413" fmla="*/ 1050942 w 6884782"/>
              <a:gd name="connsiteY56413" fmla="*/ 1375502 h 5973007"/>
              <a:gd name="connsiteX56414" fmla="*/ 3854787 w 6884782"/>
              <a:gd name="connsiteY56414" fmla="*/ 1374033 h 5973007"/>
              <a:gd name="connsiteX56415" fmla="*/ 3865672 w 6884782"/>
              <a:gd name="connsiteY56415" fmla="*/ 1380150 h 5973007"/>
              <a:gd name="connsiteX56416" fmla="*/ 3846037 w 6884782"/>
              <a:gd name="connsiteY56416" fmla="*/ 1380435 h 5973007"/>
              <a:gd name="connsiteX56417" fmla="*/ 3854787 w 6884782"/>
              <a:gd name="connsiteY56417" fmla="*/ 1374033 h 5973007"/>
              <a:gd name="connsiteX56418" fmla="*/ 1240521 w 6884782"/>
              <a:gd name="connsiteY56418" fmla="*/ 1373643 h 5973007"/>
              <a:gd name="connsiteX56419" fmla="*/ 1243412 w 6884782"/>
              <a:gd name="connsiteY56419" fmla="*/ 1377360 h 5973007"/>
              <a:gd name="connsiteX56420" fmla="*/ 1244031 w 6884782"/>
              <a:gd name="connsiteY56420" fmla="*/ 1379219 h 5973007"/>
              <a:gd name="connsiteX56421" fmla="*/ 1244754 w 6884782"/>
              <a:gd name="connsiteY56421" fmla="*/ 1379684 h 5973007"/>
              <a:gd name="connsiteX56422" fmla="*/ 1245064 w 6884782"/>
              <a:gd name="connsiteY56422" fmla="*/ 1383247 h 5973007"/>
              <a:gd name="connsiteX56423" fmla="*/ 1243412 w 6884782"/>
              <a:gd name="connsiteY56423" fmla="*/ 1382162 h 5973007"/>
              <a:gd name="connsiteX56424" fmla="*/ 1242689 w 6884782"/>
              <a:gd name="connsiteY56424" fmla="*/ 1381543 h 5973007"/>
              <a:gd name="connsiteX56425" fmla="*/ 1239385 w 6884782"/>
              <a:gd name="connsiteY56425" fmla="*/ 1380613 h 5973007"/>
              <a:gd name="connsiteX56426" fmla="*/ 1215636 w 6884782"/>
              <a:gd name="connsiteY56426" fmla="*/ 1382627 h 5973007"/>
              <a:gd name="connsiteX56427" fmla="*/ 1226065 w 6884782"/>
              <a:gd name="connsiteY56427" fmla="*/ 1375966 h 5973007"/>
              <a:gd name="connsiteX56428" fmla="*/ 1240521 w 6884782"/>
              <a:gd name="connsiteY56428" fmla="*/ 1373643 h 5973007"/>
              <a:gd name="connsiteX56429" fmla="*/ 1064675 w 6884782"/>
              <a:gd name="connsiteY56429" fmla="*/ 1373488 h 5973007"/>
              <a:gd name="connsiteX56430" fmla="*/ 1063746 w 6884782"/>
              <a:gd name="connsiteY56430" fmla="*/ 1377670 h 5973007"/>
              <a:gd name="connsiteX56431" fmla="*/ 1061991 w 6884782"/>
              <a:gd name="connsiteY56431" fmla="*/ 1374107 h 5973007"/>
              <a:gd name="connsiteX56432" fmla="*/ 1064675 w 6884782"/>
              <a:gd name="connsiteY56432" fmla="*/ 1373488 h 5973007"/>
              <a:gd name="connsiteX56433" fmla="*/ 3751492 w 6884782"/>
              <a:gd name="connsiteY56433" fmla="*/ 1373037 h 5973007"/>
              <a:gd name="connsiteX56434" fmla="*/ 3752346 w 6884782"/>
              <a:gd name="connsiteY56434" fmla="*/ 1373891 h 5973007"/>
              <a:gd name="connsiteX56435" fmla="*/ 3751492 w 6884782"/>
              <a:gd name="connsiteY56435" fmla="*/ 1378443 h 5973007"/>
              <a:gd name="connsiteX56436" fmla="*/ 3749358 w 6884782"/>
              <a:gd name="connsiteY56436" fmla="*/ 1377305 h 5973007"/>
              <a:gd name="connsiteX56437" fmla="*/ 3748931 w 6884782"/>
              <a:gd name="connsiteY56437" fmla="*/ 1378301 h 5973007"/>
              <a:gd name="connsiteX56438" fmla="*/ 3747437 w 6884782"/>
              <a:gd name="connsiteY56438" fmla="*/ 1376167 h 5973007"/>
              <a:gd name="connsiteX56439" fmla="*/ 3747864 w 6884782"/>
              <a:gd name="connsiteY56439" fmla="*/ 1375171 h 5973007"/>
              <a:gd name="connsiteX56440" fmla="*/ 3747651 w 6884782"/>
              <a:gd name="connsiteY56440" fmla="*/ 1374744 h 5973007"/>
              <a:gd name="connsiteX56441" fmla="*/ 3749785 w 6884782"/>
              <a:gd name="connsiteY56441" fmla="*/ 1373748 h 5973007"/>
              <a:gd name="connsiteX56442" fmla="*/ 3751492 w 6884782"/>
              <a:gd name="connsiteY56442" fmla="*/ 1373037 h 5973007"/>
              <a:gd name="connsiteX56443" fmla="*/ 1445897 w 6884782"/>
              <a:gd name="connsiteY56443" fmla="*/ 1373023 h 5973007"/>
              <a:gd name="connsiteX56444" fmla="*/ 1452299 w 6884782"/>
              <a:gd name="connsiteY56444" fmla="*/ 1376276 h 5973007"/>
              <a:gd name="connsiteX56445" fmla="*/ 1444245 w 6884782"/>
              <a:gd name="connsiteY56445" fmla="*/ 1375037 h 5973007"/>
              <a:gd name="connsiteX56446" fmla="*/ 1445897 w 6884782"/>
              <a:gd name="connsiteY56446" fmla="*/ 1373023 h 5973007"/>
              <a:gd name="connsiteX56447" fmla="*/ 3558134 w 6884782"/>
              <a:gd name="connsiteY56447" fmla="*/ 1372895 h 5973007"/>
              <a:gd name="connsiteX56448" fmla="*/ 3589080 w 6884782"/>
              <a:gd name="connsiteY56448" fmla="*/ 1396938 h 5973007"/>
              <a:gd name="connsiteX56449" fmla="*/ 3554079 w 6884782"/>
              <a:gd name="connsiteY56449" fmla="*/ 1383423 h 5973007"/>
              <a:gd name="connsiteX56450" fmla="*/ 3558134 w 6884782"/>
              <a:gd name="connsiteY56450" fmla="*/ 1372895 h 5973007"/>
              <a:gd name="connsiteX56451" fmla="*/ 1322803 w 6884782"/>
              <a:gd name="connsiteY56451" fmla="*/ 1372752 h 5973007"/>
              <a:gd name="connsiteX56452" fmla="*/ 1328804 w 6884782"/>
              <a:gd name="connsiteY56452" fmla="*/ 1375037 h 5973007"/>
              <a:gd name="connsiteX56453" fmla="*/ 1330457 w 6884782"/>
              <a:gd name="connsiteY56453" fmla="*/ 1376895 h 5973007"/>
              <a:gd name="connsiteX56454" fmla="*/ 1332212 w 6884782"/>
              <a:gd name="connsiteY56454" fmla="*/ 1377825 h 5973007"/>
              <a:gd name="connsiteX56455" fmla="*/ 1334794 w 6884782"/>
              <a:gd name="connsiteY56455" fmla="*/ 1383247 h 5973007"/>
              <a:gd name="connsiteX56456" fmla="*/ 1331902 w 6884782"/>
              <a:gd name="connsiteY56456" fmla="*/ 1382162 h 5973007"/>
              <a:gd name="connsiteX56457" fmla="*/ 1331902 w 6884782"/>
              <a:gd name="connsiteY56457" fmla="*/ 1383092 h 5973007"/>
              <a:gd name="connsiteX56458" fmla="*/ 1327772 w 6884782"/>
              <a:gd name="connsiteY56458" fmla="*/ 1383401 h 5973007"/>
              <a:gd name="connsiteX56459" fmla="*/ 1326739 w 6884782"/>
              <a:gd name="connsiteY56459" fmla="*/ 1380458 h 5973007"/>
              <a:gd name="connsiteX56460" fmla="*/ 1324571 w 6884782"/>
              <a:gd name="connsiteY56460" fmla="*/ 1379684 h 5973007"/>
              <a:gd name="connsiteX56461" fmla="*/ 1318169 w 6884782"/>
              <a:gd name="connsiteY56461" fmla="*/ 1376431 h 5973007"/>
              <a:gd name="connsiteX56462" fmla="*/ 1316827 w 6884782"/>
              <a:gd name="connsiteY56462" fmla="*/ 1375037 h 5973007"/>
              <a:gd name="connsiteX56463" fmla="*/ 1317343 w 6884782"/>
              <a:gd name="connsiteY56463" fmla="*/ 1373023 h 5973007"/>
              <a:gd name="connsiteX56464" fmla="*/ 1322803 w 6884782"/>
              <a:gd name="connsiteY56464" fmla="*/ 1372752 h 5973007"/>
              <a:gd name="connsiteX56465" fmla="*/ 3989029 w 6884782"/>
              <a:gd name="connsiteY56465" fmla="*/ 1372610 h 5973007"/>
              <a:gd name="connsiteX56466" fmla="*/ 3994364 w 6884782"/>
              <a:gd name="connsiteY56466" fmla="*/ 1375740 h 5973007"/>
              <a:gd name="connsiteX56467" fmla="*/ 4000553 w 6884782"/>
              <a:gd name="connsiteY56467" fmla="*/ 1387549 h 5973007"/>
              <a:gd name="connsiteX56468" fmla="*/ 3990096 w 6884782"/>
              <a:gd name="connsiteY56468" fmla="*/ 1389398 h 5973007"/>
              <a:gd name="connsiteX56469" fmla="*/ 3989029 w 6884782"/>
              <a:gd name="connsiteY56469" fmla="*/ 1388118 h 5973007"/>
              <a:gd name="connsiteX56470" fmla="*/ 3984120 w 6884782"/>
              <a:gd name="connsiteY56470" fmla="*/ 1374033 h 5973007"/>
              <a:gd name="connsiteX56471" fmla="*/ 3989029 w 6884782"/>
              <a:gd name="connsiteY56471" fmla="*/ 1372610 h 5973007"/>
              <a:gd name="connsiteX56472" fmla="*/ 4197753 w 6884782"/>
              <a:gd name="connsiteY56472" fmla="*/ 1372326 h 5973007"/>
              <a:gd name="connsiteX56473" fmla="*/ 4199887 w 6884782"/>
              <a:gd name="connsiteY56473" fmla="*/ 1373748 h 5973007"/>
              <a:gd name="connsiteX56474" fmla="*/ 4200528 w 6884782"/>
              <a:gd name="connsiteY56474" fmla="*/ 1380862 h 5973007"/>
              <a:gd name="connsiteX56475" fmla="*/ 4193058 w 6884782"/>
              <a:gd name="connsiteY56475" fmla="*/ 1381431 h 5973007"/>
              <a:gd name="connsiteX56476" fmla="*/ 4194125 w 6884782"/>
              <a:gd name="connsiteY56476" fmla="*/ 1372895 h 5973007"/>
              <a:gd name="connsiteX56477" fmla="*/ 4197753 w 6884782"/>
              <a:gd name="connsiteY56477" fmla="*/ 1372326 h 5973007"/>
              <a:gd name="connsiteX56478" fmla="*/ 4705265 w 6884782"/>
              <a:gd name="connsiteY56478" fmla="*/ 1371756 h 5973007"/>
              <a:gd name="connsiteX56479" fmla="*/ 4724046 w 6884782"/>
              <a:gd name="connsiteY56479" fmla="*/ 1386410 h 5973007"/>
              <a:gd name="connsiteX56480" fmla="*/ 4724046 w 6884782"/>
              <a:gd name="connsiteY56480" fmla="*/ 1399215 h 5973007"/>
              <a:gd name="connsiteX56481" fmla="*/ 4698222 w 6884782"/>
              <a:gd name="connsiteY56481" fmla="*/ 1434924 h 5973007"/>
              <a:gd name="connsiteX56482" fmla="*/ 4697155 w 6884782"/>
              <a:gd name="connsiteY56482" fmla="*/ 1432078 h 5973007"/>
              <a:gd name="connsiteX56483" fmla="*/ 4695875 w 6884782"/>
              <a:gd name="connsiteY56483" fmla="*/ 1432790 h 5973007"/>
              <a:gd name="connsiteX56484" fmla="*/ 4688192 w 6884782"/>
              <a:gd name="connsiteY56484" fmla="*/ 1424965 h 5973007"/>
              <a:gd name="connsiteX56485" fmla="*/ 4689472 w 6884782"/>
              <a:gd name="connsiteY56485" fmla="*/ 1420128 h 5973007"/>
              <a:gd name="connsiteX56486" fmla="*/ 4683283 w 6884782"/>
              <a:gd name="connsiteY56486" fmla="*/ 1415433 h 5973007"/>
              <a:gd name="connsiteX56487" fmla="*/ 4677734 w 6884782"/>
              <a:gd name="connsiteY56487" fmla="*/ 1410027 h 5973007"/>
              <a:gd name="connsiteX56488" fmla="*/ 4674533 w 6884782"/>
              <a:gd name="connsiteY56488" fmla="*/ 1399926 h 5973007"/>
              <a:gd name="connsiteX56489" fmla="*/ 4705265 w 6884782"/>
              <a:gd name="connsiteY56489" fmla="*/ 1371756 h 5973007"/>
              <a:gd name="connsiteX56490" fmla="*/ 3763657 w 6884782"/>
              <a:gd name="connsiteY56490" fmla="*/ 1370761 h 5973007"/>
              <a:gd name="connsiteX56491" fmla="*/ 3752560 w 6884782"/>
              <a:gd name="connsiteY56491" fmla="*/ 1379012 h 5973007"/>
              <a:gd name="connsiteX56492" fmla="*/ 3763657 w 6884782"/>
              <a:gd name="connsiteY56492" fmla="*/ 1370761 h 5973007"/>
              <a:gd name="connsiteX56493" fmla="*/ 3612770 w 6884782"/>
              <a:gd name="connsiteY56493" fmla="*/ 1370618 h 5973007"/>
              <a:gd name="connsiteX56494" fmla="*/ 3628989 w 6884782"/>
              <a:gd name="connsiteY56494" fmla="*/ 1384561 h 5973007"/>
              <a:gd name="connsiteX56495" fmla="*/ 3626855 w 6884782"/>
              <a:gd name="connsiteY56495" fmla="*/ 1387406 h 5973007"/>
              <a:gd name="connsiteX56496" fmla="*/ 3626641 w 6884782"/>
              <a:gd name="connsiteY56496" fmla="*/ 1387549 h 5973007"/>
              <a:gd name="connsiteX56497" fmla="*/ 3624081 w 6884782"/>
              <a:gd name="connsiteY56497" fmla="*/ 1390821 h 5973007"/>
              <a:gd name="connsiteX56498" fmla="*/ 3624721 w 6884782"/>
              <a:gd name="connsiteY56498" fmla="*/ 1391390 h 5973007"/>
              <a:gd name="connsiteX56499" fmla="*/ 3620026 w 6884782"/>
              <a:gd name="connsiteY56499" fmla="*/ 1396796 h 5973007"/>
              <a:gd name="connsiteX56500" fmla="*/ 3614050 w 6884782"/>
              <a:gd name="connsiteY56500" fmla="*/ 1396938 h 5973007"/>
              <a:gd name="connsiteX56501" fmla="*/ 3614477 w 6884782"/>
              <a:gd name="connsiteY56501" fmla="*/ 1393239 h 5973007"/>
              <a:gd name="connsiteX56502" fmla="*/ 3613837 w 6884782"/>
              <a:gd name="connsiteY56502" fmla="*/ 1392955 h 5973007"/>
              <a:gd name="connsiteX56503" fmla="*/ 3612770 w 6884782"/>
              <a:gd name="connsiteY56503" fmla="*/ 1370618 h 5973007"/>
              <a:gd name="connsiteX56504" fmla="*/ 5715168 w 6884782"/>
              <a:gd name="connsiteY56504" fmla="*/ 1370191 h 5973007"/>
              <a:gd name="connsiteX56505" fmla="*/ 5717729 w 6884782"/>
              <a:gd name="connsiteY56505" fmla="*/ 1371899 h 5973007"/>
              <a:gd name="connsiteX56506" fmla="*/ 5716661 w 6884782"/>
              <a:gd name="connsiteY56506" fmla="*/ 1378443 h 5973007"/>
              <a:gd name="connsiteX56507" fmla="*/ 5713887 w 6884782"/>
              <a:gd name="connsiteY56507" fmla="*/ 1379724 h 5973007"/>
              <a:gd name="connsiteX56508" fmla="*/ 5713033 w 6884782"/>
              <a:gd name="connsiteY56508" fmla="*/ 1379155 h 5973007"/>
              <a:gd name="connsiteX56509" fmla="*/ 5709192 w 6884782"/>
              <a:gd name="connsiteY56509" fmla="*/ 1376736 h 5973007"/>
              <a:gd name="connsiteX56510" fmla="*/ 5710686 w 6884782"/>
              <a:gd name="connsiteY56510" fmla="*/ 1370476 h 5973007"/>
              <a:gd name="connsiteX56511" fmla="*/ 5715168 w 6884782"/>
              <a:gd name="connsiteY56511" fmla="*/ 1370191 h 5973007"/>
              <a:gd name="connsiteX56512" fmla="*/ 1115684 w 6884782"/>
              <a:gd name="connsiteY56512" fmla="*/ 1370080 h 5973007"/>
              <a:gd name="connsiteX56513" fmla="*/ 1113929 w 6884782"/>
              <a:gd name="connsiteY56513" fmla="*/ 1372714 h 5973007"/>
              <a:gd name="connsiteX56514" fmla="*/ 1111244 w 6884782"/>
              <a:gd name="connsiteY56514" fmla="*/ 1371939 h 5973007"/>
              <a:gd name="connsiteX56515" fmla="*/ 1113309 w 6884782"/>
              <a:gd name="connsiteY56515" fmla="*/ 1370545 h 5973007"/>
              <a:gd name="connsiteX56516" fmla="*/ 1115684 w 6884782"/>
              <a:gd name="connsiteY56516" fmla="*/ 1370080 h 5973007"/>
              <a:gd name="connsiteX56517" fmla="*/ 4020401 w 6884782"/>
              <a:gd name="connsiteY56517" fmla="*/ 1370049 h 5973007"/>
              <a:gd name="connsiteX56518" fmla="*/ 4026163 w 6884782"/>
              <a:gd name="connsiteY56518" fmla="*/ 1373748 h 5973007"/>
              <a:gd name="connsiteX56519" fmla="*/ 4022962 w 6884782"/>
              <a:gd name="connsiteY56519" fmla="*/ 1377163 h 5973007"/>
              <a:gd name="connsiteX56520" fmla="*/ 4020401 w 6884782"/>
              <a:gd name="connsiteY56520" fmla="*/ 1370049 h 5973007"/>
              <a:gd name="connsiteX56521" fmla="*/ 4328366 w 6884782"/>
              <a:gd name="connsiteY56521" fmla="*/ 1369623 h 5973007"/>
              <a:gd name="connsiteX56522" fmla="*/ 4328792 w 6884782"/>
              <a:gd name="connsiteY56522" fmla="*/ 1370618 h 5973007"/>
              <a:gd name="connsiteX56523" fmla="*/ 4329220 w 6884782"/>
              <a:gd name="connsiteY56523" fmla="*/ 1370761 h 5973007"/>
              <a:gd name="connsiteX56524" fmla="*/ 4328792 w 6884782"/>
              <a:gd name="connsiteY56524" fmla="*/ 1373179 h 5973007"/>
              <a:gd name="connsiteX56525" fmla="*/ 4327512 w 6884782"/>
              <a:gd name="connsiteY56525" fmla="*/ 1375313 h 5973007"/>
              <a:gd name="connsiteX56526" fmla="*/ 4324524 w 6884782"/>
              <a:gd name="connsiteY56526" fmla="*/ 1372041 h 5973007"/>
              <a:gd name="connsiteX56527" fmla="*/ 4326445 w 6884782"/>
              <a:gd name="connsiteY56527" fmla="*/ 1370761 h 5973007"/>
              <a:gd name="connsiteX56528" fmla="*/ 4326018 w 6884782"/>
              <a:gd name="connsiteY56528" fmla="*/ 1369765 h 5973007"/>
              <a:gd name="connsiteX56529" fmla="*/ 4328366 w 6884782"/>
              <a:gd name="connsiteY56529" fmla="*/ 1369623 h 5973007"/>
              <a:gd name="connsiteX56530" fmla="*/ 3600604 w 6884782"/>
              <a:gd name="connsiteY56530" fmla="*/ 1369623 h 5973007"/>
              <a:gd name="connsiteX56531" fmla="*/ 3604019 w 6884782"/>
              <a:gd name="connsiteY56531" fmla="*/ 1372468 h 5973007"/>
              <a:gd name="connsiteX56532" fmla="*/ 3602739 w 6884782"/>
              <a:gd name="connsiteY56532" fmla="*/ 1373464 h 5973007"/>
              <a:gd name="connsiteX56533" fmla="*/ 3604019 w 6884782"/>
              <a:gd name="connsiteY56533" fmla="*/ 1373606 h 5973007"/>
              <a:gd name="connsiteX56534" fmla="*/ 3602311 w 6884782"/>
              <a:gd name="connsiteY56534" fmla="*/ 1373891 h 5973007"/>
              <a:gd name="connsiteX56535" fmla="*/ 3601671 w 6884782"/>
              <a:gd name="connsiteY56535" fmla="*/ 1373322 h 5973007"/>
              <a:gd name="connsiteX56536" fmla="*/ 3600604 w 6884782"/>
              <a:gd name="connsiteY56536" fmla="*/ 1369623 h 5973007"/>
              <a:gd name="connsiteX56537" fmla="*/ 3931191 w 6884782"/>
              <a:gd name="connsiteY56537" fmla="*/ 1369053 h 5973007"/>
              <a:gd name="connsiteX56538" fmla="*/ 3925856 w 6884782"/>
              <a:gd name="connsiteY56538" fmla="*/ 1380435 h 5973007"/>
              <a:gd name="connsiteX56539" fmla="*/ 3927991 w 6884782"/>
              <a:gd name="connsiteY56539" fmla="*/ 1382000 h 5973007"/>
              <a:gd name="connsiteX56540" fmla="*/ 3930338 w 6884782"/>
              <a:gd name="connsiteY56540" fmla="*/ 1389113 h 5973007"/>
              <a:gd name="connsiteX56541" fmla="*/ 3929271 w 6884782"/>
              <a:gd name="connsiteY56541" fmla="*/ 1396654 h 5973007"/>
              <a:gd name="connsiteX56542" fmla="*/ 3922868 w 6884782"/>
              <a:gd name="connsiteY56542" fmla="*/ 1392101 h 5973007"/>
              <a:gd name="connsiteX56543" fmla="*/ 3923082 w 6884782"/>
              <a:gd name="connsiteY56543" fmla="*/ 1386553 h 5973007"/>
              <a:gd name="connsiteX56544" fmla="*/ 3920308 w 6884782"/>
              <a:gd name="connsiteY56544" fmla="*/ 1392243 h 5973007"/>
              <a:gd name="connsiteX56545" fmla="*/ 3902166 w 6884782"/>
              <a:gd name="connsiteY56545" fmla="*/ 1392955 h 5973007"/>
              <a:gd name="connsiteX56546" fmla="*/ 3931191 w 6884782"/>
              <a:gd name="connsiteY56546" fmla="*/ 1369053 h 5973007"/>
              <a:gd name="connsiteX56547" fmla="*/ 1716325 w 6884782"/>
              <a:gd name="connsiteY56547" fmla="*/ 1368996 h 5973007"/>
              <a:gd name="connsiteX56548" fmla="*/ 1717667 w 6884782"/>
              <a:gd name="connsiteY56548" fmla="*/ 1374107 h 5973007"/>
              <a:gd name="connsiteX56549" fmla="*/ 1713537 w 6884782"/>
              <a:gd name="connsiteY56549" fmla="*/ 1371010 h 5973007"/>
              <a:gd name="connsiteX56550" fmla="*/ 1716325 w 6884782"/>
              <a:gd name="connsiteY56550" fmla="*/ 1368996 h 5973007"/>
              <a:gd name="connsiteX56551" fmla="*/ 1560925 w 6884782"/>
              <a:gd name="connsiteY56551" fmla="*/ 1368531 h 5973007"/>
              <a:gd name="connsiteX56552" fmla="*/ 1565571 w 6884782"/>
              <a:gd name="connsiteY56552" fmla="*/ 1370390 h 5973007"/>
              <a:gd name="connsiteX56553" fmla="*/ 1564848 w 6884782"/>
              <a:gd name="connsiteY56553" fmla="*/ 1372869 h 5973007"/>
              <a:gd name="connsiteX56554" fmla="*/ 1559685 w 6884782"/>
              <a:gd name="connsiteY56554" fmla="*/ 1370390 h 5973007"/>
              <a:gd name="connsiteX56555" fmla="*/ 1560925 w 6884782"/>
              <a:gd name="connsiteY56555" fmla="*/ 1368531 h 5973007"/>
              <a:gd name="connsiteX56556" fmla="*/ 5841939 w 6884782"/>
              <a:gd name="connsiteY56556" fmla="*/ 1368342 h 5973007"/>
              <a:gd name="connsiteX56557" fmla="*/ 5844500 w 6884782"/>
              <a:gd name="connsiteY56557" fmla="*/ 1368484 h 5973007"/>
              <a:gd name="connsiteX56558" fmla="*/ 5844286 w 6884782"/>
              <a:gd name="connsiteY56558" fmla="*/ 1372041 h 5973007"/>
              <a:gd name="connsiteX56559" fmla="*/ 5833615 w 6884782"/>
              <a:gd name="connsiteY56559" fmla="*/ 1376594 h 5973007"/>
              <a:gd name="connsiteX56560" fmla="*/ 5841939 w 6884782"/>
              <a:gd name="connsiteY56560" fmla="*/ 1368342 h 5973007"/>
              <a:gd name="connsiteX56561" fmla="*/ 1116097 w 6884782"/>
              <a:gd name="connsiteY56561" fmla="*/ 1368066 h 5973007"/>
              <a:gd name="connsiteX56562" fmla="*/ 1117026 w 6884782"/>
              <a:gd name="connsiteY56562" fmla="*/ 1368066 h 5973007"/>
              <a:gd name="connsiteX56563" fmla="*/ 1116097 w 6884782"/>
              <a:gd name="connsiteY56563" fmla="*/ 1369615 h 5973007"/>
              <a:gd name="connsiteX56564" fmla="*/ 1115374 w 6884782"/>
              <a:gd name="connsiteY56564" fmla="*/ 1369151 h 5973007"/>
              <a:gd name="connsiteX56565" fmla="*/ 1116097 w 6884782"/>
              <a:gd name="connsiteY56565" fmla="*/ 1368066 h 5973007"/>
              <a:gd name="connsiteX56566" fmla="*/ 5087714 w 6884782"/>
              <a:gd name="connsiteY56566" fmla="*/ 1368058 h 5973007"/>
              <a:gd name="connsiteX56567" fmla="*/ 5096677 w 6884782"/>
              <a:gd name="connsiteY56567" fmla="*/ 1368627 h 5973007"/>
              <a:gd name="connsiteX56568" fmla="*/ 5097744 w 6884782"/>
              <a:gd name="connsiteY56568" fmla="*/ 1381431 h 5973007"/>
              <a:gd name="connsiteX56569" fmla="*/ 5084512 w 6884782"/>
              <a:gd name="connsiteY56569" fmla="*/ 1378585 h 5973007"/>
              <a:gd name="connsiteX56570" fmla="*/ 5087714 w 6884782"/>
              <a:gd name="connsiteY56570" fmla="*/ 1368058 h 5973007"/>
              <a:gd name="connsiteX56571" fmla="*/ 3776462 w 6884782"/>
              <a:gd name="connsiteY56571" fmla="*/ 1367062 h 5973007"/>
              <a:gd name="connsiteX56572" fmla="*/ 3782225 w 6884782"/>
              <a:gd name="connsiteY56572" fmla="*/ 1367631 h 5973007"/>
              <a:gd name="connsiteX56573" fmla="*/ 3788201 w 6884782"/>
              <a:gd name="connsiteY56573" fmla="*/ 1376452 h 5973007"/>
              <a:gd name="connsiteX56574" fmla="*/ 3778170 w 6884782"/>
              <a:gd name="connsiteY56574" fmla="*/ 1382996 h 5973007"/>
              <a:gd name="connsiteX56575" fmla="*/ 3776462 w 6884782"/>
              <a:gd name="connsiteY56575" fmla="*/ 1367062 h 5973007"/>
              <a:gd name="connsiteX56576" fmla="*/ 1171855 w 6884782"/>
              <a:gd name="connsiteY56576" fmla="*/ 1366518 h 5973007"/>
              <a:gd name="connsiteX56577" fmla="*/ 1174850 w 6884782"/>
              <a:gd name="connsiteY56577" fmla="*/ 1369306 h 5973007"/>
              <a:gd name="connsiteX56578" fmla="*/ 1164214 w 6884782"/>
              <a:gd name="connsiteY56578" fmla="*/ 1382162 h 5973007"/>
              <a:gd name="connsiteX56579" fmla="*/ 1161116 w 6884782"/>
              <a:gd name="connsiteY56579" fmla="*/ 1378909 h 5973007"/>
              <a:gd name="connsiteX56580" fmla="*/ 1161633 w 6884782"/>
              <a:gd name="connsiteY56580" fmla="*/ 1375037 h 5973007"/>
              <a:gd name="connsiteX56581" fmla="*/ 1163388 w 6884782"/>
              <a:gd name="connsiteY56581" fmla="*/ 1371939 h 5973007"/>
              <a:gd name="connsiteX56582" fmla="*/ 1166692 w 6884782"/>
              <a:gd name="connsiteY56582" fmla="*/ 1369926 h 5973007"/>
              <a:gd name="connsiteX56583" fmla="*/ 1171855 w 6884782"/>
              <a:gd name="connsiteY56583" fmla="*/ 1366518 h 5973007"/>
              <a:gd name="connsiteX56584" fmla="*/ 4139703 w 6884782"/>
              <a:gd name="connsiteY56584" fmla="*/ 1366493 h 5973007"/>
              <a:gd name="connsiteX56585" fmla="*/ 4145892 w 6884782"/>
              <a:gd name="connsiteY56585" fmla="*/ 1382854 h 5973007"/>
              <a:gd name="connsiteX56586" fmla="*/ 4137568 w 6884782"/>
              <a:gd name="connsiteY56586" fmla="*/ 1383707 h 5973007"/>
              <a:gd name="connsiteX56587" fmla="*/ 4139703 w 6884782"/>
              <a:gd name="connsiteY56587" fmla="*/ 1366493 h 5973007"/>
              <a:gd name="connsiteX56588" fmla="*/ 4793194 w 6884782"/>
              <a:gd name="connsiteY56588" fmla="*/ 1365924 h 5973007"/>
              <a:gd name="connsiteX56589" fmla="*/ 4796182 w 6884782"/>
              <a:gd name="connsiteY56589" fmla="*/ 1367204 h 5973007"/>
              <a:gd name="connsiteX56590" fmla="*/ 4785724 w 6884782"/>
              <a:gd name="connsiteY56590" fmla="*/ 1374744 h 5973007"/>
              <a:gd name="connsiteX56591" fmla="*/ 4793194 w 6884782"/>
              <a:gd name="connsiteY56591" fmla="*/ 1365924 h 5973007"/>
              <a:gd name="connsiteX56592" fmla="*/ 1119298 w 6884782"/>
              <a:gd name="connsiteY56592" fmla="*/ 1364659 h 5973007"/>
              <a:gd name="connsiteX56593" fmla="*/ 1119504 w 6884782"/>
              <a:gd name="connsiteY56593" fmla="*/ 1365743 h 5973007"/>
              <a:gd name="connsiteX56594" fmla="*/ 1117646 w 6884782"/>
              <a:gd name="connsiteY56594" fmla="*/ 1365588 h 5973007"/>
              <a:gd name="connsiteX56595" fmla="*/ 1119298 w 6884782"/>
              <a:gd name="connsiteY56595" fmla="*/ 1364659 h 5973007"/>
              <a:gd name="connsiteX56596" fmla="*/ 921149 w 6884782"/>
              <a:gd name="connsiteY56596" fmla="*/ 1364504 h 5973007"/>
              <a:gd name="connsiteX56597" fmla="*/ 927448 w 6884782"/>
              <a:gd name="connsiteY56597" fmla="*/ 1365743 h 5973007"/>
              <a:gd name="connsiteX56598" fmla="*/ 922285 w 6884782"/>
              <a:gd name="connsiteY56598" fmla="*/ 1370545 h 5973007"/>
              <a:gd name="connsiteX56599" fmla="*/ 920426 w 6884782"/>
              <a:gd name="connsiteY56599" fmla="*/ 1366208 h 5973007"/>
              <a:gd name="connsiteX56600" fmla="*/ 921149 w 6884782"/>
              <a:gd name="connsiteY56600" fmla="*/ 1364504 h 5973007"/>
              <a:gd name="connsiteX56601" fmla="*/ 4890086 w 6884782"/>
              <a:gd name="connsiteY56601" fmla="*/ 1364359 h 5973007"/>
              <a:gd name="connsiteX56602" fmla="*/ 4887953 w 6884782"/>
              <a:gd name="connsiteY56602" fmla="*/ 1375313 h 5973007"/>
              <a:gd name="connsiteX56603" fmla="*/ 4890086 w 6884782"/>
              <a:gd name="connsiteY56603" fmla="*/ 1364359 h 5973007"/>
              <a:gd name="connsiteX56604" fmla="*/ 4469863 w 6884782"/>
              <a:gd name="connsiteY56604" fmla="*/ 1364359 h 5973007"/>
              <a:gd name="connsiteX56605" fmla="*/ 4485443 w 6884782"/>
              <a:gd name="connsiteY56605" fmla="*/ 1370476 h 5973007"/>
              <a:gd name="connsiteX56606" fmla="*/ 4455564 w 6884782"/>
              <a:gd name="connsiteY56606" fmla="*/ 1370191 h 5973007"/>
              <a:gd name="connsiteX56607" fmla="*/ 4469863 w 6884782"/>
              <a:gd name="connsiteY56607" fmla="*/ 1364359 h 5973007"/>
              <a:gd name="connsiteX56608" fmla="*/ 4180679 w 6884782"/>
              <a:gd name="connsiteY56608" fmla="*/ 1363932 h 5973007"/>
              <a:gd name="connsiteX56609" fmla="*/ 4182387 w 6884782"/>
              <a:gd name="connsiteY56609" fmla="*/ 1365070 h 5973007"/>
              <a:gd name="connsiteX56610" fmla="*/ 4183240 w 6884782"/>
              <a:gd name="connsiteY56610" fmla="*/ 1364074 h 5973007"/>
              <a:gd name="connsiteX56611" fmla="*/ 4184307 w 6884782"/>
              <a:gd name="connsiteY56611" fmla="*/ 1366208 h 5973007"/>
              <a:gd name="connsiteX56612" fmla="*/ 4183667 w 6884782"/>
              <a:gd name="connsiteY56612" fmla="*/ 1367204 h 5973007"/>
              <a:gd name="connsiteX56613" fmla="*/ 4183667 w 6884782"/>
              <a:gd name="connsiteY56613" fmla="*/ 1367631 h 5973007"/>
              <a:gd name="connsiteX56614" fmla="*/ 4183454 w 6884782"/>
              <a:gd name="connsiteY56614" fmla="*/ 1367773 h 5973007"/>
              <a:gd name="connsiteX56615" fmla="*/ 4183667 w 6884782"/>
              <a:gd name="connsiteY56615" fmla="*/ 1378017 h 5973007"/>
              <a:gd name="connsiteX56616" fmla="*/ 4181960 w 6884782"/>
              <a:gd name="connsiteY56616" fmla="*/ 1390251 h 5973007"/>
              <a:gd name="connsiteX56617" fmla="*/ 4177691 w 6884782"/>
              <a:gd name="connsiteY56617" fmla="*/ 1369338 h 5973007"/>
              <a:gd name="connsiteX56618" fmla="*/ 4178972 w 6884782"/>
              <a:gd name="connsiteY56618" fmla="*/ 1368342 h 5973007"/>
              <a:gd name="connsiteX56619" fmla="*/ 4179186 w 6884782"/>
              <a:gd name="connsiteY56619" fmla="*/ 1366777 h 5973007"/>
              <a:gd name="connsiteX56620" fmla="*/ 4180679 w 6884782"/>
              <a:gd name="connsiteY56620" fmla="*/ 1363932 h 5973007"/>
              <a:gd name="connsiteX56621" fmla="*/ 1682147 w 6884782"/>
              <a:gd name="connsiteY56621" fmla="*/ 1362955 h 5973007"/>
              <a:gd name="connsiteX56622" fmla="*/ 1689892 w 6884782"/>
              <a:gd name="connsiteY56622" fmla="*/ 1363110 h 5973007"/>
              <a:gd name="connsiteX56623" fmla="*/ 1681011 w 6884782"/>
              <a:gd name="connsiteY56623" fmla="*/ 1364969 h 5973007"/>
              <a:gd name="connsiteX56624" fmla="*/ 1682147 w 6884782"/>
              <a:gd name="connsiteY56624" fmla="*/ 1362955 h 5973007"/>
              <a:gd name="connsiteX56625" fmla="*/ 3994577 w 6884782"/>
              <a:gd name="connsiteY56625" fmla="*/ 1362652 h 5973007"/>
              <a:gd name="connsiteX56626" fmla="*/ 4010797 w 6884782"/>
              <a:gd name="connsiteY56626" fmla="*/ 1392101 h 5973007"/>
              <a:gd name="connsiteX56627" fmla="*/ 3992443 w 6884782"/>
              <a:gd name="connsiteY56627" fmla="*/ 1369765 h 5973007"/>
              <a:gd name="connsiteX56628" fmla="*/ 3992657 w 6884782"/>
              <a:gd name="connsiteY56628" fmla="*/ 1368769 h 5973007"/>
              <a:gd name="connsiteX56629" fmla="*/ 3992016 w 6884782"/>
              <a:gd name="connsiteY56629" fmla="*/ 1367773 h 5973007"/>
              <a:gd name="connsiteX56630" fmla="*/ 3992657 w 6884782"/>
              <a:gd name="connsiteY56630" fmla="*/ 1364928 h 5973007"/>
              <a:gd name="connsiteX56631" fmla="*/ 3993297 w 6884782"/>
              <a:gd name="connsiteY56631" fmla="*/ 1365497 h 5973007"/>
              <a:gd name="connsiteX56632" fmla="*/ 1320467 w 6884782"/>
              <a:gd name="connsiteY56632" fmla="*/ 1360961 h 5973007"/>
              <a:gd name="connsiteX56633" fmla="*/ 1331799 w 6884782"/>
              <a:gd name="connsiteY56633" fmla="*/ 1362645 h 5973007"/>
              <a:gd name="connsiteX56634" fmla="*/ 1308050 w 6884782"/>
              <a:gd name="connsiteY56634" fmla="*/ 1367757 h 5973007"/>
              <a:gd name="connsiteX56635" fmla="*/ 1320467 w 6884782"/>
              <a:gd name="connsiteY56635" fmla="*/ 1360961 h 5973007"/>
              <a:gd name="connsiteX56636" fmla="*/ 3540420 w 6884782"/>
              <a:gd name="connsiteY56636" fmla="*/ 1360944 h 5973007"/>
              <a:gd name="connsiteX56637" fmla="*/ 3553652 w 6884782"/>
              <a:gd name="connsiteY56637" fmla="*/ 1365781 h 5973007"/>
              <a:gd name="connsiteX56638" fmla="*/ 3551732 w 6884782"/>
              <a:gd name="connsiteY56638" fmla="*/ 1378728 h 5973007"/>
              <a:gd name="connsiteX56639" fmla="*/ 3522279 w 6884782"/>
              <a:gd name="connsiteY56639" fmla="*/ 1361087 h 5973007"/>
              <a:gd name="connsiteX56640" fmla="*/ 3540420 w 6884782"/>
              <a:gd name="connsiteY56640" fmla="*/ 1360944 h 5973007"/>
              <a:gd name="connsiteX56641" fmla="*/ 4335835 w 6884782"/>
              <a:gd name="connsiteY56641" fmla="*/ 1360517 h 5973007"/>
              <a:gd name="connsiteX56642" fmla="*/ 4384709 w 6884782"/>
              <a:gd name="connsiteY56642" fmla="*/ 1386837 h 5973007"/>
              <a:gd name="connsiteX56643" fmla="*/ 4377666 w 6884782"/>
              <a:gd name="connsiteY56643" fmla="*/ 1397223 h 5973007"/>
              <a:gd name="connsiteX56644" fmla="*/ 4373824 w 6884782"/>
              <a:gd name="connsiteY56644" fmla="*/ 1394377 h 5973007"/>
              <a:gd name="connsiteX56645" fmla="*/ 4373397 w 6884782"/>
              <a:gd name="connsiteY56645" fmla="*/ 1395373 h 5973007"/>
              <a:gd name="connsiteX56646" fmla="*/ 4361873 w 6884782"/>
              <a:gd name="connsiteY56646" fmla="*/ 1389967 h 5973007"/>
              <a:gd name="connsiteX56647" fmla="*/ 4362086 w 6884782"/>
              <a:gd name="connsiteY56647" fmla="*/ 1385699 h 5973007"/>
              <a:gd name="connsiteX56648" fmla="*/ 4351842 w 6884782"/>
              <a:gd name="connsiteY56648" fmla="*/ 1378159 h 5973007"/>
              <a:gd name="connsiteX56649" fmla="*/ 4328792 w 6884782"/>
              <a:gd name="connsiteY56649" fmla="*/ 1360660 h 5973007"/>
              <a:gd name="connsiteX56650" fmla="*/ 4335835 w 6884782"/>
              <a:gd name="connsiteY56650" fmla="*/ 1360517 h 5973007"/>
              <a:gd name="connsiteX56651" fmla="*/ 3596123 w 6884782"/>
              <a:gd name="connsiteY56651" fmla="*/ 1360375 h 5973007"/>
              <a:gd name="connsiteX56652" fmla="*/ 3600391 w 6884782"/>
              <a:gd name="connsiteY56652" fmla="*/ 1369623 h 5973007"/>
              <a:gd name="connsiteX56653" fmla="*/ 3595909 w 6884782"/>
              <a:gd name="connsiteY56653" fmla="*/ 1365354 h 5973007"/>
              <a:gd name="connsiteX56654" fmla="*/ 3596123 w 6884782"/>
              <a:gd name="connsiteY56654" fmla="*/ 1360375 h 5973007"/>
              <a:gd name="connsiteX56655" fmla="*/ 1029155 w 6884782"/>
              <a:gd name="connsiteY56655" fmla="*/ 1360167 h 5973007"/>
              <a:gd name="connsiteX56656" fmla="*/ 1036589 w 6884782"/>
              <a:gd name="connsiteY56656" fmla="*/ 1363420 h 5973007"/>
              <a:gd name="connsiteX56657" fmla="*/ 1027503 w 6884782"/>
              <a:gd name="connsiteY56657" fmla="*/ 1363265 h 5973007"/>
              <a:gd name="connsiteX56658" fmla="*/ 1029155 w 6884782"/>
              <a:gd name="connsiteY56658" fmla="*/ 1360167 h 5973007"/>
              <a:gd name="connsiteX56659" fmla="*/ 1726857 w 6884782"/>
              <a:gd name="connsiteY56659" fmla="*/ 1359857 h 5973007"/>
              <a:gd name="connsiteX56660" fmla="*/ 1738732 w 6884782"/>
              <a:gd name="connsiteY56660" fmla="*/ 1376895 h 5973007"/>
              <a:gd name="connsiteX56661" fmla="*/ 1736564 w 6884782"/>
              <a:gd name="connsiteY56661" fmla="*/ 1381543 h 5973007"/>
              <a:gd name="connsiteX56662" fmla="*/ 1724586 w 6884782"/>
              <a:gd name="connsiteY56662" fmla="*/ 1365433 h 5973007"/>
              <a:gd name="connsiteX56663" fmla="*/ 1726857 w 6884782"/>
              <a:gd name="connsiteY56663" fmla="*/ 1359857 h 5973007"/>
              <a:gd name="connsiteX56664" fmla="*/ 5799895 w 6884782"/>
              <a:gd name="connsiteY56664" fmla="*/ 1359806 h 5973007"/>
              <a:gd name="connsiteX56665" fmla="*/ 5803737 w 6884782"/>
              <a:gd name="connsiteY56665" fmla="*/ 1368627 h 5973007"/>
              <a:gd name="connsiteX56666" fmla="*/ 5790291 w 6884782"/>
              <a:gd name="connsiteY56666" fmla="*/ 1397792 h 5973007"/>
              <a:gd name="connsiteX56667" fmla="*/ 5799895 w 6884782"/>
              <a:gd name="connsiteY56667" fmla="*/ 1359806 h 5973007"/>
              <a:gd name="connsiteX56668" fmla="*/ 5560225 w 6884782"/>
              <a:gd name="connsiteY56668" fmla="*/ 1358668 h 5973007"/>
              <a:gd name="connsiteX56669" fmla="*/ 5572390 w 6884782"/>
              <a:gd name="connsiteY56669" fmla="*/ 1362225 h 5973007"/>
              <a:gd name="connsiteX56670" fmla="*/ 5560225 w 6884782"/>
              <a:gd name="connsiteY56670" fmla="*/ 1358668 h 5973007"/>
              <a:gd name="connsiteX56671" fmla="*/ 5150885 w 6884782"/>
              <a:gd name="connsiteY56671" fmla="*/ 1358668 h 5973007"/>
              <a:gd name="connsiteX56672" fmla="*/ 5157502 w 6884782"/>
              <a:gd name="connsiteY56672" fmla="*/ 1362082 h 5973007"/>
              <a:gd name="connsiteX56673" fmla="*/ 5147684 w 6884782"/>
              <a:gd name="connsiteY56673" fmla="*/ 1380008 h 5973007"/>
              <a:gd name="connsiteX56674" fmla="*/ 5138081 w 6884782"/>
              <a:gd name="connsiteY56674" fmla="*/ 1374318 h 5973007"/>
              <a:gd name="connsiteX56675" fmla="*/ 5150885 w 6884782"/>
              <a:gd name="connsiteY56675" fmla="*/ 1358668 h 5973007"/>
              <a:gd name="connsiteX56676" fmla="*/ 4012931 w 6884782"/>
              <a:gd name="connsiteY56676" fmla="*/ 1358383 h 5973007"/>
              <a:gd name="connsiteX56677" fmla="*/ 4015492 w 6884782"/>
              <a:gd name="connsiteY56677" fmla="*/ 1363220 h 5973007"/>
              <a:gd name="connsiteX56678" fmla="*/ 4008450 w 6884782"/>
              <a:gd name="connsiteY56678" fmla="*/ 1365070 h 5973007"/>
              <a:gd name="connsiteX56679" fmla="*/ 4012931 w 6884782"/>
              <a:gd name="connsiteY56679" fmla="*/ 1358383 h 5973007"/>
              <a:gd name="connsiteX56680" fmla="*/ 5892519 w 6884782"/>
              <a:gd name="connsiteY56680" fmla="*/ 1357957 h 5973007"/>
              <a:gd name="connsiteX56681" fmla="*/ 5896788 w 6884782"/>
              <a:gd name="connsiteY56681" fmla="*/ 1358383 h 5973007"/>
              <a:gd name="connsiteX56682" fmla="*/ 5895507 w 6884782"/>
              <a:gd name="connsiteY56682" fmla="*/ 1358383 h 5973007"/>
              <a:gd name="connsiteX56683" fmla="*/ 5896574 w 6884782"/>
              <a:gd name="connsiteY56683" fmla="*/ 1359664 h 5973007"/>
              <a:gd name="connsiteX56684" fmla="*/ 5880141 w 6884782"/>
              <a:gd name="connsiteY56684" fmla="*/ 1361655 h 5973007"/>
              <a:gd name="connsiteX56685" fmla="*/ 5880354 w 6884782"/>
              <a:gd name="connsiteY56685" fmla="*/ 1360517 h 5973007"/>
              <a:gd name="connsiteX56686" fmla="*/ 5892519 w 6884782"/>
              <a:gd name="connsiteY56686" fmla="*/ 1357957 h 5973007"/>
              <a:gd name="connsiteX56687" fmla="*/ 5873525 w 6884782"/>
              <a:gd name="connsiteY56687" fmla="*/ 1357957 h 5973007"/>
              <a:gd name="connsiteX56688" fmla="*/ 5874592 w 6884782"/>
              <a:gd name="connsiteY56688" fmla="*/ 1359095 h 5973007"/>
              <a:gd name="connsiteX56689" fmla="*/ 5868616 w 6884782"/>
              <a:gd name="connsiteY56689" fmla="*/ 1361513 h 5973007"/>
              <a:gd name="connsiteX56690" fmla="*/ 5873525 w 6884782"/>
              <a:gd name="connsiteY56690" fmla="*/ 1357957 h 5973007"/>
              <a:gd name="connsiteX56691" fmla="*/ 4110464 w 6884782"/>
              <a:gd name="connsiteY56691" fmla="*/ 1357672 h 5973007"/>
              <a:gd name="connsiteX56692" fmla="*/ 4113025 w 6884782"/>
              <a:gd name="connsiteY56692" fmla="*/ 1357672 h 5973007"/>
              <a:gd name="connsiteX56693" fmla="*/ 4116013 w 6884782"/>
              <a:gd name="connsiteY56693" fmla="*/ 1358383 h 5973007"/>
              <a:gd name="connsiteX56694" fmla="*/ 4119214 w 6884782"/>
              <a:gd name="connsiteY56694" fmla="*/ 1359095 h 5973007"/>
              <a:gd name="connsiteX56695" fmla="*/ 4121776 w 6884782"/>
              <a:gd name="connsiteY56695" fmla="*/ 1358952 h 5973007"/>
              <a:gd name="connsiteX56696" fmla="*/ 4126257 w 6884782"/>
              <a:gd name="connsiteY56696" fmla="*/ 1361655 h 5973007"/>
              <a:gd name="connsiteX56697" fmla="*/ 4123696 w 6884782"/>
              <a:gd name="connsiteY56697" fmla="*/ 1361940 h 5973007"/>
              <a:gd name="connsiteX56698" fmla="*/ 4120495 w 6884782"/>
              <a:gd name="connsiteY56698" fmla="*/ 1361087 h 5973007"/>
              <a:gd name="connsiteX56699" fmla="*/ 4118788 w 6884782"/>
              <a:gd name="connsiteY56699" fmla="*/ 1362367 h 5973007"/>
              <a:gd name="connsiteX56700" fmla="*/ 4110464 w 6884782"/>
              <a:gd name="connsiteY56700" fmla="*/ 1357672 h 5973007"/>
              <a:gd name="connsiteX56701" fmla="*/ 1268503 w 6884782"/>
              <a:gd name="connsiteY56701" fmla="*/ 1357224 h 5973007"/>
              <a:gd name="connsiteX56702" fmla="*/ 1252705 w 6884782"/>
              <a:gd name="connsiteY56702" fmla="*/ 1372403 h 5973007"/>
              <a:gd name="connsiteX56703" fmla="*/ 1263340 w 6884782"/>
              <a:gd name="connsiteY56703" fmla="*/ 1358153 h 5973007"/>
              <a:gd name="connsiteX56704" fmla="*/ 1268503 w 6884782"/>
              <a:gd name="connsiteY56704" fmla="*/ 1357224 h 5973007"/>
              <a:gd name="connsiteX56705" fmla="*/ 1248678 w 6884782"/>
              <a:gd name="connsiteY56705" fmla="*/ 1356294 h 5973007"/>
              <a:gd name="connsiteX56706" fmla="*/ 1248574 w 6884782"/>
              <a:gd name="connsiteY56706" fmla="*/ 1377825 h 5973007"/>
              <a:gd name="connsiteX56707" fmla="*/ 1244238 w 6884782"/>
              <a:gd name="connsiteY56707" fmla="*/ 1367602 h 5973007"/>
              <a:gd name="connsiteX56708" fmla="*/ 1248678 w 6884782"/>
              <a:gd name="connsiteY56708" fmla="*/ 1356294 h 5973007"/>
              <a:gd name="connsiteX56709" fmla="*/ 4659167 w 6884782"/>
              <a:gd name="connsiteY56709" fmla="*/ 1356250 h 5973007"/>
              <a:gd name="connsiteX56710" fmla="*/ 4680082 w 6884782"/>
              <a:gd name="connsiteY56710" fmla="*/ 1375455 h 5973007"/>
              <a:gd name="connsiteX56711" fmla="*/ 4643373 w 6884782"/>
              <a:gd name="connsiteY56711" fmla="*/ 1382142 h 5973007"/>
              <a:gd name="connsiteX56712" fmla="*/ 4639318 w 6884782"/>
              <a:gd name="connsiteY56712" fmla="*/ 1372041 h 5973007"/>
              <a:gd name="connsiteX56713" fmla="*/ 4641453 w 6884782"/>
              <a:gd name="connsiteY56713" fmla="*/ 1365497 h 5973007"/>
              <a:gd name="connsiteX56714" fmla="*/ 4641239 w 6884782"/>
              <a:gd name="connsiteY56714" fmla="*/ 1364501 h 5973007"/>
              <a:gd name="connsiteX56715" fmla="*/ 4641879 w 6884782"/>
              <a:gd name="connsiteY56715" fmla="*/ 1364359 h 5973007"/>
              <a:gd name="connsiteX56716" fmla="*/ 4642093 w 6884782"/>
              <a:gd name="connsiteY56716" fmla="*/ 1363647 h 5973007"/>
              <a:gd name="connsiteX56717" fmla="*/ 4659167 w 6884782"/>
              <a:gd name="connsiteY56717" fmla="*/ 1356250 h 5973007"/>
              <a:gd name="connsiteX56718" fmla="*/ 5367934 w 6884782"/>
              <a:gd name="connsiteY56718" fmla="*/ 1355965 h 5973007"/>
              <a:gd name="connsiteX56719" fmla="*/ 5376684 w 6884782"/>
              <a:gd name="connsiteY56719" fmla="*/ 1359664 h 5973007"/>
              <a:gd name="connsiteX56720" fmla="*/ 5376257 w 6884782"/>
              <a:gd name="connsiteY56720" fmla="*/ 1362936 h 5973007"/>
              <a:gd name="connsiteX56721" fmla="*/ 5358970 w 6884782"/>
              <a:gd name="connsiteY56721" fmla="*/ 1363647 h 5973007"/>
              <a:gd name="connsiteX56722" fmla="*/ 5357263 w 6884782"/>
              <a:gd name="connsiteY56722" fmla="*/ 1358810 h 5973007"/>
              <a:gd name="connsiteX56723" fmla="*/ 5367934 w 6884782"/>
              <a:gd name="connsiteY56723" fmla="*/ 1355965 h 5973007"/>
              <a:gd name="connsiteX56724" fmla="*/ 5250126 w 6884782"/>
              <a:gd name="connsiteY56724" fmla="*/ 1355823 h 5973007"/>
              <a:gd name="connsiteX56725" fmla="*/ 5252900 w 6884782"/>
              <a:gd name="connsiteY56725" fmla="*/ 1376594 h 5973007"/>
              <a:gd name="connsiteX56726" fmla="*/ 5241589 w 6884782"/>
              <a:gd name="connsiteY56726" fmla="*/ 1375029 h 5973007"/>
              <a:gd name="connsiteX56727" fmla="*/ 5245431 w 6884782"/>
              <a:gd name="connsiteY56727" fmla="*/ 1356107 h 5973007"/>
              <a:gd name="connsiteX56728" fmla="*/ 5250126 w 6884782"/>
              <a:gd name="connsiteY56728" fmla="*/ 1355823 h 5973007"/>
              <a:gd name="connsiteX56729" fmla="*/ 4890514 w 6884782"/>
              <a:gd name="connsiteY56729" fmla="*/ 1355680 h 5973007"/>
              <a:gd name="connsiteX56730" fmla="*/ 4890941 w 6884782"/>
              <a:gd name="connsiteY56730" fmla="*/ 1356534 h 5973007"/>
              <a:gd name="connsiteX56731" fmla="*/ 4889233 w 6884782"/>
              <a:gd name="connsiteY56731" fmla="*/ 1361087 h 5973007"/>
              <a:gd name="connsiteX56732" fmla="*/ 4889660 w 6884782"/>
              <a:gd name="connsiteY56732" fmla="*/ 1356534 h 5973007"/>
              <a:gd name="connsiteX56733" fmla="*/ 4890514 w 6884782"/>
              <a:gd name="connsiteY56733" fmla="*/ 1355680 h 5973007"/>
              <a:gd name="connsiteX56734" fmla="*/ 4717003 w 6884782"/>
              <a:gd name="connsiteY56734" fmla="*/ 1355396 h 5973007"/>
              <a:gd name="connsiteX56735" fmla="*/ 4719351 w 6884782"/>
              <a:gd name="connsiteY56735" fmla="*/ 1359237 h 5973007"/>
              <a:gd name="connsiteX56736" fmla="*/ 4713162 w 6884782"/>
              <a:gd name="connsiteY56736" fmla="*/ 1370903 h 5973007"/>
              <a:gd name="connsiteX56737" fmla="*/ 4710600 w 6884782"/>
              <a:gd name="connsiteY56737" fmla="*/ 1363220 h 5973007"/>
              <a:gd name="connsiteX56738" fmla="*/ 4717003 w 6884782"/>
              <a:gd name="connsiteY56738" fmla="*/ 1355396 h 5973007"/>
              <a:gd name="connsiteX56739" fmla="*/ 3561122 w 6884782"/>
              <a:gd name="connsiteY56739" fmla="*/ 1355396 h 5973007"/>
              <a:gd name="connsiteX56740" fmla="*/ 3559841 w 6884782"/>
              <a:gd name="connsiteY56740" fmla="*/ 1365497 h 5973007"/>
              <a:gd name="connsiteX56741" fmla="*/ 3560055 w 6884782"/>
              <a:gd name="connsiteY56741" fmla="*/ 1356250 h 5973007"/>
              <a:gd name="connsiteX56742" fmla="*/ 3561122 w 6884782"/>
              <a:gd name="connsiteY56742" fmla="*/ 1355396 h 5973007"/>
              <a:gd name="connsiteX56743" fmla="*/ 1128591 w 6884782"/>
              <a:gd name="connsiteY56743" fmla="*/ 1355210 h 5973007"/>
              <a:gd name="connsiteX56744" fmla="*/ 1119401 w 6884782"/>
              <a:gd name="connsiteY56744" fmla="*/ 1364659 h 5973007"/>
              <a:gd name="connsiteX56745" fmla="*/ 1128591 w 6884782"/>
              <a:gd name="connsiteY56745" fmla="*/ 1355210 h 5973007"/>
              <a:gd name="connsiteX56746" fmla="*/ 1260575 w 6884782"/>
              <a:gd name="connsiteY56746" fmla="*/ 1354747 h 5973007"/>
              <a:gd name="connsiteX56747" fmla="*/ 1262307 w 6884782"/>
              <a:gd name="connsiteY56747" fmla="*/ 1354901 h 5973007"/>
              <a:gd name="connsiteX56748" fmla="*/ 1263237 w 6884782"/>
              <a:gd name="connsiteY56748" fmla="*/ 1357533 h 5973007"/>
              <a:gd name="connsiteX56749" fmla="*/ 1057137 w 6884782"/>
              <a:gd name="connsiteY56749" fmla="*/ 1354281 h 5973007"/>
              <a:gd name="connsiteX56750" fmla="*/ 1049084 w 6884782"/>
              <a:gd name="connsiteY56750" fmla="*/ 1362181 h 5973007"/>
              <a:gd name="connsiteX56751" fmla="*/ 1037416 w 6884782"/>
              <a:gd name="connsiteY56751" fmla="*/ 1366982 h 5973007"/>
              <a:gd name="connsiteX56752" fmla="*/ 1044643 w 6884782"/>
              <a:gd name="connsiteY56752" fmla="*/ 1356914 h 5973007"/>
              <a:gd name="connsiteX56753" fmla="*/ 1057137 w 6884782"/>
              <a:gd name="connsiteY56753" fmla="*/ 1354281 h 5973007"/>
              <a:gd name="connsiteX56754" fmla="*/ 4745815 w 6884782"/>
              <a:gd name="connsiteY56754" fmla="*/ 1354115 h 5973007"/>
              <a:gd name="connsiteX56755" fmla="*/ 4753284 w 6884782"/>
              <a:gd name="connsiteY56755" fmla="*/ 1357530 h 5973007"/>
              <a:gd name="connsiteX56756" fmla="*/ 4756699 w 6884782"/>
              <a:gd name="connsiteY56756" fmla="*/ 1379012 h 5973007"/>
              <a:gd name="connsiteX56757" fmla="*/ 4754351 w 6884782"/>
              <a:gd name="connsiteY56757" fmla="*/ 1381289 h 5973007"/>
              <a:gd name="connsiteX56758" fmla="*/ 4752218 w 6884782"/>
              <a:gd name="connsiteY56758" fmla="*/ 1385841 h 5973007"/>
              <a:gd name="connsiteX56759" fmla="*/ 4738132 w 6884782"/>
              <a:gd name="connsiteY56759" fmla="*/ 1379297 h 5973007"/>
              <a:gd name="connsiteX56760" fmla="*/ 4733650 w 6884782"/>
              <a:gd name="connsiteY56760" fmla="*/ 1358952 h 5973007"/>
              <a:gd name="connsiteX56761" fmla="*/ 4745815 w 6884782"/>
              <a:gd name="connsiteY56761" fmla="*/ 1354115 h 5973007"/>
              <a:gd name="connsiteX56762" fmla="*/ 1779621 w 6884782"/>
              <a:gd name="connsiteY56762" fmla="*/ 1353971 h 5973007"/>
              <a:gd name="connsiteX56763" fmla="*/ 1773013 w 6884782"/>
              <a:gd name="connsiteY56763" fmla="*/ 1354901 h 5973007"/>
              <a:gd name="connsiteX56764" fmla="*/ 1771670 w 6884782"/>
              <a:gd name="connsiteY56764" fmla="*/ 1354746 h 5973007"/>
              <a:gd name="connsiteX56765" fmla="*/ 1774252 w 6884782"/>
              <a:gd name="connsiteY56765" fmla="*/ 1356759 h 5973007"/>
              <a:gd name="connsiteX56766" fmla="*/ 1773219 w 6884782"/>
              <a:gd name="connsiteY56766" fmla="*/ 1357998 h 5973007"/>
              <a:gd name="connsiteX56767" fmla="*/ 1773219 w 6884782"/>
              <a:gd name="connsiteY56767" fmla="*/ 1358153 h 5973007"/>
              <a:gd name="connsiteX56768" fmla="*/ 1772703 w 6884782"/>
              <a:gd name="connsiteY56768" fmla="*/ 1358463 h 5973007"/>
              <a:gd name="connsiteX56769" fmla="*/ 1772394 w 6884782"/>
              <a:gd name="connsiteY56769" fmla="*/ 1358773 h 5973007"/>
              <a:gd name="connsiteX56770" fmla="*/ 1771051 w 6884782"/>
              <a:gd name="connsiteY56770" fmla="*/ 1362490 h 5973007"/>
              <a:gd name="connsiteX56771" fmla="*/ 1775284 w 6884782"/>
              <a:gd name="connsiteY56771" fmla="*/ 1372714 h 5973007"/>
              <a:gd name="connsiteX56772" fmla="*/ 1781893 w 6884782"/>
              <a:gd name="connsiteY56772" fmla="*/ 1381388 h 5973007"/>
              <a:gd name="connsiteX56773" fmla="*/ 1781893 w 6884782"/>
              <a:gd name="connsiteY56773" fmla="*/ 1388668 h 5973007"/>
              <a:gd name="connsiteX56774" fmla="*/ 1782926 w 6884782"/>
              <a:gd name="connsiteY56774" fmla="*/ 1384176 h 5973007"/>
              <a:gd name="connsiteX56775" fmla="*/ 1785610 w 6884782"/>
              <a:gd name="connsiteY56775" fmla="*/ 1389442 h 5973007"/>
              <a:gd name="connsiteX56776" fmla="*/ 1787159 w 6884782"/>
              <a:gd name="connsiteY56776" fmla="*/ 1388668 h 5973007"/>
              <a:gd name="connsiteX56777" fmla="*/ 1786952 w 6884782"/>
              <a:gd name="connsiteY56777" fmla="*/ 1397032 h 5973007"/>
              <a:gd name="connsiteX56778" fmla="*/ 1786126 w 6884782"/>
              <a:gd name="connsiteY56778" fmla="*/ 1396722 h 5973007"/>
              <a:gd name="connsiteX56779" fmla="*/ 1786126 w 6884782"/>
              <a:gd name="connsiteY56779" fmla="*/ 1397342 h 5973007"/>
              <a:gd name="connsiteX56780" fmla="*/ 1789431 w 6884782"/>
              <a:gd name="connsiteY56780" fmla="*/ 1409269 h 5973007"/>
              <a:gd name="connsiteX56781" fmla="*/ 1785094 w 6884782"/>
              <a:gd name="connsiteY56781" fmla="*/ 1410973 h 5973007"/>
              <a:gd name="connsiteX56782" fmla="*/ 1789224 w 6884782"/>
              <a:gd name="connsiteY56782" fmla="*/ 1416859 h 5973007"/>
              <a:gd name="connsiteX56783" fmla="*/ 1789740 w 6884782"/>
              <a:gd name="connsiteY56783" fmla="*/ 1415000 h 5973007"/>
              <a:gd name="connsiteX56784" fmla="*/ 1791496 w 6884782"/>
              <a:gd name="connsiteY56784" fmla="*/ 1414536 h 5973007"/>
              <a:gd name="connsiteX56785" fmla="*/ 1790463 w 6884782"/>
              <a:gd name="connsiteY56785" fmla="*/ 1408649 h 5973007"/>
              <a:gd name="connsiteX56786" fmla="*/ 1793251 w 6884782"/>
              <a:gd name="connsiteY56786" fmla="*/ 1412677 h 5973007"/>
              <a:gd name="connsiteX56787" fmla="*/ 1793561 w 6884782"/>
              <a:gd name="connsiteY56787" fmla="*/ 1413916 h 5973007"/>
              <a:gd name="connsiteX56788" fmla="*/ 1795109 w 6884782"/>
              <a:gd name="connsiteY56788" fmla="*/ 1413606 h 5973007"/>
              <a:gd name="connsiteX56789" fmla="*/ 1797794 w 6884782"/>
              <a:gd name="connsiteY56789" fmla="*/ 1415465 h 5973007"/>
              <a:gd name="connsiteX56790" fmla="*/ 1799756 w 6884782"/>
              <a:gd name="connsiteY56790" fmla="*/ 1415929 h 5973007"/>
              <a:gd name="connsiteX56791" fmla="*/ 1799963 w 6884782"/>
              <a:gd name="connsiteY56791" fmla="*/ 1415775 h 5973007"/>
              <a:gd name="connsiteX56792" fmla="*/ 1800066 w 6884782"/>
              <a:gd name="connsiteY56792" fmla="*/ 1416084 h 5973007"/>
              <a:gd name="connsiteX56793" fmla="*/ 1804093 w 6884782"/>
              <a:gd name="connsiteY56793" fmla="*/ 1417169 h 5973007"/>
              <a:gd name="connsiteX56794" fmla="*/ 1801615 w 6884782"/>
              <a:gd name="connsiteY56794" fmla="*/ 1420576 h 5973007"/>
              <a:gd name="connsiteX56795" fmla="*/ 1803164 w 6884782"/>
              <a:gd name="connsiteY56795" fmla="*/ 1423674 h 5973007"/>
              <a:gd name="connsiteX56796" fmla="*/ 1797485 w 6884782"/>
              <a:gd name="connsiteY56796" fmla="*/ 1425843 h 5973007"/>
              <a:gd name="connsiteX56797" fmla="*/ 1799653 w 6884782"/>
              <a:gd name="connsiteY56797" fmla="*/ 1429250 h 5973007"/>
              <a:gd name="connsiteX56798" fmla="*/ 1796452 w 6884782"/>
              <a:gd name="connsiteY56798" fmla="*/ 1426307 h 5973007"/>
              <a:gd name="connsiteX56799" fmla="*/ 1796142 w 6884782"/>
              <a:gd name="connsiteY56799" fmla="*/ 1426462 h 5973007"/>
              <a:gd name="connsiteX56800" fmla="*/ 1797485 w 6884782"/>
              <a:gd name="connsiteY56800" fmla="*/ 1431109 h 5973007"/>
              <a:gd name="connsiteX56801" fmla="*/ 1796968 w 6884782"/>
              <a:gd name="connsiteY56801" fmla="*/ 1440093 h 5973007"/>
              <a:gd name="connsiteX56802" fmla="*/ 1799653 w 6884782"/>
              <a:gd name="connsiteY56802" fmla="*/ 1444121 h 5973007"/>
              <a:gd name="connsiteX56803" fmla="*/ 1802028 w 6884782"/>
              <a:gd name="connsiteY56803" fmla="*/ 1446134 h 5973007"/>
              <a:gd name="connsiteX56804" fmla="*/ 1802544 w 6884782"/>
              <a:gd name="connsiteY56804" fmla="*/ 1445515 h 5973007"/>
              <a:gd name="connsiteX56805" fmla="*/ 1802751 w 6884782"/>
              <a:gd name="connsiteY56805" fmla="*/ 1444121 h 5973007"/>
              <a:gd name="connsiteX56806" fmla="*/ 1798517 w 6884782"/>
              <a:gd name="connsiteY56806" fmla="*/ 1437305 h 5973007"/>
              <a:gd name="connsiteX56807" fmla="*/ 1806158 w 6884782"/>
              <a:gd name="connsiteY56807" fmla="*/ 1440713 h 5973007"/>
              <a:gd name="connsiteX56808" fmla="*/ 1805642 w 6884782"/>
              <a:gd name="connsiteY56808" fmla="*/ 1444740 h 5973007"/>
              <a:gd name="connsiteX56809" fmla="*/ 1807810 w 6884782"/>
              <a:gd name="connsiteY56809" fmla="*/ 1444585 h 5973007"/>
              <a:gd name="connsiteX56810" fmla="*/ 1809049 w 6884782"/>
              <a:gd name="connsiteY56810" fmla="*/ 1447993 h 5973007"/>
              <a:gd name="connsiteX56811" fmla="*/ 1805229 w 6884782"/>
              <a:gd name="connsiteY56811" fmla="*/ 1450472 h 5973007"/>
              <a:gd name="connsiteX56812" fmla="*/ 1805642 w 6884782"/>
              <a:gd name="connsiteY56812" fmla="*/ 1453724 h 5973007"/>
              <a:gd name="connsiteX56813" fmla="*/ 1806158 w 6884782"/>
              <a:gd name="connsiteY56813" fmla="*/ 1454963 h 5973007"/>
              <a:gd name="connsiteX56814" fmla="*/ 1806158 w 6884782"/>
              <a:gd name="connsiteY56814" fmla="*/ 1455428 h 5973007"/>
              <a:gd name="connsiteX56815" fmla="*/ 1806158 w 6884782"/>
              <a:gd name="connsiteY56815" fmla="*/ 1456048 h 5973007"/>
              <a:gd name="connsiteX56816" fmla="*/ 1806674 w 6884782"/>
              <a:gd name="connsiteY56816" fmla="*/ 1457132 h 5973007"/>
              <a:gd name="connsiteX56817" fmla="*/ 1810495 w 6884782"/>
              <a:gd name="connsiteY56817" fmla="*/ 1456048 h 5973007"/>
              <a:gd name="connsiteX56818" fmla="*/ 1808327 w 6884782"/>
              <a:gd name="connsiteY56818" fmla="*/ 1458991 h 5973007"/>
              <a:gd name="connsiteX56819" fmla="*/ 1814212 w 6884782"/>
              <a:gd name="connsiteY56819" fmla="*/ 1463948 h 5973007"/>
              <a:gd name="connsiteX56820" fmla="*/ 1815348 w 6884782"/>
              <a:gd name="connsiteY56820" fmla="*/ 1465806 h 5973007"/>
              <a:gd name="connsiteX56821" fmla="*/ 1815864 w 6884782"/>
              <a:gd name="connsiteY56821" fmla="*/ 1466890 h 5973007"/>
              <a:gd name="connsiteX56822" fmla="*/ 1816380 w 6884782"/>
              <a:gd name="connsiteY56822" fmla="*/ 1466890 h 5973007"/>
              <a:gd name="connsiteX56823" fmla="*/ 1816380 w 6884782"/>
              <a:gd name="connsiteY56823" fmla="*/ 1467510 h 5973007"/>
              <a:gd name="connsiteX56824" fmla="*/ 1819168 w 6884782"/>
              <a:gd name="connsiteY56824" fmla="*/ 1473241 h 5973007"/>
              <a:gd name="connsiteX56825" fmla="*/ 1822472 w 6884782"/>
              <a:gd name="connsiteY56825" fmla="*/ 1479282 h 5973007"/>
              <a:gd name="connsiteX56826" fmla="*/ 1822369 w 6884782"/>
              <a:gd name="connsiteY56826" fmla="*/ 1478353 h 5973007"/>
              <a:gd name="connsiteX56827" fmla="*/ 1822989 w 6884782"/>
              <a:gd name="connsiteY56827" fmla="*/ 1473706 h 5973007"/>
              <a:gd name="connsiteX56828" fmla="*/ 1823815 w 6884782"/>
              <a:gd name="connsiteY56828" fmla="*/ 1473706 h 5973007"/>
              <a:gd name="connsiteX56829" fmla="*/ 1824847 w 6884782"/>
              <a:gd name="connsiteY56829" fmla="*/ 1482535 h 5973007"/>
              <a:gd name="connsiteX56830" fmla="*/ 1824641 w 6884782"/>
              <a:gd name="connsiteY56830" fmla="*/ 1483154 h 5973007"/>
              <a:gd name="connsiteX56831" fmla="*/ 1830423 w 6884782"/>
              <a:gd name="connsiteY56831" fmla="*/ 1493687 h 5973007"/>
              <a:gd name="connsiteX56832" fmla="*/ 1839613 w 6884782"/>
              <a:gd name="connsiteY56832" fmla="*/ 1506854 h 5973007"/>
              <a:gd name="connsiteX56833" fmla="*/ 1841059 w 6884782"/>
              <a:gd name="connsiteY56833" fmla="*/ 1508712 h 5973007"/>
              <a:gd name="connsiteX56834" fmla="*/ 1842298 w 6884782"/>
              <a:gd name="connsiteY56834" fmla="*/ 1507008 h 5973007"/>
              <a:gd name="connsiteX56835" fmla="*/ 1846531 w 6884782"/>
              <a:gd name="connsiteY56835" fmla="*/ 1506234 h 5973007"/>
              <a:gd name="connsiteX56836" fmla="*/ 1849939 w 6884782"/>
              <a:gd name="connsiteY56836" fmla="*/ 1507318 h 5973007"/>
              <a:gd name="connsiteX56837" fmla="*/ 1849216 w 6884782"/>
              <a:gd name="connsiteY56837" fmla="*/ 1504530 h 5973007"/>
              <a:gd name="connsiteX56838" fmla="*/ 1846738 w 6884782"/>
              <a:gd name="connsiteY56838" fmla="*/ 1501742 h 5973007"/>
              <a:gd name="connsiteX56839" fmla="*/ 1849939 w 6884782"/>
              <a:gd name="connsiteY56839" fmla="*/ 1501122 h 5973007"/>
              <a:gd name="connsiteX56840" fmla="*/ 1847254 w 6884782"/>
              <a:gd name="connsiteY56840" fmla="*/ 1496475 h 5973007"/>
              <a:gd name="connsiteX56841" fmla="*/ 1847254 w 6884782"/>
              <a:gd name="connsiteY56841" fmla="*/ 1499883 h 5973007"/>
              <a:gd name="connsiteX56842" fmla="*/ 1831559 w 6884782"/>
              <a:gd name="connsiteY56842" fmla="*/ 1471383 h 5973007"/>
              <a:gd name="connsiteX56843" fmla="*/ 1829391 w 6884782"/>
              <a:gd name="connsiteY56843" fmla="*/ 1467510 h 5973007"/>
              <a:gd name="connsiteX56844" fmla="*/ 1826706 w 6884782"/>
              <a:gd name="connsiteY56844" fmla="*/ 1461779 h 5973007"/>
              <a:gd name="connsiteX56845" fmla="*/ 1826706 w 6884782"/>
              <a:gd name="connsiteY56845" fmla="*/ 1461159 h 5973007"/>
              <a:gd name="connsiteX56846" fmla="*/ 1826087 w 6884782"/>
              <a:gd name="connsiteY56846" fmla="*/ 1461159 h 5973007"/>
              <a:gd name="connsiteX56847" fmla="*/ 1825570 w 6884782"/>
              <a:gd name="connsiteY56847" fmla="*/ 1460075 h 5973007"/>
              <a:gd name="connsiteX56848" fmla="*/ 1824022 w 6884782"/>
              <a:gd name="connsiteY56848" fmla="*/ 1455428 h 5973007"/>
              <a:gd name="connsiteX56849" fmla="*/ 1822886 w 6884782"/>
              <a:gd name="connsiteY56849" fmla="*/ 1451556 h 5973007"/>
              <a:gd name="connsiteX56850" fmla="*/ 1822369 w 6884782"/>
              <a:gd name="connsiteY56850" fmla="*/ 1449232 h 5973007"/>
              <a:gd name="connsiteX56851" fmla="*/ 1822369 w 6884782"/>
              <a:gd name="connsiteY56851" fmla="*/ 1448148 h 5973007"/>
              <a:gd name="connsiteX56852" fmla="*/ 1822369 w 6884782"/>
              <a:gd name="connsiteY56852" fmla="*/ 1446289 h 5973007"/>
              <a:gd name="connsiteX56853" fmla="*/ 1821130 w 6884782"/>
              <a:gd name="connsiteY56853" fmla="*/ 1445360 h 5973007"/>
              <a:gd name="connsiteX56854" fmla="*/ 1820924 w 6884782"/>
              <a:gd name="connsiteY56854" fmla="*/ 1445825 h 5973007"/>
              <a:gd name="connsiteX56855" fmla="*/ 1821130 w 6884782"/>
              <a:gd name="connsiteY56855" fmla="*/ 1446134 h 5973007"/>
              <a:gd name="connsiteX56856" fmla="*/ 1820717 w 6884782"/>
              <a:gd name="connsiteY56856" fmla="*/ 1448148 h 5973007"/>
              <a:gd name="connsiteX56857" fmla="*/ 1820717 w 6884782"/>
              <a:gd name="connsiteY56857" fmla="*/ 1448612 h 5973007"/>
              <a:gd name="connsiteX56858" fmla="*/ 1821234 w 6884782"/>
              <a:gd name="connsiteY56858" fmla="*/ 1449232 h 5973007"/>
              <a:gd name="connsiteX56859" fmla="*/ 1819685 w 6884782"/>
              <a:gd name="connsiteY56859" fmla="*/ 1448612 h 5973007"/>
              <a:gd name="connsiteX56860" fmla="*/ 1819478 w 6884782"/>
              <a:gd name="connsiteY56860" fmla="*/ 1448458 h 5973007"/>
              <a:gd name="connsiteX56861" fmla="*/ 1818239 w 6884782"/>
              <a:gd name="connsiteY56861" fmla="*/ 1448148 h 5973007"/>
              <a:gd name="connsiteX56862" fmla="*/ 1815554 w 6884782"/>
              <a:gd name="connsiteY56862" fmla="*/ 1441952 h 5973007"/>
              <a:gd name="connsiteX56863" fmla="*/ 1815761 w 6884782"/>
              <a:gd name="connsiteY56863" fmla="*/ 1440558 h 5973007"/>
              <a:gd name="connsiteX56864" fmla="*/ 1817413 w 6884782"/>
              <a:gd name="connsiteY56864" fmla="*/ 1441952 h 5973007"/>
              <a:gd name="connsiteX56865" fmla="*/ 1818033 w 6884782"/>
              <a:gd name="connsiteY56865" fmla="*/ 1440093 h 5973007"/>
              <a:gd name="connsiteX56866" fmla="*/ 1809359 w 6884782"/>
              <a:gd name="connsiteY56866" fmla="*/ 1426462 h 5973007"/>
              <a:gd name="connsiteX56867" fmla="*/ 1806674 w 6884782"/>
              <a:gd name="connsiteY56867" fmla="*/ 1419027 h 5973007"/>
              <a:gd name="connsiteX56868" fmla="*/ 1805642 w 6884782"/>
              <a:gd name="connsiteY56868" fmla="*/ 1417169 h 5973007"/>
              <a:gd name="connsiteX56869" fmla="*/ 1804506 w 6884782"/>
              <a:gd name="connsiteY56869" fmla="*/ 1415620 h 5973007"/>
              <a:gd name="connsiteX56870" fmla="*/ 1802337 w 6884782"/>
              <a:gd name="connsiteY56870" fmla="*/ 1412212 h 5973007"/>
              <a:gd name="connsiteX56871" fmla="*/ 1802337 w 6884782"/>
              <a:gd name="connsiteY56871" fmla="*/ 1402454 h 5973007"/>
              <a:gd name="connsiteX56872" fmla="*/ 1801821 w 6884782"/>
              <a:gd name="connsiteY56872" fmla="*/ 1395018 h 5973007"/>
              <a:gd name="connsiteX56873" fmla="*/ 1796968 w 6884782"/>
              <a:gd name="connsiteY56873" fmla="*/ 1394399 h 5973007"/>
              <a:gd name="connsiteX56874" fmla="*/ 1792838 w 6884782"/>
              <a:gd name="connsiteY56874" fmla="*/ 1384331 h 5973007"/>
              <a:gd name="connsiteX56875" fmla="*/ 1791186 w 6884782"/>
              <a:gd name="connsiteY56875" fmla="*/ 1380148 h 5973007"/>
              <a:gd name="connsiteX56876" fmla="*/ 1785507 w 6884782"/>
              <a:gd name="connsiteY56876" fmla="*/ 1376121 h 5973007"/>
              <a:gd name="connsiteX56877" fmla="*/ 1786023 w 6884782"/>
              <a:gd name="connsiteY56877" fmla="*/ 1374417 h 5973007"/>
              <a:gd name="connsiteX56878" fmla="*/ 1785300 w 6884782"/>
              <a:gd name="connsiteY56878" fmla="*/ 1374727 h 5973007"/>
              <a:gd name="connsiteX56879" fmla="*/ 1785507 w 6884782"/>
              <a:gd name="connsiteY56879" fmla="*/ 1375811 h 5973007"/>
              <a:gd name="connsiteX56880" fmla="*/ 1785094 w 6884782"/>
              <a:gd name="connsiteY56880" fmla="*/ 1376895 h 5973007"/>
              <a:gd name="connsiteX56881" fmla="*/ 1782512 w 6884782"/>
              <a:gd name="connsiteY56881" fmla="*/ 1369770 h 5973007"/>
              <a:gd name="connsiteX56882" fmla="*/ 1784784 w 6884782"/>
              <a:gd name="connsiteY56882" fmla="*/ 1372559 h 5973007"/>
              <a:gd name="connsiteX56883" fmla="*/ 1784887 w 6884782"/>
              <a:gd name="connsiteY56883" fmla="*/ 1372714 h 5973007"/>
              <a:gd name="connsiteX56884" fmla="*/ 1785817 w 6884782"/>
              <a:gd name="connsiteY56884" fmla="*/ 1372714 h 5973007"/>
              <a:gd name="connsiteX56885" fmla="*/ 1786643 w 6884782"/>
              <a:gd name="connsiteY56885" fmla="*/ 1371010 h 5973007"/>
              <a:gd name="connsiteX56886" fmla="*/ 1784577 w 6884782"/>
              <a:gd name="connsiteY56886" fmla="*/ 1368841 h 5973007"/>
              <a:gd name="connsiteX56887" fmla="*/ 1783958 w 6884782"/>
              <a:gd name="connsiteY56887" fmla="*/ 1365433 h 5973007"/>
              <a:gd name="connsiteX56888" fmla="*/ 1779621 w 6884782"/>
              <a:gd name="connsiteY56888" fmla="*/ 1359702 h 5973007"/>
              <a:gd name="connsiteX56889" fmla="*/ 1782409 w 6884782"/>
              <a:gd name="connsiteY56889" fmla="*/ 1357379 h 5973007"/>
              <a:gd name="connsiteX56890" fmla="*/ 5024541 w 6884782"/>
              <a:gd name="connsiteY56890" fmla="*/ 1353546 h 5973007"/>
              <a:gd name="connsiteX56891" fmla="*/ 5027529 w 6884782"/>
              <a:gd name="connsiteY56891" fmla="*/ 1361229 h 5973007"/>
              <a:gd name="connsiteX56892" fmla="*/ 5027956 w 6884782"/>
              <a:gd name="connsiteY56892" fmla="*/ 1370476 h 5973007"/>
              <a:gd name="connsiteX56893" fmla="*/ 5031157 w 6884782"/>
              <a:gd name="connsiteY56893" fmla="*/ 1372468 h 5973007"/>
              <a:gd name="connsiteX56894" fmla="*/ 5031584 w 6884782"/>
              <a:gd name="connsiteY56894" fmla="*/ 1376167 h 5973007"/>
              <a:gd name="connsiteX56895" fmla="*/ 5007894 w 6884782"/>
              <a:gd name="connsiteY56895" fmla="*/ 1380008 h 5973007"/>
              <a:gd name="connsiteX56896" fmla="*/ 5008962 w 6884782"/>
              <a:gd name="connsiteY56896" fmla="*/ 1375313 h 5973007"/>
              <a:gd name="connsiteX56897" fmla="*/ 5014937 w 6884782"/>
              <a:gd name="connsiteY56897" fmla="*/ 1371188 h 5973007"/>
              <a:gd name="connsiteX56898" fmla="*/ 5020486 w 6884782"/>
              <a:gd name="connsiteY56898" fmla="*/ 1368911 h 5973007"/>
              <a:gd name="connsiteX56899" fmla="*/ 5020059 w 6884782"/>
              <a:gd name="connsiteY56899" fmla="*/ 1360375 h 5973007"/>
              <a:gd name="connsiteX56900" fmla="*/ 5024541 w 6884782"/>
              <a:gd name="connsiteY56900" fmla="*/ 1353546 h 5973007"/>
              <a:gd name="connsiteX56901" fmla="*/ 3585238 w 6884782"/>
              <a:gd name="connsiteY56901" fmla="*/ 1353262 h 5973007"/>
              <a:gd name="connsiteX56902" fmla="*/ 3588440 w 6884782"/>
              <a:gd name="connsiteY56902" fmla="*/ 1355396 h 5973007"/>
              <a:gd name="connsiteX56903" fmla="*/ 3586305 w 6884782"/>
              <a:gd name="connsiteY56903" fmla="*/ 1358241 h 5973007"/>
              <a:gd name="connsiteX56904" fmla="*/ 3587373 w 6884782"/>
              <a:gd name="connsiteY56904" fmla="*/ 1358241 h 5973007"/>
              <a:gd name="connsiteX56905" fmla="*/ 3586732 w 6884782"/>
              <a:gd name="connsiteY56905" fmla="*/ 1369053 h 5973007"/>
              <a:gd name="connsiteX56906" fmla="*/ 3580970 w 6884782"/>
              <a:gd name="connsiteY56906" fmla="*/ 1372468 h 5973007"/>
              <a:gd name="connsiteX56907" fmla="*/ 3570512 w 6884782"/>
              <a:gd name="connsiteY56907" fmla="*/ 1369481 h 5973007"/>
              <a:gd name="connsiteX56908" fmla="*/ 3571366 w 6884782"/>
              <a:gd name="connsiteY56908" fmla="*/ 1363647 h 5973007"/>
              <a:gd name="connsiteX56909" fmla="*/ 3577341 w 6884782"/>
              <a:gd name="connsiteY56909" fmla="*/ 1359522 h 5973007"/>
              <a:gd name="connsiteX56910" fmla="*/ 3582037 w 6884782"/>
              <a:gd name="connsiteY56910" fmla="*/ 1358383 h 5973007"/>
              <a:gd name="connsiteX56911" fmla="*/ 3581824 w 6884782"/>
              <a:gd name="connsiteY56911" fmla="*/ 1356107 h 5973007"/>
              <a:gd name="connsiteX56912" fmla="*/ 3585238 w 6884782"/>
              <a:gd name="connsiteY56912" fmla="*/ 1353262 h 5973007"/>
              <a:gd name="connsiteX56913" fmla="*/ 1258797 w 6884782"/>
              <a:gd name="connsiteY56913" fmla="*/ 1352887 h 5973007"/>
              <a:gd name="connsiteX56914" fmla="*/ 1260575 w 6884782"/>
              <a:gd name="connsiteY56914" fmla="*/ 1354747 h 5973007"/>
              <a:gd name="connsiteX56915" fmla="*/ 1260552 w 6884782"/>
              <a:gd name="connsiteY56915" fmla="*/ 1354746 h 5973007"/>
              <a:gd name="connsiteX56916" fmla="*/ 1258797 w 6884782"/>
              <a:gd name="connsiteY56916" fmla="*/ 1352887 h 5973007"/>
              <a:gd name="connsiteX56917" fmla="*/ 3532737 w 6884782"/>
              <a:gd name="connsiteY56917" fmla="*/ 1352693 h 5973007"/>
              <a:gd name="connsiteX56918" fmla="*/ 3536578 w 6884782"/>
              <a:gd name="connsiteY56918" fmla="*/ 1356392 h 5973007"/>
              <a:gd name="connsiteX56919" fmla="*/ 3535298 w 6884782"/>
              <a:gd name="connsiteY56919" fmla="*/ 1358668 h 5973007"/>
              <a:gd name="connsiteX56920" fmla="*/ 3532523 w 6884782"/>
              <a:gd name="connsiteY56920" fmla="*/ 1360660 h 5973007"/>
              <a:gd name="connsiteX56921" fmla="*/ 3528042 w 6884782"/>
              <a:gd name="connsiteY56921" fmla="*/ 1355965 h 5973007"/>
              <a:gd name="connsiteX56922" fmla="*/ 3529322 w 6884782"/>
              <a:gd name="connsiteY56922" fmla="*/ 1353546 h 5973007"/>
              <a:gd name="connsiteX56923" fmla="*/ 3532737 w 6884782"/>
              <a:gd name="connsiteY56923" fmla="*/ 1352693 h 5973007"/>
              <a:gd name="connsiteX56924" fmla="*/ 4872159 w 6884782"/>
              <a:gd name="connsiteY56924" fmla="*/ 1351981 h 5973007"/>
              <a:gd name="connsiteX56925" fmla="*/ 4878135 w 6884782"/>
              <a:gd name="connsiteY56925" fmla="*/ 1357245 h 5973007"/>
              <a:gd name="connsiteX56926" fmla="*/ 4877922 w 6884782"/>
              <a:gd name="connsiteY56926" fmla="*/ 1360944 h 5973007"/>
              <a:gd name="connsiteX56927" fmla="*/ 4875147 w 6884782"/>
              <a:gd name="connsiteY56927" fmla="*/ 1364074 h 5973007"/>
              <a:gd name="connsiteX56928" fmla="*/ 4871946 w 6884782"/>
              <a:gd name="connsiteY56928" fmla="*/ 1364928 h 5973007"/>
              <a:gd name="connsiteX56929" fmla="*/ 4866184 w 6884782"/>
              <a:gd name="connsiteY56929" fmla="*/ 1361229 h 5973007"/>
              <a:gd name="connsiteX56930" fmla="*/ 4872159 w 6884782"/>
              <a:gd name="connsiteY56930" fmla="*/ 1351981 h 5973007"/>
              <a:gd name="connsiteX56931" fmla="*/ 4420350 w 6884782"/>
              <a:gd name="connsiteY56931" fmla="*/ 1351981 h 5973007"/>
              <a:gd name="connsiteX56932" fmla="*/ 4424191 w 6884782"/>
              <a:gd name="connsiteY56932" fmla="*/ 1351981 h 5973007"/>
              <a:gd name="connsiteX56933" fmla="*/ 4417148 w 6884782"/>
              <a:gd name="connsiteY56933" fmla="*/ 1356250 h 5973007"/>
              <a:gd name="connsiteX56934" fmla="*/ 4416935 w 6884782"/>
              <a:gd name="connsiteY56934" fmla="*/ 1352550 h 5973007"/>
              <a:gd name="connsiteX56935" fmla="*/ 4420350 w 6884782"/>
              <a:gd name="connsiteY56935" fmla="*/ 1351981 h 5973007"/>
              <a:gd name="connsiteX56936" fmla="*/ 4281840 w 6884782"/>
              <a:gd name="connsiteY56936" fmla="*/ 1351555 h 5973007"/>
              <a:gd name="connsiteX56937" fmla="*/ 4283974 w 6884782"/>
              <a:gd name="connsiteY56937" fmla="*/ 1351555 h 5973007"/>
              <a:gd name="connsiteX56938" fmla="*/ 4286749 w 6884782"/>
              <a:gd name="connsiteY56938" fmla="*/ 1352835 h 5973007"/>
              <a:gd name="connsiteX56939" fmla="*/ 4286322 w 6884782"/>
              <a:gd name="connsiteY56939" fmla="*/ 1355538 h 5973007"/>
              <a:gd name="connsiteX56940" fmla="*/ 4286962 w 6884782"/>
              <a:gd name="connsiteY56940" fmla="*/ 1357672 h 5973007"/>
              <a:gd name="connsiteX56941" fmla="*/ 4285895 w 6884782"/>
              <a:gd name="connsiteY56941" fmla="*/ 1358241 h 5973007"/>
              <a:gd name="connsiteX56942" fmla="*/ 4285041 w 6884782"/>
              <a:gd name="connsiteY56942" fmla="*/ 1359806 h 5973007"/>
              <a:gd name="connsiteX56943" fmla="*/ 4280133 w 6884782"/>
              <a:gd name="connsiteY56943" fmla="*/ 1359379 h 5973007"/>
              <a:gd name="connsiteX56944" fmla="*/ 4277999 w 6884782"/>
              <a:gd name="connsiteY56944" fmla="*/ 1357672 h 5973007"/>
              <a:gd name="connsiteX56945" fmla="*/ 4277572 w 6884782"/>
              <a:gd name="connsiteY56945" fmla="*/ 1355396 h 5973007"/>
              <a:gd name="connsiteX56946" fmla="*/ 4279493 w 6884782"/>
              <a:gd name="connsiteY56946" fmla="*/ 1353404 h 5973007"/>
              <a:gd name="connsiteX56947" fmla="*/ 4281840 w 6884782"/>
              <a:gd name="connsiteY56947" fmla="*/ 1351555 h 5973007"/>
              <a:gd name="connsiteX56948" fmla="*/ 1706309 w 6884782"/>
              <a:gd name="connsiteY56948" fmla="*/ 1350563 h 5973007"/>
              <a:gd name="connsiteX56949" fmla="*/ 1709200 w 6884782"/>
              <a:gd name="connsiteY56949" fmla="*/ 1350718 h 5973007"/>
              <a:gd name="connsiteX56950" fmla="*/ 1709613 w 6884782"/>
              <a:gd name="connsiteY56950" fmla="*/ 1354281 h 5973007"/>
              <a:gd name="connsiteX56951" fmla="*/ 1707032 w 6884782"/>
              <a:gd name="connsiteY56951" fmla="*/ 1354901 h 5973007"/>
              <a:gd name="connsiteX56952" fmla="*/ 1706309 w 6884782"/>
              <a:gd name="connsiteY56952" fmla="*/ 1350563 h 5973007"/>
              <a:gd name="connsiteX56953" fmla="*/ 1369281 w 6884782"/>
              <a:gd name="connsiteY56953" fmla="*/ 1350254 h 5973007"/>
              <a:gd name="connsiteX56954" fmla="*/ 1411409 w 6884782"/>
              <a:gd name="connsiteY56954" fmla="*/ 1368531 h 5973007"/>
              <a:gd name="connsiteX56955" fmla="*/ 1407589 w 6884782"/>
              <a:gd name="connsiteY56955" fmla="*/ 1402608 h 5973007"/>
              <a:gd name="connsiteX56956" fmla="*/ 1391171 w 6884782"/>
              <a:gd name="connsiteY56956" fmla="*/ 1415620 h 5973007"/>
              <a:gd name="connsiteX56957" fmla="*/ 1364634 w 6884782"/>
              <a:gd name="connsiteY56957" fmla="*/ 1417169 h 5973007"/>
              <a:gd name="connsiteX56958" fmla="*/ 1361950 w 6884782"/>
              <a:gd name="connsiteY56958" fmla="*/ 1414536 h 5973007"/>
              <a:gd name="connsiteX56959" fmla="*/ 1359162 w 6884782"/>
              <a:gd name="connsiteY56959" fmla="*/ 1416239 h 5973007"/>
              <a:gd name="connsiteX56960" fmla="*/ 1358645 w 6884782"/>
              <a:gd name="connsiteY56960" fmla="*/ 1413141 h 5973007"/>
              <a:gd name="connsiteX56961" fmla="*/ 1358852 w 6884782"/>
              <a:gd name="connsiteY56961" fmla="*/ 1411747 h 5973007"/>
              <a:gd name="connsiteX56962" fmla="*/ 1353999 w 6884782"/>
              <a:gd name="connsiteY56962" fmla="*/ 1407255 h 5973007"/>
              <a:gd name="connsiteX56963" fmla="*/ 1348423 w 6884782"/>
              <a:gd name="connsiteY56963" fmla="*/ 1401989 h 5973007"/>
              <a:gd name="connsiteX56964" fmla="*/ 1345738 w 6884782"/>
              <a:gd name="connsiteY56964" fmla="*/ 1401679 h 5973007"/>
              <a:gd name="connsiteX56965" fmla="*/ 1345532 w 6884782"/>
              <a:gd name="connsiteY56965" fmla="*/ 1399355 h 5973007"/>
              <a:gd name="connsiteX56966" fmla="*/ 1343260 w 6884782"/>
              <a:gd name="connsiteY56966" fmla="*/ 1397342 h 5973007"/>
              <a:gd name="connsiteX56967" fmla="*/ 1349972 w 6884782"/>
              <a:gd name="connsiteY56967" fmla="*/ 1361716 h 5973007"/>
              <a:gd name="connsiteX56968" fmla="*/ 1369281 w 6884782"/>
              <a:gd name="connsiteY56968" fmla="*/ 1350254 h 5973007"/>
              <a:gd name="connsiteX56969" fmla="*/ 3599324 w 6884782"/>
              <a:gd name="connsiteY56969" fmla="*/ 1349847 h 5973007"/>
              <a:gd name="connsiteX56970" fmla="*/ 3602739 w 6884782"/>
              <a:gd name="connsiteY56970" fmla="*/ 1349989 h 5973007"/>
              <a:gd name="connsiteX56971" fmla="*/ 3607434 w 6884782"/>
              <a:gd name="connsiteY56971" fmla="*/ 1357387 h 5973007"/>
              <a:gd name="connsiteX56972" fmla="*/ 3600818 w 6884782"/>
              <a:gd name="connsiteY56972" fmla="*/ 1357387 h 5973007"/>
              <a:gd name="connsiteX56973" fmla="*/ 3599537 w 6884782"/>
              <a:gd name="connsiteY56973" fmla="*/ 1356250 h 5973007"/>
              <a:gd name="connsiteX56974" fmla="*/ 3598684 w 6884782"/>
              <a:gd name="connsiteY56974" fmla="*/ 1355253 h 5973007"/>
              <a:gd name="connsiteX56975" fmla="*/ 3596549 w 6884782"/>
              <a:gd name="connsiteY56975" fmla="*/ 1352835 h 5973007"/>
              <a:gd name="connsiteX56976" fmla="*/ 3599324 w 6884782"/>
              <a:gd name="connsiteY56976" fmla="*/ 1349847 h 5973007"/>
              <a:gd name="connsiteX56977" fmla="*/ 4253028 w 6884782"/>
              <a:gd name="connsiteY56977" fmla="*/ 1349705 h 5973007"/>
              <a:gd name="connsiteX56978" fmla="*/ 4257511 w 6884782"/>
              <a:gd name="connsiteY56978" fmla="*/ 1350701 h 5973007"/>
              <a:gd name="connsiteX56979" fmla="*/ 4261992 w 6884782"/>
              <a:gd name="connsiteY56979" fmla="*/ 1352693 h 5973007"/>
              <a:gd name="connsiteX56980" fmla="*/ 4262846 w 6884782"/>
              <a:gd name="connsiteY56980" fmla="*/ 1354684 h 5973007"/>
              <a:gd name="connsiteX56981" fmla="*/ 4257297 w 6884782"/>
              <a:gd name="connsiteY56981" fmla="*/ 1353688 h 5973007"/>
              <a:gd name="connsiteX56982" fmla="*/ 4955820 w 6884782"/>
              <a:gd name="connsiteY56982" fmla="*/ 1349421 h 5973007"/>
              <a:gd name="connsiteX56983" fmla="*/ 4953686 w 6884782"/>
              <a:gd name="connsiteY56983" fmla="*/ 1356676 h 5973007"/>
              <a:gd name="connsiteX56984" fmla="*/ 4955820 w 6884782"/>
              <a:gd name="connsiteY56984" fmla="*/ 1349421 h 5973007"/>
              <a:gd name="connsiteX56985" fmla="*/ 4917404 w 6884782"/>
              <a:gd name="connsiteY56985" fmla="*/ 1348709 h 5973007"/>
              <a:gd name="connsiteX56986" fmla="*/ 4916124 w 6884782"/>
              <a:gd name="connsiteY56986" fmla="*/ 1410596 h 5973007"/>
              <a:gd name="connsiteX56987" fmla="*/ 4903745 w 6884782"/>
              <a:gd name="connsiteY56987" fmla="*/ 1408178 h 5973007"/>
              <a:gd name="connsiteX56988" fmla="*/ 4907160 w 6884782"/>
              <a:gd name="connsiteY56988" fmla="*/ 1392528 h 5973007"/>
              <a:gd name="connsiteX56989" fmla="*/ 4906733 w 6884782"/>
              <a:gd name="connsiteY56989" fmla="*/ 1390394 h 5973007"/>
              <a:gd name="connsiteX56990" fmla="*/ 4907374 w 6884782"/>
              <a:gd name="connsiteY56990" fmla="*/ 1387264 h 5973007"/>
              <a:gd name="connsiteX56991" fmla="*/ 4908654 w 6884782"/>
              <a:gd name="connsiteY56991" fmla="*/ 1386837 h 5973007"/>
              <a:gd name="connsiteX56992" fmla="*/ 4910788 w 6884782"/>
              <a:gd name="connsiteY56992" fmla="*/ 1377163 h 5973007"/>
              <a:gd name="connsiteX56993" fmla="*/ 4917404 w 6884782"/>
              <a:gd name="connsiteY56993" fmla="*/ 1348709 h 5973007"/>
              <a:gd name="connsiteX56994" fmla="*/ 981244 w 6884782"/>
              <a:gd name="connsiteY56994" fmla="*/ 1348550 h 5973007"/>
              <a:gd name="connsiteX56995" fmla="*/ 986407 w 6884782"/>
              <a:gd name="connsiteY56995" fmla="*/ 1352422 h 5973007"/>
              <a:gd name="connsiteX56996" fmla="*/ 980934 w 6884782"/>
              <a:gd name="connsiteY56996" fmla="*/ 1357689 h 5973007"/>
              <a:gd name="connsiteX56997" fmla="*/ 977527 w 6884782"/>
              <a:gd name="connsiteY56997" fmla="*/ 1354591 h 5973007"/>
              <a:gd name="connsiteX56998" fmla="*/ 981244 w 6884782"/>
              <a:gd name="connsiteY56998" fmla="*/ 1348550 h 5973007"/>
              <a:gd name="connsiteX56999" fmla="*/ 1353379 w 6884782"/>
              <a:gd name="connsiteY56999" fmla="*/ 1348394 h 5973007"/>
              <a:gd name="connsiteX57000" fmla="*/ 1354619 w 6884782"/>
              <a:gd name="connsiteY57000" fmla="*/ 1351338 h 5973007"/>
              <a:gd name="connsiteX57001" fmla="*/ 1353793 w 6884782"/>
              <a:gd name="connsiteY57001" fmla="*/ 1351647 h 5973007"/>
              <a:gd name="connsiteX57002" fmla="*/ 1352657 w 6884782"/>
              <a:gd name="connsiteY57002" fmla="*/ 1350254 h 5973007"/>
              <a:gd name="connsiteX57003" fmla="*/ 1353379 w 6884782"/>
              <a:gd name="connsiteY57003" fmla="*/ 1348394 h 5973007"/>
              <a:gd name="connsiteX57004" fmla="*/ 1716532 w 6884782"/>
              <a:gd name="connsiteY57004" fmla="*/ 1347620 h 5973007"/>
              <a:gd name="connsiteX57005" fmla="*/ 1725928 w 6884782"/>
              <a:gd name="connsiteY57005" fmla="*/ 1353971 h 5973007"/>
              <a:gd name="connsiteX57006" fmla="*/ 1720972 w 6884782"/>
              <a:gd name="connsiteY57006" fmla="*/ 1356449 h 5973007"/>
              <a:gd name="connsiteX57007" fmla="*/ 1716532 w 6884782"/>
              <a:gd name="connsiteY57007" fmla="*/ 1347620 h 5973007"/>
              <a:gd name="connsiteX57008" fmla="*/ 3997352 w 6884782"/>
              <a:gd name="connsiteY57008" fmla="*/ 1347571 h 5973007"/>
              <a:gd name="connsiteX57009" fmla="*/ 3998419 w 6884782"/>
              <a:gd name="connsiteY57009" fmla="*/ 1348994 h 5973007"/>
              <a:gd name="connsiteX57010" fmla="*/ 3999059 w 6884782"/>
              <a:gd name="connsiteY57010" fmla="*/ 1351839 h 5973007"/>
              <a:gd name="connsiteX57011" fmla="*/ 3993297 w 6884782"/>
              <a:gd name="connsiteY57011" fmla="*/ 1353404 h 5973007"/>
              <a:gd name="connsiteX57012" fmla="*/ 3990949 w 6884782"/>
              <a:gd name="connsiteY57012" fmla="*/ 1350701 h 5973007"/>
              <a:gd name="connsiteX57013" fmla="*/ 3993724 w 6884782"/>
              <a:gd name="connsiteY57013" fmla="*/ 1347998 h 5973007"/>
              <a:gd name="connsiteX57014" fmla="*/ 3997352 w 6884782"/>
              <a:gd name="connsiteY57014" fmla="*/ 1347571 h 5973007"/>
              <a:gd name="connsiteX57015" fmla="*/ 5130824 w 6884782"/>
              <a:gd name="connsiteY57015" fmla="*/ 1347286 h 5973007"/>
              <a:gd name="connsiteX57016" fmla="*/ 5134239 w 6884782"/>
              <a:gd name="connsiteY57016" fmla="*/ 1347998 h 5973007"/>
              <a:gd name="connsiteX57017" fmla="*/ 5133598 w 6884782"/>
              <a:gd name="connsiteY57017" fmla="*/ 1356676 h 5973007"/>
              <a:gd name="connsiteX57018" fmla="*/ 5130184 w 6884782"/>
              <a:gd name="connsiteY57018" fmla="*/ 1358525 h 5973007"/>
              <a:gd name="connsiteX57019" fmla="*/ 5124848 w 6884782"/>
              <a:gd name="connsiteY57019" fmla="*/ 1356534 h 5973007"/>
              <a:gd name="connsiteX57020" fmla="*/ 5130824 w 6884782"/>
              <a:gd name="connsiteY57020" fmla="*/ 1347286 h 5973007"/>
              <a:gd name="connsiteX57021" fmla="*/ 3606794 w 6884782"/>
              <a:gd name="connsiteY57021" fmla="*/ 1347286 h 5973007"/>
              <a:gd name="connsiteX57022" fmla="*/ 3610422 w 6884782"/>
              <a:gd name="connsiteY57022" fmla="*/ 1349563 h 5973007"/>
              <a:gd name="connsiteX57023" fmla="*/ 3609782 w 6884782"/>
              <a:gd name="connsiteY57023" fmla="*/ 1350558 h 5973007"/>
              <a:gd name="connsiteX57024" fmla="*/ 3606794 w 6884782"/>
              <a:gd name="connsiteY57024" fmla="*/ 1347286 h 5973007"/>
              <a:gd name="connsiteX57025" fmla="*/ 5466320 w 6884782"/>
              <a:gd name="connsiteY57025" fmla="*/ 1346860 h 5973007"/>
              <a:gd name="connsiteX57026" fmla="*/ 5474644 w 6884782"/>
              <a:gd name="connsiteY57026" fmla="*/ 1351981 h 5973007"/>
              <a:gd name="connsiteX57027" fmla="*/ 5469308 w 6884782"/>
              <a:gd name="connsiteY57027" fmla="*/ 1359095 h 5973007"/>
              <a:gd name="connsiteX57028" fmla="*/ 5462051 w 6884782"/>
              <a:gd name="connsiteY57028" fmla="*/ 1351555 h 5973007"/>
              <a:gd name="connsiteX57029" fmla="*/ 5466320 w 6884782"/>
              <a:gd name="connsiteY57029" fmla="*/ 1346860 h 5973007"/>
              <a:gd name="connsiteX57030" fmla="*/ 1136955 w 6884782"/>
              <a:gd name="connsiteY57030" fmla="*/ 1345452 h 5973007"/>
              <a:gd name="connsiteX57031" fmla="*/ 1133547 w 6884782"/>
              <a:gd name="connsiteY57031" fmla="*/ 1350718 h 5973007"/>
              <a:gd name="connsiteX57032" fmla="*/ 1132411 w 6884782"/>
              <a:gd name="connsiteY57032" fmla="*/ 1351028 h 5973007"/>
              <a:gd name="connsiteX57033" fmla="*/ 1136955 w 6884782"/>
              <a:gd name="connsiteY57033" fmla="*/ 1345452 h 5973007"/>
              <a:gd name="connsiteX57034" fmla="*/ 5899135 w 6884782"/>
              <a:gd name="connsiteY57034" fmla="*/ 1345152 h 5973007"/>
              <a:gd name="connsiteX57035" fmla="*/ 5898495 w 6884782"/>
              <a:gd name="connsiteY57035" fmla="*/ 1350132 h 5973007"/>
              <a:gd name="connsiteX57036" fmla="*/ 5896147 w 6884782"/>
              <a:gd name="connsiteY57036" fmla="*/ 1350132 h 5973007"/>
              <a:gd name="connsiteX57037" fmla="*/ 5878220 w 6884782"/>
              <a:gd name="connsiteY57037" fmla="*/ 1355823 h 5973007"/>
              <a:gd name="connsiteX57038" fmla="*/ 5899135 w 6884782"/>
              <a:gd name="connsiteY57038" fmla="*/ 1345152 h 5973007"/>
              <a:gd name="connsiteX57039" fmla="*/ 5308389 w 6884782"/>
              <a:gd name="connsiteY57039" fmla="*/ 1344868 h 5973007"/>
              <a:gd name="connsiteX57040" fmla="*/ 5314579 w 6884782"/>
              <a:gd name="connsiteY57040" fmla="*/ 1346860 h 5973007"/>
              <a:gd name="connsiteX57041" fmla="*/ 5312871 w 6884782"/>
              <a:gd name="connsiteY57041" fmla="*/ 1356534 h 5973007"/>
              <a:gd name="connsiteX57042" fmla="*/ 5304334 w 6884782"/>
              <a:gd name="connsiteY57042" fmla="*/ 1354400 h 5973007"/>
              <a:gd name="connsiteX57043" fmla="*/ 5308389 w 6884782"/>
              <a:gd name="connsiteY57043" fmla="*/ 1344868 h 5973007"/>
              <a:gd name="connsiteX57044" fmla="*/ 1412442 w 6884782"/>
              <a:gd name="connsiteY57044" fmla="*/ 1344522 h 5973007"/>
              <a:gd name="connsiteX57045" fmla="*/ 1421322 w 6884782"/>
              <a:gd name="connsiteY57045" fmla="*/ 1352887 h 5973007"/>
              <a:gd name="connsiteX57046" fmla="*/ 1415746 w 6884782"/>
              <a:gd name="connsiteY57046" fmla="*/ 1353196 h 5973007"/>
              <a:gd name="connsiteX57047" fmla="*/ 1411719 w 6884782"/>
              <a:gd name="connsiteY57047" fmla="*/ 1347311 h 5973007"/>
              <a:gd name="connsiteX57048" fmla="*/ 1412442 w 6884782"/>
              <a:gd name="connsiteY57048" fmla="*/ 1344522 h 5973007"/>
              <a:gd name="connsiteX57049" fmla="*/ 4095739 w 6884782"/>
              <a:gd name="connsiteY57049" fmla="*/ 1344441 h 5973007"/>
              <a:gd name="connsiteX57050" fmla="*/ 4098299 w 6884782"/>
              <a:gd name="connsiteY57050" fmla="*/ 1344726 h 5973007"/>
              <a:gd name="connsiteX57051" fmla="*/ 4101714 w 6884782"/>
              <a:gd name="connsiteY57051" fmla="*/ 1346433 h 5973007"/>
              <a:gd name="connsiteX57052" fmla="*/ 4100220 w 6884782"/>
              <a:gd name="connsiteY57052" fmla="*/ 1352550 h 5973007"/>
              <a:gd name="connsiteX57053" fmla="*/ 4097659 w 6884782"/>
              <a:gd name="connsiteY57053" fmla="*/ 1352266 h 5973007"/>
              <a:gd name="connsiteX57054" fmla="*/ 4094884 w 6884782"/>
              <a:gd name="connsiteY57054" fmla="*/ 1349421 h 5973007"/>
              <a:gd name="connsiteX57055" fmla="*/ 4095739 w 6884782"/>
              <a:gd name="connsiteY57055" fmla="*/ 1344441 h 5973007"/>
              <a:gd name="connsiteX57056" fmla="*/ 5829987 w 6884782"/>
              <a:gd name="connsiteY57056" fmla="*/ 1344014 h 5973007"/>
              <a:gd name="connsiteX57057" fmla="*/ 5831694 w 6884782"/>
              <a:gd name="connsiteY57057" fmla="*/ 1345864 h 5973007"/>
              <a:gd name="connsiteX57058" fmla="*/ 5830841 w 6884782"/>
              <a:gd name="connsiteY57058" fmla="*/ 1347713 h 5973007"/>
              <a:gd name="connsiteX57059" fmla="*/ 5828280 w 6884782"/>
              <a:gd name="connsiteY57059" fmla="*/ 1350132 h 5973007"/>
              <a:gd name="connsiteX57060" fmla="*/ 5826786 w 6884782"/>
              <a:gd name="connsiteY57060" fmla="*/ 1352408 h 5973007"/>
              <a:gd name="connsiteX57061" fmla="*/ 5823158 w 6884782"/>
              <a:gd name="connsiteY57061" fmla="*/ 1352408 h 5973007"/>
              <a:gd name="connsiteX57062" fmla="*/ 5824652 w 6884782"/>
              <a:gd name="connsiteY57062" fmla="*/ 1349989 h 5973007"/>
              <a:gd name="connsiteX57063" fmla="*/ 5829987 w 6884782"/>
              <a:gd name="connsiteY57063" fmla="*/ 1344014 h 5973007"/>
              <a:gd name="connsiteX57064" fmla="*/ 4615202 w 6884782"/>
              <a:gd name="connsiteY57064" fmla="*/ 1343730 h 5973007"/>
              <a:gd name="connsiteX57065" fmla="*/ 4622458 w 6884782"/>
              <a:gd name="connsiteY57065" fmla="*/ 1368627 h 5973007"/>
              <a:gd name="connsiteX57066" fmla="*/ 4610933 w 6884782"/>
              <a:gd name="connsiteY57066" fmla="*/ 1368200 h 5973007"/>
              <a:gd name="connsiteX57067" fmla="*/ 4606452 w 6884782"/>
              <a:gd name="connsiteY57067" fmla="*/ 1362509 h 5973007"/>
              <a:gd name="connsiteX57068" fmla="*/ 4606238 w 6884782"/>
              <a:gd name="connsiteY57068" fmla="*/ 1360091 h 5973007"/>
              <a:gd name="connsiteX57069" fmla="*/ 4606238 w 6884782"/>
              <a:gd name="connsiteY57069" fmla="*/ 1360233 h 5973007"/>
              <a:gd name="connsiteX57070" fmla="*/ 4594500 w 6884782"/>
              <a:gd name="connsiteY57070" fmla="*/ 1352408 h 5973007"/>
              <a:gd name="connsiteX57071" fmla="*/ 4601116 w 6884782"/>
              <a:gd name="connsiteY57071" fmla="*/ 1344157 h 5973007"/>
              <a:gd name="connsiteX57072" fmla="*/ 4608586 w 6884782"/>
              <a:gd name="connsiteY57072" fmla="*/ 1347856 h 5973007"/>
              <a:gd name="connsiteX57073" fmla="*/ 4941734 w 6884782"/>
              <a:gd name="connsiteY57073" fmla="*/ 1343587 h 5973007"/>
              <a:gd name="connsiteX57074" fmla="*/ 4945149 w 6884782"/>
              <a:gd name="connsiteY57074" fmla="*/ 1344157 h 5973007"/>
              <a:gd name="connsiteX57075" fmla="*/ 4946216 w 6884782"/>
              <a:gd name="connsiteY57075" fmla="*/ 1351270 h 5973007"/>
              <a:gd name="connsiteX57076" fmla="*/ 4937679 w 6884782"/>
              <a:gd name="connsiteY57076" fmla="*/ 1348140 h 5973007"/>
              <a:gd name="connsiteX57077" fmla="*/ 4938533 w 6884782"/>
              <a:gd name="connsiteY57077" fmla="*/ 1345721 h 5973007"/>
              <a:gd name="connsiteX57078" fmla="*/ 4941734 w 6884782"/>
              <a:gd name="connsiteY57078" fmla="*/ 1343587 h 5973007"/>
              <a:gd name="connsiteX57079" fmla="*/ 4774413 w 6884782"/>
              <a:gd name="connsiteY57079" fmla="*/ 1343445 h 5973007"/>
              <a:gd name="connsiteX57080" fmla="*/ 4782950 w 6884782"/>
              <a:gd name="connsiteY57080" fmla="*/ 1346860 h 5973007"/>
              <a:gd name="connsiteX57081" fmla="*/ 4774200 w 6884782"/>
              <a:gd name="connsiteY57081" fmla="*/ 1358241 h 5973007"/>
              <a:gd name="connsiteX57082" fmla="*/ 4772706 w 6884782"/>
              <a:gd name="connsiteY57082" fmla="*/ 1356534 h 5973007"/>
              <a:gd name="connsiteX57083" fmla="*/ 4771852 w 6884782"/>
              <a:gd name="connsiteY57083" fmla="*/ 1358952 h 5973007"/>
              <a:gd name="connsiteX57084" fmla="*/ 4769718 w 6884782"/>
              <a:gd name="connsiteY57084" fmla="*/ 1361940 h 5973007"/>
              <a:gd name="connsiteX57085" fmla="*/ 4761394 w 6884782"/>
              <a:gd name="connsiteY57085" fmla="*/ 1359237 h 5973007"/>
              <a:gd name="connsiteX57086" fmla="*/ 4760114 w 6884782"/>
              <a:gd name="connsiteY57086" fmla="*/ 1355538 h 5973007"/>
              <a:gd name="connsiteX57087" fmla="*/ 4760967 w 6884782"/>
              <a:gd name="connsiteY57087" fmla="*/ 1348424 h 5973007"/>
              <a:gd name="connsiteX57088" fmla="*/ 4759901 w 6884782"/>
              <a:gd name="connsiteY57088" fmla="*/ 1348424 h 5973007"/>
              <a:gd name="connsiteX57089" fmla="*/ 4766730 w 6884782"/>
              <a:gd name="connsiteY57089" fmla="*/ 1347571 h 5973007"/>
              <a:gd name="connsiteX57090" fmla="*/ 4767370 w 6884782"/>
              <a:gd name="connsiteY57090" fmla="*/ 1348282 h 5973007"/>
              <a:gd name="connsiteX57091" fmla="*/ 4766943 w 6884782"/>
              <a:gd name="connsiteY57091" fmla="*/ 1347286 h 5973007"/>
              <a:gd name="connsiteX57092" fmla="*/ 4774413 w 6884782"/>
              <a:gd name="connsiteY57092" fmla="*/ 1343445 h 5973007"/>
              <a:gd name="connsiteX57093" fmla="*/ 962658 w 6884782"/>
              <a:gd name="connsiteY57093" fmla="*/ 1342973 h 5973007"/>
              <a:gd name="connsiteX57094" fmla="*/ 965136 w 6884782"/>
              <a:gd name="connsiteY57094" fmla="*/ 1343438 h 5973007"/>
              <a:gd name="connsiteX57095" fmla="*/ 965033 w 6884782"/>
              <a:gd name="connsiteY57095" fmla="*/ 1350873 h 5973007"/>
              <a:gd name="connsiteX57096" fmla="*/ 962452 w 6884782"/>
              <a:gd name="connsiteY57096" fmla="*/ 1351492 h 5973007"/>
              <a:gd name="connsiteX57097" fmla="*/ 959354 w 6884782"/>
              <a:gd name="connsiteY57097" fmla="*/ 1346071 h 5973007"/>
              <a:gd name="connsiteX57098" fmla="*/ 960799 w 6884782"/>
              <a:gd name="connsiteY57098" fmla="*/ 1343903 h 5973007"/>
              <a:gd name="connsiteX57099" fmla="*/ 962658 w 6884782"/>
              <a:gd name="connsiteY57099" fmla="*/ 1342973 h 5973007"/>
              <a:gd name="connsiteX57100" fmla="*/ 1765578 w 6884782"/>
              <a:gd name="connsiteY57100" fmla="*/ 1341425 h 5973007"/>
              <a:gd name="connsiteX57101" fmla="*/ 1765785 w 6884782"/>
              <a:gd name="connsiteY57101" fmla="*/ 1342199 h 5973007"/>
              <a:gd name="connsiteX57102" fmla="*/ 1766198 w 6884782"/>
              <a:gd name="connsiteY57102" fmla="*/ 1341425 h 5973007"/>
              <a:gd name="connsiteX57103" fmla="*/ 1704761 w 6884782"/>
              <a:gd name="connsiteY57103" fmla="*/ 1341425 h 5973007"/>
              <a:gd name="connsiteX57104" fmla="*/ 1706826 w 6884782"/>
              <a:gd name="connsiteY57104" fmla="*/ 1342354 h 5973007"/>
              <a:gd name="connsiteX57105" fmla="*/ 1707032 w 6884782"/>
              <a:gd name="connsiteY57105" fmla="*/ 1345297 h 5973007"/>
              <a:gd name="connsiteX57106" fmla="*/ 1706309 w 6884782"/>
              <a:gd name="connsiteY57106" fmla="*/ 1345452 h 5973007"/>
              <a:gd name="connsiteX57107" fmla="*/ 1704038 w 6884782"/>
              <a:gd name="connsiteY57107" fmla="*/ 1343748 h 5973007"/>
              <a:gd name="connsiteX57108" fmla="*/ 1704761 w 6884782"/>
              <a:gd name="connsiteY57108" fmla="*/ 1341425 h 5973007"/>
              <a:gd name="connsiteX57109" fmla="*/ 1690511 w 6884782"/>
              <a:gd name="connsiteY57109" fmla="*/ 1341425 h 5973007"/>
              <a:gd name="connsiteX57110" fmla="*/ 1670066 w 6884782"/>
              <a:gd name="connsiteY57110" fmla="*/ 1354126 h 5973007"/>
              <a:gd name="connsiteX57111" fmla="*/ 1690511 w 6884782"/>
              <a:gd name="connsiteY57111" fmla="*/ 1341425 h 5973007"/>
              <a:gd name="connsiteX57112" fmla="*/ 4668557 w 6884782"/>
              <a:gd name="connsiteY57112" fmla="*/ 1341169 h 5973007"/>
              <a:gd name="connsiteX57113" fmla="*/ 4672185 w 6884782"/>
              <a:gd name="connsiteY57113" fmla="*/ 1343161 h 5973007"/>
              <a:gd name="connsiteX57114" fmla="*/ 4672612 w 6884782"/>
              <a:gd name="connsiteY57114" fmla="*/ 1347429 h 5973007"/>
              <a:gd name="connsiteX57115" fmla="*/ 4669624 w 6884782"/>
              <a:gd name="connsiteY57115" fmla="*/ 1350843 h 5973007"/>
              <a:gd name="connsiteX57116" fmla="*/ 4662154 w 6884782"/>
              <a:gd name="connsiteY57116" fmla="*/ 1343730 h 5973007"/>
              <a:gd name="connsiteX57117" fmla="*/ 4668557 w 6884782"/>
              <a:gd name="connsiteY57117" fmla="*/ 1341169 h 5973007"/>
              <a:gd name="connsiteX57118" fmla="*/ 1142737 w 6884782"/>
              <a:gd name="connsiteY57118" fmla="*/ 1341114 h 5973007"/>
              <a:gd name="connsiteX57119" fmla="*/ 1151410 w 6884782"/>
              <a:gd name="connsiteY57119" fmla="*/ 1342818 h 5973007"/>
              <a:gd name="connsiteX57120" fmla="*/ 1152856 w 6884782"/>
              <a:gd name="connsiteY57120" fmla="*/ 1343748 h 5973007"/>
              <a:gd name="connsiteX57121" fmla="*/ 1153579 w 6884782"/>
              <a:gd name="connsiteY57121" fmla="*/ 1344058 h 5973007"/>
              <a:gd name="connsiteX57122" fmla="*/ 1154405 w 6884782"/>
              <a:gd name="connsiteY57122" fmla="*/ 1344987 h 5973007"/>
              <a:gd name="connsiteX57123" fmla="*/ 1158225 w 6884782"/>
              <a:gd name="connsiteY57123" fmla="*/ 1347465 h 5973007"/>
              <a:gd name="connsiteX57124" fmla="*/ 1155437 w 6884782"/>
              <a:gd name="connsiteY57124" fmla="*/ 1355365 h 5973007"/>
              <a:gd name="connsiteX57125" fmla="*/ 1137987 w 6884782"/>
              <a:gd name="connsiteY57125" fmla="*/ 1343438 h 5973007"/>
              <a:gd name="connsiteX57126" fmla="*/ 1142737 w 6884782"/>
              <a:gd name="connsiteY57126" fmla="*/ 1341114 h 5973007"/>
              <a:gd name="connsiteX57127" fmla="*/ 4187935 w 6884782"/>
              <a:gd name="connsiteY57127" fmla="*/ 1340457 h 5973007"/>
              <a:gd name="connsiteX57128" fmla="*/ 4206290 w 6884782"/>
              <a:gd name="connsiteY57128" fmla="*/ 1341453 h 5973007"/>
              <a:gd name="connsiteX57129" fmla="*/ 4208637 w 6884782"/>
              <a:gd name="connsiteY57129" fmla="*/ 1344014 h 5973007"/>
              <a:gd name="connsiteX57130" fmla="*/ 4209918 w 6884782"/>
              <a:gd name="connsiteY57130" fmla="*/ 1344014 h 5973007"/>
              <a:gd name="connsiteX57131" fmla="*/ 4210985 w 6884782"/>
              <a:gd name="connsiteY57131" fmla="*/ 1346575 h 5973007"/>
              <a:gd name="connsiteX57132" fmla="*/ 4204156 w 6884782"/>
              <a:gd name="connsiteY57132" fmla="*/ 1347429 h 5973007"/>
              <a:gd name="connsiteX57133" fmla="*/ 4198606 w 6884782"/>
              <a:gd name="connsiteY57133" fmla="*/ 1347144 h 5973007"/>
              <a:gd name="connsiteX57134" fmla="*/ 4180039 w 6884782"/>
              <a:gd name="connsiteY57134" fmla="*/ 1341453 h 5973007"/>
              <a:gd name="connsiteX57135" fmla="*/ 4187935 w 6884782"/>
              <a:gd name="connsiteY57135" fmla="*/ 1340457 h 5973007"/>
              <a:gd name="connsiteX57136" fmla="*/ 1527470 w 6884782"/>
              <a:gd name="connsiteY57136" fmla="*/ 1340030 h 5973007"/>
              <a:gd name="connsiteX57137" fmla="*/ 1527882 w 6884782"/>
              <a:gd name="connsiteY57137" fmla="*/ 1340650 h 5973007"/>
              <a:gd name="connsiteX57138" fmla="*/ 1530258 w 6884782"/>
              <a:gd name="connsiteY57138" fmla="*/ 1341114 h 5973007"/>
              <a:gd name="connsiteX57139" fmla="*/ 1536143 w 6884782"/>
              <a:gd name="connsiteY57139" fmla="*/ 1340030 h 5973007"/>
              <a:gd name="connsiteX57140" fmla="*/ 1541822 w 6884782"/>
              <a:gd name="connsiteY57140" fmla="*/ 1342199 h 5973007"/>
              <a:gd name="connsiteX57141" fmla="*/ 1541202 w 6884782"/>
              <a:gd name="connsiteY57141" fmla="*/ 1344522 h 5973007"/>
              <a:gd name="connsiteX57142" fmla="*/ 1543577 w 6884782"/>
              <a:gd name="connsiteY57142" fmla="*/ 1344832 h 5973007"/>
              <a:gd name="connsiteX57143" fmla="*/ 1548637 w 6884782"/>
              <a:gd name="connsiteY57143" fmla="*/ 1353971 h 5973007"/>
              <a:gd name="connsiteX57144" fmla="*/ 1546159 w 6884782"/>
              <a:gd name="connsiteY57144" fmla="*/ 1358463 h 5973007"/>
              <a:gd name="connsiteX57145" fmla="*/ 1543164 w 6884782"/>
              <a:gd name="connsiteY57145" fmla="*/ 1360322 h 5973007"/>
              <a:gd name="connsiteX57146" fmla="*/ 1542958 w 6884782"/>
              <a:gd name="connsiteY57146" fmla="*/ 1360322 h 5973007"/>
              <a:gd name="connsiteX57147" fmla="*/ 1541099 w 6884782"/>
              <a:gd name="connsiteY57147" fmla="*/ 1365743 h 5973007"/>
              <a:gd name="connsiteX57148" fmla="*/ 1540686 w 6884782"/>
              <a:gd name="connsiteY57148" fmla="*/ 1366208 h 5973007"/>
              <a:gd name="connsiteX57149" fmla="*/ 1540583 w 6884782"/>
              <a:gd name="connsiteY57149" fmla="*/ 1366518 h 5973007"/>
              <a:gd name="connsiteX57150" fmla="*/ 1535524 w 6884782"/>
              <a:gd name="connsiteY57150" fmla="*/ 1377515 h 5973007"/>
              <a:gd name="connsiteX57151" fmla="*/ 1534181 w 6884782"/>
              <a:gd name="connsiteY57151" fmla="*/ 1370390 h 5973007"/>
              <a:gd name="connsiteX57152" fmla="*/ 1533665 w 6884782"/>
              <a:gd name="connsiteY57152" fmla="*/ 1370390 h 5973007"/>
              <a:gd name="connsiteX57153" fmla="*/ 1534491 w 6884782"/>
              <a:gd name="connsiteY57153" fmla="*/ 1373333 h 5973007"/>
              <a:gd name="connsiteX57154" fmla="*/ 1533355 w 6884782"/>
              <a:gd name="connsiteY57154" fmla="*/ 1376741 h 5973007"/>
              <a:gd name="connsiteX57155" fmla="*/ 1531806 w 6884782"/>
              <a:gd name="connsiteY57155" fmla="*/ 1373023 h 5973007"/>
              <a:gd name="connsiteX57156" fmla="*/ 1531393 w 6884782"/>
              <a:gd name="connsiteY57156" fmla="*/ 1371164 h 5973007"/>
              <a:gd name="connsiteX57157" fmla="*/ 1532632 w 6884782"/>
              <a:gd name="connsiteY57157" fmla="*/ 1370390 h 5973007"/>
              <a:gd name="connsiteX57158" fmla="*/ 1532323 w 6884782"/>
              <a:gd name="connsiteY57158" fmla="*/ 1370390 h 5973007"/>
              <a:gd name="connsiteX57159" fmla="*/ 1527366 w 6884782"/>
              <a:gd name="connsiteY57159" fmla="*/ 1367912 h 5973007"/>
              <a:gd name="connsiteX57160" fmla="*/ 1532942 w 6884782"/>
              <a:gd name="connsiteY57160" fmla="*/ 1362800 h 5973007"/>
              <a:gd name="connsiteX57161" fmla="*/ 1533458 w 6884782"/>
              <a:gd name="connsiteY57161" fmla="*/ 1362181 h 5973007"/>
              <a:gd name="connsiteX57162" fmla="*/ 1533665 w 6884782"/>
              <a:gd name="connsiteY57162" fmla="*/ 1358463 h 5973007"/>
              <a:gd name="connsiteX57163" fmla="*/ 1534181 w 6884782"/>
              <a:gd name="connsiteY57163" fmla="*/ 1357224 h 5973007"/>
              <a:gd name="connsiteX57164" fmla="*/ 1532942 w 6884782"/>
              <a:gd name="connsiteY57164" fmla="*/ 1355520 h 5973007"/>
              <a:gd name="connsiteX57165" fmla="*/ 1532735 w 6884782"/>
              <a:gd name="connsiteY57165" fmla="*/ 1352887 h 5973007"/>
              <a:gd name="connsiteX57166" fmla="*/ 1537279 w 6884782"/>
              <a:gd name="connsiteY57166" fmla="*/ 1345142 h 5973007"/>
              <a:gd name="connsiteX57167" fmla="*/ 1536556 w 6884782"/>
              <a:gd name="connsiteY57167" fmla="*/ 1345607 h 5973007"/>
              <a:gd name="connsiteX57168" fmla="*/ 1524475 w 6884782"/>
              <a:gd name="connsiteY57168" fmla="*/ 1342818 h 5973007"/>
              <a:gd name="connsiteX57169" fmla="*/ 1524268 w 6884782"/>
              <a:gd name="connsiteY57169" fmla="*/ 1342509 h 5973007"/>
              <a:gd name="connsiteX57170" fmla="*/ 1524062 w 6884782"/>
              <a:gd name="connsiteY57170" fmla="*/ 1342664 h 5973007"/>
              <a:gd name="connsiteX57171" fmla="*/ 1523959 w 6884782"/>
              <a:gd name="connsiteY57171" fmla="*/ 1342354 h 5973007"/>
              <a:gd name="connsiteX57172" fmla="*/ 1522823 w 6884782"/>
              <a:gd name="connsiteY57172" fmla="*/ 1341114 h 5973007"/>
              <a:gd name="connsiteX57173" fmla="*/ 1525507 w 6884782"/>
              <a:gd name="connsiteY57173" fmla="*/ 1340340 h 5973007"/>
              <a:gd name="connsiteX57174" fmla="*/ 1526643 w 6884782"/>
              <a:gd name="connsiteY57174" fmla="*/ 1340495 h 5973007"/>
              <a:gd name="connsiteX57175" fmla="*/ 1527470 w 6884782"/>
              <a:gd name="connsiteY57175" fmla="*/ 1340030 h 5973007"/>
              <a:gd name="connsiteX57176" fmla="*/ 1581886 w 6884782"/>
              <a:gd name="connsiteY57176" fmla="*/ 1338326 h 5973007"/>
              <a:gd name="connsiteX57177" fmla="*/ 1577755 w 6884782"/>
              <a:gd name="connsiteY57177" fmla="*/ 1348704 h 5973007"/>
              <a:gd name="connsiteX57178" fmla="*/ 1569082 w 6884782"/>
              <a:gd name="connsiteY57178" fmla="*/ 1357533 h 5973007"/>
              <a:gd name="connsiteX57179" fmla="*/ 1568256 w 6884782"/>
              <a:gd name="connsiteY57179" fmla="*/ 1354126 h 5973007"/>
              <a:gd name="connsiteX57180" fmla="*/ 1568566 w 6884782"/>
              <a:gd name="connsiteY57180" fmla="*/ 1350873 h 5973007"/>
              <a:gd name="connsiteX57181" fmla="*/ 1581886 w 6884782"/>
              <a:gd name="connsiteY57181" fmla="*/ 1338326 h 5973007"/>
              <a:gd name="connsiteX57182" fmla="*/ 5573670 w 6884782"/>
              <a:gd name="connsiteY57182" fmla="*/ 1337897 h 5973007"/>
              <a:gd name="connsiteX57183" fmla="*/ 5577511 w 6884782"/>
              <a:gd name="connsiteY57183" fmla="*/ 1338892 h 5973007"/>
              <a:gd name="connsiteX57184" fmla="*/ 5579006 w 6884782"/>
              <a:gd name="connsiteY57184" fmla="*/ 1342307 h 5973007"/>
              <a:gd name="connsiteX57185" fmla="*/ 5578152 w 6884782"/>
              <a:gd name="connsiteY57185" fmla="*/ 1344868 h 5973007"/>
              <a:gd name="connsiteX57186" fmla="*/ 5556810 w 6884782"/>
              <a:gd name="connsiteY57186" fmla="*/ 1351697 h 5973007"/>
              <a:gd name="connsiteX57187" fmla="*/ 5560225 w 6884782"/>
              <a:gd name="connsiteY57187" fmla="*/ 1340884 h 5973007"/>
              <a:gd name="connsiteX57188" fmla="*/ 5564707 w 6884782"/>
              <a:gd name="connsiteY57188" fmla="*/ 1338466 h 5973007"/>
              <a:gd name="connsiteX57189" fmla="*/ 5569615 w 6884782"/>
              <a:gd name="connsiteY57189" fmla="*/ 1338750 h 5973007"/>
              <a:gd name="connsiteX57190" fmla="*/ 5573670 w 6884782"/>
              <a:gd name="connsiteY57190" fmla="*/ 1337897 h 5973007"/>
              <a:gd name="connsiteX57191" fmla="*/ 1069322 w 6884782"/>
              <a:gd name="connsiteY57191" fmla="*/ 1337861 h 5973007"/>
              <a:gd name="connsiteX57192" fmla="*/ 1076240 w 6884782"/>
              <a:gd name="connsiteY57192" fmla="*/ 1345607 h 5973007"/>
              <a:gd name="connsiteX57193" fmla="*/ 1066224 w 6884782"/>
              <a:gd name="connsiteY57193" fmla="*/ 1343438 h 5973007"/>
              <a:gd name="connsiteX57194" fmla="*/ 1069322 w 6884782"/>
              <a:gd name="connsiteY57194" fmla="*/ 1337861 h 5973007"/>
              <a:gd name="connsiteX57195" fmla="*/ 1657779 w 6884782"/>
              <a:gd name="connsiteY57195" fmla="*/ 1337552 h 5973007"/>
              <a:gd name="connsiteX57196" fmla="*/ 1658502 w 6884782"/>
              <a:gd name="connsiteY57196" fmla="*/ 1338791 h 5973007"/>
              <a:gd name="connsiteX57197" fmla="*/ 1657882 w 6884782"/>
              <a:gd name="connsiteY57197" fmla="*/ 1340185 h 5973007"/>
              <a:gd name="connsiteX57198" fmla="*/ 1656333 w 6884782"/>
              <a:gd name="connsiteY57198" fmla="*/ 1343438 h 5973007"/>
              <a:gd name="connsiteX57199" fmla="*/ 1657779 w 6884782"/>
              <a:gd name="connsiteY57199" fmla="*/ 1337552 h 5973007"/>
              <a:gd name="connsiteX57200" fmla="*/ 1527160 w 6884782"/>
              <a:gd name="connsiteY57200" fmla="*/ 1337242 h 5973007"/>
              <a:gd name="connsiteX57201" fmla="*/ 1527882 w 6884782"/>
              <a:gd name="connsiteY57201" fmla="*/ 1337552 h 5973007"/>
              <a:gd name="connsiteX57202" fmla="*/ 1526334 w 6884782"/>
              <a:gd name="connsiteY57202" fmla="*/ 1338946 h 5973007"/>
              <a:gd name="connsiteX57203" fmla="*/ 1526024 w 6884782"/>
              <a:gd name="connsiteY57203" fmla="*/ 1338171 h 5973007"/>
              <a:gd name="connsiteX57204" fmla="*/ 1527160 w 6884782"/>
              <a:gd name="connsiteY57204" fmla="*/ 1337242 h 5973007"/>
              <a:gd name="connsiteX57205" fmla="*/ 4634410 w 6884782"/>
              <a:gd name="connsiteY57205" fmla="*/ 1336901 h 5973007"/>
              <a:gd name="connsiteX57206" fmla="*/ 4644014 w 6884782"/>
              <a:gd name="connsiteY57206" fmla="*/ 1342734 h 5973007"/>
              <a:gd name="connsiteX57207" fmla="*/ 4634196 w 6884782"/>
              <a:gd name="connsiteY57207" fmla="*/ 1355396 h 5973007"/>
              <a:gd name="connsiteX57208" fmla="*/ 4634410 w 6884782"/>
              <a:gd name="connsiteY57208" fmla="*/ 1336901 h 5973007"/>
              <a:gd name="connsiteX57209" fmla="*/ 1287193 w 6884782"/>
              <a:gd name="connsiteY57209" fmla="*/ 1336003 h 5973007"/>
              <a:gd name="connsiteX57210" fmla="*/ 1288432 w 6884782"/>
              <a:gd name="connsiteY57210" fmla="*/ 1336623 h 5973007"/>
              <a:gd name="connsiteX57211" fmla="*/ 1289051 w 6884782"/>
              <a:gd name="connsiteY57211" fmla="*/ 1338326 h 5973007"/>
              <a:gd name="connsiteX57212" fmla="*/ 1289258 w 6884782"/>
              <a:gd name="connsiteY57212" fmla="*/ 1339101 h 5973007"/>
              <a:gd name="connsiteX57213" fmla="*/ 1291013 w 6884782"/>
              <a:gd name="connsiteY57213" fmla="*/ 1338326 h 5973007"/>
              <a:gd name="connsiteX57214" fmla="*/ 1297415 w 6884782"/>
              <a:gd name="connsiteY57214" fmla="*/ 1344368 h 5973007"/>
              <a:gd name="connsiteX57215" fmla="*/ 1282236 w 6884782"/>
              <a:gd name="connsiteY57215" fmla="*/ 1353042 h 5973007"/>
              <a:gd name="connsiteX57216" fmla="*/ 1281720 w 6884782"/>
              <a:gd name="connsiteY57216" fmla="*/ 1349634 h 5973007"/>
              <a:gd name="connsiteX57217" fmla="*/ 1287193 w 6884782"/>
              <a:gd name="connsiteY57217" fmla="*/ 1340185 h 5973007"/>
              <a:gd name="connsiteX57218" fmla="*/ 1288741 w 6884782"/>
              <a:gd name="connsiteY57218" fmla="*/ 1339411 h 5973007"/>
              <a:gd name="connsiteX57219" fmla="*/ 1387144 w 6884782"/>
              <a:gd name="connsiteY57219" fmla="*/ 1334609 h 5973007"/>
              <a:gd name="connsiteX57220" fmla="*/ 1388797 w 6884782"/>
              <a:gd name="connsiteY57220" fmla="*/ 1335538 h 5973007"/>
              <a:gd name="connsiteX57221" fmla="*/ 1390242 w 6884782"/>
              <a:gd name="connsiteY57221" fmla="*/ 1337552 h 5973007"/>
              <a:gd name="connsiteX57222" fmla="*/ 1386834 w 6884782"/>
              <a:gd name="connsiteY57222" fmla="*/ 1340960 h 5973007"/>
              <a:gd name="connsiteX57223" fmla="*/ 1385079 w 6884782"/>
              <a:gd name="connsiteY57223" fmla="*/ 1340030 h 5973007"/>
              <a:gd name="connsiteX57224" fmla="*/ 1384460 w 6884782"/>
              <a:gd name="connsiteY57224" fmla="*/ 1337397 h 5973007"/>
              <a:gd name="connsiteX57225" fmla="*/ 1387144 w 6884782"/>
              <a:gd name="connsiteY57225" fmla="*/ 1334609 h 5973007"/>
              <a:gd name="connsiteX57226" fmla="*/ 5824011 w 6884782"/>
              <a:gd name="connsiteY57226" fmla="*/ 1334340 h 5973007"/>
              <a:gd name="connsiteX57227" fmla="*/ 5826359 w 6884782"/>
              <a:gd name="connsiteY57227" fmla="*/ 1334482 h 5973007"/>
              <a:gd name="connsiteX57228" fmla="*/ 5823158 w 6884782"/>
              <a:gd name="connsiteY57228" fmla="*/ 1341880 h 5973007"/>
              <a:gd name="connsiteX57229" fmla="*/ 5819743 w 6884782"/>
              <a:gd name="connsiteY57229" fmla="*/ 1343018 h 5973007"/>
              <a:gd name="connsiteX57230" fmla="*/ 5820170 w 6884782"/>
              <a:gd name="connsiteY57230" fmla="*/ 1339320 h 5973007"/>
              <a:gd name="connsiteX57231" fmla="*/ 5822518 w 6884782"/>
              <a:gd name="connsiteY57231" fmla="*/ 1338039 h 5973007"/>
              <a:gd name="connsiteX57232" fmla="*/ 5824011 w 6884782"/>
              <a:gd name="connsiteY57232" fmla="*/ 1334340 h 5973007"/>
              <a:gd name="connsiteX57233" fmla="*/ 1529431 w 6884782"/>
              <a:gd name="connsiteY57233" fmla="*/ 1333680 h 5973007"/>
              <a:gd name="connsiteX57234" fmla="*/ 1532013 w 6884782"/>
              <a:gd name="connsiteY57234" fmla="*/ 1333835 h 5973007"/>
              <a:gd name="connsiteX57235" fmla="*/ 1527573 w 6884782"/>
              <a:gd name="connsiteY57235" fmla="*/ 1336778 h 5973007"/>
              <a:gd name="connsiteX57236" fmla="*/ 1529431 w 6884782"/>
              <a:gd name="connsiteY57236" fmla="*/ 1333680 h 5973007"/>
              <a:gd name="connsiteX57237" fmla="*/ 5375830 w 6884782"/>
              <a:gd name="connsiteY57237" fmla="*/ 1333202 h 5973007"/>
              <a:gd name="connsiteX57238" fmla="*/ 5371348 w 6884782"/>
              <a:gd name="connsiteY57238" fmla="*/ 1348282 h 5973007"/>
              <a:gd name="connsiteX57239" fmla="*/ 5367293 w 6884782"/>
              <a:gd name="connsiteY57239" fmla="*/ 1334767 h 5973007"/>
              <a:gd name="connsiteX57240" fmla="*/ 5375830 w 6884782"/>
              <a:gd name="connsiteY57240" fmla="*/ 1333202 h 5973007"/>
              <a:gd name="connsiteX57241" fmla="*/ 5011522 w 6884782"/>
              <a:gd name="connsiteY57241" fmla="*/ 1332348 h 5973007"/>
              <a:gd name="connsiteX57242" fmla="*/ 5016218 w 6884782"/>
              <a:gd name="connsiteY57242" fmla="*/ 1332775 h 5973007"/>
              <a:gd name="connsiteX57243" fmla="*/ 5018565 w 6884782"/>
              <a:gd name="connsiteY57243" fmla="*/ 1332633 h 5973007"/>
              <a:gd name="connsiteX57244" fmla="*/ 5021126 w 6884782"/>
              <a:gd name="connsiteY57244" fmla="*/ 1334909 h 5973007"/>
              <a:gd name="connsiteX57245" fmla="*/ 5011096 w 6884782"/>
              <a:gd name="connsiteY57245" fmla="*/ 1336616 h 5973007"/>
              <a:gd name="connsiteX57246" fmla="*/ 5005334 w 6884782"/>
              <a:gd name="connsiteY57246" fmla="*/ 1337043 h 5973007"/>
              <a:gd name="connsiteX57247" fmla="*/ 5002772 w 6884782"/>
              <a:gd name="connsiteY57247" fmla="*/ 1334767 h 5973007"/>
              <a:gd name="connsiteX57248" fmla="*/ 5002559 w 6884782"/>
              <a:gd name="connsiteY57248" fmla="*/ 1333486 h 5973007"/>
              <a:gd name="connsiteX57249" fmla="*/ 5004906 w 6884782"/>
              <a:gd name="connsiteY57249" fmla="*/ 1332491 h 5973007"/>
              <a:gd name="connsiteX57250" fmla="*/ 5011522 w 6884782"/>
              <a:gd name="connsiteY57250" fmla="*/ 1332348 h 5973007"/>
              <a:gd name="connsiteX57251" fmla="*/ 4115373 w 6884782"/>
              <a:gd name="connsiteY57251" fmla="*/ 1331779 h 5973007"/>
              <a:gd name="connsiteX57252" fmla="*/ 4122843 w 6884782"/>
              <a:gd name="connsiteY57252" fmla="*/ 1333486 h 5973007"/>
              <a:gd name="connsiteX57253" fmla="*/ 4119001 w 6884782"/>
              <a:gd name="connsiteY57253" fmla="*/ 1345864 h 5973007"/>
              <a:gd name="connsiteX57254" fmla="*/ 4115586 w 6884782"/>
              <a:gd name="connsiteY57254" fmla="*/ 1344726 h 5973007"/>
              <a:gd name="connsiteX57255" fmla="*/ 4111531 w 6884782"/>
              <a:gd name="connsiteY57255" fmla="*/ 1345864 h 5973007"/>
              <a:gd name="connsiteX57256" fmla="*/ 4105129 w 6884782"/>
              <a:gd name="connsiteY57256" fmla="*/ 1338750 h 5973007"/>
              <a:gd name="connsiteX57257" fmla="*/ 4108117 w 6884782"/>
              <a:gd name="connsiteY57257" fmla="*/ 1335478 h 5973007"/>
              <a:gd name="connsiteX57258" fmla="*/ 4108330 w 6884782"/>
              <a:gd name="connsiteY57258" fmla="*/ 1335336 h 5973007"/>
              <a:gd name="connsiteX57259" fmla="*/ 4108117 w 6884782"/>
              <a:gd name="connsiteY57259" fmla="*/ 1334625 h 5973007"/>
              <a:gd name="connsiteX57260" fmla="*/ 4115373 w 6884782"/>
              <a:gd name="connsiteY57260" fmla="*/ 1331779 h 5973007"/>
              <a:gd name="connsiteX57261" fmla="*/ 3652466 w 6884782"/>
              <a:gd name="connsiteY57261" fmla="*/ 1331779 h 5973007"/>
              <a:gd name="connsiteX57262" fmla="*/ 3658014 w 6884782"/>
              <a:gd name="connsiteY57262" fmla="*/ 1334055 h 5973007"/>
              <a:gd name="connsiteX57263" fmla="*/ 3657801 w 6884782"/>
              <a:gd name="connsiteY57263" fmla="*/ 1335763 h 5973007"/>
              <a:gd name="connsiteX57264" fmla="*/ 3652466 w 6884782"/>
              <a:gd name="connsiteY57264" fmla="*/ 1331779 h 5973007"/>
              <a:gd name="connsiteX57265" fmla="*/ 4253242 w 6884782"/>
              <a:gd name="connsiteY57265" fmla="*/ 1331494 h 5973007"/>
              <a:gd name="connsiteX57266" fmla="*/ 4253242 w 6884782"/>
              <a:gd name="connsiteY57266" fmla="*/ 1340173 h 5973007"/>
              <a:gd name="connsiteX57267" fmla="*/ 4254949 w 6884782"/>
              <a:gd name="connsiteY57267" fmla="*/ 1337185 h 5973007"/>
              <a:gd name="connsiteX57268" fmla="*/ 4260071 w 6884782"/>
              <a:gd name="connsiteY57268" fmla="*/ 1334909 h 5973007"/>
              <a:gd name="connsiteX57269" fmla="*/ 4263486 w 6884782"/>
              <a:gd name="connsiteY57269" fmla="*/ 1341027 h 5973007"/>
              <a:gd name="connsiteX57270" fmla="*/ 4257724 w 6884782"/>
              <a:gd name="connsiteY57270" fmla="*/ 1344441 h 5973007"/>
              <a:gd name="connsiteX57271" fmla="*/ 4253242 w 6884782"/>
              <a:gd name="connsiteY57271" fmla="*/ 1342734 h 5973007"/>
              <a:gd name="connsiteX57272" fmla="*/ 4253242 w 6884782"/>
              <a:gd name="connsiteY57272" fmla="*/ 1343872 h 5973007"/>
              <a:gd name="connsiteX57273" fmla="*/ 4253028 w 6884782"/>
              <a:gd name="connsiteY57273" fmla="*/ 1349705 h 5973007"/>
              <a:gd name="connsiteX57274" fmla="*/ 4252602 w 6884782"/>
              <a:gd name="connsiteY57274" fmla="*/ 1354542 h 5973007"/>
              <a:gd name="connsiteX57275" fmla="*/ 4250040 w 6884782"/>
              <a:gd name="connsiteY57275" fmla="*/ 1354258 h 5973007"/>
              <a:gd name="connsiteX57276" fmla="*/ 4248333 w 6884782"/>
              <a:gd name="connsiteY57276" fmla="*/ 1351555 h 5973007"/>
              <a:gd name="connsiteX57277" fmla="*/ 4248333 w 6884782"/>
              <a:gd name="connsiteY57277" fmla="*/ 1339888 h 5973007"/>
              <a:gd name="connsiteX57278" fmla="*/ 4248760 w 6884782"/>
              <a:gd name="connsiteY57278" fmla="*/ 1337043 h 5973007"/>
              <a:gd name="connsiteX57279" fmla="*/ 4249187 w 6884782"/>
              <a:gd name="connsiteY57279" fmla="*/ 1334482 h 5973007"/>
              <a:gd name="connsiteX57280" fmla="*/ 4253242 w 6884782"/>
              <a:gd name="connsiteY57280" fmla="*/ 1331494 h 5973007"/>
              <a:gd name="connsiteX57281" fmla="*/ 3896404 w 6884782"/>
              <a:gd name="connsiteY57281" fmla="*/ 1330641 h 5973007"/>
              <a:gd name="connsiteX57282" fmla="*/ 3897045 w 6884782"/>
              <a:gd name="connsiteY57282" fmla="*/ 1339462 h 5973007"/>
              <a:gd name="connsiteX57283" fmla="*/ 3888721 w 6884782"/>
              <a:gd name="connsiteY57283" fmla="*/ 1336616 h 5973007"/>
              <a:gd name="connsiteX57284" fmla="*/ 3896404 w 6884782"/>
              <a:gd name="connsiteY57284" fmla="*/ 1330641 h 5973007"/>
              <a:gd name="connsiteX57285" fmla="*/ 1045263 w 6884782"/>
              <a:gd name="connsiteY57285" fmla="*/ 1330272 h 5973007"/>
              <a:gd name="connsiteX57286" fmla="*/ 1062197 w 6884782"/>
              <a:gd name="connsiteY57286" fmla="*/ 1340650 h 5973007"/>
              <a:gd name="connsiteX57287" fmla="*/ 1058790 w 6884782"/>
              <a:gd name="connsiteY57287" fmla="*/ 1343903 h 5973007"/>
              <a:gd name="connsiteX57288" fmla="*/ 1044850 w 6884782"/>
              <a:gd name="connsiteY57288" fmla="*/ 1333680 h 5973007"/>
              <a:gd name="connsiteX57289" fmla="*/ 1045263 w 6884782"/>
              <a:gd name="connsiteY57289" fmla="*/ 1330272 h 5973007"/>
              <a:gd name="connsiteX57290" fmla="*/ 4236382 w 6884782"/>
              <a:gd name="connsiteY57290" fmla="*/ 1330214 h 5973007"/>
              <a:gd name="connsiteX57291" fmla="*/ 4244919 w 6884782"/>
              <a:gd name="connsiteY57291" fmla="*/ 1336616 h 5973007"/>
              <a:gd name="connsiteX57292" fmla="*/ 4244705 w 6884782"/>
              <a:gd name="connsiteY57292" fmla="*/ 1348424 h 5973007"/>
              <a:gd name="connsiteX57293" fmla="*/ 4240010 w 6884782"/>
              <a:gd name="connsiteY57293" fmla="*/ 1348282 h 5973007"/>
              <a:gd name="connsiteX57294" fmla="*/ 4236382 w 6884782"/>
              <a:gd name="connsiteY57294" fmla="*/ 1330214 h 5973007"/>
              <a:gd name="connsiteX57295" fmla="*/ 3726522 w 6884782"/>
              <a:gd name="connsiteY57295" fmla="*/ 1329076 h 5973007"/>
              <a:gd name="connsiteX57296" fmla="*/ 3728230 w 6884782"/>
              <a:gd name="connsiteY57296" fmla="*/ 1329787 h 5973007"/>
              <a:gd name="connsiteX57297" fmla="*/ 3732498 w 6884782"/>
              <a:gd name="connsiteY57297" fmla="*/ 1335620 h 5973007"/>
              <a:gd name="connsiteX57298" fmla="*/ 3753413 w 6884782"/>
              <a:gd name="connsiteY57298" fmla="*/ 1335620 h 5973007"/>
              <a:gd name="connsiteX57299" fmla="*/ 3754053 w 6884782"/>
              <a:gd name="connsiteY57299" fmla="*/ 1347571 h 5973007"/>
              <a:gd name="connsiteX57300" fmla="*/ 3733992 w 6884782"/>
              <a:gd name="connsiteY57300" fmla="*/ 1354827 h 5973007"/>
              <a:gd name="connsiteX57301" fmla="*/ 3733778 w 6884782"/>
              <a:gd name="connsiteY57301" fmla="*/ 1353688 h 5973007"/>
              <a:gd name="connsiteX57302" fmla="*/ 3727163 w 6884782"/>
              <a:gd name="connsiteY57302" fmla="*/ 1356392 h 5973007"/>
              <a:gd name="connsiteX57303" fmla="*/ 3726522 w 6884782"/>
              <a:gd name="connsiteY57303" fmla="*/ 1355396 h 5973007"/>
              <a:gd name="connsiteX57304" fmla="*/ 3725882 w 6884782"/>
              <a:gd name="connsiteY57304" fmla="*/ 1355396 h 5973007"/>
              <a:gd name="connsiteX57305" fmla="*/ 3722254 w 6884782"/>
              <a:gd name="connsiteY57305" fmla="*/ 1359664 h 5973007"/>
              <a:gd name="connsiteX57306" fmla="*/ 3722680 w 6884782"/>
              <a:gd name="connsiteY57306" fmla="*/ 1359522 h 5973007"/>
              <a:gd name="connsiteX57307" fmla="*/ 3732285 w 6884782"/>
              <a:gd name="connsiteY57307" fmla="*/ 1369765 h 5973007"/>
              <a:gd name="connsiteX57308" fmla="*/ 3733138 w 6884782"/>
              <a:gd name="connsiteY57308" fmla="*/ 1369907 h 5973007"/>
              <a:gd name="connsiteX57309" fmla="*/ 3732925 w 6884782"/>
              <a:gd name="connsiteY57309" fmla="*/ 1368484 h 5973007"/>
              <a:gd name="connsiteX57310" fmla="*/ 3732285 w 6884782"/>
              <a:gd name="connsiteY57310" fmla="*/ 1367062 h 5973007"/>
              <a:gd name="connsiteX57311" fmla="*/ 3733138 w 6884782"/>
              <a:gd name="connsiteY57311" fmla="*/ 1364643 h 5973007"/>
              <a:gd name="connsiteX57312" fmla="*/ 3739327 w 6884782"/>
              <a:gd name="connsiteY57312" fmla="*/ 1359522 h 5973007"/>
              <a:gd name="connsiteX57313" fmla="*/ 3740394 w 6884782"/>
              <a:gd name="connsiteY57313" fmla="*/ 1377874 h 5973007"/>
              <a:gd name="connsiteX57314" fmla="*/ 3739114 w 6884782"/>
              <a:gd name="connsiteY57314" fmla="*/ 1381715 h 5973007"/>
              <a:gd name="connsiteX57315" fmla="*/ 3741889 w 6884782"/>
              <a:gd name="connsiteY57315" fmla="*/ 1384419 h 5973007"/>
              <a:gd name="connsiteX57316" fmla="*/ 3737193 w 6884782"/>
              <a:gd name="connsiteY57316" fmla="*/ 1388260 h 5973007"/>
              <a:gd name="connsiteX57317" fmla="*/ 3734845 w 6884782"/>
              <a:gd name="connsiteY57317" fmla="*/ 1386268 h 5973007"/>
              <a:gd name="connsiteX57318" fmla="*/ 3734205 w 6884782"/>
              <a:gd name="connsiteY57318" fmla="*/ 1388402 h 5973007"/>
              <a:gd name="connsiteX57319" fmla="*/ 3728870 w 6884782"/>
              <a:gd name="connsiteY57319" fmla="*/ 1383992 h 5973007"/>
              <a:gd name="connsiteX57320" fmla="*/ 3726522 w 6884782"/>
              <a:gd name="connsiteY57320" fmla="*/ 1382854 h 5973007"/>
              <a:gd name="connsiteX57321" fmla="*/ 3728656 w 6884782"/>
              <a:gd name="connsiteY57321" fmla="*/ 1381573 h 5973007"/>
              <a:gd name="connsiteX57322" fmla="*/ 3731431 w 6884782"/>
              <a:gd name="connsiteY57322" fmla="*/ 1384988 h 5973007"/>
              <a:gd name="connsiteX57323" fmla="*/ 3733351 w 6884782"/>
              <a:gd name="connsiteY57323" fmla="*/ 1383707 h 5973007"/>
              <a:gd name="connsiteX57324" fmla="*/ 3734845 w 6884782"/>
              <a:gd name="connsiteY57324" fmla="*/ 1384845 h 5973007"/>
              <a:gd name="connsiteX57325" fmla="*/ 3735059 w 6884782"/>
              <a:gd name="connsiteY57325" fmla="*/ 1385130 h 5973007"/>
              <a:gd name="connsiteX57326" fmla="*/ 3735272 w 6884782"/>
              <a:gd name="connsiteY57326" fmla="*/ 1384988 h 5973007"/>
              <a:gd name="connsiteX57327" fmla="*/ 3734845 w 6884782"/>
              <a:gd name="connsiteY57327" fmla="*/ 1384845 h 5973007"/>
              <a:gd name="connsiteX57328" fmla="*/ 3733992 w 6884782"/>
              <a:gd name="connsiteY57328" fmla="*/ 1373037 h 5973007"/>
              <a:gd name="connsiteX57329" fmla="*/ 3732711 w 6884782"/>
              <a:gd name="connsiteY57329" fmla="*/ 1372326 h 5973007"/>
              <a:gd name="connsiteX57330" fmla="*/ 3731644 w 6884782"/>
              <a:gd name="connsiteY57330" fmla="*/ 1373037 h 5973007"/>
              <a:gd name="connsiteX57331" fmla="*/ 3731218 w 6884782"/>
              <a:gd name="connsiteY57331" fmla="*/ 1376309 h 5973007"/>
              <a:gd name="connsiteX57332" fmla="*/ 3721827 w 6884782"/>
              <a:gd name="connsiteY57332" fmla="*/ 1382427 h 5973007"/>
              <a:gd name="connsiteX57333" fmla="*/ 3713717 w 6884782"/>
              <a:gd name="connsiteY57333" fmla="*/ 1376452 h 5973007"/>
              <a:gd name="connsiteX57334" fmla="*/ 3713076 w 6884782"/>
              <a:gd name="connsiteY57334" fmla="*/ 1375455 h 5973007"/>
              <a:gd name="connsiteX57335" fmla="*/ 3711796 w 6884782"/>
              <a:gd name="connsiteY57335" fmla="*/ 1374744 h 5973007"/>
              <a:gd name="connsiteX57336" fmla="*/ 3707314 w 6884782"/>
              <a:gd name="connsiteY57336" fmla="*/ 1372183 h 5973007"/>
              <a:gd name="connsiteX57337" fmla="*/ 3707314 w 6884782"/>
              <a:gd name="connsiteY57337" fmla="*/ 1370903 h 5973007"/>
              <a:gd name="connsiteX57338" fmla="*/ 3709662 w 6884782"/>
              <a:gd name="connsiteY57338" fmla="*/ 1369623 h 5973007"/>
              <a:gd name="connsiteX57339" fmla="*/ 3711369 w 6884782"/>
              <a:gd name="connsiteY57339" fmla="*/ 1370334 h 5973007"/>
              <a:gd name="connsiteX57340" fmla="*/ 3710943 w 6884782"/>
              <a:gd name="connsiteY57340" fmla="*/ 1365781 h 5973007"/>
              <a:gd name="connsiteX57341" fmla="*/ 3714784 w 6884782"/>
              <a:gd name="connsiteY57341" fmla="*/ 1361798 h 5973007"/>
              <a:gd name="connsiteX57342" fmla="*/ 3716491 w 6884782"/>
              <a:gd name="connsiteY57342" fmla="*/ 1360802 h 5973007"/>
              <a:gd name="connsiteX57343" fmla="*/ 3713930 w 6884782"/>
              <a:gd name="connsiteY57343" fmla="*/ 1360802 h 5973007"/>
              <a:gd name="connsiteX57344" fmla="*/ 3709662 w 6884782"/>
              <a:gd name="connsiteY57344" fmla="*/ 1356960 h 5973007"/>
              <a:gd name="connsiteX57345" fmla="*/ 3720547 w 6884782"/>
              <a:gd name="connsiteY57345" fmla="*/ 1336901 h 5973007"/>
              <a:gd name="connsiteX57346" fmla="*/ 3722040 w 6884782"/>
              <a:gd name="connsiteY57346" fmla="*/ 1336474 h 5973007"/>
              <a:gd name="connsiteX57347" fmla="*/ 3723107 w 6884782"/>
              <a:gd name="connsiteY57347" fmla="*/ 1335194 h 5973007"/>
              <a:gd name="connsiteX57348" fmla="*/ 3723107 w 6884782"/>
              <a:gd name="connsiteY57348" fmla="*/ 1334909 h 5973007"/>
              <a:gd name="connsiteX57349" fmla="*/ 3722894 w 6884782"/>
              <a:gd name="connsiteY57349" fmla="*/ 1333771 h 5973007"/>
              <a:gd name="connsiteX57350" fmla="*/ 3725242 w 6884782"/>
              <a:gd name="connsiteY57350" fmla="*/ 1329503 h 5973007"/>
              <a:gd name="connsiteX57351" fmla="*/ 3726522 w 6884782"/>
              <a:gd name="connsiteY57351" fmla="*/ 1329076 h 5973007"/>
              <a:gd name="connsiteX57352" fmla="*/ 1110108 w 6884782"/>
              <a:gd name="connsiteY57352" fmla="*/ 1329033 h 5973007"/>
              <a:gd name="connsiteX57353" fmla="*/ 1111760 w 6884782"/>
              <a:gd name="connsiteY57353" fmla="*/ 1333060 h 5973007"/>
              <a:gd name="connsiteX57354" fmla="*/ 1109901 w 6884782"/>
              <a:gd name="connsiteY57354" fmla="*/ 1335848 h 5973007"/>
              <a:gd name="connsiteX57355" fmla="*/ 1109075 w 6884782"/>
              <a:gd name="connsiteY57355" fmla="*/ 1332131 h 5973007"/>
              <a:gd name="connsiteX57356" fmla="*/ 1110108 w 6884782"/>
              <a:gd name="connsiteY57356" fmla="*/ 1329033 h 5973007"/>
              <a:gd name="connsiteX57357" fmla="*/ 1125570 w 6884782"/>
              <a:gd name="connsiteY57357" fmla="*/ 1328800 h 5973007"/>
              <a:gd name="connsiteX57358" fmla="*/ 1132308 w 6884782"/>
              <a:gd name="connsiteY57358" fmla="*/ 1329033 h 5973007"/>
              <a:gd name="connsiteX57359" fmla="*/ 1131069 w 6884782"/>
              <a:gd name="connsiteY57359" fmla="*/ 1337552 h 5973007"/>
              <a:gd name="connsiteX57360" fmla="*/ 1121776 w 6884782"/>
              <a:gd name="connsiteY57360" fmla="*/ 1334609 h 5973007"/>
              <a:gd name="connsiteX57361" fmla="*/ 1125570 w 6884782"/>
              <a:gd name="connsiteY57361" fmla="*/ 1328800 h 5973007"/>
              <a:gd name="connsiteX57362" fmla="*/ 3566458 w 6884782"/>
              <a:gd name="connsiteY57362" fmla="*/ 1328649 h 5973007"/>
              <a:gd name="connsiteX57363" fmla="*/ 3565390 w 6884782"/>
              <a:gd name="connsiteY57363" fmla="*/ 1338466 h 5973007"/>
              <a:gd name="connsiteX57364" fmla="*/ 3563470 w 6884782"/>
              <a:gd name="connsiteY57364" fmla="*/ 1344299 h 5973007"/>
              <a:gd name="connsiteX57365" fmla="*/ 3564750 w 6884782"/>
              <a:gd name="connsiteY57365" fmla="*/ 1342592 h 5973007"/>
              <a:gd name="connsiteX57366" fmla="*/ 3571153 w 6884782"/>
              <a:gd name="connsiteY57366" fmla="*/ 1344157 h 5973007"/>
              <a:gd name="connsiteX57367" fmla="*/ 3572006 w 6884782"/>
              <a:gd name="connsiteY57367" fmla="*/ 1345152 h 5973007"/>
              <a:gd name="connsiteX57368" fmla="*/ 3572433 w 6884782"/>
              <a:gd name="connsiteY57368" fmla="*/ 1345152 h 5973007"/>
              <a:gd name="connsiteX57369" fmla="*/ 3572860 w 6884782"/>
              <a:gd name="connsiteY57369" fmla="*/ 1344583 h 5973007"/>
              <a:gd name="connsiteX57370" fmla="*/ 3576274 w 6884782"/>
              <a:gd name="connsiteY57370" fmla="*/ 1346575 h 5973007"/>
              <a:gd name="connsiteX57371" fmla="*/ 3577769 w 6884782"/>
              <a:gd name="connsiteY57371" fmla="*/ 1350132 h 5973007"/>
              <a:gd name="connsiteX57372" fmla="*/ 3574141 w 6884782"/>
              <a:gd name="connsiteY57372" fmla="*/ 1352550 h 5973007"/>
              <a:gd name="connsiteX57373" fmla="*/ 3573500 w 6884782"/>
              <a:gd name="connsiteY57373" fmla="*/ 1358241 h 5973007"/>
              <a:gd name="connsiteX57374" fmla="*/ 3567524 w 6884782"/>
              <a:gd name="connsiteY57374" fmla="*/ 1360802 h 5973007"/>
              <a:gd name="connsiteX57375" fmla="*/ 3561975 w 6884782"/>
              <a:gd name="connsiteY57375" fmla="*/ 1346575 h 5973007"/>
              <a:gd name="connsiteX57376" fmla="*/ 3562829 w 6884782"/>
              <a:gd name="connsiteY57376" fmla="*/ 1345437 h 5973007"/>
              <a:gd name="connsiteX57377" fmla="*/ 3563043 w 6884782"/>
              <a:gd name="connsiteY57377" fmla="*/ 1343730 h 5973007"/>
              <a:gd name="connsiteX57378" fmla="*/ 3566458 w 6884782"/>
              <a:gd name="connsiteY57378" fmla="*/ 1328649 h 5973007"/>
              <a:gd name="connsiteX57379" fmla="*/ 5842793 w 6884782"/>
              <a:gd name="connsiteY57379" fmla="*/ 1328080 h 5973007"/>
              <a:gd name="connsiteX57380" fmla="*/ 5845353 w 6884782"/>
              <a:gd name="connsiteY57380" fmla="*/ 1328791 h 5973007"/>
              <a:gd name="connsiteX57381" fmla="*/ 5843646 w 6884782"/>
              <a:gd name="connsiteY57381" fmla="*/ 1334909 h 5973007"/>
              <a:gd name="connsiteX57382" fmla="*/ 5832975 w 6884782"/>
              <a:gd name="connsiteY57382" fmla="*/ 1338323 h 5973007"/>
              <a:gd name="connsiteX57383" fmla="*/ 5833402 w 6884782"/>
              <a:gd name="connsiteY57383" fmla="*/ 1333486 h 5973007"/>
              <a:gd name="connsiteX57384" fmla="*/ 5842793 w 6884782"/>
              <a:gd name="connsiteY57384" fmla="*/ 1328080 h 5973007"/>
              <a:gd name="connsiteX57385" fmla="*/ 3677009 w 6884782"/>
              <a:gd name="connsiteY57385" fmla="*/ 1328080 h 5973007"/>
              <a:gd name="connsiteX57386" fmla="*/ 3688107 w 6884782"/>
              <a:gd name="connsiteY57386" fmla="*/ 1332633 h 5973007"/>
              <a:gd name="connsiteX57387" fmla="*/ 3693869 w 6884782"/>
              <a:gd name="connsiteY57387" fmla="*/ 1339746 h 5973007"/>
              <a:gd name="connsiteX57388" fmla="*/ 3696217 w 6884782"/>
              <a:gd name="connsiteY57388" fmla="*/ 1346291 h 5973007"/>
              <a:gd name="connsiteX57389" fmla="*/ 3697924 w 6884782"/>
              <a:gd name="connsiteY57389" fmla="*/ 1347429 h 5973007"/>
              <a:gd name="connsiteX57390" fmla="*/ 3696857 w 6884782"/>
              <a:gd name="connsiteY57390" fmla="*/ 1348424 h 5973007"/>
              <a:gd name="connsiteX57391" fmla="*/ 3698778 w 6884782"/>
              <a:gd name="connsiteY57391" fmla="*/ 1353973 h 5973007"/>
              <a:gd name="connsiteX57392" fmla="*/ 3704967 w 6884782"/>
              <a:gd name="connsiteY57392" fmla="*/ 1370191 h 5973007"/>
              <a:gd name="connsiteX57393" fmla="*/ 3703046 w 6884782"/>
              <a:gd name="connsiteY57393" fmla="*/ 1370049 h 5973007"/>
              <a:gd name="connsiteX57394" fmla="*/ 3704113 w 6884782"/>
              <a:gd name="connsiteY57394" fmla="*/ 1371472 h 5973007"/>
              <a:gd name="connsiteX57395" fmla="*/ 3706674 w 6884782"/>
              <a:gd name="connsiteY57395" fmla="*/ 1377874 h 5973007"/>
              <a:gd name="connsiteX57396" fmla="*/ 3705607 w 6884782"/>
              <a:gd name="connsiteY57396" fmla="*/ 1381573 h 5973007"/>
              <a:gd name="connsiteX57397" fmla="*/ 3687893 w 6884782"/>
              <a:gd name="connsiteY57397" fmla="*/ 1382711 h 5973007"/>
              <a:gd name="connsiteX57398" fmla="*/ 3686826 w 6884782"/>
              <a:gd name="connsiteY57398" fmla="*/ 1381858 h 5973007"/>
              <a:gd name="connsiteX57399" fmla="*/ 3681277 w 6884782"/>
              <a:gd name="connsiteY57399" fmla="*/ 1394946 h 5973007"/>
              <a:gd name="connsiteX57400" fmla="*/ 3680210 w 6884782"/>
              <a:gd name="connsiteY57400" fmla="*/ 1398787 h 5973007"/>
              <a:gd name="connsiteX57401" fmla="*/ 3681064 w 6884782"/>
              <a:gd name="connsiteY57401" fmla="*/ 1400068 h 5973007"/>
              <a:gd name="connsiteX57402" fmla="*/ 3683198 w 6884782"/>
              <a:gd name="connsiteY57402" fmla="*/ 1404337 h 5973007"/>
              <a:gd name="connsiteX57403" fmla="*/ 3681064 w 6884782"/>
              <a:gd name="connsiteY57403" fmla="*/ 1405047 h 5973007"/>
              <a:gd name="connsiteX57404" fmla="*/ 3682131 w 6884782"/>
              <a:gd name="connsiteY57404" fmla="*/ 1407608 h 5973007"/>
              <a:gd name="connsiteX57405" fmla="*/ 3682344 w 6884782"/>
              <a:gd name="connsiteY57405" fmla="*/ 1412018 h 5973007"/>
              <a:gd name="connsiteX57406" fmla="*/ 3673594 w 6884782"/>
              <a:gd name="connsiteY57406" fmla="*/ 1409885 h 5973007"/>
              <a:gd name="connsiteX57407" fmla="*/ 3675088 w 6884782"/>
              <a:gd name="connsiteY57407" fmla="*/ 1405332 h 5973007"/>
              <a:gd name="connsiteX57408" fmla="*/ 3672527 w 6884782"/>
              <a:gd name="connsiteY57408" fmla="*/ 1403909 h 5973007"/>
              <a:gd name="connsiteX57409" fmla="*/ 3671033 w 6884782"/>
              <a:gd name="connsiteY57409" fmla="*/ 1401349 h 5973007"/>
              <a:gd name="connsiteX57410" fmla="*/ 3669539 w 6884782"/>
              <a:gd name="connsiteY57410" fmla="*/ 1398219 h 5973007"/>
              <a:gd name="connsiteX57411" fmla="*/ 3669539 w 6884782"/>
              <a:gd name="connsiteY57411" fmla="*/ 1397650 h 5973007"/>
              <a:gd name="connsiteX57412" fmla="*/ 3668045 w 6884782"/>
              <a:gd name="connsiteY57412" fmla="*/ 1396511 h 5973007"/>
              <a:gd name="connsiteX57413" fmla="*/ 3656093 w 6884782"/>
              <a:gd name="connsiteY57413" fmla="*/ 1391248 h 5973007"/>
              <a:gd name="connsiteX57414" fmla="*/ 3655026 w 6884782"/>
              <a:gd name="connsiteY57414" fmla="*/ 1393381 h 5973007"/>
              <a:gd name="connsiteX57415" fmla="*/ 3650331 w 6884782"/>
              <a:gd name="connsiteY57415" fmla="*/ 1397507 h 5973007"/>
              <a:gd name="connsiteX57416" fmla="*/ 3649904 w 6884782"/>
              <a:gd name="connsiteY57416" fmla="*/ 1397223 h 5973007"/>
              <a:gd name="connsiteX57417" fmla="*/ 3643075 w 6884782"/>
              <a:gd name="connsiteY57417" fmla="*/ 1403340 h 5973007"/>
              <a:gd name="connsiteX57418" fmla="*/ 3633684 w 6884782"/>
              <a:gd name="connsiteY57418" fmla="*/ 1405616 h 5973007"/>
              <a:gd name="connsiteX57419" fmla="*/ 3634965 w 6884782"/>
              <a:gd name="connsiteY57419" fmla="*/ 1382427 h 5973007"/>
              <a:gd name="connsiteX57420" fmla="*/ 3642221 w 6884782"/>
              <a:gd name="connsiteY57420" fmla="*/ 1379439 h 5973007"/>
              <a:gd name="connsiteX57421" fmla="*/ 3641795 w 6884782"/>
              <a:gd name="connsiteY57421" fmla="*/ 1378585 h 5973007"/>
              <a:gd name="connsiteX57422" fmla="*/ 3639447 w 6884782"/>
              <a:gd name="connsiteY57422" fmla="*/ 1367916 h 5973007"/>
              <a:gd name="connsiteX57423" fmla="*/ 3640514 w 6884782"/>
              <a:gd name="connsiteY57423" fmla="*/ 1362367 h 5973007"/>
              <a:gd name="connsiteX57424" fmla="*/ 3640300 w 6884782"/>
              <a:gd name="connsiteY57424" fmla="*/ 1362225 h 5973007"/>
              <a:gd name="connsiteX57425" fmla="*/ 3640941 w 6884782"/>
              <a:gd name="connsiteY57425" fmla="*/ 1353688 h 5973007"/>
              <a:gd name="connsiteX57426" fmla="*/ 3643715 w 6884782"/>
              <a:gd name="connsiteY57426" fmla="*/ 1355396 h 5973007"/>
              <a:gd name="connsiteX57427" fmla="*/ 3646703 w 6884782"/>
              <a:gd name="connsiteY57427" fmla="*/ 1351270 h 5973007"/>
              <a:gd name="connsiteX57428" fmla="*/ 3650758 w 6884782"/>
              <a:gd name="connsiteY57428" fmla="*/ 1348709 h 5973007"/>
              <a:gd name="connsiteX57429" fmla="*/ 3651826 w 6884782"/>
              <a:gd name="connsiteY57429" fmla="*/ 1345437 h 5973007"/>
              <a:gd name="connsiteX57430" fmla="*/ 3648837 w 6884782"/>
              <a:gd name="connsiteY57430" fmla="*/ 1346148 h 5973007"/>
              <a:gd name="connsiteX57431" fmla="*/ 3644782 w 6884782"/>
              <a:gd name="connsiteY57431" fmla="*/ 1344014 h 5973007"/>
              <a:gd name="connsiteX57432" fmla="*/ 3652252 w 6884782"/>
              <a:gd name="connsiteY57432" fmla="*/ 1334767 h 5973007"/>
              <a:gd name="connsiteX57433" fmla="*/ 3655880 w 6884782"/>
              <a:gd name="connsiteY57433" fmla="*/ 1338466 h 5973007"/>
              <a:gd name="connsiteX57434" fmla="*/ 3655026 w 6884782"/>
              <a:gd name="connsiteY57434" fmla="*/ 1340173 h 5973007"/>
              <a:gd name="connsiteX57435" fmla="*/ 3658654 w 6884782"/>
              <a:gd name="connsiteY57435" fmla="*/ 1334909 h 5973007"/>
              <a:gd name="connsiteX57436" fmla="*/ 3677009 w 6884782"/>
              <a:gd name="connsiteY57436" fmla="*/ 1328080 h 5973007"/>
              <a:gd name="connsiteX57437" fmla="*/ 4371050 w 6884782"/>
              <a:gd name="connsiteY57437" fmla="*/ 1327938 h 5973007"/>
              <a:gd name="connsiteX57438" fmla="*/ 4380867 w 6884782"/>
              <a:gd name="connsiteY57438" fmla="*/ 1334055 h 5973007"/>
              <a:gd name="connsiteX57439" fmla="*/ 4379373 w 6884782"/>
              <a:gd name="connsiteY57439" fmla="*/ 1340884 h 5973007"/>
              <a:gd name="connsiteX57440" fmla="*/ 4367848 w 6884782"/>
              <a:gd name="connsiteY57440" fmla="*/ 1342022 h 5973007"/>
              <a:gd name="connsiteX57441" fmla="*/ 4365928 w 6884782"/>
              <a:gd name="connsiteY57441" fmla="*/ 1330214 h 5973007"/>
              <a:gd name="connsiteX57442" fmla="*/ 4371050 w 6884782"/>
              <a:gd name="connsiteY57442" fmla="*/ 1327938 h 5973007"/>
              <a:gd name="connsiteX57443" fmla="*/ 4072049 w 6884782"/>
              <a:gd name="connsiteY57443" fmla="*/ 1327796 h 5973007"/>
              <a:gd name="connsiteX57444" fmla="*/ 4092750 w 6884782"/>
              <a:gd name="connsiteY57444" fmla="*/ 1341311 h 5973007"/>
              <a:gd name="connsiteX57445" fmla="*/ 4081653 w 6884782"/>
              <a:gd name="connsiteY57445" fmla="*/ 1338608 h 5973007"/>
              <a:gd name="connsiteX57446" fmla="*/ 4075250 w 6884782"/>
              <a:gd name="connsiteY57446" fmla="*/ 1339035 h 5973007"/>
              <a:gd name="connsiteX57447" fmla="*/ 4075463 w 6884782"/>
              <a:gd name="connsiteY57447" fmla="*/ 1339035 h 5973007"/>
              <a:gd name="connsiteX57448" fmla="*/ 4065219 w 6884782"/>
              <a:gd name="connsiteY57448" fmla="*/ 1339746 h 5973007"/>
              <a:gd name="connsiteX57449" fmla="*/ 4059243 w 6884782"/>
              <a:gd name="connsiteY57449" fmla="*/ 1339462 h 5973007"/>
              <a:gd name="connsiteX57450" fmla="*/ 4059030 w 6884782"/>
              <a:gd name="connsiteY57450" fmla="*/ 1339177 h 5973007"/>
              <a:gd name="connsiteX57451" fmla="*/ 4058603 w 6884782"/>
              <a:gd name="connsiteY57451" fmla="*/ 1338750 h 5973007"/>
              <a:gd name="connsiteX57452" fmla="*/ 4048572 w 6884782"/>
              <a:gd name="connsiteY57452" fmla="*/ 1334482 h 5973007"/>
              <a:gd name="connsiteX57453" fmla="*/ 4072049 w 6884782"/>
              <a:gd name="connsiteY57453" fmla="*/ 1327796 h 5973007"/>
              <a:gd name="connsiteX57454" fmla="*/ 1698565 w 6884782"/>
              <a:gd name="connsiteY57454" fmla="*/ 1327484 h 5973007"/>
              <a:gd name="connsiteX57455" fmla="*/ 1701250 w 6884782"/>
              <a:gd name="connsiteY57455" fmla="*/ 1334609 h 5973007"/>
              <a:gd name="connsiteX57456" fmla="*/ 1698049 w 6884782"/>
              <a:gd name="connsiteY57456" fmla="*/ 1331356 h 5973007"/>
              <a:gd name="connsiteX57457" fmla="*/ 1698565 w 6884782"/>
              <a:gd name="connsiteY57457" fmla="*/ 1327484 h 5973007"/>
              <a:gd name="connsiteX57458" fmla="*/ 3628776 w 6884782"/>
              <a:gd name="connsiteY57458" fmla="*/ 1326373 h 5973007"/>
              <a:gd name="connsiteX57459" fmla="*/ 3639233 w 6884782"/>
              <a:gd name="connsiteY57459" fmla="*/ 1332775 h 5973007"/>
              <a:gd name="connsiteX57460" fmla="*/ 3622160 w 6884782"/>
              <a:gd name="connsiteY57460" fmla="*/ 1335620 h 5973007"/>
              <a:gd name="connsiteX57461" fmla="*/ 3628776 w 6884782"/>
              <a:gd name="connsiteY57461" fmla="*/ 1326373 h 5973007"/>
              <a:gd name="connsiteX57462" fmla="*/ 3566458 w 6884782"/>
              <a:gd name="connsiteY57462" fmla="*/ 1326231 h 5973007"/>
              <a:gd name="connsiteX57463" fmla="*/ 3567738 w 6884782"/>
              <a:gd name="connsiteY57463" fmla="*/ 1326231 h 5973007"/>
              <a:gd name="connsiteX57464" fmla="*/ 3566670 w 6884782"/>
              <a:gd name="connsiteY57464" fmla="*/ 1328649 h 5973007"/>
              <a:gd name="connsiteX57465" fmla="*/ 3565603 w 6884782"/>
              <a:gd name="connsiteY57465" fmla="*/ 1327226 h 5973007"/>
              <a:gd name="connsiteX57466" fmla="*/ 3566458 w 6884782"/>
              <a:gd name="connsiteY57466" fmla="*/ 1326231 h 5973007"/>
              <a:gd name="connsiteX57467" fmla="*/ 4307878 w 6884782"/>
              <a:gd name="connsiteY57467" fmla="*/ 1325946 h 5973007"/>
              <a:gd name="connsiteX57468" fmla="*/ 4330073 w 6884782"/>
              <a:gd name="connsiteY57468" fmla="*/ 1348282 h 5973007"/>
              <a:gd name="connsiteX57469" fmla="*/ 4315561 w 6884782"/>
              <a:gd name="connsiteY57469" fmla="*/ 1340173 h 5973007"/>
              <a:gd name="connsiteX57470" fmla="*/ 4303182 w 6884782"/>
              <a:gd name="connsiteY57470" fmla="*/ 1326373 h 5973007"/>
              <a:gd name="connsiteX57471" fmla="*/ 4307878 w 6884782"/>
              <a:gd name="connsiteY57471" fmla="*/ 1325946 h 5973007"/>
              <a:gd name="connsiteX57472" fmla="*/ 4345012 w 6884782"/>
              <a:gd name="connsiteY57472" fmla="*/ 1325662 h 5973007"/>
              <a:gd name="connsiteX57473" fmla="*/ 4350562 w 6884782"/>
              <a:gd name="connsiteY57473" fmla="*/ 1330641 h 5973007"/>
              <a:gd name="connsiteX57474" fmla="*/ 4345012 w 6884782"/>
              <a:gd name="connsiteY57474" fmla="*/ 1325662 h 5973007"/>
              <a:gd name="connsiteX57475" fmla="*/ 1109075 w 6884782"/>
              <a:gd name="connsiteY57475" fmla="*/ 1325470 h 5973007"/>
              <a:gd name="connsiteX57476" fmla="*/ 1110211 w 6884782"/>
              <a:gd name="connsiteY57476" fmla="*/ 1325780 h 5973007"/>
              <a:gd name="connsiteX57477" fmla="*/ 1110624 w 6884782"/>
              <a:gd name="connsiteY57477" fmla="*/ 1326400 h 5973007"/>
              <a:gd name="connsiteX57478" fmla="*/ 1110005 w 6884782"/>
              <a:gd name="connsiteY57478" fmla="*/ 1328878 h 5973007"/>
              <a:gd name="connsiteX57479" fmla="*/ 1108662 w 6884782"/>
              <a:gd name="connsiteY57479" fmla="*/ 1326090 h 5973007"/>
              <a:gd name="connsiteX57480" fmla="*/ 1109798 w 6884782"/>
              <a:gd name="connsiteY57480" fmla="*/ 1325935 h 5973007"/>
              <a:gd name="connsiteX57481" fmla="*/ 1109075 w 6884782"/>
              <a:gd name="connsiteY57481" fmla="*/ 1325470 h 5973007"/>
              <a:gd name="connsiteX57482" fmla="*/ 4449161 w 6884782"/>
              <a:gd name="connsiteY57482" fmla="*/ 1324950 h 5973007"/>
              <a:gd name="connsiteX57483" fmla="*/ 4458339 w 6884782"/>
              <a:gd name="connsiteY57483" fmla="*/ 1339320 h 5973007"/>
              <a:gd name="connsiteX57484" fmla="*/ 4461327 w 6884782"/>
              <a:gd name="connsiteY57484" fmla="*/ 1359237 h 5973007"/>
              <a:gd name="connsiteX57485" fmla="*/ 4456204 w 6884782"/>
              <a:gd name="connsiteY57485" fmla="*/ 1363078 h 5973007"/>
              <a:gd name="connsiteX57486" fmla="*/ 4453856 w 6884782"/>
              <a:gd name="connsiteY57486" fmla="*/ 1364074 h 5973007"/>
              <a:gd name="connsiteX57487" fmla="*/ 4453003 w 6884782"/>
              <a:gd name="connsiteY57487" fmla="*/ 1365070 h 5973007"/>
              <a:gd name="connsiteX57488" fmla="*/ 4448308 w 6884782"/>
              <a:gd name="connsiteY57488" fmla="*/ 1365497 h 5973007"/>
              <a:gd name="connsiteX57489" fmla="*/ 4449801 w 6884782"/>
              <a:gd name="connsiteY57489" fmla="*/ 1363220 h 5973007"/>
              <a:gd name="connsiteX57490" fmla="*/ 4450656 w 6884782"/>
              <a:gd name="connsiteY57490" fmla="*/ 1362225 h 5973007"/>
              <a:gd name="connsiteX57491" fmla="*/ 4451936 w 6884782"/>
              <a:gd name="connsiteY57491" fmla="*/ 1357672 h 5973007"/>
              <a:gd name="connsiteX57492" fmla="*/ 4449161 w 6884782"/>
              <a:gd name="connsiteY57492" fmla="*/ 1324950 h 5973007"/>
              <a:gd name="connsiteX57493" fmla="*/ 4779322 w 6884782"/>
              <a:gd name="connsiteY57493" fmla="*/ 1324808 h 5973007"/>
              <a:gd name="connsiteX57494" fmla="*/ 4785297 w 6884782"/>
              <a:gd name="connsiteY57494" fmla="*/ 1328222 h 5973007"/>
              <a:gd name="connsiteX57495" fmla="*/ 4779108 w 6884782"/>
              <a:gd name="connsiteY57495" fmla="*/ 1338750 h 5973007"/>
              <a:gd name="connsiteX57496" fmla="*/ 4779322 w 6884782"/>
              <a:gd name="connsiteY57496" fmla="*/ 1324808 h 5973007"/>
              <a:gd name="connsiteX57497" fmla="*/ 1415850 w 6884782"/>
              <a:gd name="connsiteY57497" fmla="*/ 1324386 h 5973007"/>
              <a:gd name="connsiteX57498" fmla="*/ 1418121 w 6884782"/>
              <a:gd name="connsiteY57498" fmla="*/ 1327793 h 5973007"/>
              <a:gd name="connsiteX57499" fmla="*/ 1417605 w 6884782"/>
              <a:gd name="connsiteY57499" fmla="*/ 1330891 h 5973007"/>
              <a:gd name="connsiteX57500" fmla="*/ 1417192 w 6884782"/>
              <a:gd name="connsiteY57500" fmla="*/ 1331821 h 5973007"/>
              <a:gd name="connsiteX57501" fmla="*/ 1417398 w 6884782"/>
              <a:gd name="connsiteY57501" fmla="*/ 1331821 h 5973007"/>
              <a:gd name="connsiteX57502" fmla="*/ 1417295 w 6884782"/>
              <a:gd name="connsiteY57502" fmla="*/ 1334299 h 5973007"/>
              <a:gd name="connsiteX57503" fmla="*/ 1417502 w 6884782"/>
              <a:gd name="connsiteY57503" fmla="*/ 1335074 h 5973007"/>
              <a:gd name="connsiteX57504" fmla="*/ 1417295 w 6884782"/>
              <a:gd name="connsiteY57504" fmla="*/ 1335228 h 5973007"/>
              <a:gd name="connsiteX57505" fmla="*/ 1417295 w 6884782"/>
              <a:gd name="connsiteY57505" fmla="*/ 1336158 h 5973007"/>
              <a:gd name="connsiteX57506" fmla="*/ 1413784 w 6884782"/>
              <a:gd name="connsiteY57506" fmla="*/ 1334919 h 5973007"/>
              <a:gd name="connsiteX57507" fmla="*/ 1412855 w 6884782"/>
              <a:gd name="connsiteY57507" fmla="*/ 1332286 h 5973007"/>
              <a:gd name="connsiteX57508" fmla="*/ 1413681 w 6884782"/>
              <a:gd name="connsiteY57508" fmla="*/ 1331821 h 5973007"/>
              <a:gd name="connsiteX57509" fmla="*/ 1413784 w 6884782"/>
              <a:gd name="connsiteY57509" fmla="*/ 1332440 h 5973007"/>
              <a:gd name="connsiteX57510" fmla="*/ 1415024 w 6884782"/>
              <a:gd name="connsiteY57510" fmla="*/ 1332131 h 5973007"/>
              <a:gd name="connsiteX57511" fmla="*/ 1414301 w 6884782"/>
              <a:gd name="connsiteY57511" fmla="*/ 1330891 h 5973007"/>
              <a:gd name="connsiteX57512" fmla="*/ 1412855 w 6884782"/>
              <a:gd name="connsiteY57512" fmla="*/ 1326400 h 5973007"/>
              <a:gd name="connsiteX57513" fmla="*/ 1413578 w 6884782"/>
              <a:gd name="connsiteY57513" fmla="*/ 1324850 h 5973007"/>
              <a:gd name="connsiteX57514" fmla="*/ 1415850 w 6884782"/>
              <a:gd name="connsiteY57514" fmla="*/ 1324386 h 5973007"/>
              <a:gd name="connsiteX57515" fmla="*/ 4138849 w 6884782"/>
              <a:gd name="connsiteY57515" fmla="*/ 1323812 h 5973007"/>
              <a:gd name="connsiteX57516" fmla="*/ 4147386 w 6884782"/>
              <a:gd name="connsiteY57516" fmla="*/ 1326089 h 5973007"/>
              <a:gd name="connsiteX57517" fmla="*/ 4138849 w 6884782"/>
              <a:gd name="connsiteY57517" fmla="*/ 1323812 h 5973007"/>
              <a:gd name="connsiteX57518" fmla="*/ 4854019 w 6884782"/>
              <a:gd name="connsiteY57518" fmla="*/ 1322816 h 5973007"/>
              <a:gd name="connsiteX57519" fmla="*/ 4858714 w 6884782"/>
              <a:gd name="connsiteY57519" fmla="*/ 1325804 h 5973007"/>
              <a:gd name="connsiteX57520" fmla="*/ 4858928 w 6884782"/>
              <a:gd name="connsiteY57520" fmla="*/ 1330783 h 5973007"/>
              <a:gd name="connsiteX57521" fmla="*/ 4855299 w 6884782"/>
              <a:gd name="connsiteY57521" fmla="*/ 1335478 h 5973007"/>
              <a:gd name="connsiteX57522" fmla="*/ 4855940 w 6884782"/>
              <a:gd name="connsiteY57522" fmla="*/ 1334482 h 5973007"/>
              <a:gd name="connsiteX57523" fmla="*/ 4854019 w 6884782"/>
              <a:gd name="connsiteY57523" fmla="*/ 1333202 h 5973007"/>
              <a:gd name="connsiteX57524" fmla="*/ 4853378 w 6884782"/>
              <a:gd name="connsiteY57524" fmla="*/ 1334198 h 5973007"/>
              <a:gd name="connsiteX57525" fmla="*/ 4852098 w 6884782"/>
              <a:gd name="connsiteY57525" fmla="*/ 1332063 h 5973007"/>
              <a:gd name="connsiteX57526" fmla="*/ 4854019 w 6884782"/>
              <a:gd name="connsiteY57526" fmla="*/ 1322816 h 5973007"/>
              <a:gd name="connsiteX57527" fmla="*/ 1393959 w 6884782"/>
              <a:gd name="connsiteY57527" fmla="*/ 1322372 h 5973007"/>
              <a:gd name="connsiteX57528" fmla="*/ 1403356 w 6884782"/>
              <a:gd name="connsiteY57528" fmla="*/ 1323611 h 5973007"/>
              <a:gd name="connsiteX57529" fmla="*/ 1390448 w 6884782"/>
              <a:gd name="connsiteY57529" fmla="*/ 1345142 h 5973007"/>
              <a:gd name="connsiteX57530" fmla="*/ 1390448 w 6884782"/>
              <a:gd name="connsiteY57530" fmla="*/ 1331976 h 5973007"/>
              <a:gd name="connsiteX57531" fmla="*/ 1393959 w 6884782"/>
              <a:gd name="connsiteY57531" fmla="*/ 1322372 h 5973007"/>
              <a:gd name="connsiteX57532" fmla="*/ 5478058 w 6884782"/>
              <a:gd name="connsiteY57532" fmla="*/ 1321820 h 5973007"/>
              <a:gd name="connsiteX57533" fmla="*/ 5481046 w 6884782"/>
              <a:gd name="connsiteY57533" fmla="*/ 1323812 h 5973007"/>
              <a:gd name="connsiteX57534" fmla="*/ 5482327 w 6884782"/>
              <a:gd name="connsiteY57534" fmla="*/ 1326373 h 5973007"/>
              <a:gd name="connsiteX57535" fmla="*/ 5481686 w 6884782"/>
              <a:gd name="connsiteY57535" fmla="*/ 1329787 h 5973007"/>
              <a:gd name="connsiteX57536" fmla="*/ 5471442 w 6884782"/>
              <a:gd name="connsiteY57536" fmla="*/ 1329645 h 5973007"/>
              <a:gd name="connsiteX57537" fmla="*/ 5470589 w 6884782"/>
              <a:gd name="connsiteY57537" fmla="*/ 1326089 h 5973007"/>
              <a:gd name="connsiteX57538" fmla="*/ 5478058 w 6884782"/>
              <a:gd name="connsiteY57538" fmla="*/ 1321820 h 5973007"/>
              <a:gd name="connsiteX57539" fmla="*/ 1097717 w 6884782"/>
              <a:gd name="connsiteY57539" fmla="*/ 1321443 h 5973007"/>
              <a:gd name="connsiteX57540" fmla="*/ 1097510 w 6884782"/>
              <a:gd name="connsiteY57540" fmla="*/ 1329188 h 5973007"/>
              <a:gd name="connsiteX57541" fmla="*/ 1095755 w 6884782"/>
              <a:gd name="connsiteY57541" fmla="*/ 1329807 h 5973007"/>
              <a:gd name="connsiteX57542" fmla="*/ 1091315 w 6884782"/>
              <a:gd name="connsiteY57542" fmla="*/ 1330272 h 5973007"/>
              <a:gd name="connsiteX57543" fmla="*/ 1089766 w 6884782"/>
              <a:gd name="connsiteY57543" fmla="*/ 1327484 h 5973007"/>
              <a:gd name="connsiteX57544" fmla="*/ 1091522 w 6884782"/>
              <a:gd name="connsiteY57544" fmla="*/ 1324386 h 5973007"/>
              <a:gd name="connsiteX57545" fmla="*/ 1094620 w 6884782"/>
              <a:gd name="connsiteY57545" fmla="*/ 1322527 h 5973007"/>
              <a:gd name="connsiteX57546" fmla="*/ 1097717 w 6884782"/>
              <a:gd name="connsiteY57546" fmla="*/ 1321443 h 5973007"/>
              <a:gd name="connsiteX57547" fmla="*/ 3566884 w 6884782"/>
              <a:gd name="connsiteY57547" fmla="*/ 1319971 h 5973007"/>
              <a:gd name="connsiteX57548" fmla="*/ 3567951 w 6884782"/>
              <a:gd name="connsiteY57548" fmla="*/ 1320113 h 5973007"/>
              <a:gd name="connsiteX57549" fmla="*/ 3566884 w 6884782"/>
              <a:gd name="connsiteY57549" fmla="*/ 1322674 h 5973007"/>
              <a:gd name="connsiteX57550" fmla="*/ 3566884 w 6884782"/>
              <a:gd name="connsiteY57550" fmla="*/ 1319971 h 5973007"/>
              <a:gd name="connsiteX57551" fmla="*/ 5155368 w 6884782"/>
              <a:gd name="connsiteY57551" fmla="*/ 1318975 h 5973007"/>
              <a:gd name="connsiteX57552" fmla="*/ 5156861 w 6884782"/>
              <a:gd name="connsiteY57552" fmla="*/ 1320255 h 5973007"/>
              <a:gd name="connsiteX57553" fmla="*/ 5154300 w 6884782"/>
              <a:gd name="connsiteY57553" fmla="*/ 1330214 h 5973007"/>
              <a:gd name="connsiteX57554" fmla="*/ 5153447 w 6884782"/>
              <a:gd name="connsiteY57554" fmla="*/ 1329503 h 5973007"/>
              <a:gd name="connsiteX57555" fmla="*/ 5152806 w 6884782"/>
              <a:gd name="connsiteY57555" fmla="*/ 1329930 h 5973007"/>
              <a:gd name="connsiteX57556" fmla="*/ 5148965 w 6884782"/>
              <a:gd name="connsiteY57556" fmla="*/ 1329787 h 5973007"/>
              <a:gd name="connsiteX57557" fmla="*/ 5143202 w 6884782"/>
              <a:gd name="connsiteY57557" fmla="*/ 1330214 h 5973007"/>
              <a:gd name="connsiteX57558" fmla="*/ 5124422 w 6884782"/>
              <a:gd name="connsiteY57558" fmla="*/ 1326373 h 5973007"/>
              <a:gd name="connsiteX57559" fmla="*/ 5132105 w 6884782"/>
              <a:gd name="connsiteY57559" fmla="*/ 1324524 h 5973007"/>
              <a:gd name="connsiteX57560" fmla="*/ 5142135 w 6884782"/>
              <a:gd name="connsiteY57560" fmla="*/ 1324524 h 5973007"/>
              <a:gd name="connsiteX57561" fmla="*/ 5149819 w 6884782"/>
              <a:gd name="connsiteY57561" fmla="*/ 1323670 h 5973007"/>
              <a:gd name="connsiteX57562" fmla="*/ 5151099 w 6884782"/>
              <a:gd name="connsiteY57562" fmla="*/ 1321394 h 5973007"/>
              <a:gd name="connsiteX57563" fmla="*/ 5153447 w 6884782"/>
              <a:gd name="connsiteY57563" fmla="*/ 1319117 h 5973007"/>
              <a:gd name="connsiteX57564" fmla="*/ 5155368 w 6884782"/>
              <a:gd name="connsiteY57564" fmla="*/ 1318975 h 5973007"/>
              <a:gd name="connsiteX57565" fmla="*/ 5102226 w 6884782"/>
              <a:gd name="connsiteY57565" fmla="*/ 1318548 h 5973007"/>
              <a:gd name="connsiteX57566" fmla="*/ 5072134 w 6884782"/>
              <a:gd name="connsiteY57566" fmla="*/ 1338039 h 5973007"/>
              <a:gd name="connsiteX57567" fmla="*/ 5102226 w 6884782"/>
              <a:gd name="connsiteY57567" fmla="*/ 1318548 h 5973007"/>
              <a:gd name="connsiteX57568" fmla="*/ 6032736 w 6884782"/>
              <a:gd name="connsiteY57568" fmla="*/ 1318406 h 5973007"/>
              <a:gd name="connsiteX57569" fmla="*/ 6035938 w 6884782"/>
              <a:gd name="connsiteY57569" fmla="*/ 1319260 h 5973007"/>
              <a:gd name="connsiteX57570" fmla="*/ 6025267 w 6884782"/>
              <a:gd name="connsiteY57570" fmla="*/ 1325946 h 5973007"/>
              <a:gd name="connsiteX57571" fmla="*/ 6032736 w 6884782"/>
              <a:gd name="connsiteY57571" fmla="*/ 1318406 h 5973007"/>
              <a:gd name="connsiteX57572" fmla="*/ 1541616 w 6884782"/>
              <a:gd name="connsiteY57572" fmla="*/ 1317725 h 5973007"/>
              <a:gd name="connsiteX57573" fmla="*/ 1541099 w 6884782"/>
              <a:gd name="connsiteY57573" fmla="*/ 1320978 h 5973007"/>
              <a:gd name="connsiteX57574" fmla="*/ 1538311 w 6884782"/>
              <a:gd name="connsiteY57574" fmla="*/ 1321753 h 5973007"/>
              <a:gd name="connsiteX57575" fmla="*/ 1541616 w 6884782"/>
              <a:gd name="connsiteY57575" fmla="*/ 1317725 h 5973007"/>
              <a:gd name="connsiteX57576" fmla="*/ 3719479 w 6884782"/>
              <a:gd name="connsiteY57576" fmla="*/ 1317268 h 5973007"/>
              <a:gd name="connsiteX57577" fmla="*/ 3722467 w 6884782"/>
              <a:gd name="connsiteY57577" fmla="*/ 1317837 h 5973007"/>
              <a:gd name="connsiteX57578" fmla="*/ 3724815 w 6884782"/>
              <a:gd name="connsiteY57578" fmla="*/ 1324239 h 5973007"/>
              <a:gd name="connsiteX57579" fmla="*/ 3723107 w 6884782"/>
              <a:gd name="connsiteY57579" fmla="*/ 1326373 h 5973007"/>
              <a:gd name="connsiteX57580" fmla="*/ 3722040 w 6884782"/>
              <a:gd name="connsiteY57580" fmla="*/ 1326231 h 5973007"/>
              <a:gd name="connsiteX57581" fmla="*/ 3717345 w 6884782"/>
              <a:gd name="connsiteY57581" fmla="*/ 1325519 h 5973007"/>
              <a:gd name="connsiteX57582" fmla="*/ 3715424 w 6884782"/>
              <a:gd name="connsiteY57582" fmla="*/ 1319117 h 5973007"/>
              <a:gd name="connsiteX57583" fmla="*/ 3719479 w 6884782"/>
              <a:gd name="connsiteY57583" fmla="*/ 1317268 h 5973007"/>
              <a:gd name="connsiteX57584" fmla="*/ 1386318 w 6884782"/>
              <a:gd name="connsiteY57584" fmla="*/ 1316796 h 5973007"/>
              <a:gd name="connsiteX57585" fmla="*/ 1393753 w 6884782"/>
              <a:gd name="connsiteY57585" fmla="*/ 1317880 h 5973007"/>
              <a:gd name="connsiteX57586" fmla="*/ 1387041 w 6884782"/>
              <a:gd name="connsiteY57586" fmla="*/ 1317725 h 5973007"/>
              <a:gd name="connsiteX57587" fmla="*/ 1386318 w 6884782"/>
              <a:gd name="connsiteY57587" fmla="*/ 1316796 h 5973007"/>
              <a:gd name="connsiteX57588" fmla="*/ 1542132 w 6884782"/>
              <a:gd name="connsiteY57588" fmla="*/ 1315247 h 5973007"/>
              <a:gd name="connsiteX57589" fmla="*/ 1541822 w 6884782"/>
              <a:gd name="connsiteY57589" fmla="*/ 1317105 h 5973007"/>
              <a:gd name="connsiteX57590" fmla="*/ 1541099 w 6884782"/>
              <a:gd name="connsiteY57590" fmla="*/ 1317105 h 5973007"/>
              <a:gd name="connsiteX57591" fmla="*/ 1542132 w 6884782"/>
              <a:gd name="connsiteY57591" fmla="*/ 1315247 h 5973007"/>
              <a:gd name="connsiteX57592" fmla="*/ 4757553 w 6884782"/>
              <a:gd name="connsiteY57592" fmla="*/ 1314422 h 5973007"/>
              <a:gd name="connsiteX57593" fmla="*/ 4759901 w 6884782"/>
              <a:gd name="connsiteY57593" fmla="*/ 1316130 h 5973007"/>
              <a:gd name="connsiteX57594" fmla="*/ 4757766 w 6884782"/>
              <a:gd name="connsiteY57594" fmla="*/ 1322389 h 5973007"/>
              <a:gd name="connsiteX57595" fmla="*/ 4753925 w 6884782"/>
              <a:gd name="connsiteY57595" fmla="*/ 1317268 h 5973007"/>
              <a:gd name="connsiteX57596" fmla="*/ 4757553 w 6884782"/>
              <a:gd name="connsiteY57596" fmla="*/ 1314422 h 5973007"/>
              <a:gd name="connsiteX57597" fmla="*/ 1262617 w 6884782"/>
              <a:gd name="connsiteY57597" fmla="*/ 1314318 h 5973007"/>
              <a:gd name="connsiteX57598" fmla="*/ 1266954 w 6884782"/>
              <a:gd name="connsiteY57598" fmla="*/ 1314937 h 5973007"/>
              <a:gd name="connsiteX57599" fmla="*/ 1267677 w 6884782"/>
              <a:gd name="connsiteY57599" fmla="*/ 1317415 h 5973007"/>
              <a:gd name="connsiteX57600" fmla="*/ 1264992 w 6884782"/>
              <a:gd name="connsiteY57600" fmla="*/ 1318345 h 5973007"/>
              <a:gd name="connsiteX57601" fmla="*/ 1262514 w 6884782"/>
              <a:gd name="connsiteY57601" fmla="*/ 1317725 h 5973007"/>
              <a:gd name="connsiteX57602" fmla="*/ 1262204 w 6884782"/>
              <a:gd name="connsiteY57602" fmla="*/ 1316331 h 5973007"/>
              <a:gd name="connsiteX57603" fmla="*/ 1262617 w 6884782"/>
              <a:gd name="connsiteY57603" fmla="*/ 1314318 h 5973007"/>
              <a:gd name="connsiteX57604" fmla="*/ 4617336 w 6884782"/>
              <a:gd name="connsiteY57604" fmla="*/ 1313996 h 5973007"/>
              <a:gd name="connsiteX57605" fmla="*/ 4609440 w 6884782"/>
              <a:gd name="connsiteY57605" fmla="*/ 1334055 h 5973007"/>
              <a:gd name="connsiteX57606" fmla="*/ 4606665 w 6884782"/>
              <a:gd name="connsiteY57606" fmla="*/ 1330072 h 5973007"/>
              <a:gd name="connsiteX57607" fmla="*/ 4617336 w 6884782"/>
              <a:gd name="connsiteY57607" fmla="*/ 1313996 h 5973007"/>
              <a:gd name="connsiteX57608" fmla="*/ 3407673 w 6884782"/>
              <a:gd name="connsiteY57608" fmla="*/ 1313853 h 5973007"/>
              <a:gd name="connsiteX57609" fmla="*/ 3410021 w 6884782"/>
              <a:gd name="connsiteY57609" fmla="*/ 1315560 h 5973007"/>
              <a:gd name="connsiteX57610" fmla="*/ 3409807 w 6884782"/>
              <a:gd name="connsiteY57610" fmla="*/ 1316699 h 5973007"/>
              <a:gd name="connsiteX57611" fmla="*/ 3409381 w 6884782"/>
              <a:gd name="connsiteY57611" fmla="*/ 1321536 h 5973007"/>
              <a:gd name="connsiteX57612" fmla="*/ 3403405 w 6884782"/>
              <a:gd name="connsiteY57612" fmla="*/ 1323812 h 5973007"/>
              <a:gd name="connsiteX57613" fmla="*/ 3401697 w 6884782"/>
              <a:gd name="connsiteY57613" fmla="*/ 1316699 h 5973007"/>
              <a:gd name="connsiteX57614" fmla="*/ 3407673 w 6884782"/>
              <a:gd name="connsiteY57614" fmla="*/ 1313853 h 5973007"/>
              <a:gd name="connsiteX57615" fmla="*/ 3568591 w 6884782"/>
              <a:gd name="connsiteY57615" fmla="*/ 1313426 h 5973007"/>
              <a:gd name="connsiteX57616" fmla="*/ 3570726 w 6884782"/>
              <a:gd name="connsiteY57616" fmla="*/ 1313568 h 5973007"/>
              <a:gd name="connsiteX57617" fmla="*/ 3567098 w 6884782"/>
              <a:gd name="connsiteY57617" fmla="*/ 1319117 h 5973007"/>
              <a:gd name="connsiteX57618" fmla="*/ 3567311 w 6884782"/>
              <a:gd name="connsiteY57618" fmla="*/ 1314280 h 5973007"/>
              <a:gd name="connsiteX57619" fmla="*/ 3568591 w 6884782"/>
              <a:gd name="connsiteY57619" fmla="*/ 1313426 h 5973007"/>
              <a:gd name="connsiteX57620" fmla="*/ 1367009 w 6884782"/>
              <a:gd name="connsiteY57620" fmla="*/ 1312924 h 5973007"/>
              <a:gd name="connsiteX57621" fmla="*/ 1380433 w 6884782"/>
              <a:gd name="connsiteY57621" fmla="*/ 1315867 h 5973007"/>
              <a:gd name="connsiteX57622" fmla="*/ 1367009 w 6884782"/>
              <a:gd name="connsiteY57622" fmla="*/ 1312924 h 5973007"/>
              <a:gd name="connsiteX57623" fmla="*/ 5001919 w 6884782"/>
              <a:gd name="connsiteY57623" fmla="*/ 1312715 h 5973007"/>
              <a:gd name="connsiteX57624" fmla="*/ 5009602 w 6884782"/>
              <a:gd name="connsiteY57624" fmla="*/ 1316556 h 5973007"/>
              <a:gd name="connsiteX57625" fmla="*/ 5004479 w 6884782"/>
              <a:gd name="connsiteY57625" fmla="*/ 1328649 h 5973007"/>
              <a:gd name="connsiteX57626" fmla="*/ 4993808 w 6884782"/>
              <a:gd name="connsiteY57626" fmla="*/ 1321251 h 5973007"/>
              <a:gd name="connsiteX57627" fmla="*/ 5001919 w 6884782"/>
              <a:gd name="connsiteY57627" fmla="*/ 1312715 h 5973007"/>
              <a:gd name="connsiteX57628" fmla="*/ 1055485 w 6884782"/>
              <a:gd name="connsiteY57628" fmla="*/ 1312459 h 5973007"/>
              <a:gd name="connsiteX57629" fmla="*/ 1065398 w 6884782"/>
              <a:gd name="connsiteY57629" fmla="*/ 1321133 h 5973007"/>
              <a:gd name="connsiteX57630" fmla="*/ 1060029 w 6884782"/>
              <a:gd name="connsiteY57630" fmla="*/ 1326400 h 5973007"/>
              <a:gd name="connsiteX57631" fmla="*/ 1051045 w 6884782"/>
              <a:gd name="connsiteY57631" fmla="*/ 1321753 h 5973007"/>
              <a:gd name="connsiteX57632" fmla="*/ 1051252 w 6884782"/>
              <a:gd name="connsiteY57632" fmla="*/ 1317880 h 5973007"/>
              <a:gd name="connsiteX57633" fmla="*/ 1055485 w 6884782"/>
              <a:gd name="connsiteY57633" fmla="*/ 1312459 h 5973007"/>
              <a:gd name="connsiteX57634" fmla="*/ 4365501 w 6884782"/>
              <a:gd name="connsiteY57634" fmla="*/ 1312431 h 5973007"/>
              <a:gd name="connsiteX57635" fmla="*/ 4370196 w 6884782"/>
              <a:gd name="connsiteY57635" fmla="*/ 1314565 h 5973007"/>
              <a:gd name="connsiteX57636" fmla="*/ 4371050 w 6884782"/>
              <a:gd name="connsiteY57636" fmla="*/ 1318975 h 5973007"/>
              <a:gd name="connsiteX57637" fmla="*/ 4359098 w 6884782"/>
              <a:gd name="connsiteY57637" fmla="*/ 1319544 h 5973007"/>
              <a:gd name="connsiteX57638" fmla="*/ 4359738 w 6884782"/>
              <a:gd name="connsiteY57638" fmla="*/ 1314422 h 5973007"/>
              <a:gd name="connsiteX57639" fmla="*/ 4365501 w 6884782"/>
              <a:gd name="connsiteY57639" fmla="*/ 1312431 h 5973007"/>
              <a:gd name="connsiteX57640" fmla="*/ 1692989 w 6884782"/>
              <a:gd name="connsiteY57640" fmla="*/ 1312304 h 5973007"/>
              <a:gd name="connsiteX57641" fmla="*/ 1702386 w 6884782"/>
              <a:gd name="connsiteY57641" fmla="*/ 1322992 h 5973007"/>
              <a:gd name="connsiteX57642" fmla="*/ 1688033 w 6884782"/>
              <a:gd name="connsiteY57642" fmla="*/ 1324850 h 5973007"/>
              <a:gd name="connsiteX57643" fmla="*/ 1687827 w 6884782"/>
              <a:gd name="connsiteY57643" fmla="*/ 1320823 h 5973007"/>
              <a:gd name="connsiteX57644" fmla="*/ 1692989 w 6884782"/>
              <a:gd name="connsiteY57644" fmla="*/ 1312304 h 5973007"/>
              <a:gd name="connsiteX57645" fmla="*/ 1365151 w 6884782"/>
              <a:gd name="connsiteY57645" fmla="*/ 1311994 h 5973007"/>
              <a:gd name="connsiteX57646" fmla="*/ 1367009 w 6884782"/>
              <a:gd name="connsiteY57646" fmla="*/ 1312769 h 5973007"/>
              <a:gd name="connsiteX57647" fmla="*/ 1365977 w 6884782"/>
              <a:gd name="connsiteY57647" fmla="*/ 1313543 h 5973007"/>
              <a:gd name="connsiteX57648" fmla="*/ 1365151 w 6884782"/>
              <a:gd name="connsiteY57648" fmla="*/ 1313079 h 5973007"/>
              <a:gd name="connsiteX57649" fmla="*/ 1365151 w 6884782"/>
              <a:gd name="connsiteY57649" fmla="*/ 1311994 h 5973007"/>
              <a:gd name="connsiteX57650" fmla="*/ 1145422 w 6884782"/>
              <a:gd name="connsiteY57650" fmla="*/ 1311994 h 5973007"/>
              <a:gd name="connsiteX57651" fmla="*/ 1149965 w 6884782"/>
              <a:gd name="connsiteY57651" fmla="*/ 1320049 h 5973007"/>
              <a:gd name="connsiteX57652" fmla="*/ 1148106 w 6884782"/>
              <a:gd name="connsiteY57652" fmla="*/ 1320668 h 5973007"/>
              <a:gd name="connsiteX57653" fmla="*/ 1148623 w 6884782"/>
              <a:gd name="connsiteY57653" fmla="*/ 1321133 h 5973007"/>
              <a:gd name="connsiteX57654" fmla="*/ 1149759 w 6884782"/>
              <a:gd name="connsiteY57654" fmla="*/ 1325160 h 5973007"/>
              <a:gd name="connsiteX57655" fmla="*/ 1147177 w 6884782"/>
              <a:gd name="connsiteY57655" fmla="*/ 1322527 h 5973007"/>
              <a:gd name="connsiteX57656" fmla="*/ 1146248 w 6884782"/>
              <a:gd name="connsiteY57656" fmla="*/ 1321288 h 5973007"/>
              <a:gd name="connsiteX57657" fmla="*/ 1143976 w 6884782"/>
              <a:gd name="connsiteY57657" fmla="*/ 1322062 h 5973007"/>
              <a:gd name="connsiteX57658" fmla="*/ 1137781 w 6884782"/>
              <a:gd name="connsiteY57658" fmla="*/ 1318964 h 5973007"/>
              <a:gd name="connsiteX57659" fmla="*/ 1145422 w 6884782"/>
              <a:gd name="connsiteY57659" fmla="*/ 1311994 h 5973007"/>
              <a:gd name="connsiteX57660" fmla="*/ 1360814 w 6884782"/>
              <a:gd name="connsiteY57660" fmla="*/ 1311839 h 5973007"/>
              <a:gd name="connsiteX57661" fmla="*/ 1362569 w 6884782"/>
              <a:gd name="connsiteY57661" fmla="*/ 1312769 h 5973007"/>
              <a:gd name="connsiteX57662" fmla="*/ 1360711 w 6884782"/>
              <a:gd name="connsiteY57662" fmla="*/ 1312614 h 5973007"/>
              <a:gd name="connsiteX57663" fmla="*/ 1360814 w 6884782"/>
              <a:gd name="connsiteY57663" fmla="*/ 1311839 h 5973007"/>
              <a:gd name="connsiteX57664" fmla="*/ 4938320 w 6884782"/>
              <a:gd name="connsiteY57664" fmla="*/ 1311435 h 5973007"/>
              <a:gd name="connsiteX57665" fmla="*/ 4929356 w 6884782"/>
              <a:gd name="connsiteY57665" fmla="*/ 1345010 h 5973007"/>
              <a:gd name="connsiteX57666" fmla="*/ 4930850 w 6884782"/>
              <a:gd name="connsiteY57666" fmla="*/ 1328365 h 5973007"/>
              <a:gd name="connsiteX57667" fmla="*/ 4938320 w 6884782"/>
              <a:gd name="connsiteY57667" fmla="*/ 1311435 h 5973007"/>
              <a:gd name="connsiteX57668" fmla="*/ 4861275 w 6884782"/>
              <a:gd name="connsiteY57668" fmla="*/ 1311435 h 5973007"/>
              <a:gd name="connsiteX57669" fmla="*/ 4864690 w 6884782"/>
              <a:gd name="connsiteY57669" fmla="*/ 1313853 h 5973007"/>
              <a:gd name="connsiteX57670" fmla="*/ 4866184 w 6884782"/>
              <a:gd name="connsiteY57670" fmla="*/ 1318690 h 5973007"/>
              <a:gd name="connsiteX57671" fmla="*/ 4857006 w 6884782"/>
              <a:gd name="connsiteY57671" fmla="*/ 1320682 h 5973007"/>
              <a:gd name="connsiteX57672" fmla="*/ 4857647 w 6884782"/>
              <a:gd name="connsiteY57672" fmla="*/ 1313568 h 5973007"/>
              <a:gd name="connsiteX57673" fmla="*/ 4861275 w 6884782"/>
              <a:gd name="connsiteY57673" fmla="*/ 1311435 h 5973007"/>
              <a:gd name="connsiteX57674" fmla="*/ 1542751 w 6884782"/>
              <a:gd name="connsiteY57674" fmla="*/ 1310910 h 5973007"/>
              <a:gd name="connsiteX57675" fmla="*/ 1543474 w 6884782"/>
              <a:gd name="connsiteY57675" fmla="*/ 1311994 h 5973007"/>
              <a:gd name="connsiteX57676" fmla="*/ 1541719 w 6884782"/>
              <a:gd name="connsiteY57676" fmla="*/ 1312769 h 5973007"/>
              <a:gd name="connsiteX57677" fmla="*/ 1542751 w 6884782"/>
              <a:gd name="connsiteY57677" fmla="*/ 1310910 h 5973007"/>
              <a:gd name="connsiteX57678" fmla="*/ 3667618 w 6884782"/>
              <a:gd name="connsiteY57678" fmla="*/ 1310866 h 5973007"/>
              <a:gd name="connsiteX57679" fmla="*/ 3665271 w 6884782"/>
              <a:gd name="connsiteY57679" fmla="*/ 1319544 h 5973007"/>
              <a:gd name="connsiteX57680" fmla="*/ 3664417 w 6884782"/>
              <a:gd name="connsiteY57680" fmla="*/ 1317979 h 5973007"/>
              <a:gd name="connsiteX57681" fmla="*/ 3665271 w 6884782"/>
              <a:gd name="connsiteY57681" fmla="*/ 1315703 h 5973007"/>
              <a:gd name="connsiteX57682" fmla="*/ 3667618 w 6884782"/>
              <a:gd name="connsiteY57682" fmla="*/ 1310866 h 5973007"/>
              <a:gd name="connsiteX57683" fmla="*/ 5184606 w 6884782"/>
              <a:gd name="connsiteY57683" fmla="*/ 1310581 h 5973007"/>
              <a:gd name="connsiteX57684" fmla="*/ 5186100 w 6884782"/>
              <a:gd name="connsiteY57684" fmla="*/ 1312004 h 5973007"/>
              <a:gd name="connsiteX57685" fmla="*/ 5188234 w 6884782"/>
              <a:gd name="connsiteY57685" fmla="*/ 1314849 h 5973007"/>
              <a:gd name="connsiteX57686" fmla="*/ 5187594 w 6884782"/>
              <a:gd name="connsiteY57686" fmla="*/ 1316841 h 5973007"/>
              <a:gd name="connsiteX57687" fmla="*/ 5185673 w 6884782"/>
              <a:gd name="connsiteY57687" fmla="*/ 1319117 h 5973007"/>
              <a:gd name="connsiteX57688" fmla="*/ 5181618 w 6884782"/>
              <a:gd name="connsiteY57688" fmla="*/ 1314991 h 5973007"/>
              <a:gd name="connsiteX57689" fmla="*/ 5182685 w 6884782"/>
              <a:gd name="connsiteY57689" fmla="*/ 1311293 h 5973007"/>
              <a:gd name="connsiteX57690" fmla="*/ 5184606 w 6884782"/>
              <a:gd name="connsiteY57690" fmla="*/ 1310581 h 5973007"/>
              <a:gd name="connsiteX57691" fmla="*/ 1651790 w 6884782"/>
              <a:gd name="connsiteY57691" fmla="*/ 1310445 h 5973007"/>
              <a:gd name="connsiteX57692" fmla="*/ 1670170 w 6884782"/>
              <a:gd name="connsiteY57692" fmla="*/ 1328878 h 5973007"/>
              <a:gd name="connsiteX57693" fmla="*/ 1646731 w 6884782"/>
              <a:gd name="connsiteY57693" fmla="*/ 1317415 h 5973007"/>
              <a:gd name="connsiteX57694" fmla="*/ 1651790 w 6884782"/>
              <a:gd name="connsiteY57694" fmla="*/ 1310445 h 5973007"/>
              <a:gd name="connsiteX57695" fmla="*/ 1356064 w 6884782"/>
              <a:gd name="connsiteY57695" fmla="*/ 1309980 h 5973007"/>
              <a:gd name="connsiteX57696" fmla="*/ 1360091 w 6884782"/>
              <a:gd name="connsiteY57696" fmla="*/ 1312614 h 5973007"/>
              <a:gd name="connsiteX57697" fmla="*/ 1356580 w 6884782"/>
              <a:gd name="connsiteY57697" fmla="*/ 1312459 h 5973007"/>
              <a:gd name="connsiteX57698" fmla="*/ 1355858 w 6884782"/>
              <a:gd name="connsiteY57698" fmla="*/ 1311529 h 5973007"/>
              <a:gd name="connsiteX57699" fmla="*/ 1356064 w 6884782"/>
              <a:gd name="connsiteY57699" fmla="*/ 1309980 h 5973007"/>
              <a:gd name="connsiteX57700" fmla="*/ 4067140 w 6884782"/>
              <a:gd name="connsiteY57700" fmla="*/ 1309585 h 5973007"/>
              <a:gd name="connsiteX57701" fmla="*/ 4073329 w 6884782"/>
              <a:gd name="connsiteY57701" fmla="*/ 1313141 h 5973007"/>
              <a:gd name="connsiteX57702" fmla="*/ 4070981 w 6884782"/>
              <a:gd name="connsiteY57702" fmla="*/ 1316272 h 5973007"/>
              <a:gd name="connsiteX57703" fmla="*/ 4073329 w 6884782"/>
              <a:gd name="connsiteY57703" fmla="*/ 1316699 h 5973007"/>
              <a:gd name="connsiteX57704" fmla="*/ 4076104 w 6884782"/>
              <a:gd name="connsiteY57704" fmla="*/ 1320540 h 5973007"/>
              <a:gd name="connsiteX57705" fmla="*/ 4057963 w 6884782"/>
              <a:gd name="connsiteY57705" fmla="*/ 1324666 h 5973007"/>
              <a:gd name="connsiteX57706" fmla="*/ 4057963 w 6884782"/>
              <a:gd name="connsiteY57706" fmla="*/ 1316983 h 5973007"/>
              <a:gd name="connsiteX57707" fmla="*/ 4065219 w 6884782"/>
              <a:gd name="connsiteY57707" fmla="*/ 1316414 h 5973007"/>
              <a:gd name="connsiteX57708" fmla="*/ 4065006 w 6884782"/>
              <a:gd name="connsiteY57708" fmla="*/ 1312289 h 5973007"/>
              <a:gd name="connsiteX57709" fmla="*/ 4067140 w 6884782"/>
              <a:gd name="connsiteY57709" fmla="*/ 1309585 h 5973007"/>
              <a:gd name="connsiteX57710" fmla="*/ 1566500 w 6884782"/>
              <a:gd name="connsiteY57710" fmla="*/ 1309206 h 5973007"/>
              <a:gd name="connsiteX57711" fmla="*/ 1578994 w 6884782"/>
              <a:gd name="connsiteY57711" fmla="*/ 1323147 h 5973007"/>
              <a:gd name="connsiteX57712" fmla="*/ 1570321 w 6884782"/>
              <a:gd name="connsiteY57712" fmla="*/ 1318190 h 5973007"/>
              <a:gd name="connsiteX57713" fmla="*/ 1566500 w 6884782"/>
              <a:gd name="connsiteY57713" fmla="*/ 1309206 h 5973007"/>
              <a:gd name="connsiteX57714" fmla="*/ 1120537 w 6884782"/>
              <a:gd name="connsiteY57714" fmla="*/ 1309051 h 5973007"/>
              <a:gd name="connsiteX57715" fmla="*/ 1131069 w 6884782"/>
              <a:gd name="connsiteY57715" fmla="*/ 1311220 h 5973007"/>
              <a:gd name="connsiteX57716" fmla="*/ 1131069 w 6884782"/>
              <a:gd name="connsiteY57716" fmla="*/ 1314782 h 5973007"/>
              <a:gd name="connsiteX57717" fmla="*/ 1120330 w 6884782"/>
              <a:gd name="connsiteY57717" fmla="*/ 1314318 h 5973007"/>
              <a:gd name="connsiteX57718" fmla="*/ 1120537 w 6884782"/>
              <a:gd name="connsiteY57718" fmla="*/ 1309051 h 5973007"/>
              <a:gd name="connsiteX57719" fmla="*/ 5949929 w 6884782"/>
              <a:gd name="connsiteY57719" fmla="*/ 1309016 h 5973007"/>
              <a:gd name="connsiteX57720" fmla="*/ 5950996 w 6884782"/>
              <a:gd name="connsiteY57720" fmla="*/ 1311435 h 5973007"/>
              <a:gd name="connsiteX57721" fmla="*/ 5945874 w 6884782"/>
              <a:gd name="connsiteY57721" fmla="*/ 1314849 h 5973007"/>
              <a:gd name="connsiteX57722" fmla="*/ 5945661 w 6884782"/>
              <a:gd name="connsiteY57722" fmla="*/ 1316130 h 5973007"/>
              <a:gd name="connsiteX57723" fmla="*/ 5947795 w 6884782"/>
              <a:gd name="connsiteY57723" fmla="*/ 1318548 h 5973007"/>
              <a:gd name="connsiteX57724" fmla="*/ 5946728 w 6884782"/>
              <a:gd name="connsiteY57724" fmla="*/ 1330499 h 5973007"/>
              <a:gd name="connsiteX57725" fmla="*/ 5933496 w 6884782"/>
              <a:gd name="connsiteY57725" fmla="*/ 1333771 h 5973007"/>
              <a:gd name="connsiteX57726" fmla="*/ 5928160 w 6884782"/>
              <a:gd name="connsiteY57726" fmla="*/ 1330214 h 5973007"/>
              <a:gd name="connsiteX57727" fmla="*/ 5930721 w 6884782"/>
              <a:gd name="connsiteY57727" fmla="*/ 1315845 h 5973007"/>
              <a:gd name="connsiteX57728" fmla="*/ 5943740 w 6884782"/>
              <a:gd name="connsiteY57728" fmla="*/ 1313568 h 5973007"/>
              <a:gd name="connsiteX57729" fmla="*/ 5945020 w 6884782"/>
              <a:gd name="connsiteY57729" fmla="*/ 1311293 h 5973007"/>
              <a:gd name="connsiteX57730" fmla="*/ 5949929 w 6884782"/>
              <a:gd name="connsiteY57730" fmla="*/ 1309016 h 5973007"/>
              <a:gd name="connsiteX57731" fmla="*/ 3515023 w 6884782"/>
              <a:gd name="connsiteY57731" fmla="*/ 1308874 h 5973007"/>
              <a:gd name="connsiteX57732" fmla="*/ 3517798 w 6884782"/>
              <a:gd name="connsiteY57732" fmla="*/ 1309870 h 5973007"/>
              <a:gd name="connsiteX57733" fmla="*/ 3513529 w 6884782"/>
              <a:gd name="connsiteY57733" fmla="*/ 1311577 h 5973007"/>
              <a:gd name="connsiteX57734" fmla="*/ 3513316 w 6884782"/>
              <a:gd name="connsiteY57734" fmla="*/ 1310439 h 5973007"/>
              <a:gd name="connsiteX57735" fmla="*/ 3515023 w 6884782"/>
              <a:gd name="connsiteY57735" fmla="*/ 1308874 h 5973007"/>
              <a:gd name="connsiteX57736" fmla="*/ 1333438 w 6884782"/>
              <a:gd name="connsiteY57736" fmla="*/ 1308780 h 5973007"/>
              <a:gd name="connsiteX57737" fmla="*/ 1339130 w 6884782"/>
              <a:gd name="connsiteY57737" fmla="*/ 1315557 h 5973007"/>
              <a:gd name="connsiteX57738" fmla="*/ 1334277 w 6884782"/>
              <a:gd name="connsiteY57738" fmla="*/ 1316641 h 5973007"/>
              <a:gd name="connsiteX57739" fmla="*/ 1335206 w 6884782"/>
              <a:gd name="connsiteY57739" fmla="*/ 1317880 h 5973007"/>
              <a:gd name="connsiteX57740" fmla="*/ 1333864 w 6884782"/>
              <a:gd name="connsiteY57740" fmla="*/ 1320049 h 5973007"/>
              <a:gd name="connsiteX57741" fmla="*/ 1331902 w 6884782"/>
              <a:gd name="connsiteY57741" fmla="*/ 1318655 h 5973007"/>
              <a:gd name="connsiteX57742" fmla="*/ 1331076 w 6884782"/>
              <a:gd name="connsiteY57742" fmla="*/ 1317570 h 5973007"/>
              <a:gd name="connsiteX57743" fmla="*/ 1324984 w 6884782"/>
              <a:gd name="connsiteY57743" fmla="*/ 1320513 h 5973007"/>
              <a:gd name="connsiteX57744" fmla="*/ 1312697 w 6884782"/>
              <a:gd name="connsiteY57744" fmla="*/ 1322837 h 5973007"/>
              <a:gd name="connsiteX57745" fmla="*/ 1319718 w 6884782"/>
              <a:gd name="connsiteY57745" fmla="*/ 1316796 h 5973007"/>
              <a:gd name="connsiteX57746" fmla="*/ 1324468 w 6884782"/>
              <a:gd name="connsiteY57746" fmla="*/ 1312614 h 5973007"/>
              <a:gd name="connsiteX57747" fmla="*/ 1324158 w 6884782"/>
              <a:gd name="connsiteY57747" fmla="*/ 1312614 h 5973007"/>
              <a:gd name="connsiteX57748" fmla="*/ 1323022 w 6884782"/>
              <a:gd name="connsiteY57748" fmla="*/ 1310136 h 5973007"/>
              <a:gd name="connsiteX57749" fmla="*/ 1325191 w 6884782"/>
              <a:gd name="connsiteY57749" fmla="*/ 1309670 h 5973007"/>
              <a:gd name="connsiteX57750" fmla="*/ 1326430 w 6884782"/>
              <a:gd name="connsiteY57750" fmla="*/ 1310910 h 5973007"/>
              <a:gd name="connsiteX57751" fmla="*/ 1326739 w 6884782"/>
              <a:gd name="connsiteY57751" fmla="*/ 1310600 h 5973007"/>
              <a:gd name="connsiteX57752" fmla="*/ 1333438 w 6884782"/>
              <a:gd name="connsiteY57752" fmla="*/ 1308780 h 5973007"/>
              <a:gd name="connsiteX57753" fmla="*/ 3909209 w 6884782"/>
              <a:gd name="connsiteY57753" fmla="*/ 1308589 h 5973007"/>
              <a:gd name="connsiteX57754" fmla="*/ 3912197 w 6884782"/>
              <a:gd name="connsiteY57754" fmla="*/ 1309870 h 5973007"/>
              <a:gd name="connsiteX57755" fmla="*/ 3885093 w 6884782"/>
              <a:gd name="connsiteY57755" fmla="*/ 1329503 h 5973007"/>
              <a:gd name="connsiteX57756" fmla="*/ 3909209 w 6884782"/>
              <a:gd name="connsiteY57756" fmla="*/ 1308589 h 5973007"/>
              <a:gd name="connsiteX57757" fmla="*/ 1502069 w 6884782"/>
              <a:gd name="connsiteY57757" fmla="*/ 1307792 h 5973007"/>
              <a:gd name="connsiteX57758" fmla="*/ 1504753 w 6884782"/>
              <a:gd name="connsiteY57758" fmla="*/ 1311839 h 5973007"/>
              <a:gd name="connsiteX57759" fmla="*/ 1497215 w 6884782"/>
              <a:gd name="connsiteY57759" fmla="*/ 1309670 h 5973007"/>
              <a:gd name="connsiteX57760" fmla="*/ 1502069 w 6884782"/>
              <a:gd name="connsiteY57760" fmla="*/ 1307792 h 5973007"/>
              <a:gd name="connsiteX57761" fmla="*/ 4126684 w 6884782"/>
              <a:gd name="connsiteY57761" fmla="*/ 1306740 h 5973007"/>
              <a:gd name="connsiteX57762" fmla="*/ 4126897 w 6884782"/>
              <a:gd name="connsiteY57762" fmla="*/ 1307024 h 5973007"/>
              <a:gd name="connsiteX57763" fmla="*/ 4127751 w 6884782"/>
              <a:gd name="connsiteY57763" fmla="*/ 1306740 h 5973007"/>
              <a:gd name="connsiteX57764" fmla="*/ 1751639 w 6884782"/>
              <a:gd name="connsiteY57764" fmla="*/ 1306728 h 5973007"/>
              <a:gd name="connsiteX57765" fmla="*/ 1757731 w 6884782"/>
              <a:gd name="connsiteY57765" fmla="*/ 1320049 h 5973007"/>
              <a:gd name="connsiteX57766" fmla="*/ 1759796 w 6884782"/>
              <a:gd name="connsiteY57766" fmla="*/ 1319894 h 5973007"/>
              <a:gd name="connsiteX57767" fmla="*/ 1759176 w 6884782"/>
              <a:gd name="connsiteY57767" fmla="*/ 1318500 h 5973007"/>
              <a:gd name="connsiteX57768" fmla="*/ 1763926 w 6884782"/>
              <a:gd name="connsiteY57768" fmla="*/ 1322372 h 5973007"/>
              <a:gd name="connsiteX57769" fmla="*/ 1761551 w 6884782"/>
              <a:gd name="connsiteY57769" fmla="*/ 1323457 h 5973007"/>
              <a:gd name="connsiteX57770" fmla="*/ 1760312 w 6884782"/>
              <a:gd name="connsiteY57770" fmla="*/ 1320668 h 5973007"/>
              <a:gd name="connsiteX57771" fmla="*/ 1759486 w 6884782"/>
              <a:gd name="connsiteY57771" fmla="*/ 1322372 h 5973007"/>
              <a:gd name="connsiteX57772" fmla="*/ 1758660 w 6884782"/>
              <a:gd name="connsiteY57772" fmla="*/ 1324850 h 5973007"/>
              <a:gd name="connsiteX57773" fmla="*/ 1767437 w 6884782"/>
              <a:gd name="connsiteY57773" fmla="*/ 1338946 h 5973007"/>
              <a:gd name="connsiteX57774" fmla="*/ 1767747 w 6884782"/>
              <a:gd name="connsiteY57774" fmla="*/ 1339565 h 5973007"/>
              <a:gd name="connsiteX57775" fmla="*/ 1769915 w 6884782"/>
              <a:gd name="connsiteY57775" fmla="*/ 1338017 h 5973007"/>
              <a:gd name="connsiteX57776" fmla="*/ 1770741 w 6884782"/>
              <a:gd name="connsiteY57776" fmla="*/ 1338017 h 5973007"/>
              <a:gd name="connsiteX57777" fmla="*/ 1769915 w 6884782"/>
              <a:gd name="connsiteY57777" fmla="*/ 1334609 h 5973007"/>
              <a:gd name="connsiteX57778" fmla="*/ 1765062 w 6884782"/>
              <a:gd name="connsiteY57778" fmla="*/ 1319119 h 5973007"/>
              <a:gd name="connsiteX57779" fmla="*/ 1768263 w 6884782"/>
              <a:gd name="connsiteY57779" fmla="*/ 1316951 h 5973007"/>
              <a:gd name="connsiteX57780" fmla="*/ 1760725 w 6884782"/>
              <a:gd name="connsiteY57780" fmla="*/ 1314627 h 5973007"/>
              <a:gd name="connsiteX57781" fmla="*/ 1758040 w 6884782"/>
              <a:gd name="connsiteY57781" fmla="*/ 1306728 h 5973007"/>
              <a:gd name="connsiteX57782" fmla="*/ 1751639 w 6884782"/>
              <a:gd name="connsiteY57782" fmla="*/ 1306728 h 5973007"/>
              <a:gd name="connsiteX57783" fmla="*/ 4142904 w 6884782"/>
              <a:gd name="connsiteY57783" fmla="*/ 1306455 h 5973007"/>
              <a:gd name="connsiteX57784" fmla="*/ 4146746 w 6884782"/>
              <a:gd name="connsiteY57784" fmla="*/ 1309159 h 5973007"/>
              <a:gd name="connsiteX57785" fmla="*/ 4148026 w 6884782"/>
              <a:gd name="connsiteY57785" fmla="*/ 1309159 h 5973007"/>
              <a:gd name="connsiteX57786" fmla="*/ 4150374 w 6884782"/>
              <a:gd name="connsiteY57786" fmla="*/ 1312004 h 5973007"/>
              <a:gd name="connsiteX57787" fmla="*/ 4150587 w 6884782"/>
              <a:gd name="connsiteY57787" fmla="*/ 1313568 h 5973007"/>
              <a:gd name="connsiteX57788" fmla="*/ 4152935 w 6884782"/>
              <a:gd name="connsiteY57788" fmla="*/ 1317837 h 5973007"/>
              <a:gd name="connsiteX57789" fmla="*/ 4150801 w 6884782"/>
              <a:gd name="connsiteY57789" fmla="*/ 1317837 h 5973007"/>
              <a:gd name="connsiteX57790" fmla="*/ 4148666 w 6884782"/>
              <a:gd name="connsiteY57790" fmla="*/ 1321678 h 5973007"/>
              <a:gd name="connsiteX57791" fmla="*/ 4148239 w 6884782"/>
              <a:gd name="connsiteY57791" fmla="*/ 1328080 h 5973007"/>
              <a:gd name="connsiteX57792" fmla="*/ 4146959 w 6884782"/>
              <a:gd name="connsiteY57792" fmla="*/ 1319544 h 5973007"/>
              <a:gd name="connsiteX57793" fmla="*/ 4145892 w 6884782"/>
              <a:gd name="connsiteY57793" fmla="*/ 1318263 h 5973007"/>
              <a:gd name="connsiteX57794" fmla="*/ 4145678 w 6884782"/>
              <a:gd name="connsiteY57794" fmla="*/ 1318263 h 5973007"/>
              <a:gd name="connsiteX57795" fmla="*/ 4145251 w 6884782"/>
              <a:gd name="connsiteY57795" fmla="*/ 1317695 h 5973007"/>
              <a:gd name="connsiteX57796" fmla="*/ 4144398 w 6884782"/>
              <a:gd name="connsiteY57796" fmla="*/ 1316699 h 5973007"/>
              <a:gd name="connsiteX57797" fmla="*/ 4144398 w 6884782"/>
              <a:gd name="connsiteY57797" fmla="*/ 1316130 h 5973007"/>
              <a:gd name="connsiteX57798" fmla="*/ 4142477 w 6884782"/>
              <a:gd name="connsiteY57798" fmla="*/ 1313568 h 5973007"/>
              <a:gd name="connsiteX57799" fmla="*/ 4138422 w 6884782"/>
              <a:gd name="connsiteY57799" fmla="*/ 1309443 h 5973007"/>
              <a:gd name="connsiteX57800" fmla="*/ 4142904 w 6884782"/>
              <a:gd name="connsiteY57800" fmla="*/ 1306455 h 5973007"/>
              <a:gd name="connsiteX57801" fmla="*/ 3736980 w 6884782"/>
              <a:gd name="connsiteY57801" fmla="*/ 1306029 h 5973007"/>
              <a:gd name="connsiteX57802" fmla="*/ 3742529 w 6884782"/>
              <a:gd name="connsiteY57802" fmla="*/ 1306313 h 5973007"/>
              <a:gd name="connsiteX57803" fmla="*/ 3741461 w 6884782"/>
              <a:gd name="connsiteY57803" fmla="*/ 1306313 h 5973007"/>
              <a:gd name="connsiteX57804" fmla="*/ 3741675 w 6884782"/>
              <a:gd name="connsiteY57804" fmla="*/ 1308874 h 5973007"/>
              <a:gd name="connsiteX57805" fmla="*/ 3742956 w 6884782"/>
              <a:gd name="connsiteY57805" fmla="*/ 1308732 h 5973007"/>
              <a:gd name="connsiteX57806" fmla="*/ 3741889 w 6884782"/>
              <a:gd name="connsiteY57806" fmla="*/ 1311293 h 5973007"/>
              <a:gd name="connsiteX57807" fmla="*/ 3734418 w 6884782"/>
              <a:gd name="connsiteY57807" fmla="*/ 1315276 h 5973007"/>
              <a:gd name="connsiteX57808" fmla="*/ 3733565 w 6884782"/>
              <a:gd name="connsiteY57808" fmla="*/ 1309301 h 5973007"/>
              <a:gd name="connsiteX57809" fmla="*/ 3736980 w 6884782"/>
              <a:gd name="connsiteY57809" fmla="*/ 1306029 h 5973007"/>
              <a:gd name="connsiteX57810" fmla="*/ 1382498 w 6884782"/>
              <a:gd name="connsiteY57810" fmla="*/ 1304714 h 5973007"/>
              <a:gd name="connsiteX57811" fmla="*/ 1385286 w 6884782"/>
              <a:gd name="connsiteY57811" fmla="*/ 1308896 h 5973007"/>
              <a:gd name="connsiteX57812" fmla="*/ 1378677 w 6884782"/>
              <a:gd name="connsiteY57812" fmla="*/ 1310290 h 5973007"/>
              <a:gd name="connsiteX57813" fmla="*/ 1378574 w 6884782"/>
              <a:gd name="connsiteY57813" fmla="*/ 1308432 h 5973007"/>
              <a:gd name="connsiteX57814" fmla="*/ 1380020 w 6884782"/>
              <a:gd name="connsiteY57814" fmla="*/ 1305798 h 5973007"/>
              <a:gd name="connsiteX57815" fmla="*/ 1382498 w 6884782"/>
              <a:gd name="connsiteY57815" fmla="*/ 1304714 h 5973007"/>
              <a:gd name="connsiteX57816" fmla="*/ 1271394 w 6884782"/>
              <a:gd name="connsiteY57816" fmla="*/ 1303165 h 5973007"/>
              <a:gd name="connsiteX57817" fmla="*/ 1270671 w 6884782"/>
              <a:gd name="connsiteY57817" fmla="*/ 1307502 h 5973007"/>
              <a:gd name="connsiteX57818" fmla="*/ 1268813 w 6884782"/>
              <a:gd name="connsiteY57818" fmla="*/ 1304404 h 5973007"/>
              <a:gd name="connsiteX57819" fmla="*/ 1271394 w 6884782"/>
              <a:gd name="connsiteY57819" fmla="*/ 1303165 h 5973007"/>
              <a:gd name="connsiteX57820" fmla="*/ 1255183 w 6884782"/>
              <a:gd name="connsiteY57820" fmla="*/ 1301926 h 5973007"/>
              <a:gd name="connsiteX57821" fmla="*/ 1260346 w 6884782"/>
              <a:gd name="connsiteY57821" fmla="*/ 1302855 h 5973007"/>
              <a:gd name="connsiteX57822" fmla="*/ 1255183 w 6884782"/>
              <a:gd name="connsiteY57822" fmla="*/ 1301926 h 5973007"/>
              <a:gd name="connsiteX57823" fmla="*/ 3878477 w 6884782"/>
              <a:gd name="connsiteY57823" fmla="*/ 1301191 h 5973007"/>
              <a:gd name="connsiteX57824" fmla="*/ 3882105 w 6884782"/>
              <a:gd name="connsiteY57824" fmla="*/ 1305032 h 5973007"/>
              <a:gd name="connsiteX57825" fmla="*/ 3882745 w 6884782"/>
              <a:gd name="connsiteY57825" fmla="*/ 1308304 h 5973007"/>
              <a:gd name="connsiteX57826" fmla="*/ 3873355 w 6884782"/>
              <a:gd name="connsiteY57826" fmla="*/ 1303894 h 5973007"/>
              <a:gd name="connsiteX57827" fmla="*/ 3878477 w 6884782"/>
              <a:gd name="connsiteY57827" fmla="*/ 1301191 h 5973007"/>
              <a:gd name="connsiteX57828" fmla="*/ 3680210 w 6884782"/>
              <a:gd name="connsiteY57828" fmla="*/ 1301049 h 5973007"/>
              <a:gd name="connsiteX57829" fmla="*/ 3682344 w 6884782"/>
              <a:gd name="connsiteY57829" fmla="*/ 1301334 h 5973007"/>
              <a:gd name="connsiteX57830" fmla="*/ 3674234 w 6884782"/>
              <a:gd name="connsiteY57830" fmla="*/ 1307878 h 5973007"/>
              <a:gd name="connsiteX57831" fmla="*/ 3680210 w 6884782"/>
              <a:gd name="connsiteY57831" fmla="*/ 1301049 h 5973007"/>
              <a:gd name="connsiteX57832" fmla="*/ 3988388 w 6884782"/>
              <a:gd name="connsiteY57832" fmla="*/ 1299627 h 5973007"/>
              <a:gd name="connsiteX57833" fmla="*/ 3996925 w 6884782"/>
              <a:gd name="connsiteY57833" fmla="*/ 1306740 h 5973007"/>
              <a:gd name="connsiteX57834" fmla="*/ 3999486 w 6884782"/>
              <a:gd name="connsiteY57834" fmla="*/ 1316272 h 5973007"/>
              <a:gd name="connsiteX57835" fmla="*/ 4001193 w 6884782"/>
              <a:gd name="connsiteY57835" fmla="*/ 1317695 h 5973007"/>
              <a:gd name="connsiteX57836" fmla="*/ 4005462 w 6884782"/>
              <a:gd name="connsiteY57836" fmla="*/ 1314138 h 5973007"/>
              <a:gd name="connsiteX57837" fmla="*/ 4021041 w 6884782"/>
              <a:gd name="connsiteY57837" fmla="*/ 1309727 h 5973007"/>
              <a:gd name="connsiteX57838" fmla="*/ 4013785 w 6884782"/>
              <a:gd name="connsiteY57838" fmla="*/ 1320540 h 5973007"/>
              <a:gd name="connsiteX57839" fmla="*/ 4008236 w 6884782"/>
              <a:gd name="connsiteY57839" fmla="*/ 1324950 h 5973007"/>
              <a:gd name="connsiteX57840" fmla="*/ 4010371 w 6884782"/>
              <a:gd name="connsiteY57840" fmla="*/ 1328080 h 5973007"/>
              <a:gd name="connsiteX57841" fmla="*/ 4010797 w 6884782"/>
              <a:gd name="connsiteY57841" fmla="*/ 1335336 h 5973007"/>
              <a:gd name="connsiteX57842" fmla="*/ 4002901 w 6884782"/>
              <a:gd name="connsiteY57842" fmla="*/ 1329361 h 5973007"/>
              <a:gd name="connsiteX57843" fmla="*/ 4002687 w 6884782"/>
              <a:gd name="connsiteY57843" fmla="*/ 1329076 h 5973007"/>
              <a:gd name="connsiteX57844" fmla="*/ 4001833 w 6884782"/>
              <a:gd name="connsiteY57844" fmla="*/ 1329787 h 5973007"/>
              <a:gd name="connsiteX57845" fmla="*/ 3999913 w 6884782"/>
              <a:gd name="connsiteY57845" fmla="*/ 1340030 h 5973007"/>
              <a:gd name="connsiteX57846" fmla="*/ 3998419 w 6884782"/>
              <a:gd name="connsiteY57846" fmla="*/ 1341596 h 5973007"/>
              <a:gd name="connsiteX57847" fmla="*/ 3998632 w 6884782"/>
              <a:gd name="connsiteY57847" fmla="*/ 1347429 h 5973007"/>
              <a:gd name="connsiteX57848" fmla="*/ 3990309 w 6884782"/>
              <a:gd name="connsiteY57848" fmla="*/ 1343445 h 5973007"/>
              <a:gd name="connsiteX57849" fmla="*/ 3991376 w 6884782"/>
              <a:gd name="connsiteY57849" fmla="*/ 1341169 h 5973007"/>
              <a:gd name="connsiteX57850" fmla="*/ 3994150 w 6884782"/>
              <a:gd name="connsiteY57850" fmla="*/ 1339746 h 5973007"/>
              <a:gd name="connsiteX57851" fmla="*/ 3992870 w 6884782"/>
              <a:gd name="connsiteY57851" fmla="*/ 1337043 h 5973007"/>
              <a:gd name="connsiteX57852" fmla="*/ 3991589 w 6884782"/>
              <a:gd name="connsiteY57852" fmla="*/ 1338466 h 5973007"/>
              <a:gd name="connsiteX57853" fmla="*/ 3981986 w 6884782"/>
              <a:gd name="connsiteY57853" fmla="*/ 1344726 h 5973007"/>
              <a:gd name="connsiteX57854" fmla="*/ 3975796 w 6884782"/>
              <a:gd name="connsiteY57854" fmla="*/ 1347571 h 5973007"/>
              <a:gd name="connsiteX57855" fmla="*/ 3978571 w 6884782"/>
              <a:gd name="connsiteY57855" fmla="*/ 1348851 h 5973007"/>
              <a:gd name="connsiteX57856" fmla="*/ 3984546 w 6884782"/>
              <a:gd name="connsiteY57856" fmla="*/ 1356818 h 5973007"/>
              <a:gd name="connsiteX57857" fmla="*/ 3974730 w 6884782"/>
              <a:gd name="connsiteY57857" fmla="*/ 1361513 h 5973007"/>
              <a:gd name="connsiteX57858" fmla="*/ 3968754 w 6884782"/>
              <a:gd name="connsiteY57858" fmla="*/ 1358383 h 5973007"/>
              <a:gd name="connsiteX57859" fmla="*/ 3967260 w 6884782"/>
              <a:gd name="connsiteY57859" fmla="*/ 1353688 h 5973007"/>
              <a:gd name="connsiteX57860" fmla="*/ 3966406 w 6884782"/>
              <a:gd name="connsiteY57860" fmla="*/ 1351555 h 5973007"/>
              <a:gd name="connsiteX57861" fmla="*/ 3948052 w 6884782"/>
              <a:gd name="connsiteY57861" fmla="*/ 1358952 h 5973007"/>
              <a:gd name="connsiteX57862" fmla="*/ 3945491 w 6884782"/>
              <a:gd name="connsiteY57862" fmla="*/ 1346148 h 5973007"/>
              <a:gd name="connsiteX57863" fmla="*/ 3974730 w 6884782"/>
              <a:gd name="connsiteY57863" fmla="*/ 1335905 h 5973007"/>
              <a:gd name="connsiteX57864" fmla="*/ 3989882 w 6884782"/>
              <a:gd name="connsiteY57864" fmla="*/ 1330926 h 5973007"/>
              <a:gd name="connsiteX57865" fmla="*/ 3987961 w 6884782"/>
              <a:gd name="connsiteY57865" fmla="*/ 1326799 h 5973007"/>
              <a:gd name="connsiteX57866" fmla="*/ 3987108 w 6884782"/>
              <a:gd name="connsiteY57866" fmla="*/ 1318833 h 5973007"/>
              <a:gd name="connsiteX57867" fmla="*/ 3979851 w 6884782"/>
              <a:gd name="connsiteY57867" fmla="*/ 1311293 h 5973007"/>
              <a:gd name="connsiteX57868" fmla="*/ 3986467 w 6884782"/>
              <a:gd name="connsiteY57868" fmla="*/ 1311293 h 5973007"/>
              <a:gd name="connsiteX57869" fmla="*/ 3986254 w 6884782"/>
              <a:gd name="connsiteY57869" fmla="*/ 1310297 h 5973007"/>
              <a:gd name="connsiteX57870" fmla="*/ 3988388 w 6884782"/>
              <a:gd name="connsiteY57870" fmla="*/ 1299627 h 5973007"/>
              <a:gd name="connsiteX57871" fmla="*/ 1675849 w 6884782"/>
              <a:gd name="connsiteY57871" fmla="*/ 1298518 h 5973007"/>
              <a:gd name="connsiteX57872" fmla="*/ 1677810 w 6884782"/>
              <a:gd name="connsiteY57872" fmla="*/ 1300222 h 5973007"/>
              <a:gd name="connsiteX57873" fmla="*/ 1673370 w 6884782"/>
              <a:gd name="connsiteY57873" fmla="*/ 1303939 h 5973007"/>
              <a:gd name="connsiteX57874" fmla="*/ 1672338 w 6884782"/>
              <a:gd name="connsiteY57874" fmla="*/ 1302081 h 5973007"/>
              <a:gd name="connsiteX57875" fmla="*/ 1675849 w 6884782"/>
              <a:gd name="connsiteY57875" fmla="*/ 1298518 h 5973007"/>
              <a:gd name="connsiteX57876" fmla="*/ 1449304 w 6884782"/>
              <a:gd name="connsiteY57876" fmla="*/ 1298518 h 5973007"/>
              <a:gd name="connsiteX57877" fmla="*/ 1479352 w 6884782"/>
              <a:gd name="connsiteY57877" fmla="*/ 1303939 h 5973007"/>
              <a:gd name="connsiteX57878" fmla="*/ 1482863 w 6884782"/>
              <a:gd name="connsiteY57878" fmla="*/ 1311684 h 5973007"/>
              <a:gd name="connsiteX57879" fmla="*/ 1485238 w 6884782"/>
              <a:gd name="connsiteY57879" fmla="*/ 1314937 h 5973007"/>
              <a:gd name="connsiteX57880" fmla="*/ 1497422 w 6884782"/>
              <a:gd name="connsiteY57880" fmla="*/ 1316951 h 5973007"/>
              <a:gd name="connsiteX57881" fmla="*/ 1505786 w 6884782"/>
              <a:gd name="connsiteY57881" fmla="*/ 1321753 h 5973007"/>
              <a:gd name="connsiteX57882" fmla="*/ 1508883 w 6884782"/>
              <a:gd name="connsiteY57882" fmla="*/ 1325470 h 5973007"/>
              <a:gd name="connsiteX57883" fmla="*/ 1512084 w 6884782"/>
              <a:gd name="connsiteY57883" fmla="*/ 1321133 h 5973007"/>
              <a:gd name="connsiteX57884" fmla="*/ 1527160 w 6884782"/>
              <a:gd name="connsiteY57884" fmla="*/ 1310136 h 5973007"/>
              <a:gd name="connsiteX57885" fmla="*/ 1511465 w 6884782"/>
              <a:gd name="connsiteY57885" fmla="*/ 1326864 h 5973007"/>
              <a:gd name="connsiteX57886" fmla="*/ 1509813 w 6884782"/>
              <a:gd name="connsiteY57886" fmla="*/ 1326400 h 5973007"/>
              <a:gd name="connsiteX57887" fmla="*/ 1511362 w 6884782"/>
              <a:gd name="connsiteY57887" fmla="*/ 1328258 h 5973007"/>
              <a:gd name="connsiteX57888" fmla="*/ 1521997 w 6884782"/>
              <a:gd name="connsiteY57888" fmla="*/ 1343593 h 5973007"/>
              <a:gd name="connsiteX57889" fmla="*/ 1520861 w 6884782"/>
              <a:gd name="connsiteY57889" fmla="*/ 1345607 h 5973007"/>
              <a:gd name="connsiteX57890" fmla="*/ 1521481 w 6884782"/>
              <a:gd name="connsiteY57890" fmla="*/ 1344987 h 5973007"/>
              <a:gd name="connsiteX57891" fmla="*/ 1523856 w 6884782"/>
              <a:gd name="connsiteY57891" fmla="*/ 1342664 h 5973007"/>
              <a:gd name="connsiteX57892" fmla="*/ 1519726 w 6884782"/>
              <a:gd name="connsiteY57892" fmla="*/ 1348859 h 5973007"/>
              <a:gd name="connsiteX57893" fmla="*/ 1518899 w 6884782"/>
              <a:gd name="connsiteY57893" fmla="*/ 1349634 h 5973007"/>
              <a:gd name="connsiteX57894" fmla="*/ 1518590 w 6884782"/>
              <a:gd name="connsiteY57894" fmla="*/ 1354126 h 5973007"/>
              <a:gd name="connsiteX57895" fmla="*/ 1520655 w 6884782"/>
              <a:gd name="connsiteY57895" fmla="*/ 1362955 h 5973007"/>
              <a:gd name="connsiteX57896" fmla="*/ 1502895 w 6884782"/>
              <a:gd name="connsiteY57896" fmla="*/ 1380303 h 5973007"/>
              <a:gd name="connsiteX57897" fmla="*/ 1471711 w 6884782"/>
              <a:gd name="connsiteY57897" fmla="*/ 1379374 h 5973007"/>
              <a:gd name="connsiteX57898" fmla="*/ 1457875 w 6884782"/>
              <a:gd name="connsiteY57898" fmla="*/ 1365588 h 5973007"/>
              <a:gd name="connsiteX57899" fmla="*/ 1456636 w 6884782"/>
              <a:gd name="connsiteY57899" fmla="*/ 1364349 h 5973007"/>
              <a:gd name="connsiteX57900" fmla="*/ 1445071 w 6884782"/>
              <a:gd name="connsiteY57900" fmla="*/ 1364969 h 5973007"/>
              <a:gd name="connsiteX57901" fmla="*/ 1435778 w 6884782"/>
              <a:gd name="connsiteY57901" fmla="*/ 1361871 h 5973007"/>
              <a:gd name="connsiteX57902" fmla="*/ 1433919 w 6884782"/>
              <a:gd name="connsiteY57902" fmla="*/ 1366982 h 5973007"/>
              <a:gd name="connsiteX57903" fmla="*/ 1433197 w 6884782"/>
              <a:gd name="connsiteY57903" fmla="*/ 1368841 h 5973007"/>
              <a:gd name="connsiteX57904" fmla="*/ 1434126 w 6884782"/>
              <a:gd name="connsiteY57904" fmla="*/ 1368686 h 5973007"/>
              <a:gd name="connsiteX57905" fmla="*/ 1433093 w 6884782"/>
              <a:gd name="connsiteY57905" fmla="*/ 1369151 h 5973007"/>
              <a:gd name="connsiteX57906" fmla="*/ 1431132 w 6884782"/>
              <a:gd name="connsiteY57906" fmla="*/ 1373798 h 5973007"/>
              <a:gd name="connsiteX57907" fmla="*/ 1422871 w 6884782"/>
              <a:gd name="connsiteY57907" fmla="*/ 1379993 h 5973007"/>
              <a:gd name="connsiteX57908" fmla="*/ 1424110 w 6884782"/>
              <a:gd name="connsiteY57908" fmla="*/ 1375037 h 5973007"/>
              <a:gd name="connsiteX57909" fmla="*/ 1425246 w 6884782"/>
              <a:gd name="connsiteY57909" fmla="*/ 1371164 h 5973007"/>
              <a:gd name="connsiteX57910" fmla="*/ 1424420 w 6884782"/>
              <a:gd name="connsiteY57910" fmla="*/ 1371010 h 5973007"/>
              <a:gd name="connsiteX57911" fmla="*/ 1425349 w 6884782"/>
              <a:gd name="connsiteY57911" fmla="*/ 1370700 h 5973007"/>
              <a:gd name="connsiteX57912" fmla="*/ 1425762 w 6884782"/>
              <a:gd name="connsiteY57912" fmla="*/ 1369151 h 5973007"/>
              <a:gd name="connsiteX57913" fmla="*/ 1432577 w 6884782"/>
              <a:gd name="connsiteY57913" fmla="*/ 1361406 h 5973007"/>
              <a:gd name="connsiteX57914" fmla="*/ 1434849 w 6884782"/>
              <a:gd name="connsiteY57914" fmla="*/ 1361716 h 5973007"/>
              <a:gd name="connsiteX57915" fmla="*/ 1433506 w 6884782"/>
              <a:gd name="connsiteY57915" fmla="*/ 1361251 h 5973007"/>
              <a:gd name="connsiteX57916" fmla="*/ 1418431 w 6884782"/>
              <a:gd name="connsiteY57916" fmla="*/ 1331821 h 5973007"/>
              <a:gd name="connsiteX57917" fmla="*/ 1426175 w 6884782"/>
              <a:gd name="connsiteY57917" fmla="*/ 1312924 h 5973007"/>
              <a:gd name="connsiteX57918" fmla="*/ 1449304 w 6884782"/>
              <a:gd name="connsiteY57918" fmla="*/ 1298518 h 5973007"/>
              <a:gd name="connsiteX57919" fmla="*/ 4330287 w 6884782"/>
              <a:gd name="connsiteY57919" fmla="*/ 1298488 h 5973007"/>
              <a:gd name="connsiteX57920" fmla="*/ 4326658 w 6884782"/>
              <a:gd name="connsiteY57920" fmla="*/ 1308874 h 5973007"/>
              <a:gd name="connsiteX57921" fmla="*/ 4320469 w 6884782"/>
              <a:gd name="connsiteY57921" fmla="*/ 1305744 h 5973007"/>
              <a:gd name="connsiteX57922" fmla="*/ 4330287 w 6884782"/>
              <a:gd name="connsiteY57922" fmla="*/ 1298488 h 5973007"/>
              <a:gd name="connsiteX57923" fmla="*/ 1547604 w 6884782"/>
              <a:gd name="connsiteY57923" fmla="*/ 1297744 h 5973007"/>
              <a:gd name="connsiteX57924" fmla="*/ 1542958 w 6884782"/>
              <a:gd name="connsiteY57924" fmla="*/ 1310910 h 5973007"/>
              <a:gd name="connsiteX57925" fmla="*/ 1547604 w 6884782"/>
              <a:gd name="connsiteY57925" fmla="*/ 1297744 h 5973007"/>
              <a:gd name="connsiteX57926" fmla="*/ 1648692 w 6884782"/>
              <a:gd name="connsiteY57926" fmla="*/ 1297589 h 5973007"/>
              <a:gd name="connsiteX57927" fmla="*/ 1650448 w 6884782"/>
              <a:gd name="connsiteY57927" fmla="*/ 1305334 h 5973007"/>
              <a:gd name="connsiteX57928" fmla="*/ 1641465 w 6884782"/>
              <a:gd name="connsiteY57928" fmla="*/ 1297744 h 5973007"/>
              <a:gd name="connsiteX57929" fmla="*/ 1648692 w 6884782"/>
              <a:gd name="connsiteY57929" fmla="*/ 1297589 h 5973007"/>
              <a:gd name="connsiteX57930" fmla="*/ 3463376 w 6884782"/>
              <a:gd name="connsiteY57930" fmla="*/ 1297208 h 5973007"/>
              <a:gd name="connsiteX57931" fmla="*/ 3462736 w 6884782"/>
              <a:gd name="connsiteY57931" fmla="*/ 1297919 h 5973007"/>
              <a:gd name="connsiteX57932" fmla="*/ 3464869 w 6884782"/>
              <a:gd name="connsiteY57932" fmla="*/ 1297777 h 5973007"/>
              <a:gd name="connsiteX57933" fmla="*/ 1386422 w 6884782"/>
              <a:gd name="connsiteY57933" fmla="*/ 1296969 h 5973007"/>
              <a:gd name="connsiteX57934" fmla="*/ 1388487 w 6884782"/>
              <a:gd name="connsiteY57934" fmla="*/ 1298518 h 5973007"/>
              <a:gd name="connsiteX57935" fmla="*/ 1388487 w 6884782"/>
              <a:gd name="connsiteY57935" fmla="*/ 1297744 h 5973007"/>
              <a:gd name="connsiteX57936" fmla="*/ 1396334 w 6884782"/>
              <a:gd name="connsiteY57936" fmla="*/ 1298363 h 5973007"/>
              <a:gd name="connsiteX57937" fmla="*/ 1398812 w 6884782"/>
              <a:gd name="connsiteY57937" fmla="*/ 1302391 h 5973007"/>
              <a:gd name="connsiteX57938" fmla="*/ 1396747 w 6884782"/>
              <a:gd name="connsiteY57938" fmla="*/ 1310136 h 5973007"/>
              <a:gd name="connsiteX57939" fmla="*/ 1392307 w 6884782"/>
              <a:gd name="connsiteY57939" fmla="*/ 1309361 h 5973007"/>
              <a:gd name="connsiteX57940" fmla="*/ 1389416 w 6884782"/>
              <a:gd name="connsiteY57940" fmla="*/ 1305024 h 5973007"/>
              <a:gd name="connsiteX57941" fmla="*/ 1388487 w 6884782"/>
              <a:gd name="connsiteY57941" fmla="*/ 1301771 h 5973007"/>
              <a:gd name="connsiteX57942" fmla="*/ 1386834 w 6884782"/>
              <a:gd name="connsiteY57942" fmla="*/ 1301771 h 5973007"/>
              <a:gd name="connsiteX57943" fmla="*/ 1384873 w 6884782"/>
              <a:gd name="connsiteY57943" fmla="*/ 1299292 h 5973007"/>
              <a:gd name="connsiteX57944" fmla="*/ 1386422 w 6884782"/>
              <a:gd name="connsiteY57944" fmla="*/ 1296969 h 5973007"/>
              <a:gd name="connsiteX57945" fmla="*/ 1416572 w 6884782"/>
              <a:gd name="connsiteY57945" fmla="*/ 1296659 h 5973007"/>
              <a:gd name="connsiteX57946" fmla="*/ 1406763 w 6884782"/>
              <a:gd name="connsiteY57946" fmla="*/ 1322062 h 5973007"/>
              <a:gd name="connsiteX57947" fmla="*/ 1399122 w 6884782"/>
              <a:gd name="connsiteY57947" fmla="*/ 1318964 h 5973007"/>
              <a:gd name="connsiteX57948" fmla="*/ 1416572 w 6884782"/>
              <a:gd name="connsiteY57948" fmla="*/ 1296659 h 5973007"/>
              <a:gd name="connsiteX57949" fmla="*/ 1040849 w 6884782"/>
              <a:gd name="connsiteY57949" fmla="*/ 1296078 h 5973007"/>
              <a:gd name="connsiteX57950" fmla="*/ 1047741 w 6884782"/>
              <a:gd name="connsiteY57950" fmla="*/ 1300222 h 5973007"/>
              <a:gd name="connsiteX57951" fmla="*/ 1045366 w 6884782"/>
              <a:gd name="connsiteY57951" fmla="*/ 1307037 h 5973007"/>
              <a:gd name="connsiteX57952" fmla="*/ 1033182 w 6884782"/>
              <a:gd name="connsiteY57952" fmla="*/ 1302391 h 5973007"/>
              <a:gd name="connsiteX57953" fmla="*/ 1040849 w 6884782"/>
              <a:gd name="connsiteY57953" fmla="*/ 1296078 h 5973007"/>
              <a:gd name="connsiteX57954" fmla="*/ 1071594 w 6884782"/>
              <a:gd name="connsiteY57954" fmla="*/ 1295730 h 5973007"/>
              <a:gd name="connsiteX57955" fmla="*/ 1092658 w 6884782"/>
              <a:gd name="connsiteY57955" fmla="*/ 1310755 h 5973007"/>
              <a:gd name="connsiteX57956" fmla="*/ 1071594 w 6884782"/>
              <a:gd name="connsiteY57956" fmla="*/ 1295730 h 5973007"/>
              <a:gd name="connsiteX57957" fmla="*/ 5422355 w 6884782"/>
              <a:gd name="connsiteY57957" fmla="*/ 1295216 h 5973007"/>
              <a:gd name="connsiteX57958" fmla="*/ 5425130 w 6884782"/>
              <a:gd name="connsiteY57958" fmla="*/ 1295643 h 5973007"/>
              <a:gd name="connsiteX57959" fmla="*/ 5425770 w 6884782"/>
              <a:gd name="connsiteY57959" fmla="*/ 1297066 h 5973007"/>
              <a:gd name="connsiteX57960" fmla="*/ 5423209 w 6884782"/>
              <a:gd name="connsiteY57960" fmla="*/ 1301760 h 5973007"/>
              <a:gd name="connsiteX57961" fmla="*/ 5419794 w 6884782"/>
              <a:gd name="connsiteY57961" fmla="*/ 1302899 h 5973007"/>
              <a:gd name="connsiteX57962" fmla="*/ 5418941 w 6884782"/>
              <a:gd name="connsiteY57962" fmla="*/ 1299200 h 5973007"/>
              <a:gd name="connsiteX57963" fmla="*/ 5420435 w 6884782"/>
              <a:gd name="connsiteY57963" fmla="*/ 1295643 h 5973007"/>
              <a:gd name="connsiteX57964" fmla="*/ 5422355 w 6884782"/>
              <a:gd name="connsiteY57964" fmla="*/ 1295216 h 5973007"/>
              <a:gd name="connsiteX57965" fmla="*/ 1690305 w 6884782"/>
              <a:gd name="connsiteY57965" fmla="*/ 1295111 h 5973007"/>
              <a:gd name="connsiteX57966" fmla="*/ 1695364 w 6884782"/>
              <a:gd name="connsiteY57966" fmla="*/ 1307192 h 5973007"/>
              <a:gd name="connsiteX57967" fmla="*/ 1689995 w 6884782"/>
              <a:gd name="connsiteY57967" fmla="*/ 1301306 h 5973007"/>
              <a:gd name="connsiteX57968" fmla="*/ 1689478 w 6884782"/>
              <a:gd name="connsiteY57968" fmla="*/ 1298208 h 5973007"/>
              <a:gd name="connsiteX57969" fmla="*/ 1690305 w 6884782"/>
              <a:gd name="connsiteY57969" fmla="*/ 1295111 h 5973007"/>
              <a:gd name="connsiteX57970" fmla="*/ 1653236 w 6884782"/>
              <a:gd name="connsiteY57970" fmla="*/ 1294801 h 5973007"/>
              <a:gd name="connsiteX57971" fmla="*/ 1669550 w 6884782"/>
              <a:gd name="connsiteY57971" fmla="*/ 1295265 h 5973007"/>
              <a:gd name="connsiteX57972" fmla="*/ 1670066 w 6884782"/>
              <a:gd name="connsiteY57972" fmla="*/ 1303785 h 5973007"/>
              <a:gd name="connsiteX57973" fmla="*/ 1649828 w 6884782"/>
              <a:gd name="connsiteY57973" fmla="*/ 1298673 h 5973007"/>
              <a:gd name="connsiteX57974" fmla="*/ 1653236 w 6884782"/>
              <a:gd name="connsiteY57974" fmla="*/ 1294801 h 5973007"/>
              <a:gd name="connsiteX57975" fmla="*/ 4241504 w 6884782"/>
              <a:gd name="connsiteY57975" fmla="*/ 1294647 h 5973007"/>
              <a:gd name="connsiteX57976" fmla="*/ 4243212 w 6884782"/>
              <a:gd name="connsiteY57976" fmla="*/ 1302472 h 5973007"/>
              <a:gd name="connsiteX57977" fmla="*/ 4235741 w 6884782"/>
              <a:gd name="connsiteY57977" fmla="*/ 1302899 h 5973007"/>
              <a:gd name="connsiteX57978" fmla="*/ 4241504 w 6884782"/>
              <a:gd name="connsiteY57978" fmla="*/ 1294647 h 5973007"/>
              <a:gd name="connsiteX57979" fmla="*/ 4621178 w 6884782"/>
              <a:gd name="connsiteY57979" fmla="*/ 1293509 h 5973007"/>
              <a:gd name="connsiteX57980" fmla="*/ 4627367 w 6884782"/>
              <a:gd name="connsiteY57980" fmla="*/ 1311008 h 5973007"/>
              <a:gd name="connsiteX57981" fmla="*/ 4626513 w 6884782"/>
              <a:gd name="connsiteY57981" fmla="*/ 1316841 h 5973007"/>
              <a:gd name="connsiteX57982" fmla="*/ 4630782 w 6884782"/>
              <a:gd name="connsiteY57982" fmla="*/ 1318121 h 5973007"/>
              <a:gd name="connsiteX57983" fmla="*/ 4638465 w 6884782"/>
              <a:gd name="connsiteY57983" fmla="*/ 1322247 h 5973007"/>
              <a:gd name="connsiteX57984" fmla="*/ 4625019 w 6884782"/>
              <a:gd name="connsiteY57984" fmla="*/ 1329930 h 5973007"/>
              <a:gd name="connsiteX57985" fmla="*/ 4623099 w 6884782"/>
              <a:gd name="connsiteY57985" fmla="*/ 1324950 h 5973007"/>
              <a:gd name="connsiteX57986" fmla="*/ 4622672 w 6884782"/>
              <a:gd name="connsiteY57986" fmla="*/ 1325662 h 5973007"/>
              <a:gd name="connsiteX57987" fmla="*/ 4621178 w 6884782"/>
              <a:gd name="connsiteY57987" fmla="*/ 1293509 h 5973007"/>
              <a:gd name="connsiteX57988" fmla="*/ 1500997 w 6884782"/>
              <a:gd name="connsiteY57988" fmla="*/ 1291838 h 5973007"/>
              <a:gd name="connsiteX57989" fmla="*/ 1503825 w 6884782"/>
              <a:gd name="connsiteY57989" fmla="*/ 1291848 h 5973007"/>
              <a:gd name="connsiteX57990" fmla="*/ 1503824 w 6884782"/>
              <a:gd name="connsiteY57990" fmla="*/ 1291857 h 5973007"/>
              <a:gd name="connsiteX57991" fmla="*/ 1503833 w 6884782"/>
              <a:gd name="connsiteY57991" fmla="*/ 1291848 h 5973007"/>
              <a:gd name="connsiteX57992" fmla="*/ 1506302 w 6884782"/>
              <a:gd name="connsiteY57992" fmla="*/ 1291857 h 5973007"/>
              <a:gd name="connsiteX57993" fmla="*/ 1493395 w 6884782"/>
              <a:gd name="connsiteY57993" fmla="*/ 1294646 h 5973007"/>
              <a:gd name="connsiteX57994" fmla="*/ 1495460 w 6884782"/>
              <a:gd name="connsiteY57994" fmla="*/ 1293097 h 5973007"/>
              <a:gd name="connsiteX57995" fmla="*/ 1500997 w 6884782"/>
              <a:gd name="connsiteY57995" fmla="*/ 1291838 h 5973007"/>
              <a:gd name="connsiteX57996" fmla="*/ 1476977 w 6884782"/>
              <a:gd name="connsiteY57996" fmla="*/ 1291548 h 5973007"/>
              <a:gd name="connsiteX57997" fmla="*/ 1477803 w 6884782"/>
              <a:gd name="connsiteY57997" fmla="*/ 1292322 h 5973007"/>
              <a:gd name="connsiteX57998" fmla="*/ 1481727 w 6884782"/>
              <a:gd name="connsiteY57998" fmla="*/ 1301461 h 5973007"/>
              <a:gd name="connsiteX57999" fmla="*/ 1473983 w 6884782"/>
              <a:gd name="connsiteY57999" fmla="*/ 1301771 h 5973007"/>
              <a:gd name="connsiteX58000" fmla="*/ 1469027 w 6884782"/>
              <a:gd name="connsiteY58000" fmla="*/ 1294491 h 5973007"/>
              <a:gd name="connsiteX58001" fmla="*/ 1476977 w 6884782"/>
              <a:gd name="connsiteY58001" fmla="*/ 1291548 h 5973007"/>
              <a:gd name="connsiteX58002" fmla="*/ 4112598 w 6884782"/>
              <a:gd name="connsiteY58002" fmla="*/ 1290806 h 5973007"/>
              <a:gd name="connsiteX58003" fmla="*/ 4116226 w 6884782"/>
              <a:gd name="connsiteY58003" fmla="*/ 1291801 h 5973007"/>
              <a:gd name="connsiteX58004" fmla="*/ 4117507 w 6884782"/>
              <a:gd name="connsiteY58004" fmla="*/ 1292940 h 5973007"/>
              <a:gd name="connsiteX58005" fmla="*/ 4118788 w 6884782"/>
              <a:gd name="connsiteY58005" fmla="*/ 1292798 h 5973007"/>
              <a:gd name="connsiteX58006" fmla="*/ 4119001 w 6884782"/>
              <a:gd name="connsiteY58006" fmla="*/ 1294078 h 5973007"/>
              <a:gd name="connsiteX58007" fmla="*/ 4121562 w 6884782"/>
              <a:gd name="connsiteY58007" fmla="*/ 1296354 h 5973007"/>
              <a:gd name="connsiteX58008" fmla="*/ 4129032 w 6884782"/>
              <a:gd name="connsiteY58008" fmla="*/ 1299342 h 5973007"/>
              <a:gd name="connsiteX58009" fmla="*/ 4134580 w 6884782"/>
              <a:gd name="connsiteY58009" fmla="*/ 1306313 h 5973007"/>
              <a:gd name="connsiteX58010" fmla="*/ 4132660 w 6884782"/>
              <a:gd name="connsiteY58010" fmla="*/ 1308874 h 5973007"/>
              <a:gd name="connsiteX58011" fmla="*/ 4135221 w 6884782"/>
              <a:gd name="connsiteY58011" fmla="*/ 1311008 h 5973007"/>
              <a:gd name="connsiteX58012" fmla="*/ 4136288 w 6884782"/>
              <a:gd name="connsiteY58012" fmla="*/ 1326657 h 5973007"/>
              <a:gd name="connsiteX58013" fmla="*/ 4130952 w 6884782"/>
              <a:gd name="connsiteY58013" fmla="*/ 1330499 h 5973007"/>
              <a:gd name="connsiteX58014" fmla="*/ 4122629 w 6884782"/>
              <a:gd name="connsiteY58014" fmla="*/ 1328507 h 5973007"/>
              <a:gd name="connsiteX58015" fmla="*/ 4119855 w 6884782"/>
              <a:gd name="connsiteY58015" fmla="*/ 1324381 h 5973007"/>
              <a:gd name="connsiteX58016" fmla="*/ 4117507 w 6884782"/>
              <a:gd name="connsiteY58016" fmla="*/ 1326231 h 5973007"/>
              <a:gd name="connsiteX58017" fmla="*/ 4099366 w 6884782"/>
              <a:gd name="connsiteY58017" fmla="*/ 1317410 h 5973007"/>
              <a:gd name="connsiteX58018" fmla="*/ 4098726 w 6884782"/>
              <a:gd name="connsiteY58018" fmla="*/ 1314138 h 5973007"/>
              <a:gd name="connsiteX58019" fmla="*/ 4096379 w 6884782"/>
              <a:gd name="connsiteY58019" fmla="*/ 1309727 h 5973007"/>
              <a:gd name="connsiteX58020" fmla="*/ 4109184 w 6884782"/>
              <a:gd name="connsiteY58020" fmla="*/ 1300195 h 5973007"/>
              <a:gd name="connsiteX58021" fmla="*/ 4116226 w 6884782"/>
              <a:gd name="connsiteY58021" fmla="*/ 1298488 h 5973007"/>
              <a:gd name="connsiteX58022" fmla="*/ 4117934 w 6884782"/>
              <a:gd name="connsiteY58022" fmla="*/ 1298915 h 5973007"/>
              <a:gd name="connsiteX58023" fmla="*/ 4117293 w 6884782"/>
              <a:gd name="connsiteY58023" fmla="*/ 1298488 h 5973007"/>
              <a:gd name="connsiteX58024" fmla="*/ 4112598 w 6884782"/>
              <a:gd name="connsiteY58024" fmla="*/ 1290806 h 5973007"/>
              <a:gd name="connsiteX58025" fmla="*/ 4270529 w 6884782"/>
              <a:gd name="connsiteY58025" fmla="*/ 1290521 h 5973007"/>
              <a:gd name="connsiteX58026" fmla="*/ 4271169 w 6884782"/>
              <a:gd name="connsiteY58026" fmla="*/ 1295073 h 5973007"/>
              <a:gd name="connsiteX58027" fmla="*/ 4271382 w 6884782"/>
              <a:gd name="connsiteY58027" fmla="*/ 1296781 h 5973007"/>
              <a:gd name="connsiteX58028" fmla="*/ 4278852 w 6884782"/>
              <a:gd name="connsiteY58028" fmla="*/ 1294789 h 5973007"/>
              <a:gd name="connsiteX58029" fmla="*/ 4301048 w 6884782"/>
              <a:gd name="connsiteY58029" fmla="*/ 1302330 h 5973007"/>
              <a:gd name="connsiteX58030" fmla="*/ 4301688 w 6884782"/>
              <a:gd name="connsiteY58030" fmla="*/ 1303325 h 5973007"/>
              <a:gd name="connsiteX58031" fmla="*/ 4301048 w 6884782"/>
              <a:gd name="connsiteY58031" fmla="*/ 1301334 h 5973007"/>
              <a:gd name="connsiteX58032" fmla="*/ 4302328 w 6884782"/>
              <a:gd name="connsiteY58032" fmla="*/ 1299057 h 5973007"/>
              <a:gd name="connsiteX58033" fmla="*/ 4306383 w 6884782"/>
              <a:gd name="connsiteY58033" fmla="*/ 1294931 h 5973007"/>
              <a:gd name="connsiteX58034" fmla="*/ 4310225 w 6884782"/>
              <a:gd name="connsiteY58034" fmla="*/ 1297066 h 5973007"/>
              <a:gd name="connsiteX58035" fmla="*/ 4311292 w 6884782"/>
              <a:gd name="connsiteY58035" fmla="*/ 1302330 h 5973007"/>
              <a:gd name="connsiteX58036" fmla="*/ 4307450 w 6884782"/>
              <a:gd name="connsiteY58036" fmla="*/ 1310866 h 5973007"/>
              <a:gd name="connsiteX58037" fmla="*/ 4305530 w 6884782"/>
              <a:gd name="connsiteY58037" fmla="*/ 1309585 h 5973007"/>
              <a:gd name="connsiteX58038" fmla="*/ 4299767 w 6884782"/>
              <a:gd name="connsiteY58038" fmla="*/ 1319544 h 5973007"/>
              <a:gd name="connsiteX58039" fmla="*/ 4290377 w 6884782"/>
              <a:gd name="connsiteY58039" fmla="*/ 1325519 h 5973007"/>
              <a:gd name="connsiteX58040" fmla="*/ 4283761 w 6884782"/>
              <a:gd name="connsiteY58040" fmla="*/ 1326657 h 5973007"/>
              <a:gd name="connsiteX58041" fmla="*/ 4287816 w 6884782"/>
              <a:gd name="connsiteY58041" fmla="*/ 1329645 h 5973007"/>
              <a:gd name="connsiteX58042" fmla="*/ 4298914 w 6884782"/>
              <a:gd name="connsiteY58042" fmla="*/ 1346860 h 5973007"/>
              <a:gd name="connsiteX58043" fmla="*/ 4283548 w 6884782"/>
              <a:gd name="connsiteY58043" fmla="*/ 1348994 h 5973007"/>
              <a:gd name="connsiteX58044" fmla="*/ 4273944 w 6884782"/>
              <a:gd name="connsiteY58044" fmla="*/ 1338323 h 5973007"/>
              <a:gd name="connsiteX58045" fmla="*/ 4273303 w 6884782"/>
              <a:gd name="connsiteY58045" fmla="*/ 1336758 h 5973007"/>
              <a:gd name="connsiteX58046" fmla="*/ 4270956 w 6884782"/>
              <a:gd name="connsiteY58046" fmla="*/ 1338750 h 5973007"/>
              <a:gd name="connsiteX58047" fmla="*/ 4264980 w 6884782"/>
              <a:gd name="connsiteY58047" fmla="*/ 1338892 h 5973007"/>
              <a:gd name="connsiteX58048" fmla="*/ 4260711 w 6884782"/>
              <a:gd name="connsiteY58048" fmla="*/ 1324950 h 5973007"/>
              <a:gd name="connsiteX58049" fmla="*/ 4260925 w 6884782"/>
              <a:gd name="connsiteY58049" fmla="*/ 1320255 h 5973007"/>
              <a:gd name="connsiteX58050" fmla="*/ 4254096 w 6884782"/>
              <a:gd name="connsiteY58050" fmla="*/ 1314138 h 5973007"/>
              <a:gd name="connsiteX58051" fmla="*/ 4254096 w 6884782"/>
              <a:gd name="connsiteY58051" fmla="*/ 1310297 h 5973007"/>
              <a:gd name="connsiteX58052" fmla="*/ 4263913 w 6884782"/>
              <a:gd name="connsiteY58052" fmla="*/ 1298915 h 5973007"/>
              <a:gd name="connsiteX58053" fmla="*/ 4264980 w 6884782"/>
              <a:gd name="connsiteY58053" fmla="*/ 1298630 h 5973007"/>
              <a:gd name="connsiteX58054" fmla="*/ 4261992 w 6884782"/>
              <a:gd name="connsiteY58054" fmla="*/ 1296781 h 5973007"/>
              <a:gd name="connsiteX58055" fmla="*/ 4270529 w 6884782"/>
              <a:gd name="connsiteY58055" fmla="*/ 1290521 h 5973007"/>
              <a:gd name="connsiteX58056" fmla="*/ 4834598 w 6884782"/>
              <a:gd name="connsiteY58056" fmla="*/ 1290379 h 5973007"/>
              <a:gd name="connsiteX58057" fmla="*/ 4844628 w 6884782"/>
              <a:gd name="connsiteY58057" fmla="*/ 1297919 h 5973007"/>
              <a:gd name="connsiteX58058" fmla="*/ 4845269 w 6884782"/>
              <a:gd name="connsiteY58058" fmla="*/ 1298488 h 5973007"/>
              <a:gd name="connsiteX58059" fmla="*/ 4846549 w 6884782"/>
              <a:gd name="connsiteY58059" fmla="*/ 1299200 h 5973007"/>
              <a:gd name="connsiteX58060" fmla="*/ 4846976 w 6884782"/>
              <a:gd name="connsiteY58060" fmla="*/ 1298773 h 5973007"/>
              <a:gd name="connsiteX58061" fmla="*/ 4846976 w 6884782"/>
              <a:gd name="connsiteY58061" fmla="*/ 1299200 h 5973007"/>
              <a:gd name="connsiteX58062" fmla="*/ 4849537 w 6884782"/>
              <a:gd name="connsiteY58062" fmla="*/ 1300338 h 5973007"/>
              <a:gd name="connsiteX58063" fmla="*/ 4848683 w 6884782"/>
              <a:gd name="connsiteY58063" fmla="*/ 1302330 h 5973007"/>
              <a:gd name="connsiteX58064" fmla="*/ 4849750 w 6884782"/>
              <a:gd name="connsiteY58064" fmla="*/ 1305886 h 5973007"/>
              <a:gd name="connsiteX58065" fmla="*/ 4847830 w 6884782"/>
              <a:gd name="connsiteY58065" fmla="*/ 1308304 h 5973007"/>
              <a:gd name="connsiteX58066" fmla="*/ 4841000 w 6884782"/>
              <a:gd name="connsiteY58066" fmla="*/ 1308447 h 5973007"/>
              <a:gd name="connsiteX58067" fmla="*/ 4836518 w 6884782"/>
              <a:gd name="connsiteY58067" fmla="*/ 1316699 h 5973007"/>
              <a:gd name="connsiteX58068" fmla="*/ 4834598 w 6884782"/>
              <a:gd name="connsiteY58068" fmla="*/ 1320825 h 5973007"/>
              <a:gd name="connsiteX58069" fmla="*/ 4835878 w 6884782"/>
              <a:gd name="connsiteY58069" fmla="*/ 1319686 h 5973007"/>
              <a:gd name="connsiteX58070" fmla="*/ 4852738 w 6884782"/>
              <a:gd name="connsiteY58070" fmla="*/ 1321251 h 5973007"/>
              <a:gd name="connsiteX58071" fmla="*/ 4841640 w 6884782"/>
              <a:gd name="connsiteY58071" fmla="*/ 1326515 h 5973007"/>
              <a:gd name="connsiteX58072" fmla="*/ 4832677 w 6884782"/>
              <a:gd name="connsiteY58072" fmla="*/ 1323101 h 5973007"/>
              <a:gd name="connsiteX58073" fmla="*/ 4827981 w 6884782"/>
              <a:gd name="connsiteY58073" fmla="*/ 1326657 h 5973007"/>
              <a:gd name="connsiteX58074" fmla="*/ 4819232 w 6884782"/>
              <a:gd name="connsiteY58074" fmla="*/ 1319686 h 5973007"/>
              <a:gd name="connsiteX58075" fmla="*/ 4826701 w 6884782"/>
              <a:gd name="connsiteY58075" fmla="*/ 1297777 h 5973007"/>
              <a:gd name="connsiteX58076" fmla="*/ 4827555 w 6884782"/>
              <a:gd name="connsiteY58076" fmla="*/ 1298346 h 5973007"/>
              <a:gd name="connsiteX58077" fmla="*/ 4829903 w 6884782"/>
              <a:gd name="connsiteY58077" fmla="*/ 1290806 h 5973007"/>
              <a:gd name="connsiteX58078" fmla="*/ 4834598 w 6884782"/>
              <a:gd name="connsiteY58078" fmla="*/ 1290379 h 5973007"/>
              <a:gd name="connsiteX58079" fmla="*/ 4580201 w 6884782"/>
              <a:gd name="connsiteY58079" fmla="*/ 1290236 h 5973007"/>
              <a:gd name="connsiteX58080" fmla="*/ 4574652 w 6884782"/>
              <a:gd name="connsiteY58080" fmla="*/ 1312715 h 5973007"/>
              <a:gd name="connsiteX58081" fmla="*/ 4573158 w 6884782"/>
              <a:gd name="connsiteY58081" fmla="*/ 1314991 h 5973007"/>
              <a:gd name="connsiteX58082" fmla="*/ 4569744 w 6884782"/>
              <a:gd name="connsiteY58082" fmla="*/ 1314991 h 5973007"/>
              <a:gd name="connsiteX58083" fmla="*/ 4571664 w 6884782"/>
              <a:gd name="connsiteY58083" fmla="*/ 1297208 h 5973007"/>
              <a:gd name="connsiteX58084" fmla="*/ 4572945 w 6884782"/>
              <a:gd name="connsiteY58084" fmla="*/ 1294931 h 5973007"/>
              <a:gd name="connsiteX58085" fmla="*/ 4580201 w 6884782"/>
              <a:gd name="connsiteY58085" fmla="*/ 1290236 h 5973007"/>
              <a:gd name="connsiteX58086" fmla="*/ 3550664 w 6884782"/>
              <a:gd name="connsiteY58086" fmla="*/ 1289952 h 5973007"/>
              <a:gd name="connsiteX58087" fmla="*/ 3560482 w 6884782"/>
              <a:gd name="connsiteY58087" fmla="*/ 1302757 h 5973007"/>
              <a:gd name="connsiteX58088" fmla="*/ 3562189 w 6884782"/>
              <a:gd name="connsiteY58088" fmla="*/ 1312004 h 5973007"/>
              <a:gd name="connsiteX58089" fmla="*/ 3558774 w 6884782"/>
              <a:gd name="connsiteY58089" fmla="*/ 1321394 h 5973007"/>
              <a:gd name="connsiteX58090" fmla="*/ 3553439 w 6884782"/>
              <a:gd name="connsiteY58090" fmla="*/ 1336616 h 5973007"/>
              <a:gd name="connsiteX58091" fmla="*/ 3542128 w 6884782"/>
              <a:gd name="connsiteY58091" fmla="*/ 1335478 h 5973007"/>
              <a:gd name="connsiteX58092" fmla="*/ 3537646 w 6884782"/>
              <a:gd name="connsiteY58092" fmla="*/ 1307878 h 5973007"/>
              <a:gd name="connsiteX58093" fmla="*/ 3538286 w 6884782"/>
              <a:gd name="connsiteY58093" fmla="*/ 1305886 h 5973007"/>
              <a:gd name="connsiteX58094" fmla="*/ 3537859 w 6884782"/>
              <a:gd name="connsiteY58094" fmla="*/ 1305175 h 5973007"/>
              <a:gd name="connsiteX58095" fmla="*/ 3535725 w 6884782"/>
              <a:gd name="connsiteY58095" fmla="*/ 1294363 h 5973007"/>
              <a:gd name="connsiteX58096" fmla="*/ 3540207 w 6884782"/>
              <a:gd name="connsiteY58096" fmla="*/ 1300480 h 5973007"/>
              <a:gd name="connsiteX58097" fmla="*/ 3541061 w 6884782"/>
              <a:gd name="connsiteY58097" fmla="*/ 1298346 h 5973007"/>
              <a:gd name="connsiteX58098" fmla="*/ 3542768 w 6884782"/>
              <a:gd name="connsiteY58098" fmla="*/ 1292513 h 5973007"/>
              <a:gd name="connsiteX58099" fmla="*/ 3548103 w 6884782"/>
              <a:gd name="connsiteY58099" fmla="*/ 1290094 h 5973007"/>
              <a:gd name="connsiteX58100" fmla="*/ 3550664 w 6884782"/>
              <a:gd name="connsiteY58100" fmla="*/ 1289952 h 5973007"/>
              <a:gd name="connsiteX58101" fmla="*/ 4067994 w 6884782"/>
              <a:gd name="connsiteY58101" fmla="*/ 1288956 h 5973007"/>
              <a:gd name="connsiteX58102" fmla="*/ 4077811 w 6884782"/>
              <a:gd name="connsiteY58102" fmla="*/ 1293651 h 5973007"/>
              <a:gd name="connsiteX58103" fmla="*/ 4075890 w 6884782"/>
              <a:gd name="connsiteY58103" fmla="*/ 1303752 h 5973007"/>
              <a:gd name="connsiteX58104" fmla="*/ 4059030 w 6884782"/>
              <a:gd name="connsiteY58104" fmla="*/ 1299200 h 5973007"/>
              <a:gd name="connsiteX58105" fmla="*/ 4067994 w 6884782"/>
              <a:gd name="connsiteY58105" fmla="*/ 1288956 h 5973007"/>
              <a:gd name="connsiteX58106" fmla="*/ 1396747 w 6884782"/>
              <a:gd name="connsiteY58106" fmla="*/ 1288450 h 5973007"/>
              <a:gd name="connsiteX58107" fmla="*/ 1393649 w 6884782"/>
              <a:gd name="connsiteY58107" fmla="*/ 1291548 h 5973007"/>
              <a:gd name="connsiteX58108" fmla="*/ 1390036 w 6884782"/>
              <a:gd name="connsiteY58108" fmla="*/ 1291548 h 5973007"/>
              <a:gd name="connsiteX58109" fmla="*/ 1396747 w 6884782"/>
              <a:gd name="connsiteY58109" fmla="*/ 1288450 h 5973007"/>
              <a:gd name="connsiteX58110" fmla="*/ 1724379 w 6884782"/>
              <a:gd name="connsiteY58110" fmla="*/ 1287985 h 5973007"/>
              <a:gd name="connsiteX58111" fmla="*/ 1719733 w 6884782"/>
              <a:gd name="connsiteY58111" fmla="*/ 1288295 h 5973007"/>
              <a:gd name="connsiteX58112" fmla="*/ 1718906 w 6884782"/>
              <a:gd name="connsiteY58112" fmla="*/ 1289534 h 5973007"/>
              <a:gd name="connsiteX58113" fmla="*/ 1722521 w 6884782"/>
              <a:gd name="connsiteY58113" fmla="*/ 1289844 h 5973007"/>
              <a:gd name="connsiteX58114" fmla="*/ 1190441 w 6884782"/>
              <a:gd name="connsiteY58114" fmla="*/ 1287366 h 5973007"/>
              <a:gd name="connsiteX58115" fmla="*/ 1206756 w 6884782"/>
              <a:gd name="connsiteY58115" fmla="*/ 1291548 h 5973007"/>
              <a:gd name="connsiteX58116" fmla="*/ 1208408 w 6884782"/>
              <a:gd name="connsiteY58116" fmla="*/ 1292632 h 5973007"/>
              <a:gd name="connsiteX58117" fmla="*/ 1208408 w 6884782"/>
              <a:gd name="connsiteY58117" fmla="*/ 1295111 h 5973007"/>
              <a:gd name="connsiteX58118" fmla="*/ 1195501 w 6884782"/>
              <a:gd name="connsiteY58118" fmla="*/ 1293716 h 5973007"/>
              <a:gd name="connsiteX58119" fmla="*/ 1193849 w 6884782"/>
              <a:gd name="connsiteY58119" fmla="*/ 1292787 h 5973007"/>
              <a:gd name="connsiteX58120" fmla="*/ 1190441 w 6884782"/>
              <a:gd name="connsiteY58120" fmla="*/ 1287366 h 5973007"/>
              <a:gd name="connsiteX58121" fmla="*/ 5182898 w 6884782"/>
              <a:gd name="connsiteY58121" fmla="*/ 1287249 h 5973007"/>
              <a:gd name="connsiteX58122" fmla="*/ 5188448 w 6884782"/>
              <a:gd name="connsiteY58122" fmla="*/ 1290379 h 5973007"/>
              <a:gd name="connsiteX58123" fmla="*/ 5180765 w 6884782"/>
              <a:gd name="connsiteY58123" fmla="*/ 1301191 h 5973007"/>
              <a:gd name="connsiteX58124" fmla="*/ 5182898 w 6884782"/>
              <a:gd name="connsiteY58124" fmla="*/ 1287249 h 5973007"/>
              <a:gd name="connsiteX58125" fmla="*/ 4763315 w 6884782"/>
              <a:gd name="connsiteY58125" fmla="*/ 1285969 h 5973007"/>
              <a:gd name="connsiteX58126" fmla="*/ 4765877 w 6884782"/>
              <a:gd name="connsiteY58126" fmla="*/ 1292940 h 5973007"/>
              <a:gd name="connsiteX58127" fmla="*/ 4755419 w 6884782"/>
              <a:gd name="connsiteY58127" fmla="*/ 1300765 h 5973007"/>
              <a:gd name="connsiteX58128" fmla="*/ 4763315 w 6884782"/>
              <a:gd name="connsiteY58128" fmla="*/ 1285969 h 5973007"/>
              <a:gd name="connsiteX58129" fmla="*/ 3634111 w 6884782"/>
              <a:gd name="connsiteY58129" fmla="*/ 1285969 h 5973007"/>
              <a:gd name="connsiteX58130" fmla="*/ 3641581 w 6884782"/>
              <a:gd name="connsiteY58130" fmla="*/ 1287107 h 5973007"/>
              <a:gd name="connsiteX58131" fmla="*/ 3639660 w 6884782"/>
              <a:gd name="connsiteY58131" fmla="*/ 1289952 h 5973007"/>
              <a:gd name="connsiteX58132" fmla="*/ 3636246 w 6884782"/>
              <a:gd name="connsiteY58132" fmla="*/ 1289099 h 5973007"/>
              <a:gd name="connsiteX58133" fmla="*/ 3633684 w 6884782"/>
              <a:gd name="connsiteY58133" fmla="*/ 1289241 h 5973007"/>
              <a:gd name="connsiteX58134" fmla="*/ 3631550 w 6884782"/>
              <a:gd name="connsiteY58134" fmla="*/ 1286111 h 5973007"/>
              <a:gd name="connsiteX58135" fmla="*/ 3634111 w 6884782"/>
              <a:gd name="connsiteY58135" fmla="*/ 1285969 h 5973007"/>
              <a:gd name="connsiteX58136" fmla="*/ 1398812 w 6884782"/>
              <a:gd name="connsiteY58136" fmla="*/ 1285817 h 5973007"/>
              <a:gd name="connsiteX58137" fmla="*/ 1399535 w 6884782"/>
              <a:gd name="connsiteY58137" fmla="*/ 1286591 h 5973007"/>
              <a:gd name="connsiteX58138" fmla="*/ 1399638 w 6884782"/>
              <a:gd name="connsiteY58138" fmla="*/ 1285817 h 5973007"/>
              <a:gd name="connsiteX58139" fmla="*/ 1399845 w 6884782"/>
              <a:gd name="connsiteY58139" fmla="*/ 1286901 h 5973007"/>
              <a:gd name="connsiteX58140" fmla="*/ 1399432 w 6884782"/>
              <a:gd name="connsiteY58140" fmla="*/ 1287521 h 5973007"/>
              <a:gd name="connsiteX58141" fmla="*/ 1396747 w 6884782"/>
              <a:gd name="connsiteY58141" fmla="*/ 1288295 h 5973007"/>
              <a:gd name="connsiteX58142" fmla="*/ 1398812 w 6884782"/>
              <a:gd name="connsiteY58142" fmla="*/ 1285817 h 5973007"/>
              <a:gd name="connsiteX58143" fmla="*/ 5124848 w 6884782"/>
              <a:gd name="connsiteY58143" fmla="*/ 1285542 h 5973007"/>
              <a:gd name="connsiteX58144" fmla="*/ 5132318 w 6884782"/>
              <a:gd name="connsiteY58144" fmla="*/ 1285684 h 5973007"/>
              <a:gd name="connsiteX58145" fmla="*/ 5117379 w 6884782"/>
              <a:gd name="connsiteY58145" fmla="*/ 1305886 h 5973007"/>
              <a:gd name="connsiteX58146" fmla="*/ 5124848 w 6884782"/>
              <a:gd name="connsiteY58146" fmla="*/ 1285542 h 5973007"/>
              <a:gd name="connsiteX58147" fmla="*/ 1569495 w 6884782"/>
              <a:gd name="connsiteY58147" fmla="*/ 1285042 h 5973007"/>
              <a:gd name="connsiteX58148" fmla="*/ 1571457 w 6884782"/>
              <a:gd name="connsiteY58148" fmla="*/ 1288914 h 5973007"/>
              <a:gd name="connsiteX58149" fmla="*/ 1566397 w 6884782"/>
              <a:gd name="connsiteY58149" fmla="*/ 1291238 h 5973007"/>
              <a:gd name="connsiteX58150" fmla="*/ 1564126 w 6884782"/>
              <a:gd name="connsiteY58150" fmla="*/ 1287521 h 5973007"/>
              <a:gd name="connsiteX58151" fmla="*/ 1565158 w 6884782"/>
              <a:gd name="connsiteY58151" fmla="*/ 1285662 h 5973007"/>
              <a:gd name="connsiteX58152" fmla="*/ 1565984 w 6884782"/>
              <a:gd name="connsiteY58152" fmla="*/ 1285507 h 5973007"/>
              <a:gd name="connsiteX58153" fmla="*/ 1569495 w 6884782"/>
              <a:gd name="connsiteY58153" fmla="*/ 1285042 h 5973007"/>
              <a:gd name="connsiteX58154" fmla="*/ 3910490 w 6884782"/>
              <a:gd name="connsiteY58154" fmla="*/ 1284973 h 5973007"/>
              <a:gd name="connsiteX58155" fmla="*/ 3914545 w 6884782"/>
              <a:gd name="connsiteY58155" fmla="*/ 1288814 h 5973007"/>
              <a:gd name="connsiteX58156" fmla="*/ 3914545 w 6884782"/>
              <a:gd name="connsiteY58156" fmla="*/ 1291517 h 5973007"/>
              <a:gd name="connsiteX58157" fmla="*/ 3911557 w 6884782"/>
              <a:gd name="connsiteY58157" fmla="*/ 1292371 h 5973007"/>
              <a:gd name="connsiteX58158" fmla="*/ 3905368 w 6884782"/>
              <a:gd name="connsiteY58158" fmla="*/ 1288956 h 5973007"/>
              <a:gd name="connsiteX58159" fmla="*/ 3905368 w 6884782"/>
              <a:gd name="connsiteY58159" fmla="*/ 1286253 h 5973007"/>
              <a:gd name="connsiteX58160" fmla="*/ 3910490 w 6884782"/>
              <a:gd name="connsiteY58160" fmla="*/ 1284973 h 5973007"/>
              <a:gd name="connsiteX58161" fmla="*/ 1551528 w 6884782"/>
              <a:gd name="connsiteY58161" fmla="*/ 1284887 h 5973007"/>
              <a:gd name="connsiteX58162" fmla="*/ 1550496 w 6884782"/>
              <a:gd name="connsiteY58162" fmla="*/ 1291393 h 5973007"/>
              <a:gd name="connsiteX58163" fmla="*/ 1549463 w 6884782"/>
              <a:gd name="connsiteY58163" fmla="*/ 1292168 h 5973007"/>
              <a:gd name="connsiteX58164" fmla="*/ 1551528 w 6884782"/>
              <a:gd name="connsiteY58164" fmla="*/ 1284887 h 5973007"/>
              <a:gd name="connsiteX58165" fmla="*/ 3651398 w 6884782"/>
              <a:gd name="connsiteY58165" fmla="*/ 1283835 h 5973007"/>
              <a:gd name="connsiteX58166" fmla="*/ 3660789 w 6884782"/>
              <a:gd name="connsiteY58166" fmla="*/ 1288672 h 5973007"/>
              <a:gd name="connsiteX58167" fmla="*/ 3661856 w 6884782"/>
              <a:gd name="connsiteY58167" fmla="*/ 1291517 h 5973007"/>
              <a:gd name="connsiteX58168" fmla="*/ 3656521 w 6884782"/>
              <a:gd name="connsiteY58168" fmla="*/ 1293651 h 5973007"/>
              <a:gd name="connsiteX58169" fmla="*/ 3647557 w 6884782"/>
              <a:gd name="connsiteY58169" fmla="*/ 1286253 h 5973007"/>
              <a:gd name="connsiteX58170" fmla="*/ 3651398 w 6884782"/>
              <a:gd name="connsiteY58170" fmla="*/ 1283835 h 5973007"/>
              <a:gd name="connsiteX58171" fmla="*/ 1013150 w 6884782"/>
              <a:gd name="connsiteY58171" fmla="*/ 1283493 h 5973007"/>
              <a:gd name="connsiteX58172" fmla="*/ 1028122 w 6884782"/>
              <a:gd name="connsiteY58172" fmla="*/ 1294336 h 5973007"/>
              <a:gd name="connsiteX58173" fmla="*/ 1025438 w 6884782"/>
              <a:gd name="connsiteY58173" fmla="*/ 1296040 h 5973007"/>
              <a:gd name="connsiteX58174" fmla="*/ 1011808 w 6884782"/>
              <a:gd name="connsiteY58174" fmla="*/ 1285817 h 5973007"/>
              <a:gd name="connsiteX58175" fmla="*/ 1013150 w 6884782"/>
              <a:gd name="connsiteY58175" fmla="*/ 1283493 h 5973007"/>
              <a:gd name="connsiteX58176" fmla="*/ 1387867 w 6884782"/>
              <a:gd name="connsiteY58176" fmla="*/ 1283183 h 5973007"/>
              <a:gd name="connsiteX58177" fmla="*/ 1387867 w 6884782"/>
              <a:gd name="connsiteY58177" fmla="*/ 1288140 h 5973007"/>
              <a:gd name="connsiteX58178" fmla="*/ 1386938 w 6884782"/>
              <a:gd name="connsiteY58178" fmla="*/ 1288914 h 5973007"/>
              <a:gd name="connsiteX58179" fmla="*/ 1386318 w 6884782"/>
              <a:gd name="connsiteY58179" fmla="*/ 1289689 h 5973007"/>
              <a:gd name="connsiteX58180" fmla="*/ 1384563 w 6884782"/>
              <a:gd name="connsiteY58180" fmla="*/ 1291238 h 5973007"/>
              <a:gd name="connsiteX58181" fmla="*/ 1382498 w 6884782"/>
              <a:gd name="connsiteY58181" fmla="*/ 1289069 h 5973007"/>
              <a:gd name="connsiteX58182" fmla="*/ 1382498 w 6884782"/>
              <a:gd name="connsiteY58182" fmla="*/ 1286591 h 5973007"/>
              <a:gd name="connsiteX58183" fmla="*/ 1387867 w 6884782"/>
              <a:gd name="connsiteY58183" fmla="*/ 1283183 h 5973007"/>
              <a:gd name="connsiteX58184" fmla="*/ 4181106 w 6884782"/>
              <a:gd name="connsiteY58184" fmla="*/ 1282838 h 5973007"/>
              <a:gd name="connsiteX58185" fmla="*/ 4188362 w 6884782"/>
              <a:gd name="connsiteY58185" fmla="*/ 1310012 h 5973007"/>
              <a:gd name="connsiteX58186" fmla="*/ 4180893 w 6884782"/>
              <a:gd name="connsiteY58186" fmla="*/ 1297208 h 5973007"/>
              <a:gd name="connsiteX58187" fmla="*/ 4181106 w 6884782"/>
              <a:gd name="connsiteY58187" fmla="*/ 1282838 h 5973007"/>
              <a:gd name="connsiteX58188" fmla="*/ 1406247 w 6884782"/>
              <a:gd name="connsiteY58188" fmla="*/ 1282409 h 5973007"/>
              <a:gd name="connsiteX58189" fmla="*/ 1411513 w 6884782"/>
              <a:gd name="connsiteY58189" fmla="*/ 1284268 h 5973007"/>
              <a:gd name="connsiteX58190" fmla="*/ 1412752 w 6884782"/>
              <a:gd name="connsiteY58190" fmla="*/ 1291703 h 5973007"/>
              <a:gd name="connsiteX58191" fmla="*/ 1408518 w 6884782"/>
              <a:gd name="connsiteY58191" fmla="*/ 1292322 h 5973007"/>
              <a:gd name="connsiteX58192" fmla="*/ 1406247 w 6884782"/>
              <a:gd name="connsiteY58192" fmla="*/ 1287830 h 5973007"/>
              <a:gd name="connsiteX58193" fmla="*/ 1405730 w 6884782"/>
              <a:gd name="connsiteY58193" fmla="*/ 1284887 h 5973007"/>
              <a:gd name="connsiteX58194" fmla="*/ 1406247 w 6884782"/>
              <a:gd name="connsiteY58194" fmla="*/ 1282409 h 5973007"/>
              <a:gd name="connsiteX58195" fmla="*/ 5805871 w 6884782"/>
              <a:gd name="connsiteY58195" fmla="*/ 1281985 h 5973007"/>
              <a:gd name="connsiteX58196" fmla="*/ 5808432 w 6884782"/>
              <a:gd name="connsiteY58196" fmla="*/ 1283977 h 5973007"/>
              <a:gd name="connsiteX58197" fmla="*/ 5804590 w 6884782"/>
              <a:gd name="connsiteY58197" fmla="*/ 1287249 h 5973007"/>
              <a:gd name="connsiteX58198" fmla="*/ 5803950 w 6884782"/>
              <a:gd name="connsiteY58198" fmla="*/ 1282696 h 5973007"/>
              <a:gd name="connsiteX58199" fmla="*/ 5805871 w 6884782"/>
              <a:gd name="connsiteY58199" fmla="*/ 1281985 h 5973007"/>
              <a:gd name="connsiteX58200" fmla="*/ 5792425 w 6884782"/>
              <a:gd name="connsiteY58200" fmla="*/ 1281416 h 5973007"/>
              <a:gd name="connsiteX58201" fmla="*/ 5795840 w 6884782"/>
              <a:gd name="connsiteY58201" fmla="*/ 1285826 h 5973007"/>
              <a:gd name="connsiteX58202" fmla="*/ 5793919 w 6884782"/>
              <a:gd name="connsiteY58202" fmla="*/ 1290806 h 5973007"/>
              <a:gd name="connsiteX58203" fmla="*/ 5791358 w 6884782"/>
              <a:gd name="connsiteY58203" fmla="*/ 1292086 h 5973007"/>
              <a:gd name="connsiteX58204" fmla="*/ 5789438 w 6884782"/>
              <a:gd name="connsiteY58204" fmla="*/ 1289668 h 5973007"/>
              <a:gd name="connsiteX58205" fmla="*/ 5790078 w 6884782"/>
              <a:gd name="connsiteY58205" fmla="*/ 1282554 h 5973007"/>
              <a:gd name="connsiteX58206" fmla="*/ 5792425 w 6884782"/>
              <a:gd name="connsiteY58206" fmla="*/ 1281416 h 5973007"/>
              <a:gd name="connsiteX58207" fmla="*/ 1382188 w 6884782"/>
              <a:gd name="connsiteY58207" fmla="*/ 1281170 h 5973007"/>
              <a:gd name="connsiteX58208" fmla="*/ 1382911 w 6884782"/>
              <a:gd name="connsiteY58208" fmla="*/ 1281635 h 5973007"/>
              <a:gd name="connsiteX58209" fmla="*/ 1380536 w 6884782"/>
              <a:gd name="connsiteY58209" fmla="*/ 1283648 h 5973007"/>
              <a:gd name="connsiteX58210" fmla="*/ 1382188 w 6884782"/>
              <a:gd name="connsiteY58210" fmla="*/ 1281170 h 5973007"/>
              <a:gd name="connsiteX58211" fmla="*/ 1520138 w 6884782"/>
              <a:gd name="connsiteY58211" fmla="*/ 1280550 h 5973007"/>
              <a:gd name="connsiteX58212" fmla="*/ 1520655 w 6884782"/>
              <a:gd name="connsiteY58212" fmla="*/ 1280860 h 5973007"/>
              <a:gd name="connsiteX58213" fmla="*/ 1521068 w 6884782"/>
              <a:gd name="connsiteY58213" fmla="*/ 1283493 h 5973007"/>
              <a:gd name="connsiteX58214" fmla="*/ 1518693 w 6884782"/>
              <a:gd name="connsiteY58214" fmla="*/ 1281635 h 5973007"/>
              <a:gd name="connsiteX58215" fmla="*/ 1519726 w 6884782"/>
              <a:gd name="connsiteY58215" fmla="*/ 1280860 h 5973007"/>
              <a:gd name="connsiteX58216" fmla="*/ 1518899 w 6884782"/>
              <a:gd name="connsiteY58216" fmla="*/ 1280705 h 5973007"/>
              <a:gd name="connsiteX58217" fmla="*/ 1520138 w 6884782"/>
              <a:gd name="connsiteY58217" fmla="*/ 1280550 h 5973007"/>
              <a:gd name="connsiteX58218" fmla="*/ 1035247 w 6884782"/>
              <a:gd name="connsiteY58218" fmla="*/ 1280085 h 5973007"/>
              <a:gd name="connsiteX58219" fmla="*/ 1040720 w 6884782"/>
              <a:gd name="connsiteY58219" fmla="*/ 1288914 h 5973007"/>
              <a:gd name="connsiteX58220" fmla="*/ 1035454 w 6884782"/>
              <a:gd name="connsiteY58220" fmla="*/ 1290154 h 5973007"/>
              <a:gd name="connsiteX58221" fmla="*/ 1034008 w 6884782"/>
              <a:gd name="connsiteY58221" fmla="*/ 1285042 h 5973007"/>
              <a:gd name="connsiteX58222" fmla="*/ 1035247 w 6884782"/>
              <a:gd name="connsiteY58222" fmla="*/ 1280085 h 5973007"/>
              <a:gd name="connsiteX58223" fmla="*/ 5239882 w 6884782"/>
              <a:gd name="connsiteY58223" fmla="*/ 1279851 h 5973007"/>
              <a:gd name="connsiteX58224" fmla="*/ 5242870 w 6884782"/>
              <a:gd name="connsiteY58224" fmla="*/ 1279993 h 5973007"/>
              <a:gd name="connsiteX58225" fmla="*/ 5246284 w 6884782"/>
              <a:gd name="connsiteY58225" fmla="*/ 1280705 h 5973007"/>
              <a:gd name="connsiteX58226" fmla="*/ 5244577 w 6884782"/>
              <a:gd name="connsiteY58226" fmla="*/ 1293224 h 5973007"/>
              <a:gd name="connsiteX58227" fmla="*/ 5239882 w 6884782"/>
              <a:gd name="connsiteY58227" fmla="*/ 1279851 h 5973007"/>
              <a:gd name="connsiteX58228" fmla="*/ 4805146 w 6884782"/>
              <a:gd name="connsiteY58228" fmla="*/ 1279567 h 5973007"/>
              <a:gd name="connsiteX58229" fmla="*/ 4819232 w 6884782"/>
              <a:gd name="connsiteY58229" fmla="*/ 1288529 h 5973007"/>
              <a:gd name="connsiteX58230" fmla="*/ 4820298 w 6884782"/>
              <a:gd name="connsiteY58230" fmla="*/ 1290806 h 5973007"/>
              <a:gd name="connsiteX58231" fmla="*/ 4820085 w 6884782"/>
              <a:gd name="connsiteY58231" fmla="*/ 1299342 h 5973007"/>
              <a:gd name="connsiteX58232" fmla="*/ 4804292 w 6884782"/>
              <a:gd name="connsiteY58232" fmla="*/ 1284973 h 5973007"/>
              <a:gd name="connsiteX58233" fmla="*/ 4803225 w 6884782"/>
              <a:gd name="connsiteY58233" fmla="*/ 1282696 h 5973007"/>
              <a:gd name="connsiteX58234" fmla="*/ 4805146 w 6884782"/>
              <a:gd name="connsiteY58234" fmla="*/ 1279567 h 5973007"/>
              <a:gd name="connsiteX58235" fmla="*/ 4028938 w 6884782"/>
              <a:gd name="connsiteY58235" fmla="*/ 1279282 h 5973007"/>
              <a:gd name="connsiteX58236" fmla="*/ 4028511 w 6884782"/>
              <a:gd name="connsiteY58236" fmla="*/ 1287533 h 5973007"/>
              <a:gd name="connsiteX58237" fmla="*/ 4027230 w 6884782"/>
              <a:gd name="connsiteY58237" fmla="*/ 1288245 h 5973007"/>
              <a:gd name="connsiteX58238" fmla="*/ 4031072 w 6884782"/>
              <a:gd name="connsiteY58238" fmla="*/ 1295785 h 5973007"/>
              <a:gd name="connsiteX58239" fmla="*/ 4030005 w 6884782"/>
              <a:gd name="connsiteY58239" fmla="*/ 1304037 h 5973007"/>
              <a:gd name="connsiteX58240" fmla="*/ 4022109 w 6884782"/>
              <a:gd name="connsiteY58240" fmla="*/ 1297635 h 5973007"/>
              <a:gd name="connsiteX58241" fmla="*/ 4027017 w 6884782"/>
              <a:gd name="connsiteY58241" fmla="*/ 1288245 h 5973007"/>
              <a:gd name="connsiteX58242" fmla="*/ 4024883 w 6884782"/>
              <a:gd name="connsiteY58242" fmla="*/ 1289526 h 5973007"/>
              <a:gd name="connsiteX58243" fmla="*/ 4021041 w 6884782"/>
              <a:gd name="connsiteY58243" fmla="*/ 1289241 h 5973007"/>
              <a:gd name="connsiteX58244" fmla="*/ 4028938 w 6884782"/>
              <a:gd name="connsiteY58244" fmla="*/ 1279282 h 5973007"/>
              <a:gd name="connsiteX58245" fmla="*/ 3813170 w 6884782"/>
              <a:gd name="connsiteY58245" fmla="*/ 1279282 h 5973007"/>
              <a:gd name="connsiteX58246" fmla="*/ 3832165 w 6884782"/>
              <a:gd name="connsiteY58246" fmla="*/ 1285826 h 5973007"/>
              <a:gd name="connsiteX58247" fmla="*/ 3842409 w 6884782"/>
              <a:gd name="connsiteY58247" fmla="*/ 1289383 h 5973007"/>
              <a:gd name="connsiteX58248" fmla="*/ 3844756 w 6884782"/>
              <a:gd name="connsiteY58248" fmla="*/ 1284830 h 5973007"/>
              <a:gd name="connsiteX58249" fmla="*/ 3847531 w 6884782"/>
              <a:gd name="connsiteY58249" fmla="*/ 1291091 h 5973007"/>
              <a:gd name="connsiteX58250" fmla="*/ 3851159 w 6884782"/>
              <a:gd name="connsiteY58250" fmla="*/ 1292371 h 5973007"/>
              <a:gd name="connsiteX58251" fmla="*/ 3860123 w 6884782"/>
              <a:gd name="connsiteY58251" fmla="*/ 1315987 h 5973007"/>
              <a:gd name="connsiteX58252" fmla="*/ 3861403 w 6884782"/>
              <a:gd name="connsiteY58252" fmla="*/ 1319829 h 5973007"/>
              <a:gd name="connsiteX58253" fmla="*/ 3863324 w 6884782"/>
              <a:gd name="connsiteY58253" fmla="*/ 1316983 h 5973007"/>
              <a:gd name="connsiteX58254" fmla="*/ 3871434 w 6884782"/>
              <a:gd name="connsiteY58254" fmla="*/ 1345294 h 5973007"/>
              <a:gd name="connsiteX58255" fmla="*/ 3865458 w 6884782"/>
              <a:gd name="connsiteY58255" fmla="*/ 1345152 h 5973007"/>
              <a:gd name="connsiteX58256" fmla="*/ 3862897 w 6884782"/>
              <a:gd name="connsiteY58256" fmla="*/ 1339320 h 5973007"/>
              <a:gd name="connsiteX58257" fmla="*/ 3862684 w 6884782"/>
              <a:gd name="connsiteY58257" fmla="*/ 1340884 h 5973007"/>
              <a:gd name="connsiteX58258" fmla="*/ 3844756 w 6884782"/>
              <a:gd name="connsiteY58258" fmla="*/ 1366066 h 5973007"/>
              <a:gd name="connsiteX58259" fmla="*/ 3781371 w 6884782"/>
              <a:gd name="connsiteY58259" fmla="*/ 1366635 h 5973007"/>
              <a:gd name="connsiteX58260" fmla="*/ 3767072 w 6884782"/>
              <a:gd name="connsiteY58260" fmla="*/ 1321394 h 5973007"/>
              <a:gd name="connsiteX58261" fmla="*/ 3780517 w 6884782"/>
              <a:gd name="connsiteY58261" fmla="*/ 1295785 h 5973007"/>
              <a:gd name="connsiteX58262" fmla="*/ 3813170 w 6884782"/>
              <a:gd name="connsiteY58262" fmla="*/ 1279282 h 5973007"/>
              <a:gd name="connsiteX58263" fmla="*/ 4225498 w 6884782"/>
              <a:gd name="connsiteY58263" fmla="*/ 1278001 h 5973007"/>
              <a:gd name="connsiteX58264" fmla="*/ 4229979 w 6884782"/>
              <a:gd name="connsiteY58264" fmla="*/ 1278286 h 5973007"/>
              <a:gd name="connsiteX58265" fmla="*/ 4218027 w 6884782"/>
              <a:gd name="connsiteY58265" fmla="*/ 1292655 h 5973007"/>
              <a:gd name="connsiteX58266" fmla="*/ 4213119 w 6884782"/>
              <a:gd name="connsiteY58266" fmla="*/ 1283407 h 5973007"/>
              <a:gd name="connsiteX58267" fmla="*/ 4225498 w 6884782"/>
              <a:gd name="connsiteY58267" fmla="*/ 1278001 h 5973007"/>
              <a:gd name="connsiteX58268" fmla="*/ 1522513 w 6884782"/>
              <a:gd name="connsiteY58268" fmla="*/ 1277607 h 5973007"/>
              <a:gd name="connsiteX58269" fmla="*/ 1527470 w 6884782"/>
              <a:gd name="connsiteY58269" fmla="*/ 1279931 h 5973007"/>
              <a:gd name="connsiteX58270" fmla="*/ 1527366 w 6884782"/>
              <a:gd name="connsiteY58270" fmla="*/ 1280550 h 5973007"/>
              <a:gd name="connsiteX58271" fmla="*/ 1527470 w 6884782"/>
              <a:gd name="connsiteY58271" fmla="*/ 1280705 h 5973007"/>
              <a:gd name="connsiteX58272" fmla="*/ 1529638 w 6884782"/>
              <a:gd name="connsiteY58272" fmla="*/ 1281170 h 5973007"/>
              <a:gd name="connsiteX58273" fmla="*/ 1528502 w 6884782"/>
              <a:gd name="connsiteY58273" fmla="*/ 1284423 h 5973007"/>
              <a:gd name="connsiteX58274" fmla="*/ 1527573 w 6884782"/>
              <a:gd name="connsiteY58274" fmla="*/ 1284732 h 5973007"/>
              <a:gd name="connsiteX58275" fmla="*/ 1527676 w 6884782"/>
              <a:gd name="connsiteY58275" fmla="*/ 1285197 h 5973007"/>
              <a:gd name="connsiteX58276" fmla="*/ 1529122 w 6884782"/>
              <a:gd name="connsiteY58276" fmla="*/ 1285971 h 5973007"/>
              <a:gd name="connsiteX58277" fmla="*/ 1530773 w 6884782"/>
              <a:gd name="connsiteY58277" fmla="*/ 1285352 h 5973007"/>
              <a:gd name="connsiteX58278" fmla="*/ 1531393 w 6884782"/>
              <a:gd name="connsiteY58278" fmla="*/ 1288450 h 5973007"/>
              <a:gd name="connsiteX58279" fmla="*/ 1532323 w 6884782"/>
              <a:gd name="connsiteY58279" fmla="*/ 1291083 h 5973007"/>
              <a:gd name="connsiteX58280" fmla="*/ 1530773 w 6884782"/>
              <a:gd name="connsiteY58280" fmla="*/ 1293716 h 5973007"/>
              <a:gd name="connsiteX58281" fmla="*/ 1529741 w 6884782"/>
              <a:gd name="connsiteY58281" fmla="*/ 1293716 h 5973007"/>
              <a:gd name="connsiteX58282" fmla="*/ 1524062 w 6884782"/>
              <a:gd name="connsiteY58282" fmla="*/ 1300067 h 5973007"/>
              <a:gd name="connsiteX58283" fmla="*/ 1537589 w 6884782"/>
              <a:gd name="connsiteY58283" fmla="*/ 1310445 h 5973007"/>
              <a:gd name="connsiteX58284" fmla="*/ 1518280 w 6884782"/>
              <a:gd name="connsiteY58284" fmla="*/ 1305024 h 5973007"/>
              <a:gd name="connsiteX58285" fmla="*/ 1507747 w 6884782"/>
              <a:gd name="connsiteY58285" fmla="*/ 1306263 h 5973007"/>
              <a:gd name="connsiteX58286" fmla="*/ 1514666 w 6884782"/>
              <a:gd name="connsiteY58286" fmla="*/ 1294956 h 5973007"/>
              <a:gd name="connsiteX58287" fmla="*/ 1517660 w 6884782"/>
              <a:gd name="connsiteY58287" fmla="*/ 1292632 h 5973007"/>
              <a:gd name="connsiteX58288" fmla="*/ 1517557 w 6884782"/>
              <a:gd name="connsiteY58288" fmla="*/ 1292477 h 5973007"/>
              <a:gd name="connsiteX58289" fmla="*/ 1514459 w 6884782"/>
              <a:gd name="connsiteY58289" fmla="*/ 1288760 h 5973007"/>
              <a:gd name="connsiteX58290" fmla="*/ 1514769 w 6884782"/>
              <a:gd name="connsiteY58290" fmla="*/ 1286126 h 5973007"/>
              <a:gd name="connsiteX58291" fmla="*/ 1519415 w 6884782"/>
              <a:gd name="connsiteY58291" fmla="*/ 1283493 h 5973007"/>
              <a:gd name="connsiteX58292" fmla="*/ 1521171 w 6884782"/>
              <a:gd name="connsiteY58292" fmla="*/ 1283648 h 5973007"/>
              <a:gd name="connsiteX58293" fmla="*/ 1521171 w 6884782"/>
              <a:gd name="connsiteY58293" fmla="*/ 1283493 h 5973007"/>
              <a:gd name="connsiteX58294" fmla="*/ 1521481 w 6884782"/>
              <a:gd name="connsiteY58294" fmla="*/ 1283803 h 5973007"/>
              <a:gd name="connsiteX58295" fmla="*/ 1522204 w 6884782"/>
              <a:gd name="connsiteY58295" fmla="*/ 1283803 h 5973007"/>
              <a:gd name="connsiteX58296" fmla="*/ 1521894 w 6884782"/>
              <a:gd name="connsiteY58296" fmla="*/ 1283028 h 5973007"/>
              <a:gd name="connsiteX58297" fmla="*/ 1522513 w 6884782"/>
              <a:gd name="connsiteY58297" fmla="*/ 1277607 h 5973007"/>
              <a:gd name="connsiteX58298" fmla="*/ 988679 w 6884782"/>
              <a:gd name="connsiteY58298" fmla="*/ 1277607 h 5973007"/>
              <a:gd name="connsiteX58299" fmla="*/ 986097 w 6884782"/>
              <a:gd name="connsiteY58299" fmla="*/ 1286436 h 5973007"/>
              <a:gd name="connsiteX58300" fmla="*/ 988679 w 6884782"/>
              <a:gd name="connsiteY58300" fmla="*/ 1277607 h 5973007"/>
              <a:gd name="connsiteX58301" fmla="*/ 3967260 w 6884782"/>
              <a:gd name="connsiteY58301" fmla="*/ 1276863 h 5973007"/>
              <a:gd name="connsiteX58302" fmla="*/ 3973022 w 6884782"/>
              <a:gd name="connsiteY58302" fmla="*/ 1282554 h 5973007"/>
              <a:gd name="connsiteX58303" fmla="*/ 3972595 w 6884782"/>
              <a:gd name="connsiteY58303" fmla="*/ 1286111 h 5973007"/>
              <a:gd name="connsiteX58304" fmla="*/ 3969394 w 6884782"/>
              <a:gd name="connsiteY58304" fmla="*/ 1284404 h 5973007"/>
              <a:gd name="connsiteX58305" fmla="*/ 3969180 w 6884782"/>
              <a:gd name="connsiteY58305" fmla="*/ 1281700 h 5973007"/>
              <a:gd name="connsiteX58306" fmla="*/ 3966406 w 6884782"/>
              <a:gd name="connsiteY58306" fmla="*/ 1278855 h 5973007"/>
              <a:gd name="connsiteX58307" fmla="*/ 3967260 w 6884782"/>
              <a:gd name="connsiteY58307" fmla="*/ 1276863 h 5973007"/>
              <a:gd name="connsiteX58308" fmla="*/ 3613623 w 6884782"/>
              <a:gd name="connsiteY58308" fmla="*/ 1276721 h 5973007"/>
              <a:gd name="connsiteX58309" fmla="*/ 3625788 w 6884782"/>
              <a:gd name="connsiteY58309" fmla="*/ 1307309 h 5973007"/>
              <a:gd name="connsiteX58310" fmla="*/ 3626428 w 6884782"/>
              <a:gd name="connsiteY58310" fmla="*/ 1310581 h 5973007"/>
              <a:gd name="connsiteX58311" fmla="*/ 3631550 w 6884782"/>
              <a:gd name="connsiteY58311" fmla="*/ 1312289 h 5973007"/>
              <a:gd name="connsiteX58312" fmla="*/ 3633044 w 6884782"/>
              <a:gd name="connsiteY58312" fmla="*/ 1314849 h 5973007"/>
              <a:gd name="connsiteX58313" fmla="*/ 3630270 w 6884782"/>
              <a:gd name="connsiteY58313" fmla="*/ 1316556 h 5973007"/>
              <a:gd name="connsiteX58314" fmla="*/ 3626428 w 6884782"/>
              <a:gd name="connsiteY58314" fmla="*/ 1314849 h 5973007"/>
              <a:gd name="connsiteX58315" fmla="*/ 3626001 w 6884782"/>
              <a:gd name="connsiteY58315" fmla="*/ 1318406 h 5973007"/>
              <a:gd name="connsiteX58316" fmla="*/ 3584384 w 6884782"/>
              <a:gd name="connsiteY58316" fmla="*/ 1333771 h 5973007"/>
              <a:gd name="connsiteX58317" fmla="*/ 3578409 w 6884782"/>
              <a:gd name="connsiteY58317" fmla="*/ 1326799 h 5973007"/>
              <a:gd name="connsiteX58318" fmla="*/ 3576488 w 6884782"/>
              <a:gd name="connsiteY58318" fmla="*/ 1328649 h 5973007"/>
              <a:gd name="connsiteX58319" fmla="*/ 3570726 w 6884782"/>
              <a:gd name="connsiteY58319" fmla="*/ 1329787 h 5973007"/>
              <a:gd name="connsiteX58320" fmla="*/ 3569232 w 6884782"/>
              <a:gd name="connsiteY58320" fmla="*/ 1318975 h 5973007"/>
              <a:gd name="connsiteX58321" fmla="*/ 3573500 w 6884782"/>
              <a:gd name="connsiteY58321" fmla="*/ 1315133 h 5973007"/>
              <a:gd name="connsiteX58322" fmla="*/ 3577555 w 6884782"/>
              <a:gd name="connsiteY58322" fmla="*/ 1312004 h 5973007"/>
              <a:gd name="connsiteX58323" fmla="*/ 3579689 w 6884782"/>
              <a:gd name="connsiteY58323" fmla="*/ 1303894 h 5973007"/>
              <a:gd name="connsiteX58324" fmla="*/ 3613623 w 6884782"/>
              <a:gd name="connsiteY58324" fmla="*/ 1276721 h 5973007"/>
              <a:gd name="connsiteX58325" fmla="*/ 3980065 w 6884782"/>
              <a:gd name="connsiteY58325" fmla="*/ 1276437 h 5973007"/>
              <a:gd name="connsiteX58326" fmla="*/ 3981345 w 6884782"/>
              <a:gd name="connsiteY58326" fmla="*/ 1278143 h 5973007"/>
              <a:gd name="connsiteX58327" fmla="*/ 3982413 w 6884782"/>
              <a:gd name="connsiteY58327" fmla="*/ 1281416 h 5973007"/>
              <a:gd name="connsiteX58328" fmla="*/ 3984120 w 6884782"/>
              <a:gd name="connsiteY58328" fmla="*/ 1283692 h 5973007"/>
              <a:gd name="connsiteX58329" fmla="*/ 3982626 w 6884782"/>
              <a:gd name="connsiteY58329" fmla="*/ 1286822 h 5973007"/>
              <a:gd name="connsiteX58330" fmla="*/ 3980918 w 6884782"/>
              <a:gd name="connsiteY58330" fmla="*/ 1284688 h 5973007"/>
              <a:gd name="connsiteX58331" fmla="*/ 3977717 w 6884782"/>
              <a:gd name="connsiteY58331" fmla="*/ 1277433 h 5973007"/>
              <a:gd name="connsiteX58332" fmla="*/ 3980065 w 6884782"/>
              <a:gd name="connsiteY58332" fmla="*/ 1276437 h 5973007"/>
              <a:gd name="connsiteX58333" fmla="*/ 1152340 w 6884782"/>
              <a:gd name="connsiteY58333" fmla="*/ 1275903 h 5973007"/>
              <a:gd name="connsiteX58334" fmla="*/ 1152340 w 6884782"/>
              <a:gd name="connsiteY58334" fmla="*/ 1276678 h 5973007"/>
              <a:gd name="connsiteX58335" fmla="*/ 1154095 w 6884782"/>
              <a:gd name="connsiteY58335" fmla="*/ 1276833 h 5973007"/>
              <a:gd name="connsiteX58336" fmla="*/ 1154095 w 6884782"/>
              <a:gd name="connsiteY58336" fmla="*/ 1276058 h 5973007"/>
              <a:gd name="connsiteX58337" fmla="*/ 1155850 w 6884782"/>
              <a:gd name="connsiteY58337" fmla="*/ 1276988 h 5973007"/>
              <a:gd name="connsiteX58338" fmla="*/ 1158432 w 6884782"/>
              <a:gd name="connsiteY58338" fmla="*/ 1283183 h 5973007"/>
              <a:gd name="connsiteX58339" fmla="*/ 1153889 w 6884782"/>
              <a:gd name="connsiteY58339" fmla="*/ 1282874 h 5973007"/>
              <a:gd name="connsiteX58340" fmla="*/ 1151823 w 6884782"/>
              <a:gd name="connsiteY58340" fmla="*/ 1279776 h 5973007"/>
              <a:gd name="connsiteX58341" fmla="*/ 1152340 w 6884782"/>
              <a:gd name="connsiteY58341" fmla="*/ 1275903 h 5973007"/>
              <a:gd name="connsiteX58342" fmla="*/ 3665057 w 6884782"/>
              <a:gd name="connsiteY58342" fmla="*/ 1275868 h 5973007"/>
              <a:gd name="connsiteX58343" fmla="*/ 3673808 w 6884782"/>
              <a:gd name="connsiteY58343" fmla="*/ 1276010 h 5973007"/>
              <a:gd name="connsiteX58344" fmla="*/ 3679143 w 6884782"/>
              <a:gd name="connsiteY58344" fmla="*/ 1278997 h 5973007"/>
              <a:gd name="connsiteX58345" fmla="*/ 3665057 w 6884782"/>
              <a:gd name="connsiteY58345" fmla="*/ 1275868 h 5973007"/>
              <a:gd name="connsiteX58346" fmla="*/ 1302784 w 6884782"/>
              <a:gd name="connsiteY58346" fmla="*/ 1275748 h 5973007"/>
              <a:gd name="connsiteX58347" fmla="*/ 1309805 w 6884782"/>
              <a:gd name="connsiteY58347" fmla="*/ 1276213 h 5973007"/>
              <a:gd name="connsiteX58348" fmla="*/ 1302784 w 6884782"/>
              <a:gd name="connsiteY58348" fmla="*/ 1275748 h 5973007"/>
              <a:gd name="connsiteX58349" fmla="*/ 3639020 w 6884782"/>
              <a:gd name="connsiteY58349" fmla="*/ 1275441 h 5973007"/>
              <a:gd name="connsiteX58350" fmla="*/ 3641368 w 6884782"/>
              <a:gd name="connsiteY58350" fmla="*/ 1276863 h 5973007"/>
              <a:gd name="connsiteX58351" fmla="*/ 3644996 w 6884782"/>
              <a:gd name="connsiteY58351" fmla="*/ 1276010 h 5973007"/>
              <a:gd name="connsiteX58352" fmla="*/ 3646276 w 6884782"/>
              <a:gd name="connsiteY58352" fmla="*/ 1278001 h 5973007"/>
              <a:gd name="connsiteX58353" fmla="*/ 3639233 w 6884782"/>
              <a:gd name="connsiteY58353" fmla="*/ 1279709 h 5973007"/>
              <a:gd name="connsiteX58354" fmla="*/ 3636246 w 6884782"/>
              <a:gd name="connsiteY58354" fmla="*/ 1277433 h 5973007"/>
              <a:gd name="connsiteX58355" fmla="*/ 3639020 w 6884782"/>
              <a:gd name="connsiteY58355" fmla="*/ 1275441 h 5973007"/>
              <a:gd name="connsiteX58356" fmla="*/ 4896703 w 6884782"/>
              <a:gd name="connsiteY58356" fmla="*/ 1274871 h 5973007"/>
              <a:gd name="connsiteX58357" fmla="*/ 4897556 w 6884782"/>
              <a:gd name="connsiteY58357" fmla="*/ 1284546 h 5973007"/>
              <a:gd name="connsiteX58358" fmla="*/ 4896062 w 6884782"/>
              <a:gd name="connsiteY58358" fmla="*/ 1286253 h 5973007"/>
              <a:gd name="connsiteX58359" fmla="*/ 4896703 w 6884782"/>
              <a:gd name="connsiteY58359" fmla="*/ 1274871 h 5973007"/>
              <a:gd name="connsiteX58360" fmla="*/ 4200741 w 6884782"/>
              <a:gd name="connsiteY58360" fmla="*/ 1274871 h 5973007"/>
              <a:gd name="connsiteX58361" fmla="*/ 4205223 w 6884782"/>
              <a:gd name="connsiteY58361" fmla="*/ 1275298 h 5973007"/>
              <a:gd name="connsiteX58362" fmla="*/ 4207997 w 6884782"/>
              <a:gd name="connsiteY58362" fmla="*/ 1280420 h 5973007"/>
              <a:gd name="connsiteX58363" fmla="*/ 4191990 w 6884782"/>
              <a:gd name="connsiteY58363" fmla="*/ 1285257 h 5973007"/>
              <a:gd name="connsiteX58364" fmla="*/ 4188149 w 6884782"/>
              <a:gd name="connsiteY58364" fmla="*/ 1280989 h 5973007"/>
              <a:gd name="connsiteX58365" fmla="*/ 4200741 w 6884782"/>
              <a:gd name="connsiteY58365" fmla="*/ 1274871 h 5973007"/>
              <a:gd name="connsiteX58366" fmla="*/ 1533252 w 6884782"/>
              <a:gd name="connsiteY58366" fmla="*/ 1274819 h 5973007"/>
              <a:gd name="connsiteX58367" fmla="*/ 1541512 w 6884782"/>
              <a:gd name="connsiteY58367" fmla="*/ 1281324 h 5973007"/>
              <a:gd name="connsiteX58368" fmla="*/ 1537382 w 6884782"/>
              <a:gd name="connsiteY58368" fmla="*/ 1284423 h 5973007"/>
              <a:gd name="connsiteX58369" fmla="*/ 1533149 w 6884782"/>
              <a:gd name="connsiteY58369" fmla="*/ 1277143 h 5973007"/>
              <a:gd name="connsiteX58370" fmla="*/ 1533252 w 6884782"/>
              <a:gd name="connsiteY58370" fmla="*/ 1274819 h 5973007"/>
              <a:gd name="connsiteX58371" fmla="*/ 1511568 w 6884782"/>
              <a:gd name="connsiteY58371" fmla="*/ 1274664 h 5973007"/>
              <a:gd name="connsiteX58372" fmla="*/ 1510097 w 6884782"/>
              <a:gd name="connsiteY58372" fmla="*/ 1285178 h 5973007"/>
              <a:gd name="connsiteX58373" fmla="*/ 1503833 w 6884782"/>
              <a:gd name="connsiteY58373" fmla="*/ 1291848 h 5973007"/>
              <a:gd name="connsiteX58374" fmla="*/ 1503825 w 6884782"/>
              <a:gd name="connsiteY58374" fmla="*/ 1291848 h 5973007"/>
              <a:gd name="connsiteX58375" fmla="*/ 1504185 w 6884782"/>
              <a:gd name="connsiteY58375" fmla="*/ 1287133 h 5973007"/>
              <a:gd name="connsiteX58376" fmla="*/ 1504857 w 6884782"/>
              <a:gd name="connsiteY58376" fmla="*/ 1281944 h 5973007"/>
              <a:gd name="connsiteX58377" fmla="*/ 1511568 w 6884782"/>
              <a:gd name="connsiteY58377" fmla="*/ 1274664 h 5973007"/>
              <a:gd name="connsiteX58378" fmla="*/ 4686057 w 6884782"/>
              <a:gd name="connsiteY58378" fmla="*/ 1274160 h 5973007"/>
              <a:gd name="connsiteX58379" fmla="*/ 4711241 w 6884782"/>
              <a:gd name="connsiteY58379" fmla="*/ 1287249 h 5973007"/>
              <a:gd name="connsiteX58380" fmla="*/ 4693100 w 6884782"/>
              <a:gd name="connsiteY58380" fmla="*/ 1304605 h 5973007"/>
              <a:gd name="connsiteX58381" fmla="*/ 4658526 w 6884782"/>
              <a:gd name="connsiteY58381" fmla="*/ 1294363 h 5973007"/>
              <a:gd name="connsiteX58382" fmla="*/ 4658953 w 6884782"/>
              <a:gd name="connsiteY58382" fmla="*/ 1290664 h 5973007"/>
              <a:gd name="connsiteX58383" fmla="*/ 4686057 w 6884782"/>
              <a:gd name="connsiteY58383" fmla="*/ 1274160 h 5973007"/>
              <a:gd name="connsiteX58384" fmla="*/ 4006102 w 6884782"/>
              <a:gd name="connsiteY58384" fmla="*/ 1273876 h 5973007"/>
              <a:gd name="connsiteX58385" fmla="*/ 4009090 w 6884782"/>
              <a:gd name="connsiteY58385" fmla="*/ 1275583 h 5973007"/>
              <a:gd name="connsiteX58386" fmla="*/ 4008876 w 6884782"/>
              <a:gd name="connsiteY58386" fmla="*/ 1287107 h 5973007"/>
              <a:gd name="connsiteX58387" fmla="*/ 4004608 w 6884782"/>
              <a:gd name="connsiteY58387" fmla="*/ 1276152 h 5973007"/>
              <a:gd name="connsiteX58388" fmla="*/ 4006102 w 6884782"/>
              <a:gd name="connsiteY58388" fmla="*/ 1273876 h 5973007"/>
              <a:gd name="connsiteX58389" fmla="*/ 4811761 w 6884782"/>
              <a:gd name="connsiteY58389" fmla="*/ 1273591 h 5973007"/>
              <a:gd name="connsiteX58390" fmla="*/ 4811335 w 6884782"/>
              <a:gd name="connsiteY58390" fmla="*/ 1276152 h 5973007"/>
              <a:gd name="connsiteX58391" fmla="*/ 4807280 w 6884782"/>
              <a:gd name="connsiteY58391" fmla="*/ 1276437 h 5973007"/>
              <a:gd name="connsiteX58392" fmla="*/ 4806853 w 6884782"/>
              <a:gd name="connsiteY58392" fmla="*/ 1279140 h 5973007"/>
              <a:gd name="connsiteX58393" fmla="*/ 4805146 w 6884782"/>
              <a:gd name="connsiteY58393" fmla="*/ 1279567 h 5973007"/>
              <a:gd name="connsiteX58394" fmla="*/ 4803225 w 6884782"/>
              <a:gd name="connsiteY58394" fmla="*/ 1276721 h 5973007"/>
              <a:gd name="connsiteX58395" fmla="*/ 4809414 w 6884782"/>
              <a:gd name="connsiteY58395" fmla="*/ 1275014 h 5973007"/>
              <a:gd name="connsiteX58396" fmla="*/ 4811761 w 6884782"/>
              <a:gd name="connsiteY58396" fmla="*/ 1273591 h 5973007"/>
              <a:gd name="connsiteX58397" fmla="*/ 1174024 w 6884782"/>
              <a:gd name="connsiteY58397" fmla="*/ 1273115 h 5973007"/>
              <a:gd name="connsiteX58398" fmla="*/ 1182697 w 6884782"/>
              <a:gd name="connsiteY58398" fmla="*/ 1274819 h 5973007"/>
              <a:gd name="connsiteX58399" fmla="*/ 1188479 w 6884782"/>
              <a:gd name="connsiteY58399" fmla="*/ 1286591 h 5973007"/>
              <a:gd name="connsiteX58400" fmla="*/ 1188376 w 6884782"/>
              <a:gd name="connsiteY58400" fmla="*/ 1286901 h 5973007"/>
              <a:gd name="connsiteX58401" fmla="*/ 1188376 w 6884782"/>
              <a:gd name="connsiteY58401" fmla="*/ 1291857 h 5973007"/>
              <a:gd name="connsiteX58402" fmla="*/ 1186724 w 6884782"/>
              <a:gd name="connsiteY58402" fmla="*/ 1292632 h 5973007"/>
              <a:gd name="connsiteX58403" fmla="*/ 1187550 w 6884782"/>
              <a:gd name="connsiteY58403" fmla="*/ 1295575 h 5973007"/>
              <a:gd name="connsiteX58404" fmla="*/ 1181148 w 6884782"/>
              <a:gd name="connsiteY58404" fmla="*/ 1297434 h 5973007"/>
              <a:gd name="connsiteX58405" fmla="*/ 1186104 w 6884782"/>
              <a:gd name="connsiteY58405" fmla="*/ 1307657 h 5973007"/>
              <a:gd name="connsiteX58406" fmla="*/ 1185382 w 6884782"/>
              <a:gd name="connsiteY58406" fmla="*/ 1309980 h 5973007"/>
              <a:gd name="connsiteX58407" fmla="*/ 1185382 w 6884782"/>
              <a:gd name="connsiteY58407" fmla="*/ 1311220 h 5973007"/>
              <a:gd name="connsiteX58408" fmla="*/ 1188273 w 6884782"/>
              <a:gd name="connsiteY58408" fmla="*/ 1303010 h 5973007"/>
              <a:gd name="connsiteX58409" fmla="*/ 1194674 w 6884782"/>
              <a:gd name="connsiteY58409" fmla="*/ 1297124 h 5973007"/>
              <a:gd name="connsiteX58410" fmla="*/ 1206859 w 6884782"/>
              <a:gd name="connsiteY58410" fmla="*/ 1296659 h 5973007"/>
              <a:gd name="connsiteX58411" fmla="*/ 1207272 w 6884782"/>
              <a:gd name="connsiteY58411" fmla="*/ 1296504 h 5973007"/>
              <a:gd name="connsiteX58412" fmla="*/ 1207065 w 6884782"/>
              <a:gd name="connsiteY58412" fmla="*/ 1296195 h 5973007"/>
              <a:gd name="connsiteX58413" fmla="*/ 1207582 w 6884782"/>
              <a:gd name="connsiteY58413" fmla="*/ 1295885 h 5973007"/>
              <a:gd name="connsiteX58414" fmla="*/ 1208408 w 6884782"/>
              <a:gd name="connsiteY58414" fmla="*/ 1295111 h 5973007"/>
              <a:gd name="connsiteX58415" fmla="*/ 1208821 w 6884782"/>
              <a:gd name="connsiteY58415" fmla="*/ 1294956 h 5973007"/>
              <a:gd name="connsiteX58416" fmla="*/ 1209854 w 6884782"/>
              <a:gd name="connsiteY58416" fmla="*/ 1295420 h 5973007"/>
              <a:gd name="connsiteX58417" fmla="*/ 1211196 w 6884782"/>
              <a:gd name="connsiteY58417" fmla="*/ 1294956 h 5973007"/>
              <a:gd name="connsiteX58418" fmla="*/ 1215842 w 6884782"/>
              <a:gd name="connsiteY58418" fmla="*/ 1293561 h 5973007"/>
              <a:gd name="connsiteX58419" fmla="*/ 1227200 w 6884782"/>
              <a:gd name="connsiteY58419" fmla="*/ 1298673 h 5973007"/>
              <a:gd name="connsiteX58420" fmla="*/ 1230504 w 6884782"/>
              <a:gd name="connsiteY58420" fmla="*/ 1300841 h 5973007"/>
              <a:gd name="connsiteX58421" fmla="*/ 1233499 w 6884782"/>
              <a:gd name="connsiteY58421" fmla="*/ 1302391 h 5973007"/>
              <a:gd name="connsiteX58422" fmla="*/ 1233809 w 6884782"/>
              <a:gd name="connsiteY58422" fmla="*/ 1302546 h 5973007"/>
              <a:gd name="connsiteX58423" fmla="*/ 1240934 w 6884782"/>
              <a:gd name="connsiteY58423" fmla="*/ 1303630 h 5973007"/>
              <a:gd name="connsiteX58424" fmla="*/ 1246819 w 6884782"/>
              <a:gd name="connsiteY58424" fmla="*/ 1307812 h 5973007"/>
              <a:gd name="connsiteX58425" fmla="*/ 1248884 w 6884782"/>
              <a:gd name="connsiteY58425" fmla="*/ 1314937 h 5973007"/>
              <a:gd name="connsiteX58426" fmla="*/ 1247645 w 6884782"/>
              <a:gd name="connsiteY58426" fmla="*/ 1317415 h 5973007"/>
              <a:gd name="connsiteX58427" fmla="*/ 1251672 w 6884782"/>
              <a:gd name="connsiteY58427" fmla="*/ 1327174 h 5973007"/>
              <a:gd name="connsiteX58428" fmla="*/ 1251672 w 6884782"/>
              <a:gd name="connsiteY58428" fmla="*/ 1327484 h 5973007"/>
              <a:gd name="connsiteX58429" fmla="*/ 1252705 w 6884782"/>
              <a:gd name="connsiteY58429" fmla="*/ 1328723 h 5973007"/>
              <a:gd name="connsiteX58430" fmla="*/ 1254357 w 6884782"/>
              <a:gd name="connsiteY58430" fmla="*/ 1328103 h 5973007"/>
              <a:gd name="connsiteX58431" fmla="*/ 1262307 w 6884782"/>
              <a:gd name="connsiteY58431" fmla="*/ 1320513 h 5973007"/>
              <a:gd name="connsiteX58432" fmla="*/ 1262514 w 6884782"/>
              <a:gd name="connsiteY58432" fmla="*/ 1325935 h 5973007"/>
              <a:gd name="connsiteX58433" fmla="*/ 1263650 w 6884782"/>
              <a:gd name="connsiteY58433" fmla="*/ 1325315 h 5973007"/>
              <a:gd name="connsiteX58434" fmla="*/ 1271910 w 6884782"/>
              <a:gd name="connsiteY58434" fmla="*/ 1324076 h 5973007"/>
              <a:gd name="connsiteX58435" fmla="*/ 1276763 w 6884782"/>
              <a:gd name="connsiteY58435" fmla="*/ 1324076 h 5973007"/>
              <a:gd name="connsiteX58436" fmla="*/ 1275421 w 6884782"/>
              <a:gd name="connsiteY58436" fmla="*/ 1322372 h 5973007"/>
              <a:gd name="connsiteX58437" fmla="*/ 1273769 w 6884782"/>
              <a:gd name="connsiteY58437" fmla="*/ 1315402 h 5973007"/>
              <a:gd name="connsiteX58438" fmla="*/ 1281720 w 6884782"/>
              <a:gd name="connsiteY58438" fmla="*/ 1315092 h 5973007"/>
              <a:gd name="connsiteX58439" fmla="*/ 1284611 w 6884782"/>
              <a:gd name="connsiteY58439" fmla="*/ 1318964 h 5973007"/>
              <a:gd name="connsiteX58440" fmla="*/ 1284301 w 6884782"/>
              <a:gd name="connsiteY58440" fmla="*/ 1322372 h 5973007"/>
              <a:gd name="connsiteX58441" fmla="*/ 1284301 w 6884782"/>
              <a:gd name="connsiteY58441" fmla="*/ 1324076 h 5973007"/>
              <a:gd name="connsiteX58442" fmla="*/ 1298550 w 6884782"/>
              <a:gd name="connsiteY58442" fmla="*/ 1324696 h 5973007"/>
              <a:gd name="connsiteX58443" fmla="*/ 1296485 w 6884782"/>
              <a:gd name="connsiteY58443" fmla="*/ 1333990 h 5973007"/>
              <a:gd name="connsiteX58444" fmla="*/ 1274079 w 6884782"/>
              <a:gd name="connsiteY58444" fmla="*/ 1331976 h 5973007"/>
              <a:gd name="connsiteX58445" fmla="*/ 1262617 w 6884782"/>
              <a:gd name="connsiteY58445" fmla="*/ 1330891 h 5973007"/>
              <a:gd name="connsiteX58446" fmla="*/ 1262617 w 6884782"/>
              <a:gd name="connsiteY58446" fmla="*/ 1334144 h 5973007"/>
              <a:gd name="connsiteX58447" fmla="*/ 1258900 w 6884782"/>
              <a:gd name="connsiteY58447" fmla="*/ 1345761 h 5973007"/>
              <a:gd name="connsiteX58448" fmla="*/ 1256835 w 6884782"/>
              <a:gd name="connsiteY58448" fmla="*/ 1348704 h 5973007"/>
              <a:gd name="connsiteX58449" fmla="*/ 1257145 w 6884782"/>
              <a:gd name="connsiteY58449" fmla="*/ 1350254 h 5973007"/>
              <a:gd name="connsiteX58450" fmla="*/ 1257145 w 6884782"/>
              <a:gd name="connsiteY58450" fmla="*/ 1351492 h 5973007"/>
              <a:gd name="connsiteX58451" fmla="*/ 1257351 w 6884782"/>
              <a:gd name="connsiteY58451" fmla="*/ 1351803 h 5973007"/>
              <a:gd name="connsiteX58452" fmla="*/ 1257868 w 6884782"/>
              <a:gd name="connsiteY58452" fmla="*/ 1352887 h 5973007"/>
              <a:gd name="connsiteX58453" fmla="*/ 1257041 w 6884782"/>
              <a:gd name="connsiteY58453" fmla="*/ 1352732 h 5973007"/>
              <a:gd name="connsiteX58454" fmla="*/ 1256938 w 6884782"/>
              <a:gd name="connsiteY58454" fmla="*/ 1352577 h 5973007"/>
              <a:gd name="connsiteX58455" fmla="*/ 1256628 w 6884782"/>
              <a:gd name="connsiteY58455" fmla="*/ 1355210 h 5973007"/>
              <a:gd name="connsiteX58456" fmla="*/ 1250433 w 6884782"/>
              <a:gd name="connsiteY58456" fmla="*/ 1352732 h 5973007"/>
              <a:gd name="connsiteX58457" fmla="*/ 1244961 w 6884782"/>
              <a:gd name="connsiteY58457" fmla="*/ 1349169 h 5973007"/>
              <a:gd name="connsiteX58458" fmla="*/ 1249297 w 6884782"/>
              <a:gd name="connsiteY58458" fmla="*/ 1348704 h 5973007"/>
              <a:gd name="connsiteX58459" fmla="*/ 1248471 w 6884782"/>
              <a:gd name="connsiteY58459" fmla="*/ 1346846 h 5973007"/>
              <a:gd name="connsiteX58460" fmla="*/ 1251053 w 6884782"/>
              <a:gd name="connsiteY58460" fmla="*/ 1346381 h 5973007"/>
              <a:gd name="connsiteX58461" fmla="*/ 1250846 w 6884782"/>
              <a:gd name="connsiteY58461" fmla="*/ 1344987 h 5973007"/>
              <a:gd name="connsiteX58462" fmla="*/ 1251672 w 6884782"/>
              <a:gd name="connsiteY58462" fmla="*/ 1339565 h 5973007"/>
              <a:gd name="connsiteX58463" fmla="*/ 1250227 w 6884782"/>
              <a:gd name="connsiteY58463" fmla="*/ 1339565 h 5973007"/>
              <a:gd name="connsiteX58464" fmla="*/ 1248678 w 6884782"/>
              <a:gd name="connsiteY58464" fmla="*/ 1343438 h 5973007"/>
              <a:gd name="connsiteX58465" fmla="*/ 1244961 w 6884782"/>
              <a:gd name="connsiteY58465" fmla="*/ 1349169 h 5973007"/>
              <a:gd name="connsiteX58466" fmla="*/ 1244238 w 6884782"/>
              <a:gd name="connsiteY58466" fmla="*/ 1350254 h 5973007"/>
              <a:gd name="connsiteX58467" fmla="*/ 1240107 w 6884782"/>
              <a:gd name="connsiteY58467" fmla="*/ 1358153 h 5973007"/>
              <a:gd name="connsiteX58468" fmla="*/ 1221211 w 6884782"/>
              <a:gd name="connsiteY58468" fmla="*/ 1364349 h 5973007"/>
              <a:gd name="connsiteX58469" fmla="*/ 1195604 w 6884782"/>
              <a:gd name="connsiteY58469" fmla="*/ 1355520 h 5973007"/>
              <a:gd name="connsiteX58470" fmla="*/ 1179909 w 6884782"/>
              <a:gd name="connsiteY58470" fmla="*/ 1328413 h 5973007"/>
              <a:gd name="connsiteX58471" fmla="*/ 1183317 w 6884782"/>
              <a:gd name="connsiteY58471" fmla="*/ 1320513 h 5973007"/>
              <a:gd name="connsiteX58472" fmla="*/ 1184762 w 6884782"/>
              <a:gd name="connsiteY58472" fmla="*/ 1314008 h 5973007"/>
              <a:gd name="connsiteX58473" fmla="*/ 1180941 w 6884782"/>
              <a:gd name="connsiteY58473" fmla="*/ 1315092 h 5973007"/>
              <a:gd name="connsiteX58474" fmla="*/ 1174437 w 6884782"/>
              <a:gd name="connsiteY58474" fmla="*/ 1316331 h 5973007"/>
              <a:gd name="connsiteX58475" fmla="*/ 1164627 w 6884782"/>
              <a:gd name="connsiteY58475" fmla="*/ 1306263 h 5973007"/>
              <a:gd name="connsiteX58476" fmla="*/ 1165247 w 6884782"/>
              <a:gd name="connsiteY58476" fmla="*/ 1305489 h 5973007"/>
              <a:gd name="connsiteX58477" fmla="*/ 1166072 w 6884782"/>
              <a:gd name="connsiteY58477" fmla="*/ 1303785 h 5973007"/>
              <a:gd name="connsiteX58478" fmla="*/ 1164937 w 6884782"/>
              <a:gd name="connsiteY58478" fmla="*/ 1301151 h 5973007"/>
              <a:gd name="connsiteX58479" fmla="*/ 1166279 w 6884782"/>
              <a:gd name="connsiteY58479" fmla="*/ 1298518 h 5973007"/>
              <a:gd name="connsiteX58480" fmla="*/ 1170616 w 6884782"/>
              <a:gd name="connsiteY58480" fmla="*/ 1297124 h 5973007"/>
              <a:gd name="connsiteX58481" fmla="*/ 1171339 w 6884782"/>
              <a:gd name="connsiteY58481" fmla="*/ 1297744 h 5973007"/>
              <a:gd name="connsiteX58482" fmla="*/ 1176501 w 6884782"/>
              <a:gd name="connsiteY58482" fmla="*/ 1296504 h 5973007"/>
              <a:gd name="connsiteX58483" fmla="*/ 1179702 w 6884782"/>
              <a:gd name="connsiteY58483" fmla="*/ 1296969 h 5973007"/>
              <a:gd name="connsiteX58484" fmla="*/ 1174746 w 6884782"/>
              <a:gd name="connsiteY58484" fmla="*/ 1295730 h 5973007"/>
              <a:gd name="connsiteX58485" fmla="*/ 1172991 w 6884782"/>
              <a:gd name="connsiteY58485" fmla="*/ 1294956 h 5973007"/>
              <a:gd name="connsiteX58486" fmla="*/ 1172991 w 6884782"/>
              <a:gd name="connsiteY58486" fmla="*/ 1295885 h 5973007"/>
              <a:gd name="connsiteX58487" fmla="*/ 1172062 w 6884782"/>
              <a:gd name="connsiteY58487" fmla="*/ 1294801 h 5973007"/>
              <a:gd name="connsiteX58488" fmla="*/ 1171855 w 6884782"/>
              <a:gd name="connsiteY58488" fmla="*/ 1294801 h 5973007"/>
              <a:gd name="connsiteX58489" fmla="*/ 1171029 w 6884782"/>
              <a:gd name="connsiteY58489" fmla="*/ 1294646 h 5973007"/>
              <a:gd name="connsiteX58490" fmla="*/ 1168138 w 6884782"/>
              <a:gd name="connsiteY58490" fmla="*/ 1292322 h 5973007"/>
              <a:gd name="connsiteX58491" fmla="*/ 1168241 w 6884782"/>
              <a:gd name="connsiteY58491" fmla="*/ 1291548 h 5973007"/>
              <a:gd name="connsiteX58492" fmla="*/ 1163388 w 6884782"/>
              <a:gd name="connsiteY58492" fmla="*/ 1291548 h 5973007"/>
              <a:gd name="connsiteX58493" fmla="*/ 1162046 w 6884782"/>
              <a:gd name="connsiteY58493" fmla="*/ 1291393 h 5973007"/>
              <a:gd name="connsiteX58494" fmla="*/ 1161633 w 6884782"/>
              <a:gd name="connsiteY58494" fmla="*/ 1291857 h 5973007"/>
              <a:gd name="connsiteX58495" fmla="*/ 1160910 w 6884782"/>
              <a:gd name="connsiteY58495" fmla="*/ 1291238 h 5973007"/>
              <a:gd name="connsiteX58496" fmla="*/ 1156573 w 6884782"/>
              <a:gd name="connsiteY58496" fmla="*/ 1290464 h 5973007"/>
              <a:gd name="connsiteX58497" fmla="*/ 1153269 w 6884782"/>
              <a:gd name="connsiteY58497" fmla="*/ 1286746 h 5973007"/>
              <a:gd name="connsiteX58498" fmla="*/ 1159051 w 6884782"/>
              <a:gd name="connsiteY58498" fmla="*/ 1285971 h 5973007"/>
              <a:gd name="connsiteX58499" fmla="*/ 1159464 w 6884782"/>
              <a:gd name="connsiteY58499" fmla="*/ 1285662 h 5973007"/>
              <a:gd name="connsiteX58500" fmla="*/ 1159774 w 6884782"/>
              <a:gd name="connsiteY58500" fmla="*/ 1285817 h 5973007"/>
              <a:gd name="connsiteX58501" fmla="*/ 1166692 w 6884782"/>
              <a:gd name="connsiteY58501" fmla="*/ 1285197 h 5973007"/>
              <a:gd name="connsiteX58502" fmla="*/ 1173197 w 6884782"/>
              <a:gd name="connsiteY58502" fmla="*/ 1286281 h 5973007"/>
              <a:gd name="connsiteX58503" fmla="*/ 1173404 w 6884782"/>
              <a:gd name="connsiteY58503" fmla="*/ 1285352 h 5973007"/>
              <a:gd name="connsiteX58504" fmla="*/ 1174024 w 6884782"/>
              <a:gd name="connsiteY58504" fmla="*/ 1273115 h 5973007"/>
              <a:gd name="connsiteX58505" fmla="*/ 974223 w 6884782"/>
              <a:gd name="connsiteY58505" fmla="*/ 1272805 h 5973007"/>
              <a:gd name="connsiteX58506" fmla="*/ 976081 w 6884782"/>
              <a:gd name="connsiteY58506" fmla="*/ 1273425 h 5973007"/>
              <a:gd name="connsiteX58507" fmla="*/ 981037 w 6884782"/>
              <a:gd name="connsiteY58507" fmla="*/ 1288914 h 5973007"/>
              <a:gd name="connsiteX58508" fmla="*/ 973190 w 6884782"/>
              <a:gd name="connsiteY58508" fmla="*/ 1286436 h 5973007"/>
              <a:gd name="connsiteX58509" fmla="*/ 971435 w 6884782"/>
              <a:gd name="connsiteY58509" fmla="*/ 1283183 h 5973007"/>
              <a:gd name="connsiteX58510" fmla="*/ 971641 w 6884782"/>
              <a:gd name="connsiteY58510" fmla="*/ 1279621 h 5973007"/>
              <a:gd name="connsiteX58511" fmla="*/ 971022 w 6884782"/>
              <a:gd name="connsiteY58511" fmla="*/ 1276678 h 5973007"/>
              <a:gd name="connsiteX58512" fmla="*/ 971744 w 6884782"/>
              <a:gd name="connsiteY58512" fmla="*/ 1273890 h 5973007"/>
              <a:gd name="connsiteX58513" fmla="*/ 974223 w 6884782"/>
              <a:gd name="connsiteY58513" fmla="*/ 1272805 h 5973007"/>
              <a:gd name="connsiteX58514" fmla="*/ 3913905 w 6884782"/>
              <a:gd name="connsiteY58514" fmla="*/ 1272738 h 5973007"/>
              <a:gd name="connsiteX58515" fmla="*/ 3915612 w 6884782"/>
              <a:gd name="connsiteY58515" fmla="*/ 1277575 h 5973007"/>
              <a:gd name="connsiteX58516" fmla="*/ 3910917 w 6884782"/>
              <a:gd name="connsiteY58516" fmla="*/ 1276437 h 5973007"/>
              <a:gd name="connsiteX58517" fmla="*/ 3911130 w 6884782"/>
              <a:gd name="connsiteY58517" fmla="*/ 1274302 h 5973007"/>
              <a:gd name="connsiteX58518" fmla="*/ 3913905 w 6884782"/>
              <a:gd name="connsiteY58518" fmla="*/ 1272738 h 5973007"/>
              <a:gd name="connsiteX58519" fmla="*/ 1316827 w 6884782"/>
              <a:gd name="connsiteY58519" fmla="*/ 1272650 h 5973007"/>
              <a:gd name="connsiteX58520" fmla="*/ 1321886 w 6884782"/>
              <a:gd name="connsiteY58520" fmla="*/ 1273735 h 5973007"/>
              <a:gd name="connsiteX58521" fmla="*/ 1312490 w 6884782"/>
              <a:gd name="connsiteY58521" fmla="*/ 1279931 h 5973007"/>
              <a:gd name="connsiteX58522" fmla="*/ 1312697 w 6884782"/>
              <a:gd name="connsiteY58522" fmla="*/ 1274664 h 5973007"/>
              <a:gd name="connsiteX58523" fmla="*/ 1316827 w 6884782"/>
              <a:gd name="connsiteY58523" fmla="*/ 1272650 h 5973007"/>
              <a:gd name="connsiteX58524" fmla="*/ 5812487 w 6884782"/>
              <a:gd name="connsiteY58524" fmla="*/ 1271173 h 5973007"/>
              <a:gd name="connsiteX58525" fmla="*/ 5818463 w 6884782"/>
              <a:gd name="connsiteY58525" fmla="*/ 1273306 h 5973007"/>
              <a:gd name="connsiteX58526" fmla="*/ 5820170 w 6884782"/>
              <a:gd name="connsiteY58526" fmla="*/ 1276152 h 5973007"/>
              <a:gd name="connsiteX58527" fmla="*/ 5820383 w 6884782"/>
              <a:gd name="connsiteY58527" fmla="*/ 1278143 h 5973007"/>
              <a:gd name="connsiteX58528" fmla="*/ 5820170 w 6884782"/>
              <a:gd name="connsiteY58528" fmla="*/ 1280562 h 5973007"/>
              <a:gd name="connsiteX58529" fmla="*/ 5809712 w 6884782"/>
              <a:gd name="connsiteY58529" fmla="*/ 1282838 h 5973007"/>
              <a:gd name="connsiteX58530" fmla="*/ 5807152 w 6884782"/>
              <a:gd name="connsiteY58530" fmla="*/ 1273164 h 5973007"/>
              <a:gd name="connsiteX58531" fmla="*/ 5809499 w 6884782"/>
              <a:gd name="connsiteY58531" fmla="*/ 1271884 h 5973007"/>
              <a:gd name="connsiteX58532" fmla="*/ 5812487 w 6884782"/>
              <a:gd name="connsiteY58532" fmla="*/ 1271173 h 5973007"/>
              <a:gd name="connsiteX58533" fmla="*/ 3770914 w 6884782"/>
              <a:gd name="connsiteY58533" fmla="*/ 1270746 h 5973007"/>
              <a:gd name="connsiteX58534" fmla="*/ 3753627 w 6884782"/>
              <a:gd name="connsiteY58534" fmla="*/ 1305317 h 5973007"/>
              <a:gd name="connsiteX58535" fmla="*/ 3744449 w 6884782"/>
              <a:gd name="connsiteY58535" fmla="*/ 1299768 h 5973007"/>
              <a:gd name="connsiteX58536" fmla="*/ 3770914 w 6884782"/>
              <a:gd name="connsiteY58536" fmla="*/ 1270746 h 5973007"/>
              <a:gd name="connsiteX58537" fmla="*/ 3746157 w 6884782"/>
              <a:gd name="connsiteY58537" fmla="*/ 1270746 h 5973007"/>
              <a:gd name="connsiteX58538" fmla="*/ 3749998 w 6884782"/>
              <a:gd name="connsiteY58538" fmla="*/ 1271173 h 5973007"/>
              <a:gd name="connsiteX58539" fmla="*/ 3752560 w 6884782"/>
              <a:gd name="connsiteY58539" fmla="*/ 1273449 h 5973007"/>
              <a:gd name="connsiteX58540" fmla="*/ 3753627 w 6884782"/>
              <a:gd name="connsiteY58540" fmla="*/ 1280562 h 5973007"/>
              <a:gd name="connsiteX58541" fmla="*/ 3743382 w 6884782"/>
              <a:gd name="connsiteY58541" fmla="*/ 1281132 h 5973007"/>
              <a:gd name="connsiteX58542" fmla="*/ 3743382 w 6884782"/>
              <a:gd name="connsiteY58542" fmla="*/ 1272879 h 5973007"/>
              <a:gd name="connsiteX58543" fmla="*/ 3746157 w 6884782"/>
              <a:gd name="connsiteY58543" fmla="*/ 1270746 h 5973007"/>
              <a:gd name="connsiteX58544" fmla="*/ 1653029 w 6884782"/>
              <a:gd name="connsiteY58544" fmla="*/ 1270637 h 5973007"/>
              <a:gd name="connsiteX58545" fmla="*/ 1660980 w 6884782"/>
              <a:gd name="connsiteY58545" fmla="*/ 1278691 h 5973007"/>
              <a:gd name="connsiteX58546" fmla="*/ 1665523 w 6884782"/>
              <a:gd name="connsiteY58546" fmla="*/ 1289999 h 5973007"/>
              <a:gd name="connsiteX58547" fmla="*/ 1653029 w 6884782"/>
              <a:gd name="connsiteY58547" fmla="*/ 1270637 h 5973007"/>
              <a:gd name="connsiteX58548" fmla="*/ 3993297 w 6884782"/>
              <a:gd name="connsiteY58548" fmla="*/ 1269750 h 5973007"/>
              <a:gd name="connsiteX58549" fmla="*/ 3996071 w 6884782"/>
              <a:gd name="connsiteY58549" fmla="*/ 1270034 h 5973007"/>
              <a:gd name="connsiteX58550" fmla="*/ 3996285 w 6884782"/>
              <a:gd name="connsiteY58550" fmla="*/ 1273591 h 5973007"/>
              <a:gd name="connsiteX58551" fmla="*/ 3986254 w 6884782"/>
              <a:gd name="connsiteY58551" fmla="*/ 1277859 h 5973007"/>
              <a:gd name="connsiteX58552" fmla="*/ 3993297 w 6884782"/>
              <a:gd name="connsiteY58552" fmla="*/ 1269750 h 5973007"/>
              <a:gd name="connsiteX58553" fmla="*/ 1288638 w 6884782"/>
              <a:gd name="connsiteY58553" fmla="*/ 1269552 h 5973007"/>
              <a:gd name="connsiteX58554" fmla="*/ 1288225 w 6884782"/>
              <a:gd name="connsiteY58554" fmla="*/ 1277143 h 5973007"/>
              <a:gd name="connsiteX58555" fmla="*/ 1285643 w 6884782"/>
              <a:gd name="connsiteY58555" fmla="*/ 1278072 h 5973007"/>
              <a:gd name="connsiteX58556" fmla="*/ 1282752 w 6884782"/>
              <a:gd name="connsiteY58556" fmla="*/ 1272960 h 5973007"/>
              <a:gd name="connsiteX58557" fmla="*/ 1284301 w 6884782"/>
              <a:gd name="connsiteY58557" fmla="*/ 1270637 h 5973007"/>
              <a:gd name="connsiteX58558" fmla="*/ 1288638 w 6884782"/>
              <a:gd name="connsiteY58558" fmla="*/ 1269552 h 5973007"/>
              <a:gd name="connsiteX58559" fmla="*/ 1067566 w 6884782"/>
              <a:gd name="connsiteY58559" fmla="*/ 1269552 h 5973007"/>
              <a:gd name="connsiteX58560" fmla="*/ 1072006 w 6884782"/>
              <a:gd name="connsiteY58560" fmla="*/ 1273580 h 5973007"/>
              <a:gd name="connsiteX58561" fmla="*/ 1068083 w 6884782"/>
              <a:gd name="connsiteY58561" fmla="*/ 1276368 h 5973007"/>
              <a:gd name="connsiteX58562" fmla="*/ 1064778 w 6884782"/>
              <a:gd name="connsiteY58562" fmla="*/ 1275284 h 5973007"/>
              <a:gd name="connsiteX58563" fmla="*/ 1064882 w 6884782"/>
              <a:gd name="connsiteY58563" fmla="*/ 1275903 h 5973007"/>
              <a:gd name="connsiteX58564" fmla="*/ 1064262 w 6884782"/>
              <a:gd name="connsiteY58564" fmla="*/ 1275748 h 5973007"/>
              <a:gd name="connsiteX58565" fmla="*/ 1063229 w 6884782"/>
              <a:gd name="connsiteY58565" fmla="*/ 1279001 h 5973007"/>
              <a:gd name="connsiteX58566" fmla="*/ 1059306 w 6884782"/>
              <a:gd name="connsiteY58566" fmla="*/ 1276523 h 5973007"/>
              <a:gd name="connsiteX58567" fmla="*/ 1061887 w 6884782"/>
              <a:gd name="connsiteY58567" fmla="*/ 1274200 h 5973007"/>
              <a:gd name="connsiteX58568" fmla="*/ 1063333 w 6884782"/>
              <a:gd name="connsiteY58568" fmla="*/ 1274509 h 5973007"/>
              <a:gd name="connsiteX58569" fmla="*/ 1064675 w 6884782"/>
              <a:gd name="connsiteY58569" fmla="*/ 1274974 h 5973007"/>
              <a:gd name="connsiteX58570" fmla="*/ 1065398 w 6884782"/>
              <a:gd name="connsiteY58570" fmla="*/ 1273580 h 5973007"/>
              <a:gd name="connsiteX58571" fmla="*/ 1067566 w 6884782"/>
              <a:gd name="connsiteY58571" fmla="*/ 1269552 h 5973007"/>
              <a:gd name="connsiteX58572" fmla="*/ 1606047 w 6884782"/>
              <a:gd name="connsiteY58572" fmla="*/ 1268623 h 5973007"/>
              <a:gd name="connsiteX58573" fmla="*/ 1611520 w 6884782"/>
              <a:gd name="connsiteY58573" fmla="*/ 1268778 h 5973007"/>
              <a:gd name="connsiteX58574" fmla="*/ 1610281 w 6884782"/>
              <a:gd name="connsiteY58574" fmla="*/ 1276678 h 5973007"/>
              <a:gd name="connsiteX58575" fmla="*/ 1610074 w 6884782"/>
              <a:gd name="connsiteY58575" fmla="*/ 1276833 h 5973007"/>
              <a:gd name="connsiteX58576" fmla="*/ 1610178 w 6884782"/>
              <a:gd name="connsiteY58576" fmla="*/ 1276988 h 5973007"/>
              <a:gd name="connsiteX58577" fmla="*/ 1616064 w 6884782"/>
              <a:gd name="connsiteY58577" fmla="*/ 1283338 h 5973007"/>
              <a:gd name="connsiteX58578" fmla="*/ 1617096 w 6884782"/>
              <a:gd name="connsiteY58578" fmla="*/ 1285042 h 5973007"/>
              <a:gd name="connsiteX58579" fmla="*/ 1618232 w 6884782"/>
              <a:gd name="connsiteY58579" fmla="*/ 1286746 h 5973007"/>
              <a:gd name="connsiteX58580" fmla="*/ 1617199 w 6884782"/>
              <a:gd name="connsiteY58580" fmla="*/ 1289999 h 5973007"/>
              <a:gd name="connsiteX58581" fmla="*/ 1617096 w 6884782"/>
              <a:gd name="connsiteY58581" fmla="*/ 1289844 h 5973007"/>
              <a:gd name="connsiteX58582" fmla="*/ 1616786 w 6884782"/>
              <a:gd name="connsiteY58582" fmla="*/ 1292787 h 5973007"/>
              <a:gd name="connsiteX58583" fmla="*/ 1613482 w 6884782"/>
              <a:gd name="connsiteY58583" fmla="*/ 1298828 h 5973007"/>
              <a:gd name="connsiteX58584" fmla="*/ 1608732 w 6884782"/>
              <a:gd name="connsiteY58584" fmla="*/ 1303475 h 5973007"/>
              <a:gd name="connsiteX58585" fmla="*/ 1608526 w 6884782"/>
              <a:gd name="connsiteY58585" fmla="*/ 1304094 h 5973007"/>
              <a:gd name="connsiteX58586" fmla="*/ 1605325 w 6884782"/>
              <a:gd name="connsiteY58586" fmla="*/ 1307657 h 5973007"/>
              <a:gd name="connsiteX58587" fmla="*/ 1605531 w 6884782"/>
              <a:gd name="connsiteY58587" fmla="*/ 1307657 h 5973007"/>
              <a:gd name="connsiteX58588" fmla="*/ 1614101 w 6884782"/>
              <a:gd name="connsiteY58588" fmla="*/ 1309980 h 5973007"/>
              <a:gd name="connsiteX58589" fmla="*/ 1614411 w 6884782"/>
              <a:gd name="connsiteY58589" fmla="*/ 1310910 h 5973007"/>
              <a:gd name="connsiteX58590" fmla="*/ 1612966 w 6884782"/>
              <a:gd name="connsiteY58590" fmla="*/ 1312149 h 5973007"/>
              <a:gd name="connsiteX58591" fmla="*/ 1609145 w 6884782"/>
              <a:gd name="connsiteY58591" fmla="*/ 1311529 h 5973007"/>
              <a:gd name="connsiteX58592" fmla="*/ 1604396 w 6884782"/>
              <a:gd name="connsiteY58592" fmla="*/ 1309361 h 5973007"/>
              <a:gd name="connsiteX58593" fmla="*/ 1603776 w 6884782"/>
              <a:gd name="connsiteY58593" fmla="*/ 1309051 h 5973007"/>
              <a:gd name="connsiteX58594" fmla="*/ 1596858 w 6884782"/>
              <a:gd name="connsiteY58594" fmla="*/ 1315402 h 5973007"/>
              <a:gd name="connsiteX58595" fmla="*/ 1596961 w 6884782"/>
              <a:gd name="connsiteY58595" fmla="*/ 1317570 h 5973007"/>
              <a:gd name="connsiteX58596" fmla="*/ 1597167 w 6884782"/>
              <a:gd name="connsiteY58596" fmla="*/ 1317570 h 5973007"/>
              <a:gd name="connsiteX58597" fmla="*/ 1600369 w 6884782"/>
              <a:gd name="connsiteY58597" fmla="*/ 1322062 h 5973007"/>
              <a:gd name="connsiteX58598" fmla="*/ 1600885 w 6884782"/>
              <a:gd name="connsiteY58598" fmla="*/ 1324850 h 5973007"/>
              <a:gd name="connsiteX58599" fmla="*/ 1600988 w 6884782"/>
              <a:gd name="connsiteY58599" fmla="*/ 1324696 h 5973007"/>
              <a:gd name="connsiteX58600" fmla="*/ 1602640 w 6884782"/>
              <a:gd name="connsiteY58600" fmla="*/ 1324386 h 5973007"/>
              <a:gd name="connsiteX58601" fmla="*/ 1605944 w 6884782"/>
              <a:gd name="connsiteY58601" fmla="*/ 1327948 h 5973007"/>
              <a:gd name="connsiteX58602" fmla="*/ 1607287 w 6884782"/>
              <a:gd name="connsiteY58602" fmla="*/ 1324541 h 5973007"/>
              <a:gd name="connsiteX58603" fmla="*/ 1613482 w 6884782"/>
              <a:gd name="connsiteY58603" fmla="*/ 1331666 h 5973007"/>
              <a:gd name="connsiteX58604" fmla="*/ 1615340 w 6884782"/>
              <a:gd name="connsiteY58604" fmla="*/ 1331046 h 5973007"/>
              <a:gd name="connsiteX58605" fmla="*/ 1633617 w 6884782"/>
              <a:gd name="connsiteY58605" fmla="*/ 1327484 h 5973007"/>
              <a:gd name="connsiteX58606" fmla="*/ 1650758 w 6884782"/>
              <a:gd name="connsiteY58606" fmla="*/ 1336623 h 5973007"/>
              <a:gd name="connsiteX58607" fmla="*/ 1659431 w 6884782"/>
              <a:gd name="connsiteY58607" fmla="*/ 1360012 h 5973007"/>
              <a:gd name="connsiteX58608" fmla="*/ 1652719 w 6884782"/>
              <a:gd name="connsiteY58608" fmla="*/ 1373953 h 5973007"/>
              <a:gd name="connsiteX58609" fmla="*/ 1650035 w 6884782"/>
              <a:gd name="connsiteY58609" fmla="*/ 1379529 h 5973007"/>
              <a:gd name="connsiteX58610" fmla="*/ 1653648 w 6884782"/>
              <a:gd name="connsiteY58610" fmla="*/ 1381852 h 5973007"/>
              <a:gd name="connsiteX58611" fmla="*/ 1650758 w 6884782"/>
              <a:gd name="connsiteY58611" fmla="*/ 1384021 h 5973007"/>
              <a:gd name="connsiteX58612" fmla="*/ 1648382 w 6884782"/>
              <a:gd name="connsiteY58612" fmla="*/ 1382937 h 5973007"/>
              <a:gd name="connsiteX58613" fmla="*/ 1646007 w 6884782"/>
              <a:gd name="connsiteY58613" fmla="*/ 1388048 h 5973007"/>
              <a:gd name="connsiteX58614" fmla="*/ 1644665 w 6884782"/>
              <a:gd name="connsiteY58614" fmla="*/ 1388358 h 5973007"/>
              <a:gd name="connsiteX58615" fmla="*/ 1647660 w 6884782"/>
              <a:gd name="connsiteY58615" fmla="*/ 1390682 h 5973007"/>
              <a:gd name="connsiteX58616" fmla="*/ 1647557 w 6884782"/>
              <a:gd name="connsiteY58616" fmla="*/ 1391301 h 5973007"/>
              <a:gd name="connsiteX58617" fmla="*/ 1647763 w 6884782"/>
              <a:gd name="connsiteY58617" fmla="*/ 1391146 h 5973007"/>
              <a:gd name="connsiteX58618" fmla="*/ 1651377 w 6884782"/>
              <a:gd name="connsiteY58618" fmla="*/ 1392075 h 5973007"/>
              <a:gd name="connsiteX58619" fmla="*/ 1652513 w 6884782"/>
              <a:gd name="connsiteY58619" fmla="*/ 1394399 h 5973007"/>
              <a:gd name="connsiteX58620" fmla="*/ 1645492 w 6884782"/>
              <a:gd name="connsiteY58620" fmla="*/ 1399355 h 5973007"/>
              <a:gd name="connsiteX58621" fmla="*/ 1645492 w 6884782"/>
              <a:gd name="connsiteY58621" fmla="*/ 1399201 h 5973007"/>
              <a:gd name="connsiteX58622" fmla="*/ 1645181 w 6884782"/>
              <a:gd name="connsiteY58622" fmla="*/ 1400130 h 5973007"/>
              <a:gd name="connsiteX58623" fmla="*/ 1641361 w 6884782"/>
              <a:gd name="connsiteY58623" fmla="*/ 1401369 h 5973007"/>
              <a:gd name="connsiteX58624" fmla="*/ 1633720 w 6884782"/>
              <a:gd name="connsiteY58624" fmla="*/ 1400130 h 5973007"/>
              <a:gd name="connsiteX58625" fmla="*/ 1633720 w 6884782"/>
              <a:gd name="connsiteY58625" fmla="*/ 1401369 h 5973007"/>
              <a:gd name="connsiteX58626" fmla="*/ 1633101 w 6884782"/>
              <a:gd name="connsiteY58626" fmla="*/ 1397342 h 5973007"/>
              <a:gd name="connsiteX58627" fmla="*/ 1632584 w 6884782"/>
              <a:gd name="connsiteY58627" fmla="*/ 1394399 h 5973007"/>
              <a:gd name="connsiteX58628" fmla="*/ 1631345 w 6884782"/>
              <a:gd name="connsiteY58628" fmla="*/ 1393315 h 5973007"/>
              <a:gd name="connsiteX58629" fmla="*/ 1627834 w 6884782"/>
              <a:gd name="connsiteY58629" fmla="*/ 1395173 h 5973007"/>
              <a:gd name="connsiteX58630" fmla="*/ 1609455 w 6884782"/>
              <a:gd name="connsiteY58630" fmla="*/ 1397651 h 5973007"/>
              <a:gd name="connsiteX58631" fmla="*/ 1609042 w 6884782"/>
              <a:gd name="connsiteY58631" fmla="*/ 1397187 h 5973007"/>
              <a:gd name="connsiteX58632" fmla="*/ 1604189 w 6884782"/>
              <a:gd name="connsiteY58632" fmla="*/ 1394089 h 5973007"/>
              <a:gd name="connsiteX58633" fmla="*/ 1602950 w 6884782"/>
              <a:gd name="connsiteY58633" fmla="*/ 1390682 h 5973007"/>
              <a:gd name="connsiteX58634" fmla="*/ 1601298 w 6884782"/>
              <a:gd name="connsiteY58634" fmla="*/ 1389597 h 5973007"/>
              <a:gd name="connsiteX58635" fmla="*/ 1593037 w 6884782"/>
              <a:gd name="connsiteY58635" fmla="*/ 1385260 h 5973007"/>
              <a:gd name="connsiteX58636" fmla="*/ 1590146 w 6884782"/>
              <a:gd name="connsiteY58636" fmla="*/ 1374262 h 5973007"/>
              <a:gd name="connsiteX58637" fmla="*/ 1590043 w 6884782"/>
              <a:gd name="connsiteY58637" fmla="*/ 1371319 h 5973007"/>
              <a:gd name="connsiteX58638" fmla="*/ 1588184 w 6884782"/>
              <a:gd name="connsiteY58638" fmla="*/ 1375347 h 5973007"/>
              <a:gd name="connsiteX58639" fmla="*/ 1584673 w 6884782"/>
              <a:gd name="connsiteY58639" fmla="*/ 1377980 h 5973007"/>
              <a:gd name="connsiteX58640" fmla="*/ 1582195 w 6884782"/>
              <a:gd name="connsiteY58640" fmla="*/ 1378135 h 5973007"/>
              <a:gd name="connsiteX58641" fmla="*/ 1581266 w 6884782"/>
              <a:gd name="connsiteY58641" fmla="*/ 1378909 h 5973007"/>
              <a:gd name="connsiteX58642" fmla="*/ 1572593 w 6884782"/>
              <a:gd name="connsiteY58642" fmla="*/ 1381233 h 5973007"/>
              <a:gd name="connsiteX58643" fmla="*/ 1568256 w 6884782"/>
              <a:gd name="connsiteY58643" fmla="*/ 1378909 h 5973007"/>
              <a:gd name="connsiteX58644" fmla="*/ 1567842 w 6884782"/>
              <a:gd name="connsiteY58644" fmla="*/ 1379219 h 5973007"/>
              <a:gd name="connsiteX58645" fmla="*/ 1563919 w 6884782"/>
              <a:gd name="connsiteY58645" fmla="*/ 1375037 h 5973007"/>
              <a:gd name="connsiteX58646" fmla="*/ 1566913 w 6884782"/>
              <a:gd name="connsiteY58646" fmla="*/ 1371784 h 5973007"/>
              <a:gd name="connsiteX58647" fmla="*/ 1568978 w 6884782"/>
              <a:gd name="connsiteY58647" fmla="*/ 1372249 h 5973007"/>
              <a:gd name="connsiteX58648" fmla="*/ 1569392 w 6884782"/>
              <a:gd name="connsiteY58648" fmla="*/ 1373023 h 5973007"/>
              <a:gd name="connsiteX58649" fmla="*/ 1570114 w 6884782"/>
              <a:gd name="connsiteY58649" fmla="*/ 1374417 h 5973007"/>
              <a:gd name="connsiteX58650" fmla="*/ 1572179 w 6884782"/>
              <a:gd name="connsiteY58650" fmla="*/ 1370700 h 5973007"/>
              <a:gd name="connsiteX58651" fmla="*/ 1571560 w 6884782"/>
              <a:gd name="connsiteY58651" fmla="*/ 1368376 h 5973007"/>
              <a:gd name="connsiteX58652" fmla="*/ 1574348 w 6884782"/>
              <a:gd name="connsiteY58652" fmla="*/ 1361561 h 5973007"/>
              <a:gd name="connsiteX58653" fmla="*/ 1578685 w 6884782"/>
              <a:gd name="connsiteY58653" fmla="*/ 1361871 h 5973007"/>
              <a:gd name="connsiteX58654" fmla="*/ 1580853 w 6884782"/>
              <a:gd name="connsiteY58654" fmla="*/ 1362955 h 5973007"/>
              <a:gd name="connsiteX58655" fmla="*/ 1584570 w 6884782"/>
              <a:gd name="connsiteY58655" fmla="*/ 1360941 h 5973007"/>
              <a:gd name="connsiteX58656" fmla="*/ 1589113 w 6884782"/>
              <a:gd name="connsiteY58656" fmla="*/ 1365898 h 5973007"/>
              <a:gd name="connsiteX58657" fmla="*/ 1588700 w 6884782"/>
              <a:gd name="connsiteY58657" fmla="*/ 1368222 h 5973007"/>
              <a:gd name="connsiteX58658" fmla="*/ 1589939 w 6884782"/>
              <a:gd name="connsiteY58658" fmla="*/ 1369615 h 5973007"/>
              <a:gd name="connsiteX58659" fmla="*/ 1589630 w 6884782"/>
              <a:gd name="connsiteY58659" fmla="*/ 1362025 h 5973007"/>
              <a:gd name="connsiteX58660" fmla="*/ 1592314 w 6884782"/>
              <a:gd name="connsiteY58660" fmla="*/ 1349944 h 5973007"/>
              <a:gd name="connsiteX58661" fmla="*/ 1598200 w 6884782"/>
              <a:gd name="connsiteY58661" fmla="*/ 1341114 h 5973007"/>
              <a:gd name="connsiteX58662" fmla="*/ 1596548 w 6884782"/>
              <a:gd name="connsiteY58662" fmla="*/ 1342044 h 5973007"/>
              <a:gd name="connsiteX58663" fmla="*/ 1587461 w 6884782"/>
              <a:gd name="connsiteY58663" fmla="*/ 1343438 h 5973007"/>
              <a:gd name="connsiteX58664" fmla="*/ 1584983 w 6884782"/>
              <a:gd name="connsiteY58664" fmla="*/ 1335228 h 5973007"/>
              <a:gd name="connsiteX58665" fmla="*/ 1593657 w 6884782"/>
              <a:gd name="connsiteY58665" fmla="*/ 1326400 h 5973007"/>
              <a:gd name="connsiteX58666" fmla="*/ 1594999 w 6884782"/>
              <a:gd name="connsiteY58666" fmla="*/ 1326400 h 5973007"/>
              <a:gd name="connsiteX58667" fmla="*/ 1594896 w 6884782"/>
              <a:gd name="connsiteY58667" fmla="*/ 1326090 h 5973007"/>
              <a:gd name="connsiteX58668" fmla="*/ 1594793 w 6884782"/>
              <a:gd name="connsiteY58668" fmla="*/ 1324386 h 5973007"/>
              <a:gd name="connsiteX58669" fmla="*/ 1593863 w 6884782"/>
              <a:gd name="connsiteY58669" fmla="*/ 1325470 h 5973007"/>
              <a:gd name="connsiteX58670" fmla="*/ 1592314 w 6884782"/>
              <a:gd name="connsiteY58670" fmla="*/ 1323147 h 5973007"/>
              <a:gd name="connsiteX58671" fmla="*/ 1590146 w 6884782"/>
              <a:gd name="connsiteY58671" fmla="*/ 1321133 h 5973007"/>
              <a:gd name="connsiteX58672" fmla="*/ 1589939 w 6884782"/>
              <a:gd name="connsiteY58672" fmla="*/ 1319739 h 5973007"/>
              <a:gd name="connsiteX58673" fmla="*/ 1586222 w 6884782"/>
              <a:gd name="connsiteY58673" fmla="*/ 1314472 h 5973007"/>
              <a:gd name="connsiteX58674" fmla="*/ 1585293 w 6884782"/>
              <a:gd name="connsiteY58674" fmla="*/ 1310910 h 5973007"/>
              <a:gd name="connsiteX58675" fmla="*/ 1585190 w 6884782"/>
              <a:gd name="connsiteY58675" fmla="*/ 1310910 h 5973007"/>
              <a:gd name="connsiteX58676" fmla="*/ 1580440 w 6884782"/>
              <a:gd name="connsiteY58676" fmla="*/ 1312149 h 5973007"/>
              <a:gd name="connsiteX58677" fmla="*/ 1578271 w 6884782"/>
              <a:gd name="connsiteY58677" fmla="*/ 1310910 h 5973007"/>
              <a:gd name="connsiteX58678" fmla="*/ 1577755 w 6884782"/>
              <a:gd name="connsiteY58678" fmla="*/ 1305643 h 5973007"/>
              <a:gd name="connsiteX58679" fmla="*/ 1580646 w 6884782"/>
              <a:gd name="connsiteY58679" fmla="*/ 1300222 h 5973007"/>
              <a:gd name="connsiteX58680" fmla="*/ 1583951 w 6884782"/>
              <a:gd name="connsiteY58680" fmla="*/ 1297744 h 5973007"/>
              <a:gd name="connsiteX58681" fmla="*/ 1584054 w 6884782"/>
              <a:gd name="connsiteY58681" fmla="*/ 1295885 h 5973007"/>
              <a:gd name="connsiteX58682" fmla="*/ 1587048 w 6884782"/>
              <a:gd name="connsiteY58682" fmla="*/ 1296659 h 5973007"/>
              <a:gd name="connsiteX58683" fmla="*/ 1589733 w 6884782"/>
              <a:gd name="connsiteY58683" fmla="*/ 1296814 h 5973007"/>
              <a:gd name="connsiteX58684" fmla="*/ 1591488 w 6884782"/>
              <a:gd name="connsiteY58684" fmla="*/ 1299292 h 5973007"/>
              <a:gd name="connsiteX58685" fmla="*/ 1591178 w 6884782"/>
              <a:gd name="connsiteY58685" fmla="*/ 1300222 h 5973007"/>
              <a:gd name="connsiteX58686" fmla="*/ 1592728 w 6884782"/>
              <a:gd name="connsiteY58686" fmla="*/ 1303785 h 5973007"/>
              <a:gd name="connsiteX58687" fmla="*/ 1594173 w 6884782"/>
              <a:gd name="connsiteY58687" fmla="*/ 1304404 h 5973007"/>
              <a:gd name="connsiteX58688" fmla="*/ 1596961 w 6884782"/>
              <a:gd name="connsiteY58688" fmla="*/ 1303165 h 5973007"/>
              <a:gd name="connsiteX58689" fmla="*/ 1598406 w 6884782"/>
              <a:gd name="connsiteY58689" fmla="*/ 1301771 h 5973007"/>
              <a:gd name="connsiteX58690" fmla="*/ 1597890 w 6884782"/>
              <a:gd name="connsiteY58690" fmla="*/ 1299757 h 5973007"/>
              <a:gd name="connsiteX58691" fmla="*/ 1597477 w 6884782"/>
              <a:gd name="connsiteY58691" fmla="*/ 1292013 h 5973007"/>
              <a:gd name="connsiteX58692" fmla="*/ 1598716 w 6884782"/>
              <a:gd name="connsiteY58692" fmla="*/ 1292477 h 5973007"/>
              <a:gd name="connsiteX58693" fmla="*/ 1600162 w 6884782"/>
              <a:gd name="connsiteY58693" fmla="*/ 1298673 h 5973007"/>
              <a:gd name="connsiteX58694" fmla="*/ 1600265 w 6884782"/>
              <a:gd name="connsiteY58694" fmla="*/ 1299912 h 5973007"/>
              <a:gd name="connsiteX58695" fmla="*/ 1601814 w 6884782"/>
              <a:gd name="connsiteY58695" fmla="*/ 1298363 h 5973007"/>
              <a:gd name="connsiteX58696" fmla="*/ 1612553 w 6884782"/>
              <a:gd name="connsiteY58696" fmla="*/ 1289999 h 5973007"/>
              <a:gd name="connsiteX58697" fmla="*/ 1616579 w 6884782"/>
              <a:gd name="connsiteY58697" fmla="*/ 1289224 h 5973007"/>
              <a:gd name="connsiteX58698" fmla="*/ 1613895 w 6884782"/>
              <a:gd name="connsiteY58698" fmla="*/ 1286126 h 5973007"/>
              <a:gd name="connsiteX58699" fmla="*/ 1611107 w 6884782"/>
              <a:gd name="connsiteY58699" fmla="*/ 1283028 h 5973007"/>
              <a:gd name="connsiteX58700" fmla="*/ 1606461 w 6884782"/>
              <a:gd name="connsiteY58700" fmla="*/ 1277297 h 5973007"/>
              <a:gd name="connsiteX58701" fmla="*/ 1603982 w 6884782"/>
              <a:gd name="connsiteY58701" fmla="*/ 1276368 h 5973007"/>
              <a:gd name="connsiteX58702" fmla="*/ 1603672 w 6884782"/>
              <a:gd name="connsiteY58702" fmla="*/ 1275748 h 5973007"/>
              <a:gd name="connsiteX58703" fmla="*/ 1602640 w 6884782"/>
              <a:gd name="connsiteY58703" fmla="*/ 1275903 h 5973007"/>
              <a:gd name="connsiteX58704" fmla="*/ 1602433 w 6884782"/>
              <a:gd name="connsiteY58704" fmla="*/ 1275129 h 5973007"/>
              <a:gd name="connsiteX58705" fmla="*/ 1603260 w 6884782"/>
              <a:gd name="connsiteY58705" fmla="*/ 1275284 h 5973007"/>
              <a:gd name="connsiteX58706" fmla="*/ 1602537 w 6884782"/>
              <a:gd name="connsiteY58706" fmla="*/ 1274200 h 5973007"/>
              <a:gd name="connsiteX58707" fmla="*/ 1606047 w 6884782"/>
              <a:gd name="connsiteY58707" fmla="*/ 1268623 h 5973007"/>
              <a:gd name="connsiteX58708" fmla="*/ 5450314 w 6884782"/>
              <a:gd name="connsiteY58708" fmla="*/ 1268185 h 5973007"/>
              <a:gd name="connsiteX58709" fmla="*/ 5452661 w 6884782"/>
              <a:gd name="connsiteY58709" fmla="*/ 1269181 h 5973007"/>
              <a:gd name="connsiteX58710" fmla="*/ 5450954 w 6884782"/>
              <a:gd name="connsiteY58710" fmla="*/ 1277859 h 5973007"/>
              <a:gd name="connsiteX58711" fmla="*/ 5444338 w 6884782"/>
              <a:gd name="connsiteY58711" fmla="*/ 1270746 h 5973007"/>
              <a:gd name="connsiteX58712" fmla="*/ 5450314 w 6884782"/>
              <a:gd name="connsiteY58712" fmla="*/ 1268185 h 5973007"/>
              <a:gd name="connsiteX58713" fmla="*/ 1427517 w 6884782"/>
              <a:gd name="connsiteY58713" fmla="*/ 1268003 h 5973007"/>
              <a:gd name="connsiteX58714" fmla="*/ 1431648 w 6884782"/>
              <a:gd name="connsiteY58714" fmla="*/ 1268623 h 5973007"/>
              <a:gd name="connsiteX58715" fmla="*/ 1434849 w 6884782"/>
              <a:gd name="connsiteY58715" fmla="*/ 1271876 h 5973007"/>
              <a:gd name="connsiteX58716" fmla="*/ 1435055 w 6884782"/>
              <a:gd name="connsiteY58716" fmla="*/ 1271566 h 5973007"/>
              <a:gd name="connsiteX58717" fmla="*/ 1436398 w 6884782"/>
              <a:gd name="connsiteY58717" fmla="*/ 1272031 h 5973007"/>
              <a:gd name="connsiteX58718" fmla="*/ 1436191 w 6884782"/>
              <a:gd name="connsiteY58718" fmla="*/ 1272650 h 5973007"/>
              <a:gd name="connsiteX58719" fmla="*/ 1435262 w 6884782"/>
              <a:gd name="connsiteY58719" fmla="*/ 1273425 h 5973007"/>
              <a:gd name="connsiteX58720" fmla="*/ 1435985 w 6884782"/>
              <a:gd name="connsiteY58720" fmla="*/ 1276058 h 5973007"/>
              <a:gd name="connsiteX58721" fmla="*/ 1425039 w 6884782"/>
              <a:gd name="connsiteY58721" fmla="*/ 1275439 h 5973007"/>
              <a:gd name="connsiteX58722" fmla="*/ 1424420 w 6884782"/>
              <a:gd name="connsiteY58722" fmla="*/ 1274200 h 5973007"/>
              <a:gd name="connsiteX58723" fmla="*/ 1422458 w 6884782"/>
              <a:gd name="connsiteY58723" fmla="*/ 1274819 h 5973007"/>
              <a:gd name="connsiteX58724" fmla="*/ 1420909 w 6884782"/>
              <a:gd name="connsiteY58724" fmla="*/ 1276523 h 5973007"/>
              <a:gd name="connsiteX58725" fmla="*/ 1418534 w 6884782"/>
              <a:gd name="connsiteY58725" fmla="*/ 1276213 h 5973007"/>
              <a:gd name="connsiteX58726" fmla="*/ 1418121 w 6884782"/>
              <a:gd name="connsiteY58726" fmla="*/ 1275593 h 5973007"/>
              <a:gd name="connsiteX58727" fmla="*/ 1419361 w 6884782"/>
              <a:gd name="connsiteY58727" fmla="*/ 1273890 h 5973007"/>
              <a:gd name="connsiteX58728" fmla="*/ 1423800 w 6884782"/>
              <a:gd name="connsiteY58728" fmla="*/ 1271256 h 5973007"/>
              <a:gd name="connsiteX58729" fmla="*/ 1424007 w 6884782"/>
              <a:gd name="connsiteY58729" fmla="*/ 1271101 h 5973007"/>
              <a:gd name="connsiteX58730" fmla="*/ 1407589 w 6884782"/>
              <a:gd name="connsiteY58730" fmla="*/ 1267539 h 5973007"/>
              <a:gd name="connsiteX58731" fmla="*/ 1412132 w 6884782"/>
              <a:gd name="connsiteY58731" fmla="*/ 1271256 h 5973007"/>
              <a:gd name="connsiteX58732" fmla="*/ 1412442 w 6884782"/>
              <a:gd name="connsiteY58732" fmla="*/ 1270637 h 5973007"/>
              <a:gd name="connsiteX58733" fmla="*/ 1416366 w 6884782"/>
              <a:gd name="connsiteY58733" fmla="*/ 1274200 h 5973007"/>
              <a:gd name="connsiteX58734" fmla="*/ 1416572 w 6884782"/>
              <a:gd name="connsiteY58734" fmla="*/ 1278381 h 5973007"/>
              <a:gd name="connsiteX58735" fmla="*/ 1413784 w 6884782"/>
              <a:gd name="connsiteY58735" fmla="*/ 1278227 h 5973007"/>
              <a:gd name="connsiteX58736" fmla="*/ 1413681 w 6884782"/>
              <a:gd name="connsiteY58736" fmla="*/ 1278536 h 5973007"/>
              <a:gd name="connsiteX58737" fmla="*/ 1397470 w 6884782"/>
              <a:gd name="connsiteY58737" fmla="*/ 1279311 h 5973007"/>
              <a:gd name="connsiteX58738" fmla="*/ 1407589 w 6884782"/>
              <a:gd name="connsiteY58738" fmla="*/ 1267539 h 5973007"/>
              <a:gd name="connsiteX58739" fmla="*/ 3882319 w 6884782"/>
              <a:gd name="connsiteY58739" fmla="*/ 1267331 h 5973007"/>
              <a:gd name="connsiteX58740" fmla="*/ 3890855 w 6884782"/>
              <a:gd name="connsiteY58740" fmla="*/ 1275014 h 5973007"/>
              <a:gd name="connsiteX58741" fmla="*/ 3875489 w 6884782"/>
              <a:gd name="connsiteY58741" fmla="*/ 1273876 h 5973007"/>
              <a:gd name="connsiteX58742" fmla="*/ 3882319 w 6884782"/>
              <a:gd name="connsiteY58742" fmla="*/ 1267331 h 5973007"/>
              <a:gd name="connsiteX58743" fmla="*/ 4281200 w 6884782"/>
              <a:gd name="connsiteY58743" fmla="*/ 1266335 h 5973007"/>
              <a:gd name="connsiteX58744" fmla="*/ 4282267 w 6884782"/>
              <a:gd name="connsiteY58744" fmla="*/ 1269607 h 5973007"/>
              <a:gd name="connsiteX58745" fmla="*/ 4285468 w 6884782"/>
              <a:gd name="connsiteY58745" fmla="*/ 1268754 h 5973007"/>
              <a:gd name="connsiteX58746" fmla="*/ 4298487 w 6884782"/>
              <a:gd name="connsiteY58746" fmla="*/ 1277433 h 5973007"/>
              <a:gd name="connsiteX58747" fmla="*/ 4299127 w 6884782"/>
              <a:gd name="connsiteY58747" fmla="*/ 1284546 h 5973007"/>
              <a:gd name="connsiteX58748" fmla="*/ 4298700 w 6884782"/>
              <a:gd name="connsiteY58748" fmla="*/ 1285257 h 5973007"/>
              <a:gd name="connsiteX58749" fmla="*/ 4303395 w 6884782"/>
              <a:gd name="connsiteY58749" fmla="*/ 1286395 h 5973007"/>
              <a:gd name="connsiteX58750" fmla="*/ 4301262 w 6884782"/>
              <a:gd name="connsiteY58750" fmla="*/ 1293793 h 5973007"/>
              <a:gd name="connsiteX58751" fmla="*/ 4290377 w 6884782"/>
              <a:gd name="connsiteY58751" fmla="*/ 1291374 h 5973007"/>
              <a:gd name="connsiteX58752" fmla="*/ 4288670 w 6884782"/>
              <a:gd name="connsiteY58752" fmla="*/ 1290379 h 5973007"/>
              <a:gd name="connsiteX58753" fmla="*/ 4285255 w 6884782"/>
              <a:gd name="connsiteY58753" fmla="*/ 1290236 h 5973007"/>
              <a:gd name="connsiteX58754" fmla="*/ 4279066 w 6884782"/>
              <a:gd name="connsiteY58754" fmla="*/ 1285115 h 5973007"/>
              <a:gd name="connsiteX58755" fmla="*/ 4278212 w 6884782"/>
              <a:gd name="connsiteY58755" fmla="*/ 1272596 h 5973007"/>
              <a:gd name="connsiteX58756" fmla="*/ 4277785 w 6884782"/>
              <a:gd name="connsiteY58756" fmla="*/ 1273733 h 5973007"/>
              <a:gd name="connsiteX58757" fmla="*/ 4258364 w 6884782"/>
              <a:gd name="connsiteY58757" fmla="*/ 1276010 h 5973007"/>
              <a:gd name="connsiteX58758" fmla="*/ 4260925 w 6884782"/>
              <a:gd name="connsiteY58758" fmla="*/ 1273306 h 5973007"/>
              <a:gd name="connsiteX58759" fmla="*/ 4262419 w 6884782"/>
              <a:gd name="connsiteY58759" fmla="*/ 1272879 h 5973007"/>
              <a:gd name="connsiteX58760" fmla="*/ 4262846 w 6884782"/>
              <a:gd name="connsiteY58760" fmla="*/ 1271884 h 5973007"/>
              <a:gd name="connsiteX58761" fmla="*/ 4263913 w 6884782"/>
              <a:gd name="connsiteY58761" fmla="*/ 1272453 h 5973007"/>
              <a:gd name="connsiteX58762" fmla="*/ 4266901 w 6884782"/>
              <a:gd name="connsiteY58762" fmla="*/ 1271457 h 5973007"/>
              <a:gd name="connsiteX58763" fmla="*/ 4273090 w 6884782"/>
              <a:gd name="connsiteY58763" fmla="*/ 1266904 h 5973007"/>
              <a:gd name="connsiteX58764" fmla="*/ 4281200 w 6884782"/>
              <a:gd name="connsiteY58764" fmla="*/ 1266335 h 5973007"/>
              <a:gd name="connsiteX58765" fmla="*/ 4396446 w 6884782"/>
              <a:gd name="connsiteY58765" fmla="*/ 1266193 h 5973007"/>
              <a:gd name="connsiteX58766" fmla="*/ 4400075 w 6884782"/>
              <a:gd name="connsiteY58766" fmla="*/ 1267331 h 5973007"/>
              <a:gd name="connsiteX58767" fmla="*/ 4403917 w 6884782"/>
              <a:gd name="connsiteY58767" fmla="*/ 1274160 h 5973007"/>
              <a:gd name="connsiteX58768" fmla="*/ 4403489 w 6884782"/>
              <a:gd name="connsiteY58768" fmla="*/ 1279140 h 5973007"/>
              <a:gd name="connsiteX58769" fmla="*/ 4409679 w 6884782"/>
              <a:gd name="connsiteY58769" fmla="*/ 1279851 h 5973007"/>
              <a:gd name="connsiteX58770" fmla="*/ 4408825 w 6884782"/>
              <a:gd name="connsiteY58770" fmla="*/ 1286253 h 5973007"/>
              <a:gd name="connsiteX58771" fmla="*/ 4408612 w 6884782"/>
              <a:gd name="connsiteY58771" fmla="*/ 1286537 h 5973007"/>
              <a:gd name="connsiteX58772" fmla="*/ 4415441 w 6884782"/>
              <a:gd name="connsiteY58772" fmla="*/ 1285969 h 5973007"/>
              <a:gd name="connsiteX58773" fmla="*/ 4415441 w 6884782"/>
              <a:gd name="connsiteY58773" fmla="*/ 1291801 h 5973007"/>
              <a:gd name="connsiteX58774" fmla="*/ 4415014 w 6884782"/>
              <a:gd name="connsiteY58774" fmla="*/ 1295216 h 5973007"/>
              <a:gd name="connsiteX58775" fmla="*/ 4416295 w 6884782"/>
              <a:gd name="connsiteY58775" fmla="*/ 1295216 h 5973007"/>
              <a:gd name="connsiteX58776" fmla="*/ 4418216 w 6884782"/>
              <a:gd name="connsiteY58776" fmla="*/ 1301902 h 5973007"/>
              <a:gd name="connsiteX58777" fmla="*/ 4417148 w 6884782"/>
              <a:gd name="connsiteY58777" fmla="*/ 1303610 h 5973007"/>
              <a:gd name="connsiteX58778" fmla="*/ 4423124 w 6884782"/>
              <a:gd name="connsiteY58778" fmla="*/ 1303325 h 5973007"/>
              <a:gd name="connsiteX58779" fmla="*/ 4428459 w 6884782"/>
              <a:gd name="connsiteY58779" fmla="*/ 1305459 h 5973007"/>
              <a:gd name="connsiteX58780" fmla="*/ 4429527 w 6884782"/>
              <a:gd name="connsiteY58780" fmla="*/ 1308020 h 5973007"/>
              <a:gd name="connsiteX58781" fmla="*/ 4431234 w 6884782"/>
              <a:gd name="connsiteY58781" fmla="*/ 1305602 h 5973007"/>
              <a:gd name="connsiteX58782" fmla="*/ 4437850 w 6884782"/>
              <a:gd name="connsiteY58782" fmla="*/ 1302757 h 5973007"/>
              <a:gd name="connsiteX58783" fmla="*/ 4445320 w 6884782"/>
              <a:gd name="connsiteY58783" fmla="*/ 1303467 h 5973007"/>
              <a:gd name="connsiteX58784" fmla="*/ 4441051 w 6884782"/>
              <a:gd name="connsiteY58784" fmla="*/ 1310439 h 5973007"/>
              <a:gd name="connsiteX58785" fmla="*/ 4430594 w 6884782"/>
              <a:gd name="connsiteY58785" fmla="*/ 1311435 h 5973007"/>
              <a:gd name="connsiteX58786" fmla="*/ 4429527 w 6884782"/>
              <a:gd name="connsiteY58786" fmla="*/ 1309585 h 5973007"/>
              <a:gd name="connsiteX58787" fmla="*/ 4428459 w 6884782"/>
              <a:gd name="connsiteY58787" fmla="*/ 1314565 h 5973007"/>
              <a:gd name="connsiteX58788" fmla="*/ 4412880 w 6884782"/>
              <a:gd name="connsiteY58788" fmla="*/ 1324808 h 5973007"/>
              <a:gd name="connsiteX58789" fmla="*/ 4411386 w 6884782"/>
              <a:gd name="connsiteY58789" fmla="*/ 1312431 h 5973007"/>
              <a:gd name="connsiteX58790" fmla="*/ 4412667 w 6884782"/>
              <a:gd name="connsiteY58790" fmla="*/ 1306740 h 5973007"/>
              <a:gd name="connsiteX58791" fmla="*/ 4412240 w 6884782"/>
              <a:gd name="connsiteY58791" fmla="*/ 1306882 h 5973007"/>
              <a:gd name="connsiteX58792" fmla="*/ 4407545 w 6884782"/>
              <a:gd name="connsiteY58792" fmla="*/ 1305175 h 5973007"/>
              <a:gd name="connsiteX58793" fmla="*/ 4403703 w 6884782"/>
              <a:gd name="connsiteY58793" fmla="*/ 1299627 h 5973007"/>
              <a:gd name="connsiteX58794" fmla="*/ 4384068 w 6884782"/>
              <a:gd name="connsiteY58794" fmla="*/ 1300338 h 5973007"/>
              <a:gd name="connsiteX58795" fmla="*/ 4356537 w 6884782"/>
              <a:gd name="connsiteY58795" fmla="*/ 1301049 h 5973007"/>
              <a:gd name="connsiteX58796" fmla="*/ 4364647 w 6884782"/>
              <a:gd name="connsiteY58796" fmla="*/ 1295643 h 5973007"/>
              <a:gd name="connsiteX58797" fmla="*/ 4363793 w 6884782"/>
              <a:gd name="connsiteY58797" fmla="*/ 1294931 h 5973007"/>
              <a:gd name="connsiteX58798" fmla="*/ 4351629 w 6884782"/>
              <a:gd name="connsiteY58798" fmla="*/ 1293793 h 5973007"/>
              <a:gd name="connsiteX58799" fmla="*/ 4350988 w 6884782"/>
              <a:gd name="connsiteY58799" fmla="*/ 1282412 h 5973007"/>
              <a:gd name="connsiteX58800" fmla="*/ 4353122 w 6884782"/>
              <a:gd name="connsiteY58800" fmla="*/ 1278286 h 5973007"/>
              <a:gd name="connsiteX58801" fmla="*/ 4373824 w 6884782"/>
              <a:gd name="connsiteY58801" fmla="*/ 1290948 h 5973007"/>
              <a:gd name="connsiteX58802" fmla="*/ 4373611 w 6884782"/>
              <a:gd name="connsiteY58802" fmla="*/ 1291517 h 5973007"/>
              <a:gd name="connsiteX58803" fmla="*/ 4383642 w 6884782"/>
              <a:gd name="connsiteY58803" fmla="*/ 1288956 h 5973007"/>
              <a:gd name="connsiteX58804" fmla="*/ 4390898 w 6884782"/>
              <a:gd name="connsiteY58804" fmla="*/ 1288103 h 5973007"/>
              <a:gd name="connsiteX58805" fmla="*/ 4390258 w 6884782"/>
              <a:gd name="connsiteY58805" fmla="*/ 1287533 h 5973007"/>
              <a:gd name="connsiteX58806" fmla="*/ 4396446 w 6884782"/>
              <a:gd name="connsiteY58806" fmla="*/ 1266193 h 5973007"/>
              <a:gd name="connsiteX58807" fmla="*/ 1623085 w 6884782"/>
              <a:gd name="connsiteY58807" fmla="*/ 1266145 h 5973007"/>
              <a:gd name="connsiteX58808" fmla="*/ 1633513 w 6884782"/>
              <a:gd name="connsiteY58808" fmla="*/ 1279466 h 5973007"/>
              <a:gd name="connsiteX58809" fmla="*/ 1631552 w 6884782"/>
              <a:gd name="connsiteY58809" fmla="*/ 1281170 h 5973007"/>
              <a:gd name="connsiteX58810" fmla="*/ 1618645 w 6884782"/>
              <a:gd name="connsiteY58810" fmla="*/ 1271101 h 5973007"/>
              <a:gd name="connsiteX58811" fmla="*/ 1619987 w 6884782"/>
              <a:gd name="connsiteY58811" fmla="*/ 1267074 h 5973007"/>
              <a:gd name="connsiteX58812" fmla="*/ 1623085 w 6884782"/>
              <a:gd name="connsiteY58812" fmla="*/ 1266145 h 5973007"/>
              <a:gd name="connsiteX58813" fmla="*/ 3731858 w 6884782"/>
              <a:gd name="connsiteY58813" fmla="*/ 1265909 h 5973007"/>
              <a:gd name="connsiteX58814" fmla="*/ 3736553 w 6884782"/>
              <a:gd name="connsiteY58814" fmla="*/ 1271173 h 5973007"/>
              <a:gd name="connsiteX58815" fmla="*/ 3729297 w 6884782"/>
              <a:gd name="connsiteY58815" fmla="*/ 1268896 h 5973007"/>
              <a:gd name="connsiteX58816" fmla="*/ 3731858 w 6884782"/>
              <a:gd name="connsiteY58816" fmla="*/ 1265909 h 5973007"/>
              <a:gd name="connsiteX58817" fmla="*/ 4755846 w 6884782"/>
              <a:gd name="connsiteY58817" fmla="*/ 1264912 h 5973007"/>
              <a:gd name="connsiteX58818" fmla="*/ 4759047 w 6884782"/>
              <a:gd name="connsiteY58818" fmla="*/ 1270746 h 5973007"/>
              <a:gd name="connsiteX58819" fmla="*/ 4760754 w 6884782"/>
              <a:gd name="connsiteY58819" fmla="*/ 1276437 h 5973007"/>
              <a:gd name="connsiteX58820" fmla="*/ 4745388 w 6884782"/>
              <a:gd name="connsiteY58820" fmla="*/ 1276010 h 5973007"/>
              <a:gd name="connsiteX58821" fmla="*/ 4746668 w 6884782"/>
              <a:gd name="connsiteY58821" fmla="*/ 1270034 h 5973007"/>
              <a:gd name="connsiteX58822" fmla="*/ 4755846 w 6884782"/>
              <a:gd name="connsiteY58822" fmla="*/ 1264912 h 5973007"/>
              <a:gd name="connsiteX58823" fmla="*/ 1356890 w 6884782"/>
              <a:gd name="connsiteY58823" fmla="*/ 1264751 h 5973007"/>
              <a:gd name="connsiteX58824" fmla="*/ 1358232 w 6884782"/>
              <a:gd name="connsiteY58824" fmla="*/ 1266764 h 5973007"/>
              <a:gd name="connsiteX58825" fmla="*/ 1357097 w 6884782"/>
              <a:gd name="connsiteY58825" fmla="*/ 1269398 h 5973007"/>
              <a:gd name="connsiteX58826" fmla="*/ 1359471 w 6884782"/>
              <a:gd name="connsiteY58826" fmla="*/ 1269707 h 5973007"/>
              <a:gd name="connsiteX58827" fmla="*/ 1370624 w 6884782"/>
              <a:gd name="connsiteY58827" fmla="*/ 1300067 h 5973007"/>
              <a:gd name="connsiteX58828" fmla="*/ 1365667 w 6884782"/>
              <a:gd name="connsiteY58828" fmla="*/ 1304249 h 5973007"/>
              <a:gd name="connsiteX58829" fmla="*/ 1367009 w 6884782"/>
              <a:gd name="connsiteY58829" fmla="*/ 1305643 h 5973007"/>
              <a:gd name="connsiteX58830" fmla="*/ 1367732 w 6884782"/>
              <a:gd name="connsiteY58830" fmla="*/ 1309825 h 5973007"/>
              <a:gd name="connsiteX58831" fmla="*/ 1359988 w 6884782"/>
              <a:gd name="connsiteY58831" fmla="*/ 1310910 h 5973007"/>
              <a:gd name="connsiteX58832" fmla="*/ 1357200 w 6884782"/>
              <a:gd name="connsiteY58832" fmla="*/ 1307967 h 5973007"/>
              <a:gd name="connsiteX58833" fmla="*/ 1354928 w 6884782"/>
              <a:gd name="connsiteY58833" fmla="*/ 1305024 h 5973007"/>
              <a:gd name="connsiteX58834" fmla="*/ 1349043 w 6884782"/>
              <a:gd name="connsiteY58834" fmla="*/ 1303475 h 5973007"/>
              <a:gd name="connsiteX58835" fmla="*/ 1329321 w 6884782"/>
              <a:gd name="connsiteY58835" fmla="*/ 1278691 h 5973007"/>
              <a:gd name="connsiteX58836" fmla="*/ 1351521 w 6884782"/>
              <a:gd name="connsiteY58836" fmla="*/ 1269862 h 5973007"/>
              <a:gd name="connsiteX58837" fmla="*/ 1353793 w 6884782"/>
              <a:gd name="connsiteY58837" fmla="*/ 1269552 h 5973007"/>
              <a:gd name="connsiteX58838" fmla="*/ 1355135 w 6884782"/>
              <a:gd name="connsiteY58838" fmla="*/ 1265680 h 5973007"/>
              <a:gd name="connsiteX58839" fmla="*/ 1356890 w 6884782"/>
              <a:gd name="connsiteY58839" fmla="*/ 1264751 h 5973007"/>
              <a:gd name="connsiteX58840" fmla="*/ 4660020 w 6884782"/>
              <a:gd name="connsiteY58840" fmla="*/ 1263917 h 5973007"/>
              <a:gd name="connsiteX58841" fmla="*/ 4664288 w 6884782"/>
              <a:gd name="connsiteY58841" fmla="*/ 1264628 h 5973007"/>
              <a:gd name="connsiteX58842" fmla="*/ 4666209 w 6884782"/>
              <a:gd name="connsiteY58842" fmla="*/ 1270461 h 5973007"/>
              <a:gd name="connsiteX58843" fmla="*/ 4660874 w 6884782"/>
              <a:gd name="connsiteY58843" fmla="*/ 1276152 h 5973007"/>
              <a:gd name="connsiteX58844" fmla="*/ 4661087 w 6884782"/>
              <a:gd name="connsiteY58844" fmla="*/ 1277148 h 5973007"/>
              <a:gd name="connsiteX58845" fmla="*/ 4649562 w 6884782"/>
              <a:gd name="connsiteY58845" fmla="*/ 1280420 h 5973007"/>
              <a:gd name="connsiteX58846" fmla="*/ 4647215 w 6884782"/>
              <a:gd name="connsiteY58846" fmla="*/ 1278855 h 5973007"/>
              <a:gd name="connsiteX58847" fmla="*/ 4646788 w 6884782"/>
              <a:gd name="connsiteY58847" fmla="*/ 1278855 h 5973007"/>
              <a:gd name="connsiteX58848" fmla="*/ 4647642 w 6884782"/>
              <a:gd name="connsiteY58848" fmla="*/ 1267901 h 5973007"/>
              <a:gd name="connsiteX58849" fmla="*/ 4651270 w 6884782"/>
              <a:gd name="connsiteY58849" fmla="*/ 1265197 h 5973007"/>
              <a:gd name="connsiteX58850" fmla="*/ 4656392 w 6884782"/>
              <a:gd name="connsiteY58850" fmla="*/ 1265055 h 5973007"/>
              <a:gd name="connsiteX58851" fmla="*/ 4660020 w 6884782"/>
              <a:gd name="connsiteY58851" fmla="*/ 1263917 h 5973007"/>
              <a:gd name="connsiteX58852" fmla="*/ 1530464 w 6884782"/>
              <a:gd name="connsiteY58852" fmla="*/ 1263822 h 5973007"/>
              <a:gd name="connsiteX58853" fmla="*/ 1532529 w 6884782"/>
              <a:gd name="connsiteY58853" fmla="*/ 1263976 h 5973007"/>
              <a:gd name="connsiteX58854" fmla="*/ 1533045 w 6884782"/>
              <a:gd name="connsiteY58854" fmla="*/ 1264751 h 5973007"/>
              <a:gd name="connsiteX58855" fmla="*/ 1534904 w 6884782"/>
              <a:gd name="connsiteY58855" fmla="*/ 1267694 h 5973007"/>
              <a:gd name="connsiteX58856" fmla="*/ 1532116 w 6884782"/>
              <a:gd name="connsiteY58856" fmla="*/ 1271101 h 5973007"/>
              <a:gd name="connsiteX58857" fmla="*/ 1527882 w 6884782"/>
              <a:gd name="connsiteY58857" fmla="*/ 1267384 h 5973007"/>
              <a:gd name="connsiteX58858" fmla="*/ 1530464 w 6884782"/>
              <a:gd name="connsiteY58858" fmla="*/ 1263822 h 5973007"/>
              <a:gd name="connsiteX58859" fmla="*/ 4831183 w 6884782"/>
              <a:gd name="connsiteY58859" fmla="*/ 1263632 h 5973007"/>
              <a:gd name="connsiteX58860" fmla="*/ 4832036 w 6884782"/>
              <a:gd name="connsiteY58860" fmla="*/ 1264343 h 5973007"/>
              <a:gd name="connsiteX58861" fmla="*/ 4831610 w 6884782"/>
              <a:gd name="connsiteY58861" fmla="*/ 1267189 h 5973007"/>
              <a:gd name="connsiteX58862" fmla="*/ 4827128 w 6884782"/>
              <a:gd name="connsiteY58862" fmla="*/ 1270034 h 5973007"/>
              <a:gd name="connsiteX58863" fmla="*/ 4815817 w 6884782"/>
              <a:gd name="connsiteY58863" fmla="*/ 1273164 h 5973007"/>
              <a:gd name="connsiteX58864" fmla="*/ 4813469 w 6884782"/>
              <a:gd name="connsiteY58864" fmla="*/ 1274587 h 5973007"/>
              <a:gd name="connsiteX58865" fmla="*/ 4831183 w 6884782"/>
              <a:gd name="connsiteY58865" fmla="*/ 1263632 h 5973007"/>
              <a:gd name="connsiteX58866" fmla="*/ 4336689 w 6884782"/>
              <a:gd name="connsiteY58866" fmla="*/ 1263205 h 5973007"/>
              <a:gd name="connsiteX58867" fmla="*/ 4345653 w 6884782"/>
              <a:gd name="connsiteY58867" fmla="*/ 1272879 h 5973007"/>
              <a:gd name="connsiteX58868" fmla="*/ 4342238 w 6884782"/>
              <a:gd name="connsiteY58868" fmla="*/ 1278143 h 5973007"/>
              <a:gd name="connsiteX58869" fmla="*/ 4343732 w 6884782"/>
              <a:gd name="connsiteY58869" fmla="*/ 1278286 h 5973007"/>
              <a:gd name="connsiteX58870" fmla="*/ 4345866 w 6884782"/>
              <a:gd name="connsiteY58870" fmla="*/ 1281132 h 5973007"/>
              <a:gd name="connsiteX58871" fmla="*/ 4347574 w 6884782"/>
              <a:gd name="connsiteY58871" fmla="*/ 1290094 h 5973007"/>
              <a:gd name="connsiteX58872" fmla="*/ 4340317 w 6884782"/>
              <a:gd name="connsiteY58872" fmla="*/ 1287392 h 5973007"/>
              <a:gd name="connsiteX58873" fmla="*/ 4339250 w 6884782"/>
              <a:gd name="connsiteY58873" fmla="*/ 1278855 h 5973007"/>
              <a:gd name="connsiteX58874" fmla="*/ 4334555 w 6884782"/>
              <a:gd name="connsiteY58874" fmla="*/ 1279567 h 5973007"/>
              <a:gd name="connsiteX58875" fmla="*/ 4330073 w 6884782"/>
              <a:gd name="connsiteY58875" fmla="*/ 1268896 h 5973007"/>
              <a:gd name="connsiteX58876" fmla="*/ 4336689 w 6884782"/>
              <a:gd name="connsiteY58876" fmla="*/ 1263205 h 5973007"/>
              <a:gd name="connsiteX58877" fmla="*/ 1129210 w 6884782"/>
              <a:gd name="connsiteY58877" fmla="*/ 1262892 h 5973007"/>
              <a:gd name="connsiteX58878" fmla="*/ 1134373 w 6884782"/>
              <a:gd name="connsiteY58878" fmla="*/ 1263356 h 5973007"/>
              <a:gd name="connsiteX58879" fmla="*/ 1134270 w 6884782"/>
              <a:gd name="connsiteY58879" fmla="*/ 1270946 h 5973007"/>
              <a:gd name="connsiteX58880" fmla="*/ 1128281 w 6884782"/>
              <a:gd name="connsiteY58880" fmla="*/ 1269398 h 5973007"/>
              <a:gd name="connsiteX58881" fmla="*/ 1126939 w 6884782"/>
              <a:gd name="connsiteY58881" fmla="*/ 1267074 h 5973007"/>
              <a:gd name="connsiteX58882" fmla="*/ 1127455 w 6884782"/>
              <a:gd name="connsiteY58882" fmla="*/ 1264441 h 5973007"/>
              <a:gd name="connsiteX58883" fmla="*/ 1129210 w 6884782"/>
              <a:gd name="connsiteY58883" fmla="*/ 1262892 h 5973007"/>
              <a:gd name="connsiteX58884" fmla="*/ 3442034 w 6884782"/>
              <a:gd name="connsiteY58884" fmla="*/ 1262352 h 5973007"/>
              <a:gd name="connsiteX58885" fmla="*/ 3444381 w 6884782"/>
              <a:gd name="connsiteY58885" fmla="*/ 1263917 h 5973007"/>
              <a:gd name="connsiteX58886" fmla="*/ 3449717 w 6884782"/>
              <a:gd name="connsiteY58886" fmla="*/ 1269750 h 5973007"/>
              <a:gd name="connsiteX58887" fmla="*/ 3446302 w 6884782"/>
              <a:gd name="connsiteY58887" fmla="*/ 1270461 h 5973007"/>
              <a:gd name="connsiteX58888" fmla="*/ 3444168 w 6884782"/>
              <a:gd name="connsiteY58888" fmla="*/ 1267616 h 5973007"/>
              <a:gd name="connsiteX58889" fmla="*/ 3441820 w 6884782"/>
              <a:gd name="connsiteY58889" fmla="*/ 1266051 h 5973007"/>
              <a:gd name="connsiteX58890" fmla="*/ 3442034 w 6884782"/>
              <a:gd name="connsiteY58890" fmla="*/ 1262352 h 5973007"/>
              <a:gd name="connsiteX58891" fmla="*/ 5234973 w 6884782"/>
              <a:gd name="connsiteY58891" fmla="*/ 1261214 h 5973007"/>
              <a:gd name="connsiteX58892" fmla="*/ 5198905 w 6884782"/>
              <a:gd name="connsiteY58892" fmla="*/ 1272879 h 5973007"/>
              <a:gd name="connsiteX58893" fmla="*/ 5234973 w 6884782"/>
              <a:gd name="connsiteY58893" fmla="*/ 1261214 h 5973007"/>
              <a:gd name="connsiteX58894" fmla="*/ 4962436 w 6884782"/>
              <a:gd name="connsiteY58894" fmla="*/ 1261214 h 5973007"/>
              <a:gd name="connsiteX58895" fmla="*/ 4963716 w 6884782"/>
              <a:gd name="connsiteY58895" fmla="*/ 1262352 h 5973007"/>
              <a:gd name="connsiteX58896" fmla="*/ 4958167 w 6884782"/>
              <a:gd name="connsiteY58896" fmla="*/ 1265197 h 5973007"/>
              <a:gd name="connsiteX58897" fmla="*/ 4962436 w 6884782"/>
              <a:gd name="connsiteY58897" fmla="*/ 1261214 h 5973007"/>
              <a:gd name="connsiteX58898" fmla="*/ 4042597 w 6884782"/>
              <a:gd name="connsiteY58898" fmla="*/ 1260930 h 5973007"/>
              <a:gd name="connsiteX58899" fmla="*/ 4046865 w 6884782"/>
              <a:gd name="connsiteY58899" fmla="*/ 1261498 h 5973007"/>
              <a:gd name="connsiteX58900" fmla="*/ 4045798 w 6884782"/>
              <a:gd name="connsiteY58900" fmla="*/ 1261498 h 5973007"/>
              <a:gd name="connsiteX58901" fmla="*/ 4047079 w 6884782"/>
              <a:gd name="connsiteY58901" fmla="*/ 1262637 h 5973007"/>
              <a:gd name="connsiteX58902" fmla="*/ 4030645 w 6884782"/>
              <a:gd name="connsiteY58902" fmla="*/ 1264343 h 5973007"/>
              <a:gd name="connsiteX58903" fmla="*/ 4030645 w 6884782"/>
              <a:gd name="connsiteY58903" fmla="*/ 1263205 h 5973007"/>
              <a:gd name="connsiteX58904" fmla="*/ 4042597 w 6884782"/>
              <a:gd name="connsiteY58904" fmla="*/ 1260930 h 5973007"/>
              <a:gd name="connsiteX58905" fmla="*/ 4358671 w 6884782"/>
              <a:gd name="connsiteY58905" fmla="*/ 1260502 h 5973007"/>
              <a:gd name="connsiteX58906" fmla="*/ 4360806 w 6884782"/>
              <a:gd name="connsiteY58906" fmla="*/ 1261498 h 5973007"/>
              <a:gd name="connsiteX58907" fmla="*/ 4353763 w 6884782"/>
              <a:gd name="connsiteY58907" fmla="*/ 1261214 h 5973007"/>
              <a:gd name="connsiteX58908" fmla="*/ 4358671 w 6884782"/>
              <a:gd name="connsiteY58908" fmla="*/ 1260502 h 5973007"/>
              <a:gd name="connsiteX58909" fmla="*/ 4023602 w 6884782"/>
              <a:gd name="connsiteY58909" fmla="*/ 1260360 h 5973007"/>
              <a:gd name="connsiteX58910" fmla="*/ 4024670 w 6884782"/>
              <a:gd name="connsiteY58910" fmla="*/ 1261640 h 5973007"/>
              <a:gd name="connsiteX58911" fmla="*/ 4018907 w 6884782"/>
              <a:gd name="connsiteY58911" fmla="*/ 1263775 h 5973007"/>
              <a:gd name="connsiteX58912" fmla="*/ 4023602 w 6884782"/>
              <a:gd name="connsiteY58912" fmla="*/ 1260360 h 5973007"/>
              <a:gd name="connsiteX58913" fmla="*/ 1215933 w 6884782"/>
              <a:gd name="connsiteY58913" fmla="*/ 1260123 h 5973007"/>
              <a:gd name="connsiteX58914" fmla="*/ 1222244 w 6884782"/>
              <a:gd name="connsiteY58914" fmla="*/ 1266300 h 5973007"/>
              <a:gd name="connsiteX58915" fmla="*/ 1219353 w 6884782"/>
              <a:gd name="connsiteY58915" fmla="*/ 1268313 h 5973007"/>
              <a:gd name="connsiteX58916" fmla="*/ 1207685 w 6884782"/>
              <a:gd name="connsiteY58916" fmla="*/ 1260568 h 5973007"/>
              <a:gd name="connsiteX58917" fmla="*/ 1215933 w 6884782"/>
              <a:gd name="connsiteY58917" fmla="*/ 1260123 h 5973007"/>
              <a:gd name="connsiteX58918" fmla="*/ 1370004 w 6884782"/>
              <a:gd name="connsiteY58918" fmla="*/ 1260104 h 5973007"/>
              <a:gd name="connsiteX58919" fmla="*/ 1372069 w 6884782"/>
              <a:gd name="connsiteY58919" fmla="*/ 1272496 h 5973007"/>
              <a:gd name="connsiteX58920" fmla="*/ 1365357 w 6884782"/>
              <a:gd name="connsiteY58920" fmla="*/ 1267848 h 5973007"/>
              <a:gd name="connsiteX58921" fmla="*/ 1370004 w 6884782"/>
              <a:gd name="connsiteY58921" fmla="*/ 1260104 h 5973007"/>
              <a:gd name="connsiteX58922" fmla="*/ 4933197 w 6884782"/>
              <a:gd name="connsiteY58922" fmla="*/ 1260075 h 5973007"/>
              <a:gd name="connsiteX58923" fmla="*/ 4957314 w 6884782"/>
              <a:gd name="connsiteY58923" fmla="*/ 1276437 h 5973007"/>
              <a:gd name="connsiteX58924" fmla="*/ 4959448 w 6884782"/>
              <a:gd name="connsiteY58924" fmla="*/ 1299768 h 5973007"/>
              <a:gd name="connsiteX58925" fmla="*/ 4958808 w 6884782"/>
              <a:gd name="connsiteY58925" fmla="*/ 1300907 h 5973007"/>
              <a:gd name="connsiteX58926" fmla="*/ 4960302 w 6884782"/>
              <a:gd name="connsiteY58926" fmla="*/ 1299484 h 5973007"/>
              <a:gd name="connsiteX58927" fmla="*/ 4963076 w 6884782"/>
              <a:gd name="connsiteY58927" fmla="*/ 1299627 h 5973007"/>
              <a:gd name="connsiteX58928" fmla="*/ 4968412 w 6884782"/>
              <a:gd name="connsiteY58928" fmla="*/ 1301618 h 5973007"/>
              <a:gd name="connsiteX58929" fmla="*/ 4967985 w 6884782"/>
              <a:gd name="connsiteY58929" fmla="*/ 1306029 h 5973007"/>
              <a:gd name="connsiteX58930" fmla="*/ 4963503 w 6884782"/>
              <a:gd name="connsiteY58930" fmla="*/ 1309159 h 5973007"/>
              <a:gd name="connsiteX58931" fmla="*/ 4954112 w 6884782"/>
              <a:gd name="connsiteY58931" fmla="*/ 1309159 h 5973007"/>
              <a:gd name="connsiteX58932" fmla="*/ 4954753 w 6884782"/>
              <a:gd name="connsiteY58932" fmla="*/ 1307024 h 5973007"/>
              <a:gd name="connsiteX58933" fmla="*/ 4943228 w 6884782"/>
              <a:gd name="connsiteY58933" fmla="*/ 1305602 h 5973007"/>
              <a:gd name="connsiteX58934" fmla="*/ 4933838 w 6884782"/>
              <a:gd name="connsiteY58934" fmla="*/ 1299484 h 5973007"/>
              <a:gd name="connsiteX58935" fmla="*/ 4930210 w 6884782"/>
              <a:gd name="connsiteY58935" fmla="*/ 1293936 h 5973007"/>
              <a:gd name="connsiteX58936" fmla="*/ 4929142 w 6884782"/>
              <a:gd name="connsiteY58936" fmla="*/ 1298915 h 5973007"/>
              <a:gd name="connsiteX58937" fmla="*/ 4917831 w 6884782"/>
              <a:gd name="connsiteY58937" fmla="*/ 1315987 h 5973007"/>
              <a:gd name="connsiteX58938" fmla="*/ 4909721 w 6884782"/>
              <a:gd name="connsiteY58938" fmla="*/ 1302757 h 5973007"/>
              <a:gd name="connsiteX58939" fmla="*/ 4925514 w 6884782"/>
              <a:gd name="connsiteY58939" fmla="*/ 1281416 h 5973007"/>
              <a:gd name="connsiteX58940" fmla="*/ 4926154 w 6884782"/>
              <a:gd name="connsiteY58940" fmla="*/ 1281416 h 5973007"/>
              <a:gd name="connsiteX58941" fmla="*/ 4926368 w 6884782"/>
              <a:gd name="connsiteY58941" fmla="*/ 1272026 h 5973007"/>
              <a:gd name="connsiteX58942" fmla="*/ 4929782 w 6884782"/>
              <a:gd name="connsiteY58942" fmla="*/ 1261640 h 5973007"/>
              <a:gd name="connsiteX58943" fmla="*/ 4933197 w 6884782"/>
              <a:gd name="connsiteY58943" fmla="*/ 1260075 h 5973007"/>
              <a:gd name="connsiteX58944" fmla="*/ 4637611 w 6884782"/>
              <a:gd name="connsiteY58944" fmla="*/ 1259791 h 5973007"/>
              <a:gd name="connsiteX58945" fmla="*/ 4643160 w 6884782"/>
              <a:gd name="connsiteY58945" fmla="*/ 1273876 h 5973007"/>
              <a:gd name="connsiteX58946" fmla="*/ 4646788 w 6884782"/>
              <a:gd name="connsiteY58946" fmla="*/ 1287249 h 5973007"/>
              <a:gd name="connsiteX58947" fmla="*/ 4645081 w 6884782"/>
              <a:gd name="connsiteY58947" fmla="*/ 1291517 h 5973007"/>
              <a:gd name="connsiteX58948" fmla="*/ 4645934 w 6884782"/>
              <a:gd name="connsiteY58948" fmla="*/ 1291944 h 5973007"/>
              <a:gd name="connsiteX58949" fmla="*/ 4641453 w 6884782"/>
              <a:gd name="connsiteY58949" fmla="*/ 1298915 h 5973007"/>
              <a:gd name="connsiteX58950" fmla="*/ 4638251 w 6884782"/>
              <a:gd name="connsiteY58950" fmla="*/ 1295643 h 5973007"/>
              <a:gd name="connsiteX58951" fmla="*/ 4636117 w 6884782"/>
              <a:gd name="connsiteY58951" fmla="*/ 1296212 h 5973007"/>
              <a:gd name="connsiteX58952" fmla="*/ 4635050 w 6884782"/>
              <a:gd name="connsiteY58952" fmla="*/ 1304605 h 5973007"/>
              <a:gd name="connsiteX58953" fmla="*/ 4632275 w 6884782"/>
              <a:gd name="connsiteY58953" fmla="*/ 1312573 h 5973007"/>
              <a:gd name="connsiteX58954" fmla="*/ 4628647 w 6884782"/>
              <a:gd name="connsiteY58954" fmla="*/ 1281558 h 5973007"/>
              <a:gd name="connsiteX58955" fmla="*/ 4634410 w 6884782"/>
              <a:gd name="connsiteY58955" fmla="*/ 1287249 h 5973007"/>
              <a:gd name="connsiteX58956" fmla="*/ 4634623 w 6884782"/>
              <a:gd name="connsiteY58956" fmla="*/ 1288529 h 5973007"/>
              <a:gd name="connsiteX58957" fmla="*/ 4634837 w 6884782"/>
              <a:gd name="connsiteY58957" fmla="*/ 1286680 h 5973007"/>
              <a:gd name="connsiteX58958" fmla="*/ 4637611 w 6884782"/>
              <a:gd name="connsiteY58958" fmla="*/ 1259791 h 5973007"/>
              <a:gd name="connsiteX58959" fmla="*/ 1311845 w 6884782"/>
              <a:gd name="connsiteY58959" fmla="*/ 1259755 h 5973007"/>
              <a:gd name="connsiteX58960" fmla="*/ 1316620 w 6884782"/>
              <a:gd name="connsiteY58960" fmla="*/ 1259794 h 5973007"/>
              <a:gd name="connsiteX58961" fmla="*/ 1308360 w 6884782"/>
              <a:gd name="connsiteY58961" fmla="*/ 1265990 h 5973007"/>
              <a:gd name="connsiteX58962" fmla="*/ 1308153 w 6884782"/>
              <a:gd name="connsiteY58962" fmla="*/ 1263667 h 5973007"/>
              <a:gd name="connsiteX58963" fmla="*/ 1311845 w 6884782"/>
              <a:gd name="connsiteY58963" fmla="*/ 1259755 h 5973007"/>
              <a:gd name="connsiteX58964" fmla="*/ 3481090 w 6884782"/>
              <a:gd name="connsiteY58964" fmla="*/ 1259506 h 5973007"/>
              <a:gd name="connsiteX58965" fmla="*/ 3483651 w 6884782"/>
              <a:gd name="connsiteY58965" fmla="*/ 1260360 h 5973007"/>
              <a:gd name="connsiteX58966" fmla="*/ 3480876 w 6884782"/>
              <a:gd name="connsiteY58966" fmla="*/ 1276010 h 5973007"/>
              <a:gd name="connsiteX58967" fmla="*/ 3479169 w 6884782"/>
              <a:gd name="connsiteY58967" fmla="*/ 1277717 h 5973007"/>
              <a:gd name="connsiteX58968" fmla="*/ 3482583 w 6884782"/>
              <a:gd name="connsiteY58968" fmla="*/ 1277575 h 5973007"/>
              <a:gd name="connsiteX58969" fmla="*/ 3485785 w 6884782"/>
              <a:gd name="connsiteY58969" fmla="*/ 1286111 h 5973007"/>
              <a:gd name="connsiteX58970" fmla="*/ 3474473 w 6884782"/>
              <a:gd name="connsiteY58970" fmla="*/ 1292371 h 5973007"/>
              <a:gd name="connsiteX58971" fmla="*/ 3470632 w 6884782"/>
              <a:gd name="connsiteY58971" fmla="*/ 1287249 h 5973007"/>
              <a:gd name="connsiteX58972" fmla="*/ 3471059 w 6884782"/>
              <a:gd name="connsiteY58972" fmla="*/ 1284262 h 5973007"/>
              <a:gd name="connsiteX58973" fmla="*/ 3469778 w 6884782"/>
              <a:gd name="connsiteY58973" fmla="*/ 1284262 h 5973007"/>
              <a:gd name="connsiteX58974" fmla="*/ 3471059 w 6884782"/>
              <a:gd name="connsiteY58974" fmla="*/ 1280278 h 5973007"/>
              <a:gd name="connsiteX58975" fmla="*/ 3469778 w 6884782"/>
              <a:gd name="connsiteY58975" fmla="*/ 1280420 h 5973007"/>
              <a:gd name="connsiteX58976" fmla="*/ 3469565 w 6884782"/>
              <a:gd name="connsiteY58976" fmla="*/ 1274729 h 5973007"/>
              <a:gd name="connsiteX58977" fmla="*/ 3473620 w 6884782"/>
              <a:gd name="connsiteY58977" fmla="*/ 1273306 h 5973007"/>
              <a:gd name="connsiteX58978" fmla="*/ 3474687 w 6884782"/>
              <a:gd name="connsiteY58978" fmla="*/ 1270177 h 5973007"/>
              <a:gd name="connsiteX58979" fmla="*/ 3478955 w 6884782"/>
              <a:gd name="connsiteY58979" fmla="*/ 1261498 h 5973007"/>
              <a:gd name="connsiteX58980" fmla="*/ 3481090 w 6884782"/>
              <a:gd name="connsiteY58980" fmla="*/ 1259506 h 5973007"/>
              <a:gd name="connsiteX58981" fmla="*/ 3451210 w 6884782"/>
              <a:gd name="connsiteY58981" fmla="*/ 1259365 h 5973007"/>
              <a:gd name="connsiteX58982" fmla="*/ 3453558 w 6884782"/>
              <a:gd name="connsiteY58982" fmla="*/ 1259365 h 5973007"/>
              <a:gd name="connsiteX58983" fmla="*/ 3454839 w 6884782"/>
              <a:gd name="connsiteY58983" fmla="*/ 1259933 h 5973007"/>
              <a:gd name="connsiteX58984" fmla="*/ 3455906 w 6884782"/>
              <a:gd name="connsiteY58984" fmla="*/ 1262495 h 5973007"/>
              <a:gd name="connsiteX58985" fmla="*/ 3459534 w 6884782"/>
              <a:gd name="connsiteY58985" fmla="*/ 1264202 h 5973007"/>
              <a:gd name="connsiteX58986" fmla="*/ 3459321 w 6884782"/>
              <a:gd name="connsiteY58986" fmla="*/ 1266478 h 5973007"/>
              <a:gd name="connsiteX58987" fmla="*/ 3452278 w 6884782"/>
              <a:gd name="connsiteY58987" fmla="*/ 1262921 h 5973007"/>
              <a:gd name="connsiteX58988" fmla="*/ 3451210 w 6884782"/>
              <a:gd name="connsiteY58988" fmla="*/ 1259365 h 5973007"/>
              <a:gd name="connsiteX58989" fmla="*/ 1483779 w 6884782"/>
              <a:gd name="connsiteY58989" fmla="*/ 1258884 h 5973007"/>
              <a:gd name="connsiteX58990" fmla="*/ 1495770 w 6884782"/>
              <a:gd name="connsiteY58990" fmla="*/ 1261033 h 5973007"/>
              <a:gd name="connsiteX58991" fmla="*/ 1479662 w 6884782"/>
              <a:gd name="connsiteY58991" fmla="*/ 1274354 h 5973007"/>
              <a:gd name="connsiteX58992" fmla="*/ 1475738 w 6884782"/>
              <a:gd name="connsiteY58992" fmla="*/ 1267074 h 5973007"/>
              <a:gd name="connsiteX58993" fmla="*/ 1483779 w 6884782"/>
              <a:gd name="connsiteY58993" fmla="*/ 1258884 h 5973007"/>
              <a:gd name="connsiteX58994" fmla="*/ 3911770 w 6884782"/>
              <a:gd name="connsiteY58994" fmla="*/ 1258653 h 5973007"/>
              <a:gd name="connsiteX58995" fmla="*/ 3913478 w 6884782"/>
              <a:gd name="connsiteY58995" fmla="*/ 1259365 h 5973007"/>
              <a:gd name="connsiteX58996" fmla="*/ 3915612 w 6884782"/>
              <a:gd name="connsiteY58996" fmla="*/ 1260645 h 5973007"/>
              <a:gd name="connsiteX58997" fmla="*/ 3913478 w 6884782"/>
              <a:gd name="connsiteY58997" fmla="*/ 1271173 h 5973007"/>
              <a:gd name="connsiteX58998" fmla="*/ 3903661 w 6884782"/>
              <a:gd name="connsiteY58998" fmla="*/ 1269466 h 5973007"/>
              <a:gd name="connsiteX58999" fmla="*/ 3903447 w 6884782"/>
              <a:gd name="connsiteY58999" fmla="*/ 1266762 h 5973007"/>
              <a:gd name="connsiteX59000" fmla="*/ 3904087 w 6884782"/>
              <a:gd name="connsiteY59000" fmla="*/ 1263917 h 5973007"/>
              <a:gd name="connsiteX59001" fmla="*/ 3908356 w 6884782"/>
              <a:gd name="connsiteY59001" fmla="*/ 1259080 h 5973007"/>
              <a:gd name="connsiteX59002" fmla="*/ 3911770 w 6884782"/>
              <a:gd name="connsiteY59002" fmla="*/ 1258653 h 5973007"/>
              <a:gd name="connsiteX59003" fmla="*/ 1336755 w 6884782"/>
              <a:gd name="connsiteY59003" fmla="*/ 1258400 h 5973007"/>
              <a:gd name="connsiteX59004" fmla="*/ 1338924 w 6884782"/>
              <a:gd name="connsiteY59004" fmla="*/ 1259949 h 5973007"/>
              <a:gd name="connsiteX59005" fmla="*/ 1338304 w 6884782"/>
              <a:gd name="connsiteY59005" fmla="*/ 1262272 h 5973007"/>
              <a:gd name="connsiteX59006" fmla="*/ 1338407 w 6884782"/>
              <a:gd name="connsiteY59006" fmla="*/ 1264131 h 5973007"/>
              <a:gd name="connsiteX59007" fmla="*/ 1336033 w 6884782"/>
              <a:gd name="connsiteY59007" fmla="*/ 1265680 h 5973007"/>
              <a:gd name="connsiteX59008" fmla="*/ 1335929 w 6884782"/>
              <a:gd name="connsiteY59008" fmla="*/ 1263822 h 5973007"/>
              <a:gd name="connsiteX59009" fmla="*/ 1336755 w 6884782"/>
              <a:gd name="connsiteY59009" fmla="*/ 1258400 h 5973007"/>
              <a:gd name="connsiteX59010" fmla="*/ 4801944 w 6884782"/>
              <a:gd name="connsiteY59010" fmla="*/ 1258226 h 5973007"/>
              <a:gd name="connsiteX59011" fmla="*/ 4813682 w 6884782"/>
              <a:gd name="connsiteY59011" fmla="*/ 1270177 h 5973007"/>
              <a:gd name="connsiteX59012" fmla="*/ 4806426 w 6884782"/>
              <a:gd name="connsiteY59012" fmla="*/ 1267189 h 5973007"/>
              <a:gd name="connsiteX59013" fmla="*/ 4800237 w 6884782"/>
              <a:gd name="connsiteY59013" fmla="*/ 1258653 h 5973007"/>
              <a:gd name="connsiteX59014" fmla="*/ 4801944 w 6884782"/>
              <a:gd name="connsiteY59014" fmla="*/ 1258226 h 5973007"/>
              <a:gd name="connsiteX59015" fmla="*/ 1121466 w 6884782"/>
              <a:gd name="connsiteY59015" fmla="*/ 1257780 h 5973007"/>
              <a:gd name="connsiteX59016" fmla="*/ 1116923 w 6884782"/>
              <a:gd name="connsiteY59016" fmla="*/ 1263356 h 5973007"/>
              <a:gd name="connsiteX59017" fmla="*/ 1117646 w 6884782"/>
              <a:gd name="connsiteY59017" fmla="*/ 1259175 h 5973007"/>
              <a:gd name="connsiteX59018" fmla="*/ 1121466 w 6884782"/>
              <a:gd name="connsiteY59018" fmla="*/ 1257780 h 5973007"/>
              <a:gd name="connsiteX59019" fmla="*/ 3970034 w 6884782"/>
              <a:gd name="connsiteY59019" fmla="*/ 1257088 h 5973007"/>
              <a:gd name="connsiteX59020" fmla="*/ 3974730 w 6884782"/>
              <a:gd name="connsiteY59020" fmla="*/ 1261214 h 5973007"/>
              <a:gd name="connsiteX59021" fmla="*/ 3973662 w 6884782"/>
              <a:gd name="connsiteY59021" fmla="*/ 1272311 h 5973007"/>
              <a:gd name="connsiteX59022" fmla="*/ 3969394 w 6884782"/>
              <a:gd name="connsiteY59022" fmla="*/ 1269892 h 5973007"/>
              <a:gd name="connsiteX59023" fmla="*/ 3968113 w 6884782"/>
              <a:gd name="connsiteY59023" fmla="*/ 1259222 h 5973007"/>
              <a:gd name="connsiteX59024" fmla="*/ 3970034 w 6884782"/>
              <a:gd name="connsiteY59024" fmla="*/ 1257088 h 5973007"/>
              <a:gd name="connsiteX59025" fmla="*/ 4183027 w 6884782"/>
              <a:gd name="connsiteY59025" fmla="*/ 1256803 h 5973007"/>
              <a:gd name="connsiteX59026" fmla="*/ 4186228 w 6884782"/>
              <a:gd name="connsiteY59026" fmla="*/ 1256946 h 5973007"/>
              <a:gd name="connsiteX59027" fmla="*/ 4197966 w 6884782"/>
              <a:gd name="connsiteY59027" fmla="*/ 1262495 h 5973007"/>
              <a:gd name="connsiteX59028" fmla="*/ 4197113 w 6884782"/>
              <a:gd name="connsiteY59028" fmla="*/ 1268612 h 5973007"/>
              <a:gd name="connsiteX59029" fmla="*/ 4196259 w 6884782"/>
              <a:gd name="connsiteY59029" fmla="*/ 1269039 h 5973007"/>
              <a:gd name="connsiteX59030" fmla="*/ 4186228 w 6884782"/>
              <a:gd name="connsiteY59030" fmla="*/ 1277148 h 5973007"/>
              <a:gd name="connsiteX59031" fmla="*/ 4178972 w 6884782"/>
              <a:gd name="connsiteY59031" fmla="*/ 1275726 h 5973007"/>
              <a:gd name="connsiteX59032" fmla="*/ 4179399 w 6884782"/>
              <a:gd name="connsiteY59032" fmla="*/ 1271884 h 5973007"/>
              <a:gd name="connsiteX59033" fmla="*/ 4184307 w 6884782"/>
              <a:gd name="connsiteY59033" fmla="*/ 1268327 h 5973007"/>
              <a:gd name="connsiteX59034" fmla="*/ 4181960 w 6884782"/>
              <a:gd name="connsiteY59034" fmla="*/ 1267331 h 5973007"/>
              <a:gd name="connsiteX59035" fmla="*/ 4177905 w 6884782"/>
              <a:gd name="connsiteY59035" fmla="*/ 1262495 h 5973007"/>
              <a:gd name="connsiteX59036" fmla="*/ 4183027 w 6884782"/>
              <a:gd name="connsiteY59036" fmla="*/ 1256803 h 5973007"/>
              <a:gd name="connsiteX59037" fmla="*/ 1237733 w 6884782"/>
              <a:gd name="connsiteY59037" fmla="*/ 1256444 h 5973007"/>
              <a:gd name="connsiteX59038" fmla="*/ 1247335 w 6884782"/>
              <a:gd name="connsiteY59038" fmla="*/ 1256851 h 5973007"/>
              <a:gd name="connsiteX59039" fmla="*/ 1247026 w 6884782"/>
              <a:gd name="connsiteY59039" fmla="*/ 1265215 h 5973007"/>
              <a:gd name="connsiteX59040" fmla="*/ 1242895 w 6884782"/>
              <a:gd name="connsiteY59040" fmla="*/ 1268313 h 5973007"/>
              <a:gd name="connsiteX59041" fmla="*/ 1241140 w 6884782"/>
              <a:gd name="connsiteY59041" fmla="*/ 1268623 h 5973007"/>
              <a:gd name="connsiteX59042" fmla="*/ 1241243 w 6884782"/>
              <a:gd name="connsiteY59042" fmla="*/ 1268623 h 5973007"/>
              <a:gd name="connsiteX59043" fmla="*/ 1235564 w 6884782"/>
              <a:gd name="connsiteY59043" fmla="*/ 1277143 h 5973007"/>
              <a:gd name="connsiteX59044" fmla="*/ 1229575 w 6884782"/>
              <a:gd name="connsiteY59044" fmla="*/ 1272186 h 5973007"/>
              <a:gd name="connsiteX59045" fmla="*/ 1232260 w 6884782"/>
              <a:gd name="connsiteY59045" fmla="*/ 1266764 h 5973007"/>
              <a:gd name="connsiteX59046" fmla="*/ 1229369 w 6884782"/>
              <a:gd name="connsiteY59046" fmla="*/ 1261963 h 5973007"/>
              <a:gd name="connsiteX59047" fmla="*/ 1237733 w 6884782"/>
              <a:gd name="connsiteY59047" fmla="*/ 1256444 h 5973007"/>
              <a:gd name="connsiteX59048" fmla="*/ 4222723 w 6884782"/>
              <a:gd name="connsiteY59048" fmla="*/ 1256376 h 5973007"/>
              <a:gd name="connsiteX59049" fmla="*/ 4250040 w 6884782"/>
              <a:gd name="connsiteY59049" fmla="*/ 1268612 h 5973007"/>
              <a:gd name="connsiteX59050" fmla="*/ 4215253 w 6884782"/>
              <a:gd name="connsiteY59050" fmla="*/ 1261356 h 5973007"/>
              <a:gd name="connsiteX59051" fmla="*/ 4222723 w 6884782"/>
              <a:gd name="connsiteY59051" fmla="*/ 1256376 h 5973007"/>
              <a:gd name="connsiteX59052" fmla="*/ 3745730 w 6884782"/>
              <a:gd name="connsiteY59052" fmla="*/ 1255665 h 5973007"/>
              <a:gd name="connsiteX59053" fmla="*/ 3748505 w 6884782"/>
              <a:gd name="connsiteY59053" fmla="*/ 1265340 h 5973007"/>
              <a:gd name="connsiteX59054" fmla="*/ 3741461 w 6884782"/>
              <a:gd name="connsiteY59054" fmla="*/ 1261498 h 5973007"/>
              <a:gd name="connsiteX59055" fmla="*/ 3745730 w 6884782"/>
              <a:gd name="connsiteY59055" fmla="*/ 1255665 h 5973007"/>
              <a:gd name="connsiteX59056" fmla="*/ 3398710 w 6884782"/>
              <a:gd name="connsiteY59056" fmla="*/ 1255381 h 5973007"/>
              <a:gd name="connsiteX59057" fmla="*/ 3395722 w 6884782"/>
              <a:gd name="connsiteY59057" fmla="*/ 1263205 h 5973007"/>
              <a:gd name="connsiteX59058" fmla="*/ 3394014 w 6884782"/>
              <a:gd name="connsiteY59058" fmla="*/ 1265197 h 5973007"/>
              <a:gd name="connsiteX59059" fmla="*/ 3396148 w 6884782"/>
              <a:gd name="connsiteY59059" fmla="*/ 1266478 h 5973007"/>
              <a:gd name="connsiteX59060" fmla="*/ 3393160 w 6884782"/>
              <a:gd name="connsiteY59060" fmla="*/ 1278428 h 5973007"/>
              <a:gd name="connsiteX59061" fmla="*/ 3386971 w 6884782"/>
              <a:gd name="connsiteY59061" fmla="*/ 1277717 h 5973007"/>
              <a:gd name="connsiteX59062" fmla="*/ 3385264 w 6884782"/>
              <a:gd name="connsiteY59062" fmla="*/ 1276152 h 5973007"/>
              <a:gd name="connsiteX59063" fmla="*/ 3383557 w 6884782"/>
              <a:gd name="connsiteY59063" fmla="*/ 1277717 h 5973007"/>
              <a:gd name="connsiteX59064" fmla="*/ 3385051 w 6884782"/>
              <a:gd name="connsiteY59064" fmla="*/ 1286537 h 5973007"/>
              <a:gd name="connsiteX59065" fmla="*/ 3386544 w 6884782"/>
              <a:gd name="connsiteY59065" fmla="*/ 1294220 h 5973007"/>
              <a:gd name="connsiteX59066" fmla="*/ 3387825 w 6884782"/>
              <a:gd name="connsiteY59066" fmla="*/ 1305032 h 5973007"/>
              <a:gd name="connsiteX59067" fmla="*/ 3387398 w 6884782"/>
              <a:gd name="connsiteY59067" fmla="*/ 1306029 h 5973007"/>
              <a:gd name="connsiteX59068" fmla="*/ 3388465 w 6884782"/>
              <a:gd name="connsiteY59068" fmla="*/ 1306313 h 5973007"/>
              <a:gd name="connsiteX59069" fmla="*/ 3388679 w 6884782"/>
              <a:gd name="connsiteY59069" fmla="*/ 1308447 h 5973007"/>
              <a:gd name="connsiteX59070" fmla="*/ 3388892 w 6884782"/>
              <a:gd name="connsiteY59070" fmla="*/ 1316699 h 5973007"/>
              <a:gd name="connsiteX59071" fmla="*/ 3388252 w 6884782"/>
              <a:gd name="connsiteY59071" fmla="*/ 1323812 h 5973007"/>
              <a:gd name="connsiteX59072" fmla="*/ 3388039 w 6884782"/>
              <a:gd name="connsiteY59072" fmla="*/ 1327938 h 5973007"/>
              <a:gd name="connsiteX59073" fmla="*/ 3387398 w 6884782"/>
              <a:gd name="connsiteY59073" fmla="*/ 1329787 h 5973007"/>
              <a:gd name="connsiteX59074" fmla="*/ 3386331 w 6884782"/>
              <a:gd name="connsiteY59074" fmla="*/ 1332633 h 5973007"/>
              <a:gd name="connsiteX59075" fmla="*/ 3389105 w 6884782"/>
              <a:gd name="connsiteY59075" fmla="*/ 1333486 h 5973007"/>
              <a:gd name="connsiteX59076" fmla="*/ 3389746 w 6884782"/>
              <a:gd name="connsiteY59076" fmla="*/ 1331637 h 5973007"/>
              <a:gd name="connsiteX59077" fmla="*/ 3390386 w 6884782"/>
              <a:gd name="connsiteY59077" fmla="*/ 1329787 h 5973007"/>
              <a:gd name="connsiteX59078" fmla="*/ 3389746 w 6884782"/>
              <a:gd name="connsiteY59078" fmla="*/ 1328507 h 5973007"/>
              <a:gd name="connsiteX59079" fmla="*/ 3392093 w 6884782"/>
              <a:gd name="connsiteY59079" fmla="*/ 1330214 h 5973007"/>
              <a:gd name="connsiteX59080" fmla="*/ 3393374 w 6884782"/>
              <a:gd name="connsiteY59080" fmla="*/ 1335763 h 5973007"/>
              <a:gd name="connsiteX59081" fmla="*/ 3390172 w 6884782"/>
              <a:gd name="connsiteY59081" fmla="*/ 1345152 h 5973007"/>
              <a:gd name="connsiteX59082" fmla="*/ 3396788 w 6884782"/>
              <a:gd name="connsiteY59082" fmla="*/ 1372183 h 5973007"/>
              <a:gd name="connsiteX59083" fmla="*/ 3397215 w 6884782"/>
              <a:gd name="connsiteY59083" fmla="*/ 1385699 h 5973007"/>
              <a:gd name="connsiteX59084" fmla="*/ 3398069 w 6884782"/>
              <a:gd name="connsiteY59084" fmla="*/ 1389113 h 5973007"/>
              <a:gd name="connsiteX59085" fmla="*/ 3398923 w 6884782"/>
              <a:gd name="connsiteY59085" fmla="*/ 1392528 h 5973007"/>
              <a:gd name="connsiteX59086" fmla="*/ 3402551 w 6884782"/>
              <a:gd name="connsiteY59086" fmla="*/ 1391959 h 5973007"/>
              <a:gd name="connsiteX59087" fmla="*/ 3399990 w 6884782"/>
              <a:gd name="connsiteY59087" fmla="*/ 1397080 h 5973007"/>
              <a:gd name="connsiteX59088" fmla="*/ 3400630 w 6884782"/>
              <a:gd name="connsiteY59088" fmla="*/ 1399215 h 5973007"/>
              <a:gd name="connsiteX59089" fmla="*/ 3395295 w 6884782"/>
              <a:gd name="connsiteY59089" fmla="*/ 1415291 h 5973007"/>
              <a:gd name="connsiteX59090" fmla="*/ 3391880 w 6884782"/>
              <a:gd name="connsiteY59090" fmla="*/ 1427668 h 5973007"/>
              <a:gd name="connsiteX59091" fmla="*/ 3399776 w 6884782"/>
              <a:gd name="connsiteY59091" fmla="*/ 1431225 h 5973007"/>
              <a:gd name="connsiteX59092" fmla="*/ 3400843 w 6884782"/>
              <a:gd name="connsiteY59092" fmla="*/ 1449862 h 5973007"/>
              <a:gd name="connsiteX59093" fmla="*/ 3401271 w 6884782"/>
              <a:gd name="connsiteY59093" fmla="*/ 1457687 h 5973007"/>
              <a:gd name="connsiteX59094" fmla="*/ 3408527 w 6884782"/>
              <a:gd name="connsiteY59094" fmla="*/ 1467219 h 5973007"/>
              <a:gd name="connsiteX59095" fmla="*/ 3406819 w 6884782"/>
              <a:gd name="connsiteY59095" fmla="*/ 1469780 h 5973007"/>
              <a:gd name="connsiteX59096" fmla="*/ 3409594 w 6884782"/>
              <a:gd name="connsiteY59096" fmla="*/ 1469495 h 5973007"/>
              <a:gd name="connsiteX59097" fmla="*/ 3403618 w 6884782"/>
              <a:gd name="connsiteY59097" fmla="*/ 1474902 h 5973007"/>
              <a:gd name="connsiteX59098" fmla="*/ 3405966 w 6884782"/>
              <a:gd name="connsiteY59098" fmla="*/ 1479739 h 5973007"/>
              <a:gd name="connsiteX59099" fmla="*/ 3405112 w 6884782"/>
              <a:gd name="connsiteY59099" fmla="*/ 1485714 h 5973007"/>
              <a:gd name="connsiteX59100" fmla="*/ 3408953 w 6884782"/>
              <a:gd name="connsiteY59100" fmla="*/ 1497238 h 5973007"/>
              <a:gd name="connsiteX59101" fmla="*/ 3403191 w 6884782"/>
              <a:gd name="connsiteY59101" fmla="*/ 1499656 h 5973007"/>
              <a:gd name="connsiteX59102" fmla="*/ 3405966 w 6884782"/>
              <a:gd name="connsiteY59102" fmla="*/ 1506770 h 5973007"/>
              <a:gd name="connsiteX59103" fmla="*/ 3417490 w 6884782"/>
              <a:gd name="connsiteY59103" fmla="*/ 1508620 h 5973007"/>
              <a:gd name="connsiteX59104" fmla="*/ 3419838 w 6884782"/>
              <a:gd name="connsiteY59104" fmla="*/ 1509473 h 5973007"/>
              <a:gd name="connsiteX59105" fmla="*/ 3416423 w 6884782"/>
              <a:gd name="connsiteY59105" fmla="*/ 1504920 h 5973007"/>
              <a:gd name="connsiteX59106" fmla="*/ 3420692 w 6884782"/>
              <a:gd name="connsiteY59106" fmla="*/ 1502502 h 5973007"/>
              <a:gd name="connsiteX59107" fmla="*/ 3420905 w 6884782"/>
              <a:gd name="connsiteY59107" fmla="*/ 1502217 h 5973007"/>
              <a:gd name="connsiteX59108" fmla="*/ 3416637 w 6884782"/>
              <a:gd name="connsiteY59108" fmla="*/ 1498376 h 5973007"/>
              <a:gd name="connsiteX59109" fmla="*/ 3412368 w 6884782"/>
              <a:gd name="connsiteY59109" fmla="*/ 1469638 h 5973007"/>
              <a:gd name="connsiteX59110" fmla="*/ 3419624 w 6884782"/>
              <a:gd name="connsiteY59110" fmla="*/ 1462951 h 5973007"/>
              <a:gd name="connsiteX59111" fmla="*/ 3417704 w 6884782"/>
              <a:gd name="connsiteY59111" fmla="*/ 1460532 h 5973007"/>
              <a:gd name="connsiteX59112" fmla="*/ 3421759 w 6884782"/>
              <a:gd name="connsiteY59112" fmla="*/ 1448298 h 5973007"/>
              <a:gd name="connsiteX59113" fmla="*/ 3417490 w 6884782"/>
              <a:gd name="connsiteY59113" fmla="*/ 1455268 h 5973007"/>
              <a:gd name="connsiteX59114" fmla="*/ 3415356 w 6884782"/>
              <a:gd name="connsiteY59114" fmla="*/ 1443460 h 5973007"/>
              <a:gd name="connsiteX59115" fmla="*/ 3416850 w 6884782"/>
              <a:gd name="connsiteY59115" fmla="*/ 1439334 h 5973007"/>
              <a:gd name="connsiteX59116" fmla="*/ 3414076 w 6884782"/>
              <a:gd name="connsiteY59116" fmla="*/ 1439192 h 5973007"/>
              <a:gd name="connsiteX59117" fmla="*/ 3408527 w 6884782"/>
              <a:gd name="connsiteY59117" fmla="*/ 1429660 h 5973007"/>
              <a:gd name="connsiteX59118" fmla="*/ 3414929 w 6884782"/>
              <a:gd name="connsiteY59118" fmla="*/ 1421551 h 5973007"/>
              <a:gd name="connsiteX59119" fmla="*/ 3420265 w 6884782"/>
              <a:gd name="connsiteY59119" fmla="*/ 1426673 h 5973007"/>
              <a:gd name="connsiteX59120" fmla="*/ 3420692 w 6884782"/>
              <a:gd name="connsiteY59120" fmla="*/ 1427099 h 5973007"/>
              <a:gd name="connsiteX59121" fmla="*/ 3422612 w 6884782"/>
              <a:gd name="connsiteY59121" fmla="*/ 1420270 h 5973007"/>
              <a:gd name="connsiteX59122" fmla="*/ 3420692 w 6884782"/>
              <a:gd name="connsiteY59122" fmla="*/ 1410596 h 5973007"/>
              <a:gd name="connsiteX59123" fmla="*/ 3428801 w 6884782"/>
              <a:gd name="connsiteY59123" fmla="*/ 1410027 h 5973007"/>
              <a:gd name="connsiteX59124" fmla="*/ 3425173 w 6884782"/>
              <a:gd name="connsiteY59124" fmla="*/ 1398219 h 5973007"/>
              <a:gd name="connsiteX59125" fmla="*/ 3422185 w 6884782"/>
              <a:gd name="connsiteY59125" fmla="*/ 1400352 h 5973007"/>
              <a:gd name="connsiteX59126" fmla="*/ 3420478 w 6884782"/>
              <a:gd name="connsiteY59126" fmla="*/ 1400068 h 5973007"/>
              <a:gd name="connsiteX59127" fmla="*/ 3418557 w 6884782"/>
              <a:gd name="connsiteY59127" fmla="*/ 1411023 h 5973007"/>
              <a:gd name="connsiteX59128" fmla="*/ 3416209 w 6884782"/>
              <a:gd name="connsiteY59128" fmla="*/ 1402914 h 5973007"/>
              <a:gd name="connsiteX59129" fmla="*/ 3416423 w 6884782"/>
              <a:gd name="connsiteY59129" fmla="*/ 1399642 h 5973007"/>
              <a:gd name="connsiteX59130" fmla="*/ 3415143 w 6884782"/>
              <a:gd name="connsiteY59130" fmla="*/ 1399357 h 5973007"/>
              <a:gd name="connsiteX59131" fmla="*/ 3407246 w 6884782"/>
              <a:gd name="connsiteY59131" fmla="*/ 1394377 h 5973007"/>
              <a:gd name="connsiteX59132" fmla="*/ 3406606 w 6884782"/>
              <a:gd name="connsiteY59132" fmla="*/ 1394377 h 5973007"/>
              <a:gd name="connsiteX59133" fmla="*/ 3406606 w 6884782"/>
              <a:gd name="connsiteY59133" fmla="*/ 1393950 h 5973007"/>
              <a:gd name="connsiteX59134" fmla="*/ 3400630 w 6884782"/>
              <a:gd name="connsiteY59134" fmla="*/ 1390109 h 5973007"/>
              <a:gd name="connsiteX59135" fmla="*/ 3406606 w 6884782"/>
              <a:gd name="connsiteY59135" fmla="*/ 1385841 h 5973007"/>
              <a:gd name="connsiteX59136" fmla="*/ 3405538 w 6884782"/>
              <a:gd name="connsiteY59136" fmla="*/ 1379866 h 5973007"/>
              <a:gd name="connsiteX59137" fmla="*/ 3406179 w 6884782"/>
              <a:gd name="connsiteY59137" fmla="*/ 1379866 h 5973007"/>
              <a:gd name="connsiteX59138" fmla="*/ 3404472 w 6884782"/>
              <a:gd name="connsiteY59138" fmla="*/ 1377590 h 5973007"/>
              <a:gd name="connsiteX59139" fmla="*/ 3398069 w 6884782"/>
              <a:gd name="connsiteY59139" fmla="*/ 1360660 h 5973007"/>
              <a:gd name="connsiteX59140" fmla="*/ 3412155 w 6884782"/>
              <a:gd name="connsiteY59140" fmla="*/ 1372183 h 5973007"/>
              <a:gd name="connsiteX59141" fmla="*/ 3415783 w 6884782"/>
              <a:gd name="connsiteY59141" fmla="*/ 1376594 h 5973007"/>
              <a:gd name="connsiteX59142" fmla="*/ 3414716 w 6884782"/>
              <a:gd name="connsiteY59142" fmla="*/ 1372468 h 5973007"/>
              <a:gd name="connsiteX59143" fmla="*/ 3418557 w 6884782"/>
              <a:gd name="connsiteY59143" fmla="*/ 1379012 h 5973007"/>
              <a:gd name="connsiteX59144" fmla="*/ 3419198 w 6884782"/>
              <a:gd name="connsiteY59144" fmla="*/ 1378728 h 5973007"/>
              <a:gd name="connsiteX59145" fmla="*/ 3419411 w 6884782"/>
              <a:gd name="connsiteY59145" fmla="*/ 1370761 h 5973007"/>
              <a:gd name="connsiteX59146" fmla="*/ 3420692 w 6884782"/>
              <a:gd name="connsiteY59146" fmla="*/ 1361940 h 5973007"/>
              <a:gd name="connsiteX59147" fmla="*/ 3424960 w 6884782"/>
              <a:gd name="connsiteY59147" fmla="*/ 1356534 h 5973007"/>
              <a:gd name="connsiteX59148" fmla="*/ 3424960 w 6884782"/>
              <a:gd name="connsiteY59148" fmla="*/ 1353262 h 5973007"/>
              <a:gd name="connsiteX59149" fmla="*/ 3424747 w 6884782"/>
              <a:gd name="connsiteY59149" fmla="*/ 1350843 h 5973007"/>
              <a:gd name="connsiteX59150" fmla="*/ 3419838 w 6884782"/>
              <a:gd name="connsiteY59150" fmla="*/ 1343018 h 5973007"/>
              <a:gd name="connsiteX59151" fmla="*/ 3421118 w 6884782"/>
              <a:gd name="connsiteY59151" fmla="*/ 1359806 h 5973007"/>
              <a:gd name="connsiteX59152" fmla="*/ 3410234 w 6884782"/>
              <a:gd name="connsiteY59152" fmla="*/ 1350416 h 5973007"/>
              <a:gd name="connsiteX59153" fmla="*/ 3416637 w 6884782"/>
              <a:gd name="connsiteY59153" fmla="*/ 1337755 h 5973007"/>
              <a:gd name="connsiteX59154" fmla="*/ 3418557 w 6884782"/>
              <a:gd name="connsiteY59154" fmla="*/ 1329076 h 5973007"/>
              <a:gd name="connsiteX59155" fmla="*/ 3418344 w 6884782"/>
              <a:gd name="connsiteY59155" fmla="*/ 1326942 h 5973007"/>
              <a:gd name="connsiteX59156" fmla="*/ 3418557 w 6884782"/>
              <a:gd name="connsiteY59156" fmla="*/ 1325946 h 5973007"/>
              <a:gd name="connsiteX59157" fmla="*/ 3418984 w 6884782"/>
              <a:gd name="connsiteY59157" fmla="*/ 1324950 h 5973007"/>
              <a:gd name="connsiteX59158" fmla="*/ 3418771 w 6884782"/>
              <a:gd name="connsiteY59158" fmla="*/ 1322816 h 5973007"/>
              <a:gd name="connsiteX59159" fmla="*/ 3411728 w 6884782"/>
              <a:gd name="connsiteY59159" fmla="*/ 1322816 h 5973007"/>
              <a:gd name="connsiteX59160" fmla="*/ 3417064 w 6884782"/>
              <a:gd name="connsiteY59160" fmla="*/ 1319260 h 5973007"/>
              <a:gd name="connsiteX59161" fmla="*/ 3409807 w 6884782"/>
              <a:gd name="connsiteY59161" fmla="*/ 1307736 h 5973007"/>
              <a:gd name="connsiteX59162" fmla="*/ 3408953 w 6884782"/>
              <a:gd name="connsiteY59162" fmla="*/ 1304321 h 5973007"/>
              <a:gd name="connsiteX59163" fmla="*/ 3408740 w 6884782"/>
              <a:gd name="connsiteY59163" fmla="*/ 1302187 h 5973007"/>
              <a:gd name="connsiteX59164" fmla="*/ 3407886 w 6884782"/>
              <a:gd name="connsiteY59164" fmla="*/ 1301902 h 5973007"/>
              <a:gd name="connsiteX59165" fmla="*/ 3408100 w 6884782"/>
              <a:gd name="connsiteY59165" fmla="*/ 1300907 h 5973007"/>
              <a:gd name="connsiteX59166" fmla="*/ 3406819 w 6884782"/>
              <a:gd name="connsiteY59166" fmla="*/ 1290094 h 5973007"/>
              <a:gd name="connsiteX59167" fmla="*/ 3406393 w 6884782"/>
              <a:gd name="connsiteY59167" fmla="*/ 1287960 h 5973007"/>
              <a:gd name="connsiteX59168" fmla="*/ 3403831 w 6884782"/>
              <a:gd name="connsiteY59168" fmla="*/ 1285257 h 5973007"/>
              <a:gd name="connsiteX59169" fmla="*/ 3402551 w 6884782"/>
              <a:gd name="connsiteY59169" fmla="*/ 1281558 h 5973007"/>
              <a:gd name="connsiteX59170" fmla="*/ 3402978 w 6884782"/>
              <a:gd name="connsiteY59170" fmla="*/ 1279282 h 5973007"/>
              <a:gd name="connsiteX59171" fmla="*/ 3401697 w 6884782"/>
              <a:gd name="connsiteY59171" fmla="*/ 1281843 h 5973007"/>
              <a:gd name="connsiteX59172" fmla="*/ 3395508 w 6884782"/>
              <a:gd name="connsiteY59172" fmla="*/ 1288387 h 5973007"/>
              <a:gd name="connsiteX59173" fmla="*/ 3395722 w 6884782"/>
              <a:gd name="connsiteY59173" fmla="*/ 1284546 h 5973007"/>
              <a:gd name="connsiteX59174" fmla="*/ 3396362 w 6884782"/>
              <a:gd name="connsiteY59174" fmla="*/ 1282981 h 5973007"/>
              <a:gd name="connsiteX59175" fmla="*/ 3395935 w 6884782"/>
              <a:gd name="connsiteY59175" fmla="*/ 1281843 h 5973007"/>
              <a:gd name="connsiteX59176" fmla="*/ 3397002 w 6884782"/>
              <a:gd name="connsiteY59176" fmla="*/ 1281416 h 5973007"/>
              <a:gd name="connsiteX59177" fmla="*/ 3398496 w 6884782"/>
              <a:gd name="connsiteY59177" fmla="*/ 1278286 h 5973007"/>
              <a:gd name="connsiteX59178" fmla="*/ 3399776 w 6884782"/>
              <a:gd name="connsiteY59178" fmla="*/ 1270177 h 5973007"/>
              <a:gd name="connsiteX59179" fmla="*/ 3400203 w 6884782"/>
              <a:gd name="connsiteY59179" fmla="*/ 1269607 h 5973007"/>
              <a:gd name="connsiteX59180" fmla="*/ 3397856 w 6884782"/>
              <a:gd name="connsiteY59180" fmla="*/ 1266051 h 5973007"/>
              <a:gd name="connsiteX59181" fmla="*/ 1293388 w 6884782"/>
              <a:gd name="connsiteY59181" fmla="*/ 1255302 h 5973007"/>
              <a:gd name="connsiteX59182" fmla="*/ 1294214 w 6884782"/>
              <a:gd name="connsiteY59182" fmla="*/ 1255767 h 5973007"/>
              <a:gd name="connsiteX59183" fmla="*/ 1296589 w 6884782"/>
              <a:gd name="connsiteY59183" fmla="*/ 1255767 h 5973007"/>
              <a:gd name="connsiteX59184" fmla="*/ 1297931 w 6884782"/>
              <a:gd name="connsiteY59184" fmla="*/ 1259019 h 5973007"/>
              <a:gd name="connsiteX59185" fmla="*/ 1294524 w 6884782"/>
              <a:gd name="connsiteY59185" fmla="*/ 1263356 h 5973007"/>
              <a:gd name="connsiteX59186" fmla="*/ 1290600 w 6884782"/>
              <a:gd name="connsiteY59186" fmla="*/ 1263667 h 5973007"/>
              <a:gd name="connsiteX59187" fmla="*/ 1291735 w 6884782"/>
              <a:gd name="connsiteY59187" fmla="*/ 1265060 h 5973007"/>
              <a:gd name="connsiteX59188" fmla="*/ 1288225 w 6884782"/>
              <a:gd name="connsiteY59188" fmla="*/ 1269088 h 5973007"/>
              <a:gd name="connsiteX59189" fmla="*/ 1287089 w 6884782"/>
              <a:gd name="connsiteY59189" fmla="*/ 1265525 h 5973007"/>
              <a:gd name="connsiteX59190" fmla="*/ 1288638 w 6884782"/>
              <a:gd name="connsiteY59190" fmla="*/ 1263822 h 5973007"/>
              <a:gd name="connsiteX59191" fmla="*/ 1287915 w 6884782"/>
              <a:gd name="connsiteY59191" fmla="*/ 1263822 h 5973007"/>
              <a:gd name="connsiteX59192" fmla="*/ 1286366 w 6884782"/>
              <a:gd name="connsiteY59192" fmla="*/ 1259019 h 5973007"/>
              <a:gd name="connsiteX59193" fmla="*/ 1284095 w 6884782"/>
              <a:gd name="connsiteY59193" fmla="*/ 1257625 h 5973007"/>
              <a:gd name="connsiteX59194" fmla="*/ 1293388 w 6884782"/>
              <a:gd name="connsiteY59194" fmla="*/ 1255302 h 5973007"/>
              <a:gd name="connsiteX59195" fmla="*/ 1330250 w 6884782"/>
              <a:gd name="connsiteY59195" fmla="*/ 1254992 h 5973007"/>
              <a:gd name="connsiteX59196" fmla="*/ 1331489 w 6884782"/>
              <a:gd name="connsiteY59196" fmla="*/ 1260259 h 5973007"/>
              <a:gd name="connsiteX59197" fmla="*/ 1329837 w 6884782"/>
              <a:gd name="connsiteY59197" fmla="*/ 1262272 h 5973007"/>
              <a:gd name="connsiteX59198" fmla="*/ 1328392 w 6884782"/>
              <a:gd name="connsiteY59198" fmla="*/ 1260259 h 5973007"/>
              <a:gd name="connsiteX59199" fmla="*/ 1329424 w 6884782"/>
              <a:gd name="connsiteY59199" fmla="*/ 1258555 h 5973007"/>
              <a:gd name="connsiteX59200" fmla="*/ 1328701 w 6884782"/>
              <a:gd name="connsiteY59200" fmla="*/ 1256077 h 5973007"/>
              <a:gd name="connsiteX59201" fmla="*/ 1330250 w 6884782"/>
              <a:gd name="connsiteY59201" fmla="*/ 1254992 h 5973007"/>
              <a:gd name="connsiteX59202" fmla="*/ 1494118 w 6884782"/>
              <a:gd name="connsiteY59202" fmla="*/ 1254682 h 5973007"/>
              <a:gd name="connsiteX59203" fmla="*/ 1496183 w 6884782"/>
              <a:gd name="connsiteY59203" fmla="*/ 1254837 h 5973007"/>
              <a:gd name="connsiteX59204" fmla="*/ 1494324 w 6884782"/>
              <a:gd name="connsiteY59204" fmla="*/ 1255302 h 5973007"/>
              <a:gd name="connsiteX59205" fmla="*/ 1494118 w 6884782"/>
              <a:gd name="connsiteY59205" fmla="*/ 1254682 h 5973007"/>
              <a:gd name="connsiteX59206" fmla="*/ 5015150 w 6884782"/>
              <a:gd name="connsiteY59206" fmla="*/ 1254669 h 5973007"/>
              <a:gd name="connsiteX59207" fmla="*/ 5009175 w 6884782"/>
              <a:gd name="connsiteY59207" fmla="*/ 1264770 h 5973007"/>
              <a:gd name="connsiteX59208" fmla="*/ 5015150 w 6884782"/>
              <a:gd name="connsiteY59208" fmla="*/ 1254669 h 5973007"/>
              <a:gd name="connsiteX59209" fmla="*/ 1573832 w 6884782"/>
              <a:gd name="connsiteY59209" fmla="*/ 1254528 h 5973007"/>
              <a:gd name="connsiteX59210" fmla="*/ 1581472 w 6884782"/>
              <a:gd name="connsiteY59210" fmla="*/ 1259794 h 5973007"/>
              <a:gd name="connsiteX59211" fmla="*/ 1582918 w 6884782"/>
              <a:gd name="connsiteY59211" fmla="*/ 1263356 h 5973007"/>
              <a:gd name="connsiteX59212" fmla="*/ 1583228 w 6884782"/>
              <a:gd name="connsiteY59212" fmla="*/ 1261808 h 5973007"/>
              <a:gd name="connsiteX59213" fmla="*/ 1584467 w 6884782"/>
              <a:gd name="connsiteY59213" fmla="*/ 1259639 h 5973007"/>
              <a:gd name="connsiteX59214" fmla="*/ 1583744 w 6884782"/>
              <a:gd name="connsiteY59214" fmla="*/ 1261963 h 5973007"/>
              <a:gd name="connsiteX59215" fmla="*/ 1584467 w 6884782"/>
              <a:gd name="connsiteY59215" fmla="*/ 1263512 h 5973007"/>
              <a:gd name="connsiteX59216" fmla="*/ 1583951 w 6884782"/>
              <a:gd name="connsiteY59216" fmla="*/ 1264596 h 5973007"/>
              <a:gd name="connsiteX59217" fmla="*/ 1583434 w 6884782"/>
              <a:gd name="connsiteY59217" fmla="*/ 1264906 h 5973007"/>
              <a:gd name="connsiteX59218" fmla="*/ 1583434 w 6884782"/>
              <a:gd name="connsiteY59218" fmla="*/ 1270017 h 5973007"/>
              <a:gd name="connsiteX59219" fmla="*/ 1582092 w 6884782"/>
              <a:gd name="connsiteY59219" fmla="*/ 1275129 h 5973007"/>
              <a:gd name="connsiteX59220" fmla="*/ 1582092 w 6884782"/>
              <a:gd name="connsiteY59220" fmla="*/ 1275284 h 5973007"/>
              <a:gd name="connsiteX59221" fmla="*/ 1581576 w 6884782"/>
              <a:gd name="connsiteY59221" fmla="*/ 1277297 h 5973007"/>
              <a:gd name="connsiteX59222" fmla="*/ 1578271 w 6884782"/>
              <a:gd name="connsiteY59222" fmla="*/ 1282719 h 5973007"/>
              <a:gd name="connsiteX59223" fmla="*/ 1578581 w 6884782"/>
              <a:gd name="connsiteY59223" fmla="*/ 1282409 h 5973007"/>
              <a:gd name="connsiteX59224" fmla="*/ 1584570 w 6884782"/>
              <a:gd name="connsiteY59224" fmla="*/ 1284423 h 5973007"/>
              <a:gd name="connsiteX59225" fmla="*/ 1585087 w 6884782"/>
              <a:gd name="connsiteY59225" fmla="*/ 1286281 h 5973007"/>
              <a:gd name="connsiteX59226" fmla="*/ 1587358 w 6884782"/>
              <a:gd name="connsiteY59226" fmla="*/ 1285042 h 5973007"/>
              <a:gd name="connsiteX59227" fmla="*/ 1588081 w 6884782"/>
              <a:gd name="connsiteY59227" fmla="*/ 1277762 h 5973007"/>
              <a:gd name="connsiteX59228" fmla="*/ 1589217 w 6884782"/>
              <a:gd name="connsiteY59228" fmla="*/ 1276058 h 5973007"/>
              <a:gd name="connsiteX59229" fmla="*/ 1589113 w 6884782"/>
              <a:gd name="connsiteY59229" fmla="*/ 1274354 h 5973007"/>
              <a:gd name="connsiteX59230" fmla="*/ 1590146 w 6884782"/>
              <a:gd name="connsiteY59230" fmla="*/ 1274974 h 5973007"/>
              <a:gd name="connsiteX59231" fmla="*/ 1590249 w 6884782"/>
              <a:gd name="connsiteY59231" fmla="*/ 1274664 h 5973007"/>
              <a:gd name="connsiteX59232" fmla="*/ 1590456 w 6884782"/>
              <a:gd name="connsiteY59232" fmla="*/ 1274974 h 5973007"/>
              <a:gd name="connsiteX59233" fmla="*/ 1590972 w 6884782"/>
              <a:gd name="connsiteY59233" fmla="*/ 1274664 h 5973007"/>
              <a:gd name="connsiteX59234" fmla="*/ 1593037 w 6884782"/>
              <a:gd name="connsiteY59234" fmla="*/ 1274509 h 5973007"/>
              <a:gd name="connsiteX59235" fmla="*/ 1594276 w 6884782"/>
              <a:gd name="connsiteY59235" fmla="*/ 1276058 h 5973007"/>
              <a:gd name="connsiteX59236" fmla="*/ 1594379 w 6884782"/>
              <a:gd name="connsiteY59236" fmla="*/ 1276833 h 5973007"/>
              <a:gd name="connsiteX59237" fmla="*/ 1595205 w 6884782"/>
              <a:gd name="connsiteY59237" fmla="*/ 1276368 h 5973007"/>
              <a:gd name="connsiteX59238" fmla="*/ 1596754 w 6884782"/>
              <a:gd name="connsiteY59238" fmla="*/ 1276678 h 5973007"/>
              <a:gd name="connsiteX59239" fmla="*/ 1599336 w 6884782"/>
              <a:gd name="connsiteY59239" fmla="*/ 1287521 h 5973007"/>
              <a:gd name="connsiteX59240" fmla="*/ 1591798 w 6884782"/>
              <a:gd name="connsiteY59240" fmla="*/ 1286126 h 5973007"/>
              <a:gd name="connsiteX59241" fmla="*/ 1590146 w 6884782"/>
              <a:gd name="connsiteY59241" fmla="*/ 1284423 h 5973007"/>
              <a:gd name="connsiteX59242" fmla="*/ 1589939 w 6884782"/>
              <a:gd name="connsiteY59242" fmla="*/ 1284732 h 5973007"/>
              <a:gd name="connsiteX59243" fmla="*/ 1587977 w 6884782"/>
              <a:gd name="connsiteY59243" fmla="*/ 1285042 h 5973007"/>
              <a:gd name="connsiteX59244" fmla="*/ 1589423 w 6884782"/>
              <a:gd name="connsiteY59244" fmla="*/ 1285042 h 5973007"/>
              <a:gd name="connsiteX59245" fmla="*/ 1590766 w 6884782"/>
              <a:gd name="connsiteY59245" fmla="*/ 1286281 h 5973007"/>
              <a:gd name="connsiteX59246" fmla="*/ 1590662 w 6884782"/>
              <a:gd name="connsiteY59246" fmla="*/ 1288140 h 5973007"/>
              <a:gd name="connsiteX59247" fmla="*/ 1588907 w 6884782"/>
              <a:gd name="connsiteY59247" fmla="*/ 1290773 h 5973007"/>
              <a:gd name="connsiteX59248" fmla="*/ 1586532 w 6884782"/>
              <a:gd name="connsiteY59248" fmla="*/ 1291238 h 5973007"/>
              <a:gd name="connsiteX59249" fmla="*/ 1585809 w 6884782"/>
              <a:gd name="connsiteY59249" fmla="*/ 1290464 h 5973007"/>
              <a:gd name="connsiteX59250" fmla="*/ 1584983 w 6884782"/>
              <a:gd name="connsiteY59250" fmla="*/ 1291238 h 5973007"/>
              <a:gd name="connsiteX59251" fmla="*/ 1581369 w 6884782"/>
              <a:gd name="connsiteY59251" fmla="*/ 1292477 h 5973007"/>
              <a:gd name="connsiteX59252" fmla="*/ 1584776 w 6884782"/>
              <a:gd name="connsiteY59252" fmla="*/ 1289689 h 5973007"/>
              <a:gd name="connsiteX59253" fmla="*/ 1580440 w 6884782"/>
              <a:gd name="connsiteY59253" fmla="*/ 1290773 h 5973007"/>
              <a:gd name="connsiteX59254" fmla="*/ 1575380 w 6884782"/>
              <a:gd name="connsiteY59254" fmla="*/ 1289379 h 5973007"/>
              <a:gd name="connsiteX59255" fmla="*/ 1576000 w 6884782"/>
              <a:gd name="connsiteY59255" fmla="*/ 1285352 h 5973007"/>
              <a:gd name="connsiteX59256" fmla="*/ 1575690 w 6884782"/>
              <a:gd name="connsiteY59256" fmla="*/ 1285662 h 5973007"/>
              <a:gd name="connsiteX59257" fmla="*/ 1566603 w 6884782"/>
              <a:gd name="connsiteY59257" fmla="*/ 1270792 h 5973007"/>
              <a:gd name="connsiteX59258" fmla="*/ 1566913 w 6884782"/>
              <a:gd name="connsiteY59258" fmla="*/ 1268468 h 5973007"/>
              <a:gd name="connsiteX59259" fmla="*/ 1565984 w 6884782"/>
              <a:gd name="connsiteY59259" fmla="*/ 1268003 h 5973007"/>
              <a:gd name="connsiteX59260" fmla="*/ 1564332 w 6884782"/>
              <a:gd name="connsiteY59260" fmla="*/ 1266610 h 5973007"/>
              <a:gd name="connsiteX59261" fmla="*/ 1562783 w 6884782"/>
              <a:gd name="connsiteY59261" fmla="*/ 1265060 h 5973007"/>
              <a:gd name="connsiteX59262" fmla="*/ 1561028 w 6884782"/>
              <a:gd name="connsiteY59262" fmla="*/ 1264286 h 5973007"/>
              <a:gd name="connsiteX59263" fmla="*/ 1559479 w 6884782"/>
              <a:gd name="connsiteY59263" fmla="*/ 1261033 h 5973007"/>
              <a:gd name="connsiteX59264" fmla="*/ 1561131 w 6884782"/>
              <a:gd name="connsiteY59264" fmla="*/ 1261808 h 5973007"/>
              <a:gd name="connsiteX59265" fmla="*/ 1562783 w 6884782"/>
              <a:gd name="connsiteY59265" fmla="*/ 1263356 h 5973007"/>
              <a:gd name="connsiteX59266" fmla="*/ 1564435 w 6884782"/>
              <a:gd name="connsiteY59266" fmla="*/ 1263356 h 5973007"/>
              <a:gd name="connsiteX59267" fmla="*/ 1567327 w 6884782"/>
              <a:gd name="connsiteY59267" fmla="*/ 1265370 h 5973007"/>
              <a:gd name="connsiteX59268" fmla="*/ 1567430 w 6884782"/>
              <a:gd name="connsiteY59268" fmla="*/ 1264596 h 5973007"/>
              <a:gd name="connsiteX59269" fmla="*/ 1571147 w 6884782"/>
              <a:gd name="connsiteY59269" fmla="*/ 1255147 h 5973007"/>
              <a:gd name="connsiteX59270" fmla="*/ 1573832 w 6884782"/>
              <a:gd name="connsiteY59270" fmla="*/ 1254528 h 5973007"/>
              <a:gd name="connsiteX59271" fmla="*/ 5633214 w 6884782"/>
              <a:gd name="connsiteY59271" fmla="*/ 1254101 h 5973007"/>
              <a:gd name="connsiteX59272" fmla="*/ 5640044 w 6884782"/>
              <a:gd name="connsiteY59272" fmla="*/ 1257230 h 5973007"/>
              <a:gd name="connsiteX59273" fmla="*/ 5643672 w 6884782"/>
              <a:gd name="connsiteY59273" fmla="*/ 1261214 h 5973007"/>
              <a:gd name="connsiteX59274" fmla="*/ 5640257 w 6884782"/>
              <a:gd name="connsiteY59274" fmla="*/ 1278713 h 5973007"/>
              <a:gd name="connsiteX59275" fmla="*/ 5637696 w 6884782"/>
              <a:gd name="connsiteY59275" fmla="*/ 1281132 h 5973007"/>
              <a:gd name="connsiteX59276" fmla="*/ 5634921 w 6884782"/>
              <a:gd name="connsiteY59276" fmla="*/ 1285826 h 5973007"/>
              <a:gd name="connsiteX59277" fmla="*/ 5621690 w 6884782"/>
              <a:gd name="connsiteY59277" fmla="*/ 1279567 h 5973007"/>
              <a:gd name="connsiteX59278" fmla="*/ 5620195 w 6884782"/>
              <a:gd name="connsiteY59278" fmla="*/ 1259222 h 5973007"/>
              <a:gd name="connsiteX59279" fmla="*/ 5633214 w 6884782"/>
              <a:gd name="connsiteY59279" fmla="*/ 1254101 h 5973007"/>
              <a:gd name="connsiteX59280" fmla="*/ 1488645 w 6884782"/>
              <a:gd name="connsiteY59280" fmla="*/ 1254063 h 5973007"/>
              <a:gd name="connsiteX59281" fmla="*/ 1493808 w 6884782"/>
              <a:gd name="connsiteY59281" fmla="*/ 1255457 h 5973007"/>
              <a:gd name="connsiteX59282" fmla="*/ 1490400 w 6884782"/>
              <a:gd name="connsiteY59282" fmla="*/ 1256386 h 5973007"/>
              <a:gd name="connsiteX59283" fmla="*/ 1488645 w 6884782"/>
              <a:gd name="connsiteY59283" fmla="*/ 1254063 h 5973007"/>
              <a:gd name="connsiteX59284" fmla="*/ 1273459 w 6884782"/>
              <a:gd name="connsiteY59284" fmla="*/ 1254063 h 5973007"/>
              <a:gd name="connsiteX59285" fmla="*/ 1278932 w 6884782"/>
              <a:gd name="connsiteY59285" fmla="*/ 1262582 h 5973007"/>
              <a:gd name="connsiteX59286" fmla="*/ 1276350 w 6884782"/>
              <a:gd name="connsiteY59286" fmla="*/ 1262427 h 5973007"/>
              <a:gd name="connsiteX59287" fmla="*/ 1272427 w 6884782"/>
              <a:gd name="connsiteY59287" fmla="*/ 1256077 h 5973007"/>
              <a:gd name="connsiteX59288" fmla="*/ 1273459 w 6884782"/>
              <a:gd name="connsiteY59288" fmla="*/ 1254063 h 5973007"/>
              <a:gd name="connsiteX59289" fmla="*/ 5739497 w 6884782"/>
              <a:gd name="connsiteY59289" fmla="*/ 1253958 h 5973007"/>
              <a:gd name="connsiteX59290" fmla="*/ 5747394 w 6884782"/>
              <a:gd name="connsiteY59290" fmla="*/ 1255523 h 5973007"/>
              <a:gd name="connsiteX59291" fmla="*/ 5724772 w 6884782"/>
              <a:gd name="connsiteY59291" fmla="*/ 1274445 h 5973007"/>
              <a:gd name="connsiteX59292" fmla="*/ 5722424 w 6884782"/>
              <a:gd name="connsiteY59292" fmla="*/ 1269039 h 5973007"/>
              <a:gd name="connsiteX59293" fmla="*/ 5739497 w 6884782"/>
              <a:gd name="connsiteY59293" fmla="*/ 1253958 h 5973007"/>
              <a:gd name="connsiteX59294" fmla="*/ 3552799 w 6884782"/>
              <a:gd name="connsiteY59294" fmla="*/ 1253958 h 5973007"/>
              <a:gd name="connsiteX59295" fmla="*/ 3561122 w 6884782"/>
              <a:gd name="connsiteY59295" fmla="*/ 1263348 h 5973007"/>
              <a:gd name="connsiteX59296" fmla="*/ 3566884 w 6884782"/>
              <a:gd name="connsiteY59296" fmla="*/ 1270034 h 5973007"/>
              <a:gd name="connsiteX59297" fmla="*/ 3566884 w 6884782"/>
              <a:gd name="connsiteY59297" fmla="*/ 1269750 h 5973007"/>
              <a:gd name="connsiteX59298" fmla="*/ 3570299 w 6884782"/>
              <a:gd name="connsiteY59298" fmla="*/ 1268185 h 5973007"/>
              <a:gd name="connsiteX59299" fmla="*/ 3570939 w 6884782"/>
              <a:gd name="connsiteY59299" fmla="*/ 1271173 h 5973007"/>
              <a:gd name="connsiteX59300" fmla="*/ 3569232 w 6884782"/>
              <a:gd name="connsiteY59300" fmla="*/ 1272738 h 5973007"/>
              <a:gd name="connsiteX59301" fmla="*/ 3569659 w 6884782"/>
              <a:gd name="connsiteY59301" fmla="*/ 1273164 h 5973007"/>
              <a:gd name="connsiteX59302" fmla="*/ 3563043 w 6884782"/>
              <a:gd name="connsiteY59302" fmla="*/ 1290236 h 5973007"/>
              <a:gd name="connsiteX59303" fmla="*/ 3561335 w 6884782"/>
              <a:gd name="connsiteY59303" fmla="*/ 1283550 h 5973007"/>
              <a:gd name="connsiteX59304" fmla="*/ 3559841 w 6884782"/>
              <a:gd name="connsiteY59304" fmla="*/ 1284830 h 5973007"/>
              <a:gd name="connsiteX59305" fmla="*/ 3556853 w 6884782"/>
              <a:gd name="connsiteY59305" fmla="*/ 1282981 h 5973007"/>
              <a:gd name="connsiteX59306" fmla="*/ 3558774 w 6884782"/>
              <a:gd name="connsiteY59306" fmla="*/ 1280420 h 5973007"/>
              <a:gd name="connsiteX59307" fmla="*/ 3560055 w 6884782"/>
              <a:gd name="connsiteY59307" fmla="*/ 1279282 h 5973007"/>
              <a:gd name="connsiteX59308" fmla="*/ 3556000 w 6884782"/>
              <a:gd name="connsiteY59308" fmla="*/ 1270746 h 5973007"/>
              <a:gd name="connsiteX59309" fmla="*/ 3552799 w 6884782"/>
              <a:gd name="connsiteY59309" fmla="*/ 1253958 h 5973007"/>
              <a:gd name="connsiteX59310" fmla="*/ 3611916 w 6884782"/>
              <a:gd name="connsiteY59310" fmla="*/ 1253673 h 5973007"/>
              <a:gd name="connsiteX59311" fmla="*/ 3619172 w 6884782"/>
              <a:gd name="connsiteY59311" fmla="*/ 1253816 h 5973007"/>
              <a:gd name="connsiteX59312" fmla="*/ 3621946 w 6884782"/>
              <a:gd name="connsiteY59312" fmla="*/ 1259506 h 5973007"/>
              <a:gd name="connsiteX59313" fmla="*/ 3620453 w 6884782"/>
              <a:gd name="connsiteY59313" fmla="*/ 1266478 h 5973007"/>
              <a:gd name="connsiteX59314" fmla="*/ 3611916 w 6884782"/>
              <a:gd name="connsiteY59314" fmla="*/ 1253673 h 5973007"/>
              <a:gd name="connsiteX59315" fmla="*/ 1498248 w 6884782"/>
              <a:gd name="connsiteY59315" fmla="*/ 1253598 h 5973007"/>
              <a:gd name="connsiteX59316" fmla="*/ 1500313 w 6884782"/>
              <a:gd name="connsiteY59316" fmla="*/ 1253753 h 5973007"/>
              <a:gd name="connsiteX59317" fmla="*/ 1499694 w 6884782"/>
              <a:gd name="connsiteY59317" fmla="*/ 1254837 h 5973007"/>
              <a:gd name="connsiteX59318" fmla="*/ 1498248 w 6884782"/>
              <a:gd name="connsiteY59318" fmla="*/ 1253598 h 5973007"/>
              <a:gd name="connsiteX59319" fmla="*/ 1514356 w 6884782"/>
              <a:gd name="connsiteY59319" fmla="*/ 1252979 h 5973007"/>
              <a:gd name="connsiteX59320" fmla="*/ 1500313 w 6884782"/>
              <a:gd name="connsiteY59320" fmla="*/ 1254063 h 5973007"/>
              <a:gd name="connsiteX59321" fmla="*/ 1514356 w 6884782"/>
              <a:gd name="connsiteY59321" fmla="*/ 1252979 h 5973007"/>
              <a:gd name="connsiteX59322" fmla="*/ 1610591 w 6884782"/>
              <a:gd name="connsiteY59322" fmla="*/ 1252669 h 5973007"/>
              <a:gd name="connsiteX59323" fmla="*/ 1615340 w 6884782"/>
              <a:gd name="connsiteY59323" fmla="*/ 1255612 h 5973007"/>
              <a:gd name="connsiteX59324" fmla="*/ 1610384 w 6884782"/>
              <a:gd name="connsiteY59324" fmla="*/ 1256077 h 5973007"/>
              <a:gd name="connsiteX59325" fmla="*/ 1610591 w 6884782"/>
              <a:gd name="connsiteY59325" fmla="*/ 1252669 h 5973007"/>
              <a:gd name="connsiteX59326" fmla="*/ 1527676 w 6884782"/>
              <a:gd name="connsiteY59326" fmla="*/ 1251275 h 5973007"/>
              <a:gd name="connsiteX59327" fmla="*/ 1521377 w 6884782"/>
              <a:gd name="connsiteY59327" fmla="*/ 1252979 h 5973007"/>
              <a:gd name="connsiteX59328" fmla="*/ 1520241 w 6884782"/>
              <a:gd name="connsiteY59328" fmla="*/ 1252359 h 5973007"/>
              <a:gd name="connsiteX59329" fmla="*/ 1527676 w 6884782"/>
              <a:gd name="connsiteY59329" fmla="*/ 1251275 h 5973007"/>
              <a:gd name="connsiteX59330" fmla="*/ 4915911 w 6884782"/>
              <a:gd name="connsiteY59330" fmla="*/ 1250829 h 5973007"/>
              <a:gd name="connsiteX59331" fmla="*/ 4917618 w 6884782"/>
              <a:gd name="connsiteY59331" fmla="*/ 1254385 h 5973007"/>
              <a:gd name="connsiteX59332" fmla="*/ 4915483 w 6884782"/>
              <a:gd name="connsiteY59332" fmla="*/ 1256803 h 5973007"/>
              <a:gd name="connsiteX59333" fmla="*/ 4914630 w 6884782"/>
              <a:gd name="connsiteY59333" fmla="*/ 1259365 h 5973007"/>
              <a:gd name="connsiteX59334" fmla="*/ 4911002 w 6884782"/>
              <a:gd name="connsiteY59334" fmla="*/ 1259506 h 5973007"/>
              <a:gd name="connsiteX59335" fmla="*/ 4911855 w 6884782"/>
              <a:gd name="connsiteY59335" fmla="*/ 1257088 h 5973007"/>
              <a:gd name="connsiteX59336" fmla="*/ 4915911 w 6884782"/>
              <a:gd name="connsiteY59336" fmla="*/ 1250829 h 5973007"/>
              <a:gd name="connsiteX59337" fmla="*/ 1470678 w 6884782"/>
              <a:gd name="connsiteY59337" fmla="*/ 1250345 h 5973007"/>
              <a:gd name="connsiteX59338" fmla="*/ 1474189 w 6884782"/>
              <a:gd name="connsiteY59338" fmla="*/ 1250655 h 5973007"/>
              <a:gd name="connsiteX59339" fmla="*/ 1475015 w 6884782"/>
              <a:gd name="connsiteY59339" fmla="*/ 1253289 h 5973007"/>
              <a:gd name="connsiteX59340" fmla="*/ 1470678 w 6884782"/>
              <a:gd name="connsiteY59340" fmla="*/ 1250345 h 5973007"/>
              <a:gd name="connsiteX59341" fmla="*/ 4454284 w 6884782"/>
              <a:gd name="connsiteY59341" fmla="*/ 1249832 h 5973007"/>
              <a:gd name="connsiteX59342" fmla="*/ 4459406 w 6884782"/>
              <a:gd name="connsiteY59342" fmla="*/ 1250544 h 5973007"/>
              <a:gd name="connsiteX59343" fmla="*/ 4463887 w 6884782"/>
              <a:gd name="connsiteY59343" fmla="*/ 1252962 h 5973007"/>
              <a:gd name="connsiteX59344" fmla="*/ 4466662 w 6884782"/>
              <a:gd name="connsiteY59344" fmla="*/ 1257515 h 5973007"/>
              <a:gd name="connsiteX59345" fmla="*/ 4471357 w 6884782"/>
              <a:gd name="connsiteY59345" fmla="*/ 1264628 h 5973007"/>
              <a:gd name="connsiteX59346" fmla="*/ 4467302 w 6884782"/>
              <a:gd name="connsiteY59346" fmla="*/ 1268754 h 5973007"/>
              <a:gd name="connsiteX59347" fmla="*/ 4449801 w 6884782"/>
              <a:gd name="connsiteY59347" fmla="*/ 1254101 h 5973007"/>
              <a:gd name="connsiteX59348" fmla="*/ 4454284 w 6884782"/>
              <a:gd name="connsiteY59348" fmla="*/ 1249832 h 5973007"/>
              <a:gd name="connsiteX59349" fmla="*/ 1144802 w 6884782"/>
              <a:gd name="connsiteY59349" fmla="*/ 1249571 h 5973007"/>
              <a:gd name="connsiteX59350" fmla="*/ 1146557 w 6884782"/>
              <a:gd name="connsiteY59350" fmla="*/ 1249571 h 5973007"/>
              <a:gd name="connsiteX59351" fmla="*/ 1148106 w 6884782"/>
              <a:gd name="connsiteY59351" fmla="*/ 1250345 h 5973007"/>
              <a:gd name="connsiteX59352" fmla="*/ 1145731 w 6884782"/>
              <a:gd name="connsiteY59352" fmla="*/ 1252979 h 5973007"/>
              <a:gd name="connsiteX59353" fmla="*/ 1144802 w 6884782"/>
              <a:gd name="connsiteY59353" fmla="*/ 1251585 h 5973007"/>
              <a:gd name="connsiteX59354" fmla="*/ 1144182 w 6884782"/>
              <a:gd name="connsiteY59354" fmla="*/ 1252204 h 5973007"/>
              <a:gd name="connsiteX59355" fmla="*/ 1143976 w 6884782"/>
              <a:gd name="connsiteY59355" fmla="*/ 1250345 h 5973007"/>
              <a:gd name="connsiteX59356" fmla="*/ 1144699 w 6884782"/>
              <a:gd name="connsiteY59356" fmla="*/ 1249880 h 5973007"/>
              <a:gd name="connsiteX59357" fmla="*/ 1144802 w 6884782"/>
              <a:gd name="connsiteY59357" fmla="*/ 1249571 h 5973007"/>
              <a:gd name="connsiteX59358" fmla="*/ 1468717 w 6884782"/>
              <a:gd name="connsiteY59358" fmla="*/ 1249416 h 5973007"/>
              <a:gd name="connsiteX59359" fmla="*/ 1470059 w 6884782"/>
              <a:gd name="connsiteY59359" fmla="*/ 1250190 h 5973007"/>
              <a:gd name="connsiteX59360" fmla="*/ 1470059 w 6884782"/>
              <a:gd name="connsiteY59360" fmla="*/ 1250965 h 5973007"/>
              <a:gd name="connsiteX59361" fmla="*/ 1468201 w 6884782"/>
              <a:gd name="connsiteY59361" fmla="*/ 1250035 h 5973007"/>
              <a:gd name="connsiteX59362" fmla="*/ 1468717 w 6884782"/>
              <a:gd name="connsiteY59362" fmla="*/ 1249416 h 5973007"/>
              <a:gd name="connsiteX59363" fmla="*/ 3682984 w 6884782"/>
              <a:gd name="connsiteY59363" fmla="*/ 1248979 h 5973007"/>
              <a:gd name="connsiteX59364" fmla="*/ 3688107 w 6884782"/>
              <a:gd name="connsiteY59364" fmla="*/ 1254954 h 5973007"/>
              <a:gd name="connsiteX59365" fmla="*/ 3681064 w 6884782"/>
              <a:gd name="connsiteY59365" fmla="*/ 1265055 h 5973007"/>
              <a:gd name="connsiteX59366" fmla="*/ 3682984 w 6884782"/>
              <a:gd name="connsiteY59366" fmla="*/ 1248979 h 5973007"/>
              <a:gd name="connsiteX59367" fmla="*/ 3516944 w 6884782"/>
              <a:gd name="connsiteY59367" fmla="*/ 1248836 h 5973007"/>
              <a:gd name="connsiteX59368" fmla="*/ 3519505 w 6884782"/>
              <a:gd name="connsiteY59368" fmla="*/ 1249974 h 5973007"/>
              <a:gd name="connsiteX59369" fmla="*/ 3520359 w 6884782"/>
              <a:gd name="connsiteY59369" fmla="*/ 1252535 h 5973007"/>
              <a:gd name="connsiteX59370" fmla="*/ 3520999 w 6884782"/>
              <a:gd name="connsiteY59370" fmla="*/ 1255523 h 5973007"/>
              <a:gd name="connsiteX59371" fmla="*/ 3519292 w 6884782"/>
              <a:gd name="connsiteY59371" fmla="*/ 1259933 h 5973007"/>
              <a:gd name="connsiteX59372" fmla="*/ 3526548 w 6884782"/>
              <a:gd name="connsiteY59372" fmla="*/ 1264059 h 5973007"/>
              <a:gd name="connsiteX59373" fmla="*/ 3533804 w 6884782"/>
              <a:gd name="connsiteY59373" fmla="*/ 1271031 h 5973007"/>
              <a:gd name="connsiteX59374" fmla="*/ 3503925 w 6884782"/>
              <a:gd name="connsiteY59374" fmla="*/ 1251397 h 5973007"/>
              <a:gd name="connsiteX59375" fmla="*/ 3509261 w 6884782"/>
              <a:gd name="connsiteY59375" fmla="*/ 1254811 h 5973007"/>
              <a:gd name="connsiteX59376" fmla="*/ 3509901 w 6884782"/>
              <a:gd name="connsiteY59376" fmla="*/ 1251966 h 5973007"/>
              <a:gd name="connsiteX59377" fmla="*/ 3516944 w 6884782"/>
              <a:gd name="connsiteY59377" fmla="*/ 1248836 h 5973007"/>
              <a:gd name="connsiteX59378" fmla="*/ 4047292 w 6884782"/>
              <a:gd name="connsiteY59378" fmla="*/ 1248409 h 5973007"/>
              <a:gd name="connsiteX59379" fmla="*/ 4047505 w 6884782"/>
              <a:gd name="connsiteY59379" fmla="*/ 1253247 h 5973007"/>
              <a:gd name="connsiteX59380" fmla="*/ 4045158 w 6884782"/>
              <a:gd name="connsiteY59380" fmla="*/ 1253247 h 5973007"/>
              <a:gd name="connsiteX59381" fmla="*/ 4027871 w 6884782"/>
              <a:gd name="connsiteY59381" fmla="*/ 1258368 h 5973007"/>
              <a:gd name="connsiteX59382" fmla="*/ 4047292 w 6884782"/>
              <a:gd name="connsiteY59382" fmla="*/ 1248409 h 5973007"/>
              <a:gd name="connsiteX59383" fmla="*/ 1464587 w 6884782"/>
              <a:gd name="connsiteY59383" fmla="*/ 1247712 h 5973007"/>
              <a:gd name="connsiteX59384" fmla="*/ 1466445 w 6884782"/>
              <a:gd name="connsiteY59384" fmla="*/ 1249880 h 5973007"/>
              <a:gd name="connsiteX59385" fmla="*/ 1466755 w 6884782"/>
              <a:gd name="connsiteY59385" fmla="*/ 1250965 h 5973007"/>
              <a:gd name="connsiteX59386" fmla="*/ 1467581 w 6884782"/>
              <a:gd name="connsiteY59386" fmla="*/ 1251585 h 5973007"/>
              <a:gd name="connsiteX59387" fmla="*/ 1467168 w 6884782"/>
              <a:gd name="connsiteY59387" fmla="*/ 1252204 h 5973007"/>
              <a:gd name="connsiteX59388" fmla="*/ 1467788 w 6884782"/>
              <a:gd name="connsiteY59388" fmla="*/ 1254528 h 5973007"/>
              <a:gd name="connsiteX59389" fmla="*/ 1471092 w 6884782"/>
              <a:gd name="connsiteY59389" fmla="*/ 1259484 h 5973007"/>
              <a:gd name="connsiteX59390" fmla="*/ 1471401 w 6884782"/>
              <a:gd name="connsiteY59390" fmla="*/ 1265525 h 5973007"/>
              <a:gd name="connsiteX59391" fmla="*/ 1469027 w 6884782"/>
              <a:gd name="connsiteY59391" fmla="*/ 1265835 h 5973007"/>
              <a:gd name="connsiteX59392" fmla="*/ 1469749 w 6884782"/>
              <a:gd name="connsiteY59392" fmla="*/ 1268313 h 5973007"/>
              <a:gd name="connsiteX59393" fmla="*/ 1463347 w 6884782"/>
              <a:gd name="connsiteY59393" fmla="*/ 1276523 h 5973007"/>
              <a:gd name="connsiteX59394" fmla="*/ 1458185 w 6884782"/>
              <a:gd name="connsiteY59394" fmla="*/ 1276058 h 5973007"/>
              <a:gd name="connsiteX59395" fmla="*/ 1455397 w 6884782"/>
              <a:gd name="connsiteY59395" fmla="*/ 1274045 h 5973007"/>
              <a:gd name="connsiteX59396" fmla="*/ 1455294 w 6884782"/>
              <a:gd name="connsiteY59396" fmla="*/ 1274045 h 5973007"/>
              <a:gd name="connsiteX59397" fmla="*/ 1449614 w 6884782"/>
              <a:gd name="connsiteY59397" fmla="*/ 1274354 h 5973007"/>
              <a:gd name="connsiteX59398" fmla="*/ 1443212 w 6884782"/>
              <a:gd name="connsiteY59398" fmla="*/ 1271876 h 5973007"/>
              <a:gd name="connsiteX59399" fmla="*/ 1442283 w 6884782"/>
              <a:gd name="connsiteY59399" fmla="*/ 1269552 h 5973007"/>
              <a:gd name="connsiteX59400" fmla="*/ 1439908 w 6884782"/>
              <a:gd name="connsiteY59400" fmla="*/ 1271411 h 5973007"/>
              <a:gd name="connsiteX59401" fmla="*/ 1436398 w 6884782"/>
              <a:gd name="connsiteY59401" fmla="*/ 1271876 h 5973007"/>
              <a:gd name="connsiteX59402" fmla="*/ 1439185 w 6884782"/>
              <a:gd name="connsiteY59402" fmla="*/ 1268778 h 5973007"/>
              <a:gd name="connsiteX59403" fmla="*/ 1440631 w 6884782"/>
              <a:gd name="connsiteY59403" fmla="*/ 1267694 h 5973007"/>
              <a:gd name="connsiteX59404" fmla="*/ 1441870 w 6884782"/>
              <a:gd name="connsiteY59404" fmla="*/ 1268623 h 5973007"/>
              <a:gd name="connsiteX59405" fmla="*/ 1441767 w 6884782"/>
              <a:gd name="connsiteY59405" fmla="*/ 1268313 h 5973007"/>
              <a:gd name="connsiteX59406" fmla="*/ 1441973 w 6884782"/>
              <a:gd name="connsiteY59406" fmla="*/ 1263976 h 5973007"/>
              <a:gd name="connsiteX59407" fmla="*/ 1441870 w 6884782"/>
              <a:gd name="connsiteY59407" fmla="*/ 1263822 h 5973007"/>
              <a:gd name="connsiteX59408" fmla="*/ 1441664 w 6884782"/>
              <a:gd name="connsiteY59408" fmla="*/ 1262582 h 5973007"/>
              <a:gd name="connsiteX59409" fmla="*/ 1441973 w 6884782"/>
              <a:gd name="connsiteY59409" fmla="*/ 1262737 h 5973007"/>
              <a:gd name="connsiteX59410" fmla="*/ 1442076 w 6884782"/>
              <a:gd name="connsiteY59410" fmla="*/ 1262737 h 5973007"/>
              <a:gd name="connsiteX59411" fmla="*/ 1443419 w 6884782"/>
              <a:gd name="connsiteY59411" fmla="*/ 1263202 h 5973007"/>
              <a:gd name="connsiteX59412" fmla="*/ 1443935 w 6884782"/>
              <a:gd name="connsiteY59412" fmla="*/ 1263512 h 5973007"/>
              <a:gd name="connsiteX59413" fmla="*/ 1445897 w 6884782"/>
              <a:gd name="connsiteY59413" fmla="*/ 1264441 h 5973007"/>
              <a:gd name="connsiteX59414" fmla="*/ 1446930 w 6884782"/>
              <a:gd name="connsiteY59414" fmla="*/ 1264286 h 5973007"/>
              <a:gd name="connsiteX59415" fmla="*/ 1449718 w 6884782"/>
              <a:gd name="connsiteY59415" fmla="*/ 1265990 h 5973007"/>
              <a:gd name="connsiteX59416" fmla="*/ 1454054 w 6884782"/>
              <a:gd name="connsiteY59416" fmla="*/ 1266764 h 5973007"/>
              <a:gd name="connsiteX59417" fmla="*/ 1454054 w 6884782"/>
              <a:gd name="connsiteY59417" fmla="*/ 1265370 h 5973007"/>
              <a:gd name="connsiteX59418" fmla="*/ 1455603 w 6884782"/>
              <a:gd name="connsiteY59418" fmla="*/ 1262892 h 5973007"/>
              <a:gd name="connsiteX59419" fmla="*/ 1457462 w 6884782"/>
              <a:gd name="connsiteY59419" fmla="*/ 1261808 h 5973007"/>
              <a:gd name="connsiteX59420" fmla="*/ 1455809 w 6884782"/>
              <a:gd name="connsiteY59420" fmla="*/ 1261808 h 5973007"/>
              <a:gd name="connsiteX59421" fmla="*/ 1457152 w 6884782"/>
              <a:gd name="connsiteY59421" fmla="*/ 1258400 h 5973007"/>
              <a:gd name="connsiteX59422" fmla="*/ 1459940 w 6884782"/>
              <a:gd name="connsiteY59422" fmla="*/ 1257625 h 5973007"/>
              <a:gd name="connsiteX59423" fmla="*/ 1459837 w 6884782"/>
              <a:gd name="connsiteY59423" fmla="*/ 1258555 h 5973007"/>
              <a:gd name="connsiteX59424" fmla="*/ 1460043 w 6884782"/>
              <a:gd name="connsiteY59424" fmla="*/ 1261343 h 5973007"/>
              <a:gd name="connsiteX59425" fmla="*/ 1463038 w 6884782"/>
              <a:gd name="connsiteY59425" fmla="*/ 1261033 h 5973007"/>
              <a:gd name="connsiteX59426" fmla="*/ 1464587 w 6884782"/>
              <a:gd name="connsiteY59426" fmla="*/ 1261653 h 5973007"/>
              <a:gd name="connsiteX59427" fmla="*/ 1465929 w 6884782"/>
              <a:gd name="connsiteY59427" fmla="*/ 1261188 h 5973007"/>
              <a:gd name="connsiteX59428" fmla="*/ 1464587 w 6884782"/>
              <a:gd name="connsiteY59428" fmla="*/ 1255922 h 5973007"/>
              <a:gd name="connsiteX59429" fmla="*/ 1463864 w 6884782"/>
              <a:gd name="connsiteY59429" fmla="*/ 1249880 h 5973007"/>
              <a:gd name="connsiteX59430" fmla="*/ 1463967 w 6884782"/>
              <a:gd name="connsiteY59430" fmla="*/ 1249571 h 5973007"/>
              <a:gd name="connsiteX59431" fmla="*/ 1463657 w 6884782"/>
              <a:gd name="connsiteY59431" fmla="*/ 1249571 h 5973007"/>
              <a:gd name="connsiteX59432" fmla="*/ 1464070 w 6884782"/>
              <a:gd name="connsiteY59432" fmla="*/ 1249261 h 5973007"/>
              <a:gd name="connsiteX59433" fmla="*/ 3634538 w 6884782"/>
              <a:gd name="connsiteY59433" fmla="*/ 1247556 h 5973007"/>
              <a:gd name="connsiteX59434" fmla="*/ 3639660 w 6884782"/>
              <a:gd name="connsiteY59434" fmla="*/ 1259222 h 5973007"/>
              <a:gd name="connsiteX59435" fmla="*/ 3631124 w 6884782"/>
              <a:gd name="connsiteY59435" fmla="*/ 1247982 h 5973007"/>
              <a:gd name="connsiteX59436" fmla="*/ 3634538 w 6884782"/>
              <a:gd name="connsiteY59436" fmla="*/ 1247556 h 5973007"/>
              <a:gd name="connsiteX59437" fmla="*/ 3491120 w 6884782"/>
              <a:gd name="connsiteY59437" fmla="*/ 1247414 h 5973007"/>
              <a:gd name="connsiteX59438" fmla="*/ 3497950 w 6884782"/>
              <a:gd name="connsiteY59438" fmla="*/ 1280135 h 5973007"/>
              <a:gd name="connsiteX59439" fmla="*/ 3491120 w 6884782"/>
              <a:gd name="connsiteY59439" fmla="*/ 1247414 h 5973007"/>
              <a:gd name="connsiteX59440" fmla="*/ 5036066 w 6884782"/>
              <a:gd name="connsiteY59440" fmla="*/ 1247271 h 5973007"/>
              <a:gd name="connsiteX59441" fmla="*/ 5039480 w 6884782"/>
              <a:gd name="connsiteY59441" fmla="*/ 1253247 h 5973007"/>
              <a:gd name="connsiteX59442" fmla="*/ 5036706 w 6884782"/>
              <a:gd name="connsiteY59442" fmla="*/ 1274871 h 5973007"/>
              <a:gd name="connsiteX59443" fmla="*/ 5032224 w 6884782"/>
              <a:gd name="connsiteY59443" fmla="*/ 1261640 h 5973007"/>
              <a:gd name="connsiteX59444" fmla="*/ 5036066 w 6884782"/>
              <a:gd name="connsiteY59444" fmla="*/ 1247271 h 5973007"/>
              <a:gd name="connsiteX59445" fmla="*/ 4123483 w 6884782"/>
              <a:gd name="connsiteY59445" fmla="*/ 1247271 h 5973007"/>
              <a:gd name="connsiteX59446" fmla="*/ 4124764 w 6884782"/>
              <a:gd name="connsiteY59446" fmla="*/ 1248694 h 5973007"/>
              <a:gd name="connsiteX59447" fmla="*/ 4125617 w 6884782"/>
              <a:gd name="connsiteY59447" fmla="*/ 1251397 h 5973007"/>
              <a:gd name="connsiteX59448" fmla="*/ 4120068 w 6884782"/>
              <a:gd name="connsiteY59448" fmla="*/ 1253531 h 5973007"/>
              <a:gd name="connsiteX59449" fmla="*/ 4117293 w 6884782"/>
              <a:gd name="connsiteY59449" fmla="*/ 1251112 h 5973007"/>
              <a:gd name="connsiteX59450" fmla="*/ 4120068 w 6884782"/>
              <a:gd name="connsiteY59450" fmla="*/ 1248267 h 5973007"/>
              <a:gd name="connsiteX59451" fmla="*/ 4123483 w 6884782"/>
              <a:gd name="connsiteY59451" fmla="*/ 1247271 h 5973007"/>
              <a:gd name="connsiteX59452" fmla="*/ 5654983 w 6884782"/>
              <a:gd name="connsiteY59452" fmla="*/ 1246845 h 5973007"/>
              <a:gd name="connsiteX59453" fmla="*/ 5659038 w 6884782"/>
              <a:gd name="connsiteY59453" fmla="*/ 1251539 h 5973007"/>
              <a:gd name="connsiteX59454" fmla="*/ 5655837 w 6884782"/>
              <a:gd name="connsiteY59454" fmla="*/ 1261214 h 5973007"/>
              <a:gd name="connsiteX59455" fmla="*/ 5647940 w 6884782"/>
              <a:gd name="connsiteY59455" fmla="*/ 1258653 h 5973007"/>
              <a:gd name="connsiteX59456" fmla="*/ 5647300 w 6884782"/>
              <a:gd name="connsiteY59456" fmla="*/ 1255096 h 5973007"/>
              <a:gd name="connsiteX59457" fmla="*/ 5649007 w 6884782"/>
              <a:gd name="connsiteY59457" fmla="*/ 1247982 h 5973007"/>
              <a:gd name="connsiteX59458" fmla="*/ 5647940 w 6884782"/>
              <a:gd name="connsiteY59458" fmla="*/ 1247982 h 5973007"/>
              <a:gd name="connsiteX59459" fmla="*/ 5654983 w 6884782"/>
              <a:gd name="connsiteY59459" fmla="*/ 1246845 h 5973007"/>
              <a:gd name="connsiteX59460" fmla="*/ 4984632 w 6884782"/>
              <a:gd name="connsiteY59460" fmla="*/ 1246845 h 5973007"/>
              <a:gd name="connsiteX59461" fmla="*/ 4985272 w 6884782"/>
              <a:gd name="connsiteY59461" fmla="*/ 1251682 h 5973007"/>
              <a:gd name="connsiteX59462" fmla="*/ 4982924 w 6884782"/>
              <a:gd name="connsiteY59462" fmla="*/ 1251824 h 5973007"/>
              <a:gd name="connsiteX59463" fmla="*/ 4975881 w 6884782"/>
              <a:gd name="connsiteY59463" fmla="*/ 1257088 h 5973007"/>
              <a:gd name="connsiteX59464" fmla="*/ 4975454 w 6884782"/>
              <a:gd name="connsiteY59464" fmla="*/ 1257230 h 5973007"/>
              <a:gd name="connsiteX59465" fmla="*/ 4977589 w 6884782"/>
              <a:gd name="connsiteY59465" fmla="*/ 1258511 h 5973007"/>
              <a:gd name="connsiteX59466" fmla="*/ 4980363 w 6884782"/>
              <a:gd name="connsiteY59466" fmla="*/ 1259933 h 5973007"/>
              <a:gd name="connsiteX59467" fmla="*/ 4980577 w 6884782"/>
              <a:gd name="connsiteY59467" fmla="*/ 1260075 h 5973007"/>
              <a:gd name="connsiteX59468" fmla="*/ 4981217 w 6884782"/>
              <a:gd name="connsiteY59468" fmla="*/ 1259791 h 5973007"/>
              <a:gd name="connsiteX59469" fmla="*/ 4985485 w 6884782"/>
              <a:gd name="connsiteY59469" fmla="*/ 1260075 h 5973007"/>
              <a:gd name="connsiteX59470" fmla="*/ 4984418 w 6884782"/>
              <a:gd name="connsiteY59470" fmla="*/ 1260075 h 5973007"/>
              <a:gd name="connsiteX59471" fmla="*/ 4985699 w 6884782"/>
              <a:gd name="connsiteY59471" fmla="*/ 1261214 h 5973007"/>
              <a:gd name="connsiteX59472" fmla="*/ 4982071 w 6884782"/>
              <a:gd name="connsiteY59472" fmla="*/ 1262352 h 5973007"/>
              <a:gd name="connsiteX59473" fmla="*/ 4982497 w 6884782"/>
              <a:gd name="connsiteY59473" fmla="*/ 1263063 h 5973007"/>
              <a:gd name="connsiteX59474" fmla="*/ 4984418 w 6884782"/>
              <a:gd name="connsiteY59474" fmla="*/ 1267189 h 5973007"/>
              <a:gd name="connsiteX59475" fmla="*/ 4981857 w 6884782"/>
              <a:gd name="connsiteY59475" fmla="*/ 1269466 h 5973007"/>
              <a:gd name="connsiteX59476" fmla="*/ 4983778 w 6884782"/>
              <a:gd name="connsiteY59476" fmla="*/ 1271884 h 5973007"/>
              <a:gd name="connsiteX59477" fmla="*/ 4981217 w 6884782"/>
              <a:gd name="connsiteY59477" fmla="*/ 1287392 h 5973007"/>
              <a:gd name="connsiteX59478" fmla="*/ 4975028 w 6884782"/>
              <a:gd name="connsiteY59478" fmla="*/ 1290806 h 5973007"/>
              <a:gd name="connsiteX59479" fmla="*/ 4967131 w 6884782"/>
              <a:gd name="connsiteY59479" fmla="*/ 1288245 h 5973007"/>
              <a:gd name="connsiteX59480" fmla="*/ 4966278 w 6884782"/>
              <a:gd name="connsiteY59480" fmla="*/ 1272879 h 5973007"/>
              <a:gd name="connsiteX59481" fmla="*/ 4977375 w 6884782"/>
              <a:gd name="connsiteY59481" fmla="*/ 1267047 h 5973007"/>
              <a:gd name="connsiteX59482" fmla="*/ 4976308 w 6884782"/>
              <a:gd name="connsiteY59482" fmla="*/ 1266904 h 5973007"/>
              <a:gd name="connsiteX59483" fmla="*/ 4974174 w 6884782"/>
              <a:gd name="connsiteY59483" fmla="*/ 1264343 h 5973007"/>
              <a:gd name="connsiteX59484" fmla="*/ 4972040 w 6884782"/>
              <a:gd name="connsiteY59484" fmla="*/ 1264486 h 5973007"/>
              <a:gd name="connsiteX59485" fmla="*/ 4969906 w 6884782"/>
              <a:gd name="connsiteY59485" fmla="*/ 1264486 h 5973007"/>
              <a:gd name="connsiteX59486" fmla="*/ 4969692 w 6884782"/>
              <a:gd name="connsiteY59486" fmla="*/ 1263348 h 5973007"/>
              <a:gd name="connsiteX59487" fmla="*/ 4972680 w 6884782"/>
              <a:gd name="connsiteY59487" fmla="*/ 1262637 h 5973007"/>
              <a:gd name="connsiteX59488" fmla="*/ 4969479 w 6884782"/>
              <a:gd name="connsiteY59488" fmla="*/ 1258368 h 5973007"/>
              <a:gd name="connsiteX59489" fmla="*/ 4966704 w 6884782"/>
              <a:gd name="connsiteY59489" fmla="*/ 1258938 h 5973007"/>
              <a:gd name="connsiteX59490" fmla="*/ 4968412 w 6884782"/>
              <a:gd name="connsiteY59490" fmla="*/ 1256803 h 5973007"/>
              <a:gd name="connsiteX59491" fmla="*/ 4966704 w 6884782"/>
              <a:gd name="connsiteY59491" fmla="*/ 1253531 h 5973007"/>
              <a:gd name="connsiteX59492" fmla="*/ 4966278 w 6884782"/>
              <a:gd name="connsiteY59492" fmla="*/ 1250117 h 5973007"/>
              <a:gd name="connsiteX59493" fmla="*/ 4969692 w 6884782"/>
              <a:gd name="connsiteY59493" fmla="*/ 1251255 h 5973007"/>
              <a:gd name="connsiteX59494" fmla="*/ 4970759 w 6884782"/>
              <a:gd name="connsiteY59494" fmla="*/ 1252535 h 5973007"/>
              <a:gd name="connsiteX59495" fmla="*/ 4971826 w 6884782"/>
              <a:gd name="connsiteY59495" fmla="*/ 1252535 h 5973007"/>
              <a:gd name="connsiteX59496" fmla="*/ 4971826 w 6884782"/>
              <a:gd name="connsiteY59496" fmla="*/ 1252962 h 5973007"/>
              <a:gd name="connsiteX59497" fmla="*/ 4976735 w 6884782"/>
              <a:gd name="connsiteY59497" fmla="*/ 1250970 h 5973007"/>
              <a:gd name="connsiteX59498" fmla="*/ 4984632 w 6884782"/>
              <a:gd name="connsiteY59498" fmla="*/ 1246845 h 5973007"/>
              <a:gd name="connsiteX59499" fmla="*/ 1032562 w 6884782"/>
              <a:gd name="connsiteY59499" fmla="*/ 1246628 h 5973007"/>
              <a:gd name="connsiteX59500" fmla="*/ 1035763 w 6884782"/>
              <a:gd name="connsiteY59500" fmla="*/ 1250500 h 5973007"/>
              <a:gd name="connsiteX59501" fmla="*/ 1027193 w 6884782"/>
              <a:gd name="connsiteY59501" fmla="*/ 1252514 h 5973007"/>
              <a:gd name="connsiteX59502" fmla="*/ 1032562 w 6884782"/>
              <a:gd name="connsiteY59502" fmla="*/ 1246628 h 5973007"/>
              <a:gd name="connsiteX59503" fmla="*/ 1370933 w 6884782"/>
              <a:gd name="connsiteY59503" fmla="*/ 1246473 h 5973007"/>
              <a:gd name="connsiteX59504" fmla="*/ 1372172 w 6884782"/>
              <a:gd name="connsiteY59504" fmla="*/ 1246782 h 5973007"/>
              <a:gd name="connsiteX59505" fmla="*/ 1369281 w 6884782"/>
              <a:gd name="connsiteY59505" fmla="*/ 1250655 h 5973007"/>
              <a:gd name="connsiteX59506" fmla="*/ 1370933 w 6884782"/>
              <a:gd name="connsiteY59506" fmla="*/ 1246473 h 5973007"/>
              <a:gd name="connsiteX59507" fmla="*/ 4157844 w 6884782"/>
              <a:gd name="connsiteY59507" fmla="*/ 1246417 h 5973007"/>
              <a:gd name="connsiteX59508" fmla="*/ 4165313 w 6884782"/>
              <a:gd name="connsiteY59508" fmla="*/ 1247698 h 5973007"/>
              <a:gd name="connsiteX59509" fmla="*/ 4155069 w 6884782"/>
              <a:gd name="connsiteY59509" fmla="*/ 1260502 h 5973007"/>
              <a:gd name="connsiteX59510" fmla="*/ 4151868 w 6884782"/>
              <a:gd name="connsiteY59510" fmla="*/ 1249121 h 5973007"/>
              <a:gd name="connsiteX59511" fmla="*/ 4157844 w 6884782"/>
              <a:gd name="connsiteY59511" fmla="*/ 1246417 h 5973007"/>
              <a:gd name="connsiteX59512" fmla="*/ 1449821 w 6884782"/>
              <a:gd name="connsiteY59512" fmla="*/ 1245544 h 5973007"/>
              <a:gd name="connsiteX59513" fmla="*/ 1463657 w 6884782"/>
              <a:gd name="connsiteY59513" fmla="*/ 1249416 h 5973007"/>
              <a:gd name="connsiteX59514" fmla="*/ 1449821 w 6884782"/>
              <a:gd name="connsiteY59514" fmla="*/ 1245544 h 5973007"/>
              <a:gd name="connsiteX59515" fmla="*/ 3508194 w 6884782"/>
              <a:gd name="connsiteY59515" fmla="*/ 1245422 h 5973007"/>
              <a:gd name="connsiteX59516" fmla="*/ 3510328 w 6884782"/>
              <a:gd name="connsiteY59516" fmla="*/ 1246133 h 5973007"/>
              <a:gd name="connsiteX59517" fmla="*/ 3510968 w 6884782"/>
              <a:gd name="connsiteY59517" fmla="*/ 1248125 h 5973007"/>
              <a:gd name="connsiteX59518" fmla="*/ 3509047 w 6884782"/>
              <a:gd name="connsiteY59518" fmla="*/ 1250686 h 5973007"/>
              <a:gd name="connsiteX59519" fmla="*/ 3505846 w 6884782"/>
              <a:gd name="connsiteY59519" fmla="*/ 1246560 h 5973007"/>
              <a:gd name="connsiteX59520" fmla="*/ 3508194 w 6884782"/>
              <a:gd name="connsiteY59520" fmla="*/ 1245422 h 5973007"/>
              <a:gd name="connsiteX59521" fmla="*/ 1213674 w 6884782"/>
              <a:gd name="connsiteY59521" fmla="*/ 1245234 h 5973007"/>
              <a:gd name="connsiteX59522" fmla="*/ 1219250 w 6884782"/>
              <a:gd name="connsiteY59522" fmla="*/ 1254837 h 5973007"/>
              <a:gd name="connsiteX59523" fmla="*/ 1215636 w 6884782"/>
              <a:gd name="connsiteY59523" fmla="*/ 1256386 h 5973007"/>
              <a:gd name="connsiteX59524" fmla="*/ 1216152 w 6884782"/>
              <a:gd name="connsiteY59524" fmla="*/ 1256541 h 5973007"/>
              <a:gd name="connsiteX59525" fmla="*/ 1192816 w 6884782"/>
              <a:gd name="connsiteY59525" fmla="*/ 1257625 h 5973007"/>
              <a:gd name="connsiteX59526" fmla="*/ 1205620 w 6884782"/>
              <a:gd name="connsiteY59526" fmla="*/ 1253289 h 5973007"/>
              <a:gd name="connsiteX59527" fmla="*/ 1209750 w 6884782"/>
              <a:gd name="connsiteY59527" fmla="*/ 1253753 h 5973007"/>
              <a:gd name="connsiteX59528" fmla="*/ 1210679 w 6884782"/>
              <a:gd name="connsiteY59528" fmla="*/ 1250810 h 5973007"/>
              <a:gd name="connsiteX59529" fmla="*/ 1213674 w 6884782"/>
              <a:gd name="connsiteY59529" fmla="*/ 1245234 h 5973007"/>
              <a:gd name="connsiteX59530" fmla="*/ 3977717 w 6884782"/>
              <a:gd name="connsiteY59530" fmla="*/ 1245137 h 5973007"/>
              <a:gd name="connsiteX59531" fmla="*/ 3979211 w 6884782"/>
              <a:gd name="connsiteY59531" fmla="*/ 1248836 h 5973007"/>
              <a:gd name="connsiteX59532" fmla="*/ 3976863 w 6884782"/>
              <a:gd name="connsiteY59532" fmla="*/ 1251112 h 5973007"/>
              <a:gd name="connsiteX59533" fmla="*/ 3975796 w 6884782"/>
              <a:gd name="connsiteY59533" fmla="*/ 1253389 h 5973007"/>
              <a:gd name="connsiteX59534" fmla="*/ 3972168 w 6884782"/>
              <a:gd name="connsiteY59534" fmla="*/ 1253247 h 5973007"/>
              <a:gd name="connsiteX59535" fmla="*/ 3973235 w 6884782"/>
              <a:gd name="connsiteY59535" fmla="*/ 1250970 h 5973007"/>
              <a:gd name="connsiteX59536" fmla="*/ 3977717 w 6884782"/>
              <a:gd name="connsiteY59536" fmla="*/ 1245137 h 5973007"/>
              <a:gd name="connsiteX59537" fmla="*/ 1340060 w 6884782"/>
              <a:gd name="connsiteY59537" fmla="*/ 1243840 h 5973007"/>
              <a:gd name="connsiteX59538" fmla="*/ 1341608 w 6884782"/>
              <a:gd name="connsiteY59538" fmla="*/ 1247712 h 5973007"/>
              <a:gd name="connsiteX59539" fmla="*/ 1336239 w 6884782"/>
              <a:gd name="connsiteY59539" fmla="*/ 1254063 h 5973007"/>
              <a:gd name="connsiteX59540" fmla="*/ 1334380 w 6884782"/>
              <a:gd name="connsiteY59540" fmla="*/ 1251430 h 5973007"/>
              <a:gd name="connsiteX59541" fmla="*/ 1337994 w 6884782"/>
              <a:gd name="connsiteY59541" fmla="*/ 1244459 h 5973007"/>
              <a:gd name="connsiteX59542" fmla="*/ 1340060 w 6884782"/>
              <a:gd name="connsiteY59542" fmla="*/ 1243840 h 5973007"/>
              <a:gd name="connsiteX59543" fmla="*/ 1300099 w 6884782"/>
              <a:gd name="connsiteY59543" fmla="*/ 1243685 h 5973007"/>
              <a:gd name="connsiteX59544" fmla="*/ 1300512 w 6884782"/>
              <a:gd name="connsiteY59544" fmla="*/ 1251275 h 5973007"/>
              <a:gd name="connsiteX59545" fmla="*/ 1298860 w 6884782"/>
              <a:gd name="connsiteY59545" fmla="*/ 1252359 h 5973007"/>
              <a:gd name="connsiteX59546" fmla="*/ 1294524 w 6884782"/>
              <a:gd name="connsiteY59546" fmla="*/ 1253908 h 5973007"/>
              <a:gd name="connsiteX59547" fmla="*/ 1292768 w 6884782"/>
              <a:gd name="connsiteY59547" fmla="*/ 1251430 h 5973007"/>
              <a:gd name="connsiteX59548" fmla="*/ 1294214 w 6884782"/>
              <a:gd name="connsiteY59548" fmla="*/ 1247867 h 5973007"/>
              <a:gd name="connsiteX59549" fmla="*/ 1300099 w 6884782"/>
              <a:gd name="connsiteY59549" fmla="*/ 1243685 h 5973007"/>
              <a:gd name="connsiteX59550" fmla="*/ 4782523 w 6884782"/>
              <a:gd name="connsiteY59550" fmla="*/ 1243003 h 5973007"/>
              <a:gd name="connsiteX59551" fmla="*/ 4787219 w 6884782"/>
              <a:gd name="connsiteY59551" fmla="*/ 1245991 h 5973007"/>
              <a:gd name="connsiteX59552" fmla="*/ 4786578 w 6884782"/>
              <a:gd name="connsiteY59552" fmla="*/ 1252962 h 5973007"/>
              <a:gd name="connsiteX59553" fmla="*/ 4787005 w 6884782"/>
              <a:gd name="connsiteY59553" fmla="*/ 1257515 h 5973007"/>
              <a:gd name="connsiteX59554" fmla="*/ 4784444 w 6884782"/>
              <a:gd name="connsiteY59554" fmla="*/ 1260360 h 5973007"/>
              <a:gd name="connsiteX59555" fmla="*/ 4779749 w 6884782"/>
              <a:gd name="connsiteY59555" fmla="*/ 1251397 h 5973007"/>
              <a:gd name="connsiteX59556" fmla="*/ 4782523 w 6884782"/>
              <a:gd name="connsiteY59556" fmla="*/ 1243003 h 5973007"/>
              <a:gd name="connsiteX59557" fmla="*/ 4013358 w 6884782"/>
              <a:gd name="connsiteY59557" fmla="*/ 1242576 h 5973007"/>
              <a:gd name="connsiteX59558" fmla="*/ 4014639 w 6884782"/>
              <a:gd name="connsiteY59558" fmla="*/ 1243430 h 5973007"/>
              <a:gd name="connsiteX59559" fmla="*/ 4012504 w 6884782"/>
              <a:gd name="connsiteY59559" fmla="*/ 1243715 h 5973007"/>
              <a:gd name="connsiteX59560" fmla="*/ 4013358 w 6884782"/>
              <a:gd name="connsiteY59560" fmla="*/ 1242576 h 5973007"/>
              <a:gd name="connsiteX59561" fmla="*/ 4009517 w 6884782"/>
              <a:gd name="connsiteY59561" fmla="*/ 1242576 h 5973007"/>
              <a:gd name="connsiteX59562" fmla="*/ 4009303 w 6884782"/>
              <a:gd name="connsiteY59562" fmla="*/ 1249121 h 5973007"/>
              <a:gd name="connsiteX59563" fmla="*/ 4008023 w 6884782"/>
              <a:gd name="connsiteY59563" fmla="*/ 1243003 h 5973007"/>
              <a:gd name="connsiteX59564" fmla="*/ 4009517 w 6884782"/>
              <a:gd name="connsiteY59564" fmla="*/ 1242576 h 5973007"/>
              <a:gd name="connsiteX59565" fmla="*/ 1285334 w 6884782"/>
              <a:gd name="connsiteY59565" fmla="*/ 1242291 h 5973007"/>
              <a:gd name="connsiteX59566" fmla="*/ 1290290 w 6884782"/>
              <a:gd name="connsiteY59566" fmla="*/ 1246628 h 5973007"/>
              <a:gd name="connsiteX59567" fmla="*/ 1289258 w 6884782"/>
              <a:gd name="connsiteY59567" fmla="*/ 1248332 h 5973007"/>
              <a:gd name="connsiteX59568" fmla="*/ 1286883 w 6884782"/>
              <a:gd name="connsiteY59568" fmla="*/ 1247867 h 5973007"/>
              <a:gd name="connsiteX59569" fmla="*/ 1284198 w 6884782"/>
              <a:gd name="connsiteY59569" fmla="*/ 1243995 h 5973007"/>
              <a:gd name="connsiteX59570" fmla="*/ 1285334 w 6884782"/>
              <a:gd name="connsiteY59570" fmla="*/ 1242291 h 5973007"/>
              <a:gd name="connsiteX59571" fmla="*/ 4396446 w 6884782"/>
              <a:gd name="connsiteY59571" fmla="*/ 1242007 h 5973007"/>
              <a:gd name="connsiteX59572" fmla="*/ 4400289 w 6884782"/>
              <a:gd name="connsiteY59572" fmla="*/ 1244568 h 5973007"/>
              <a:gd name="connsiteX59573" fmla="*/ 4397087 w 6884782"/>
              <a:gd name="connsiteY59573" fmla="*/ 1253104 h 5973007"/>
              <a:gd name="connsiteX59574" fmla="*/ 4391538 w 6884782"/>
              <a:gd name="connsiteY59574" fmla="*/ 1243999 h 5973007"/>
              <a:gd name="connsiteX59575" fmla="*/ 4396446 w 6884782"/>
              <a:gd name="connsiteY59575" fmla="*/ 1242007 h 5973007"/>
              <a:gd name="connsiteX59576" fmla="*/ 4907587 w 6884782"/>
              <a:gd name="connsiteY59576" fmla="*/ 1241580 h 5973007"/>
              <a:gd name="connsiteX59577" fmla="*/ 4909721 w 6884782"/>
              <a:gd name="connsiteY59577" fmla="*/ 1241580 h 5973007"/>
              <a:gd name="connsiteX59578" fmla="*/ 4908654 w 6884782"/>
              <a:gd name="connsiteY59578" fmla="*/ 1249121 h 5973007"/>
              <a:gd name="connsiteX59579" fmla="*/ 4905453 w 6884782"/>
              <a:gd name="connsiteY59579" fmla="*/ 1250544 h 5973007"/>
              <a:gd name="connsiteX59580" fmla="*/ 4905026 w 6884782"/>
              <a:gd name="connsiteY59580" fmla="*/ 1246845 h 5973007"/>
              <a:gd name="connsiteX59581" fmla="*/ 4907160 w 6884782"/>
              <a:gd name="connsiteY59581" fmla="*/ 1245422 h 5973007"/>
              <a:gd name="connsiteX59582" fmla="*/ 4907587 w 6884782"/>
              <a:gd name="connsiteY59582" fmla="*/ 1241580 h 5973007"/>
              <a:gd name="connsiteX59583" fmla="*/ 1532839 w 6884782"/>
              <a:gd name="connsiteY59583" fmla="*/ 1241361 h 5973007"/>
              <a:gd name="connsiteX59584" fmla="*/ 1534697 w 6884782"/>
              <a:gd name="connsiteY59584" fmla="*/ 1242756 h 5973007"/>
              <a:gd name="connsiteX59585" fmla="*/ 1536556 w 6884782"/>
              <a:gd name="connsiteY59585" fmla="*/ 1243375 h 5973007"/>
              <a:gd name="connsiteX59586" fmla="*/ 1539447 w 6884782"/>
              <a:gd name="connsiteY59586" fmla="*/ 1248022 h 5973007"/>
              <a:gd name="connsiteX59587" fmla="*/ 1522513 w 6884782"/>
              <a:gd name="connsiteY59587" fmla="*/ 1245389 h 5973007"/>
              <a:gd name="connsiteX59588" fmla="*/ 1521068 w 6884782"/>
              <a:gd name="connsiteY59588" fmla="*/ 1244149 h 5973007"/>
              <a:gd name="connsiteX59589" fmla="*/ 1521481 w 6884782"/>
              <a:gd name="connsiteY59589" fmla="*/ 1242136 h 5973007"/>
              <a:gd name="connsiteX59590" fmla="*/ 1532839 w 6884782"/>
              <a:gd name="connsiteY59590" fmla="*/ 1241361 h 5973007"/>
              <a:gd name="connsiteX59591" fmla="*/ 1228543 w 6884782"/>
              <a:gd name="connsiteY59591" fmla="*/ 1241207 h 5973007"/>
              <a:gd name="connsiteX59592" fmla="*/ 1237732 w 6884782"/>
              <a:gd name="connsiteY59592" fmla="*/ 1248332 h 5973007"/>
              <a:gd name="connsiteX59593" fmla="*/ 1224309 w 6884782"/>
              <a:gd name="connsiteY59593" fmla="*/ 1248177 h 5973007"/>
              <a:gd name="connsiteX59594" fmla="*/ 1228543 w 6884782"/>
              <a:gd name="connsiteY59594" fmla="*/ 1241207 h 5973007"/>
              <a:gd name="connsiteX59595" fmla="*/ 4654685 w 6884782"/>
              <a:gd name="connsiteY59595" fmla="*/ 1241012 h 5973007"/>
              <a:gd name="connsiteX59596" fmla="*/ 4656605 w 6884782"/>
              <a:gd name="connsiteY59596" fmla="*/ 1244853 h 5973007"/>
              <a:gd name="connsiteX59597" fmla="*/ 4655965 w 6884782"/>
              <a:gd name="connsiteY59597" fmla="*/ 1249690 h 5973007"/>
              <a:gd name="connsiteX59598" fmla="*/ 4654685 w 6884782"/>
              <a:gd name="connsiteY59598" fmla="*/ 1241012 h 5973007"/>
              <a:gd name="connsiteX59599" fmla="*/ 1625666 w 6884782"/>
              <a:gd name="connsiteY59599" fmla="*/ 1240587 h 5973007"/>
              <a:gd name="connsiteX59600" fmla="*/ 1625460 w 6884782"/>
              <a:gd name="connsiteY59600" fmla="*/ 1241361 h 5973007"/>
              <a:gd name="connsiteX59601" fmla="*/ 1625150 w 6884782"/>
              <a:gd name="connsiteY59601" fmla="*/ 1241826 h 5973007"/>
              <a:gd name="connsiteX59602" fmla="*/ 1626905 w 6884782"/>
              <a:gd name="connsiteY59602" fmla="*/ 1242136 h 5973007"/>
              <a:gd name="connsiteX59603" fmla="*/ 1626389 w 6884782"/>
              <a:gd name="connsiteY59603" fmla="*/ 1240742 h 5973007"/>
              <a:gd name="connsiteX59604" fmla="*/ 3617891 w 6884782"/>
              <a:gd name="connsiteY59604" fmla="*/ 1240158 h 5973007"/>
              <a:gd name="connsiteX59605" fmla="*/ 3617251 w 6884782"/>
              <a:gd name="connsiteY59605" fmla="*/ 1249690 h 5973007"/>
              <a:gd name="connsiteX59606" fmla="*/ 3617891 w 6884782"/>
              <a:gd name="connsiteY59606" fmla="*/ 1240158 h 5973007"/>
              <a:gd name="connsiteX59607" fmla="*/ 1354102 w 6884782"/>
              <a:gd name="connsiteY59607" fmla="*/ 1239657 h 5973007"/>
              <a:gd name="connsiteX59608" fmla="*/ 1360401 w 6884782"/>
              <a:gd name="connsiteY59608" fmla="*/ 1241361 h 5973007"/>
              <a:gd name="connsiteX59609" fmla="*/ 1359265 w 6884782"/>
              <a:gd name="connsiteY59609" fmla="*/ 1241981 h 5973007"/>
              <a:gd name="connsiteX59610" fmla="*/ 1357613 w 6884782"/>
              <a:gd name="connsiteY59610" fmla="*/ 1241361 h 5973007"/>
              <a:gd name="connsiteX59611" fmla="*/ 1354102 w 6884782"/>
              <a:gd name="connsiteY59611" fmla="*/ 1239657 h 5973007"/>
              <a:gd name="connsiteX59612" fmla="*/ 1188376 w 6884782"/>
              <a:gd name="connsiteY59612" fmla="*/ 1239193 h 5973007"/>
              <a:gd name="connsiteX59613" fmla="*/ 1191370 w 6884782"/>
              <a:gd name="connsiteY59613" fmla="*/ 1240277 h 5973007"/>
              <a:gd name="connsiteX59614" fmla="*/ 1191680 w 6884782"/>
              <a:gd name="connsiteY59614" fmla="*/ 1239812 h 5973007"/>
              <a:gd name="connsiteX59615" fmla="*/ 1196740 w 6884782"/>
              <a:gd name="connsiteY59615" fmla="*/ 1243065 h 5973007"/>
              <a:gd name="connsiteX59616" fmla="*/ 1194365 w 6884782"/>
              <a:gd name="connsiteY59616" fmla="*/ 1245234 h 5973007"/>
              <a:gd name="connsiteX59617" fmla="*/ 1194778 w 6884782"/>
              <a:gd name="connsiteY59617" fmla="*/ 1246938 h 5973007"/>
              <a:gd name="connsiteX59618" fmla="*/ 1200870 w 6884782"/>
              <a:gd name="connsiteY59618" fmla="*/ 1247712 h 5973007"/>
              <a:gd name="connsiteX59619" fmla="*/ 1206653 w 6884782"/>
              <a:gd name="connsiteY59619" fmla="*/ 1249726 h 5973007"/>
              <a:gd name="connsiteX59620" fmla="*/ 1184142 w 6884782"/>
              <a:gd name="connsiteY59620" fmla="*/ 1252359 h 5973007"/>
              <a:gd name="connsiteX59621" fmla="*/ 1188376 w 6884782"/>
              <a:gd name="connsiteY59621" fmla="*/ 1248177 h 5973007"/>
              <a:gd name="connsiteX59622" fmla="*/ 1189202 w 6884782"/>
              <a:gd name="connsiteY59622" fmla="*/ 1248022 h 5973007"/>
              <a:gd name="connsiteX59623" fmla="*/ 1187860 w 6884782"/>
              <a:gd name="connsiteY59623" fmla="*/ 1247867 h 5973007"/>
              <a:gd name="connsiteX59624" fmla="*/ 1168344 w 6884782"/>
              <a:gd name="connsiteY59624" fmla="*/ 1245853 h 5973007"/>
              <a:gd name="connsiteX59625" fmla="*/ 1178567 w 6884782"/>
              <a:gd name="connsiteY59625" fmla="*/ 1241826 h 5973007"/>
              <a:gd name="connsiteX59626" fmla="*/ 1188376 w 6884782"/>
              <a:gd name="connsiteY59626" fmla="*/ 1239193 h 5973007"/>
              <a:gd name="connsiteX59627" fmla="*/ 4581268 w 6884782"/>
              <a:gd name="connsiteY59627" fmla="*/ 1239020 h 5973007"/>
              <a:gd name="connsiteX59628" fmla="*/ 4582335 w 6884782"/>
              <a:gd name="connsiteY59628" fmla="*/ 1246987 h 5973007"/>
              <a:gd name="connsiteX59629" fmla="*/ 4582762 w 6884782"/>
              <a:gd name="connsiteY59629" fmla="*/ 1247556 h 5973007"/>
              <a:gd name="connsiteX59630" fmla="*/ 4582548 w 6884782"/>
              <a:gd name="connsiteY59630" fmla="*/ 1247982 h 5973007"/>
              <a:gd name="connsiteX59631" fmla="*/ 4583403 w 6884782"/>
              <a:gd name="connsiteY59631" fmla="*/ 1257515 h 5973007"/>
              <a:gd name="connsiteX59632" fmla="*/ 4581908 w 6884782"/>
              <a:gd name="connsiteY59632" fmla="*/ 1266478 h 5973007"/>
              <a:gd name="connsiteX59633" fmla="*/ 4583189 w 6884782"/>
              <a:gd name="connsiteY59633" fmla="*/ 1266762 h 5973007"/>
              <a:gd name="connsiteX59634" fmla="*/ 4600049 w 6884782"/>
              <a:gd name="connsiteY59634" fmla="*/ 1267616 h 5973007"/>
              <a:gd name="connsiteX59635" fmla="*/ 4597702 w 6884782"/>
              <a:gd name="connsiteY59635" fmla="*/ 1279567 h 5973007"/>
              <a:gd name="connsiteX59636" fmla="*/ 4581268 w 6884782"/>
              <a:gd name="connsiteY59636" fmla="*/ 1287533 h 5973007"/>
              <a:gd name="connsiteX59637" fmla="*/ 4581055 w 6884782"/>
              <a:gd name="connsiteY59637" fmla="*/ 1287392 h 5973007"/>
              <a:gd name="connsiteX59638" fmla="*/ 4574225 w 6884782"/>
              <a:gd name="connsiteY59638" fmla="*/ 1287392 h 5973007"/>
              <a:gd name="connsiteX59639" fmla="*/ 4573158 w 6884782"/>
              <a:gd name="connsiteY59639" fmla="*/ 1285115 h 5973007"/>
              <a:gd name="connsiteX59640" fmla="*/ 4569103 w 6884782"/>
              <a:gd name="connsiteY59640" fmla="*/ 1286253 h 5973007"/>
              <a:gd name="connsiteX59641" fmla="*/ 4566542 w 6884782"/>
              <a:gd name="connsiteY59641" fmla="*/ 1277433 h 5973007"/>
              <a:gd name="connsiteX59642" fmla="*/ 4552457 w 6884782"/>
              <a:gd name="connsiteY59642" fmla="*/ 1284119 h 5973007"/>
              <a:gd name="connsiteX59643" fmla="*/ 4549255 w 6884782"/>
              <a:gd name="connsiteY59643" fmla="*/ 1283265 h 5973007"/>
              <a:gd name="connsiteX59644" fmla="*/ 4547548 w 6884782"/>
              <a:gd name="connsiteY59644" fmla="*/ 1283265 h 5973007"/>
              <a:gd name="connsiteX59645" fmla="*/ 4558859 w 6884782"/>
              <a:gd name="connsiteY59645" fmla="*/ 1287249 h 5973007"/>
              <a:gd name="connsiteX59646" fmla="*/ 4566969 w 6884782"/>
              <a:gd name="connsiteY59646" fmla="*/ 1296069 h 5973007"/>
              <a:gd name="connsiteX59647" fmla="*/ 4567609 w 6884782"/>
              <a:gd name="connsiteY59647" fmla="*/ 1312858 h 5973007"/>
              <a:gd name="connsiteX59648" fmla="*/ 4567823 w 6884782"/>
              <a:gd name="connsiteY59648" fmla="*/ 1313426 h 5973007"/>
              <a:gd name="connsiteX59649" fmla="*/ 4568036 w 6884782"/>
              <a:gd name="connsiteY59649" fmla="*/ 1313000 h 5973007"/>
              <a:gd name="connsiteX59650" fmla="*/ 4568677 w 6884782"/>
              <a:gd name="connsiteY59650" fmla="*/ 1313853 h 5973007"/>
              <a:gd name="connsiteX59651" fmla="*/ 4569744 w 6884782"/>
              <a:gd name="connsiteY59651" fmla="*/ 1314991 h 5973007"/>
              <a:gd name="connsiteX59652" fmla="*/ 4569957 w 6884782"/>
              <a:gd name="connsiteY59652" fmla="*/ 1315418 h 5973007"/>
              <a:gd name="connsiteX59653" fmla="*/ 4569103 w 6884782"/>
              <a:gd name="connsiteY59653" fmla="*/ 1316841 h 5973007"/>
              <a:gd name="connsiteX59654" fmla="*/ 4569957 w 6884782"/>
              <a:gd name="connsiteY59654" fmla="*/ 1318833 h 5973007"/>
              <a:gd name="connsiteX59655" fmla="*/ 4571877 w 6884782"/>
              <a:gd name="connsiteY59655" fmla="*/ 1325235 h 5973007"/>
              <a:gd name="connsiteX59656" fmla="*/ 4564835 w 6884782"/>
              <a:gd name="connsiteY59656" fmla="*/ 1340884 h 5973007"/>
              <a:gd name="connsiteX59657" fmla="*/ 4561847 w 6884782"/>
              <a:gd name="connsiteY59657" fmla="*/ 1345437 h 5973007"/>
              <a:gd name="connsiteX59658" fmla="*/ 4559713 w 6884782"/>
              <a:gd name="connsiteY59658" fmla="*/ 1349563 h 5973007"/>
              <a:gd name="connsiteX59659" fmla="*/ 4559499 w 6884782"/>
              <a:gd name="connsiteY59659" fmla="*/ 1349989 h 5973007"/>
              <a:gd name="connsiteX59660" fmla="*/ 4558006 w 6884782"/>
              <a:gd name="connsiteY59660" fmla="*/ 1359806 h 5973007"/>
              <a:gd name="connsiteX59661" fmla="*/ 4552243 w 6884782"/>
              <a:gd name="connsiteY59661" fmla="*/ 1367916 h 5973007"/>
              <a:gd name="connsiteX59662" fmla="*/ 4542426 w 6884782"/>
              <a:gd name="connsiteY59662" fmla="*/ 1370761 h 5973007"/>
              <a:gd name="connsiteX59663" fmla="*/ 4539011 w 6884782"/>
              <a:gd name="connsiteY59663" fmla="*/ 1369053 h 5973007"/>
              <a:gd name="connsiteX59664" fmla="*/ 4525566 w 6884782"/>
              <a:gd name="connsiteY59664" fmla="*/ 1374602 h 5973007"/>
              <a:gd name="connsiteX59665" fmla="*/ 4525139 w 6884782"/>
              <a:gd name="connsiteY59665" fmla="*/ 1374602 h 5973007"/>
              <a:gd name="connsiteX59666" fmla="*/ 4523432 w 6884782"/>
              <a:gd name="connsiteY59666" fmla="*/ 1376025 h 5973007"/>
              <a:gd name="connsiteX59667" fmla="*/ 4524285 w 6884782"/>
              <a:gd name="connsiteY59667" fmla="*/ 1378301 h 5973007"/>
              <a:gd name="connsiteX59668" fmla="*/ 4534743 w 6884782"/>
              <a:gd name="connsiteY59668" fmla="*/ 1389256 h 5973007"/>
              <a:gd name="connsiteX59669" fmla="*/ 4527273 w 6884782"/>
              <a:gd name="connsiteY59669" fmla="*/ 1389398 h 5973007"/>
              <a:gd name="connsiteX59670" fmla="*/ 4527913 w 6884782"/>
              <a:gd name="connsiteY59670" fmla="*/ 1391106 h 5973007"/>
              <a:gd name="connsiteX59671" fmla="*/ 4529834 w 6884782"/>
              <a:gd name="connsiteY59671" fmla="*/ 1402487 h 5973007"/>
              <a:gd name="connsiteX59672" fmla="*/ 4529834 w 6884782"/>
              <a:gd name="connsiteY59672" fmla="*/ 1409173 h 5973007"/>
              <a:gd name="connsiteX59673" fmla="*/ 4532181 w 6884782"/>
              <a:gd name="connsiteY59673" fmla="*/ 1407181 h 5973007"/>
              <a:gd name="connsiteX59674" fmla="*/ 4541786 w 6884782"/>
              <a:gd name="connsiteY59674" fmla="*/ 1405047 h 5973007"/>
              <a:gd name="connsiteX59675" fmla="*/ 4542212 w 6884782"/>
              <a:gd name="connsiteY59675" fmla="*/ 1416002 h 5973007"/>
              <a:gd name="connsiteX59676" fmla="*/ 4536877 w 6884782"/>
              <a:gd name="connsiteY59676" fmla="*/ 1419986 h 5973007"/>
              <a:gd name="connsiteX59677" fmla="*/ 4532181 w 6884782"/>
              <a:gd name="connsiteY59677" fmla="*/ 1419559 h 5973007"/>
              <a:gd name="connsiteX59678" fmla="*/ 4529621 w 6884782"/>
              <a:gd name="connsiteY59678" fmla="*/ 1419559 h 5973007"/>
              <a:gd name="connsiteX59679" fmla="*/ 4528980 w 6884782"/>
              <a:gd name="connsiteY59679" fmla="*/ 1439192 h 5973007"/>
              <a:gd name="connsiteX59680" fmla="*/ 4516175 w 6884782"/>
              <a:gd name="connsiteY59680" fmla="*/ 1436347 h 5973007"/>
              <a:gd name="connsiteX59681" fmla="*/ 4518950 w 6884782"/>
              <a:gd name="connsiteY59681" fmla="*/ 1405474 h 5973007"/>
              <a:gd name="connsiteX59682" fmla="*/ 4520444 w 6884782"/>
              <a:gd name="connsiteY59682" fmla="*/ 1389683 h 5973007"/>
              <a:gd name="connsiteX59683" fmla="*/ 4515748 w 6884782"/>
              <a:gd name="connsiteY59683" fmla="*/ 1389683 h 5973007"/>
              <a:gd name="connsiteX59684" fmla="*/ 4499955 w 6884782"/>
              <a:gd name="connsiteY59684" fmla="*/ 1384561 h 5973007"/>
              <a:gd name="connsiteX59685" fmla="*/ 4495900 w 6884782"/>
              <a:gd name="connsiteY59685" fmla="*/ 1381573 h 5973007"/>
              <a:gd name="connsiteX59686" fmla="*/ 4493766 w 6884782"/>
              <a:gd name="connsiteY59686" fmla="*/ 1382142 h 5973007"/>
              <a:gd name="connsiteX59687" fmla="*/ 4492059 w 6884782"/>
              <a:gd name="connsiteY59687" fmla="*/ 1382000 h 5973007"/>
              <a:gd name="connsiteX59688" fmla="*/ 4491632 w 6884782"/>
              <a:gd name="connsiteY59688" fmla="*/ 1382427 h 5973007"/>
              <a:gd name="connsiteX59689" fmla="*/ 4490138 w 6884782"/>
              <a:gd name="connsiteY59689" fmla="*/ 1383138 h 5973007"/>
              <a:gd name="connsiteX59690" fmla="*/ 4490352 w 6884782"/>
              <a:gd name="connsiteY59690" fmla="*/ 1382000 h 5973007"/>
              <a:gd name="connsiteX59691" fmla="*/ 4490352 w 6884782"/>
              <a:gd name="connsiteY59691" fmla="*/ 1381858 h 5973007"/>
              <a:gd name="connsiteX59692" fmla="*/ 4486937 w 6884782"/>
              <a:gd name="connsiteY59692" fmla="*/ 1381431 h 5973007"/>
              <a:gd name="connsiteX59693" fmla="*/ 4490352 w 6884782"/>
              <a:gd name="connsiteY59693" fmla="*/ 1372895 h 5973007"/>
              <a:gd name="connsiteX59694" fmla="*/ 4495260 w 6884782"/>
              <a:gd name="connsiteY59694" fmla="*/ 1365354 h 5973007"/>
              <a:gd name="connsiteX59695" fmla="*/ 4495900 w 6884782"/>
              <a:gd name="connsiteY59695" fmla="*/ 1371330 h 5973007"/>
              <a:gd name="connsiteX59696" fmla="*/ 4498248 w 6884782"/>
              <a:gd name="connsiteY59696" fmla="*/ 1370191 h 5973007"/>
              <a:gd name="connsiteX59697" fmla="*/ 4499102 w 6884782"/>
              <a:gd name="connsiteY59697" fmla="*/ 1373748 h 5973007"/>
              <a:gd name="connsiteX59698" fmla="*/ 4501023 w 6884782"/>
              <a:gd name="connsiteY59698" fmla="*/ 1373464 h 5973007"/>
              <a:gd name="connsiteX59699" fmla="*/ 4508492 w 6884782"/>
              <a:gd name="connsiteY59699" fmla="*/ 1374602 h 5973007"/>
              <a:gd name="connsiteX59700" fmla="*/ 4508492 w 6884782"/>
              <a:gd name="connsiteY59700" fmla="*/ 1372610 h 5973007"/>
              <a:gd name="connsiteX59701" fmla="*/ 4503156 w 6884782"/>
              <a:gd name="connsiteY59701" fmla="*/ 1370476 h 5973007"/>
              <a:gd name="connsiteX59702" fmla="*/ 4495260 w 6884782"/>
              <a:gd name="connsiteY59702" fmla="*/ 1365354 h 5973007"/>
              <a:gd name="connsiteX59703" fmla="*/ 4493766 w 6884782"/>
              <a:gd name="connsiteY59703" fmla="*/ 1364359 h 5973007"/>
              <a:gd name="connsiteX59704" fmla="*/ 4482669 w 6884782"/>
              <a:gd name="connsiteY59704" fmla="*/ 1358525 h 5973007"/>
              <a:gd name="connsiteX59705" fmla="*/ 4474345 w 6884782"/>
              <a:gd name="connsiteY59705" fmla="*/ 1332633 h 5973007"/>
              <a:gd name="connsiteX59706" fmla="*/ 4486510 w 6884782"/>
              <a:gd name="connsiteY59706" fmla="*/ 1297350 h 5973007"/>
              <a:gd name="connsiteX59707" fmla="*/ 4523645 w 6884782"/>
              <a:gd name="connsiteY59707" fmla="*/ 1275726 h 5973007"/>
              <a:gd name="connsiteX59708" fmla="*/ 4534529 w 6884782"/>
              <a:gd name="connsiteY59708" fmla="*/ 1280420 h 5973007"/>
              <a:gd name="connsiteX59709" fmla="*/ 4543707 w 6884782"/>
              <a:gd name="connsiteY59709" fmla="*/ 1282412 h 5973007"/>
              <a:gd name="connsiteX59710" fmla="*/ 4542212 w 6884782"/>
              <a:gd name="connsiteY59710" fmla="*/ 1277148 h 5973007"/>
              <a:gd name="connsiteX59711" fmla="*/ 4540505 w 6884782"/>
              <a:gd name="connsiteY59711" fmla="*/ 1268185 h 5973007"/>
              <a:gd name="connsiteX59712" fmla="*/ 4554164 w 6884782"/>
              <a:gd name="connsiteY59712" fmla="*/ 1254669 h 5973007"/>
              <a:gd name="connsiteX59713" fmla="*/ 4555444 w 6884782"/>
              <a:gd name="connsiteY59713" fmla="*/ 1255523 h 5973007"/>
              <a:gd name="connsiteX59714" fmla="*/ 4557792 w 6884782"/>
              <a:gd name="connsiteY59714" fmla="*/ 1256661 h 5973007"/>
              <a:gd name="connsiteX59715" fmla="*/ 4561420 w 6884782"/>
              <a:gd name="connsiteY59715" fmla="*/ 1255096 h 5973007"/>
              <a:gd name="connsiteX59716" fmla="*/ 4564835 w 6884782"/>
              <a:gd name="connsiteY59716" fmla="*/ 1256946 h 5973007"/>
              <a:gd name="connsiteX59717" fmla="*/ 4566756 w 6884782"/>
              <a:gd name="connsiteY59717" fmla="*/ 1262921 h 5973007"/>
              <a:gd name="connsiteX59718" fmla="*/ 4565902 w 6884782"/>
              <a:gd name="connsiteY59718" fmla="*/ 1263917 h 5973007"/>
              <a:gd name="connsiteX59719" fmla="*/ 4567823 w 6884782"/>
              <a:gd name="connsiteY59719" fmla="*/ 1271031 h 5973007"/>
              <a:gd name="connsiteX59720" fmla="*/ 4567182 w 6884782"/>
              <a:gd name="connsiteY59720" fmla="*/ 1275441 h 5973007"/>
              <a:gd name="connsiteX59721" fmla="*/ 4568890 w 6884782"/>
              <a:gd name="connsiteY59721" fmla="*/ 1268612 h 5973007"/>
              <a:gd name="connsiteX59722" fmla="*/ 4569957 w 6884782"/>
              <a:gd name="connsiteY59722" fmla="*/ 1266193 h 5973007"/>
              <a:gd name="connsiteX59723" fmla="*/ 4568677 w 6884782"/>
              <a:gd name="connsiteY59723" fmla="*/ 1266193 h 5973007"/>
              <a:gd name="connsiteX59724" fmla="*/ 4569957 w 6884782"/>
              <a:gd name="connsiteY59724" fmla="*/ 1264912 h 5973007"/>
              <a:gd name="connsiteX59725" fmla="*/ 4570170 w 6884782"/>
              <a:gd name="connsiteY59725" fmla="*/ 1264628 h 5973007"/>
              <a:gd name="connsiteX59726" fmla="*/ 4570170 w 6884782"/>
              <a:gd name="connsiteY59726" fmla="*/ 1263490 h 5973007"/>
              <a:gd name="connsiteX59727" fmla="*/ 4573585 w 6884782"/>
              <a:gd name="connsiteY59727" fmla="*/ 1259506 h 5973007"/>
              <a:gd name="connsiteX59728" fmla="*/ 4574652 w 6884782"/>
              <a:gd name="connsiteY59728" fmla="*/ 1259648 h 5973007"/>
              <a:gd name="connsiteX59729" fmla="*/ 4574439 w 6884782"/>
              <a:gd name="connsiteY59729" fmla="*/ 1252962 h 5973007"/>
              <a:gd name="connsiteX59730" fmla="*/ 4574865 w 6884782"/>
              <a:gd name="connsiteY59730" fmla="*/ 1251112 h 5973007"/>
              <a:gd name="connsiteX59731" fmla="*/ 4574225 w 6884782"/>
              <a:gd name="connsiteY59731" fmla="*/ 1250544 h 5973007"/>
              <a:gd name="connsiteX59732" fmla="*/ 4575079 w 6884782"/>
              <a:gd name="connsiteY59732" fmla="*/ 1249548 h 5973007"/>
              <a:gd name="connsiteX59733" fmla="*/ 4576146 w 6884782"/>
              <a:gd name="connsiteY59733" fmla="*/ 1243572 h 5973007"/>
              <a:gd name="connsiteX59734" fmla="*/ 4581268 w 6884782"/>
              <a:gd name="connsiteY59734" fmla="*/ 1239020 h 5973007"/>
              <a:gd name="connsiteX59735" fmla="*/ 4095311 w 6884782"/>
              <a:gd name="connsiteY59735" fmla="*/ 1237455 h 5973007"/>
              <a:gd name="connsiteX59736" fmla="*/ 4091896 w 6884782"/>
              <a:gd name="connsiteY59736" fmla="*/ 1247271 h 5973007"/>
              <a:gd name="connsiteX59737" fmla="*/ 4089549 w 6884782"/>
              <a:gd name="connsiteY59737" fmla="*/ 1252535 h 5973007"/>
              <a:gd name="connsiteX59738" fmla="*/ 4086561 w 6884782"/>
              <a:gd name="connsiteY59738" fmla="*/ 1253389 h 5973007"/>
              <a:gd name="connsiteX59739" fmla="*/ 4085494 w 6884782"/>
              <a:gd name="connsiteY59739" fmla="*/ 1252820 h 5973007"/>
              <a:gd name="connsiteX59740" fmla="*/ 4085708 w 6884782"/>
              <a:gd name="connsiteY59740" fmla="*/ 1250117 h 5973007"/>
              <a:gd name="connsiteX59741" fmla="*/ 4091256 w 6884782"/>
              <a:gd name="connsiteY59741" fmla="*/ 1240443 h 5973007"/>
              <a:gd name="connsiteX59742" fmla="*/ 4092324 w 6884782"/>
              <a:gd name="connsiteY59742" fmla="*/ 1238308 h 5973007"/>
              <a:gd name="connsiteX59743" fmla="*/ 4095311 w 6884782"/>
              <a:gd name="connsiteY59743" fmla="*/ 1237455 h 5973007"/>
              <a:gd name="connsiteX59744" fmla="*/ 4590872 w 6884782"/>
              <a:gd name="connsiteY59744" fmla="*/ 1237028 h 5973007"/>
              <a:gd name="connsiteX59745" fmla="*/ 4596207 w 6884782"/>
              <a:gd name="connsiteY59745" fmla="*/ 1237739 h 5973007"/>
              <a:gd name="connsiteX59746" fmla="*/ 4595141 w 6884782"/>
              <a:gd name="connsiteY59746" fmla="*/ 1237739 h 5973007"/>
              <a:gd name="connsiteX59747" fmla="*/ 4594714 w 6884782"/>
              <a:gd name="connsiteY59747" fmla="*/ 1240158 h 5973007"/>
              <a:gd name="connsiteX59748" fmla="*/ 4595994 w 6884782"/>
              <a:gd name="connsiteY59748" fmla="*/ 1240158 h 5973007"/>
              <a:gd name="connsiteX59749" fmla="*/ 4594500 w 6884782"/>
              <a:gd name="connsiteY59749" fmla="*/ 1242576 h 5973007"/>
              <a:gd name="connsiteX59750" fmla="*/ 4585963 w 6884782"/>
              <a:gd name="connsiteY59750" fmla="*/ 1245991 h 5973007"/>
              <a:gd name="connsiteX59751" fmla="*/ 4586604 w 6884782"/>
              <a:gd name="connsiteY59751" fmla="*/ 1239873 h 5973007"/>
              <a:gd name="connsiteX59752" fmla="*/ 4590872 w 6884782"/>
              <a:gd name="connsiteY59752" fmla="*/ 1237028 h 5973007"/>
              <a:gd name="connsiteX59753" fmla="*/ 1294110 w 6884782"/>
              <a:gd name="connsiteY59753" fmla="*/ 1236714 h 5973007"/>
              <a:gd name="connsiteX59754" fmla="*/ 1296589 w 6884782"/>
              <a:gd name="connsiteY59754" fmla="*/ 1236714 h 5973007"/>
              <a:gd name="connsiteX59755" fmla="*/ 1295659 w 6884782"/>
              <a:gd name="connsiteY59755" fmla="*/ 1240122 h 5973007"/>
              <a:gd name="connsiteX59756" fmla="*/ 1293078 w 6884782"/>
              <a:gd name="connsiteY59756" fmla="*/ 1237954 h 5973007"/>
              <a:gd name="connsiteX59757" fmla="*/ 1294110 w 6884782"/>
              <a:gd name="connsiteY59757" fmla="*/ 1236714 h 5973007"/>
              <a:gd name="connsiteX59758" fmla="*/ 1462005 w 6884782"/>
              <a:gd name="connsiteY59758" fmla="*/ 1236095 h 5973007"/>
              <a:gd name="connsiteX59759" fmla="*/ 1463864 w 6884782"/>
              <a:gd name="connsiteY59759" fmla="*/ 1237489 h 5973007"/>
              <a:gd name="connsiteX59760" fmla="*/ 1465619 w 6884782"/>
              <a:gd name="connsiteY59760" fmla="*/ 1237334 h 5973007"/>
              <a:gd name="connsiteX59761" fmla="*/ 1466652 w 6884782"/>
              <a:gd name="connsiteY59761" fmla="*/ 1239657 h 5973007"/>
              <a:gd name="connsiteX59762" fmla="*/ 1462005 w 6884782"/>
              <a:gd name="connsiteY59762" fmla="*/ 1236095 h 5973007"/>
              <a:gd name="connsiteX59763" fmla="*/ 1585603 w 6884782"/>
              <a:gd name="connsiteY59763" fmla="*/ 1235475 h 5973007"/>
              <a:gd name="connsiteX59764" fmla="*/ 1599026 w 6884782"/>
              <a:gd name="connsiteY59764" fmla="*/ 1243375 h 5973007"/>
              <a:gd name="connsiteX59765" fmla="*/ 1598820 w 6884782"/>
              <a:gd name="connsiteY59765" fmla="*/ 1246008 h 5973007"/>
              <a:gd name="connsiteX59766" fmla="*/ 1597994 w 6884782"/>
              <a:gd name="connsiteY59766" fmla="*/ 1247402 h 5973007"/>
              <a:gd name="connsiteX59767" fmla="*/ 1601504 w 6884782"/>
              <a:gd name="connsiteY59767" fmla="*/ 1252359 h 5973007"/>
              <a:gd name="connsiteX59768" fmla="*/ 1602433 w 6884782"/>
              <a:gd name="connsiteY59768" fmla="*/ 1254992 h 5973007"/>
              <a:gd name="connsiteX59769" fmla="*/ 1585190 w 6884782"/>
              <a:gd name="connsiteY59769" fmla="*/ 1257161 h 5973007"/>
              <a:gd name="connsiteX59770" fmla="*/ 1584673 w 6884782"/>
              <a:gd name="connsiteY59770" fmla="*/ 1258090 h 5973007"/>
              <a:gd name="connsiteX59771" fmla="*/ 1584054 w 6884782"/>
              <a:gd name="connsiteY59771" fmla="*/ 1258865 h 5973007"/>
              <a:gd name="connsiteX59772" fmla="*/ 1583641 w 6884782"/>
              <a:gd name="connsiteY59772" fmla="*/ 1258090 h 5973007"/>
              <a:gd name="connsiteX59773" fmla="*/ 1583951 w 6884782"/>
              <a:gd name="connsiteY59773" fmla="*/ 1256851 h 5973007"/>
              <a:gd name="connsiteX59774" fmla="*/ 1584054 w 6884782"/>
              <a:gd name="connsiteY59774" fmla="*/ 1256541 h 5973007"/>
              <a:gd name="connsiteX59775" fmla="*/ 1579924 w 6884782"/>
              <a:gd name="connsiteY59775" fmla="*/ 1254063 h 5973007"/>
              <a:gd name="connsiteX59776" fmla="*/ 1572593 w 6884782"/>
              <a:gd name="connsiteY59776" fmla="*/ 1246782 h 5973007"/>
              <a:gd name="connsiteX59777" fmla="*/ 1573212 w 6884782"/>
              <a:gd name="connsiteY59777" fmla="*/ 1243995 h 5973007"/>
              <a:gd name="connsiteX59778" fmla="*/ 1581060 w 6884782"/>
              <a:gd name="connsiteY59778" fmla="*/ 1239193 h 5973007"/>
              <a:gd name="connsiteX59779" fmla="*/ 1583951 w 6884782"/>
              <a:gd name="connsiteY59779" fmla="*/ 1239347 h 5973007"/>
              <a:gd name="connsiteX59780" fmla="*/ 1583951 w 6884782"/>
              <a:gd name="connsiteY59780" fmla="*/ 1239193 h 5973007"/>
              <a:gd name="connsiteX59781" fmla="*/ 1584157 w 6884782"/>
              <a:gd name="connsiteY59781" fmla="*/ 1238728 h 5973007"/>
              <a:gd name="connsiteX59782" fmla="*/ 1583744 w 6884782"/>
              <a:gd name="connsiteY59782" fmla="*/ 1238418 h 5973007"/>
              <a:gd name="connsiteX59783" fmla="*/ 1582299 w 6884782"/>
              <a:gd name="connsiteY59783" fmla="*/ 1236405 h 5973007"/>
              <a:gd name="connsiteX59784" fmla="*/ 1583951 w 6884782"/>
              <a:gd name="connsiteY59784" fmla="*/ 1238109 h 5973007"/>
              <a:gd name="connsiteX59785" fmla="*/ 1584467 w 6884782"/>
              <a:gd name="connsiteY59785" fmla="*/ 1237954 h 5973007"/>
              <a:gd name="connsiteX59786" fmla="*/ 3970461 w 6884782"/>
              <a:gd name="connsiteY59786" fmla="*/ 1235321 h 5973007"/>
              <a:gd name="connsiteX59787" fmla="*/ 3972595 w 6884782"/>
              <a:gd name="connsiteY59787" fmla="*/ 1235463 h 5973007"/>
              <a:gd name="connsiteX59788" fmla="*/ 3970675 w 6884782"/>
              <a:gd name="connsiteY59788" fmla="*/ 1242719 h 5973007"/>
              <a:gd name="connsiteX59789" fmla="*/ 3967473 w 6884782"/>
              <a:gd name="connsiteY59789" fmla="*/ 1243857 h 5973007"/>
              <a:gd name="connsiteX59790" fmla="*/ 3967260 w 6884782"/>
              <a:gd name="connsiteY59790" fmla="*/ 1240158 h 5973007"/>
              <a:gd name="connsiteX59791" fmla="*/ 3969394 w 6884782"/>
              <a:gd name="connsiteY59791" fmla="*/ 1239020 h 5973007"/>
              <a:gd name="connsiteX59792" fmla="*/ 3970461 w 6884782"/>
              <a:gd name="connsiteY59792" fmla="*/ 1235321 h 5973007"/>
              <a:gd name="connsiteX59793" fmla="*/ 4924661 w 6884782"/>
              <a:gd name="connsiteY59793" fmla="*/ 1234040 h 5973007"/>
              <a:gd name="connsiteX59794" fmla="*/ 4927435 w 6884782"/>
              <a:gd name="connsiteY59794" fmla="*/ 1234609 h 5973007"/>
              <a:gd name="connsiteX59795" fmla="*/ 4927222 w 6884782"/>
              <a:gd name="connsiteY59795" fmla="*/ 1240585 h 5973007"/>
              <a:gd name="connsiteX59796" fmla="*/ 4917404 w 6884782"/>
              <a:gd name="connsiteY59796" fmla="*/ 1244853 h 5973007"/>
              <a:gd name="connsiteX59797" fmla="*/ 4916764 w 6884782"/>
              <a:gd name="connsiteY59797" fmla="*/ 1240158 h 5973007"/>
              <a:gd name="connsiteX59798" fmla="*/ 4924661 w 6884782"/>
              <a:gd name="connsiteY59798" fmla="*/ 1234040 h 5973007"/>
              <a:gd name="connsiteX59799" fmla="*/ 4282267 w 6884782"/>
              <a:gd name="connsiteY59799" fmla="*/ 1233044 h 5973007"/>
              <a:gd name="connsiteX59800" fmla="*/ 4288029 w 6884782"/>
              <a:gd name="connsiteY59800" fmla="*/ 1237313 h 5973007"/>
              <a:gd name="connsiteX59801" fmla="*/ 4288243 w 6884782"/>
              <a:gd name="connsiteY59801" fmla="*/ 1237881 h 5973007"/>
              <a:gd name="connsiteX59802" fmla="*/ 4290377 w 6884782"/>
              <a:gd name="connsiteY59802" fmla="*/ 1237455 h 5973007"/>
              <a:gd name="connsiteX59803" fmla="*/ 4294645 w 6884782"/>
              <a:gd name="connsiteY59803" fmla="*/ 1238735 h 5973007"/>
              <a:gd name="connsiteX59804" fmla="*/ 4277572 w 6884782"/>
              <a:gd name="connsiteY59804" fmla="*/ 1249690 h 5973007"/>
              <a:gd name="connsiteX59805" fmla="*/ 4276718 w 6884782"/>
              <a:gd name="connsiteY59805" fmla="*/ 1239731 h 5973007"/>
              <a:gd name="connsiteX59806" fmla="*/ 4281413 w 6884782"/>
              <a:gd name="connsiteY59806" fmla="*/ 1239020 h 5973007"/>
              <a:gd name="connsiteX59807" fmla="*/ 4280986 w 6884782"/>
              <a:gd name="connsiteY59807" fmla="*/ 1237313 h 5973007"/>
              <a:gd name="connsiteX59808" fmla="*/ 4282267 w 6884782"/>
              <a:gd name="connsiteY59808" fmla="*/ 1233044 h 5973007"/>
              <a:gd name="connsiteX59809" fmla="*/ 1652719 w 6884782"/>
              <a:gd name="connsiteY59809" fmla="*/ 1232378 h 5973007"/>
              <a:gd name="connsiteX59810" fmla="*/ 1664284 w 6884782"/>
              <a:gd name="connsiteY59810" fmla="*/ 1234236 h 5973007"/>
              <a:gd name="connsiteX59811" fmla="*/ 1641361 w 6884782"/>
              <a:gd name="connsiteY59811" fmla="*/ 1238728 h 5973007"/>
              <a:gd name="connsiteX59812" fmla="*/ 1652719 w 6884782"/>
              <a:gd name="connsiteY59812" fmla="*/ 1232378 h 5973007"/>
              <a:gd name="connsiteX59813" fmla="*/ 1157503 w 6884782"/>
              <a:gd name="connsiteY59813" fmla="*/ 1232067 h 5973007"/>
              <a:gd name="connsiteX59814" fmla="*/ 1161013 w 6884782"/>
              <a:gd name="connsiteY59814" fmla="*/ 1232532 h 5973007"/>
              <a:gd name="connsiteX59815" fmla="*/ 1154715 w 6884782"/>
              <a:gd name="connsiteY59815" fmla="*/ 1233462 h 5973007"/>
              <a:gd name="connsiteX59816" fmla="*/ 1157503 w 6884782"/>
              <a:gd name="connsiteY59816" fmla="*/ 1232067 h 5973007"/>
              <a:gd name="connsiteX59817" fmla="*/ 1453848 w 6884782"/>
              <a:gd name="connsiteY59817" fmla="*/ 1231448 h 5973007"/>
              <a:gd name="connsiteX59818" fmla="*/ 1455706 w 6884782"/>
              <a:gd name="connsiteY59818" fmla="*/ 1233771 h 5973007"/>
              <a:gd name="connsiteX59819" fmla="*/ 1459217 w 6884782"/>
              <a:gd name="connsiteY59819" fmla="*/ 1234081 h 5973007"/>
              <a:gd name="connsiteX59820" fmla="*/ 1461076 w 6884782"/>
              <a:gd name="connsiteY59820" fmla="*/ 1236250 h 5973007"/>
              <a:gd name="connsiteX59821" fmla="*/ 1460250 w 6884782"/>
              <a:gd name="connsiteY59821" fmla="*/ 1236405 h 5973007"/>
              <a:gd name="connsiteX59822" fmla="*/ 1458391 w 6884782"/>
              <a:gd name="connsiteY59822" fmla="*/ 1235011 h 5973007"/>
              <a:gd name="connsiteX59823" fmla="*/ 1452299 w 6884782"/>
              <a:gd name="connsiteY59823" fmla="*/ 1234236 h 5973007"/>
              <a:gd name="connsiteX59824" fmla="*/ 1451266 w 6884782"/>
              <a:gd name="connsiteY59824" fmla="*/ 1232687 h 5973007"/>
              <a:gd name="connsiteX59825" fmla="*/ 1453848 w 6884782"/>
              <a:gd name="connsiteY59825" fmla="*/ 1231448 h 5973007"/>
              <a:gd name="connsiteX59826" fmla="*/ 1574761 w 6884782"/>
              <a:gd name="connsiteY59826" fmla="*/ 1230983 h 5973007"/>
              <a:gd name="connsiteX59827" fmla="*/ 1576310 w 6884782"/>
              <a:gd name="connsiteY59827" fmla="*/ 1233462 h 5973007"/>
              <a:gd name="connsiteX59828" fmla="*/ 1579820 w 6884782"/>
              <a:gd name="connsiteY59828" fmla="*/ 1234081 h 5973007"/>
              <a:gd name="connsiteX59829" fmla="*/ 1581369 w 6884782"/>
              <a:gd name="connsiteY59829" fmla="*/ 1236560 h 5973007"/>
              <a:gd name="connsiteX59830" fmla="*/ 1580543 w 6884782"/>
              <a:gd name="connsiteY59830" fmla="*/ 1236560 h 5973007"/>
              <a:gd name="connsiteX59831" fmla="*/ 1578891 w 6884782"/>
              <a:gd name="connsiteY59831" fmla="*/ 1235011 h 5973007"/>
              <a:gd name="connsiteX59832" fmla="*/ 1572902 w 6884782"/>
              <a:gd name="connsiteY59832" fmla="*/ 1233617 h 5973007"/>
              <a:gd name="connsiteX59833" fmla="*/ 1572179 w 6884782"/>
              <a:gd name="connsiteY59833" fmla="*/ 1231913 h 5973007"/>
              <a:gd name="connsiteX59834" fmla="*/ 1574761 w 6884782"/>
              <a:gd name="connsiteY59834" fmla="*/ 1230983 h 5973007"/>
              <a:gd name="connsiteX59835" fmla="*/ 1437843 w 6884782"/>
              <a:gd name="connsiteY59835" fmla="*/ 1230674 h 5973007"/>
              <a:gd name="connsiteX59836" fmla="*/ 1438463 w 6884782"/>
              <a:gd name="connsiteY59836" fmla="*/ 1236869 h 5973007"/>
              <a:gd name="connsiteX59837" fmla="*/ 1436604 w 6884782"/>
              <a:gd name="connsiteY59837" fmla="*/ 1242445 h 5973007"/>
              <a:gd name="connsiteX59838" fmla="*/ 1439598 w 6884782"/>
              <a:gd name="connsiteY59838" fmla="*/ 1241981 h 5973007"/>
              <a:gd name="connsiteX59839" fmla="*/ 1443006 w 6884782"/>
              <a:gd name="connsiteY59839" fmla="*/ 1243220 h 5973007"/>
              <a:gd name="connsiteX59840" fmla="*/ 1443832 w 6884782"/>
              <a:gd name="connsiteY59840" fmla="*/ 1243995 h 5973007"/>
              <a:gd name="connsiteX59841" fmla="*/ 1439702 w 6884782"/>
              <a:gd name="connsiteY59841" fmla="*/ 1243530 h 5973007"/>
              <a:gd name="connsiteX59842" fmla="*/ 1436501 w 6884782"/>
              <a:gd name="connsiteY59842" fmla="*/ 1242601 h 5973007"/>
              <a:gd name="connsiteX59843" fmla="*/ 1436398 w 6884782"/>
              <a:gd name="connsiteY59843" fmla="*/ 1242911 h 5973007"/>
              <a:gd name="connsiteX59844" fmla="*/ 1428963 w 6884782"/>
              <a:gd name="connsiteY59844" fmla="*/ 1252204 h 5973007"/>
              <a:gd name="connsiteX59845" fmla="*/ 1428240 w 6884782"/>
              <a:gd name="connsiteY59845" fmla="*/ 1245853 h 5973007"/>
              <a:gd name="connsiteX59846" fmla="*/ 1437843 w 6884782"/>
              <a:gd name="connsiteY59846" fmla="*/ 1230674 h 5973007"/>
              <a:gd name="connsiteX59847" fmla="*/ 3508194 w 6884782"/>
              <a:gd name="connsiteY59847" fmla="*/ 1230484 h 5973007"/>
              <a:gd name="connsiteX59848" fmla="*/ 3511182 w 6884782"/>
              <a:gd name="connsiteY59848" fmla="*/ 1231906 h 5973007"/>
              <a:gd name="connsiteX59849" fmla="*/ 3512248 w 6884782"/>
              <a:gd name="connsiteY59849" fmla="*/ 1234325 h 5973007"/>
              <a:gd name="connsiteX59850" fmla="*/ 3502858 w 6884782"/>
              <a:gd name="connsiteY59850" fmla="*/ 1235178 h 5973007"/>
              <a:gd name="connsiteX59851" fmla="*/ 3502005 w 6884782"/>
              <a:gd name="connsiteY59851" fmla="*/ 1232760 h 5973007"/>
              <a:gd name="connsiteX59852" fmla="*/ 3504352 w 6884782"/>
              <a:gd name="connsiteY59852" fmla="*/ 1230626 h 5973007"/>
              <a:gd name="connsiteX59853" fmla="*/ 3508194 w 6884782"/>
              <a:gd name="connsiteY59853" fmla="*/ 1230484 h 5973007"/>
              <a:gd name="connsiteX59854" fmla="*/ 4432728 w 6884782"/>
              <a:gd name="connsiteY59854" fmla="*/ 1230199 h 5973007"/>
              <a:gd name="connsiteX59855" fmla="*/ 4436570 w 6884782"/>
              <a:gd name="connsiteY59855" fmla="*/ 1234894 h 5973007"/>
              <a:gd name="connsiteX59856" fmla="*/ 4435076 w 6884782"/>
              <a:gd name="connsiteY59856" fmla="*/ 1241154 h 5973007"/>
              <a:gd name="connsiteX59857" fmla="*/ 4433795 w 6884782"/>
              <a:gd name="connsiteY59857" fmla="*/ 1242292 h 5973007"/>
              <a:gd name="connsiteX59858" fmla="*/ 4427819 w 6884782"/>
              <a:gd name="connsiteY59858" fmla="*/ 1246560 h 5973007"/>
              <a:gd name="connsiteX59859" fmla="*/ 4427393 w 6884782"/>
              <a:gd name="connsiteY59859" fmla="*/ 1249690 h 5973007"/>
              <a:gd name="connsiteX59860" fmla="*/ 4422697 w 6884782"/>
              <a:gd name="connsiteY59860" fmla="*/ 1250259 h 5973007"/>
              <a:gd name="connsiteX59861" fmla="*/ 4420350 w 6884782"/>
              <a:gd name="connsiteY59861" fmla="*/ 1249121 h 5973007"/>
              <a:gd name="connsiteX59862" fmla="*/ 4418216 w 6884782"/>
              <a:gd name="connsiteY59862" fmla="*/ 1248694 h 5973007"/>
              <a:gd name="connsiteX59863" fmla="*/ 4418216 w 6884782"/>
              <a:gd name="connsiteY59863" fmla="*/ 1247698 h 5973007"/>
              <a:gd name="connsiteX59864" fmla="*/ 4414374 w 6884782"/>
              <a:gd name="connsiteY59864" fmla="*/ 1239873 h 5973007"/>
              <a:gd name="connsiteX59865" fmla="*/ 4416295 w 6884782"/>
              <a:gd name="connsiteY59865" fmla="*/ 1234040 h 5973007"/>
              <a:gd name="connsiteX59866" fmla="*/ 4422057 w 6884782"/>
              <a:gd name="connsiteY59866" fmla="*/ 1233756 h 5973007"/>
              <a:gd name="connsiteX59867" fmla="*/ 4424191 w 6884782"/>
              <a:gd name="connsiteY59867" fmla="*/ 1235606 h 5973007"/>
              <a:gd name="connsiteX59868" fmla="*/ 4426752 w 6884782"/>
              <a:gd name="connsiteY59868" fmla="*/ 1233756 h 5973007"/>
              <a:gd name="connsiteX59869" fmla="*/ 4432728 w 6884782"/>
              <a:gd name="connsiteY59869" fmla="*/ 1230199 h 5973007"/>
              <a:gd name="connsiteX59870" fmla="*/ 1561547 w 6884782"/>
              <a:gd name="connsiteY59870" fmla="*/ 1229998 h 5973007"/>
              <a:gd name="connsiteX59871" fmla="*/ 1567430 w 6884782"/>
              <a:gd name="connsiteY59871" fmla="*/ 1231913 h 5973007"/>
              <a:gd name="connsiteX59872" fmla="*/ 1558137 w 6884782"/>
              <a:gd name="connsiteY59872" fmla="*/ 1249416 h 5973007"/>
              <a:gd name="connsiteX59873" fmla="*/ 1552664 w 6884782"/>
              <a:gd name="connsiteY59873" fmla="*/ 1248951 h 5973007"/>
              <a:gd name="connsiteX59874" fmla="*/ 1552664 w 6884782"/>
              <a:gd name="connsiteY59874" fmla="*/ 1250655 h 5973007"/>
              <a:gd name="connsiteX59875" fmla="*/ 1551941 w 6884782"/>
              <a:gd name="connsiteY59875" fmla="*/ 1252824 h 5973007"/>
              <a:gd name="connsiteX59876" fmla="*/ 1552664 w 6884782"/>
              <a:gd name="connsiteY59876" fmla="*/ 1254373 h 5973007"/>
              <a:gd name="connsiteX59877" fmla="*/ 1548843 w 6884782"/>
              <a:gd name="connsiteY59877" fmla="*/ 1259484 h 5973007"/>
              <a:gd name="connsiteX59878" fmla="*/ 1549669 w 6884782"/>
              <a:gd name="connsiteY59878" fmla="*/ 1255612 h 5973007"/>
              <a:gd name="connsiteX59879" fmla="*/ 1550393 w 6884782"/>
              <a:gd name="connsiteY59879" fmla="*/ 1253443 h 5973007"/>
              <a:gd name="connsiteX59880" fmla="*/ 1550393 w 6884782"/>
              <a:gd name="connsiteY59880" fmla="*/ 1251585 h 5973007"/>
              <a:gd name="connsiteX59881" fmla="*/ 1551528 w 6884782"/>
              <a:gd name="connsiteY59881" fmla="*/ 1249416 h 5973007"/>
              <a:gd name="connsiteX59882" fmla="*/ 1552561 w 6884782"/>
              <a:gd name="connsiteY59882" fmla="*/ 1248951 h 5973007"/>
              <a:gd name="connsiteX59883" fmla="*/ 1552458 w 6884782"/>
              <a:gd name="connsiteY59883" fmla="*/ 1248796 h 5973007"/>
              <a:gd name="connsiteX59884" fmla="*/ 1561547 w 6884782"/>
              <a:gd name="connsiteY59884" fmla="*/ 1229998 h 5973007"/>
              <a:gd name="connsiteX59885" fmla="*/ 3988175 w 6884782"/>
              <a:gd name="connsiteY59885" fmla="*/ 1229488 h 5973007"/>
              <a:gd name="connsiteX59886" fmla="*/ 3991162 w 6884782"/>
              <a:gd name="connsiteY59886" fmla="*/ 1230484 h 5973007"/>
              <a:gd name="connsiteX59887" fmla="*/ 3990096 w 6884782"/>
              <a:gd name="connsiteY59887" fmla="*/ 1236316 h 5973007"/>
              <a:gd name="connsiteX59888" fmla="*/ 3979851 w 6884782"/>
              <a:gd name="connsiteY59888" fmla="*/ 1239446 h 5973007"/>
              <a:gd name="connsiteX59889" fmla="*/ 3979638 w 6884782"/>
              <a:gd name="connsiteY59889" fmla="*/ 1234751 h 5973007"/>
              <a:gd name="connsiteX59890" fmla="*/ 3988175 w 6884782"/>
              <a:gd name="connsiteY59890" fmla="*/ 1229488 h 5973007"/>
              <a:gd name="connsiteX59891" fmla="*/ 3707528 w 6884782"/>
              <a:gd name="connsiteY59891" fmla="*/ 1229203 h 5973007"/>
              <a:gd name="connsiteX59892" fmla="*/ 3712223 w 6884782"/>
              <a:gd name="connsiteY59892" fmla="*/ 1231906 h 5973007"/>
              <a:gd name="connsiteX59893" fmla="*/ 3715851 w 6884782"/>
              <a:gd name="connsiteY59893" fmla="*/ 1232191 h 5973007"/>
              <a:gd name="connsiteX59894" fmla="*/ 3723747 w 6884782"/>
              <a:gd name="connsiteY59894" fmla="*/ 1232618 h 5973007"/>
              <a:gd name="connsiteX59895" fmla="*/ 3725242 w 6884782"/>
              <a:gd name="connsiteY59895" fmla="*/ 1238451 h 5973007"/>
              <a:gd name="connsiteX59896" fmla="*/ 3704967 w 6884782"/>
              <a:gd name="connsiteY59896" fmla="*/ 1244711 h 5973007"/>
              <a:gd name="connsiteX59897" fmla="*/ 3703686 w 6884782"/>
              <a:gd name="connsiteY59897" fmla="*/ 1238166 h 5973007"/>
              <a:gd name="connsiteX59898" fmla="*/ 3706034 w 6884782"/>
              <a:gd name="connsiteY59898" fmla="*/ 1235178 h 5973007"/>
              <a:gd name="connsiteX59899" fmla="*/ 3704113 w 6884782"/>
              <a:gd name="connsiteY59899" fmla="*/ 1232618 h 5973007"/>
              <a:gd name="connsiteX59900" fmla="*/ 3707528 w 6884782"/>
              <a:gd name="connsiteY59900" fmla="*/ 1229203 h 5973007"/>
              <a:gd name="connsiteX59901" fmla="*/ 1347184 w 6884782"/>
              <a:gd name="connsiteY59901" fmla="*/ 1228814 h 5973007"/>
              <a:gd name="connsiteX59902" fmla="*/ 1351934 w 6884782"/>
              <a:gd name="connsiteY59902" fmla="*/ 1234856 h 5973007"/>
              <a:gd name="connsiteX59903" fmla="*/ 1346977 w 6884782"/>
              <a:gd name="connsiteY59903" fmla="*/ 1230364 h 5973007"/>
              <a:gd name="connsiteX59904" fmla="*/ 1347184 w 6884782"/>
              <a:gd name="connsiteY59904" fmla="*/ 1228814 h 5973007"/>
              <a:gd name="connsiteX59905" fmla="*/ 1472640 w 6884782"/>
              <a:gd name="connsiteY59905" fmla="*/ 1228505 h 5973007"/>
              <a:gd name="connsiteX59906" fmla="*/ 1494737 w 6884782"/>
              <a:gd name="connsiteY59906" fmla="*/ 1239193 h 5973007"/>
              <a:gd name="connsiteX59907" fmla="*/ 1472640 w 6884782"/>
              <a:gd name="connsiteY59907" fmla="*/ 1228505 h 5973007"/>
              <a:gd name="connsiteX59908" fmla="*/ 4790633 w 6884782"/>
              <a:gd name="connsiteY59908" fmla="*/ 1227639 h 5973007"/>
              <a:gd name="connsiteX59909" fmla="*/ 4795755 w 6884782"/>
              <a:gd name="connsiteY59909" fmla="*/ 1233471 h 5973007"/>
              <a:gd name="connsiteX59910" fmla="*/ 4784657 w 6884782"/>
              <a:gd name="connsiteY59910" fmla="*/ 1241438 h 5973007"/>
              <a:gd name="connsiteX59911" fmla="*/ 4781029 w 6884782"/>
              <a:gd name="connsiteY59911" fmla="*/ 1237597 h 5973007"/>
              <a:gd name="connsiteX59912" fmla="*/ 4790633 w 6884782"/>
              <a:gd name="connsiteY59912" fmla="*/ 1227639 h 5973007"/>
              <a:gd name="connsiteX59913" fmla="*/ 4154002 w 6884782"/>
              <a:gd name="connsiteY59913" fmla="*/ 1227639 h 5973007"/>
              <a:gd name="connsiteX59914" fmla="*/ 4160831 w 6884782"/>
              <a:gd name="connsiteY59914" fmla="*/ 1242576 h 5973007"/>
              <a:gd name="connsiteX59915" fmla="*/ 4156136 w 6884782"/>
              <a:gd name="connsiteY59915" fmla="*/ 1244995 h 5973007"/>
              <a:gd name="connsiteX59916" fmla="*/ 4154002 w 6884782"/>
              <a:gd name="connsiteY59916" fmla="*/ 1227639 h 5973007"/>
              <a:gd name="connsiteX59917" fmla="*/ 3764511 w 6884782"/>
              <a:gd name="connsiteY59917" fmla="*/ 1227354 h 5973007"/>
              <a:gd name="connsiteX59918" fmla="*/ 3770700 w 6884782"/>
              <a:gd name="connsiteY59918" fmla="*/ 1234467 h 5973007"/>
              <a:gd name="connsiteX59919" fmla="*/ 3749145 w 6884782"/>
              <a:gd name="connsiteY59919" fmla="*/ 1242434 h 5973007"/>
              <a:gd name="connsiteX59920" fmla="*/ 3764511 w 6884782"/>
              <a:gd name="connsiteY59920" fmla="*/ 1227354 h 5973007"/>
              <a:gd name="connsiteX59921" fmla="*/ 1522204 w 6884782"/>
              <a:gd name="connsiteY59921" fmla="*/ 1227266 h 5973007"/>
              <a:gd name="connsiteX59922" fmla="*/ 1521791 w 6884782"/>
              <a:gd name="connsiteY59922" fmla="*/ 1227421 h 5973007"/>
              <a:gd name="connsiteX59923" fmla="*/ 1521997 w 6884782"/>
              <a:gd name="connsiteY59923" fmla="*/ 1228970 h 5973007"/>
              <a:gd name="connsiteX59924" fmla="*/ 3669966 w 6884782"/>
              <a:gd name="connsiteY59924" fmla="*/ 1226927 h 5973007"/>
              <a:gd name="connsiteX59925" fmla="*/ 3671673 w 6884782"/>
              <a:gd name="connsiteY59925" fmla="*/ 1228207 h 5973007"/>
              <a:gd name="connsiteX59926" fmla="*/ 3671673 w 6884782"/>
              <a:gd name="connsiteY59926" fmla="*/ 1231622 h 5973007"/>
              <a:gd name="connsiteX59927" fmla="*/ 3666978 w 6884782"/>
              <a:gd name="connsiteY59927" fmla="*/ 1230341 h 5973007"/>
              <a:gd name="connsiteX59928" fmla="*/ 3669966 w 6884782"/>
              <a:gd name="connsiteY59928" fmla="*/ 1226927 h 5973007"/>
              <a:gd name="connsiteX59929" fmla="*/ 1298550 w 6884782"/>
              <a:gd name="connsiteY59929" fmla="*/ 1226646 h 5973007"/>
              <a:gd name="connsiteX59930" fmla="*/ 1301855 w 6884782"/>
              <a:gd name="connsiteY59930" fmla="*/ 1228350 h 5973007"/>
              <a:gd name="connsiteX59931" fmla="*/ 1302681 w 6884782"/>
              <a:gd name="connsiteY59931" fmla="*/ 1229744 h 5973007"/>
              <a:gd name="connsiteX59932" fmla="*/ 1296898 w 6884782"/>
              <a:gd name="connsiteY59932" fmla="*/ 1235475 h 5973007"/>
              <a:gd name="connsiteX59933" fmla="*/ 1291116 w 6884782"/>
              <a:gd name="connsiteY59933" fmla="*/ 1231603 h 5973007"/>
              <a:gd name="connsiteX59934" fmla="*/ 1292149 w 6884782"/>
              <a:gd name="connsiteY59934" fmla="*/ 1229899 h 5973007"/>
              <a:gd name="connsiteX59935" fmla="*/ 1293698 w 6884782"/>
              <a:gd name="connsiteY59935" fmla="*/ 1228195 h 5973007"/>
              <a:gd name="connsiteX59936" fmla="*/ 1298550 w 6884782"/>
              <a:gd name="connsiteY59936" fmla="*/ 1226646 h 5973007"/>
              <a:gd name="connsiteX59937" fmla="*/ 3651398 w 6884782"/>
              <a:gd name="connsiteY59937" fmla="*/ 1226358 h 5973007"/>
              <a:gd name="connsiteX59938" fmla="*/ 3656093 w 6884782"/>
              <a:gd name="connsiteY59938" fmla="*/ 1228350 h 5973007"/>
              <a:gd name="connsiteX59939" fmla="*/ 3662069 w 6884782"/>
              <a:gd name="connsiteY59939" fmla="*/ 1236459 h 5973007"/>
              <a:gd name="connsiteX59940" fmla="*/ 3651398 w 6884782"/>
              <a:gd name="connsiteY59940" fmla="*/ 1237028 h 5973007"/>
              <a:gd name="connsiteX59941" fmla="*/ 3649904 w 6884782"/>
              <a:gd name="connsiteY59941" fmla="*/ 1234751 h 5973007"/>
              <a:gd name="connsiteX59942" fmla="*/ 3647983 w 6884782"/>
              <a:gd name="connsiteY59942" fmla="*/ 1228777 h 5973007"/>
              <a:gd name="connsiteX59943" fmla="*/ 3651398 w 6884782"/>
              <a:gd name="connsiteY59943" fmla="*/ 1226358 h 5973007"/>
              <a:gd name="connsiteX59944" fmla="*/ 4631208 w 6884782"/>
              <a:gd name="connsiteY59944" fmla="*/ 1226215 h 5973007"/>
              <a:gd name="connsiteX59945" fmla="*/ 4632062 w 6884782"/>
              <a:gd name="connsiteY59945" fmla="*/ 1227212 h 5973007"/>
              <a:gd name="connsiteX59946" fmla="*/ 4632275 w 6884782"/>
              <a:gd name="connsiteY59946" fmla="*/ 1227354 h 5973007"/>
              <a:gd name="connsiteX59947" fmla="*/ 4632489 w 6884782"/>
              <a:gd name="connsiteY59947" fmla="*/ 1229772 h 5973007"/>
              <a:gd name="connsiteX59948" fmla="*/ 4631208 w 6884782"/>
              <a:gd name="connsiteY59948" fmla="*/ 1231906 h 5973007"/>
              <a:gd name="connsiteX59949" fmla="*/ 4627794 w 6884782"/>
              <a:gd name="connsiteY59949" fmla="*/ 1228492 h 5973007"/>
              <a:gd name="connsiteX59950" fmla="*/ 4629715 w 6884782"/>
              <a:gd name="connsiteY59950" fmla="*/ 1227354 h 5973007"/>
              <a:gd name="connsiteX59951" fmla="*/ 4628861 w 6884782"/>
              <a:gd name="connsiteY59951" fmla="*/ 1226358 h 5973007"/>
              <a:gd name="connsiteX59952" fmla="*/ 4631208 w 6884782"/>
              <a:gd name="connsiteY59952" fmla="*/ 1226215 h 5973007"/>
              <a:gd name="connsiteX59953" fmla="*/ 4049853 w 6884782"/>
              <a:gd name="connsiteY59953" fmla="*/ 1226215 h 5973007"/>
              <a:gd name="connsiteX59954" fmla="*/ 4078878 w 6884782"/>
              <a:gd name="connsiteY59954" fmla="*/ 1282838 h 5973007"/>
              <a:gd name="connsiteX59955" fmla="*/ 4066500 w 6884782"/>
              <a:gd name="connsiteY59955" fmla="*/ 1285115 h 5973007"/>
              <a:gd name="connsiteX59956" fmla="*/ 4049853 w 6884782"/>
              <a:gd name="connsiteY59956" fmla="*/ 1226215 h 5973007"/>
              <a:gd name="connsiteX59957" fmla="*/ 1176089 w 6884782"/>
              <a:gd name="connsiteY59957" fmla="*/ 1225097 h 5973007"/>
              <a:gd name="connsiteX59958" fmla="*/ 1180219 w 6884782"/>
              <a:gd name="connsiteY59958" fmla="*/ 1228970 h 5973007"/>
              <a:gd name="connsiteX59959" fmla="*/ 1180941 w 6884782"/>
              <a:gd name="connsiteY59959" fmla="*/ 1228814 h 5973007"/>
              <a:gd name="connsiteX59960" fmla="*/ 1183317 w 6884782"/>
              <a:gd name="connsiteY59960" fmla="*/ 1237179 h 5973007"/>
              <a:gd name="connsiteX59961" fmla="*/ 1182181 w 6884782"/>
              <a:gd name="connsiteY59961" fmla="*/ 1238883 h 5973007"/>
              <a:gd name="connsiteX59962" fmla="*/ 1182181 w 6884782"/>
              <a:gd name="connsiteY59962" fmla="*/ 1239193 h 5973007"/>
              <a:gd name="connsiteX59963" fmla="*/ 1174230 w 6884782"/>
              <a:gd name="connsiteY59963" fmla="*/ 1238573 h 5973007"/>
              <a:gd name="connsiteX59964" fmla="*/ 1172268 w 6884782"/>
              <a:gd name="connsiteY59964" fmla="*/ 1235940 h 5973007"/>
              <a:gd name="connsiteX59965" fmla="*/ 1172165 w 6884782"/>
              <a:gd name="connsiteY59965" fmla="*/ 1232223 h 5973007"/>
              <a:gd name="connsiteX59966" fmla="*/ 1171339 w 6884782"/>
              <a:gd name="connsiteY59966" fmla="*/ 1229434 h 5973007"/>
              <a:gd name="connsiteX59967" fmla="*/ 1171855 w 6884782"/>
              <a:gd name="connsiteY59967" fmla="*/ 1226491 h 5973007"/>
              <a:gd name="connsiteX59968" fmla="*/ 1176089 w 6884782"/>
              <a:gd name="connsiteY59968" fmla="*/ 1225097 h 5973007"/>
              <a:gd name="connsiteX59969" fmla="*/ 1313523 w 6884782"/>
              <a:gd name="connsiteY59969" fmla="*/ 1224633 h 5973007"/>
              <a:gd name="connsiteX59970" fmla="*/ 1320854 w 6884782"/>
              <a:gd name="connsiteY59970" fmla="*/ 1229744 h 5973007"/>
              <a:gd name="connsiteX59971" fmla="*/ 1309186 w 6884782"/>
              <a:gd name="connsiteY59971" fmla="*/ 1228505 h 5973007"/>
              <a:gd name="connsiteX59972" fmla="*/ 1313523 w 6884782"/>
              <a:gd name="connsiteY59972" fmla="*/ 1224633 h 5973007"/>
              <a:gd name="connsiteX59973" fmla="*/ 921020 w 6884782"/>
              <a:gd name="connsiteY59973" fmla="*/ 1224439 h 5973007"/>
              <a:gd name="connsiteX59974" fmla="*/ 928067 w 6884782"/>
              <a:gd name="connsiteY59974" fmla="*/ 1228350 h 5973007"/>
              <a:gd name="connsiteX59975" fmla="*/ 929823 w 6884782"/>
              <a:gd name="connsiteY59975" fmla="*/ 1230209 h 5973007"/>
              <a:gd name="connsiteX59976" fmla="*/ 933230 w 6884782"/>
              <a:gd name="connsiteY59976" fmla="*/ 1232223 h 5973007"/>
              <a:gd name="connsiteX59977" fmla="*/ 928687 w 6884782"/>
              <a:gd name="connsiteY59977" fmla="*/ 1241826 h 5973007"/>
              <a:gd name="connsiteX59978" fmla="*/ 913921 w 6884782"/>
              <a:gd name="connsiteY59978" fmla="*/ 1242911 h 5973007"/>
              <a:gd name="connsiteX59979" fmla="*/ 910204 w 6884782"/>
              <a:gd name="connsiteY59979" fmla="*/ 1233462 h 5973007"/>
              <a:gd name="connsiteX59980" fmla="*/ 912475 w 6884782"/>
              <a:gd name="connsiteY59980" fmla="*/ 1228505 h 5973007"/>
              <a:gd name="connsiteX59981" fmla="*/ 915366 w 6884782"/>
              <a:gd name="connsiteY59981" fmla="*/ 1225872 h 5973007"/>
              <a:gd name="connsiteX59982" fmla="*/ 921020 w 6884782"/>
              <a:gd name="connsiteY59982" fmla="*/ 1224439 h 5973007"/>
              <a:gd name="connsiteX59983" fmla="*/ 1120846 w 6884782"/>
              <a:gd name="connsiteY59983" fmla="*/ 1224323 h 5973007"/>
              <a:gd name="connsiteX59984" fmla="*/ 1111657 w 6884782"/>
              <a:gd name="connsiteY59984" fmla="*/ 1246938 h 5973007"/>
              <a:gd name="connsiteX59985" fmla="*/ 1105668 w 6884782"/>
              <a:gd name="connsiteY59985" fmla="*/ 1251430 h 5973007"/>
              <a:gd name="connsiteX59986" fmla="*/ 1107527 w 6884782"/>
              <a:gd name="connsiteY59986" fmla="*/ 1235166 h 5973007"/>
              <a:gd name="connsiteX59987" fmla="*/ 1091728 w 6884782"/>
              <a:gd name="connsiteY59987" fmla="*/ 1228660 h 5973007"/>
              <a:gd name="connsiteX59988" fmla="*/ 1095652 w 6884782"/>
              <a:gd name="connsiteY59988" fmla="*/ 1226646 h 5973007"/>
              <a:gd name="connsiteX59989" fmla="*/ 1111450 w 6884782"/>
              <a:gd name="connsiteY59989" fmla="*/ 1228505 h 5973007"/>
              <a:gd name="connsiteX59990" fmla="*/ 1120846 w 6884782"/>
              <a:gd name="connsiteY59990" fmla="*/ 1224323 h 5973007"/>
              <a:gd name="connsiteX59991" fmla="*/ 3678716 w 6884782"/>
              <a:gd name="connsiteY59991" fmla="*/ 1224082 h 5973007"/>
              <a:gd name="connsiteX59992" fmla="*/ 3681064 w 6884782"/>
              <a:gd name="connsiteY59992" fmla="*/ 1225504 h 5973007"/>
              <a:gd name="connsiteX59993" fmla="*/ 3683198 w 6884782"/>
              <a:gd name="connsiteY59993" fmla="*/ 1227639 h 5973007"/>
              <a:gd name="connsiteX59994" fmla="*/ 3685546 w 6884782"/>
              <a:gd name="connsiteY59994" fmla="*/ 1234325 h 5973007"/>
              <a:gd name="connsiteX59995" fmla="*/ 3682984 w 6884782"/>
              <a:gd name="connsiteY59995" fmla="*/ 1238735 h 5973007"/>
              <a:gd name="connsiteX59996" fmla="*/ 3681277 w 6884782"/>
              <a:gd name="connsiteY59996" fmla="*/ 1240016 h 5973007"/>
              <a:gd name="connsiteX59997" fmla="*/ 3673167 w 6884782"/>
              <a:gd name="connsiteY59997" fmla="*/ 1232049 h 5973007"/>
              <a:gd name="connsiteX59998" fmla="*/ 3678716 w 6884782"/>
              <a:gd name="connsiteY59998" fmla="*/ 1224082 h 5973007"/>
              <a:gd name="connsiteX59999" fmla="*/ 5041828 w 6884782"/>
              <a:gd name="connsiteY59999" fmla="*/ 1223797 h 5973007"/>
              <a:gd name="connsiteX60000" fmla="*/ 5045883 w 6884782"/>
              <a:gd name="connsiteY60000" fmla="*/ 1227923 h 5973007"/>
              <a:gd name="connsiteX60001" fmla="*/ 5041401 w 6884782"/>
              <a:gd name="connsiteY60001" fmla="*/ 1245564 h 5973007"/>
              <a:gd name="connsiteX60002" fmla="*/ 5033291 w 6884782"/>
              <a:gd name="connsiteY60002" fmla="*/ 1239020 h 5973007"/>
              <a:gd name="connsiteX60003" fmla="*/ 5033932 w 6884782"/>
              <a:gd name="connsiteY60003" fmla="*/ 1232049 h 5973007"/>
              <a:gd name="connsiteX60004" fmla="*/ 5041828 w 6884782"/>
              <a:gd name="connsiteY60004" fmla="*/ 1223797 h 5973007"/>
              <a:gd name="connsiteX60005" fmla="*/ 4406051 w 6884782"/>
              <a:gd name="connsiteY60005" fmla="*/ 1223512 h 5973007"/>
              <a:gd name="connsiteX60006" fmla="*/ 4407972 w 6884782"/>
              <a:gd name="connsiteY60006" fmla="*/ 1226073 h 5973007"/>
              <a:gd name="connsiteX60007" fmla="*/ 4403703 w 6884782"/>
              <a:gd name="connsiteY60007" fmla="*/ 1236175 h 5973007"/>
              <a:gd name="connsiteX60008" fmla="*/ 4406051 w 6884782"/>
              <a:gd name="connsiteY60008" fmla="*/ 1223512 h 5973007"/>
              <a:gd name="connsiteX60009" fmla="*/ 4200741 w 6884782"/>
              <a:gd name="connsiteY60009" fmla="*/ 1223370 h 5973007"/>
              <a:gd name="connsiteX60010" fmla="*/ 4187935 w 6884782"/>
              <a:gd name="connsiteY60010" fmla="*/ 1234183 h 5973007"/>
              <a:gd name="connsiteX60011" fmla="*/ 4189002 w 6884782"/>
              <a:gd name="connsiteY60011" fmla="*/ 1230910 h 5973007"/>
              <a:gd name="connsiteX60012" fmla="*/ 4200741 w 6884782"/>
              <a:gd name="connsiteY60012" fmla="*/ 1223370 h 5973007"/>
              <a:gd name="connsiteX60013" fmla="*/ 1422664 w 6884782"/>
              <a:gd name="connsiteY60013" fmla="*/ 1222464 h 5973007"/>
              <a:gd name="connsiteX60014" fmla="*/ 1426175 w 6884782"/>
              <a:gd name="connsiteY60014" fmla="*/ 1223239 h 5973007"/>
              <a:gd name="connsiteX60015" fmla="*/ 1426692 w 6884782"/>
              <a:gd name="connsiteY60015" fmla="*/ 1225872 h 5973007"/>
              <a:gd name="connsiteX60016" fmla="*/ 1425866 w 6884782"/>
              <a:gd name="connsiteY60016" fmla="*/ 1225872 h 5973007"/>
              <a:gd name="connsiteX60017" fmla="*/ 1422148 w 6884782"/>
              <a:gd name="connsiteY60017" fmla="*/ 1226646 h 5973007"/>
              <a:gd name="connsiteX60018" fmla="*/ 1421735 w 6884782"/>
              <a:gd name="connsiteY60018" fmla="*/ 1224788 h 5973007"/>
              <a:gd name="connsiteX60019" fmla="*/ 1422664 w 6884782"/>
              <a:gd name="connsiteY60019" fmla="*/ 1222464 h 5973007"/>
              <a:gd name="connsiteX60020" fmla="*/ 4017840 w 6884782"/>
              <a:gd name="connsiteY60020" fmla="*/ 1222090 h 5973007"/>
              <a:gd name="connsiteX60021" fmla="*/ 4017414 w 6884782"/>
              <a:gd name="connsiteY60021" fmla="*/ 1223085 h 5973007"/>
              <a:gd name="connsiteX60022" fmla="*/ 4018907 w 6884782"/>
              <a:gd name="connsiteY60022" fmla="*/ 1222659 h 5973007"/>
              <a:gd name="connsiteX60023" fmla="*/ 4013999 w 6884782"/>
              <a:gd name="connsiteY60023" fmla="*/ 1238451 h 5973007"/>
              <a:gd name="connsiteX60024" fmla="*/ 4013145 w 6884782"/>
              <a:gd name="connsiteY60024" fmla="*/ 1238024 h 5973007"/>
              <a:gd name="connsiteX60025" fmla="*/ 4015706 w 6884782"/>
              <a:gd name="connsiteY60025" fmla="*/ 1225789 h 5973007"/>
              <a:gd name="connsiteX60026" fmla="*/ 4017840 w 6884782"/>
              <a:gd name="connsiteY60026" fmla="*/ 1222090 h 5973007"/>
              <a:gd name="connsiteX60027" fmla="*/ 4746028 w 6884782"/>
              <a:gd name="connsiteY60027" fmla="*/ 1221663 h 5973007"/>
              <a:gd name="connsiteX60028" fmla="*/ 4751791 w 6884782"/>
              <a:gd name="connsiteY60028" fmla="*/ 1222801 h 5973007"/>
              <a:gd name="connsiteX60029" fmla="*/ 4738559 w 6884782"/>
              <a:gd name="connsiteY60029" fmla="*/ 1236459 h 5973007"/>
              <a:gd name="connsiteX60030" fmla="*/ 4746028 w 6884782"/>
              <a:gd name="connsiteY60030" fmla="*/ 1221663 h 5973007"/>
              <a:gd name="connsiteX60031" fmla="*/ 4255376 w 6884782"/>
              <a:gd name="connsiteY60031" fmla="*/ 1220952 h 5973007"/>
              <a:gd name="connsiteX60032" fmla="*/ 4261566 w 6884782"/>
              <a:gd name="connsiteY60032" fmla="*/ 1224508 h 5973007"/>
              <a:gd name="connsiteX60033" fmla="*/ 4263273 w 6884782"/>
              <a:gd name="connsiteY60033" fmla="*/ 1229488 h 5973007"/>
              <a:gd name="connsiteX60034" fmla="*/ 4263273 w 6884782"/>
              <a:gd name="connsiteY60034" fmla="*/ 1229772 h 5973007"/>
              <a:gd name="connsiteX60035" fmla="*/ 4264980 w 6884782"/>
              <a:gd name="connsiteY60035" fmla="*/ 1228492 h 5973007"/>
              <a:gd name="connsiteX60036" fmla="*/ 4267328 w 6884782"/>
              <a:gd name="connsiteY60036" fmla="*/ 1228492 h 5973007"/>
              <a:gd name="connsiteX60037" fmla="*/ 4268608 w 6884782"/>
              <a:gd name="connsiteY60037" fmla="*/ 1230910 h 5973007"/>
              <a:gd name="connsiteX60038" fmla="*/ 4269462 w 6884782"/>
              <a:gd name="connsiteY60038" fmla="*/ 1235748 h 5973007"/>
              <a:gd name="connsiteX60039" fmla="*/ 4267541 w 6884782"/>
              <a:gd name="connsiteY60039" fmla="*/ 1238308 h 5973007"/>
              <a:gd name="connsiteX60040" fmla="*/ 4264980 w 6884782"/>
              <a:gd name="connsiteY60040" fmla="*/ 1237313 h 5973007"/>
              <a:gd name="connsiteX60041" fmla="*/ 4262846 w 6884782"/>
              <a:gd name="connsiteY60041" fmla="*/ 1237313 h 5973007"/>
              <a:gd name="connsiteX60042" fmla="*/ 4262632 w 6884782"/>
              <a:gd name="connsiteY60042" fmla="*/ 1236175 h 5973007"/>
              <a:gd name="connsiteX60043" fmla="*/ 4262846 w 6884782"/>
              <a:gd name="connsiteY60043" fmla="*/ 1236032 h 5973007"/>
              <a:gd name="connsiteX60044" fmla="*/ 4261992 w 6884782"/>
              <a:gd name="connsiteY60044" fmla="*/ 1235463 h 5973007"/>
              <a:gd name="connsiteX60045" fmla="*/ 4261139 w 6884782"/>
              <a:gd name="connsiteY60045" fmla="*/ 1238735 h 5973007"/>
              <a:gd name="connsiteX60046" fmla="*/ 4243638 w 6884782"/>
              <a:gd name="connsiteY60046" fmla="*/ 1233187 h 5973007"/>
              <a:gd name="connsiteX60047" fmla="*/ 4247693 w 6884782"/>
              <a:gd name="connsiteY60047" fmla="*/ 1223512 h 5973007"/>
              <a:gd name="connsiteX60048" fmla="*/ 4255376 w 6884782"/>
              <a:gd name="connsiteY60048" fmla="*/ 1220952 h 5973007"/>
              <a:gd name="connsiteX60049" fmla="*/ 4340958 w 6884782"/>
              <a:gd name="connsiteY60049" fmla="*/ 1220809 h 5973007"/>
              <a:gd name="connsiteX60050" fmla="*/ 4345653 w 6884782"/>
              <a:gd name="connsiteY60050" fmla="*/ 1222517 h 5973007"/>
              <a:gd name="connsiteX60051" fmla="*/ 4345653 w 6884782"/>
              <a:gd name="connsiteY60051" fmla="*/ 1226215 h 5973007"/>
              <a:gd name="connsiteX60052" fmla="*/ 4339037 w 6884782"/>
              <a:gd name="connsiteY60052" fmla="*/ 1226073 h 5973007"/>
              <a:gd name="connsiteX60053" fmla="*/ 4340958 w 6884782"/>
              <a:gd name="connsiteY60053" fmla="*/ 1220809 h 5973007"/>
              <a:gd name="connsiteX60054" fmla="*/ 853516 w 6884782"/>
              <a:gd name="connsiteY60054" fmla="*/ 1220760 h 5973007"/>
              <a:gd name="connsiteX60055" fmla="*/ 854342 w 6884782"/>
              <a:gd name="connsiteY60055" fmla="*/ 1220915 h 5973007"/>
              <a:gd name="connsiteX60056" fmla="*/ 855065 w 6884782"/>
              <a:gd name="connsiteY60056" fmla="*/ 1224323 h 5973007"/>
              <a:gd name="connsiteX60057" fmla="*/ 853413 w 6884782"/>
              <a:gd name="connsiteY60057" fmla="*/ 1224168 h 5973007"/>
              <a:gd name="connsiteX60058" fmla="*/ 853413 w 6884782"/>
              <a:gd name="connsiteY60058" fmla="*/ 1224943 h 5973007"/>
              <a:gd name="connsiteX60059" fmla="*/ 851761 w 6884782"/>
              <a:gd name="connsiteY60059" fmla="*/ 1223858 h 5973007"/>
              <a:gd name="connsiteX60060" fmla="*/ 851761 w 6884782"/>
              <a:gd name="connsiteY60060" fmla="*/ 1223239 h 5973007"/>
              <a:gd name="connsiteX60061" fmla="*/ 851554 w 6884782"/>
              <a:gd name="connsiteY60061" fmla="*/ 1222929 h 5973007"/>
              <a:gd name="connsiteX60062" fmla="*/ 852587 w 6884782"/>
              <a:gd name="connsiteY60062" fmla="*/ 1221689 h 5973007"/>
              <a:gd name="connsiteX60063" fmla="*/ 853516 w 6884782"/>
              <a:gd name="connsiteY60063" fmla="*/ 1220760 h 5973007"/>
              <a:gd name="connsiteX60064" fmla="*/ 1231950 w 6884782"/>
              <a:gd name="connsiteY60064" fmla="*/ 1220450 h 5973007"/>
              <a:gd name="connsiteX60065" fmla="*/ 1234429 w 6884782"/>
              <a:gd name="connsiteY60065" fmla="*/ 1222619 h 5973007"/>
              <a:gd name="connsiteX60066" fmla="*/ 1229265 w 6884782"/>
              <a:gd name="connsiteY60066" fmla="*/ 1227885 h 5973007"/>
              <a:gd name="connsiteX60067" fmla="*/ 1227407 w 6884782"/>
              <a:gd name="connsiteY60067" fmla="*/ 1223393 h 5973007"/>
              <a:gd name="connsiteX60068" fmla="*/ 1228853 w 6884782"/>
              <a:gd name="connsiteY60068" fmla="*/ 1220605 h 5973007"/>
              <a:gd name="connsiteX60069" fmla="*/ 1231950 w 6884782"/>
              <a:gd name="connsiteY60069" fmla="*/ 1220450 h 5973007"/>
              <a:gd name="connsiteX60070" fmla="*/ 1518176 w 6884782"/>
              <a:gd name="connsiteY60070" fmla="*/ 1219676 h 5973007"/>
              <a:gd name="connsiteX60071" fmla="*/ 1518899 w 6884782"/>
              <a:gd name="connsiteY60071" fmla="*/ 1220760 h 5973007"/>
              <a:gd name="connsiteX60072" fmla="*/ 1518796 w 6884782"/>
              <a:gd name="connsiteY60072" fmla="*/ 1221380 h 5973007"/>
              <a:gd name="connsiteX60073" fmla="*/ 1516628 w 6884782"/>
              <a:gd name="connsiteY60073" fmla="*/ 1222774 h 5973007"/>
              <a:gd name="connsiteX60074" fmla="*/ 1516628 w 6884782"/>
              <a:gd name="connsiteY60074" fmla="*/ 1222154 h 5973007"/>
              <a:gd name="connsiteX60075" fmla="*/ 1517454 w 6884782"/>
              <a:gd name="connsiteY60075" fmla="*/ 1219986 h 5973007"/>
              <a:gd name="connsiteX60076" fmla="*/ 1518590 w 6884782"/>
              <a:gd name="connsiteY60076" fmla="*/ 1220450 h 5973007"/>
              <a:gd name="connsiteX60077" fmla="*/ 1518176 w 6884782"/>
              <a:gd name="connsiteY60077" fmla="*/ 1219676 h 5973007"/>
              <a:gd name="connsiteX60078" fmla="*/ 1469853 w 6884782"/>
              <a:gd name="connsiteY60078" fmla="*/ 1218127 h 5973007"/>
              <a:gd name="connsiteX60079" fmla="*/ 1473983 w 6884782"/>
              <a:gd name="connsiteY60079" fmla="*/ 1224478 h 5973007"/>
              <a:gd name="connsiteX60080" fmla="*/ 1469543 w 6884782"/>
              <a:gd name="connsiteY60080" fmla="*/ 1219521 h 5973007"/>
              <a:gd name="connsiteX60081" fmla="*/ 1469853 w 6884782"/>
              <a:gd name="connsiteY60081" fmla="*/ 1218127 h 5973007"/>
              <a:gd name="connsiteX60082" fmla="*/ 1441767 w 6884782"/>
              <a:gd name="connsiteY60082" fmla="*/ 1218127 h 5973007"/>
              <a:gd name="connsiteX60083" fmla="*/ 1434642 w 6884782"/>
              <a:gd name="connsiteY60083" fmla="*/ 1224323 h 5973007"/>
              <a:gd name="connsiteX60084" fmla="*/ 1441767 w 6884782"/>
              <a:gd name="connsiteY60084" fmla="*/ 1218127 h 5973007"/>
              <a:gd name="connsiteX60085" fmla="*/ 4502943 w 6884782"/>
              <a:gd name="connsiteY60085" fmla="*/ 1217964 h 5973007"/>
              <a:gd name="connsiteX60086" fmla="*/ 4506144 w 6884782"/>
              <a:gd name="connsiteY60086" fmla="*/ 1224508 h 5973007"/>
              <a:gd name="connsiteX60087" fmla="*/ 4504011 w 6884782"/>
              <a:gd name="connsiteY60087" fmla="*/ 1236316 h 5973007"/>
              <a:gd name="connsiteX60088" fmla="*/ 4502516 w 6884782"/>
              <a:gd name="connsiteY60088" fmla="*/ 1238451 h 5973007"/>
              <a:gd name="connsiteX60089" fmla="*/ 4502303 w 6884782"/>
              <a:gd name="connsiteY60089" fmla="*/ 1239446 h 5973007"/>
              <a:gd name="connsiteX60090" fmla="*/ 4501023 w 6884782"/>
              <a:gd name="connsiteY60090" fmla="*/ 1240585 h 5973007"/>
              <a:gd name="connsiteX60091" fmla="*/ 4497608 w 6884782"/>
              <a:gd name="connsiteY60091" fmla="*/ 1245849 h 5973007"/>
              <a:gd name="connsiteX60092" fmla="*/ 4486723 w 6884782"/>
              <a:gd name="connsiteY60092" fmla="*/ 1242007 h 5973007"/>
              <a:gd name="connsiteX60093" fmla="*/ 4502943 w 6884782"/>
              <a:gd name="connsiteY60093" fmla="*/ 1217964 h 5973007"/>
              <a:gd name="connsiteX60094" fmla="*/ 4536877 w 6884782"/>
              <a:gd name="connsiteY60094" fmla="*/ 1217679 h 5973007"/>
              <a:gd name="connsiteX60095" fmla="*/ 4546481 w 6884782"/>
              <a:gd name="connsiteY60095" fmla="*/ 1228207 h 5973007"/>
              <a:gd name="connsiteX60096" fmla="*/ 4535383 w 6884782"/>
              <a:gd name="connsiteY60096" fmla="*/ 1234467 h 5973007"/>
              <a:gd name="connsiteX60097" fmla="*/ 4534529 w 6884782"/>
              <a:gd name="connsiteY60097" fmla="*/ 1231906 h 5973007"/>
              <a:gd name="connsiteX60098" fmla="*/ 4533889 w 6884782"/>
              <a:gd name="connsiteY60098" fmla="*/ 1232618 h 5973007"/>
              <a:gd name="connsiteX60099" fmla="*/ 4528127 w 6884782"/>
              <a:gd name="connsiteY60099" fmla="*/ 1234183 h 5973007"/>
              <a:gd name="connsiteX60100" fmla="*/ 4531755 w 6884782"/>
              <a:gd name="connsiteY60100" fmla="*/ 1230626 h 5973007"/>
              <a:gd name="connsiteX60101" fmla="*/ 4533676 w 6884782"/>
              <a:gd name="connsiteY60101" fmla="*/ 1229345 h 5973007"/>
              <a:gd name="connsiteX60102" fmla="*/ 4532609 w 6884782"/>
              <a:gd name="connsiteY60102" fmla="*/ 1226215 h 5973007"/>
              <a:gd name="connsiteX60103" fmla="*/ 4536877 w 6884782"/>
              <a:gd name="connsiteY60103" fmla="*/ 1217679 h 5973007"/>
              <a:gd name="connsiteX60104" fmla="*/ 3388892 w 6884782"/>
              <a:gd name="connsiteY60104" fmla="*/ 1215830 h 5973007"/>
              <a:gd name="connsiteX60105" fmla="*/ 3385264 w 6884782"/>
              <a:gd name="connsiteY60105" fmla="*/ 1219387 h 5973007"/>
              <a:gd name="connsiteX60106" fmla="*/ 3375446 w 6884782"/>
              <a:gd name="connsiteY60106" fmla="*/ 1222659 h 5973007"/>
              <a:gd name="connsiteX60107" fmla="*/ 3374166 w 6884782"/>
              <a:gd name="connsiteY60107" fmla="*/ 1222659 h 5973007"/>
              <a:gd name="connsiteX60108" fmla="*/ 3374166 w 6884782"/>
              <a:gd name="connsiteY60108" fmla="*/ 1222943 h 5973007"/>
              <a:gd name="connsiteX60109" fmla="*/ 3376727 w 6884782"/>
              <a:gd name="connsiteY60109" fmla="*/ 1229061 h 5973007"/>
              <a:gd name="connsiteX60110" fmla="*/ 3371178 w 6884782"/>
              <a:gd name="connsiteY60110" fmla="*/ 1228350 h 5973007"/>
              <a:gd name="connsiteX60111" fmla="*/ 3372886 w 6884782"/>
              <a:gd name="connsiteY60111" fmla="*/ 1236316 h 5973007"/>
              <a:gd name="connsiteX60112" fmla="*/ 3373313 w 6884782"/>
              <a:gd name="connsiteY60112" fmla="*/ 1236886 h 5973007"/>
              <a:gd name="connsiteX60113" fmla="*/ 3375020 w 6884782"/>
              <a:gd name="connsiteY60113" fmla="*/ 1234751 h 5973007"/>
              <a:gd name="connsiteX60114" fmla="*/ 3375020 w 6884782"/>
              <a:gd name="connsiteY60114" fmla="*/ 1231480 h 5973007"/>
              <a:gd name="connsiteX60115" fmla="*/ 3379288 w 6884782"/>
              <a:gd name="connsiteY60115" fmla="*/ 1255381 h 5973007"/>
              <a:gd name="connsiteX60116" fmla="*/ 3379715 w 6884782"/>
              <a:gd name="connsiteY60116" fmla="*/ 1255523 h 5973007"/>
              <a:gd name="connsiteX60117" fmla="*/ 3379501 w 6884782"/>
              <a:gd name="connsiteY60117" fmla="*/ 1255950 h 5973007"/>
              <a:gd name="connsiteX60118" fmla="*/ 3381209 w 6884782"/>
              <a:gd name="connsiteY60118" fmla="*/ 1265197 h 5973007"/>
              <a:gd name="connsiteX60119" fmla="*/ 3389746 w 6884782"/>
              <a:gd name="connsiteY60119" fmla="*/ 1257515 h 5973007"/>
              <a:gd name="connsiteX60120" fmla="*/ 3399350 w 6884782"/>
              <a:gd name="connsiteY60120" fmla="*/ 1250259 h 5973007"/>
              <a:gd name="connsiteX60121" fmla="*/ 3391453 w 6884782"/>
              <a:gd name="connsiteY60121" fmla="*/ 1224224 h 5973007"/>
              <a:gd name="connsiteX60122" fmla="*/ 1601504 w 6884782"/>
              <a:gd name="connsiteY60122" fmla="*/ 1215339 h 5973007"/>
              <a:gd name="connsiteX60123" fmla="*/ 1605015 w 6884782"/>
              <a:gd name="connsiteY60123" fmla="*/ 1216733 h 5973007"/>
              <a:gd name="connsiteX60124" fmla="*/ 1607803 w 6884782"/>
              <a:gd name="connsiteY60124" fmla="*/ 1219211 h 5973007"/>
              <a:gd name="connsiteX60125" fmla="*/ 1612966 w 6884782"/>
              <a:gd name="connsiteY60125" fmla="*/ 1215803 h 5973007"/>
              <a:gd name="connsiteX60126" fmla="*/ 1614824 w 6884782"/>
              <a:gd name="connsiteY60126" fmla="*/ 1216268 h 5973007"/>
              <a:gd name="connsiteX60127" fmla="*/ 1615031 w 6884782"/>
              <a:gd name="connsiteY60127" fmla="*/ 1215803 h 5973007"/>
              <a:gd name="connsiteX60128" fmla="*/ 1617612 w 6884782"/>
              <a:gd name="connsiteY60128" fmla="*/ 1215339 h 5973007"/>
              <a:gd name="connsiteX60129" fmla="*/ 1617509 w 6884782"/>
              <a:gd name="connsiteY60129" fmla="*/ 1216733 h 5973007"/>
              <a:gd name="connsiteX60130" fmla="*/ 1618129 w 6884782"/>
              <a:gd name="connsiteY60130" fmla="*/ 1216888 h 5973007"/>
              <a:gd name="connsiteX60131" fmla="*/ 1618645 w 6884782"/>
              <a:gd name="connsiteY60131" fmla="*/ 1216888 h 5973007"/>
              <a:gd name="connsiteX60132" fmla="*/ 1620606 w 6884782"/>
              <a:gd name="connsiteY60132" fmla="*/ 1216578 h 5973007"/>
              <a:gd name="connsiteX60133" fmla="*/ 1623188 w 6884782"/>
              <a:gd name="connsiteY60133" fmla="*/ 1218746 h 5973007"/>
              <a:gd name="connsiteX60134" fmla="*/ 1622981 w 6884782"/>
              <a:gd name="connsiteY60134" fmla="*/ 1218901 h 5973007"/>
              <a:gd name="connsiteX60135" fmla="*/ 1625666 w 6884782"/>
              <a:gd name="connsiteY60135" fmla="*/ 1220295 h 5973007"/>
              <a:gd name="connsiteX60136" fmla="*/ 1632378 w 6884782"/>
              <a:gd name="connsiteY60136" fmla="*/ 1232997 h 5973007"/>
              <a:gd name="connsiteX60137" fmla="*/ 1632481 w 6884782"/>
              <a:gd name="connsiteY60137" fmla="*/ 1239812 h 5973007"/>
              <a:gd name="connsiteX60138" fmla="*/ 1634649 w 6884782"/>
              <a:gd name="connsiteY60138" fmla="*/ 1236560 h 5973007"/>
              <a:gd name="connsiteX60139" fmla="*/ 1640329 w 6884782"/>
              <a:gd name="connsiteY60139" fmla="*/ 1229744 h 5973007"/>
              <a:gd name="connsiteX60140" fmla="*/ 1641155 w 6884782"/>
              <a:gd name="connsiteY60140" fmla="*/ 1229744 h 5973007"/>
              <a:gd name="connsiteX60141" fmla="*/ 1641774 w 6884782"/>
              <a:gd name="connsiteY60141" fmla="*/ 1231603 h 5973007"/>
              <a:gd name="connsiteX60142" fmla="*/ 1639606 w 6884782"/>
              <a:gd name="connsiteY60142" fmla="*/ 1234856 h 5973007"/>
              <a:gd name="connsiteX60143" fmla="*/ 1632791 w 6884782"/>
              <a:gd name="connsiteY60143" fmla="*/ 1240587 h 5973007"/>
              <a:gd name="connsiteX60144" fmla="*/ 1632481 w 6884782"/>
              <a:gd name="connsiteY60144" fmla="*/ 1241207 h 5973007"/>
              <a:gd name="connsiteX60145" fmla="*/ 1632481 w 6884782"/>
              <a:gd name="connsiteY60145" fmla="*/ 1242911 h 5973007"/>
              <a:gd name="connsiteX60146" fmla="*/ 1631552 w 6884782"/>
              <a:gd name="connsiteY60146" fmla="*/ 1244924 h 5973007"/>
              <a:gd name="connsiteX60147" fmla="*/ 1632378 w 6884782"/>
              <a:gd name="connsiteY60147" fmla="*/ 1247402 h 5973007"/>
              <a:gd name="connsiteX60148" fmla="*/ 1629590 w 6884782"/>
              <a:gd name="connsiteY60148" fmla="*/ 1248332 h 5973007"/>
              <a:gd name="connsiteX60149" fmla="*/ 1636714 w 6884782"/>
              <a:gd name="connsiteY60149" fmla="*/ 1248951 h 5973007"/>
              <a:gd name="connsiteX60150" fmla="*/ 1639502 w 6884782"/>
              <a:gd name="connsiteY60150" fmla="*/ 1248642 h 5973007"/>
              <a:gd name="connsiteX60151" fmla="*/ 1640225 w 6884782"/>
              <a:gd name="connsiteY60151" fmla="*/ 1248486 h 5973007"/>
              <a:gd name="connsiteX60152" fmla="*/ 1640329 w 6884782"/>
              <a:gd name="connsiteY60152" fmla="*/ 1248177 h 5973007"/>
              <a:gd name="connsiteX60153" fmla="*/ 1645698 w 6884782"/>
              <a:gd name="connsiteY60153" fmla="*/ 1247092 h 5973007"/>
              <a:gd name="connsiteX60154" fmla="*/ 1648382 w 6884782"/>
              <a:gd name="connsiteY60154" fmla="*/ 1247712 h 5973007"/>
              <a:gd name="connsiteX60155" fmla="*/ 1648382 w 6884782"/>
              <a:gd name="connsiteY60155" fmla="*/ 1247557 h 5973007"/>
              <a:gd name="connsiteX60156" fmla="*/ 1648692 w 6884782"/>
              <a:gd name="connsiteY60156" fmla="*/ 1246008 h 5973007"/>
              <a:gd name="connsiteX60157" fmla="*/ 1661599 w 6884782"/>
              <a:gd name="connsiteY60157" fmla="*/ 1244924 h 5973007"/>
              <a:gd name="connsiteX60158" fmla="*/ 1663355 w 6884782"/>
              <a:gd name="connsiteY60158" fmla="*/ 1245544 h 5973007"/>
              <a:gd name="connsiteX60159" fmla="*/ 1663355 w 6884782"/>
              <a:gd name="connsiteY60159" fmla="*/ 1244614 h 5973007"/>
              <a:gd name="connsiteX60160" fmla="*/ 1664181 w 6884782"/>
              <a:gd name="connsiteY60160" fmla="*/ 1245544 h 5973007"/>
              <a:gd name="connsiteX60161" fmla="*/ 1664387 w 6884782"/>
              <a:gd name="connsiteY60161" fmla="*/ 1245544 h 5973007"/>
              <a:gd name="connsiteX60162" fmla="*/ 1665213 w 6884782"/>
              <a:gd name="connsiteY60162" fmla="*/ 1245544 h 5973007"/>
              <a:gd name="connsiteX60163" fmla="*/ 1667898 w 6884782"/>
              <a:gd name="connsiteY60163" fmla="*/ 1247867 h 5973007"/>
              <a:gd name="connsiteX60164" fmla="*/ 1667278 w 6884782"/>
              <a:gd name="connsiteY60164" fmla="*/ 1249880 h 5973007"/>
              <a:gd name="connsiteX60165" fmla="*/ 1666865 w 6884782"/>
              <a:gd name="connsiteY60165" fmla="*/ 1250190 h 5973007"/>
              <a:gd name="connsiteX60166" fmla="*/ 1667795 w 6884782"/>
              <a:gd name="connsiteY60166" fmla="*/ 1254682 h 5973007"/>
              <a:gd name="connsiteX60167" fmla="*/ 1662838 w 6884782"/>
              <a:gd name="connsiteY60167" fmla="*/ 1253753 h 5973007"/>
              <a:gd name="connsiteX60168" fmla="*/ 1662529 w 6884782"/>
              <a:gd name="connsiteY60168" fmla="*/ 1252979 h 5973007"/>
              <a:gd name="connsiteX60169" fmla="*/ 1661806 w 6884782"/>
              <a:gd name="connsiteY60169" fmla="*/ 1255147 h 5973007"/>
              <a:gd name="connsiteX60170" fmla="*/ 1659947 w 6884782"/>
              <a:gd name="connsiteY60170" fmla="*/ 1267539 h 5973007"/>
              <a:gd name="connsiteX60171" fmla="*/ 1653545 w 6884782"/>
              <a:gd name="connsiteY60171" fmla="*/ 1267539 h 5973007"/>
              <a:gd name="connsiteX60172" fmla="*/ 1651893 w 6884782"/>
              <a:gd name="connsiteY60172" fmla="*/ 1266764 h 5973007"/>
              <a:gd name="connsiteX60173" fmla="*/ 1652719 w 6884782"/>
              <a:gd name="connsiteY60173" fmla="*/ 1267848 h 5973007"/>
              <a:gd name="connsiteX60174" fmla="*/ 1649002 w 6884782"/>
              <a:gd name="connsiteY60174" fmla="*/ 1269707 h 5973007"/>
              <a:gd name="connsiteX60175" fmla="*/ 1647866 w 6884782"/>
              <a:gd name="connsiteY60175" fmla="*/ 1266300 h 5973007"/>
              <a:gd name="connsiteX60176" fmla="*/ 1648692 w 6884782"/>
              <a:gd name="connsiteY60176" fmla="*/ 1265370 h 5973007"/>
              <a:gd name="connsiteX60177" fmla="*/ 1649518 w 6884782"/>
              <a:gd name="connsiteY60177" fmla="*/ 1264596 h 5973007"/>
              <a:gd name="connsiteX60178" fmla="*/ 1648073 w 6884782"/>
              <a:gd name="connsiteY60178" fmla="*/ 1263047 h 5973007"/>
              <a:gd name="connsiteX60179" fmla="*/ 1646834 w 6884782"/>
              <a:gd name="connsiteY60179" fmla="*/ 1254992 h 5973007"/>
              <a:gd name="connsiteX60180" fmla="*/ 1647557 w 6884782"/>
              <a:gd name="connsiteY60180" fmla="*/ 1253753 h 5973007"/>
              <a:gd name="connsiteX60181" fmla="*/ 1647247 w 6884782"/>
              <a:gd name="connsiteY60181" fmla="*/ 1253753 h 5973007"/>
              <a:gd name="connsiteX60182" fmla="*/ 1644768 w 6884782"/>
              <a:gd name="connsiteY60182" fmla="*/ 1252979 h 5973007"/>
              <a:gd name="connsiteX60183" fmla="*/ 1644975 w 6884782"/>
              <a:gd name="connsiteY60183" fmla="*/ 1254373 h 5973007"/>
              <a:gd name="connsiteX60184" fmla="*/ 1629073 w 6884782"/>
              <a:gd name="connsiteY60184" fmla="*/ 1251430 h 5973007"/>
              <a:gd name="connsiteX60185" fmla="*/ 1627422 w 6884782"/>
              <a:gd name="connsiteY60185" fmla="*/ 1250655 h 5973007"/>
              <a:gd name="connsiteX60186" fmla="*/ 1626905 w 6884782"/>
              <a:gd name="connsiteY60186" fmla="*/ 1249880 h 5973007"/>
              <a:gd name="connsiteX60187" fmla="*/ 1627215 w 6884782"/>
              <a:gd name="connsiteY60187" fmla="*/ 1249416 h 5973007"/>
              <a:gd name="connsiteX60188" fmla="*/ 1627215 w 6884782"/>
              <a:gd name="connsiteY60188" fmla="*/ 1248951 h 5973007"/>
              <a:gd name="connsiteX60189" fmla="*/ 1626699 w 6884782"/>
              <a:gd name="connsiteY60189" fmla="*/ 1249106 h 5973007"/>
              <a:gd name="connsiteX60190" fmla="*/ 1623601 w 6884782"/>
              <a:gd name="connsiteY60190" fmla="*/ 1248486 h 5973007"/>
              <a:gd name="connsiteX60191" fmla="*/ 1623498 w 6884782"/>
              <a:gd name="connsiteY60191" fmla="*/ 1250345 h 5973007"/>
              <a:gd name="connsiteX60192" fmla="*/ 1624427 w 6884782"/>
              <a:gd name="connsiteY60192" fmla="*/ 1253134 h 5973007"/>
              <a:gd name="connsiteX60193" fmla="*/ 1623085 w 6884782"/>
              <a:gd name="connsiteY60193" fmla="*/ 1254528 h 5973007"/>
              <a:gd name="connsiteX60194" fmla="*/ 1621433 w 6884782"/>
              <a:gd name="connsiteY60194" fmla="*/ 1252359 h 5973007"/>
              <a:gd name="connsiteX60195" fmla="*/ 1623085 w 6884782"/>
              <a:gd name="connsiteY60195" fmla="*/ 1250035 h 5973007"/>
              <a:gd name="connsiteX60196" fmla="*/ 1622878 w 6884782"/>
              <a:gd name="connsiteY60196" fmla="*/ 1248332 h 5973007"/>
              <a:gd name="connsiteX60197" fmla="*/ 1619264 w 6884782"/>
              <a:gd name="connsiteY60197" fmla="*/ 1247867 h 5973007"/>
              <a:gd name="connsiteX60198" fmla="*/ 1612346 w 6884782"/>
              <a:gd name="connsiteY60198" fmla="*/ 1243685 h 5973007"/>
              <a:gd name="connsiteX60199" fmla="*/ 1612553 w 6884782"/>
              <a:gd name="connsiteY60199" fmla="*/ 1245079 h 5973007"/>
              <a:gd name="connsiteX60200" fmla="*/ 1611933 w 6884782"/>
              <a:gd name="connsiteY60200" fmla="*/ 1247402 h 5973007"/>
              <a:gd name="connsiteX60201" fmla="*/ 1611004 w 6884782"/>
              <a:gd name="connsiteY60201" fmla="*/ 1247557 h 5973007"/>
              <a:gd name="connsiteX60202" fmla="*/ 1611210 w 6884782"/>
              <a:gd name="connsiteY60202" fmla="*/ 1248642 h 5973007"/>
              <a:gd name="connsiteX60203" fmla="*/ 1611004 w 6884782"/>
              <a:gd name="connsiteY60203" fmla="*/ 1252669 h 5973007"/>
              <a:gd name="connsiteX60204" fmla="*/ 1609765 w 6884782"/>
              <a:gd name="connsiteY60204" fmla="*/ 1247867 h 5973007"/>
              <a:gd name="connsiteX60205" fmla="*/ 1609765 w 6884782"/>
              <a:gd name="connsiteY60205" fmla="*/ 1247712 h 5973007"/>
              <a:gd name="connsiteX60206" fmla="*/ 1608939 w 6884782"/>
              <a:gd name="connsiteY60206" fmla="*/ 1247712 h 5973007"/>
              <a:gd name="connsiteX60207" fmla="*/ 1608526 w 6884782"/>
              <a:gd name="connsiteY60207" fmla="*/ 1248642 h 5973007"/>
              <a:gd name="connsiteX60208" fmla="*/ 1608009 w 6884782"/>
              <a:gd name="connsiteY60208" fmla="*/ 1248022 h 5973007"/>
              <a:gd name="connsiteX60209" fmla="*/ 1606874 w 6884782"/>
              <a:gd name="connsiteY60209" fmla="*/ 1247867 h 5973007"/>
              <a:gd name="connsiteX60210" fmla="*/ 1606564 w 6884782"/>
              <a:gd name="connsiteY60210" fmla="*/ 1243995 h 5973007"/>
              <a:gd name="connsiteX60211" fmla="*/ 1600265 w 6884782"/>
              <a:gd name="connsiteY60211" fmla="*/ 1240587 h 5973007"/>
              <a:gd name="connsiteX60212" fmla="*/ 1599233 w 6884782"/>
              <a:gd name="connsiteY60212" fmla="*/ 1238728 h 5973007"/>
              <a:gd name="connsiteX60213" fmla="*/ 1597477 w 6884782"/>
              <a:gd name="connsiteY60213" fmla="*/ 1238263 h 5973007"/>
              <a:gd name="connsiteX60214" fmla="*/ 1598510 w 6884782"/>
              <a:gd name="connsiteY60214" fmla="*/ 1237489 h 5973007"/>
              <a:gd name="connsiteX60215" fmla="*/ 1598303 w 6884782"/>
              <a:gd name="connsiteY60215" fmla="*/ 1237179 h 5973007"/>
              <a:gd name="connsiteX60216" fmla="*/ 1598716 w 6884782"/>
              <a:gd name="connsiteY60216" fmla="*/ 1237024 h 5973007"/>
              <a:gd name="connsiteX60217" fmla="*/ 1598613 w 6884782"/>
              <a:gd name="connsiteY60217" fmla="*/ 1236560 h 5973007"/>
              <a:gd name="connsiteX60218" fmla="*/ 1599233 w 6884782"/>
              <a:gd name="connsiteY60218" fmla="*/ 1234701 h 5973007"/>
              <a:gd name="connsiteX60219" fmla="*/ 1603466 w 6884782"/>
              <a:gd name="connsiteY60219" fmla="*/ 1234701 h 5973007"/>
              <a:gd name="connsiteX60220" fmla="*/ 1605531 w 6884782"/>
              <a:gd name="connsiteY60220" fmla="*/ 1239038 h 5973007"/>
              <a:gd name="connsiteX60221" fmla="*/ 1607390 w 6884782"/>
              <a:gd name="connsiteY60221" fmla="*/ 1241516 h 5973007"/>
              <a:gd name="connsiteX60222" fmla="*/ 1606874 w 6884782"/>
              <a:gd name="connsiteY60222" fmla="*/ 1243530 h 5973007"/>
              <a:gd name="connsiteX60223" fmla="*/ 1607493 w 6884782"/>
              <a:gd name="connsiteY60223" fmla="*/ 1242291 h 5973007"/>
              <a:gd name="connsiteX60224" fmla="*/ 1609042 w 6884782"/>
              <a:gd name="connsiteY60224" fmla="*/ 1241361 h 5973007"/>
              <a:gd name="connsiteX60225" fmla="*/ 1610694 w 6884782"/>
              <a:gd name="connsiteY60225" fmla="*/ 1242291 h 5973007"/>
              <a:gd name="connsiteX60226" fmla="*/ 1612036 w 6884782"/>
              <a:gd name="connsiteY60226" fmla="*/ 1243220 h 5973007"/>
              <a:gd name="connsiteX60227" fmla="*/ 1609765 w 6884782"/>
              <a:gd name="connsiteY60227" fmla="*/ 1238418 h 5973007"/>
              <a:gd name="connsiteX60228" fmla="*/ 1618955 w 6884782"/>
              <a:gd name="connsiteY60228" fmla="*/ 1241207 h 5973007"/>
              <a:gd name="connsiteX60229" fmla="*/ 1624634 w 6884782"/>
              <a:gd name="connsiteY60229" fmla="*/ 1241826 h 5973007"/>
              <a:gd name="connsiteX60230" fmla="*/ 1624943 w 6884782"/>
              <a:gd name="connsiteY60230" fmla="*/ 1241361 h 5973007"/>
              <a:gd name="connsiteX60231" fmla="*/ 1624530 w 6884782"/>
              <a:gd name="connsiteY60231" fmla="*/ 1240432 h 5973007"/>
              <a:gd name="connsiteX60232" fmla="*/ 1624324 w 6884782"/>
              <a:gd name="connsiteY60232" fmla="*/ 1240432 h 5973007"/>
              <a:gd name="connsiteX60233" fmla="*/ 1617096 w 6884782"/>
              <a:gd name="connsiteY60233" fmla="*/ 1237489 h 5973007"/>
              <a:gd name="connsiteX60234" fmla="*/ 1617922 w 6884782"/>
              <a:gd name="connsiteY60234" fmla="*/ 1236714 h 5973007"/>
              <a:gd name="connsiteX60235" fmla="*/ 1624221 w 6884782"/>
              <a:gd name="connsiteY60235" fmla="*/ 1237799 h 5973007"/>
              <a:gd name="connsiteX60236" fmla="*/ 1625460 w 6884782"/>
              <a:gd name="connsiteY60236" fmla="*/ 1238263 h 5973007"/>
              <a:gd name="connsiteX60237" fmla="*/ 1624634 w 6884782"/>
              <a:gd name="connsiteY60237" fmla="*/ 1236250 h 5973007"/>
              <a:gd name="connsiteX60238" fmla="*/ 1621433 w 6884782"/>
              <a:gd name="connsiteY60238" fmla="*/ 1223084 h 5973007"/>
              <a:gd name="connsiteX60239" fmla="*/ 1622259 w 6884782"/>
              <a:gd name="connsiteY60239" fmla="*/ 1219056 h 5973007"/>
              <a:gd name="connsiteX60240" fmla="*/ 1619884 w 6884782"/>
              <a:gd name="connsiteY60240" fmla="*/ 1219676 h 5973007"/>
              <a:gd name="connsiteX60241" fmla="*/ 1619884 w 6884782"/>
              <a:gd name="connsiteY60241" fmla="*/ 1222464 h 5973007"/>
              <a:gd name="connsiteX60242" fmla="*/ 1608629 w 6884782"/>
              <a:gd name="connsiteY60242" fmla="*/ 1227421 h 5973007"/>
              <a:gd name="connsiteX60243" fmla="*/ 1607287 w 6884782"/>
              <a:gd name="connsiteY60243" fmla="*/ 1224168 h 5973007"/>
              <a:gd name="connsiteX60244" fmla="*/ 1607183 w 6884782"/>
              <a:gd name="connsiteY60244" fmla="*/ 1223548 h 5973007"/>
              <a:gd name="connsiteX60245" fmla="*/ 1605428 w 6884782"/>
              <a:gd name="connsiteY60245" fmla="*/ 1225252 h 5973007"/>
              <a:gd name="connsiteX60246" fmla="*/ 1604705 w 6884782"/>
              <a:gd name="connsiteY60246" fmla="*/ 1225407 h 5973007"/>
              <a:gd name="connsiteX60247" fmla="*/ 1604396 w 6884782"/>
              <a:gd name="connsiteY60247" fmla="*/ 1226336 h 5973007"/>
              <a:gd name="connsiteX60248" fmla="*/ 1603672 w 6884782"/>
              <a:gd name="connsiteY60248" fmla="*/ 1226336 h 5973007"/>
              <a:gd name="connsiteX60249" fmla="*/ 1604086 w 6884782"/>
              <a:gd name="connsiteY60249" fmla="*/ 1225562 h 5973007"/>
              <a:gd name="connsiteX60250" fmla="*/ 1603156 w 6884782"/>
              <a:gd name="connsiteY60250" fmla="*/ 1225717 h 5973007"/>
              <a:gd name="connsiteX60251" fmla="*/ 1603466 w 6884782"/>
              <a:gd name="connsiteY60251" fmla="*/ 1226336 h 5973007"/>
              <a:gd name="connsiteX60252" fmla="*/ 1601607 w 6884782"/>
              <a:gd name="connsiteY60252" fmla="*/ 1226181 h 5973007"/>
              <a:gd name="connsiteX60253" fmla="*/ 1601917 w 6884782"/>
              <a:gd name="connsiteY60253" fmla="*/ 1225872 h 5973007"/>
              <a:gd name="connsiteX60254" fmla="*/ 1602743 w 6884782"/>
              <a:gd name="connsiteY60254" fmla="*/ 1225717 h 5973007"/>
              <a:gd name="connsiteX60255" fmla="*/ 1600059 w 6884782"/>
              <a:gd name="connsiteY60255" fmla="*/ 1224013 h 5973007"/>
              <a:gd name="connsiteX60256" fmla="*/ 1599130 w 6884782"/>
              <a:gd name="connsiteY60256" fmla="*/ 1220295 h 5973007"/>
              <a:gd name="connsiteX60257" fmla="*/ 1601504 w 6884782"/>
              <a:gd name="connsiteY60257" fmla="*/ 1215339 h 5973007"/>
              <a:gd name="connsiteX60258" fmla="*/ 1252292 w 6884782"/>
              <a:gd name="connsiteY60258" fmla="*/ 1215029 h 5973007"/>
              <a:gd name="connsiteX60259" fmla="*/ 1257145 w 6884782"/>
              <a:gd name="connsiteY60259" fmla="*/ 1241671 h 5973007"/>
              <a:gd name="connsiteX60260" fmla="*/ 1249813 w 6884782"/>
              <a:gd name="connsiteY60260" fmla="*/ 1244459 h 5973007"/>
              <a:gd name="connsiteX60261" fmla="*/ 1245064 w 6884782"/>
              <a:gd name="connsiteY60261" fmla="*/ 1242911 h 5973007"/>
              <a:gd name="connsiteX60262" fmla="*/ 1244444 w 6884782"/>
              <a:gd name="connsiteY60262" fmla="*/ 1243220 h 5973007"/>
              <a:gd name="connsiteX60263" fmla="*/ 1244238 w 6884782"/>
              <a:gd name="connsiteY60263" fmla="*/ 1242756 h 5973007"/>
              <a:gd name="connsiteX60264" fmla="*/ 1243722 w 6884782"/>
              <a:gd name="connsiteY60264" fmla="*/ 1242445 h 5973007"/>
              <a:gd name="connsiteX60265" fmla="*/ 1238352 w 6884782"/>
              <a:gd name="connsiteY60265" fmla="*/ 1230054 h 5973007"/>
              <a:gd name="connsiteX60266" fmla="*/ 1252292 w 6884782"/>
              <a:gd name="connsiteY60266" fmla="*/ 1215029 h 5973007"/>
              <a:gd name="connsiteX60267" fmla="*/ 4149520 w 6884782"/>
              <a:gd name="connsiteY60267" fmla="*/ 1214976 h 5973007"/>
              <a:gd name="connsiteX60268" fmla="*/ 4152508 w 6884782"/>
              <a:gd name="connsiteY60268" fmla="*/ 1219671 h 5973007"/>
              <a:gd name="connsiteX60269" fmla="*/ 4146106 w 6884782"/>
              <a:gd name="connsiteY60269" fmla="*/ 1222374 h 5973007"/>
              <a:gd name="connsiteX60270" fmla="*/ 4143118 w 6884782"/>
              <a:gd name="connsiteY60270" fmla="*/ 1217822 h 5973007"/>
              <a:gd name="connsiteX60271" fmla="*/ 4149520 w 6884782"/>
              <a:gd name="connsiteY60271" fmla="*/ 1214976 h 5973007"/>
              <a:gd name="connsiteX60272" fmla="*/ 908345 w 6884782"/>
              <a:gd name="connsiteY60272" fmla="*/ 1214719 h 5973007"/>
              <a:gd name="connsiteX60273" fmla="*/ 915366 w 6884782"/>
              <a:gd name="connsiteY60273" fmla="*/ 1217043 h 5973007"/>
              <a:gd name="connsiteX60274" fmla="*/ 913508 w 6884782"/>
              <a:gd name="connsiteY60274" fmla="*/ 1222774 h 5973007"/>
              <a:gd name="connsiteX60275" fmla="*/ 910927 w 6884782"/>
              <a:gd name="connsiteY60275" fmla="*/ 1223239 h 5973007"/>
              <a:gd name="connsiteX60276" fmla="*/ 905764 w 6884782"/>
              <a:gd name="connsiteY60276" fmla="*/ 1221999 h 5973007"/>
              <a:gd name="connsiteX60277" fmla="*/ 905764 w 6884782"/>
              <a:gd name="connsiteY60277" fmla="*/ 1222774 h 5973007"/>
              <a:gd name="connsiteX60278" fmla="*/ 904938 w 6884782"/>
              <a:gd name="connsiteY60278" fmla="*/ 1217662 h 5973007"/>
              <a:gd name="connsiteX60279" fmla="*/ 908345 w 6884782"/>
              <a:gd name="connsiteY60279" fmla="*/ 1214719 h 5973007"/>
              <a:gd name="connsiteX60280" fmla="*/ 3661429 w 6884782"/>
              <a:gd name="connsiteY60280" fmla="*/ 1214549 h 5973007"/>
              <a:gd name="connsiteX60281" fmla="*/ 3663777 w 6884782"/>
              <a:gd name="connsiteY60281" fmla="*/ 1216114 h 5973007"/>
              <a:gd name="connsiteX60282" fmla="*/ 3657801 w 6884782"/>
              <a:gd name="connsiteY60282" fmla="*/ 1222943 h 5973007"/>
              <a:gd name="connsiteX60283" fmla="*/ 3655667 w 6884782"/>
              <a:gd name="connsiteY60283" fmla="*/ 1221521 h 5973007"/>
              <a:gd name="connsiteX60284" fmla="*/ 3656093 w 6884782"/>
              <a:gd name="connsiteY60284" fmla="*/ 1218249 h 5973007"/>
              <a:gd name="connsiteX60285" fmla="*/ 3661429 w 6884782"/>
              <a:gd name="connsiteY60285" fmla="*/ 1214549 h 5973007"/>
              <a:gd name="connsiteX60286" fmla="*/ 3642648 w 6884782"/>
              <a:gd name="connsiteY60286" fmla="*/ 1214407 h 5973007"/>
              <a:gd name="connsiteX60287" fmla="*/ 3646063 w 6884782"/>
              <a:gd name="connsiteY60287" fmla="*/ 1227212 h 5973007"/>
              <a:gd name="connsiteX60288" fmla="*/ 3645209 w 6884782"/>
              <a:gd name="connsiteY60288" fmla="*/ 1228350 h 5973007"/>
              <a:gd name="connsiteX60289" fmla="*/ 3645209 w 6884782"/>
              <a:gd name="connsiteY60289" fmla="*/ 1231622 h 5973007"/>
              <a:gd name="connsiteX60290" fmla="*/ 3640727 w 6884782"/>
              <a:gd name="connsiteY60290" fmla="*/ 1233471 h 5973007"/>
              <a:gd name="connsiteX60291" fmla="*/ 3634965 w 6884782"/>
              <a:gd name="connsiteY60291" fmla="*/ 1228777 h 5973007"/>
              <a:gd name="connsiteX60292" fmla="*/ 3634538 w 6884782"/>
              <a:gd name="connsiteY60292" fmla="*/ 1223370 h 5973007"/>
              <a:gd name="connsiteX60293" fmla="*/ 3632617 w 6884782"/>
              <a:gd name="connsiteY60293" fmla="*/ 1224935 h 5973007"/>
              <a:gd name="connsiteX60294" fmla="*/ 3627068 w 6884782"/>
              <a:gd name="connsiteY60294" fmla="*/ 1220240 h 5973007"/>
              <a:gd name="connsiteX60295" fmla="*/ 3631977 w 6884782"/>
              <a:gd name="connsiteY60295" fmla="*/ 1218533 h 5973007"/>
              <a:gd name="connsiteX60296" fmla="*/ 3634324 w 6884782"/>
              <a:gd name="connsiteY60296" fmla="*/ 1220667 h 5973007"/>
              <a:gd name="connsiteX60297" fmla="*/ 3634111 w 6884782"/>
              <a:gd name="connsiteY60297" fmla="*/ 1219814 h 5973007"/>
              <a:gd name="connsiteX60298" fmla="*/ 3640941 w 6884782"/>
              <a:gd name="connsiteY60298" fmla="*/ 1217537 h 5973007"/>
              <a:gd name="connsiteX60299" fmla="*/ 4848257 w 6884782"/>
              <a:gd name="connsiteY60299" fmla="*/ 1214123 h 5973007"/>
              <a:gd name="connsiteX60300" fmla="*/ 4854019 w 6884782"/>
              <a:gd name="connsiteY60300" fmla="*/ 1217679 h 5973007"/>
              <a:gd name="connsiteX60301" fmla="*/ 4830969 w 6884782"/>
              <a:gd name="connsiteY60301" fmla="*/ 1226642 h 5973007"/>
              <a:gd name="connsiteX60302" fmla="*/ 4848257 w 6884782"/>
              <a:gd name="connsiteY60302" fmla="*/ 1214123 h 5973007"/>
              <a:gd name="connsiteX60303" fmla="*/ 1689892 w 6884782"/>
              <a:gd name="connsiteY60303" fmla="*/ 1213325 h 5973007"/>
              <a:gd name="connsiteX60304" fmla="*/ 1693815 w 6884782"/>
              <a:gd name="connsiteY60304" fmla="*/ 1218591 h 5973007"/>
              <a:gd name="connsiteX60305" fmla="*/ 1693299 w 6884782"/>
              <a:gd name="connsiteY60305" fmla="*/ 1220141 h 5973007"/>
              <a:gd name="connsiteX60306" fmla="*/ 1689685 w 6884782"/>
              <a:gd name="connsiteY60306" fmla="*/ 1215494 h 5973007"/>
              <a:gd name="connsiteX60307" fmla="*/ 1689892 w 6884782"/>
              <a:gd name="connsiteY60307" fmla="*/ 1213325 h 5973007"/>
              <a:gd name="connsiteX60308" fmla="*/ 4321963 w 6884782"/>
              <a:gd name="connsiteY60308" fmla="*/ 1212558 h 5973007"/>
              <a:gd name="connsiteX60309" fmla="*/ 4325378 w 6884782"/>
              <a:gd name="connsiteY60309" fmla="*/ 1212558 h 5973007"/>
              <a:gd name="connsiteX60310" fmla="*/ 4329646 w 6884782"/>
              <a:gd name="connsiteY60310" fmla="*/ 1216683 h 5973007"/>
              <a:gd name="connsiteX60311" fmla="*/ 4323670 w 6884782"/>
              <a:gd name="connsiteY60311" fmla="*/ 1229630 h 5973007"/>
              <a:gd name="connsiteX60312" fmla="*/ 4314921 w 6884782"/>
              <a:gd name="connsiteY60312" fmla="*/ 1223797 h 5973007"/>
              <a:gd name="connsiteX60313" fmla="*/ 4317695 w 6884782"/>
              <a:gd name="connsiteY60313" fmla="*/ 1214549 h 5973007"/>
              <a:gd name="connsiteX60314" fmla="*/ 4321963 w 6884782"/>
              <a:gd name="connsiteY60314" fmla="*/ 1212558 h 5973007"/>
              <a:gd name="connsiteX60315" fmla="*/ 3621520 w 6884782"/>
              <a:gd name="connsiteY60315" fmla="*/ 1212558 h 5973007"/>
              <a:gd name="connsiteX60316" fmla="*/ 3624721 w 6884782"/>
              <a:gd name="connsiteY60316" fmla="*/ 1214692 h 5973007"/>
              <a:gd name="connsiteX60317" fmla="*/ 3626215 w 6884782"/>
              <a:gd name="connsiteY60317" fmla="*/ 1220667 h 5973007"/>
              <a:gd name="connsiteX60318" fmla="*/ 3615971 w 6884782"/>
              <a:gd name="connsiteY60318" fmla="*/ 1220240 h 5973007"/>
              <a:gd name="connsiteX60319" fmla="*/ 3614690 w 6884782"/>
              <a:gd name="connsiteY60319" fmla="*/ 1216541 h 5973007"/>
              <a:gd name="connsiteX60320" fmla="*/ 3621520 w 6884782"/>
              <a:gd name="connsiteY60320" fmla="*/ 1212558 h 5973007"/>
              <a:gd name="connsiteX60321" fmla="*/ 4698222 w 6884782"/>
              <a:gd name="connsiteY60321" fmla="*/ 1212131 h 5973007"/>
              <a:gd name="connsiteX60322" fmla="*/ 4704412 w 6884782"/>
              <a:gd name="connsiteY60322" fmla="*/ 1218533 h 5973007"/>
              <a:gd name="connsiteX60323" fmla="*/ 4703558 w 6884782"/>
              <a:gd name="connsiteY60323" fmla="*/ 1221663 h 5973007"/>
              <a:gd name="connsiteX60324" fmla="*/ 4698222 w 6884782"/>
              <a:gd name="connsiteY60324" fmla="*/ 1212131 h 5973007"/>
              <a:gd name="connsiteX60325" fmla="*/ 3466364 w 6884782"/>
              <a:gd name="connsiteY60325" fmla="*/ 1211704 h 5973007"/>
              <a:gd name="connsiteX60326" fmla="*/ 3470419 w 6884782"/>
              <a:gd name="connsiteY60326" fmla="*/ 1213981 h 5973007"/>
              <a:gd name="connsiteX60327" fmla="*/ 3454412 w 6884782"/>
              <a:gd name="connsiteY60327" fmla="*/ 1224793 h 5973007"/>
              <a:gd name="connsiteX60328" fmla="*/ 3451638 w 6884782"/>
              <a:gd name="connsiteY60328" fmla="*/ 1217964 h 5973007"/>
              <a:gd name="connsiteX60329" fmla="*/ 3466364 w 6884782"/>
              <a:gd name="connsiteY60329" fmla="*/ 1211704 h 5973007"/>
              <a:gd name="connsiteX60330" fmla="*/ 1483069 w 6884782"/>
              <a:gd name="connsiteY60330" fmla="*/ 1211621 h 5973007"/>
              <a:gd name="connsiteX60331" fmla="*/ 1484102 w 6884782"/>
              <a:gd name="connsiteY60331" fmla="*/ 1219366 h 5973007"/>
              <a:gd name="connsiteX60332" fmla="*/ 1480798 w 6884782"/>
              <a:gd name="connsiteY60332" fmla="*/ 1215494 h 5973007"/>
              <a:gd name="connsiteX60333" fmla="*/ 1483069 w 6884782"/>
              <a:gd name="connsiteY60333" fmla="*/ 1211621 h 5973007"/>
              <a:gd name="connsiteX60334" fmla="*/ 1402736 w 6884782"/>
              <a:gd name="connsiteY60334" fmla="*/ 1211156 h 5973007"/>
              <a:gd name="connsiteX60335" fmla="*/ 1405421 w 6884782"/>
              <a:gd name="connsiteY60335" fmla="*/ 1212086 h 5973007"/>
              <a:gd name="connsiteX60336" fmla="*/ 1406247 w 6884782"/>
              <a:gd name="connsiteY60336" fmla="*/ 1224943 h 5973007"/>
              <a:gd name="connsiteX60337" fmla="*/ 1405524 w 6884782"/>
              <a:gd name="connsiteY60337" fmla="*/ 1225717 h 5973007"/>
              <a:gd name="connsiteX60338" fmla="*/ 1415127 w 6884782"/>
              <a:gd name="connsiteY60338" fmla="*/ 1229589 h 5973007"/>
              <a:gd name="connsiteX60339" fmla="*/ 1417915 w 6884782"/>
              <a:gd name="connsiteY60339" fmla="*/ 1230518 h 5973007"/>
              <a:gd name="connsiteX60340" fmla="*/ 1418844 w 6884782"/>
              <a:gd name="connsiteY60340" fmla="*/ 1229899 h 5973007"/>
              <a:gd name="connsiteX60341" fmla="*/ 1421942 w 6884782"/>
              <a:gd name="connsiteY60341" fmla="*/ 1228350 h 5973007"/>
              <a:gd name="connsiteX60342" fmla="*/ 1423077 w 6884782"/>
              <a:gd name="connsiteY60342" fmla="*/ 1231448 h 5973007"/>
              <a:gd name="connsiteX60343" fmla="*/ 1422974 w 6884782"/>
              <a:gd name="connsiteY60343" fmla="*/ 1232067 h 5973007"/>
              <a:gd name="connsiteX60344" fmla="*/ 1423284 w 6884782"/>
              <a:gd name="connsiteY60344" fmla="*/ 1232223 h 5973007"/>
              <a:gd name="connsiteX60345" fmla="*/ 1422974 w 6884782"/>
              <a:gd name="connsiteY60345" fmla="*/ 1232378 h 5973007"/>
              <a:gd name="connsiteX60346" fmla="*/ 1422974 w 6884782"/>
              <a:gd name="connsiteY60346" fmla="*/ 1233617 h 5973007"/>
              <a:gd name="connsiteX60347" fmla="*/ 1421529 w 6884782"/>
              <a:gd name="connsiteY60347" fmla="*/ 1236095 h 5973007"/>
              <a:gd name="connsiteX60348" fmla="*/ 1419773 w 6884782"/>
              <a:gd name="connsiteY60348" fmla="*/ 1237024 h 5973007"/>
              <a:gd name="connsiteX60349" fmla="*/ 1417502 w 6884782"/>
              <a:gd name="connsiteY60349" fmla="*/ 1238263 h 5973007"/>
              <a:gd name="connsiteX60350" fmla="*/ 1417089 w 6884782"/>
              <a:gd name="connsiteY60350" fmla="*/ 1238263 h 5973007"/>
              <a:gd name="connsiteX60351" fmla="*/ 1416263 w 6884782"/>
              <a:gd name="connsiteY60351" fmla="*/ 1239347 h 5973007"/>
              <a:gd name="connsiteX60352" fmla="*/ 1412442 w 6884782"/>
              <a:gd name="connsiteY60352" fmla="*/ 1247867 h 5973007"/>
              <a:gd name="connsiteX60353" fmla="*/ 1413991 w 6884782"/>
              <a:gd name="connsiteY60353" fmla="*/ 1248642 h 5973007"/>
              <a:gd name="connsiteX60354" fmla="*/ 1416985 w 6884782"/>
              <a:gd name="connsiteY60354" fmla="*/ 1252204 h 5973007"/>
              <a:gd name="connsiteX60355" fmla="*/ 1409861 w 6884782"/>
              <a:gd name="connsiteY60355" fmla="*/ 1255767 h 5973007"/>
              <a:gd name="connsiteX60356" fmla="*/ 1408208 w 6884782"/>
              <a:gd name="connsiteY60356" fmla="*/ 1254837 h 5973007"/>
              <a:gd name="connsiteX60357" fmla="*/ 1406969 w 6884782"/>
              <a:gd name="connsiteY60357" fmla="*/ 1256232 h 5973007"/>
              <a:gd name="connsiteX60358" fmla="*/ 1403252 w 6884782"/>
              <a:gd name="connsiteY60358" fmla="*/ 1258400 h 5973007"/>
              <a:gd name="connsiteX60359" fmla="*/ 1395405 w 6884782"/>
              <a:gd name="connsiteY60359" fmla="*/ 1260104 h 5973007"/>
              <a:gd name="connsiteX60360" fmla="*/ 1391481 w 6884782"/>
              <a:gd name="connsiteY60360" fmla="*/ 1259175 h 5973007"/>
              <a:gd name="connsiteX60361" fmla="*/ 1391275 w 6884782"/>
              <a:gd name="connsiteY60361" fmla="*/ 1259484 h 5973007"/>
              <a:gd name="connsiteX60362" fmla="*/ 1385079 w 6884782"/>
              <a:gd name="connsiteY60362" fmla="*/ 1258865 h 5973007"/>
              <a:gd name="connsiteX60363" fmla="*/ 1386318 w 6884782"/>
              <a:gd name="connsiteY60363" fmla="*/ 1256851 h 5973007"/>
              <a:gd name="connsiteX60364" fmla="*/ 1383324 w 6884782"/>
              <a:gd name="connsiteY60364" fmla="*/ 1254682 h 5973007"/>
              <a:gd name="connsiteX60365" fmla="*/ 1381465 w 6884782"/>
              <a:gd name="connsiteY60365" fmla="*/ 1251739 h 5973007"/>
              <a:gd name="connsiteX60366" fmla="*/ 1379090 w 6884782"/>
              <a:gd name="connsiteY60366" fmla="*/ 1250965 h 5973007"/>
              <a:gd name="connsiteX60367" fmla="*/ 1379607 w 6884782"/>
              <a:gd name="connsiteY60367" fmla="*/ 1253289 h 5973007"/>
              <a:gd name="connsiteX60368" fmla="*/ 1378058 w 6884782"/>
              <a:gd name="connsiteY60368" fmla="*/ 1256232 h 5973007"/>
              <a:gd name="connsiteX60369" fmla="*/ 1371346 w 6884782"/>
              <a:gd name="connsiteY60369" fmla="*/ 1250655 h 5973007"/>
              <a:gd name="connsiteX60370" fmla="*/ 1374031 w 6884782"/>
              <a:gd name="connsiteY60370" fmla="*/ 1248177 h 5973007"/>
              <a:gd name="connsiteX60371" fmla="*/ 1375270 w 6884782"/>
              <a:gd name="connsiteY60371" fmla="*/ 1248796 h 5973007"/>
              <a:gd name="connsiteX60372" fmla="*/ 1371553 w 6884782"/>
              <a:gd name="connsiteY60372" fmla="*/ 1246008 h 5973007"/>
              <a:gd name="connsiteX60373" fmla="*/ 1366493 w 6884782"/>
              <a:gd name="connsiteY60373" fmla="*/ 1232687 h 5973007"/>
              <a:gd name="connsiteX60374" fmla="*/ 1369900 w 6884782"/>
              <a:gd name="connsiteY60374" fmla="*/ 1224633 h 5973007"/>
              <a:gd name="connsiteX60375" fmla="*/ 1375063 w 6884782"/>
              <a:gd name="connsiteY60375" fmla="*/ 1220450 h 5973007"/>
              <a:gd name="connsiteX60376" fmla="*/ 1379710 w 6884782"/>
              <a:gd name="connsiteY60376" fmla="*/ 1218901 h 5973007"/>
              <a:gd name="connsiteX60377" fmla="*/ 1380639 w 6884782"/>
              <a:gd name="connsiteY60377" fmla="*/ 1217507 h 5973007"/>
              <a:gd name="connsiteX60378" fmla="*/ 1381259 w 6884782"/>
              <a:gd name="connsiteY60378" fmla="*/ 1218282 h 5973007"/>
              <a:gd name="connsiteX60379" fmla="*/ 1385286 w 6884782"/>
              <a:gd name="connsiteY60379" fmla="*/ 1216888 h 5973007"/>
              <a:gd name="connsiteX60380" fmla="*/ 1397160 w 6884782"/>
              <a:gd name="connsiteY60380" fmla="*/ 1212551 h 5973007"/>
              <a:gd name="connsiteX60381" fmla="*/ 1397057 w 6884782"/>
              <a:gd name="connsiteY60381" fmla="*/ 1213945 h 5973007"/>
              <a:gd name="connsiteX60382" fmla="*/ 1397986 w 6884782"/>
              <a:gd name="connsiteY60382" fmla="*/ 1213170 h 5973007"/>
              <a:gd name="connsiteX60383" fmla="*/ 1402736 w 6884782"/>
              <a:gd name="connsiteY60383" fmla="*/ 1211156 h 5973007"/>
              <a:gd name="connsiteX60384" fmla="*/ 3515877 w 6884782"/>
              <a:gd name="connsiteY60384" fmla="*/ 1211135 h 5973007"/>
              <a:gd name="connsiteX60385" fmla="*/ 3528895 w 6884782"/>
              <a:gd name="connsiteY60385" fmla="*/ 1218675 h 5973007"/>
              <a:gd name="connsiteX60386" fmla="*/ 3529962 w 6884782"/>
              <a:gd name="connsiteY60386" fmla="*/ 1220952 h 5973007"/>
              <a:gd name="connsiteX60387" fmla="*/ 3534658 w 6884782"/>
              <a:gd name="connsiteY60387" fmla="*/ 1218675 h 5973007"/>
              <a:gd name="connsiteX60388" fmla="*/ 3533804 w 6884782"/>
              <a:gd name="connsiteY60388" fmla="*/ 1220383 h 5973007"/>
              <a:gd name="connsiteX60389" fmla="*/ 3531670 w 6884782"/>
              <a:gd name="connsiteY60389" fmla="*/ 1221236 h 5973007"/>
              <a:gd name="connsiteX60390" fmla="*/ 3530390 w 6884782"/>
              <a:gd name="connsiteY60390" fmla="*/ 1221663 h 5973007"/>
              <a:gd name="connsiteX60391" fmla="*/ 3531457 w 6884782"/>
              <a:gd name="connsiteY60391" fmla="*/ 1223940 h 5973007"/>
              <a:gd name="connsiteX60392" fmla="*/ 3523133 w 6884782"/>
              <a:gd name="connsiteY60392" fmla="*/ 1232760 h 5973007"/>
              <a:gd name="connsiteX60393" fmla="*/ 3511395 w 6884782"/>
              <a:gd name="connsiteY60393" fmla="*/ 1211989 h 5973007"/>
              <a:gd name="connsiteX60394" fmla="*/ 3515877 w 6884782"/>
              <a:gd name="connsiteY60394" fmla="*/ 1211135 h 5973007"/>
              <a:gd name="connsiteX60395" fmla="*/ 4089122 w 6884782"/>
              <a:gd name="connsiteY60395" fmla="*/ 1210993 h 5973007"/>
              <a:gd name="connsiteX60396" fmla="*/ 4090830 w 6884782"/>
              <a:gd name="connsiteY60396" fmla="*/ 1213838 h 5973007"/>
              <a:gd name="connsiteX60397" fmla="*/ 4091043 w 6884782"/>
              <a:gd name="connsiteY60397" fmla="*/ 1214549 h 5973007"/>
              <a:gd name="connsiteX60398" fmla="*/ 4093177 w 6884782"/>
              <a:gd name="connsiteY60398" fmla="*/ 1213554 h 5973007"/>
              <a:gd name="connsiteX60399" fmla="*/ 4094458 w 6884782"/>
              <a:gd name="connsiteY60399" fmla="*/ 1215972 h 5973007"/>
              <a:gd name="connsiteX60400" fmla="*/ 4092110 w 6884782"/>
              <a:gd name="connsiteY60400" fmla="*/ 1217822 h 5973007"/>
              <a:gd name="connsiteX60401" fmla="*/ 4092324 w 6884782"/>
              <a:gd name="connsiteY60401" fmla="*/ 1218818 h 5973007"/>
              <a:gd name="connsiteX60402" fmla="*/ 4092110 w 6884782"/>
              <a:gd name="connsiteY60402" fmla="*/ 1222659 h 5973007"/>
              <a:gd name="connsiteX60403" fmla="*/ 4092324 w 6884782"/>
              <a:gd name="connsiteY60403" fmla="*/ 1223085 h 5973007"/>
              <a:gd name="connsiteX60404" fmla="*/ 4092750 w 6884782"/>
              <a:gd name="connsiteY60404" fmla="*/ 1234894 h 5973007"/>
              <a:gd name="connsiteX60405" fmla="*/ 4080159 w 6884782"/>
              <a:gd name="connsiteY60405" fmla="*/ 1238024 h 5973007"/>
              <a:gd name="connsiteX60406" fmla="*/ 4074183 w 6884782"/>
              <a:gd name="connsiteY60406" fmla="*/ 1234183 h 5973007"/>
              <a:gd name="connsiteX60407" fmla="*/ 4073542 w 6884782"/>
              <a:gd name="connsiteY60407" fmla="*/ 1230910 h 5973007"/>
              <a:gd name="connsiteX60408" fmla="*/ 4066926 w 6884782"/>
              <a:gd name="connsiteY60408" fmla="*/ 1228350 h 5973007"/>
              <a:gd name="connsiteX60409" fmla="*/ 4063512 w 6884782"/>
              <a:gd name="connsiteY60409" fmla="*/ 1221236 h 5973007"/>
              <a:gd name="connsiteX60410" fmla="*/ 4066713 w 6884782"/>
              <a:gd name="connsiteY60410" fmla="*/ 1219814 h 5973007"/>
              <a:gd name="connsiteX60411" fmla="*/ 4073542 w 6884782"/>
              <a:gd name="connsiteY60411" fmla="*/ 1222801 h 5973007"/>
              <a:gd name="connsiteX60412" fmla="*/ 4074823 w 6884782"/>
              <a:gd name="connsiteY60412" fmla="*/ 1219814 h 5973007"/>
              <a:gd name="connsiteX60413" fmla="*/ 4079092 w 6884782"/>
              <a:gd name="connsiteY60413" fmla="*/ 1216826 h 5973007"/>
              <a:gd name="connsiteX60414" fmla="*/ 4080585 w 6884782"/>
              <a:gd name="connsiteY60414" fmla="*/ 1216826 h 5973007"/>
              <a:gd name="connsiteX60415" fmla="*/ 4080372 w 6884782"/>
              <a:gd name="connsiteY60415" fmla="*/ 1215546 h 5973007"/>
              <a:gd name="connsiteX60416" fmla="*/ 4084000 w 6884782"/>
              <a:gd name="connsiteY60416" fmla="*/ 1213554 h 5973007"/>
              <a:gd name="connsiteX60417" fmla="*/ 4085281 w 6884782"/>
              <a:gd name="connsiteY60417" fmla="*/ 1211419 h 5973007"/>
              <a:gd name="connsiteX60418" fmla="*/ 4089122 w 6884782"/>
              <a:gd name="connsiteY60418" fmla="*/ 1210993 h 5973007"/>
              <a:gd name="connsiteX60419" fmla="*/ 1517557 w 6884782"/>
              <a:gd name="connsiteY60419" fmla="*/ 1210847 h 5973007"/>
              <a:gd name="connsiteX60420" fmla="*/ 1519209 w 6884782"/>
              <a:gd name="connsiteY60420" fmla="*/ 1211776 h 5973007"/>
              <a:gd name="connsiteX60421" fmla="*/ 1515182 w 6884782"/>
              <a:gd name="connsiteY60421" fmla="*/ 1215339 h 5973007"/>
              <a:gd name="connsiteX60422" fmla="*/ 1511465 w 6884782"/>
              <a:gd name="connsiteY60422" fmla="*/ 1217817 h 5973007"/>
              <a:gd name="connsiteX60423" fmla="*/ 1497732 w 6884782"/>
              <a:gd name="connsiteY60423" fmla="*/ 1222929 h 5973007"/>
              <a:gd name="connsiteX60424" fmla="*/ 1502172 w 6884782"/>
              <a:gd name="connsiteY60424" fmla="*/ 1219056 h 5973007"/>
              <a:gd name="connsiteX60425" fmla="*/ 1501656 w 6884782"/>
              <a:gd name="connsiteY60425" fmla="*/ 1216888 h 5973007"/>
              <a:gd name="connsiteX60426" fmla="*/ 1504546 w 6884782"/>
              <a:gd name="connsiteY60426" fmla="*/ 1213635 h 5973007"/>
              <a:gd name="connsiteX60427" fmla="*/ 1504857 w 6884782"/>
              <a:gd name="connsiteY60427" fmla="*/ 1217043 h 5973007"/>
              <a:gd name="connsiteX60428" fmla="*/ 1504650 w 6884782"/>
              <a:gd name="connsiteY60428" fmla="*/ 1217507 h 5973007"/>
              <a:gd name="connsiteX60429" fmla="*/ 1509193 w 6884782"/>
              <a:gd name="connsiteY60429" fmla="*/ 1214874 h 5973007"/>
              <a:gd name="connsiteX60430" fmla="*/ 1514459 w 6884782"/>
              <a:gd name="connsiteY60430" fmla="*/ 1211002 h 5973007"/>
              <a:gd name="connsiteX60431" fmla="*/ 1516834 w 6884782"/>
              <a:gd name="connsiteY60431" fmla="*/ 1211311 h 5973007"/>
              <a:gd name="connsiteX60432" fmla="*/ 1517557 w 6884782"/>
              <a:gd name="connsiteY60432" fmla="*/ 1210847 h 5973007"/>
              <a:gd name="connsiteX60433" fmla="*/ 4492699 w 6884782"/>
              <a:gd name="connsiteY60433" fmla="*/ 1210282 h 5973007"/>
              <a:gd name="connsiteX60434" fmla="*/ 4500168 w 6884782"/>
              <a:gd name="connsiteY60434" fmla="*/ 1216541 h 5973007"/>
              <a:gd name="connsiteX60435" fmla="*/ 4492912 w 6884782"/>
              <a:gd name="connsiteY60435" fmla="*/ 1211846 h 5973007"/>
              <a:gd name="connsiteX60436" fmla="*/ 4492699 w 6884782"/>
              <a:gd name="connsiteY60436" fmla="*/ 1210282 h 5973007"/>
              <a:gd name="connsiteX60437" fmla="*/ 4290804 w 6884782"/>
              <a:gd name="connsiteY60437" fmla="*/ 1210282 h 5973007"/>
              <a:gd name="connsiteX60438" fmla="*/ 4309585 w 6884782"/>
              <a:gd name="connsiteY60438" fmla="*/ 1221521 h 5973007"/>
              <a:gd name="connsiteX60439" fmla="*/ 4295712 w 6884782"/>
              <a:gd name="connsiteY60439" fmla="*/ 1220240 h 5973007"/>
              <a:gd name="connsiteX60440" fmla="*/ 4283974 w 6884782"/>
              <a:gd name="connsiteY60440" fmla="*/ 1210993 h 5973007"/>
              <a:gd name="connsiteX60441" fmla="*/ 4290804 w 6884782"/>
              <a:gd name="connsiteY60441" fmla="*/ 1210282 h 5973007"/>
              <a:gd name="connsiteX60442" fmla="*/ 4124337 w 6884782"/>
              <a:gd name="connsiteY60442" fmla="*/ 1209286 h 5973007"/>
              <a:gd name="connsiteX60443" fmla="*/ 4131593 w 6884782"/>
              <a:gd name="connsiteY60443" fmla="*/ 1209855 h 5973007"/>
              <a:gd name="connsiteX60444" fmla="*/ 4130739 w 6884782"/>
              <a:gd name="connsiteY60444" fmla="*/ 1224224 h 5973007"/>
              <a:gd name="connsiteX60445" fmla="*/ 4125831 w 6884782"/>
              <a:gd name="connsiteY60445" fmla="*/ 1224082 h 5973007"/>
              <a:gd name="connsiteX60446" fmla="*/ 4124337 w 6884782"/>
              <a:gd name="connsiteY60446" fmla="*/ 1209286 h 5973007"/>
              <a:gd name="connsiteX60447" fmla="*/ 4105982 w 6884782"/>
              <a:gd name="connsiteY60447" fmla="*/ 1209001 h 5973007"/>
              <a:gd name="connsiteX60448" fmla="*/ 4119428 w 6884782"/>
              <a:gd name="connsiteY60448" fmla="*/ 1215688 h 5973007"/>
              <a:gd name="connsiteX60449" fmla="*/ 4102567 w 6884782"/>
              <a:gd name="connsiteY60449" fmla="*/ 1209570 h 5973007"/>
              <a:gd name="connsiteX60450" fmla="*/ 4105982 w 6884782"/>
              <a:gd name="connsiteY60450" fmla="*/ 1209001 h 5973007"/>
              <a:gd name="connsiteX60451" fmla="*/ 3439046 w 6884782"/>
              <a:gd name="connsiteY60451" fmla="*/ 1209001 h 5973007"/>
              <a:gd name="connsiteX60452" fmla="*/ 3442674 w 6884782"/>
              <a:gd name="connsiteY60452" fmla="*/ 1211277 h 5973007"/>
              <a:gd name="connsiteX60453" fmla="*/ 3440967 w 6884782"/>
              <a:gd name="connsiteY60453" fmla="*/ 1218106 h 5973007"/>
              <a:gd name="connsiteX60454" fmla="*/ 3435204 w 6884782"/>
              <a:gd name="connsiteY60454" fmla="*/ 1211562 h 5973007"/>
              <a:gd name="connsiteX60455" fmla="*/ 3439046 w 6884782"/>
              <a:gd name="connsiteY60455" fmla="*/ 1209001 h 5973007"/>
              <a:gd name="connsiteX60456" fmla="*/ 5754650 w 6884782"/>
              <a:gd name="connsiteY60456" fmla="*/ 1208005 h 5973007"/>
              <a:gd name="connsiteX60457" fmla="*/ 5758065 w 6884782"/>
              <a:gd name="connsiteY60457" fmla="*/ 1210282 h 5973007"/>
              <a:gd name="connsiteX60458" fmla="*/ 5758705 w 6884782"/>
              <a:gd name="connsiteY60458" fmla="*/ 1214976 h 5973007"/>
              <a:gd name="connsiteX60459" fmla="*/ 5749101 w 6884782"/>
              <a:gd name="connsiteY60459" fmla="*/ 1217111 h 5973007"/>
              <a:gd name="connsiteX60460" fmla="*/ 5751022 w 6884782"/>
              <a:gd name="connsiteY60460" fmla="*/ 1210139 h 5973007"/>
              <a:gd name="connsiteX60461" fmla="*/ 5754650 w 6884782"/>
              <a:gd name="connsiteY60461" fmla="*/ 1208005 h 5973007"/>
              <a:gd name="connsiteX60462" fmla="*/ 4015492 w 6884782"/>
              <a:gd name="connsiteY60462" fmla="*/ 1207436 h 5973007"/>
              <a:gd name="connsiteX60463" fmla="*/ 4016346 w 6884782"/>
              <a:gd name="connsiteY60463" fmla="*/ 1213411 h 5973007"/>
              <a:gd name="connsiteX60464" fmla="*/ 4012504 w 6884782"/>
              <a:gd name="connsiteY60464" fmla="*/ 1216541 h 5973007"/>
              <a:gd name="connsiteX60465" fmla="*/ 4010371 w 6884782"/>
              <a:gd name="connsiteY60465" fmla="*/ 1216399 h 5973007"/>
              <a:gd name="connsiteX60466" fmla="*/ 4011011 w 6884782"/>
              <a:gd name="connsiteY60466" fmla="*/ 1217111 h 5973007"/>
              <a:gd name="connsiteX60467" fmla="*/ 4009943 w 6884782"/>
              <a:gd name="connsiteY60467" fmla="*/ 1219103 h 5973007"/>
              <a:gd name="connsiteX60468" fmla="*/ 4008023 w 6884782"/>
              <a:gd name="connsiteY60468" fmla="*/ 1238024 h 5973007"/>
              <a:gd name="connsiteX60469" fmla="*/ 4007596 w 6884782"/>
              <a:gd name="connsiteY60469" fmla="*/ 1219529 h 5973007"/>
              <a:gd name="connsiteX60470" fmla="*/ 4007169 w 6884782"/>
              <a:gd name="connsiteY60470" fmla="*/ 1216683 h 5973007"/>
              <a:gd name="connsiteX60471" fmla="*/ 4004821 w 6884782"/>
              <a:gd name="connsiteY60471" fmla="*/ 1218533 h 5973007"/>
              <a:gd name="connsiteX60472" fmla="*/ 4001833 w 6884782"/>
              <a:gd name="connsiteY60472" fmla="*/ 1218960 h 5973007"/>
              <a:gd name="connsiteX60473" fmla="*/ 4006743 w 6884782"/>
              <a:gd name="connsiteY60473" fmla="*/ 1214976 h 5973007"/>
              <a:gd name="connsiteX60474" fmla="*/ 4006743 w 6884782"/>
              <a:gd name="connsiteY60474" fmla="*/ 1214692 h 5973007"/>
              <a:gd name="connsiteX60475" fmla="*/ 4007169 w 6884782"/>
              <a:gd name="connsiteY60475" fmla="*/ 1214692 h 5973007"/>
              <a:gd name="connsiteX60476" fmla="*/ 4008236 w 6884782"/>
              <a:gd name="connsiteY60476" fmla="*/ 1213838 h 5973007"/>
              <a:gd name="connsiteX60477" fmla="*/ 4008876 w 6884782"/>
              <a:gd name="connsiteY60477" fmla="*/ 1210282 h 5973007"/>
              <a:gd name="connsiteX60478" fmla="*/ 4015492 w 6884782"/>
              <a:gd name="connsiteY60478" fmla="*/ 1207436 h 5973007"/>
              <a:gd name="connsiteX60479" fmla="*/ 5026462 w 6884782"/>
              <a:gd name="connsiteY60479" fmla="*/ 1207009 h 5973007"/>
              <a:gd name="connsiteX60480" fmla="*/ 5027956 w 6884782"/>
              <a:gd name="connsiteY60480" fmla="*/ 1209428 h 5973007"/>
              <a:gd name="connsiteX60481" fmla="*/ 5023901 w 6884782"/>
              <a:gd name="connsiteY60481" fmla="*/ 1213127 h 5973007"/>
              <a:gd name="connsiteX60482" fmla="*/ 5024114 w 6884782"/>
              <a:gd name="connsiteY60482" fmla="*/ 1214407 h 5973007"/>
              <a:gd name="connsiteX60483" fmla="*/ 5026676 w 6884782"/>
              <a:gd name="connsiteY60483" fmla="*/ 1216683 h 5973007"/>
              <a:gd name="connsiteX60484" fmla="*/ 5028383 w 6884782"/>
              <a:gd name="connsiteY60484" fmla="*/ 1228492 h 5973007"/>
              <a:gd name="connsiteX60485" fmla="*/ 5016218 w 6884782"/>
              <a:gd name="connsiteY60485" fmla="*/ 1232902 h 5973007"/>
              <a:gd name="connsiteX60486" fmla="*/ 5010029 w 6884782"/>
              <a:gd name="connsiteY60486" fmla="*/ 1229630 h 5973007"/>
              <a:gd name="connsiteX60487" fmla="*/ 5008962 w 6884782"/>
              <a:gd name="connsiteY60487" fmla="*/ 1215261 h 5973007"/>
              <a:gd name="connsiteX60488" fmla="*/ 5021340 w 6884782"/>
              <a:gd name="connsiteY60488" fmla="*/ 1212131 h 5973007"/>
              <a:gd name="connsiteX60489" fmla="*/ 5022193 w 6884782"/>
              <a:gd name="connsiteY60489" fmla="*/ 1209712 h 5973007"/>
              <a:gd name="connsiteX60490" fmla="*/ 5026462 w 6884782"/>
              <a:gd name="connsiteY60490" fmla="*/ 1207009 h 5973007"/>
              <a:gd name="connsiteX60491" fmla="*/ 1554626 w 6884782"/>
              <a:gd name="connsiteY60491" fmla="*/ 1206355 h 5973007"/>
              <a:gd name="connsiteX60492" fmla="*/ 1559995 w 6884782"/>
              <a:gd name="connsiteY60492" fmla="*/ 1216578 h 5973007"/>
              <a:gd name="connsiteX60493" fmla="*/ 1559479 w 6884782"/>
              <a:gd name="connsiteY60493" fmla="*/ 1218746 h 5973007"/>
              <a:gd name="connsiteX60494" fmla="*/ 1559685 w 6884782"/>
              <a:gd name="connsiteY60494" fmla="*/ 1220760 h 5973007"/>
              <a:gd name="connsiteX60495" fmla="*/ 1556588 w 6884782"/>
              <a:gd name="connsiteY60495" fmla="*/ 1225252 h 5973007"/>
              <a:gd name="connsiteX60496" fmla="*/ 1552148 w 6884782"/>
              <a:gd name="connsiteY60496" fmla="*/ 1208678 h 5973007"/>
              <a:gd name="connsiteX60497" fmla="*/ 1552561 w 6884782"/>
              <a:gd name="connsiteY60497" fmla="*/ 1206820 h 5973007"/>
              <a:gd name="connsiteX60498" fmla="*/ 1554626 w 6884782"/>
              <a:gd name="connsiteY60498" fmla="*/ 1206355 h 5973007"/>
              <a:gd name="connsiteX60499" fmla="*/ 1558653 w 6884782"/>
              <a:gd name="connsiteY60499" fmla="*/ 1205580 h 5973007"/>
              <a:gd name="connsiteX60500" fmla="*/ 1559479 w 6884782"/>
              <a:gd name="connsiteY60500" fmla="*/ 1205580 h 5973007"/>
              <a:gd name="connsiteX60501" fmla="*/ 1558653 w 6884782"/>
              <a:gd name="connsiteY60501" fmla="*/ 1207129 h 5973007"/>
              <a:gd name="connsiteX60502" fmla="*/ 1558343 w 6884782"/>
              <a:gd name="connsiteY60502" fmla="*/ 1206665 h 5973007"/>
              <a:gd name="connsiteX60503" fmla="*/ 1558653 w 6884782"/>
              <a:gd name="connsiteY60503" fmla="*/ 1205580 h 5973007"/>
              <a:gd name="connsiteX60504" fmla="*/ 1520345 w 6884782"/>
              <a:gd name="connsiteY60504" fmla="*/ 1205271 h 5973007"/>
              <a:gd name="connsiteX60505" fmla="*/ 1543474 w 6884782"/>
              <a:gd name="connsiteY60505" fmla="*/ 1214874 h 5973007"/>
              <a:gd name="connsiteX60506" fmla="*/ 1547811 w 6884782"/>
              <a:gd name="connsiteY60506" fmla="*/ 1220760 h 5973007"/>
              <a:gd name="connsiteX60507" fmla="*/ 1531083 w 6884782"/>
              <a:gd name="connsiteY60507" fmla="*/ 1218437 h 5973007"/>
              <a:gd name="connsiteX60508" fmla="*/ 1523856 w 6884782"/>
              <a:gd name="connsiteY60508" fmla="*/ 1233462 h 5973007"/>
              <a:gd name="connsiteX60509" fmla="*/ 1522100 w 6884782"/>
              <a:gd name="connsiteY60509" fmla="*/ 1229744 h 5973007"/>
              <a:gd name="connsiteX60510" fmla="*/ 1518899 w 6884782"/>
              <a:gd name="connsiteY60510" fmla="*/ 1230054 h 5973007"/>
              <a:gd name="connsiteX60511" fmla="*/ 1518073 w 6884782"/>
              <a:gd name="connsiteY60511" fmla="*/ 1229279 h 5973007"/>
              <a:gd name="connsiteX60512" fmla="*/ 1516834 w 6884782"/>
              <a:gd name="connsiteY60512" fmla="*/ 1230054 h 5973007"/>
              <a:gd name="connsiteX60513" fmla="*/ 1515802 w 6884782"/>
              <a:gd name="connsiteY60513" fmla="*/ 1230828 h 5973007"/>
              <a:gd name="connsiteX60514" fmla="*/ 1513839 w 6884782"/>
              <a:gd name="connsiteY60514" fmla="*/ 1229589 h 5973007"/>
              <a:gd name="connsiteX60515" fmla="*/ 1513943 w 6884782"/>
              <a:gd name="connsiteY60515" fmla="*/ 1228195 h 5973007"/>
              <a:gd name="connsiteX60516" fmla="*/ 1511981 w 6884782"/>
              <a:gd name="connsiteY60516" fmla="*/ 1227731 h 5973007"/>
              <a:gd name="connsiteX60517" fmla="*/ 1516731 w 6884782"/>
              <a:gd name="connsiteY60517" fmla="*/ 1222929 h 5973007"/>
              <a:gd name="connsiteX60518" fmla="*/ 1516008 w 6884782"/>
              <a:gd name="connsiteY60518" fmla="*/ 1224788 h 5973007"/>
              <a:gd name="connsiteX60519" fmla="*/ 1517454 w 6884782"/>
              <a:gd name="connsiteY60519" fmla="*/ 1223393 h 5973007"/>
              <a:gd name="connsiteX60520" fmla="*/ 1522720 w 6884782"/>
              <a:gd name="connsiteY60520" fmla="*/ 1221845 h 5973007"/>
              <a:gd name="connsiteX60521" fmla="*/ 1522720 w 6884782"/>
              <a:gd name="connsiteY60521" fmla="*/ 1223858 h 5973007"/>
              <a:gd name="connsiteX60522" fmla="*/ 1523752 w 6884782"/>
              <a:gd name="connsiteY60522" fmla="*/ 1219676 h 5973007"/>
              <a:gd name="connsiteX60523" fmla="*/ 1524372 w 6884782"/>
              <a:gd name="connsiteY60523" fmla="*/ 1214410 h 5973007"/>
              <a:gd name="connsiteX60524" fmla="*/ 1520138 w 6884782"/>
              <a:gd name="connsiteY60524" fmla="*/ 1208988 h 5973007"/>
              <a:gd name="connsiteX60525" fmla="*/ 1520345 w 6884782"/>
              <a:gd name="connsiteY60525" fmla="*/ 1205271 h 5973007"/>
              <a:gd name="connsiteX60526" fmla="*/ 1030601 w 6884782"/>
              <a:gd name="connsiteY60526" fmla="*/ 1204341 h 5973007"/>
              <a:gd name="connsiteX60527" fmla="*/ 1032666 w 6884782"/>
              <a:gd name="connsiteY60527" fmla="*/ 1206510 h 5973007"/>
              <a:gd name="connsiteX60528" fmla="*/ 1023579 w 6884782"/>
              <a:gd name="connsiteY60528" fmla="*/ 1220605 h 5973007"/>
              <a:gd name="connsiteX60529" fmla="*/ 1004787 w 6884782"/>
              <a:gd name="connsiteY60529" fmla="*/ 1220141 h 5973007"/>
              <a:gd name="connsiteX60530" fmla="*/ 1003960 w 6884782"/>
              <a:gd name="connsiteY60530" fmla="*/ 1215029 h 5973007"/>
              <a:gd name="connsiteX60531" fmla="*/ 1013667 w 6884782"/>
              <a:gd name="connsiteY60531" fmla="*/ 1206510 h 5973007"/>
              <a:gd name="connsiteX60532" fmla="*/ 1019759 w 6884782"/>
              <a:gd name="connsiteY60532" fmla="*/ 1204961 h 5973007"/>
              <a:gd name="connsiteX60533" fmla="*/ 1030601 w 6884782"/>
              <a:gd name="connsiteY60533" fmla="*/ 1204341 h 5973007"/>
              <a:gd name="connsiteX60534" fmla="*/ 4608373 w 6884782"/>
              <a:gd name="connsiteY60534" fmla="*/ 1202741 h 5973007"/>
              <a:gd name="connsiteX60535" fmla="*/ 4612001 w 6884782"/>
              <a:gd name="connsiteY60535" fmla="*/ 1203453 h 5973007"/>
              <a:gd name="connsiteX60536" fmla="*/ 4614135 w 6884782"/>
              <a:gd name="connsiteY60536" fmla="*/ 1205871 h 5973007"/>
              <a:gd name="connsiteX60537" fmla="*/ 4613281 w 6884782"/>
              <a:gd name="connsiteY60537" fmla="*/ 1212984 h 5973007"/>
              <a:gd name="connsiteX60538" fmla="*/ 4603037 w 6884782"/>
              <a:gd name="connsiteY60538" fmla="*/ 1212842 h 5973007"/>
              <a:gd name="connsiteX60539" fmla="*/ 4605171 w 6884782"/>
              <a:gd name="connsiteY60539" fmla="*/ 1204591 h 5973007"/>
              <a:gd name="connsiteX60540" fmla="*/ 4608373 w 6884782"/>
              <a:gd name="connsiteY60540" fmla="*/ 1202741 h 5973007"/>
              <a:gd name="connsiteX60541" fmla="*/ 4222510 w 6884782"/>
              <a:gd name="connsiteY60541" fmla="*/ 1202599 h 5973007"/>
              <a:gd name="connsiteX60542" fmla="*/ 4230193 w 6884782"/>
              <a:gd name="connsiteY60542" fmla="*/ 1205587 h 5973007"/>
              <a:gd name="connsiteX60543" fmla="*/ 4229553 w 6884782"/>
              <a:gd name="connsiteY60543" fmla="*/ 1214265 h 5973007"/>
              <a:gd name="connsiteX60544" fmla="*/ 4216320 w 6884782"/>
              <a:gd name="connsiteY60544" fmla="*/ 1208432 h 5973007"/>
              <a:gd name="connsiteX60545" fmla="*/ 4222510 w 6884782"/>
              <a:gd name="connsiteY60545" fmla="*/ 1202599 h 5973007"/>
              <a:gd name="connsiteX60546" fmla="*/ 1051562 w 6884782"/>
              <a:gd name="connsiteY60546" fmla="*/ 1202173 h 5973007"/>
              <a:gd name="connsiteX60547" fmla="*/ 1052594 w 6884782"/>
              <a:gd name="connsiteY60547" fmla="*/ 1205271 h 5973007"/>
              <a:gd name="connsiteX60548" fmla="*/ 1051045 w 6884782"/>
              <a:gd name="connsiteY60548" fmla="*/ 1205425 h 5973007"/>
              <a:gd name="connsiteX60549" fmla="*/ 1051045 w 6884782"/>
              <a:gd name="connsiteY60549" fmla="*/ 1206355 h 5973007"/>
              <a:gd name="connsiteX60550" fmla="*/ 1049393 w 6884782"/>
              <a:gd name="connsiteY60550" fmla="*/ 1205735 h 5973007"/>
              <a:gd name="connsiteX60551" fmla="*/ 1049393 w 6884782"/>
              <a:gd name="connsiteY60551" fmla="*/ 1204961 h 5973007"/>
              <a:gd name="connsiteX60552" fmla="*/ 1049084 w 6884782"/>
              <a:gd name="connsiteY60552" fmla="*/ 1204806 h 5973007"/>
              <a:gd name="connsiteX60553" fmla="*/ 1050013 w 6884782"/>
              <a:gd name="connsiteY60553" fmla="*/ 1203257 h 5973007"/>
              <a:gd name="connsiteX60554" fmla="*/ 1051562 w 6884782"/>
              <a:gd name="connsiteY60554" fmla="*/ 1202173 h 5973007"/>
              <a:gd name="connsiteX60555" fmla="*/ 1495150 w 6884782"/>
              <a:gd name="connsiteY60555" fmla="*/ 1202018 h 5973007"/>
              <a:gd name="connsiteX60556" fmla="*/ 1497525 w 6884782"/>
              <a:gd name="connsiteY60556" fmla="*/ 1203257 h 5973007"/>
              <a:gd name="connsiteX60557" fmla="*/ 1502998 w 6884782"/>
              <a:gd name="connsiteY60557" fmla="*/ 1212706 h 5973007"/>
              <a:gd name="connsiteX60558" fmla="*/ 1495150 w 6884782"/>
              <a:gd name="connsiteY60558" fmla="*/ 1202018 h 5973007"/>
              <a:gd name="connsiteX60559" fmla="*/ 1684522 w 6884782"/>
              <a:gd name="connsiteY60559" fmla="*/ 1200778 h 5973007"/>
              <a:gd name="connsiteX60560" fmla="*/ 1685658 w 6884782"/>
              <a:gd name="connsiteY60560" fmla="*/ 1201863 h 5973007"/>
              <a:gd name="connsiteX60561" fmla="*/ 1687827 w 6884782"/>
              <a:gd name="connsiteY60561" fmla="*/ 1204651 h 5973007"/>
              <a:gd name="connsiteX60562" fmla="*/ 1683180 w 6884782"/>
              <a:gd name="connsiteY60562" fmla="*/ 1200933 h 5973007"/>
              <a:gd name="connsiteX60563" fmla="*/ 1684522 w 6884782"/>
              <a:gd name="connsiteY60563" fmla="*/ 1200778 h 5973007"/>
              <a:gd name="connsiteX60564" fmla="*/ 4246199 w 6884782"/>
              <a:gd name="connsiteY60564" fmla="*/ 1200180 h 5973007"/>
              <a:gd name="connsiteX60565" fmla="*/ 4252175 w 6884782"/>
              <a:gd name="connsiteY60565" fmla="*/ 1200180 h 5973007"/>
              <a:gd name="connsiteX60566" fmla="*/ 4264126 w 6884782"/>
              <a:gd name="connsiteY60566" fmla="*/ 1210282 h 5973007"/>
              <a:gd name="connsiteX60567" fmla="*/ 4236809 w 6884782"/>
              <a:gd name="connsiteY60567" fmla="*/ 1206725 h 5973007"/>
              <a:gd name="connsiteX60568" fmla="*/ 4239369 w 6884782"/>
              <a:gd name="connsiteY60568" fmla="*/ 1200892 h 5973007"/>
              <a:gd name="connsiteX60569" fmla="*/ 4246199 w 6884782"/>
              <a:gd name="connsiteY60569" fmla="*/ 1200180 h 5973007"/>
              <a:gd name="connsiteX60570" fmla="*/ 5132105 w 6884782"/>
              <a:gd name="connsiteY60570" fmla="*/ 1199611 h 5973007"/>
              <a:gd name="connsiteX60571" fmla="*/ 5134239 w 6884782"/>
              <a:gd name="connsiteY60571" fmla="*/ 1200038 h 5973007"/>
              <a:gd name="connsiteX60572" fmla="*/ 5135093 w 6884782"/>
              <a:gd name="connsiteY60572" fmla="*/ 1202457 h 5973007"/>
              <a:gd name="connsiteX60573" fmla="*/ 5134666 w 6884782"/>
              <a:gd name="connsiteY60573" fmla="*/ 1207294 h 5973007"/>
              <a:gd name="connsiteX60574" fmla="*/ 5132105 w 6884782"/>
              <a:gd name="connsiteY60574" fmla="*/ 1209570 h 5973007"/>
              <a:gd name="connsiteX60575" fmla="*/ 5129970 w 6884782"/>
              <a:gd name="connsiteY60575" fmla="*/ 1208432 h 5973007"/>
              <a:gd name="connsiteX60576" fmla="*/ 5127623 w 6884782"/>
              <a:gd name="connsiteY60576" fmla="*/ 1208432 h 5973007"/>
              <a:gd name="connsiteX60577" fmla="*/ 5127836 w 6884782"/>
              <a:gd name="connsiteY60577" fmla="*/ 1207152 h 5973007"/>
              <a:gd name="connsiteX60578" fmla="*/ 5126769 w 6884782"/>
              <a:gd name="connsiteY60578" fmla="*/ 1205871 h 5973007"/>
              <a:gd name="connsiteX60579" fmla="*/ 5129543 w 6884782"/>
              <a:gd name="connsiteY60579" fmla="*/ 1201034 h 5973007"/>
              <a:gd name="connsiteX60580" fmla="*/ 5132105 w 6884782"/>
              <a:gd name="connsiteY60580" fmla="*/ 1199611 h 5973007"/>
              <a:gd name="connsiteX60581" fmla="*/ 4739199 w 6884782"/>
              <a:gd name="connsiteY60581" fmla="*/ 1198473 h 5973007"/>
              <a:gd name="connsiteX60582" fmla="*/ 4731302 w 6884782"/>
              <a:gd name="connsiteY60582" fmla="*/ 1205302 h 5973007"/>
              <a:gd name="connsiteX60583" fmla="*/ 4739199 w 6884782"/>
              <a:gd name="connsiteY60583" fmla="*/ 1198473 h 5973007"/>
              <a:gd name="connsiteX60584" fmla="*/ 3367337 w 6884782"/>
              <a:gd name="connsiteY60584" fmla="*/ 1198473 h 5973007"/>
              <a:gd name="connsiteX60585" fmla="*/ 3368404 w 6884782"/>
              <a:gd name="connsiteY60585" fmla="*/ 1199184 h 5973007"/>
              <a:gd name="connsiteX60586" fmla="*/ 3370751 w 6884782"/>
              <a:gd name="connsiteY60586" fmla="*/ 1198900 h 5973007"/>
              <a:gd name="connsiteX60587" fmla="*/ 3367550 w 6884782"/>
              <a:gd name="connsiteY60587" fmla="*/ 1198473 h 5973007"/>
              <a:gd name="connsiteX60588" fmla="*/ 3644996 w 6884782"/>
              <a:gd name="connsiteY60588" fmla="*/ 1198331 h 5973007"/>
              <a:gd name="connsiteX60589" fmla="*/ 3647770 w 6884782"/>
              <a:gd name="connsiteY60589" fmla="*/ 1199896 h 5973007"/>
              <a:gd name="connsiteX60590" fmla="*/ 3636032 w 6884782"/>
              <a:gd name="connsiteY60590" fmla="*/ 1207436 h 5973007"/>
              <a:gd name="connsiteX60591" fmla="*/ 3636032 w 6884782"/>
              <a:gd name="connsiteY60591" fmla="*/ 1203880 h 5973007"/>
              <a:gd name="connsiteX60592" fmla="*/ 3644996 w 6884782"/>
              <a:gd name="connsiteY60592" fmla="*/ 1198331 h 5973007"/>
              <a:gd name="connsiteX60593" fmla="*/ 1363808 w 6884782"/>
              <a:gd name="connsiteY60593" fmla="*/ 1197990 h 5973007"/>
              <a:gd name="connsiteX60594" fmla="*/ 1365357 w 6884782"/>
              <a:gd name="connsiteY60594" fmla="*/ 1199229 h 5973007"/>
              <a:gd name="connsiteX60595" fmla="*/ 1365254 w 6884782"/>
              <a:gd name="connsiteY60595" fmla="*/ 1200159 h 5973007"/>
              <a:gd name="connsiteX60596" fmla="*/ 1364634 w 6884782"/>
              <a:gd name="connsiteY60596" fmla="*/ 1203412 h 5973007"/>
              <a:gd name="connsiteX60597" fmla="*/ 1360194 w 6884782"/>
              <a:gd name="connsiteY60597" fmla="*/ 1204806 h 5973007"/>
              <a:gd name="connsiteX60598" fmla="*/ 1358749 w 6884782"/>
              <a:gd name="connsiteY60598" fmla="*/ 1201863 h 5973007"/>
              <a:gd name="connsiteX60599" fmla="*/ 1359265 w 6884782"/>
              <a:gd name="connsiteY60599" fmla="*/ 1199694 h 5973007"/>
              <a:gd name="connsiteX60600" fmla="*/ 1363808 w 6884782"/>
              <a:gd name="connsiteY60600" fmla="*/ 1197990 h 5973007"/>
              <a:gd name="connsiteX60601" fmla="*/ 1301545 w 6884782"/>
              <a:gd name="connsiteY60601" fmla="*/ 1197835 h 5973007"/>
              <a:gd name="connsiteX60602" fmla="*/ 1306088 w 6884782"/>
              <a:gd name="connsiteY60602" fmla="*/ 1212396 h 5973007"/>
              <a:gd name="connsiteX60603" fmla="*/ 1301338 w 6884782"/>
              <a:gd name="connsiteY60603" fmla="*/ 1213480 h 5973007"/>
              <a:gd name="connsiteX60604" fmla="*/ 1299170 w 6884782"/>
              <a:gd name="connsiteY60604" fmla="*/ 1211776 h 5973007"/>
              <a:gd name="connsiteX60605" fmla="*/ 1297208 w 6884782"/>
              <a:gd name="connsiteY60605" fmla="*/ 1213015 h 5973007"/>
              <a:gd name="connsiteX60606" fmla="*/ 1294833 w 6884782"/>
              <a:gd name="connsiteY60606" fmla="*/ 1210692 h 5973007"/>
              <a:gd name="connsiteX60607" fmla="*/ 1296795 w 6884782"/>
              <a:gd name="connsiteY60607" fmla="*/ 1207129 h 5973007"/>
              <a:gd name="connsiteX60608" fmla="*/ 1297001 w 6884782"/>
              <a:gd name="connsiteY60608" fmla="*/ 1204651 h 5973007"/>
              <a:gd name="connsiteX60609" fmla="*/ 1297208 w 6884782"/>
              <a:gd name="connsiteY60609" fmla="*/ 1198765 h 5973007"/>
              <a:gd name="connsiteX60610" fmla="*/ 1301545 w 6884782"/>
              <a:gd name="connsiteY60610" fmla="*/ 1197835 h 5973007"/>
              <a:gd name="connsiteX60611" fmla="*/ 1662632 w 6884782"/>
              <a:gd name="connsiteY60611" fmla="*/ 1197681 h 5973007"/>
              <a:gd name="connsiteX60612" fmla="*/ 1665213 w 6884782"/>
              <a:gd name="connsiteY60612" fmla="*/ 1197681 h 5973007"/>
              <a:gd name="connsiteX60613" fmla="*/ 1668827 w 6884782"/>
              <a:gd name="connsiteY60613" fmla="*/ 1203722 h 5973007"/>
              <a:gd name="connsiteX60614" fmla="*/ 1668104 w 6884782"/>
              <a:gd name="connsiteY60614" fmla="*/ 1207904 h 5973007"/>
              <a:gd name="connsiteX60615" fmla="*/ 1673164 w 6884782"/>
              <a:gd name="connsiteY60615" fmla="*/ 1208523 h 5973007"/>
              <a:gd name="connsiteX60616" fmla="*/ 1683696 w 6884782"/>
              <a:gd name="connsiteY60616" fmla="*/ 1212706 h 5973007"/>
              <a:gd name="connsiteX60617" fmla="*/ 1682147 w 6884782"/>
              <a:gd name="connsiteY60617" fmla="*/ 1222774 h 5973007"/>
              <a:gd name="connsiteX60618" fmla="*/ 1675436 w 6884782"/>
              <a:gd name="connsiteY60618" fmla="*/ 1226181 h 5973007"/>
              <a:gd name="connsiteX60619" fmla="*/ 1676571 w 6884782"/>
              <a:gd name="connsiteY60619" fmla="*/ 1226956 h 5973007"/>
              <a:gd name="connsiteX60620" fmla="*/ 1677914 w 6884782"/>
              <a:gd name="connsiteY60620" fmla="*/ 1229744 h 5973007"/>
              <a:gd name="connsiteX60621" fmla="*/ 1675436 w 6884782"/>
              <a:gd name="connsiteY60621" fmla="*/ 1232378 h 5973007"/>
              <a:gd name="connsiteX60622" fmla="*/ 1667898 w 6884782"/>
              <a:gd name="connsiteY60622" fmla="*/ 1232378 h 5973007"/>
              <a:gd name="connsiteX60623" fmla="*/ 1666659 w 6884782"/>
              <a:gd name="connsiteY60623" fmla="*/ 1229744 h 5973007"/>
              <a:gd name="connsiteX60624" fmla="*/ 1669137 w 6884782"/>
              <a:gd name="connsiteY60624" fmla="*/ 1227421 h 5973007"/>
              <a:gd name="connsiteX60625" fmla="*/ 1663458 w 6884782"/>
              <a:gd name="connsiteY60625" fmla="*/ 1227421 h 5973007"/>
              <a:gd name="connsiteX60626" fmla="*/ 1645492 w 6884782"/>
              <a:gd name="connsiteY60626" fmla="*/ 1210382 h 5973007"/>
              <a:gd name="connsiteX60627" fmla="*/ 1655610 w 6884782"/>
              <a:gd name="connsiteY60627" fmla="*/ 1208678 h 5973007"/>
              <a:gd name="connsiteX60628" fmla="*/ 1655610 w 6884782"/>
              <a:gd name="connsiteY60628" fmla="*/ 1208213 h 5973007"/>
              <a:gd name="connsiteX60629" fmla="*/ 1655404 w 6884782"/>
              <a:gd name="connsiteY60629" fmla="*/ 1207749 h 5973007"/>
              <a:gd name="connsiteX60630" fmla="*/ 1657469 w 6884782"/>
              <a:gd name="connsiteY60630" fmla="*/ 1200314 h 5973007"/>
              <a:gd name="connsiteX60631" fmla="*/ 1662632 w 6884782"/>
              <a:gd name="connsiteY60631" fmla="*/ 1197681 h 5973007"/>
              <a:gd name="connsiteX60632" fmla="*/ 1138503 w 6884782"/>
              <a:gd name="connsiteY60632" fmla="*/ 1197371 h 5973007"/>
              <a:gd name="connsiteX60633" fmla="*/ 1140671 w 6884782"/>
              <a:gd name="connsiteY60633" fmla="*/ 1197990 h 5973007"/>
              <a:gd name="connsiteX60634" fmla="*/ 1133754 w 6884782"/>
              <a:gd name="connsiteY60634" fmla="*/ 1201863 h 5973007"/>
              <a:gd name="connsiteX60635" fmla="*/ 1138503 w 6884782"/>
              <a:gd name="connsiteY60635" fmla="*/ 1197371 h 5973007"/>
              <a:gd name="connsiteX60636" fmla="*/ 4214186 w 6884782"/>
              <a:gd name="connsiteY60636" fmla="*/ 1196624 h 5973007"/>
              <a:gd name="connsiteX60637" fmla="*/ 4219522 w 6884782"/>
              <a:gd name="connsiteY60637" fmla="*/ 1196766 h 5973007"/>
              <a:gd name="connsiteX60638" fmla="*/ 4218668 w 6884782"/>
              <a:gd name="connsiteY60638" fmla="*/ 1204306 h 5973007"/>
              <a:gd name="connsiteX60639" fmla="*/ 4213546 w 6884782"/>
              <a:gd name="connsiteY60639" fmla="*/ 1204022 h 5973007"/>
              <a:gd name="connsiteX60640" fmla="*/ 4214186 w 6884782"/>
              <a:gd name="connsiteY60640" fmla="*/ 1196624 h 5973007"/>
              <a:gd name="connsiteX60641" fmla="*/ 1602537 w 6884782"/>
              <a:gd name="connsiteY60641" fmla="*/ 1196287 h 5973007"/>
              <a:gd name="connsiteX60642" fmla="*/ 1605944 w 6884782"/>
              <a:gd name="connsiteY60642" fmla="*/ 1201398 h 5973007"/>
              <a:gd name="connsiteX60643" fmla="*/ 1606047 w 6884782"/>
              <a:gd name="connsiteY60643" fmla="*/ 1201863 h 5973007"/>
              <a:gd name="connsiteX60644" fmla="*/ 1607803 w 6884782"/>
              <a:gd name="connsiteY60644" fmla="*/ 1200314 h 5973007"/>
              <a:gd name="connsiteX60645" fmla="*/ 1615960 w 6884782"/>
              <a:gd name="connsiteY60645" fmla="*/ 1197835 h 5973007"/>
              <a:gd name="connsiteX60646" fmla="*/ 1618129 w 6884782"/>
              <a:gd name="connsiteY60646" fmla="*/ 1198765 h 5973007"/>
              <a:gd name="connsiteX60647" fmla="*/ 1619987 w 6884782"/>
              <a:gd name="connsiteY60647" fmla="*/ 1197990 h 5973007"/>
              <a:gd name="connsiteX60648" fmla="*/ 1632894 w 6884782"/>
              <a:gd name="connsiteY60648" fmla="*/ 1196751 h 5973007"/>
              <a:gd name="connsiteX60649" fmla="*/ 1622672 w 6884782"/>
              <a:gd name="connsiteY60649" fmla="*/ 1204186 h 5973007"/>
              <a:gd name="connsiteX60650" fmla="*/ 1619677 w 6884782"/>
              <a:gd name="connsiteY60650" fmla="*/ 1204186 h 5973007"/>
              <a:gd name="connsiteX60651" fmla="*/ 1617922 w 6884782"/>
              <a:gd name="connsiteY60651" fmla="*/ 1206820 h 5973007"/>
              <a:gd name="connsiteX60652" fmla="*/ 1603363 w 6884782"/>
              <a:gd name="connsiteY60652" fmla="*/ 1206975 h 5973007"/>
              <a:gd name="connsiteX60653" fmla="*/ 1603879 w 6884782"/>
              <a:gd name="connsiteY60653" fmla="*/ 1203722 h 5973007"/>
              <a:gd name="connsiteX60654" fmla="*/ 1604189 w 6884782"/>
              <a:gd name="connsiteY60654" fmla="*/ 1203412 h 5973007"/>
              <a:gd name="connsiteX60655" fmla="*/ 1603879 w 6884782"/>
              <a:gd name="connsiteY60655" fmla="*/ 1202637 h 5973007"/>
              <a:gd name="connsiteX60656" fmla="*/ 1602537 w 6884782"/>
              <a:gd name="connsiteY60656" fmla="*/ 1196287 h 5973007"/>
              <a:gd name="connsiteX60657" fmla="*/ 4515322 w 6884782"/>
              <a:gd name="connsiteY60657" fmla="*/ 1195628 h 5973007"/>
              <a:gd name="connsiteX60658" fmla="*/ 4522791 w 6884782"/>
              <a:gd name="connsiteY60658" fmla="*/ 1210139 h 5973007"/>
              <a:gd name="connsiteX60659" fmla="*/ 4511267 w 6884782"/>
              <a:gd name="connsiteY60659" fmla="*/ 1208432 h 5973007"/>
              <a:gd name="connsiteX60660" fmla="*/ 4515322 w 6884782"/>
              <a:gd name="connsiteY60660" fmla="*/ 1195628 h 5973007"/>
              <a:gd name="connsiteX60661" fmla="*/ 4879629 w 6884782"/>
              <a:gd name="connsiteY60661" fmla="*/ 1194916 h 5973007"/>
              <a:gd name="connsiteX60662" fmla="*/ 4880483 w 6884782"/>
              <a:gd name="connsiteY60662" fmla="*/ 1195912 h 5973007"/>
              <a:gd name="connsiteX60663" fmla="*/ 4878562 w 6884782"/>
              <a:gd name="connsiteY60663" fmla="*/ 1195912 h 5973007"/>
              <a:gd name="connsiteX60664" fmla="*/ 4879629 w 6884782"/>
              <a:gd name="connsiteY60664" fmla="*/ 1194916 h 5973007"/>
              <a:gd name="connsiteX60665" fmla="*/ 4270315 w 6884782"/>
              <a:gd name="connsiteY60665" fmla="*/ 1194205 h 5973007"/>
              <a:gd name="connsiteX60666" fmla="*/ 4277358 w 6884782"/>
              <a:gd name="connsiteY60666" fmla="*/ 1197477 h 5973007"/>
              <a:gd name="connsiteX60667" fmla="*/ 4281413 w 6884782"/>
              <a:gd name="connsiteY60667" fmla="*/ 1201176 h 5973007"/>
              <a:gd name="connsiteX60668" fmla="*/ 4285041 w 6884782"/>
              <a:gd name="connsiteY60668" fmla="*/ 1201603 h 5973007"/>
              <a:gd name="connsiteX60669" fmla="*/ 4289096 w 6884782"/>
              <a:gd name="connsiteY60669" fmla="*/ 1203453 h 5973007"/>
              <a:gd name="connsiteX60670" fmla="*/ 4291657 w 6884782"/>
              <a:gd name="connsiteY60670" fmla="*/ 1204448 h 5973007"/>
              <a:gd name="connsiteX60671" fmla="*/ 4294219 w 6884782"/>
              <a:gd name="connsiteY60671" fmla="*/ 1205587 h 5973007"/>
              <a:gd name="connsiteX60672" fmla="*/ 4295926 w 6884782"/>
              <a:gd name="connsiteY60672" fmla="*/ 1210282 h 5973007"/>
              <a:gd name="connsiteX60673" fmla="*/ 4284188 w 6884782"/>
              <a:gd name="connsiteY60673" fmla="*/ 1207436 h 5973007"/>
              <a:gd name="connsiteX60674" fmla="*/ 4283548 w 6884782"/>
              <a:gd name="connsiteY60674" fmla="*/ 1207152 h 5973007"/>
              <a:gd name="connsiteX60675" fmla="*/ 4281627 w 6884782"/>
              <a:gd name="connsiteY60675" fmla="*/ 1209570 h 5973007"/>
              <a:gd name="connsiteX60676" fmla="*/ 4275438 w 6884782"/>
              <a:gd name="connsiteY60676" fmla="*/ 1210139 h 5973007"/>
              <a:gd name="connsiteX60677" fmla="*/ 4269035 w 6884782"/>
              <a:gd name="connsiteY60677" fmla="*/ 1206867 h 5973007"/>
              <a:gd name="connsiteX60678" fmla="*/ 4264767 w 6884782"/>
              <a:gd name="connsiteY60678" fmla="*/ 1196339 h 5973007"/>
              <a:gd name="connsiteX60679" fmla="*/ 4270315 w 6884782"/>
              <a:gd name="connsiteY60679" fmla="*/ 1194205 h 5973007"/>
              <a:gd name="connsiteX60680" fmla="*/ 1606047 w 6884782"/>
              <a:gd name="connsiteY60680" fmla="*/ 1193808 h 5973007"/>
              <a:gd name="connsiteX60681" fmla="*/ 1608732 w 6884782"/>
              <a:gd name="connsiteY60681" fmla="*/ 1195512 h 5973007"/>
              <a:gd name="connsiteX60682" fmla="*/ 1609868 w 6884782"/>
              <a:gd name="connsiteY60682" fmla="*/ 1194118 h 5973007"/>
              <a:gd name="connsiteX60683" fmla="*/ 1611107 w 6884782"/>
              <a:gd name="connsiteY60683" fmla="*/ 1194583 h 5973007"/>
              <a:gd name="connsiteX60684" fmla="*/ 1611417 w 6884782"/>
              <a:gd name="connsiteY60684" fmla="*/ 1197216 h 5973007"/>
              <a:gd name="connsiteX60685" fmla="*/ 1606770 w 6884782"/>
              <a:gd name="connsiteY60685" fmla="*/ 1195357 h 5973007"/>
              <a:gd name="connsiteX60686" fmla="*/ 1604911 w 6884782"/>
              <a:gd name="connsiteY60686" fmla="*/ 1195202 h 5973007"/>
              <a:gd name="connsiteX60687" fmla="*/ 1606047 w 6884782"/>
              <a:gd name="connsiteY60687" fmla="*/ 1193808 h 5973007"/>
              <a:gd name="connsiteX60688" fmla="*/ 4543279 w 6884782"/>
              <a:gd name="connsiteY60688" fmla="*/ 1193636 h 5973007"/>
              <a:gd name="connsiteX60689" fmla="*/ 4550536 w 6884782"/>
              <a:gd name="connsiteY60689" fmla="*/ 1193921 h 5973007"/>
              <a:gd name="connsiteX60690" fmla="*/ 4547548 w 6884782"/>
              <a:gd name="connsiteY60690" fmla="*/ 1208432 h 5973007"/>
              <a:gd name="connsiteX60691" fmla="*/ 4542639 w 6884782"/>
              <a:gd name="connsiteY60691" fmla="*/ 1208432 h 5973007"/>
              <a:gd name="connsiteX60692" fmla="*/ 4543279 w 6884782"/>
              <a:gd name="connsiteY60692" fmla="*/ 1193636 h 5973007"/>
              <a:gd name="connsiteX60693" fmla="*/ 4302969 w 6884782"/>
              <a:gd name="connsiteY60693" fmla="*/ 1193067 h 5973007"/>
              <a:gd name="connsiteX60694" fmla="*/ 4314921 w 6884782"/>
              <a:gd name="connsiteY60694" fmla="*/ 1196197 h 5973007"/>
              <a:gd name="connsiteX60695" fmla="*/ 4303395 w 6884782"/>
              <a:gd name="connsiteY60695" fmla="*/ 1207720 h 5973007"/>
              <a:gd name="connsiteX60696" fmla="*/ 4299981 w 6884782"/>
              <a:gd name="connsiteY60696" fmla="*/ 1203168 h 5973007"/>
              <a:gd name="connsiteX60697" fmla="*/ 4302969 w 6884782"/>
              <a:gd name="connsiteY60697" fmla="*/ 1193067 h 5973007"/>
              <a:gd name="connsiteX60698" fmla="*/ 3576274 w 6884782"/>
              <a:gd name="connsiteY60698" fmla="*/ 1193067 h 5973007"/>
              <a:gd name="connsiteX60699" fmla="*/ 3583104 w 6884782"/>
              <a:gd name="connsiteY60699" fmla="*/ 1195343 h 5973007"/>
              <a:gd name="connsiteX60700" fmla="*/ 3585025 w 6884782"/>
              <a:gd name="connsiteY60700" fmla="*/ 1199184 h 5973007"/>
              <a:gd name="connsiteX60701" fmla="*/ 3582677 w 6884782"/>
              <a:gd name="connsiteY60701" fmla="*/ 1202457 h 5973007"/>
              <a:gd name="connsiteX60702" fmla="*/ 3577982 w 6884782"/>
              <a:gd name="connsiteY60702" fmla="*/ 1203026 h 5973007"/>
              <a:gd name="connsiteX60703" fmla="*/ 3574994 w 6884782"/>
              <a:gd name="connsiteY60703" fmla="*/ 1198046 h 5973007"/>
              <a:gd name="connsiteX60704" fmla="*/ 3575207 w 6884782"/>
              <a:gd name="connsiteY60704" fmla="*/ 1197051 h 5973007"/>
              <a:gd name="connsiteX60705" fmla="*/ 3574141 w 6884782"/>
              <a:gd name="connsiteY60705" fmla="*/ 1196055 h 5973007"/>
              <a:gd name="connsiteX60706" fmla="*/ 3575848 w 6884782"/>
              <a:gd name="connsiteY60706" fmla="*/ 1194916 h 5973007"/>
              <a:gd name="connsiteX60707" fmla="*/ 1537589 w 6884782"/>
              <a:gd name="connsiteY60707" fmla="*/ 1193034 h 5973007"/>
              <a:gd name="connsiteX60708" fmla="*/ 1545127 w 6884782"/>
              <a:gd name="connsiteY60708" fmla="*/ 1195357 h 5973007"/>
              <a:gd name="connsiteX60709" fmla="*/ 1544300 w 6884782"/>
              <a:gd name="connsiteY60709" fmla="*/ 1196287 h 5973007"/>
              <a:gd name="connsiteX60710" fmla="*/ 1531600 w 6884782"/>
              <a:gd name="connsiteY60710" fmla="*/ 1194273 h 5973007"/>
              <a:gd name="connsiteX60711" fmla="*/ 1537589 w 6884782"/>
              <a:gd name="connsiteY60711" fmla="*/ 1193034 h 5973007"/>
              <a:gd name="connsiteX60712" fmla="*/ 4473918 w 6884782"/>
              <a:gd name="connsiteY60712" fmla="*/ 1192356 h 5973007"/>
              <a:gd name="connsiteX60713" fmla="*/ 4486937 w 6884782"/>
              <a:gd name="connsiteY60713" fmla="*/ 1205017 h 5973007"/>
              <a:gd name="connsiteX60714" fmla="*/ 4473918 w 6884782"/>
              <a:gd name="connsiteY60714" fmla="*/ 1192356 h 5973007"/>
              <a:gd name="connsiteX60715" fmla="*/ 1188273 w 6884782"/>
              <a:gd name="connsiteY60715" fmla="*/ 1192259 h 5973007"/>
              <a:gd name="connsiteX60716" fmla="*/ 1200870 w 6884782"/>
              <a:gd name="connsiteY60716" fmla="*/ 1205425 h 5973007"/>
              <a:gd name="connsiteX60717" fmla="*/ 1193436 w 6884782"/>
              <a:gd name="connsiteY60717" fmla="*/ 1230674 h 5973007"/>
              <a:gd name="connsiteX60718" fmla="*/ 1190751 w 6884782"/>
              <a:gd name="connsiteY60718" fmla="*/ 1230364 h 5973007"/>
              <a:gd name="connsiteX60719" fmla="*/ 1178773 w 6884782"/>
              <a:gd name="connsiteY60719" fmla="*/ 1210692 h 5973007"/>
              <a:gd name="connsiteX60720" fmla="*/ 1188273 w 6884782"/>
              <a:gd name="connsiteY60720" fmla="*/ 1192259 h 5973007"/>
              <a:gd name="connsiteX60721" fmla="*/ 1530051 w 6884782"/>
              <a:gd name="connsiteY60721" fmla="*/ 1191795 h 5973007"/>
              <a:gd name="connsiteX60722" fmla="*/ 1522410 w 6884782"/>
              <a:gd name="connsiteY60722" fmla="*/ 1204806 h 5973007"/>
              <a:gd name="connsiteX60723" fmla="*/ 1521584 w 6884782"/>
              <a:gd name="connsiteY60723" fmla="*/ 1204806 h 5973007"/>
              <a:gd name="connsiteX60724" fmla="*/ 1520758 w 6884782"/>
              <a:gd name="connsiteY60724" fmla="*/ 1202947 h 5973007"/>
              <a:gd name="connsiteX60725" fmla="*/ 1522720 w 6884782"/>
              <a:gd name="connsiteY60725" fmla="*/ 1199694 h 5973007"/>
              <a:gd name="connsiteX60726" fmla="*/ 1529018 w 6884782"/>
              <a:gd name="connsiteY60726" fmla="*/ 1193499 h 5973007"/>
              <a:gd name="connsiteX60727" fmla="*/ 1530051 w 6884782"/>
              <a:gd name="connsiteY60727" fmla="*/ 1191795 h 5973007"/>
              <a:gd name="connsiteX60728" fmla="*/ 4863623 w 6884782"/>
              <a:gd name="connsiteY60728" fmla="*/ 1191644 h 5973007"/>
              <a:gd name="connsiteX60729" fmla="*/ 4867251 w 6884782"/>
              <a:gd name="connsiteY60729" fmla="*/ 1200892 h 5973007"/>
              <a:gd name="connsiteX60730" fmla="*/ 4865116 w 6884782"/>
              <a:gd name="connsiteY60730" fmla="*/ 1202314 h 5973007"/>
              <a:gd name="connsiteX60731" fmla="*/ 4862556 w 6884782"/>
              <a:gd name="connsiteY60731" fmla="*/ 1200038 h 5973007"/>
              <a:gd name="connsiteX60732" fmla="*/ 4861488 w 6884782"/>
              <a:gd name="connsiteY60732" fmla="*/ 1192924 h 5973007"/>
              <a:gd name="connsiteX60733" fmla="*/ 4863623 w 6884782"/>
              <a:gd name="connsiteY60733" fmla="*/ 1191644 h 5973007"/>
              <a:gd name="connsiteX60734" fmla="*/ 4877068 w 6884782"/>
              <a:gd name="connsiteY60734" fmla="*/ 1191075 h 5973007"/>
              <a:gd name="connsiteX60735" fmla="*/ 4880056 w 6884782"/>
              <a:gd name="connsiteY60735" fmla="*/ 1192782 h 5973007"/>
              <a:gd name="connsiteX60736" fmla="*/ 4877068 w 6884782"/>
              <a:gd name="connsiteY60736" fmla="*/ 1196624 h 5973007"/>
              <a:gd name="connsiteX60737" fmla="*/ 4875147 w 6884782"/>
              <a:gd name="connsiteY60737" fmla="*/ 1192071 h 5973007"/>
              <a:gd name="connsiteX60738" fmla="*/ 4877068 w 6884782"/>
              <a:gd name="connsiteY60738" fmla="*/ 1191075 h 5973007"/>
              <a:gd name="connsiteX60739" fmla="*/ 3778597 w 6884782"/>
              <a:gd name="connsiteY60739" fmla="*/ 1190364 h 5973007"/>
              <a:gd name="connsiteX60740" fmla="*/ 3778383 w 6884782"/>
              <a:gd name="connsiteY60740" fmla="*/ 1211562 h 5973007"/>
              <a:gd name="connsiteX60741" fmla="*/ 3774755 w 6884782"/>
              <a:gd name="connsiteY60741" fmla="*/ 1210424 h 5973007"/>
              <a:gd name="connsiteX60742" fmla="*/ 3774328 w 6884782"/>
              <a:gd name="connsiteY60742" fmla="*/ 1210708 h 5973007"/>
              <a:gd name="connsiteX60743" fmla="*/ 3765364 w 6884782"/>
              <a:gd name="connsiteY60743" fmla="*/ 1203737 h 5973007"/>
              <a:gd name="connsiteX60744" fmla="*/ 3770700 w 6884782"/>
              <a:gd name="connsiteY60744" fmla="*/ 1197477 h 5973007"/>
              <a:gd name="connsiteX60745" fmla="*/ 3771340 w 6884782"/>
              <a:gd name="connsiteY60745" fmla="*/ 1198046 h 5973007"/>
              <a:gd name="connsiteX60746" fmla="*/ 3771981 w 6884782"/>
              <a:gd name="connsiteY60746" fmla="*/ 1196624 h 5973007"/>
              <a:gd name="connsiteX60747" fmla="*/ 3778597 w 6884782"/>
              <a:gd name="connsiteY60747" fmla="*/ 1190364 h 5973007"/>
              <a:gd name="connsiteX60748" fmla="*/ 1115968 w 6884782"/>
              <a:gd name="connsiteY60748" fmla="*/ 1190188 h 5973007"/>
              <a:gd name="connsiteX60749" fmla="*/ 1125183 w 6884782"/>
              <a:gd name="connsiteY60749" fmla="*/ 1191795 h 5973007"/>
              <a:gd name="connsiteX60750" fmla="*/ 1127042 w 6884782"/>
              <a:gd name="connsiteY60750" fmla="*/ 1193188 h 5973007"/>
              <a:gd name="connsiteX60751" fmla="*/ 1130553 w 6884782"/>
              <a:gd name="connsiteY60751" fmla="*/ 1194428 h 5973007"/>
              <a:gd name="connsiteX60752" fmla="*/ 1126835 w 6884782"/>
              <a:gd name="connsiteY60752" fmla="*/ 1204961 h 5973007"/>
              <a:gd name="connsiteX60753" fmla="*/ 1115374 w 6884782"/>
              <a:gd name="connsiteY60753" fmla="*/ 1210847 h 5973007"/>
              <a:gd name="connsiteX60754" fmla="*/ 1112793 w 6884782"/>
              <a:gd name="connsiteY60754" fmla="*/ 1209762 h 5973007"/>
              <a:gd name="connsiteX60755" fmla="*/ 1111037 w 6884782"/>
              <a:gd name="connsiteY60755" fmla="*/ 1211776 h 5973007"/>
              <a:gd name="connsiteX60756" fmla="*/ 1098233 w 6884782"/>
              <a:gd name="connsiteY60756" fmla="*/ 1209917 h 5973007"/>
              <a:gd name="connsiteX60757" fmla="*/ 1096581 w 6884782"/>
              <a:gd name="connsiteY60757" fmla="*/ 1202173 h 5973007"/>
              <a:gd name="connsiteX60758" fmla="*/ 1097821 w 6884782"/>
              <a:gd name="connsiteY60758" fmla="*/ 1199075 h 5973007"/>
              <a:gd name="connsiteX60759" fmla="*/ 1106288 w 6884782"/>
              <a:gd name="connsiteY60759" fmla="*/ 1203102 h 5973007"/>
              <a:gd name="connsiteX60760" fmla="*/ 1108559 w 6884782"/>
              <a:gd name="connsiteY60760" fmla="*/ 1203877 h 5973007"/>
              <a:gd name="connsiteX60761" fmla="*/ 1107836 w 6884782"/>
              <a:gd name="connsiteY60761" fmla="*/ 1201243 h 5973007"/>
              <a:gd name="connsiteX60762" fmla="*/ 1109695 w 6884782"/>
              <a:gd name="connsiteY60762" fmla="*/ 1195667 h 5973007"/>
              <a:gd name="connsiteX60763" fmla="*/ 1115968 w 6884782"/>
              <a:gd name="connsiteY60763" fmla="*/ 1190188 h 5973007"/>
              <a:gd name="connsiteX60764" fmla="*/ 5050365 w 6884782"/>
              <a:gd name="connsiteY60764" fmla="*/ 1189937 h 5973007"/>
              <a:gd name="connsiteX60765" fmla="*/ 5059115 w 6884782"/>
              <a:gd name="connsiteY60765" fmla="*/ 1193494 h 5973007"/>
              <a:gd name="connsiteX60766" fmla="*/ 5059969 w 6884782"/>
              <a:gd name="connsiteY60766" fmla="*/ 1200323 h 5973007"/>
              <a:gd name="connsiteX60767" fmla="*/ 5042682 w 6884782"/>
              <a:gd name="connsiteY60767" fmla="*/ 1198473 h 5973007"/>
              <a:gd name="connsiteX60768" fmla="*/ 5050365 w 6884782"/>
              <a:gd name="connsiteY60768" fmla="*/ 1189937 h 5973007"/>
              <a:gd name="connsiteX60769" fmla="*/ 4472638 w 6884782"/>
              <a:gd name="connsiteY60769" fmla="*/ 1189937 h 5973007"/>
              <a:gd name="connsiteX60770" fmla="*/ 4473918 w 6884782"/>
              <a:gd name="connsiteY60770" fmla="*/ 1192071 h 5973007"/>
              <a:gd name="connsiteX60771" fmla="*/ 4472424 w 6884782"/>
              <a:gd name="connsiteY60771" fmla="*/ 1192498 h 5973007"/>
              <a:gd name="connsiteX60772" fmla="*/ 4472638 w 6884782"/>
              <a:gd name="connsiteY60772" fmla="*/ 1189937 h 5973007"/>
              <a:gd name="connsiteX60773" fmla="*/ 1325294 w 6884782"/>
              <a:gd name="connsiteY60773" fmla="*/ 1189471 h 5973007"/>
              <a:gd name="connsiteX60774" fmla="*/ 1323538 w 6884782"/>
              <a:gd name="connsiteY60774" fmla="*/ 1194738 h 5973007"/>
              <a:gd name="connsiteX60775" fmla="*/ 1321473 w 6884782"/>
              <a:gd name="connsiteY60775" fmla="*/ 1193034 h 5973007"/>
              <a:gd name="connsiteX60776" fmla="*/ 1325294 w 6884782"/>
              <a:gd name="connsiteY60776" fmla="*/ 1189471 h 5973007"/>
              <a:gd name="connsiteX60777" fmla="*/ 4613495 w 6884782"/>
              <a:gd name="connsiteY60777" fmla="*/ 1188941 h 5973007"/>
              <a:gd name="connsiteX60778" fmla="*/ 4619044 w 6884782"/>
              <a:gd name="connsiteY60778" fmla="*/ 1189937 h 5973007"/>
              <a:gd name="connsiteX60779" fmla="*/ 4621178 w 6884782"/>
              <a:gd name="connsiteY60779" fmla="*/ 1195201 h 5973007"/>
              <a:gd name="connsiteX60780" fmla="*/ 4613495 w 6884782"/>
              <a:gd name="connsiteY60780" fmla="*/ 1188941 h 5973007"/>
              <a:gd name="connsiteX60781" fmla="*/ 4392178 w 6884782"/>
              <a:gd name="connsiteY60781" fmla="*/ 1188799 h 5973007"/>
              <a:gd name="connsiteX60782" fmla="*/ 4400289 w 6884782"/>
              <a:gd name="connsiteY60782" fmla="*/ 1191075 h 5973007"/>
              <a:gd name="connsiteX60783" fmla="*/ 4401142 w 6884782"/>
              <a:gd name="connsiteY60783" fmla="*/ 1196481 h 5973007"/>
              <a:gd name="connsiteX60784" fmla="*/ 4384709 w 6884782"/>
              <a:gd name="connsiteY60784" fmla="*/ 1194205 h 5973007"/>
              <a:gd name="connsiteX60785" fmla="*/ 4392178 w 6884782"/>
              <a:gd name="connsiteY60785" fmla="*/ 1188799 h 5973007"/>
              <a:gd name="connsiteX60786" fmla="*/ 1555039 w 6884782"/>
              <a:gd name="connsiteY60786" fmla="*/ 1188232 h 5973007"/>
              <a:gd name="connsiteX60787" fmla="*/ 1561751 w 6884782"/>
              <a:gd name="connsiteY60787" fmla="*/ 1191175 h 5973007"/>
              <a:gd name="connsiteX60788" fmla="*/ 1563196 w 6884782"/>
              <a:gd name="connsiteY60788" fmla="*/ 1197061 h 5973007"/>
              <a:gd name="connsiteX60789" fmla="*/ 1558963 w 6884782"/>
              <a:gd name="connsiteY60789" fmla="*/ 1197216 h 5973007"/>
              <a:gd name="connsiteX60790" fmla="*/ 1556588 w 6884782"/>
              <a:gd name="connsiteY60790" fmla="*/ 1193188 h 5973007"/>
              <a:gd name="connsiteX60791" fmla="*/ 1554523 w 6884782"/>
              <a:gd name="connsiteY60791" fmla="*/ 1190710 h 5973007"/>
              <a:gd name="connsiteX60792" fmla="*/ 1554316 w 6884782"/>
              <a:gd name="connsiteY60792" fmla="*/ 1189471 h 5973007"/>
              <a:gd name="connsiteX60793" fmla="*/ 1555039 w 6884782"/>
              <a:gd name="connsiteY60793" fmla="*/ 1188232 h 5973007"/>
              <a:gd name="connsiteX60794" fmla="*/ 4933197 w 6884782"/>
              <a:gd name="connsiteY60794" fmla="*/ 1188087 h 5973007"/>
              <a:gd name="connsiteX60795" fmla="*/ 4943868 w 6884782"/>
              <a:gd name="connsiteY60795" fmla="*/ 1197051 h 5973007"/>
              <a:gd name="connsiteX60796" fmla="*/ 4945362 w 6884782"/>
              <a:gd name="connsiteY60796" fmla="*/ 1201176 h 5973007"/>
              <a:gd name="connsiteX60797" fmla="*/ 4941734 w 6884782"/>
              <a:gd name="connsiteY60797" fmla="*/ 1206013 h 5973007"/>
              <a:gd name="connsiteX60798" fmla="*/ 4930850 w 6884782"/>
              <a:gd name="connsiteY60798" fmla="*/ 1193067 h 5973007"/>
              <a:gd name="connsiteX60799" fmla="*/ 4933197 w 6884782"/>
              <a:gd name="connsiteY60799" fmla="*/ 1188087 h 5973007"/>
              <a:gd name="connsiteX60800" fmla="*/ 3992657 w 6884782"/>
              <a:gd name="connsiteY60800" fmla="*/ 1188087 h 5973007"/>
              <a:gd name="connsiteX60801" fmla="*/ 3995431 w 6884782"/>
              <a:gd name="connsiteY60801" fmla="*/ 1189226 h 5973007"/>
              <a:gd name="connsiteX60802" fmla="*/ 3996285 w 6884782"/>
              <a:gd name="connsiteY60802" fmla="*/ 1195343 h 5973007"/>
              <a:gd name="connsiteX60803" fmla="*/ 3992443 w 6884782"/>
              <a:gd name="connsiteY60803" fmla="*/ 1200323 h 5973007"/>
              <a:gd name="connsiteX60804" fmla="*/ 3991803 w 6884782"/>
              <a:gd name="connsiteY60804" fmla="*/ 1204164 h 5973007"/>
              <a:gd name="connsiteX60805" fmla="*/ 3990522 w 6884782"/>
              <a:gd name="connsiteY60805" fmla="*/ 1204164 h 5973007"/>
              <a:gd name="connsiteX60806" fmla="*/ 3990949 w 6884782"/>
              <a:gd name="connsiteY60806" fmla="*/ 1189510 h 5973007"/>
              <a:gd name="connsiteX60807" fmla="*/ 3992657 w 6884782"/>
              <a:gd name="connsiteY60807" fmla="*/ 1188087 h 5973007"/>
              <a:gd name="connsiteX60808" fmla="*/ 4467729 w 6884782"/>
              <a:gd name="connsiteY60808" fmla="*/ 1186807 h 5973007"/>
              <a:gd name="connsiteX60809" fmla="*/ 4469010 w 6884782"/>
              <a:gd name="connsiteY60809" fmla="*/ 1187803 h 5973007"/>
              <a:gd name="connsiteX60810" fmla="*/ 4469223 w 6884782"/>
              <a:gd name="connsiteY60810" fmla="*/ 1189083 h 5973007"/>
              <a:gd name="connsiteX60811" fmla="*/ 4467089 w 6884782"/>
              <a:gd name="connsiteY60811" fmla="*/ 1187803 h 5973007"/>
              <a:gd name="connsiteX60812" fmla="*/ 4467729 w 6884782"/>
              <a:gd name="connsiteY60812" fmla="*/ 1186807 h 5973007"/>
              <a:gd name="connsiteX60813" fmla="*/ 1240521 w 6884782"/>
              <a:gd name="connsiteY60813" fmla="*/ 1186528 h 5973007"/>
              <a:gd name="connsiteX60814" fmla="*/ 1248988 w 6884782"/>
              <a:gd name="connsiteY60814" fmla="*/ 1191020 h 5973007"/>
              <a:gd name="connsiteX60815" fmla="*/ 1243412 w 6884782"/>
              <a:gd name="connsiteY60815" fmla="*/ 1192724 h 5973007"/>
              <a:gd name="connsiteX60816" fmla="*/ 1237732 w 6884782"/>
              <a:gd name="connsiteY60816" fmla="*/ 1188232 h 5973007"/>
              <a:gd name="connsiteX60817" fmla="*/ 1240521 w 6884782"/>
              <a:gd name="connsiteY60817" fmla="*/ 1186528 h 5973007"/>
              <a:gd name="connsiteX60818" fmla="*/ 3479809 w 6884782"/>
              <a:gd name="connsiteY60818" fmla="*/ 1185953 h 5973007"/>
              <a:gd name="connsiteX60819" fmla="*/ 3481730 w 6884782"/>
              <a:gd name="connsiteY60819" fmla="*/ 1187519 h 5973007"/>
              <a:gd name="connsiteX60820" fmla="*/ 3485998 w 6884782"/>
              <a:gd name="connsiteY60820" fmla="*/ 1198046 h 5973007"/>
              <a:gd name="connsiteX60821" fmla="*/ 3487065 w 6884782"/>
              <a:gd name="connsiteY60821" fmla="*/ 1200180 h 5973007"/>
              <a:gd name="connsiteX60822" fmla="*/ 3485998 w 6884782"/>
              <a:gd name="connsiteY60822" fmla="*/ 1203453 h 5973007"/>
              <a:gd name="connsiteX60823" fmla="*/ 3480449 w 6884782"/>
              <a:gd name="connsiteY60823" fmla="*/ 1194916 h 5973007"/>
              <a:gd name="connsiteX60824" fmla="*/ 3477675 w 6884782"/>
              <a:gd name="connsiteY60824" fmla="*/ 1189795 h 5973007"/>
              <a:gd name="connsiteX60825" fmla="*/ 3478742 w 6884782"/>
              <a:gd name="connsiteY60825" fmla="*/ 1186522 h 5973007"/>
              <a:gd name="connsiteX60826" fmla="*/ 1533562 w 6884782"/>
              <a:gd name="connsiteY60826" fmla="*/ 1185754 h 5973007"/>
              <a:gd name="connsiteX60827" fmla="*/ 1536143 w 6884782"/>
              <a:gd name="connsiteY60827" fmla="*/ 1186373 h 5973007"/>
              <a:gd name="connsiteX60828" fmla="*/ 1532529 w 6884782"/>
              <a:gd name="connsiteY60828" fmla="*/ 1189936 h 5973007"/>
              <a:gd name="connsiteX60829" fmla="*/ 1531600 w 6884782"/>
              <a:gd name="connsiteY60829" fmla="*/ 1191640 h 5973007"/>
              <a:gd name="connsiteX60830" fmla="*/ 1530773 w 6884782"/>
              <a:gd name="connsiteY60830" fmla="*/ 1190090 h 5973007"/>
              <a:gd name="connsiteX60831" fmla="*/ 1533458 w 6884782"/>
              <a:gd name="connsiteY60831" fmla="*/ 1188232 h 5973007"/>
              <a:gd name="connsiteX60832" fmla="*/ 1532632 w 6884782"/>
              <a:gd name="connsiteY60832" fmla="*/ 1186683 h 5973007"/>
              <a:gd name="connsiteX60833" fmla="*/ 1533562 w 6884782"/>
              <a:gd name="connsiteY60833" fmla="*/ 1185754 h 5973007"/>
              <a:gd name="connsiteX60834" fmla="*/ 1352554 w 6884782"/>
              <a:gd name="connsiteY60834" fmla="*/ 1184979 h 5973007"/>
              <a:gd name="connsiteX60835" fmla="*/ 1354309 w 6884782"/>
              <a:gd name="connsiteY60835" fmla="*/ 1185599 h 5973007"/>
              <a:gd name="connsiteX60836" fmla="*/ 1357303 w 6884782"/>
              <a:gd name="connsiteY60836" fmla="*/ 1191020 h 5973007"/>
              <a:gd name="connsiteX60837" fmla="*/ 1352966 w 6884782"/>
              <a:gd name="connsiteY60837" fmla="*/ 1191795 h 5973007"/>
              <a:gd name="connsiteX60838" fmla="*/ 1350592 w 6884782"/>
              <a:gd name="connsiteY60838" fmla="*/ 1189316 h 5973007"/>
              <a:gd name="connsiteX60839" fmla="*/ 1350798 w 6884782"/>
              <a:gd name="connsiteY60839" fmla="*/ 1185289 h 5973007"/>
              <a:gd name="connsiteX60840" fmla="*/ 1350901 w 6884782"/>
              <a:gd name="connsiteY60840" fmla="*/ 1186064 h 5973007"/>
              <a:gd name="connsiteX60841" fmla="*/ 1352554 w 6884782"/>
              <a:gd name="connsiteY60841" fmla="*/ 1185909 h 5973007"/>
              <a:gd name="connsiteX60842" fmla="*/ 1352554 w 6884782"/>
              <a:gd name="connsiteY60842" fmla="*/ 1184979 h 5973007"/>
              <a:gd name="connsiteX60843" fmla="*/ 4769291 w 6884782"/>
              <a:gd name="connsiteY60843" fmla="*/ 1184531 h 5973007"/>
              <a:gd name="connsiteX60844" fmla="*/ 4771852 w 6884782"/>
              <a:gd name="connsiteY60844" fmla="*/ 1190079 h 5973007"/>
              <a:gd name="connsiteX60845" fmla="*/ 4766943 w 6884782"/>
              <a:gd name="connsiteY60845" fmla="*/ 1205160 h 5973007"/>
              <a:gd name="connsiteX60846" fmla="*/ 4762035 w 6884782"/>
              <a:gd name="connsiteY60846" fmla="*/ 1195201 h 5973007"/>
              <a:gd name="connsiteX60847" fmla="*/ 4769291 w 6884782"/>
              <a:gd name="connsiteY60847" fmla="*/ 1184531 h 5973007"/>
              <a:gd name="connsiteX60848" fmla="*/ 3561975 w 6884782"/>
              <a:gd name="connsiteY60848" fmla="*/ 1184246 h 5973007"/>
              <a:gd name="connsiteX60849" fmla="*/ 3564536 w 6884782"/>
              <a:gd name="connsiteY60849" fmla="*/ 1184958 h 5973007"/>
              <a:gd name="connsiteX60850" fmla="*/ 3563683 w 6884782"/>
              <a:gd name="connsiteY60850" fmla="*/ 1190791 h 5973007"/>
              <a:gd name="connsiteX60851" fmla="*/ 3560268 w 6884782"/>
              <a:gd name="connsiteY60851" fmla="*/ 1191787 h 5973007"/>
              <a:gd name="connsiteX60852" fmla="*/ 3558988 w 6884782"/>
              <a:gd name="connsiteY60852" fmla="*/ 1188230 h 5973007"/>
              <a:gd name="connsiteX60853" fmla="*/ 3560055 w 6884782"/>
              <a:gd name="connsiteY60853" fmla="*/ 1184673 h 5973007"/>
              <a:gd name="connsiteX60854" fmla="*/ 3561975 w 6884782"/>
              <a:gd name="connsiteY60854" fmla="*/ 1184246 h 5973007"/>
              <a:gd name="connsiteX60855" fmla="*/ 3842836 w 6884782"/>
              <a:gd name="connsiteY60855" fmla="*/ 1183250 h 5973007"/>
              <a:gd name="connsiteX60856" fmla="*/ 3874636 w 6884782"/>
              <a:gd name="connsiteY60856" fmla="*/ 1223512 h 5973007"/>
              <a:gd name="connsiteX60857" fmla="*/ 3862257 w 6884782"/>
              <a:gd name="connsiteY60857" fmla="*/ 1225077 h 5973007"/>
              <a:gd name="connsiteX60858" fmla="*/ 3862044 w 6884782"/>
              <a:gd name="connsiteY60858" fmla="*/ 1224935 h 5973007"/>
              <a:gd name="connsiteX60859" fmla="*/ 3861617 w 6884782"/>
              <a:gd name="connsiteY60859" fmla="*/ 1227780 h 5973007"/>
              <a:gd name="connsiteX60860" fmla="*/ 3862044 w 6884782"/>
              <a:gd name="connsiteY60860" fmla="*/ 1229914 h 5973007"/>
              <a:gd name="connsiteX60861" fmla="*/ 3864818 w 6884782"/>
              <a:gd name="connsiteY60861" fmla="*/ 1228492 h 5973007"/>
              <a:gd name="connsiteX60862" fmla="*/ 3879971 w 6884782"/>
              <a:gd name="connsiteY60862" fmla="*/ 1233756 h 5973007"/>
              <a:gd name="connsiteX60863" fmla="*/ 3856708 w 6884782"/>
              <a:gd name="connsiteY60863" fmla="*/ 1250117 h 5973007"/>
              <a:gd name="connsiteX60864" fmla="*/ 3853294 w 6884782"/>
              <a:gd name="connsiteY60864" fmla="*/ 1244284 h 5973007"/>
              <a:gd name="connsiteX60865" fmla="*/ 3848385 w 6884782"/>
              <a:gd name="connsiteY60865" fmla="*/ 1246845 h 5973007"/>
              <a:gd name="connsiteX60866" fmla="*/ 3844330 w 6884782"/>
              <a:gd name="connsiteY60866" fmla="*/ 1247414 h 5973007"/>
              <a:gd name="connsiteX60867" fmla="*/ 3844543 w 6884782"/>
              <a:gd name="connsiteY60867" fmla="*/ 1252962 h 5973007"/>
              <a:gd name="connsiteX60868" fmla="*/ 3837500 w 6884782"/>
              <a:gd name="connsiteY60868" fmla="*/ 1252251 h 5973007"/>
              <a:gd name="connsiteX60869" fmla="*/ 3832165 w 6884782"/>
              <a:gd name="connsiteY60869" fmla="*/ 1247698 h 5973007"/>
              <a:gd name="connsiteX60870" fmla="*/ 3830885 w 6884782"/>
              <a:gd name="connsiteY60870" fmla="*/ 1257230 h 5973007"/>
              <a:gd name="connsiteX60871" fmla="*/ 3824482 w 6884782"/>
              <a:gd name="connsiteY60871" fmla="*/ 1266762 h 5973007"/>
              <a:gd name="connsiteX60872" fmla="*/ 3787987 w 6884782"/>
              <a:gd name="connsiteY60872" fmla="*/ 1269750 h 5973007"/>
              <a:gd name="connsiteX60873" fmla="*/ 3786493 w 6884782"/>
              <a:gd name="connsiteY60873" fmla="*/ 1266193 h 5973007"/>
              <a:gd name="connsiteX60874" fmla="*/ 3818079 w 6884782"/>
              <a:gd name="connsiteY60874" fmla="*/ 1238593 h 5973007"/>
              <a:gd name="connsiteX60875" fmla="*/ 3825549 w 6884782"/>
              <a:gd name="connsiteY60875" fmla="*/ 1240300 h 5973007"/>
              <a:gd name="connsiteX60876" fmla="*/ 3830244 w 6884782"/>
              <a:gd name="connsiteY60876" fmla="*/ 1243003 h 5973007"/>
              <a:gd name="connsiteX60877" fmla="*/ 3828964 w 6884782"/>
              <a:gd name="connsiteY60877" fmla="*/ 1240443 h 5973007"/>
              <a:gd name="connsiteX60878" fmla="*/ 3828110 w 6884782"/>
              <a:gd name="connsiteY60878" fmla="*/ 1240158 h 5973007"/>
              <a:gd name="connsiteX60879" fmla="*/ 3816372 w 6884782"/>
              <a:gd name="connsiteY60879" fmla="*/ 1230199 h 5973007"/>
              <a:gd name="connsiteX60880" fmla="*/ 3810823 w 6884782"/>
              <a:gd name="connsiteY60880" fmla="*/ 1233614 h 5973007"/>
              <a:gd name="connsiteX60881" fmla="*/ 3793536 w 6884782"/>
              <a:gd name="connsiteY60881" fmla="*/ 1230626 h 5973007"/>
              <a:gd name="connsiteX60882" fmla="*/ 3804634 w 6884782"/>
              <a:gd name="connsiteY60882" fmla="*/ 1225931 h 5973007"/>
              <a:gd name="connsiteX60883" fmla="*/ 3815091 w 6884782"/>
              <a:gd name="connsiteY60883" fmla="*/ 1218533 h 5973007"/>
              <a:gd name="connsiteX60884" fmla="*/ 3815945 w 6884782"/>
              <a:gd name="connsiteY60884" fmla="*/ 1215261 h 5973007"/>
              <a:gd name="connsiteX60885" fmla="*/ 3823414 w 6884782"/>
              <a:gd name="connsiteY60885" fmla="*/ 1206013 h 5973007"/>
              <a:gd name="connsiteX60886" fmla="*/ 3836647 w 6884782"/>
              <a:gd name="connsiteY60886" fmla="*/ 1209286 h 5973007"/>
              <a:gd name="connsiteX60887" fmla="*/ 3839421 w 6884782"/>
              <a:gd name="connsiteY60887" fmla="*/ 1210282 h 5973007"/>
              <a:gd name="connsiteX60888" fmla="*/ 3836860 w 6884782"/>
              <a:gd name="connsiteY60888" fmla="*/ 1206867 h 5973007"/>
              <a:gd name="connsiteX60889" fmla="*/ 3832378 w 6884782"/>
              <a:gd name="connsiteY60889" fmla="*/ 1186380 h 5973007"/>
              <a:gd name="connsiteX60890" fmla="*/ 3835153 w 6884782"/>
              <a:gd name="connsiteY60890" fmla="*/ 1184104 h 5973007"/>
              <a:gd name="connsiteX60891" fmla="*/ 3842836 w 6884782"/>
              <a:gd name="connsiteY60891" fmla="*/ 1183250 h 5973007"/>
              <a:gd name="connsiteX60892" fmla="*/ 1269535 w 6884782"/>
              <a:gd name="connsiteY60892" fmla="*/ 1182966 h 5973007"/>
              <a:gd name="connsiteX60893" fmla="*/ 1295453 w 6884782"/>
              <a:gd name="connsiteY60893" fmla="*/ 1201863 h 5973007"/>
              <a:gd name="connsiteX60894" fmla="*/ 1293388 w 6884782"/>
              <a:gd name="connsiteY60894" fmla="*/ 1202637 h 5973007"/>
              <a:gd name="connsiteX60895" fmla="*/ 1293904 w 6884782"/>
              <a:gd name="connsiteY60895" fmla="*/ 1203412 h 5973007"/>
              <a:gd name="connsiteX60896" fmla="*/ 1288225 w 6884782"/>
              <a:gd name="connsiteY60896" fmla="*/ 1209143 h 5973007"/>
              <a:gd name="connsiteX60897" fmla="*/ 1284714 w 6884782"/>
              <a:gd name="connsiteY60897" fmla="*/ 1208213 h 5973007"/>
              <a:gd name="connsiteX60898" fmla="*/ 1281306 w 6884782"/>
              <a:gd name="connsiteY60898" fmla="*/ 1212706 h 5973007"/>
              <a:gd name="connsiteX60899" fmla="*/ 1277383 w 6884782"/>
              <a:gd name="connsiteY60899" fmla="*/ 1216578 h 5973007"/>
              <a:gd name="connsiteX60900" fmla="*/ 1270052 w 6884782"/>
              <a:gd name="connsiteY60900" fmla="*/ 1219056 h 5973007"/>
              <a:gd name="connsiteX60901" fmla="*/ 1249710 w 6884782"/>
              <a:gd name="connsiteY60901" fmla="*/ 1196751 h 5973007"/>
              <a:gd name="connsiteX60902" fmla="*/ 1260242 w 6884782"/>
              <a:gd name="connsiteY60902" fmla="*/ 1183121 h 5973007"/>
              <a:gd name="connsiteX60903" fmla="*/ 1269535 w 6884782"/>
              <a:gd name="connsiteY60903" fmla="*/ 1182966 h 5973007"/>
              <a:gd name="connsiteX60904" fmla="*/ 4032780 w 6884782"/>
              <a:gd name="connsiteY60904" fmla="*/ 1182539 h 5973007"/>
              <a:gd name="connsiteX60905" fmla="*/ 4035341 w 6884782"/>
              <a:gd name="connsiteY60905" fmla="*/ 1185953 h 5973007"/>
              <a:gd name="connsiteX60906" fmla="*/ 4035341 w 6884782"/>
              <a:gd name="connsiteY60906" fmla="*/ 1193067 h 5973007"/>
              <a:gd name="connsiteX60907" fmla="*/ 4033420 w 6884782"/>
              <a:gd name="connsiteY60907" fmla="*/ 1195912 h 5973007"/>
              <a:gd name="connsiteX60908" fmla="*/ 4034060 w 6884782"/>
              <a:gd name="connsiteY60908" fmla="*/ 1197477 h 5973007"/>
              <a:gd name="connsiteX60909" fmla="*/ 4021468 w 6884782"/>
              <a:gd name="connsiteY60909" fmla="*/ 1193636 h 5973007"/>
              <a:gd name="connsiteX60910" fmla="*/ 4025523 w 6884782"/>
              <a:gd name="connsiteY60910" fmla="*/ 1186949 h 5973007"/>
              <a:gd name="connsiteX60911" fmla="*/ 4028297 w 6884782"/>
              <a:gd name="connsiteY60911" fmla="*/ 1188230 h 5973007"/>
              <a:gd name="connsiteX60912" fmla="*/ 4028725 w 6884782"/>
              <a:gd name="connsiteY60912" fmla="*/ 1188514 h 5973007"/>
              <a:gd name="connsiteX60913" fmla="*/ 3944637 w 6884782"/>
              <a:gd name="connsiteY60913" fmla="*/ 1182397 h 5973007"/>
              <a:gd name="connsiteX60914" fmla="*/ 3947412 w 6884782"/>
              <a:gd name="connsiteY60914" fmla="*/ 1184246 h 5973007"/>
              <a:gd name="connsiteX60915" fmla="*/ 3943997 w 6884782"/>
              <a:gd name="connsiteY60915" fmla="*/ 1187661 h 5973007"/>
              <a:gd name="connsiteX60916" fmla="*/ 3942717 w 6884782"/>
              <a:gd name="connsiteY60916" fmla="*/ 1182966 h 5973007"/>
              <a:gd name="connsiteX60917" fmla="*/ 3944637 w 6884782"/>
              <a:gd name="connsiteY60917" fmla="*/ 1182397 h 5973007"/>
              <a:gd name="connsiteX60918" fmla="*/ 1719629 w 6884782"/>
              <a:gd name="connsiteY60918" fmla="*/ 1182036 h 5973007"/>
              <a:gd name="connsiteX60919" fmla="*/ 1717564 w 6884782"/>
              <a:gd name="connsiteY60919" fmla="*/ 1190710 h 5973007"/>
              <a:gd name="connsiteX60920" fmla="*/ 1716119 w 6884782"/>
              <a:gd name="connsiteY60920" fmla="*/ 1188852 h 5973007"/>
              <a:gd name="connsiteX60921" fmla="*/ 1719629 w 6884782"/>
              <a:gd name="connsiteY60921" fmla="*/ 1182036 h 5973007"/>
              <a:gd name="connsiteX60922" fmla="*/ 1107062 w 6884782"/>
              <a:gd name="connsiteY60922" fmla="*/ 1181804 h 5973007"/>
              <a:gd name="connsiteX60923" fmla="*/ 1111760 w 6884782"/>
              <a:gd name="connsiteY60923" fmla="*/ 1183740 h 5973007"/>
              <a:gd name="connsiteX60924" fmla="*/ 1110418 w 6884782"/>
              <a:gd name="connsiteY60924" fmla="*/ 1189781 h 5973007"/>
              <a:gd name="connsiteX60925" fmla="*/ 1107836 w 6884782"/>
              <a:gd name="connsiteY60925" fmla="*/ 1190865 h 5973007"/>
              <a:gd name="connsiteX60926" fmla="*/ 1102673 w 6884782"/>
              <a:gd name="connsiteY60926" fmla="*/ 1190865 h 5973007"/>
              <a:gd name="connsiteX60927" fmla="*/ 1102673 w 6884782"/>
              <a:gd name="connsiteY60927" fmla="*/ 1191640 h 5973007"/>
              <a:gd name="connsiteX60928" fmla="*/ 1101434 w 6884782"/>
              <a:gd name="connsiteY60928" fmla="*/ 1186838 h 5973007"/>
              <a:gd name="connsiteX60929" fmla="*/ 1107062 w 6884782"/>
              <a:gd name="connsiteY60929" fmla="*/ 1181804 h 5973007"/>
              <a:gd name="connsiteX60930" fmla="*/ 4463674 w 6884782"/>
              <a:gd name="connsiteY60930" fmla="*/ 1181116 h 5973007"/>
              <a:gd name="connsiteX60931" fmla="*/ 4465595 w 6884782"/>
              <a:gd name="connsiteY60931" fmla="*/ 1183962 h 5973007"/>
              <a:gd name="connsiteX60932" fmla="*/ 4466448 w 6884782"/>
              <a:gd name="connsiteY60932" fmla="*/ 1187234 h 5973007"/>
              <a:gd name="connsiteX60933" fmla="*/ 4462607 w 6884782"/>
              <a:gd name="connsiteY60933" fmla="*/ 1184673 h 5973007"/>
              <a:gd name="connsiteX60934" fmla="*/ 4463674 w 6884782"/>
              <a:gd name="connsiteY60934" fmla="*/ 1181116 h 5973007"/>
              <a:gd name="connsiteX60935" fmla="*/ 3783932 w 6884782"/>
              <a:gd name="connsiteY60935" fmla="*/ 1180974 h 5973007"/>
              <a:gd name="connsiteX60936" fmla="*/ 3793323 w 6884782"/>
              <a:gd name="connsiteY60936" fmla="*/ 1187661 h 5973007"/>
              <a:gd name="connsiteX60937" fmla="*/ 3783932 w 6884782"/>
              <a:gd name="connsiteY60937" fmla="*/ 1180974 h 5973007"/>
              <a:gd name="connsiteX60938" fmla="*/ 1321060 w 6884782"/>
              <a:gd name="connsiteY60938" fmla="*/ 1180797 h 5973007"/>
              <a:gd name="connsiteX60939" fmla="*/ 1318169 w 6884782"/>
              <a:gd name="connsiteY60939" fmla="*/ 1186064 h 5973007"/>
              <a:gd name="connsiteX60940" fmla="*/ 1314039 w 6884782"/>
              <a:gd name="connsiteY60940" fmla="*/ 1182810 h 5973007"/>
              <a:gd name="connsiteX60941" fmla="*/ 1321060 w 6884782"/>
              <a:gd name="connsiteY60941" fmla="*/ 1180797 h 5973007"/>
              <a:gd name="connsiteX60942" fmla="*/ 3832592 w 6884782"/>
              <a:gd name="connsiteY60942" fmla="*/ 1180263 h 5973007"/>
              <a:gd name="connsiteX60943" fmla="*/ 3837500 w 6884782"/>
              <a:gd name="connsiteY60943" fmla="*/ 1180263 h 5973007"/>
              <a:gd name="connsiteX60944" fmla="*/ 3840915 w 6884782"/>
              <a:gd name="connsiteY60944" fmla="*/ 1182539 h 5973007"/>
              <a:gd name="connsiteX60945" fmla="*/ 3832592 w 6884782"/>
              <a:gd name="connsiteY60945" fmla="*/ 1180263 h 5973007"/>
              <a:gd name="connsiteX60946" fmla="*/ 4881123 w 6884782"/>
              <a:gd name="connsiteY60946" fmla="*/ 1179978 h 5973007"/>
              <a:gd name="connsiteX60947" fmla="*/ 4883898 w 6884782"/>
              <a:gd name="connsiteY60947" fmla="*/ 1180121 h 5973007"/>
              <a:gd name="connsiteX60948" fmla="*/ 4887526 w 6884782"/>
              <a:gd name="connsiteY60948" fmla="*/ 1181685 h 5973007"/>
              <a:gd name="connsiteX60949" fmla="*/ 4890514 w 6884782"/>
              <a:gd name="connsiteY60949" fmla="*/ 1186238 h 5973007"/>
              <a:gd name="connsiteX60950" fmla="*/ 4890727 w 6884782"/>
              <a:gd name="connsiteY60950" fmla="*/ 1188799 h 5973007"/>
              <a:gd name="connsiteX60951" fmla="*/ 4880910 w 6884782"/>
              <a:gd name="connsiteY60951" fmla="*/ 1191644 h 5973007"/>
              <a:gd name="connsiteX60952" fmla="*/ 4876215 w 6884782"/>
              <a:gd name="connsiteY60952" fmla="*/ 1182255 h 5973007"/>
              <a:gd name="connsiteX60953" fmla="*/ 4878348 w 6884782"/>
              <a:gd name="connsiteY60953" fmla="*/ 1180974 h 5973007"/>
              <a:gd name="connsiteX60954" fmla="*/ 4881123 w 6884782"/>
              <a:gd name="connsiteY60954" fmla="*/ 1179978 h 5973007"/>
              <a:gd name="connsiteX60955" fmla="*/ 1485651 w 6884782"/>
              <a:gd name="connsiteY60955" fmla="*/ 1179713 h 5973007"/>
              <a:gd name="connsiteX60956" fmla="*/ 1491433 w 6884782"/>
              <a:gd name="connsiteY60956" fmla="*/ 1185754 h 5973007"/>
              <a:gd name="connsiteX60957" fmla="*/ 1491020 w 6884782"/>
              <a:gd name="connsiteY60957" fmla="*/ 1186838 h 5973007"/>
              <a:gd name="connsiteX60958" fmla="*/ 1484308 w 6884782"/>
              <a:gd name="connsiteY60958" fmla="*/ 1194118 h 5973007"/>
              <a:gd name="connsiteX60959" fmla="*/ 1480591 w 6884782"/>
              <a:gd name="connsiteY60959" fmla="*/ 1189471 h 5973007"/>
              <a:gd name="connsiteX60960" fmla="*/ 1480901 w 6884782"/>
              <a:gd name="connsiteY60960" fmla="*/ 1187148 h 5973007"/>
              <a:gd name="connsiteX60961" fmla="*/ 1485651 w 6884782"/>
              <a:gd name="connsiteY60961" fmla="*/ 1179713 h 5973007"/>
              <a:gd name="connsiteX60962" fmla="*/ 1477803 w 6884782"/>
              <a:gd name="connsiteY60962" fmla="*/ 1179248 h 5973007"/>
              <a:gd name="connsiteX60963" fmla="*/ 1478010 w 6884782"/>
              <a:gd name="connsiteY60963" fmla="*/ 1180332 h 5973007"/>
              <a:gd name="connsiteX60964" fmla="*/ 1478836 w 6884782"/>
              <a:gd name="connsiteY60964" fmla="*/ 1180642 h 5973007"/>
              <a:gd name="connsiteX60965" fmla="*/ 4794261 w 6884782"/>
              <a:gd name="connsiteY60965" fmla="*/ 1178698 h 5973007"/>
              <a:gd name="connsiteX60966" fmla="*/ 4794048 w 6884782"/>
              <a:gd name="connsiteY60966" fmla="*/ 1179551 h 5973007"/>
              <a:gd name="connsiteX60967" fmla="*/ 4794475 w 6884782"/>
              <a:gd name="connsiteY60967" fmla="*/ 1182824 h 5973007"/>
              <a:gd name="connsiteX60968" fmla="*/ 4799597 w 6884782"/>
              <a:gd name="connsiteY60968" fmla="*/ 1189083 h 5973007"/>
              <a:gd name="connsiteX60969" fmla="*/ 4799383 w 6884782"/>
              <a:gd name="connsiteY60969" fmla="*/ 1191787 h 5973007"/>
              <a:gd name="connsiteX60970" fmla="*/ 4795755 w 6884782"/>
              <a:gd name="connsiteY60970" fmla="*/ 1190933 h 5973007"/>
              <a:gd name="connsiteX60971" fmla="*/ 4795968 w 6884782"/>
              <a:gd name="connsiteY60971" fmla="*/ 1186665 h 5973007"/>
              <a:gd name="connsiteX60972" fmla="*/ 4792980 w 6884782"/>
              <a:gd name="connsiteY60972" fmla="*/ 1183250 h 5973007"/>
              <a:gd name="connsiteX60973" fmla="*/ 4792980 w 6884782"/>
              <a:gd name="connsiteY60973" fmla="*/ 1178982 h 5973007"/>
              <a:gd name="connsiteX60974" fmla="*/ 4794261 w 6884782"/>
              <a:gd name="connsiteY60974" fmla="*/ 1178698 h 5973007"/>
              <a:gd name="connsiteX60975" fmla="*/ 4518736 w 6884782"/>
              <a:gd name="connsiteY60975" fmla="*/ 1178129 h 5973007"/>
              <a:gd name="connsiteX60976" fmla="*/ 4523005 w 6884782"/>
              <a:gd name="connsiteY60976" fmla="*/ 1179551 h 5973007"/>
              <a:gd name="connsiteX60977" fmla="*/ 4517456 w 6884782"/>
              <a:gd name="connsiteY60977" fmla="*/ 1181828 h 5973007"/>
              <a:gd name="connsiteX60978" fmla="*/ 4513614 w 6884782"/>
              <a:gd name="connsiteY60978" fmla="*/ 1179267 h 5973007"/>
              <a:gd name="connsiteX60979" fmla="*/ 4518736 w 6884782"/>
              <a:gd name="connsiteY60979" fmla="*/ 1178129 h 5973007"/>
              <a:gd name="connsiteX60980" fmla="*/ 5021126 w 6884782"/>
              <a:gd name="connsiteY60980" fmla="*/ 1177702 h 5973007"/>
              <a:gd name="connsiteX60981" fmla="*/ 5022833 w 6884782"/>
              <a:gd name="connsiteY60981" fmla="*/ 1182539 h 5973007"/>
              <a:gd name="connsiteX60982" fmla="*/ 5015791 w 6884782"/>
              <a:gd name="connsiteY60982" fmla="*/ 1184815 h 5973007"/>
              <a:gd name="connsiteX60983" fmla="*/ 5013870 w 6884782"/>
              <a:gd name="connsiteY60983" fmla="*/ 1179978 h 5973007"/>
              <a:gd name="connsiteX60984" fmla="*/ 5021126 w 6884782"/>
              <a:gd name="connsiteY60984" fmla="*/ 1177702 h 5973007"/>
              <a:gd name="connsiteX60985" fmla="*/ 4527060 w 6884782"/>
              <a:gd name="connsiteY60985" fmla="*/ 1177560 h 5973007"/>
              <a:gd name="connsiteX60986" fmla="*/ 4527273 w 6884782"/>
              <a:gd name="connsiteY60986" fmla="*/ 1179125 h 5973007"/>
              <a:gd name="connsiteX60987" fmla="*/ 4527913 w 6884782"/>
              <a:gd name="connsiteY60987" fmla="*/ 1178129 h 5973007"/>
              <a:gd name="connsiteX60988" fmla="*/ 4527486 w 6884782"/>
              <a:gd name="connsiteY60988" fmla="*/ 1179694 h 5973007"/>
              <a:gd name="connsiteX60989" fmla="*/ 4526633 w 6884782"/>
              <a:gd name="connsiteY60989" fmla="*/ 1180263 h 5973007"/>
              <a:gd name="connsiteX60990" fmla="*/ 4523218 w 6884782"/>
              <a:gd name="connsiteY60990" fmla="*/ 1179409 h 5973007"/>
              <a:gd name="connsiteX60991" fmla="*/ 4527060 w 6884782"/>
              <a:gd name="connsiteY60991" fmla="*/ 1177560 h 5973007"/>
              <a:gd name="connsiteX60992" fmla="*/ 1699701 w 6884782"/>
              <a:gd name="connsiteY60992" fmla="*/ 1177234 h 5973007"/>
              <a:gd name="connsiteX60993" fmla="*/ 1702799 w 6884782"/>
              <a:gd name="connsiteY60993" fmla="*/ 1183275 h 5973007"/>
              <a:gd name="connsiteX60994" fmla="*/ 1703005 w 6884782"/>
              <a:gd name="connsiteY60994" fmla="*/ 1185444 h 5973007"/>
              <a:gd name="connsiteX60995" fmla="*/ 1708787 w 6884782"/>
              <a:gd name="connsiteY60995" fmla="*/ 1187767 h 5973007"/>
              <a:gd name="connsiteX60996" fmla="*/ 1703315 w 6884782"/>
              <a:gd name="connsiteY60996" fmla="*/ 1189471 h 5973007"/>
              <a:gd name="connsiteX60997" fmla="*/ 1703418 w 6884782"/>
              <a:gd name="connsiteY60997" fmla="*/ 1189936 h 5973007"/>
              <a:gd name="connsiteX60998" fmla="*/ 1692989 w 6884782"/>
              <a:gd name="connsiteY60998" fmla="*/ 1193499 h 5973007"/>
              <a:gd name="connsiteX60999" fmla="*/ 1689685 w 6884782"/>
              <a:gd name="connsiteY60999" fmla="*/ 1193344 h 5973007"/>
              <a:gd name="connsiteX61000" fmla="*/ 1682767 w 6884782"/>
              <a:gd name="connsiteY61000" fmla="*/ 1193808 h 5973007"/>
              <a:gd name="connsiteX61001" fmla="*/ 1672751 w 6884782"/>
              <a:gd name="connsiteY61001" fmla="*/ 1191795 h 5973007"/>
              <a:gd name="connsiteX61002" fmla="*/ 1679875 w 6884782"/>
              <a:gd name="connsiteY61002" fmla="*/ 1185134 h 5973007"/>
              <a:gd name="connsiteX61003" fmla="*/ 1679875 w 6884782"/>
              <a:gd name="connsiteY61003" fmla="*/ 1184514 h 5973007"/>
              <a:gd name="connsiteX61004" fmla="*/ 1699701 w 6884782"/>
              <a:gd name="connsiteY61004" fmla="*/ 1177234 h 5973007"/>
              <a:gd name="connsiteX61005" fmla="*/ 1332109 w 6884782"/>
              <a:gd name="connsiteY61005" fmla="*/ 1177234 h 5973007"/>
              <a:gd name="connsiteX61006" fmla="*/ 1332522 w 6884782"/>
              <a:gd name="connsiteY61006" fmla="*/ 1184669 h 5973007"/>
              <a:gd name="connsiteX61007" fmla="*/ 1326430 w 6884782"/>
              <a:gd name="connsiteY61007" fmla="*/ 1184669 h 5973007"/>
              <a:gd name="connsiteX61008" fmla="*/ 1324881 w 6884782"/>
              <a:gd name="connsiteY61008" fmla="*/ 1182656 h 5973007"/>
              <a:gd name="connsiteX61009" fmla="*/ 1325294 w 6884782"/>
              <a:gd name="connsiteY61009" fmla="*/ 1179867 h 5973007"/>
              <a:gd name="connsiteX61010" fmla="*/ 1326946 w 6884782"/>
              <a:gd name="connsiteY61010" fmla="*/ 1177854 h 5973007"/>
              <a:gd name="connsiteX61011" fmla="*/ 1332109 w 6884782"/>
              <a:gd name="connsiteY61011" fmla="*/ 1177234 h 5973007"/>
              <a:gd name="connsiteX61012" fmla="*/ 1562576 w 6884782"/>
              <a:gd name="connsiteY61012" fmla="*/ 1176924 h 5973007"/>
              <a:gd name="connsiteX61013" fmla="*/ 1567946 w 6884782"/>
              <a:gd name="connsiteY61013" fmla="*/ 1179403 h 5973007"/>
              <a:gd name="connsiteX61014" fmla="*/ 1569701 w 6884782"/>
              <a:gd name="connsiteY61014" fmla="*/ 1178164 h 5973007"/>
              <a:gd name="connsiteX61015" fmla="*/ 1573728 w 6884782"/>
              <a:gd name="connsiteY61015" fmla="*/ 1179403 h 5973007"/>
              <a:gd name="connsiteX61016" fmla="*/ 1570837 w 6884782"/>
              <a:gd name="connsiteY61016" fmla="*/ 1181107 h 5973007"/>
              <a:gd name="connsiteX61017" fmla="*/ 1570321 w 6884782"/>
              <a:gd name="connsiteY61017" fmla="*/ 1181107 h 5973007"/>
              <a:gd name="connsiteX61018" fmla="*/ 1574658 w 6884782"/>
              <a:gd name="connsiteY61018" fmla="*/ 1184050 h 5973007"/>
              <a:gd name="connsiteX61019" fmla="*/ 1580337 w 6884782"/>
              <a:gd name="connsiteY61019" fmla="*/ 1187303 h 5973007"/>
              <a:gd name="connsiteX61020" fmla="*/ 1580956 w 6884782"/>
              <a:gd name="connsiteY61020" fmla="*/ 1189781 h 5973007"/>
              <a:gd name="connsiteX61021" fmla="*/ 1581679 w 6884782"/>
              <a:gd name="connsiteY61021" fmla="*/ 1190245 h 5973007"/>
              <a:gd name="connsiteX61022" fmla="*/ 1581886 w 6884782"/>
              <a:gd name="connsiteY61022" fmla="*/ 1191330 h 5973007"/>
              <a:gd name="connsiteX61023" fmla="*/ 1582092 w 6884782"/>
              <a:gd name="connsiteY61023" fmla="*/ 1191485 h 5973007"/>
              <a:gd name="connsiteX61024" fmla="*/ 1582505 w 6884782"/>
              <a:gd name="connsiteY61024" fmla="*/ 1191949 h 5973007"/>
              <a:gd name="connsiteX61025" fmla="*/ 1584983 w 6884782"/>
              <a:gd name="connsiteY61025" fmla="*/ 1187612 h 5973007"/>
              <a:gd name="connsiteX61026" fmla="*/ 1590456 w 6884782"/>
              <a:gd name="connsiteY61026" fmla="*/ 1187612 h 5973007"/>
              <a:gd name="connsiteX61027" fmla="*/ 1590146 w 6884782"/>
              <a:gd name="connsiteY61027" fmla="*/ 1189936 h 5973007"/>
              <a:gd name="connsiteX61028" fmla="*/ 1593863 w 6884782"/>
              <a:gd name="connsiteY61028" fmla="*/ 1190245 h 5973007"/>
              <a:gd name="connsiteX61029" fmla="*/ 1602227 w 6884782"/>
              <a:gd name="connsiteY61029" fmla="*/ 1193653 h 5973007"/>
              <a:gd name="connsiteX61030" fmla="*/ 1604189 w 6884782"/>
              <a:gd name="connsiteY61030" fmla="*/ 1193808 h 5973007"/>
              <a:gd name="connsiteX61031" fmla="*/ 1592831 w 6884782"/>
              <a:gd name="connsiteY61031" fmla="*/ 1193034 h 5973007"/>
              <a:gd name="connsiteX61032" fmla="*/ 1589733 w 6884782"/>
              <a:gd name="connsiteY61032" fmla="*/ 1192259 h 5973007"/>
              <a:gd name="connsiteX61033" fmla="*/ 1589630 w 6884782"/>
              <a:gd name="connsiteY61033" fmla="*/ 1193344 h 5973007"/>
              <a:gd name="connsiteX61034" fmla="*/ 1588700 w 6884782"/>
              <a:gd name="connsiteY61034" fmla="*/ 1194892 h 5973007"/>
              <a:gd name="connsiteX61035" fmla="*/ 1589113 w 6884782"/>
              <a:gd name="connsiteY61035" fmla="*/ 1196751 h 5973007"/>
              <a:gd name="connsiteX61036" fmla="*/ 1589423 w 6884782"/>
              <a:gd name="connsiteY61036" fmla="*/ 1196906 h 5973007"/>
              <a:gd name="connsiteX61037" fmla="*/ 1592521 w 6884782"/>
              <a:gd name="connsiteY61037" fmla="*/ 1197216 h 5973007"/>
              <a:gd name="connsiteX61038" fmla="*/ 1593140 w 6884782"/>
              <a:gd name="connsiteY61038" fmla="*/ 1198920 h 5973007"/>
              <a:gd name="connsiteX61039" fmla="*/ 1590456 w 6884782"/>
              <a:gd name="connsiteY61039" fmla="*/ 1199694 h 5973007"/>
              <a:gd name="connsiteX61040" fmla="*/ 1589113 w 6884782"/>
              <a:gd name="connsiteY61040" fmla="*/ 1197371 h 5973007"/>
              <a:gd name="connsiteX61041" fmla="*/ 1590353 w 6884782"/>
              <a:gd name="connsiteY61041" fmla="*/ 1204186 h 5973007"/>
              <a:gd name="connsiteX61042" fmla="*/ 1589939 w 6884782"/>
              <a:gd name="connsiteY61042" fmla="*/ 1206665 h 5973007"/>
              <a:gd name="connsiteX61043" fmla="*/ 1590972 w 6884782"/>
              <a:gd name="connsiteY61043" fmla="*/ 1206510 h 5973007"/>
              <a:gd name="connsiteX61044" fmla="*/ 1589527 w 6884782"/>
              <a:gd name="connsiteY61044" fmla="*/ 1211156 h 5973007"/>
              <a:gd name="connsiteX61045" fmla="*/ 1589217 w 6884782"/>
              <a:gd name="connsiteY61045" fmla="*/ 1211156 h 5973007"/>
              <a:gd name="connsiteX61046" fmla="*/ 1588494 w 6884782"/>
              <a:gd name="connsiteY61046" fmla="*/ 1215494 h 5973007"/>
              <a:gd name="connsiteX61047" fmla="*/ 1584983 w 6884782"/>
              <a:gd name="connsiteY61047" fmla="*/ 1221845 h 5973007"/>
              <a:gd name="connsiteX61048" fmla="*/ 1580233 w 6884782"/>
              <a:gd name="connsiteY61048" fmla="*/ 1205580 h 5973007"/>
              <a:gd name="connsiteX61049" fmla="*/ 1563609 w 6884782"/>
              <a:gd name="connsiteY61049" fmla="*/ 1205116 h 5973007"/>
              <a:gd name="connsiteX61050" fmla="*/ 1576000 w 6884782"/>
              <a:gd name="connsiteY61050" fmla="*/ 1199385 h 5973007"/>
              <a:gd name="connsiteX61051" fmla="*/ 1578168 w 6884782"/>
              <a:gd name="connsiteY61051" fmla="*/ 1198765 h 5973007"/>
              <a:gd name="connsiteX61052" fmla="*/ 1579304 w 6884782"/>
              <a:gd name="connsiteY61052" fmla="*/ 1197371 h 5973007"/>
              <a:gd name="connsiteX61053" fmla="*/ 1582195 w 6884782"/>
              <a:gd name="connsiteY61053" fmla="*/ 1192414 h 5973007"/>
              <a:gd name="connsiteX61054" fmla="*/ 1581886 w 6884782"/>
              <a:gd name="connsiteY61054" fmla="*/ 1191949 h 5973007"/>
              <a:gd name="connsiteX61055" fmla="*/ 1581576 w 6884782"/>
              <a:gd name="connsiteY61055" fmla="*/ 1191949 h 5973007"/>
              <a:gd name="connsiteX61056" fmla="*/ 1581472 w 6884782"/>
              <a:gd name="connsiteY61056" fmla="*/ 1192104 h 5973007"/>
              <a:gd name="connsiteX61057" fmla="*/ 1580853 w 6884782"/>
              <a:gd name="connsiteY61057" fmla="*/ 1191949 h 5973007"/>
              <a:gd name="connsiteX61058" fmla="*/ 1580027 w 6884782"/>
              <a:gd name="connsiteY61058" fmla="*/ 1191949 h 5973007"/>
              <a:gd name="connsiteX61059" fmla="*/ 1579924 w 6884782"/>
              <a:gd name="connsiteY61059" fmla="*/ 1191795 h 5973007"/>
              <a:gd name="connsiteX61060" fmla="*/ 1578994 w 6884782"/>
              <a:gd name="connsiteY61060" fmla="*/ 1191640 h 5973007"/>
              <a:gd name="connsiteX61061" fmla="*/ 1576619 w 6884782"/>
              <a:gd name="connsiteY61061" fmla="*/ 1189936 h 5973007"/>
              <a:gd name="connsiteX61062" fmla="*/ 1572799 w 6884782"/>
              <a:gd name="connsiteY61062" fmla="*/ 1187457 h 5973007"/>
              <a:gd name="connsiteX61063" fmla="*/ 1562576 w 6884782"/>
              <a:gd name="connsiteY61063" fmla="*/ 1176924 h 5973007"/>
              <a:gd name="connsiteX61064" fmla="*/ 1376018 w 6884782"/>
              <a:gd name="connsiteY61064" fmla="*/ 1176847 h 5973007"/>
              <a:gd name="connsiteX61065" fmla="*/ 1380742 w 6884782"/>
              <a:gd name="connsiteY61065" fmla="*/ 1176924 h 5973007"/>
              <a:gd name="connsiteX61066" fmla="*/ 1385905 w 6884782"/>
              <a:gd name="connsiteY61066" fmla="*/ 1191485 h 5973007"/>
              <a:gd name="connsiteX61067" fmla="*/ 1385079 w 6884782"/>
              <a:gd name="connsiteY61067" fmla="*/ 1191485 h 5973007"/>
              <a:gd name="connsiteX61068" fmla="*/ 1387144 w 6884782"/>
              <a:gd name="connsiteY61068" fmla="*/ 1196287 h 5973007"/>
              <a:gd name="connsiteX61069" fmla="*/ 1386422 w 6884782"/>
              <a:gd name="connsiteY61069" fmla="*/ 1196906 h 5973007"/>
              <a:gd name="connsiteX61070" fmla="*/ 1386422 w 6884782"/>
              <a:gd name="connsiteY61070" fmla="*/ 1197216 h 5973007"/>
              <a:gd name="connsiteX61071" fmla="*/ 1389416 w 6884782"/>
              <a:gd name="connsiteY61071" fmla="*/ 1200004 h 5973007"/>
              <a:gd name="connsiteX61072" fmla="*/ 1389416 w 6884782"/>
              <a:gd name="connsiteY61072" fmla="*/ 1199539 h 5973007"/>
              <a:gd name="connsiteX61073" fmla="*/ 1396747 w 6884782"/>
              <a:gd name="connsiteY61073" fmla="*/ 1192724 h 5973007"/>
              <a:gd name="connsiteX61074" fmla="*/ 1396954 w 6884782"/>
              <a:gd name="connsiteY61074" fmla="*/ 1191949 h 5973007"/>
              <a:gd name="connsiteX61075" fmla="*/ 1395921 w 6884782"/>
              <a:gd name="connsiteY61075" fmla="*/ 1192259 h 5973007"/>
              <a:gd name="connsiteX61076" fmla="*/ 1394889 w 6884782"/>
              <a:gd name="connsiteY61076" fmla="*/ 1192569 h 5973007"/>
              <a:gd name="connsiteX61077" fmla="*/ 1393133 w 6884782"/>
              <a:gd name="connsiteY61077" fmla="*/ 1192104 h 5973007"/>
              <a:gd name="connsiteX61078" fmla="*/ 1389416 w 6884782"/>
              <a:gd name="connsiteY61078" fmla="*/ 1187612 h 5973007"/>
              <a:gd name="connsiteX61079" fmla="*/ 1402736 w 6884782"/>
              <a:gd name="connsiteY61079" fmla="*/ 1186838 h 5973007"/>
              <a:gd name="connsiteX61080" fmla="*/ 1405524 w 6884782"/>
              <a:gd name="connsiteY61080" fmla="*/ 1187612 h 5973007"/>
              <a:gd name="connsiteX61081" fmla="*/ 1407486 w 6884782"/>
              <a:gd name="connsiteY61081" fmla="*/ 1185754 h 5973007"/>
              <a:gd name="connsiteX61082" fmla="*/ 1410273 w 6884782"/>
              <a:gd name="connsiteY61082" fmla="*/ 1189006 h 5973007"/>
              <a:gd name="connsiteX61083" fmla="*/ 1408828 w 6884782"/>
              <a:gd name="connsiteY61083" fmla="*/ 1190865 h 5973007"/>
              <a:gd name="connsiteX61084" fmla="*/ 1410377 w 6884782"/>
              <a:gd name="connsiteY61084" fmla="*/ 1191330 h 5973007"/>
              <a:gd name="connsiteX61085" fmla="*/ 1407073 w 6884782"/>
              <a:gd name="connsiteY61085" fmla="*/ 1195047 h 5973007"/>
              <a:gd name="connsiteX61086" fmla="*/ 1406453 w 6884782"/>
              <a:gd name="connsiteY61086" fmla="*/ 1196906 h 5973007"/>
              <a:gd name="connsiteX61087" fmla="*/ 1405421 w 6884782"/>
              <a:gd name="connsiteY61087" fmla="*/ 1195357 h 5973007"/>
              <a:gd name="connsiteX61088" fmla="*/ 1407899 w 6884782"/>
              <a:gd name="connsiteY61088" fmla="*/ 1193344 h 5973007"/>
              <a:gd name="connsiteX61089" fmla="*/ 1406969 w 6884782"/>
              <a:gd name="connsiteY61089" fmla="*/ 1191795 h 5973007"/>
              <a:gd name="connsiteX61090" fmla="*/ 1407796 w 6884782"/>
              <a:gd name="connsiteY61090" fmla="*/ 1190865 h 5973007"/>
              <a:gd name="connsiteX61091" fmla="*/ 1408002 w 6884782"/>
              <a:gd name="connsiteY61091" fmla="*/ 1190710 h 5973007"/>
              <a:gd name="connsiteX61092" fmla="*/ 1407796 w 6884782"/>
              <a:gd name="connsiteY61092" fmla="*/ 1190555 h 5973007"/>
              <a:gd name="connsiteX61093" fmla="*/ 1407796 w 6884782"/>
              <a:gd name="connsiteY61093" fmla="*/ 1190865 h 5973007"/>
              <a:gd name="connsiteX61094" fmla="*/ 1399225 w 6884782"/>
              <a:gd name="connsiteY61094" fmla="*/ 1191485 h 5973007"/>
              <a:gd name="connsiteX61095" fmla="*/ 1398709 w 6884782"/>
              <a:gd name="connsiteY61095" fmla="*/ 1192414 h 5973007"/>
              <a:gd name="connsiteX61096" fmla="*/ 1399225 w 6884782"/>
              <a:gd name="connsiteY61096" fmla="*/ 1193034 h 5973007"/>
              <a:gd name="connsiteX61097" fmla="*/ 1401600 w 6884782"/>
              <a:gd name="connsiteY61097" fmla="*/ 1193344 h 5973007"/>
              <a:gd name="connsiteX61098" fmla="*/ 1406040 w 6884782"/>
              <a:gd name="connsiteY61098" fmla="*/ 1200159 h 5973007"/>
              <a:gd name="connsiteX61099" fmla="*/ 1401600 w 6884782"/>
              <a:gd name="connsiteY61099" fmla="*/ 1206200 h 5973007"/>
              <a:gd name="connsiteX61100" fmla="*/ 1400981 w 6884782"/>
              <a:gd name="connsiteY61100" fmla="*/ 1206510 h 5973007"/>
              <a:gd name="connsiteX61101" fmla="*/ 1400464 w 6884782"/>
              <a:gd name="connsiteY61101" fmla="*/ 1207439 h 5973007"/>
              <a:gd name="connsiteX61102" fmla="*/ 1398606 w 6884782"/>
              <a:gd name="connsiteY61102" fmla="*/ 1210692 h 5973007"/>
              <a:gd name="connsiteX61103" fmla="*/ 1397676 w 6884782"/>
              <a:gd name="connsiteY61103" fmla="*/ 1210847 h 5973007"/>
              <a:gd name="connsiteX61104" fmla="*/ 1396747 w 6884782"/>
              <a:gd name="connsiteY61104" fmla="*/ 1208988 h 5973007"/>
              <a:gd name="connsiteX61105" fmla="*/ 1397263 w 6884782"/>
              <a:gd name="connsiteY61105" fmla="*/ 1207749 h 5973007"/>
              <a:gd name="connsiteX61106" fmla="*/ 1393959 w 6884782"/>
              <a:gd name="connsiteY61106" fmla="*/ 1208058 h 5973007"/>
              <a:gd name="connsiteX61107" fmla="*/ 1391068 w 6884782"/>
              <a:gd name="connsiteY61107" fmla="*/ 1205425 h 5973007"/>
              <a:gd name="connsiteX61108" fmla="*/ 1390242 w 6884782"/>
              <a:gd name="connsiteY61108" fmla="*/ 1204032 h 5973007"/>
              <a:gd name="connsiteX61109" fmla="*/ 1390345 w 6884782"/>
              <a:gd name="connsiteY61109" fmla="*/ 1206045 h 5973007"/>
              <a:gd name="connsiteX61110" fmla="*/ 1387454 w 6884782"/>
              <a:gd name="connsiteY61110" fmla="*/ 1208988 h 5973007"/>
              <a:gd name="connsiteX61111" fmla="*/ 1372895 w 6884782"/>
              <a:gd name="connsiteY61111" fmla="*/ 1201089 h 5973007"/>
              <a:gd name="connsiteX61112" fmla="*/ 1372689 w 6884782"/>
              <a:gd name="connsiteY61112" fmla="*/ 1200004 h 5973007"/>
              <a:gd name="connsiteX61113" fmla="*/ 1371759 w 6884782"/>
              <a:gd name="connsiteY61113" fmla="*/ 1199229 h 5973007"/>
              <a:gd name="connsiteX61114" fmla="*/ 1371553 w 6884782"/>
              <a:gd name="connsiteY61114" fmla="*/ 1199385 h 5973007"/>
              <a:gd name="connsiteX61115" fmla="*/ 1370624 w 6884782"/>
              <a:gd name="connsiteY61115" fmla="*/ 1199539 h 5973007"/>
              <a:gd name="connsiteX61116" fmla="*/ 1367629 w 6884782"/>
              <a:gd name="connsiteY61116" fmla="*/ 1197835 h 5973007"/>
              <a:gd name="connsiteX61117" fmla="*/ 1367216 w 6884782"/>
              <a:gd name="connsiteY61117" fmla="*/ 1196906 h 5973007"/>
              <a:gd name="connsiteX61118" fmla="*/ 1367835 w 6884782"/>
              <a:gd name="connsiteY61118" fmla="*/ 1195667 h 5973007"/>
              <a:gd name="connsiteX61119" fmla="*/ 1372069 w 6884782"/>
              <a:gd name="connsiteY61119" fmla="*/ 1192569 h 5973007"/>
              <a:gd name="connsiteX61120" fmla="*/ 1372069 w 6884782"/>
              <a:gd name="connsiteY61120" fmla="*/ 1177234 h 5973007"/>
              <a:gd name="connsiteX61121" fmla="*/ 1376018 w 6884782"/>
              <a:gd name="connsiteY61121" fmla="*/ 1176847 h 5973007"/>
              <a:gd name="connsiteX61122" fmla="*/ 4339891 w 6884782"/>
              <a:gd name="connsiteY61122" fmla="*/ 1176706 h 5973007"/>
              <a:gd name="connsiteX61123" fmla="*/ 4344799 w 6884782"/>
              <a:gd name="connsiteY61123" fmla="*/ 1177417 h 5973007"/>
              <a:gd name="connsiteX61124" fmla="*/ 4348427 w 6884782"/>
              <a:gd name="connsiteY61124" fmla="*/ 1185669 h 5973007"/>
              <a:gd name="connsiteX61125" fmla="*/ 4333701 w 6884782"/>
              <a:gd name="connsiteY61125" fmla="*/ 1184958 h 5973007"/>
              <a:gd name="connsiteX61126" fmla="*/ 4339891 w 6884782"/>
              <a:gd name="connsiteY61126" fmla="*/ 1176706 h 5973007"/>
              <a:gd name="connsiteX61127" fmla="*/ 1608526 w 6884782"/>
              <a:gd name="connsiteY61127" fmla="*/ 1176305 h 5973007"/>
              <a:gd name="connsiteX61128" fmla="*/ 1613482 w 6884782"/>
              <a:gd name="connsiteY61128" fmla="*/ 1191795 h 5973007"/>
              <a:gd name="connsiteX61129" fmla="*/ 1613482 w 6884782"/>
              <a:gd name="connsiteY61129" fmla="*/ 1193808 h 5973007"/>
              <a:gd name="connsiteX61130" fmla="*/ 1611107 w 6884782"/>
              <a:gd name="connsiteY61130" fmla="*/ 1194583 h 5973007"/>
              <a:gd name="connsiteX61131" fmla="*/ 1605428 w 6884782"/>
              <a:gd name="connsiteY61131" fmla="*/ 1183121 h 5973007"/>
              <a:gd name="connsiteX61132" fmla="*/ 1605428 w 6884782"/>
              <a:gd name="connsiteY61132" fmla="*/ 1181261 h 5973007"/>
              <a:gd name="connsiteX61133" fmla="*/ 1608526 w 6884782"/>
              <a:gd name="connsiteY61133" fmla="*/ 1176305 h 5973007"/>
              <a:gd name="connsiteX61134" fmla="*/ 3581610 w 6884782"/>
              <a:gd name="connsiteY61134" fmla="*/ 1174572 h 5973007"/>
              <a:gd name="connsiteX61135" fmla="*/ 3580543 w 6884782"/>
              <a:gd name="connsiteY61135" fmla="*/ 1181685 h 5973007"/>
              <a:gd name="connsiteX61136" fmla="*/ 3581610 w 6884782"/>
              <a:gd name="connsiteY61136" fmla="*/ 1174572 h 5973007"/>
              <a:gd name="connsiteX61137" fmla="*/ 4826915 w 6884782"/>
              <a:gd name="connsiteY61137" fmla="*/ 1174003 h 5973007"/>
              <a:gd name="connsiteX61138" fmla="*/ 4830969 w 6884782"/>
              <a:gd name="connsiteY61138" fmla="*/ 1174003 h 5973007"/>
              <a:gd name="connsiteX61139" fmla="*/ 4835451 w 6884782"/>
              <a:gd name="connsiteY61139" fmla="*/ 1178271 h 5973007"/>
              <a:gd name="connsiteX61140" fmla="*/ 4823073 w 6884782"/>
              <a:gd name="connsiteY61140" fmla="*/ 1190648 h 5973007"/>
              <a:gd name="connsiteX61141" fmla="*/ 4818804 w 6884782"/>
              <a:gd name="connsiteY61141" fmla="*/ 1183393 h 5973007"/>
              <a:gd name="connsiteX61142" fmla="*/ 4826915 w 6884782"/>
              <a:gd name="connsiteY61142" fmla="*/ 1174003 h 5973007"/>
              <a:gd name="connsiteX61143" fmla="*/ 1513220 w 6884782"/>
              <a:gd name="connsiteY61143" fmla="*/ 1173981 h 5973007"/>
              <a:gd name="connsiteX61144" fmla="*/ 1513530 w 6884782"/>
              <a:gd name="connsiteY61144" fmla="*/ 1174756 h 5973007"/>
              <a:gd name="connsiteX61145" fmla="*/ 1513943 w 6884782"/>
              <a:gd name="connsiteY61145" fmla="*/ 1174756 h 5973007"/>
              <a:gd name="connsiteX61146" fmla="*/ 5647727 w 6884782"/>
              <a:gd name="connsiteY61146" fmla="*/ 1173291 h 5973007"/>
              <a:gd name="connsiteX61147" fmla="*/ 5649434 w 6884782"/>
              <a:gd name="connsiteY61147" fmla="*/ 1174714 h 5973007"/>
              <a:gd name="connsiteX61148" fmla="*/ 5650715 w 6884782"/>
              <a:gd name="connsiteY61148" fmla="*/ 1175995 h 5973007"/>
              <a:gd name="connsiteX61149" fmla="*/ 5650501 w 6884782"/>
              <a:gd name="connsiteY61149" fmla="*/ 1177133 h 5973007"/>
              <a:gd name="connsiteX61150" fmla="*/ 5645806 w 6884782"/>
              <a:gd name="connsiteY61150" fmla="*/ 1178129 h 5973007"/>
              <a:gd name="connsiteX61151" fmla="*/ 5646020 w 6884782"/>
              <a:gd name="connsiteY61151" fmla="*/ 1175852 h 5973007"/>
              <a:gd name="connsiteX61152" fmla="*/ 5644952 w 6884782"/>
              <a:gd name="connsiteY61152" fmla="*/ 1175852 h 5973007"/>
              <a:gd name="connsiteX61153" fmla="*/ 5646446 w 6884782"/>
              <a:gd name="connsiteY61153" fmla="*/ 1173576 h 5973007"/>
              <a:gd name="connsiteX61154" fmla="*/ 5647300 w 6884782"/>
              <a:gd name="connsiteY61154" fmla="*/ 1173576 h 5973007"/>
              <a:gd name="connsiteX61155" fmla="*/ 5647727 w 6884782"/>
              <a:gd name="connsiteY61155" fmla="*/ 1173291 h 5973007"/>
              <a:gd name="connsiteX61156" fmla="*/ 5151526 w 6884782"/>
              <a:gd name="connsiteY61156" fmla="*/ 1173149 h 5973007"/>
              <a:gd name="connsiteX61157" fmla="*/ 5161983 w 6884782"/>
              <a:gd name="connsiteY61157" fmla="*/ 1176706 h 5973007"/>
              <a:gd name="connsiteX61158" fmla="*/ 5164118 w 6884782"/>
              <a:gd name="connsiteY61158" fmla="*/ 1177844 h 5973007"/>
              <a:gd name="connsiteX61159" fmla="*/ 5166465 w 6884782"/>
              <a:gd name="connsiteY61159" fmla="*/ 1179125 h 5973007"/>
              <a:gd name="connsiteX61160" fmla="*/ 5167532 w 6884782"/>
              <a:gd name="connsiteY61160" fmla="*/ 1181116 h 5973007"/>
              <a:gd name="connsiteX61161" fmla="*/ 5167106 w 6884782"/>
              <a:gd name="connsiteY61161" fmla="*/ 1183962 h 5973007"/>
              <a:gd name="connsiteX61162" fmla="*/ 5146831 w 6884782"/>
              <a:gd name="connsiteY61162" fmla="*/ 1176421 h 5973007"/>
              <a:gd name="connsiteX61163" fmla="*/ 5148325 w 6884782"/>
              <a:gd name="connsiteY61163" fmla="*/ 1174003 h 5973007"/>
              <a:gd name="connsiteX61164" fmla="*/ 5151526 w 6884782"/>
              <a:gd name="connsiteY61164" fmla="*/ 1173149 h 5973007"/>
              <a:gd name="connsiteX61165" fmla="*/ 1649209 w 6884782"/>
              <a:gd name="connsiteY61165" fmla="*/ 1173052 h 5973007"/>
              <a:gd name="connsiteX61166" fmla="*/ 1657159 w 6884782"/>
              <a:gd name="connsiteY61166" fmla="*/ 1175995 h 5973007"/>
              <a:gd name="connsiteX61167" fmla="*/ 1658192 w 6884782"/>
              <a:gd name="connsiteY61167" fmla="*/ 1180952 h 5973007"/>
              <a:gd name="connsiteX61168" fmla="*/ 1658915 w 6884782"/>
              <a:gd name="connsiteY61168" fmla="*/ 1181107 h 5973007"/>
              <a:gd name="connsiteX61169" fmla="*/ 1664077 w 6884782"/>
              <a:gd name="connsiteY61169" fmla="*/ 1187148 h 5973007"/>
              <a:gd name="connsiteX61170" fmla="*/ 1650758 w 6884782"/>
              <a:gd name="connsiteY61170" fmla="*/ 1191949 h 5973007"/>
              <a:gd name="connsiteX61171" fmla="*/ 1647660 w 6884782"/>
              <a:gd name="connsiteY61171" fmla="*/ 1193188 h 5973007"/>
              <a:gd name="connsiteX61172" fmla="*/ 1650758 w 6884782"/>
              <a:gd name="connsiteY61172" fmla="*/ 1194583 h 5973007"/>
              <a:gd name="connsiteX61173" fmla="*/ 1640122 w 6884782"/>
              <a:gd name="connsiteY61173" fmla="*/ 1199694 h 5973007"/>
              <a:gd name="connsiteX61174" fmla="*/ 1640948 w 6884782"/>
              <a:gd name="connsiteY61174" fmla="*/ 1196596 h 5973007"/>
              <a:gd name="connsiteX61175" fmla="*/ 1642187 w 6884782"/>
              <a:gd name="connsiteY61175" fmla="*/ 1194118 h 5973007"/>
              <a:gd name="connsiteX61176" fmla="*/ 1638780 w 6884782"/>
              <a:gd name="connsiteY61176" fmla="*/ 1193963 h 5973007"/>
              <a:gd name="connsiteX61177" fmla="*/ 1642600 w 6884782"/>
              <a:gd name="connsiteY61177" fmla="*/ 1190555 h 5973007"/>
              <a:gd name="connsiteX61178" fmla="*/ 1643116 w 6884782"/>
              <a:gd name="connsiteY61178" fmla="*/ 1189936 h 5973007"/>
              <a:gd name="connsiteX61179" fmla="*/ 1642187 w 6884782"/>
              <a:gd name="connsiteY61179" fmla="*/ 1187767 h 5973007"/>
              <a:gd name="connsiteX61180" fmla="*/ 1643116 w 6884782"/>
              <a:gd name="connsiteY61180" fmla="*/ 1184050 h 5973007"/>
              <a:gd name="connsiteX61181" fmla="*/ 1636714 w 6884782"/>
              <a:gd name="connsiteY61181" fmla="*/ 1186218 h 5973007"/>
              <a:gd name="connsiteX61182" fmla="*/ 1622259 w 6884782"/>
              <a:gd name="connsiteY61182" fmla="*/ 1184979 h 5973007"/>
              <a:gd name="connsiteX61183" fmla="*/ 1621020 w 6884782"/>
              <a:gd name="connsiteY61183" fmla="*/ 1181417 h 5973007"/>
              <a:gd name="connsiteX61184" fmla="*/ 1626699 w 6884782"/>
              <a:gd name="connsiteY61184" fmla="*/ 1174756 h 5973007"/>
              <a:gd name="connsiteX61185" fmla="*/ 1645492 w 6884782"/>
              <a:gd name="connsiteY61185" fmla="*/ 1177544 h 5973007"/>
              <a:gd name="connsiteX61186" fmla="*/ 1645595 w 6884782"/>
              <a:gd name="connsiteY61186" fmla="*/ 1177544 h 5973007"/>
              <a:gd name="connsiteX61187" fmla="*/ 995700 w 6884782"/>
              <a:gd name="connsiteY61187" fmla="*/ 1172123 h 5973007"/>
              <a:gd name="connsiteX61188" fmla="*/ 1000450 w 6884782"/>
              <a:gd name="connsiteY61188" fmla="*/ 1172897 h 5973007"/>
              <a:gd name="connsiteX61189" fmla="*/ 1001379 w 6884782"/>
              <a:gd name="connsiteY61189" fmla="*/ 1174911 h 5973007"/>
              <a:gd name="connsiteX61190" fmla="*/ 1000966 w 6884782"/>
              <a:gd name="connsiteY61190" fmla="*/ 1175531 h 5973007"/>
              <a:gd name="connsiteX61191" fmla="*/ 999211 w 6884782"/>
              <a:gd name="connsiteY61191" fmla="*/ 1178319 h 5973007"/>
              <a:gd name="connsiteX61192" fmla="*/ 994668 w 6884782"/>
              <a:gd name="connsiteY61192" fmla="*/ 1177234 h 5973007"/>
              <a:gd name="connsiteX61193" fmla="*/ 994461 w 6884782"/>
              <a:gd name="connsiteY61193" fmla="*/ 1173981 h 5973007"/>
              <a:gd name="connsiteX61194" fmla="*/ 995700 w 6884782"/>
              <a:gd name="connsiteY61194" fmla="*/ 1172123 h 5973007"/>
              <a:gd name="connsiteX61195" fmla="*/ 3949759 w 6884782"/>
              <a:gd name="connsiteY61195" fmla="*/ 1171727 h 5973007"/>
              <a:gd name="connsiteX61196" fmla="*/ 3955949 w 6884782"/>
              <a:gd name="connsiteY61196" fmla="*/ 1174003 h 5973007"/>
              <a:gd name="connsiteX61197" fmla="*/ 3958723 w 6884782"/>
              <a:gd name="connsiteY61197" fmla="*/ 1178982 h 5973007"/>
              <a:gd name="connsiteX61198" fmla="*/ 3958723 w 6884782"/>
              <a:gd name="connsiteY61198" fmla="*/ 1181401 h 5973007"/>
              <a:gd name="connsiteX61199" fmla="*/ 3957016 w 6884782"/>
              <a:gd name="connsiteY61199" fmla="*/ 1182397 h 5973007"/>
              <a:gd name="connsiteX61200" fmla="*/ 3957656 w 6884782"/>
              <a:gd name="connsiteY61200" fmla="*/ 1183108 h 5973007"/>
              <a:gd name="connsiteX61201" fmla="*/ 3958083 w 6884782"/>
              <a:gd name="connsiteY61201" fmla="*/ 1186807 h 5973007"/>
              <a:gd name="connsiteX61202" fmla="*/ 3952534 w 6884782"/>
              <a:gd name="connsiteY61202" fmla="*/ 1188514 h 5973007"/>
              <a:gd name="connsiteX61203" fmla="*/ 3950826 w 6884782"/>
              <a:gd name="connsiteY61203" fmla="*/ 1186096 h 5973007"/>
              <a:gd name="connsiteX61204" fmla="*/ 3951253 w 6884782"/>
              <a:gd name="connsiteY61204" fmla="*/ 1183962 h 5973007"/>
              <a:gd name="connsiteX61205" fmla="*/ 3948479 w 6884782"/>
              <a:gd name="connsiteY61205" fmla="*/ 1183250 h 5973007"/>
              <a:gd name="connsiteX61206" fmla="*/ 3944637 w 6884782"/>
              <a:gd name="connsiteY61206" fmla="*/ 1173434 h 5973007"/>
              <a:gd name="connsiteX61207" fmla="*/ 3946985 w 6884782"/>
              <a:gd name="connsiteY61207" fmla="*/ 1172438 h 5973007"/>
              <a:gd name="connsiteX61208" fmla="*/ 3949759 w 6884782"/>
              <a:gd name="connsiteY61208" fmla="*/ 1171727 h 5973007"/>
              <a:gd name="connsiteX61209" fmla="*/ 1130514 w 6884782"/>
              <a:gd name="connsiteY61209" fmla="*/ 1171600 h 5973007"/>
              <a:gd name="connsiteX61210" fmla="*/ 1128900 w 6884782"/>
              <a:gd name="connsiteY61210" fmla="*/ 1177699 h 5973007"/>
              <a:gd name="connsiteX61211" fmla="*/ 1123841 w 6884782"/>
              <a:gd name="connsiteY61211" fmla="*/ 1172123 h 5973007"/>
              <a:gd name="connsiteX61212" fmla="*/ 1130514 w 6884782"/>
              <a:gd name="connsiteY61212" fmla="*/ 1171600 h 5973007"/>
              <a:gd name="connsiteX61213" fmla="*/ 4946003 w 6884782"/>
              <a:gd name="connsiteY61213" fmla="*/ 1171015 h 5973007"/>
              <a:gd name="connsiteX61214" fmla="*/ 4954539 w 6884782"/>
              <a:gd name="connsiteY61214" fmla="*/ 1176421 h 5973007"/>
              <a:gd name="connsiteX61215" fmla="*/ 4954112 w 6884782"/>
              <a:gd name="connsiteY61215" fmla="*/ 1189510 h 5973007"/>
              <a:gd name="connsiteX61216" fmla="*/ 4948137 w 6884782"/>
              <a:gd name="connsiteY61216" fmla="*/ 1191075 h 5973007"/>
              <a:gd name="connsiteX61217" fmla="*/ 4947710 w 6884782"/>
              <a:gd name="connsiteY61217" fmla="*/ 1190648 h 5973007"/>
              <a:gd name="connsiteX61218" fmla="*/ 4935972 w 6884782"/>
              <a:gd name="connsiteY61218" fmla="*/ 1184673 h 5973007"/>
              <a:gd name="connsiteX61219" fmla="*/ 4934478 w 6884782"/>
              <a:gd name="connsiteY61219" fmla="*/ 1177417 h 5973007"/>
              <a:gd name="connsiteX61220" fmla="*/ 4938106 w 6884782"/>
              <a:gd name="connsiteY61220" fmla="*/ 1176279 h 5973007"/>
              <a:gd name="connsiteX61221" fmla="*/ 4943228 w 6884782"/>
              <a:gd name="connsiteY61221" fmla="*/ 1179267 h 5973007"/>
              <a:gd name="connsiteX61222" fmla="*/ 4943228 w 6884782"/>
              <a:gd name="connsiteY61222" fmla="*/ 1176706 h 5973007"/>
              <a:gd name="connsiteX61223" fmla="*/ 4946003 w 6884782"/>
              <a:gd name="connsiteY61223" fmla="*/ 1171015 h 5973007"/>
              <a:gd name="connsiteX61224" fmla="*/ 3486852 w 6884782"/>
              <a:gd name="connsiteY61224" fmla="*/ 1170446 h 5973007"/>
              <a:gd name="connsiteX61225" fmla="*/ 3488773 w 6884782"/>
              <a:gd name="connsiteY61225" fmla="*/ 1172154 h 5973007"/>
              <a:gd name="connsiteX61226" fmla="*/ 3491120 w 6884782"/>
              <a:gd name="connsiteY61226" fmla="*/ 1172580 h 5973007"/>
              <a:gd name="connsiteX61227" fmla="*/ 3496669 w 6884782"/>
              <a:gd name="connsiteY61227" fmla="*/ 1175852 h 5973007"/>
              <a:gd name="connsiteX61228" fmla="*/ 3499017 w 6884782"/>
              <a:gd name="connsiteY61228" fmla="*/ 1178982 h 5973007"/>
              <a:gd name="connsiteX61229" fmla="*/ 3502218 w 6884782"/>
              <a:gd name="connsiteY61229" fmla="*/ 1180690 h 5973007"/>
              <a:gd name="connsiteX61230" fmla="*/ 3507127 w 6884782"/>
              <a:gd name="connsiteY61230" fmla="*/ 1183108 h 5973007"/>
              <a:gd name="connsiteX61231" fmla="*/ 3508407 w 6884782"/>
              <a:gd name="connsiteY61231" fmla="*/ 1181685 h 5973007"/>
              <a:gd name="connsiteX61232" fmla="*/ 3511608 w 6884782"/>
              <a:gd name="connsiteY61232" fmla="*/ 1179551 h 5973007"/>
              <a:gd name="connsiteX61233" fmla="*/ 3509047 w 6884782"/>
              <a:gd name="connsiteY61233" fmla="*/ 1181970 h 5973007"/>
              <a:gd name="connsiteX61234" fmla="*/ 3508834 w 6884782"/>
              <a:gd name="connsiteY61234" fmla="*/ 1183962 h 5973007"/>
              <a:gd name="connsiteX61235" fmla="*/ 3509688 w 6884782"/>
              <a:gd name="connsiteY61235" fmla="*/ 1184388 h 5973007"/>
              <a:gd name="connsiteX61236" fmla="*/ 3516303 w 6884782"/>
              <a:gd name="connsiteY61236" fmla="*/ 1189083 h 5973007"/>
              <a:gd name="connsiteX61237" fmla="*/ 3506060 w 6884782"/>
              <a:gd name="connsiteY61237" fmla="*/ 1191644 h 5973007"/>
              <a:gd name="connsiteX61238" fmla="*/ 3505206 w 6884782"/>
              <a:gd name="connsiteY61238" fmla="*/ 1191644 h 5973007"/>
              <a:gd name="connsiteX61239" fmla="*/ 3505420 w 6884782"/>
              <a:gd name="connsiteY61239" fmla="*/ 1192924 h 5973007"/>
              <a:gd name="connsiteX61240" fmla="*/ 3501578 w 6884782"/>
              <a:gd name="connsiteY61240" fmla="*/ 1191787 h 5973007"/>
              <a:gd name="connsiteX61241" fmla="*/ 3494961 w 6884782"/>
              <a:gd name="connsiteY61241" fmla="*/ 1192214 h 5973007"/>
              <a:gd name="connsiteX61242" fmla="*/ 3479169 w 6884782"/>
              <a:gd name="connsiteY61242" fmla="*/ 1176848 h 5973007"/>
              <a:gd name="connsiteX61243" fmla="*/ 3484931 w 6884782"/>
              <a:gd name="connsiteY61243" fmla="*/ 1172011 h 5973007"/>
              <a:gd name="connsiteX61244" fmla="*/ 3484718 w 6884782"/>
              <a:gd name="connsiteY61244" fmla="*/ 1171157 h 5973007"/>
              <a:gd name="connsiteX61245" fmla="*/ 3485785 w 6884782"/>
              <a:gd name="connsiteY61245" fmla="*/ 1171442 h 5973007"/>
              <a:gd name="connsiteX61246" fmla="*/ 4790633 w 6884782"/>
              <a:gd name="connsiteY61246" fmla="*/ 1170019 h 5973007"/>
              <a:gd name="connsiteX61247" fmla="*/ 4792127 w 6884782"/>
              <a:gd name="connsiteY61247" fmla="*/ 1178413 h 5973007"/>
              <a:gd name="connsiteX61248" fmla="*/ 4791487 w 6884782"/>
              <a:gd name="connsiteY61248" fmla="*/ 1174999 h 5973007"/>
              <a:gd name="connsiteX61249" fmla="*/ 4789566 w 6884782"/>
              <a:gd name="connsiteY61249" fmla="*/ 1173861 h 5973007"/>
              <a:gd name="connsiteX61250" fmla="*/ 4790633 w 6884782"/>
              <a:gd name="connsiteY61250" fmla="*/ 1170019 h 5973007"/>
              <a:gd name="connsiteX61251" fmla="*/ 4761394 w 6884782"/>
              <a:gd name="connsiteY61251" fmla="*/ 1170019 h 5973007"/>
              <a:gd name="connsiteX61252" fmla="*/ 4764169 w 6884782"/>
              <a:gd name="connsiteY61252" fmla="*/ 1175426 h 5973007"/>
              <a:gd name="connsiteX61253" fmla="*/ 4758620 w 6884782"/>
              <a:gd name="connsiteY61253" fmla="*/ 1195343 h 5973007"/>
              <a:gd name="connsiteX61254" fmla="*/ 4747949 w 6884782"/>
              <a:gd name="connsiteY61254" fmla="*/ 1192356 h 5973007"/>
              <a:gd name="connsiteX61255" fmla="*/ 4761394 w 6884782"/>
              <a:gd name="connsiteY61255" fmla="*/ 1170019 h 5973007"/>
              <a:gd name="connsiteX61256" fmla="*/ 1065192 w 6884782"/>
              <a:gd name="connsiteY61256" fmla="*/ 1169954 h 5973007"/>
              <a:gd name="connsiteX61257" fmla="*/ 1066740 w 6884782"/>
              <a:gd name="connsiteY61257" fmla="*/ 1171503 h 5973007"/>
              <a:gd name="connsiteX61258" fmla="*/ 1060235 w 6884782"/>
              <a:gd name="connsiteY61258" fmla="*/ 1180022 h 5973007"/>
              <a:gd name="connsiteX61259" fmla="*/ 1057860 w 6884782"/>
              <a:gd name="connsiteY61259" fmla="*/ 1180332 h 5973007"/>
              <a:gd name="connsiteX61260" fmla="*/ 1056208 w 6884782"/>
              <a:gd name="connsiteY61260" fmla="*/ 1181261 h 5973007"/>
              <a:gd name="connsiteX61261" fmla="*/ 1050426 w 6884782"/>
              <a:gd name="connsiteY61261" fmla="*/ 1180487 h 5973007"/>
              <a:gd name="connsiteX61262" fmla="*/ 1063333 w 6884782"/>
              <a:gd name="connsiteY61262" fmla="*/ 1170264 h 5973007"/>
              <a:gd name="connsiteX61263" fmla="*/ 1065192 w 6884782"/>
              <a:gd name="connsiteY61263" fmla="*/ 1169954 h 5973007"/>
              <a:gd name="connsiteX61264" fmla="*/ 1503721 w 6884782"/>
              <a:gd name="connsiteY61264" fmla="*/ 1168599 h 5973007"/>
              <a:gd name="connsiteX61265" fmla="*/ 1508367 w 6884782"/>
              <a:gd name="connsiteY61265" fmla="*/ 1169180 h 5973007"/>
              <a:gd name="connsiteX61266" fmla="*/ 1510123 w 6884782"/>
              <a:gd name="connsiteY61266" fmla="*/ 1170884 h 5973007"/>
              <a:gd name="connsiteX61267" fmla="*/ 1510432 w 6884782"/>
              <a:gd name="connsiteY61267" fmla="*/ 1168870 h 5973007"/>
              <a:gd name="connsiteX61268" fmla="*/ 1526334 w 6884782"/>
              <a:gd name="connsiteY61268" fmla="*/ 1174446 h 5973007"/>
              <a:gd name="connsiteX61269" fmla="*/ 1527573 w 6884782"/>
              <a:gd name="connsiteY61269" fmla="*/ 1175840 h 5973007"/>
              <a:gd name="connsiteX61270" fmla="*/ 1526850 w 6884782"/>
              <a:gd name="connsiteY61270" fmla="*/ 1177854 h 5973007"/>
              <a:gd name="connsiteX61271" fmla="*/ 1524062 w 6884782"/>
              <a:gd name="connsiteY61271" fmla="*/ 1178783 h 5973007"/>
              <a:gd name="connsiteX61272" fmla="*/ 1524372 w 6884782"/>
              <a:gd name="connsiteY61272" fmla="*/ 1179403 h 5973007"/>
              <a:gd name="connsiteX61273" fmla="*/ 1524681 w 6884782"/>
              <a:gd name="connsiteY61273" fmla="*/ 1179403 h 5973007"/>
              <a:gd name="connsiteX61274" fmla="*/ 1532013 w 6884782"/>
              <a:gd name="connsiteY61274" fmla="*/ 1182501 h 5973007"/>
              <a:gd name="connsiteX61275" fmla="*/ 1533665 w 6884782"/>
              <a:gd name="connsiteY61275" fmla="*/ 1183275 h 5973007"/>
              <a:gd name="connsiteX61276" fmla="*/ 1533562 w 6884782"/>
              <a:gd name="connsiteY61276" fmla="*/ 1185754 h 5973007"/>
              <a:gd name="connsiteX61277" fmla="*/ 1527160 w 6884782"/>
              <a:gd name="connsiteY61277" fmla="*/ 1185599 h 5973007"/>
              <a:gd name="connsiteX61278" fmla="*/ 1526850 w 6884782"/>
              <a:gd name="connsiteY61278" fmla="*/ 1190710 h 5973007"/>
              <a:gd name="connsiteX61279" fmla="*/ 1511362 w 6884782"/>
              <a:gd name="connsiteY61279" fmla="*/ 1185444 h 5973007"/>
              <a:gd name="connsiteX61280" fmla="*/ 1510948 w 6884782"/>
              <a:gd name="connsiteY61280" fmla="*/ 1184979 h 5973007"/>
              <a:gd name="connsiteX61281" fmla="*/ 1510845 w 6884782"/>
              <a:gd name="connsiteY61281" fmla="*/ 1185444 h 5973007"/>
              <a:gd name="connsiteX61282" fmla="*/ 1512704 w 6884782"/>
              <a:gd name="connsiteY61282" fmla="*/ 1189161 h 5973007"/>
              <a:gd name="connsiteX61283" fmla="*/ 1499900 w 6884782"/>
              <a:gd name="connsiteY61283" fmla="*/ 1191175 h 5973007"/>
              <a:gd name="connsiteX61284" fmla="*/ 1498041 w 6884782"/>
              <a:gd name="connsiteY61284" fmla="*/ 1190710 h 5973007"/>
              <a:gd name="connsiteX61285" fmla="*/ 1498041 w 6884782"/>
              <a:gd name="connsiteY61285" fmla="*/ 1191640 h 5973007"/>
              <a:gd name="connsiteX61286" fmla="*/ 1497215 w 6884782"/>
              <a:gd name="connsiteY61286" fmla="*/ 1190710 h 5973007"/>
              <a:gd name="connsiteX61287" fmla="*/ 1497009 w 6884782"/>
              <a:gd name="connsiteY61287" fmla="*/ 1190710 h 5973007"/>
              <a:gd name="connsiteX61288" fmla="*/ 1496079 w 6884782"/>
              <a:gd name="connsiteY61288" fmla="*/ 1190865 h 5973007"/>
              <a:gd name="connsiteX61289" fmla="*/ 1493292 w 6884782"/>
              <a:gd name="connsiteY61289" fmla="*/ 1188852 h 5973007"/>
              <a:gd name="connsiteX61290" fmla="*/ 1492982 w 6884782"/>
              <a:gd name="connsiteY61290" fmla="*/ 1187922 h 5973007"/>
              <a:gd name="connsiteX61291" fmla="*/ 1493705 w 6884782"/>
              <a:gd name="connsiteY61291" fmla="*/ 1186683 h 5973007"/>
              <a:gd name="connsiteX61292" fmla="*/ 1498145 w 6884782"/>
              <a:gd name="connsiteY61292" fmla="*/ 1184050 h 5973007"/>
              <a:gd name="connsiteX61293" fmla="*/ 1499694 w 6884782"/>
              <a:gd name="connsiteY61293" fmla="*/ 1168715 h 5973007"/>
              <a:gd name="connsiteX61294" fmla="*/ 1503721 w 6884782"/>
              <a:gd name="connsiteY61294" fmla="*/ 1168599 h 5973007"/>
              <a:gd name="connsiteX61295" fmla="*/ 4979296 w 6884782"/>
              <a:gd name="connsiteY61295" fmla="*/ 1168455 h 5973007"/>
              <a:gd name="connsiteX61296" fmla="*/ 4991034 w 6884782"/>
              <a:gd name="connsiteY61296" fmla="*/ 1176137 h 5973007"/>
              <a:gd name="connsiteX61297" fmla="*/ 4975881 w 6884782"/>
              <a:gd name="connsiteY61297" fmla="*/ 1168881 h 5973007"/>
              <a:gd name="connsiteX61298" fmla="*/ 4979296 w 6884782"/>
              <a:gd name="connsiteY61298" fmla="*/ 1168455 h 5973007"/>
              <a:gd name="connsiteX61299" fmla="*/ 4244065 w 6884782"/>
              <a:gd name="connsiteY61299" fmla="*/ 1168170 h 5973007"/>
              <a:gd name="connsiteX61300" fmla="*/ 4250681 w 6884782"/>
              <a:gd name="connsiteY61300" fmla="*/ 1170162 h 5973007"/>
              <a:gd name="connsiteX61301" fmla="*/ 4242144 w 6884782"/>
              <a:gd name="connsiteY61301" fmla="*/ 1185242 h 5973007"/>
              <a:gd name="connsiteX61302" fmla="*/ 4244065 w 6884782"/>
              <a:gd name="connsiteY61302" fmla="*/ 1168170 h 5973007"/>
              <a:gd name="connsiteX61303" fmla="*/ 4718924 w 6884782"/>
              <a:gd name="connsiteY61303" fmla="*/ 1167601 h 5973007"/>
              <a:gd name="connsiteX61304" fmla="*/ 4723193 w 6884782"/>
              <a:gd name="connsiteY61304" fmla="*/ 1181828 h 5973007"/>
              <a:gd name="connsiteX61305" fmla="*/ 4714869 w 6884782"/>
              <a:gd name="connsiteY61305" fmla="*/ 1179978 h 5973007"/>
              <a:gd name="connsiteX61306" fmla="*/ 4713375 w 6884782"/>
              <a:gd name="connsiteY61306" fmla="*/ 1176421 h 5973007"/>
              <a:gd name="connsiteX61307" fmla="*/ 4713375 w 6884782"/>
              <a:gd name="connsiteY61307" fmla="*/ 1169308 h 5973007"/>
              <a:gd name="connsiteX61308" fmla="*/ 4712308 w 6884782"/>
              <a:gd name="connsiteY61308" fmla="*/ 1169308 h 5973007"/>
              <a:gd name="connsiteX61309" fmla="*/ 4718924 w 6884782"/>
              <a:gd name="connsiteY61309" fmla="*/ 1167601 h 5973007"/>
              <a:gd name="connsiteX61310" fmla="*/ 3726522 w 6884782"/>
              <a:gd name="connsiteY61310" fmla="*/ 1166890 h 5973007"/>
              <a:gd name="connsiteX61311" fmla="*/ 3745303 w 6884782"/>
              <a:gd name="connsiteY61311" fmla="*/ 1181685 h 5973007"/>
              <a:gd name="connsiteX61312" fmla="*/ 3745516 w 6884782"/>
              <a:gd name="connsiteY61312" fmla="*/ 1194489 h 5973007"/>
              <a:gd name="connsiteX61313" fmla="*/ 3719479 w 6884782"/>
              <a:gd name="connsiteY61313" fmla="*/ 1230057 h 5973007"/>
              <a:gd name="connsiteX61314" fmla="*/ 3718626 w 6884782"/>
              <a:gd name="connsiteY61314" fmla="*/ 1227212 h 5973007"/>
              <a:gd name="connsiteX61315" fmla="*/ 3717345 w 6884782"/>
              <a:gd name="connsiteY61315" fmla="*/ 1228065 h 5973007"/>
              <a:gd name="connsiteX61316" fmla="*/ 3709662 w 6884782"/>
              <a:gd name="connsiteY61316" fmla="*/ 1220098 h 5973007"/>
              <a:gd name="connsiteX61317" fmla="*/ 3710943 w 6884782"/>
              <a:gd name="connsiteY61317" fmla="*/ 1215261 h 5973007"/>
              <a:gd name="connsiteX61318" fmla="*/ 3704753 w 6884782"/>
              <a:gd name="connsiteY61318" fmla="*/ 1210566 h 5973007"/>
              <a:gd name="connsiteX61319" fmla="*/ 3699205 w 6884782"/>
              <a:gd name="connsiteY61319" fmla="*/ 1205160 h 5973007"/>
              <a:gd name="connsiteX61320" fmla="*/ 3696003 w 6884782"/>
              <a:gd name="connsiteY61320" fmla="*/ 1195059 h 5973007"/>
              <a:gd name="connsiteX61321" fmla="*/ 3726522 w 6884782"/>
              <a:gd name="connsiteY61321" fmla="*/ 1166890 h 5973007"/>
              <a:gd name="connsiteX61322" fmla="*/ 1544300 w 6884782"/>
              <a:gd name="connsiteY61322" fmla="*/ 1166701 h 5973007"/>
              <a:gd name="connsiteX61323" fmla="*/ 1540583 w 6884782"/>
              <a:gd name="connsiteY61323" fmla="*/ 1190400 h 5973007"/>
              <a:gd name="connsiteX61324" fmla="*/ 1540170 w 6884782"/>
              <a:gd name="connsiteY61324" fmla="*/ 1178938 h 5973007"/>
              <a:gd name="connsiteX61325" fmla="*/ 1544300 w 6884782"/>
              <a:gd name="connsiteY61325" fmla="*/ 1166701 h 5973007"/>
              <a:gd name="connsiteX61326" fmla="*/ 1324881 w 6884782"/>
              <a:gd name="connsiteY61326" fmla="*/ 1164533 h 5973007"/>
              <a:gd name="connsiteX61327" fmla="*/ 1350178 w 6884782"/>
              <a:gd name="connsiteY61327" fmla="*/ 1177079 h 5973007"/>
              <a:gd name="connsiteX61328" fmla="*/ 1346048 w 6884782"/>
              <a:gd name="connsiteY61328" fmla="*/ 1183895 h 5973007"/>
              <a:gd name="connsiteX61329" fmla="*/ 1324881 w 6884782"/>
              <a:gd name="connsiteY61329" fmla="*/ 1164533 h 5973007"/>
              <a:gd name="connsiteX61330" fmla="*/ 1305046 w 6884782"/>
              <a:gd name="connsiteY61330" fmla="*/ 1164518 h 5973007"/>
              <a:gd name="connsiteX61331" fmla="*/ 1304436 w 6884782"/>
              <a:gd name="connsiteY61331" fmla="*/ 1180332 h 5973007"/>
              <a:gd name="connsiteX61332" fmla="*/ 1293388 w 6884782"/>
              <a:gd name="connsiteY61332" fmla="*/ 1169334 h 5973007"/>
              <a:gd name="connsiteX61333" fmla="*/ 1298654 w 6884782"/>
              <a:gd name="connsiteY61333" fmla="*/ 1164843 h 5973007"/>
              <a:gd name="connsiteX61334" fmla="*/ 1305046 w 6884782"/>
              <a:gd name="connsiteY61334" fmla="*/ 1164518 h 5973007"/>
              <a:gd name="connsiteX61335" fmla="*/ 1141601 w 6884782"/>
              <a:gd name="connsiteY61335" fmla="*/ 1162829 h 5973007"/>
              <a:gd name="connsiteX61336" fmla="*/ 1151410 w 6884782"/>
              <a:gd name="connsiteY61336" fmla="*/ 1172588 h 5973007"/>
              <a:gd name="connsiteX61337" fmla="*/ 1140671 w 6884782"/>
              <a:gd name="connsiteY61337" fmla="*/ 1167166 h 5973007"/>
              <a:gd name="connsiteX61338" fmla="*/ 1141601 w 6884782"/>
              <a:gd name="connsiteY61338" fmla="*/ 1162829 h 5973007"/>
              <a:gd name="connsiteX61339" fmla="*/ 1591488 w 6884782"/>
              <a:gd name="connsiteY61339" fmla="*/ 1162519 h 5973007"/>
              <a:gd name="connsiteX61340" fmla="*/ 1591488 w 6884782"/>
              <a:gd name="connsiteY61340" fmla="*/ 1164223 h 5973007"/>
              <a:gd name="connsiteX61341" fmla="*/ 1591798 w 6884782"/>
              <a:gd name="connsiteY61341" fmla="*/ 1163449 h 5973007"/>
              <a:gd name="connsiteX61342" fmla="*/ 1591695 w 6884782"/>
              <a:gd name="connsiteY61342" fmla="*/ 1163294 h 5973007"/>
              <a:gd name="connsiteX61343" fmla="*/ 1592108 w 6884782"/>
              <a:gd name="connsiteY61343" fmla="*/ 1162674 h 5973007"/>
              <a:gd name="connsiteX61344" fmla="*/ 4415868 w 6884782"/>
              <a:gd name="connsiteY61344" fmla="*/ 1162053 h 5973007"/>
              <a:gd name="connsiteX61345" fmla="*/ 4423551 w 6884782"/>
              <a:gd name="connsiteY61345" fmla="*/ 1166036 h 5973007"/>
              <a:gd name="connsiteX61346" fmla="*/ 4423764 w 6884782"/>
              <a:gd name="connsiteY61346" fmla="*/ 1170019 h 5973007"/>
              <a:gd name="connsiteX61347" fmla="*/ 4419923 w 6884782"/>
              <a:gd name="connsiteY61347" fmla="*/ 1174003 h 5973007"/>
              <a:gd name="connsiteX61348" fmla="*/ 4413734 w 6884782"/>
              <a:gd name="connsiteY61348" fmla="*/ 1164898 h 5973007"/>
              <a:gd name="connsiteX61349" fmla="*/ 4415868 w 6884782"/>
              <a:gd name="connsiteY61349" fmla="*/ 1162053 h 5973007"/>
              <a:gd name="connsiteX61350" fmla="*/ 1724069 w 6884782"/>
              <a:gd name="connsiteY61350" fmla="*/ 1161745 h 5973007"/>
              <a:gd name="connsiteX61351" fmla="*/ 1721798 w 6884782"/>
              <a:gd name="connsiteY61351" fmla="*/ 1163758 h 5973007"/>
              <a:gd name="connsiteX61352" fmla="*/ 1722314 w 6884782"/>
              <a:gd name="connsiteY61352" fmla="*/ 1164068 h 5973007"/>
              <a:gd name="connsiteX61353" fmla="*/ 1722830 w 6884782"/>
              <a:gd name="connsiteY61353" fmla="*/ 1164688 h 5973007"/>
              <a:gd name="connsiteX61354" fmla="*/ 3814665 w 6884782"/>
              <a:gd name="connsiteY61354" fmla="*/ 1161056 h 5973007"/>
              <a:gd name="connsiteX61355" fmla="*/ 3817439 w 6884782"/>
              <a:gd name="connsiteY61355" fmla="*/ 1162479 h 5973007"/>
              <a:gd name="connsiteX61356" fmla="*/ 3807195 w 6884782"/>
              <a:gd name="connsiteY61356" fmla="*/ 1170019 h 5973007"/>
              <a:gd name="connsiteX61357" fmla="*/ 3814665 w 6884782"/>
              <a:gd name="connsiteY61357" fmla="*/ 1161056 h 5973007"/>
              <a:gd name="connsiteX61358" fmla="*/ 1512601 w 6884782"/>
              <a:gd name="connsiteY61358" fmla="*/ 1160970 h 5973007"/>
              <a:gd name="connsiteX61359" fmla="*/ 1514666 w 6884782"/>
              <a:gd name="connsiteY61359" fmla="*/ 1168250 h 5973007"/>
              <a:gd name="connsiteX61360" fmla="*/ 1512601 w 6884782"/>
              <a:gd name="connsiteY61360" fmla="*/ 1165153 h 5973007"/>
              <a:gd name="connsiteX61361" fmla="*/ 1512601 w 6884782"/>
              <a:gd name="connsiteY61361" fmla="*/ 1160970 h 5973007"/>
              <a:gd name="connsiteX61362" fmla="*/ 4697796 w 6884782"/>
              <a:gd name="connsiteY61362" fmla="*/ 1160914 h 5973007"/>
              <a:gd name="connsiteX61363" fmla="*/ 4702064 w 6884782"/>
              <a:gd name="connsiteY61363" fmla="*/ 1162621 h 5973007"/>
              <a:gd name="connsiteX61364" fmla="*/ 4696515 w 6884782"/>
              <a:gd name="connsiteY61364" fmla="*/ 1174287 h 5973007"/>
              <a:gd name="connsiteX61365" fmla="*/ 4695448 w 6884782"/>
              <a:gd name="connsiteY61365" fmla="*/ 1177417 h 5973007"/>
              <a:gd name="connsiteX61366" fmla="*/ 4699076 w 6884782"/>
              <a:gd name="connsiteY61366" fmla="*/ 1176421 h 5973007"/>
              <a:gd name="connsiteX61367" fmla="*/ 4706759 w 6884782"/>
              <a:gd name="connsiteY61367" fmla="*/ 1178982 h 5973007"/>
              <a:gd name="connsiteX61368" fmla="*/ 4712095 w 6884782"/>
              <a:gd name="connsiteY61368" fmla="*/ 1200323 h 5973007"/>
              <a:gd name="connsiteX61369" fmla="*/ 4710174 w 6884782"/>
              <a:gd name="connsiteY61369" fmla="*/ 1202883 h 5973007"/>
              <a:gd name="connsiteX61370" fmla="*/ 4708467 w 6884782"/>
              <a:gd name="connsiteY61370" fmla="*/ 1207720 h 5973007"/>
              <a:gd name="connsiteX61371" fmla="*/ 4693741 w 6884782"/>
              <a:gd name="connsiteY61371" fmla="*/ 1202599 h 5973007"/>
              <a:gd name="connsiteX61372" fmla="*/ 4685844 w 6884782"/>
              <a:gd name="connsiteY61372" fmla="*/ 1186807 h 5973007"/>
              <a:gd name="connsiteX61373" fmla="*/ 4687125 w 6884782"/>
              <a:gd name="connsiteY61373" fmla="*/ 1183250 h 5973007"/>
              <a:gd name="connsiteX61374" fmla="*/ 4684563 w 6884782"/>
              <a:gd name="connsiteY61374" fmla="*/ 1180832 h 5973007"/>
              <a:gd name="connsiteX61375" fmla="*/ 4687125 w 6884782"/>
              <a:gd name="connsiteY61375" fmla="*/ 1163190 h 5973007"/>
              <a:gd name="connsiteX61376" fmla="*/ 4697796 w 6884782"/>
              <a:gd name="connsiteY61376" fmla="*/ 1160914 h 5973007"/>
              <a:gd name="connsiteX61377" fmla="*/ 3911344 w 6884782"/>
              <a:gd name="connsiteY61377" fmla="*/ 1159491 h 5973007"/>
              <a:gd name="connsiteX61378" fmla="*/ 3909423 w 6884782"/>
              <a:gd name="connsiteY61378" fmla="*/ 1170446 h 5973007"/>
              <a:gd name="connsiteX61379" fmla="*/ 3911344 w 6884782"/>
              <a:gd name="connsiteY61379" fmla="*/ 1159491 h 5973007"/>
              <a:gd name="connsiteX61380" fmla="*/ 3491120 w 6884782"/>
              <a:gd name="connsiteY61380" fmla="*/ 1159491 h 5973007"/>
              <a:gd name="connsiteX61381" fmla="*/ 3506700 w 6884782"/>
              <a:gd name="connsiteY61381" fmla="*/ 1165609 h 5973007"/>
              <a:gd name="connsiteX61382" fmla="*/ 3477034 w 6884782"/>
              <a:gd name="connsiteY61382" fmla="*/ 1165467 h 5973007"/>
              <a:gd name="connsiteX61383" fmla="*/ 3491120 w 6884782"/>
              <a:gd name="connsiteY61383" fmla="*/ 1159491 h 5973007"/>
              <a:gd name="connsiteX61384" fmla="*/ 4087628 w 6884782"/>
              <a:gd name="connsiteY61384" fmla="*/ 1159065 h 5973007"/>
              <a:gd name="connsiteX61385" fmla="*/ 4099793 w 6884782"/>
              <a:gd name="connsiteY61385" fmla="*/ 1170589 h 5973007"/>
              <a:gd name="connsiteX61386" fmla="*/ 4093604 w 6884782"/>
              <a:gd name="connsiteY61386" fmla="*/ 1177702 h 5973007"/>
              <a:gd name="connsiteX61387" fmla="*/ 4081653 w 6884782"/>
              <a:gd name="connsiteY61387" fmla="*/ 1162764 h 5973007"/>
              <a:gd name="connsiteX61388" fmla="*/ 4087628 w 6884782"/>
              <a:gd name="connsiteY61388" fmla="*/ 1159065 h 5973007"/>
              <a:gd name="connsiteX61389" fmla="*/ 4775693 w 6884782"/>
              <a:gd name="connsiteY61389" fmla="*/ 1158211 h 5973007"/>
              <a:gd name="connsiteX61390" fmla="*/ 4785724 w 6884782"/>
              <a:gd name="connsiteY61390" fmla="*/ 1195912 h 5973007"/>
              <a:gd name="connsiteX61391" fmla="*/ 4775693 w 6884782"/>
              <a:gd name="connsiteY61391" fmla="*/ 1158211 h 5973007"/>
              <a:gd name="connsiteX61392" fmla="*/ 1209234 w 6884782"/>
              <a:gd name="connsiteY61392" fmla="*/ 1157098 h 5973007"/>
              <a:gd name="connsiteX61393" fmla="*/ 1213777 w 6884782"/>
              <a:gd name="connsiteY61393" fmla="*/ 1158647 h 5973007"/>
              <a:gd name="connsiteX61394" fmla="*/ 1210060 w 6884782"/>
              <a:gd name="connsiteY61394" fmla="*/ 1161280 h 5973007"/>
              <a:gd name="connsiteX61395" fmla="*/ 1207995 w 6884782"/>
              <a:gd name="connsiteY61395" fmla="*/ 1158801 h 5973007"/>
              <a:gd name="connsiteX61396" fmla="*/ 1209234 w 6884782"/>
              <a:gd name="connsiteY61396" fmla="*/ 1157098 h 5973007"/>
              <a:gd name="connsiteX61397" fmla="*/ 1245916 w 6884782"/>
              <a:gd name="connsiteY61397" fmla="*/ 1156865 h 5973007"/>
              <a:gd name="connsiteX61398" fmla="*/ 1254873 w 6884782"/>
              <a:gd name="connsiteY61398" fmla="*/ 1159421 h 5973007"/>
              <a:gd name="connsiteX61399" fmla="*/ 1256525 w 6884782"/>
              <a:gd name="connsiteY61399" fmla="*/ 1160970 h 5973007"/>
              <a:gd name="connsiteX61400" fmla="*/ 1259933 w 6884782"/>
              <a:gd name="connsiteY61400" fmla="*/ 1162519 h 5973007"/>
              <a:gd name="connsiteX61401" fmla="*/ 1255080 w 6884782"/>
              <a:gd name="connsiteY61401" fmla="*/ 1172897 h 5973007"/>
              <a:gd name="connsiteX61402" fmla="*/ 1240314 w 6884782"/>
              <a:gd name="connsiteY61402" fmla="*/ 1175995 h 5973007"/>
              <a:gd name="connsiteX61403" fmla="*/ 1236803 w 6884782"/>
              <a:gd name="connsiteY61403" fmla="*/ 1167166 h 5973007"/>
              <a:gd name="connsiteX61404" fmla="*/ 1239281 w 6884782"/>
              <a:gd name="connsiteY61404" fmla="*/ 1161745 h 5973007"/>
              <a:gd name="connsiteX61405" fmla="*/ 1245916 w 6884782"/>
              <a:gd name="connsiteY61405" fmla="*/ 1156865 h 5973007"/>
              <a:gd name="connsiteX61406" fmla="*/ 4107903 w 6884782"/>
              <a:gd name="connsiteY61406" fmla="*/ 1156504 h 5973007"/>
              <a:gd name="connsiteX61407" fmla="*/ 4114946 w 6884782"/>
              <a:gd name="connsiteY61407" fmla="*/ 1159918 h 5973007"/>
              <a:gd name="connsiteX61408" fmla="*/ 4116440 w 6884782"/>
              <a:gd name="connsiteY61408" fmla="*/ 1163760 h 5973007"/>
              <a:gd name="connsiteX61409" fmla="*/ 4118147 w 6884782"/>
              <a:gd name="connsiteY61409" fmla="*/ 1163902 h 5973007"/>
              <a:gd name="connsiteX61410" fmla="*/ 4119214 w 6884782"/>
              <a:gd name="connsiteY61410" fmla="*/ 1176706 h 5973007"/>
              <a:gd name="connsiteX61411" fmla="*/ 4105982 w 6884782"/>
              <a:gd name="connsiteY61411" fmla="*/ 1173861 h 5973007"/>
              <a:gd name="connsiteX61412" fmla="*/ 4108970 w 6884782"/>
              <a:gd name="connsiteY61412" fmla="*/ 1163190 h 5973007"/>
              <a:gd name="connsiteX61413" fmla="*/ 4113025 w 6884782"/>
              <a:gd name="connsiteY61413" fmla="*/ 1163475 h 5973007"/>
              <a:gd name="connsiteX61414" fmla="*/ 4110677 w 6884782"/>
              <a:gd name="connsiteY61414" fmla="*/ 1162053 h 5973007"/>
              <a:gd name="connsiteX61415" fmla="*/ 4107903 w 6884782"/>
              <a:gd name="connsiteY61415" fmla="*/ 1156504 h 5973007"/>
              <a:gd name="connsiteX61416" fmla="*/ 1180425 w 6884782"/>
              <a:gd name="connsiteY61416" fmla="*/ 1156478 h 5973007"/>
              <a:gd name="connsiteX61417" fmla="*/ 1180116 w 6884782"/>
              <a:gd name="connsiteY61417" fmla="*/ 1167476 h 5973007"/>
              <a:gd name="connsiteX61418" fmla="*/ 1175779 w 6884782"/>
              <a:gd name="connsiteY61418" fmla="*/ 1166701 h 5973007"/>
              <a:gd name="connsiteX61419" fmla="*/ 1172062 w 6884782"/>
              <a:gd name="connsiteY61419" fmla="*/ 1160041 h 5973007"/>
              <a:gd name="connsiteX61420" fmla="*/ 1176295 w 6884782"/>
              <a:gd name="connsiteY61420" fmla="*/ 1157717 h 5973007"/>
              <a:gd name="connsiteX61421" fmla="*/ 1180425 w 6884782"/>
              <a:gd name="connsiteY61421" fmla="*/ 1156478 h 5973007"/>
              <a:gd name="connsiteX61422" fmla="*/ 1707755 w 6884782"/>
              <a:gd name="connsiteY61422" fmla="*/ 1156013 h 5973007"/>
              <a:gd name="connsiteX61423" fmla="*/ 1708065 w 6884782"/>
              <a:gd name="connsiteY61423" fmla="*/ 1158182 h 5973007"/>
              <a:gd name="connsiteX61424" fmla="*/ 1710130 w 6884782"/>
              <a:gd name="connsiteY61424" fmla="*/ 1158956 h 5973007"/>
              <a:gd name="connsiteX61425" fmla="*/ 1710027 w 6884782"/>
              <a:gd name="connsiteY61425" fmla="*/ 1159731 h 5973007"/>
              <a:gd name="connsiteX61426" fmla="*/ 1708478 w 6884782"/>
              <a:gd name="connsiteY61426" fmla="*/ 1160660 h 5973007"/>
              <a:gd name="connsiteX61427" fmla="*/ 1708581 w 6884782"/>
              <a:gd name="connsiteY61427" fmla="*/ 1160970 h 5973007"/>
              <a:gd name="connsiteX61428" fmla="*/ 1705793 w 6884782"/>
              <a:gd name="connsiteY61428" fmla="*/ 1164068 h 5973007"/>
              <a:gd name="connsiteX61429" fmla="*/ 1702902 w 6884782"/>
              <a:gd name="connsiteY61429" fmla="*/ 1160505 h 5973007"/>
              <a:gd name="connsiteX61430" fmla="*/ 1704451 w 6884782"/>
              <a:gd name="connsiteY61430" fmla="*/ 1157253 h 5973007"/>
              <a:gd name="connsiteX61431" fmla="*/ 1707755 w 6884782"/>
              <a:gd name="connsiteY61431" fmla="*/ 1156013 h 5973007"/>
              <a:gd name="connsiteX61432" fmla="*/ 1510123 w 6884782"/>
              <a:gd name="connsiteY61432" fmla="*/ 1154310 h 5973007"/>
              <a:gd name="connsiteX61433" fmla="*/ 1513736 w 6884782"/>
              <a:gd name="connsiteY61433" fmla="*/ 1154310 h 5973007"/>
              <a:gd name="connsiteX61434" fmla="*/ 1515492 w 6884782"/>
              <a:gd name="connsiteY61434" fmla="*/ 1156478 h 5973007"/>
              <a:gd name="connsiteX61435" fmla="*/ 1514666 w 6884782"/>
              <a:gd name="connsiteY61435" fmla="*/ 1156633 h 5973007"/>
              <a:gd name="connsiteX61436" fmla="*/ 1511671 w 6884782"/>
              <a:gd name="connsiteY61436" fmla="*/ 1158337 h 5973007"/>
              <a:gd name="connsiteX61437" fmla="*/ 1510123 w 6884782"/>
              <a:gd name="connsiteY61437" fmla="*/ 1154310 h 5973007"/>
              <a:gd name="connsiteX61438" fmla="*/ 4661087 w 6884782"/>
              <a:gd name="connsiteY61438" fmla="*/ 1154227 h 5973007"/>
              <a:gd name="connsiteX61439" fmla="*/ 4663862 w 6884782"/>
              <a:gd name="connsiteY61439" fmla="*/ 1159634 h 5973007"/>
              <a:gd name="connsiteX61440" fmla="*/ 4661300 w 6884782"/>
              <a:gd name="connsiteY61440" fmla="*/ 1181401 h 5973007"/>
              <a:gd name="connsiteX61441" fmla="*/ 4667276 w 6884782"/>
              <a:gd name="connsiteY61441" fmla="*/ 1194347 h 5973007"/>
              <a:gd name="connsiteX61442" fmla="*/ 4636117 w 6884782"/>
              <a:gd name="connsiteY61442" fmla="*/ 1181685 h 5973007"/>
              <a:gd name="connsiteX61443" fmla="*/ 4629928 w 6884782"/>
              <a:gd name="connsiteY61443" fmla="*/ 1173434 h 5973007"/>
              <a:gd name="connsiteX61444" fmla="*/ 4652337 w 6884782"/>
              <a:gd name="connsiteY61444" fmla="*/ 1175995 h 5973007"/>
              <a:gd name="connsiteX61445" fmla="*/ 4661087 w 6884782"/>
              <a:gd name="connsiteY61445" fmla="*/ 1154227 h 5973007"/>
              <a:gd name="connsiteX61446" fmla="*/ 1107113 w 6884782"/>
              <a:gd name="connsiteY61446" fmla="*/ 1154000 h 5973007"/>
              <a:gd name="connsiteX61447" fmla="*/ 1121569 w 6884782"/>
              <a:gd name="connsiteY61447" fmla="*/ 1157872 h 5973007"/>
              <a:gd name="connsiteX61448" fmla="*/ 1119401 w 6884782"/>
              <a:gd name="connsiteY61448" fmla="*/ 1165772 h 5973007"/>
              <a:gd name="connsiteX61449" fmla="*/ 1103190 w 6884782"/>
              <a:gd name="connsiteY61449" fmla="*/ 1155859 h 5973007"/>
              <a:gd name="connsiteX61450" fmla="*/ 1107113 w 6884782"/>
              <a:gd name="connsiteY61450" fmla="*/ 1154000 h 5973007"/>
              <a:gd name="connsiteX61451" fmla="*/ 1273253 w 6884782"/>
              <a:gd name="connsiteY61451" fmla="*/ 1153806 h 5973007"/>
              <a:gd name="connsiteX61452" fmla="*/ 1282030 w 6884782"/>
              <a:gd name="connsiteY61452" fmla="*/ 1159111 h 5973007"/>
              <a:gd name="connsiteX61453" fmla="*/ 1281203 w 6884782"/>
              <a:gd name="connsiteY61453" fmla="*/ 1161745 h 5973007"/>
              <a:gd name="connsiteX61454" fmla="*/ 1281410 w 6884782"/>
              <a:gd name="connsiteY61454" fmla="*/ 1162209 h 5973007"/>
              <a:gd name="connsiteX61455" fmla="*/ 1276247 w 6884782"/>
              <a:gd name="connsiteY61455" fmla="*/ 1168560 h 5973007"/>
              <a:gd name="connsiteX61456" fmla="*/ 1271704 w 6884782"/>
              <a:gd name="connsiteY61456" fmla="*/ 1164843 h 5973007"/>
              <a:gd name="connsiteX61457" fmla="*/ 1272117 w 6884782"/>
              <a:gd name="connsiteY61457" fmla="*/ 1164223 h 5973007"/>
              <a:gd name="connsiteX61458" fmla="*/ 1271084 w 6884782"/>
              <a:gd name="connsiteY61458" fmla="*/ 1163758 h 5973007"/>
              <a:gd name="connsiteX61459" fmla="*/ 1266644 w 6884782"/>
              <a:gd name="connsiteY61459" fmla="*/ 1158956 h 5973007"/>
              <a:gd name="connsiteX61460" fmla="*/ 1273253 w 6884782"/>
              <a:gd name="connsiteY61460" fmla="*/ 1153806 h 5973007"/>
              <a:gd name="connsiteX61461" fmla="*/ 4890086 w 6884782"/>
              <a:gd name="connsiteY61461" fmla="*/ 1153801 h 5973007"/>
              <a:gd name="connsiteX61462" fmla="*/ 4891794 w 6884782"/>
              <a:gd name="connsiteY61462" fmla="*/ 1156931 h 5973007"/>
              <a:gd name="connsiteX61463" fmla="*/ 4890727 w 6884782"/>
              <a:gd name="connsiteY61463" fmla="*/ 1161483 h 5973007"/>
              <a:gd name="connsiteX61464" fmla="*/ 4891154 w 6884782"/>
              <a:gd name="connsiteY61464" fmla="*/ 1162621 h 5973007"/>
              <a:gd name="connsiteX61465" fmla="*/ 4889660 w 6884782"/>
              <a:gd name="connsiteY61465" fmla="*/ 1166036 h 5973007"/>
              <a:gd name="connsiteX61466" fmla="*/ 4888379 w 6884782"/>
              <a:gd name="connsiteY61466" fmla="*/ 1166890 h 5973007"/>
              <a:gd name="connsiteX61467" fmla="*/ 4885391 w 6884782"/>
              <a:gd name="connsiteY61467" fmla="*/ 1170731 h 5973007"/>
              <a:gd name="connsiteX61468" fmla="*/ 4884324 w 6884782"/>
              <a:gd name="connsiteY61468" fmla="*/ 1168881 h 5973007"/>
              <a:gd name="connsiteX61469" fmla="*/ 4880056 w 6884782"/>
              <a:gd name="connsiteY61469" fmla="*/ 1168312 h 5973007"/>
              <a:gd name="connsiteX61470" fmla="*/ 4874080 w 6884782"/>
              <a:gd name="connsiteY61470" fmla="*/ 1170446 h 5973007"/>
              <a:gd name="connsiteX61471" fmla="*/ 4881550 w 6884782"/>
              <a:gd name="connsiteY61471" fmla="*/ 1166036 h 5973007"/>
              <a:gd name="connsiteX61472" fmla="*/ 4882190 w 6884782"/>
              <a:gd name="connsiteY61472" fmla="*/ 1164329 h 5973007"/>
              <a:gd name="connsiteX61473" fmla="*/ 4881977 w 6884782"/>
              <a:gd name="connsiteY61473" fmla="*/ 1164044 h 5973007"/>
              <a:gd name="connsiteX61474" fmla="*/ 4882403 w 6884782"/>
              <a:gd name="connsiteY61474" fmla="*/ 1163617 h 5973007"/>
              <a:gd name="connsiteX61475" fmla="*/ 4883044 w 6884782"/>
              <a:gd name="connsiteY61475" fmla="*/ 1162479 h 5973007"/>
              <a:gd name="connsiteX61476" fmla="*/ 4883471 w 6884782"/>
              <a:gd name="connsiteY61476" fmla="*/ 1162195 h 5973007"/>
              <a:gd name="connsiteX61477" fmla="*/ 4884965 w 6884782"/>
              <a:gd name="connsiteY61477" fmla="*/ 1159349 h 5973007"/>
              <a:gd name="connsiteX61478" fmla="*/ 4887099 w 6884782"/>
              <a:gd name="connsiteY61478" fmla="*/ 1154085 h 5973007"/>
              <a:gd name="connsiteX61479" fmla="*/ 4890086 w 6884782"/>
              <a:gd name="connsiteY61479" fmla="*/ 1153801 h 5973007"/>
              <a:gd name="connsiteX61480" fmla="*/ 4172356 w 6884782"/>
              <a:gd name="connsiteY61480" fmla="*/ 1153801 h 5973007"/>
              <a:gd name="connsiteX61481" fmla="*/ 4178759 w 6884782"/>
              <a:gd name="connsiteY61481" fmla="*/ 1157215 h 5973007"/>
              <a:gd name="connsiteX61482" fmla="*/ 4169155 w 6884782"/>
              <a:gd name="connsiteY61482" fmla="*/ 1175141 h 5973007"/>
              <a:gd name="connsiteX61483" fmla="*/ 4159551 w 6884782"/>
              <a:gd name="connsiteY61483" fmla="*/ 1169592 h 5973007"/>
              <a:gd name="connsiteX61484" fmla="*/ 4172356 w 6884782"/>
              <a:gd name="connsiteY61484" fmla="*/ 1153801 h 5973007"/>
              <a:gd name="connsiteX61485" fmla="*/ 3994150 w 6884782"/>
              <a:gd name="connsiteY61485" fmla="*/ 1153374 h 5973007"/>
              <a:gd name="connsiteX61486" fmla="*/ 3996712 w 6884782"/>
              <a:gd name="connsiteY61486" fmla="*/ 1153516 h 5973007"/>
              <a:gd name="connsiteX61487" fmla="*/ 3997992 w 6884782"/>
              <a:gd name="connsiteY61487" fmla="*/ 1159491 h 5973007"/>
              <a:gd name="connsiteX61488" fmla="*/ 3999059 w 6884782"/>
              <a:gd name="connsiteY61488" fmla="*/ 1160061 h 5973007"/>
              <a:gd name="connsiteX61489" fmla="*/ 4002047 w 6884782"/>
              <a:gd name="connsiteY61489" fmla="*/ 1159207 h 5973007"/>
              <a:gd name="connsiteX61490" fmla="*/ 4012504 w 6884782"/>
              <a:gd name="connsiteY61490" fmla="*/ 1165040 h 5973007"/>
              <a:gd name="connsiteX61491" fmla="*/ 4010371 w 6884782"/>
              <a:gd name="connsiteY61491" fmla="*/ 1178413 h 5973007"/>
              <a:gd name="connsiteX61492" fmla="*/ 4004608 w 6884782"/>
              <a:gd name="connsiteY61492" fmla="*/ 1181970 h 5973007"/>
              <a:gd name="connsiteX61493" fmla="*/ 3992657 w 6884782"/>
              <a:gd name="connsiteY61493" fmla="*/ 1173861 h 5973007"/>
              <a:gd name="connsiteX61494" fmla="*/ 3995858 w 6884782"/>
              <a:gd name="connsiteY61494" fmla="*/ 1161056 h 5973007"/>
              <a:gd name="connsiteX61495" fmla="*/ 3994364 w 6884782"/>
              <a:gd name="connsiteY61495" fmla="*/ 1158780 h 5973007"/>
              <a:gd name="connsiteX61496" fmla="*/ 3994150 w 6884782"/>
              <a:gd name="connsiteY61496" fmla="*/ 1153374 h 5973007"/>
              <a:gd name="connsiteX61497" fmla="*/ 1591282 w 6884782"/>
              <a:gd name="connsiteY61497" fmla="*/ 1153225 h 5973007"/>
              <a:gd name="connsiteX61498" fmla="*/ 1591488 w 6884782"/>
              <a:gd name="connsiteY61498" fmla="*/ 1158956 h 5973007"/>
              <a:gd name="connsiteX61499" fmla="*/ 1591488 w 6884782"/>
              <a:gd name="connsiteY61499" fmla="*/ 1161590 h 5973007"/>
              <a:gd name="connsiteX61500" fmla="*/ 1592004 w 6884782"/>
              <a:gd name="connsiteY61500" fmla="*/ 1159111 h 5973007"/>
              <a:gd name="connsiteX61501" fmla="*/ 1594070 w 6884782"/>
              <a:gd name="connsiteY61501" fmla="*/ 1158647 h 5973007"/>
              <a:gd name="connsiteX61502" fmla="*/ 1598303 w 6884782"/>
              <a:gd name="connsiteY61502" fmla="*/ 1161590 h 5973007"/>
              <a:gd name="connsiteX61503" fmla="*/ 1603982 w 6884782"/>
              <a:gd name="connsiteY61503" fmla="*/ 1158801 h 5973007"/>
              <a:gd name="connsiteX61504" fmla="*/ 1604499 w 6884782"/>
              <a:gd name="connsiteY61504" fmla="*/ 1158492 h 5973007"/>
              <a:gd name="connsiteX61505" fmla="*/ 1606770 w 6884782"/>
              <a:gd name="connsiteY61505" fmla="*/ 1157253 h 5973007"/>
              <a:gd name="connsiteX61506" fmla="*/ 1606977 w 6884782"/>
              <a:gd name="connsiteY61506" fmla="*/ 1157253 h 5973007"/>
              <a:gd name="connsiteX61507" fmla="*/ 1607596 w 6884782"/>
              <a:gd name="connsiteY61507" fmla="*/ 1156788 h 5973007"/>
              <a:gd name="connsiteX61508" fmla="*/ 1612966 w 6884782"/>
              <a:gd name="connsiteY61508" fmla="*/ 1156788 h 5973007"/>
              <a:gd name="connsiteX61509" fmla="*/ 1616064 w 6884782"/>
              <a:gd name="connsiteY61509" fmla="*/ 1164843 h 5973007"/>
              <a:gd name="connsiteX61510" fmla="*/ 1615237 w 6884782"/>
              <a:gd name="connsiteY61510" fmla="*/ 1167166 h 5973007"/>
              <a:gd name="connsiteX61511" fmla="*/ 1617096 w 6884782"/>
              <a:gd name="connsiteY61511" fmla="*/ 1166701 h 5973007"/>
              <a:gd name="connsiteX61512" fmla="*/ 1618541 w 6884782"/>
              <a:gd name="connsiteY61512" fmla="*/ 1183430 h 5973007"/>
              <a:gd name="connsiteX61513" fmla="*/ 1617819 w 6884782"/>
              <a:gd name="connsiteY61513" fmla="*/ 1185134 h 5973007"/>
              <a:gd name="connsiteX61514" fmla="*/ 1615650 w 6884782"/>
              <a:gd name="connsiteY61514" fmla="*/ 1185289 h 5973007"/>
              <a:gd name="connsiteX61515" fmla="*/ 1612140 w 6884782"/>
              <a:gd name="connsiteY61515" fmla="*/ 1174446 h 5973007"/>
              <a:gd name="connsiteX61516" fmla="*/ 1613172 w 6884782"/>
              <a:gd name="connsiteY61516" fmla="*/ 1172432 h 5973007"/>
              <a:gd name="connsiteX61517" fmla="*/ 1613585 w 6884782"/>
              <a:gd name="connsiteY61517" fmla="*/ 1171348 h 5973007"/>
              <a:gd name="connsiteX61518" fmla="*/ 1611520 w 6884782"/>
              <a:gd name="connsiteY61518" fmla="*/ 1173517 h 5973007"/>
              <a:gd name="connsiteX61519" fmla="*/ 1603776 w 6884782"/>
              <a:gd name="connsiteY61519" fmla="*/ 1174291 h 5973007"/>
              <a:gd name="connsiteX61520" fmla="*/ 1603363 w 6884782"/>
              <a:gd name="connsiteY61520" fmla="*/ 1173517 h 5973007"/>
              <a:gd name="connsiteX61521" fmla="*/ 1599439 w 6884782"/>
              <a:gd name="connsiteY61521" fmla="*/ 1176924 h 5973007"/>
              <a:gd name="connsiteX61522" fmla="*/ 1592418 w 6884782"/>
              <a:gd name="connsiteY61522" fmla="*/ 1166082 h 5973007"/>
              <a:gd name="connsiteX61523" fmla="*/ 1592108 w 6884782"/>
              <a:gd name="connsiteY61523" fmla="*/ 1164223 h 5973007"/>
              <a:gd name="connsiteX61524" fmla="*/ 1591488 w 6884782"/>
              <a:gd name="connsiteY61524" fmla="*/ 1164533 h 5973007"/>
              <a:gd name="connsiteX61525" fmla="*/ 1591488 w 6884782"/>
              <a:gd name="connsiteY61525" fmla="*/ 1166392 h 5973007"/>
              <a:gd name="connsiteX61526" fmla="*/ 1586119 w 6884782"/>
              <a:gd name="connsiteY61526" fmla="*/ 1175995 h 5973007"/>
              <a:gd name="connsiteX61527" fmla="*/ 1584880 w 6884782"/>
              <a:gd name="connsiteY61527" fmla="*/ 1162984 h 5973007"/>
              <a:gd name="connsiteX61528" fmla="*/ 1591282 w 6884782"/>
              <a:gd name="connsiteY61528" fmla="*/ 1153225 h 5973007"/>
              <a:gd name="connsiteX61529" fmla="*/ 1192403 w 6884782"/>
              <a:gd name="connsiteY61529" fmla="*/ 1152761 h 5973007"/>
              <a:gd name="connsiteX61530" fmla="*/ 1198186 w 6884782"/>
              <a:gd name="connsiteY61530" fmla="*/ 1160196 h 5973007"/>
              <a:gd name="connsiteX61531" fmla="*/ 1187343 w 6884782"/>
              <a:gd name="connsiteY61531" fmla="*/ 1154465 h 5973007"/>
              <a:gd name="connsiteX61532" fmla="*/ 1192403 w 6884782"/>
              <a:gd name="connsiteY61532" fmla="*/ 1152761 h 5973007"/>
              <a:gd name="connsiteX61533" fmla="*/ 1401600 w 6884782"/>
              <a:gd name="connsiteY61533" fmla="*/ 1151986 h 5973007"/>
              <a:gd name="connsiteX61534" fmla="*/ 1406453 w 6884782"/>
              <a:gd name="connsiteY61534" fmla="*/ 1159421 h 5973007"/>
              <a:gd name="connsiteX61535" fmla="*/ 1394889 w 6884782"/>
              <a:gd name="connsiteY61535" fmla="*/ 1160505 h 5973007"/>
              <a:gd name="connsiteX61536" fmla="*/ 1395198 w 6884782"/>
              <a:gd name="connsiteY61536" fmla="*/ 1156323 h 5973007"/>
              <a:gd name="connsiteX61537" fmla="*/ 1401600 w 6884782"/>
              <a:gd name="connsiteY61537" fmla="*/ 1151986 h 5973007"/>
              <a:gd name="connsiteX61538" fmla="*/ 4414801 w 6884782"/>
              <a:gd name="connsiteY61538" fmla="*/ 1151667 h 5973007"/>
              <a:gd name="connsiteX61539" fmla="*/ 4400715 w 6884782"/>
              <a:gd name="connsiteY61539" fmla="*/ 1168881 h 5973007"/>
              <a:gd name="connsiteX61540" fmla="*/ 4414801 w 6884782"/>
              <a:gd name="connsiteY61540" fmla="*/ 1151667 h 5973007"/>
              <a:gd name="connsiteX61541" fmla="*/ 4525139 w 6884782"/>
              <a:gd name="connsiteY61541" fmla="*/ 1151524 h 5973007"/>
              <a:gd name="connsiteX61542" fmla="*/ 4529407 w 6884782"/>
              <a:gd name="connsiteY61542" fmla="*/ 1153943 h 5973007"/>
              <a:gd name="connsiteX61543" fmla="*/ 4531755 w 6884782"/>
              <a:gd name="connsiteY61543" fmla="*/ 1158211 h 5973007"/>
              <a:gd name="connsiteX61544" fmla="*/ 4533249 w 6884782"/>
              <a:gd name="connsiteY61544" fmla="*/ 1162479 h 5973007"/>
              <a:gd name="connsiteX61545" fmla="*/ 4522578 w 6884782"/>
              <a:gd name="connsiteY61545" fmla="*/ 1162195 h 5973007"/>
              <a:gd name="connsiteX61546" fmla="*/ 4521724 w 6884782"/>
              <a:gd name="connsiteY61546" fmla="*/ 1159776 h 5973007"/>
              <a:gd name="connsiteX61547" fmla="*/ 4521084 w 6884782"/>
              <a:gd name="connsiteY61547" fmla="*/ 1153659 h 5973007"/>
              <a:gd name="connsiteX61548" fmla="*/ 4525139 w 6884782"/>
              <a:gd name="connsiteY61548" fmla="*/ 1151524 h 5973007"/>
              <a:gd name="connsiteX61549" fmla="*/ 3680637 w 6884782"/>
              <a:gd name="connsiteY61549" fmla="*/ 1151382 h 5973007"/>
              <a:gd name="connsiteX61550" fmla="*/ 3701338 w 6884782"/>
              <a:gd name="connsiteY61550" fmla="*/ 1170589 h 5973007"/>
              <a:gd name="connsiteX61551" fmla="*/ 3664844 w 6884782"/>
              <a:gd name="connsiteY61551" fmla="*/ 1177275 h 5973007"/>
              <a:gd name="connsiteX61552" fmla="*/ 3660789 w 6884782"/>
              <a:gd name="connsiteY61552" fmla="*/ 1167174 h 5973007"/>
              <a:gd name="connsiteX61553" fmla="*/ 3662923 w 6884782"/>
              <a:gd name="connsiteY61553" fmla="*/ 1160630 h 5973007"/>
              <a:gd name="connsiteX61554" fmla="*/ 3662497 w 6884782"/>
              <a:gd name="connsiteY61554" fmla="*/ 1159776 h 5973007"/>
              <a:gd name="connsiteX61555" fmla="*/ 3663350 w 6884782"/>
              <a:gd name="connsiteY61555" fmla="*/ 1159491 h 5973007"/>
              <a:gd name="connsiteX61556" fmla="*/ 3663563 w 6884782"/>
              <a:gd name="connsiteY61556" fmla="*/ 1158780 h 5973007"/>
              <a:gd name="connsiteX61557" fmla="*/ 3680637 w 6884782"/>
              <a:gd name="connsiteY61557" fmla="*/ 1151382 h 5973007"/>
              <a:gd name="connsiteX61558" fmla="*/ 4271596 w 6884782"/>
              <a:gd name="connsiteY61558" fmla="*/ 1150955 h 5973007"/>
              <a:gd name="connsiteX61559" fmla="*/ 4274370 w 6884782"/>
              <a:gd name="connsiteY61559" fmla="*/ 1171727 h 5973007"/>
              <a:gd name="connsiteX61560" fmla="*/ 4263059 w 6884782"/>
              <a:gd name="connsiteY61560" fmla="*/ 1170162 h 5973007"/>
              <a:gd name="connsiteX61561" fmla="*/ 4266901 w 6884782"/>
              <a:gd name="connsiteY61561" fmla="*/ 1151240 h 5973007"/>
              <a:gd name="connsiteX61562" fmla="*/ 4271596 w 6884782"/>
              <a:gd name="connsiteY61562" fmla="*/ 1150955 h 5973007"/>
              <a:gd name="connsiteX61563" fmla="*/ 3911770 w 6884782"/>
              <a:gd name="connsiteY61563" fmla="*/ 1150813 h 5973007"/>
              <a:gd name="connsiteX61564" fmla="*/ 3912411 w 6884782"/>
              <a:gd name="connsiteY61564" fmla="*/ 1151667 h 5973007"/>
              <a:gd name="connsiteX61565" fmla="*/ 3910704 w 6884782"/>
              <a:gd name="connsiteY61565" fmla="*/ 1156219 h 5973007"/>
              <a:gd name="connsiteX61566" fmla="*/ 3911130 w 6884782"/>
              <a:gd name="connsiteY61566" fmla="*/ 1151667 h 5973007"/>
              <a:gd name="connsiteX61567" fmla="*/ 3911770 w 6884782"/>
              <a:gd name="connsiteY61567" fmla="*/ 1150813 h 5973007"/>
              <a:gd name="connsiteX61568" fmla="*/ 911236 w 6884782"/>
              <a:gd name="connsiteY61568" fmla="*/ 1150592 h 5973007"/>
              <a:gd name="connsiteX61569" fmla="*/ 924969 w 6884782"/>
              <a:gd name="connsiteY61569" fmla="*/ 1167011 h 5973007"/>
              <a:gd name="connsiteX61570" fmla="*/ 921046 w 6884782"/>
              <a:gd name="connsiteY61570" fmla="*/ 1168715 h 5973007"/>
              <a:gd name="connsiteX61571" fmla="*/ 910100 w 6884782"/>
              <a:gd name="connsiteY61571" fmla="*/ 1156323 h 5973007"/>
              <a:gd name="connsiteX61572" fmla="*/ 911236 w 6884782"/>
              <a:gd name="connsiteY61572" fmla="*/ 1150592 h 5973007"/>
              <a:gd name="connsiteX61573" fmla="*/ 3738260 w 6884782"/>
              <a:gd name="connsiteY61573" fmla="*/ 1150529 h 5973007"/>
              <a:gd name="connsiteX61574" fmla="*/ 3740821 w 6884782"/>
              <a:gd name="connsiteY61574" fmla="*/ 1154370 h 5973007"/>
              <a:gd name="connsiteX61575" fmla="*/ 3734632 w 6884782"/>
              <a:gd name="connsiteY61575" fmla="*/ 1166036 h 5973007"/>
              <a:gd name="connsiteX61576" fmla="*/ 3732071 w 6884782"/>
              <a:gd name="connsiteY61576" fmla="*/ 1158353 h 5973007"/>
              <a:gd name="connsiteX61577" fmla="*/ 3738260 w 6884782"/>
              <a:gd name="connsiteY61577" fmla="*/ 1150529 h 5973007"/>
              <a:gd name="connsiteX61578" fmla="*/ 1555762 w 6884782"/>
              <a:gd name="connsiteY61578" fmla="*/ 1149508 h 5973007"/>
              <a:gd name="connsiteX61579" fmla="*/ 1551528 w 6884782"/>
              <a:gd name="connsiteY61579" fmla="*/ 1155859 h 5973007"/>
              <a:gd name="connsiteX61580" fmla="*/ 1554213 w 6884782"/>
              <a:gd name="connsiteY61580" fmla="*/ 1149818 h 5973007"/>
              <a:gd name="connsiteX61581" fmla="*/ 1555762 w 6884782"/>
              <a:gd name="connsiteY61581" fmla="*/ 1149508 h 5973007"/>
              <a:gd name="connsiteX61582" fmla="*/ 3767285 w 6884782"/>
              <a:gd name="connsiteY61582" fmla="*/ 1149248 h 5973007"/>
              <a:gd name="connsiteX61583" fmla="*/ 3774755 w 6884782"/>
              <a:gd name="connsiteY61583" fmla="*/ 1152663 h 5973007"/>
              <a:gd name="connsiteX61584" fmla="*/ 3778170 w 6884782"/>
              <a:gd name="connsiteY61584" fmla="*/ 1174145 h 5973007"/>
              <a:gd name="connsiteX61585" fmla="*/ 3775822 w 6884782"/>
              <a:gd name="connsiteY61585" fmla="*/ 1176421 h 5973007"/>
              <a:gd name="connsiteX61586" fmla="*/ 3773688 w 6884782"/>
              <a:gd name="connsiteY61586" fmla="*/ 1181116 h 5973007"/>
              <a:gd name="connsiteX61587" fmla="*/ 3759388 w 6884782"/>
              <a:gd name="connsiteY61587" fmla="*/ 1174572 h 5973007"/>
              <a:gd name="connsiteX61588" fmla="*/ 3755120 w 6884782"/>
              <a:gd name="connsiteY61588" fmla="*/ 1154085 h 5973007"/>
              <a:gd name="connsiteX61589" fmla="*/ 3767285 w 6884782"/>
              <a:gd name="connsiteY61589" fmla="*/ 1149248 h 5973007"/>
              <a:gd name="connsiteX61590" fmla="*/ 1703418 w 6884782"/>
              <a:gd name="connsiteY61590" fmla="*/ 1148733 h 5973007"/>
              <a:gd name="connsiteX61591" fmla="*/ 1696190 w 6884782"/>
              <a:gd name="connsiteY61591" fmla="*/ 1160815 h 5973007"/>
              <a:gd name="connsiteX61592" fmla="*/ 1693815 w 6884782"/>
              <a:gd name="connsiteY61592" fmla="*/ 1161745 h 5973007"/>
              <a:gd name="connsiteX61593" fmla="*/ 1690511 w 6884782"/>
              <a:gd name="connsiteY61593" fmla="*/ 1159576 h 5973007"/>
              <a:gd name="connsiteX61594" fmla="*/ 1694022 w 6884782"/>
              <a:gd name="connsiteY61594" fmla="*/ 1158647 h 5973007"/>
              <a:gd name="connsiteX61595" fmla="*/ 1696500 w 6884782"/>
              <a:gd name="connsiteY61595" fmla="*/ 1159421 h 5973007"/>
              <a:gd name="connsiteX61596" fmla="*/ 1697636 w 6884782"/>
              <a:gd name="connsiteY61596" fmla="*/ 1153690 h 5973007"/>
              <a:gd name="connsiteX61597" fmla="*/ 1699495 w 6884782"/>
              <a:gd name="connsiteY61597" fmla="*/ 1148888 h 5973007"/>
              <a:gd name="connsiteX61598" fmla="*/ 1703418 w 6884782"/>
              <a:gd name="connsiteY61598" fmla="*/ 1148733 h 5973007"/>
              <a:gd name="connsiteX61599" fmla="*/ 4046012 w 6884782"/>
              <a:gd name="connsiteY61599" fmla="*/ 1148679 h 5973007"/>
              <a:gd name="connsiteX61600" fmla="*/ 4048999 w 6884782"/>
              <a:gd name="connsiteY61600" fmla="*/ 1156504 h 5973007"/>
              <a:gd name="connsiteX61601" fmla="*/ 4049213 w 6884782"/>
              <a:gd name="connsiteY61601" fmla="*/ 1165609 h 5973007"/>
              <a:gd name="connsiteX61602" fmla="*/ 4052414 w 6884782"/>
              <a:gd name="connsiteY61602" fmla="*/ 1167601 h 5973007"/>
              <a:gd name="connsiteX61603" fmla="*/ 4053054 w 6884782"/>
              <a:gd name="connsiteY61603" fmla="*/ 1171300 h 5973007"/>
              <a:gd name="connsiteX61604" fmla="*/ 4029365 w 6884782"/>
              <a:gd name="connsiteY61604" fmla="*/ 1175141 h 5973007"/>
              <a:gd name="connsiteX61605" fmla="*/ 4030432 w 6884782"/>
              <a:gd name="connsiteY61605" fmla="*/ 1170446 h 5973007"/>
              <a:gd name="connsiteX61606" fmla="*/ 4036408 w 6884782"/>
              <a:gd name="connsiteY61606" fmla="*/ 1166320 h 5973007"/>
              <a:gd name="connsiteX61607" fmla="*/ 4041743 w 6884782"/>
              <a:gd name="connsiteY61607" fmla="*/ 1164044 h 5973007"/>
              <a:gd name="connsiteX61608" fmla="*/ 4041316 w 6884782"/>
              <a:gd name="connsiteY61608" fmla="*/ 1155508 h 5973007"/>
              <a:gd name="connsiteX61609" fmla="*/ 4046012 w 6884782"/>
              <a:gd name="connsiteY61609" fmla="*/ 1148679 h 5973007"/>
              <a:gd name="connsiteX61610" fmla="*/ 1117749 w 6884782"/>
              <a:gd name="connsiteY61610" fmla="*/ 1148424 h 5973007"/>
              <a:gd name="connsiteX61611" fmla="*/ 1128694 w 6884782"/>
              <a:gd name="connsiteY61611" fmla="*/ 1151986 h 5973007"/>
              <a:gd name="connsiteX61612" fmla="*/ 1121466 w 6884782"/>
              <a:gd name="connsiteY61612" fmla="*/ 1155549 h 5973007"/>
              <a:gd name="connsiteX61613" fmla="*/ 1113722 w 6884782"/>
              <a:gd name="connsiteY61613" fmla="*/ 1150282 h 5973007"/>
              <a:gd name="connsiteX61614" fmla="*/ 1117749 w 6884782"/>
              <a:gd name="connsiteY61614" fmla="*/ 1148424 h 5973007"/>
              <a:gd name="connsiteX61615" fmla="*/ 1264682 w 6884782"/>
              <a:gd name="connsiteY61615" fmla="*/ 1148268 h 5973007"/>
              <a:gd name="connsiteX61616" fmla="*/ 1259829 w 6884782"/>
              <a:gd name="connsiteY61616" fmla="*/ 1155239 h 5973007"/>
              <a:gd name="connsiteX61617" fmla="*/ 1264682 w 6884782"/>
              <a:gd name="connsiteY61617" fmla="*/ 1148268 h 5973007"/>
              <a:gd name="connsiteX61618" fmla="*/ 4831610 w 6884782"/>
              <a:gd name="connsiteY61618" fmla="*/ 1147968 h 5973007"/>
              <a:gd name="connsiteX61619" fmla="*/ 4832677 w 6884782"/>
              <a:gd name="connsiteY61619" fmla="*/ 1150386 h 5973007"/>
              <a:gd name="connsiteX61620" fmla="*/ 4833317 w 6884782"/>
              <a:gd name="connsiteY61620" fmla="*/ 1153374 h 5973007"/>
              <a:gd name="connsiteX61621" fmla="*/ 4833957 w 6884782"/>
              <a:gd name="connsiteY61621" fmla="*/ 1156646 h 5973007"/>
              <a:gd name="connsiteX61622" fmla="*/ 4835238 w 6884782"/>
              <a:gd name="connsiteY61622" fmla="*/ 1158922 h 5973007"/>
              <a:gd name="connsiteX61623" fmla="*/ 4834384 w 6884782"/>
              <a:gd name="connsiteY61623" fmla="*/ 1164044 h 5973007"/>
              <a:gd name="connsiteX61624" fmla="*/ 4833103 w 6884782"/>
              <a:gd name="connsiteY61624" fmla="*/ 1161910 h 5973007"/>
              <a:gd name="connsiteX61625" fmla="*/ 4832677 w 6884782"/>
              <a:gd name="connsiteY61625" fmla="*/ 1158638 h 5973007"/>
              <a:gd name="connsiteX61626" fmla="*/ 4830756 w 6884782"/>
              <a:gd name="connsiteY61626" fmla="*/ 1157500 h 5973007"/>
              <a:gd name="connsiteX61627" fmla="*/ 4831610 w 6884782"/>
              <a:gd name="connsiteY61627" fmla="*/ 1147968 h 5973007"/>
              <a:gd name="connsiteX61628" fmla="*/ 3893630 w 6884782"/>
              <a:gd name="connsiteY61628" fmla="*/ 1147257 h 5973007"/>
              <a:gd name="connsiteX61629" fmla="*/ 3899606 w 6884782"/>
              <a:gd name="connsiteY61629" fmla="*/ 1152378 h 5973007"/>
              <a:gd name="connsiteX61630" fmla="*/ 3899392 w 6884782"/>
              <a:gd name="connsiteY61630" fmla="*/ 1156077 h 5973007"/>
              <a:gd name="connsiteX61631" fmla="*/ 3896404 w 6884782"/>
              <a:gd name="connsiteY61631" fmla="*/ 1159207 h 5973007"/>
              <a:gd name="connsiteX61632" fmla="*/ 3893203 w 6884782"/>
              <a:gd name="connsiteY61632" fmla="*/ 1160061 h 5973007"/>
              <a:gd name="connsiteX61633" fmla="*/ 3887654 w 6884782"/>
              <a:gd name="connsiteY61633" fmla="*/ 1156504 h 5973007"/>
              <a:gd name="connsiteX61634" fmla="*/ 3893630 w 6884782"/>
              <a:gd name="connsiteY61634" fmla="*/ 1147257 h 5973007"/>
              <a:gd name="connsiteX61635" fmla="*/ 3441820 w 6884782"/>
              <a:gd name="connsiteY61635" fmla="*/ 1147114 h 5973007"/>
              <a:gd name="connsiteX61636" fmla="*/ 3445662 w 6884782"/>
              <a:gd name="connsiteY61636" fmla="*/ 1147257 h 5973007"/>
              <a:gd name="connsiteX61637" fmla="*/ 3438619 w 6884782"/>
              <a:gd name="connsiteY61637" fmla="*/ 1151382 h 5973007"/>
              <a:gd name="connsiteX61638" fmla="*/ 3438406 w 6884782"/>
              <a:gd name="connsiteY61638" fmla="*/ 1147683 h 5973007"/>
              <a:gd name="connsiteX61639" fmla="*/ 3441820 w 6884782"/>
              <a:gd name="connsiteY61639" fmla="*/ 1147114 h 5973007"/>
              <a:gd name="connsiteX61640" fmla="*/ 4438064 w 6884782"/>
              <a:gd name="connsiteY61640" fmla="*/ 1146545 h 5973007"/>
              <a:gd name="connsiteX61641" fmla="*/ 4450442 w 6884782"/>
              <a:gd name="connsiteY61641" fmla="*/ 1162621 h 5973007"/>
              <a:gd name="connsiteX61642" fmla="*/ 4441478 w 6884782"/>
              <a:gd name="connsiteY61642" fmla="*/ 1169166 h 5973007"/>
              <a:gd name="connsiteX61643" fmla="*/ 4432301 w 6884782"/>
              <a:gd name="connsiteY61643" fmla="*/ 1151098 h 5973007"/>
              <a:gd name="connsiteX61644" fmla="*/ 4438064 w 6884782"/>
              <a:gd name="connsiteY61644" fmla="*/ 1146545 h 5973007"/>
              <a:gd name="connsiteX61645" fmla="*/ 1446517 w 6884782"/>
              <a:gd name="connsiteY61645" fmla="*/ 1145326 h 5973007"/>
              <a:gd name="connsiteX61646" fmla="*/ 1452919 w 6884782"/>
              <a:gd name="connsiteY61646" fmla="*/ 1146410 h 5973007"/>
              <a:gd name="connsiteX61647" fmla="*/ 1455087 w 6884782"/>
              <a:gd name="connsiteY61647" fmla="*/ 1148733 h 5973007"/>
              <a:gd name="connsiteX61648" fmla="*/ 1456532 w 6884782"/>
              <a:gd name="connsiteY61648" fmla="*/ 1147804 h 5973007"/>
              <a:gd name="connsiteX61649" fmla="*/ 1472331 w 6884782"/>
              <a:gd name="connsiteY61649" fmla="*/ 1156168 h 5973007"/>
              <a:gd name="connsiteX61650" fmla="*/ 1478010 w 6884782"/>
              <a:gd name="connsiteY61650" fmla="*/ 1164533 h 5973007"/>
              <a:gd name="connsiteX61651" fmla="*/ 1476977 w 6884782"/>
              <a:gd name="connsiteY61651" fmla="*/ 1167166 h 5973007"/>
              <a:gd name="connsiteX61652" fmla="*/ 1475841 w 6884782"/>
              <a:gd name="connsiteY61652" fmla="*/ 1168096 h 5973007"/>
              <a:gd name="connsiteX61653" fmla="*/ 1475428 w 6884782"/>
              <a:gd name="connsiteY61653" fmla="*/ 1169334 h 5973007"/>
              <a:gd name="connsiteX61654" fmla="*/ 1477494 w 6884782"/>
              <a:gd name="connsiteY61654" fmla="*/ 1178009 h 5973007"/>
              <a:gd name="connsiteX61655" fmla="*/ 1478010 w 6884782"/>
              <a:gd name="connsiteY61655" fmla="*/ 1174601 h 5973007"/>
              <a:gd name="connsiteX61656" fmla="*/ 1477906 w 6884782"/>
              <a:gd name="connsiteY61656" fmla="*/ 1175531 h 5973007"/>
              <a:gd name="connsiteX61657" fmla="*/ 1479662 w 6884782"/>
              <a:gd name="connsiteY61657" fmla="*/ 1175376 h 5973007"/>
              <a:gd name="connsiteX61658" fmla="*/ 1479662 w 6884782"/>
              <a:gd name="connsiteY61658" fmla="*/ 1174601 h 5973007"/>
              <a:gd name="connsiteX61659" fmla="*/ 1481417 w 6884782"/>
              <a:gd name="connsiteY61659" fmla="*/ 1175376 h 5973007"/>
              <a:gd name="connsiteX61660" fmla="*/ 1483792 w 6884782"/>
              <a:gd name="connsiteY61660" fmla="*/ 1181107 h 5973007"/>
              <a:gd name="connsiteX61661" fmla="*/ 1481211 w 6884782"/>
              <a:gd name="connsiteY61661" fmla="*/ 1182191 h 5973007"/>
              <a:gd name="connsiteX61662" fmla="*/ 1480075 w 6884782"/>
              <a:gd name="connsiteY61662" fmla="*/ 1181726 h 5973007"/>
              <a:gd name="connsiteX61663" fmla="*/ 1478630 w 6884782"/>
              <a:gd name="connsiteY61663" fmla="*/ 1182966 h 5973007"/>
              <a:gd name="connsiteX61664" fmla="*/ 1481107 w 6884782"/>
              <a:gd name="connsiteY61664" fmla="*/ 1192879 h 5973007"/>
              <a:gd name="connsiteX61665" fmla="*/ 1457152 w 6884782"/>
              <a:gd name="connsiteY61665" fmla="*/ 1217972 h 5973007"/>
              <a:gd name="connsiteX61666" fmla="*/ 1456120 w 6884782"/>
              <a:gd name="connsiteY61666" fmla="*/ 1217662 h 5973007"/>
              <a:gd name="connsiteX61667" fmla="*/ 1454880 w 6884782"/>
              <a:gd name="connsiteY61667" fmla="*/ 1218746 h 5973007"/>
              <a:gd name="connsiteX61668" fmla="*/ 1448892 w 6884782"/>
              <a:gd name="connsiteY61668" fmla="*/ 1220141 h 5973007"/>
              <a:gd name="connsiteX61669" fmla="*/ 1446826 w 6884782"/>
              <a:gd name="connsiteY61669" fmla="*/ 1216268 h 5973007"/>
              <a:gd name="connsiteX61670" fmla="*/ 1446826 w 6884782"/>
              <a:gd name="connsiteY61670" fmla="*/ 1215184 h 5973007"/>
              <a:gd name="connsiteX61671" fmla="*/ 1445071 w 6884782"/>
              <a:gd name="connsiteY61671" fmla="*/ 1215029 h 5973007"/>
              <a:gd name="connsiteX61672" fmla="*/ 1435262 w 6884782"/>
              <a:gd name="connsiteY61672" fmla="*/ 1215494 h 5973007"/>
              <a:gd name="connsiteX61673" fmla="*/ 1425659 w 6884782"/>
              <a:gd name="connsiteY61673" fmla="*/ 1207594 h 5973007"/>
              <a:gd name="connsiteX61674" fmla="*/ 1419257 w 6884782"/>
              <a:gd name="connsiteY61674" fmla="*/ 1200159 h 5973007"/>
              <a:gd name="connsiteX61675" fmla="*/ 1413165 w 6884782"/>
              <a:gd name="connsiteY61675" fmla="*/ 1200159 h 5973007"/>
              <a:gd name="connsiteX61676" fmla="*/ 1406763 w 6884782"/>
              <a:gd name="connsiteY61676" fmla="*/ 1199385 h 5973007"/>
              <a:gd name="connsiteX61677" fmla="*/ 1412649 w 6884782"/>
              <a:gd name="connsiteY61677" fmla="*/ 1197681 h 5973007"/>
              <a:gd name="connsiteX61678" fmla="*/ 1416469 w 6884782"/>
              <a:gd name="connsiteY61678" fmla="*/ 1198455 h 5973007"/>
              <a:gd name="connsiteX61679" fmla="*/ 1418018 w 6884782"/>
              <a:gd name="connsiteY61679" fmla="*/ 1198765 h 5973007"/>
              <a:gd name="connsiteX61680" fmla="*/ 1417089 w 6884782"/>
              <a:gd name="connsiteY61680" fmla="*/ 1197681 h 5973007"/>
              <a:gd name="connsiteX61681" fmla="*/ 1410067 w 6884782"/>
              <a:gd name="connsiteY61681" fmla="*/ 1174136 h 5973007"/>
              <a:gd name="connsiteX61682" fmla="*/ 1431028 w 6884782"/>
              <a:gd name="connsiteY61682" fmla="*/ 1148424 h 5973007"/>
              <a:gd name="connsiteX61683" fmla="*/ 1442696 w 6884782"/>
              <a:gd name="connsiteY61683" fmla="*/ 1150747 h 5973007"/>
              <a:gd name="connsiteX61684" fmla="*/ 1444865 w 6884782"/>
              <a:gd name="connsiteY61684" fmla="*/ 1150128 h 5973007"/>
              <a:gd name="connsiteX61685" fmla="*/ 3977290 w 6884782"/>
              <a:gd name="connsiteY61685" fmla="*/ 1144695 h 5973007"/>
              <a:gd name="connsiteX61686" fmla="*/ 3975156 w 6884782"/>
              <a:gd name="connsiteY61686" fmla="*/ 1151809 h 5973007"/>
              <a:gd name="connsiteX61687" fmla="*/ 3977290 w 6884782"/>
              <a:gd name="connsiteY61687" fmla="*/ 1144695 h 5973007"/>
              <a:gd name="connsiteX61688" fmla="*/ 3938874 w 6884782"/>
              <a:gd name="connsiteY61688" fmla="*/ 1143984 h 5973007"/>
              <a:gd name="connsiteX61689" fmla="*/ 3937594 w 6884782"/>
              <a:gd name="connsiteY61689" fmla="*/ 1205871 h 5973007"/>
              <a:gd name="connsiteX61690" fmla="*/ 3925216 w 6884782"/>
              <a:gd name="connsiteY61690" fmla="*/ 1203453 h 5973007"/>
              <a:gd name="connsiteX61691" fmla="*/ 3928631 w 6884782"/>
              <a:gd name="connsiteY61691" fmla="*/ 1187661 h 5973007"/>
              <a:gd name="connsiteX61692" fmla="*/ 3928204 w 6884782"/>
              <a:gd name="connsiteY61692" fmla="*/ 1185527 h 5973007"/>
              <a:gd name="connsiteX61693" fmla="*/ 3928844 w 6884782"/>
              <a:gd name="connsiteY61693" fmla="*/ 1182539 h 5973007"/>
              <a:gd name="connsiteX61694" fmla="*/ 3929911 w 6884782"/>
              <a:gd name="connsiteY61694" fmla="*/ 1181970 h 5973007"/>
              <a:gd name="connsiteX61695" fmla="*/ 3932046 w 6884782"/>
              <a:gd name="connsiteY61695" fmla="*/ 1172296 h 5973007"/>
              <a:gd name="connsiteX61696" fmla="*/ 3938874 w 6884782"/>
              <a:gd name="connsiteY61696" fmla="*/ 1143984 h 5973007"/>
              <a:gd name="connsiteX61697" fmla="*/ 4152294 w 6884782"/>
              <a:gd name="connsiteY61697" fmla="*/ 1142562 h 5973007"/>
              <a:gd name="connsiteX61698" fmla="*/ 4155709 w 6884782"/>
              <a:gd name="connsiteY61698" fmla="*/ 1143273 h 5973007"/>
              <a:gd name="connsiteX61699" fmla="*/ 4155069 w 6884782"/>
              <a:gd name="connsiteY61699" fmla="*/ 1151809 h 5973007"/>
              <a:gd name="connsiteX61700" fmla="*/ 4151654 w 6884782"/>
              <a:gd name="connsiteY61700" fmla="*/ 1153659 h 5973007"/>
              <a:gd name="connsiteX61701" fmla="*/ 4146318 w 6884782"/>
              <a:gd name="connsiteY61701" fmla="*/ 1151809 h 5973007"/>
              <a:gd name="connsiteX61702" fmla="*/ 4152294 w 6884782"/>
              <a:gd name="connsiteY61702" fmla="*/ 1142562 h 5973007"/>
              <a:gd name="connsiteX61703" fmla="*/ 1011704 w 6884782"/>
              <a:gd name="connsiteY61703" fmla="*/ 1142383 h 5973007"/>
              <a:gd name="connsiteX61704" fmla="*/ 1031323 w 6884782"/>
              <a:gd name="connsiteY61704" fmla="*/ 1157098 h 5973007"/>
              <a:gd name="connsiteX61705" fmla="*/ 1012531 w 6884782"/>
              <a:gd name="connsiteY61705" fmla="*/ 1147649 h 5973007"/>
              <a:gd name="connsiteX61706" fmla="*/ 1011395 w 6884782"/>
              <a:gd name="connsiteY61706" fmla="*/ 1143932 h 5973007"/>
              <a:gd name="connsiteX61707" fmla="*/ 1011704 w 6884782"/>
              <a:gd name="connsiteY61707" fmla="*/ 1142383 h 5973007"/>
              <a:gd name="connsiteX61708" fmla="*/ 881808 w 6884782"/>
              <a:gd name="connsiteY61708" fmla="*/ 1142383 h 5973007"/>
              <a:gd name="connsiteX61709" fmla="*/ 883357 w 6884782"/>
              <a:gd name="connsiteY61709" fmla="*/ 1149353 h 5973007"/>
              <a:gd name="connsiteX61710" fmla="*/ 878297 w 6884782"/>
              <a:gd name="connsiteY61710" fmla="*/ 1147959 h 5973007"/>
              <a:gd name="connsiteX61711" fmla="*/ 876749 w 6884782"/>
              <a:gd name="connsiteY61711" fmla="*/ 1145326 h 5973007"/>
              <a:gd name="connsiteX61712" fmla="*/ 878401 w 6884782"/>
              <a:gd name="connsiteY61712" fmla="*/ 1142847 h 5973007"/>
              <a:gd name="connsiteX61713" fmla="*/ 881808 w 6884782"/>
              <a:gd name="connsiteY61713" fmla="*/ 1142383 h 5973007"/>
              <a:gd name="connsiteX61714" fmla="*/ 1503617 w 6884782"/>
              <a:gd name="connsiteY61714" fmla="*/ 1141608 h 5973007"/>
              <a:gd name="connsiteX61715" fmla="*/ 1503721 w 6884782"/>
              <a:gd name="connsiteY61715" fmla="*/ 1143467 h 5973007"/>
              <a:gd name="connsiteX61716" fmla="*/ 1503204 w 6884782"/>
              <a:gd name="connsiteY61716" fmla="*/ 1145790 h 5973007"/>
              <a:gd name="connsiteX61717" fmla="*/ 1504134 w 6884782"/>
              <a:gd name="connsiteY61717" fmla="*/ 1147185 h 5973007"/>
              <a:gd name="connsiteX61718" fmla="*/ 1500933 w 6884782"/>
              <a:gd name="connsiteY61718" fmla="*/ 1152761 h 5973007"/>
              <a:gd name="connsiteX61719" fmla="*/ 1500829 w 6884782"/>
              <a:gd name="connsiteY61719" fmla="*/ 1150902 h 5973007"/>
              <a:gd name="connsiteX61720" fmla="*/ 1501242 w 6884782"/>
              <a:gd name="connsiteY61720" fmla="*/ 1148733 h 5973007"/>
              <a:gd name="connsiteX61721" fmla="*/ 1501759 w 6884782"/>
              <a:gd name="connsiteY61721" fmla="*/ 1146565 h 5973007"/>
              <a:gd name="connsiteX61722" fmla="*/ 1501552 w 6884782"/>
              <a:gd name="connsiteY61722" fmla="*/ 1144706 h 5973007"/>
              <a:gd name="connsiteX61723" fmla="*/ 1503617 w 6884782"/>
              <a:gd name="connsiteY61723" fmla="*/ 1141608 h 5973007"/>
              <a:gd name="connsiteX61724" fmla="*/ 4397514 w 6884782"/>
              <a:gd name="connsiteY61724" fmla="*/ 1141566 h 5973007"/>
              <a:gd name="connsiteX61725" fmla="*/ 4399221 w 6884782"/>
              <a:gd name="connsiteY61725" fmla="*/ 1146260 h 5973007"/>
              <a:gd name="connsiteX61726" fmla="*/ 4390044 w 6884782"/>
              <a:gd name="connsiteY61726" fmla="*/ 1151240 h 5973007"/>
              <a:gd name="connsiteX61727" fmla="*/ 4397514 w 6884782"/>
              <a:gd name="connsiteY61727" fmla="*/ 1141566 h 5973007"/>
              <a:gd name="connsiteX61728" fmla="*/ 1433610 w 6884782"/>
              <a:gd name="connsiteY61728" fmla="*/ 1141143 h 5973007"/>
              <a:gd name="connsiteX61729" fmla="*/ 1435365 w 6884782"/>
              <a:gd name="connsiteY61729" fmla="*/ 1141143 h 5973007"/>
              <a:gd name="connsiteX61730" fmla="*/ 1436707 w 6884782"/>
              <a:gd name="connsiteY61730" fmla="*/ 1143157 h 5973007"/>
              <a:gd name="connsiteX61731" fmla="*/ 1434436 w 6884782"/>
              <a:gd name="connsiteY61731" fmla="*/ 1146565 h 5973007"/>
              <a:gd name="connsiteX61732" fmla="*/ 1429583 w 6884782"/>
              <a:gd name="connsiteY61732" fmla="*/ 1147339 h 5973007"/>
              <a:gd name="connsiteX61733" fmla="*/ 1427517 w 6884782"/>
              <a:gd name="connsiteY61733" fmla="*/ 1149043 h 5973007"/>
              <a:gd name="connsiteX61734" fmla="*/ 1426795 w 6884782"/>
              <a:gd name="connsiteY61734" fmla="*/ 1148578 h 5973007"/>
              <a:gd name="connsiteX61735" fmla="*/ 1433610 w 6884782"/>
              <a:gd name="connsiteY61735" fmla="*/ 1141143 h 5973007"/>
              <a:gd name="connsiteX61736" fmla="*/ 1231537 w 6884782"/>
              <a:gd name="connsiteY61736" fmla="*/ 1140369 h 5973007"/>
              <a:gd name="connsiteX61737" fmla="*/ 1239798 w 6884782"/>
              <a:gd name="connsiteY61737" fmla="*/ 1146565 h 5973007"/>
              <a:gd name="connsiteX61738" fmla="*/ 1238559 w 6884782"/>
              <a:gd name="connsiteY61738" fmla="*/ 1147804 h 5973007"/>
              <a:gd name="connsiteX61739" fmla="*/ 1240314 w 6884782"/>
              <a:gd name="connsiteY61739" fmla="*/ 1148424 h 5973007"/>
              <a:gd name="connsiteX61740" fmla="*/ 1242482 w 6884782"/>
              <a:gd name="connsiteY61740" fmla="*/ 1149972 h 5973007"/>
              <a:gd name="connsiteX61741" fmla="*/ 1240521 w 6884782"/>
              <a:gd name="connsiteY61741" fmla="*/ 1155859 h 5973007"/>
              <a:gd name="connsiteX61742" fmla="*/ 1237836 w 6884782"/>
              <a:gd name="connsiteY61742" fmla="*/ 1156943 h 5973007"/>
              <a:gd name="connsiteX61743" fmla="*/ 1232673 w 6884782"/>
              <a:gd name="connsiteY61743" fmla="*/ 1156323 h 5973007"/>
              <a:gd name="connsiteX61744" fmla="*/ 1232673 w 6884782"/>
              <a:gd name="connsiteY61744" fmla="*/ 1157098 h 5973007"/>
              <a:gd name="connsiteX61745" fmla="*/ 1232054 w 6884782"/>
              <a:gd name="connsiteY61745" fmla="*/ 1152141 h 5973007"/>
              <a:gd name="connsiteX61746" fmla="*/ 1232570 w 6884782"/>
              <a:gd name="connsiteY61746" fmla="*/ 1151676 h 5973007"/>
              <a:gd name="connsiteX61747" fmla="*/ 1231847 w 6884782"/>
              <a:gd name="connsiteY61747" fmla="*/ 1151986 h 5973007"/>
              <a:gd name="connsiteX61748" fmla="*/ 1229059 w 6884782"/>
              <a:gd name="connsiteY61748" fmla="*/ 1146565 h 5973007"/>
              <a:gd name="connsiteX61749" fmla="*/ 1231537 w 6884782"/>
              <a:gd name="connsiteY61749" fmla="*/ 1140369 h 5973007"/>
              <a:gd name="connsiteX61750" fmla="*/ 4329860 w 6884782"/>
              <a:gd name="connsiteY61750" fmla="*/ 1140001 h 5973007"/>
              <a:gd name="connsiteX61751" fmla="*/ 4335835 w 6884782"/>
              <a:gd name="connsiteY61751" fmla="*/ 1141993 h 5973007"/>
              <a:gd name="connsiteX61752" fmla="*/ 4334341 w 6884782"/>
              <a:gd name="connsiteY61752" fmla="*/ 1151667 h 5973007"/>
              <a:gd name="connsiteX61753" fmla="*/ 4325805 w 6884782"/>
              <a:gd name="connsiteY61753" fmla="*/ 1149675 h 5973007"/>
              <a:gd name="connsiteX61754" fmla="*/ 4329860 w 6884782"/>
              <a:gd name="connsiteY61754" fmla="*/ 1140001 h 5973007"/>
              <a:gd name="connsiteX61755" fmla="*/ 1031014 w 6884782"/>
              <a:gd name="connsiteY61755" fmla="*/ 1139595 h 5973007"/>
              <a:gd name="connsiteX61756" fmla="*/ 1035970 w 6884782"/>
              <a:gd name="connsiteY61756" fmla="*/ 1140369 h 5973007"/>
              <a:gd name="connsiteX61757" fmla="*/ 1034834 w 6884782"/>
              <a:gd name="connsiteY61757" fmla="*/ 1143467 h 5973007"/>
              <a:gd name="connsiteX61758" fmla="*/ 1031014 w 6884782"/>
              <a:gd name="connsiteY61758" fmla="*/ 1139595 h 5973007"/>
              <a:gd name="connsiteX61759" fmla="*/ 4872159 w 6884782"/>
              <a:gd name="connsiteY61759" fmla="*/ 1139147 h 5973007"/>
              <a:gd name="connsiteX61760" fmla="*/ 4874720 w 6884782"/>
              <a:gd name="connsiteY61760" fmla="*/ 1140569 h 5973007"/>
              <a:gd name="connsiteX61761" fmla="*/ 4876215 w 6884782"/>
              <a:gd name="connsiteY61761" fmla="*/ 1142704 h 5973007"/>
              <a:gd name="connsiteX61762" fmla="*/ 4874080 w 6884782"/>
              <a:gd name="connsiteY61762" fmla="*/ 1146545 h 5973007"/>
              <a:gd name="connsiteX61763" fmla="*/ 4868958 w 6884782"/>
              <a:gd name="connsiteY61763" fmla="*/ 1151382 h 5973007"/>
              <a:gd name="connsiteX61764" fmla="*/ 4867464 w 6884782"/>
              <a:gd name="connsiteY61764" fmla="*/ 1155081 h 5973007"/>
              <a:gd name="connsiteX61765" fmla="*/ 4866397 w 6884782"/>
              <a:gd name="connsiteY61765" fmla="*/ 1155081 h 5973007"/>
              <a:gd name="connsiteX61766" fmla="*/ 4870025 w 6884782"/>
              <a:gd name="connsiteY61766" fmla="*/ 1140428 h 5973007"/>
              <a:gd name="connsiteX61767" fmla="*/ 4872159 w 6884782"/>
              <a:gd name="connsiteY61767" fmla="*/ 1139147 h 5973007"/>
              <a:gd name="connsiteX61768" fmla="*/ 3962991 w 6884782"/>
              <a:gd name="connsiteY61768" fmla="*/ 1138721 h 5973007"/>
              <a:gd name="connsiteX61769" fmla="*/ 3966619 w 6884782"/>
              <a:gd name="connsiteY61769" fmla="*/ 1139289 h 5973007"/>
              <a:gd name="connsiteX61770" fmla="*/ 3967687 w 6884782"/>
              <a:gd name="connsiteY61770" fmla="*/ 1146403 h 5973007"/>
              <a:gd name="connsiteX61771" fmla="*/ 3959150 w 6884782"/>
              <a:gd name="connsiteY61771" fmla="*/ 1143273 h 5973007"/>
              <a:gd name="connsiteX61772" fmla="*/ 3960004 w 6884782"/>
              <a:gd name="connsiteY61772" fmla="*/ 1140854 h 5973007"/>
              <a:gd name="connsiteX61773" fmla="*/ 3962991 w 6884782"/>
              <a:gd name="connsiteY61773" fmla="*/ 1138721 h 5973007"/>
              <a:gd name="connsiteX61774" fmla="*/ 3795670 w 6884782"/>
              <a:gd name="connsiteY61774" fmla="*/ 1138578 h 5973007"/>
              <a:gd name="connsiteX61775" fmla="*/ 3804207 w 6884782"/>
              <a:gd name="connsiteY61775" fmla="*/ 1141993 h 5973007"/>
              <a:gd name="connsiteX61776" fmla="*/ 3795670 w 6884782"/>
              <a:gd name="connsiteY61776" fmla="*/ 1153374 h 5973007"/>
              <a:gd name="connsiteX61777" fmla="*/ 3794176 w 6884782"/>
              <a:gd name="connsiteY61777" fmla="*/ 1151667 h 5973007"/>
              <a:gd name="connsiteX61778" fmla="*/ 3793323 w 6884782"/>
              <a:gd name="connsiteY61778" fmla="*/ 1154085 h 5973007"/>
              <a:gd name="connsiteX61779" fmla="*/ 3790975 w 6884782"/>
              <a:gd name="connsiteY61779" fmla="*/ 1157215 h 5973007"/>
              <a:gd name="connsiteX61780" fmla="*/ 3782865 w 6884782"/>
              <a:gd name="connsiteY61780" fmla="*/ 1154370 h 5973007"/>
              <a:gd name="connsiteX61781" fmla="*/ 3781585 w 6884782"/>
              <a:gd name="connsiteY61781" fmla="*/ 1150813 h 5973007"/>
              <a:gd name="connsiteX61782" fmla="*/ 3782438 w 6884782"/>
              <a:gd name="connsiteY61782" fmla="*/ 1143700 h 5973007"/>
              <a:gd name="connsiteX61783" fmla="*/ 3781371 w 6884782"/>
              <a:gd name="connsiteY61783" fmla="*/ 1143558 h 5973007"/>
              <a:gd name="connsiteX61784" fmla="*/ 3788201 w 6884782"/>
              <a:gd name="connsiteY61784" fmla="*/ 1142704 h 5973007"/>
              <a:gd name="connsiteX61785" fmla="*/ 3788841 w 6884782"/>
              <a:gd name="connsiteY61785" fmla="*/ 1143415 h 5973007"/>
              <a:gd name="connsiteX61786" fmla="*/ 3788414 w 6884782"/>
              <a:gd name="connsiteY61786" fmla="*/ 1142419 h 5973007"/>
              <a:gd name="connsiteX61787" fmla="*/ 3795670 w 6884782"/>
              <a:gd name="connsiteY61787" fmla="*/ 1138578 h 5973007"/>
              <a:gd name="connsiteX61788" fmla="*/ 1534904 w 6884782"/>
              <a:gd name="connsiteY61788" fmla="*/ 1138510 h 5973007"/>
              <a:gd name="connsiteX61789" fmla="*/ 1536969 w 6884782"/>
              <a:gd name="connsiteY61789" fmla="*/ 1140214 h 5973007"/>
              <a:gd name="connsiteX61790" fmla="*/ 1535730 w 6884782"/>
              <a:gd name="connsiteY61790" fmla="*/ 1142847 h 5973007"/>
              <a:gd name="connsiteX61791" fmla="*/ 1536763 w 6884782"/>
              <a:gd name="connsiteY61791" fmla="*/ 1146255 h 5973007"/>
              <a:gd name="connsiteX61792" fmla="*/ 1536453 w 6884782"/>
              <a:gd name="connsiteY61792" fmla="*/ 1147185 h 5973007"/>
              <a:gd name="connsiteX61793" fmla="*/ 1537279 w 6884782"/>
              <a:gd name="connsiteY61793" fmla="*/ 1147030 h 5973007"/>
              <a:gd name="connsiteX61794" fmla="*/ 1529225 w 6884782"/>
              <a:gd name="connsiteY61794" fmla="*/ 1171658 h 5973007"/>
              <a:gd name="connsiteX61795" fmla="*/ 1521791 w 6884782"/>
              <a:gd name="connsiteY61795" fmla="*/ 1163294 h 5973007"/>
              <a:gd name="connsiteX61796" fmla="*/ 1531806 w 6884782"/>
              <a:gd name="connsiteY61796" fmla="*/ 1147339 h 5973007"/>
              <a:gd name="connsiteX61797" fmla="*/ 1535110 w 6884782"/>
              <a:gd name="connsiteY61797" fmla="*/ 1147185 h 5973007"/>
              <a:gd name="connsiteX61798" fmla="*/ 1535110 w 6884782"/>
              <a:gd name="connsiteY61798" fmla="*/ 1146720 h 5973007"/>
              <a:gd name="connsiteX61799" fmla="*/ 1535627 w 6884782"/>
              <a:gd name="connsiteY61799" fmla="*/ 1145790 h 5973007"/>
              <a:gd name="connsiteX61800" fmla="*/ 1533871 w 6884782"/>
              <a:gd name="connsiteY61800" fmla="*/ 1139904 h 5973007"/>
              <a:gd name="connsiteX61801" fmla="*/ 1534904 w 6884782"/>
              <a:gd name="connsiteY61801" fmla="*/ 1138510 h 5973007"/>
              <a:gd name="connsiteX61802" fmla="*/ 1218011 w 6884782"/>
              <a:gd name="connsiteY61802" fmla="*/ 1138510 h 5973007"/>
              <a:gd name="connsiteX61803" fmla="*/ 1225652 w 6884782"/>
              <a:gd name="connsiteY61803" fmla="*/ 1143157 h 5973007"/>
              <a:gd name="connsiteX61804" fmla="*/ 1215532 w 6884782"/>
              <a:gd name="connsiteY61804" fmla="*/ 1142847 h 5973007"/>
              <a:gd name="connsiteX61805" fmla="*/ 1218011 w 6884782"/>
              <a:gd name="connsiteY61805" fmla="*/ 1138510 h 5973007"/>
              <a:gd name="connsiteX61806" fmla="*/ 4358031 w 6884782"/>
              <a:gd name="connsiteY61806" fmla="*/ 1138436 h 5973007"/>
              <a:gd name="connsiteX61807" fmla="*/ 4370409 w 6884782"/>
              <a:gd name="connsiteY61807" fmla="*/ 1160488 h 5973007"/>
              <a:gd name="connsiteX61808" fmla="*/ 4354830 w 6884782"/>
              <a:gd name="connsiteY61808" fmla="*/ 1145407 h 5973007"/>
              <a:gd name="connsiteX61809" fmla="*/ 4358031 w 6884782"/>
              <a:gd name="connsiteY61809" fmla="*/ 1138436 h 5973007"/>
              <a:gd name="connsiteX61810" fmla="*/ 1069322 w 6884782"/>
              <a:gd name="connsiteY61810" fmla="*/ 1137891 h 5973007"/>
              <a:gd name="connsiteX61811" fmla="*/ 1091831 w 6884782"/>
              <a:gd name="connsiteY61811" fmla="*/ 1145790 h 5973007"/>
              <a:gd name="connsiteX61812" fmla="*/ 1069322 w 6884782"/>
              <a:gd name="connsiteY61812" fmla="*/ 1137891 h 5973007"/>
              <a:gd name="connsiteX61813" fmla="*/ 3396362 w 6884782"/>
              <a:gd name="connsiteY61813" fmla="*/ 1137724 h 5973007"/>
              <a:gd name="connsiteX61814" fmla="*/ 3395081 w 6884782"/>
              <a:gd name="connsiteY61814" fmla="*/ 1138294 h 5973007"/>
              <a:gd name="connsiteX61815" fmla="*/ 3395295 w 6884782"/>
              <a:gd name="connsiteY61815" fmla="*/ 1138294 h 5973007"/>
              <a:gd name="connsiteX61816" fmla="*/ 3397002 w 6884782"/>
              <a:gd name="connsiteY61816" fmla="*/ 1143273 h 5973007"/>
              <a:gd name="connsiteX61817" fmla="*/ 3397856 w 6884782"/>
              <a:gd name="connsiteY61817" fmla="*/ 1142277 h 5973007"/>
              <a:gd name="connsiteX61818" fmla="*/ 3399776 w 6884782"/>
              <a:gd name="connsiteY61818" fmla="*/ 1141850 h 5973007"/>
              <a:gd name="connsiteX61819" fmla="*/ 3399350 w 6884782"/>
              <a:gd name="connsiteY61819" fmla="*/ 1139858 h 5973007"/>
              <a:gd name="connsiteX61820" fmla="*/ 3398069 w 6884782"/>
              <a:gd name="connsiteY61820" fmla="*/ 1137724 h 5973007"/>
              <a:gd name="connsiteX61821" fmla="*/ 3397856 w 6884782"/>
              <a:gd name="connsiteY61821" fmla="*/ 1138436 h 5973007"/>
              <a:gd name="connsiteX61822" fmla="*/ 1158329 w 6884782"/>
              <a:gd name="connsiteY61822" fmla="*/ 1137271 h 5973007"/>
              <a:gd name="connsiteX61823" fmla="*/ 1163388 w 6884782"/>
              <a:gd name="connsiteY61823" fmla="*/ 1137735 h 5973007"/>
              <a:gd name="connsiteX61824" fmla="*/ 1166692 w 6884782"/>
              <a:gd name="connsiteY61824" fmla="*/ 1137426 h 5973007"/>
              <a:gd name="connsiteX61825" fmla="*/ 1168757 w 6884782"/>
              <a:gd name="connsiteY61825" fmla="*/ 1139285 h 5973007"/>
              <a:gd name="connsiteX61826" fmla="*/ 1162252 w 6884782"/>
              <a:gd name="connsiteY61826" fmla="*/ 1142692 h 5973007"/>
              <a:gd name="connsiteX61827" fmla="*/ 1156160 w 6884782"/>
              <a:gd name="connsiteY61827" fmla="*/ 1140679 h 5973007"/>
              <a:gd name="connsiteX61828" fmla="*/ 1158329 w 6884782"/>
              <a:gd name="connsiteY61828" fmla="*/ 1137271 h 5973007"/>
              <a:gd name="connsiteX61829" fmla="*/ 3689814 w 6884782"/>
              <a:gd name="connsiteY61829" fmla="*/ 1136302 h 5973007"/>
              <a:gd name="connsiteX61830" fmla="*/ 3693655 w 6884782"/>
              <a:gd name="connsiteY61830" fmla="*/ 1138294 h 5973007"/>
              <a:gd name="connsiteX61831" fmla="*/ 3694082 w 6884782"/>
              <a:gd name="connsiteY61831" fmla="*/ 1142562 h 5973007"/>
              <a:gd name="connsiteX61832" fmla="*/ 3691095 w 6884782"/>
              <a:gd name="connsiteY61832" fmla="*/ 1146118 h 5973007"/>
              <a:gd name="connsiteX61833" fmla="*/ 3683625 w 6884782"/>
              <a:gd name="connsiteY61833" fmla="*/ 1139005 h 5973007"/>
              <a:gd name="connsiteX61834" fmla="*/ 3689814 w 6884782"/>
              <a:gd name="connsiteY61834" fmla="*/ 1136302 h 5973007"/>
              <a:gd name="connsiteX61835" fmla="*/ 1107643 w 6884782"/>
              <a:gd name="connsiteY61835" fmla="*/ 1135877 h 5973007"/>
              <a:gd name="connsiteX61836" fmla="*/ 1121982 w 6884782"/>
              <a:gd name="connsiteY61836" fmla="*/ 1138355 h 5973007"/>
              <a:gd name="connsiteX61837" fmla="*/ 1094620 w 6884782"/>
              <a:gd name="connsiteY61837" fmla="*/ 1145481 h 5973007"/>
              <a:gd name="connsiteX61838" fmla="*/ 1107643 w 6884782"/>
              <a:gd name="connsiteY61838" fmla="*/ 1135877 h 5973007"/>
              <a:gd name="connsiteX61839" fmla="*/ 3643715 w 6884782"/>
              <a:gd name="connsiteY61839" fmla="*/ 1135875 h 5973007"/>
              <a:gd name="connsiteX61840" fmla="*/ 3646917 w 6884782"/>
              <a:gd name="connsiteY61840" fmla="*/ 1151809 h 5973007"/>
              <a:gd name="connsiteX61841" fmla="*/ 3644782 w 6884782"/>
              <a:gd name="connsiteY61841" fmla="*/ 1153659 h 5973007"/>
              <a:gd name="connsiteX61842" fmla="*/ 3645209 w 6884782"/>
              <a:gd name="connsiteY61842" fmla="*/ 1157926 h 5973007"/>
              <a:gd name="connsiteX61843" fmla="*/ 3643929 w 6884782"/>
              <a:gd name="connsiteY61843" fmla="*/ 1163760 h 5973007"/>
              <a:gd name="connsiteX61844" fmla="*/ 3632404 w 6884782"/>
              <a:gd name="connsiteY61844" fmla="*/ 1163333 h 5973007"/>
              <a:gd name="connsiteX61845" fmla="*/ 3627922 w 6884782"/>
              <a:gd name="connsiteY61845" fmla="*/ 1157642 h 5973007"/>
              <a:gd name="connsiteX61846" fmla="*/ 3627709 w 6884782"/>
              <a:gd name="connsiteY61846" fmla="*/ 1155366 h 5973007"/>
              <a:gd name="connsiteX61847" fmla="*/ 3627495 w 6884782"/>
              <a:gd name="connsiteY61847" fmla="*/ 1155366 h 5973007"/>
              <a:gd name="connsiteX61848" fmla="*/ 3615757 w 6884782"/>
              <a:gd name="connsiteY61848" fmla="*/ 1147541 h 5973007"/>
              <a:gd name="connsiteX61849" fmla="*/ 3622587 w 6884782"/>
              <a:gd name="connsiteY61849" fmla="*/ 1139431 h 5973007"/>
              <a:gd name="connsiteX61850" fmla="*/ 3630056 w 6884782"/>
              <a:gd name="connsiteY61850" fmla="*/ 1142988 h 5973007"/>
              <a:gd name="connsiteX61851" fmla="*/ 3633258 w 6884782"/>
              <a:gd name="connsiteY61851" fmla="*/ 1141139 h 5973007"/>
              <a:gd name="connsiteX61852" fmla="*/ 3636672 w 6884782"/>
              <a:gd name="connsiteY61852" fmla="*/ 1136159 h 5973007"/>
              <a:gd name="connsiteX61853" fmla="*/ 3643715 w 6884782"/>
              <a:gd name="connsiteY61853" fmla="*/ 1135875 h 5973007"/>
              <a:gd name="connsiteX61854" fmla="*/ 4255376 w 6884782"/>
              <a:gd name="connsiteY61854" fmla="*/ 1134168 h 5973007"/>
              <a:gd name="connsiteX61855" fmla="*/ 4267968 w 6884782"/>
              <a:gd name="connsiteY61855" fmla="*/ 1141993 h 5973007"/>
              <a:gd name="connsiteX61856" fmla="*/ 4268395 w 6884782"/>
              <a:gd name="connsiteY61856" fmla="*/ 1148252 h 5973007"/>
              <a:gd name="connsiteX61857" fmla="*/ 4257724 w 6884782"/>
              <a:gd name="connsiteY61857" fmla="*/ 1146118 h 5973007"/>
              <a:gd name="connsiteX61858" fmla="*/ 4255376 w 6884782"/>
              <a:gd name="connsiteY61858" fmla="*/ 1134168 h 5973007"/>
              <a:gd name="connsiteX61859" fmla="*/ 1109282 w 6884782"/>
              <a:gd name="connsiteY61859" fmla="*/ 1133709 h 5973007"/>
              <a:gd name="connsiteX61860" fmla="*/ 1106803 w 6884782"/>
              <a:gd name="connsiteY61860" fmla="*/ 1134173 h 5973007"/>
              <a:gd name="connsiteX61861" fmla="*/ 1105978 w 6884782"/>
              <a:gd name="connsiteY61861" fmla="*/ 1135567 h 5973007"/>
              <a:gd name="connsiteX61862" fmla="*/ 1103190 w 6884782"/>
              <a:gd name="connsiteY61862" fmla="*/ 1134793 h 5973007"/>
              <a:gd name="connsiteX61863" fmla="*/ 1109282 w 6884782"/>
              <a:gd name="connsiteY61863" fmla="*/ 1133709 h 5973007"/>
              <a:gd name="connsiteX61864" fmla="*/ 3442674 w 6884782"/>
              <a:gd name="connsiteY61864" fmla="*/ 1132318 h 5973007"/>
              <a:gd name="connsiteX61865" fmla="*/ 3445875 w 6884782"/>
              <a:gd name="connsiteY61865" fmla="*/ 1134310 h 5973007"/>
              <a:gd name="connsiteX61866" fmla="*/ 3446942 w 6884782"/>
              <a:gd name="connsiteY61866" fmla="*/ 1137724 h 5973007"/>
              <a:gd name="connsiteX61867" fmla="*/ 3440753 w 6884782"/>
              <a:gd name="connsiteY61867" fmla="*/ 1141566 h 5973007"/>
              <a:gd name="connsiteX61868" fmla="*/ 3440113 w 6884782"/>
              <a:gd name="connsiteY61868" fmla="*/ 1132603 h 5973007"/>
              <a:gd name="connsiteX61869" fmla="*/ 3442674 w 6884782"/>
              <a:gd name="connsiteY61869" fmla="*/ 1132318 h 5973007"/>
              <a:gd name="connsiteX61870" fmla="*/ 3655667 w 6884782"/>
              <a:gd name="connsiteY61870" fmla="*/ 1132033 h 5973007"/>
              <a:gd name="connsiteX61871" fmla="*/ 3665484 w 6884782"/>
              <a:gd name="connsiteY61871" fmla="*/ 1138009 h 5973007"/>
              <a:gd name="connsiteX61872" fmla="*/ 3655667 w 6884782"/>
              <a:gd name="connsiteY61872" fmla="*/ 1150529 h 5973007"/>
              <a:gd name="connsiteX61873" fmla="*/ 3655667 w 6884782"/>
              <a:gd name="connsiteY61873" fmla="*/ 1132033 h 5973007"/>
              <a:gd name="connsiteX61874" fmla="*/ 1584364 w 6884782"/>
              <a:gd name="connsiteY61874" fmla="*/ 1131385 h 5973007"/>
              <a:gd name="connsiteX61875" fmla="*/ 1593657 w 6884782"/>
              <a:gd name="connsiteY61875" fmla="*/ 1139595 h 5973007"/>
              <a:gd name="connsiteX61876" fmla="*/ 1593554 w 6884782"/>
              <a:gd name="connsiteY61876" fmla="*/ 1142538 h 5973007"/>
              <a:gd name="connsiteX61877" fmla="*/ 1594793 w 6884782"/>
              <a:gd name="connsiteY61877" fmla="*/ 1140369 h 5973007"/>
              <a:gd name="connsiteX61878" fmla="*/ 1598716 w 6884782"/>
              <a:gd name="connsiteY61878" fmla="*/ 1139285 h 5973007"/>
              <a:gd name="connsiteX61879" fmla="*/ 1597994 w 6884782"/>
              <a:gd name="connsiteY61879" fmla="*/ 1139595 h 5973007"/>
              <a:gd name="connsiteX61880" fmla="*/ 1598716 w 6884782"/>
              <a:gd name="connsiteY61880" fmla="*/ 1141143 h 5973007"/>
              <a:gd name="connsiteX61881" fmla="*/ 1599542 w 6884782"/>
              <a:gd name="connsiteY61881" fmla="*/ 1140833 h 5973007"/>
              <a:gd name="connsiteX61882" fmla="*/ 1599542 w 6884782"/>
              <a:gd name="connsiteY61882" fmla="*/ 1142692 h 5973007"/>
              <a:gd name="connsiteX61883" fmla="*/ 1595102 w 6884782"/>
              <a:gd name="connsiteY61883" fmla="*/ 1147339 h 5973007"/>
              <a:gd name="connsiteX61884" fmla="*/ 1593140 w 6884782"/>
              <a:gd name="connsiteY61884" fmla="*/ 1145326 h 5973007"/>
              <a:gd name="connsiteX61885" fmla="*/ 1593140 w 6884782"/>
              <a:gd name="connsiteY61885" fmla="*/ 1144087 h 5973007"/>
              <a:gd name="connsiteX61886" fmla="*/ 1588700 w 6884782"/>
              <a:gd name="connsiteY61886" fmla="*/ 1142073 h 5973007"/>
              <a:gd name="connsiteX61887" fmla="*/ 1584364 w 6884782"/>
              <a:gd name="connsiteY61887" fmla="*/ 1131385 h 5973007"/>
              <a:gd name="connsiteX61888" fmla="*/ 1149345 w 6884782"/>
              <a:gd name="connsiteY61888" fmla="*/ 1131075 h 5973007"/>
              <a:gd name="connsiteX61889" fmla="*/ 1155025 w 6884782"/>
              <a:gd name="connsiteY61889" fmla="*/ 1139130 h 5973007"/>
              <a:gd name="connsiteX61890" fmla="*/ 1152236 w 6884782"/>
              <a:gd name="connsiteY61890" fmla="*/ 1141608 h 5973007"/>
              <a:gd name="connsiteX61891" fmla="*/ 1145008 w 6884782"/>
              <a:gd name="connsiteY61891" fmla="*/ 1134638 h 5973007"/>
              <a:gd name="connsiteX61892" fmla="*/ 1149345 w 6884782"/>
              <a:gd name="connsiteY61892" fmla="*/ 1131075 h 5973007"/>
              <a:gd name="connsiteX61893" fmla="*/ 1246303 w 6884782"/>
              <a:gd name="connsiteY61893" fmla="*/ 1130765 h 5973007"/>
              <a:gd name="connsiteX61894" fmla="*/ 1251775 w 6884782"/>
              <a:gd name="connsiteY61894" fmla="*/ 1138355 h 5973007"/>
              <a:gd name="connsiteX61895" fmla="*/ 1245373 w 6884782"/>
              <a:gd name="connsiteY61895" fmla="*/ 1132779 h 5973007"/>
              <a:gd name="connsiteX61896" fmla="*/ 1246303 w 6884782"/>
              <a:gd name="connsiteY61896" fmla="*/ 1130765 h 5973007"/>
              <a:gd name="connsiteX61897" fmla="*/ 4399648 w 6884782"/>
              <a:gd name="connsiteY61897" fmla="*/ 1130042 h 5973007"/>
              <a:gd name="connsiteX61898" fmla="*/ 4401782 w 6884782"/>
              <a:gd name="connsiteY61898" fmla="*/ 1140428 h 5973007"/>
              <a:gd name="connsiteX61899" fmla="*/ 4399648 w 6884782"/>
              <a:gd name="connsiteY61899" fmla="*/ 1130042 h 5973007"/>
              <a:gd name="connsiteX61900" fmla="*/ 4837799 w 6884782"/>
              <a:gd name="connsiteY61900" fmla="*/ 1129188 h 5973007"/>
              <a:gd name="connsiteX61901" fmla="*/ 4838652 w 6884782"/>
              <a:gd name="connsiteY61901" fmla="*/ 1131607 h 5973007"/>
              <a:gd name="connsiteX61902" fmla="*/ 4838439 w 6884782"/>
              <a:gd name="connsiteY61902" fmla="*/ 1135448 h 5973007"/>
              <a:gd name="connsiteX61903" fmla="*/ 4832250 w 6884782"/>
              <a:gd name="connsiteY61903" fmla="*/ 1136586 h 5973007"/>
              <a:gd name="connsiteX61904" fmla="*/ 4831396 w 6884782"/>
              <a:gd name="connsiteY61904" fmla="*/ 1134026 h 5973007"/>
              <a:gd name="connsiteX61905" fmla="*/ 4832890 w 6884782"/>
              <a:gd name="connsiteY61905" fmla="*/ 1130327 h 5973007"/>
              <a:gd name="connsiteX61906" fmla="*/ 4837799 w 6884782"/>
              <a:gd name="connsiteY61906" fmla="*/ 1129188 h 5973007"/>
              <a:gd name="connsiteX61907" fmla="*/ 1117026 w 6884782"/>
              <a:gd name="connsiteY61907" fmla="*/ 1128132 h 5973007"/>
              <a:gd name="connsiteX61908" fmla="*/ 1118988 w 6884782"/>
              <a:gd name="connsiteY61908" fmla="*/ 1128442 h 5973007"/>
              <a:gd name="connsiteX61909" fmla="*/ 1118368 w 6884782"/>
              <a:gd name="connsiteY61909" fmla="*/ 1130920 h 5973007"/>
              <a:gd name="connsiteX61910" fmla="*/ 1115271 w 6884782"/>
              <a:gd name="connsiteY61910" fmla="*/ 1130920 h 5973007"/>
              <a:gd name="connsiteX61911" fmla="*/ 1112793 w 6884782"/>
              <a:gd name="connsiteY61911" fmla="*/ 1133089 h 5973007"/>
              <a:gd name="connsiteX61912" fmla="*/ 1109695 w 6884782"/>
              <a:gd name="connsiteY61912" fmla="*/ 1133089 h 5973007"/>
              <a:gd name="connsiteX61913" fmla="*/ 1109488 w 6884782"/>
              <a:gd name="connsiteY61913" fmla="*/ 1132005 h 5973007"/>
              <a:gd name="connsiteX61914" fmla="*/ 1110108 w 6884782"/>
              <a:gd name="connsiteY61914" fmla="*/ 1132314 h 5973007"/>
              <a:gd name="connsiteX61915" fmla="*/ 1112483 w 6884782"/>
              <a:gd name="connsiteY61915" fmla="*/ 1132005 h 5973007"/>
              <a:gd name="connsiteX61916" fmla="*/ 1117026 w 6884782"/>
              <a:gd name="connsiteY61916" fmla="*/ 1128132 h 5973007"/>
              <a:gd name="connsiteX61917" fmla="*/ 4026377 w 6884782"/>
              <a:gd name="connsiteY61917" fmla="*/ 1127623 h 5973007"/>
              <a:gd name="connsiteX61918" fmla="*/ 4032993 w 6884782"/>
              <a:gd name="connsiteY61918" fmla="*/ 1127623 h 5973007"/>
              <a:gd name="connsiteX61919" fmla="*/ 4037688 w 6884782"/>
              <a:gd name="connsiteY61919" fmla="*/ 1127908 h 5973007"/>
              <a:gd name="connsiteX61920" fmla="*/ 4040036 w 6884782"/>
              <a:gd name="connsiteY61920" fmla="*/ 1127908 h 5973007"/>
              <a:gd name="connsiteX61921" fmla="*/ 4042597 w 6884782"/>
              <a:gd name="connsiteY61921" fmla="*/ 1130042 h 5973007"/>
              <a:gd name="connsiteX61922" fmla="*/ 4032566 w 6884782"/>
              <a:gd name="connsiteY61922" fmla="*/ 1131892 h 5973007"/>
              <a:gd name="connsiteX61923" fmla="*/ 4026804 w 6884782"/>
              <a:gd name="connsiteY61923" fmla="*/ 1132176 h 5973007"/>
              <a:gd name="connsiteX61924" fmla="*/ 4024243 w 6884782"/>
              <a:gd name="connsiteY61924" fmla="*/ 1130042 h 5973007"/>
              <a:gd name="connsiteX61925" fmla="*/ 4024030 w 6884782"/>
              <a:gd name="connsiteY61925" fmla="*/ 1128762 h 5973007"/>
              <a:gd name="connsiteX61926" fmla="*/ 4026377 w 6884782"/>
              <a:gd name="connsiteY61926" fmla="*/ 1127623 h 5973007"/>
              <a:gd name="connsiteX61927" fmla="*/ 1289361 w 6884782"/>
              <a:gd name="connsiteY61927" fmla="*/ 1126893 h 5973007"/>
              <a:gd name="connsiteX61928" fmla="*/ 1295866 w 6884782"/>
              <a:gd name="connsiteY61928" fmla="*/ 1148268 h 5973007"/>
              <a:gd name="connsiteX61929" fmla="*/ 1286469 w 6884782"/>
              <a:gd name="connsiteY61929" fmla="*/ 1131540 h 5973007"/>
              <a:gd name="connsiteX61930" fmla="*/ 1289361 w 6884782"/>
              <a:gd name="connsiteY61930" fmla="*/ 1126893 h 5973007"/>
              <a:gd name="connsiteX61931" fmla="*/ 4568890 w 6884782"/>
              <a:gd name="connsiteY61931" fmla="*/ 1126485 h 5973007"/>
              <a:gd name="connsiteX61932" fmla="*/ 4548188 w 6884782"/>
              <a:gd name="connsiteY61932" fmla="*/ 1155366 h 5973007"/>
              <a:gd name="connsiteX61933" fmla="*/ 4568890 w 6884782"/>
              <a:gd name="connsiteY61933" fmla="*/ 1126485 h 5973007"/>
              <a:gd name="connsiteX61934" fmla="*/ 1552871 w 6884782"/>
              <a:gd name="connsiteY61934" fmla="*/ 1125809 h 5973007"/>
              <a:gd name="connsiteX61935" fmla="*/ 1562576 w 6884782"/>
              <a:gd name="connsiteY61935" fmla="*/ 1126428 h 5973007"/>
              <a:gd name="connsiteX61936" fmla="*/ 1563609 w 6884782"/>
              <a:gd name="connsiteY61936" fmla="*/ 1134638 h 5973007"/>
              <a:gd name="connsiteX61937" fmla="*/ 1549153 w 6884782"/>
              <a:gd name="connsiteY61937" fmla="*/ 1136187 h 5973007"/>
              <a:gd name="connsiteX61938" fmla="*/ 1548121 w 6884782"/>
              <a:gd name="connsiteY61938" fmla="*/ 1134793 h 5973007"/>
              <a:gd name="connsiteX61939" fmla="*/ 1546778 w 6884782"/>
              <a:gd name="connsiteY61939" fmla="*/ 1141299 h 5973007"/>
              <a:gd name="connsiteX61940" fmla="*/ 1544197 w 6884782"/>
              <a:gd name="connsiteY61940" fmla="*/ 1160196 h 5973007"/>
              <a:gd name="connsiteX61941" fmla="*/ 1537898 w 6884782"/>
              <a:gd name="connsiteY61941" fmla="*/ 1140679 h 5973007"/>
              <a:gd name="connsiteX61942" fmla="*/ 1540583 w 6884782"/>
              <a:gd name="connsiteY61942" fmla="*/ 1136497 h 5973007"/>
              <a:gd name="connsiteX61943" fmla="*/ 1547811 w 6884782"/>
              <a:gd name="connsiteY61943" fmla="*/ 1134328 h 5973007"/>
              <a:gd name="connsiteX61944" fmla="*/ 1545333 w 6884782"/>
              <a:gd name="connsiteY61944" fmla="*/ 1131075 h 5973007"/>
              <a:gd name="connsiteX61945" fmla="*/ 1552871 w 6884782"/>
              <a:gd name="connsiteY61945" fmla="*/ 1125809 h 5973007"/>
              <a:gd name="connsiteX61946" fmla="*/ 1434745 w 6884782"/>
              <a:gd name="connsiteY61946" fmla="*/ 1125654 h 5973007"/>
              <a:gd name="connsiteX61947" fmla="*/ 1449718 w 6884782"/>
              <a:gd name="connsiteY61947" fmla="*/ 1128752 h 5973007"/>
              <a:gd name="connsiteX61948" fmla="*/ 1454777 w 6884782"/>
              <a:gd name="connsiteY61948" fmla="*/ 1128907 h 5973007"/>
              <a:gd name="connsiteX61949" fmla="*/ 1456326 w 6884782"/>
              <a:gd name="connsiteY61949" fmla="*/ 1128752 h 5973007"/>
              <a:gd name="connsiteX61950" fmla="*/ 1456429 w 6884782"/>
              <a:gd name="connsiteY61950" fmla="*/ 1128907 h 5973007"/>
              <a:gd name="connsiteX61951" fmla="*/ 1456739 w 6884782"/>
              <a:gd name="connsiteY61951" fmla="*/ 1128907 h 5973007"/>
              <a:gd name="connsiteX61952" fmla="*/ 1462315 w 6884782"/>
              <a:gd name="connsiteY61952" fmla="*/ 1132624 h 5973007"/>
              <a:gd name="connsiteX61953" fmla="*/ 1457049 w 6884782"/>
              <a:gd name="connsiteY61953" fmla="*/ 1133864 h 5973007"/>
              <a:gd name="connsiteX61954" fmla="*/ 1456636 w 6884782"/>
              <a:gd name="connsiteY61954" fmla="*/ 1135412 h 5973007"/>
              <a:gd name="connsiteX61955" fmla="*/ 1450131 w 6884782"/>
              <a:gd name="connsiteY61955" fmla="*/ 1138975 h 5973007"/>
              <a:gd name="connsiteX61956" fmla="*/ 1448892 w 6884782"/>
              <a:gd name="connsiteY61956" fmla="*/ 1135877 h 5973007"/>
              <a:gd name="connsiteX61957" fmla="*/ 1443212 w 6884782"/>
              <a:gd name="connsiteY61957" fmla="*/ 1136032 h 5973007"/>
              <a:gd name="connsiteX61958" fmla="*/ 1435159 w 6884782"/>
              <a:gd name="connsiteY61958" fmla="*/ 1133864 h 5973007"/>
              <a:gd name="connsiteX61959" fmla="*/ 1433403 w 6884782"/>
              <a:gd name="connsiteY61959" fmla="*/ 1127513 h 5973007"/>
              <a:gd name="connsiteX61960" fmla="*/ 1434745 w 6884782"/>
              <a:gd name="connsiteY61960" fmla="*/ 1125654 h 5973007"/>
              <a:gd name="connsiteX61961" fmla="*/ 1482243 w 6884782"/>
              <a:gd name="connsiteY61961" fmla="*/ 1125344 h 5973007"/>
              <a:gd name="connsiteX61962" fmla="*/ 1484102 w 6884782"/>
              <a:gd name="connsiteY61962" fmla="*/ 1125809 h 5973007"/>
              <a:gd name="connsiteX61963" fmla="*/ 1491227 w 6884782"/>
              <a:gd name="connsiteY61963" fmla="*/ 1131230 h 5973007"/>
              <a:gd name="connsiteX61964" fmla="*/ 1492775 w 6884782"/>
              <a:gd name="connsiteY61964" fmla="*/ 1132160 h 5973007"/>
              <a:gd name="connsiteX61965" fmla="*/ 1493395 w 6884782"/>
              <a:gd name="connsiteY61965" fmla="*/ 1134483 h 5973007"/>
              <a:gd name="connsiteX61966" fmla="*/ 1489161 w 6884782"/>
              <a:gd name="connsiteY61966" fmla="*/ 1133709 h 5973007"/>
              <a:gd name="connsiteX61967" fmla="*/ 1486167 w 6884782"/>
              <a:gd name="connsiteY61967" fmla="*/ 1130920 h 5973007"/>
              <a:gd name="connsiteX61968" fmla="*/ 1484722 w 6884782"/>
              <a:gd name="connsiteY61968" fmla="*/ 1131695 h 5973007"/>
              <a:gd name="connsiteX61969" fmla="*/ 1481624 w 6884782"/>
              <a:gd name="connsiteY61969" fmla="*/ 1131850 h 5973007"/>
              <a:gd name="connsiteX61970" fmla="*/ 1484515 w 6884782"/>
              <a:gd name="connsiteY61970" fmla="*/ 1129836 h 5973007"/>
              <a:gd name="connsiteX61971" fmla="*/ 1485341 w 6884782"/>
              <a:gd name="connsiteY61971" fmla="*/ 1129836 h 5973007"/>
              <a:gd name="connsiteX61972" fmla="*/ 1484618 w 6884782"/>
              <a:gd name="connsiteY61972" fmla="*/ 1129062 h 5973007"/>
              <a:gd name="connsiteX61973" fmla="*/ 1482450 w 6884782"/>
              <a:gd name="connsiteY61973" fmla="*/ 1128442 h 5973007"/>
              <a:gd name="connsiteX61974" fmla="*/ 1481727 w 6884782"/>
              <a:gd name="connsiteY61974" fmla="*/ 1126119 h 5973007"/>
              <a:gd name="connsiteX61975" fmla="*/ 4952619 w 6884782"/>
              <a:gd name="connsiteY61975" fmla="*/ 1124351 h 5973007"/>
              <a:gd name="connsiteX61976" fmla="*/ 4962436 w 6884782"/>
              <a:gd name="connsiteY61976" fmla="*/ 1142277 h 5973007"/>
              <a:gd name="connsiteX61977" fmla="*/ 4952832 w 6884782"/>
              <a:gd name="connsiteY61977" fmla="*/ 1142846 h 5973007"/>
              <a:gd name="connsiteX61978" fmla="*/ 4952619 w 6884782"/>
              <a:gd name="connsiteY61978" fmla="*/ 1124351 h 5973007"/>
              <a:gd name="connsiteX61979" fmla="*/ 4786364 w 6884782"/>
              <a:gd name="connsiteY61979" fmla="*/ 1123355 h 5973007"/>
              <a:gd name="connsiteX61980" fmla="*/ 4775480 w 6884782"/>
              <a:gd name="connsiteY61980" fmla="*/ 1154370 h 5973007"/>
              <a:gd name="connsiteX61981" fmla="*/ 4786364 w 6884782"/>
              <a:gd name="connsiteY61981" fmla="*/ 1123355 h 5973007"/>
              <a:gd name="connsiteX61982" fmla="*/ 1513530 w 6884782"/>
              <a:gd name="connsiteY61982" fmla="*/ 1122711 h 5973007"/>
              <a:gd name="connsiteX61983" fmla="*/ 1531290 w 6884782"/>
              <a:gd name="connsiteY61983" fmla="*/ 1125344 h 5973007"/>
              <a:gd name="connsiteX61984" fmla="*/ 1508058 w 6884782"/>
              <a:gd name="connsiteY61984" fmla="*/ 1125964 h 5973007"/>
              <a:gd name="connsiteX61985" fmla="*/ 1513530 w 6884782"/>
              <a:gd name="connsiteY61985" fmla="*/ 1122711 h 5973007"/>
              <a:gd name="connsiteX61986" fmla="*/ 4808561 w 6884782"/>
              <a:gd name="connsiteY61986" fmla="*/ 1121648 h 5973007"/>
              <a:gd name="connsiteX61987" fmla="*/ 4812402 w 6884782"/>
              <a:gd name="connsiteY61987" fmla="*/ 1123782 h 5973007"/>
              <a:gd name="connsiteX61988" fmla="*/ 4814322 w 6884782"/>
              <a:gd name="connsiteY61988" fmla="*/ 1128335 h 5973007"/>
              <a:gd name="connsiteX61989" fmla="*/ 4805359 w 6884782"/>
              <a:gd name="connsiteY61989" fmla="*/ 1131322 h 5973007"/>
              <a:gd name="connsiteX61990" fmla="*/ 4805359 w 6884782"/>
              <a:gd name="connsiteY61990" fmla="*/ 1124067 h 5973007"/>
              <a:gd name="connsiteX61991" fmla="*/ 4808561 w 6884782"/>
              <a:gd name="connsiteY61991" fmla="*/ 1121648 h 5973007"/>
              <a:gd name="connsiteX61992" fmla="*/ 3308433 w 6884782"/>
              <a:gd name="connsiteY61992" fmla="*/ 1121363 h 5973007"/>
              <a:gd name="connsiteX61993" fmla="*/ 3305232 w 6884782"/>
              <a:gd name="connsiteY61993" fmla="*/ 1121933 h 5973007"/>
              <a:gd name="connsiteX61994" fmla="*/ 3309287 w 6884782"/>
              <a:gd name="connsiteY61994" fmla="*/ 1124778 h 5973007"/>
              <a:gd name="connsiteX61995" fmla="*/ 1492053 w 6884782"/>
              <a:gd name="connsiteY61995" fmla="*/ 1121007 h 5973007"/>
              <a:gd name="connsiteX61996" fmla="*/ 1493601 w 6884782"/>
              <a:gd name="connsiteY61996" fmla="*/ 1125189 h 5973007"/>
              <a:gd name="connsiteX61997" fmla="*/ 1492259 w 6884782"/>
              <a:gd name="connsiteY61997" fmla="*/ 1126893 h 5973007"/>
              <a:gd name="connsiteX61998" fmla="*/ 1491330 w 6884782"/>
              <a:gd name="connsiteY61998" fmla="*/ 1126893 h 5973007"/>
              <a:gd name="connsiteX61999" fmla="*/ 1487923 w 6884782"/>
              <a:gd name="connsiteY61999" fmla="*/ 1126893 h 5973007"/>
              <a:gd name="connsiteX62000" fmla="*/ 1486683 w 6884782"/>
              <a:gd name="connsiteY62000" fmla="*/ 1124724 h 5973007"/>
              <a:gd name="connsiteX62001" fmla="*/ 1486787 w 6884782"/>
              <a:gd name="connsiteY62001" fmla="*/ 1122556 h 5973007"/>
              <a:gd name="connsiteX62002" fmla="*/ 1492053 w 6884782"/>
              <a:gd name="connsiteY62002" fmla="*/ 1121007 h 5973007"/>
              <a:gd name="connsiteX62003" fmla="*/ 3800792 w 6884782"/>
              <a:gd name="connsiteY62003" fmla="*/ 1120083 h 5973007"/>
              <a:gd name="connsiteX62004" fmla="*/ 3806768 w 6884782"/>
              <a:gd name="connsiteY62004" fmla="*/ 1123355 h 5973007"/>
              <a:gd name="connsiteX62005" fmla="*/ 3800579 w 6884782"/>
              <a:gd name="connsiteY62005" fmla="*/ 1133883 h 5973007"/>
              <a:gd name="connsiteX62006" fmla="*/ 3800792 w 6884782"/>
              <a:gd name="connsiteY62006" fmla="*/ 1120083 h 5973007"/>
              <a:gd name="connsiteX62007" fmla="*/ 3470632 w 6884782"/>
              <a:gd name="connsiteY62007" fmla="*/ 1120083 h 5973007"/>
              <a:gd name="connsiteX62008" fmla="*/ 3479809 w 6884782"/>
              <a:gd name="connsiteY62008" fmla="*/ 1134452 h 5973007"/>
              <a:gd name="connsiteX62009" fmla="*/ 3482797 w 6884782"/>
              <a:gd name="connsiteY62009" fmla="*/ 1154370 h 5973007"/>
              <a:gd name="connsiteX62010" fmla="*/ 3477675 w 6884782"/>
              <a:gd name="connsiteY62010" fmla="*/ 1158353 h 5973007"/>
              <a:gd name="connsiteX62011" fmla="*/ 3475327 w 6884782"/>
              <a:gd name="connsiteY62011" fmla="*/ 1159349 h 5973007"/>
              <a:gd name="connsiteX62012" fmla="*/ 3474473 w 6884782"/>
              <a:gd name="connsiteY62012" fmla="*/ 1160203 h 5973007"/>
              <a:gd name="connsiteX62013" fmla="*/ 3469778 w 6884782"/>
              <a:gd name="connsiteY62013" fmla="*/ 1160772 h 5973007"/>
              <a:gd name="connsiteX62014" fmla="*/ 3471272 w 6884782"/>
              <a:gd name="connsiteY62014" fmla="*/ 1158353 h 5973007"/>
              <a:gd name="connsiteX62015" fmla="*/ 3472126 w 6884782"/>
              <a:gd name="connsiteY62015" fmla="*/ 1157500 h 5973007"/>
              <a:gd name="connsiteX62016" fmla="*/ 3473407 w 6884782"/>
              <a:gd name="connsiteY62016" fmla="*/ 1152805 h 5973007"/>
              <a:gd name="connsiteX62017" fmla="*/ 3470632 w 6884782"/>
              <a:gd name="connsiteY62017" fmla="*/ 1120083 h 5973007"/>
              <a:gd name="connsiteX62018" fmla="*/ 1535730 w 6884782"/>
              <a:gd name="connsiteY62018" fmla="*/ 1119767 h 5973007"/>
              <a:gd name="connsiteX62019" fmla="*/ 1544197 w 6884782"/>
              <a:gd name="connsiteY62019" fmla="*/ 1123795 h 5973007"/>
              <a:gd name="connsiteX62020" fmla="*/ 1535730 w 6884782"/>
              <a:gd name="connsiteY62020" fmla="*/ 1119767 h 5973007"/>
              <a:gd name="connsiteX62021" fmla="*/ 1412029 w 6884782"/>
              <a:gd name="connsiteY62021" fmla="*/ 1119767 h 5973007"/>
              <a:gd name="connsiteX62022" fmla="*/ 1415643 w 6884782"/>
              <a:gd name="connsiteY62022" fmla="*/ 1121007 h 5973007"/>
              <a:gd name="connsiteX62023" fmla="*/ 1415540 w 6884782"/>
              <a:gd name="connsiteY62023" fmla="*/ 1123020 h 5973007"/>
              <a:gd name="connsiteX62024" fmla="*/ 1414198 w 6884782"/>
              <a:gd name="connsiteY62024" fmla="*/ 1125034 h 5973007"/>
              <a:gd name="connsiteX62025" fmla="*/ 1409758 w 6884782"/>
              <a:gd name="connsiteY62025" fmla="*/ 1123331 h 5973007"/>
              <a:gd name="connsiteX62026" fmla="*/ 1409861 w 6884782"/>
              <a:gd name="connsiteY62026" fmla="*/ 1121317 h 5973007"/>
              <a:gd name="connsiteX62027" fmla="*/ 1412029 w 6884782"/>
              <a:gd name="connsiteY62027" fmla="*/ 1119767 h 5973007"/>
              <a:gd name="connsiteX62028" fmla="*/ 1178360 w 6884782"/>
              <a:gd name="connsiteY62028" fmla="*/ 1119458 h 5973007"/>
              <a:gd name="connsiteX62029" fmla="*/ 1180219 w 6884782"/>
              <a:gd name="connsiteY62029" fmla="*/ 1119767 h 5973007"/>
              <a:gd name="connsiteX62030" fmla="*/ 1180425 w 6884782"/>
              <a:gd name="connsiteY62030" fmla="*/ 1122711 h 5973007"/>
              <a:gd name="connsiteX62031" fmla="*/ 1182387 w 6884782"/>
              <a:gd name="connsiteY62031" fmla="*/ 1123020 h 5973007"/>
              <a:gd name="connsiteX62032" fmla="*/ 1182697 w 6884782"/>
              <a:gd name="connsiteY62032" fmla="*/ 1124260 h 5973007"/>
              <a:gd name="connsiteX62033" fmla="*/ 1180632 w 6884782"/>
              <a:gd name="connsiteY62033" fmla="*/ 1125654 h 5973007"/>
              <a:gd name="connsiteX62034" fmla="*/ 1179393 w 6884782"/>
              <a:gd name="connsiteY62034" fmla="*/ 1121162 h 5973007"/>
              <a:gd name="connsiteX62035" fmla="*/ 1178360 w 6884782"/>
              <a:gd name="connsiteY62035" fmla="*/ 1119458 h 5973007"/>
              <a:gd name="connsiteX62036" fmla="*/ 4503156 w 6884782"/>
              <a:gd name="connsiteY62036" fmla="*/ 1119087 h 5973007"/>
              <a:gd name="connsiteX62037" fmla="*/ 4510839 w 6884782"/>
              <a:gd name="connsiteY62037" fmla="*/ 1123355 h 5973007"/>
              <a:gd name="connsiteX62038" fmla="*/ 4500168 w 6884782"/>
              <a:gd name="connsiteY62038" fmla="*/ 1132887 h 5973007"/>
              <a:gd name="connsiteX62039" fmla="*/ 4503156 w 6884782"/>
              <a:gd name="connsiteY62039" fmla="*/ 1119087 h 5973007"/>
              <a:gd name="connsiteX62040" fmla="*/ 4444253 w 6884782"/>
              <a:gd name="connsiteY62040" fmla="*/ 1118945 h 5973007"/>
              <a:gd name="connsiteX62041" fmla="*/ 4441905 w 6884782"/>
              <a:gd name="connsiteY62041" fmla="*/ 1129900 h 5973007"/>
              <a:gd name="connsiteX62042" fmla="*/ 4435716 w 6884782"/>
              <a:gd name="connsiteY62042" fmla="*/ 1133457 h 5973007"/>
              <a:gd name="connsiteX62043" fmla="*/ 4425685 w 6884782"/>
              <a:gd name="connsiteY62043" fmla="*/ 1130895 h 5973007"/>
              <a:gd name="connsiteX62044" fmla="*/ 4427393 w 6884782"/>
              <a:gd name="connsiteY62044" fmla="*/ 1124778 h 5973007"/>
              <a:gd name="connsiteX62045" fmla="*/ 4444253 w 6884782"/>
              <a:gd name="connsiteY62045" fmla="*/ 1118945 h 5973007"/>
              <a:gd name="connsiteX62046" fmla="*/ 1175882 w 6884782"/>
              <a:gd name="connsiteY62046" fmla="*/ 1118064 h 5973007"/>
              <a:gd name="connsiteX62047" fmla="*/ 1173714 w 6884782"/>
              <a:gd name="connsiteY62047" fmla="*/ 1123176 h 5973007"/>
              <a:gd name="connsiteX62048" fmla="*/ 1167518 w 6884782"/>
              <a:gd name="connsiteY62048" fmla="*/ 1127667 h 5973007"/>
              <a:gd name="connsiteX62049" fmla="*/ 1167208 w 6884782"/>
              <a:gd name="connsiteY62049" fmla="*/ 1126583 h 5973007"/>
              <a:gd name="connsiteX62050" fmla="*/ 1175882 w 6884782"/>
              <a:gd name="connsiteY62050" fmla="*/ 1118064 h 5973007"/>
              <a:gd name="connsiteX62051" fmla="*/ 3875489 w 6884782"/>
              <a:gd name="connsiteY62051" fmla="*/ 1117949 h 5973007"/>
              <a:gd name="connsiteX62052" fmla="*/ 3880184 w 6884782"/>
              <a:gd name="connsiteY62052" fmla="*/ 1120937 h 5973007"/>
              <a:gd name="connsiteX62053" fmla="*/ 3880398 w 6884782"/>
              <a:gd name="connsiteY62053" fmla="*/ 1125916 h 5973007"/>
              <a:gd name="connsiteX62054" fmla="*/ 3876556 w 6884782"/>
              <a:gd name="connsiteY62054" fmla="*/ 1130753 h 5973007"/>
              <a:gd name="connsiteX62055" fmla="*/ 3877410 w 6884782"/>
              <a:gd name="connsiteY62055" fmla="*/ 1129615 h 5973007"/>
              <a:gd name="connsiteX62056" fmla="*/ 3875489 w 6884782"/>
              <a:gd name="connsiteY62056" fmla="*/ 1128335 h 5973007"/>
              <a:gd name="connsiteX62057" fmla="*/ 3874849 w 6884782"/>
              <a:gd name="connsiteY62057" fmla="*/ 1129473 h 5973007"/>
              <a:gd name="connsiteX62058" fmla="*/ 3873568 w 6884782"/>
              <a:gd name="connsiteY62058" fmla="*/ 1127196 h 5973007"/>
              <a:gd name="connsiteX62059" fmla="*/ 3875489 w 6884782"/>
              <a:gd name="connsiteY62059" fmla="*/ 1117949 h 5973007"/>
              <a:gd name="connsiteX62060" fmla="*/ 1072936 w 6884782"/>
              <a:gd name="connsiteY62060" fmla="*/ 1117599 h 5973007"/>
              <a:gd name="connsiteX62061" fmla="*/ 1075104 w 6884782"/>
              <a:gd name="connsiteY62061" fmla="*/ 1124105 h 5973007"/>
              <a:gd name="connsiteX62062" fmla="*/ 1069838 w 6884782"/>
              <a:gd name="connsiteY62062" fmla="*/ 1123950 h 5973007"/>
              <a:gd name="connsiteX62063" fmla="*/ 1068083 w 6884782"/>
              <a:gd name="connsiteY62063" fmla="*/ 1121781 h 5973007"/>
              <a:gd name="connsiteX62064" fmla="*/ 1069631 w 6884782"/>
              <a:gd name="connsiteY62064" fmla="*/ 1118993 h 5973007"/>
              <a:gd name="connsiteX62065" fmla="*/ 1072936 w 6884782"/>
              <a:gd name="connsiteY62065" fmla="*/ 1117599 h 5973007"/>
              <a:gd name="connsiteX62066" fmla="*/ 1471092 w 6884782"/>
              <a:gd name="connsiteY62066" fmla="*/ 1117444 h 5973007"/>
              <a:gd name="connsiteX62067" fmla="*/ 1471608 w 6884782"/>
              <a:gd name="connsiteY62067" fmla="*/ 1122866 h 5973007"/>
              <a:gd name="connsiteX62068" fmla="*/ 1465309 w 6884782"/>
              <a:gd name="connsiteY62068" fmla="*/ 1127048 h 5973007"/>
              <a:gd name="connsiteX62069" fmla="*/ 1463141 w 6884782"/>
              <a:gd name="connsiteY62069" fmla="*/ 1123485 h 5973007"/>
              <a:gd name="connsiteX62070" fmla="*/ 1466135 w 6884782"/>
              <a:gd name="connsiteY62070" fmla="*/ 1119613 h 5973007"/>
              <a:gd name="connsiteX62071" fmla="*/ 1471092 w 6884782"/>
              <a:gd name="connsiteY62071" fmla="*/ 1117444 h 5973007"/>
              <a:gd name="connsiteX62072" fmla="*/ 933230 w 6884782"/>
              <a:gd name="connsiteY62072" fmla="*/ 1115431 h 5973007"/>
              <a:gd name="connsiteX62073" fmla="*/ 936844 w 6884782"/>
              <a:gd name="connsiteY62073" fmla="*/ 1116825 h 5973007"/>
              <a:gd name="connsiteX62074" fmla="*/ 937773 w 6884782"/>
              <a:gd name="connsiteY62074" fmla="*/ 1118683 h 5973007"/>
              <a:gd name="connsiteX62075" fmla="*/ 936018 w 6884782"/>
              <a:gd name="connsiteY62075" fmla="*/ 1120077 h 5973007"/>
              <a:gd name="connsiteX62076" fmla="*/ 930855 w 6884782"/>
              <a:gd name="connsiteY62076" fmla="*/ 1119613 h 5973007"/>
              <a:gd name="connsiteX62077" fmla="*/ 930029 w 6884782"/>
              <a:gd name="connsiteY62077" fmla="*/ 1117909 h 5973007"/>
              <a:gd name="connsiteX62078" fmla="*/ 933230 w 6884782"/>
              <a:gd name="connsiteY62078" fmla="*/ 1115431 h 5973007"/>
              <a:gd name="connsiteX62079" fmla="*/ 4176838 w 6884782"/>
              <a:gd name="connsiteY62079" fmla="*/ 1114107 h 5973007"/>
              <a:gd name="connsiteX62080" fmla="*/ 4178331 w 6884782"/>
              <a:gd name="connsiteY62080" fmla="*/ 1115531 h 5973007"/>
              <a:gd name="connsiteX62081" fmla="*/ 4175771 w 6884782"/>
              <a:gd name="connsiteY62081" fmla="*/ 1125347 h 5973007"/>
              <a:gd name="connsiteX62082" fmla="*/ 4174917 w 6884782"/>
              <a:gd name="connsiteY62082" fmla="*/ 1124778 h 5973007"/>
              <a:gd name="connsiteX62083" fmla="*/ 4174277 w 6884782"/>
              <a:gd name="connsiteY62083" fmla="*/ 1125063 h 5973007"/>
              <a:gd name="connsiteX62084" fmla="*/ 4170435 w 6884782"/>
              <a:gd name="connsiteY62084" fmla="*/ 1125063 h 5973007"/>
              <a:gd name="connsiteX62085" fmla="*/ 4164673 w 6884782"/>
              <a:gd name="connsiteY62085" fmla="*/ 1125347 h 5973007"/>
              <a:gd name="connsiteX62086" fmla="*/ 4151868 w 6884782"/>
              <a:gd name="connsiteY62086" fmla="*/ 1123782 h 5973007"/>
              <a:gd name="connsiteX62087" fmla="*/ 4150801 w 6884782"/>
              <a:gd name="connsiteY62087" fmla="*/ 1123355 h 5973007"/>
              <a:gd name="connsiteX62088" fmla="*/ 4149947 w 6884782"/>
              <a:gd name="connsiteY62088" fmla="*/ 1125063 h 5973007"/>
              <a:gd name="connsiteX62089" fmla="*/ 4148666 w 6884782"/>
              <a:gd name="connsiteY62089" fmla="*/ 1127623 h 5973007"/>
              <a:gd name="connsiteX62090" fmla="*/ 4136928 w 6884782"/>
              <a:gd name="connsiteY62090" fmla="*/ 1141850 h 5973007"/>
              <a:gd name="connsiteX62091" fmla="*/ 4139062 w 6884782"/>
              <a:gd name="connsiteY62091" fmla="*/ 1133883 h 5973007"/>
              <a:gd name="connsiteX62092" fmla="*/ 4146746 w 6884782"/>
              <a:gd name="connsiteY62092" fmla="*/ 1117379 h 5973007"/>
              <a:gd name="connsiteX62093" fmla="*/ 4149947 w 6884782"/>
              <a:gd name="connsiteY62093" fmla="*/ 1116526 h 5973007"/>
              <a:gd name="connsiteX62094" fmla="*/ 4150374 w 6884782"/>
              <a:gd name="connsiteY62094" fmla="*/ 1115531 h 5973007"/>
              <a:gd name="connsiteX62095" fmla="*/ 4151868 w 6884782"/>
              <a:gd name="connsiteY62095" fmla="*/ 1115104 h 5973007"/>
              <a:gd name="connsiteX62096" fmla="*/ 4152935 w 6884782"/>
              <a:gd name="connsiteY62096" fmla="*/ 1115673 h 5973007"/>
              <a:gd name="connsiteX62097" fmla="*/ 4152935 w 6884782"/>
              <a:gd name="connsiteY62097" fmla="*/ 1119087 h 5973007"/>
              <a:gd name="connsiteX62098" fmla="*/ 4152508 w 6884782"/>
              <a:gd name="connsiteY62098" fmla="*/ 1119941 h 5973007"/>
              <a:gd name="connsiteX62099" fmla="*/ 4153575 w 6884782"/>
              <a:gd name="connsiteY62099" fmla="*/ 1119799 h 5973007"/>
              <a:gd name="connsiteX62100" fmla="*/ 4163606 w 6884782"/>
              <a:gd name="connsiteY62100" fmla="*/ 1119799 h 5973007"/>
              <a:gd name="connsiteX62101" fmla="*/ 4171289 w 6884782"/>
              <a:gd name="connsiteY62101" fmla="*/ 1118802 h 5973007"/>
              <a:gd name="connsiteX62102" fmla="*/ 4172356 w 6884782"/>
              <a:gd name="connsiteY62102" fmla="*/ 1116669 h 5973007"/>
              <a:gd name="connsiteX62103" fmla="*/ 4174917 w 6884782"/>
              <a:gd name="connsiteY62103" fmla="*/ 1114392 h 5973007"/>
              <a:gd name="connsiteX62104" fmla="*/ 4176838 w 6884782"/>
              <a:gd name="connsiteY62104" fmla="*/ 1114107 h 5973007"/>
              <a:gd name="connsiteX62105" fmla="*/ 1260965 w 6884782"/>
              <a:gd name="connsiteY62105" fmla="*/ 1113882 h 5973007"/>
              <a:gd name="connsiteX62106" fmla="*/ 1259313 w 6884782"/>
              <a:gd name="connsiteY62106" fmla="*/ 1119767 h 5973007"/>
              <a:gd name="connsiteX62107" fmla="*/ 1259313 w 6884782"/>
              <a:gd name="connsiteY62107" fmla="*/ 1116205 h 5973007"/>
              <a:gd name="connsiteX62108" fmla="*/ 1260965 w 6884782"/>
              <a:gd name="connsiteY62108" fmla="*/ 1113882 h 5973007"/>
              <a:gd name="connsiteX62109" fmla="*/ 4123696 w 6884782"/>
              <a:gd name="connsiteY62109" fmla="*/ 1113681 h 5973007"/>
              <a:gd name="connsiteX62110" fmla="*/ 4093604 w 6884782"/>
              <a:gd name="connsiteY62110" fmla="*/ 1133314 h 5973007"/>
              <a:gd name="connsiteX62111" fmla="*/ 4123696 w 6884782"/>
              <a:gd name="connsiteY62111" fmla="*/ 1113681 h 5973007"/>
              <a:gd name="connsiteX62112" fmla="*/ 1550908 w 6884782"/>
              <a:gd name="connsiteY62112" fmla="*/ 1113572 h 5973007"/>
              <a:gd name="connsiteX62113" fmla="*/ 1551218 w 6884782"/>
              <a:gd name="connsiteY62113" fmla="*/ 1114192 h 5973007"/>
              <a:gd name="connsiteX62114" fmla="*/ 1549463 w 6884782"/>
              <a:gd name="connsiteY62114" fmla="*/ 1114346 h 5973007"/>
              <a:gd name="connsiteX62115" fmla="*/ 1549773 w 6884782"/>
              <a:gd name="connsiteY62115" fmla="*/ 1113727 h 5973007"/>
              <a:gd name="connsiteX62116" fmla="*/ 1550908 w 6884782"/>
              <a:gd name="connsiteY62116" fmla="*/ 1113572 h 5973007"/>
              <a:gd name="connsiteX62117" fmla="*/ 4460899 w 6884782"/>
              <a:gd name="connsiteY62117" fmla="*/ 1113254 h 5973007"/>
              <a:gd name="connsiteX62118" fmla="*/ 4461540 w 6884782"/>
              <a:gd name="connsiteY62118" fmla="*/ 1116953 h 5973007"/>
              <a:gd name="connsiteX62119" fmla="*/ 4455991 w 6884782"/>
              <a:gd name="connsiteY62119" fmla="*/ 1115673 h 5973007"/>
              <a:gd name="connsiteX62120" fmla="*/ 4460899 w 6884782"/>
              <a:gd name="connsiteY62120" fmla="*/ 1113254 h 5973007"/>
              <a:gd name="connsiteX62121" fmla="*/ 1431544 w 6884782"/>
              <a:gd name="connsiteY62121" fmla="*/ 1113107 h 5973007"/>
              <a:gd name="connsiteX62122" fmla="*/ 1433713 w 6884782"/>
              <a:gd name="connsiteY62122" fmla="*/ 1120387 h 5973007"/>
              <a:gd name="connsiteX62123" fmla="*/ 1431132 w 6884782"/>
              <a:gd name="connsiteY62123" fmla="*/ 1114192 h 5973007"/>
              <a:gd name="connsiteX62124" fmla="*/ 1431544 w 6884782"/>
              <a:gd name="connsiteY62124" fmla="*/ 1113107 h 5973007"/>
              <a:gd name="connsiteX62125" fmla="*/ 1190854 w 6884782"/>
              <a:gd name="connsiteY62125" fmla="*/ 1113107 h 5973007"/>
              <a:gd name="connsiteX62126" fmla="*/ 1197153 w 6884782"/>
              <a:gd name="connsiteY62126" fmla="*/ 1113417 h 5973007"/>
              <a:gd name="connsiteX62127" fmla="*/ 1186621 w 6884782"/>
              <a:gd name="connsiteY62127" fmla="*/ 1124724 h 5973007"/>
              <a:gd name="connsiteX62128" fmla="*/ 1184968 w 6884782"/>
              <a:gd name="connsiteY62128" fmla="*/ 1125654 h 5973007"/>
              <a:gd name="connsiteX62129" fmla="*/ 1182697 w 6884782"/>
              <a:gd name="connsiteY62129" fmla="*/ 1124260 h 5973007"/>
              <a:gd name="connsiteX62130" fmla="*/ 1189202 w 6884782"/>
              <a:gd name="connsiteY62130" fmla="*/ 1114037 h 5973007"/>
              <a:gd name="connsiteX62131" fmla="*/ 1190854 w 6884782"/>
              <a:gd name="connsiteY62131" fmla="*/ 1113107 h 5973007"/>
              <a:gd name="connsiteX62132" fmla="*/ 1039687 w 6884782"/>
              <a:gd name="connsiteY62132" fmla="*/ 1112642 h 5973007"/>
              <a:gd name="connsiteX62133" fmla="*/ 1046089 w 6884782"/>
              <a:gd name="connsiteY62133" fmla="*/ 1118219 h 5973007"/>
              <a:gd name="connsiteX62134" fmla="*/ 1039584 w 6884782"/>
              <a:gd name="connsiteY62134" fmla="*/ 1115276 h 5973007"/>
              <a:gd name="connsiteX62135" fmla="*/ 1039687 w 6884782"/>
              <a:gd name="connsiteY62135" fmla="*/ 1112642 h 5973007"/>
              <a:gd name="connsiteX62136" fmla="*/ 1311974 w 6884782"/>
              <a:gd name="connsiteY62136" fmla="*/ 1111094 h 5973007"/>
              <a:gd name="connsiteX62137" fmla="*/ 1311458 w 6884782"/>
              <a:gd name="connsiteY62137" fmla="*/ 1116205 h 5973007"/>
              <a:gd name="connsiteX62138" fmla="*/ 1308257 w 6884782"/>
              <a:gd name="connsiteY62138" fmla="*/ 1120232 h 5973007"/>
              <a:gd name="connsiteX62139" fmla="*/ 1315071 w 6884782"/>
              <a:gd name="connsiteY62139" fmla="*/ 1121162 h 5973007"/>
              <a:gd name="connsiteX62140" fmla="*/ 1321990 w 6884782"/>
              <a:gd name="connsiteY62140" fmla="*/ 1125654 h 5973007"/>
              <a:gd name="connsiteX62141" fmla="*/ 1324262 w 6884782"/>
              <a:gd name="connsiteY62141" fmla="*/ 1152296 h 5973007"/>
              <a:gd name="connsiteX62142" fmla="*/ 1321680 w 6884782"/>
              <a:gd name="connsiteY62142" fmla="*/ 1153225 h 5973007"/>
              <a:gd name="connsiteX62143" fmla="*/ 1301648 w 6884782"/>
              <a:gd name="connsiteY62143" fmla="*/ 1130300 h 5973007"/>
              <a:gd name="connsiteX62144" fmla="*/ 1302887 w 6884782"/>
              <a:gd name="connsiteY62144" fmla="*/ 1124879 h 5973007"/>
              <a:gd name="connsiteX62145" fmla="*/ 1305675 w 6884782"/>
              <a:gd name="connsiteY62145" fmla="*/ 1120232 h 5973007"/>
              <a:gd name="connsiteX62146" fmla="*/ 1304539 w 6884782"/>
              <a:gd name="connsiteY62146" fmla="*/ 1119613 h 5973007"/>
              <a:gd name="connsiteX62147" fmla="*/ 1305675 w 6884782"/>
              <a:gd name="connsiteY62147" fmla="*/ 1111403 h 5973007"/>
              <a:gd name="connsiteX62148" fmla="*/ 1311974 w 6884782"/>
              <a:gd name="connsiteY62148" fmla="*/ 1111094 h 5973007"/>
              <a:gd name="connsiteX62149" fmla="*/ 993325 w 6884782"/>
              <a:gd name="connsiteY62149" fmla="*/ 1109699 h 5973007"/>
              <a:gd name="connsiteX62150" fmla="*/ 1014493 w 6884782"/>
              <a:gd name="connsiteY62150" fmla="*/ 1119458 h 5973007"/>
              <a:gd name="connsiteX62151" fmla="*/ 986923 w 6884782"/>
              <a:gd name="connsiteY62151" fmla="*/ 1112488 h 5973007"/>
              <a:gd name="connsiteX62152" fmla="*/ 993325 w 6884782"/>
              <a:gd name="connsiteY62152" fmla="*/ 1109699 h 5973007"/>
              <a:gd name="connsiteX62153" fmla="*/ 4595354 w 6884782"/>
              <a:gd name="connsiteY62153" fmla="*/ 1109555 h 5973007"/>
              <a:gd name="connsiteX62154" fmla="*/ 4598555 w 6884782"/>
              <a:gd name="connsiteY62154" fmla="*/ 1113112 h 5973007"/>
              <a:gd name="connsiteX62155" fmla="*/ 4597915 w 6884782"/>
              <a:gd name="connsiteY62155" fmla="*/ 1115104 h 5973007"/>
              <a:gd name="connsiteX62156" fmla="*/ 4597488 w 6884782"/>
              <a:gd name="connsiteY62156" fmla="*/ 1116953 h 5973007"/>
              <a:gd name="connsiteX62157" fmla="*/ 4599409 w 6884782"/>
              <a:gd name="connsiteY62157" fmla="*/ 1117949 h 5973007"/>
              <a:gd name="connsiteX62158" fmla="*/ 4604745 w 6884782"/>
              <a:gd name="connsiteY62158" fmla="*/ 1120937 h 5973007"/>
              <a:gd name="connsiteX62159" fmla="*/ 4599409 w 6884782"/>
              <a:gd name="connsiteY62159" fmla="*/ 1127054 h 5973007"/>
              <a:gd name="connsiteX62160" fmla="*/ 4595567 w 6884782"/>
              <a:gd name="connsiteY62160" fmla="*/ 1121648 h 5973007"/>
              <a:gd name="connsiteX62161" fmla="*/ 4597062 w 6884782"/>
              <a:gd name="connsiteY62161" fmla="*/ 1117096 h 5973007"/>
              <a:gd name="connsiteX62162" fmla="*/ 4596207 w 6884782"/>
              <a:gd name="connsiteY62162" fmla="*/ 1117238 h 5973007"/>
              <a:gd name="connsiteX62163" fmla="*/ 4596421 w 6884782"/>
              <a:gd name="connsiteY62163" fmla="*/ 1116384 h 5973007"/>
              <a:gd name="connsiteX62164" fmla="*/ 4591939 w 6884782"/>
              <a:gd name="connsiteY62164" fmla="*/ 1114961 h 5973007"/>
              <a:gd name="connsiteX62165" fmla="*/ 4595354 w 6884782"/>
              <a:gd name="connsiteY62165" fmla="*/ 1109555 h 5973007"/>
              <a:gd name="connsiteX62166" fmla="*/ 3778810 w 6884782"/>
              <a:gd name="connsiteY62166" fmla="*/ 1109555 h 5973007"/>
              <a:gd name="connsiteX62167" fmla="*/ 3781371 w 6884782"/>
              <a:gd name="connsiteY62167" fmla="*/ 1111262 h 5973007"/>
              <a:gd name="connsiteX62168" fmla="*/ 3779237 w 6884782"/>
              <a:gd name="connsiteY62168" fmla="*/ 1117664 h 5973007"/>
              <a:gd name="connsiteX62169" fmla="*/ 3775395 w 6884782"/>
              <a:gd name="connsiteY62169" fmla="*/ 1112401 h 5973007"/>
              <a:gd name="connsiteX62170" fmla="*/ 3778810 w 6884782"/>
              <a:gd name="connsiteY62170" fmla="*/ 1109555 h 5973007"/>
              <a:gd name="connsiteX62171" fmla="*/ 3638807 w 6884782"/>
              <a:gd name="connsiteY62171" fmla="*/ 1109128 h 5973007"/>
              <a:gd name="connsiteX62172" fmla="*/ 3630910 w 6884782"/>
              <a:gd name="connsiteY62172" fmla="*/ 1129188 h 5973007"/>
              <a:gd name="connsiteX62173" fmla="*/ 3628136 w 6884782"/>
              <a:gd name="connsiteY62173" fmla="*/ 1125205 h 5973007"/>
              <a:gd name="connsiteX62174" fmla="*/ 3638807 w 6884782"/>
              <a:gd name="connsiteY62174" fmla="*/ 1109128 h 5973007"/>
              <a:gd name="connsiteX62175" fmla="*/ 1446103 w 6884782"/>
              <a:gd name="connsiteY62175" fmla="*/ 1108615 h 5973007"/>
              <a:gd name="connsiteX62176" fmla="*/ 1444865 w 6884782"/>
              <a:gd name="connsiteY62176" fmla="*/ 1109544 h 5973007"/>
              <a:gd name="connsiteX62177" fmla="*/ 1444761 w 6884782"/>
              <a:gd name="connsiteY62177" fmla="*/ 1110319 h 5973007"/>
              <a:gd name="connsiteX62178" fmla="*/ 1446310 w 6884782"/>
              <a:gd name="connsiteY62178" fmla="*/ 1109080 h 5973007"/>
              <a:gd name="connsiteX62179" fmla="*/ 1532632 w 6884782"/>
              <a:gd name="connsiteY62179" fmla="*/ 1107996 h 5973007"/>
              <a:gd name="connsiteX62180" fmla="*/ 1533252 w 6884782"/>
              <a:gd name="connsiteY62180" fmla="*/ 1111558 h 5973007"/>
              <a:gd name="connsiteX62181" fmla="*/ 1531083 w 6884782"/>
              <a:gd name="connsiteY62181" fmla="*/ 1113262 h 5973007"/>
              <a:gd name="connsiteX62182" fmla="*/ 1530773 w 6884782"/>
              <a:gd name="connsiteY62182" fmla="*/ 1112333 h 5973007"/>
              <a:gd name="connsiteX62183" fmla="*/ 1528605 w 6884782"/>
              <a:gd name="connsiteY62183" fmla="*/ 1109390 h 5973007"/>
              <a:gd name="connsiteX62184" fmla="*/ 1532632 w 6884782"/>
              <a:gd name="connsiteY62184" fmla="*/ 1107996 h 5973007"/>
              <a:gd name="connsiteX62185" fmla="*/ 4023175 w 6884782"/>
              <a:gd name="connsiteY62185" fmla="*/ 1107990 h 5973007"/>
              <a:gd name="connsiteX62186" fmla="*/ 4031072 w 6884782"/>
              <a:gd name="connsiteY62186" fmla="*/ 1111689 h 5973007"/>
              <a:gd name="connsiteX62187" fmla="*/ 4025950 w 6884782"/>
              <a:gd name="connsiteY62187" fmla="*/ 1123782 h 5973007"/>
              <a:gd name="connsiteX62188" fmla="*/ 4015279 w 6884782"/>
              <a:gd name="connsiteY62188" fmla="*/ 1116384 h 5973007"/>
              <a:gd name="connsiteX62189" fmla="*/ 4023175 w 6884782"/>
              <a:gd name="connsiteY62189" fmla="*/ 1107990 h 5973007"/>
              <a:gd name="connsiteX62190" fmla="*/ 3882532 w 6884782"/>
              <a:gd name="connsiteY62190" fmla="*/ 1106710 h 5973007"/>
              <a:gd name="connsiteX62191" fmla="*/ 3886160 w 6884782"/>
              <a:gd name="connsiteY62191" fmla="*/ 1109128 h 5973007"/>
              <a:gd name="connsiteX62192" fmla="*/ 3887654 w 6884782"/>
              <a:gd name="connsiteY62192" fmla="*/ 1113823 h 5973007"/>
              <a:gd name="connsiteX62193" fmla="*/ 3878264 w 6884782"/>
              <a:gd name="connsiteY62193" fmla="*/ 1115815 h 5973007"/>
              <a:gd name="connsiteX62194" fmla="*/ 3879117 w 6884782"/>
              <a:gd name="connsiteY62194" fmla="*/ 1108702 h 5973007"/>
              <a:gd name="connsiteX62195" fmla="*/ 3882532 w 6884782"/>
              <a:gd name="connsiteY62195" fmla="*/ 1106710 h 5973007"/>
              <a:gd name="connsiteX62196" fmla="*/ 3959790 w 6884782"/>
              <a:gd name="connsiteY62196" fmla="*/ 1106568 h 5973007"/>
              <a:gd name="connsiteX62197" fmla="*/ 3950613 w 6884782"/>
              <a:gd name="connsiteY62197" fmla="*/ 1140143 h 5973007"/>
              <a:gd name="connsiteX62198" fmla="*/ 3952320 w 6884782"/>
              <a:gd name="connsiteY62198" fmla="*/ 1123640 h 5973007"/>
              <a:gd name="connsiteX62199" fmla="*/ 3959790 w 6884782"/>
              <a:gd name="connsiteY62199" fmla="*/ 1106568 h 5973007"/>
              <a:gd name="connsiteX62200" fmla="*/ 1456326 w 6884782"/>
              <a:gd name="connsiteY62200" fmla="*/ 1106292 h 5973007"/>
              <a:gd name="connsiteX62201" fmla="*/ 1459837 w 6884782"/>
              <a:gd name="connsiteY62201" fmla="*/ 1108150 h 5973007"/>
              <a:gd name="connsiteX62202" fmla="*/ 1461592 w 6884782"/>
              <a:gd name="connsiteY62202" fmla="*/ 1110629 h 5973007"/>
              <a:gd name="connsiteX62203" fmla="*/ 1461902 w 6884782"/>
              <a:gd name="connsiteY62203" fmla="*/ 1110319 h 5973007"/>
              <a:gd name="connsiteX62204" fmla="*/ 1466962 w 6884782"/>
              <a:gd name="connsiteY62204" fmla="*/ 1108615 h 5973007"/>
              <a:gd name="connsiteX62205" fmla="*/ 1469646 w 6884782"/>
              <a:gd name="connsiteY62205" fmla="*/ 1109699 h 5973007"/>
              <a:gd name="connsiteX62206" fmla="*/ 1470369 w 6884782"/>
              <a:gd name="connsiteY62206" fmla="*/ 1108150 h 5973007"/>
              <a:gd name="connsiteX62207" fmla="*/ 1485238 w 6884782"/>
              <a:gd name="connsiteY62207" fmla="*/ 1112642 h 5973007"/>
              <a:gd name="connsiteX62208" fmla="*/ 1469853 w 6884782"/>
              <a:gd name="connsiteY62208" fmla="*/ 1113882 h 5973007"/>
              <a:gd name="connsiteX62209" fmla="*/ 1469543 w 6884782"/>
              <a:gd name="connsiteY62209" fmla="*/ 1111868 h 5973007"/>
              <a:gd name="connsiteX62210" fmla="*/ 1463657 w 6884782"/>
              <a:gd name="connsiteY62210" fmla="*/ 1115276 h 5973007"/>
              <a:gd name="connsiteX62211" fmla="*/ 1454984 w 6884782"/>
              <a:gd name="connsiteY62211" fmla="*/ 1118838 h 5973007"/>
              <a:gd name="connsiteX62212" fmla="*/ 1457668 w 6884782"/>
              <a:gd name="connsiteY62212" fmla="*/ 1114192 h 5973007"/>
              <a:gd name="connsiteX62213" fmla="*/ 1461282 w 6884782"/>
              <a:gd name="connsiteY62213" fmla="*/ 1110939 h 5973007"/>
              <a:gd name="connsiteX62214" fmla="*/ 1457668 w 6884782"/>
              <a:gd name="connsiteY62214" fmla="*/ 1109544 h 5973007"/>
              <a:gd name="connsiteX62215" fmla="*/ 1456326 w 6884782"/>
              <a:gd name="connsiteY62215" fmla="*/ 1106292 h 5973007"/>
              <a:gd name="connsiteX62216" fmla="*/ 931888 w 6884782"/>
              <a:gd name="connsiteY62216" fmla="*/ 1106292 h 5973007"/>
              <a:gd name="connsiteX62217" fmla="*/ 934263 w 6884782"/>
              <a:gd name="connsiteY62217" fmla="*/ 1109080 h 5973007"/>
              <a:gd name="connsiteX62218" fmla="*/ 930958 w 6884782"/>
              <a:gd name="connsiteY62218" fmla="*/ 1109544 h 5973007"/>
              <a:gd name="connsiteX62219" fmla="*/ 930442 w 6884782"/>
              <a:gd name="connsiteY62219" fmla="*/ 1108150 h 5973007"/>
              <a:gd name="connsiteX62220" fmla="*/ 931888 w 6884782"/>
              <a:gd name="connsiteY62220" fmla="*/ 1106292 h 5973007"/>
              <a:gd name="connsiteX62221" fmla="*/ 4205863 w 6884782"/>
              <a:gd name="connsiteY62221" fmla="*/ 1105856 h 5973007"/>
              <a:gd name="connsiteX62222" fmla="*/ 4207570 w 6884782"/>
              <a:gd name="connsiteY62222" fmla="*/ 1107279 h 5973007"/>
              <a:gd name="connsiteX62223" fmla="*/ 4209704 w 6884782"/>
              <a:gd name="connsiteY62223" fmla="*/ 1110124 h 5973007"/>
              <a:gd name="connsiteX62224" fmla="*/ 4208851 w 6884782"/>
              <a:gd name="connsiteY62224" fmla="*/ 1111974 h 5973007"/>
              <a:gd name="connsiteX62225" fmla="*/ 4206930 w 6884782"/>
              <a:gd name="connsiteY62225" fmla="*/ 1114250 h 5973007"/>
              <a:gd name="connsiteX62226" fmla="*/ 4203088 w 6884782"/>
              <a:gd name="connsiteY62226" fmla="*/ 1110124 h 5973007"/>
              <a:gd name="connsiteX62227" fmla="*/ 4204156 w 6884782"/>
              <a:gd name="connsiteY62227" fmla="*/ 1106425 h 5973007"/>
              <a:gd name="connsiteX62228" fmla="*/ 4205863 w 6884782"/>
              <a:gd name="connsiteY62228" fmla="*/ 1105856 h 5973007"/>
              <a:gd name="connsiteX62229" fmla="*/ 1171649 w 6884782"/>
              <a:gd name="connsiteY62229" fmla="*/ 1104588 h 5973007"/>
              <a:gd name="connsiteX62230" fmla="*/ 1173714 w 6884782"/>
              <a:gd name="connsiteY62230" fmla="*/ 1105053 h 5973007"/>
              <a:gd name="connsiteX62231" fmla="*/ 1175779 w 6884782"/>
              <a:gd name="connsiteY62231" fmla="*/ 1108306 h 5973007"/>
              <a:gd name="connsiteX62232" fmla="*/ 1178051 w 6884782"/>
              <a:gd name="connsiteY62232" fmla="*/ 1116515 h 5973007"/>
              <a:gd name="connsiteX62233" fmla="*/ 1179083 w 6884782"/>
              <a:gd name="connsiteY62233" fmla="*/ 1118219 h 5973007"/>
              <a:gd name="connsiteX62234" fmla="*/ 1171132 w 6884782"/>
              <a:gd name="connsiteY62234" fmla="*/ 1105363 h 5973007"/>
              <a:gd name="connsiteX62235" fmla="*/ 1171649 w 6884782"/>
              <a:gd name="connsiteY62235" fmla="*/ 1104588 h 5973007"/>
              <a:gd name="connsiteX62236" fmla="*/ 1436191 w 6884782"/>
              <a:gd name="connsiteY62236" fmla="*/ 1102574 h 5973007"/>
              <a:gd name="connsiteX62237" fmla="*/ 1439082 w 6884782"/>
              <a:gd name="connsiteY62237" fmla="*/ 1102884 h 5973007"/>
              <a:gd name="connsiteX62238" fmla="*/ 1441147 w 6884782"/>
              <a:gd name="connsiteY62238" fmla="*/ 1104743 h 5973007"/>
              <a:gd name="connsiteX62239" fmla="*/ 1438463 w 6884782"/>
              <a:gd name="connsiteY62239" fmla="*/ 1108770 h 5973007"/>
              <a:gd name="connsiteX62240" fmla="*/ 1434539 w 6884782"/>
              <a:gd name="connsiteY62240" fmla="*/ 1103349 h 5973007"/>
              <a:gd name="connsiteX62241" fmla="*/ 1436191 w 6884782"/>
              <a:gd name="connsiteY62241" fmla="*/ 1102574 h 5973007"/>
              <a:gd name="connsiteX62242" fmla="*/ 1095136 w 6884782"/>
              <a:gd name="connsiteY62242" fmla="*/ 1102419 h 5973007"/>
              <a:gd name="connsiteX62243" fmla="*/ 1098853 w 6884782"/>
              <a:gd name="connsiteY62243" fmla="*/ 1102884 h 5973007"/>
              <a:gd name="connsiteX62244" fmla="*/ 1097304 w 6884782"/>
              <a:gd name="connsiteY62244" fmla="*/ 1103813 h 5973007"/>
              <a:gd name="connsiteX62245" fmla="*/ 1094929 w 6884782"/>
              <a:gd name="connsiteY62245" fmla="*/ 1104278 h 5973007"/>
              <a:gd name="connsiteX62246" fmla="*/ 1094103 w 6884782"/>
              <a:gd name="connsiteY62246" fmla="*/ 1105672 h 5973007"/>
              <a:gd name="connsiteX62247" fmla="*/ 1087185 w 6884782"/>
              <a:gd name="connsiteY62247" fmla="*/ 1105053 h 5973007"/>
              <a:gd name="connsiteX62248" fmla="*/ 1088940 w 6884782"/>
              <a:gd name="connsiteY62248" fmla="*/ 1104123 h 5973007"/>
              <a:gd name="connsiteX62249" fmla="*/ 1091212 w 6884782"/>
              <a:gd name="connsiteY62249" fmla="*/ 1103659 h 5973007"/>
              <a:gd name="connsiteX62250" fmla="*/ 1093484 w 6884782"/>
              <a:gd name="connsiteY62250" fmla="*/ 1103349 h 5973007"/>
              <a:gd name="connsiteX62251" fmla="*/ 1095136 w 6884782"/>
              <a:gd name="connsiteY62251" fmla="*/ 1102419 h 5973007"/>
              <a:gd name="connsiteX62252" fmla="*/ 1109178 w 6884782"/>
              <a:gd name="connsiteY62252" fmla="*/ 1102109 h 5973007"/>
              <a:gd name="connsiteX62253" fmla="*/ 1118162 w 6884782"/>
              <a:gd name="connsiteY62253" fmla="*/ 1111248 h 5973007"/>
              <a:gd name="connsiteX62254" fmla="*/ 1112896 w 6884782"/>
              <a:gd name="connsiteY62254" fmla="*/ 1114192 h 5973007"/>
              <a:gd name="connsiteX62255" fmla="*/ 1106081 w 6884782"/>
              <a:gd name="connsiteY62255" fmla="*/ 1108306 h 5973007"/>
              <a:gd name="connsiteX62256" fmla="*/ 1106081 w 6884782"/>
              <a:gd name="connsiteY62256" fmla="*/ 1105363 h 5973007"/>
              <a:gd name="connsiteX62257" fmla="*/ 1109178 w 6884782"/>
              <a:gd name="connsiteY62257" fmla="*/ 1102109 h 5973007"/>
              <a:gd name="connsiteX62258" fmla="*/ 4280560 w 6884782"/>
              <a:gd name="connsiteY62258" fmla="*/ 1102015 h 5973007"/>
              <a:gd name="connsiteX62259" fmla="*/ 4283121 w 6884782"/>
              <a:gd name="connsiteY62259" fmla="*/ 1102300 h 5973007"/>
              <a:gd name="connsiteX62260" fmla="*/ 4287389 w 6884782"/>
              <a:gd name="connsiteY62260" fmla="*/ 1104576 h 5973007"/>
              <a:gd name="connsiteX62261" fmla="*/ 4288456 w 6884782"/>
              <a:gd name="connsiteY62261" fmla="*/ 1107990 h 5973007"/>
              <a:gd name="connsiteX62262" fmla="*/ 4286536 w 6884782"/>
              <a:gd name="connsiteY62262" fmla="*/ 1109413 h 5973007"/>
              <a:gd name="connsiteX62263" fmla="*/ 4285468 w 6884782"/>
              <a:gd name="connsiteY62263" fmla="*/ 1111547 h 5973007"/>
              <a:gd name="connsiteX62264" fmla="*/ 4284615 w 6884782"/>
              <a:gd name="connsiteY62264" fmla="*/ 1110836 h 5973007"/>
              <a:gd name="connsiteX62265" fmla="*/ 4282908 w 6884782"/>
              <a:gd name="connsiteY62265" fmla="*/ 1111262 h 5973007"/>
              <a:gd name="connsiteX62266" fmla="*/ 4279706 w 6884782"/>
              <a:gd name="connsiteY62266" fmla="*/ 1106710 h 5973007"/>
              <a:gd name="connsiteX62267" fmla="*/ 4279279 w 6884782"/>
              <a:gd name="connsiteY62267" fmla="*/ 1104006 h 5973007"/>
              <a:gd name="connsiteX62268" fmla="*/ 4280560 w 6884782"/>
              <a:gd name="connsiteY62268" fmla="*/ 1102015 h 5973007"/>
              <a:gd name="connsiteX62269" fmla="*/ 1564022 w 6884782"/>
              <a:gd name="connsiteY62269" fmla="*/ 1101800 h 5973007"/>
              <a:gd name="connsiteX62270" fmla="*/ 1564745 w 6884782"/>
              <a:gd name="connsiteY62270" fmla="*/ 1109080 h 5973007"/>
              <a:gd name="connsiteX62271" fmla="*/ 1560511 w 6884782"/>
              <a:gd name="connsiteY62271" fmla="*/ 1113262 h 5973007"/>
              <a:gd name="connsiteX62272" fmla="*/ 1558240 w 6884782"/>
              <a:gd name="connsiteY62272" fmla="*/ 1109544 h 5973007"/>
              <a:gd name="connsiteX62273" fmla="*/ 1560511 w 6884782"/>
              <a:gd name="connsiteY62273" fmla="*/ 1105517 h 5973007"/>
              <a:gd name="connsiteX62274" fmla="*/ 1561544 w 6884782"/>
              <a:gd name="connsiteY62274" fmla="*/ 1102574 h 5973007"/>
              <a:gd name="connsiteX62275" fmla="*/ 1564022 w 6884782"/>
              <a:gd name="connsiteY62275" fmla="*/ 1101800 h 5973007"/>
              <a:gd name="connsiteX62276" fmla="*/ 4973107 w 6884782"/>
              <a:gd name="connsiteY62276" fmla="*/ 1100592 h 5973007"/>
              <a:gd name="connsiteX62277" fmla="*/ 4975454 w 6884782"/>
              <a:gd name="connsiteY62277" fmla="*/ 1107421 h 5973007"/>
              <a:gd name="connsiteX62278" fmla="*/ 4962009 w 6884782"/>
              <a:gd name="connsiteY62278" fmla="*/ 1112401 h 5973007"/>
              <a:gd name="connsiteX62279" fmla="*/ 4959875 w 6884782"/>
              <a:gd name="connsiteY62279" fmla="*/ 1107990 h 5973007"/>
              <a:gd name="connsiteX62280" fmla="*/ 4973107 w 6884782"/>
              <a:gd name="connsiteY62280" fmla="*/ 1100592 h 5973007"/>
              <a:gd name="connsiteX62281" fmla="*/ 1075311 w 6884782"/>
              <a:gd name="connsiteY62281" fmla="*/ 1099786 h 5973007"/>
              <a:gd name="connsiteX62282" fmla="*/ 1078099 w 6884782"/>
              <a:gd name="connsiteY62282" fmla="*/ 1100096 h 5973007"/>
              <a:gd name="connsiteX62283" fmla="*/ 1078925 w 6884782"/>
              <a:gd name="connsiteY62283" fmla="*/ 1104433 h 5973007"/>
              <a:gd name="connsiteX62284" fmla="*/ 1077066 w 6884782"/>
              <a:gd name="connsiteY62284" fmla="*/ 1105208 h 5973007"/>
              <a:gd name="connsiteX62285" fmla="*/ 1074381 w 6884782"/>
              <a:gd name="connsiteY62285" fmla="*/ 1104123 h 5973007"/>
              <a:gd name="connsiteX62286" fmla="*/ 1073555 w 6884782"/>
              <a:gd name="connsiteY62286" fmla="*/ 1100561 h 5973007"/>
              <a:gd name="connsiteX62287" fmla="*/ 1075311 w 6884782"/>
              <a:gd name="connsiteY62287" fmla="*/ 1099786 h 5973007"/>
              <a:gd name="connsiteX62288" fmla="*/ 4407545 w 6884782"/>
              <a:gd name="connsiteY62288" fmla="*/ 1099169 h 5973007"/>
              <a:gd name="connsiteX62289" fmla="*/ 4408825 w 6884782"/>
              <a:gd name="connsiteY62289" fmla="*/ 1100734 h 5973007"/>
              <a:gd name="connsiteX62290" fmla="*/ 4410105 w 6884782"/>
              <a:gd name="connsiteY62290" fmla="*/ 1103438 h 5973007"/>
              <a:gd name="connsiteX62291" fmla="*/ 4404770 w 6884782"/>
              <a:gd name="connsiteY62291" fmla="*/ 1105430 h 5973007"/>
              <a:gd name="connsiteX62292" fmla="*/ 4401782 w 6884782"/>
              <a:gd name="connsiteY62292" fmla="*/ 1103011 h 5973007"/>
              <a:gd name="connsiteX62293" fmla="*/ 4403917 w 6884782"/>
              <a:gd name="connsiteY62293" fmla="*/ 1100166 h 5973007"/>
              <a:gd name="connsiteX62294" fmla="*/ 4407545 w 6884782"/>
              <a:gd name="connsiteY62294" fmla="*/ 1099169 h 5973007"/>
              <a:gd name="connsiteX62295" fmla="*/ 1453538 w 6884782"/>
              <a:gd name="connsiteY62295" fmla="*/ 1098392 h 5973007"/>
              <a:gd name="connsiteX62296" fmla="*/ 1454054 w 6884782"/>
              <a:gd name="connsiteY62296" fmla="*/ 1100870 h 5973007"/>
              <a:gd name="connsiteX62297" fmla="*/ 1451163 w 6884782"/>
              <a:gd name="connsiteY62297" fmla="*/ 1102419 h 5973007"/>
              <a:gd name="connsiteX62298" fmla="*/ 1449718 w 6884782"/>
              <a:gd name="connsiteY62298" fmla="*/ 1105672 h 5973007"/>
              <a:gd name="connsiteX62299" fmla="*/ 1449614 w 6884782"/>
              <a:gd name="connsiteY62299" fmla="*/ 1105672 h 5973007"/>
              <a:gd name="connsiteX62300" fmla="*/ 1449098 w 6884782"/>
              <a:gd name="connsiteY62300" fmla="*/ 1107686 h 5973007"/>
              <a:gd name="connsiteX62301" fmla="*/ 1449821 w 6884782"/>
              <a:gd name="connsiteY62301" fmla="*/ 1107376 h 5973007"/>
              <a:gd name="connsiteX62302" fmla="*/ 1452608 w 6884782"/>
              <a:gd name="connsiteY62302" fmla="*/ 1114811 h 5973007"/>
              <a:gd name="connsiteX62303" fmla="*/ 1449821 w 6884782"/>
              <a:gd name="connsiteY62303" fmla="*/ 1118683 h 5973007"/>
              <a:gd name="connsiteX62304" fmla="*/ 1441973 w 6884782"/>
              <a:gd name="connsiteY62304" fmla="*/ 1119923 h 5973007"/>
              <a:gd name="connsiteX62305" fmla="*/ 1440837 w 6884782"/>
              <a:gd name="connsiteY62305" fmla="*/ 1115586 h 5973007"/>
              <a:gd name="connsiteX62306" fmla="*/ 1443006 w 6884782"/>
              <a:gd name="connsiteY62306" fmla="*/ 1112023 h 5973007"/>
              <a:gd name="connsiteX62307" fmla="*/ 1441870 w 6884782"/>
              <a:gd name="connsiteY62307" fmla="*/ 1112023 h 5973007"/>
              <a:gd name="connsiteX62308" fmla="*/ 1444452 w 6884782"/>
              <a:gd name="connsiteY62308" fmla="*/ 1109390 h 5973007"/>
              <a:gd name="connsiteX62309" fmla="*/ 1445794 w 6884782"/>
              <a:gd name="connsiteY62309" fmla="*/ 1108150 h 5973007"/>
              <a:gd name="connsiteX62310" fmla="*/ 1445587 w 6884782"/>
              <a:gd name="connsiteY62310" fmla="*/ 1107531 h 5973007"/>
              <a:gd name="connsiteX62311" fmla="*/ 1447033 w 6884782"/>
              <a:gd name="connsiteY62311" fmla="*/ 1104588 h 5973007"/>
              <a:gd name="connsiteX62312" fmla="*/ 1448582 w 6884782"/>
              <a:gd name="connsiteY62312" fmla="*/ 1104898 h 5973007"/>
              <a:gd name="connsiteX62313" fmla="*/ 1449098 w 6884782"/>
              <a:gd name="connsiteY62313" fmla="*/ 1104743 h 5973007"/>
              <a:gd name="connsiteX62314" fmla="*/ 1451783 w 6884782"/>
              <a:gd name="connsiteY62314" fmla="*/ 1099011 h 5973007"/>
              <a:gd name="connsiteX62315" fmla="*/ 1453538 w 6884782"/>
              <a:gd name="connsiteY62315" fmla="*/ 1098392 h 5973007"/>
              <a:gd name="connsiteX62316" fmla="*/ 4533036 w 6884782"/>
              <a:gd name="connsiteY62316" fmla="*/ 1098174 h 5973007"/>
              <a:gd name="connsiteX62317" fmla="*/ 4538371 w 6884782"/>
              <a:gd name="connsiteY62317" fmla="*/ 1098458 h 5973007"/>
              <a:gd name="connsiteX62318" fmla="*/ 4545840 w 6884782"/>
              <a:gd name="connsiteY62318" fmla="*/ 1104291 h 5973007"/>
              <a:gd name="connsiteX62319" fmla="*/ 4533889 w 6884782"/>
              <a:gd name="connsiteY62319" fmla="*/ 1117949 h 5973007"/>
              <a:gd name="connsiteX62320" fmla="*/ 4526419 w 6884782"/>
              <a:gd name="connsiteY62320" fmla="*/ 1110551 h 5973007"/>
              <a:gd name="connsiteX62321" fmla="*/ 4533036 w 6884782"/>
              <a:gd name="connsiteY62321" fmla="*/ 1098174 h 5973007"/>
              <a:gd name="connsiteX62322" fmla="*/ 1375890 w 6884782"/>
              <a:gd name="connsiteY62322" fmla="*/ 1097928 h 5973007"/>
              <a:gd name="connsiteX62323" fmla="*/ 1394166 w 6884782"/>
              <a:gd name="connsiteY62323" fmla="*/ 1111094 h 5973007"/>
              <a:gd name="connsiteX62324" fmla="*/ 1394579 w 6884782"/>
              <a:gd name="connsiteY62324" fmla="*/ 1156943 h 5973007"/>
              <a:gd name="connsiteX62325" fmla="*/ 1361743 w 6884782"/>
              <a:gd name="connsiteY62325" fmla="*/ 1167321 h 5973007"/>
              <a:gd name="connsiteX62326" fmla="*/ 1343157 w 6884782"/>
              <a:gd name="connsiteY62326" fmla="*/ 1157563 h 5973007"/>
              <a:gd name="connsiteX62327" fmla="*/ 1331076 w 6884782"/>
              <a:gd name="connsiteY62327" fmla="*/ 1133864 h 5973007"/>
              <a:gd name="connsiteX62328" fmla="*/ 1335929 w 6884782"/>
              <a:gd name="connsiteY62328" fmla="*/ 1120232 h 5973007"/>
              <a:gd name="connsiteX62329" fmla="*/ 1338511 w 6884782"/>
              <a:gd name="connsiteY62329" fmla="*/ 1112642 h 5973007"/>
              <a:gd name="connsiteX62330" fmla="*/ 1335206 w 6884782"/>
              <a:gd name="connsiteY62330" fmla="*/ 1110939 h 5973007"/>
              <a:gd name="connsiteX62331" fmla="*/ 1339646 w 6884782"/>
              <a:gd name="connsiteY62331" fmla="*/ 1109080 h 5973007"/>
              <a:gd name="connsiteX62332" fmla="*/ 1340679 w 6884782"/>
              <a:gd name="connsiteY62332" fmla="*/ 1106447 h 5973007"/>
              <a:gd name="connsiteX62333" fmla="*/ 1375890 w 6884782"/>
              <a:gd name="connsiteY62333" fmla="*/ 1097928 h 5973007"/>
              <a:gd name="connsiteX62334" fmla="*/ 927654 w 6884782"/>
              <a:gd name="connsiteY62334" fmla="*/ 1097618 h 5973007"/>
              <a:gd name="connsiteX62335" fmla="*/ 929409 w 6884782"/>
              <a:gd name="connsiteY62335" fmla="*/ 1097773 h 5973007"/>
              <a:gd name="connsiteX62336" fmla="*/ 931061 w 6884782"/>
              <a:gd name="connsiteY62336" fmla="*/ 1105363 h 5973007"/>
              <a:gd name="connsiteX62337" fmla="*/ 924040 w 6884782"/>
              <a:gd name="connsiteY62337" fmla="*/ 1107221 h 5973007"/>
              <a:gd name="connsiteX62338" fmla="*/ 923111 w 6884782"/>
              <a:gd name="connsiteY62338" fmla="*/ 1105517 h 5973007"/>
              <a:gd name="connsiteX62339" fmla="*/ 922595 w 6884782"/>
              <a:gd name="connsiteY62339" fmla="*/ 1103349 h 5973007"/>
              <a:gd name="connsiteX62340" fmla="*/ 924143 w 6884782"/>
              <a:gd name="connsiteY62340" fmla="*/ 1099011 h 5973007"/>
              <a:gd name="connsiteX62341" fmla="*/ 926208 w 6884782"/>
              <a:gd name="connsiteY62341" fmla="*/ 1097773 h 5973007"/>
              <a:gd name="connsiteX62342" fmla="*/ 927654 w 6884782"/>
              <a:gd name="connsiteY62342" fmla="*/ 1097618 h 5973007"/>
              <a:gd name="connsiteX62343" fmla="*/ 4727674 w 6884782"/>
              <a:gd name="connsiteY62343" fmla="*/ 1097320 h 5973007"/>
              <a:gd name="connsiteX62344" fmla="*/ 4741760 w 6884782"/>
              <a:gd name="connsiteY62344" fmla="*/ 1115104 h 5973007"/>
              <a:gd name="connsiteX62345" fmla="*/ 4742187 w 6884782"/>
              <a:gd name="connsiteY62345" fmla="*/ 1117664 h 5973007"/>
              <a:gd name="connsiteX62346" fmla="*/ 4739839 w 6884782"/>
              <a:gd name="connsiteY62346" fmla="*/ 1119799 h 5973007"/>
              <a:gd name="connsiteX62347" fmla="*/ 4728314 w 6884782"/>
              <a:gd name="connsiteY62347" fmla="*/ 1110836 h 5973007"/>
              <a:gd name="connsiteX62348" fmla="*/ 4727674 w 6884782"/>
              <a:gd name="connsiteY62348" fmla="*/ 1107563 h 5973007"/>
              <a:gd name="connsiteX62349" fmla="*/ 4726607 w 6884782"/>
              <a:gd name="connsiteY62349" fmla="*/ 1105287 h 5973007"/>
              <a:gd name="connsiteX62350" fmla="*/ 4727674 w 6884782"/>
              <a:gd name="connsiteY62350" fmla="*/ 1097320 h 5973007"/>
              <a:gd name="connsiteX62351" fmla="*/ 1457668 w 6884782"/>
              <a:gd name="connsiteY62351" fmla="*/ 1097308 h 5973007"/>
              <a:gd name="connsiteX62352" fmla="*/ 1463038 w 6884782"/>
              <a:gd name="connsiteY62352" fmla="*/ 1100870 h 5973007"/>
              <a:gd name="connsiteX62353" fmla="*/ 1458494 w 6884782"/>
              <a:gd name="connsiteY62353" fmla="*/ 1102884 h 5973007"/>
              <a:gd name="connsiteX62354" fmla="*/ 1457359 w 6884782"/>
              <a:gd name="connsiteY62354" fmla="*/ 1102419 h 5973007"/>
              <a:gd name="connsiteX62355" fmla="*/ 1456429 w 6884782"/>
              <a:gd name="connsiteY62355" fmla="*/ 1102109 h 5973007"/>
              <a:gd name="connsiteX62356" fmla="*/ 1454261 w 6884782"/>
              <a:gd name="connsiteY62356" fmla="*/ 1101180 h 5973007"/>
              <a:gd name="connsiteX62357" fmla="*/ 1457668 w 6884782"/>
              <a:gd name="connsiteY62357" fmla="*/ 1097308 h 5973007"/>
              <a:gd name="connsiteX62358" fmla="*/ 1053007 w 6884782"/>
              <a:gd name="connsiteY62358" fmla="*/ 1096378 h 5973007"/>
              <a:gd name="connsiteX62359" fmla="*/ 1070664 w 6884782"/>
              <a:gd name="connsiteY62359" fmla="*/ 1099321 h 5973007"/>
              <a:gd name="connsiteX62360" fmla="*/ 1039377 w 6884782"/>
              <a:gd name="connsiteY62360" fmla="*/ 1107686 h 5973007"/>
              <a:gd name="connsiteX62361" fmla="*/ 1053007 w 6884782"/>
              <a:gd name="connsiteY62361" fmla="*/ 1096378 h 5973007"/>
              <a:gd name="connsiteX62362" fmla="*/ 1404388 w 6884782"/>
              <a:gd name="connsiteY62362" fmla="*/ 1095914 h 5973007"/>
              <a:gd name="connsiteX62363" fmla="*/ 1404491 w 6884782"/>
              <a:gd name="connsiteY62363" fmla="*/ 1110009 h 5973007"/>
              <a:gd name="connsiteX62364" fmla="*/ 1399845 w 6884782"/>
              <a:gd name="connsiteY62364" fmla="*/ 1103813 h 5973007"/>
              <a:gd name="connsiteX62365" fmla="*/ 1404388 w 6884782"/>
              <a:gd name="connsiteY62365" fmla="*/ 1095914 h 5973007"/>
              <a:gd name="connsiteX62366" fmla="*/ 4694167 w 6884782"/>
              <a:gd name="connsiteY62366" fmla="*/ 1095470 h 5973007"/>
              <a:gd name="connsiteX62367" fmla="*/ 4696301 w 6884782"/>
              <a:gd name="connsiteY62367" fmla="*/ 1096751 h 5973007"/>
              <a:gd name="connsiteX62368" fmla="*/ 4697796 w 6884782"/>
              <a:gd name="connsiteY62368" fmla="*/ 1098885 h 5973007"/>
              <a:gd name="connsiteX62369" fmla="*/ 4693527 w 6884782"/>
              <a:gd name="connsiteY62369" fmla="*/ 1100307 h 5973007"/>
              <a:gd name="connsiteX62370" fmla="*/ 4693100 w 6884782"/>
              <a:gd name="connsiteY62370" fmla="*/ 1098174 h 5973007"/>
              <a:gd name="connsiteX62371" fmla="*/ 4692033 w 6884782"/>
              <a:gd name="connsiteY62371" fmla="*/ 1098174 h 5973007"/>
              <a:gd name="connsiteX62372" fmla="*/ 4692887 w 6884782"/>
              <a:gd name="connsiteY62372" fmla="*/ 1095897 h 5973007"/>
              <a:gd name="connsiteX62373" fmla="*/ 4693954 w 6884782"/>
              <a:gd name="connsiteY62373" fmla="*/ 1095755 h 5973007"/>
              <a:gd name="connsiteX62374" fmla="*/ 4694167 w 6884782"/>
              <a:gd name="connsiteY62374" fmla="*/ 1095470 h 5973007"/>
              <a:gd name="connsiteX62375" fmla="*/ 5132105 w 6884782"/>
              <a:gd name="connsiteY62375" fmla="*/ 1094617 h 5973007"/>
              <a:gd name="connsiteX62376" fmla="*/ 5136160 w 6884782"/>
              <a:gd name="connsiteY62376" fmla="*/ 1095470 h 5973007"/>
              <a:gd name="connsiteX62377" fmla="*/ 5131891 w 6884782"/>
              <a:gd name="connsiteY62377" fmla="*/ 1104006 h 5973007"/>
              <a:gd name="connsiteX62378" fmla="*/ 5128477 w 6884782"/>
              <a:gd name="connsiteY62378" fmla="*/ 1095329 h 5973007"/>
              <a:gd name="connsiteX62379" fmla="*/ 5132105 w 6884782"/>
              <a:gd name="connsiteY62379" fmla="*/ 1094617 h 5973007"/>
              <a:gd name="connsiteX62380" fmla="*/ 1427311 w 6884782"/>
              <a:gd name="connsiteY62380" fmla="*/ 1093900 h 5973007"/>
              <a:gd name="connsiteX62381" fmla="*/ 1430202 w 6884782"/>
              <a:gd name="connsiteY62381" fmla="*/ 1107376 h 5973007"/>
              <a:gd name="connsiteX62382" fmla="*/ 1427311 w 6884782"/>
              <a:gd name="connsiteY62382" fmla="*/ 1093900 h 5973007"/>
              <a:gd name="connsiteX62383" fmla="*/ 968544 w 6884782"/>
              <a:gd name="connsiteY62383" fmla="*/ 1093281 h 5973007"/>
              <a:gd name="connsiteX62384" fmla="*/ 973913 w 6884782"/>
              <a:gd name="connsiteY62384" fmla="*/ 1095604 h 5973007"/>
              <a:gd name="connsiteX62385" fmla="*/ 974739 w 6884782"/>
              <a:gd name="connsiteY62385" fmla="*/ 1098082 h 5973007"/>
              <a:gd name="connsiteX62386" fmla="*/ 972054 w 6884782"/>
              <a:gd name="connsiteY62386" fmla="*/ 1097773 h 5973007"/>
              <a:gd name="connsiteX62387" fmla="*/ 971125 w 6884782"/>
              <a:gd name="connsiteY62387" fmla="*/ 1096069 h 5973007"/>
              <a:gd name="connsiteX62388" fmla="*/ 968440 w 6884782"/>
              <a:gd name="connsiteY62388" fmla="*/ 1094985 h 5973007"/>
              <a:gd name="connsiteX62389" fmla="*/ 968544 w 6884782"/>
              <a:gd name="connsiteY62389" fmla="*/ 1093281 h 5973007"/>
              <a:gd name="connsiteX62390" fmla="*/ 1427414 w 6884782"/>
              <a:gd name="connsiteY62390" fmla="*/ 1091886 h 5973007"/>
              <a:gd name="connsiteX62391" fmla="*/ 1427414 w 6884782"/>
              <a:gd name="connsiteY62391" fmla="*/ 1093745 h 5973007"/>
              <a:gd name="connsiteX62392" fmla="*/ 1426382 w 6884782"/>
              <a:gd name="connsiteY62392" fmla="*/ 1093126 h 5973007"/>
              <a:gd name="connsiteX62393" fmla="*/ 1427414 w 6884782"/>
              <a:gd name="connsiteY62393" fmla="*/ 1091886 h 5973007"/>
              <a:gd name="connsiteX62394" fmla="*/ 3385264 w 6884782"/>
              <a:gd name="connsiteY62394" fmla="*/ 1090065 h 5973007"/>
              <a:gd name="connsiteX62395" fmla="*/ 3378648 w 6884782"/>
              <a:gd name="connsiteY62395" fmla="*/ 1091345 h 5973007"/>
              <a:gd name="connsiteX62396" fmla="*/ 3377794 w 6884782"/>
              <a:gd name="connsiteY62396" fmla="*/ 1091345 h 5973007"/>
              <a:gd name="connsiteX62397" fmla="*/ 3379928 w 6884782"/>
              <a:gd name="connsiteY62397" fmla="*/ 1092483 h 5973007"/>
              <a:gd name="connsiteX62398" fmla="*/ 3380996 w 6884782"/>
              <a:gd name="connsiteY62398" fmla="*/ 1094190 h 5973007"/>
              <a:gd name="connsiteX62399" fmla="*/ 3386117 w 6884782"/>
              <a:gd name="connsiteY62399" fmla="*/ 1090918 h 5973007"/>
              <a:gd name="connsiteX62400" fmla="*/ 4516602 w 6884782"/>
              <a:gd name="connsiteY62400" fmla="*/ 1089638 h 5973007"/>
              <a:gd name="connsiteX62401" fmla="*/ 4521084 w 6884782"/>
              <a:gd name="connsiteY62401" fmla="*/ 1090065 h 5973007"/>
              <a:gd name="connsiteX62402" fmla="*/ 4506785 w 6884782"/>
              <a:gd name="connsiteY62402" fmla="*/ 1113539 h 5973007"/>
              <a:gd name="connsiteX62403" fmla="*/ 4502516 w 6884782"/>
              <a:gd name="connsiteY62403" fmla="*/ 1108843 h 5973007"/>
              <a:gd name="connsiteX62404" fmla="*/ 4516602 w 6884782"/>
              <a:gd name="connsiteY62404" fmla="*/ 1089638 h 5973007"/>
              <a:gd name="connsiteX62405" fmla="*/ 3295414 w 6884782"/>
              <a:gd name="connsiteY62405" fmla="*/ 1089638 h 5973007"/>
              <a:gd name="connsiteX62406" fmla="*/ 3294134 w 6884782"/>
              <a:gd name="connsiteY62406" fmla="*/ 1091629 h 5973007"/>
              <a:gd name="connsiteX62407" fmla="*/ 3296054 w 6884782"/>
              <a:gd name="connsiteY62407" fmla="*/ 1091060 h 5973007"/>
              <a:gd name="connsiteX62408" fmla="*/ 1212951 w 6884782"/>
              <a:gd name="connsiteY62408" fmla="*/ 1089563 h 5973007"/>
              <a:gd name="connsiteX62409" fmla="*/ 1216772 w 6884782"/>
              <a:gd name="connsiteY62409" fmla="*/ 1097618 h 5973007"/>
              <a:gd name="connsiteX62410" fmla="*/ 1214293 w 6884782"/>
              <a:gd name="connsiteY62410" fmla="*/ 1104278 h 5973007"/>
              <a:gd name="connsiteX62411" fmla="*/ 1216875 w 6884782"/>
              <a:gd name="connsiteY62411" fmla="*/ 1107686 h 5973007"/>
              <a:gd name="connsiteX62412" fmla="*/ 1211815 w 6884782"/>
              <a:gd name="connsiteY62412" fmla="*/ 1114037 h 5973007"/>
              <a:gd name="connsiteX62413" fmla="*/ 1195914 w 6884782"/>
              <a:gd name="connsiteY62413" fmla="*/ 1108615 h 5973007"/>
              <a:gd name="connsiteX62414" fmla="*/ 1196327 w 6884782"/>
              <a:gd name="connsiteY62414" fmla="*/ 1107996 h 5973007"/>
              <a:gd name="connsiteX62415" fmla="*/ 1190854 w 6884782"/>
              <a:gd name="connsiteY62415" fmla="*/ 1106292 h 5973007"/>
              <a:gd name="connsiteX62416" fmla="*/ 1190544 w 6884782"/>
              <a:gd name="connsiteY62416" fmla="*/ 1102884 h 5973007"/>
              <a:gd name="connsiteX62417" fmla="*/ 1196017 w 6884782"/>
              <a:gd name="connsiteY62417" fmla="*/ 1095604 h 5973007"/>
              <a:gd name="connsiteX62418" fmla="*/ 1196430 w 6884782"/>
              <a:gd name="connsiteY62418" fmla="*/ 1095139 h 5973007"/>
              <a:gd name="connsiteX62419" fmla="*/ 1196946 w 6884782"/>
              <a:gd name="connsiteY62419" fmla="*/ 1094055 h 5973007"/>
              <a:gd name="connsiteX62420" fmla="*/ 1196636 w 6884782"/>
              <a:gd name="connsiteY62420" fmla="*/ 1093900 h 5973007"/>
              <a:gd name="connsiteX62421" fmla="*/ 1196946 w 6884782"/>
              <a:gd name="connsiteY62421" fmla="*/ 1093900 h 5973007"/>
              <a:gd name="connsiteX62422" fmla="*/ 1197772 w 6884782"/>
              <a:gd name="connsiteY62422" fmla="*/ 1091886 h 5973007"/>
              <a:gd name="connsiteX62423" fmla="*/ 1199218 w 6884782"/>
              <a:gd name="connsiteY62423" fmla="*/ 1092661 h 5973007"/>
              <a:gd name="connsiteX62424" fmla="*/ 1201799 w 6884782"/>
              <a:gd name="connsiteY62424" fmla="*/ 1091731 h 5973007"/>
              <a:gd name="connsiteX62425" fmla="*/ 1203555 w 6884782"/>
              <a:gd name="connsiteY62425" fmla="*/ 1093281 h 5973007"/>
              <a:gd name="connsiteX62426" fmla="*/ 1203658 w 6884782"/>
              <a:gd name="connsiteY62426" fmla="*/ 1098237 h 5973007"/>
              <a:gd name="connsiteX62427" fmla="*/ 1209647 w 6884782"/>
              <a:gd name="connsiteY62427" fmla="*/ 1101335 h 5973007"/>
              <a:gd name="connsiteX62428" fmla="*/ 1212641 w 6884782"/>
              <a:gd name="connsiteY62428" fmla="*/ 1102884 h 5973007"/>
              <a:gd name="connsiteX62429" fmla="*/ 1211815 w 6884782"/>
              <a:gd name="connsiteY62429" fmla="*/ 1101955 h 5973007"/>
              <a:gd name="connsiteX62430" fmla="*/ 1212951 w 6884782"/>
              <a:gd name="connsiteY62430" fmla="*/ 1089563 h 5973007"/>
              <a:gd name="connsiteX62431" fmla="*/ 1290703 w 6884782"/>
              <a:gd name="connsiteY62431" fmla="*/ 1089408 h 5973007"/>
              <a:gd name="connsiteX62432" fmla="*/ 1289154 w 6884782"/>
              <a:gd name="connsiteY62432" fmla="*/ 1106447 h 5973007"/>
              <a:gd name="connsiteX62433" fmla="*/ 1263753 w 6884782"/>
              <a:gd name="connsiteY62433" fmla="*/ 1119923 h 5973007"/>
              <a:gd name="connsiteX62434" fmla="*/ 1262101 w 6884782"/>
              <a:gd name="connsiteY62434" fmla="*/ 1118064 h 5973007"/>
              <a:gd name="connsiteX62435" fmla="*/ 1261481 w 6884782"/>
              <a:gd name="connsiteY62435" fmla="*/ 1112488 h 5973007"/>
              <a:gd name="connsiteX62436" fmla="*/ 1290703 w 6884782"/>
              <a:gd name="connsiteY62436" fmla="*/ 1089408 h 5973007"/>
              <a:gd name="connsiteX62437" fmla="*/ 976804 w 6884782"/>
              <a:gd name="connsiteY62437" fmla="*/ 1089408 h 5973007"/>
              <a:gd name="connsiteX62438" fmla="*/ 978146 w 6884782"/>
              <a:gd name="connsiteY62438" fmla="*/ 1090028 h 5973007"/>
              <a:gd name="connsiteX62439" fmla="*/ 979902 w 6884782"/>
              <a:gd name="connsiteY62439" fmla="*/ 1091886 h 5973007"/>
              <a:gd name="connsiteX62440" fmla="*/ 981554 w 6884782"/>
              <a:gd name="connsiteY62440" fmla="*/ 1092971 h 5973007"/>
              <a:gd name="connsiteX62441" fmla="*/ 981554 w 6884782"/>
              <a:gd name="connsiteY62441" fmla="*/ 1095604 h 5973007"/>
              <a:gd name="connsiteX62442" fmla="*/ 979798 w 6884782"/>
              <a:gd name="connsiteY62442" fmla="*/ 1094520 h 5973007"/>
              <a:gd name="connsiteX62443" fmla="*/ 975462 w 6884782"/>
              <a:gd name="connsiteY62443" fmla="*/ 1090647 h 5973007"/>
              <a:gd name="connsiteX62444" fmla="*/ 976804 w 6884782"/>
              <a:gd name="connsiteY62444" fmla="*/ 1089408 h 5973007"/>
              <a:gd name="connsiteX62445" fmla="*/ 4385135 w 6884782"/>
              <a:gd name="connsiteY62445" fmla="*/ 1089210 h 5973007"/>
              <a:gd name="connsiteX62446" fmla="*/ 4391751 w 6884782"/>
              <a:gd name="connsiteY62446" fmla="*/ 1100592 h 5973007"/>
              <a:gd name="connsiteX62447" fmla="*/ 4380013 w 6884782"/>
              <a:gd name="connsiteY62447" fmla="*/ 1092910 h 5973007"/>
              <a:gd name="connsiteX62448" fmla="*/ 4385135 w 6884782"/>
              <a:gd name="connsiteY62448" fmla="*/ 1089210 h 5973007"/>
              <a:gd name="connsiteX62449" fmla="*/ 1137781 w 6884782"/>
              <a:gd name="connsiteY62449" fmla="*/ 1088634 h 5973007"/>
              <a:gd name="connsiteX62450" fmla="*/ 1144286 w 6884782"/>
              <a:gd name="connsiteY62450" fmla="*/ 1105517 h 5973007"/>
              <a:gd name="connsiteX62451" fmla="*/ 1135199 w 6884782"/>
              <a:gd name="connsiteY62451" fmla="*/ 1092971 h 5973007"/>
              <a:gd name="connsiteX62452" fmla="*/ 1137781 w 6884782"/>
              <a:gd name="connsiteY62452" fmla="*/ 1088634 h 5973007"/>
              <a:gd name="connsiteX62453" fmla="*/ 4341598 w 6884782"/>
              <a:gd name="connsiteY62453" fmla="*/ 1088215 h 5973007"/>
              <a:gd name="connsiteX62454" fmla="*/ 4330927 w 6884782"/>
              <a:gd name="connsiteY62454" fmla="*/ 1111689 h 5973007"/>
              <a:gd name="connsiteX62455" fmla="*/ 4341598 w 6884782"/>
              <a:gd name="connsiteY62455" fmla="*/ 1088215 h 5973007"/>
              <a:gd name="connsiteX62456" fmla="*/ 4854659 w 6884782"/>
              <a:gd name="connsiteY62456" fmla="*/ 1088073 h 5973007"/>
              <a:gd name="connsiteX62457" fmla="*/ 4858073 w 6884782"/>
              <a:gd name="connsiteY62457" fmla="*/ 1088784 h 5973007"/>
              <a:gd name="connsiteX62458" fmla="*/ 4857433 w 6884782"/>
              <a:gd name="connsiteY62458" fmla="*/ 1096039 h 5973007"/>
              <a:gd name="connsiteX62459" fmla="*/ 4849750 w 6884782"/>
              <a:gd name="connsiteY62459" fmla="*/ 1092340 h 5973007"/>
              <a:gd name="connsiteX62460" fmla="*/ 4851244 w 6884782"/>
              <a:gd name="connsiteY62460" fmla="*/ 1089922 h 5973007"/>
              <a:gd name="connsiteX62461" fmla="*/ 4854659 w 6884782"/>
              <a:gd name="connsiteY62461" fmla="*/ 1088073 h 5973007"/>
              <a:gd name="connsiteX62462" fmla="*/ 1425762 w 6884782"/>
              <a:gd name="connsiteY62462" fmla="*/ 1087859 h 5973007"/>
              <a:gd name="connsiteX62463" fmla="*/ 1425762 w 6884782"/>
              <a:gd name="connsiteY62463" fmla="*/ 1089718 h 5973007"/>
              <a:gd name="connsiteX62464" fmla="*/ 1425039 w 6884782"/>
              <a:gd name="connsiteY62464" fmla="*/ 1089408 h 5973007"/>
              <a:gd name="connsiteX62465" fmla="*/ 1425039 w 6884782"/>
              <a:gd name="connsiteY62465" fmla="*/ 1088014 h 5973007"/>
              <a:gd name="connsiteX62466" fmla="*/ 1425762 w 6884782"/>
              <a:gd name="connsiteY62466" fmla="*/ 1087859 h 5973007"/>
              <a:gd name="connsiteX62467" fmla="*/ 3621733 w 6884782"/>
              <a:gd name="connsiteY62467" fmla="*/ 1087503 h 5973007"/>
              <a:gd name="connsiteX62468" fmla="*/ 3623653 w 6884782"/>
              <a:gd name="connsiteY62468" fmla="*/ 1088926 h 5973007"/>
              <a:gd name="connsiteX62469" fmla="*/ 3623653 w 6884782"/>
              <a:gd name="connsiteY62469" fmla="*/ 1090207 h 5973007"/>
              <a:gd name="connsiteX62470" fmla="*/ 3623867 w 6884782"/>
              <a:gd name="connsiteY62470" fmla="*/ 1090349 h 5973007"/>
              <a:gd name="connsiteX62471" fmla="*/ 3622587 w 6884782"/>
              <a:gd name="connsiteY62471" fmla="*/ 1092198 h 5973007"/>
              <a:gd name="connsiteX62472" fmla="*/ 3620239 w 6884782"/>
              <a:gd name="connsiteY62472" fmla="*/ 1093052 h 5973007"/>
              <a:gd name="connsiteX62473" fmla="*/ 3619385 w 6884782"/>
              <a:gd name="connsiteY62473" fmla="*/ 1088215 h 5973007"/>
              <a:gd name="connsiteX62474" fmla="*/ 3621520 w 6884782"/>
              <a:gd name="connsiteY62474" fmla="*/ 1088642 h 5973007"/>
              <a:gd name="connsiteX62475" fmla="*/ 3621733 w 6884782"/>
              <a:gd name="connsiteY62475" fmla="*/ 1087503 h 5973007"/>
              <a:gd name="connsiteX62476" fmla="*/ 1044230 w 6884782"/>
              <a:gd name="connsiteY62476" fmla="*/ 1085845 h 5973007"/>
              <a:gd name="connsiteX62477" fmla="*/ 1049496 w 6884782"/>
              <a:gd name="connsiteY62477" fmla="*/ 1086310 h 5973007"/>
              <a:gd name="connsiteX62478" fmla="*/ 1046812 w 6884782"/>
              <a:gd name="connsiteY62478" fmla="*/ 1091886 h 5973007"/>
              <a:gd name="connsiteX62479" fmla="*/ 1045056 w 6884782"/>
              <a:gd name="connsiteY62479" fmla="*/ 1090802 h 5973007"/>
              <a:gd name="connsiteX62480" fmla="*/ 1043714 w 6884782"/>
              <a:gd name="connsiteY62480" fmla="*/ 1088324 h 5973007"/>
              <a:gd name="connsiteX62481" fmla="*/ 1044230 w 6884782"/>
              <a:gd name="connsiteY62481" fmla="*/ 1085845 h 5973007"/>
              <a:gd name="connsiteX62482" fmla="*/ 1482553 w 6884782"/>
              <a:gd name="connsiteY62482" fmla="*/ 1085691 h 5973007"/>
              <a:gd name="connsiteX62483" fmla="*/ 1483586 w 6884782"/>
              <a:gd name="connsiteY62483" fmla="*/ 1086000 h 5973007"/>
              <a:gd name="connsiteX62484" fmla="*/ 1483482 w 6884782"/>
              <a:gd name="connsiteY62484" fmla="*/ 1086775 h 5973007"/>
              <a:gd name="connsiteX62485" fmla="*/ 1482037 w 6884782"/>
              <a:gd name="connsiteY62485" fmla="*/ 1086000 h 5973007"/>
              <a:gd name="connsiteX62486" fmla="*/ 1482553 w 6884782"/>
              <a:gd name="connsiteY62486" fmla="*/ 1085691 h 5973007"/>
              <a:gd name="connsiteX62487" fmla="*/ 3855855 w 6884782"/>
              <a:gd name="connsiteY62487" fmla="*/ 1085654 h 5973007"/>
              <a:gd name="connsiteX62488" fmla="*/ 3866098 w 6884782"/>
              <a:gd name="connsiteY62488" fmla="*/ 1093052 h 5973007"/>
              <a:gd name="connsiteX62489" fmla="*/ 3866526 w 6884782"/>
              <a:gd name="connsiteY62489" fmla="*/ 1093764 h 5973007"/>
              <a:gd name="connsiteX62490" fmla="*/ 3868020 w 6884782"/>
              <a:gd name="connsiteY62490" fmla="*/ 1094332 h 5973007"/>
              <a:gd name="connsiteX62491" fmla="*/ 3868233 w 6884782"/>
              <a:gd name="connsiteY62491" fmla="*/ 1093905 h 5973007"/>
              <a:gd name="connsiteX62492" fmla="*/ 3868446 w 6884782"/>
              <a:gd name="connsiteY62492" fmla="*/ 1094474 h 5973007"/>
              <a:gd name="connsiteX62493" fmla="*/ 3871007 w 6884782"/>
              <a:gd name="connsiteY62493" fmla="*/ 1095470 h 5973007"/>
              <a:gd name="connsiteX62494" fmla="*/ 3870153 w 6884782"/>
              <a:gd name="connsiteY62494" fmla="*/ 1097462 h 5973007"/>
              <a:gd name="connsiteX62495" fmla="*/ 3871221 w 6884782"/>
              <a:gd name="connsiteY62495" fmla="*/ 1101019 h 5973007"/>
              <a:gd name="connsiteX62496" fmla="*/ 3869086 w 6884782"/>
              <a:gd name="connsiteY62496" fmla="*/ 1103438 h 5973007"/>
              <a:gd name="connsiteX62497" fmla="*/ 3862470 w 6884782"/>
              <a:gd name="connsiteY62497" fmla="*/ 1103580 h 5973007"/>
              <a:gd name="connsiteX62498" fmla="*/ 3857989 w 6884782"/>
              <a:gd name="connsiteY62498" fmla="*/ 1111832 h 5973007"/>
              <a:gd name="connsiteX62499" fmla="*/ 3855855 w 6884782"/>
              <a:gd name="connsiteY62499" fmla="*/ 1115957 h 5973007"/>
              <a:gd name="connsiteX62500" fmla="*/ 3857135 w 6884782"/>
              <a:gd name="connsiteY62500" fmla="*/ 1114819 h 5973007"/>
              <a:gd name="connsiteX62501" fmla="*/ 3874209 w 6884782"/>
              <a:gd name="connsiteY62501" fmla="*/ 1116384 h 5973007"/>
              <a:gd name="connsiteX62502" fmla="*/ 3863111 w 6884782"/>
              <a:gd name="connsiteY62502" fmla="*/ 1121648 h 5973007"/>
              <a:gd name="connsiteX62503" fmla="*/ 3853934 w 6884782"/>
              <a:gd name="connsiteY62503" fmla="*/ 1118376 h 5973007"/>
              <a:gd name="connsiteX62504" fmla="*/ 3849452 w 6884782"/>
              <a:gd name="connsiteY62504" fmla="*/ 1121933 h 5973007"/>
              <a:gd name="connsiteX62505" fmla="*/ 3840702 w 6884782"/>
              <a:gd name="connsiteY62505" fmla="*/ 1114819 h 5973007"/>
              <a:gd name="connsiteX62506" fmla="*/ 3848171 w 6884782"/>
              <a:gd name="connsiteY62506" fmla="*/ 1092910 h 5973007"/>
              <a:gd name="connsiteX62507" fmla="*/ 3849025 w 6884782"/>
              <a:gd name="connsiteY62507" fmla="*/ 1093479 h 5973007"/>
              <a:gd name="connsiteX62508" fmla="*/ 3851159 w 6884782"/>
              <a:gd name="connsiteY62508" fmla="*/ 1085938 h 5973007"/>
              <a:gd name="connsiteX62509" fmla="*/ 3855855 w 6884782"/>
              <a:gd name="connsiteY62509" fmla="*/ 1085654 h 5973007"/>
              <a:gd name="connsiteX62510" fmla="*/ 1298137 w 6884782"/>
              <a:gd name="connsiteY62510" fmla="*/ 1085381 h 5973007"/>
              <a:gd name="connsiteX62511" fmla="*/ 1309908 w 6884782"/>
              <a:gd name="connsiteY62511" fmla="*/ 1102264 h 5973007"/>
              <a:gd name="connsiteX62512" fmla="*/ 1301751 w 6884782"/>
              <a:gd name="connsiteY62512" fmla="*/ 1105053 h 5973007"/>
              <a:gd name="connsiteX62513" fmla="*/ 1294317 w 6884782"/>
              <a:gd name="connsiteY62513" fmla="*/ 1096378 h 5973007"/>
              <a:gd name="connsiteX62514" fmla="*/ 1298137 w 6884782"/>
              <a:gd name="connsiteY62514" fmla="*/ 1085381 h 5973007"/>
              <a:gd name="connsiteX62515" fmla="*/ 1216255 w 6884782"/>
              <a:gd name="connsiteY62515" fmla="*/ 1085226 h 5973007"/>
              <a:gd name="connsiteX62516" fmla="*/ 1219869 w 6884782"/>
              <a:gd name="connsiteY62516" fmla="*/ 1085226 h 5973007"/>
              <a:gd name="connsiteX62517" fmla="*/ 1223277 w 6884782"/>
              <a:gd name="connsiteY62517" fmla="*/ 1087859 h 5973007"/>
              <a:gd name="connsiteX62518" fmla="*/ 1222554 w 6884782"/>
              <a:gd name="connsiteY62518" fmla="*/ 1087395 h 5973007"/>
              <a:gd name="connsiteX62519" fmla="*/ 1221625 w 6884782"/>
              <a:gd name="connsiteY62519" fmla="*/ 1088788 h 5973007"/>
              <a:gd name="connsiteX62520" fmla="*/ 1222347 w 6884782"/>
              <a:gd name="connsiteY62520" fmla="*/ 1089253 h 5973007"/>
              <a:gd name="connsiteX62521" fmla="*/ 1220798 w 6884782"/>
              <a:gd name="connsiteY62521" fmla="*/ 1090182 h 5973007"/>
              <a:gd name="connsiteX62522" fmla="*/ 1214087 w 6884782"/>
              <a:gd name="connsiteY62522" fmla="*/ 1088788 h 5973007"/>
              <a:gd name="connsiteX62523" fmla="*/ 1216255 w 6884782"/>
              <a:gd name="connsiteY62523" fmla="*/ 1085226 h 5973007"/>
              <a:gd name="connsiteX62524" fmla="*/ 1547295 w 6884782"/>
              <a:gd name="connsiteY62524" fmla="*/ 1084142 h 5973007"/>
              <a:gd name="connsiteX62525" fmla="*/ 1551218 w 6884782"/>
              <a:gd name="connsiteY62525" fmla="*/ 1088943 h 5973007"/>
              <a:gd name="connsiteX62526" fmla="*/ 1552974 w 6884782"/>
              <a:gd name="connsiteY62526" fmla="*/ 1096688 h 5973007"/>
              <a:gd name="connsiteX62527" fmla="*/ 1551735 w 6884782"/>
              <a:gd name="connsiteY62527" fmla="*/ 1096224 h 5973007"/>
              <a:gd name="connsiteX62528" fmla="*/ 1547295 w 6884782"/>
              <a:gd name="connsiteY62528" fmla="*/ 1084142 h 5973007"/>
              <a:gd name="connsiteX62529" fmla="*/ 1446168 w 6884782"/>
              <a:gd name="connsiteY62529" fmla="*/ 1083561 h 5973007"/>
              <a:gd name="connsiteX62530" fmla="*/ 1453951 w 6884782"/>
              <a:gd name="connsiteY62530" fmla="*/ 1085381 h 5973007"/>
              <a:gd name="connsiteX62531" fmla="*/ 1445691 w 6884782"/>
              <a:gd name="connsiteY62531" fmla="*/ 1094830 h 5973007"/>
              <a:gd name="connsiteX62532" fmla="*/ 1441870 w 6884782"/>
              <a:gd name="connsiteY62532" fmla="*/ 1090338 h 5973007"/>
              <a:gd name="connsiteX62533" fmla="*/ 1446168 w 6884782"/>
              <a:gd name="connsiteY62533" fmla="*/ 1083561 h 5973007"/>
              <a:gd name="connsiteX62534" fmla="*/ 1352244 w 6884782"/>
              <a:gd name="connsiteY62534" fmla="*/ 1083522 h 5973007"/>
              <a:gd name="connsiteX62535" fmla="*/ 1348940 w 6884782"/>
              <a:gd name="connsiteY62535" fmla="*/ 1090182 h 5973007"/>
              <a:gd name="connsiteX62536" fmla="*/ 1347081 w 6884782"/>
              <a:gd name="connsiteY62536" fmla="*/ 1086620 h 5973007"/>
              <a:gd name="connsiteX62537" fmla="*/ 1349869 w 6884782"/>
              <a:gd name="connsiteY62537" fmla="*/ 1083987 h 5973007"/>
              <a:gd name="connsiteX62538" fmla="*/ 1352244 w 6884782"/>
              <a:gd name="connsiteY62538" fmla="*/ 1083522 h 5973007"/>
              <a:gd name="connsiteX62539" fmla="*/ 5047804 w 6884782"/>
              <a:gd name="connsiteY62539" fmla="*/ 1083520 h 5973007"/>
              <a:gd name="connsiteX62540" fmla="*/ 5066158 w 6884782"/>
              <a:gd name="connsiteY62540" fmla="*/ 1083947 h 5973007"/>
              <a:gd name="connsiteX62541" fmla="*/ 5068079 w 6884782"/>
              <a:gd name="connsiteY62541" fmla="*/ 1086365 h 5973007"/>
              <a:gd name="connsiteX62542" fmla="*/ 5069359 w 6884782"/>
              <a:gd name="connsiteY62542" fmla="*/ 1086365 h 5973007"/>
              <a:gd name="connsiteX62543" fmla="*/ 5070213 w 6884782"/>
              <a:gd name="connsiteY62543" fmla="*/ 1087646 h 5973007"/>
              <a:gd name="connsiteX62544" fmla="*/ 5070213 w 6884782"/>
              <a:gd name="connsiteY62544" fmla="*/ 1088784 h 5973007"/>
              <a:gd name="connsiteX62545" fmla="*/ 5063170 w 6884782"/>
              <a:gd name="connsiteY62545" fmla="*/ 1089922 h 5973007"/>
              <a:gd name="connsiteX62546" fmla="*/ 5057621 w 6884782"/>
              <a:gd name="connsiteY62546" fmla="*/ 1089922 h 5973007"/>
              <a:gd name="connsiteX62547" fmla="*/ 5039694 w 6884782"/>
              <a:gd name="connsiteY62547" fmla="*/ 1084658 h 5973007"/>
              <a:gd name="connsiteX62548" fmla="*/ 5047804 w 6884782"/>
              <a:gd name="connsiteY62548" fmla="*/ 1083520 h 5973007"/>
              <a:gd name="connsiteX62549" fmla="*/ 1011498 w 6884782"/>
              <a:gd name="connsiteY62549" fmla="*/ 1083367 h 5973007"/>
              <a:gd name="connsiteX62550" fmla="*/ 1018106 w 6884782"/>
              <a:gd name="connsiteY62550" fmla="*/ 1092971 h 5973007"/>
              <a:gd name="connsiteX62551" fmla="*/ 1010879 w 6884782"/>
              <a:gd name="connsiteY62551" fmla="*/ 1091112 h 5973007"/>
              <a:gd name="connsiteX62552" fmla="*/ 1010156 w 6884782"/>
              <a:gd name="connsiteY62552" fmla="*/ 1087240 h 5973007"/>
              <a:gd name="connsiteX62553" fmla="*/ 1011498 w 6884782"/>
              <a:gd name="connsiteY62553" fmla="*/ 1083367 h 5973007"/>
              <a:gd name="connsiteX62554" fmla="*/ 1425659 w 6884782"/>
              <a:gd name="connsiteY62554" fmla="*/ 1082593 h 5973007"/>
              <a:gd name="connsiteX62555" fmla="*/ 1425659 w 6884782"/>
              <a:gd name="connsiteY62555" fmla="*/ 1085226 h 5973007"/>
              <a:gd name="connsiteX62556" fmla="*/ 1425556 w 6884782"/>
              <a:gd name="connsiteY62556" fmla="*/ 1085536 h 5973007"/>
              <a:gd name="connsiteX62557" fmla="*/ 1425969 w 6884782"/>
              <a:gd name="connsiteY62557" fmla="*/ 1085536 h 5973007"/>
              <a:gd name="connsiteX62558" fmla="*/ 1425142 w 6884782"/>
              <a:gd name="connsiteY62558" fmla="*/ 1086775 h 5973007"/>
              <a:gd name="connsiteX62559" fmla="*/ 1424833 w 6884782"/>
              <a:gd name="connsiteY62559" fmla="*/ 1087395 h 5973007"/>
              <a:gd name="connsiteX62560" fmla="*/ 1424730 w 6884782"/>
              <a:gd name="connsiteY62560" fmla="*/ 1087085 h 5973007"/>
              <a:gd name="connsiteX62561" fmla="*/ 1422974 w 6884782"/>
              <a:gd name="connsiteY62561" fmla="*/ 1088634 h 5973007"/>
              <a:gd name="connsiteX62562" fmla="*/ 1422561 w 6884782"/>
              <a:gd name="connsiteY62562" fmla="*/ 1090338 h 5973007"/>
              <a:gd name="connsiteX62563" fmla="*/ 1416263 w 6884782"/>
              <a:gd name="connsiteY62563" fmla="*/ 1093281 h 5973007"/>
              <a:gd name="connsiteX62564" fmla="*/ 1419257 w 6884782"/>
              <a:gd name="connsiteY62564" fmla="*/ 1090028 h 5973007"/>
              <a:gd name="connsiteX62565" fmla="*/ 1421219 w 6884782"/>
              <a:gd name="connsiteY62565" fmla="*/ 1088478 h 5973007"/>
              <a:gd name="connsiteX62566" fmla="*/ 1422355 w 6884782"/>
              <a:gd name="connsiteY62566" fmla="*/ 1086930 h 5973007"/>
              <a:gd name="connsiteX62567" fmla="*/ 1424007 w 6884782"/>
              <a:gd name="connsiteY62567" fmla="*/ 1086000 h 5973007"/>
              <a:gd name="connsiteX62568" fmla="*/ 1423903 w 6884782"/>
              <a:gd name="connsiteY62568" fmla="*/ 1085845 h 5973007"/>
              <a:gd name="connsiteX62569" fmla="*/ 1423594 w 6884782"/>
              <a:gd name="connsiteY62569" fmla="*/ 1084142 h 5973007"/>
              <a:gd name="connsiteX62570" fmla="*/ 1424110 w 6884782"/>
              <a:gd name="connsiteY62570" fmla="*/ 1083212 h 5973007"/>
              <a:gd name="connsiteX62571" fmla="*/ 1425659 w 6884782"/>
              <a:gd name="connsiteY62571" fmla="*/ 1082593 h 5973007"/>
              <a:gd name="connsiteX62572" fmla="*/ 4817524 w 6884782"/>
              <a:gd name="connsiteY62572" fmla="*/ 1082381 h 5973007"/>
              <a:gd name="connsiteX62573" fmla="*/ 4820939 w 6884782"/>
              <a:gd name="connsiteY62573" fmla="*/ 1082524 h 5973007"/>
              <a:gd name="connsiteX62574" fmla="*/ 4813469 w 6884782"/>
              <a:gd name="connsiteY62574" fmla="*/ 1091345 h 5973007"/>
              <a:gd name="connsiteX62575" fmla="*/ 4817524 w 6884782"/>
              <a:gd name="connsiteY62575" fmla="*/ 1082381 h 5973007"/>
              <a:gd name="connsiteX62576" fmla="*/ 4204369 w 6884782"/>
              <a:gd name="connsiteY62576" fmla="*/ 1082381 h 5973007"/>
              <a:gd name="connsiteX62577" fmla="*/ 4209918 w 6884782"/>
              <a:gd name="connsiteY62577" fmla="*/ 1085654 h 5973007"/>
              <a:gd name="connsiteX62578" fmla="*/ 4202021 w 6884782"/>
              <a:gd name="connsiteY62578" fmla="*/ 1096324 h 5973007"/>
              <a:gd name="connsiteX62579" fmla="*/ 4204369 w 6884782"/>
              <a:gd name="connsiteY62579" fmla="*/ 1082381 h 5973007"/>
              <a:gd name="connsiteX62580" fmla="*/ 4827768 w 6884782"/>
              <a:gd name="connsiteY62580" fmla="*/ 1082097 h 5973007"/>
              <a:gd name="connsiteX62581" fmla="*/ 4843561 w 6884782"/>
              <a:gd name="connsiteY62581" fmla="*/ 1100734 h 5973007"/>
              <a:gd name="connsiteX62582" fmla="*/ 4839506 w 6884782"/>
              <a:gd name="connsiteY62582" fmla="*/ 1125205 h 5973007"/>
              <a:gd name="connsiteX62583" fmla="*/ 4827768 w 6884782"/>
              <a:gd name="connsiteY62583" fmla="*/ 1082097 h 5973007"/>
              <a:gd name="connsiteX62584" fmla="*/ 1537589 w 6884782"/>
              <a:gd name="connsiteY62584" fmla="*/ 1081818 h 5973007"/>
              <a:gd name="connsiteX62585" fmla="*/ 1538621 w 6884782"/>
              <a:gd name="connsiteY62585" fmla="*/ 1082128 h 5973007"/>
              <a:gd name="connsiteX62586" fmla="*/ 1538311 w 6884782"/>
              <a:gd name="connsiteY62586" fmla="*/ 1081818 h 5973007"/>
              <a:gd name="connsiteX62587" fmla="*/ 4919966 w 6884782"/>
              <a:gd name="connsiteY62587" fmla="*/ 1081671 h 5973007"/>
              <a:gd name="connsiteX62588" fmla="*/ 4931063 w 6884782"/>
              <a:gd name="connsiteY62588" fmla="*/ 1082951 h 5973007"/>
              <a:gd name="connsiteX62589" fmla="*/ 4933411 w 6884782"/>
              <a:gd name="connsiteY62589" fmla="*/ 1082951 h 5973007"/>
              <a:gd name="connsiteX62590" fmla="*/ 4935545 w 6884782"/>
              <a:gd name="connsiteY62590" fmla="*/ 1085369 h 5973007"/>
              <a:gd name="connsiteX62591" fmla="*/ 4925087 w 6884782"/>
              <a:gd name="connsiteY62591" fmla="*/ 1086365 h 5973007"/>
              <a:gd name="connsiteX62592" fmla="*/ 4919325 w 6884782"/>
              <a:gd name="connsiteY62592" fmla="*/ 1086365 h 5973007"/>
              <a:gd name="connsiteX62593" fmla="*/ 4917191 w 6884782"/>
              <a:gd name="connsiteY62593" fmla="*/ 1083804 h 5973007"/>
              <a:gd name="connsiteX62594" fmla="*/ 4917404 w 6884782"/>
              <a:gd name="connsiteY62594" fmla="*/ 1082666 h 5973007"/>
              <a:gd name="connsiteX62595" fmla="*/ 4919966 w 6884782"/>
              <a:gd name="connsiteY62595" fmla="*/ 1081671 h 5973007"/>
              <a:gd name="connsiteX62596" fmla="*/ 3784786 w 6884782"/>
              <a:gd name="connsiteY62596" fmla="*/ 1081101 h 5973007"/>
              <a:gd name="connsiteX62597" fmla="*/ 3787347 w 6884782"/>
              <a:gd name="connsiteY62597" fmla="*/ 1088073 h 5973007"/>
              <a:gd name="connsiteX62598" fmla="*/ 3776889 w 6884782"/>
              <a:gd name="connsiteY62598" fmla="*/ 1096039 h 5973007"/>
              <a:gd name="connsiteX62599" fmla="*/ 3784786 w 6884782"/>
              <a:gd name="connsiteY62599" fmla="*/ 1081101 h 5973007"/>
              <a:gd name="connsiteX62600" fmla="*/ 4146106 w 6884782"/>
              <a:gd name="connsiteY62600" fmla="*/ 1080674 h 5973007"/>
              <a:gd name="connsiteX62601" fmla="*/ 4153789 w 6884782"/>
              <a:gd name="connsiteY62601" fmla="*/ 1080817 h 5973007"/>
              <a:gd name="connsiteX62602" fmla="*/ 4138849 w 6884782"/>
              <a:gd name="connsiteY62602" fmla="*/ 1101019 h 5973007"/>
              <a:gd name="connsiteX62603" fmla="*/ 4146106 w 6884782"/>
              <a:gd name="connsiteY62603" fmla="*/ 1080674 h 5973007"/>
              <a:gd name="connsiteX62604" fmla="*/ 993222 w 6884782"/>
              <a:gd name="connsiteY62604" fmla="*/ 1080114 h 5973007"/>
              <a:gd name="connsiteX62605" fmla="*/ 995803 w 6884782"/>
              <a:gd name="connsiteY62605" fmla="*/ 1080269 h 5973007"/>
              <a:gd name="connsiteX62606" fmla="*/ 999107 w 6884782"/>
              <a:gd name="connsiteY62606" fmla="*/ 1088014 h 5973007"/>
              <a:gd name="connsiteX62607" fmla="*/ 993119 w 6884782"/>
              <a:gd name="connsiteY62607" fmla="*/ 1081973 h 5973007"/>
              <a:gd name="connsiteX62608" fmla="*/ 993222 w 6884782"/>
              <a:gd name="connsiteY62608" fmla="*/ 1080114 h 5973007"/>
              <a:gd name="connsiteX62609" fmla="*/ 1211093 w 6884782"/>
              <a:gd name="connsiteY62609" fmla="*/ 1079959 h 5973007"/>
              <a:gd name="connsiteX62610" fmla="*/ 1212538 w 6884782"/>
              <a:gd name="connsiteY62610" fmla="*/ 1086620 h 5973007"/>
              <a:gd name="connsiteX62611" fmla="*/ 1207478 w 6884782"/>
              <a:gd name="connsiteY62611" fmla="*/ 1086000 h 5973007"/>
              <a:gd name="connsiteX62612" fmla="*/ 1205930 w 6884782"/>
              <a:gd name="connsiteY62612" fmla="*/ 1083522 h 5973007"/>
              <a:gd name="connsiteX62613" fmla="*/ 1207582 w 6884782"/>
              <a:gd name="connsiteY62613" fmla="*/ 1080889 h 5973007"/>
              <a:gd name="connsiteX62614" fmla="*/ 1211093 w 6884782"/>
              <a:gd name="connsiteY62614" fmla="*/ 1079959 h 5973007"/>
              <a:gd name="connsiteX62615" fmla="*/ 964413 w 6884782"/>
              <a:gd name="connsiteY62615" fmla="*/ 1079495 h 5973007"/>
              <a:gd name="connsiteX62616" fmla="*/ 968854 w 6884782"/>
              <a:gd name="connsiteY62616" fmla="*/ 1080734 h 5973007"/>
              <a:gd name="connsiteX62617" fmla="*/ 971332 w 6884782"/>
              <a:gd name="connsiteY62617" fmla="*/ 1088478 h 5973007"/>
              <a:gd name="connsiteX62618" fmla="*/ 967821 w 6884782"/>
              <a:gd name="connsiteY62618" fmla="*/ 1088169 h 5973007"/>
              <a:gd name="connsiteX62619" fmla="*/ 963897 w 6884782"/>
              <a:gd name="connsiteY62619" fmla="*/ 1081353 h 5973007"/>
              <a:gd name="connsiteX62620" fmla="*/ 964413 w 6884782"/>
              <a:gd name="connsiteY62620" fmla="*/ 1079495 h 5973007"/>
              <a:gd name="connsiteX62621" fmla="*/ 4470717 w 6884782"/>
              <a:gd name="connsiteY62621" fmla="*/ 1079394 h 5973007"/>
              <a:gd name="connsiteX62622" fmla="*/ 4484589 w 6884782"/>
              <a:gd name="connsiteY62622" fmla="*/ 1089353 h 5973007"/>
              <a:gd name="connsiteX62623" fmla="*/ 4488004 w 6884782"/>
              <a:gd name="connsiteY62623" fmla="*/ 1106568 h 5973007"/>
              <a:gd name="connsiteX62624" fmla="*/ 4477333 w 6884782"/>
              <a:gd name="connsiteY62624" fmla="*/ 1095470 h 5973007"/>
              <a:gd name="connsiteX62625" fmla="*/ 4470717 w 6884782"/>
              <a:gd name="connsiteY62625" fmla="*/ 1079394 h 5973007"/>
              <a:gd name="connsiteX62626" fmla="*/ 1125596 w 6884782"/>
              <a:gd name="connsiteY62626" fmla="*/ 1079185 h 5973007"/>
              <a:gd name="connsiteX62627" fmla="*/ 1126629 w 6884782"/>
              <a:gd name="connsiteY62627" fmla="*/ 1080734 h 5973007"/>
              <a:gd name="connsiteX62628" fmla="*/ 1124977 w 6884782"/>
              <a:gd name="connsiteY62628" fmla="*/ 1082593 h 5973007"/>
              <a:gd name="connsiteX62629" fmla="*/ 1119814 w 6884782"/>
              <a:gd name="connsiteY62629" fmla="*/ 1083212 h 5973007"/>
              <a:gd name="connsiteX62630" fmla="*/ 1118885 w 6884782"/>
              <a:gd name="connsiteY62630" fmla="*/ 1081663 h 5973007"/>
              <a:gd name="connsiteX62631" fmla="*/ 1125596 w 6884782"/>
              <a:gd name="connsiteY62631" fmla="*/ 1079185 h 5973007"/>
              <a:gd name="connsiteX62632" fmla="*/ 4299767 w 6884782"/>
              <a:gd name="connsiteY62632" fmla="*/ 1078967 h 5973007"/>
              <a:gd name="connsiteX62633" fmla="*/ 4301048 w 6884782"/>
              <a:gd name="connsiteY62633" fmla="*/ 1082524 h 5973007"/>
              <a:gd name="connsiteX62634" fmla="*/ 4299341 w 6884782"/>
              <a:gd name="connsiteY62634" fmla="*/ 1096039 h 5973007"/>
              <a:gd name="connsiteX62635" fmla="*/ 4291017 w 6884782"/>
              <a:gd name="connsiteY62635" fmla="*/ 1094902 h 5973007"/>
              <a:gd name="connsiteX62636" fmla="*/ 4299767 w 6884782"/>
              <a:gd name="connsiteY62636" fmla="*/ 1078967 h 5973007"/>
              <a:gd name="connsiteX62637" fmla="*/ 4038542 w 6884782"/>
              <a:gd name="connsiteY62637" fmla="*/ 1078967 h 5973007"/>
              <a:gd name="connsiteX62638" fmla="*/ 4040249 w 6884782"/>
              <a:gd name="connsiteY62638" fmla="*/ 1091345 h 5973007"/>
              <a:gd name="connsiteX62639" fmla="*/ 4038542 w 6884782"/>
              <a:gd name="connsiteY62639" fmla="*/ 1078967 h 5973007"/>
              <a:gd name="connsiteX62640" fmla="*/ 1430202 w 6884782"/>
              <a:gd name="connsiteY62640" fmla="*/ 1078720 h 5973007"/>
              <a:gd name="connsiteX62641" fmla="*/ 1436604 w 6884782"/>
              <a:gd name="connsiteY62641" fmla="*/ 1084297 h 5973007"/>
              <a:gd name="connsiteX62642" fmla="*/ 1436295 w 6884782"/>
              <a:gd name="connsiteY62642" fmla="*/ 1085381 h 5973007"/>
              <a:gd name="connsiteX62643" fmla="*/ 1430512 w 6884782"/>
              <a:gd name="connsiteY62643" fmla="*/ 1093281 h 5973007"/>
              <a:gd name="connsiteX62644" fmla="*/ 1426278 w 6884782"/>
              <a:gd name="connsiteY62644" fmla="*/ 1089098 h 5973007"/>
              <a:gd name="connsiteX62645" fmla="*/ 1426278 w 6884782"/>
              <a:gd name="connsiteY62645" fmla="*/ 1086620 h 5973007"/>
              <a:gd name="connsiteX62646" fmla="*/ 1430202 w 6884782"/>
              <a:gd name="connsiteY62646" fmla="*/ 1078720 h 5973007"/>
              <a:gd name="connsiteX62647" fmla="*/ 1328082 w 6884782"/>
              <a:gd name="connsiteY62647" fmla="*/ 1077636 h 5973007"/>
              <a:gd name="connsiteX62648" fmla="*/ 1327256 w 6884782"/>
              <a:gd name="connsiteY62648" fmla="*/ 1088634 h 5973007"/>
              <a:gd name="connsiteX62649" fmla="*/ 1322506 w 6884782"/>
              <a:gd name="connsiteY62649" fmla="*/ 1083677 h 5973007"/>
              <a:gd name="connsiteX62650" fmla="*/ 1328082 w 6884782"/>
              <a:gd name="connsiteY62650" fmla="*/ 1077636 h 5973007"/>
              <a:gd name="connsiteX62651" fmla="*/ 4583616 w 6884782"/>
              <a:gd name="connsiteY62651" fmla="*/ 1074699 h 5973007"/>
              <a:gd name="connsiteX62652" fmla="*/ 4590445 w 6884782"/>
              <a:gd name="connsiteY62652" fmla="*/ 1076407 h 5973007"/>
              <a:gd name="connsiteX62653" fmla="*/ 4578280 w 6884782"/>
              <a:gd name="connsiteY62653" fmla="*/ 1083947 h 5973007"/>
              <a:gd name="connsiteX62654" fmla="*/ 4576360 w 6884782"/>
              <a:gd name="connsiteY62654" fmla="*/ 1076691 h 5973007"/>
              <a:gd name="connsiteX62655" fmla="*/ 4583616 w 6884782"/>
              <a:gd name="connsiteY62655" fmla="*/ 1074699 h 5973007"/>
              <a:gd name="connsiteX62656" fmla="*/ 3826616 w 6884782"/>
              <a:gd name="connsiteY62656" fmla="*/ 1074699 h 5973007"/>
              <a:gd name="connsiteX62657" fmla="*/ 3840488 w 6884782"/>
              <a:gd name="connsiteY62657" fmla="*/ 1083804 h 5973007"/>
              <a:gd name="connsiteX62658" fmla="*/ 3841769 w 6884782"/>
              <a:gd name="connsiteY62658" fmla="*/ 1085938 h 5973007"/>
              <a:gd name="connsiteX62659" fmla="*/ 3841555 w 6884782"/>
              <a:gd name="connsiteY62659" fmla="*/ 1094617 h 5973007"/>
              <a:gd name="connsiteX62660" fmla="*/ 3825762 w 6884782"/>
              <a:gd name="connsiteY62660" fmla="*/ 1080106 h 5973007"/>
              <a:gd name="connsiteX62661" fmla="*/ 3824695 w 6884782"/>
              <a:gd name="connsiteY62661" fmla="*/ 1077829 h 5973007"/>
              <a:gd name="connsiteX62662" fmla="*/ 3826616 w 6884782"/>
              <a:gd name="connsiteY62662" fmla="*/ 1074699 h 5973007"/>
              <a:gd name="connsiteX62663" fmla="*/ 1467994 w 6884782"/>
              <a:gd name="connsiteY62663" fmla="*/ 1074074 h 5973007"/>
              <a:gd name="connsiteX62664" fmla="*/ 1476771 w 6884782"/>
              <a:gd name="connsiteY62664" fmla="*/ 1075158 h 5973007"/>
              <a:gd name="connsiteX62665" fmla="*/ 1466342 w 6884782"/>
              <a:gd name="connsiteY62665" fmla="*/ 1082128 h 5973007"/>
              <a:gd name="connsiteX62666" fmla="*/ 1465929 w 6884782"/>
              <a:gd name="connsiteY62666" fmla="*/ 1077481 h 5973007"/>
              <a:gd name="connsiteX62667" fmla="*/ 1467994 w 6884782"/>
              <a:gd name="connsiteY62667" fmla="*/ 1074074 h 5973007"/>
              <a:gd name="connsiteX62668" fmla="*/ 4559499 w 6884782"/>
              <a:gd name="connsiteY62668" fmla="*/ 1073561 h 5973007"/>
              <a:gd name="connsiteX62669" fmla="*/ 4562487 w 6884782"/>
              <a:gd name="connsiteY62669" fmla="*/ 1093479 h 5973007"/>
              <a:gd name="connsiteX62670" fmla="*/ 4553097 w 6884782"/>
              <a:gd name="connsiteY62670" fmla="*/ 1090349 h 5973007"/>
              <a:gd name="connsiteX62671" fmla="*/ 4559499 w 6884782"/>
              <a:gd name="connsiteY62671" fmla="*/ 1073561 h 5973007"/>
              <a:gd name="connsiteX62672" fmla="*/ 3424960 w 6884782"/>
              <a:gd name="connsiteY62672" fmla="*/ 1073277 h 5973007"/>
              <a:gd name="connsiteX62673" fmla="*/ 3424960 w 6884782"/>
              <a:gd name="connsiteY62673" fmla="*/ 1074272 h 5973007"/>
              <a:gd name="connsiteX62674" fmla="*/ 3426454 w 6884782"/>
              <a:gd name="connsiteY62674" fmla="*/ 1074557 h 5973007"/>
              <a:gd name="connsiteX62675" fmla="*/ 1083364 w 6884782"/>
              <a:gd name="connsiteY62675" fmla="*/ 1072679 h 5973007"/>
              <a:gd name="connsiteX62676" fmla="*/ 1086153 w 6884782"/>
              <a:gd name="connsiteY62676" fmla="*/ 1074228 h 5973007"/>
              <a:gd name="connsiteX62677" fmla="*/ 1089663 w 6884782"/>
              <a:gd name="connsiteY62677" fmla="*/ 1077791 h 5973007"/>
              <a:gd name="connsiteX62678" fmla="*/ 1092348 w 6884782"/>
              <a:gd name="connsiteY62678" fmla="*/ 1079030 h 5973007"/>
              <a:gd name="connsiteX62679" fmla="*/ 1092348 w 6884782"/>
              <a:gd name="connsiteY62679" fmla="*/ 1079805 h 5973007"/>
              <a:gd name="connsiteX62680" fmla="*/ 1081712 w 6884782"/>
              <a:gd name="connsiteY62680" fmla="*/ 1077017 h 5973007"/>
              <a:gd name="connsiteX62681" fmla="*/ 1080783 w 6884782"/>
              <a:gd name="connsiteY62681" fmla="*/ 1075622 h 5973007"/>
              <a:gd name="connsiteX62682" fmla="*/ 1081816 w 6884782"/>
              <a:gd name="connsiteY62682" fmla="*/ 1073764 h 5973007"/>
              <a:gd name="connsiteX62683" fmla="*/ 1083364 w 6884782"/>
              <a:gd name="connsiteY62683" fmla="*/ 1072679 h 5973007"/>
              <a:gd name="connsiteX62684" fmla="*/ 1371721 w 6884782"/>
              <a:gd name="connsiteY62684" fmla="*/ 1072602 h 5973007"/>
              <a:gd name="connsiteX62685" fmla="*/ 1374754 w 6884782"/>
              <a:gd name="connsiteY62685" fmla="*/ 1073144 h 5973007"/>
              <a:gd name="connsiteX62686" fmla="*/ 1372689 w 6884782"/>
              <a:gd name="connsiteY62686" fmla="*/ 1079030 h 5973007"/>
              <a:gd name="connsiteX62687" fmla="*/ 1368455 w 6884782"/>
              <a:gd name="connsiteY62687" fmla="*/ 1073454 h 5973007"/>
              <a:gd name="connsiteX62688" fmla="*/ 1371721 w 6884782"/>
              <a:gd name="connsiteY62688" fmla="*/ 1072602 h 5973007"/>
              <a:gd name="connsiteX62689" fmla="*/ 1239075 w 6884782"/>
              <a:gd name="connsiteY62689" fmla="*/ 1071285 h 5973007"/>
              <a:gd name="connsiteX62690" fmla="*/ 1241760 w 6884782"/>
              <a:gd name="connsiteY62690" fmla="*/ 1071440 h 5973007"/>
              <a:gd name="connsiteX62691" fmla="*/ 1244031 w 6884782"/>
              <a:gd name="connsiteY62691" fmla="*/ 1073454 h 5973007"/>
              <a:gd name="connsiteX62692" fmla="*/ 1244651 w 6884782"/>
              <a:gd name="connsiteY62692" fmla="*/ 1075777 h 5973007"/>
              <a:gd name="connsiteX62693" fmla="*/ 1242069 w 6884782"/>
              <a:gd name="connsiteY62693" fmla="*/ 1079805 h 5973007"/>
              <a:gd name="connsiteX62694" fmla="*/ 1235255 w 6884782"/>
              <a:gd name="connsiteY62694" fmla="*/ 1075467 h 5973007"/>
              <a:gd name="connsiteX62695" fmla="*/ 1239075 w 6884782"/>
              <a:gd name="connsiteY62695" fmla="*/ 1071285 h 5973007"/>
              <a:gd name="connsiteX62696" fmla="*/ 4784017 w 6884782"/>
              <a:gd name="connsiteY62696" fmla="*/ 1070574 h 5973007"/>
              <a:gd name="connsiteX62697" fmla="*/ 4782950 w 6884782"/>
              <a:gd name="connsiteY62697" fmla="*/ 1077402 h 5973007"/>
              <a:gd name="connsiteX62698" fmla="*/ 4778468 w 6884782"/>
              <a:gd name="connsiteY62698" fmla="*/ 1075837 h 5973007"/>
              <a:gd name="connsiteX62699" fmla="*/ 4784017 w 6884782"/>
              <a:gd name="connsiteY62699" fmla="*/ 1070574 h 5973007"/>
              <a:gd name="connsiteX62700" fmla="*/ 3918173 w 6884782"/>
              <a:gd name="connsiteY62700" fmla="*/ 1070004 h 5973007"/>
              <a:gd name="connsiteX62701" fmla="*/ 3919027 w 6884782"/>
              <a:gd name="connsiteY62701" fmla="*/ 1079679 h 5973007"/>
              <a:gd name="connsiteX62702" fmla="*/ 3917533 w 6884782"/>
              <a:gd name="connsiteY62702" fmla="*/ 1081386 h 5973007"/>
              <a:gd name="connsiteX62703" fmla="*/ 3918173 w 6884782"/>
              <a:gd name="connsiteY62703" fmla="*/ 1070004 h 5973007"/>
              <a:gd name="connsiteX62704" fmla="*/ 1119814 w 6884782"/>
              <a:gd name="connsiteY62704" fmla="*/ 1069891 h 5973007"/>
              <a:gd name="connsiteX62705" fmla="*/ 1122499 w 6884782"/>
              <a:gd name="connsiteY62705" fmla="*/ 1072060 h 5973007"/>
              <a:gd name="connsiteX62706" fmla="*/ 1119195 w 6884782"/>
              <a:gd name="connsiteY62706" fmla="*/ 1073299 h 5973007"/>
              <a:gd name="connsiteX62707" fmla="*/ 1118472 w 6884782"/>
              <a:gd name="connsiteY62707" fmla="*/ 1072060 h 5973007"/>
              <a:gd name="connsiteX62708" fmla="*/ 1119814 w 6884782"/>
              <a:gd name="connsiteY62708" fmla="*/ 1069891 h 5973007"/>
              <a:gd name="connsiteX62709" fmla="*/ 1121982 w 6884782"/>
              <a:gd name="connsiteY62709" fmla="*/ 1069426 h 5973007"/>
              <a:gd name="connsiteX62710" fmla="*/ 1121982 w 6884782"/>
              <a:gd name="connsiteY62710" fmla="*/ 1070975 h 5973007"/>
              <a:gd name="connsiteX62711" fmla="*/ 1121260 w 6884782"/>
              <a:gd name="connsiteY62711" fmla="*/ 1070046 h 5973007"/>
              <a:gd name="connsiteX62712" fmla="*/ 1121982 w 6884782"/>
              <a:gd name="connsiteY62712" fmla="*/ 1069426 h 5973007"/>
              <a:gd name="connsiteX62713" fmla="*/ 3707314 w 6884782"/>
              <a:gd name="connsiteY62713" fmla="*/ 1069293 h 5973007"/>
              <a:gd name="connsiteX62714" fmla="*/ 3732711 w 6884782"/>
              <a:gd name="connsiteY62714" fmla="*/ 1082381 h 5973007"/>
              <a:gd name="connsiteX62715" fmla="*/ 3714571 w 6884782"/>
              <a:gd name="connsiteY62715" fmla="*/ 1099881 h 5973007"/>
              <a:gd name="connsiteX62716" fmla="*/ 3679783 w 6884782"/>
              <a:gd name="connsiteY62716" fmla="*/ 1089495 h 5973007"/>
              <a:gd name="connsiteX62717" fmla="*/ 3680424 w 6884782"/>
              <a:gd name="connsiteY62717" fmla="*/ 1085796 h 5973007"/>
              <a:gd name="connsiteX62718" fmla="*/ 3707314 w 6884782"/>
              <a:gd name="connsiteY62718" fmla="*/ 1069293 h 5973007"/>
              <a:gd name="connsiteX62719" fmla="*/ 3833232 w 6884782"/>
              <a:gd name="connsiteY62719" fmla="*/ 1068724 h 5973007"/>
              <a:gd name="connsiteX62720" fmla="*/ 3832805 w 6884782"/>
              <a:gd name="connsiteY62720" fmla="*/ 1071427 h 5973007"/>
              <a:gd name="connsiteX62721" fmla="*/ 3828750 w 6884782"/>
              <a:gd name="connsiteY62721" fmla="*/ 1071712 h 5973007"/>
              <a:gd name="connsiteX62722" fmla="*/ 3828110 w 6884782"/>
              <a:gd name="connsiteY62722" fmla="*/ 1074272 h 5973007"/>
              <a:gd name="connsiteX62723" fmla="*/ 3826616 w 6884782"/>
              <a:gd name="connsiteY62723" fmla="*/ 1074699 h 5973007"/>
              <a:gd name="connsiteX62724" fmla="*/ 3824482 w 6884782"/>
              <a:gd name="connsiteY62724" fmla="*/ 1071854 h 5973007"/>
              <a:gd name="connsiteX62725" fmla="*/ 3830885 w 6884782"/>
              <a:gd name="connsiteY62725" fmla="*/ 1070289 h 5973007"/>
              <a:gd name="connsiteX62726" fmla="*/ 3833232 w 6884782"/>
              <a:gd name="connsiteY62726" fmla="*/ 1068724 h 5973007"/>
              <a:gd name="connsiteX62727" fmla="*/ 4445320 w 6884782"/>
              <a:gd name="connsiteY62727" fmla="*/ 1066021 h 5973007"/>
              <a:gd name="connsiteX62728" fmla="*/ 4454924 w 6884782"/>
              <a:gd name="connsiteY62728" fmla="*/ 1078825 h 5973007"/>
              <a:gd name="connsiteX62729" fmla="*/ 4458765 w 6884782"/>
              <a:gd name="connsiteY62729" fmla="*/ 1098031 h 5973007"/>
              <a:gd name="connsiteX62730" fmla="*/ 4443186 w 6884782"/>
              <a:gd name="connsiteY62730" fmla="*/ 1096324 h 5973007"/>
              <a:gd name="connsiteX62731" fmla="*/ 4445320 w 6884782"/>
              <a:gd name="connsiteY62731" fmla="*/ 1066021 h 5973007"/>
              <a:gd name="connsiteX62732" fmla="*/ 4475839 w 6884782"/>
              <a:gd name="connsiteY62732" fmla="*/ 1065736 h 5973007"/>
              <a:gd name="connsiteX62733" fmla="*/ 4480107 w 6884782"/>
              <a:gd name="connsiteY62733" fmla="*/ 1068013 h 5973007"/>
              <a:gd name="connsiteX62734" fmla="*/ 4475626 w 6884782"/>
              <a:gd name="connsiteY62734" fmla="*/ 1078256 h 5973007"/>
              <a:gd name="connsiteX62735" fmla="*/ 4475839 w 6884782"/>
              <a:gd name="connsiteY62735" fmla="*/ 1065736 h 5973007"/>
              <a:gd name="connsiteX62736" fmla="*/ 4628434 w 6884782"/>
              <a:gd name="connsiteY62736" fmla="*/ 1065309 h 5973007"/>
              <a:gd name="connsiteX62737" fmla="*/ 4636544 w 6884782"/>
              <a:gd name="connsiteY62737" fmla="*/ 1072707 h 5973007"/>
              <a:gd name="connsiteX62738" fmla="*/ 4631208 w 6884782"/>
              <a:gd name="connsiteY62738" fmla="*/ 1077118 h 5973007"/>
              <a:gd name="connsiteX62739" fmla="*/ 4628434 w 6884782"/>
              <a:gd name="connsiteY62739" fmla="*/ 1065309 h 5973007"/>
              <a:gd name="connsiteX62740" fmla="*/ 5014724 w 6884782"/>
              <a:gd name="connsiteY62740" fmla="*/ 1064314 h 5973007"/>
              <a:gd name="connsiteX62741" fmla="*/ 5008321 w 6884782"/>
              <a:gd name="connsiteY62741" fmla="*/ 1077829 h 5973007"/>
              <a:gd name="connsiteX62742" fmla="*/ 5014724 w 6884782"/>
              <a:gd name="connsiteY62742" fmla="*/ 1064314 h 5973007"/>
              <a:gd name="connsiteX62743" fmla="*/ 4276718 w 6884782"/>
              <a:gd name="connsiteY62743" fmla="*/ 1063887 h 5973007"/>
              <a:gd name="connsiteX62744" fmla="*/ 4279279 w 6884782"/>
              <a:gd name="connsiteY62744" fmla="*/ 1065594 h 5973007"/>
              <a:gd name="connsiteX62745" fmla="*/ 4271169 w 6884782"/>
              <a:gd name="connsiteY62745" fmla="*/ 1074130 h 5973007"/>
              <a:gd name="connsiteX62746" fmla="*/ 4267968 w 6884782"/>
              <a:gd name="connsiteY62746" fmla="*/ 1077118 h 5973007"/>
              <a:gd name="connsiteX62747" fmla="*/ 4269249 w 6884782"/>
              <a:gd name="connsiteY62747" fmla="*/ 1083235 h 5973007"/>
              <a:gd name="connsiteX62748" fmla="*/ 4266047 w 6884782"/>
              <a:gd name="connsiteY62748" fmla="*/ 1088499 h 5973007"/>
              <a:gd name="connsiteX62749" fmla="*/ 4261139 w 6884782"/>
              <a:gd name="connsiteY62749" fmla="*/ 1074984 h 5973007"/>
              <a:gd name="connsiteX62750" fmla="*/ 4263273 w 6884782"/>
              <a:gd name="connsiteY62750" fmla="*/ 1075126 h 5973007"/>
              <a:gd name="connsiteX62751" fmla="*/ 4267114 w 6884782"/>
              <a:gd name="connsiteY62751" fmla="*/ 1069720 h 5973007"/>
              <a:gd name="connsiteX62752" fmla="*/ 4270315 w 6884782"/>
              <a:gd name="connsiteY62752" fmla="*/ 1067301 h 5973007"/>
              <a:gd name="connsiteX62753" fmla="*/ 4272450 w 6884782"/>
              <a:gd name="connsiteY62753" fmla="*/ 1065736 h 5973007"/>
              <a:gd name="connsiteX62754" fmla="*/ 4274370 w 6884782"/>
              <a:gd name="connsiteY62754" fmla="*/ 1064314 h 5973007"/>
              <a:gd name="connsiteX62755" fmla="*/ 4276718 w 6884782"/>
              <a:gd name="connsiteY62755" fmla="*/ 1063887 h 5973007"/>
              <a:gd name="connsiteX62756" fmla="*/ 1465619 w 6884782"/>
              <a:gd name="connsiteY62756" fmla="*/ 1063850 h 5973007"/>
              <a:gd name="connsiteX62757" fmla="*/ 1467271 w 6884782"/>
              <a:gd name="connsiteY62757" fmla="*/ 1065089 h 5973007"/>
              <a:gd name="connsiteX62758" fmla="*/ 1466135 w 6884782"/>
              <a:gd name="connsiteY62758" fmla="*/ 1067103 h 5973007"/>
              <a:gd name="connsiteX62759" fmla="*/ 1457668 w 6884782"/>
              <a:gd name="connsiteY62759" fmla="*/ 1065554 h 5973007"/>
              <a:gd name="connsiteX62760" fmla="*/ 1465619 w 6884782"/>
              <a:gd name="connsiteY62760" fmla="*/ 1063850 h 5973007"/>
              <a:gd name="connsiteX62761" fmla="*/ 1551012 w 6884782"/>
              <a:gd name="connsiteY62761" fmla="*/ 1063541 h 5973007"/>
              <a:gd name="connsiteX62762" fmla="*/ 1557207 w 6884782"/>
              <a:gd name="connsiteY62762" fmla="*/ 1075467 h 5973007"/>
              <a:gd name="connsiteX62763" fmla="*/ 1557517 w 6884782"/>
              <a:gd name="connsiteY62763" fmla="*/ 1078255 h 5973007"/>
              <a:gd name="connsiteX62764" fmla="*/ 1560098 w 6884782"/>
              <a:gd name="connsiteY62764" fmla="*/ 1079340 h 5973007"/>
              <a:gd name="connsiteX62765" fmla="*/ 1558137 w 6884782"/>
              <a:gd name="connsiteY62765" fmla="*/ 1083212 h 5973007"/>
              <a:gd name="connsiteX62766" fmla="*/ 1555968 w 6884782"/>
              <a:gd name="connsiteY62766" fmla="*/ 1082593 h 5973007"/>
              <a:gd name="connsiteX62767" fmla="*/ 1556175 w 6884782"/>
              <a:gd name="connsiteY62767" fmla="*/ 1084297 h 5973007"/>
              <a:gd name="connsiteX62768" fmla="*/ 1551322 w 6884782"/>
              <a:gd name="connsiteY62768" fmla="*/ 1082902 h 5973007"/>
              <a:gd name="connsiteX62769" fmla="*/ 1549463 w 6884782"/>
              <a:gd name="connsiteY62769" fmla="*/ 1082902 h 5973007"/>
              <a:gd name="connsiteX62770" fmla="*/ 1550393 w 6884782"/>
              <a:gd name="connsiteY62770" fmla="*/ 1081353 h 5973007"/>
              <a:gd name="connsiteX62771" fmla="*/ 1553284 w 6884782"/>
              <a:gd name="connsiteY62771" fmla="*/ 1082902 h 5973007"/>
              <a:gd name="connsiteX62772" fmla="*/ 1554316 w 6884782"/>
              <a:gd name="connsiteY62772" fmla="*/ 1081353 h 5973007"/>
              <a:gd name="connsiteX62773" fmla="*/ 1555555 w 6884782"/>
              <a:gd name="connsiteY62773" fmla="*/ 1081663 h 5973007"/>
              <a:gd name="connsiteX62774" fmla="*/ 1555762 w 6884782"/>
              <a:gd name="connsiteY62774" fmla="*/ 1081818 h 5973007"/>
              <a:gd name="connsiteX62775" fmla="*/ 1555865 w 6884782"/>
              <a:gd name="connsiteY62775" fmla="*/ 1081663 h 5973007"/>
              <a:gd name="connsiteX62776" fmla="*/ 1555555 w 6884782"/>
              <a:gd name="connsiteY62776" fmla="*/ 1081663 h 5973007"/>
              <a:gd name="connsiteX62777" fmla="*/ 1551425 w 6884782"/>
              <a:gd name="connsiteY62777" fmla="*/ 1074074 h 5973007"/>
              <a:gd name="connsiteX62778" fmla="*/ 1550393 w 6884782"/>
              <a:gd name="connsiteY62778" fmla="*/ 1074074 h 5973007"/>
              <a:gd name="connsiteX62779" fmla="*/ 1549979 w 6884782"/>
              <a:gd name="connsiteY62779" fmla="*/ 1074693 h 5973007"/>
              <a:gd name="connsiteX62780" fmla="*/ 1550599 w 6884782"/>
              <a:gd name="connsiteY62780" fmla="*/ 1077017 h 5973007"/>
              <a:gd name="connsiteX62781" fmla="*/ 1546262 w 6884782"/>
              <a:gd name="connsiteY62781" fmla="*/ 1083832 h 5973007"/>
              <a:gd name="connsiteX62782" fmla="*/ 1543681 w 6884782"/>
              <a:gd name="connsiteY62782" fmla="*/ 1083212 h 5973007"/>
              <a:gd name="connsiteX62783" fmla="*/ 1541099 w 6884782"/>
              <a:gd name="connsiteY62783" fmla="*/ 1082748 h 5973007"/>
              <a:gd name="connsiteX62784" fmla="*/ 1542235 w 6884782"/>
              <a:gd name="connsiteY62784" fmla="*/ 1083057 h 5973007"/>
              <a:gd name="connsiteX62785" fmla="*/ 1543784 w 6884782"/>
              <a:gd name="connsiteY62785" fmla="*/ 1086775 h 5973007"/>
              <a:gd name="connsiteX62786" fmla="*/ 1537175 w 6884782"/>
              <a:gd name="connsiteY62786" fmla="*/ 1085226 h 5973007"/>
              <a:gd name="connsiteX62787" fmla="*/ 1537382 w 6884782"/>
              <a:gd name="connsiteY62787" fmla="*/ 1081818 h 5973007"/>
              <a:gd name="connsiteX62788" fmla="*/ 1537279 w 6884782"/>
              <a:gd name="connsiteY62788" fmla="*/ 1081663 h 5973007"/>
              <a:gd name="connsiteX62789" fmla="*/ 1533562 w 6884782"/>
              <a:gd name="connsiteY62789" fmla="*/ 1081353 h 5973007"/>
              <a:gd name="connsiteX62790" fmla="*/ 1533149 w 6884782"/>
              <a:gd name="connsiteY62790" fmla="*/ 1080579 h 5973007"/>
              <a:gd name="connsiteX62791" fmla="*/ 1534388 w 6884782"/>
              <a:gd name="connsiteY62791" fmla="*/ 1079030 h 5973007"/>
              <a:gd name="connsiteX62792" fmla="*/ 1535730 w 6884782"/>
              <a:gd name="connsiteY62792" fmla="*/ 1079030 h 5973007"/>
              <a:gd name="connsiteX62793" fmla="*/ 1534078 w 6884782"/>
              <a:gd name="connsiteY62793" fmla="*/ 1076087 h 5973007"/>
              <a:gd name="connsiteX62794" fmla="*/ 1540067 w 6884782"/>
              <a:gd name="connsiteY62794" fmla="*/ 1068342 h 5973007"/>
              <a:gd name="connsiteX62795" fmla="*/ 1549360 w 6884782"/>
              <a:gd name="connsiteY62795" fmla="*/ 1072370 h 5973007"/>
              <a:gd name="connsiteX62796" fmla="*/ 1550083 w 6884782"/>
              <a:gd name="connsiteY62796" fmla="*/ 1072215 h 5973007"/>
              <a:gd name="connsiteX62797" fmla="*/ 1549360 w 6884782"/>
              <a:gd name="connsiteY62797" fmla="*/ 1071440 h 5973007"/>
              <a:gd name="connsiteX62798" fmla="*/ 1548637 w 6884782"/>
              <a:gd name="connsiteY62798" fmla="*/ 1070666 h 5973007"/>
              <a:gd name="connsiteX62799" fmla="*/ 1548431 w 6884782"/>
              <a:gd name="connsiteY62799" fmla="*/ 1068807 h 5973007"/>
              <a:gd name="connsiteX62800" fmla="*/ 1551012 w 6884782"/>
              <a:gd name="connsiteY62800" fmla="*/ 1063541 h 5973007"/>
              <a:gd name="connsiteX62801" fmla="*/ 1244238 w 6884782"/>
              <a:gd name="connsiteY62801" fmla="*/ 1062611 h 5973007"/>
              <a:gd name="connsiteX62802" fmla="*/ 1252189 w 6884782"/>
              <a:gd name="connsiteY62802" fmla="*/ 1064160 h 5973007"/>
              <a:gd name="connsiteX62803" fmla="*/ 1244238 w 6884782"/>
              <a:gd name="connsiteY62803" fmla="*/ 1062611 h 5973007"/>
              <a:gd name="connsiteX62804" fmla="*/ 1353379 w 6884782"/>
              <a:gd name="connsiteY62804" fmla="*/ 1062146 h 5973007"/>
              <a:gd name="connsiteX62805" fmla="*/ 1367526 w 6884782"/>
              <a:gd name="connsiteY62805" fmla="*/ 1081818 h 5973007"/>
              <a:gd name="connsiteX62806" fmla="*/ 1352450 w 6884782"/>
              <a:gd name="connsiteY62806" fmla="*/ 1064315 h 5973007"/>
              <a:gd name="connsiteX62807" fmla="*/ 1353379 w 6884782"/>
              <a:gd name="connsiteY62807" fmla="*/ 1062146 h 5973007"/>
              <a:gd name="connsiteX62808" fmla="*/ 1238559 w 6884782"/>
              <a:gd name="connsiteY62808" fmla="*/ 1061991 h 5973007"/>
              <a:gd name="connsiteX62809" fmla="*/ 1241863 w 6884782"/>
              <a:gd name="connsiteY62809" fmla="*/ 1063076 h 5973007"/>
              <a:gd name="connsiteX62810" fmla="*/ 1238559 w 6884782"/>
              <a:gd name="connsiteY62810" fmla="*/ 1062766 h 5973007"/>
              <a:gd name="connsiteX62811" fmla="*/ 1237939 w 6884782"/>
              <a:gd name="connsiteY62811" fmla="*/ 1062301 h 5973007"/>
              <a:gd name="connsiteX62812" fmla="*/ 1238559 w 6884782"/>
              <a:gd name="connsiteY62812" fmla="*/ 1061991 h 5973007"/>
              <a:gd name="connsiteX62813" fmla="*/ 1116820 w 6884782"/>
              <a:gd name="connsiteY62813" fmla="*/ 1061991 h 5973007"/>
              <a:gd name="connsiteX62814" fmla="*/ 1118885 w 6884782"/>
              <a:gd name="connsiteY62814" fmla="*/ 1069272 h 5973007"/>
              <a:gd name="connsiteX62815" fmla="*/ 1112070 w 6884782"/>
              <a:gd name="connsiteY62815" fmla="*/ 1072679 h 5973007"/>
              <a:gd name="connsiteX62816" fmla="*/ 1111140 w 6884782"/>
              <a:gd name="connsiteY62816" fmla="*/ 1071130 h 5973007"/>
              <a:gd name="connsiteX62817" fmla="*/ 1110418 w 6884782"/>
              <a:gd name="connsiteY62817" fmla="*/ 1069117 h 5973007"/>
              <a:gd name="connsiteX62818" fmla="*/ 1110521 w 6884782"/>
              <a:gd name="connsiteY62818" fmla="*/ 1066948 h 5973007"/>
              <a:gd name="connsiteX62819" fmla="*/ 1111657 w 6884782"/>
              <a:gd name="connsiteY62819" fmla="*/ 1064315 h 5973007"/>
              <a:gd name="connsiteX62820" fmla="*/ 1115064 w 6884782"/>
              <a:gd name="connsiteY62820" fmla="*/ 1062301 h 5973007"/>
              <a:gd name="connsiteX62821" fmla="*/ 1116820 w 6884782"/>
              <a:gd name="connsiteY62821" fmla="*/ 1061991 h 5973007"/>
              <a:gd name="connsiteX62822" fmla="*/ 1093793 w 6884782"/>
              <a:gd name="connsiteY62822" fmla="*/ 1061372 h 5973007"/>
              <a:gd name="connsiteX62823" fmla="*/ 1096994 w 6884782"/>
              <a:gd name="connsiteY62823" fmla="*/ 1062146 h 5973007"/>
              <a:gd name="connsiteX62824" fmla="*/ 1097924 w 6884782"/>
              <a:gd name="connsiteY62824" fmla="*/ 1061682 h 5973007"/>
              <a:gd name="connsiteX62825" fmla="*/ 1100298 w 6884782"/>
              <a:gd name="connsiteY62825" fmla="*/ 1062921 h 5973007"/>
              <a:gd name="connsiteX62826" fmla="*/ 1100918 w 6884782"/>
              <a:gd name="connsiteY62826" fmla="*/ 1063850 h 5973007"/>
              <a:gd name="connsiteX62827" fmla="*/ 1103706 w 6884782"/>
              <a:gd name="connsiteY62827" fmla="*/ 1066019 h 5973007"/>
              <a:gd name="connsiteX62828" fmla="*/ 1102364 w 6884782"/>
              <a:gd name="connsiteY62828" fmla="*/ 1066638 h 5973007"/>
              <a:gd name="connsiteX62829" fmla="*/ 1101951 w 6884782"/>
              <a:gd name="connsiteY62829" fmla="*/ 1069891 h 5973007"/>
              <a:gd name="connsiteX62830" fmla="*/ 1103500 w 6884782"/>
              <a:gd name="connsiteY62830" fmla="*/ 1074228 h 5973007"/>
              <a:gd name="connsiteX62831" fmla="*/ 1100298 w 6884782"/>
              <a:gd name="connsiteY62831" fmla="*/ 1068807 h 5973007"/>
              <a:gd name="connsiteX62832" fmla="*/ 1099059 w 6884782"/>
              <a:gd name="connsiteY62832" fmla="*/ 1068342 h 5973007"/>
              <a:gd name="connsiteX62833" fmla="*/ 1098956 w 6884782"/>
              <a:gd name="connsiteY62833" fmla="*/ 1068497 h 5973007"/>
              <a:gd name="connsiteX62834" fmla="*/ 1098543 w 6884782"/>
              <a:gd name="connsiteY62834" fmla="*/ 1068187 h 5973007"/>
              <a:gd name="connsiteX62835" fmla="*/ 1097717 w 6884782"/>
              <a:gd name="connsiteY62835" fmla="*/ 1067723 h 5973007"/>
              <a:gd name="connsiteX62836" fmla="*/ 1097510 w 6884782"/>
              <a:gd name="connsiteY62836" fmla="*/ 1067413 h 5973007"/>
              <a:gd name="connsiteX62837" fmla="*/ 1095445 w 6884782"/>
              <a:gd name="connsiteY62837" fmla="*/ 1066329 h 5973007"/>
              <a:gd name="connsiteX62838" fmla="*/ 1091728 w 6884782"/>
              <a:gd name="connsiteY62838" fmla="*/ 1064625 h 5973007"/>
              <a:gd name="connsiteX62839" fmla="*/ 1091419 w 6884782"/>
              <a:gd name="connsiteY62839" fmla="*/ 1062611 h 5973007"/>
              <a:gd name="connsiteX62840" fmla="*/ 1093793 w 6884782"/>
              <a:gd name="connsiteY62840" fmla="*/ 1061372 h 5973007"/>
              <a:gd name="connsiteX62841" fmla="*/ 3777103 w 6884782"/>
              <a:gd name="connsiteY62841" fmla="*/ 1060046 h 5973007"/>
              <a:gd name="connsiteX62842" fmla="*/ 3780517 w 6884782"/>
              <a:gd name="connsiteY62842" fmla="*/ 1066021 h 5973007"/>
              <a:gd name="connsiteX62843" fmla="*/ 3782225 w 6884782"/>
              <a:gd name="connsiteY62843" fmla="*/ 1071569 h 5973007"/>
              <a:gd name="connsiteX62844" fmla="*/ 3766858 w 6884782"/>
              <a:gd name="connsiteY62844" fmla="*/ 1071143 h 5973007"/>
              <a:gd name="connsiteX62845" fmla="*/ 3768139 w 6884782"/>
              <a:gd name="connsiteY62845" fmla="*/ 1065167 h 5973007"/>
              <a:gd name="connsiteX62846" fmla="*/ 3777103 w 6884782"/>
              <a:gd name="connsiteY62846" fmla="*/ 1060046 h 5973007"/>
              <a:gd name="connsiteX62847" fmla="*/ 3681491 w 6884782"/>
              <a:gd name="connsiteY62847" fmla="*/ 1059049 h 5973007"/>
              <a:gd name="connsiteX62848" fmla="*/ 3685546 w 6884782"/>
              <a:gd name="connsiteY62848" fmla="*/ 1059761 h 5973007"/>
              <a:gd name="connsiteX62849" fmla="*/ 3687466 w 6884782"/>
              <a:gd name="connsiteY62849" fmla="*/ 1065736 h 5973007"/>
              <a:gd name="connsiteX62850" fmla="*/ 3682344 w 6884782"/>
              <a:gd name="connsiteY62850" fmla="*/ 1071427 h 5973007"/>
              <a:gd name="connsiteX62851" fmla="*/ 3682558 w 6884782"/>
              <a:gd name="connsiteY62851" fmla="*/ 1072280 h 5973007"/>
              <a:gd name="connsiteX62852" fmla="*/ 3671033 w 6884782"/>
              <a:gd name="connsiteY62852" fmla="*/ 1075695 h 5973007"/>
              <a:gd name="connsiteX62853" fmla="*/ 3668472 w 6884782"/>
              <a:gd name="connsiteY62853" fmla="*/ 1073988 h 5973007"/>
              <a:gd name="connsiteX62854" fmla="*/ 3668259 w 6884782"/>
              <a:gd name="connsiteY62854" fmla="*/ 1073988 h 5973007"/>
              <a:gd name="connsiteX62855" fmla="*/ 3668899 w 6884782"/>
              <a:gd name="connsiteY62855" fmla="*/ 1063176 h 5973007"/>
              <a:gd name="connsiteX62856" fmla="*/ 3672740 w 6884782"/>
              <a:gd name="connsiteY62856" fmla="*/ 1060330 h 5973007"/>
              <a:gd name="connsiteX62857" fmla="*/ 3677649 w 6884782"/>
              <a:gd name="connsiteY62857" fmla="*/ 1060330 h 5973007"/>
              <a:gd name="connsiteX62858" fmla="*/ 3681491 w 6884782"/>
              <a:gd name="connsiteY62858" fmla="*/ 1059049 h 5973007"/>
              <a:gd name="connsiteX62859" fmla="*/ 3852653 w 6884782"/>
              <a:gd name="connsiteY62859" fmla="*/ 1058907 h 5973007"/>
              <a:gd name="connsiteX62860" fmla="*/ 3853507 w 6884782"/>
              <a:gd name="connsiteY62860" fmla="*/ 1059477 h 5973007"/>
              <a:gd name="connsiteX62861" fmla="*/ 3852866 w 6884782"/>
              <a:gd name="connsiteY62861" fmla="*/ 1062464 h 5973007"/>
              <a:gd name="connsiteX62862" fmla="*/ 3848385 w 6884782"/>
              <a:gd name="connsiteY62862" fmla="*/ 1065167 h 5973007"/>
              <a:gd name="connsiteX62863" fmla="*/ 3837287 w 6884782"/>
              <a:gd name="connsiteY62863" fmla="*/ 1068297 h 5973007"/>
              <a:gd name="connsiteX62864" fmla="*/ 3834939 w 6884782"/>
              <a:gd name="connsiteY62864" fmla="*/ 1069720 h 5973007"/>
              <a:gd name="connsiteX62865" fmla="*/ 3852653 w 6884782"/>
              <a:gd name="connsiteY62865" fmla="*/ 1058907 h 5973007"/>
              <a:gd name="connsiteX62866" fmla="*/ 3293280 w 6884782"/>
              <a:gd name="connsiteY62866" fmla="*/ 1058623 h 5973007"/>
              <a:gd name="connsiteX62867" fmla="*/ 3287091 w 6884782"/>
              <a:gd name="connsiteY62867" fmla="*/ 1060330 h 5973007"/>
              <a:gd name="connsiteX62868" fmla="*/ 3289012 w 6884782"/>
              <a:gd name="connsiteY62868" fmla="*/ 1062464 h 5973007"/>
              <a:gd name="connsiteX62869" fmla="*/ 3290078 w 6884782"/>
              <a:gd name="connsiteY62869" fmla="*/ 1065594 h 5973007"/>
              <a:gd name="connsiteX62870" fmla="*/ 3291573 w 6884782"/>
              <a:gd name="connsiteY62870" fmla="*/ 1064456 h 5973007"/>
              <a:gd name="connsiteX62871" fmla="*/ 986407 w 6884782"/>
              <a:gd name="connsiteY62871" fmla="*/ 1058274 h 5973007"/>
              <a:gd name="connsiteX62872" fmla="*/ 988162 w 6884782"/>
              <a:gd name="connsiteY62872" fmla="*/ 1062611 h 5973007"/>
              <a:gd name="connsiteX62873" fmla="*/ 985581 w 6884782"/>
              <a:gd name="connsiteY62873" fmla="*/ 1059049 h 5973007"/>
              <a:gd name="connsiteX62874" fmla="*/ 986407 w 6884782"/>
              <a:gd name="connsiteY62874" fmla="*/ 1058274 h 5973007"/>
              <a:gd name="connsiteX62875" fmla="*/ 4185801 w 6884782"/>
              <a:gd name="connsiteY62875" fmla="*/ 1058054 h 5973007"/>
              <a:gd name="connsiteX62876" fmla="*/ 4191777 w 6884782"/>
              <a:gd name="connsiteY62876" fmla="*/ 1065309 h 5973007"/>
              <a:gd name="connsiteX62877" fmla="*/ 4182600 w 6884782"/>
              <a:gd name="connsiteY62877" fmla="*/ 1065025 h 5973007"/>
              <a:gd name="connsiteX62878" fmla="*/ 4185801 w 6884782"/>
              <a:gd name="connsiteY62878" fmla="*/ 1058054 h 5973007"/>
              <a:gd name="connsiteX62879" fmla="*/ 1186311 w 6884782"/>
              <a:gd name="connsiteY62879" fmla="*/ 1057035 h 5973007"/>
              <a:gd name="connsiteX62880" fmla="*/ 1187550 w 6884782"/>
              <a:gd name="connsiteY62880" fmla="*/ 1058119 h 5973007"/>
              <a:gd name="connsiteX62881" fmla="*/ 1179393 w 6884782"/>
              <a:gd name="connsiteY62881" fmla="*/ 1057654 h 5973007"/>
              <a:gd name="connsiteX62882" fmla="*/ 1186311 w 6884782"/>
              <a:gd name="connsiteY62882" fmla="*/ 1057035 h 5973007"/>
              <a:gd name="connsiteX62883" fmla="*/ 4256443 w 6884782"/>
              <a:gd name="connsiteY62883" fmla="*/ 1056489 h 5973007"/>
              <a:gd name="connsiteX62884" fmla="*/ 4220375 w 6884782"/>
              <a:gd name="connsiteY62884" fmla="*/ 1068013 h 5973007"/>
              <a:gd name="connsiteX62885" fmla="*/ 4256443 w 6884782"/>
              <a:gd name="connsiteY62885" fmla="*/ 1056489 h 5973007"/>
              <a:gd name="connsiteX62886" fmla="*/ 3983906 w 6884782"/>
              <a:gd name="connsiteY62886" fmla="*/ 1056489 h 5973007"/>
              <a:gd name="connsiteX62887" fmla="*/ 3985187 w 6884782"/>
              <a:gd name="connsiteY62887" fmla="*/ 1057485 h 5973007"/>
              <a:gd name="connsiteX62888" fmla="*/ 3979638 w 6884782"/>
              <a:gd name="connsiteY62888" fmla="*/ 1060330 h 5973007"/>
              <a:gd name="connsiteX62889" fmla="*/ 3983906 w 6884782"/>
              <a:gd name="connsiteY62889" fmla="*/ 1056489 h 5973007"/>
              <a:gd name="connsiteX62890" fmla="*/ 3650758 w 6884782"/>
              <a:gd name="connsiteY62890" fmla="*/ 1055351 h 5973007"/>
              <a:gd name="connsiteX62891" fmla="*/ 3638380 w 6884782"/>
              <a:gd name="connsiteY62891" fmla="*/ 1071712 h 5973007"/>
              <a:gd name="connsiteX62892" fmla="*/ 3633898 w 6884782"/>
              <a:gd name="connsiteY62892" fmla="*/ 1063176 h 5973007"/>
              <a:gd name="connsiteX62893" fmla="*/ 3650758 w 6884782"/>
              <a:gd name="connsiteY62893" fmla="*/ 1055351 h 5973007"/>
              <a:gd name="connsiteX62894" fmla="*/ 3954454 w 6884782"/>
              <a:gd name="connsiteY62894" fmla="*/ 1055208 h 5973007"/>
              <a:gd name="connsiteX62895" fmla="*/ 3978784 w 6884782"/>
              <a:gd name="connsiteY62895" fmla="*/ 1071712 h 5973007"/>
              <a:gd name="connsiteX62896" fmla="*/ 3980918 w 6884782"/>
              <a:gd name="connsiteY62896" fmla="*/ 1094902 h 5973007"/>
              <a:gd name="connsiteX62897" fmla="*/ 3980278 w 6884782"/>
              <a:gd name="connsiteY62897" fmla="*/ 1096039 h 5973007"/>
              <a:gd name="connsiteX62898" fmla="*/ 3981772 w 6884782"/>
              <a:gd name="connsiteY62898" fmla="*/ 1094617 h 5973007"/>
              <a:gd name="connsiteX62899" fmla="*/ 3984333 w 6884782"/>
              <a:gd name="connsiteY62899" fmla="*/ 1094902 h 5973007"/>
              <a:gd name="connsiteX62900" fmla="*/ 3989882 w 6884782"/>
              <a:gd name="connsiteY62900" fmla="*/ 1096751 h 5973007"/>
              <a:gd name="connsiteX62901" fmla="*/ 3989455 w 6884782"/>
              <a:gd name="connsiteY62901" fmla="*/ 1101304 h 5973007"/>
              <a:gd name="connsiteX62902" fmla="*/ 3984974 w 6884782"/>
              <a:gd name="connsiteY62902" fmla="*/ 1104291 h 5973007"/>
              <a:gd name="connsiteX62903" fmla="*/ 3975583 w 6884782"/>
              <a:gd name="connsiteY62903" fmla="*/ 1104291 h 5973007"/>
              <a:gd name="connsiteX62904" fmla="*/ 3976223 w 6884782"/>
              <a:gd name="connsiteY62904" fmla="*/ 1102157 h 5973007"/>
              <a:gd name="connsiteX62905" fmla="*/ 3964699 w 6884782"/>
              <a:gd name="connsiteY62905" fmla="*/ 1100876 h 5973007"/>
              <a:gd name="connsiteX62906" fmla="*/ 3955308 w 6884782"/>
              <a:gd name="connsiteY62906" fmla="*/ 1094617 h 5973007"/>
              <a:gd name="connsiteX62907" fmla="*/ 3951680 w 6884782"/>
              <a:gd name="connsiteY62907" fmla="*/ 1089068 h 5973007"/>
              <a:gd name="connsiteX62908" fmla="*/ 3950613 w 6884782"/>
              <a:gd name="connsiteY62908" fmla="*/ 1094048 h 5973007"/>
              <a:gd name="connsiteX62909" fmla="*/ 3939302 w 6884782"/>
              <a:gd name="connsiteY62909" fmla="*/ 1111120 h 5973007"/>
              <a:gd name="connsiteX62910" fmla="*/ 3930978 w 6884782"/>
              <a:gd name="connsiteY62910" fmla="*/ 1097889 h 5973007"/>
              <a:gd name="connsiteX62911" fmla="*/ 3946985 w 6884782"/>
              <a:gd name="connsiteY62911" fmla="*/ 1076549 h 5973007"/>
              <a:gd name="connsiteX62912" fmla="*/ 3947625 w 6884782"/>
              <a:gd name="connsiteY62912" fmla="*/ 1076691 h 5973007"/>
              <a:gd name="connsiteX62913" fmla="*/ 3947838 w 6884782"/>
              <a:gd name="connsiteY62913" fmla="*/ 1067159 h 5973007"/>
              <a:gd name="connsiteX62914" fmla="*/ 3951253 w 6884782"/>
              <a:gd name="connsiteY62914" fmla="*/ 1056773 h 5973007"/>
              <a:gd name="connsiteX62915" fmla="*/ 3954454 w 6884782"/>
              <a:gd name="connsiteY62915" fmla="*/ 1055208 h 5973007"/>
              <a:gd name="connsiteX62916" fmla="*/ 3658868 w 6884782"/>
              <a:gd name="connsiteY62916" fmla="*/ 1054924 h 5973007"/>
              <a:gd name="connsiteX62917" fmla="*/ 3664630 w 6884782"/>
              <a:gd name="connsiteY62917" fmla="*/ 1069008 h 5973007"/>
              <a:gd name="connsiteX62918" fmla="*/ 3668045 w 6884782"/>
              <a:gd name="connsiteY62918" fmla="*/ 1082524 h 5973007"/>
              <a:gd name="connsiteX62919" fmla="*/ 3666551 w 6884782"/>
              <a:gd name="connsiteY62919" fmla="*/ 1086650 h 5973007"/>
              <a:gd name="connsiteX62920" fmla="*/ 3667405 w 6884782"/>
              <a:gd name="connsiteY62920" fmla="*/ 1087076 h 5973007"/>
              <a:gd name="connsiteX62921" fmla="*/ 3662923 w 6884782"/>
              <a:gd name="connsiteY62921" fmla="*/ 1094048 h 5973007"/>
              <a:gd name="connsiteX62922" fmla="*/ 3659722 w 6884782"/>
              <a:gd name="connsiteY62922" fmla="*/ 1090775 h 5973007"/>
              <a:gd name="connsiteX62923" fmla="*/ 3657374 w 6884782"/>
              <a:gd name="connsiteY62923" fmla="*/ 1091345 h 5973007"/>
              <a:gd name="connsiteX62924" fmla="*/ 3656521 w 6884782"/>
              <a:gd name="connsiteY62924" fmla="*/ 1099739 h 5973007"/>
              <a:gd name="connsiteX62925" fmla="*/ 3654813 w 6884782"/>
              <a:gd name="connsiteY62925" fmla="*/ 1104576 h 5973007"/>
              <a:gd name="connsiteX62926" fmla="*/ 3655880 w 6884782"/>
              <a:gd name="connsiteY62926" fmla="*/ 1104718 h 5973007"/>
              <a:gd name="connsiteX62927" fmla="*/ 3657801 w 6884782"/>
              <a:gd name="connsiteY62927" fmla="*/ 1115957 h 5973007"/>
              <a:gd name="connsiteX62928" fmla="*/ 3650331 w 6884782"/>
              <a:gd name="connsiteY62928" fmla="*/ 1112258 h 5973007"/>
              <a:gd name="connsiteX62929" fmla="*/ 3648411 w 6884782"/>
              <a:gd name="connsiteY62929" fmla="*/ 1108702 h 5973007"/>
              <a:gd name="connsiteX62930" fmla="*/ 3647983 w 6884782"/>
              <a:gd name="connsiteY62930" fmla="*/ 1111974 h 5973007"/>
              <a:gd name="connsiteX62931" fmla="*/ 3652038 w 6884782"/>
              <a:gd name="connsiteY62931" fmla="*/ 1113254 h 5973007"/>
              <a:gd name="connsiteX62932" fmla="*/ 3659935 w 6884782"/>
              <a:gd name="connsiteY62932" fmla="*/ 1117379 h 5973007"/>
              <a:gd name="connsiteX62933" fmla="*/ 3646490 w 6884782"/>
              <a:gd name="connsiteY62933" fmla="*/ 1125205 h 5973007"/>
              <a:gd name="connsiteX62934" fmla="*/ 3644569 w 6884782"/>
              <a:gd name="connsiteY62934" fmla="*/ 1120226 h 5973007"/>
              <a:gd name="connsiteX62935" fmla="*/ 3644142 w 6884782"/>
              <a:gd name="connsiteY62935" fmla="*/ 1120794 h 5973007"/>
              <a:gd name="connsiteX62936" fmla="*/ 3642648 w 6884782"/>
              <a:gd name="connsiteY62936" fmla="*/ 1088784 h 5973007"/>
              <a:gd name="connsiteX62937" fmla="*/ 3647343 w 6884782"/>
              <a:gd name="connsiteY62937" fmla="*/ 1097035 h 5973007"/>
              <a:gd name="connsiteX62938" fmla="*/ 3648411 w 6884782"/>
              <a:gd name="connsiteY62938" fmla="*/ 1104291 h 5973007"/>
              <a:gd name="connsiteX62939" fmla="*/ 3650331 w 6884782"/>
              <a:gd name="connsiteY62939" fmla="*/ 1103865 h 5973007"/>
              <a:gd name="connsiteX62940" fmla="*/ 3651185 w 6884782"/>
              <a:gd name="connsiteY62940" fmla="*/ 1104006 h 5973007"/>
              <a:gd name="connsiteX62941" fmla="*/ 3648624 w 6884782"/>
              <a:gd name="connsiteY62941" fmla="*/ 1100166 h 5973007"/>
              <a:gd name="connsiteX62942" fmla="*/ 3649904 w 6884782"/>
              <a:gd name="connsiteY62942" fmla="*/ 1076691 h 5973007"/>
              <a:gd name="connsiteX62943" fmla="*/ 3655667 w 6884782"/>
              <a:gd name="connsiteY62943" fmla="*/ 1082524 h 5973007"/>
              <a:gd name="connsiteX62944" fmla="*/ 3656093 w 6884782"/>
              <a:gd name="connsiteY62944" fmla="*/ 1083662 h 5973007"/>
              <a:gd name="connsiteX62945" fmla="*/ 3656093 w 6884782"/>
              <a:gd name="connsiteY62945" fmla="*/ 1081813 h 5973007"/>
              <a:gd name="connsiteX62946" fmla="*/ 3658868 w 6884782"/>
              <a:gd name="connsiteY62946" fmla="*/ 1054924 h 5973007"/>
              <a:gd name="connsiteX62947" fmla="*/ 3823414 w 6884782"/>
              <a:gd name="connsiteY62947" fmla="*/ 1053359 h 5973007"/>
              <a:gd name="connsiteX62948" fmla="*/ 3835153 w 6884782"/>
              <a:gd name="connsiteY62948" fmla="*/ 1065309 h 5973007"/>
              <a:gd name="connsiteX62949" fmla="*/ 3827897 w 6884782"/>
              <a:gd name="connsiteY62949" fmla="*/ 1062322 h 5973007"/>
              <a:gd name="connsiteX62950" fmla="*/ 3821707 w 6884782"/>
              <a:gd name="connsiteY62950" fmla="*/ 1053786 h 5973007"/>
              <a:gd name="connsiteX62951" fmla="*/ 3823414 w 6884782"/>
              <a:gd name="connsiteY62951" fmla="*/ 1053359 h 5973007"/>
              <a:gd name="connsiteX62952" fmla="*/ 4036621 w 6884782"/>
              <a:gd name="connsiteY62952" fmla="*/ 1049802 h 5973007"/>
              <a:gd name="connsiteX62953" fmla="*/ 4030645 w 6884782"/>
              <a:gd name="connsiteY62953" fmla="*/ 1059903 h 5973007"/>
              <a:gd name="connsiteX62954" fmla="*/ 4036621 w 6884782"/>
              <a:gd name="connsiteY62954" fmla="*/ 1049802 h 5973007"/>
              <a:gd name="connsiteX62955" fmla="*/ 4349921 w 6884782"/>
              <a:gd name="connsiteY62955" fmla="*/ 1049518 h 5973007"/>
              <a:gd name="connsiteX62956" fmla="*/ 4352696 w 6884782"/>
              <a:gd name="connsiteY62956" fmla="*/ 1049802 h 5973007"/>
              <a:gd name="connsiteX62957" fmla="*/ 4365501 w 6884782"/>
              <a:gd name="connsiteY62957" fmla="*/ 1055777 h 5973007"/>
              <a:gd name="connsiteX62958" fmla="*/ 4361019 w 6884782"/>
              <a:gd name="connsiteY62958" fmla="*/ 1067159 h 5973007"/>
              <a:gd name="connsiteX62959" fmla="*/ 4344799 w 6884782"/>
              <a:gd name="connsiteY62959" fmla="*/ 1058196 h 5973007"/>
              <a:gd name="connsiteX62960" fmla="*/ 4349921 w 6884782"/>
              <a:gd name="connsiteY62960" fmla="*/ 1049518 h 5973007"/>
              <a:gd name="connsiteX62961" fmla="*/ 1396231 w 6884782"/>
              <a:gd name="connsiteY62961" fmla="*/ 1048206 h 5973007"/>
              <a:gd name="connsiteX62962" fmla="*/ 1404491 w 6884782"/>
              <a:gd name="connsiteY62962" fmla="*/ 1052078 h 5973007"/>
              <a:gd name="connsiteX62963" fmla="*/ 1405730 w 6884782"/>
              <a:gd name="connsiteY62963" fmla="*/ 1050684 h 5973007"/>
              <a:gd name="connsiteX62964" fmla="*/ 1410893 w 6884782"/>
              <a:gd name="connsiteY62964" fmla="*/ 1048825 h 5973007"/>
              <a:gd name="connsiteX62965" fmla="*/ 1416366 w 6884782"/>
              <a:gd name="connsiteY62965" fmla="*/ 1049600 h 5973007"/>
              <a:gd name="connsiteX62966" fmla="*/ 1412959 w 6884782"/>
              <a:gd name="connsiteY62966" fmla="*/ 1054402 h 5973007"/>
              <a:gd name="connsiteX62967" fmla="*/ 1409035 w 6884782"/>
              <a:gd name="connsiteY62967" fmla="*/ 1054247 h 5973007"/>
              <a:gd name="connsiteX62968" fmla="*/ 1413165 w 6884782"/>
              <a:gd name="connsiteY62968" fmla="*/ 1056106 h 5973007"/>
              <a:gd name="connsiteX62969" fmla="*/ 1413681 w 6884782"/>
              <a:gd name="connsiteY62969" fmla="*/ 1069272 h 5973007"/>
              <a:gd name="connsiteX62970" fmla="*/ 1396231 w 6884782"/>
              <a:gd name="connsiteY62970" fmla="*/ 1048206 h 5973007"/>
              <a:gd name="connsiteX62971" fmla="*/ 1155128 w 6884782"/>
              <a:gd name="connsiteY62971" fmla="*/ 1048206 h 5973007"/>
              <a:gd name="connsiteX62972" fmla="*/ 1160600 w 6884782"/>
              <a:gd name="connsiteY62972" fmla="*/ 1049135 h 5973007"/>
              <a:gd name="connsiteX62973" fmla="*/ 1161633 w 6884782"/>
              <a:gd name="connsiteY62973" fmla="*/ 1051304 h 5973007"/>
              <a:gd name="connsiteX62974" fmla="*/ 1158948 w 6884782"/>
              <a:gd name="connsiteY62974" fmla="*/ 1051768 h 5973007"/>
              <a:gd name="connsiteX62975" fmla="*/ 1157916 w 6884782"/>
              <a:gd name="connsiteY62975" fmla="*/ 1050219 h 5973007"/>
              <a:gd name="connsiteX62976" fmla="*/ 1155128 w 6884782"/>
              <a:gd name="connsiteY62976" fmla="*/ 1049909 h 5973007"/>
              <a:gd name="connsiteX62977" fmla="*/ 1155128 w 6884782"/>
              <a:gd name="connsiteY62977" fmla="*/ 1048206 h 5973007"/>
              <a:gd name="connsiteX62978" fmla="*/ 3937381 w 6884782"/>
              <a:gd name="connsiteY62978" fmla="*/ 1045961 h 5973007"/>
              <a:gd name="connsiteX62979" fmla="*/ 3938874 w 6884782"/>
              <a:gd name="connsiteY62979" fmla="*/ 1049518 h 5973007"/>
              <a:gd name="connsiteX62980" fmla="*/ 3936954 w 6884782"/>
              <a:gd name="connsiteY62980" fmla="*/ 1052078 h 5973007"/>
              <a:gd name="connsiteX62981" fmla="*/ 3936100 w 6884782"/>
              <a:gd name="connsiteY62981" fmla="*/ 1054497 h 5973007"/>
              <a:gd name="connsiteX62982" fmla="*/ 3932472 w 6884782"/>
              <a:gd name="connsiteY62982" fmla="*/ 1054639 h 5973007"/>
              <a:gd name="connsiteX62983" fmla="*/ 3933326 w 6884782"/>
              <a:gd name="connsiteY62983" fmla="*/ 1052221 h 5973007"/>
              <a:gd name="connsiteX62984" fmla="*/ 3937381 w 6884782"/>
              <a:gd name="connsiteY62984" fmla="*/ 1045961 h 5973007"/>
              <a:gd name="connsiteX62985" fmla="*/ 3312701 w 6884782"/>
              <a:gd name="connsiteY62985" fmla="*/ 1045107 h 5973007"/>
              <a:gd name="connsiteX62986" fmla="*/ 3313342 w 6884782"/>
              <a:gd name="connsiteY62986" fmla="*/ 1045961 h 5973007"/>
              <a:gd name="connsiteX62987" fmla="*/ 3312274 w 6884782"/>
              <a:gd name="connsiteY62987" fmla="*/ 1050371 h 5973007"/>
              <a:gd name="connsiteX62988" fmla="*/ 3312061 w 6884782"/>
              <a:gd name="connsiteY62988" fmla="*/ 1045819 h 5973007"/>
              <a:gd name="connsiteX62989" fmla="*/ 3312701 w 6884782"/>
              <a:gd name="connsiteY62989" fmla="*/ 1045107 h 5973007"/>
              <a:gd name="connsiteX62990" fmla="*/ 3721400 w 6884782"/>
              <a:gd name="connsiteY62990" fmla="*/ 1044681 h 5973007"/>
              <a:gd name="connsiteX62991" fmla="*/ 3725242 w 6884782"/>
              <a:gd name="connsiteY62991" fmla="*/ 1046388 h 5973007"/>
              <a:gd name="connsiteX62992" fmla="*/ 3730791 w 6884782"/>
              <a:gd name="connsiteY62992" fmla="*/ 1050656 h 5973007"/>
              <a:gd name="connsiteX62993" fmla="*/ 3730363 w 6884782"/>
              <a:gd name="connsiteY62993" fmla="*/ 1054355 h 5973007"/>
              <a:gd name="connsiteX62994" fmla="*/ 3728016 w 6884782"/>
              <a:gd name="connsiteY62994" fmla="*/ 1059334 h 5973007"/>
              <a:gd name="connsiteX62995" fmla="*/ 3717985 w 6884782"/>
              <a:gd name="connsiteY62995" fmla="*/ 1053928 h 5973007"/>
              <a:gd name="connsiteX62996" fmla="*/ 3717985 w 6884782"/>
              <a:gd name="connsiteY62996" fmla="*/ 1046530 h 5973007"/>
              <a:gd name="connsiteX62997" fmla="*/ 3721400 w 6884782"/>
              <a:gd name="connsiteY62997" fmla="*/ 1044681 h 5973007"/>
              <a:gd name="connsiteX62998" fmla="*/ 1464896 w 6884782"/>
              <a:gd name="connsiteY62998" fmla="*/ 1044178 h 5973007"/>
              <a:gd name="connsiteX62999" fmla="*/ 1464380 w 6884782"/>
              <a:gd name="connsiteY62999" fmla="*/ 1046812 h 5973007"/>
              <a:gd name="connsiteX63000" fmla="*/ 1462005 w 6884782"/>
              <a:gd name="connsiteY63000" fmla="*/ 1047121 h 5973007"/>
              <a:gd name="connsiteX63001" fmla="*/ 1460353 w 6884782"/>
              <a:gd name="connsiteY63001" fmla="*/ 1048051 h 5973007"/>
              <a:gd name="connsiteX63002" fmla="*/ 1457978 w 6884782"/>
              <a:gd name="connsiteY63002" fmla="*/ 1046502 h 5973007"/>
              <a:gd name="connsiteX63003" fmla="*/ 1459630 w 6884782"/>
              <a:gd name="connsiteY63003" fmla="*/ 1045573 h 5973007"/>
              <a:gd name="connsiteX63004" fmla="*/ 1464896 w 6884782"/>
              <a:gd name="connsiteY63004" fmla="*/ 1044178 h 5973007"/>
              <a:gd name="connsiteX63005" fmla="*/ 4582548 w 6884782"/>
              <a:gd name="connsiteY63005" fmla="*/ 1044111 h 5973007"/>
              <a:gd name="connsiteX63006" fmla="*/ 4585536 w 6884782"/>
              <a:gd name="connsiteY63006" fmla="*/ 1045961 h 5973007"/>
              <a:gd name="connsiteX63007" fmla="*/ 4570811 w 6884782"/>
              <a:gd name="connsiteY63007" fmla="*/ 1066590 h 5973007"/>
              <a:gd name="connsiteX63008" fmla="*/ 4568463 w 6884782"/>
              <a:gd name="connsiteY63008" fmla="*/ 1062891 h 5973007"/>
              <a:gd name="connsiteX63009" fmla="*/ 4582548 w 6884782"/>
              <a:gd name="connsiteY63009" fmla="*/ 1044111 h 5973007"/>
              <a:gd name="connsiteX63010" fmla="*/ 4778041 w 6884782"/>
              <a:gd name="connsiteY63010" fmla="*/ 1043400 h 5973007"/>
              <a:gd name="connsiteX63011" fmla="*/ 4780176 w 6884782"/>
              <a:gd name="connsiteY63011" fmla="*/ 1043969 h 5973007"/>
              <a:gd name="connsiteX63012" fmla="*/ 4759901 w 6884782"/>
              <a:gd name="connsiteY63012" fmla="*/ 1071000 h 5973007"/>
              <a:gd name="connsiteX63013" fmla="*/ 4772919 w 6884782"/>
              <a:gd name="connsiteY63013" fmla="*/ 1045107 h 5973007"/>
              <a:gd name="connsiteX63014" fmla="*/ 4778041 w 6884782"/>
              <a:gd name="connsiteY63014" fmla="*/ 1043400 h 5973007"/>
              <a:gd name="connsiteX63015" fmla="*/ 4998291 w 6884782"/>
              <a:gd name="connsiteY63015" fmla="*/ 1042689 h 5973007"/>
              <a:gd name="connsiteX63016" fmla="*/ 5004053 w 6884782"/>
              <a:gd name="connsiteY63016" fmla="*/ 1046672 h 5973007"/>
              <a:gd name="connsiteX63017" fmla="*/ 4998504 w 6884782"/>
              <a:gd name="connsiteY63017" fmla="*/ 1062606 h 5973007"/>
              <a:gd name="connsiteX63018" fmla="*/ 4989327 w 6884782"/>
              <a:gd name="connsiteY63018" fmla="*/ 1059619 h 5973007"/>
              <a:gd name="connsiteX63019" fmla="*/ 4998291 w 6884782"/>
              <a:gd name="connsiteY63019" fmla="*/ 1042689 h 5973007"/>
              <a:gd name="connsiteX63020" fmla="*/ 1164421 w 6884782"/>
              <a:gd name="connsiteY63020" fmla="*/ 1042629 h 5973007"/>
              <a:gd name="connsiteX63021" fmla="*/ 1166176 w 6884782"/>
              <a:gd name="connsiteY63021" fmla="*/ 1044178 h 5973007"/>
              <a:gd name="connsiteX63022" fmla="*/ 1168035 w 6884782"/>
              <a:gd name="connsiteY63022" fmla="*/ 1044798 h 5973007"/>
              <a:gd name="connsiteX63023" fmla="*/ 1168241 w 6884782"/>
              <a:gd name="connsiteY63023" fmla="*/ 1047276 h 5973007"/>
              <a:gd name="connsiteX63024" fmla="*/ 1166383 w 6884782"/>
              <a:gd name="connsiteY63024" fmla="*/ 1046657 h 5973007"/>
              <a:gd name="connsiteX63025" fmla="*/ 1161839 w 6884782"/>
              <a:gd name="connsiteY63025" fmla="*/ 1043869 h 5973007"/>
              <a:gd name="connsiteX63026" fmla="*/ 1164421 w 6884782"/>
              <a:gd name="connsiteY63026" fmla="*/ 1042629 h 5973007"/>
              <a:gd name="connsiteX63027" fmla="*/ 4057536 w 6884782"/>
              <a:gd name="connsiteY63027" fmla="*/ 1042546 h 5973007"/>
              <a:gd name="connsiteX63028" fmla="*/ 4060951 w 6884782"/>
              <a:gd name="connsiteY63028" fmla="*/ 1048380 h 5973007"/>
              <a:gd name="connsiteX63029" fmla="*/ 4058176 w 6884782"/>
              <a:gd name="connsiteY63029" fmla="*/ 1070004 h 5973007"/>
              <a:gd name="connsiteX63030" fmla="*/ 4053695 w 6884782"/>
              <a:gd name="connsiteY63030" fmla="*/ 1056773 h 5973007"/>
              <a:gd name="connsiteX63031" fmla="*/ 4057536 w 6884782"/>
              <a:gd name="connsiteY63031" fmla="*/ 1042546 h 5973007"/>
              <a:gd name="connsiteX63032" fmla="*/ 985891 w 6884782"/>
              <a:gd name="connsiteY63032" fmla="*/ 1042165 h 5973007"/>
              <a:gd name="connsiteX63033" fmla="*/ 985891 w 6884782"/>
              <a:gd name="connsiteY63033" fmla="*/ 1043094 h 5973007"/>
              <a:gd name="connsiteX63034" fmla="*/ 986820 w 6884782"/>
              <a:gd name="connsiteY63034" fmla="*/ 1042319 h 5973007"/>
              <a:gd name="connsiteX63035" fmla="*/ 988266 w 6884782"/>
              <a:gd name="connsiteY63035" fmla="*/ 1054247 h 5973007"/>
              <a:gd name="connsiteX63036" fmla="*/ 987439 w 6884782"/>
              <a:gd name="connsiteY63036" fmla="*/ 1054092 h 5973007"/>
              <a:gd name="connsiteX63037" fmla="*/ 985581 w 6884782"/>
              <a:gd name="connsiteY63037" fmla="*/ 1045263 h 5973007"/>
              <a:gd name="connsiteX63038" fmla="*/ 985891 w 6884782"/>
              <a:gd name="connsiteY63038" fmla="*/ 1042165 h 5973007"/>
              <a:gd name="connsiteX63039" fmla="*/ 4006102 w 6884782"/>
              <a:gd name="connsiteY63039" fmla="*/ 1041977 h 5973007"/>
              <a:gd name="connsiteX63040" fmla="*/ 4006743 w 6884782"/>
              <a:gd name="connsiteY63040" fmla="*/ 1046815 h 5973007"/>
              <a:gd name="connsiteX63041" fmla="*/ 4004395 w 6884782"/>
              <a:gd name="connsiteY63041" fmla="*/ 1046957 h 5973007"/>
              <a:gd name="connsiteX63042" fmla="*/ 3997352 w 6884782"/>
              <a:gd name="connsiteY63042" fmla="*/ 1052221 h 5973007"/>
              <a:gd name="connsiteX63043" fmla="*/ 3996925 w 6884782"/>
              <a:gd name="connsiteY63043" fmla="*/ 1052363 h 5973007"/>
              <a:gd name="connsiteX63044" fmla="*/ 3999059 w 6884782"/>
              <a:gd name="connsiteY63044" fmla="*/ 1053643 h 5973007"/>
              <a:gd name="connsiteX63045" fmla="*/ 4001833 w 6884782"/>
              <a:gd name="connsiteY63045" fmla="*/ 1055067 h 5973007"/>
              <a:gd name="connsiteX63046" fmla="*/ 4002047 w 6884782"/>
              <a:gd name="connsiteY63046" fmla="*/ 1055208 h 5973007"/>
              <a:gd name="connsiteX63047" fmla="*/ 4002687 w 6884782"/>
              <a:gd name="connsiteY63047" fmla="*/ 1055067 h 5973007"/>
              <a:gd name="connsiteX63048" fmla="*/ 4006956 w 6884782"/>
              <a:gd name="connsiteY63048" fmla="*/ 1055208 h 5973007"/>
              <a:gd name="connsiteX63049" fmla="*/ 4005888 w 6884782"/>
              <a:gd name="connsiteY63049" fmla="*/ 1055351 h 5973007"/>
              <a:gd name="connsiteX63050" fmla="*/ 4007169 w 6884782"/>
              <a:gd name="connsiteY63050" fmla="*/ 1056347 h 5973007"/>
              <a:gd name="connsiteX63051" fmla="*/ 4003327 w 6884782"/>
              <a:gd name="connsiteY63051" fmla="*/ 1057485 h 5973007"/>
              <a:gd name="connsiteX63052" fmla="*/ 4003968 w 6884782"/>
              <a:gd name="connsiteY63052" fmla="*/ 1058196 h 5973007"/>
              <a:gd name="connsiteX63053" fmla="*/ 4005888 w 6884782"/>
              <a:gd name="connsiteY63053" fmla="*/ 1062322 h 5973007"/>
              <a:gd name="connsiteX63054" fmla="*/ 4003327 w 6884782"/>
              <a:gd name="connsiteY63054" fmla="*/ 1064598 h 5973007"/>
              <a:gd name="connsiteX63055" fmla="*/ 4005248 w 6884782"/>
              <a:gd name="connsiteY63055" fmla="*/ 1067159 h 5973007"/>
              <a:gd name="connsiteX63056" fmla="*/ 4002687 w 6884782"/>
              <a:gd name="connsiteY63056" fmla="*/ 1082524 h 5973007"/>
              <a:gd name="connsiteX63057" fmla="*/ 3996498 w 6884782"/>
              <a:gd name="connsiteY63057" fmla="*/ 1086081 h 5973007"/>
              <a:gd name="connsiteX63058" fmla="*/ 3988601 w 6884782"/>
              <a:gd name="connsiteY63058" fmla="*/ 1083520 h 5973007"/>
              <a:gd name="connsiteX63059" fmla="*/ 3987748 w 6884782"/>
              <a:gd name="connsiteY63059" fmla="*/ 1068013 h 5973007"/>
              <a:gd name="connsiteX63060" fmla="*/ 3998846 w 6884782"/>
              <a:gd name="connsiteY63060" fmla="*/ 1062179 h 5973007"/>
              <a:gd name="connsiteX63061" fmla="*/ 3997565 w 6884782"/>
              <a:gd name="connsiteY63061" fmla="*/ 1062179 h 5973007"/>
              <a:gd name="connsiteX63062" fmla="*/ 3995645 w 6884782"/>
              <a:gd name="connsiteY63062" fmla="*/ 1059477 h 5973007"/>
              <a:gd name="connsiteX63063" fmla="*/ 3993510 w 6884782"/>
              <a:gd name="connsiteY63063" fmla="*/ 1059619 h 5973007"/>
              <a:gd name="connsiteX63064" fmla="*/ 3991376 w 6884782"/>
              <a:gd name="connsiteY63064" fmla="*/ 1059619 h 5973007"/>
              <a:gd name="connsiteX63065" fmla="*/ 3991162 w 6884782"/>
              <a:gd name="connsiteY63065" fmla="*/ 1058481 h 5973007"/>
              <a:gd name="connsiteX63066" fmla="*/ 3994150 w 6884782"/>
              <a:gd name="connsiteY63066" fmla="*/ 1057769 h 5973007"/>
              <a:gd name="connsiteX63067" fmla="*/ 3990736 w 6884782"/>
              <a:gd name="connsiteY63067" fmla="*/ 1053502 h 5973007"/>
              <a:gd name="connsiteX63068" fmla="*/ 3987961 w 6884782"/>
              <a:gd name="connsiteY63068" fmla="*/ 1054070 h 5973007"/>
              <a:gd name="connsiteX63069" fmla="*/ 3989882 w 6884782"/>
              <a:gd name="connsiteY63069" fmla="*/ 1051936 h 5973007"/>
              <a:gd name="connsiteX63070" fmla="*/ 3988175 w 6884782"/>
              <a:gd name="connsiteY63070" fmla="*/ 1048664 h 5973007"/>
              <a:gd name="connsiteX63071" fmla="*/ 3987748 w 6884782"/>
              <a:gd name="connsiteY63071" fmla="*/ 1045250 h 5973007"/>
              <a:gd name="connsiteX63072" fmla="*/ 3991162 w 6884782"/>
              <a:gd name="connsiteY63072" fmla="*/ 1046530 h 5973007"/>
              <a:gd name="connsiteX63073" fmla="*/ 3992230 w 6884782"/>
              <a:gd name="connsiteY63073" fmla="*/ 1047811 h 5973007"/>
              <a:gd name="connsiteX63074" fmla="*/ 3993297 w 6884782"/>
              <a:gd name="connsiteY63074" fmla="*/ 1047811 h 5973007"/>
              <a:gd name="connsiteX63075" fmla="*/ 3993297 w 6884782"/>
              <a:gd name="connsiteY63075" fmla="*/ 1048237 h 5973007"/>
              <a:gd name="connsiteX63076" fmla="*/ 3997992 w 6884782"/>
              <a:gd name="connsiteY63076" fmla="*/ 1046103 h 5973007"/>
              <a:gd name="connsiteX63077" fmla="*/ 4006102 w 6884782"/>
              <a:gd name="connsiteY63077" fmla="*/ 1041977 h 5973007"/>
              <a:gd name="connsiteX63078" fmla="*/ 4855940 w 6884782"/>
              <a:gd name="connsiteY63078" fmla="*/ 1041836 h 5973007"/>
              <a:gd name="connsiteX63079" fmla="*/ 4861488 w 6884782"/>
              <a:gd name="connsiteY63079" fmla="*/ 1043684 h 5973007"/>
              <a:gd name="connsiteX63080" fmla="*/ 4848257 w 6884782"/>
              <a:gd name="connsiteY63080" fmla="*/ 1052790 h 5973007"/>
              <a:gd name="connsiteX63081" fmla="*/ 4850817 w 6884782"/>
              <a:gd name="connsiteY63081" fmla="*/ 1042831 h 5973007"/>
              <a:gd name="connsiteX63082" fmla="*/ 4855940 w 6884782"/>
              <a:gd name="connsiteY63082" fmla="*/ 1041836 h 5973007"/>
              <a:gd name="connsiteX63083" fmla="*/ 976288 w 6884782"/>
              <a:gd name="connsiteY63083" fmla="*/ 1040461 h 5973007"/>
              <a:gd name="connsiteX63084" fmla="*/ 979901 w 6884782"/>
              <a:gd name="connsiteY63084" fmla="*/ 1040925 h 5973007"/>
              <a:gd name="connsiteX63085" fmla="*/ 979901 w 6884782"/>
              <a:gd name="connsiteY63085" fmla="*/ 1042629 h 5973007"/>
              <a:gd name="connsiteX63086" fmla="*/ 984032 w 6884782"/>
              <a:gd name="connsiteY63086" fmla="*/ 1055641 h 5973007"/>
              <a:gd name="connsiteX63087" fmla="*/ 976288 w 6884782"/>
              <a:gd name="connsiteY63087" fmla="*/ 1040461 h 5973007"/>
              <a:gd name="connsiteX63088" fmla="*/ 1253982 w 6884782"/>
              <a:gd name="connsiteY63088" fmla="*/ 1039590 h 5973007"/>
              <a:gd name="connsiteX63089" fmla="*/ 1277796 w 6884782"/>
              <a:gd name="connsiteY63089" fmla="*/ 1043714 h 5973007"/>
              <a:gd name="connsiteX63090" fmla="*/ 1276040 w 6884782"/>
              <a:gd name="connsiteY63090" fmla="*/ 1052698 h 5973007"/>
              <a:gd name="connsiteX63091" fmla="*/ 1264682 w 6884782"/>
              <a:gd name="connsiteY63091" fmla="*/ 1050064 h 5973007"/>
              <a:gd name="connsiteX63092" fmla="*/ 1263133 w 6884782"/>
              <a:gd name="connsiteY63092" fmla="*/ 1050529 h 5973007"/>
              <a:gd name="connsiteX63093" fmla="*/ 1260965 w 6884782"/>
              <a:gd name="connsiteY63093" fmla="*/ 1050064 h 5973007"/>
              <a:gd name="connsiteX63094" fmla="*/ 1260552 w 6884782"/>
              <a:gd name="connsiteY63094" fmla="*/ 1049135 h 5973007"/>
              <a:gd name="connsiteX63095" fmla="*/ 1253531 w 6884782"/>
              <a:gd name="connsiteY63095" fmla="*/ 1047586 h 5973007"/>
              <a:gd name="connsiteX63096" fmla="*/ 1232879 w 6884782"/>
              <a:gd name="connsiteY63096" fmla="*/ 1042785 h 5973007"/>
              <a:gd name="connsiteX63097" fmla="*/ 1253982 w 6884782"/>
              <a:gd name="connsiteY63097" fmla="*/ 1039590 h 5973007"/>
              <a:gd name="connsiteX63098" fmla="*/ 3803994 w 6884782"/>
              <a:gd name="connsiteY63098" fmla="*/ 1038136 h 5973007"/>
              <a:gd name="connsiteX63099" fmla="*/ 3808689 w 6884782"/>
              <a:gd name="connsiteY63099" fmla="*/ 1041124 h 5973007"/>
              <a:gd name="connsiteX63100" fmla="*/ 3808048 w 6884782"/>
              <a:gd name="connsiteY63100" fmla="*/ 1048095 h 5973007"/>
              <a:gd name="connsiteX63101" fmla="*/ 3808475 w 6884782"/>
              <a:gd name="connsiteY63101" fmla="*/ 1052790 h 5973007"/>
              <a:gd name="connsiteX63102" fmla="*/ 3805914 w 6884782"/>
              <a:gd name="connsiteY63102" fmla="*/ 1055493 h 5973007"/>
              <a:gd name="connsiteX63103" fmla="*/ 3801219 w 6884782"/>
              <a:gd name="connsiteY63103" fmla="*/ 1046530 h 5973007"/>
              <a:gd name="connsiteX63104" fmla="*/ 3803994 w 6884782"/>
              <a:gd name="connsiteY63104" fmla="*/ 1038136 h 5973007"/>
              <a:gd name="connsiteX63105" fmla="*/ 4276932 w 6884782"/>
              <a:gd name="connsiteY63105" fmla="*/ 1037567 h 5973007"/>
              <a:gd name="connsiteX63106" fmla="*/ 4287816 w 6884782"/>
              <a:gd name="connsiteY63106" fmla="*/ 1042831 h 5973007"/>
              <a:gd name="connsiteX63107" fmla="*/ 4274370 w 6884782"/>
              <a:gd name="connsiteY63107" fmla="*/ 1044111 h 5973007"/>
              <a:gd name="connsiteX63108" fmla="*/ 4276932 w 6884782"/>
              <a:gd name="connsiteY63108" fmla="*/ 1037567 h 5973007"/>
              <a:gd name="connsiteX63109" fmla="*/ 3931191 w 6884782"/>
              <a:gd name="connsiteY63109" fmla="*/ 1036714 h 5973007"/>
              <a:gd name="connsiteX63110" fmla="*/ 3930124 w 6884782"/>
              <a:gd name="connsiteY63110" fmla="*/ 1044254 h 5973007"/>
              <a:gd name="connsiteX63111" fmla="*/ 3926923 w 6884782"/>
              <a:gd name="connsiteY63111" fmla="*/ 1045676 h 5973007"/>
              <a:gd name="connsiteX63112" fmla="*/ 3926496 w 6884782"/>
              <a:gd name="connsiteY63112" fmla="*/ 1041977 h 5973007"/>
              <a:gd name="connsiteX63113" fmla="*/ 3928417 w 6884782"/>
              <a:gd name="connsiteY63113" fmla="*/ 1040697 h 5973007"/>
              <a:gd name="connsiteX63114" fmla="*/ 3929058 w 6884782"/>
              <a:gd name="connsiteY63114" fmla="*/ 1036856 h 5973007"/>
              <a:gd name="connsiteX63115" fmla="*/ 3931191 w 6884782"/>
              <a:gd name="connsiteY63115" fmla="*/ 1036714 h 5973007"/>
              <a:gd name="connsiteX63116" fmla="*/ 1262204 w 6884782"/>
              <a:gd name="connsiteY63116" fmla="*/ 1036434 h 5973007"/>
              <a:gd name="connsiteX63117" fmla="*/ 1264682 w 6884782"/>
              <a:gd name="connsiteY63117" fmla="*/ 1038912 h 5973007"/>
              <a:gd name="connsiteX63118" fmla="*/ 1261275 w 6884782"/>
              <a:gd name="connsiteY63118" fmla="*/ 1039996 h 5973007"/>
              <a:gd name="connsiteX63119" fmla="*/ 1260759 w 6884782"/>
              <a:gd name="connsiteY63119" fmla="*/ 1038602 h 5973007"/>
              <a:gd name="connsiteX63120" fmla="*/ 1262204 w 6884782"/>
              <a:gd name="connsiteY63120" fmla="*/ 1036434 h 5973007"/>
              <a:gd name="connsiteX63121" fmla="*/ 1502585 w 6884782"/>
              <a:gd name="connsiteY63121" fmla="*/ 1036279 h 5973007"/>
              <a:gd name="connsiteX63122" fmla="*/ 1508573 w 6884782"/>
              <a:gd name="connsiteY63122" fmla="*/ 1046657 h 5973007"/>
              <a:gd name="connsiteX63123" fmla="*/ 1511981 w 6884782"/>
              <a:gd name="connsiteY63123" fmla="*/ 1049290 h 5973007"/>
              <a:gd name="connsiteX63124" fmla="*/ 1512704 w 6884782"/>
              <a:gd name="connsiteY63124" fmla="*/ 1048670 h 5973007"/>
              <a:gd name="connsiteX63125" fmla="*/ 1512497 w 6884782"/>
              <a:gd name="connsiteY63125" fmla="*/ 1048516 h 5973007"/>
              <a:gd name="connsiteX63126" fmla="*/ 1518176 w 6884782"/>
              <a:gd name="connsiteY63126" fmla="*/ 1045418 h 5973007"/>
              <a:gd name="connsiteX63127" fmla="*/ 1517763 w 6884782"/>
              <a:gd name="connsiteY63127" fmla="*/ 1054092 h 5973007"/>
              <a:gd name="connsiteX63128" fmla="*/ 1517557 w 6884782"/>
              <a:gd name="connsiteY63128" fmla="*/ 1054402 h 5973007"/>
              <a:gd name="connsiteX63129" fmla="*/ 1519106 w 6884782"/>
              <a:gd name="connsiteY63129" fmla="*/ 1057345 h 5973007"/>
              <a:gd name="connsiteX63130" fmla="*/ 1519622 w 6884782"/>
              <a:gd name="connsiteY63130" fmla="*/ 1061372 h 5973007"/>
              <a:gd name="connsiteX63131" fmla="*/ 1518176 w 6884782"/>
              <a:gd name="connsiteY63131" fmla="*/ 1067413 h 5973007"/>
              <a:gd name="connsiteX63132" fmla="*/ 1520138 w 6884782"/>
              <a:gd name="connsiteY63132" fmla="*/ 1067723 h 5973007"/>
              <a:gd name="connsiteX63133" fmla="*/ 1516214 w 6884782"/>
              <a:gd name="connsiteY63133" fmla="*/ 1071595 h 5973007"/>
              <a:gd name="connsiteX63134" fmla="*/ 1516008 w 6884782"/>
              <a:gd name="connsiteY63134" fmla="*/ 1071440 h 5973007"/>
              <a:gd name="connsiteX63135" fmla="*/ 1513220 w 6884782"/>
              <a:gd name="connsiteY63135" fmla="*/ 1074848 h 5973007"/>
              <a:gd name="connsiteX63136" fmla="*/ 1519415 w 6884782"/>
              <a:gd name="connsiteY63136" fmla="*/ 1076397 h 5973007"/>
              <a:gd name="connsiteX63137" fmla="*/ 1525611 w 6884782"/>
              <a:gd name="connsiteY63137" fmla="*/ 1079030 h 5973007"/>
              <a:gd name="connsiteX63138" fmla="*/ 1534904 w 6884782"/>
              <a:gd name="connsiteY63138" fmla="*/ 1085381 h 5973007"/>
              <a:gd name="connsiteX63139" fmla="*/ 1534904 w 6884782"/>
              <a:gd name="connsiteY63139" fmla="*/ 1085691 h 5973007"/>
              <a:gd name="connsiteX63140" fmla="*/ 1536969 w 6884782"/>
              <a:gd name="connsiteY63140" fmla="*/ 1087085 h 5973007"/>
              <a:gd name="connsiteX63141" fmla="*/ 1537175 w 6884782"/>
              <a:gd name="connsiteY63141" fmla="*/ 1094210 h 5973007"/>
              <a:gd name="connsiteX63142" fmla="*/ 1532529 w 6884782"/>
              <a:gd name="connsiteY63142" fmla="*/ 1091112 h 5973007"/>
              <a:gd name="connsiteX63143" fmla="*/ 1531083 w 6884782"/>
              <a:gd name="connsiteY63143" fmla="*/ 1092971 h 5973007"/>
              <a:gd name="connsiteX63144" fmla="*/ 1523752 w 6884782"/>
              <a:gd name="connsiteY63144" fmla="*/ 1094055 h 5973007"/>
              <a:gd name="connsiteX63145" fmla="*/ 1522720 w 6884782"/>
              <a:gd name="connsiteY63145" fmla="*/ 1093745 h 5973007"/>
              <a:gd name="connsiteX63146" fmla="*/ 1523030 w 6884782"/>
              <a:gd name="connsiteY63146" fmla="*/ 1104123 h 5973007"/>
              <a:gd name="connsiteX63147" fmla="*/ 1523339 w 6884782"/>
              <a:gd name="connsiteY63147" fmla="*/ 1107066 h 5973007"/>
              <a:gd name="connsiteX63148" fmla="*/ 1524268 w 6884782"/>
              <a:gd name="connsiteY63148" fmla="*/ 1107531 h 5973007"/>
              <a:gd name="connsiteX63149" fmla="*/ 1526953 w 6884782"/>
              <a:gd name="connsiteY63149" fmla="*/ 1109854 h 5973007"/>
              <a:gd name="connsiteX63150" fmla="*/ 1524475 w 6884782"/>
              <a:gd name="connsiteY63150" fmla="*/ 1112178 h 5973007"/>
              <a:gd name="connsiteX63151" fmla="*/ 1523959 w 6884782"/>
              <a:gd name="connsiteY63151" fmla="*/ 1112333 h 5973007"/>
              <a:gd name="connsiteX63152" fmla="*/ 1523959 w 6884782"/>
              <a:gd name="connsiteY63152" fmla="*/ 1112642 h 5973007"/>
              <a:gd name="connsiteX63153" fmla="*/ 1523546 w 6884782"/>
              <a:gd name="connsiteY63153" fmla="*/ 1112488 h 5973007"/>
              <a:gd name="connsiteX63154" fmla="*/ 1522513 w 6884782"/>
              <a:gd name="connsiteY63154" fmla="*/ 1112798 h 5973007"/>
              <a:gd name="connsiteX63155" fmla="*/ 1519726 w 6884782"/>
              <a:gd name="connsiteY63155" fmla="*/ 1112642 h 5973007"/>
              <a:gd name="connsiteX63156" fmla="*/ 1518073 w 6884782"/>
              <a:gd name="connsiteY63156" fmla="*/ 1111403 h 5973007"/>
              <a:gd name="connsiteX63157" fmla="*/ 1516111 w 6884782"/>
              <a:gd name="connsiteY63157" fmla="*/ 1109854 h 5973007"/>
              <a:gd name="connsiteX63158" fmla="*/ 1516008 w 6884782"/>
              <a:gd name="connsiteY63158" fmla="*/ 1109390 h 5973007"/>
              <a:gd name="connsiteX63159" fmla="*/ 1514563 w 6884782"/>
              <a:gd name="connsiteY63159" fmla="*/ 1109080 h 5973007"/>
              <a:gd name="connsiteX63160" fmla="*/ 1505166 w 6884782"/>
              <a:gd name="connsiteY63160" fmla="*/ 1109080 h 5973007"/>
              <a:gd name="connsiteX63161" fmla="*/ 1505063 w 6884782"/>
              <a:gd name="connsiteY63161" fmla="*/ 1110784 h 5973007"/>
              <a:gd name="connsiteX63162" fmla="*/ 1503204 w 6884782"/>
              <a:gd name="connsiteY63162" fmla="*/ 1114966 h 5973007"/>
              <a:gd name="connsiteX63163" fmla="*/ 1496905 w 6884782"/>
              <a:gd name="connsiteY63163" fmla="*/ 1109854 h 5973007"/>
              <a:gd name="connsiteX63164" fmla="*/ 1497112 w 6884782"/>
              <a:gd name="connsiteY63164" fmla="*/ 1107996 h 5973007"/>
              <a:gd name="connsiteX63165" fmla="*/ 1495460 w 6884782"/>
              <a:gd name="connsiteY63165" fmla="*/ 1107376 h 5973007"/>
              <a:gd name="connsiteX63166" fmla="*/ 1491846 w 6884782"/>
              <a:gd name="connsiteY63166" fmla="*/ 1104898 h 5973007"/>
              <a:gd name="connsiteX63167" fmla="*/ 1490813 w 6884782"/>
              <a:gd name="connsiteY63167" fmla="*/ 1079805 h 5973007"/>
              <a:gd name="connsiteX63168" fmla="*/ 1491330 w 6884782"/>
              <a:gd name="connsiteY63168" fmla="*/ 1079340 h 5973007"/>
              <a:gd name="connsiteX63169" fmla="*/ 1489161 w 6884782"/>
              <a:gd name="connsiteY63169" fmla="*/ 1078101 h 5973007"/>
              <a:gd name="connsiteX63170" fmla="*/ 1489058 w 6884782"/>
              <a:gd name="connsiteY63170" fmla="*/ 1079805 h 5973007"/>
              <a:gd name="connsiteX63171" fmla="*/ 1483792 w 6884782"/>
              <a:gd name="connsiteY63171" fmla="*/ 1081043 h 5973007"/>
              <a:gd name="connsiteX63172" fmla="*/ 1483586 w 6884782"/>
              <a:gd name="connsiteY63172" fmla="*/ 1076242 h 5973007"/>
              <a:gd name="connsiteX63173" fmla="*/ 1484825 w 6884782"/>
              <a:gd name="connsiteY63173" fmla="*/ 1074538 h 5973007"/>
              <a:gd name="connsiteX63174" fmla="*/ 1482140 w 6884782"/>
              <a:gd name="connsiteY63174" fmla="*/ 1069736 h 5973007"/>
              <a:gd name="connsiteX63175" fmla="*/ 1481727 w 6884782"/>
              <a:gd name="connsiteY63175" fmla="*/ 1065554 h 5973007"/>
              <a:gd name="connsiteX63176" fmla="*/ 1482243 w 6884782"/>
              <a:gd name="connsiteY63176" fmla="*/ 1060753 h 5973007"/>
              <a:gd name="connsiteX63177" fmla="*/ 1490504 w 6884782"/>
              <a:gd name="connsiteY63177" fmla="*/ 1048825 h 5973007"/>
              <a:gd name="connsiteX63178" fmla="*/ 1493085 w 6884782"/>
              <a:gd name="connsiteY63178" fmla="*/ 1046347 h 5973007"/>
              <a:gd name="connsiteX63179" fmla="*/ 1493395 w 6884782"/>
              <a:gd name="connsiteY63179" fmla="*/ 1045108 h 5973007"/>
              <a:gd name="connsiteX63180" fmla="*/ 1494737 w 6884782"/>
              <a:gd name="connsiteY63180" fmla="*/ 1042165 h 5973007"/>
              <a:gd name="connsiteX63181" fmla="*/ 1496183 w 6884782"/>
              <a:gd name="connsiteY63181" fmla="*/ 1041700 h 5973007"/>
              <a:gd name="connsiteX63182" fmla="*/ 1495873 w 6884782"/>
              <a:gd name="connsiteY63182" fmla="*/ 1043869 h 5973007"/>
              <a:gd name="connsiteX63183" fmla="*/ 1496493 w 6884782"/>
              <a:gd name="connsiteY63183" fmla="*/ 1043094 h 5973007"/>
              <a:gd name="connsiteX63184" fmla="*/ 1502585 w 6884782"/>
              <a:gd name="connsiteY63184" fmla="*/ 1036279 h 5973007"/>
              <a:gd name="connsiteX63185" fmla="*/ 3675942 w 6884782"/>
              <a:gd name="connsiteY63185" fmla="*/ 1036144 h 5973007"/>
              <a:gd name="connsiteX63186" fmla="*/ 3678076 w 6884782"/>
              <a:gd name="connsiteY63186" fmla="*/ 1040128 h 5973007"/>
              <a:gd name="connsiteX63187" fmla="*/ 3677436 w 6884782"/>
              <a:gd name="connsiteY63187" fmla="*/ 1044965 h 5973007"/>
              <a:gd name="connsiteX63188" fmla="*/ 3675942 w 6884782"/>
              <a:gd name="connsiteY63188" fmla="*/ 1036144 h 5973007"/>
              <a:gd name="connsiteX63189" fmla="*/ 1150068 w 6884782"/>
              <a:gd name="connsiteY63189" fmla="*/ 1035504 h 5973007"/>
              <a:gd name="connsiteX63190" fmla="*/ 1154405 w 6884782"/>
              <a:gd name="connsiteY63190" fmla="*/ 1035659 h 5973007"/>
              <a:gd name="connsiteX63191" fmla="*/ 1157503 w 6884782"/>
              <a:gd name="connsiteY63191" fmla="*/ 1042785 h 5973007"/>
              <a:gd name="connsiteX63192" fmla="*/ 1154095 w 6884782"/>
              <a:gd name="connsiteY63192" fmla="*/ 1043249 h 5973007"/>
              <a:gd name="connsiteX63193" fmla="*/ 1149655 w 6884782"/>
              <a:gd name="connsiteY63193" fmla="*/ 1037518 h 5973007"/>
              <a:gd name="connsiteX63194" fmla="*/ 1150068 w 6884782"/>
              <a:gd name="connsiteY63194" fmla="*/ 1035504 h 5973007"/>
              <a:gd name="connsiteX63195" fmla="*/ 4377452 w 6884782"/>
              <a:gd name="connsiteY63195" fmla="*/ 1034722 h 5973007"/>
              <a:gd name="connsiteX63196" fmla="*/ 4373184 w 6884782"/>
              <a:gd name="connsiteY63196" fmla="*/ 1072423 h 5973007"/>
              <a:gd name="connsiteX63197" fmla="*/ 4377452 w 6884782"/>
              <a:gd name="connsiteY63197" fmla="*/ 1034722 h 5973007"/>
              <a:gd name="connsiteX63198" fmla="*/ 3602525 w 6884782"/>
              <a:gd name="connsiteY63198" fmla="*/ 1034153 h 5973007"/>
              <a:gd name="connsiteX63199" fmla="*/ 3603806 w 6884782"/>
              <a:gd name="connsiteY63199" fmla="*/ 1042262 h 5973007"/>
              <a:gd name="connsiteX63200" fmla="*/ 3604019 w 6884782"/>
              <a:gd name="connsiteY63200" fmla="*/ 1042689 h 5973007"/>
              <a:gd name="connsiteX63201" fmla="*/ 3604019 w 6884782"/>
              <a:gd name="connsiteY63201" fmla="*/ 1043258 h 5973007"/>
              <a:gd name="connsiteX63202" fmla="*/ 3604873 w 6884782"/>
              <a:gd name="connsiteY63202" fmla="*/ 1052790 h 5973007"/>
              <a:gd name="connsiteX63203" fmla="*/ 3603379 w 6884782"/>
              <a:gd name="connsiteY63203" fmla="*/ 1061753 h 5973007"/>
              <a:gd name="connsiteX63204" fmla="*/ 3604446 w 6884782"/>
              <a:gd name="connsiteY63204" fmla="*/ 1061895 h 5973007"/>
              <a:gd name="connsiteX63205" fmla="*/ 3621520 w 6884782"/>
              <a:gd name="connsiteY63205" fmla="*/ 1062749 h 5973007"/>
              <a:gd name="connsiteX63206" fmla="*/ 3619172 w 6884782"/>
              <a:gd name="connsiteY63206" fmla="*/ 1074699 h 5973007"/>
              <a:gd name="connsiteX63207" fmla="*/ 3602739 w 6884782"/>
              <a:gd name="connsiteY63207" fmla="*/ 1082666 h 5973007"/>
              <a:gd name="connsiteX63208" fmla="*/ 3602311 w 6884782"/>
              <a:gd name="connsiteY63208" fmla="*/ 1082524 h 5973007"/>
              <a:gd name="connsiteX63209" fmla="*/ 3595696 w 6884782"/>
              <a:gd name="connsiteY63209" fmla="*/ 1082524 h 5973007"/>
              <a:gd name="connsiteX63210" fmla="*/ 3594628 w 6884782"/>
              <a:gd name="connsiteY63210" fmla="*/ 1080248 h 5973007"/>
              <a:gd name="connsiteX63211" fmla="*/ 3590574 w 6884782"/>
              <a:gd name="connsiteY63211" fmla="*/ 1081386 h 5973007"/>
              <a:gd name="connsiteX63212" fmla="*/ 3588013 w 6884782"/>
              <a:gd name="connsiteY63212" fmla="*/ 1072565 h 5973007"/>
              <a:gd name="connsiteX63213" fmla="*/ 3573714 w 6884782"/>
              <a:gd name="connsiteY63213" fmla="*/ 1079252 h 5973007"/>
              <a:gd name="connsiteX63214" fmla="*/ 3570512 w 6884782"/>
              <a:gd name="connsiteY63214" fmla="*/ 1078540 h 5973007"/>
              <a:gd name="connsiteX63215" fmla="*/ 3568805 w 6884782"/>
              <a:gd name="connsiteY63215" fmla="*/ 1078398 h 5973007"/>
              <a:gd name="connsiteX63216" fmla="*/ 3580330 w 6884782"/>
              <a:gd name="connsiteY63216" fmla="*/ 1082381 h 5973007"/>
              <a:gd name="connsiteX63217" fmla="*/ 3588440 w 6884782"/>
              <a:gd name="connsiteY63217" fmla="*/ 1091202 h 5973007"/>
              <a:gd name="connsiteX63218" fmla="*/ 3589080 w 6884782"/>
              <a:gd name="connsiteY63218" fmla="*/ 1107990 h 5973007"/>
              <a:gd name="connsiteX63219" fmla="*/ 3589080 w 6884782"/>
              <a:gd name="connsiteY63219" fmla="*/ 1108275 h 5973007"/>
              <a:gd name="connsiteX63220" fmla="*/ 3592068 w 6884782"/>
              <a:gd name="connsiteY63220" fmla="*/ 1105287 h 5973007"/>
              <a:gd name="connsiteX63221" fmla="*/ 3593348 w 6884782"/>
              <a:gd name="connsiteY63221" fmla="*/ 1097747 h 5973007"/>
              <a:gd name="connsiteX63222" fmla="*/ 3592921 w 6884782"/>
              <a:gd name="connsiteY63222" fmla="*/ 1092340 h 5973007"/>
              <a:gd name="connsiteX63223" fmla="*/ 3594415 w 6884782"/>
              <a:gd name="connsiteY63223" fmla="*/ 1090065 h 5973007"/>
              <a:gd name="connsiteX63224" fmla="*/ 3601671 w 6884782"/>
              <a:gd name="connsiteY63224" fmla="*/ 1085369 h 5973007"/>
              <a:gd name="connsiteX63225" fmla="*/ 3603592 w 6884782"/>
              <a:gd name="connsiteY63225" fmla="*/ 1090918 h 5973007"/>
              <a:gd name="connsiteX63226" fmla="*/ 3602311 w 6884782"/>
              <a:gd name="connsiteY63226" fmla="*/ 1095329 h 5973007"/>
              <a:gd name="connsiteX63227" fmla="*/ 3603166 w 6884782"/>
              <a:gd name="connsiteY63227" fmla="*/ 1094617 h 5973007"/>
              <a:gd name="connsiteX63228" fmla="*/ 3614263 w 6884782"/>
              <a:gd name="connsiteY63228" fmla="*/ 1091345 h 5973007"/>
              <a:gd name="connsiteX63229" fmla="*/ 3601458 w 6884782"/>
              <a:gd name="connsiteY63229" fmla="*/ 1112258 h 5973007"/>
              <a:gd name="connsiteX63230" fmla="*/ 3592068 w 6884782"/>
              <a:gd name="connsiteY63230" fmla="*/ 1116526 h 5973007"/>
              <a:gd name="connsiteX63231" fmla="*/ 3593348 w 6884782"/>
              <a:gd name="connsiteY63231" fmla="*/ 1120368 h 5973007"/>
              <a:gd name="connsiteX63232" fmla="*/ 3586305 w 6884782"/>
              <a:gd name="connsiteY63232" fmla="*/ 1136017 h 5973007"/>
              <a:gd name="connsiteX63233" fmla="*/ 3583104 w 6884782"/>
              <a:gd name="connsiteY63233" fmla="*/ 1140569 h 5973007"/>
              <a:gd name="connsiteX63234" fmla="*/ 3581183 w 6884782"/>
              <a:gd name="connsiteY63234" fmla="*/ 1144695 h 5973007"/>
              <a:gd name="connsiteX63235" fmla="*/ 3580970 w 6884782"/>
              <a:gd name="connsiteY63235" fmla="*/ 1145123 h 5973007"/>
              <a:gd name="connsiteX63236" fmla="*/ 3580543 w 6884782"/>
              <a:gd name="connsiteY63236" fmla="*/ 1147968 h 5973007"/>
              <a:gd name="connsiteX63237" fmla="*/ 3582037 w 6884782"/>
              <a:gd name="connsiteY63237" fmla="*/ 1146260 h 5973007"/>
              <a:gd name="connsiteX63238" fmla="*/ 3590574 w 6884782"/>
              <a:gd name="connsiteY63238" fmla="*/ 1143984 h 5973007"/>
              <a:gd name="connsiteX63239" fmla="*/ 3598470 w 6884782"/>
              <a:gd name="connsiteY63239" fmla="*/ 1153943 h 5973007"/>
              <a:gd name="connsiteX63240" fmla="*/ 3601031 w 6884782"/>
              <a:gd name="connsiteY63240" fmla="*/ 1153659 h 5973007"/>
              <a:gd name="connsiteX63241" fmla="*/ 3605086 w 6884782"/>
              <a:gd name="connsiteY63241" fmla="*/ 1156504 h 5973007"/>
              <a:gd name="connsiteX63242" fmla="*/ 3603592 w 6884782"/>
              <a:gd name="connsiteY63242" fmla="*/ 1158922 h 5973007"/>
              <a:gd name="connsiteX63243" fmla="*/ 3598470 w 6884782"/>
              <a:gd name="connsiteY63243" fmla="*/ 1156646 h 5973007"/>
              <a:gd name="connsiteX63244" fmla="*/ 3597403 w 6884782"/>
              <a:gd name="connsiteY63244" fmla="*/ 1157215 h 5973007"/>
              <a:gd name="connsiteX63245" fmla="*/ 3596336 w 6884782"/>
              <a:gd name="connsiteY63245" fmla="*/ 1160488 h 5973007"/>
              <a:gd name="connsiteX63246" fmla="*/ 3586305 w 6884782"/>
              <a:gd name="connsiteY63246" fmla="*/ 1166890 h 5973007"/>
              <a:gd name="connsiteX63247" fmla="*/ 3578836 w 6884782"/>
              <a:gd name="connsiteY63247" fmla="*/ 1161056 h 5973007"/>
              <a:gd name="connsiteX63248" fmla="*/ 3577341 w 6884782"/>
              <a:gd name="connsiteY63248" fmla="*/ 1157784 h 5973007"/>
              <a:gd name="connsiteX63249" fmla="*/ 3573714 w 6884782"/>
              <a:gd name="connsiteY63249" fmla="*/ 1163048 h 5973007"/>
              <a:gd name="connsiteX63250" fmla="*/ 3563683 w 6884782"/>
              <a:gd name="connsiteY63250" fmla="*/ 1165894 h 5973007"/>
              <a:gd name="connsiteX63251" fmla="*/ 3560482 w 6884782"/>
              <a:gd name="connsiteY63251" fmla="*/ 1164186 h 5973007"/>
              <a:gd name="connsiteX63252" fmla="*/ 3547036 w 6884782"/>
              <a:gd name="connsiteY63252" fmla="*/ 1169735 h 5973007"/>
              <a:gd name="connsiteX63253" fmla="*/ 3546609 w 6884782"/>
              <a:gd name="connsiteY63253" fmla="*/ 1169735 h 5973007"/>
              <a:gd name="connsiteX63254" fmla="*/ 3544902 w 6884782"/>
              <a:gd name="connsiteY63254" fmla="*/ 1171157 h 5973007"/>
              <a:gd name="connsiteX63255" fmla="*/ 3545542 w 6884782"/>
              <a:gd name="connsiteY63255" fmla="*/ 1173576 h 5973007"/>
              <a:gd name="connsiteX63256" fmla="*/ 3556000 w 6884782"/>
              <a:gd name="connsiteY63256" fmla="*/ 1184531 h 5973007"/>
              <a:gd name="connsiteX63257" fmla="*/ 3548530 w 6884782"/>
              <a:gd name="connsiteY63257" fmla="*/ 1184673 h 5973007"/>
              <a:gd name="connsiteX63258" fmla="*/ 3549384 w 6884782"/>
              <a:gd name="connsiteY63258" fmla="*/ 1186238 h 5973007"/>
              <a:gd name="connsiteX63259" fmla="*/ 3551304 w 6884782"/>
              <a:gd name="connsiteY63259" fmla="*/ 1197762 h 5973007"/>
              <a:gd name="connsiteX63260" fmla="*/ 3551304 w 6884782"/>
              <a:gd name="connsiteY63260" fmla="*/ 1204448 h 5973007"/>
              <a:gd name="connsiteX63261" fmla="*/ 3553652 w 6884782"/>
              <a:gd name="connsiteY63261" fmla="*/ 1202457 h 5973007"/>
              <a:gd name="connsiteX63262" fmla="*/ 3563256 w 6884782"/>
              <a:gd name="connsiteY63262" fmla="*/ 1200180 h 5973007"/>
              <a:gd name="connsiteX63263" fmla="*/ 3563470 w 6884782"/>
              <a:gd name="connsiteY63263" fmla="*/ 1211277 h 5973007"/>
              <a:gd name="connsiteX63264" fmla="*/ 3558347 w 6884782"/>
              <a:gd name="connsiteY63264" fmla="*/ 1215261 h 5973007"/>
              <a:gd name="connsiteX63265" fmla="*/ 3553439 w 6884782"/>
              <a:gd name="connsiteY63265" fmla="*/ 1214692 h 5973007"/>
              <a:gd name="connsiteX63266" fmla="*/ 3551091 w 6884782"/>
              <a:gd name="connsiteY63266" fmla="*/ 1214834 h 5973007"/>
              <a:gd name="connsiteX63267" fmla="*/ 3550664 w 6884782"/>
              <a:gd name="connsiteY63267" fmla="*/ 1226358 h 5973007"/>
              <a:gd name="connsiteX63268" fmla="*/ 3553225 w 6884782"/>
              <a:gd name="connsiteY63268" fmla="*/ 1223655 h 5973007"/>
              <a:gd name="connsiteX63269" fmla="*/ 3560268 w 6884782"/>
              <a:gd name="connsiteY63269" fmla="*/ 1232618 h 5973007"/>
              <a:gd name="connsiteX63270" fmla="*/ 3555573 w 6884782"/>
              <a:gd name="connsiteY63270" fmla="*/ 1242292 h 5973007"/>
              <a:gd name="connsiteX63271" fmla="*/ 3542768 w 6884782"/>
              <a:gd name="connsiteY63271" fmla="*/ 1234325 h 5973007"/>
              <a:gd name="connsiteX63272" fmla="*/ 3543621 w 6884782"/>
              <a:gd name="connsiteY63272" fmla="*/ 1233471 h 5973007"/>
              <a:gd name="connsiteX63273" fmla="*/ 3537646 w 6884782"/>
              <a:gd name="connsiteY63273" fmla="*/ 1231622 h 5973007"/>
              <a:gd name="connsiteX63274" fmla="*/ 3540207 w 6884782"/>
              <a:gd name="connsiteY63274" fmla="*/ 1200607 h 5973007"/>
              <a:gd name="connsiteX63275" fmla="*/ 3541701 w 6884782"/>
              <a:gd name="connsiteY63275" fmla="*/ 1184815 h 5973007"/>
              <a:gd name="connsiteX63276" fmla="*/ 3537219 w 6884782"/>
              <a:gd name="connsiteY63276" fmla="*/ 1184958 h 5973007"/>
              <a:gd name="connsiteX63277" fmla="*/ 3521426 w 6884782"/>
              <a:gd name="connsiteY63277" fmla="*/ 1179694 h 5973007"/>
              <a:gd name="connsiteX63278" fmla="*/ 3517371 w 6884782"/>
              <a:gd name="connsiteY63278" fmla="*/ 1176848 h 5973007"/>
              <a:gd name="connsiteX63279" fmla="*/ 3515023 w 6884782"/>
              <a:gd name="connsiteY63279" fmla="*/ 1177417 h 5973007"/>
              <a:gd name="connsiteX63280" fmla="*/ 3513529 w 6884782"/>
              <a:gd name="connsiteY63280" fmla="*/ 1177133 h 5973007"/>
              <a:gd name="connsiteX63281" fmla="*/ 3512889 w 6884782"/>
              <a:gd name="connsiteY63281" fmla="*/ 1177560 h 5973007"/>
              <a:gd name="connsiteX63282" fmla="*/ 3511608 w 6884782"/>
              <a:gd name="connsiteY63282" fmla="*/ 1178271 h 5973007"/>
              <a:gd name="connsiteX63283" fmla="*/ 3511822 w 6884782"/>
              <a:gd name="connsiteY63283" fmla="*/ 1177133 h 5973007"/>
              <a:gd name="connsiteX63284" fmla="*/ 3511822 w 6884782"/>
              <a:gd name="connsiteY63284" fmla="*/ 1176991 h 5973007"/>
              <a:gd name="connsiteX63285" fmla="*/ 3508194 w 6884782"/>
              <a:gd name="connsiteY63285" fmla="*/ 1176706 h 5973007"/>
              <a:gd name="connsiteX63286" fmla="*/ 3511822 w 6884782"/>
              <a:gd name="connsiteY63286" fmla="*/ 1168028 h 5973007"/>
              <a:gd name="connsiteX63287" fmla="*/ 3516731 w 6884782"/>
              <a:gd name="connsiteY63287" fmla="*/ 1160488 h 5973007"/>
              <a:gd name="connsiteX63288" fmla="*/ 3517371 w 6884782"/>
              <a:gd name="connsiteY63288" fmla="*/ 1166463 h 5973007"/>
              <a:gd name="connsiteX63289" fmla="*/ 3519718 w 6884782"/>
              <a:gd name="connsiteY63289" fmla="*/ 1165325 h 5973007"/>
              <a:gd name="connsiteX63290" fmla="*/ 3520572 w 6884782"/>
              <a:gd name="connsiteY63290" fmla="*/ 1168881 h 5973007"/>
              <a:gd name="connsiteX63291" fmla="*/ 3522493 w 6884782"/>
              <a:gd name="connsiteY63291" fmla="*/ 1168597 h 5973007"/>
              <a:gd name="connsiteX63292" fmla="*/ 3529962 w 6884782"/>
              <a:gd name="connsiteY63292" fmla="*/ 1169735 h 5973007"/>
              <a:gd name="connsiteX63293" fmla="*/ 3529962 w 6884782"/>
              <a:gd name="connsiteY63293" fmla="*/ 1167743 h 5973007"/>
              <a:gd name="connsiteX63294" fmla="*/ 3524627 w 6884782"/>
              <a:gd name="connsiteY63294" fmla="*/ 1165609 h 5973007"/>
              <a:gd name="connsiteX63295" fmla="*/ 3516731 w 6884782"/>
              <a:gd name="connsiteY63295" fmla="*/ 1160488 h 5973007"/>
              <a:gd name="connsiteX63296" fmla="*/ 3515023 w 6884782"/>
              <a:gd name="connsiteY63296" fmla="*/ 1159634 h 5973007"/>
              <a:gd name="connsiteX63297" fmla="*/ 3504139 w 6884782"/>
              <a:gd name="connsiteY63297" fmla="*/ 1153659 h 5973007"/>
              <a:gd name="connsiteX63298" fmla="*/ 3495815 w 6884782"/>
              <a:gd name="connsiteY63298" fmla="*/ 1127908 h 5973007"/>
              <a:gd name="connsiteX63299" fmla="*/ 3502645 w 6884782"/>
              <a:gd name="connsiteY63299" fmla="*/ 1111262 h 5973007"/>
              <a:gd name="connsiteX63300" fmla="*/ 3504992 w 6884782"/>
              <a:gd name="connsiteY63300" fmla="*/ 1102726 h 5973007"/>
              <a:gd name="connsiteX63301" fmla="*/ 3504352 w 6884782"/>
              <a:gd name="connsiteY63301" fmla="*/ 1103011 h 5973007"/>
              <a:gd name="connsiteX63302" fmla="*/ 3495815 w 6884782"/>
              <a:gd name="connsiteY63302" fmla="*/ 1096466 h 5973007"/>
              <a:gd name="connsiteX63303" fmla="*/ 3501364 w 6884782"/>
              <a:gd name="connsiteY63303" fmla="*/ 1096894 h 5973007"/>
              <a:gd name="connsiteX63304" fmla="*/ 3506060 w 6884782"/>
              <a:gd name="connsiteY63304" fmla="*/ 1098458 h 5973007"/>
              <a:gd name="connsiteX63305" fmla="*/ 3507767 w 6884782"/>
              <a:gd name="connsiteY63305" fmla="*/ 1092483 h 5973007"/>
              <a:gd name="connsiteX63306" fmla="*/ 3526548 w 6884782"/>
              <a:gd name="connsiteY63306" fmla="*/ 1081671 h 5973007"/>
              <a:gd name="connsiteX63307" fmla="*/ 3527615 w 6884782"/>
              <a:gd name="connsiteY63307" fmla="*/ 1081101 h 5973007"/>
              <a:gd name="connsiteX63308" fmla="*/ 3523133 w 6884782"/>
              <a:gd name="connsiteY63308" fmla="*/ 1077544 h 5973007"/>
              <a:gd name="connsiteX63309" fmla="*/ 3518865 w 6884782"/>
              <a:gd name="connsiteY63309" fmla="*/ 1082524 h 5973007"/>
              <a:gd name="connsiteX63310" fmla="*/ 3503498 w 6884782"/>
              <a:gd name="connsiteY63310" fmla="*/ 1075126 h 5973007"/>
              <a:gd name="connsiteX63311" fmla="*/ 3513956 w 6884782"/>
              <a:gd name="connsiteY63311" fmla="*/ 1064741 h 5973007"/>
              <a:gd name="connsiteX63312" fmla="*/ 3517584 w 6884782"/>
              <a:gd name="connsiteY63312" fmla="*/ 1068724 h 5973007"/>
              <a:gd name="connsiteX63313" fmla="*/ 3518011 w 6884782"/>
              <a:gd name="connsiteY63313" fmla="*/ 1068297 h 5973007"/>
              <a:gd name="connsiteX63314" fmla="*/ 3518651 w 6884782"/>
              <a:gd name="connsiteY63314" fmla="*/ 1065452 h 5973007"/>
              <a:gd name="connsiteX63315" fmla="*/ 3516303 w 6884782"/>
              <a:gd name="connsiteY63315" fmla="*/ 1063602 h 5973007"/>
              <a:gd name="connsiteX63316" fmla="*/ 3519505 w 6884782"/>
              <a:gd name="connsiteY63316" fmla="*/ 1061468 h 5973007"/>
              <a:gd name="connsiteX63317" fmla="*/ 3519932 w 6884782"/>
              <a:gd name="connsiteY63317" fmla="*/ 1061753 h 5973007"/>
              <a:gd name="connsiteX63318" fmla="*/ 3522919 w 6884782"/>
              <a:gd name="connsiteY63318" fmla="*/ 1057912 h 5973007"/>
              <a:gd name="connsiteX63319" fmla="*/ 3533804 w 6884782"/>
              <a:gd name="connsiteY63319" fmla="*/ 1052932 h 5973007"/>
              <a:gd name="connsiteX63320" fmla="*/ 3542554 w 6884782"/>
              <a:gd name="connsiteY63320" fmla="*/ 1057485 h 5973007"/>
              <a:gd name="connsiteX63321" fmla="*/ 3547036 w 6884782"/>
              <a:gd name="connsiteY63321" fmla="*/ 1071143 h 5973007"/>
              <a:gd name="connsiteX63322" fmla="*/ 3546609 w 6884782"/>
              <a:gd name="connsiteY63322" fmla="*/ 1071569 h 5973007"/>
              <a:gd name="connsiteX63323" fmla="*/ 3556000 w 6884782"/>
              <a:gd name="connsiteY63323" fmla="*/ 1075553 h 5973007"/>
              <a:gd name="connsiteX63324" fmla="*/ 3565177 w 6884782"/>
              <a:gd name="connsiteY63324" fmla="*/ 1077544 h 5973007"/>
              <a:gd name="connsiteX63325" fmla="*/ 3563470 w 6884782"/>
              <a:gd name="connsiteY63325" fmla="*/ 1072423 h 5973007"/>
              <a:gd name="connsiteX63326" fmla="*/ 3561975 w 6884782"/>
              <a:gd name="connsiteY63326" fmla="*/ 1063318 h 5973007"/>
              <a:gd name="connsiteX63327" fmla="*/ 3575634 w 6884782"/>
              <a:gd name="connsiteY63327" fmla="*/ 1049945 h 5973007"/>
              <a:gd name="connsiteX63328" fmla="*/ 3576915 w 6884782"/>
              <a:gd name="connsiteY63328" fmla="*/ 1050798 h 5973007"/>
              <a:gd name="connsiteX63329" fmla="*/ 3579262 w 6884782"/>
              <a:gd name="connsiteY63329" fmla="*/ 1051794 h 5973007"/>
              <a:gd name="connsiteX63330" fmla="*/ 3582891 w 6884782"/>
              <a:gd name="connsiteY63330" fmla="*/ 1050371 h 5973007"/>
              <a:gd name="connsiteX63331" fmla="*/ 3586305 w 6884782"/>
              <a:gd name="connsiteY63331" fmla="*/ 1052221 h 5973007"/>
              <a:gd name="connsiteX63332" fmla="*/ 3588226 w 6884782"/>
              <a:gd name="connsiteY63332" fmla="*/ 1058054 h 5973007"/>
              <a:gd name="connsiteX63333" fmla="*/ 3587373 w 6884782"/>
              <a:gd name="connsiteY63333" fmla="*/ 1059049 h 5973007"/>
              <a:gd name="connsiteX63334" fmla="*/ 3589080 w 6884782"/>
              <a:gd name="connsiteY63334" fmla="*/ 1066163 h 5973007"/>
              <a:gd name="connsiteX63335" fmla="*/ 3588440 w 6884782"/>
              <a:gd name="connsiteY63335" fmla="*/ 1070574 h 5973007"/>
              <a:gd name="connsiteX63336" fmla="*/ 3590360 w 6884782"/>
              <a:gd name="connsiteY63336" fmla="*/ 1063887 h 5973007"/>
              <a:gd name="connsiteX63337" fmla="*/ 3591214 w 6884782"/>
              <a:gd name="connsiteY63337" fmla="*/ 1061326 h 5973007"/>
              <a:gd name="connsiteX63338" fmla="*/ 3590147 w 6884782"/>
              <a:gd name="connsiteY63338" fmla="*/ 1061326 h 5973007"/>
              <a:gd name="connsiteX63339" fmla="*/ 3591428 w 6884782"/>
              <a:gd name="connsiteY63339" fmla="*/ 1060046 h 5973007"/>
              <a:gd name="connsiteX63340" fmla="*/ 3591641 w 6884782"/>
              <a:gd name="connsiteY63340" fmla="*/ 1059761 h 5973007"/>
              <a:gd name="connsiteX63341" fmla="*/ 3591641 w 6884782"/>
              <a:gd name="connsiteY63341" fmla="*/ 1058623 h 5973007"/>
              <a:gd name="connsiteX63342" fmla="*/ 3594842 w 6884782"/>
              <a:gd name="connsiteY63342" fmla="*/ 1054639 h 5973007"/>
              <a:gd name="connsiteX63343" fmla="*/ 3596123 w 6884782"/>
              <a:gd name="connsiteY63343" fmla="*/ 1054924 h 5973007"/>
              <a:gd name="connsiteX63344" fmla="*/ 3595909 w 6884782"/>
              <a:gd name="connsiteY63344" fmla="*/ 1048237 h 5973007"/>
              <a:gd name="connsiteX63345" fmla="*/ 3596336 w 6884782"/>
              <a:gd name="connsiteY63345" fmla="*/ 1046388 h 5973007"/>
              <a:gd name="connsiteX63346" fmla="*/ 3595696 w 6884782"/>
              <a:gd name="connsiteY63346" fmla="*/ 1045819 h 5973007"/>
              <a:gd name="connsiteX63347" fmla="*/ 3596549 w 6884782"/>
              <a:gd name="connsiteY63347" fmla="*/ 1044681 h 5973007"/>
              <a:gd name="connsiteX63348" fmla="*/ 3597616 w 6884782"/>
              <a:gd name="connsiteY63348" fmla="*/ 1038705 h 5973007"/>
              <a:gd name="connsiteX63349" fmla="*/ 3602525 w 6884782"/>
              <a:gd name="connsiteY63349" fmla="*/ 1034153 h 5973007"/>
              <a:gd name="connsiteX63350" fmla="*/ 4680082 w 6884782"/>
              <a:gd name="connsiteY63350" fmla="*/ 1033299 h 5973007"/>
              <a:gd name="connsiteX63351" fmla="*/ 4691606 w 6884782"/>
              <a:gd name="connsiteY63351" fmla="*/ 1046672 h 5973007"/>
              <a:gd name="connsiteX63352" fmla="*/ 4693954 w 6884782"/>
              <a:gd name="connsiteY63352" fmla="*/ 1055067 h 5973007"/>
              <a:gd name="connsiteX63353" fmla="*/ 4694594 w 6884782"/>
              <a:gd name="connsiteY63353" fmla="*/ 1070004 h 5973007"/>
              <a:gd name="connsiteX63354" fmla="*/ 4691820 w 6884782"/>
              <a:gd name="connsiteY63354" fmla="*/ 1072850 h 5973007"/>
              <a:gd name="connsiteX63355" fmla="*/ 4672185 w 6884782"/>
              <a:gd name="connsiteY63355" fmla="*/ 1060330 h 5973007"/>
              <a:gd name="connsiteX63356" fmla="*/ 4673039 w 6884782"/>
              <a:gd name="connsiteY63356" fmla="*/ 1034437 h 5973007"/>
              <a:gd name="connsiteX63357" fmla="*/ 4680082 w 6884782"/>
              <a:gd name="connsiteY63357" fmla="*/ 1033299 h 5973007"/>
              <a:gd name="connsiteX63358" fmla="*/ 3612129 w 6884782"/>
              <a:gd name="connsiteY63358" fmla="*/ 1032161 h 5973007"/>
              <a:gd name="connsiteX63359" fmla="*/ 3617678 w 6884782"/>
              <a:gd name="connsiteY63359" fmla="*/ 1032872 h 5973007"/>
              <a:gd name="connsiteX63360" fmla="*/ 3616397 w 6884782"/>
              <a:gd name="connsiteY63360" fmla="*/ 1032872 h 5973007"/>
              <a:gd name="connsiteX63361" fmla="*/ 3616184 w 6884782"/>
              <a:gd name="connsiteY63361" fmla="*/ 1035291 h 5973007"/>
              <a:gd name="connsiteX63362" fmla="*/ 3617251 w 6884782"/>
              <a:gd name="connsiteY63362" fmla="*/ 1035291 h 5973007"/>
              <a:gd name="connsiteX63363" fmla="*/ 3615971 w 6884782"/>
              <a:gd name="connsiteY63363" fmla="*/ 1037709 h 5973007"/>
              <a:gd name="connsiteX63364" fmla="*/ 3611916 w 6884782"/>
              <a:gd name="connsiteY63364" fmla="*/ 1040697 h 5973007"/>
              <a:gd name="connsiteX63365" fmla="*/ 3613196 w 6884782"/>
              <a:gd name="connsiteY63365" fmla="*/ 1043116 h 5973007"/>
              <a:gd name="connsiteX63366" fmla="*/ 3606794 w 6884782"/>
              <a:gd name="connsiteY63366" fmla="*/ 1043827 h 5973007"/>
              <a:gd name="connsiteX63367" fmla="*/ 3607007 w 6884782"/>
              <a:gd name="connsiteY63367" fmla="*/ 1039844 h 5973007"/>
              <a:gd name="connsiteX63368" fmla="*/ 3606580 w 6884782"/>
              <a:gd name="connsiteY63368" fmla="*/ 1037709 h 5973007"/>
              <a:gd name="connsiteX63369" fmla="*/ 3608074 w 6884782"/>
              <a:gd name="connsiteY63369" fmla="*/ 1035148 h 5973007"/>
              <a:gd name="connsiteX63370" fmla="*/ 3612129 w 6884782"/>
              <a:gd name="connsiteY63370" fmla="*/ 1032161 h 5973007"/>
              <a:gd name="connsiteX63371" fmla="*/ 1041752 w 6884782"/>
              <a:gd name="connsiteY63371" fmla="*/ 1029618 h 5973007"/>
              <a:gd name="connsiteX63372" fmla="*/ 1042475 w 6884782"/>
              <a:gd name="connsiteY63372" fmla="*/ 1037208 h 5973007"/>
              <a:gd name="connsiteX63373" fmla="*/ 1042475 w 6884782"/>
              <a:gd name="connsiteY63373" fmla="*/ 1041390 h 5973007"/>
              <a:gd name="connsiteX63374" fmla="*/ 1040720 w 6884782"/>
              <a:gd name="connsiteY63374" fmla="*/ 1042785 h 5973007"/>
              <a:gd name="connsiteX63375" fmla="*/ 1039790 w 6884782"/>
              <a:gd name="connsiteY63375" fmla="*/ 1042785 h 5973007"/>
              <a:gd name="connsiteX63376" fmla="*/ 1039067 w 6884782"/>
              <a:gd name="connsiteY63376" fmla="*/ 1040925 h 5973007"/>
              <a:gd name="connsiteX63377" fmla="*/ 1039997 w 6884782"/>
              <a:gd name="connsiteY63377" fmla="*/ 1032716 h 5973007"/>
              <a:gd name="connsiteX63378" fmla="*/ 1039997 w 6884782"/>
              <a:gd name="connsiteY63378" fmla="*/ 1031012 h 5973007"/>
              <a:gd name="connsiteX63379" fmla="*/ 1041752 w 6884782"/>
              <a:gd name="connsiteY63379" fmla="*/ 1029618 h 5973007"/>
              <a:gd name="connsiteX63380" fmla="*/ 3945918 w 6884782"/>
              <a:gd name="connsiteY63380" fmla="*/ 1029173 h 5973007"/>
              <a:gd name="connsiteX63381" fmla="*/ 3948905 w 6884782"/>
              <a:gd name="connsiteY63381" fmla="*/ 1029743 h 5973007"/>
              <a:gd name="connsiteX63382" fmla="*/ 3948479 w 6884782"/>
              <a:gd name="connsiteY63382" fmla="*/ 1035860 h 5973007"/>
              <a:gd name="connsiteX63383" fmla="*/ 3938874 w 6884782"/>
              <a:gd name="connsiteY63383" fmla="*/ 1040128 h 5973007"/>
              <a:gd name="connsiteX63384" fmla="*/ 3938234 w 6884782"/>
              <a:gd name="connsiteY63384" fmla="*/ 1035291 h 5973007"/>
              <a:gd name="connsiteX63385" fmla="*/ 3945918 w 6884782"/>
              <a:gd name="connsiteY63385" fmla="*/ 1029173 h 5973007"/>
              <a:gd name="connsiteX63386" fmla="*/ 1258384 w 6884782"/>
              <a:gd name="connsiteY63386" fmla="*/ 1028379 h 5973007"/>
              <a:gd name="connsiteX63387" fmla="*/ 1260036 w 6884782"/>
              <a:gd name="connsiteY63387" fmla="*/ 1028379 h 5973007"/>
              <a:gd name="connsiteX63388" fmla="*/ 1260759 w 6884782"/>
              <a:gd name="connsiteY63388" fmla="*/ 1029463 h 5973007"/>
              <a:gd name="connsiteX63389" fmla="*/ 1261378 w 6884782"/>
              <a:gd name="connsiteY63389" fmla="*/ 1028998 h 5973007"/>
              <a:gd name="connsiteX63390" fmla="*/ 1264063 w 6884782"/>
              <a:gd name="connsiteY63390" fmla="*/ 1028688 h 5973007"/>
              <a:gd name="connsiteX63391" fmla="*/ 1265199 w 6884782"/>
              <a:gd name="connsiteY63391" fmla="*/ 1032871 h 5973007"/>
              <a:gd name="connsiteX63392" fmla="*/ 1263443 w 6884782"/>
              <a:gd name="connsiteY63392" fmla="*/ 1033955 h 5973007"/>
              <a:gd name="connsiteX63393" fmla="*/ 1261998 w 6884782"/>
              <a:gd name="connsiteY63393" fmla="*/ 1033645 h 5973007"/>
              <a:gd name="connsiteX63394" fmla="*/ 1261481 w 6884782"/>
              <a:gd name="connsiteY63394" fmla="*/ 1035659 h 5973007"/>
              <a:gd name="connsiteX63395" fmla="*/ 1254357 w 6884782"/>
              <a:gd name="connsiteY63395" fmla="*/ 1038447 h 5973007"/>
              <a:gd name="connsiteX63396" fmla="*/ 1253531 w 6884782"/>
              <a:gd name="connsiteY63396" fmla="*/ 1036898 h 5973007"/>
              <a:gd name="connsiteX63397" fmla="*/ 1253118 w 6884782"/>
              <a:gd name="connsiteY63397" fmla="*/ 1034885 h 5973007"/>
              <a:gd name="connsiteX63398" fmla="*/ 1254770 w 6884782"/>
              <a:gd name="connsiteY63398" fmla="*/ 1030238 h 5973007"/>
              <a:gd name="connsiteX63399" fmla="*/ 1258384 w 6884782"/>
              <a:gd name="connsiteY63399" fmla="*/ 1028379 h 5973007"/>
              <a:gd name="connsiteX63400" fmla="*/ 1219056 w 6884782"/>
              <a:gd name="connsiteY63400" fmla="*/ 1026675 h 5973007"/>
              <a:gd name="connsiteX63401" fmla="*/ 1230195 w 6884782"/>
              <a:gd name="connsiteY63401" fmla="*/ 1034110 h 5973007"/>
              <a:gd name="connsiteX63402" fmla="*/ 1218217 w 6884782"/>
              <a:gd name="connsiteY63402" fmla="*/ 1033026 h 5973007"/>
              <a:gd name="connsiteX63403" fmla="*/ 1205826 w 6884782"/>
              <a:gd name="connsiteY63403" fmla="*/ 1027605 h 5973007"/>
              <a:gd name="connsiteX63404" fmla="*/ 1219056 w 6884782"/>
              <a:gd name="connsiteY63404" fmla="*/ 1026675 h 5973007"/>
              <a:gd name="connsiteX63405" fmla="*/ 1524888 w 6884782"/>
              <a:gd name="connsiteY63405" fmla="*/ 1024971 h 5973007"/>
              <a:gd name="connsiteX63406" fmla="*/ 1518693 w 6884782"/>
              <a:gd name="connsiteY63406" fmla="*/ 1026830 h 5973007"/>
              <a:gd name="connsiteX63407" fmla="*/ 1517763 w 6884782"/>
              <a:gd name="connsiteY63407" fmla="*/ 1026830 h 5973007"/>
              <a:gd name="connsiteX63408" fmla="*/ 1518383 w 6884782"/>
              <a:gd name="connsiteY63408" fmla="*/ 1028534 h 5973007"/>
              <a:gd name="connsiteX63409" fmla="*/ 1523030 w 6884782"/>
              <a:gd name="connsiteY63409" fmla="*/ 1028844 h 5973007"/>
              <a:gd name="connsiteX63410" fmla="*/ 1525817 w 6884782"/>
              <a:gd name="connsiteY63410" fmla="*/ 1028534 h 5973007"/>
              <a:gd name="connsiteX63411" fmla="*/ 1525817 w 6884782"/>
              <a:gd name="connsiteY63411" fmla="*/ 1028069 h 5973007"/>
              <a:gd name="connsiteX63412" fmla="*/ 1524888 w 6884782"/>
              <a:gd name="connsiteY63412" fmla="*/ 1024971 h 5973007"/>
              <a:gd name="connsiteX63413" fmla="*/ 3812103 w 6884782"/>
              <a:gd name="connsiteY63413" fmla="*/ 1022771 h 5973007"/>
              <a:gd name="connsiteX63414" fmla="*/ 3817012 w 6884782"/>
              <a:gd name="connsiteY63414" fmla="*/ 1028746 h 5973007"/>
              <a:gd name="connsiteX63415" fmla="*/ 3806128 w 6884782"/>
              <a:gd name="connsiteY63415" fmla="*/ 1036571 h 5973007"/>
              <a:gd name="connsiteX63416" fmla="*/ 3802499 w 6884782"/>
              <a:gd name="connsiteY63416" fmla="*/ 1032872 h 5973007"/>
              <a:gd name="connsiteX63417" fmla="*/ 3812103 w 6884782"/>
              <a:gd name="connsiteY63417" fmla="*/ 1022771 h 5973007"/>
              <a:gd name="connsiteX63418" fmla="*/ 1125803 w 6884782"/>
              <a:gd name="connsiteY63418" fmla="*/ 1022493 h 5973007"/>
              <a:gd name="connsiteX63419" fmla="*/ 1129313 w 6884782"/>
              <a:gd name="connsiteY63419" fmla="*/ 1024971 h 5973007"/>
              <a:gd name="connsiteX63420" fmla="*/ 1119917 w 6884782"/>
              <a:gd name="connsiteY63420" fmla="*/ 1033026 h 5973007"/>
              <a:gd name="connsiteX63421" fmla="*/ 1116303 w 6884782"/>
              <a:gd name="connsiteY63421" fmla="*/ 1031167 h 5973007"/>
              <a:gd name="connsiteX63422" fmla="*/ 1122808 w 6884782"/>
              <a:gd name="connsiteY63422" fmla="*/ 1023422 h 5973007"/>
              <a:gd name="connsiteX63423" fmla="*/ 1125803 w 6884782"/>
              <a:gd name="connsiteY63423" fmla="*/ 1022493 h 5973007"/>
              <a:gd name="connsiteX63424" fmla="*/ 1234738 w 6884782"/>
              <a:gd name="connsiteY63424" fmla="*/ 1021873 h 5973007"/>
              <a:gd name="connsiteX63425" fmla="*/ 1232466 w 6884782"/>
              <a:gd name="connsiteY63425" fmla="*/ 1027914 h 5973007"/>
              <a:gd name="connsiteX63426" fmla="*/ 1230711 w 6884782"/>
              <a:gd name="connsiteY63426" fmla="*/ 1027450 h 5973007"/>
              <a:gd name="connsiteX63427" fmla="*/ 1229162 w 6884782"/>
              <a:gd name="connsiteY63427" fmla="*/ 1025126 h 5973007"/>
              <a:gd name="connsiteX63428" fmla="*/ 1229575 w 6884782"/>
              <a:gd name="connsiteY63428" fmla="*/ 1022493 h 5973007"/>
              <a:gd name="connsiteX63429" fmla="*/ 1234738 w 6884782"/>
              <a:gd name="connsiteY63429" fmla="*/ 1021873 h 5973007"/>
              <a:gd name="connsiteX63430" fmla="*/ 3650331 w 6884782"/>
              <a:gd name="connsiteY63430" fmla="*/ 1021491 h 5973007"/>
              <a:gd name="connsiteX63431" fmla="*/ 3652679 w 6884782"/>
              <a:gd name="connsiteY63431" fmla="*/ 1021491 h 5973007"/>
              <a:gd name="connsiteX63432" fmla="*/ 3653533 w 6884782"/>
              <a:gd name="connsiteY63432" fmla="*/ 1022344 h 5973007"/>
              <a:gd name="connsiteX63433" fmla="*/ 3653746 w 6884782"/>
              <a:gd name="connsiteY63433" fmla="*/ 1022487 h 5973007"/>
              <a:gd name="connsiteX63434" fmla="*/ 3653959 w 6884782"/>
              <a:gd name="connsiteY63434" fmla="*/ 1025047 h 5973007"/>
              <a:gd name="connsiteX63435" fmla="*/ 3652679 w 6884782"/>
              <a:gd name="connsiteY63435" fmla="*/ 1027181 h 5973007"/>
              <a:gd name="connsiteX63436" fmla="*/ 3649264 w 6884782"/>
              <a:gd name="connsiteY63436" fmla="*/ 1023767 h 5973007"/>
              <a:gd name="connsiteX63437" fmla="*/ 3650971 w 6884782"/>
              <a:gd name="connsiteY63437" fmla="*/ 1022629 h 5973007"/>
              <a:gd name="connsiteX63438" fmla="*/ 3650331 w 6884782"/>
              <a:gd name="connsiteY63438" fmla="*/ 1021491 h 5973007"/>
              <a:gd name="connsiteX63439" fmla="*/ 4736638 w 6884782"/>
              <a:gd name="connsiteY63439" fmla="*/ 1020210 h 5973007"/>
              <a:gd name="connsiteX63440" fmla="*/ 4738985 w 6884782"/>
              <a:gd name="connsiteY63440" fmla="*/ 1021917 h 5973007"/>
              <a:gd name="connsiteX63441" fmla="*/ 4737918 w 6884782"/>
              <a:gd name="connsiteY63441" fmla="*/ 1028462 h 5973007"/>
              <a:gd name="connsiteX63442" fmla="*/ 4735357 w 6884782"/>
              <a:gd name="connsiteY63442" fmla="*/ 1029743 h 5973007"/>
              <a:gd name="connsiteX63443" fmla="*/ 4734504 w 6884782"/>
              <a:gd name="connsiteY63443" fmla="*/ 1029173 h 5973007"/>
              <a:gd name="connsiteX63444" fmla="*/ 4730662 w 6884782"/>
              <a:gd name="connsiteY63444" fmla="*/ 1026755 h 5973007"/>
              <a:gd name="connsiteX63445" fmla="*/ 4732156 w 6884782"/>
              <a:gd name="connsiteY63445" fmla="*/ 1020495 h 5973007"/>
              <a:gd name="connsiteX63446" fmla="*/ 4736638 w 6884782"/>
              <a:gd name="connsiteY63446" fmla="*/ 1020210 h 5973007"/>
              <a:gd name="connsiteX63447" fmla="*/ 1435468 w 6884782"/>
              <a:gd name="connsiteY63447" fmla="*/ 1020015 h 5973007"/>
              <a:gd name="connsiteX63448" fmla="*/ 1437740 w 6884782"/>
              <a:gd name="connsiteY63448" fmla="*/ 1026675 h 5973007"/>
              <a:gd name="connsiteX63449" fmla="*/ 1433713 w 6884782"/>
              <a:gd name="connsiteY63449" fmla="*/ 1024042 h 5973007"/>
              <a:gd name="connsiteX63450" fmla="*/ 1435468 w 6884782"/>
              <a:gd name="connsiteY63450" fmla="*/ 1020015 h 5973007"/>
              <a:gd name="connsiteX63451" fmla="*/ 4063085 w 6884782"/>
              <a:gd name="connsiteY63451" fmla="*/ 1019072 h 5973007"/>
              <a:gd name="connsiteX63452" fmla="*/ 4067354 w 6884782"/>
              <a:gd name="connsiteY63452" fmla="*/ 1023056 h 5973007"/>
              <a:gd name="connsiteX63453" fmla="*/ 4062658 w 6884782"/>
              <a:gd name="connsiteY63453" fmla="*/ 1040839 h 5973007"/>
              <a:gd name="connsiteX63454" fmla="*/ 4054762 w 6884782"/>
              <a:gd name="connsiteY63454" fmla="*/ 1034295 h 5973007"/>
              <a:gd name="connsiteX63455" fmla="*/ 4055188 w 6884782"/>
              <a:gd name="connsiteY63455" fmla="*/ 1027181 h 5973007"/>
              <a:gd name="connsiteX63456" fmla="*/ 4063085 w 6884782"/>
              <a:gd name="connsiteY63456" fmla="*/ 1019072 h 5973007"/>
              <a:gd name="connsiteX63457" fmla="*/ 3427308 w 6884782"/>
              <a:gd name="connsiteY63457" fmla="*/ 1018645 h 5973007"/>
              <a:gd name="connsiteX63458" fmla="*/ 3429228 w 6884782"/>
              <a:gd name="connsiteY63458" fmla="*/ 1021206 h 5973007"/>
              <a:gd name="connsiteX63459" fmla="*/ 3425173 w 6884782"/>
              <a:gd name="connsiteY63459" fmla="*/ 1031307 h 5973007"/>
              <a:gd name="connsiteX63460" fmla="*/ 3427308 w 6884782"/>
              <a:gd name="connsiteY63460" fmla="*/ 1018645 h 5973007"/>
              <a:gd name="connsiteX63461" fmla="*/ 3606580 w 6884782"/>
              <a:gd name="connsiteY63461" fmla="*/ 1018503 h 5973007"/>
              <a:gd name="connsiteX63462" fmla="*/ 3633471 w 6884782"/>
              <a:gd name="connsiteY63462" fmla="*/ 1025047 h 5973007"/>
              <a:gd name="connsiteX63463" fmla="*/ 3636459 w 6884782"/>
              <a:gd name="connsiteY63463" fmla="*/ 1032303 h 5973007"/>
              <a:gd name="connsiteX63464" fmla="*/ 3606580 w 6884782"/>
              <a:gd name="connsiteY63464" fmla="*/ 1018503 h 5973007"/>
              <a:gd name="connsiteX63465" fmla="*/ 4863409 w 6884782"/>
              <a:gd name="connsiteY63465" fmla="*/ 1018219 h 5973007"/>
              <a:gd name="connsiteX63466" fmla="*/ 4865970 w 6884782"/>
              <a:gd name="connsiteY63466" fmla="*/ 1018503 h 5973007"/>
              <a:gd name="connsiteX63467" fmla="*/ 4865544 w 6884782"/>
              <a:gd name="connsiteY63467" fmla="*/ 1022060 h 5973007"/>
              <a:gd name="connsiteX63468" fmla="*/ 4855086 w 6884782"/>
              <a:gd name="connsiteY63468" fmla="*/ 1026612 h 5973007"/>
              <a:gd name="connsiteX63469" fmla="*/ 4863409 w 6884782"/>
              <a:gd name="connsiteY63469" fmla="*/ 1018219 h 5973007"/>
              <a:gd name="connsiteX63470" fmla="*/ 1299273 w 6884782"/>
              <a:gd name="connsiteY63470" fmla="*/ 1018156 h 5973007"/>
              <a:gd name="connsiteX63471" fmla="*/ 1304642 w 6884782"/>
              <a:gd name="connsiteY63471" fmla="*/ 1019550 h 5973007"/>
              <a:gd name="connsiteX63472" fmla="*/ 1305469 w 6884782"/>
              <a:gd name="connsiteY63472" fmla="*/ 1022028 h 5973007"/>
              <a:gd name="connsiteX63473" fmla="*/ 1302681 w 6884782"/>
              <a:gd name="connsiteY63473" fmla="*/ 1022028 h 5973007"/>
              <a:gd name="connsiteX63474" fmla="*/ 1301855 w 6884782"/>
              <a:gd name="connsiteY63474" fmla="*/ 1020479 h 5973007"/>
              <a:gd name="connsiteX63475" fmla="*/ 1299273 w 6884782"/>
              <a:gd name="connsiteY63475" fmla="*/ 1019860 h 5973007"/>
              <a:gd name="connsiteX63476" fmla="*/ 1299273 w 6884782"/>
              <a:gd name="connsiteY63476" fmla="*/ 1018156 h 5973007"/>
              <a:gd name="connsiteX63477" fmla="*/ 3767499 w 6884782"/>
              <a:gd name="connsiteY63477" fmla="*/ 1016938 h 5973007"/>
              <a:gd name="connsiteX63478" fmla="*/ 3773261 w 6884782"/>
              <a:gd name="connsiteY63478" fmla="*/ 1018076 h 5973007"/>
              <a:gd name="connsiteX63479" fmla="*/ 3760029 w 6884782"/>
              <a:gd name="connsiteY63479" fmla="*/ 1031592 h 5973007"/>
              <a:gd name="connsiteX63480" fmla="*/ 3767499 w 6884782"/>
              <a:gd name="connsiteY63480" fmla="*/ 1016938 h 5973007"/>
              <a:gd name="connsiteX63481" fmla="*/ 3409594 w 6884782"/>
              <a:gd name="connsiteY63481" fmla="*/ 1016938 h 5973007"/>
              <a:gd name="connsiteX63482" fmla="*/ 3410874 w 6884782"/>
              <a:gd name="connsiteY63482" fmla="*/ 1027181 h 5973007"/>
              <a:gd name="connsiteX63483" fmla="*/ 3403618 w 6884782"/>
              <a:gd name="connsiteY63483" fmla="*/ 1027466 h 5973007"/>
              <a:gd name="connsiteX63484" fmla="*/ 3409594 w 6884782"/>
              <a:gd name="connsiteY63484" fmla="*/ 1016938 h 5973007"/>
              <a:gd name="connsiteX63485" fmla="*/ 3293066 w 6884782"/>
              <a:gd name="connsiteY63485" fmla="*/ 1016511 h 5973007"/>
              <a:gd name="connsiteX63486" fmla="*/ 3314195 w 6884782"/>
              <a:gd name="connsiteY63486" fmla="*/ 1032161 h 5973007"/>
              <a:gd name="connsiteX63487" fmla="*/ 3313342 w 6884782"/>
              <a:gd name="connsiteY63487" fmla="*/ 1039701 h 5973007"/>
              <a:gd name="connsiteX63488" fmla="*/ 3293066 w 6884782"/>
              <a:gd name="connsiteY63488" fmla="*/ 1016511 h 5973007"/>
              <a:gd name="connsiteX63489" fmla="*/ 3362428 w 6884782"/>
              <a:gd name="connsiteY63489" fmla="*/ 1015942 h 5973007"/>
              <a:gd name="connsiteX63490" fmla="*/ 3367123 w 6884782"/>
              <a:gd name="connsiteY63490" fmla="*/ 1017649 h 5973007"/>
              <a:gd name="connsiteX63491" fmla="*/ 3366910 w 6884782"/>
              <a:gd name="connsiteY63491" fmla="*/ 1021491 h 5973007"/>
              <a:gd name="connsiteX63492" fmla="*/ 3360507 w 6884782"/>
              <a:gd name="connsiteY63492" fmla="*/ 1021206 h 5973007"/>
              <a:gd name="connsiteX63493" fmla="*/ 3362428 w 6884782"/>
              <a:gd name="connsiteY63493" fmla="*/ 1015942 h 5973007"/>
              <a:gd name="connsiteX63494" fmla="*/ 1107836 w 6884782"/>
              <a:gd name="connsiteY63494" fmla="*/ 1015832 h 5973007"/>
              <a:gd name="connsiteX63495" fmla="*/ 1117336 w 6884782"/>
              <a:gd name="connsiteY63495" fmla="*/ 1015987 h 5973007"/>
              <a:gd name="connsiteX63496" fmla="*/ 1118472 w 6884782"/>
              <a:gd name="connsiteY63496" fmla="*/ 1020479 h 5973007"/>
              <a:gd name="connsiteX63497" fmla="*/ 1118162 w 6884782"/>
              <a:gd name="connsiteY63497" fmla="*/ 1020789 h 5973007"/>
              <a:gd name="connsiteX63498" fmla="*/ 1113825 w 6884782"/>
              <a:gd name="connsiteY63498" fmla="*/ 1029153 h 5973007"/>
              <a:gd name="connsiteX63499" fmla="*/ 1108559 w 6884782"/>
              <a:gd name="connsiteY63499" fmla="*/ 1030392 h 5973007"/>
              <a:gd name="connsiteX63500" fmla="*/ 1107733 w 6884782"/>
              <a:gd name="connsiteY63500" fmla="*/ 1027759 h 5973007"/>
              <a:gd name="connsiteX63501" fmla="*/ 1109901 w 6884782"/>
              <a:gd name="connsiteY63501" fmla="*/ 1024042 h 5973007"/>
              <a:gd name="connsiteX63502" fmla="*/ 1108043 w 6884782"/>
              <a:gd name="connsiteY63502" fmla="*/ 1024042 h 5973007"/>
              <a:gd name="connsiteX63503" fmla="*/ 1103912 w 6884782"/>
              <a:gd name="connsiteY63503" fmla="*/ 1021873 h 5973007"/>
              <a:gd name="connsiteX63504" fmla="*/ 1107836 w 6884782"/>
              <a:gd name="connsiteY63504" fmla="*/ 1015832 h 5973007"/>
              <a:gd name="connsiteX63505" fmla="*/ 1233396 w 6884782"/>
              <a:gd name="connsiteY63505" fmla="*/ 1014748 h 5973007"/>
              <a:gd name="connsiteX63506" fmla="*/ 1238662 w 6884782"/>
              <a:gd name="connsiteY63506" fmla="*/ 1016297 h 5973007"/>
              <a:gd name="connsiteX63507" fmla="*/ 1233396 w 6884782"/>
              <a:gd name="connsiteY63507" fmla="*/ 1014748 h 5973007"/>
              <a:gd name="connsiteX63508" fmla="*/ 1309083 w 6884782"/>
              <a:gd name="connsiteY63508" fmla="*/ 1013509 h 5973007"/>
              <a:gd name="connsiteX63509" fmla="*/ 1310735 w 6884782"/>
              <a:gd name="connsiteY63509" fmla="*/ 1015213 h 5973007"/>
              <a:gd name="connsiteX63510" fmla="*/ 1312387 w 6884782"/>
              <a:gd name="connsiteY63510" fmla="*/ 1015987 h 5973007"/>
              <a:gd name="connsiteX63511" fmla="*/ 1312284 w 6884782"/>
              <a:gd name="connsiteY63511" fmla="*/ 1018465 h 5973007"/>
              <a:gd name="connsiteX63512" fmla="*/ 1310631 w 6884782"/>
              <a:gd name="connsiteY63512" fmla="*/ 1017691 h 5973007"/>
              <a:gd name="connsiteX63513" fmla="*/ 1306398 w 6884782"/>
              <a:gd name="connsiteY63513" fmla="*/ 1014438 h 5973007"/>
              <a:gd name="connsiteX63514" fmla="*/ 1309083 w 6884782"/>
              <a:gd name="connsiteY63514" fmla="*/ 1013509 h 5973007"/>
              <a:gd name="connsiteX63515" fmla="*/ 3524414 w 6884782"/>
              <a:gd name="connsiteY63515" fmla="*/ 1013097 h 5973007"/>
              <a:gd name="connsiteX63516" fmla="*/ 3527615 w 6884782"/>
              <a:gd name="connsiteY63516" fmla="*/ 1019641 h 5973007"/>
              <a:gd name="connsiteX63517" fmla="*/ 3525481 w 6884782"/>
              <a:gd name="connsiteY63517" fmla="*/ 1031592 h 5973007"/>
              <a:gd name="connsiteX63518" fmla="*/ 3523987 w 6884782"/>
              <a:gd name="connsiteY63518" fmla="*/ 1033583 h 5973007"/>
              <a:gd name="connsiteX63519" fmla="*/ 3523774 w 6884782"/>
              <a:gd name="connsiteY63519" fmla="*/ 1034580 h 5973007"/>
              <a:gd name="connsiteX63520" fmla="*/ 3522493 w 6884782"/>
              <a:gd name="connsiteY63520" fmla="*/ 1035860 h 5973007"/>
              <a:gd name="connsiteX63521" fmla="*/ 3519078 w 6884782"/>
              <a:gd name="connsiteY63521" fmla="*/ 1040982 h 5973007"/>
              <a:gd name="connsiteX63522" fmla="*/ 3508194 w 6884782"/>
              <a:gd name="connsiteY63522" fmla="*/ 1037140 h 5973007"/>
              <a:gd name="connsiteX63523" fmla="*/ 3524414 w 6884782"/>
              <a:gd name="connsiteY63523" fmla="*/ 1013097 h 5973007"/>
              <a:gd name="connsiteX63524" fmla="*/ 1531806 w 6884782"/>
              <a:gd name="connsiteY63524" fmla="*/ 1010101 h 5973007"/>
              <a:gd name="connsiteX63525" fmla="*/ 1530877 w 6884782"/>
              <a:gd name="connsiteY63525" fmla="*/ 1010411 h 5973007"/>
              <a:gd name="connsiteX63526" fmla="*/ 1530980 w 6884782"/>
              <a:gd name="connsiteY63526" fmla="*/ 1010720 h 5973007"/>
              <a:gd name="connsiteX63527" fmla="*/ 1531393 w 6884782"/>
              <a:gd name="connsiteY63527" fmla="*/ 1010411 h 5973007"/>
              <a:gd name="connsiteX63528" fmla="*/ 1441870 w 6884782"/>
              <a:gd name="connsiteY63528" fmla="*/ 1009946 h 5973007"/>
              <a:gd name="connsiteX63529" fmla="*/ 1473157 w 6884782"/>
              <a:gd name="connsiteY63529" fmla="*/ 1038138 h 5973007"/>
              <a:gd name="connsiteX63530" fmla="*/ 1472124 w 6884782"/>
              <a:gd name="connsiteY63530" fmla="*/ 1039067 h 5973007"/>
              <a:gd name="connsiteX63531" fmla="*/ 1474499 w 6884782"/>
              <a:gd name="connsiteY63531" fmla="*/ 1038757 h 5973007"/>
              <a:gd name="connsiteX63532" fmla="*/ 1478113 w 6884782"/>
              <a:gd name="connsiteY63532" fmla="*/ 1039531 h 5973007"/>
              <a:gd name="connsiteX63533" fmla="*/ 1479662 w 6884782"/>
              <a:gd name="connsiteY63533" fmla="*/ 1041235 h 5973007"/>
              <a:gd name="connsiteX63534" fmla="*/ 1476771 w 6884782"/>
              <a:gd name="connsiteY63534" fmla="*/ 1044178 h 5973007"/>
              <a:gd name="connsiteX63535" fmla="*/ 1468613 w 6884782"/>
              <a:gd name="connsiteY63535" fmla="*/ 1041855 h 5973007"/>
              <a:gd name="connsiteX63536" fmla="*/ 1469440 w 6884782"/>
              <a:gd name="connsiteY63536" fmla="*/ 1040925 h 5973007"/>
              <a:gd name="connsiteX63537" fmla="*/ 1464690 w 6884782"/>
              <a:gd name="connsiteY63537" fmla="*/ 1043559 h 5973007"/>
              <a:gd name="connsiteX63538" fmla="*/ 1461902 w 6884782"/>
              <a:gd name="connsiteY63538" fmla="*/ 1039531 h 5973007"/>
              <a:gd name="connsiteX63539" fmla="*/ 1461179 w 6884782"/>
              <a:gd name="connsiteY63539" fmla="*/ 1039996 h 5973007"/>
              <a:gd name="connsiteX63540" fmla="*/ 1458494 w 6884782"/>
              <a:gd name="connsiteY63540" fmla="*/ 1039377 h 5973007"/>
              <a:gd name="connsiteX63541" fmla="*/ 1459940 w 6884782"/>
              <a:gd name="connsiteY63541" fmla="*/ 1037208 h 5973007"/>
              <a:gd name="connsiteX63542" fmla="*/ 1460353 w 6884782"/>
              <a:gd name="connsiteY63542" fmla="*/ 1037208 h 5973007"/>
              <a:gd name="connsiteX63543" fmla="*/ 1453435 w 6884782"/>
              <a:gd name="connsiteY63543" fmla="*/ 1027140 h 5973007"/>
              <a:gd name="connsiteX63544" fmla="*/ 1453022 w 6884782"/>
              <a:gd name="connsiteY63544" fmla="*/ 1027295 h 5973007"/>
              <a:gd name="connsiteX63545" fmla="*/ 1446517 w 6884782"/>
              <a:gd name="connsiteY63545" fmla="*/ 1021253 h 5973007"/>
              <a:gd name="connsiteX63546" fmla="*/ 1448582 w 6884782"/>
              <a:gd name="connsiteY63546" fmla="*/ 1020015 h 5973007"/>
              <a:gd name="connsiteX63547" fmla="*/ 4821365 w 6884782"/>
              <a:gd name="connsiteY63547" fmla="*/ 1009825 h 5973007"/>
              <a:gd name="connsiteX63548" fmla="*/ 4825207 w 6884782"/>
              <a:gd name="connsiteY63548" fmla="*/ 1018645 h 5973007"/>
              <a:gd name="connsiteX63549" fmla="*/ 4811761 w 6884782"/>
              <a:gd name="connsiteY63549" fmla="*/ 1047811 h 5973007"/>
              <a:gd name="connsiteX63550" fmla="*/ 4821365 w 6884782"/>
              <a:gd name="connsiteY63550" fmla="*/ 1009825 h 5973007"/>
              <a:gd name="connsiteX63551" fmla="*/ 3869727 w 6884782"/>
              <a:gd name="connsiteY63551" fmla="*/ 1009398 h 5973007"/>
              <a:gd name="connsiteX63552" fmla="*/ 3875489 w 6884782"/>
              <a:gd name="connsiteY63552" fmla="*/ 1012955 h 5973007"/>
              <a:gd name="connsiteX63553" fmla="*/ 3852226 w 6884782"/>
              <a:gd name="connsiteY63553" fmla="*/ 1021775 h 5973007"/>
              <a:gd name="connsiteX63554" fmla="*/ 3869727 w 6884782"/>
              <a:gd name="connsiteY63554" fmla="*/ 1009398 h 5973007"/>
              <a:gd name="connsiteX63555" fmla="*/ 3566884 w 6884782"/>
              <a:gd name="connsiteY63555" fmla="*/ 1009113 h 5973007"/>
              <a:gd name="connsiteX63556" fmla="*/ 3569018 w 6884782"/>
              <a:gd name="connsiteY63556" fmla="*/ 1010536 h 5973007"/>
              <a:gd name="connsiteX63557" fmla="*/ 3570939 w 6884782"/>
              <a:gd name="connsiteY63557" fmla="*/ 1012670 h 5973007"/>
              <a:gd name="connsiteX63558" fmla="*/ 3572006 w 6884782"/>
              <a:gd name="connsiteY63558" fmla="*/ 1015231 h 5973007"/>
              <a:gd name="connsiteX63559" fmla="*/ 3572006 w 6884782"/>
              <a:gd name="connsiteY63559" fmla="*/ 1019214 h 5973007"/>
              <a:gd name="connsiteX63560" fmla="*/ 3569018 w 6884782"/>
              <a:gd name="connsiteY63560" fmla="*/ 1023767 h 5973007"/>
              <a:gd name="connsiteX63561" fmla="*/ 3566884 w 6884782"/>
              <a:gd name="connsiteY63561" fmla="*/ 1025047 h 5973007"/>
              <a:gd name="connsiteX63562" fmla="*/ 3566244 w 6884782"/>
              <a:gd name="connsiteY63562" fmla="*/ 1024763 h 5973007"/>
              <a:gd name="connsiteX63563" fmla="*/ 3562189 w 6884782"/>
              <a:gd name="connsiteY63563" fmla="*/ 1027893 h 5973007"/>
              <a:gd name="connsiteX63564" fmla="*/ 3556640 w 6884782"/>
              <a:gd name="connsiteY63564" fmla="*/ 1029600 h 5973007"/>
              <a:gd name="connsiteX63565" fmla="*/ 3556000 w 6884782"/>
              <a:gd name="connsiteY63565" fmla="*/ 1027039 h 5973007"/>
              <a:gd name="connsiteX63566" fmla="*/ 3555146 w 6884782"/>
              <a:gd name="connsiteY63566" fmla="*/ 1027751 h 5973007"/>
              <a:gd name="connsiteX63567" fmla="*/ 3549597 w 6884782"/>
              <a:gd name="connsiteY63567" fmla="*/ 1029315 h 5973007"/>
              <a:gd name="connsiteX63568" fmla="*/ 3553225 w 6884782"/>
              <a:gd name="connsiteY63568" fmla="*/ 1025759 h 5973007"/>
              <a:gd name="connsiteX63569" fmla="*/ 3555146 w 6884782"/>
              <a:gd name="connsiteY63569" fmla="*/ 1024478 h 5973007"/>
              <a:gd name="connsiteX63570" fmla="*/ 3554079 w 6884782"/>
              <a:gd name="connsiteY63570" fmla="*/ 1021491 h 5973007"/>
              <a:gd name="connsiteX63571" fmla="*/ 3556640 w 6884782"/>
              <a:gd name="connsiteY63571" fmla="*/ 1016227 h 5973007"/>
              <a:gd name="connsiteX63572" fmla="*/ 3554292 w 6884782"/>
              <a:gd name="connsiteY63572" fmla="*/ 1015657 h 5973007"/>
              <a:gd name="connsiteX63573" fmla="*/ 3557707 w 6884782"/>
              <a:gd name="connsiteY63573" fmla="*/ 1012101 h 5973007"/>
              <a:gd name="connsiteX63574" fmla="*/ 3558561 w 6884782"/>
              <a:gd name="connsiteY63574" fmla="*/ 1012955 h 5973007"/>
              <a:gd name="connsiteX63575" fmla="*/ 3561762 w 6884782"/>
              <a:gd name="connsiteY63575" fmla="*/ 1013666 h 5973007"/>
              <a:gd name="connsiteX63576" fmla="*/ 3562403 w 6884782"/>
              <a:gd name="connsiteY63576" fmla="*/ 1011959 h 5973007"/>
              <a:gd name="connsiteX63577" fmla="*/ 3566884 w 6884782"/>
              <a:gd name="connsiteY63577" fmla="*/ 1009113 h 5973007"/>
              <a:gd name="connsiteX63578" fmla="*/ 1408828 w 6884782"/>
              <a:gd name="connsiteY63578" fmla="*/ 1009017 h 5973007"/>
              <a:gd name="connsiteX63579" fmla="*/ 1409551 w 6884782"/>
              <a:gd name="connsiteY63579" fmla="*/ 1013354 h 5973007"/>
              <a:gd name="connsiteX63580" fmla="*/ 1407692 w 6884782"/>
              <a:gd name="connsiteY63580" fmla="*/ 1014284 h 5973007"/>
              <a:gd name="connsiteX63581" fmla="*/ 1405007 w 6884782"/>
              <a:gd name="connsiteY63581" fmla="*/ 1013509 h 5973007"/>
              <a:gd name="connsiteX63582" fmla="*/ 1404285 w 6884782"/>
              <a:gd name="connsiteY63582" fmla="*/ 1010101 h 5973007"/>
              <a:gd name="connsiteX63583" fmla="*/ 1406143 w 6884782"/>
              <a:gd name="connsiteY63583" fmla="*/ 1009172 h 5973007"/>
              <a:gd name="connsiteX63584" fmla="*/ 1408828 w 6884782"/>
              <a:gd name="connsiteY63584" fmla="*/ 1009017 h 5973007"/>
              <a:gd name="connsiteX63585" fmla="*/ 1170306 w 6884782"/>
              <a:gd name="connsiteY63585" fmla="*/ 1009017 h 5973007"/>
              <a:gd name="connsiteX63586" fmla="*/ 1172268 w 6884782"/>
              <a:gd name="connsiteY63586" fmla="*/ 1013044 h 5973007"/>
              <a:gd name="connsiteX63587" fmla="*/ 1169377 w 6884782"/>
              <a:gd name="connsiteY63587" fmla="*/ 1010101 h 5973007"/>
              <a:gd name="connsiteX63588" fmla="*/ 1170306 w 6884782"/>
              <a:gd name="connsiteY63588" fmla="*/ 1009017 h 5973007"/>
              <a:gd name="connsiteX63589" fmla="*/ 1074846 w 6884782"/>
              <a:gd name="connsiteY63589" fmla="*/ 1008784 h 5973007"/>
              <a:gd name="connsiteX63590" fmla="*/ 1083055 w 6884782"/>
              <a:gd name="connsiteY63590" fmla="*/ 1010101 h 5973007"/>
              <a:gd name="connsiteX63591" fmla="*/ 1083468 w 6884782"/>
              <a:gd name="connsiteY63591" fmla="*/ 1017072 h 5973007"/>
              <a:gd name="connsiteX63592" fmla="*/ 1070044 w 6884782"/>
              <a:gd name="connsiteY63592" fmla="*/ 1017227 h 5973007"/>
              <a:gd name="connsiteX63593" fmla="*/ 1074846 w 6884782"/>
              <a:gd name="connsiteY63593" fmla="*/ 1008784 h 5973007"/>
              <a:gd name="connsiteX63594" fmla="*/ 1513014 w 6884782"/>
              <a:gd name="connsiteY63594" fmla="*/ 1008707 h 5973007"/>
              <a:gd name="connsiteX63595" fmla="*/ 1517557 w 6884782"/>
              <a:gd name="connsiteY63595" fmla="*/ 1010566 h 5973007"/>
              <a:gd name="connsiteX63596" fmla="*/ 1508264 w 6884782"/>
              <a:gd name="connsiteY63596" fmla="*/ 1020479 h 5973007"/>
              <a:gd name="connsiteX63597" fmla="*/ 1505992 w 6884782"/>
              <a:gd name="connsiteY63597" fmla="*/ 1016452 h 5973007"/>
              <a:gd name="connsiteX63598" fmla="*/ 1513014 w 6884782"/>
              <a:gd name="connsiteY63598" fmla="*/ 1008707 h 5973007"/>
              <a:gd name="connsiteX63599" fmla="*/ 4581695 w 6884782"/>
              <a:gd name="connsiteY63599" fmla="*/ 1008686 h 5973007"/>
              <a:gd name="connsiteX63600" fmla="*/ 4593647 w 6884782"/>
              <a:gd name="connsiteY63600" fmla="*/ 1012243 h 5973007"/>
              <a:gd name="connsiteX63601" fmla="*/ 4581695 w 6884782"/>
              <a:gd name="connsiteY63601" fmla="*/ 1008686 h 5973007"/>
              <a:gd name="connsiteX63602" fmla="*/ 4913990 w 6884782"/>
              <a:gd name="connsiteY63602" fmla="*/ 1007975 h 5973007"/>
              <a:gd name="connsiteX63603" fmla="*/ 4918258 w 6884782"/>
              <a:gd name="connsiteY63603" fmla="*/ 1008402 h 5973007"/>
              <a:gd name="connsiteX63604" fmla="*/ 4916978 w 6884782"/>
              <a:gd name="connsiteY63604" fmla="*/ 1008402 h 5973007"/>
              <a:gd name="connsiteX63605" fmla="*/ 4918045 w 6884782"/>
              <a:gd name="connsiteY63605" fmla="*/ 1009540 h 5973007"/>
              <a:gd name="connsiteX63606" fmla="*/ 4901612 w 6884782"/>
              <a:gd name="connsiteY63606" fmla="*/ 1011674 h 5973007"/>
              <a:gd name="connsiteX63607" fmla="*/ 4901825 w 6884782"/>
              <a:gd name="connsiteY63607" fmla="*/ 1010536 h 5973007"/>
              <a:gd name="connsiteX63608" fmla="*/ 4913990 w 6884782"/>
              <a:gd name="connsiteY63608" fmla="*/ 1007975 h 5973007"/>
              <a:gd name="connsiteX63609" fmla="*/ 4894995 w 6884782"/>
              <a:gd name="connsiteY63609" fmla="*/ 1007975 h 5973007"/>
              <a:gd name="connsiteX63610" fmla="*/ 4896062 w 6884782"/>
              <a:gd name="connsiteY63610" fmla="*/ 1009113 h 5973007"/>
              <a:gd name="connsiteX63611" fmla="*/ 4890086 w 6884782"/>
              <a:gd name="connsiteY63611" fmla="*/ 1011532 h 5973007"/>
              <a:gd name="connsiteX63612" fmla="*/ 4894995 w 6884782"/>
              <a:gd name="connsiteY63612" fmla="*/ 1007975 h 5973007"/>
              <a:gd name="connsiteX63613" fmla="*/ 3719479 w 6884782"/>
              <a:gd name="connsiteY63613" fmla="*/ 1007264 h 5973007"/>
              <a:gd name="connsiteX63614" fmla="*/ 3725882 w 6884782"/>
              <a:gd name="connsiteY63614" fmla="*/ 1013808 h 5973007"/>
              <a:gd name="connsiteX63615" fmla="*/ 3724815 w 6884782"/>
              <a:gd name="connsiteY63615" fmla="*/ 1016796 h 5973007"/>
              <a:gd name="connsiteX63616" fmla="*/ 3719479 w 6884782"/>
              <a:gd name="connsiteY63616" fmla="*/ 1007264 h 5973007"/>
              <a:gd name="connsiteX63617" fmla="*/ 1481211 w 6884782"/>
              <a:gd name="connsiteY63617" fmla="*/ 1006694 h 5973007"/>
              <a:gd name="connsiteX63618" fmla="*/ 1486374 w 6884782"/>
              <a:gd name="connsiteY63618" fmla="*/ 1009327 h 5973007"/>
              <a:gd name="connsiteX63619" fmla="*/ 1484618 w 6884782"/>
              <a:gd name="connsiteY63619" fmla="*/ 1018001 h 5973007"/>
              <a:gd name="connsiteX63620" fmla="*/ 1478939 w 6884782"/>
              <a:gd name="connsiteY63620" fmla="*/ 1012425 h 5973007"/>
              <a:gd name="connsiteX63621" fmla="*/ 1479042 w 6884782"/>
              <a:gd name="connsiteY63621" fmla="*/ 1009791 h 5973007"/>
              <a:gd name="connsiteX63622" fmla="*/ 1481211 w 6884782"/>
              <a:gd name="connsiteY63622" fmla="*/ 1006694 h 5973007"/>
              <a:gd name="connsiteX63623" fmla="*/ 4389404 w 6884782"/>
              <a:gd name="connsiteY63623" fmla="*/ 1005983 h 5973007"/>
              <a:gd name="connsiteX63624" fmla="*/ 4398154 w 6884782"/>
              <a:gd name="connsiteY63624" fmla="*/ 1009540 h 5973007"/>
              <a:gd name="connsiteX63625" fmla="*/ 4397727 w 6884782"/>
              <a:gd name="connsiteY63625" fmla="*/ 1012955 h 5973007"/>
              <a:gd name="connsiteX63626" fmla="*/ 4380440 w 6884782"/>
              <a:gd name="connsiteY63626" fmla="*/ 1013666 h 5973007"/>
              <a:gd name="connsiteX63627" fmla="*/ 4378733 w 6884782"/>
              <a:gd name="connsiteY63627" fmla="*/ 1008829 h 5973007"/>
              <a:gd name="connsiteX63628" fmla="*/ 4389404 w 6884782"/>
              <a:gd name="connsiteY63628" fmla="*/ 1005983 h 5973007"/>
              <a:gd name="connsiteX63629" fmla="*/ 1198702 w 6884782"/>
              <a:gd name="connsiteY63629" fmla="*/ 1005764 h 5973007"/>
              <a:gd name="connsiteX63630" fmla="*/ 1201902 w 6884782"/>
              <a:gd name="connsiteY63630" fmla="*/ 1006074 h 5973007"/>
              <a:gd name="connsiteX63631" fmla="*/ 1204174 w 6884782"/>
              <a:gd name="connsiteY63631" fmla="*/ 1009172 h 5973007"/>
              <a:gd name="connsiteX63632" fmla="*/ 1204174 w 6884782"/>
              <a:gd name="connsiteY63632" fmla="*/ 1015987 h 5973007"/>
              <a:gd name="connsiteX63633" fmla="*/ 1202626 w 6884782"/>
              <a:gd name="connsiteY63633" fmla="*/ 1015677 h 5973007"/>
              <a:gd name="connsiteX63634" fmla="*/ 1201593 w 6884782"/>
              <a:gd name="connsiteY63634" fmla="*/ 1024042 h 5973007"/>
              <a:gd name="connsiteX63635" fmla="*/ 1197153 w 6884782"/>
              <a:gd name="connsiteY63635" fmla="*/ 1030702 h 5973007"/>
              <a:gd name="connsiteX63636" fmla="*/ 1193126 w 6884782"/>
              <a:gd name="connsiteY63636" fmla="*/ 1033491 h 5973007"/>
              <a:gd name="connsiteX63637" fmla="*/ 1196740 w 6884782"/>
              <a:gd name="connsiteY63637" fmla="*/ 1034265 h 5973007"/>
              <a:gd name="connsiteX63638" fmla="*/ 1209131 w 6884782"/>
              <a:gd name="connsiteY63638" fmla="*/ 1042319 h 5973007"/>
              <a:gd name="connsiteX63639" fmla="*/ 1199528 w 6884782"/>
              <a:gd name="connsiteY63639" fmla="*/ 1048360 h 5973007"/>
              <a:gd name="connsiteX63640" fmla="*/ 1184039 w 6884782"/>
              <a:gd name="connsiteY63640" fmla="*/ 1036898 h 5973007"/>
              <a:gd name="connsiteX63641" fmla="*/ 1184039 w 6884782"/>
              <a:gd name="connsiteY63641" fmla="*/ 1036434 h 5973007"/>
              <a:gd name="connsiteX63642" fmla="*/ 1177224 w 6884782"/>
              <a:gd name="connsiteY63642" fmla="*/ 1036124 h 5973007"/>
              <a:gd name="connsiteX63643" fmla="*/ 1169687 w 6884782"/>
              <a:gd name="connsiteY63643" fmla="*/ 1033800 h 5973007"/>
              <a:gd name="connsiteX63644" fmla="*/ 1168551 w 6884782"/>
              <a:gd name="connsiteY63644" fmla="*/ 1031322 h 5973007"/>
              <a:gd name="connsiteX63645" fmla="*/ 1180425 w 6884782"/>
              <a:gd name="connsiteY63645" fmla="*/ 1013664 h 5973007"/>
              <a:gd name="connsiteX63646" fmla="*/ 1197360 w 6884782"/>
              <a:gd name="connsiteY63646" fmla="*/ 1012270 h 5973007"/>
              <a:gd name="connsiteX63647" fmla="*/ 1198186 w 6884782"/>
              <a:gd name="connsiteY63647" fmla="*/ 1012580 h 5973007"/>
              <a:gd name="connsiteX63648" fmla="*/ 1197153 w 6884782"/>
              <a:gd name="connsiteY63648" fmla="*/ 1011495 h 5973007"/>
              <a:gd name="connsiteX63649" fmla="*/ 1197256 w 6884782"/>
              <a:gd name="connsiteY63649" fmla="*/ 1009636 h 5973007"/>
              <a:gd name="connsiteX63650" fmla="*/ 1198702 w 6884782"/>
              <a:gd name="connsiteY63650" fmla="*/ 1005764 h 5973007"/>
              <a:gd name="connsiteX63651" fmla="*/ 3514169 w 6884782"/>
              <a:gd name="connsiteY63651" fmla="*/ 1005556 h 5973007"/>
              <a:gd name="connsiteX63652" fmla="*/ 3521639 w 6884782"/>
              <a:gd name="connsiteY63652" fmla="*/ 1011674 h 5973007"/>
              <a:gd name="connsiteX63653" fmla="*/ 3514383 w 6884782"/>
              <a:gd name="connsiteY63653" fmla="*/ 1006979 h 5973007"/>
              <a:gd name="connsiteX63654" fmla="*/ 3514169 w 6884782"/>
              <a:gd name="connsiteY63654" fmla="*/ 1005556 h 5973007"/>
              <a:gd name="connsiteX63655" fmla="*/ 1295659 w 6884782"/>
              <a:gd name="connsiteY63655" fmla="*/ 1004835 h 5973007"/>
              <a:gd name="connsiteX63656" fmla="*/ 1299996 w 6884782"/>
              <a:gd name="connsiteY63656" fmla="*/ 1005454 h 5973007"/>
              <a:gd name="connsiteX63657" fmla="*/ 1302268 w 6884782"/>
              <a:gd name="connsiteY63657" fmla="*/ 1012889 h 5973007"/>
              <a:gd name="connsiteX63658" fmla="*/ 1298757 w 6884782"/>
              <a:gd name="connsiteY63658" fmla="*/ 1013044 h 5973007"/>
              <a:gd name="connsiteX63659" fmla="*/ 1295040 w 6884782"/>
              <a:gd name="connsiteY63659" fmla="*/ 1006849 h 5973007"/>
              <a:gd name="connsiteX63660" fmla="*/ 1295659 w 6884782"/>
              <a:gd name="connsiteY63660" fmla="*/ 1004835 h 5973007"/>
              <a:gd name="connsiteX63661" fmla="*/ 3689174 w 6884782"/>
              <a:gd name="connsiteY63661" fmla="*/ 1004561 h 5973007"/>
              <a:gd name="connsiteX63662" fmla="*/ 3704967 w 6884782"/>
              <a:gd name="connsiteY63662" fmla="*/ 1011532 h 5973007"/>
              <a:gd name="connsiteX63663" fmla="*/ 3703046 w 6884782"/>
              <a:gd name="connsiteY63663" fmla="*/ 1019072 h 5973007"/>
              <a:gd name="connsiteX63664" fmla="*/ 3684265 w 6884782"/>
              <a:gd name="connsiteY63664" fmla="*/ 1032588 h 5973007"/>
              <a:gd name="connsiteX63665" fmla="*/ 3673594 w 6884782"/>
              <a:gd name="connsiteY63665" fmla="*/ 1011248 h 5973007"/>
              <a:gd name="connsiteX63666" fmla="*/ 3689174 w 6884782"/>
              <a:gd name="connsiteY63666" fmla="*/ 1004561 h 5973007"/>
              <a:gd name="connsiteX63667" fmla="*/ 951816 w 6884782"/>
              <a:gd name="connsiteY63667" fmla="*/ 1002821 h 5973007"/>
              <a:gd name="connsiteX63668" fmla="*/ 954294 w 6884782"/>
              <a:gd name="connsiteY63668" fmla="*/ 1006539 h 5973007"/>
              <a:gd name="connsiteX63669" fmla="*/ 955223 w 6884782"/>
              <a:gd name="connsiteY63669" fmla="*/ 1006694 h 5973007"/>
              <a:gd name="connsiteX63670" fmla="*/ 956979 w 6884782"/>
              <a:gd name="connsiteY63670" fmla="*/ 1005145 h 5973007"/>
              <a:gd name="connsiteX63671" fmla="*/ 965652 w 6884782"/>
              <a:gd name="connsiteY63671" fmla="*/ 1005919 h 5973007"/>
              <a:gd name="connsiteX63672" fmla="*/ 968027 w 6884782"/>
              <a:gd name="connsiteY63672" fmla="*/ 1015523 h 5973007"/>
              <a:gd name="connsiteX63673" fmla="*/ 965446 w 6884782"/>
              <a:gd name="connsiteY63673" fmla="*/ 1019395 h 5973007"/>
              <a:gd name="connsiteX63674" fmla="*/ 955017 w 6884782"/>
              <a:gd name="connsiteY63674" fmla="*/ 1017536 h 5973007"/>
              <a:gd name="connsiteX63675" fmla="*/ 953365 w 6884782"/>
              <a:gd name="connsiteY63675" fmla="*/ 1008087 h 5973007"/>
              <a:gd name="connsiteX63676" fmla="*/ 951713 w 6884782"/>
              <a:gd name="connsiteY63676" fmla="*/ 1007158 h 5973007"/>
              <a:gd name="connsiteX63677" fmla="*/ 950061 w 6884782"/>
              <a:gd name="connsiteY63677" fmla="*/ 1003595 h 5973007"/>
              <a:gd name="connsiteX63678" fmla="*/ 951816 w 6884782"/>
              <a:gd name="connsiteY63678" fmla="*/ 1002821 h 5973007"/>
              <a:gd name="connsiteX63679" fmla="*/ 4047932 w 6884782"/>
              <a:gd name="connsiteY63679" fmla="*/ 1002284 h 5973007"/>
              <a:gd name="connsiteX63680" fmla="*/ 4049427 w 6884782"/>
              <a:gd name="connsiteY63680" fmla="*/ 1004561 h 5973007"/>
              <a:gd name="connsiteX63681" fmla="*/ 4045371 w 6884782"/>
              <a:gd name="connsiteY63681" fmla="*/ 1008402 h 5973007"/>
              <a:gd name="connsiteX63682" fmla="*/ 4045371 w 6884782"/>
              <a:gd name="connsiteY63682" fmla="*/ 1009540 h 5973007"/>
              <a:gd name="connsiteX63683" fmla="*/ 4048146 w 6884782"/>
              <a:gd name="connsiteY63683" fmla="*/ 1011816 h 5973007"/>
              <a:gd name="connsiteX63684" fmla="*/ 4049639 w 6884782"/>
              <a:gd name="connsiteY63684" fmla="*/ 1023767 h 5973007"/>
              <a:gd name="connsiteX63685" fmla="*/ 4037475 w 6884782"/>
              <a:gd name="connsiteY63685" fmla="*/ 1028035 h 5973007"/>
              <a:gd name="connsiteX63686" fmla="*/ 4031286 w 6884782"/>
              <a:gd name="connsiteY63686" fmla="*/ 1024763 h 5973007"/>
              <a:gd name="connsiteX63687" fmla="*/ 4030432 w 6884782"/>
              <a:gd name="connsiteY63687" fmla="*/ 1010536 h 5973007"/>
              <a:gd name="connsiteX63688" fmla="*/ 4042810 w 6884782"/>
              <a:gd name="connsiteY63688" fmla="*/ 1007406 h 5973007"/>
              <a:gd name="connsiteX63689" fmla="*/ 4043664 w 6884782"/>
              <a:gd name="connsiteY63689" fmla="*/ 1004845 h 5973007"/>
              <a:gd name="connsiteX63690" fmla="*/ 4047932 w 6884782"/>
              <a:gd name="connsiteY63690" fmla="*/ 1002284 h 5973007"/>
              <a:gd name="connsiteX63691" fmla="*/ 1327049 w 6884782"/>
              <a:gd name="connsiteY63691" fmla="*/ 1001117 h 5973007"/>
              <a:gd name="connsiteX63692" fmla="*/ 1330043 w 6884782"/>
              <a:gd name="connsiteY63692" fmla="*/ 1008242 h 5973007"/>
              <a:gd name="connsiteX63693" fmla="*/ 1324158 w 6884782"/>
              <a:gd name="connsiteY63693" fmla="*/ 1003286 h 5973007"/>
              <a:gd name="connsiteX63694" fmla="*/ 1324468 w 6884782"/>
              <a:gd name="connsiteY63694" fmla="*/ 1001272 h 5973007"/>
              <a:gd name="connsiteX63695" fmla="*/ 1327049 w 6884782"/>
              <a:gd name="connsiteY63695" fmla="*/ 1001117 h 5973007"/>
              <a:gd name="connsiteX63696" fmla="*/ 1453538 w 6884782"/>
              <a:gd name="connsiteY63696" fmla="*/ 1000962 h 5973007"/>
              <a:gd name="connsiteX63697" fmla="*/ 1457359 w 6884782"/>
              <a:gd name="connsiteY63697" fmla="*/ 1000962 h 5973007"/>
              <a:gd name="connsiteX63698" fmla="*/ 1463657 w 6884782"/>
              <a:gd name="connsiteY63698" fmla="*/ 1004680 h 5973007"/>
              <a:gd name="connsiteX63699" fmla="*/ 1456842 w 6884782"/>
              <a:gd name="connsiteY63699" fmla="*/ 1008087 h 5973007"/>
              <a:gd name="connsiteX63700" fmla="*/ 1455087 w 6884782"/>
              <a:gd name="connsiteY63700" fmla="*/ 1007003 h 5973007"/>
              <a:gd name="connsiteX63701" fmla="*/ 1451989 w 6884782"/>
              <a:gd name="connsiteY63701" fmla="*/ 1003595 h 5973007"/>
              <a:gd name="connsiteX63702" fmla="*/ 1453538 w 6884782"/>
              <a:gd name="connsiteY63702" fmla="*/ 1000962 h 5973007"/>
              <a:gd name="connsiteX63703" fmla="*/ 1270155 w 6884782"/>
              <a:gd name="connsiteY63703" fmla="*/ 1000962 h 5973007"/>
              <a:gd name="connsiteX63704" fmla="*/ 1273872 w 6884782"/>
              <a:gd name="connsiteY63704" fmla="*/ 1003906 h 5973007"/>
              <a:gd name="connsiteX63705" fmla="*/ 1276557 w 6884782"/>
              <a:gd name="connsiteY63705" fmla="*/ 1004370 h 5973007"/>
              <a:gd name="connsiteX63706" fmla="*/ 1276660 w 6884782"/>
              <a:gd name="connsiteY63706" fmla="*/ 1005145 h 5973007"/>
              <a:gd name="connsiteX63707" fmla="*/ 1266025 w 6884782"/>
              <a:gd name="connsiteY63707" fmla="*/ 1004990 h 5973007"/>
              <a:gd name="connsiteX63708" fmla="*/ 1264889 w 6884782"/>
              <a:gd name="connsiteY63708" fmla="*/ 1003751 h 5973007"/>
              <a:gd name="connsiteX63709" fmla="*/ 1265818 w 6884782"/>
              <a:gd name="connsiteY63709" fmla="*/ 1001582 h 5973007"/>
              <a:gd name="connsiteX63710" fmla="*/ 1270155 w 6884782"/>
              <a:gd name="connsiteY63710" fmla="*/ 1000962 h 5973007"/>
              <a:gd name="connsiteX63711" fmla="*/ 3255932 w 6884782"/>
              <a:gd name="connsiteY63711" fmla="*/ 1000862 h 5973007"/>
              <a:gd name="connsiteX63712" fmla="*/ 3259773 w 6884782"/>
              <a:gd name="connsiteY63712" fmla="*/ 1003849 h 5973007"/>
              <a:gd name="connsiteX63713" fmla="*/ 3261267 w 6884782"/>
              <a:gd name="connsiteY63713" fmla="*/ 1007264 h 5973007"/>
              <a:gd name="connsiteX63714" fmla="*/ 3260413 w 6884782"/>
              <a:gd name="connsiteY63714" fmla="*/ 1011248 h 5973007"/>
              <a:gd name="connsiteX63715" fmla="*/ 3257852 w 6884782"/>
              <a:gd name="connsiteY63715" fmla="*/ 1013097 h 5973007"/>
              <a:gd name="connsiteX63716" fmla="*/ 3251023 w 6884782"/>
              <a:gd name="connsiteY63716" fmla="*/ 1012101 h 5973007"/>
              <a:gd name="connsiteX63717" fmla="*/ 3251877 w 6884782"/>
              <a:gd name="connsiteY63717" fmla="*/ 1001431 h 5973007"/>
              <a:gd name="connsiteX63718" fmla="*/ 3255932 w 6884782"/>
              <a:gd name="connsiteY63718" fmla="*/ 1000862 h 5973007"/>
              <a:gd name="connsiteX63719" fmla="*/ 1429686 w 6884782"/>
              <a:gd name="connsiteY63719" fmla="*/ 1000652 h 5973007"/>
              <a:gd name="connsiteX63720" fmla="*/ 1432577 w 6884782"/>
              <a:gd name="connsiteY63720" fmla="*/ 1001117 h 5973007"/>
              <a:gd name="connsiteX63721" fmla="*/ 1435262 w 6884782"/>
              <a:gd name="connsiteY63721" fmla="*/ 1004680 h 5973007"/>
              <a:gd name="connsiteX63722" fmla="*/ 1428240 w 6884782"/>
              <a:gd name="connsiteY63722" fmla="*/ 1007468 h 5973007"/>
              <a:gd name="connsiteX63723" fmla="*/ 1426382 w 6884782"/>
              <a:gd name="connsiteY63723" fmla="*/ 1005299 h 5973007"/>
              <a:gd name="connsiteX63724" fmla="*/ 1429686 w 6884782"/>
              <a:gd name="connsiteY63724" fmla="*/ 1000652 h 5973007"/>
              <a:gd name="connsiteX63725" fmla="*/ 1057757 w 6884782"/>
              <a:gd name="connsiteY63725" fmla="*/ 1000652 h 5973007"/>
              <a:gd name="connsiteX63726" fmla="*/ 1061371 w 6884782"/>
              <a:gd name="connsiteY63726" fmla="*/ 1010411 h 5973007"/>
              <a:gd name="connsiteX63727" fmla="*/ 1058170 w 6884782"/>
              <a:gd name="connsiteY63727" fmla="*/ 1011805 h 5973007"/>
              <a:gd name="connsiteX63728" fmla="*/ 1052801 w 6884782"/>
              <a:gd name="connsiteY63728" fmla="*/ 1002356 h 5973007"/>
              <a:gd name="connsiteX63729" fmla="*/ 1057757 w 6884782"/>
              <a:gd name="connsiteY63729" fmla="*/ 1000652 h 5973007"/>
              <a:gd name="connsiteX63730" fmla="*/ 1395405 w 6884782"/>
              <a:gd name="connsiteY63730" fmla="*/ 1000497 h 5973007"/>
              <a:gd name="connsiteX63731" fmla="*/ 1397573 w 6884782"/>
              <a:gd name="connsiteY63731" fmla="*/ 1002511 h 5973007"/>
              <a:gd name="connsiteX63732" fmla="*/ 1393339 w 6884782"/>
              <a:gd name="connsiteY63732" fmla="*/ 1003595 h 5973007"/>
              <a:gd name="connsiteX63733" fmla="*/ 1395405 w 6884782"/>
              <a:gd name="connsiteY63733" fmla="*/ 1000497 h 5973007"/>
              <a:gd name="connsiteX63734" fmla="*/ 1487200 w 6884782"/>
              <a:gd name="connsiteY63734" fmla="*/ 1000188 h 5973007"/>
              <a:gd name="connsiteX63735" fmla="*/ 1488748 w 6884782"/>
              <a:gd name="connsiteY63735" fmla="*/ 1000497 h 5973007"/>
              <a:gd name="connsiteX63736" fmla="*/ 1481211 w 6884782"/>
              <a:gd name="connsiteY63736" fmla="*/ 1004215 h 5973007"/>
              <a:gd name="connsiteX63737" fmla="*/ 1487200 w 6884782"/>
              <a:gd name="connsiteY63737" fmla="*/ 1000188 h 5973007"/>
              <a:gd name="connsiteX63738" fmla="*/ 3551304 w 6884782"/>
              <a:gd name="connsiteY63738" fmla="*/ 1000008 h 5973007"/>
              <a:gd name="connsiteX63739" fmla="*/ 3553225 w 6884782"/>
              <a:gd name="connsiteY63739" fmla="*/ 1001431 h 5973007"/>
              <a:gd name="connsiteX63740" fmla="*/ 3546182 w 6884782"/>
              <a:gd name="connsiteY63740" fmla="*/ 1008402 h 5973007"/>
              <a:gd name="connsiteX63741" fmla="*/ 3544261 w 6884782"/>
              <a:gd name="connsiteY63741" fmla="*/ 1006979 h 5973007"/>
              <a:gd name="connsiteX63742" fmla="*/ 3545116 w 6884782"/>
              <a:gd name="connsiteY63742" fmla="*/ 1003707 h 5973007"/>
              <a:gd name="connsiteX63743" fmla="*/ 3551304 w 6884782"/>
              <a:gd name="connsiteY63743" fmla="*/ 1000008 h 5973007"/>
              <a:gd name="connsiteX63744" fmla="*/ 1383737 w 6884782"/>
              <a:gd name="connsiteY63744" fmla="*/ 998949 h 5973007"/>
              <a:gd name="connsiteX63745" fmla="*/ 1384873 w 6884782"/>
              <a:gd name="connsiteY63745" fmla="*/ 1003286 h 5973007"/>
              <a:gd name="connsiteX63746" fmla="*/ 1383014 w 6884782"/>
              <a:gd name="connsiteY63746" fmla="*/ 1004835 h 5973007"/>
              <a:gd name="connsiteX63747" fmla="*/ 1381052 w 6884782"/>
              <a:gd name="connsiteY63747" fmla="*/ 1002821 h 5973007"/>
              <a:gd name="connsiteX63748" fmla="*/ 1380639 w 6884782"/>
              <a:gd name="connsiteY63748" fmla="*/ 1000188 h 5973007"/>
              <a:gd name="connsiteX63749" fmla="*/ 1381775 w 6884782"/>
              <a:gd name="connsiteY63749" fmla="*/ 999413 h 5973007"/>
              <a:gd name="connsiteX63750" fmla="*/ 1383737 w 6884782"/>
              <a:gd name="connsiteY63750" fmla="*/ 998949 h 5973007"/>
              <a:gd name="connsiteX63751" fmla="*/ 3629629 w 6884782"/>
              <a:gd name="connsiteY63751" fmla="*/ 997874 h 5973007"/>
              <a:gd name="connsiteX63752" fmla="*/ 3633471 w 6884782"/>
              <a:gd name="connsiteY63752" fmla="*/ 998728 h 5973007"/>
              <a:gd name="connsiteX63753" fmla="*/ 3635392 w 6884782"/>
              <a:gd name="connsiteY63753" fmla="*/ 1001004 h 5973007"/>
              <a:gd name="connsiteX63754" fmla="*/ 3634752 w 6884782"/>
              <a:gd name="connsiteY63754" fmla="*/ 1008118 h 5973007"/>
              <a:gd name="connsiteX63755" fmla="*/ 3624508 w 6884782"/>
              <a:gd name="connsiteY63755" fmla="*/ 1007975 h 5973007"/>
              <a:gd name="connsiteX63756" fmla="*/ 3626428 w 6884782"/>
              <a:gd name="connsiteY63756" fmla="*/ 999724 h 5973007"/>
              <a:gd name="connsiteX63757" fmla="*/ 3629629 w 6884782"/>
              <a:gd name="connsiteY63757" fmla="*/ 997874 h 5973007"/>
              <a:gd name="connsiteX63758" fmla="*/ 1409758 w 6884782"/>
              <a:gd name="connsiteY63758" fmla="*/ 997864 h 5973007"/>
              <a:gd name="connsiteX63759" fmla="*/ 1411100 w 6884782"/>
              <a:gd name="connsiteY63759" fmla="*/ 1005609 h 5973007"/>
              <a:gd name="connsiteX63760" fmla="*/ 1410170 w 6884782"/>
              <a:gd name="connsiteY63760" fmla="*/ 1006384 h 5973007"/>
              <a:gd name="connsiteX63761" fmla="*/ 1399948 w 6884782"/>
              <a:gd name="connsiteY63761" fmla="*/ 1009946 h 5973007"/>
              <a:gd name="connsiteX63762" fmla="*/ 1398915 w 6884782"/>
              <a:gd name="connsiteY63762" fmla="*/ 1006384 h 5973007"/>
              <a:gd name="connsiteX63763" fmla="*/ 1401187 w 6884782"/>
              <a:gd name="connsiteY63763" fmla="*/ 1002511 h 5973007"/>
              <a:gd name="connsiteX63764" fmla="*/ 1409758 w 6884782"/>
              <a:gd name="connsiteY63764" fmla="*/ 997864 h 5973007"/>
              <a:gd name="connsiteX63765" fmla="*/ 4487790 w 6884782"/>
              <a:gd name="connsiteY63765" fmla="*/ 996736 h 5973007"/>
              <a:gd name="connsiteX63766" fmla="*/ 4495900 w 6884782"/>
              <a:gd name="connsiteY63766" fmla="*/ 1002000 h 5973007"/>
              <a:gd name="connsiteX63767" fmla="*/ 4490778 w 6884782"/>
              <a:gd name="connsiteY63767" fmla="*/ 1009113 h 5973007"/>
              <a:gd name="connsiteX63768" fmla="*/ 4483522 w 6884782"/>
              <a:gd name="connsiteY63768" fmla="*/ 1001573 h 5973007"/>
              <a:gd name="connsiteX63769" fmla="*/ 4487790 w 6884782"/>
              <a:gd name="connsiteY63769" fmla="*/ 996736 h 5973007"/>
              <a:gd name="connsiteX63770" fmla="*/ 1465929 w 6884782"/>
              <a:gd name="connsiteY63770" fmla="*/ 996006 h 5973007"/>
              <a:gd name="connsiteX63771" fmla="*/ 1467477 w 6884782"/>
              <a:gd name="connsiteY63771" fmla="*/ 996316 h 5973007"/>
              <a:gd name="connsiteX63772" fmla="*/ 1468613 w 6884782"/>
              <a:gd name="connsiteY63772" fmla="*/ 998639 h 5973007"/>
              <a:gd name="connsiteX63773" fmla="*/ 1465103 w 6884782"/>
              <a:gd name="connsiteY63773" fmla="*/ 999103 h 5973007"/>
              <a:gd name="connsiteX63774" fmla="*/ 1464896 w 6884782"/>
              <a:gd name="connsiteY63774" fmla="*/ 997090 h 5973007"/>
              <a:gd name="connsiteX63775" fmla="*/ 1465929 w 6884782"/>
              <a:gd name="connsiteY63775" fmla="*/ 996006 h 5973007"/>
              <a:gd name="connsiteX63776" fmla="*/ 1444245 w 6884782"/>
              <a:gd name="connsiteY63776" fmla="*/ 995696 h 5973007"/>
              <a:gd name="connsiteX63777" fmla="*/ 1450337 w 6884782"/>
              <a:gd name="connsiteY63777" fmla="*/ 1003131 h 5973007"/>
              <a:gd name="connsiteX63778" fmla="*/ 1450131 w 6884782"/>
              <a:gd name="connsiteY63778" fmla="*/ 1004215 h 5973007"/>
              <a:gd name="connsiteX63779" fmla="*/ 1451060 w 6884782"/>
              <a:gd name="connsiteY63779" fmla="*/ 1006384 h 5973007"/>
              <a:gd name="connsiteX63780" fmla="*/ 1448685 w 6884782"/>
              <a:gd name="connsiteY63780" fmla="*/ 1008862 h 5973007"/>
              <a:gd name="connsiteX63781" fmla="*/ 1440218 w 6884782"/>
              <a:gd name="connsiteY63781" fmla="*/ 1001737 h 5973007"/>
              <a:gd name="connsiteX63782" fmla="*/ 1443935 w 6884782"/>
              <a:gd name="connsiteY63782" fmla="*/ 998174 h 5973007"/>
              <a:gd name="connsiteX63783" fmla="*/ 1444039 w 6884782"/>
              <a:gd name="connsiteY63783" fmla="*/ 998174 h 5973007"/>
              <a:gd name="connsiteX63784" fmla="*/ 4920392 w 6884782"/>
              <a:gd name="connsiteY63784" fmla="*/ 995171 h 5973007"/>
              <a:gd name="connsiteX63785" fmla="*/ 4919966 w 6884782"/>
              <a:gd name="connsiteY63785" fmla="*/ 1000150 h 5973007"/>
              <a:gd name="connsiteX63786" fmla="*/ 4917618 w 6884782"/>
              <a:gd name="connsiteY63786" fmla="*/ 1000150 h 5973007"/>
              <a:gd name="connsiteX63787" fmla="*/ 4899690 w 6884782"/>
              <a:gd name="connsiteY63787" fmla="*/ 1005841 h 5973007"/>
              <a:gd name="connsiteX63788" fmla="*/ 4920392 w 6884782"/>
              <a:gd name="connsiteY63788" fmla="*/ 995171 h 5973007"/>
              <a:gd name="connsiteX63789" fmla="*/ 4153575 w 6884782"/>
              <a:gd name="connsiteY63789" fmla="*/ 994887 h 5973007"/>
              <a:gd name="connsiteX63790" fmla="*/ 4155709 w 6884782"/>
              <a:gd name="connsiteY63790" fmla="*/ 995171 h 5973007"/>
              <a:gd name="connsiteX63791" fmla="*/ 4156563 w 6884782"/>
              <a:gd name="connsiteY63791" fmla="*/ 997590 h 5973007"/>
              <a:gd name="connsiteX63792" fmla="*/ 4156136 w 6884782"/>
              <a:gd name="connsiteY63792" fmla="*/ 1002426 h 5973007"/>
              <a:gd name="connsiteX63793" fmla="*/ 4153575 w 6884782"/>
              <a:gd name="connsiteY63793" fmla="*/ 1004845 h 5973007"/>
              <a:gd name="connsiteX63794" fmla="*/ 4151441 w 6884782"/>
              <a:gd name="connsiteY63794" fmla="*/ 1003565 h 5973007"/>
              <a:gd name="connsiteX63795" fmla="*/ 4149093 w 6884782"/>
              <a:gd name="connsiteY63795" fmla="*/ 1003565 h 5973007"/>
              <a:gd name="connsiteX63796" fmla="*/ 4149307 w 6884782"/>
              <a:gd name="connsiteY63796" fmla="*/ 1002284 h 5973007"/>
              <a:gd name="connsiteX63797" fmla="*/ 4148239 w 6884782"/>
              <a:gd name="connsiteY63797" fmla="*/ 1001004 h 5973007"/>
              <a:gd name="connsiteX63798" fmla="*/ 4151014 w 6884782"/>
              <a:gd name="connsiteY63798" fmla="*/ 996309 h 5973007"/>
              <a:gd name="connsiteX63799" fmla="*/ 4153575 w 6884782"/>
              <a:gd name="connsiteY63799" fmla="*/ 994887 h 5973007"/>
              <a:gd name="connsiteX63800" fmla="*/ 4851458 w 6884782"/>
              <a:gd name="connsiteY63800" fmla="*/ 994033 h 5973007"/>
              <a:gd name="connsiteX63801" fmla="*/ 4853165 w 6884782"/>
              <a:gd name="connsiteY63801" fmla="*/ 995882 h 5973007"/>
              <a:gd name="connsiteX63802" fmla="*/ 4852311 w 6884782"/>
              <a:gd name="connsiteY63802" fmla="*/ 997732 h 5973007"/>
              <a:gd name="connsiteX63803" fmla="*/ 4849537 w 6884782"/>
              <a:gd name="connsiteY63803" fmla="*/ 1000150 h 5973007"/>
              <a:gd name="connsiteX63804" fmla="*/ 4848043 w 6884782"/>
              <a:gd name="connsiteY63804" fmla="*/ 1002426 h 5973007"/>
              <a:gd name="connsiteX63805" fmla="*/ 4844628 w 6884782"/>
              <a:gd name="connsiteY63805" fmla="*/ 1002426 h 5973007"/>
              <a:gd name="connsiteX63806" fmla="*/ 4845909 w 6884782"/>
              <a:gd name="connsiteY63806" fmla="*/ 1000008 h 5973007"/>
              <a:gd name="connsiteX63807" fmla="*/ 4851458 w 6884782"/>
              <a:gd name="connsiteY63807" fmla="*/ 994033 h 5973007"/>
              <a:gd name="connsiteX63808" fmla="*/ 3760669 w 6884782"/>
              <a:gd name="connsiteY63808" fmla="*/ 993748 h 5973007"/>
              <a:gd name="connsiteX63809" fmla="*/ 3752772 w 6884782"/>
              <a:gd name="connsiteY63809" fmla="*/ 1000577 h 5973007"/>
              <a:gd name="connsiteX63810" fmla="*/ 3760669 w 6884782"/>
              <a:gd name="connsiteY63810" fmla="*/ 993748 h 5973007"/>
              <a:gd name="connsiteX63811" fmla="*/ 1524785 w 6884782"/>
              <a:gd name="connsiteY63811" fmla="*/ 992753 h 5973007"/>
              <a:gd name="connsiteX63812" fmla="*/ 1529535 w 6884782"/>
              <a:gd name="connsiteY63812" fmla="*/ 998329 h 5973007"/>
              <a:gd name="connsiteX63813" fmla="*/ 1523546 w 6884782"/>
              <a:gd name="connsiteY63813" fmla="*/ 997864 h 5973007"/>
              <a:gd name="connsiteX63814" fmla="*/ 1524785 w 6884782"/>
              <a:gd name="connsiteY63814" fmla="*/ 992753 h 5973007"/>
              <a:gd name="connsiteX63815" fmla="*/ 1182168 w 6884782"/>
              <a:gd name="connsiteY63815" fmla="*/ 992559 h 5973007"/>
              <a:gd name="connsiteX63816" fmla="*/ 1188376 w 6884782"/>
              <a:gd name="connsiteY63816" fmla="*/ 996470 h 5973007"/>
              <a:gd name="connsiteX63817" fmla="*/ 1190958 w 6884782"/>
              <a:gd name="connsiteY63817" fmla="*/ 1000962 h 5973007"/>
              <a:gd name="connsiteX63818" fmla="*/ 1189099 w 6884782"/>
              <a:gd name="connsiteY63818" fmla="*/ 1006694 h 5973007"/>
              <a:gd name="connsiteX63819" fmla="*/ 1177844 w 6884782"/>
              <a:gd name="connsiteY63819" fmla="*/ 1007158 h 5973007"/>
              <a:gd name="connsiteX63820" fmla="*/ 1173610 w 6884782"/>
              <a:gd name="connsiteY63820" fmla="*/ 999259 h 5973007"/>
              <a:gd name="connsiteX63821" fmla="*/ 1173507 w 6884782"/>
              <a:gd name="connsiteY63821" fmla="*/ 1000033 h 5973007"/>
              <a:gd name="connsiteX63822" fmla="*/ 1171649 w 6884782"/>
              <a:gd name="connsiteY63822" fmla="*/ 1001582 h 5973007"/>
              <a:gd name="connsiteX63823" fmla="*/ 1171752 w 6884782"/>
              <a:gd name="connsiteY63823" fmla="*/ 1002976 h 5973007"/>
              <a:gd name="connsiteX63824" fmla="*/ 1171752 w 6884782"/>
              <a:gd name="connsiteY63824" fmla="*/ 1004680 h 5973007"/>
              <a:gd name="connsiteX63825" fmla="*/ 1170926 w 6884782"/>
              <a:gd name="connsiteY63825" fmla="*/ 1004835 h 5973007"/>
              <a:gd name="connsiteX63826" fmla="*/ 1170409 w 6884782"/>
              <a:gd name="connsiteY63826" fmla="*/ 1002511 h 5973007"/>
              <a:gd name="connsiteX63827" fmla="*/ 1167312 w 6884782"/>
              <a:gd name="connsiteY63827" fmla="*/ 1004990 h 5973007"/>
              <a:gd name="connsiteX63828" fmla="*/ 1167725 w 6884782"/>
              <a:gd name="connsiteY63828" fmla="*/ 1007003 h 5973007"/>
              <a:gd name="connsiteX63829" fmla="*/ 1166176 w 6884782"/>
              <a:gd name="connsiteY63829" fmla="*/ 1005764 h 5973007"/>
              <a:gd name="connsiteX63830" fmla="*/ 1163801 w 6884782"/>
              <a:gd name="connsiteY63830" fmla="*/ 1007003 h 5973007"/>
              <a:gd name="connsiteX63831" fmla="*/ 1161323 w 6884782"/>
              <a:gd name="connsiteY63831" fmla="*/ 1007158 h 5973007"/>
              <a:gd name="connsiteX63832" fmla="*/ 1162252 w 6884782"/>
              <a:gd name="connsiteY63832" fmla="*/ 1004835 h 5973007"/>
              <a:gd name="connsiteX63833" fmla="*/ 1163078 w 6884782"/>
              <a:gd name="connsiteY63833" fmla="*/ 1004060 h 5973007"/>
              <a:gd name="connsiteX63834" fmla="*/ 1163078 w 6884782"/>
              <a:gd name="connsiteY63834" fmla="*/ 1003286 h 5973007"/>
              <a:gd name="connsiteX63835" fmla="*/ 1163388 w 6884782"/>
              <a:gd name="connsiteY63835" fmla="*/ 1003286 h 5973007"/>
              <a:gd name="connsiteX63836" fmla="*/ 1161942 w 6884782"/>
              <a:gd name="connsiteY63836" fmla="*/ 999723 h 5973007"/>
              <a:gd name="connsiteX63837" fmla="*/ 1158948 w 6884782"/>
              <a:gd name="connsiteY63837" fmla="*/ 993992 h 5973007"/>
              <a:gd name="connsiteX63838" fmla="*/ 1162459 w 6884782"/>
              <a:gd name="connsiteY63838" fmla="*/ 993527 h 5973007"/>
              <a:gd name="connsiteX63839" fmla="*/ 1162562 w 6884782"/>
              <a:gd name="connsiteY63839" fmla="*/ 995076 h 5973007"/>
              <a:gd name="connsiteX63840" fmla="*/ 1166383 w 6884782"/>
              <a:gd name="connsiteY63840" fmla="*/ 1000188 h 5973007"/>
              <a:gd name="connsiteX63841" fmla="*/ 1166486 w 6884782"/>
              <a:gd name="connsiteY63841" fmla="*/ 1000652 h 5973007"/>
              <a:gd name="connsiteX63842" fmla="*/ 1167415 w 6884782"/>
              <a:gd name="connsiteY63842" fmla="*/ 999103 h 5973007"/>
              <a:gd name="connsiteX63843" fmla="*/ 1168448 w 6884782"/>
              <a:gd name="connsiteY63843" fmla="*/ 997090 h 5973007"/>
              <a:gd name="connsiteX63844" fmla="*/ 1168551 w 6884782"/>
              <a:gd name="connsiteY63844" fmla="*/ 996935 h 5973007"/>
              <a:gd name="connsiteX63845" fmla="*/ 1168344 w 6884782"/>
              <a:gd name="connsiteY63845" fmla="*/ 996470 h 5973007"/>
              <a:gd name="connsiteX63846" fmla="*/ 1168551 w 6884782"/>
              <a:gd name="connsiteY63846" fmla="*/ 993218 h 5973007"/>
              <a:gd name="connsiteX63847" fmla="*/ 1168551 w 6884782"/>
              <a:gd name="connsiteY63847" fmla="*/ 994147 h 5973007"/>
              <a:gd name="connsiteX63848" fmla="*/ 1169377 w 6884782"/>
              <a:gd name="connsiteY63848" fmla="*/ 993218 h 5973007"/>
              <a:gd name="connsiteX63849" fmla="*/ 1170203 w 6884782"/>
              <a:gd name="connsiteY63849" fmla="*/ 995851 h 5973007"/>
              <a:gd name="connsiteX63850" fmla="*/ 1170719 w 6884782"/>
              <a:gd name="connsiteY63850" fmla="*/ 995541 h 5973007"/>
              <a:gd name="connsiteX63851" fmla="*/ 1173714 w 6884782"/>
              <a:gd name="connsiteY63851" fmla="*/ 994147 h 5973007"/>
              <a:gd name="connsiteX63852" fmla="*/ 1175366 w 6884782"/>
              <a:gd name="connsiteY63852" fmla="*/ 996006 h 5973007"/>
              <a:gd name="connsiteX63853" fmla="*/ 1177121 w 6884782"/>
              <a:gd name="connsiteY63853" fmla="*/ 994457 h 5973007"/>
              <a:gd name="connsiteX63854" fmla="*/ 1182168 w 6884782"/>
              <a:gd name="connsiteY63854" fmla="*/ 992559 h 5973007"/>
              <a:gd name="connsiteX63855" fmla="*/ 1413888 w 6884782"/>
              <a:gd name="connsiteY63855" fmla="*/ 991823 h 5973007"/>
              <a:gd name="connsiteX63856" fmla="*/ 1418947 w 6884782"/>
              <a:gd name="connsiteY63856" fmla="*/ 1000343 h 5973007"/>
              <a:gd name="connsiteX63857" fmla="*/ 1413578 w 6884782"/>
              <a:gd name="connsiteY63857" fmla="*/ 994302 h 5973007"/>
              <a:gd name="connsiteX63858" fmla="*/ 1413888 w 6884782"/>
              <a:gd name="connsiteY63858" fmla="*/ 991823 h 5973007"/>
              <a:gd name="connsiteX63859" fmla="*/ 1471092 w 6884782"/>
              <a:gd name="connsiteY63859" fmla="*/ 991514 h 5973007"/>
              <a:gd name="connsiteX63860" fmla="*/ 1472950 w 6884782"/>
              <a:gd name="connsiteY63860" fmla="*/ 991823 h 5973007"/>
              <a:gd name="connsiteX63861" fmla="*/ 1475119 w 6884782"/>
              <a:gd name="connsiteY63861" fmla="*/ 992598 h 5973007"/>
              <a:gd name="connsiteX63862" fmla="*/ 1478526 w 6884782"/>
              <a:gd name="connsiteY63862" fmla="*/ 996316 h 5973007"/>
              <a:gd name="connsiteX63863" fmla="*/ 1478216 w 6884782"/>
              <a:gd name="connsiteY63863" fmla="*/ 1000033 h 5973007"/>
              <a:gd name="connsiteX63864" fmla="*/ 1477390 w 6884782"/>
              <a:gd name="connsiteY63864" fmla="*/ 1001272 h 5973007"/>
              <a:gd name="connsiteX63865" fmla="*/ 1469749 w 6884782"/>
              <a:gd name="connsiteY63865" fmla="*/ 998484 h 5973007"/>
              <a:gd name="connsiteX63866" fmla="*/ 1469130 w 6884782"/>
              <a:gd name="connsiteY63866" fmla="*/ 994457 h 5973007"/>
              <a:gd name="connsiteX63867" fmla="*/ 1471092 w 6884782"/>
              <a:gd name="connsiteY63867" fmla="*/ 991514 h 5973007"/>
              <a:gd name="connsiteX63868" fmla="*/ 3536792 w 6884782"/>
              <a:gd name="connsiteY63868" fmla="*/ 990760 h 5973007"/>
              <a:gd name="connsiteX63869" fmla="*/ 3544261 w 6884782"/>
              <a:gd name="connsiteY63869" fmla="*/ 1005272 h 5973007"/>
              <a:gd name="connsiteX63870" fmla="*/ 3532737 w 6884782"/>
              <a:gd name="connsiteY63870" fmla="*/ 1003565 h 5973007"/>
              <a:gd name="connsiteX63871" fmla="*/ 3536792 w 6884782"/>
              <a:gd name="connsiteY63871" fmla="*/ 990760 h 5973007"/>
              <a:gd name="connsiteX63872" fmla="*/ 1464587 w 6884782"/>
              <a:gd name="connsiteY63872" fmla="*/ 990274 h 5973007"/>
              <a:gd name="connsiteX63873" fmla="*/ 1467065 w 6884782"/>
              <a:gd name="connsiteY63873" fmla="*/ 994612 h 5973007"/>
              <a:gd name="connsiteX63874" fmla="*/ 1461592 w 6884782"/>
              <a:gd name="connsiteY63874" fmla="*/ 993372 h 5973007"/>
              <a:gd name="connsiteX63875" fmla="*/ 1464587 w 6884782"/>
              <a:gd name="connsiteY63875" fmla="*/ 990274 h 5973007"/>
              <a:gd name="connsiteX63876" fmla="*/ 1456842 w 6884782"/>
              <a:gd name="connsiteY63876" fmla="*/ 990274 h 5973007"/>
              <a:gd name="connsiteX63877" fmla="*/ 1458804 w 6884782"/>
              <a:gd name="connsiteY63877" fmla="*/ 990584 h 5973007"/>
              <a:gd name="connsiteX63878" fmla="*/ 1456842 w 6884782"/>
              <a:gd name="connsiteY63878" fmla="*/ 996935 h 5973007"/>
              <a:gd name="connsiteX63879" fmla="*/ 1454880 w 6884782"/>
              <a:gd name="connsiteY63879" fmla="*/ 996625 h 5973007"/>
              <a:gd name="connsiteX63880" fmla="*/ 1454261 w 6884782"/>
              <a:gd name="connsiteY63880" fmla="*/ 994302 h 5973007"/>
              <a:gd name="connsiteX63881" fmla="*/ 1456842 w 6884782"/>
              <a:gd name="connsiteY63881" fmla="*/ 990274 h 5973007"/>
              <a:gd name="connsiteX63882" fmla="*/ 3901099 w 6884782"/>
              <a:gd name="connsiteY63882" fmla="*/ 990049 h 5973007"/>
              <a:gd name="connsiteX63883" fmla="*/ 3901953 w 6884782"/>
              <a:gd name="connsiteY63883" fmla="*/ 991045 h 5973007"/>
              <a:gd name="connsiteX63884" fmla="*/ 3900033 w 6884782"/>
              <a:gd name="connsiteY63884" fmla="*/ 991045 h 5973007"/>
              <a:gd name="connsiteX63885" fmla="*/ 3901099 w 6884782"/>
              <a:gd name="connsiteY63885" fmla="*/ 990049 h 5973007"/>
              <a:gd name="connsiteX63886" fmla="*/ 1107630 w 6884782"/>
              <a:gd name="connsiteY63886" fmla="*/ 989345 h 5973007"/>
              <a:gd name="connsiteX63887" fmla="*/ 1102364 w 6884782"/>
              <a:gd name="connsiteY63887" fmla="*/ 1000343 h 5973007"/>
              <a:gd name="connsiteX63888" fmla="*/ 1102054 w 6884782"/>
              <a:gd name="connsiteY63888" fmla="*/ 997864 h 5973007"/>
              <a:gd name="connsiteX63889" fmla="*/ 1107630 w 6884782"/>
              <a:gd name="connsiteY63889" fmla="*/ 989345 h 5973007"/>
              <a:gd name="connsiteX63890" fmla="*/ 3564750 w 6884782"/>
              <a:gd name="connsiteY63890" fmla="*/ 988769 h 5973007"/>
              <a:gd name="connsiteX63891" fmla="*/ 3572006 w 6884782"/>
              <a:gd name="connsiteY63891" fmla="*/ 989196 h 5973007"/>
              <a:gd name="connsiteX63892" fmla="*/ 3569018 w 6884782"/>
              <a:gd name="connsiteY63892" fmla="*/ 1003565 h 5973007"/>
              <a:gd name="connsiteX63893" fmla="*/ 3564110 w 6884782"/>
              <a:gd name="connsiteY63893" fmla="*/ 1003707 h 5973007"/>
              <a:gd name="connsiteX63894" fmla="*/ 3564750 w 6884782"/>
              <a:gd name="connsiteY63894" fmla="*/ 988769 h 5973007"/>
              <a:gd name="connsiteX63895" fmla="*/ 4595141 w 6884782"/>
              <a:gd name="connsiteY63895" fmla="*/ 987916 h 5973007"/>
              <a:gd name="connsiteX63896" fmla="*/ 4598982 w 6884782"/>
              <a:gd name="connsiteY63896" fmla="*/ 988911 h 5973007"/>
              <a:gd name="connsiteX63897" fmla="*/ 4600476 w 6884782"/>
              <a:gd name="connsiteY63897" fmla="*/ 992325 h 5973007"/>
              <a:gd name="connsiteX63898" fmla="*/ 4599409 w 6884782"/>
              <a:gd name="connsiteY63898" fmla="*/ 994887 h 5973007"/>
              <a:gd name="connsiteX63899" fmla="*/ 4578280 w 6884782"/>
              <a:gd name="connsiteY63899" fmla="*/ 1001715 h 5973007"/>
              <a:gd name="connsiteX63900" fmla="*/ 4581695 w 6884782"/>
              <a:gd name="connsiteY63900" fmla="*/ 990903 h 5973007"/>
              <a:gd name="connsiteX63901" fmla="*/ 4585963 w 6884782"/>
              <a:gd name="connsiteY63901" fmla="*/ 988484 h 5973007"/>
              <a:gd name="connsiteX63902" fmla="*/ 4591086 w 6884782"/>
              <a:gd name="connsiteY63902" fmla="*/ 988769 h 5973007"/>
              <a:gd name="connsiteX63903" fmla="*/ 4595141 w 6884782"/>
              <a:gd name="connsiteY63903" fmla="*/ 987916 h 5973007"/>
              <a:gd name="connsiteX63904" fmla="*/ 1305262 w 6884782"/>
              <a:gd name="connsiteY63904" fmla="*/ 987796 h 5973007"/>
              <a:gd name="connsiteX63905" fmla="*/ 1305262 w 6884782"/>
              <a:gd name="connsiteY63905" fmla="*/ 989345 h 5973007"/>
              <a:gd name="connsiteX63906" fmla="*/ 1304539 w 6884782"/>
              <a:gd name="connsiteY63906" fmla="*/ 988571 h 5973007"/>
              <a:gd name="connsiteX63907" fmla="*/ 1305262 w 6884782"/>
              <a:gd name="connsiteY63907" fmla="*/ 987796 h 5973007"/>
              <a:gd name="connsiteX63908" fmla="*/ 3495389 w 6884782"/>
              <a:gd name="connsiteY63908" fmla="*/ 987488 h 5973007"/>
              <a:gd name="connsiteX63909" fmla="*/ 3508407 w 6884782"/>
              <a:gd name="connsiteY63909" fmla="*/ 1000150 h 5973007"/>
              <a:gd name="connsiteX63910" fmla="*/ 3495389 w 6884782"/>
              <a:gd name="connsiteY63910" fmla="*/ 987488 h 5973007"/>
              <a:gd name="connsiteX63911" fmla="*/ 1392101 w 6884782"/>
              <a:gd name="connsiteY63911" fmla="*/ 987177 h 5973007"/>
              <a:gd name="connsiteX63912" fmla="*/ 1393443 w 6884782"/>
              <a:gd name="connsiteY63912" fmla="*/ 992288 h 5973007"/>
              <a:gd name="connsiteX63913" fmla="*/ 1388487 w 6884782"/>
              <a:gd name="connsiteY63913" fmla="*/ 988881 h 5973007"/>
              <a:gd name="connsiteX63914" fmla="*/ 1392101 w 6884782"/>
              <a:gd name="connsiteY63914" fmla="*/ 987177 h 5973007"/>
              <a:gd name="connsiteX63915" fmla="*/ 3885093 w 6884782"/>
              <a:gd name="connsiteY63915" fmla="*/ 986777 h 5973007"/>
              <a:gd name="connsiteX63916" fmla="*/ 3888721 w 6884782"/>
              <a:gd name="connsiteY63916" fmla="*/ 996025 h 5973007"/>
              <a:gd name="connsiteX63917" fmla="*/ 3886587 w 6884782"/>
              <a:gd name="connsiteY63917" fmla="*/ 997447 h 5973007"/>
              <a:gd name="connsiteX63918" fmla="*/ 3884026 w 6884782"/>
              <a:gd name="connsiteY63918" fmla="*/ 995171 h 5973007"/>
              <a:gd name="connsiteX63919" fmla="*/ 3882959 w 6884782"/>
              <a:gd name="connsiteY63919" fmla="*/ 988058 h 5973007"/>
              <a:gd name="connsiteX63920" fmla="*/ 3885093 w 6884782"/>
              <a:gd name="connsiteY63920" fmla="*/ 986777 h 5973007"/>
              <a:gd name="connsiteX63921" fmla="*/ 1283372 w 6884782"/>
              <a:gd name="connsiteY63921" fmla="*/ 986402 h 5973007"/>
              <a:gd name="connsiteX63922" fmla="*/ 1285437 w 6884782"/>
              <a:gd name="connsiteY63922" fmla="*/ 992908 h 5973007"/>
              <a:gd name="connsiteX63923" fmla="*/ 1287399 w 6884782"/>
              <a:gd name="connsiteY63923" fmla="*/ 996935 h 5973007"/>
              <a:gd name="connsiteX63924" fmla="*/ 1283682 w 6884782"/>
              <a:gd name="connsiteY63924" fmla="*/ 992443 h 5973007"/>
              <a:gd name="connsiteX63925" fmla="*/ 1281100 w 6884782"/>
              <a:gd name="connsiteY63925" fmla="*/ 991823 h 5973007"/>
              <a:gd name="connsiteX63926" fmla="*/ 1279138 w 6884782"/>
              <a:gd name="connsiteY63926" fmla="*/ 987022 h 5973007"/>
              <a:gd name="connsiteX63927" fmla="*/ 1283372 w 6884782"/>
              <a:gd name="connsiteY63927" fmla="*/ 986402 h 5973007"/>
              <a:gd name="connsiteX63928" fmla="*/ 3898538 w 6884782"/>
              <a:gd name="connsiteY63928" fmla="*/ 986351 h 5973007"/>
              <a:gd name="connsiteX63929" fmla="*/ 3901526 w 6884782"/>
              <a:gd name="connsiteY63929" fmla="*/ 988058 h 5973007"/>
              <a:gd name="connsiteX63930" fmla="*/ 3898538 w 6884782"/>
              <a:gd name="connsiteY63930" fmla="*/ 991757 h 5973007"/>
              <a:gd name="connsiteX63931" fmla="*/ 3896618 w 6884782"/>
              <a:gd name="connsiteY63931" fmla="*/ 987204 h 5973007"/>
              <a:gd name="connsiteX63932" fmla="*/ 3898538 w 6884782"/>
              <a:gd name="connsiteY63932" fmla="*/ 986351 h 5973007"/>
              <a:gd name="connsiteX63933" fmla="*/ 3263188 w 6884782"/>
              <a:gd name="connsiteY63933" fmla="*/ 986066 h 5973007"/>
              <a:gd name="connsiteX63934" fmla="*/ 3265322 w 6884782"/>
              <a:gd name="connsiteY63934" fmla="*/ 987488 h 5973007"/>
              <a:gd name="connsiteX63935" fmla="*/ 3269163 w 6884782"/>
              <a:gd name="connsiteY63935" fmla="*/ 990903 h 5973007"/>
              <a:gd name="connsiteX63936" fmla="*/ 3261480 w 6884782"/>
              <a:gd name="connsiteY63936" fmla="*/ 986351 h 5973007"/>
              <a:gd name="connsiteX63937" fmla="*/ 3263188 w 6884782"/>
              <a:gd name="connsiteY63937" fmla="*/ 986066 h 5973007"/>
              <a:gd name="connsiteX63938" fmla="*/ 3460814 w 6884782"/>
              <a:gd name="connsiteY63938" fmla="*/ 985354 h 5973007"/>
              <a:gd name="connsiteX63939" fmla="*/ 3466790 w 6884782"/>
              <a:gd name="connsiteY63939" fmla="*/ 991045 h 5973007"/>
              <a:gd name="connsiteX63940" fmla="*/ 3469138 w 6884782"/>
              <a:gd name="connsiteY63940" fmla="*/ 995740 h 5973007"/>
              <a:gd name="connsiteX63941" fmla="*/ 3468498 w 6884782"/>
              <a:gd name="connsiteY63941" fmla="*/ 1000862 h 5973007"/>
              <a:gd name="connsiteX63942" fmla="*/ 3468071 w 6884782"/>
              <a:gd name="connsiteY63942" fmla="*/ 1009113 h 5973007"/>
              <a:gd name="connsiteX63943" fmla="*/ 3462309 w 6884782"/>
              <a:gd name="connsiteY63943" fmla="*/ 1009398 h 5973007"/>
              <a:gd name="connsiteX63944" fmla="*/ 3456760 w 6884782"/>
              <a:gd name="connsiteY63944" fmla="*/ 987062 h 5973007"/>
              <a:gd name="connsiteX63945" fmla="*/ 3460814 w 6884782"/>
              <a:gd name="connsiteY63945" fmla="*/ 985354 h 5973007"/>
              <a:gd name="connsiteX63946" fmla="*/ 4071835 w 6884782"/>
              <a:gd name="connsiteY63946" fmla="*/ 985070 h 5973007"/>
              <a:gd name="connsiteX63947" fmla="*/ 4080585 w 6884782"/>
              <a:gd name="connsiteY63947" fmla="*/ 988626 h 5973007"/>
              <a:gd name="connsiteX63948" fmla="*/ 4081226 w 6884782"/>
              <a:gd name="connsiteY63948" fmla="*/ 995455 h 5973007"/>
              <a:gd name="connsiteX63949" fmla="*/ 4064152 w 6884782"/>
              <a:gd name="connsiteY63949" fmla="*/ 993748 h 5973007"/>
              <a:gd name="connsiteX63950" fmla="*/ 4071835 w 6884782"/>
              <a:gd name="connsiteY63950" fmla="*/ 985070 h 5973007"/>
              <a:gd name="connsiteX63951" fmla="*/ 3493894 w 6884782"/>
              <a:gd name="connsiteY63951" fmla="*/ 985070 h 5973007"/>
              <a:gd name="connsiteX63952" fmla="*/ 3495389 w 6884782"/>
              <a:gd name="connsiteY63952" fmla="*/ 987346 h 5973007"/>
              <a:gd name="connsiteX63953" fmla="*/ 3493681 w 6884782"/>
              <a:gd name="connsiteY63953" fmla="*/ 987631 h 5973007"/>
              <a:gd name="connsiteX63954" fmla="*/ 3493894 w 6884782"/>
              <a:gd name="connsiteY63954" fmla="*/ 985070 h 5973007"/>
              <a:gd name="connsiteX63955" fmla="*/ 4845482 w 6884782"/>
              <a:gd name="connsiteY63955" fmla="*/ 984359 h 5973007"/>
              <a:gd name="connsiteX63956" fmla="*/ 4847616 w 6884782"/>
              <a:gd name="connsiteY63956" fmla="*/ 984501 h 5973007"/>
              <a:gd name="connsiteX63957" fmla="*/ 4844628 w 6884782"/>
              <a:gd name="connsiteY63957" fmla="*/ 991757 h 5973007"/>
              <a:gd name="connsiteX63958" fmla="*/ 4841214 w 6884782"/>
              <a:gd name="connsiteY63958" fmla="*/ 993037 h 5973007"/>
              <a:gd name="connsiteX63959" fmla="*/ 4841640 w 6884782"/>
              <a:gd name="connsiteY63959" fmla="*/ 989338 h 5973007"/>
              <a:gd name="connsiteX63960" fmla="*/ 4843988 w 6884782"/>
              <a:gd name="connsiteY63960" fmla="*/ 988058 h 5973007"/>
              <a:gd name="connsiteX63961" fmla="*/ 4845482 w 6884782"/>
              <a:gd name="connsiteY63961" fmla="*/ 984359 h 5973007"/>
              <a:gd name="connsiteX63962" fmla="*/ 3634965 w 6884782"/>
              <a:gd name="connsiteY63962" fmla="*/ 984074 h 5973007"/>
              <a:gd name="connsiteX63963" fmla="*/ 3640514 w 6884782"/>
              <a:gd name="connsiteY63963" fmla="*/ 985212 h 5973007"/>
              <a:gd name="connsiteX63964" fmla="*/ 3642435 w 6884782"/>
              <a:gd name="connsiteY63964" fmla="*/ 990334 h 5973007"/>
              <a:gd name="connsiteX63965" fmla="*/ 3634965 w 6884782"/>
              <a:gd name="connsiteY63965" fmla="*/ 984074 h 5973007"/>
              <a:gd name="connsiteX63966" fmla="*/ 1503411 w 6884782"/>
              <a:gd name="connsiteY63966" fmla="*/ 983924 h 5973007"/>
              <a:gd name="connsiteX63967" fmla="*/ 1506199 w 6884782"/>
              <a:gd name="connsiteY63967" fmla="*/ 987331 h 5973007"/>
              <a:gd name="connsiteX63968" fmla="*/ 1494531 w 6884782"/>
              <a:gd name="connsiteY63968" fmla="*/ 997400 h 5973007"/>
              <a:gd name="connsiteX63969" fmla="*/ 1491743 w 6884782"/>
              <a:gd name="connsiteY63969" fmla="*/ 993527 h 5973007"/>
              <a:gd name="connsiteX63970" fmla="*/ 1492362 w 6884782"/>
              <a:gd name="connsiteY63970" fmla="*/ 990894 h 5973007"/>
              <a:gd name="connsiteX63971" fmla="*/ 1490400 w 6884782"/>
              <a:gd name="connsiteY63971" fmla="*/ 989655 h 5973007"/>
              <a:gd name="connsiteX63972" fmla="*/ 1491639 w 6884782"/>
              <a:gd name="connsiteY63972" fmla="*/ 986402 h 5973007"/>
              <a:gd name="connsiteX63973" fmla="*/ 1495667 w 6884782"/>
              <a:gd name="connsiteY63973" fmla="*/ 986867 h 5973007"/>
              <a:gd name="connsiteX63974" fmla="*/ 1498041 w 6884782"/>
              <a:gd name="connsiteY63974" fmla="*/ 985938 h 5973007"/>
              <a:gd name="connsiteX63975" fmla="*/ 1503411 w 6884782"/>
              <a:gd name="connsiteY63975" fmla="*/ 983924 h 5973007"/>
              <a:gd name="connsiteX63976" fmla="*/ 4397087 w 6884782"/>
              <a:gd name="connsiteY63976" fmla="*/ 983221 h 5973007"/>
              <a:gd name="connsiteX63977" fmla="*/ 4392605 w 6884782"/>
              <a:gd name="connsiteY63977" fmla="*/ 998159 h 5973007"/>
              <a:gd name="connsiteX63978" fmla="*/ 4388763 w 6884782"/>
              <a:gd name="connsiteY63978" fmla="*/ 984785 h 5973007"/>
              <a:gd name="connsiteX63979" fmla="*/ 4397087 w 6884782"/>
              <a:gd name="connsiteY63979" fmla="*/ 983221 h 5973007"/>
              <a:gd name="connsiteX63980" fmla="*/ 3954668 w 6884782"/>
              <a:gd name="connsiteY63980" fmla="*/ 983221 h 5973007"/>
              <a:gd name="connsiteX63981" fmla="*/ 3965339 w 6884782"/>
              <a:gd name="connsiteY63981" fmla="*/ 992183 h 5973007"/>
              <a:gd name="connsiteX63982" fmla="*/ 3966833 w 6884782"/>
              <a:gd name="connsiteY63982" fmla="*/ 996309 h 5973007"/>
              <a:gd name="connsiteX63983" fmla="*/ 3963205 w 6884782"/>
              <a:gd name="connsiteY63983" fmla="*/ 1001146 h 5973007"/>
              <a:gd name="connsiteX63984" fmla="*/ 3952320 w 6884782"/>
              <a:gd name="connsiteY63984" fmla="*/ 988200 h 5973007"/>
              <a:gd name="connsiteX63985" fmla="*/ 3954668 w 6884782"/>
              <a:gd name="connsiteY63985" fmla="*/ 983221 h 5973007"/>
              <a:gd name="connsiteX63986" fmla="*/ 1353276 w 6884782"/>
              <a:gd name="connsiteY63986" fmla="*/ 983149 h 5973007"/>
              <a:gd name="connsiteX63987" fmla="*/ 1367835 w 6884782"/>
              <a:gd name="connsiteY63987" fmla="*/ 997090 h 5973007"/>
              <a:gd name="connsiteX63988" fmla="*/ 1375270 w 6884782"/>
              <a:gd name="connsiteY63988" fmla="*/ 998484 h 5973007"/>
              <a:gd name="connsiteX63989" fmla="*/ 1376302 w 6884782"/>
              <a:gd name="connsiteY63989" fmla="*/ 999568 h 5973007"/>
              <a:gd name="connsiteX63990" fmla="*/ 1380639 w 6884782"/>
              <a:gd name="connsiteY63990" fmla="*/ 999413 h 5973007"/>
              <a:gd name="connsiteX63991" fmla="*/ 1377645 w 6884782"/>
              <a:gd name="connsiteY63991" fmla="*/ 1005299 h 5973007"/>
              <a:gd name="connsiteX63992" fmla="*/ 1375993 w 6884782"/>
              <a:gd name="connsiteY63992" fmla="*/ 1004525 h 5973007"/>
              <a:gd name="connsiteX63993" fmla="*/ 1375063 w 6884782"/>
              <a:gd name="connsiteY63993" fmla="*/ 1002666 h 5973007"/>
              <a:gd name="connsiteX63994" fmla="*/ 1373102 w 6884782"/>
              <a:gd name="connsiteY63994" fmla="*/ 1003595 h 5973007"/>
              <a:gd name="connsiteX63995" fmla="*/ 1374031 w 6884782"/>
              <a:gd name="connsiteY63995" fmla="*/ 1004370 h 5973007"/>
              <a:gd name="connsiteX63996" fmla="*/ 1378677 w 6884782"/>
              <a:gd name="connsiteY63996" fmla="*/ 1011495 h 5973007"/>
              <a:gd name="connsiteX63997" fmla="*/ 1380639 w 6884782"/>
              <a:gd name="connsiteY63997" fmla="*/ 1015832 h 5973007"/>
              <a:gd name="connsiteX63998" fmla="*/ 1381672 w 6884782"/>
              <a:gd name="connsiteY63998" fmla="*/ 1013973 h 5973007"/>
              <a:gd name="connsiteX63999" fmla="*/ 1387351 w 6884782"/>
              <a:gd name="connsiteY63999" fmla="*/ 1009636 h 5973007"/>
              <a:gd name="connsiteX64000" fmla="*/ 1390862 w 6884782"/>
              <a:gd name="connsiteY64000" fmla="*/ 1016762 h 5973007"/>
              <a:gd name="connsiteX64001" fmla="*/ 1388487 w 6884782"/>
              <a:gd name="connsiteY64001" fmla="*/ 1020944 h 5973007"/>
              <a:gd name="connsiteX64002" fmla="*/ 1385182 w 6884782"/>
              <a:gd name="connsiteY64002" fmla="*/ 1022028 h 5973007"/>
              <a:gd name="connsiteX64003" fmla="*/ 1383634 w 6884782"/>
              <a:gd name="connsiteY64003" fmla="*/ 1022803 h 5973007"/>
              <a:gd name="connsiteX64004" fmla="*/ 1388900 w 6884782"/>
              <a:gd name="connsiteY64004" fmla="*/ 1036124 h 5973007"/>
              <a:gd name="connsiteX64005" fmla="*/ 1379607 w 6884782"/>
              <a:gd name="connsiteY64005" fmla="*/ 1037983 h 5973007"/>
              <a:gd name="connsiteX64006" fmla="*/ 1372275 w 6884782"/>
              <a:gd name="connsiteY64006" fmla="*/ 1016607 h 5973007"/>
              <a:gd name="connsiteX64007" fmla="*/ 1368558 w 6884782"/>
              <a:gd name="connsiteY64007" fmla="*/ 1005609 h 5973007"/>
              <a:gd name="connsiteX64008" fmla="*/ 1365667 w 6884782"/>
              <a:gd name="connsiteY64008" fmla="*/ 1007003 h 5973007"/>
              <a:gd name="connsiteX64009" fmla="*/ 1353586 w 6884782"/>
              <a:gd name="connsiteY64009" fmla="*/ 1008242 h 5973007"/>
              <a:gd name="connsiteX64010" fmla="*/ 1345842 w 6884782"/>
              <a:gd name="connsiteY64010" fmla="*/ 1006694 h 5973007"/>
              <a:gd name="connsiteX64011" fmla="*/ 1359781 w 6884782"/>
              <a:gd name="connsiteY64011" fmla="*/ 998174 h 5973007"/>
              <a:gd name="connsiteX64012" fmla="*/ 1353276 w 6884782"/>
              <a:gd name="connsiteY64012" fmla="*/ 983149 h 5973007"/>
              <a:gd name="connsiteX64013" fmla="*/ 3489199 w 6884782"/>
              <a:gd name="connsiteY64013" fmla="*/ 981940 h 5973007"/>
              <a:gd name="connsiteX64014" fmla="*/ 3490480 w 6884782"/>
              <a:gd name="connsiteY64014" fmla="*/ 983078 h 5973007"/>
              <a:gd name="connsiteX64015" fmla="*/ 3490480 w 6884782"/>
              <a:gd name="connsiteY64015" fmla="*/ 984216 h 5973007"/>
              <a:gd name="connsiteX64016" fmla="*/ 3488559 w 6884782"/>
              <a:gd name="connsiteY64016" fmla="*/ 982936 h 5973007"/>
              <a:gd name="connsiteX64017" fmla="*/ 3489199 w 6884782"/>
              <a:gd name="connsiteY64017" fmla="*/ 981940 h 5973007"/>
              <a:gd name="connsiteX64018" fmla="*/ 1417708 w 6884782"/>
              <a:gd name="connsiteY64018" fmla="*/ 981910 h 5973007"/>
              <a:gd name="connsiteX64019" fmla="*/ 1421012 w 6884782"/>
              <a:gd name="connsiteY64019" fmla="*/ 985008 h 5973007"/>
              <a:gd name="connsiteX64020" fmla="*/ 1423697 w 6884782"/>
              <a:gd name="connsiteY64020" fmla="*/ 985783 h 5973007"/>
              <a:gd name="connsiteX64021" fmla="*/ 1423594 w 6884782"/>
              <a:gd name="connsiteY64021" fmla="*/ 986557 h 5973007"/>
              <a:gd name="connsiteX64022" fmla="*/ 1413165 w 6884782"/>
              <a:gd name="connsiteY64022" fmla="*/ 985473 h 5973007"/>
              <a:gd name="connsiteX64023" fmla="*/ 1412235 w 6884782"/>
              <a:gd name="connsiteY64023" fmla="*/ 984079 h 5973007"/>
              <a:gd name="connsiteX64024" fmla="*/ 1413268 w 6884782"/>
              <a:gd name="connsiteY64024" fmla="*/ 982065 h 5973007"/>
              <a:gd name="connsiteX64025" fmla="*/ 1417708 w 6884782"/>
              <a:gd name="connsiteY64025" fmla="*/ 981910 h 5973007"/>
              <a:gd name="connsiteX64026" fmla="*/ 3243980 w 6884782"/>
              <a:gd name="connsiteY64026" fmla="*/ 981229 h 5973007"/>
              <a:gd name="connsiteX64027" fmla="*/ 3251023 w 6884782"/>
              <a:gd name="connsiteY64027" fmla="*/ 982936 h 5973007"/>
              <a:gd name="connsiteX64028" fmla="*/ 3243340 w 6884782"/>
              <a:gd name="connsiteY64028" fmla="*/ 989338 h 5973007"/>
              <a:gd name="connsiteX64029" fmla="*/ 3243980 w 6884782"/>
              <a:gd name="connsiteY64029" fmla="*/ 981229 h 5973007"/>
              <a:gd name="connsiteX64030" fmla="*/ 3224132 w 6884782"/>
              <a:gd name="connsiteY64030" fmla="*/ 981229 h 5973007"/>
              <a:gd name="connsiteX64031" fmla="*/ 3226480 w 6884782"/>
              <a:gd name="connsiteY64031" fmla="*/ 983078 h 5973007"/>
              <a:gd name="connsiteX64032" fmla="*/ 3229040 w 6884782"/>
              <a:gd name="connsiteY64032" fmla="*/ 987346 h 5973007"/>
              <a:gd name="connsiteX64033" fmla="*/ 3228827 w 6884782"/>
              <a:gd name="connsiteY64033" fmla="*/ 988769 h 5973007"/>
              <a:gd name="connsiteX64034" fmla="*/ 3229681 w 6884782"/>
              <a:gd name="connsiteY64034" fmla="*/ 987773 h 5973007"/>
              <a:gd name="connsiteX64035" fmla="*/ 3234376 w 6884782"/>
              <a:gd name="connsiteY64035" fmla="*/ 987631 h 5973007"/>
              <a:gd name="connsiteX64036" fmla="*/ 3237364 w 6884782"/>
              <a:gd name="connsiteY64036" fmla="*/ 989196 h 5973007"/>
              <a:gd name="connsiteX64037" fmla="*/ 3238431 w 6884782"/>
              <a:gd name="connsiteY64037" fmla="*/ 992468 h 5973007"/>
              <a:gd name="connsiteX64038" fmla="*/ 3240779 w 6884782"/>
              <a:gd name="connsiteY64038" fmla="*/ 992041 h 5973007"/>
              <a:gd name="connsiteX64039" fmla="*/ 3240138 w 6884782"/>
              <a:gd name="connsiteY64039" fmla="*/ 999439 h 5973007"/>
              <a:gd name="connsiteX64040" fmla="*/ 3234803 w 6884782"/>
              <a:gd name="connsiteY64040" fmla="*/ 999154 h 5973007"/>
              <a:gd name="connsiteX64041" fmla="*/ 3234803 w 6884782"/>
              <a:gd name="connsiteY64041" fmla="*/ 998443 h 5973007"/>
              <a:gd name="connsiteX64042" fmla="*/ 3234590 w 6884782"/>
              <a:gd name="connsiteY64042" fmla="*/ 998728 h 5973007"/>
              <a:gd name="connsiteX64043" fmla="*/ 3231388 w 6884782"/>
              <a:gd name="connsiteY64043" fmla="*/ 1000150 h 5973007"/>
              <a:gd name="connsiteX64044" fmla="*/ 3227974 w 6884782"/>
              <a:gd name="connsiteY64044" fmla="*/ 996309 h 5973007"/>
              <a:gd name="connsiteX64045" fmla="*/ 3226693 w 6884782"/>
              <a:gd name="connsiteY64045" fmla="*/ 991188 h 5973007"/>
              <a:gd name="connsiteX64046" fmla="*/ 3225840 w 6884782"/>
              <a:gd name="connsiteY64046" fmla="*/ 991330 h 5973007"/>
              <a:gd name="connsiteX64047" fmla="*/ 3225840 w 6884782"/>
              <a:gd name="connsiteY64047" fmla="*/ 992610 h 5973007"/>
              <a:gd name="connsiteX64048" fmla="*/ 3223705 w 6884782"/>
              <a:gd name="connsiteY64048" fmla="*/ 991045 h 5973007"/>
              <a:gd name="connsiteX64049" fmla="*/ 3220717 w 6884782"/>
              <a:gd name="connsiteY64049" fmla="*/ 982082 h 5973007"/>
              <a:gd name="connsiteX64050" fmla="*/ 3224132 w 6884782"/>
              <a:gd name="connsiteY64050" fmla="*/ 981229 h 5973007"/>
              <a:gd name="connsiteX64051" fmla="*/ 1318375 w 6884782"/>
              <a:gd name="connsiteY64051" fmla="*/ 980361 h 5973007"/>
              <a:gd name="connsiteX64052" fmla="*/ 1319925 w 6884782"/>
              <a:gd name="connsiteY64052" fmla="*/ 984543 h 5973007"/>
              <a:gd name="connsiteX64053" fmla="*/ 1317343 w 6884782"/>
              <a:gd name="connsiteY64053" fmla="*/ 981291 h 5973007"/>
              <a:gd name="connsiteX64054" fmla="*/ 1318375 w 6884782"/>
              <a:gd name="connsiteY64054" fmla="*/ 980361 h 5973007"/>
              <a:gd name="connsiteX64055" fmla="*/ 3790548 w 6884782"/>
              <a:gd name="connsiteY64055" fmla="*/ 979806 h 5973007"/>
              <a:gd name="connsiteX64056" fmla="*/ 3793323 w 6884782"/>
              <a:gd name="connsiteY64056" fmla="*/ 985212 h 5973007"/>
              <a:gd name="connsiteX64057" fmla="*/ 3788414 w 6884782"/>
              <a:gd name="connsiteY64057" fmla="*/ 1000293 h 5973007"/>
              <a:gd name="connsiteX64058" fmla="*/ 3783505 w 6884782"/>
              <a:gd name="connsiteY64058" fmla="*/ 990334 h 5973007"/>
              <a:gd name="connsiteX64059" fmla="*/ 3790548 w 6884782"/>
              <a:gd name="connsiteY64059" fmla="*/ 979806 h 5973007"/>
              <a:gd name="connsiteX64060" fmla="*/ 1013770 w 6884782"/>
              <a:gd name="connsiteY64060" fmla="*/ 979741 h 5973007"/>
              <a:gd name="connsiteX64061" fmla="*/ 1025231 w 6884782"/>
              <a:gd name="connsiteY64061" fmla="*/ 983924 h 5973007"/>
              <a:gd name="connsiteX64062" fmla="*/ 1023166 w 6884782"/>
              <a:gd name="connsiteY64062" fmla="*/ 990429 h 5973007"/>
              <a:gd name="connsiteX64063" fmla="*/ 1010775 w 6884782"/>
              <a:gd name="connsiteY64063" fmla="*/ 984079 h 5973007"/>
              <a:gd name="connsiteX64064" fmla="*/ 1013770 w 6884782"/>
              <a:gd name="connsiteY64064" fmla="*/ 979741 h 5973007"/>
              <a:gd name="connsiteX64065" fmla="*/ 1530567 w 6884782"/>
              <a:gd name="connsiteY64065" fmla="*/ 979587 h 5973007"/>
              <a:gd name="connsiteX64066" fmla="*/ 1527366 w 6884782"/>
              <a:gd name="connsiteY64066" fmla="*/ 985163 h 5973007"/>
              <a:gd name="connsiteX64067" fmla="*/ 1527057 w 6884782"/>
              <a:gd name="connsiteY64067" fmla="*/ 983924 h 5973007"/>
              <a:gd name="connsiteX64068" fmla="*/ 1528089 w 6884782"/>
              <a:gd name="connsiteY64068" fmla="*/ 982375 h 5973007"/>
              <a:gd name="connsiteX64069" fmla="*/ 1530567 w 6884782"/>
              <a:gd name="connsiteY64069" fmla="*/ 979587 h 5973007"/>
              <a:gd name="connsiteX64070" fmla="*/ 3218796 w 6884782"/>
              <a:gd name="connsiteY64070" fmla="*/ 979522 h 5973007"/>
              <a:gd name="connsiteX64071" fmla="*/ 3220291 w 6884782"/>
              <a:gd name="connsiteY64071" fmla="*/ 979664 h 5973007"/>
              <a:gd name="connsiteX64072" fmla="*/ 3215809 w 6884782"/>
              <a:gd name="connsiteY64072" fmla="*/ 983078 h 5973007"/>
              <a:gd name="connsiteX64073" fmla="*/ 3218796 w 6884782"/>
              <a:gd name="connsiteY64073" fmla="*/ 979522 h 5973007"/>
              <a:gd name="connsiteX64074" fmla="*/ 1516318 w 6884782"/>
              <a:gd name="connsiteY64074" fmla="*/ 978502 h 5973007"/>
              <a:gd name="connsiteX64075" fmla="*/ 1523959 w 6884782"/>
              <a:gd name="connsiteY64075" fmla="*/ 986247 h 5973007"/>
              <a:gd name="connsiteX64076" fmla="*/ 1521068 w 6884782"/>
              <a:gd name="connsiteY64076" fmla="*/ 989345 h 5973007"/>
              <a:gd name="connsiteX64077" fmla="*/ 1516318 w 6884782"/>
              <a:gd name="connsiteY64077" fmla="*/ 978502 h 5973007"/>
              <a:gd name="connsiteX64078" fmla="*/ 4864049 w 6884782"/>
              <a:gd name="connsiteY64078" fmla="*/ 978099 h 5973007"/>
              <a:gd name="connsiteX64079" fmla="*/ 4866824 w 6884782"/>
              <a:gd name="connsiteY64079" fmla="*/ 978810 h 5973007"/>
              <a:gd name="connsiteX64080" fmla="*/ 4865116 w 6884782"/>
              <a:gd name="connsiteY64080" fmla="*/ 984928 h 5973007"/>
              <a:gd name="connsiteX64081" fmla="*/ 4854445 w 6884782"/>
              <a:gd name="connsiteY64081" fmla="*/ 988342 h 5973007"/>
              <a:gd name="connsiteX64082" fmla="*/ 4854873 w 6884782"/>
              <a:gd name="connsiteY64082" fmla="*/ 983505 h 5973007"/>
              <a:gd name="connsiteX64083" fmla="*/ 4864049 w 6884782"/>
              <a:gd name="connsiteY64083" fmla="*/ 978099 h 5973007"/>
              <a:gd name="connsiteX64084" fmla="*/ 1331076 w 6884782"/>
              <a:gd name="connsiteY64084" fmla="*/ 977263 h 5973007"/>
              <a:gd name="connsiteX64085" fmla="*/ 1338407 w 6884782"/>
              <a:gd name="connsiteY64085" fmla="*/ 982995 h 5973007"/>
              <a:gd name="connsiteX64086" fmla="*/ 1331076 w 6884782"/>
              <a:gd name="connsiteY64086" fmla="*/ 977263 h 5973007"/>
              <a:gd name="connsiteX64087" fmla="*/ 3485144 w 6884782"/>
              <a:gd name="connsiteY64087" fmla="*/ 976249 h 5973007"/>
              <a:gd name="connsiteX64088" fmla="*/ 3487065 w 6884782"/>
              <a:gd name="connsiteY64088" fmla="*/ 979237 h 5973007"/>
              <a:gd name="connsiteX64089" fmla="*/ 3487919 w 6884782"/>
              <a:gd name="connsiteY64089" fmla="*/ 982367 h 5973007"/>
              <a:gd name="connsiteX64090" fmla="*/ 3484078 w 6884782"/>
              <a:gd name="connsiteY64090" fmla="*/ 979948 h 5973007"/>
              <a:gd name="connsiteX64091" fmla="*/ 3485144 w 6884782"/>
              <a:gd name="connsiteY64091" fmla="*/ 976249 h 5973007"/>
              <a:gd name="connsiteX64092" fmla="*/ 1209543 w 6884782"/>
              <a:gd name="connsiteY64092" fmla="*/ 975714 h 5973007"/>
              <a:gd name="connsiteX64093" fmla="*/ 1218321 w 6884782"/>
              <a:gd name="connsiteY64093" fmla="*/ 979587 h 5973007"/>
              <a:gd name="connsiteX64094" fmla="*/ 1212951 w 6884782"/>
              <a:gd name="connsiteY64094" fmla="*/ 987331 h 5973007"/>
              <a:gd name="connsiteX64095" fmla="*/ 1206756 w 6884782"/>
              <a:gd name="connsiteY64095" fmla="*/ 981445 h 5973007"/>
              <a:gd name="connsiteX64096" fmla="*/ 1209543 w 6884782"/>
              <a:gd name="connsiteY64096" fmla="*/ 975714 h 5973007"/>
              <a:gd name="connsiteX64097" fmla="*/ 3902380 w 6884782"/>
              <a:gd name="connsiteY64097" fmla="*/ 975253 h 5973007"/>
              <a:gd name="connsiteX64098" fmla="*/ 3905368 w 6884782"/>
              <a:gd name="connsiteY64098" fmla="*/ 975253 h 5973007"/>
              <a:gd name="connsiteX64099" fmla="*/ 3908996 w 6884782"/>
              <a:gd name="connsiteY64099" fmla="*/ 976818 h 5973007"/>
              <a:gd name="connsiteX64100" fmla="*/ 3911984 w 6884782"/>
              <a:gd name="connsiteY64100" fmla="*/ 981371 h 5973007"/>
              <a:gd name="connsiteX64101" fmla="*/ 3912197 w 6884782"/>
              <a:gd name="connsiteY64101" fmla="*/ 983932 h 5973007"/>
              <a:gd name="connsiteX64102" fmla="*/ 3902380 w 6884782"/>
              <a:gd name="connsiteY64102" fmla="*/ 986777 h 5973007"/>
              <a:gd name="connsiteX64103" fmla="*/ 3897685 w 6884782"/>
              <a:gd name="connsiteY64103" fmla="*/ 977387 h 5973007"/>
              <a:gd name="connsiteX64104" fmla="*/ 3899819 w 6884782"/>
              <a:gd name="connsiteY64104" fmla="*/ 976107 h 5973007"/>
              <a:gd name="connsiteX64105" fmla="*/ 3902380 w 6884782"/>
              <a:gd name="connsiteY64105" fmla="*/ 975253 h 5973007"/>
              <a:gd name="connsiteX64106" fmla="*/ 3815731 w 6884782"/>
              <a:gd name="connsiteY64106" fmla="*/ 973831 h 5973007"/>
              <a:gd name="connsiteX64107" fmla="*/ 3815305 w 6884782"/>
              <a:gd name="connsiteY64107" fmla="*/ 974827 h 5973007"/>
              <a:gd name="connsiteX64108" fmla="*/ 3815945 w 6884782"/>
              <a:gd name="connsiteY64108" fmla="*/ 977957 h 5973007"/>
              <a:gd name="connsiteX64109" fmla="*/ 3821067 w 6884782"/>
              <a:gd name="connsiteY64109" fmla="*/ 984216 h 5973007"/>
              <a:gd name="connsiteX64110" fmla="*/ 3820640 w 6884782"/>
              <a:gd name="connsiteY64110" fmla="*/ 986919 h 5973007"/>
              <a:gd name="connsiteX64111" fmla="*/ 3817226 w 6884782"/>
              <a:gd name="connsiteY64111" fmla="*/ 986066 h 5973007"/>
              <a:gd name="connsiteX64112" fmla="*/ 3817439 w 6884782"/>
              <a:gd name="connsiteY64112" fmla="*/ 981940 h 5973007"/>
              <a:gd name="connsiteX64113" fmla="*/ 3814238 w 6884782"/>
              <a:gd name="connsiteY64113" fmla="*/ 978383 h 5973007"/>
              <a:gd name="connsiteX64114" fmla="*/ 3814451 w 6884782"/>
              <a:gd name="connsiteY64114" fmla="*/ 974115 h 5973007"/>
              <a:gd name="connsiteX64115" fmla="*/ 3815731 w 6884782"/>
              <a:gd name="connsiteY64115" fmla="*/ 973831 h 5973007"/>
              <a:gd name="connsiteX64116" fmla="*/ 3539993 w 6884782"/>
              <a:gd name="connsiteY64116" fmla="*/ 973262 h 5973007"/>
              <a:gd name="connsiteX64117" fmla="*/ 3544475 w 6884782"/>
              <a:gd name="connsiteY64117" fmla="*/ 974827 h 5973007"/>
              <a:gd name="connsiteX64118" fmla="*/ 3538926 w 6884782"/>
              <a:gd name="connsiteY64118" fmla="*/ 976961 h 5973007"/>
              <a:gd name="connsiteX64119" fmla="*/ 3535085 w 6884782"/>
              <a:gd name="connsiteY64119" fmla="*/ 974542 h 5973007"/>
              <a:gd name="connsiteX64120" fmla="*/ 3539993 w 6884782"/>
              <a:gd name="connsiteY64120" fmla="*/ 973262 h 5973007"/>
              <a:gd name="connsiteX64121" fmla="*/ 4042383 w 6884782"/>
              <a:gd name="connsiteY64121" fmla="*/ 972835 h 5973007"/>
              <a:gd name="connsiteX64122" fmla="*/ 4044304 w 6884782"/>
              <a:gd name="connsiteY64122" fmla="*/ 977672 h 5973007"/>
              <a:gd name="connsiteX64123" fmla="*/ 4037261 w 6884782"/>
              <a:gd name="connsiteY64123" fmla="*/ 979948 h 5973007"/>
              <a:gd name="connsiteX64124" fmla="*/ 4035341 w 6884782"/>
              <a:gd name="connsiteY64124" fmla="*/ 975111 h 5973007"/>
              <a:gd name="connsiteX64125" fmla="*/ 4042383 w 6884782"/>
              <a:gd name="connsiteY64125" fmla="*/ 972835 h 5973007"/>
              <a:gd name="connsiteX64126" fmla="*/ 1263443 w 6884782"/>
              <a:gd name="connsiteY64126" fmla="*/ 972771 h 5973007"/>
              <a:gd name="connsiteX64127" fmla="*/ 1268606 w 6884782"/>
              <a:gd name="connsiteY64127" fmla="*/ 972771 h 5973007"/>
              <a:gd name="connsiteX64128" fmla="*/ 1270671 w 6884782"/>
              <a:gd name="connsiteY64128" fmla="*/ 974165 h 5973007"/>
              <a:gd name="connsiteX64129" fmla="*/ 1271807 w 6884782"/>
              <a:gd name="connsiteY64129" fmla="*/ 973701 h 5973007"/>
              <a:gd name="connsiteX64130" fmla="*/ 1269019 w 6884782"/>
              <a:gd name="connsiteY64130" fmla="*/ 982839 h 5973007"/>
              <a:gd name="connsiteX64131" fmla="*/ 1264166 w 6884782"/>
              <a:gd name="connsiteY64131" fmla="*/ 979896 h 5973007"/>
              <a:gd name="connsiteX64132" fmla="*/ 1264992 w 6884782"/>
              <a:gd name="connsiteY64132" fmla="*/ 977728 h 5973007"/>
              <a:gd name="connsiteX64133" fmla="*/ 1265199 w 6884782"/>
              <a:gd name="connsiteY64133" fmla="*/ 977573 h 5973007"/>
              <a:gd name="connsiteX64134" fmla="*/ 1260965 w 6884782"/>
              <a:gd name="connsiteY64134" fmla="*/ 974630 h 5973007"/>
              <a:gd name="connsiteX64135" fmla="*/ 1263443 w 6884782"/>
              <a:gd name="connsiteY64135" fmla="*/ 972771 h 5973007"/>
              <a:gd name="connsiteX64136" fmla="*/ 3548530 w 6884782"/>
              <a:gd name="connsiteY64136" fmla="*/ 972693 h 5973007"/>
              <a:gd name="connsiteX64137" fmla="*/ 3548743 w 6884782"/>
              <a:gd name="connsiteY64137" fmla="*/ 974258 h 5973007"/>
              <a:gd name="connsiteX64138" fmla="*/ 3549384 w 6884782"/>
              <a:gd name="connsiteY64138" fmla="*/ 973404 h 5973007"/>
              <a:gd name="connsiteX64139" fmla="*/ 3548743 w 6884782"/>
              <a:gd name="connsiteY64139" fmla="*/ 974969 h 5973007"/>
              <a:gd name="connsiteX64140" fmla="*/ 3548103 w 6884782"/>
              <a:gd name="connsiteY64140" fmla="*/ 975395 h 5973007"/>
              <a:gd name="connsiteX64141" fmla="*/ 3544475 w 6884782"/>
              <a:gd name="connsiteY64141" fmla="*/ 974542 h 5973007"/>
              <a:gd name="connsiteX64142" fmla="*/ 3548530 w 6884782"/>
              <a:gd name="connsiteY64142" fmla="*/ 972693 h 5973007"/>
              <a:gd name="connsiteX64143" fmla="*/ 1026470 w 6884782"/>
              <a:gd name="connsiteY64143" fmla="*/ 972151 h 5973007"/>
              <a:gd name="connsiteX64144" fmla="*/ 1036280 w 6884782"/>
              <a:gd name="connsiteY64144" fmla="*/ 976798 h 5973007"/>
              <a:gd name="connsiteX64145" fmla="*/ 1026470 w 6884782"/>
              <a:gd name="connsiteY64145" fmla="*/ 972151 h 5973007"/>
              <a:gd name="connsiteX64146" fmla="*/ 1482140 w 6884782"/>
              <a:gd name="connsiteY64146" fmla="*/ 971996 h 5973007"/>
              <a:gd name="connsiteX64147" fmla="*/ 1482346 w 6884782"/>
              <a:gd name="connsiteY64147" fmla="*/ 976334 h 5973007"/>
              <a:gd name="connsiteX64148" fmla="*/ 1480591 w 6884782"/>
              <a:gd name="connsiteY64148" fmla="*/ 974940 h 5973007"/>
              <a:gd name="connsiteX64149" fmla="*/ 1481314 w 6884782"/>
              <a:gd name="connsiteY64149" fmla="*/ 972151 h 5973007"/>
              <a:gd name="connsiteX64150" fmla="*/ 1482140 w 6884782"/>
              <a:gd name="connsiteY64150" fmla="*/ 971996 h 5973007"/>
              <a:gd name="connsiteX64151" fmla="*/ 1453641 w 6884782"/>
              <a:gd name="connsiteY64151" fmla="*/ 971996 h 5973007"/>
              <a:gd name="connsiteX64152" fmla="*/ 1453538 w 6884782"/>
              <a:gd name="connsiteY64152" fmla="*/ 973391 h 5973007"/>
              <a:gd name="connsiteX64153" fmla="*/ 1452815 w 6884782"/>
              <a:gd name="connsiteY64153" fmla="*/ 972771 h 5973007"/>
              <a:gd name="connsiteX64154" fmla="*/ 1453641 w 6884782"/>
              <a:gd name="connsiteY64154" fmla="*/ 971996 h 5973007"/>
              <a:gd name="connsiteX64155" fmla="*/ 4499528 w 6884782"/>
              <a:gd name="connsiteY64155" fmla="*/ 971839 h 5973007"/>
              <a:gd name="connsiteX64156" fmla="*/ 4502516 w 6884782"/>
              <a:gd name="connsiteY64156" fmla="*/ 973831 h 5973007"/>
              <a:gd name="connsiteX64157" fmla="*/ 4503583 w 6884782"/>
              <a:gd name="connsiteY64157" fmla="*/ 976392 h 5973007"/>
              <a:gd name="connsiteX64158" fmla="*/ 4502943 w 6884782"/>
              <a:gd name="connsiteY64158" fmla="*/ 979806 h 5973007"/>
              <a:gd name="connsiteX64159" fmla="*/ 4492912 w 6884782"/>
              <a:gd name="connsiteY64159" fmla="*/ 979664 h 5973007"/>
              <a:gd name="connsiteX64160" fmla="*/ 4492059 w 6884782"/>
              <a:gd name="connsiteY64160" fmla="*/ 976107 h 5973007"/>
              <a:gd name="connsiteX64161" fmla="*/ 4499528 w 6884782"/>
              <a:gd name="connsiteY64161" fmla="*/ 971839 h 5973007"/>
              <a:gd name="connsiteX64162" fmla="*/ 3367977 w 6884782"/>
              <a:gd name="connsiteY64162" fmla="*/ 969990 h 5973007"/>
              <a:gd name="connsiteX64163" fmla="*/ 3371392 w 6884782"/>
              <a:gd name="connsiteY64163" fmla="*/ 975822 h 5973007"/>
              <a:gd name="connsiteX64164" fmla="*/ 3371178 w 6884782"/>
              <a:gd name="connsiteY64164" fmla="*/ 976818 h 5973007"/>
              <a:gd name="connsiteX64165" fmla="*/ 3371818 w 6884782"/>
              <a:gd name="connsiteY64165" fmla="*/ 975965 h 5973007"/>
              <a:gd name="connsiteX64166" fmla="*/ 3378221 w 6884782"/>
              <a:gd name="connsiteY64166" fmla="*/ 981229 h 5973007"/>
              <a:gd name="connsiteX64167" fmla="*/ 3378648 w 6884782"/>
              <a:gd name="connsiteY64167" fmla="*/ 990334 h 5973007"/>
              <a:gd name="connsiteX64168" fmla="*/ 3364775 w 6884782"/>
              <a:gd name="connsiteY64168" fmla="*/ 987062 h 5973007"/>
              <a:gd name="connsiteX64169" fmla="*/ 3365842 w 6884782"/>
              <a:gd name="connsiteY64169" fmla="*/ 984928 h 5973007"/>
              <a:gd name="connsiteX64170" fmla="*/ 3363282 w 6884782"/>
              <a:gd name="connsiteY64170" fmla="*/ 985212 h 5973007"/>
              <a:gd name="connsiteX64171" fmla="*/ 3359440 w 6884782"/>
              <a:gd name="connsiteY64171" fmla="*/ 984501 h 5973007"/>
              <a:gd name="connsiteX64172" fmla="*/ 3358586 w 6884782"/>
              <a:gd name="connsiteY64172" fmla="*/ 975822 h 5973007"/>
              <a:gd name="connsiteX64173" fmla="*/ 3361361 w 6884782"/>
              <a:gd name="connsiteY64173" fmla="*/ 973120 h 5973007"/>
              <a:gd name="connsiteX64174" fmla="*/ 3368190 w 6884782"/>
              <a:gd name="connsiteY64174" fmla="*/ 970985 h 5973007"/>
              <a:gd name="connsiteX64175" fmla="*/ 3367977 w 6884782"/>
              <a:gd name="connsiteY64175" fmla="*/ 969990 h 5973007"/>
              <a:gd name="connsiteX64176" fmla="*/ 3848385 w 6884782"/>
              <a:gd name="connsiteY64176" fmla="*/ 969136 h 5973007"/>
              <a:gd name="connsiteX64177" fmla="*/ 3852440 w 6884782"/>
              <a:gd name="connsiteY64177" fmla="*/ 969278 h 5973007"/>
              <a:gd name="connsiteX64178" fmla="*/ 3856922 w 6884782"/>
              <a:gd name="connsiteY64178" fmla="*/ 973546 h 5973007"/>
              <a:gd name="connsiteX64179" fmla="*/ 3844543 w 6884782"/>
              <a:gd name="connsiteY64179" fmla="*/ 985924 h 5973007"/>
              <a:gd name="connsiteX64180" fmla="*/ 3840275 w 6884782"/>
              <a:gd name="connsiteY64180" fmla="*/ 978526 h 5973007"/>
              <a:gd name="connsiteX64181" fmla="*/ 3848385 w 6884782"/>
              <a:gd name="connsiteY64181" fmla="*/ 969136 h 5973007"/>
              <a:gd name="connsiteX64182" fmla="*/ 5054206 w 6884782"/>
              <a:gd name="connsiteY64182" fmla="*/ 968425 h 5973007"/>
              <a:gd name="connsiteX64183" fmla="*/ 5057408 w 6884782"/>
              <a:gd name="connsiteY64183" fmla="*/ 969278 h 5973007"/>
              <a:gd name="connsiteX64184" fmla="*/ 5046737 w 6884782"/>
              <a:gd name="connsiteY64184" fmla="*/ 975965 h 5973007"/>
              <a:gd name="connsiteX64185" fmla="*/ 5054206 w 6884782"/>
              <a:gd name="connsiteY64185" fmla="*/ 968425 h 5973007"/>
              <a:gd name="connsiteX64186" fmla="*/ 4172996 w 6884782"/>
              <a:gd name="connsiteY64186" fmla="*/ 968425 h 5973007"/>
              <a:gd name="connsiteX64187" fmla="*/ 4183454 w 6884782"/>
              <a:gd name="connsiteY64187" fmla="*/ 971839 h 5973007"/>
              <a:gd name="connsiteX64188" fmla="*/ 4185588 w 6884782"/>
              <a:gd name="connsiteY64188" fmla="*/ 973120 h 5973007"/>
              <a:gd name="connsiteX64189" fmla="*/ 4187722 w 6884782"/>
              <a:gd name="connsiteY64189" fmla="*/ 974258 h 5973007"/>
              <a:gd name="connsiteX64190" fmla="*/ 4189002 w 6884782"/>
              <a:gd name="connsiteY64190" fmla="*/ 976392 h 5973007"/>
              <a:gd name="connsiteX64191" fmla="*/ 4188576 w 6884782"/>
              <a:gd name="connsiteY64191" fmla="*/ 979237 h 5973007"/>
              <a:gd name="connsiteX64192" fmla="*/ 4168301 w 6884782"/>
              <a:gd name="connsiteY64192" fmla="*/ 971554 h 5973007"/>
              <a:gd name="connsiteX64193" fmla="*/ 4169795 w 6884782"/>
              <a:gd name="connsiteY64193" fmla="*/ 969136 h 5973007"/>
              <a:gd name="connsiteX64194" fmla="*/ 4172996 w 6884782"/>
              <a:gd name="connsiteY64194" fmla="*/ 968425 h 5973007"/>
              <a:gd name="connsiteX64195" fmla="*/ 1222864 w 6884782"/>
              <a:gd name="connsiteY64195" fmla="*/ 967505 h 5973007"/>
              <a:gd name="connsiteX64196" fmla="*/ 1224103 w 6884782"/>
              <a:gd name="connsiteY64196" fmla="*/ 974785 h 5973007"/>
              <a:gd name="connsiteX64197" fmla="*/ 1224412 w 6884782"/>
              <a:gd name="connsiteY64197" fmla="*/ 978812 h 5973007"/>
              <a:gd name="connsiteX64198" fmla="*/ 1222760 w 6884782"/>
              <a:gd name="connsiteY64198" fmla="*/ 980826 h 5973007"/>
              <a:gd name="connsiteX64199" fmla="*/ 1221831 w 6884782"/>
              <a:gd name="connsiteY64199" fmla="*/ 980981 h 5973007"/>
              <a:gd name="connsiteX64200" fmla="*/ 1221108 w 6884782"/>
              <a:gd name="connsiteY64200" fmla="*/ 979277 h 5973007"/>
              <a:gd name="connsiteX64201" fmla="*/ 1221005 w 6884782"/>
              <a:gd name="connsiteY64201" fmla="*/ 974320 h 5973007"/>
              <a:gd name="connsiteX64202" fmla="*/ 1221315 w 6884782"/>
              <a:gd name="connsiteY64202" fmla="*/ 971067 h 5973007"/>
              <a:gd name="connsiteX64203" fmla="*/ 1221211 w 6884782"/>
              <a:gd name="connsiteY64203" fmla="*/ 969363 h 5973007"/>
              <a:gd name="connsiteX64204" fmla="*/ 1222864 w 6884782"/>
              <a:gd name="connsiteY64204" fmla="*/ 967505 h 5973007"/>
              <a:gd name="connsiteX64205" fmla="*/ 3967473 w 6884782"/>
              <a:gd name="connsiteY64205" fmla="*/ 966291 h 5973007"/>
              <a:gd name="connsiteX64206" fmla="*/ 3976010 w 6884782"/>
              <a:gd name="connsiteY64206" fmla="*/ 971696 h 5973007"/>
              <a:gd name="connsiteX64207" fmla="*/ 3975583 w 6884782"/>
              <a:gd name="connsiteY64207" fmla="*/ 984643 h 5973007"/>
              <a:gd name="connsiteX64208" fmla="*/ 3969607 w 6884782"/>
              <a:gd name="connsiteY64208" fmla="*/ 986351 h 5973007"/>
              <a:gd name="connsiteX64209" fmla="*/ 3968967 w 6884782"/>
              <a:gd name="connsiteY64209" fmla="*/ 985781 h 5973007"/>
              <a:gd name="connsiteX64210" fmla="*/ 3957442 w 6884782"/>
              <a:gd name="connsiteY64210" fmla="*/ 979806 h 5973007"/>
              <a:gd name="connsiteX64211" fmla="*/ 3955949 w 6884782"/>
              <a:gd name="connsiteY64211" fmla="*/ 972693 h 5973007"/>
              <a:gd name="connsiteX64212" fmla="*/ 3959363 w 6884782"/>
              <a:gd name="connsiteY64212" fmla="*/ 971412 h 5973007"/>
              <a:gd name="connsiteX64213" fmla="*/ 3964699 w 6884782"/>
              <a:gd name="connsiteY64213" fmla="*/ 974542 h 5973007"/>
              <a:gd name="connsiteX64214" fmla="*/ 3964699 w 6884782"/>
              <a:gd name="connsiteY64214" fmla="*/ 971981 h 5973007"/>
              <a:gd name="connsiteX64215" fmla="*/ 3967473 w 6884782"/>
              <a:gd name="connsiteY64215" fmla="*/ 966291 h 5973007"/>
              <a:gd name="connsiteX64216" fmla="*/ 1112276 w 6884782"/>
              <a:gd name="connsiteY64216" fmla="*/ 966111 h 5973007"/>
              <a:gd name="connsiteX64217" fmla="*/ 1113929 w 6884782"/>
              <a:gd name="connsiteY64217" fmla="*/ 971377 h 5973007"/>
              <a:gd name="connsiteX64218" fmla="*/ 1110418 w 6884782"/>
              <a:gd name="connsiteY64218" fmla="*/ 972771 h 5973007"/>
              <a:gd name="connsiteX64219" fmla="*/ 1108766 w 6884782"/>
              <a:gd name="connsiteY64219" fmla="*/ 967505 h 5973007"/>
              <a:gd name="connsiteX64220" fmla="*/ 1112276 w 6884782"/>
              <a:gd name="connsiteY64220" fmla="*/ 966111 h 5973007"/>
              <a:gd name="connsiteX64221" fmla="*/ 3812103 w 6884782"/>
              <a:gd name="connsiteY64221" fmla="*/ 965295 h 5973007"/>
              <a:gd name="connsiteX64222" fmla="*/ 3813384 w 6884782"/>
              <a:gd name="connsiteY64222" fmla="*/ 973546 h 5973007"/>
              <a:gd name="connsiteX64223" fmla="*/ 3812743 w 6884782"/>
              <a:gd name="connsiteY64223" fmla="*/ 970274 h 5973007"/>
              <a:gd name="connsiteX64224" fmla="*/ 3811036 w 6884782"/>
              <a:gd name="connsiteY64224" fmla="*/ 968993 h 5973007"/>
              <a:gd name="connsiteX64225" fmla="*/ 3812103 w 6884782"/>
              <a:gd name="connsiteY64225" fmla="*/ 965295 h 5973007"/>
              <a:gd name="connsiteX64226" fmla="*/ 3782865 w 6884782"/>
              <a:gd name="connsiteY64226" fmla="*/ 965152 h 5973007"/>
              <a:gd name="connsiteX64227" fmla="*/ 3785640 w 6884782"/>
              <a:gd name="connsiteY64227" fmla="*/ 970701 h 5973007"/>
              <a:gd name="connsiteX64228" fmla="*/ 3780090 w 6884782"/>
              <a:gd name="connsiteY64228" fmla="*/ 990476 h 5973007"/>
              <a:gd name="connsiteX64229" fmla="*/ 3769419 w 6884782"/>
              <a:gd name="connsiteY64229" fmla="*/ 987488 h 5973007"/>
              <a:gd name="connsiteX64230" fmla="*/ 3782865 w 6884782"/>
              <a:gd name="connsiteY64230" fmla="*/ 965152 h 5973007"/>
              <a:gd name="connsiteX64231" fmla="*/ 1318272 w 6884782"/>
              <a:gd name="connsiteY64231" fmla="*/ 964252 h 5973007"/>
              <a:gd name="connsiteX64232" fmla="*/ 1318169 w 6884782"/>
              <a:gd name="connsiteY64232" fmla="*/ 965181 h 5973007"/>
              <a:gd name="connsiteX64233" fmla="*/ 1319098 w 6884782"/>
              <a:gd name="connsiteY64233" fmla="*/ 964252 h 5973007"/>
              <a:gd name="connsiteX64234" fmla="*/ 1320234 w 6884782"/>
              <a:gd name="connsiteY64234" fmla="*/ 976024 h 5973007"/>
              <a:gd name="connsiteX64235" fmla="*/ 1319408 w 6884782"/>
              <a:gd name="connsiteY64235" fmla="*/ 976024 h 5973007"/>
              <a:gd name="connsiteX64236" fmla="*/ 1317860 w 6884782"/>
              <a:gd name="connsiteY64236" fmla="*/ 967505 h 5973007"/>
              <a:gd name="connsiteX64237" fmla="*/ 1318272 w 6884782"/>
              <a:gd name="connsiteY64237" fmla="*/ 964252 h 5973007"/>
              <a:gd name="connsiteX64238" fmla="*/ 1312284 w 6884782"/>
              <a:gd name="connsiteY64238" fmla="*/ 963787 h 5973007"/>
              <a:gd name="connsiteX64239" fmla="*/ 1312180 w 6884782"/>
              <a:gd name="connsiteY64239" fmla="*/ 965646 h 5973007"/>
              <a:gd name="connsiteX64240" fmla="*/ 1316001 w 6884782"/>
              <a:gd name="connsiteY64240" fmla="*/ 978038 h 5973007"/>
              <a:gd name="connsiteX64241" fmla="*/ 1308773 w 6884782"/>
              <a:gd name="connsiteY64241" fmla="*/ 964097 h 5973007"/>
              <a:gd name="connsiteX64242" fmla="*/ 1312284 w 6884782"/>
              <a:gd name="connsiteY64242" fmla="*/ 963787 h 5973007"/>
              <a:gd name="connsiteX64243" fmla="*/ 4000767 w 6884782"/>
              <a:gd name="connsiteY64243" fmla="*/ 963587 h 5973007"/>
              <a:gd name="connsiteX64244" fmla="*/ 4012504 w 6884782"/>
              <a:gd name="connsiteY64244" fmla="*/ 971270 h 5973007"/>
              <a:gd name="connsiteX64245" fmla="*/ 3997352 w 6884782"/>
              <a:gd name="connsiteY64245" fmla="*/ 964014 h 5973007"/>
              <a:gd name="connsiteX64246" fmla="*/ 4000767 w 6884782"/>
              <a:gd name="connsiteY64246" fmla="*/ 963587 h 5973007"/>
              <a:gd name="connsiteX64247" fmla="*/ 3265536 w 6884782"/>
              <a:gd name="connsiteY64247" fmla="*/ 963302 h 5973007"/>
              <a:gd name="connsiteX64248" fmla="*/ 3272151 w 6884782"/>
              <a:gd name="connsiteY64248" fmla="*/ 965295 h 5973007"/>
              <a:gd name="connsiteX64249" fmla="*/ 3268096 w 6884782"/>
              <a:gd name="connsiteY64249" fmla="*/ 979237 h 5973007"/>
              <a:gd name="connsiteX64250" fmla="*/ 3267883 w 6884782"/>
              <a:gd name="connsiteY64250" fmla="*/ 979237 h 5973007"/>
              <a:gd name="connsiteX64251" fmla="*/ 3259987 w 6884782"/>
              <a:gd name="connsiteY64251" fmla="*/ 981656 h 5973007"/>
              <a:gd name="connsiteX64252" fmla="*/ 3255718 w 6884782"/>
              <a:gd name="connsiteY64252" fmla="*/ 977672 h 5973007"/>
              <a:gd name="connsiteX64253" fmla="*/ 3257639 w 6884782"/>
              <a:gd name="connsiteY64253" fmla="*/ 973973 h 5973007"/>
              <a:gd name="connsiteX64254" fmla="*/ 3258920 w 6884782"/>
              <a:gd name="connsiteY64254" fmla="*/ 973404 h 5973007"/>
              <a:gd name="connsiteX64255" fmla="*/ 3258706 w 6884782"/>
              <a:gd name="connsiteY64255" fmla="*/ 969847 h 5973007"/>
              <a:gd name="connsiteX64256" fmla="*/ 3265536 w 6884782"/>
              <a:gd name="connsiteY64256" fmla="*/ 963302 h 5973007"/>
              <a:gd name="connsiteX64257" fmla="*/ 3740394 w 6884782"/>
              <a:gd name="connsiteY64257" fmla="*/ 962876 h 5973007"/>
              <a:gd name="connsiteX64258" fmla="*/ 3744663 w 6884782"/>
              <a:gd name="connsiteY64258" fmla="*/ 977103 h 5973007"/>
              <a:gd name="connsiteX64259" fmla="*/ 3736339 w 6884782"/>
              <a:gd name="connsiteY64259" fmla="*/ 975253 h 5973007"/>
              <a:gd name="connsiteX64260" fmla="*/ 3734632 w 6884782"/>
              <a:gd name="connsiteY64260" fmla="*/ 971696 h 5973007"/>
              <a:gd name="connsiteX64261" fmla="*/ 3734845 w 6884782"/>
              <a:gd name="connsiteY64261" fmla="*/ 964441 h 5973007"/>
              <a:gd name="connsiteX64262" fmla="*/ 3733565 w 6884782"/>
              <a:gd name="connsiteY64262" fmla="*/ 964441 h 5973007"/>
              <a:gd name="connsiteX64263" fmla="*/ 3740394 w 6884782"/>
              <a:gd name="connsiteY64263" fmla="*/ 962876 h 5973007"/>
              <a:gd name="connsiteX64264" fmla="*/ 1484102 w 6884782"/>
              <a:gd name="connsiteY64264" fmla="*/ 962703 h 5973007"/>
              <a:gd name="connsiteX64265" fmla="*/ 1483586 w 6884782"/>
              <a:gd name="connsiteY64265" fmla="*/ 967040 h 5973007"/>
              <a:gd name="connsiteX64266" fmla="*/ 1480901 w 6884782"/>
              <a:gd name="connsiteY64266" fmla="*/ 966575 h 5973007"/>
              <a:gd name="connsiteX64267" fmla="*/ 1481521 w 6884782"/>
              <a:gd name="connsiteY64267" fmla="*/ 963013 h 5973007"/>
              <a:gd name="connsiteX64268" fmla="*/ 1484102 w 6884782"/>
              <a:gd name="connsiteY64268" fmla="*/ 962703 h 5973007"/>
              <a:gd name="connsiteX64269" fmla="*/ 1139691 w 6884782"/>
              <a:gd name="connsiteY64269" fmla="*/ 961812 h 5973007"/>
              <a:gd name="connsiteX64270" fmla="*/ 1145731 w 6884782"/>
              <a:gd name="connsiteY64270" fmla="*/ 962238 h 5973007"/>
              <a:gd name="connsiteX64271" fmla="*/ 1148829 w 6884782"/>
              <a:gd name="connsiteY64271" fmla="*/ 971067 h 5973007"/>
              <a:gd name="connsiteX64272" fmla="*/ 1146454 w 6884782"/>
              <a:gd name="connsiteY64272" fmla="*/ 975559 h 5973007"/>
              <a:gd name="connsiteX64273" fmla="*/ 1136025 w 6884782"/>
              <a:gd name="connsiteY64273" fmla="*/ 976179 h 5973007"/>
              <a:gd name="connsiteX64274" fmla="*/ 1133857 w 6884782"/>
              <a:gd name="connsiteY64274" fmla="*/ 967350 h 5973007"/>
              <a:gd name="connsiteX64275" fmla="*/ 1131998 w 6884782"/>
              <a:gd name="connsiteY64275" fmla="*/ 966730 h 5973007"/>
              <a:gd name="connsiteX64276" fmla="*/ 1130036 w 6884782"/>
              <a:gd name="connsiteY64276" fmla="*/ 963632 h 5973007"/>
              <a:gd name="connsiteX64277" fmla="*/ 1131792 w 6884782"/>
              <a:gd name="connsiteY64277" fmla="*/ 962548 h 5973007"/>
              <a:gd name="connsiteX64278" fmla="*/ 1134476 w 6884782"/>
              <a:gd name="connsiteY64278" fmla="*/ 965491 h 5973007"/>
              <a:gd name="connsiteX64279" fmla="*/ 1135405 w 6884782"/>
              <a:gd name="connsiteY64279" fmla="*/ 965336 h 5973007"/>
              <a:gd name="connsiteX64280" fmla="*/ 1137058 w 6884782"/>
              <a:gd name="connsiteY64280" fmla="*/ 963477 h 5973007"/>
              <a:gd name="connsiteX64281" fmla="*/ 1139691 w 6884782"/>
              <a:gd name="connsiteY64281" fmla="*/ 961812 h 5973007"/>
              <a:gd name="connsiteX64282" fmla="*/ 1252808 w 6884782"/>
              <a:gd name="connsiteY64282" fmla="*/ 959915 h 5973007"/>
              <a:gd name="connsiteX64283" fmla="*/ 1255596 w 6884782"/>
              <a:gd name="connsiteY64283" fmla="*/ 976953 h 5973007"/>
              <a:gd name="connsiteX64284" fmla="*/ 1252292 w 6884782"/>
              <a:gd name="connsiteY64284" fmla="*/ 976179 h 5973007"/>
              <a:gd name="connsiteX64285" fmla="*/ 1249194 w 6884782"/>
              <a:gd name="connsiteY64285" fmla="*/ 971996 h 5973007"/>
              <a:gd name="connsiteX64286" fmla="*/ 1247542 w 6884782"/>
              <a:gd name="connsiteY64286" fmla="*/ 967970 h 5973007"/>
              <a:gd name="connsiteX64287" fmla="*/ 1241346 w 6884782"/>
              <a:gd name="connsiteY64287" fmla="*/ 968279 h 5973007"/>
              <a:gd name="connsiteX64288" fmla="*/ 1236390 w 6884782"/>
              <a:gd name="connsiteY64288" fmla="*/ 965027 h 5973007"/>
              <a:gd name="connsiteX64289" fmla="*/ 1241966 w 6884782"/>
              <a:gd name="connsiteY64289" fmla="*/ 962703 h 5973007"/>
              <a:gd name="connsiteX64290" fmla="*/ 1248678 w 6884782"/>
              <a:gd name="connsiteY64290" fmla="*/ 962548 h 5973007"/>
              <a:gd name="connsiteX64291" fmla="*/ 1250124 w 6884782"/>
              <a:gd name="connsiteY64291" fmla="*/ 960225 h 5973007"/>
              <a:gd name="connsiteX64292" fmla="*/ 1252808 w 6884782"/>
              <a:gd name="connsiteY64292" fmla="*/ 959915 h 5973007"/>
              <a:gd name="connsiteX64293" fmla="*/ 4971400 w 6884782"/>
              <a:gd name="connsiteY64293" fmla="*/ 959035 h 5973007"/>
              <a:gd name="connsiteX64294" fmla="*/ 4972253 w 6884782"/>
              <a:gd name="connsiteY64294" fmla="*/ 961454 h 5973007"/>
              <a:gd name="connsiteX64295" fmla="*/ 4967345 w 6884782"/>
              <a:gd name="connsiteY64295" fmla="*/ 964868 h 5973007"/>
              <a:gd name="connsiteX64296" fmla="*/ 4967345 w 6884782"/>
              <a:gd name="connsiteY64296" fmla="*/ 966006 h 5973007"/>
              <a:gd name="connsiteX64297" fmla="*/ 4969266 w 6884782"/>
              <a:gd name="connsiteY64297" fmla="*/ 968567 h 5973007"/>
              <a:gd name="connsiteX64298" fmla="*/ 4967985 w 6884782"/>
              <a:gd name="connsiteY64298" fmla="*/ 980517 h 5973007"/>
              <a:gd name="connsiteX64299" fmla="*/ 4954967 w 6884782"/>
              <a:gd name="connsiteY64299" fmla="*/ 983789 h 5973007"/>
              <a:gd name="connsiteX64300" fmla="*/ 4949631 w 6884782"/>
              <a:gd name="connsiteY64300" fmla="*/ 980232 h 5973007"/>
              <a:gd name="connsiteX64301" fmla="*/ 4952192 w 6884782"/>
              <a:gd name="connsiteY64301" fmla="*/ 965864 h 5973007"/>
              <a:gd name="connsiteX64302" fmla="*/ 4965210 w 6884782"/>
              <a:gd name="connsiteY64302" fmla="*/ 963587 h 5973007"/>
              <a:gd name="connsiteX64303" fmla="*/ 4966491 w 6884782"/>
              <a:gd name="connsiteY64303" fmla="*/ 961311 h 5973007"/>
              <a:gd name="connsiteX64304" fmla="*/ 4971400 w 6884782"/>
              <a:gd name="connsiteY64304" fmla="*/ 959035 h 5973007"/>
              <a:gd name="connsiteX64305" fmla="*/ 3719266 w 6884782"/>
              <a:gd name="connsiteY64305" fmla="*/ 956047 h 5973007"/>
              <a:gd name="connsiteX64306" fmla="*/ 3723321 w 6884782"/>
              <a:gd name="connsiteY64306" fmla="*/ 957754 h 5973007"/>
              <a:gd name="connsiteX64307" fmla="*/ 3717985 w 6884782"/>
              <a:gd name="connsiteY64307" fmla="*/ 969420 h 5973007"/>
              <a:gd name="connsiteX64308" fmla="*/ 3716918 w 6884782"/>
              <a:gd name="connsiteY64308" fmla="*/ 972550 h 5973007"/>
              <a:gd name="connsiteX64309" fmla="*/ 3720547 w 6884782"/>
              <a:gd name="connsiteY64309" fmla="*/ 971696 h 5973007"/>
              <a:gd name="connsiteX64310" fmla="*/ 3728016 w 6884782"/>
              <a:gd name="connsiteY64310" fmla="*/ 974258 h 5973007"/>
              <a:gd name="connsiteX64311" fmla="*/ 3733351 w 6884782"/>
              <a:gd name="connsiteY64311" fmla="*/ 995598 h 5973007"/>
              <a:gd name="connsiteX64312" fmla="*/ 3731431 w 6884782"/>
              <a:gd name="connsiteY64312" fmla="*/ 998016 h 5973007"/>
              <a:gd name="connsiteX64313" fmla="*/ 3729937 w 6884782"/>
              <a:gd name="connsiteY64313" fmla="*/ 1002996 h 5973007"/>
              <a:gd name="connsiteX64314" fmla="*/ 3715211 w 6884782"/>
              <a:gd name="connsiteY64314" fmla="*/ 997732 h 5973007"/>
              <a:gd name="connsiteX64315" fmla="*/ 3707314 w 6884782"/>
              <a:gd name="connsiteY64315" fmla="*/ 982082 h 5973007"/>
              <a:gd name="connsiteX64316" fmla="*/ 3708595 w 6884782"/>
              <a:gd name="connsiteY64316" fmla="*/ 978383 h 5973007"/>
              <a:gd name="connsiteX64317" fmla="*/ 3705820 w 6884782"/>
              <a:gd name="connsiteY64317" fmla="*/ 975965 h 5973007"/>
              <a:gd name="connsiteX64318" fmla="*/ 3708595 w 6884782"/>
              <a:gd name="connsiteY64318" fmla="*/ 958323 h 5973007"/>
              <a:gd name="connsiteX64319" fmla="*/ 3719266 w 6884782"/>
              <a:gd name="connsiteY64319" fmla="*/ 956047 h 5973007"/>
              <a:gd name="connsiteX64320" fmla="*/ 1172759 w 6884782"/>
              <a:gd name="connsiteY64320" fmla="*/ 953835 h 5973007"/>
              <a:gd name="connsiteX64321" fmla="*/ 1179290 w 6884782"/>
              <a:gd name="connsiteY64321" fmla="*/ 956042 h 5973007"/>
              <a:gd name="connsiteX64322" fmla="*/ 1169687 w 6884782"/>
              <a:gd name="connsiteY64322" fmla="*/ 959295 h 5973007"/>
              <a:gd name="connsiteX64323" fmla="*/ 1159258 w 6884782"/>
              <a:gd name="connsiteY64323" fmla="*/ 956662 h 5973007"/>
              <a:gd name="connsiteX64324" fmla="*/ 1163595 w 6884782"/>
              <a:gd name="connsiteY64324" fmla="*/ 954183 h 5973007"/>
              <a:gd name="connsiteX64325" fmla="*/ 1172759 w 6884782"/>
              <a:gd name="connsiteY64325" fmla="*/ 953835 h 5973007"/>
              <a:gd name="connsiteX64326" fmla="*/ 3797164 w 6884782"/>
              <a:gd name="connsiteY64326" fmla="*/ 953344 h 5973007"/>
              <a:gd name="connsiteX64327" fmla="*/ 3807195 w 6884782"/>
              <a:gd name="connsiteY64327" fmla="*/ 991045 h 5973007"/>
              <a:gd name="connsiteX64328" fmla="*/ 3797164 w 6884782"/>
              <a:gd name="connsiteY64328" fmla="*/ 953344 h 5973007"/>
              <a:gd name="connsiteX64329" fmla="*/ 3343220 w 6884782"/>
              <a:gd name="connsiteY64329" fmla="*/ 950072 h 5973007"/>
              <a:gd name="connsiteX64330" fmla="*/ 3347702 w 6884782"/>
              <a:gd name="connsiteY64330" fmla="*/ 950356 h 5973007"/>
              <a:gd name="connsiteX64331" fmla="*/ 3357092 w 6884782"/>
              <a:gd name="connsiteY64331" fmla="*/ 959604 h 5973007"/>
              <a:gd name="connsiteX64332" fmla="*/ 3356879 w 6884782"/>
              <a:gd name="connsiteY64332" fmla="*/ 967713 h 5973007"/>
              <a:gd name="connsiteX64333" fmla="*/ 3338525 w 6884782"/>
              <a:gd name="connsiteY64333" fmla="*/ 979379 h 5973007"/>
              <a:gd name="connsiteX64334" fmla="*/ 3335537 w 6884782"/>
              <a:gd name="connsiteY64334" fmla="*/ 978383 h 5973007"/>
              <a:gd name="connsiteX64335" fmla="*/ 3330415 w 6884782"/>
              <a:gd name="connsiteY64335" fmla="*/ 978241 h 5973007"/>
              <a:gd name="connsiteX64336" fmla="*/ 3330842 w 6884782"/>
              <a:gd name="connsiteY64336" fmla="*/ 962592 h 5973007"/>
              <a:gd name="connsiteX64337" fmla="*/ 3343220 w 6884782"/>
              <a:gd name="connsiteY64337" fmla="*/ 950072 h 5973007"/>
              <a:gd name="connsiteX64338" fmla="*/ 1145215 w 6884782"/>
              <a:gd name="connsiteY64338" fmla="*/ 949537 h 5973007"/>
              <a:gd name="connsiteX64339" fmla="*/ 1158019 w 6884782"/>
              <a:gd name="connsiteY64339" fmla="*/ 952790 h 5973007"/>
              <a:gd name="connsiteX64340" fmla="*/ 1153269 w 6884782"/>
              <a:gd name="connsiteY64340" fmla="*/ 958675 h 5973007"/>
              <a:gd name="connsiteX64341" fmla="*/ 1148209 w 6884782"/>
              <a:gd name="connsiteY64341" fmla="*/ 958211 h 5973007"/>
              <a:gd name="connsiteX64342" fmla="*/ 1142221 w 6884782"/>
              <a:gd name="connsiteY64342" fmla="*/ 952480 h 5973007"/>
              <a:gd name="connsiteX64343" fmla="*/ 1145215 w 6884782"/>
              <a:gd name="connsiteY64343" fmla="*/ 949537 h 5973007"/>
              <a:gd name="connsiteX64344" fmla="*/ 3682558 w 6884782"/>
              <a:gd name="connsiteY64344" fmla="*/ 949361 h 5973007"/>
              <a:gd name="connsiteX64345" fmla="*/ 3685332 w 6884782"/>
              <a:gd name="connsiteY64345" fmla="*/ 954909 h 5973007"/>
              <a:gd name="connsiteX64346" fmla="*/ 3682771 w 6884782"/>
              <a:gd name="connsiteY64346" fmla="*/ 976534 h 5973007"/>
              <a:gd name="connsiteX64347" fmla="*/ 3688534 w 6884782"/>
              <a:gd name="connsiteY64347" fmla="*/ 989480 h 5973007"/>
              <a:gd name="connsiteX64348" fmla="*/ 3657374 w 6884782"/>
              <a:gd name="connsiteY64348" fmla="*/ 976818 h 5973007"/>
              <a:gd name="connsiteX64349" fmla="*/ 3651398 w 6884782"/>
              <a:gd name="connsiteY64349" fmla="*/ 968567 h 5973007"/>
              <a:gd name="connsiteX64350" fmla="*/ 3673808 w 6884782"/>
              <a:gd name="connsiteY64350" fmla="*/ 971128 h 5973007"/>
              <a:gd name="connsiteX64351" fmla="*/ 3682558 w 6884782"/>
              <a:gd name="connsiteY64351" fmla="*/ 949361 h 5973007"/>
              <a:gd name="connsiteX64352" fmla="*/ 3911557 w 6884782"/>
              <a:gd name="connsiteY64352" fmla="*/ 948934 h 5973007"/>
              <a:gd name="connsiteX64353" fmla="*/ 3913051 w 6884782"/>
              <a:gd name="connsiteY64353" fmla="*/ 952206 h 5973007"/>
              <a:gd name="connsiteX64354" fmla="*/ 3912197 w 6884782"/>
              <a:gd name="connsiteY64354" fmla="*/ 956759 h 5973007"/>
              <a:gd name="connsiteX64355" fmla="*/ 3912624 w 6884782"/>
              <a:gd name="connsiteY64355" fmla="*/ 957897 h 5973007"/>
              <a:gd name="connsiteX64356" fmla="*/ 3910917 w 6884782"/>
              <a:gd name="connsiteY64356" fmla="*/ 961311 h 5973007"/>
              <a:gd name="connsiteX64357" fmla="*/ 3909637 w 6884782"/>
              <a:gd name="connsiteY64357" fmla="*/ 962022 h 5973007"/>
              <a:gd name="connsiteX64358" fmla="*/ 3906862 w 6884782"/>
              <a:gd name="connsiteY64358" fmla="*/ 966006 h 5973007"/>
              <a:gd name="connsiteX64359" fmla="*/ 3905795 w 6884782"/>
              <a:gd name="connsiteY64359" fmla="*/ 964156 h 5973007"/>
              <a:gd name="connsiteX64360" fmla="*/ 3901526 w 6884782"/>
              <a:gd name="connsiteY64360" fmla="*/ 963445 h 5973007"/>
              <a:gd name="connsiteX64361" fmla="*/ 3895337 w 6884782"/>
              <a:gd name="connsiteY64361" fmla="*/ 965721 h 5973007"/>
              <a:gd name="connsiteX64362" fmla="*/ 3902807 w 6884782"/>
              <a:gd name="connsiteY64362" fmla="*/ 961169 h 5973007"/>
              <a:gd name="connsiteX64363" fmla="*/ 3903447 w 6884782"/>
              <a:gd name="connsiteY64363" fmla="*/ 959604 h 5973007"/>
              <a:gd name="connsiteX64364" fmla="*/ 3903447 w 6884782"/>
              <a:gd name="connsiteY64364" fmla="*/ 959319 h 5973007"/>
              <a:gd name="connsiteX64365" fmla="*/ 3903874 w 6884782"/>
              <a:gd name="connsiteY64365" fmla="*/ 958892 h 5973007"/>
              <a:gd name="connsiteX64366" fmla="*/ 3904301 w 6884782"/>
              <a:gd name="connsiteY64366" fmla="*/ 957612 h 5973007"/>
              <a:gd name="connsiteX64367" fmla="*/ 3904941 w 6884782"/>
              <a:gd name="connsiteY64367" fmla="*/ 957470 h 5973007"/>
              <a:gd name="connsiteX64368" fmla="*/ 3906435 w 6884782"/>
              <a:gd name="connsiteY64368" fmla="*/ 954482 h 5973007"/>
              <a:gd name="connsiteX64369" fmla="*/ 3908569 w 6884782"/>
              <a:gd name="connsiteY64369" fmla="*/ 949361 h 5973007"/>
              <a:gd name="connsiteX64370" fmla="*/ 3911557 w 6884782"/>
              <a:gd name="connsiteY64370" fmla="*/ 948934 h 5973007"/>
              <a:gd name="connsiteX64371" fmla="*/ 1418121 w 6884782"/>
              <a:gd name="connsiteY64371" fmla="*/ 947368 h 5973007"/>
              <a:gd name="connsiteX64372" fmla="*/ 1430099 w 6884782"/>
              <a:gd name="connsiteY64372" fmla="*/ 961619 h 5973007"/>
              <a:gd name="connsiteX64373" fmla="*/ 1427724 w 6884782"/>
              <a:gd name="connsiteY64373" fmla="*/ 963323 h 5973007"/>
              <a:gd name="connsiteX64374" fmla="*/ 1428240 w 6884782"/>
              <a:gd name="connsiteY64374" fmla="*/ 964252 h 5973007"/>
              <a:gd name="connsiteX64375" fmla="*/ 1429376 w 6884782"/>
              <a:gd name="connsiteY64375" fmla="*/ 967970 h 5973007"/>
              <a:gd name="connsiteX64376" fmla="*/ 1429789 w 6884782"/>
              <a:gd name="connsiteY64376" fmla="*/ 967660 h 5973007"/>
              <a:gd name="connsiteX64377" fmla="*/ 1432164 w 6884782"/>
              <a:gd name="connsiteY64377" fmla="*/ 968589 h 5973007"/>
              <a:gd name="connsiteX64378" fmla="*/ 1433610 w 6884782"/>
              <a:gd name="connsiteY64378" fmla="*/ 975250 h 5973007"/>
              <a:gd name="connsiteX64379" fmla="*/ 1435159 w 6884782"/>
              <a:gd name="connsiteY64379" fmla="*/ 979431 h 5973007"/>
              <a:gd name="connsiteX64380" fmla="*/ 1431854 w 6884782"/>
              <a:gd name="connsiteY64380" fmla="*/ 974475 h 5973007"/>
              <a:gd name="connsiteX64381" fmla="*/ 1429376 w 6884782"/>
              <a:gd name="connsiteY64381" fmla="*/ 973701 h 5973007"/>
              <a:gd name="connsiteX64382" fmla="*/ 1428757 w 6884782"/>
              <a:gd name="connsiteY64382" fmla="*/ 972151 h 5973007"/>
              <a:gd name="connsiteX64383" fmla="*/ 1427621 w 6884782"/>
              <a:gd name="connsiteY64383" fmla="*/ 972462 h 5973007"/>
              <a:gd name="connsiteX64384" fmla="*/ 1425246 w 6884782"/>
              <a:gd name="connsiteY64384" fmla="*/ 973701 h 5973007"/>
              <a:gd name="connsiteX64385" fmla="*/ 1423181 w 6884782"/>
              <a:gd name="connsiteY64385" fmla="*/ 967505 h 5973007"/>
              <a:gd name="connsiteX64386" fmla="*/ 1422768 w 6884782"/>
              <a:gd name="connsiteY64386" fmla="*/ 964872 h 5973007"/>
              <a:gd name="connsiteX64387" fmla="*/ 1422458 w 6884782"/>
              <a:gd name="connsiteY64387" fmla="*/ 964872 h 5973007"/>
              <a:gd name="connsiteX64388" fmla="*/ 1417811 w 6884782"/>
              <a:gd name="connsiteY64388" fmla="*/ 962393 h 5973007"/>
              <a:gd name="connsiteX64389" fmla="*/ 1416882 w 6884782"/>
              <a:gd name="connsiteY64389" fmla="*/ 960999 h 5973007"/>
              <a:gd name="connsiteX64390" fmla="*/ 1406866 w 6884782"/>
              <a:gd name="connsiteY64390" fmla="*/ 959140 h 5973007"/>
              <a:gd name="connsiteX64391" fmla="*/ 1408931 w 6884782"/>
              <a:gd name="connsiteY64391" fmla="*/ 951860 h 5973007"/>
              <a:gd name="connsiteX64392" fmla="*/ 1414920 w 6884782"/>
              <a:gd name="connsiteY64392" fmla="*/ 952015 h 5973007"/>
              <a:gd name="connsiteX64393" fmla="*/ 3546396 w 6884782"/>
              <a:gd name="connsiteY64393" fmla="*/ 946657 h 5973007"/>
              <a:gd name="connsiteX64394" fmla="*/ 3550878 w 6884782"/>
              <a:gd name="connsiteY64394" fmla="*/ 949076 h 5973007"/>
              <a:gd name="connsiteX64395" fmla="*/ 3553225 w 6884782"/>
              <a:gd name="connsiteY64395" fmla="*/ 953344 h 5973007"/>
              <a:gd name="connsiteX64396" fmla="*/ 3554719 w 6884782"/>
              <a:gd name="connsiteY64396" fmla="*/ 957612 h 5973007"/>
              <a:gd name="connsiteX64397" fmla="*/ 3544048 w 6884782"/>
              <a:gd name="connsiteY64397" fmla="*/ 957470 h 5973007"/>
              <a:gd name="connsiteX64398" fmla="*/ 3543194 w 6884782"/>
              <a:gd name="connsiteY64398" fmla="*/ 954909 h 5973007"/>
              <a:gd name="connsiteX64399" fmla="*/ 3542554 w 6884782"/>
              <a:gd name="connsiteY64399" fmla="*/ 948934 h 5973007"/>
              <a:gd name="connsiteX64400" fmla="*/ 3546396 w 6884782"/>
              <a:gd name="connsiteY64400" fmla="*/ 946657 h 5973007"/>
              <a:gd name="connsiteX64401" fmla="*/ 1482140 w 6884782"/>
              <a:gd name="connsiteY64401" fmla="*/ 946284 h 5973007"/>
              <a:gd name="connsiteX64402" fmla="*/ 1485238 w 6884782"/>
              <a:gd name="connsiteY64402" fmla="*/ 948143 h 5973007"/>
              <a:gd name="connsiteX64403" fmla="*/ 1487819 w 6884782"/>
              <a:gd name="connsiteY64403" fmla="*/ 954183 h 5973007"/>
              <a:gd name="connsiteX64404" fmla="*/ 1484308 w 6884782"/>
              <a:gd name="connsiteY64404" fmla="*/ 955268 h 5973007"/>
              <a:gd name="connsiteX64405" fmla="*/ 1482243 w 6884782"/>
              <a:gd name="connsiteY64405" fmla="*/ 954494 h 5973007"/>
              <a:gd name="connsiteX64406" fmla="*/ 1481933 w 6884782"/>
              <a:gd name="connsiteY64406" fmla="*/ 955733 h 5973007"/>
              <a:gd name="connsiteX64407" fmla="*/ 1471918 w 6884782"/>
              <a:gd name="connsiteY64407" fmla="*/ 958056 h 5973007"/>
              <a:gd name="connsiteX64408" fmla="*/ 1471711 w 6884782"/>
              <a:gd name="connsiteY64408" fmla="*/ 953409 h 5973007"/>
              <a:gd name="connsiteX64409" fmla="*/ 1472228 w 6884782"/>
              <a:gd name="connsiteY64409" fmla="*/ 950156 h 5973007"/>
              <a:gd name="connsiteX64410" fmla="*/ 1478733 w 6884782"/>
              <a:gd name="connsiteY64410" fmla="*/ 947678 h 5973007"/>
              <a:gd name="connsiteX64411" fmla="*/ 1479042 w 6884782"/>
              <a:gd name="connsiteY64411" fmla="*/ 947833 h 5973007"/>
              <a:gd name="connsiteX64412" fmla="*/ 1479145 w 6884782"/>
              <a:gd name="connsiteY64412" fmla="*/ 947678 h 5973007"/>
              <a:gd name="connsiteX64413" fmla="*/ 1482140 w 6884782"/>
              <a:gd name="connsiteY64413" fmla="*/ 946284 h 5973007"/>
              <a:gd name="connsiteX64414" fmla="*/ 4443826 w 6884782"/>
              <a:gd name="connsiteY64414" fmla="*/ 945235 h 5973007"/>
              <a:gd name="connsiteX64415" fmla="*/ 4446387 w 6884782"/>
              <a:gd name="connsiteY64415" fmla="*/ 945661 h 5973007"/>
              <a:gd name="connsiteX64416" fmla="*/ 4447241 w 6884782"/>
              <a:gd name="connsiteY64416" fmla="*/ 947084 h 5973007"/>
              <a:gd name="connsiteX64417" fmla="*/ 4444680 w 6884782"/>
              <a:gd name="connsiteY64417" fmla="*/ 951779 h 5973007"/>
              <a:gd name="connsiteX64418" fmla="*/ 4441051 w 6884782"/>
              <a:gd name="connsiteY64418" fmla="*/ 952775 h 5973007"/>
              <a:gd name="connsiteX64419" fmla="*/ 4440411 w 6884782"/>
              <a:gd name="connsiteY64419" fmla="*/ 949218 h 5973007"/>
              <a:gd name="connsiteX64420" fmla="*/ 4441905 w 6884782"/>
              <a:gd name="connsiteY64420" fmla="*/ 945661 h 5973007"/>
              <a:gd name="connsiteX64421" fmla="*/ 4443826 w 6884782"/>
              <a:gd name="connsiteY64421" fmla="*/ 945235 h 5973007"/>
              <a:gd name="connsiteX64422" fmla="*/ 1374547 w 6884782"/>
              <a:gd name="connsiteY64422" fmla="*/ 943651 h 5973007"/>
              <a:gd name="connsiteX64423" fmla="*/ 1375063 w 6884782"/>
              <a:gd name="connsiteY64423" fmla="*/ 951086 h 5973007"/>
              <a:gd name="connsiteX64424" fmla="*/ 1374857 w 6884782"/>
              <a:gd name="connsiteY64424" fmla="*/ 955268 h 5973007"/>
              <a:gd name="connsiteX64425" fmla="*/ 1372998 w 6884782"/>
              <a:gd name="connsiteY64425" fmla="*/ 956972 h 5973007"/>
              <a:gd name="connsiteX64426" fmla="*/ 1372172 w 6884782"/>
              <a:gd name="connsiteY64426" fmla="*/ 957127 h 5973007"/>
              <a:gd name="connsiteX64427" fmla="*/ 1371553 w 6884782"/>
              <a:gd name="connsiteY64427" fmla="*/ 955268 h 5973007"/>
              <a:gd name="connsiteX64428" fmla="*/ 1372689 w 6884782"/>
              <a:gd name="connsiteY64428" fmla="*/ 947059 h 5973007"/>
              <a:gd name="connsiteX64429" fmla="*/ 1372689 w 6884782"/>
              <a:gd name="connsiteY64429" fmla="*/ 945355 h 5973007"/>
              <a:gd name="connsiteX64430" fmla="*/ 1374547 w 6884782"/>
              <a:gd name="connsiteY64430" fmla="*/ 943651 h 5973007"/>
              <a:gd name="connsiteX64431" fmla="*/ 3853080 w 6884782"/>
              <a:gd name="connsiteY64431" fmla="*/ 943243 h 5973007"/>
              <a:gd name="connsiteX64432" fmla="*/ 3854147 w 6884782"/>
              <a:gd name="connsiteY64432" fmla="*/ 945519 h 5973007"/>
              <a:gd name="connsiteX64433" fmla="*/ 3854787 w 6884782"/>
              <a:gd name="connsiteY64433" fmla="*/ 948649 h 5973007"/>
              <a:gd name="connsiteX64434" fmla="*/ 3855427 w 6884782"/>
              <a:gd name="connsiteY64434" fmla="*/ 951779 h 5973007"/>
              <a:gd name="connsiteX64435" fmla="*/ 3856495 w 6884782"/>
              <a:gd name="connsiteY64435" fmla="*/ 954055 h 5973007"/>
              <a:gd name="connsiteX64436" fmla="*/ 3855855 w 6884782"/>
              <a:gd name="connsiteY64436" fmla="*/ 959319 h 5973007"/>
              <a:gd name="connsiteX64437" fmla="*/ 3854574 w 6884782"/>
              <a:gd name="connsiteY64437" fmla="*/ 957043 h 5973007"/>
              <a:gd name="connsiteX64438" fmla="*/ 3854147 w 6884782"/>
              <a:gd name="connsiteY64438" fmla="*/ 953913 h 5973007"/>
              <a:gd name="connsiteX64439" fmla="*/ 3852226 w 6884782"/>
              <a:gd name="connsiteY64439" fmla="*/ 952775 h 5973007"/>
              <a:gd name="connsiteX64440" fmla="*/ 3853080 w 6884782"/>
              <a:gd name="connsiteY64440" fmla="*/ 943243 h 5973007"/>
              <a:gd name="connsiteX64441" fmla="*/ 1361021 w 6884782"/>
              <a:gd name="connsiteY64441" fmla="*/ 943031 h 5973007"/>
              <a:gd name="connsiteX64442" fmla="*/ 1364118 w 6884782"/>
              <a:gd name="connsiteY64442" fmla="*/ 956197 h 5973007"/>
              <a:gd name="connsiteX64443" fmla="*/ 1358542 w 6884782"/>
              <a:gd name="connsiteY64443" fmla="*/ 956352 h 5973007"/>
              <a:gd name="connsiteX64444" fmla="*/ 1357820 w 6884782"/>
              <a:gd name="connsiteY64444" fmla="*/ 947988 h 5973007"/>
              <a:gd name="connsiteX64445" fmla="*/ 1361021 w 6884782"/>
              <a:gd name="connsiteY64445" fmla="*/ 943031 h 5973007"/>
              <a:gd name="connsiteX64446" fmla="*/ 3481516 w 6884782"/>
              <a:gd name="connsiteY64446" fmla="*/ 942674 h 5973007"/>
              <a:gd name="connsiteX64447" fmla="*/ 3490907 w 6884782"/>
              <a:gd name="connsiteY64447" fmla="*/ 949218 h 5973007"/>
              <a:gd name="connsiteX64448" fmla="*/ 3487492 w 6884782"/>
              <a:gd name="connsiteY64448" fmla="*/ 956189 h 5973007"/>
              <a:gd name="connsiteX64449" fmla="*/ 3475754 w 6884782"/>
              <a:gd name="connsiteY64449" fmla="*/ 949361 h 5973007"/>
              <a:gd name="connsiteX64450" fmla="*/ 3477675 w 6884782"/>
              <a:gd name="connsiteY64450" fmla="*/ 944381 h 5973007"/>
              <a:gd name="connsiteX64451" fmla="*/ 3481516 w 6884782"/>
              <a:gd name="connsiteY64451" fmla="*/ 942674 h 5973007"/>
              <a:gd name="connsiteX64452" fmla="*/ 1460314 w 6884782"/>
              <a:gd name="connsiteY64452" fmla="*/ 942450 h 5973007"/>
              <a:gd name="connsiteX64453" fmla="*/ 1470369 w 6884782"/>
              <a:gd name="connsiteY64453" fmla="*/ 949382 h 5973007"/>
              <a:gd name="connsiteX64454" fmla="*/ 1448065 w 6884782"/>
              <a:gd name="connsiteY64454" fmla="*/ 964562 h 5973007"/>
              <a:gd name="connsiteX64455" fmla="*/ 1441560 w 6884782"/>
              <a:gd name="connsiteY64455" fmla="*/ 955887 h 5973007"/>
              <a:gd name="connsiteX64456" fmla="*/ 1441767 w 6884782"/>
              <a:gd name="connsiteY64456" fmla="*/ 952635 h 5973007"/>
              <a:gd name="connsiteX64457" fmla="*/ 1450957 w 6884782"/>
              <a:gd name="connsiteY64457" fmla="*/ 942721 h 5973007"/>
              <a:gd name="connsiteX64458" fmla="*/ 1460314 w 6884782"/>
              <a:gd name="connsiteY64458" fmla="*/ 942450 h 5973007"/>
              <a:gd name="connsiteX64459" fmla="*/ 3459534 w 6884782"/>
              <a:gd name="connsiteY64459" fmla="*/ 941678 h 5973007"/>
              <a:gd name="connsiteX64460" fmla="*/ 3471912 w 6884782"/>
              <a:gd name="connsiteY64460" fmla="*/ 957897 h 5973007"/>
              <a:gd name="connsiteX64461" fmla="*/ 3462949 w 6884782"/>
              <a:gd name="connsiteY64461" fmla="*/ 964299 h 5973007"/>
              <a:gd name="connsiteX64462" fmla="*/ 3453772 w 6884782"/>
              <a:gd name="connsiteY64462" fmla="*/ 946373 h 5973007"/>
              <a:gd name="connsiteX64463" fmla="*/ 3459534 w 6884782"/>
              <a:gd name="connsiteY64463" fmla="*/ 941678 h 5973007"/>
              <a:gd name="connsiteX64464" fmla="*/ 957495 w 6884782"/>
              <a:gd name="connsiteY64464" fmla="*/ 941172 h 5973007"/>
              <a:gd name="connsiteX64465" fmla="*/ 962348 w 6884782"/>
              <a:gd name="connsiteY64465" fmla="*/ 948917 h 5973007"/>
              <a:gd name="connsiteX64466" fmla="*/ 956876 w 6884782"/>
              <a:gd name="connsiteY64466" fmla="*/ 943496 h 5973007"/>
              <a:gd name="connsiteX64467" fmla="*/ 957495 w 6884782"/>
              <a:gd name="connsiteY64467" fmla="*/ 941172 h 5973007"/>
              <a:gd name="connsiteX64468" fmla="*/ 1333658 w 6884782"/>
              <a:gd name="connsiteY64468" fmla="*/ 941017 h 5973007"/>
              <a:gd name="connsiteX64469" fmla="*/ 1335413 w 6884782"/>
              <a:gd name="connsiteY64469" fmla="*/ 950156 h 5973007"/>
              <a:gd name="connsiteX64470" fmla="*/ 1292665 w 6884782"/>
              <a:gd name="connsiteY64470" fmla="*/ 962238 h 5973007"/>
              <a:gd name="connsiteX64471" fmla="*/ 1333658 w 6884782"/>
              <a:gd name="connsiteY64471" fmla="*/ 941017 h 5973007"/>
              <a:gd name="connsiteX64472" fmla="*/ 3443101 w 6884782"/>
              <a:gd name="connsiteY64472" fmla="*/ 940824 h 5973007"/>
              <a:gd name="connsiteX64473" fmla="*/ 3447796 w 6884782"/>
              <a:gd name="connsiteY64473" fmla="*/ 968567 h 5973007"/>
              <a:gd name="connsiteX64474" fmla="*/ 3445022 w 6884782"/>
              <a:gd name="connsiteY64474" fmla="*/ 963160 h 5973007"/>
              <a:gd name="connsiteX64475" fmla="*/ 3445235 w 6884782"/>
              <a:gd name="connsiteY64475" fmla="*/ 965152 h 5973007"/>
              <a:gd name="connsiteX64476" fmla="*/ 3441180 w 6884782"/>
              <a:gd name="connsiteY64476" fmla="*/ 969278 h 5973007"/>
              <a:gd name="connsiteX64477" fmla="*/ 3435204 w 6884782"/>
              <a:gd name="connsiteY64477" fmla="*/ 960031 h 5973007"/>
              <a:gd name="connsiteX64478" fmla="*/ 3437338 w 6884782"/>
              <a:gd name="connsiteY64478" fmla="*/ 957185 h 5973007"/>
              <a:gd name="connsiteX64479" fmla="*/ 3441607 w 6884782"/>
              <a:gd name="connsiteY64479" fmla="*/ 958466 h 5973007"/>
              <a:gd name="connsiteX64480" fmla="*/ 3443741 w 6884782"/>
              <a:gd name="connsiteY64480" fmla="*/ 960315 h 5973007"/>
              <a:gd name="connsiteX64481" fmla="*/ 3441393 w 6884782"/>
              <a:gd name="connsiteY64481" fmla="*/ 955051 h 5973007"/>
              <a:gd name="connsiteX64482" fmla="*/ 3443101 w 6884782"/>
              <a:gd name="connsiteY64482" fmla="*/ 940824 h 5973007"/>
              <a:gd name="connsiteX64483" fmla="*/ 1527470 w 6884782"/>
              <a:gd name="connsiteY64483" fmla="*/ 939778 h 5973007"/>
              <a:gd name="connsiteX64484" fmla="*/ 1533562 w 6884782"/>
              <a:gd name="connsiteY64484" fmla="*/ 953874 h 5973007"/>
              <a:gd name="connsiteX64485" fmla="*/ 1524888 w 6884782"/>
              <a:gd name="connsiteY64485" fmla="*/ 952944 h 5973007"/>
              <a:gd name="connsiteX64486" fmla="*/ 1524372 w 6884782"/>
              <a:gd name="connsiteY64486" fmla="*/ 949227 h 5973007"/>
              <a:gd name="connsiteX64487" fmla="*/ 1524888 w 6884782"/>
              <a:gd name="connsiteY64487" fmla="*/ 945819 h 5973007"/>
              <a:gd name="connsiteX64488" fmla="*/ 1527470 w 6884782"/>
              <a:gd name="connsiteY64488" fmla="*/ 939778 h 5973007"/>
              <a:gd name="connsiteX64489" fmla="*/ 1125183 w 6884782"/>
              <a:gd name="connsiteY64489" fmla="*/ 939313 h 5973007"/>
              <a:gd name="connsiteX64490" fmla="*/ 1123841 w 6884782"/>
              <a:gd name="connsiteY64490" fmla="*/ 951860 h 5973007"/>
              <a:gd name="connsiteX64491" fmla="*/ 1117646 w 6884782"/>
              <a:gd name="connsiteY64491" fmla="*/ 946129 h 5973007"/>
              <a:gd name="connsiteX64492" fmla="*/ 1120227 w 6884782"/>
              <a:gd name="connsiteY64492" fmla="*/ 939778 h 5973007"/>
              <a:gd name="connsiteX64493" fmla="*/ 1125183 w 6884782"/>
              <a:gd name="connsiteY64493" fmla="*/ 939313 h 5973007"/>
              <a:gd name="connsiteX64494" fmla="*/ 1428757 w 6884782"/>
              <a:gd name="connsiteY64494" fmla="*/ 937145 h 5973007"/>
              <a:gd name="connsiteX64495" fmla="*/ 1436914 w 6884782"/>
              <a:gd name="connsiteY64495" fmla="*/ 938229 h 5973007"/>
              <a:gd name="connsiteX64496" fmla="*/ 1434126 w 6884782"/>
              <a:gd name="connsiteY64496" fmla="*/ 949537 h 5973007"/>
              <a:gd name="connsiteX64497" fmla="*/ 1424627 w 6884782"/>
              <a:gd name="connsiteY64497" fmla="*/ 943031 h 5973007"/>
              <a:gd name="connsiteX64498" fmla="*/ 1428757 w 6884782"/>
              <a:gd name="connsiteY64498" fmla="*/ 937145 h 5973007"/>
              <a:gd name="connsiteX64499" fmla="*/ 3893630 w 6884782"/>
              <a:gd name="connsiteY64499" fmla="*/ 934280 h 5973007"/>
              <a:gd name="connsiteX64500" fmla="*/ 3896191 w 6884782"/>
              <a:gd name="connsiteY64500" fmla="*/ 935703 h 5973007"/>
              <a:gd name="connsiteX64501" fmla="*/ 3897685 w 6884782"/>
              <a:gd name="connsiteY64501" fmla="*/ 937837 h 5973007"/>
              <a:gd name="connsiteX64502" fmla="*/ 3895551 w 6884782"/>
              <a:gd name="connsiteY64502" fmla="*/ 941820 h 5973007"/>
              <a:gd name="connsiteX64503" fmla="*/ 3890428 w 6884782"/>
              <a:gd name="connsiteY64503" fmla="*/ 946515 h 5973007"/>
              <a:gd name="connsiteX64504" fmla="*/ 3888935 w 6884782"/>
              <a:gd name="connsiteY64504" fmla="*/ 950214 h 5973007"/>
              <a:gd name="connsiteX64505" fmla="*/ 3887867 w 6884782"/>
              <a:gd name="connsiteY64505" fmla="*/ 950214 h 5973007"/>
              <a:gd name="connsiteX64506" fmla="*/ 3891496 w 6884782"/>
              <a:gd name="connsiteY64506" fmla="*/ 935703 h 5973007"/>
              <a:gd name="connsiteX64507" fmla="*/ 3893630 w 6884782"/>
              <a:gd name="connsiteY64507" fmla="*/ 934280 h 5973007"/>
              <a:gd name="connsiteX64508" fmla="*/ 3379501 w 6884782"/>
              <a:gd name="connsiteY64508" fmla="*/ 933711 h 5973007"/>
              <a:gd name="connsiteX64509" fmla="*/ 3391880 w 6884782"/>
              <a:gd name="connsiteY64509" fmla="*/ 955620 h 5973007"/>
              <a:gd name="connsiteX64510" fmla="*/ 3394228 w 6884782"/>
              <a:gd name="connsiteY64510" fmla="*/ 959177 h 5973007"/>
              <a:gd name="connsiteX64511" fmla="*/ 3391880 w 6884782"/>
              <a:gd name="connsiteY64511" fmla="*/ 961454 h 5973007"/>
              <a:gd name="connsiteX64512" fmla="*/ 3393801 w 6884782"/>
              <a:gd name="connsiteY64512" fmla="*/ 963587 h 5973007"/>
              <a:gd name="connsiteX64513" fmla="*/ 3395722 w 6884782"/>
              <a:gd name="connsiteY64513" fmla="*/ 957897 h 5973007"/>
              <a:gd name="connsiteX64514" fmla="*/ 3398282 w 6884782"/>
              <a:gd name="connsiteY64514" fmla="*/ 955478 h 5973007"/>
              <a:gd name="connsiteX64515" fmla="*/ 3398069 w 6884782"/>
              <a:gd name="connsiteY64515" fmla="*/ 954340 h 5973007"/>
              <a:gd name="connsiteX64516" fmla="*/ 3399990 w 6884782"/>
              <a:gd name="connsiteY64516" fmla="*/ 940682 h 5973007"/>
              <a:gd name="connsiteX64517" fmla="*/ 3408100 w 6884782"/>
              <a:gd name="connsiteY64517" fmla="*/ 942532 h 5973007"/>
              <a:gd name="connsiteX64518" fmla="*/ 3412155 w 6884782"/>
              <a:gd name="connsiteY64518" fmla="*/ 944239 h 5973007"/>
              <a:gd name="connsiteX64519" fmla="*/ 3413862 w 6884782"/>
              <a:gd name="connsiteY64519" fmla="*/ 939402 h 5973007"/>
              <a:gd name="connsiteX64520" fmla="*/ 3418771 w 6884782"/>
              <a:gd name="connsiteY64520" fmla="*/ 936699 h 5973007"/>
              <a:gd name="connsiteX64521" fmla="*/ 3420692 w 6884782"/>
              <a:gd name="connsiteY64521" fmla="*/ 941394 h 5973007"/>
              <a:gd name="connsiteX64522" fmla="*/ 3417917 w 6884782"/>
              <a:gd name="connsiteY64522" fmla="*/ 946942 h 5973007"/>
              <a:gd name="connsiteX64523" fmla="*/ 3417490 w 6884782"/>
              <a:gd name="connsiteY64523" fmla="*/ 947084 h 5973007"/>
              <a:gd name="connsiteX64524" fmla="*/ 3426240 w 6884782"/>
              <a:gd name="connsiteY64524" fmla="*/ 952348 h 5973007"/>
              <a:gd name="connsiteX64525" fmla="*/ 3429869 w 6884782"/>
              <a:gd name="connsiteY64525" fmla="*/ 948649 h 5973007"/>
              <a:gd name="connsiteX64526" fmla="*/ 3436271 w 6884782"/>
              <a:gd name="connsiteY64526" fmla="*/ 946800 h 5973007"/>
              <a:gd name="connsiteX64527" fmla="*/ 3422185 w 6884782"/>
              <a:gd name="connsiteY64527" fmla="*/ 964014 h 5973007"/>
              <a:gd name="connsiteX64528" fmla="*/ 3422612 w 6884782"/>
              <a:gd name="connsiteY64528" fmla="*/ 959177 h 5973007"/>
              <a:gd name="connsiteX64529" fmla="*/ 3423893 w 6884782"/>
              <a:gd name="connsiteY64529" fmla="*/ 955905 h 5973007"/>
              <a:gd name="connsiteX64530" fmla="*/ 3422826 w 6884782"/>
              <a:gd name="connsiteY64530" fmla="*/ 956332 h 5973007"/>
              <a:gd name="connsiteX64531" fmla="*/ 3415997 w 6884782"/>
              <a:gd name="connsiteY64531" fmla="*/ 957185 h 5973007"/>
              <a:gd name="connsiteX64532" fmla="*/ 3410661 w 6884782"/>
              <a:gd name="connsiteY64532" fmla="*/ 959604 h 5973007"/>
              <a:gd name="connsiteX64533" fmla="*/ 3414289 w 6884782"/>
              <a:gd name="connsiteY64533" fmla="*/ 973404 h 5973007"/>
              <a:gd name="connsiteX64534" fmla="*/ 3413649 w 6884782"/>
              <a:gd name="connsiteY64534" fmla="*/ 982367 h 5973007"/>
              <a:gd name="connsiteX64535" fmla="*/ 3417064 w 6884782"/>
              <a:gd name="connsiteY64535" fmla="*/ 981940 h 5973007"/>
              <a:gd name="connsiteX64536" fmla="*/ 3434137 w 6884782"/>
              <a:gd name="connsiteY64536" fmla="*/ 994175 h 5973007"/>
              <a:gd name="connsiteX64537" fmla="*/ 3432003 w 6884782"/>
              <a:gd name="connsiteY64537" fmla="*/ 1002996 h 5973007"/>
              <a:gd name="connsiteX64538" fmla="*/ 3410661 w 6884782"/>
              <a:gd name="connsiteY64538" fmla="*/ 1017222 h 5973007"/>
              <a:gd name="connsiteX64539" fmla="*/ 3399563 w 6884782"/>
              <a:gd name="connsiteY64539" fmla="*/ 1003138 h 5973007"/>
              <a:gd name="connsiteX64540" fmla="*/ 3398923 w 6884782"/>
              <a:gd name="connsiteY64540" fmla="*/ 991757 h 5973007"/>
              <a:gd name="connsiteX64541" fmla="*/ 3393160 w 6884782"/>
              <a:gd name="connsiteY64541" fmla="*/ 986066 h 5973007"/>
              <a:gd name="connsiteX64542" fmla="*/ 3389746 w 6884782"/>
              <a:gd name="connsiteY64542" fmla="*/ 986919 h 5973007"/>
              <a:gd name="connsiteX64543" fmla="*/ 3384624 w 6884782"/>
              <a:gd name="connsiteY64543" fmla="*/ 983647 h 5973007"/>
              <a:gd name="connsiteX64544" fmla="*/ 3385051 w 6884782"/>
              <a:gd name="connsiteY64544" fmla="*/ 982367 h 5973007"/>
              <a:gd name="connsiteX64545" fmla="*/ 3383557 w 6884782"/>
              <a:gd name="connsiteY64545" fmla="*/ 982224 h 5973007"/>
              <a:gd name="connsiteX64546" fmla="*/ 3379928 w 6884782"/>
              <a:gd name="connsiteY64546" fmla="*/ 979948 h 5973007"/>
              <a:gd name="connsiteX64547" fmla="*/ 3376941 w 6884782"/>
              <a:gd name="connsiteY64547" fmla="*/ 964299 h 5973007"/>
              <a:gd name="connsiteX64548" fmla="*/ 3387184 w 6884782"/>
              <a:gd name="connsiteY64548" fmla="*/ 958892 h 5973007"/>
              <a:gd name="connsiteX64549" fmla="*/ 3385904 w 6884782"/>
              <a:gd name="connsiteY64549" fmla="*/ 958892 h 5973007"/>
              <a:gd name="connsiteX64550" fmla="*/ 3373526 w 6884782"/>
              <a:gd name="connsiteY64550" fmla="*/ 941678 h 5973007"/>
              <a:gd name="connsiteX64551" fmla="*/ 3377154 w 6884782"/>
              <a:gd name="connsiteY64551" fmla="*/ 942959 h 5973007"/>
              <a:gd name="connsiteX64552" fmla="*/ 3378221 w 6884782"/>
              <a:gd name="connsiteY64552" fmla="*/ 944239 h 5973007"/>
              <a:gd name="connsiteX64553" fmla="*/ 3378648 w 6884782"/>
              <a:gd name="connsiteY64553" fmla="*/ 944381 h 5973007"/>
              <a:gd name="connsiteX64554" fmla="*/ 3376301 w 6884782"/>
              <a:gd name="connsiteY64554" fmla="*/ 940682 h 5973007"/>
              <a:gd name="connsiteX64555" fmla="*/ 3379501 w 6884782"/>
              <a:gd name="connsiteY64555" fmla="*/ 933711 h 5973007"/>
              <a:gd name="connsiteX64556" fmla="*/ 4827341 w 6884782"/>
              <a:gd name="connsiteY64556" fmla="*/ 932003 h 5973007"/>
              <a:gd name="connsiteX64557" fmla="*/ 4829903 w 6884782"/>
              <a:gd name="connsiteY64557" fmla="*/ 933853 h 5973007"/>
              <a:gd name="connsiteX64558" fmla="*/ 4826060 w 6884782"/>
              <a:gd name="connsiteY64558" fmla="*/ 937268 h 5973007"/>
              <a:gd name="connsiteX64559" fmla="*/ 4825207 w 6884782"/>
              <a:gd name="connsiteY64559" fmla="*/ 932715 h 5973007"/>
              <a:gd name="connsiteX64560" fmla="*/ 4827341 w 6884782"/>
              <a:gd name="connsiteY64560" fmla="*/ 932003 h 5973007"/>
              <a:gd name="connsiteX64561" fmla="*/ 1043404 w 6884782"/>
              <a:gd name="connsiteY64561" fmla="*/ 931878 h 5973007"/>
              <a:gd name="connsiteX64562" fmla="*/ 1044230 w 6884782"/>
              <a:gd name="connsiteY64562" fmla="*/ 931878 h 5973007"/>
              <a:gd name="connsiteX64563" fmla="*/ 1045056 w 6884782"/>
              <a:gd name="connsiteY64563" fmla="*/ 936835 h 5973007"/>
              <a:gd name="connsiteX64564" fmla="*/ 1045056 w 6884782"/>
              <a:gd name="connsiteY64564" fmla="*/ 941017 h 5973007"/>
              <a:gd name="connsiteX64565" fmla="*/ 1041339 w 6884782"/>
              <a:gd name="connsiteY64565" fmla="*/ 953874 h 5973007"/>
              <a:gd name="connsiteX64566" fmla="*/ 1040410 w 6884782"/>
              <a:gd name="connsiteY64566" fmla="*/ 947988 h 5973007"/>
              <a:gd name="connsiteX64567" fmla="*/ 1040720 w 6884782"/>
              <a:gd name="connsiteY64567" fmla="*/ 934822 h 5973007"/>
              <a:gd name="connsiteX64568" fmla="*/ 1042475 w 6884782"/>
              <a:gd name="connsiteY64568" fmla="*/ 933272 h 5973007"/>
              <a:gd name="connsiteX64569" fmla="*/ 1042475 w 6884782"/>
              <a:gd name="connsiteY64569" fmla="*/ 932498 h 5973007"/>
              <a:gd name="connsiteX64570" fmla="*/ 1043404 w 6884782"/>
              <a:gd name="connsiteY64570" fmla="*/ 931878 h 5973007"/>
              <a:gd name="connsiteX64571" fmla="*/ 4813896 w 6884782"/>
              <a:gd name="connsiteY64571" fmla="*/ 931434 h 5973007"/>
              <a:gd name="connsiteX64572" fmla="*/ 4817097 w 6884782"/>
              <a:gd name="connsiteY64572" fmla="*/ 935845 h 5973007"/>
              <a:gd name="connsiteX64573" fmla="*/ 4815176 w 6884782"/>
              <a:gd name="connsiteY64573" fmla="*/ 940824 h 5973007"/>
              <a:gd name="connsiteX64574" fmla="*/ 4812829 w 6884782"/>
              <a:gd name="connsiteY64574" fmla="*/ 942105 h 5973007"/>
              <a:gd name="connsiteX64575" fmla="*/ 4810694 w 6884782"/>
              <a:gd name="connsiteY64575" fmla="*/ 939687 h 5973007"/>
              <a:gd name="connsiteX64576" fmla="*/ 4811548 w 6884782"/>
              <a:gd name="connsiteY64576" fmla="*/ 932573 h 5973007"/>
              <a:gd name="connsiteX64577" fmla="*/ 4813896 w 6884782"/>
              <a:gd name="connsiteY64577" fmla="*/ 931434 h 5973007"/>
              <a:gd name="connsiteX64578" fmla="*/ 3332549 w 6884782"/>
              <a:gd name="connsiteY64578" fmla="*/ 931008 h 5973007"/>
              <a:gd name="connsiteX64579" fmla="*/ 3338738 w 6884782"/>
              <a:gd name="connsiteY64579" fmla="*/ 936130 h 5973007"/>
              <a:gd name="connsiteX64580" fmla="*/ 3331269 w 6884782"/>
              <a:gd name="connsiteY64580" fmla="*/ 940397 h 5973007"/>
              <a:gd name="connsiteX64581" fmla="*/ 3332549 w 6884782"/>
              <a:gd name="connsiteY64581" fmla="*/ 931008 h 5973007"/>
              <a:gd name="connsiteX64582" fmla="*/ 1452712 w 6884782"/>
              <a:gd name="connsiteY64582" fmla="*/ 930020 h 5973007"/>
              <a:gd name="connsiteX64583" fmla="*/ 1455809 w 6884782"/>
              <a:gd name="connsiteY64583" fmla="*/ 930174 h 5973007"/>
              <a:gd name="connsiteX64584" fmla="*/ 1457255 w 6884782"/>
              <a:gd name="connsiteY64584" fmla="*/ 932808 h 5973007"/>
              <a:gd name="connsiteX64585" fmla="*/ 1456326 w 6884782"/>
              <a:gd name="connsiteY64585" fmla="*/ 936061 h 5973007"/>
              <a:gd name="connsiteX64586" fmla="*/ 1449304 w 6884782"/>
              <a:gd name="connsiteY64586" fmla="*/ 933582 h 5973007"/>
              <a:gd name="connsiteX64587" fmla="*/ 1452712 w 6884782"/>
              <a:gd name="connsiteY64587" fmla="*/ 930020 h 5973007"/>
              <a:gd name="connsiteX64588" fmla="*/ 1285230 w 6884782"/>
              <a:gd name="connsiteY64588" fmla="*/ 929865 h 5973007"/>
              <a:gd name="connsiteX64589" fmla="*/ 1286573 w 6884782"/>
              <a:gd name="connsiteY64589" fmla="*/ 931569 h 5973007"/>
              <a:gd name="connsiteX64590" fmla="*/ 1287296 w 6884782"/>
              <a:gd name="connsiteY64590" fmla="*/ 931259 h 5973007"/>
              <a:gd name="connsiteX64591" fmla="*/ 1290083 w 6884782"/>
              <a:gd name="connsiteY64591" fmla="*/ 931569 h 5973007"/>
              <a:gd name="connsiteX64592" fmla="*/ 1290290 w 6884782"/>
              <a:gd name="connsiteY64592" fmla="*/ 931259 h 5973007"/>
              <a:gd name="connsiteX64593" fmla="*/ 1298964 w 6884782"/>
              <a:gd name="connsiteY64593" fmla="*/ 930949 h 5973007"/>
              <a:gd name="connsiteX64594" fmla="*/ 1301132 w 6884782"/>
              <a:gd name="connsiteY64594" fmla="*/ 940088 h 5973007"/>
              <a:gd name="connsiteX64595" fmla="*/ 1298447 w 6884782"/>
              <a:gd name="connsiteY64595" fmla="*/ 944425 h 5973007"/>
              <a:gd name="connsiteX64596" fmla="*/ 1295969 w 6884782"/>
              <a:gd name="connsiteY64596" fmla="*/ 945045 h 5973007"/>
              <a:gd name="connsiteX64597" fmla="*/ 1294110 w 6884782"/>
              <a:gd name="connsiteY64597" fmla="*/ 949846 h 5973007"/>
              <a:gd name="connsiteX64598" fmla="*/ 1289051 w 6884782"/>
              <a:gd name="connsiteY64598" fmla="*/ 952170 h 5973007"/>
              <a:gd name="connsiteX64599" fmla="*/ 1288018 w 6884782"/>
              <a:gd name="connsiteY64599" fmla="*/ 949846 h 5973007"/>
              <a:gd name="connsiteX64600" fmla="*/ 1290187 w 6884782"/>
              <a:gd name="connsiteY64600" fmla="*/ 944890 h 5973007"/>
              <a:gd name="connsiteX64601" fmla="*/ 1288018 w 6884782"/>
              <a:gd name="connsiteY64601" fmla="*/ 944116 h 5973007"/>
              <a:gd name="connsiteX64602" fmla="*/ 1285850 w 6884782"/>
              <a:gd name="connsiteY64602" fmla="*/ 941017 h 5973007"/>
              <a:gd name="connsiteX64603" fmla="*/ 1285850 w 6884782"/>
              <a:gd name="connsiteY64603" fmla="*/ 939778 h 5973007"/>
              <a:gd name="connsiteX64604" fmla="*/ 1284817 w 6884782"/>
              <a:gd name="connsiteY64604" fmla="*/ 939933 h 5973007"/>
              <a:gd name="connsiteX64605" fmla="*/ 1283578 w 6884782"/>
              <a:gd name="connsiteY64605" fmla="*/ 937455 h 5973007"/>
              <a:gd name="connsiteX64606" fmla="*/ 1281926 w 6884782"/>
              <a:gd name="connsiteY64606" fmla="*/ 936371 h 5973007"/>
              <a:gd name="connsiteX64607" fmla="*/ 1281513 w 6884782"/>
              <a:gd name="connsiteY64607" fmla="*/ 933738 h 5973007"/>
              <a:gd name="connsiteX64608" fmla="*/ 1283682 w 6884782"/>
              <a:gd name="connsiteY64608" fmla="*/ 932343 h 5973007"/>
              <a:gd name="connsiteX64609" fmla="*/ 1284095 w 6884782"/>
              <a:gd name="connsiteY64609" fmla="*/ 932188 h 5973007"/>
              <a:gd name="connsiteX64610" fmla="*/ 1283475 w 6884782"/>
              <a:gd name="connsiteY64610" fmla="*/ 930794 h 5973007"/>
              <a:gd name="connsiteX64611" fmla="*/ 1285230 w 6884782"/>
              <a:gd name="connsiteY64611" fmla="*/ 929865 h 5973007"/>
              <a:gd name="connsiteX64612" fmla="*/ 1490813 w 6884782"/>
              <a:gd name="connsiteY64612" fmla="*/ 929091 h 5973007"/>
              <a:gd name="connsiteX64613" fmla="*/ 1493911 w 6884782"/>
              <a:gd name="connsiteY64613" fmla="*/ 934357 h 5973007"/>
              <a:gd name="connsiteX64614" fmla="*/ 1487200 w 6884782"/>
              <a:gd name="connsiteY64614" fmla="*/ 933582 h 5973007"/>
              <a:gd name="connsiteX64615" fmla="*/ 1490813 w 6884782"/>
              <a:gd name="connsiteY64615" fmla="*/ 929091 h 5973007"/>
              <a:gd name="connsiteX64616" fmla="*/ 3859269 w 6884782"/>
              <a:gd name="connsiteY64616" fmla="*/ 924321 h 5973007"/>
              <a:gd name="connsiteX64617" fmla="*/ 3860123 w 6884782"/>
              <a:gd name="connsiteY64617" fmla="*/ 926882 h 5973007"/>
              <a:gd name="connsiteX64618" fmla="*/ 3859696 w 6884782"/>
              <a:gd name="connsiteY64618" fmla="*/ 930581 h 5973007"/>
              <a:gd name="connsiteX64619" fmla="*/ 3853720 w 6884782"/>
              <a:gd name="connsiteY64619" fmla="*/ 931719 h 5973007"/>
              <a:gd name="connsiteX64620" fmla="*/ 3852653 w 6884782"/>
              <a:gd name="connsiteY64620" fmla="*/ 929301 h 5973007"/>
              <a:gd name="connsiteX64621" fmla="*/ 3854361 w 6884782"/>
              <a:gd name="connsiteY64621" fmla="*/ 925459 h 5973007"/>
              <a:gd name="connsiteX64622" fmla="*/ 3859269 w 6884782"/>
              <a:gd name="connsiteY64622" fmla="*/ 924321 h 5973007"/>
              <a:gd name="connsiteX64623" fmla="*/ 1451473 w 6884782"/>
              <a:gd name="connsiteY64623" fmla="*/ 923359 h 5973007"/>
              <a:gd name="connsiteX64624" fmla="*/ 1446620 w 6884782"/>
              <a:gd name="connsiteY64624" fmla="*/ 932808 h 5973007"/>
              <a:gd name="connsiteX64625" fmla="*/ 1441354 w 6884782"/>
              <a:gd name="connsiteY64625" fmla="*/ 934667 h 5973007"/>
              <a:gd name="connsiteX64626" fmla="*/ 1440631 w 6884782"/>
              <a:gd name="connsiteY64626" fmla="*/ 932188 h 5973007"/>
              <a:gd name="connsiteX64627" fmla="*/ 1443419 w 6884782"/>
              <a:gd name="connsiteY64627" fmla="*/ 927077 h 5973007"/>
              <a:gd name="connsiteX64628" fmla="*/ 1451473 w 6884782"/>
              <a:gd name="connsiteY64628" fmla="*/ 923359 h 5973007"/>
              <a:gd name="connsiteX64629" fmla="*/ 3235230 w 6884782"/>
              <a:gd name="connsiteY64629" fmla="*/ 922898 h 5973007"/>
              <a:gd name="connsiteX64630" fmla="*/ 3240779 w 6884782"/>
              <a:gd name="connsiteY64630" fmla="*/ 931150 h 5973007"/>
              <a:gd name="connsiteX64631" fmla="*/ 3240138 w 6884782"/>
              <a:gd name="connsiteY64631" fmla="*/ 933284 h 5973007"/>
              <a:gd name="connsiteX64632" fmla="*/ 3235230 w 6884782"/>
              <a:gd name="connsiteY64632" fmla="*/ 922898 h 5973007"/>
              <a:gd name="connsiteX64633" fmla="*/ 4833957 w 6884782"/>
              <a:gd name="connsiteY64633" fmla="*/ 921192 h 5973007"/>
              <a:gd name="connsiteX64634" fmla="*/ 4839933 w 6884782"/>
              <a:gd name="connsiteY64634" fmla="*/ 923325 h 5973007"/>
              <a:gd name="connsiteX64635" fmla="*/ 4841640 w 6884782"/>
              <a:gd name="connsiteY64635" fmla="*/ 926171 h 5973007"/>
              <a:gd name="connsiteX64636" fmla="*/ 4841640 w 6884782"/>
              <a:gd name="connsiteY64636" fmla="*/ 928163 h 5973007"/>
              <a:gd name="connsiteX64637" fmla="*/ 4841640 w 6884782"/>
              <a:gd name="connsiteY64637" fmla="*/ 930581 h 5973007"/>
              <a:gd name="connsiteX64638" fmla="*/ 4830969 w 6884782"/>
              <a:gd name="connsiteY64638" fmla="*/ 932857 h 5973007"/>
              <a:gd name="connsiteX64639" fmla="*/ 4828622 w 6884782"/>
              <a:gd name="connsiteY64639" fmla="*/ 923041 h 5973007"/>
              <a:gd name="connsiteX64640" fmla="*/ 4830969 w 6884782"/>
              <a:gd name="connsiteY64640" fmla="*/ 921902 h 5973007"/>
              <a:gd name="connsiteX64641" fmla="*/ 4833957 w 6884782"/>
              <a:gd name="connsiteY64641" fmla="*/ 921192 h 5973007"/>
              <a:gd name="connsiteX64642" fmla="*/ 3591428 w 6884782"/>
              <a:gd name="connsiteY64642" fmla="*/ 920764 h 5973007"/>
              <a:gd name="connsiteX64643" fmla="*/ 3594842 w 6884782"/>
              <a:gd name="connsiteY64643" fmla="*/ 922756 h 5973007"/>
              <a:gd name="connsiteX64644" fmla="*/ 3594628 w 6884782"/>
              <a:gd name="connsiteY64644" fmla="*/ 927024 h 5973007"/>
              <a:gd name="connsiteX64645" fmla="*/ 3591001 w 6884782"/>
              <a:gd name="connsiteY64645" fmla="*/ 930581 h 5973007"/>
              <a:gd name="connsiteX64646" fmla="*/ 3586519 w 6884782"/>
              <a:gd name="connsiteY64646" fmla="*/ 928731 h 5973007"/>
              <a:gd name="connsiteX64647" fmla="*/ 3581610 w 6884782"/>
              <a:gd name="connsiteY64647" fmla="*/ 937979 h 5973007"/>
              <a:gd name="connsiteX64648" fmla="*/ 3569445 w 6884782"/>
              <a:gd name="connsiteY64648" fmla="*/ 950641 h 5973007"/>
              <a:gd name="connsiteX64649" fmla="*/ 3582464 w 6884782"/>
              <a:gd name="connsiteY64649" fmla="*/ 925459 h 5973007"/>
              <a:gd name="connsiteX64650" fmla="*/ 3585025 w 6884782"/>
              <a:gd name="connsiteY64650" fmla="*/ 924179 h 5973007"/>
              <a:gd name="connsiteX64651" fmla="*/ 3584812 w 6884782"/>
              <a:gd name="connsiteY64651" fmla="*/ 923610 h 5973007"/>
              <a:gd name="connsiteX64652" fmla="*/ 3591428 w 6884782"/>
              <a:gd name="connsiteY64652" fmla="*/ 920764 h 5973007"/>
              <a:gd name="connsiteX64653" fmla="*/ 3974089 w 6884782"/>
              <a:gd name="connsiteY64653" fmla="*/ 919484 h 5973007"/>
              <a:gd name="connsiteX64654" fmla="*/ 3983906 w 6884782"/>
              <a:gd name="connsiteY64654" fmla="*/ 937410 h 5973007"/>
              <a:gd name="connsiteX64655" fmla="*/ 3974303 w 6884782"/>
              <a:gd name="connsiteY64655" fmla="*/ 937979 h 5973007"/>
              <a:gd name="connsiteX64656" fmla="*/ 3974089 w 6884782"/>
              <a:gd name="connsiteY64656" fmla="*/ 919484 h 5973007"/>
              <a:gd name="connsiteX64657" fmla="*/ 3807835 w 6884782"/>
              <a:gd name="connsiteY64657" fmla="*/ 918630 h 5973007"/>
              <a:gd name="connsiteX64658" fmla="*/ 3796951 w 6884782"/>
              <a:gd name="connsiteY64658" fmla="*/ 949645 h 5973007"/>
              <a:gd name="connsiteX64659" fmla="*/ 3807835 w 6884782"/>
              <a:gd name="connsiteY64659" fmla="*/ 918630 h 5973007"/>
              <a:gd name="connsiteX64660" fmla="*/ 4471784 w 6884782"/>
              <a:gd name="connsiteY64660" fmla="*/ 918062 h 5973007"/>
              <a:gd name="connsiteX64661" fmla="*/ 4474131 w 6884782"/>
              <a:gd name="connsiteY64661" fmla="*/ 919200 h 5973007"/>
              <a:gd name="connsiteX64662" fmla="*/ 4472424 w 6884782"/>
              <a:gd name="connsiteY64662" fmla="*/ 927878 h 5973007"/>
              <a:gd name="connsiteX64663" fmla="*/ 4465808 w 6884782"/>
              <a:gd name="connsiteY64663" fmla="*/ 920764 h 5973007"/>
              <a:gd name="connsiteX64664" fmla="*/ 4471784 w 6884782"/>
              <a:gd name="connsiteY64664" fmla="*/ 918062 h 5973007"/>
              <a:gd name="connsiteX64665" fmla="*/ 1435262 w 6884782"/>
              <a:gd name="connsiteY64665" fmla="*/ 917008 h 5973007"/>
              <a:gd name="connsiteX64666" fmla="*/ 1435778 w 6884782"/>
              <a:gd name="connsiteY64666" fmla="*/ 919797 h 5973007"/>
              <a:gd name="connsiteX64667" fmla="*/ 1431544 w 6884782"/>
              <a:gd name="connsiteY64667" fmla="*/ 918558 h 5973007"/>
              <a:gd name="connsiteX64668" fmla="*/ 1435262 w 6884782"/>
              <a:gd name="connsiteY64668" fmla="*/ 917008 h 5973007"/>
              <a:gd name="connsiteX64669" fmla="*/ 3830031 w 6884782"/>
              <a:gd name="connsiteY64669" fmla="*/ 916923 h 5973007"/>
              <a:gd name="connsiteX64670" fmla="*/ 3833872 w 6884782"/>
              <a:gd name="connsiteY64670" fmla="*/ 918915 h 5973007"/>
              <a:gd name="connsiteX64671" fmla="*/ 3835580 w 6884782"/>
              <a:gd name="connsiteY64671" fmla="*/ 923610 h 5973007"/>
              <a:gd name="connsiteX64672" fmla="*/ 3826616 w 6884782"/>
              <a:gd name="connsiteY64672" fmla="*/ 926455 h 5973007"/>
              <a:gd name="connsiteX64673" fmla="*/ 3826829 w 6884782"/>
              <a:gd name="connsiteY64673" fmla="*/ 919342 h 5973007"/>
              <a:gd name="connsiteX64674" fmla="*/ 3830031 w 6884782"/>
              <a:gd name="connsiteY64674" fmla="*/ 916923 h 5973007"/>
              <a:gd name="connsiteX64675" fmla="*/ 1507851 w 6884782"/>
              <a:gd name="connsiteY64675" fmla="*/ 915770 h 5973007"/>
              <a:gd name="connsiteX64676" fmla="*/ 1513736 w 6884782"/>
              <a:gd name="connsiteY64676" fmla="*/ 915924 h 5973007"/>
              <a:gd name="connsiteX64677" fmla="*/ 1522307 w 6884782"/>
              <a:gd name="connsiteY64677" fmla="*/ 929245 h 5973007"/>
              <a:gd name="connsiteX64678" fmla="*/ 1521481 w 6884782"/>
              <a:gd name="connsiteY64678" fmla="*/ 931259 h 5973007"/>
              <a:gd name="connsiteX64679" fmla="*/ 1521481 w 6884782"/>
              <a:gd name="connsiteY64679" fmla="*/ 935131 h 5973007"/>
              <a:gd name="connsiteX64680" fmla="*/ 1510123 w 6884782"/>
              <a:gd name="connsiteY64680" fmla="*/ 934822 h 5973007"/>
              <a:gd name="connsiteX64681" fmla="*/ 1501036 w 6884782"/>
              <a:gd name="connsiteY64681" fmla="*/ 925838 h 5973007"/>
              <a:gd name="connsiteX64682" fmla="*/ 1501139 w 6884782"/>
              <a:gd name="connsiteY64682" fmla="*/ 922585 h 5973007"/>
              <a:gd name="connsiteX64683" fmla="*/ 1507851 w 6884782"/>
              <a:gd name="connsiteY64683" fmla="*/ 915770 h 5973007"/>
              <a:gd name="connsiteX64684" fmla="*/ 3465510 w 6884782"/>
              <a:gd name="connsiteY64684" fmla="*/ 914078 h 5973007"/>
              <a:gd name="connsiteX64685" fmla="*/ 3463376 w 6884782"/>
              <a:gd name="connsiteY64685" fmla="*/ 925033 h 5973007"/>
              <a:gd name="connsiteX64686" fmla="*/ 3457186 w 6884782"/>
              <a:gd name="connsiteY64686" fmla="*/ 928589 h 5973007"/>
              <a:gd name="connsiteX64687" fmla="*/ 3446942 w 6884782"/>
              <a:gd name="connsiteY64687" fmla="*/ 926029 h 5973007"/>
              <a:gd name="connsiteX64688" fmla="*/ 3448863 w 6884782"/>
              <a:gd name="connsiteY64688" fmla="*/ 920053 h 5973007"/>
              <a:gd name="connsiteX64689" fmla="*/ 3465510 w 6884782"/>
              <a:gd name="connsiteY64689" fmla="*/ 914078 h 5973007"/>
              <a:gd name="connsiteX64690" fmla="*/ 1285024 w 6884782"/>
              <a:gd name="connsiteY64690" fmla="*/ 911742 h 5973007"/>
              <a:gd name="connsiteX64691" fmla="*/ 1280584 w 6884782"/>
              <a:gd name="connsiteY64691" fmla="*/ 923824 h 5973007"/>
              <a:gd name="connsiteX64692" fmla="*/ 1280171 w 6884782"/>
              <a:gd name="connsiteY64692" fmla="*/ 921345 h 5973007"/>
              <a:gd name="connsiteX64693" fmla="*/ 1285024 w 6884782"/>
              <a:gd name="connsiteY64693" fmla="*/ 911742 h 5973007"/>
              <a:gd name="connsiteX64694" fmla="*/ 1256628 w 6884782"/>
              <a:gd name="connsiteY64694" fmla="*/ 911742 h 5973007"/>
              <a:gd name="connsiteX64695" fmla="*/ 1254563 w 6884782"/>
              <a:gd name="connsiteY64695" fmla="*/ 921501 h 5973007"/>
              <a:gd name="connsiteX64696" fmla="*/ 1247026 w 6884782"/>
              <a:gd name="connsiteY64696" fmla="*/ 919177 h 5973007"/>
              <a:gd name="connsiteX64697" fmla="*/ 1247335 w 6884782"/>
              <a:gd name="connsiteY64697" fmla="*/ 912671 h 5973007"/>
              <a:gd name="connsiteX64698" fmla="*/ 1256628 w 6884782"/>
              <a:gd name="connsiteY64698" fmla="*/ 911742 h 5973007"/>
              <a:gd name="connsiteX64699" fmla="*/ 1373102 w 6884782"/>
              <a:gd name="connsiteY64699" fmla="*/ 910658 h 5973007"/>
              <a:gd name="connsiteX64700" fmla="*/ 1378058 w 6884782"/>
              <a:gd name="connsiteY64700" fmla="*/ 912826 h 5973007"/>
              <a:gd name="connsiteX64701" fmla="*/ 1374340 w 6884782"/>
              <a:gd name="connsiteY64701" fmla="*/ 921965 h 5973007"/>
              <a:gd name="connsiteX64702" fmla="*/ 1370004 w 6884782"/>
              <a:gd name="connsiteY64702" fmla="*/ 917318 h 5973007"/>
              <a:gd name="connsiteX64703" fmla="*/ 1369900 w 6884782"/>
              <a:gd name="connsiteY64703" fmla="*/ 916544 h 5973007"/>
              <a:gd name="connsiteX64704" fmla="*/ 1370520 w 6884782"/>
              <a:gd name="connsiteY64704" fmla="*/ 914685 h 5973007"/>
              <a:gd name="connsiteX64705" fmla="*/ 1373928 w 6884782"/>
              <a:gd name="connsiteY64705" fmla="*/ 911122 h 5973007"/>
              <a:gd name="connsiteX64706" fmla="*/ 1373102 w 6884782"/>
              <a:gd name="connsiteY64706" fmla="*/ 910658 h 5973007"/>
              <a:gd name="connsiteX64707" fmla="*/ 3305232 w 6884782"/>
              <a:gd name="connsiteY64707" fmla="*/ 909809 h 5973007"/>
              <a:gd name="connsiteX64708" fmla="*/ 3309713 w 6884782"/>
              <a:gd name="connsiteY64708" fmla="*/ 910379 h 5973007"/>
              <a:gd name="connsiteX64709" fmla="*/ 3313128 w 6884782"/>
              <a:gd name="connsiteY64709" fmla="*/ 919342 h 5973007"/>
              <a:gd name="connsiteX64710" fmla="*/ 3312915 w 6884782"/>
              <a:gd name="connsiteY64710" fmla="*/ 919769 h 5973007"/>
              <a:gd name="connsiteX64711" fmla="*/ 3313128 w 6884782"/>
              <a:gd name="connsiteY64711" fmla="*/ 919910 h 5973007"/>
              <a:gd name="connsiteX64712" fmla="*/ 3315049 w 6884782"/>
              <a:gd name="connsiteY64712" fmla="*/ 924037 h 5973007"/>
              <a:gd name="connsiteX64713" fmla="*/ 3312488 w 6884782"/>
              <a:gd name="connsiteY64713" fmla="*/ 928447 h 5973007"/>
              <a:gd name="connsiteX64714" fmla="*/ 3304164 w 6884782"/>
              <a:gd name="connsiteY64714" fmla="*/ 932003 h 5973007"/>
              <a:gd name="connsiteX64715" fmla="*/ 3302671 w 6884782"/>
              <a:gd name="connsiteY64715" fmla="*/ 927166 h 5973007"/>
              <a:gd name="connsiteX64716" fmla="*/ 3303737 w 6884782"/>
              <a:gd name="connsiteY64716" fmla="*/ 924179 h 5973007"/>
              <a:gd name="connsiteX64717" fmla="*/ 3302030 w 6884782"/>
              <a:gd name="connsiteY64717" fmla="*/ 923894 h 5973007"/>
              <a:gd name="connsiteX64718" fmla="*/ 3298829 w 6884782"/>
              <a:gd name="connsiteY64718" fmla="*/ 910094 h 5973007"/>
              <a:gd name="connsiteX64719" fmla="*/ 3305232 w 6884782"/>
              <a:gd name="connsiteY64719" fmla="*/ 909809 h 5973007"/>
              <a:gd name="connsiteX64720" fmla="*/ 1210989 w 6884782"/>
              <a:gd name="connsiteY64720" fmla="*/ 908489 h 5973007"/>
              <a:gd name="connsiteX64721" fmla="*/ 1225135 w 6884782"/>
              <a:gd name="connsiteY64721" fmla="*/ 930330 h 5973007"/>
              <a:gd name="connsiteX64722" fmla="*/ 1210989 w 6884782"/>
              <a:gd name="connsiteY64722" fmla="*/ 908489 h 5973007"/>
              <a:gd name="connsiteX64723" fmla="*/ 3139831 w 6884782"/>
              <a:gd name="connsiteY64723" fmla="*/ 907676 h 5973007"/>
              <a:gd name="connsiteX64724" fmla="*/ 3140471 w 6884782"/>
              <a:gd name="connsiteY64724" fmla="*/ 909809 h 5973007"/>
              <a:gd name="connsiteX64725" fmla="*/ 3139191 w 6884782"/>
              <a:gd name="connsiteY64725" fmla="*/ 912655 h 5973007"/>
              <a:gd name="connsiteX64726" fmla="*/ 3141752 w 6884782"/>
              <a:gd name="connsiteY64726" fmla="*/ 913651 h 5973007"/>
              <a:gd name="connsiteX64727" fmla="*/ 3141539 w 6884782"/>
              <a:gd name="connsiteY64727" fmla="*/ 910094 h 5973007"/>
              <a:gd name="connsiteX64728" fmla="*/ 3548317 w 6884782"/>
              <a:gd name="connsiteY64728" fmla="*/ 907534 h 5973007"/>
              <a:gd name="connsiteX64729" fmla="*/ 3517798 w 6884782"/>
              <a:gd name="connsiteY64729" fmla="*/ 931861 h 5973007"/>
              <a:gd name="connsiteX64730" fmla="*/ 3522066 w 6884782"/>
              <a:gd name="connsiteY64730" fmla="*/ 927878 h 5973007"/>
              <a:gd name="connsiteX64731" fmla="*/ 3521426 w 6884782"/>
              <a:gd name="connsiteY64731" fmla="*/ 928020 h 5973007"/>
              <a:gd name="connsiteX64732" fmla="*/ 3524627 w 6884782"/>
              <a:gd name="connsiteY64732" fmla="*/ 914362 h 5973007"/>
              <a:gd name="connsiteX64733" fmla="*/ 3532310 w 6884782"/>
              <a:gd name="connsiteY64733" fmla="*/ 918488 h 5973007"/>
              <a:gd name="connsiteX64734" fmla="*/ 3531883 w 6884782"/>
              <a:gd name="connsiteY64734" fmla="*/ 919057 h 5973007"/>
              <a:gd name="connsiteX64735" fmla="*/ 3538926 w 6884782"/>
              <a:gd name="connsiteY64735" fmla="*/ 912797 h 5973007"/>
              <a:gd name="connsiteX64736" fmla="*/ 3548317 w 6884782"/>
              <a:gd name="connsiteY64736" fmla="*/ 907534 h 5973007"/>
              <a:gd name="connsiteX64737" fmla="*/ 1310941 w 6884782"/>
              <a:gd name="connsiteY64737" fmla="*/ 907095 h 5973007"/>
              <a:gd name="connsiteX64738" fmla="*/ 1312490 w 6884782"/>
              <a:gd name="connsiteY64738" fmla="*/ 911277 h 5973007"/>
              <a:gd name="connsiteX64739" fmla="*/ 1310735 w 6884782"/>
              <a:gd name="connsiteY64739" fmla="*/ 913136 h 5973007"/>
              <a:gd name="connsiteX64740" fmla="*/ 1308566 w 6884782"/>
              <a:gd name="connsiteY64740" fmla="*/ 911277 h 5973007"/>
              <a:gd name="connsiteX64741" fmla="*/ 1307947 w 6884782"/>
              <a:gd name="connsiteY64741" fmla="*/ 908644 h 5973007"/>
              <a:gd name="connsiteX64742" fmla="*/ 1308979 w 6884782"/>
              <a:gd name="connsiteY64742" fmla="*/ 907715 h 5973007"/>
              <a:gd name="connsiteX64743" fmla="*/ 1310941 w 6884782"/>
              <a:gd name="connsiteY64743" fmla="*/ 907095 h 5973007"/>
              <a:gd name="connsiteX64744" fmla="*/ 1351004 w 6884782"/>
              <a:gd name="connsiteY64744" fmla="*/ 905701 h 5973007"/>
              <a:gd name="connsiteX64745" fmla="*/ 1351108 w 6884782"/>
              <a:gd name="connsiteY64745" fmla="*/ 906321 h 5973007"/>
              <a:gd name="connsiteX64746" fmla="*/ 1351211 w 6884782"/>
              <a:gd name="connsiteY64746" fmla="*/ 906321 h 5973007"/>
              <a:gd name="connsiteX64747" fmla="*/ 3616825 w 6884782"/>
              <a:gd name="connsiteY64747" fmla="*/ 904830 h 5973007"/>
              <a:gd name="connsiteX64748" fmla="*/ 3620026 w 6884782"/>
              <a:gd name="connsiteY64748" fmla="*/ 908387 h 5973007"/>
              <a:gd name="connsiteX64749" fmla="*/ 3619385 w 6884782"/>
              <a:gd name="connsiteY64749" fmla="*/ 910236 h 5973007"/>
              <a:gd name="connsiteX64750" fmla="*/ 3618958 w 6884782"/>
              <a:gd name="connsiteY64750" fmla="*/ 912086 h 5973007"/>
              <a:gd name="connsiteX64751" fmla="*/ 3620879 w 6884782"/>
              <a:gd name="connsiteY64751" fmla="*/ 913082 h 5973007"/>
              <a:gd name="connsiteX64752" fmla="*/ 3623867 w 6884782"/>
              <a:gd name="connsiteY64752" fmla="*/ 913366 h 5973007"/>
              <a:gd name="connsiteX64753" fmla="*/ 3624934 w 6884782"/>
              <a:gd name="connsiteY64753" fmla="*/ 914504 h 5973007"/>
              <a:gd name="connsiteX64754" fmla="*/ 3628136 w 6884782"/>
              <a:gd name="connsiteY64754" fmla="*/ 912655 h 5973007"/>
              <a:gd name="connsiteX64755" fmla="*/ 3635819 w 6884782"/>
              <a:gd name="connsiteY64755" fmla="*/ 918203 h 5973007"/>
              <a:gd name="connsiteX64756" fmla="*/ 3625361 w 6884782"/>
              <a:gd name="connsiteY64756" fmla="*/ 918488 h 5973007"/>
              <a:gd name="connsiteX64757" fmla="*/ 3625361 w 6884782"/>
              <a:gd name="connsiteY64757" fmla="*/ 918345 h 5973007"/>
              <a:gd name="connsiteX64758" fmla="*/ 3624721 w 6884782"/>
              <a:gd name="connsiteY64758" fmla="*/ 919484 h 5973007"/>
              <a:gd name="connsiteX64759" fmla="*/ 3620666 w 6884782"/>
              <a:gd name="connsiteY64759" fmla="*/ 922187 h 5973007"/>
              <a:gd name="connsiteX64760" fmla="*/ 3617038 w 6884782"/>
              <a:gd name="connsiteY64760" fmla="*/ 916923 h 5973007"/>
              <a:gd name="connsiteX64761" fmla="*/ 3618318 w 6884782"/>
              <a:gd name="connsiteY64761" fmla="*/ 912228 h 5973007"/>
              <a:gd name="connsiteX64762" fmla="*/ 3617465 w 6884782"/>
              <a:gd name="connsiteY64762" fmla="*/ 912371 h 5973007"/>
              <a:gd name="connsiteX64763" fmla="*/ 3617891 w 6884782"/>
              <a:gd name="connsiteY64763" fmla="*/ 911517 h 5973007"/>
              <a:gd name="connsiteX64764" fmla="*/ 3613410 w 6884782"/>
              <a:gd name="connsiteY64764" fmla="*/ 910094 h 5973007"/>
              <a:gd name="connsiteX64765" fmla="*/ 3616825 w 6884782"/>
              <a:gd name="connsiteY64765" fmla="*/ 904830 h 5973007"/>
              <a:gd name="connsiteX64766" fmla="*/ 4654685 w 6884782"/>
              <a:gd name="connsiteY64766" fmla="*/ 904119 h 5973007"/>
              <a:gd name="connsiteX64767" fmla="*/ 4661514 w 6884782"/>
              <a:gd name="connsiteY64767" fmla="*/ 907249 h 5973007"/>
              <a:gd name="connsiteX64768" fmla="*/ 4665142 w 6884782"/>
              <a:gd name="connsiteY64768" fmla="*/ 911233 h 5973007"/>
              <a:gd name="connsiteX64769" fmla="*/ 4661728 w 6884782"/>
              <a:gd name="connsiteY64769" fmla="*/ 928731 h 5973007"/>
              <a:gd name="connsiteX64770" fmla="*/ 4659167 w 6884782"/>
              <a:gd name="connsiteY64770" fmla="*/ 931150 h 5973007"/>
              <a:gd name="connsiteX64771" fmla="*/ 4656392 w 6884782"/>
              <a:gd name="connsiteY64771" fmla="*/ 935845 h 5973007"/>
              <a:gd name="connsiteX64772" fmla="*/ 4643160 w 6884782"/>
              <a:gd name="connsiteY64772" fmla="*/ 929585 h 5973007"/>
              <a:gd name="connsiteX64773" fmla="*/ 4641666 w 6884782"/>
              <a:gd name="connsiteY64773" fmla="*/ 909241 h 5973007"/>
              <a:gd name="connsiteX64774" fmla="*/ 4654685 w 6884782"/>
              <a:gd name="connsiteY64774" fmla="*/ 904119 h 5973007"/>
              <a:gd name="connsiteX64775" fmla="*/ 4760967 w 6884782"/>
              <a:gd name="connsiteY64775" fmla="*/ 903977 h 5973007"/>
              <a:gd name="connsiteX64776" fmla="*/ 4768864 w 6884782"/>
              <a:gd name="connsiteY64776" fmla="*/ 905542 h 5973007"/>
              <a:gd name="connsiteX64777" fmla="*/ 4746242 w 6884782"/>
              <a:gd name="connsiteY64777" fmla="*/ 924464 h 5973007"/>
              <a:gd name="connsiteX64778" fmla="*/ 4743894 w 6884782"/>
              <a:gd name="connsiteY64778" fmla="*/ 919057 h 5973007"/>
              <a:gd name="connsiteX64779" fmla="*/ 4760967 w 6884782"/>
              <a:gd name="connsiteY64779" fmla="*/ 903977 h 5973007"/>
              <a:gd name="connsiteX64780" fmla="*/ 1408622 w 6884782"/>
              <a:gd name="connsiteY64780" fmla="*/ 902138 h 5973007"/>
              <a:gd name="connsiteX64781" fmla="*/ 1417811 w 6884782"/>
              <a:gd name="connsiteY64781" fmla="*/ 909264 h 5973007"/>
              <a:gd name="connsiteX64782" fmla="*/ 1419980 w 6884782"/>
              <a:gd name="connsiteY64782" fmla="*/ 920416 h 5973007"/>
              <a:gd name="connsiteX64783" fmla="*/ 1422561 w 6884782"/>
              <a:gd name="connsiteY64783" fmla="*/ 920416 h 5973007"/>
              <a:gd name="connsiteX64784" fmla="*/ 1423284 w 6884782"/>
              <a:gd name="connsiteY64784" fmla="*/ 923979 h 5973007"/>
              <a:gd name="connsiteX64785" fmla="*/ 1421942 w 6884782"/>
              <a:gd name="connsiteY64785" fmla="*/ 925838 h 5973007"/>
              <a:gd name="connsiteX64786" fmla="*/ 1427208 w 6884782"/>
              <a:gd name="connsiteY64786" fmla="*/ 926302 h 5973007"/>
              <a:gd name="connsiteX64787" fmla="*/ 1420599 w 6884782"/>
              <a:gd name="connsiteY64787" fmla="*/ 935286 h 5973007"/>
              <a:gd name="connsiteX64788" fmla="*/ 1417811 w 6884782"/>
              <a:gd name="connsiteY64788" fmla="*/ 932498 h 5973007"/>
              <a:gd name="connsiteX64789" fmla="*/ 1417811 w 6884782"/>
              <a:gd name="connsiteY64789" fmla="*/ 933118 h 5973007"/>
              <a:gd name="connsiteX64790" fmla="*/ 1413474 w 6884782"/>
              <a:gd name="connsiteY64790" fmla="*/ 929865 h 5973007"/>
              <a:gd name="connsiteX64791" fmla="*/ 1412235 w 6884782"/>
              <a:gd name="connsiteY64791" fmla="*/ 929555 h 5973007"/>
              <a:gd name="connsiteX64792" fmla="*/ 1408208 w 6884782"/>
              <a:gd name="connsiteY64792" fmla="*/ 928006 h 5973007"/>
              <a:gd name="connsiteX64793" fmla="*/ 1409654 w 6884782"/>
              <a:gd name="connsiteY64793" fmla="*/ 924134 h 5973007"/>
              <a:gd name="connsiteX64794" fmla="*/ 1409138 w 6884782"/>
              <a:gd name="connsiteY64794" fmla="*/ 923359 h 5973007"/>
              <a:gd name="connsiteX64795" fmla="*/ 1407279 w 6884782"/>
              <a:gd name="connsiteY64795" fmla="*/ 912206 h 5973007"/>
              <a:gd name="connsiteX64796" fmla="*/ 1412855 w 6884782"/>
              <a:gd name="connsiteY64796" fmla="*/ 916389 h 5973007"/>
              <a:gd name="connsiteX64797" fmla="*/ 1415850 w 6884782"/>
              <a:gd name="connsiteY64797" fmla="*/ 920881 h 5973007"/>
              <a:gd name="connsiteX64798" fmla="*/ 1418431 w 6884782"/>
              <a:gd name="connsiteY64798" fmla="*/ 920571 h 5973007"/>
              <a:gd name="connsiteX64799" fmla="*/ 1414610 w 6884782"/>
              <a:gd name="connsiteY64799" fmla="*/ 918093 h 5973007"/>
              <a:gd name="connsiteX64800" fmla="*/ 1408622 w 6884782"/>
              <a:gd name="connsiteY64800" fmla="*/ 902138 h 5973007"/>
              <a:gd name="connsiteX64801" fmla="*/ 1530258 w 6884782"/>
              <a:gd name="connsiteY64801" fmla="*/ 899970 h 5973007"/>
              <a:gd name="connsiteX64802" fmla="*/ 1527882 w 6884782"/>
              <a:gd name="connsiteY64802" fmla="*/ 910193 h 5973007"/>
              <a:gd name="connsiteX64803" fmla="*/ 1526334 w 6884782"/>
              <a:gd name="connsiteY64803" fmla="*/ 909418 h 5973007"/>
              <a:gd name="connsiteX64804" fmla="*/ 1526437 w 6884782"/>
              <a:gd name="connsiteY64804" fmla="*/ 911277 h 5973007"/>
              <a:gd name="connsiteX64805" fmla="*/ 1525921 w 6884782"/>
              <a:gd name="connsiteY64805" fmla="*/ 914066 h 5973007"/>
              <a:gd name="connsiteX64806" fmla="*/ 1519726 w 6884782"/>
              <a:gd name="connsiteY64806" fmla="*/ 914685 h 5973007"/>
              <a:gd name="connsiteX64807" fmla="*/ 1517763 w 6884782"/>
              <a:gd name="connsiteY64807" fmla="*/ 912671 h 5973007"/>
              <a:gd name="connsiteX64808" fmla="*/ 1516214 w 6884782"/>
              <a:gd name="connsiteY64808" fmla="*/ 907715 h 5973007"/>
              <a:gd name="connsiteX64809" fmla="*/ 1515492 w 6884782"/>
              <a:gd name="connsiteY64809" fmla="*/ 907870 h 5973007"/>
              <a:gd name="connsiteX64810" fmla="*/ 1519726 w 6884782"/>
              <a:gd name="connsiteY64810" fmla="*/ 905391 h 5973007"/>
              <a:gd name="connsiteX64811" fmla="*/ 1520345 w 6884782"/>
              <a:gd name="connsiteY64811" fmla="*/ 905546 h 5973007"/>
              <a:gd name="connsiteX64812" fmla="*/ 1519726 w 6884782"/>
              <a:gd name="connsiteY64812" fmla="*/ 905082 h 5973007"/>
              <a:gd name="connsiteX64813" fmla="*/ 1523546 w 6884782"/>
              <a:gd name="connsiteY64813" fmla="*/ 900435 h 5973007"/>
              <a:gd name="connsiteX64814" fmla="*/ 1530258 w 6884782"/>
              <a:gd name="connsiteY64814" fmla="*/ 899970 h 5973007"/>
              <a:gd name="connsiteX64815" fmla="*/ 3485998 w 6884782"/>
              <a:gd name="connsiteY64815" fmla="*/ 899140 h 5973007"/>
              <a:gd name="connsiteX64816" fmla="*/ 3489626 w 6884782"/>
              <a:gd name="connsiteY64816" fmla="*/ 907107 h 5973007"/>
              <a:gd name="connsiteX64817" fmla="*/ 3487492 w 6884782"/>
              <a:gd name="connsiteY64817" fmla="*/ 910094 h 5973007"/>
              <a:gd name="connsiteX64818" fmla="*/ 3484931 w 6884782"/>
              <a:gd name="connsiteY64818" fmla="*/ 911233 h 5973007"/>
              <a:gd name="connsiteX64819" fmla="*/ 3482583 w 6884782"/>
              <a:gd name="connsiteY64819" fmla="*/ 910521 h 5973007"/>
              <a:gd name="connsiteX64820" fmla="*/ 3483010 w 6884782"/>
              <a:gd name="connsiteY64820" fmla="*/ 912228 h 5973007"/>
              <a:gd name="connsiteX64821" fmla="*/ 3479169 w 6884782"/>
              <a:gd name="connsiteY64821" fmla="*/ 912940 h 5973007"/>
              <a:gd name="connsiteX64822" fmla="*/ 3478742 w 6884782"/>
              <a:gd name="connsiteY64822" fmla="*/ 912228 h 5973007"/>
              <a:gd name="connsiteX64823" fmla="*/ 3474260 w 6884782"/>
              <a:gd name="connsiteY64823" fmla="*/ 915216 h 5973007"/>
              <a:gd name="connsiteX64824" fmla="*/ 3461668 w 6884782"/>
              <a:gd name="connsiteY64824" fmla="*/ 905257 h 5973007"/>
              <a:gd name="connsiteX64825" fmla="*/ 3470205 w 6884782"/>
              <a:gd name="connsiteY64825" fmla="*/ 901558 h 5973007"/>
              <a:gd name="connsiteX64826" fmla="*/ 3478102 w 6884782"/>
              <a:gd name="connsiteY64826" fmla="*/ 906111 h 5973007"/>
              <a:gd name="connsiteX64827" fmla="*/ 3478955 w 6884782"/>
              <a:gd name="connsiteY64827" fmla="*/ 910094 h 5973007"/>
              <a:gd name="connsiteX64828" fmla="*/ 3481303 w 6884782"/>
              <a:gd name="connsiteY64828" fmla="*/ 908814 h 5973007"/>
              <a:gd name="connsiteX64829" fmla="*/ 3480236 w 6884782"/>
              <a:gd name="connsiteY64829" fmla="*/ 905684 h 5973007"/>
              <a:gd name="connsiteX64830" fmla="*/ 3482370 w 6884782"/>
              <a:gd name="connsiteY64830" fmla="*/ 899851 h 5973007"/>
              <a:gd name="connsiteX64831" fmla="*/ 3485998 w 6884782"/>
              <a:gd name="connsiteY64831" fmla="*/ 899140 h 5973007"/>
              <a:gd name="connsiteX64832" fmla="*/ 1359059 w 6884782"/>
              <a:gd name="connsiteY64832" fmla="*/ 897085 h 5973007"/>
              <a:gd name="connsiteX64833" fmla="*/ 1365461 w 6884782"/>
              <a:gd name="connsiteY64833" fmla="*/ 899505 h 5973007"/>
              <a:gd name="connsiteX64834" fmla="*/ 1368352 w 6884782"/>
              <a:gd name="connsiteY64834" fmla="*/ 903223 h 5973007"/>
              <a:gd name="connsiteX64835" fmla="*/ 1366906 w 6884782"/>
              <a:gd name="connsiteY64835" fmla="*/ 909264 h 5973007"/>
              <a:gd name="connsiteX64836" fmla="*/ 1363912 w 6884782"/>
              <a:gd name="connsiteY64836" fmla="*/ 911277 h 5973007"/>
              <a:gd name="connsiteX64837" fmla="*/ 1365254 w 6884782"/>
              <a:gd name="connsiteY64837" fmla="*/ 913136 h 5973007"/>
              <a:gd name="connsiteX64838" fmla="*/ 1358956 w 6884782"/>
              <a:gd name="connsiteY64838" fmla="*/ 926302 h 5973007"/>
              <a:gd name="connsiteX64839" fmla="*/ 1356580 w 6884782"/>
              <a:gd name="connsiteY64839" fmla="*/ 926612 h 5973007"/>
              <a:gd name="connsiteX64840" fmla="*/ 1353276 w 6884782"/>
              <a:gd name="connsiteY64840" fmla="*/ 928316 h 5973007"/>
              <a:gd name="connsiteX64841" fmla="*/ 1346358 w 6884782"/>
              <a:gd name="connsiteY64841" fmla="*/ 919177 h 5973007"/>
              <a:gd name="connsiteX64842" fmla="*/ 1345119 w 6884782"/>
              <a:gd name="connsiteY64842" fmla="*/ 913911 h 5973007"/>
              <a:gd name="connsiteX64843" fmla="*/ 1345326 w 6884782"/>
              <a:gd name="connsiteY64843" fmla="*/ 912826 h 5973007"/>
              <a:gd name="connsiteX64844" fmla="*/ 1345119 w 6884782"/>
              <a:gd name="connsiteY64844" fmla="*/ 913136 h 5973007"/>
              <a:gd name="connsiteX64845" fmla="*/ 1339543 w 6884782"/>
              <a:gd name="connsiteY64845" fmla="*/ 916544 h 5973007"/>
              <a:gd name="connsiteX64846" fmla="*/ 1340163 w 6884782"/>
              <a:gd name="connsiteY64846" fmla="*/ 913911 h 5973007"/>
              <a:gd name="connsiteX64847" fmla="*/ 1341092 w 6884782"/>
              <a:gd name="connsiteY64847" fmla="*/ 912981 h 5973007"/>
              <a:gd name="connsiteX64848" fmla="*/ 1340989 w 6884782"/>
              <a:gd name="connsiteY64848" fmla="*/ 912206 h 5973007"/>
              <a:gd name="connsiteX64849" fmla="*/ 1341918 w 6884782"/>
              <a:gd name="connsiteY64849" fmla="*/ 912052 h 5973007"/>
              <a:gd name="connsiteX64850" fmla="*/ 1343467 w 6884782"/>
              <a:gd name="connsiteY64850" fmla="*/ 910038 h 5973007"/>
              <a:gd name="connsiteX64851" fmla="*/ 1345738 w 6884782"/>
              <a:gd name="connsiteY64851" fmla="*/ 904772 h 5973007"/>
              <a:gd name="connsiteX64852" fmla="*/ 1350798 w 6884782"/>
              <a:gd name="connsiteY64852" fmla="*/ 900589 h 5973007"/>
              <a:gd name="connsiteX64853" fmla="*/ 1352554 w 6884782"/>
              <a:gd name="connsiteY64853" fmla="*/ 902138 h 5973007"/>
              <a:gd name="connsiteX64854" fmla="*/ 1354206 w 6884782"/>
              <a:gd name="connsiteY64854" fmla="*/ 900125 h 5973007"/>
              <a:gd name="connsiteX64855" fmla="*/ 1359059 w 6884782"/>
              <a:gd name="connsiteY64855" fmla="*/ 897085 h 5973007"/>
              <a:gd name="connsiteX64856" fmla="*/ 4676454 w 6884782"/>
              <a:gd name="connsiteY64856" fmla="*/ 896863 h 5973007"/>
              <a:gd name="connsiteX64857" fmla="*/ 4680509 w 6884782"/>
              <a:gd name="connsiteY64857" fmla="*/ 901558 h 5973007"/>
              <a:gd name="connsiteX64858" fmla="*/ 4677094 w 6884782"/>
              <a:gd name="connsiteY64858" fmla="*/ 911233 h 5973007"/>
              <a:gd name="connsiteX64859" fmla="*/ 4669411 w 6884782"/>
              <a:gd name="connsiteY64859" fmla="*/ 908671 h 5973007"/>
              <a:gd name="connsiteX64860" fmla="*/ 4668557 w 6884782"/>
              <a:gd name="connsiteY64860" fmla="*/ 905115 h 5973007"/>
              <a:gd name="connsiteX64861" fmla="*/ 4670478 w 6884782"/>
              <a:gd name="connsiteY64861" fmla="*/ 898002 h 5973007"/>
              <a:gd name="connsiteX64862" fmla="*/ 4669411 w 6884782"/>
              <a:gd name="connsiteY64862" fmla="*/ 898002 h 5973007"/>
              <a:gd name="connsiteX64863" fmla="*/ 4676454 w 6884782"/>
              <a:gd name="connsiteY64863" fmla="*/ 896863 h 5973007"/>
              <a:gd name="connsiteX64864" fmla="*/ 3994364 w 6884782"/>
              <a:gd name="connsiteY64864" fmla="*/ 895868 h 5973007"/>
              <a:gd name="connsiteX64865" fmla="*/ 3996925 w 6884782"/>
              <a:gd name="connsiteY64865" fmla="*/ 902697 h 5973007"/>
              <a:gd name="connsiteX64866" fmla="*/ 3983266 w 6884782"/>
              <a:gd name="connsiteY64866" fmla="*/ 907676 h 5973007"/>
              <a:gd name="connsiteX64867" fmla="*/ 3981345 w 6884782"/>
              <a:gd name="connsiteY64867" fmla="*/ 903123 h 5973007"/>
              <a:gd name="connsiteX64868" fmla="*/ 3994364 w 6884782"/>
              <a:gd name="connsiteY64868" fmla="*/ 895868 h 5973007"/>
              <a:gd name="connsiteX64869" fmla="*/ 1441664 w 6884782"/>
              <a:gd name="connsiteY64869" fmla="*/ 893619 h 5973007"/>
              <a:gd name="connsiteX64870" fmla="*/ 1435985 w 6884782"/>
              <a:gd name="connsiteY64870" fmla="*/ 905391 h 5973007"/>
              <a:gd name="connsiteX64871" fmla="*/ 1435778 w 6884782"/>
              <a:gd name="connsiteY64871" fmla="*/ 902913 h 5973007"/>
              <a:gd name="connsiteX64872" fmla="*/ 1441664 w 6884782"/>
              <a:gd name="connsiteY64872" fmla="*/ 893619 h 5973007"/>
              <a:gd name="connsiteX64873" fmla="*/ 3554506 w 6884782"/>
              <a:gd name="connsiteY64873" fmla="*/ 893449 h 5973007"/>
              <a:gd name="connsiteX64874" fmla="*/ 3559841 w 6884782"/>
              <a:gd name="connsiteY64874" fmla="*/ 893733 h 5973007"/>
              <a:gd name="connsiteX64875" fmla="*/ 3567311 w 6884782"/>
              <a:gd name="connsiteY64875" fmla="*/ 899424 h 5973007"/>
              <a:gd name="connsiteX64876" fmla="*/ 3555146 w 6884782"/>
              <a:gd name="connsiteY64876" fmla="*/ 913082 h 5973007"/>
              <a:gd name="connsiteX64877" fmla="*/ 3547890 w 6884782"/>
              <a:gd name="connsiteY64877" fmla="*/ 905684 h 5973007"/>
              <a:gd name="connsiteX64878" fmla="*/ 3554506 w 6884782"/>
              <a:gd name="connsiteY64878" fmla="*/ 893449 h 5973007"/>
              <a:gd name="connsiteX64879" fmla="*/ 1365151 w 6884782"/>
              <a:gd name="connsiteY64879" fmla="*/ 891450 h 5973007"/>
              <a:gd name="connsiteX64880" fmla="*/ 1363602 w 6884782"/>
              <a:gd name="connsiteY64880" fmla="*/ 897647 h 5973007"/>
              <a:gd name="connsiteX64881" fmla="*/ 1365151 w 6884782"/>
              <a:gd name="connsiteY64881" fmla="*/ 891450 h 5973007"/>
              <a:gd name="connsiteX64882" fmla="*/ 3150715 w 6884782"/>
              <a:gd name="connsiteY64882" fmla="*/ 890461 h 5973007"/>
              <a:gd name="connsiteX64883" fmla="*/ 3153063 w 6884782"/>
              <a:gd name="connsiteY64883" fmla="*/ 901416 h 5973007"/>
              <a:gd name="connsiteX64884" fmla="*/ 3151356 w 6884782"/>
              <a:gd name="connsiteY64884" fmla="*/ 903692 h 5973007"/>
              <a:gd name="connsiteX64885" fmla="*/ 3148581 w 6884782"/>
              <a:gd name="connsiteY64885" fmla="*/ 901985 h 5973007"/>
              <a:gd name="connsiteX64886" fmla="*/ 3150715 w 6884782"/>
              <a:gd name="connsiteY64886" fmla="*/ 890461 h 5973007"/>
              <a:gd name="connsiteX64887" fmla="*/ 4153575 w 6884782"/>
              <a:gd name="connsiteY64887" fmla="*/ 889750 h 5973007"/>
              <a:gd name="connsiteX64888" fmla="*/ 4157630 w 6884782"/>
              <a:gd name="connsiteY64888" fmla="*/ 890603 h 5973007"/>
              <a:gd name="connsiteX64889" fmla="*/ 4153362 w 6884782"/>
              <a:gd name="connsiteY64889" fmla="*/ 899140 h 5973007"/>
              <a:gd name="connsiteX64890" fmla="*/ 4149947 w 6884782"/>
              <a:gd name="connsiteY64890" fmla="*/ 890603 h 5973007"/>
              <a:gd name="connsiteX64891" fmla="*/ 4153575 w 6884782"/>
              <a:gd name="connsiteY64891" fmla="*/ 889750 h 5973007"/>
              <a:gd name="connsiteX64892" fmla="*/ 1287915 w 6884782"/>
              <a:gd name="connsiteY64892" fmla="*/ 887733 h 5973007"/>
              <a:gd name="connsiteX64893" fmla="*/ 1289877 w 6884782"/>
              <a:gd name="connsiteY64893" fmla="*/ 892380 h 5973007"/>
              <a:gd name="connsiteX64894" fmla="*/ 1286573 w 6884782"/>
              <a:gd name="connsiteY64894" fmla="*/ 894549 h 5973007"/>
              <a:gd name="connsiteX64895" fmla="*/ 1284507 w 6884782"/>
              <a:gd name="connsiteY64895" fmla="*/ 889747 h 5973007"/>
              <a:gd name="connsiteX64896" fmla="*/ 1287915 w 6884782"/>
              <a:gd name="connsiteY64896" fmla="*/ 887733 h 5973007"/>
              <a:gd name="connsiteX64897" fmla="*/ 1187137 w 6884782"/>
              <a:gd name="connsiteY64897" fmla="*/ 886649 h 5973007"/>
              <a:gd name="connsiteX64898" fmla="*/ 1201799 w 6884782"/>
              <a:gd name="connsiteY64898" fmla="*/ 897647 h 5973007"/>
              <a:gd name="connsiteX64899" fmla="*/ 1187034 w 6884782"/>
              <a:gd name="connsiteY64899" fmla="*/ 892225 h 5973007"/>
              <a:gd name="connsiteX64900" fmla="*/ 1187137 w 6884782"/>
              <a:gd name="connsiteY64900" fmla="*/ 886649 h 5973007"/>
              <a:gd name="connsiteX64901" fmla="*/ 3487065 w 6884782"/>
              <a:gd name="connsiteY64901" fmla="*/ 886051 h 5973007"/>
              <a:gd name="connsiteX64902" fmla="*/ 3496669 w 6884782"/>
              <a:gd name="connsiteY64902" fmla="*/ 890461 h 5973007"/>
              <a:gd name="connsiteX64903" fmla="*/ 3487065 w 6884782"/>
              <a:gd name="connsiteY64903" fmla="*/ 886051 h 5973007"/>
              <a:gd name="connsiteX64904" fmla="*/ 3219010 w 6884782"/>
              <a:gd name="connsiteY64904" fmla="*/ 885624 h 5973007"/>
              <a:gd name="connsiteX64905" fmla="*/ 3212607 w 6884782"/>
              <a:gd name="connsiteY64905" fmla="*/ 892737 h 5973007"/>
              <a:gd name="connsiteX64906" fmla="*/ 3205778 w 6884782"/>
              <a:gd name="connsiteY64906" fmla="*/ 898002 h 5973007"/>
              <a:gd name="connsiteX64907" fmla="*/ 3211967 w 6884782"/>
              <a:gd name="connsiteY64907" fmla="*/ 903265 h 5973007"/>
              <a:gd name="connsiteX64908" fmla="*/ 3221144 w 6884782"/>
              <a:gd name="connsiteY64908" fmla="*/ 915785 h 5973007"/>
              <a:gd name="connsiteX64909" fmla="*/ 3223278 w 6884782"/>
              <a:gd name="connsiteY64909" fmla="*/ 920622 h 5973007"/>
              <a:gd name="connsiteX64910" fmla="*/ 3227547 w 6884782"/>
              <a:gd name="connsiteY64910" fmla="*/ 919769 h 5973007"/>
              <a:gd name="connsiteX64911" fmla="*/ 3231602 w 6884782"/>
              <a:gd name="connsiteY64911" fmla="*/ 922756 h 5973007"/>
              <a:gd name="connsiteX64912" fmla="*/ 3228400 w 6884782"/>
              <a:gd name="connsiteY64912" fmla="*/ 929869 h 5973007"/>
              <a:gd name="connsiteX64913" fmla="*/ 3227333 w 6884782"/>
              <a:gd name="connsiteY64913" fmla="*/ 930012 h 5973007"/>
              <a:gd name="connsiteX64914" fmla="*/ 3229681 w 6884782"/>
              <a:gd name="connsiteY64914" fmla="*/ 945092 h 5973007"/>
              <a:gd name="connsiteX64915" fmla="*/ 3227974 w 6884782"/>
              <a:gd name="connsiteY64915" fmla="*/ 960173 h 5973007"/>
              <a:gd name="connsiteX64916" fmla="*/ 3226907 w 6884782"/>
              <a:gd name="connsiteY64916" fmla="*/ 962307 h 5973007"/>
              <a:gd name="connsiteX64917" fmla="*/ 3229040 w 6884782"/>
              <a:gd name="connsiteY64917" fmla="*/ 966717 h 5973007"/>
              <a:gd name="connsiteX64918" fmla="*/ 3226480 w 6884782"/>
              <a:gd name="connsiteY64918" fmla="*/ 972835 h 5973007"/>
              <a:gd name="connsiteX64919" fmla="*/ 3222638 w 6884782"/>
              <a:gd name="connsiteY64919" fmla="*/ 971270 h 5973007"/>
              <a:gd name="connsiteX64920" fmla="*/ 3221357 w 6884782"/>
              <a:gd name="connsiteY64920" fmla="*/ 974115 h 5973007"/>
              <a:gd name="connsiteX64921" fmla="*/ 3205351 w 6884782"/>
              <a:gd name="connsiteY64921" fmla="*/ 972693 h 5973007"/>
              <a:gd name="connsiteX64922" fmla="*/ 3205138 w 6884782"/>
              <a:gd name="connsiteY64922" fmla="*/ 972693 h 5973007"/>
              <a:gd name="connsiteX64923" fmla="*/ 3205138 w 6884782"/>
              <a:gd name="connsiteY64923" fmla="*/ 975253 h 5973007"/>
              <a:gd name="connsiteX64924" fmla="*/ 3210260 w 6884782"/>
              <a:gd name="connsiteY64924" fmla="*/ 979379 h 5973007"/>
              <a:gd name="connsiteX64925" fmla="*/ 3209620 w 6884782"/>
              <a:gd name="connsiteY64925" fmla="*/ 989623 h 5973007"/>
              <a:gd name="connsiteX64926" fmla="*/ 3216022 w 6884782"/>
              <a:gd name="connsiteY64926" fmla="*/ 1002996 h 5973007"/>
              <a:gd name="connsiteX64927" fmla="*/ 3217089 w 6884782"/>
              <a:gd name="connsiteY64927" fmla="*/ 997020 h 5973007"/>
              <a:gd name="connsiteX64928" fmla="*/ 3221784 w 6884782"/>
              <a:gd name="connsiteY64928" fmla="*/ 1009967 h 5973007"/>
              <a:gd name="connsiteX64929" fmla="*/ 3231815 w 6884782"/>
              <a:gd name="connsiteY64929" fmla="*/ 1021349 h 5973007"/>
              <a:gd name="connsiteX64930" fmla="*/ 3229254 w 6884782"/>
              <a:gd name="connsiteY64930" fmla="*/ 1025759 h 5973007"/>
              <a:gd name="connsiteX64931" fmla="*/ 3237151 w 6884782"/>
              <a:gd name="connsiteY64931" fmla="*/ 1026186 h 5973007"/>
              <a:gd name="connsiteX64932" fmla="*/ 3231388 w 6884782"/>
              <a:gd name="connsiteY64932" fmla="*/ 1031592 h 5973007"/>
              <a:gd name="connsiteX64933" fmla="*/ 3252090 w 6884782"/>
              <a:gd name="connsiteY64933" fmla="*/ 1041124 h 5973007"/>
              <a:gd name="connsiteX64934" fmla="*/ 3250596 w 6884782"/>
              <a:gd name="connsiteY64934" fmla="*/ 1054212 h 5973007"/>
              <a:gd name="connsiteX64935" fmla="*/ 3256785 w 6884782"/>
              <a:gd name="connsiteY64935" fmla="*/ 1062179 h 5973007"/>
              <a:gd name="connsiteX64936" fmla="*/ 3265962 w 6884782"/>
              <a:gd name="connsiteY64936" fmla="*/ 1061895 h 5973007"/>
              <a:gd name="connsiteX64937" fmla="*/ 3275566 w 6884782"/>
              <a:gd name="connsiteY64937" fmla="*/ 1080532 h 5973007"/>
              <a:gd name="connsiteX64938" fmla="*/ 3276420 w 6884782"/>
              <a:gd name="connsiteY64938" fmla="*/ 1093194 h 5973007"/>
              <a:gd name="connsiteX64939" fmla="*/ 3280261 w 6884782"/>
              <a:gd name="connsiteY64939" fmla="*/ 1100166 h 5973007"/>
              <a:gd name="connsiteX64940" fmla="*/ 3282182 w 6884782"/>
              <a:gd name="connsiteY64940" fmla="*/ 1097747 h 5973007"/>
              <a:gd name="connsiteX64941" fmla="*/ 3280475 w 6884782"/>
              <a:gd name="connsiteY64941" fmla="*/ 1096894 h 5973007"/>
              <a:gd name="connsiteX64942" fmla="*/ 3277914 w 6884782"/>
              <a:gd name="connsiteY64942" fmla="*/ 1091629 h 5973007"/>
              <a:gd name="connsiteX64943" fmla="*/ 3282395 w 6884782"/>
              <a:gd name="connsiteY64943" fmla="*/ 1096039 h 5973007"/>
              <a:gd name="connsiteX64944" fmla="*/ 3287945 w 6884782"/>
              <a:gd name="connsiteY64944" fmla="*/ 1078540 h 5973007"/>
              <a:gd name="connsiteX64945" fmla="*/ 3286450 w 6884782"/>
              <a:gd name="connsiteY64945" fmla="*/ 1071854 h 5973007"/>
              <a:gd name="connsiteX64946" fmla="*/ 3283036 w 6884782"/>
              <a:gd name="connsiteY64946" fmla="*/ 1072138 h 5973007"/>
              <a:gd name="connsiteX64947" fmla="*/ 3279834 w 6884782"/>
              <a:gd name="connsiteY64947" fmla="*/ 1071143 h 5973007"/>
              <a:gd name="connsiteX64948" fmla="*/ 3282395 w 6884782"/>
              <a:gd name="connsiteY64948" fmla="*/ 1068582 h 5973007"/>
              <a:gd name="connsiteX64949" fmla="*/ 3283890 w 6884782"/>
              <a:gd name="connsiteY64949" fmla="*/ 1068155 h 5973007"/>
              <a:gd name="connsiteX64950" fmla="*/ 3284317 w 6884782"/>
              <a:gd name="connsiteY64950" fmla="*/ 1067017 h 5973007"/>
              <a:gd name="connsiteX64951" fmla="*/ 3285383 w 6884782"/>
              <a:gd name="connsiteY64951" fmla="*/ 1067586 h 5973007"/>
              <a:gd name="connsiteX64952" fmla="*/ 3285597 w 6884782"/>
              <a:gd name="connsiteY64952" fmla="*/ 1067443 h 5973007"/>
              <a:gd name="connsiteX64953" fmla="*/ 3284317 w 6884782"/>
              <a:gd name="connsiteY64953" fmla="*/ 1061184 h 5973007"/>
              <a:gd name="connsiteX64954" fmla="*/ 3284103 w 6884782"/>
              <a:gd name="connsiteY64954" fmla="*/ 1061184 h 5973007"/>
              <a:gd name="connsiteX64955" fmla="*/ 3272792 w 6884782"/>
              <a:gd name="connsiteY64955" fmla="*/ 1059334 h 5973007"/>
              <a:gd name="connsiteX64956" fmla="*/ 3255078 w 6884782"/>
              <a:gd name="connsiteY64956" fmla="*/ 1027181 h 5973007"/>
              <a:gd name="connsiteX64957" fmla="*/ 3257852 w 6884782"/>
              <a:gd name="connsiteY64957" fmla="*/ 1024478 h 5973007"/>
              <a:gd name="connsiteX64958" fmla="*/ 3269377 w 6884782"/>
              <a:gd name="connsiteY64958" fmla="*/ 1022344 h 5973007"/>
              <a:gd name="connsiteX64959" fmla="*/ 3295841 w 6884782"/>
              <a:gd name="connsiteY64959" fmla="*/ 1042119 h 5973007"/>
              <a:gd name="connsiteX64960" fmla="*/ 3297548 w 6884782"/>
              <a:gd name="connsiteY64960" fmla="*/ 1049660 h 5973007"/>
              <a:gd name="connsiteX64961" fmla="*/ 3296695 w 6884782"/>
              <a:gd name="connsiteY64961" fmla="*/ 1057058 h 5973007"/>
              <a:gd name="connsiteX64962" fmla="*/ 3298188 w 6884782"/>
              <a:gd name="connsiteY64962" fmla="*/ 1057200 h 5973007"/>
              <a:gd name="connsiteX64963" fmla="*/ 3301603 w 6884782"/>
              <a:gd name="connsiteY64963" fmla="*/ 1061041 h 5973007"/>
              <a:gd name="connsiteX64964" fmla="*/ 3301603 w 6884782"/>
              <a:gd name="connsiteY64964" fmla="*/ 1061468 h 5973007"/>
              <a:gd name="connsiteX64965" fmla="*/ 3302671 w 6884782"/>
              <a:gd name="connsiteY64965" fmla="*/ 1061468 h 5973007"/>
              <a:gd name="connsiteX64966" fmla="*/ 3303737 w 6884782"/>
              <a:gd name="connsiteY64966" fmla="*/ 1064741 h 5973007"/>
              <a:gd name="connsiteX64967" fmla="*/ 3306725 w 6884782"/>
              <a:gd name="connsiteY64967" fmla="*/ 1063887 h 5973007"/>
              <a:gd name="connsiteX64968" fmla="*/ 3319744 w 6884782"/>
              <a:gd name="connsiteY64968" fmla="*/ 1072565 h 5973007"/>
              <a:gd name="connsiteX64969" fmla="*/ 3320598 w 6884782"/>
              <a:gd name="connsiteY64969" fmla="*/ 1079679 h 5973007"/>
              <a:gd name="connsiteX64970" fmla="*/ 3320171 w 6884782"/>
              <a:gd name="connsiteY64970" fmla="*/ 1080390 h 5973007"/>
              <a:gd name="connsiteX64971" fmla="*/ 3324866 w 6884782"/>
              <a:gd name="connsiteY64971" fmla="*/ 1081528 h 5973007"/>
              <a:gd name="connsiteX64972" fmla="*/ 3322732 w 6884782"/>
              <a:gd name="connsiteY64972" fmla="*/ 1088926 h 5973007"/>
              <a:gd name="connsiteX64973" fmla="*/ 3311848 w 6884782"/>
              <a:gd name="connsiteY64973" fmla="*/ 1086508 h 5973007"/>
              <a:gd name="connsiteX64974" fmla="*/ 3309927 w 6884782"/>
              <a:gd name="connsiteY64974" fmla="*/ 1085654 h 5973007"/>
              <a:gd name="connsiteX64975" fmla="*/ 3306725 w 6884782"/>
              <a:gd name="connsiteY64975" fmla="*/ 1085369 h 5973007"/>
              <a:gd name="connsiteX64976" fmla="*/ 3300536 w 6884782"/>
              <a:gd name="connsiteY64976" fmla="*/ 1080248 h 5973007"/>
              <a:gd name="connsiteX64977" fmla="*/ 3298616 w 6884782"/>
              <a:gd name="connsiteY64977" fmla="*/ 1073134 h 5973007"/>
              <a:gd name="connsiteX64978" fmla="*/ 3299469 w 6884782"/>
              <a:gd name="connsiteY64978" fmla="*/ 1069151 h 5973007"/>
              <a:gd name="connsiteX64979" fmla="*/ 3293493 w 6884782"/>
              <a:gd name="connsiteY64979" fmla="*/ 1072138 h 5973007"/>
              <a:gd name="connsiteX64980" fmla="*/ 3293066 w 6884782"/>
              <a:gd name="connsiteY64980" fmla="*/ 1070431 h 5973007"/>
              <a:gd name="connsiteX64981" fmla="*/ 3291573 w 6884782"/>
              <a:gd name="connsiteY64981" fmla="*/ 1070858 h 5973007"/>
              <a:gd name="connsiteX64982" fmla="*/ 3292640 w 6884782"/>
              <a:gd name="connsiteY64982" fmla="*/ 1073988 h 5973007"/>
              <a:gd name="connsiteX64983" fmla="*/ 3292426 w 6884782"/>
              <a:gd name="connsiteY64983" fmla="*/ 1083662 h 5973007"/>
              <a:gd name="connsiteX64984" fmla="*/ 3296695 w 6884782"/>
              <a:gd name="connsiteY64984" fmla="*/ 1086508 h 5973007"/>
              <a:gd name="connsiteX64985" fmla="*/ 3299683 w 6884782"/>
              <a:gd name="connsiteY64985" fmla="*/ 1090207 h 5973007"/>
              <a:gd name="connsiteX64986" fmla="*/ 3300323 w 6884782"/>
              <a:gd name="connsiteY64986" fmla="*/ 1089922 h 5973007"/>
              <a:gd name="connsiteX64987" fmla="*/ 3322305 w 6884782"/>
              <a:gd name="connsiteY64987" fmla="*/ 1097462 h 5973007"/>
              <a:gd name="connsiteX64988" fmla="*/ 3323159 w 6884782"/>
              <a:gd name="connsiteY64988" fmla="*/ 1098458 h 5973007"/>
              <a:gd name="connsiteX64989" fmla="*/ 3322519 w 6884782"/>
              <a:gd name="connsiteY64989" fmla="*/ 1096609 h 5973007"/>
              <a:gd name="connsiteX64990" fmla="*/ 3323799 w 6884782"/>
              <a:gd name="connsiteY64990" fmla="*/ 1094190 h 5973007"/>
              <a:gd name="connsiteX64991" fmla="*/ 3327641 w 6884782"/>
              <a:gd name="connsiteY64991" fmla="*/ 1090207 h 5973007"/>
              <a:gd name="connsiteX64992" fmla="*/ 3331696 w 6884782"/>
              <a:gd name="connsiteY64992" fmla="*/ 1092340 h 5973007"/>
              <a:gd name="connsiteX64993" fmla="*/ 3332549 w 6884782"/>
              <a:gd name="connsiteY64993" fmla="*/ 1097462 h 5973007"/>
              <a:gd name="connsiteX64994" fmla="*/ 3328708 w 6884782"/>
              <a:gd name="connsiteY64994" fmla="*/ 1105998 h 5973007"/>
              <a:gd name="connsiteX64995" fmla="*/ 3327001 w 6884782"/>
              <a:gd name="connsiteY64995" fmla="*/ 1104718 h 5973007"/>
              <a:gd name="connsiteX64996" fmla="*/ 3324866 w 6884782"/>
              <a:gd name="connsiteY64996" fmla="*/ 1108275 h 5973007"/>
              <a:gd name="connsiteX64997" fmla="*/ 3325079 w 6884782"/>
              <a:gd name="connsiteY64997" fmla="*/ 1108133 h 5973007"/>
              <a:gd name="connsiteX64998" fmla="*/ 3326146 w 6884782"/>
              <a:gd name="connsiteY64998" fmla="*/ 1117664 h 5973007"/>
              <a:gd name="connsiteX64999" fmla="*/ 3329775 w 6884782"/>
              <a:gd name="connsiteY64999" fmla="*/ 1121933 h 5973007"/>
              <a:gd name="connsiteX65000" fmla="*/ 3333830 w 6884782"/>
              <a:gd name="connsiteY65000" fmla="*/ 1122217 h 5973007"/>
              <a:gd name="connsiteX65001" fmla="*/ 3351544 w 6884782"/>
              <a:gd name="connsiteY65001" fmla="*/ 1143415 h 5973007"/>
              <a:gd name="connsiteX65002" fmla="*/ 3337031 w 6884782"/>
              <a:gd name="connsiteY65002" fmla="*/ 1135306 h 5973007"/>
              <a:gd name="connsiteX65003" fmla="*/ 3330201 w 6884782"/>
              <a:gd name="connsiteY65003" fmla="*/ 1129615 h 5973007"/>
              <a:gd name="connsiteX65004" fmla="*/ 3329134 w 6884782"/>
              <a:gd name="connsiteY65004" fmla="*/ 1128050 h 5973007"/>
              <a:gd name="connsiteX65005" fmla="*/ 3328281 w 6884782"/>
              <a:gd name="connsiteY65005" fmla="*/ 1130184 h 5973007"/>
              <a:gd name="connsiteX65006" fmla="*/ 3336817 w 6884782"/>
              <a:gd name="connsiteY65006" fmla="*/ 1143984 h 5973007"/>
              <a:gd name="connsiteX65007" fmla="*/ 3345995 w 6884782"/>
              <a:gd name="connsiteY65007" fmla="*/ 1140569 h 5973007"/>
              <a:gd name="connsiteX65008" fmla="*/ 3352611 w 6884782"/>
              <a:gd name="connsiteY65008" fmla="*/ 1173861 h 5973007"/>
              <a:gd name="connsiteX65009" fmla="*/ 3353891 w 6884782"/>
              <a:gd name="connsiteY65009" fmla="*/ 1179267 h 5973007"/>
              <a:gd name="connsiteX65010" fmla="*/ 3354959 w 6884782"/>
              <a:gd name="connsiteY65010" fmla="*/ 1179125 h 5973007"/>
              <a:gd name="connsiteX65011" fmla="*/ 3356879 w 6884782"/>
              <a:gd name="connsiteY65011" fmla="*/ 1180690 h 5973007"/>
              <a:gd name="connsiteX65012" fmla="*/ 3360507 w 6884782"/>
              <a:gd name="connsiteY65012" fmla="*/ 1180121 h 5973007"/>
              <a:gd name="connsiteX65013" fmla="*/ 3361361 w 6884782"/>
              <a:gd name="connsiteY65013" fmla="*/ 1182112 h 5973007"/>
              <a:gd name="connsiteX65014" fmla="*/ 3358159 w 6884782"/>
              <a:gd name="connsiteY65014" fmla="*/ 1182539 h 5973007"/>
              <a:gd name="connsiteX65015" fmla="*/ 3354959 w 6884782"/>
              <a:gd name="connsiteY65015" fmla="*/ 1183250 h 5973007"/>
              <a:gd name="connsiteX65016" fmla="*/ 3356666 w 6884782"/>
              <a:gd name="connsiteY65016" fmla="*/ 1190933 h 5973007"/>
              <a:gd name="connsiteX65017" fmla="*/ 3364349 w 6884782"/>
              <a:gd name="connsiteY65017" fmla="*/ 1204448 h 5973007"/>
              <a:gd name="connsiteX65018" fmla="*/ 3365202 w 6884782"/>
              <a:gd name="connsiteY65018" fmla="*/ 1200323 h 5973007"/>
              <a:gd name="connsiteX65019" fmla="*/ 3364775 w 6884782"/>
              <a:gd name="connsiteY65019" fmla="*/ 1197477 h 5973007"/>
              <a:gd name="connsiteX65020" fmla="*/ 3360934 w 6884782"/>
              <a:gd name="connsiteY65020" fmla="*/ 1196055 h 5973007"/>
              <a:gd name="connsiteX65021" fmla="*/ 3360507 w 6884782"/>
              <a:gd name="connsiteY65021" fmla="*/ 1190506 h 5973007"/>
              <a:gd name="connsiteX65022" fmla="*/ 3364989 w 6884782"/>
              <a:gd name="connsiteY65022" fmla="*/ 1188230 h 5973007"/>
              <a:gd name="connsiteX65023" fmla="*/ 3373099 w 6884782"/>
              <a:gd name="connsiteY65023" fmla="*/ 1193921 h 5973007"/>
              <a:gd name="connsiteX65024" fmla="*/ 3373526 w 6884782"/>
              <a:gd name="connsiteY65024" fmla="*/ 1196909 h 5973007"/>
              <a:gd name="connsiteX65025" fmla="*/ 3371818 w 6884782"/>
              <a:gd name="connsiteY65025" fmla="*/ 1198900 h 5973007"/>
              <a:gd name="connsiteX65026" fmla="*/ 3373099 w 6884782"/>
              <a:gd name="connsiteY65026" fmla="*/ 1198758 h 5973007"/>
              <a:gd name="connsiteX65027" fmla="*/ 3374593 w 6884782"/>
              <a:gd name="connsiteY65027" fmla="*/ 1203453 h 5973007"/>
              <a:gd name="connsiteX65028" fmla="*/ 3374806 w 6884782"/>
              <a:gd name="connsiteY65028" fmla="*/ 1215546 h 5973007"/>
              <a:gd name="connsiteX65029" fmla="*/ 3374593 w 6884782"/>
              <a:gd name="connsiteY65029" fmla="*/ 1218106 h 5973007"/>
              <a:gd name="connsiteX65030" fmla="*/ 3375660 w 6884782"/>
              <a:gd name="connsiteY65030" fmla="*/ 1216541 h 5973007"/>
              <a:gd name="connsiteX65031" fmla="*/ 3382916 w 6884782"/>
              <a:gd name="connsiteY65031" fmla="*/ 1211704 h 5973007"/>
              <a:gd name="connsiteX65032" fmla="*/ 3387184 w 6884782"/>
              <a:gd name="connsiteY65032" fmla="*/ 1210139 h 5973007"/>
              <a:gd name="connsiteX65033" fmla="*/ 3386331 w 6884782"/>
              <a:gd name="connsiteY65033" fmla="*/ 1207009 h 5973007"/>
              <a:gd name="connsiteX65034" fmla="*/ 3383130 w 6884782"/>
              <a:gd name="connsiteY65034" fmla="*/ 1198758 h 5973007"/>
              <a:gd name="connsiteX65035" fmla="*/ 3379928 w 6884782"/>
              <a:gd name="connsiteY65035" fmla="*/ 1190506 h 5973007"/>
              <a:gd name="connsiteX65036" fmla="*/ 3374166 w 6884782"/>
              <a:gd name="connsiteY65036" fmla="*/ 1175426 h 5973007"/>
              <a:gd name="connsiteX65037" fmla="*/ 3373739 w 6884782"/>
              <a:gd name="connsiteY65037" fmla="*/ 1173576 h 5973007"/>
              <a:gd name="connsiteX65038" fmla="*/ 3373313 w 6884782"/>
              <a:gd name="connsiteY65038" fmla="*/ 1173291 h 5973007"/>
              <a:gd name="connsiteX65039" fmla="*/ 3350050 w 6884782"/>
              <a:gd name="connsiteY65039" fmla="*/ 1155793 h 5973007"/>
              <a:gd name="connsiteX65040" fmla="*/ 3364349 w 6884782"/>
              <a:gd name="connsiteY65040" fmla="*/ 1157215 h 5973007"/>
              <a:gd name="connsiteX65041" fmla="*/ 3369898 w 6884782"/>
              <a:gd name="connsiteY65041" fmla="*/ 1159776 h 5973007"/>
              <a:gd name="connsiteX65042" fmla="*/ 3366270 w 6884782"/>
              <a:gd name="connsiteY65042" fmla="*/ 1151382 h 5973007"/>
              <a:gd name="connsiteX65043" fmla="*/ 3359440 w 6884782"/>
              <a:gd name="connsiteY65043" fmla="*/ 1139574 h 5973007"/>
              <a:gd name="connsiteX65044" fmla="*/ 3355171 w 6884782"/>
              <a:gd name="connsiteY65044" fmla="*/ 1119514 h 5973007"/>
              <a:gd name="connsiteX65045" fmla="*/ 3345141 w 6884782"/>
              <a:gd name="connsiteY65045" fmla="*/ 1090633 h 5973007"/>
              <a:gd name="connsiteX65046" fmla="*/ 3341940 w 6884782"/>
              <a:gd name="connsiteY65046" fmla="*/ 1083378 h 5973007"/>
              <a:gd name="connsiteX65047" fmla="*/ 3332549 w 6884782"/>
              <a:gd name="connsiteY65047" fmla="*/ 1087788 h 5973007"/>
              <a:gd name="connsiteX65048" fmla="*/ 3324866 w 6884782"/>
              <a:gd name="connsiteY65048" fmla="*/ 1065167 h 5973007"/>
              <a:gd name="connsiteX65049" fmla="*/ 3328708 w 6884782"/>
              <a:gd name="connsiteY65049" fmla="*/ 1055920 h 5973007"/>
              <a:gd name="connsiteX65050" fmla="*/ 3320811 w 6884782"/>
              <a:gd name="connsiteY65050" fmla="*/ 1041551 h 5973007"/>
              <a:gd name="connsiteX65051" fmla="*/ 3309500 w 6884782"/>
              <a:gd name="connsiteY65051" fmla="*/ 1019357 h 5973007"/>
              <a:gd name="connsiteX65052" fmla="*/ 3316330 w 6884782"/>
              <a:gd name="connsiteY65052" fmla="*/ 1019499 h 5973007"/>
              <a:gd name="connsiteX65053" fmla="*/ 3318037 w 6884782"/>
              <a:gd name="connsiteY65053" fmla="*/ 1017649 h 5973007"/>
              <a:gd name="connsiteX65054" fmla="*/ 3316970 w 6884782"/>
              <a:gd name="connsiteY65054" fmla="*/ 1015515 h 5973007"/>
              <a:gd name="connsiteX65055" fmla="*/ 3311420 w 6884782"/>
              <a:gd name="connsiteY65055" fmla="*/ 1011532 h 5973007"/>
              <a:gd name="connsiteX65056" fmla="*/ 3310354 w 6884782"/>
              <a:gd name="connsiteY65056" fmla="*/ 1010536 h 5973007"/>
              <a:gd name="connsiteX65057" fmla="*/ 3310140 w 6884782"/>
              <a:gd name="connsiteY65057" fmla="*/ 1010536 h 5973007"/>
              <a:gd name="connsiteX65058" fmla="*/ 3308433 w 6884782"/>
              <a:gd name="connsiteY65058" fmla="*/ 1016938 h 5973007"/>
              <a:gd name="connsiteX65059" fmla="*/ 3299683 w 6884782"/>
              <a:gd name="connsiteY65059" fmla="*/ 1005130 h 5973007"/>
              <a:gd name="connsiteX65060" fmla="*/ 3296695 w 6884782"/>
              <a:gd name="connsiteY65060" fmla="*/ 1005272 h 5973007"/>
              <a:gd name="connsiteX65061" fmla="*/ 3290506 w 6884782"/>
              <a:gd name="connsiteY65061" fmla="*/ 1002000 h 5973007"/>
              <a:gd name="connsiteX65062" fmla="*/ 3286237 w 6884782"/>
              <a:gd name="connsiteY65062" fmla="*/ 991472 h 5973007"/>
              <a:gd name="connsiteX65063" fmla="*/ 3290719 w 6884782"/>
              <a:gd name="connsiteY65063" fmla="*/ 989623 h 5973007"/>
              <a:gd name="connsiteX65064" fmla="*/ 3290078 w 6884782"/>
              <a:gd name="connsiteY65064" fmla="*/ 988484 h 5973007"/>
              <a:gd name="connsiteX65065" fmla="*/ 3271084 w 6884782"/>
              <a:gd name="connsiteY65065" fmla="*/ 958750 h 5973007"/>
              <a:gd name="connsiteX65066" fmla="*/ 3279621 w 6884782"/>
              <a:gd name="connsiteY65066" fmla="*/ 960315 h 5973007"/>
              <a:gd name="connsiteX65067" fmla="*/ 3265749 w 6884782"/>
              <a:gd name="connsiteY65067" fmla="*/ 948791 h 5973007"/>
              <a:gd name="connsiteX65068" fmla="*/ 3273646 w 6884782"/>
              <a:gd name="connsiteY65068" fmla="*/ 954340 h 5973007"/>
              <a:gd name="connsiteX65069" fmla="*/ 3258279 w 6884782"/>
              <a:gd name="connsiteY65069" fmla="*/ 932003 h 5973007"/>
              <a:gd name="connsiteX65070" fmla="*/ 3256999 w 6884782"/>
              <a:gd name="connsiteY65070" fmla="*/ 936130 h 5973007"/>
              <a:gd name="connsiteX65071" fmla="*/ 3259773 w 6884782"/>
              <a:gd name="connsiteY65071" fmla="*/ 937125 h 5973007"/>
              <a:gd name="connsiteX65072" fmla="*/ 3259133 w 6884782"/>
              <a:gd name="connsiteY65072" fmla="*/ 942674 h 5973007"/>
              <a:gd name="connsiteX65073" fmla="*/ 3260413 w 6884782"/>
              <a:gd name="connsiteY65073" fmla="*/ 945946 h 5973007"/>
              <a:gd name="connsiteX65074" fmla="*/ 3263188 w 6884782"/>
              <a:gd name="connsiteY65074" fmla="*/ 953486 h 5973007"/>
              <a:gd name="connsiteX65075" fmla="*/ 3258279 w 6884782"/>
              <a:gd name="connsiteY65075" fmla="*/ 957185 h 5973007"/>
              <a:gd name="connsiteX65076" fmla="*/ 3244407 w 6884782"/>
              <a:gd name="connsiteY65076" fmla="*/ 941109 h 5973007"/>
              <a:gd name="connsiteX65077" fmla="*/ 3249956 w 6884782"/>
              <a:gd name="connsiteY65077" fmla="*/ 937268 h 5973007"/>
              <a:gd name="connsiteX65078" fmla="*/ 3253584 w 6884782"/>
              <a:gd name="connsiteY65078" fmla="*/ 938264 h 5973007"/>
              <a:gd name="connsiteX65079" fmla="*/ 3255291 w 6884782"/>
              <a:gd name="connsiteY65079" fmla="*/ 935560 h 5973007"/>
              <a:gd name="connsiteX65080" fmla="*/ 3256358 w 6884782"/>
              <a:gd name="connsiteY65080" fmla="*/ 935845 h 5973007"/>
              <a:gd name="connsiteX65081" fmla="*/ 3254011 w 6884782"/>
              <a:gd name="connsiteY65081" fmla="*/ 931008 h 5973007"/>
              <a:gd name="connsiteX65082" fmla="*/ 3249956 w 6884782"/>
              <a:gd name="connsiteY65082" fmla="*/ 924321 h 5973007"/>
              <a:gd name="connsiteX65083" fmla="*/ 3246754 w 6884782"/>
              <a:gd name="connsiteY65083" fmla="*/ 918488 h 5973007"/>
              <a:gd name="connsiteX65084" fmla="*/ 3246114 w 6884782"/>
              <a:gd name="connsiteY65084" fmla="*/ 919057 h 5973007"/>
              <a:gd name="connsiteX65085" fmla="*/ 3240992 w 6884782"/>
              <a:gd name="connsiteY65085" fmla="*/ 918773 h 5973007"/>
              <a:gd name="connsiteX65086" fmla="*/ 3239071 w 6884782"/>
              <a:gd name="connsiteY65086" fmla="*/ 917492 h 5973007"/>
              <a:gd name="connsiteX65087" fmla="*/ 3239285 w 6884782"/>
              <a:gd name="connsiteY65087" fmla="*/ 911090 h 5973007"/>
              <a:gd name="connsiteX65088" fmla="*/ 3240992 w 6884782"/>
              <a:gd name="connsiteY65088" fmla="*/ 909383 h 5973007"/>
              <a:gd name="connsiteX65089" fmla="*/ 3231388 w 6884782"/>
              <a:gd name="connsiteY65089" fmla="*/ 898713 h 5973007"/>
              <a:gd name="connsiteX65090" fmla="*/ 3221784 w 6884782"/>
              <a:gd name="connsiteY65090" fmla="*/ 895868 h 5973007"/>
              <a:gd name="connsiteX65091" fmla="*/ 3220077 w 6884782"/>
              <a:gd name="connsiteY65091" fmla="*/ 885909 h 5973007"/>
              <a:gd name="connsiteX65092" fmla="*/ 1232363 w 6884782"/>
              <a:gd name="connsiteY65092" fmla="*/ 885410 h 5973007"/>
              <a:gd name="connsiteX65093" fmla="*/ 1238662 w 6884782"/>
              <a:gd name="connsiteY65093" fmla="*/ 885719 h 5973007"/>
              <a:gd name="connsiteX65094" fmla="*/ 1240004 w 6884782"/>
              <a:gd name="connsiteY65094" fmla="*/ 888353 h 5973007"/>
              <a:gd name="connsiteX65095" fmla="*/ 1238559 w 6884782"/>
              <a:gd name="connsiteY65095" fmla="*/ 892225 h 5973007"/>
              <a:gd name="connsiteX65096" fmla="*/ 1231847 w 6884782"/>
              <a:gd name="connsiteY65096" fmla="*/ 887888 h 5973007"/>
              <a:gd name="connsiteX65097" fmla="*/ 1232363 w 6884782"/>
              <a:gd name="connsiteY65097" fmla="*/ 885410 h 5973007"/>
              <a:gd name="connsiteX65098" fmla="*/ 3538073 w 6884782"/>
              <a:gd name="connsiteY65098" fmla="*/ 884771 h 5973007"/>
              <a:gd name="connsiteX65099" fmla="*/ 3542554 w 6884782"/>
              <a:gd name="connsiteY65099" fmla="*/ 885197 h 5973007"/>
              <a:gd name="connsiteX65100" fmla="*/ 3528255 w 6884782"/>
              <a:gd name="connsiteY65100" fmla="*/ 908671 h 5973007"/>
              <a:gd name="connsiteX65101" fmla="*/ 3523987 w 6884782"/>
              <a:gd name="connsiteY65101" fmla="*/ 904119 h 5973007"/>
              <a:gd name="connsiteX65102" fmla="*/ 3538073 w 6884782"/>
              <a:gd name="connsiteY65102" fmla="*/ 884771 h 5973007"/>
              <a:gd name="connsiteX65103" fmla="*/ 1126732 w 6884782"/>
              <a:gd name="connsiteY65103" fmla="*/ 884635 h 5973007"/>
              <a:gd name="connsiteX65104" fmla="*/ 1130243 w 6884782"/>
              <a:gd name="connsiteY65104" fmla="*/ 884945 h 5973007"/>
              <a:gd name="connsiteX65105" fmla="*/ 1131895 w 6884782"/>
              <a:gd name="connsiteY65105" fmla="*/ 886959 h 5973007"/>
              <a:gd name="connsiteX65106" fmla="*/ 1131069 w 6884782"/>
              <a:gd name="connsiteY65106" fmla="*/ 888508 h 5973007"/>
              <a:gd name="connsiteX65107" fmla="*/ 1131069 w 6884782"/>
              <a:gd name="connsiteY65107" fmla="*/ 890056 h 5973007"/>
              <a:gd name="connsiteX65108" fmla="*/ 1130139 w 6884782"/>
              <a:gd name="connsiteY65108" fmla="*/ 890056 h 5973007"/>
              <a:gd name="connsiteX65109" fmla="*/ 1129313 w 6884782"/>
              <a:gd name="connsiteY65109" fmla="*/ 890676 h 5973007"/>
              <a:gd name="connsiteX65110" fmla="*/ 1125699 w 6884782"/>
              <a:gd name="connsiteY65110" fmla="*/ 888817 h 5973007"/>
              <a:gd name="connsiteX65111" fmla="*/ 1124667 w 6884782"/>
              <a:gd name="connsiteY65111" fmla="*/ 886959 h 5973007"/>
              <a:gd name="connsiteX65112" fmla="*/ 1124977 w 6884782"/>
              <a:gd name="connsiteY65112" fmla="*/ 885410 h 5973007"/>
              <a:gd name="connsiteX65113" fmla="*/ 1126732 w 6884782"/>
              <a:gd name="connsiteY65113" fmla="*/ 884635 h 5973007"/>
              <a:gd name="connsiteX65114" fmla="*/ 1821956 w 6884782"/>
              <a:gd name="connsiteY65114" fmla="*/ 884480 h 5973007"/>
              <a:gd name="connsiteX65115" fmla="*/ 1820717 w 6884782"/>
              <a:gd name="connsiteY65115" fmla="*/ 887733 h 5973007"/>
              <a:gd name="connsiteX65116" fmla="*/ 1821234 w 6884782"/>
              <a:gd name="connsiteY65116" fmla="*/ 889747 h 5973007"/>
              <a:gd name="connsiteX65117" fmla="*/ 1823711 w 6884782"/>
              <a:gd name="connsiteY65117" fmla="*/ 888198 h 5973007"/>
              <a:gd name="connsiteX65118" fmla="*/ 1823608 w 6884782"/>
              <a:gd name="connsiteY65118" fmla="*/ 888043 h 5973007"/>
              <a:gd name="connsiteX65119" fmla="*/ 1822266 w 6884782"/>
              <a:gd name="connsiteY65119" fmla="*/ 885719 h 5973007"/>
              <a:gd name="connsiteX65120" fmla="*/ 3406606 w 6884782"/>
              <a:gd name="connsiteY65120" fmla="*/ 884344 h 5973007"/>
              <a:gd name="connsiteX65121" fmla="*/ 3413222 w 6884782"/>
              <a:gd name="connsiteY65121" fmla="*/ 895868 h 5973007"/>
              <a:gd name="connsiteX65122" fmla="*/ 3401484 w 6884782"/>
              <a:gd name="connsiteY65122" fmla="*/ 888042 h 5973007"/>
              <a:gd name="connsiteX65123" fmla="*/ 3406606 w 6884782"/>
              <a:gd name="connsiteY65123" fmla="*/ 884344 h 5973007"/>
              <a:gd name="connsiteX65124" fmla="*/ 1049084 w 6884782"/>
              <a:gd name="connsiteY65124" fmla="*/ 884015 h 5973007"/>
              <a:gd name="connsiteX65125" fmla="*/ 1055279 w 6884782"/>
              <a:gd name="connsiteY65125" fmla="*/ 887114 h 5973007"/>
              <a:gd name="connsiteX65126" fmla="*/ 1048980 w 6884782"/>
              <a:gd name="connsiteY65126" fmla="*/ 889592 h 5973007"/>
              <a:gd name="connsiteX65127" fmla="*/ 1048464 w 6884782"/>
              <a:gd name="connsiteY65127" fmla="*/ 886959 h 5973007"/>
              <a:gd name="connsiteX65128" fmla="*/ 1049084 w 6884782"/>
              <a:gd name="connsiteY65128" fmla="*/ 884015 h 5973007"/>
              <a:gd name="connsiteX65129" fmla="*/ 3278554 w 6884782"/>
              <a:gd name="connsiteY65129" fmla="*/ 883774 h 5973007"/>
              <a:gd name="connsiteX65130" fmla="*/ 3279621 w 6884782"/>
              <a:gd name="connsiteY65130" fmla="*/ 884771 h 5973007"/>
              <a:gd name="connsiteX65131" fmla="*/ 3277487 w 6884782"/>
              <a:gd name="connsiteY65131" fmla="*/ 884771 h 5973007"/>
              <a:gd name="connsiteX65132" fmla="*/ 3278554 w 6884782"/>
              <a:gd name="connsiteY65132" fmla="*/ 883774 h 5973007"/>
              <a:gd name="connsiteX65133" fmla="*/ 3363068 w 6884782"/>
              <a:gd name="connsiteY65133" fmla="*/ 883490 h 5973007"/>
              <a:gd name="connsiteX65134" fmla="*/ 3352184 w 6884782"/>
              <a:gd name="connsiteY65134" fmla="*/ 906822 h 5973007"/>
              <a:gd name="connsiteX65135" fmla="*/ 3363068 w 6884782"/>
              <a:gd name="connsiteY65135" fmla="*/ 883490 h 5973007"/>
              <a:gd name="connsiteX65136" fmla="*/ 3876129 w 6884782"/>
              <a:gd name="connsiteY65136" fmla="*/ 883205 h 5973007"/>
              <a:gd name="connsiteX65137" fmla="*/ 3879544 w 6884782"/>
              <a:gd name="connsiteY65137" fmla="*/ 884059 h 5973007"/>
              <a:gd name="connsiteX65138" fmla="*/ 3878691 w 6884782"/>
              <a:gd name="connsiteY65138" fmla="*/ 891172 h 5973007"/>
              <a:gd name="connsiteX65139" fmla="*/ 3871221 w 6884782"/>
              <a:gd name="connsiteY65139" fmla="*/ 887474 h 5973007"/>
              <a:gd name="connsiteX65140" fmla="*/ 3872501 w 6884782"/>
              <a:gd name="connsiteY65140" fmla="*/ 885055 h 5973007"/>
              <a:gd name="connsiteX65141" fmla="*/ 3876129 w 6884782"/>
              <a:gd name="connsiteY65141" fmla="*/ 883205 h 5973007"/>
              <a:gd name="connsiteX65142" fmla="*/ 1304539 w 6884782"/>
              <a:gd name="connsiteY65142" fmla="*/ 881537 h 5973007"/>
              <a:gd name="connsiteX65143" fmla="*/ 1306295 w 6884782"/>
              <a:gd name="connsiteY65143" fmla="*/ 884945 h 5973007"/>
              <a:gd name="connsiteX65144" fmla="*/ 1293594 w 6884782"/>
              <a:gd name="connsiteY65144" fmla="*/ 886494 h 5973007"/>
              <a:gd name="connsiteX65145" fmla="*/ 1304539 w 6884782"/>
              <a:gd name="connsiteY65145" fmla="*/ 881537 h 5973007"/>
              <a:gd name="connsiteX65146" fmla="*/ 1427311 w 6884782"/>
              <a:gd name="connsiteY65146" fmla="*/ 880453 h 5973007"/>
              <a:gd name="connsiteX65147" fmla="*/ 1430305 w 6884782"/>
              <a:gd name="connsiteY65147" fmla="*/ 883861 h 5973007"/>
              <a:gd name="connsiteX65148" fmla="*/ 1428447 w 6884782"/>
              <a:gd name="connsiteY65148" fmla="*/ 889127 h 5973007"/>
              <a:gd name="connsiteX65149" fmla="*/ 1428963 w 6884782"/>
              <a:gd name="connsiteY65149" fmla="*/ 889592 h 5973007"/>
              <a:gd name="connsiteX65150" fmla="*/ 1422251 w 6884782"/>
              <a:gd name="connsiteY65150" fmla="*/ 895323 h 5973007"/>
              <a:gd name="connsiteX65151" fmla="*/ 1420186 w 6884782"/>
              <a:gd name="connsiteY65151" fmla="*/ 894859 h 5973007"/>
              <a:gd name="connsiteX65152" fmla="*/ 1419980 w 6884782"/>
              <a:gd name="connsiteY65152" fmla="*/ 895013 h 5973007"/>
              <a:gd name="connsiteX65153" fmla="*/ 1416779 w 6884782"/>
              <a:gd name="connsiteY65153" fmla="*/ 891141 h 5973007"/>
              <a:gd name="connsiteX65154" fmla="*/ 1417295 w 6884782"/>
              <a:gd name="connsiteY65154" fmla="*/ 887578 h 5973007"/>
              <a:gd name="connsiteX65155" fmla="*/ 1418947 w 6884782"/>
              <a:gd name="connsiteY65155" fmla="*/ 884635 h 5973007"/>
              <a:gd name="connsiteX65156" fmla="*/ 1422251 w 6884782"/>
              <a:gd name="connsiteY65156" fmla="*/ 883086 h 5973007"/>
              <a:gd name="connsiteX65157" fmla="*/ 1427311 w 6884782"/>
              <a:gd name="connsiteY65157" fmla="*/ 880453 h 5973007"/>
              <a:gd name="connsiteX65158" fmla="*/ 4069274 w 6884782"/>
              <a:gd name="connsiteY65158" fmla="*/ 878653 h 5973007"/>
              <a:gd name="connsiteX65159" fmla="*/ 4087628 w 6884782"/>
              <a:gd name="connsiteY65159" fmla="*/ 879080 h 5973007"/>
              <a:gd name="connsiteX65160" fmla="*/ 4089549 w 6884782"/>
              <a:gd name="connsiteY65160" fmla="*/ 881640 h 5973007"/>
              <a:gd name="connsiteX65161" fmla="*/ 4090616 w 6884782"/>
              <a:gd name="connsiteY65161" fmla="*/ 881640 h 5973007"/>
              <a:gd name="connsiteX65162" fmla="*/ 4091683 w 6884782"/>
              <a:gd name="connsiteY65162" fmla="*/ 882779 h 5973007"/>
              <a:gd name="connsiteX65163" fmla="*/ 4091683 w 6884782"/>
              <a:gd name="connsiteY65163" fmla="*/ 884059 h 5973007"/>
              <a:gd name="connsiteX65164" fmla="*/ 4084640 w 6884782"/>
              <a:gd name="connsiteY65164" fmla="*/ 885197 h 5973007"/>
              <a:gd name="connsiteX65165" fmla="*/ 4079092 w 6884782"/>
              <a:gd name="connsiteY65165" fmla="*/ 885055 h 5973007"/>
              <a:gd name="connsiteX65166" fmla="*/ 4061164 w 6884782"/>
              <a:gd name="connsiteY65166" fmla="*/ 879933 h 5973007"/>
              <a:gd name="connsiteX65167" fmla="*/ 4069274 w 6884782"/>
              <a:gd name="connsiteY65167" fmla="*/ 878653 h 5973007"/>
              <a:gd name="connsiteX65168" fmla="*/ 1308257 w 6884782"/>
              <a:gd name="connsiteY65168" fmla="*/ 878439 h 5973007"/>
              <a:gd name="connsiteX65169" fmla="*/ 1317550 w 6884782"/>
              <a:gd name="connsiteY65169" fmla="*/ 885719 h 5973007"/>
              <a:gd name="connsiteX65170" fmla="*/ 1309392 w 6884782"/>
              <a:gd name="connsiteY65170" fmla="*/ 888043 h 5973007"/>
              <a:gd name="connsiteX65171" fmla="*/ 1307327 w 6884782"/>
              <a:gd name="connsiteY65171" fmla="*/ 883861 h 5973007"/>
              <a:gd name="connsiteX65172" fmla="*/ 1308257 w 6884782"/>
              <a:gd name="connsiteY65172" fmla="*/ 878439 h 5973007"/>
              <a:gd name="connsiteX65173" fmla="*/ 3838781 w 6884782"/>
              <a:gd name="connsiteY65173" fmla="*/ 877657 h 5973007"/>
              <a:gd name="connsiteX65174" fmla="*/ 3842409 w 6884782"/>
              <a:gd name="connsiteY65174" fmla="*/ 877657 h 5973007"/>
              <a:gd name="connsiteX65175" fmla="*/ 3834726 w 6884782"/>
              <a:gd name="connsiteY65175" fmla="*/ 886477 h 5973007"/>
              <a:gd name="connsiteX65176" fmla="*/ 3838781 w 6884782"/>
              <a:gd name="connsiteY65176" fmla="*/ 877657 h 5973007"/>
              <a:gd name="connsiteX65177" fmla="*/ 3849239 w 6884782"/>
              <a:gd name="connsiteY65177" fmla="*/ 877372 h 5973007"/>
              <a:gd name="connsiteX65178" fmla="*/ 3864818 w 6884782"/>
              <a:gd name="connsiteY65178" fmla="*/ 895868 h 5973007"/>
              <a:gd name="connsiteX65179" fmla="*/ 3860977 w 6884782"/>
              <a:gd name="connsiteY65179" fmla="*/ 920480 h 5973007"/>
              <a:gd name="connsiteX65180" fmla="*/ 3849239 w 6884782"/>
              <a:gd name="connsiteY65180" fmla="*/ 877372 h 5973007"/>
              <a:gd name="connsiteX65181" fmla="*/ 3941436 w 6884782"/>
              <a:gd name="connsiteY65181" fmla="*/ 876945 h 5973007"/>
              <a:gd name="connsiteX65182" fmla="*/ 3952534 w 6884782"/>
              <a:gd name="connsiteY65182" fmla="*/ 878083 h 5973007"/>
              <a:gd name="connsiteX65183" fmla="*/ 3954881 w 6884782"/>
              <a:gd name="connsiteY65183" fmla="*/ 878083 h 5973007"/>
              <a:gd name="connsiteX65184" fmla="*/ 3957016 w 6884782"/>
              <a:gd name="connsiteY65184" fmla="*/ 880502 h 5973007"/>
              <a:gd name="connsiteX65185" fmla="*/ 3946345 w 6884782"/>
              <a:gd name="connsiteY65185" fmla="*/ 881640 h 5973007"/>
              <a:gd name="connsiteX65186" fmla="*/ 3940795 w 6884782"/>
              <a:gd name="connsiteY65186" fmla="*/ 881498 h 5973007"/>
              <a:gd name="connsiteX65187" fmla="*/ 3938662 w 6884782"/>
              <a:gd name="connsiteY65187" fmla="*/ 879080 h 5973007"/>
              <a:gd name="connsiteX65188" fmla="*/ 3938874 w 6884782"/>
              <a:gd name="connsiteY65188" fmla="*/ 877799 h 5973007"/>
              <a:gd name="connsiteX65189" fmla="*/ 3941436 w 6884782"/>
              <a:gd name="connsiteY65189" fmla="*/ 876945 h 5973007"/>
              <a:gd name="connsiteX65190" fmla="*/ 3423893 w 6884782"/>
              <a:gd name="connsiteY65190" fmla="*/ 876376 h 5973007"/>
              <a:gd name="connsiteX65191" fmla="*/ 3428801 w 6884782"/>
              <a:gd name="connsiteY65191" fmla="*/ 920622 h 5973007"/>
              <a:gd name="connsiteX65192" fmla="*/ 3426027 w 6884782"/>
              <a:gd name="connsiteY65192" fmla="*/ 926171 h 5973007"/>
              <a:gd name="connsiteX65193" fmla="*/ 3429015 w 6884782"/>
              <a:gd name="connsiteY65193" fmla="*/ 928020 h 5973007"/>
              <a:gd name="connsiteX65194" fmla="*/ 3429015 w 6884782"/>
              <a:gd name="connsiteY65194" fmla="*/ 928447 h 5973007"/>
              <a:gd name="connsiteX65195" fmla="*/ 3429655 w 6884782"/>
              <a:gd name="connsiteY65195" fmla="*/ 928447 h 5973007"/>
              <a:gd name="connsiteX65196" fmla="*/ 3430936 w 6884782"/>
              <a:gd name="connsiteY65196" fmla="*/ 928447 h 5973007"/>
              <a:gd name="connsiteX65197" fmla="*/ 3431363 w 6884782"/>
              <a:gd name="connsiteY65197" fmla="*/ 929443 h 5973007"/>
              <a:gd name="connsiteX65198" fmla="*/ 3431576 w 6884782"/>
              <a:gd name="connsiteY65198" fmla="*/ 929585 h 5973007"/>
              <a:gd name="connsiteX65199" fmla="*/ 3431149 w 6884782"/>
              <a:gd name="connsiteY65199" fmla="*/ 932146 h 5973007"/>
              <a:gd name="connsiteX65200" fmla="*/ 3429442 w 6884782"/>
              <a:gd name="connsiteY65200" fmla="*/ 934138 h 5973007"/>
              <a:gd name="connsiteX65201" fmla="*/ 3428161 w 6884782"/>
              <a:gd name="connsiteY65201" fmla="*/ 933284 h 5973007"/>
              <a:gd name="connsiteX65202" fmla="*/ 3427735 w 6884782"/>
              <a:gd name="connsiteY65202" fmla="*/ 932573 h 5973007"/>
              <a:gd name="connsiteX65203" fmla="*/ 3423253 w 6884782"/>
              <a:gd name="connsiteY65203" fmla="*/ 935703 h 5973007"/>
              <a:gd name="connsiteX65204" fmla="*/ 3421972 w 6884782"/>
              <a:gd name="connsiteY65204" fmla="*/ 933569 h 5973007"/>
              <a:gd name="connsiteX65205" fmla="*/ 3420905 w 6884782"/>
              <a:gd name="connsiteY65205" fmla="*/ 935703 h 5973007"/>
              <a:gd name="connsiteX65206" fmla="*/ 3423893 w 6884782"/>
              <a:gd name="connsiteY65206" fmla="*/ 876376 h 5973007"/>
              <a:gd name="connsiteX65207" fmla="*/ 3765791 w 6884782"/>
              <a:gd name="connsiteY65207" fmla="*/ 876092 h 5973007"/>
              <a:gd name="connsiteX65208" fmla="*/ 3754693 w 6884782"/>
              <a:gd name="connsiteY65208" fmla="*/ 892311 h 5973007"/>
              <a:gd name="connsiteX65209" fmla="*/ 3750852 w 6884782"/>
              <a:gd name="connsiteY65209" fmla="*/ 894445 h 5973007"/>
              <a:gd name="connsiteX65210" fmla="*/ 3758322 w 6884782"/>
              <a:gd name="connsiteY65210" fmla="*/ 902697 h 5973007"/>
              <a:gd name="connsiteX65211" fmla="*/ 3763231 w 6884782"/>
              <a:gd name="connsiteY65211" fmla="*/ 910236 h 5973007"/>
              <a:gd name="connsiteX65212" fmla="*/ 3763657 w 6884782"/>
              <a:gd name="connsiteY65212" fmla="*/ 912940 h 5973007"/>
              <a:gd name="connsiteX65213" fmla="*/ 3761310 w 6884782"/>
              <a:gd name="connsiteY65213" fmla="*/ 915074 h 5973007"/>
              <a:gd name="connsiteX65214" fmla="*/ 3749785 w 6884782"/>
              <a:gd name="connsiteY65214" fmla="*/ 906111 h 5973007"/>
              <a:gd name="connsiteX65215" fmla="*/ 3749145 w 6884782"/>
              <a:gd name="connsiteY65215" fmla="*/ 902697 h 5973007"/>
              <a:gd name="connsiteX65216" fmla="*/ 3747864 w 6884782"/>
              <a:gd name="connsiteY65216" fmla="*/ 900562 h 5973007"/>
              <a:gd name="connsiteX65217" fmla="*/ 3747224 w 6884782"/>
              <a:gd name="connsiteY65217" fmla="*/ 896578 h 5973007"/>
              <a:gd name="connsiteX65218" fmla="*/ 3734205 w 6884782"/>
              <a:gd name="connsiteY65218" fmla="*/ 904119 h 5973007"/>
              <a:gd name="connsiteX65219" fmla="*/ 3696003 w 6884782"/>
              <a:gd name="connsiteY65219" fmla="*/ 899424 h 5973007"/>
              <a:gd name="connsiteX65220" fmla="*/ 3713504 w 6884782"/>
              <a:gd name="connsiteY65220" fmla="*/ 893307 h 5973007"/>
              <a:gd name="connsiteX65221" fmla="*/ 3714144 w 6884782"/>
              <a:gd name="connsiteY65221" fmla="*/ 891030 h 5973007"/>
              <a:gd name="connsiteX65222" fmla="*/ 3715211 w 6884782"/>
              <a:gd name="connsiteY65222" fmla="*/ 890888 h 5973007"/>
              <a:gd name="connsiteX65223" fmla="*/ 3715638 w 6884782"/>
              <a:gd name="connsiteY65223" fmla="*/ 890603 h 5973007"/>
              <a:gd name="connsiteX65224" fmla="*/ 3717132 w 6884782"/>
              <a:gd name="connsiteY65224" fmla="*/ 891599 h 5973007"/>
              <a:gd name="connsiteX65225" fmla="*/ 3729083 w 6884782"/>
              <a:gd name="connsiteY65225" fmla="*/ 885909 h 5973007"/>
              <a:gd name="connsiteX65226" fmla="*/ 3765791 w 6884782"/>
              <a:gd name="connsiteY65226" fmla="*/ 876092 h 5973007"/>
              <a:gd name="connsiteX65227" fmla="*/ 3492187 w 6884782"/>
              <a:gd name="connsiteY65227" fmla="*/ 874527 h 5973007"/>
              <a:gd name="connsiteX65228" fmla="*/ 3506060 w 6884782"/>
              <a:gd name="connsiteY65228" fmla="*/ 884486 h 5973007"/>
              <a:gd name="connsiteX65229" fmla="*/ 3509474 w 6884782"/>
              <a:gd name="connsiteY65229" fmla="*/ 901843 h 5973007"/>
              <a:gd name="connsiteX65230" fmla="*/ 3498590 w 6884782"/>
              <a:gd name="connsiteY65230" fmla="*/ 890603 h 5973007"/>
              <a:gd name="connsiteX65231" fmla="*/ 3492187 w 6884782"/>
              <a:gd name="connsiteY65231" fmla="*/ 874527 h 5973007"/>
              <a:gd name="connsiteX65232" fmla="*/ 3332336 w 6884782"/>
              <a:gd name="connsiteY65232" fmla="*/ 872820 h 5973007"/>
              <a:gd name="connsiteX65233" fmla="*/ 3331055 w 6884782"/>
              <a:gd name="connsiteY65233" fmla="*/ 880502 h 5973007"/>
              <a:gd name="connsiteX65234" fmla="*/ 3332549 w 6884782"/>
              <a:gd name="connsiteY65234" fmla="*/ 878795 h 5973007"/>
              <a:gd name="connsiteX65235" fmla="*/ 3335537 w 6884782"/>
              <a:gd name="connsiteY65235" fmla="*/ 880360 h 5973007"/>
              <a:gd name="connsiteX65236" fmla="*/ 3336604 w 6884782"/>
              <a:gd name="connsiteY65236" fmla="*/ 881925 h 5973007"/>
              <a:gd name="connsiteX65237" fmla="*/ 3337672 w 6884782"/>
              <a:gd name="connsiteY65237" fmla="*/ 878937 h 5973007"/>
              <a:gd name="connsiteX65238" fmla="*/ 3338525 w 6884782"/>
              <a:gd name="connsiteY65238" fmla="*/ 877657 h 5973007"/>
              <a:gd name="connsiteX65239" fmla="*/ 3333617 w 6884782"/>
              <a:gd name="connsiteY65239" fmla="*/ 875238 h 5973007"/>
              <a:gd name="connsiteX65240" fmla="*/ 3417917 w 6884782"/>
              <a:gd name="connsiteY65240" fmla="*/ 870686 h 5973007"/>
              <a:gd name="connsiteX65241" fmla="*/ 3420478 w 6884782"/>
              <a:gd name="connsiteY65241" fmla="*/ 875665 h 5973007"/>
              <a:gd name="connsiteX65242" fmla="*/ 3413649 w 6884782"/>
              <a:gd name="connsiteY65242" fmla="*/ 877657 h 5973007"/>
              <a:gd name="connsiteX65243" fmla="*/ 3411088 w 6884782"/>
              <a:gd name="connsiteY65243" fmla="*/ 872820 h 5973007"/>
              <a:gd name="connsiteX65244" fmla="*/ 3417917 w 6884782"/>
              <a:gd name="connsiteY65244" fmla="*/ 870686 h 5973007"/>
              <a:gd name="connsiteX65245" fmla="*/ 3548103 w 6884782"/>
              <a:gd name="connsiteY65245" fmla="*/ 870117 h 5973007"/>
              <a:gd name="connsiteX65246" fmla="*/ 3559201 w 6884782"/>
              <a:gd name="connsiteY65246" fmla="*/ 873816 h 5973007"/>
              <a:gd name="connsiteX65247" fmla="*/ 3561549 w 6884782"/>
              <a:gd name="connsiteY65247" fmla="*/ 875238 h 5973007"/>
              <a:gd name="connsiteX65248" fmla="*/ 3563896 w 6884782"/>
              <a:gd name="connsiteY65248" fmla="*/ 876519 h 5973007"/>
              <a:gd name="connsiteX65249" fmla="*/ 3565390 w 6884782"/>
              <a:gd name="connsiteY65249" fmla="*/ 881356 h 5973007"/>
              <a:gd name="connsiteX65250" fmla="*/ 3544048 w 6884782"/>
              <a:gd name="connsiteY65250" fmla="*/ 873104 h 5973007"/>
              <a:gd name="connsiteX65251" fmla="*/ 3545116 w 6884782"/>
              <a:gd name="connsiteY65251" fmla="*/ 870686 h 5973007"/>
              <a:gd name="connsiteX65252" fmla="*/ 3548103 w 6884782"/>
              <a:gd name="connsiteY65252" fmla="*/ 870117 h 5973007"/>
              <a:gd name="connsiteX65253" fmla="*/ 3605086 w 6884782"/>
              <a:gd name="connsiteY65253" fmla="*/ 869832 h 5973007"/>
              <a:gd name="connsiteX65254" fmla="*/ 3611916 w 6884782"/>
              <a:gd name="connsiteY65254" fmla="*/ 871681 h 5973007"/>
              <a:gd name="connsiteX65255" fmla="*/ 3599751 w 6884782"/>
              <a:gd name="connsiteY65255" fmla="*/ 879080 h 5973007"/>
              <a:gd name="connsiteX65256" fmla="*/ 3597830 w 6884782"/>
              <a:gd name="connsiteY65256" fmla="*/ 871966 h 5973007"/>
              <a:gd name="connsiteX65257" fmla="*/ 3605086 w 6884782"/>
              <a:gd name="connsiteY65257" fmla="*/ 869832 h 5973007"/>
              <a:gd name="connsiteX65258" fmla="*/ 1447033 w 6884782"/>
              <a:gd name="connsiteY65258" fmla="*/ 869765 h 5973007"/>
              <a:gd name="connsiteX65259" fmla="*/ 1448478 w 6884782"/>
              <a:gd name="connsiteY65259" fmla="*/ 874722 h 5973007"/>
              <a:gd name="connsiteX65260" fmla="*/ 1444968 w 6884782"/>
              <a:gd name="connsiteY65260" fmla="*/ 876581 h 5973007"/>
              <a:gd name="connsiteX65261" fmla="*/ 1443419 w 6884782"/>
              <a:gd name="connsiteY65261" fmla="*/ 871624 h 5973007"/>
              <a:gd name="connsiteX65262" fmla="*/ 1447033 w 6884782"/>
              <a:gd name="connsiteY65262" fmla="*/ 869765 h 5973007"/>
              <a:gd name="connsiteX65263" fmla="*/ 3580970 w 6884782"/>
              <a:gd name="connsiteY65263" fmla="*/ 868836 h 5973007"/>
              <a:gd name="connsiteX65264" fmla="*/ 3583957 w 6884782"/>
              <a:gd name="connsiteY65264" fmla="*/ 888754 h 5973007"/>
              <a:gd name="connsiteX65265" fmla="*/ 3574567 w 6884782"/>
              <a:gd name="connsiteY65265" fmla="*/ 885624 h 5973007"/>
              <a:gd name="connsiteX65266" fmla="*/ 3580970 w 6884782"/>
              <a:gd name="connsiteY65266" fmla="*/ 868836 h 5973007"/>
              <a:gd name="connsiteX65267" fmla="*/ 1212228 w 6884782"/>
              <a:gd name="connsiteY65267" fmla="*/ 868836 h 5973007"/>
              <a:gd name="connsiteX65268" fmla="*/ 1219456 w 6884782"/>
              <a:gd name="connsiteY65268" fmla="*/ 870849 h 5973007"/>
              <a:gd name="connsiteX65269" fmla="*/ 1218940 w 6884782"/>
              <a:gd name="connsiteY65269" fmla="*/ 871469 h 5973007"/>
              <a:gd name="connsiteX65270" fmla="*/ 1219250 w 6884782"/>
              <a:gd name="connsiteY65270" fmla="*/ 871779 h 5973007"/>
              <a:gd name="connsiteX65271" fmla="*/ 1219146 w 6884782"/>
              <a:gd name="connsiteY65271" fmla="*/ 874722 h 5973007"/>
              <a:gd name="connsiteX65272" fmla="*/ 1219456 w 6884782"/>
              <a:gd name="connsiteY65272" fmla="*/ 878749 h 5973007"/>
              <a:gd name="connsiteX65273" fmla="*/ 1216668 w 6884782"/>
              <a:gd name="connsiteY65273" fmla="*/ 892535 h 5973007"/>
              <a:gd name="connsiteX65274" fmla="*/ 1215326 w 6884782"/>
              <a:gd name="connsiteY65274" fmla="*/ 886959 h 5973007"/>
              <a:gd name="connsiteX65275" fmla="*/ 1215429 w 6884782"/>
              <a:gd name="connsiteY65275" fmla="*/ 879524 h 5973007"/>
              <a:gd name="connsiteX65276" fmla="*/ 1214706 w 6884782"/>
              <a:gd name="connsiteY65276" fmla="*/ 874102 h 5973007"/>
              <a:gd name="connsiteX65277" fmla="*/ 1213054 w 6884782"/>
              <a:gd name="connsiteY65277" fmla="*/ 873173 h 5973007"/>
              <a:gd name="connsiteX65278" fmla="*/ 1211505 w 6884782"/>
              <a:gd name="connsiteY65278" fmla="*/ 871469 h 5973007"/>
              <a:gd name="connsiteX65279" fmla="*/ 1211299 w 6884782"/>
              <a:gd name="connsiteY65279" fmla="*/ 869920 h 5973007"/>
              <a:gd name="connsiteX65280" fmla="*/ 1212228 w 6884782"/>
              <a:gd name="connsiteY65280" fmla="*/ 868836 h 5973007"/>
              <a:gd name="connsiteX65281" fmla="*/ 1242586 w 6884782"/>
              <a:gd name="connsiteY65281" fmla="*/ 868526 h 5973007"/>
              <a:gd name="connsiteX65282" fmla="*/ 1255596 w 6884782"/>
              <a:gd name="connsiteY65282" fmla="*/ 875651 h 5973007"/>
              <a:gd name="connsiteX65283" fmla="*/ 1251466 w 6884782"/>
              <a:gd name="connsiteY65283" fmla="*/ 882621 h 5973007"/>
              <a:gd name="connsiteX65284" fmla="*/ 1240107 w 6884782"/>
              <a:gd name="connsiteY65284" fmla="*/ 873328 h 5973007"/>
              <a:gd name="connsiteX65285" fmla="*/ 1242586 w 6884782"/>
              <a:gd name="connsiteY65285" fmla="*/ 868526 h 5973007"/>
              <a:gd name="connsiteX65286" fmla="*/ 3805274 w 6884782"/>
              <a:gd name="connsiteY65286" fmla="*/ 865706 h 5973007"/>
              <a:gd name="connsiteX65287" fmla="*/ 3804207 w 6884782"/>
              <a:gd name="connsiteY65287" fmla="*/ 872678 h 5973007"/>
              <a:gd name="connsiteX65288" fmla="*/ 3799939 w 6884782"/>
              <a:gd name="connsiteY65288" fmla="*/ 870970 h 5973007"/>
              <a:gd name="connsiteX65289" fmla="*/ 3805274 w 6884782"/>
              <a:gd name="connsiteY65289" fmla="*/ 865706 h 5973007"/>
              <a:gd name="connsiteX65290" fmla="*/ 1394269 w 6884782"/>
              <a:gd name="connsiteY65290" fmla="*/ 864654 h 5973007"/>
              <a:gd name="connsiteX65291" fmla="*/ 1394992 w 6884782"/>
              <a:gd name="connsiteY65291" fmla="*/ 865118 h 5973007"/>
              <a:gd name="connsiteX65292" fmla="*/ 1395198 w 6884782"/>
              <a:gd name="connsiteY65292" fmla="*/ 864963 h 5973007"/>
              <a:gd name="connsiteX65293" fmla="*/ 1396024 w 6884782"/>
              <a:gd name="connsiteY65293" fmla="*/ 866667 h 5973007"/>
              <a:gd name="connsiteX65294" fmla="*/ 1395921 w 6884782"/>
              <a:gd name="connsiteY65294" fmla="*/ 868371 h 5973007"/>
              <a:gd name="connsiteX65295" fmla="*/ 1392617 w 6884782"/>
              <a:gd name="connsiteY65295" fmla="*/ 867132 h 5973007"/>
              <a:gd name="connsiteX65296" fmla="*/ 1393443 w 6884782"/>
              <a:gd name="connsiteY65296" fmla="*/ 865893 h 5973007"/>
              <a:gd name="connsiteX65297" fmla="*/ 1392617 w 6884782"/>
              <a:gd name="connsiteY65297" fmla="*/ 865428 h 5973007"/>
              <a:gd name="connsiteX65298" fmla="*/ 1394269 w 6884782"/>
              <a:gd name="connsiteY65298" fmla="*/ 864654 h 5973007"/>
              <a:gd name="connsiteX65299" fmla="*/ 1486167 w 6884782"/>
              <a:gd name="connsiteY65299" fmla="*/ 861711 h 5973007"/>
              <a:gd name="connsiteX65300" fmla="*/ 1487923 w 6884782"/>
              <a:gd name="connsiteY65300" fmla="*/ 862020 h 5973007"/>
              <a:gd name="connsiteX65301" fmla="*/ 1489471 w 6884782"/>
              <a:gd name="connsiteY65301" fmla="*/ 863259 h 5973007"/>
              <a:gd name="connsiteX65302" fmla="*/ 1486787 w 6884782"/>
              <a:gd name="connsiteY65302" fmla="*/ 865118 h 5973007"/>
              <a:gd name="connsiteX65303" fmla="*/ 1486064 w 6884782"/>
              <a:gd name="connsiteY65303" fmla="*/ 863724 h 5973007"/>
              <a:gd name="connsiteX65304" fmla="*/ 1485341 w 6884782"/>
              <a:gd name="connsiteY65304" fmla="*/ 864034 h 5973007"/>
              <a:gd name="connsiteX65305" fmla="*/ 1485341 w 6884782"/>
              <a:gd name="connsiteY65305" fmla="*/ 862175 h 5973007"/>
              <a:gd name="connsiteX65306" fmla="*/ 1486064 w 6884782"/>
              <a:gd name="connsiteY65306" fmla="*/ 861865 h 5973007"/>
              <a:gd name="connsiteX65307" fmla="*/ 1486167 w 6884782"/>
              <a:gd name="connsiteY65307" fmla="*/ 861711 h 5973007"/>
              <a:gd name="connsiteX65308" fmla="*/ 1343815 w 6884782"/>
              <a:gd name="connsiteY65308" fmla="*/ 861343 h 5973007"/>
              <a:gd name="connsiteX65309" fmla="*/ 1353483 w 6884782"/>
              <a:gd name="connsiteY65309" fmla="*/ 861556 h 5973007"/>
              <a:gd name="connsiteX65310" fmla="*/ 1344190 w 6884782"/>
              <a:gd name="connsiteY65310" fmla="*/ 867132 h 5973007"/>
              <a:gd name="connsiteX65311" fmla="*/ 1333761 w 6884782"/>
              <a:gd name="connsiteY65311" fmla="*/ 866822 h 5973007"/>
              <a:gd name="connsiteX65312" fmla="*/ 1343815 w 6884782"/>
              <a:gd name="connsiteY65312" fmla="*/ 861343 h 5973007"/>
              <a:gd name="connsiteX65313" fmla="*/ 3466790 w 6884782"/>
              <a:gd name="connsiteY65313" fmla="*/ 861296 h 5973007"/>
              <a:gd name="connsiteX65314" fmla="*/ 3476394 w 6884782"/>
              <a:gd name="connsiteY65314" fmla="*/ 874100 h 5973007"/>
              <a:gd name="connsiteX65315" fmla="*/ 3480236 w 6884782"/>
              <a:gd name="connsiteY65315" fmla="*/ 893164 h 5973007"/>
              <a:gd name="connsiteX65316" fmla="*/ 3464656 w 6884782"/>
              <a:gd name="connsiteY65316" fmla="*/ 891599 h 5973007"/>
              <a:gd name="connsiteX65317" fmla="*/ 3466790 w 6884782"/>
              <a:gd name="connsiteY65317" fmla="*/ 861296 h 5973007"/>
              <a:gd name="connsiteX65318" fmla="*/ 1111244 w 6884782"/>
              <a:gd name="connsiteY65318" fmla="*/ 861091 h 5973007"/>
              <a:gd name="connsiteX65319" fmla="*/ 1113309 w 6884782"/>
              <a:gd name="connsiteY65319" fmla="*/ 861556 h 5973007"/>
              <a:gd name="connsiteX65320" fmla="*/ 1107836 w 6884782"/>
              <a:gd name="connsiteY65320" fmla="*/ 876116 h 5973007"/>
              <a:gd name="connsiteX65321" fmla="*/ 1106081 w 6884782"/>
              <a:gd name="connsiteY65321" fmla="*/ 875187 h 5973007"/>
              <a:gd name="connsiteX65322" fmla="*/ 1105461 w 6884782"/>
              <a:gd name="connsiteY65322" fmla="*/ 872863 h 5973007"/>
              <a:gd name="connsiteX65323" fmla="*/ 1108043 w 6884782"/>
              <a:gd name="connsiteY65323" fmla="*/ 865273 h 5973007"/>
              <a:gd name="connsiteX65324" fmla="*/ 1108869 w 6884782"/>
              <a:gd name="connsiteY65324" fmla="*/ 863724 h 5973007"/>
              <a:gd name="connsiteX65325" fmla="*/ 1109798 w 6884782"/>
              <a:gd name="connsiteY65325" fmla="*/ 862020 h 5973007"/>
              <a:gd name="connsiteX65326" fmla="*/ 1111244 w 6884782"/>
              <a:gd name="connsiteY65326" fmla="*/ 861091 h 5973007"/>
              <a:gd name="connsiteX65327" fmla="*/ 1781790 w 6884782"/>
              <a:gd name="connsiteY65327" fmla="*/ 860936 h 5973007"/>
              <a:gd name="connsiteX65328" fmla="*/ 1782616 w 6884782"/>
              <a:gd name="connsiteY65328" fmla="*/ 861091 h 5973007"/>
              <a:gd name="connsiteX65329" fmla="*/ 1781820 w 6884782"/>
              <a:gd name="connsiteY65329" fmla="*/ 860976 h 5973007"/>
              <a:gd name="connsiteX65330" fmla="*/ 3649904 w 6884782"/>
              <a:gd name="connsiteY65330" fmla="*/ 860585 h 5973007"/>
              <a:gd name="connsiteX65331" fmla="*/ 3658014 w 6884782"/>
              <a:gd name="connsiteY65331" fmla="*/ 867840 h 5973007"/>
              <a:gd name="connsiteX65332" fmla="*/ 3652679 w 6884782"/>
              <a:gd name="connsiteY65332" fmla="*/ 872393 h 5973007"/>
              <a:gd name="connsiteX65333" fmla="*/ 3649904 w 6884782"/>
              <a:gd name="connsiteY65333" fmla="*/ 860585 h 5973007"/>
              <a:gd name="connsiteX65334" fmla="*/ 3374806 w 6884782"/>
              <a:gd name="connsiteY65334" fmla="*/ 860300 h 5973007"/>
              <a:gd name="connsiteX65335" fmla="*/ 3387611 w 6884782"/>
              <a:gd name="connsiteY65335" fmla="*/ 868409 h 5973007"/>
              <a:gd name="connsiteX65336" fmla="*/ 3371392 w 6884782"/>
              <a:gd name="connsiteY65336" fmla="*/ 860585 h 5973007"/>
              <a:gd name="connsiteX65337" fmla="*/ 3374806 w 6884782"/>
              <a:gd name="connsiteY65337" fmla="*/ 860300 h 5973007"/>
              <a:gd name="connsiteX65338" fmla="*/ 4036194 w 6884782"/>
              <a:gd name="connsiteY65338" fmla="*/ 859446 h 5973007"/>
              <a:gd name="connsiteX65339" fmla="*/ 4029792 w 6884782"/>
              <a:gd name="connsiteY65339" fmla="*/ 873104 h 5973007"/>
              <a:gd name="connsiteX65340" fmla="*/ 4036194 w 6884782"/>
              <a:gd name="connsiteY65340" fmla="*/ 859446 h 5973007"/>
              <a:gd name="connsiteX65341" fmla="*/ 3298188 w 6884782"/>
              <a:gd name="connsiteY65341" fmla="*/ 859162 h 5973007"/>
              <a:gd name="connsiteX65342" fmla="*/ 3300536 w 6884782"/>
              <a:gd name="connsiteY65342" fmla="*/ 860727 h 5973007"/>
              <a:gd name="connsiteX65343" fmla="*/ 3285383 w 6884782"/>
              <a:gd name="connsiteY65343" fmla="*/ 876235 h 5973007"/>
              <a:gd name="connsiteX65344" fmla="*/ 3283890 w 6884782"/>
              <a:gd name="connsiteY65344" fmla="*/ 873816 h 5973007"/>
              <a:gd name="connsiteX65345" fmla="*/ 3284317 w 6884782"/>
              <a:gd name="connsiteY65345" fmla="*/ 870686 h 5973007"/>
              <a:gd name="connsiteX65346" fmla="*/ 3291786 w 6884782"/>
              <a:gd name="connsiteY65346" fmla="*/ 862434 h 5973007"/>
              <a:gd name="connsiteX65347" fmla="*/ 3293921 w 6884782"/>
              <a:gd name="connsiteY65347" fmla="*/ 861011 h 5973007"/>
              <a:gd name="connsiteX65348" fmla="*/ 3295841 w 6884782"/>
              <a:gd name="connsiteY65348" fmla="*/ 859446 h 5973007"/>
              <a:gd name="connsiteX65349" fmla="*/ 3298188 w 6884782"/>
              <a:gd name="connsiteY65349" fmla="*/ 859162 h 5973007"/>
              <a:gd name="connsiteX65350" fmla="*/ 4776121 w 6884782"/>
              <a:gd name="connsiteY65350" fmla="*/ 857881 h 5973007"/>
              <a:gd name="connsiteX65351" fmla="*/ 4779322 w 6884782"/>
              <a:gd name="connsiteY65351" fmla="*/ 860300 h 5973007"/>
              <a:gd name="connsiteX65352" fmla="*/ 4780176 w 6884782"/>
              <a:gd name="connsiteY65352" fmla="*/ 864995 h 5973007"/>
              <a:gd name="connsiteX65353" fmla="*/ 4770572 w 6884782"/>
              <a:gd name="connsiteY65353" fmla="*/ 867129 h 5973007"/>
              <a:gd name="connsiteX65354" fmla="*/ 4772493 w 6884782"/>
              <a:gd name="connsiteY65354" fmla="*/ 860015 h 5973007"/>
              <a:gd name="connsiteX65355" fmla="*/ 4776121 w 6884782"/>
              <a:gd name="connsiteY65355" fmla="*/ 857881 h 5973007"/>
              <a:gd name="connsiteX65356" fmla="*/ 1787572 w 6884782"/>
              <a:gd name="connsiteY65356" fmla="*/ 853966 h 5973007"/>
              <a:gd name="connsiteX65357" fmla="*/ 1796452 w 6884782"/>
              <a:gd name="connsiteY65357" fmla="*/ 862175 h 5973007"/>
              <a:gd name="connsiteX65358" fmla="*/ 1794077 w 6884782"/>
              <a:gd name="connsiteY65358" fmla="*/ 864963 h 5973007"/>
              <a:gd name="connsiteX65359" fmla="*/ 1787572 w 6884782"/>
              <a:gd name="connsiteY65359" fmla="*/ 853966 h 5973007"/>
              <a:gd name="connsiteX65360" fmla="*/ 3512462 w 6884782"/>
              <a:gd name="connsiteY65360" fmla="*/ 853898 h 5973007"/>
              <a:gd name="connsiteX65361" fmla="*/ 3516517 w 6884782"/>
              <a:gd name="connsiteY65361" fmla="*/ 859304 h 5973007"/>
              <a:gd name="connsiteX65362" fmla="*/ 3505206 w 6884782"/>
              <a:gd name="connsiteY65362" fmla="*/ 869121 h 5973007"/>
              <a:gd name="connsiteX65363" fmla="*/ 3503712 w 6884782"/>
              <a:gd name="connsiteY65363" fmla="*/ 860727 h 5973007"/>
              <a:gd name="connsiteX65364" fmla="*/ 3506273 w 6884782"/>
              <a:gd name="connsiteY65364" fmla="*/ 857739 h 5973007"/>
              <a:gd name="connsiteX65365" fmla="*/ 3512889 w 6884782"/>
              <a:gd name="connsiteY65365" fmla="*/ 854894 h 5973007"/>
              <a:gd name="connsiteX65366" fmla="*/ 3512462 w 6884782"/>
              <a:gd name="connsiteY65366" fmla="*/ 853898 h 5973007"/>
              <a:gd name="connsiteX65367" fmla="*/ 1571870 w 6884782"/>
              <a:gd name="connsiteY65367" fmla="*/ 853656 h 5973007"/>
              <a:gd name="connsiteX65368" fmla="*/ 1574968 w 6884782"/>
              <a:gd name="connsiteY65368" fmla="*/ 854121 h 5973007"/>
              <a:gd name="connsiteX65369" fmla="*/ 1577239 w 6884782"/>
              <a:gd name="connsiteY65369" fmla="*/ 856909 h 5973007"/>
              <a:gd name="connsiteX65370" fmla="*/ 1571663 w 6884782"/>
              <a:gd name="connsiteY65370" fmla="*/ 860936 h 5973007"/>
              <a:gd name="connsiteX65371" fmla="*/ 1570114 w 6884782"/>
              <a:gd name="connsiteY65371" fmla="*/ 855980 h 5973007"/>
              <a:gd name="connsiteX65372" fmla="*/ 1571870 w 6884782"/>
              <a:gd name="connsiteY65372" fmla="*/ 853656 h 5973007"/>
              <a:gd name="connsiteX65373" fmla="*/ 3360507 w 6884782"/>
              <a:gd name="connsiteY65373" fmla="*/ 852049 h 5973007"/>
              <a:gd name="connsiteX65374" fmla="*/ 3361574 w 6884782"/>
              <a:gd name="connsiteY65374" fmla="*/ 870401 h 5973007"/>
              <a:gd name="connsiteX65375" fmla="*/ 3326360 w 6884782"/>
              <a:gd name="connsiteY65375" fmla="*/ 908814 h 5973007"/>
              <a:gd name="connsiteX65376" fmla="*/ 3333403 w 6884782"/>
              <a:gd name="connsiteY65376" fmla="*/ 889892 h 5973007"/>
              <a:gd name="connsiteX65377" fmla="*/ 3329134 w 6884782"/>
              <a:gd name="connsiteY65377" fmla="*/ 888469 h 5973007"/>
              <a:gd name="connsiteX65378" fmla="*/ 3329134 w 6884782"/>
              <a:gd name="connsiteY65378" fmla="*/ 887189 h 5973007"/>
              <a:gd name="connsiteX65379" fmla="*/ 3327214 w 6884782"/>
              <a:gd name="connsiteY65379" fmla="*/ 889750 h 5973007"/>
              <a:gd name="connsiteX65380" fmla="*/ 3321451 w 6884782"/>
              <a:gd name="connsiteY65380" fmla="*/ 891315 h 5973007"/>
              <a:gd name="connsiteX65381" fmla="*/ 3321025 w 6884782"/>
              <a:gd name="connsiteY65381" fmla="*/ 890461 h 5973007"/>
              <a:gd name="connsiteX65382" fmla="*/ 3320811 w 6884782"/>
              <a:gd name="connsiteY65382" fmla="*/ 891172 h 5973007"/>
              <a:gd name="connsiteX65383" fmla="*/ 3320384 w 6884782"/>
              <a:gd name="connsiteY65383" fmla="*/ 891172 h 5973007"/>
              <a:gd name="connsiteX65384" fmla="*/ 3320384 w 6884782"/>
              <a:gd name="connsiteY65384" fmla="*/ 894018 h 5973007"/>
              <a:gd name="connsiteX65385" fmla="*/ 3310780 w 6884782"/>
              <a:gd name="connsiteY65385" fmla="*/ 907961 h 5973007"/>
              <a:gd name="connsiteX65386" fmla="*/ 3306725 w 6884782"/>
              <a:gd name="connsiteY65386" fmla="*/ 906253 h 5973007"/>
              <a:gd name="connsiteX65387" fmla="*/ 3306939 w 6884782"/>
              <a:gd name="connsiteY65387" fmla="*/ 906679 h 5973007"/>
              <a:gd name="connsiteX65388" fmla="*/ 3305872 w 6884782"/>
              <a:gd name="connsiteY65388" fmla="*/ 906111 h 5973007"/>
              <a:gd name="connsiteX65389" fmla="*/ 3305872 w 6884782"/>
              <a:gd name="connsiteY65389" fmla="*/ 905826 h 5973007"/>
              <a:gd name="connsiteX65390" fmla="*/ 3304378 w 6884782"/>
              <a:gd name="connsiteY65390" fmla="*/ 906538 h 5973007"/>
              <a:gd name="connsiteX65391" fmla="*/ 3302457 w 6884782"/>
              <a:gd name="connsiteY65391" fmla="*/ 904261 h 5973007"/>
              <a:gd name="connsiteX65392" fmla="*/ 3300323 w 6884782"/>
              <a:gd name="connsiteY65392" fmla="*/ 903265 h 5973007"/>
              <a:gd name="connsiteX65393" fmla="*/ 3289865 w 6884782"/>
              <a:gd name="connsiteY65393" fmla="*/ 877088 h 5973007"/>
              <a:gd name="connsiteX65394" fmla="*/ 3306299 w 6884782"/>
              <a:gd name="connsiteY65394" fmla="*/ 868552 h 5973007"/>
              <a:gd name="connsiteX65395" fmla="*/ 3314408 w 6884782"/>
              <a:gd name="connsiteY65395" fmla="*/ 872820 h 5973007"/>
              <a:gd name="connsiteX65396" fmla="*/ 3315903 w 6884782"/>
              <a:gd name="connsiteY65396" fmla="*/ 874811 h 5973007"/>
              <a:gd name="connsiteX65397" fmla="*/ 3321238 w 6884782"/>
              <a:gd name="connsiteY65397" fmla="*/ 874100 h 5973007"/>
              <a:gd name="connsiteX65398" fmla="*/ 3321665 w 6884782"/>
              <a:gd name="connsiteY65398" fmla="*/ 875238 h 5973007"/>
              <a:gd name="connsiteX65399" fmla="*/ 3323586 w 6884782"/>
              <a:gd name="connsiteY65399" fmla="*/ 873246 h 5973007"/>
              <a:gd name="connsiteX65400" fmla="*/ 3331909 w 6884782"/>
              <a:gd name="connsiteY65400" fmla="*/ 872108 h 5973007"/>
              <a:gd name="connsiteX65401" fmla="*/ 3331482 w 6884782"/>
              <a:gd name="connsiteY65401" fmla="*/ 871539 h 5973007"/>
              <a:gd name="connsiteX65402" fmla="*/ 3331055 w 6884782"/>
              <a:gd name="connsiteY65402" fmla="*/ 867982 h 5973007"/>
              <a:gd name="connsiteX65403" fmla="*/ 3334470 w 6884782"/>
              <a:gd name="connsiteY65403" fmla="*/ 866987 h 5973007"/>
              <a:gd name="connsiteX65404" fmla="*/ 3341513 w 6884782"/>
              <a:gd name="connsiteY65404" fmla="*/ 870828 h 5973007"/>
              <a:gd name="connsiteX65405" fmla="*/ 3342367 w 6884782"/>
              <a:gd name="connsiteY65405" fmla="*/ 871824 h 5973007"/>
              <a:gd name="connsiteX65406" fmla="*/ 3346848 w 6884782"/>
              <a:gd name="connsiteY65406" fmla="*/ 864852 h 5973007"/>
              <a:gd name="connsiteX65407" fmla="*/ 3351544 w 6884782"/>
              <a:gd name="connsiteY65407" fmla="*/ 860300 h 5973007"/>
              <a:gd name="connsiteX65408" fmla="*/ 3353251 w 6884782"/>
              <a:gd name="connsiteY65408" fmla="*/ 854325 h 5973007"/>
              <a:gd name="connsiteX65409" fmla="*/ 3354531 w 6884782"/>
              <a:gd name="connsiteY65409" fmla="*/ 857739 h 5973007"/>
              <a:gd name="connsiteX65410" fmla="*/ 1504805 w 6884782"/>
              <a:gd name="connsiteY65410" fmla="*/ 848738 h 5973007"/>
              <a:gd name="connsiteX65411" fmla="*/ 1514356 w 6884782"/>
              <a:gd name="connsiteY65411" fmla="*/ 849938 h 5973007"/>
              <a:gd name="connsiteX65412" fmla="*/ 1504650 w 6884782"/>
              <a:gd name="connsiteY65412" fmla="*/ 854585 h 5973007"/>
              <a:gd name="connsiteX65413" fmla="*/ 1494324 w 6884782"/>
              <a:gd name="connsiteY65413" fmla="*/ 853346 h 5973007"/>
              <a:gd name="connsiteX65414" fmla="*/ 1504805 w 6884782"/>
              <a:gd name="connsiteY65414" fmla="*/ 848738 h 5973007"/>
              <a:gd name="connsiteX65415" fmla="*/ 3111659 w 6884782"/>
              <a:gd name="connsiteY65415" fmla="*/ 848492 h 5973007"/>
              <a:gd name="connsiteX65416" fmla="*/ 3093092 w 6884782"/>
              <a:gd name="connsiteY65416" fmla="*/ 852475 h 5973007"/>
              <a:gd name="connsiteX65417" fmla="*/ 3111659 w 6884782"/>
              <a:gd name="connsiteY65417" fmla="*/ 848492 h 5973007"/>
              <a:gd name="connsiteX65418" fmla="*/ 3233736 w 6884782"/>
              <a:gd name="connsiteY65418" fmla="*/ 847212 h 5973007"/>
              <a:gd name="connsiteX65419" fmla="*/ 3240138 w 6884782"/>
              <a:gd name="connsiteY65419" fmla="*/ 851764 h 5973007"/>
              <a:gd name="connsiteX65420" fmla="*/ 3239498 w 6884782"/>
              <a:gd name="connsiteY65420" fmla="*/ 855748 h 5973007"/>
              <a:gd name="connsiteX65421" fmla="*/ 3234590 w 6884782"/>
              <a:gd name="connsiteY65421" fmla="*/ 859446 h 5973007"/>
              <a:gd name="connsiteX65422" fmla="*/ 3230748 w 6884782"/>
              <a:gd name="connsiteY65422" fmla="*/ 849914 h 5973007"/>
              <a:gd name="connsiteX65423" fmla="*/ 3233736 w 6884782"/>
              <a:gd name="connsiteY65423" fmla="*/ 847212 h 5973007"/>
              <a:gd name="connsiteX65424" fmla="*/ 3112727 w 6884782"/>
              <a:gd name="connsiteY65424" fmla="*/ 847212 h 5973007"/>
              <a:gd name="connsiteX65425" fmla="*/ 3114434 w 6884782"/>
              <a:gd name="connsiteY65425" fmla="*/ 848776 h 5973007"/>
              <a:gd name="connsiteX65426" fmla="*/ 3111873 w 6884782"/>
              <a:gd name="connsiteY65426" fmla="*/ 848634 h 5973007"/>
              <a:gd name="connsiteX65427" fmla="*/ 3112727 w 6884782"/>
              <a:gd name="connsiteY65427" fmla="*/ 847212 h 5973007"/>
              <a:gd name="connsiteX65428" fmla="*/ 1780860 w 6884782"/>
              <a:gd name="connsiteY65428" fmla="*/ 847150 h 5973007"/>
              <a:gd name="connsiteX65429" fmla="*/ 1784165 w 6884782"/>
              <a:gd name="connsiteY65429" fmla="*/ 849319 h 5973007"/>
              <a:gd name="connsiteX65430" fmla="*/ 1780654 w 6884782"/>
              <a:gd name="connsiteY65430" fmla="*/ 853036 h 5973007"/>
              <a:gd name="connsiteX65431" fmla="*/ 1777350 w 6884782"/>
              <a:gd name="connsiteY65431" fmla="*/ 850868 h 5973007"/>
              <a:gd name="connsiteX65432" fmla="*/ 1780860 w 6884782"/>
              <a:gd name="connsiteY65432" fmla="*/ 847150 h 5973007"/>
              <a:gd name="connsiteX65433" fmla="*/ 3118276 w 6884782"/>
              <a:gd name="connsiteY65433" fmla="*/ 847069 h 5973007"/>
              <a:gd name="connsiteX65434" fmla="*/ 3121690 w 6884782"/>
              <a:gd name="connsiteY65434" fmla="*/ 847212 h 5973007"/>
              <a:gd name="connsiteX65435" fmla="*/ 3132575 w 6884782"/>
              <a:gd name="connsiteY65435" fmla="*/ 852475 h 5973007"/>
              <a:gd name="connsiteX65436" fmla="*/ 3124892 w 6884782"/>
              <a:gd name="connsiteY65436" fmla="*/ 861296 h 5973007"/>
              <a:gd name="connsiteX65437" fmla="*/ 3123398 w 6884782"/>
              <a:gd name="connsiteY65437" fmla="*/ 861011 h 5973007"/>
              <a:gd name="connsiteX65438" fmla="*/ 3112300 w 6884782"/>
              <a:gd name="connsiteY65438" fmla="*/ 852902 h 5973007"/>
              <a:gd name="connsiteX65439" fmla="*/ 3118276 w 6884782"/>
              <a:gd name="connsiteY65439" fmla="*/ 847069 h 5973007"/>
              <a:gd name="connsiteX65440" fmla="*/ 3512462 w 6884782"/>
              <a:gd name="connsiteY65440" fmla="*/ 846500 h 5973007"/>
              <a:gd name="connsiteX65441" fmla="*/ 3514383 w 6884782"/>
              <a:gd name="connsiteY65441" fmla="*/ 847212 h 5973007"/>
              <a:gd name="connsiteX65442" fmla="*/ 3517798 w 6884782"/>
              <a:gd name="connsiteY65442" fmla="*/ 848919 h 5973007"/>
              <a:gd name="connsiteX65443" fmla="*/ 3518224 w 6884782"/>
              <a:gd name="connsiteY65443" fmla="*/ 851052 h 5973007"/>
              <a:gd name="connsiteX65444" fmla="*/ 3517584 w 6884782"/>
              <a:gd name="connsiteY65444" fmla="*/ 853613 h 5973007"/>
              <a:gd name="connsiteX65445" fmla="*/ 3511822 w 6884782"/>
              <a:gd name="connsiteY65445" fmla="*/ 851622 h 5973007"/>
              <a:gd name="connsiteX65446" fmla="*/ 3510968 w 6884782"/>
              <a:gd name="connsiteY65446" fmla="*/ 847923 h 5973007"/>
              <a:gd name="connsiteX65447" fmla="*/ 3512462 w 6884782"/>
              <a:gd name="connsiteY65447" fmla="*/ 846500 h 5973007"/>
              <a:gd name="connsiteX65448" fmla="*/ 1208304 w 6884782"/>
              <a:gd name="connsiteY65448" fmla="*/ 846221 h 5973007"/>
              <a:gd name="connsiteX65449" fmla="*/ 1209750 w 6884782"/>
              <a:gd name="connsiteY65449" fmla="*/ 846686 h 5973007"/>
              <a:gd name="connsiteX65450" fmla="*/ 1211402 w 6884782"/>
              <a:gd name="connsiteY65450" fmla="*/ 848080 h 5973007"/>
              <a:gd name="connsiteX65451" fmla="*/ 1208408 w 6884782"/>
              <a:gd name="connsiteY65451" fmla="*/ 851023 h 5973007"/>
              <a:gd name="connsiteX65452" fmla="*/ 1205723 w 6884782"/>
              <a:gd name="connsiteY65452" fmla="*/ 850248 h 5973007"/>
              <a:gd name="connsiteX65453" fmla="*/ 1205207 w 6884782"/>
              <a:gd name="connsiteY65453" fmla="*/ 848854 h 5973007"/>
              <a:gd name="connsiteX65454" fmla="*/ 1206239 w 6884782"/>
              <a:gd name="connsiteY65454" fmla="*/ 847770 h 5973007"/>
              <a:gd name="connsiteX65455" fmla="*/ 1208304 w 6884782"/>
              <a:gd name="connsiteY65455" fmla="*/ 846221 h 5973007"/>
              <a:gd name="connsiteX65456" fmla="*/ 1190544 w 6884782"/>
              <a:gd name="connsiteY65456" fmla="*/ 846066 h 5973007"/>
              <a:gd name="connsiteX65457" fmla="*/ 1198392 w 6884782"/>
              <a:gd name="connsiteY65457" fmla="*/ 851642 h 5973007"/>
              <a:gd name="connsiteX65458" fmla="*/ 1188273 w 6884782"/>
              <a:gd name="connsiteY65458" fmla="*/ 850093 h 5973007"/>
              <a:gd name="connsiteX65459" fmla="*/ 1190544 w 6884782"/>
              <a:gd name="connsiteY65459" fmla="*/ 846066 h 5973007"/>
              <a:gd name="connsiteX65460" fmla="*/ 3117849 w 6884782"/>
              <a:gd name="connsiteY65460" fmla="*/ 845362 h 5973007"/>
              <a:gd name="connsiteX65461" fmla="*/ 3119770 w 6884782"/>
              <a:gd name="connsiteY65461" fmla="*/ 845362 h 5973007"/>
              <a:gd name="connsiteX65462" fmla="*/ 3119983 w 6884782"/>
              <a:gd name="connsiteY65462" fmla="*/ 846500 h 5973007"/>
              <a:gd name="connsiteX65463" fmla="*/ 3117422 w 6884782"/>
              <a:gd name="connsiteY65463" fmla="*/ 846357 h 5973007"/>
              <a:gd name="connsiteX65464" fmla="*/ 3117849 w 6884782"/>
              <a:gd name="connsiteY65464" fmla="*/ 845362 h 5973007"/>
              <a:gd name="connsiteX65465" fmla="*/ 1379916 w 6884782"/>
              <a:gd name="connsiteY65465" fmla="*/ 845136 h 5973007"/>
              <a:gd name="connsiteX65466" fmla="*/ 1380639 w 6884782"/>
              <a:gd name="connsiteY65466" fmla="*/ 850093 h 5973007"/>
              <a:gd name="connsiteX65467" fmla="*/ 1380433 w 6884782"/>
              <a:gd name="connsiteY65467" fmla="*/ 854276 h 5973007"/>
              <a:gd name="connsiteX65468" fmla="*/ 1376302 w 6884782"/>
              <a:gd name="connsiteY65468" fmla="*/ 867751 h 5973007"/>
              <a:gd name="connsiteX65469" fmla="*/ 1375476 w 6884782"/>
              <a:gd name="connsiteY65469" fmla="*/ 862020 h 5973007"/>
              <a:gd name="connsiteX65470" fmla="*/ 1376302 w 6884782"/>
              <a:gd name="connsiteY65470" fmla="*/ 848544 h 5973007"/>
              <a:gd name="connsiteX65471" fmla="*/ 1378058 w 6884782"/>
              <a:gd name="connsiteY65471" fmla="*/ 846840 h 5973007"/>
              <a:gd name="connsiteX65472" fmla="*/ 1378161 w 6884782"/>
              <a:gd name="connsiteY65472" fmla="*/ 846066 h 5973007"/>
              <a:gd name="connsiteX65473" fmla="*/ 1379916 w 6884782"/>
              <a:gd name="connsiteY65473" fmla="*/ 845136 h 5973007"/>
              <a:gd name="connsiteX65474" fmla="*/ 3371392 w 6884782"/>
              <a:gd name="connsiteY65474" fmla="*/ 844650 h 5973007"/>
              <a:gd name="connsiteX65475" fmla="*/ 3374166 w 6884782"/>
              <a:gd name="connsiteY65475" fmla="*/ 844935 h 5973007"/>
              <a:gd name="connsiteX65476" fmla="*/ 3386758 w 6884782"/>
              <a:gd name="connsiteY65476" fmla="*/ 850910 h 5973007"/>
              <a:gd name="connsiteX65477" fmla="*/ 3382489 w 6884782"/>
              <a:gd name="connsiteY65477" fmla="*/ 862292 h 5973007"/>
              <a:gd name="connsiteX65478" fmla="*/ 3366270 w 6884782"/>
              <a:gd name="connsiteY65478" fmla="*/ 853329 h 5973007"/>
              <a:gd name="connsiteX65479" fmla="*/ 3371392 w 6884782"/>
              <a:gd name="connsiteY65479" fmla="*/ 844650 h 5973007"/>
              <a:gd name="connsiteX65480" fmla="*/ 1568772 w 6884782"/>
              <a:gd name="connsiteY65480" fmla="*/ 843278 h 5973007"/>
              <a:gd name="connsiteX65481" fmla="*/ 1569805 w 6884782"/>
              <a:gd name="connsiteY65481" fmla="*/ 852107 h 5973007"/>
              <a:gd name="connsiteX65482" fmla="*/ 1563093 w 6884782"/>
              <a:gd name="connsiteY65482" fmla="*/ 847615 h 5973007"/>
              <a:gd name="connsiteX65483" fmla="*/ 1563919 w 6884782"/>
              <a:gd name="connsiteY65483" fmla="*/ 844827 h 5973007"/>
              <a:gd name="connsiteX65484" fmla="*/ 1568772 w 6884782"/>
              <a:gd name="connsiteY65484" fmla="*/ 843278 h 5973007"/>
              <a:gd name="connsiteX65485" fmla="*/ 3604019 w 6884782"/>
              <a:gd name="connsiteY65485" fmla="*/ 839244 h 5973007"/>
              <a:gd name="connsiteX65486" fmla="*/ 3607007 w 6884782"/>
              <a:gd name="connsiteY65486" fmla="*/ 841094 h 5973007"/>
              <a:gd name="connsiteX65487" fmla="*/ 3592281 w 6884782"/>
              <a:gd name="connsiteY65487" fmla="*/ 861723 h 5973007"/>
              <a:gd name="connsiteX65488" fmla="*/ 3589933 w 6884782"/>
              <a:gd name="connsiteY65488" fmla="*/ 858166 h 5973007"/>
              <a:gd name="connsiteX65489" fmla="*/ 3604019 w 6884782"/>
              <a:gd name="connsiteY65489" fmla="*/ 839244 h 5973007"/>
              <a:gd name="connsiteX65490" fmla="*/ 3799512 w 6884782"/>
              <a:gd name="connsiteY65490" fmla="*/ 838533 h 5973007"/>
              <a:gd name="connsiteX65491" fmla="*/ 3801646 w 6884782"/>
              <a:gd name="connsiteY65491" fmla="*/ 839244 h 5973007"/>
              <a:gd name="connsiteX65492" fmla="*/ 3781371 w 6884782"/>
              <a:gd name="connsiteY65492" fmla="*/ 866133 h 5973007"/>
              <a:gd name="connsiteX65493" fmla="*/ 3794176 w 6884782"/>
              <a:gd name="connsiteY65493" fmla="*/ 840240 h 5973007"/>
              <a:gd name="connsiteX65494" fmla="*/ 3799512 w 6884782"/>
              <a:gd name="connsiteY65494" fmla="*/ 838533 h 5973007"/>
              <a:gd name="connsiteX65495" fmla="*/ 4019547 w 6884782"/>
              <a:gd name="connsiteY65495" fmla="*/ 837821 h 5973007"/>
              <a:gd name="connsiteX65496" fmla="*/ 4025523 w 6884782"/>
              <a:gd name="connsiteY65496" fmla="*/ 841805 h 5973007"/>
              <a:gd name="connsiteX65497" fmla="*/ 4019974 w 6884782"/>
              <a:gd name="connsiteY65497" fmla="*/ 857739 h 5973007"/>
              <a:gd name="connsiteX65498" fmla="*/ 4010797 w 6884782"/>
              <a:gd name="connsiteY65498" fmla="*/ 854894 h 5973007"/>
              <a:gd name="connsiteX65499" fmla="*/ 4019547 w 6884782"/>
              <a:gd name="connsiteY65499" fmla="*/ 837821 h 5973007"/>
              <a:gd name="connsiteX65500" fmla="*/ 1743172 w 6884782"/>
              <a:gd name="connsiteY65500" fmla="*/ 837702 h 5973007"/>
              <a:gd name="connsiteX65501" fmla="*/ 1745237 w 6884782"/>
              <a:gd name="connsiteY65501" fmla="*/ 838476 h 5973007"/>
              <a:gd name="connsiteX65502" fmla="*/ 1743688 w 6884782"/>
              <a:gd name="connsiteY65502" fmla="*/ 842503 h 5973007"/>
              <a:gd name="connsiteX65503" fmla="*/ 1735531 w 6884782"/>
              <a:gd name="connsiteY65503" fmla="*/ 844517 h 5973007"/>
              <a:gd name="connsiteX65504" fmla="*/ 1736047 w 6884782"/>
              <a:gd name="connsiteY65504" fmla="*/ 841264 h 5973007"/>
              <a:gd name="connsiteX65505" fmla="*/ 1743172 w 6884782"/>
              <a:gd name="connsiteY65505" fmla="*/ 837702 h 5973007"/>
              <a:gd name="connsiteX65506" fmla="*/ 3877410 w 6884782"/>
              <a:gd name="connsiteY65506" fmla="*/ 837110 h 5973007"/>
              <a:gd name="connsiteX65507" fmla="*/ 3882959 w 6884782"/>
              <a:gd name="connsiteY65507" fmla="*/ 838960 h 5973007"/>
              <a:gd name="connsiteX65508" fmla="*/ 3869727 w 6884782"/>
              <a:gd name="connsiteY65508" fmla="*/ 847923 h 5973007"/>
              <a:gd name="connsiteX65509" fmla="*/ 3872288 w 6884782"/>
              <a:gd name="connsiteY65509" fmla="*/ 837964 h 5973007"/>
              <a:gd name="connsiteX65510" fmla="*/ 3877410 w 6884782"/>
              <a:gd name="connsiteY65510" fmla="*/ 837110 h 5973007"/>
              <a:gd name="connsiteX65511" fmla="*/ 1534181 w 6884782"/>
              <a:gd name="connsiteY65511" fmla="*/ 834449 h 5973007"/>
              <a:gd name="connsiteX65512" fmla="*/ 1537795 w 6884782"/>
              <a:gd name="connsiteY65512" fmla="*/ 834914 h 5973007"/>
              <a:gd name="connsiteX65513" fmla="*/ 1543784 w 6884782"/>
              <a:gd name="connsiteY65513" fmla="*/ 835223 h 5973007"/>
              <a:gd name="connsiteX65514" fmla="*/ 1543991 w 6884782"/>
              <a:gd name="connsiteY65514" fmla="*/ 839405 h 5973007"/>
              <a:gd name="connsiteX65515" fmla="*/ 1527882 w 6884782"/>
              <a:gd name="connsiteY65515" fmla="*/ 843433 h 5973007"/>
              <a:gd name="connsiteX65516" fmla="*/ 1526643 w 6884782"/>
              <a:gd name="connsiteY65516" fmla="*/ 840490 h 5973007"/>
              <a:gd name="connsiteX65517" fmla="*/ 1530773 w 6884782"/>
              <a:gd name="connsiteY65517" fmla="*/ 836153 h 5973007"/>
              <a:gd name="connsiteX65518" fmla="*/ 1534181 w 6884782"/>
              <a:gd name="connsiteY65518" fmla="*/ 834449 h 5973007"/>
              <a:gd name="connsiteX65519" fmla="*/ 3112514 w 6884782"/>
              <a:gd name="connsiteY65519" fmla="*/ 833269 h 5973007"/>
              <a:gd name="connsiteX65520" fmla="*/ 3116995 w 6884782"/>
              <a:gd name="connsiteY65520" fmla="*/ 837395 h 5973007"/>
              <a:gd name="connsiteX65521" fmla="*/ 3119130 w 6884782"/>
              <a:gd name="connsiteY65521" fmla="*/ 840098 h 5973007"/>
              <a:gd name="connsiteX65522" fmla="*/ 3121264 w 6884782"/>
              <a:gd name="connsiteY65522" fmla="*/ 841663 h 5973007"/>
              <a:gd name="connsiteX65523" fmla="*/ 3122544 w 6884782"/>
              <a:gd name="connsiteY65523" fmla="*/ 843939 h 5973007"/>
              <a:gd name="connsiteX65524" fmla="*/ 3122758 w 6884782"/>
              <a:gd name="connsiteY65524" fmla="*/ 843939 h 5973007"/>
              <a:gd name="connsiteX65525" fmla="*/ 3125105 w 6884782"/>
              <a:gd name="connsiteY65525" fmla="*/ 843370 h 5973007"/>
              <a:gd name="connsiteX65526" fmla="*/ 3126386 w 6884782"/>
              <a:gd name="connsiteY65526" fmla="*/ 844224 h 5973007"/>
              <a:gd name="connsiteX65527" fmla="*/ 3127239 w 6884782"/>
              <a:gd name="connsiteY65527" fmla="*/ 846215 h 5973007"/>
              <a:gd name="connsiteX65528" fmla="*/ 3123611 w 6884782"/>
              <a:gd name="connsiteY65528" fmla="*/ 846357 h 5973007"/>
              <a:gd name="connsiteX65529" fmla="*/ 3123185 w 6884782"/>
              <a:gd name="connsiteY65529" fmla="*/ 846073 h 5973007"/>
              <a:gd name="connsiteX65530" fmla="*/ 3123185 w 6884782"/>
              <a:gd name="connsiteY65530" fmla="*/ 846784 h 5973007"/>
              <a:gd name="connsiteX65531" fmla="*/ 3121477 w 6884782"/>
              <a:gd name="connsiteY65531" fmla="*/ 845647 h 5973007"/>
              <a:gd name="connsiteX65532" fmla="*/ 3120623 w 6884782"/>
              <a:gd name="connsiteY65532" fmla="*/ 845220 h 5973007"/>
              <a:gd name="connsiteX65533" fmla="*/ 3120837 w 6884782"/>
              <a:gd name="connsiteY65533" fmla="*/ 845077 h 5973007"/>
              <a:gd name="connsiteX65534" fmla="*/ 3118916 w 6884782"/>
              <a:gd name="connsiteY65534" fmla="*/ 842516 h 5973007"/>
              <a:gd name="connsiteX65535" fmla="*/ 3116568 w 6884782"/>
              <a:gd name="connsiteY65535" fmla="*/ 842090 h 5973007"/>
              <a:gd name="connsiteX65536" fmla="*/ 3112514 w 6884782"/>
              <a:gd name="connsiteY65536" fmla="*/ 833269 h 5973007"/>
              <a:gd name="connsiteX65537" fmla="*/ 1330457 w 6884782"/>
              <a:gd name="connsiteY65537" fmla="*/ 831351 h 5973007"/>
              <a:gd name="connsiteX65538" fmla="*/ 1340886 w 6884782"/>
              <a:gd name="connsiteY65538" fmla="*/ 840180 h 5973007"/>
              <a:gd name="connsiteX65539" fmla="*/ 1334174 w 6884782"/>
              <a:gd name="connsiteY65539" fmla="*/ 843588 h 5973007"/>
              <a:gd name="connsiteX65540" fmla="*/ 1330250 w 6884782"/>
              <a:gd name="connsiteY65540" fmla="*/ 834759 h 5973007"/>
              <a:gd name="connsiteX65541" fmla="*/ 1330457 w 6884782"/>
              <a:gd name="connsiteY65541" fmla="*/ 831351 h 5973007"/>
              <a:gd name="connsiteX65542" fmla="*/ 1277590 w 6884782"/>
              <a:gd name="connsiteY65542" fmla="*/ 831196 h 5973007"/>
              <a:gd name="connsiteX65543" fmla="*/ 1283991 w 6884782"/>
              <a:gd name="connsiteY65543" fmla="*/ 831815 h 5973007"/>
              <a:gd name="connsiteX65544" fmla="*/ 1279655 w 6884782"/>
              <a:gd name="connsiteY65544" fmla="*/ 841264 h 5973007"/>
              <a:gd name="connsiteX65545" fmla="*/ 1275525 w 6884782"/>
              <a:gd name="connsiteY65545" fmla="*/ 836927 h 5973007"/>
              <a:gd name="connsiteX65546" fmla="*/ 1277590 w 6884782"/>
              <a:gd name="connsiteY65546" fmla="*/ 831196 h 5973007"/>
              <a:gd name="connsiteX65547" fmla="*/ 3398923 w 6884782"/>
              <a:gd name="connsiteY65547" fmla="*/ 829997 h 5973007"/>
              <a:gd name="connsiteX65548" fmla="*/ 3404045 w 6884782"/>
              <a:gd name="connsiteY65548" fmla="*/ 838960 h 5973007"/>
              <a:gd name="connsiteX65549" fmla="*/ 3404472 w 6884782"/>
              <a:gd name="connsiteY65549" fmla="*/ 844224 h 5973007"/>
              <a:gd name="connsiteX65550" fmla="*/ 3404685 w 6884782"/>
              <a:gd name="connsiteY65550" fmla="*/ 844508 h 5973007"/>
              <a:gd name="connsiteX65551" fmla="*/ 3405752 w 6884782"/>
              <a:gd name="connsiteY65551" fmla="*/ 848492 h 5973007"/>
              <a:gd name="connsiteX65552" fmla="*/ 3404898 w 6884782"/>
              <a:gd name="connsiteY65552" fmla="*/ 849914 h 5973007"/>
              <a:gd name="connsiteX65553" fmla="*/ 3405112 w 6884782"/>
              <a:gd name="connsiteY65553" fmla="*/ 851337 h 5973007"/>
              <a:gd name="connsiteX65554" fmla="*/ 3394655 w 6884782"/>
              <a:gd name="connsiteY65554" fmla="*/ 867698 h 5973007"/>
              <a:gd name="connsiteX65555" fmla="*/ 3395508 w 6884782"/>
              <a:gd name="connsiteY65555" fmla="*/ 850768 h 5973007"/>
              <a:gd name="connsiteX65556" fmla="*/ 3393801 w 6884782"/>
              <a:gd name="connsiteY65556" fmla="*/ 850057 h 5973007"/>
              <a:gd name="connsiteX65557" fmla="*/ 3393160 w 6884782"/>
              <a:gd name="connsiteY65557" fmla="*/ 850768 h 5973007"/>
              <a:gd name="connsiteX65558" fmla="*/ 3385264 w 6884782"/>
              <a:gd name="connsiteY65558" fmla="*/ 841520 h 5973007"/>
              <a:gd name="connsiteX65559" fmla="*/ 3385904 w 6884782"/>
              <a:gd name="connsiteY65559" fmla="*/ 838675 h 5973007"/>
              <a:gd name="connsiteX65560" fmla="*/ 3385691 w 6884782"/>
              <a:gd name="connsiteY65560" fmla="*/ 838391 h 5973007"/>
              <a:gd name="connsiteX65561" fmla="*/ 3391026 w 6884782"/>
              <a:gd name="connsiteY65561" fmla="*/ 834123 h 5973007"/>
              <a:gd name="connsiteX65562" fmla="*/ 3395935 w 6884782"/>
              <a:gd name="connsiteY65562" fmla="*/ 834692 h 5973007"/>
              <a:gd name="connsiteX65563" fmla="*/ 3397429 w 6884782"/>
              <a:gd name="connsiteY65563" fmla="*/ 835403 h 5973007"/>
              <a:gd name="connsiteX65564" fmla="*/ 3248889 w 6884782"/>
              <a:gd name="connsiteY65564" fmla="*/ 829570 h 5973007"/>
              <a:gd name="connsiteX65565" fmla="*/ 3252304 w 6884782"/>
              <a:gd name="connsiteY65565" fmla="*/ 829997 h 5973007"/>
              <a:gd name="connsiteX65566" fmla="*/ 3240565 w 6884782"/>
              <a:gd name="connsiteY65566" fmla="*/ 837110 h 5973007"/>
              <a:gd name="connsiteX65567" fmla="*/ 3248889 w 6884782"/>
              <a:gd name="connsiteY65567" fmla="*/ 829570 h 5973007"/>
              <a:gd name="connsiteX65568" fmla="*/ 1671408 w 6884782"/>
              <a:gd name="connsiteY65568" fmla="*/ 829337 h 5973007"/>
              <a:gd name="connsiteX65569" fmla="*/ 1670893 w 6884782"/>
              <a:gd name="connsiteY65569" fmla="*/ 831041 h 5973007"/>
              <a:gd name="connsiteX65570" fmla="*/ 1670893 w 6884782"/>
              <a:gd name="connsiteY65570" fmla="*/ 834294 h 5973007"/>
              <a:gd name="connsiteX65571" fmla="*/ 1672338 w 6884782"/>
              <a:gd name="connsiteY65571" fmla="*/ 836927 h 5973007"/>
              <a:gd name="connsiteX65572" fmla="*/ 1674506 w 6884782"/>
              <a:gd name="connsiteY65572" fmla="*/ 838786 h 5973007"/>
              <a:gd name="connsiteX65573" fmla="*/ 1672854 w 6884782"/>
              <a:gd name="connsiteY65573" fmla="*/ 834449 h 5973007"/>
              <a:gd name="connsiteX65574" fmla="*/ 3701552 w 6884782"/>
              <a:gd name="connsiteY65574" fmla="*/ 828574 h 5973007"/>
              <a:gd name="connsiteX65575" fmla="*/ 3713076 w 6884782"/>
              <a:gd name="connsiteY65575" fmla="*/ 841805 h 5973007"/>
              <a:gd name="connsiteX65576" fmla="*/ 3715424 w 6884782"/>
              <a:gd name="connsiteY65576" fmla="*/ 850341 h 5973007"/>
              <a:gd name="connsiteX65577" fmla="*/ 3716064 w 6884782"/>
              <a:gd name="connsiteY65577" fmla="*/ 865279 h 5973007"/>
              <a:gd name="connsiteX65578" fmla="*/ 3713076 w 6884782"/>
              <a:gd name="connsiteY65578" fmla="*/ 867982 h 5973007"/>
              <a:gd name="connsiteX65579" fmla="*/ 3693655 w 6884782"/>
              <a:gd name="connsiteY65579" fmla="*/ 855463 h 5973007"/>
              <a:gd name="connsiteX65580" fmla="*/ 3694509 w 6884782"/>
              <a:gd name="connsiteY65580" fmla="*/ 829570 h 5973007"/>
              <a:gd name="connsiteX65581" fmla="*/ 3701552 w 6884782"/>
              <a:gd name="connsiteY65581" fmla="*/ 828574 h 5973007"/>
              <a:gd name="connsiteX65582" fmla="*/ 3503285 w 6884782"/>
              <a:gd name="connsiteY65582" fmla="*/ 828289 h 5973007"/>
              <a:gd name="connsiteX65583" fmla="*/ 3507767 w 6884782"/>
              <a:gd name="connsiteY65583" fmla="*/ 828432 h 5973007"/>
              <a:gd name="connsiteX65584" fmla="*/ 3514169 w 6884782"/>
              <a:gd name="connsiteY65584" fmla="*/ 837253 h 5973007"/>
              <a:gd name="connsiteX65585" fmla="*/ 3514383 w 6884782"/>
              <a:gd name="connsiteY65585" fmla="*/ 841805 h 5973007"/>
              <a:gd name="connsiteX65586" fmla="*/ 3501578 w 6884782"/>
              <a:gd name="connsiteY65586" fmla="*/ 841520 h 5973007"/>
              <a:gd name="connsiteX65587" fmla="*/ 3498163 w 6884782"/>
              <a:gd name="connsiteY65587" fmla="*/ 841805 h 5973007"/>
              <a:gd name="connsiteX65588" fmla="*/ 3500511 w 6884782"/>
              <a:gd name="connsiteY65588" fmla="*/ 844793 h 5973007"/>
              <a:gd name="connsiteX65589" fmla="*/ 3501151 w 6884782"/>
              <a:gd name="connsiteY65589" fmla="*/ 852760 h 5973007"/>
              <a:gd name="connsiteX65590" fmla="*/ 3497523 w 6884782"/>
              <a:gd name="connsiteY65590" fmla="*/ 861154 h 5973007"/>
              <a:gd name="connsiteX65591" fmla="*/ 3501364 w 6884782"/>
              <a:gd name="connsiteY65591" fmla="*/ 863145 h 5973007"/>
              <a:gd name="connsiteX65592" fmla="*/ 3497096 w 6884782"/>
              <a:gd name="connsiteY65592" fmla="*/ 873389 h 5973007"/>
              <a:gd name="connsiteX65593" fmla="*/ 3493468 w 6884782"/>
              <a:gd name="connsiteY65593" fmla="*/ 867271 h 5973007"/>
              <a:gd name="connsiteX65594" fmla="*/ 3495602 w 6884782"/>
              <a:gd name="connsiteY65594" fmla="*/ 863714 h 5973007"/>
              <a:gd name="connsiteX65595" fmla="*/ 3491334 w 6884782"/>
              <a:gd name="connsiteY65595" fmla="*/ 866133 h 5973007"/>
              <a:gd name="connsiteX65596" fmla="*/ 3483864 w 6884782"/>
              <a:gd name="connsiteY65596" fmla="*/ 866275 h 5973007"/>
              <a:gd name="connsiteX65597" fmla="*/ 3480876 w 6884782"/>
              <a:gd name="connsiteY65597" fmla="*/ 865564 h 5973007"/>
              <a:gd name="connsiteX65598" fmla="*/ 3475540 w 6884782"/>
              <a:gd name="connsiteY65598" fmla="*/ 865991 h 5973007"/>
              <a:gd name="connsiteX65599" fmla="*/ 3474473 w 6884782"/>
              <a:gd name="connsiteY65599" fmla="*/ 850626 h 5973007"/>
              <a:gd name="connsiteX65600" fmla="*/ 3485571 w 6884782"/>
              <a:gd name="connsiteY65600" fmla="*/ 836826 h 5973007"/>
              <a:gd name="connsiteX65601" fmla="*/ 3489413 w 6884782"/>
              <a:gd name="connsiteY65601" fmla="*/ 836683 h 5973007"/>
              <a:gd name="connsiteX65602" fmla="*/ 3490480 w 6884782"/>
              <a:gd name="connsiteY65602" fmla="*/ 833126 h 5973007"/>
              <a:gd name="connsiteX65603" fmla="*/ 3503285 w 6884782"/>
              <a:gd name="connsiteY65603" fmla="*/ 828289 h 5973007"/>
              <a:gd name="connsiteX65604" fmla="*/ 3262975 w 6884782"/>
              <a:gd name="connsiteY65604" fmla="*/ 827863 h 5973007"/>
              <a:gd name="connsiteX65605" fmla="*/ 3265749 w 6884782"/>
              <a:gd name="connsiteY65605" fmla="*/ 829285 h 5973007"/>
              <a:gd name="connsiteX65606" fmla="*/ 3265962 w 6884782"/>
              <a:gd name="connsiteY65606" fmla="*/ 835403 h 5973007"/>
              <a:gd name="connsiteX65607" fmla="*/ 3261480 w 6884782"/>
              <a:gd name="connsiteY65607" fmla="*/ 839955 h 5973007"/>
              <a:gd name="connsiteX65608" fmla="*/ 3260627 w 6884782"/>
              <a:gd name="connsiteY65608" fmla="*/ 843512 h 5973007"/>
              <a:gd name="connsiteX65609" fmla="*/ 3259346 w 6884782"/>
              <a:gd name="connsiteY65609" fmla="*/ 843512 h 5973007"/>
              <a:gd name="connsiteX65610" fmla="*/ 3261053 w 6884782"/>
              <a:gd name="connsiteY65610" fmla="*/ 829001 h 5973007"/>
              <a:gd name="connsiteX65611" fmla="*/ 3262975 w 6884782"/>
              <a:gd name="connsiteY65611" fmla="*/ 827863 h 5973007"/>
              <a:gd name="connsiteX65612" fmla="*/ 1473260 w 6884782"/>
              <a:gd name="connsiteY65612" fmla="*/ 827014 h 5973007"/>
              <a:gd name="connsiteX65613" fmla="*/ 1468510 w 6884782"/>
              <a:gd name="connsiteY65613" fmla="*/ 839870 h 5973007"/>
              <a:gd name="connsiteX65614" fmla="*/ 1465722 w 6884782"/>
              <a:gd name="connsiteY65614" fmla="*/ 833674 h 5973007"/>
              <a:gd name="connsiteX65615" fmla="*/ 1469027 w 6884782"/>
              <a:gd name="connsiteY65615" fmla="*/ 827943 h 5973007"/>
              <a:gd name="connsiteX65616" fmla="*/ 1473260 w 6884782"/>
              <a:gd name="connsiteY65616" fmla="*/ 827014 h 5973007"/>
              <a:gd name="connsiteX65617" fmla="*/ 3071110 w 6884782"/>
              <a:gd name="connsiteY65617" fmla="*/ 824448 h 5973007"/>
              <a:gd name="connsiteX65618" fmla="*/ 3073884 w 6884782"/>
              <a:gd name="connsiteY65618" fmla="*/ 824590 h 5973007"/>
              <a:gd name="connsiteX65619" fmla="*/ 3076018 w 6884782"/>
              <a:gd name="connsiteY65619" fmla="*/ 827578 h 5973007"/>
              <a:gd name="connsiteX65620" fmla="*/ 3074311 w 6884782"/>
              <a:gd name="connsiteY65620" fmla="*/ 832416 h 5973007"/>
              <a:gd name="connsiteX65621" fmla="*/ 3071537 w 6884782"/>
              <a:gd name="connsiteY65621" fmla="*/ 832273 h 5973007"/>
              <a:gd name="connsiteX65622" fmla="*/ 3068762 w 6884782"/>
              <a:gd name="connsiteY65622" fmla="*/ 830424 h 5973007"/>
              <a:gd name="connsiteX65623" fmla="*/ 3071110 w 6884782"/>
              <a:gd name="connsiteY65623" fmla="*/ 824448 h 5973007"/>
              <a:gd name="connsiteX65624" fmla="*/ 4669197 w 6884782"/>
              <a:gd name="connsiteY65624" fmla="*/ 823310 h 5973007"/>
              <a:gd name="connsiteX65625" fmla="*/ 4670904 w 6884782"/>
              <a:gd name="connsiteY65625" fmla="*/ 824733 h 5973007"/>
              <a:gd name="connsiteX65626" fmla="*/ 4672185 w 6884782"/>
              <a:gd name="connsiteY65626" fmla="*/ 826013 h 5973007"/>
              <a:gd name="connsiteX65627" fmla="*/ 4671758 w 6884782"/>
              <a:gd name="connsiteY65627" fmla="*/ 827152 h 5973007"/>
              <a:gd name="connsiteX65628" fmla="*/ 4667276 w 6884782"/>
              <a:gd name="connsiteY65628" fmla="*/ 828147 h 5973007"/>
              <a:gd name="connsiteX65629" fmla="*/ 4667490 w 6884782"/>
              <a:gd name="connsiteY65629" fmla="*/ 825871 h 5973007"/>
              <a:gd name="connsiteX65630" fmla="*/ 4666423 w 6884782"/>
              <a:gd name="connsiteY65630" fmla="*/ 825871 h 5973007"/>
              <a:gd name="connsiteX65631" fmla="*/ 4667703 w 6884782"/>
              <a:gd name="connsiteY65631" fmla="*/ 823595 h 5973007"/>
              <a:gd name="connsiteX65632" fmla="*/ 4668771 w 6884782"/>
              <a:gd name="connsiteY65632" fmla="*/ 823595 h 5973007"/>
              <a:gd name="connsiteX65633" fmla="*/ 4669197 w 6884782"/>
              <a:gd name="connsiteY65633" fmla="*/ 823310 h 5973007"/>
              <a:gd name="connsiteX65634" fmla="*/ 1744927 w 6884782"/>
              <a:gd name="connsiteY65634" fmla="*/ 822367 h 5973007"/>
              <a:gd name="connsiteX65635" fmla="*/ 1749470 w 6884782"/>
              <a:gd name="connsiteY65635" fmla="*/ 830576 h 5973007"/>
              <a:gd name="connsiteX65636" fmla="*/ 1739764 w 6884782"/>
              <a:gd name="connsiteY65636" fmla="*/ 832590 h 5973007"/>
              <a:gd name="connsiteX65637" fmla="*/ 1738732 w 6884782"/>
              <a:gd name="connsiteY65637" fmla="*/ 824691 h 5973007"/>
              <a:gd name="connsiteX65638" fmla="*/ 1744927 w 6884782"/>
              <a:gd name="connsiteY65638" fmla="*/ 822367 h 5973007"/>
              <a:gd name="connsiteX65639" fmla="*/ 1862846 w 6884782"/>
              <a:gd name="connsiteY65639" fmla="*/ 821592 h 5973007"/>
              <a:gd name="connsiteX65640" fmla="*/ 1864601 w 6884782"/>
              <a:gd name="connsiteY65640" fmla="*/ 822677 h 5973007"/>
              <a:gd name="connsiteX65641" fmla="*/ 1866460 w 6884782"/>
              <a:gd name="connsiteY65641" fmla="*/ 825620 h 5973007"/>
              <a:gd name="connsiteX65642" fmla="*/ 1865943 w 6884782"/>
              <a:gd name="connsiteY65642" fmla="*/ 827943 h 5973007"/>
              <a:gd name="connsiteX65643" fmla="*/ 1863981 w 6884782"/>
              <a:gd name="connsiteY65643" fmla="*/ 827943 h 5973007"/>
              <a:gd name="connsiteX65644" fmla="*/ 1862536 w 6884782"/>
              <a:gd name="connsiteY65644" fmla="*/ 828718 h 5973007"/>
              <a:gd name="connsiteX65645" fmla="*/ 1862020 w 6884782"/>
              <a:gd name="connsiteY65645" fmla="*/ 827943 h 5973007"/>
              <a:gd name="connsiteX65646" fmla="*/ 1860780 w 6884782"/>
              <a:gd name="connsiteY65646" fmla="*/ 827479 h 5973007"/>
              <a:gd name="connsiteX65647" fmla="*/ 1860471 w 6884782"/>
              <a:gd name="connsiteY65647" fmla="*/ 823761 h 5973007"/>
              <a:gd name="connsiteX65648" fmla="*/ 1861297 w 6884782"/>
              <a:gd name="connsiteY65648" fmla="*/ 822057 h 5973007"/>
              <a:gd name="connsiteX65649" fmla="*/ 1862846 w 6884782"/>
              <a:gd name="connsiteY65649" fmla="*/ 821592 h 5973007"/>
              <a:gd name="connsiteX65650" fmla="*/ 1780654 w 6884782"/>
              <a:gd name="connsiteY65650" fmla="*/ 819734 h 5973007"/>
              <a:gd name="connsiteX65651" fmla="*/ 1806881 w 6884782"/>
              <a:gd name="connsiteY65651" fmla="*/ 837392 h 5973007"/>
              <a:gd name="connsiteX65652" fmla="*/ 1807191 w 6884782"/>
              <a:gd name="connsiteY65652" fmla="*/ 837857 h 5973007"/>
              <a:gd name="connsiteX65653" fmla="*/ 1807604 w 6884782"/>
              <a:gd name="connsiteY65653" fmla="*/ 835688 h 5973007"/>
              <a:gd name="connsiteX65654" fmla="*/ 1809772 w 6884782"/>
              <a:gd name="connsiteY65654" fmla="*/ 832590 h 5973007"/>
              <a:gd name="connsiteX65655" fmla="*/ 1819581 w 6884782"/>
              <a:gd name="connsiteY65655" fmla="*/ 831506 h 5973007"/>
              <a:gd name="connsiteX65656" fmla="*/ 1820717 w 6884782"/>
              <a:gd name="connsiteY65656" fmla="*/ 829957 h 5973007"/>
              <a:gd name="connsiteX65657" fmla="*/ 1824538 w 6884782"/>
              <a:gd name="connsiteY65657" fmla="*/ 828563 h 5973007"/>
              <a:gd name="connsiteX65658" fmla="*/ 1825054 w 6884782"/>
              <a:gd name="connsiteY65658" fmla="*/ 830112 h 5973007"/>
              <a:gd name="connsiteX65659" fmla="*/ 1821234 w 6884782"/>
              <a:gd name="connsiteY65659" fmla="*/ 832435 h 5973007"/>
              <a:gd name="connsiteX65660" fmla="*/ 1821027 w 6884782"/>
              <a:gd name="connsiteY65660" fmla="*/ 833210 h 5973007"/>
              <a:gd name="connsiteX65661" fmla="*/ 1822472 w 6884782"/>
              <a:gd name="connsiteY65661" fmla="*/ 835069 h 5973007"/>
              <a:gd name="connsiteX65662" fmla="*/ 1821130 w 6884782"/>
              <a:gd name="connsiteY65662" fmla="*/ 843433 h 5973007"/>
              <a:gd name="connsiteX65663" fmla="*/ 1814005 w 6884782"/>
              <a:gd name="connsiteY65663" fmla="*/ 845602 h 5973007"/>
              <a:gd name="connsiteX65664" fmla="*/ 1812250 w 6884782"/>
              <a:gd name="connsiteY65664" fmla="*/ 845447 h 5973007"/>
              <a:gd name="connsiteX65665" fmla="*/ 1808017 w 6884782"/>
              <a:gd name="connsiteY65665" fmla="*/ 847150 h 5973007"/>
              <a:gd name="connsiteX65666" fmla="*/ 1780654 w 6884782"/>
              <a:gd name="connsiteY65666" fmla="*/ 819734 h 5973007"/>
              <a:gd name="connsiteX65667" fmla="*/ 1469853 w 6884782"/>
              <a:gd name="connsiteY65667" fmla="*/ 819579 h 5973007"/>
              <a:gd name="connsiteX65668" fmla="*/ 1471918 w 6884782"/>
              <a:gd name="connsiteY65668" fmla="*/ 821127 h 5973007"/>
              <a:gd name="connsiteX65669" fmla="*/ 1472124 w 6884782"/>
              <a:gd name="connsiteY65669" fmla="*/ 825310 h 5973007"/>
              <a:gd name="connsiteX65670" fmla="*/ 1464483 w 6884782"/>
              <a:gd name="connsiteY65670" fmla="*/ 824845 h 5973007"/>
              <a:gd name="connsiteX65671" fmla="*/ 1464070 w 6884782"/>
              <a:gd name="connsiteY65671" fmla="*/ 822212 h 5973007"/>
              <a:gd name="connsiteX65672" fmla="*/ 1469853 w 6884782"/>
              <a:gd name="connsiteY65672" fmla="*/ 819579 h 5973007"/>
              <a:gd name="connsiteX65673" fmla="*/ 3616611 w 6884782"/>
              <a:gd name="connsiteY65673" fmla="*/ 818900 h 5973007"/>
              <a:gd name="connsiteX65674" fmla="*/ 3616825 w 6884782"/>
              <a:gd name="connsiteY65674" fmla="*/ 832273 h 5973007"/>
              <a:gd name="connsiteX65675" fmla="*/ 3616611 w 6884782"/>
              <a:gd name="connsiteY65675" fmla="*/ 818900 h 5973007"/>
              <a:gd name="connsiteX65676" fmla="*/ 1500416 w 6884782"/>
              <a:gd name="connsiteY65676" fmla="*/ 818649 h 5973007"/>
              <a:gd name="connsiteX65677" fmla="*/ 1505476 w 6884782"/>
              <a:gd name="connsiteY65677" fmla="*/ 821127 h 5973007"/>
              <a:gd name="connsiteX65678" fmla="*/ 1500520 w 6884782"/>
              <a:gd name="connsiteY65678" fmla="*/ 829647 h 5973007"/>
              <a:gd name="connsiteX65679" fmla="*/ 1496905 w 6884782"/>
              <a:gd name="connsiteY65679" fmla="*/ 828098 h 5973007"/>
              <a:gd name="connsiteX65680" fmla="*/ 1495667 w 6884782"/>
              <a:gd name="connsiteY65680" fmla="*/ 825465 h 5973007"/>
              <a:gd name="connsiteX65681" fmla="*/ 1500416 w 6884782"/>
              <a:gd name="connsiteY65681" fmla="*/ 818649 h 5973007"/>
              <a:gd name="connsiteX65682" fmla="*/ 3227120 w 6884782"/>
              <a:gd name="connsiteY65682" fmla="*/ 816908 h 5973007"/>
              <a:gd name="connsiteX65683" fmla="*/ 3228400 w 6884782"/>
              <a:gd name="connsiteY65683" fmla="*/ 819327 h 5973007"/>
              <a:gd name="connsiteX65684" fmla="*/ 3228400 w 6884782"/>
              <a:gd name="connsiteY65684" fmla="*/ 823168 h 5973007"/>
              <a:gd name="connsiteX65685" fmla="*/ 3222638 w 6884782"/>
              <a:gd name="connsiteY65685" fmla="*/ 824022 h 5973007"/>
              <a:gd name="connsiteX65686" fmla="*/ 3221357 w 6884782"/>
              <a:gd name="connsiteY65686" fmla="*/ 821461 h 5973007"/>
              <a:gd name="connsiteX65687" fmla="*/ 3222425 w 6884782"/>
              <a:gd name="connsiteY65687" fmla="*/ 817904 h 5973007"/>
              <a:gd name="connsiteX65688" fmla="*/ 3227120 w 6884782"/>
              <a:gd name="connsiteY65688" fmla="*/ 816908 h 5973007"/>
              <a:gd name="connsiteX65689" fmla="*/ 1323332 w 6884782"/>
              <a:gd name="connsiteY65689" fmla="*/ 816791 h 5973007"/>
              <a:gd name="connsiteX65690" fmla="*/ 1318169 w 6884782"/>
              <a:gd name="connsiteY65690" fmla="*/ 842039 h 5973007"/>
              <a:gd name="connsiteX65691" fmla="*/ 1314555 w 6884782"/>
              <a:gd name="connsiteY65691" fmla="*/ 836617 h 5973007"/>
              <a:gd name="connsiteX65692" fmla="*/ 1323332 w 6884782"/>
              <a:gd name="connsiteY65692" fmla="*/ 816791 h 5973007"/>
              <a:gd name="connsiteX65693" fmla="*/ 2815112 w 6884782"/>
              <a:gd name="connsiteY65693" fmla="*/ 816431 h 5973007"/>
              <a:gd name="connsiteX65694" fmla="*/ 2815585 w 6884782"/>
              <a:gd name="connsiteY65694" fmla="*/ 818817 h 5973007"/>
              <a:gd name="connsiteX65695" fmla="*/ 2816039 w 6884782"/>
              <a:gd name="connsiteY65695" fmla="*/ 820825 h 5973007"/>
              <a:gd name="connsiteX65696" fmla="*/ 2827385 w 6884782"/>
              <a:gd name="connsiteY65696" fmla="*/ 826013 h 5973007"/>
              <a:gd name="connsiteX65697" fmla="*/ 2828665 w 6884782"/>
              <a:gd name="connsiteY65697" fmla="*/ 828147 h 5973007"/>
              <a:gd name="connsiteX65698" fmla="*/ 2827171 w 6884782"/>
              <a:gd name="connsiteY65698" fmla="*/ 823026 h 5973007"/>
              <a:gd name="connsiteX65699" fmla="*/ 2826744 w 6884782"/>
              <a:gd name="connsiteY65699" fmla="*/ 823737 h 5973007"/>
              <a:gd name="connsiteX65700" fmla="*/ 2819488 w 6884782"/>
              <a:gd name="connsiteY65700" fmla="*/ 817620 h 5973007"/>
              <a:gd name="connsiteX65701" fmla="*/ 3758108 w 6884782"/>
              <a:gd name="connsiteY65701" fmla="*/ 815486 h 5973007"/>
              <a:gd name="connsiteX65702" fmla="*/ 3760456 w 6884782"/>
              <a:gd name="connsiteY65702" fmla="*/ 817193 h 5973007"/>
              <a:gd name="connsiteX65703" fmla="*/ 3759388 w 6884782"/>
              <a:gd name="connsiteY65703" fmla="*/ 823595 h 5973007"/>
              <a:gd name="connsiteX65704" fmla="*/ 3756828 w 6884782"/>
              <a:gd name="connsiteY65704" fmla="*/ 825017 h 5973007"/>
              <a:gd name="connsiteX65705" fmla="*/ 3755761 w 6884782"/>
              <a:gd name="connsiteY65705" fmla="*/ 824306 h 5973007"/>
              <a:gd name="connsiteX65706" fmla="*/ 3752132 w 6884782"/>
              <a:gd name="connsiteY65706" fmla="*/ 821888 h 5973007"/>
              <a:gd name="connsiteX65707" fmla="*/ 3753627 w 6884782"/>
              <a:gd name="connsiteY65707" fmla="*/ 815628 h 5973007"/>
              <a:gd name="connsiteX65708" fmla="*/ 3758108 w 6884782"/>
              <a:gd name="connsiteY65708" fmla="*/ 815486 h 5973007"/>
              <a:gd name="connsiteX65709" fmla="*/ 1457668 w 6884782"/>
              <a:gd name="connsiteY65709" fmla="*/ 814467 h 5973007"/>
              <a:gd name="connsiteX65710" fmla="*/ 1454570 w 6884782"/>
              <a:gd name="connsiteY65710" fmla="*/ 821437 h 5973007"/>
              <a:gd name="connsiteX65711" fmla="*/ 1457668 w 6884782"/>
              <a:gd name="connsiteY65711" fmla="*/ 814467 h 5973007"/>
              <a:gd name="connsiteX65712" fmla="*/ 3884666 w 6884782"/>
              <a:gd name="connsiteY65712" fmla="*/ 813351 h 5973007"/>
              <a:gd name="connsiteX65713" fmla="*/ 3887440 w 6884782"/>
              <a:gd name="connsiteY65713" fmla="*/ 813636 h 5973007"/>
              <a:gd name="connsiteX65714" fmla="*/ 3887014 w 6884782"/>
              <a:gd name="connsiteY65714" fmla="*/ 817193 h 5973007"/>
              <a:gd name="connsiteX65715" fmla="*/ 3876556 w 6884782"/>
              <a:gd name="connsiteY65715" fmla="*/ 821745 h 5973007"/>
              <a:gd name="connsiteX65716" fmla="*/ 3884666 w 6884782"/>
              <a:gd name="connsiteY65716" fmla="*/ 813351 h 5973007"/>
              <a:gd name="connsiteX65717" fmla="*/ 1169377 w 6884782"/>
              <a:gd name="connsiteY65717" fmla="*/ 812298 h 5973007"/>
              <a:gd name="connsiteX65718" fmla="*/ 1177844 w 6884782"/>
              <a:gd name="connsiteY65718" fmla="*/ 838476 h 5973007"/>
              <a:gd name="connsiteX65719" fmla="*/ 1169377 w 6884782"/>
              <a:gd name="connsiteY65719" fmla="*/ 812298 h 5973007"/>
              <a:gd name="connsiteX65720" fmla="*/ 3098001 w 6884782"/>
              <a:gd name="connsiteY65720" fmla="*/ 810791 h 5973007"/>
              <a:gd name="connsiteX65721" fmla="*/ 3108885 w 6884782"/>
              <a:gd name="connsiteY65721" fmla="*/ 816908 h 5973007"/>
              <a:gd name="connsiteX65722" fmla="*/ 3089464 w 6884782"/>
              <a:gd name="connsiteY65722" fmla="*/ 817193 h 5973007"/>
              <a:gd name="connsiteX65723" fmla="*/ 3098001 w 6884782"/>
              <a:gd name="connsiteY65723" fmla="*/ 810791 h 5973007"/>
              <a:gd name="connsiteX65724" fmla="*/ 3232242 w 6884782"/>
              <a:gd name="connsiteY65724" fmla="*/ 809368 h 5973007"/>
              <a:gd name="connsiteX65725" fmla="*/ 3237578 w 6884782"/>
              <a:gd name="connsiteY65725" fmla="*/ 812498 h 5973007"/>
              <a:gd name="connsiteX65726" fmla="*/ 3243980 w 6884782"/>
              <a:gd name="connsiteY65726" fmla="*/ 824306 h 5973007"/>
              <a:gd name="connsiteX65727" fmla="*/ 3233309 w 6884782"/>
              <a:gd name="connsiteY65727" fmla="*/ 826156 h 5973007"/>
              <a:gd name="connsiteX65728" fmla="*/ 3232242 w 6884782"/>
              <a:gd name="connsiteY65728" fmla="*/ 824875 h 5973007"/>
              <a:gd name="connsiteX65729" fmla="*/ 3227333 w 6884782"/>
              <a:gd name="connsiteY65729" fmla="*/ 810791 h 5973007"/>
              <a:gd name="connsiteX65730" fmla="*/ 3232242 w 6884782"/>
              <a:gd name="connsiteY65730" fmla="*/ 809368 h 5973007"/>
              <a:gd name="connsiteX65731" fmla="*/ 3006871 w 6884782"/>
              <a:gd name="connsiteY65731" fmla="*/ 807518 h 5973007"/>
              <a:gd name="connsiteX65732" fmla="*/ 2995986 w 6884782"/>
              <a:gd name="connsiteY65732" fmla="*/ 815770 h 5973007"/>
              <a:gd name="connsiteX65733" fmla="*/ 3006871 w 6884782"/>
              <a:gd name="connsiteY65733" fmla="*/ 807518 h 5973007"/>
              <a:gd name="connsiteX65734" fmla="*/ 1281100 w 6884782"/>
              <a:gd name="connsiteY65734" fmla="*/ 806723 h 5973007"/>
              <a:gd name="connsiteX65735" fmla="*/ 1278415 w 6884782"/>
              <a:gd name="connsiteY65735" fmla="*/ 826394 h 5973007"/>
              <a:gd name="connsiteX65736" fmla="*/ 1274285 w 6884782"/>
              <a:gd name="connsiteY65736" fmla="*/ 824691 h 5973007"/>
              <a:gd name="connsiteX65737" fmla="*/ 1273769 w 6884782"/>
              <a:gd name="connsiteY65737" fmla="*/ 819579 h 5973007"/>
              <a:gd name="connsiteX65738" fmla="*/ 1273666 w 6884782"/>
              <a:gd name="connsiteY65738" fmla="*/ 815397 h 5973007"/>
              <a:gd name="connsiteX65739" fmla="*/ 1281100 w 6884782"/>
              <a:gd name="connsiteY65739" fmla="*/ 806723 h 5973007"/>
              <a:gd name="connsiteX65740" fmla="*/ 1610591 w 6884782"/>
              <a:gd name="connsiteY65740" fmla="*/ 806568 h 5973007"/>
              <a:gd name="connsiteX65741" fmla="*/ 1611933 w 6884782"/>
              <a:gd name="connsiteY65741" fmla="*/ 808736 h 5973007"/>
              <a:gd name="connsiteX65742" fmla="*/ 1607287 w 6884782"/>
              <a:gd name="connsiteY65742" fmla="*/ 815087 h 5973007"/>
              <a:gd name="connsiteX65743" fmla="*/ 1608835 w 6884782"/>
              <a:gd name="connsiteY65743" fmla="*/ 807342 h 5973007"/>
              <a:gd name="connsiteX65744" fmla="*/ 1610591 w 6884782"/>
              <a:gd name="connsiteY65744" fmla="*/ 806568 h 5973007"/>
              <a:gd name="connsiteX65745" fmla="*/ 3571579 w 6884782"/>
              <a:gd name="connsiteY65745" fmla="*/ 806380 h 5973007"/>
              <a:gd name="connsiteX65746" fmla="*/ 3572220 w 6884782"/>
              <a:gd name="connsiteY65746" fmla="*/ 807376 h 5973007"/>
              <a:gd name="connsiteX65747" fmla="*/ 3572433 w 6884782"/>
              <a:gd name="connsiteY65747" fmla="*/ 807518 h 5973007"/>
              <a:gd name="connsiteX65748" fmla="*/ 3572220 w 6884782"/>
              <a:gd name="connsiteY65748" fmla="*/ 809937 h 5973007"/>
              <a:gd name="connsiteX65749" fmla="*/ 3570726 w 6884782"/>
              <a:gd name="connsiteY65749" fmla="*/ 812213 h 5973007"/>
              <a:gd name="connsiteX65750" fmla="*/ 3567738 w 6884782"/>
              <a:gd name="connsiteY65750" fmla="*/ 808799 h 5973007"/>
              <a:gd name="connsiteX65751" fmla="*/ 3569659 w 6884782"/>
              <a:gd name="connsiteY65751" fmla="*/ 807660 h 5973007"/>
              <a:gd name="connsiteX65752" fmla="*/ 3569232 w 6884782"/>
              <a:gd name="connsiteY65752" fmla="*/ 806665 h 5973007"/>
              <a:gd name="connsiteX65753" fmla="*/ 3571579 w 6884782"/>
              <a:gd name="connsiteY65753" fmla="*/ 806380 h 5973007"/>
              <a:gd name="connsiteX65754" fmla="*/ 1869144 w 6884782"/>
              <a:gd name="connsiteY65754" fmla="*/ 805328 h 5973007"/>
              <a:gd name="connsiteX65755" fmla="*/ 1861710 w 6884782"/>
              <a:gd name="connsiteY65755" fmla="*/ 821592 h 5973007"/>
              <a:gd name="connsiteX65756" fmla="*/ 1860058 w 6884782"/>
              <a:gd name="connsiteY65756" fmla="*/ 818494 h 5973007"/>
              <a:gd name="connsiteX65757" fmla="*/ 1860264 w 6884782"/>
              <a:gd name="connsiteY65757" fmla="*/ 814467 h 5973007"/>
              <a:gd name="connsiteX65758" fmla="*/ 1863465 w 6884782"/>
              <a:gd name="connsiteY65758" fmla="*/ 806877 h 5973007"/>
              <a:gd name="connsiteX65759" fmla="*/ 1869144 w 6884782"/>
              <a:gd name="connsiteY65759" fmla="*/ 805328 h 5973007"/>
              <a:gd name="connsiteX65760" fmla="*/ 3842623 w 6884782"/>
              <a:gd name="connsiteY65760" fmla="*/ 805100 h 5973007"/>
              <a:gd name="connsiteX65761" fmla="*/ 3846678 w 6884782"/>
              <a:gd name="connsiteY65761" fmla="*/ 813921 h 5973007"/>
              <a:gd name="connsiteX65762" fmla="*/ 3833232 w 6884782"/>
              <a:gd name="connsiteY65762" fmla="*/ 842943 h 5973007"/>
              <a:gd name="connsiteX65763" fmla="*/ 3842623 w 6884782"/>
              <a:gd name="connsiteY65763" fmla="*/ 805100 h 5973007"/>
              <a:gd name="connsiteX65764" fmla="*/ 1717358 w 6884782"/>
              <a:gd name="connsiteY65764" fmla="*/ 804089 h 5973007"/>
              <a:gd name="connsiteX65765" fmla="*/ 1719216 w 6884782"/>
              <a:gd name="connsiteY65765" fmla="*/ 805483 h 5973007"/>
              <a:gd name="connsiteX65766" fmla="*/ 1716119 w 6884782"/>
              <a:gd name="connsiteY65766" fmla="*/ 807807 h 5973007"/>
              <a:gd name="connsiteX65767" fmla="*/ 1715293 w 6884782"/>
              <a:gd name="connsiteY65767" fmla="*/ 806103 h 5973007"/>
              <a:gd name="connsiteX65768" fmla="*/ 1715809 w 6884782"/>
              <a:gd name="connsiteY65768" fmla="*/ 804554 h 5973007"/>
              <a:gd name="connsiteX65769" fmla="*/ 1717358 w 6884782"/>
              <a:gd name="connsiteY65769" fmla="*/ 804089 h 5973007"/>
              <a:gd name="connsiteX65770" fmla="*/ 3603166 w 6884782"/>
              <a:gd name="connsiteY65770" fmla="*/ 803962 h 5973007"/>
              <a:gd name="connsiteX65771" fmla="*/ 3615117 w 6884782"/>
              <a:gd name="connsiteY65771" fmla="*/ 807376 h 5973007"/>
              <a:gd name="connsiteX65772" fmla="*/ 3603166 w 6884782"/>
              <a:gd name="connsiteY65772" fmla="*/ 803962 h 5973007"/>
              <a:gd name="connsiteX65773" fmla="*/ 1183523 w 6884782"/>
              <a:gd name="connsiteY65773" fmla="*/ 803934 h 5973007"/>
              <a:gd name="connsiteX65774" fmla="*/ 1192609 w 6884782"/>
              <a:gd name="connsiteY65774" fmla="*/ 805328 h 5973007"/>
              <a:gd name="connsiteX65775" fmla="*/ 1182903 w 6884782"/>
              <a:gd name="connsiteY65775" fmla="*/ 808736 h 5973007"/>
              <a:gd name="connsiteX65776" fmla="*/ 1183007 w 6884782"/>
              <a:gd name="connsiteY65776" fmla="*/ 806568 h 5973007"/>
              <a:gd name="connsiteX65777" fmla="*/ 1183523 w 6884782"/>
              <a:gd name="connsiteY65777" fmla="*/ 803934 h 5973007"/>
              <a:gd name="connsiteX65778" fmla="*/ 3019676 w 6884782"/>
              <a:gd name="connsiteY65778" fmla="*/ 803820 h 5973007"/>
              <a:gd name="connsiteX65779" fmla="*/ 3025651 w 6884782"/>
              <a:gd name="connsiteY65779" fmla="*/ 804389 h 5973007"/>
              <a:gd name="connsiteX65780" fmla="*/ 3031414 w 6884782"/>
              <a:gd name="connsiteY65780" fmla="*/ 813209 h 5973007"/>
              <a:gd name="connsiteX65781" fmla="*/ 3021383 w 6884782"/>
              <a:gd name="connsiteY65781" fmla="*/ 819753 h 5973007"/>
              <a:gd name="connsiteX65782" fmla="*/ 3019676 w 6884782"/>
              <a:gd name="connsiteY65782" fmla="*/ 803820 h 5973007"/>
              <a:gd name="connsiteX65783" fmla="*/ 1707342 w 6884782"/>
              <a:gd name="connsiteY65783" fmla="*/ 803160 h 5973007"/>
              <a:gd name="connsiteX65784" fmla="*/ 1707961 w 6884782"/>
              <a:gd name="connsiteY65784" fmla="*/ 809975 h 5973007"/>
              <a:gd name="connsiteX65785" fmla="*/ 1706103 w 6884782"/>
              <a:gd name="connsiteY65785" fmla="*/ 810594 h 5973007"/>
              <a:gd name="connsiteX65786" fmla="*/ 1704657 w 6884782"/>
              <a:gd name="connsiteY65786" fmla="*/ 808891 h 5973007"/>
              <a:gd name="connsiteX65787" fmla="*/ 1704451 w 6884782"/>
              <a:gd name="connsiteY65787" fmla="*/ 806103 h 5973007"/>
              <a:gd name="connsiteX65788" fmla="*/ 1705483 w 6884782"/>
              <a:gd name="connsiteY65788" fmla="*/ 803934 h 5973007"/>
              <a:gd name="connsiteX65789" fmla="*/ 1707342 w 6884782"/>
              <a:gd name="connsiteY65789" fmla="*/ 803160 h 5973007"/>
              <a:gd name="connsiteX65790" fmla="*/ 3935247 w 6884782"/>
              <a:gd name="connsiteY65790" fmla="*/ 803108 h 5973007"/>
              <a:gd name="connsiteX65791" fmla="*/ 3939515 w 6884782"/>
              <a:gd name="connsiteY65791" fmla="*/ 803677 h 5973007"/>
              <a:gd name="connsiteX65792" fmla="*/ 3938448 w 6884782"/>
              <a:gd name="connsiteY65792" fmla="*/ 803677 h 5973007"/>
              <a:gd name="connsiteX65793" fmla="*/ 3939515 w 6884782"/>
              <a:gd name="connsiteY65793" fmla="*/ 804815 h 5973007"/>
              <a:gd name="connsiteX65794" fmla="*/ 3923082 w 6884782"/>
              <a:gd name="connsiteY65794" fmla="*/ 806807 h 5973007"/>
              <a:gd name="connsiteX65795" fmla="*/ 3923082 w 6884782"/>
              <a:gd name="connsiteY65795" fmla="*/ 805669 h 5973007"/>
              <a:gd name="connsiteX65796" fmla="*/ 3935247 w 6884782"/>
              <a:gd name="connsiteY65796" fmla="*/ 803108 h 5973007"/>
              <a:gd name="connsiteX65797" fmla="*/ 3916466 w 6884782"/>
              <a:gd name="connsiteY65797" fmla="*/ 803108 h 5973007"/>
              <a:gd name="connsiteX65798" fmla="*/ 3917533 w 6884782"/>
              <a:gd name="connsiteY65798" fmla="*/ 804389 h 5973007"/>
              <a:gd name="connsiteX65799" fmla="*/ 3911344 w 6884782"/>
              <a:gd name="connsiteY65799" fmla="*/ 806665 h 5973007"/>
              <a:gd name="connsiteX65800" fmla="*/ 3916466 w 6884782"/>
              <a:gd name="connsiteY65800" fmla="*/ 803108 h 5973007"/>
              <a:gd name="connsiteX65801" fmla="*/ 1299583 w 6884782"/>
              <a:gd name="connsiteY65801" fmla="*/ 802850 h 5973007"/>
              <a:gd name="connsiteX65802" fmla="*/ 1301442 w 6884782"/>
              <a:gd name="connsiteY65802" fmla="*/ 804244 h 5973007"/>
              <a:gd name="connsiteX65803" fmla="*/ 1300616 w 6884782"/>
              <a:gd name="connsiteY65803" fmla="*/ 805948 h 5973007"/>
              <a:gd name="connsiteX65804" fmla="*/ 1300719 w 6884782"/>
              <a:gd name="connsiteY65804" fmla="*/ 807652 h 5973007"/>
              <a:gd name="connsiteX65805" fmla="*/ 1299893 w 6884782"/>
              <a:gd name="connsiteY65805" fmla="*/ 807807 h 5973007"/>
              <a:gd name="connsiteX65806" fmla="*/ 1299790 w 6884782"/>
              <a:gd name="connsiteY65806" fmla="*/ 807652 h 5973007"/>
              <a:gd name="connsiteX65807" fmla="*/ 1299273 w 6884782"/>
              <a:gd name="connsiteY65807" fmla="*/ 808271 h 5973007"/>
              <a:gd name="connsiteX65808" fmla="*/ 1301648 w 6884782"/>
              <a:gd name="connsiteY65808" fmla="*/ 808736 h 5973007"/>
              <a:gd name="connsiteX65809" fmla="*/ 1297725 w 6884782"/>
              <a:gd name="connsiteY65809" fmla="*/ 821437 h 5973007"/>
              <a:gd name="connsiteX65810" fmla="*/ 1290703 w 6884782"/>
              <a:gd name="connsiteY65810" fmla="*/ 818649 h 5973007"/>
              <a:gd name="connsiteX65811" fmla="*/ 1288844 w 6884782"/>
              <a:gd name="connsiteY65811" fmla="*/ 813073 h 5973007"/>
              <a:gd name="connsiteX65812" fmla="*/ 1291323 w 6884782"/>
              <a:gd name="connsiteY65812" fmla="*/ 808581 h 5973007"/>
              <a:gd name="connsiteX65813" fmla="*/ 1294937 w 6884782"/>
              <a:gd name="connsiteY65813" fmla="*/ 807187 h 5973007"/>
              <a:gd name="connsiteX65814" fmla="*/ 1295143 w 6884782"/>
              <a:gd name="connsiteY65814" fmla="*/ 807187 h 5973007"/>
              <a:gd name="connsiteX65815" fmla="*/ 1294317 w 6884782"/>
              <a:gd name="connsiteY65815" fmla="*/ 806103 h 5973007"/>
              <a:gd name="connsiteX65816" fmla="*/ 1294420 w 6884782"/>
              <a:gd name="connsiteY65816" fmla="*/ 804399 h 5973007"/>
              <a:gd name="connsiteX65817" fmla="*/ 1296072 w 6884782"/>
              <a:gd name="connsiteY65817" fmla="*/ 803315 h 5973007"/>
              <a:gd name="connsiteX65818" fmla="*/ 1299583 w 6884782"/>
              <a:gd name="connsiteY65818" fmla="*/ 802850 h 5973007"/>
              <a:gd name="connsiteX65819" fmla="*/ 3235870 w 6884782"/>
              <a:gd name="connsiteY65819" fmla="*/ 801828 h 5973007"/>
              <a:gd name="connsiteX65820" fmla="*/ 3240138 w 6884782"/>
              <a:gd name="connsiteY65820" fmla="*/ 804673 h 5973007"/>
              <a:gd name="connsiteX65821" fmla="*/ 3237578 w 6884782"/>
              <a:gd name="connsiteY65821" fmla="*/ 807518 h 5973007"/>
              <a:gd name="connsiteX65822" fmla="*/ 3235870 w 6884782"/>
              <a:gd name="connsiteY65822" fmla="*/ 801828 h 5973007"/>
              <a:gd name="connsiteX65823" fmla="*/ 1422458 w 6884782"/>
              <a:gd name="connsiteY65823" fmla="*/ 801611 h 5973007"/>
              <a:gd name="connsiteX65824" fmla="*/ 1422148 w 6884782"/>
              <a:gd name="connsiteY65824" fmla="*/ 810904 h 5973007"/>
              <a:gd name="connsiteX65825" fmla="*/ 1422458 w 6884782"/>
              <a:gd name="connsiteY65825" fmla="*/ 813383 h 5973007"/>
              <a:gd name="connsiteX65826" fmla="*/ 1424523 w 6884782"/>
              <a:gd name="connsiteY65826" fmla="*/ 811679 h 5973007"/>
              <a:gd name="connsiteX65827" fmla="*/ 1430408 w 6884782"/>
              <a:gd name="connsiteY65827" fmla="*/ 811059 h 5973007"/>
              <a:gd name="connsiteX65828" fmla="*/ 1440115 w 6884782"/>
              <a:gd name="connsiteY65828" fmla="*/ 823761 h 5973007"/>
              <a:gd name="connsiteX65829" fmla="*/ 1439598 w 6884782"/>
              <a:gd name="connsiteY65829" fmla="*/ 825929 h 5973007"/>
              <a:gd name="connsiteX65830" fmla="*/ 1439908 w 6884782"/>
              <a:gd name="connsiteY65830" fmla="*/ 829647 h 5973007"/>
              <a:gd name="connsiteX65831" fmla="*/ 1428757 w 6884782"/>
              <a:gd name="connsiteY65831" fmla="*/ 830576 h 5973007"/>
              <a:gd name="connsiteX65832" fmla="*/ 1418844 w 6884782"/>
              <a:gd name="connsiteY65832" fmla="*/ 822522 h 5973007"/>
              <a:gd name="connsiteX65833" fmla="*/ 1418740 w 6884782"/>
              <a:gd name="connsiteY65833" fmla="*/ 819579 h 5973007"/>
              <a:gd name="connsiteX65834" fmla="*/ 1416159 w 6884782"/>
              <a:gd name="connsiteY65834" fmla="*/ 818804 h 5973007"/>
              <a:gd name="connsiteX65835" fmla="*/ 1412649 w 6884782"/>
              <a:gd name="connsiteY65835" fmla="*/ 809665 h 5973007"/>
              <a:gd name="connsiteX65836" fmla="*/ 1412752 w 6884782"/>
              <a:gd name="connsiteY65836" fmla="*/ 806413 h 5973007"/>
              <a:gd name="connsiteX65837" fmla="*/ 1419154 w 6884782"/>
              <a:gd name="connsiteY65837" fmla="*/ 801766 h 5973007"/>
              <a:gd name="connsiteX65838" fmla="*/ 1422458 w 6884782"/>
              <a:gd name="connsiteY65838" fmla="*/ 801611 h 5973007"/>
              <a:gd name="connsiteX65839" fmla="*/ 1342654 w 6884782"/>
              <a:gd name="connsiteY65839" fmla="*/ 801591 h 5973007"/>
              <a:gd name="connsiteX65840" fmla="*/ 1345738 w 6884782"/>
              <a:gd name="connsiteY65840" fmla="*/ 802540 h 5973007"/>
              <a:gd name="connsiteX65841" fmla="*/ 1343777 w 6884782"/>
              <a:gd name="connsiteY65841" fmla="*/ 808116 h 5973007"/>
              <a:gd name="connsiteX65842" fmla="*/ 1339337 w 6884782"/>
              <a:gd name="connsiteY65842" fmla="*/ 801921 h 5973007"/>
              <a:gd name="connsiteX65843" fmla="*/ 1342654 w 6884782"/>
              <a:gd name="connsiteY65843" fmla="*/ 801591 h 5973007"/>
              <a:gd name="connsiteX65844" fmla="*/ 3410661 w 6884782"/>
              <a:gd name="connsiteY65844" fmla="*/ 801116 h 5973007"/>
              <a:gd name="connsiteX65845" fmla="*/ 3419624 w 6884782"/>
              <a:gd name="connsiteY65845" fmla="*/ 804815 h 5973007"/>
              <a:gd name="connsiteX65846" fmla="*/ 3419198 w 6884782"/>
              <a:gd name="connsiteY65846" fmla="*/ 808230 h 5973007"/>
              <a:gd name="connsiteX65847" fmla="*/ 3401911 w 6884782"/>
              <a:gd name="connsiteY65847" fmla="*/ 808941 h 5973007"/>
              <a:gd name="connsiteX65848" fmla="*/ 3399990 w 6884782"/>
              <a:gd name="connsiteY65848" fmla="*/ 803962 h 5973007"/>
              <a:gd name="connsiteX65849" fmla="*/ 3410661 w 6884782"/>
              <a:gd name="connsiteY65849" fmla="*/ 801116 h 5973007"/>
              <a:gd name="connsiteX65850" fmla="*/ 3423893 w 6884782"/>
              <a:gd name="connsiteY65850" fmla="*/ 800690 h 5973007"/>
              <a:gd name="connsiteX65851" fmla="*/ 3425814 w 6884782"/>
              <a:gd name="connsiteY65851" fmla="*/ 801828 h 5973007"/>
              <a:gd name="connsiteX65852" fmla="*/ 3426454 w 6884782"/>
              <a:gd name="connsiteY65852" fmla="*/ 800832 h 5973007"/>
              <a:gd name="connsiteX65853" fmla="*/ 3427521 w 6884782"/>
              <a:gd name="connsiteY65853" fmla="*/ 802965 h 5973007"/>
              <a:gd name="connsiteX65854" fmla="*/ 3426880 w 6884782"/>
              <a:gd name="connsiteY65854" fmla="*/ 803962 h 5973007"/>
              <a:gd name="connsiteX65855" fmla="*/ 3427094 w 6884782"/>
              <a:gd name="connsiteY65855" fmla="*/ 804389 h 5973007"/>
              <a:gd name="connsiteX65856" fmla="*/ 3424747 w 6884782"/>
              <a:gd name="connsiteY65856" fmla="*/ 805384 h 5973007"/>
              <a:gd name="connsiteX65857" fmla="*/ 3422399 w 6884782"/>
              <a:gd name="connsiteY65857" fmla="*/ 805384 h 5973007"/>
              <a:gd name="connsiteX65858" fmla="*/ 3423893 w 6884782"/>
              <a:gd name="connsiteY65858" fmla="*/ 800690 h 5973007"/>
              <a:gd name="connsiteX65859" fmla="*/ 1435159 w 6884782"/>
              <a:gd name="connsiteY65859" fmla="*/ 800062 h 5973007"/>
              <a:gd name="connsiteX65860" fmla="*/ 1442180 w 6884782"/>
              <a:gd name="connsiteY65860" fmla="*/ 808271 h 5973007"/>
              <a:gd name="connsiteX65861" fmla="*/ 1436088 w 6884782"/>
              <a:gd name="connsiteY65861" fmla="*/ 809356 h 5973007"/>
              <a:gd name="connsiteX65862" fmla="*/ 1433919 w 6884782"/>
              <a:gd name="connsiteY65862" fmla="*/ 807497 h 5973007"/>
              <a:gd name="connsiteX65863" fmla="*/ 1431958 w 6884782"/>
              <a:gd name="connsiteY65863" fmla="*/ 802695 h 5973007"/>
              <a:gd name="connsiteX65864" fmla="*/ 1431132 w 6884782"/>
              <a:gd name="connsiteY65864" fmla="*/ 803005 h 5973007"/>
              <a:gd name="connsiteX65865" fmla="*/ 1435159 w 6884782"/>
              <a:gd name="connsiteY65865" fmla="*/ 800062 h 5973007"/>
              <a:gd name="connsiteX65866" fmla="*/ 1429066 w 6884782"/>
              <a:gd name="connsiteY65866" fmla="*/ 798823 h 5973007"/>
              <a:gd name="connsiteX65867" fmla="*/ 1431028 w 6884782"/>
              <a:gd name="connsiteY65867" fmla="*/ 799287 h 5973007"/>
              <a:gd name="connsiteX65868" fmla="*/ 1429479 w 6884782"/>
              <a:gd name="connsiteY65868" fmla="*/ 803469 h 5973007"/>
              <a:gd name="connsiteX65869" fmla="*/ 1426795 w 6884782"/>
              <a:gd name="connsiteY65869" fmla="*/ 804089 h 5973007"/>
              <a:gd name="connsiteX65870" fmla="*/ 1425866 w 6884782"/>
              <a:gd name="connsiteY65870" fmla="*/ 803005 h 5973007"/>
              <a:gd name="connsiteX65871" fmla="*/ 1426382 w 6884782"/>
              <a:gd name="connsiteY65871" fmla="*/ 801456 h 5973007"/>
              <a:gd name="connsiteX65872" fmla="*/ 1427621 w 6884782"/>
              <a:gd name="connsiteY65872" fmla="*/ 799133 h 5973007"/>
              <a:gd name="connsiteX65873" fmla="*/ 1429066 w 6884782"/>
              <a:gd name="connsiteY65873" fmla="*/ 798823 h 5973007"/>
              <a:gd name="connsiteX65874" fmla="*/ 1870074 w 6884782"/>
              <a:gd name="connsiteY65874" fmla="*/ 798358 h 5973007"/>
              <a:gd name="connsiteX65875" fmla="*/ 1871932 w 6884782"/>
              <a:gd name="connsiteY65875" fmla="*/ 798358 h 5973007"/>
              <a:gd name="connsiteX65876" fmla="*/ 1873894 w 6884782"/>
              <a:gd name="connsiteY65876" fmla="*/ 798358 h 5973007"/>
              <a:gd name="connsiteX65877" fmla="*/ 1876579 w 6884782"/>
              <a:gd name="connsiteY65877" fmla="*/ 800991 h 5973007"/>
              <a:gd name="connsiteX65878" fmla="*/ 1860264 w 6884782"/>
              <a:gd name="connsiteY65878" fmla="*/ 803315 h 5973007"/>
              <a:gd name="connsiteX65879" fmla="*/ 1860161 w 6884782"/>
              <a:gd name="connsiteY65879" fmla="*/ 801456 h 5973007"/>
              <a:gd name="connsiteX65880" fmla="*/ 1861813 w 6884782"/>
              <a:gd name="connsiteY65880" fmla="*/ 799907 h 5973007"/>
              <a:gd name="connsiteX65881" fmla="*/ 1870074 w 6884782"/>
              <a:gd name="connsiteY65881" fmla="*/ 798358 h 5973007"/>
              <a:gd name="connsiteX65882" fmla="*/ 1243876 w 6884782"/>
              <a:gd name="connsiteY65882" fmla="*/ 797642 h 5973007"/>
              <a:gd name="connsiteX65883" fmla="*/ 1253118 w 6884782"/>
              <a:gd name="connsiteY65883" fmla="*/ 799133 h 5973007"/>
              <a:gd name="connsiteX65884" fmla="*/ 1251982 w 6884782"/>
              <a:gd name="connsiteY65884" fmla="*/ 807497 h 5973007"/>
              <a:gd name="connsiteX65885" fmla="*/ 1238249 w 6884782"/>
              <a:gd name="connsiteY65885" fmla="*/ 804554 h 5973007"/>
              <a:gd name="connsiteX65886" fmla="*/ 1238042 w 6884782"/>
              <a:gd name="connsiteY65886" fmla="*/ 801146 h 5973007"/>
              <a:gd name="connsiteX65887" fmla="*/ 1243876 w 6884782"/>
              <a:gd name="connsiteY65887" fmla="*/ 797642 h 5973007"/>
              <a:gd name="connsiteX65888" fmla="*/ 3256145 w 6884782"/>
              <a:gd name="connsiteY65888" fmla="*/ 795141 h 5973007"/>
              <a:gd name="connsiteX65889" fmla="*/ 3258706 w 6884782"/>
              <a:gd name="connsiteY65889" fmla="*/ 799978 h 5973007"/>
              <a:gd name="connsiteX65890" fmla="*/ 3251663 w 6884782"/>
              <a:gd name="connsiteY65890" fmla="*/ 801828 h 5973007"/>
              <a:gd name="connsiteX65891" fmla="*/ 3256145 w 6884782"/>
              <a:gd name="connsiteY65891" fmla="*/ 795141 h 5973007"/>
              <a:gd name="connsiteX65892" fmla="*/ 3509261 w 6884782"/>
              <a:gd name="connsiteY65892" fmla="*/ 792011 h 5973007"/>
              <a:gd name="connsiteX65893" fmla="*/ 3517371 w 6884782"/>
              <a:gd name="connsiteY65893" fmla="*/ 797275 h 5973007"/>
              <a:gd name="connsiteX65894" fmla="*/ 3512035 w 6884782"/>
              <a:gd name="connsiteY65894" fmla="*/ 804246 h 5973007"/>
              <a:gd name="connsiteX65895" fmla="*/ 3504992 w 6884782"/>
              <a:gd name="connsiteY65895" fmla="*/ 796706 h 5973007"/>
              <a:gd name="connsiteX65896" fmla="*/ 3509261 w 6884782"/>
              <a:gd name="connsiteY65896" fmla="*/ 792011 h 5973007"/>
              <a:gd name="connsiteX65897" fmla="*/ 1624221 w 6884782"/>
              <a:gd name="connsiteY65897" fmla="*/ 790613 h 5973007"/>
              <a:gd name="connsiteX65898" fmla="*/ 1625460 w 6884782"/>
              <a:gd name="connsiteY65898" fmla="*/ 790923 h 5973007"/>
              <a:gd name="connsiteX65899" fmla="*/ 1622672 w 6884782"/>
              <a:gd name="connsiteY65899" fmla="*/ 794331 h 5973007"/>
              <a:gd name="connsiteX65900" fmla="*/ 1624221 w 6884782"/>
              <a:gd name="connsiteY65900" fmla="*/ 790613 h 5973007"/>
              <a:gd name="connsiteX65901" fmla="*/ 3941863 w 6884782"/>
              <a:gd name="connsiteY65901" fmla="*/ 790446 h 5973007"/>
              <a:gd name="connsiteX65902" fmla="*/ 3941436 w 6884782"/>
              <a:gd name="connsiteY65902" fmla="*/ 795283 h 5973007"/>
              <a:gd name="connsiteX65903" fmla="*/ 3939088 w 6884782"/>
              <a:gd name="connsiteY65903" fmla="*/ 795283 h 5973007"/>
              <a:gd name="connsiteX65904" fmla="*/ 3921161 w 6884782"/>
              <a:gd name="connsiteY65904" fmla="*/ 801116 h 5973007"/>
              <a:gd name="connsiteX65905" fmla="*/ 3941863 w 6884782"/>
              <a:gd name="connsiteY65905" fmla="*/ 790446 h 5973007"/>
              <a:gd name="connsiteX65906" fmla="*/ 3872928 w 6884782"/>
              <a:gd name="connsiteY65906" fmla="*/ 789166 h 5973007"/>
              <a:gd name="connsiteX65907" fmla="*/ 3874422 w 6884782"/>
              <a:gd name="connsiteY65907" fmla="*/ 791158 h 5973007"/>
              <a:gd name="connsiteX65908" fmla="*/ 3873568 w 6884782"/>
              <a:gd name="connsiteY65908" fmla="*/ 792864 h 5973007"/>
              <a:gd name="connsiteX65909" fmla="*/ 3871007 w 6884782"/>
              <a:gd name="connsiteY65909" fmla="*/ 795283 h 5973007"/>
              <a:gd name="connsiteX65910" fmla="*/ 3869513 w 6884782"/>
              <a:gd name="connsiteY65910" fmla="*/ 797559 h 5973007"/>
              <a:gd name="connsiteX65911" fmla="*/ 3865885 w 6884782"/>
              <a:gd name="connsiteY65911" fmla="*/ 797559 h 5973007"/>
              <a:gd name="connsiteX65912" fmla="*/ 3867379 w 6884782"/>
              <a:gd name="connsiteY65912" fmla="*/ 795141 h 5973007"/>
              <a:gd name="connsiteX65913" fmla="*/ 3872928 w 6884782"/>
              <a:gd name="connsiteY65913" fmla="*/ 789166 h 5973007"/>
              <a:gd name="connsiteX65914" fmla="*/ 3353038 w 6884782"/>
              <a:gd name="connsiteY65914" fmla="*/ 788027 h 5973007"/>
              <a:gd name="connsiteX65915" fmla="*/ 3365630 w 6884782"/>
              <a:gd name="connsiteY65915" fmla="*/ 793861 h 5973007"/>
              <a:gd name="connsiteX65916" fmla="*/ 3359440 w 6884782"/>
              <a:gd name="connsiteY65916" fmla="*/ 808657 h 5973007"/>
              <a:gd name="connsiteX65917" fmla="*/ 3350476 w 6884782"/>
              <a:gd name="connsiteY65917" fmla="*/ 822457 h 5973007"/>
              <a:gd name="connsiteX65918" fmla="*/ 3354745 w 6884782"/>
              <a:gd name="connsiteY65918" fmla="*/ 821318 h 5973007"/>
              <a:gd name="connsiteX65919" fmla="*/ 3362001 w 6884782"/>
              <a:gd name="connsiteY65919" fmla="*/ 821034 h 5973007"/>
              <a:gd name="connsiteX65920" fmla="*/ 3356239 w 6884782"/>
              <a:gd name="connsiteY65920" fmla="*/ 828574 h 5973007"/>
              <a:gd name="connsiteX65921" fmla="*/ 3349836 w 6884782"/>
              <a:gd name="connsiteY65921" fmla="*/ 832700 h 5973007"/>
              <a:gd name="connsiteX65922" fmla="*/ 3350476 w 6884782"/>
              <a:gd name="connsiteY65922" fmla="*/ 836257 h 5973007"/>
              <a:gd name="connsiteX65923" fmla="*/ 3353891 w 6884782"/>
              <a:gd name="connsiteY65923" fmla="*/ 831135 h 5973007"/>
              <a:gd name="connsiteX65924" fmla="*/ 3375873 w 6884782"/>
              <a:gd name="connsiteY65924" fmla="*/ 822883 h 5973007"/>
              <a:gd name="connsiteX65925" fmla="*/ 3366056 w 6884782"/>
              <a:gd name="connsiteY65925" fmla="*/ 835403 h 5973007"/>
              <a:gd name="connsiteX65926" fmla="*/ 3350690 w 6884782"/>
              <a:gd name="connsiteY65926" fmla="*/ 838533 h 5973007"/>
              <a:gd name="connsiteX65927" fmla="*/ 3350690 w 6884782"/>
              <a:gd name="connsiteY65927" fmla="*/ 842090 h 5973007"/>
              <a:gd name="connsiteX65928" fmla="*/ 3345568 w 6884782"/>
              <a:gd name="connsiteY65928" fmla="*/ 842943 h 5973007"/>
              <a:gd name="connsiteX65929" fmla="*/ 3343220 w 6884782"/>
              <a:gd name="connsiteY65929" fmla="*/ 841236 h 5973007"/>
              <a:gd name="connsiteX65930" fmla="*/ 3342580 w 6884782"/>
              <a:gd name="connsiteY65930" fmla="*/ 848349 h 5973007"/>
              <a:gd name="connsiteX65931" fmla="*/ 3335324 w 6884782"/>
              <a:gd name="connsiteY65931" fmla="*/ 840383 h 5973007"/>
              <a:gd name="connsiteX65932" fmla="*/ 3332122 w 6884782"/>
              <a:gd name="connsiteY65932" fmla="*/ 839671 h 5973007"/>
              <a:gd name="connsiteX65933" fmla="*/ 3323372 w 6884782"/>
              <a:gd name="connsiteY65933" fmla="*/ 845647 h 5973007"/>
              <a:gd name="connsiteX65934" fmla="*/ 3324439 w 6884782"/>
              <a:gd name="connsiteY65934" fmla="*/ 845789 h 5973007"/>
              <a:gd name="connsiteX65935" fmla="*/ 3327641 w 6884782"/>
              <a:gd name="connsiteY65935" fmla="*/ 850484 h 5973007"/>
              <a:gd name="connsiteX65936" fmla="*/ 3326146 w 6884782"/>
              <a:gd name="connsiteY65936" fmla="*/ 861723 h 5973007"/>
              <a:gd name="connsiteX65937" fmla="*/ 3310567 w 6884782"/>
              <a:gd name="connsiteY65937" fmla="*/ 857881 h 5973007"/>
              <a:gd name="connsiteX65938" fmla="*/ 3314408 w 6884782"/>
              <a:gd name="connsiteY65938" fmla="*/ 848634 h 5973007"/>
              <a:gd name="connsiteX65939" fmla="*/ 3318250 w 6884782"/>
              <a:gd name="connsiteY65939" fmla="*/ 845789 h 5973007"/>
              <a:gd name="connsiteX65940" fmla="*/ 3312701 w 6884782"/>
              <a:gd name="connsiteY65940" fmla="*/ 842232 h 5973007"/>
              <a:gd name="connsiteX65941" fmla="*/ 3311848 w 6884782"/>
              <a:gd name="connsiteY65941" fmla="*/ 840667 h 5973007"/>
              <a:gd name="connsiteX65942" fmla="*/ 3311207 w 6884782"/>
              <a:gd name="connsiteY65942" fmla="*/ 842232 h 5973007"/>
              <a:gd name="connsiteX65943" fmla="*/ 3293921 w 6884782"/>
              <a:gd name="connsiteY65943" fmla="*/ 852475 h 5973007"/>
              <a:gd name="connsiteX65944" fmla="*/ 3291573 w 6884782"/>
              <a:gd name="connsiteY65944" fmla="*/ 849061 h 5973007"/>
              <a:gd name="connsiteX65945" fmla="*/ 3290292 w 6884782"/>
              <a:gd name="connsiteY65945" fmla="*/ 849772 h 5973007"/>
              <a:gd name="connsiteX65946" fmla="*/ 3285170 w 6884782"/>
              <a:gd name="connsiteY65946" fmla="*/ 851337 h 5973007"/>
              <a:gd name="connsiteX65947" fmla="*/ 3285597 w 6884782"/>
              <a:gd name="connsiteY65947" fmla="*/ 852049 h 5973007"/>
              <a:gd name="connsiteX65948" fmla="*/ 3284317 w 6884782"/>
              <a:gd name="connsiteY65948" fmla="*/ 855321 h 5973007"/>
              <a:gd name="connsiteX65949" fmla="*/ 3275139 w 6884782"/>
              <a:gd name="connsiteY65949" fmla="*/ 857170 h 5973007"/>
              <a:gd name="connsiteX65950" fmla="*/ 3269377 w 6884782"/>
              <a:gd name="connsiteY65950" fmla="*/ 859304 h 5973007"/>
              <a:gd name="connsiteX65951" fmla="*/ 3276207 w 6884782"/>
              <a:gd name="connsiteY65951" fmla="*/ 854894 h 5973007"/>
              <a:gd name="connsiteX65952" fmla="*/ 3277274 w 6884782"/>
              <a:gd name="connsiteY65952" fmla="*/ 851479 h 5973007"/>
              <a:gd name="connsiteX65953" fmla="*/ 3279407 w 6884782"/>
              <a:gd name="connsiteY65953" fmla="*/ 850484 h 5973007"/>
              <a:gd name="connsiteX65954" fmla="*/ 3278981 w 6884782"/>
              <a:gd name="connsiteY65954" fmla="*/ 848919 h 5973007"/>
              <a:gd name="connsiteX65955" fmla="*/ 3277274 w 6884782"/>
              <a:gd name="connsiteY65955" fmla="*/ 845789 h 5973007"/>
              <a:gd name="connsiteX65956" fmla="*/ 3285810 w 6884782"/>
              <a:gd name="connsiteY65956" fmla="*/ 842801 h 5973007"/>
              <a:gd name="connsiteX65957" fmla="*/ 3289438 w 6884782"/>
              <a:gd name="connsiteY65957" fmla="*/ 842232 h 5973007"/>
              <a:gd name="connsiteX65958" fmla="*/ 3289438 w 6884782"/>
              <a:gd name="connsiteY65958" fmla="*/ 841805 h 5973007"/>
              <a:gd name="connsiteX65959" fmla="*/ 3292853 w 6884782"/>
              <a:gd name="connsiteY65959" fmla="*/ 835403 h 5973007"/>
              <a:gd name="connsiteX65960" fmla="*/ 3294774 w 6884782"/>
              <a:gd name="connsiteY65960" fmla="*/ 834265 h 5973007"/>
              <a:gd name="connsiteX65961" fmla="*/ 3297121 w 6884782"/>
              <a:gd name="connsiteY65961" fmla="*/ 820323 h 5973007"/>
              <a:gd name="connsiteX65962" fmla="*/ 3307366 w 6884782"/>
              <a:gd name="connsiteY65962" fmla="*/ 823168 h 5973007"/>
              <a:gd name="connsiteX65963" fmla="*/ 3307152 w 6884782"/>
              <a:gd name="connsiteY65963" fmla="*/ 831419 h 5973007"/>
              <a:gd name="connsiteX65964" fmla="*/ 3309073 w 6884782"/>
              <a:gd name="connsiteY65964" fmla="*/ 832842 h 5973007"/>
              <a:gd name="connsiteX65965" fmla="*/ 3309287 w 6884782"/>
              <a:gd name="connsiteY65965" fmla="*/ 826582 h 5973007"/>
              <a:gd name="connsiteX65966" fmla="*/ 3312701 w 6884782"/>
              <a:gd name="connsiteY65966" fmla="*/ 817477 h 5973007"/>
              <a:gd name="connsiteX65967" fmla="*/ 3353038 w 6884782"/>
              <a:gd name="connsiteY65967" fmla="*/ 788027 h 5973007"/>
              <a:gd name="connsiteX65968" fmla="*/ 1733878 w 6884782"/>
              <a:gd name="connsiteY65968" fmla="*/ 787515 h 5973007"/>
              <a:gd name="connsiteX65969" fmla="*/ 1719629 w 6884782"/>
              <a:gd name="connsiteY65969" fmla="*/ 809201 h 5973007"/>
              <a:gd name="connsiteX65970" fmla="*/ 1722210 w 6884782"/>
              <a:gd name="connsiteY65970" fmla="*/ 805328 h 5973007"/>
              <a:gd name="connsiteX65971" fmla="*/ 1720146 w 6884782"/>
              <a:gd name="connsiteY65971" fmla="*/ 804864 h 5973007"/>
              <a:gd name="connsiteX65972" fmla="*/ 1717771 w 6884782"/>
              <a:gd name="connsiteY65972" fmla="*/ 799752 h 5973007"/>
              <a:gd name="connsiteX65973" fmla="*/ 1718700 w 6884782"/>
              <a:gd name="connsiteY65973" fmla="*/ 797893 h 5973007"/>
              <a:gd name="connsiteX65974" fmla="*/ 1720559 w 6884782"/>
              <a:gd name="connsiteY65974" fmla="*/ 797274 h 5973007"/>
              <a:gd name="connsiteX65975" fmla="*/ 1722727 w 6884782"/>
              <a:gd name="connsiteY65975" fmla="*/ 796809 h 5973007"/>
              <a:gd name="connsiteX65976" fmla="*/ 1725928 w 6884782"/>
              <a:gd name="connsiteY65976" fmla="*/ 798048 h 5973007"/>
              <a:gd name="connsiteX65977" fmla="*/ 1728922 w 6884782"/>
              <a:gd name="connsiteY65977" fmla="*/ 792782 h 5973007"/>
              <a:gd name="connsiteX65978" fmla="*/ 1733878 w 6884782"/>
              <a:gd name="connsiteY65978" fmla="*/ 787515 h 5973007"/>
              <a:gd name="connsiteX65979" fmla="*/ 1467374 w 6884782"/>
              <a:gd name="connsiteY65979" fmla="*/ 785657 h 5973007"/>
              <a:gd name="connsiteX65980" fmla="*/ 1469027 w 6884782"/>
              <a:gd name="connsiteY65980" fmla="*/ 787360 h 5973007"/>
              <a:gd name="connsiteX65981" fmla="*/ 1468097 w 6884782"/>
              <a:gd name="connsiteY65981" fmla="*/ 789064 h 5973007"/>
              <a:gd name="connsiteX65982" fmla="*/ 1467994 w 6884782"/>
              <a:gd name="connsiteY65982" fmla="*/ 790613 h 5973007"/>
              <a:gd name="connsiteX65983" fmla="*/ 1467168 w 6884782"/>
              <a:gd name="connsiteY65983" fmla="*/ 790768 h 5973007"/>
              <a:gd name="connsiteX65984" fmla="*/ 1466238 w 6884782"/>
              <a:gd name="connsiteY65984" fmla="*/ 791542 h 5973007"/>
              <a:gd name="connsiteX65985" fmla="*/ 1462831 w 6884782"/>
              <a:gd name="connsiteY65985" fmla="*/ 790148 h 5973007"/>
              <a:gd name="connsiteX65986" fmla="*/ 1461799 w 6884782"/>
              <a:gd name="connsiteY65986" fmla="*/ 788445 h 5973007"/>
              <a:gd name="connsiteX65987" fmla="*/ 1462005 w 6884782"/>
              <a:gd name="connsiteY65987" fmla="*/ 786741 h 5973007"/>
              <a:gd name="connsiteX65988" fmla="*/ 1463864 w 6884782"/>
              <a:gd name="connsiteY65988" fmla="*/ 785966 h 5973007"/>
              <a:gd name="connsiteX65989" fmla="*/ 1467374 w 6884782"/>
              <a:gd name="connsiteY65989" fmla="*/ 785657 h 5973007"/>
              <a:gd name="connsiteX65990" fmla="*/ 1301751 w 6884782"/>
              <a:gd name="connsiteY65990" fmla="*/ 784417 h 5973007"/>
              <a:gd name="connsiteX65991" fmla="*/ 1309599 w 6884782"/>
              <a:gd name="connsiteY65991" fmla="*/ 796809 h 5973007"/>
              <a:gd name="connsiteX65992" fmla="*/ 1302371 w 6884782"/>
              <a:gd name="connsiteY65992" fmla="*/ 797429 h 5973007"/>
              <a:gd name="connsiteX65993" fmla="*/ 1300822 w 6884782"/>
              <a:gd name="connsiteY65993" fmla="*/ 787515 h 5973007"/>
              <a:gd name="connsiteX65994" fmla="*/ 1301751 w 6884782"/>
              <a:gd name="connsiteY65994" fmla="*/ 784417 h 5973007"/>
              <a:gd name="connsiteX65995" fmla="*/ 3240779 w 6884782"/>
              <a:gd name="connsiteY65995" fmla="*/ 784186 h 5973007"/>
              <a:gd name="connsiteX65996" fmla="*/ 3241846 w 6884782"/>
              <a:gd name="connsiteY65996" fmla="*/ 785893 h 5973007"/>
              <a:gd name="connsiteX65997" fmla="*/ 3242273 w 6884782"/>
              <a:gd name="connsiteY65997" fmla="*/ 788597 h 5973007"/>
              <a:gd name="connsiteX65998" fmla="*/ 3236510 w 6884782"/>
              <a:gd name="connsiteY65998" fmla="*/ 790162 h 5973007"/>
              <a:gd name="connsiteX65999" fmla="*/ 3234376 w 6884782"/>
              <a:gd name="connsiteY65999" fmla="*/ 787459 h 5973007"/>
              <a:gd name="connsiteX66000" fmla="*/ 3236937 w 6884782"/>
              <a:gd name="connsiteY66000" fmla="*/ 784755 h 5973007"/>
              <a:gd name="connsiteX66001" fmla="*/ 3240779 w 6884782"/>
              <a:gd name="connsiteY66001" fmla="*/ 784186 h 5973007"/>
              <a:gd name="connsiteX66002" fmla="*/ 1281100 w 6884782"/>
              <a:gd name="connsiteY66002" fmla="*/ 783643 h 5973007"/>
              <a:gd name="connsiteX66003" fmla="*/ 1276763 w 6884782"/>
              <a:gd name="connsiteY66003" fmla="*/ 799442 h 5973007"/>
              <a:gd name="connsiteX66004" fmla="*/ 1274905 w 6884782"/>
              <a:gd name="connsiteY66004" fmla="*/ 798823 h 5973007"/>
              <a:gd name="connsiteX66005" fmla="*/ 1274182 w 6884782"/>
              <a:gd name="connsiteY66005" fmla="*/ 796654 h 5973007"/>
              <a:gd name="connsiteX66006" fmla="*/ 1276040 w 6884782"/>
              <a:gd name="connsiteY66006" fmla="*/ 788445 h 5973007"/>
              <a:gd name="connsiteX66007" fmla="*/ 1276867 w 6884782"/>
              <a:gd name="connsiteY66007" fmla="*/ 786741 h 5973007"/>
              <a:gd name="connsiteX66008" fmla="*/ 1277590 w 6884782"/>
              <a:gd name="connsiteY66008" fmla="*/ 784882 h 5973007"/>
              <a:gd name="connsiteX66009" fmla="*/ 1281100 w 6884782"/>
              <a:gd name="connsiteY66009" fmla="*/ 783643 h 5973007"/>
              <a:gd name="connsiteX66010" fmla="*/ 3616397 w 6884782"/>
              <a:gd name="connsiteY66010" fmla="*/ 783048 h 5973007"/>
              <a:gd name="connsiteX66011" fmla="*/ 3620453 w 6884782"/>
              <a:gd name="connsiteY66011" fmla="*/ 784044 h 5973007"/>
              <a:gd name="connsiteX66012" fmla="*/ 3621946 w 6884782"/>
              <a:gd name="connsiteY66012" fmla="*/ 787601 h 5973007"/>
              <a:gd name="connsiteX66013" fmla="*/ 3620879 w 6884782"/>
              <a:gd name="connsiteY66013" fmla="*/ 790019 h 5973007"/>
              <a:gd name="connsiteX66014" fmla="*/ 3599751 w 6884782"/>
              <a:gd name="connsiteY66014" fmla="*/ 796848 h 5973007"/>
              <a:gd name="connsiteX66015" fmla="*/ 3603166 w 6884782"/>
              <a:gd name="connsiteY66015" fmla="*/ 786178 h 5973007"/>
              <a:gd name="connsiteX66016" fmla="*/ 3607434 w 6884782"/>
              <a:gd name="connsiteY66016" fmla="*/ 783760 h 5973007"/>
              <a:gd name="connsiteX66017" fmla="*/ 3612556 w 6884782"/>
              <a:gd name="connsiteY66017" fmla="*/ 783902 h 5973007"/>
              <a:gd name="connsiteX66018" fmla="*/ 3616397 w 6884782"/>
              <a:gd name="connsiteY66018" fmla="*/ 783048 h 5973007"/>
              <a:gd name="connsiteX66019" fmla="*/ 1639296 w 6884782"/>
              <a:gd name="connsiteY66019" fmla="*/ 782869 h 5973007"/>
              <a:gd name="connsiteX66020" fmla="*/ 1638470 w 6884782"/>
              <a:gd name="connsiteY66020" fmla="*/ 783333 h 5973007"/>
              <a:gd name="connsiteX66021" fmla="*/ 1639709 w 6884782"/>
              <a:gd name="connsiteY66021" fmla="*/ 783643 h 5973007"/>
              <a:gd name="connsiteX66022" fmla="*/ 1630209 w 6884782"/>
              <a:gd name="connsiteY66022" fmla="*/ 790458 h 5973007"/>
              <a:gd name="connsiteX66023" fmla="*/ 1629693 w 6884782"/>
              <a:gd name="connsiteY66023" fmla="*/ 789838 h 5973007"/>
              <a:gd name="connsiteX66024" fmla="*/ 1636301 w 6884782"/>
              <a:gd name="connsiteY66024" fmla="*/ 784108 h 5973007"/>
              <a:gd name="connsiteX66025" fmla="*/ 1639296 w 6884782"/>
              <a:gd name="connsiteY66025" fmla="*/ 782869 h 5973007"/>
              <a:gd name="connsiteX66026" fmla="*/ 3866953 w 6884782"/>
              <a:gd name="connsiteY66026" fmla="*/ 779491 h 5973007"/>
              <a:gd name="connsiteX66027" fmla="*/ 3869086 w 6884782"/>
              <a:gd name="connsiteY66027" fmla="*/ 779633 h 5973007"/>
              <a:gd name="connsiteX66028" fmla="*/ 3866098 w 6884782"/>
              <a:gd name="connsiteY66028" fmla="*/ 787032 h 5973007"/>
              <a:gd name="connsiteX66029" fmla="*/ 3862684 w 6884782"/>
              <a:gd name="connsiteY66029" fmla="*/ 788312 h 5973007"/>
              <a:gd name="connsiteX66030" fmla="*/ 3863111 w 6884782"/>
              <a:gd name="connsiteY66030" fmla="*/ 784470 h 5973007"/>
              <a:gd name="connsiteX66031" fmla="*/ 3865458 w 6884782"/>
              <a:gd name="connsiteY66031" fmla="*/ 783333 h 5973007"/>
              <a:gd name="connsiteX66032" fmla="*/ 3866953 w 6884782"/>
              <a:gd name="connsiteY66032" fmla="*/ 779491 h 5973007"/>
              <a:gd name="connsiteX66033" fmla="*/ 3418557 w 6884782"/>
              <a:gd name="connsiteY66033" fmla="*/ 778353 h 5973007"/>
              <a:gd name="connsiteX66034" fmla="*/ 3414076 w 6884782"/>
              <a:gd name="connsiteY66034" fmla="*/ 793434 h 5973007"/>
              <a:gd name="connsiteX66035" fmla="*/ 3410234 w 6884782"/>
              <a:gd name="connsiteY66035" fmla="*/ 779918 h 5973007"/>
              <a:gd name="connsiteX66036" fmla="*/ 3418557 w 6884782"/>
              <a:gd name="connsiteY66036" fmla="*/ 778353 h 5973007"/>
              <a:gd name="connsiteX66037" fmla="*/ 1588804 w 6884782"/>
              <a:gd name="connsiteY66037" fmla="*/ 777912 h 5973007"/>
              <a:gd name="connsiteX66038" fmla="*/ 1593967 w 6884782"/>
              <a:gd name="connsiteY66038" fmla="*/ 780390 h 5973007"/>
              <a:gd name="connsiteX66039" fmla="*/ 1593243 w 6884782"/>
              <a:gd name="connsiteY66039" fmla="*/ 795570 h 5973007"/>
              <a:gd name="connsiteX66040" fmla="*/ 1591178 w 6884782"/>
              <a:gd name="connsiteY66040" fmla="*/ 797119 h 5973007"/>
              <a:gd name="connsiteX66041" fmla="*/ 1590972 w 6884782"/>
              <a:gd name="connsiteY66041" fmla="*/ 797429 h 5973007"/>
              <a:gd name="connsiteX66042" fmla="*/ 1592211 w 6884782"/>
              <a:gd name="connsiteY66042" fmla="*/ 797738 h 5973007"/>
              <a:gd name="connsiteX66043" fmla="*/ 1592418 w 6884782"/>
              <a:gd name="connsiteY66043" fmla="*/ 799133 h 5973007"/>
              <a:gd name="connsiteX66044" fmla="*/ 1591798 w 6884782"/>
              <a:gd name="connsiteY66044" fmla="*/ 801456 h 5973007"/>
              <a:gd name="connsiteX66045" fmla="*/ 1592004 w 6884782"/>
              <a:gd name="connsiteY66045" fmla="*/ 803315 h 5973007"/>
              <a:gd name="connsiteX66046" fmla="*/ 1589733 w 6884782"/>
              <a:gd name="connsiteY66046" fmla="*/ 804554 h 5973007"/>
              <a:gd name="connsiteX66047" fmla="*/ 1589527 w 6884782"/>
              <a:gd name="connsiteY66047" fmla="*/ 802695 h 5973007"/>
              <a:gd name="connsiteX66048" fmla="*/ 1590146 w 6884782"/>
              <a:gd name="connsiteY66048" fmla="*/ 799907 h 5973007"/>
              <a:gd name="connsiteX66049" fmla="*/ 1590249 w 6884782"/>
              <a:gd name="connsiteY66049" fmla="*/ 798513 h 5973007"/>
              <a:gd name="connsiteX66050" fmla="*/ 1588907 w 6884782"/>
              <a:gd name="connsiteY66050" fmla="*/ 800371 h 5973007"/>
              <a:gd name="connsiteX66051" fmla="*/ 1586842 w 6884782"/>
              <a:gd name="connsiteY66051" fmla="*/ 798978 h 5973007"/>
              <a:gd name="connsiteX66052" fmla="*/ 1584776 w 6884782"/>
              <a:gd name="connsiteY66052" fmla="*/ 798513 h 5973007"/>
              <a:gd name="connsiteX66053" fmla="*/ 1583331 w 6884782"/>
              <a:gd name="connsiteY66053" fmla="*/ 800217 h 5973007"/>
              <a:gd name="connsiteX66054" fmla="*/ 1581886 w 6884782"/>
              <a:gd name="connsiteY66054" fmla="*/ 797893 h 5973007"/>
              <a:gd name="connsiteX66055" fmla="*/ 1581989 w 6884782"/>
              <a:gd name="connsiteY66055" fmla="*/ 797583 h 5973007"/>
              <a:gd name="connsiteX66056" fmla="*/ 1579304 w 6884782"/>
              <a:gd name="connsiteY66056" fmla="*/ 795415 h 5973007"/>
              <a:gd name="connsiteX66057" fmla="*/ 1575690 w 6884782"/>
              <a:gd name="connsiteY66057" fmla="*/ 787515 h 5973007"/>
              <a:gd name="connsiteX66058" fmla="*/ 1578891 w 6884782"/>
              <a:gd name="connsiteY66058" fmla="*/ 781165 h 5973007"/>
              <a:gd name="connsiteX66059" fmla="*/ 1588804 w 6884782"/>
              <a:gd name="connsiteY66059" fmla="*/ 777912 h 5973007"/>
              <a:gd name="connsiteX66060" fmla="*/ 3431149 w 6884782"/>
              <a:gd name="connsiteY66060" fmla="*/ 777215 h 5973007"/>
              <a:gd name="connsiteX66061" fmla="*/ 3449503 w 6884782"/>
              <a:gd name="connsiteY66061" fmla="*/ 778211 h 5973007"/>
              <a:gd name="connsiteX66062" fmla="*/ 3452064 w 6884782"/>
              <a:gd name="connsiteY66062" fmla="*/ 780772 h 5973007"/>
              <a:gd name="connsiteX66063" fmla="*/ 3453131 w 6884782"/>
              <a:gd name="connsiteY66063" fmla="*/ 780772 h 5973007"/>
              <a:gd name="connsiteX66064" fmla="*/ 3454412 w 6884782"/>
              <a:gd name="connsiteY66064" fmla="*/ 783333 h 5973007"/>
              <a:gd name="connsiteX66065" fmla="*/ 3447582 w 6884782"/>
              <a:gd name="connsiteY66065" fmla="*/ 784186 h 5973007"/>
              <a:gd name="connsiteX66066" fmla="*/ 3441820 w 6884782"/>
              <a:gd name="connsiteY66066" fmla="*/ 783902 h 5973007"/>
              <a:gd name="connsiteX66067" fmla="*/ 3423253 w 6884782"/>
              <a:gd name="connsiteY66067" fmla="*/ 778211 h 5973007"/>
              <a:gd name="connsiteX66068" fmla="*/ 3431149 w 6884782"/>
              <a:gd name="connsiteY66068" fmla="*/ 777215 h 5973007"/>
              <a:gd name="connsiteX66069" fmla="*/ 1470059 w 6884782"/>
              <a:gd name="connsiteY66069" fmla="*/ 776982 h 5973007"/>
              <a:gd name="connsiteX66070" fmla="*/ 1487716 w 6884782"/>
              <a:gd name="connsiteY66070" fmla="*/ 799133 h 5973007"/>
              <a:gd name="connsiteX66071" fmla="*/ 1470059 w 6884782"/>
              <a:gd name="connsiteY66071" fmla="*/ 776982 h 5973007"/>
              <a:gd name="connsiteX66072" fmla="*/ 1767334 w 6884782"/>
              <a:gd name="connsiteY66072" fmla="*/ 776672 h 5973007"/>
              <a:gd name="connsiteX66073" fmla="*/ 1769708 w 6884782"/>
              <a:gd name="connsiteY66073" fmla="*/ 777447 h 5973007"/>
              <a:gd name="connsiteX66074" fmla="*/ 1770535 w 6884782"/>
              <a:gd name="connsiteY66074" fmla="*/ 777137 h 5973007"/>
              <a:gd name="connsiteX66075" fmla="*/ 1772187 w 6884782"/>
              <a:gd name="connsiteY66075" fmla="*/ 778222 h 5973007"/>
              <a:gd name="connsiteX66076" fmla="*/ 1768160 w 6884782"/>
              <a:gd name="connsiteY66076" fmla="*/ 781165 h 5973007"/>
              <a:gd name="connsiteX66077" fmla="*/ 1764546 w 6884782"/>
              <a:gd name="connsiteY66077" fmla="*/ 783023 h 5973007"/>
              <a:gd name="connsiteX66078" fmla="*/ 1750916 w 6884782"/>
              <a:gd name="connsiteY66078" fmla="*/ 786121 h 5973007"/>
              <a:gd name="connsiteX66079" fmla="*/ 1755563 w 6884782"/>
              <a:gd name="connsiteY66079" fmla="*/ 782713 h 5973007"/>
              <a:gd name="connsiteX66080" fmla="*/ 1767334 w 6884782"/>
              <a:gd name="connsiteY66080" fmla="*/ 776672 h 5973007"/>
              <a:gd name="connsiteX66081" fmla="*/ 1634753 w 6884782"/>
              <a:gd name="connsiteY66081" fmla="*/ 774349 h 5973007"/>
              <a:gd name="connsiteX66082" fmla="*/ 1636611 w 6884782"/>
              <a:gd name="connsiteY66082" fmla="*/ 777447 h 5973007"/>
              <a:gd name="connsiteX66083" fmla="*/ 1635166 w 6884782"/>
              <a:gd name="connsiteY66083" fmla="*/ 778222 h 5973007"/>
              <a:gd name="connsiteX66084" fmla="*/ 1626286 w 6884782"/>
              <a:gd name="connsiteY66084" fmla="*/ 787825 h 5973007"/>
              <a:gd name="connsiteX66085" fmla="*/ 1634753 w 6884782"/>
              <a:gd name="connsiteY66085" fmla="*/ 774349 h 5973007"/>
              <a:gd name="connsiteX66086" fmla="*/ 1605428 w 6884782"/>
              <a:gd name="connsiteY66086" fmla="*/ 773729 h 5973007"/>
              <a:gd name="connsiteX66087" fmla="*/ 1605531 w 6884782"/>
              <a:gd name="connsiteY66087" fmla="*/ 783953 h 5973007"/>
              <a:gd name="connsiteX66088" fmla="*/ 1599749 w 6884782"/>
              <a:gd name="connsiteY66088" fmla="*/ 781784 h 5973007"/>
              <a:gd name="connsiteX66089" fmla="*/ 1599336 w 6884782"/>
              <a:gd name="connsiteY66089" fmla="*/ 779306 h 5973007"/>
              <a:gd name="connsiteX66090" fmla="*/ 1599026 w 6884782"/>
              <a:gd name="connsiteY66090" fmla="*/ 777447 h 5973007"/>
              <a:gd name="connsiteX66091" fmla="*/ 1600988 w 6884782"/>
              <a:gd name="connsiteY66091" fmla="*/ 774349 h 5973007"/>
              <a:gd name="connsiteX66092" fmla="*/ 1600162 w 6884782"/>
              <a:gd name="connsiteY66092" fmla="*/ 774349 h 5973007"/>
              <a:gd name="connsiteX66093" fmla="*/ 1605428 w 6884782"/>
              <a:gd name="connsiteY66093" fmla="*/ 773729 h 5973007"/>
              <a:gd name="connsiteX66094" fmla="*/ 1538208 w 6884782"/>
              <a:gd name="connsiteY66094" fmla="*/ 773420 h 5973007"/>
              <a:gd name="connsiteX66095" fmla="*/ 1543268 w 6884782"/>
              <a:gd name="connsiteY66095" fmla="*/ 778531 h 5973007"/>
              <a:gd name="connsiteX66096" fmla="*/ 1542338 w 6884782"/>
              <a:gd name="connsiteY66096" fmla="*/ 779925 h 5973007"/>
              <a:gd name="connsiteX66097" fmla="*/ 1539964 w 6884782"/>
              <a:gd name="connsiteY66097" fmla="*/ 779306 h 5973007"/>
              <a:gd name="connsiteX66098" fmla="*/ 1537175 w 6884782"/>
              <a:gd name="connsiteY66098" fmla="*/ 774814 h 5973007"/>
              <a:gd name="connsiteX66099" fmla="*/ 1538208 w 6884782"/>
              <a:gd name="connsiteY66099" fmla="*/ 773420 h 5973007"/>
              <a:gd name="connsiteX66100" fmla="*/ 3885520 w 6884782"/>
              <a:gd name="connsiteY66100" fmla="*/ 773232 h 5973007"/>
              <a:gd name="connsiteX66101" fmla="*/ 3888295 w 6884782"/>
              <a:gd name="connsiteY66101" fmla="*/ 774085 h 5973007"/>
              <a:gd name="connsiteX66102" fmla="*/ 3886374 w 6884782"/>
              <a:gd name="connsiteY66102" fmla="*/ 780061 h 5973007"/>
              <a:gd name="connsiteX66103" fmla="*/ 3875703 w 6884782"/>
              <a:gd name="connsiteY66103" fmla="*/ 783475 h 5973007"/>
              <a:gd name="connsiteX66104" fmla="*/ 3876343 w 6884782"/>
              <a:gd name="connsiteY66104" fmla="*/ 778638 h 5973007"/>
              <a:gd name="connsiteX66105" fmla="*/ 3885520 w 6884782"/>
              <a:gd name="connsiteY66105" fmla="*/ 773232 h 5973007"/>
              <a:gd name="connsiteX66106" fmla="*/ 3302671 w 6884782"/>
              <a:gd name="connsiteY66106" fmla="*/ 771666 h 5973007"/>
              <a:gd name="connsiteX66107" fmla="*/ 3313982 w 6884782"/>
              <a:gd name="connsiteY66107" fmla="*/ 773232 h 5973007"/>
              <a:gd name="connsiteX66108" fmla="*/ 3316330 w 6884782"/>
              <a:gd name="connsiteY66108" fmla="*/ 773374 h 5973007"/>
              <a:gd name="connsiteX66109" fmla="*/ 3318677 w 6884782"/>
              <a:gd name="connsiteY66109" fmla="*/ 775792 h 5973007"/>
              <a:gd name="connsiteX66110" fmla="*/ 3308433 w 6884782"/>
              <a:gd name="connsiteY66110" fmla="*/ 776504 h 5973007"/>
              <a:gd name="connsiteX66111" fmla="*/ 3302671 w 6884782"/>
              <a:gd name="connsiteY66111" fmla="*/ 776219 h 5973007"/>
              <a:gd name="connsiteX66112" fmla="*/ 3300323 w 6884782"/>
              <a:gd name="connsiteY66112" fmla="*/ 773801 h 5973007"/>
              <a:gd name="connsiteX66113" fmla="*/ 3300109 w 6884782"/>
              <a:gd name="connsiteY66113" fmla="*/ 772662 h 5973007"/>
              <a:gd name="connsiteX66114" fmla="*/ 3302671 w 6884782"/>
              <a:gd name="connsiteY66114" fmla="*/ 771666 h 5973007"/>
              <a:gd name="connsiteX66115" fmla="*/ 3673380 w 6884782"/>
              <a:gd name="connsiteY66115" fmla="*/ 771097 h 5973007"/>
              <a:gd name="connsiteX66116" fmla="*/ 3684478 w 6884782"/>
              <a:gd name="connsiteY66116" fmla="*/ 773801 h 5973007"/>
              <a:gd name="connsiteX66117" fmla="*/ 3684478 w 6884782"/>
              <a:gd name="connsiteY66117" fmla="*/ 785467 h 5973007"/>
              <a:gd name="connsiteX66118" fmla="*/ 3654173 w 6884782"/>
              <a:gd name="connsiteY66118" fmla="*/ 798698 h 5973007"/>
              <a:gd name="connsiteX66119" fmla="*/ 3673380 w 6884782"/>
              <a:gd name="connsiteY66119" fmla="*/ 771097 h 5973007"/>
              <a:gd name="connsiteX66120" fmla="*/ 1840026 w 6884782"/>
              <a:gd name="connsiteY66120" fmla="*/ 770322 h 5973007"/>
              <a:gd name="connsiteX66121" fmla="*/ 1850971 w 6884782"/>
              <a:gd name="connsiteY66121" fmla="*/ 781629 h 5973007"/>
              <a:gd name="connsiteX66122" fmla="*/ 1842917 w 6884782"/>
              <a:gd name="connsiteY66122" fmla="*/ 783953 h 5973007"/>
              <a:gd name="connsiteX66123" fmla="*/ 1840026 w 6884782"/>
              <a:gd name="connsiteY66123" fmla="*/ 770322 h 5973007"/>
              <a:gd name="connsiteX66124" fmla="*/ 3354959 w 6884782"/>
              <a:gd name="connsiteY66124" fmla="*/ 769532 h 5973007"/>
              <a:gd name="connsiteX66125" fmla="*/ 3356026 w 6884782"/>
              <a:gd name="connsiteY66125" fmla="*/ 769532 h 5973007"/>
              <a:gd name="connsiteX66126" fmla="*/ 3358586 w 6884782"/>
              <a:gd name="connsiteY66126" fmla="*/ 770244 h 5973007"/>
              <a:gd name="connsiteX66127" fmla="*/ 3363495 w 6884782"/>
              <a:gd name="connsiteY66127" fmla="*/ 774939 h 5973007"/>
              <a:gd name="connsiteX66128" fmla="*/ 3364135 w 6884782"/>
              <a:gd name="connsiteY66128" fmla="*/ 773943 h 5973007"/>
              <a:gd name="connsiteX66129" fmla="*/ 3361147 w 6884782"/>
              <a:gd name="connsiteY66129" fmla="*/ 780772 h 5973007"/>
              <a:gd name="connsiteX66130" fmla="*/ 3348556 w 6884782"/>
              <a:gd name="connsiteY66130" fmla="*/ 775508 h 5973007"/>
              <a:gd name="connsiteX66131" fmla="*/ 3354959 w 6884782"/>
              <a:gd name="connsiteY66131" fmla="*/ 769532 h 5973007"/>
              <a:gd name="connsiteX66132" fmla="*/ 1546882 w 6884782"/>
              <a:gd name="connsiteY66132" fmla="*/ 769083 h 5973007"/>
              <a:gd name="connsiteX66133" fmla="*/ 1549463 w 6884782"/>
              <a:gd name="connsiteY66133" fmla="*/ 769392 h 5973007"/>
              <a:gd name="connsiteX66134" fmla="*/ 1548534 w 6884782"/>
              <a:gd name="connsiteY66134" fmla="*/ 772645 h 5973007"/>
              <a:gd name="connsiteX66135" fmla="*/ 1546056 w 6884782"/>
              <a:gd name="connsiteY66135" fmla="*/ 770167 h 5973007"/>
              <a:gd name="connsiteX66136" fmla="*/ 1546882 w 6884782"/>
              <a:gd name="connsiteY66136" fmla="*/ 769083 h 5973007"/>
              <a:gd name="connsiteX66137" fmla="*/ 3520786 w 6884782"/>
              <a:gd name="connsiteY66137" fmla="*/ 766972 h 5973007"/>
              <a:gd name="connsiteX66138" fmla="*/ 3523987 w 6884782"/>
              <a:gd name="connsiteY66138" fmla="*/ 769106 h 5973007"/>
              <a:gd name="connsiteX66139" fmla="*/ 3525054 w 6884782"/>
              <a:gd name="connsiteY66139" fmla="*/ 771666 h 5973007"/>
              <a:gd name="connsiteX66140" fmla="*/ 3524414 w 6884782"/>
              <a:gd name="connsiteY66140" fmla="*/ 774939 h 5973007"/>
              <a:gd name="connsiteX66141" fmla="*/ 3514169 w 6884782"/>
              <a:gd name="connsiteY66141" fmla="*/ 774796 h 5973007"/>
              <a:gd name="connsiteX66142" fmla="*/ 3513529 w 6884782"/>
              <a:gd name="connsiteY66142" fmla="*/ 771240 h 5973007"/>
              <a:gd name="connsiteX66143" fmla="*/ 3520786 w 6884782"/>
              <a:gd name="connsiteY66143" fmla="*/ 766972 h 5973007"/>
              <a:gd name="connsiteX66144" fmla="*/ 2057912 w 6884782"/>
              <a:gd name="connsiteY66144" fmla="*/ 765649 h 5973007"/>
              <a:gd name="connsiteX66145" fmla="*/ 2055832 w 6884782"/>
              <a:gd name="connsiteY66145" fmla="*/ 767689 h 5973007"/>
              <a:gd name="connsiteX66146" fmla="*/ 2055966 w 6884782"/>
              <a:gd name="connsiteY66146" fmla="*/ 768384 h 5973007"/>
              <a:gd name="connsiteX66147" fmla="*/ 1899295 w 6884782"/>
              <a:gd name="connsiteY66147" fmla="*/ 764746 h 5973007"/>
              <a:gd name="connsiteX66148" fmla="*/ 1904148 w 6884782"/>
              <a:gd name="connsiteY66148" fmla="*/ 769083 h 5973007"/>
              <a:gd name="connsiteX66149" fmla="*/ 1894132 w 6884782"/>
              <a:gd name="connsiteY66149" fmla="*/ 772955 h 5973007"/>
              <a:gd name="connsiteX66150" fmla="*/ 1893100 w 6884782"/>
              <a:gd name="connsiteY66150" fmla="*/ 769702 h 5973007"/>
              <a:gd name="connsiteX66151" fmla="*/ 1893823 w 6884782"/>
              <a:gd name="connsiteY66151" fmla="*/ 767379 h 5973007"/>
              <a:gd name="connsiteX66152" fmla="*/ 1899295 w 6884782"/>
              <a:gd name="connsiteY66152" fmla="*/ 764746 h 5973007"/>
              <a:gd name="connsiteX66153" fmla="*/ 1451163 w 6884782"/>
              <a:gd name="connsiteY66153" fmla="*/ 764590 h 5973007"/>
              <a:gd name="connsiteX66154" fmla="*/ 1445174 w 6884782"/>
              <a:gd name="connsiteY66154" fmla="*/ 780080 h 5973007"/>
              <a:gd name="connsiteX66155" fmla="*/ 1443419 w 6884782"/>
              <a:gd name="connsiteY66155" fmla="*/ 779306 h 5973007"/>
              <a:gd name="connsiteX66156" fmla="*/ 1442903 w 6884782"/>
              <a:gd name="connsiteY66156" fmla="*/ 777137 h 5973007"/>
              <a:gd name="connsiteX66157" fmla="*/ 1445587 w 6884782"/>
              <a:gd name="connsiteY66157" fmla="*/ 769083 h 5973007"/>
              <a:gd name="connsiteX66158" fmla="*/ 1446620 w 6884782"/>
              <a:gd name="connsiteY66158" fmla="*/ 767379 h 5973007"/>
              <a:gd name="connsiteX66159" fmla="*/ 1447549 w 6884782"/>
              <a:gd name="connsiteY66159" fmla="*/ 765675 h 5973007"/>
              <a:gd name="connsiteX66160" fmla="*/ 1451163 w 6884782"/>
              <a:gd name="connsiteY66160" fmla="*/ 764590 h 5973007"/>
              <a:gd name="connsiteX66161" fmla="*/ 4075463 w 6884782"/>
              <a:gd name="connsiteY66161" fmla="*/ 763557 h 5973007"/>
              <a:gd name="connsiteX66162" fmla="*/ 4078878 w 6884782"/>
              <a:gd name="connsiteY66162" fmla="*/ 764553 h 5973007"/>
              <a:gd name="connsiteX66163" fmla="*/ 4068207 w 6884782"/>
              <a:gd name="connsiteY66163" fmla="*/ 771097 h 5973007"/>
              <a:gd name="connsiteX66164" fmla="*/ 4075463 w 6884782"/>
              <a:gd name="connsiteY66164" fmla="*/ 763557 h 5973007"/>
              <a:gd name="connsiteX66165" fmla="*/ 3382063 w 6884782"/>
              <a:gd name="connsiteY66165" fmla="*/ 760712 h 5973007"/>
              <a:gd name="connsiteX66166" fmla="*/ 3390600 w 6884782"/>
              <a:gd name="connsiteY66166" fmla="*/ 762846 h 5973007"/>
              <a:gd name="connsiteX66167" fmla="*/ 3382063 w 6884782"/>
              <a:gd name="connsiteY66167" fmla="*/ 760712 h 5973007"/>
              <a:gd name="connsiteX66168" fmla="*/ 1548327 w 6884782"/>
              <a:gd name="connsiteY66168" fmla="*/ 759789 h 5973007"/>
              <a:gd name="connsiteX66169" fmla="*/ 1551115 w 6884782"/>
              <a:gd name="connsiteY66169" fmla="*/ 759789 h 5973007"/>
              <a:gd name="connsiteX66170" fmla="*/ 1554523 w 6884782"/>
              <a:gd name="connsiteY66170" fmla="*/ 761957 h 5973007"/>
              <a:gd name="connsiteX66171" fmla="*/ 1555349 w 6884782"/>
              <a:gd name="connsiteY66171" fmla="*/ 763506 h 5973007"/>
              <a:gd name="connsiteX66172" fmla="*/ 1549773 w 6884782"/>
              <a:gd name="connsiteY66172" fmla="*/ 768308 h 5973007"/>
              <a:gd name="connsiteX66173" fmla="*/ 1543784 w 6884782"/>
              <a:gd name="connsiteY66173" fmla="*/ 763506 h 5973007"/>
              <a:gd name="connsiteX66174" fmla="*/ 1544816 w 6884782"/>
              <a:gd name="connsiteY66174" fmla="*/ 761957 h 5973007"/>
              <a:gd name="connsiteX66175" fmla="*/ 1546365 w 6884782"/>
              <a:gd name="connsiteY66175" fmla="*/ 760563 h 5973007"/>
              <a:gd name="connsiteX66176" fmla="*/ 1548327 w 6884782"/>
              <a:gd name="connsiteY66176" fmla="*/ 759789 h 5973007"/>
              <a:gd name="connsiteX66177" fmla="*/ 1397470 w 6884782"/>
              <a:gd name="connsiteY66177" fmla="*/ 759324 h 5973007"/>
              <a:gd name="connsiteX66178" fmla="*/ 1399329 w 6884782"/>
              <a:gd name="connsiteY66178" fmla="*/ 759634 h 5973007"/>
              <a:gd name="connsiteX66179" fmla="*/ 1400877 w 6884782"/>
              <a:gd name="connsiteY66179" fmla="*/ 760718 h 5973007"/>
              <a:gd name="connsiteX66180" fmla="*/ 1398502 w 6884782"/>
              <a:gd name="connsiteY66180" fmla="*/ 762887 h 5973007"/>
              <a:gd name="connsiteX66181" fmla="*/ 1397573 w 6884782"/>
              <a:gd name="connsiteY66181" fmla="*/ 761493 h 5973007"/>
              <a:gd name="connsiteX66182" fmla="*/ 1396850 w 6884782"/>
              <a:gd name="connsiteY66182" fmla="*/ 761802 h 5973007"/>
              <a:gd name="connsiteX66183" fmla="*/ 1396747 w 6884782"/>
              <a:gd name="connsiteY66183" fmla="*/ 760099 h 5973007"/>
              <a:gd name="connsiteX66184" fmla="*/ 1397470 w 6884782"/>
              <a:gd name="connsiteY66184" fmla="*/ 759634 h 5973007"/>
              <a:gd name="connsiteX66185" fmla="*/ 1397470 w 6884782"/>
              <a:gd name="connsiteY66185" fmla="*/ 759324 h 5973007"/>
              <a:gd name="connsiteX66186" fmla="*/ 1345016 w 6884782"/>
              <a:gd name="connsiteY66186" fmla="*/ 758704 h 5973007"/>
              <a:gd name="connsiteX66187" fmla="*/ 1352554 w 6884782"/>
              <a:gd name="connsiteY66187" fmla="*/ 761338 h 5973007"/>
              <a:gd name="connsiteX66188" fmla="*/ 1350385 w 6884782"/>
              <a:gd name="connsiteY66188" fmla="*/ 765830 h 5973007"/>
              <a:gd name="connsiteX66189" fmla="*/ 1345016 w 6884782"/>
              <a:gd name="connsiteY66189" fmla="*/ 758704 h 5973007"/>
              <a:gd name="connsiteX66190" fmla="*/ 1789986 w 6884782"/>
              <a:gd name="connsiteY66190" fmla="*/ 757911 h 5973007"/>
              <a:gd name="connsiteX66191" fmla="*/ 1797175 w 6884782"/>
              <a:gd name="connsiteY66191" fmla="*/ 758550 h 5973007"/>
              <a:gd name="connsiteX66192" fmla="*/ 1799033 w 6884782"/>
              <a:gd name="connsiteY66192" fmla="*/ 763042 h 5973007"/>
              <a:gd name="connsiteX66193" fmla="*/ 1785817 w 6884782"/>
              <a:gd name="connsiteY66193" fmla="*/ 765055 h 5973007"/>
              <a:gd name="connsiteX66194" fmla="*/ 1789986 w 6884782"/>
              <a:gd name="connsiteY66194" fmla="*/ 757911 h 5973007"/>
              <a:gd name="connsiteX66195" fmla="*/ 1231537 w 6884782"/>
              <a:gd name="connsiteY66195" fmla="*/ 754523 h 5973007"/>
              <a:gd name="connsiteX66196" fmla="*/ 1238559 w 6884782"/>
              <a:gd name="connsiteY66196" fmla="*/ 755607 h 5973007"/>
              <a:gd name="connsiteX66197" fmla="*/ 1237010 w 6884782"/>
              <a:gd name="connsiteY66197" fmla="*/ 761957 h 5973007"/>
              <a:gd name="connsiteX66198" fmla="*/ 1230092 w 6884782"/>
              <a:gd name="connsiteY66198" fmla="*/ 759014 h 5973007"/>
              <a:gd name="connsiteX66199" fmla="*/ 1231537 w 6884782"/>
              <a:gd name="connsiteY66199" fmla="*/ 754523 h 5973007"/>
              <a:gd name="connsiteX66200" fmla="*/ 3992870 w 6884782"/>
              <a:gd name="connsiteY66200" fmla="*/ 754167 h 5973007"/>
              <a:gd name="connsiteX66201" fmla="*/ 3993724 w 6884782"/>
              <a:gd name="connsiteY66201" fmla="*/ 756586 h 5973007"/>
              <a:gd name="connsiteX66202" fmla="*/ 3988815 w 6884782"/>
              <a:gd name="connsiteY66202" fmla="*/ 760000 h 5973007"/>
              <a:gd name="connsiteX66203" fmla="*/ 3988601 w 6884782"/>
              <a:gd name="connsiteY66203" fmla="*/ 761281 h 5973007"/>
              <a:gd name="connsiteX66204" fmla="*/ 3990736 w 6884782"/>
              <a:gd name="connsiteY66204" fmla="*/ 763700 h 5973007"/>
              <a:gd name="connsiteX66205" fmla="*/ 3989455 w 6884782"/>
              <a:gd name="connsiteY66205" fmla="*/ 775650 h 5973007"/>
              <a:gd name="connsiteX66206" fmla="*/ 3976437 w 6884782"/>
              <a:gd name="connsiteY66206" fmla="*/ 779065 h 5973007"/>
              <a:gd name="connsiteX66207" fmla="*/ 3970887 w 6884782"/>
              <a:gd name="connsiteY66207" fmla="*/ 775366 h 5973007"/>
              <a:gd name="connsiteX66208" fmla="*/ 3973662 w 6884782"/>
              <a:gd name="connsiteY66208" fmla="*/ 760996 h 5973007"/>
              <a:gd name="connsiteX66209" fmla="*/ 3986467 w 6884782"/>
              <a:gd name="connsiteY66209" fmla="*/ 758862 h 5973007"/>
              <a:gd name="connsiteX66210" fmla="*/ 3987961 w 6884782"/>
              <a:gd name="connsiteY66210" fmla="*/ 756444 h 5973007"/>
              <a:gd name="connsiteX66211" fmla="*/ 3992870 w 6884782"/>
              <a:gd name="connsiteY66211" fmla="*/ 754167 h 5973007"/>
              <a:gd name="connsiteX66212" fmla="*/ 2962693 w 6884782"/>
              <a:gd name="connsiteY66212" fmla="*/ 754167 h 5973007"/>
              <a:gd name="connsiteX66213" fmla="*/ 2965894 w 6884782"/>
              <a:gd name="connsiteY66213" fmla="*/ 754737 h 5973007"/>
              <a:gd name="connsiteX66214" fmla="*/ 2968028 w 6884782"/>
              <a:gd name="connsiteY66214" fmla="*/ 760996 h 5973007"/>
              <a:gd name="connsiteX66215" fmla="*/ 2966534 w 6884782"/>
              <a:gd name="connsiteY66215" fmla="*/ 763130 h 5973007"/>
              <a:gd name="connsiteX66216" fmla="*/ 2965254 w 6884782"/>
              <a:gd name="connsiteY66216" fmla="*/ 762988 h 5973007"/>
              <a:gd name="connsiteX66217" fmla="*/ 2960772 w 6884782"/>
              <a:gd name="connsiteY66217" fmla="*/ 762277 h 5973007"/>
              <a:gd name="connsiteX66218" fmla="*/ 2958851 w 6884782"/>
              <a:gd name="connsiteY66218" fmla="*/ 756017 h 5973007"/>
              <a:gd name="connsiteX66219" fmla="*/ 2962693 w 6884782"/>
              <a:gd name="connsiteY66219" fmla="*/ 754167 h 5973007"/>
              <a:gd name="connsiteX66220" fmla="*/ 3312701 w 6884782"/>
              <a:gd name="connsiteY66220" fmla="*/ 752745 h 5973007"/>
              <a:gd name="connsiteX66221" fmla="*/ 3319530 w 6884782"/>
              <a:gd name="connsiteY66221" fmla="*/ 757298 h 5973007"/>
              <a:gd name="connsiteX66222" fmla="*/ 3301390 w 6884782"/>
              <a:gd name="connsiteY66222" fmla="*/ 761423 h 5973007"/>
              <a:gd name="connsiteX66223" fmla="*/ 3301177 w 6884782"/>
              <a:gd name="connsiteY66223" fmla="*/ 753741 h 5973007"/>
              <a:gd name="connsiteX66224" fmla="*/ 3312701 w 6884782"/>
              <a:gd name="connsiteY66224" fmla="*/ 752745 h 5973007"/>
              <a:gd name="connsiteX66225" fmla="*/ 1681837 w 6884782"/>
              <a:gd name="connsiteY66225" fmla="*/ 750340 h 5973007"/>
              <a:gd name="connsiteX66226" fmla="*/ 1684212 w 6884782"/>
              <a:gd name="connsiteY66226" fmla="*/ 752044 h 5973007"/>
              <a:gd name="connsiteX66227" fmla="*/ 1684522 w 6884782"/>
              <a:gd name="connsiteY66227" fmla="*/ 755452 h 5973007"/>
              <a:gd name="connsiteX66228" fmla="*/ 1677294 w 6884782"/>
              <a:gd name="connsiteY66228" fmla="*/ 756691 h 5973007"/>
              <a:gd name="connsiteX66229" fmla="*/ 1678946 w 6884782"/>
              <a:gd name="connsiteY66229" fmla="*/ 751734 h 5973007"/>
              <a:gd name="connsiteX66230" fmla="*/ 1681837 w 6884782"/>
              <a:gd name="connsiteY66230" fmla="*/ 750340 h 5973007"/>
              <a:gd name="connsiteX66231" fmla="*/ 2080097 w 6884782"/>
              <a:gd name="connsiteY66231" fmla="*/ 748326 h 5973007"/>
              <a:gd name="connsiteX66232" fmla="*/ 2071527 w 6884782"/>
              <a:gd name="connsiteY66232" fmla="*/ 754523 h 5973007"/>
              <a:gd name="connsiteX66233" fmla="*/ 2067190 w 6884782"/>
              <a:gd name="connsiteY66233" fmla="*/ 757465 h 5973007"/>
              <a:gd name="connsiteX66234" fmla="*/ 2066054 w 6884782"/>
              <a:gd name="connsiteY66234" fmla="*/ 758550 h 5973007"/>
              <a:gd name="connsiteX66235" fmla="*/ 2065435 w 6884782"/>
              <a:gd name="connsiteY66235" fmla="*/ 758550 h 5973007"/>
              <a:gd name="connsiteX66236" fmla="*/ 2064918 w 6884782"/>
              <a:gd name="connsiteY66236" fmla="*/ 759169 h 5973007"/>
              <a:gd name="connsiteX66237" fmla="*/ 2063886 w 6884782"/>
              <a:gd name="connsiteY66237" fmla="*/ 759789 h 5973007"/>
              <a:gd name="connsiteX66238" fmla="*/ 2061334 w 6884782"/>
              <a:gd name="connsiteY66238" fmla="*/ 762291 h 5973007"/>
              <a:gd name="connsiteX66239" fmla="*/ 2083984 w 6884782"/>
              <a:gd name="connsiteY66239" fmla="*/ 748417 h 5973007"/>
              <a:gd name="connsiteX66240" fmla="*/ 2910832 w 6884782"/>
              <a:gd name="connsiteY66240" fmla="*/ 747623 h 5973007"/>
              <a:gd name="connsiteX66241" fmla="*/ 2908484 w 6884782"/>
              <a:gd name="connsiteY66241" fmla="*/ 756301 h 5973007"/>
              <a:gd name="connsiteX66242" fmla="*/ 2907630 w 6884782"/>
              <a:gd name="connsiteY66242" fmla="*/ 754737 h 5973007"/>
              <a:gd name="connsiteX66243" fmla="*/ 2908484 w 6884782"/>
              <a:gd name="connsiteY66243" fmla="*/ 752460 h 5973007"/>
              <a:gd name="connsiteX66244" fmla="*/ 2910832 w 6884782"/>
              <a:gd name="connsiteY66244" fmla="*/ 747623 h 5973007"/>
              <a:gd name="connsiteX66245" fmla="*/ 1263237 w 6884782"/>
              <a:gd name="connsiteY66245" fmla="*/ 745383 h 5973007"/>
              <a:gd name="connsiteX66246" fmla="*/ 1262721 w 6884782"/>
              <a:gd name="connsiteY66246" fmla="*/ 756226 h 5973007"/>
              <a:gd name="connsiteX66247" fmla="*/ 1256732 w 6884782"/>
              <a:gd name="connsiteY66247" fmla="*/ 751579 h 5973007"/>
              <a:gd name="connsiteX66248" fmla="*/ 1257248 w 6884782"/>
              <a:gd name="connsiteY66248" fmla="*/ 748172 h 5973007"/>
              <a:gd name="connsiteX66249" fmla="*/ 1263237 w 6884782"/>
              <a:gd name="connsiteY66249" fmla="*/ 745383 h 5973007"/>
              <a:gd name="connsiteX66250" fmla="*/ 3370111 w 6884782"/>
              <a:gd name="connsiteY66250" fmla="*/ 743498 h 5973007"/>
              <a:gd name="connsiteX66251" fmla="*/ 3370111 w 6884782"/>
              <a:gd name="connsiteY66251" fmla="*/ 743782 h 5973007"/>
              <a:gd name="connsiteX66252" fmla="*/ 3370965 w 6884782"/>
              <a:gd name="connsiteY66252" fmla="*/ 743498 h 5973007"/>
              <a:gd name="connsiteX66253" fmla="*/ 1481107 w 6884782"/>
              <a:gd name="connsiteY66253" fmla="*/ 743060 h 5973007"/>
              <a:gd name="connsiteX66254" fmla="*/ 1484308 w 6884782"/>
              <a:gd name="connsiteY66254" fmla="*/ 743370 h 5973007"/>
              <a:gd name="connsiteX66255" fmla="*/ 1486890 w 6884782"/>
              <a:gd name="connsiteY66255" fmla="*/ 746003 h 5973007"/>
              <a:gd name="connsiteX66256" fmla="*/ 1481727 w 6884782"/>
              <a:gd name="connsiteY66256" fmla="*/ 750495 h 5973007"/>
              <a:gd name="connsiteX66257" fmla="*/ 1479765 w 6884782"/>
              <a:gd name="connsiteY66257" fmla="*/ 745693 h 5973007"/>
              <a:gd name="connsiteX66258" fmla="*/ 1481107 w 6884782"/>
              <a:gd name="connsiteY66258" fmla="*/ 743060 h 5973007"/>
              <a:gd name="connsiteX66259" fmla="*/ 2980193 w 6884782"/>
              <a:gd name="connsiteY66259" fmla="*/ 742786 h 5973007"/>
              <a:gd name="connsiteX66260" fmla="*/ 2985742 w 6884782"/>
              <a:gd name="connsiteY66260" fmla="*/ 743070 h 5973007"/>
              <a:gd name="connsiteX66261" fmla="*/ 2984675 w 6884782"/>
              <a:gd name="connsiteY66261" fmla="*/ 743213 h 5973007"/>
              <a:gd name="connsiteX66262" fmla="*/ 2984888 w 6884782"/>
              <a:gd name="connsiteY66262" fmla="*/ 745631 h 5973007"/>
              <a:gd name="connsiteX66263" fmla="*/ 2986169 w 6884782"/>
              <a:gd name="connsiteY66263" fmla="*/ 745489 h 5973007"/>
              <a:gd name="connsiteX66264" fmla="*/ 2985315 w 6884782"/>
              <a:gd name="connsiteY66264" fmla="*/ 748050 h 5973007"/>
              <a:gd name="connsiteX66265" fmla="*/ 2977632 w 6884782"/>
              <a:gd name="connsiteY66265" fmla="*/ 752034 h 5973007"/>
              <a:gd name="connsiteX66266" fmla="*/ 2976779 w 6884782"/>
              <a:gd name="connsiteY66266" fmla="*/ 746058 h 5973007"/>
              <a:gd name="connsiteX66267" fmla="*/ 2980193 w 6884782"/>
              <a:gd name="connsiteY66267" fmla="*/ 742786 h 5973007"/>
              <a:gd name="connsiteX66268" fmla="*/ 3465296 w 6884782"/>
              <a:gd name="connsiteY66268" fmla="*/ 740368 h 5973007"/>
              <a:gd name="connsiteX66269" fmla="*/ 3467857 w 6884782"/>
              <a:gd name="connsiteY66269" fmla="*/ 740936 h 5973007"/>
              <a:gd name="connsiteX66270" fmla="*/ 3468711 w 6884782"/>
              <a:gd name="connsiteY66270" fmla="*/ 742217 h 5973007"/>
              <a:gd name="connsiteX66271" fmla="*/ 3466150 w 6884782"/>
              <a:gd name="connsiteY66271" fmla="*/ 746912 h 5973007"/>
              <a:gd name="connsiteX66272" fmla="*/ 3462522 w 6884782"/>
              <a:gd name="connsiteY66272" fmla="*/ 748050 h 5973007"/>
              <a:gd name="connsiteX66273" fmla="*/ 3461881 w 6884782"/>
              <a:gd name="connsiteY66273" fmla="*/ 744493 h 5973007"/>
              <a:gd name="connsiteX66274" fmla="*/ 3463376 w 6884782"/>
              <a:gd name="connsiteY66274" fmla="*/ 740936 h 5973007"/>
              <a:gd name="connsiteX66275" fmla="*/ 3465296 w 6884782"/>
              <a:gd name="connsiteY66275" fmla="*/ 740368 h 5973007"/>
              <a:gd name="connsiteX66276" fmla="*/ 1720146 w 6884782"/>
              <a:gd name="connsiteY66276" fmla="*/ 738413 h 5973007"/>
              <a:gd name="connsiteX66277" fmla="*/ 1725205 w 6884782"/>
              <a:gd name="connsiteY66277" fmla="*/ 744919 h 5973007"/>
              <a:gd name="connsiteX66278" fmla="*/ 1712711 w 6884782"/>
              <a:gd name="connsiteY66278" fmla="*/ 747397 h 5973007"/>
              <a:gd name="connsiteX66279" fmla="*/ 1720146 w 6884782"/>
              <a:gd name="connsiteY66279" fmla="*/ 738413 h 5973007"/>
              <a:gd name="connsiteX66280" fmla="*/ 3121690 w 6884782"/>
              <a:gd name="connsiteY66280" fmla="*/ 738091 h 5973007"/>
              <a:gd name="connsiteX66281" fmla="*/ 3125318 w 6884782"/>
              <a:gd name="connsiteY66281" fmla="*/ 741933 h 5973007"/>
              <a:gd name="connsiteX66282" fmla="*/ 3125959 w 6884782"/>
              <a:gd name="connsiteY66282" fmla="*/ 745205 h 5973007"/>
              <a:gd name="connsiteX66283" fmla="*/ 3116568 w 6884782"/>
              <a:gd name="connsiteY66283" fmla="*/ 740652 h 5973007"/>
              <a:gd name="connsiteX66284" fmla="*/ 3121690 w 6884782"/>
              <a:gd name="connsiteY66284" fmla="*/ 738091 h 5973007"/>
              <a:gd name="connsiteX66285" fmla="*/ 2923637 w 6884782"/>
              <a:gd name="connsiteY66285" fmla="*/ 737949 h 5973007"/>
              <a:gd name="connsiteX66286" fmla="*/ 2925771 w 6884782"/>
              <a:gd name="connsiteY66286" fmla="*/ 738233 h 5973007"/>
              <a:gd name="connsiteX66287" fmla="*/ 2917448 w 6884782"/>
              <a:gd name="connsiteY66287" fmla="*/ 744635 h 5973007"/>
              <a:gd name="connsiteX66288" fmla="*/ 2923637 w 6884782"/>
              <a:gd name="connsiteY66288" fmla="*/ 737949 h 5973007"/>
              <a:gd name="connsiteX66289" fmla="*/ 3231815 w 6884782"/>
              <a:gd name="connsiteY66289" fmla="*/ 736384 h 5973007"/>
              <a:gd name="connsiteX66290" fmla="*/ 3243340 w 6884782"/>
              <a:gd name="connsiteY66290" fmla="*/ 755590 h 5973007"/>
              <a:gd name="connsiteX66291" fmla="*/ 3264255 w 6884782"/>
              <a:gd name="connsiteY66291" fmla="*/ 746485 h 5973007"/>
              <a:gd name="connsiteX66292" fmla="*/ 3245047 w 6884782"/>
              <a:gd name="connsiteY66292" fmla="*/ 766687 h 5973007"/>
              <a:gd name="connsiteX66293" fmla="*/ 3243126 w 6884782"/>
              <a:gd name="connsiteY66293" fmla="*/ 776931 h 5973007"/>
              <a:gd name="connsiteX66294" fmla="*/ 3241633 w 6884782"/>
              <a:gd name="connsiteY66294" fmla="*/ 778353 h 5973007"/>
              <a:gd name="connsiteX66295" fmla="*/ 3241846 w 6884782"/>
              <a:gd name="connsiteY66295" fmla="*/ 784186 h 5973007"/>
              <a:gd name="connsiteX66296" fmla="*/ 3233736 w 6884782"/>
              <a:gd name="connsiteY66296" fmla="*/ 780203 h 5973007"/>
              <a:gd name="connsiteX66297" fmla="*/ 3234803 w 6884782"/>
              <a:gd name="connsiteY66297" fmla="*/ 777926 h 5973007"/>
              <a:gd name="connsiteX66298" fmla="*/ 3237364 w 6884782"/>
              <a:gd name="connsiteY66298" fmla="*/ 776504 h 5973007"/>
              <a:gd name="connsiteX66299" fmla="*/ 3236083 w 6884782"/>
              <a:gd name="connsiteY66299" fmla="*/ 773943 h 5973007"/>
              <a:gd name="connsiteX66300" fmla="*/ 3235016 w 6884782"/>
              <a:gd name="connsiteY66300" fmla="*/ 775223 h 5973007"/>
              <a:gd name="connsiteX66301" fmla="*/ 3225199 w 6884782"/>
              <a:gd name="connsiteY66301" fmla="*/ 781483 h 5973007"/>
              <a:gd name="connsiteX66302" fmla="*/ 3219224 w 6884782"/>
              <a:gd name="connsiteY66302" fmla="*/ 784328 h 5973007"/>
              <a:gd name="connsiteX66303" fmla="*/ 3221784 w 6884782"/>
              <a:gd name="connsiteY66303" fmla="*/ 785609 h 5973007"/>
              <a:gd name="connsiteX66304" fmla="*/ 3227760 w 6884782"/>
              <a:gd name="connsiteY66304" fmla="*/ 793434 h 5973007"/>
              <a:gd name="connsiteX66305" fmla="*/ 3217943 w 6884782"/>
              <a:gd name="connsiteY66305" fmla="*/ 798271 h 5973007"/>
              <a:gd name="connsiteX66306" fmla="*/ 3212180 w 6884782"/>
              <a:gd name="connsiteY66306" fmla="*/ 795141 h 5973007"/>
              <a:gd name="connsiteX66307" fmla="*/ 3210686 w 6884782"/>
              <a:gd name="connsiteY66307" fmla="*/ 790446 h 5973007"/>
              <a:gd name="connsiteX66308" fmla="*/ 3209620 w 6884782"/>
              <a:gd name="connsiteY66308" fmla="*/ 788454 h 5973007"/>
              <a:gd name="connsiteX66309" fmla="*/ 3191265 w 6884782"/>
              <a:gd name="connsiteY66309" fmla="*/ 795568 h 5973007"/>
              <a:gd name="connsiteX66310" fmla="*/ 3189558 w 6884782"/>
              <a:gd name="connsiteY66310" fmla="*/ 790162 h 5973007"/>
              <a:gd name="connsiteX66311" fmla="*/ 3188918 w 6884782"/>
              <a:gd name="connsiteY66311" fmla="*/ 783760 h 5973007"/>
              <a:gd name="connsiteX66312" fmla="*/ 3183156 w 6884782"/>
              <a:gd name="connsiteY66312" fmla="*/ 779633 h 5973007"/>
              <a:gd name="connsiteX66313" fmla="*/ 3181875 w 6884782"/>
              <a:gd name="connsiteY66313" fmla="*/ 769959 h 5973007"/>
              <a:gd name="connsiteX66314" fmla="*/ 3189771 w 6884782"/>
              <a:gd name="connsiteY66314" fmla="*/ 767683 h 5973007"/>
              <a:gd name="connsiteX66315" fmla="*/ 3195747 w 6884782"/>
              <a:gd name="connsiteY66315" fmla="*/ 767967 h 5973007"/>
              <a:gd name="connsiteX66316" fmla="*/ 3203857 w 6884782"/>
              <a:gd name="connsiteY66316" fmla="*/ 774796 h 5973007"/>
              <a:gd name="connsiteX66317" fmla="*/ 3200015 w 6884782"/>
              <a:gd name="connsiteY66317" fmla="*/ 778923 h 5973007"/>
              <a:gd name="connsiteX66318" fmla="*/ 3218156 w 6884782"/>
              <a:gd name="connsiteY66318" fmla="*/ 772662 h 5973007"/>
              <a:gd name="connsiteX66319" fmla="*/ 3233309 w 6884782"/>
              <a:gd name="connsiteY66319" fmla="*/ 767683 h 5973007"/>
              <a:gd name="connsiteX66320" fmla="*/ 3231388 w 6884782"/>
              <a:gd name="connsiteY66320" fmla="*/ 763557 h 5973007"/>
              <a:gd name="connsiteX66321" fmla="*/ 3229467 w 6884782"/>
              <a:gd name="connsiteY66321" fmla="*/ 747054 h 5973007"/>
              <a:gd name="connsiteX66322" fmla="*/ 3231815 w 6884782"/>
              <a:gd name="connsiteY66322" fmla="*/ 736384 h 5973007"/>
              <a:gd name="connsiteX66323" fmla="*/ 1650758 w 6884782"/>
              <a:gd name="connsiteY66323" fmla="*/ 735780 h 5973007"/>
              <a:gd name="connsiteX66324" fmla="*/ 1652513 w 6884782"/>
              <a:gd name="connsiteY66324" fmla="*/ 736864 h 5973007"/>
              <a:gd name="connsiteX66325" fmla="*/ 1650861 w 6884782"/>
              <a:gd name="connsiteY66325" fmla="*/ 740582 h 5973007"/>
              <a:gd name="connsiteX66326" fmla="*/ 1651377 w 6884782"/>
              <a:gd name="connsiteY66326" fmla="*/ 741356 h 5973007"/>
              <a:gd name="connsiteX66327" fmla="*/ 1653752 w 6884782"/>
              <a:gd name="connsiteY66327" fmla="*/ 742131 h 5973007"/>
              <a:gd name="connsiteX66328" fmla="*/ 1658399 w 6884782"/>
              <a:gd name="connsiteY66328" fmla="*/ 749411 h 5973007"/>
              <a:gd name="connsiteX66329" fmla="*/ 1651583 w 6884782"/>
              <a:gd name="connsiteY66329" fmla="*/ 755916 h 5973007"/>
              <a:gd name="connsiteX66330" fmla="*/ 1646421 w 6884782"/>
              <a:gd name="connsiteY66330" fmla="*/ 755607 h 5973007"/>
              <a:gd name="connsiteX66331" fmla="*/ 1641671 w 6884782"/>
              <a:gd name="connsiteY66331" fmla="*/ 746313 h 5973007"/>
              <a:gd name="connsiteX66332" fmla="*/ 1648899 w 6884782"/>
              <a:gd name="connsiteY66332" fmla="*/ 740582 h 5973007"/>
              <a:gd name="connsiteX66333" fmla="*/ 1648692 w 6884782"/>
              <a:gd name="connsiteY66333" fmla="*/ 738723 h 5973007"/>
              <a:gd name="connsiteX66334" fmla="*/ 1650758 w 6884782"/>
              <a:gd name="connsiteY66334" fmla="*/ 735780 h 5973007"/>
              <a:gd name="connsiteX66335" fmla="*/ 3573500 w 6884782"/>
              <a:gd name="connsiteY66335" fmla="*/ 735246 h 5973007"/>
              <a:gd name="connsiteX66336" fmla="*/ 3569872 w 6884782"/>
              <a:gd name="connsiteY66336" fmla="*/ 745631 h 5973007"/>
              <a:gd name="connsiteX66337" fmla="*/ 3563683 w 6884782"/>
              <a:gd name="connsiteY66337" fmla="*/ 742501 h 5973007"/>
              <a:gd name="connsiteX66338" fmla="*/ 3573500 w 6884782"/>
              <a:gd name="connsiteY66338" fmla="*/ 735246 h 5973007"/>
              <a:gd name="connsiteX66339" fmla="*/ 1568566 w 6884782"/>
              <a:gd name="connsiteY66339" fmla="*/ 729894 h 5973007"/>
              <a:gd name="connsiteX66340" fmla="*/ 1568978 w 6884782"/>
              <a:gd name="connsiteY66340" fmla="*/ 734541 h 5973007"/>
              <a:gd name="connsiteX66341" fmla="*/ 1565468 w 6884782"/>
              <a:gd name="connsiteY66341" fmla="*/ 734231 h 5973007"/>
              <a:gd name="connsiteX66342" fmla="*/ 1568566 w 6884782"/>
              <a:gd name="connsiteY66342" fmla="*/ 729894 h 5973007"/>
              <a:gd name="connsiteX66343" fmla="*/ 1603466 w 6884782"/>
              <a:gd name="connsiteY66343" fmla="*/ 729119 h 5973007"/>
              <a:gd name="connsiteX66344" fmla="*/ 1618645 w 6884782"/>
              <a:gd name="connsiteY66344" fmla="*/ 738413 h 5973007"/>
              <a:gd name="connsiteX66345" fmla="*/ 1620297 w 6884782"/>
              <a:gd name="connsiteY66345" fmla="*/ 755297 h 5973007"/>
              <a:gd name="connsiteX66346" fmla="*/ 1603466 w 6884782"/>
              <a:gd name="connsiteY66346" fmla="*/ 729119 h 5973007"/>
              <a:gd name="connsiteX66347" fmla="*/ 3356026 w 6884782"/>
              <a:gd name="connsiteY66347" fmla="*/ 727563 h 5973007"/>
              <a:gd name="connsiteX66348" fmla="*/ 3359440 w 6884782"/>
              <a:gd name="connsiteY66348" fmla="*/ 728559 h 5973007"/>
              <a:gd name="connsiteX66349" fmla="*/ 3360934 w 6884782"/>
              <a:gd name="connsiteY66349" fmla="*/ 729697 h 5973007"/>
              <a:gd name="connsiteX66350" fmla="*/ 3362001 w 6884782"/>
              <a:gd name="connsiteY66350" fmla="*/ 729697 h 5973007"/>
              <a:gd name="connsiteX66351" fmla="*/ 3362215 w 6884782"/>
              <a:gd name="connsiteY66351" fmla="*/ 730835 h 5973007"/>
              <a:gd name="connsiteX66352" fmla="*/ 3364775 w 6884782"/>
              <a:gd name="connsiteY66352" fmla="*/ 733112 h 5973007"/>
              <a:gd name="connsiteX66353" fmla="*/ 3372245 w 6884782"/>
              <a:gd name="connsiteY66353" fmla="*/ 736242 h 5973007"/>
              <a:gd name="connsiteX66354" fmla="*/ 3378008 w 6884782"/>
              <a:gd name="connsiteY66354" fmla="*/ 743070 h 5973007"/>
              <a:gd name="connsiteX66355" fmla="*/ 3375873 w 6884782"/>
              <a:gd name="connsiteY66355" fmla="*/ 745631 h 5973007"/>
              <a:gd name="connsiteX66356" fmla="*/ 3378648 w 6884782"/>
              <a:gd name="connsiteY66356" fmla="*/ 747908 h 5973007"/>
              <a:gd name="connsiteX66357" fmla="*/ 3379501 w 6884782"/>
              <a:gd name="connsiteY66357" fmla="*/ 763415 h 5973007"/>
              <a:gd name="connsiteX66358" fmla="*/ 3374380 w 6884782"/>
              <a:gd name="connsiteY66358" fmla="*/ 767256 h 5973007"/>
              <a:gd name="connsiteX66359" fmla="*/ 3365842 w 6884782"/>
              <a:gd name="connsiteY66359" fmla="*/ 765407 h 5973007"/>
              <a:gd name="connsiteX66360" fmla="*/ 3363282 w 6884782"/>
              <a:gd name="connsiteY66360" fmla="*/ 761138 h 5973007"/>
              <a:gd name="connsiteX66361" fmla="*/ 3360721 w 6884782"/>
              <a:gd name="connsiteY66361" fmla="*/ 762988 h 5973007"/>
              <a:gd name="connsiteX66362" fmla="*/ 3342580 w 6884782"/>
              <a:gd name="connsiteY66362" fmla="*/ 754310 h 5973007"/>
              <a:gd name="connsiteX66363" fmla="*/ 3342153 w 6884782"/>
              <a:gd name="connsiteY66363" fmla="*/ 751037 h 5973007"/>
              <a:gd name="connsiteX66364" fmla="*/ 3339805 w 6884782"/>
              <a:gd name="connsiteY66364" fmla="*/ 746485 h 5973007"/>
              <a:gd name="connsiteX66365" fmla="*/ 3352397 w 6884782"/>
              <a:gd name="connsiteY66365" fmla="*/ 736953 h 5973007"/>
              <a:gd name="connsiteX66366" fmla="*/ 3359654 w 6884782"/>
              <a:gd name="connsiteY66366" fmla="*/ 735246 h 5973007"/>
              <a:gd name="connsiteX66367" fmla="*/ 3361147 w 6884782"/>
              <a:gd name="connsiteY66367" fmla="*/ 735672 h 5973007"/>
              <a:gd name="connsiteX66368" fmla="*/ 3360721 w 6884782"/>
              <a:gd name="connsiteY66368" fmla="*/ 735246 h 5973007"/>
              <a:gd name="connsiteX66369" fmla="*/ 3356026 w 6884782"/>
              <a:gd name="connsiteY66369" fmla="*/ 727563 h 5973007"/>
              <a:gd name="connsiteX66370" fmla="*/ 3513956 w 6884782"/>
              <a:gd name="connsiteY66370" fmla="*/ 727421 h 5973007"/>
              <a:gd name="connsiteX66371" fmla="*/ 3513103 w 6884782"/>
              <a:gd name="connsiteY66371" fmla="*/ 736099 h 5973007"/>
              <a:gd name="connsiteX66372" fmla="*/ 3505420 w 6884782"/>
              <a:gd name="connsiteY66372" fmla="*/ 733539 h 5973007"/>
              <a:gd name="connsiteX66373" fmla="*/ 3513956 w 6884782"/>
              <a:gd name="connsiteY66373" fmla="*/ 727421 h 5973007"/>
              <a:gd name="connsiteX66374" fmla="*/ 1415539 w 6884782"/>
              <a:gd name="connsiteY66374" fmla="*/ 727261 h 5973007"/>
              <a:gd name="connsiteX66375" fmla="*/ 1405833 w 6884782"/>
              <a:gd name="connsiteY66375" fmla="*/ 727415 h 5973007"/>
              <a:gd name="connsiteX66376" fmla="*/ 1415539 w 6884782"/>
              <a:gd name="connsiteY66376" fmla="*/ 727261 h 5973007"/>
              <a:gd name="connsiteX66377" fmla="*/ 3848599 w 6884782"/>
              <a:gd name="connsiteY66377" fmla="*/ 727136 h 5973007"/>
              <a:gd name="connsiteX66378" fmla="*/ 3851159 w 6884782"/>
              <a:gd name="connsiteY66378" fmla="*/ 728986 h 5973007"/>
              <a:gd name="connsiteX66379" fmla="*/ 3847318 w 6884782"/>
              <a:gd name="connsiteY66379" fmla="*/ 732543 h 5973007"/>
              <a:gd name="connsiteX66380" fmla="*/ 3846678 w 6884782"/>
              <a:gd name="connsiteY66380" fmla="*/ 727848 h 5973007"/>
              <a:gd name="connsiteX66381" fmla="*/ 3848599 w 6884782"/>
              <a:gd name="connsiteY66381" fmla="*/ 727136 h 5973007"/>
              <a:gd name="connsiteX66382" fmla="*/ 3835366 w 6884782"/>
              <a:gd name="connsiteY66382" fmla="*/ 726710 h 5973007"/>
              <a:gd name="connsiteX66383" fmla="*/ 3838568 w 6884782"/>
              <a:gd name="connsiteY66383" fmla="*/ 730977 h 5973007"/>
              <a:gd name="connsiteX66384" fmla="*/ 3836647 w 6884782"/>
              <a:gd name="connsiteY66384" fmla="*/ 736099 h 5973007"/>
              <a:gd name="connsiteX66385" fmla="*/ 3834299 w 6884782"/>
              <a:gd name="connsiteY66385" fmla="*/ 737238 h 5973007"/>
              <a:gd name="connsiteX66386" fmla="*/ 3832165 w 6884782"/>
              <a:gd name="connsiteY66386" fmla="*/ 734819 h 5973007"/>
              <a:gd name="connsiteX66387" fmla="*/ 3833019 w 6884782"/>
              <a:gd name="connsiteY66387" fmla="*/ 727848 h 5973007"/>
              <a:gd name="connsiteX66388" fmla="*/ 3835366 w 6884782"/>
              <a:gd name="connsiteY66388" fmla="*/ 726710 h 5973007"/>
              <a:gd name="connsiteX66389" fmla="*/ 2877538 w 6884782"/>
              <a:gd name="connsiteY66389" fmla="*/ 722584 h 5973007"/>
              <a:gd name="connsiteX66390" fmla="*/ 2885008 w 6884782"/>
              <a:gd name="connsiteY66390" fmla="*/ 723864 h 5973007"/>
              <a:gd name="connsiteX66391" fmla="*/ 2882874 w 6884782"/>
              <a:gd name="connsiteY66391" fmla="*/ 726852 h 5973007"/>
              <a:gd name="connsiteX66392" fmla="*/ 2879673 w 6884782"/>
              <a:gd name="connsiteY66392" fmla="*/ 725856 h 5973007"/>
              <a:gd name="connsiteX66393" fmla="*/ 2877111 w 6884782"/>
              <a:gd name="connsiteY66393" fmla="*/ 725998 h 5973007"/>
              <a:gd name="connsiteX66394" fmla="*/ 2874977 w 6884782"/>
              <a:gd name="connsiteY66394" fmla="*/ 722868 h 5973007"/>
              <a:gd name="connsiteX66395" fmla="*/ 2877538 w 6884782"/>
              <a:gd name="connsiteY66395" fmla="*/ 722584 h 5973007"/>
              <a:gd name="connsiteX66396" fmla="*/ 1601814 w 6884782"/>
              <a:gd name="connsiteY66396" fmla="*/ 722149 h 5973007"/>
              <a:gd name="connsiteX66397" fmla="*/ 1602640 w 6884782"/>
              <a:gd name="connsiteY66397" fmla="*/ 722149 h 5973007"/>
              <a:gd name="connsiteX66398" fmla="*/ 1602846 w 6884782"/>
              <a:gd name="connsiteY66398" fmla="*/ 722149 h 5973007"/>
              <a:gd name="connsiteX66399" fmla="*/ 1604189 w 6884782"/>
              <a:gd name="connsiteY66399" fmla="*/ 723079 h 5973007"/>
              <a:gd name="connsiteX66400" fmla="*/ 1604705 w 6884782"/>
              <a:gd name="connsiteY66400" fmla="*/ 724782 h 5973007"/>
              <a:gd name="connsiteX66401" fmla="*/ 1601297 w 6884782"/>
              <a:gd name="connsiteY66401" fmla="*/ 725402 h 5973007"/>
              <a:gd name="connsiteX66402" fmla="*/ 1601504 w 6884782"/>
              <a:gd name="connsiteY66402" fmla="*/ 723698 h 5973007"/>
              <a:gd name="connsiteX66403" fmla="*/ 1600781 w 6884782"/>
              <a:gd name="connsiteY66403" fmla="*/ 723698 h 5973007"/>
              <a:gd name="connsiteX66404" fmla="*/ 1601814 w 6884782"/>
              <a:gd name="connsiteY66404" fmla="*/ 722149 h 5973007"/>
              <a:gd name="connsiteX66405" fmla="*/ 2894612 w 6884782"/>
              <a:gd name="connsiteY66405" fmla="*/ 720450 h 5973007"/>
              <a:gd name="connsiteX66406" fmla="*/ 2904215 w 6884782"/>
              <a:gd name="connsiteY66406" fmla="*/ 725429 h 5973007"/>
              <a:gd name="connsiteX66407" fmla="*/ 2905070 w 6884782"/>
              <a:gd name="connsiteY66407" fmla="*/ 728275 h 5973007"/>
              <a:gd name="connsiteX66408" fmla="*/ 2899734 w 6884782"/>
              <a:gd name="connsiteY66408" fmla="*/ 730409 h 5973007"/>
              <a:gd name="connsiteX66409" fmla="*/ 2890770 w 6884782"/>
              <a:gd name="connsiteY66409" fmla="*/ 723011 h 5973007"/>
              <a:gd name="connsiteX66410" fmla="*/ 2894612 w 6884782"/>
              <a:gd name="connsiteY66410" fmla="*/ 720450 h 5973007"/>
              <a:gd name="connsiteX66411" fmla="*/ 1818445 w 6884782"/>
              <a:gd name="connsiteY66411" fmla="*/ 719980 h 5973007"/>
              <a:gd name="connsiteX66412" fmla="*/ 1820924 w 6884782"/>
              <a:gd name="connsiteY66412" fmla="*/ 728810 h 5973007"/>
              <a:gd name="connsiteX66413" fmla="*/ 1813489 w 6884782"/>
              <a:gd name="connsiteY66413" fmla="*/ 724318 h 5973007"/>
              <a:gd name="connsiteX66414" fmla="*/ 1813799 w 6884782"/>
              <a:gd name="connsiteY66414" fmla="*/ 721375 h 5973007"/>
              <a:gd name="connsiteX66415" fmla="*/ 1815761 w 6884782"/>
              <a:gd name="connsiteY66415" fmla="*/ 720600 h 5973007"/>
              <a:gd name="connsiteX66416" fmla="*/ 1818445 w 6884782"/>
              <a:gd name="connsiteY66416" fmla="*/ 719980 h 5973007"/>
              <a:gd name="connsiteX66417" fmla="*/ 3424533 w 6884782"/>
              <a:gd name="connsiteY66417" fmla="*/ 719596 h 5973007"/>
              <a:gd name="connsiteX66418" fmla="*/ 3431789 w 6884782"/>
              <a:gd name="connsiteY66418" fmla="*/ 746770 h 5973007"/>
              <a:gd name="connsiteX66419" fmla="*/ 3424106 w 6884782"/>
              <a:gd name="connsiteY66419" fmla="*/ 733965 h 5973007"/>
              <a:gd name="connsiteX66420" fmla="*/ 3424533 w 6884782"/>
              <a:gd name="connsiteY66420" fmla="*/ 719596 h 5973007"/>
              <a:gd name="connsiteX66421" fmla="*/ 3855427 w 6884782"/>
              <a:gd name="connsiteY66421" fmla="*/ 716466 h 5973007"/>
              <a:gd name="connsiteX66422" fmla="*/ 3861403 w 6884782"/>
              <a:gd name="connsiteY66422" fmla="*/ 718458 h 5973007"/>
              <a:gd name="connsiteX66423" fmla="*/ 3863111 w 6884782"/>
              <a:gd name="connsiteY66423" fmla="*/ 721446 h 5973007"/>
              <a:gd name="connsiteX66424" fmla="*/ 3863111 w 6884782"/>
              <a:gd name="connsiteY66424" fmla="*/ 723295 h 5973007"/>
              <a:gd name="connsiteX66425" fmla="*/ 3862897 w 6884782"/>
              <a:gd name="connsiteY66425" fmla="*/ 725714 h 5973007"/>
              <a:gd name="connsiteX66426" fmla="*/ 3852440 w 6884782"/>
              <a:gd name="connsiteY66426" fmla="*/ 727990 h 5973007"/>
              <a:gd name="connsiteX66427" fmla="*/ 3850092 w 6884782"/>
              <a:gd name="connsiteY66427" fmla="*/ 718316 h 5973007"/>
              <a:gd name="connsiteX66428" fmla="*/ 3852440 w 6884782"/>
              <a:gd name="connsiteY66428" fmla="*/ 717178 h 5973007"/>
              <a:gd name="connsiteX66429" fmla="*/ 3855427 w 6884782"/>
              <a:gd name="connsiteY66429" fmla="*/ 716466 h 5973007"/>
              <a:gd name="connsiteX66430" fmla="*/ 3272365 w 6884782"/>
              <a:gd name="connsiteY66430" fmla="*/ 716039 h 5973007"/>
              <a:gd name="connsiteX66431" fmla="*/ 3264468 w 6884782"/>
              <a:gd name="connsiteY66431" fmla="*/ 725998 h 5973007"/>
              <a:gd name="connsiteX66432" fmla="*/ 3272365 w 6884782"/>
              <a:gd name="connsiteY66432" fmla="*/ 716039 h 5973007"/>
              <a:gd name="connsiteX66433" fmla="*/ 2839336 w 6884782"/>
              <a:gd name="connsiteY66433" fmla="*/ 715328 h 5973007"/>
              <a:gd name="connsiteX66434" fmla="*/ 2832293 w 6884782"/>
              <a:gd name="connsiteY66434" fmla="*/ 716751 h 5973007"/>
              <a:gd name="connsiteX66435" fmla="*/ 2832080 w 6884782"/>
              <a:gd name="connsiteY66435" fmla="*/ 717462 h 5973007"/>
              <a:gd name="connsiteX66436" fmla="*/ 2841044 w 6884782"/>
              <a:gd name="connsiteY66436" fmla="*/ 720308 h 5973007"/>
              <a:gd name="connsiteX66437" fmla="*/ 2847446 w 6884782"/>
              <a:gd name="connsiteY66437" fmla="*/ 720734 h 5973007"/>
              <a:gd name="connsiteX66438" fmla="*/ 2848727 w 6884782"/>
              <a:gd name="connsiteY66438" fmla="*/ 719738 h 5973007"/>
              <a:gd name="connsiteX66439" fmla="*/ 2848300 w 6884782"/>
              <a:gd name="connsiteY66439" fmla="*/ 719027 h 5973007"/>
              <a:gd name="connsiteX66440" fmla="*/ 2847660 w 6884782"/>
              <a:gd name="connsiteY66440" fmla="*/ 716039 h 5973007"/>
              <a:gd name="connsiteX66441" fmla="*/ 2839336 w 6884782"/>
              <a:gd name="connsiteY66441" fmla="*/ 715328 h 5973007"/>
              <a:gd name="connsiteX66442" fmla="*/ 3468711 w 6884782"/>
              <a:gd name="connsiteY66442" fmla="*/ 714759 h 5973007"/>
              <a:gd name="connsiteX66443" fmla="*/ 3473407 w 6884782"/>
              <a:gd name="connsiteY66443" fmla="*/ 715044 h 5973007"/>
              <a:gd name="connsiteX66444" fmla="*/ 3461241 w 6884782"/>
              <a:gd name="connsiteY66444" fmla="*/ 729555 h 5973007"/>
              <a:gd name="connsiteX66445" fmla="*/ 3456546 w 6884782"/>
              <a:gd name="connsiteY66445" fmla="*/ 720308 h 5973007"/>
              <a:gd name="connsiteX66446" fmla="*/ 3468711 w 6884782"/>
              <a:gd name="connsiteY66446" fmla="*/ 714759 h 5973007"/>
              <a:gd name="connsiteX66447" fmla="*/ 1477803 w 6884782"/>
              <a:gd name="connsiteY66447" fmla="*/ 713475 h 5973007"/>
              <a:gd name="connsiteX66448" fmla="*/ 1475428 w 6884782"/>
              <a:gd name="connsiteY66448" fmla="*/ 721529 h 5973007"/>
              <a:gd name="connsiteX66449" fmla="*/ 1473879 w 6884782"/>
              <a:gd name="connsiteY66449" fmla="*/ 719051 h 5973007"/>
              <a:gd name="connsiteX66450" fmla="*/ 1477803 w 6884782"/>
              <a:gd name="connsiteY66450" fmla="*/ 713475 h 5973007"/>
              <a:gd name="connsiteX66451" fmla="*/ 3493254 w 6884782"/>
              <a:gd name="connsiteY66451" fmla="*/ 713337 h 5973007"/>
              <a:gd name="connsiteX66452" fmla="*/ 3495602 w 6884782"/>
              <a:gd name="connsiteY66452" fmla="*/ 714332 h 5973007"/>
              <a:gd name="connsiteX66453" fmla="*/ 3493681 w 6884782"/>
              <a:gd name="connsiteY66453" fmla="*/ 723153 h 5973007"/>
              <a:gd name="connsiteX66454" fmla="*/ 3487278 w 6884782"/>
              <a:gd name="connsiteY66454" fmla="*/ 715897 h 5973007"/>
              <a:gd name="connsiteX66455" fmla="*/ 3493254 w 6884782"/>
              <a:gd name="connsiteY66455" fmla="*/ 713337 h 5973007"/>
              <a:gd name="connsiteX66456" fmla="*/ 1560718 w 6884782"/>
              <a:gd name="connsiteY66456" fmla="*/ 713010 h 5973007"/>
              <a:gd name="connsiteX66457" fmla="*/ 1550599 w 6884782"/>
              <a:gd name="connsiteY66457" fmla="*/ 734541 h 5973007"/>
              <a:gd name="connsiteX66458" fmla="*/ 1555452 w 6884782"/>
              <a:gd name="connsiteY66458" fmla="*/ 715178 h 5973007"/>
              <a:gd name="connsiteX66459" fmla="*/ 1560718 w 6884782"/>
              <a:gd name="connsiteY66459" fmla="*/ 713010 h 5973007"/>
              <a:gd name="connsiteX66460" fmla="*/ 2882447 w 6884782"/>
              <a:gd name="connsiteY66460" fmla="*/ 712340 h 5973007"/>
              <a:gd name="connsiteX66461" fmla="*/ 2884795 w 6884782"/>
              <a:gd name="connsiteY66461" fmla="*/ 713621 h 5973007"/>
              <a:gd name="connsiteX66462" fmla="*/ 2888209 w 6884782"/>
              <a:gd name="connsiteY66462" fmla="*/ 712767 h 5973007"/>
              <a:gd name="connsiteX66463" fmla="*/ 2889703 w 6884782"/>
              <a:gd name="connsiteY66463" fmla="*/ 714759 h 5973007"/>
              <a:gd name="connsiteX66464" fmla="*/ 2882447 w 6884782"/>
              <a:gd name="connsiteY66464" fmla="*/ 716609 h 5973007"/>
              <a:gd name="connsiteX66465" fmla="*/ 2879673 w 6884782"/>
              <a:gd name="connsiteY66465" fmla="*/ 714190 h 5973007"/>
              <a:gd name="connsiteX66466" fmla="*/ 2882447 w 6884782"/>
              <a:gd name="connsiteY66466" fmla="*/ 712340 h 5973007"/>
              <a:gd name="connsiteX66467" fmla="*/ 2827385 w 6884782"/>
              <a:gd name="connsiteY66467" fmla="*/ 710775 h 5973007"/>
              <a:gd name="connsiteX66468" fmla="*/ 2822263 w 6884782"/>
              <a:gd name="connsiteY66468" fmla="*/ 713621 h 5973007"/>
              <a:gd name="connsiteX66469" fmla="*/ 2823543 w 6884782"/>
              <a:gd name="connsiteY66469" fmla="*/ 713763 h 5973007"/>
              <a:gd name="connsiteX66470" fmla="*/ 2828452 w 6884782"/>
              <a:gd name="connsiteY66470" fmla="*/ 715897 h 5973007"/>
              <a:gd name="connsiteX66471" fmla="*/ 2828452 w 6884782"/>
              <a:gd name="connsiteY66471" fmla="*/ 714332 h 5973007"/>
              <a:gd name="connsiteX66472" fmla="*/ 2827385 w 6884782"/>
              <a:gd name="connsiteY66472" fmla="*/ 710775 h 5973007"/>
              <a:gd name="connsiteX66473" fmla="*/ 2816500 w 6884782"/>
              <a:gd name="connsiteY66473" fmla="*/ 710491 h 5973007"/>
              <a:gd name="connsiteX66474" fmla="*/ 2813726 w 6884782"/>
              <a:gd name="connsiteY66474" fmla="*/ 712198 h 5973007"/>
              <a:gd name="connsiteX66475" fmla="*/ 2814793 w 6884782"/>
              <a:gd name="connsiteY66475" fmla="*/ 716182 h 5973007"/>
              <a:gd name="connsiteX66476" fmla="*/ 2816287 w 6884782"/>
              <a:gd name="connsiteY66476" fmla="*/ 715755 h 5973007"/>
              <a:gd name="connsiteX66477" fmla="*/ 2816073 w 6884782"/>
              <a:gd name="connsiteY66477" fmla="*/ 713621 h 5973007"/>
              <a:gd name="connsiteX66478" fmla="*/ 2820128 w 6884782"/>
              <a:gd name="connsiteY66478" fmla="*/ 713621 h 5973007"/>
              <a:gd name="connsiteX66479" fmla="*/ 2819275 w 6884782"/>
              <a:gd name="connsiteY66479" fmla="*/ 713337 h 5973007"/>
              <a:gd name="connsiteX66480" fmla="*/ 2816500 w 6884782"/>
              <a:gd name="connsiteY66480" fmla="*/ 710491 h 5973007"/>
              <a:gd name="connsiteX66481" fmla="*/ 3229681 w 6884782"/>
              <a:gd name="connsiteY66481" fmla="*/ 704800 h 5973007"/>
              <a:gd name="connsiteX66482" fmla="*/ 3235870 w 6884782"/>
              <a:gd name="connsiteY66482" fmla="*/ 706792 h 5973007"/>
              <a:gd name="connsiteX66483" fmla="*/ 3236083 w 6884782"/>
              <a:gd name="connsiteY66483" fmla="*/ 706935 h 5973007"/>
              <a:gd name="connsiteX66484" fmla="*/ 3236510 w 6884782"/>
              <a:gd name="connsiteY66484" fmla="*/ 706508 h 5973007"/>
              <a:gd name="connsiteX66485" fmla="*/ 3239285 w 6884782"/>
              <a:gd name="connsiteY66485" fmla="*/ 706935 h 5973007"/>
              <a:gd name="connsiteX66486" fmla="*/ 3239925 w 6884782"/>
              <a:gd name="connsiteY66486" fmla="*/ 708642 h 5973007"/>
              <a:gd name="connsiteX66487" fmla="*/ 3239711 w 6884782"/>
              <a:gd name="connsiteY66487" fmla="*/ 710064 h 5973007"/>
              <a:gd name="connsiteX66488" fmla="*/ 3241206 w 6884782"/>
              <a:gd name="connsiteY66488" fmla="*/ 711345 h 5973007"/>
              <a:gd name="connsiteX66489" fmla="*/ 3245047 w 6884782"/>
              <a:gd name="connsiteY66489" fmla="*/ 724291 h 5973007"/>
              <a:gd name="connsiteX66490" fmla="*/ 3239711 w 6884782"/>
              <a:gd name="connsiteY66490" fmla="*/ 732827 h 5973007"/>
              <a:gd name="connsiteX66491" fmla="*/ 3217729 w 6884782"/>
              <a:gd name="connsiteY66491" fmla="*/ 728844 h 5973007"/>
              <a:gd name="connsiteX66492" fmla="*/ 3229681 w 6884782"/>
              <a:gd name="connsiteY66492" fmla="*/ 704800 h 5973007"/>
              <a:gd name="connsiteX66493" fmla="*/ 3125745 w 6884782"/>
              <a:gd name="connsiteY66493" fmla="*/ 704089 h 5973007"/>
              <a:gd name="connsiteX66494" fmla="*/ 3134069 w 6884782"/>
              <a:gd name="connsiteY66494" fmla="*/ 711914 h 5973007"/>
              <a:gd name="connsiteX66495" fmla="*/ 3118916 w 6884782"/>
              <a:gd name="connsiteY66495" fmla="*/ 710633 h 5973007"/>
              <a:gd name="connsiteX66496" fmla="*/ 3125745 w 6884782"/>
              <a:gd name="connsiteY66496" fmla="*/ 704089 h 5973007"/>
              <a:gd name="connsiteX66497" fmla="*/ 1577445 w 6884782"/>
              <a:gd name="connsiteY66497" fmla="*/ 702477 h 5973007"/>
              <a:gd name="connsiteX66498" fmla="*/ 1589320 w 6884782"/>
              <a:gd name="connsiteY66498" fmla="*/ 711616 h 5973007"/>
              <a:gd name="connsiteX66499" fmla="*/ 1583125 w 6884782"/>
              <a:gd name="connsiteY66499" fmla="*/ 714869 h 5973007"/>
              <a:gd name="connsiteX66500" fmla="*/ 1577445 w 6884782"/>
              <a:gd name="connsiteY66500" fmla="*/ 702477 h 5973007"/>
              <a:gd name="connsiteX66501" fmla="*/ 1638935 w 6884782"/>
              <a:gd name="connsiteY66501" fmla="*/ 700773 h 5973007"/>
              <a:gd name="connsiteX66502" fmla="*/ 1645698 w 6884782"/>
              <a:gd name="connsiteY66502" fmla="*/ 711616 h 5973007"/>
              <a:gd name="connsiteX66503" fmla="*/ 1638883 w 6884782"/>
              <a:gd name="connsiteY66503" fmla="*/ 720290 h 5973007"/>
              <a:gd name="connsiteX66504" fmla="*/ 1625356 w 6884782"/>
              <a:gd name="connsiteY66504" fmla="*/ 705265 h 5973007"/>
              <a:gd name="connsiteX66505" fmla="*/ 1638935 w 6884782"/>
              <a:gd name="connsiteY66505" fmla="*/ 700773 h 5973007"/>
              <a:gd name="connsiteX66506" fmla="*/ 2112416 w 6884782"/>
              <a:gd name="connsiteY66506" fmla="*/ 699379 h 5973007"/>
              <a:gd name="connsiteX66507" fmla="*/ 2109731 w 6884782"/>
              <a:gd name="connsiteY66507" fmla="*/ 701238 h 5973007"/>
              <a:gd name="connsiteX66508" fmla="*/ 2110867 w 6884782"/>
              <a:gd name="connsiteY66508" fmla="*/ 700928 h 5973007"/>
              <a:gd name="connsiteX66509" fmla="*/ 3675942 w 6884782"/>
              <a:gd name="connsiteY66509" fmla="*/ 699251 h 5973007"/>
              <a:gd name="connsiteX66510" fmla="*/ 3682984 w 6884782"/>
              <a:gd name="connsiteY66510" fmla="*/ 702381 h 5973007"/>
              <a:gd name="connsiteX66511" fmla="*/ 3686613 w 6884782"/>
              <a:gd name="connsiteY66511" fmla="*/ 706508 h 5973007"/>
              <a:gd name="connsiteX66512" fmla="*/ 3683198 w 6884782"/>
              <a:gd name="connsiteY66512" fmla="*/ 723864 h 5973007"/>
              <a:gd name="connsiteX66513" fmla="*/ 3680637 w 6884782"/>
              <a:gd name="connsiteY66513" fmla="*/ 726283 h 5973007"/>
              <a:gd name="connsiteX66514" fmla="*/ 3677863 w 6884782"/>
              <a:gd name="connsiteY66514" fmla="*/ 730977 h 5973007"/>
              <a:gd name="connsiteX66515" fmla="*/ 3668685 w 6884782"/>
              <a:gd name="connsiteY66515" fmla="*/ 727848 h 5973007"/>
              <a:gd name="connsiteX66516" fmla="*/ 3667832 w 6884782"/>
              <a:gd name="connsiteY66516" fmla="*/ 727279 h 5973007"/>
              <a:gd name="connsiteX66517" fmla="*/ 3671033 w 6884782"/>
              <a:gd name="connsiteY66517" fmla="*/ 735388 h 5973007"/>
              <a:gd name="connsiteX66518" fmla="*/ 3650118 w 6884782"/>
              <a:gd name="connsiteY66518" fmla="*/ 738945 h 5973007"/>
              <a:gd name="connsiteX66519" fmla="*/ 3659935 w 6884782"/>
              <a:gd name="connsiteY66519" fmla="*/ 731120 h 5973007"/>
              <a:gd name="connsiteX66520" fmla="*/ 3667192 w 6884782"/>
              <a:gd name="connsiteY66520" fmla="*/ 726710 h 5973007"/>
              <a:gd name="connsiteX66521" fmla="*/ 3664630 w 6884782"/>
              <a:gd name="connsiteY66521" fmla="*/ 724718 h 5973007"/>
              <a:gd name="connsiteX66522" fmla="*/ 3663137 w 6884782"/>
              <a:gd name="connsiteY66522" fmla="*/ 704373 h 5973007"/>
              <a:gd name="connsiteX66523" fmla="*/ 3675942 w 6884782"/>
              <a:gd name="connsiteY66523" fmla="*/ 699251 h 5973007"/>
              <a:gd name="connsiteX66524" fmla="*/ 3782438 w 6884782"/>
              <a:gd name="connsiteY66524" fmla="*/ 699109 h 5973007"/>
              <a:gd name="connsiteX66525" fmla="*/ 3790335 w 6884782"/>
              <a:gd name="connsiteY66525" fmla="*/ 700674 h 5973007"/>
              <a:gd name="connsiteX66526" fmla="*/ 3767712 w 6884782"/>
              <a:gd name="connsiteY66526" fmla="*/ 719596 h 5973007"/>
              <a:gd name="connsiteX66527" fmla="*/ 3765364 w 6884782"/>
              <a:gd name="connsiteY66527" fmla="*/ 714190 h 5973007"/>
              <a:gd name="connsiteX66528" fmla="*/ 3782438 w 6884782"/>
              <a:gd name="connsiteY66528" fmla="*/ 699109 h 5973007"/>
              <a:gd name="connsiteX66529" fmla="*/ 3285810 w 6884782"/>
              <a:gd name="connsiteY66529" fmla="*/ 697687 h 5973007"/>
              <a:gd name="connsiteX66530" fmla="*/ 3290292 w 6884782"/>
              <a:gd name="connsiteY66530" fmla="*/ 698256 h 5973007"/>
              <a:gd name="connsiteX66531" fmla="*/ 3289012 w 6884782"/>
              <a:gd name="connsiteY66531" fmla="*/ 698256 h 5973007"/>
              <a:gd name="connsiteX66532" fmla="*/ 3290292 w 6884782"/>
              <a:gd name="connsiteY66532" fmla="*/ 699394 h 5973007"/>
              <a:gd name="connsiteX66533" fmla="*/ 3274072 w 6884782"/>
              <a:gd name="connsiteY66533" fmla="*/ 701101 h 5973007"/>
              <a:gd name="connsiteX66534" fmla="*/ 3274072 w 6884782"/>
              <a:gd name="connsiteY66534" fmla="*/ 699821 h 5973007"/>
              <a:gd name="connsiteX66535" fmla="*/ 3285810 w 6884782"/>
              <a:gd name="connsiteY66535" fmla="*/ 697687 h 5973007"/>
              <a:gd name="connsiteX66536" fmla="*/ 1621329 w 6884782"/>
              <a:gd name="connsiteY66536" fmla="*/ 697521 h 5973007"/>
              <a:gd name="connsiteX66537" fmla="*/ 1613172 w 6884782"/>
              <a:gd name="connsiteY66537" fmla="*/ 706040 h 5973007"/>
              <a:gd name="connsiteX66538" fmla="*/ 1612656 w 6884782"/>
              <a:gd name="connsiteY66538" fmla="*/ 702942 h 5973007"/>
              <a:gd name="connsiteX66539" fmla="*/ 1613172 w 6884782"/>
              <a:gd name="connsiteY66539" fmla="*/ 698914 h 5973007"/>
              <a:gd name="connsiteX66540" fmla="*/ 1621329 w 6884782"/>
              <a:gd name="connsiteY66540" fmla="*/ 697521 h 5973007"/>
              <a:gd name="connsiteX66541" fmla="*/ 3266816 w 6884782"/>
              <a:gd name="connsiteY66541" fmla="*/ 697118 h 5973007"/>
              <a:gd name="connsiteX66542" fmla="*/ 3268096 w 6884782"/>
              <a:gd name="connsiteY66542" fmla="*/ 698398 h 5973007"/>
              <a:gd name="connsiteX66543" fmla="*/ 3262334 w 6884782"/>
              <a:gd name="connsiteY66543" fmla="*/ 700532 h 5973007"/>
              <a:gd name="connsiteX66544" fmla="*/ 3266816 w 6884782"/>
              <a:gd name="connsiteY66544" fmla="*/ 697118 h 5973007"/>
              <a:gd name="connsiteX66545" fmla="*/ 2091086 w 6884782"/>
              <a:gd name="connsiteY66545" fmla="*/ 695126 h 5973007"/>
              <a:gd name="connsiteX66546" fmla="*/ 2080202 w 6884782"/>
              <a:gd name="connsiteY66546" fmla="*/ 699394 h 5973007"/>
              <a:gd name="connsiteX66547" fmla="*/ 2076974 w 6884782"/>
              <a:gd name="connsiteY66547" fmla="*/ 697274 h 5973007"/>
              <a:gd name="connsiteX66548" fmla="*/ 2072559 w 6884782"/>
              <a:gd name="connsiteY66548" fmla="*/ 698605 h 5973007"/>
              <a:gd name="connsiteX66549" fmla="*/ 2060788 w 6884782"/>
              <a:gd name="connsiteY66549" fmla="*/ 705575 h 5973007"/>
              <a:gd name="connsiteX66550" fmla="*/ 2048810 w 6884782"/>
              <a:gd name="connsiteY66550" fmla="*/ 713320 h 5973007"/>
              <a:gd name="connsiteX66551" fmla="*/ 2049326 w 6884782"/>
              <a:gd name="connsiteY66551" fmla="*/ 713785 h 5973007"/>
              <a:gd name="connsiteX66552" fmla="*/ 2050669 w 6884782"/>
              <a:gd name="connsiteY66552" fmla="*/ 717347 h 5973007"/>
              <a:gd name="connsiteX66553" fmla="*/ 2051495 w 6884782"/>
              <a:gd name="connsiteY66553" fmla="*/ 715334 h 5973007"/>
              <a:gd name="connsiteX66554" fmla="*/ 2059549 w 6884782"/>
              <a:gd name="connsiteY66554" fmla="*/ 715798 h 5973007"/>
              <a:gd name="connsiteX66555" fmla="*/ 2063369 w 6884782"/>
              <a:gd name="connsiteY66555" fmla="*/ 713010 h 5973007"/>
              <a:gd name="connsiteX66556" fmla="*/ 2052528 w 6884782"/>
              <a:gd name="connsiteY66556" fmla="*/ 711771 h 5973007"/>
              <a:gd name="connsiteX66557" fmla="*/ 2064918 w 6884782"/>
              <a:gd name="connsiteY66557" fmla="*/ 708363 h 5973007"/>
              <a:gd name="connsiteX66558" fmla="*/ 2073075 w 6884782"/>
              <a:gd name="connsiteY66558" fmla="*/ 710687 h 5973007"/>
              <a:gd name="connsiteX66559" fmla="*/ 2066054 w 6884782"/>
              <a:gd name="connsiteY66559" fmla="*/ 718122 h 5973007"/>
              <a:gd name="connsiteX66560" fmla="*/ 2072043 w 6884782"/>
              <a:gd name="connsiteY66560" fmla="*/ 719206 h 5973007"/>
              <a:gd name="connsiteX66561" fmla="*/ 2076793 w 6884782"/>
              <a:gd name="connsiteY66561" fmla="*/ 717502 h 5973007"/>
              <a:gd name="connsiteX66562" fmla="*/ 2079064 w 6884782"/>
              <a:gd name="connsiteY66562" fmla="*/ 716418 h 5973007"/>
              <a:gd name="connsiteX66563" fmla="*/ 2080097 w 6884782"/>
              <a:gd name="connsiteY66563" fmla="*/ 715798 h 5973007"/>
              <a:gd name="connsiteX66564" fmla="*/ 2081129 w 6884782"/>
              <a:gd name="connsiteY66564" fmla="*/ 715178 h 5973007"/>
              <a:gd name="connsiteX66565" fmla="*/ 2082781 w 6884782"/>
              <a:gd name="connsiteY66565" fmla="*/ 712390 h 5973007"/>
              <a:gd name="connsiteX66566" fmla="*/ 2093107 w 6884782"/>
              <a:gd name="connsiteY66566" fmla="*/ 704336 h 5973007"/>
              <a:gd name="connsiteX66567" fmla="*/ 2102297 w 6884782"/>
              <a:gd name="connsiteY66567" fmla="*/ 702167 h 5973007"/>
              <a:gd name="connsiteX66568" fmla="*/ 2105085 w 6884782"/>
              <a:gd name="connsiteY66568" fmla="*/ 702167 h 5973007"/>
              <a:gd name="connsiteX66569" fmla="*/ 2102607 w 6884782"/>
              <a:gd name="connsiteY66569" fmla="*/ 699534 h 5973007"/>
              <a:gd name="connsiteX66570" fmla="*/ 2102615 w 6884782"/>
              <a:gd name="connsiteY66570" fmla="*/ 699517 h 5973007"/>
              <a:gd name="connsiteX66571" fmla="*/ 2099143 w 6884782"/>
              <a:gd name="connsiteY66571" fmla="*/ 701813 h 5973007"/>
              <a:gd name="connsiteX66572" fmla="*/ 2089806 w 6884782"/>
              <a:gd name="connsiteY66572" fmla="*/ 699679 h 5973007"/>
              <a:gd name="connsiteX66573" fmla="*/ 3466150 w 6884782"/>
              <a:gd name="connsiteY66573" fmla="*/ 693277 h 5973007"/>
              <a:gd name="connsiteX66574" fmla="*/ 3493468 w 6884782"/>
              <a:gd name="connsiteY66574" fmla="*/ 705369 h 5973007"/>
              <a:gd name="connsiteX66575" fmla="*/ 3458467 w 6884782"/>
              <a:gd name="connsiteY66575" fmla="*/ 698256 h 5973007"/>
              <a:gd name="connsiteX66576" fmla="*/ 3466150 w 6884782"/>
              <a:gd name="connsiteY66576" fmla="*/ 693277 h 5973007"/>
              <a:gd name="connsiteX66577" fmla="*/ 2989157 w 6884782"/>
              <a:gd name="connsiteY66577" fmla="*/ 692423 h 5973007"/>
              <a:gd name="connsiteX66578" fmla="*/ 2991931 w 6884782"/>
              <a:gd name="connsiteY66578" fmla="*/ 702097 h 5973007"/>
              <a:gd name="connsiteX66579" fmla="*/ 2984675 w 6884782"/>
              <a:gd name="connsiteY66579" fmla="*/ 698256 h 5973007"/>
              <a:gd name="connsiteX66580" fmla="*/ 2989157 w 6884782"/>
              <a:gd name="connsiteY66580" fmla="*/ 692423 h 5973007"/>
              <a:gd name="connsiteX66581" fmla="*/ 3697710 w 6884782"/>
              <a:gd name="connsiteY66581" fmla="*/ 691996 h 5973007"/>
              <a:gd name="connsiteX66582" fmla="*/ 3701979 w 6884782"/>
              <a:gd name="connsiteY66582" fmla="*/ 696691 h 5973007"/>
              <a:gd name="connsiteX66583" fmla="*/ 3698564 w 6884782"/>
              <a:gd name="connsiteY66583" fmla="*/ 706508 h 5973007"/>
              <a:gd name="connsiteX66584" fmla="*/ 3690881 w 6884782"/>
              <a:gd name="connsiteY66584" fmla="*/ 703947 h 5973007"/>
              <a:gd name="connsiteX66585" fmla="*/ 3690027 w 6884782"/>
              <a:gd name="connsiteY66585" fmla="*/ 700390 h 5973007"/>
              <a:gd name="connsiteX66586" fmla="*/ 3691948 w 6884782"/>
              <a:gd name="connsiteY66586" fmla="*/ 693134 h 5973007"/>
              <a:gd name="connsiteX66587" fmla="*/ 3690667 w 6884782"/>
              <a:gd name="connsiteY66587" fmla="*/ 693134 h 5973007"/>
              <a:gd name="connsiteX66588" fmla="*/ 3697710 w 6884782"/>
              <a:gd name="connsiteY66588" fmla="*/ 691996 h 5973007"/>
              <a:gd name="connsiteX66589" fmla="*/ 1308773 w 6884782"/>
              <a:gd name="connsiteY66589" fmla="*/ 688691 h 5973007"/>
              <a:gd name="connsiteX66590" fmla="*/ 1309083 w 6884782"/>
              <a:gd name="connsiteY66590" fmla="*/ 694733 h 5973007"/>
              <a:gd name="connsiteX66591" fmla="*/ 1302681 w 6884782"/>
              <a:gd name="connsiteY66591" fmla="*/ 691325 h 5973007"/>
              <a:gd name="connsiteX66592" fmla="*/ 1308773 w 6884782"/>
              <a:gd name="connsiteY66592" fmla="*/ 688691 h 5973007"/>
              <a:gd name="connsiteX66593" fmla="*/ 2109112 w 6884782"/>
              <a:gd name="connsiteY66593" fmla="*/ 686213 h 5973007"/>
              <a:gd name="connsiteX66594" fmla="*/ 2104199 w 6884782"/>
              <a:gd name="connsiteY66594" fmla="*/ 687529 h 5973007"/>
              <a:gd name="connsiteX66595" fmla="*/ 2105171 w 6884782"/>
              <a:gd name="connsiteY66595" fmla="*/ 694485 h 5973007"/>
              <a:gd name="connsiteX66596" fmla="*/ 2107563 w 6884782"/>
              <a:gd name="connsiteY66596" fmla="*/ 689776 h 5973007"/>
              <a:gd name="connsiteX66597" fmla="*/ 3290506 w 6884782"/>
              <a:gd name="connsiteY66597" fmla="*/ 685167 h 5973007"/>
              <a:gd name="connsiteX66598" fmla="*/ 3290719 w 6884782"/>
              <a:gd name="connsiteY66598" fmla="*/ 690004 h 5973007"/>
              <a:gd name="connsiteX66599" fmla="*/ 3288371 w 6884782"/>
              <a:gd name="connsiteY66599" fmla="*/ 689862 h 5973007"/>
              <a:gd name="connsiteX66600" fmla="*/ 3271298 w 6884782"/>
              <a:gd name="connsiteY66600" fmla="*/ 695268 h 5973007"/>
              <a:gd name="connsiteX66601" fmla="*/ 3290506 w 6884782"/>
              <a:gd name="connsiteY66601" fmla="*/ 685167 h 5973007"/>
              <a:gd name="connsiteX66602" fmla="*/ 2877752 w 6884782"/>
              <a:gd name="connsiteY66602" fmla="*/ 684456 h 5973007"/>
              <a:gd name="connsiteX66603" fmla="*/ 2883087 w 6884782"/>
              <a:gd name="connsiteY66603" fmla="*/ 695979 h 5973007"/>
              <a:gd name="connsiteX66604" fmla="*/ 2874337 w 6884782"/>
              <a:gd name="connsiteY66604" fmla="*/ 684740 h 5973007"/>
              <a:gd name="connsiteX66605" fmla="*/ 2877752 w 6884782"/>
              <a:gd name="connsiteY66605" fmla="*/ 684456 h 5973007"/>
              <a:gd name="connsiteX66606" fmla="*/ 3366910 w 6884782"/>
              <a:gd name="connsiteY66606" fmla="*/ 684029 h 5973007"/>
              <a:gd name="connsiteX66607" fmla="*/ 3367977 w 6884782"/>
              <a:gd name="connsiteY66607" fmla="*/ 685452 h 5973007"/>
              <a:gd name="connsiteX66608" fmla="*/ 3369044 w 6884782"/>
              <a:gd name="connsiteY66608" fmla="*/ 688155 h 5973007"/>
              <a:gd name="connsiteX66609" fmla="*/ 3363282 w 6884782"/>
              <a:gd name="connsiteY66609" fmla="*/ 690431 h 5973007"/>
              <a:gd name="connsiteX66610" fmla="*/ 3360721 w 6884782"/>
              <a:gd name="connsiteY66610" fmla="*/ 688013 h 5973007"/>
              <a:gd name="connsiteX66611" fmla="*/ 3363282 w 6884782"/>
              <a:gd name="connsiteY66611" fmla="*/ 685025 h 5973007"/>
              <a:gd name="connsiteX66612" fmla="*/ 3366910 w 6884782"/>
              <a:gd name="connsiteY66612" fmla="*/ 684029 h 5973007"/>
              <a:gd name="connsiteX66613" fmla="*/ 3401057 w 6884782"/>
              <a:gd name="connsiteY66613" fmla="*/ 683318 h 5973007"/>
              <a:gd name="connsiteX66614" fmla="*/ 3408527 w 6884782"/>
              <a:gd name="connsiteY66614" fmla="*/ 684456 h 5973007"/>
              <a:gd name="connsiteX66615" fmla="*/ 3398496 w 6884782"/>
              <a:gd name="connsiteY66615" fmla="*/ 697260 h 5973007"/>
              <a:gd name="connsiteX66616" fmla="*/ 3395295 w 6884782"/>
              <a:gd name="connsiteY66616" fmla="*/ 686021 h 5973007"/>
              <a:gd name="connsiteX66617" fmla="*/ 3401057 w 6884782"/>
              <a:gd name="connsiteY66617" fmla="*/ 683318 h 5973007"/>
              <a:gd name="connsiteX66618" fmla="*/ 3221144 w 6884782"/>
              <a:gd name="connsiteY66618" fmla="*/ 682037 h 5973007"/>
              <a:gd name="connsiteX66619" fmla="*/ 3222425 w 6884782"/>
              <a:gd name="connsiteY66619" fmla="*/ 685594 h 5973007"/>
              <a:gd name="connsiteX66620" fmla="*/ 3220077 w 6884782"/>
              <a:gd name="connsiteY66620" fmla="*/ 687870 h 5973007"/>
              <a:gd name="connsiteX66621" fmla="*/ 3219010 w 6884782"/>
              <a:gd name="connsiteY66621" fmla="*/ 690289 h 5973007"/>
              <a:gd name="connsiteX66622" fmla="*/ 3215595 w 6884782"/>
              <a:gd name="connsiteY66622" fmla="*/ 690147 h 5973007"/>
              <a:gd name="connsiteX66623" fmla="*/ 3216662 w 6884782"/>
              <a:gd name="connsiteY66623" fmla="*/ 687728 h 5973007"/>
              <a:gd name="connsiteX66624" fmla="*/ 3221144 w 6884782"/>
              <a:gd name="connsiteY66624" fmla="*/ 682037 h 5973007"/>
              <a:gd name="connsiteX66625" fmla="*/ 1739764 w 6884782"/>
              <a:gd name="connsiteY66625" fmla="*/ 682031 h 5973007"/>
              <a:gd name="connsiteX66626" fmla="*/ 1737493 w 6884782"/>
              <a:gd name="connsiteY66626" fmla="*/ 692254 h 5973007"/>
              <a:gd name="connsiteX66627" fmla="*/ 1737596 w 6884782"/>
              <a:gd name="connsiteY66627" fmla="*/ 685903 h 5973007"/>
              <a:gd name="connsiteX66628" fmla="*/ 1739764 w 6884782"/>
              <a:gd name="connsiteY66628" fmla="*/ 682031 h 5973007"/>
              <a:gd name="connsiteX66629" fmla="*/ 3256785 w 6884782"/>
              <a:gd name="connsiteY66629" fmla="*/ 679476 h 5973007"/>
              <a:gd name="connsiteX66630" fmla="*/ 3257852 w 6884782"/>
              <a:gd name="connsiteY66630" fmla="*/ 680330 h 5973007"/>
              <a:gd name="connsiteX66631" fmla="*/ 3255718 w 6884782"/>
              <a:gd name="connsiteY66631" fmla="*/ 680472 h 5973007"/>
              <a:gd name="connsiteX66632" fmla="*/ 3256785 w 6884782"/>
              <a:gd name="connsiteY66632" fmla="*/ 679476 h 5973007"/>
              <a:gd name="connsiteX66633" fmla="*/ 2146779 w 6884782"/>
              <a:gd name="connsiteY66633" fmla="*/ 677022 h 5973007"/>
              <a:gd name="connsiteX66634" fmla="*/ 2133583 w 6884782"/>
              <a:gd name="connsiteY66634" fmla="*/ 679862 h 5973007"/>
              <a:gd name="connsiteX66635" fmla="*/ 2128730 w 6884782"/>
              <a:gd name="connsiteY66635" fmla="*/ 677539 h 5973007"/>
              <a:gd name="connsiteX66636" fmla="*/ 2120780 w 6884782"/>
              <a:gd name="connsiteY66636" fmla="*/ 682650 h 5973007"/>
              <a:gd name="connsiteX66637" fmla="*/ 2112932 w 6884782"/>
              <a:gd name="connsiteY66637" fmla="*/ 685129 h 5973007"/>
              <a:gd name="connsiteX66638" fmla="*/ 2113448 w 6884782"/>
              <a:gd name="connsiteY66638" fmla="*/ 686678 h 5973007"/>
              <a:gd name="connsiteX66639" fmla="*/ 2114275 w 6884782"/>
              <a:gd name="connsiteY66639" fmla="*/ 693183 h 5973007"/>
              <a:gd name="connsiteX66640" fmla="*/ 2112416 w 6884782"/>
              <a:gd name="connsiteY66640" fmla="*/ 699224 h 5973007"/>
              <a:gd name="connsiteX66641" fmla="*/ 2115720 w 6884782"/>
              <a:gd name="connsiteY66641" fmla="*/ 695817 h 5973007"/>
              <a:gd name="connsiteX66642" fmla="*/ 2120677 w 6884782"/>
              <a:gd name="connsiteY66642" fmla="*/ 690086 h 5973007"/>
              <a:gd name="connsiteX66643" fmla="*/ 2121193 w 6884782"/>
              <a:gd name="connsiteY66643" fmla="*/ 692409 h 5973007"/>
              <a:gd name="connsiteX66644" fmla="*/ 2132551 w 6884782"/>
              <a:gd name="connsiteY66644" fmla="*/ 689621 h 5973007"/>
              <a:gd name="connsiteX66645" fmla="*/ 2126562 w 6884782"/>
              <a:gd name="connsiteY66645" fmla="*/ 690705 h 5973007"/>
              <a:gd name="connsiteX66646" fmla="*/ 2125013 w 6884782"/>
              <a:gd name="connsiteY66646" fmla="*/ 695817 h 5973007"/>
              <a:gd name="connsiteX66647" fmla="*/ 2141121 w 6884782"/>
              <a:gd name="connsiteY66647" fmla="*/ 690086 h 5973007"/>
              <a:gd name="connsiteX66648" fmla="*/ 2151963 w 6884782"/>
              <a:gd name="connsiteY66648" fmla="*/ 687297 h 5973007"/>
              <a:gd name="connsiteX66649" fmla="*/ 2152580 w 6884782"/>
              <a:gd name="connsiteY66649" fmla="*/ 687054 h 5973007"/>
              <a:gd name="connsiteX66650" fmla="*/ 3666338 w 6884782"/>
              <a:gd name="connsiteY66650" fmla="*/ 676916 h 5973007"/>
              <a:gd name="connsiteX66651" fmla="*/ 3669966 w 6884782"/>
              <a:gd name="connsiteY66651" fmla="*/ 685167 h 5973007"/>
              <a:gd name="connsiteX66652" fmla="*/ 3661429 w 6884782"/>
              <a:gd name="connsiteY66652" fmla="*/ 685594 h 5973007"/>
              <a:gd name="connsiteX66653" fmla="*/ 3666338 w 6884782"/>
              <a:gd name="connsiteY66653" fmla="*/ 676916 h 5973007"/>
              <a:gd name="connsiteX66654" fmla="*/ 3533804 w 6884782"/>
              <a:gd name="connsiteY66654" fmla="*/ 674212 h 5973007"/>
              <a:gd name="connsiteX66655" fmla="*/ 3537859 w 6884782"/>
              <a:gd name="connsiteY66655" fmla="*/ 675493 h 5973007"/>
              <a:gd name="connsiteX66656" fmla="*/ 3520999 w 6884782"/>
              <a:gd name="connsiteY66656" fmla="*/ 686305 h 5973007"/>
              <a:gd name="connsiteX66657" fmla="*/ 3520145 w 6884782"/>
              <a:gd name="connsiteY66657" fmla="*/ 676489 h 5973007"/>
              <a:gd name="connsiteX66658" fmla="*/ 3533804 w 6884782"/>
              <a:gd name="connsiteY66658" fmla="*/ 674212 h 5973007"/>
              <a:gd name="connsiteX66659" fmla="*/ 3213674 w 6884782"/>
              <a:gd name="connsiteY66659" fmla="*/ 672078 h 5973007"/>
              <a:gd name="connsiteX66660" fmla="*/ 3216022 w 6884782"/>
              <a:gd name="connsiteY66660" fmla="*/ 672221 h 5973007"/>
              <a:gd name="connsiteX66661" fmla="*/ 3214101 w 6884782"/>
              <a:gd name="connsiteY66661" fmla="*/ 679476 h 5973007"/>
              <a:gd name="connsiteX66662" fmla="*/ 3210686 w 6884782"/>
              <a:gd name="connsiteY66662" fmla="*/ 680614 h 5973007"/>
              <a:gd name="connsiteX66663" fmla="*/ 3210686 w 6884782"/>
              <a:gd name="connsiteY66663" fmla="*/ 676916 h 5973007"/>
              <a:gd name="connsiteX66664" fmla="*/ 3212821 w 6884782"/>
              <a:gd name="connsiteY66664" fmla="*/ 675777 h 5973007"/>
              <a:gd name="connsiteX66665" fmla="*/ 3213674 w 6884782"/>
              <a:gd name="connsiteY66665" fmla="*/ 672078 h 5973007"/>
              <a:gd name="connsiteX66666" fmla="*/ 1812663 w 6884782"/>
              <a:gd name="connsiteY66666" fmla="*/ 667316 h 5973007"/>
              <a:gd name="connsiteX66667" fmla="*/ 1838064 w 6884782"/>
              <a:gd name="connsiteY66667" fmla="*/ 679243 h 5973007"/>
              <a:gd name="connsiteX66668" fmla="*/ 1833005 w 6884782"/>
              <a:gd name="connsiteY66668" fmla="*/ 688536 h 5973007"/>
              <a:gd name="connsiteX66669" fmla="*/ 1814005 w 6884782"/>
              <a:gd name="connsiteY66669" fmla="*/ 684509 h 5973007"/>
              <a:gd name="connsiteX66670" fmla="*/ 1811114 w 6884782"/>
              <a:gd name="connsiteY66670" fmla="*/ 671963 h 5973007"/>
              <a:gd name="connsiteX66671" fmla="*/ 1812663 w 6884782"/>
              <a:gd name="connsiteY66671" fmla="*/ 667316 h 5973007"/>
              <a:gd name="connsiteX66672" fmla="*/ 3231602 w 6884782"/>
              <a:gd name="connsiteY66672" fmla="*/ 666245 h 5973007"/>
              <a:gd name="connsiteX66673" fmla="*/ 3234376 w 6884782"/>
              <a:gd name="connsiteY66673" fmla="*/ 667241 h 5973007"/>
              <a:gd name="connsiteX66674" fmla="*/ 3233523 w 6884782"/>
              <a:gd name="connsiteY66674" fmla="*/ 673074 h 5973007"/>
              <a:gd name="connsiteX66675" fmla="*/ 3223278 w 6884782"/>
              <a:gd name="connsiteY66675" fmla="*/ 676347 h 5973007"/>
              <a:gd name="connsiteX66676" fmla="*/ 3223065 w 6884782"/>
              <a:gd name="connsiteY66676" fmla="*/ 671509 h 5973007"/>
              <a:gd name="connsiteX66677" fmla="*/ 3231602 w 6884782"/>
              <a:gd name="connsiteY66677" fmla="*/ 666245 h 5973007"/>
              <a:gd name="connsiteX66678" fmla="*/ 2950741 w 6884782"/>
              <a:gd name="connsiteY66678" fmla="*/ 665961 h 5973007"/>
              <a:gd name="connsiteX66679" fmla="*/ 2955650 w 6884782"/>
              <a:gd name="connsiteY66679" fmla="*/ 668664 h 5973007"/>
              <a:gd name="connsiteX66680" fmla="*/ 2959065 w 6884782"/>
              <a:gd name="connsiteY66680" fmla="*/ 668948 h 5973007"/>
              <a:gd name="connsiteX66681" fmla="*/ 2966961 w 6884782"/>
              <a:gd name="connsiteY66681" fmla="*/ 669375 h 5973007"/>
              <a:gd name="connsiteX66682" fmla="*/ 2968455 w 6884782"/>
              <a:gd name="connsiteY66682" fmla="*/ 675351 h 5973007"/>
              <a:gd name="connsiteX66683" fmla="*/ 2948394 w 6884782"/>
              <a:gd name="connsiteY66683" fmla="*/ 681468 h 5973007"/>
              <a:gd name="connsiteX66684" fmla="*/ 2946899 w 6884782"/>
              <a:gd name="connsiteY66684" fmla="*/ 675066 h 5973007"/>
              <a:gd name="connsiteX66685" fmla="*/ 2949247 w 6884782"/>
              <a:gd name="connsiteY66685" fmla="*/ 671936 h 5973007"/>
              <a:gd name="connsiteX66686" fmla="*/ 2947540 w 6884782"/>
              <a:gd name="connsiteY66686" fmla="*/ 669375 h 5973007"/>
              <a:gd name="connsiteX66687" fmla="*/ 2950741 w 6884782"/>
              <a:gd name="connsiteY66687" fmla="*/ 665961 h 5973007"/>
              <a:gd name="connsiteX66688" fmla="*/ 3108245 w 6884782"/>
              <a:gd name="connsiteY66688" fmla="*/ 665250 h 5973007"/>
              <a:gd name="connsiteX66689" fmla="*/ 3123398 w 6884782"/>
              <a:gd name="connsiteY66689" fmla="*/ 670513 h 5973007"/>
              <a:gd name="connsiteX66690" fmla="*/ 3100135 w 6884782"/>
              <a:gd name="connsiteY66690" fmla="*/ 686875 h 5973007"/>
              <a:gd name="connsiteX66691" fmla="*/ 3096293 w 6884782"/>
              <a:gd name="connsiteY66691" fmla="*/ 675493 h 5973007"/>
              <a:gd name="connsiteX66692" fmla="*/ 3108245 w 6884782"/>
              <a:gd name="connsiteY66692" fmla="*/ 665250 h 5973007"/>
              <a:gd name="connsiteX66693" fmla="*/ 3397429 w 6884782"/>
              <a:gd name="connsiteY66693" fmla="*/ 664396 h 5973007"/>
              <a:gd name="connsiteX66694" fmla="*/ 3404258 w 6884782"/>
              <a:gd name="connsiteY66694" fmla="*/ 679476 h 5973007"/>
              <a:gd name="connsiteX66695" fmla="*/ 3399563 w 6884782"/>
              <a:gd name="connsiteY66695" fmla="*/ 681753 h 5973007"/>
              <a:gd name="connsiteX66696" fmla="*/ 3397429 w 6884782"/>
              <a:gd name="connsiteY66696" fmla="*/ 664396 h 5973007"/>
              <a:gd name="connsiteX66697" fmla="*/ 3293066 w 6884782"/>
              <a:gd name="connsiteY66697" fmla="*/ 662973 h 5973007"/>
              <a:gd name="connsiteX66698" fmla="*/ 3322305 w 6884782"/>
              <a:gd name="connsiteY66698" fmla="*/ 719596 h 5973007"/>
              <a:gd name="connsiteX66699" fmla="*/ 3309713 w 6884782"/>
              <a:gd name="connsiteY66699" fmla="*/ 721873 h 5973007"/>
              <a:gd name="connsiteX66700" fmla="*/ 3293066 w 6884782"/>
              <a:gd name="connsiteY66700" fmla="*/ 662973 h 5973007"/>
              <a:gd name="connsiteX66701" fmla="*/ 2202145 w 6884782"/>
              <a:gd name="connsiteY66701" fmla="*/ 659881 h 5973007"/>
              <a:gd name="connsiteX66702" fmla="*/ 2190374 w 6884782"/>
              <a:gd name="connsiteY66702" fmla="*/ 662669 h 5973007"/>
              <a:gd name="connsiteX66703" fmla="*/ 2197396 w 6884782"/>
              <a:gd name="connsiteY66703" fmla="*/ 664992 h 5973007"/>
              <a:gd name="connsiteX66704" fmla="*/ 2187587 w 6884782"/>
              <a:gd name="connsiteY66704" fmla="*/ 667935 h 5973007"/>
              <a:gd name="connsiteX66705" fmla="*/ 2168691 w 6884782"/>
              <a:gd name="connsiteY66705" fmla="*/ 667316 h 5973007"/>
              <a:gd name="connsiteX66706" fmla="*/ 2172511 w 6884782"/>
              <a:gd name="connsiteY66706" fmla="*/ 669020 h 5973007"/>
              <a:gd name="connsiteX66707" fmla="*/ 2178500 w 6884782"/>
              <a:gd name="connsiteY66707" fmla="*/ 667935 h 5973007"/>
              <a:gd name="connsiteX66708" fmla="*/ 2173543 w 6884782"/>
              <a:gd name="connsiteY66708" fmla="*/ 670723 h 5973007"/>
              <a:gd name="connsiteX66709" fmla="*/ 2168691 w 6884782"/>
              <a:gd name="connsiteY66709" fmla="*/ 673047 h 5973007"/>
              <a:gd name="connsiteX66710" fmla="*/ 2163749 w 6884782"/>
              <a:gd name="connsiteY66710" fmla="*/ 673788 h 5973007"/>
              <a:gd name="connsiteX66711" fmla="*/ 2167757 w 6884782"/>
              <a:gd name="connsiteY66711" fmla="*/ 685462 h 5973007"/>
              <a:gd name="connsiteX66712" fmla="*/ 2175196 w 6884782"/>
              <a:gd name="connsiteY66712" fmla="*/ 682805 h 5973007"/>
              <a:gd name="connsiteX66713" fmla="*/ 2187587 w 6884782"/>
              <a:gd name="connsiteY66713" fmla="*/ 680946 h 5973007"/>
              <a:gd name="connsiteX66714" fmla="*/ 2198945 w 6884782"/>
              <a:gd name="connsiteY66714" fmla="*/ 679862 h 5973007"/>
              <a:gd name="connsiteX66715" fmla="*/ 2201096 w 6884782"/>
              <a:gd name="connsiteY66715" fmla="*/ 679318 h 5973007"/>
              <a:gd name="connsiteX66716" fmla="*/ 2204519 w 6884782"/>
              <a:gd name="connsiteY66716" fmla="*/ 677111 h 5973007"/>
              <a:gd name="connsiteX66717" fmla="*/ 2219992 w 6884782"/>
              <a:gd name="connsiteY66717" fmla="*/ 668664 h 5973007"/>
              <a:gd name="connsiteX66718" fmla="*/ 2221575 w 6884782"/>
              <a:gd name="connsiteY66718" fmla="*/ 669512 h 5973007"/>
              <a:gd name="connsiteX66719" fmla="*/ 2228041 w 6884782"/>
              <a:gd name="connsiteY66719" fmla="*/ 660288 h 5973007"/>
              <a:gd name="connsiteX66720" fmla="*/ 2222177 w 6884782"/>
              <a:gd name="connsiteY66720" fmla="*/ 661120 h 5973007"/>
              <a:gd name="connsiteX66721" fmla="*/ 2214020 w 6884782"/>
              <a:gd name="connsiteY66721" fmla="*/ 662669 h 5973007"/>
              <a:gd name="connsiteX66722" fmla="*/ 2202145 w 6884782"/>
              <a:gd name="connsiteY66722" fmla="*/ 659881 h 5973007"/>
              <a:gd name="connsiteX66723" fmla="*/ 3498590 w 6884782"/>
              <a:gd name="connsiteY66723" fmla="*/ 657852 h 5973007"/>
              <a:gd name="connsiteX66724" fmla="*/ 3504779 w 6884782"/>
              <a:gd name="connsiteY66724" fmla="*/ 661266 h 5973007"/>
              <a:gd name="connsiteX66725" fmla="*/ 3506700 w 6884782"/>
              <a:gd name="connsiteY66725" fmla="*/ 666245 h 5973007"/>
              <a:gd name="connsiteX66726" fmla="*/ 3506486 w 6884782"/>
              <a:gd name="connsiteY66726" fmla="*/ 666530 h 5973007"/>
              <a:gd name="connsiteX66727" fmla="*/ 3508194 w 6884782"/>
              <a:gd name="connsiteY66727" fmla="*/ 665250 h 5973007"/>
              <a:gd name="connsiteX66728" fmla="*/ 3510541 w 6884782"/>
              <a:gd name="connsiteY66728" fmla="*/ 665392 h 5973007"/>
              <a:gd name="connsiteX66729" fmla="*/ 3512035 w 6884782"/>
              <a:gd name="connsiteY66729" fmla="*/ 667668 h 5973007"/>
              <a:gd name="connsiteX66730" fmla="*/ 3512676 w 6884782"/>
              <a:gd name="connsiteY66730" fmla="*/ 672647 h 5973007"/>
              <a:gd name="connsiteX66731" fmla="*/ 3510755 w 6884782"/>
              <a:gd name="connsiteY66731" fmla="*/ 675066 h 5973007"/>
              <a:gd name="connsiteX66732" fmla="*/ 3508407 w 6884782"/>
              <a:gd name="connsiteY66732" fmla="*/ 674070 h 5973007"/>
              <a:gd name="connsiteX66733" fmla="*/ 3506060 w 6884782"/>
              <a:gd name="connsiteY66733" fmla="*/ 674212 h 5973007"/>
              <a:gd name="connsiteX66734" fmla="*/ 3505846 w 6884782"/>
              <a:gd name="connsiteY66734" fmla="*/ 672932 h 5973007"/>
              <a:gd name="connsiteX66735" fmla="*/ 3506060 w 6884782"/>
              <a:gd name="connsiteY66735" fmla="*/ 672790 h 5973007"/>
              <a:gd name="connsiteX66736" fmla="*/ 3505206 w 6884782"/>
              <a:gd name="connsiteY66736" fmla="*/ 672221 h 5973007"/>
              <a:gd name="connsiteX66737" fmla="*/ 3504352 w 6884782"/>
              <a:gd name="connsiteY66737" fmla="*/ 675493 h 5973007"/>
              <a:gd name="connsiteX66738" fmla="*/ 3487065 w 6884782"/>
              <a:gd name="connsiteY66738" fmla="*/ 669944 h 5973007"/>
              <a:gd name="connsiteX66739" fmla="*/ 3490907 w 6884782"/>
              <a:gd name="connsiteY66739" fmla="*/ 660270 h 5973007"/>
              <a:gd name="connsiteX66740" fmla="*/ 3498590 w 6884782"/>
              <a:gd name="connsiteY66740" fmla="*/ 657852 h 5973007"/>
              <a:gd name="connsiteX66741" fmla="*/ 3797591 w 6884782"/>
              <a:gd name="connsiteY66741" fmla="*/ 653157 h 5973007"/>
              <a:gd name="connsiteX66742" fmla="*/ 3800792 w 6884782"/>
              <a:gd name="connsiteY66742" fmla="*/ 655433 h 5973007"/>
              <a:gd name="connsiteX66743" fmla="*/ 3801646 w 6884782"/>
              <a:gd name="connsiteY66743" fmla="*/ 660128 h 5973007"/>
              <a:gd name="connsiteX66744" fmla="*/ 3792042 w 6884782"/>
              <a:gd name="connsiteY66744" fmla="*/ 662404 h 5973007"/>
              <a:gd name="connsiteX66745" fmla="*/ 3793963 w 6884782"/>
              <a:gd name="connsiteY66745" fmla="*/ 655291 h 5973007"/>
              <a:gd name="connsiteX66746" fmla="*/ 3797591 w 6884782"/>
              <a:gd name="connsiteY66746" fmla="*/ 653157 h 5973007"/>
              <a:gd name="connsiteX66747" fmla="*/ 3593135 w 6884782"/>
              <a:gd name="connsiteY66747" fmla="*/ 651734 h 5973007"/>
              <a:gd name="connsiteX66748" fmla="*/ 3598684 w 6884782"/>
              <a:gd name="connsiteY66748" fmla="*/ 652018 h 5973007"/>
              <a:gd name="connsiteX66749" fmla="*/ 3606154 w 6884782"/>
              <a:gd name="connsiteY66749" fmla="*/ 655433 h 5973007"/>
              <a:gd name="connsiteX66750" fmla="*/ 3580543 w 6884782"/>
              <a:gd name="connsiteY66750" fmla="*/ 699109 h 5973007"/>
              <a:gd name="connsiteX66751" fmla="*/ 3566030 w 6884782"/>
              <a:gd name="connsiteY66751" fmla="*/ 688866 h 5973007"/>
              <a:gd name="connsiteX66752" fmla="*/ 3576915 w 6884782"/>
              <a:gd name="connsiteY66752" fmla="*/ 655291 h 5973007"/>
              <a:gd name="connsiteX66753" fmla="*/ 3593135 w 6884782"/>
              <a:gd name="connsiteY66753" fmla="*/ 651734 h 5973007"/>
              <a:gd name="connsiteX66754" fmla="*/ 3392947 w 6884782"/>
              <a:gd name="connsiteY66754" fmla="*/ 651734 h 5973007"/>
              <a:gd name="connsiteX66755" fmla="*/ 3395722 w 6884782"/>
              <a:gd name="connsiteY66755" fmla="*/ 656429 h 5973007"/>
              <a:gd name="connsiteX66756" fmla="*/ 3389319 w 6884782"/>
              <a:gd name="connsiteY66756" fmla="*/ 659274 h 5973007"/>
              <a:gd name="connsiteX66757" fmla="*/ 3386331 w 6884782"/>
              <a:gd name="connsiteY66757" fmla="*/ 654579 h 5973007"/>
              <a:gd name="connsiteX66758" fmla="*/ 3392947 w 6884782"/>
              <a:gd name="connsiteY66758" fmla="*/ 651734 h 5973007"/>
              <a:gd name="connsiteX66759" fmla="*/ 3038884 w 6884782"/>
              <a:gd name="connsiteY66759" fmla="*/ 648746 h 5973007"/>
              <a:gd name="connsiteX66760" fmla="*/ 3050408 w 6884782"/>
              <a:gd name="connsiteY66760" fmla="*/ 648888 h 5973007"/>
              <a:gd name="connsiteX66761" fmla="*/ 3052756 w 6884782"/>
              <a:gd name="connsiteY66761" fmla="*/ 659416 h 5973007"/>
              <a:gd name="connsiteX66762" fmla="*/ 3059585 w 6884782"/>
              <a:gd name="connsiteY66762" fmla="*/ 654579 h 5973007"/>
              <a:gd name="connsiteX66763" fmla="*/ 3066201 w 6884782"/>
              <a:gd name="connsiteY66763" fmla="*/ 658421 h 5973007"/>
              <a:gd name="connsiteX66764" fmla="*/ 3054036 w 6884782"/>
              <a:gd name="connsiteY66764" fmla="*/ 670513 h 5973007"/>
              <a:gd name="connsiteX66765" fmla="*/ 3053183 w 6884782"/>
              <a:gd name="connsiteY66765" fmla="*/ 670513 h 5973007"/>
              <a:gd name="connsiteX66766" fmla="*/ 3053183 w 6884782"/>
              <a:gd name="connsiteY66766" fmla="*/ 673643 h 5973007"/>
              <a:gd name="connsiteX66767" fmla="*/ 3025651 w 6884782"/>
              <a:gd name="connsiteY66767" fmla="*/ 662973 h 5973007"/>
              <a:gd name="connsiteX66768" fmla="*/ 3030987 w 6884782"/>
              <a:gd name="connsiteY66768" fmla="*/ 652730 h 5973007"/>
              <a:gd name="connsiteX66769" fmla="*/ 3038884 w 6884782"/>
              <a:gd name="connsiteY66769" fmla="*/ 648746 h 5973007"/>
              <a:gd name="connsiteX66770" fmla="*/ 3332336 w 6884782"/>
              <a:gd name="connsiteY66770" fmla="*/ 647750 h 5973007"/>
              <a:gd name="connsiteX66771" fmla="*/ 3334257 w 6884782"/>
              <a:gd name="connsiteY66771" fmla="*/ 650596 h 5973007"/>
              <a:gd name="connsiteX66772" fmla="*/ 3334470 w 6884782"/>
              <a:gd name="connsiteY66772" fmla="*/ 651307 h 5973007"/>
              <a:gd name="connsiteX66773" fmla="*/ 3336391 w 6884782"/>
              <a:gd name="connsiteY66773" fmla="*/ 650311 h 5973007"/>
              <a:gd name="connsiteX66774" fmla="*/ 3337672 w 6884782"/>
              <a:gd name="connsiteY66774" fmla="*/ 652730 h 5973007"/>
              <a:gd name="connsiteX66775" fmla="*/ 3335324 w 6884782"/>
              <a:gd name="connsiteY66775" fmla="*/ 654579 h 5973007"/>
              <a:gd name="connsiteX66776" fmla="*/ 3335537 w 6884782"/>
              <a:gd name="connsiteY66776" fmla="*/ 655717 h 5973007"/>
              <a:gd name="connsiteX66777" fmla="*/ 3335324 w 6884782"/>
              <a:gd name="connsiteY66777" fmla="*/ 659559 h 5973007"/>
              <a:gd name="connsiteX66778" fmla="*/ 3335750 w 6884782"/>
              <a:gd name="connsiteY66778" fmla="*/ 659843 h 5973007"/>
              <a:gd name="connsiteX66779" fmla="*/ 3336177 w 6884782"/>
              <a:gd name="connsiteY66779" fmla="*/ 671794 h 5973007"/>
              <a:gd name="connsiteX66780" fmla="*/ 3323586 w 6884782"/>
              <a:gd name="connsiteY66780" fmla="*/ 674782 h 5973007"/>
              <a:gd name="connsiteX66781" fmla="*/ 3317610 w 6884782"/>
              <a:gd name="connsiteY66781" fmla="*/ 670940 h 5973007"/>
              <a:gd name="connsiteX66782" fmla="*/ 3316756 w 6884782"/>
              <a:gd name="connsiteY66782" fmla="*/ 667668 h 5973007"/>
              <a:gd name="connsiteX66783" fmla="*/ 3310140 w 6884782"/>
              <a:gd name="connsiteY66783" fmla="*/ 665107 h 5973007"/>
              <a:gd name="connsiteX66784" fmla="*/ 3306939 w 6884782"/>
              <a:gd name="connsiteY66784" fmla="*/ 657994 h 5973007"/>
              <a:gd name="connsiteX66785" fmla="*/ 3310140 w 6884782"/>
              <a:gd name="connsiteY66785" fmla="*/ 656714 h 5973007"/>
              <a:gd name="connsiteX66786" fmla="*/ 3316970 w 6884782"/>
              <a:gd name="connsiteY66786" fmla="*/ 659559 h 5973007"/>
              <a:gd name="connsiteX66787" fmla="*/ 3318037 w 6884782"/>
              <a:gd name="connsiteY66787" fmla="*/ 656714 h 5973007"/>
              <a:gd name="connsiteX66788" fmla="*/ 3322305 w 6884782"/>
              <a:gd name="connsiteY66788" fmla="*/ 653726 h 5973007"/>
              <a:gd name="connsiteX66789" fmla="*/ 3324013 w 6884782"/>
              <a:gd name="connsiteY66789" fmla="*/ 653726 h 5973007"/>
              <a:gd name="connsiteX66790" fmla="*/ 3323799 w 6884782"/>
              <a:gd name="connsiteY66790" fmla="*/ 652303 h 5973007"/>
              <a:gd name="connsiteX66791" fmla="*/ 3327214 w 6884782"/>
              <a:gd name="connsiteY66791" fmla="*/ 650454 h 5973007"/>
              <a:gd name="connsiteX66792" fmla="*/ 3328708 w 6884782"/>
              <a:gd name="connsiteY66792" fmla="*/ 648177 h 5973007"/>
              <a:gd name="connsiteX66793" fmla="*/ 3332336 w 6884782"/>
              <a:gd name="connsiteY66793" fmla="*/ 647750 h 5973007"/>
              <a:gd name="connsiteX66794" fmla="*/ 3349409 w 6884782"/>
              <a:gd name="connsiteY66794" fmla="*/ 645901 h 5973007"/>
              <a:gd name="connsiteX66795" fmla="*/ 3362641 w 6884782"/>
              <a:gd name="connsiteY66795" fmla="*/ 652445 h 5973007"/>
              <a:gd name="connsiteX66796" fmla="*/ 3345995 w 6884782"/>
              <a:gd name="connsiteY66796" fmla="*/ 646328 h 5973007"/>
              <a:gd name="connsiteX66797" fmla="*/ 3349409 w 6884782"/>
              <a:gd name="connsiteY66797" fmla="*/ 645901 h 5973007"/>
              <a:gd name="connsiteX66798" fmla="*/ 3258920 w 6884782"/>
              <a:gd name="connsiteY66798" fmla="*/ 644336 h 5973007"/>
              <a:gd name="connsiteX66799" fmla="*/ 3259773 w 6884782"/>
              <a:gd name="connsiteY66799" fmla="*/ 650169 h 5973007"/>
              <a:gd name="connsiteX66800" fmla="*/ 3250809 w 6884782"/>
              <a:gd name="connsiteY66800" fmla="*/ 653157 h 5973007"/>
              <a:gd name="connsiteX66801" fmla="*/ 3245261 w 6884782"/>
              <a:gd name="connsiteY66801" fmla="*/ 655860 h 5973007"/>
              <a:gd name="connsiteX66802" fmla="*/ 3251450 w 6884782"/>
              <a:gd name="connsiteY66802" fmla="*/ 650596 h 5973007"/>
              <a:gd name="connsiteX66803" fmla="*/ 3252304 w 6884782"/>
              <a:gd name="connsiteY66803" fmla="*/ 647039 h 5973007"/>
              <a:gd name="connsiteX66804" fmla="*/ 3258920 w 6884782"/>
              <a:gd name="connsiteY66804" fmla="*/ 644336 h 5973007"/>
              <a:gd name="connsiteX66805" fmla="*/ 2018114 w 6884782"/>
              <a:gd name="connsiteY66805" fmla="*/ 643568 h 5973007"/>
              <a:gd name="connsiteX66806" fmla="*/ 2032083 w 6884782"/>
              <a:gd name="connsiteY66806" fmla="*/ 660036 h 5973007"/>
              <a:gd name="connsiteX66807" fmla="*/ 2022273 w 6884782"/>
              <a:gd name="connsiteY66807" fmla="*/ 668400 h 5973007"/>
              <a:gd name="connsiteX66808" fmla="*/ 2011844 w 6884782"/>
              <a:gd name="connsiteY66808" fmla="*/ 649348 h 5973007"/>
              <a:gd name="connsiteX66809" fmla="*/ 2018114 w 6884782"/>
              <a:gd name="connsiteY66809" fmla="*/ 643568 h 5973007"/>
              <a:gd name="connsiteX66810" fmla="*/ 3465723 w 6884782"/>
              <a:gd name="connsiteY66810" fmla="*/ 639499 h 5973007"/>
              <a:gd name="connsiteX66811" fmla="*/ 3473407 w 6884782"/>
              <a:gd name="connsiteY66811" fmla="*/ 642344 h 5973007"/>
              <a:gd name="connsiteX66812" fmla="*/ 3472766 w 6884782"/>
              <a:gd name="connsiteY66812" fmla="*/ 651165 h 5973007"/>
              <a:gd name="connsiteX66813" fmla="*/ 3459748 w 6884782"/>
              <a:gd name="connsiteY66813" fmla="*/ 645190 h 5973007"/>
              <a:gd name="connsiteX66814" fmla="*/ 3465723 w 6884782"/>
              <a:gd name="connsiteY66814" fmla="*/ 639499 h 5973007"/>
              <a:gd name="connsiteX66815" fmla="*/ 3521212 w 6884782"/>
              <a:gd name="connsiteY66815" fmla="*/ 637507 h 5973007"/>
              <a:gd name="connsiteX66816" fmla="*/ 3532523 w 6884782"/>
              <a:gd name="connsiteY66816" fmla="*/ 640210 h 5973007"/>
              <a:gd name="connsiteX66817" fmla="*/ 3534871 w 6884782"/>
              <a:gd name="connsiteY66817" fmla="*/ 641206 h 5973007"/>
              <a:gd name="connsiteX66818" fmla="*/ 3537432 w 6884782"/>
              <a:gd name="connsiteY66818" fmla="*/ 642344 h 5973007"/>
              <a:gd name="connsiteX66819" fmla="*/ 3539140 w 6884782"/>
              <a:gd name="connsiteY66819" fmla="*/ 647181 h 5973007"/>
              <a:gd name="connsiteX66820" fmla="*/ 3517371 w 6884782"/>
              <a:gd name="connsiteY66820" fmla="*/ 641064 h 5973007"/>
              <a:gd name="connsiteX66821" fmla="*/ 3518224 w 6884782"/>
              <a:gd name="connsiteY66821" fmla="*/ 638503 h 5973007"/>
              <a:gd name="connsiteX66822" fmla="*/ 3521212 w 6884782"/>
              <a:gd name="connsiteY66822" fmla="*/ 637507 h 5973007"/>
              <a:gd name="connsiteX66823" fmla="*/ 3495389 w 6884782"/>
              <a:gd name="connsiteY66823" fmla="*/ 636938 h 5973007"/>
              <a:gd name="connsiteX66824" fmla="*/ 3507340 w 6884782"/>
              <a:gd name="connsiteY66824" fmla="*/ 647181 h 5973007"/>
              <a:gd name="connsiteX66825" fmla="*/ 3480236 w 6884782"/>
              <a:gd name="connsiteY66825" fmla="*/ 643482 h 5973007"/>
              <a:gd name="connsiteX66826" fmla="*/ 3482583 w 6884782"/>
              <a:gd name="connsiteY66826" fmla="*/ 637649 h 5973007"/>
              <a:gd name="connsiteX66827" fmla="*/ 3489626 w 6884782"/>
              <a:gd name="connsiteY66827" fmla="*/ 637080 h 5973007"/>
              <a:gd name="connsiteX66828" fmla="*/ 3495389 w 6884782"/>
              <a:gd name="connsiteY66828" fmla="*/ 636938 h 5973007"/>
              <a:gd name="connsiteX66829" fmla="*/ 2888209 w 6884782"/>
              <a:gd name="connsiteY66829" fmla="*/ 635089 h 5973007"/>
              <a:gd name="connsiteX66830" fmla="*/ 2890984 w 6884782"/>
              <a:gd name="connsiteY66830" fmla="*/ 636654 h 5973007"/>
              <a:gd name="connsiteX66831" fmla="*/ 2879245 w 6884782"/>
              <a:gd name="connsiteY66831" fmla="*/ 644194 h 5973007"/>
              <a:gd name="connsiteX66832" fmla="*/ 2879459 w 6884782"/>
              <a:gd name="connsiteY66832" fmla="*/ 640637 h 5973007"/>
              <a:gd name="connsiteX66833" fmla="*/ 2888209 w 6884782"/>
              <a:gd name="connsiteY66833" fmla="*/ 635089 h 5973007"/>
              <a:gd name="connsiteX66834" fmla="*/ 2756399 w 6884782"/>
              <a:gd name="connsiteY66834" fmla="*/ 630128 h 5973007"/>
              <a:gd name="connsiteX66835" fmla="*/ 2767578 w 6884782"/>
              <a:gd name="connsiteY66835" fmla="*/ 650930 h 5973007"/>
              <a:gd name="connsiteX66836" fmla="*/ 2767910 w 6884782"/>
              <a:gd name="connsiteY66836" fmla="*/ 651726 h 5973007"/>
              <a:gd name="connsiteX66837" fmla="*/ 2769335 w 6884782"/>
              <a:gd name="connsiteY66837" fmla="*/ 653014 h 5973007"/>
              <a:gd name="connsiteX66838" fmla="*/ 2770615 w 6884782"/>
              <a:gd name="connsiteY66838" fmla="*/ 652018 h 5973007"/>
              <a:gd name="connsiteX66839" fmla="*/ 2770402 w 6884782"/>
              <a:gd name="connsiteY66839" fmla="*/ 653868 h 5973007"/>
              <a:gd name="connsiteX66840" fmla="*/ 2772323 w 6884782"/>
              <a:gd name="connsiteY66840" fmla="*/ 655433 h 5973007"/>
              <a:gd name="connsiteX66841" fmla="*/ 2773389 w 6884782"/>
              <a:gd name="connsiteY66841" fmla="*/ 657709 h 5973007"/>
              <a:gd name="connsiteX66842" fmla="*/ 2777871 w 6884782"/>
              <a:gd name="connsiteY66842" fmla="*/ 655433 h 5973007"/>
              <a:gd name="connsiteX66843" fmla="*/ 2777231 w 6884782"/>
              <a:gd name="connsiteY66843" fmla="*/ 657282 h 5973007"/>
              <a:gd name="connsiteX66844" fmla="*/ 2774883 w 6884782"/>
              <a:gd name="connsiteY66844" fmla="*/ 657994 h 5973007"/>
              <a:gd name="connsiteX66845" fmla="*/ 2773603 w 6884782"/>
              <a:gd name="connsiteY66845" fmla="*/ 658421 h 5973007"/>
              <a:gd name="connsiteX66846" fmla="*/ 2774883 w 6884782"/>
              <a:gd name="connsiteY66846" fmla="*/ 660697 h 5973007"/>
              <a:gd name="connsiteX66847" fmla="*/ 2772917 w 6884782"/>
              <a:gd name="connsiteY66847" fmla="*/ 663704 h 5973007"/>
              <a:gd name="connsiteX66848" fmla="*/ 2774651 w 6884782"/>
              <a:gd name="connsiteY66848" fmla="*/ 667854 h 5973007"/>
              <a:gd name="connsiteX66849" fmla="*/ 2779365 w 6884782"/>
              <a:gd name="connsiteY66849" fmla="*/ 670087 h 5973007"/>
              <a:gd name="connsiteX66850" fmla="*/ 2775933 w 6884782"/>
              <a:gd name="connsiteY66850" fmla="*/ 670920 h 5973007"/>
              <a:gd name="connsiteX66851" fmla="*/ 2778709 w 6884782"/>
              <a:gd name="connsiteY66851" fmla="*/ 677563 h 5973007"/>
              <a:gd name="connsiteX66852" fmla="*/ 2778938 w 6884782"/>
              <a:gd name="connsiteY66852" fmla="*/ 677627 h 5973007"/>
              <a:gd name="connsiteX66853" fmla="*/ 2793451 w 6884782"/>
              <a:gd name="connsiteY66853" fmla="*/ 686875 h 5973007"/>
              <a:gd name="connsiteX66854" fmla="*/ 2792810 w 6884782"/>
              <a:gd name="connsiteY66854" fmla="*/ 680472 h 5973007"/>
              <a:gd name="connsiteX66855" fmla="*/ 2810524 w 6884782"/>
              <a:gd name="connsiteY66855" fmla="*/ 690004 h 5973007"/>
              <a:gd name="connsiteX66856" fmla="*/ 2820555 w 6884782"/>
              <a:gd name="connsiteY66856" fmla="*/ 683745 h 5973007"/>
              <a:gd name="connsiteX66857" fmla="*/ 2844458 w 6884782"/>
              <a:gd name="connsiteY66857" fmla="*/ 690147 h 5973007"/>
              <a:gd name="connsiteX66858" fmla="*/ 2854489 w 6884782"/>
              <a:gd name="connsiteY66858" fmla="*/ 692707 h 5973007"/>
              <a:gd name="connsiteX66859" fmla="*/ 2855129 w 6884782"/>
              <a:gd name="connsiteY66859" fmla="*/ 690431 h 5973007"/>
              <a:gd name="connsiteX66860" fmla="*/ 2862599 w 6884782"/>
              <a:gd name="connsiteY66860" fmla="*/ 690573 h 5973007"/>
              <a:gd name="connsiteX66861" fmla="*/ 2864946 w 6884782"/>
              <a:gd name="connsiteY66861" fmla="*/ 695553 h 5973007"/>
              <a:gd name="connsiteX66862" fmla="*/ 2869215 w 6884782"/>
              <a:gd name="connsiteY66862" fmla="*/ 696691 h 5973007"/>
              <a:gd name="connsiteX66863" fmla="*/ 2866440 w 6884782"/>
              <a:gd name="connsiteY66863" fmla="*/ 700532 h 5973007"/>
              <a:gd name="connsiteX66864" fmla="*/ 2864733 w 6884782"/>
              <a:gd name="connsiteY66864" fmla="*/ 701243 h 5973007"/>
              <a:gd name="connsiteX66865" fmla="*/ 2863666 w 6884782"/>
              <a:gd name="connsiteY66865" fmla="*/ 703378 h 5973007"/>
              <a:gd name="connsiteX66866" fmla="*/ 2861745 w 6884782"/>
              <a:gd name="connsiteY66866" fmla="*/ 703235 h 5973007"/>
              <a:gd name="connsiteX66867" fmla="*/ 2860678 w 6884782"/>
              <a:gd name="connsiteY66867" fmla="*/ 704089 h 5973007"/>
              <a:gd name="connsiteX66868" fmla="*/ 2861105 w 6884782"/>
              <a:gd name="connsiteY66868" fmla="*/ 708784 h 5973007"/>
              <a:gd name="connsiteX66869" fmla="*/ 2839123 w 6884782"/>
              <a:gd name="connsiteY66869" fmla="*/ 699821 h 5973007"/>
              <a:gd name="connsiteX66870" fmla="*/ 2818421 w 6884782"/>
              <a:gd name="connsiteY66870" fmla="*/ 701813 h 5973007"/>
              <a:gd name="connsiteX66871" fmla="*/ 2817567 w 6884782"/>
              <a:gd name="connsiteY66871" fmla="*/ 695411 h 5973007"/>
              <a:gd name="connsiteX66872" fmla="*/ 2812445 w 6884782"/>
              <a:gd name="connsiteY66872" fmla="*/ 698967 h 5973007"/>
              <a:gd name="connsiteX66873" fmla="*/ 2827171 w 6884782"/>
              <a:gd name="connsiteY66873" fmla="*/ 708642 h 5973007"/>
              <a:gd name="connsiteX66874" fmla="*/ 2843818 w 6884782"/>
              <a:gd name="connsiteY66874" fmla="*/ 706508 h 5973007"/>
              <a:gd name="connsiteX66875" fmla="*/ 2852355 w 6884782"/>
              <a:gd name="connsiteY66875" fmla="*/ 711772 h 5973007"/>
              <a:gd name="connsiteX66876" fmla="*/ 2856196 w 6884782"/>
              <a:gd name="connsiteY66876" fmla="*/ 714190 h 5973007"/>
              <a:gd name="connsiteX66877" fmla="*/ 2857050 w 6884782"/>
              <a:gd name="connsiteY66877" fmla="*/ 713479 h 5973007"/>
              <a:gd name="connsiteX66878" fmla="*/ 2857050 w 6884782"/>
              <a:gd name="connsiteY66878" fmla="*/ 714759 h 5973007"/>
              <a:gd name="connsiteX66879" fmla="*/ 2860251 w 6884782"/>
              <a:gd name="connsiteY66879" fmla="*/ 716751 h 5973007"/>
              <a:gd name="connsiteX66880" fmla="*/ 2857477 w 6884782"/>
              <a:gd name="connsiteY66880" fmla="*/ 722868 h 5973007"/>
              <a:gd name="connsiteX66881" fmla="*/ 2860891 w 6884782"/>
              <a:gd name="connsiteY66881" fmla="*/ 730267 h 5973007"/>
              <a:gd name="connsiteX66882" fmla="*/ 2863026 w 6884782"/>
              <a:gd name="connsiteY66882" fmla="*/ 733823 h 5973007"/>
              <a:gd name="connsiteX66883" fmla="*/ 2865800 w 6884782"/>
              <a:gd name="connsiteY66883" fmla="*/ 735104 h 5973007"/>
              <a:gd name="connsiteX66884" fmla="*/ 2889703 w 6884782"/>
              <a:gd name="connsiteY66884" fmla="*/ 741363 h 5973007"/>
              <a:gd name="connsiteX66885" fmla="*/ 2897813 w 6884782"/>
              <a:gd name="connsiteY66885" fmla="*/ 749188 h 5973007"/>
              <a:gd name="connsiteX66886" fmla="*/ 2903575 w 6884782"/>
              <a:gd name="connsiteY66886" fmla="*/ 753029 h 5973007"/>
              <a:gd name="connsiteX66887" fmla="*/ 2908911 w 6884782"/>
              <a:gd name="connsiteY66887" fmla="*/ 757724 h 5973007"/>
              <a:gd name="connsiteX66888" fmla="*/ 2919795 w 6884782"/>
              <a:gd name="connsiteY66888" fmla="*/ 764838 h 5973007"/>
              <a:gd name="connsiteX66889" fmla="*/ 2920436 w 6884782"/>
              <a:gd name="connsiteY66889" fmla="*/ 764838 h 5973007"/>
              <a:gd name="connsiteX66890" fmla="*/ 2931533 w 6884782"/>
              <a:gd name="connsiteY66890" fmla="*/ 769390 h 5973007"/>
              <a:gd name="connsiteX66891" fmla="*/ 2936656 w 6884782"/>
              <a:gd name="connsiteY66891" fmla="*/ 775934 h 5973007"/>
              <a:gd name="connsiteX66892" fmla="*/ 2954796 w 6884782"/>
              <a:gd name="connsiteY66892" fmla="*/ 788454 h 5973007"/>
              <a:gd name="connsiteX66893" fmla="*/ 2956930 w 6884782"/>
              <a:gd name="connsiteY66893" fmla="*/ 782906 h 5973007"/>
              <a:gd name="connsiteX66894" fmla="*/ 2963973 w 6884782"/>
              <a:gd name="connsiteY66894" fmla="*/ 773516 h 5973007"/>
              <a:gd name="connsiteX66895" fmla="*/ 2965467 w 6884782"/>
              <a:gd name="connsiteY66895" fmla="*/ 773374 h 5973007"/>
              <a:gd name="connsiteX66896" fmla="*/ 2966534 w 6884782"/>
              <a:gd name="connsiteY66896" fmla="*/ 771951 h 5973007"/>
              <a:gd name="connsiteX66897" fmla="*/ 2966321 w 6884782"/>
              <a:gd name="connsiteY66897" fmla="*/ 771666 h 5973007"/>
              <a:gd name="connsiteX66898" fmla="*/ 2966108 w 6884782"/>
              <a:gd name="connsiteY66898" fmla="*/ 770529 h 5973007"/>
              <a:gd name="connsiteX66899" fmla="*/ 2968455 w 6884782"/>
              <a:gd name="connsiteY66899" fmla="*/ 766403 h 5973007"/>
              <a:gd name="connsiteX66900" fmla="*/ 2971443 w 6884782"/>
              <a:gd name="connsiteY66900" fmla="*/ 766687 h 5973007"/>
              <a:gd name="connsiteX66901" fmla="*/ 2975711 w 6884782"/>
              <a:gd name="connsiteY66901" fmla="*/ 772378 h 5973007"/>
              <a:gd name="connsiteX66902" fmla="*/ 2996840 w 6884782"/>
              <a:gd name="connsiteY66902" fmla="*/ 772378 h 5973007"/>
              <a:gd name="connsiteX66903" fmla="*/ 2997267 w 6884782"/>
              <a:gd name="connsiteY66903" fmla="*/ 784470 h 5973007"/>
              <a:gd name="connsiteX66904" fmla="*/ 2977205 w 6884782"/>
              <a:gd name="connsiteY66904" fmla="*/ 791584 h 5973007"/>
              <a:gd name="connsiteX66905" fmla="*/ 2977205 w 6884782"/>
              <a:gd name="connsiteY66905" fmla="*/ 790446 h 5973007"/>
              <a:gd name="connsiteX66906" fmla="*/ 2970589 w 6884782"/>
              <a:gd name="connsiteY66906" fmla="*/ 793291 h 5973007"/>
              <a:gd name="connsiteX66907" fmla="*/ 2969736 w 6884782"/>
              <a:gd name="connsiteY66907" fmla="*/ 792154 h 5973007"/>
              <a:gd name="connsiteX66908" fmla="*/ 2969309 w 6884782"/>
              <a:gd name="connsiteY66908" fmla="*/ 792154 h 5973007"/>
              <a:gd name="connsiteX66909" fmla="*/ 2965467 w 6884782"/>
              <a:gd name="connsiteY66909" fmla="*/ 796279 h 5973007"/>
              <a:gd name="connsiteX66910" fmla="*/ 2965681 w 6884782"/>
              <a:gd name="connsiteY66910" fmla="*/ 796279 h 5973007"/>
              <a:gd name="connsiteX66911" fmla="*/ 2966108 w 6884782"/>
              <a:gd name="connsiteY66911" fmla="*/ 796279 h 5973007"/>
              <a:gd name="connsiteX66912" fmla="*/ 2973791 w 6884782"/>
              <a:gd name="connsiteY66912" fmla="*/ 802255 h 5973007"/>
              <a:gd name="connsiteX66913" fmla="*/ 2974644 w 6884782"/>
              <a:gd name="connsiteY66913" fmla="*/ 804815 h 5973007"/>
              <a:gd name="connsiteX66914" fmla="*/ 2976565 w 6884782"/>
              <a:gd name="connsiteY66914" fmla="*/ 806522 h 5973007"/>
              <a:gd name="connsiteX66915" fmla="*/ 2976138 w 6884782"/>
              <a:gd name="connsiteY66915" fmla="*/ 805384 h 5973007"/>
              <a:gd name="connsiteX66916" fmla="*/ 2975498 w 6884782"/>
              <a:gd name="connsiteY66916" fmla="*/ 803962 h 5973007"/>
              <a:gd name="connsiteX66917" fmla="*/ 2976352 w 6884782"/>
              <a:gd name="connsiteY66917" fmla="*/ 801401 h 5973007"/>
              <a:gd name="connsiteX66918" fmla="*/ 2982541 w 6884782"/>
              <a:gd name="connsiteY66918" fmla="*/ 796279 h 5973007"/>
              <a:gd name="connsiteX66919" fmla="*/ 2986169 w 6884782"/>
              <a:gd name="connsiteY66919" fmla="*/ 804957 h 5973007"/>
              <a:gd name="connsiteX66920" fmla="*/ 2984248 w 6884782"/>
              <a:gd name="connsiteY66920" fmla="*/ 812498 h 5973007"/>
              <a:gd name="connsiteX66921" fmla="*/ 2987450 w 6884782"/>
              <a:gd name="connsiteY66921" fmla="*/ 811217 h 5973007"/>
              <a:gd name="connsiteX66922" fmla="*/ 2991505 w 6884782"/>
              <a:gd name="connsiteY66922" fmla="*/ 814347 h 5973007"/>
              <a:gd name="connsiteX66923" fmla="*/ 2997267 w 6884782"/>
              <a:gd name="connsiteY66923" fmla="*/ 818188 h 5973007"/>
              <a:gd name="connsiteX66924" fmla="*/ 3006657 w 6884782"/>
              <a:gd name="connsiteY66924" fmla="*/ 820038 h 5973007"/>
              <a:gd name="connsiteX66925" fmla="*/ 3000041 w 6884782"/>
              <a:gd name="connsiteY66925" fmla="*/ 822172 h 5973007"/>
              <a:gd name="connsiteX66926" fmla="*/ 3031201 w 6884782"/>
              <a:gd name="connsiteY66926" fmla="*/ 835973 h 5973007"/>
              <a:gd name="connsiteX66927" fmla="*/ 3062147 w 6884782"/>
              <a:gd name="connsiteY66927" fmla="*/ 850768 h 5973007"/>
              <a:gd name="connsiteX66928" fmla="*/ 3057451 w 6884782"/>
              <a:gd name="connsiteY66928" fmla="*/ 837821 h 5973007"/>
              <a:gd name="connsiteX66929" fmla="*/ 3069189 w 6884782"/>
              <a:gd name="connsiteY66929" fmla="*/ 847780 h 5973007"/>
              <a:gd name="connsiteX66930" fmla="*/ 3076659 w 6884782"/>
              <a:gd name="connsiteY66930" fmla="*/ 856316 h 5973007"/>
              <a:gd name="connsiteX66931" fmla="*/ 3079220 w 6884782"/>
              <a:gd name="connsiteY66931" fmla="*/ 854325 h 5973007"/>
              <a:gd name="connsiteX66932" fmla="*/ 3083702 w 6884782"/>
              <a:gd name="connsiteY66932" fmla="*/ 853756 h 5973007"/>
              <a:gd name="connsiteX66933" fmla="*/ 3085196 w 6884782"/>
              <a:gd name="connsiteY66933" fmla="*/ 854467 h 5973007"/>
              <a:gd name="connsiteX66934" fmla="*/ 3079860 w 6884782"/>
              <a:gd name="connsiteY66934" fmla="*/ 856459 h 5973007"/>
              <a:gd name="connsiteX66935" fmla="*/ 3077299 w 6884782"/>
              <a:gd name="connsiteY66935" fmla="*/ 857028 h 5973007"/>
              <a:gd name="connsiteX66936" fmla="*/ 3077726 w 6884782"/>
              <a:gd name="connsiteY66936" fmla="*/ 857597 h 5973007"/>
              <a:gd name="connsiteX66937" fmla="*/ 3087757 w 6884782"/>
              <a:gd name="connsiteY66937" fmla="*/ 864284 h 5973007"/>
              <a:gd name="connsiteX66938" fmla="*/ 3093305 w 6884782"/>
              <a:gd name="connsiteY66938" fmla="*/ 866275 h 5973007"/>
              <a:gd name="connsiteX66939" fmla="*/ 3091172 w 6884782"/>
              <a:gd name="connsiteY66939" fmla="*/ 863999 h 5973007"/>
              <a:gd name="connsiteX66940" fmla="*/ 3098641 w 6884782"/>
              <a:gd name="connsiteY66940" fmla="*/ 858450 h 5973007"/>
              <a:gd name="connsiteX66941" fmla="*/ 3099708 w 6884782"/>
              <a:gd name="connsiteY66941" fmla="*/ 860727 h 5973007"/>
              <a:gd name="connsiteX66942" fmla="*/ 3099281 w 6884782"/>
              <a:gd name="connsiteY66942" fmla="*/ 864852 h 5973007"/>
              <a:gd name="connsiteX66943" fmla="*/ 3096720 w 6884782"/>
              <a:gd name="connsiteY66943" fmla="*/ 867414 h 5973007"/>
              <a:gd name="connsiteX66944" fmla="*/ 3100135 w 6884782"/>
              <a:gd name="connsiteY66944" fmla="*/ 868552 h 5973007"/>
              <a:gd name="connsiteX66945" fmla="*/ 3099708 w 6884782"/>
              <a:gd name="connsiteY66945" fmla="*/ 875096 h 5973007"/>
              <a:gd name="connsiteX66946" fmla="*/ 3101629 w 6884782"/>
              <a:gd name="connsiteY66946" fmla="*/ 881498 h 5973007"/>
              <a:gd name="connsiteX66947" fmla="*/ 3101843 w 6884782"/>
              <a:gd name="connsiteY66947" fmla="*/ 881498 h 5973007"/>
              <a:gd name="connsiteX66948" fmla="*/ 3104190 w 6884782"/>
              <a:gd name="connsiteY66948" fmla="*/ 881356 h 5973007"/>
              <a:gd name="connsiteX66949" fmla="*/ 3112514 w 6884782"/>
              <a:gd name="connsiteY66949" fmla="*/ 881783 h 5973007"/>
              <a:gd name="connsiteX66950" fmla="*/ 3106751 w 6884782"/>
              <a:gd name="connsiteY66950" fmla="*/ 883347 h 5973007"/>
              <a:gd name="connsiteX66951" fmla="*/ 3105257 w 6884782"/>
              <a:gd name="connsiteY66951" fmla="*/ 884201 h 5973007"/>
              <a:gd name="connsiteX66952" fmla="*/ 3105471 w 6884782"/>
              <a:gd name="connsiteY66952" fmla="*/ 884771 h 5973007"/>
              <a:gd name="connsiteX66953" fmla="*/ 3105044 w 6884782"/>
              <a:gd name="connsiteY66953" fmla="*/ 884912 h 5973007"/>
              <a:gd name="connsiteX66954" fmla="*/ 3114007 w 6884782"/>
              <a:gd name="connsiteY66954" fmla="*/ 891172 h 5973007"/>
              <a:gd name="connsiteX66955" fmla="*/ 3123611 w 6884782"/>
              <a:gd name="connsiteY66955" fmla="*/ 901843 h 5973007"/>
              <a:gd name="connsiteX66956" fmla="*/ 3129587 w 6884782"/>
              <a:gd name="connsiteY66956" fmla="*/ 890176 h 5973007"/>
              <a:gd name="connsiteX66957" fmla="*/ 3116995 w 6884782"/>
              <a:gd name="connsiteY66957" fmla="*/ 883205 h 5973007"/>
              <a:gd name="connsiteX66958" fmla="*/ 3118702 w 6884782"/>
              <a:gd name="connsiteY66958" fmla="*/ 883347 h 5973007"/>
              <a:gd name="connsiteX66959" fmla="*/ 3115501 w 6884782"/>
              <a:gd name="connsiteY66959" fmla="*/ 880929 h 5973007"/>
              <a:gd name="connsiteX66960" fmla="*/ 3110379 w 6884782"/>
              <a:gd name="connsiteY66960" fmla="*/ 873816 h 5973007"/>
              <a:gd name="connsiteX66961" fmla="*/ 3116568 w 6884782"/>
              <a:gd name="connsiteY66961" fmla="*/ 868552 h 5973007"/>
              <a:gd name="connsiteX66962" fmla="*/ 3126813 w 6884782"/>
              <a:gd name="connsiteY66962" fmla="*/ 880075 h 5973007"/>
              <a:gd name="connsiteX66963" fmla="*/ 3124252 w 6884782"/>
              <a:gd name="connsiteY66963" fmla="*/ 884059 h 5973007"/>
              <a:gd name="connsiteX66964" fmla="*/ 3128947 w 6884782"/>
              <a:gd name="connsiteY66964" fmla="*/ 886193 h 5973007"/>
              <a:gd name="connsiteX66965" fmla="*/ 3141112 w 6884782"/>
              <a:gd name="connsiteY66965" fmla="*/ 888611 h 5973007"/>
              <a:gd name="connsiteX66966" fmla="*/ 3132361 w 6884782"/>
              <a:gd name="connsiteY66966" fmla="*/ 891030 h 5973007"/>
              <a:gd name="connsiteX66967" fmla="*/ 3128520 w 6884782"/>
              <a:gd name="connsiteY66967" fmla="*/ 897575 h 5973007"/>
              <a:gd name="connsiteX66968" fmla="*/ 3129373 w 6884782"/>
              <a:gd name="connsiteY66968" fmla="*/ 902269 h 5973007"/>
              <a:gd name="connsiteX66969" fmla="*/ 3134282 w 6884782"/>
              <a:gd name="connsiteY66969" fmla="*/ 901843 h 5973007"/>
              <a:gd name="connsiteX66970" fmla="*/ 3138977 w 6884782"/>
              <a:gd name="connsiteY66970" fmla="*/ 904546 h 5973007"/>
              <a:gd name="connsiteX66971" fmla="*/ 3139618 w 6884782"/>
              <a:gd name="connsiteY66971" fmla="*/ 906538 h 5973007"/>
              <a:gd name="connsiteX66972" fmla="*/ 3146234 w 6884782"/>
              <a:gd name="connsiteY66972" fmla="*/ 906538 h 5973007"/>
              <a:gd name="connsiteX66973" fmla="*/ 3153490 w 6884782"/>
              <a:gd name="connsiteY66973" fmla="*/ 907961 h 5973007"/>
              <a:gd name="connsiteX66974" fmla="*/ 3148368 w 6884782"/>
              <a:gd name="connsiteY66974" fmla="*/ 915358 h 5973007"/>
              <a:gd name="connsiteX66975" fmla="*/ 3146874 w 6884782"/>
              <a:gd name="connsiteY66975" fmla="*/ 924037 h 5973007"/>
              <a:gd name="connsiteX66976" fmla="*/ 3157331 w 6884782"/>
              <a:gd name="connsiteY66976" fmla="*/ 924321 h 5973007"/>
              <a:gd name="connsiteX66977" fmla="*/ 3160319 w 6884782"/>
              <a:gd name="connsiteY66977" fmla="*/ 925744 h 5973007"/>
              <a:gd name="connsiteX66978" fmla="*/ 3159679 w 6884782"/>
              <a:gd name="connsiteY66978" fmla="*/ 908529 h 5973007"/>
              <a:gd name="connsiteX66979" fmla="*/ 3165014 w 6884782"/>
              <a:gd name="connsiteY66979" fmla="*/ 888611 h 5973007"/>
              <a:gd name="connsiteX66980" fmla="*/ 3171417 w 6884782"/>
              <a:gd name="connsiteY66980" fmla="*/ 885482 h 5973007"/>
              <a:gd name="connsiteX66981" fmla="*/ 3186570 w 6884782"/>
              <a:gd name="connsiteY66981" fmla="*/ 887189 h 5973007"/>
              <a:gd name="connsiteX66982" fmla="*/ 3194467 w 6884782"/>
              <a:gd name="connsiteY66982" fmla="*/ 890888 h 5973007"/>
              <a:gd name="connsiteX66983" fmla="*/ 3203644 w 6884782"/>
              <a:gd name="connsiteY66983" fmla="*/ 884628 h 5973007"/>
              <a:gd name="connsiteX66984" fmla="*/ 3203430 w 6884782"/>
              <a:gd name="connsiteY66984" fmla="*/ 884059 h 5973007"/>
              <a:gd name="connsiteX66985" fmla="*/ 3205138 w 6884782"/>
              <a:gd name="connsiteY66985" fmla="*/ 876661 h 5973007"/>
              <a:gd name="connsiteX66986" fmla="*/ 3206418 w 6884782"/>
              <a:gd name="connsiteY66986" fmla="*/ 875665 h 5973007"/>
              <a:gd name="connsiteX66987" fmla="*/ 3200229 w 6884782"/>
              <a:gd name="connsiteY66987" fmla="*/ 867271 h 5973007"/>
              <a:gd name="connsiteX66988" fmla="*/ 3182942 w 6884782"/>
              <a:gd name="connsiteY66988" fmla="*/ 848492 h 5973007"/>
              <a:gd name="connsiteX66989" fmla="*/ 3203430 w 6884782"/>
              <a:gd name="connsiteY66989" fmla="*/ 860727 h 5973007"/>
              <a:gd name="connsiteX66990" fmla="*/ 3204924 w 6884782"/>
              <a:gd name="connsiteY66990" fmla="*/ 861438 h 5973007"/>
              <a:gd name="connsiteX66991" fmla="*/ 3205138 w 6884782"/>
              <a:gd name="connsiteY66991" fmla="*/ 860727 h 5973007"/>
              <a:gd name="connsiteX66992" fmla="*/ 3204070 w 6884782"/>
              <a:gd name="connsiteY66992" fmla="*/ 860158 h 5973007"/>
              <a:gd name="connsiteX66993" fmla="*/ 3204711 w 6884782"/>
              <a:gd name="connsiteY66993" fmla="*/ 856601 h 5973007"/>
              <a:gd name="connsiteX66994" fmla="*/ 3204924 w 6884782"/>
              <a:gd name="connsiteY66994" fmla="*/ 856459 h 5973007"/>
              <a:gd name="connsiteX66995" fmla="*/ 3199162 w 6884782"/>
              <a:gd name="connsiteY66995" fmla="*/ 850484 h 5973007"/>
              <a:gd name="connsiteX66996" fmla="*/ 3188064 w 6884782"/>
              <a:gd name="connsiteY66996" fmla="*/ 839671 h 5973007"/>
              <a:gd name="connsiteX66997" fmla="*/ 3176113 w 6884782"/>
              <a:gd name="connsiteY66997" fmla="*/ 830993 h 5973007"/>
              <a:gd name="connsiteX66998" fmla="*/ 3173125 w 6884782"/>
              <a:gd name="connsiteY66998" fmla="*/ 829712 h 5973007"/>
              <a:gd name="connsiteX66999" fmla="*/ 3172484 w 6884782"/>
              <a:gd name="connsiteY66999" fmla="*/ 833554 h 5973007"/>
              <a:gd name="connsiteX67000" fmla="*/ 3166082 w 6884782"/>
              <a:gd name="connsiteY67000" fmla="*/ 828859 h 5973007"/>
              <a:gd name="connsiteX67001" fmla="*/ 3166509 w 6884782"/>
              <a:gd name="connsiteY67001" fmla="*/ 827152 h 5973007"/>
              <a:gd name="connsiteX67002" fmla="*/ 3165014 w 6884782"/>
              <a:gd name="connsiteY67002" fmla="*/ 826440 h 5973007"/>
              <a:gd name="connsiteX67003" fmla="*/ 3163734 w 6884782"/>
              <a:gd name="connsiteY67003" fmla="*/ 829001 h 5973007"/>
              <a:gd name="connsiteX67004" fmla="*/ 3145380 w 6884782"/>
              <a:gd name="connsiteY67004" fmla="*/ 829854 h 5973007"/>
              <a:gd name="connsiteX67005" fmla="*/ 3153703 w 6884782"/>
              <a:gd name="connsiteY67005" fmla="*/ 823452 h 5973007"/>
              <a:gd name="connsiteX67006" fmla="*/ 3159039 w 6884782"/>
              <a:gd name="connsiteY67006" fmla="*/ 817051 h 5973007"/>
              <a:gd name="connsiteX67007" fmla="*/ 3156265 w 6884782"/>
              <a:gd name="connsiteY67007" fmla="*/ 812498 h 5973007"/>
              <a:gd name="connsiteX67008" fmla="*/ 3145594 w 6884782"/>
              <a:gd name="connsiteY67008" fmla="*/ 799694 h 5973007"/>
              <a:gd name="connsiteX67009" fmla="*/ 3119983 w 6884782"/>
              <a:gd name="connsiteY67009" fmla="*/ 778211 h 5973007"/>
              <a:gd name="connsiteX67010" fmla="*/ 3106964 w 6884782"/>
              <a:gd name="connsiteY67010" fmla="*/ 768821 h 5973007"/>
              <a:gd name="connsiteX67011" fmla="*/ 3106111 w 6884782"/>
              <a:gd name="connsiteY67011" fmla="*/ 777642 h 5973007"/>
              <a:gd name="connsiteX67012" fmla="*/ 3087970 w 6884782"/>
              <a:gd name="connsiteY67012" fmla="*/ 802965 h 5973007"/>
              <a:gd name="connsiteX67013" fmla="*/ 3024798 w 6884782"/>
              <a:gd name="connsiteY67013" fmla="*/ 803393 h 5973007"/>
              <a:gd name="connsiteX67014" fmla="*/ 3010499 w 6884782"/>
              <a:gd name="connsiteY67014" fmla="*/ 758293 h 5973007"/>
              <a:gd name="connsiteX67015" fmla="*/ 3017542 w 6884782"/>
              <a:gd name="connsiteY67015" fmla="*/ 751749 h 5973007"/>
              <a:gd name="connsiteX67016" fmla="*/ 3019889 w 6884782"/>
              <a:gd name="connsiteY67016" fmla="*/ 747481 h 5973007"/>
              <a:gd name="connsiteX67017" fmla="*/ 3019249 w 6884782"/>
              <a:gd name="connsiteY67017" fmla="*/ 745205 h 5973007"/>
              <a:gd name="connsiteX67018" fmla="*/ 3021383 w 6884782"/>
              <a:gd name="connsiteY67018" fmla="*/ 744208 h 5973007"/>
              <a:gd name="connsiteX67019" fmla="*/ 3022877 w 6884782"/>
              <a:gd name="connsiteY67019" fmla="*/ 736953 h 5973007"/>
              <a:gd name="connsiteX67020" fmla="*/ 3022451 w 6884782"/>
              <a:gd name="connsiteY67020" fmla="*/ 736811 h 5973007"/>
              <a:gd name="connsiteX67021" fmla="*/ 3007937 w 6884782"/>
              <a:gd name="connsiteY67021" fmla="*/ 728132 h 5973007"/>
              <a:gd name="connsiteX67022" fmla="*/ 3004950 w 6884782"/>
              <a:gd name="connsiteY67022" fmla="*/ 733823 h 5973007"/>
              <a:gd name="connsiteX67023" fmla="*/ 2997053 w 6884782"/>
              <a:gd name="connsiteY67023" fmla="*/ 742217 h 5973007"/>
              <a:gd name="connsiteX67024" fmla="*/ 2987663 w 6884782"/>
              <a:gd name="connsiteY67024" fmla="*/ 736526 h 5973007"/>
              <a:gd name="connsiteX67025" fmla="*/ 2995986 w 6884782"/>
              <a:gd name="connsiteY67025" fmla="*/ 729697 h 5973007"/>
              <a:gd name="connsiteX67026" fmla="*/ 2999614 w 6884782"/>
              <a:gd name="connsiteY67026" fmla="*/ 723153 h 5973007"/>
              <a:gd name="connsiteX67027" fmla="*/ 2997480 w 6884782"/>
              <a:gd name="connsiteY67027" fmla="*/ 721873 h 5973007"/>
              <a:gd name="connsiteX67028" fmla="*/ 2992358 w 6884782"/>
              <a:gd name="connsiteY67028" fmla="*/ 718885 h 5973007"/>
              <a:gd name="connsiteX67029" fmla="*/ 2991931 w 6884782"/>
              <a:gd name="connsiteY67029" fmla="*/ 719027 h 5973007"/>
              <a:gd name="connsiteX67030" fmla="*/ 2986595 w 6884782"/>
              <a:gd name="connsiteY67030" fmla="*/ 717889 h 5973007"/>
              <a:gd name="connsiteX67031" fmla="*/ 2985529 w 6884782"/>
              <a:gd name="connsiteY67031" fmla="*/ 715044 h 5973007"/>
              <a:gd name="connsiteX67032" fmla="*/ 2975711 w 6884782"/>
              <a:gd name="connsiteY67032" fmla="*/ 709780 h 5973007"/>
              <a:gd name="connsiteX67033" fmla="*/ 2974858 w 6884782"/>
              <a:gd name="connsiteY67033" fmla="*/ 709637 h 5973007"/>
              <a:gd name="connsiteX67034" fmla="*/ 2974431 w 6884782"/>
              <a:gd name="connsiteY67034" fmla="*/ 709068 h 5973007"/>
              <a:gd name="connsiteX67035" fmla="*/ 2970803 w 6884782"/>
              <a:gd name="connsiteY67035" fmla="*/ 707077 h 5973007"/>
              <a:gd name="connsiteX67036" fmla="*/ 2944979 w 6884782"/>
              <a:gd name="connsiteY67036" fmla="*/ 694130 h 5973007"/>
              <a:gd name="connsiteX67037" fmla="*/ 2937509 w 6884782"/>
              <a:gd name="connsiteY67037" fmla="*/ 692565 h 5973007"/>
              <a:gd name="connsiteX67038" fmla="*/ 2930893 w 6884782"/>
              <a:gd name="connsiteY67038" fmla="*/ 691285 h 5973007"/>
              <a:gd name="connsiteX67039" fmla="*/ 2931320 w 6884782"/>
              <a:gd name="connsiteY67039" fmla="*/ 691854 h 5973007"/>
              <a:gd name="connsiteX67040" fmla="*/ 2924491 w 6884782"/>
              <a:gd name="connsiteY67040" fmla="*/ 701813 h 5973007"/>
              <a:gd name="connsiteX67041" fmla="*/ 2921716 w 6884782"/>
              <a:gd name="connsiteY67041" fmla="*/ 688297 h 5973007"/>
              <a:gd name="connsiteX67042" fmla="*/ 2923424 w 6884782"/>
              <a:gd name="connsiteY67042" fmla="*/ 687443 h 5973007"/>
              <a:gd name="connsiteX67043" fmla="*/ 2922997 w 6884782"/>
              <a:gd name="connsiteY67043" fmla="*/ 687159 h 5973007"/>
              <a:gd name="connsiteX67044" fmla="*/ 2922357 w 6884782"/>
              <a:gd name="connsiteY67044" fmla="*/ 678765 h 5973007"/>
              <a:gd name="connsiteX67045" fmla="*/ 2903575 w 6884782"/>
              <a:gd name="connsiteY67045" fmla="*/ 674497 h 5973007"/>
              <a:gd name="connsiteX67046" fmla="*/ 2901441 w 6884782"/>
              <a:gd name="connsiteY67046" fmla="*/ 675209 h 5973007"/>
              <a:gd name="connsiteX67047" fmla="*/ 2901228 w 6884782"/>
              <a:gd name="connsiteY67047" fmla="*/ 675351 h 5973007"/>
              <a:gd name="connsiteX67048" fmla="*/ 2901015 w 6884782"/>
              <a:gd name="connsiteY67048" fmla="*/ 675351 h 5973007"/>
              <a:gd name="connsiteX67049" fmla="*/ 2899307 w 6884782"/>
              <a:gd name="connsiteY67049" fmla="*/ 675919 h 5973007"/>
              <a:gd name="connsiteX67050" fmla="*/ 2898453 w 6884782"/>
              <a:gd name="connsiteY67050" fmla="*/ 674782 h 5973007"/>
              <a:gd name="connsiteX67051" fmla="*/ 2894825 w 6884782"/>
              <a:gd name="connsiteY67051" fmla="*/ 673928 h 5973007"/>
              <a:gd name="connsiteX67052" fmla="*/ 2893331 w 6884782"/>
              <a:gd name="connsiteY67052" fmla="*/ 671509 h 5973007"/>
              <a:gd name="connsiteX67053" fmla="*/ 2891837 w 6884782"/>
              <a:gd name="connsiteY67053" fmla="*/ 667383 h 5973007"/>
              <a:gd name="connsiteX67054" fmla="*/ 2888636 w 6884782"/>
              <a:gd name="connsiteY67054" fmla="*/ 666388 h 5973007"/>
              <a:gd name="connsiteX67055" fmla="*/ 2888636 w 6884782"/>
              <a:gd name="connsiteY67055" fmla="*/ 668380 h 5973007"/>
              <a:gd name="connsiteX67056" fmla="*/ 2884154 w 6884782"/>
              <a:gd name="connsiteY67056" fmla="*/ 670371 h 5973007"/>
              <a:gd name="connsiteX67057" fmla="*/ 2881807 w 6884782"/>
              <a:gd name="connsiteY67057" fmla="*/ 668664 h 5973007"/>
              <a:gd name="connsiteX67058" fmla="*/ 2881807 w 6884782"/>
              <a:gd name="connsiteY67058" fmla="*/ 670798 h 5973007"/>
              <a:gd name="connsiteX67059" fmla="*/ 2878392 w 6884782"/>
              <a:gd name="connsiteY67059" fmla="*/ 675777 h 5973007"/>
              <a:gd name="connsiteX67060" fmla="*/ 2870709 w 6884782"/>
              <a:gd name="connsiteY67060" fmla="*/ 669090 h 5973007"/>
              <a:gd name="connsiteX67061" fmla="*/ 2866440 w 6884782"/>
              <a:gd name="connsiteY67061" fmla="*/ 666672 h 5973007"/>
              <a:gd name="connsiteX67062" fmla="*/ 2861318 w 6884782"/>
              <a:gd name="connsiteY67062" fmla="*/ 677200 h 5973007"/>
              <a:gd name="connsiteX67063" fmla="*/ 2863453 w 6884782"/>
              <a:gd name="connsiteY67063" fmla="*/ 681895 h 5973007"/>
              <a:gd name="connsiteX67064" fmla="*/ 2860465 w 6884782"/>
              <a:gd name="connsiteY67064" fmla="*/ 686590 h 5973007"/>
              <a:gd name="connsiteX67065" fmla="*/ 2857690 w 6884782"/>
              <a:gd name="connsiteY67065" fmla="*/ 682322 h 5973007"/>
              <a:gd name="connsiteX67066" fmla="*/ 2848940 w 6884782"/>
              <a:gd name="connsiteY67066" fmla="*/ 690573 h 5973007"/>
              <a:gd name="connsiteX67067" fmla="*/ 2845739 w 6884782"/>
              <a:gd name="connsiteY67067" fmla="*/ 673928 h 5973007"/>
              <a:gd name="connsiteX67068" fmla="*/ 2849580 w 6884782"/>
              <a:gd name="connsiteY67068" fmla="*/ 657282 h 5973007"/>
              <a:gd name="connsiteX67069" fmla="*/ 2831013 w 6884782"/>
              <a:gd name="connsiteY67069" fmla="*/ 650596 h 5973007"/>
              <a:gd name="connsiteX67070" fmla="*/ 2807750 w 6884782"/>
              <a:gd name="connsiteY67070" fmla="*/ 645332 h 5973007"/>
              <a:gd name="connsiteX67071" fmla="*/ 2806896 w 6884782"/>
              <a:gd name="connsiteY67071" fmla="*/ 648035 h 5973007"/>
              <a:gd name="connsiteX67072" fmla="*/ 2801561 w 6884782"/>
              <a:gd name="connsiteY67072" fmla="*/ 652018 h 5973007"/>
              <a:gd name="connsiteX67073" fmla="*/ 2796865 w 6884782"/>
              <a:gd name="connsiteY67073" fmla="*/ 651592 h 5973007"/>
              <a:gd name="connsiteX67074" fmla="*/ 2794518 w 6884782"/>
              <a:gd name="connsiteY67074" fmla="*/ 651592 h 5973007"/>
              <a:gd name="connsiteX67075" fmla="*/ 2793665 w 6884782"/>
              <a:gd name="connsiteY67075" fmla="*/ 671225 h 5973007"/>
              <a:gd name="connsiteX67076" fmla="*/ 2780859 w 6884782"/>
              <a:gd name="connsiteY67076" fmla="*/ 668380 h 5973007"/>
              <a:gd name="connsiteX67077" fmla="*/ 2783207 w 6884782"/>
              <a:gd name="connsiteY67077" fmla="*/ 641775 h 5973007"/>
              <a:gd name="connsiteX67078" fmla="*/ 2776164 w 6884782"/>
              <a:gd name="connsiteY67078" fmla="*/ 641064 h 5973007"/>
              <a:gd name="connsiteX67079" fmla="*/ 2758023 w 6884782"/>
              <a:gd name="connsiteY67079" fmla="*/ 630251 h 5973007"/>
              <a:gd name="connsiteX67080" fmla="*/ 2088739 w 6884782"/>
              <a:gd name="connsiteY67080" fmla="*/ 627975 h 5973007"/>
              <a:gd name="connsiteX67081" fmla="*/ 2096209 w 6884782"/>
              <a:gd name="connsiteY67081" fmla="*/ 635089 h 5973007"/>
              <a:gd name="connsiteX67082" fmla="*/ 2090659 w 6884782"/>
              <a:gd name="connsiteY67082" fmla="*/ 641064 h 5973007"/>
              <a:gd name="connsiteX67083" fmla="*/ 2087032 w 6884782"/>
              <a:gd name="connsiteY67083" fmla="*/ 640352 h 5973007"/>
              <a:gd name="connsiteX67084" fmla="*/ 2081269 w 6884782"/>
              <a:gd name="connsiteY67084" fmla="*/ 635800 h 5973007"/>
              <a:gd name="connsiteX67085" fmla="*/ 2080842 w 6884782"/>
              <a:gd name="connsiteY67085" fmla="*/ 636796 h 5973007"/>
              <a:gd name="connsiteX67086" fmla="*/ 2082550 w 6884782"/>
              <a:gd name="connsiteY67086" fmla="*/ 629967 h 5973007"/>
              <a:gd name="connsiteX67087" fmla="*/ 2088739 w 6884782"/>
              <a:gd name="connsiteY67087" fmla="*/ 627975 h 5973007"/>
              <a:gd name="connsiteX67088" fmla="*/ 3022023 w 6884782"/>
              <a:gd name="connsiteY67088" fmla="*/ 627121 h 5973007"/>
              <a:gd name="connsiteX67089" fmla="*/ 3021810 w 6884782"/>
              <a:gd name="connsiteY67089" fmla="*/ 648462 h 5973007"/>
              <a:gd name="connsiteX67090" fmla="*/ 3018182 w 6884782"/>
              <a:gd name="connsiteY67090" fmla="*/ 647181 h 5973007"/>
              <a:gd name="connsiteX67091" fmla="*/ 3017542 w 6884782"/>
              <a:gd name="connsiteY67091" fmla="*/ 647608 h 5973007"/>
              <a:gd name="connsiteX67092" fmla="*/ 3008792 w 6884782"/>
              <a:gd name="connsiteY67092" fmla="*/ 640352 h 5973007"/>
              <a:gd name="connsiteX67093" fmla="*/ 3013913 w 6884782"/>
              <a:gd name="connsiteY67093" fmla="*/ 634235 h 5973007"/>
              <a:gd name="connsiteX67094" fmla="*/ 3014767 w 6884782"/>
              <a:gd name="connsiteY67094" fmla="*/ 634804 h 5973007"/>
              <a:gd name="connsiteX67095" fmla="*/ 3015408 w 6884782"/>
              <a:gd name="connsiteY67095" fmla="*/ 633239 h 5973007"/>
              <a:gd name="connsiteX67096" fmla="*/ 3022023 w 6884782"/>
              <a:gd name="connsiteY67096" fmla="*/ 627121 h 5973007"/>
              <a:gd name="connsiteX67097" fmla="*/ 2222340 w 6884782"/>
              <a:gd name="connsiteY67097" fmla="*/ 623280 h 5973007"/>
              <a:gd name="connsiteX67098" fmla="*/ 2227888 w 6884782"/>
              <a:gd name="connsiteY67098" fmla="*/ 626837 h 5973007"/>
              <a:gd name="connsiteX67099" fmla="*/ 2228102 w 6884782"/>
              <a:gd name="connsiteY67099" fmla="*/ 629967 h 5973007"/>
              <a:gd name="connsiteX67100" fmla="*/ 2227248 w 6884782"/>
              <a:gd name="connsiteY67100" fmla="*/ 630536 h 5973007"/>
              <a:gd name="connsiteX67101" fmla="*/ 2223406 w 6884782"/>
              <a:gd name="connsiteY67101" fmla="*/ 632955 h 5973007"/>
              <a:gd name="connsiteX67102" fmla="*/ 2218285 w 6884782"/>
              <a:gd name="connsiteY67102" fmla="*/ 628971 h 5973007"/>
              <a:gd name="connsiteX67103" fmla="*/ 2222340 w 6884782"/>
              <a:gd name="connsiteY67103" fmla="*/ 623280 h 5973007"/>
              <a:gd name="connsiteX67104" fmla="*/ 1853953 w 6884782"/>
              <a:gd name="connsiteY67104" fmla="*/ 623274 h 5973007"/>
              <a:gd name="connsiteX67105" fmla="*/ 1856857 w 6884782"/>
              <a:gd name="connsiteY67105" fmla="*/ 635407 h 5973007"/>
              <a:gd name="connsiteX67106" fmla="*/ 1849113 w 6884782"/>
              <a:gd name="connsiteY67106" fmla="*/ 625958 h 5973007"/>
              <a:gd name="connsiteX67107" fmla="*/ 1853953 w 6884782"/>
              <a:gd name="connsiteY67107" fmla="*/ 623274 h 5973007"/>
              <a:gd name="connsiteX67108" fmla="*/ 3086049 w 6884782"/>
              <a:gd name="connsiteY67108" fmla="*/ 620008 h 5973007"/>
              <a:gd name="connsiteX67109" fmla="*/ 3117849 w 6884782"/>
              <a:gd name="connsiteY67109" fmla="*/ 660270 h 5973007"/>
              <a:gd name="connsiteX67110" fmla="*/ 3094373 w 6884782"/>
              <a:gd name="connsiteY67110" fmla="*/ 658136 h 5973007"/>
              <a:gd name="connsiteX67111" fmla="*/ 3075805 w 6884782"/>
              <a:gd name="connsiteY67111" fmla="*/ 623138 h 5973007"/>
              <a:gd name="connsiteX67112" fmla="*/ 3078366 w 6884782"/>
              <a:gd name="connsiteY67112" fmla="*/ 620862 h 5973007"/>
              <a:gd name="connsiteX67113" fmla="*/ 3086049 w 6884782"/>
              <a:gd name="connsiteY67113" fmla="*/ 620008 h 5973007"/>
              <a:gd name="connsiteX67114" fmla="*/ 3275993 w 6884782"/>
              <a:gd name="connsiteY67114" fmla="*/ 619297 h 5973007"/>
              <a:gd name="connsiteX67115" fmla="*/ 3278554 w 6884782"/>
              <a:gd name="connsiteY67115" fmla="*/ 622711 h 5973007"/>
              <a:gd name="connsiteX67116" fmla="*/ 3278554 w 6884782"/>
              <a:gd name="connsiteY67116" fmla="*/ 629825 h 5973007"/>
              <a:gd name="connsiteX67117" fmla="*/ 3276633 w 6884782"/>
              <a:gd name="connsiteY67117" fmla="*/ 632812 h 5973007"/>
              <a:gd name="connsiteX67118" fmla="*/ 3277274 w 6884782"/>
              <a:gd name="connsiteY67118" fmla="*/ 634235 h 5973007"/>
              <a:gd name="connsiteX67119" fmla="*/ 3264682 w 6884782"/>
              <a:gd name="connsiteY67119" fmla="*/ 630393 h 5973007"/>
              <a:gd name="connsiteX67120" fmla="*/ 3268737 w 6884782"/>
              <a:gd name="connsiteY67120" fmla="*/ 623707 h 5973007"/>
              <a:gd name="connsiteX67121" fmla="*/ 3271724 w 6884782"/>
              <a:gd name="connsiteY67121" fmla="*/ 624988 h 5973007"/>
              <a:gd name="connsiteX67122" fmla="*/ 3271938 w 6884782"/>
              <a:gd name="connsiteY67122" fmla="*/ 625272 h 5973007"/>
              <a:gd name="connsiteX67123" fmla="*/ 3416637 w 6884782"/>
              <a:gd name="connsiteY67123" fmla="*/ 619154 h 5973007"/>
              <a:gd name="connsiteX67124" fmla="*/ 3431576 w 6884782"/>
              <a:gd name="connsiteY67124" fmla="*/ 651307 h 5973007"/>
              <a:gd name="connsiteX67125" fmla="*/ 3422612 w 6884782"/>
              <a:gd name="connsiteY67125" fmla="*/ 657994 h 5973007"/>
              <a:gd name="connsiteX67126" fmla="*/ 3409594 w 6884782"/>
              <a:gd name="connsiteY67126" fmla="*/ 627121 h 5973007"/>
              <a:gd name="connsiteX67127" fmla="*/ 3416637 w 6884782"/>
              <a:gd name="connsiteY67127" fmla="*/ 619154 h 5973007"/>
              <a:gd name="connsiteX67128" fmla="*/ 3187851 w 6884782"/>
              <a:gd name="connsiteY67128" fmla="*/ 619012 h 5973007"/>
              <a:gd name="connsiteX67129" fmla="*/ 3190625 w 6884782"/>
              <a:gd name="connsiteY67129" fmla="*/ 621146 h 5973007"/>
              <a:gd name="connsiteX67130" fmla="*/ 3187424 w 6884782"/>
              <a:gd name="connsiteY67130" fmla="*/ 624418 h 5973007"/>
              <a:gd name="connsiteX67131" fmla="*/ 3185930 w 6884782"/>
              <a:gd name="connsiteY67131" fmla="*/ 619724 h 5973007"/>
              <a:gd name="connsiteX67132" fmla="*/ 3187851 w 6884782"/>
              <a:gd name="connsiteY67132" fmla="*/ 619012 h 5973007"/>
              <a:gd name="connsiteX67133" fmla="*/ 3690667 w 6884782"/>
              <a:gd name="connsiteY67133" fmla="*/ 618585 h 5973007"/>
              <a:gd name="connsiteX67134" fmla="*/ 3692375 w 6884782"/>
              <a:gd name="connsiteY67134" fmla="*/ 620008 h 5973007"/>
              <a:gd name="connsiteX67135" fmla="*/ 3693655 w 6884782"/>
              <a:gd name="connsiteY67135" fmla="*/ 621146 h 5973007"/>
              <a:gd name="connsiteX67136" fmla="*/ 3693229 w 6884782"/>
              <a:gd name="connsiteY67136" fmla="*/ 622284 h 5973007"/>
              <a:gd name="connsiteX67137" fmla="*/ 3688747 w 6884782"/>
              <a:gd name="connsiteY67137" fmla="*/ 623280 h 5973007"/>
              <a:gd name="connsiteX67138" fmla="*/ 3688960 w 6884782"/>
              <a:gd name="connsiteY67138" fmla="*/ 621004 h 5973007"/>
              <a:gd name="connsiteX67139" fmla="*/ 3687893 w 6884782"/>
              <a:gd name="connsiteY67139" fmla="*/ 621004 h 5973007"/>
              <a:gd name="connsiteX67140" fmla="*/ 3689174 w 6884782"/>
              <a:gd name="connsiteY67140" fmla="*/ 618870 h 5973007"/>
              <a:gd name="connsiteX67141" fmla="*/ 3690241 w 6884782"/>
              <a:gd name="connsiteY67141" fmla="*/ 618870 h 5973007"/>
              <a:gd name="connsiteX67142" fmla="*/ 3690667 w 6884782"/>
              <a:gd name="connsiteY67142" fmla="*/ 618585 h 5973007"/>
              <a:gd name="connsiteX67143" fmla="*/ 3027146 w 6884782"/>
              <a:gd name="connsiteY67143" fmla="*/ 617732 h 5973007"/>
              <a:gd name="connsiteX67144" fmla="*/ 3036749 w 6884782"/>
              <a:gd name="connsiteY67144" fmla="*/ 624418 h 5973007"/>
              <a:gd name="connsiteX67145" fmla="*/ 3027146 w 6884782"/>
              <a:gd name="connsiteY67145" fmla="*/ 617732 h 5973007"/>
              <a:gd name="connsiteX67146" fmla="*/ 3076018 w 6884782"/>
              <a:gd name="connsiteY67146" fmla="*/ 617020 h 5973007"/>
              <a:gd name="connsiteX67147" fmla="*/ 3080927 w 6884782"/>
              <a:gd name="connsiteY67147" fmla="*/ 617020 h 5973007"/>
              <a:gd name="connsiteX67148" fmla="*/ 3084129 w 6884782"/>
              <a:gd name="connsiteY67148" fmla="*/ 619297 h 5973007"/>
              <a:gd name="connsiteX67149" fmla="*/ 3076018 w 6884782"/>
              <a:gd name="connsiteY67149" fmla="*/ 617020 h 5973007"/>
              <a:gd name="connsiteX67150" fmla="*/ 3583317 w 6884782"/>
              <a:gd name="connsiteY67150" fmla="*/ 613464 h 5973007"/>
              <a:gd name="connsiteX67151" fmla="*/ 3588013 w 6884782"/>
              <a:gd name="connsiteY67151" fmla="*/ 614317 h 5973007"/>
              <a:gd name="connsiteX67152" fmla="*/ 3591641 w 6884782"/>
              <a:gd name="connsiteY67152" fmla="*/ 622426 h 5973007"/>
              <a:gd name="connsiteX67153" fmla="*/ 3576915 w 6884782"/>
              <a:gd name="connsiteY67153" fmla="*/ 621715 h 5973007"/>
              <a:gd name="connsiteX67154" fmla="*/ 3583317 w 6884782"/>
              <a:gd name="connsiteY67154" fmla="*/ 613464 h 5973007"/>
              <a:gd name="connsiteX67155" fmla="*/ 1874514 w 6884782"/>
              <a:gd name="connsiteY67155" fmla="*/ 612637 h 5973007"/>
              <a:gd name="connsiteX67156" fmla="*/ 1889692 w 6884782"/>
              <a:gd name="connsiteY67156" fmla="*/ 628592 h 5973007"/>
              <a:gd name="connsiteX67157" fmla="*/ 1873481 w 6884782"/>
              <a:gd name="connsiteY67157" fmla="*/ 619298 h 5973007"/>
              <a:gd name="connsiteX67158" fmla="*/ 1873378 w 6884782"/>
              <a:gd name="connsiteY67158" fmla="*/ 615890 h 5973007"/>
              <a:gd name="connsiteX67159" fmla="*/ 1874514 w 6884782"/>
              <a:gd name="connsiteY67159" fmla="*/ 612637 h 5973007"/>
              <a:gd name="connsiteX67160" fmla="*/ 3240352 w 6884782"/>
              <a:gd name="connsiteY67160" fmla="*/ 611756 h 5973007"/>
              <a:gd name="connsiteX67161" fmla="*/ 3255505 w 6884782"/>
              <a:gd name="connsiteY67161" fmla="*/ 623849 h 5973007"/>
              <a:gd name="connsiteX67162" fmla="*/ 3238431 w 6884782"/>
              <a:gd name="connsiteY67162" fmla="*/ 625983 h 5973007"/>
              <a:gd name="connsiteX67163" fmla="*/ 3238858 w 6884782"/>
              <a:gd name="connsiteY67163" fmla="*/ 625983 h 5973007"/>
              <a:gd name="connsiteX67164" fmla="*/ 3239711 w 6884782"/>
              <a:gd name="connsiteY67164" fmla="*/ 632101 h 5973007"/>
              <a:gd name="connsiteX67165" fmla="*/ 3235657 w 6884782"/>
              <a:gd name="connsiteY67165" fmla="*/ 637222 h 5973007"/>
              <a:gd name="connsiteX67166" fmla="*/ 3235016 w 6884782"/>
              <a:gd name="connsiteY67166" fmla="*/ 640921 h 5973007"/>
              <a:gd name="connsiteX67167" fmla="*/ 3233949 w 6884782"/>
              <a:gd name="connsiteY67167" fmla="*/ 640921 h 5973007"/>
              <a:gd name="connsiteX67168" fmla="*/ 3233523 w 6884782"/>
              <a:gd name="connsiteY67168" fmla="*/ 633239 h 5973007"/>
              <a:gd name="connsiteX67169" fmla="*/ 3234163 w 6884782"/>
              <a:gd name="connsiteY67169" fmla="*/ 626410 h 5973007"/>
              <a:gd name="connsiteX67170" fmla="*/ 3232028 w 6884782"/>
              <a:gd name="connsiteY67170" fmla="*/ 626695 h 5973007"/>
              <a:gd name="connsiteX67171" fmla="*/ 3208339 w 6884782"/>
              <a:gd name="connsiteY67171" fmla="*/ 625556 h 5973007"/>
              <a:gd name="connsiteX67172" fmla="*/ 3233309 w 6884782"/>
              <a:gd name="connsiteY67172" fmla="*/ 611898 h 5973007"/>
              <a:gd name="connsiteX67173" fmla="*/ 3240352 w 6884782"/>
              <a:gd name="connsiteY67173" fmla="*/ 611756 h 5973007"/>
              <a:gd name="connsiteX67174" fmla="*/ 3192973 w 6884782"/>
              <a:gd name="connsiteY67174" fmla="*/ 608484 h 5973007"/>
              <a:gd name="connsiteX67175" fmla="*/ 3199375 w 6884782"/>
              <a:gd name="connsiteY67175" fmla="*/ 610760 h 5973007"/>
              <a:gd name="connsiteX67176" fmla="*/ 3201936 w 6884782"/>
              <a:gd name="connsiteY67176" fmla="*/ 615740 h 5973007"/>
              <a:gd name="connsiteX67177" fmla="*/ 3201936 w 6884782"/>
              <a:gd name="connsiteY67177" fmla="*/ 618159 h 5973007"/>
              <a:gd name="connsiteX67178" fmla="*/ 3200442 w 6884782"/>
              <a:gd name="connsiteY67178" fmla="*/ 619012 h 5973007"/>
              <a:gd name="connsiteX67179" fmla="*/ 3201083 w 6884782"/>
              <a:gd name="connsiteY67179" fmla="*/ 620008 h 5973007"/>
              <a:gd name="connsiteX67180" fmla="*/ 3201509 w 6884782"/>
              <a:gd name="connsiteY67180" fmla="*/ 623565 h 5973007"/>
              <a:gd name="connsiteX67181" fmla="*/ 3195747 w 6884782"/>
              <a:gd name="connsiteY67181" fmla="*/ 625272 h 5973007"/>
              <a:gd name="connsiteX67182" fmla="*/ 3194253 w 6884782"/>
              <a:gd name="connsiteY67182" fmla="*/ 622853 h 5973007"/>
              <a:gd name="connsiteX67183" fmla="*/ 3194680 w 6884782"/>
              <a:gd name="connsiteY67183" fmla="*/ 620719 h 5973007"/>
              <a:gd name="connsiteX67184" fmla="*/ 3191692 w 6884782"/>
              <a:gd name="connsiteY67184" fmla="*/ 620008 h 5973007"/>
              <a:gd name="connsiteX67185" fmla="*/ 3188064 w 6884782"/>
              <a:gd name="connsiteY67185" fmla="*/ 610334 h 5973007"/>
              <a:gd name="connsiteX67186" fmla="*/ 3190198 w 6884782"/>
              <a:gd name="connsiteY67186" fmla="*/ 609053 h 5973007"/>
              <a:gd name="connsiteX67187" fmla="*/ 3192973 w 6884782"/>
              <a:gd name="connsiteY67187" fmla="*/ 608484 h 5973007"/>
              <a:gd name="connsiteX67188" fmla="*/ 2016176 w 6884782"/>
              <a:gd name="connsiteY67188" fmla="*/ 605070 h 5973007"/>
              <a:gd name="connsiteX67189" fmla="*/ 2017030 w 6884782"/>
              <a:gd name="connsiteY67189" fmla="*/ 605781 h 5973007"/>
              <a:gd name="connsiteX67190" fmla="*/ 2016176 w 6884782"/>
              <a:gd name="connsiteY67190" fmla="*/ 610476 h 5973007"/>
              <a:gd name="connsiteX67191" fmla="*/ 2014255 w 6884782"/>
              <a:gd name="connsiteY67191" fmla="*/ 609338 h 5973007"/>
              <a:gd name="connsiteX67192" fmla="*/ 2013829 w 6884782"/>
              <a:gd name="connsiteY67192" fmla="*/ 610334 h 5973007"/>
              <a:gd name="connsiteX67193" fmla="*/ 2012121 w 6884782"/>
              <a:gd name="connsiteY67193" fmla="*/ 608200 h 5973007"/>
              <a:gd name="connsiteX67194" fmla="*/ 2012762 w 6884782"/>
              <a:gd name="connsiteY67194" fmla="*/ 607204 h 5973007"/>
              <a:gd name="connsiteX67195" fmla="*/ 2012548 w 6884782"/>
              <a:gd name="connsiteY67195" fmla="*/ 606777 h 5973007"/>
              <a:gd name="connsiteX67196" fmla="*/ 2014682 w 6884782"/>
              <a:gd name="connsiteY67196" fmla="*/ 605781 h 5973007"/>
              <a:gd name="connsiteX67197" fmla="*/ 2016176 w 6884782"/>
              <a:gd name="connsiteY67197" fmla="*/ 605070 h 5973007"/>
              <a:gd name="connsiteX67198" fmla="*/ 2089390 w 6884782"/>
              <a:gd name="connsiteY67198" fmla="*/ 605047 h 5973007"/>
              <a:gd name="connsiteX67199" fmla="*/ 2097960 w 6884782"/>
              <a:gd name="connsiteY67199" fmla="*/ 608920 h 5973007"/>
              <a:gd name="connsiteX67200" fmla="*/ 2086292 w 6884782"/>
              <a:gd name="connsiteY67200" fmla="*/ 620847 h 5973007"/>
              <a:gd name="connsiteX67201" fmla="*/ 2082988 w 6884782"/>
              <a:gd name="connsiteY67201" fmla="*/ 612328 h 5973007"/>
              <a:gd name="connsiteX67202" fmla="*/ 2089390 w 6884782"/>
              <a:gd name="connsiteY67202" fmla="*/ 605047 h 5973007"/>
              <a:gd name="connsiteX67203" fmla="*/ 3352397 w 6884782"/>
              <a:gd name="connsiteY67203" fmla="*/ 600090 h 5973007"/>
              <a:gd name="connsiteX67204" fmla="*/ 3361361 w 6884782"/>
              <a:gd name="connsiteY67204" fmla="*/ 600659 h 5973007"/>
              <a:gd name="connsiteX67205" fmla="*/ 3362641 w 6884782"/>
              <a:gd name="connsiteY67205" fmla="*/ 613464 h 5973007"/>
              <a:gd name="connsiteX67206" fmla="*/ 3349196 w 6884782"/>
              <a:gd name="connsiteY67206" fmla="*/ 610476 h 5973007"/>
              <a:gd name="connsiteX67207" fmla="*/ 3352397 w 6884782"/>
              <a:gd name="connsiteY67207" fmla="*/ 600090 h 5973007"/>
              <a:gd name="connsiteX67208" fmla="*/ 3058091 w 6884782"/>
              <a:gd name="connsiteY67208" fmla="*/ 597814 h 5973007"/>
              <a:gd name="connsiteX67209" fmla="*/ 3060866 w 6884782"/>
              <a:gd name="connsiteY67209" fmla="*/ 599237 h 5973007"/>
              <a:gd name="connsiteX67210" fmla="*/ 3050408 w 6884782"/>
              <a:gd name="connsiteY67210" fmla="*/ 606777 h 5973007"/>
              <a:gd name="connsiteX67211" fmla="*/ 3058091 w 6884782"/>
              <a:gd name="connsiteY67211" fmla="*/ 597814 h 5973007"/>
              <a:gd name="connsiteX67212" fmla="*/ 3154770 w 6884782"/>
              <a:gd name="connsiteY67212" fmla="*/ 596249 h 5973007"/>
              <a:gd name="connsiteX67213" fmla="*/ 3152636 w 6884782"/>
              <a:gd name="connsiteY67213" fmla="*/ 607204 h 5973007"/>
              <a:gd name="connsiteX67214" fmla="*/ 3154770 w 6884782"/>
              <a:gd name="connsiteY67214" fmla="*/ 596249 h 5973007"/>
              <a:gd name="connsiteX67215" fmla="*/ 3415569 w 6884782"/>
              <a:gd name="connsiteY67215" fmla="*/ 590558 h 5973007"/>
              <a:gd name="connsiteX67216" fmla="*/ 3422185 w 6884782"/>
              <a:gd name="connsiteY67216" fmla="*/ 593973 h 5973007"/>
              <a:gd name="connsiteX67217" fmla="*/ 3412368 w 6884782"/>
              <a:gd name="connsiteY67217" fmla="*/ 611898 h 5973007"/>
              <a:gd name="connsiteX67218" fmla="*/ 3402764 w 6884782"/>
              <a:gd name="connsiteY67218" fmla="*/ 606208 h 5973007"/>
              <a:gd name="connsiteX67219" fmla="*/ 3415569 w 6884782"/>
              <a:gd name="connsiteY67219" fmla="*/ 590558 h 5973007"/>
              <a:gd name="connsiteX67220" fmla="*/ 3515023 w 6884782"/>
              <a:gd name="connsiteY67220" fmla="*/ 587855 h 5973007"/>
              <a:gd name="connsiteX67221" fmla="*/ 3517584 w 6884782"/>
              <a:gd name="connsiteY67221" fmla="*/ 608626 h 5973007"/>
              <a:gd name="connsiteX67222" fmla="*/ 3506273 w 6884782"/>
              <a:gd name="connsiteY67222" fmla="*/ 606919 h 5973007"/>
              <a:gd name="connsiteX67223" fmla="*/ 3510328 w 6884782"/>
              <a:gd name="connsiteY67223" fmla="*/ 587998 h 5973007"/>
              <a:gd name="connsiteX67224" fmla="*/ 3515023 w 6884782"/>
              <a:gd name="connsiteY67224" fmla="*/ 587855 h 5973007"/>
              <a:gd name="connsiteX67225" fmla="*/ 3155198 w 6884782"/>
              <a:gd name="connsiteY67225" fmla="*/ 587571 h 5973007"/>
              <a:gd name="connsiteX67226" fmla="*/ 3155624 w 6884782"/>
              <a:gd name="connsiteY67226" fmla="*/ 588566 h 5973007"/>
              <a:gd name="connsiteX67227" fmla="*/ 3153917 w 6884782"/>
              <a:gd name="connsiteY67227" fmla="*/ 592977 h 5973007"/>
              <a:gd name="connsiteX67228" fmla="*/ 3154557 w 6884782"/>
              <a:gd name="connsiteY67228" fmla="*/ 588566 h 5973007"/>
              <a:gd name="connsiteX67229" fmla="*/ 3155198 w 6884782"/>
              <a:gd name="connsiteY67229" fmla="*/ 587571 h 5973007"/>
              <a:gd name="connsiteX67230" fmla="*/ 2981687 w 6884782"/>
              <a:gd name="connsiteY67230" fmla="*/ 587286 h 5973007"/>
              <a:gd name="connsiteX67231" fmla="*/ 2984035 w 6884782"/>
              <a:gd name="connsiteY67231" fmla="*/ 591270 h 5973007"/>
              <a:gd name="connsiteX67232" fmla="*/ 2977846 w 6884782"/>
              <a:gd name="connsiteY67232" fmla="*/ 602936 h 5973007"/>
              <a:gd name="connsiteX67233" fmla="*/ 2975498 w 6884782"/>
              <a:gd name="connsiteY67233" fmla="*/ 595111 h 5973007"/>
              <a:gd name="connsiteX67234" fmla="*/ 2981687 w 6884782"/>
              <a:gd name="connsiteY67234" fmla="*/ 587286 h 5973007"/>
              <a:gd name="connsiteX67235" fmla="*/ 3010712 w 6884782"/>
              <a:gd name="connsiteY67235" fmla="*/ 586148 h 5973007"/>
              <a:gd name="connsiteX67236" fmla="*/ 3018182 w 6884782"/>
              <a:gd name="connsiteY67236" fmla="*/ 589420 h 5973007"/>
              <a:gd name="connsiteX67237" fmla="*/ 3021383 w 6884782"/>
              <a:gd name="connsiteY67237" fmla="*/ 611045 h 5973007"/>
              <a:gd name="connsiteX67238" fmla="*/ 3019249 w 6884782"/>
              <a:gd name="connsiteY67238" fmla="*/ 613179 h 5973007"/>
              <a:gd name="connsiteX67239" fmla="*/ 3017115 w 6884782"/>
              <a:gd name="connsiteY67239" fmla="*/ 617874 h 5973007"/>
              <a:gd name="connsiteX67240" fmla="*/ 3002816 w 6884782"/>
              <a:gd name="connsiteY67240" fmla="*/ 611330 h 5973007"/>
              <a:gd name="connsiteX67241" fmla="*/ 2998334 w 6884782"/>
              <a:gd name="connsiteY67241" fmla="*/ 590843 h 5973007"/>
              <a:gd name="connsiteX67242" fmla="*/ 3010712 w 6884782"/>
              <a:gd name="connsiteY67242" fmla="*/ 586148 h 5973007"/>
              <a:gd name="connsiteX67243" fmla="*/ 1958874 w 6884782"/>
              <a:gd name="connsiteY67243" fmla="*/ 585995 h 5973007"/>
              <a:gd name="connsiteX67244" fmla="*/ 1966412 w 6884782"/>
              <a:gd name="connsiteY67244" fmla="*/ 598077 h 5973007"/>
              <a:gd name="connsiteX67245" fmla="*/ 1953195 w 6884782"/>
              <a:gd name="connsiteY67245" fmla="*/ 590797 h 5973007"/>
              <a:gd name="connsiteX67246" fmla="*/ 1958874 w 6884782"/>
              <a:gd name="connsiteY67246" fmla="*/ 585995 h 5973007"/>
              <a:gd name="connsiteX67247" fmla="*/ 3289225 w 6884782"/>
              <a:gd name="connsiteY67247" fmla="*/ 585436 h 5973007"/>
              <a:gd name="connsiteX67248" fmla="*/ 3292426 w 6884782"/>
              <a:gd name="connsiteY67248" fmla="*/ 593262 h 5973007"/>
              <a:gd name="connsiteX67249" fmla="*/ 3292640 w 6884782"/>
              <a:gd name="connsiteY67249" fmla="*/ 602366 h 5973007"/>
              <a:gd name="connsiteX67250" fmla="*/ 3295841 w 6884782"/>
              <a:gd name="connsiteY67250" fmla="*/ 604358 h 5973007"/>
              <a:gd name="connsiteX67251" fmla="*/ 3296268 w 6884782"/>
              <a:gd name="connsiteY67251" fmla="*/ 608200 h 5973007"/>
              <a:gd name="connsiteX67252" fmla="*/ 3272792 w 6884782"/>
              <a:gd name="connsiteY67252" fmla="*/ 611898 h 5973007"/>
              <a:gd name="connsiteX67253" fmla="*/ 3273859 w 6884782"/>
              <a:gd name="connsiteY67253" fmla="*/ 607346 h 5973007"/>
              <a:gd name="connsiteX67254" fmla="*/ 3279621 w 6884782"/>
              <a:gd name="connsiteY67254" fmla="*/ 603220 h 5973007"/>
              <a:gd name="connsiteX67255" fmla="*/ 3285170 w 6884782"/>
              <a:gd name="connsiteY67255" fmla="*/ 600944 h 5973007"/>
              <a:gd name="connsiteX67256" fmla="*/ 3284743 w 6884782"/>
              <a:gd name="connsiteY67256" fmla="*/ 592265 h 5973007"/>
              <a:gd name="connsiteX67257" fmla="*/ 3289225 w 6884782"/>
              <a:gd name="connsiteY67257" fmla="*/ 585436 h 5973007"/>
              <a:gd name="connsiteX67258" fmla="*/ 2940070 w 6884782"/>
              <a:gd name="connsiteY67258" fmla="*/ 584726 h 5973007"/>
              <a:gd name="connsiteX67259" fmla="*/ 2948821 w 6884782"/>
              <a:gd name="connsiteY67259" fmla="*/ 595822 h 5973007"/>
              <a:gd name="connsiteX67260" fmla="*/ 2956290 w 6884782"/>
              <a:gd name="connsiteY67260" fmla="*/ 606635 h 5973007"/>
              <a:gd name="connsiteX67261" fmla="*/ 2959065 w 6884782"/>
              <a:gd name="connsiteY67261" fmla="*/ 605070 h 5973007"/>
              <a:gd name="connsiteX67262" fmla="*/ 2969949 w 6884782"/>
              <a:gd name="connsiteY67262" fmla="*/ 603789 h 5973007"/>
              <a:gd name="connsiteX67263" fmla="*/ 2988730 w 6884782"/>
              <a:gd name="connsiteY67263" fmla="*/ 618301 h 5973007"/>
              <a:gd name="connsiteX67264" fmla="*/ 2988943 w 6884782"/>
              <a:gd name="connsiteY67264" fmla="*/ 631105 h 5973007"/>
              <a:gd name="connsiteX67265" fmla="*/ 2962906 w 6884782"/>
              <a:gd name="connsiteY67265" fmla="*/ 666815 h 5973007"/>
              <a:gd name="connsiteX67266" fmla="*/ 2961839 w 6884782"/>
              <a:gd name="connsiteY67266" fmla="*/ 664111 h 5973007"/>
              <a:gd name="connsiteX67267" fmla="*/ 2960558 w 6884782"/>
              <a:gd name="connsiteY67267" fmla="*/ 664823 h 5973007"/>
              <a:gd name="connsiteX67268" fmla="*/ 2952875 w 6884782"/>
              <a:gd name="connsiteY67268" fmla="*/ 656998 h 5973007"/>
              <a:gd name="connsiteX67269" fmla="*/ 2954156 w 6884782"/>
              <a:gd name="connsiteY67269" fmla="*/ 652161 h 5973007"/>
              <a:gd name="connsiteX67270" fmla="*/ 2947967 w 6884782"/>
              <a:gd name="connsiteY67270" fmla="*/ 647323 h 5973007"/>
              <a:gd name="connsiteX67271" fmla="*/ 2942418 w 6884782"/>
              <a:gd name="connsiteY67271" fmla="*/ 642060 h 5973007"/>
              <a:gd name="connsiteX67272" fmla="*/ 2939216 w 6884782"/>
              <a:gd name="connsiteY67272" fmla="*/ 631816 h 5973007"/>
              <a:gd name="connsiteX67273" fmla="*/ 2941778 w 6884782"/>
              <a:gd name="connsiteY67273" fmla="*/ 619439 h 5973007"/>
              <a:gd name="connsiteX67274" fmla="*/ 2941991 w 6884782"/>
              <a:gd name="connsiteY67274" fmla="*/ 619012 h 5973007"/>
              <a:gd name="connsiteX67275" fmla="*/ 2940497 w 6884782"/>
              <a:gd name="connsiteY67275" fmla="*/ 617447 h 5973007"/>
              <a:gd name="connsiteX67276" fmla="*/ 2938150 w 6884782"/>
              <a:gd name="connsiteY67276" fmla="*/ 613321 h 5973007"/>
              <a:gd name="connsiteX67277" fmla="*/ 2936228 w 6884782"/>
              <a:gd name="connsiteY67277" fmla="*/ 615171 h 5973007"/>
              <a:gd name="connsiteX67278" fmla="*/ 2908058 w 6884782"/>
              <a:gd name="connsiteY67278" fmla="*/ 614032 h 5973007"/>
              <a:gd name="connsiteX67279" fmla="*/ 2904215 w 6884782"/>
              <a:gd name="connsiteY67279" fmla="*/ 604074 h 5973007"/>
              <a:gd name="connsiteX67280" fmla="*/ 2906350 w 6884782"/>
              <a:gd name="connsiteY67280" fmla="*/ 597387 h 5973007"/>
              <a:gd name="connsiteX67281" fmla="*/ 2905923 w 6884782"/>
              <a:gd name="connsiteY67281" fmla="*/ 596534 h 5973007"/>
              <a:gd name="connsiteX67282" fmla="*/ 2906563 w 6884782"/>
              <a:gd name="connsiteY67282" fmla="*/ 596392 h 5973007"/>
              <a:gd name="connsiteX67283" fmla="*/ 2906777 w 6884782"/>
              <a:gd name="connsiteY67283" fmla="*/ 595680 h 5973007"/>
              <a:gd name="connsiteX67284" fmla="*/ 2923850 w 6884782"/>
              <a:gd name="connsiteY67284" fmla="*/ 588282 h 5973007"/>
              <a:gd name="connsiteX67285" fmla="*/ 2930040 w 6884782"/>
              <a:gd name="connsiteY67285" fmla="*/ 589563 h 5973007"/>
              <a:gd name="connsiteX67286" fmla="*/ 2935162 w 6884782"/>
              <a:gd name="connsiteY67286" fmla="*/ 592550 h 5973007"/>
              <a:gd name="connsiteX67287" fmla="*/ 2935802 w 6884782"/>
              <a:gd name="connsiteY67287" fmla="*/ 591270 h 5973007"/>
              <a:gd name="connsiteX67288" fmla="*/ 2940070 w 6884782"/>
              <a:gd name="connsiteY67288" fmla="*/ 584726 h 5973007"/>
              <a:gd name="connsiteX67289" fmla="*/ 3136843 w 6884782"/>
              <a:gd name="connsiteY67289" fmla="*/ 584014 h 5973007"/>
              <a:gd name="connsiteX67290" fmla="*/ 3142819 w 6884782"/>
              <a:gd name="connsiteY67290" fmla="*/ 589278 h 5973007"/>
              <a:gd name="connsiteX67291" fmla="*/ 3142606 w 6884782"/>
              <a:gd name="connsiteY67291" fmla="*/ 592835 h 5973007"/>
              <a:gd name="connsiteX67292" fmla="*/ 3139831 w 6884782"/>
              <a:gd name="connsiteY67292" fmla="*/ 595965 h 5973007"/>
              <a:gd name="connsiteX67293" fmla="*/ 3136630 w 6884782"/>
              <a:gd name="connsiteY67293" fmla="*/ 596818 h 5973007"/>
              <a:gd name="connsiteX67294" fmla="*/ 3131081 w 6884782"/>
              <a:gd name="connsiteY67294" fmla="*/ 593262 h 5973007"/>
              <a:gd name="connsiteX67295" fmla="*/ 3136843 w 6884782"/>
              <a:gd name="connsiteY67295" fmla="*/ 584014 h 5973007"/>
              <a:gd name="connsiteX67296" fmla="*/ 1987151 w 6884782"/>
              <a:gd name="connsiteY67296" fmla="*/ 581453 h 5973007"/>
              <a:gd name="connsiteX67297" fmla="*/ 1979681 w 6884782"/>
              <a:gd name="connsiteY67297" fmla="*/ 604643 h 5973007"/>
              <a:gd name="connsiteX67298" fmla="*/ 1968797 w 6884782"/>
              <a:gd name="connsiteY67298" fmla="*/ 626410 h 5973007"/>
              <a:gd name="connsiteX67299" fmla="*/ 1987151 w 6884782"/>
              <a:gd name="connsiteY67299" fmla="*/ 581453 h 5973007"/>
              <a:gd name="connsiteX67300" fmla="*/ 3182088 w 6884782"/>
              <a:gd name="connsiteY67300" fmla="*/ 580742 h 5973007"/>
              <a:gd name="connsiteX67301" fmla="*/ 3180808 w 6884782"/>
              <a:gd name="connsiteY67301" fmla="*/ 642486 h 5973007"/>
              <a:gd name="connsiteX67302" fmla="*/ 3168429 w 6884782"/>
              <a:gd name="connsiteY67302" fmla="*/ 640210 h 5973007"/>
              <a:gd name="connsiteX67303" fmla="*/ 3172057 w 6884782"/>
              <a:gd name="connsiteY67303" fmla="*/ 624418 h 5973007"/>
              <a:gd name="connsiteX67304" fmla="*/ 3171417 w 6884782"/>
              <a:gd name="connsiteY67304" fmla="*/ 622284 h 5973007"/>
              <a:gd name="connsiteX67305" fmla="*/ 3172057 w 6884782"/>
              <a:gd name="connsiteY67305" fmla="*/ 619297 h 5973007"/>
              <a:gd name="connsiteX67306" fmla="*/ 3173338 w 6884782"/>
              <a:gd name="connsiteY67306" fmla="*/ 618727 h 5973007"/>
              <a:gd name="connsiteX67307" fmla="*/ 3175472 w 6884782"/>
              <a:gd name="connsiteY67307" fmla="*/ 609053 h 5973007"/>
              <a:gd name="connsiteX67308" fmla="*/ 3182088 w 6884782"/>
              <a:gd name="connsiteY67308" fmla="*/ 580742 h 5973007"/>
              <a:gd name="connsiteX67309" fmla="*/ 3231388 w 6884782"/>
              <a:gd name="connsiteY67309" fmla="*/ 580457 h 5973007"/>
              <a:gd name="connsiteX67310" fmla="*/ 3236937 w 6884782"/>
              <a:gd name="connsiteY67310" fmla="*/ 593404 h 5973007"/>
              <a:gd name="connsiteX67311" fmla="*/ 3210900 w 6884782"/>
              <a:gd name="connsiteY67311" fmla="*/ 603505 h 5973007"/>
              <a:gd name="connsiteX67312" fmla="*/ 3206632 w 6884782"/>
              <a:gd name="connsiteY67312" fmla="*/ 594827 h 5973007"/>
              <a:gd name="connsiteX67313" fmla="*/ 3214528 w 6884782"/>
              <a:gd name="connsiteY67313" fmla="*/ 582734 h 5973007"/>
              <a:gd name="connsiteX67314" fmla="*/ 3214741 w 6884782"/>
              <a:gd name="connsiteY67314" fmla="*/ 582591 h 5973007"/>
              <a:gd name="connsiteX67315" fmla="*/ 3215169 w 6884782"/>
              <a:gd name="connsiteY67315" fmla="*/ 581880 h 5973007"/>
              <a:gd name="connsiteX67316" fmla="*/ 3219010 w 6884782"/>
              <a:gd name="connsiteY67316" fmla="*/ 581595 h 5973007"/>
              <a:gd name="connsiteX67317" fmla="*/ 3222211 w 6884782"/>
              <a:gd name="connsiteY67317" fmla="*/ 580742 h 5973007"/>
              <a:gd name="connsiteX67318" fmla="*/ 3231388 w 6884782"/>
              <a:gd name="connsiteY67318" fmla="*/ 580457 h 5973007"/>
              <a:gd name="connsiteX67319" fmla="*/ 3395508 w 6884782"/>
              <a:gd name="connsiteY67319" fmla="*/ 579319 h 5973007"/>
              <a:gd name="connsiteX67320" fmla="*/ 3398923 w 6884782"/>
              <a:gd name="connsiteY67320" fmla="*/ 580030 h 5973007"/>
              <a:gd name="connsiteX67321" fmla="*/ 3398496 w 6884782"/>
              <a:gd name="connsiteY67321" fmla="*/ 588566 h 5973007"/>
              <a:gd name="connsiteX67322" fmla="*/ 3394867 w 6884782"/>
              <a:gd name="connsiteY67322" fmla="*/ 590416 h 5973007"/>
              <a:gd name="connsiteX67323" fmla="*/ 3389532 w 6884782"/>
              <a:gd name="connsiteY67323" fmla="*/ 588566 h 5973007"/>
              <a:gd name="connsiteX67324" fmla="*/ 3395508 w 6884782"/>
              <a:gd name="connsiteY67324" fmla="*/ 579319 h 5973007"/>
              <a:gd name="connsiteX67325" fmla="*/ 3357092 w 6884782"/>
              <a:gd name="connsiteY67325" fmla="*/ 577043 h 5973007"/>
              <a:gd name="connsiteX67326" fmla="*/ 3306939 w 6884782"/>
              <a:gd name="connsiteY67326" fmla="*/ 630678 h 5973007"/>
              <a:gd name="connsiteX67327" fmla="*/ 3357092 w 6884782"/>
              <a:gd name="connsiteY67327" fmla="*/ 577043 h 5973007"/>
              <a:gd name="connsiteX67328" fmla="*/ 3573074 w 6884782"/>
              <a:gd name="connsiteY67328" fmla="*/ 576758 h 5973007"/>
              <a:gd name="connsiteX67329" fmla="*/ 3579262 w 6884782"/>
              <a:gd name="connsiteY67329" fmla="*/ 578892 h 5973007"/>
              <a:gd name="connsiteX67330" fmla="*/ 3577769 w 6884782"/>
              <a:gd name="connsiteY67330" fmla="*/ 588566 h 5973007"/>
              <a:gd name="connsiteX67331" fmla="*/ 3569018 w 6884782"/>
              <a:gd name="connsiteY67331" fmla="*/ 586433 h 5973007"/>
              <a:gd name="connsiteX67332" fmla="*/ 3573074 w 6884782"/>
              <a:gd name="connsiteY67332" fmla="*/ 576758 h 5973007"/>
              <a:gd name="connsiteX67333" fmla="*/ 2880099 w 6884782"/>
              <a:gd name="connsiteY67333" fmla="*/ 575762 h 5973007"/>
              <a:gd name="connsiteX67334" fmla="*/ 2887142 w 6884782"/>
              <a:gd name="connsiteY67334" fmla="*/ 600517 h 5973007"/>
              <a:gd name="connsiteX67335" fmla="*/ 2875617 w 6884782"/>
              <a:gd name="connsiteY67335" fmla="*/ 600233 h 5973007"/>
              <a:gd name="connsiteX67336" fmla="*/ 2871136 w 6884782"/>
              <a:gd name="connsiteY67336" fmla="*/ 594542 h 5973007"/>
              <a:gd name="connsiteX67337" fmla="*/ 2870922 w 6884782"/>
              <a:gd name="connsiteY67337" fmla="*/ 592123 h 5973007"/>
              <a:gd name="connsiteX67338" fmla="*/ 2859184 w 6884782"/>
              <a:gd name="connsiteY67338" fmla="*/ 584441 h 5973007"/>
              <a:gd name="connsiteX67339" fmla="*/ 2865800 w 6884782"/>
              <a:gd name="connsiteY67339" fmla="*/ 576189 h 5973007"/>
              <a:gd name="connsiteX67340" fmla="*/ 2873270 w 6884782"/>
              <a:gd name="connsiteY67340" fmla="*/ 579746 h 5973007"/>
              <a:gd name="connsiteX67341" fmla="*/ 3206418 w 6884782"/>
              <a:gd name="connsiteY67341" fmla="*/ 575478 h 5973007"/>
              <a:gd name="connsiteX67342" fmla="*/ 3209833 w 6884782"/>
              <a:gd name="connsiteY67342" fmla="*/ 576047 h 5973007"/>
              <a:gd name="connsiteX67343" fmla="*/ 3210900 w 6884782"/>
              <a:gd name="connsiteY67343" fmla="*/ 583303 h 5973007"/>
              <a:gd name="connsiteX67344" fmla="*/ 3202363 w 6884782"/>
              <a:gd name="connsiteY67344" fmla="*/ 580173 h 5973007"/>
              <a:gd name="connsiteX67345" fmla="*/ 3203217 w 6884782"/>
              <a:gd name="connsiteY67345" fmla="*/ 577612 h 5973007"/>
              <a:gd name="connsiteX67346" fmla="*/ 3206418 w 6884782"/>
              <a:gd name="connsiteY67346" fmla="*/ 575478 h 5973007"/>
              <a:gd name="connsiteX67347" fmla="*/ 2933241 w 6884782"/>
              <a:gd name="connsiteY67347" fmla="*/ 573059 h 5973007"/>
              <a:gd name="connsiteX67348" fmla="*/ 2937083 w 6884782"/>
              <a:gd name="connsiteY67348" fmla="*/ 575051 h 5973007"/>
              <a:gd name="connsiteX67349" fmla="*/ 2937296 w 6884782"/>
              <a:gd name="connsiteY67349" fmla="*/ 579319 h 5973007"/>
              <a:gd name="connsiteX67350" fmla="*/ 2934308 w 6884782"/>
              <a:gd name="connsiteY67350" fmla="*/ 582876 h 5973007"/>
              <a:gd name="connsiteX67351" fmla="*/ 2927052 w 6884782"/>
              <a:gd name="connsiteY67351" fmla="*/ 575762 h 5973007"/>
              <a:gd name="connsiteX67352" fmla="*/ 2933241 w 6884782"/>
              <a:gd name="connsiteY67352" fmla="*/ 573059 h 5973007"/>
              <a:gd name="connsiteX67353" fmla="*/ 3024584 w 6884782"/>
              <a:gd name="connsiteY67353" fmla="*/ 571779 h 5973007"/>
              <a:gd name="connsiteX67354" fmla="*/ 3036322 w 6884782"/>
              <a:gd name="connsiteY67354" fmla="*/ 575051 h 5973007"/>
              <a:gd name="connsiteX67355" fmla="*/ 3037390 w 6884782"/>
              <a:gd name="connsiteY67355" fmla="*/ 576332 h 5973007"/>
              <a:gd name="connsiteX67356" fmla="*/ 3039097 w 6884782"/>
              <a:gd name="connsiteY67356" fmla="*/ 575335 h 5973007"/>
              <a:gd name="connsiteX67357" fmla="*/ 3047634 w 6884782"/>
              <a:gd name="connsiteY67357" fmla="*/ 578750 h 5973007"/>
              <a:gd name="connsiteX67358" fmla="*/ 3038884 w 6884782"/>
              <a:gd name="connsiteY67358" fmla="*/ 590131 h 5973007"/>
              <a:gd name="connsiteX67359" fmla="*/ 3037390 w 6884782"/>
              <a:gd name="connsiteY67359" fmla="*/ 588424 h 5973007"/>
              <a:gd name="connsiteX67360" fmla="*/ 3036536 w 6884782"/>
              <a:gd name="connsiteY67360" fmla="*/ 590843 h 5973007"/>
              <a:gd name="connsiteX67361" fmla="*/ 3034402 w 6884782"/>
              <a:gd name="connsiteY67361" fmla="*/ 593973 h 5973007"/>
              <a:gd name="connsiteX67362" fmla="*/ 3030347 w 6884782"/>
              <a:gd name="connsiteY67362" fmla="*/ 592977 h 5973007"/>
              <a:gd name="connsiteX67363" fmla="*/ 3026292 w 6884782"/>
              <a:gd name="connsiteY67363" fmla="*/ 591270 h 5973007"/>
              <a:gd name="connsiteX67364" fmla="*/ 3025225 w 6884782"/>
              <a:gd name="connsiteY67364" fmla="*/ 591697 h 5973007"/>
              <a:gd name="connsiteX67365" fmla="*/ 3024584 w 6884782"/>
              <a:gd name="connsiteY67365" fmla="*/ 571779 h 5973007"/>
              <a:gd name="connsiteX67366" fmla="*/ 2899094 w 6884782"/>
              <a:gd name="connsiteY67366" fmla="*/ 568791 h 5973007"/>
              <a:gd name="connsiteX67367" fmla="*/ 2908698 w 6884782"/>
              <a:gd name="connsiteY67367" fmla="*/ 574767 h 5973007"/>
              <a:gd name="connsiteX67368" fmla="*/ 2898880 w 6884782"/>
              <a:gd name="connsiteY67368" fmla="*/ 587286 h 5973007"/>
              <a:gd name="connsiteX67369" fmla="*/ 2899094 w 6884782"/>
              <a:gd name="connsiteY67369" fmla="*/ 568791 h 5973007"/>
              <a:gd name="connsiteX67370" fmla="*/ 3269591 w 6884782"/>
              <a:gd name="connsiteY67370" fmla="*/ 564381 h 5973007"/>
              <a:gd name="connsiteX67371" fmla="*/ 3276420 w 6884782"/>
              <a:gd name="connsiteY67371" fmla="*/ 564381 h 5973007"/>
              <a:gd name="connsiteX67372" fmla="*/ 3280902 w 6884782"/>
              <a:gd name="connsiteY67372" fmla="*/ 564808 h 5973007"/>
              <a:gd name="connsiteX67373" fmla="*/ 3283250 w 6884782"/>
              <a:gd name="connsiteY67373" fmla="*/ 564523 h 5973007"/>
              <a:gd name="connsiteX67374" fmla="*/ 3285810 w 6884782"/>
              <a:gd name="connsiteY67374" fmla="*/ 566799 h 5973007"/>
              <a:gd name="connsiteX67375" fmla="*/ 3275779 w 6884782"/>
              <a:gd name="connsiteY67375" fmla="*/ 568649 h 5973007"/>
              <a:gd name="connsiteX67376" fmla="*/ 3270017 w 6884782"/>
              <a:gd name="connsiteY67376" fmla="*/ 568933 h 5973007"/>
              <a:gd name="connsiteX67377" fmla="*/ 3267456 w 6884782"/>
              <a:gd name="connsiteY67377" fmla="*/ 566657 h 5973007"/>
              <a:gd name="connsiteX67378" fmla="*/ 3267243 w 6884782"/>
              <a:gd name="connsiteY67378" fmla="*/ 565519 h 5973007"/>
              <a:gd name="connsiteX67379" fmla="*/ 3269591 w 6884782"/>
              <a:gd name="connsiteY67379" fmla="*/ 564381 h 5973007"/>
              <a:gd name="connsiteX67380" fmla="*/ 3044219 w 6884782"/>
              <a:gd name="connsiteY67380" fmla="*/ 556698 h 5973007"/>
              <a:gd name="connsiteX67381" fmla="*/ 3050195 w 6884782"/>
              <a:gd name="connsiteY67381" fmla="*/ 560113 h 5973007"/>
              <a:gd name="connsiteX67382" fmla="*/ 3043792 w 6884782"/>
              <a:gd name="connsiteY67382" fmla="*/ 570640 h 5973007"/>
              <a:gd name="connsiteX67383" fmla="*/ 3044219 w 6884782"/>
              <a:gd name="connsiteY67383" fmla="*/ 556698 h 5973007"/>
              <a:gd name="connsiteX67384" fmla="*/ 1903426 w 6884782"/>
              <a:gd name="connsiteY67384" fmla="*/ 554861 h 5973007"/>
              <a:gd name="connsiteX67385" fmla="*/ 1903735 w 6884782"/>
              <a:gd name="connsiteY67385" fmla="*/ 568647 h 5973007"/>
              <a:gd name="connsiteX67386" fmla="*/ 1899708 w 6884782"/>
              <a:gd name="connsiteY67386" fmla="*/ 561676 h 5973007"/>
              <a:gd name="connsiteX67387" fmla="*/ 1903426 w 6884782"/>
              <a:gd name="connsiteY67387" fmla="*/ 554861 h 5973007"/>
              <a:gd name="connsiteX67388" fmla="*/ 3118702 w 6884782"/>
              <a:gd name="connsiteY67388" fmla="*/ 554707 h 5973007"/>
              <a:gd name="connsiteX67389" fmla="*/ 3123611 w 6884782"/>
              <a:gd name="connsiteY67389" fmla="*/ 557837 h 5973007"/>
              <a:gd name="connsiteX67390" fmla="*/ 3123611 w 6884782"/>
              <a:gd name="connsiteY67390" fmla="*/ 562674 h 5973007"/>
              <a:gd name="connsiteX67391" fmla="*/ 3119983 w 6884782"/>
              <a:gd name="connsiteY67391" fmla="*/ 567368 h 5973007"/>
              <a:gd name="connsiteX67392" fmla="*/ 3120623 w 6884782"/>
              <a:gd name="connsiteY67392" fmla="*/ 566373 h 5973007"/>
              <a:gd name="connsiteX67393" fmla="*/ 3118702 w 6884782"/>
              <a:gd name="connsiteY67393" fmla="*/ 565234 h 5973007"/>
              <a:gd name="connsiteX67394" fmla="*/ 3118062 w 6884782"/>
              <a:gd name="connsiteY67394" fmla="*/ 566231 h 5973007"/>
              <a:gd name="connsiteX67395" fmla="*/ 3116782 w 6884782"/>
              <a:gd name="connsiteY67395" fmla="*/ 563954 h 5973007"/>
              <a:gd name="connsiteX67396" fmla="*/ 3118702 w 6884782"/>
              <a:gd name="connsiteY67396" fmla="*/ 554707 h 5973007"/>
              <a:gd name="connsiteX67397" fmla="*/ 3420265 w 6884782"/>
              <a:gd name="connsiteY67397" fmla="*/ 551008 h 5973007"/>
              <a:gd name="connsiteX67398" fmla="*/ 3421759 w 6884782"/>
              <a:gd name="connsiteY67398" fmla="*/ 552288 h 5973007"/>
              <a:gd name="connsiteX67399" fmla="*/ 3418984 w 6884782"/>
              <a:gd name="connsiteY67399" fmla="*/ 562104 h 5973007"/>
              <a:gd name="connsiteX67400" fmla="*/ 3418130 w 6884782"/>
              <a:gd name="connsiteY67400" fmla="*/ 561536 h 5973007"/>
              <a:gd name="connsiteX67401" fmla="*/ 3417490 w 6884782"/>
              <a:gd name="connsiteY67401" fmla="*/ 561820 h 5973007"/>
              <a:gd name="connsiteX67402" fmla="*/ 3413649 w 6884782"/>
              <a:gd name="connsiteY67402" fmla="*/ 561678 h 5973007"/>
              <a:gd name="connsiteX67403" fmla="*/ 3407886 w 6884782"/>
              <a:gd name="connsiteY67403" fmla="*/ 562104 h 5973007"/>
              <a:gd name="connsiteX67404" fmla="*/ 3389105 w 6884782"/>
              <a:gd name="connsiteY67404" fmla="*/ 558406 h 5973007"/>
              <a:gd name="connsiteX67405" fmla="*/ 3396788 w 6884782"/>
              <a:gd name="connsiteY67405" fmla="*/ 556556 h 5973007"/>
              <a:gd name="connsiteX67406" fmla="*/ 3406819 w 6884782"/>
              <a:gd name="connsiteY67406" fmla="*/ 556556 h 5973007"/>
              <a:gd name="connsiteX67407" fmla="*/ 3414502 w 6884782"/>
              <a:gd name="connsiteY67407" fmla="*/ 555702 h 5973007"/>
              <a:gd name="connsiteX67408" fmla="*/ 3415783 w 6884782"/>
              <a:gd name="connsiteY67408" fmla="*/ 553426 h 5973007"/>
              <a:gd name="connsiteX67409" fmla="*/ 3418130 w 6884782"/>
              <a:gd name="connsiteY67409" fmla="*/ 551150 h 5973007"/>
              <a:gd name="connsiteX67410" fmla="*/ 3420265 w 6884782"/>
              <a:gd name="connsiteY67410" fmla="*/ 551008 h 5973007"/>
              <a:gd name="connsiteX67411" fmla="*/ 3366910 w 6884782"/>
              <a:gd name="connsiteY67411" fmla="*/ 550581 h 5973007"/>
              <a:gd name="connsiteX67412" fmla="*/ 3337031 w 6884782"/>
              <a:gd name="connsiteY67412" fmla="*/ 570072 h 5973007"/>
              <a:gd name="connsiteX67413" fmla="*/ 3366910 w 6884782"/>
              <a:gd name="connsiteY67413" fmla="*/ 550581 h 5973007"/>
              <a:gd name="connsiteX67414" fmla="*/ 2128008 w 6884782"/>
              <a:gd name="connsiteY67414" fmla="*/ 548873 h 5973007"/>
              <a:gd name="connsiteX67415" fmla="*/ 2136118 w 6884782"/>
              <a:gd name="connsiteY67415" fmla="*/ 577185 h 5973007"/>
              <a:gd name="connsiteX67416" fmla="*/ 2130355 w 6884782"/>
              <a:gd name="connsiteY67416" fmla="*/ 577185 h 5973007"/>
              <a:gd name="connsiteX67417" fmla="*/ 2128008 w 6884782"/>
              <a:gd name="connsiteY67417" fmla="*/ 548873 h 5973007"/>
              <a:gd name="connsiteX67418" fmla="*/ 3022237 w 6884782"/>
              <a:gd name="connsiteY67418" fmla="*/ 546313 h 5973007"/>
              <a:gd name="connsiteX67419" fmla="*/ 3024584 w 6884782"/>
              <a:gd name="connsiteY67419" fmla="*/ 548020 h 5973007"/>
              <a:gd name="connsiteX67420" fmla="*/ 3022451 w 6884782"/>
              <a:gd name="connsiteY67420" fmla="*/ 554422 h 5973007"/>
              <a:gd name="connsiteX67421" fmla="*/ 3018608 w 6884782"/>
              <a:gd name="connsiteY67421" fmla="*/ 549158 h 5973007"/>
              <a:gd name="connsiteX67422" fmla="*/ 3022237 w 6884782"/>
              <a:gd name="connsiteY67422" fmla="*/ 546313 h 5973007"/>
              <a:gd name="connsiteX67423" fmla="*/ 2882020 w 6884782"/>
              <a:gd name="connsiteY67423" fmla="*/ 545886 h 5973007"/>
              <a:gd name="connsiteX67424" fmla="*/ 2874124 w 6884782"/>
              <a:gd name="connsiteY67424" fmla="*/ 565946 h 5973007"/>
              <a:gd name="connsiteX67425" fmla="*/ 2871349 w 6884782"/>
              <a:gd name="connsiteY67425" fmla="*/ 561962 h 5973007"/>
              <a:gd name="connsiteX67426" fmla="*/ 2882020 w 6884782"/>
              <a:gd name="connsiteY67426" fmla="*/ 545886 h 5973007"/>
              <a:gd name="connsiteX67427" fmla="*/ 3266603 w 6884782"/>
              <a:gd name="connsiteY67427" fmla="*/ 544748 h 5973007"/>
              <a:gd name="connsiteX67428" fmla="*/ 3274286 w 6884782"/>
              <a:gd name="connsiteY67428" fmla="*/ 548447 h 5973007"/>
              <a:gd name="connsiteX67429" fmla="*/ 3269163 w 6884782"/>
              <a:gd name="connsiteY67429" fmla="*/ 560539 h 5973007"/>
              <a:gd name="connsiteX67430" fmla="*/ 3258492 w 6884782"/>
              <a:gd name="connsiteY67430" fmla="*/ 553142 h 5973007"/>
              <a:gd name="connsiteX67431" fmla="*/ 3266603 w 6884782"/>
              <a:gd name="connsiteY67431" fmla="*/ 544748 h 5973007"/>
              <a:gd name="connsiteX67432" fmla="*/ 3203003 w 6884782"/>
              <a:gd name="connsiteY67432" fmla="*/ 543467 h 5973007"/>
              <a:gd name="connsiteX67433" fmla="*/ 3194040 w 6884782"/>
              <a:gd name="connsiteY67433" fmla="*/ 577043 h 5973007"/>
              <a:gd name="connsiteX67434" fmla="*/ 3195534 w 6884782"/>
              <a:gd name="connsiteY67434" fmla="*/ 560397 h 5973007"/>
              <a:gd name="connsiteX67435" fmla="*/ 3203003 w 6884782"/>
              <a:gd name="connsiteY67435" fmla="*/ 543467 h 5973007"/>
              <a:gd name="connsiteX67436" fmla="*/ 3125959 w 6884782"/>
              <a:gd name="connsiteY67436" fmla="*/ 543467 h 5973007"/>
              <a:gd name="connsiteX67437" fmla="*/ 3129373 w 6884782"/>
              <a:gd name="connsiteY67437" fmla="*/ 545886 h 5973007"/>
              <a:gd name="connsiteX67438" fmla="*/ 3130868 w 6884782"/>
              <a:gd name="connsiteY67438" fmla="*/ 550723 h 5973007"/>
              <a:gd name="connsiteX67439" fmla="*/ 3121690 w 6884782"/>
              <a:gd name="connsiteY67439" fmla="*/ 552573 h 5973007"/>
              <a:gd name="connsiteX67440" fmla="*/ 3122544 w 6884782"/>
              <a:gd name="connsiteY67440" fmla="*/ 545601 h 5973007"/>
              <a:gd name="connsiteX67441" fmla="*/ 3125959 w 6884782"/>
              <a:gd name="connsiteY67441" fmla="*/ 543467 h 5973007"/>
              <a:gd name="connsiteX67442" fmla="*/ 3449290 w 6884782"/>
              <a:gd name="connsiteY67442" fmla="*/ 542614 h 5973007"/>
              <a:gd name="connsiteX67443" fmla="*/ 3450784 w 6884782"/>
              <a:gd name="connsiteY67443" fmla="*/ 544036 h 5973007"/>
              <a:gd name="connsiteX67444" fmla="*/ 3452918 w 6884782"/>
              <a:gd name="connsiteY67444" fmla="*/ 546881 h 5973007"/>
              <a:gd name="connsiteX67445" fmla="*/ 3452278 w 6884782"/>
              <a:gd name="connsiteY67445" fmla="*/ 548731 h 5973007"/>
              <a:gd name="connsiteX67446" fmla="*/ 3450357 w 6884782"/>
              <a:gd name="connsiteY67446" fmla="*/ 551008 h 5973007"/>
              <a:gd name="connsiteX67447" fmla="*/ 3446302 w 6884782"/>
              <a:gd name="connsiteY67447" fmla="*/ 547024 h 5973007"/>
              <a:gd name="connsiteX67448" fmla="*/ 3447369 w 6884782"/>
              <a:gd name="connsiteY67448" fmla="*/ 543183 h 5973007"/>
              <a:gd name="connsiteX67449" fmla="*/ 3449290 w 6884782"/>
              <a:gd name="connsiteY67449" fmla="*/ 542614 h 5973007"/>
              <a:gd name="connsiteX67450" fmla="*/ 2249017 w 6884782"/>
              <a:gd name="connsiteY67450" fmla="*/ 542329 h 5973007"/>
              <a:gd name="connsiteX67451" fmla="*/ 2254353 w 6884782"/>
              <a:gd name="connsiteY67451" fmla="*/ 543183 h 5973007"/>
              <a:gd name="connsiteX67452" fmla="*/ 2275481 w 6884782"/>
              <a:gd name="connsiteY67452" fmla="*/ 567226 h 5973007"/>
              <a:gd name="connsiteX67453" fmla="*/ 2244748 w 6884782"/>
              <a:gd name="connsiteY67453" fmla="*/ 543183 h 5973007"/>
              <a:gd name="connsiteX67454" fmla="*/ 2249017 w 6884782"/>
              <a:gd name="connsiteY67454" fmla="*/ 542329 h 5973007"/>
              <a:gd name="connsiteX67455" fmla="*/ 2189046 w 6884782"/>
              <a:gd name="connsiteY67455" fmla="*/ 535215 h 5973007"/>
              <a:gd name="connsiteX67456" fmla="*/ 2219138 w 6884782"/>
              <a:gd name="connsiteY67456" fmla="*/ 595395 h 5973007"/>
              <a:gd name="connsiteX67457" fmla="*/ 2202812 w 6884782"/>
              <a:gd name="connsiteY67457" fmla="*/ 602135 h 5973007"/>
              <a:gd name="connsiteX67458" fmla="*/ 2197984 w 6884782"/>
              <a:gd name="connsiteY67458" fmla="*/ 599066 h 5973007"/>
              <a:gd name="connsiteX67459" fmla="*/ 2195537 w 6884782"/>
              <a:gd name="connsiteY67459" fmla="*/ 602104 h 5973007"/>
              <a:gd name="connsiteX67460" fmla="*/ 2191304 w 6884782"/>
              <a:gd name="connsiteY67460" fmla="*/ 596683 h 5973007"/>
              <a:gd name="connsiteX67461" fmla="*/ 2191758 w 6884782"/>
              <a:gd name="connsiteY67461" fmla="*/ 595108 h 5973007"/>
              <a:gd name="connsiteX67462" fmla="*/ 2188406 w 6884782"/>
              <a:gd name="connsiteY67462" fmla="*/ 592977 h 5973007"/>
              <a:gd name="connsiteX67463" fmla="*/ 2189046 w 6884782"/>
              <a:gd name="connsiteY67463" fmla="*/ 535215 h 5973007"/>
              <a:gd name="connsiteX67464" fmla="*/ 2886075 w 6884782"/>
              <a:gd name="connsiteY67464" fmla="*/ 525541 h 5973007"/>
              <a:gd name="connsiteX67465" fmla="*/ 2892051 w 6884782"/>
              <a:gd name="connsiteY67465" fmla="*/ 543041 h 5973007"/>
              <a:gd name="connsiteX67466" fmla="*/ 2891411 w 6884782"/>
              <a:gd name="connsiteY67466" fmla="*/ 548873 h 5973007"/>
              <a:gd name="connsiteX67467" fmla="*/ 2895466 w 6884782"/>
              <a:gd name="connsiteY67467" fmla="*/ 550012 h 5973007"/>
              <a:gd name="connsiteX67468" fmla="*/ 2903149 w 6884782"/>
              <a:gd name="connsiteY67468" fmla="*/ 554280 h 5973007"/>
              <a:gd name="connsiteX67469" fmla="*/ 2889703 w 6884782"/>
              <a:gd name="connsiteY67469" fmla="*/ 561962 h 5973007"/>
              <a:gd name="connsiteX67470" fmla="*/ 2887782 w 6884782"/>
              <a:gd name="connsiteY67470" fmla="*/ 556983 h 5973007"/>
              <a:gd name="connsiteX67471" fmla="*/ 2887569 w 6884782"/>
              <a:gd name="connsiteY67471" fmla="*/ 557694 h 5973007"/>
              <a:gd name="connsiteX67472" fmla="*/ 2886075 w 6884782"/>
              <a:gd name="connsiteY67472" fmla="*/ 525541 h 5973007"/>
              <a:gd name="connsiteX67473" fmla="*/ 2845098 w 6884782"/>
              <a:gd name="connsiteY67473" fmla="*/ 522127 h 5973007"/>
              <a:gd name="connsiteX67474" fmla="*/ 2839336 w 6884782"/>
              <a:gd name="connsiteY67474" fmla="*/ 544606 h 5973007"/>
              <a:gd name="connsiteX67475" fmla="*/ 2837842 w 6884782"/>
              <a:gd name="connsiteY67475" fmla="*/ 547024 h 5973007"/>
              <a:gd name="connsiteX67476" fmla="*/ 2834427 w 6884782"/>
              <a:gd name="connsiteY67476" fmla="*/ 547024 h 5973007"/>
              <a:gd name="connsiteX67477" fmla="*/ 2836349 w 6884782"/>
              <a:gd name="connsiteY67477" fmla="*/ 529241 h 5973007"/>
              <a:gd name="connsiteX67478" fmla="*/ 2837629 w 6884782"/>
              <a:gd name="connsiteY67478" fmla="*/ 526822 h 5973007"/>
              <a:gd name="connsiteX67479" fmla="*/ 2845098 w 6884782"/>
              <a:gd name="connsiteY67479" fmla="*/ 522127 h 5973007"/>
              <a:gd name="connsiteX67480" fmla="*/ 2332678 w 6884782"/>
              <a:gd name="connsiteY67480" fmla="*/ 520989 h 5973007"/>
              <a:gd name="connsiteX67481" fmla="*/ 2342495 w 6884782"/>
              <a:gd name="connsiteY67481" fmla="*/ 525684 h 5973007"/>
              <a:gd name="connsiteX67482" fmla="*/ 2340788 w 6884782"/>
              <a:gd name="connsiteY67482" fmla="*/ 535642 h 5973007"/>
              <a:gd name="connsiteX67483" fmla="*/ 2323714 w 6884782"/>
              <a:gd name="connsiteY67483" fmla="*/ 531232 h 5973007"/>
              <a:gd name="connsiteX67484" fmla="*/ 2332678 w 6884782"/>
              <a:gd name="connsiteY67484" fmla="*/ 520989 h 5973007"/>
              <a:gd name="connsiteX67485" fmla="*/ 3301177 w 6884782"/>
              <a:gd name="connsiteY67485" fmla="*/ 520562 h 5973007"/>
              <a:gd name="connsiteX67486" fmla="*/ 3306299 w 6884782"/>
              <a:gd name="connsiteY67486" fmla="*/ 521700 h 5973007"/>
              <a:gd name="connsiteX67487" fmla="*/ 3319317 w 6884782"/>
              <a:gd name="connsiteY67487" fmla="*/ 533224 h 5973007"/>
              <a:gd name="connsiteX67488" fmla="*/ 3317823 w 6884782"/>
              <a:gd name="connsiteY67488" fmla="*/ 542614 h 5973007"/>
              <a:gd name="connsiteX67489" fmla="*/ 3291146 w 6884782"/>
              <a:gd name="connsiteY67489" fmla="*/ 558406 h 5973007"/>
              <a:gd name="connsiteX67490" fmla="*/ 3279407 w 6884782"/>
              <a:gd name="connsiteY67490" fmla="*/ 543752 h 5973007"/>
              <a:gd name="connsiteX67491" fmla="*/ 3296054 w 6884782"/>
              <a:gd name="connsiteY67491" fmla="*/ 520704 h 5973007"/>
              <a:gd name="connsiteX67492" fmla="*/ 3301177 w 6884782"/>
              <a:gd name="connsiteY67492" fmla="*/ 520562 h 5973007"/>
              <a:gd name="connsiteX67493" fmla="*/ 2291914 w 6884782"/>
              <a:gd name="connsiteY67493" fmla="*/ 520277 h 5973007"/>
              <a:gd name="connsiteX67494" fmla="*/ 2294902 w 6884782"/>
              <a:gd name="connsiteY67494" fmla="*/ 535927 h 5973007"/>
              <a:gd name="connsiteX67495" fmla="*/ 2286793 w 6884782"/>
              <a:gd name="connsiteY67495" fmla="*/ 529667 h 5973007"/>
              <a:gd name="connsiteX67496" fmla="*/ 2291914 w 6884782"/>
              <a:gd name="connsiteY67496" fmla="*/ 520277 h 5973007"/>
              <a:gd name="connsiteX67497" fmla="*/ 3447582 w 6884782"/>
              <a:gd name="connsiteY67497" fmla="*/ 519139 h 5973007"/>
              <a:gd name="connsiteX67498" fmla="*/ 3453131 w 6884782"/>
              <a:gd name="connsiteY67498" fmla="*/ 522412 h 5973007"/>
              <a:gd name="connsiteX67499" fmla="*/ 3445448 w 6884782"/>
              <a:gd name="connsiteY67499" fmla="*/ 533082 h 5973007"/>
              <a:gd name="connsiteX67500" fmla="*/ 3447582 w 6884782"/>
              <a:gd name="connsiteY67500" fmla="*/ 519139 h 5973007"/>
              <a:gd name="connsiteX67501" fmla="*/ 3028213 w 6884782"/>
              <a:gd name="connsiteY67501" fmla="*/ 517859 h 5973007"/>
              <a:gd name="connsiteX67502" fmla="*/ 3030560 w 6884782"/>
              <a:gd name="connsiteY67502" fmla="*/ 524830 h 5973007"/>
              <a:gd name="connsiteX67503" fmla="*/ 3020316 w 6884782"/>
              <a:gd name="connsiteY67503" fmla="*/ 532797 h 5973007"/>
              <a:gd name="connsiteX67504" fmla="*/ 3028213 w 6884782"/>
              <a:gd name="connsiteY67504" fmla="*/ 517859 h 5973007"/>
              <a:gd name="connsiteX67505" fmla="*/ 3389532 w 6884782"/>
              <a:gd name="connsiteY67505" fmla="*/ 517575 h 5973007"/>
              <a:gd name="connsiteX67506" fmla="*/ 3397215 w 6884782"/>
              <a:gd name="connsiteY67506" fmla="*/ 517575 h 5973007"/>
              <a:gd name="connsiteX67507" fmla="*/ 3382063 w 6884782"/>
              <a:gd name="connsiteY67507" fmla="*/ 537777 h 5973007"/>
              <a:gd name="connsiteX67508" fmla="*/ 3389532 w 6884782"/>
              <a:gd name="connsiteY67508" fmla="*/ 517575 h 5973007"/>
              <a:gd name="connsiteX67509" fmla="*/ 2175174 w 6884782"/>
              <a:gd name="connsiteY67509" fmla="*/ 517005 h 5973007"/>
              <a:gd name="connsiteX67510" fmla="*/ 2179229 w 6884782"/>
              <a:gd name="connsiteY67510" fmla="*/ 520847 h 5973007"/>
              <a:gd name="connsiteX67511" fmla="*/ 2179229 w 6884782"/>
              <a:gd name="connsiteY67511" fmla="*/ 523549 h 5973007"/>
              <a:gd name="connsiteX67512" fmla="*/ 2176241 w 6884782"/>
              <a:gd name="connsiteY67512" fmla="*/ 524403 h 5973007"/>
              <a:gd name="connsiteX67513" fmla="*/ 2170051 w 6884782"/>
              <a:gd name="connsiteY67513" fmla="*/ 520847 h 5973007"/>
              <a:gd name="connsiteX67514" fmla="*/ 2170051 w 6884782"/>
              <a:gd name="connsiteY67514" fmla="*/ 518143 h 5973007"/>
              <a:gd name="connsiteX67515" fmla="*/ 2175174 w 6884782"/>
              <a:gd name="connsiteY67515" fmla="*/ 517005 h 5973007"/>
              <a:gd name="connsiteX67516" fmla="*/ 3504565 w 6884782"/>
              <a:gd name="connsiteY67516" fmla="*/ 511741 h 5973007"/>
              <a:gd name="connsiteX67517" fmla="*/ 3507553 w 6884782"/>
              <a:gd name="connsiteY67517" fmla="*/ 511883 h 5973007"/>
              <a:gd name="connsiteX67518" fmla="*/ 3511182 w 6884782"/>
              <a:gd name="connsiteY67518" fmla="*/ 512737 h 5973007"/>
              <a:gd name="connsiteX67519" fmla="*/ 3509261 w 6884782"/>
              <a:gd name="connsiteY67519" fmla="*/ 525257 h 5973007"/>
              <a:gd name="connsiteX67520" fmla="*/ 3504565 w 6884782"/>
              <a:gd name="connsiteY67520" fmla="*/ 511741 h 5973007"/>
              <a:gd name="connsiteX67521" fmla="*/ 3069830 w 6884782"/>
              <a:gd name="connsiteY67521" fmla="*/ 511599 h 5973007"/>
              <a:gd name="connsiteX67522" fmla="*/ 3083915 w 6884782"/>
              <a:gd name="connsiteY67522" fmla="*/ 520562 h 5973007"/>
              <a:gd name="connsiteX67523" fmla="*/ 3085196 w 6884782"/>
              <a:gd name="connsiteY67523" fmla="*/ 522696 h 5973007"/>
              <a:gd name="connsiteX67524" fmla="*/ 3084769 w 6884782"/>
              <a:gd name="connsiteY67524" fmla="*/ 531375 h 5973007"/>
              <a:gd name="connsiteX67525" fmla="*/ 3069189 w 6884782"/>
              <a:gd name="connsiteY67525" fmla="*/ 517005 h 5973007"/>
              <a:gd name="connsiteX67526" fmla="*/ 3067909 w 6884782"/>
              <a:gd name="connsiteY67526" fmla="*/ 514729 h 5973007"/>
              <a:gd name="connsiteX67527" fmla="*/ 3069830 w 6884782"/>
              <a:gd name="connsiteY67527" fmla="*/ 511599 h 5973007"/>
              <a:gd name="connsiteX67528" fmla="*/ 2736255 w 6884782"/>
              <a:gd name="connsiteY67528" fmla="*/ 511599 h 5973007"/>
              <a:gd name="connsiteX67529" fmla="*/ 2749700 w 6884782"/>
              <a:gd name="connsiteY67529" fmla="*/ 520704 h 5973007"/>
              <a:gd name="connsiteX67530" fmla="*/ 2736468 w 6884782"/>
              <a:gd name="connsiteY67530" fmla="*/ 531375 h 5973007"/>
              <a:gd name="connsiteX67531" fmla="*/ 2736255 w 6884782"/>
              <a:gd name="connsiteY67531" fmla="*/ 511599 h 5973007"/>
              <a:gd name="connsiteX67532" fmla="*/ 2232157 w 6884782"/>
              <a:gd name="connsiteY67532" fmla="*/ 508754 h 5973007"/>
              <a:gd name="connsiteX67533" fmla="*/ 2237706 w 6884782"/>
              <a:gd name="connsiteY67533" fmla="*/ 514587 h 5973007"/>
              <a:gd name="connsiteX67534" fmla="*/ 2237492 w 6884782"/>
              <a:gd name="connsiteY67534" fmla="*/ 518143 h 5973007"/>
              <a:gd name="connsiteX67535" fmla="*/ 2234078 w 6884782"/>
              <a:gd name="connsiteY67535" fmla="*/ 516294 h 5973007"/>
              <a:gd name="connsiteX67536" fmla="*/ 2233864 w 6884782"/>
              <a:gd name="connsiteY67536" fmla="*/ 513591 h 5973007"/>
              <a:gd name="connsiteX67537" fmla="*/ 2231090 w 6884782"/>
              <a:gd name="connsiteY67537" fmla="*/ 510746 h 5973007"/>
              <a:gd name="connsiteX67538" fmla="*/ 2232157 w 6884782"/>
              <a:gd name="connsiteY67538" fmla="*/ 508754 h 5973007"/>
              <a:gd name="connsiteX67539" fmla="*/ 2244748 w 6884782"/>
              <a:gd name="connsiteY67539" fmla="*/ 508469 h 5973007"/>
              <a:gd name="connsiteX67540" fmla="*/ 2246029 w 6884782"/>
              <a:gd name="connsiteY67540" fmla="*/ 510034 h 5973007"/>
              <a:gd name="connsiteX67541" fmla="*/ 2247097 w 6884782"/>
              <a:gd name="connsiteY67541" fmla="*/ 513448 h 5973007"/>
              <a:gd name="connsiteX67542" fmla="*/ 2248804 w 6884782"/>
              <a:gd name="connsiteY67542" fmla="*/ 515583 h 5973007"/>
              <a:gd name="connsiteX67543" fmla="*/ 2247310 w 6884782"/>
              <a:gd name="connsiteY67543" fmla="*/ 518855 h 5973007"/>
              <a:gd name="connsiteX67544" fmla="*/ 2245602 w 6884782"/>
              <a:gd name="connsiteY67544" fmla="*/ 516578 h 5973007"/>
              <a:gd name="connsiteX67545" fmla="*/ 2242401 w 6884782"/>
              <a:gd name="connsiteY67545" fmla="*/ 509323 h 5973007"/>
              <a:gd name="connsiteX67546" fmla="*/ 2244748 w 6884782"/>
              <a:gd name="connsiteY67546" fmla="*/ 508469 h 5973007"/>
              <a:gd name="connsiteX67547" fmla="*/ 3117422 w 6884782"/>
              <a:gd name="connsiteY67547" fmla="*/ 507900 h 5973007"/>
              <a:gd name="connsiteX67548" fmla="*/ 3118276 w 6884782"/>
              <a:gd name="connsiteY67548" fmla="*/ 529952 h 5973007"/>
              <a:gd name="connsiteX67549" fmla="*/ 3114007 w 6884782"/>
              <a:gd name="connsiteY67549" fmla="*/ 536496 h 5973007"/>
              <a:gd name="connsiteX67550" fmla="*/ 3114434 w 6884782"/>
              <a:gd name="connsiteY67550" fmla="*/ 537777 h 5973007"/>
              <a:gd name="connsiteX67551" fmla="*/ 3112514 w 6884782"/>
              <a:gd name="connsiteY67551" fmla="*/ 540195 h 5973007"/>
              <a:gd name="connsiteX67552" fmla="*/ 3109526 w 6884782"/>
              <a:gd name="connsiteY67552" fmla="*/ 540622 h 5973007"/>
              <a:gd name="connsiteX67553" fmla="*/ 3109312 w 6884782"/>
              <a:gd name="connsiteY67553" fmla="*/ 540622 h 5973007"/>
              <a:gd name="connsiteX67554" fmla="*/ 3102696 w 6884782"/>
              <a:gd name="connsiteY67554" fmla="*/ 544606 h 5973007"/>
              <a:gd name="connsiteX67555" fmla="*/ 3101202 w 6884782"/>
              <a:gd name="connsiteY67555" fmla="*/ 548731 h 5973007"/>
              <a:gd name="connsiteX67556" fmla="*/ 3099281 w 6884782"/>
              <a:gd name="connsiteY67556" fmla="*/ 552715 h 5973007"/>
              <a:gd name="connsiteX67557" fmla="*/ 3100562 w 6884782"/>
              <a:gd name="connsiteY67557" fmla="*/ 551719 h 5973007"/>
              <a:gd name="connsiteX67558" fmla="*/ 3117635 w 6884782"/>
              <a:gd name="connsiteY67558" fmla="*/ 553142 h 5973007"/>
              <a:gd name="connsiteX67559" fmla="*/ 3106538 w 6884782"/>
              <a:gd name="connsiteY67559" fmla="*/ 558406 h 5973007"/>
              <a:gd name="connsiteX67560" fmla="*/ 3097361 w 6884782"/>
              <a:gd name="connsiteY67560" fmla="*/ 555133 h 5973007"/>
              <a:gd name="connsiteX67561" fmla="*/ 3092665 w 6884782"/>
              <a:gd name="connsiteY67561" fmla="*/ 558690 h 5973007"/>
              <a:gd name="connsiteX67562" fmla="*/ 3083915 w 6884782"/>
              <a:gd name="connsiteY67562" fmla="*/ 551577 h 5973007"/>
              <a:gd name="connsiteX67563" fmla="*/ 3091385 w 6884782"/>
              <a:gd name="connsiteY67563" fmla="*/ 529667 h 5973007"/>
              <a:gd name="connsiteX67564" fmla="*/ 3092239 w 6884782"/>
              <a:gd name="connsiteY67564" fmla="*/ 530236 h 5973007"/>
              <a:gd name="connsiteX67565" fmla="*/ 3094586 w 6884782"/>
              <a:gd name="connsiteY67565" fmla="*/ 522839 h 5973007"/>
              <a:gd name="connsiteX67566" fmla="*/ 3099281 w 6884782"/>
              <a:gd name="connsiteY67566" fmla="*/ 522412 h 5973007"/>
              <a:gd name="connsiteX67567" fmla="*/ 3106538 w 6884782"/>
              <a:gd name="connsiteY67567" fmla="*/ 512737 h 5973007"/>
              <a:gd name="connsiteX67568" fmla="*/ 3117422 w 6884782"/>
              <a:gd name="connsiteY67568" fmla="*/ 507900 h 5973007"/>
              <a:gd name="connsiteX67569" fmla="*/ 3161387 w 6884782"/>
              <a:gd name="connsiteY67569" fmla="*/ 506904 h 5973007"/>
              <a:gd name="connsiteX67570" fmla="*/ 3162454 w 6884782"/>
              <a:gd name="connsiteY67570" fmla="*/ 516436 h 5973007"/>
              <a:gd name="connsiteX67571" fmla="*/ 3160960 w 6884782"/>
              <a:gd name="connsiteY67571" fmla="*/ 518143 h 5973007"/>
              <a:gd name="connsiteX67572" fmla="*/ 3161387 w 6884782"/>
              <a:gd name="connsiteY67572" fmla="*/ 506904 h 5973007"/>
              <a:gd name="connsiteX67573" fmla="*/ 2950741 w 6884782"/>
              <a:gd name="connsiteY67573" fmla="*/ 506051 h 5973007"/>
              <a:gd name="connsiteX67574" fmla="*/ 2976138 w 6884782"/>
              <a:gd name="connsiteY67574" fmla="*/ 519139 h 5973007"/>
              <a:gd name="connsiteX67575" fmla="*/ 2957997 w 6884782"/>
              <a:gd name="connsiteY67575" fmla="*/ 536638 h 5973007"/>
              <a:gd name="connsiteX67576" fmla="*/ 2923210 w 6884782"/>
              <a:gd name="connsiteY67576" fmla="*/ 526253 h 5973007"/>
              <a:gd name="connsiteX67577" fmla="*/ 2923637 w 6884782"/>
              <a:gd name="connsiteY67577" fmla="*/ 522554 h 5973007"/>
              <a:gd name="connsiteX67578" fmla="*/ 2950741 w 6884782"/>
              <a:gd name="connsiteY67578" fmla="*/ 506051 h 5973007"/>
              <a:gd name="connsiteX67579" fmla="*/ 2270786 w 6884782"/>
              <a:gd name="connsiteY67579" fmla="*/ 505766 h 5973007"/>
              <a:gd name="connsiteX67580" fmla="*/ 2273773 w 6884782"/>
              <a:gd name="connsiteY67580" fmla="*/ 507616 h 5973007"/>
              <a:gd name="connsiteX67581" fmla="*/ 2273560 w 6884782"/>
              <a:gd name="connsiteY67581" fmla="*/ 519139 h 5973007"/>
              <a:gd name="connsiteX67582" fmla="*/ 2269292 w 6884782"/>
              <a:gd name="connsiteY67582" fmla="*/ 508185 h 5973007"/>
              <a:gd name="connsiteX67583" fmla="*/ 2270786 w 6884782"/>
              <a:gd name="connsiteY67583" fmla="*/ 505766 h 5973007"/>
              <a:gd name="connsiteX67584" fmla="*/ 3076446 w 6884782"/>
              <a:gd name="connsiteY67584" fmla="*/ 505481 h 5973007"/>
              <a:gd name="connsiteX67585" fmla="*/ 3076018 w 6884782"/>
              <a:gd name="connsiteY67585" fmla="*/ 508185 h 5973007"/>
              <a:gd name="connsiteX67586" fmla="*/ 3071963 w 6884782"/>
              <a:gd name="connsiteY67586" fmla="*/ 508469 h 5973007"/>
              <a:gd name="connsiteX67587" fmla="*/ 3071537 w 6884782"/>
              <a:gd name="connsiteY67587" fmla="*/ 511173 h 5973007"/>
              <a:gd name="connsiteX67588" fmla="*/ 3069830 w 6884782"/>
              <a:gd name="connsiteY67588" fmla="*/ 511599 h 5973007"/>
              <a:gd name="connsiteX67589" fmla="*/ 3067909 w 6884782"/>
              <a:gd name="connsiteY67589" fmla="*/ 508754 h 5973007"/>
              <a:gd name="connsiteX67590" fmla="*/ 3074098 w 6884782"/>
              <a:gd name="connsiteY67590" fmla="*/ 507046 h 5973007"/>
              <a:gd name="connsiteX67591" fmla="*/ 3076446 w 6884782"/>
              <a:gd name="connsiteY67591" fmla="*/ 505481 h 5973007"/>
              <a:gd name="connsiteX67592" fmla="*/ 2178589 w 6884782"/>
              <a:gd name="connsiteY67592" fmla="*/ 504628 h 5973007"/>
              <a:gd name="connsiteX67593" fmla="*/ 2180296 w 6884782"/>
              <a:gd name="connsiteY67593" fmla="*/ 509607 h 5973007"/>
              <a:gd name="connsiteX67594" fmla="*/ 2175601 w 6884782"/>
              <a:gd name="connsiteY67594" fmla="*/ 508327 h 5973007"/>
              <a:gd name="connsiteX67595" fmla="*/ 2175814 w 6884782"/>
              <a:gd name="connsiteY67595" fmla="*/ 506335 h 5973007"/>
              <a:gd name="connsiteX67596" fmla="*/ 2178589 w 6884782"/>
              <a:gd name="connsiteY67596" fmla="*/ 504628 h 5973007"/>
              <a:gd name="connsiteX67597" fmla="*/ 3020530 w 6884782"/>
              <a:gd name="connsiteY67597" fmla="*/ 496803 h 5973007"/>
              <a:gd name="connsiteX67598" fmla="*/ 3023731 w 6884782"/>
              <a:gd name="connsiteY67598" fmla="*/ 502779 h 5973007"/>
              <a:gd name="connsiteX67599" fmla="*/ 3025438 w 6884782"/>
              <a:gd name="connsiteY67599" fmla="*/ 508469 h 5973007"/>
              <a:gd name="connsiteX67600" fmla="*/ 3010072 w 6884782"/>
              <a:gd name="connsiteY67600" fmla="*/ 507900 h 5973007"/>
              <a:gd name="connsiteX67601" fmla="*/ 3011352 w 6884782"/>
              <a:gd name="connsiteY67601" fmla="*/ 502067 h 5973007"/>
              <a:gd name="connsiteX67602" fmla="*/ 3020530 w 6884782"/>
              <a:gd name="connsiteY67602" fmla="*/ 496803 h 5973007"/>
              <a:gd name="connsiteX67603" fmla="*/ 2924917 w 6884782"/>
              <a:gd name="connsiteY67603" fmla="*/ 495950 h 5973007"/>
              <a:gd name="connsiteX67604" fmla="*/ 2928972 w 6884782"/>
              <a:gd name="connsiteY67604" fmla="*/ 496518 h 5973007"/>
              <a:gd name="connsiteX67605" fmla="*/ 2930893 w 6884782"/>
              <a:gd name="connsiteY67605" fmla="*/ 502494 h 5973007"/>
              <a:gd name="connsiteX67606" fmla="*/ 2925557 w 6884782"/>
              <a:gd name="connsiteY67606" fmla="*/ 508185 h 5973007"/>
              <a:gd name="connsiteX67607" fmla="*/ 2925771 w 6884782"/>
              <a:gd name="connsiteY67607" fmla="*/ 509038 h 5973007"/>
              <a:gd name="connsiteX67608" fmla="*/ 2914246 w 6884782"/>
              <a:gd name="connsiteY67608" fmla="*/ 512453 h 5973007"/>
              <a:gd name="connsiteX67609" fmla="*/ 2911899 w 6884782"/>
              <a:gd name="connsiteY67609" fmla="*/ 510746 h 5973007"/>
              <a:gd name="connsiteX67610" fmla="*/ 2911472 w 6884782"/>
              <a:gd name="connsiteY67610" fmla="*/ 510746 h 5973007"/>
              <a:gd name="connsiteX67611" fmla="*/ 2912326 w 6884782"/>
              <a:gd name="connsiteY67611" fmla="*/ 499933 h 5973007"/>
              <a:gd name="connsiteX67612" fmla="*/ 2915954 w 6884782"/>
              <a:gd name="connsiteY67612" fmla="*/ 497230 h 5973007"/>
              <a:gd name="connsiteX67613" fmla="*/ 2921076 w 6884782"/>
              <a:gd name="connsiteY67613" fmla="*/ 497088 h 5973007"/>
              <a:gd name="connsiteX67614" fmla="*/ 2924917 w 6884782"/>
              <a:gd name="connsiteY67614" fmla="*/ 495950 h 5973007"/>
              <a:gd name="connsiteX67615" fmla="*/ 3095867 w 6884782"/>
              <a:gd name="connsiteY67615" fmla="*/ 495665 h 5973007"/>
              <a:gd name="connsiteX67616" fmla="*/ 3096934 w 6884782"/>
              <a:gd name="connsiteY67616" fmla="*/ 496234 h 5973007"/>
              <a:gd name="connsiteX67617" fmla="*/ 3096293 w 6884782"/>
              <a:gd name="connsiteY67617" fmla="*/ 499222 h 5973007"/>
              <a:gd name="connsiteX67618" fmla="*/ 3091812 w 6884782"/>
              <a:gd name="connsiteY67618" fmla="*/ 501925 h 5973007"/>
              <a:gd name="connsiteX67619" fmla="*/ 3080501 w 6884782"/>
              <a:gd name="connsiteY67619" fmla="*/ 505054 h 5973007"/>
              <a:gd name="connsiteX67620" fmla="*/ 3078153 w 6884782"/>
              <a:gd name="connsiteY67620" fmla="*/ 506619 h 5973007"/>
              <a:gd name="connsiteX67621" fmla="*/ 3095867 w 6884782"/>
              <a:gd name="connsiteY67621" fmla="*/ 495665 h 5973007"/>
              <a:gd name="connsiteX67622" fmla="*/ 3499657 w 6884782"/>
              <a:gd name="connsiteY67622" fmla="*/ 493246 h 5973007"/>
              <a:gd name="connsiteX67623" fmla="*/ 3463589 w 6884782"/>
              <a:gd name="connsiteY67623" fmla="*/ 504770 h 5973007"/>
              <a:gd name="connsiteX67624" fmla="*/ 3499657 w 6884782"/>
              <a:gd name="connsiteY67624" fmla="*/ 493246 h 5973007"/>
              <a:gd name="connsiteX67625" fmla="*/ 3227120 w 6884782"/>
              <a:gd name="connsiteY67625" fmla="*/ 493246 h 5973007"/>
              <a:gd name="connsiteX67626" fmla="*/ 3228400 w 6884782"/>
              <a:gd name="connsiteY67626" fmla="*/ 494385 h 5973007"/>
              <a:gd name="connsiteX67627" fmla="*/ 3223065 w 6884782"/>
              <a:gd name="connsiteY67627" fmla="*/ 497088 h 5973007"/>
              <a:gd name="connsiteX67628" fmla="*/ 3227120 w 6884782"/>
              <a:gd name="connsiteY67628" fmla="*/ 493246 h 5973007"/>
              <a:gd name="connsiteX67629" fmla="*/ 3197882 w 6884782"/>
              <a:gd name="connsiteY67629" fmla="*/ 492108 h 5973007"/>
              <a:gd name="connsiteX67630" fmla="*/ 3222211 w 6884782"/>
              <a:gd name="connsiteY67630" fmla="*/ 508469 h 5973007"/>
              <a:gd name="connsiteX67631" fmla="*/ 3225412 w 6884782"/>
              <a:gd name="connsiteY67631" fmla="*/ 519851 h 5973007"/>
              <a:gd name="connsiteX67632" fmla="*/ 3224772 w 6884782"/>
              <a:gd name="connsiteY67632" fmla="*/ 525684 h 5973007"/>
              <a:gd name="connsiteX67633" fmla="*/ 3226266 w 6884782"/>
              <a:gd name="connsiteY67633" fmla="*/ 525114 h 5973007"/>
              <a:gd name="connsiteX67634" fmla="*/ 3242273 w 6884782"/>
              <a:gd name="connsiteY67634" fmla="*/ 538772 h 5973007"/>
              <a:gd name="connsiteX67635" fmla="*/ 3213034 w 6884782"/>
              <a:gd name="connsiteY67635" fmla="*/ 553710 h 5973007"/>
              <a:gd name="connsiteX67636" fmla="*/ 3208765 w 6884782"/>
              <a:gd name="connsiteY67636" fmla="*/ 545174 h 5973007"/>
              <a:gd name="connsiteX67637" fmla="*/ 3209193 w 6884782"/>
              <a:gd name="connsiteY67637" fmla="*/ 537777 h 5973007"/>
              <a:gd name="connsiteX67638" fmla="*/ 3207912 w 6884782"/>
              <a:gd name="connsiteY67638" fmla="*/ 537492 h 5973007"/>
              <a:gd name="connsiteX67639" fmla="*/ 3198735 w 6884782"/>
              <a:gd name="connsiteY67639" fmla="*/ 531375 h 5973007"/>
              <a:gd name="connsiteX67640" fmla="*/ 3194894 w 6884782"/>
              <a:gd name="connsiteY67640" fmla="*/ 525826 h 5973007"/>
              <a:gd name="connsiteX67641" fmla="*/ 3193827 w 6884782"/>
              <a:gd name="connsiteY67641" fmla="*/ 530948 h 5973007"/>
              <a:gd name="connsiteX67642" fmla="*/ 3182728 w 6884782"/>
              <a:gd name="connsiteY67642" fmla="*/ 547878 h 5973007"/>
              <a:gd name="connsiteX67643" fmla="*/ 3174405 w 6884782"/>
              <a:gd name="connsiteY67643" fmla="*/ 534647 h 5973007"/>
              <a:gd name="connsiteX67644" fmla="*/ 3190198 w 6884782"/>
              <a:gd name="connsiteY67644" fmla="*/ 513448 h 5973007"/>
              <a:gd name="connsiteX67645" fmla="*/ 3190838 w 6884782"/>
              <a:gd name="connsiteY67645" fmla="*/ 513448 h 5973007"/>
              <a:gd name="connsiteX67646" fmla="*/ 3191265 w 6884782"/>
              <a:gd name="connsiteY67646" fmla="*/ 503917 h 5973007"/>
              <a:gd name="connsiteX67647" fmla="*/ 3194467 w 6884782"/>
              <a:gd name="connsiteY67647" fmla="*/ 493531 h 5973007"/>
              <a:gd name="connsiteX67648" fmla="*/ 3197882 w 6884782"/>
              <a:gd name="connsiteY67648" fmla="*/ 492108 h 5973007"/>
              <a:gd name="connsiteX67649" fmla="*/ 2902295 w 6884782"/>
              <a:gd name="connsiteY67649" fmla="*/ 491824 h 5973007"/>
              <a:gd name="connsiteX67650" fmla="*/ 2907844 w 6884782"/>
              <a:gd name="connsiteY67650" fmla="*/ 505766 h 5973007"/>
              <a:gd name="connsiteX67651" fmla="*/ 2911472 w 6884782"/>
              <a:gd name="connsiteY67651" fmla="*/ 519282 h 5973007"/>
              <a:gd name="connsiteX67652" fmla="*/ 2909978 w 6884782"/>
              <a:gd name="connsiteY67652" fmla="*/ 523549 h 5973007"/>
              <a:gd name="connsiteX67653" fmla="*/ 2910618 w 6884782"/>
              <a:gd name="connsiteY67653" fmla="*/ 523976 h 5973007"/>
              <a:gd name="connsiteX67654" fmla="*/ 2906137 w 6884782"/>
              <a:gd name="connsiteY67654" fmla="*/ 530948 h 5973007"/>
              <a:gd name="connsiteX67655" fmla="*/ 2903149 w 6884782"/>
              <a:gd name="connsiteY67655" fmla="*/ 527533 h 5973007"/>
              <a:gd name="connsiteX67656" fmla="*/ 2900801 w 6884782"/>
              <a:gd name="connsiteY67656" fmla="*/ 528102 h 5973007"/>
              <a:gd name="connsiteX67657" fmla="*/ 2899734 w 6884782"/>
              <a:gd name="connsiteY67657" fmla="*/ 536496 h 5973007"/>
              <a:gd name="connsiteX67658" fmla="*/ 2896959 w 6884782"/>
              <a:gd name="connsiteY67658" fmla="*/ 544463 h 5973007"/>
              <a:gd name="connsiteX67659" fmla="*/ 2893331 w 6884782"/>
              <a:gd name="connsiteY67659" fmla="*/ 513591 h 5973007"/>
              <a:gd name="connsiteX67660" fmla="*/ 2899094 w 6884782"/>
              <a:gd name="connsiteY67660" fmla="*/ 519282 h 5973007"/>
              <a:gd name="connsiteX67661" fmla="*/ 2899307 w 6884782"/>
              <a:gd name="connsiteY67661" fmla="*/ 520420 h 5973007"/>
              <a:gd name="connsiteX67662" fmla="*/ 2899520 w 6884782"/>
              <a:gd name="connsiteY67662" fmla="*/ 518712 h 5973007"/>
              <a:gd name="connsiteX67663" fmla="*/ 2902295 w 6884782"/>
              <a:gd name="connsiteY67663" fmla="*/ 491824 h 5973007"/>
              <a:gd name="connsiteX67664" fmla="*/ 2176454 w 6884782"/>
              <a:gd name="connsiteY67664" fmla="*/ 490686 h 5973007"/>
              <a:gd name="connsiteX67665" fmla="*/ 2178375 w 6884782"/>
              <a:gd name="connsiteY67665" fmla="*/ 491397 h 5973007"/>
              <a:gd name="connsiteX67666" fmla="*/ 2180296 w 6884782"/>
              <a:gd name="connsiteY67666" fmla="*/ 492535 h 5973007"/>
              <a:gd name="connsiteX67667" fmla="*/ 2178162 w 6884782"/>
              <a:gd name="connsiteY67667" fmla="*/ 503063 h 5973007"/>
              <a:gd name="connsiteX67668" fmla="*/ 2168345 w 6884782"/>
              <a:gd name="connsiteY67668" fmla="*/ 501356 h 5973007"/>
              <a:gd name="connsiteX67669" fmla="*/ 2168131 w 6884782"/>
              <a:gd name="connsiteY67669" fmla="*/ 498652 h 5973007"/>
              <a:gd name="connsiteX67670" fmla="*/ 2168771 w 6884782"/>
              <a:gd name="connsiteY67670" fmla="*/ 495807 h 5973007"/>
              <a:gd name="connsiteX67671" fmla="*/ 2173040 w 6884782"/>
              <a:gd name="connsiteY67671" fmla="*/ 491113 h 5973007"/>
              <a:gd name="connsiteX67672" fmla="*/ 2176454 w 6884782"/>
              <a:gd name="connsiteY67672" fmla="*/ 490686 h 5973007"/>
              <a:gd name="connsiteX67673" fmla="*/ 3066628 w 6884782"/>
              <a:gd name="connsiteY67673" fmla="*/ 490116 h 5973007"/>
              <a:gd name="connsiteX67674" fmla="*/ 3078366 w 6884782"/>
              <a:gd name="connsiteY67674" fmla="*/ 502209 h 5973007"/>
              <a:gd name="connsiteX67675" fmla="*/ 3071323 w 6884782"/>
              <a:gd name="connsiteY67675" fmla="*/ 499079 h 5973007"/>
              <a:gd name="connsiteX67676" fmla="*/ 3064921 w 6884782"/>
              <a:gd name="connsiteY67676" fmla="*/ 490686 h 5973007"/>
              <a:gd name="connsiteX67677" fmla="*/ 3066628 w 6884782"/>
              <a:gd name="connsiteY67677" fmla="*/ 490116 h 5973007"/>
              <a:gd name="connsiteX67678" fmla="*/ 2234718 w 6884782"/>
              <a:gd name="connsiteY67678" fmla="*/ 489121 h 5973007"/>
              <a:gd name="connsiteX67679" fmla="*/ 2239627 w 6884782"/>
              <a:gd name="connsiteY67679" fmla="*/ 493104 h 5973007"/>
              <a:gd name="connsiteX67680" fmla="*/ 2238346 w 6884782"/>
              <a:gd name="connsiteY67680" fmla="*/ 504201 h 5973007"/>
              <a:gd name="connsiteX67681" fmla="*/ 2234078 w 6884782"/>
              <a:gd name="connsiteY67681" fmla="*/ 501782 h 5973007"/>
              <a:gd name="connsiteX67682" fmla="*/ 2232797 w 6884782"/>
              <a:gd name="connsiteY67682" fmla="*/ 491113 h 5973007"/>
              <a:gd name="connsiteX67683" fmla="*/ 2234718 w 6884782"/>
              <a:gd name="connsiteY67683" fmla="*/ 489121 h 5973007"/>
              <a:gd name="connsiteX67684" fmla="*/ 2040719 w 6884782"/>
              <a:gd name="connsiteY67684" fmla="*/ 487556 h 5973007"/>
              <a:gd name="connsiteX67685" fmla="*/ 2086605 w 6884782"/>
              <a:gd name="connsiteY67685" fmla="*/ 515298 h 5973007"/>
              <a:gd name="connsiteX67686" fmla="*/ 2088739 w 6884782"/>
              <a:gd name="connsiteY67686" fmla="*/ 522269 h 5973007"/>
              <a:gd name="connsiteX67687" fmla="*/ 2090873 w 6884782"/>
              <a:gd name="connsiteY67687" fmla="*/ 520989 h 5973007"/>
              <a:gd name="connsiteX67688" fmla="*/ 2095568 w 6884782"/>
              <a:gd name="connsiteY67688" fmla="*/ 522127 h 5973007"/>
              <a:gd name="connsiteX67689" fmla="*/ 2093647 w 6884782"/>
              <a:gd name="connsiteY67689" fmla="*/ 531801 h 5973007"/>
              <a:gd name="connsiteX67690" fmla="*/ 2091086 w 6884782"/>
              <a:gd name="connsiteY67690" fmla="*/ 530663 h 5973007"/>
              <a:gd name="connsiteX67691" fmla="*/ 2093434 w 6884782"/>
              <a:gd name="connsiteY67691" fmla="*/ 538772 h 5973007"/>
              <a:gd name="connsiteX67692" fmla="*/ 2090233 w 6884782"/>
              <a:gd name="connsiteY67692" fmla="*/ 564666 h 5973007"/>
              <a:gd name="connsiteX67693" fmla="*/ 2023156 w 6884782"/>
              <a:gd name="connsiteY67693" fmla="*/ 593195 h 5973007"/>
              <a:gd name="connsiteX67694" fmla="*/ 2013553 w 6884782"/>
              <a:gd name="connsiteY67694" fmla="*/ 596372 h 5973007"/>
              <a:gd name="connsiteX67695" fmla="*/ 2006269 w 6884782"/>
              <a:gd name="connsiteY67695" fmla="*/ 601485 h 5973007"/>
              <a:gd name="connsiteX67696" fmla="*/ 2005086 w 6884782"/>
              <a:gd name="connsiteY67696" fmla="*/ 599174 h 5973007"/>
              <a:gd name="connsiteX67697" fmla="*/ 2000596 w 6884782"/>
              <a:gd name="connsiteY67697" fmla="*/ 600659 h 5973007"/>
              <a:gd name="connsiteX67698" fmla="*/ 1999956 w 6884782"/>
              <a:gd name="connsiteY67698" fmla="*/ 515867 h 5973007"/>
              <a:gd name="connsiteX67699" fmla="*/ 2020658 w 6884782"/>
              <a:gd name="connsiteY67699" fmla="*/ 494385 h 5973007"/>
              <a:gd name="connsiteX67700" fmla="*/ 2040719 w 6884782"/>
              <a:gd name="connsiteY67700" fmla="*/ 487556 h 5973007"/>
              <a:gd name="connsiteX67701" fmla="*/ 3280048 w 6884782"/>
              <a:gd name="connsiteY67701" fmla="*/ 486560 h 5973007"/>
              <a:gd name="connsiteX67702" fmla="*/ 3273859 w 6884782"/>
              <a:gd name="connsiteY67702" fmla="*/ 496661 h 5973007"/>
              <a:gd name="connsiteX67703" fmla="*/ 3280048 w 6884782"/>
              <a:gd name="connsiteY67703" fmla="*/ 486560 h 5973007"/>
              <a:gd name="connsiteX67704" fmla="*/ 3180594 w 6884782"/>
              <a:gd name="connsiteY67704" fmla="*/ 482861 h 5973007"/>
              <a:gd name="connsiteX67705" fmla="*/ 3182302 w 6884782"/>
              <a:gd name="connsiteY67705" fmla="*/ 486276 h 5973007"/>
              <a:gd name="connsiteX67706" fmla="*/ 3180168 w 6884782"/>
              <a:gd name="connsiteY67706" fmla="*/ 488836 h 5973007"/>
              <a:gd name="connsiteX67707" fmla="*/ 3179314 w 6884782"/>
              <a:gd name="connsiteY67707" fmla="*/ 491397 h 5973007"/>
              <a:gd name="connsiteX67708" fmla="*/ 3175685 w 6884782"/>
              <a:gd name="connsiteY67708" fmla="*/ 491539 h 5973007"/>
              <a:gd name="connsiteX67709" fmla="*/ 3176753 w 6884782"/>
              <a:gd name="connsiteY67709" fmla="*/ 488978 h 5973007"/>
              <a:gd name="connsiteX67710" fmla="*/ 3180594 w 6884782"/>
              <a:gd name="connsiteY67710" fmla="*/ 482861 h 5973007"/>
              <a:gd name="connsiteX67711" fmla="*/ 2718968 w 6884782"/>
              <a:gd name="connsiteY67711" fmla="*/ 481865 h 5973007"/>
              <a:gd name="connsiteX67712" fmla="*/ 2724089 w 6884782"/>
              <a:gd name="connsiteY67712" fmla="*/ 482577 h 5973007"/>
              <a:gd name="connsiteX67713" fmla="*/ 2728571 w 6884782"/>
              <a:gd name="connsiteY67713" fmla="*/ 484995 h 5973007"/>
              <a:gd name="connsiteX67714" fmla="*/ 2731346 w 6884782"/>
              <a:gd name="connsiteY67714" fmla="*/ 489405 h 5973007"/>
              <a:gd name="connsiteX67715" fmla="*/ 2736041 w 6884782"/>
              <a:gd name="connsiteY67715" fmla="*/ 496661 h 5973007"/>
              <a:gd name="connsiteX67716" fmla="*/ 2732199 w 6884782"/>
              <a:gd name="connsiteY67716" fmla="*/ 500644 h 5973007"/>
              <a:gd name="connsiteX67717" fmla="*/ 2714485 w 6884782"/>
              <a:gd name="connsiteY67717" fmla="*/ 485991 h 5973007"/>
              <a:gd name="connsiteX67718" fmla="*/ 2718968 w 6884782"/>
              <a:gd name="connsiteY67718" fmla="*/ 481865 h 5973007"/>
              <a:gd name="connsiteX67719" fmla="*/ 3300749 w 6884782"/>
              <a:gd name="connsiteY67719" fmla="*/ 479304 h 5973007"/>
              <a:gd name="connsiteX67720" fmla="*/ 3304164 w 6884782"/>
              <a:gd name="connsiteY67720" fmla="*/ 485137 h 5973007"/>
              <a:gd name="connsiteX67721" fmla="*/ 3301390 w 6884782"/>
              <a:gd name="connsiteY67721" fmla="*/ 506762 h 5973007"/>
              <a:gd name="connsiteX67722" fmla="*/ 3297121 w 6884782"/>
              <a:gd name="connsiteY67722" fmla="*/ 493673 h 5973007"/>
              <a:gd name="connsiteX67723" fmla="*/ 3300749 w 6884782"/>
              <a:gd name="connsiteY67723" fmla="*/ 479304 h 5973007"/>
              <a:gd name="connsiteX67724" fmla="*/ 3249316 w 6884782"/>
              <a:gd name="connsiteY67724" fmla="*/ 478735 h 5973007"/>
              <a:gd name="connsiteX67725" fmla="*/ 3249956 w 6884782"/>
              <a:gd name="connsiteY67725" fmla="*/ 483572 h 5973007"/>
              <a:gd name="connsiteX67726" fmla="*/ 3247608 w 6884782"/>
              <a:gd name="connsiteY67726" fmla="*/ 483714 h 5973007"/>
              <a:gd name="connsiteX67727" fmla="*/ 3240779 w 6884782"/>
              <a:gd name="connsiteY67727" fmla="*/ 489121 h 5973007"/>
              <a:gd name="connsiteX67728" fmla="*/ 3240138 w 6884782"/>
              <a:gd name="connsiteY67728" fmla="*/ 489263 h 5973007"/>
              <a:gd name="connsiteX67729" fmla="*/ 3242273 w 6884782"/>
              <a:gd name="connsiteY67729" fmla="*/ 490401 h 5973007"/>
              <a:gd name="connsiteX67730" fmla="*/ 3245047 w 6884782"/>
              <a:gd name="connsiteY67730" fmla="*/ 491824 h 5973007"/>
              <a:gd name="connsiteX67731" fmla="*/ 3245261 w 6884782"/>
              <a:gd name="connsiteY67731" fmla="*/ 492108 h 5973007"/>
              <a:gd name="connsiteX67732" fmla="*/ 3245901 w 6884782"/>
              <a:gd name="connsiteY67732" fmla="*/ 491824 h 5973007"/>
              <a:gd name="connsiteX67733" fmla="*/ 3250382 w 6884782"/>
              <a:gd name="connsiteY67733" fmla="*/ 491966 h 5973007"/>
              <a:gd name="connsiteX67734" fmla="*/ 3249102 w 6884782"/>
              <a:gd name="connsiteY67734" fmla="*/ 492108 h 5973007"/>
              <a:gd name="connsiteX67735" fmla="*/ 3250382 w 6884782"/>
              <a:gd name="connsiteY67735" fmla="*/ 493104 h 5973007"/>
              <a:gd name="connsiteX67736" fmla="*/ 3246754 w 6884782"/>
              <a:gd name="connsiteY67736" fmla="*/ 494385 h 5973007"/>
              <a:gd name="connsiteX67737" fmla="*/ 3247181 w 6884782"/>
              <a:gd name="connsiteY67737" fmla="*/ 495096 h 5973007"/>
              <a:gd name="connsiteX67738" fmla="*/ 3249102 w 6884782"/>
              <a:gd name="connsiteY67738" fmla="*/ 499079 h 5973007"/>
              <a:gd name="connsiteX67739" fmla="*/ 3246541 w 6884782"/>
              <a:gd name="connsiteY67739" fmla="*/ 501498 h 5973007"/>
              <a:gd name="connsiteX67740" fmla="*/ 3248675 w 6884782"/>
              <a:gd name="connsiteY67740" fmla="*/ 503917 h 5973007"/>
              <a:gd name="connsiteX67741" fmla="*/ 3245901 w 6884782"/>
              <a:gd name="connsiteY67741" fmla="*/ 519282 h 5973007"/>
              <a:gd name="connsiteX67742" fmla="*/ 3239711 w 6884782"/>
              <a:gd name="connsiteY67742" fmla="*/ 522839 h 5973007"/>
              <a:gd name="connsiteX67743" fmla="*/ 3231815 w 6884782"/>
              <a:gd name="connsiteY67743" fmla="*/ 520277 h 5973007"/>
              <a:gd name="connsiteX67744" fmla="*/ 3231175 w 6884782"/>
              <a:gd name="connsiteY67744" fmla="*/ 504770 h 5973007"/>
              <a:gd name="connsiteX67745" fmla="*/ 3242059 w 6884782"/>
              <a:gd name="connsiteY67745" fmla="*/ 498937 h 5973007"/>
              <a:gd name="connsiteX67746" fmla="*/ 3240992 w 6884782"/>
              <a:gd name="connsiteY67746" fmla="*/ 498937 h 5973007"/>
              <a:gd name="connsiteX67747" fmla="*/ 3238858 w 6884782"/>
              <a:gd name="connsiteY67747" fmla="*/ 496376 h 5973007"/>
              <a:gd name="connsiteX67748" fmla="*/ 3236937 w 6884782"/>
              <a:gd name="connsiteY67748" fmla="*/ 496376 h 5973007"/>
              <a:gd name="connsiteX67749" fmla="*/ 3234590 w 6884782"/>
              <a:gd name="connsiteY67749" fmla="*/ 496376 h 5973007"/>
              <a:gd name="connsiteX67750" fmla="*/ 3234376 w 6884782"/>
              <a:gd name="connsiteY67750" fmla="*/ 495238 h 5973007"/>
              <a:gd name="connsiteX67751" fmla="*/ 3237578 w 6884782"/>
              <a:gd name="connsiteY67751" fmla="*/ 494669 h 5973007"/>
              <a:gd name="connsiteX67752" fmla="*/ 3234163 w 6884782"/>
              <a:gd name="connsiteY67752" fmla="*/ 490401 h 5973007"/>
              <a:gd name="connsiteX67753" fmla="*/ 3231388 w 6884782"/>
              <a:gd name="connsiteY67753" fmla="*/ 490828 h 5973007"/>
              <a:gd name="connsiteX67754" fmla="*/ 3233096 w 6884782"/>
              <a:gd name="connsiteY67754" fmla="*/ 488694 h 5973007"/>
              <a:gd name="connsiteX67755" fmla="*/ 3231388 w 6884782"/>
              <a:gd name="connsiteY67755" fmla="*/ 485564 h 5973007"/>
              <a:gd name="connsiteX67756" fmla="*/ 3231175 w 6884782"/>
              <a:gd name="connsiteY67756" fmla="*/ 482149 h 5973007"/>
              <a:gd name="connsiteX67757" fmla="*/ 3234376 w 6884782"/>
              <a:gd name="connsiteY67757" fmla="*/ 483287 h 5973007"/>
              <a:gd name="connsiteX67758" fmla="*/ 3235443 w 6884782"/>
              <a:gd name="connsiteY67758" fmla="*/ 484568 h 5973007"/>
              <a:gd name="connsiteX67759" fmla="*/ 3236510 w 6884782"/>
              <a:gd name="connsiteY67759" fmla="*/ 484568 h 5973007"/>
              <a:gd name="connsiteX67760" fmla="*/ 3236510 w 6884782"/>
              <a:gd name="connsiteY67760" fmla="*/ 484995 h 5973007"/>
              <a:gd name="connsiteX67761" fmla="*/ 3241419 w 6884782"/>
              <a:gd name="connsiteY67761" fmla="*/ 482861 h 5973007"/>
              <a:gd name="connsiteX67762" fmla="*/ 3249316 w 6884782"/>
              <a:gd name="connsiteY67762" fmla="*/ 478735 h 5973007"/>
              <a:gd name="connsiteX67763" fmla="*/ 3047207 w 6884782"/>
              <a:gd name="connsiteY67763" fmla="*/ 475036 h 5973007"/>
              <a:gd name="connsiteX67764" fmla="*/ 3051902 w 6884782"/>
              <a:gd name="connsiteY67764" fmla="*/ 477881 h 5973007"/>
              <a:gd name="connsiteX67765" fmla="*/ 3051262 w 6884782"/>
              <a:gd name="connsiteY67765" fmla="*/ 484852 h 5973007"/>
              <a:gd name="connsiteX67766" fmla="*/ 3051689 w 6884782"/>
              <a:gd name="connsiteY67766" fmla="*/ 489405 h 5973007"/>
              <a:gd name="connsiteX67767" fmla="*/ 3049128 w 6884782"/>
              <a:gd name="connsiteY67767" fmla="*/ 492251 h 5973007"/>
              <a:gd name="connsiteX67768" fmla="*/ 3044433 w 6884782"/>
              <a:gd name="connsiteY67768" fmla="*/ 483430 h 5973007"/>
              <a:gd name="connsiteX67769" fmla="*/ 3047207 w 6884782"/>
              <a:gd name="connsiteY67769" fmla="*/ 475036 h 5973007"/>
              <a:gd name="connsiteX67770" fmla="*/ 2274200 w 6884782"/>
              <a:gd name="connsiteY67770" fmla="*/ 474609 h 5973007"/>
              <a:gd name="connsiteX67771" fmla="*/ 2273987 w 6884782"/>
              <a:gd name="connsiteY67771" fmla="*/ 481154 h 5973007"/>
              <a:gd name="connsiteX67772" fmla="*/ 2272707 w 6884782"/>
              <a:gd name="connsiteY67772" fmla="*/ 475036 h 5973007"/>
              <a:gd name="connsiteX67773" fmla="*/ 2274200 w 6884782"/>
              <a:gd name="connsiteY67773" fmla="*/ 474609 h 5973007"/>
              <a:gd name="connsiteX67774" fmla="*/ 2661131 w 6884782"/>
              <a:gd name="connsiteY67774" fmla="*/ 474040 h 5973007"/>
              <a:gd name="connsiteX67775" fmla="*/ 2664972 w 6884782"/>
              <a:gd name="connsiteY67775" fmla="*/ 476459 h 5973007"/>
              <a:gd name="connsiteX67776" fmla="*/ 2661771 w 6884782"/>
              <a:gd name="connsiteY67776" fmla="*/ 484995 h 5973007"/>
              <a:gd name="connsiteX67777" fmla="*/ 2656435 w 6884782"/>
              <a:gd name="connsiteY67777" fmla="*/ 476032 h 5973007"/>
              <a:gd name="connsiteX67778" fmla="*/ 2661131 w 6884782"/>
              <a:gd name="connsiteY67778" fmla="*/ 474040 h 5973007"/>
              <a:gd name="connsiteX67779" fmla="*/ 3174619 w 6884782"/>
              <a:gd name="connsiteY67779" fmla="*/ 473471 h 5973007"/>
              <a:gd name="connsiteX67780" fmla="*/ 3173338 w 6884782"/>
              <a:gd name="connsiteY67780" fmla="*/ 481154 h 5973007"/>
              <a:gd name="connsiteX67781" fmla="*/ 3170350 w 6884782"/>
              <a:gd name="connsiteY67781" fmla="*/ 482577 h 5973007"/>
              <a:gd name="connsiteX67782" fmla="*/ 3169710 w 6884782"/>
              <a:gd name="connsiteY67782" fmla="*/ 478735 h 5973007"/>
              <a:gd name="connsiteX67783" fmla="*/ 3171844 w 6884782"/>
              <a:gd name="connsiteY67783" fmla="*/ 477312 h 5973007"/>
              <a:gd name="connsiteX67784" fmla="*/ 3172271 w 6884782"/>
              <a:gd name="connsiteY67784" fmla="*/ 473613 h 5973007"/>
              <a:gd name="connsiteX67785" fmla="*/ 3174619 w 6884782"/>
              <a:gd name="connsiteY67785" fmla="*/ 473471 h 5973007"/>
              <a:gd name="connsiteX67786" fmla="*/ 2919369 w 6884782"/>
              <a:gd name="connsiteY67786" fmla="*/ 472902 h 5973007"/>
              <a:gd name="connsiteX67787" fmla="*/ 2921289 w 6884782"/>
              <a:gd name="connsiteY67787" fmla="*/ 476885 h 5973007"/>
              <a:gd name="connsiteX67788" fmla="*/ 2920649 w 6884782"/>
              <a:gd name="connsiteY67788" fmla="*/ 481580 h 5973007"/>
              <a:gd name="connsiteX67789" fmla="*/ 2919369 w 6884782"/>
              <a:gd name="connsiteY67789" fmla="*/ 472902 h 5973007"/>
              <a:gd name="connsiteX67790" fmla="*/ 2359995 w 6884782"/>
              <a:gd name="connsiteY67790" fmla="*/ 469345 h 5973007"/>
              <a:gd name="connsiteX67791" fmla="*/ 2356794 w 6884782"/>
              <a:gd name="connsiteY67791" fmla="*/ 479304 h 5973007"/>
              <a:gd name="connsiteX67792" fmla="*/ 2354233 w 6884782"/>
              <a:gd name="connsiteY67792" fmla="*/ 484426 h 5973007"/>
              <a:gd name="connsiteX67793" fmla="*/ 2351245 w 6884782"/>
              <a:gd name="connsiteY67793" fmla="*/ 485422 h 5973007"/>
              <a:gd name="connsiteX67794" fmla="*/ 2350178 w 6884782"/>
              <a:gd name="connsiteY67794" fmla="*/ 484852 h 5973007"/>
              <a:gd name="connsiteX67795" fmla="*/ 2350392 w 6884782"/>
              <a:gd name="connsiteY67795" fmla="*/ 482149 h 5973007"/>
              <a:gd name="connsiteX67796" fmla="*/ 2355940 w 6884782"/>
              <a:gd name="connsiteY67796" fmla="*/ 472333 h 5973007"/>
              <a:gd name="connsiteX67797" fmla="*/ 2357008 w 6884782"/>
              <a:gd name="connsiteY67797" fmla="*/ 470199 h 5973007"/>
              <a:gd name="connsiteX67798" fmla="*/ 2359995 w 6884782"/>
              <a:gd name="connsiteY67798" fmla="*/ 469345 h 5973007"/>
              <a:gd name="connsiteX67799" fmla="*/ 2855556 w 6884782"/>
              <a:gd name="connsiteY67799" fmla="*/ 469061 h 5973007"/>
              <a:gd name="connsiteX67800" fmla="*/ 2860891 w 6884782"/>
              <a:gd name="connsiteY67800" fmla="*/ 469630 h 5973007"/>
              <a:gd name="connsiteX67801" fmla="*/ 2859824 w 6884782"/>
              <a:gd name="connsiteY67801" fmla="*/ 469630 h 5973007"/>
              <a:gd name="connsiteX67802" fmla="*/ 2859398 w 6884782"/>
              <a:gd name="connsiteY67802" fmla="*/ 472048 h 5973007"/>
              <a:gd name="connsiteX67803" fmla="*/ 2860678 w 6884782"/>
              <a:gd name="connsiteY67803" fmla="*/ 472191 h 5973007"/>
              <a:gd name="connsiteX67804" fmla="*/ 2859398 w 6884782"/>
              <a:gd name="connsiteY67804" fmla="*/ 474467 h 5973007"/>
              <a:gd name="connsiteX67805" fmla="*/ 2850861 w 6884782"/>
              <a:gd name="connsiteY67805" fmla="*/ 478024 h 5973007"/>
              <a:gd name="connsiteX67806" fmla="*/ 2851288 w 6884782"/>
              <a:gd name="connsiteY67806" fmla="*/ 471906 h 5973007"/>
              <a:gd name="connsiteX67807" fmla="*/ 2855556 w 6884782"/>
              <a:gd name="connsiteY67807" fmla="*/ 469061 h 5973007"/>
              <a:gd name="connsiteX67808" fmla="*/ 3189344 w 6884782"/>
              <a:gd name="connsiteY67808" fmla="*/ 465931 h 5973007"/>
              <a:gd name="connsiteX67809" fmla="*/ 3192119 w 6884782"/>
              <a:gd name="connsiteY67809" fmla="*/ 466500 h 5973007"/>
              <a:gd name="connsiteX67810" fmla="*/ 3191906 w 6884782"/>
              <a:gd name="connsiteY67810" fmla="*/ 472618 h 5973007"/>
              <a:gd name="connsiteX67811" fmla="*/ 3182088 w 6884782"/>
              <a:gd name="connsiteY67811" fmla="*/ 476885 h 5973007"/>
              <a:gd name="connsiteX67812" fmla="*/ 3181448 w 6884782"/>
              <a:gd name="connsiteY67812" fmla="*/ 472048 h 5973007"/>
              <a:gd name="connsiteX67813" fmla="*/ 3189344 w 6884782"/>
              <a:gd name="connsiteY67813" fmla="*/ 465931 h 5973007"/>
              <a:gd name="connsiteX67814" fmla="*/ 3493894 w 6884782"/>
              <a:gd name="connsiteY67814" fmla="*/ 465219 h 5973007"/>
              <a:gd name="connsiteX67815" fmla="*/ 3507340 w 6884782"/>
              <a:gd name="connsiteY67815" fmla="*/ 479873 h 5973007"/>
              <a:gd name="connsiteX67816" fmla="*/ 3495389 w 6884782"/>
              <a:gd name="connsiteY67816" fmla="*/ 487983 h 5973007"/>
              <a:gd name="connsiteX67817" fmla="*/ 3493894 w 6884782"/>
              <a:gd name="connsiteY67817" fmla="*/ 465219 h 5973007"/>
              <a:gd name="connsiteX67818" fmla="*/ 2546951 w 6884782"/>
              <a:gd name="connsiteY67818" fmla="*/ 465077 h 5973007"/>
              <a:gd name="connsiteX67819" fmla="*/ 2553781 w 6884782"/>
              <a:gd name="connsiteY67819" fmla="*/ 474751 h 5973007"/>
              <a:gd name="connsiteX67820" fmla="*/ 2546951 w 6884782"/>
              <a:gd name="connsiteY67820" fmla="*/ 465077 h 5973007"/>
              <a:gd name="connsiteX67821" fmla="*/ 2697412 w 6884782"/>
              <a:gd name="connsiteY67821" fmla="*/ 462232 h 5973007"/>
              <a:gd name="connsiteX67822" fmla="*/ 2701254 w 6884782"/>
              <a:gd name="connsiteY67822" fmla="*/ 466784 h 5973007"/>
              <a:gd name="connsiteX67823" fmla="*/ 2699759 w 6884782"/>
              <a:gd name="connsiteY67823" fmla="*/ 473044 h 5973007"/>
              <a:gd name="connsiteX67824" fmla="*/ 2698692 w 6884782"/>
              <a:gd name="connsiteY67824" fmla="*/ 474325 h 5973007"/>
              <a:gd name="connsiteX67825" fmla="*/ 2692503 w 6884782"/>
              <a:gd name="connsiteY67825" fmla="*/ 478593 h 5973007"/>
              <a:gd name="connsiteX67826" fmla="*/ 2692076 w 6884782"/>
              <a:gd name="connsiteY67826" fmla="*/ 481580 h 5973007"/>
              <a:gd name="connsiteX67827" fmla="*/ 2679058 w 6884782"/>
              <a:gd name="connsiteY67827" fmla="*/ 471906 h 5973007"/>
              <a:gd name="connsiteX67828" fmla="*/ 2680979 w 6884782"/>
              <a:gd name="connsiteY67828" fmla="*/ 465931 h 5973007"/>
              <a:gd name="connsiteX67829" fmla="*/ 2686955 w 6884782"/>
              <a:gd name="connsiteY67829" fmla="*/ 465789 h 5973007"/>
              <a:gd name="connsiteX67830" fmla="*/ 2688875 w 6884782"/>
              <a:gd name="connsiteY67830" fmla="*/ 467638 h 5973007"/>
              <a:gd name="connsiteX67831" fmla="*/ 2691436 w 6884782"/>
              <a:gd name="connsiteY67831" fmla="*/ 465789 h 5973007"/>
              <a:gd name="connsiteX67832" fmla="*/ 2697412 w 6884782"/>
              <a:gd name="connsiteY67832" fmla="*/ 462232 h 5973007"/>
              <a:gd name="connsiteX67833" fmla="*/ 2099197 w 6884782"/>
              <a:gd name="connsiteY67833" fmla="*/ 462232 h 5973007"/>
              <a:gd name="connsiteX67834" fmla="*/ 2104318 w 6884782"/>
              <a:gd name="connsiteY67834" fmla="*/ 462659 h 5973007"/>
              <a:gd name="connsiteX67835" fmla="*/ 2107307 w 6884782"/>
              <a:gd name="connsiteY67835" fmla="*/ 476459 h 5973007"/>
              <a:gd name="connsiteX67836" fmla="*/ 2085538 w 6884782"/>
              <a:gd name="connsiteY67836" fmla="*/ 471621 h 5973007"/>
              <a:gd name="connsiteX67837" fmla="*/ 2099197 w 6884782"/>
              <a:gd name="connsiteY67837" fmla="*/ 462232 h 5973007"/>
              <a:gd name="connsiteX67838" fmla="*/ 3055317 w 6884782"/>
              <a:gd name="connsiteY67838" fmla="*/ 459529 h 5973007"/>
              <a:gd name="connsiteX67839" fmla="*/ 3060439 w 6884782"/>
              <a:gd name="connsiteY67839" fmla="*/ 465504 h 5973007"/>
              <a:gd name="connsiteX67840" fmla="*/ 3049341 w 6884782"/>
              <a:gd name="connsiteY67840" fmla="*/ 473471 h 5973007"/>
              <a:gd name="connsiteX67841" fmla="*/ 3045926 w 6884782"/>
              <a:gd name="connsiteY67841" fmla="*/ 469488 h 5973007"/>
              <a:gd name="connsiteX67842" fmla="*/ 3055317 w 6884782"/>
              <a:gd name="connsiteY67842" fmla="*/ 459529 h 5973007"/>
              <a:gd name="connsiteX67843" fmla="*/ 2896106 w 6884782"/>
              <a:gd name="connsiteY67843" fmla="*/ 458106 h 5973007"/>
              <a:gd name="connsiteX67844" fmla="*/ 2896746 w 6884782"/>
              <a:gd name="connsiteY67844" fmla="*/ 459102 h 5973007"/>
              <a:gd name="connsiteX67845" fmla="*/ 2897173 w 6884782"/>
              <a:gd name="connsiteY67845" fmla="*/ 459244 h 5973007"/>
              <a:gd name="connsiteX67846" fmla="*/ 2897173 w 6884782"/>
              <a:gd name="connsiteY67846" fmla="*/ 461662 h 5973007"/>
              <a:gd name="connsiteX67847" fmla="*/ 2896106 w 6884782"/>
              <a:gd name="connsiteY67847" fmla="*/ 463939 h 5973007"/>
              <a:gd name="connsiteX67848" fmla="*/ 2892478 w 6884782"/>
              <a:gd name="connsiteY67848" fmla="*/ 460525 h 5973007"/>
              <a:gd name="connsiteX67849" fmla="*/ 2894399 w 6884782"/>
              <a:gd name="connsiteY67849" fmla="*/ 459387 h 5973007"/>
              <a:gd name="connsiteX67850" fmla="*/ 2893544 w 6884782"/>
              <a:gd name="connsiteY67850" fmla="*/ 458390 h 5973007"/>
              <a:gd name="connsiteX67851" fmla="*/ 2896106 w 6884782"/>
              <a:gd name="connsiteY67851" fmla="*/ 458106 h 5973007"/>
              <a:gd name="connsiteX67852" fmla="*/ 3306512 w 6884782"/>
              <a:gd name="connsiteY67852" fmla="*/ 455830 h 5973007"/>
              <a:gd name="connsiteX67853" fmla="*/ 3310567 w 6884782"/>
              <a:gd name="connsiteY67853" fmla="*/ 459813 h 5973007"/>
              <a:gd name="connsiteX67854" fmla="*/ 3306085 w 6884782"/>
              <a:gd name="connsiteY67854" fmla="*/ 477597 h 5973007"/>
              <a:gd name="connsiteX67855" fmla="*/ 3297975 w 6884782"/>
              <a:gd name="connsiteY67855" fmla="*/ 471053 h 5973007"/>
              <a:gd name="connsiteX67856" fmla="*/ 3298616 w 6884782"/>
              <a:gd name="connsiteY67856" fmla="*/ 463939 h 5973007"/>
              <a:gd name="connsiteX67857" fmla="*/ 3306512 w 6884782"/>
              <a:gd name="connsiteY67857" fmla="*/ 455830 h 5973007"/>
              <a:gd name="connsiteX67858" fmla="*/ 2670734 w 6884782"/>
              <a:gd name="connsiteY67858" fmla="*/ 455403 h 5973007"/>
              <a:gd name="connsiteX67859" fmla="*/ 2672655 w 6884782"/>
              <a:gd name="connsiteY67859" fmla="*/ 458106 h 5973007"/>
              <a:gd name="connsiteX67860" fmla="*/ 2668387 w 6884782"/>
              <a:gd name="connsiteY67860" fmla="*/ 468065 h 5973007"/>
              <a:gd name="connsiteX67861" fmla="*/ 2670734 w 6884782"/>
              <a:gd name="connsiteY67861" fmla="*/ 455403 h 5973007"/>
              <a:gd name="connsiteX67862" fmla="*/ 2465425 w 6884782"/>
              <a:gd name="connsiteY67862" fmla="*/ 455403 h 5973007"/>
              <a:gd name="connsiteX67863" fmla="*/ 2464358 w 6884782"/>
              <a:gd name="connsiteY67863" fmla="*/ 458675 h 5973007"/>
              <a:gd name="connsiteX67864" fmla="*/ 2462223 w 6884782"/>
              <a:gd name="connsiteY67864" fmla="*/ 460525 h 5973007"/>
              <a:gd name="connsiteX67865" fmla="*/ 2471187 w 6884782"/>
              <a:gd name="connsiteY67865" fmla="*/ 462089 h 5973007"/>
              <a:gd name="connsiteX67866" fmla="*/ 2498852 w 6884782"/>
              <a:gd name="connsiteY67866" fmla="*/ 476245 h 5973007"/>
              <a:gd name="connsiteX67867" fmla="*/ 2519096 w 6884782"/>
              <a:gd name="connsiteY67867" fmla="*/ 494902 h 5973007"/>
              <a:gd name="connsiteX67868" fmla="*/ 2569754 w 6884782"/>
              <a:gd name="connsiteY67868" fmla="*/ 490743 h 5973007"/>
              <a:gd name="connsiteX67869" fmla="*/ 2591274 w 6884782"/>
              <a:gd name="connsiteY67869" fmla="*/ 490743 h 5973007"/>
              <a:gd name="connsiteX67870" fmla="*/ 2607828 w 6884782"/>
              <a:gd name="connsiteY67870" fmla="*/ 490743 h 5973007"/>
              <a:gd name="connsiteX67871" fmla="*/ 2618690 w 6884782"/>
              <a:gd name="connsiteY67871" fmla="*/ 494532 h 5973007"/>
              <a:gd name="connsiteX67872" fmla="*/ 2618447 w 6884782"/>
              <a:gd name="connsiteY67872" fmla="*/ 493246 h 5973007"/>
              <a:gd name="connsiteX67873" fmla="*/ 2623355 w 6884782"/>
              <a:gd name="connsiteY67873" fmla="*/ 492535 h 5973007"/>
              <a:gd name="connsiteX67874" fmla="*/ 2625703 w 6884782"/>
              <a:gd name="connsiteY67874" fmla="*/ 493531 h 5973007"/>
              <a:gd name="connsiteX67875" fmla="*/ 2623682 w 6884782"/>
              <a:gd name="connsiteY67875" fmla="*/ 496983 h 5973007"/>
              <a:gd name="connsiteX67876" fmla="*/ 2631005 w 6884782"/>
              <a:gd name="connsiteY67876" fmla="*/ 501525 h 5973007"/>
              <a:gd name="connsiteX67877" fmla="*/ 2638454 w 6884782"/>
              <a:gd name="connsiteY67877" fmla="*/ 513847 h 5973007"/>
              <a:gd name="connsiteX67878" fmla="*/ 2641877 w 6884782"/>
              <a:gd name="connsiteY67878" fmla="*/ 522604 h 5973007"/>
              <a:gd name="connsiteX67879" fmla="*/ 2648539 w 6884782"/>
              <a:gd name="connsiteY67879" fmla="*/ 520847 h 5973007"/>
              <a:gd name="connsiteX67880" fmla="*/ 2655582 w 6884782"/>
              <a:gd name="connsiteY67880" fmla="*/ 520135 h 5973007"/>
              <a:gd name="connsiteX67881" fmla="*/ 2654942 w 6884782"/>
              <a:gd name="connsiteY67881" fmla="*/ 519566 h 5973007"/>
              <a:gd name="connsiteX67882" fmla="*/ 2661131 w 6884782"/>
              <a:gd name="connsiteY67882" fmla="*/ 498226 h 5973007"/>
              <a:gd name="connsiteX67883" fmla="*/ 2664759 w 6884782"/>
              <a:gd name="connsiteY67883" fmla="*/ 499222 h 5973007"/>
              <a:gd name="connsiteX67884" fmla="*/ 2668601 w 6884782"/>
              <a:gd name="connsiteY67884" fmla="*/ 506193 h 5973007"/>
              <a:gd name="connsiteX67885" fmla="*/ 2668174 w 6884782"/>
              <a:gd name="connsiteY67885" fmla="*/ 511173 h 5973007"/>
              <a:gd name="connsiteX67886" fmla="*/ 2674363 w 6884782"/>
              <a:gd name="connsiteY67886" fmla="*/ 511741 h 5973007"/>
              <a:gd name="connsiteX67887" fmla="*/ 2673509 w 6884782"/>
              <a:gd name="connsiteY67887" fmla="*/ 518143 h 5973007"/>
              <a:gd name="connsiteX67888" fmla="*/ 2673296 w 6884782"/>
              <a:gd name="connsiteY67888" fmla="*/ 518428 h 5973007"/>
              <a:gd name="connsiteX67889" fmla="*/ 2680125 w 6884782"/>
              <a:gd name="connsiteY67889" fmla="*/ 517859 h 5973007"/>
              <a:gd name="connsiteX67890" fmla="*/ 2680125 w 6884782"/>
              <a:gd name="connsiteY67890" fmla="*/ 523834 h 5973007"/>
              <a:gd name="connsiteX67891" fmla="*/ 2679698 w 6884782"/>
              <a:gd name="connsiteY67891" fmla="*/ 527106 h 5973007"/>
              <a:gd name="connsiteX67892" fmla="*/ 2680979 w 6884782"/>
              <a:gd name="connsiteY67892" fmla="*/ 527249 h 5973007"/>
              <a:gd name="connsiteX67893" fmla="*/ 2682900 w 6884782"/>
              <a:gd name="connsiteY67893" fmla="*/ 533935 h 5973007"/>
              <a:gd name="connsiteX67894" fmla="*/ 2682046 w 6884782"/>
              <a:gd name="connsiteY67894" fmla="*/ 535642 h 5973007"/>
              <a:gd name="connsiteX67895" fmla="*/ 2687808 w 6884782"/>
              <a:gd name="connsiteY67895" fmla="*/ 535358 h 5973007"/>
              <a:gd name="connsiteX67896" fmla="*/ 2693144 w 6884782"/>
              <a:gd name="connsiteY67896" fmla="*/ 537492 h 5973007"/>
              <a:gd name="connsiteX67897" fmla="*/ 2694424 w 6884782"/>
              <a:gd name="connsiteY67897" fmla="*/ 540053 h 5973007"/>
              <a:gd name="connsiteX67898" fmla="*/ 2695918 w 6884782"/>
              <a:gd name="connsiteY67898" fmla="*/ 537492 h 5973007"/>
              <a:gd name="connsiteX67899" fmla="*/ 2702747 w 6884782"/>
              <a:gd name="connsiteY67899" fmla="*/ 534789 h 5973007"/>
              <a:gd name="connsiteX67900" fmla="*/ 2710004 w 6884782"/>
              <a:gd name="connsiteY67900" fmla="*/ 535500 h 5973007"/>
              <a:gd name="connsiteX67901" fmla="*/ 2705949 w 6884782"/>
              <a:gd name="connsiteY67901" fmla="*/ 542471 h 5973007"/>
              <a:gd name="connsiteX67902" fmla="*/ 2695278 w 6884782"/>
              <a:gd name="connsiteY67902" fmla="*/ 543467 h 5973007"/>
              <a:gd name="connsiteX67903" fmla="*/ 2694211 w 6884782"/>
              <a:gd name="connsiteY67903" fmla="*/ 541618 h 5973007"/>
              <a:gd name="connsiteX67904" fmla="*/ 2693144 w 6884782"/>
              <a:gd name="connsiteY67904" fmla="*/ 546597 h 5973007"/>
              <a:gd name="connsiteX67905" fmla="*/ 2677777 w 6884782"/>
              <a:gd name="connsiteY67905" fmla="*/ 556698 h 5973007"/>
              <a:gd name="connsiteX67906" fmla="*/ 2676070 w 6884782"/>
              <a:gd name="connsiteY67906" fmla="*/ 544321 h 5973007"/>
              <a:gd name="connsiteX67907" fmla="*/ 2677350 w 6884782"/>
              <a:gd name="connsiteY67907" fmla="*/ 538772 h 5973007"/>
              <a:gd name="connsiteX67908" fmla="*/ 2676924 w 6884782"/>
              <a:gd name="connsiteY67908" fmla="*/ 538772 h 5973007"/>
              <a:gd name="connsiteX67909" fmla="*/ 2672442 w 6884782"/>
              <a:gd name="connsiteY67909" fmla="*/ 537207 h 5973007"/>
              <a:gd name="connsiteX67910" fmla="*/ 2668387 w 6884782"/>
              <a:gd name="connsiteY67910" fmla="*/ 531659 h 5973007"/>
              <a:gd name="connsiteX67911" fmla="*/ 2648752 w 6884782"/>
              <a:gd name="connsiteY67911" fmla="*/ 532370 h 5973007"/>
              <a:gd name="connsiteX67912" fmla="*/ 2645553 w 6884782"/>
              <a:gd name="connsiteY67912" fmla="*/ 532453 h 5973007"/>
              <a:gd name="connsiteX67913" fmla="*/ 2651697 w 6884782"/>
              <a:gd name="connsiteY67913" fmla="*/ 553894 h 5973007"/>
              <a:gd name="connsiteX67914" fmla="*/ 2655158 w 6884782"/>
              <a:gd name="connsiteY67914" fmla="*/ 573213 h 5973007"/>
              <a:gd name="connsiteX67915" fmla="*/ 2662018 w 6884782"/>
              <a:gd name="connsiteY67915" fmla="*/ 575936 h 5973007"/>
              <a:gd name="connsiteX67916" fmla="*/ 2667320 w 6884782"/>
              <a:gd name="connsiteY67916" fmla="*/ 579461 h 5973007"/>
              <a:gd name="connsiteX67917" fmla="*/ 2672869 w 6884782"/>
              <a:gd name="connsiteY67917" fmla="*/ 571779 h 5973007"/>
              <a:gd name="connsiteX67918" fmla="*/ 2678844 w 6884782"/>
              <a:gd name="connsiteY67918" fmla="*/ 584014 h 5973007"/>
              <a:gd name="connsiteX67919" fmla="*/ 2708083 w 6884782"/>
              <a:gd name="connsiteY67919" fmla="*/ 577469 h 5973007"/>
              <a:gd name="connsiteX67920" fmla="*/ 2695918 w 6884782"/>
              <a:gd name="connsiteY67920" fmla="*/ 580884 h 5973007"/>
              <a:gd name="connsiteX67921" fmla="*/ 2716193 w 6884782"/>
              <a:gd name="connsiteY67921" fmla="*/ 588282 h 5973007"/>
              <a:gd name="connsiteX67922" fmla="*/ 2716406 w 6884782"/>
              <a:gd name="connsiteY67922" fmla="*/ 588282 h 5973007"/>
              <a:gd name="connsiteX67923" fmla="*/ 2715553 w 6884782"/>
              <a:gd name="connsiteY67923" fmla="*/ 580742 h 5973007"/>
              <a:gd name="connsiteX67924" fmla="*/ 2713845 w 6884782"/>
              <a:gd name="connsiteY67924" fmla="*/ 556983 h 5973007"/>
              <a:gd name="connsiteX67925" fmla="*/ 2723022 w 6884782"/>
              <a:gd name="connsiteY67925" fmla="*/ 571352 h 5973007"/>
              <a:gd name="connsiteX67926" fmla="*/ 2725797 w 6884782"/>
              <a:gd name="connsiteY67926" fmla="*/ 580030 h 5973007"/>
              <a:gd name="connsiteX67927" fmla="*/ 2726010 w 6884782"/>
              <a:gd name="connsiteY67927" fmla="*/ 582449 h 5973007"/>
              <a:gd name="connsiteX67928" fmla="*/ 2728358 w 6884782"/>
              <a:gd name="connsiteY67928" fmla="*/ 585152 h 5973007"/>
              <a:gd name="connsiteX67929" fmla="*/ 2741163 w 6884782"/>
              <a:gd name="connsiteY67929" fmla="*/ 588709 h 5973007"/>
              <a:gd name="connsiteX67930" fmla="*/ 2743724 w 6884782"/>
              <a:gd name="connsiteY67930" fmla="*/ 581169 h 5973007"/>
              <a:gd name="connsiteX67931" fmla="*/ 2747993 w 6884782"/>
              <a:gd name="connsiteY67931" fmla="*/ 584299 h 5973007"/>
              <a:gd name="connsiteX67932" fmla="*/ 2748206 w 6884782"/>
              <a:gd name="connsiteY67932" fmla="*/ 581026 h 5973007"/>
              <a:gd name="connsiteX67933" fmla="*/ 2739029 w 6884782"/>
              <a:gd name="connsiteY67933" fmla="*/ 564666 h 5973007"/>
              <a:gd name="connsiteX67934" fmla="*/ 2751194 w 6884782"/>
              <a:gd name="connsiteY67934" fmla="*/ 529241 h 5973007"/>
              <a:gd name="connsiteX67935" fmla="*/ 2788542 w 6884782"/>
              <a:gd name="connsiteY67935" fmla="*/ 507758 h 5973007"/>
              <a:gd name="connsiteX67936" fmla="*/ 2799213 w 6884782"/>
              <a:gd name="connsiteY67936" fmla="*/ 512310 h 5973007"/>
              <a:gd name="connsiteX67937" fmla="*/ 2808390 w 6884782"/>
              <a:gd name="connsiteY67937" fmla="*/ 514302 h 5973007"/>
              <a:gd name="connsiteX67938" fmla="*/ 2806896 w 6884782"/>
              <a:gd name="connsiteY67938" fmla="*/ 509181 h 5973007"/>
              <a:gd name="connsiteX67939" fmla="*/ 2805189 w 6884782"/>
              <a:gd name="connsiteY67939" fmla="*/ 500075 h 5973007"/>
              <a:gd name="connsiteX67940" fmla="*/ 2819061 w 6884782"/>
              <a:gd name="connsiteY67940" fmla="*/ 486560 h 5973007"/>
              <a:gd name="connsiteX67941" fmla="*/ 2820128 w 6884782"/>
              <a:gd name="connsiteY67941" fmla="*/ 487556 h 5973007"/>
              <a:gd name="connsiteX67942" fmla="*/ 2822476 w 6884782"/>
              <a:gd name="connsiteY67942" fmla="*/ 488551 h 5973007"/>
              <a:gd name="connsiteX67943" fmla="*/ 2826104 w 6884782"/>
              <a:gd name="connsiteY67943" fmla="*/ 487129 h 5973007"/>
              <a:gd name="connsiteX67944" fmla="*/ 2829519 w 6884782"/>
              <a:gd name="connsiteY67944" fmla="*/ 488978 h 5973007"/>
              <a:gd name="connsiteX67945" fmla="*/ 2831653 w 6884782"/>
              <a:gd name="connsiteY67945" fmla="*/ 494812 h 5973007"/>
              <a:gd name="connsiteX67946" fmla="*/ 2830586 w 6884782"/>
              <a:gd name="connsiteY67946" fmla="*/ 495807 h 5973007"/>
              <a:gd name="connsiteX67947" fmla="*/ 2832506 w 6884782"/>
              <a:gd name="connsiteY67947" fmla="*/ 502921 h 5973007"/>
              <a:gd name="connsiteX67948" fmla="*/ 2831866 w 6884782"/>
              <a:gd name="connsiteY67948" fmla="*/ 507473 h 5973007"/>
              <a:gd name="connsiteX67949" fmla="*/ 2833574 w 6884782"/>
              <a:gd name="connsiteY67949" fmla="*/ 500644 h 5973007"/>
              <a:gd name="connsiteX67950" fmla="*/ 2834641 w 6884782"/>
              <a:gd name="connsiteY67950" fmla="*/ 498226 h 5973007"/>
              <a:gd name="connsiteX67951" fmla="*/ 2833361 w 6884782"/>
              <a:gd name="connsiteY67951" fmla="*/ 498083 h 5973007"/>
              <a:gd name="connsiteX67952" fmla="*/ 2834854 w 6884782"/>
              <a:gd name="connsiteY67952" fmla="*/ 496803 h 5973007"/>
              <a:gd name="connsiteX67953" fmla="*/ 2834854 w 6884782"/>
              <a:gd name="connsiteY67953" fmla="*/ 496661 h 5973007"/>
              <a:gd name="connsiteX67954" fmla="*/ 2834854 w 6884782"/>
              <a:gd name="connsiteY67954" fmla="*/ 495380 h 5973007"/>
              <a:gd name="connsiteX67955" fmla="*/ 2838269 w 6884782"/>
              <a:gd name="connsiteY67955" fmla="*/ 491397 h 5973007"/>
              <a:gd name="connsiteX67956" fmla="*/ 2839336 w 6884782"/>
              <a:gd name="connsiteY67956" fmla="*/ 491539 h 5973007"/>
              <a:gd name="connsiteX67957" fmla="*/ 2839123 w 6884782"/>
              <a:gd name="connsiteY67957" fmla="*/ 484995 h 5973007"/>
              <a:gd name="connsiteX67958" fmla="*/ 2839549 w 6884782"/>
              <a:gd name="connsiteY67958" fmla="*/ 483003 h 5973007"/>
              <a:gd name="connsiteX67959" fmla="*/ 2838909 w 6884782"/>
              <a:gd name="connsiteY67959" fmla="*/ 482577 h 5973007"/>
              <a:gd name="connsiteX67960" fmla="*/ 2839763 w 6884782"/>
              <a:gd name="connsiteY67960" fmla="*/ 481580 h 5973007"/>
              <a:gd name="connsiteX67961" fmla="*/ 2840830 w 6884782"/>
              <a:gd name="connsiteY67961" fmla="*/ 475463 h 5973007"/>
              <a:gd name="connsiteX67962" fmla="*/ 2845952 w 6884782"/>
              <a:gd name="connsiteY67962" fmla="*/ 470910 h 5973007"/>
              <a:gd name="connsiteX67963" fmla="*/ 2847019 w 6884782"/>
              <a:gd name="connsiteY67963" fmla="*/ 479020 h 5973007"/>
              <a:gd name="connsiteX67964" fmla="*/ 2847446 w 6884782"/>
              <a:gd name="connsiteY67964" fmla="*/ 479447 h 5973007"/>
              <a:gd name="connsiteX67965" fmla="*/ 2847233 w 6884782"/>
              <a:gd name="connsiteY67965" fmla="*/ 480015 h 5973007"/>
              <a:gd name="connsiteX67966" fmla="*/ 2848086 w 6884782"/>
              <a:gd name="connsiteY67966" fmla="*/ 489405 h 5973007"/>
              <a:gd name="connsiteX67967" fmla="*/ 2846592 w 6884782"/>
              <a:gd name="connsiteY67967" fmla="*/ 498510 h 5973007"/>
              <a:gd name="connsiteX67968" fmla="*/ 2847873 w 6884782"/>
              <a:gd name="connsiteY67968" fmla="*/ 498652 h 5973007"/>
              <a:gd name="connsiteX67969" fmla="*/ 2864733 w 6884782"/>
              <a:gd name="connsiteY67969" fmla="*/ 499507 h 5973007"/>
              <a:gd name="connsiteX67970" fmla="*/ 2862386 w 6884782"/>
              <a:gd name="connsiteY67970" fmla="*/ 511457 h 5973007"/>
              <a:gd name="connsiteX67971" fmla="*/ 2846165 w 6884782"/>
              <a:gd name="connsiteY67971" fmla="*/ 519566 h 5973007"/>
              <a:gd name="connsiteX67972" fmla="*/ 2845739 w 6884782"/>
              <a:gd name="connsiteY67972" fmla="*/ 519282 h 5973007"/>
              <a:gd name="connsiteX67973" fmla="*/ 2838909 w 6884782"/>
              <a:gd name="connsiteY67973" fmla="*/ 519282 h 5973007"/>
              <a:gd name="connsiteX67974" fmla="*/ 2837842 w 6884782"/>
              <a:gd name="connsiteY67974" fmla="*/ 517148 h 5973007"/>
              <a:gd name="connsiteX67975" fmla="*/ 2833787 w 6884782"/>
              <a:gd name="connsiteY67975" fmla="*/ 518143 h 5973007"/>
              <a:gd name="connsiteX67976" fmla="*/ 2831226 w 6884782"/>
              <a:gd name="connsiteY67976" fmla="*/ 509323 h 5973007"/>
              <a:gd name="connsiteX67977" fmla="*/ 2817140 w 6884782"/>
              <a:gd name="connsiteY67977" fmla="*/ 516152 h 5973007"/>
              <a:gd name="connsiteX67978" fmla="*/ 2813939 w 6884782"/>
              <a:gd name="connsiteY67978" fmla="*/ 515298 h 5973007"/>
              <a:gd name="connsiteX67979" fmla="*/ 2812232 w 6884782"/>
              <a:gd name="connsiteY67979" fmla="*/ 515156 h 5973007"/>
              <a:gd name="connsiteX67980" fmla="*/ 2823543 w 6884782"/>
              <a:gd name="connsiteY67980" fmla="*/ 519139 h 5973007"/>
              <a:gd name="connsiteX67981" fmla="*/ 2831653 w 6884782"/>
              <a:gd name="connsiteY67981" fmla="*/ 528102 h 5973007"/>
              <a:gd name="connsiteX67982" fmla="*/ 2832293 w 6884782"/>
              <a:gd name="connsiteY67982" fmla="*/ 544748 h 5973007"/>
              <a:gd name="connsiteX67983" fmla="*/ 2832506 w 6884782"/>
              <a:gd name="connsiteY67983" fmla="*/ 545317 h 5973007"/>
              <a:gd name="connsiteX67984" fmla="*/ 2832720 w 6884782"/>
              <a:gd name="connsiteY67984" fmla="*/ 545032 h 5973007"/>
              <a:gd name="connsiteX67985" fmla="*/ 2833361 w 6884782"/>
              <a:gd name="connsiteY67985" fmla="*/ 545744 h 5973007"/>
              <a:gd name="connsiteX67986" fmla="*/ 2834427 w 6884782"/>
              <a:gd name="connsiteY67986" fmla="*/ 547024 h 5973007"/>
              <a:gd name="connsiteX67987" fmla="*/ 2834641 w 6884782"/>
              <a:gd name="connsiteY67987" fmla="*/ 547451 h 5973007"/>
              <a:gd name="connsiteX67988" fmla="*/ 2833787 w 6884782"/>
              <a:gd name="connsiteY67988" fmla="*/ 548873 h 5973007"/>
              <a:gd name="connsiteX67989" fmla="*/ 2834641 w 6884782"/>
              <a:gd name="connsiteY67989" fmla="*/ 550865 h 5973007"/>
              <a:gd name="connsiteX67990" fmla="*/ 2836562 w 6884782"/>
              <a:gd name="connsiteY67990" fmla="*/ 557267 h 5973007"/>
              <a:gd name="connsiteX67991" fmla="*/ 2829519 w 6884782"/>
              <a:gd name="connsiteY67991" fmla="*/ 572917 h 5973007"/>
              <a:gd name="connsiteX67992" fmla="*/ 2826531 w 6884782"/>
              <a:gd name="connsiteY67992" fmla="*/ 577327 h 5973007"/>
              <a:gd name="connsiteX67993" fmla="*/ 2824397 w 6884782"/>
              <a:gd name="connsiteY67993" fmla="*/ 581453 h 5973007"/>
              <a:gd name="connsiteX67994" fmla="*/ 2824183 w 6884782"/>
              <a:gd name="connsiteY67994" fmla="*/ 581880 h 5973007"/>
              <a:gd name="connsiteX67995" fmla="*/ 2822690 w 6884782"/>
              <a:gd name="connsiteY67995" fmla="*/ 591697 h 5973007"/>
              <a:gd name="connsiteX67996" fmla="*/ 2816927 w 6884782"/>
              <a:gd name="connsiteY67996" fmla="*/ 599948 h 5973007"/>
              <a:gd name="connsiteX67997" fmla="*/ 2811805 w 6884782"/>
              <a:gd name="connsiteY67997" fmla="*/ 602224 h 5973007"/>
              <a:gd name="connsiteX67998" fmla="*/ 2807964 w 6884782"/>
              <a:gd name="connsiteY67998" fmla="*/ 602651 h 5973007"/>
              <a:gd name="connsiteX67999" fmla="*/ 2809884 w 6884782"/>
              <a:gd name="connsiteY67999" fmla="*/ 603647 h 5973007"/>
              <a:gd name="connsiteX68000" fmla="*/ 2807110 w 6884782"/>
              <a:gd name="connsiteY68000" fmla="*/ 615313 h 5973007"/>
              <a:gd name="connsiteX68001" fmla="*/ 2814366 w 6884782"/>
              <a:gd name="connsiteY68001" fmla="*/ 608769 h 5973007"/>
              <a:gd name="connsiteX68002" fmla="*/ 2819488 w 6884782"/>
              <a:gd name="connsiteY68002" fmla="*/ 611756 h 5973007"/>
              <a:gd name="connsiteX68003" fmla="*/ 2825037 w 6884782"/>
              <a:gd name="connsiteY68003" fmla="*/ 611330 h 5973007"/>
              <a:gd name="connsiteX68004" fmla="*/ 2823756 w 6884782"/>
              <a:gd name="connsiteY68004" fmla="*/ 618443 h 5973007"/>
              <a:gd name="connsiteX68005" fmla="*/ 2818848 w 6884782"/>
              <a:gd name="connsiteY68005" fmla="*/ 614602 h 5973007"/>
              <a:gd name="connsiteX68006" fmla="*/ 2819275 w 6884782"/>
              <a:gd name="connsiteY68006" fmla="*/ 612468 h 5973007"/>
              <a:gd name="connsiteX68007" fmla="*/ 2813726 w 6884782"/>
              <a:gd name="connsiteY68007" fmla="*/ 615455 h 5973007"/>
              <a:gd name="connsiteX68008" fmla="*/ 2809884 w 6884782"/>
              <a:gd name="connsiteY68008" fmla="*/ 624561 h 5973007"/>
              <a:gd name="connsiteX68009" fmla="*/ 2814152 w 6884782"/>
              <a:gd name="connsiteY68009" fmla="*/ 626837 h 5973007"/>
              <a:gd name="connsiteX68010" fmla="*/ 2816714 w 6884782"/>
              <a:gd name="connsiteY68010" fmla="*/ 626410 h 5973007"/>
              <a:gd name="connsiteX68011" fmla="*/ 2816500 w 6884782"/>
              <a:gd name="connsiteY68011" fmla="*/ 626126 h 5973007"/>
              <a:gd name="connsiteX68012" fmla="*/ 2818635 w 6884782"/>
              <a:gd name="connsiteY68012" fmla="*/ 625414 h 5973007"/>
              <a:gd name="connsiteX68013" fmla="*/ 2818848 w 6884782"/>
              <a:gd name="connsiteY68013" fmla="*/ 623138 h 5973007"/>
              <a:gd name="connsiteX68014" fmla="*/ 2823330 w 6884782"/>
              <a:gd name="connsiteY68014" fmla="*/ 620292 h 5973007"/>
              <a:gd name="connsiteX68015" fmla="*/ 2822476 w 6884782"/>
              <a:gd name="connsiteY68015" fmla="*/ 623849 h 5973007"/>
              <a:gd name="connsiteX68016" fmla="*/ 2827598 w 6884782"/>
              <a:gd name="connsiteY68016" fmla="*/ 621857 h 5973007"/>
              <a:gd name="connsiteX68017" fmla="*/ 2834854 w 6884782"/>
              <a:gd name="connsiteY68017" fmla="*/ 629255 h 5973007"/>
              <a:gd name="connsiteX68018" fmla="*/ 2830159 w 6884782"/>
              <a:gd name="connsiteY68018" fmla="*/ 632955 h 5973007"/>
              <a:gd name="connsiteX68019" fmla="*/ 2837842 w 6884782"/>
              <a:gd name="connsiteY68019" fmla="*/ 636227 h 5973007"/>
              <a:gd name="connsiteX68020" fmla="*/ 2832080 w 6884782"/>
              <a:gd name="connsiteY68020" fmla="*/ 637080 h 5973007"/>
              <a:gd name="connsiteX68021" fmla="*/ 2826958 w 6884782"/>
              <a:gd name="connsiteY68021" fmla="*/ 635800 h 5973007"/>
              <a:gd name="connsiteX68022" fmla="*/ 2825250 w 6884782"/>
              <a:gd name="connsiteY68022" fmla="*/ 637222 h 5973007"/>
              <a:gd name="connsiteX68023" fmla="*/ 2826958 w 6884782"/>
              <a:gd name="connsiteY68023" fmla="*/ 641348 h 5973007"/>
              <a:gd name="connsiteX68024" fmla="*/ 2836135 w 6884782"/>
              <a:gd name="connsiteY68024" fmla="*/ 643909 h 5973007"/>
              <a:gd name="connsiteX68025" fmla="*/ 2822049 w 6884782"/>
              <a:gd name="connsiteY68025" fmla="*/ 644763 h 5973007"/>
              <a:gd name="connsiteX68026" fmla="*/ 2850434 w 6884782"/>
              <a:gd name="connsiteY68026" fmla="*/ 652445 h 5973007"/>
              <a:gd name="connsiteX68027" fmla="*/ 2851928 w 6884782"/>
              <a:gd name="connsiteY68027" fmla="*/ 652587 h 5973007"/>
              <a:gd name="connsiteX68028" fmla="*/ 2857477 w 6884782"/>
              <a:gd name="connsiteY68028" fmla="*/ 642060 h 5973007"/>
              <a:gd name="connsiteX68029" fmla="*/ 2866654 w 6884782"/>
              <a:gd name="connsiteY68029" fmla="*/ 631105 h 5973007"/>
              <a:gd name="connsiteX68030" fmla="*/ 2870069 w 6884782"/>
              <a:gd name="connsiteY68030" fmla="*/ 648177 h 5973007"/>
              <a:gd name="connsiteX68031" fmla="*/ 2869428 w 6884782"/>
              <a:gd name="connsiteY68031" fmla="*/ 651734 h 5973007"/>
              <a:gd name="connsiteX68032" fmla="*/ 2877538 w 6884782"/>
              <a:gd name="connsiteY68032" fmla="*/ 648462 h 5973007"/>
              <a:gd name="connsiteX68033" fmla="*/ 2881166 w 6884782"/>
              <a:gd name="connsiteY68033" fmla="*/ 650169 h 5973007"/>
              <a:gd name="connsiteX68034" fmla="*/ 2885008 w 6884782"/>
              <a:gd name="connsiteY68034" fmla="*/ 652730 h 5973007"/>
              <a:gd name="connsiteX68035" fmla="*/ 2886075 w 6884782"/>
              <a:gd name="connsiteY68035" fmla="*/ 651307 h 5973007"/>
              <a:gd name="connsiteX68036" fmla="*/ 2887142 w 6884782"/>
              <a:gd name="connsiteY68036" fmla="*/ 653014 h 5973007"/>
              <a:gd name="connsiteX68037" fmla="*/ 2888423 w 6884782"/>
              <a:gd name="connsiteY68037" fmla="*/ 653014 h 5973007"/>
              <a:gd name="connsiteX68038" fmla="*/ 2890984 w 6884782"/>
              <a:gd name="connsiteY68038" fmla="*/ 650596 h 5973007"/>
              <a:gd name="connsiteX68039" fmla="*/ 2899094 w 6884782"/>
              <a:gd name="connsiteY68039" fmla="*/ 657282 h 5973007"/>
              <a:gd name="connsiteX68040" fmla="*/ 2899307 w 6884782"/>
              <a:gd name="connsiteY68040" fmla="*/ 655149 h 5973007"/>
              <a:gd name="connsiteX68041" fmla="*/ 2904856 w 6884782"/>
              <a:gd name="connsiteY68041" fmla="*/ 651450 h 5973007"/>
              <a:gd name="connsiteX68042" fmla="*/ 2907203 w 6884782"/>
              <a:gd name="connsiteY68042" fmla="*/ 652872 h 5973007"/>
              <a:gd name="connsiteX68043" fmla="*/ 2906137 w 6884782"/>
              <a:gd name="connsiteY68043" fmla="*/ 658421 h 5973007"/>
              <a:gd name="connsiteX68044" fmla="*/ 2902508 w 6884782"/>
              <a:gd name="connsiteY68044" fmla="*/ 659416 h 5973007"/>
              <a:gd name="connsiteX68045" fmla="*/ 2914673 w 6884782"/>
              <a:gd name="connsiteY68045" fmla="*/ 662973 h 5973007"/>
              <a:gd name="connsiteX68046" fmla="*/ 2918088 w 6884782"/>
              <a:gd name="connsiteY68046" fmla="*/ 663542 h 5973007"/>
              <a:gd name="connsiteX68047" fmla="*/ 2921929 w 6884782"/>
              <a:gd name="connsiteY68047" fmla="*/ 660839 h 5973007"/>
              <a:gd name="connsiteX68048" fmla="*/ 2924277 w 6884782"/>
              <a:gd name="connsiteY68048" fmla="*/ 662262 h 5973007"/>
              <a:gd name="connsiteX68049" fmla="*/ 2926625 w 6884782"/>
              <a:gd name="connsiteY68049" fmla="*/ 664538 h 5973007"/>
              <a:gd name="connsiteX68050" fmla="*/ 2926625 w 6884782"/>
              <a:gd name="connsiteY68050" fmla="*/ 664681 h 5973007"/>
              <a:gd name="connsiteX68051" fmla="*/ 2927052 w 6884782"/>
              <a:gd name="connsiteY68051" fmla="*/ 664823 h 5973007"/>
              <a:gd name="connsiteX68052" fmla="*/ 2935588 w 6884782"/>
              <a:gd name="connsiteY68052" fmla="*/ 669517 h 5973007"/>
              <a:gd name="connsiteX68053" fmla="*/ 2929400 w 6884782"/>
              <a:gd name="connsiteY68053" fmla="*/ 669802 h 5973007"/>
              <a:gd name="connsiteX68054" fmla="*/ 2928332 w 6884782"/>
              <a:gd name="connsiteY68054" fmla="*/ 669944 h 5973007"/>
              <a:gd name="connsiteX68055" fmla="*/ 2928759 w 6884782"/>
              <a:gd name="connsiteY68055" fmla="*/ 671082 h 5973007"/>
              <a:gd name="connsiteX68056" fmla="*/ 2926412 w 6884782"/>
              <a:gd name="connsiteY68056" fmla="*/ 675635 h 5973007"/>
              <a:gd name="connsiteX68057" fmla="*/ 2924491 w 6884782"/>
              <a:gd name="connsiteY68057" fmla="*/ 676916 h 5973007"/>
              <a:gd name="connsiteX68058" fmla="*/ 2923850 w 6884782"/>
              <a:gd name="connsiteY68058" fmla="*/ 676631 h 5973007"/>
              <a:gd name="connsiteX68059" fmla="*/ 2923210 w 6884782"/>
              <a:gd name="connsiteY68059" fmla="*/ 682179 h 5973007"/>
              <a:gd name="connsiteX68060" fmla="*/ 2964613 w 6884782"/>
              <a:gd name="connsiteY68060" fmla="*/ 701243 h 5973007"/>
              <a:gd name="connsiteX68061" fmla="*/ 2972937 w 6884782"/>
              <a:gd name="connsiteY68061" fmla="*/ 705369 h 5973007"/>
              <a:gd name="connsiteX68062" fmla="*/ 2975071 w 6884782"/>
              <a:gd name="connsiteY68062" fmla="*/ 702666 h 5973007"/>
              <a:gd name="connsiteX68063" fmla="*/ 2979767 w 6884782"/>
              <a:gd name="connsiteY68063" fmla="*/ 707930 h 5973007"/>
              <a:gd name="connsiteX68064" fmla="*/ 2979126 w 6884782"/>
              <a:gd name="connsiteY68064" fmla="*/ 708642 h 5973007"/>
              <a:gd name="connsiteX68065" fmla="*/ 2984888 w 6884782"/>
              <a:gd name="connsiteY68065" fmla="*/ 711487 h 5973007"/>
              <a:gd name="connsiteX68066" fmla="*/ 2985742 w 6884782"/>
              <a:gd name="connsiteY68066" fmla="*/ 711772 h 5973007"/>
              <a:gd name="connsiteX68067" fmla="*/ 2986595 w 6884782"/>
              <a:gd name="connsiteY68067" fmla="*/ 709637 h 5973007"/>
              <a:gd name="connsiteX68068" fmla="*/ 2989370 w 6884782"/>
              <a:gd name="connsiteY68068" fmla="*/ 707503 h 5973007"/>
              <a:gd name="connsiteX68069" fmla="*/ 2993212 w 6884782"/>
              <a:gd name="connsiteY68069" fmla="*/ 707930 h 5973007"/>
              <a:gd name="connsiteX68070" fmla="*/ 2995986 w 6884782"/>
              <a:gd name="connsiteY68070" fmla="*/ 710349 h 5973007"/>
              <a:gd name="connsiteX68071" fmla="*/ 2996840 w 6884782"/>
              <a:gd name="connsiteY68071" fmla="*/ 713763 h 5973007"/>
              <a:gd name="connsiteX68072" fmla="*/ 2996840 w 6884782"/>
              <a:gd name="connsiteY68072" fmla="*/ 715328 h 5973007"/>
              <a:gd name="connsiteX68073" fmla="*/ 3003029 w 6884782"/>
              <a:gd name="connsiteY68073" fmla="*/ 717178 h 5973007"/>
              <a:gd name="connsiteX68074" fmla="*/ 3006230 w 6884782"/>
              <a:gd name="connsiteY68074" fmla="*/ 711629 h 5973007"/>
              <a:gd name="connsiteX68075" fmla="*/ 3014340 w 6884782"/>
              <a:gd name="connsiteY68075" fmla="*/ 707503 h 5973007"/>
              <a:gd name="connsiteX68076" fmla="*/ 3010072 w 6884782"/>
              <a:gd name="connsiteY68076" fmla="*/ 723153 h 5973007"/>
              <a:gd name="connsiteX68077" fmla="*/ 3013913 w 6884782"/>
              <a:gd name="connsiteY68077" fmla="*/ 727421 h 5973007"/>
              <a:gd name="connsiteX68078" fmla="*/ 3022451 w 6884782"/>
              <a:gd name="connsiteY68078" fmla="*/ 733681 h 5973007"/>
              <a:gd name="connsiteX68079" fmla="*/ 3023517 w 6884782"/>
              <a:gd name="connsiteY68079" fmla="*/ 734250 h 5973007"/>
              <a:gd name="connsiteX68080" fmla="*/ 3023944 w 6884782"/>
              <a:gd name="connsiteY68080" fmla="*/ 732685 h 5973007"/>
              <a:gd name="connsiteX68081" fmla="*/ 3039950 w 6884782"/>
              <a:gd name="connsiteY68081" fmla="*/ 725714 h 5973007"/>
              <a:gd name="connsiteX68082" fmla="*/ 3050195 w 6884782"/>
              <a:gd name="connsiteY68082" fmla="*/ 719738 h 5973007"/>
              <a:gd name="connsiteX68083" fmla="*/ 3051262 w 6884782"/>
              <a:gd name="connsiteY68083" fmla="*/ 718600 h 5973007"/>
              <a:gd name="connsiteX68084" fmla="*/ 3023091 w 6884782"/>
              <a:gd name="connsiteY68084" fmla="*/ 704800 h 5973007"/>
              <a:gd name="connsiteX68085" fmla="*/ 3001322 w 6884782"/>
              <a:gd name="connsiteY68085" fmla="*/ 686590 h 5973007"/>
              <a:gd name="connsiteX68086" fmla="*/ 3015621 w 6884782"/>
              <a:gd name="connsiteY68086" fmla="*/ 697260 h 5973007"/>
              <a:gd name="connsiteX68087" fmla="*/ 3013700 w 6884782"/>
              <a:gd name="connsiteY68087" fmla="*/ 688724 h 5973007"/>
              <a:gd name="connsiteX68088" fmla="*/ 3009645 w 6884782"/>
              <a:gd name="connsiteY68088" fmla="*/ 682748 h 5973007"/>
              <a:gd name="connsiteX68089" fmla="*/ 3006871 w 6884782"/>
              <a:gd name="connsiteY68089" fmla="*/ 684171 h 5973007"/>
              <a:gd name="connsiteX68090" fmla="*/ 2992571 w 6884782"/>
              <a:gd name="connsiteY68090" fmla="*/ 679192 h 5973007"/>
              <a:gd name="connsiteX68091" fmla="*/ 2995773 w 6884782"/>
              <a:gd name="connsiteY68091" fmla="*/ 672932 h 5973007"/>
              <a:gd name="connsiteX68092" fmla="*/ 2996626 w 6884782"/>
              <a:gd name="connsiteY68092" fmla="*/ 672221 h 5973007"/>
              <a:gd name="connsiteX68093" fmla="*/ 2993212 w 6884782"/>
              <a:gd name="connsiteY68093" fmla="*/ 669517 h 5973007"/>
              <a:gd name="connsiteX68094" fmla="*/ 2998121 w 6884782"/>
              <a:gd name="connsiteY68094" fmla="*/ 667383 h 5973007"/>
              <a:gd name="connsiteX68095" fmla="*/ 3002816 w 6884782"/>
              <a:gd name="connsiteY68095" fmla="*/ 667668 h 5973007"/>
              <a:gd name="connsiteX68096" fmla="*/ 3007724 w 6884782"/>
              <a:gd name="connsiteY68096" fmla="*/ 664111 h 5973007"/>
              <a:gd name="connsiteX68097" fmla="*/ 3009645 w 6884782"/>
              <a:gd name="connsiteY68097" fmla="*/ 666388 h 5973007"/>
              <a:gd name="connsiteX68098" fmla="*/ 3011993 w 6884782"/>
              <a:gd name="connsiteY68098" fmla="*/ 663969 h 5973007"/>
              <a:gd name="connsiteX68099" fmla="*/ 3027999 w 6884782"/>
              <a:gd name="connsiteY68099" fmla="*/ 681326 h 5973007"/>
              <a:gd name="connsiteX68100" fmla="*/ 3036749 w 6884782"/>
              <a:gd name="connsiteY68100" fmla="*/ 686590 h 5973007"/>
              <a:gd name="connsiteX68101" fmla="*/ 3039950 w 6884782"/>
              <a:gd name="connsiteY68101" fmla="*/ 682606 h 5973007"/>
              <a:gd name="connsiteX68102" fmla="*/ 3061506 w 6884782"/>
              <a:gd name="connsiteY68102" fmla="*/ 675493 h 5973007"/>
              <a:gd name="connsiteX68103" fmla="*/ 3068976 w 6884782"/>
              <a:gd name="connsiteY68103" fmla="*/ 677058 h 5973007"/>
              <a:gd name="connsiteX68104" fmla="*/ 3075378 w 6884782"/>
              <a:gd name="connsiteY68104" fmla="*/ 680899 h 5973007"/>
              <a:gd name="connsiteX68105" fmla="*/ 3076232 w 6884782"/>
              <a:gd name="connsiteY68105" fmla="*/ 679334 h 5973007"/>
              <a:gd name="connsiteX68106" fmla="*/ 3087330 w 6884782"/>
              <a:gd name="connsiteY68106" fmla="*/ 680899 h 5973007"/>
              <a:gd name="connsiteX68107" fmla="*/ 3087970 w 6884782"/>
              <a:gd name="connsiteY68107" fmla="*/ 689720 h 5973007"/>
              <a:gd name="connsiteX68108" fmla="*/ 3080927 w 6884782"/>
              <a:gd name="connsiteY68108" fmla="*/ 689008 h 5973007"/>
              <a:gd name="connsiteX68109" fmla="*/ 3075378 w 6884782"/>
              <a:gd name="connsiteY68109" fmla="*/ 684456 h 5973007"/>
              <a:gd name="connsiteX68110" fmla="*/ 3074098 w 6884782"/>
              <a:gd name="connsiteY68110" fmla="*/ 693988 h 5973007"/>
              <a:gd name="connsiteX68111" fmla="*/ 3067909 w 6884782"/>
              <a:gd name="connsiteY68111" fmla="*/ 703520 h 5973007"/>
              <a:gd name="connsiteX68112" fmla="*/ 3064707 w 6884782"/>
              <a:gd name="connsiteY68112" fmla="*/ 705512 h 5973007"/>
              <a:gd name="connsiteX68113" fmla="*/ 3069403 w 6884782"/>
              <a:gd name="connsiteY68113" fmla="*/ 708072 h 5973007"/>
              <a:gd name="connsiteX68114" fmla="*/ 3078793 w 6884782"/>
              <a:gd name="connsiteY68114" fmla="*/ 711487 h 5973007"/>
              <a:gd name="connsiteX68115" fmla="*/ 3084982 w 6884782"/>
              <a:gd name="connsiteY68115" fmla="*/ 721446 h 5973007"/>
              <a:gd name="connsiteX68116" fmla="*/ 3087330 w 6884782"/>
              <a:gd name="connsiteY68116" fmla="*/ 723295 h 5973007"/>
              <a:gd name="connsiteX68117" fmla="*/ 3088184 w 6884782"/>
              <a:gd name="connsiteY68117" fmla="*/ 721730 h 5973007"/>
              <a:gd name="connsiteX68118" fmla="*/ 3089677 w 6884782"/>
              <a:gd name="connsiteY68118" fmla="*/ 725429 h 5973007"/>
              <a:gd name="connsiteX68119" fmla="*/ 3093946 w 6884782"/>
              <a:gd name="connsiteY68119" fmla="*/ 728986 h 5973007"/>
              <a:gd name="connsiteX68120" fmla="*/ 3094373 w 6884782"/>
              <a:gd name="connsiteY68120" fmla="*/ 729128 h 5973007"/>
              <a:gd name="connsiteX68121" fmla="*/ 3094586 w 6884782"/>
              <a:gd name="connsiteY68121" fmla="*/ 729555 h 5973007"/>
              <a:gd name="connsiteX68122" fmla="*/ 3095440 w 6884782"/>
              <a:gd name="connsiteY68122" fmla="*/ 730267 h 5973007"/>
              <a:gd name="connsiteX68123" fmla="*/ 3108245 w 6884782"/>
              <a:gd name="connsiteY68123" fmla="*/ 739371 h 5973007"/>
              <a:gd name="connsiteX68124" fmla="*/ 3122330 w 6884782"/>
              <a:gd name="connsiteY68124" fmla="*/ 750895 h 5973007"/>
              <a:gd name="connsiteX68125" fmla="*/ 3135136 w 6884782"/>
              <a:gd name="connsiteY68125" fmla="*/ 748762 h 5973007"/>
              <a:gd name="connsiteX68126" fmla="*/ 3131935 w 6884782"/>
              <a:gd name="connsiteY68126" fmla="*/ 755448 h 5973007"/>
              <a:gd name="connsiteX68127" fmla="*/ 3133215 w 6884782"/>
              <a:gd name="connsiteY68127" fmla="*/ 760712 h 5973007"/>
              <a:gd name="connsiteX68128" fmla="*/ 3139404 w 6884782"/>
              <a:gd name="connsiteY68128" fmla="*/ 753741 h 5973007"/>
              <a:gd name="connsiteX68129" fmla="*/ 3152423 w 6884782"/>
              <a:gd name="connsiteY68129" fmla="*/ 745347 h 5973007"/>
              <a:gd name="connsiteX68130" fmla="*/ 3155411 w 6884782"/>
              <a:gd name="connsiteY68130" fmla="*/ 746770 h 5973007"/>
              <a:gd name="connsiteX68131" fmla="*/ 3143459 w 6884782"/>
              <a:gd name="connsiteY68131" fmla="*/ 762135 h 5973007"/>
              <a:gd name="connsiteX68132" fmla="*/ 3138977 w 6884782"/>
              <a:gd name="connsiteY68132" fmla="*/ 765265 h 5973007"/>
              <a:gd name="connsiteX68133" fmla="*/ 3144099 w 6884782"/>
              <a:gd name="connsiteY68133" fmla="*/ 769106 h 5973007"/>
              <a:gd name="connsiteX68134" fmla="*/ 3165655 w 6884782"/>
              <a:gd name="connsiteY68134" fmla="*/ 793434 h 5973007"/>
              <a:gd name="connsiteX68135" fmla="*/ 3173338 w 6884782"/>
              <a:gd name="connsiteY68135" fmla="*/ 791584 h 5973007"/>
              <a:gd name="connsiteX68136" fmla="*/ 3180168 w 6884782"/>
              <a:gd name="connsiteY68136" fmla="*/ 801828 h 5973007"/>
              <a:gd name="connsiteX68137" fmla="*/ 3191052 w 6884782"/>
              <a:gd name="connsiteY68137" fmla="*/ 805811 h 5973007"/>
              <a:gd name="connsiteX68138" fmla="*/ 3198735 w 6884782"/>
              <a:gd name="connsiteY68138" fmla="*/ 815770 h 5973007"/>
              <a:gd name="connsiteX68139" fmla="*/ 3193186 w 6884782"/>
              <a:gd name="connsiteY68139" fmla="*/ 817620 h 5973007"/>
              <a:gd name="connsiteX68140" fmla="*/ 3195534 w 6884782"/>
              <a:gd name="connsiteY68140" fmla="*/ 820323 h 5973007"/>
              <a:gd name="connsiteX68141" fmla="*/ 3206632 w 6884782"/>
              <a:gd name="connsiteY68141" fmla="*/ 831989 h 5973007"/>
              <a:gd name="connsiteX68142" fmla="*/ 3216876 w 6884782"/>
              <a:gd name="connsiteY68142" fmla="*/ 842516 h 5973007"/>
              <a:gd name="connsiteX68143" fmla="*/ 3237578 w 6884782"/>
              <a:gd name="connsiteY68143" fmla="*/ 864284 h 5973007"/>
              <a:gd name="connsiteX68144" fmla="*/ 3243980 w 6884782"/>
              <a:gd name="connsiteY68144" fmla="*/ 871681 h 5973007"/>
              <a:gd name="connsiteX68145" fmla="*/ 3246968 w 6884782"/>
              <a:gd name="connsiteY68145" fmla="*/ 871966 h 5973007"/>
              <a:gd name="connsiteX68146" fmla="*/ 3245901 w 6884782"/>
              <a:gd name="connsiteY68146" fmla="*/ 873816 h 5973007"/>
              <a:gd name="connsiteX68147" fmla="*/ 3247181 w 6884782"/>
              <a:gd name="connsiteY68147" fmla="*/ 875380 h 5973007"/>
              <a:gd name="connsiteX68148" fmla="*/ 3256358 w 6884782"/>
              <a:gd name="connsiteY68148" fmla="*/ 887758 h 5973007"/>
              <a:gd name="connsiteX68149" fmla="*/ 3253584 w 6884782"/>
              <a:gd name="connsiteY68149" fmla="*/ 888327 h 5973007"/>
              <a:gd name="connsiteX68150" fmla="*/ 3254438 w 6884782"/>
              <a:gd name="connsiteY68150" fmla="*/ 889323 h 5973007"/>
              <a:gd name="connsiteX68151" fmla="*/ 3254011 w 6884782"/>
              <a:gd name="connsiteY68151" fmla="*/ 892026 h 5973007"/>
              <a:gd name="connsiteX68152" fmla="*/ 3253157 w 6884782"/>
              <a:gd name="connsiteY68152" fmla="*/ 892168 h 5973007"/>
              <a:gd name="connsiteX68153" fmla="*/ 3261053 w 6884782"/>
              <a:gd name="connsiteY68153" fmla="*/ 896294 h 5973007"/>
              <a:gd name="connsiteX68154" fmla="*/ 3274712 w 6884782"/>
              <a:gd name="connsiteY68154" fmla="*/ 901843 h 5973007"/>
              <a:gd name="connsiteX68155" fmla="*/ 3286024 w 6884782"/>
              <a:gd name="connsiteY68155" fmla="*/ 922187 h 5973007"/>
              <a:gd name="connsiteX68156" fmla="*/ 3287091 w 6884782"/>
              <a:gd name="connsiteY68156" fmla="*/ 922472 h 5973007"/>
              <a:gd name="connsiteX68157" fmla="*/ 3287091 w 6884782"/>
              <a:gd name="connsiteY68157" fmla="*/ 922329 h 5973007"/>
              <a:gd name="connsiteX68158" fmla="*/ 3290719 w 6884782"/>
              <a:gd name="connsiteY68158" fmla="*/ 923041 h 5973007"/>
              <a:gd name="connsiteX68159" fmla="*/ 3293707 w 6884782"/>
              <a:gd name="connsiteY68159" fmla="*/ 922187 h 5973007"/>
              <a:gd name="connsiteX68160" fmla="*/ 3315475 w 6884782"/>
              <a:gd name="connsiteY68160" fmla="*/ 961027 h 5973007"/>
              <a:gd name="connsiteX68161" fmla="*/ 3317396 w 6884782"/>
              <a:gd name="connsiteY68161" fmla="*/ 978241 h 5973007"/>
              <a:gd name="connsiteX68162" fmla="*/ 3322732 w 6884782"/>
              <a:gd name="connsiteY68162" fmla="*/ 985924 h 5973007"/>
              <a:gd name="connsiteX68163" fmla="*/ 3324013 w 6884782"/>
              <a:gd name="connsiteY68163" fmla="*/ 986635 h 5973007"/>
              <a:gd name="connsiteX68164" fmla="*/ 3323799 w 6884782"/>
              <a:gd name="connsiteY68164" fmla="*/ 988769 h 5973007"/>
              <a:gd name="connsiteX68165" fmla="*/ 3324013 w 6884782"/>
              <a:gd name="connsiteY68165" fmla="*/ 989053 h 5973007"/>
              <a:gd name="connsiteX68166" fmla="*/ 3324439 w 6884782"/>
              <a:gd name="connsiteY68166" fmla="*/ 988200 h 5973007"/>
              <a:gd name="connsiteX68167" fmla="*/ 3331055 w 6884782"/>
              <a:gd name="connsiteY68167" fmla="*/ 989196 h 5973007"/>
              <a:gd name="connsiteX68168" fmla="*/ 3332336 w 6884782"/>
              <a:gd name="connsiteY68168" fmla="*/ 989765 h 5973007"/>
              <a:gd name="connsiteX68169" fmla="*/ 3334684 w 6884782"/>
              <a:gd name="connsiteY68169" fmla="*/ 987488 h 5973007"/>
              <a:gd name="connsiteX68170" fmla="*/ 3335324 w 6884782"/>
              <a:gd name="connsiteY68170" fmla="*/ 990903 h 5973007"/>
              <a:gd name="connsiteX68171" fmla="*/ 3336391 w 6884782"/>
              <a:gd name="connsiteY68171" fmla="*/ 991330 h 5973007"/>
              <a:gd name="connsiteX68172" fmla="*/ 3335537 w 6884782"/>
              <a:gd name="connsiteY68172" fmla="*/ 998728 h 5973007"/>
              <a:gd name="connsiteX68173" fmla="*/ 3334470 w 6884782"/>
              <a:gd name="connsiteY68173" fmla="*/ 1000293 h 5973007"/>
              <a:gd name="connsiteX68174" fmla="*/ 3335537 w 6884782"/>
              <a:gd name="connsiteY68174" fmla="*/ 1005272 h 5973007"/>
              <a:gd name="connsiteX68175" fmla="*/ 3338312 w 6884782"/>
              <a:gd name="connsiteY68175" fmla="*/ 1008686 h 5973007"/>
              <a:gd name="connsiteX68176" fmla="*/ 3340446 w 6884782"/>
              <a:gd name="connsiteY68176" fmla="*/ 1009256 h 5973007"/>
              <a:gd name="connsiteX68177" fmla="*/ 3343433 w 6884782"/>
              <a:gd name="connsiteY68177" fmla="*/ 1007691 h 5973007"/>
              <a:gd name="connsiteX68178" fmla="*/ 3346848 w 6884782"/>
              <a:gd name="connsiteY68178" fmla="*/ 1007691 h 5973007"/>
              <a:gd name="connsiteX68179" fmla="*/ 3351117 w 6884782"/>
              <a:gd name="connsiteY68179" fmla="*/ 1011959 h 5973007"/>
              <a:gd name="connsiteX68180" fmla="*/ 3350903 w 6884782"/>
              <a:gd name="connsiteY68180" fmla="*/ 1018787 h 5973007"/>
              <a:gd name="connsiteX68181" fmla="*/ 3345355 w 6884782"/>
              <a:gd name="connsiteY68181" fmla="*/ 1024336 h 5973007"/>
              <a:gd name="connsiteX68182" fmla="*/ 3345568 w 6884782"/>
              <a:gd name="connsiteY68182" fmla="*/ 1024478 h 5973007"/>
              <a:gd name="connsiteX68183" fmla="*/ 3341940 w 6884782"/>
              <a:gd name="connsiteY68183" fmla="*/ 1029458 h 5973007"/>
              <a:gd name="connsiteX68184" fmla="*/ 3342793 w 6884782"/>
              <a:gd name="connsiteY68184" fmla="*/ 1035860 h 5973007"/>
              <a:gd name="connsiteX68185" fmla="*/ 3344501 w 6884782"/>
              <a:gd name="connsiteY68185" fmla="*/ 1036856 h 5973007"/>
              <a:gd name="connsiteX68186" fmla="*/ 3349409 w 6884782"/>
              <a:gd name="connsiteY68186" fmla="*/ 1034153 h 5973007"/>
              <a:gd name="connsiteX68187" fmla="*/ 3352611 w 6884782"/>
              <a:gd name="connsiteY68187" fmla="*/ 1035717 h 5973007"/>
              <a:gd name="connsiteX68188" fmla="*/ 3356452 w 6884782"/>
              <a:gd name="connsiteY68188" fmla="*/ 1042262 h 5973007"/>
              <a:gd name="connsiteX68189" fmla="*/ 3357946 w 6884782"/>
              <a:gd name="connsiteY68189" fmla="*/ 1056204 h 5973007"/>
              <a:gd name="connsiteX68190" fmla="*/ 3357092 w 6884782"/>
              <a:gd name="connsiteY68190" fmla="*/ 1059192 h 5973007"/>
              <a:gd name="connsiteX68191" fmla="*/ 3358159 w 6884782"/>
              <a:gd name="connsiteY68191" fmla="*/ 1058481 h 5973007"/>
              <a:gd name="connsiteX68192" fmla="*/ 3366910 w 6884782"/>
              <a:gd name="connsiteY68192" fmla="*/ 1068013 h 5973007"/>
              <a:gd name="connsiteX68193" fmla="*/ 3363709 w 6884782"/>
              <a:gd name="connsiteY68193" fmla="*/ 1073277 h 5973007"/>
              <a:gd name="connsiteX68194" fmla="*/ 3365202 w 6884782"/>
              <a:gd name="connsiteY68194" fmla="*/ 1073561 h 5973007"/>
              <a:gd name="connsiteX68195" fmla="*/ 3367123 w 6884782"/>
              <a:gd name="connsiteY68195" fmla="*/ 1076407 h 5973007"/>
              <a:gd name="connsiteX68196" fmla="*/ 3369044 w 6884782"/>
              <a:gd name="connsiteY68196" fmla="*/ 1085228 h 5973007"/>
              <a:gd name="connsiteX68197" fmla="*/ 3366910 w 6884782"/>
              <a:gd name="connsiteY68197" fmla="*/ 1084516 h 5973007"/>
              <a:gd name="connsiteX68198" fmla="*/ 3367977 w 6884782"/>
              <a:gd name="connsiteY68198" fmla="*/ 1088215 h 5973007"/>
              <a:gd name="connsiteX68199" fmla="*/ 3373953 w 6884782"/>
              <a:gd name="connsiteY68199" fmla="*/ 1089922 h 5973007"/>
              <a:gd name="connsiteX68200" fmla="*/ 3373099 w 6884782"/>
              <a:gd name="connsiteY68200" fmla="*/ 1088926 h 5973007"/>
              <a:gd name="connsiteX68201" fmla="*/ 3372245 w 6884782"/>
              <a:gd name="connsiteY68201" fmla="*/ 1077544 h 5973007"/>
              <a:gd name="connsiteX68202" fmla="*/ 3373953 w 6884782"/>
              <a:gd name="connsiteY68202" fmla="*/ 1074557 h 5973007"/>
              <a:gd name="connsiteX68203" fmla="*/ 3372886 w 6884782"/>
              <a:gd name="connsiteY68203" fmla="*/ 1074699 h 5973007"/>
              <a:gd name="connsiteX68204" fmla="*/ 3369257 w 6884782"/>
              <a:gd name="connsiteY68204" fmla="*/ 1063033 h 5973007"/>
              <a:gd name="connsiteX68205" fmla="*/ 3376087 w 6884782"/>
              <a:gd name="connsiteY68205" fmla="*/ 1061326 h 5973007"/>
              <a:gd name="connsiteX68206" fmla="*/ 3375233 w 6884782"/>
              <a:gd name="connsiteY68206" fmla="*/ 1056489 h 5973007"/>
              <a:gd name="connsiteX68207" fmla="*/ 3380142 w 6884782"/>
              <a:gd name="connsiteY68207" fmla="*/ 1055777 h 5973007"/>
              <a:gd name="connsiteX68208" fmla="*/ 3382276 w 6884782"/>
              <a:gd name="connsiteY68208" fmla="*/ 1056773 h 5973007"/>
              <a:gd name="connsiteX68209" fmla="*/ 3381849 w 6884782"/>
              <a:gd name="connsiteY68209" fmla="*/ 1059619 h 5973007"/>
              <a:gd name="connsiteX68210" fmla="*/ 3380569 w 6884782"/>
              <a:gd name="connsiteY68210" fmla="*/ 1060899 h 5973007"/>
              <a:gd name="connsiteX68211" fmla="*/ 3388252 w 6884782"/>
              <a:gd name="connsiteY68211" fmla="*/ 1062038 h 5973007"/>
              <a:gd name="connsiteX68212" fmla="*/ 3379715 w 6884782"/>
              <a:gd name="connsiteY68212" fmla="*/ 1073988 h 5973007"/>
              <a:gd name="connsiteX68213" fmla="*/ 3375660 w 6884782"/>
              <a:gd name="connsiteY68213" fmla="*/ 1074415 h 5973007"/>
              <a:gd name="connsiteX68214" fmla="*/ 3384624 w 6884782"/>
              <a:gd name="connsiteY68214" fmla="*/ 1080674 h 5973007"/>
              <a:gd name="connsiteX68215" fmla="*/ 3395295 w 6884782"/>
              <a:gd name="connsiteY68215" fmla="*/ 1086081 h 5973007"/>
              <a:gd name="connsiteX68216" fmla="*/ 3395081 w 6884782"/>
              <a:gd name="connsiteY68216" fmla="*/ 1086792 h 5973007"/>
              <a:gd name="connsiteX68217" fmla="*/ 3405112 w 6884782"/>
              <a:gd name="connsiteY68217" fmla="*/ 1084089 h 5973007"/>
              <a:gd name="connsiteX68218" fmla="*/ 3412368 w 6884782"/>
              <a:gd name="connsiteY68218" fmla="*/ 1083235 h 5973007"/>
              <a:gd name="connsiteX68219" fmla="*/ 3411728 w 6884782"/>
              <a:gd name="connsiteY68219" fmla="*/ 1082808 h 5973007"/>
              <a:gd name="connsiteX68220" fmla="*/ 3410234 w 6884782"/>
              <a:gd name="connsiteY68220" fmla="*/ 1069720 h 5973007"/>
              <a:gd name="connsiteX68221" fmla="*/ 3417704 w 6884782"/>
              <a:gd name="connsiteY68221" fmla="*/ 1061468 h 5973007"/>
              <a:gd name="connsiteX68222" fmla="*/ 3415356 w 6884782"/>
              <a:gd name="connsiteY68222" fmla="*/ 1053928 h 5973007"/>
              <a:gd name="connsiteX68223" fmla="*/ 3417064 w 6884782"/>
              <a:gd name="connsiteY68223" fmla="*/ 1045961 h 5973007"/>
              <a:gd name="connsiteX68224" fmla="*/ 3413009 w 6884782"/>
              <a:gd name="connsiteY68224" fmla="*/ 1039274 h 5973007"/>
              <a:gd name="connsiteX68225" fmla="*/ 3417704 w 6884782"/>
              <a:gd name="connsiteY68225" fmla="*/ 1037282 h 5973007"/>
              <a:gd name="connsiteX68226" fmla="*/ 3420052 w 6884782"/>
              <a:gd name="connsiteY68226" fmla="*/ 1038705 h 5973007"/>
              <a:gd name="connsiteX68227" fmla="*/ 3427094 w 6884782"/>
              <a:gd name="connsiteY68227" fmla="*/ 1030311 h 5973007"/>
              <a:gd name="connsiteX68228" fmla="*/ 3439686 w 6884782"/>
              <a:gd name="connsiteY68228" fmla="*/ 1023198 h 5973007"/>
              <a:gd name="connsiteX68229" fmla="*/ 3453558 w 6884782"/>
              <a:gd name="connsiteY68229" fmla="*/ 1021491 h 5973007"/>
              <a:gd name="connsiteX68230" fmla="*/ 3456546 w 6884782"/>
              <a:gd name="connsiteY68230" fmla="*/ 1016227 h 5973007"/>
              <a:gd name="connsiteX68231" fmla="*/ 3480876 w 6884782"/>
              <a:gd name="connsiteY68231" fmla="*/ 1011532 h 5973007"/>
              <a:gd name="connsiteX68232" fmla="*/ 3498376 w 6884782"/>
              <a:gd name="connsiteY68232" fmla="*/ 1024905 h 5973007"/>
              <a:gd name="connsiteX68233" fmla="*/ 3497523 w 6884782"/>
              <a:gd name="connsiteY68233" fmla="*/ 1032161 h 5973007"/>
              <a:gd name="connsiteX68234" fmla="*/ 3487278 w 6884782"/>
              <a:gd name="connsiteY68234" fmla="*/ 1039274 h 5973007"/>
              <a:gd name="connsiteX68235" fmla="*/ 3489413 w 6884782"/>
              <a:gd name="connsiteY68235" fmla="*/ 1042262 h 5973007"/>
              <a:gd name="connsiteX68236" fmla="*/ 3494108 w 6884782"/>
              <a:gd name="connsiteY68236" fmla="*/ 1058623 h 5973007"/>
              <a:gd name="connsiteX68237" fmla="*/ 3492614 w 6884782"/>
              <a:gd name="connsiteY68237" fmla="*/ 1059619 h 5973007"/>
              <a:gd name="connsiteX68238" fmla="*/ 3492827 w 6884782"/>
              <a:gd name="connsiteY68238" fmla="*/ 1059761 h 5973007"/>
              <a:gd name="connsiteX68239" fmla="*/ 3488773 w 6884782"/>
              <a:gd name="connsiteY68239" fmla="*/ 1063887 h 5973007"/>
              <a:gd name="connsiteX68240" fmla="*/ 3487492 w 6884782"/>
              <a:gd name="connsiteY68240" fmla="*/ 1063460 h 5973007"/>
              <a:gd name="connsiteX68241" fmla="*/ 3474900 w 6884782"/>
              <a:gd name="connsiteY68241" fmla="*/ 1072850 h 5973007"/>
              <a:gd name="connsiteX68242" fmla="*/ 3434991 w 6884782"/>
              <a:gd name="connsiteY68242" fmla="*/ 1078825 h 5973007"/>
              <a:gd name="connsiteX68243" fmla="*/ 3430936 w 6884782"/>
              <a:gd name="connsiteY68243" fmla="*/ 1076833 h 5973007"/>
              <a:gd name="connsiteX68244" fmla="*/ 3430296 w 6884782"/>
              <a:gd name="connsiteY68244" fmla="*/ 1081386 h 5973007"/>
              <a:gd name="connsiteX68245" fmla="*/ 3429869 w 6884782"/>
              <a:gd name="connsiteY68245" fmla="*/ 1081671 h 5973007"/>
              <a:gd name="connsiteX68246" fmla="*/ 3436698 w 6884782"/>
              <a:gd name="connsiteY68246" fmla="*/ 1081101 h 5973007"/>
              <a:gd name="connsiteX68247" fmla="*/ 3436911 w 6884782"/>
              <a:gd name="connsiteY68247" fmla="*/ 1086934 h 5973007"/>
              <a:gd name="connsiteX68248" fmla="*/ 3436271 w 6884782"/>
              <a:gd name="connsiteY68248" fmla="*/ 1090349 h 5973007"/>
              <a:gd name="connsiteX68249" fmla="*/ 3437765 w 6884782"/>
              <a:gd name="connsiteY68249" fmla="*/ 1090349 h 5973007"/>
              <a:gd name="connsiteX68250" fmla="*/ 3439472 w 6884782"/>
              <a:gd name="connsiteY68250" fmla="*/ 1097035 h 5973007"/>
              <a:gd name="connsiteX68251" fmla="*/ 3438619 w 6884782"/>
              <a:gd name="connsiteY68251" fmla="*/ 1098885 h 5973007"/>
              <a:gd name="connsiteX68252" fmla="*/ 3444594 w 6884782"/>
              <a:gd name="connsiteY68252" fmla="*/ 1098458 h 5973007"/>
              <a:gd name="connsiteX68253" fmla="*/ 3449717 w 6884782"/>
              <a:gd name="connsiteY68253" fmla="*/ 1100592 h 5973007"/>
              <a:gd name="connsiteX68254" fmla="*/ 3450997 w 6884782"/>
              <a:gd name="connsiteY68254" fmla="*/ 1103153 h 5973007"/>
              <a:gd name="connsiteX68255" fmla="*/ 3452705 w 6884782"/>
              <a:gd name="connsiteY68255" fmla="*/ 1100876 h 5973007"/>
              <a:gd name="connsiteX68256" fmla="*/ 3459321 w 6884782"/>
              <a:gd name="connsiteY68256" fmla="*/ 1098031 h 5973007"/>
              <a:gd name="connsiteX68257" fmla="*/ 3466790 w 6884782"/>
              <a:gd name="connsiteY68257" fmla="*/ 1098743 h 5973007"/>
              <a:gd name="connsiteX68258" fmla="*/ 3462522 w 6884782"/>
              <a:gd name="connsiteY68258" fmla="*/ 1105571 h 5973007"/>
              <a:gd name="connsiteX68259" fmla="*/ 3452064 w 6884782"/>
              <a:gd name="connsiteY68259" fmla="*/ 1106568 h 5973007"/>
              <a:gd name="connsiteX68260" fmla="*/ 3450997 w 6884782"/>
              <a:gd name="connsiteY68260" fmla="*/ 1104718 h 5973007"/>
              <a:gd name="connsiteX68261" fmla="*/ 3449717 w 6884782"/>
              <a:gd name="connsiteY68261" fmla="*/ 1109697 h 5973007"/>
              <a:gd name="connsiteX68262" fmla="*/ 3434351 w 6884782"/>
              <a:gd name="connsiteY68262" fmla="*/ 1119941 h 5973007"/>
              <a:gd name="connsiteX68263" fmla="*/ 3432643 w 6884782"/>
              <a:gd name="connsiteY68263" fmla="*/ 1107563 h 5973007"/>
              <a:gd name="connsiteX68264" fmla="*/ 3434137 w 6884782"/>
              <a:gd name="connsiteY68264" fmla="*/ 1102015 h 5973007"/>
              <a:gd name="connsiteX68265" fmla="*/ 3433710 w 6884782"/>
              <a:gd name="connsiteY68265" fmla="*/ 1102015 h 5973007"/>
              <a:gd name="connsiteX68266" fmla="*/ 3429015 w 6884782"/>
              <a:gd name="connsiteY68266" fmla="*/ 1100307 h 5973007"/>
              <a:gd name="connsiteX68267" fmla="*/ 3425173 w 6884782"/>
              <a:gd name="connsiteY68267" fmla="*/ 1094902 h 5973007"/>
              <a:gd name="connsiteX68268" fmla="*/ 3405752 w 6884782"/>
              <a:gd name="connsiteY68268" fmla="*/ 1095612 h 5973007"/>
              <a:gd name="connsiteX68269" fmla="*/ 3400203 w 6884782"/>
              <a:gd name="connsiteY68269" fmla="*/ 1099454 h 5973007"/>
              <a:gd name="connsiteX68270" fmla="*/ 3395295 w 6884782"/>
              <a:gd name="connsiteY68270" fmla="*/ 1098031 h 5973007"/>
              <a:gd name="connsiteX68271" fmla="*/ 3395935 w 6884782"/>
              <a:gd name="connsiteY68271" fmla="*/ 1096182 h 5973007"/>
              <a:gd name="connsiteX68272" fmla="*/ 3391453 w 6884782"/>
              <a:gd name="connsiteY68272" fmla="*/ 1096609 h 5973007"/>
              <a:gd name="connsiteX68273" fmla="*/ 3382489 w 6884782"/>
              <a:gd name="connsiteY68273" fmla="*/ 1096324 h 5973007"/>
              <a:gd name="connsiteX68274" fmla="*/ 3382916 w 6884782"/>
              <a:gd name="connsiteY68274" fmla="*/ 1097035 h 5973007"/>
              <a:gd name="connsiteX68275" fmla="*/ 3382916 w 6884782"/>
              <a:gd name="connsiteY68275" fmla="*/ 1108702 h 5973007"/>
              <a:gd name="connsiteX68276" fmla="*/ 3382916 w 6884782"/>
              <a:gd name="connsiteY68276" fmla="*/ 1108986 h 5973007"/>
              <a:gd name="connsiteX68277" fmla="*/ 3386971 w 6884782"/>
              <a:gd name="connsiteY68277" fmla="*/ 1107705 h 5973007"/>
              <a:gd name="connsiteX68278" fmla="*/ 3391453 w 6884782"/>
              <a:gd name="connsiteY68278" fmla="*/ 1109840 h 5973007"/>
              <a:gd name="connsiteX68279" fmla="*/ 3392520 w 6884782"/>
              <a:gd name="connsiteY68279" fmla="*/ 1114107 h 5973007"/>
              <a:gd name="connsiteX68280" fmla="*/ 3386117 w 6884782"/>
              <a:gd name="connsiteY68280" fmla="*/ 1116242 h 5973007"/>
              <a:gd name="connsiteX68281" fmla="*/ 3385477 w 6884782"/>
              <a:gd name="connsiteY68281" fmla="*/ 1116099 h 5973007"/>
              <a:gd name="connsiteX68282" fmla="*/ 3385904 w 6884782"/>
              <a:gd name="connsiteY68282" fmla="*/ 1117238 h 5973007"/>
              <a:gd name="connsiteX68283" fmla="*/ 3388892 w 6884782"/>
              <a:gd name="connsiteY68283" fmla="*/ 1121363 h 5973007"/>
              <a:gd name="connsiteX68284" fmla="*/ 3389105 w 6884782"/>
              <a:gd name="connsiteY68284" fmla="*/ 1121221 h 5973007"/>
              <a:gd name="connsiteX68285" fmla="*/ 3392093 w 6884782"/>
              <a:gd name="connsiteY68285" fmla="*/ 1120652 h 5973007"/>
              <a:gd name="connsiteX68286" fmla="*/ 3394014 w 6884782"/>
              <a:gd name="connsiteY68286" fmla="*/ 1122359 h 5973007"/>
              <a:gd name="connsiteX68287" fmla="*/ 3393587 w 6884782"/>
              <a:gd name="connsiteY68287" fmla="*/ 1123355 h 5973007"/>
              <a:gd name="connsiteX68288" fmla="*/ 3398923 w 6884782"/>
              <a:gd name="connsiteY68288" fmla="*/ 1124067 h 5973007"/>
              <a:gd name="connsiteX68289" fmla="*/ 3402338 w 6884782"/>
              <a:gd name="connsiteY68289" fmla="*/ 1129188 h 5973007"/>
              <a:gd name="connsiteX68290" fmla="*/ 3400630 w 6884782"/>
              <a:gd name="connsiteY68290" fmla="*/ 1136017 h 5973007"/>
              <a:gd name="connsiteX68291" fmla="*/ 3399350 w 6884782"/>
              <a:gd name="connsiteY68291" fmla="*/ 1136586 h 5973007"/>
              <a:gd name="connsiteX68292" fmla="*/ 3399990 w 6884782"/>
              <a:gd name="connsiteY68292" fmla="*/ 1137582 h 5973007"/>
              <a:gd name="connsiteX68293" fmla="*/ 3402124 w 6884782"/>
              <a:gd name="connsiteY68293" fmla="*/ 1133741 h 5973007"/>
              <a:gd name="connsiteX68294" fmla="*/ 3406819 w 6884782"/>
              <a:gd name="connsiteY68294" fmla="*/ 1131465 h 5973007"/>
              <a:gd name="connsiteX68295" fmla="*/ 3408527 w 6884782"/>
              <a:gd name="connsiteY68295" fmla="*/ 1133029 h 5973007"/>
              <a:gd name="connsiteX68296" fmla="*/ 3410234 w 6884782"/>
              <a:gd name="connsiteY68296" fmla="*/ 1135448 h 5973007"/>
              <a:gd name="connsiteX68297" fmla="*/ 3410874 w 6884782"/>
              <a:gd name="connsiteY68297" fmla="*/ 1142135 h 5973007"/>
              <a:gd name="connsiteX68298" fmla="*/ 3407459 w 6884782"/>
              <a:gd name="connsiteY68298" fmla="*/ 1146403 h 5973007"/>
              <a:gd name="connsiteX68299" fmla="*/ 3405326 w 6884782"/>
              <a:gd name="connsiteY68299" fmla="*/ 1147541 h 5973007"/>
              <a:gd name="connsiteX68300" fmla="*/ 3403618 w 6884782"/>
              <a:gd name="connsiteY68300" fmla="*/ 1146545 h 5973007"/>
              <a:gd name="connsiteX68301" fmla="*/ 3403191 w 6884782"/>
              <a:gd name="connsiteY68301" fmla="*/ 1147257 h 5973007"/>
              <a:gd name="connsiteX68302" fmla="*/ 3399990 w 6884782"/>
              <a:gd name="connsiteY68302" fmla="*/ 1149248 h 5973007"/>
              <a:gd name="connsiteX68303" fmla="*/ 3398069 w 6884782"/>
              <a:gd name="connsiteY68303" fmla="*/ 1146972 h 5973007"/>
              <a:gd name="connsiteX68304" fmla="*/ 3397429 w 6884782"/>
              <a:gd name="connsiteY68304" fmla="*/ 1146118 h 5973007"/>
              <a:gd name="connsiteX68305" fmla="*/ 3399136 w 6884782"/>
              <a:gd name="connsiteY68305" fmla="*/ 1151809 h 5973007"/>
              <a:gd name="connsiteX68306" fmla="*/ 3406393 w 6884782"/>
              <a:gd name="connsiteY68306" fmla="*/ 1171727 h 5973007"/>
              <a:gd name="connsiteX68307" fmla="*/ 3409381 w 6884782"/>
              <a:gd name="connsiteY68307" fmla="*/ 1180690 h 5973007"/>
              <a:gd name="connsiteX68308" fmla="*/ 3410874 w 6884782"/>
              <a:gd name="connsiteY68308" fmla="*/ 1180263 h 5973007"/>
              <a:gd name="connsiteX68309" fmla="*/ 3412795 w 6884782"/>
              <a:gd name="connsiteY68309" fmla="*/ 1181116 h 5973007"/>
              <a:gd name="connsiteX68310" fmla="*/ 3412795 w 6884782"/>
              <a:gd name="connsiteY68310" fmla="*/ 1184246 h 5973007"/>
              <a:gd name="connsiteX68311" fmla="*/ 3411942 w 6884782"/>
              <a:gd name="connsiteY68311" fmla="*/ 1186949 h 5973007"/>
              <a:gd name="connsiteX68312" fmla="*/ 3411301 w 6884782"/>
              <a:gd name="connsiteY68312" fmla="*/ 1187092 h 5973007"/>
              <a:gd name="connsiteX68313" fmla="*/ 3412795 w 6884782"/>
              <a:gd name="connsiteY68313" fmla="*/ 1191360 h 5973007"/>
              <a:gd name="connsiteX68314" fmla="*/ 3418557 w 6884782"/>
              <a:gd name="connsiteY68314" fmla="*/ 1211846 h 5973007"/>
              <a:gd name="connsiteX68315" fmla="*/ 3425814 w 6884782"/>
              <a:gd name="connsiteY68315" fmla="*/ 1231622 h 5973007"/>
              <a:gd name="connsiteX68316" fmla="*/ 3433497 w 6884782"/>
              <a:gd name="connsiteY68316" fmla="*/ 1250544 h 5973007"/>
              <a:gd name="connsiteX68317" fmla="*/ 3442034 w 6884782"/>
              <a:gd name="connsiteY68317" fmla="*/ 1268896 h 5973007"/>
              <a:gd name="connsiteX68318" fmla="*/ 3448009 w 6884782"/>
              <a:gd name="connsiteY68318" fmla="*/ 1278001 h 5973007"/>
              <a:gd name="connsiteX68319" fmla="*/ 3449290 w 6884782"/>
              <a:gd name="connsiteY68319" fmla="*/ 1280420 h 5973007"/>
              <a:gd name="connsiteX68320" fmla="*/ 3451210 w 6884782"/>
              <a:gd name="connsiteY68320" fmla="*/ 1292371 h 5973007"/>
              <a:gd name="connsiteX68321" fmla="*/ 3452064 w 6884782"/>
              <a:gd name="connsiteY68321" fmla="*/ 1292655 h 5973007"/>
              <a:gd name="connsiteX68322" fmla="*/ 3452705 w 6884782"/>
              <a:gd name="connsiteY68322" fmla="*/ 1293936 h 5973007"/>
              <a:gd name="connsiteX68323" fmla="*/ 3455052 w 6884782"/>
              <a:gd name="connsiteY68323" fmla="*/ 1295643 h 5973007"/>
              <a:gd name="connsiteX68324" fmla="*/ 3459321 w 6884782"/>
              <a:gd name="connsiteY68324" fmla="*/ 1291801 h 5973007"/>
              <a:gd name="connsiteX68325" fmla="*/ 3458467 w 6884782"/>
              <a:gd name="connsiteY68325" fmla="*/ 1291517 h 5973007"/>
              <a:gd name="connsiteX68326" fmla="*/ 3458680 w 6884782"/>
              <a:gd name="connsiteY68326" fmla="*/ 1290664 h 5973007"/>
              <a:gd name="connsiteX68327" fmla="*/ 3457613 w 6884782"/>
              <a:gd name="connsiteY68327" fmla="*/ 1284119 h 5973007"/>
              <a:gd name="connsiteX68328" fmla="*/ 3453131 w 6884782"/>
              <a:gd name="connsiteY68328" fmla="*/ 1278286 h 5973007"/>
              <a:gd name="connsiteX68329" fmla="*/ 3455265 w 6884782"/>
              <a:gd name="connsiteY68329" fmla="*/ 1273164 h 5973007"/>
              <a:gd name="connsiteX68330" fmla="*/ 3459748 w 6884782"/>
              <a:gd name="connsiteY68330" fmla="*/ 1274018 h 5973007"/>
              <a:gd name="connsiteX68331" fmla="*/ 3464656 w 6884782"/>
              <a:gd name="connsiteY68331" fmla="*/ 1283835 h 5973007"/>
              <a:gd name="connsiteX68332" fmla="*/ 3463589 w 6884782"/>
              <a:gd name="connsiteY68332" fmla="*/ 1286537 h 5973007"/>
              <a:gd name="connsiteX68333" fmla="*/ 3462522 w 6884782"/>
              <a:gd name="connsiteY68333" fmla="*/ 1286822 h 5973007"/>
              <a:gd name="connsiteX68334" fmla="*/ 3462949 w 6884782"/>
              <a:gd name="connsiteY68334" fmla="*/ 1289810 h 5973007"/>
              <a:gd name="connsiteX68335" fmla="*/ 3462736 w 6884782"/>
              <a:gd name="connsiteY68335" fmla="*/ 1290806 h 5973007"/>
              <a:gd name="connsiteX68336" fmla="*/ 3463589 w 6884782"/>
              <a:gd name="connsiteY68336" fmla="*/ 1291091 h 5973007"/>
              <a:gd name="connsiteX68337" fmla="*/ 3464229 w 6884782"/>
              <a:gd name="connsiteY68337" fmla="*/ 1292228 h 5973007"/>
              <a:gd name="connsiteX68338" fmla="*/ 3465296 w 6884782"/>
              <a:gd name="connsiteY68338" fmla="*/ 1294647 h 5973007"/>
              <a:gd name="connsiteX68339" fmla="*/ 3468284 w 6884782"/>
              <a:gd name="connsiteY68339" fmla="*/ 1297777 h 5973007"/>
              <a:gd name="connsiteX68340" fmla="*/ 3475540 w 6884782"/>
              <a:gd name="connsiteY68340" fmla="*/ 1297492 h 5973007"/>
              <a:gd name="connsiteX68341" fmla="*/ 3499444 w 6884782"/>
              <a:gd name="connsiteY68341" fmla="*/ 1305175 h 5973007"/>
              <a:gd name="connsiteX68342" fmla="*/ 3515236 w 6884782"/>
              <a:gd name="connsiteY68342" fmla="*/ 1331921 h 5973007"/>
              <a:gd name="connsiteX68343" fmla="*/ 3490053 w 6884782"/>
              <a:gd name="connsiteY68343" fmla="*/ 1389825 h 5973007"/>
              <a:gd name="connsiteX68344" fmla="*/ 3482370 w 6884782"/>
              <a:gd name="connsiteY68344" fmla="*/ 1391674 h 5973007"/>
              <a:gd name="connsiteX68345" fmla="*/ 3483437 w 6884782"/>
              <a:gd name="connsiteY68345" fmla="*/ 1406328 h 5973007"/>
              <a:gd name="connsiteX68346" fmla="*/ 3483437 w 6884782"/>
              <a:gd name="connsiteY68346" fmla="*/ 1408035 h 5973007"/>
              <a:gd name="connsiteX68347" fmla="*/ 3486425 w 6884782"/>
              <a:gd name="connsiteY68347" fmla="*/ 1408889 h 5973007"/>
              <a:gd name="connsiteX68348" fmla="*/ 3486638 w 6884782"/>
              <a:gd name="connsiteY68348" fmla="*/ 1407751 h 5973007"/>
              <a:gd name="connsiteX68349" fmla="*/ 3487065 w 6884782"/>
              <a:gd name="connsiteY68349" fmla="*/ 1409173 h 5973007"/>
              <a:gd name="connsiteX68350" fmla="*/ 3488986 w 6884782"/>
              <a:gd name="connsiteY68350" fmla="*/ 1409600 h 5973007"/>
              <a:gd name="connsiteX68351" fmla="*/ 3499870 w 6884782"/>
              <a:gd name="connsiteY68351" fmla="*/ 1418990 h 5973007"/>
              <a:gd name="connsiteX68352" fmla="*/ 3499444 w 6884782"/>
              <a:gd name="connsiteY68352" fmla="*/ 1422120 h 5973007"/>
              <a:gd name="connsiteX68353" fmla="*/ 3500084 w 6884782"/>
              <a:gd name="connsiteY68353" fmla="*/ 1420270 h 5973007"/>
              <a:gd name="connsiteX68354" fmla="*/ 3540633 w 6884782"/>
              <a:gd name="connsiteY68354" fmla="*/ 1399499 h 5973007"/>
              <a:gd name="connsiteX68355" fmla="*/ 3566670 w 6884782"/>
              <a:gd name="connsiteY68355" fmla="*/ 1410169 h 5973007"/>
              <a:gd name="connsiteX68356" fmla="*/ 3575207 w 6884782"/>
              <a:gd name="connsiteY68356" fmla="*/ 1426103 h 5973007"/>
              <a:gd name="connsiteX68357" fmla="*/ 3583317 w 6884782"/>
              <a:gd name="connsiteY68357" fmla="*/ 1437627 h 5973007"/>
              <a:gd name="connsiteX68358" fmla="*/ 3588440 w 6884782"/>
              <a:gd name="connsiteY68358" fmla="*/ 1439192 h 5973007"/>
              <a:gd name="connsiteX68359" fmla="*/ 3597190 w 6884782"/>
              <a:gd name="connsiteY68359" fmla="*/ 1456407 h 5973007"/>
              <a:gd name="connsiteX68360" fmla="*/ 3585878 w 6884782"/>
              <a:gd name="connsiteY68360" fmla="*/ 1464089 h 5973007"/>
              <a:gd name="connsiteX68361" fmla="*/ 3582250 w 6884782"/>
              <a:gd name="connsiteY68361" fmla="*/ 1465512 h 5973007"/>
              <a:gd name="connsiteX68362" fmla="*/ 3579049 w 6884782"/>
              <a:gd name="connsiteY68362" fmla="*/ 1483438 h 5973007"/>
              <a:gd name="connsiteX68363" fmla="*/ 3568378 w 6884782"/>
              <a:gd name="connsiteY68363" fmla="*/ 1488275 h 5973007"/>
              <a:gd name="connsiteX68364" fmla="*/ 3563683 w 6884782"/>
              <a:gd name="connsiteY68364" fmla="*/ 1491547 h 5973007"/>
              <a:gd name="connsiteX68365" fmla="*/ 3563256 w 6884782"/>
              <a:gd name="connsiteY68365" fmla="*/ 1494820 h 5973007"/>
              <a:gd name="connsiteX68366" fmla="*/ 3565177 w 6884782"/>
              <a:gd name="connsiteY68366" fmla="*/ 1498945 h 5973007"/>
              <a:gd name="connsiteX68367" fmla="*/ 3561975 w 6884782"/>
              <a:gd name="connsiteY68367" fmla="*/ 1502502 h 5973007"/>
              <a:gd name="connsiteX68368" fmla="*/ 3561122 w 6884782"/>
              <a:gd name="connsiteY68368" fmla="*/ 1508335 h 5973007"/>
              <a:gd name="connsiteX68369" fmla="*/ 3554292 w 6884782"/>
              <a:gd name="connsiteY68369" fmla="*/ 1519859 h 5973007"/>
              <a:gd name="connsiteX68370" fmla="*/ 3549384 w 6884782"/>
              <a:gd name="connsiteY68370" fmla="*/ 1524269 h 5973007"/>
              <a:gd name="connsiteX68371" fmla="*/ 3555146 w 6884782"/>
              <a:gd name="connsiteY68371" fmla="*/ 1528537 h 5973007"/>
              <a:gd name="connsiteX68372" fmla="*/ 3570512 w 6884782"/>
              <a:gd name="connsiteY68372" fmla="*/ 1549308 h 5973007"/>
              <a:gd name="connsiteX68373" fmla="*/ 3547249 w 6884782"/>
              <a:gd name="connsiteY68373" fmla="*/ 1527825 h 5973007"/>
              <a:gd name="connsiteX68374" fmla="*/ 3548103 w 6884782"/>
              <a:gd name="connsiteY68374" fmla="*/ 1525407 h 5973007"/>
              <a:gd name="connsiteX68375" fmla="*/ 3545329 w 6884782"/>
              <a:gd name="connsiteY68375" fmla="*/ 1527541 h 5973007"/>
              <a:gd name="connsiteX68376" fmla="*/ 3524414 w 6884782"/>
              <a:gd name="connsiteY68376" fmla="*/ 1542195 h 5973007"/>
              <a:gd name="connsiteX68377" fmla="*/ 3521426 w 6884782"/>
              <a:gd name="connsiteY68377" fmla="*/ 1540630 h 5973007"/>
              <a:gd name="connsiteX68378" fmla="*/ 3522493 w 6884782"/>
              <a:gd name="connsiteY68378" fmla="*/ 1541483 h 5973007"/>
              <a:gd name="connsiteX68379" fmla="*/ 3525694 w 6884782"/>
              <a:gd name="connsiteY68379" fmla="*/ 1544898 h 5973007"/>
              <a:gd name="connsiteX68380" fmla="*/ 3517157 w 6884782"/>
              <a:gd name="connsiteY68380" fmla="*/ 1539207 h 5973007"/>
              <a:gd name="connsiteX68381" fmla="*/ 3515877 w 6884782"/>
              <a:gd name="connsiteY68381" fmla="*/ 1537927 h 5973007"/>
              <a:gd name="connsiteX68382" fmla="*/ 3509688 w 6884782"/>
              <a:gd name="connsiteY68382" fmla="*/ 1537500 h 5973007"/>
              <a:gd name="connsiteX68383" fmla="*/ 3497523 w 6884782"/>
              <a:gd name="connsiteY68383" fmla="*/ 1540345 h 5973007"/>
              <a:gd name="connsiteX68384" fmla="*/ 3486852 w 6884782"/>
              <a:gd name="connsiteY68384" fmla="*/ 1527683 h 5973007"/>
              <a:gd name="connsiteX68385" fmla="*/ 3476394 w 6884782"/>
              <a:gd name="connsiteY68385" fmla="*/ 1518294 h 5973007"/>
              <a:gd name="connsiteX68386" fmla="*/ 3476607 w 6884782"/>
              <a:gd name="connsiteY68386" fmla="*/ 1519147 h 5973007"/>
              <a:gd name="connsiteX68387" fmla="*/ 3465510 w 6884782"/>
              <a:gd name="connsiteY68387" fmla="*/ 1531383 h 5973007"/>
              <a:gd name="connsiteX68388" fmla="*/ 3469778 w 6884782"/>
              <a:gd name="connsiteY68388" fmla="*/ 1553434 h 5973007"/>
              <a:gd name="connsiteX68389" fmla="*/ 3476607 w 6884782"/>
              <a:gd name="connsiteY68389" fmla="*/ 1539919 h 5973007"/>
              <a:gd name="connsiteX68390" fmla="*/ 3475967 w 6884782"/>
              <a:gd name="connsiteY68390" fmla="*/ 1520997 h 5973007"/>
              <a:gd name="connsiteX68391" fmla="*/ 3478955 w 6884782"/>
              <a:gd name="connsiteY68391" fmla="*/ 1553149 h 5973007"/>
              <a:gd name="connsiteX68392" fmla="*/ 3478742 w 6884782"/>
              <a:gd name="connsiteY68392" fmla="*/ 1557986 h 5973007"/>
              <a:gd name="connsiteX68393" fmla="*/ 3478528 w 6884782"/>
              <a:gd name="connsiteY68393" fmla="*/ 1560690 h 5973007"/>
              <a:gd name="connsiteX68394" fmla="*/ 3487278 w 6884782"/>
              <a:gd name="connsiteY68394" fmla="*/ 1559125 h 5973007"/>
              <a:gd name="connsiteX68395" fmla="*/ 3487278 w 6884782"/>
              <a:gd name="connsiteY68395" fmla="*/ 1558414 h 5973007"/>
              <a:gd name="connsiteX68396" fmla="*/ 3483223 w 6884782"/>
              <a:gd name="connsiteY68396" fmla="*/ 1559409 h 5973007"/>
              <a:gd name="connsiteX68397" fmla="*/ 3478742 w 6884782"/>
              <a:gd name="connsiteY68397" fmla="*/ 1557986 h 5973007"/>
              <a:gd name="connsiteX68398" fmla="*/ 3483864 w 6884782"/>
              <a:gd name="connsiteY68398" fmla="*/ 1555710 h 5973007"/>
              <a:gd name="connsiteX68399" fmla="*/ 3486211 w 6884782"/>
              <a:gd name="connsiteY68399" fmla="*/ 1555141 h 5973007"/>
              <a:gd name="connsiteX68400" fmla="*/ 3487278 w 6884782"/>
              <a:gd name="connsiteY68400" fmla="*/ 1556991 h 5973007"/>
              <a:gd name="connsiteX68401" fmla="*/ 3487278 w 6884782"/>
              <a:gd name="connsiteY68401" fmla="*/ 1556422 h 5973007"/>
              <a:gd name="connsiteX68402" fmla="*/ 3490694 w 6884782"/>
              <a:gd name="connsiteY68402" fmla="*/ 1549593 h 5973007"/>
              <a:gd name="connsiteX68403" fmla="*/ 3497736 w 6884782"/>
              <a:gd name="connsiteY68403" fmla="*/ 1557275 h 5973007"/>
              <a:gd name="connsiteX68404" fmla="*/ 3498803 w 6884782"/>
              <a:gd name="connsiteY68404" fmla="*/ 1557986 h 5973007"/>
              <a:gd name="connsiteX68405" fmla="*/ 3503925 w 6884782"/>
              <a:gd name="connsiteY68405" fmla="*/ 1558414 h 5973007"/>
              <a:gd name="connsiteX68406" fmla="*/ 3505420 w 6884782"/>
              <a:gd name="connsiteY68406" fmla="*/ 1558983 h 5973007"/>
              <a:gd name="connsiteX68407" fmla="*/ 3507767 w 6884782"/>
              <a:gd name="connsiteY68407" fmla="*/ 1557275 h 5973007"/>
              <a:gd name="connsiteX68408" fmla="*/ 3511395 w 6884782"/>
              <a:gd name="connsiteY68408" fmla="*/ 1556991 h 5973007"/>
              <a:gd name="connsiteX68409" fmla="*/ 3522279 w 6884782"/>
              <a:gd name="connsiteY68409" fmla="*/ 1563393 h 5973007"/>
              <a:gd name="connsiteX68410" fmla="*/ 3521426 w 6884782"/>
              <a:gd name="connsiteY68410" fmla="*/ 1562255 h 5973007"/>
              <a:gd name="connsiteX68411" fmla="*/ 3525481 w 6884782"/>
              <a:gd name="connsiteY68411" fmla="*/ 1545609 h 5973007"/>
              <a:gd name="connsiteX68412" fmla="*/ 3525694 w 6884782"/>
              <a:gd name="connsiteY68412" fmla="*/ 1545325 h 5973007"/>
              <a:gd name="connsiteX68413" fmla="*/ 3525481 w 6884782"/>
              <a:gd name="connsiteY68413" fmla="*/ 1545040 h 5973007"/>
              <a:gd name="connsiteX68414" fmla="*/ 3526121 w 6884782"/>
              <a:gd name="connsiteY68414" fmla="*/ 1544898 h 5973007"/>
              <a:gd name="connsiteX68415" fmla="*/ 3527615 w 6884782"/>
              <a:gd name="connsiteY68415" fmla="*/ 1543333 h 5973007"/>
              <a:gd name="connsiteX68416" fmla="*/ 3528895 w 6884782"/>
              <a:gd name="connsiteY68416" fmla="*/ 1547032 h 5973007"/>
              <a:gd name="connsiteX68417" fmla="*/ 3528469 w 6884782"/>
              <a:gd name="connsiteY68417" fmla="*/ 1548739 h 5973007"/>
              <a:gd name="connsiteX68418" fmla="*/ 3529322 w 6884782"/>
              <a:gd name="connsiteY68418" fmla="*/ 1549735 h 5973007"/>
              <a:gd name="connsiteX68419" fmla="*/ 3528255 w 6884782"/>
              <a:gd name="connsiteY68419" fmla="*/ 1550304 h 5973007"/>
              <a:gd name="connsiteX68420" fmla="*/ 3527828 w 6884782"/>
              <a:gd name="connsiteY68420" fmla="*/ 1553719 h 5973007"/>
              <a:gd name="connsiteX68421" fmla="*/ 3529109 w 6884782"/>
              <a:gd name="connsiteY68421" fmla="*/ 1561686 h 5973007"/>
              <a:gd name="connsiteX68422" fmla="*/ 3526334 w 6884782"/>
              <a:gd name="connsiteY68422" fmla="*/ 1569510 h 5973007"/>
              <a:gd name="connsiteX68423" fmla="*/ 3523133 w 6884782"/>
              <a:gd name="connsiteY68423" fmla="*/ 1568657 h 5973007"/>
              <a:gd name="connsiteX68424" fmla="*/ 3522706 w 6884782"/>
              <a:gd name="connsiteY68424" fmla="*/ 1571929 h 5973007"/>
              <a:gd name="connsiteX68425" fmla="*/ 3509901 w 6884782"/>
              <a:gd name="connsiteY68425" fmla="*/ 1578900 h 5973007"/>
              <a:gd name="connsiteX68426" fmla="*/ 3503712 w 6884782"/>
              <a:gd name="connsiteY68426" fmla="*/ 1575486 h 5973007"/>
              <a:gd name="connsiteX68427" fmla="*/ 3501151 w 6884782"/>
              <a:gd name="connsiteY68427" fmla="*/ 1571360 h 5973007"/>
              <a:gd name="connsiteX68428" fmla="*/ 3501151 w 6884782"/>
              <a:gd name="connsiteY68428" fmla="*/ 1571217 h 5973007"/>
              <a:gd name="connsiteX68429" fmla="*/ 3493894 w 6884782"/>
              <a:gd name="connsiteY68429" fmla="*/ 1568515 h 5973007"/>
              <a:gd name="connsiteX68430" fmla="*/ 3493041 w 6884782"/>
              <a:gd name="connsiteY68430" fmla="*/ 1567945 h 5973007"/>
              <a:gd name="connsiteX68431" fmla="*/ 3492614 w 6884782"/>
              <a:gd name="connsiteY68431" fmla="*/ 1567945 h 5973007"/>
              <a:gd name="connsiteX68432" fmla="*/ 3480023 w 6884782"/>
              <a:gd name="connsiteY68432" fmla="*/ 1564673 h 5973007"/>
              <a:gd name="connsiteX68433" fmla="*/ 3478528 w 6884782"/>
              <a:gd name="connsiteY68433" fmla="*/ 1562397 h 5973007"/>
              <a:gd name="connsiteX68434" fmla="*/ 3478102 w 6884782"/>
              <a:gd name="connsiteY68434" fmla="*/ 1569795 h 5973007"/>
              <a:gd name="connsiteX68435" fmla="*/ 3484078 w 6884782"/>
              <a:gd name="connsiteY68435" fmla="*/ 1581746 h 5973007"/>
              <a:gd name="connsiteX68436" fmla="*/ 3480876 w 6884782"/>
              <a:gd name="connsiteY68436" fmla="*/ 1598960 h 5973007"/>
              <a:gd name="connsiteX68437" fmla="*/ 3480449 w 6884782"/>
              <a:gd name="connsiteY68437" fmla="*/ 1600098 h 5973007"/>
              <a:gd name="connsiteX68438" fmla="*/ 3480876 w 6884782"/>
              <a:gd name="connsiteY68438" fmla="*/ 1600098 h 5973007"/>
              <a:gd name="connsiteX68439" fmla="*/ 3485358 w 6884782"/>
              <a:gd name="connsiteY68439" fmla="*/ 1604082 h 5973007"/>
              <a:gd name="connsiteX68440" fmla="*/ 3484931 w 6884782"/>
              <a:gd name="connsiteY68440" fmla="*/ 1606927 h 5973007"/>
              <a:gd name="connsiteX68441" fmla="*/ 3483864 w 6884782"/>
              <a:gd name="connsiteY68441" fmla="*/ 1607496 h 5973007"/>
              <a:gd name="connsiteX68442" fmla="*/ 3481943 w 6884782"/>
              <a:gd name="connsiteY68442" fmla="*/ 1608492 h 5973007"/>
              <a:gd name="connsiteX68443" fmla="*/ 3489840 w 6884782"/>
              <a:gd name="connsiteY68443" fmla="*/ 1612902 h 5973007"/>
              <a:gd name="connsiteX68444" fmla="*/ 3500297 w 6884782"/>
              <a:gd name="connsiteY68444" fmla="*/ 1628410 h 5973007"/>
              <a:gd name="connsiteX68445" fmla="*/ 3493468 w 6884782"/>
              <a:gd name="connsiteY68445" fmla="*/ 1634669 h 5973007"/>
              <a:gd name="connsiteX68446" fmla="*/ 3489626 w 6884782"/>
              <a:gd name="connsiteY68446" fmla="*/ 1633958 h 5973007"/>
              <a:gd name="connsiteX68447" fmla="*/ 3490053 w 6884782"/>
              <a:gd name="connsiteY68447" fmla="*/ 1635808 h 5973007"/>
              <a:gd name="connsiteX68448" fmla="*/ 3498803 w 6884782"/>
              <a:gd name="connsiteY68448" fmla="*/ 1635381 h 5973007"/>
              <a:gd name="connsiteX68449" fmla="*/ 3510115 w 6884782"/>
              <a:gd name="connsiteY68449" fmla="*/ 1637941 h 5973007"/>
              <a:gd name="connsiteX68450" fmla="*/ 3512035 w 6884782"/>
              <a:gd name="connsiteY68450" fmla="*/ 1631824 h 5973007"/>
              <a:gd name="connsiteX68451" fmla="*/ 3520786 w 6884782"/>
              <a:gd name="connsiteY68451" fmla="*/ 1627129 h 5973007"/>
              <a:gd name="connsiteX68452" fmla="*/ 3524414 w 6884782"/>
              <a:gd name="connsiteY68452" fmla="*/ 1635239 h 5973007"/>
              <a:gd name="connsiteX68453" fmla="*/ 3524627 w 6884782"/>
              <a:gd name="connsiteY68453" fmla="*/ 1632394 h 5973007"/>
              <a:gd name="connsiteX68454" fmla="*/ 3535938 w 6884782"/>
              <a:gd name="connsiteY68454" fmla="*/ 1628979 h 5973007"/>
              <a:gd name="connsiteX68455" fmla="*/ 3548103 w 6884782"/>
              <a:gd name="connsiteY68455" fmla="*/ 1640930 h 5973007"/>
              <a:gd name="connsiteX68456" fmla="*/ 3547890 w 6884782"/>
              <a:gd name="connsiteY68456" fmla="*/ 1642779 h 5973007"/>
              <a:gd name="connsiteX68457" fmla="*/ 3548317 w 6884782"/>
              <a:gd name="connsiteY68457" fmla="*/ 1642779 h 5973007"/>
              <a:gd name="connsiteX68458" fmla="*/ 3550664 w 6884782"/>
              <a:gd name="connsiteY68458" fmla="*/ 1642494 h 5973007"/>
              <a:gd name="connsiteX68459" fmla="*/ 3549170 w 6884782"/>
              <a:gd name="connsiteY68459" fmla="*/ 1641213 h 5973007"/>
              <a:gd name="connsiteX68460" fmla="*/ 3552372 w 6884782"/>
              <a:gd name="connsiteY68460" fmla="*/ 1639080 h 5973007"/>
              <a:gd name="connsiteX68461" fmla="*/ 3555146 w 6884782"/>
              <a:gd name="connsiteY68461" fmla="*/ 1636092 h 5973007"/>
              <a:gd name="connsiteX68462" fmla="*/ 3557067 w 6884782"/>
              <a:gd name="connsiteY68462" fmla="*/ 1635808 h 5973007"/>
              <a:gd name="connsiteX68463" fmla="*/ 3564323 w 6884782"/>
              <a:gd name="connsiteY68463" fmla="*/ 1630686 h 5973007"/>
              <a:gd name="connsiteX68464" fmla="*/ 3569445 w 6884782"/>
              <a:gd name="connsiteY68464" fmla="*/ 1629405 h 5973007"/>
              <a:gd name="connsiteX68465" fmla="*/ 3569445 w 6884782"/>
              <a:gd name="connsiteY68465" fmla="*/ 1629263 h 5973007"/>
              <a:gd name="connsiteX68466" fmla="*/ 3567524 w 6884782"/>
              <a:gd name="connsiteY68466" fmla="*/ 1622861 h 5973007"/>
              <a:gd name="connsiteX68467" fmla="*/ 3569445 w 6884782"/>
              <a:gd name="connsiteY68467" fmla="*/ 1619731 h 5973007"/>
              <a:gd name="connsiteX68468" fmla="*/ 3576701 w 6884782"/>
              <a:gd name="connsiteY68468" fmla="*/ 1619020 h 5973007"/>
              <a:gd name="connsiteX68469" fmla="*/ 3584171 w 6884782"/>
              <a:gd name="connsiteY68469" fmla="*/ 1623146 h 5973007"/>
              <a:gd name="connsiteX68470" fmla="*/ 3587586 w 6884782"/>
              <a:gd name="connsiteY68470" fmla="*/ 1627556 h 5973007"/>
              <a:gd name="connsiteX68471" fmla="*/ 3590147 w 6884782"/>
              <a:gd name="connsiteY68471" fmla="*/ 1627698 h 5973007"/>
              <a:gd name="connsiteX68472" fmla="*/ 3589080 w 6884782"/>
              <a:gd name="connsiteY68472" fmla="*/ 1631824 h 5973007"/>
              <a:gd name="connsiteX68473" fmla="*/ 3588866 w 6884782"/>
              <a:gd name="connsiteY68473" fmla="*/ 1635666 h 5973007"/>
              <a:gd name="connsiteX68474" fmla="*/ 3585238 w 6884782"/>
              <a:gd name="connsiteY68474" fmla="*/ 1638084 h 5973007"/>
              <a:gd name="connsiteX68475" fmla="*/ 3583957 w 6884782"/>
              <a:gd name="connsiteY68475" fmla="*/ 1637515 h 5973007"/>
              <a:gd name="connsiteX68476" fmla="*/ 3579262 w 6884782"/>
              <a:gd name="connsiteY68476" fmla="*/ 1639649 h 5973007"/>
              <a:gd name="connsiteX68477" fmla="*/ 3578195 w 6884782"/>
              <a:gd name="connsiteY68477" fmla="*/ 1641783 h 5973007"/>
              <a:gd name="connsiteX68478" fmla="*/ 3580117 w 6884782"/>
              <a:gd name="connsiteY68478" fmla="*/ 1645624 h 5973007"/>
              <a:gd name="connsiteX68479" fmla="*/ 3582037 w 6884782"/>
              <a:gd name="connsiteY68479" fmla="*/ 1647474 h 5973007"/>
              <a:gd name="connsiteX68480" fmla="*/ 3584812 w 6884782"/>
              <a:gd name="connsiteY68480" fmla="*/ 1646762 h 5973007"/>
              <a:gd name="connsiteX68481" fmla="*/ 3595483 w 6884782"/>
              <a:gd name="connsiteY68481" fmla="*/ 1646335 h 5973007"/>
              <a:gd name="connsiteX68482" fmla="*/ 3594628 w 6884782"/>
              <a:gd name="connsiteY68482" fmla="*/ 1647901 h 5973007"/>
              <a:gd name="connsiteX68483" fmla="*/ 3586305 w 6884782"/>
              <a:gd name="connsiteY68483" fmla="*/ 1649892 h 5973007"/>
              <a:gd name="connsiteX68484" fmla="*/ 3584598 w 6884782"/>
              <a:gd name="connsiteY68484" fmla="*/ 1650177 h 5973007"/>
              <a:gd name="connsiteX68485" fmla="*/ 3586519 w 6884782"/>
              <a:gd name="connsiteY68485" fmla="*/ 1652311 h 5973007"/>
              <a:gd name="connsiteX68486" fmla="*/ 3598044 w 6884782"/>
              <a:gd name="connsiteY68486" fmla="*/ 1666965 h 5973007"/>
              <a:gd name="connsiteX68487" fmla="*/ 3599111 w 6884782"/>
              <a:gd name="connsiteY68487" fmla="*/ 1672656 h 5973007"/>
              <a:gd name="connsiteX68488" fmla="*/ 3603379 w 6884782"/>
              <a:gd name="connsiteY68488" fmla="*/ 1668814 h 5973007"/>
              <a:gd name="connsiteX68489" fmla="*/ 3607647 w 6884782"/>
              <a:gd name="connsiteY68489" fmla="*/ 1664973 h 5973007"/>
              <a:gd name="connsiteX68490" fmla="*/ 3615757 w 6884782"/>
              <a:gd name="connsiteY68490" fmla="*/ 1658571 h 5973007"/>
              <a:gd name="connsiteX68491" fmla="*/ 3617038 w 6884782"/>
              <a:gd name="connsiteY68491" fmla="*/ 1655298 h 5973007"/>
              <a:gd name="connsiteX68492" fmla="*/ 3617678 w 6884782"/>
              <a:gd name="connsiteY68492" fmla="*/ 1654729 h 5973007"/>
              <a:gd name="connsiteX68493" fmla="*/ 3617678 w 6884782"/>
              <a:gd name="connsiteY68493" fmla="*/ 1653449 h 5973007"/>
              <a:gd name="connsiteX68494" fmla="*/ 3618745 w 6884782"/>
              <a:gd name="connsiteY68494" fmla="*/ 1653022 h 5973007"/>
              <a:gd name="connsiteX68495" fmla="*/ 3618532 w 6884782"/>
              <a:gd name="connsiteY68495" fmla="*/ 1654161 h 5973007"/>
              <a:gd name="connsiteX68496" fmla="*/ 3619813 w 6884782"/>
              <a:gd name="connsiteY68496" fmla="*/ 1653164 h 5973007"/>
              <a:gd name="connsiteX68497" fmla="*/ 3627709 w 6884782"/>
              <a:gd name="connsiteY68497" fmla="*/ 1658002 h 5973007"/>
              <a:gd name="connsiteX68498" fmla="*/ 3627495 w 6884782"/>
              <a:gd name="connsiteY68498" fmla="*/ 1665542 h 5973007"/>
              <a:gd name="connsiteX68499" fmla="*/ 3616397 w 6884782"/>
              <a:gd name="connsiteY68499" fmla="*/ 1663835 h 5973007"/>
              <a:gd name="connsiteX68500" fmla="*/ 3616184 w 6884782"/>
              <a:gd name="connsiteY68500" fmla="*/ 1663550 h 5973007"/>
              <a:gd name="connsiteX68501" fmla="*/ 3616184 w 6884782"/>
              <a:gd name="connsiteY68501" fmla="*/ 1663692 h 5973007"/>
              <a:gd name="connsiteX68502" fmla="*/ 3607220 w 6884782"/>
              <a:gd name="connsiteY68502" fmla="*/ 1671802 h 5973007"/>
              <a:gd name="connsiteX68503" fmla="*/ 3605086 w 6884782"/>
              <a:gd name="connsiteY68503" fmla="*/ 1673366 h 5973007"/>
              <a:gd name="connsiteX68504" fmla="*/ 3602739 w 6884782"/>
              <a:gd name="connsiteY68504" fmla="*/ 1674789 h 5973007"/>
              <a:gd name="connsiteX68505" fmla="*/ 3598044 w 6884782"/>
              <a:gd name="connsiteY68505" fmla="*/ 1673366 h 5973007"/>
              <a:gd name="connsiteX68506" fmla="*/ 3598470 w 6884782"/>
              <a:gd name="connsiteY68506" fmla="*/ 1673224 h 5973007"/>
              <a:gd name="connsiteX68507" fmla="*/ 3594202 w 6884782"/>
              <a:gd name="connsiteY68507" fmla="*/ 1672797 h 5973007"/>
              <a:gd name="connsiteX68508" fmla="*/ 3586092 w 6884782"/>
              <a:gd name="connsiteY68508" fmla="*/ 1668387 h 5973007"/>
              <a:gd name="connsiteX68509" fmla="*/ 3579689 w 6884782"/>
              <a:gd name="connsiteY68509" fmla="*/ 1661700 h 5973007"/>
              <a:gd name="connsiteX68510" fmla="*/ 3578622 w 6884782"/>
              <a:gd name="connsiteY68510" fmla="*/ 1661558 h 5973007"/>
              <a:gd name="connsiteX68511" fmla="*/ 3573927 w 6884782"/>
              <a:gd name="connsiteY68511" fmla="*/ 1657006 h 5973007"/>
              <a:gd name="connsiteX68512" fmla="*/ 3573927 w 6884782"/>
              <a:gd name="connsiteY68512" fmla="*/ 1657290 h 5973007"/>
              <a:gd name="connsiteX68513" fmla="*/ 3570512 w 6884782"/>
              <a:gd name="connsiteY68513" fmla="*/ 1669099 h 5973007"/>
              <a:gd name="connsiteX68514" fmla="*/ 3569445 w 6884782"/>
              <a:gd name="connsiteY68514" fmla="*/ 1669525 h 5973007"/>
              <a:gd name="connsiteX68515" fmla="*/ 3567524 w 6884782"/>
              <a:gd name="connsiteY68515" fmla="*/ 1667534 h 5973007"/>
              <a:gd name="connsiteX68516" fmla="*/ 3568591 w 6884782"/>
              <a:gd name="connsiteY68516" fmla="*/ 1662412 h 5973007"/>
              <a:gd name="connsiteX68517" fmla="*/ 3571366 w 6884782"/>
              <a:gd name="connsiteY68517" fmla="*/ 1655868 h 5973007"/>
              <a:gd name="connsiteX68518" fmla="*/ 3571793 w 6884782"/>
              <a:gd name="connsiteY68518" fmla="*/ 1654871 h 5973007"/>
              <a:gd name="connsiteX68519" fmla="*/ 3563256 w 6884782"/>
              <a:gd name="connsiteY68519" fmla="*/ 1645340 h 5973007"/>
              <a:gd name="connsiteX68520" fmla="*/ 3560268 w 6884782"/>
              <a:gd name="connsiteY68520" fmla="*/ 1645482 h 5973007"/>
              <a:gd name="connsiteX68521" fmla="*/ 3560268 w 6884782"/>
              <a:gd name="connsiteY68521" fmla="*/ 1645908 h 5973007"/>
              <a:gd name="connsiteX68522" fmla="*/ 3553865 w 6884782"/>
              <a:gd name="connsiteY68522" fmla="*/ 1650319 h 5973007"/>
              <a:gd name="connsiteX68523" fmla="*/ 3550237 w 6884782"/>
              <a:gd name="connsiteY68523" fmla="*/ 1650888 h 5973007"/>
              <a:gd name="connsiteX68524" fmla="*/ 3550451 w 6884782"/>
              <a:gd name="connsiteY68524" fmla="*/ 1651030 h 5973007"/>
              <a:gd name="connsiteX68525" fmla="*/ 3550664 w 6884782"/>
              <a:gd name="connsiteY68525" fmla="*/ 1653307 h 5973007"/>
              <a:gd name="connsiteX68526" fmla="*/ 3543835 w 6884782"/>
              <a:gd name="connsiteY68526" fmla="*/ 1659993 h 5973007"/>
              <a:gd name="connsiteX68527" fmla="*/ 3538499 w 6884782"/>
              <a:gd name="connsiteY68527" fmla="*/ 1661132 h 5973007"/>
              <a:gd name="connsiteX68528" fmla="*/ 3541701 w 6884782"/>
              <a:gd name="connsiteY68528" fmla="*/ 1670948 h 5973007"/>
              <a:gd name="connsiteX68529" fmla="*/ 3546396 w 6884782"/>
              <a:gd name="connsiteY68529" fmla="*/ 1696130 h 5973007"/>
              <a:gd name="connsiteX68530" fmla="*/ 3533804 w 6884782"/>
              <a:gd name="connsiteY68530" fmla="*/ 1719746 h 5973007"/>
              <a:gd name="connsiteX68531" fmla="*/ 3501791 w 6884782"/>
              <a:gd name="connsiteY68531" fmla="*/ 1731697 h 5973007"/>
              <a:gd name="connsiteX68532" fmla="*/ 3482583 w 6884782"/>
              <a:gd name="connsiteY68532" fmla="*/ 1722307 h 5973007"/>
              <a:gd name="connsiteX68533" fmla="*/ 3474900 w 6884782"/>
              <a:gd name="connsiteY68533" fmla="*/ 1718608 h 5973007"/>
              <a:gd name="connsiteX68534" fmla="*/ 3471485 w 6884782"/>
              <a:gd name="connsiteY68534" fmla="*/ 1723587 h 5973007"/>
              <a:gd name="connsiteX68535" fmla="*/ 3468711 w 6884782"/>
              <a:gd name="connsiteY68535" fmla="*/ 1719604 h 5973007"/>
              <a:gd name="connsiteX68536" fmla="*/ 3469991 w 6884782"/>
              <a:gd name="connsiteY68536" fmla="*/ 1716332 h 5973007"/>
              <a:gd name="connsiteX68537" fmla="*/ 3463162 w 6884782"/>
              <a:gd name="connsiteY68537" fmla="*/ 1713059 h 5973007"/>
              <a:gd name="connsiteX68538" fmla="*/ 3462309 w 6884782"/>
              <a:gd name="connsiteY68538" fmla="*/ 1710356 h 5973007"/>
              <a:gd name="connsiteX68539" fmla="*/ 3461241 w 6884782"/>
              <a:gd name="connsiteY68539" fmla="*/ 1718893 h 5973007"/>
              <a:gd name="connsiteX68540" fmla="*/ 3458467 w 6884782"/>
              <a:gd name="connsiteY68540" fmla="*/ 1730416 h 5973007"/>
              <a:gd name="connsiteX68541" fmla="*/ 3452705 w 6884782"/>
              <a:gd name="connsiteY68541" fmla="*/ 1741087 h 5973007"/>
              <a:gd name="connsiteX68542" fmla="*/ 3452918 w 6884782"/>
              <a:gd name="connsiteY68542" fmla="*/ 1743078 h 5973007"/>
              <a:gd name="connsiteX68543" fmla="*/ 3454625 w 6884782"/>
              <a:gd name="connsiteY68543" fmla="*/ 1738810 h 5973007"/>
              <a:gd name="connsiteX68544" fmla="*/ 3464656 w 6884782"/>
              <a:gd name="connsiteY68544" fmla="*/ 1732408 h 5973007"/>
              <a:gd name="connsiteX68545" fmla="*/ 3459748 w 6884782"/>
              <a:gd name="connsiteY68545" fmla="*/ 1755029 h 5973007"/>
              <a:gd name="connsiteX68546" fmla="*/ 3459748 w 6884782"/>
              <a:gd name="connsiteY68546" fmla="*/ 1755598 h 5973007"/>
              <a:gd name="connsiteX68547" fmla="*/ 3462949 w 6884782"/>
              <a:gd name="connsiteY68547" fmla="*/ 1761004 h 5973007"/>
              <a:gd name="connsiteX68548" fmla="*/ 3463376 w 6884782"/>
              <a:gd name="connsiteY68548" fmla="*/ 1766410 h 5973007"/>
              <a:gd name="connsiteX68549" fmla="*/ 3462949 w 6884782"/>
              <a:gd name="connsiteY68549" fmla="*/ 1766979 h 5973007"/>
              <a:gd name="connsiteX68550" fmla="*/ 3464016 w 6884782"/>
              <a:gd name="connsiteY68550" fmla="*/ 1766695 h 5973007"/>
              <a:gd name="connsiteX68551" fmla="*/ 3466364 w 6884782"/>
              <a:gd name="connsiteY68551" fmla="*/ 1766126 h 5973007"/>
              <a:gd name="connsiteX68552" fmla="*/ 3468711 w 6884782"/>
              <a:gd name="connsiteY68552" fmla="*/ 1768829 h 5973007"/>
              <a:gd name="connsiteX68553" fmla="*/ 3467644 w 6884782"/>
              <a:gd name="connsiteY68553" fmla="*/ 1769398 h 5973007"/>
              <a:gd name="connsiteX68554" fmla="*/ 3463802 w 6884782"/>
              <a:gd name="connsiteY68554" fmla="*/ 1772670 h 5973007"/>
              <a:gd name="connsiteX68555" fmla="*/ 3462095 w 6884782"/>
              <a:gd name="connsiteY68555" fmla="*/ 1768402 h 5973007"/>
              <a:gd name="connsiteX68556" fmla="*/ 3459321 w 6884782"/>
              <a:gd name="connsiteY68556" fmla="*/ 1772386 h 5973007"/>
              <a:gd name="connsiteX68557" fmla="*/ 3454412 w 6884782"/>
              <a:gd name="connsiteY68557" fmla="*/ 1774093 h 5973007"/>
              <a:gd name="connsiteX68558" fmla="*/ 3452491 w 6884782"/>
              <a:gd name="connsiteY68558" fmla="*/ 1777650 h 5973007"/>
              <a:gd name="connsiteX68559" fmla="*/ 3451210 w 6884782"/>
              <a:gd name="connsiteY68559" fmla="*/ 1775373 h 5973007"/>
              <a:gd name="connsiteX68560" fmla="*/ 3449930 w 6884782"/>
              <a:gd name="connsiteY68560" fmla="*/ 1778645 h 5973007"/>
              <a:gd name="connsiteX68561" fmla="*/ 3445235 w 6884782"/>
              <a:gd name="connsiteY68561" fmla="*/ 1797994 h 5973007"/>
              <a:gd name="connsiteX68562" fmla="*/ 3437979 w 6884782"/>
              <a:gd name="connsiteY68562" fmla="*/ 1801551 h 5973007"/>
              <a:gd name="connsiteX68563" fmla="*/ 3436911 w 6884782"/>
              <a:gd name="connsiteY68563" fmla="*/ 1803401 h 5973007"/>
              <a:gd name="connsiteX68564" fmla="*/ 3438406 w 6884782"/>
              <a:gd name="connsiteY68564" fmla="*/ 1804823 h 5973007"/>
              <a:gd name="connsiteX68565" fmla="*/ 3440113 w 6884782"/>
              <a:gd name="connsiteY68565" fmla="*/ 1812790 h 5973007"/>
              <a:gd name="connsiteX68566" fmla="*/ 3438875 w 6884782"/>
              <a:gd name="connsiteY68566" fmla="*/ 1816642 h 5973007"/>
              <a:gd name="connsiteX68567" fmla="*/ 3438931 w 6884782"/>
              <a:gd name="connsiteY68567" fmla="*/ 1816774 h 5973007"/>
              <a:gd name="connsiteX68568" fmla="*/ 3441180 w 6884782"/>
              <a:gd name="connsiteY68568" fmla="*/ 1816774 h 5973007"/>
              <a:gd name="connsiteX68569" fmla="*/ 3441393 w 6884782"/>
              <a:gd name="connsiteY68569" fmla="*/ 1816205 h 5973007"/>
              <a:gd name="connsiteX68570" fmla="*/ 3451638 w 6884782"/>
              <a:gd name="connsiteY68570" fmla="*/ 1814497 h 5973007"/>
              <a:gd name="connsiteX68571" fmla="*/ 3460814 w 6884782"/>
              <a:gd name="connsiteY68571" fmla="*/ 1815493 h 5973007"/>
              <a:gd name="connsiteX68572" fmla="*/ 3466150 w 6884782"/>
              <a:gd name="connsiteY68572" fmla="*/ 1817627 h 5973007"/>
              <a:gd name="connsiteX68573" fmla="*/ 3477888 w 6884782"/>
              <a:gd name="connsiteY68573" fmla="*/ 1820188 h 5973007"/>
              <a:gd name="connsiteX68574" fmla="*/ 3485144 w 6884782"/>
              <a:gd name="connsiteY68574" fmla="*/ 1824029 h 5973007"/>
              <a:gd name="connsiteX68575" fmla="*/ 3487065 w 6884782"/>
              <a:gd name="connsiteY68575" fmla="*/ 1822891 h 5973007"/>
              <a:gd name="connsiteX68576" fmla="*/ 3494321 w 6884782"/>
              <a:gd name="connsiteY68576" fmla="*/ 1821326 h 5973007"/>
              <a:gd name="connsiteX68577" fmla="*/ 3502005 w 6884782"/>
              <a:gd name="connsiteY68577" fmla="*/ 1824456 h 5973007"/>
              <a:gd name="connsiteX68578" fmla="*/ 3478528 w 6884782"/>
              <a:gd name="connsiteY68578" fmla="*/ 1840817 h 5973007"/>
              <a:gd name="connsiteX68579" fmla="*/ 3475114 w 6884782"/>
              <a:gd name="connsiteY68579" fmla="*/ 1839820 h 5973007"/>
              <a:gd name="connsiteX68580" fmla="*/ 3473833 w 6884782"/>
              <a:gd name="connsiteY68580" fmla="*/ 1839536 h 5973007"/>
              <a:gd name="connsiteX68581" fmla="*/ 3471059 w 6884782"/>
              <a:gd name="connsiteY68581" fmla="*/ 1841386 h 5973007"/>
              <a:gd name="connsiteX68582" fmla="*/ 3461455 w 6884782"/>
              <a:gd name="connsiteY68582" fmla="*/ 1841528 h 5973007"/>
              <a:gd name="connsiteX68583" fmla="*/ 3461241 w 6884782"/>
              <a:gd name="connsiteY68583" fmla="*/ 1841528 h 5973007"/>
              <a:gd name="connsiteX68584" fmla="*/ 3462736 w 6884782"/>
              <a:gd name="connsiteY68584" fmla="*/ 1843662 h 5973007"/>
              <a:gd name="connsiteX68585" fmla="*/ 3454839 w 6884782"/>
              <a:gd name="connsiteY68585" fmla="*/ 1844231 h 5973007"/>
              <a:gd name="connsiteX68586" fmla="*/ 3452705 w 6884782"/>
              <a:gd name="connsiteY68586" fmla="*/ 1840675 h 5973007"/>
              <a:gd name="connsiteX68587" fmla="*/ 3449930 w 6884782"/>
              <a:gd name="connsiteY68587" fmla="*/ 1842097 h 5973007"/>
              <a:gd name="connsiteX68588" fmla="*/ 3449631 w 6884782"/>
              <a:gd name="connsiteY68588" fmla="*/ 1842018 h 5973007"/>
              <a:gd name="connsiteX68589" fmla="*/ 3454080 w 6884782"/>
              <a:gd name="connsiteY68589" fmla="*/ 1852627 h 5973007"/>
              <a:gd name="connsiteX68590" fmla="*/ 3455052 w 6884782"/>
              <a:gd name="connsiteY68590" fmla="*/ 1853194 h 5973007"/>
              <a:gd name="connsiteX68591" fmla="*/ 3457400 w 6884782"/>
              <a:gd name="connsiteY68591" fmla="*/ 1850918 h 5973007"/>
              <a:gd name="connsiteX68592" fmla="*/ 3459961 w 6884782"/>
              <a:gd name="connsiteY68592" fmla="*/ 1845654 h 5973007"/>
              <a:gd name="connsiteX68593" fmla="*/ 3463589 w 6884782"/>
              <a:gd name="connsiteY68593" fmla="*/ 1851771 h 5973007"/>
              <a:gd name="connsiteX68594" fmla="*/ 3464869 w 6884782"/>
              <a:gd name="connsiteY68594" fmla="*/ 1858743 h 5973007"/>
              <a:gd name="connsiteX68595" fmla="*/ 3457400 w 6884782"/>
              <a:gd name="connsiteY68595" fmla="*/ 1859170 h 5973007"/>
              <a:gd name="connsiteX68596" fmla="*/ 3458040 w 6884782"/>
              <a:gd name="connsiteY68596" fmla="*/ 1861730 h 5973007"/>
              <a:gd name="connsiteX68597" fmla="*/ 3457995 w 6884782"/>
              <a:gd name="connsiteY68597" fmla="*/ 1861964 h 5973007"/>
              <a:gd name="connsiteX68598" fmla="*/ 3486251 w 6884782"/>
              <a:gd name="connsiteY68598" fmla="*/ 1929348 h 5973007"/>
              <a:gd name="connsiteX68599" fmla="*/ 3490780 w 6884782"/>
              <a:gd name="connsiteY68599" fmla="*/ 1934034 h 5973007"/>
              <a:gd name="connsiteX68600" fmla="*/ 3495389 w 6884782"/>
              <a:gd name="connsiteY68600" fmla="*/ 1939979 h 5973007"/>
              <a:gd name="connsiteX68601" fmla="*/ 3515877 w 6884782"/>
              <a:gd name="connsiteY68601" fmla="*/ 1942966 h 5973007"/>
              <a:gd name="connsiteX68602" fmla="*/ 3529536 w 6884782"/>
              <a:gd name="connsiteY68602" fmla="*/ 1933291 h 5973007"/>
              <a:gd name="connsiteX68603" fmla="*/ 3539566 w 6884782"/>
              <a:gd name="connsiteY68603" fmla="*/ 1932153 h 5973007"/>
              <a:gd name="connsiteX68604" fmla="*/ 3541061 w 6884782"/>
              <a:gd name="connsiteY68604" fmla="*/ 1940120 h 5973007"/>
              <a:gd name="connsiteX68605" fmla="*/ 3541701 w 6884782"/>
              <a:gd name="connsiteY68605" fmla="*/ 1943535 h 5973007"/>
              <a:gd name="connsiteX68606" fmla="*/ 3546396 w 6884782"/>
              <a:gd name="connsiteY68606" fmla="*/ 1940120 h 5973007"/>
              <a:gd name="connsiteX68607" fmla="*/ 3551091 w 6884782"/>
              <a:gd name="connsiteY68607" fmla="*/ 1939979 h 5973007"/>
              <a:gd name="connsiteX68608" fmla="*/ 3556213 w 6884782"/>
              <a:gd name="connsiteY68608" fmla="*/ 1946807 h 5973007"/>
              <a:gd name="connsiteX68609" fmla="*/ 3555146 w 6884782"/>
              <a:gd name="connsiteY68609" fmla="*/ 1952640 h 5973007"/>
              <a:gd name="connsiteX68610" fmla="*/ 3546396 w 6884782"/>
              <a:gd name="connsiteY68610" fmla="*/ 1956339 h 5973007"/>
              <a:gd name="connsiteX68611" fmla="*/ 3542768 w 6884782"/>
              <a:gd name="connsiteY68611" fmla="*/ 1950079 h 5973007"/>
              <a:gd name="connsiteX68612" fmla="*/ 3542768 w 6884782"/>
              <a:gd name="connsiteY68612" fmla="*/ 1952213 h 5973007"/>
              <a:gd name="connsiteX68613" fmla="*/ 3542768 w 6884782"/>
              <a:gd name="connsiteY68613" fmla="*/ 1953493 h 5973007"/>
              <a:gd name="connsiteX68614" fmla="*/ 3550024 w 6884782"/>
              <a:gd name="connsiteY68614" fmla="*/ 1958757 h 5973007"/>
              <a:gd name="connsiteX68615" fmla="*/ 3541061 w 6884782"/>
              <a:gd name="connsiteY68615" fmla="*/ 1980382 h 5973007"/>
              <a:gd name="connsiteX68616" fmla="*/ 3553652 w 6884782"/>
              <a:gd name="connsiteY68616" fmla="*/ 1989915 h 5973007"/>
              <a:gd name="connsiteX68617" fmla="*/ 3556853 w 6884782"/>
              <a:gd name="connsiteY68617" fmla="*/ 1994040 h 5973007"/>
              <a:gd name="connsiteX68618" fmla="*/ 3559628 w 6884782"/>
              <a:gd name="connsiteY68618" fmla="*/ 1990484 h 5973007"/>
              <a:gd name="connsiteX68619" fmla="*/ 3561975 w 6884782"/>
              <a:gd name="connsiteY68619" fmla="*/ 1994182 h 5973007"/>
              <a:gd name="connsiteX68620" fmla="*/ 3561335 w 6884782"/>
              <a:gd name="connsiteY68620" fmla="*/ 2002719 h 5973007"/>
              <a:gd name="connsiteX68621" fmla="*/ 3561122 w 6884782"/>
              <a:gd name="connsiteY68621" fmla="*/ 2003288 h 5973007"/>
              <a:gd name="connsiteX68622" fmla="*/ 3570299 w 6884782"/>
              <a:gd name="connsiteY68622" fmla="*/ 2008409 h 5973007"/>
              <a:gd name="connsiteX68623" fmla="*/ 3582464 w 6884782"/>
              <a:gd name="connsiteY68623" fmla="*/ 2007698 h 5973007"/>
              <a:gd name="connsiteX68624" fmla="*/ 3590787 w 6884782"/>
              <a:gd name="connsiteY68624" fmla="*/ 2005421 h 5973007"/>
              <a:gd name="connsiteX68625" fmla="*/ 3593775 w 6884782"/>
              <a:gd name="connsiteY68625" fmla="*/ 2003146 h 5973007"/>
              <a:gd name="connsiteX68626" fmla="*/ 3594842 w 6884782"/>
              <a:gd name="connsiteY68626" fmla="*/ 2002292 h 5973007"/>
              <a:gd name="connsiteX68627" fmla="*/ 3582037 w 6884782"/>
              <a:gd name="connsiteY68627" fmla="*/ 2002861 h 5973007"/>
              <a:gd name="connsiteX68628" fmla="*/ 3567951 w 6884782"/>
              <a:gd name="connsiteY68628" fmla="*/ 2001438 h 5973007"/>
              <a:gd name="connsiteX68629" fmla="*/ 3602311 w 6884782"/>
              <a:gd name="connsiteY68629" fmla="*/ 1979671 h 5973007"/>
              <a:gd name="connsiteX68630" fmla="*/ 3618532 w 6884782"/>
              <a:gd name="connsiteY68630" fmla="*/ 1983654 h 5973007"/>
              <a:gd name="connsiteX68631" fmla="*/ 3609782 w 6884782"/>
              <a:gd name="connsiteY68631" fmla="*/ 1994609 h 5973007"/>
              <a:gd name="connsiteX68632" fmla="*/ 3611489 w 6884782"/>
              <a:gd name="connsiteY68632" fmla="*/ 1995320 h 5973007"/>
              <a:gd name="connsiteX68633" fmla="*/ 3625361 w 6884782"/>
              <a:gd name="connsiteY68633" fmla="*/ 1985646 h 5973007"/>
              <a:gd name="connsiteX68634" fmla="*/ 3630270 w 6884782"/>
              <a:gd name="connsiteY68634" fmla="*/ 1985219 h 5973007"/>
              <a:gd name="connsiteX68635" fmla="*/ 3626428 w 6884782"/>
              <a:gd name="connsiteY68635" fmla="*/ 1988635 h 5973007"/>
              <a:gd name="connsiteX68636" fmla="*/ 3620453 w 6884782"/>
              <a:gd name="connsiteY68636" fmla="*/ 1991337 h 5973007"/>
              <a:gd name="connsiteX68637" fmla="*/ 3618745 w 6884782"/>
              <a:gd name="connsiteY68637" fmla="*/ 1995605 h 5973007"/>
              <a:gd name="connsiteX68638" fmla="*/ 3613623 w 6884782"/>
              <a:gd name="connsiteY68638" fmla="*/ 1996174 h 5973007"/>
              <a:gd name="connsiteX68639" fmla="*/ 3608287 w 6884782"/>
              <a:gd name="connsiteY68639" fmla="*/ 2009121 h 5973007"/>
              <a:gd name="connsiteX68640" fmla="*/ 3602952 w 6884782"/>
              <a:gd name="connsiteY68640" fmla="*/ 2010685 h 5973007"/>
              <a:gd name="connsiteX68641" fmla="*/ 3608287 w 6884782"/>
              <a:gd name="connsiteY68641" fmla="*/ 2015807 h 5973007"/>
              <a:gd name="connsiteX68642" fmla="*/ 3616184 w 6884782"/>
              <a:gd name="connsiteY68642" fmla="*/ 1999731 h 5973007"/>
              <a:gd name="connsiteX68643" fmla="*/ 3642221 w 6884782"/>
              <a:gd name="connsiteY68643" fmla="*/ 1997313 h 5973007"/>
              <a:gd name="connsiteX68644" fmla="*/ 3661856 w 6884782"/>
              <a:gd name="connsiteY68644" fmla="*/ 1992618 h 5973007"/>
              <a:gd name="connsiteX68645" fmla="*/ 3662709 w 6884782"/>
              <a:gd name="connsiteY68645" fmla="*/ 1988349 h 5973007"/>
              <a:gd name="connsiteX68646" fmla="*/ 3663563 w 6884782"/>
              <a:gd name="connsiteY68646" fmla="*/ 1989915 h 5973007"/>
              <a:gd name="connsiteX68647" fmla="*/ 3662923 w 6884782"/>
              <a:gd name="connsiteY68647" fmla="*/ 1992333 h 5973007"/>
              <a:gd name="connsiteX68648" fmla="*/ 3670180 w 6884782"/>
              <a:gd name="connsiteY68648" fmla="*/ 1990626 h 5973007"/>
              <a:gd name="connsiteX68649" fmla="*/ 3699845 w 6884782"/>
              <a:gd name="connsiteY68649" fmla="*/ 1984935 h 5973007"/>
              <a:gd name="connsiteX68650" fmla="*/ 3715424 w 6884782"/>
              <a:gd name="connsiteY68650" fmla="*/ 1983797 h 5973007"/>
              <a:gd name="connsiteX68651" fmla="*/ 3725242 w 6884782"/>
              <a:gd name="connsiteY68651" fmla="*/ 1985219 h 5973007"/>
              <a:gd name="connsiteX68652" fmla="*/ 3723961 w 6884782"/>
              <a:gd name="connsiteY68652" fmla="*/ 1984508 h 5973007"/>
              <a:gd name="connsiteX68653" fmla="*/ 3724815 w 6884782"/>
              <a:gd name="connsiteY68653" fmla="*/ 1980809 h 5973007"/>
              <a:gd name="connsiteX68654" fmla="*/ 3727589 w 6884782"/>
              <a:gd name="connsiteY68654" fmla="*/ 1981663 h 5973007"/>
              <a:gd name="connsiteX68655" fmla="*/ 3728016 w 6884782"/>
              <a:gd name="connsiteY68655" fmla="*/ 1985646 h 5973007"/>
              <a:gd name="connsiteX68656" fmla="*/ 3731004 w 6884782"/>
              <a:gd name="connsiteY68656" fmla="*/ 1986073 h 5973007"/>
              <a:gd name="connsiteX68657" fmla="*/ 3737406 w 6884782"/>
              <a:gd name="connsiteY68657" fmla="*/ 1976968 h 5973007"/>
              <a:gd name="connsiteX68658" fmla="*/ 3778597 w 6884782"/>
              <a:gd name="connsiteY68658" fmla="*/ 1974692 h 5973007"/>
              <a:gd name="connsiteX68659" fmla="*/ 3804634 w 6884782"/>
              <a:gd name="connsiteY68659" fmla="*/ 1972415 h 5973007"/>
              <a:gd name="connsiteX68660" fmla="*/ 3827683 w 6884782"/>
              <a:gd name="connsiteY68660" fmla="*/ 1980382 h 5973007"/>
              <a:gd name="connsiteX68661" fmla="*/ 3817439 w 6884782"/>
              <a:gd name="connsiteY68661" fmla="*/ 1982659 h 5973007"/>
              <a:gd name="connsiteX68662" fmla="*/ 3827683 w 6884782"/>
              <a:gd name="connsiteY68662" fmla="*/ 1989488 h 5973007"/>
              <a:gd name="connsiteX68663" fmla="*/ 3833232 w 6884782"/>
              <a:gd name="connsiteY68663" fmla="*/ 1984366 h 5973007"/>
              <a:gd name="connsiteX68664" fmla="*/ 3836647 w 6884782"/>
              <a:gd name="connsiteY68664" fmla="*/ 1984651 h 5973007"/>
              <a:gd name="connsiteX68665" fmla="*/ 3836647 w 6884782"/>
              <a:gd name="connsiteY68665" fmla="*/ 1984224 h 5973007"/>
              <a:gd name="connsiteX68666" fmla="*/ 3843690 w 6884782"/>
              <a:gd name="connsiteY68666" fmla="*/ 1980524 h 5973007"/>
              <a:gd name="connsiteX68667" fmla="*/ 3850092 w 6884782"/>
              <a:gd name="connsiteY68667" fmla="*/ 1982801 h 5973007"/>
              <a:gd name="connsiteX68668" fmla="*/ 3849879 w 6884782"/>
              <a:gd name="connsiteY68668" fmla="*/ 1987781 h 5973007"/>
              <a:gd name="connsiteX68669" fmla="*/ 3840488 w 6884782"/>
              <a:gd name="connsiteY68669" fmla="*/ 1989345 h 5973007"/>
              <a:gd name="connsiteX68670" fmla="*/ 3833445 w 6884782"/>
              <a:gd name="connsiteY68670" fmla="*/ 1990910 h 5973007"/>
              <a:gd name="connsiteX68671" fmla="*/ 3834085 w 6884782"/>
              <a:gd name="connsiteY68671" fmla="*/ 1994040 h 5973007"/>
              <a:gd name="connsiteX68672" fmla="*/ 3808475 w 6884782"/>
              <a:gd name="connsiteY68672" fmla="*/ 2003146 h 5973007"/>
              <a:gd name="connsiteX68673" fmla="*/ 3782652 w 6884782"/>
              <a:gd name="connsiteY68673" fmla="*/ 2000869 h 5973007"/>
              <a:gd name="connsiteX68674" fmla="*/ 3748931 w 6884782"/>
              <a:gd name="connsiteY68674" fmla="*/ 2006560 h 5973007"/>
              <a:gd name="connsiteX68675" fmla="*/ 3767072 w 6884782"/>
              <a:gd name="connsiteY68675" fmla="*/ 2010117 h 5973007"/>
              <a:gd name="connsiteX68676" fmla="*/ 3785213 w 6884782"/>
              <a:gd name="connsiteY68676" fmla="*/ 2012250 h 5973007"/>
              <a:gd name="connsiteX68677" fmla="*/ 3811036 w 6884782"/>
              <a:gd name="connsiteY68677" fmla="*/ 2007698 h 5973007"/>
              <a:gd name="connsiteX68678" fmla="*/ 3798018 w 6884782"/>
              <a:gd name="connsiteY68678" fmla="*/ 2012250 h 5973007"/>
              <a:gd name="connsiteX68679" fmla="*/ 3827683 w 6884782"/>
              <a:gd name="connsiteY68679" fmla="*/ 2012250 h 5973007"/>
              <a:gd name="connsiteX68680" fmla="*/ 3821281 w 6884782"/>
              <a:gd name="connsiteY68680" fmla="*/ 2010117 h 5973007"/>
              <a:gd name="connsiteX68681" fmla="*/ 3840702 w 6884782"/>
              <a:gd name="connsiteY68681" fmla="*/ 2012250 h 5973007"/>
              <a:gd name="connsiteX68682" fmla="*/ 3857562 w 6884782"/>
              <a:gd name="connsiteY68682" fmla="*/ 2006560 h 5973007"/>
              <a:gd name="connsiteX68683" fmla="*/ 3859910 w 6884782"/>
              <a:gd name="connsiteY68683" fmla="*/ 2007271 h 5973007"/>
              <a:gd name="connsiteX68684" fmla="*/ 3882745 w 6884782"/>
              <a:gd name="connsiteY68684" fmla="*/ 1994609 h 5973007"/>
              <a:gd name="connsiteX68685" fmla="*/ 3890002 w 6884782"/>
              <a:gd name="connsiteY68685" fmla="*/ 1996317 h 5973007"/>
              <a:gd name="connsiteX68686" fmla="*/ 3892990 w 6884782"/>
              <a:gd name="connsiteY68686" fmla="*/ 2002149 h 5973007"/>
              <a:gd name="connsiteX68687" fmla="*/ 3888081 w 6884782"/>
              <a:gd name="connsiteY68687" fmla="*/ 2008409 h 5973007"/>
              <a:gd name="connsiteX68688" fmla="*/ 3894910 w 6884782"/>
              <a:gd name="connsiteY68688" fmla="*/ 2010117 h 5973007"/>
              <a:gd name="connsiteX68689" fmla="*/ 3896404 w 6884782"/>
              <a:gd name="connsiteY68689" fmla="*/ 2010544 h 5973007"/>
              <a:gd name="connsiteX68690" fmla="*/ 3899178 w 6884782"/>
              <a:gd name="connsiteY68690" fmla="*/ 2007271 h 5973007"/>
              <a:gd name="connsiteX68691" fmla="*/ 3912197 w 6884782"/>
              <a:gd name="connsiteY68691" fmla="*/ 2003430 h 5973007"/>
              <a:gd name="connsiteX68692" fmla="*/ 3920734 w 6884782"/>
              <a:gd name="connsiteY68692" fmla="*/ 2008979 h 5973007"/>
              <a:gd name="connsiteX68693" fmla="*/ 3920520 w 6884782"/>
              <a:gd name="connsiteY68693" fmla="*/ 2006133 h 5973007"/>
              <a:gd name="connsiteX68694" fmla="*/ 3923508 w 6884782"/>
              <a:gd name="connsiteY68694" fmla="*/ 1999589 h 5973007"/>
              <a:gd name="connsiteX68695" fmla="*/ 3934607 w 6884782"/>
              <a:gd name="connsiteY68695" fmla="*/ 1993898 h 5973007"/>
              <a:gd name="connsiteX68696" fmla="*/ 3939088 w 6884782"/>
              <a:gd name="connsiteY68696" fmla="*/ 1992476 h 5973007"/>
              <a:gd name="connsiteX68697" fmla="*/ 3928844 w 6884782"/>
              <a:gd name="connsiteY68697" fmla="*/ 1985646 h 5973007"/>
              <a:gd name="connsiteX68698" fmla="*/ 3934393 w 6884782"/>
              <a:gd name="connsiteY68698" fmla="*/ 1978675 h 5973007"/>
              <a:gd name="connsiteX68699" fmla="*/ 3947198 w 6884782"/>
              <a:gd name="connsiteY68699" fmla="*/ 1982943 h 5973007"/>
              <a:gd name="connsiteX68700" fmla="*/ 3948052 w 6884782"/>
              <a:gd name="connsiteY68700" fmla="*/ 1983797 h 5973007"/>
              <a:gd name="connsiteX68701" fmla="*/ 3949545 w 6884782"/>
              <a:gd name="connsiteY68701" fmla="*/ 1979671 h 5973007"/>
              <a:gd name="connsiteX68702" fmla="*/ 3944637 w 6884782"/>
              <a:gd name="connsiteY68702" fmla="*/ 1952498 h 5973007"/>
              <a:gd name="connsiteX68703" fmla="*/ 3943997 w 6884782"/>
              <a:gd name="connsiteY68703" fmla="*/ 1951218 h 5973007"/>
              <a:gd name="connsiteX68704" fmla="*/ 3943357 w 6884782"/>
              <a:gd name="connsiteY68704" fmla="*/ 1952356 h 5973007"/>
              <a:gd name="connsiteX68705" fmla="*/ 3936314 w 6884782"/>
              <a:gd name="connsiteY68705" fmla="*/ 1956055 h 5973007"/>
              <a:gd name="connsiteX68706" fmla="*/ 3934179 w 6884782"/>
              <a:gd name="connsiteY68706" fmla="*/ 1953210 h 5973007"/>
              <a:gd name="connsiteX68707" fmla="*/ 3931618 w 6884782"/>
              <a:gd name="connsiteY68707" fmla="*/ 1955343 h 5973007"/>
              <a:gd name="connsiteX68708" fmla="*/ 3928631 w 6884782"/>
              <a:gd name="connsiteY68708" fmla="*/ 1957619 h 5973007"/>
              <a:gd name="connsiteX68709" fmla="*/ 3928417 w 6884782"/>
              <a:gd name="connsiteY68709" fmla="*/ 1960465 h 5973007"/>
              <a:gd name="connsiteX68710" fmla="*/ 3926710 w 6884782"/>
              <a:gd name="connsiteY68710" fmla="*/ 1964591 h 5973007"/>
              <a:gd name="connsiteX68711" fmla="*/ 3919667 w 6884782"/>
              <a:gd name="connsiteY68711" fmla="*/ 1959469 h 5973007"/>
              <a:gd name="connsiteX68712" fmla="*/ 3922868 w 6884782"/>
              <a:gd name="connsiteY68712" fmla="*/ 1956197 h 5973007"/>
              <a:gd name="connsiteX68713" fmla="*/ 3916893 w 6884782"/>
              <a:gd name="connsiteY68713" fmla="*/ 1951645 h 5973007"/>
              <a:gd name="connsiteX68714" fmla="*/ 3913905 w 6884782"/>
              <a:gd name="connsiteY68714" fmla="*/ 1945100 h 5973007"/>
              <a:gd name="connsiteX68715" fmla="*/ 3914545 w 6884782"/>
              <a:gd name="connsiteY68715" fmla="*/ 1940547 h 5973007"/>
              <a:gd name="connsiteX68716" fmla="*/ 3916252 w 6884782"/>
              <a:gd name="connsiteY68716" fmla="*/ 1937702 h 5973007"/>
              <a:gd name="connsiteX68717" fmla="*/ 3910917 w 6884782"/>
              <a:gd name="connsiteY68717" fmla="*/ 1938414 h 5973007"/>
              <a:gd name="connsiteX68718" fmla="*/ 3904087 w 6884782"/>
              <a:gd name="connsiteY68718" fmla="*/ 1936706 h 5973007"/>
              <a:gd name="connsiteX68719" fmla="*/ 3902380 w 6884782"/>
              <a:gd name="connsiteY68719" fmla="*/ 1920488 h 5973007"/>
              <a:gd name="connsiteX68720" fmla="*/ 3906008 w 6884782"/>
              <a:gd name="connsiteY68720" fmla="*/ 1919065 h 5973007"/>
              <a:gd name="connsiteX68721" fmla="*/ 3903234 w 6884782"/>
              <a:gd name="connsiteY68721" fmla="*/ 1917357 h 5973007"/>
              <a:gd name="connsiteX68722" fmla="*/ 3902807 w 6884782"/>
              <a:gd name="connsiteY68722" fmla="*/ 1911666 h 5973007"/>
              <a:gd name="connsiteX68723" fmla="*/ 3908569 w 6884782"/>
              <a:gd name="connsiteY68723" fmla="*/ 1913800 h 5973007"/>
              <a:gd name="connsiteX68724" fmla="*/ 3908142 w 6884782"/>
              <a:gd name="connsiteY68724" fmla="*/ 1918211 h 5973007"/>
              <a:gd name="connsiteX68725" fmla="*/ 3914758 w 6884782"/>
              <a:gd name="connsiteY68725" fmla="*/ 1917927 h 5973007"/>
              <a:gd name="connsiteX68726" fmla="*/ 3916039 w 6884782"/>
              <a:gd name="connsiteY68726" fmla="*/ 1918069 h 5973007"/>
              <a:gd name="connsiteX68727" fmla="*/ 3914972 w 6884782"/>
              <a:gd name="connsiteY68727" fmla="*/ 1915792 h 5973007"/>
              <a:gd name="connsiteX68728" fmla="*/ 3914545 w 6884782"/>
              <a:gd name="connsiteY68728" fmla="*/ 1912663 h 5973007"/>
              <a:gd name="connsiteX68729" fmla="*/ 3918173 w 6884782"/>
              <a:gd name="connsiteY68729" fmla="*/ 1911666 h 5973007"/>
              <a:gd name="connsiteX68730" fmla="*/ 3919240 w 6884782"/>
              <a:gd name="connsiteY68730" fmla="*/ 1916504 h 5973007"/>
              <a:gd name="connsiteX68731" fmla="*/ 3917960 w 6884782"/>
              <a:gd name="connsiteY68731" fmla="*/ 1917927 h 5973007"/>
              <a:gd name="connsiteX68732" fmla="*/ 3917106 w 6884782"/>
              <a:gd name="connsiteY68732" fmla="*/ 1918211 h 5973007"/>
              <a:gd name="connsiteX68733" fmla="*/ 3926710 w 6884782"/>
              <a:gd name="connsiteY68733" fmla="*/ 1919349 h 5973007"/>
              <a:gd name="connsiteX68734" fmla="*/ 3939729 w 6884782"/>
              <a:gd name="connsiteY68734" fmla="*/ 1909391 h 5973007"/>
              <a:gd name="connsiteX68735" fmla="*/ 3961924 w 6884782"/>
              <a:gd name="connsiteY68735" fmla="*/ 1859880 h 5973007"/>
              <a:gd name="connsiteX68736" fmla="*/ 3963418 w 6884782"/>
              <a:gd name="connsiteY68736" fmla="*/ 1854759 h 5973007"/>
              <a:gd name="connsiteX68737" fmla="*/ 3963205 w 6884782"/>
              <a:gd name="connsiteY68737" fmla="*/ 1854617 h 5973007"/>
              <a:gd name="connsiteX68738" fmla="*/ 3963418 w 6884782"/>
              <a:gd name="connsiteY68738" fmla="*/ 1853478 h 5973007"/>
              <a:gd name="connsiteX68739" fmla="*/ 3963205 w 6884782"/>
              <a:gd name="connsiteY68739" fmla="*/ 1847930 h 5973007"/>
              <a:gd name="connsiteX68740" fmla="*/ 3957656 w 6884782"/>
              <a:gd name="connsiteY68740" fmla="*/ 1835411 h 5973007"/>
              <a:gd name="connsiteX68741" fmla="*/ 3948692 w 6884782"/>
              <a:gd name="connsiteY68741" fmla="*/ 1829293 h 5973007"/>
              <a:gd name="connsiteX68742" fmla="*/ 3946985 w 6884782"/>
              <a:gd name="connsiteY68742" fmla="*/ 1830147 h 5973007"/>
              <a:gd name="connsiteX68743" fmla="*/ 3940155 w 6884782"/>
              <a:gd name="connsiteY68743" fmla="*/ 1826875 h 5973007"/>
              <a:gd name="connsiteX68744" fmla="*/ 3936954 w 6884782"/>
              <a:gd name="connsiteY68744" fmla="*/ 1820472 h 5973007"/>
              <a:gd name="connsiteX68745" fmla="*/ 3934393 w 6884782"/>
              <a:gd name="connsiteY68745" fmla="*/ 1817912 h 5973007"/>
              <a:gd name="connsiteX68746" fmla="*/ 3935247 w 6884782"/>
              <a:gd name="connsiteY68746" fmla="*/ 1812648 h 5973007"/>
              <a:gd name="connsiteX68747" fmla="*/ 3944637 w 6884782"/>
              <a:gd name="connsiteY68747" fmla="*/ 1807811 h 5973007"/>
              <a:gd name="connsiteX68748" fmla="*/ 3960430 w 6884782"/>
              <a:gd name="connsiteY68748" fmla="*/ 1800840 h 5973007"/>
              <a:gd name="connsiteX68749" fmla="*/ 3964272 w 6884782"/>
              <a:gd name="connsiteY68749" fmla="*/ 1790312 h 5973007"/>
              <a:gd name="connsiteX68750" fmla="*/ 3966833 w 6884782"/>
              <a:gd name="connsiteY68750" fmla="*/ 1788604 h 5973007"/>
              <a:gd name="connsiteX68751" fmla="*/ 3966833 w 6884782"/>
              <a:gd name="connsiteY68751" fmla="*/ 1784763 h 5973007"/>
              <a:gd name="connsiteX68752" fmla="*/ 3968327 w 6884782"/>
              <a:gd name="connsiteY68752" fmla="*/ 1780495 h 5973007"/>
              <a:gd name="connsiteX68753" fmla="*/ 3970461 w 6884782"/>
              <a:gd name="connsiteY68753" fmla="*/ 1778930 h 5973007"/>
              <a:gd name="connsiteX68754" fmla="*/ 3969821 w 6884782"/>
              <a:gd name="connsiteY68754" fmla="*/ 1776085 h 5973007"/>
              <a:gd name="connsiteX68755" fmla="*/ 3975156 w 6884782"/>
              <a:gd name="connsiteY68755" fmla="*/ 1769541 h 5973007"/>
              <a:gd name="connsiteX68756" fmla="*/ 3980491 w 6884782"/>
              <a:gd name="connsiteY68756" fmla="*/ 1770963 h 5973007"/>
              <a:gd name="connsiteX68757" fmla="*/ 3978784 w 6884782"/>
              <a:gd name="connsiteY68757" fmla="*/ 1778503 h 5973007"/>
              <a:gd name="connsiteX68758" fmla="*/ 3976010 w 6884782"/>
              <a:gd name="connsiteY68758" fmla="*/ 1780922 h 5973007"/>
              <a:gd name="connsiteX68759" fmla="*/ 3978144 w 6884782"/>
              <a:gd name="connsiteY68759" fmla="*/ 1783482 h 5973007"/>
              <a:gd name="connsiteX68760" fmla="*/ 3980278 w 6884782"/>
              <a:gd name="connsiteY68760" fmla="*/ 1788035 h 5973007"/>
              <a:gd name="connsiteX68761" fmla="*/ 3981986 w 6884782"/>
              <a:gd name="connsiteY68761" fmla="*/ 1788320 h 5973007"/>
              <a:gd name="connsiteX68762" fmla="*/ 3994577 w 6884782"/>
              <a:gd name="connsiteY68762" fmla="*/ 1792161 h 5973007"/>
              <a:gd name="connsiteX68763" fmla="*/ 4005462 w 6884782"/>
              <a:gd name="connsiteY68763" fmla="*/ 1768687 h 5973007"/>
              <a:gd name="connsiteX68764" fmla="*/ 4015279 w 6884782"/>
              <a:gd name="connsiteY68764" fmla="*/ 1761289 h 5973007"/>
              <a:gd name="connsiteX68765" fmla="*/ 4017627 w 6884782"/>
              <a:gd name="connsiteY68765" fmla="*/ 1755313 h 5973007"/>
              <a:gd name="connsiteX68766" fmla="*/ 4018907 w 6884782"/>
              <a:gd name="connsiteY68766" fmla="*/ 1752041 h 5973007"/>
              <a:gd name="connsiteX68767" fmla="*/ 4011864 w 6884782"/>
              <a:gd name="connsiteY68767" fmla="*/ 1728851 h 5973007"/>
              <a:gd name="connsiteX68768" fmla="*/ 4002687 w 6884782"/>
              <a:gd name="connsiteY68768" fmla="*/ 1722876 h 5973007"/>
              <a:gd name="connsiteX68769" fmla="*/ 3994364 w 6884782"/>
              <a:gd name="connsiteY68769" fmla="*/ 1718466 h 5973007"/>
              <a:gd name="connsiteX68770" fmla="*/ 3992443 w 6884782"/>
              <a:gd name="connsiteY68770" fmla="*/ 1718324 h 5973007"/>
              <a:gd name="connsiteX68771" fmla="*/ 3991803 w 6884782"/>
              <a:gd name="connsiteY68771" fmla="*/ 1717185 h 5973007"/>
              <a:gd name="connsiteX68772" fmla="*/ 3991376 w 6884782"/>
              <a:gd name="connsiteY68772" fmla="*/ 1716901 h 5973007"/>
              <a:gd name="connsiteX68773" fmla="*/ 3986254 w 6884782"/>
              <a:gd name="connsiteY68773" fmla="*/ 1705804 h 5973007"/>
              <a:gd name="connsiteX68774" fmla="*/ 3968754 w 6884782"/>
              <a:gd name="connsiteY68774" fmla="*/ 1693996 h 5973007"/>
              <a:gd name="connsiteX68775" fmla="*/ 3966192 w 6884782"/>
              <a:gd name="connsiteY68775" fmla="*/ 1688447 h 5973007"/>
              <a:gd name="connsiteX68776" fmla="*/ 3972168 w 6884782"/>
              <a:gd name="connsiteY68776" fmla="*/ 1691577 h 5973007"/>
              <a:gd name="connsiteX68777" fmla="*/ 3977717 w 6884782"/>
              <a:gd name="connsiteY68777" fmla="*/ 1697268 h 5973007"/>
              <a:gd name="connsiteX68778" fmla="*/ 3983693 w 6884782"/>
              <a:gd name="connsiteY68778" fmla="*/ 1697553 h 5973007"/>
              <a:gd name="connsiteX68779" fmla="*/ 3986467 w 6884782"/>
              <a:gd name="connsiteY68779" fmla="*/ 1703101 h 5973007"/>
              <a:gd name="connsiteX68780" fmla="*/ 3996498 w 6884782"/>
              <a:gd name="connsiteY68780" fmla="*/ 1703812 h 5973007"/>
              <a:gd name="connsiteX68781" fmla="*/ 4000126 w 6884782"/>
              <a:gd name="connsiteY68781" fmla="*/ 1703955 h 5973007"/>
              <a:gd name="connsiteX68782" fmla="*/ 3997992 w 6884782"/>
              <a:gd name="connsiteY68782" fmla="*/ 1699117 h 5973007"/>
              <a:gd name="connsiteX68783" fmla="*/ 4005462 w 6884782"/>
              <a:gd name="connsiteY68783" fmla="*/ 1696556 h 5973007"/>
              <a:gd name="connsiteX68784" fmla="*/ 4008023 w 6884782"/>
              <a:gd name="connsiteY68784" fmla="*/ 1699828 h 5973007"/>
              <a:gd name="connsiteX68785" fmla="*/ 4007596 w 6884782"/>
              <a:gd name="connsiteY68785" fmla="*/ 1701963 h 5973007"/>
              <a:gd name="connsiteX68786" fmla="*/ 4014426 w 6884782"/>
              <a:gd name="connsiteY68786" fmla="*/ 1698406 h 5973007"/>
              <a:gd name="connsiteX68787" fmla="*/ 4022962 w 6884782"/>
              <a:gd name="connsiteY68787" fmla="*/ 1695987 h 5973007"/>
              <a:gd name="connsiteX68788" fmla="*/ 4015279 w 6884782"/>
              <a:gd name="connsiteY68788" fmla="*/ 1699828 h 5973007"/>
              <a:gd name="connsiteX68789" fmla="*/ 4007383 w 6884782"/>
              <a:gd name="connsiteY68789" fmla="*/ 1702390 h 5973007"/>
              <a:gd name="connsiteX68790" fmla="*/ 4007169 w 6884782"/>
              <a:gd name="connsiteY68790" fmla="*/ 1704097 h 5973007"/>
              <a:gd name="connsiteX68791" fmla="*/ 4005675 w 6884782"/>
              <a:gd name="connsiteY68791" fmla="*/ 1705804 h 5973007"/>
              <a:gd name="connsiteX68792" fmla="*/ 4011438 w 6884782"/>
              <a:gd name="connsiteY68792" fmla="*/ 1713771 h 5973007"/>
              <a:gd name="connsiteX68793" fmla="*/ 4018480 w 6884782"/>
              <a:gd name="connsiteY68793" fmla="*/ 1721169 h 5973007"/>
              <a:gd name="connsiteX68794" fmla="*/ 4051774 w 6884782"/>
              <a:gd name="connsiteY68794" fmla="*/ 1723303 h 5973007"/>
              <a:gd name="connsiteX68795" fmla="*/ 4058176 w 6884782"/>
              <a:gd name="connsiteY68795" fmla="*/ 1711779 h 5973007"/>
              <a:gd name="connsiteX68796" fmla="*/ 4058817 w 6884782"/>
              <a:gd name="connsiteY68796" fmla="*/ 1710072 h 5973007"/>
              <a:gd name="connsiteX68797" fmla="*/ 4056683 w 6884782"/>
              <a:gd name="connsiteY68797" fmla="*/ 1711210 h 5973007"/>
              <a:gd name="connsiteX68798" fmla="*/ 4041316 w 6884782"/>
              <a:gd name="connsiteY68798" fmla="*/ 1686455 h 5973007"/>
              <a:gd name="connsiteX68799" fmla="*/ 4048572 w 6884782"/>
              <a:gd name="connsiteY68799" fmla="*/ 1686313 h 5973007"/>
              <a:gd name="connsiteX68800" fmla="*/ 4043877 w 6884782"/>
              <a:gd name="connsiteY68800" fmla="*/ 1680480 h 5973007"/>
              <a:gd name="connsiteX68801" fmla="*/ 4043664 w 6884782"/>
              <a:gd name="connsiteY68801" fmla="*/ 1672086 h 5973007"/>
              <a:gd name="connsiteX68802" fmla="*/ 4052414 w 6884782"/>
              <a:gd name="connsiteY68802" fmla="*/ 1675643 h 5973007"/>
              <a:gd name="connsiteX68803" fmla="*/ 4048786 w 6884782"/>
              <a:gd name="connsiteY68803" fmla="*/ 1686313 h 5973007"/>
              <a:gd name="connsiteX68804" fmla="*/ 4053908 w 6884782"/>
              <a:gd name="connsiteY68804" fmla="*/ 1689016 h 5973007"/>
              <a:gd name="connsiteX68805" fmla="*/ 4058603 w 6884782"/>
              <a:gd name="connsiteY68805" fmla="*/ 1693000 h 5973007"/>
              <a:gd name="connsiteX68806" fmla="*/ 4062018 w 6884782"/>
              <a:gd name="connsiteY68806" fmla="*/ 1698548 h 5973007"/>
              <a:gd name="connsiteX68807" fmla="*/ 4062018 w 6884782"/>
              <a:gd name="connsiteY68807" fmla="*/ 1698121 h 5973007"/>
              <a:gd name="connsiteX68808" fmla="*/ 4058390 w 6884782"/>
              <a:gd name="connsiteY68808" fmla="*/ 1678061 h 5973007"/>
              <a:gd name="connsiteX68809" fmla="*/ 4072689 w 6884782"/>
              <a:gd name="connsiteY68809" fmla="*/ 1673509 h 5973007"/>
              <a:gd name="connsiteX68810" fmla="*/ 4072262 w 6884782"/>
              <a:gd name="connsiteY68810" fmla="*/ 1665969 h 5973007"/>
              <a:gd name="connsiteX68811" fmla="*/ 4081866 w 6884782"/>
              <a:gd name="connsiteY68811" fmla="*/ 1661700 h 5973007"/>
              <a:gd name="connsiteX68812" fmla="*/ 4091043 w 6884782"/>
              <a:gd name="connsiteY68812" fmla="*/ 1665684 h 5973007"/>
              <a:gd name="connsiteX68813" fmla="*/ 4090403 w 6884782"/>
              <a:gd name="connsiteY68813" fmla="*/ 1670948 h 5973007"/>
              <a:gd name="connsiteX68814" fmla="*/ 4095525 w 6884782"/>
              <a:gd name="connsiteY68814" fmla="*/ 1670379 h 5973007"/>
              <a:gd name="connsiteX68815" fmla="*/ 4123269 w 6884782"/>
              <a:gd name="connsiteY68815" fmla="*/ 1666111 h 5973007"/>
              <a:gd name="connsiteX68816" fmla="*/ 4124977 w 6884782"/>
              <a:gd name="connsiteY68816" fmla="*/ 1660563 h 5973007"/>
              <a:gd name="connsiteX68817" fmla="*/ 4125831 w 6884782"/>
              <a:gd name="connsiteY68817" fmla="*/ 1654161 h 5973007"/>
              <a:gd name="connsiteX68818" fmla="*/ 4121349 w 6884782"/>
              <a:gd name="connsiteY68818" fmla="*/ 1652453 h 5973007"/>
              <a:gd name="connsiteX68819" fmla="*/ 4114306 w 6884782"/>
              <a:gd name="connsiteY68819" fmla="*/ 1646762 h 5973007"/>
              <a:gd name="connsiteX68820" fmla="*/ 4112598 w 6884782"/>
              <a:gd name="connsiteY68820" fmla="*/ 1644913 h 5973007"/>
              <a:gd name="connsiteX68821" fmla="*/ 4111958 w 6884782"/>
              <a:gd name="connsiteY68821" fmla="*/ 1645908 h 5973007"/>
              <a:gd name="connsiteX68822" fmla="*/ 4111531 w 6884782"/>
              <a:gd name="connsiteY68822" fmla="*/ 1644202 h 5973007"/>
              <a:gd name="connsiteX68823" fmla="*/ 4111105 w 6884782"/>
              <a:gd name="connsiteY68823" fmla="*/ 1644060 h 5973007"/>
              <a:gd name="connsiteX68824" fmla="*/ 4110037 w 6884782"/>
              <a:gd name="connsiteY68824" fmla="*/ 1643490 h 5973007"/>
              <a:gd name="connsiteX68825" fmla="*/ 4107690 w 6884782"/>
              <a:gd name="connsiteY68825" fmla="*/ 1638795 h 5973007"/>
              <a:gd name="connsiteX68826" fmla="*/ 4108330 w 6884782"/>
              <a:gd name="connsiteY68826" fmla="*/ 1637941 h 5973007"/>
              <a:gd name="connsiteX68827" fmla="*/ 4107476 w 6884782"/>
              <a:gd name="connsiteY68827" fmla="*/ 1637515 h 5973007"/>
              <a:gd name="connsiteX68828" fmla="*/ 4101714 w 6884782"/>
              <a:gd name="connsiteY68828" fmla="*/ 1645197 h 5973007"/>
              <a:gd name="connsiteX68829" fmla="*/ 4089336 w 6884782"/>
              <a:gd name="connsiteY68829" fmla="*/ 1650888 h 5973007"/>
              <a:gd name="connsiteX68830" fmla="*/ 4082720 w 6884782"/>
              <a:gd name="connsiteY68830" fmla="*/ 1640218 h 5973007"/>
              <a:gd name="connsiteX68831" fmla="*/ 4082720 w 6884782"/>
              <a:gd name="connsiteY68831" fmla="*/ 1637799 h 5973007"/>
              <a:gd name="connsiteX68832" fmla="*/ 4080372 w 6884782"/>
              <a:gd name="connsiteY68832" fmla="*/ 1637231 h 5973007"/>
              <a:gd name="connsiteX68833" fmla="*/ 4074823 w 6884782"/>
              <a:gd name="connsiteY68833" fmla="*/ 1634669 h 5973007"/>
              <a:gd name="connsiteX68834" fmla="*/ 4082079 w 6884782"/>
              <a:gd name="connsiteY68834" fmla="*/ 1632962 h 5973007"/>
              <a:gd name="connsiteX68835" fmla="*/ 4081653 w 6884782"/>
              <a:gd name="connsiteY68835" fmla="*/ 1628410 h 5973007"/>
              <a:gd name="connsiteX68836" fmla="*/ 4106196 w 6884782"/>
              <a:gd name="connsiteY68836" fmla="*/ 1597253 h 5973007"/>
              <a:gd name="connsiteX68837" fmla="*/ 4109397 w 6884782"/>
              <a:gd name="connsiteY68837" fmla="*/ 1598818 h 5973007"/>
              <a:gd name="connsiteX68838" fmla="*/ 4113238 w 6884782"/>
              <a:gd name="connsiteY68838" fmla="*/ 1605505 h 5973007"/>
              <a:gd name="connsiteX68839" fmla="*/ 4114733 w 6884782"/>
              <a:gd name="connsiteY68839" fmla="*/ 1619446 h 5973007"/>
              <a:gd name="connsiteX68840" fmla="*/ 4111531 w 6884782"/>
              <a:gd name="connsiteY68840" fmla="*/ 1630117 h 5973007"/>
              <a:gd name="connsiteX68841" fmla="*/ 4117721 w 6884782"/>
              <a:gd name="connsiteY68841" fmla="*/ 1634100 h 5973007"/>
              <a:gd name="connsiteX68842" fmla="*/ 4118361 w 6884782"/>
              <a:gd name="connsiteY68842" fmla="*/ 1633104 h 5973007"/>
              <a:gd name="connsiteX68843" fmla="*/ 4119001 w 6884782"/>
              <a:gd name="connsiteY68843" fmla="*/ 1630117 h 5973007"/>
              <a:gd name="connsiteX68844" fmla="*/ 4117934 w 6884782"/>
              <a:gd name="connsiteY68844" fmla="*/ 1629975 h 5973007"/>
              <a:gd name="connsiteX68845" fmla="*/ 4114306 w 6884782"/>
              <a:gd name="connsiteY68845" fmla="*/ 1626418 h 5973007"/>
              <a:gd name="connsiteX68846" fmla="*/ 4116226 w 6884782"/>
              <a:gd name="connsiteY68846" fmla="*/ 1624284 h 5973007"/>
              <a:gd name="connsiteX68847" fmla="*/ 4119001 w 6884782"/>
              <a:gd name="connsiteY68847" fmla="*/ 1626133 h 5973007"/>
              <a:gd name="connsiteX68848" fmla="*/ 4119428 w 6884782"/>
              <a:gd name="connsiteY68848" fmla="*/ 1626418 h 5973007"/>
              <a:gd name="connsiteX68849" fmla="*/ 4119641 w 6884782"/>
              <a:gd name="connsiteY68849" fmla="*/ 1625280 h 5973007"/>
              <a:gd name="connsiteX68850" fmla="*/ 4125831 w 6884782"/>
              <a:gd name="connsiteY68850" fmla="*/ 1617881 h 5973007"/>
              <a:gd name="connsiteX68851" fmla="*/ 4127751 w 6884782"/>
              <a:gd name="connsiteY68851" fmla="*/ 1619731 h 5973007"/>
              <a:gd name="connsiteX68852" fmla="*/ 4128391 w 6884782"/>
              <a:gd name="connsiteY68852" fmla="*/ 1619873 h 5973007"/>
              <a:gd name="connsiteX68853" fmla="*/ 4129885 w 6884782"/>
              <a:gd name="connsiteY68853" fmla="*/ 1619162 h 5973007"/>
              <a:gd name="connsiteX68854" fmla="*/ 4134367 w 6884782"/>
              <a:gd name="connsiteY68854" fmla="*/ 1619446 h 5973007"/>
              <a:gd name="connsiteX68855" fmla="*/ 4136502 w 6884782"/>
              <a:gd name="connsiteY68855" fmla="*/ 1622150 h 5973007"/>
              <a:gd name="connsiteX68856" fmla="*/ 4138636 w 6884782"/>
              <a:gd name="connsiteY68856" fmla="*/ 1624284 h 5973007"/>
              <a:gd name="connsiteX68857" fmla="*/ 4144825 w 6884782"/>
              <a:gd name="connsiteY68857" fmla="*/ 1625280 h 5973007"/>
              <a:gd name="connsiteX68858" fmla="*/ 4143544 w 6884782"/>
              <a:gd name="connsiteY68858" fmla="*/ 1636234 h 5973007"/>
              <a:gd name="connsiteX68859" fmla="*/ 4140130 w 6884782"/>
              <a:gd name="connsiteY68859" fmla="*/ 1636803 h 5973007"/>
              <a:gd name="connsiteX68860" fmla="*/ 4140130 w 6884782"/>
              <a:gd name="connsiteY68860" fmla="*/ 1636946 h 5973007"/>
              <a:gd name="connsiteX68861" fmla="*/ 4145251 w 6884782"/>
              <a:gd name="connsiteY68861" fmla="*/ 1637373 h 5973007"/>
              <a:gd name="connsiteX68862" fmla="*/ 4158697 w 6884782"/>
              <a:gd name="connsiteY68862" fmla="*/ 1638795 h 5973007"/>
              <a:gd name="connsiteX68863" fmla="*/ 4153789 w 6884782"/>
              <a:gd name="connsiteY68863" fmla="*/ 1625137 h 5973007"/>
              <a:gd name="connsiteX68864" fmla="*/ 4161258 w 6884782"/>
              <a:gd name="connsiteY68864" fmla="*/ 1622150 h 5973007"/>
              <a:gd name="connsiteX68865" fmla="*/ 4162539 w 6884782"/>
              <a:gd name="connsiteY68865" fmla="*/ 1622435 h 5973007"/>
              <a:gd name="connsiteX68866" fmla="*/ 4162965 w 6884782"/>
              <a:gd name="connsiteY68866" fmla="*/ 1619304 h 5973007"/>
              <a:gd name="connsiteX68867" fmla="*/ 4170435 w 6884782"/>
              <a:gd name="connsiteY68867" fmla="*/ 1613614 h 5973007"/>
              <a:gd name="connsiteX68868" fmla="*/ 4174703 w 6884782"/>
              <a:gd name="connsiteY68868" fmla="*/ 1616744 h 5973007"/>
              <a:gd name="connsiteX68869" fmla="*/ 4175984 w 6884782"/>
              <a:gd name="connsiteY68869" fmla="*/ 1621154 h 5973007"/>
              <a:gd name="connsiteX68870" fmla="*/ 4186015 w 6884782"/>
              <a:gd name="connsiteY68870" fmla="*/ 1624853 h 5973007"/>
              <a:gd name="connsiteX68871" fmla="*/ 4190497 w 6884782"/>
              <a:gd name="connsiteY68871" fmla="*/ 1636092 h 5973007"/>
              <a:gd name="connsiteX68872" fmla="*/ 4185801 w 6884782"/>
              <a:gd name="connsiteY68872" fmla="*/ 1637088 h 5973007"/>
              <a:gd name="connsiteX68873" fmla="*/ 4180466 w 6884782"/>
              <a:gd name="connsiteY68873" fmla="*/ 1628410 h 5973007"/>
              <a:gd name="connsiteX68874" fmla="*/ 4176411 w 6884782"/>
              <a:gd name="connsiteY68874" fmla="*/ 1622435 h 5973007"/>
              <a:gd name="connsiteX68875" fmla="*/ 4176624 w 6884782"/>
              <a:gd name="connsiteY68875" fmla="*/ 1623146 h 5973007"/>
              <a:gd name="connsiteX68876" fmla="*/ 4171716 w 6884782"/>
              <a:gd name="connsiteY68876" fmla="*/ 1627414 h 5973007"/>
              <a:gd name="connsiteX68877" fmla="*/ 4170008 w 6884782"/>
              <a:gd name="connsiteY68877" fmla="*/ 1627698 h 5973007"/>
              <a:gd name="connsiteX68878" fmla="*/ 4171289 w 6884782"/>
              <a:gd name="connsiteY68878" fmla="*/ 1629121 h 5973007"/>
              <a:gd name="connsiteX68879" fmla="*/ 4173636 w 6884782"/>
              <a:gd name="connsiteY68879" fmla="*/ 1642494 h 5973007"/>
              <a:gd name="connsiteX68880" fmla="*/ 4210985 w 6884782"/>
              <a:gd name="connsiteY68880" fmla="*/ 1631397 h 5973007"/>
              <a:gd name="connsiteX68881" fmla="*/ 4211625 w 6884782"/>
              <a:gd name="connsiteY68881" fmla="*/ 1615606 h 5973007"/>
              <a:gd name="connsiteX68882" fmla="*/ 4209918 w 6884782"/>
              <a:gd name="connsiteY68882" fmla="*/ 1608777 h 5973007"/>
              <a:gd name="connsiteX68883" fmla="*/ 4207784 w 6884782"/>
              <a:gd name="connsiteY68883" fmla="*/ 1610057 h 5973007"/>
              <a:gd name="connsiteX68884" fmla="*/ 4201594 w 6884782"/>
              <a:gd name="connsiteY68884" fmla="*/ 1608207 h 5973007"/>
              <a:gd name="connsiteX68885" fmla="*/ 4202448 w 6884782"/>
              <a:gd name="connsiteY68885" fmla="*/ 1601805 h 5973007"/>
              <a:gd name="connsiteX68886" fmla="*/ 4204369 w 6884782"/>
              <a:gd name="connsiteY68886" fmla="*/ 1600668 h 5973007"/>
              <a:gd name="connsiteX68887" fmla="*/ 4201381 w 6884782"/>
              <a:gd name="connsiteY68887" fmla="*/ 1599671 h 5973007"/>
              <a:gd name="connsiteX68888" fmla="*/ 4177051 w 6884782"/>
              <a:gd name="connsiteY68888" fmla="*/ 1599671 h 5973007"/>
              <a:gd name="connsiteX68889" fmla="*/ 4201808 w 6884782"/>
              <a:gd name="connsiteY68889" fmla="*/ 1593269 h 5973007"/>
              <a:gd name="connsiteX68890" fmla="*/ 4199673 w 6884782"/>
              <a:gd name="connsiteY68890" fmla="*/ 1544756 h 5973007"/>
              <a:gd name="connsiteX68891" fmla="*/ 4234888 w 6884782"/>
              <a:gd name="connsiteY68891" fmla="*/ 1606927 h 5973007"/>
              <a:gd name="connsiteX68892" fmla="*/ 4237449 w 6884782"/>
              <a:gd name="connsiteY68892" fmla="*/ 1610057 h 5973007"/>
              <a:gd name="connsiteX68893" fmla="*/ 4237022 w 6884782"/>
              <a:gd name="connsiteY68893" fmla="*/ 1607923 h 5973007"/>
              <a:gd name="connsiteX68894" fmla="*/ 4236809 w 6884782"/>
              <a:gd name="connsiteY68894" fmla="*/ 1606358 h 5973007"/>
              <a:gd name="connsiteX68895" fmla="*/ 4236169 w 6884782"/>
              <a:gd name="connsiteY68895" fmla="*/ 1604082 h 5973007"/>
              <a:gd name="connsiteX68896" fmla="*/ 4237662 w 6884782"/>
              <a:gd name="connsiteY68896" fmla="*/ 1601094 h 5973007"/>
              <a:gd name="connsiteX68897" fmla="*/ 4241290 w 6884782"/>
              <a:gd name="connsiteY68897" fmla="*/ 1605078 h 5973007"/>
              <a:gd name="connsiteX68898" fmla="*/ 4241717 w 6884782"/>
              <a:gd name="connsiteY68898" fmla="*/ 1610484 h 5973007"/>
              <a:gd name="connsiteX68899" fmla="*/ 4243425 w 6884782"/>
              <a:gd name="connsiteY68899" fmla="*/ 1616032 h 5973007"/>
              <a:gd name="connsiteX68900" fmla="*/ 4243212 w 6884782"/>
              <a:gd name="connsiteY68900" fmla="*/ 1616459 h 5973007"/>
              <a:gd name="connsiteX68901" fmla="*/ 4242998 w 6884782"/>
              <a:gd name="connsiteY68901" fmla="*/ 1617028 h 5973007"/>
              <a:gd name="connsiteX68902" fmla="*/ 4245345 w 6884782"/>
              <a:gd name="connsiteY68902" fmla="*/ 1620158 h 5973007"/>
              <a:gd name="connsiteX68903" fmla="*/ 4263699 w 6884782"/>
              <a:gd name="connsiteY68903" fmla="*/ 1618593 h 5973007"/>
              <a:gd name="connsiteX68904" fmla="*/ 4272877 w 6884782"/>
              <a:gd name="connsiteY68904" fmla="*/ 1618024 h 5973007"/>
              <a:gd name="connsiteX68905" fmla="*/ 4284615 w 6884782"/>
              <a:gd name="connsiteY68905" fmla="*/ 1617313 h 5973007"/>
              <a:gd name="connsiteX68906" fmla="*/ 4285255 w 6884782"/>
              <a:gd name="connsiteY68906" fmla="*/ 1616886 h 5973007"/>
              <a:gd name="connsiteX68907" fmla="*/ 4290591 w 6884782"/>
              <a:gd name="connsiteY68907" fmla="*/ 1616174 h 5973007"/>
              <a:gd name="connsiteX68908" fmla="*/ 4295499 w 6884782"/>
              <a:gd name="connsiteY68908" fmla="*/ 1617740 h 5973007"/>
              <a:gd name="connsiteX68909" fmla="*/ 4296566 w 6884782"/>
              <a:gd name="connsiteY68909" fmla="*/ 1618593 h 5973007"/>
              <a:gd name="connsiteX68910" fmla="*/ 4301262 w 6884782"/>
              <a:gd name="connsiteY68910" fmla="*/ 1619304 h 5973007"/>
              <a:gd name="connsiteX68911" fmla="*/ 4315347 w 6884782"/>
              <a:gd name="connsiteY68911" fmla="*/ 1619162 h 5973007"/>
              <a:gd name="connsiteX68912" fmla="*/ 4317481 w 6884782"/>
              <a:gd name="connsiteY68912" fmla="*/ 1617171 h 5973007"/>
              <a:gd name="connsiteX68913" fmla="*/ 4321109 w 6884782"/>
              <a:gd name="connsiteY68913" fmla="*/ 1613899 h 5973007"/>
              <a:gd name="connsiteX68914" fmla="*/ 4319829 w 6884782"/>
              <a:gd name="connsiteY68914" fmla="*/ 1612191 h 5973007"/>
              <a:gd name="connsiteX68915" fmla="*/ 4318121 w 6884782"/>
              <a:gd name="connsiteY68915" fmla="*/ 1609061 h 5973007"/>
              <a:gd name="connsiteX68916" fmla="*/ 4323457 w 6884782"/>
              <a:gd name="connsiteY68916" fmla="*/ 1606927 h 5973007"/>
              <a:gd name="connsiteX68917" fmla="*/ 4326232 w 6884782"/>
              <a:gd name="connsiteY68917" fmla="*/ 1609061 h 5973007"/>
              <a:gd name="connsiteX68918" fmla="*/ 4331780 w 6884782"/>
              <a:gd name="connsiteY68918" fmla="*/ 1604082 h 5973007"/>
              <a:gd name="connsiteX68919" fmla="*/ 4340744 w 6884782"/>
              <a:gd name="connsiteY68919" fmla="*/ 1589143 h 5973007"/>
              <a:gd name="connsiteX68920" fmla="*/ 4344372 w 6884782"/>
              <a:gd name="connsiteY68920" fmla="*/ 1573636 h 5973007"/>
              <a:gd name="connsiteX68921" fmla="*/ 4342025 w 6884782"/>
              <a:gd name="connsiteY68921" fmla="*/ 1573779 h 5973007"/>
              <a:gd name="connsiteX68922" fmla="*/ 4337329 w 6884782"/>
              <a:gd name="connsiteY68922" fmla="*/ 1568372 h 5973007"/>
              <a:gd name="connsiteX68923" fmla="*/ 4336476 w 6884782"/>
              <a:gd name="connsiteY68923" fmla="*/ 1565527 h 5973007"/>
              <a:gd name="connsiteX68924" fmla="*/ 4334341 w 6884782"/>
              <a:gd name="connsiteY68924" fmla="*/ 1572640 h 5973007"/>
              <a:gd name="connsiteX68925" fmla="*/ 4328792 w 6884782"/>
              <a:gd name="connsiteY68925" fmla="*/ 1581176 h 5973007"/>
              <a:gd name="connsiteX68926" fmla="*/ 4328792 w 6884782"/>
              <a:gd name="connsiteY68926" fmla="*/ 1582315 h 5973007"/>
              <a:gd name="connsiteX68927" fmla="*/ 4325592 w 6884782"/>
              <a:gd name="connsiteY68927" fmla="*/ 1587010 h 5973007"/>
              <a:gd name="connsiteX68928" fmla="*/ 4323670 w 6884782"/>
              <a:gd name="connsiteY68928" fmla="*/ 1588290 h 5973007"/>
              <a:gd name="connsiteX68929" fmla="*/ 4316841 w 6884782"/>
              <a:gd name="connsiteY68929" fmla="*/ 1580465 h 5973007"/>
              <a:gd name="connsiteX68930" fmla="*/ 4317695 w 6884782"/>
              <a:gd name="connsiteY68930" fmla="*/ 1578331 h 5973007"/>
              <a:gd name="connsiteX68931" fmla="*/ 4315774 w 6884782"/>
              <a:gd name="connsiteY68931" fmla="*/ 1577051 h 5973007"/>
              <a:gd name="connsiteX68932" fmla="*/ 4315561 w 6884782"/>
              <a:gd name="connsiteY68932" fmla="*/ 1580038 h 5973007"/>
              <a:gd name="connsiteX68933" fmla="*/ 4310865 w 6884782"/>
              <a:gd name="connsiteY68933" fmla="*/ 1578758 h 5973007"/>
              <a:gd name="connsiteX68934" fmla="*/ 4312146 w 6884782"/>
              <a:gd name="connsiteY68934" fmla="*/ 1576339 h 5973007"/>
              <a:gd name="connsiteX68935" fmla="*/ 4314280 w 6884782"/>
              <a:gd name="connsiteY68935" fmla="*/ 1575343 h 5973007"/>
              <a:gd name="connsiteX68936" fmla="*/ 4309158 w 6884782"/>
              <a:gd name="connsiteY68936" fmla="*/ 1567234 h 5973007"/>
              <a:gd name="connsiteX68937" fmla="*/ 4308091 w 6884782"/>
              <a:gd name="connsiteY68937" fmla="*/ 1570222 h 5973007"/>
              <a:gd name="connsiteX68938" fmla="*/ 4306170 w 6884782"/>
              <a:gd name="connsiteY68938" fmla="*/ 1570791 h 5973007"/>
              <a:gd name="connsiteX68939" fmla="*/ 4308091 w 6884782"/>
              <a:gd name="connsiteY68939" fmla="*/ 1574347 h 5973007"/>
              <a:gd name="connsiteX68940" fmla="*/ 4318762 w 6884782"/>
              <a:gd name="connsiteY68940" fmla="*/ 1595830 h 5973007"/>
              <a:gd name="connsiteX68941" fmla="*/ 4315774 w 6884782"/>
              <a:gd name="connsiteY68941" fmla="*/ 1595688 h 5973007"/>
              <a:gd name="connsiteX68942" fmla="*/ 4315987 w 6884782"/>
              <a:gd name="connsiteY68942" fmla="*/ 1597110 h 5973007"/>
              <a:gd name="connsiteX68943" fmla="*/ 4305530 w 6884782"/>
              <a:gd name="connsiteY68943" fmla="*/ 1601094 h 5973007"/>
              <a:gd name="connsiteX68944" fmla="*/ 4301688 w 6884782"/>
              <a:gd name="connsiteY68944" fmla="*/ 1597964 h 5973007"/>
              <a:gd name="connsiteX68945" fmla="*/ 4294859 w 6884782"/>
              <a:gd name="connsiteY68945" fmla="*/ 1601521 h 5973007"/>
              <a:gd name="connsiteX68946" fmla="*/ 4287816 w 6884782"/>
              <a:gd name="connsiteY68946" fmla="*/ 1604508 h 5973007"/>
              <a:gd name="connsiteX68947" fmla="*/ 4277145 w 6884782"/>
              <a:gd name="connsiteY68947" fmla="*/ 1603370 h 5973007"/>
              <a:gd name="connsiteX68948" fmla="*/ 4284828 w 6884782"/>
              <a:gd name="connsiteY68948" fmla="*/ 1552722 h 5973007"/>
              <a:gd name="connsiteX68949" fmla="*/ 4296566 w 6884782"/>
              <a:gd name="connsiteY68949" fmla="*/ 1557702 h 5973007"/>
              <a:gd name="connsiteX68950" fmla="*/ 4303395 w 6884782"/>
              <a:gd name="connsiteY68950" fmla="*/ 1565100 h 5973007"/>
              <a:gd name="connsiteX68951" fmla="*/ 4303395 w 6884782"/>
              <a:gd name="connsiteY68951" fmla="*/ 1565385 h 5973007"/>
              <a:gd name="connsiteX68952" fmla="*/ 4304890 w 6884782"/>
              <a:gd name="connsiteY68952" fmla="*/ 1564104 h 5973007"/>
              <a:gd name="connsiteX68953" fmla="*/ 4307878 w 6884782"/>
              <a:gd name="connsiteY68953" fmla="*/ 1563108 h 5973007"/>
              <a:gd name="connsiteX68954" fmla="*/ 4308091 w 6884782"/>
              <a:gd name="connsiteY68954" fmla="*/ 1563393 h 5973007"/>
              <a:gd name="connsiteX68955" fmla="*/ 4306383 w 6884782"/>
              <a:gd name="connsiteY68955" fmla="*/ 1554857 h 5973007"/>
              <a:gd name="connsiteX68956" fmla="*/ 4307878 w 6884782"/>
              <a:gd name="connsiteY68956" fmla="*/ 1542764 h 5973007"/>
              <a:gd name="connsiteX68957" fmla="*/ 4310652 w 6884782"/>
              <a:gd name="connsiteY68957" fmla="*/ 1538496 h 5973007"/>
              <a:gd name="connsiteX68958" fmla="*/ 4309585 w 6884782"/>
              <a:gd name="connsiteY68958" fmla="*/ 1536077 h 5973007"/>
              <a:gd name="connsiteX68959" fmla="*/ 4312146 w 6884782"/>
              <a:gd name="connsiteY68959" fmla="*/ 1533517 h 5973007"/>
              <a:gd name="connsiteX68960" fmla="*/ 4314493 w 6884782"/>
              <a:gd name="connsiteY68960" fmla="*/ 1532805 h 5973007"/>
              <a:gd name="connsiteX68961" fmla="*/ 4316841 w 6884782"/>
              <a:gd name="connsiteY68961" fmla="*/ 1529391 h 5973007"/>
              <a:gd name="connsiteX68962" fmla="*/ 4334982 w 6884782"/>
              <a:gd name="connsiteY68962" fmla="*/ 1543475 h 5973007"/>
              <a:gd name="connsiteX68963" fmla="*/ 4337756 w 6884782"/>
              <a:gd name="connsiteY68963" fmla="*/ 1552722 h 5973007"/>
              <a:gd name="connsiteX68964" fmla="*/ 4343519 w 6884782"/>
              <a:gd name="connsiteY68964" fmla="*/ 1551015 h 5973007"/>
              <a:gd name="connsiteX68965" fmla="*/ 4345653 w 6884782"/>
              <a:gd name="connsiteY68965" fmla="*/ 1551300 h 5973007"/>
              <a:gd name="connsiteX68966" fmla="*/ 4346720 w 6884782"/>
              <a:gd name="connsiteY68966" fmla="*/ 1544898 h 5973007"/>
              <a:gd name="connsiteX68967" fmla="*/ 4346293 w 6884782"/>
              <a:gd name="connsiteY68967" fmla="*/ 1535224 h 5973007"/>
              <a:gd name="connsiteX68968" fmla="*/ 4362300 w 6884782"/>
              <a:gd name="connsiteY68968" fmla="*/ 1525407 h 5973007"/>
              <a:gd name="connsiteX68969" fmla="*/ 4354830 w 6884782"/>
              <a:gd name="connsiteY68969" fmla="*/ 1621581 h 5973007"/>
              <a:gd name="connsiteX68970" fmla="*/ 4397301 w 6884782"/>
              <a:gd name="connsiteY68970" fmla="*/ 1621581 h 5973007"/>
              <a:gd name="connsiteX68971" fmla="*/ 4410960 w 6884782"/>
              <a:gd name="connsiteY68971" fmla="*/ 1603655 h 5973007"/>
              <a:gd name="connsiteX68972" fmla="*/ 4426539 w 6884782"/>
              <a:gd name="connsiteY68972" fmla="*/ 1599245 h 5973007"/>
              <a:gd name="connsiteX68973" fmla="*/ 4432728 w 6884782"/>
              <a:gd name="connsiteY68973" fmla="*/ 1634527 h 5973007"/>
              <a:gd name="connsiteX68974" fmla="*/ 4468155 w 6884782"/>
              <a:gd name="connsiteY68974" fmla="*/ 1637088 h 5973007"/>
              <a:gd name="connsiteX68975" fmla="*/ 4475412 w 6884782"/>
              <a:gd name="connsiteY68975" fmla="*/ 1634812 h 5973007"/>
              <a:gd name="connsiteX68976" fmla="*/ 4477546 w 6884782"/>
              <a:gd name="connsiteY68976" fmla="*/ 1628267 h 5973007"/>
              <a:gd name="connsiteX68977" fmla="*/ 4470503 w 6884782"/>
              <a:gd name="connsiteY68977" fmla="*/ 1625707 h 5973007"/>
              <a:gd name="connsiteX68978" fmla="*/ 4468155 w 6884782"/>
              <a:gd name="connsiteY68978" fmla="*/ 1624710 h 5973007"/>
              <a:gd name="connsiteX68979" fmla="*/ 4468369 w 6884782"/>
              <a:gd name="connsiteY68979" fmla="*/ 1625991 h 5973007"/>
              <a:gd name="connsiteX68980" fmla="*/ 4467729 w 6884782"/>
              <a:gd name="connsiteY68980" fmla="*/ 1624568 h 5973007"/>
              <a:gd name="connsiteX68981" fmla="*/ 4461327 w 6884782"/>
              <a:gd name="connsiteY68981" fmla="*/ 1621865 h 5973007"/>
              <a:gd name="connsiteX68982" fmla="*/ 4452789 w 6884782"/>
              <a:gd name="connsiteY68982" fmla="*/ 1610484 h 5973007"/>
              <a:gd name="connsiteX68983" fmla="*/ 4459406 w 6884782"/>
              <a:gd name="connsiteY68983" fmla="*/ 1612191 h 5973007"/>
              <a:gd name="connsiteX68984" fmla="*/ 4464955 w 6884782"/>
              <a:gd name="connsiteY68984" fmla="*/ 1613756 h 5973007"/>
              <a:gd name="connsiteX68985" fmla="*/ 4465168 w 6884782"/>
              <a:gd name="connsiteY68985" fmla="*/ 1612618 h 5973007"/>
              <a:gd name="connsiteX68986" fmla="*/ 4465595 w 6884782"/>
              <a:gd name="connsiteY68986" fmla="*/ 1613899 h 5973007"/>
              <a:gd name="connsiteX68987" fmla="*/ 4467729 w 6884782"/>
              <a:gd name="connsiteY68987" fmla="*/ 1614467 h 5973007"/>
              <a:gd name="connsiteX68988" fmla="*/ 4478400 w 6884782"/>
              <a:gd name="connsiteY68988" fmla="*/ 1623857 h 5973007"/>
              <a:gd name="connsiteX68989" fmla="*/ 4477973 w 6884782"/>
              <a:gd name="connsiteY68989" fmla="*/ 1626987 h 5973007"/>
              <a:gd name="connsiteX68990" fmla="*/ 4478613 w 6884782"/>
              <a:gd name="connsiteY68990" fmla="*/ 1625137 h 5973007"/>
              <a:gd name="connsiteX68991" fmla="*/ 4486723 w 6884782"/>
              <a:gd name="connsiteY68991" fmla="*/ 1616032 h 5973007"/>
              <a:gd name="connsiteX68992" fmla="*/ 4491419 w 6884782"/>
              <a:gd name="connsiteY68992" fmla="*/ 1613899 h 5973007"/>
              <a:gd name="connsiteX68993" fmla="*/ 4494406 w 6884782"/>
              <a:gd name="connsiteY68993" fmla="*/ 1608350 h 5973007"/>
              <a:gd name="connsiteX68994" fmla="*/ 4490138 w 6884782"/>
              <a:gd name="connsiteY68994" fmla="*/ 1608207 h 5973007"/>
              <a:gd name="connsiteX68995" fmla="*/ 4489711 w 6884782"/>
              <a:gd name="connsiteY68995" fmla="*/ 1600668 h 5973007"/>
              <a:gd name="connsiteX68996" fmla="*/ 4497608 w 6884782"/>
              <a:gd name="connsiteY68996" fmla="*/ 1595119 h 5973007"/>
              <a:gd name="connsiteX68997" fmla="*/ 4501663 w 6884782"/>
              <a:gd name="connsiteY68997" fmla="*/ 1596114 h 5973007"/>
              <a:gd name="connsiteX68998" fmla="*/ 4501663 w 6884782"/>
              <a:gd name="connsiteY68998" fmla="*/ 1596684 h 5973007"/>
              <a:gd name="connsiteX68999" fmla="*/ 4508492 w 6884782"/>
              <a:gd name="connsiteY68999" fmla="*/ 1587436 h 5973007"/>
              <a:gd name="connsiteX69000" fmla="*/ 4519377 w 6884782"/>
              <a:gd name="connsiteY69000" fmla="*/ 1577335 h 5973007"/>
              <a:gd name="connsiteX69001" fmla="*/ 4513614 w 6884782"/>
              <a:gd name="connsiteY69001" fmla="*/ 1575343 h 5973007"/>
              <a:gd name="connsiteX69002" fmla="*/ 4500809 w 6884782"/>
              <a:gd name="connsiteY69002" fmla="*/ 1565811 h 5973007"/>
              <a:gd name="connsiteX69003" fmla="*/ 4518950 w 6884782"/>
              <a:gd name="connsiteY69003" fmla="*/ 1565811 h 5973007"/>
              <a:gd name="connsiteX69004" fmla="*/ 4532181 w 6884782"/>
              <a:gd name="connsiteY69004" fmla="*/ 1570648 h 5973007"/>
              <a:gd name="connsiteX69005" fmla="*/ 4530474 w 6884782"/>
              <a:gd name="connsiteY69005" fmla="*/ 1583595 h 5973007"/>
              <a:gd name="connsiteX69006" fmla="*/ 4523858 w 6884782"/>
              <a:gd name="connsiteY69006" fmla="*/ 1579327 h 5973007"/>
              <a:gd name="connsiteX69007" fmla="*/ 4526419 w 6884782"/>
              <a:gd name="connsiteY69007" fmla="*/ 1590139 h 5973007"/>
              <a:gd name="connsiteX69008" fmla="*/ 4524498 w 6884782"/>
              <a:gd name="connsiteY69008" fmla="*/ 1597395 h 5973007"/>
              <a:gd name="connsiteX69009" fmla="*/ 4526633 w 6884782"/>
              <a:gd name="connsiteY69009" fmla="*/ 1596684 h 5973007"/>
              <a:gd name="connsiteX69010" fmla="*/ 4528767 w 6884782"/>
              <a:gd name="connsiteY69010" fmla="*/ 1597679 h 5973007"/>
              <a:gd name="connsiteX69011" fmla="*/ 4529407 w 6884782"/>
              <a:gd name="connsiteY69011" fmla="*/ 1600809 h 5973007"/>
              <a:gd name="connsiteX69012" fmla="*/ 4524712 w 6884782"/>
              <a:gd name="connsiteY69012" fmla="*/ 1603940 h 5973007"/>
              <a:gd name="connsiteX69013" fmla="*/ 4523005 w 6884782"/>
              <a:gd name="connsiteY69013" fmla="*/ 1603655 h 5973007"/>
              <a:gd name="connsiteX69014" fmla="*/ 4522151 w 6884782"/>
              <a:gd name="connsiteY69014" fmla="*/ 1606927 h 5973007"/>
              <a:gd name="connsiteX69015" fmla="*/ 4526419 w 6884782"/>
              <a:gd name="connsiteY69015" fmla="*/ 1611053 h 5973007"/>
              <a:gd name="connsiteX69016" fmla="*/ 4545200 w 6884782"/>
              <a:gd name="connsiteY69016" fmla="*/ 1615036 h 5973007"/>
              <a:gd name="connsiteX69017" fmla="*/ 4565049 w 6884782"/>
              <a:gd name="connsiteY69017" fmla="*/ 1646905 h 5973007"/>
              <a:gd name="connsiteX69018" fmla="*/ 4557578 w 6884782"/>
              <a:gd name="connsiteY69018" fmla="*/ 1688305 h 5973007"/>
              <a:gd name="connsiteX69019" fmla="*/ 4546907 w 6884782"/>
              <a:gd name="connsiteY69019" fmla="*/ 1693142 h 5973007"/>
              <a:gd name="connsiteX69020" fmla="*/ 4542426 w 6884782"/>
              <a:gd name="connsiteY69020" fmla="*/ 1696414 h 5973007"/>
              <a:gd name="connsiteX69021" fmla="*/ 4539865 w 6884782"/>
              <a:gd name="connsiteY69021" fmla="*/ 1711637 h 5973007"/>
              <a:gd name="connsiteX69022" fmla="*/ 4544987 w 6884782"/>
              <a:gd name="connsiteY69022" fmla="*/ 1716190 h 5973007"/>
              <a:gd name="connsiteX69023" fmla="*/ 4546907 w 6884782"/>
              <a:gd name="connsiteY69023" fmla="*/ 1713913 h 5973007"/>
              <a:gd name="connsiteX69024" fmla="*/ 4549682 w 6884782"/>
              <a:gd name="connsiteY69024" fmla="*/ 1712917 h 5973007"/>
              <a:gd name="connsiteX69025" fmla="*/ 4549682 w 6884782"/>
              <a:gd name="connsiteY69025" fmla="*/ 1722165 h 5973007"/>
              <a:gd name="connsiteX69026" fmla="*/ 4548188 w 6884782"/>
              <a:gd name="connsiteY69026" fmla="*/ 1722592 h 5973007"/>
              <a:gd name="connsiteX69027" fmla="*/ 4554591 w 6884782"/>
              <a:gd name="connsiteY69027" fmla="*/ 1726433 h 5973007"/>
              <a:gd name="connsiteX69028" fmla="*/ 4570170 w 6884782"/>
              <a:gd name="connsiteY69028" fmla="*/ 1727856 h 5973007"/>
              <a:gd name="connsiteX69029" fmla="*/ 4573799 w 6884782"/>
              <a:gd name="connsiteY69029" fmla="*/ 1724868 h 5973007"/>
              <a:gd name="connsiteX69030" fmla="*/ 4571877 w 6884782"/>
              <a:gd name="connsiteY69030" fmla="*/ 1722592 h 5973007"/>
              <a:gd name="connsiteX69031" fmla="*/ 4570170 w 6884782"/>
              <a:gd name="connsiteY69031" fmla="*/ 1707654 h 5973007"/>
              <a:gd name="connsiteX69032" fmla="*/ 4572518 w 6884782"/>
              <a:gd name="connsiteY69032" fmla="*/ 1710499 h 5973007"/>
              <a:gd name="connsiteX69033" fmla="*/ 4574225 w 6884782"/>
              <a:gd name="connsiteY69033" fmla="*/ 1718181 h 5973007"/>
              <a:gd name="connsiteX69034" fmla="*/ 4574225 w 6884782"/>
              <a:gd name="connsiteY69034" fmla="*/ 1722022 h 5973007"/>
              <a:gd name="connsiteX69035" fmla="*/ 4574225 w 6884782"/>
              <a:gd name="connsiteY69035" fmla="*/ 1724583 h 5973007"/>
              <a:gd name="connsiteX69036" fmla="*/ 4575292 w 6884782"/>
              <a:gd name="connsiteY69036" fmla="*/ 1723587 h 5973007"/>
              <a:gd name="connsiteX69037" fmla="*/ 4574225 w 6884782"/>
              <a:gd name="connsiteY69037" fmla="*/ 1722022 h 5973007"/>
              <a:gd name="connsiteX69038" fmla="*/ 4577000 w 6884782"/>
              <a:gd name="connsiteY69038" fmla="*/ 1722307 h 5973007"/>
              <a:gd name="connsiteX69039" fmla="*/ 4578067 w 6884782"/>
              <a:gd name="connsiteY69039" fmla="*/ 1721453 h 5973007"/>
              <a:gd name="connsiteX69040" fmla="*/ 4581482 w 6884782"/>
              <a:gd name="connsiteY69040" fmla="*/ 1716190 h 5973007"/>
              <a:gd name="connsiteX69041" fmla="*/ 4594074 w 6884782"/>
              <a:gd name="connsiteY69041" fmla="*/ 1709076 h 5973007"/>
              <a:gd name="connsiteX69042" fmla="*/ 4602824 w 6884782"/>
              <a:gd name="connsiteY69042" fmla="*/ 1714909 h 5973007"/>
              <a:gd name="connsiteX69043" fmla="*/ 4598769 w 6884782"/>
              <a:gd name="connsiteY69043" fmla="*/ 1728140 h 5973007"/>
              <a:gd name="connsiteX69044" fmla="*/ 4597488 w 6884782"/>
              <a:gd name="connsiteY69044" fmla="*/ 1728994 h 5973007"/>
              <a:gd name="connsiteX69045" fmla="*/ 4595567 w 6884782"/>
              <a:gd name="connsiteY69045" fmla="*/ 1730416 h 5973007"/>
              <a:gd name="connsiteX69046" fmla="*/ 4597702 w 6884782"/>
              <a:gd name="connsiteY69046" fmla="*/ 1732693 h 5973007"/>
              <a:gd name="connsiteX69047" fmla="*/ 4591939 w 6884782"/>
              <a:gd name="connsiteY69047" fmla="*/ 1733262 h 5973007"/>
              <a:gd name="connsiteX69048" fmla="*/ 4589165 w 6884782"/>
              <a:gd name="connsiteY69048" fmla="*/ 1735538 h 5973007"/>
              <a:gd name="connsiteX69049" fmla="*/ 4582762 w 6884782"/>
              <a:gd name="connsiteY69049" fmla="*/ 1737815 h 5973007"/>
              <a:gd name="connsiteX69050" fmla="*/ 4582548 w 6884782"/>
              <a:gd name="connsiteY69050" fmla="*/ 1738099 h 5973007"/>
              <a:gd name="connsiteX69051" fmla="*/ 4585536 w 6884782"/>
              <a:gd name="connsiteY69051" fmla="*/ 1743505 h 5973007"/>
              <a:gd name="connsiteX69052" fmla="*/ 4585536 w 6884782"/>
              <a:gd name="connsiteY69052" fmla="*/ 1745924 h 5973007"/>
              <a:gd name="connsiteX69053" fmla="*/ 4585750 w 6884782"/>
              <a:gd name="connsiteY69053" fmla="*/ 1745924 h 5973007"/>
              <a:gd name="connsiteX69054" fmla="*/ 4585323 w 6884782"/>
              <a:gd name="connsiteY69054" fmla="*/ 1746351 h 5973007"/>
              <a:gd name="connsiteX69055" fmla="*/ 4585323 w 6884782"/>
              <a:gd name="connsiteY69055" fmla="*/ 1747346 h 5973007"/>
              <a:gd name="connsiteX69056" fmla="*/ 4586391 w 6884782"/>
              <a:gd name="connsiteY69056" fmla="*/ 1746919 h 5973007"/>
              <a:gd name="connsiteX69057" fmla="*/ 4593860 w 6884782"/>
              <a:gd name="connsiteY69057" fmla="*/ 1747773 h 5973007"/>
              <a:gd name="connsiteX69058" fmla="*/ 4590659 w 6884782"/>
              <a:gd name="connsiteY69058" fmla="*/ 1754602 h 5973007"/>
              <a:gd name="connsiteX69059" fmla="*/ 4589805 w 6884782"/>
              <a:gd name="connsiteY69059" fmla="*/ 1754318 h 5973007"/>
              <a:gd name="connsiteX69060" fmla="*/ 4589591 w 6884782"/>
              <a:gd name="connsiteY69060" fmla="*/ 1754602 h 5973007"/>
              <a:gd name="connsiteX69061" fmla="*/ 4588738 w 6884782"/>
              <a:gd name="connsiteY69061" fmla="*/ 1757590 h 5973007"/>
              <a:gd name="connsiteX69062" fmla="*/ 4584470 w 6884782"/>
              <a:gd name="connsiteY69062" fmla="*/ 1756025 h 5973007"/>
              <a:gd name="connsiteX69063" fmla="*/ 4583829 w 6884782"/>
              <a:gd name="connsiteY69063" fmla="*/ 1754745 h 5973007"/>
              <a:gd name="connsiteX69064" fmla="*/ 4583403 w 6884782"/>
              <a:gd name="connsiteY69064" fmla="*/ 1754887 h 5973007"/>
              <a:gd name="connsiteX69065" fmla="*/ 4582335 w 6884782"/>
              <a:gd name="connsiteY69065" fmla="*/ 1756878 h 5973007"/>
              <a:gd name="connsiteX69066" fmla="*/ 4582976 w 6884782"/>
              <a:gd name="connsiteY69066" fmla="*/ 1759155 h 5973007"/>
              <a:gd name="connsiteX69067" fmla="*/ 4580841 w 6884782"/>
              <a:gd name="connsiteY69067" fmla="*/ 1759582 h 5973007"/>
              <a:gd name="connsiteX69068" fmla="*/ 4583829 w 6884782"/>
              <a:gd name="connsiteY69068" fmla="*/ 1762000 h 5973007"/>
              <a:gd name="connsiteX69069" fmla="*/ 4589378 w 6884782"/>
              <a:gd name="connsiteY69069" fmla="*/ 1764561 h 5973007"/>
              <a:gd name="connsiteX69070" fmla="*/ 4590445 w 6884782"/>
              <a:gd name="connsiteY69070" fmla="*/ 1763565 h 5973007"/>
              <a:gd name="connsiteX69071" fmla="*/ 4597702 w 6884782"/>
              <a:gd name="connsiteY69071" fmla="*/ 1762569 h 5973007"/>
              <a:gd name="connsiteX69072" fmla="*/ 4598769 w 6884782"/>
              <a:gd name="connsiteY69072" fmla="*/ 1767406 h 5973007"/>
              <a:gd name="connsiteX69073" fmla="*/ 4600903 w 6884782"/>
              <a:gd name="connsiteY69073" fmla="*/ 1767833 h 5973007"/>
              <a:gd name="connsiteX69074" fmla="*/ 4613708 w 6884782"/>
              <a:gd name="connsiteY69074" fmla="*/ 1769256 h 5973007"/>
              <a:gd name="connsiteX69075" fmla="*/ 4604745 w 6884782"/>
              <a:gd name="connsiteY69075" fmla="*/ 1800840 h 5973007"/>
              <a:gd name="connsiteX69076" fmla="*/ 4607946 w 6884782"/>
              <a:gd name="connsiteY69076" fmla="*/ 1806815 h 5973007"/>
              <a:gd name="connsiteX69077" fmla="*/ 4609013 w 6884782"/>
              <a:gd name="connsiteY69077" fmla="*/ 1805392 h 5973007"/>
              <a:gd name="connsiteX69078" fmla="*/ 4611147 w 6884782"/>
              <a:gd name="connsiteY69078" fmla="*/ 1803258 h 5973007"/>
              <a:gd name="connsiteX69079" fmla="*/ 4612214 w 6884782"/>
              <a:gd name="connsiteY69079" fmla="*/ 1800840 h 5973007"/>
              <a:gd name="connsiteX69080" fmla="*/ 4616483 w 6884782"/>
              <a:gd name="connsiteY69080" fmla="*/ 1798705 h 5973007"/>
              <a:gd name="connsiteX69081" fmla="*/ 4615629 w 6884782"/>
              <a:gd name="connsiteY69081" fmla="*/ 1800982 h 5973007"/>
              <a:gd name="connsiteX69082" fmla="*/ 4613495 w 6884782"/>
              <a:gd name="connsiteY69082" fmla="*/ 1803258 h 5973007"/>
              <a:gd name="connsiteX69083" fmla="*/ 4613495 w 6884782"/>
              <a:gd name="connsiteY69083" fmla="*/ 1805534 h 5973007"/>
              <a:gd name="connsiteX69084" fmla="*/ 4610720 w 6884782"/>
              <a:gd name="connsiteY69084" fmla="*/ 1809518 h 5973007"/>
              <a:gd name="connsiteX69085" fmla="*/ 4611574 w 6884782"/>
              <a:gd name="connsiteY69085" fmla="*/ 1809660 h 5973007"/>
              <a:gd name="connsiteX69086" fmla="*/ 4619470 w 6884782"/>
              <a:gd name="connsiteY69086" fmla="*/ 1811225 h 5973007"/>
              <a:gd name="connsiteX69087" fmla="*/ 4629928 w 6884782"/>
              <a:gd name="connsiteY69087" fmla="*/ 1805819 h 5973007"/>
              <a:gd name="connsiteX69088" fmla="*/ 4653617 w 6884782"/>
              <a:gd name="connsiteY69088" fmla="*/ 1803969 h 5973007"/>
              <a:gd name="connsiteX69089" fmla="*/ 4652764 w 6884782"/>
              <a:gd name="connsiteY69089" fmla="*/ 1814640 h 5973007"/>
              <a:gd name="connsiteX69090" fmla="*/ 4644227 w 6884782"/>
              <a:gd name="connsiteY69090" fmla="*/ 1821753 h 5973007"/>
              <a:gd name="connsiteX69091" fmla="*/ 4644654 w 6884782"/>
              <a:gd name="connsiteY69091" fmla="*/ 1822180 h 5973007"/>
              <a:gd name="connsiteX69092" fmla="*/ 4646788 w 6884782"/>
              <a:gd name="connsiteY69092" fmla="*/ 1828440 h 5973007"/>
              <a:gd name="connsiteX69093" fmla="*/ 4646574 w 6884782"/>
              <a:gd name="connsiteY69093" fmla="*/ 1833703 h 5973007"/>
              <a:gd name="connsiteX69094" fmla="*/ 4647855 w 6884782"/>
              <a:gd name="connsiteY69094" fmla="*/ 1832138 h 5973007"/>
              <a:gd name="connsiteX69095" fmla="*/ 4650416 w 6884782"/>
              <a:gd name="connsiteY69095" fmla="*/ 1830147 h 5973007"/>
              <a:gd name="connsiteX69096" fmla="*/ 4648282 w 6884782"/>
              <a:gd name="connsiteY69096" fmla="*/ 1832423 h 5973007"/>
              <a:gd name="connsiteX69097" fmla="*/ 4648496 w 6884782"/>
              <a:gd name="connsiteY69097" fmla="*/ 1834984 h 5973007"/>
              <a:gd name="connsiteX69098" fmla="*/ 4647215 w 6884782"/>
              <a:gd name="connsiteY69098" fmla="*/ 1835838 h 5973007"/>
              <a:gd name="connsiteX69099" fmla="*/ 4646361 w 6884782"/>
              <a:gd name="connsiteY69099" fmla="*/ 1835980 h 5973007"/>
              <a:gd name="connsiteX69100" fmla="*/ 4643587 w 6884782"/>
              <a:gd name="connsiteY69100" fmla="*/ 1842524 h 5973007"/>
              <a:gd name="connsiteX69101" fmla="*/ 4638891 w 6884782"/>
              <a:gd name="connsiteY69101" fmla="*/ 1848215 h 5973007"/>
              <a:gd name="connsiteX69102" fmla="*/ 4638891 w 6884782"/>
              <a:gd name="connsiteY69102" fmla="*/ 1848357 h 5973007"/>
              <a:gd name="connsiteX69103" fmla="*/ 4636971 w 6884782"/>
              <a:gd name="connsiteY69103" fmla="*/ 1850633 h 5973007"/>
              <a:gd name="connsiteX69104" fmla="*/ 4628647 w 6884782"/>
              <a:gd name="connsiteY69104" fmla="*/ 1856608 h 5973007"/>
              <a:gd name="connsiteX69105" fmla="*/ 4625019 w 6884782"/>
              <a:gd name="connsiteY69105" fmla="*/ 1857889 h 5973007"/>
              <a:gd name="connsiteX69106" fmla="*/ 4626513 w 6884782"/>
              <a:gd name="connsiteY69106" fmla="*/ 1862584 h 5973007"/>
              <a:gd name="connsiteX69107" fmla="*/ 4632275 w 6884782"/>
              <a:gd name="connsiteY69107" fmla="*/ 1868559 h 5973007"/>
              <a:gd name="connsiteX69108" fmla="*/ 4634623 w 6884782"/>
              <a:gd name="connsiteY69108" fmla="*/ 1867990 h 5973007"/>
              <a:gd name="connsiteX69109" fmla="*/ 4635050 w 6884782"/>
              <a:gd name="connsiteY69109" fmla="*/ 1867990 h 5973007"/>
              <a:gd name="connsiteX69110" fmla="*/ 4635050 w 6884782"/>
              <a:gd name="connsiteY69110" fmla="*/ 1866852 h 5973007"/>
              <a:gd name="connsiteX69111" fmla="*/ 4633770 w 6884782"/>
              <a:gd name="connsiteY69111" fmla="*/ 1866283 h 5973007"/>
              <a:gd name="connsiteX69112" fmla="*/ 4634623 w 6884782"/>
              <a:gd name="connsiteY69112" fmla="*/ 1865572 h 5973007"/>
              <a:gd name="connsiteX69113" fmla="*/ 4634837 w 6884782"/>
              <a:gd name="connsiteY69113" fmla="*/ 1864007 h 5973007"/>
              <a:gd name="connsiteX69114" fmla="*/ 4639958 w 6884782"/>
              <a:gd name="connsiteY69114" fmla="*/ 1863580 h 5973007"/>
              <a:gd name="connsiteX69115" fmla="*/ 4640172 w 6884782"/>
              <a:gd name="connsiteY69115" fmla="*/ 1863580 h 5973007"/>
              <a:gd name="connsiteX69116" fmla="*/ 4644867 w 6884782"/>
              <a:gd name="connsiteY69116" fmla="*/ 1854901 h 5973007"/>
              <a:gd name="connsiteX69117" fmla="*/ 4647215 w 6884782"/>
              <a:gd name="connsiteY69117" fmla="*/ 1853478 h 5973007"/>
              <a:gd name="connsiteX69118" fmla="*/ 4648069 w 6884782"/>
              <a:gd name="connsiteY69118" fmla="*/ 1851060 h 5973007"/>
              <a:gd name="connsiteX69119" fmla="*/ 4649136 w 6884782"/>
              <a:gd name="connsiteY69119" fmla="*/ 1852483 h 5973007"/>
              <a:gd name="connsiteX69120" fmla="*/ 4649349 w 6884782"/>
              <a:gd name="connsiteY69120" fmla="*/ 1852198 h 5973007"/>
              <a:gd name="connsiteX69121" fmla="*/ 4649562 w 6884782"/>
              <a:gd name="connsiteY69121" fmla="*/ 1852767 h 5973007"/>
              <a:gd name="connsiteX69122" fmla="*/ 4650416 w 6884782"/>
              <a:gd name="connsiteY69122" fmla="*/ 1852483 h 5973007"/>
              <a:gd name="connsiteX69123" fmla="*/ 4652977 w 6884782"/>
              <a:gd name="connsiteY69123" fmla="*/ 1853478 h 5973007"/>
              <a:gd name="connsiteX69124" fmla="*/ 4652764 w 6884782"/>
              <a:gd name="connsiteY69124" fmla="*/ 1859312 h 5973007"/>
              <a:gd name="connsiteX69125" fmla="*/ 4647001 w 6884782"/>
              <a:gd name="connsiteY69125" fmla="*/ 1862157 h 5973007"/>
              <a:gd name="connsiteX69126" fmla="*/ 4643587 w 6884782"/>
              <a:gd name="connsiteY69126" fmla="*/ 1864718 h 5973007"/>
              <a:gd name="connsiteX69127" fmla="*/ 4640812 w 6884782"/>
              <a:gd name="connsiteY69127" fmla="*/ 1863864 h 5973007"/>
              <a:gd name="connsiteX69128" fmla="*/ 4642520 w 6884782"/>
              <a:gd name="connsiteY69128" fmla="*/ 1864861 h 5973007"/>
              <a:gd name="connsiteX69129" fmla="*/ 4643587 w 6884782"/>
              <a:gd name="connsiteY69129" fmla="*/ 1866994 h 5973007"/>
              <a:gd name="connsiteX69130" fmla="*/ 4642520 w 6884782"/>
              <a:gd name="connsiteY69130" fmla="*/ 1869271 h 5973007"/>
              <a:gd name="connsiteX69131" fmla="*/ 4641026 w 6884782"/>
              <a:gd name="connsiteY69131" fmla="*/ 1871120 h 5973007"/>
              <a:gd name="connsiteX69132" fmla="*/ 4647855 w 6884782"/>
              <a:gd name="connsiteY69132" fmla="*/ 1867990 h 5973007"/>
              <a:gd name="connsiteX69133" fmla="*/ 4644867 w 6884782"/>
              <a:gd name="connsiteY69133" fmla="*/ 1877665 h 5973007"/>
              <a:gd name="connsiteX69134" fmla="*/ 4648282 w 6884782"/>
              <a:gd name="connsiteY69134" fmla="*/ 1879656 h 5973007"/>
              <a:gd name="connsiteX69135" fmla="*/ 4648922 w 6884782"/>
              <a:gd name="connsiteY69135" fmla="*/ 1878092 h 5973007"/>
              <a:gd name="connsiteX69136" fmla="*/ 4650203 w 6884782"/>
              <a:gd name="connsiteY69136" fmla="*/ 1879230 h 5973007"/>
              <a:gd name="connsiteX69137" fmla="*/ 4649989 w 6884782"/>
              <a:gd name="connsiteY69137" fmla="*/ 1880226 h 5973007"/>
              <a:gd name="connsiteX69138" fmla="*/ 4659593 w 6884782"/>
              <a:gd name="connsiteY69138" fmla="*/ 1882502 h 5973007"/>
              <a:gd name="connsiteX69139" fmla="*/ 4670264 w 6884782"/>
              <a:gd name="connsiteY69139" fmla="*/ 1883497 h 5973007"/>
              <a:gd name="connsiteX69140" fmla="*/ 4674319 w 6884782"/>
              <a:gd name="connsiteY69140" fmla="*/ 1884351 h 5973007"/>
              <a:gd name="connsiteX69141" fmla="*/ 4672825 w 6884782"/>
              <a:gd name="connsiteY69141" fmla="*/ 1879798 h 5973007"/>
              <a:gd name="connsiteX69142" fmla="*/ 4672399 w 6884782"/>
              <a:gd name="connsiteY69142" fmla="*/ 1878660 h 5973007"/>
              <a:gd name="connsiteX69143" fmla="*/ 4669624 w 6884782"/>
              <a:gd name="connsiteY69143" fmla="*/ 1878518 h 5973007"/>
              <a:gd name="connsiteX69144" fmla="*/ 4664502 w 6884782"/>
              <a:gd name="connsiteY69144" fmla="*/ 1872116 h 5973007"/>
              <a:gd name="connsiteX69145" fmla="*/ 4666423 w 6884782"/>
              <a:gd name="connsiteY69145" fmla="*/ 1870266 h 5973007"/>
              <a:gd name="connsiteX69146" fmla="*/ 4669624 w 6884782"/>
              <a:gd name="connsiteY69146" fmla="*/ 1869555 h 5973007"/>
              <a:gd name="connsiteX69147" fmla="*/ 4668343 w 6884782"/>
              <a:gd name="connsiteY69147" fmla="*/ 1864576 h 5973007"/>
              <a:gd name="connsiteX69148" fmla="*/ 4665996 w 6884782"/>
              <a:gd name="connsiteY69148" fmla="*/ 1862015 h 5973007"/>
              <a:gd name="connsiteX69149" fmla="*/ 4665783 w 6884782"/>
              <a:gd name="connsiteY69149" fmla="*/ 1861019 h 5973007"/>
              <a:gd name="connsiteX69150" fmla="*/ 4664502 w 6884782"/>
              <a:gd name="connsiteY69150" fmla="*/ 1860592 h 5973007"/>
              <a:gd name="connsiteX69151" fmla="*/ 4664502 w 6884782"/>
              <a:gd name="connsiteY69151" fmla="*/ 1859596 h 5973007"/>
              <a:gd name="connsiteX69152" fmla="*/ 4665569 w 6884782"/>
              <a:gd name="connsiteY69152" fmla="*/ 1860166 h 5973007"/>
              <a:gd name="connsiteX69153" fmla="*/ 4665356 w 6884782"/>
              <a:gd name="connsiteY69153" fmla="*/ 1858885 h 5973007"/>
              <a:gd name="connsiteX69154" fmla="*/ 4664288 w 6884782"/>
              <a:gd name="connsiteY69154" fmla="*/ 1859312 h 5973007"/>
              <a:gd name="connsiteX69155" fmla="*/ 4664715 w 6884782"/>
              <a:gd name="connsiteY69155" fmla="*/ 1856751 h 5973007"/>
              <a:gd name="connsiteX69156" fmla="*/ 4665142 w 6884782"/>
              <a:gd name="connsiteY69156" fmla="*/ 1857178 h 5973007"/>
              <a:gd name="connsiteX69157" fmla="*/ 4665356 w 6884782"/>
              <a:gd name="connsiteY69157" fmla="*/ 1858315 h 5973007"/>
              <a:gd name="connsiteX69158" fmla="*/ 4667703 w 6884782"/>
              <a:gd name="connsiteY69158" fmla="*/ 1854617 h 5973007"/>
              <a:gd name="connsiteX69159" fmla="*/ 4672825 w 6884782"/>
              <a:gd name="connsiteY69159" fmla="*/ 1853336 h 5973007"/>
              <a:gd name="connsiteX69160" fmla="*/ 4679655 w 6884782"/>
              <a:gd name="connsiteY69160" fmla="*/ 1856608 h 5973007"/>
              <a:gd name="connsiteX69161" fmla="*/ 4673466 w 6884782"/>
              <a:gd name="connsiteY69161" fmla="*/ 1865998 h 5973007"/>
              <a:gd name="connsiteX69162" fmla="*/ 4673252 w 6884782"/>
              <a:gd name="connsiteY69162" fmla="*/ 1865998 h 5973007"/>
              <a:gd name="connsiteX69163" fmla="*/ 4673252 w 6884782"/>
              <a:gd name="connsiteY69163" fmla="*/ 1866283 h 5973007"/>
              <a:gd name="connsiteX69164" fmla="*/ 4676454 w 6884782"/>
              <a:gd name="connsiteY69164" fmla="*/ 1873112 h 5973007"/>
              <a:gd name="connsiteX69165" fmla="*/ 4676454 w 6884782"/>
              <a:gd name="connsiteY69165" fmla="*/ 1874108 h 5973007"/>
              <a:gd name="connsiteX69166" fmla="*/ 4679014 w 6884782"/>
              <a:gd name="connsiteY69166" fmla="*/ 1875246 h 5973007"/>
              <a:gd name="connsiteX69167" fmla="*/ 4679655 w 6884782"/>
              <a:gd name="connsiteY69167" fmla="*/ 1878660 h 5973007"/>
              <a:gd name="connsiteX69168" fmla="*/ 4677307 w 6884782"/>
              <a:gd name="connsiteY69168" fmla="*/ 1878660 h 5973007"/>
              <a:gd name="connsiteX69169" fmla="*/ 4677307 w 6884782"/>
              <a:gd name="connsiteY69169" fmla="*/ 1878802 h 5973007"/>
              <a:gd name="connsiteX69170" fmla="*/ 4677521 w 6884782"/>
              <a:gd name="connsiteY69170" fmla="*/ 1880226 h 5973007"/>
              <a:gd name="connsiteX69171" fmla="*/ 4677947 w 6884782"/>
              <a:gd name="connsiteY69171" fmla="*/ 1882928 h 5973007"/>
              <a:gd name="connsiteX69172" fmla="*/ 4677307 w 6884782"/>
              <a:gd name="connsiteY69172" fmla="*/ 1884921 h 5973007"/>
              <a:gd name="connsiteX69173" fmla="*/ 4683496 w 6884782"/>
              <a:gd name="connsiteY69173" fmla="*/ 1886343 h 5973007"/>
              <a:gd name="connsiteX69174" fmla="*/ 4673892 w 6884782"/>
              <a:gd name="connsiteY69174" fmla="*/ 1893741 h 5973007"/>
              <a:gd name="connsiteX69175" fmla="*/ 4670478 w 6884782"/>
              <a:gd name="connsiteY69175" fmla="*/ 1898862 h 5973007"/>
              <a:gd name="connsiteX69176" fmla="*/ 4697369 w 6884782"/>
              <a:gd name="connsiteY69176" fmla="*/ 1905976 h 5973007"/>
              <a:gd name="connsiteX69177" fmla="*/ 4681149 w 6884782"/>
              <a:gd name="connsiteY69177" fmla="*/ 1909533 h 5973007"/>
              <a:gd name="connsiteX69178" fmla="*/ 4687338 w 6884782"/>
              <a:gd name="connsiteY69178" fmla="*/ 1914370 h 5973007"/>
              <a:gd name="connsiteX69179" fmla="*/ 4671758 w 6884782"/>
              <a:gd name="connsiteY69179" fmla="*/ 1931015 h 5973007"/>
              <a:gd name="connsiteX69180" fmla="*/ 4659593 w 6884782"/>
              <a:gd name="connsiteY69180" fmla="*/ 1935710 h 5973007"/>
              <a:gd name="connsiteX69181" fmla="*/ 4657886 w 6884782"/>
              <a:gd name="connsiteY69181" fmla="*/ 1941116 h 5973007"/>
              <a:gd name="connsiteX69182" fmla="*/ 4653617 w 6884782"/>
              <a:gd name="connsiteY69182" fmla="*/ 1942966 h 5973007"/>
              <a:gd name="connsiteX69183" fmla="*/ 4653617 w 6884782"/>
              <a:gd name="connsiteY69183" fmla="*/ 1943108 h 5973007"/>
              <a:gd name="connsiteX69184" fmla="*/ 4653404 w 6884782"/>
              <a:gd name="connsiteY69184" fmla="*/ 1942966 h 5973007"/>
              <a:gd name="connsiteX69185" fmla="*/ 4652337 w 6884782"/>
              <a:gd name="connsiteY69185" fmla="*/ 1943535 h 5973007"/>
              <a:gd name="connsiteX69186" fmla="*/ 4632916 w 6884782"/>
              <a:gd name="connsiteY69186" fmla="*/ 1950221 h 5973007"/>
              <a:gd name="connsiteX69187" fmla="*/ 4628434 w 6884782"/>
              <a:gd name="connsiteY69187" fmla="*/ 1955058 h 5973007"/>
              <a:gd name="connsiteX69188" fmla="*/ 4623739 w 6884782"/>
              <a:gd name="connsiteY69188" fmla="*/ 1961176 h 5973007"/>
              <a:gd name="connsiteX69189" fmla="*/ 4624592 w 6884782"/>
              <a:gd name="connsiteY69189" fmla="*/ 1963879 h 5973007"/>
              <a:gd name="connsiteX69190" fmla="*/ 4623525 w 6884782"/>
              <a:gd name="connsiteY69190" fmla="*/ 1965587 h 5973007"/>
              <a:gd name="connsiteX69191" fmla="*/ 4630782 w 6884782"/>
              <a:gd name="connsiteY69191" fmla="*/ 1964164 h 5973007"/>
              <a:gd name="connsiteX69192" fmla="*/ 4654258 w 6884782"/>
              <a:gd name="connsiteY69192" fmla="*/ 1968005 h 5973007"/>
              <a:gd name="connsiteX69193" fmla="*/ 4669624 w 6884782"/>
              <a:gd name="connsiteY69193" fmla="*/ 1992190 h 5973007"/>
              <a:gd name="connsiteX69194" fmla="*/ 4668771 w 6884782"/>
              <a:gd name="connsiteY69194" fmla="*/ 2002576 h 5973007"/>
              <a:gd name="connsiteX69195" fmla="*/ 4671331 w 6884782"/>
              <a:gd name="connsiteY69195" fmla="*/ 2003572 h 5973007"/>
              <a:gd name="connsiteX69196" fmla="*/ 4670478 w 6884782"/>
              <a:gd name="connsiteY69196" fmla="*/ 2014385 h 5973007"/>
              <a:gd name="connsiteX69197" fmla="*/ 4668557 w 6884782"/>
              <a:gd name="connsiteY69197" fmla="*/ 2014100 h 5973007"/>
              <a:gd name="connsiteX69198" fmla="*/ 4667276 w 6884782"/>
              <a:gd name="connsiteY69198" fmla="*/ 2013958 h 5973007"/>
              <a:gd name="connsiteX69199" fmla="*/ 4666423 w 6884782"/>
              <a:gd name="connsiteY69199" fmla="*/ 2017657 h 5973007"/>
              <a:gd name="connsiteX69200" fmla="*/ 4669624 w 6884782"/>
              <a:gd name="connsiteY69200" fmla="*/ 2022636 h 5973007"/>
              <a:gd name="connsiteX69201" fmla="*/ 4664929 w 6884782"/>
              <a:gd name="connsiteY69201" fmla="*/ 2023633 h 5973007"/>
              <a:gd name="connsiteX69202" fmla="*/ 4664288 w 6884782"/>
              <a:gd name="connsiteY69202" fmla="*/ 2026335 h 5973007"/>
              <a:gd name="connsiteX69203" fmla="*/ 4660447 w 6884782"/>
              <a:gd name="connsiteY69203" fmla="*/ 2033733 h 5973007"/>
              <a:gd name="connsiteX69204" fmla="*/ 4661087 w 6884782"/>
              <a:gd name="connsiteY69204" fmla="*/ 2034160 h 5973007"/>
              <a:gd name="connsiteX69205" fmla="*/ 4661087 w 6884782"/>
              <a:gd name="connsiteY69205" fmla="*/ 2037717 h 5973007"/>
              <a:gd name="connsiteX69206" fmla="*/ 4656392 w 6884782"/>
              <a:gd name="connsiteY69206" fmla="*/ 2041274 h 5973007"/>
              <a:gd name="connsiteX69207" fmla="*/ 4655965 w 6884782"/>
              <a:gd name="connsiteY69207" fmla="*/ 2042269 h 5973007"/>
              <a:gd name="connsiteX69208" fmla="*/ 4642946 w 6884782"/>
              <a:gd name="connsiteY69208" fmla="*/ 2054362 h 5973007"/>
              <a:gd name="connsiteX69209" fmla="*/ 4630995 w 6884782"/>
              <a:gd name="connsiteY69209" fmla="*/ 2059199 h 5973007"/>
              <a:gd name="connsiteX69210" fmla="*/ 4626727 w 6884782"/>
              <a:gd name="connsiteY69210" fmla="*/ 2059342 h 5973007"/>
              <a:gd name="connsiteX69211" fmla="*/ 4623952 w 6884782"/>
              <a:gd name="connsiteY69211" fmla="*/ 2060764 h 5973007"/>
              <a:gd name="connsiteX69212" fmla="*/ 4609226 w 6884782"/>
              <a:gd name="connsiteY69212" fmla="*/ 2066455 h 5973007"/>
              <a:gd name="connsiteX69213" fmla="*/ 4618190 w 6884782"/>
              <a:gd name="connsiteY69213" fmla="*/ 2061760 h 5973007"/>
              <a:gd name="connsiteX69214" fmla="*/ 4626513 w 6884782"/>
              <a:gd name="connsiteY69214" fmla="*/ 2059342 h 5973007"/>
              <a:gd name="connsiteX69215" fmla="*/ 4619897 w 6884782"/>
              <a:gd name="connsiteY69215" fmla="*/ 2059484 h 5973007"/>
              <a:gd name="connsiteX69216" fmla="*/ 4595994 w 6884782"/>
              <a:gd name="connsiteY69216" fmla="*/ 2056781 h 5973007"/>
              <a:gd name="connsiteX69217" fmla="*/ 4593219 w 6884782"/>
              <a:gd name="connsiteY69217" fmla="*/ 2048103 h 5973007"/>
              <a:gd name="connsiteX69218" fmla="*/ 4591939 w 6884782"/>
              <a:gd name="connsiteY69218" fmla="*/ 2046822 h 5973007"/>
              <a:gd name="connsiteX69219" fmla="*/ 4588311 w 6884782"/>
              <a:gd name="connsiteY69219" fmla="*/ 2047960 h 5973007"/>
              <a:gd name="connsiteX69220" fmla="*/ 4576360 w 6884782"/>
              <a:gd name="connsiteY69220" fmla="*/ 2051232 h 5973007"/>
              <a:gd name="connsiteX69221" fmla="*/ 4574225 w 6884782"/>
              <a:gd name="connsiteY69221" fmla="*/ 2057492 h 5973007"/>
              <a:gd name="connsiteX69222" fmla="*/ 4574012 w 6884782"/>
              <a:gd name="connsiteY69222" fmla="*/ 2061903 h 5973007"/>
              <a:gd name="connsiteX69223" fmla="*/ 4575720 w 6884782"/>
              <a:gd name="connsiteY69223" fmla="*/ 2065886 h 5973007"/>
              <a:gd name="connsiteX69224" fmla="*/ 4573585 w 6884782"/>
              <a:gd name="connsiteY69224" fmla="*/ 2069158 h 5973007"/>
              <a:gd name="connsiteX69225" fmla="*/ 4573585 w 6884782"/>
              <a:gd name="connsiteY69225" fmla="*/ 2069300 h 5973007"/>
              <a:gd name="connsiteX69226" fmla="*/ 4575933 w 6884782"/>
              <a:gd name="connsiteY69226" fmla="*/ 2073284 h 5973007"/>
              <a:gd name="connsiteX69227" fmla="*/ 4589805 w 6884782"/>
              <a:gd name="connsiteY69227" fmla="*/ 2073426 h 5973007"/>
              <a:gd name="connsiteX69228" fmla="*/ 4608799 w 6884782"/>
              <a:gd name="connsiteY69228" fmla="*/ 2085662 h 5973007"/>
              <a:gd name="connsiteX69229" fmla="*/ 4600262 w 6884782"/>
              <a:gd name="connsiteY69229" fmla="*/ 2107713 h 5973007"/>
              <a:gd name="connsiteX69230" fmla="*/ 4588738 w 6884782"/>
              <a:gd name="connsiteY69230" fmla="*/ 2115111 h 5973007"/>
              <a:gd name="connsiteX69231" fmla="*/ 4588671 w 6884782"/>
              <a:gd name="connsiteY69231" fmla="*/ 2115298 h 5973007"/>
              <a:gd name="connsiteX69232" fmla="*/ 4588098 w 6884782"/>
              <a:gd name="connsiteY69232" fmla="*/ 2115681 h 5973007"/>
              <a:gd name="connsiteX69233" fmla="*/ 4575506 w 6884782"/>
              <a:gd name="connsiteY69233" fmla="*/ 2117672 h 5973007"/>
              <a:gd name="connsiteX69234" fmla="*/ 4557365 w 6884782"/>
              <a:gd name="connsiteY69234" fmla="*/ 2101596 h 5973007"/>
              <a:gd name="connsiteX69235" fmla="*/ 4559073 w 6884782"/>
              <a:gd name="connsiteY69235" fmla="*/ 2092064 h 5973007"/>
              <a:gd name="connsiteX69236" fmla="*/ 4557578 w 6884782"/>
              <a:gd name="connsiteY69236" fmla="*/ 2091637 h 5973007"/>
              <a:gd name="connsiteX69237" fmla="*/ 4545200 w 6884782"/>
              <a:gd name="connsiteY69237" fmla="*/ 2097612 h 5973007"/>
              <a:gd name="connsiteX69238" fmla="*/ 4543920 w 6884782"/>
              <a:gd name="connsiteY69238" fmla="*/ 2098750 h 5973007"/>
              <a:gd name="connsiteX69239" fmla="*/ 4544133 w 6884782"/>
              <a:gd name="connsiteY69239" fmla="*/ 2099604 h 5973007"/>
              <a:gd name="connsiteX69240" fmla="*/ 4539651 w 6884782"/>
              <a:gd name="connsiteY69240" fmla="*/ 2107998 h 5973007"/>
              <a:gd name="connsiteX69241" fmla="*/ 4538157 w 6884782"/>
              <a:gd name="connsiteY69241" fmla="*/ 2107998 h 5973007"/>
              <a:gd name="connsiteX69242" fmla="*/ 4535169 w 6884782"/>
              <a:gd name="connsiteY69242" fmla="*/ 2109136 h 5973007"/>
              <a:gd name="connsiteX69243" fmla="*/ 4532181 w 6884782"/>
              <a:gd name="connsiteY69243" fmla="*/ 2110274 h 5973007"/>
              <a:gd name="connsiteX69244" fmla="*/ 4525566 w 6884782"/>
              <a:gd name="connsiteY69244" fmla="*/ 2141004 h 5973007"/>
              <a:gd name="connsiteX69245" fmla="*/ 4524925 w 6884782"/>
              <a:gd name="connsiteY69245" fmla="*/ 2144845 h 5973007"/>
              <a:gd name="connsiteX69246" fmla="*/ 4529621 w 6884782"/>
              <a:gd name="connsiteY69246" fmla="*/ 2144845 h 5973007"/>
              <a:gd name="connsiteX69247" fmla="*/ 4534743 w 6884782"/>
              <a:gd name="connsiteY69247" fmla="*/ 2151532 h 5973007"/>
              <a:gd name="connsiteX69248" fmla="*/ 4533889 w 6884782"/>
              <a:gd name="connsiteY69248" fmla="*/ 2157508 h 5973007"/>
              <a:gd name="connsiteX69249" fmla="*/ 4524925 w 6884782"/>
              <a:gd name="connsiteY69249" fmla="*/ 2161206 h 5973007"/>
              <a:gd name="connsiteX69250" fmla="*/ 4523005 w 6884782"/>
              <a:gd name="connsiteY69250" fmla="*/ 2157934 h 5973007"/>
              <a:gd name="connsiteX69251" fmla="*/ 4522365 w 6884782"/>
              <a:gd name="connsiteY69251" fmla="*/ 2162771 h 5973007"/>
              <a:gd name="connsiteX69252" fmla="*/ 4521084 w 6884782"/>
              <a:gd name="connsiteY69252" fmla="*/ 2173868 h 5973007"/>
              <a:gd name="connsiteX69253" fmla="*/ 4481174 w 6884782"/>
              <a:gd name="connsiteY69253" fmla="*/ 2177141 h 5973007"/>
              <a:gd name="connsiteX69254" fmla="*/ 4470290 w 6884782"/>
              <a:gd name="connsiteY69254" fmla="*/ 2174722 h 5973007"/>
              <a:gd name="connsiteX69255" fmla="*/ 4468796 w 6884782"/>
              <a:gd name="connsiteY69255" fmla="*/ 2184538 h 5973007"/>
              <a:gd name="connsiteX69256" fmla="*/ 4479467 w 6884782"/>
              <a:gd name="connsiteY69256" fmla="*/ 2192506 h 5973007"/>
              <a:gd name="connsiteX69257" fmla="*/ 4497608 w 6884782"/>
              <a:gd name="connsiteY69257" fmla="*/ 2199334 h 5973007"/>
              <a:gd name="connsiteX69258" fmla="*/ 4514468 w 6884782"/>
              <a:gd name="connsiteY69258" fmla="*/ 2205025 h 5973007"/>
              <a:gd name="connsiteX69259" fmla="*/ 4498888 w 6884782"/>
              <a:gd name="connsiteY69259" fmla="*/ 2205025 h 5973007"/>
              <a:gd name="connsiteX69260" fmla="*/ 4482241 w 6884782"/>
              <a:gd name="connsiteY69260" fmla="*/ 2201468 h 5973007"/>
              <a:gd name="connsiteX69261" fmla="*/ 4492485 w 6884782"/>
              <a:gd name="connsiteY69261" fmla="*/ 2210716 h 5973007"/>
              <a:gd name="connsiteX69262" fmla="*/ 4504011 w 6884782"/>
              <a:gd name="connsiteY69262" fmla="*/ 2207302 h 5973007"/>
              <a:gd name="connsiteX69263" fmla="*/ 4513614 w 6884782"/>
              <a:gd name="connsiteY69263" fmla="*/ 2214841 h 5973007"/>
              <a:gd name="connsiteX69264" fmla="*/ 4525352 w 6884782"/>
              <a:gd name="connsiteY69264" fmla="*/ 2219536 h 5973007"/>
              <a:gd name="connsiteX69265" fmla="*/ 4528127 w 6884782"/>
              <a:gd name="connsiteY69265" fmla="*/ 2211712 h 5973007"/>
              <a:gd name="connsiteX69266" fmla="*/ 4538157 w 6884782"/>
              <a:gd name="connsiteY69266" fmla="*/ 2195351 h 5973007"/>
              <a:gd name="connsiteX69267" fmla="*/ 4540719 w 6884782"/>
              <a:gd name="connsiteY69267" fmla="*/ 2198908 h 5973007"/>
              <a:gd name="connsiteX69268" fmla="*/ 4522151 w 6884782"/>
              <a:gd name="connsiteY69268" fmla="*/ 2230634 h 5973007"/>
              <a:gd name="connsiteX69269" fmla="*/ 4524712 w 6884782"/>
              <a:gd name="connsiteY69269" fmla="*/ 2221813 h 5973007"/>
              <a:gd name="connsiteX69270" fmla="*/ 4520017 w 6884782"/>
              <a:gd name="connsiteY69270" fmla="*/ 2220105 h 5973007"/>
              <a:gd name="connsiteX69271" fmla="*/ 4508065 w 6884782"/>
              <a:gd name="connsiteY69271" fmla="*/ 2218683 h 5973007"/>
              <a:gd name="connsiteX69272" fmla="*/ 4511694 w 6884782"/>
              <a:gd name="connsiteY69272" fmla="*/ 2224231 h 5973007"/>
              <a:gd name="connsiteX69273" fmla="*/ 4511694 w 6884782"/>
              <a:gd name="connsiteY69273" fmla="*/ 2223805 h 5973007"/>
              <a:gd name="connsiteX69274" fmla="*/ 4515962 w 6884782"/>
              <a:gd name="connsiteY69274" fmla="*/ 2219536 h 5973007"/>
              <a:gd name="connsiteX69275" fmla="*/ 4521297 w 6884782"/>
              <a:gd name="connsiteY69275" fmla="*/ 2230064 h 5973007"/>
              <a:gd name="connsiteX69276" fmla="*/ 4520444 w 6884782"/>
              <a:gd name="connsiteY69276" fmla="*/ 2232056 h 5973007"/>
              <a:gd name="connsiteX69277" fmla="*/ 4524925 w 6884782"/>
              <a:gd name="connsiteY69277" fmla="*/ 2235044 h 5973007"/>
              <a:gd name="connsiteX69278" fmla="*/ 4542852 w 6884782"/>
              <a:gd name="connsiteY69278" fmla="*/ 2243722 h 5973007"/>
              <a:gd name="connsiteX69279" fmla="*/ 4553097 w 6884782"/>
              <a:gd name="connsiteY69279" fmla="*/ 2250551 h 5973007"/>
              <a:gd name="connsiteX69280" fmla="*/ 4561847 w 6884782"/>
              <a:gd name="connsiteY69280" fmla="*/ 2255388 h 5973007"/>
              <a:gd name="connsiteX69281" fmla="*/ 4562914 w 6884782"/>
              <a:gd name="connsiteY69281" fmla="*/ 2254961 h 5973007"/>
              <a:gd name="connsiteX69282" fmla="*/ 4562274 w 6884782"/>
              <a:gd name="connsiteY69282" fmla="*/ 2255673 h 5973007"/>
              <a:gd name="connsiteX69283" fmla="*/ 4562701 w 6884782"/>
              <a:gd name="connsiteY69283" fmla="*/ 2255957 h 5973007"/>
              <a:gd name="connsiteX69284" fmla="*/ 4571877 w 6884782"/>
              <a:gd name="connsiteY69284" fmla="*/ 2269188 h 5973007"/>
              <a:gd name="connsiteX69285" fmla="*/ 4572091 w 6884782"/>
              <a:gd name="connsiteY69285" fmla="*/ 2268904 h 5973007"/>
              <a:gd name="connsiteX69286" fmla="*/ 4573158 w 6884782"/>
              <a:gd name="connsiteY69286" fmla="*/ 2268334 h 5973007"/>
              <a:gd name="connsiteX69287" fmla="*/ 4575720 w 6884782"/>
              <a:gd name="connsiteY69287" fmla="*/ 2263924 h 5973007"/>
              <a:gd name="connsiteX69288" fmla="*/ 4589591 w 6884782"/>
              <a:gd name="connsiteY69288" fmla="*/ 2271464 h 5973007"/>
              <a:gd name="connsiteX69289" fmla="*/ 4594287 w 6884782"/>
              <a:gd name="connsiteY69289" fmla="*/ 2277582 h 5973007"/>
              <a:gd name="connsiteX69290" fmla="*/ 4594500 w 6884782"/>
              <a:gd name="connsiteY69290" fmla="*/ 2278009 h 5973007"/>
              <a:gd name="connsiteX69291" fmla="*/ 4597062 w 6884782"/>
              <a:gd name="connsiteY69291" fmla="*/ 2280143 h 5973007"/>
              <a:gd name="connsiteX69292" fmla="*/ 4601970 w 6884782"/>
              <a:gd name="connsiteY69292" fmla="*/ 2275875 h 5973007"/>
              <a:gd name="connsiteX69293" fmla="*/ 4632489 w 6884782"/>
              <a:gd name="connsiteY69293" fmla="*/ 2264351 h 5973007"/>
              <a:gd name="connsiteX69294" fmla="*/ 4623739 w 6884782"/>
              <a:gd name="connsiteY69294" fmla="*/ 2280855 h 5973007"/>
              <a:gd name="connsiteX69295" fmla="*/ 4610933 w 6884782"/>
              <a:gd name="connsiteY69295" fmla="*/ 2291809 h 5973007"/>
              <a:gd name="connsiteX69296" fmla="*/ 4630568 w 6884782"/>
              <a:gd name="connsiteY69296" fmla="*/ 2306463 h 5973007"/>
              <a:gd name="connsiteX69297" fmla="*/ 4641666 w 6884782"/>
              <a:gd name="connsiteY69297" fmla="*/ 2314145 h 5973007"/>
              <a:gd name="connsiteX69298" fmla="*/ 4641879 w 6884782"/>
              <a:gd name="connsiteY69298" fmla="*/ 2314003 h 5973007"/>
              <a:gd name="connsiteX69299" fmla="*/ 4642733 w 6884782"/>
              <a:gd name="connsiteY69299" fmla="*/ 2314856 h 5973007"/>
              <a:gd name="connsiteX69300" fmla="*/ 4653831 w 6884782"/>
              <a:gd name="connsiteY69300" fmla="*/ 2321259 h 5973007"/>
              <a:gd name="connsiteX69301" fmla="*/ 4680935 w 6884782"/>
              <a:gd name="connsiteY69301" fmla="*/ 2332640 h 5973007"/>
              <a:gd name="connsiteX69302" fmla="*/ 4679655 w 6884782"/>
              <a:gd name="connsiteY69302" fmla="*/ 2341887 h 5973007"/>
              <a:gd name="connsiteX69303" fmla="*/ 4670691 w 6884782"/>
              <a:gd name="connsiteY69303" fmla="*/ 2330506 h 5973007"/>
              <a:gd name="connsiteX69304" fmla="*/ 4691393 w 6884782"/>
              <a:gd name="connsiteY69304" fmla="*/ 2360098 h 5973007"/>
              <a:gd name="connsiteX69305" fmla="*/ 4692460 w 6884782"/>
              <a:gd name="connsiteY69305" fmla="*/ 2350993 h 5973007"/>
              <a:gd name="connsiteX69306" fmla="*/ 4727461 w 6884782"/>
              <a:gd name="connsiteY69306" fmla="*/ 2385137 h 5973007"/>
              <a:gd name="connsiteX69307" fmla="*/ 4729809 w 6884782"/>
              <a:gd name="connsiteY69307" fmla="*/ 2389690 h 5973007"/>
              <a:gd name="connsiteX69308" fmla="*/ 4729595 w 6884782"/>
              <a:gd name="connsiteY69308" fmla="*/ 2389975 h 5973007"/>
              <a:gd name="connsiteX69309" fmla="*/ 4742613 w 6884782"/>
              <a:gd name="connsiteY69309" fmla="*/ 2402209 h 5973007"/>
              <a:gd name="connsiteX69310" fmla="*/ 4741120 w 6884782"/>
              <a:gd name="connsiteY69310" fmla="*/ 2405624 h 5973007"/>
              <a:gd name="connsiteX69311" fmla="*/ 4742827 w 6884782"/>
              <a:gd name="connsiteY69311" fmla="*/ 2406762 h 5973007"/>
              <a:gd name="connsiteX69312" fmla="*/ 4742827 w 6884782"/>
              <a:gd name="connsiteY69312" fmla="*/ 2398795 h 5973007"/>
              <a:gd name="connsiteX69313" fmla="*/ 4773986 w 6884782"/>
              <a:gd name="connsiteY69313" fmla="*/ 2423977 h 5973007"/>
              <a:gd name="connsiteX69314" fmla="*/ 4775053 w 6884782"/>
              <a:gd name="connsiteY69314" fmla="*/ 2442187 h 5973007"/>
              <a:gd name="connsiteX69315" fmla="*/ 4803651 w 6884782"/>
              <a:gd name="connsiteY69315" fmla="*/ 2462674 h 5973007"/>
              <a:gd name="connsiteX69316" fmla="*/ 4817737 w 6884782"/>
              <a:gd name="connsiteY69316" fmla="*/ 2476474 h 5973007"/>
              <a:gd name="connsiteX69317" fmla="*/ 4832036 w 6884782"/>
              <a:gd name="connsiteY69317" fmla="*/ 2491128 h 5973007"/>
              <a:gd name="connsiteX69318" fmla="*/ 4859141 w 6884782"/>
              <a:gd name="connsiteY69318" fmla="*/ 2523138 h 5973007"/>
              <a:gd name="connsiteX69319" fmla="*/ 4879629 w 6884782"/>
              <a:gd name="connsiteY69319" fmla="*/ 2556144 h 5973007"/>
              <a:gd name="connsiteX69320" fmla="*/ 4893074 w 6884782"/>
              <a:gd name="connsiteY69320" fmla="*/ 2564112 h 5973007"/>
              <a:gd name="connsiteX69321" fmla="*/ 4893715 w 6884782"/>
              <a:gd name="connsiteY69321" fmla="*/ 2554437 h 5973007"/>
              <a:gd name="connsiteX69322" fmla="*/ 4931063 w 6884782"/>
              <a:gd name="connsiteY69322" fmla="*/ 2555576 h 5973007"/>
              <a:gd name="connsiteX69323" fmla="*/ 4928929 w 6884782"/>
              <a:gd name="connsiteY69323" fmla="*/ 2572221 h 5973007"/>
              <a:gd name="connsiteX69324" fmla="*/ 4899904 w 6884782"/>
              <a:gd name="connsiteY69324" fmla="*/ 2571794 h 5973007"/>
              <a:gd name="connsiteX69325" fmla="*/ 4898410 w 6884782"/>
              <a:gd name="connsiteY69325" fmla="*/ 2570514 h 5973007"/>
              <a:gd name="connsiteX69326" fmla="*/ 4904172 w 6884782"/>
              <a:gd name="connsiteY69326" fmla="*/ 2580188 h 5973007"/>
              <a:gd name="connsiteX69327" fmla="*/ 4924874 w 6884782"/>
              <a:gd name="connsiteY69327" fmla="*/ 2607504 h 5973007"/>
              <a:gd name="connsiteX69328" fmla="*/ 4921032 w 6884782"/>
              <a:gd name="connsiteY69328" fmla="*/ 2625714 h 5973007"/>
              <a:gd name="connsiteX69329" fmla="*/ 4926154 w 6884782"/>
              <a:gd name="connsiteY69329" fmla="*/ 2626852 h 5973007"/>
              <a:gd name="connsiteX69330" fmla="*/ 4926154 w 6884782"/>
              <a:gd name="connsiteY69330" fmla="*/ 2627990 h 5973007"/>
              <a:gd name="connsiteX69331" fmla="*/ 4933838 w 6884782"/>
              <a:gd name="connsiteY69331" fmla="*/ 2639514 h 5973007"/>
              <a:gd name="connsiteX69332" fmla="*/ 4933838 w 6884782"/>
              <a:gd name="connsiteY69332" fmla="*/ 2640653 h 5973007"/>
              <a:gd name="connsiteX69333" fmla="*/ 4935332 w 6884782"/>
              <a:gd name="connsiteY69333" fmla="*/ 2640653 h 5973007"/>
              <a:gd name="connsiteX69334" fmla="*/ 4936399 w 6884782"/>
              <a:gd name="connsiteY69334" fmla="*/ 2640653 h 5973007"/>
              <a:gd name="connsiteX69335" fmla="*/ 4937893 w 6884782"/>
              <a:gd name="connsiteY69335" fmla="*/ 2646343 h 5973007"/>
              <a:gd name="connsiteX69336" fmla="*/ 4946856 w 6884782"/>
              <a:gd name="connsiteY69336" fmla="*/ 2641648 h 5973007"/>
              <a:gd name="connsiteX69337" fmla="*/ 4959875 w 6884782"/>
              <a:gd name="connsiteY69337" fmla="*/ 2650754 h 5973007"/>
              <a:gd name="connsiteX69338" fmla="*/ 4970119 w 6884782"/>
              <a:gd name="connsiteY69338" fmla="*/ 2653172 h 5973007"/>
              <a:gd name="connsiteX69339" fmla="*/ 4973961 w 6884782"/>
              <a:gd name="connsiteY69339" fmla="*/ 2654168 h 5973007"/>
              <a:gd name="connsiteX69340" fmla="*/ 4975241 w 6884782"/>
              <a:gd name="connsiteY69340" fmla="*/ 2655306 h 5973007"/>
              <a:gd name="connsiteX69341" fmla="*/ 4979083 w 6884782"/>
              <a:gd name="connsiteY69341" fmla="*/ 2660001 h 5973007"/>
              <a:gd name="connsiteX69342" fmla="*/ 4972680 w 6884782"/>
              <a:gd name="connsiteY69342" fmla="*/ 2660001 h 5973007"/>
              <a:gd name="connsiteX69343" fmla="*/ 4970119 w 6884782"/>
              <a:gd name="connsiteY69343" fmla="*/ 2658863 h 5973007"/>
              <a:gd name="connsiteX69344" fmla="*/ 4968838 w 6884782"/>
              <a:gd name="connsiteY69344" fmla="*/ 2658863 h 5973007"/>
              <a:gd name="connsiteX69345" fmla="*/ 4963503 w 6884782"/>
              <a:gd name="connsiteY69345" fmla="*/ 2656444 h 5973007"/>
              <a:gd name="connsiteX69346" fmla="*/ 4953259 w 6884782"/>
              <a:gd name="connsiteY69346" fmla="*/ 2653172 h 5973007"/>
              <a:gd name="connsiteX69347" fmla="*/ 4953259 w 6884782"/>
              <a:gd name="connsiteY69347" fmla="*/ 2663415 h 5973007"/>
              <a:gd name="connsiteX69348" fmla="*/ 4953259 w 6884782"/>
              <a:gd name="connsiteY69348" fmla="*/ 2664554 h 5973007"/>
              <a:gd name="connsiteX69349" fmla="*/ 4953259 w 6884782"/>
              <a:gd name="connsiteY69349" fmla="*/ 2665692 h 5973007"/>
              <a:gd name="connsiteX69350" fmla="*/ 4953899 w 6884782"/>
              <a:gd name="connsiteY69350" fmla="*/ 2666118 h 5973007"/>
              <a:gd name="connsiteX69351" fmla="*/ 4962436 w 6884782"/>
              <a:gd name="connsiteY69351" fmla="*/ 2667399 h 5973007"/>
              <a:gd name="connsiteX69352" fmla="*/ 4987833 w 6884782"/>
              <a:gd name="connsiteY69352" fmla="*/ 2683333 h 5973007"/>
              <a:gd name="connsiteX69353" fmla="*/ 4981217 w 6884782"/>
              <a:gd name="connsiteY69353" fmla="*/ 2695141 h 5973007"/>
              <a:gd name="connsiteX69354" fmla="*/ 4970333 w 6884782"/>
              <a:gd name="connsiteY69354" fmla="*/ 2696564 h 5973007"/>
              <a:gd name="connsiteX69355" fmla="*/ 4972680 w 6884782"/>
              <a:gd name="connsiteY69355" fmla="*/ 2698983 h 5973007"/>
              <a:gd name="connsiteX69356" fmla="*/ 4981644 w 6884782"/>
              <a:gd name="connsiteY69356" fmla="*/ 2725017 h 5973007"/>
              <a:gd name="connsiteX69357" fmla="*/ 4989540 w 6884782"/>
              <a:gd name="connsiteY69357" fmla="*/ 2722599 h 5973007"/>
              <a:gd name="connsiteX69358" fmla="*/ 4990821 w 6884782"/>
              <a:gd name="connsiteY69358" fmla="*/ 2727152 h 5973007"/>
              <a:gd name="connsiteX69359" fmla="*/ 4992101 w 6884782"/>
              <a:gd name="connsiteY69359" fmla="*/ 2731847 h 5973007"/>
              <a:gd name="connsiteX69360" fmla="*/ 4994663 w 6884782"/>
              <a:gd name="connsiteY69360" fmla="*/ 2738675 h 5973007"/>
              <a:gd name="connsiteX69361" fmla="*/ 5001065 w 6884782"/>
              <a:gd name="connsiteY69361" fmla="*/ 2753471 h 5973007"/>
              <a:gd name="connsiteX69362" fmla="*/ 5006614 w 6884782"/>
              <a:gd name="connsiteY69362" fmla="*/ 2764995 h 5973007"/>
              <a:gd name="connsiteX69363" fmla="*/ 5008321 w 6884782"/>
              <a:gd name="connsiteY69363" fmla="*/ 2761723 h 5973007"/>
              <a:gd name="connsiteX69364" fmla="*/ 5020059 w 6884782"/>
              <a:gd name="connsiteY69364" fmla="*/ 2740952 h 5973007"/>
              <a:gd name="connsiteX69365" fmla="*/ 5033291 w 6884782"/>
              <a:gd name="connsiteY69365" fmla="*/ 2720750 h 5973007"/>
              <a:gd name="connsiteX69366" fmla="*/ 5036492 w 6884782"/>
              <a:gd name="connsiteY69366" fmla="*/ 2726725 h 5973007"/>
              <a:gd name="connsiteX69367" fmla="*/ 5039694 w 6884782"/>
              <a:gd name="connsiteY69367" fmla="*/ 2703677 h 5973007"/>
              <a:gd name="connsiteX69368" fmla="*/ 5050792 w 6884782"/>
              <a:gd name="connsiteY69368" fmla="*/ 2684329 h 5973007"/>
              <a:gd name="connsiteX69369" fmla="*/ 5075122 w 6884782"/>
              <a:gd name="connsiteY69369" fmla="*/ 2658293 h 5973007"/>
              <a:gd name="connsiteX69370" fmla="*/ 5087714 w 6884782"/>
              <a:gd name="connsiteY69370" fmla="*/ 2652319 h 5973007"/>
              <a:gd name="connsiteX69371" fmla="*/ 5098598 w 6884782"/>
              <a:gd name="connsiteY69371" fmla="*/ 2641080 h 5973007"/>
              <a:gd name="connsiteX69372" fmla="*/ 5096250 w 6884782"/>
              <a:gd name="connsiteY69372" fmla="*/ 2636669 h 5973007"/>
              <a:gd name="connsiteX69373" fmla="*/ 5105854 w 6884782"/>
              <a:gd name="connsiteY69373" fmla="*/ 2625572 h 5973007"/>
              <a:gd name="connsiteX69374" fmla="*/ 5120793 w 6884782"/>
              <a:gd name="connsiteY69374" fmla="*/ 2621020 h 5973007"/>
              <a:gd name="connsiteX69375" fmla="*/ 5125489 w 6884782"/>
              <a:gd name="connsiteY69375" fmla="*/ 2618885 h 5973007"/>
              <a:gd name="connsiteX69376" fmla="*/ 5131678 w 6884782"/>
              <a:gd name="connsiteY69376" fmla="*/ 2606223 h 5973007"/>
              <a:gd name="connsiteX69377" fmla="*/ 5140428 w 6884782"/>
              <a:gd name="connsiteY69377" fmla="*/ 2603947 h 5973007"/>
              <a:gd name="connsiteX69378" fmla="*/ 5147257 w 6884782"/>
              <a:gd name="connsiteY69378" fmla="*/ 2597971 h 5973007"/>
              <a:gd name="connsiteX69379" fmla="*/ 5159209 w 6884782"/>
              <a:gd name="connsiteY69379" fmla="*/ 2586875 h 5973007"/>
              <a:gd name="connsiteX69380" fmla="*/ 5162197 w 6884782"/>
              <a:gd name="connsiteY69380" fmla="*/ 2573359 h 5973007"/>
              <a:gd name="connsiteX69381" fmla="*/ 5189088 w 6884782"/>
              <a:gd name="connsiteY69381" fmla="*/ 2550312 h 5973007"/>
              <a:gd name="connsiteX69382" fmla="*/ 5187380 w 6884782"/>
              <a:gd name="connsiteY69382" fmla="*/ 2556998 h 5973007"/>
              <a:gd name="connsiteX69383" fmla="*/ 5193783 w 6884782"/>
              <a:gd name="connsiteY69383" fmla="*/ 2551734 h 5973007"/>
              <a:gd name="connsiteX69384" fmla="*/ 5199972 w 6884782"/>
              <a:gd name="connsiteY69384" fmla="*/ 2547324 h 5973007"/>
              <a:gd name="connsiteX69385" fmla="*/ 5211710 w 6884782"/>
              <a:gd name="connsiteY69385" fmla="*/ 2538219 h 5973007"/>
              <a:gd name="connsiteX69386" fmla="*/ 5206161 w 6884782"/>
              <a:gd name="connsiteY69386" fmla="*/ 2532101 h 5973007"/>
              <a:gd name="connsiteX69387" fmla="*/ 5219820 w 6884782"/>
              <a:gd name="connsiteY69387" fmla="*/ 2525273 h 5973007"/>
              <a:gd name="connsiteX69388" fmla="*/ 5221101 w 6884782"/>
              <a:gd name="connsiteY69388" fmla="*/ 2531390 h 5973007"/>
              <a:gd name="connsiteX69389" fmla="*/ 5226649 w 6884782"/>
              <a:gd name="connsiteY69389" fmla="*/ 2527264 h 5973007"/>
              <a:gd name="connsiteX69390" fmla="*/ 5240948 w 6884782"/>
              <a:gd name="connsiteY69390" fmla="*/ 2517589 h 5973007"/>
              <a:gd name="connsiteX69391" fmla="*/ 5249912 w 6884782"/>
              <a:gd name="connsiteY69391" fmla="*/ 2510477 h 5973007"/>
              <a:gd name="connsiteX69392" fmla="*/ 5249059 w 6884782"/>
              <a:gd name="connsiteY69392" fmla="*/ 2510050 h 5973007"/>
              <a:gd name="connsiteX69393" fmla="*/ 5246924 w 6884782"/>
              <a:gd name="connsiteY69393" fmla="*/ 2500802 h 5973007"/>
              <a:gd name="connsiteX69394" fmla="*/ 5251619 w 6884782"/>
              <a:gd name="connsiteY69394" fmla="*/ 2498241 h 5973007"/>
              <a:gd name="connsiteX69395" fmla="*/ 5258236 w 6884782"/>
              <a:gd name="connsiteY69395" fmla="*/ 2498952 h 5973007"/>
              <a:gd name="connsiteX69396" fmla="*/ 5259303 w 6884782"/>
              <a:gd name="connsiteY69396" fmla="*/ 2502936 h 5973007"/>
              <a:gd name="connsiteX69397" fmla="*/ 5266773 w 6884782"/>
              <a:gd name="connsiteY69397" fmla="*/ 2496819 h 5973007"/>
              <a:gd name="connsiteX69398" fmla="*/ 5278511 w 6884782"/>
              <a:gd name="connsiteY69398" fmla="*/ 2485580 h 5973007"/>
              <a:gd name="connsiteX69399" fmla="*/ 5284059 w 6884782"/>
              <a:gd name="connsiteY69399" fmla="*/ 2478892 h 5973007"/>
              <a:gd name="connsiteX69400" fmla="*/ 5285767 w 6884782"/>
              <a:gd name="connsiteY69400" fmla="*/ 2477327 h 5973007"/>
              <a:gd name="connsiteX69401" fmla="*/ 5294303 w 6884782"/>
              <a:gd name="connsiteY69401" fmla="*/ 2472917 h 5973007"/>
              <a:gd name="connsiteX69402" fmla="*/ 5294303 w 6884782"/>
              <a:gd name="connsiteY69402" fmla="*/ 2472206 h 5973007"/>
              <a:gd name="connsiteX69403" fmla="*/ 5295158 w 6884782"/>
              <a:gd name="connsiteY69403" fmla="*/ 2471495 h 5973007"/>
              <a:gd name="connsiteX69404" fmla="*/ 5296011 w 6884782"/>
              <a:gd name="connsiteY69404" fmla="*/ 2469218 h 5973007"/>
              <a:gd name="connsiteX69405" fmla="*/ 5291956 w 6884782"/>
              <a:gd name="connsiteY69405" fmla="*/ 2466942 h 5973007"/>
              <a:gd name="connsiteX69406" fmla="*/ 5291956 w 6884782"/>
              <a:gd name="connsiteY69406" fmla="*/ 2467653 h 5973007"/>
              <a:gd name="connsiteX69407" fmla="*/ 5291102 w 6884782"/>
              <a:gd name="connsiteY69407" fmla="*/ 2467653 h 5973007"/>
              <a:gd name="connsiteX69408" fmla="*/ 5282566 w 6884782"/>
              <a:gd name="connsiteY69408" fmla="*/ 2472206 h 5973007"/>
              <a:gd name="connsiteX69409" fmla="*/ 5281712 w 6884782"/>
              <a:gd name="connsiteY69409" fmla="*/ 2472206 h 5973007"/>
              <a:gd name="connsiteX69410" fmla="*/ 5279364 w 6884782"/>
              <a:gd name="connsiteY69410" fmla="*/ 2470784 h 5973007"/>
              <a:gd name="connsiteX69411" fmla="*/ 5280218 w 6884782"/>
              <a:gd name="connsiteY69411" fmla="*/ 2469930 h 5973007"/>
              <a:gd name="connsiteX69412" fmla="*/ 5281072 w 6884782"/>
              <a:gd name="connsiteY69412" fmla="*/ 2469218 h 5973007"/>
              <a:gd name="connsiteX69413" fmla="*/ 5281499 w 6884782"/>
              <a:gd name="connsiteY69413" fmla="*/ 2468934 h 5973007"/>
              <a:gd name="connsiteX69414" fmla="*/ 5281499 w 6884782"/>
              <a:gd name="connsiteY69414" fmla="*/ 2468791 h 5973007"/>
              <a:gd name="connsiteX69415" fmla="*/ 5289608 w 6884782"/>
              <a:gd name="connsiteY69415" fmla="*/ 2464808 h 5973007"/>
              <a:gd name="connsiteX69416" fmla="*/ 5290462 w 6884782"/>
              <a:gd name="connsiteY69416" fmla="*/ 2464808 h 5973007"/>
              <a:gd name="connsiteX69417" fmla="*/ 5290462 w 6884782"/>
              <a:gd name="connsiteY69417" fmla="*/ 2463954 h 5973007"/>
              <a:gd name="connsiteX69418" fmla="*/ 5291102 w 6884782"/>
              <a:gd name="connsiteY69418" fmla="*/ 2463243 h 5973007"/>
              <a:gd name="connsiteX69419" fmla="*/ 5292810 w 6884782"/>
              <a:gd name="connsiteY69419" fmla="*/ 2461678 h 5973007"/>
              <a:gd name="connsiteX69420" fmla="*/ 5295158 w 6884782"/>
              <a:gd name="connsiteY69420" fmla="*/ 2457267 h 5973007"/>
              <a:gd name="connsiteX69421" fmla="*/ 5295158 w 6884782"/>
              <a:gd name="connsiteY69421" fmla="*/ 2462390 h 5973007"/>
              <a:gd name="connsiteX69422" fmla="*/ 5300706 w 6884782"/>
              <a:gd name="connsiteY69422" fmla="*/ 2463243 h 5973007"/>
              <a:gd name="connsiteX69423" fmla="*/ 5298999 w 6884782"/>
              <a:gd name="connsiteY69423" fmla="*/ 2458833 h 5973007"/>
              <a:gd name="connsiteX69424" fmla="*/ 5302841 w 6884782"/>
              <a:gd name="connsiteY69424" fmla="*/ 2455134 h 5973007"/>
              <a:gd name="connsiteX69425" fmla="*/ 5306042 w 6884782"/>
              <a:gd name="connsiteY69425" fmla="*/ 2458833 h 5973007"/>
              <a:gd name="connsiteX69426" fmla="*/ 5304548 w 6884782"/>
              <a:gd name="connsiteY69426" fmla="*/ 2450581 h 5973007"/>
              <a:gd name="connsiteX69427" fmla="*/ 5306042 w 6884782"/>
              <a:gd name="connsiteY69427" fmla="*/ 2450581 h 5973007"/>
              <a:gd name="connsiteX69428" fmla="*/ 5307536 w 6884782"/>
              <a:gd name="connsiteY69428" fmla="*/ 2450581 h 5973007"/>
              <a:gd name="connsiteX69429" fmla="*/ 5310097 w 6884782"/>
              <a:gd name="connsiteY69429" fmla="*/ 2453569 h 5973007"/>
              <a:gd name="connsiteX69430" fmla="*/ 5316072 w 6884782"/>
              <a:gd name="connsiteY69430" fmla="*/ 2449443 h 5973007"/>
              <a:gd name="connsiteX69431" fmla="*/ 5315645 w 6884782"/>
              <a:gd name="connsiteY69431" fmla="*/ 2448020 h 5973007"/>
              <a:gd name="connsiteX69432" fmla="*/ 5319914 w 6884782"/>
              <a:gd name="connsiteY69432" fmla="*/ 2444037 h 5973007"/>
              <a:gd name="connsiteX69433" fmla="*/ 5321195 w 6884782"/>
              <a:gd name="connsiteY69433" fmla="*/ 2446028 h 5973007"/>
              <a:gd name="connsiteX69434" fmla="*/ 5329731 w 6884782"/>
              <a:gd name="connsiteY69434" fmla="*/ 2440195 h 5973007"/>
              <a:gd name="connsiteX69435" fmla="*/ 5340189 w 6884782"/>
              <a:gd name="connsiteY69435" fmla="*/ 2434078 h 5973007"/>
              <a:gd name="connsiteX69436" fmla="*/ 5340402 w 6884782"/>
              <a:gd name="connsiteY69436" fmla="*/ 2431802 h 5973007"/>
              <a:gd name="connsiteX69437" fmla="*/ 5342750 w 6884782"/>
              <a:gd name="connsiteY69437" fmla="*/ 2432798 h 5973007"/>
              <a:gd name="connsiteX69438" fmla="*/ 5347018 w 6884782"/>
              <a:gd name="connsiteY69438" fmla="*/ 2430379 h 5973007"/>
              <a:gd name="connsiteX69439" fmla="*/ 5350220 w 6884782"/>
              <a:gd name="connsiteY69439" fmla="*/ 2429668 h 5973007"/>
              <a:gd name="connsiteX69440" fmla="*/ 5351713 w 6884782"/>
              <a:gd name="connsiteY69440" fmla="*/ 2428956 h 5973007"/>
              <a:gd name="connsiteX69441" fmla="*/ 5353208 w 6884782"/>
              <a:gd name="connsiteY69441" fmla="*/ 2428245 h 5973007"/>
              <a:gd name="connsiteX69442" fmla="*/ 5391837 w 6884782"/>
              <a:gd name="connsiteY69442" fmla="*/ 2412595 h 5973007"/>
              <a:gd name="connsiteX69443" fmla="*/ 5398452 w 6884782"/>
              <a:gd name="connsiteY69443" fmla="*/ 2410746 h 5973007"/>
              <a:gd name="connsiteX69444" fmla="*/ 5399733 w 6884782"/>
              <a:gd name="connsiteY69444" fmla="*/ 2411030 h 5973007"/>
              <a:gd name="connsiteX69445" fmla="*/ 5399093 w 6884782"/>
              <a:gd name="connsiteY69445" fmla="*/ 2409181 h 5973007"/>
              <a:gd name="connsiteX69446" fmla="*/ 5398239 w 6884782"/>
              <a:gd name="connsiteY69446" fmla="*/ 2407758 h 5973007"/>
              <a:gd name="connsiteX69447" fmla="*/ 5408910 w 6884782"/>
              <a:gd name="connsiteY69447" fmla="*/ 2404628 h 5973007"/>
              <a:gd name="connsiteX69448" fmla="*/ 5409977 w 6884782"/>
              <a:gd name="connsiteY69448" fmla="*/ 2406478 h 5973007"/>
              <a:gd name="connsiteX69449" fmla="*/ 5410191 w 6884782"/>
              <a:gd name="connsiteY69449" fmla="*/ 2406336 h 5973007"/>
              <a:gd name="connsiteX69450" fmla="*/ 5415099 w 6884782"/>
              <a:gd name="connsiteY69450" fmla="*/ 2404628 h 5973007"/>
              <a:gd name="connsiteX69451" fmla="*/ 5417020 w 6884782"/>
              <a:gd name="connsiteY69451" fmla="*/ 2400502 h 5973007"/>
              <a:gd name="connsiteX69452" fmla="*/ 5416807 w 6884782"/>
              <a:gd name="connsiteY69452" fmla="*/ 2399507 h 5973007"/>
              <a:gd name="connsiteX69453" fmla="*/ 5415526 w 6884782"/>
              <a:gd name="connsiteY69453" fmla="*/ 2399934 h 5973007"/>
              <a:gd name="connsiteX69454" fmla="*/ 5412111 w 6884782"/>
              <a:gd name="connsiteY69454" fmla="*/ 2398937 h 5973007"/>
              <a:gd name="connsiteX69455" fmla="*/ 5409977 w 6884782"/>
              <a:gd name="connsiteY69455" fmla="*/ 2395381 h 5973007"/>
              <a:gd name="connsiteX69456" fmla="*/ 5407203 w 6884782"/>
              <a:gd name="connsiteY69456" fmla="*/ 2396946 h 5973007"/>
              <a:gd name="connsiteX69457" fmla="*/ 5396745 w 6884782"/>
              <a:gd name="connsiteY69457" fmla="*/ 2394243 h 5973007"/>
              <a:gd name="connsiteX69458" fmla="*/ 5404642 w 6884782"/>
              <a:gd name="connsiteY69458" fmla="*/ 2378735 h 5973007"/>
              <a:gd name="connsiteX69459" fmla="*/ 5414672 w 6884782"/>
              <a:gd name="connsiteY69459" fmla="*/ 2389121 h 5973007"/>
              <a:gd name="connsiteX69460" fmla="*/ 5414246 w 6884782"/>
              <a:gd name="connsiteY69460" fmla="*/ 2390117 h 5973007"/>
              <a:gd name="connsiteX69461" fmla="*/ 5415313 w 6884782"/>
              <a:gd name="connsiteY69461" fmla="*/ 2389121 h 5973007"/>
              <a:gd name="connsiteX69462" fmla="*/ 5416380 w 6884782"/>
              <a:gd name="connsiteY69462" fmla="*/ 2389263 h 5973007"/>
              <a:gd name="connsiteX69463" fmla="*/ 5416380 w 6884782"/>
              <a:gd name="connsiteY69463" fmla="*/ 2387271 h 5973007"/>
              <a:gd name="connsiteX69464" fmla="*/ 5427691 w 6884782"/>
              <a:gd name="connsiteY69464" fmla="*/ 2395523 h 5973007"/>
              <a:gd name="connsiteX69465" fmla="*/ 5431960 w 6884782"/>
              <a:gd name="connsiteY69465" fmla="*/ 2402067 h 5973007"/>
              <a:gd name="connsiteX69466" fmla="*/ 5438149 w 6884782"/>
              <a:gd name="connsiteY69466" fmla="*/ 2405909 h 5973007"/>
              <a:gd name="connsiteX69467" fmla="*/ 5460131 w 6884782"/>
              <a:gd name="connsiteY69467" fmla="*/ 2396235 h 5973007"/>
              <a:gd name="connsiteX69468" fmla="*/ 5461411 w 6884782"/>
              <a:gd name="connsiteY69468" fmla="*/ 2398084 h 5973007"/>
              <a:gd name="connsiteX69469" fmla="*/ 5466533 w 6884782"/>
              <a:gd name="connsiteY69469" fmla="*/ 2396377 h 5973007"/>
              <a:gd name="connsiteX69470" fmla="*/ 5469094 w 6884782"/>
              <a:gd name="connsiteY69470" fmla="*/ 2396803 h 5973007"/>
              <a:gd name="connsiteX69471" fmla="*/ 5468454 w 6884782"/>
              <a:gd name="connsiteY69471" fmla="*/ 2399649 h 5973007"/>
              <a:gd name="connsiteX69472" fmla="*/ 5466961 w 6884782"/>
              <a:gd name="connsiteY69472" fmla="*/ 2401214 h 5973007"/>
              <a:gd name="connsiteX69473" fmla="*/ 5471869 w 6884782"/>
              <a:gd name="connsiteY69473" fmla="*/ 2401499 h 5973007"/>
              <a:gd name="connsiteX69474" fmla="*/ 5487662 w 6884782"/>
              <a:gd name="connsiteY69474" fmla="*/ 2392535 h 5973007"/>
              <a:gd name="connsiteX69475" fmla="*/ 5475924 w 6884782"/>
              <a:gd name="connsiteY69475" fmla="*/ 2391113 h 5973007"/>
              <a:gd name="connsiteX69476" fmla="*/ 5461625 w 6884782"/>
              <a:gd name="connsiteY69476" fmla="*/ 2396235 h 5973007"/>
              <a:gd name="connsiteX69477" fmla="*/ 5471656 w 6884782"/>
              <a:gd name="connsiteY69477" fmla="*/ 2389121 h 5973007"/>
              <a:gd name="connsiteX69478" fmla="*/ 5483820 w 6884782"/>
              <a:gd name="connsiteY69478" fmla="*/ 2386133 h 5973007"/>
              <a:gd name="connsiteX69479" fmla="*/ 5482753 w 6884782"/>
              <a:gd name="connsiteY69479" fmla="*/ 2383288 h 5973007"/>
              <a:gd name="connsiteX69480" fmla="*/ 5485741 w 6884782"/>
              <a:gd name="connsiteY69480" fmla="*/ 2367781 h 5973007"/>
              <a:gd name="connsiteX69481" fmla="*/ 5488943 w 6884782"/>
              <a:gd name="connsiteY69481" fmla="*/ 2368350 h 5973007"/>
              <a:gd name="connsiteX69482" fmla="*/ 5489796 w 6884782"/>
              <a:gd name="connsiteY69482" fmla="*/ 2378877 h 5973007"/>
              <a:gd name="connsiteX69483" fmla="*/ 5489369 w 6884782"/>
              <a:gd name="connsiteY69483" fmla="*/ 2384568 h 5973007"/>
              <a:gd name="connsiteX69484" fmla="*/ 5495345 w 6884782"/>
              <a:gd name="connsiteY69484" fmla="*/ 2381439 h 5973007"/>
              <a:gd name="connsiteX69485" fmla="*/ 5499400 w 6884782"/>
              <a:gd name="connsiteY69485" fmla="*/ 2380869 h 5973007"/>
              <a:gd name="connsiteX69486" fmla="*/ 5505802 w 6884782"/>
              <a:gd name="connsiteY69486" fmla="*/ 2374610 h 5973007"/>
              <a:gd name="connsiteX69487" fmla="*/ 5512632 w 6884782"/>
              <a:gd name="connsiteY69487" fmla="*/ 2373614 h 5973007"/>
              <a:gd name="connsiteX69488" fmla="*/ 5510285 w 6884782"/>
              <a:gd name="connsiteY69488" fmla="*/ 2373187 h 5973007"/>
              <a:gd name="connsiteX69489" fmla="*/ 5508364 w 6884782"/>
              <a:gd name="connsiteY69489" fmla="*/ 2371906 h 5973007"/>
              <a:gd name="connsiteX69490" fmla="*/ 5508364 w 6884782"/>
              <a:gd name="connsiteY69490" fmla="*/ 2372049 h 5973007"/>
              <a:gd name="connsiteX69491" fmla="*/ 5504735 w 6884782"/>
              <a:gd name="connsiteY69491" fmla="*/ 2374467 h 5973007"/>
              <a:gd name="connsiteX69492" fmla="*/ 5495559 w 6884782"/>
              <a:gd name="connsiteY69492" fmla="*/ 2363939 h 5973007"/>
              <a:gd name="connsiteX69493" fmla="*/ 5500681 w 6884782"/>
              <a:gd name="connsiteY69493" fmla="*/ 2360667 h 5973007"/>
              <a:gd name="connsiteX69494" fmla="*/ 5502815 w 6884782"/>
              <a:gd name="connsiteY69494" fmla="*/ 2361236 h 5973007"/>
              <a:gd name="connsiteX69495" fmla="*/ 5503455 w 6884782"/>
              <a:gd name="connsiteY69495" fmla="*/ 2359956 h 5973007"/>
              <a:gd name="connsiteX69496" fmla="*/ 5509431 w 6884782"/>
              <a:gd name="connsiteY69496" fmla="*/ 2358391 h 5973007"/>
              <a:gd name="connsiteX69497" fmla="*/ 5510925 w 6884782"/>
              <a:gd name="connsiteY69497" fmla="*/ 2359102 h 5973007"/>
              <a:gd name="connsiteX69498" fmla="*/ 5520102 w 6884782"/>
              <a:gd name="connsiteY69498" fmla="*/ 2369061 h 5973007"/>
              <a:gd name="connsiteX69499" fmla="*/ 5516260 w 6884782"/>
              <a:gd name="connsiteY69499" fmla="*/ 2373045 h 5973007"/>
              <a:gd name="connsiteX69500" fmla="*/ 5531627 w 6884782"/>
              <a:gd name="connsiteY69500" fmla="*/ 2372333 h 5973007"/>
              <a:gd name="connsiteX69501" fmla="*/ 5543365 w 6884782"/>
              <a:gd name="connsiteY69501" fmla="*/ 2371622 h 5973007"/>
              <a:gd name="connsiteX69502" fmla="*/ 5555743 w 6884782"/>
              <a:gd name="connsiteY69502" fmla="*/ 2368065 h 5973007"/>
              <a:gd name="connsiteX69503" fmla="*/ 5554036 w 6884782"/>
              <a:gd name="connsiteY69503" fmla="*/ 2366927 h 5973007"/>
              <a:gd name="connsiteX69504" fmla="*/ 5551474 w 6884782"/>
              <a:gd name="connsiteY69504" fmla="*/ 2368065 h 5973007"/>
              <a:gd name="connsiteX69505" fmla="*/ 5534614 w 6884782"/>
              <a:gd name="connsiteY69505" fmla="*/ 2367638 h 5973007"/>
              <a:gd name="connsiteX69506" fmla="*/ 5548060 w 6884782"/>
              <a:gd name="connsiteY69506" fmla="*/ 2354977 h 5973007"/>
              <a:gd name="connsiteX69507" fmla="*/ 5552115 w 6884782"/>
              <a:gd name="connsiteY69507" fmla="*/ 2354123 h 5973007"/>
              <a:gd name="connsiteX69508" fmla="*/ 5556169 w 6884782"/>
              <a:gd name="connsiteY69508" fmla="*/ 2352131 h 5973007"/>
              <a:gd name="connsiteX69509" fmla="*/ 5555956 w 6884782"/>
              <a:gd name="connsiteY69509" fmla="*/ 2350708 h 5973007"/>
              <a:gd name="connsiteX69510" fmla="*/ 5570042 w 6884782"/>
              <a:gd name="connsiteY69510" fmla="*/ 2333778 h 5973007"/>
              <a:gd name="connsiteX69511" fmla="*/ 5571323 w 6884782"/>
              <a:gd name="connsiteY69511" fmla="*/ 2332071 h 5973007"/>
              <a:gd name="connsiteX69512" fmla="*/ 5567908 w 6884782"/>
              <a:gd name="connsiteY69512" fmla="*/ 2331644 h 5973007"/>
              <a:gd name="connsiteX69513" fmla="*/ 5563426 w 6884782"/>
              <a:gd name="connsiteY69513" fmla="*/ 2326665 h 5973007"/>
              <a:gd name="connsiteX69514" fmla="*/ 5558517 w 6884782"/>
              <a:gd name="connsiteY69514" fmla="*/ 2328515 h 5973007"/>
              <a:gd name="connsiteX69515" fmla="*/ 5546353 w 6884782"/>
              <a:gd name="connsiteY69515" fmla="*/ 2326665 h 5973007"/>
              <a:gd name="connsiteX69516" fmla="*/ 5542084 w 6884782"/>
              <a:gd name="connsiteY69516" fmla="*/ 2321259 h 5973007"/>
              <a:gd name="connsiteX69517" fmla="*/ 5541444 w 6884782"/>
              <a:gd name="connsiteY69517" fmla="*/ 2321259 h 5973007"/>
              <a:gd name="connsiteX69518" fmla="*/ 5538883 w 6884782"/>
              <a:gd name="connsiteY69518" fmla="*/ 2314145 h 5973007"/>
              <a:gd name="connsiteX69519" fmla="*/ 5544432 w 6884782"/>
              <a:gd name="connsiteY69519" fmla="*/ 2311443 h 5973007"/>
              <a:gd name="connsiteX69520" fmla="*/ 5546779 w 6884782"/>
              <a:gd name="connsiteY69520" fmla="*/ 2313149 h 5973007"/>
              <a:gd name="connsiteX69521" fmla="*/ 5546993 w 6884782"/>
              <a:gd name="connsiteY69521" fmla="*/ 2314430 h 5973007"/>
              <a:gd name="connsiteX69522" fmla="*/ 5546993 w 6884782"/>
              <a:gd name="connsiteY69522" fmla="*/ 2316422 h 5973007"/>
              <a:gd name="connsiteX69523" fmla="*/ 5554249 w 6884782"/>
              <a:gd name="connsiteY69523" fmla="*/ 2311158 h 5973007"/>
              <a:gd name="connsiteX69524" fmla="*/ 5572816 w 6884782"/>
              <a:gd name="connsiteY69524" fmla="*/ 2307743 h 5973007"/>
              <a:gd name="connsiteX69525" fmla="*/ 5570683 w 6884782"/>
              <a:gd name="connsiteY69525" fmla="*/ 2323820 h 5973007"/>
              <a:gd name="connsiteX69526" fmla="*/ 5570255 w 6884782"/>
              <a:gd name="connsiteY69526" fmla="*/ 2323820 h 5973007"/>
              <a:gd name="connsiteX69527" fmla="*/ 5570683 w 6884782"/>
              <a:gd name="connsiteY69527" fmla="*/ 2324815 h 5973007"/>
              <a:gd name="connsiteX69528" fmla="*/ 5573243 w 6884782"/>
              <a:gd name="connsiteY69528" fmla="*/ 2329511 h 5973007"/>
              <a:gd name="connsiteX69529" fmla="*/ 5571749 w 6884782"/>
              <a:gd name="connsiteY69529" fmla="*/ 2331502 h 5973007"/>
              <a:gd name="connsiteX69530" fmla="*/ 5584128 w 6884782"/>
              <a:gd name="connsiteY69530" fmla="*/ 2316706 h 5973007"/>
              <a:gd name="connsiteX69531" fmla="*/ 5593945 w 6884782"/>
              <a:gd name="connsiteY69531" fmla="*/ 2316706 h 5973007"/>
              <a:gd name="connsiteX69532" fmla="*/ 5593945 w 6884782"/>
              <a:gd name="connsiteY69532" fmla="*/ 2316422 h 5973007"/>
              <a:gd name="connsiteX69533" fmla="*/ 5593518 w 6884782"/>
              <a:gd name="connsiteY69533" fmla="*/ 2315284 h 5973007"/>
              <a:gd name="connsiteX69534" fmla="*/ 5592451 w 6884782"/>
              <a:gd name="connsiteY69534" fmla="*/ 2315141 h 5973007"/>
              <a:gd name="connsiteX69535" fmla="*/ 5593518 w 6884782"/>
              <a:gd name="connsiteY69535" fmla="*/ 2312865 h 5973007"/>
              <a:gd name="connsiteX69536" fmla="*/ 5601841 w 6884782"/>
              <a:gd name="connsiteY69536" fmla="*/ 2310304 h 5973007"/>
              <a:gd name="connsiteX69537" fmla="*/ 5603122 w 6884782"/>
              <a:gd name="connsiteY69537" fmla="*/ 2313861 h 5973007"/>
              <a:gd name="connsiteX69538" fmla="*/ 5602055 w 6884782"/>
              <a:gd name="connsiteY69538" fmla="*/ 2315568 h 5973007"/>
              <a:gd name="connsiteX69539" fmla="*/ 5609311 w 6884782"/>
              <a:gd name="connsiteY69539" fmla="*/ 2314145 h 5973007"/>
              <a:gd name="connsiteX69540" fmla="*/ 5633001 w 6884782"/>
              <a:gd name="connsiteY69540" fmla="*/ 2317987 h 5973007"/>
              <a:gd name="connsiteX69541" fmla="*/ 5648154 w 6884782"/>
              <a:gd name="connsiteY69541" fmla="*/ 2342172 h 5973007"/>
              <a:gd name="connsiteX69542" fmla="*/ 5647513 w 6884782"/>
              <a:gd name="connsiteY69542" fmla="*/ 2350424 h 5973007"/>
              <a:gd name="connsiteX69543" fmla="*/ 5651995 w 6884782"/>
              <a:gd name="connsiteY69543" fmla="*/ 2349997 h 5973007"/>
              <a:gd name="connsiteX69544" fmla="*/ 5662879 w 6884782"/>
              <a:gd name="connsiteY69544" fmla="*/ 2350139 h 5973007"/>
              <a:gd name="connsiteX69545" fmla="*/ 5678459 w 6884782"/>
              <a:gd name="connsiteY69545" fmla="*/ 2348574 h 5973007"/>
              <a:gd name="connsiteX69546" fmla="*/ 5692759 w 6884782"/>
              <a:gd name="connsiteY69546" fmla="*/ 2353838 h 5973007"/>
              <a:gd name="connsiteX69547" fmla="*/ 5686356 w 6884782"/>
              <a:gd name="connsiteY69547" fmla="*/ 2355261 h 5973007"/>
              <a:gd name="connsiteX69548" fmla="*/ 5692759 w 6884782"/>
              <a:gd name="connsiteY69548" fmla="*/ 2359814 h 5973007"/>
              <a:gd name="connsiteX69549" fmla="*/ 5700655 w 6884782"/>
              <a:gd name="connsiteY69549" fmla="*/ 2356684 h 5973007"/>
              <a:gd name="connsiteX69550" fmla="*/ 5696600 w 6884782"/>
              <a:gd name="connsiteY69550" fmla="*/ 2362659 h 5973007"/>
              <a:gd name="connsiteX69551" fmla="*/ 5681020 w 6884782"/>
              <a:gd name="connsiteY69551" fmla="*/ 2368634 h 5973007"/>
              <a:gd name="connsiteX69552" fmla="*/ 5665227 w 6884782"/>
              <a:gd name="connsiteY69552" fmla="*/ 2367211 h 5973007"/>
              <a:gd name="connsiteX69553" fmla="*/ 5655837 w 6884782"/>
              <a:gd name="connsiteY69553" fmla="*/ 2370768 h 5973007"/>
              <a:gd name="connsiteX69554" fmla="*/ 5646873 w 6884782"/>
              <a:gd name="connsiteY69554" fmla="*/ 2370911 h 5973007"/>
              <a:gd name="connsiteX69555" fmla="*/ 5648154 w 6884782"/>
              <a:gd name="connsiteY69555" fmla="*/ 2372618 h 5973007"/>
              <a:gd name="connsiteX69556" fmla="*/ 5646873 w 6884782"/>
              <a:gd name="connsiteY69556" fmla="*/ 2372902 h 5973007"/>
              <a:gd name="connsiteX69557" fmla="*/ 5649007 w 6884782"/>
              <a:gd name="connsiteY69557" fmla="*/ 2374752 h 5973007"/>
              <a:gd name="connsiteX69558" fmla="*/ 5655837 w 6884782"/>
              <a:gd name="connsiteY69558" fmla="*/ 2373187 h 5973007"/>
              <a:gd name="connsiteX69559" fmla="*/ 5666721 w 6884782"/>
              <a:gd name="connsiteY69559" fmla="*/ 2374610 h 5973007"/>
              <a:gd name="connsiteX69560" fmla="*/ 5682514 w 6884782"/>
              <a:gd name="connsiteY69560" fmla="*/ 2371622 h 5973007"/>
              <a:gd name="connsiteX69561" fmla="*/ 5674618 w 6884782"/>
              <a:gd name="connsiteY69561" fmla="*/ 2374610 h 5973007"/>
              <a:gd name="connsiteX69562" fmla="*/ 5692759 w 6884782"/>
              <a:gd name="connsiteY69562" fmla="*/ 2374610 h 5973007"/>
              <a:gd name="connsiteX69563" fmla="*/ 5688704 w 6884782"/>
              <a:gd name="connsiteY69563" fmla="*/ 2373187 h 5973007"/>
              <a:gd name="connsiteX69564" fmla="*/ 5700655 w 6884782"/>
              <a:gd name="connsiteY69564" fmla="*/ 2374610 h 5973007"/>
              <a:gd name="connsiteX69565" fmla="*/ 5710686 w 6884782"/>
              <a:gd name="connsiteY69565" fmla="*/ 2370911 h 5973007"/>
              <a:gd name="connsiteX69566" fmla="*/ 5712180 w 6884782"/>
              <a:gd name="connsiteY69566" fmla="*/ 2371338 h 5973007"/>
              <a:gd name="connsiteX69567" fmla="*/ 5726265 w 6884782"/>
              <a:gd name="connsiteY69567" fmla="*/ 2363086 h 5973007"/>
              <a:gd name="connsiteX69568" fmla="*/ 5730534 w 6884782"/>
              <a:gd name="connsiteY69568" fmla="*/ 2364224 h 5973007"/>
              <a:gd name="connsiteX69569" fmla="*/ 5730960 w 6884782"/>
              <a:gd name="connsiteY69569" fmla="*/ 2365078 h 5973007"/>
              <a:gd name="connsiteX69570" fmla="*/ 5732028 w 6884782"/>
              <a:gd name="connsiteY69570" fmla="*/ 2362659 h 5973007"/>
              <a:gd name="connsiteX69571" fmla="*/ 5735443 w 6884782"/>
              <a:gd name="connsiteY69571" fmla="*/ 2364366 h 5973007"/>
              <a:gd name="connsiteX69572" fmla="*/ 5733948 w 6884782"/>
              <a:gd name="connsiteY69572" fmla="*/ 2369061 h 5973007"/>
              <a:gd name="connsiteX69573" fmla="*/ 5732028 w 6884782"/>
              <a:gd name="connsiteY69573" fmla="*/ 2369346 h 5973007"/>
              <a:gd name="connsiteX69574" fmla="*/ 5731601 w 6884782"/>
              <a:gd name="connsiteY69574" fmla="*/ 2369061 h 5973007"/>
              <a:gd name="connsiteX69575" fmla="*/ 5729467 w 6884782"/>
              <a:gd name="connsiteY69575" fmla="*/ 2372191 h 5973007"/>
              <a:gd name="connsiteX69576" fmla="*/ 5733522 w 6884782"/>
              <a:gd name="connsiteY69576" fmla="*/ 2373187 h 5973007"/>
              <a:gd name="connsiteX69577" fmla="*/ 5741418 w 6884782"/>
              <a:gd name="connsiteY69577" fmla="*/ 2376175 h 5973007"/>
              <a:gd name="connsiteX69578" fmla="*/ 5746754 w 6884782"/>
              <a:gd name="connsiteY69578" fmla="*/ 2376175 h 5973007"/>
              <a:gd name="connsiteX69579" fmla="*/ 5745686 w 6884782"/>
              <a:gd name="connsiteY69579" fmla="*/ 2371195 h 5973007"/>
              <a:gd name="connsiteX69580" fmla="*/ 5746540 w 6884782"/>
              <a:gd name="connsiteY69580" fmla="*/ 2364509 h 5973007"/>
              <a:gd name="connsiteX69581" fmla="*/ 5752302 w 6884782"/>
              <a:gd name="connsiteY69581" fmla="*/ 2365646 h 5973007"/>
              <a:gd name="connsiteX69582" fmla="*/ 5757638 w 6884782"/>
              <a:gd name="connsiteY69582" fmla="*/ 2362659 h 5973007"/>
              <a:gd name="connsiteX69583" fmla="*/ 5764468 w 6884782"/>
              <a:gd name="connsiteY69583" fmla="*/ 2360241 h 5973007"/>
              <a:gd name="connsiteX69584" fmla="*/ 5766175 w 6884782"/>
              <a:gd name="connsiteY69584" fmla="*/ 2344164 h 5973007"/>
              <a:gd name="connsiteX69585" fmla="*/ 5764681 w 6884782"/>
              <a:gd name="connsiteY69585" fmla="*/ 2338331 h 5973007"/>
              <a:gd name="connsiteX69586" fmla="*/ 5762973 w 6884782"/>
              <a:gd name="connsiteY69586" fmla="*/ 2339469 h 5973007"/>
              <a:gd name="connsiteX69587" fmla="*/ 5757211 w 6884782"/>
              <a:gd name="connsiteY69587" fmla="*/ 2342314 h 5973007"/>
              <a:gd name="connsiteX69588" fmla="*/ 5754010 w 6884782"/>
              <a:gd name="connsiteY69588" fmla="*/ 2331218 h 5973007"/>
              <a:gd name="connsiteX69589" fmla="*/ 5755077 w 6884782"/>
              <a:gd name="connsiteY69589" fmla="*/ 2330080 h 5973007"/>
              <a:gd name="connsiteX69590" fmla="*/ 5757851 w 6884782"/>
              <a:gd name="connsiteY69590" fmla="*/ 2328372 h 5973007"/>
              <a:gd name="connsiteX69591" fmla="*/ 5754010 w 6884782"/>
              <a:gd name="connsiteY69591" fmla="*/ 2326096 h 5973007"/>
              <a:gd name="connsiteX69592" fmla="*/ 5739071 w 6884782"/>
              <a:gd name="connsiteY69592" fmla="*/ 2325242 h 5973007"/>
              <a:gd name="connsiteX69593" fmla="*/ 5738003 w 6884782"/>
              <a:gd name="connsiteY69593" fmla="*/ 2314714 h 5973007"/>
              <a:gd name="connsiteX69594" fmla="*/ 5752942 w 6884782"/>
              <a:gd name="connsiteY69594" fmla="*/ 2314003 h 5973007"/>
              <a:gd name="connsiteX69595" fmla="*/ 5760839 w 6884782"/>
              <a:gd name="connsiteY69595" fmla="*/ 2307459 h 5973007"/>
              <a:gd name="connsiteX69596" fmla="*/ 5765535 w 6884782"/>
              <a:gd name="connsiteY69596" fmla="*/ 2289959 h 5973007"/>
              <a:gd name="connsiteX69597" fmla="*/ 5767669 w 6884782"/>
              <a:gd name="connsiteY69597" fmla="*/ 2286118 h 5973007"/>
              <a:gd name="connsiteX69598" fmla="*/ 5765748 w 6884782"/>
              <a:gd name="connsiteY69598" fmla="*/ 2285549 h 5973007"/>
              <a:gd name="connsiteX69599" fmla="*/ 5755930 w 6884782"/>
              <a:gd name="connsiteY69599" fmla="*/ 2265774 h 5973007"/>
              <a:gd name="connsiteX69600" fmla="*/ 5754864 w 6884782"/>
              <a:gd name="connsiteY69600" fmla="*/ 2263924 h 5973007"/>
              <a:gd name="connsiteX69601" fmla="*/ 5753156 w 6884782"/>
              <a:gd name="connsiteY69601" fmla="*/ 2266912 h 5973007"/>
              <a:gd name="connsiteX69602" fmla="*/ 5746540 w 6884782"/>
              <a:gd name="connsiteY69602" fmla="*/ 2269046 h 5973007"/>
              <a:gd name="connsiteX69603" fmla="*/ 5739071 w 6884782"/>
              <a:gd name="connsiteY69603" fmla="*/ 2267481 h 5973007"/>
              <a:gd name="connsiteX69604" fmla="*/ 5742699 w 6884782"/>
              <a:gd name="connsiteY69604" fmla="*/ 2261079 h 5973007"/>
              <a:gd name="connsiteX69605" fmla="*/ 5753370 w 6884782"/>
              <a:gd name="connsiteY69605" fmla="*/ 2261079 h 5973007"/>
              <a:gd name="connsiteX69606" fmla="*/ 5754650 w 6884782"/>
              <a:gd name="connsiteY69606" fmla="*/ 2263213 h 5973007"/>
              <a:gd name="connsiteX69607" fmla="*/ 5745900 w 6884782"/>
              <a:gd name="connsiteY69607" fmla="*/ 2246141 h 5973007"/>
              <a:gd name="connsiteX69608" fmla="*/ 5767028 w 6884782"/>
              <a:gd name="connsiteY69608" fmla="*/ 2201895 h 5973007"/>
              <a:gd name="connsiteX69609" fmla="*/ 5770870 w 6884782"/>
              <a:gd name="connsiteY69609" fmla="*/ 2202464 h 5973007"/>
              <a:gd name="connsiteX69610" fmla="*/ 5771297 w 6884782"/>
              <a:gd name="connsiteY69610" fmla="*/ 2202037 h 5973007"/>
              <a:gd name="connsiteX69611" fmla="*/ 5775139 w 6884782"/>
              <a:gd name="connsiteY69611" fmla="*/ 2200757 h 5973007"/>
              <a:gd name="connsiteX69612" fmla="*/ 5777272 w 6884782"/>
              <a:gd name="connsiteY69612" fmla="*/ 2202180 h 5973007"/>
              <a:gd name="connsiteX69613" fmla="*/ 5783889 w 6884782"/>
              <a:gd name="connsiteY69613" fmla="*/ 2200900 h 5973007"/>
              <a:gd name="connsiteX69614" fmla="*/ 5785169 w 6884782"/>
              <a:gd name="connsiteY69614" fmla="*/ 2201042 h 5973007"/>
              <a:gd name="connsiteX69615" fmla="*/ 5787517 w 6884782"/>
              <a:gd name="connsiteY69615" fmla="*/ 2200330 h 5973007"/>
              <a:gd name="connsiteX69616" fmla="*/ 5786877 w 6884782"/>
              <a:gd name="connsiteY69616" fmla="*/ 2195778 h 5973007"/>
              <a:gd name="connsiteX69617" fmla="*/ 5790078 w 6884782"/>
              <a:gd name="connsiteY69617" fmla="*/ 2192932 h 5973007"/>
              <a:gd name="connsiteX69618" fmla="*/ 5794773 w 6884782"/>
              <a:gd name="connsiteY69618" fmla="*/ 2193217 h 5973007"/>
              <a:gd name="connsiteX69619" fmla="*/ 5797548 w 6884782"/>
              <a:gd name="connsiteY69619" fmla="*/ 2195066 h 5973007"/>
              <a:gd name="connsiteX69620" fmla="*/ 5798188 w 6884782"/>
              <a:gd name="connsiteY69620" fmla="*/ 2199050 h 5973007"/>
              <a:gd name="connsiteX69621" fmla="*/ 5798188 w 6884782"/>
              <a:gd name="connsiteY69621" fmla="*/ 2199334 h 5973007"/>
              <a:gd name="connsiteX69622" fmla="*/ 5808219 w 6884782"/>
              <a:gd name="connsiteY69622" fmla="*/ 2204598 h 5973007"/>
              <a:gd name="connsiteX69623" fmla="*/ 5809285 w 6884782"/>
              <a:gd name="connsiteY69623" fmla="*/ 2199050 h 5973007"/>
              <a:gd name="connsiteX69624" fmla="*/ 5804804 w 6884782"/>
              <a:gd name="connsiteY69624" fmla="*/ 2189660 h 5973007"/>
              <a:gd name="connsiteX69625" fmla="*/ 5792212 w 6884782"/>
              <a:gd name="connsiteY69625" fmla="*/ 2181693 h 5973007"/>
              <a:gd name="connsiteX69626" fmla="*/ 5789224 w 6884782"/>
              <a:gd name="connsiteY69626" fmla="*/ 2174580 h 5973007"/>
              <a:gd name="connsiteX69627" fmla="*/ 5778553 w 6884782"/>
              <a:gd name="connsiteY69627" fmla="*/ 2166755 h 5973007"/>
              <a:gd name="connsiteX69628" fmla="*/ 5777059 w 6884782"/>
              <a:gd name="connsiteY69628" fmla="*/ 2163198 h 5973007"/>
              <a:gd name="connsiteX69629" fmla="*/ 5780474 w 6884782"/>
              <a:gd name="connsiteY69629" fmla="*/ 2165190 h 5973007"/>
              <a:gd name="connsiteX69630" fmla="*/ 5784102 w 6884782"/>
              <a:gd name="connsiteY69630" fmla="*/ 2168889 h 5973007"/>
              <a:gd name="connsiteX69631" fmla="*/ 5787730 w 6884782"/>
              <a:gd name="connsiteY69631" fmla="*/ 2169174 h 5973007"/>
              <a:gd name="connsiteX69632" fmla="*/ 5789224 w 6884782"/>
              <a:gd name="connsiteY69632" fmla="*/ 2172872 h 5973007"/>
              <a:gd name="connsiteX69633" fmla="*/ 5800322 w 6884782"/>
              <a:gd name="connsiteY69633" fmla="*/ 2173584 h 5973007"/>
              <a:gd name="connsiteX69634" fmla="*/ 5808859 w 6884782"/>
              <a:gd name="connsiteY69634" fmla="*/ 2184538 h 5973007"/>
              <a:gd name="connsiteX69635" fmla="*/ 5828920 w 6884782"/>
              <a:gd name="connsiteY69635" fmla="*/ 2185961 h 5973007"/>
              <a:gd name="connsiteX69636" fmla="*/ 5833189 w 6884782"/>
              <a:gd name="connsiteY69636" fmla="*/ 2156511 h 5973007"/>
              <a:gd name="connsiteX69637" fmla="*/ 5872458 w 6884782"/>
              <a:gd name="connsiteY69637" fmla="*/ 2148687 h 5973007"/>
              <a:gd name="connsiteX69638" fmla="*/ 5873738 w 6884782"/>
              <a:gd name="connsiteY69638" fmla="*/ 2144845 h 5973007"/>
              <a:gd name="connsiteX69639" fmla="*/ 5873952 w 6884782"/>
              <a:gd name="connsiteY69639" fmla="*/ 2142427 h 5973007"/>
              <a:gd name="connsiteX69640" fmla="*/ 5871604 w 6884782"/>
              <a:gd name="connsiteY69640" fmla="*/ 2140720 h 5973007"/>
              <a:gd name="connsiteX69641" fmla="*/ 5869470 w 6884782"/>
              <a:gd name="connsiteY69641" fmla="*/ 2130334 h 5973007"/>
              <a:gd name="connsiteX69642" fmla="*/ 5870537 w 6884782"/>
              <a:gd name="connsiteY69642" fmla="*/ 2129765 h 5973007"/>
              <a:gd name="connsiteX69643" fmla="*/ 5865202 w 6884782"/>
              <a:gd name="connsiteY69643" fmla="*/ 2124785 h 5973007"/>
              <a:gd name="connsiteX69644" fmla="*/ 5879287 w 6884782"/>
              <a:gd name="connsiteY69644" fmla="*/ 2113689 h 5973007"/>
              <a:gd name="connsiteX69645" fmla="*/ 5881848 w 6884782"/>
              <a:gd name="connsiteY69645" fmla="*/ 2112977 h 5973007"/>
              <a:gd name="connsiteX69646" fmla="*/ 5881208 w 6884782"/>
              <a:gd name="connsiteY69646" fmla="*/ 2111981 h 5973007"/>
              <a:gd name="connsiteX69647" fmla="*/ 5882916 w 6884782"/>
              <a:gd name="connsiteY69647" fmla="*/ 2112408 h 5973007"/>
              <a:gd name="connsiteX69648" fmla="*/ 5883129 w 6884782"/>
              <a:gd name="connsiteY69648" fmla="*/ 2112266 h 5973007"/>
              <a:gd name="connsiteX69649" fmla="*/ 5884196 w 6884782"/>
              <a:gd name="connsiteY69649" fmla="*/ 2111697 h 5973007"/>
              <a:gd name="connsiteX69650" fmla="*/ 5889105 w 6884782"/>
              <a:gd name="connsiteY69650" fmla="*/ 2112124 h 5973007"/>
              <a:gd name="connsiteX69651" fmla="*/ 5889958 w 6884782"/>
              <a:gd name="connsiteY69651" fmla="*/ 2114827 h 5973007"/>
              <a:gd name="connsiteX69652" fmla="*/ 5886544 w 6884782"/>
              <a:gd name="connsiteY69652" fmla="*/ 2121228 h 5973007"/>
              <a:gd name="connsiteX69653" fmla="*/ 5891025 w 6884782"/>
              <a:gd name="connsiteY69653" fmla="*/ 2128484 h 5973007"/>
              <a:gd name="connsiteX69654" fmla="*/ 5892733 w 6884782"/>
              <a:gd name="connsiteY69654" fmla="*/ 2130903 h 5973007"/>
              <a:gd name="connsiteX69655" fmla="*/ 5894227 w 6884782"/>
              <a:gd name="connsiteY69655" fmla="*/ 2130761 h 5973007"/>
              <a:gd name="connsiteX69656" fmla="*/ 5891239 w 6884782"/>
              <a:gd name="connsiteY69656" fmla="*/ 2121798 h 5973007"/>
              <a:gd name="connsiteX69657" fmla="*/ 5898708 w 6884782"/>
              <a:gd name="connsiteY69657" fmla="*/ 2120517 h 5973007"/>
              <a:gd name="connsiteX69658" fmla="*/ 5903190 w 6884782"/>
              <a:gd name="connsiteY69658" fmla="*/ 2133179 h 5973007"/>
              <a:gd name="connsiteX69659" fmla="*/ 5926026 w 6884782"/>
              <a:gd name="connsiteY69659" fmla="*/ 2125923 h 5973007"/>
              <a:gd name="connsiteX69660" fmla="*/ 5923892 w 6884782"/>
              <a:gd name="connsiteY69660" fmla="*/ 2106575 h 5973007"/>
              <a:gd name="connsiteX69661" fmla="*/ 5920050 w 6884782"/>
              <a:gd name="connsiteY69661" fmla="*/ 2105295 h 5973007"/>
              <a:gd name="connsiteX69662" fmla="*/ 5915995 w 6884782"/>
              <a:gd name="connsiteY69662" fmla="*/ 2105863 h 5973007"/>
              <a:gd name="connsiteX69663" fmla="*/ 5915995 w 6884782"/>
              <a:gd name="connsiteY69663" fmla="*/ 2107144 h 5973007"/>
              <a:gd name="connsiteX69664" fmla="*/ 5913434 w 6884782"/>
              <a:gd name="connsiteY69664" fmla="*/ 2112408 h 5973007"/>
              <a:gd name="connsiteX69665" fmla="*/ 5915355 w 6884782"/>
              <a:gd name="connsiteY69665" fmla="*/ 2113119 h 5973007"/>
              <a:gd name="connsiteX69666" fmla="*/ 5917276 w 6884782"/>
              <a:gd name="connsiteY69666" fmla="*/ 2118383 h 5973007"/>
              <a:gd name="connsiteX69667" fmla="*/ 5916636 w 6884782"/>
              <a:gd name="connsiteY69667" fmla="*/ 2117387 h 5973007"/>
              <a:gd name="connsiteX69668" fmla="*/ 5914715 w 6884782"/>
              <a:gd name="connsiteY69668" fmla="*/ 2118668 h 5973007"/>
              <a:gd name="connsiteX69669" fmla="*/ 5915142 w 6884782"/>
              <a:gd name="connsiteY69669" fmla="*/ 2119806 h 5973007"/>
              <a:gd name="connsiteX69670" fmla="*/ 5912581 w 6884782"/>
              <a:gd name="connsiteY69670" fmla="*/ 2119948 h 5973007"/>
              <a:gd name="connsiteX69671" fmla="*/ 5905751 w 6884782"/>
              <a:gd name="connsiteY69671" fmla="*/ 2114684 h 5973007"/>
              <a:gd name="connsiteX69672" fmla="*/ 5907459 w 6884782"/>
              <a:gd name="connsiteY69672" fmla="*/ 2112408 h 5973007"/>
              <a:gd name="connsiteX69673" fmla="*/ 5904471 w 6884782"/>
              <a:gd name="connsiteY69673" fmla="*/ 2112266 h 5973007"/>
              <a:gd name="connsiteX69674" fmla="*/ 5901696 w 6884782"/>
              <a:gd name="connsiteY69674" fmla="*/ 2110274 h 5973007"/>
              <a:gd name="connsiteX69675" fmla="*/ 5898068 w 6884782"/>
              <a:gd name="connsiteY69675" fmla="*/ 2105863 h 5973007"/>
              <a:gd name="connsiteX69676" fmla="*/ 5896574 w 6884782"/>
              <a:gd name="connsiteY69676" fmla="*/ 2107998 h 5973007"/>
              <a:gd name="connsiteX69677" fmla="*/ 5893800 w 6884782"/>
              <a:gd name="connsiteY69677" fmla="*/ 2109562 h 5973007"/>
              <a:gd name="connsiteX69678" fmla="*/ 5891025 w 6884782"/>
              <a:gd name="connsiteY69678" fmla="*/ 2108851 h 5973007"/>
              <a:gd name="connsiteX69679" fmla="*/ 5890812 w 6884782"/>
              <a:gd name="connsiteY69679" fmla="*/ 2107713 h 5973007"/>
              <a:gd name="connsiteX69680" fmla="*/ 5889532 w 6884782"/>
              <a:gd name="connsiteY69680" fmla="*/ 2103303 h 5973007"/>
              <a:gd name="connsiteX69681" fmla="*/ 5891879 w 6884782"/>
              <a:gd name="connsiteY69681" fmla="*/ 2100315 h 5973007"/>
              <a:gd name="connsiteX69682" fmla="*/ 5894440 w 6884782"/>
              <a:gd name="connsiteY69682" fmla="*/ 2099035 h 5973007"/>
              <a:gd name="connsiteX69683" fmla="*/ 5894013 w 6884782"/>
              <a:gd name="connsiteY69683" fmla="*/ 2097754 h 5973007"/>
              <a:gd name="connsiteX69684" fmla="*/ 5897215 w 6884782"/>
              <a:gd name="connsiteY69684" fmla="*/ 2087795 h 5973007"/>
              <a:gd name="connsiteX69685" fmla="*/ 5898495 w 6884782"/>
              <a:gd name="connsiteY69685" fmla="*/ 2088080 h 5973007"/>
              <a:gd name="connsiteX69686" fmla="*/ 5896574 w 6884782"/>
              <a:gd name="connsiteY69686" fmla="*/ 2080398 h 5973007"/>
              <a:gd name="connsiteX69687" fmla="*/ 5905324 w 6884782"/>
              <a:gd name="connsiteY69687" fmla="*/ 2078264 h 5973007"/>
              <a:gd name="connsiteX69688" fmla="*/ 5913648 w 6884782"/>
              <a:gd name="connsiteY69688" fmla="*/ 2081109 h 5973007"/>
              <a:gd name="connsiteX69689" fmla="*/ 5915995 w 6884782"/>
              <a:gd name="connsiteY69689" fmla="*/ 2082389 h 5973007"/>
              <a:gd name="connsiteX69690" fmla="*/ 5915995 w 6884782"/>
              <a:gd name="connsiteY69690" fmla="*/ 2081109 h 5973007"/>
              <a:gd name="connsiteX69691" fmla="*/ 5917276 w 6884782"/>
              <a:gd name="connsiteY69691" fmla="*/ 2082531 h 5973007"/>
              <a:gd name="connsiteX69692" fmla="*/ 5917276 w 6884782"/>
              <a:gd name="connsiteY69692" fmla="*/ 2082389 h 5973007"/>
              <a:gd name="connsiteX69693" fmla="*/ 5918983 w 6884782"/>
              <a:gd name="connsiteY69693" fmla="*/ 2069443 h 5973007"/>
              <a:gd name="connsiteX69694" fmla="*/ 5927093 w 6884782"/>
              <a:gd name="connsiteY69694" fmla="*/ 2084950 h 5973007"/>
              <a:gd name="connsiteX69695" fmla="*/ 5933709 w 6884782"/>
              <a:gd name="connsiteY69695" fmla="*/ 2097896 h 5973007"/>
              <a:gd name="connsiteX69696" fmla="*/ 5934136 w 6884782"/>
              <a:gd name="connsiteY69696" fmla="*/ 2097754 h 5973007"/>
              <a:gd name="connsiteX69697" fmla="*/ 5933709 w 6884782"/>
              <a:gd name="connsiteY69697" fmla="*/ 2098039 h 5973007"/>
              <a:gd name="connsiteX69698" fmla="*/ 5934136 w 6884782"/>
              <a:gd name="connsiteY69698" fmla="*/ 2098750 h 5973007"/>
              <a:gd name="connsiteX69699" fmla="*/ 5934776 w 6884782"/>
              <a:gd name="connsiteY69699" fmla="*/ 2100031 h 5973007"/>
              <a:gd name="connsiteX69700" fmla="*/ 5937978 w 6884782"/>
              <a:gd name="connsiteY69700" fmla="*/ 2099177 h 5973007"/>
              <a:gd name="connsiteX69701" fmla="*/ 5940325 w 6884782"/>
              <a:gd name="connsiteY69701" fmla="*/ 2101026 h 5973007"/>
              <a:gd name="connsiteX69702" fmla="*/ 5942887 w 6884782"/>
              <a:gd name="connsiteY69702" fmla="*/ 2105437 h 5973007"/>
              <a:gd name="connsiteX69703" fmla="*/ 5942673 w 6884782"/>
              <a:gd name="connsiteY69703" fmla="*/ 2106717 h 5973007"/>
              <a:gd name="connsiteX69704" fmla="*/ 5943527 w 6884782"/>
              <a:gd name="connsiteY69704" fmla="*/ 2105863 h 5973007"/>
              <a:gd name="connsiteX69705" fmla="*/ 5948222 w 6884782"/>
              <a:gd name="connsiteY69705" fmla="*/ 2105579 h 5973007"/>
              <a:gd name="connsiteX69706" fmla="*/ 5951210 w 6884782"/>
              <a:gd name="connsiteY69706" fmla="*/ 2107286 h 5973007"/>
              <a:gd name="connsiteX69707" fmla="*/ 5952490 w 6884782"/>
              <a:gd name="connsiteY69707" fmla="*/ 2111127 h 5973007"/>
              <a:gd name="connsiteX69708" fmla="*/ 5951423 w 6884782"/>
              <a:gd name="connsiteY69708" fmla="*/ 2114399 h 5973007"/>
              <a:gd name="connsiteX69709" fmla="*/ 5948435 w 6884782"/>
              <a:gd name="connsiteY69709" fmla="*/ 2116676 h 5973007"/>
              <a:gd name="connsiteX69710" fmla="*/ 5946301 w 6884782"/>
              <a:gd name="connsiteY69710" fmla="*/ 2117672 h 5973007"/>
              <a:gd name="connsiteX69711" fmla="*/ 5946942 w 6884782"/>
              <a:gd name="connsiteY69711" fmla="*/ 2118526 h 5973007"/>
              <a:gd name="connsiteX69712" fmla="*/ 5958039 w 6884782"/>
              <a:gd name="connsiteY69712" fmla="*/ 2117529 h 5973007"/>
              <a:gd name="connsiteX69713" fmla="*/ 5971271 w 6884782"/>
              <a:gd name="connsiteY69713" fmla="*/ 2116676 h 5973007"/>
              <a:gd name="connsiteX69714" fmla="*/ 5989626 w 6884782"/>
              <a:gd name="connsiteY69714" fmla="*/ 2117956 h 5973007"/>
              <a:gd name="connsiteX69715" fmla="*/ 5999442 w 6884782"/>
              <a:gd name="connsiteY69715" fmla="*/ 2108140 h 5973007"/>
              <a:gd name="connsiteX69716" fmla="*/ 6007339 w 6884782"/>
              <a:gd name="connsiteY69716" fmla="*/ 2077126 h 5973007"/>
              <a:gd name="connsiteX69717" fmla="*/ 6008406 w 6884782"/>
              <a:gd name="connsiteY69717" fmla="*/ 2063183 h 5973007"/>
              <a:gd name="connsiteX69718" fmla="*/ 6018010 w 6884782"/>
              <a:gd name="connsiteY69718" fmla="*/ 2056781 h 5973007"/>
              <a:gd name="connsiteX69719" fmla="*/ 6013528 w 6884782"/>
              <a:gd name="connsiteY69719" fmla="*/ 2119522 h 5973007"/>
              <a:gd name="connsiteX69720" fmla="*/ 6039352 w 6884782"/>
              <a:gd name="connsiteY69720" fmla="*/ 2119522 h 5973007"/>
              <a:gd name="connsiteX69721" fmla="*/ 6044261 w 6884782"/>
              <a:gd name="connsiteY69721" fmla="*/ 2113262 h 5973007"/>
              <a:gd name="connsiteX69722" fmla="*/ 6042981 w 6884782"/>
              <a:gd name="connsiteY69722" fmla="*/ 2110986 h 5973007"/>
              <a:gd name="connsiteX69723" fmla="*/ 6048529 w 6884782"/>
              <a:gd name="connsiteY69723" fmla="*/ 2105579 h 5973007"/>
              <a:gd name="connsiteX69724" fmla="*/ 6048956 w 6884782"/>
              <a:gd name="connsiteY69724" fmla="*/ 2107429 h 5973007"/>
              <a:gd name="connsiteX69725" fmla="*/ 6049169 w 6884782"/>
              <a:gd name="connsiteY69725" fmla="*/ 2107429 h 5973007"/>
              <a:gd name="connsiteX69726" fmla="*/ 6057066 w 6884782"/>
              <a:gd name="connsiteY69726" fmla="*/ 2105010 h 5973007"/>
              <a:gd name="connsiteX69727" fmla="*/ 6061121 w 6884782"/>
              <a:gd name="connsiteY69727" fmla="*/ 2128057 h 5973007"/>
              <a:gd name="connsiteX69728" fmla="*/ 6088652 w 6884782"/>
              <a:gd name="connsiteY69728" fmla="*/ 2127631 h 5973007"/>
              <a:gd name="connsiteX69729" fmla="*/ 6089506 w 6884782"/>
              <a:gd name="connsiteY69729" fmla="*/ 2127773 h 5973007"/>
              <a:gd name="connsiteX69730" fmla="*/ 6092067 w 6884782"/>
              <a:gd name="connsiteY69730" fmla="*/ 2123932 h 5973007"/>
              <a:gd name="connsiteX69731" fmla="*/ 6101031 w 6884782"/>
              <a:gd name="connsiteY69731" fmla="*/ 2106006 h 5973007"/>
              <a:gd name="connsiteX69732" fmla="*/ 6102311 w 6884782"/>
              <a:gd name="connsiteY69732" fmla="*/ 2104156 h 5973007"/>
              <a:gd name="connsiteX69733" fmla="*/ 6098469 w 6884782"/>
              <a:gd name="connsiteY69733" fmla="*/ 2101596 h 5973007"/>
              <a:gd name="connsiteX69734" fmla="*/ 6098896 w 6884782"/>
              <a:gd name="connsiteY69734" fmla="*/ 2100315 h 5973007"/>
              <a:gd name="connsiteX69735" fmla="*/ 6097402 w 6884782"/>
              <a:gd name="connsiteY69735" fmla="*/ 2100173 h 5973007"/>
              <a:gd name="connsiteX69736" fmla="*/ 6093774 w 6884782"/>
              <a:gd name="connsiteY69736" fmla="*/ 2098039 h 5973007"/>
              <a:gd name="connsiteX69737" fmla="*/ 6090786 w 6884782"/>
              <a:gd name="connsiteY69737" fmla="*/ 2082389 h 5973007"/>
              <a:gd name="connsiteX69738" fmla="*/ 6101031 w 6884782"/>
              <a:gd name="connsiteY69738" fmla="*/ 2076841 h 5973007"/>
              <a:gd name="connsiteX69739" fmla="*/ 6099750 w 6884782"/>
              <a:gd name="connsiteY69739" fmla="*/ 2076841 h 5973007"/>
              <a:gd name="connsiteX69740" fmla="*/ 6087372 w 6884782"/>
              <a:gd name="connsiteY69740" fmla="*/ 2059626 h 5973007"/>
              <a:gd name="connsiteX69741" fmla="*/ 6091000 w 6884782"/>
              <a:gd name="connsiteY69741" fmla="*/ 2061049 h 5973007"/>
              <a:gd name="connsiteX69742" fmla="*/ 6092067 w 6884782"/>
              <a:gd name="connsiteY69742" fmla="*/ 2062187 h 5973007"/>
              <a:gd name="connsiteX69743" fmla="*/ 6093348 w 6884782"/>
              <a:gd name="connsiteY69743" fmla="*/ 2062329 h 5973007"/>
              <a:gd name="connsiteX69744" fmla="*/ 6093348 w 6884782"/>
              <a:gd name="connsiteY69744" fmla="*/ 2063468 h 5973007"/>
              <a:gd name="connsiteX69745" fmla="*/ 6095908 w 6884782"/>
              <a:gd name="connsiteY69745" fmla="*/ 2066028 h 5973007"/>
              <a:gd name="connsiteX69746" fmla="*/ 6102951 w 6884782"/>
              <a:gd name="connsiteY69746" fmla="*/ 2069870 h 5973007"/>
              <a:gd name="connsiteX69747" fmla="*/ 6108073 w 6884782"/>
              <a:gd name="connsiteY69747" fmla="*/ 2077267 h 5973007"/>
              <a:gd name="connsiteX69748" fmla="*/ 6105726 w 6884782"/>
              <a:gd name="connsiteY69748" fmla="*/ 2079544 h 5973007"/>
              <a:gd name="connsiteX69749" fmla="*/ 6108073 w 6884782"/>
              <a:gd name="connsiteY69749" fmla="*/ 2081962 h 5973007"/>
              <a:gd name="connsiteX69750" fmla="*/ 6111702 w 6884782"/>
              <a:gd name="connsiteY69750" fmla="*/ 2088934 h 5973007"/>
              <a:gd name="connsiteX69751" fmla="*/ 6108927 w 6884782"/>
              <a:gd name="connsiteY69751" fmla="*/ 2094909 h 5973007"/>
              <a:gd name="connsiteX69752" fmla="*/ 6109140 w 6884782"/>
              <a:gd name="connsiteY69752" fmla="*/ 2095194 h 5973007"/>
              <a:gd name="connsiteX69753" fmla="*/ 6115756 w 6884782"/>
              <a:gd name="connsiteY69753" fmla="*/ 2088507 h 5973007"/>
              <a:gd name="connsiteX69754" fmla="*/ 6098469 w 6884782"/>
              <a:gd name="connsiteY69754" fmla="*/ 2133037 h 5973007"/>
              <a:gd name="connsiteX69755" fmla="*/ 6096548 w 6884782"/>
              <a:gd name="connsiteY69755" fmla="*/ 2134033 h 5973007"/>
              <a:gd name="connsiteX69756" fmla="*/ 6097829 w 6884782"/>
              <a:gd name="connsiteY69756" fmla="*/ 2141858 h 5973007"/>
              <a:gd name="connsiteX69757" fmla="*/ 6099750 w 6884782"/>
              <a:gd name="connsiteY69757" fmla="*/ 2155089 h 5973007"/>
              <a:gd name="connsiteX69758" fmla="*/ 6127708 w 6884782"/>
              <a:gd name="connsiteY69758" fmla="*/ 2151817 h 5973007"/>
              <a:gd name="connsiteX69759" fmla="*/ 6127281 w 6884782"/>
              <a:gd name="connsiteY69759" fmla="*/ 2158646 h 5973007"/>
              <a:gd name="connsiteX69760" fmla="*/ 6123226 w 6884782"/>
              <a:gd name="connsiteY69760" fmla="*/ 2163625 h 5973007"/>
              <a:gd name="connsiteX69761" fmla="*/ 6130909 w 6884782"/>
              <a:gd name="connsiteY69761" fmla="*/ 2185250 h 5973007"/>
              <a:gd name="connsiteX69762" fmla="*/ 6149477 w 6884782"/>
              <a:gd name="connsiteY69762" fmla="*/ 2184680 h 5973007"/>
              <a:gd name="connsiteX69763" fmla="*/ 6151611 w 6884782"/>
              <a:gd name="connsiteY69763" fmla="*/ 2181408 h 5973007"/>
              <a:gd name="connsiteX69764" fmla="*/ 6159294 w 6884782"/>
              <a:gd name="connsiteY69764" fmla="*/ 2176713 h 5973007"/>
              <a:gd name="connsiteX69765" fmla="*/ 6164629 w 6884782"/>
              <a:gd name="connsiteY69765" fmla="*/ 2180413 h 5973007"/>
              <a:gd name="connsiteX69766" fmla="*/ 6162069 w 6884782"/>
              <a:gd name="connsiteY69766" fmla="*/ 2189091 h 5973007"/>
              <a:gd name="connsiteX69767" fmla="*/ 6156093 w 6884782"/>
              <a:gd name="connsiteY69767" fmla="*/ 2193928 h 5973007"/>
              <a:gd name="connsiteX69768" fmla="*/ 6152251 w 6884782"/>
              <a:gd name="connsiteY69768" fmla="*/ 2195351 h 5973007"/>
              <a:gd name="connsiteX69769" fmla="*/ 6153105 w 6884782"/>
              <a:gd name="connsiteY69769" fmla="*/ 2211285 h 5973007"/>
              <a:gd name="connsiteX69770" fmla="*/ 6171245 w 6884782"/>
              <a:gd name="connsiteY69770" fmla="*/ 2215980 h 5973007"/>
              <a:gd name="connsiteX69771" fmla="*/ 6169112 w 6884782"/>
              <a:gd name="connsiteY69771" fmla="*/ 2243864 h 5973007"/>
              <a:gd name="connsiteX69772" fmla="*/ 6195362 w 6884782"/>
              <a:gd name="connsiteY69772" fmla="*/ 2238600 h 5973007"/>
              <a:gd name="connsiteX69773" fmla="*/ 6194935 w 6884782"/>
              <a:gd name="connsiteY69773" fmla="*/ 2245572 h 5973007"/>
              <a:gd name="connsiteX69774" fmla="*/ 6181703 w 6884782"/>
              <a:gd name="connsiteY69774" fmla="*/ 2249982 h 5973007"/>
              <a:gd name="connsiteX69775" fmla="*/ 6184691 w 6884782"/>
              <a:gd name="connsiteY69775" fmla="*/ 2283415 h 5973007"/>
              <a:gd name="connsiteX69776" fmla="*/ 6213716 w 6884782"/>
              <a:gd name="connsiteY69776" fmla="*/ 2292378 h 5973007"/>
              <a:gd name="connsiteX69777" fmla="*/ 6207741 w 6884782"/>
              <a:gd name="connsiteY69777" fmla="*/ 2297215 h 5973007"/>
              <a:gd name="connsiteX69778" fmla="*/ 6205606 w 6884782"/>
              <a:gd name="connsiteY69778" fmla="*/ 2300630 h 5973007"/>
              <a:gd name="connsiteX69779" fmla="*/ 6222040 w 6884782"/>
              <a:gd name="connsiteY69779" fmla="*/ 2305182 h 5973007"/>
              <a:gd name="connsiteX69780" fmla="*/ 6212222 w 6884782"/>
              <a:gd name="connsiteY69780" fmla="*/ 2307601 h 5973007"/>
              <a:gd name="connsiteX69781" fmla="*/ 6216064 w 6884782"/>
              <a:gd name="connsiteY69781" fmla="*/ 2310731 h 5973007"/>
              <a:gd name="connsiteX69782" fmla="*/ 6206460 w 6884782"/>
              <a:gd name="connsiteY69782" fmla="*/ 2321685 h 5973007"/>
              <a:gd name="connsiteX69783" fmla="*/ 6199204 w 6884782"/>
              <a:gd name="connsiteY69783" fmla="*/ 2324673 h 5973007"/>
              <a:gd name="connsiteX69784" fmla="*/ 6198137 w 6884782"/>
              <a:gd name="connsiteY69784" fmla="*/ 2328088 h 5973007"/>
              <a:gd name="connsiteX69785" fmla="*/ 6182771 w 6884782"/>
              <a:gd name="connsiteY69785" fmla="*/ 2334063 h 5973007"/>
              <a:gd name="connsiteX69786" fmla="*/ 6171672 w 6884782"/>
              <a:gd name="connsiteY69786" fmla="*/ 2359529 h 5973007"/>
              <a:gd name="connsiteX69787" fmla="*/ 6206246 w 6884782"/>
              <a:gd name="connsiteY69787" fmla="*/ 2368919 h 5973007"/>
              <a:gd name="connsiteX69788" fmla="*/ 6205606 w 6884782"/>
              <a:gd name="connsiteY69788" fmla="*/ 2375890 h 5973007"/>
              <a:gd name="connsiteX69789" fmla="*/ 6178288 w 6884782"/>
              <a:gd name="connsiteY69789" fmla="*/ 2377028 h 5973007"/>
              <a:gd name="connsiteX69790" fmla="*/ 6170819 w 6884782"/>
              <a:gd name="connsiteY69790" fmla="*/ 2380869 h 5973007"/>
              <a:gd name="connsiteX69791" fmla="*/ 6173380 w 6884782"/>
              <a:gd name="connsiteY69791" fmla="*/ 2382150 h 5973007"/>
              <a:gd name="connsiteX69792" fmla="*/ 6173166 w 6884782"/>
              <a:gd name="connsiteY69792" fmla="*/ 2384426 h 5973007"/>
              <a:gd name="connsiteX69793" fmla="*/ 6170179 w 6884782"/>
              <a:gd name="connsiteY69793" fmla="*/ 2382861 h 5973007"/>
              <a:gd name="connsiteX69794" fmla="*/ 6168471 w 6884782"/>
              <a:gd name="connsiteY69794" fmla="*/ 2382150 h 5973007"/>
              <a:gd name="connsiteX69795" fmla="*/ 6168258 w 6884782"/>
              <a:gd name="connsiteY69795" fmla="*/ 2382150 h 5973007"/>
              <a:gd name="connsiteX69796" fmla="*/ 6167617 w 6884782"/>
              <a:gd name="connsiteY69796" fmla="*/ 2389121 h 5973007"/>
              <a:gd name="connsiteX69797" fmla="*/ 6163989 w 6884782"/>
              <a:gd name="connsiteY69797" fmla="*/ 2390686 h 5973007"/>
              <a:gd name="connsiteX69798" fmla="*/ 6161642 w 6884782"/>
              <a:gd name="connsiteY69798" fmla="*/ 2395808 h 5973007"/>
              <a:gd name="connsiteX69799" fmla="*/ 6148410 w 6884782"/>
              <a:gd name="connsiteY69799" fmla="*/ 2400076 h 5973007"/>
              <a:gd name="connsiteX69800" fmla="*/ 6146702 w 6884782"/>
              <a:gd name="connsiteY69800" fmla="*/ 2411742 h 5973007"/>
              <a:gd name="connsiteX69801" fmla="*/ 6148196 w 6884782"/>
              <a:gd name="connsiteY69801" fmla="*/ 2414445 h 5973007"/>
              <a:gd name="connsiteX69802" fmla="*/ 6150544 w 6884782"/>
              <a:gd name="connsiteY69802" fmla="*/ 2414445 h 5973007"/>
              <a:gd name="connsiteX69803" fmla="*/ 6150544 w 6884782"/>
              <a:gd name="connsiteY69803" fmla="*/ 2413165 h 5973007"/>
              <a:gd name="connsiteX69804" fmla="*/ 6151611 w 6884782"/>
              <a:gd name="connsiteY69804" fmla="*/ 2408612 h 5973007"/>
              <a:gd name="connsiteX69805" fmla="*/ 6153318 w 6884782"/>
              <a:gd name="connsiteY69805" fmla="*/ 2411457 h 5973007"/>
              <a:gd name="connsiteX69806" fmla="*/ 6153532 w 6884782"/>
              <a:gd name="connsiteY69806" fmla="*/ 2414587 h 5973007"/>
              <a:gd name="connsiteX69807" fmla="*/ 6156520 w 6884782"/>
              <a:gd name="connsiteY69807" fmla="*/ 2414587 h 5973007"/>
              <a:gd name="connsiteX69808" fmla="*/ 6168258 w 6884782"/>
              <a:gd name="connsiteY69808" fmla="*/ 2422554 h 5973007"/>
              <a:gd name="connsiteX69809" fmla="*/ 6155453 w 6884782"/>
              <a:gd name="connsiteY69809" fmla="*/ 2442187 h 5973007"/>
              <a:gd name="connsiteX69810" fmla="*/ 6153532 w 6884782"/>
              <a:gd name="connsiteY69810" fmla="*/ 2442472 h 5973007"/>
              <a:gd name="connsiteX69811" fmla="*/ 6154599 w 6884782"/>
              <a:gd name="connsiteY69811" fmla="*/ 2444037 h 5973007"/>
              <a:gd name="connsiteX69812" fmla="*/ 6158867 w 6884782"/>
              <a:gd name="connsiteY69812" fmla="*/ 2459117 h 5973007"/>
              <a:gd name="connsiteX69813" fmla="*/ 6154172 w 6884782"/>
              <a:gd name="connsiteY69813" fmla="*/ 2458406 h 5973007"/>
              <a:gd name="connsiteX69814" fmla="*/ 6154386 w 6884782"/>
              <a:gd name="connsiteY69814" fmla="*/ 2455987 h 5973007"/>
              <a:gd name="connsiteX69815" fmla="*/ 6150117 w 6884782"/>
              <a:gd name="connsiteY69815" fmla="*/ 2447309 h 5973007"/>
              <a:gd name="connsiteX69816" fmla="*/ 6149690 w 6884782"/>
              <a:gd name="connsiteY69816" fmla="*/ 2443183 h 5973007"/>
              <a:gd name="connsiteX69817" fmla="*/ 6147983 w 6884782"/>
              <a:gd name="connsiteY69817" fmla="*/ 2443468 h 5973007"/>
              <a:gd name="connsiteX69818" fmla="*/ 6145422 w 6884782"/>
              <a:gd name="connsiteY69818" fmla="*/ 2440907 h 5973007"/>
              <a:gd name="connsiteX69819" fmla="*/ 6145635 w 6884782"/>
              <a:gd name="connsiteY69819" fmla="*/ 2445033 h 5973007"/>
              <a:gd name="connsiteX69820" fmla="*/ 6146916 w 6884782"/>
              <a:gd name="connsiteY69820" fmla="*/ 2451719 h 5973007"/>
              <a:gd name="connsiteX69821" fmla="*/ 6146434 w 6884782"/>
              <a:gd name="connsiteY69821" fmla="*/ 2455034 h 5973007"/>
              <a:gd name="connsiteX69822" fmla="*/ 6145208 w 6884782"/>
              <a:gd name="connsiteY69822" fmla="*/ 2455987 h 5973007"/>
              <a:gd name="connsiteX69823" fmla="*/ 6143715 w 6884782"/>
              <a:gd name="connsiteY69823" fmla="*/ 2441049 h 5973007"/>
              <a:gd name="connsiteX69824" fmla="*/ 6143928 w 6884782"/>
              <a:gd name="connsiteY69824" fmla="*/ 2439627 h 5973007"/>
              <a:gd name="connsiteX69825" fmla="*/ 6136885 w 6884782"/>
              <a:gd name="connsiteY69825" fmla="*/ 2432940 h 5973007"/>
              <a:gd name="connsiteX69826" fmla="*/ 6137952 w 6884782"/>
              <a:gd name="connsiteY69826" fmla="*/ 2426680 h 5973007"/>
              <a:gd name="connsiteX69827" fmla="*/ 6136885 w 6884782"/>
              <a:gd name="connsiteY69827" fmla="*/ 2426396 h 5973007"/>
              <a:gd name="connsiteX69828" fmla="*/ 6129415 w 6884782"/>
              <a:gd name="connsiteY69828" fmla="*/ 2430379 h 5973007"/>
              <a:gd name="connsiteX69829" fmla="*/ 6125361 w 6884782"/>
              <a:gd name="connsiteY69829" fmla="*/ 2437065 h 5973007"/>
              <a:gd name="connsiteX69830" fmla="*/ 6121518 w 6884782"/>
              <a:gd name="connsiteY69830" fmla="*/ 2438630 h 5973007"/>
              <a:gd name="connsiteX69831" fmla="*/ 6114690 w 6884782"/>
              <a:gd name="connsiteY69831" fmla="*/ 2480173 h 5973007"/>
              <a:gd name="connsiteX69832" fmla="*/ 6090573 w 6884782"/>
              <a:gd name="connsiteY69832" fmla="*/ 2482307 h 5973007"/>
              <a:gd name="connsiteX69833" fmla="*/ 6083957 w 6884782"/>
              <a:gd name="connsiteY69833" fmla="*/ 2480742 h 5973007"/>
              <a:gd name="connsiteX69834" fmla="*/ 6082890 w 6884782"/>
              <a:gd name="connsiteY69834" fmla="*/ 2487144 h 5973007"/>
              <a:gd name="connsiteX69835" fmla="*/ 6089506 w 6884782"/>
              <a:gd name="connsiteY69835" fmla="*/ 2492266 h 5973007"/>
              <a:gd name="connsiteX69836" fmla="*/ 6100604 w 6884782"/>
              <a:gd name="connsiteY69836" fmla="*/ 2496819 h 5973007"/>
              <a:gd name="connsiteX69837" fmla="*/ 6110634 w 6884782"/>
              <a:gd name="connsiteY69837" fmla="*/ 2500517 h 5973007"/>
              <a:gd name="connsiteX69838" fmla="*/ 6101244 w 6884782"/>
              <a:gd name="connsiteY69838" fmla="*/ 2500517 h 5973007"/>
              <a:gd name="connsiteX69839" fmla="*/ 6091000 w 6884782"/>
              <a:gd name="connsiteY69839" fmla="*/ 2498241 h 5973007"/>
              <a:gd name="connsiteX69840" fmla="*/ 6097402 w 6884782"/>
              <a:gd name="connsiteY69840" fmla="*/ 2504074 h 5973007"/>
              <a:gd name="connsiteX69841" fmla="*/ 6104445 w 6884782"/>
              <a:gd name="connsiteY69841" fmla="*/ 2501941 h 5973007"/>
              <a:gd name="connsiteX69842" fmla="*/ 6117890 w 6884782"/>
              <a:gd name="connsiteY69842" fmla="*/ 2510050 h 5973007"/>
              <a:gd name="connsiteX69843" fmla="*/ 6117887 w 6884782"/>
              <a:gd name="connsiteY69843" fmla="*/ 2510075 h 5973007"/>
              <a:gd name="connsiteX69844" fmla="*/ 6154783 w 6884782"/>
              <a:gd name="connsiteY69844" fmla="*/ 2508081 h 5973007"/>
              <a:gd name="connsiteX69845" fmla="*/ 6132945 w 6884782"/>
              <a:gd name="connsiteY69845" fmla="*/ 2529184 h 5973007"/>
              <a:gd name="connsiteX69846" fmla="*/ 6133203 w 6884782"/>
              <a:gd name="connsiteY69846" fmla="*/ 2529363 h 5973007"/>
              <a:gd name="connsiteX69847" fmla="*/ 6134324 w 6884782"/>
              <a:gd name="connsiteY69847" fmla="*/ 2530252 h 5973007"/>
              <a:gd name="connsiteX69848" fmla="*/ 6148410 w 6884782"/>
              <a:gd name="connsiteY69848" fmla="*/ 2545901 h 5973007"/>
              <a:gd name="connsiteX69849" fmla="*/ 6159508 w 6884782"/>
              <a:gd name="connsiteY69849" fmla="*/ 2548178 h 5973007"/>
              <a:gd name="connsiteX69850" fmla="*/ 6161001 w 6884782"/>
              <a:gd name="connsiteY69850" fmla="*/ 2549458 h 5973007"/>
              <a:gd name="connsiteX69851" fmla="*/ 6163989 w 6884782"/>
              <a:gd name="connsiteY69851" fmla="*/ 2546755 h 5973007"/>
              <a:gd name="connsiteX69852" fmla="*/ 6182557 w 6884782"/>
              <a:gd name="connsiteY69852" fmla="*/ 2539214 h 5973007"/>
              <a:gd name="connsiteX69853" fmla="*/ 6177221 w 6884782"/>
              <a:gd name="connsiteY69853" fmla="*/ 2550027 h 5973007"/>
              <a:gd name="connsiteX69854" fmla="*/ 6169538 w 6884782"/>
              <a:gd name="connsiteY69854" fmla="*/ 2557283 h 5973007"/>
              <a:gd name="connsiteX69855" fmla="*/ 6181490 w 6884782"/>
              <a:gd name="connsiteY69855" fmla="*/ 2566673 h 5973007"/>
              <a:gd name="connsiteX69856" fmla="*/ 6188533 w 6884782"/>
              <a:gd name="connsiteY69856" fmla="*/ 2571937 h 5973007"/>
              <a:gd name="connsiteX69857" fmla="*/ 6195575 w 6884782"/>
              <a:gd name="connsiteY69857" fmla="*/ 2576347 h 5973007"/>
              <a:gd name="connsiteX69858" fmla="*/ 6212009 w 6884782"/>
              <a:gd name="connsiteY69858" fmla="*/ 2583887 h 5973007"/>
              <a:gd name="connsiteX69859" fmla="*/ 6211674 w 6884782"/>
              <a:gd name="connsiteY69859" fmla="*/ 2587012 h 5973007"/>
              <a:gd name="connsiteX69860" fmla="*/ 6228407 w 6884782"/>
              <a:gd name="connsiteY69860" fmla="*/ 2581549 h 5973007"/>
              <a:gd name="connsiteX69861" fmla="*/ 6227082 w 6884782"/>
              <a:gd name="connsiteY69861" fmla="*/ 2573608 h 5973007"/>
              <a:gd name="connsiteX69862" fmla="*/ 6225881 w 6884782"/>
              <a:gd name="connsiteY69862" fmla="*/ 2563116 h 5973007"/>
              <a:gd name="connsiteX69863" fmla="*/ 6228442 w 6884782"/>
              <a:gd name="connsiteY69863" fmla="*/ 2562973 h 5973007"/>
              <a:gd name="connsiteX69864" fmla="*/ 6230576 w 6884782"/>
              <a:gd name="connsiteY69864" fmla="*/ 2565250 h 5973007"/>
              <a:gd name="connsiteX69865" fmla="*/ 6232711 w 6884782"/>
              <a:gd name="connsiteY69865" fmla="*/ 2576631 h 5973007"/>
              <a:gd name="connsiteX69866" fmla="*/ 6232711 w 6884782"/>
              <a:gd name="connsiteY69866" fmla="*/ 2579192 h 5973007"/>
              <a:gd name="connsiteX69867" fmla="*/ 6232711 w 6884782"/>
              <a:gd name="connsiteY69867" fmla="*/ 2580144 h 5973007"/>
              <a:gd name="connsiteX69868" fmla="*/ 6282902 w 6884782"/>
              <a:gd name="connsiteY69868" fmla="*/ 2563758 h 5973007"/>
              <a:gd name="connsiteX69869" fmla="*/ 6279673 w 6884782"/>
              <a:gd name="connsiteY69869" fmla="*/ 2621966 h 5973007"/>
              <a:gd name="connsiteX69870" fmla="*/ 6277973 w 6884782"/>
              <a:gd name="connsiteY69870" fmla="*/ 2661923 h 5973007"/>
              <a:gd name="connsiteX69871" fmla="*/ 6286706 w 6884782"/>
              <a:gd name="connsiteY69871" fmla="*/ 2668679 h 5973007"/>
              <a:gd name="connsiteX69872" fmla="*/ 6295456 w 6884782"/>
              <a:gd name="connsiteY69872" fmla="*/ 2677642 h 5973007"/>
              <a:gd name="connsiteX69873" fmla="*/ 6303992 w 6884782"/>
              <a:gd name="connsiteY69873" fmla="*/ 2687317 h 5973007"/>
              <a:gd name="connsiteX69874" fmla="*/ 6320639 w 6884782"/>
              <a:gd name="connsiteY69874" fmla="*/ 2708230 h 5973007"/>
              <a:gd name="connsiteX69875" fmla="*/ 6325588 w 6884782"/>
              <a:gd name="connsiteY69875" fmla="*/ 2716673 h 5973007"/>
              <a:gd name="connsiteX69876" fmla="*/ 6343194 w 6884782"/>
              <a:gd name="connsiteY69876" fmla="*/ 2713075 h 5973007"/>
              <a:gd name="connsiteX69877" fmla="*/ 6372263 w 6884782"/>
              <a:gd name="connsiteY69877" fmla="*/ 2708012 h 5973007"/>
              <a:gd name="connsiteX69878" fmla="*/ 6360787 w 6884782"/>
              <a:gd name="connsiteY69878" fmla="*/ 2765820 h 5973007"/>
              <a:gd name="connsiteX69879" fmla="*/ 6361136 w 6884782"/>
              <a:gd name="connsiteY69879" fmla="*/ 2769530 h 5973007"/>
              <a:gd name="connsiteX69880" fmla="*/ 6359367 w 6884782"/>
              <a:gd name="connsiteY69880" fmla="*/ 2772971 h 5973007"/>
              <a:gd name="connsiteX69881" fmla="*/ 6358887 w 6884782"/>
              <a:gd name="connsiteY69881" fmla="*/ 2775391 h 5973007"/>
              <a:gd name="connsiteX69882" fmla="*/ 6361402 w 6884782"/>
              <a:gd name="connsiteY69882" fmla="*/ 2775950 h 5973007"/>
              <a:gd name="connsiteX69883" fmla="*/ 6361402 w 6884782"/>
              <a:gd name="connsiteY69883" fmla="*/ 2776661 h 5973007"/>
              <a:gd name="connsiteX69884" fmla="*/ 6366098 w 6884782"/>
              <a:gd name="connsiteY69884" fmla="*/ 2784059 h 5973007"/>
              <a:gd name="connsiteX69885" fmla="*/ 6366098 w 6884782"/>
              <a:gd name="connsiteY69885" fmla="*/ 2784913 h 5973007"/>
              <a:gd name="connsiteX69886" fmla="*/ 6366952 w 6884782"/>
              <a:gd name="connsiteY69886" fmla="*/ 2784913 h 5973007"/>
              <a:gd name="connsiteX69887" fmla="*/ 6367592 w 6884782"/>
              <a:gd name="connsiteY69887" fmla="*/ 2784913 h 5973007"/>
              <a:gd name="connsiteX69888" fmla="*/ 6367776 w 6884782"/>
              <a:gd name="connsiteY69888" fmla="*/ 2785712 h 5973007"/>
              <a:gd name="connsiteX69889" fmla="*/ 6373851 w 6884782"/>
              <a:gd name="connsiteY69889" fmla="*/ 2785712 h 5973007"/>
              <a:gd name="connsiteX69890" fmla="*/ 6373994 w 6884782"/>
              <a:gd name="connsiteY69890" fmla="*/ 2785624 h 5973007"/>
              <a:gd name="connsiteX69891" fmla="*/ 6374110 w 6884782"/>
              <a:gd name="connsiteY69891" fmla="*/ 2785712 h 5973007"/>
              <a:gd name="connsiteX69892" fmla="*/ 6378271 w 6884782"/>
              <a:gd name="connsiteY69892" fmla="*/ 2785712 h 5973007"/>
              <a:gd name="connsiteX69893" fmla="*/ 6378372 w 6884782"/>
              <a:gd name="connsiteY69893" fmla="*/ 2788937 h 5973007"/>
              <a:gd name="connsiteX69894" fmla="*/ 6381891 w 6884782"/>
              <a:gd name="connsiteY69894" fmla="*/ 2791600 h 5973007"/>
              <a:gd name="connsiteX69895" fmla="*/ 6388080 w 6884782"/>
              <a:gd name="connsiteY69895" fmla="*/ 2793022 h 5973007"/>
              <a:gd name="connsiteX69896" fmla="*/ 6390428 w 6884782"/>
              <a:gd name="connsiteY69896" fmla="*/ 2793733 h 5973007"/>
              <a:gd name="connsiteX69897" fmla="*/ 6391282 w 6884782"/>
              <a:gd name="connsiteY69897" fmla="*/ 2794587 h 5973007"/>
              <a:gd name="connsiteX69898" fmla="*/ 6393629 w 6884782"/>
              <a:gd name="connsiteY69898" fmla="*/ 2797575 h 5973007"/>
              <a:gd name="connsiteX69899" fmla="*/ 6389787 w 6884782"/>
              <a:gd name="connsiteY69899" fmla="*/ 2797575 h 5973007"/>
              <a:gd name="connsiteX69900" fmla="*/ 6388080 w 6884782"/>
              <a:gd name="connsiteY69900" fmla="*/ 2796863 h 5973007"/>
              <a:gd name="connsiteX69901" fmla="*/ 6387227 w 6884782"/>
              <a:gd name="connsiteY69901" fmla="*/ 2796863 h 5973007"/>
              <a:gd name="connsiteX69902" fmla="*/ 6384239 w 6884782"/>
              <a:gd name="connsiteY69902" fmla="*/ 2795298 h 5973007"/>
              <a:gd name="connsiteX69903" fmla="*/ 6378507 w 6884782"/>
              <a:gd name="connsiteY69903" fmla="*/ 2793261 h 5973007"/>
              <a:gd name="connsiteX69904" fmla="*/ 6378581 w 6884782"/>
              <a:gd name="connsiteY69904" fmla="*/ 2795624 h 5973007"/>
              <a:gd name="connsiteX69905" fmla="*/ 6377836 w 6884782"/>
              <a:gd name="connsiteY69905" fmla="*/ 2795222 h 5973007"/>
              <a:gd name="connsiteX69906" fmla="*/ 6377836 w 6884782"/>
              <a:gd name="connsiteY69906" fmla="*/ 2799709 h 5973007"/>
              <a:gd name="connsiteX69907" fmla="*/ 6377836 w 6884782"/>
              <a:gd name="connsiteY69907" fmla="*/ 2800562 h 5973007"/>
              <a:gd name="connsiteX69908" fmla="*/ 6377836 w 6884782"/>
              <a:gd name="connsiteY69908" fmla="*/ 2801274 h 5973007"/>
              <a:gd name="connsiteX69909" fmla="*/ 6378689 w 6884782"/>
              <a:gd name="connsiteY69909" fmla="*/ 2801985 h 5973007"/>
              <a:gd name="connsiteX69910" fmla="*/ 6380184 w 6884782"/>
              <a:gd name="connsiteY69910" fmla="*/ 2805684 h 5973007"/>
              <a:gd name="connsiteX69911" fmla="*/ 6385092 w 6884782"/>
              <a:gd name="connsiteY69911" fmla="*/ 2811660 h 5973007"/>
              <a:gd name="connsiteX69912" fmla="*/ 6379544 w 6884782"/>
              <a:gd name="connsiteY69912" fmla="*/ 2811660 h 5973007"/>
              <a:gd name="connsiteX69913" fmla="*/ 6395123 w 6884782"/>
              <a:gd name="connsiteY69913" fmla="*/ 2839971 h 5973007"/>
              <a:gd name="connsiteX69914" fmla="*/ 6399818 w 6884782"/>
              <a:gd name="connsiteY69914" fmla="*/ 2838548 h 5973007"/>
              <a:gd name="connsiteX69915" fmla="*/ 6400672 w 6884782"/>
              <a:gd name="connsiteY69915" fmla="*/ 2841394 h 5973007"/>
              <a:gd name="connsiteX69916" fmla="*/ 6400904 w 6884782"/>
              <a:gd name="connsiteY69916" fmla="*/ 2842208 h 5973007"/>
              <a:gd name="connsiteX69917" fmla="*/ 6402188 w 6884782"/>
              <a:gd name="connsiteY69917" fmla="*/ 2837382 h 5973007"/>
              <a:gd name="connsiteX69918" fmla="*/ 6409560 w 6884782"/>
              <a:gd name="connsiteY69918" fmla="*/ 2834449 h 5973007"/>
              <a:gd name="connsiteX69919" fmla="*/ 6405843 w 6884782"/>
              <a:gd name="connsiteY69919" fmla="*/ 2814624 h 5973007"/>
              <a:gd name="connsiteX69920" fmla="*/ 6411419 w 6884782"/>
              <a:gd name="connsiteY69920" fmla="*/ 2803059 h 5973007"/>
              <a:gd name="connsiteX69921" fmla="*/ 6409560 w 6884782"/>
              <a:gd name="connsiteY69921" fmla="*/ 2798929 h 5973007"/>
              <a:gd name="connsiteX69922" fmla="*/ 6400112 w 6884782"/>
              <a:gd name="connsiteY69922" fmla="*/ 2797277 h 5973007"/>
              <a:gd name="connsiteX69923" fmla="*/ 6403984 w 6884782"/>
              <a:gd name="connsiteY69923" fmla="*/ 2788913 h 5973007"/>
              <a:gd name="connsiteX69924" fmla="*/ 6404759 w 6884782"/>
              <a:gd name="connsiteY69924" fmla="*/ 2785712 h 5973007"/>
              <a:gd name="connsiteX69925" fmla="*/ 6412522 w 6884782"/>
              <a:gd name="connsiteY69925" fmla="*/ 2785712 h 5973007"/>
              <a:gd name="connsiteX69926" fmla="*/ 6423774 w 6884782"/>
              <a:gd name="connsiteY69926" fmla="*/ 2776377 h 5973007"/>
              <a:gd name="connsiteX69927" fmla="*/ 6438020 w 6884782"/>
              <a:gd name="connsiteY69927" fmla="*/ 2771966 h 5973007"/>
              <a:gd name="connsiteX69928" fmla="*/ 6442342 w 6884782"/>
              <a:gd name="connsiteY69928" fmla="*/ 2787830 h 5973007"/>
              <a:gd name="connsiteX69929" fmla="*/ 6424844 w 6884782"/>
              <a:gd name="connsiteY69929" fmla="*/ 2798874 h 5973007"/>
              <a:gd name="connsiteX69930" fmla="*/ 6426444 w 6884782"/>
              <a:gd name="connsiteY69930" fmla="*/ 2800581 h 5973007"/>
              <a:gd name="connsiteX69931" fmla="*/ 6421797 w 6884782"/>
              <a:gd name="connsiteY69931" fmla="*/ 2823710 h 5973007"/>
              <a:gd name="connsiteX69932" fmla="*/ 6423656 w 6884782"/>
              <a:gd name="connsiteY69932" fmla="*/ 2834449 h 5973007"/>
              <a:gd name="connsiteX69933" fmla="*/ 6421797 w 6884782"/>
              <a:gd name="connsiteY69933" fmla="*/ 2842709 h 5973007"/>
              <a:gd name="connsiteX69934" fmla="*/ 6416995 w 6884782"/>
              <a:gd name="connsiteY69934" fmla="*/ 2832797 h 5973007"/>
              <a:gd name="connsiteX69935" fmla="*/ 6406772 w 6884782"/>
              <a:gd name="connsiteY69935" fmla="*/ 2836204 h 5973007"/>
              <a:gd name="connsiteX69936" fmla="*/ 6404422 w 6884782"/>
              <a:gd name="connsiteY69936" fmla="*/ 2852466 h 5973007"/>
              <a:gd name="connsiteX69937" fmla="*/ 6406861 w 6884782"/>
              <a:gd name="connsiteY69937" fmla="*/ 2858608 h 5973007"/>
              <a:gd name="connsiteX69938" fmla="*/ 6415611 w 6884782"/>
              <a:gd name="connsiteY69938" fmla="*/ 2877957 h 5973007"/>
              <a:gd name="connsiteX69939" fmla="*/ 6423508 w 6884782"/>
              <a:gd name="connsiteY69939" fmla="*/ 2898017 h 5973007"/>
              <a:gd name="connsiteX69940" fmla="*/ 6426496 w 6884782"/>
              <a:gd name="connsiteY69940" fmla="*/ 2909113 h 5973007"/>
              <a:gd name="connsiteX69941" fmla="*/ 6426796 w 6884782"/>
              <a:gd name="connsiteY69941" fmla="*/ 2910430 h 5973007"/>
              <a:gd name="connsiteX69942" fmla="*/ 6431420 w 6884782"/>
              <a:gd name="connsiteY69942" fmla="*/ 2906573 h 5973007"/>
              <a:gd name="connsiteX69943" fmla="*/ 6437597 w 6884782"/>
              <a:gd name="connsiteY69943" fmla="*/ 2890517 h 5973007"/>
              <a:gd name="connsiteX69944" fmla="*/ 6442243 w 6884782"/>
              <a:gd name="connsiteY69944" fmla="*/ 2898777 h 5973007"/>
              <a:gd name="connsiteX69945" fmla="*/ 6447975 w 6884782"/>
              <a:gd name="connsiteY69945" fmla="*/ 2904560 h 5973007"/>
              <a:gd name="connsiteX69946" fmla="*/ 6436667 w 6884782"/>
              <a:gd name="connsiteY69946" fmla="*/ 2922733 h 5973007"/>
              <a:gd name="connsiteX69947" fmla="*/ 6436347 w 6884782"/>
              <a:gd name="connsiteY69947" fmla="*/ 2923977 h 5973007"/>
              <a:gd name="connsiteX69948" fmla="*/ 6438554 w 6884782"/>
              <a:gd name="connsiteY69948" fmla="*/ 2931236 h 5973007"/>
              <a:gd name="connsiteX69949" fmla="*/ 6439941 w 6884782"/>
              <a:gd name="connsiteY69949" fmla="*/ 2940413 h 5973007"/>
              <a:gd name="connsiteX69950" fmla="*/ 6440795 w 6884782"/>
              <a:gd name="connsiteY69950" fmla="*/ 2953928 h 5973007"/>
              <a:gd name="connsiteX69951" fmla="*/ 6447838 w 6884782"/>
              <a:gd name="connsiteY69951" fmla="*/ 2956062 h 5973007"/>
              <a:gd name="connsiteX69952" fmla="*/ 6439941 w 6884782"/>
              <a:gd name="connsiteY69952" fmla="*/ 2963603 h 5973007"/>
              <a:gd name="connsiteX69953" fmla="*/ 6451679 w 6884782"/>
              <a:gd name="connsiteY69953" fmla="*/ 2983663 h 5973007"/>
              <a:gd name="connsiteX69954" fmla="*/ 6446344 w 6884782"/>
              <a:gd name="connsiteY69954" fmla="*/ 2975411 h 5973007"/>
              <a:gd name="connsiteX69955" fmla="*/ 6445490 w 6884782"/>
              <a:gd name="connsiteY69955" fmla="*/ 2992483 h 5973007"/>
              <a:gd name="connsiteX69956" fmla="*/ 6453386 w 6884782"/>
              <a:gd name="connsiteY69956" fmla="*/ 2993337 h 5973007"/>
              <a:gd name="connsiteX69957" fmla="*/ 6451039 w 6884782"/>
              <a:gd name="connsiteY69957" fmla="*/ 3011262 h 5973007"/>
              <a:gd name="connsiteX69958" fmla="*/ 6457228 w 6884782"/>
              <a:gd name="connsiteY69958" fmla="*/ 3011262 h 5973007"/>
              <a:gd name="connsiteX69959" fmla="*/ 6454881 w 6884782"/>
              <a:gd name="connsiteY69959" fmla="*/ 3027624 h 5973007"/>
              <a:gd name="connsiteX69960" fmla="*/ 6454881 w 6884782"/>
              <a:gd name="connsiteY69960" fmla="*/ 3046118 h 5973007"/>
              <a:gd name="connsiteX69961" fmla="*/ 6452533 w 6884782"/>
              <a:gd name="connsiteY69961" fmla="*/ 3040997 h 5973007"/>
              <a:gd name="connsiteX69962" fmla="*/ 6454240 w 6884782"/>
              <a:gd name="connsiteY69962" fmla="*/ 3049817 h 5973007"/>
              <a:gd name="connsiteX69963" fmla="*/ 6456374 w 6884782"/>
              <a:gd name="connsiteY69963" fmla="*/ 3045407 h 5973007"/>
              <a:gd name="connsiteX69964" fmla="*/ 6457228 w 6884782"/>
              <a:gd name="connsiteY69964" fmla="*/ 3054370 h 5973007"/>
              <a:gd name="connsiteX69965" fmla="*/ 6455734 w 6884782"/>
              <a:gd name="connsiteY69965" fmla="*/ 3066178 h 5973007"/>
              <a:gd name="connsiteX69966" fmla="*/ 6446344 w 6884782"/>
              <a:gd name="connsiteY69966" fmla="*/ 3067032 h 5973007"/>
              <a:gd name="connsiteX69967" fmla="*/ 6452960 w 6884782"/>
              <a:gd name="connsiteY69967" fmla="*/ 3070873 h 5973007"/>
              <a:gd name="connsiteX69968" fmla="*/ 6452533 w 6884782"/>
              <a:gd name="connsiteY69968" fmla="*/ 3072296 h 5973007"/>
              <a:gd name="connsiteX69969" fmla="*/ 6447838 w 6884782"/>
              <a:gd name="connsiteY69969" fmla="*/ 3072296 h 5973007"/>
              <a:gd name="connsiteX69970" fmla="*/ 6447624 w 6884782"/>
              <a:gd name="connsiteY69970" fmla="*/ 3072012 h 5973007"/>
              <a:gd name="connsiteX69971" fmla="*/ 6439941 w 6884782"/>
              <a:gd name="connsiteY69971" fmla="*/ 3071442 h 5973007"/>
              <a:gd name="connsiteX69972" fmla="*/ 6439941 w 6884782"/>
              <a:gd name="connsiteY69972" fmla="*/ 3072296 h 5973007"/>
              <a:gd name="connsiteX69973" fmla="*/ 6423295 w 6884782"/>
              <a:gd name="connsiteY69973" fmla="*/ 3072296 h 5973007"/>
              <a:gd name="connsiteX69974" fmla="*/ 6421800 w 6884782"/>
              <a:gd name="connsiteY69974" fmla="*/ 3061768 h 5973007"/>
              <a:gd name="connsiteX69975" fmla="*/ 6419666 w 6884782"/>
              <a:gd name="connsiteY69975" fmla="*/ 3050529 h 5973007"/>
              <a:gd name="connsiteX69976" fmla="*/ 6423508 w 6884782"/>
              <a:gd name="connsiteY69976" fmla="*/ 3034168 h 5973007"/>
              <a:gd name="connsiteX69977" fmla="*/ 6419666 w 6884782"/>
              <a:gd name="connsiteY69977" fmla="*/ 3017949 h 5973007"/>
              <a:gd name="connsiteX69978" fmla="*/ 6416465 w 6884782"/>
              <a:gd name="connsiteY69978" fmla="*/ 3027624 h 5973007"/>
              <a:gd name="connsiteX69979" fmla="*/ 6412410 w 6884782"/>
              <a:gd name="connsiteY69979" fmla="*/ 3014108 h 5973007"/>
              <a:gd name="connsiteX69980" fmla="*/ 6417559 w 6884782"/>
              <a:gd name="connsiteY69980" fmla="*/ 3004718 h 5973007"/>
              <a:gd name="connsiteX69981" fmla="*/ 6413520 w 6884782"/>
              <a:gd name="connsiteY69981" fmla="*/ 2989066 h 5973007"/>
              <a:gd name="connsiteX69982" fmla="*/ 6411419 w 6884782"/>
              <a:gd name="connsiteY69982" fmla="*/ 2992327 h 5973007"/>
              <a:gd name="connsiteX69983" fmla="*/ 6410966 w 6884782"/>
              <a:gd name="connsiteY69983" fmla="*/ 2993616 h 5973007"/>
              <a:gd name="connsiteX69984" fmla="*/ 6412410 w 6884782"/>
              <a:gd name="connsiteY69984" fmla="*/ 3001588 h 5973007"/>
              <a:gd name="connsiteX69985" fmla="*/ 6409797 w 6884782"/>
              <a:gd name="connsiteY69985" fmla="*/ 2996942 h 5973007"/>
              <a:gd name="connsiteX69986" fmla="*/ 6406772 w 6884782"/>
              <a:gd name="connsiteY69986" fmla="*/ 3005544 h 5973007"/>
              <a:gd name="connsiteX69987" fmla="*/ 6400112 w 6884782"/>
              <a:gd name="connsiteY69987" fmla="*/ 3020413 h 5973007"/>
              <a:gd name="connsiteX69988" fmla="*/ 6405843 w 6884782"/>
              <a:gd name="connsiteY69988" fmla="*/ 3030429 h 5973007"/>
              <a:gd name="connsiteX69989" fmla="*/ 6396532 w 6884782"/>
              <a:gd name="connsiteY69989" fmla="*/ 3031952 h 5973007"/>
              <a:gd name="connsiteX69990" fmla="*/ 6399178 w 6884782"/>
              <a:gd name="connsiteY69990" fmla="*/ 3042420 h 5973007"/>
              <a:gd name="connsiteX69991" fmla="*/ 6394483 w 6884782"/>
              <a:gd name="connsiteY69991" fmla="*/ 3043273 h 5973007"/>
              <a:gd name="connsiteX69992" fmla="*/ 6398324 w 6884782"/>
              <a:gd name="connsiteY69992" fmla="*/ 3060346 h 5973007"/>
              <a:gd name="connsiteX69993" fmla="*/ 6391922 w 6884782"/>
              <a:gd name="connsiteY69993" fmla="*/ 3047683 h 5973007"/>
              <a:gd name="connsiteX69994" fmla="*/ 6391922 w 6884782"/>
              <a:gd name="connsiteY69994" fmla="*/ 3068882 h 5973007"/>
              <a:gd name="connsiteX69995" fmla="*/ 6390428 w 6884782"/>
              <a:gd name="connsiteY69995" fmla="*/ 3072296 h 5973007"/>
              <a:gd name="connsiteX69996" fmla="*/ 6376421 w 6884782"/>
              <a:gd name="connsiteY69996" fmla="*/ 3072296 h 5973007"/>
              <a:gd name="connsiteX69997" fmla="*/ 6377652 w 6884782"/>
              <a:gd name="connsiteY69997" fmla="*/ 3074209 h 5973007"/>
              <a:gd name="connsiteX69998" fmla="*/ 6370681 w 6884782"/>
              <a:gd name="connsiteY69998" fmla="*/ 3082470 h 5973007"/>
              <a:gd name="connsiteX69999" fmla="*/ 6370372 w 6884782"/>
              <a:gd name="connsiteY69999" fmla="*/ 3084845 h 5973007"/>
              <a:gd name="connsiteX70000" fmla="*/ 6369907 w 6884782"/>
              <a:gd name="connsiteY70000" fmla="*/ 3092899 h 5973007"/>
              <a:gd name="connsiteX70001" fmla="*/ 6366943 w 6884782"/>
              <a:gd name="connsiteY70001" fmla="*/ 3096764 h 5973007"/>
              <a:gd name="connsiteX70002" fmla="*/ 6371187 w 6884782"/>
              <a:gd name="connsiteY70002" fmla="*/ 3115469 h 5973007"/>
              <a:gd name="connsiteX70003" fmla="*/ 6270375 w 6884782"/>
              <a:gd name="connsiteY70003" fmla="*/ 3269248 h 5973007"/>
              <a:gd name="connsiteX70004" fmla="*/ 6278518 w 6884782"/>
              <a:gd name="connsiteY70004" fmla="*/ 3265337 h 5973007"/>
              <a:gd name="connsiteX70005" fmla="*/ 6289516 w 6884782"/>
              <a:gd name="connsiteY70005" fmla="*/ 3260484 h 5973007"/>
              <a:gd name="connsiteX70006" fmla="*/ 6312750 w 6884782"/>
              <a:gd name="connsiteY70006" fmla="*/ 3251810 h 5973007"/>
              <a:gd name="connsiteX70007" fmla="*/ 6334436 w 6884782"/>
              <a:gd name="connsiteY70007" fmla="*/ 3247061 h 5973007"/>
              <a:gd name="connsiteX70008" fmla="*/ 6333661 w 6884782"/>
              <a:gd name="connsiteY70008" fmla="*/ 3246751 h 5973007"/>
              <a:gd name="connsiteX70009" fmla="*/ 6314454 w 6884782"/>
              <a:gd name="connsiteY70009" fmla="*/ 3234050 h 5973007"/>
              <a:gd name="connsiteX70010" fmla="*/ 6335210 w 6884782"/>
              <a:gd name="connsiteY70010" fmla="*/ 3234670 h 5973007"/>
              <a:gd name="connsiteX70011" fmla="*/ 6334900 w 6884782"/>
              <a:gd name="connsiteY70011" fmla="*/ 3233844 h 5973007"/>
              <a:gd name="connsiteX70012" fmla="*/ 6335675 w 6884782"/>
              <a:gd name="connsiteY70012" fmla="*/ 3230333 h 5973007"/>
              <a:gd name="connsiteX70013" fmla="*/ 6331957 w 6884782"/>
              <a:gd name="connsiteY70013" fmla="*/ 3229300 h 5973007"/>
              <a:gd name="connsiteX70014" fmla="*/ 6328859 w 6884782"/>
              <a:gd name="connsiteY70014" fmla="*/ 3225067 h 5973007"/>
              <a:gd name="connsiteX70015" fmla="*/ 6340167 w 6884782"/>
              <a:gd name="connsiteY70015" fmla="*/ 3219078 h 5973007"/>
              <a:gd name="connsiteX70016" fmla="*/ 6343574 w 6884782"/>
              <a:gd name="connsiteY70016" fmla="*/ 3220627 h 5973007"/>
              <a:gd name="connsiteX70017" fmla="*/ 6344349 w 6884782"/>
              <a:gd name="connsiteY70017" fmla="*/ 3219594 h 5973007"/>
              <a:gd name="connsiteX70018" fmla="*/ 6353643 w 6884782"/>
              <a:gd name="connsiteY70018" fmla="*/ 3223725 h 5973007"/>
              <a:gd name="connsiteX70019" fmla="*/ 6353023 w 6884782"/>
              <a:gd name="connsiteY70019" fmla="*/ 3231262 h 5973007"/>
              <a:gd name="connsiteX70020" fmla="*/ 6349925 w 6884782"/>
              <a:gd name="connsiteY70020" fmla="*/ 3236219 h 5973007"/>
              <a:gd name="connsiteX70021" fmla="*/ 6356121 w 6884782"/>
              <a:gd name="connsiteY70021" fmla="*/ 3237664 h 5973007"/>
              <a:gd name="connsiteX70022" fmla="*/ 6363401 w 6884782"/>
              <a:gd name="connsiteY70022" fmla="*/ 3236219 h 5973007"/>
              <a:gd name="connsiteX70023" fmla="*/ 6373315 w 6884782"/>
              <a:gd name="connsiteY70023" fmla="*/ 3232089 h 5973007"/>
              <a:gd name="connsiteX70024" fmla="*/ 6383073 w 6884782"/>
              <a:gd name="connsiteY70024" fmla="*/ 3237355 h 5973007"/>
              <a:gd name="connsiteX70025" fmla="*/ 6384622 w 6884782"/>
              <a:gd name="connsiteY70025" fmla="*/ 3234876 h 5973007"/>
              <a:gd name="connsiteX70026" fmla="*/ 6385397 w 6884782"/>
              <a:gd name="connsiteY70026" fmla="*/ 3235083 h 5973007"/>
              <a:gd name="connsiteX70027" fmla="*/ 6393296 w 6884782"/>
              <a:gd name="connsiteY70027" fmla="*/ 3233018 h 5973007"/>
              <a:gd name="connsiteX70028" fmla="*/ 6393916 w 6884782"/>
              <a:gd name="connsiteY70028" fmla="*/ 3233121 h 5973007"/>
              <a:gd name="connsiteX70029" fmla="*/ 6394226 w 6884782"/>
              <a:gd name="connsiteY70029" fmla="*/ 3232501 h 5973007"/>
              <a:gd name="connsiteX70030" fmla="*/ 6394380 w 6884782"/>
              <a:gd name="connsiteY70030" fmla="*/ 3231779 h 5973007"/>
              <a:gd name="connsiteX70031" fmla="*/ 6397943 w 6884782"/>
              <a:gd name="connsiteY70031" fmla="*/ 3232089 h 5973007"/>
              <a:gd name="connsiteX70032" fmla="*/ 6397943 w 6884782"/>
              <a:gd name="connsiteY70032" fmla="*/ 3230333 h 5973007"/>
              <a:gd name="connsiteX70033" fmla="*/ 6397633 w 6884782"/>
              <a:gd name="connsiteY70033" fmla="*/ 3228991 h 5973007"/>
              <a:gd name="connsiteX70034" fmla="*/ 6383383 w 6884782"/>
              <a:gd name="connsiteY70034" fmla="*/ 3222795 h 5973007"/>
              <a:gd name="connsiteX70035" fmla="*/ 6368358 w 6884782"/>
              <a:gd name="connsiteY70035" fmla="*/ 3211954 h 5973007"/>
              <a:gd name="connsiteX70036" fmla="*/ 6393141 w 6884782"/>
              <a:gd name="connsiteY70036" fmla="*/ 3196878 h 5973007"/>
              <a:gd name="connsiteX70037" fmla="*/ 6430936 w 6884782"/>
              <a:gd name="connsiteY70037" fmla="*/ 3221866 h 5973007"/>
              <a:gd name="connsiteX70038" fmla="*/ 6431246 w 6884782"/>
              <a:gd name="connsiteY70038" fmla="*/ 3224551 h 5973007"/>
              <a:gd name="connsiteX70039" fmla="*/ 6434498 w 6884782"/>
              <a:gd name="connsiteY70039" fmla="*/ 3223105 h 5973007"/>
              <a:gd name="connsiteX70040" fmla="*/ 6451073 w 6884782"/>
              <a:gd name="connsiteY70040" fmla="*/ 3222899 h 5973007"/>
              <a:gd name="connsiteX70041" fmla="*/ 6451227 w 6884782"/>
              <a:gd name="connsiteY70041" fmla="*/ 3218459 h 5973007"/>
              <a:gd name="connsiteX70042" fmla="*/ 6454016 w 6884782"/>
              <a:gd name="connsiteY70042" fmla="*/ 3218562 h 5973007"/>
              <a:gd name="connsiteX70043" fmla="*/ 6456959 w 6884782"/>
              <a:gd name="connsiteY70043" fmla="*/ 3218665 h 5973007"/>
              <a:gd name="connsiteX70044" fmla="*/ 6461296 w 6884782"/>
              <a:gd name="connsiteY70044" fmla="*/ 3218562 h 5973007"/>
              <a:gd name="connsiteX70045" fmla="*/ 6471054 w 6884782"/>
              <a:gd name="connsiteY70045" fmla="*/ 3217839 h 5973007"/>
              <a:gd name="connsiteX70046" fmla="*/ 6490571 w 6884782"/>
              <a:gd name="connsiteY70046" fmla="*/ 3215567 h 5973007"/>
              <a:gd name="connsiteX70047" fmla="*/ 6510707 w 6884782"/>
              <a:gd name="connsiteY70047" fmla="*/ 3214225 h 5973007"/>
              <a:gd name="connsiteX70048" fmla="*/ 6521395 w 6884782"/>
              <a:gd name="connsiteY70048" fmla="*/ 3214535 h 5973007"/>
              <a:gd name="connsiteX70049" fmla="*/ 6532083 w 6884782"/>
              <a:gd name="connsiteY70049" fmla="*/ 3215464 h 5973007"/>
              <a:gd name="connsiteX70050" fmla="*/ 6533787 w 6884782"/>
              <a:gd name="connsiteY70050" fmla="*/ 3210095 h 5973007"/>
              <a:gd name="connsiteX70051" fmla="*/ 6552994 w 6884782"/>
              <a:gd name="connsiteY70051" fmla="*/ 3211437 h 5973007"/>
              <a:gd name="connsiteX70052" fmla="*/ 6565076 w 6884782"/>
              <a:gd name="connsiteY70052" fmla="*/ 3214431 h 5973007"/>
              <a:gd name="connsiteX70053" fmla="*/ 6569103 w 6884782"/>
              <a:gd name="connsiteY70053" fmla="*/ 3208856 h 5973007"/>
              <a:gd name="connsiteX70054" fmla="*/ 6573285 w 6884782"/>
              <a:gd name="connsiteY70054" fmla="*/ 3217736 h 5973007"/>
              <a:gd name="connsiteX70055" fmla="*/ 6594506 w 6884782"/>
              <a:gd name="connsiteY70055" fmla="*/ 3212986 h 5973007"/>
              <a:gd name="connsiteX70056" fmla="*/ 6585677 w 6884782"/>
              <a:gd name="connsiteY70056" fmla="*/ 3215464 h 5973007"/>
              <a:gd name="connsiteX70057" fmla="*/ 6600547 w 6884782"/>
              <a:gd name="connsiteY70057" fmla="*/ 3220833 h 5973007"/>
              <a:gd name="connsiteX70058" fmla="*/ 6603490 w 6884782"/>
              <a:gd name="connsiteY70058" fmla="*/ 3214225 h 5973007"/>
              <a:gd name="connsiteX70059" fmla="*/ 6618670 w 6884782"/>
              <a:gd name="connsiteY70059" fmla="*/ 3221143 h 5973007"/>
              <a:gd name="connsiteX70060" fmla="*/ 6620529 w 6884782"/>
              <a:gd name="connsiteY70060" fmla="*/ 3215670 h 5973007"/>
              <a:gd name="connsiteX70061" fmla="*/ 6634314 w 6884782"/>
              <a:gd name="connsiteY70061" fmla="*/ 3222176 h 5973007"/>
              <a:gd name="connsiteX70062" fmla="*/ 6650579 w 6884782"/>
              <a:gd name="connsiteY70062" fmla="*/ 3227338 h 5973007"/>
              <a:gd name="connsiteX70063" fmla="*/ 6645312 w 6884782"/>
              <a:gd name="connsiteY70063" fmla="*/ 3227855 h 5973007"/>
              <a:gd name="connsiteX70064" fmla="*/ 6653677 w 6884782"/>
              <a:gd name="connsiteY70064" fmla="*/ 3228991 h 5973007"/>
              <a:gd name="connsiteX70065" fmla="*/ 6650424 w 6884782"/>
              <a:gd name="connsiteY70065" fmla="*/ 3225687 h 5973007"/>
              <a:gd name="connsiteX70066" fmla="*/ 6658633 w 6884782"/>
              <a:gd name="connsiteY70066" fmla="*/ 3227442 h 5973007"/>
              <a:gd name="connsiteX70067" fmla="*/ 6668547 w 6884782"/>
              <a:gd name="connsiteY70067" fmla="*/ 3232089 h 5973007"/>
              <a:gd name="connsiteX70068" fmla="*/ 6666378 w 6884782"/>
              <a:gd name="connsiteY70068" fmla="*/ 3240452 h 5973007"/>
              <a:gd name="connsiteX70069" fmla="*/ 6675982 w 6884782"/>
              <a:gd name="connsiteY70069" fmla="*/ 3238077 h 5973007"/>
              <a:gd name="connsiteX70070" fmla="*/ 6668547 w 6884782"/>
              <a:gd name="connsiteY70070" fmla="*/ 3247061 h 5973007"/>
              <a:gd name="connsiteX70071" fmla="*/ 6671645 w 6884782"/>
              <a:gd name="connsiteY70071" fmla="*/ 3248816 h 5973007"/>
              <a:gd name="connsiteX70072" fmla="*/ 6678305 w 6884782"/>
              <a:gd name="connsiteY70072" fmla="*/ 3244066 h 5973007"/>
              <a:gd name="connsiteX70073" fmla="*/ 6688838 w 6884782"/>
              <a:gd name="connsiteY70073" fmla="*/ 3255631 h 5973007"/>
              <a:gd name="connsiteX70074" fmla="*/ 6678925 w 6884782"/>
              <a:gd name="connsiteY70074" fmla="*/ 3254805 h 5973007"/>
              <a:gd name="connsiteX70075" fmla="*/ 6687599 w 6884782"/>
              <a:gd name="connsiteY70075" fmla="*/ 3261310 h 5973007"/>
              <a:gd name="connsiteX70076" fmla="*/ 6677221 w 6884782"/>
              <a:gd name="connsiteY70076" fmla="*/ 3261826 h 5973007"/>
              <a:gd name="connsiteX70077" fmla="*/ 6697822 w 6884782"/>
              <a:gd name="connsiteY70077" fmla="*/ 3267402 h 5973007"/>
              <a:gd name="connsiteX70078" fmla="*/ 6717804 w 6884782"/>
              <a:gd name="connsiteY70078" fmla="*/ 3264511 h 5973007"/>
              <a:gd name="connsiteX70079" fmla="*/ 6723225 w 6884782"/>
              <a:gd name="connsiteY70079" fmla="*/ 3267712 h 5973007"/>
              <a:gd name="connsiteX70080" fmla="*/ 6727407 w 6884782"/>
              <a:gd name="connsiteY70080" fmla="*/ 3265957 h 5973007"/>
              <a:gd name="connsiteX70081" fmla="*/ 6744601 w 6884782"/>
              <a:gd name="connsiteY70081" fmla="*/ 3275146 h 5973007"/>
              <a:gd name="connsiteX70082" fmla="*/ 6753585 w 6884782"/>
              <a:gd name="connsiteY70082" fmla="*/ 3276282 h 5973007"/>
              <a:gd name="connsiteX70083" fmla="*/ 6759626 w 6884782"/>
              <a:gd name="connsiteY70083" fmla="*/ 3279793 h 5973007"/>
              <a:gd name="connsiteX70084" fmla="*/ 6750642 w 6884782"/>
              <a:gd name="connsiteY70084" fmla="*/ 3280722 h 5973007"/>
              <a:gd name="connsiteX70085" fmla="*/ 6750642 w 6884782"/>
              <a:gd name="connsiteY70085" fmla="*/ 3287697 h 5973007"/>
              <a:gd name="connsiteX70086" fmla="*/ 6750022 w 6884782"/>
              <a:gd name="connsiteY70086" fmla="*/ 3286608 h 5973007"/>
              <a:gd name="connsiteX70087" fmla="*/ 6733448 w 6884782"/>
              <a:gd name="connsiteY70087" fmla="*/ 3284439 h 5973007"/>
              <a:gd name="connsiteX70088" fmla="*/ 6725549 w 6884782"/>
              <a:gd name="connsiteY70088" fmla="*/ 3277521 h 5973007"/>
              <a:gd name="connsiteX70089" fmla="*/ 6721831 w 6884782"/>
              <a:gd name="connsiteY70089" fmla="*/ 3277831 h 5973007"/>
              <a:gd name="connsiteX70090" fmla="*/ 6718269 w 6884782"/>
              <a:gd name="connsiteY70090" fmla="*/ 3284233 h 5973007"/>
              <a:gd name="connsiteX70091" fmla="*/ 6712537 w 6884782"/>
              <a:gd name="connsiteY70091" fmla="*/ 3279483 h 5973007"/>
              <a:gd name="connsiteX70092" fmla="*/ 6699216 w 6884782"/>
              <a:gd name="connsiteY70092" fmla="*/ 3271635 h 5973007"/>
              <a:gd name="connsiteX70093" fmla="*/ 6683726 w 6884782"/>
              <a:gd name="connsiteY70093" fmla="*/ 3266163 h 5973007"/>
              <a:gd name="connsiteX70094" fmla="*/ 6664984 w 6884782"/>
              <a:gd name="connsiteY70094" fmla="*/ 3261826 h 5973007"/>
              <a:gd name="connsiteX70095" fmla="*/ 6654606 w 6884782"/>
              <a:gd name="connsiteY70095" fmla="*/ 3260174 h 5973007"/>
              <a:gd name="connsiteX70096" fmla="*/ 6644073 w 6884782"/>
              <a:gd name="connsiteY70096" fmla="*/ 3259141 h 5973007"/>
              <a:gd name="connsiteX70097" fmla="*/ 6630907 w 6884782"/>
              <a:gd name="connsiteY70097" fmla="*/ 3251294 h 5973007"/>
              <a:gd name="connsiteX70098" fmla="*/ 6615262 w 6884782"/>
              <a:gd name="connsiteY70098" fmla="*/ 3250158 h 5973007"/>
              <a:gd name="connsiteX70099" fmla="*/ 6622852 w 6884782"/>
              <a:gd name="connsiteY70099" fmla="*/ 3255528 h 5973007"/>
              <a:gd name="connsiteX70100" fmla="*/ 6609841 w 6884782"/>
              <a:gd name="connsiteY70100" fmla="*/ 3255321 h 5973007"/>
              <a:gd name="connsiteX70101" fmla="*/ 6587071 w 6884782"/>
              <a:gd name="connsiteY70101" fmla="*/ 3247577 h 5973007"/>
              <a:gd name="connsiteX70102" fmla="*/ 6591099 w 6884782"/>
              <a:gd name="connsiteY70102" fmla="*/ 3251088 h 5973007"/>
              <a:gd name="connsiteX70103" fmla="*/ 6598689 w 6884782"/>
              <a:gd name="connsiteY70103" fmla="*/ 3251914 h 5973007"/>
              <a:gd name="connsiteX70104" fmla="*/ 6591563 w 6884782"/>
              <a:gd name="connsiteY70104" fmla="*/ 3253462 h 5973007"/>
              <a:gd name="connsiteX70105" fmla="*/ 6584748 w 6884782"/>
              <a:gd name="connsiteY70105" fmla="*/ 3254392 h 5973007"/>
              <a:gd name="connsiteX70106" fmla="*/ 6570343 w 6884782"/>
              <a:gd name="connsiteY70106" fmla="*/ 3252223 h 5973007"/>
              <a:gd name="connsiteX70107" fmla="*/ 6539363 w 6884782"/>
              <a:gd name="connsiteY70107" fmla="*/ 3249435 h 5973007"/>
              <a:gd name="connsiteX70108" fmla="*/ 6534252 w 6884782"/>
              <a:gd name="connsiteY70108" fmla="*/ 3244892 h 5973007"/>
              <a:gd name="connsiteX70109" fmla="*/ 6522634 w 6884782"/>
              <a:gd name="connsiteY70109" fmla="*/ 3247887 h 5973007"/>
              <a:gd name="connsiteX70110" fmla="*/ 6512101 w 6884782"/>
              <a:gd name="connsiteY70110" fmla="*/ 3248093 h 5973007"/>
              <a:gd name="connsiteX70111" fmla="*/ 6512101 w 6884782"/>
              <a:gd name="connsiteY70111" fmla="*/ 3250055 h 5973007"/>
              <a:gd name="connsiteX70112" fmla="*/ 6510398 w 6884782"/>
              <a:gd name="connsiteY70112" fmla="*/ 3258109 h 5973007"/>
              <a:gd name="connsiteX70113" fmla="*/ 6505751 w 6884782"/>
              <a:gd name="connsiteY70113" fmla="*/ 3264614 h 5973007"/>
              <a:gd name="connsiteX70114" fmla="*/ 6511172 w 6884782"/>
              <a:gd name="connsiteY70114" fmla="*/ 3261723 h 5973007"/>
              <a:gd name="connsiteX70115" fmla="*/ 6519381 w 6884782"/>
              <a:gd name="connsiteY70115" fmla="*/ 3256767 h 5973007"/>
              <a:gd name="connsiteX70116" fmla="*/ 6519072 w 6884782"/>
              <a:gd name="connsiteY70116" fmla="*/ 3259761 h 5973007"/>
              <a:gd name="connsiteX70117" fmla="*/ 6534097 w 6884782"/>
              <a:gd name="connsiteY70117" fmla="*/ 3260587 h 5973007"/>
              <a:gd name="connsiteX70118" fmla="*/ 6526352 w 6884782"/>
              <a:gd name="connsiteY70118" fmla="*/ 3259658 h 5973007"/>
              <a:gd name="connsiteX70119" fmla="*/ 6522324 w 6884782"/>
              <a:gd name="connsiteY70119" fmla="*/ 3265234 h 5973007"/>
              <a:gd name="connsiteX70120" fmla="*/ 6544320 w 6884782"/>
              <a:gd name="connsiteY70120" fmla="*/ 3264511 h 5973007"/>
              <a:gd name="connsiteX70121" fmla="*/ 6558570 w 6884782"/>
              <a:gd name="connsiteY70121" fmla="*/ 3265130 h 5973007"/>
              <a:gd name="connsiteX70122" fmla="*/ 6572666 w 6884782"/>
              <a:gd name="connsiteY70122" fmla="*/ 3264201 h 5973007"/>
              <a:gd name="connsiteX70123" fmla="*/ 6573905 w 6884782"/>
              <a:gd name="connsiteY70123" fmla="*/ 3269054 h 5973007"/>
              <a:gd name="connsiteX70124" fmla="*/ 6588775 w 6884782"/>
              <a:gd name="connsiteY70124" fmla="*/ 3268434 h 5973007"/>
              <a:gd name="connsiteX70125" fmla="*/ 6604575 w 6884782"/>
              <a:gd name="connsiteY70125" fmla="*/ 3271016 h 5973007"/>
              <a:gd name="connsiteX70126" fmla="*/ 6618825 w 6884782"/>
              <a:gd name="connsiteY70126" fmla="*/ 3273907 h 5973007"/>
              <a:gd name="connsiteX70127" fmla="*/ 6630907 w 6884782"/>
              <a:gd name="connsiteY70127" fmla="*/ 3274630 h 5973007"/>
              <a:gd name="connsiteX70128" fmla="*/ 6630133 w 6884782"/>
              <a:gd name="connsiteY70128" fmla="*/ 3278863 h 5973007"/>
              <a:gd name="connsiteX70129" fmla="*/ 6646242 w 6884782"/>
              <a:gd name="connsiteY70129" fmla="*/ 3280102 h 5973007"/>
              <a:gd name="connsiteX70130" fmla="*/ 6633385 w 6884782"/>
              <a:gd name="connsiteY70130" fmla="*/ 3282168 h 5973007"/>
              <a:gd name="connsiteX70131" fmla="*/ 6656775 w 6884782"/>
              <a:gd name="connsiteY70131" fmla="*/ 3292390 h 5973007"/>
              <a:gd name="connsiteX70132" fmla="*/ 6656155 w 6884782"/>
              <a:gd name="connsiteY70132" fmla="*/ 3287640 h 5973007"/>
              <a:gd name="connsiteX70133" fmla="*/ 6669011 w 6884782"/>
              <a:gd name="connsiteY70133" fmla="*/ 3294662 h 5973007"/>
              <a:gd name="connsiteX70134" fmla="*/ 6676292 w 6884782"/>
              <a:gd name="connsiteY70134" fmla="*/ 3290119 h 5973007"/>
              <a:gd name="connsiteX70135" fmla="*/ 6693640 w 6884782"/>
              <a:gd name="connsiteY70135" fmla="*/ 3294765 h 5973007"/>
              <a:gd name="connsiteX70136" fmla="*/ 6711608 w 6884782"/>
              <a:gd name="connsiteY70136" fmla="*/ 3299515 h 5973007"/>
              <a:gd name="connsiteX70137" fmla="*/ 6705722 w 6884782"/>
              <a:gd name="connsiteY70137" fmla="*/ 3308292 h 5973007"/>
              <a:gd name="connsiteX70138" fmla="*/ 6689768 w 6884782"/>
              <a:gd name="connsiteY70138" fmla="*/ 3301787 h 5973007"/>
              <a:gd name="connsiteX70139" fmla="*/ 6674743 w 6884782"/>
              <a:gd name="connsiteY70139" fmla="*/ 3303232 h 5973007"/>
              <a:gd name="connsiteX70140" fmla="*/ 6674123 w 6884782"/>
              <a:gd name="connsiteY70140" fmla="*/ 3298482 h 5973007"/>
              <a:gd name="connsiteX70141" fmla="*/ 6670405 w 6884782"/>
              <a:gd name="connsiteY70141" fmla="*/ 3301167 h 5973007"/>
              <a:gd name="connsiteX70142" fmla="*/ 6681093 w 6884782"/>
              <a:gd name="connsiteY70142" fmla="*/ 3308188 h 5973007"/>
              <a:gd name="connsiteX70143" fmla="*/ 6693175 w 6884782"/>
              <a:gd name="connsiteY70143" fmla="*/ 3306639 h 5973007"/>
              <a:gd name="connsiteX70144" fmla="*/ 6705102 w 6884782"/>
              <a:gd name="connsiteY70144" fmla="*/ 3314177 h 5973007"/>
              <a:gd name="connsiteX70145" fmla="*/ 6700920 w 6884782"/>
              <a:gd name="connsiteY70145" fmla="*/ 3321715 h 5973007"/>
              <a:gd name="connsiteX70146" fmla="*/ 6699836 w 6884782"/>
              <a:gd name="connsiteY70146" fmla="*/ 3322231 h 5973007"/>
              <a:gd name="connsiteX70147" fmla="*/ 6701230 w 6884782"/>
              <a:gd name="connsiteY70147" fmla="*/ 3323883 h 5973007"/>
              <a:gd name="connsiteX70148" fmla="*/ 6709129 w 6884782"/>
              <a:gd name="connsiteY70148" fmla="*/ 3327394 h 5973007"/>
              <a:gd name="connsiteX70149" fmla="*/ 6726323 w 6884782"/>
              <a:gd name="connsiteY70149" fmla="*/ 3331937 h 5973007"/>
              <a:gd name="connsiteX70150" fmla="*/ 6732519 w 6884782"/>
              <a:gd name="connsiteY70150" fmla="*/ 3337616 h 5973007"/>
              <a:gd name="connsiteX70151" fmla="*/ 6736546 w 6884782"/>
              <a:gd name="connsiteY70151" fmla="*/ 3340404 h 5973007"/>
              <a:gd name="connsiteX70152" fmla="*/ 6740418 w 6884782"/>
              <a:gd name="connsiteY70152" fmla="*/ 3343915 h 5973007"/>
              <a:gd name="connsiteX70153" fmla="*/ 6759936 w 6884782"/>
              <a:gd name="connsiteY70153" fmla="*/ 3356615 h 5973007"/>
              <a:gd name="connsiteX70154" fmla="*/ 6780072 w 6884782"/>
              <a:gd name="connsiteY70154" fmla="*/ 3370349 h 5973007"/>
              <a:gd name="connsiteX70155" fmla="*/ 6794322 w 6884782"/>
              <a:gd name="connsiteY70155" fmla="*/ 3383772 h 5973007"/>
              <a:gd name="connsiteX70156" fmla="*/ 6800518 w 6884782"/>
              <a:gd name="connsiteY70156" fmla="*/ 3385011 h 5973007"/>
              <a:gd name="connsiteX70157" fmla="*/ 6804546 w 6884782"/>
              <a:gd name="connsiteY70157" fmla="*/ 3387799 h 5973007"/>
              <a:gd name="connsiteX70158" fmla="*/ 6811361 w 6884782"/>
              <a:gd name="connsiteY70158" fmla="*/ 3389038 h 5973007"/>
              <a:gd name="connsiteX70159" fmla="*/ 6806405 w 6884782"/>
              <a:gd name="connsiteY70159" fmla="*/ 3390587 h 5973007"/>
              <a:gd name="connsiteX70160" fmla="*/ 6829174 w 6884782"/>
              <a:gd name="connsiteY70160" fmla="*/ 3400602 h 5973007"/>
              <a:gd name="connsiteX70161" fmla="*/ 6851634 w 6884782"/>
              <a:gd name="connsiteY70161" fmla="*/ 3411341 h 5973007"/>
              <a:gd name="connsiteX70162" fmla="*/ 6848381 w 6884782"/>
              <a:gd name="connsiteY70162" fmla="*/ 3401945 h 5973007"/>
              <a:gd name="connsiteX70163" fmla="*/ 6856746 w 6884782"/>
              <a:gd name="connsiteY70163" fmla="*/ 3409069 h 5973007"/>
              <a:gd name="connsiteX70164" fmla="*/ 6862941 w 6884782"/>
              <a:gd name="connsiteY70164" fmla="*/ 3416297 h 5973007"/>
              <a:gd name="connsiteX70165" fmla="*/ 6879051 w 6884782"/>
              <a:gd name="connsiteY70165" fmla="*/ 3424248 h 5973007"/>
              <a:gd name="connsiteX70166" fmla="*/ 6880290 w 6884782"/>
              <a:gd name="connsiteY70166" fmla="*/ 3433644 h 5973007"/>
              <a:gd name="connsiteX70167" fmla="*/ 6884163 w 6884782"/>
              <a:gd name="connsiteY70167" fmla="*/ 3432302 h 5973007"/>
              <a:gd name="connsiteX70168" fmla="*/ 6884782 w 6884782"/>
              <a:gd name="connsiteY70168" fmla="*/ 3432199 h 5973007"/>
              <a:gd name="connsiteX70169" fmla="*/ 6884782 w 6884782"/>
              <a:gd name="connsiteY70169" fmla="*/ 3435090 h 5973007"/>
              <a:gd name="connsiteX70170" fmla="*/ 6884008 w 6884782"/>
              <a:gd name="connsiteY70170" fmla="*/ 3435090 h 5973007"/>
              <a:gd name="connsiteX70171" fmla="*/ 6882459 w 6884782"/>
              <a:gd name="connsiteY70171" fmla="*/ 3435916 h 5973007"/>
              <a:gd name="connsiteX70172" fmla="*/ 6884782 w 6884782"/>
              <a:gd name="connsiteY70172" fmla="*/ 3437465 h 5973007"/>
              <a:gd name="connsiteX70173" fmla="*/ 6884782 w 6884782"/>
              <a:gd name="connsiteY70173" fmla="*/ 4413133 h 5973007"/>
              <a:gd name="connsiteX70174" fmla="*/ 6884627 w 6884782"/>
              <a:gd name="connsiteY70174" fmla="*/ 4413133 h 5973007"/>
              <a:gd name="connsiteX70175" fmla="*/ 6881219 w 6884782"/>
              <a:gd name="connsiteY70175" fmla="*/ 4416024 h 5973007"/>
              <a:gd name="connsiteX70176" fmla="*/ 6874094 w 6884782"/>
              <a:gd name="connsiteY70176" fmla="*/ 4424388 h 5973007"/>
              <a:gd name="connsiteX70177" fmla="*/ 6867743 w 6884782"/>
              <a:gd name="connsiteY70177" fmla="*/ 4432235 h 5973007"/>
              <a:gd name="connsiteX70178" fmla="*/ 6870531 w 6884782"/>
              <a:gd name="connsiteY70178" fmla="*/ 4423975 h 5973007"/>
              <a:gd name="connsiteX70179" fmla="*/ 6875488 w 6884782"/>
              <a:gd name="connsiteY70179" fmla="*/ 4415817 h 5973007"/>
              <a:gd name="connsiteX70180" fmla="*/ 6868363 w 6884782"/>
              <a:gd name="connsiteY70180" fmla="*/ 4419638 h 5973007"/>
              <a:gd name="connsiteX70181" fmla="*/ 6868208 w 6884782"/>
              <a:gd name="connsiteY70181" fmla="*/ 4426350 h 5973007"/>
              <a:gd name="connsiteX70182" fmla="*/ 6857055 w 6884782"/>
              <a:gd name="connsiteY70182" fmla="*/ 4435643 h 5973007"/>
              <a:gd name="connsiteX70183" fmla="*/ 6861083 w 6884782"/>
              <a:gd name="connsiteY70183" fmla="*/ 4426350 h 5973007"/>
              <a:gd name="connsiteX70184" fmla="*/ 6840327 w 6884782"/>
              <a:gd name="connsiteY70184" fmla="*/ 4440289 h 5973007"/>
              <a:gd name="connsiteX70185" fmla="*/ 6834596 w 6884782"/>
              <a:gd name="connsiteY70185" fmla="*/ 4444523 h 5973007"/>
              <a:gd name="connsiteX70186" fmla="*/ 6816473 w 6884782"/>
              <a:gd name="connsiteY70186" fmla="*/ 4452577 h 5973007"/>
              <a:gd name="connsiteX70187" fmla="*/ 6811361 w 6884782"/>
              <a:gd name="connsiteY70187" fmla="*/ 4461457 h 5973007"/>
              <a:gd name="connsiteX70188" fmla="*/ 6788437 w 6884782"/>
              <a:gd name="connsiteY70188" fmla="*/ 4475500 h 5973007"/>
              <a:gd name="connsiteX70189" fmla="*/ 6781621 w 6884782"/>
              <a:gd name="connsiteY70189" fmla="*/ 4480249 h 5973007"/>
              <a:gd name="connsiteX70190" fmla="*/ 6775580 w 6884782"/>
              <a:gd name="connsiteY70190" fmla="*/ 4485103 h 5973007"/>
              <a:gd name="connsiteX70191" fmla="*/ 6772327 w 6884782"/>
              <a:gd name="connsiteY70191" fmla="*/ 4488613 h 5973007"/>
              <a:gd name="connsiteX70192" fmla="*/ 6772327 w 6884782"/>
              <a:gd name="connsiteY70192" fmla="*/ 4490575 h 5973007"/>
              <a:gd name="connsiteX70193" fmla="*/ 6753895 w 6884782"/>
              <a:gd name="connsiteY70193" fmla="*/ 4507922 h 5973007"/>
              <a:gd name="connsiteX70194" fmla="*/ 6759161 w 6884782"/>
              <a:gd name="connsiteY70194" fmla="*/ 4491504 h 5973007"/>
              <a:gd name="connsiteX70195" fmla="*/ 6761020 w 6884782"/>
              <a:gd name="connsiteY70195" fmla="*/ 4490472 h 5973007"/>
              <a:gd name="connsiteX70196" fmla="*/ 6757302 w 6884782"/>
              <a:gd name="connsiteY70196" fmla="*/ 4491298 h 5973007"/>
              <a:gd name="connsiteX70197" fmla="*/ 6746615 w 6884782"/>
              <a:gd name="connsiteY70197" fmla="*/ 4498009 h 5973007"/>
              <a:gd name="connsiteX70198" fmla="*/ 6751571 w 6884782"/>
              <a:gd name="connsiteY70198" fmla="*/ 4500281 h 5973007"/>
              <a:gd name="connsiteX70199" fmla="*/ 6725549 w 6884782"/>
              <a:gd name="connsiteY70199" fmla="*/ 4512569 h 5973007"/>
              <a:gd name="connsiteX70200" fmla="*/ 6720592 w 6884782"/>
              <a:gd name="connsiteY70200" fmla="*/ 4510297 h 5973007"/>
              <a:gd name="connsiteX70201" fmla="*/ 6710369 w 6884782"/>
              <a:gd name="connsiteY70201" fmla="*/ 4516905 h 5973007"/>
              <a:gd name="connsiteX70202" fmla="*/ 6715016 w 6884782"/>
              <a:gd name="connsiteY70202" fmla="*/ 4518351 h 5973007"/>
              <a:gd name="connsiteX70203" fmla="*/ 6694879 w 6884782"/>
              <a:gd name="connsiteY70203" fmla="*/ 4530226 h 5973007"/>
              <a:gd name="connsiteX70204" fmla="*/ 6684191 w 6884782"/>
              <a:gd name="connsiteY70204" fmla="*/ 4527644 h 5973007"/>
              <a:gd name="connsiteX70205" fmla="*/ 6667153 w 6884782"/>
              <a:gd name="connsiteY70205" fmla="*/ 4539002 h 5973007"/>
              <a:gd name="connsiteX70206" fmla="*/ 6656775 w 6884782"/>
              <a:gd name="connsiteY70206" fmla="*/ 4544062 h 5973007"/>
              <a:gd name="connsiteX70207" fmla="*/ 6645777 w 6884782"/>
              <a:gd name="connsiteY70207" fmla="*/ 4549018 h 5973007"/>
              <a:gd name="connsiteX70208" fmla="*/ 6622388 w 6884782"/>
              <a:gd name="connsiteY70208" fmla="*/ 4557588 h 5973007"/>
              <a:gd name="connsiteX70209" fmla="*/ 6609376 w 6884782"/>
              <a:gd name="connsiteY70209" fmla="*/ 4560479 h 5973007"/>
              <a:gd name="connsiteX70210" fmla="*/ 6611855 w 6884782"/>
              <a:gd name="connsiteY70210" fmla="*/ 4564713 h 5973007"/>
              <a:gd name="connsiteX70211" fmla="*/ 6605504 w 6884782"/>
              <a:gd name="connsiteY70211" fmla="*/ 4562855 h 5973007"/>
              <a:gd name="connsiteX70212" fmla="*/ 6603955 w 6884782"/>
              <a:gd name="connsiteY70212" fmla="*/ 4561719 h 5973007"/>
              <a:gd name="connsiteX70213" fmla="*/ 6599618 w 6884782"/>
              <a:gd name="connsiteY70213" fmla="*/ 4562648 h 5973007"/>
              <a:gd name="connsiteX70214" fmla="*/ 6591718 w 6884782"/>
              <a:gd name="connsiteY70214" fmla="*/ 4569153 h 5973007"/>
              <a:gd name="connsiteX70215" fmla="*/ 6589395 w 6884782"/>
              <a:gd name="connsiteY70215" fmla="*/ 4569669 h 5973007"/>
              <a:gd name="connsiteX70216" fmla="*/ 6595901 w 6884782"/>
              <a:gd name="connsiteY70216" fmla="*/ 4583093 h 5973007"/>
              <a:gd name="connsiteX70217" fmla="*/ 6598069 w 6884782"/>
              <a:gd name="connsiteY70217" fmla="*/ 4600233 h 5973007"/>
              <a:gd name="connsiteX70218" fmla="*/ 6603180 w 6884782"/>
              <a:gd name="connsiteY70218" fmla="*/ 4601472 h 5973007"/>
              <a:gd name="connsiteX70219" fmla="*/ 6627035 w 6884782"/>
              <a:gd name="connsiteY70219" fmla="*/ 4604364 h 5973007"/>
              <a:gd name="connsiteX70220" fmla="*/ 6610151 w 6884782"/>
              <a:gd name="connsiteY70220" fmla="*/ 4609320 h 5973007"/>
              <a:gd name="connsiteX70221" fmla="*/ 6600237 w 6884782"/>
              <a:gd name="connsiteY70221" fmla="*/ 4606429 h 5973007"/>
              <a:gd name="connsiteX70222" fmla="*/ 6598534 w 6884782"/>
              <a:gd name="connsiteY70222" fmla="*/ 4604054 h 5973007"/>
              <a:gd name="connsiteX70223" fmla="*/ 6598843 w 6884782"/>
              <a:gd name="connsiteY70223" fmla="*/ 4605809 h 5973007"/>
              <a:gd name="connsiteX70224" fmla="*/ 6594971 w 6884782"/>
              <a:gd name="connsiteY70224" fmla="*/ 4628526 h 5973007"/>
              <a:gd name="connsiteX70225" fmla="*/ 6562753 w 6884782"/>
              <a:gd name="connsiteY70225" fmla="*/ 4671686 h 5973007"/>
              <a:gd name="connsiteX70226" fmla="*/ 6526971 w 6884782"/>
              <a:gd name="connsiteY70226" fmla="*/ 4682632 h 5973007"/>
              <a:gd name="connsiteX70227" fmla="*/ 6522479 w 6884782"/>
              <a:gd name="connsiteY70227" fmla="*/ 4681909 h 5973007"/>
              <a:gd name="connsiteX70228" fmla="*/ 6521240 w 6884782"/>
              <a:gd name="connsiteY70228" fmla="*/ 4682941 h 5973007"/>
              <a:gd name="connsiteX70229" fmla="*/ 6516748 w 6884782"/>
              <a:gd name="connsiteY70229" fmla="*/ 4685007 h 5973007"/>
              <a:gd name="connsiteX70230" fmla="*/ 6517523 w 6884782"/>
              <a:gd name="connsiteY70230" fmla="*/ 4682632 h 5973007"/>
              <a:gd name="connsiteX70231" fmla="*/ 6519072 w 6884782"/>
              <a:gd name="connsiteY70231" fmla="*/ 4681289 h 5973007"/>
              <a:gd name="connsiteX70232" fmla="*/ 6512566 w 6884782"/>
              <a:gd name="connsiteY70232" fmla="*/ 4680154 h 5973007"/>
              <a:gd name="connsiteX70233" fmla="*/ 6474617 w 6884782"/>
              <a:gd name="connsiteY70233" fmla="*/ 4653410 h 5973007"/>
              <a:gd name="connsiteX70234" fmla="*/ 6471984 w 6884782"/>
              <a:gd name="connsiteY70234" fmla="*/ 4649073 h 5973007"/>
              <a:gd name="connsiteX70235" fmla="*/ 6471364 w 6884782"/>
              <a:gd name="connsiteY70235" fmla="*/ 4649590 h 5973007"/>
              <a:gd name="connsiteX70236" fmla="*/ 6471674 w 6884782"/>
              <a:gd name="connsiteY70236" fmla="*/ 4649900 h 5973007"/>
              <a:gd name="connsiteX70237" fmla="*/ 6470899 w 6884782"/>
              <a:gd name="connsiteY70237" fmla="*/ 4649486 h 5973007"/>
              <a:gd name="connsiteX70238" fmla="*/ 6468576 w 6884782"/>
              <a:gd name="connsiteY70238" fmla="*/ 4650106 h 5973007"/>
              <a:gd name="connsiteX70239" fmla="*/ 6464239 w 6884782"/>
              <a:gd name="connsiteY70239" fmla="*/ 4653410 h 5973007"/>
              <a:gd name="connsiteX70240" fmla="*/ 6458353 w 6884782"/>
              <a:gd name="connsiteY70240" fmla="*/ 4653927 h 5973007"/>
              <a:gd name="connsiteX70241" fmla="*/ 6457578 w 6884782"/>
              <a:gd name="connsiteY70241" fmla="*/ 4651551 h 5973007"/>
              <a:gd name="connsiteX70242" fmla="*/ 6455255 w 6884782"/>
              <a:gd name="connsiteY70242" fmla="*/ 4652171 h 5973007"/>
              <a:gd name="connsiteX70243" fmla="*/ 6445806 w 6884782"/>
              <a:gd name="connsiteY70243" fmla="*/ 4645769 h 5973007"/>
              <a:gd name="connsiteX70244" fmla="*/ 6445961 w 6884782"/>
              <a:gd name="connsiteY70244" fmla="*/ 4644633 h 5973007"/>
              <a:gd name="connsiteX70245" fmla="*/ 6444412 w 6884782"/>
              <a:gd name="connsiteY70245" fmla="*/ 4643601 h 5973007"/>
              <a:gd name="connsiteX70246" fmla="*/ 6445651 w 6884782"/>
              <a:gd name="connsiteY70246" fmla="*/ 4641845 h 5973007"/>
              <a:gd name="connsiteX70247" fmla="*/ 6445342 w 6884782"/>
              <a:gd name="connsiteY70247" fmla="*/ 4640710 h 5973007"/>
              <a:gd name="connsiteX70248" fmla="*/ 6445651 w 6884782"/>
              <a:gd name="connsiteY70248" fmla="*/ 4640193 h 5973007"/>
              <a:gd name="connsiteX70249" fmla="*/ 6442243 w 6884782"/>
              <a:gd name="connsiteY70249" fmla="*/ 4639367 h 5973007"/>
              <a:gd name="connsiteX70250" fmla="*/ 6443792 w 6884782"/>
              <a:gd name="connsiteY70250" fmla="*/ 4633895 h 5973007"/>
              <a:gd name="connsiteX70251" fmla="*/ 6448130 w 6884782"/>
              <a:gd name="connsiteY70251" fmla="*/ 4635031 h 5973007"/>
              <a:gd name="connsiteX70252" fmla="*/ 6451382 w 6884782"/>
              <a:gd name="connsiteY70252" fmla="*/ 4635650 h 5973007"/>
              <a:gd name="connsiteX70253" fmla="*/ 6455874 w 6884782"/>
              <a:gd name="connsiteY70253" fmla="*/ 4632552 h 5973007"/>
              <a:gd name="connsiteX70254" fmla="*/ 6451537 w 6884782"/>
              <a:gd name="connsiteY70254" fmla="*/ 4632036 h 5973007"/>
              <a:gd name="connsiteX70255" fmla="*/ 6443947 w 6884782"/>
              <a:gd name="connsiteY70255" fmla="*/ 4627699 h 5973007"/>
              <a:gd name="connsiteX70256" fmla="*/ 6443328 w 6884782"/>
              <a:gd name="connsiteY70256" fmla="*/ 4626976 h 5973007"/>
              <a:gd name="connsiteX70257" fmla="*/ 6443947 w 6884782"/>
              <a:gd name="connsiteY70257" fmla="*/ 4628422 h 5973007"/>
              <a:gd name="connsiteX70258" fmla="*/ 6443018 w 6884782"/>
              <a:gd name="connsiteY70258" fmla="*/ 4630074 h 5973007"/>
              <a:gd name="connsiteX70259" fmla="*/ 6440075 w 6884782"/>
              <a:gd name="connsiteY70259" fmla="*/ 4633069 h 5973007"/>
              <a:gd name="connsiteX70260" fmla="*/ 6437287 w 6884782"/>
              <a:gd name="connsiteY70260" fmla="*/ 4631520 h 5973007"/>
              <a:gd name="connsiteX70261" fmla="*/ 6436512 w 6884782"/>
              <a:gd name="connsiteY70261" fmla="*/ 4627803 h 5973007"/>
              <a:gd name="connsiteX70262" fmla="*/ 6439300 w 6884782"/>
              <a:gd name="connsiteY70262" fmla="*/ 4621504 h 5973007"/>
              <a:gd name="connsiteX70263" fmla="*/ 6440695 w 6884782"/>
              <a:gd name="connsiteY70263" fmla="*/ 4622433 h 5973007"/>
              <a:gd name="connsiteX70264" fmla="*/ 6444876 w 6884782"/>
              <a:gd name="connsiteY70264" fmla="*/ 4615309 h 5973007"/>
              <a:gd name="connsiteX70265" fmla="*/ 6451692 w 6884782"/>
              <a:gd name="connsiteY70265" fmla="*/ 4610869 h 5973007"/>
              <a:gd name="connsiteX70266" fmla="*/ 6456494 w 6884782"/>
              <a:gd name="connsiteY70266" fmla="*/ 4610042 h 5973007"/>
              <a:gd name="connsiteX70267" fmla="*/ 6453396 w 6884782"/>
              <a:gd name="connsiteY70267" fmla="*/ 4607874 h 5973007"/>
              <a:gd name="connsiteX70268" fmla="*/ 6445496 w 6884782"/>
              <a:gd name="connsiteY70268" fmla="*/ 4595483 h 5973007"/>
              <a:gd name="connsiteX70269" fmla="*/ 6446890 w 6884782"/>
              <a:gd name="connsiteY70269" fmla="*/ 4593522 h 5973007"/>
              <a:gd name="connsiteX70270" fmla="*/ 6444567 w 6884782"/>
              <a:gd name="connsiteY70270" fmla="*/ 4593831 h 5973007"/>
              <a:gd name="connsiteX70271" fmla="*/ 6424585 w 6884782"/>
              <a:gd name="connsiteY70271" fmla="*/ 4595174 h 5973007"/>
              <a:gd name="connsiteX70272" fmla="*/ 6424120 w 6884782"/>
              <a:gd name="connsiteY70272" fmla="*/ 4595174 h 5973007"/>
              <a:gd name="connsiteX70273" fmla="*/ 6433414 w 6884782"/>
              <a:gd name="connsiteY70273" fmla="*/ 4600233 h 5973007"/>
              <a:gd name="connsiteX70274" fmla="*/ 6442399 w 6884782"/>
              <a:gd name="connsiteY70274" fmla="*/ 4610249 h 5973007"/>
              <a:gd name="connsiteX70275" fmla="*/ 6425515 w 6884782"/>
              <a:gd name="connsiteY70275" fmla="*/ 4600027 h 5973007"/>
              <a:gd name="connsiteX70276" fmla="*/ 6423191 w 6884782"/>
              <a:gd name="connsiteY70276" fmla="*/ 4595174 h 5973007"/>
              <a:gd name="connsiteX70277" fmla="*/ 6413742 w 6884782"/>
              <a:gd name="connsiteY70277" fmla="*/ 4594864 h 5973007"/>
              <a:gd name="connsiteX70278" fmla="*/ 6403209 w 6884782"/>
              <a:gd name="connsiteY70278" fmla="*/ 4593935 h 5973007"/>
              <a:gd name="connsiteX70279" fmla="*/ 6401351 w 6884782"/>
              <a:gd name="connsiteY70279" fmla="*/ 4599304 h 5973007"/>
              <a:gd name="connsiteX70280" fmla="*/ 6395775 w 6884782"/>
              <a:gd name="connsiteY70280" fmla="*/ 4599304 h 5973007"/>
              <a:gd name="connsiteX70281" fmla="*/ 6397478 w 6884782"/>
              <a:gd name="connsiteY70281" fmla="*/ 4602092 h 5973007"/>
              <a:gd name="connsiteX70282" fmla="*/ 6396859 w 6884782"/>
              <a:gd name="connsiteY70282" fmla="*/ 4607461 h 5973007"/>
              <a:gd name="connsiteX70283" fmla="*/ 6393141 w 6884782"/>
              <a:gd name="connsiteY70283" fmla="*/ 4609113 h 5973007"/>
              <a:gd name="connsiteX70284" fmla="*/ 6385861 w 6884782"/>
              <a:gd name="connsiteY70284" fmla="*/ 4604776 h 5973007"/>
              <a:gd name="connsiteX70285" fmla="*/ 6387100 w 6884782"/>
              <a:gd name="connsiteY70285" fmla="*/ 4599820 h 5973007"/>
              <a:gd name="connsiteX70286" fmla="*/ 6389269 w 6884782"/>
              <a:gd name="connsiteY70286" fmla="*/ 4598994 h 5973007"/>
              <a:gd name="connsiteX70287" fmla="*/ 6382298 w 6884782"/>
              <a:gd name="connsiteY70287" fmla="*/ 4597962 h 5973007"/>
              <a:gd name="connsiteX70288" fmla="*/ 6370217 w 6884782"/>
              <a:gd name="connsiteY70288" fmla="*/ 4594967 h 5973007"/>
              <a:gd name="connsiteX70289" fmla="*/ 6366189 w 6884782"/>
              <a:gd name="connsiteY70289" fmla="*/ 4600543 h 5973007"/>
              <a:gd name="connsiteX70290" fmla="*/ 6361852 w 6884782"/>
              <a:gd name="connsiteY70290" fmla="*/ 4591663 h 5973007"/>
              <a:gd name="connsiteX70291" fmla="*/ 6340631 w 6884782"/>
              <a:gd name="connsiteY70291" fmla="*/ 4596413 h 5973007"/>
              <a:gd name="connsiteX70292" fmla="*/ 6349461 w 6884782"/>
              <a:gd name="connsiteY70292" fmla="*/ 4593935 h 5973007"/>
              <a:gd name="connsiteX70293" fmla="*/ 6334745 w 6884782"/>
              <a:gd name="connsiteY70293" fmla="*/ 4588565 h 5973007"/>
              <a:gd name="connsiteX70294" fmla="*/ 6334590 w 6884782"/>
              <a:gd name="connsiteY70294" fmla="*/ 4588565 h 5973007"/>
              <a:gd name="connsiteX70295" fmla="*/ 6335210 w 6884782"/>
              <a:gd name="connsiteY70295" fmla="*/ 4594038 h 5973007"/>
              <a:gd name="connsiteX70296" fmla="*/ 6336449 w 6884782"/>
              <a:gd name="connsiteY70296" fmla="*/ 4611281 h 5973007"/>
              <a:gd name="connsiteX70297" fmla="*/ 6329789 w 6884782"/>
              <a:gd name="connsiteY70297" fmla="*/ 4600853 h 5973007"/>
              <a:gd name="connsiteX70298" fmla="*/ 6327775 w 6884782"/>
              <a:gd name="connsiteY70298" fmla="*/ 4594554 h 5973007"/>
              <a:gd name="connsiteX70299" fmla="*/ 6327620 w 6884782"/>
              <a:gd name="connsiteY70299" fmla="*/ 4592799 h 5973007"/>
              <a:gd name="connsiteX70300" fmla="*/ 6325916 w 6884782"/>
              <a:gd name="connsiteY70300" fmla="*/ 4590837 h 5973007"/>
              <a:gd name="connsiteX70301" fmla="*/ 6316622 w 6884782"/>
              <a:gd name="connsiteY70301" fmla="*/ 4588255 h 5973007"/>
              <a:gd name="connsiteX70302" fmla="*/ 6314764 w 6884782"/>
              <a:gd name="connsiteY70302" fmla="*/ 4593728 h 5973007"/>
              <a:gd name="connsiteX70303" fmla="*/ 6311666 w 6884782"/>
              <a:gd name="connsiteY70303" fmla="*/ 4591456 h 5973007"/>
              <a:gd name="connsiteX70304" fmla="*/ 6311511 w 6884782"/>
              <a:gd name="connsiteY70304" fmla="*/ 4593831 h 5973007"/>
              <a:gd name="connsiteX70305" fmla="*/ 6318172 w 6884782"/>
              <a:gd name="connsiteY70305" fmla="*/ 4605706 h 5973007"/>
              <a:gd name="connsiteX70306" fmla="*/ 6309342 w 6884782"/>
              <a:gd name="connsiteY70306" fmla="*/ 4631416 h 5973007"/>
              <a:gd name="connsiteX70307" fmla="*/ 6282236 w 6884782"/>
              <a:gd name="connsiteY70307" fmla="*/ 4647008 h 5973007"/>
              <a:gd name="connsiteX70308" fmla="*/ 6274491 w 6884782"/>
              <a:gd name="connsiteY70308" fmla="*/ 4643704 h 5973007"/>
              <a:gd name="connsiteX70309" fmla="*/ 6267830 w 6884782"/>
              <a:gd name="connsiteY70309" fmla="*/ 4642259 h 5973007"/>
              <a:gd name="connsiteX70310" fmla="*/ 6268915 w 6884782"/>
              <a:gd name="connsiteY70310" fmla="*/ 4645976 h 5973007"/>
              <a:gd name="connsiteX70311" fmla="*/ 6270154 w 6884782"/>
              <a:gd name="connsiteY70311" fmla="*/ 4652584 h 5973007"/>
              <a:gd name="connsiteX70312" fmla="*/ 6260085 w 6884782"/>
              <a:gd name="connsiteY70312" fmla="*/ 4662394 h 5973007"/>
              <a:gd name="connsiteX70313" fmla="*/ 6259311 w 6884782"/>
              <a:gd name="connsiteY70313" fmla="*/ 4661671 h 5973007"/>
              <a:gd name="connsiteX70314" fmla="*/ 6257607 w 6884782"/>
              <a:gd name="connsiteY70314" fmla="*/ 4660948 h 5973007"/>
              <a:gd name="connsiteX70315" fmla="*/ 6254974 w 6884782"/>
              <a:gd name="connsiteY70315" fmla="*/ 4661980 h 5973007"/>
              <a:gd name="connsiteX70316" fmla="*/ 6252495 w 6884782"/>
              <a:gd name="connsiteY70316" fmla="*/ 4660638 h 5973007"/>
              <a:gd name="connsiteX70317" fmla="*/ 6250947 w 6884782"/>
              <a:gd name="connsiteY70317" fmla="*/ 4656405 h 5973007"/>
              <a:gd name="connsiteX70318" fmla="*/ 6251721 w 6884782"/>
              <a:gd name="connsiteY70318" fmla="*/ 4655682 h 5973007"/>
              <a:gd name="connsiteX70319" fmla="*/ 6250327 w 6884782"/>
              <a:gd name="connsiteY70319" fmla="*/ 4650519 h 5973007"/>
              <a:gd name="connsiteX70320" fmla="*/ 6250792 w 6884782"/>
              <a:gd name="connsiteY70320" fmla="*/ 4647215 h 5973007"/>
              <a:gd name="connsiteX70321" fmla="*/ 6249552 w 6884782"/>
              <a:gd name="connsiteY70321" fmla="*/ 4652171 h 5973007"/>
              <a:gd name="connsiteX70322" fmla="*/ 6248778 w 6884782"/>
              <a:gd name="connsiteY70322" fmla="*/ 4653927 h 5973007"/>
              <a:gd name="connsiteX70323" fmla="*/ 6249707 w 6884782"/>
              <a:gd name="connsiteY70323" fmla="*/ 4654030 h 5973007"/>
              <a:gd name="connsiteX70324" fmla="*/ 6248623 w 6884782"/>
              <a:gd name="connsiteY70324" fmla="*/ 4654959 h 5973007"/>
              <a:gd name="connsiteX70325" fmla="*/ 6248623 w 6884782"/>
              <a:gd name="connsiteY70325" fmla="*/ 4655062 h 5973007"/>
              <a:gd name="connsiteX70326" fmla="*/ 6248623 w 6884782"/>
              <a:gd name="connsiteY70326" fmla="*/ 4655992 h 5973007"/>
              <a:gd name="connsiteX70327" fmla="*/ 6246145 w 6884782"/>
              <a:gd name="connsiteY70327" fmla="*/ 4658883 h 5973007"/>
              <a:gd name="connsiteX70328" fmla="*/ 6245370 w 6884782"/>
              <a:gd name="connsiteY70328" fmla="*/ 4658779 h 5973007"/>
              <a:gd name="connsiteX70329" fmla="*/ 6245525 w 6884782"/>
              <a:gd name="connsiteY70329" fmla="*/ 4663529 h 5973007"/>
              <a:gd name="connsiteX70330" fmla="*/ 6245215 w 6884782"/>
              <a:gd name="connsiteY70330" fmla="*/ 4664975 h 5973007"/>
              <a:gd name="connsiteX70331" fmla="*/ 6245680 w 6884782"/>
              <a:gd name="connsiteY70331" fmla="*/ 4665284 h 5973007"/>
              <a:gd name="connsiteX70332" fmla="*/ 6245061 w 6884782"/>
              <a:gd name="connsiteY70332" fmla="*/ 4666007 h 5973007"/>
              <a:gd name="connsiteX70333" fmla="*/ 6244286 w 6884782"/>
              <a:gd name="connsiteY70333" fmla="*/ 4670447 h 5973007"/>
              <a:gd name="connsiteX70334" fmla="*/ 6240569 w 6884782"/>
              <a:gd name="connsiteY70334" fmla="*/ 4673752 h 5973007"/>
              <a:gd name="connsiteX70335" fmla="*/ 6239794 w 6884782"/>
              <a:gd name="connsiteY70335" fmla="*/ 4667866 h 5973007"/>
              <a:gd name="connsiteX70336" fmla="*/ 6239484 w 6884782"/>
              <a:gd name="connsiteY70336" fmla="*/ 4667556 h 5973007"/>
              <a:gd name="connsiteX70337" fmla="*/ 6239639 w 6884782"/>
              <a:gd name="connsiteY70337" fmla="*/ 4667143 h 5973007"/>
              <a:gd name="connsiteX70338" fmla="*/ 6239019 w 6884782"/>
              <a:gd name="connsiteY70338" fmla="*/ 4660329 h 5973007"/>
              <a:gd name="connsiteX70339" fmla="*/ 6240104 w 6884782"/>
              <a:gd name="connsiteY70339" fmla="*/ 4653720 h 5973007"/>
              <a:gd name="connsiteX70340" fmla="*/ 6239174 w 6884782"/>
              <a:gd name="connsiteY70340" fmla="*/ 4653617 h 5973007"/>
              <a:gd name="connsiteX70341" fmla="*/ 6226938 w 6884782"/>
              <a:gd name="connsiteY70341" fmla="*/ 4652997 h 5973007"/>
              <a:gd name="connsiteX70342" fmla="*/ 6228641 w 6884782"/>
              <a:gd name="connsiteY70342" fmla="*/ 4644324 h 5973007"/>
              <a:gd name="connsiteX70343" fmla="*/ 6240414 w 6884782"/>
              <a:gd name="connsiteY70343" fmla="*/ 4638438 h 5973007"/>
              <a:gd name="connsiteX70344" fmla="*/ 6240723 w 6884782"/>
              <a:gd name="connsiteY70344" fmla="*/ 4638644 h 5973007"/>
              <a:gd name="connsiteX70345" fmla="*/ 6245680 w 6884782"/>
              <a:gd name="connsiteY70345" fmla="*/ 4638644 h 5973007"/>
              <a:gd name="connsiteX70346" fmla="*/ 6246454 w 6884782"/>
              <a:gd name="connsiteY70346" fmla="*/ 4640193 h 5973007"/>
              <a:gd name="connsiteX70347" fmla="*/ 6249397 w 6884782"/>
              <a:gd name="connsiteY70347" fmla="*/ 4639471 h 5973007"/>
              <a:gd name="connsiteX70348" fmla="*/ 6251256 w 6884782"/>
              <a:gd name="connsiteY70348" fmla="*/ 4645872 h 5973007"/>
              <a:gd name="connsiteX70349" fmla="*/ 6261480 w 6884782"/>
              <a:gd name="connsiteY70349" fmla="*/ 4640916 h 5973007"/>
              <a:gd name="connsiteX70350" fmla="*/ 6263803 w 6884782"/>
              <a:gd name="connsiteY70350" fmla="*/ 4641536 h 5973007"/>
              <a:gd name="connsiteX70351" fmla="*/ 6265042 w 6884782"/>
              <a:gd name="connsiteY70351" fmla="*/ 4641639 h 5973007"/>
              <a:gd name="connsiteX70352" fmla="*/ 6256833 w 6884782"/>
              <a:gd name="connsiteY70352" fmla="*/ 4638748 h 5973007"/>
              <a:gd name="connsiteX70353" fmla="*/ 6250947 w 6884782"/>
              <a:gd name="connsiteY70353" fmla="*/ 4632243 h 5973007"/>
              <a:gd name="connsiteX70354" fmla="*/ 6250482 w 6884782"/>
              <a:gd name="connsiteY70354" fmla="*/ 4620162 h 5973007"/>
              <a:gd name="connsiteX70355" fmla="*/ 6250327 w 6884782"/>
              <a:gd name="connsiteY70355" fmla="*/ 4619748 h 5973007"/>
              <a:gd name="connsiteX70356" fmla="*/ 6250172 w 6884782"/>
              <a:gd name="connsiteY70356" fmla="*/ 4619955 h 5973007"/>
              <a:gd name="connsiteX70357" fmla="*/ 6249707 w 6884782"/>
              <a:gd name="connsiteY70357" fmla="*/ 4619439 h 5973007"/>
              <a:gd name="connsiteX70358" fmla="*/ 6248933 w 6884782"/>
              <a:gd name="connsiteY70358" fmla="*/ 4618509 h 5973007"/>
              <a:gd name="connsiteX70359" fmla="*/ 6248778 w 6884782"/>
              <a:gd name="connsiteY70359" fmla="*/ 4618200 h 5973007"/>
              <a:gd name="connsiteX70360" fmla="*/ 6249397 w 6884782"/>
              <a:gd name="connsiteY70360" fmla="*/ 4617167 h 5973007"/>
              <a:gd name="connsiteX70361" fmla="*/ 6248778 w 6884782"/>
              <a:gd name="connsiteY70361" fmla="*/ 4615722 h 5973007"/>
              <a:gd name="connsiteX70362" fmla="*/ 6247384 w 6884782"/>
              <a:gd name="connsiteY70362" fmla="*/ 4611075 h 5973007"/>
              <a:gd name="connsiteX70363" fmla="*/ 6252495 w 6884782"/>
              <a:gd name="connsiteY70363" fmla="*/ 4599717 h 5973007"/>
              <a:gd name="connsiteX70364" fmla="*/ 6254664 w 6884782"/>
              <a:gd name="connsiteY70364" fmla="*/ 4596516 h 5973007"/>
              <a:gd name="connsiteX70365" fmla="*/ 6256213 w 6884782"/>
              <a:gd name="connsiteY70365" fmla="*/ 4593522 h 5973007"/>
              <a:gd name="connsiteX70366" fmla="*/ 6256368 w 6884782"/>
              <a:gd name="connsiteY70366" fmla="*/ 4593212 h 5973007"/>
              <a:gd name="connsiteX70367" fmla="*/ 6257452 w 6884782"/>
              <a:gd name="connsiteY70367" fmla="*/ 4586087 h 5973007"/>
              <a:gd name="connsiteX70368" fmla="*/ 6261634 w 6884782"/>
              <a:gd name="connsiteY70368" fmla="*/ 4580098 h 5973007"/>
              <a:gd name="connsiteX70369" fmla="*/ 6265352 w 6884782"/>
              <a:gd name="connsiteY70369" fmla="*/ 4578446 h 5973007"/>
              <a:gd name="connsiteX70370" fmla="*/ 6268140 w 6884782"/>
              <a:gd name="connsiteY70370" fmla="*/ 4578136 h 5973007"/>
              <a:gd name="connsiteX70371" fmla="*/ 6266746 w 6884782"/>
              <a:gd name="connsiteY70371" fmla="*/ 4577413 h 5973007"/>
              <a:gd name="connsiteX70372" fmla="*/ 6268760 w 6884782"/>
              <a:gd name="connsiteY70372" fmla="*/ 4568946 h 5973007"/>
              <a:gd name="connsiteX70373" fmla="*/ 6263493 w 6884782"/>
              <a:gd name="connsiteY70373" fmla="*/ 4573697 h 5973007"/>
              <a:gd name="connsiteX70374" fmla="*/ 6259775 w 6884782"/>
              <a:gd name="connsiteY70374" fmla="*/ 4571528 h 5973007"/>
              <a:gd name="connsiteX70375" fmla="*/ 6255748 w 6884782"/>
              <a:gd name="connsiteY70375" fmla="*/ 4571838 h 5973007"/>
              <a:gd name="connsiteX70376" fmla="*/ 6256678 w 6884782"/>
              <a:gd name="connsiteY70376" fmla="*/ 4566675 h 5973007"/>
              <a:gd name="connsiteX70377" fmla="*/ 6260240 w 6884782"/>
              <a:gd name="connsiteY70377" fmla="*/ 4569463 h 5973007"/>
              <a:gd name="connsiteX70378" fmla="*/ 6259930 w 6884782"/>
              <a:gd name="connsiteY70378" fmla="*/ 4571012 h 5973007"/>
              <a:gd name="connsiteX70379" fmla="*/ 6263958 w 6884782"/>
              <a:gd name="connsiteY70379" fmla="*/ 4568843 h 5973007"/>
              <a:gd name="connsiteX70380" fmla="*/ 6266746 w 6884782"/>
              <a:gd name="connsiteY70380" fmla="*/ 4562235 h 5973007"/>
              <a:gd name="connsiteX70381" fmla="*/ 6263648 w 6884782"/>
              <a:gd name="connsiteY70381" fmla="*/ 4560583 h 5973007"/>
              <a:gd name="connsiteX70382" fmla="*/ 6261789 w 6884782"/>
              <a:gd name="connsiteY70382" fmla="*/ 4560893 h 5973007"/>
              <a:gd name="connsiteX70383" fmla="*/ 6261944 w 6884782"/>
              <a:gd name="connsiteY70383" fmla="*/ 4561099 h 5973007"/>
              <a:gd name="connsiteX70384" fmla="*/ 6260395 w 6884782"/>
              <a:gd name="connsiteY70384" fmla="*/ 4561615 h 5973007"/>
              <a:gd name="connsiteX70385" fmla="*/ 6260240 w 6884782"/>
              <a:gd name="connsiteY70385" fmla="*/ 4563268 h 5973007"/>
              <a:gd name="connsiteX70386" fmla="*/ 6256987 w 6884782"/>
              <a:gd name="connsiteY70386" fmla="*/ 4565333 h 5973007"/>
              <a:gd name="connsiteX70387" fmla="*/ 6257607 w 6884782"/>
              <a:gd name="connsiteY70387" fmla="*/ 4562751 h 5973007"/>
              <a:gd name="connsiteX70388" fmla="*/ 6253890 w 6884782"/>
              <a:gd name="connsiteY70388" fmla="*/ 4564197 h 5973007"/>
              <a:gd name="connsiteX70389" fmla="*/ 6248623 w 6884782"/>
              <a:gd name="connsiteY70389" fmla="*/ 4558828 h 5973007"/>
              <a:gd name="connsiteX70390" fmla="*/ 6252031 w 6884782"/>
              <a:gd name="connsiteY70390" fmla="*/ 4556143 h 5973007"/>
              <a:gd name="connsiteX70391" fmla="*/ 6246454 w 6884782"/>
              <a:gd name="connsiteY70391" fmla="*/ 4553768 h 5973007"/>
              <a:gd name="connsiteX70392" fmla="*/ 6250637 w 6884782"/>
              <a:gd name="connsiteY70392" fmla="*/ 4553148 h 5973007"/>
              <a:gd name="connsiteX70393" fmla="*/ 6254354 w 6884782"/>
              <a:gd name="connsiteY70393" fmla="*/ 4554078 h 5973007"/>
              <a:gd name="connsiteX70394" fmla="*/ 6255594 w 6884782"/>
              <a:gd name="connsiteY70394" fmla="*/ 4553045 h 5973007"/>
              <a:gd name="connsiteX70395" fmla="*/ 6254354 w 6884782"/>
              <a:gd name="connsiteY70395" fmla="*/ 4550051 h 5973007"/>
              <a:gd name="connsiteX70396" fmla="*/ 6247694 w 6884782"/>
              <a:gd name="connsiteY70396" fmla="*/ 4548192 h 5973007"/>
              <a:gd name="connsiteX70397" fmla="*/ 6257917 w 6884782"/>
              <a:gd name="connsiteY70397" fmla="*/ 4547572 h 5973007"/>
              <a:gd name="connsiteX70398" fmla="*/ 6237316 w 6884782"/>
              <a:gd name="connsiteY70398" fmla="*/ 4541997 h 5973007"/>
              <a:gd name="connsiteX70399" fmla="*/ 6236231 w 6884782"/>
              <a:gd name="connsiteY70399" fmla="*/ 4541894 h 5973007"/>
              <a:gd name="connsiteX70400" fmla="*/ 6232204 w 6884782"/>
              <a:gd name="connsiteY70400" fmla="*/ 4549534 h 5973007"/>
              <a:gd name="connsiteX70401" fmla="*/ 6225543 w 6884782"/>
              <a:gd name="connsiteY70401" fmla="*/ 4557485 h 5973007"/>
              <a:gd name="connsiteX70402" fmla="*/ 6223065 w 6884782"/>
              <a:gd name="connsiteY70402" fmla="*/ 4545095 h 5973007"/>
              <a:gd name="connsiteX70403" fmla="*/ 6223530 w 6884782"/>
              <a:gd name="connsiteY70403" fmla="*/ 4542513 h 5973007"/>
              <a:gd name="connsiteX70404" fmla="*/ 6217644 w 6884782"/>
              <a:gd name="connsiteY70404" fmla="*/ 4544888 h 5973007"/>
              <a:gd name="connsiteX70405" fmla="*/ 6215011 w 6884782"/>
              <a:gd name="connsiteY70405" fmla="*/ 4543649 h 5973007"/>
              <a:gd name="connsiteX70406" fmla="*/ 6212222 w 6884782"/>
              <a:gd name="connsiteY70406" fmla="*/ 4541790 h 5973007"/>
              <a:gd name="connsiteX70407" fmla="*/ 6211448 w 6884782"/>
              <a:gd name="connsiteY70407" fmla="*/ 4542823 h 5973007"/>
              <a:gd name="connsiteX70408" fmla="*/ 6210673 w 6884782"/>
              <a:gd name="connsiteY70408" fmla="*/ 4541584 h 5973007"/>
              <a:gd name="connsiteX70409" fmla="*/ 6209744 w 6884782"/>
              <a:gd name="connsiteY70409" fmla="*/ 4541584 h 5973007"/>
              <a:gd name="connsiteX70410" fmla="*/ 6207885 w 6884782"/>
              <a:gd name="connsiteY70410" fmla="*/ 4543339 h 5973007"/>
              <a:gd name="connsiteX70411" fmla="*/ 6201999 w 6884782"/>
              <a:gd name="connsiteY70411" fmla="*/ 4538486 h 5973007"/>
              <a:gd name="connsiteX70412" fmla="*/ 6201844 w 6884782"/>
              <a:gd name="connsiteY70412" fmla="*/ 4540035 h 5973007"/>
              <a:gd name="connsiteX70413" fmla="*/ 6197817 w 6884782"/>
              <a:gd name="connsiteY70413" fmla="*/ 4542719 h 5973007"/>
              <a:gd name="connsiteX70414" fmla="*/ 6196113 w 6884782"/>
              <a:gd name="connsiteY70414" fmla="*/ 4541687 h 5973007"/>
              <a:gd name="connsiteX70415" fmla="*/ 6196888 w 6884782"/>
              <a:gd name="connsiteY70415" fmla="*/ 4537660 h 5973007"/>
              <a:gd name="connsiteX70416" fmla="*/ 6199521 w 6884782"/>
              <a:gd name="connsiteY70416" fmla="*/ 4536937 h 5973007"/>
              <a:gd name="connsiteX70417" fmla="*/ 6190692 w 6884782"/>
              <a:gd name="connsiteY70417" fmla="*/ 4534356 h 5973007"/>
              <a:gd name="connsiteX70418" fmla="*/ 6188214 w 6884782"/>
              <a:gd name="connsiteY70418" fmla="*/ 4533943 h 5973007"/>
              <a:gd name="connsiteX70419" fmla="*/ 6185426 w 6884782"/>
              <a:gd name="connsiteY70419" fmla="*/ 4535905 h 5973007"/>
              <a:gd name="connsiteX70420" fmla="*/ 6183722 w 6884782"/>
              <a:gd name="connsiteY70420" fmla="*/ 4534872 h 5973007"/>
              <a:gd name="connsiteX70421" fmla="*/ 6182018 w 6884782"/>
              <a:gd name="connsiteY70421" fmla="*/ 4533220 h 5973007"/>
              <a:gd name="connsiteX70422" fmla="*/ 6182018 w 6884782"/>
              <a:gd name="connsiteY70422" fmla="*/ 4533116 h 5973007"/>
              <a:gd name="connsiteX70423" fmla="*/ 6181708 w 6884782"/>
              <a:gd name="connsiteY70423" fmla="*/ 4533013 h 5973007"/>
              <a:gd name="connsiteX70424" fmla="*/ 6175512 w 6884782"/>
              <a:gd name="connsiteY70424" fmla="*/ 4529606 h 5973007"/>
              <a:gd name="connsiteX70425" fmla="*/ 6180004 w 6884782"/>
              <a:gd name="connsiteY70425" fmla="*/ 4529400 h 5973007"/>
              <a:gd name="connsiteX70426" fmla="*/ 6180779 w 6884782"/>
              <a:gd name="connsiteY70426" fmla="*/ 4529296 h 5973007"/>
              <a:gd name="connsiteX70427" fmla="*/ 6180469 w 6884782"/>
              <a:gd name="connsiteY70427" fmla="*/ 4528470 h 5973007"/>
              <a:gd name="connsiteX70428" fmla="*/ 6182172 w 6884782"/>
              <a:gd name="connsiteY70428" fmla="*/ 4525166 h 5973007"/>
              <a:gd name="connsiteX70429" fmla="*/ 6183567 w 6884782"/>
              <a:gd name="connsiteY70429" fmla="*/ 4524237 h 5973007"/>
              <a:gd name="connsiteX70430" fmla="*/ 6184031 w 6884782"/>
              <a:gd name="connsiteY70430" fmla="*/ 4524443 h 5973007"/>
              <a:gd name="connsiteX70431" fmla="*/ 6184496 w 6884782"/>
              <a:gd name="connsiteY70431" fmla="*/ 4520416 h 5973007"/>
              <a:gd name="connsiteX70432" fmla="*/ 6154446 w 6884782"/>
              <a:gd name="connsiteY70432" fmla="*/ 4506580 h 5973007"/>
              <a:gd name="connsiteX70433" fmla="*/ 6148405 w 6884782"/>
              <a:gd name="connsiteY70433" fmla="*/ 4503585 h 5973007"/>
              <a:gd name="connsiteX70434" fmla="*/ 6146856 w 6884782"/>
              <a:gd name="connsiteY70434" fmla="*/ 4505547 h 5973007"/>
              <a:gd name="connsiteX70435" fmla="*/ 6143448 w 6884782"/>
              <a:gd name="connsiteY70435" fmla="*/ 4501727 h 5973007"/>
              <a:gd name="connsiteX70436" fmla="*/ 6143913 w 6884782"/>
              <a:gd name="connsiteY70436" fmla="*/ 4501210 h 5973007"/>
              <a:gd name="connsiteX70437" fmla="*/ 6139731 w 6884782"/>
              <a:gd name="connsiteY70437" fmla="*/ 4499145 h 5973007"/>
              <a:gd name="connsiteX70438" fmla="*/ 6139111 w 6884782"/>
              <a:gd name="connsiteY70438" fmla="*/ 4498939 h 5973007"/>
              <a:gd name="connsiteX70439" fmla="*/ 6138492 w 6884782"/>
              <a:gd name="connsiteY70439" fmla="*/ 4500488 h 5973007"/>
              <a:gd name="connsiteX70440" fmla="*/ 6136478 w 6884782"/>
              <a:gd name="connsiteY70440" fmla="*/ 4502037 h 5973007"/>
              <a:gd name="connsiteX70441" fmla="*/ 6133690 w 6884782"/>
              <a:gd name="connsiteY70441" fmla="*/ 4501727 h 5973007"/>
              <a:gd name="connsiteX70442" fmla="*/ 6131676 w 6884782"/>
              <a:gd name="connsiteY70442" fmla="*/ 4499971 h 5973007"/>
              <a:gd name="connsiteX70443" fmla="*/ 6131057 w 6884782"/>
              <a:gd name="connsiteY70443" fmla="*/ 4497493 h 5973007"/>
              <a:gd name="connsiteX70444" fmla="*/ 6131057 w 6884782"/>
              <a:gd name="connsiteY70444" fmla="*/ 4496358 h 5973007"/>
              <a:gd name="connsiteX70445" fmla="*/ 6126565 w 6884782"/>
              <a:gd name="connsiteY70445" fmla="*/ 4495015 h 5973007"/>
              <a:gd name="connsiteX70446" fmla="*/ 6124241 w 6884782"/>
              <a:gd name="connsiteY70446" fmla="*/ 4499042 h 5973007"/>
              <a:gd name="connsiteX70447" fmla="*/ 6118355 w 6884782"/>
              <a:gd name="connsiteY70447" fmla="*/ 4502037 h 5973007"/>
              <a:gd name="connsiteX70448" fmla="*/ 6121453 w 6884782"/>
              <a:gd name="connsiteY70448" fmla="*/ 4490678 h 5973007"/>
              <a:gd name="connsiteX70449" fmla="*/ 6118665 w 6884782"/>
              <a:gd name="connsiteY70449" fmla="*/ 4487581 h 5973007"/>
              <a:gd name="connsiteX70450" fmla="*/ 6112469 w 6884782"/>
              <a:gd name="connsiteY70450" fmla="*/ 4483037 h 5973007"/>
              <a:gd name="connsiteX70451" fmla="*/ 6111695 w 6884782"/>
              <a:gd name="connsiteY70451" fmla="*/ 4482624 h 5973007"/>
              <a:gd name="connsiteX70452" fmla="*/ 6111385 w 6884782"/>
              <a:gd name="connsiteY70452" fmla="*/ 4483760 h 5973007"/>
              <a:gd name="connsiteX70453" fmla="*/ 6099768 w 6884782"/>
              <a:gd name="connsiteY70453" fmla="*/ 4488820 h 5973007"/>
              <a:gd name="connsiteX70454" fmla="*/ 6092333 w 6884782"/>
              <a:gd name="connsiteY70454" fmla="*/ 4493157 h 5973007"/>
              <a:gd name="connsiteX70455" fmla="*/ 6091558 w 6884782"/>
              <a:gd name="connsiteY70455" fmla="*/ 4493982 h 5973007"/>
              <a:gd name="connsiteX70456" fmla="*/ 6112004 w 6884782"/>
              <a:gd name="connsiteY70456" fmla="*/ 4503999 h 5973007"/>
              <a:gd name="connsiteX70457" fmla="*/ 6127804 w 6884782"/>
              <a:gd name="connsiteY70457" fmla="*/ 4517215 h 5973007"/>
              <a:gd name="connsiteX70458" fmla="*/ 6117426 w 6884782"/>
              <a:gd name="connsiteY70458" fmla="*/ 4509471 h 5973007"/>
              <a:gd name="connsiteX70459" fmla="*/ 6118820 w 6884782"/>
              <a:gd name="connsiteY70459" fmla="*/ 4515666 h 5973007"/>
              <a:gd name="connsiteX70460" fmla="*/ 6121763 w 6884782"/>
              <a:gd name="connsiteY70460" fmla="*/ 4520003 h 5973007"/>
              <a:gd name="connsiteX70461" fmla="*/ 6123777 w 6884782"/>
              <a:gd name="connsiteY70461" fmla="*/ 4518971 h 5973007"/>
              <a:gd name="connsiteX70462" fmla="*/ 6134155 w 6884782"/>
              <a:gd name="connsiteY70462" fmla="*/ 4522584 h 5973007"/>
              <a:gd name="connsiteX70463" fmla="*/ 6131831 w 6884782"/>
              <a:gd name="connsiteY70463" fmla="*/ 4527128 h 5973007"/>
              <a:gd name="connsiteX70464" fmla="*/ 6131212 w 6884782"/>
              <a:gd name="connsiteY70464" fmla="*/ 4527644 h 5973007"/>
              <a:gd name="connsiteX70465" fmla="*/ 6133690 w 6884782"/>
              <a:gd name="connsiteY70465" fmla="*/ 4529606 h 5973007"/>
              <a:gd name="connsiteX70466" fmla="*/ 6130127 w 6884782"/>
              <a:gd name="connsiteY70466" fmla="*/ 4531155 h 5973007"/>
              <a:gd name="connsiteX70467" fmla="*/ 6126720 w 6884782"/>
              <a:gd name="connsiteY70467" fmla="*/ 4530948 h 5973007"/>
              <a:gd name="connsiteX70468" fmla="*/ 6123157 w 6884782"/>
              <a:gd name="connsiteY70468" fmla="*/ 4533530 h 5973007"/>
              <a:gd name="connsiteX70469" fmla="*/ 6121763 w 6884782"/>
              <a:gd name="connsiteY70469" fmla="*/ 4531877 h 5973007"/>
              <a:gd name="connsiteX70470" fmla="*/ 6120059 w 6884782"/>
              <a:gd name="connsiteY70470" fmla="*/ 4533633 h 5973007"/>
              <a:gd name="connsiteX70471" fmla="*/ 6108442 w 6884782"/>
              <a:gd name="connsiteY70471" fmla="*/ 4521036 h 5973007"/>
              <a:gd name="connsiteX70472" fmla="*/ 6102091 w 6884782"/>
              <a:gd name="connsiteY70472" fmla="*/ 4517215 h 5973007"/>
              <a:gd name="connsiteX70473" fmla="*/ 6099768 w 6884782"/>
              <a:gd name="connsiteY70473" fmla="*/ 4520106 h 5973007"/>
              <a:gd name="connsiteX70474" fmla="*/ 6084123 w 6884782"/>
              <a:gd name="connsiteY70474" fmla="*/ 4525269 h 5973007"/>
              <a:gd name="connsiteX70475" fmla="*/ 6078702 w 6884782"/>
              <a:gd name="connsiteY70475" fmla="*/ 4524133 h 5973007"/>
              <a:gd name="connsiteX70476" fmla="*/ 6074055 w 6884782"/>
              <a:gd name="connsiteY70476" fmla="*/ 4521345 h 5973007"/>
              <a:gd name="connsiteX70477" fmla="*/ 6073435 w 6884782"/>
              <a:gd name="connsiteY70477" fmla="*/ 4522481 h 5973007"/>
              <a:gd name="connsiteX70478" fmla="*/ 6065381 w 6884782"/>
              <a:gd name="connsiteY70478" fmla="*/ 4521345 h 5973007"/>
              <a:gd name="connsiteX70479" fmla="*/ 6064916 w 6884782"/>
              <a:gd name="connsiteY70479" fmla="*/ 4514943 h 5973007"/>
              <a:gd name="connsiteX70480" fmla="*/ 6070028 w 6884782"/>
              <a:gd name="connsiteY70480" fmla="*/ 4515460 h 5973007"/>
              <a:gd name="connsiteX70481" fmla="*/ 6074055 w 6884782"/>
              <a:gd name="connsiteY70481" fmla="*/ 4518764 h 5973007"/>
              <a:gd name="connsiteX70482" fmla="*/ 6074984 w 6884782"/>
              <a:gd name="connsiteY70482" fmla="*/ 4511846 h 5973007"/>
              <a:gd name="connsiteX70483" fmla="*/ 6079476 w 6884782"/>
              <a:gd name="connsiteY70483" fmla="*/ 4504928 h 5973007"/>
              <a:gd name="connsiteX70484" fmla="*/ 6081800 w 6884782"/>
              <a:gd name="connsiteY70484" fmla="*/ 4503482 h 5973007"/>
              <a:gd name="connsiteX70485" fmla="*/ 6078392 w 6884782"/>
              <a:gd name="connsiteY70485" fmla="*/ 4501624 h 5973007"/>
              <a:gd name="connsiteX70486" fmla="*/ 6071577 w 6884782"/>
              <a:gd name="connsiteY70486" fmla="*/ 4499145 h 5973007"/>
              <a:gd name="connsiteX70487" fmla="*/ 6067085 w 6884782"/>
              <a:gd name="connsiteY70487" fmla="*/ 4491917 h 5973007"/>
              <a:gd name="connsiteX70488" fmla="*/ 6065381 w 6884782"/>
              <a:gd name="connsiteY70488" fmla="*/ 4490575 h 5973007"/>
              <a:gd name="connsiteX70489" fmla="*/ 6064761 w 6884782"/>
              <a:gd name="connsiteY70489" fmla="*/ 4491711 h 5973007"/>
              <a:gd name="connsiteX70490" fmla="*/ 6063677 w 6884782"/>
              <a:gd name="connsiteY70490" fmla="*/ 4489027 h 5973007"/>
              <a:gd name="connsiteX70491" fmla="*/ 6060579 w 6884782"/>
              <a:gd name="connsiteY70491" fmla="*/ 4486445 h 5973007"/>
              <a:gd name="connsiteX70492" fmla="*/ 6060269 w 6884782"/>
              <a:gd name="connsiteY70492" fmla="*/ 4486342 h 5973007"/>
              <a:gd name="connsiteX70493" fmla="*/ 6060114 w 6884782"/>
              <a:gd name="connsiteY70493" fmla="*/ 4486032 h 5973007"/>
              <a:gd name="connsiteX70494" fmla="*/ 6059495 w 6884782"/>
              <a:gd name="connsiteY70494" fmla="*/ 4485515 h 5973007"/>
              <a:gd name="connsiteX70495" fmla="*/ 6050201 w 6884782"/>
              <a:gd name="connsiteY70495" fmla="*/ 4478907 h 5973007"/>
              <a:gd name="connsiteX70496" fmla="*/ 6039978 w 6884782"/>
              <a:gd name="connsiteY70496" fmla="*/ 4470543 h 5973007"/>
              <a:gd name="connsiteX70497" fmla="*/ 6030684 w 6884782"/>
              <a:gd name="connsiteY70497" fmla="*/ 4472092 h 5973007"/>
              <a:gd name="connsiteX70498" fmla="*/ 6033007 w 6884782"/>
              <a:gd name="connsiteY70498" fmla="*/ 4467239 h 5973007"/>
              <a:gd name="connsiteX70499" fmla="*/ 6032078 w 6884782"/>
              <a:gd name="connsiteY70499" fmla="*/ 4463419 h 5973007"/>
              <a:gd name="connsiteX70500" fmla="*/ 6027586 w 6884782"/>
              <a:gd name="connsiteY70500" fmla="*/ 4468478 h 5973007"/>
              <a:gd name="connsiteX70501" fmla="*/ 6018137 w 6884782"/>
              <a:gd name="connsiteY70501" fmla="*/ 4474570 h 5973007"/>
              <a:gd name="connsiteX70502" fmla="*/ 6015969 w 6884782"/>
              <a:gd name="connsiteY70502" fmla="*/ 4473538 h 5973007"/>
              <a:gd name="connsiteX70503" fmla="*/ 6024643 w 6884782"/>
              <a:gd name="connsiteY70503" fmla="*/ 4462386 h 5973007"/>
              <a:gd name="connsiteX70504" fmla="*/ 6027896 w 6884782"/>
              <a:gd name="connsiteY70504" fmla="*/ 4460114 h 5973007"/>
              <a:gd name="connsiteX70505" fmla="*/ 6024179 w 6884782"/>
              <a:gd name="connsiteY70505" fmla="*/ 4457327 h 5973007"/>
              <a:gd name="connsiteX70506" fmla="*/ 6008534 w 6884782"/>
              <a:gd name="connsiteY70506" fmla="*/ 4439670 h 5973007"/>
              <a:gd name="connsiteX70507" fmla="*/ 6002957 w 6884782"/>
              <a:gd name="connsiteY70507" fmla="*/ 4441012 h 5973007"/>
              <a:gd name="connsiteX70508" fmla="*/ 5998001 w 6884782"/>
              <a:gd name="connsiteY70508" fmla="*/ 4433578 h 5973007"/>
              <a:gd name="connsiteX70509" fmla="*/ 5990101 w 6884782"/>
              <a:gd name="connsiteY70509" fmla="*/ 4430686 h 5973007"/>
              <a:gd name="connsiteX70510" fmla="*/ 5984525 w 6884782"/>
              <a:gd name="connsiteY70510" fmla="*/ 4423459 h 5973007"/>
              <a:gd name="connsiteX70511" fmla="*/ 5988552 w 6884782"/>
              <a:gd name="connsiteY70511" fmla="*/ 4422116 h 5973007"/>
              <a:gd name="connsiteX70512" fmla="*/ 5986848 w 6884782"/>
              <a:gd name="connsiteY70512" fmla="*/ 4420154 h 5973007"/>
              <a:gd name="connsiteX70513" fmla="*/ 5978794 w 6884782"/>
              <a:gd name="connsiteY70513" fmla="*/ 4411687 h 5973007"/>
              <a:gd name="connsiteX70514" fmla="*/ 5971359 w 6884782"/>
              <a:gd name="connsiteY70514" fmla="*/ 4404046 h 5973007"/>
              <a:gd name="connsiteX70515" fmla="*/ 5956334 w 6884782"/>
              <a:gd name="connsiteY70515" fmla="*/ 4388248 h 5973007"/>
              <a:gd name="connsiteX70516" fmla="*/ 5951687 w 6884782"/>
              <a:gd name="connsiteY70516" fmla="*/ 4382879 h 5973007"/>
              <a:gd name="connsiteX70517" fmla="*/ 5949518 w 6884782"/>
              <a:gd name="connsiteY70517" fmla="*/ 4382672 h 5973007"/>
              <a:gd name="connsiteX70518" fmla="*/ 5950293 w 6884782"/>
              <a:gd name="connsiteY70518" fmla="*/ 4381330 h 5973007"/>
              <a:gd name="connsiteX70519" fmla="*/ 5949364 w 6884782"/>
              <a:gd name="connsiteY70519" fmla="*/ 4380194 h 5973007"/>
              <a:gd name="connsiteX70520" fmla="*/ 5942703 w 6884782"/>
              <a:gd name="connsiteY70520" fmla="*/ 4371211 h 5973007"/>
              <a:gd name="connsiteX70521" fmla="*/ 5944717 w 6884782"/>
              <a:gd name="connsiteY70521" fmla="*/ 4370798 h 5973007"/>
              <a:gd name="connsiteX70522" fmla="*/ 5944097 w 6884782"/>
              <a:gd name="connsiteY70522" fmla="*/ 4370075 h 5973007"/>
              <a:gd name="connsiteX70523" fmla="*/ 5944407 w 6884782"/>
              <a:gd name="connsiteY70523" fmla="*/ 4368113 h 5973007"/>
              <a:gd name="connsiteX70524" fmla="*/ 5945026 w 6884782"/>
              <a:gd name="connsiteY70524" fmla="*/ 4368010 h 5973007"/>
              <a:gd name="connsiteX70525" fmla="*/ 5939295 w 6884782"/>
              <a:gd name="connsiteY70525" fmla="*/ 4365015 h 5973007"/>
              <a:gd name="connsiteX70526" fmla="*/ 5929382 w 6884782"/>
              <a:gd name="connsiteY70526" fmla="*/ 4360989 h 5973007"/>
              <a:gd name="connsiteX70527" fmla="*/ 5921172 w 6884782"/>
              <a:gd name="connsiteY70527" fmla="*/ 4346223 h 5973007"/>
              <a:gd name="connsiteX70528" fmla="*/ 5920398 w 6884782"/>
              <a:gd name="connsiteY70528" fmla="*/ 4346016 h 5973007"/>
              <a:gd name="connsiteX70529" fmla="*/ 5920398 w 6884782"/>
              <a:gd name="connsiteY70529" fmla="*/ 4346120 h 5973007"/>
              <a:gd name="connsiteX70530" fmla="*/ 5917764 w 6884782"/>
              <a:gd name="connsiteY70530" fmla="*/ 4345603 h 5973007"/>
              <a:gd name="connsiteX70531" fmla="*/ 5915596 w 6884782"/>
              <a:gd name="connsiteY70531" fmla="*/ 4346223 h 5973007"/>
              <a:gd name="connsiteX70532" fmla="*/ 5899797 w 6884782"/>
              <a:gd name="connsiteY70532" fmla="*/ 4318034 h 5973007"/>
              <a:gd name="connsiteX70533" fmla="*/ 5898402 w 6884782"/>
              <a:gd name="connsiteY70533" fmla="*/ 4305540 h 5973007"/>
              <a:gd name="connsiteX70534" fmla="*/ 5894530 w 6884782"/>
              <a:gd name="connsiteY70534" fmla="*/ 4299964 h 5973007"/>
              <a:gd name="connsiteX70535" fmla="*/ 5893601 w 6884782"/>
              <a:gd name="connsiteY70535" fmla="*/ 4299448 h 5973007"/>
              <a:gd name="connsiteX70536" fmla="*/ 5893756 w 6884782"/>
              <a:gd name="connsiteY70536" fmla="*/ 4297899 h 5973007"/>
              <a:gd name="connsiteX70537" fmla="*/ 5893601 w 6884782"/>
              <a:gd name="connsiteY70537" fmla="*/ 4297693 h 5973007"/>
              <a:gd name="connsiteX70538" fmla="*/ 5893291 w 6884782"/>
              <a:gd name="connsiteY70538" fmla="*/ 4298312 h 5973007"/>
              <a:gd name="connsiteX70539" fmla="*/ 5888489 w 6884782"/>
              <a:gd name="connsiteY70539" fmla="*/ 4297589 h 5973007"/>
              <a:gd name="connsiteX70540" fmla="*/ 5887560 w 6884782"/>
              <a:gd name="connsiteY70540" fmla="*/ 4297176 h 5973007"/>
              <a:gd name="connsiteX70541" fmla="*/ 5885856 w 6884782"/>
              <a:gd name="connsiteY70541" fmla="*/ 4298828 h 5973007"/>
              <a:gd name="connsiteX70542" fmla="*/ 5885391 w 6884782"/>
              <a:gd name="connsiteY70542" fmla="*/ 4296350 h 5973007"/>
              <a:gd name="connsiteX70543" fmla="*/ 5884617 w 6884782"/>
              <a:gd name="connsiteY70543" fmla="*/ 4296040 h 5973007"/>
              <a:gd name="connsiteX70544" fmla="*/ 5885236 w 6884782"/>
              <a:gd name="connsiteY70544" fmla="*/ 4290671 h 5973007"/>
              <a:gd name="connsiteX70545" fmla="*/ 5886011 w 6884782"/>
              <a:gd name="connsiteY70545" fmla="*/ 4289535 h 5973007"/>
              <a:gd name="connsiteX70546" fmla="*/ 5885236 w 6884782"/>
              <a:gd name="connsiteY70546" fmla="*/ 4285921 h 5973007"/>
              <a:gd name="connsiteX70547" fmla="*/ 5883223 w 6884782"/>
              <a:gd name="connsiteY70547" fmla="*/ 4283443 h 5973007"/>
              <a:gd name="connsiteX70548" fmla="*/ 5881673 w 6884782"/>
              <a:gd name="connsiteY70548" fmla="*/ 4283030 h 5973007"/>
              <a:gd name="connsiteX70549" fmla="*/ 5879505 w 6884782"/>
              <a:gd name="connsiteY70549" fmla="*/ 4284166 h 5973007"/>
              <a:gd name="connsiteX70550" fmla="*/ 5877027 w 6884782"/>
              <a:gd name="connsiteY70550" fmla="*/ 4284166 h 5973007"/>
              <a:gd name="connsiteX70551" fmla="*/ 5873929 w 6884782"/>
              <a:gd name="connsiteY70551" fmla="*/ 4281068 h 5973007"/>
              <a:gd name="connsiteX70552" fmla="*/ 5874084 w 6884782"/>
              <a:gd name="connsiteY70552" fmla="*/ 4276112 h 5973007"/>
              <a:gd name="connsiteX70553" fmla="*/ 5878111 w 6884782"/>
              <a:gd name="connsiteY70553" fmla="*/ 4272085 h 5973007"/>
              <a:gd name="connsiteX70554" fmla="*/ 5877956 w 6884782"/>
              <a:gd name="connsiteY70554" fmla="*/ 4271982 h 5973007"/>
              <a:gd name="connsiteX70555" fmla="*/ 5880589 w 6884782"/>
              <a:gd name="connsiteY70555" fmla="*/ 4268368 h 5973007"/>
              <a:gd name="connsiteX70556" fmla="*/ 5879970 w 6884782"/>
              <a:gd name="connsiteY70556" fmla="*/ 4263721 h 5973007"/>
              <a:gd name="connsiteX70557" fmla="*/ 5878730 w 6884782"/>
              <a:gd name="connsiteY70557" fmla="*/ 4262999 h 5973007"/>
              <a:gd name="connsiteX70558" fmla="*/ 5875168 w 6884782"/>
              <a:gd name="connsiteY70558" fmla="*/ 4264960 h 5973007"/>
              <a:gd name="connsiteX70559" fmla="*/ 5872845 w 6884782"/>
              <a:gd name="connsiteY70559" fmla="*/ 4263825 h 5973007"/>
              <a:gd name="connsiteX70560" fmla="*/ 5870056 w 6884782"/>
              <a:gd name="connsiteY70560" fmla="*/ 4259075 h 5973007"/>
              <a:gd name="connsiteX70561" fmla="*/ 5868972 w 6884782"/>
              <a:gd name="connsiteY70561" fmla="*/ 4248956 h 5973007"/>
              <a:gd name="connsiteX70562" fmla="*/ 5869592 w 6884782"/>
              <a:gd name="connsiteY70562" fmla="*/ 4246787 h 5973007"/>
              <a:gd name="connsiteX70563" fmla="*/ 5868817 w 6884782"/>
              <a:gd name="connsiteY70563" fmla="*/ 4247303 h 5973007"/>
              <a:gd name="connsiteX70564" fmla="*/ 5862466 w 6884782"/>
              <a:gd name="connsiteY70564" fmla="*/ 4240385 h 5973007"/>
              <a:gd name="connsiteX70565" fmla="*/ 5864790 w 6884782"/>
              <a:gd name="connsiteY70565" fmla="*/ 4236565 h 5973007"/>
              <a:gd name="connsiteX70566" fmla="*/ 5863706 w 6884782"/>
              <a:gd name="connsiteY70566" fmla="*/ 4236358 h 5973007"/>
              <a:gd name="connsiteX70567" fmla="*/ 5862312 w 6884782"/>
              <a:gd name="connsiteY70567" fmla="*/ 4234293 h 5973007"/>
              <a:gd name="connsiteX70568" fmla="*/ 5860917 w 6884782"/>
              <a:gd name="connsiteY70568" fmla="*/ 4227891 h 5973007"/>
              <a:gd name="connsiteX70569" fmla="*/ 5862466 w 6884782"/>
              <a:gd name="connsiteY70569" fmla="*/ 4228407 h 5973007"/>
              <a:gd name="connsiteX70570" fmla="*/ 5861692 w 6884782"/>
              <a:gd name="connsiteY70570" fmla="*/ 4225723 h 5973007"/>
              <a:gd name="connsiteX70571" fmla="*/ 5857355 w 6884782"/>
              <a:gd name="connsiteY70571" fmla="*/ 4224484 h 5973007"/>
              <a:gd name="connsiteX70572" fmla="*/ 5857975 w 6884782"/>
              <a:gd name="connsiteY70572" fmla="*/ 4225207 h 5973007"/>
              <a:gd name="connsiteX70573" fmla="*/ 5858594 w 6884782"/>
              <a:gd name="connsiteY70573" fmla="*/ 4233467 h 5973007"/>
              <a:gd name="connsiteX70574" fmla="*/ 5857355 w 6884782"/>
              <a:gd name="connsiteY70574" fmla="*/ 4235636 h 5973007"/>
              <a:gd name="connsiteX70575" fmla="*/ 5858129 w 6884782"/>
              <a:gd name="connsiteY70575" fmla="*/ 4235532 h 5973007"/>
              <a:gd name="connsiteX70576" fmla="*/ 5860763 w 6884782"/>
              <a:gd name="connsiteY70576" fmla="*/ 4243999 h 5973007"/>
              <a:gd name="connsiteX70577" fmla="*/ 5855806 w 6884782"/>
              <a:gd name="connsiteY70577" fmla="*/ 4245238 h 5973007"/>
              <a:gd name="connsiteX70578" fmla="*/ 5856426 w 6884782"/>
              <a:gd name="connsiteY70578" fmla="*/ 4248749 h 5973007"/>
              <a:gd name="connsiteX70579" fmla="*/ 5852863 w 6884782"/>
              <a:gd name="connsiteY70579" fmla="*/ 4249265 h 5973007"/>
              <a:gd name="connsiteX70580" fmla="*/ 5851314 w 6884782"/>
              <a:gd name="connsiteY70580" fmla="*/ 4248542 h 5973007"/>
              <a:gd name="connsiteX70581" fmla="*/ 5851624 w 6884782"/>
              <a:gd name="connsiteY70581" fmla="*/ 4246477 h 5973007"/>
              <a:gd name="connsiteX70582" fmla="*/ 5852553 w 6884782"/>
              <a:gd name="connsiteY70582" fmla="*/ 4245548 h 5973007"/>
              <a:gd name="connsiteX70583" fmla="*/ 5846977 w 6884782"/>
              <a:gd name="connsiteY70583" fmla="*/ 4244722 h 5973007"/>
              <a:gd name="connsiteX70584" fmla="*/ 5853173 w 6884782"/>
              <a:gd name="connsiteY70584" fmla="*/ 4236048 h 5973007"/>
              <a:gd name="connsiteX70585" fmla="*/ 5856116 w 6884782"/>
              <a:gd name="connsiteY70585" fmla="*/ 4235739 h 5973007"/>
              <a:gd name="connsiteX70586" fmla="*/ 5849610 w 6884782"/>
              <a:gd name="connsiteY70586" fmla="*/ 4231196 h 5973007"/>
              <a:gd name="connsiteX70587" fmla="*/ 5841865 w 6884782"/>
              <a:gd name="connsiteY70587" fmla="*/ 4227272 h 5973007"/>
              <a:gd name="connsiteX70588" fmla="*/ 5842020 w 6884782"/>
              <a:gd name="connsiteY70588" fmla="*/ 4226756 h 5973007"/>
              <a:gd name="connsiteX70589" fmla="*/ 5834740 w 6884782"/>
              <a:gd name="connsiteY70589" fmla="*/ 4228717 h 5973007"/>
              <a:gd name="connsiteX70590" fmla="*/ 5829474 w 6884782"/>
              <a:gd name="connsiteY70590" fmla="*/ 4229337 h 5973007"/>
              <a:gd name="connsiteX70591" fmla="*/ 5829938 w 6884782"/>
              <a:gd name="connsiteY70591" fmla="*/ 4229647 h 5973007"/>
              <a:gd name="connsiteX70592" fmla="*/ 5831023 w 6884782"/>
              <a:gd name="connsiteY70592" fmla="*/ 4239146 h 5973007"/>
              <a:gd name="connsiteX70593" fmla="*/ 5825601 w 6884782"/>
              <a:gd name="connsiteY70593" fmla="*/ 4245135 h 5973007"/>
              <a:gd name="connsiteX70594" fmla="*/ 5827305 w 6884782"/>
              <a:gd name="connsiteY70594" fmla="*/ 4250608 h 5973007"/>
              <a:gd name="connsiteX70595" fmla="*/ 5826066 w 6884782"/>
              <a:gd name="connsiteY70595" fmla="*/ 4256390 h 5973007"/>
              <a:gd name="connsiteX70596" fmla="*/ 5829009 w 6884782"/>
              <a:gd name="connsiteY70596" fmla="*/ 4261243 h 5973007"/>
              <a:gd name="connsiteX70597" fmla="*/ 5825601 w 6884782"/>
              <a:gd name="connsiteY70597" fmla="*/ 4262689 h 5973007"/>
              <a:gd name="connsiteX70598" fmla="*/ 5823897 w 6884782"/>
              <a:gd name="connsiteY70598" fmla="*/ 4261656 h 5973007"/>
              <a:gd name="connsiteX70599" fmla="*/ 5818786 w 6884782"/>
              <a:gd name="connsiteY70599" fmla="*/ 4267748 h 5973007"/>
              <a:gd name="connsiteX70600" fmla="*/ 5809647 w 6884782"/>
              <a:gd name="connsiteY70600" fmla="*/ 4272911 h 5973007"/>
              <a:gd name="connsiteX70601" fmla="*/ 5799579 w 6884782"/>
              <a:gd name="connsiteY70601" fmla="*/ 4274150 h 5973007"/>
              <a:gd name="connsiteX70602" fmla="*/ 5797410 w 6884782"/>
              <a:gd name="connsiteY70602" fmla="*/ 4277971 h 5973007"/>
              <a:gd name="connsiteX70603" fmla="*/ 5779752 w 6884782"/>
              <a:gd name="connsiteY70603" fmla="*/ 4281378 h 5973007"/>
              <a:gd name="connsiteX70604" fmla="*/ 5767051 w 6884782"/>
              <a:gd name="connsiteY70604" fmla="*/ 4271672 h 5973007"/>
              <a:gd name="connsiteX70605" fmla="*/ 5767670 w 6884782"/>
              <a:gd name="connsiteY70605" fmla="*/ 4266406 h 5973007"/>
              <a:gd name="connsiteX70606" fmla="*/ 5775105 w 6884782"/>
              <a:gd name="connsiteY70606" fmla="*/ 4261243 h 5973007"/>
              <a:gd name="connsiteX70607" fmla="*/ 5773556 w 6884782"/>
              <a:gd name="connsiteY70607" fmla="*/ 4259075 h 5973007"/>
              <a:gd name="connsiteX70608" fmla="*/ 5770148 w 6884782"/>
              <a:gd name="connsiteY70608" fmla="*/ 4247200 h 5973007"/>
              <a:gd name="connsiteX70609" fmla="*/ 5771233 w 6884782"/>
              <a:gd name="connsiteY70609" fmla="*/ 4246477 h 5973007"/>
              <a:gd name="connsiteX70610" fmla="*/ 5771078 w 6884782"/>
              <a:gd name="connsiteY70610" fmla="*/ 4246374 h 5973007"/>
              <a:gd name="connsiteX70611" fmla="*/ 5774021 w 6884782"/>
              <a:gd name="connsiteY70611" fmla="*/ 4243380 h 5973007"/>
              <a:gd name="connsiteX70612" fmla="*/ 5774950 w 6884782"/>
              <a:gd name="connsiteY70612" fmla="*/ 4243690 h 5973007"/>
              <a:gd name="connsiteX70613" fmla="*/ 5784089 w 6884782"/>
              <a:gd name="connsiteY70613" fmla="*/ 4236874 h 5973007"/>
              <a:gd name="connsiteX70614" fmla="*/ 5813055 w 6884782"/>
              <a:gd name="connsiteY70614" fmla="*/ 4232538 h 5973007"/>
              <a:gd name="connsiteX70615" fmla="*/ 5815998 w 6884782"/>
              <a:gd name="connsiteY70615" fmla="*/ 4233983 h 5973007"/>
              <a:gd name="connsiteX70616" fmla="*/ 5816462 w 6884782"/>
              <a:gd name="connsiteY70616" fmla="*/ 4230679 h 5973007"/>
              <a:gd name="connsiteX70617" fmla="*/ 5816772 w 6884782"/>
              <a:gd name="connsiteY70617" fmla="*/ 4230473 h 5973007"/>
              <a:gd name="connsiteX70618" fmla="*/ 5811816 w 6884782"/>
              <a:gd name="connsiteY70618" fmla="*/ 4230886 h 5973007"/>
              <a:gd name="connsiteX70619" fmla="*/ 5811661 w 6884782"/>
              <a:gd name="connsiteY70619" fmla="*/ 4226652 h 5973007"/>
              <a:gd name="connsiteX70620" fmla="*/ 5812125 w 6884782"/>
              <a:gd name="connsiteY70620" fmla="*/ 4224174 h 5973007"/>
              <a:gd name="connsiteX70621" fmla="*/ 5811041 w 6884782"/>
              <a:gd name="connsiteY70621" fmla="*/ 4224174 h 5973007"/>
              <a:gd name="connsiteX70622" fmla="*/ 5809802 w 6884782"/>
              <a:gd name="connsiteY70622" fmla="*/ 4219321 h 5973007"/>
              <a:gd name="connsiteX70623" fmla="*/ 5810421 w 6884782"/>
              <a:gd name="connsiteY70623" fmla="*/ 4217978 h 5973007"/>
              <a:gd name="connsiteX70624" fmla="*/ 5806084 w 6884782"/>
              <a:gd name="connsiteY70624" fmla="*/ 4218289 h 5973007"/>
              <a:gd name="connsiteX70625" fmla="*/ 5802367 w 6884782"/>
              <a:gd name="connsiteY70625" fmla="*/ 4216740 h 5973007"/>
              <a:gd name="connsiteX70626" fmla="*/ 5801438 w 6884782"/>
              <a:gd name="connsiteY70626" fmla="*/ 4214881 h 5973007"/>
              <a:gd name="connsiteX70627" fmla="*/ 5800198 w 6884782"/>
              <a:gd name="connsiteY70627" fmla="*/ 4216533 h 5973007"/>
              <a:gd name="connsiteX70628" fmla="*/ 5795396 w 6884782"/>
              <a:gd name="connsiteY70628" fmla="*/ 4218598 h 5973007"/>
              <a:gd name="connsiteX70629" fmla="*/ 5789975 w 6884782"/>
              <a:gd name="connsiteY70629" fmla="*/ 4218082 h 5973007"/>
              <a:gd name="connsiteX70630" fmla="*/ 5793073 w 6884782"/>
              <a:gd name="connsiteY70630" fmla="*/ 4213126 h 5973007"/>
              <a:gd name="connsiteX70631" fmla="*/ 5800663 w 6884782"/>
              <a:gd name="connsiteY70631" fmla="*/ 4212403 h 5973007"/>
              <a:gd name="connsiteX70632" fmla="*/ 5801438 w 6884782"/>
              <a:gd name="connsiteY70632" fmla="*/ 4213745 h 5973007"/>
              <a:gd name="connsiteX70633" fmla="*/ 5802367 w 6884782"/>
              <a:gd name="connsiteY70633" fmla="*/ 4210131 h 5973007"/>
              <a:gd name="connsiteX70634" fmla="*/ 5813519 w 6884782"/>
              <a:gd name="connsiteY70634" fmla="*/ 4202697 h 5973007"/>
              <a:gd name="connsiteX70635" fmla="*/ 5814759 w 6884782"/>
              <a:gd name="connsiteY70635" fmla="*/ 4211680 h 5973007"/>
              <a:gd name="connsiteX70636" fmla="*/ 5813674 w 6884782"/>
              <a:gd name="connsiteY70636" fmla="*/ 4215707 h 5973007"/>
              <a:gd name="connsiteX70637" fmla="*/ 5813984 w 6884782"/>
              <a:gd name="connsiteY70637" fmla="*/ 4215707 h 5973007"/>
              <a:gd name="connsiteX70638" fmla="*/ 5817392 w 6884782"/>
              <a:gd name="connsiteY70638" fmla="*/ 4216946 h 5973007"/>
              <a:gd name="connsiteX70639" fmla="*/ 5820180 w 6884782"/>
              <a:gd name="connsiteY70639" fmla="*/ 4220870 h 5973007"/>
              <a:gd name="connsiteX70640" fmla="*/ 5834275 w 6884782"/>
              <a:gd name="connsiteY70640" fmla="*/ 4220354 h 5973007"/>
              <a:gd name="connsiteX70641" fmla="*/ 5838303 w 6884782"/>
              <a:gd name="connsiteY70641" fmla="*/ 4217566 h 5973007"/>
              <a:gd name="connsiteX70642" fmla="*/ 5841865 w 6884782"/>
              <a:gd name="connsiteY70642" fmla="*/ 4218598 h 5973007"/>
              <a:gd name="connsiteX70643" fmla="*/ 5841401 w 6884782"/>
              <a:gd name="connsiteY70643" fmla="*/ 4219940 h 5973007"/>
              <a:gd name="connsiteX70644" fmla="*/ 5844653 w 6884782"/>
              <a:gd name="connsiteY70644" fmla="*/ 4219631 h 5973007"/>
              <a:gd name="connsiteX70645" fmla="*/ 5851159 w 6884782"/>
              <a:gd name="connsiteY70645" fmla="*/ 4219837 h 5973007"/>
              <a:gd name="connsiteX70646" fmla="*/ 5850849 w 6884782"/>
              <a:gd name="connsiteY70646" fmla="*/ 4219321 h 5973007"/>
              <a:gd name="connsiteX70647" fmla="*/ 5850849 w 6884782"/>
              <a:gd name="connsiteY70647" fmla="*/ 4210854 h 5973007"/>
              <a:gd name="connsiteX70648" fmla="*/ 5850849 w 6884782"/>
              <a:gd name="connsiteY70648" fmla="*/ 4210647 h 5973007"/>
              <a:gd name="connsiteX70649" fmla="*/ 5847906 w 6884782"/>
              <a:gd name="connsiteY70649" fmla="*/ 4211577 h 5973007"/>
              <a:gd name="connsiteX70650" fmla="*/ 5844653 w 6884782"/>
              <a:gd name="connsiteY70650" fmla="*/ 4210028 h 5973007"/>
              <a:gd name="connsiteX70651" fmla="*/ 5843879 w 6884782"/>
              <a:gd name="connsiteY70651" fmla="*/ 4206930 h 5973007"/>
              <a:gd name="connsiteX70652" fmla="*/ 5848526 w 6884782"/>
              <a:gd name="connsiteY70652" fmla="*/ 4205381 h 5973007"/>
              <a:gd name="connsiteX70653" fmla="*/ 5848991 w 6884782"/>
              <a:gd name="connsiteY70653" fmla="*/ 4205485 h 5973007"/>
              <a:gd name="connsiteX70654" fmla="*/ 5848681 w 6884782"/>
              <a:gd name="connsiteY70654" fmla="*/ 4204659 h 5973007"/>
              <a:gd name="connsiteX70655" fmla="*/ 5846512 w 6884782"/>
              <a:gd name="connsiteY70655" fmla="*/ 4201664 h 5973007"/>
              <a:gd name="connsiteX70656" fmla="*/ 5846357 w 6884782"/>
              <a:gd name="connsiteY70656" fmla="*/ 4201768 h 5973007"/>
              <a:gd name="connsiteX70657" fmla="*/ 5844189 w 6884782"/>
              <a:gd name="connsiteY70657" fmla="*/ 4202180 h 5973007"/>
              <a:gd name="connsiteX70658" fmla="*/ 5842794 w 6884782"/>
              <a:gd name="connsiteY70658" fmla="*/ 4200941 h 5973007"/>
              <a:gd name="connsiteX70659" fmla="*/ 5843105 w 6884782"/>
              <a:gd name="connsiteY70659" fmla="*/ 4200219 h 5973007"/>
              <a:gd name="connsiteX70660" fmla="*/ 5839232 w 6884782"/>
              <a:gd name="connsiteY70660" fmla="*/ 4199702 h 5973007"/>
              <a:gd name="connsiteX70661" fmla="*/ 5836754 w 6884782"/>
              <a:gd name="connsiteY70661" fmla="*/ 4195985 h 5973007"/>
              <a:gd name="connsiteX70662" fmla="*/ 5837993 w 6884782"/>
              <a:gd name="connsiteY70662" fmla="*/ 4191029 h 5973007"/>
              <a:gd name="connsiteX70663" fmla="*/ 5838922 w 6884782"/>
              <a:gd name="connsiteY70663" fmla="*/ 4190616 h 5973007"/>
              <a:gd name="connsiteX70664" fmla="*/ 5838458 w 6884782"/>
              <a:gd name="connsiteY70664" fmla="*/ 4189893 h 5973007"/>
              <a:gd name="connsiteX70665" fmla="*/ 5836909 w 6884782"/>
              <a:gd name="connsiteY70665" fmla="*/ 4192681 h 5973007"/>
              <a:gd name="connsiteX70666" fmla="*/ 5833501 w 6884782"/>
              <a:gd name="connsiteY70666" fmla="*/ 4194333 h 5973007"/>
              <a:gd name="connsiteX70667" fmla="*/ 5832262 w 6884782"/>
              <a:gd name="connsiteY70667" fmla="*/ 4193197 h 5973007"/>
              <a:gd name="connsiteX70668" fmla="*/ 5831023 w 6884782"/>
              <a:gd name="connsiteY70668" fmla="*/ 4191442 h 5973007"/>
              <a:gd name="connsiteX70669" fmla="*/ 5830558 w 6884782"/>
              <a:gd name="connsiteY70669" fmla="*/ 4186589 h 5973007"/>
              <a:gd name="connsiteX70670" fmla="*/ 5833036 w 6884782"/>
              <a:gd name="connsiteY70670" fmla="*/ 4183491 h 5973007"/>
              <a:gd name="connsiteX70671" fmla="*/ 5834585 w 6884782"/>
              <a:gd name="connsiteY70671" fmla="*/ 4182665 h 5973007"/>
              <a:gd name="connsiteX70672" fmla="*/ 5835824 w 6884782"/>
              <a:gd name="connsiteY70672" fmla="*/ 4183388 h 5973007"/>
              <a:gd name="connsiteX70673" fmla="*/ 5836134 w 6884782"/>
              <a:gd name="connsiteY70673" fmla="*/ 4182872 h 5973007"/>
              <a:gd name="connsiteX70674" fmla="*/ 5838458 w 6884782"/>
              <a:gd name="connsiteY70674" fmla="*/ 4181426 h 5973007"/>
              <a:gd name="connsiteX70675" fmla="*/ 5839851 w 6884782"/>
              <a:gd name="connsiteY70675" fmla="*/ 4183078 h 5973007"/>
              <a:gd name="connsiteX70676" fmla="*/ 5840317 w 6884782"/>
              <a:gd name="connsiteY70676" fmla="*/ 4183698 h 5973007"/>
              <a:gd name="connsiteX70677" fmla="*/ 5839077 w 6884782"/>
              <a:gd name="connsiteY70677" fmla="*/ 4179567 h 5973007"/>
              <a:gd name="connsiteX70678" fmla="*/ 5833811 w 6884782"/>
              <a:gd name="connsiteY70678" fmla="*/ 4165111 h 5973007"/>
              <a:gd name="connsiteX70679" fmla="*/ 5831642 w 6884782"/>
              <a:gd name="connsiteY70679" fmla="*/ 4158606 h 5973007"/>
              <a:gd name="connsiteX70680" fmla="*/ 5830558 w 6884782"/>
              <a:gd name="connsiteY70680" fmla="*/ 4158916 h 5973007"/>
              <a:gd name="connsiteX70681" fmla="*/ 5829164 w 6884782"/>
              <a:gd name="connsiteY70681" fmla="*/ 4158297 h 5973007"/>
              <a:gd name="connsiteX70682" fmla="*/ 5829164 w 6884782"/>
              <a:gd name="connsiteY70682" fmla="*/ 4156025 h 5973007"/>
              <a:gd name="connsiteX70683" fmla="*/ 5829783 w 6884782"/>
              <a:gd name="connsiteY70683" fmla="*/ 4154063 h 5973007"/>
              <a:gd name="connsiteX70684" fmla="*/ 5830248 w 6884782"/>
              <a:gd name="connsiteY70684" fmla="*/ 4153960 h 5973007"/>
              <a:gd name="connsiteX70685" fmla="*/ 5829164 w 6884782"/>
              <a:gd name="connsiteY70685" fmla="*/ 4150862 h 5973007"/>
              <a:gd name="connsiteX70686" fmla="*/ 5824982 w 6884782"/>
              <a:gd name="connsiteY70686" fmla="*/ 4135993 h 5973007"/>
              <a:gd name="connsiteX70687" fmla="*/ 5819715 w 6884782"/>
              <a:gd name="connsiteY70687" fmla="*/ 4121641 h 5973007"/>
              <a:gd name="connsiteX70688" fmla="*/ 5814139 w 6884782"/>
              <a:gd name="connsiteY70688" fmla="*/ 4107907 h 5973007"/>
              <a:gd name="connsiteX70689" fmla="*/ 5807943 w 6884782"/>
              <a:gd name="connsiteY70689" fmla="*/ 4094588 h 5973007"/>
              <a:gd name="connsiteX70690" fmla="*/ 5803606 w 6884782"/>
              <a:gd name="connsiteY70690" fmla="*/ 4087979 h 5973007"/>
              <a:gd name="connsiteX70691" fmla="*/ 5802676 w 6884782"/>
              <a:gd name="connsiteY70691" fmla="*/ 4086224 h 5973007"/>
              <a:gd name="connsiteX70692" fmla="*/ 5801283 w 6884782"/>
              <a:gd name="connsiteY70692" fmla="*/ 4077550 h 5973007"/>
              <a:gd name="connsiteX70693" fmla="*/ 5800663 w 6884782"/>
              <a:gd name="connsiteY70693" fmla="*/ 4077344 h 5973007"/>
              <a:gd name="connsiteX70694" fmla="*/ 5800198 w 6884782"/>
              <a:gd name="connsiteY70694" fmla="*/ 4076414 h 5973007"/>
              <a:gd name="connsiteX70695" fmla="*/ 5798494 w 6884782"/>
              <a:gd name="connsiteY70695" fmla="*/ 4075175 h 5973007"/>
              <a:gd name="connsiteX70696" fmla="*/ 5795396 w 6884782"/>
              <a:gd name="connsiteY70696" fmla="*/ 4077963 h 5973007"/>
              <a:gd name="connsiteX70697" fmla="*/ 5796016 w 6884782"/>
              <a:gd name="connsiteY70697" fmla="*/ 4078170 h 5973007"/>
              <a:gd name="connsiteX70698" fmla="*/ 5795861 w 6884782"/>
              <a:gd name="connsiteY70698" fmla="*/ 4078789 h 5973007"/>
              <a:gd name="connsiteX70699" fmla="*/ 5796636 w 6884782"/>
              <a:gd name="connsiteY70699" fmla="*/ 4083539 h 5973007"/>
              <a:gd name="connsiteX70700" fmla="*/ 5799888 w 6884782"/>
              <a:gd name="connsiteY70700" fmla="*/ 4087773 h 5973007"/>
              <a:gd name="connsiteX70701" fmla="*/ 5798340 w 6884782"/>
              <a:gd name="connsiteY70701" fmla="*/ 4091490 h 5973007"/>
              <a:gd name="connsiteX70702" fmla="*/ 5795087 w 6884782"/>
              <a:gd name="connsiteY70702" fmla="*/ 4090870 h 5973007"/>
              <a:gd name="connsiteX70703" fmla="*/ 5791524 w 6884782"/>
              <a:gd name="connsiteY70703" fmla="*/ 4083745 h 5973007"/>
              <a:gd name="connsiteX70704" fmla="*/ 5792298 w 6884782"/>
              <a:gd name="connsiteY70704" fmla="*/ 4081784 h 5973007"/>
              <a:gd name="connsiteX70705" fmla="*/ 5793073 w 6884782"/>
              <a:gd name="connsiteY70705" fmla="*/ 4081577 h 5973007"/>
              <a:gd name="connsiteX70706" fmla="*/ 5792763 w 6884782"/>
              <a:gd name="connsiteY70706" fmla="*/ 4079409 h 5973007"/>
              <a:gd name="connsiteX70707" fmla="*/ 5792918 w 6884782"/>
              <a:gd name="connsiteY70707" fmla="*/ 4078686 h 5973007"/>
              <a:gd name="connsiteX70708" fmla="*/ 5792298 w 6884782"/>
              <a:gd name="connsiteY70708" fmla="*/ 4078479 h 5973007"/>
              <a:gd name="connsiteX70709" fmla="*/ 5791834 w 6884782"/>
              <a:gd name="connsiteY70709" fmla="*/ 4077654 h 5973007"/>
              <a:gd name="connsiteX70710" fmla="*/ 5791059 w 6884782"/>
              <a:gd name="connsiteY70710" fmla="*/ 4075898 h 5973007"/>
              <a:gd name="connsiteX70711" fmla="*/ 5788891 w 6884782"/>
              <a:gd name="connsiteY70711" fmla="*/ 4073627 h 5973007"/>
              <a:gd name="connsiteX70712" fmla="*/ 5783624 w 6884782"/>
              <a:gd name="connsiteY70712" fmla="*/ 4073833 h 5973007"/>
              <a:gd name="connsiteX70713" fmla="*/ 5766276 w 6884782"/>
              <a:gd name="connsiteY70713" fmla="*/ 4068257 h 5973007"/>
              <a:gd name="connsiteX70714" fmla="*/ 5754814 w 6884782"/>
              <a:gd name="connsiteY70714" fmla="*/ 4048845 h 5973007"/>
              <a:gd name="connsiteX70715" fmla="*/ 5773091 w 6884782"/>
              <a:gd name="connsiteY70715" fmla="*/ 4006820 h 5973007"/>
              <a:gd name="connsiteX70716" fmla="*/ 5778668 w 6884782"/>
              <a:gd name="connsiteY70716" fmla="*/ 4005477 h 5973007"/>
              <a:gd name="connsiteX70717" fmla="*/ 5777893 w 6884782"/>
              <a:gd name="connsiteY70717" fmla="*/ 3994842 h 5973007"/>
              <a:gd name="connsiteX70718" fmla="*/ 5777893 w 6884782"/>
              <a:gd name="connsiteY70718" fmla="*/ 3993603 h 5973007"/>
              <a:gd name="connsiteX70719" fmla="*/ 5775725 w 6884782"/>
              <a:gd name="connsiteY70719" fmla="*/ 3992983 h 5973007"/>
              <a:gd name="connsiteX70720" fmla="*/ 5775570 w 6884782"/>
              <a:gd name="connsiteY70720" fmla="*/ 3993809 h 5973007"/>
              <a:gd name="connsiteX70721" fmla="*/ 5775260 w 6884782"/>
              <a:gd name="connsiteY70721" fmla="*/ 3992777 h 5973007"/>
              <a:gd name="connsiteX70722" fmla="*/ 5773866 w 6884782"/>
              <a:gd name="connsiteY70722" fmla="*/ 3992467 h 5973007"/>
              <a:gd name="connsiteX70723" fmla="*/ 5765966 w 6884782"/>
              <a:gd name="connsiteY70723" fmla="*/ 3985652 h 5973007"/>
              <a:gd name="connsiteX70724" fmla="*/ 5766276 w 6884782"/>
              <a:gd name="connsiteY70724" fmla="*/ 3983380 h 5973007"/>
              <a:gd name="connsiteX70725" fmla="*/ 5765811 w 6884782"/>
              <a:gd name="connsiteY70725" fmla="*/ 3984723 h 5973007"/>
              <a:gd name="connsiteX70726" fmla="*/ 5736381 w 6884782"/>
              <a:gd name="connsiteY70726" fmla="*/ 3999798 h 5973007"/>
              <a:gd name="connsiteX70727" fmla="*/ 5726526 w 6884782"/>
              <a:gd name="connsiteY70727" fmla="*/ 3992983 h 5973007"/>
              <a:gd name="connsiteX70728" fmla="*/ 5720540 w 6884782"/>
              <a:gd name="connsiteY70728" fmla="*/ 3992368 h 5973007"/>
              <a:gd name="connsiteX70729" fmla="*/ 5718744 w 6884782"/>
              <a:gd name="connsiteY70729" fmla="*/ 3993653 h 5973007"/>
              <a:gd name="connsiteX70730" fmla="*/ 5702373 w 6884782"/>
              <a:gd name="connsiteY70730" fmla="*/ 4001840 h 5973007"/>
              <a:gd name="connsiteX70731" fmla="*/ 5713805 w 6884782"/>
              <a:gd name="connsiteY70731" fmla="*/ 4003657 h 5973007"/>
              <a:gd name="connsiteX70732" fmla="*/ 5726623 w 6884782"/>
              <a:gd name="connsiteY70732" fmla="*/ 4011466 h 5973007"/>
              <a:gd name="connsiteX70733" fmla="*/ 5723680 w 6884782"/>
              <a:gd name="connsiteY70733" fmla="*/ 4019107 h 5973007"/>
              <a:gd name="connsiteX70734" fmla="*/ 5711172 w 6884782"/>
              <a:gd name="connsiteY70734" fmla="*/ 4010305 h 5973007"/>
              <a:gd name="connsiteX70735" fmla="*/ 5701775 w 6884782"/>
              <a:gd name="connsiteY70735" fmla="*/ 4002140 h 5973007"/>
              <a:gd name="connsiteX70736" fmla="*/ 5694204 w 6884782"/>
              <a:gd name="connsiteY70736" fmla="*/ 4005926 h 5973007"/>
              <a:gd name="connsiteX70737" fmla="*/ 5696263 w 6884782"/>
              <a:gd name="connsiteY70737" fmla="*/ 4005374 h 5973007"/>
              <a:gd name="connsiteX70738" fmla="*/ 5696883 w 6884782"/>
              <a:gd name="connsiteY70738" fmla="*/ 4009711 h 5973007"/>
              <a:gd name="connsiteX70739" fmla="*/ 5692391 w 6884782"/>
              <a:gd name="connsiteY70739" fmla="*/ 4012086 h 5973007"/>
              <a:gd name="connsiteX70740" fmla="*/ 5689602 w 6884782"/>
              <a:gd name="connsiteY70740" fmla="*/ 4012396 h 5973007"/>
              <a:gd name="connsiteX70741" fmla="*/ 5687124 w 6884782"/>
              <a:gd name="connsiteY70741" fmla="*/ 4011879 h 5973007"/>
              <a:gd name="connsiteX70742" fmla="*/ 5688078 w 6884782"/>
              <a:gd name="connsiteY70742" fmla="*/ 4008990 h 5973007"/>
              <a:gd name="connsiteX70743" fmla="*/ 5685512 w 6884782"/>
              <a:gd name="connsiteY70743" fmla="*/ 4010273 h 5973007"/>
              <a:gd name="connsiteX70744" fmla="*/ 5686834 w 6884782"/>
              <a:gd name="connsiteY70744" fmla="*/ 4013622 h 5973007"/>
              <a:gd name="connsiteX70745" fmla="*/ 5684026 w 6884782"/>
              <a:gd name="connsiteY70745" fmla="*/ 4020759 h 5973007"/>
              <a:gd name="connsiteX70746" fmla="*/ 5679360 w 6884782"/>
              <a:gd name="connsiteY70746" fmla="*/ 4018991 h 5973007"/>
              <a:gd name="connsiteX70747" fmla="*/ 5675993 w 6884782"/>
              <a:gd name="connsiteY70747" fmla="*/ 4015034 h 5973007"/>
              <a:gd name="connsiteX70748" fmla="*/ 5668143 w 6884782"/>
              <a:gd name="connsiteY70748" fmla="*/ 4018960 h 5973007"/>
              <a:gd name="connsiteX70749" fmla="*/ 5664015 w 6884782"/>
              <a:gd name="connsiteY70749" fmla="*/ 4019768 h 5973007"/>
              <a:gd name="connsiteX70750" fmla="*/ 5664664 w 6884782"/>
              <a:gd name="connsiteY70750" fmla="*/ 4022721 h 5973007"/>
              <a:gd name="connsiteX70751" fmla="*/ 5663890 w 6884782"/>
              <a:gd name="connsiteY70751" fmla="*/ 4026748 h 5973007"/>
              <a:gd name="connsiteX70752" fmla="*/ 5664044 w 6884782"/>
              <a:gd name="connsiteY70752" fmla="*/ 4026851 h 5973007"/>
              <a:gd name="connsiteX70753" fmla="*/ 5663580 w 6884782"/>
              <a:gd name="connsiteY70753" fmla="*/ 4033047 h 5973007"/>
              <a:gd name="connsiteX70754" fmla="*/ 5661566 w 6884782"/>
              <a:gd name="connsiteY70754" fmla="*/ 4031808 h 5973007"/>
              <a:gd name="connsiteX70755" fmla="*/ 5659397 w 6884782"/>
              <a:gd name="connsiteY70755" fmla="*/ 4034802 h 5973007"/>
              <a:gd name="connsiteX70756" fmla="*/ 5656455 w 6884782"/>
              <a:gd name="connsiteY70756" fmla="*/ 4036661 h 5973007"/>
              <a:gd name="connsiteX70757" fmla="*/ 5655680 w 6884782"/>
              <a:gd name="connsiteY70757" fmla="*/ 4039036 h 5973007"/>
              <a:gd name="connsiteX70758" fmla="*/ 5657849 w 6884782"/>
              <a:gd name="connsiteY70758" fmla="*/ 4038519 h 5973007"/>
              <a:gd name="connsiteX70759" fmla="*/ 5660792 w 6884782"/>
              <a:gd name="connsiteY70759" fmla="*/ 4040068 h 5973007"/>
              <a:gd name="connsiteX70760" fmla="*/ 5655370 w 6884782"/>
              <a:gd name="connsiteY70760" fmla="*/ 4046780 h 5973007"/>
              <a:gd name="connsiteX70761" fmla="*/ 5652737 w 6884782"/>
              <a:gd name="connsiteY70761" fmla="*/ 4044095 h 5973007"/>
              <a:gd name="connsiteX70762" fmla="*/ 5653357 w 6884782"/>
              <a:gd name="connsiteY70762" fmla="*/ 4042856 h 5973007"/>
              <a:gd name="connsiteX70763" fmla="*/ 5650723 w 6884782"/>
              <a:gd name="connsiteY70763" fmla="*/ 4046676 h 5973007"/>
              <a:gd name="connsiteX70764" fmla="*/ 5637402 w 6884782"/>
              <a:gd name="connsiteY70764" fmla="*/ 4051633 h 5973007"/>
              <a:gd name="connsiteX70765" fmla="*/ 5629347 w 6884782"/>
              <a:gd name="connsiteY70765" fmla="*/ 4048329 h 5973007"/>
              <a:gd name="connsiteX70766" fmla="*/ 5625165 w 6884782"/>
              <a:gd name="connsiteY70766" fmla="*/ 4043166 h 5973007"/>
              <a:gd name="connsiteX70767" fmla="*/ 5623461 w 6884782"/>
              <a:gd name="connsiteY70767" fmla="*/ 4038416 h 5973007"/>
              <a:gd name="connsiteX70768" fmla="*/ 5622222 w 6884782"/>
              <a:gd name="connsiteY70768" fmla="*/ 4037590 h 5973007"/>
              <a:gd name="connsiteX70769" fmla="*/ 5622997 w 6884782"/>
              <a:gd name="connsiteY70769" fmla="*/ 4036867 h 5973007"/>
              <a:gd name="connsiteX70770" fmla="*/ 5621603 w 6884782"/>
              <a:gd name="connsiteY70770" fmla="*/ 4032840 h 5973007"/>
              <a:gd name="connsiteX70771" fmla="*/ 5619912 w 6884782"/>
              <a:gd name="connsiteY70771" fmla="*/ 4028408 h 5973007"/>
              <a:gd name="connsiteX70772" fmla="*/ 5616464 w 6884782"/>
              <a:gd name="connsiteY70772" fmla="*/ 4029083 h 5973007"/>
              <a:gd name="connsiteX70773" fmla="*/ 5611938 w 6884782"/>
              <a:gd name="connsiteY70773" fmla="*/ 4029083 h 5973007"/>
              <a:gd name="connsiteX70774" fmla="*/ 5613703 w 6884782"/>
              <a:gd name="connsiteY70774" fmla="*/ 4030672 h 5973007"/>
              <a:gd name="connsiteX70775" fmla="*/ 5605803 w 6884782"/>
              <a:gd name="connsiteY70775" fmla="*/ 4045231 h 5973007"/>
              <a:gd name="connsiteX70776" fmla="*/ 5604719 w 6884782"/>
              <a:gd name="connsiteY70776" fmla="*/ 4045541 h 5973007"/>
              <a:gd name="connsiteX70777" fmla="*/ 5603945 w 6884782"/>
              <a:gd name="connsiteY70777" fmla="*/ 4046470 h 5973007"/>
              <a:gd name="connsiteX70778" fmla="*/ 5603945 w 6884782"/>
              <a:gd name="connsiteY70778" fmla="*/ 4046676 h 5973007"/>
              <a:gd name="connsiteX70779" fmla="*/ 5604100 w 6884782"/>
              <a:gd name="connsiteY70779" fmla="*/ 4047503 h 5973007"/>
              <a:gd name="connsiteX70780" fmla="*/ 5602396 w 6884782"/>
              <a:gd name="connsiteY70780" fmla="*/ 4050600 h 5973007"/>
              <a:gd name="connsiteX70781" fmla="*/ 5601466 w 6884782"/>
              <a:gd name="connsiteY70781" fmla="*/ 4050910 h 5973007"/>
              <a:gd name="connsiteX70782" fmla="*/ 5600227 w 6884782"/>
              <a:gd name="connsiteY70782" fmla="*/ 4050394 h 5973007"/>
              <a:gd name="connsiteX70783" fmla="*/ 5597129 w 6884782"/>
              <a:gd name="connsiteY70783" fmla="*/ 4046161 h 5973007"/>
              <a:gd name="connsiteX70784" fmla="*/ 5581949 w 6884782"/>
              <a:gd name="connsiteY70784" fmla="*/ 4046161 h 5973007"/>
              <a:gd name="connsiteX70785" fmla="*/ 5581485 w 6884782"/>
              <a:gd name="connsiteY70785" fmla="*/ 4037487 h 5973007"/>
              <a:gd name="connsiteX70786" fmla="*/ 5596045 w 6884782"/>
              <a:gd name="connsiteY70786" fmla="*/ 4032221 h 5973007"/>
              <a:gd name="connsiteX70787" fmla="*/ 5596200 w 6884782"/>
              <a:gd name="connsiteY70787" fmla="*/ 4033047 h 5973007"/>
              <a:gd name="connsiteX70788" fmla="*/ 5601001 w 6884782"/>
              <a:gd name="connsiteY70788" fmla="*/ 4031085 h 5973007"/>
              <a:gd name="connsiteX70789" fmla="*/ 5601466 w 6884782"/>
              <a:gd name="connsiteY70789" fmla="*/ 4031808 h 5973007"/>
              <a:gd name="connsiteX70790" fmla="*/ 5601931 w 6884782"/>
              <a:gd name="connsiteY70790" fmla="*/ 4031808 h 5973007"/>
              <a:gd name="connsiteX70791" fmla="*/ 5604247 w 6884782"/>
              <a:gd name="connsiteY70791" fmla="*/ 4029083 h 5973007"/>
              <a:gd name="connsiteX70792" fmla="*/ 5564410 w 6884782"/>
              <a:gd name="connsiteY70792" fmla="*/ 4029083 h 5973007"/>
              <a:gd name="connsiteX70793" fmla="*/ 5569228 w 6884782"/>
              <a:gd name="connsiteY70793" fmla="*/ 4038597 h 5973007"/>
              <a:gd name="connsiteX70794" fmla="*/ 5572036 w 6884782"/>
              <a:gd name="connsiteY70794" fmla="*/ 4056486 h 5973007"/>
              <a:gd name="connsiteX70795" fmla="*/ 5562278 w 6884782"/>
              <a:gd name="connsiteY70795" fmla="*/ 4075072 h 5973007"/>
              <a:gd name="connsiteX70796" fmla="*/ 5538579 w 6884782"/>
              <a:gd name="connsiteY70796" fmla="*/ 4087050 h 5973007"/>
              <a:gd name="connsiteX70797" fmla="*/ 5524793 w 6884782"/>
              <a:gd name="connsiteY70797" fmla="*/ 4082300 h 5973007"/>
              <a:gd name="connsiteX70798" fmla="*/ 5517357 w 6884782"/>
              <a:gd name="connsiteY70798" fmla="*/ 4079719 h 5973007"/>
              <a:gd name="connsiteX70799" fmla="*/ 5515654 w 6884782"/>
              <a:gd name="connsiteY70799" fmla="*/ 4083023 h 5973007"/>
              <a:gd name="connsiteX70800" fmla="*/ 5513640 w 6884782"/>
              <a:gd name="connsiteY70800" fmla="*/ 4078479 h 5973007"/>
              <a:gd name="connsiteX70801" fmla="*/ 5511007 w 6884782"/>
              <a:gd name="connsiteY70801" fmla="*/ 4077550 h 5973007"/>
              <a:gd name="connsiteX70802" fmla="*/ 5504501 w 6884782"/>
              <a:gd name="connsiteY70802" fmla="*/ 4060410 h 5973007"/>
              <a:gd name="connsiteX70803" fmla="*/ 5503572 w 6884782"/>
              <a:gd name="connsiteY70803" fmla="*/ 4057622 h 5973007"/>
              <a:gd name="connsiteX70804" fmla="*/ 5502178 w 6884782"/>
              <a:gd name="connsiteY70804" fmla="*/ 4059687 h 5973007"/>
              <a:gd name="connsiteX70805" fmla="*/ 5496292 w 6884782"/>
              <a:gd name="connsiteY70805" fmla="*/ 4039139 h 5973007"/>
              <a:gd name="connsiteX70806" fmla="*/ 5500629 w 6884782"/>
              <a:gd name="connsiteY70806" fmla="*/ 4039242 h 5973007"/>
              <a:gd name="connsiteX70807" fmla="*/ 5502488 w 6884782"/>
              <a:gd name="connsiteY70807" fmla="*/ 4043476 h 5973007"/>
              <a:gd name="connsiteX70808" fmla="*/ 5502643 w 6884782"/>
              <a:gd name="connsiteY70808" fmla="*/ 4042340 h 5973007"/>
              <a:gd name="connsiteX70809" fmla="*/ 5515654 w 6884782"/>
              <a:gd name="connsiteY70809" fmla="*/ 4024064 h 5973007"/>
              <a:gd name="connsiteX70810" fmla="*/ 5530549 w 6884782"/>
              <a:gd name="connsiteY70810" fmla="*/ 4019730 h 5973007"/>
              <a:gd name="connsiteX70811" fmla="*/ 5513115 w 6884782"/>
              <a:gd name="connsiteY70811" fmla="*/ 4014812 h 5973007"/>
              <a:gd name="connsiteX70812" fmla="*/ 5508374 w 6884782"/>
              <a:gd name="connsiteY70812" fmla="*/ 4018281 h 5973007"/>
              <a:gd name="connsiteX70813" fmla="*/ 5500474 w 6884782"/>
              <a:gd name="connsiteY70813" fmla="*/ 4013841 h 5973007"/>
              <a:gd name="connsiteX70814" fmla="*/ 5505624 w 6884782"/>
              <a:gd name="connsiteY70814" fmla="*/ 4011154 h 5973007"/>
              <a:gd name="connsiteX70815" fmla="*/ 5454969 w 6884782"/>
              <a:gd name="connsiteY70815" fmla="*/ 3978467 h 5973007"/>
              <a:gd name="connsiteX70816" fmla="*/ 5431283 w 6884782"/>
              <a:gd name="connsiteY70816" fmla="*/ 3970875 h 5973007"/>
              <a:gd name="connsiteX70817" fmla="*/ 5427761 w 6884782"/>
              <a:gd name="connsiteY70817" fmla="*/ 3971235 h 5973007"/>
              <a:gd name="connsiteX70818" fmla="*/ 5425969 w 6884782"/>
              <a:gd name="connsiteY70818" fmla="*/ 3971713 h 5973007"/>
              <a:gd name="connsiteX70819" fmla="*/ 5425802 w 6884782"/>
              <a:gd name="connsiteY70819" fmla="*/ 3971435 h 5973007"/>
              <a:gd name="connsiteX70820" fmla="*/ 5421307 w 6884782"/>
              <a:gd name="connsiteY70820" fmla="*/ 3971894 h 5973007"/>
              <a:gd name="connsiteX70821" fmla="*/ 5414507 w 6884782"/>
              <a:gd name="connsiteY70821" fmla="*/ 3976359 h 5973007"/>
              <a:gd name="connsiteX70822" fmla="*/ 5416009 w 6884782"/>
              <a:gd name="connsiteY70822" fmla="*/ 3972436 h 5973007"/>
              <a:gd name="connsiteX70823" fmla="*/ 5410617 w 6884782"/>
              <a:gd name="connsiteY70823" fmla="*/ 3972987 h 5973007"/>
              <a:gd name="connsiteX70824" fmla="*/ 5406297 w 6884782"/>
              <a:gd name="connsiteY70824" fmla="*/ 3978011 h 5973007"/>
              <a:gd name="connsiteX70825" fmla="*/ 5403088 w 6884782"/>
              <a:gd name="connsiteY70825" fmla="*/ 3974414 h 5973007"/>
              <a:gd name="connsiteX70826" fmla="*/ 5380681 w 6884782"/>
              <a:gd name="connsiteY70826" fmla="*/ 3980998 h 5973007"/>
              <a:gd name="connsiteX70827" fmla="*/ 5366310 w 6884782"/>
              <a:gd name="connsiteY70827" fmla="*/ 3988036 h 5973007"/>
              <a:gd name="connsiteX70828" fmla="*/ 5366334 w 6884782"/>
              <a:gd name="connsiteY70828" fmla="*/ 3988027 h 5973007"/>
              <a:gd name="connsiteX70829" fmla="*/ 5368038 w 6884782"/>
              <a:gd name="connsiteY70829" fmla="*/ 3990505 h 5973007"/>
              <a:gd name="connsiteX70830" fmla="*/ 5368812 w 6884782"/>
              <a:gd name="connsiteY70830" fmla="*/ 3989989 h 5973007"/>
              <a:gd name="connsiteX70831" fmla="*/ 5372529 w 6884782"/>
              <a:gd name="connsiteY70831" fmla="*/ 3988853 h 5973007"/>
              <a:gd name="connsiteX70832" fmla="*/ 5372374 w 6884782"/>
              <a:gd name="connsiteY70832" fmla="*/ 3988440 h 5973007"/>
              <a:gd name="connsiteX70833" fmla="*/ 5373149 w 6884782"/>
              <a:gd name="connsiteY70833" fmla="*/ 3985962 h 5973007"/>
              <a:gd name="connsiteX70834" fmla="*/ 5379965 w 6884782"/>
              <a:gd name="connsiteY70834" fmla="*/ 3984620 h 5973007"/>
              <a:gd name="connsiteX70835" fmla="*/ 5384147 w 6884782"/>
              <a:gd name="connsiteY70835" fmla="*/ 3983071 h 5973007"/>
              <a:gd name="connsiteX70836" fmla="*/ 5379190 w 6884782"/>
              <a:gd name="connsiteY70836" fmla="*/ 3986272 h 5973007"/>
              <a:gd name="connsiteX70837" fmla="*/ 5378416 w 6884782"/>
              <a:gd name="connsiteY70837" fmla="*/ 3988853 h 5973007"/>
              <a:gd name="connsiteX70838" fmla="*/ 5376712 w 6884782"/>
              <a:gd name="connsiteY70838" fmla="*/ 3989576 h 5973007"/>
              <a:gd name="connsiteX70839" fmla="*/ 5377021 w 6884782"/>
              <a:gd name="connsiteY70839" fmla="*/ 3990608 h 5973007"/>
              <a:gd name="connsiteX70840" fmla="*/ 5378261 w 6884782"/>
              <a:gd name="connsiteY70840" fmla="*/ 3992983 h 5973007"/>
              <a:gd name="connsiteX70841" fmla="*/ 5372220 w 6884782"/>
              <a:gd name="connsiteY70841" fmla="*/ 3995048 h 5973007"/>
              <a:gd name="connsiteX70842" fmla="*/ 5369432 w 6884782"/>
              <a:gd name="connsiteY70842" fmla="*/ 3995462 h 5973007"/>
              <a:gd name="connsiteX70843" fmla="*/ 5369432 w 6884782"/>
              <a:gd name="connsiteY70843" fmla="*/ 3995771 h 5973007"/>
              <a:gd name="connsiteX70844" fmla="*/ 5366954 w 6884782"/>
              <a:gd name="connsiteY70844" fmla="*/ 4000418 h 5973007"/>
              <a:gd name="connsiteX70845" fmla="*/ 5365559 w 6884782"/>
              <a:gd name="connsiteY70845" fmla="*/ 4001244 h 5973007"/>
              <a:gd name="connsiteX70846" fmla="*/ 5363855 w 6884782"/>
              <a:gd name="connsiteY70846" fmla="*/ 4011363 h 5973007"/>
              <a:gd name="connsiteX70847" fmla="*/ 5356421 w 6884782"/>
              <a:gd name="connsiteY70847" fmla="*/ 4009298 h 5973007"/>
              <a:gd name="connsiteX70848" fmla="*/ 5356575 w 6884782"/>
              <a:gd name="connsiteY70848" fmla="*/ 4003309 h 5973007"/>
              <a:gd name="connsiteX70849" fmla="*/ 5351928 w 6884782"/>
              <a:gd name="connsiteY70849" fmla="*/ 4000005 h 5973007"/>
              <a:gd name="connsiteX70850" fmla="*/ 5356602 w 6884782"/>
              <a:gd name="connsiteY70850" fmla="*/ 3992790 h 5973007"/>
              <a:gd name="connsiteX70851" fmla="*/ 5354841 w 6884782"/>
              <a:gd name="connsiteY70851" fmla="*/ 3993653 h 5973007"/>
              <a:gd name="connsiteX70852" fmla="*/ 5346083 w 6884782"/>
              <a:gd name="connsiteY70852" fmla="*/ 3996947 h 5973007"/>
              <a:gd name="connsiteX70853" fmla="*/ 5346294 w 6884782"/>
              <a:gd name="connsiteY70853" fmla="*/ 3997062 h 5973007"/>
              <a:gd name="connsiteX70854" fmla="*/ 5352548 w 6884782"/>
              <a:gd name="connsiteY70854" fmla="*/ 4007233 h 5973007"/>
              <a:gd name="connsiteX70855" fmla="*/ 5340621 w 6884782"/>
              <a:gd name="connsiteY70855" fmla="*/ 4001347 h 5973007"/>
              <a:gd name="connsiteX70856" fmla="*/ 5339248 w 6884782"/>
              <a:gd name="connsiteY70856" fmla="*/ 3999517 h 5973007"/>
              <a:gd name="connsiteX70857" fmla="*/ 5337430 w 6884782"/>
              <a:gd name="connsiteY70857" fmla="*/ 4000201 h 5973007"/>
              <a:gd name="connsiteX70858" fmla="*/ 5337213 w 6884782"/>
              <a:gd name="connsiteY70858" fmla="*/ 4000418 h 5973007"/>
              <a:gd name="connsiteX70859" fmla="*/ 5337833 w 6884782"/>
              <a:gd name="connsiteY70859" fmla="*/ 4000418 h 5973007"/>
              <a:gd name="connsiteX70860" fmla="*/ 5334425 w 6884782"/>
              <a:gd name="connsiteY70860" fmla="*/ 4004651 h 5973007"/>
              <a:gd name="connsiteX70861" fmla="*/ 5334115 w 6884782"/>
              <a:gd name="connsiteY70861" fmla="*/ 4005890 h 5973007"/>
              <a:gd name="connsiteX70862" fmla="*/ 5332721 w 6884782"/>
              <a:gd name="connsiteY70862" fmla="*/ 4010021 h 5973007"/>
              <a:gd name="connsiteX70863" fmla="*/ 5328849 w 6884782"/>
              <a:gd name="connsiteY70863" fmla="*/ 4008472 h 5973007"/>
              <a:gd name="connsiteX70864" fmla="*/ 5328075 w 6884782"/>
              <a:gd name="connsiteY70864" fmla="*/ 4008988 h 5973007"/>
              <a:gd name="connsiteX70865" fmla="*/ 5316922 w 6884782"/>
              <a:gd name="connsiteY70865" fmla="*/ 4010847 h 5973007"/>
              <a:gd name="connsiteX70866" fmla="*/ 5319843 w 6884782"/>
              <a:gd name="connsiteY70866" fmla="*/ 4006877 h 5973007"/>
              <a:gd name="connsiteX70867" fmla="*/ 5304063 w 6884782"/>
              <a:gd name="connsiteY70867" fmla="*/ 4012933 h 5973007"/>
              <a:gd name="connsiteX70868" fmla="*/ 5307067 w 6884782"/>
              <a:gd name="connsiteY70868" fmla="*/ 4018359 h 5973007"/>
              <a:gd name="connsiteX70869" fmla="*/ 5301587 w 6884782"/>
              <a:gd name="connsiteY70869" fmla="*/ 4023754 h 5973007"/>
              <a:gd name="connsiteX70870" fmla="*/ 5298063 w 6884782"/>
              <a:gd name="connsiteY70870" fmla="*/ 4018087 h 5973007"/>
              <a:gd name="connsiteX70871" fmla="*/ 5297644 w 6884782"/>
              <a:gd name="connsiteY70871" fmla="*/ 4015397 h 5973007"/>
              <a:gd name="connsiteX70872" fmla="*/ 5272055 w 6884782"/>
              <a:gd name="connsiteY70872" fmla="*/ 4025217 h 5973007"/>
              <a:gd name="connsiteX70873" fmla="*/ 5271847 w 6884782"/>
              <a:gd name="connsiteY70873" fmla="*/ 4025612 h 5973007"/>
              <a:gd name="connsiteX70874" fmla="*/ 5271547 w 6884782"/>
              <a:gd name="connsiteY70874" fmla="*/ 4025412 h 5973007"/>
              <a:gd name="connsiteX70875" fmla="*/ 5229691 w 6884782"/>
              <a:gd name="connsiteY70875" fmla="*/ 4041476 h 5973007"/>
              <a:gd name="connsiteX70876" fmla="*/ 5231419 w 6884782"/>
              <a:gd name="connsiteY70876" fmla="*/ 4050084 h 5973007"/>
              <a:gd name="connsiteX70877" fmla="*/ 5225223 w 6884782"/>
              <a:gd name="connsiteY70877" fmla="*/ 4045437 h 5973007"/>
              <a:gd name="connsiteX70878" fmla="*/ 5225264 w 6884782"/>
              <a:gd name="connsiteY70878" fmla="*/ 4043174 h 5973007"/>
              <a:gd name="connsiteX70879" fmla="*/ 5222573 w 6884782"/>
              <a:gd name="connsiteY70879" fmla="*/ 4044207 h 5973007"/>
              <a:gd name="connsiteX70880" fmla="*/ 5222435 w 6884782"/>
              <a:gd name="connsiteY70880" fmla="*/ 4045128 h 5973007"/>
              <a:gd name="connsiteX70881" fmla="*/ 5222125 w 6884782"/>
              <a:gd name="connsiteY70881" fmla="*/ 4046986 h 5973007"/>
              <a:gd name="connsiteX70882" fmla="*/ 5219182 w 6884782"/>
              <a:gd name="connsiteY70882" fmla="*/ 4049155 h 5973007"/>
              <a:gd name="connsiteX70883" fmla="*/ 5219182 w 6884782"/>
              <a:gd name="connsiteY70883" fmla="*/ 4045636 h 5973007"/>
              <a:gd name="connsiteX70884" fmla="*/ 5212141 w 6884782"/>
              <a:gd name="connsiteY70884" fmla="*/ 4048615 h 5973007"/>
              <a:gd name="connsiteX70885" fmla="*/ 5213761 w 6884782"/>
              <a:gd name="connsiteY70885" fmla="*/ 4053904 h 5973007"/>
              <a:gd name="connsiteX70886" fmla="*/ 5213606 w 6884782"/>
              <a:gd name="connsiteY70886" fmla="*/ 4057312 h 5973007"/>
              <a:gd name="connsiteX70887" fmla="*/ 5218562 w 6884782"/>
              <a:gd name="connsiteY70887" fmla="*/ 4061752 h 5973007"/>
              <a:gd name="connsiteX70888" fmla="*/ 5218562 w 6884782"/>
              <a:gd name="connsiteY70888" fmla="*/ 4064540 h 5973007"/>
              <a:gd name="connsiteX70889" fmla="*/ 5211438 w 6884782"/>
              <a:gd name="connsiteY70889" fmla="*/ 4072800 h 5973007"/>
              <a:gd name="connsiteX70890" fmla="*/ 5210663 w 6884782"/>
              <a:gd name="connsiteY70890" fmla="*/ 4073007 h 5973007"/>
              <a:gd name="connsiteX70891" fmla="*/ 5212831 w 6884782"/>
              <a:gd name="connsiteY70891" fmla="*/ 4074349 h 5973007"/>
              <a:gd name="connsiteX70892" fmla="*/ 5206636 w 6884782"/>
              <a:gd name="connsiteY70892" fmla="*/ 4078893 h 5973007"/>
              <a:gd name="connsiteX70893" fmla="*/ 5206171 w 6884782"/>
              <a:gd name="connsiteY70893" fmla="*/ 4075589 h 5973007"/>
              <a:gd name="connsiteX70894" fmla="*/ 5206016 w 6884782"/>
              <a:gd name="connsiteY70894" fmla="*/ 4074349 h 5973007"/>
              <a:gd name="connsiteX70895" fmla="*/ 5200595 w 6884782"/>
              <a:gd name="connsiteY70895" fmla="*/ 4075795 h 5973007"/>
              <a:gd name="connsiteX70896" fmla="*/ 5184485 w 6884782"/>
              <a:gd name="connsiteY70896" fmla="*/ 4070322 h 5973007"/>
              <a:gd name="connsiteX70897" fmla="*/ 5184021 w 6884782"/>
              <a:gd name="connsiteY70897" fmla="*/ 4069600 h 5973007"/>
              <a:gd name="connsiteX70898" fmla="*/ 5184485 w 6884782"/>
              <a:gd name="connsiteY70898" fmla="*/ 4071045 h 5973007"/>
              <a:gd name="connsiteX70899" fmla="*/ 5183556 w 6884782"/>
              <a:gd name="connsiteY70899" fmla="*/ 4072697 h 5973007"/>
              <a:gd name="connsiteX70900" fmla="*/ 5180613 w 6884782"/>
              <a:gd name="connsiteY70900" fmla="*/ 4075692 h 5973007"/>
              <a:gd name="connsiteX70901" fmla="*/ 5177825 w 6884782"/>
              <a:gd name="connsiteY70901" fmla="*/ 4074143 h 5973007"/>
              <a:gd name="connsiteX70902" fmla="*/ 5177050 w 6884782"/>
              <a:gd name="connsiteY70902" fmla="*/ 4070322 h 5973007"/>
              <a:gd name="connsiteX70903" fmla="*/ 5179839 w 6884782"/>
              <a:gd name="connsiteY70903" fmla="*/ 4064127 h 5973007"/>
              <a:gd name="connsiteX70904" fmla="*/ 5181233 w 6884782"/>
              <a:gd name="connsiteY70904" fmla="*/ 4065056 h 5973007"/>
              <a:gd name="connsiteX70905" fmla="*/ 5183810 w 6884782"/>
              <a:gd name="connsiteY70905" fmla="*/ 4060602 h 5973007"/>
              <a:gd name="connsiteX70906" fmla="*/ 5168706 w 6884782"/>
              <a:gd name="connsiteY70906" fmla="*/ 4066993 h 5973007"/>
              <a:gd name="connsiteX70907" fmla="*/ 5170390 w 6884782"/>
              <a:gd name="connsiteY70907" fmla="*/ 4067844 h 5973007"/>
              <a:gd name="connsiteX70908" fmla="*/ 5163265 w 6884782"/>
              <a:gd name="connsiteY70908" fmla="*/ 4073110 h 5973007"/>
              <a:gd name="connsiteX70909" fmla="*/ 5164828 w 6884782"/>
              <a:gd name="connsiteY70909" fmla="*/ 4068634 h 5973007"/>
              <a:gd name="connsiteX70910" fmla="*/ 5146958 w 6884782"/>
              <a:gd name="connsiteY70910" fmla="*/ 4076195 h 5973007"/>
              <a:gd name="connsiteX70911" fmla="*/ 5147775 w 6884782"/>
              <a:gd name="connsiteY70911" fmla="*/ 4076518 h 5973007"/>
              <a:gd name="connsiteX70912" fmla="*/ 5148240 w 6884782"/>
              <a:gd name="connsiteY70912" fmla="*/ 4084778 h 5973007"/>
              <a:gd name="connsiteX70913" fmla="*/ 5146691 w 6884782"/>
              <a:gd name="connsiteY70913" fmla="*/ 4087773 h 5973007"/>
              <a:gd name="connsiteX70914" fmla="*/ 5135611 w 6884782"/>
              <a:gd name="connsiteY70914" fmla="*/ 4080996 h 5973007"/>
              <a:gd name="connsiteX70915" fmla="*/ 5120417 w 6884782"/>
              <a:gd name="connsiteY70915" fmla="*/ 4087425 h 5973007"/>
              <a:gd name="connsiteX70916" fmla="*/ 5120746 w 6884782"/>
              <a:gd name="connsiteY70916" fmla="*/ 4090509 h 5973007"/>
              <a:gd name="connsiteX70917" fmla="*/ 5115247 w 6884782"/>
              <a:gd name="connsiteY70917" fmla="*/ 4096549 h 5973007"/>
              <a:gd name="connsiteX70918" fmla="*/ 5112614 w 6884782"/>
              <a:gd name="connsiteY70918" fmla="*/ 4095724 h 5973007"/>
              <a:gd name="connsiteX70919" fmla="*/ 5110586 w 6884782"/>
              <a:gd name="connsiteY70919" fmla="*/ 4092120 h 5973007"/>
              <a:gd name="connsiteX70920" fmla="*/ 5027700 w 6884782"/>
              <a:gd name="connsiteY70920" fmla="*/ 4137847 h 5973007"/>
              <a:gd name="connsiteX70921" fmla="*/ 5031912 w 6884782"/>
              <a:gd name="connsiteY70921" fmla="*/ 4138471 h 5973007"/>
              <a:gd name="connsiteX70922" fmla="*/ 5028969 w 6884782"/>
              <a:gd name="connsiteY70922" fmla="*/ 4147765 h 5973007"/>
              <a:gd name="connsiteX70923" fmla="*/ 5023180 w 6884782"/>
              <a:gd name="connsiteY70923" fmla="*/ 4143970 h 5973007"/>
              <a:gd name="connsiteX70924" fmla="*/ 5023385 w 6884782"/>
              <a:gd name="connsiteY70924" fmla="*/ 4140228 h 5973007"/>
              <a:gd name="connsiteX70925" fmla="*/ 5009241 w 6884782"/>
              <a:gd name="connsiteY70925" fmla="*/ 4148031 h 5973007"/>
              <a:gd name="connsiteX70926" fmla="*/ 5079768 w 6884782"/>
              <a:gd name="connsiteY70926" fmla="*/ 4178424 h 5973007"/>
              <a:gd name="connsiteX70927" fmla="*/ 5076058 w 6884782"/>
              <a:gd name="connsiteY70927" fmla="*/ 4171720 h 5973007"/>
              <a:gd name="connsiteX70928" fmla="*/ 5082564 w 6884782"/>
              <a:gd name="connsiteY70928" fmla="*/ 4166970 h 5973007"/>
              <a:gd name="connsiteX70929" fmla="*/ 5089224 w 6884782"/>
              <a:gd name="connsiteY70929" fmla="*/ 4180084 h 5973007"/>
              <a:gd name="connsiteX70930" fmla="*/ 5087246 w 6884782"/>
              <a:gd name="connsiteY70930" fmla="*/ 4181647 h 5973007"/>
              <a:gd name="connsiteX70931" fmla="*/ 5108946 w 6884782"/>
              <a:gd name="connsiteY70931" fmla="*/ 4190998 h 5973007"/>
              <a:gd name="connsiteX70932" fmla="*/ 5111374 w 6884782"/>
              <a:gd name="connsiteY70932" fmla="*/ 4187828 h 5973007"/>
              <a:gd name="connsiteX70933" fmla="*/ 5114705 w 6884782"/>
              <a:gd name="connsiteY70933" fmla="*/ 4193339 h 5973007"/>
              <a:gd name="connsiteX70934" fmla="*/ 5114615 w 6884782"/>
              <a:gd name="connsiteY70934" fmla="*/ 4193441 h 5973007"/>
              <a:gd name="connsiteX70935" fmla="*/ 5160702 w 6884782"/>
              <a:gd name="connsiteY70935" fmla="*/ 4213302 h 5973007"/>
              <a:gd name="connsiteX70936" fmla="*/ 5162800 w 6884782"/>
              <a:gd name="connsiteY70936" fmla="*/ 4208686 h 5973007"/>
              <a:gd name="connsiteX70937" fmla="*/ 5162840 w 6884782"/>
              <a:gd name="connsiteY70937" fmla="*/ 4214224 h 5973007"/>
              <a:gd name="connsiteX70938" fmla="*/ 5185240 w 6884782"/>
              <a:gd name="connsiteY70938" fmla="*/ 4223877 h 5973007"/>
              <a:gd name="connsiteX70939" fmla="*/ 5185725 w 6884782"/>
              <a:gd name="connsiteY70939" fmla="*/ 4220044 h 5973007"/>
              <a:gd name="connsiteX70940" fmla="*/ 5191766 w 6884782"/>
              <a:gd name="connsiteY70940" fmla="*/ 4220870 h 5973007"/>
              <a:gd name="connsiteX70941" fmla="*/ 5192570 w 6884782"/>
              <a:gd name="connsiteY70941" fmla="*/ 4227036 h 5973007"/>
              <a:gd name="connsiteX70942" fmla="*/ 5203036 w 6884782"/>
              <a:gd name="connsiteY70942" fmla="*/ 4231546 h 5973007"/>
              <a:gd name="connsiteX70943" fmla="*/ 5202316 w 6884782"/>
              <a:gd name="connsiteY70943" fmla="*/ 4240003 h 5973007"/>
              <a:gd name="connsiteX70944" fmla="*/ 5206171 w 6884782"/>
              <a:gd name="connsiteY70944" fmla="*/ 4235945 h 5973007"/>
              <a:gd name="connsiteX70945" fmla="*/ 5208495 w 6884782"/>
              <a:gd name="connsiteY70945" fmla="*/ 4233777 h 5973007"/>
              <a:gd name="connsiteX70946" fmla="*/ 5207565 w 6884782"/>
              <a:gd name="connsiteY70946" fmla="*/ 4229337 h 5973007"/>
              <a:gd name="connsiteX70947" fmla="*/ 5209888 w 6884782"/>
              <a:gd name="connsiteY70947" fmla="*/ 4225516 h 5973007"/>
              <a:gd name="connsiteX70948" fmla="*/ 5213451 w 6884782"/>
              <a:gd name="connsiteY70948" fmla="*/ 4235326 h 5973007"/>
              <a:gd name="connsiteX70949" fmla="*/ 5211902 w 6884782"/>
              <a:gd name="connsiteY70949" fmla="*/ 4235223 h 5973007"/>
              <a:gd name="connsiteX70950" fmla="*/ 5209114 w 6884782"/>
              <a:gd name="connsiteY70950" fmla="*/ 4239146 h 5973007"/>
              <a:gd name="connsiteX70951" fmla="*/ 5206791 w 6884782"/>
              <a:gd name="connsiteY70951" fmla="*/ 4240902 h 5973007"/>
              <a:gd name="connsiteX70952" fmla="*/ 5205241 w 6884782"/>
              <a:gd name="connsiteY70952" fmla="*/ 4242037 h 5973007"/>
              <a:gd name="connsiteX70953" fmla="*/ 5203848 w 6884782"/>
              <a:gd name="connsiteY70953" fmla="*/ 4243070 h 5973007"/>
              <a:gd name="connsiteX70954" fmla="*/ 5202144 w 6884782"/>
              <a:gd name="connsiteY70954" fmla="*/ 4243380 h 5973007"/>
              <a:gd name="connsiteX70955" fmla="*/ 5202035 w 6884782"/>
              <a:gd name="connsiteY70955" fmla="*/ 4243307 h 5973007"/>
              <a:gd name="connsiteX70956" fmla="*/ 5200783 w 6884782"/>
              <a:gd name="connsiteY70956" fmla="*/ 4258024 h 5973007"/>
              <a:gd name="connsiteX70957" fmla="*/ 5203848 w 6884782"/>
              <a:gd name="connsiteY70957" fmla="*/ 4257732 h 5973007"/>
              <a:gd name="connsiteX70958" fmla="*/ 5201989 w 6884782"/>
              <a:gd name="connsiteY70958" fmla="*/ 4262482 h 5973007"/>
              <a:gd name="connsiteX70959" fmla="*/ 5200466 w 6884782"/>
              <a:gd name="connsiteY70959" fmla="*/ 4261746 h 5973007"/>
              <a:gd name="connsiteX70960" fmla="*/ 5198729 w 6884782"/>
              <a:gd name="connsiteY70960" fmla="*/ 4282162 h 5973007"/>
              <a:gd name="connsiteX70961" fmla="*/ 5129709 w 6884782"/>
              <a:gd name="connsiteY70961" fmla="*/ 4260660 h 5973007"/>
              <a:gd name="connsiteX70962" fmla="*/ 5129033 w 6884782"/>
              <a:gd name="connsiteY70962" fmla="*/ 4264547 h 5973007"/>
              <a:gd name="connsiteX70963" fmla="*/ 5127709 w 6884782"/>
              <a:gd name="connsiteY70963" fmla="*/ 4260036 h 5973007"/>
              <a:gd name="connsiteX70964" fmla="*/ 5109368 w 6884782"/>
              <a:gd name="connsiteY70964" fmla="*/ 4254323 h 5973007"/>
              <a:gd name="connsiteX70965" fmla="*/ 5057662 w 6884782"/>
              <a:gd name="connsiteY70965" fmla="*/ 4239854 h 5973007"/>
              <a:gd name="connsiteX70966" fmla="*/ 5057625 w 6884782"/>
              <a:gd name="connsiteY70966" fmla="*/ 4242037 h 5973007"/>
              <a:gd name="connsiteX70967" fmla="*/ 5054527 w 6884782"/>
              <a:gd name="connsiteY70967" fmla="*/ 4240385 h 5973007"/>
              <a:gd name="connsiteX70968" fmla="*/ 5055076 w 6884782"/>
              <a:gd name="connsiteY70968" fmla="*/ 4239130 h 5973007"/>
              <a:gd name="connsiteX70969" fmla="*/ 5018931 w 6884782"/>
              <a:gd name="connsiteY70969" fmla="*/ 4229016 h 5973007"/>
              <a:gd name="connsiteX70970" fmla="*/ 4925263 w 6884782"/>
              <a:gd name="connsiteY70970" fmla="*/ 4196115 h 5973007"/>
              <a:gd name="connsiteX70971" fmla="*/ 4839389 w 6884782"/>
              <a:gd name="connsiteY70971" fmla="*/ 4171980 h 5973007"/>
              <a:gd name="connsiteX70972" fmla="*/ 4839996 w 6884782"/>
              <a:gd name="connsiteY70972" fmla="*/ 4174921 h 5973007"/>
              <a:gd name="connsiteX70973" fmla="*/ 4837373 w 6884782"/>
              <a:gd name="connsiteY70973" fmla="*/ 4171413 h 5973007"/>
              <a:gd name="connsiteX70974" fmla="*/ 4826213 w 6884782"/>
              <a:gd name="connsiteY70974" fmla="*/ 4168277 h 5973007"/>
              <a:gd name="connsiteX70975" fmla="*/ 4832724 w 6884782"/>
              <a:gd name="connsiteY70975" fmla="*/ 4191237 h 5973007"/>
              <a:gd name="connsiteX70976" fmla="*/ 4832948 w 6884782"/>
              <a:gd name="connsiteY70976" fmla="*/ 4186989 h 5973007"/>
              <a:gd name="connsiteX70977" fmla="*/ 4840151 w 6884782"/>
              <a:gd name="connsiteY70977" fmla="*/ 4177709 h 5973007"/>
              <a:gd name="connsiteX70978" fmla="*/ 4839106 w 6884782"/>
              <a:gd name="connsiteY70978" fmla="*/ 4190435 h 5973007"/>
              <a:gd name="connsiteX70979" fmla="*/ 4834402 w 6884782"/>
              <a:gd name="connsiteY70979" fmla="*/ 4197150 h 5973007"/>
              <a:gd name="connsiteX70980" fmla="*/ 4841286 w 6884782"/>
              <a:gd name="connsiteY70980" fmla="*/ 4221423 h 5973007"/>
              <a:gd name="connsiteX70981" fmla="*/ 4846554 w 6884782"/>
              <a:gd name="connsiteY70981" fmla="*/ 4241032 h 5973007"/>
              <a:gd name="connsiteX70982" fmla="*/ 4851458 w 6884782"/>
              <a:gd name="connsiteY70982" fmla="*/ 4238217 h 5973007"/>
              <a:gd name="connsiteX70983" fmla="*/ 4847769 w 6884782"/>
              <a:gd name="connsiteY70983" fmla="*/ 4245554 h 5973007"/>
              <a:gd name="connsiteX70984" fmla="*/ 4854205 w 6884782"/>
              <a:gd name="connsiteY70984" fmla="*/ 4269509 h 5973007"/>
              <a:gd name="connsiteX70985" fmla="*/ 4866048 w 6884782"/>
              <a:gd name="connsiteY70985" fmla="*/ 4312531 h 5973007"/>
              <a:gd name="connsiteX70986" fmla="*/ 4876815 w 6884782"/>
              <a:gd name="connsiteY70986" fmla="*/ 4355554 h 5973007"/>
              <a:gd name="connsiteX70987" fmla="*/ 4860724 w 6884782"/>
              <a:gd name="connsiteY70987" fmla="*/ 4351370 h 5973007"/>
              <a:gd name="connsiteX70988" fmla="*/ 4857809 w 6884782"/>
              <a:gd name="connsiteY70988" fmla="*/ 4354935 h 5973007"/>
              <a:gd name="connsiteX70989" fmla="*/ 4850684 w 6884782"/>
              <a:gd name="connsiteY70989" fmla="*/ 4359440 h 5973007"/>
              <a:gd name="connsiteX70990" fmla="*/ 4844953 w 6884782"/>
              <a:gd name="connsiteY70990" fmla="*/ 4358304 h 5973007"/>
              <a:gd name="connsiteX70991" fmla="*/ 4849660 w 6884782"/>
              <a:gd name="connsiteY70991" fmla="*/ 4348493 h 5973007"/>
              <a:gd name="connsiteX70992" fmla="*/ 4813264 w 6884782"/>
              <a:gd name="connsiteY70992" fmla="*/ 4339029 h 5973007"/>
              <a:gd name="connsiteX70993" fmla="*/ 4812270 w 6884782"/>
              <a:gd name="connsiteY70993" fmla="*/ 4339511 h 5973007"/>
              <a:gd name="connsiteX70994" fmla="*/ 4811607 w 6884782"/>
              <a:gd name="connsiteY70994" fmla="*/ 4338598 h 5973007"/>
              <a:gd name="connsiteX70995" fmla="*/ 4803677 w 6884782"/>
              <a:gd name="connsiteY70995" fmla="*/ 4336536 h 5973007"/>
              <a:gd name="connsiteX70996" fmla="*/ 4804060 w 6884782"/>
              <a:gd name="connsiteY70996" fmla="*/ 4338582 h 5973007"/>
              <a:gd name="connsiteX70997" fmla="*/ 4802511 w 6884782"/>
              <a:gd name="connsiteY70997" fmla="*/ 4339098 h 5973007"/>
              <a:gd name="connsiteX70998" fmla="*/ 4800652 w 6884782"/>
              <a:gd name="connsiteY70998" fmla="*/ 4337756 h 5973007"/>
              <a:gd name="connsiteX70999" fmla="*/ 4802399 w 6884782"/>
              <a:gd name="connsiteY70999" fmla="*/ 4336204 h 5973007"/>
              <a:gd name="connsiteX71000" fmla="*/ 4712534 w 6884782"/>
              <a:gd name="connsiteY71000" fmla="*/ 4312837 h 5973007"/>
              <a:gd name="connsiteX71001" fmla="*/ 4711897 w 6884782"/>
              <a:gd name="connsiteY71001" fmla="*/ 4314523 h 5973007"/>
              <a:gd name="connsiteX71002" fmla="*/ 4702448 w 6884782"/>
              <a:gd name="connsiteY71002" fmla="*/ 4316175 h 5973007"/>
              <a:gd name="connsiteX71003" fmla="*/ 4701519 w 6884782"/>
              <a:gd name="connsiteY71003" fmla="*/ 4317828 h 5973007"/>
              <a:gd name="connsiteX71004" fmla="*/ 4697956 w 6884782"/>
              <a:gd name="connsiteY71004" fmla="*/ 4319479 h 5973007"/>
              <a:gd name="connsiteX71005" fmla="*/ 4697337 w 6884782"/>
              <a:gd name="connsiteY71005" fmla="*/ 4317724 h 5973007"/>
              <a:gd name="connsiteX71006" fmla="*/ 4700899 w 6884782"/>
              <a:gd name="connsiteY71006" fmla="*/ 4315246 h 5973007"/>
              <a:gd name="connsiteX71007" fmla="*/ 4700899 w 6884782"/>
              <a:gd name="connsiteY71007" fmla="*/ 4314420 h 5973007"/>
              <a:gd name="connsiteX71008" fmla="*/ 4699505 w 6884782"/>
              <a:gd name="connsiteY71008" fmla="*/ 4312562 h 5973007"/>
              <a:gd name="connsiteX71009" fmla="*/ 4698518 w 6884782"/>
              <a:gd name="connsiteY71009" fmla="*/ 4309851 h 5973007"/>
              <a:gd name="connsiteX71010" fmla="*/ 4698713 w 6884782"/>
              <a:gd name="connsiteY71010" fmla="*/ 4309243 h 5973007"/>
              <a:gd name="connsiteX71011" fmla="*/ 4633495 w 6884782"/>
              <a:gd name="connsiteY71011" fmla="*/ 4292285 h 5973007"/>
              <a:gd name="connsiteX71012" fmla="*/ 4574481 w 6884782"/>
              <a:gd name="connsiteY71012" fmla="*/ 4277619 h 5973007"/>
              <a:gd name="connsiteX71013" fmla="*/ 4574481 w 6884782"/>
              <a:gd name="connsiteY71013" fmla="*/ 4384363 h 5973007"/>
              <a:gd name="connsiteX71014" fmla="*/ 4762691 w 6884782"/>
              <a:gd name="connsiteY71014" fmla="*/ 4461848 h 5973007"/>
              <a:gd name="connsiteX71015" fmla="*/ 4957563 w 6884782"/>
              <a:gd name="connsiteY71015" fmla="*/ 4547894 h 5973007"/>
              <a:gd name="connsiteX71016" fmla="*/ 4939259 w 6884782"/>
              <a:gd name="connsiteY71016" fmla="*/ 4565610 h 5973007"/>
              <a:gd name="connsiteX71017" fmla="*/ 4925263 w 6884782"/>
              <a:gd name="connsiteY71017" fmla="*/ 4578265 h 5973007"/>
              <a:gd name="connsiteX71018" fmla="*/ 4912344 w 6884782"/>
              <a:gd name="connsiteY71018" fmla="*/ 4593448 h 5973007"/>
              <a:gd name="connsiteX71019" fmla="*/ 4917727 w 6884782"/>
              <a:gd name="connsiteY71019" fmla="*/ 4628879 h 5973007"/>
              <a:gd name="connsiteX71020" fmla="*/ 4943566 w 6884782"/>
              <a:gd name="connsiteY71020" fmla="*/ 4603571 h 5973007"/>
              <a:gd name="connsiteX71021" fmla="*/ 4970482 w 6884782"/>
              <a:gd name="connsiteY71021" fmla="*/ 4578265 h 5973007"/>
              <a:gd name="connsiteX71022" fmla="*/ 4999551 w 6884782"/>
              <a:gd name="connsiteY71022" fmla="*/ 4550424 h 5973007"/>
              <a:gd name="connsiteX71023" fmla="*/ 5014624 w 6884782"/>
              <a:gd name="connsiteY71023" fmla="*/ 4590917 h 5973007"/>
              <a:gd name="connsiteX71024" fmla="*/ 5028620 w 6884782"/>
              <a:gd name="connsiteY71024" fmla="*/ 4623818 h 5973007"/>
              <a:gd name="connsiteX71025" fmla="*/ 5042617 w 6884782"/>
              <a:gd name="connsiteY71025" fmla="*/ 4651657 h 5973007"/>
              <a:gd name="connsiteX71026" fmla="*/ 5059843 w 6884782"/>
              <a:gd name="connsiteY71026" fmla="*/ 4671903 h 5973007"/>
              <a:gd name="connsiteX71027" fmla="*/ 5075992 w 6884782"/>
              <a:gd name="connsiteY71027" fmla="*/ 4684556 h 5973007"/>
              <a:gd name="connsiteX71028" fmla="*/ 5093219 w 6884782"/>
              <a:gd name="connsiteY71028" fmla="*/ 4679495 h 5973007"/>
              <a:gd name="connsiteX71029" fmla="*/ 5111521 w 6884782"/>
              <a:gd name="connsiteY71029" fmla="*/ 4664311 h 5973007"/>
              <a:gd name="connsiteX71030" fmla="*/ 5130901 w 6884782"/>
              <a:gd name="connsiteY71030" fmla="*/ 4631411 h 5973007"/>
              <a:gd name="connsiteX71031" fmla="*/ 5151357 w 6884782"/>
              <a:gd name="connsiteY71031" fmla="*/ 4580795 h 5973007"/>
              <a:gd name="connsiteX71032" fmla="*/ 5172890 w 6884782"/>
              <a:gd name="connsiteY71032" fmla="*/ 4631411 h 5973007"/>
              <a:gd name="connsiteX71033" fmla="*/ 5195499 w 6884782"/>
              <a:gd name="connsiteY71033" fmla="*/ 4669372 h 5973007"/>
              <a:gd name="connsiteX71034" fmla="*/ 5219185 w 6884782"/>
              <a:gd name="connsiteY71034" fmla="*/ 4694680 h 5973007"/>
              <a:gd name="connsiteX71035" fmla="*/ 5243948 w 6884782"/>
              <a:gd name="connsiteY71035" fmla="*/ 4709864 h 5973007"/>
              <a:gd name="connsiteX71036" fmla="*/ 5268710 w 6884782"/>
              <a:gd name="connsiteY71036" fmla="*/ 4714925 h 5973007"/>
              <a:gd name="connsiteX71037" fmla="*/ 5294550 w 6884782"/>
              <a:gd name="connsiteY71037" fmla="*/ 4714925 h 5973007"/>
              <a:gd name="connsiteX71038" fmla="*/ 5320389 w 6884782"/>
              <a:gd name="connsiteY71038" fmla="*/ 4709864 h 5973007"/>
              <a:gd name="connsiteX71039" fmla="*/ 5347305 w 6884782"/>
              <a:gd name="connsiteY71039" fmla="*/ 4702272 h 5973007"/>
              <a:gd name="connsiteX71040" fmla="*/ 5373144 w 6884782"/>
              <a:gd name="connsiteY71040" fmla="*/ 4694680 h 5973007"/>
              <a:gd name="connsiteX71041" fmla="*/ 5398983 w 6884782"/>
              <a:gd name="connsiteY71041" fmla="*/ 4689619 h 5973007"/>
              <a:gd name="connsiteX71042" fmla="*/ 5424823 w 6884782"/>
              <a:gd name="connsiteY71042" fmla="*/ 4689619 h 5973007"/>
              <a:gd name="connsiteX71043" fmla="*/ 5450662 w 6884782"/>
              <a:gd name="connsiteY71043" fmla="*/ 4692150 h 5973007"/>
              <a:gd name="connsiteX71044" fmla="*/ 5556172 w 6884782"/>
              <a:gd name="connsiteY71044" fmla="*/ 4719988 h 5973007"/>
              <a:gd name="connsiteX71045" fmla="*/ 5662760 w 6884782"/>
              <a:gd name="connsiteY71045" fmla="*/ 4737703 h 5973007"/>
              <a:gd name="connsiteX71046" fmla="*/ 5770423 w 6884782"/>
              <a:gd name="connsiteY71046" fmla="*/ 4750357 h 5973007"/>
              <a:gd name="connsiteX71047" fmla="*/ 5877010 w 6884782"/>
              <a:gd name="connsiteY71047" fmla="*/ 4765543 h 5973007"/>
              <a:gd name="connsiteX71048" fmla="*/ 5877010 w 6884782"/>
              <a:gd name="connsiteY71048" fmla="*/ 4823750 h 5973007"/>
              <a:gd name="connsiteX71049" fmla="*/ 5407597 w 6884782"/>
              <a:gd name="connsiteY71049" fmla="*/ 4823750 h 5973007"/>
              <a:gd name="connsiteX71050" fmla="*/ 5407597 w 6884782"/>
              <a:gd name="connsiteY71050" fmla="*/ 4884489 h 5973007"/>
              <a:gd name="connsiteX71051" fmla="*/ 5727358 w 6884782"/>
              <a:gd name="connsiteY71051" fmla="*/ 4884489 h 5973007"/>
              <a:gd name="connsiteX71052" fmla="*/ 5729511 w 6884782"/>
              <a:gd name="connsiteY71052" fmla="*/ 4940166 h 5973007"/>
              <a:gd name="connsiteX71053" fmla="*/ 5659530 w 6884782"/>
              <a:gd name="connsiteY71053" fmla="*/ 4968005 h 5973007"/>
              <a:gd name="connsiteX71054" fmla="*/ 5588472 w 6884782"/>
              <a:gd name="connsiteY71054" fmla="*/ 4998375 h 5973007"/>
              <a:gd name="connsiteX71055" fmla="*/ 5514184 w 6884782"/>
              <a:gd name="connsiteY71055" fmla="*/ 5026213 h 5973007"/>
              <a:gd name="connsiteX71056" fmla="*/ 5522797 w 6884782"/>
              <a:gd name="connsiteY71056" fmla="*/ 5048991 h 5973007"/>
              <a:gd name="connsiteX71057" fmla="*/ 5531410 w 6884782"/>
              <a:gd name="connsiteY71057" fmla="*/ 5071767 h 5973007"/>
              <a:gd name="connsiteX71058" fmla="*/ 5542176 w 6884782"/>
              <a:gd name="connsiteY71058" fmla="*/ 5099605 h 5973007"/>
              <a:gd name="connsiteX71059" fmla="*/ 5555096 w 6884782"/>
              <a:gd name="connsiteY71059" fmla="*/ 5132506 h 5973007"/>
              <a:gd name="connsiteX71060" fmla="*/ 5572322 w 6884782"/>
              <a:gd name="connsiteY71060" fmla="*/ 5175529 h 5973007"/>
              <a:gd name="connsiteX71061" fmla="*/ 5412980 w 6884782"/>
              <a:gd name="connsiteY71061" fmla="*/ 5193245 h 5973007"/>
              <a:gd name="connsiteX71062" fmla="*/ 5255791 w 6884782"/>
              <a:gd name="connsiteY71062" fmla="*/ 5203368 h 5973007"/>
              <a:gd name="connsiteX71063" fmla="*/ 5099679 w 6884782"/>
              <a:gd name="connsiteY71063" fmla="*/ 5213491 h 5973007"/>
              <a:gd name="connsiteX71064" fmla="*/ 4944643 w 6884782"/>
              <a:gd name="connsiteY71064" fmla="*/ 5213491 h 5973007"/>
              <a:gd name="connsiteX71065" fmla="*/ 4789607 w 6884782"/>
              <a:gd name="connsiteY71065" fmla="*/ 5203368 h 5973007"/>
              <a:gd name="connsiteX71066" fmla="*/ 4635648 w 6884782"/>
              <a:gd name="connsiteY71066" fmla="*/ 5183122 h 5973007"/>
              <a:gd name="connsiteX71067" fmla="*/ 4482766 w 6884782"/>
              <a:gd name="connsiteY71067" fmla="*/ 5152752 h 5973007"/>
              <a:gd name="connsiteX71068" fmla="*/ 4372609 w 6884782"/>
              <a:gd name="connsiteY71068" fmla="*/ 5119930 h 5973007"/>
              <a:gd name="connsiteX71069" fmla="*/ 4370863 w 6884782"/>
              <a:gd name="connsiteY71069" fmla="*/ 5125374 h 5973007"/>
              <a:gd name="connsiteX71070" fmla="*/ 4339410 w 6884782"/>
              <a:gd name="connsiteY71070" fmla="*/ 5227031 h 5973007"/>
              <a:gd name="connsiteX71071" fmla="*/ 4327822 w 6884782"/>
              <a:gd name="connsiteY71071" fmla="*/ 5183903 h 5973007"/>
              <a:gd name="connsiteX71072" fmla="*/ 4317889 w 6884782"/>
              <a:gd name="connsiteY71072" fmla="*/ 5148478 h 5973007"/>
              <a:gd name="connsiteX71073" fmla="*/ 4310440 w 6884782"/>
              <a:gd name="connsiteY71073" fmla="*/ 5117673 h 5973007"/>
              <a:gd name="connsiteX71074" fmla="*/ 4304692 w 6884782"/>
              <a:gd name="connsiteY71074" fmla="*/ 5097469 h 5973007"/>
              <a:gd name="connsiteX71075" fmla="*/ 4179154 w 6884782"/>
              <a:gd name="connsiteY71075" fmla="*/ 5048991 h 5973007"/>
              <a:gd name="connsiteX71076" fmla="*/ 4028425 w 6884782"/>
              <a:gd name="connsiteY71076" fmla="*/ 4975597 h 5973007"/>
              <a:gd name="connsiteX71077" fmla="*/ 3878772 w 6884782"/>
              <a:gd name="connsiteY71077" fmla="*/ 4881958 h 5973007"/>
              <a:gd name="connsiteX71078" fmla="*/ 3865853 w 6884782"/>
              <a:gd name="connsiteY71078" fmla="*/ 4947759 h 5973007"/>
              <a:gd name="connsiteX71079" fmla="*/ 3905688 w 6884782"/>
              <a:gd name="connsiteY71079" fmla="*/ 4998375 h 5973007"/>
              <a:gd name="connsiteX71080" fmla="*/ 3945524 w 6884782"/>
              <a:gd name="connsiteY71080" fmla="*/ 5048991 h 5973007"/>
              <a:gd name="connsiteX71081" fmla="*/ 3985359 w 6884782"/>
              <a:gd name="connsiteY71081" fmla="*/ 5094544 h 5973007"/>
              <a:gd name="connsiteX71082" fmla="*/ 4019812 w 6884782"/>
              <a:gd name="connsiteY71082" fmla="*/ 5127445 h 5973007"/>
              <a:gd name="connsiteX71083" fmla="*/ 4055341 w 6884782"/>
              <a:gd name="connsiteY71083" fmla="*/ 5160345 h 5973007"/>
              <a:gd name="connsiteX71084" fmla="*/ 4088716 w 6884782"/>
              <a:gd name="connsiteY71084" fmla="*/ 5203368 h 5973007"/>
              <a:gd name="connsiteX71085" fmla="*/ 4122092 w 6884782"/>
              <a:gd name="connsiteY71085" fmla="*/ 5256514 h 5973007"/>
              <a:gd name="connsiteX71086" fmla="*/ 3912148 w 6884782"/>
              <a:gd name="connsiteY71086" fmla="*/ 5172998 h 5973007"/>
              <a:gd name="connsiteX71087" fmla="*/ 3905688 w 6884782"/>
              <a:gd name="connsiteY71087" fmla="*/ 5226145 h 5973007"/>
              <a:gd name="connsiteX71088" fmla="*/ 3954137 w 6884782"/>
              <a:gd name="connsiteY71088" fmla="*/ 5261576 h 5973007"/>
              <a:gd name="connsiteX71089" fmla="*/ 4003662 w 6884782"/>
              <a:gd name="connsiteY71089" fmla="*/ 5299538 h 5973007"/>
              <a:gd name="connsiteX71090" fmla="*/ 4055341 w 6884782"/>
              <a:gd name="connsiteY71090" fmla="*/ 5340031 h 5973007"/>
              <a:gd name="connsiteX71091" fmla="*/ 4045651 w 6884782"/>
              <a:gd name="connsiteY71091" fmla="*/ 5360278 h 5973007"/>
              <a:gd name="connsiteX71092" fmla="*/ 4033808 w 6884782"/>
              <a:gd name="connsiteY71092" fmla="*/ 5372930 h 5973007"/>
              <a:gd name="connsiteX71093" fmla="*/ 4019812 w 6884782"/>
              <a:gd name="connsiteY71093" fmla="*/ 5380523 h 5973007"/>
              <a:gd name="connsiteX71094" fmla="*/ 4006892 w 6884782"/>
              <a:gd name="connsiteY71094" fmla="*/ 5383053 h 5973007"/>
              <a:gd name="connsiteX71095" fmla="*/ 3993973 w 6884782"/>
              <a:gd name="connsiteY71095" fmla="*/ 5380523 h 5973007"/>
              <a:gd name="connsiteX71096" fmla="*/ 3981053 w 6884782"/>
              <a:gd name="connsiteY71096" fmla="*/ 5372930 h 5973007"/>
              <a:gd name="connsiteX71097" fmla="*/ 3965980 w 6884782"/>
              <a:gd name="connsiteY71097" fmla="*/ 5370400 h 5973007"/>
              <a:gd name="connsiteX71098" fmla="*/ 3953060 w 6884782"/>
              <a:gd name="connsiteY71098" fmla="*/ 5367869 h 5973007"/>
              <a:gd name="connsiteX71099" fmla="*/ 3941217 w 6884782"/>
              <a:gd name="connsiteY71099" fmla="*/ 5367869 h 5973007"/>
              <a:gd name="connsiteX71100" fmla="*/ 3930451 w 6884782"/>
              <a:gd name="connsiteY71100" fmla="*/ 5375461 h 5973007"/>
              <a:gd name="connsiteX71101" fmla="*/ 3919685 w 6884782"/>
              <a:gd name="connsiteY71101" fmla="*/ 5390647 h 5973007"/>
              <a:gd name="connsiteX71102" fmla="*/ 3911072 w 6884782"/>
              <a:gd name="connsiteY71102" fmla="*/ 5413424 h 5973007"/>
              <a:gd name="connsiteX71103" fmla="*/ 3903535 w 6884782"/>
              <a:gd name="connsiteY71103" fmla="*/ 5446324 h 5973007"/>
              <a:gd name="connsiteX71104" fmla="*/ 3899228 w 6884782"/>
              <a:gd name="connsiteY71104" fmla="*/ 5494409 h 5973007"/>
              <a:gd name="connsiteX71105" fmla="*/ 3920761 w 6884782"/>
              <a:gd name="connsiteY71105" fmla="*/ 5527309 h 5973007"/>
              <a:gd name="connsiteX71106" fmla="*/ 3944447 w 6884782"/>
              <a:gd name="connsiteY71106" fmla="*/ 5557679 h 5973007"/>
              <a:gd name="connsiteX71107" fmla="*/ 3971363 w 6884782"/>
              <a:gd name="connsiteY71107" fmla="*/ 5595641 h 5973007"/>
              <a:gd name="connsiteX71108" fmla="*/ 3935834 w 6884782"/>
              <a:gd name="connsiteY71108" fmla="*/ 5610824 h 5973007"/>
              <a:gd name="connsiteX71109" fmla="*/ 3902458 w 6884782"/>
              <a:gd name="connsiteY71109" fmla="*/ 5631071 h 5973007"/>
              <a:gd name="connsiteX71110" fmla="*/ 3870159 w 6884782"/>
              <a:gd name="connsiteY71110" fmla="*/ 5646255 h 5973007"/>
              <a:gd name="connsiteX71111" fmla="*/ 3838937 w 6884782"/>
              <a:gd name="connsiteY71111" fmla="*/ 5653848 h 5973007"/>
              <a:gd name="connsiteX71112" fmla="*/ 3808791 w 6884782"/>
              <a:gd name="connsiteY71112" fmla="*/ 5648787 h 5973007"/>
              <a:gd name="connsiteX71113" fmla="*/ 3733902 w 6884782"/>
              <a:gd name="connsiteY71113" fmla="*/ 5617140 h 5973007"/>
              <a:gd name="connsiteX71114" fmla="*/ 3728005 w 6884782"/>
              <a:gd name="connsiteY71114" fmla="*/ 5619148 h 5973007"/>
              <a:gd name="connsiteX71115" fmla="*/ 3708449 w 6884782"/>
              <a:gd name="connsiteY71115" fmla="*/ 5614385 h 5973007"/>
              <a:gd name="connsiteX71116" fmla="*/ 3695631 w 6884782"/>
              <a:gd name="connsiteY71116" fmla="*/ 5600051 h 5973007"/>
              <a:gd name="connsiteX71117" fmla="*/ 3628780 w 6884782"/>
              <a:gd name="connsiteY71117" fmla="*/ 5568270 h 5973007"/>
              <a:gd name="connsiteX71118" fmla="*/ 3620352 w 6884782"/>
              <a:gd name="connsiteY71118" fmla="*/ 5584557 h 5973007"/>
              <a:gd name="connsiteX71119" fmla="*/ 3605772 w 6884782"/>
              <a:gd name="connsiteY71119" fmla="*/ 5567093 h 5973007"/>
              <a:gd name="connsiteX71120" fmla="*/ 3602633 w 6884782"/>
              <a:gd name="connsiteY71120" fmla="*/ 5555761 h 5973007"/>
              <a:gd name="connsiteX71121" fmla="*/ 3569815 w 6884782"/>
              <a:gd name="connsiteY71121" fmla="*/ 5539982 h 5973007"/>
              <a:gd name="connsiteX71122" fmla="*/ 3569391 w 6884782"/>
              <a:gd name="connsiteY71122" fmla="*/ 5541396 h 5973007"/>
              <a:gd name="connsiteX71123" fmla="*/ 3568461 w 6884782"/>
              <a:gd name="connsiteY71123" fmla="*/ 5540983 h 5973007"/>
              <a:gd name="connsiteX71124" fmla="*/ 3572489 w 6884782"/>
              <a:gd name="connsiteY71124" fmla="*/ 5544803 h 5973007"/>
              <a:gd name="connsiteX71125" fmla="*/ 3583332 w 6884782"/>
              <a:gd name="connsiteY71125" fmla="*/ 5566900 h 5973007"/>
              <a:gd name="connsiteX71126" fmla="*/ 3562440 w 6884782"/>
              <a:gd name="connsiteY71126" fmla="*/ 5553464 h 5973007"/>
              <a:gd name="connsiteX71127" fmla="*/ 3557193 w 6884782"/>
              <a:gd name="connsiteY71127" fmla="*/ 5533913 h 5973007"/>
              <a:gd name="connsiteX71128" fmla="*/ 3522405 w 6884782"/>
              <a:gd name="connsiteY71128" fmla="*/ 5517187 h 5973007"/>
              <a:gd name="connsiteX71129" fmla="*/ 3520481 w 6884782"/>
              <a:gd name="connsiteY71129" fmla="*/ 5516158 h 5973007"/>
              <a:gd name="connsiteX71130" fmla="*/ 3512389 w 6884782"/>
              <a:gd name="connsiteY71130" fmla="*/ 5517956 h 5973007"/>
              <a:gd name="connsiteX71131" fmla="*/ 3514868 w 6884782"/>
              <a:gd name="connsiteY71131" fmla="*/ 5522190 h 5973007"/>
              <a:gd name="connsiteX71132" fmla="*/ 3508517 w 6884782"/>
              <a:gd name="connsiteY71132" fmla="*/ 5520332 h 5973007"/>
              <a:gd name="connsiteX71133" fmla="*/ 3506968 w 6884782"/>
              <a:gd name="connsiteY71133" fmla="*/ 5519196 h 5973007"/>
              <a:gd name="connsiteX71134" fmla="*/ 3502631 w 6884782"/>
              <a:gd name="connsiteY71134" fmla="*/ 5520125 h 5973007"/>
              <a:gd name="connsiteX71135" fmla="*/ 3494731 w 6884782"/>
              <a:gd name="connsiteY71135" fmla="*/ 5526630 h 5973007"/>
              <a:gd name="connsiteX71136" fmla="*/ 3492407 w 6884782"/>
              <a:gd name="connsiteY71136" fmla="*/ 5527146 h 5973007"/>
              <a:gd name="connsiteX71137" fmla="*/ 3498913 w 6884782"/>
              <a:gd name="connsiteY71137" fmla="*/ 5540570 h 5973007"/>
              <a:gd name="connsiteX71138" fmla="*/ 3501081 w 6884782"/>
              <a:gd name="connsiteY71138" fmla="*/ 5557710 h 5973007"/>
              <a:gd name="connsiteX71139" fmla="*/ 3506193 w 6884782"/>
              <a:gd name="connsiteY71139" fmla="*/ 5558949 h 5973007"/>
              <a:gd name="connsiteX71140" fmla="*/ 3530047 w 6884782"/>
              <a:gd name="connsiteY71140" fmla="*/ 5561841 h 5973007"/>
              <a:gd name="connsiteX71141" fmla="*/ 3513164 w 6884782"/>
              <a:gd name="connsiteY71141" fmla="*/ 5566797 h 5973007"/>
              <a:gd name="connsiteX71142" fmla="*/ 3503250 w 6884782"/>
              <a:gd name="connsiteY71142" fmla="*/ 5563906 h 5973007"/>
              <a:gd name="connsiteX71143" fmla="*/ 3501546 w 6884782"/>
              <a:gd name="connsiteY71143" fmla="*/ 5561531 h 5973007"/>
              <a:gd name="connsiteX71144" fmla="*/ 3501856 w 6884782"/>
              <a:gd name="connsiteY71144" fmla="*/ 5563286 h 5973007"/>
              <a:gd name="connsiteX71145" fmla="*/ 3497984 w 6884782"/>
              <a:gd name="connsiteY71145" fmla="*/ 5586003 h 5973007"/>
              <a:gd name="connsiteX71146" fmla="*/ 3465765 w 6884782"/>
              <a:gd name="connsiteY71146" fmla="*/ 5629163 h 5973007"/>
              <a:gd name="connsiteX71147" fmla="*/ 3429984 w 6884782"/>
              <a:gd name="connsiteY71147" fmla="*/ 5640109 h 5973007"/>
              <a:gd name="connsiteX71148" fmla="*/ 3425492 w 6884782"/>
              <a:gd name="connsiteY71148" fmla="*/ 5639386 h 5973007"/>
              <a:gd name="connsiteX71149" fmla="*/ 3424253 w 6884782"/>
              <a:gd name="connsiteY71149" fmla="*/ 5640418 h 5973007"/>
              <a:gd name="connsiteX71150" fmla="*/ 3419761 w 6884782"/>
              <a:gd name="connsiteY71150" fmla="*/ 5642484 h 5973007"/>
              <a:gd name="connsiteX71151" fmla="*/ 3420535 w 6884782"/>
              <a:gd name="connsiteY71151" fmla="*/ 5640109 h 5973007"/>
              <a:gd name="connsiteX71152" fmla="*/ 3422085 w 6884782"/>
              <a:gd name="connsiteY71152" fmla="*/ 5638766 h 5973007"/>
              <a:gd name="connsiteX71153" fmla="*/ 3415579 w 6884782"/>
              <a:gd name="connsiteY71153" fmla="*/ 5637631 h 5973007"/>
              <a:gd name="connsiteX71154" fmla="*/ 3377629 w 6884782"/>
              <a:gd name="connsiteY71154" fmla="*/ 5610887 h 5973007"/>
              <a:gd name="connsiteX71155" fmla="*/ 3374996 w 6884782"/>
              <a:gd name="connsiteY71155" fmla="*/ 5606550 h 5973007"/>
              <a:gd name="connsiteX71156" fmla="*/ 3374377 w 6884782"/>
              <a:gd name="connsiteY71156" fmla="*/ 5607067 h 5973007"/>
              <a:gd name="connsiteX71157" fmla="*/ 3374686 w 6884782"/>
              <a:gd name="connsiteY71157" fmla="*/ 5607377 h 5973007"/>
              <a:gd name="connsiteX71158" fmla="*/ 3373912 w 6884782"/>
              <a:gd name="connsiteY71158" fmla="*/ 5606963 h 5973007"/>
              <a:gd name="connsiteX71159" fmla="*/ 3371589 w 6884782"/>
              <a:gd name="connsiteY71159" fmla="*/ 5607583 h 5973007"/>
              <a:gd name="connsiteX71160" fmla="*/ 3367251 w 6884782"/>
              <a:gd name="connsiteY71160" fmla="*/ 5610887 h 5973007"/>
              <a:gd name="connsiteX71161" fmla="*/ 3361365 w 6884782"/>
              <a:gd name="connsiteY71161" fmla="*/ 5611404 h 5973007"/>
              <a:gd name="connsiteX71162" fmla="*/ 3360591 w 6884782"/>
              <a:gd name="connsiteY71162" fmla="*/ 5609028 h 5973007"/>
              <a:gd name="connsiteX71163" fmla="*/ 3358267 w 6884782"/>
              <a:gd name="connsiteY71163" fmla="*/ 5609648 h 5973007"/>
              <a:gd name="connsiteX71164" fmla="*/ 3348819 w 6884782"/>
              <a:gd name="connsiteY71164" fmla="*/ 5603246 h 5973007"/>
              <a:gd name="connsiteX71165" fmla="*/ 3348974 w 6884782"/>
              <a:gd name="connsiteY71165" fmla="*/ 5602110 h 5973007"/>
              <a:gd name="connsiteX71166" fmla="*/ 3347424 w 6884782"/>
              <a:gd name="connsiteY71166" fmla="*/ 5601078 h 5973007"/>
              <a:gd name="connsiteX71167" fmla="*/ 3348664 w 6884782"/>
              <a:gd name="connsiteY71167" fmla="*/ 5599322 h 5973007"/>
              <a:gd name="connsiteX71168" fmla="*/ 3348354 w 6884782"/>
              <a:gd name="connsiteY71168" fmla="*/ 5598187 h 5973007"/>
              <a:gd name="connsiteX71169" fmla="*/ 3348664 w 6884782"/>
              <a:gd name="connsiteY71169" fmla="*/ 5597670 h 5973007"/>
              <a:gd name="connsiteX71170" fmla="*/ 3345256 w 6884782"/>
              <a:gd name="connsiteY71170" fmla="*/ 5596844 h 5973007"/>
              <a:gd name="connsiteX71171" fmla="*/ 3346805 w 6884782"/>
              <a:gd name="connsiteY71171" fmla="*/ 5591372 h 5973007"/>
              <a:gd name="connsiteX71172" fmla="*/ 3351142 w 6884782"/>
              <a:gd name="connsiteY71172" fmla="*/ 5592508 h 5973007"/>
              <a:gd name="connsiteX71173" fmla="*/ 3354395 w 6884782"/>
              <a:gd name="connsiteY71173" fmla="*/ 5593127 h 5973007"/>
              <a:gd name="connsiteX71174" fmla="*/ 3358887 w 6884782"/>
              <a:gd name="connsiteY71174" fmla="*/ 5590029 h 5973007"/>
              <a:gd name="connsiteX71175" fmla="*/ 3354550 w 6884782"/>
              <a:gd name="connsiteY71175" fmla="*/ 5589513 h 5973007"/>
              <a:gd name="connsiteX71176" fmla="*/ 3346960 w 6884782"/>
              <a:gd name="connsiteY71176" fmla="*/ 5585176 h 5973007"/>
              <a:gd name="connsiteX71177" fmla="*/ 3346340 w 6884782"/>
              <a:gd name="connsiteY71177" fmla="*/ 5584453 h 5973007"/>
              <a:gd name="connsiteX71178" fmla="*/ 3346960 w 6884782"/>
              <a:gd name="connsiteY71178" fmla="*/ 5585899 h 5973007"/>
              <a:gd name="connsiteX71179" fmla="*/ 3346031 w 6884782"/>
              <a:gd name="connsiteY71179" fmla="*/ 5587551 h 5973007"/>
              <a:gd name="connsiteX71180" fmla="*/ 3343088 w 6884782"/>
              <a:gd name="connsiteY71180" fmla="*/ 5590546 h 5973007"/>
              <a:gd name="connsiteX71181" fmla="*/ 3340299 w 6884782"/>
              <a:gd name="connsiteY71181" fmla="*/ 5588997 h 5973007"/>
              <a:gd name="connsiteX71182" fmla="*/ 3339525 w 6884782"/>
              <a:gd name="connsiteY71182" fmla="*/ 5585280 h 5973007"/>
              <a:gd name="connsiteX71183" fmla="*/ 3342313 w 6884782"/>
              <a:gd name="connsiteY71183" fmla="*/ 5578981 h 5973007"/>
              <a:gd name="connsiteX71184" fmla="*/ 3343707 w 6884782"/>
              <a:gd name="connsiteY71184" fmla="*/ 5579910 h 5973007"/>
              <a:gd name="connsiteX71185" fmla="*/ 3347889 w 6884782"/>
              <a:gd name="connsiteY71185" fmla="*/ 5572786 h 5973007"/>
              <a:gd name="connsiteX71186" fmla="*/ 3354705 w 6884782"/>
              <a:gd name="connsiteY71186" fmla="*/ 5568346 h 5973007"/>
              <a:gd name="connsiteX71187" fmla="*/ 3359506 w 6884782"/>
              <a:gd name="connsiteY71187" fmla="*/ 5567519 h 5973007"/>
              <a:gd name="connsiteX71188" fmla="*/ 3356409 w 6884782"/>
              <a:gd name="connsiteY71188" fmla="*/ 5565351 h 5973007"/>
              <a:gd name="connsiteX71189" fmla="*/ 3348509 w 6884782"/>
              <a:gd name="connsiteY71189" fmla="*/ 5552960 h 5973007"/>
              <a:gd name="connsiteX71190" fmla="*/ 3349903 w 6884782"/>
              <a:gd name="connsiteY71190" fmla="*/ 5550999 h 5973007"/>
              <a:gd name="connsiteX71191" fmla="*/ 3347579 w 6884782"/>
              <a:gd name="connsiteY71191" fmla="*/ 5551308 h 5973007"/>
              <a:gd name="connsiteX71192" fmla="*/ 3327598 w 6884782"/>
              <a:gd name="connsiteY71192" fmla="*/ 5552651 h 5973007"/>
              <a:gd name="connsiteX71193" fmla="*/ 3327133 w 6884782"/>
              <a:gd name="connsiteY71193" fmla="*/ 5552651 h 5973007"/>
              <a:gd name="connsiteX71194" fmla="*/ 3336427 w 6884782"/>
              <a:gd name="connsiteY71194" fmla="*/ 5557710 h 5973007"/>
              <a:gd name="connsiteX71195" fmla="*/ 3345411 w 6884782"/>
              <a:gd name="connsiteY71195" fmla="*/ 5567726 h 5973007"/>
              <a:gd name="connsiteX71196" fmla="*/ 3328527 w 6884782"/>
              <a:gd name="connsiteY71196" fmla="*/ 5557504 h 5973007"/>
              <a:gd name="connsiteX71197" fmla="*/ 3326204 w 6884782"/>
              <a:gd name="connsiteY71197" fmla="*/ 5552651 h 5973007"/>
              <a:gd name="connsiteX71198" fmla="*/ 3316755 w 6884782"/>
              <a:gd name="connsiteY71198" fmla="*/ 5552341 h 5973007"/>
              <a:gd name="connsiteX71199" fmla="*/ 3306222 w 6884782"/>
              <a:gd name="connsiteY71199" fmla="*/ 5551412 h 5973007"/>
              <a:gd name="connsiteX71200" fmla="*/ 3304363 w 6884782"/>
              <a:gd name="connsiteY71200" fmla="*/ 5556781 h 5973007"/>
              <a:gd name="connsiteX71201" fmla="*/ 3298787 w 6884782"/>
              <a:gd name="connsiteY71201" fmla="*/ 5556781 h 5973007"/>
              <a:gd name="connsiteX71202" fmla="*/ 3300491 w 6884782"/>
              <a:gd name="connsiteY71202" fmla="*/ 5559569 h 5973007"/>
              <a:gd name="connsiteX71203" fmla="*/ 3299871 w 6884782"/>
              <a:gd name="connsiteY71203" fmla="*/ 5564938 h 5973007"/>
              <a:gd name="connsiteX71204" fmla="*/ 3296154 w 6884782"/>
              <a:gd name="connsiteY71204" fmla="*/ 5566590 h 5973007"/>
              <a:gd name="connsiteX71205" fmla="*/ 3288874 w 6884782"/>
              <a:gd name="connsiteY71205" fmla="*/ 5562253 h 5973007"/>
              <a:gd name="connsiteX71206" fmla="*/ 3290113 w 6884782"/>
              <a:gd name="connsiteY71206" fmla="*/ 5557297 h 5973007"/>
              <a:gd name="connsiteX71207" fmla="*/ 3292281 w 6884782"/>
              <a:gd name="connsiteY71207" fmla="*/ 5556471 h 5973007"/>
              <a:gd name="connsiteX71208" fmla="*/ 3285311 w 6884782"/>
              <a:gd name="connsiteY71208" fmla="*/ 5555439 h 5973007"/>
              <a:gd name="connsiteX71209" fmla="*/ 3273229 w 6884782"/>
              <a:gd name="connsiteY71209" fmla="*/ 5552444 h 5973007"/>
              <a:gd name="connsiteX71210" fmla="*/ 3269202 w 6884782"/>
              <a:gd name="connsiteY71210" fmla="*/ 5558020 h 5973007"/>
              <a:gd name="connsiteX71211" fmla="*/ 3264865 w 6884782"/>
              <a:gd name="connsiteY71211" fmla="*/ 5549140 h 5973007"/>
              <a:gd name="connsiteX71212" fmla="*/ 3243644 w 6884782"/>
              <a:gd name="connsiteY71212" fmla="*/ 5553890 h 5973007"/>
              <a:gd name="connsiteX71213" fmla="*/ 3252473 w 6884782"/>
              <a:gd name="connsiteY71213" fmla="*/ 5551412 h 5973007"/>
              <a:gd name="connsiteX71214" fmla="*/ 3237758 w 6884782"/>
              <a:gd name="connsiteY71214" fmla="*/ 5546042 h 5973007"/>
              <a:gd name="connsiteX71215" fmla="*/ 3237603 w 6884782"/>
              <a:gd name="connsiteY71215" fmla="*/ 5546042 h 5973007"/>
              <a:gd name="connsiteX71216" fmla="*/ 3238223 w 6884782"/>
              <a:gd name="connsiteY71216" fmla="*/ 5551515 h 5973007"/>
              <a:gd name="connsiteX71217" fmla="*/ 3239462 w 6884782"/>
              <a:gd name="connsiteY71217" fmla="*/ 5568758 h 5973007"/>
              <a:gd name="connsiteX71218" fmla="*/ 3232801 w 6884782"/>
              <a:gd name="connsiteY71218" fmla="*/ 5558330 h 5973007"/>
              <a:gd name="connsiteX71219" fmla="*/ 3230787 w 6884782"/>
              <a:gd name="connsiteY71219" fmla="*/ 5552031 h 5973007"/>
              <a:gd name="connsiteX71220" fmla="*/ 3230633 w 6884782"/>
              <a:gd name="connsiteY71220" fmla="*/ 5550276 h 5973007"/>
              <a:gd name="connsiteX71221" fmla="*/ 3228929 w 6884782"/>
              <a:gd name="connsiteY71221" fmla="*/ 5548314 h 5973007"/>
              <a:gd name="connsiteX71222" fmla="*/ 3219635 w 6884782"/>
              <a:gd name="connsiteY71222" fmla="*/ 5545732 h 5973007"/>
              <a:gd name="connsiteX71223" fmla="*/ 3217776 w 6884782"/>
              <a:gd name="connsiteY71223" fmla="*/ 5551205 h 5973007"/>
              <a:gd name="connsiteX71224" fmla="*/ 3214678 w 6884782"/>
              <a:gd name="connsiteY71224" fmla="*/ 5548933 h 5973007"/>
              <a:gd name="connsiteX71225" fmla="*/ 3214523 w 6884782"/>
              <a:gd name="connsiteY71225" fmla="*/ 5551308 h 5973007"/>
              <a:gd name="connsiteX71226" fmla="*/ 3221184 w 6884782"/>
              <a:gd name="connsiteY71226" fmla="*/ 5563183 h 5973007"/>
              <a:gd name="connsiteX71227" fmla="*/ 3212355 w 6884782"/>
              <a:gd name="connsiteY71227" fmla="*/ 5588893 h 5973007"/>
              <a:gd name="connsiteX71228" fmla="*/ 3185248 w 6884782"/>
              <a:gd name="connsiteY71228" fmla="*/ 5604485 h 5973007"/>
              <a:gd name="connsiteX71229" fmla="*/ 3177503 w 6884782"/>
              <a:gd name="connsiteY71229" fmla="*/ 5601181 h 5973007"/>
              <a:gd name="connsiteX71230" fmla="*/ 3170843 w 6884782"/>
              <a:gd name="connsiteY71230" fmla="*/ 5599736 h 5973007"/>
              <a:gd name="connsiteX71231" fmla="*/ 3171927 w 6884782"/>
              <a:gd name="connsiteY71231" fmla="*/ 5603453 h 5973007"/>
              <a:gd name="connsiteX71232" fmla="*/ 3173166 w 6884782"/>
              <a:gd name="connsiteY71232" fmla="*/ 5610061 h 5973007"/>
              <a:gd name="connsiteX71233" fmla="*/ 3163098 w 6884782"/>
              <a:gd name="connsiteY71233" fmla="*/ 5619871 h 5973007"/>
              <a:gd name="connsiteX71234" fmla="*/ 3162323 w 6884782"/>
              <a:gd name="connsiteY71234" fmla="*/ 5619148 h 5973007"/>
              <a:gd name="connsiteX71235" fmla="*/ 3160619 w 6884782"/>
              <a:gd name="connsiteY71235" fmla="*/ 5618425 h 5973007"/>
              <a:gd name="connsiteX71236" fmla="*/ 3157986 w 6884782"/>
              <a:gd name="connsiteY71236" fmla="*/ 5619457 h 5973007"/>
              <a:gd name="connsiteX71237" fmla="*/ 3155508 w 6884782"/>
              <a:gd name="connsiteY71237" fmla="*/ 5618115 h 5973007"/>
              <a:gd name="connsiteX71238" fmla="*/ 3153959 w 6884782"/>
              <a:gd name="connsiteY71238" fmla="*/ 5613882 h 5973007"/>
              <a:gd name="connsiteX71239" fmla="*/ 3154733 w 6884782"/>
              <a:gd name="connsiteY71239" fmla="*/ 5613159 h 5973007"/>
              <a:gd name="connsiteX71240" fmla="*/ 3153340 w 6884782"/>
              <a:gd name="connsiteY71240" fmla="*/ 5607996 h 5973007"/>
              <a:gd name="connsiteX71241" fmla="*/ 3153804 w 6884782"/>
              <a:gd name="connsiteY71241" fmla="*/ 5604692 h 5973007"/>
              <a:gd name="connsiteX71242" fmla="*/ 3152565 w 6884782"/>
              <a:gd name="connsiteY71242" fmla="*/ 5609648 h 5973007"/>
              <a:gd name="connsiteX71243" fmla="*/ 3151791 w 6884782"/>
              <a:gd name="connsiteY71243" fmla="*/ 5611404 h 5973007"/>
              <a:gd name="connsiteX71244" fmla="*/ 3152720 w 6884782"/>
              <a:gd name="connsiteY71244" fmla="*/ 5611507 h 5973007"/>
              <a:gd name="connsiteX71245" fmla="*/ 3151636 w 6884782"/>
              <a:gd name="connsiteY71245" fmla="*/ 5612436 h 5973007"/>
              <a:gd name="connsiteX71246" fmla="*/ 3151636 w 6884782"/>
              <a:gd name="connsiteY71246" fmla="*/ 5612539 h 5973007"/>
              <a:gd name="connsiteX71247" fmla="*/ 3151636 w 6884782"/>
              <a:gd name="connsiteY71247" fmla="*/ 5613469 h 5973007"/>
              <a:gd name="connsiteX71248" fmla="*/ 3149157 w 6884782"/>
              <a:gd name="connsiteY71248" fmla="*/ 5616360 h 5973007"/>
              <a:gd name="connsiteX71249" fmla="*/ 3148383 w 6884782"/>
              <a:gd name="connsiteY71249" fmla="*/ 5616256 h 5973007"/>
              <a:gd name="connsiteX71250" fmla="*/ 3148538 w 6884782"/>
              <a:gd name="connsiteY71250" fmla="*/ 5621006 h 5973007"/>
              <a:gd name="connsiteX71251" fmla="*/ 3148228 w 6884782"/>
              <a:gd name="connsiteY71251" fmla="*/ 5622452 h 5973007"/>
              <a:gd name="connsiteX71252" fmla="*/ 3148693 w 6884782"/>
              <a:gd name="connsiteY71252" fmla="*/ 5622761 h 5973007"/>
              <a:gd name="connsiteX71253" fmla="*/ 3148073 w 6884782"/>
              <a:gd name="connsiteY71253" fmla="*/ 5623484 h 5973007"/>
              <a:gd name="connsiteX71254" fmla="*/ 3147298 w 6884782"/>
              <a:gd name="connsiteY71254" fmla="*/ 5627924 h 5973007"/>
              <a:gd name="connsiteX71255" fmla="*/ 3143581 w 6884782"/>
              <a:gd name="connsiteY71255" fmla="*/ 5631229 h 5973007"/>
              <a:gd name="connsiteX71256" fmla="*/ 3142807 w 6884782"/>
              <a:gd name="connsiteY71256" fmla="*/ 5625343 h 5973007"/>
              <a:gd name="connsiteX71257" fmla="*/ 3142497 w 6884782"/>
              <a:gd name="connsiteY71257" fmla="*/ 5625033 h 5973007"/>
              <a:gd name="connsiteX71258" fmla="*/ 3142651 w 6884782"/>
              <a:gd name="connsiteY71258" fmla="*/ 5624620 h 5973007"/>
              <a:gd name="connsiteX71259" fmla="*/ 3142032 w 6884782"/>
              <a:gd name="connsiteY71259" fmla="*/ 5617806 h 5973007"/>
              <a:gd name="connsiteX71260" fmla="*/ 3143116 w 6884782"/>
              <a:gd name="connsiteY71260" fmla="*/ 5611197 h 5973007"/>
              <a:gd name="connsiteX71261" fmla="*/ 3142187 w 6884782"/>
              <a:gd name="connsiteY71261" fmla="*/ 5611094 h 5973007"/>
              <a:gd name="connsiteX71262" fmla="*/ 3129950 w 6884782"/>
              <a:gd name="connsiteY71262" fmla="*/ 5610474 h 5973007"/>
              <a:gd name="connsiteX71263" fmla="*/ 3131654 w 6884782"/>
              <a:gd name="connsiteY71263" fmla="*/ 5601801 h 5973007"/>
              <a:gd name="connsiteX71264" fmla="*/ 3143426 w 6884782"/>
              <a:gd name="connsiteY71264" fmla="*/ 5595915 h 5973007"/>
              <a:gd name="connsiteX71265" fmla="*/ 3143736 w 6884782"/>
              <a:gd name="connsiteY71265" fmla="*/ 5596121 h 5973007"/>
              <a:gd name="connsiteX71266" fmla="*/ 3148693 w 6884782"/>
              <a:gd name="connsiteY71266" fmla="*/ 5596121 h 5973007"/>
              <a:gd name="connsiteX71267" fmla="*/ 3149467 w 6884782"/>
              <a:gd name="connsiteY71267" fmla="*/ 5597670 h 5973007"/>
              <a:gd name="connsiteX71268" fmla="*/ 3152410 w 6884782"/>
              <a:gd name="connsiteY71268" fmla="*/ 5596948 h 5973007"/>
              <a:gd name="connsiteX71269" fmla="*/ 3154269 w 6884782"/>
              <a:gd name="connsiteY71269" fmla="*/ 5603349 h 5973007"/>
              <a:gd name="connsiteX71270" fmla="*/ 3164492 w 6884782"/>
              <a:gd name="connsiteY71270" fmla="*/ 5598393 h 5973007"/>
              <a:gd name="connsiteX71271" fmla="*/ 3166816 w 6884782"/>
              <a:gd name="connsiteY71271" fmla="*/ 5599013 h 5973007"/>
              <a:gd name="connsiteX71272" fmla="*/ 3168055 w 6884782"/>
              <a:gd name="connsiteY71272" fmla="*/ 5599116 h 5973007"/>
              <a:gd name="connsiteX71273" fmla="*/ 3159845 w 6884782"/>
              <a:gd name="connsiteY71273" fmla="*/ 5596225 h 5973007"/>
              <a:gd name="connsiteX71274" fmla="*/ 3153959 w 6884782"/>
              <a:gd name="connsiteY71274" fmla="*/ 5589720 h 5973007"/>
              <a:gd name="connsiteX71275" fmla="*/ 3153495 w 6884782"/>
              <a:gd name="connsiteY71275" fmla="*/ 5577639 h 5973007"/>
              <a:gd name="connsiteX71276" fmla="*/ 3153340 w 6884782"/>
              <a:gd name="connsiteY71276" fmla="*/ 5577225 h 5973007"/>
              <a:gd name="connsiteX71277" fmla="*/ 3153185 w 6884782"/>
              <a:gd name="connsiteY71277" fmla="*/ 5577432 h 5973007"/>
              <a:gd name="connsiteX71278" fmla="*/ 3152720 w 6884782"/>
              <a:gd name="connsiteY71278" fmla="*/ 5576916 h 5973007"/>
              <a:gd name="connsiteX71279" fmla="*/ 3151945 w 6884782"/>
              <a:gd name="connsiteY71279" fmla="*/ 5575986 h 5973007"/>
              <a:gd name="connsiteX71280" fmla="*/ 3151791 w 6884782"/>
              <a:gd name="connsiteY71280" fmla="*/ 5575677 h 5973007"/>
              <a:gd name="connsiteX71281" fmla="*/ 3152410 w 6884782"/>
              <a:gd name="connsiteY71281" fmla="*/ 5574644 h 5973007"/>
              <a:gd name="connsiteX71282" fmla="*/ 3151791 w 6884782"/>
              <a:gd name="connsiteY71282" fmla="*/ 5573199 h 5973007"/>
              <a:gd name="connsiteX71283" fmla="*/ 3150396 w 6884782"/>
              <a:gd name="connsiteY71283" fmla="*/ 5568552 h 5973007"/>
              <a:gd name="connsiteX71284" fmla="*/ 3155508 w 6884782"/>
              <a:gd name="connsiteY71284" fmla="*/ 5557194 h 5973007"/>
              <a:gd name="connsiteX71285" fmla="*/ 3157676 w 6884782"/>
              <a:gd name="connsiteY71285" fmla="*/ 5553993 h 5973007"/>
              <a:gd name="connsiteX71286" fmla="*/ 3159226 w 6884782"/>
              <a:gd name="connsiteY71286" fmla="*/ 5550999 h 5973007"/>
              <a:gd name="connsiteX71287" fmla="*/ 3159380 w 6884782"/>
              <a:gd name="connsiteY71287" fmla="*/ 5550689 h 5973007"/>
              <a:gd name="connsiteX71288" fmla="*/ 3160465 w 6884782"/>
              <a:gd name="connsiteY71288" fmla="*/ 5543564 h 5973007"/>
              <a:gd name="connsiteX71289" fmla="*/ 3164647 w 6884782"/>
              <a:gd name="connsiteY71289" fmla="*/ 5537575 h 5973007"/>
              <a:gd name="connsiteX71290" fmla="*/ 3168364 w 6884782"/>
              <a:gd name="connsiteY71290" fmla="*/ 5535923 h 5973007"/>
              <a:gd name="connsiteX71291" fmla="*/ 3171152 w 6884782"/>
              <a:gd name="connsiteY71291" fmla="*/ 5535613 h 5973007"/>
              <a:gd name="connsiteX71292" fmla="*/ 3169759 w 6884782"/>
              <a:gd name="connsiteY71292" fmla="*/ 5534890 h 5973007"/>
              <a:gd name="connsiteX71293" fmla="*/ 3171772 w 6884782"/>
              <a:gd name="connsiteY71293" fmla="*/ 5526423 h 5973007"/>
              <a:gd name="connsiteX71294" fmla="*/ 3166506 w 6884782"/>
              <a:gd name="connsiteY71294" fmla="*/ 5531174 h 5973007"/>
              <a:gd name="connsiteX71295" fmla="*/ 3162788 w 6884782"/>
              <a:gd name="connsiteY71295" fmla="*/ 5529005 h 5973007"/>
              <a:gd name="connsiteX71296" fmla="*/ 3158761 w 6884782"/>
              <a:gd name="connsiteY71296" fmla="*/ 5529315 h 5973007"/>
              <a:gd name="connsiteX71297" fmla="*/ 3159690 w 6884782"/>
              <a:gd name="connsiteY71297" fmla="*/ 5524152 h 5973007"/>
              <a:gd name="connsiteX71298" fmla="*/ 3163253 w 6884782"/>
              <a:gd name="connsiteY71298" fmla="*/ 5526940 h 5973007"/>
              <a:gd name="connsiteX71299" fmla="*/ 3162943 w 6884782"/>
              <a:gd name="connsiteY71299" fmla="*/ 5528489 h 5973007"/>
              <a:gd name="connsiteX71300" fmla="*/ 3166970 w 6884782"/>
              <a:gd name="connsiteY71300" fmla="*/ 5526320 h 5973007"/>
              <a:gd name="connsiteX71301" fmla="*/ 3169759 w 6884782"/>
              <a:gd name="connsiteY71301" fmla="*/ 5519712 h 5973007"/>
              <a:gd name="connsiteX71302" fmla="*/ 3166661 w 6884782"/>
              <a:gd name="connsiteY71302" fmla="*/ 5518060 h 5973007"/>
              <a:gd name="connsiteX71303" fmla="*/ 3164802 w 6884782"/>
              <a:gd name="connsiteY71303" fmla="*/ 5518370 h 5973007"/>
              <a:gd name="connsiteX71304" fmla="*/ 3164957 w 6884782"/>
              <a:gd name="connsiteY71304" fmla="*/ 5518576 h 5973007"/>
              <a:gd name="connsiteX71305" fmla="*/ 3163408 w 6884782"/>
              <a:gd name="connsiteY71305" fmla="*/ 5519092 h 5973007"/>
              <a:gd name="connsiteX71306" fmla="*/ 3163253 w 6884782"/>
              <a:gd name="connsiteY71306" fmla="*/ 5520745 h 5973007"/>
              <a:gd name="connsiteX71307" fmla="*/ 3160000 w 6884782"/>
              <a:gd name="connsiteY71307" fmla="*/ 5522810 h 5973007"/>
              <a:gd name="connsiteX71308" fmla="*/ 3160619 w 6884782"/>
              <a:gd name="connsiteY71308" fmla="*/ 5520228 h 5973007"/>
              <a:gd name="connsiteX71309" fmla="*/ 3156902 w 6884782"/>
              <a:gd name="connsiteY71309" fmla="*/ 5521674 h 5973007"/>
              <a:gd name="connsiteX71310" fmla="*/ 3151636 w 6884782"/>
              <a:gd name="connsiteY71310" fmla="*/ 5516305 h 5973007"/>
              <a:gd name="connsiteX71311" fmla="*/ 3155043 w 6884782"/>
              <a:gd name="connsiteY71311" fmla="*/ 5513620 h 5973007"/>
              <a:gd name="connsiteX71312" fmla="*/ 3149467 w 6884782"/>
              <a:gd name="connsiteY71312" fmla="*/ 5511245 h 5973007"/>
              <a:gd name="connsiteX71313" fmla="*/ 3153649 w 6884782"/>
              <a:gd name="connsiteY71313" fmla="*/ 5510625 h 5973007"/>
              <a:gd name="connsiteX71314" fmla="*/ 3157367 w 6884782"/>
              <a:gd name="connsiteY71314" fmla="*/ 5511555 h 5973007"/>
              <a:gd name="connsiteX71315" fmla="*/ 3158606 w 6884782"/>
              <a:gd name="connsiteY71315" fmla="*/ 5510522 h 5973007"/>
              <a:gd name="connsiteX71316" fmla="*/ 3157367 w 6884782"/>
              <a:gd name="connsiteY71316" fmla="*/ 5507528 h 5973007"/>
              <a:gd name="connsiteX71317" fmla="*/ 3150706 w 6884782"/>
              <a:gd name="connsiteY71317" fmla="*/ 5505669 h 5973007"/>
              <a:gd name="connsiteX71318" fmla="*/ 3160929 w 6884782"/>
              <a:gd name="connsiteY71318" fmla="*/ 5505049 h 5973007"/>
              <a:gd name="connsiteX71319" fmla="*/ 3140328 w 6884782"/>
              <a:gd name="connsiteY71319" fmla="*/ 5499474 h 5973007"/>
              <a:gd name="connsiteX71320" fmla="*/ 3139244 w 6884782"/>
              <a:gd name="connsiteY71320" fmla="*/ 5499371 h 5973007"/>
              <a:gd name="connsiteX71321" fmla="*/ 3135216 w 6884782"/>
              <a:gd name="connsiteY71321" fmla="*/ 5507011 h 5973007"/>
              <a:gd name="connsiteX71322" fmla="*/ 3128556 w 6884782"/>
              <a:gd name="connsiteY71322" fmla="*/ 5514962 h 5973007"/>
              <a:gd name="connsiteX71323" fmla="*/ 3126078 w 6884782"/>
              <a:gd name="connsiteY71323" fmla="*/ 5502572 h 5973007"/>
              <a:gd name="connsiteX71324" fmla="*/ 3126542 w 6884782"/>
              <a:gd name="connsiteY71324" fmla="*/ 5499990 h 5973007"/>
              <a:gd name="connsiteX71325" fmla="*/ 3120656 w 6884782"/>
              <a:gd name="connsiteY71325" fmla="*/ 5502365 h 5973007"/>
              <a:gd name="connsiteX71326" fmla="*/ 3118023 w 6884782"/>
              <a:gd name="connsiteY71326" fmla="*/ 5501126 h 5973007"/>
              <a:gd name="connsiteX71327" fmla="*/ 3115235 w 6884782"/>
              <a:gd name="connsiteY71327" fmla="*/ 5499267 h 5973007"/>
              <a:gd name="connsiteX71328" fmla="*/ 3114461 w 6884782"/>
              <a:gd name="connsiteY71328" fmla="*/ 5500300 h 5973007"/>
              <a:gd name="connsiteX71329" fmla="*/ 3113686 w 6884782"/>
              <a:gd name="connsiteY71329" fmla="*/ 5499061 h 5973007"/>
              <a:gd name="connsiteX71330" fmla="*/ 3112757 w 6884782"/>
              <a:gd name="connsiteY71330" fmla="*/ 5499061 h 5973007"/>
              <a:gd name="connsiteX71331" fmla="*/ 3110898 w 6884782"/>
              <a:gd name="connsiteY71331" fmla="*/ 5500816 h 5973007"/>
              <a:gd name="connsiteX71332" fmla="*/ 3105012 w 6884782"/>
              <a:gd name="connsiteY71332" fmla="*/ 5495963 h 5973007"/>
              <a:gd name="connsiteX71333" fmla="*/ 3104857 w 6884782"/>
              <a:gd name="connsiteY71333" fmla="*/ 5497512 h 5973007"/>
              <a:gd name="connsiteX71334" fmla="*/ 3100829 w 6884782"/>
              <a:gd name="connsiteY71334" fmla="*/ 5500196 h 5973007"/>
              <a:gd name="connsiteX71335" fmla="*/ 3099126 w 6884782"/>
              <a:gd name="connsiteY71335" fmla="*/ 5499164 h 5973007"/>
              <a:gd name="connsiteX71336" fmla="*/ 3099900 w 6884782"/>
              <a:gd name="connsiteY71336" fmla="*/ 5495137 h 5973007"/>
              <a:gd name="connsiteX71337" fmla="*/ 3102533 w 6884782"/>
              <a:gd name="connsiteY71337" fmla="*/ 5494414 h 5973007"/>
              <a:gd name="connsiteX71338" fmla="*/ 3093705 w 6884782"/>
              <a:gd name="connsiteY71338" fmla="*/ 5491833 h 5973007"/>
              <a:gd name="connsiteX71339" fmla="*/ 3091226 w 6884782"/>
              <a:gd name="connsiteY71339" fmla="*/ 5491420 h 5973007"/>
              <a:gd name="connsiteX71340" fmla="*/ 3088438 w 6884782"/>
              <a:gd name="connsiteY71340" fmla="*/ 5493382 h 5973007"/>
              <a:gd name="connsiteX71341" fmla="*/ 3086734 w 6884782"/>
              <a:gd name="connsiteY71341" fmla="*/ 5492349 h 5973007"/>
              <a:gd name="connsiteX71342" fmla="*/ 3085030 w 6884782"/>
              <a:gd name="connsiteY71342" fmla="*/ 5490697 h 5973007"/>
              <a:gd name="connsiteX71343" fmla="*/ 3085030 w 6884782"/>
              <a:gd name="connsiteY71343" fmla="*/ 5490593 h 5973007"/>
              <a:gd name="connsiteX71344" fmla="*/ 3084720 w 6884782"/>
              <a:gd name="connsiteY71344" fmla="*/ 5490490 h 5973007"/>
              <a:gd name="connsiteX71345" fmla="*/ 3078525 w 6884782"/>
              <a:gd name="connsiteY71345" fmla="*/ 5487083 h 5973007"/>
              <a:gd name="connsiteX71346" fmla="*/ 3083016 w 6884782"/>
              <a:gd name="connsiteY71346" fmla="*/ 5486877 h 5973007"/>
              <a:gd name="connsiteX71347" fmla="*/ 3083791 w 6884782"/>
              <a:gd name="connsiteY71347" fmla="*/ 5486773 h 5973007"/>
              <a:gd name="connsiteX71348" fmla="*/ 3083481 w 6884782"/>
              <a:gd name="connsiteY71348" fmla="*/ 5485947 h 5973007"/>
              <a:gd name="connsiteX71349" fmla="*/ 3085185 w 6884782"/>
              <a:gd name="connsiteY71349" fmla="*/ 5482643 h 5973007"/>
              <a:gd name="connsiteX71350" fmla="*/ 3086579 w 6884782"/>
              <a:gd name="connsiteY71350" fmla="*/ 5481714 h 5973007"/>
              <a:gd name="connsiteX71351" fmla="*/ 3087044 w 6884782"/>
              <a:gd name="connsiteY71351" fmla="*/ 5481920 h 5973007"/>
              <a:gd name="connsiteX71352" fmla="*/ 3087508 w 6884782"/>
              <a:gd name="connsiteY71352" fmla="*/ 5477893 h 5973007"/>
              <a:gd name="connsiteX71353" fmla="*/ 3057459 w 6884782"/>
              <a:gd name="connsiteY71353" fmla="*/ 5464057 h 5973007"/>
              <a:gd name="connsiteX71354" fmla="*/ 3051418 w 6884782"/>
              <a:gd name="connsiteY71354" fmla="*/ 5461062 h 5973007"/>
              <a:gd name="connsiteX71355" fmla="*/ 3049869 w 6884782"/>
              <a:gd name="connsiteY71355" fmla="*/ 5463024 h 5973007"/>
              <a:gd name="connsiteX71356" fmla="*/ 3046461 w 6884782"/>
              <a:gd name="connsiteY71356" fmla="*/ 5459204 h 5973007"/>
              <a:gd name="connsiteX71357" fmla="*/ 3046926 w 6884782"/>
              <a:gd name="connsiteY71357" fmla="*/ 5458687 h 5973007"/>
              <a:gd name="connsiteX71358" fmla="*/ 3042744 w 6884782"/>
              <a:gd name="connsiteY71358" fmla="*/ 5456622 h 5973007"/>
              <a:gd name="connsiteX71359" fmla="*/ 3042124 w 6884782"/>
              <a:gd name="connsiteY71359" fmla="*/ 5456416 h 5973007"/>
              <a:gd name="connsiteX71360" fmla="*/ 3041505 w 6884782"/>
              <a:gd name="connsiteY71360" fmla="*/ 5457965 h 5973007"/>
              <a:gd name="connsiteX71361" fmla="*/ 3039491 w 6884782"/>
              <a:gd name="connsiteY71361" fmla="*/ 5459514 h 5973007"/>
              <a:gd name="connsiteX71362" fmla="*/ 3036703 w 6884782"/>
              <a:gd name="connsiteY71362" fmla="*/ 5459204 h 5973007"/>
              <a:gd name="connsiteX71363" fmla="*/ 3034689 w 6884782"/>
              <a:gd name="connsiteY71363" fmla="*/ 5457448 h 5973007"/>
              <a:gd name="connsiteX71364" fmla="*/ 3034069 w 6884782"/>
              <a:gd name="connsiteY71364" fmla="*/ 5454970 h 5973007"/>
              <a:gd name="connsiteX71365" fmla="*/ 3034069 w 6884782"/>
              <a:gd name="connsiteY71365" fmla="*/ 5453835 h 5973007"/>
              <a:gd name="connsiteX71366" fmla="*/ 3029577 w 6884782"/>
              <a:gd name="connsiteY71366" fmla="*/ 5452492 h 5973007"/>
              <a:gd name="connsiteX71367" fmla="*/ 3027254 w 6884782"/>
              <a:gd name="connsiteY71367" fmla="*/ 5456519 h 5973007"/>
              <a:gd name="connsiteX71368" fmla="*/ 3021368 w 6884782"/>
              <a:gd name="connsiteY71368" fmla="*/ 5459514 h 5973007"/>
              <a:gd name="connsiteX71369" fmla="*/ 3024466 w 6884782"/>
              <a:gd name="connsiteY71369" fmla="*/ 5448155 h 5973007"/>
              <a:gd name="connsiteX71370" fmla="*/ 3021678 w 6884782"/>
              <a:gd name="connsiteY71370" fmla="*/ 5445058 h 5973007"/>
              <a:gd name="connsiteX71371" fmla="*/ 3015482 w 6884782"/>
              <a:gd name="connsiteY71371" fmla="*/ 5440514 h 5973007"/>
              <a:gd name="connsiteX71372" fmla="*/ 3014707 w 6884782"/>
              <a:gd name="connsiteY71372" fmla="*/ 5440101 h 5973007"/>
              <a:gd name="connsiteX71373" fmla="*/ 3014397 w 6884782"/>
              <a:gd name="connsiteY71373" fmla="*/ 5441237 h 5973007"/>
              <a:gd name="connsiteX71374" fmla="*/ 3002780 w 6884782"/>
              <a:gd name="connsiteY71374" fmla="*/ 5446297 h 5973007"/>
              <a:gd name="connsiteX71375" fmla="*/ 2995345 w 6884782"/>
              <a:gd name="connsiteY71375" fmla="*/ 5450634 h 5973007"/>
              <a:gd name="connsiteX71376" fmla="*/ 2994571 w 6884782"/>
              <a:gd name="connsiteY71376" fmla="*/ 5451459 h 5973007"/>
              <a:gd name="connsiteX71377" fmla="*/ 3015017 w 6884782"/>
              <a:gd name="connsiteY71377" fmla="*/ 5461476 h 5973007"/>
              <a:gd name="connsiteX71378" fmla="*/ 3030816 w 6884782"/>
              <a:gd name="connsiteY71378" fmla="*/ 5474692 h 5973007"/>
              <a:gd name="connsiteX71379" fmla="*/ 3020438 w 6884782"/>
              <a:gd name="connsiteY71379" fmla="*/ 5466948 h 5973007"/>
              <a:gd name="connsiteX71380" fmla="*/ 3021833 w 6884782"/>
              <a:gd name="connsiteY71380" fmla="*/ 5473143 h 5973007"/>
              <a:gd name="connsiteX71381" fmla="*/ 3024776 w 6884782"/>
              <a:gd name="connsiteY71381" fmla="*/ 5477480 h 5973007"/>
              <a:gd name="connsiteX71382" fmla="*/ 3026789 w 6884782"/>
              <a:gd name="connsiteY71382" fmla="*/ 5476448 h 5973007"/>
              <a:gd name="connsiteX71383" fmla="*/ 3037167 w 6884782"/>
              <a:gd name="connsiteY71383" fmla="*/ 5480061 h 5973007"/>
              <a:gd name="connsiteX71384" fmla="*/ 3034844 w 6884782"/>
              <a:gd name="connsiteY71384" fmla="*/ 5484605 h 5973007"/>
              <a:gd name="connsiteX71385" fmla="*/ 3034224 w 6884782"/>
              <a:gd name="connsiteY71385" fmla="*/ 5485121 h 5973007"/>
              <a:gd name="connsiteX71386" fmla="*/ 3036703 w 6884782"/>
              <a:gd name="connsiteY71386" fmla="*/ 5487083 h 5973007"/>
              <a:gd name="connsiteX71387" fmla="*/ 3033140 w 6884782"/>
              <a:gd name="connsiteY71387" fmla="*/ 5488632 h 5973007"/>
              <a:gd name="connsiteX71388" fmla="*/ 3029732 w 6884782"/>
              <a:gd name="connsiteY71388" fmla="*/ 5488425 h 5973007"/>
              <a:gd name="connsiteX71389" fmla="*/ 3026170 w 6884782"/>
              <a:gd name="connsiteY71389" fmla="*/ 5491007 h 5973007"/>
              <a:gd name="connsiteX71390" fmla="*/ 3024776 w 6884782"/>
              <a:gd name="connsiteY71390" fmla="*/ 5489354 h 5973007"/>
              <a:gd name="connsiteX71391" fmla="*/ 3023072 w 6884782"/>
              <a:gd name="connsiteY71391" fmla="*/ 5491110 h 5973007"/>
              <a:gd name="connsiteX71392" fmla="*/ 3011454 w 6884782"/>
              <a:gd name="connsiteY71392" fmla="*/ 5478513 h 5973007"/>
              <a:gd name="connsiteX71393" fmla="*/ 3005104 w 6884782"/>
              <a:gd name="connsiteY71393" fmla="*/ 5474692 h 5973007"/>
              <a:gd name="connsiteX71394" fmla="*/ 3002780 w 6884782"/>
              <a:gd name="connsiteY71394" fmla="*/ 5477583 h 5973007"/>
              <a:gd name="connsiteX71395" fmla="*/ 2987136 w 6884782"/>
              <a:gd name="connsiteY71395" fmla="*/ 5482746 h 5973007"/>
              <a:gd name="connsiteX71396" fmla="*/ 2981714 w 6884782"/>
              <a:gd name="connsiteY71396" fmla="*/ 5481610 h 5973007"/>
              <a:gd name="connsiteX71397" fmla="*/ 2977068 w 6884782"/>
              <a:gd name="connsiteY71397" fmla="*/ 5478822 h 5973007"/>
              <a:gd name="connsiteX71398" fmla="*/ 2976448 w 6884782"/>
              <a:gd name="connsiteY71398" fmla="*/ 5479958 h 5973007"/>
              <a:gd name="connsiteX71399" fmla="*/ 2968393 w 6884782"/>
              <a:gd name="connsiteY71399" fmla="*/ 5478822 h 5973007"/>
              <a:gd name="connsiteX71400" fmla="*/ 2967929 w 6884782"/>
              <a:gd name="connsiteY71400" fmla="*/ 5472420 h 5973007"/>
              <a:gd name="connsiteX71401" fmla="*/ 2973040 w 6884782"/>
              <a:gd name="connsiteY71401" fmla="*/ 5472937 h 5973007"/>
              <a:gd name="connsiteX71402" fmla="*/ 2977068 w 6884782"/>
              <a:gd name="connsiteY71402" fmla="*/ 5476241 h 5973007"/>
              <a:gd name="connsiteX71403" fmla="*/ 2977997 w 6884782"/>
              <a:gd name="connsiteY71403" fmla="*/ 5469323 h 5973007"/>
              <a:gd name="connsiteX71404" fmla="*/ 2982489 w 6884782"/>
              <a:gd name="connsiteY71404" fmla="*/ 5462405 h 5973007"/>
              <a:gd name="connsiteX71405" fmla="*/ 2984812 w 6884782"/>
              <a:gd name="connsiteY71405" fmla="*/ 5460959 h 5973007"/>
              <a:gd name="connsiteX71406" fmla="*/ 2981404 w 6884782"/>
              <a:gd name="connsiteY71406" fmla="*/ 5459101 h 5973007"/>
              <a:gd name="connsiteX71407" fmla="*/ 2974589 w 6884782"/>
              <a:gd name="connsiteY71407" fmla="*/ 5456622 h 5973007"/>
              <a:gd name="connsiteX71408" fmla="*/ 2970097 w 6884782"/>
              <a:gd name="connsiteY71408" fmla="*/ 5449394 h 5973007"/>
              <a:gd name="connsiteX71409" fmla="*/ 2968393 w 6884782"/>
              <a:gd name="connsiteY71409" fmla="*/ 5448052 h 5973007"/>
              <a:gd name="connsiteX71410" fmla="*/ 2967774 w 6884782"/>
              <a:gd name="connsiteY71410" fmla="*/ 5449188 h 5973007"/>
              <a:gd name="connsiteX71411" fmla="*/ 2966690 w 6884782"/>
              <a:gd name="connsiteY71411" fmla="*/ 5446504 h 5973007"/>
              <a:gd name="connsiteX71412" fmla="*/ 2963592 w 6884782"/>
              <a:gd name="connsiteY71412" fmla="*/ 5443922 h 5973007"/>
              <a:gd name="connsiteX71413" fmla="*/ 2963282 w 6884782"/>
              <a:gd name="connsiteY71413" fmla="*/ 5443819 h 5973007"/>
              <a:gd name="connsiteX71414" fmla="*/ 2963127 w 6884782"/>
              <a:gd name="connsiteY71414" fmla="*/ 5443509 h 5973007"/>
              <a:gd name="connsiteX71415" fmla="*/ 2962507 w 6884782"/>
              <a:gd name="connsiteY71415" fmla="*/ 5442992 h 5973007"/>
              <a:gd name="connsiteX71416" fmla="*/ 2953214 w 6884782"/>
              <a:gd name="connsiteY71416" fmla="*/ 5436384 h 5973007"/>
              <a:gd name="connsiteX71417" fmla="*/ 2942990 w 6884782"/>
              <a:gd name="connsiteY71417" fmla="*/ 5428020 h 5973007"/>
              <a:gd name="connsiteX71418" fmla="*/ 2933697 w 6884782"/>
              <a:gd name="connsiteY71418" fmla="*/ 5429569 h 5973007"/>
              <a:gd name="connsiteX71419" fmla="*/ 2936020 w 6884782"/>
              <a:gd name="connsiteY71419" fmla="*/ 5424716 h 5973007"/>
              <a:gd name="connsiteX71420" fmla="*/ 2935091 w 6884782"/>
              <a:gd name="connsiteY71420" fmla="*/ 5420896 h 5973007"/>
              <a:gd name="connsiteX71421" fmla="*/ 2930599 w 6884782"/>
              <a:gd name="connsiteY71421" fmla="*/ 5425955 h 5973007"/>
              <a:gd name="connsiteX71422" fmla="*/ 2921150 w 6884782"/>
              <a:gd name="connsiteY71422" fmla="*/ 5432047 h 5973007"/>
              <a:gd name="connsiteX71423" fmla="*/ 2918981 w 6884782"/>
              <a:gd name="connsiteY71423" fmla="*/ 5431015 h 5973007"/>
              <a:gd name="connsiteX71424" fmla="*/ 2927656 w 6884782"/>
              <a:gd name="connsiteY71424" fmla="*/ 5419863 h 5973007"/>
              <a:gd name="connsiteX71425" fmla="*/ 2930908 w 6884782"/>
              <a:gd name="connsiteY71425" fmla="*/ 5417591 h 5973007"/>
              <a:gd name="connsiteX71426" fmla="*/ 2927191 w 6884782"/>
              <a:gd name="connsiteY71426" fmla="*/ 5414804 h 5973007"/>
              <a:gd name="connsiteX71427" fmla="*/ 2911547 w 6884782"/>
              <a:gd name="connsiteY71427" fmla="*/ 5397147 h 5973007"/>
              <a:gd name="connsiteX71428" fmla="*/ 2905970 w 6884782"/>
              <a:gd name="connsiteY71428" fmla="*/ 5398489 h 5973007"/>
              <a:gd name="connsiteX71429" fmla="*/ 2901013 w 6884782"/>
              <a:gd name="connsiteY71429" fmla="*/ 5391055 h 5973007"/>
              <a:gd name="connsiteX71430" fmla="*/ 2893114 w 6884782"/>
              <a:gd name="connsiteY71430" fmla="*/ 5388163 h 5973007"/>
              <a:gd name="connsiteX71431" fmla="*/ 2887537 w 6884782"/>
              <a:gd name="connsiteY71431" fmla="*/ 5380936 h 5973007"/>
              <a:gd name="connsiteX71432" fmla="*/ 2891565 w 6884782"/>
              <a:gd name="connsiteY71432" fmla="*/ 5379593 h 5973007"/>
              <a:gd name="connsiteX71433" fmla="*/ 2889861 w 6884782"/>
              <a:gd name="connsiteY71433" fmla="*/ 5377631 h 5973007"/>
              <a:gd name="connsiteX71434" fmla="*/ 2881806 w 6884782"/>
              <a:gd name="connsiteY71434" fmla="*/ 5369164 h 5973007"/>
              <a:gd name="connsiteX71435" fmla="*/ 2874371 w 6884782"/>
              <a:gd name="connsiteY71435" fmla="*/ 5361523 h 5973007"/>
              <a:gd name="connsiteX71436" fmla="*/ 2859346 w 6884782"/>
              <a:gd name="connsiteY71436" fmla="*/ 5345725 h 5973007"/>
              <a:gd name="connsiteX71437" fmla="*/ 2854700 w 6884782"/>
              <a:gd name="connsiteY71437" fmla="*/ 5340356 h 5973007"/>
              <a:gd name="connsiteX71438" fmla="*/ 2852531 w 6884782"/>
              <a:gd name="connsiteY71438" fmla="*/ 5340149 h 5973007"/>
              <a:gd name="connsiteX71439" fmla="*/ 2853305 w 6884782"/>
              <a:gd name="connsiteY71439" fmla="*/ 5338807 h 5973007"/>
              <a:gd name="connsiteX71440" fmla="*/ 2852376 w 6884782"/>
              <a:gd name="connsiteY71440" fmla="*/ 5337671 h 5973007"/>
              <a:gd name="connsiteX71441" fmla="*/ 2845715 w 6884782"/>
              <a:gd name="connsiteY71441" fmla="*/ 5328688 h 5973007"/>
              <a:gd name="connsiteX71442" fmla="*/ 2847729 w 6884782"/>
              <a:gd name="connsiteY71442" fmla="*/ 5328275 h 5973007"/>
              <a:gd name="connsiteX71443" fmla="*/ 2847109 w 6884782"/>
              <a:gd name="connsiteY71443" fmla="*/ 5327552 h 5973007"/>
              <a:gd name="connsiteX71444" fmla="*/ 2847419 w 6884782"/>
              <a:gd name="connsiteY71444" fmla="*/ 5325590 h 5973007"/>
              <a:gd name="connsiteX71445" fmla="*/ 2848039 w 6884782"/>
              <a:gd name="connsiteY71445" fmla="*/ 5325487 h 5973007"/>
              <a:gd name="connsiteX71446" fmla="*/ 2842308 w 6884782"/>
              <a:gd name="connsiteY71446" fmla="*/ 5322492 h 5973007"/>
              <a:gd name="connsiteX71447" fmla="*/ 2832394 w 6884782"/>
              <a:gd name="connsiteY71447" fmla="*/ 5318466 h 5973007"/>
              <a:gd name="connsiteX71448" fmla="*/ 2824185 w 6884782"/>
              <a:gd name="connsiteY71448" fmla="*/ 5303700 h 5973007"/>
              <a:gd name="connsiteX71449" fmla="*/ 2823411 w 6884782"/>
              <a:gd name="connsiteY71449" fmla="*/ 5303493 h 5973007"/>
              <a:gd name="connsiteX71450" fmla="*/ 2823411 w 6884782"/>
              <a:gd name="connsiteY71450" fmla="*/ 5303597 h 5973007"/>
              <a:gd name="connsiteX71451" fmla="*/ 2820777 w 6884782"/>
              <a:gd name="connsiteY71451" fmla="*/ 5303080 h 5973007"/>
              <a:gd name="connsiteX71452" fmla="*/ 2818609 w 6884782"/>
              <a:gd name="connsiteY71452" fmla="*/ 5303700 h 5973007"/>
              <a:gd name="connsiteX71453" fmla="*/ 2802809 w 6884782"/>
              <a:gd name="connsiteY71453" fmla="*/ 5275511 h 5973007"/>
              <a:gd name="connsiteX71454" fmla="*/ 2801415 w 6884782"/>
              <a:gd name="connsiteY71454" fmla="*/ 5263017 h 5973007"/>
              <a:gd name="connsiteX71455" fmla="*/ 2797543 w 6884782"/>
              <a:gd name="connsiteY71455" fmla="*/ 5257441 h 5973007"/>
              <a:gd name="connsiteX71456" fmla="*/ 2796613 w 6884782"/>
              <a:gd name="connsiteY71456" fmla="*/ 5256925 h 5973007"/>
              <a:gd name="connsiteX71457" fmla="*/ 2796768 w 6884782"/>
              <a:gd name="connsiteY71457" fmla="*/ 5255376 h 5973007"/>
              <a:gd name="connsiteX71458" fmla="*/ 2796613 w 6884782"/>
              <a:gd name="connsiteY71458" fmla="*/ 5255170 h 5973007"/>
              <a:gd name="connsiteX71459" fmla="*/ 2796303 w 6884782"/>
              <a:gd name="connsiteY71459" fmla="*/ 5255789 h 5973007"/>
              <a:gd name="connsiteX71460" fmla="*/ 2791502 w 6884782"/>
              <a:gd name="connsiteY71460" fmla="*/ 5255066 h 5973007"/>
              <a:gd name="connsiteX71461" fmla="*/ 2790572 w 6884782"/>
              <a:gd name="connsiteY71461" fmla="*/ 5254653 h 5973007"/>
              <a:gd name="connsiteX71462" fmla="*/ 2788868 w 6884782"/>
              <a:gd name="connsiteY71462" fmla="*/ 5256305 h 5973007"/>
              <a:gd name="connsiteX71463" fmla="*/ 2788404 w 6884782"/>
              <a:gd name="connsiteY71463" fmla="*/ 5253827 h 5973007"/>
              <a:gd name="connsiteX71464" fmla="*/ 2787629 w 6884782"/>
              <a:gd name="connsiteY71464" fmla="*/ 5253517 h 5973007"/>
              <a:gd name="connsiteX71465" fmla="*/ 2788249 w 6884782"/>
              <a:gd name="connsiteY71465" fmla="*/ 5248148 h 5973007"/>
              <a:gd name="connsiteX71466" fmla="*/ 2789023 w 6884782"/>
              <a:gd name="connsiteY71466" fmla="*/ 5247012 h 5973007"/>
              <a:gd name="connsiteX71467" fmla="*/ 2788249 w 6884782"/>
              <a:gd name="connsiteY71467" fmla="*/ 5243398 h 5973007"/>
              <a:gd name="connsiteX71468" fmla="*/ 2786235 w 6884782"/>
              <a:gd name="connsiteY71468" fmla="*/ 5240920 h 5973007"/>
              <a:gd name="connsiteX71469" fmla="*/ 2784686 w 6884782"/>
              <a:gd name="connsiteY71469" fmla="*/ 5240507 h 5973007"/>
              <a:gd name="connsiteX71470" fmla="*/ 2782518 w 6884782"/>
              <a:gd name="connsiteY71470" fmla="*/ 5241643 h 5973007"/>
              <a:gd name="connsiteX71471" fmla="*/ 2780039 w 6884782"/>
              <a:gd name="connsiteY71471" fmla="*/ 5241643 h 5973007"/>
              <a:gd name="connsiteX71472" fmla="*/ 2776941 w 6884782"/>
              <a:gd name="connsiteY71472" fmla="*/ 5238545 h 5973007"/>
              <a:gd name="connsiteX71473" fmla="*/ 2777096 w 6884782"/>
              <a:gd name="connsiteY71473" fmla="*/ 5233589 h 5973007"/>
              <a:gd name="connsiteX71474" fmla="*/ 2781124 w 6884782"/>
              <a:gd name="connsiteY71474" fmla="*/ 5229562 h 5973007"/>
              <a:gd name="connsiteX71475" fmla="*/ 2780969 w 6884782"/>
              <a:gd name="connsiteY71475" fmla="*/ 5229459 h 5973007"/>
              <a:gd name="connsiteX71476" fmla="*/ 2783602 w 6884782"/>
              <a:gd name="connsiteY71476" fmla="*/ 5225845 h 5973007"/>
              <a:gd name="connsiteX71477" fmla="*/ 2782982 w 6884782"/>
              <a:gd name="connsiteY71477" fmla="*/ 5221198 h 5973007"/>
              <a:gd name="connsiteX71478" fmla="*/ 2781743 w 6884782"/>
              <a:gd name="connsiteY71478" fmla="*/ 5220476 h 5973007"/>
              <a:gd name="connsiteX71479" fmla="*/ 2778181 w 6884782"/>
              <a:gd name="connsiteY71479" fmla="*/ 5222437 h 5973007"/>
              <a:gd name="connsiteX71480" fmla="*/ 2775857 w 6884782"/>
              <a:gd name="connsiteY71480" fmla="*/ 5221302 h 5973007"/>
              <a:gd name="connsiteX71481" fmla="*/ 2773069 w 6884782"/>
              <a:gd name="connsiteY71481" fmla="*/ 5216552 h 5973007"/>
              <a:gd name="connsiteX71482" fmla="*/ 2771985 w 6884782"/>
              <a:gd name="connsiteY71482" fmla="*/ 5206433 h 5973007"/>
              <a:gd name="connsiteX71483" fmla="*/ 2772604 w 6884782"/>
              <a:gd name="connsiteY71483" fmla="*/ 5204264 h 5973007"/>
              <a:gd name="connsiteX71484" fmla="*/ 2771830 w 6884782"/>
              <a:gd name="connsiteY71484" fmla="*/ 5204780 h 5973007"/>
              <a:gd name="connsiteX71485" fmla="*/ 2765479 w 6884782"/>
              <a:gd name="connsiteY71485" fmla="*/ 5197862 h 5973007"/>
              <a:gd name="connsiteX71486" fmla="*/ 2767803 w 6884782"/>
              <a:gd name="connsiteY71486" fmla="*/ 5194042 h 5973007"/>
              <a:gd name="connsiteX71487" fmla="*/ 2766718 w 6884782"/>
              <a:gd name="connsiteY71487" fmla="*/ 5193835 h 5973007"/>
              <a:gd name="connsiteX71488" fmla="*/ 2765324 w 6884782"/>
              <a:gd name="connsiteY71488" fmla="*/ 5191770 h 5973007"/>
              <a:gd name="connsiteX71489" fmla="*/ 2763930 w 6884782"/>
              <a:gd name="connsiteY71489" fmla="*/ 5185368 h 5973007"/>
              <a:gd name="connsiteX71490" fmla="*/ 2765479 w 6884782"/>
              <a:gd name="connsiteY71490" fmla="*/ 5185884 h 5973007"/>
              <a:gd name="connsiteX71491" fmla="*/ 2764705 w 6884782"/>
              <a:gd name="connsiteY71491" fmla="*/ 5183200 h 5973007"/>
              <a:gd name="connsiteX71492" fmla="*/ 2760367 w 6884782"/>
              <a:gd name="connsiteY71492" fmla="*/ 5181961 h 5973007"/>
              <a:gd name="connsiteX71493" fmla="*/ 2760987 w 6884782"/>
              <a:gd name="connsiteY71493" fmla="*/ 5182684 h 5973007"/>
              <a:gd name="connsiteX71494" fmla="*/ 2761607 w 6884782"/>
              <a:gd name="connsiteY71494" fmla="*/ 5190944 h 5973007"/>
              <a:gd name="connsiteX71495" fmla="*/ 2760367 w 6884782"/>
              <a:gd name="connsiteY71495" fmla="*/ 5193113 h 5973007"/>
              <a:gd name="connsiteX71496" fmla="*/ 2761142 w 6884782"/>
              <a:gd name="connsiteY71496" fmla="*/ 5193009 h 5973007"/>
              <a:gd name="connsiteX71497" fmla="*/ 2763775 w 6884782"/>
              <a:gd name="connsiteY71497" fmla="*/ 5201476 h 5973007"/>
              <a:gd name="connsiteX71498" fmla="*/ 2758819 w 6884782"/>
              <a:gd name="connsiteY71498" fmla="*/ 5202715 h 5973007"/>
              <a:gd name="connsiteX71499" fmla="*/ 2759438 w 6884782"/>
              <a:gd name="connsiteY71499" fmla="*/ 5206226 h 5973007"/>
              <a:gd name="connsiteX71500" fmla="*/ 2755875 w 6884782"/>
              <a:gd name="connsiteY71500" fmla="*/ 5206742 h 5973007"/>
              <a:gd name="connsiteX71501" fmla="*/ 2754327 w 6884782"/>
              <a:gd name="connsiteY71501" fmla="*/ 5206019 h 5973007"/>
              <a:gd name="connsiteX71502" fmla="*/ 2754636 w 6884782"/>
              <a:gd name="connsiteY71502" fmla="*/ 5203954 h 5973007"/>
              <a:gd name="connsiteX71503" fmla="*/ 2755566 w 6884782"/>
              <a:gd name="connsiteY71503" fmla="*/ 5203025 h 5973007"/>
              <a:gd name="connsiteX71504" fmla="*/ 2749989 w 6884782"/>
              <a:gd name="connsiteY71504" fmla="*/ 5202199 h 5973007"/>
              <a:gd name="connsiteX71505" fmla="*/ 2756186 w 6884782"/>
              <a:gd name="connsiteY71505" fmla="*/ 5193525 h 5973007"/>
              <a:gd name="connsiteX71506" fmla="*/ 2759128 w 6884782"/>
              <a:gd name="connsiteY71506" fmla="*/ 5193216 h 5973007"/>
              <a:gd name="connsiteX71507" fmla="*/ 2752623 w 6884782"/>
              <a:gd name="connsiteY71507" fmla="*/ 5188673 h 5973007"/>
              <a:gd name="connsiteX71508" fmla="*/ 2744878 w 6884782"/>
              <a:gd name="connsiteY71508" fmla="*/ 5184749 h 5973007"/>
              <a:gd name="connsiteX71509" fmla="*/ 2745033 w 6884782"/>
              <a:gd name="connsiteY71509" fmla="*/ 5184233 h 5973007"/>
              <a:gd name="connsiteX71510" fmla="*/ 2737753 w 6884782"/>
              <a:gd name="connsiteY71510" fmla="*/ 5186194 h 5973007"/>
              <a:gd name="connsiteX71511" fmla="*/ 2732486 w 6884782"/>
              <a:gd name="connsiteY71511" fmla="*/ 5186814 h 5973007"/>
              <a:gd name="connsiteX71512" fmla="*/ 2732951 w 6884782"/>
              <a:gd name="connsiteY71512" fmla="*/ 5187124 h 5973007"/>
              <a:gd name="connsiteX71513" fmla="*/ 2734035 w 6884782"/>
              <a:gd name="connsiteY71513" fmla="*/ 5196623 h 5973007"/>
              <a:gd name="connsiteX71514" fmla="*/ 2728614 w 6884782"/>
              <a:gd name="connsiteY71514" fmla="*/ 5202612 h 5973007"/>
              <a:gd name="connsiteX71515" fmla="*/ 2730318 w 6884782"/>
              <a:gd name="connsiteY71515" fmla="*/ 5208085 h 5973007"/>
              <a:gd name="connsiteX71516" fmla="*/ 2729078 w 6884782"/>
              <a:gd name="connsiteY71516" fmla="*/ 5213867 h 5973007"/>
              <a:gd name="connsiteX71517" fmla="*/ 2732021 w 6884782"/>
              <a:gd name="connsiteY71517" fmla="*/ 5218720 h 5973007"/>
              <a:gd name="connsiteX71518" fmla="*/ 2728614 w 6884782"/>
              <a:gd name="connsiteY71518" fmla="*/ 5220166 h 5973007"/>
              <a:gd name="connsiteX71519" fmla="*/ 2726910 w 6884782"/>
              <a:gd name="connsiteY71519" fmla="*/ 5219133 h 5973007"/>
              <a:gd name="connsiteX71520" fmla="*/ 2721798 w 6884782"/>
              <a:gd name="connsiteY71520" fmla="*/ 5225225 h 5973007"/>
              <a:gd name="connsiteX71521" fmla="*/ 2712660 w 6884782"/>
              <a:gd name="connsiteY71521" fmla="*/ 5230388 h 5973007"/>
              <a:gd name="connsiteX71522" fmla="*/ 2702591 w 6884782"/>
              <a:gd name="connsiteY71522" fmla="*/ 5231627 h 5973007"/>
              <a:gd name="connsiteX71523" fmla="*/ 2700423 w 6884782"/>
              <a:gd name="connsiteY71523" fmla="*/ 5235448 h 5973007"/>
              <a:gd name="connsiteX71524" fmla="*/ 2682764 w 6884782"/>
              <a:gd name="connsiteY71524" fmla="*/ 5238855 h 5973007"/>
              <a:gd name="connsiteX71525" fmla="*/ 2670063 w 6884782"/>
              <a:gd name="connsiteY71525" fmla="*/ 5229149 h 5973007"/>
              <a:gd name="connsiteX71526" fmla="*/ 2670683 w 6884782"/>
              <a:gd name="connsiteY71526" fmla="*/ 5223883 h 5973007"/>
              <a:gd name="connsiteX71527" fmla="*/ 2678118 w 6884782"/>
              <a:gd name="connsiteY71527" fmla="*/ 5218720 h 5973007"/>
              <a:gd name="connsiteX71528" fmla="*/ 2676569 w 6884782"/>
              <a:gd name="connsiteY71528" fmla="*/ 5216552 h 5973007"/>
              <a:gd name="connsiteX71529" fmla="*/ 2673161 w 6884782"/>
              <a:gd name="connsiteY71529" fmla="*/ 5204677 h 5973007"/>
              <a:gd name="connsiteX71530" fmla="*/ 2674245 w 6884782"/>
              <a:gd name="connsiteY71530" fmla="*/ 5203954 h 5973007"/>
              <a:gd name="connsiteX71531" fmla="*/ 2674090 w 6884782"/>
              <a:gd name="connsiteY71531" fmla="*/ 5203851 h 5973007"/>
              <a:gd name="connsiteX71532" fmla="*/ 2677033 w 6884782"/>
              <a:gd name="connsiteY71532" fmla="*/ 5200857 h 5973007"/>
              <a:gd name="connsiteX71533" fmla="*/ 2677963 w 6884782"/>
              <a:gd name="connsiteY71533" fmla="*/ 5201167 h 5973007"/>
              <a:gd name="connsiteX71534" fmla="*/ 2687102 w 6884782"/>
              <a:gd name="connsiteY71534" fmla="*/ 5194351 h 5973007"/>
              <a:gd name="connsiteX71535" fmla="*/ 2716067 w 6884782"/>
              <a:gd name="connsiteY71535" fmla="*/ 5190015 h 5973007"/>
              <a:gd name="connsiteX71536" fmla="*/ 2719010 w 6884782"/>
              <a:gd name="connsiteY71536" fmla="*/ 5191460 h 5973007"/>
              <a:gd name="connsiteX71537" fmla="*/ 2719475 w 6884782"/>
              <a:gd name="connsiteY71537" fmla="*/ 5188156 h 5973007"/>
              <a:gd name="connsiteX71538" fmla="*/ 2719784 w 6884782"/>
              <a:gd name="connsiteY71538" fmla="*/ 5187950 h 5973007"/>
              <a:gd name="connsiteX71539" fmla="*/ 2714828 w 6884782"/>
              <a:gd name="connsiteY71539" fmla="*/ 5188363 h 5973007"/>
              <a:gd name="connsiteX71540" fmla="*/ 2714673 w 6884782"/>
              <a:gd name="connsiteY71540" fmla="*/ 5184129 h 5973007"/>
              <a:gd name="connsiteX71541" fmla="*/ 2715138 w 6884782"/>
              <a:gd name="connsiteY71541" fmla="*/ 5181651 h 5973007"/>
              <a:gd name="connsiteX71542" fmla="*/ 2714053 w 6884782"/>
              <a:gd name="connsiteY71542" fmla="*/ 5181651 h 5973007"/>
              <a:gd name="connsiteX71543" fmla="*/ 2712814 w 6884782"/>
              <a:gd name="connsiteY71543" fmla="*/ 5176798 h 5973007"/>
              <a:gd name="connsiteX71544" fmla="*/ 2713434 w 6884782"/>
              <a:gd name="connsiteY71544" fmla="*/ 5175455 h 5973007"/>
              <a:gd name="connsiteX71545" fmla="*/ 2709097 w 6884782"/>
              <a:gd name="connsiteY71545" fmla="*/ 5175766 h 5973007"/>
              <a:gd name="connsiteX71546" fmla="*/ 2705379 w 6884782"/>
              <a:gd name="connsiteY71546" fmla="*/ 5174217 h 5973007"/>
              <a:gd name="connsiteX71547" fmla="*/ 2704450 w 6884782"/>
              <a:gd name="connsiteY71547" fmla="*/ 5172358 h 5973007"/>
              <a:gd name="connsiteX71548" fmla="*/ 2703211 w 6884782"/>
              <a:gd name="connsiteY71548" fmla="*/ 5174010 h 5973007"/>
              <a:gd name="connsiteX71549" fmla="*/ 2698409 w 6884782"/>
              <a:gd name="connsiteY71549" fmla="*/ 5176075 h 5973007"/>
              <a:gd name="connsiteX71550" fmla="*/ 2692988 w 6884782"/>
              <a:gd name="connsiteY71550" fmla="*/ 5175559 h 5973007"/>
              <a:gd name="connsiteX71551" fmla="*/ 2696086 w 6884782"/>
              <a:gd name="connsiteY71551" fmla="*/ 5170603 h 5973007"/>
              <a:gd name="connsiteX71552" fmla="*/ 2703676 w 6884782"/>
              <a:gd name="connsiteY71552" fmla="*/ 5169880 h 5973007"/>
              <a:gd name="connsiteX71553" fmla="*/ 2704450 w 6884782"/>
              <a:gd name="connsiteY71553" fmla="*/ 5171222 h 5973007"/>
              <a:gd name="connsiteX71554" fmla="*/ 2705379 w 6884782"/>
              <a:gd name="connsiteY71554" fmla="*/ 5167608 h 5973007"/>
              <a:gd name="connsiteX71555" fmla="*/ 2716532 w 6884782"/>
              <a:gd name="connsiteY71555" fmla="*/ 5160174 h 5973007"/>
              <a:gd name="connsiteX71556" fmla="*/ 2717771 w 6884782"/>
              <a:gd name="connsiteY71556" fmla="*/ 5169157 h 5973007"/>
              <a:gd name="connsiteX71557" fmla="*/ 2716687 w 6884782"/>
              <a:gd name="connsiteY71557" fmla="*/ 5173184 h 5973007"/>
              <a:gd name="connsiteX71558" fmla="*/ 2716996 w 6884782"/>
              <a:gd name="connsiteY71558" fmla="*/ 5173184 h 5973007"/>
              <a:gd name="connsiteX71559" fmla="*/ 2720404 w 6884782"/>
              <a:gd name="connsiteY71559" fmla="*/ 5174423 h 5973007"/>
              <a:gd name="connsiteX71560" fmla="*/ 2723192 w 6884782"/>
              <a:gd name="connsiteY71560" fmla="*/ 5178347 h 5973007"/>
              <a:gd name="connsiteX71561" fmla="*/ 2737288 w 6884782"/>
              <a:gd name="connsiteY71561" fmla="*/ 5177831 h 5973007"/>
              <a:gd name="connsiteX71562" fmla="*/ 2741315 w 6884782"/>
              <a:gd name="connsiteY71562" fmla="*/ 5175043 h 5973007"/>
              <a:gd name="connsiteX71563" fmla="*/ 2744878 w 6884782"/>
              <a:gd name="connsiteY71563" fmla="*/ 5176075 h 5973007"/>
              <a:gd name="connsiteX71564" fmla="*/ 2744413 w 6884782"/>
              <a:gd name="connsiteY71564" fmla="*/ 5177417 h 5973007"/>
              <a:gd name="connsiteX71565" fmla="*/ 2747666 w 6884782"/>
              <a:gd name="connsiteY71565" fmla="*/ 5177108 h 5973007"/>
              <a:gd name="connsiteX71566" fmla="*/ 2754172 w 6884782"/>
              <a:gd name="connsiteY71566" fmla="*/ 5177314 h 5973007"/>
              <a:gd name="connsiteX71567" fmla="*/ 2753862 w 6884782"/>
              <a:gd name="connsiteY71567" fmla="*/ 5176798 h 5973007"/>
              <a:gd name="connsiteX71568" fmla="*/ 2753862 w 6884782"/>
              <a:gd name="connsiteY71568" fmla="*/ 5168331 h 5973007"/>
              <a:gd name="connsiteX71569" fmla="*/ 2753862 w 6884782"/>
              <a:gd name="connsiteY71569" fmla="*/ 5168124 h 5973007"/>
              <a:gd name="connsiteX71570" fmla="*/ 2750919 w 6884782"/>
              <a:gd name="connsiteY71570" fmla="*/ 5169054 h 5973007"/>
              <a:gd name="connsiteX71571" fmla="*/ 2747666 w 6884782"/>
              <a:gd name="connsiteY71571" fmla="*/ 5167505 h 5973007"/>
              <a:gd name="connsiteX71572" fmla="*/ 2746892 w 6884782"/>
              <a:gd name="connsiteY71572" fmla="*/ 5164407 h 5973007"/>
              <a:gd name="connsiteX71573" fmla="*/ 2751539 w 6884782"/>
              <a:gd name="connsiteY71573" fmla="*/ 5162858 h 5973007"/>
              <a:gd name="connsiteX71574" fmla="*/ 2752003 w 6884782"/>
              <a:gd name="connsiteY71574" fmla="*/ 5162962 h 5973007"/>
              <a:gd name="connsiteX71575" fmla="*/ 2751693 w 6884782"/>
              <a:gd name="connsiteY71575" fmla="*/ 5162136 h 5973007"/>
              <a:gd name="connsiteX71576" fmla="*/ 2749525 w 6884782"/>
              <a:gd name="connsiteY71576" fmla="*/ 5159141 h 5973007"/>
              <a:gd name="connsiteX71577" fmla="*/ 2749370 w 6884782"/>
              <a:gd name="connsiteY71577" fmla="*/ 5159245 h 5973007"/>
              <a:gd name="connsiteX71578" fmla="*/ 2747201 w 6884782"/>
              <a:gd name="connsiteY71578" fmla="*/ 5159657 h 5973007"/>
              <a:gd name="connsiteX71579" fmla="*/ 2745807 w 6884782"/>
              <a:gd name="connsiteY71579" fmla="*/ 5158418 h 5973007"/>
              <a:gd name="connsiteX71580" fmla="*/ 2746117 w 6884782"/>
              <a:gd name="connsiteY71580" fmla="*/ 5157696 h 5973007"/>
              <a:gd name="connsiteX71581" fmla="*/ 2742245 w 6884782"/>
              <a:gd name="connsiteY71581" fmla="*/ 5157179 h 5973007"/>
              <a:gd name="connsiteX71582" fmla="*/ 2739766 w 6884782"/>
              <a:gd name="connsiteY71582" fmla="*/ 5153462 h 5973007"/>
              <a:gd name="connsiteX71583" fmla="*/ 2741006 w 6884782"/>
              <a:gd name="connsiteY71583" fmla="*/ 5148506 h 5973007"/>
              <a:gd name="connsiteX71584" fmla="*/ 2741935 w 6884782"/>
              <a:gd name="connsiteY71584" fmla="*/ 5148093 h 5973007"/>
              <a:gd name="connsiteX71585" fmla="*/ 2741470 w 6884782"/>
              <a:gd name="connsiteY71585" fmla="*/ 5147370 h 5973007"/>
              <a:gd name="connsiteX71586" fmla="*/ 2739921 w 6884782"/>
              <a:gd name="connsiteY71586" fmla="*/ 5150158 h 5973007"/>
              <a:gd name="connsiteX71587" fmla="*/ 2736514 w 6884782"/>
              <a:gd name="connsiteY71587" fmla="*/ 5151810 h 5973007"/>
              <a:gd name="connsiteX71588" fmla="*/ 2735274 w 6884782"/>
              <a:gd name="connsiteY71588" fmla="*/ 5150674 h 5973007"/>
              <a:gd name="connsiteX71589" fmla="*/ 2734035 w 6884782"/>
              <a:gd name="connsiteY71589" fmla="*/ 5148919 h 5973007"/>
              <a:gd name="connsiteX71590" fmla="*/ 2733571 w 6884782"/>
              <a:gd name="connsiteY71590" fmla="*/ 5144066 h 5973007"/>
              <a:gd name="connsiteX71591" fmla="*/ 2736049 w 6884782"/>
              <a:gd name="connsiteY71591" fmla="*/ 5140968 h 5973007"/>
              <a:gd name="connsiteX71592" fmla="*/ 2737598 w 6884782"/>
              <a:gd name="connsiteY71592" fmla="*/ 5140142 h 5973007"/>
              <a:gd name="connsiteX71593" fmla="*/ 2738837 w 6884782"/>
              <a:gd name="connsiteY71593" fmla="*/ 5140865 h 5973007"/>
              <a:gd name="connsiteX71594" fmla="*/ 2739147 w 6884782"/>
              <a:gd name="connsiteY71594" fmla="*/ 5140349 h 5973007"/>
              <a:gd name="connsiteX71595" fmla="*/ 2741470 w 6884782"/>
              <a:gd name="connsiteY71595" fmla="*/ 5138903 h 5973007"/>
              <a:gd name="connsiteX71596" fmla="*/ 2742864 w 6884782"/>
              <a:gd name="connsiteY71596" fmla="*/ 5140555 h 5973007"/>
              <a:gd name="connsiteX71597" fmla="*/ 2743329 w 6884782"/>
              <a:gd name="connsiteY71597" fmla="*/ 5141175 h 5973007"/>
              <a:gd name="connsiteX71598" fmla="*/ 2742090 w 6884782"/>
              <a:gd name="connsiteY71598" fmla="*/ 5137044 h 5973007"/>
              <a:gd name="connsiteX71599" fmla="*/ 2740508 w 6884782"/>
              <a:gd name="connsiteY71599" fmla="*/ 5132701 h 5973007"/>
              <a:gd name="connsiteX71600" fmla="*/ 2734468 w 6884782"/>
              <a:gd name="connsiteY71600" fmla="*/ 5137696 h 5973007"/>
              <a:gd name="connsiteX71601" fmla="*/ 2712948 w 6884782"/>
              <a:gd name="connsiteY71601" fmla="*/ 5145397 h 5973007"/>
              <a:gd name="connsiteX71602" fmla="*/ 2711936 w 6884782"/>
              <a:gd name="connsiteY71602" fmla="*/ 5145188 h 5973007"/>
              <a:gd name="connsiteX71603" fmla="*/ 2712350 w 6884782"/>
              <a:gd name="connsiteY71603" fmla="*/ 5150984 h 5973007"/>
              <a:gd name="connsiteX71604" fmla="*/ 2710491 w 6884782"/>
              <a:gd name="connsiteY71604" fmla="*/ 5151190 h 5973007"/>
              <a:gd name="connsiteX71605" fmla="*/ 2708167 w 6884782"/>
              <a:gd name="connsiteY71605" fmla="*/ 5149745 h 5973007"/>
              <a:gd name="connsiteX71606" fmla="*/ 2707393 w 6884782"/>
              <a:gd name="connsiteY71606" fmla="*/ 5147267 h 5973007"/>
              <a:gd name="connsiteX71607" fmla="*/ 2711041 w 6884782"/>
              <a:gd name="connsiteY71607" fmla="*/ 5145003 h 5973007"/>
              <a:gd name="connsiteX71608" fmla="*/ 2690600 w 6884782"/>
              <a:gd name="connsiteY71608" fmla="*/ 5140776 h 5973007"/>
              <a:gd name="connsiteX71609" fmla="*/ 2689035 w 6884782"/>
              <a:gd name="connsiteY71609" fmla="*/ 5139880 h 5973007"/>
              <a:gd name="connsiteX71610" fmla="*/ 2691168 w 6884782"/>
              <a:gd name="connsiteY71610" fmla="*/ 5148815 h 5973007"/>
              <a:gd name="connsiteX71611" fmla="*/ 2690199 w 6884782"/>
              <a:gd name="connsiteY71611" fmla="*/ 5160071 h 5973007"/>
              <a:gd name="connsiteX71612" fmla="*/ 2683539 w 6884782"/>
              <a:gd name="connsiteY71612" fmla="*/ 5149642 h 5973007"/>
              <a:gd name="connsiteX71613" fmla="*/ 2681421 w 6884782"/>
              <a:gd name="connsiteY71613" fmla="*/ 5135521 h 5973007"/>
              <a:gd name="connsiteX71614" fmla="*/ 2672192 w 6884782"/>
              <a:gd name="connsiteY71614" fmla="*/ 5130237 h 5973007"/>
              <a:gd name="connsiteX71615" fmla="*/ 2664022 w 6884782"/>
              <a:gd name="connsiteY71615" fmla="*/ 5127029 h 5973007"/>
              <a:gd name="connsiteX71616" fmla="*/ 2666824 w 6884782"/>
              <a:gd name="connsiteY71616" fmla="*/ 5126105 h 5973007"/>
              <a:gd name="connsiteX71617" fmla="*/ 2662041 w 6884782"/>
              <a:gd name="connsiteY71617" fmla="*/ 5121120 h 5973007"/>
              <a:gd name="connsiteX71618" fmla="*/ 2660305 w 6884782"/>
              <a:gd name="connsiteY71618" fmla="*/ 5125273 h 5973007"/>
              <a:gd name="connsiteX71619" fmla="*/ 2656742 w 6884782"/>
              <a:gd name="connsiteY71619" fmla="*/ 5130746 h 5973007"/>
              <a:gd name="connsiteX71620" fmla="*/ 2656277 w 6884782"/>
              <a:gd name="connsiteY71620" fmla="*/ 5126409 h 5973007"/>
              <a:gd name="connsiteX71621" fmla="*/ 2654574 w 6884782"/>
              <a:gd name="connsiteY71621" fmla="*/ 5127235 h 5973007"/>
              <a:gd name="connsiteX71622" fmla="*/ 2653954 w 6884782"/>
              <a:gd name="connsiteY71622" fmla="*/ 5124653 h 5973007"/>
              <a:gd name="connsiteX71623" fmla="*/ 2652560 w 6884782"/>
              <a:gd name="connsiteY71623" fmla="*/ 5124860 h 5973007"/>
              <a:gd name="connsiteX71624" fmla="*/ 2647139 w 6884782"/>
              <a:gd name="connsiteY71624" fmla="*/ 5124034 h 5973007"/>
              <a:gd name="connsiteX71625" fmla="*/ 2647139 w 6884782"/>
              <a:gd name="connsiteY71625" fmla="*/ 5125480 h 5973007"/>
              <a:gd name="connsiteX71626" fmla="*/ 2651011 w 6884782"/>
              <a:gd name="connsiteY71626" fmla="*/ 5127029 h 5973007"/>
              <a:gd name="connsiteX71627" fmla="*/ 2656742 w 6884782"/>
              <a:gd name="connsiteY71627" fmla="*/ 5130746 h 5973007"/>
              <a:gd name="connsiteX71628" fmla="*/ 2657981 w 6884782"/>
              <a:gd name="connsiteY71628" fmla="*/ 5131365 h 5973007"/>
              <a:gd name="connsiteX71629" fmla="*/ 2665881 w 6884782"/>
              <a:gd name="connsiteY71629" fmla="*/ 5135702 h 5973007"/>
              <a:gd name="connsiteX71630" fmla="*/ 2671922 w 6884782"/>
              <a:gd name="connsiteY71630" fmla="*/ 5154391 h 5973007"/>
              <a:gd name="connsiteX71631" fmla="*/ 2666965 w 6884782"/>
              <a:gd name="connsiteY71631" fmla="*/ 5166473 h 5973007"/>
              <a:gd name="connsiteX71632" fmla="*/ 2665261 w 6884782"/>
              <a:gd name="connsiteY71632" fmla="*/ 5172668 h 5973007"/>
              <a:gd name="connsiteX71633" fmla="*/ 2665726 w 6884782"/>
              <a:gd name="connsiteY71633" fmla="*/ 5172461 h 5973007"/>
              <a:gd name="connsiteX71634" fmla="*/ 2671922 w 6884782"/>
              <a:gd name="connsiteY71634" fmla="*/ 5177211 h 5973007"/>
              <a:gd name="connsiteX71635" fmla="*/ 2667895 w 6884782"/>
              <a:gd name="connsiteY71635" fmla="*/ 5176901 h 5973007"/>
              <a:gd name="connsiteX71636" fmla="*/ 2664487 w 6884782"/>
              <a:gd name="connsiteY71636" fmla="*/ 5175766 h 5973007"/>
              <a:gd name="connsiteX71637" fmla="*/ 2663248 w 6884782"/>
              <a:gd name="connsiteY71637" fmla="*/ 5180102 h 5973007"/>
              <a:gd name="connsiteX71638" fmla="*/ 2649616 w 6884782"/>
              <a:gd name="connsiteY71638" fmla="*/ 5187950 h 5973007"/>
              <a:gd name="connsiteX71639" fmla="*/ 2648842 w 6884782"/>
              <a:gd name="connsiteY71639" fmla="*/ 5188363 h 5973007"/>
              <a:gd name="connsiteX71640" fmla="*/ 2652095 w 6884782"/>
              <a:gd name="connsiteY71640" fmla="*/ 5190944 h 5973007"/>
              <a:gd name="connsiteX71641" fmla="*/ 2655193 w 6884782"/>
              <a:gd name="connsiteY71641" fmla="*/ 5187330 h 5973007"/>
              <a:gd name="connsiteX71642" fmla="*/ 2666346 w 6884782"/>
              <a:gd name="connsiteY71642" fmla="*/ 5192700 h 5973007"/>
              <a:gd name="connsiteX71643" fmla="*/ 2658756 w 6884782"/>
              <a:gd name="connsiteY71643" fmla="*/ 5200237 h 5973007"/>
              <a:gd name="connsiteX71644" fmla="*/ 2656122 w 6884782"/>
              <a:gd name="connsiteY71644" fmla="*/ 5197346 h 5973007"/>
              <a:gd name="connsiteX71645" fmla="*/ 2655813 w 6884782"/>
              <a:gd name="connsiteY71645" fmla="*/ 5197656 h 5973007"/>
              <a:gd name="connsiteX71646" fmla="*/ 2655348 w 6884782"/>
              <a:gd name="connsiteY71646" fmla="*/ 5199721 h 5973007"/>
              <a:gd name="connsiteX71647" fmla="*/ 2657052 w 6884782"/>
              <a:gd name="connsiteY71647" fmla="*/ 5201063 h 5973007"/>
              <a:gd name="connsiteX71648" fmla="*/ 2654728 w 6884782"/>
              <a:gd name="connsiteY71648" fmla="*/ 5202612 h 5973007"/>
              <a:gd name="connsiteX71649" fmla="*/ 2654418 w 6884782"/>
              <a:gd name="connsiteY71649" fmla="*/ 5202406 h 5973007"/>
              <a:gd name="connsiteX71650" fmla="*/ 2652250 w 6884782"/>
              <a:gd name="connsiteY71650" fmla="*/ 5205193 h 5973007"/>
              <a:gd name="connsiteX71651" fmla="*/ 2644350 w 6884782"/>
              <a:gd name="connsiteY71651" fmla="*/ 5208808 h 5973007"/>
              <a:gd name="connsiteX71652" fmla="*/ 2637999 w 6884782"/>
              <a:gd name="connsiteY71652" fmla="*/ 5205503 h 5973007"/>
              <a:gd name="connsiteX71653" fmla="*/ 2634747 w 6884782"/>
              <a:gd name="connsiteY71653" fmla="*/ 5195590 h 5973007"/>
              <a:gd name="connsiteX71654" fmla="*/ 2635056 w 6884782"/>
              <a:gd name="connsiteY71654" fmla="*/ 5195281 h 5973007"/>
              <a:gd name="connsiteX71655" fmla="*/ 2628241 w 6884782"/>
              <a:gd name="connsiteY71655" fmla="*/ 5192390 h 5973007"/>
              <a:gd name="connsiteX71656" fmla="*/ 2621581 w 6884782"/>
              <a:gd name="connsiteY71656" fmla="*/ 5190944 h 5973007"/>
              <a:gd name="connsiteX71657" fmla="*/ 2622820 w 6884782"/>
              <a:gd name="connsiteY71657" fmla="*/ 5194661 h 5973007"/>
              <a:gd name="connsiteX71658" fmla="*/ 2623904 w 6884782"/>
              <a:gd name="connsiteY71658" fmla="*/ 5201270 h 5973007"/>
              <a:gd name="connsiteX71659" fmla="*/ 2613991 w 6884782"/>
              <a:gd name="connsiteY71659" fmla="*/ 5210976 h 5973007"/>
              <a:gd name="connsiteX71660" fmla="*/ 2613061 w 6884782"/>
              <a:gd name="connsiteY71660" fmla="*/ 5210356 h 5973007"/>
              <a:gd name="connsiteX71661" fmla="*/ 2611357 w 6884782"/>
              <a:gd name="connsiteY71661" fmla="*/ 5209634 h 5973007"/>
              <a:gd name="connsiteX71662" fmla="*/ 2608724 w 6884782"/>
              <a:gd name="connsiteY71662" fmla="*/ 5210666 h 5973007"/>
              <a:gd name="connsiteX71663" fmla="*/ 2606246 w 6884782"/>
              <a:gd name="connsiteY71663" fmla="*/ 5209324 h 5973007"/>
              <a:gd name="connsiteX71664" fmla="*/ 2604852 w 6884782"/>
              <a:gd name="connsiteY71664" fmla="*/ 5205090 h 5973007"/>
              <a:gd name="connsiteX71665" fmla="*/ 2605471 w 6884782"/>
              <a:gd name="connsiteY71665" fmla="*/ 5204368 h 5973007"/>
              <a:gd name="connsiteX71666" fmla="*/ 2604232 w 6884782"/>
              <a:gd name="connsiteY71666" fmla="*/ 5199205 h 5973007"/>
              <a:gd name="connsiteX71667" fmla="*/ 2604697 w 6884782"/>
              <a:gd name="connsiteY71667" fmla="*/ 5196004 h 5973007"/>
              <a:gd name="connsiteX71668" fmla="*/ 2603303 w 6884782"/>
              <a:gd name="connsiteY71668" fmla="*/ 5200857 h 5973007"/>
              <a:gd name="connsiteX71669" fmla="*/ 2602683 w 6884782"/>
              <a:gd name="connsiteY71669" fmla="*/ 5202715 h 5973007"/>
              <a:gd name="connsiteX71670" fmla="*/ 2603458 w 6884782"/>
              <a:gd name="connsiteY71670" fmla="*/ 5202715 h 5973007"/>
              <a:gd name="connsiteX71671" fmla="*/ 2602528 w 6884782"/>
              <a:gd name="connsiteY71671" fmla="*/ 5203645 h 5973007"/>
              <a:gd name="connsiteX71672" fmla="*/ 2602373 w 6884782"/>
              <a:gd name="connsiteY71672" fmla="*/ 5203851 h 5973007"/>
              <a:gd name="connsiteX71673" fmla="*/ 2602373 w 6884782"/>
              <a:gd name="connsiteY71673" fmla="*/ 5204677 h 5973007"/>
              <a:gd name="connsiteX71674" fmla="*/ 2600050 w 6884782"/>
              <a:gd name="connsiteY71674" fmla="*/ 5207569 h 5973007"/>
              <a:gd name="connsiteX71675" fmla="*/ 2599120 w 6884782"/>
              <a:gd name="connsiteY71675" fmla="*/ 5207362 h 5973007"/>
              <a:gd name="connsiteX71676" fmla="*/ 2599275 w 6884782"/>
              <a:gd name="connsiteY71676" fmla="*/ 5212215 h 5973007"/>
              <a:gd name="connsiteX71677" fmla="*/ 2598966 w 6884782"/>
              <a:gd name="connsiteY71677" fmla="*/ 5213557 h 5973007"/>
              <a:gd name="connsiteX71678" fmla="*/ 2599430 w 6884782"/>
              <a:gd name="connsiteY71678" fmla="*/ 5213970 h 5973007"/>
              <a:gd name="connsiteX71679" fmla="*/ 2598811 w 6884782"/>
              <a:gd name="connsiteY71679" fmla="*/ 5214796 h 5973007"/>
              <a:gd name="connsiteX71680" fmla="*/ 2598036 w 6884782"/>
              <a:gd name="connsiteY71680" fmla="*/ 5219133 h 5973007"/>
              <a:gd name="connsiteX71681" fmla="*/ 2594473 w 6884782"/>
              <a:gd name="connsiteY71681" fmla="*/ 5222437 h 5973007"/>
              <a:gd name="connsiteX71682" fmla="*/ 2593544 w 6884782"/>
              <a:gd name="connsiteY71682" fmla="*/ 5216552 h 5973007"/>
              <a:gd name="connsiteX71683" fmla="*/ 2593389 w 6884782"/>
              <a:gd name="connsiteY71683" fmla="*/ 5216242 h 5973007"/>
              <a:gd name="connsiteX71684" fmla="*/ 2593389 w 6884782"/>
              <a:gd name="connsiteY71684" fmla="*/ 5215829 h 5973007"/>
              <a:gd name="connsiteX71685" fmla="*/ 2592770 w 6884782"/>
              <a:gd name="connsiteY71685" fmla="*/ 5208911 h 5973007"/>
              <a:gd name="connsiteX71686" fmla="*/ 2593854 w 6884782"/>
              <a:gd name="connsiteY71686" fmla="*/ 5202406 h 5973007"/>
              <a:gd name="connsiteX71687" fmla="*/ 2593080 w 6884782"/>
              <a:gd name="connsiteY71687" fmla="*/ 5202303 h 5973007"/>
              <a:gd name="connsiteX71688" fmla="*/ 2580688 w 6884782"/>
              <a:gd name="connsiteY71688" fmla="*/ 5201683 h 5973007"/>
              <a:gd name="connsiteX71689" fmla="*/ 2582392 w 6884782"/>
              <a:gd name="connsiteY71689" fmla="*/ 5193009 h 5973007"/>
              <a:gd name="connsiteX71690" fmla="*/ 2594319 w 6884782"/>
              <a:gd name="connsiteY71690" fmla="*/ 5187227 h 5973007"/>
              <a:gd name="connsiteX71691" fmla="*/ 2594629 w 6884782"/>
              <a:gd name="connsiteY71691" fmla="*/ 5187330 h 5973007"/>
              <a:gd name="connsiteX71692" fmla="*/ 2599430 w 6884782"/>
              <a:gd name="connsiteY71692" fmla="*/ 5187330 h 5973007"/>
              <a:gd name="connsiteX71693" fmla="*/ 2600205 w 6884782"/>
              <a:gd name="connsiteY71693" fmla="*/ 5188982 h 5973007"/>
              <a:gd name="connsiteX71694" fmla="*/ 2603148 w 6884782"/>
              <a:gd name="connsiteY71694" fmla="*/ 5188156 h 5973007"/>
              <a:gd name="connsiteX71695" fmla="*/ 2605006 w 6884782"/>
              <a:gd name="connsiteY71695" fmla="*/ 5194558 h 5973007"/>
              <a:gd name="connsiteX71696" fmla="*/ 2615384 w 6884782"/>
              <a:gd name="connsiteY71696" fmla="*/ 5189705 h 5973007"/>
              <a:gd name="connsiteX71697" fmla="*/ 2617708 w 6884782"/>
              <a:gd name="connsiteY71697" fmla="*/ 5190221 h 5973007"/>
              <a:gd name="connsiteX71698" fmla="*/ 2618947 w 6884782"/>
              <a:gd name="connsiteY71698" fmla="*/ 5190324 h 5973007"/>
              <a:gd name="connsiteX71699" fmla="*/ 2610583 w 6884782"/>
              <a:gd name="connsiteY71699" fmla="*/ 5187434 h 5973007"/>
              <a:gd name="connsiteX71700" fmla="*/ 2604697 w 6884782"/>
              <a:gd name="connsiteY71700" fmla="*/ 5181032 h 5973007"/>
              <a:gd name="connsiteX71701" fmla="*/ 2604232 w 6884782"/>
              <a:gd name="connsiteY71701" fmla="*/ 5168847 h 5973007"/>
              <a:gd name="connsiteX71702" fmla="*/ 2604232 w 6884782"/>
              <a:gd name="connsiteY71702" fmla="*/ 5168641 h 5973007"/>
              <a:gd name="connsiteX71703" fmla="*/ 2602063 w 6884782"/>
              <a:gd name="connsiteY71703" fmla="*/ 5170809 h 5973007"/>
              <a:gd name="connsiteX71704" fmla="*/ 2601134 w 6884782"/>
              <a:gd name="connsiteY71704" fmla="*/ 5176282 h 5973007"/>
              <a:gd name="connsiteX71705" fmla="*/ 2601444 w 6884782"/>
              <a:gd name="connsiteY71705" fmla="*/ 5180206 h 5973007"/>
              <a:gd name="connsiteX71706" fmla="*/ 2600360 w 6884782"/>
              <a:gd name="connsiteY71706" fmla="*/ 5181857 h 5973007"/>
              <a:gd name="connsiteX71707" fmla="*/ 2595093 w 6884782"/>
              <a:gd name="connsiteY71707" fmla="*/ 5185265 h 5973007"/>
              <a:gd name="connsiteX71708" fmla="*/ 2593699 w 6884782"/>
              <a:gd name="connsiteY71708" fmla="*/ 5181238 h 5973007"/>
              <a:gd name="connsiteX71709" fmla="*/ 2594629 w 6884782"/>
              <a:gd name="connsiteY71709" fmla="*/ 5178037 h 5973007"/>
              <a:gd name="connsiteX71710" fmla="*/ 2594009 w 6884782"/>
              <a:gd name="connsiteY71710" fmla="*/ 5178553 h 5973007"/>
              <a:gd name="connsiteX71711" fmla="*/ 2585954 w 6884782"/>
              <a:gd name="connsiteY71711" fmla="*/ 5180928 h 5973007"/>
              <a:gd name="connsiteX71712" fmla="*/ 2595248 w 6884782"/>
              <a:gd name="connsiteY71712" fmla="*/ 5165750 h 5973007"/>
              <a:gd name="connsiteX71713" fmla="*/ 2602063 w 6884782"/>
              <a:gd name="connsiteY71713" fmla="*/ 5162652 h 5973007"/>
              <a:gd name="connsiteX71714" fmla="*/ 2601134 w 6884782"/>
              <a:gd name="connsiteY71714" fmla="*/ 5159864 h 5973007"/>
              <a:gd name="connsiteX71715" fmla="*/ 2606246 w 6884782"/>
              <a:gd name="connsiteY71715" fmla="*/ 5148506 h 5973007"/>
              <a:gd name="connsiteX71716" fmla="*/ 2608569 w 6884782"/>
              <a:gd name="connsiteY71716" fmla="*/ 5145202 h 5973007"/>
              <a:gd name="connsiteX71717" fmla="*/ 2609963 w 6884782"/>
              <a:gd name="connsiteY71717" fmla="*/ 5142207 h 5973007"/>
              <a:gd name="connsiteX71718" fmla="*/ 2610118 w 6884782"/>
              <a:gd name="connsiteY71718" fmla="*/ 5141897 h 5973007"/>
              <a:gd name="connsiteX71719" fmla="*/ 2610428 w 6884782"/>
              <a:gd name="connsiteY71719" fmla="*/ 5139832 h 5973007"/>
              <a:gd name="connsiteX71720" fmla="*/ 2609344 w 6884782"/>
              <a:gd name="connsiteY71720" fmla="*/ 5141072 h 5973007"/>
              <a:gd name="connsiteX71721" fmla="*/ 2603148 w 6884782"/>
              <a:gd name="connsiteY71721" fmla="*/ 5142723 h 5973007"/>
              <a:gd name="connsiteX71722" fmla="*/ 2597417 w 6884782"/>
              <a:gd name="connsiteY71722" fmla="*/ 5135496 h 5973007"/>
              <a:gd name="connsiteX71723" fmla="*/ 2595558 w 6884782"/>
              <a:gd name="connsiteY71723" fmla="*/ 5135702 h 5973007"/>
              <a:gd name="connsiteX71724" fmla="*/ 2592615 w 6884782"/>
              <a:gd name="connsiteY71724" fmla="*/ 5133637 h 5973007"/>
              <a:gd name="connsiteX71725" fmla="*/ 2593699 w 6884782"/>
              <a:gd name="connsiteY71725" fmla="*/ 5131882 h 5973007"/>
              <a:gd name="connsiteX71726" fmla="*/ 2597417 w 6884782"/>
              <a:gd name="connsiteY71726" fmla="*/ 5133534 h 5973007"/>
              <a:gd name="connsiteX71727" fmla="*/ 2598191 w 6884782"/>
              <a:gd name="connsiteY71727" fmla="*/ 5133120 h 5973007"/>
              <a:gd name="connsiteX71728" fmla="*/ 2598966 w 6884782"/>
              <a:gd name="connsiteY71728" fmla="*/ 5130746 h 5973007"/>
              <a:gd name="connsiteX71729" fmla="*/ 2606246 w 6884782"/>
              <a:gd name="connsiteY71729" fmla="*/ 5126099 h 5973007"/>
              <a:gd name="connsiteX71730" fmla="*/ 2611667 w 6884782"/>
              <a:gd name="connsiteY71730" fmla="*/ 5130333 h 5973007"/>
              <a:gd name="connsiteX71731" fmla="*/ 2612752 w 6884782"/>
              <a:gd name="connsiteY71731" fmla="*/ 5132708 h 5973007"/>
              <a:gd name="connsiteX71732" fmla="*/ 2615384 w 6884782"/>
              <a:gd name="connsiteY71732" fmla="*/ 5128887 h 5973007"/>
              <a:gd name="connsiteX71733" fmla="*/ 2622665 w 6884782"/>
              <a:gd name="connsiteY71733" fmla="*/ 5126822 h 5973007"/>
              <a:gd name="connsiteX71734" fmla="*/ 2624988 w 6884782"/>
              <a:gd name="connsiteY71734" fmla="*/ 5128061 h 5973007"/>
              <a:gd name="connsiteX71735" fmla="*/ 2634747 w 6884782"/>
              <a:gd name="connsiteY71735" fmla="*/ 5124034 h 5973007"/>
              <a:gd name="connsiteX71736" fmla="*/ 2635056 w 6884782"/>
              <a:gd name="connsiteY71736" fmla="*/ 5124034 h 5973007"/>
              <a:gd name="connsiteX71737" fmla="*/ 2636296 w 6884782"/>
              <a:gd name="connsiteY71737" fmla="*/ 5123002 h 5973007"/>
              <a:gd name="connsiteX71738" fmla="*/ 2635831 w 6884782"/>
              <a:gd name="connsiteY71738" fmla="*/ 5121246 h 5973007"/>
              <a:gd name="connsiteX71739" fmla="*/ 2628241 w 6884782"/>
              <a:gd name="connsiteY71739" fmla="*/ 5113295 h 5973007"/>
              <a:gd name="connsiteX71740" fmla="*/ 2633662 w 6884782"/>
              <a:gd name="connsiteY71740" fmla="*/ 5113192 h 5973007"/>
              <a:gd name="connsiteX71741" fmla="*/ 2633043 w 6884782"/>
              <a:gd name="connsiteY71741" fmla="*/ 5112056 h 5973007"/>
              <a:gd name="connsiteX71742" fmla="*/ 2631649 w 6884782"/>
              <a:gd name="connsiteY71742" fmla="*/ 5103693 h 5973007"/>
              <a:gd name="connsiteX71743" fmla="*/ 2631649 w 6884782"/>
              <a:gd name="connsiteY71743" fmla="*/ 5098840 h 5973007"/>
              <a:gd name="connsiteX71744" fmla="*/ 2629945 w 6884782"/>
              <a:gd name="connsiteY71744" fmla="*/ 5100285 h 5973007"/>
              <a:gd name="connsiteX71745" fmla="*/ 2622974 w 6884782"/>
              <a:gd name="connsiteY71745" fmla="*/ 5101937 h 5973007"/>
              <a:gd name="connsiteX71746" fmla="*/ 2622820 w 6884782"/>
              <a:gd name="connsiteY71746" fmla="*/ 5093883 h 5973007"/>
              <a:gd name="connsiteX71747" fmla="*/ 2626537 w 6884782"/>
              <a:gd name="connsiteY71747" fmla="*/ 5090992 h 5973007"/>
              <a:gd name="connsiteX71748" fmla="*/ 2630100 w 6884782"/>
              <a:gd name="connsiteY71748" fmla="*/ 5091405 h 5973007"/>
              <a:gd name="connsiteX71749" fmla="*/ 2631804 w 6884782"/>
              <a:gd name="connsiteY71749" fmla="*/ 5091302 h 5973007"/>
              <a:gd name="connsiteX71750" fmla="*/ 2632114 w 6884782"/>
              <a:gd name="connsiteY71750" fmla="*/ 5082938 h 5973007"/>
              <a:gd name="connsiteX71751" fmla="*/ 2630255 w 6884782"/>
              <a:gd name="connsiteY71751" fmla="*/ 5084900 h 5973007"/>
              <a:gd name="connsiteX71752" fmla="*/ 2625143 w 6884782"/>
              <a:gd name="connsiteY71752" fmla="*/ 5078395 h 5973007"/>
              <a:gd name="connsiteX71753" fmla="*/ 2627759 w 6884782"/>
              <a:gd name="connsiteY71753" fmla="*/ 5073005 h 5973007"/>
              <a:gd name="connsiteX71754" fmla="*/ 2609483 w 6884782"/>
              <a:gd name="connsiteY71754" fmla="*/ 5036040 h 5973007"/>
              <a:gd name="connsiteX71755" fmla="*/ 2606786 w 6884782"/>
              <a:gd name="connsiteY71755" fmla="*/ 5030708 h 5973007"/>
              <a:gd name="connsiteX71756" fmla="*/ 2600534 w 6884782"/>
              <a:gd name="connsiteY71756" fmla="*/ 5036641 h 5973007"/>
              <a:gd name="connsiteX71757" fmla="*/ 2586419 w 6884782"/>
              <a:gd name="connsiteY71757" fmla="*/ 5046385 h 5973007"/>
              <a:gd name="connsiteX71758" fmla="*/ 2577590 w 6884782"/>
              <a:gd name="connsiteY71758" fmla="*/ 5024185 h 5973007"/>
              <a:gd name="connsiteX71759" fmla="*/ 2577125 w 6884782"/>
              <a:gd name="connsiteY71759" fmla="*/ 5021810 h 5973007"/>
              <a:gd name="connsiteX71760" fmla="*/ 2573408 w 6884782"/>
              <a:gd name="connsiteY71760" fmla="*/ 5020571 h 5973007"/>
              <a:gd name="connsiteX71761" fmla="*/ 2572324 w 6884782"/>
              <a:gd name="connsiteY71761" fmla="*/ 5018713 h 5973007"/>
              <a:gd name="connsiteX71762" fmla="*/ 2574337 w 6884782"/>
              <a:gd name="connsiteY71762" fmla="*/ 5017474 h 5973007"/>
              <a:gd name="connsiteX71763" fmla="*/ 2577125 w 6884782"/>
              <a:gd name="connsiteY71763" fmla="*/ 5018713 h 5973007"/>
              <a:gd name="connsiteX71764" fmla="*/ 2577435 w 6884782"/>
              <a:gd name="connsiteY71764" fmla="*/ 5016131 h 5973007"/>
              <a:gd name="connsiteX71765" fmla="*/ 2589758 w 6884782"/>
              <a:gd name="connsiteY71765" fmla="*/ 5003154 h 5973007"/>
              <a:gd name="connsiteX71766" fmla="*/ 2581341 w 6884782"/>
              <a:gd name="connsiteY71766" fmla="*/ 4994453 h 5973007"/>
              <a:gd name="connsiteX71767" fmla="*/ 2567270 w 6884782"/>
              <a:gd name="connsiteY71767" fmla="*/ 4986751 h 5973007"/>
              <a:gd name="connsiteX71768" fmla="*/ 2566872 w 6884782"/>
              <a:gd name="connsiteY71768" fmla="*/ 4986790 h 5973007"/>
              <a:gd name="connsiteX71769" fmla="*/ 2566592 w 6884782"/>
              <a:gd name="connsiteY71769" fmla="*/ 4990524 h 5973007"/>
              <a:gd name="connsiteX71770" fmla="*/ 2564579 w 6884782"/>
              <a:gd name="connsiteY71770" fmla="*/ 4989285 h 5973007"/>
              <a:gd name="connsiteX71771" fmla="*/ 2562410 w 6884782"/>
              <a:gd name="connsiteY71771" fmla="*/ 4992279 h 5973007"/>
              <a:gd name="connsiteX71772" fmla="*/ 2559467 w 6884782"/>
              <a:gd name="connsiteY71772" fmla="*/ 4994138 h 5973007"/>
              <a:gd name="connsiteX71773" fmla="*/ 2558692 w 6884782"/>
              <a:gd name="connsiteY71773" fmla="*/ 4996513 h 5973007"/>
              <a:gd name="connsiteX71774" fmla="*/ 2560861 w 6884782"/>
              <a:gd name="connsiteY71774" fmla="*/ 4995996 h 5973007"/>
              <a:gd name="connsiteX71775" fmla="*/ 2563804 w 6884782"/>
              <a:gd name="connsiteY71775" fmla="*/ 4997545 h 5973007"/>
              <a:gd name="connsiteX71776" fmla="*/ 2558383 w 6884782"/>
              <a:gd name="connsiteY71776" fmla="*/ 5004257 h 5973007"/>
              <a:gd name="connsiteX71777" fmla="*/ 2555749 w 6884782"/>
              <a:gd name="connsiteY71777" fmla="*/ 5001572 h 5973007"/>
              <a:gd name="connsiteX71778" fmla="*/ 2556369 w 6884782"/>
              <a:gd name="connsiteY71778" fmla="*/ 5000333 h 5973007"/>
              <a:gd name="connsiteX71779" fmla="*/ 2553736 w 6884782"/>
              <a:gd name="connsiteY71779" fmla="*/ 5004153 h 5973007"/>
              <a:gd name="connsiteX71780" fmla="*/ 2540415 w 6884782"/>
              <a:gd name="connsiteY71780" fmla="*/ 5009110 h 5973007"/>
              <a:gd name="connsiteX71781" fmla="*/ 2532360 w 6884782"/>
              <a:gd name="connsiteY71781" fmla="*/ 5005806 h 5973007"/>
              <a:gd name="connsiteX71782" fmla="*/ 2528178 w 6884782"/>
              <a:gd name="connsiteY71782" fmla="*/ 5000643 h 5973007"/>
              <a:gd name="connsiteX71783" fmla="*/ 2528067 w 6884782"/>
              <a:gd name="connsiteY71783" fmla="*/ 5000333 h 5973007"/>
              <a:gd name="connsiteX71784" fmla="*/ 2520918 w 6884782"/>
              <a:gd name="connsiteY71784" fmla="*/ 5005233 h 5973007"/>
              <a:gd name="connsiteX71785" fmla="*/ 2511705 w 6884782"/>
              <a:gd name="connsiteY71785" fmla="*/ 5012853 h 5973007"/>
              <a:gd name="connsiteX71786" fmla="*/ 2512534 w 6884782"/>
              <a:gd name="connsiteY71786" fmla="*/ 5015615 h 5973007"/>
              <a:gd name="connsiteX71787" fmla="*/ 2509591 w 6884782"/>
              <a:gd name="connsiteY71787" fmla="*/ 5016957 h 5973007"/>
              <a:gd name="connsiteX71788" fmla="*/ 2507422 w 6884782"/>
              <a:gd name="connsiteY71788" fmla="*/ 5016544 h 5973007"/>
              <a:gd name="connsiteX71789" fmla="*/ 2507380 w 6884782"/>
              <a:gd name="connsiteY71789" fmla="*/ 5016430 h 5973007"/>
              <a:gd name="connsiteX71790" fmla="*/ 2506019 w 6884782"/>
              <a:gd name="connsiteY71790" fmla="*/ 5017556 h 5973007"/>
              <a:gd name="connsiteX71791" fmla="*/ 2490293 w 6884782"/>
              <a:gd name="connsiteY71791" fmla="*/ 5032958 h 5973007"/>
              <a:gd name="connsiteX71792" fmla="*/ 2478704 w 6884782"/>
              <a:gd name="connsiteY71792" fmla="*/ 5048362 h 5973007"/>
              <a:gd name="connsiteX71793" fmla="*/ 2467116 w 6884782"/>
              <a:gd name="connsiteY71793" fmla="*/ 5068384 h 5973007"/>
              <a:gd name="connsiteX71794" fmla="*/ 2455528 w 6884782"/>
              <a:gd name="connsiteY71794" fmla="*/ 5088407 h 5973007"/>
              <a:gd name="connsiteX71795" fmla="*/ 2443113 w 6884782"/>
              <a:gd name="connsiteY71795" fmla="*/ 5113052 h 5973007"/>
              <a:gd name="connsiteX71796" fmla="*/ 2437550 w 6884782"/>
              <a:gd name="connsiteY71796" fmla="*/ 5093501 h 5973007"/>
              <a:gd name="connsiteX71797" fmla="*/ 2434156 w 6884782"/>
              <a:gd name="connsiteY71797" fmla="*/ 5097704 h 5973007"/>
              <a:gd name="connsiteX71798" fmla="*/ 2424552 w 6884782"/>
              <a:gd name="connsiteY71798" fmla="*/ 5095329 h 5973007"/>
              <a:gd name="connsiteX71799" fmla="*/ 2422539 w 6884782"/>
              <a:gd name="connsiteY71799" fmla="*/ 5094606 h 5973007"/>
              <a:gd name="connsiteX71800" fmla="*/ 2424398 w 6884782"/>
              <a:gd name="connsiteY71800" fmla="*/ 5097084 h 5973007"/>
              <a:gd name="connsiteX71801" fmla="*/ 2427650 w 6884782"/>
              <a:gd name="connsiteY71801" fmla="*/ 5111953 h 5973007"/>
              <a:gd name="connsiteX71802" fmla="*/ 2425637 w 6884782"/>
              <a:gd name="connsiteY71802" fmla="*/ 5113605 h 5973007"/>
              <a:gd name="connsiteX71803" fmla="*/ 2420060 w 6884782"/>
              <a:gd name="connsiteY71803" fmla="*/ 5114225 h 5973007"/>
              <a:gd name="connsiteX71804" fmla="*/ 2396981 w 6884782"/>
              <a:gd name="connsiteY71804" fmla="*/ 5085003 h 5973007"/>
              <a:gd name="connsiteX71805" fmla="*/ 2405965 w 6884782"/>
              <a:gd name="connsiteY71805" fmla="*/ 5083868 h 5973007"/>
              <a:gd name="connsiteX71806" fmla="*/ 2406120 w 6884782"/>
              <a:gd name="connsiteY71806" fmla="*/ 5083971 h 5973007"/>
              <a:gd name="connsiteX71807" fmla="*/ 2406430 w 6884782"/>
              <a:gd name="connsiteY71807" fmla="*/ 5081906 h 5973007"/>
              <a:gd name="connsiteX71808" fmla="*/ 2406120 w 6884782"/>
              <a:gd name="connsiteY71808" fmla="*/ 5080357 h 5973007"/>
              <a:gd name="connsiteX71809" fmla="*/ 2404106 w 6884782"/>
              <a:gd name="connsiteY71809" fmla="*/ 5081389 h 5973007"/>
              <a:gd name="connsiteX71810" fmla="*/ 2393109 w 6884782"/>
              <a:gd name="connsiteY71810" fmla="*/ 5077569 h 5973007"/>
              <a:gd name="connsiteX71811" fmla="*/ 2409992 w 6884782"/>
              <a:gd name="connsiteY71811" fmla="*/ 5065694 h 5973007"/>
              <a:gd name="connsiteX71812" fmla="*/ 2412470 w 6884782"/>
              <a:gd name="connsiteY71812" fmla="*/ 5069928 h 5973007"/>
              <a:gd name="connsiteX71813" fmla="*/ 2416033 w 6884782"/>
              <a:gd name="connsiteY71813" fmla="*/ 5068069 h 5973007"/>
              <a:gd name="connsiteX71814" fmla="*/ 2418976 w 6884782"/>
              <a:gd name="connsiteY71814" fmla="*/ 5067656 h 5973007"/>
              <a:gd name="connsiteX71815" fmla="*/ 2418821 w 6884782"/>
              <a:gd name="connsiteY71815" fmla="*/ 5063629 h 5973007"/>
              <a:gd name="connsiteX71816" fmla="*/ 2423933 w 6884782"/>
              <a:gd name="connsiteY71816" fmla="*/ 5064145 h 5973007"/>
              <a:gd name="connsiteX71817" fmla="*/ 2427805 w 6884782"/>
              <a:gd name="connsiteY71817" fmla="*/ 5067450 h 5973007"/>
              <a:gd name="connsiteX71818" fmla="*/ 2428554 w 6884782"/>
              <a:gd name="connsiteY71818" fmla="*/ 5061878 h 5973007"/>
              <a:gd name="connsiteX71819" fmla="*/ 2428214 w 6884782"/>
              <a:gd name="connsiteY71819" fmla="*/ 5060683 h 5973007"/>
              <a:gd name="connsiteX71820" fmla="*/ 2421298 w 6884782"/>
              <a:gd name="connsiteY71820" fmla="*/ 5037518 h 5973007"/>
              <a:gd name="connsiteX71821" fmla="*/ 2420370 w 6884782"/>
              <a:gd name="connsiteY71821" fmla="*/ 5037196 h 5973007"/>
              <a:gd name="connsiteX71822" fmla="*/ 2418666 w 6884782"/>
              <a:gd name="connsiteY71822" fmla="*/ 5040500 h 5973007"/>
              <a:gd name="connsiteX71823" fmla="*/ 2417012 w 6884782"/>
              <a:gd name="connsiteY71823" fmla="*/ 5036768 h 5973007"/>
              <a:gd name="connsiteX71824" fmla="*/ 2395105 w 6884782"/>
              <a:gd name="connsiteY71824" fmla="*/ 5065304 h 5973007"/>
              <a:gd name="connsiteX71825" fmla="*/ 2371101 w 6884782"/>
              <a:gd name="connsiteY71825" fmla="*/ 5099190 h 5973007"/>
              <a:gd name="connsiteX71826" fmla="*/ 2365307 w 6884782"/>
              <a:gd name="connsiteY71826" fmla="*/ 5094569 h 5973007"/>
              <a:gd name="connsiteX71827" fmla="*/ 2359513 w 6884782"/>
              <a:gd name="connsiteY71827" fmla="*/ 5091488 h 5973007"/>
              <a:gd name="connsiteX71828" fmla="*/ 2355375 w 6884782"/>
              <a:gd name="connsiteY71828" fmla="*/ 5083787 h 5973007"/>
              <a:gd name="connsiteX71829" fmla="*/ 2336337 w 6884782"/>
              <a:gd name="connsiteY71829" fmla="*/ 5043740 h 5973007"/>
              <a:gd name="connsiteX71830" fmla="*/ 2315644 w 6884782"/>
              <a:gd name="connsiteY71830" fmla="*/ 5006774 h 5973007"/>
              <a:gd name="connsiteX71831" fmla="*/ 2315386 w 6884782"/>
              <a:gd name="connsiteY71831" fmla="*/ 5006371 h 5973007"/>
              <a:gd name="connsiteX71832" fmla="*/ 2313337 w 6884782"/>
              <a:gd name="connsiteY71832" fmla="*/ 5007045 h 5973007"/>
              <a:gd name="connsiteX71833" fmla="*/ 2314731 w 6884782"/>
              <a:gd name="connsiteY71833" fmla="*/ 5010039 h 5973007"/>
              <a:gd name="connsiteX71834" fmla="*/ 2315351 w 6884782"/>
              <a:gd name="connsiteY71834" fmla="*/ 5015821 h 5973007"/>
              <a:gd name="connsiteX71835" fmla="*/ 2320617 w 6884782"/>
              <a:gd name="connsiteY71835" fmla="*/ 5021294 h 5973007"/>
              <a:gd name="connsiteX71836" fmla="*/ 2315815 w 6884782"/>
              <a:gd name="connsiteY71836" fmla="*/ 5021294 h 5973007"/>
              <a:gd name="connsiteX71837" fmla="*/ 2315970 w 6884782"/>
              <a:gd name="connsiteY71837" fmla="*/ 5022017 h 5973007"/>
              <a:gd name="connsiteX71838" fmla="*/ 2314421 w 6884782"/>
              <a:gd name="connsiteY71838" fmla="*/ 5029761 h 5973007"/>
              <a:gd name="connsiteX71839" fmla="*/ 2308225 w 6884782"/>
              <a:gd name="connsiteY71839" fmla="*/ 5024598 h 5973007"/>
              <a:gd name="connsiteX71840" fmla="*/ 2306366 w 6884782"/>
              <a:gd name="connsiteY71840" fmla="*/ 5017680 h 5973007"/>
              <a:gd name="connsiteX71841" fmla="*/ 2305127 w 6884782"/>
              <a:gd name="connsiteY71841" fmla="*/ 5016648 h 5973007"/>
              <a:gd name="connsiteX71842" fmla="*/ 2302030 w 6884782"/>
              <a:gd name="connsiteY71842" fmla="*/ 5019229 h 5973007"/>
              <a:gd name="connsiteX71843" fmla="*/ 2290723 w 6884782"/>
              <a:gd name="connsiteY71843" fmla="*/ 5022430 h 5973007"/>
              <a:gd name="connsiteX71844" fmla="*/ 2295989 w 6884782"/>
              <a:gd name="connsiteY71844" fmla="*/ 5014582 h 5973007"/>
              <a:gd name="connsiteX71845" fmla="*/ 2300016 w 6884782"/>
              <a:gd name="connsiteY71845" fmla="*/ 5011381 h 5973007"/>
              <a:gd name="connsiteX71846" fmla="*/ 2298467 w 6884782"/>
              <a:gd name="connsiteY71846" fmla="*/ 5009110 h 5973007"/>
              <a:gd name="connsiteX71847" fmla="*/ 2298157 w 6884782"/>
              <a:gd name="connsiteY71847" fmla="*/ 5003844 h 5973007"/>
              <a:gd name="connsiteX71848" fmla="*/ 2303888 w 6884782"/>
              <a:gd name="connsiteY71848" fmla="*/ 5008181 h 5973007"/>
              <a:gd name="connsiteX71849" fmla="*/ 2304043 w 6884782"/>
              <a:gd name="connsiteY71849" fmla="*/ 5008387 h 5973007"/>
              <a:gd name="connsiteX71850" fmla="*/ 2304663 w 6884782"/>
              <a:gd name="connsiteY71850" fmla="*/ 5007871 h 5973007"/>
              <a:gd name="connsiteX71851" fmla="*/ 2306057 w 6884782"/>
              <a:gd name="connsiteY71851" fmla="*/ 5000437 h 5973007"/>
              <a:gd name="connsiteX71852" fmla="*/ 2307141 w 6884782"/>
              <a:gd name="connsiteY71852" fmla="*/ 4999301 h 5973007"/>
              <a:gd name="connsiteX71853" fmla="*/ 2306986 w 6884782"/>
              <a:gd name="connsiteY71853" fmla="*/ 4995067 h 5973007"/>
              <a:gd name="connsiteX71854" fmla="*/ 2308670 w 6884782"/>
              <a:gd name="connsiteY71854" fmla="*/ 4995873 h 5973007"/>
              <a:gd name="connsiteX71855" fmla="*/ 2308076 w 6884782"/>
              <a:gd name="connsiteY71855" fmla="*/ 4994945 h 5973007"/>
              <a:gd name="connsiteX71856" fmla="*/ 2307915 w 6884782"/>
              <a:gd name="connsiteY71856" fmla="*/ 4994964 h 5973007"/>
              <a:gd name="connsiteX71857" fmla="*/ 2307141 w 6884782"/>
              <a:gd name="connsiteY71857" fmla="*/ 4993931 h 5973007"/>
              <a:gd name="connsiteX71858" fmla="*/ 2306985 w 6884782"/>
              <a:gd name="connsiteY71858" fmla="*/ 4993239 h 5973007"/>
              <a:gd name="connsiteX71859" fmla="*/ 2294952 w 6884782"/>
              <a:gd name="connsiteY71859" fmla="*/ 4974429 h 5973007"/>
              <a:gd name="connsiteX71860" fmla="*/ 2274460 w 6884782"/>
              <a:gd name="connsiteY71860" fmla="*/ 4952640 h 5973007"/>
              <a:gd name="connsiteX71861" fmla="*/ 2272445 w 6884782"/>
              <a:gd name="connsiteY71861" fmla="*/ 4952939 h 5973007"/>
              <a:gd name="connsiteX71862" fmla="*/ 2272445 w 6884782"/>
              <a:gd name="connsiteY71862" fmla="*/ 4953248 h 5973007"/>
              <a:gd name="connsiteX71863" fmla="*/ 2269967 w 6884782"/>
              <a:gd name="connsiteY71863" fmla="*/ 4957895 h 5973007"/>
              <a:gd name="connsiteX71864" fmla="*/ 2268572 w 6884782"/>
              <a:gd name="connsiteY71864" fmla="*/ 4958721 h 5973007"/>
              <a:gd name="connsiteX71865" fmla="*/ 2266868 w 6884782"/>
              <a:gd name="connsiteY71865" fmla="*/ 4968840 h 5973007"/>
              <a:gd name="connsiteX71866" fmla="*/ 2259434 w 6884782"/>
              <a:gd name="connsiteY71866" fmla="*/ 4966775 h 5973007"/>
              <a:gd name="connsiteX71867" fmla="*/ 2259589 w 6884782"/>
              <a:gd name="connsiteY71867" fmla="*/ 4960786 h 5973007"/>
              <a:gd name="connsiteX71868" fmla="*/ 2254942 w 6884782"/>
              <a:gd name="connsiteY71868" fmla="*/ 4957482 h 5973007"/>
              <a:gd name="connsiteX71869" fmla="*/ 2260401 w 6884782"/>
              <a:gd name="connsiteY71869" fmla="*/ 4949054 h 5973007"/>
              <a:gd name="connsiteX71870" fmla="*/ 2267537 w 6884782"/>
              <a:gd name="connsiteY71870" fmla="*/ 4946222 h 5973007"/>
              <a:gd name="connsiteX71871" fmla="*/ 2246116 w 6884782"/>
              <a:gd name="connsiteY71871" fmla="*/ 4928221 h 5973007"/>
              <a:gd name="connsiteX71872" fmla="*/ 2241424 w 6884782"/>
              <a:gd name="connsiteY71872" fmla="*/ 4925686 h 5973007"/>
              <a:gd name="connsiteX71873" fmla="*/ 2241155 w 6884782"/>
              <a:gd name="connsiteY71873" fmla="*/ 4926402 h 5973007"/>
              <a:gd name="connsiteX71874" fmla="*/ 2239088 w 6884782"/>
              <a:gd name="connsiteY71874" fmla="*/ 4924424 h 5973007"/>
              <a:gd name="connsiteX71875" fmla="*/ 2220458 w 6884782"/>
              <a:gd name="connsiteY71875" fmla="*/ 4914360 h 5973007"/>
              <a:gd name="connsiteX71876" fmla="*/ 2192315 w 6884782"/>
              <a:gd name="connsiteY71876" fmla="*/ 4905118 h 5973007"/>
              <a:gd name="connsiteX71877" fmla="*/ 2181902 w 6884782"/>
              <a:gd name="connsiteY71877" fmla="*/ 4905118 h 5973007"/>
              <a:gd name="connsiteX71878" fmla="*/ 2175634 w 6884782"/>
              <a:gd name="connsiteY71878" fmla="*/ 4908435 h 5973007"/>
              <a:gd name="connsiteX71879" fmla="*/ 2176630 w 6884782"/>
              <a:gd name="connsiteY71879" fmla="*/ 4905118 h 5973007"/>
              <a:gd name="connsiteX71880" fmla="*/ 2169329 w 6884782"/>
              <a:gd name="connsiteY71880" fmla="*/ 4905118 h 5973007"/>
              <a:gd name="connsiteX71881" fmla="*/ 2173001 w 6884782"/>
              <a:gd name="connsiteY71881" fmla="*/ 4916283 h 5973007"/>
              <a:gd name="connsiteX71882" fmla="*/ 2162158 w 6884782"/>
              <a:gd name="connsiteY71882" fmla="*/ 4912875 h 5973007"/>
              <a:gd name="connsiteX71883" fmla="*/ 2168623 w 6884782"/>
              <a:gd name="connsiteY71883" fmla="*/ 4905118 h 5973007"/>
              <a:gd name="connsiteX71884" fmla="*/ 2162678 w 6884782"/>
              <a:gd name="connsiteY71884" fmla="*/ 4905118 h 5973007"/>
              <a:gd name="connsiteX71885" fmla="*/ 2161694 w 6884782"/>
              <a:gd name="connsiteY71885" fmla="*/ 4906267 h 5973007"/>
              <a:gd name="connsiteX71886" fmla="*/ 2159990 w 6884782"/>
              <a:gd name="connsiteY71886" fmla="*/ 4904615 h 5973007"/>
              <a:gd name="connsiteX71887" fmla="*/ 2159959 w 6884782"/>
              <a:gd name="connsiteY71887" fmla="*/ 4904474 h 5973007"/>
              <a:gd name="connsiteX71888" fmla="*/ 2152235 w 6884782"/>
              <a:gd name="connsiteY71888" fmla="*/ 4901599 h 5973007"/>
              <a:gd name="connsiteX71889" fmla="*/ 2148992 w 6884782"/>
              <a:gd name="connsiteY71889" fmla="*/ 4901414 h 5973007"/>
              <a:gd name="connsiteX71890" fmla="*/ 2147335 w 6884782"/>
              <a:gd name="connsiteY71890" fmla="*/ 4898694 h 5973007"/>
              <a:gd name="connsiteX71891" fmla="*/ 2137686 w 6884782"/>
              <a:gd name="connsiteY71891" fmla="*/ 4889715 h 5973007"/>
              <a:gd name="connsiteX71892" fmla="*/ 2136007 w 6884782"/>
              <a:gd name="connsiteY71892" fmla="*/ 4887632 h 5973007"/>
              <a:gd name="connsiteX71893" fmla="*/ 2135362 w 6884782"/>
              <a:gd name="connsiteY71893" fmla="*/ 4890572 h 5973007"/>
              <a:gd name="connsiteX71894" fmla="*/ 2131799 w 6884782"/>
              <a:gd name="connsiteY71894" fmla="*/ 4887371 h 5973007"/>
              <a:gd name="connsiteX71895" fmla="*/ 2135171 w 6884782"/>
              <a:gd name="connsiteY71895" fmla="*/ 4886596 h 5973007"/>
              <a:gd name="connsiteX71896" fmla="*/ 2125270 w 6884782"/>
              <a:gd name="connsiteY71896" fmla="*/ 4874312 h 5973007"/>
              <a:gd name="connsiteX71897" fmla="*/ 2113682 w 6884782"/>
              <a:gd name="connsiteY71897" fmla="*/ 4855829 h 5973007"/>
              <a:gd name="connsiteX71898" fmla="*/ 2105858 w 6884782"/>
              <a:gd name="connsiteY71898" fmla="*/ 4844181 h 5973007"/>
              <a:gd name="connsiteX71899" fmla="*/ 2099271 w 6884782"/>
              <a:gd name="connsiteY71899" fmla="*/ 4846069 h 5973007"/>
              <a:gd name="connsiteX71900" fmla="*/ 2090752 w 6884782"/>
              <a:gd name="connsiteY71900" fmla="*/ 4842454 h 5973007"/>
              <a:gd name="connsiteX71901" fmla="*/ 2085795 w 6884782"/>
              <a:gd name="connsiteY71901" fmla="*/ 4837085 h 5973007"/>
              <a:gd name="connsiteX71902" fmla="*/ 2085795 w 6884782"/>
              <a:gd name="connsiteY71902" fmla="*/ 4836879 h 5973007"/>
              <a:gd name="connsiteX71903" fmla="*/ 2084710 w 6884782"/>
              <a:gd name="connsiteY71903" fmla="*/ 4837808 h 5973007"/>
              <a:gd name="connsiteX71904" fmla="*/ 2082542 w 6884782"/>
              <a:gd name="connsiteY71904" fmla="*/ 4838531 h 5973007"/>
              <a:gd name="connsiteX71905" fmla="*/ 2082387 w 6884782"/>
              <a:gd name="connsiteY71905" fmla="*/ 4838324 h 5973007"/>
              <a:gd name="connsiteX71906" fmla="*/ 2083627 w 6884782"/>
              <a:gd name="connsiteY71906" fmla="*/ 4844519 h 5973007"/>
              <a:gd name="connsiteX71907" fmla="*/ 2082542 w 6884782"/>
              <a:gd name="connsiteY71907" fmla="*/ 4853296 h 5973007"/>
              <a:gd name="connsiteX71908" fmla="*/ 2080528 w 6884782"/>
              <a:gd name="connsiteY71908" fmla="*/ 4856394 h 5973007"/>
              <a:gd name="connsiteX71909" fmla="*/ 2081303 w 6884782"/>
              <a:gd name="connsiteY71909" fmla="*/ 4858149 h 5973007"/>
              <a:gd name="connsiteX71910" fmla="*/ 2079444 w 6884782"/>
              <a:gd name="connsiteY71910" fmla="*/ 4860008 h 5973007"/>
              <a:gd name="connsiteX71911" fmla="*/ 2077740 w 6884782"/>
              <a:gd name="connsiteY71911" fmla="*/ 4860524 h 5973007"/>
              <a:gd name="connsiteX71912" fmla="*/ 2076036 w 6884782"/>
              <a:gd name="connsiteY71912" fmla="*/ 4863002 h 5973007"/>
              <a:gd name="connsiteX71913" fmla="*/ 2062870 w 6884782"/>
              <a:gd name="connsiteY71913" fmla="*/ 4852780 h 5973007"/>
              <a:gd name="connsiteX71914" fmla="*/ 2060856 w 6884782"/>
              <a:gd name="connsiteY71914" fmla="*/ 4846069 h 5973007"/>
              <a:gd name="connsiteX71915" fmla="*/ 2056674 w 6884782"/>
              <a:gd name="connsiteY71915" fmla="*/ 4847308 h 5973007"/>
              <a:gd name="connsiteX71916" fmla="*/ 2055125 w 6884782"/>
              <a:gd name="connsiteY71916" fmla="*/ 4847101 h 5973007"/>
              <a:gd name="connsiteX71917" fmla="*/ 2054351 w 6884782"/>
              <a:gd name="connsiteY71917" fmla="*/ 4851747 h 5973007"/>
              <a:gd name="connsiteX71918" fmla="*/ 2054661 w 6884782"/>
              <a:gd name="connsiteY71918" fmla="*/ 4858769 h 5973007"/>
              <a:gd name="connsiteX71919" fmla="*/ 2043043 w 6884782"/>
              <a:gd name="connsiteY71919" fmla="*/ 4865894 h 5973007"/>
              <a:gd name="connsiteX71920" fmla="*/ 2048465 w 6884782"/>
              <a:gd name="connsiteY71920" fmla="*/ 4796092 h 5973007"/>
              <a:gd name="connsiteX71921" fmla="*/ 2017640 w 6884782"/>
              <a:gd name="connsiteY71921" fmla="*/ 4796092 h 5973007"/>
              <a:gd name="connsiteX71922" fmla="*/ 2007727 w 6884782"/>
              <a:gd name="connsiteY71922" fmla="*/ 4809103 h 5973007"/>
              <a:gd name="connsiteX71923" fmla="*/ 1996419 w 6884782"/>
              <a:gd name="connsiteY71923" fmla="*/ 4812304 h 5973007"/>
              <a:gd name="connsiteX71924" fmla="*/ 1991927 w 6884782"/>
              <a:gd name="connsiteY71924" fmla="*/ 4786696 h 5973007"/>
              <a:gd name="connsiteX71925" fmla="*/ 1966215 w 6884782"/>
              <a:gd name="connsiteY71925" fmla="*/ 4784838 h 5973007"/>
              <a:gd name="connsiteX71926" fmla="*/ 1960948 w 6884782"/>
              <a:gd name="connsiteY71926" fmla="*/ 4786489 h 5973007"/>
              <a:gd name="connsiteX71927" fmla="*/ 1959399 w 6884782"/>
              <a:gd name="connsiteY71927" fmla="*/ 4791239 h 5973007"/>
              <a:gd name="connsiteX71928" fmla="*/ 1964511 w 6884782"/>
              <a:gd name="connsiteY71928" fmla="*/ 4793098 h 5973007"/>
              <a:gd name="connsiteX71929" fmla="*/ 1966215 w 6884782"/>
              <a:gd name="connsiteY71929" fmla="*/ 4793821 h 5973007"/>
              <a:gd name="connsiteX71930" fmla="*/ 1966060 w 6884782"/>
              <a:gd name="connsiteY71930" fmla="*/ 4792891 h 5973007"/>
              <a:gd name="connsiteX71931" fmla="*/ 1966525 w 6884782"/>
              <a:gd name="connsiteY71931" fmla="*/ 4793924 h 5973007"/>
              <a:gd name="connsiteX71932" fmla="*/ 1971171 w 6884782"/>
              <a:gd name="connsiteY71932" fmla="*/ 4795886 h 5973007"/>
              <a:gd name="connsiteX71933" fmla="*/ 1977367 w 6884782"/>
              <a:gd name="connsiteY71933" fmla="*/ 4804146 h 5973007"/>
              <a:gd name="connsiteX71934" fmla="*/ 1972565 w 6884782"/>
              <a:gd name="connsiteY71934" fmla="*/ 4802907 h 5973007"/>
              <a:gd name="connsiteX71935" fmla="*/ 1968538 w 6884782"/>
              <a:gd name="connsiteY71935" fmla="*/ 4801772 h 5973007"/>
              <a:gd name="connsiteX71936" fmla="*/ 1968384 w 6884782"/>
              <a:gd name="connsiteY71936" fmla="*/ 4802598 h 5973007"/>
              <a:gd name="connsiteX71937" fmla="*/ 1968073 w 6884782"/>
              <a:gd name="connsiteY71937" fmla="*/ 4801668 h 5973007"/>
              <a:gd name="connsiteX71938" fmla="*/ 1966525 w 6884782"/>
              <a:gd name="connsiteY71938" fmla="*/ 4801255 h 5973007"/>
              <a:gd name="connsiteX71939" fmla="*/ 1958780 w 6884782"/>
              <a:gd name="connsiteY71939" fmla="*/ 4794440 h 5973007"/>
              <a:gd name="connsiteX71940" fmla="*/ 1959090 w 6884782"/>
              <a:gd name="connsiteY71940" fmla="*/ 4792169 h 5973007"/>
              <a:gd name="connsiteX71941" fmla="*/ 1958625 w 6884782"/>
              <a:gd name="connsiteY71941" fmla="*/ 4793511 h 5973007"/>
              <a:gd name="connsiteX71942" fmla="*/ 1952739 w 6884782"/>
              <a:gd name="connsiteY71942" fmla="*/ 4800119 h 5973007"/>
              <a:gd name="connsiteX71943" fmla="*/ 1949331 w 6884782"/>
              <a:gd name="connsiteY71943" fmla="*/ 4801668 h 5973007"/>
              <a:gd name="connsiteX71944" fmla="*/ 1947163 w 6884782"/>
              <a:gd name="connsiteY71944" fmla="*/ 4805695 h 5973007"/>
              <a:gd name="connsiteX71945" fmla="*/ 1950260 w 6884782"/>
              <a:gd name="connsiteY71945" fmla="*/ 4805799 h 5973007"/>
              <a:gd name="connsiteX71946" fmla="*/ 1950570 w 6884782"/>
              <a:gd name="connsiteY71946" fmla="*/ 4811271 h 5973007"/>
              <a:gd name="connsiteX71947" fmla="*/ 1944839 w 6884782"/>
              <a:gd name="connsiteY71947" fmla="*/ 4815298 h 5973007"/>
              <a:gd name="connsiteX71948" fmla="*/ 1941896 w 6884782"/>
              <a:gd name="connsiteY71948" fmla="*/ 4814575 h 5973007"/>
              <a:gd name="connsiteX71949" fmla="*/ 1941896 w 6884782"/>
              <a:gd name="connsiteY71949" fmla="*/ 4814162 h 5973007"/>
              <a:gd name="connsiteX71950" fmla="*/ 1936939 w 6884782"/>
              <a:gd name="connsiteY71950" fmla="*/ 4820874 h 5973007"/>
              <a:gd name="connsiteX71951" fmla="*/ 1929039 w 6884782"/>
              <a:gd name="connsiteY71951" fmla="*/ 4828205 h 5973007"/>
              <a:gd name="connsiteX71952" fmla="*/ 1933222 w 6884782"/>
              <a:gd name="connsiteY71952" fmla="*/ 4829651 h 5973007"/>
              <a:gd name="connsiteX71953" fmla="*/ 1942515 w 6884782"/>
              <a:gd name="connsiteY71953" fmla="*/ 4836569 h 5973007"/>
              <a:gd name="connsiteX71954" fmla="*/ 1929349 w 6884782"/>
              <a:gd name="connsiteY71954" fmla="*/ 4836569 h 5973007"/>
              <a:gd name="connsiteX71955" fmla="*/ 1919746 w 6884782"/>
              <a:gd name="connsiteY71955" fmla="*/ 4833058 h 5973007"/>
              <a:gd name="connsiteX71956" fmla="*/ 1920985 w 6884782"/>
              <a:gd name="connsiteY71956" fmla="*/ 4823662 h 5973007"/>
              <a:gd name="connsiteX71957" fmla="*/ 1925787 w 6884782"/>
              <a:gd name="connsiteY71957" fmla="*/ 4826759 h 5973007"/>
              <a:gd name="connsiteX71958" fmla="*/ 1923928 w 6884782"/>
              <a:gd name="connsiteY71958" fmla="*/ 4818912 h 5973007"/>
              <a:gd name="connsiteX71959" fmla="*/ 1925322 w 6884782"/>
              <a:gd name="connsiteY71959" fmla="*/ 4813646 h 5973007"/>
              <a:gd name="connsiteX71960" fmla="*/ 1923773 w 6884782"/>
              <a:gd name="connsiteY71960" fmla="*/ 4814162 h 5973007"/>
              <a:gd name="connsiteX71961" fmla="*/ 1922224 w 6884782"/>
              <a:gd name="connsiteY71961" fmla="*/ 4813440 h 5973007"/>
              <a:gd name="connsiteX71962" fmla="*/ 1921759 w 6884782"/>
              <a:gd name="connsiteY71962" fmla="*/ 4811168 h 5973007"/>
              <a:gd name="connsiteX71963" fmla="*/ 1925167 w 6884782"/>
              <a:gd name="connsiteY71963" fmla="*/ 4808896 h 5973007"/>
              <a:gd name="connsiteX71964" fmla="*/ 1926406 w 6884782"/>
              <a:gd name="connsiteY71964" fmla="*/ 4809103 h 5973007"/>
              <a:gd name="connsiteX71965" fmla="*/ 1927026 w 6884782"/>
              <a:gd name="connsiteY71965" fmla="*/ 4806728 h 5973007"/>
              <a:gd name="connsiteX71966" fmla="*/ 1923928 w 6884782"/>
              <a:gd name="connsiteY71966" fmla="*/ 4803734 h 5973007"/>
              <a:gd name="connsiteX71967" fmla="*/ 1910297 w 6884782"/>
              <a:gd name="connsiteY71967" fmla="*/ 4800842 h 5973007"/>
              <a:gd name="connsiteX71968" fmla="*/ 1895892 w 6884782"/>
              <a:gd name="connsiteY71968" fmla="*/ 4777713 h 5973007"/>
              <a:gd name="connsiteX71969" fmla="*/ 1901313 w 6884782"/>
              <a:gd name="connsiteY71969" fmla="*/ 4747665 h 5973007"/>
              <a:gd name="connsiteX71970" fmla="*/ 1909058 w 6884782"/>
              <a:gd name="connsiteY71970" fmla="*/ 4744154 h 5973007"/>
              <a:gd name="connsiteX71971" fmla="*/ 1912311 w 6884782"/>
              <a:gd name="connsiteY71971" fmla="*/ 4741780 h 5973007"/>
              <a:gd name="connsiteX71972" fmla="*/ 1914169 w 6884782"/>
              <a:gd name="connsiteY71972" fmla="*/ 4730731 h 5973007"/>
              <a:gd name="connsiteX71973" fmla="*/ 1910452 w 6884782"/>
              <a:gd name="connsiteY71973" fmla="*/ 4727427 h 5973007"/>
              <a:gd name="connsiteX71974" fmla="*/ 1909058 w 6884782"/>
              <a:gd name="connsiteY71974" fmla="*/ 4729079 h 5973007"/>
              <a:gd name="connsiteX71975" fmla="*/ 1907044 w 6884782"/>
              <a:gd name="connsiteY71975" fmla="*/ 4729802 h 5973007"/>
              <a:gd name="connsiteX71976" fmla="*/ 1907044 w 6884782"/>
              <a:gd name="connsiteY71976" fmla="*/ 4723090 h 5973007"/>
              <a:gd name="connsiteX71977" fmla="*/ 1908129 w 6884782"/>
              <a:gd name="connsiteY71977" fmla="*/ 4722780 h 5973007"/>
              <a:gd name="connsiteX71978" fmla="*/ 1903482 w 6884782"/>
              <a:gd name="connsiteY71978" fmla="*/ 4719993 h 5973007"/>
              <a:gd name="connsiteX71979" fmla="*/ 1892174 w 6884782"/>
              <a:gd name="connsiteY71979" fmla="*/ 4718960 h 5973007"/>
              <a:gd name="connsiteX71980" fmla="*/ 1889541 w 6884782"/>
              <a:gd name="connsiteY71980" fmla="*/ 4721128 h 5973007"/>
              <a:gd name="connsiteX71981" fmla="*/ 1890935 w 6884782"/>
              <a:gd name="connsiteY71981" fmla="*/ 4722780 h 5973007"/>
              <a:gd name="connsiteX71982" fmla="*/ 1892174 w 6884782"/>
              <a:gd name="connsiteY71982" fmla="*/ 4733622 h 5973007"/>
              <a:gd name="connsiteX71983" fmla="*/ 1890470 w 6884782"/>
              <a:gd name="connsiteY71983" fmla="*/ 4731557 h 5973007"/>
              <a:gd name="connsiteX71984" fmla="*/ 1889231 w 6884782"/>
              <a:gd name="connsiteY71984" fmla="*/ 4725981 h 5973007"/>
              <a:gd name="connsiteX71985" fmla="*/ 1889231 w 6884782"/>
              <a:gd name="connsiteY71985" fmla="*/ 4723194 h 5973007"/>
              <a:gd name="connsiteX71986" fmla="*/ 1889231 w 6884782"/>
              <a:gd name="connsiteY71986" fmla="*/ 4721335 h 5973007"/>
              <a:gd name="connsiteX71987" fmla="*/ 1888457 w 6884782"/>
              <a:gd name="connsiteY71987" fmla="*/ 4722058 h 5973007"/>
              <a:gd name="connsiteX71988" fmla="*/ 1889231 w 6884782"/>
              <a:gd name="connsiteY71988" fmla="*/ 4723194 h 5973007"/>
              <a:gd name="connsiteX71989" fmla="*/ 1887218 w 6884782"/>
              <a:gd name="connsiteY71989" fmla="*/ 4722987 h 5973007"/>
              <a:gd name="connsiteX71990" fmla="*/ 1886443 w 6884782"/>
              <a:gd name="connsiteY71990" fmla="*/ 4723607 h 5973007"/>
              <a:gd name="connsiteX71991" fmla="*/ 1883965 w 6884782"/>
              <a:gd name="connsiteY71991" fmla="*/ 4727427 h 5973007"/>
              <a:gd name="connsiteX71992" fmla="*/ 1874826 w 6884782"/>
              <a:gd name="connsiteY71992" fmla="*/ 4732590 h 5973007"/>
              <a:gd name="connsiteX71993" fmla="*/ 1868476 w 6884782"/>
              <a:gd name="connsiteY71993" fmla="*/ 4728356 h 5973007"/>
              <a:gd name="connsiteX71994" fmla="*/ 1871418 w 6884782"/>
              <a:gd name="connsiteY71994" fmla="*/ 4718753 h 5973007"/>
              <a:gd name="connsiteX71995" fmla="*/ 1872348 w 6884782"/>
              <a:gd name="connsiteY71995" fmla="*/ 4718134 h 5973007"/>
              <a:gd name="connsiteX71996" fmla="*/ 1873742 w 6884782"/>
              <a:gd name="connsiteY71996" fmla="*/ 4717102 h 5973007"/>
              <a:gd name="connsiteX71997" fmla="*/ 1872193 w 6884782"/>
              <a:gd name="connsiteY71997" fmla="*/ 4715449 h 5973007"/>
              <a:gd name="connsiteX71998" fmla="*/ 1876375 w 6884782"/>
              <a:gd name="connsiteY71998" fmla="*/ 4715036 h 5973007"/>
              <a:gd name="connsiteX71999" fmla="*/ 1878389 w 6884782"/>
              <a:gd name="connsiteY71999" fmla="*/ 4713384 h 5973007"/>
              <a:gd name="connsiteX72000" fmla="*/ 1883035 w 6884782"/>
              <a:gd name="connsiteY72000" fmla="*/ 4711732 h 5973007"/>
              <a:gd name="connsiteX72001" fmla="*/ 1883191 w 6884782"/>
              <a:gd name="connsiteY72001" fmla="*/ 4711526 h 5973007"/>
              <a:gd name="connsiteX72002" fmla="*/ 1881022 w 6884782"/>
              <a:gd name="connsiteY72002" fmla="*/ 4707602 h 5973007"/>
              <a:gd name="connsiteX72003" fmla="*/ 1881022 w 6884782"/>
              <a:gd name="connsiteY72003" fmla="*/ 4705846 h 5973007"/>
              <a:gd name="connsiteX72004" fmla="*/ 1880867 w 6884782"/>
              <a:gd name="connsiteY72004" fmla="*/ 4705846 h 5973007"/>
              <a:gd name="connsiteX72005" fmla="*/ 1881177 w 6884782"/>
              <a:gd name="connsiteY72005" fmla="*/ 4705537 h 5973007"/>
              <a:gd name="connsiteX72006" fmla="*/ 1881177 w 6884782"/>
              <a:gd name="connsiteY72006" fmla="*/ 4704814 h 5973007"/>
              <a:gd name="connsiteX72007" fmla="*/ 1880402 w 6884782"/>
              <a:gd name="connsiteY72007" fmla="*/ 4705124 h 5973007"/>
              <a:gd name="connsiteX72008" fmla="*/ 1874981 w 6884782"/>
              <a:gd name="connsiteY72008" fmla="*/ 4704504 h 5973007"/>
              <a:gd name="connsiteX72009" fmla="*/ 1877304 w 6884782"/>
              <a:gd name="connsiteY72009" fmla="*/ 4699548 h 5973007"/>
              <a:gd name="connsiteX72010" fmla="*/ 1877924 w 6884782"/>
              <a:gd name="connsiteY72010" fmla="*/ 4699754 h 5973007"/>
              <a:gd name="connsiteX72011" fmla="*/ 1878079 w 6884782"/>
              <a:gd name="connsiteY72011" fmla="*/ 4699548 h 5973007"/>
              <a:gd name="connsiteX72012" fmla="*/ 1878698 w 6884782"/>
              <a:gd name="connsiteY72012" fmla="*/ 4697379 h 5973007"/>
              <a:gd name="connsiteX72013" fmla="*/ 1881796 w 6884782"/>
              <a:gd name="connsiteY72013" fmla="*/ 4698515 h 5973007"/>
              <a:gd name="connsiteX72014" fmla="*/ 1882261 w 6884782"/>
              <a:gd name="connsiteY72014" fmla="*/ 4699445 h 5973007"/>
              <a:gd name="connsiteX72015" fmla="*/ 1882571 w 6884782"/>
              <a:gd name="connsiteY72015" fmla="*/ 4699341 h 5973007"/>
              <a:gd name="connsiteX72016" fmla="*/ 1883346 w 6884782"/>
              <a:gd name="connsiteY72016" fmla="*/ 4697896 h 5973007"/>
              <a:gd name="connsiteX72017" fmla="*/ 1882880 w 6884782"/>
              <a:gd name="connsiteY72017" fmla="*/ 4696244 h 5973007"/>
              <a:gd name="connsiteX72018" fmla="*/ 1884430 w 6884782"/>
              <a:gd name="connsiteY72018" fmla="*/ 4695934 h 5973007"/>
              <a:gd name="connsiteX72019" fmla="*/ 1882261 w 6884782"/>
              <a:gd name="connsiteY72019" fmla="*/ 4694178 h 5973007"/>
              <a:gd name="connsiteX72020" fmla="*/ 1878234 w 6884782"/>
              <a:gd name="connsiteY72020" fmla="*/ 4692320 h 5973007"/>
              <a:gd name="connsiteX72021" fmla="*/ 1877459 w 6884782"/>
              <a:gd name="connsiteY72021" fmla="*/ 4693043 h 5973007"/>
              <a:gd name="connsiteX72022" fmla="*/ 1872193 w 6884782"/>
              <a:gd name="connsiteY72022" fmla="*/ 4693766 h 5973007"/>
              <a:gd name="connsiteX72023" fmla="*/ 1871418 w 6884782"/>
              <a:gd name="connsiteY72023" fmla="*/ 4690255 h 5973007"/>
              <a:gd name="connsiteX72024" fmla="*/ 1869869 w 6884782"/>
              <a:gd name="connsiteY72024" fmla="*/ 4689945 h 5973007"/>
              <a:gd name="connsiteX72025" fmla="*/ 1860576 w 6884782"/>
              <a:gd name="connsiteY72025" fmla="*/ 4688912 h 5973007"/>
              <a:gd name="connsiteX72026" fmla="*/ 1867081 w 6884782"/>
              <a:gd name="connsiteY72026" fmla="*/ 4665989 h 5973007"/>
              <a:gd name="connsiteX72027" fmla="*/ 1864758 w 6884782"/>
              <a:gd name="connsiteY72027" fmla="*/ 4661653 h 5973007"/>
              <a:gd name="connsiteX72028" fmla="*/ 1863983 w 6884782"/>
              <a:gd name="connsiteY72028" fmla="*/ 4662685 h 5973007"/>
              <a:gd name="connsiteX72029" fmla="*/ 1862434 w 6884782"/>
              <a:gd name="connsiteY72029" fmla="*/ 4664234 h 5973007"/>
              <a:gd name="connsiteX72030" fmla="*/ 1861660 w 6884782"/>
              <a:gd name="connsiteY72030" fmla="*/ 4665989 h 5973007"/>
              <a:gd name="connsiteX72031" fmla="*/ 1858562 w 6884782"/>
              <a:gd name="connsiteY72031" fmla="*/ 4667538 h 5973007"/>
              <a:gd name="connsiteX72032" fmla="*/ 1859181 w 6884782"/>
              <a:gd name="connsiteY72032" fmla="*/ 4665886 h 5973007"/>
              <a:gd name="connsiteX72033" fmla="*/ 1860731 w 6884782"/>
              <a:gd name="connsiteY72033" fmla="*/ 4664234 h 5973007"/>
              <a:gd name="connsiteX72034" fmla="*/ 1860731 w 6884782"/>
              <a:gd name="connsiteY72034" fmla="*/ 4662582 h 5973007"/>
              <a:gd name="connsiteX72035" fmla="*/ 1862744 w 6884782"/>
              <a:gd name="connsiteY72035" fmla="*/ 4659691 h 5973007"/>
              <a:gd name="connsiteX72036" fmla="*/ 1862124 w 6884782"/>
              <a:gd name="connsiteY72036" fmla="*/ 4659588 h 5973007"/>
              <a:gd name="connsiteX72037" fmla="*/ 1856393 w 6884782"/>
              <a:gd name="connsiteY72037" fmla="*/ 4658452 h 5973007"/>
              <a:gd name="connsiteX72038" fmla="*/ 1848803 w 6884782"/>
              <a:gd name="connsiteY72038" fmla="*/ 4662376 h 5973007"/>
              <a:gd name="connsiteX72039" fmla="*/ 1831610 w 6884782"/>
              <a:gd name="connsiteY72039" fmla="*/ 4663718 h 5973007"/>
              <a:gd name="connsiteX72040" fmla="*/ 1832229 w 6884782"/>
              <a:gd name="connsiteY72040" fmla="*/ 4655974 h 5973007"/>
              <a:gd name="connsiteX72041" fmla="*/ 1838425 w 6884782"/>
              <a:gd name="connsiteY72041" fmla="*/ 4650811 h 5973007"/>
              <a:gd name="connsiteX72042" fmla="*/ 1838116 w 6884782"/>
              <a:gd name="connsiteY72042" fmla="*/ 4650501 h 5973007"/>
              <a:gd name="connsiteX72043" fmla="*/ 1836567 w 6884782"/>
              <a:gd name="connsiteY72043" fmla="*/ 4645958 h 5973007"/>
              <a:gd name="connsiteX72044" fmla="*/ 1836722 w 6884782"/>
              <a:gd name="connsiteY72044" fmla="*/ 4642137 h 5973007"/>
              <a:gd name="connsiteX72045" fmla="*/ 1835792 w 6884782"/>
              <a:gd name="connsiteY72045" fmla="*/ 4643273 h 5973007"/>
              <a:gd name="connsiteX72046" fmla="*/ 1833933 w 6884782"/>
              <a:gd name="connsiteY72046" fmla="*/ 4644719 h 5973007"/>
              <a:gd name="connsiteX72047" fmla="*/ 1835483 w 6884782"/>
              <a:gd name="connsiteY72047" fmla="*/ 4643067 h 5973007"/>
              <a:gd name="connsiteX72048" fmla="*/ 1835327 w 6884782"/>
              <a:gd name="connsiteY72048" fmla="*/ 4641208 h 5973007"/>
              <a:gd name="connsiteX72049" fmla="*/ 1836256 w 6884782"/>
              <a:gd name="connsiteY72049" fmla="*/ 4640588 h 5973007"/>
              <a:gd name="connsiteX72050" fmla="*/ 1836876 w 6884782"/>
              <a:gd name="connsiteY72050" fmla="*/ 4640485 h 5973007"/>
              <a:gd name="connsiteX72051" fmla="*/ 1838890 w 6884782"/>
              <a:gd name="connsiteY72051" fmla="*/ 4635736 h 5973007"/>
              <a:gd name="connsiteX72052" fmla="*/ 1842298 w 6884782"/>
              <a:gd name="connsiteY72052" fmla="*/ 4631605 h 5973007"/>
              <a:gd name="connsiteX72053" fmla="*/ 1842298 w 6884782"/>
              <a:gd name="connsiteY72053" fmla="*/ 4631502 h 5973007"/>
              <a:gd name="connsiteX72054" fmla="*/ 1843692 w 6884782"/>
              <a:gd name="connsiteY72054" fmla="*/ 4629850 h 5973007"/>
              <a:gd name="connsiteX72055" fmla="*/ 1849733 w 6884782"/>
              <a:gd name="connsiteY72055" fmla="*/ 4625513 h 5973007"/>
              <a:gd name="connsiteX72056" fmla="*/ 1852366 w 6884782"/>
              <a:gd name="connsiteY72056" fmla="*/ 4624584 h 5973007"/>
              <a:gd name="connsiteX72057" fmla="*/ 1851281 w 6884782"/>
              <a:gd name="connsiteY72057" fmla="*/ 4621176 h 5973007"/>
              <a:gd name="connsiteX72058" fmla="*/ 1847100 w 6884782"/>
              <a:gd name="connsiteY72058" fmla="*/ 4616840 h 5973007"/>
              <a:gd name="connsiteX72059" fmla="*/ 1845396 w 6884782"/>
              <a:gd name="connsiteY72059" fmla="*/ 4617252 h 5973007"/>
              <a:gd name="connsiteX72060" fmla="*/ 1845086 w 6884782"/>
              <a:gd name="connsiteY72060" fmla="*/ 4617252 h 5973007"/>
              <a:gd name="connsiteX72061" fmla="*/ 1845086 w 6884782"/>
              <a:gd name="connsiteY72061" fmla="*/ 4618079 h 5973007"/>
              <a:gd name="connsiteX72062" fmla="*/ 1846015 w 6884782"/>
              <a:gd name="connsiteY72062" fmla="*/ 4618492 h 5973007"/>
              <a:gd name="connsiteX72063" fmla="*/ 1845396 w 6884782"/>
              <a:gd name="connsiteY72063" fmla="*/ 4619008 h 5973007"/>
              <a:gd name="connsiteX72064" fmla="*/ 1845241 w 6884782"/>
              <a:gd name="connsiteY72064" fmla="*/ 4620144 h 5973007"/>
              <a:gd name="connsiteX72065" fmla="*/ 1841523 w 6884782"/>
              <a:gd name="connsiteY72065" fmla="*/ 4620453 h 5973007"/>
              <a:gd name="connsiteX72066" fmla="*/ 1841368 w 6884782"/>
              <a:gd name="connsiteY72066" fmla="*/ 4620453 h 5973007"/>
              <a:gd name="connsiteX72067" fmla="*/ 1837960 w 6884782"/>
              <a:gd name="connsiteY72067" fmla="*/ 4626752 h 5973007"/>
              <a:gd name="connsiteX72068" fmla="*/ 1836256 w 6884782"/>
              <a:gd name="connsiteY72068" fmla="*/ 4627785 h 5973007"/>
              <a:gd name="connsiteX72069" fmla="*/ 1835637 w 6884782"/>
              <a:gd name="connsiteY72069" fmla="*/ 4629540 h 5973007"/>
              <a:gd name="connsiteX72070" fmla="*/ 1834863 w 6884782"/>
              <a:gd name="connsiteY72070" fmla="*/ 4628508 h 5973007"/>
              <a:gd name="connsiteX72071" fmla="*/ 1834708 w 6884782"/>
              <a:gd name="connsiteY72071" fmla="*/ 4628714 h 5973007"/>
              <a:gd name="connsiteX72072" fmla="*/ 1834553 w 6884782"/>
              <a:gd name="connsiteY72072" fmla="*/ 4628301 h 5973007"/>
              <a:gd name="connsiteX72073" fmla="*/ 1833933 w 6884782"/>
              <a:gd name="connsiteY72073" fmla="*/ 4628508 h 5973007"/>
              <a:gd name="connsiteX72074" fmla="*/ 1832075 w 6884782"/>
              <a:gd name="connsiteY72074" fmla="*/ 4627785 h 5973007"/>
              <a:gd name="connsiteX72075" fmla="*/ 1832229 w 6884782"/>
              <a:gd name="connsiteY72075" fmla="*/ 4623551 h 5973007"/>
              <a:gd name="connsiteX72076" fmla="*/ 1836412 w 6884782"/>
              <a:gd name="connsiteY72076" fmla="*/ 4621486 h 5973007"/>
              <a:gd name="connsiteX72077" fmla="*/ 1838890 w 6884782"/>
              <a:gd name="connsiteY72077" fmla="*/ 4619628 h 5973007"/>
              <a:gd name="connsiteX72078" fmla="*/ 1840903 w 6884782"/>
              <a:gd name="connsiteY72078" fmla="*/ 4620247 h 5973007"/>
              <a:gd name="connsiteX72079" fmla="*/ 1839664 w 6884782"/>
              <a:gd name="connsiteY72079" fmla="*/ 4619524 h 5973007"/>
              <a:gd name="connsiteX72080" fmla="*/ 1838890 w 6884782"/>
              <a:gd name="connsiteY72080" fmla="*/ 4617975 h 5973007"/>
              <a:gd name="connsiteX72081" fmla="*/ 1839664 w 6884782"/>
              <a:gd name="connsiteY72081" fmla="*/ 4616323 h 5973007"/>
              <a:gd name="connsiteX72082" fmla="*/ 1840749 w 6884782"/>
              <a:gd name="connsiteY72082" fmla="*/ 4614981 h 5973007"/>
              <a:gd name="connsiteX72083" fmla="*/ 1835792 w 6884782"/>
              <a:gd name="connsiteY72083" fmla="*/ 4617252 h 5973007"/>
              <a:gd name="connsiteX72084" fmla="*/ 1837960 w 6884782"/>
              <a:gd name="connsiteY72084" fmla="*/ 4610231 h 5973007"/>
              <a:gd name="connsiteX72085" fmla="*/ 1835483 w 6884782"/>
              <a:gd name="connsiteY72085" fmla="*/ 4608785 h 5973007"/>
              <a:gd name="connsiteX72086" fmla="*/ 1835017 w 6884782"/>
              <a:gd name="connsiteY72086" fmla="*/ 4609921 h 5973007"/>
              <a:gd name="connsiteX72087" fmla="*/ 1834088 w 6884782"/>
              <a:gd name="connsiteY72087" fmla="*/ 4609095 h 5973007"/>
              <a:gd name="connsiteX72088" fmla="*/ 1834244 w 6884782"/>
              <a:gd name="connsiteY72088" fmla="*/ 4608373 h 5973007"/>
              <a:gd name="connsiteX72089" fmla="*/ 1827273 w 6884782"/>
              <a:gd name="connsiteY72089" fmla="*/ 4606720 h 5973007"/>
              <a:gd name="connsiteX72090" fmla="*/ 1819528 w 6884782"/>
              <a:gd name="connsiteY72090" fmla="*/ 4605998 h 5973007"/>
              <a:gd name="connsiteX72091" fmla="*/ 1816585 w 6884782"/>
              <a:gd name="connsiteY72091" fmla="*/ 4605378 h 5973007"/>
              <a:gd name="connsiteX72092" fmla="*/ 1817669 w 6884782"/>
              <a:gd name="connsiteY72092" fmla="*/ 4608682 h 5973007"/>
              <a:gd name="connsiteX72093" fmla="*/ 1817979 w 6884782"/>
              <a:gd name="connsiteY72093" fmla="*/ 4609508 h 5973007"/>
              <a:gd name="connsiteX72094" fmla="*/ 1819992 w 6884782"/>
              <a:gd name="connsiteY72094" fmla="*/ 4609612 h 5973007"/>
              <a:gd name="connsiteX72095" fmla="*/ 1823710 w 6884782"/>
              <a:gd name="connsiteY72095" fmla="*/ 4614258 h 5973007"/>
              <a:gd name="connsiteX72096" fmla="*/ 1822316 w 6884782"/>
              <a:gd name="connsiteY72096" fmla="*/ 4615601 h 5973007"/>
              <a:gd name="connsiteX72097" fmla="*/ 1819992 w 6884782"/>
              <a:gd name="connsiteY72097" fmla="*/ 4616117 h 5973007"/>
              <a:gd name="connsiteX72098" fmla="*/ 1820922 w 6884782"/>
              <a:gd name="connsiteY72098" fmla="*/ 4619731 h 5973007"/>
              <a:gd name="connsiteX72099" fmla="*/ 1822626 w 6884782"/>
              <a:gd name="connsiteY72099" fmla="*/ 4621589 h 5973007"/>
              <a:gd name="connsiteX72100" fmla="*/ 1822781 w 6884782"/>
              <a:gd name="connsiteY72100" fmla="*/ 4622312 h 5973007"/>
              <a:gd name="connsiteX72101" fmla="*/ 1823710 w 6884782"/>
              <a:gd name="connsiteY72101" fmla="*/ 4622622 h 5973007"/>
              <a:gd name="connsiteX72102" fmla="*/ 1823710 w 6884782"/>
              <a:gd name="connsiteY72102" fmla="*/ 4623345 h 5973007"/>
              <a:gd name="connsiteX72103" fmla="*/ 1822935 w 6884782"/>
              <a:gd name="connsiteY72103" fmla="*/ 4622932 h 5973007"/>
              <a:gd name="connsiteX72104" fmla="*/ 1823091 w 6884782"/>
              <a:gd name="connsiteY72104" fmla="*/ 4623861 h 5973007"/>
              <a:gd name="connsiteX72105" fmla="*/ 1823865 w 6884782"/>
              <a:gd name="connsiteY72105" fmla="*/ 4623551 h 5973007"/>
              <a:gd name="connsiteX72106" fmla="*/ 1823555 w 6884782"/>
              <a:gd name="connsiteY72106" fmla="*/ 4625410 h 5973007"/>
              <a:gd name="connsiteX72107" fmla="*/ 1823246 w 6884782"/>
              <a:gd name="connsiteY72107" fmla="*/ 4625100 h 5973007"/>
              <a:gd name="connsiteX72108" fmla="*/ 1823091 w 6884782"/>
              <a:gd name="connsiteY72108" fmla="*/ 4624274 h 5973007"/>
              <a:gd name="connsiteX72109" fmla="*/ 1821387 w 6884782"/>
              <a:gd name="connsiteY72109" fmla="*/ 4626959 h 5973007"/>
              <a:gd name="connsiteX72110" fmla="*/ 1817669 w 6884782"/>
              <a:gd name="connsiteY72110" fmla="*/ 4627888 h 5973007"/>
              <a:gd name="connsiteX72111" fmla="*/ 1812712 w 6884782"/>
              <a:gd name="connsiteY72111" fmla="*/ 4625513 h 5973007"/>
              <a:gd name="connsiteX72112" fmla="*/ 1817204 w 6884782"/>
              <a:gd name="connsiteY72112" fmla="*/ 4618698 h 5973007"/>
              <a:gd name="connsiteX72113" fmla="*/ 1817359 w 6884782"/>
              <a:gd name="connsiteY72113" fmla="*/ 4618698 h 5973007"/>
              <a:gd name="connsiteX72114" fmla="*/ 1817359 w 6884782"/>
              <a:gd name="connsiteY72114" fmla="*/ 4618492 h 5973007"/>
              <a:gd name="connsiteX72115" fmla="*/ 1815036 w 6884782"/>
              <a:gd name="connsiteY72115" fmla="*/ 4613536 h 5973007"/>
              <a:gd name="connsiteX72116" fmla="*/ 1815036 w 6884782"/>
              <a:gd name="connsiteY72116" fmla="*/ 4612813 h 5973007"/>
              <a:gd name="connsiteX72117" fmla="*/ 1813177 w 6884782"/>
              <a:gd name="connsiteY72117" fmla="*/ 4611986 h 5973007"/>
              <a:gd name="connsiteX72118" fmla="*/ 1812712 w 6884782"/>
              <a:gd name="connsiteY72118" fmla="*/ 4609508 h 5973007"/>
              <a:gd name="connsiteX72119" fmla="*/ 1814416 w 6884782"/>
              <a:gd name="connsiteY72119" fmla="*/ 4609508 h 5973007"/>
              <a:gd name="connsiteX72120" fmla="*/ 1814416 w 6884782"/>
              <a:gd name="connsiteY72120" fmla="*/ 4609405 h 5973007"/>
              <a:gd name="connsiteX72121" fmla="*/ 1814261 w 6884782"/>
              <a:gd name="connsiteY72121" fmla="*/ 4608373 h 5973007"/>
              <a:gd name="connsiteX72122" fmla="*/ 1813952 w 6884782"/>
              <a:gd name="connsiteY72122" fmla="*/ 4606411 h 5973007"/>
              <a:gd name="connsiteX72123" fmla="*/ 1814416 w 6884782"/>
              <a:gd name="connsiteY72123" fmla="*/ 4604965 h 5973007"/>
              <a:gd name="connsiteX72124" fmla="*/ 1809924 w 6884782"/>
              <a:gd name="connsiteY72124" fmla="*/ 4603933 h 5973007"/>
              <a:gd name="connsiteX72125" fmla="*/ 1816895 w 6884782"/>
              <a:gd name="connsiteY72125" fmla="*/ 4598563 h 5973007"/>
              <a:gd name="connsiteX72126" fmla="*/ 1819373 w 6884782"/>
              <a:gd name="connsiteY72126" fmla="*/ 4594846 h 5973007"/>
              <a:gd name="connsiteX72127" fmla="*/ 1799856 w 6884782"/>
              <a:gd name="connsiteY72127" fmla="*/ 4589683 h 5973007"/>
              <a:gd name="connsiteX72128" fmla="*/ 1811628 w 6884782"/>
              <a:gd name="connsiteY72128" fmla="*/ 4587102 h 5973007"/>
              <a:gd name="connsiteX72129" fmla="*/ 1807137 w 6884782"/>
              <a:gd name="connsiteY72129" fmla="*/ 4583591 h 5973007"/>
              <a:gd name="connsiteX72130" fmla="*/ 1818444 w 6884782"/>
              <a:gd name="connsiteY72130" fmla="*/ 4571510 h 5973007"/>
              <a:gd name="connsiteX72131" fmla="*/ 1827273 w 6884782"/>
              <a:gd name="connsiteY72131" fmla="*/ 4568103 h 5973007"/>
              <a:gd name="connsiteX72132" fmla="*/ 1828512 w 6884782"/>
              <a:gd name="connsiteY72132" fmla="*/ 4564179 h 5973007"/>
              <a:gd name="connsiteX72133" fmla="*/ 1831610 w 6884782"/>
              <a:gd name="connsiteY72133" fmla="*/ 4562837 h 5973007"/>
              <a:gd name="connsiteX72134" fmla="*/ 1831610 w 6884782"/>
              <a:gd name="connsiteY72134" fmla="*/ 4562734 h 5973007"/>
              <a:gd name="connsiteX72135" fmla="*/ 1831765 w 6884782"/>
              <a:gd name="connsiteY72135" fmla="*/ 4562837 h 5973007"/>
              <a:gd name="connsiteX72136" fmla="*/ 1832539 w 6884782"/>
              <a:gd name="connsiteY72136" fmla="*/ 4562424 h 5973007"/>
              <a:gd name="connsiteX72137" fmla="*/ 1846635 w 6884782"/>
              <a:gd name="connsiteY72137" fmla="*/ 4557571 h 5973007"/>
              <a:gd name="connsiteX72138" fmla="*/ 1849888 w 6884782"/>
              <a:gd name="connsiteY72138" fmla="*/ 4554060 h 5973007"/>
              <a:gd name="connsiteX72139" fmla="*/ 1853296 w 6884782"/>
              <a:gd name="connsiteY72139" fmla="*/ 4549620 h 5973007"/>
              <a:gd name="connsiteX72140" fmla="*/ 1852676 w 6884782"/>
              <a:gd name="connsiteY72140" fmla="*/ 4547658 h 5973007"/>
              <a:gd name="connsiteX72141" fmla="*/ 1853450 w 6884782"/>
              <a:gd name="connsiteY72141" fmla="*/ 4546419 h 5973007"/>
              <a:gd name="connsiteX72142" fmla="*/ 1848184 w 6884782"/>
              <a:gd name="connsiteY72142" fmla="*/ 4547451 h 5973007"/>
              <a:gd name="connsiteX72143" fmla="*/ 1831145 w 6884782"/>
              <a:gd name="connsiteY72143" fmla="*/ 4544664 h 5973007"/>
              <a:gd name="connsiteX72144" fmla="*/ 1819992 w 6884782"/>
              <a:gd name="connsiteY72144" fmla="*/ 4527110 h 5973007"/>
              <a:gd name="connsiteX72145" fmla="*/ 1820612 w 6884782"/>
              <a:gd name="connsiteY72145" fmla="*/ 4519572 h 5973007"/>
              <a:gd name="connsiteX72146" fmla="*/ 1818753 w 6884782"/>
              <a:gd name="connsiteY72146" fmla="*/ 4518849 h 5973007"/>
              <a:gd name="connsiteX72147" fmla="*/ 1819373 w 6884782"/>
              <a:gd name="connsiteY72147" fmla="*/ 4511002 h 5973007"/>
              <a:gd name="connsiteX72148" fmla="*/ 1820768 w 6884782"/>
              <a:gd name="connsiteY72148" fmla="*/ 4511208 h 5973007"/>
              <a:gd name="connsiteX72149" fmla="*/ 1821696 w 6884782"/>
              <a:gd name="connsiteY72149" fmla="*/ 4511312 h 5973007"/>
              <a:gd name="connsiteX72150" fmla="*/ 1822316 w 6884782"/>
              <a:gd name="connsiteY72150" fmla="*/ 4508627 h 5973007"/>
              <a:gd name="connsiteX72151" fmla="*/ 1819992 w 6884782"/>
              <a:gd name="connsiteY72151" fmla="*/ 4505013 h 5973007"/>
              <a:gd name="connsiteX72152" fmla="*/ 1823401 w 6884782"/>
              <a:gd name="connsiteY72152" fmla="*/ 4504290 h 5973007"/>
              <a:gd name="connsiteX72153" fmla="*/ 1823865 w 6884782"/>
              <a:gd name="connsiteY72153" fmla="*/ 4502329 h 5973007"/>
              <a:gd name="connsiteX72154" fmla="*/ 1826654 w 6884782"/>
              <a:gd name="connsiteY72154" fmla="*/ 4496959 h 5973007"/>
              <a:gd name="connsiteX72155" fmla="*/ 1826189 w 6884782"/>
              <a:gd name="connsiteY72155" fmla="*/ 4496649 h 5973007"/>
              <a:gd name="connsiteX72156" fmla="*/ 1826189 w 6884782"/>
              <a:gd name="connsiteY72156" fmla="*/ 4494068 h 5973007"/>
              <a:gd name="connsiteX72157" fmla="*/ 1829596 w 6884782"/>
              <a:gd name="connsiteY72157" fmla="*/ 4491486 h 5973007"/>
              <a:gd name="connsiteX72158" fmla="*/ 1829906 w 6884782"/>
              <a:gd name="connsiteY72158" fmla="*/ 4490764 h 5973007"/>
              <a:gd name="connsiteX72159" fmla="*/ 1839355 w 6884782"/>
              <a:gd name="connsiteY72159" fmla="*/ 4481987 h 5973007"/>
              <a:gd name="connsiteX72160" fmla="*/ 1848029 w 6884782"/>
              <a:gd name="connsiteY72160" fmla="*/ 4478476 h 5973007"/>
              <a:gd name="connsiteX72161" fmla="*/ 1851127 w 6884782"/>
              <a:gd name="connsiteY72161" fmla="*/ 4478373 h 5973007"/>
              <a:gd name="connsiteX72162" fmla="*/ 1851198 w 6884782"/>
              <a:gd name="connsiteY72162" fmla="*/ 4478336 h 5973007"/>
              <a:gd name="connsiteX72163" fmla="*/ 1831430 w 6884782"/>
              <a:gd name="connsiteY72163" fmla="*/ 4444581 h 5973007"/>
              <a:gd name="connsiteX72164" fmla="*/ 1826313 w 6884782"/>
              <a:gd name="connsiteY72164" fmla="*/ 4433867 h 5973007"/>
              <a:gd name="connsiteX72165" fmla="*/ 1820457 w 6884782"/>
              <a:gd name="connsiteY72165" fmla="*/ 4439239 h 5973007"/>
              <a:gd name="connsiteX72166" fmla="*/ 1818134 w 6884782"/>
              <a:gd name="connsiteY72166" fmla="*/ 4436141 h 5973007"/>
              <a:gd name="connsiteX72167" fmla="*/ 1823652 w 6884782"/>
              <a:gd name="connsiteY72167" fmla="*/ 4428325 h 5973007"/>
              <a:gd name="connsiteX72168" fmla="*/ 1817359 w 6884782"/>
              <a:gd name="connsiteY72168" fmla="*/ 4415316 h 5973007"/>
              <a:gd name="connsiteX72169" fmla="*/ 1810946 w 6884782"/>
              <a:gd name="connsiteY72169" fmla="*/ 4403381 h 5973007"/>
              <a:gd name="connsiteX72170" fmla="*/ 1810389 w 6884782"/>
              <a:gd name="connsiteY72170" fmla="*/ 4404545 h 5973007"/>
              <a:gd name="connsiteX72171" fmla="*/ 1806362 w 6884782"/>
              <a:gd name="connsiteY72171" fmla="*/ 4400208 h 5973007"/>
              <a:gd name="connsiteX72172" fmla="*/ 1807881 w 6884782"/>
              <a:gd name="connsiteY72172" fmla="*/ 4397677 h 5973007"/>
              <a:gd name="connsiteX72173" fmla="*/ 1802461 w 6884782"/>
              <a:gd name="connsiteY72173" fmla="*/ 4387591 h 5973007"/>
              <a:gd name="connsiteX72174" fmla="*/ 1795011 w 6884782"/>
              <a:gd name="connsiteY72174" fmla="*/ 4376810 h 5973007"/>
              <a:gd name="connsiteX72175" fmla="*/ 1793299 w 6884782"/>
              <a:gd name="connsiteY72175" fmla="*/ 4375361 h 5973007"/>
              <a:gd name="connsiteX72176" fmla="*/ 1793660 w 6884782"/>
              <a:gd name="connsiteY72176" fmla="*/ 4377388 h 5973007"/>
              <a:gd name="connsiteX72177" fmla="*/ 1791027 w 6884782"/>
              <a:gd name="connsiteY72177" fmla="*/ 4377802 h 5973007"/>
              <a:gd name="connsiteX72178" fmla="*/ 1790562 w 6884782"/>
              <a:gd name="connsiteY72178" fmla="*/ 4374187 h 5973007"/>
              <a:gd name="connsiteX72179" fmla="*/ 1791417 w 6884782"/>
              <a:gd name="connsiteY72179" fmla="*/ 4373770 h 5973007"/>
              <a:gd name="connsiteX72180" fmla="*/ 1785906 w 6884782"/>
              <a:gd name="connsiteY72180" fmla="*/ 4369108 h 5973007"/>
              <a:gd name="connsiteX72181" fmla="*/ 1775147 w 6884782"/>
              <a:gd name="connsiteY72181" fmla="*/ 4366027 h 5973007"/>
              <a:gd name="connsiteX72182" fmla="*/ 1764386 w 6884782"/>
              <a:gd name="connsiteY72182" fmla="*/ 4369108 h 5973007"/>
              <a:gd name="connsiteX72183" fmla="*/ 1750315 w 6884782"/>
              <a:gd name="connsiteY72183" fmla="*/ 4378349 h 5973007"/>
              <a:gd name="connsiteX72184" fmla="*/ 1744521 w 6884782"/>
              <a:gd name="connsiteY72184" fmla="*/ 4379891 h 5973007"/>
              <a:gd name="connsiteX72185" fmla="*/ 1737899 w 6884782"/>
              <a:gd name="connsiteY72185" fmla="*/ 4378349 h 5973007"/>
              <a:gd name="connsiteX72186" fmla="*/ 1730450 w 6884782"/>
              <a:gd name="connsiteY72186" fmla="*/ 4370649 h 5973007"/>
              <a:gd name="connsiteX72187" fmla="*/ 1722173 w 6884782"/>
              <a:gd name="connsiteY72187" fmla="*/ 4364487 h 5973007"/>
              <a:gd name="connsiteX72188" fmla="*/ 1714723 w 6884782"/>
              <a:gd name="connsiteY72188" fmla="*/ 4358327 h 5973007"/>
              <a:gd name="connsiteX72189" fmla="*/ 1707273 w 6884782"/>
              <a:gd name="connsiteY72189" fmla="*/ 4353706 h 5973007"/>
              <a:gd name="connsiteX72190" fmla="*/ 1699824 w 6884782"/>
              <a:gd name="connsiteY72190" fmla="*/ 4346004 h 5973007"/>
              <a:gd name="connsiteX72191" fmla="*/ 1691547 w 6884782"/>
              <a:gd name="connsiteY72191" fmla="*/ 4338304 h 5973007"/>
              <a:gd name="connsiteX72192" fmla="*/ 1684098 w 6884782"/>
              <a:gd name="connsiteY72192" fmla="*/ 4332142 h 5973007"/>
              <a:gd name="connsiteX72193" fmla="*/ 1677476 w 6884782"/>
              <a:gd name="connsiteY72193" fmla="*/ 4330602 h 5973007"/>
              <a:gd name="connsiteX72194" fmla="*/ 1672509 w 6884782"/>
              <a:gd name="connsiteY72194" fmla="*/ 4332142 h 5973007"/>
              <a:gd name="connsiteX72195" fmla="*/ 1660405 w 6884782"/>
              <a:gd name="connsiteY72195" fmla="*/ 4345852 h 5973007"/>
              <a:gd name="connsiteX72196" fmla="*/ 1664884 w 6884782"/>
              <a:gd name="connsiteY72196" fmla="*/ 4344411 h 5973007"/>
              <a:gd name="connsiteX72197" fmla="*/ 1675784 w 6884782"/>
              <a:gd name="connsiteY72197" fmla="*/ 4348890 h 5973007"/>
              <a:gd name="connsiteX72198" fmla="*/ 1675784 w 6884782"/>
              <a:gd name="connsiteY72198" fmla="*/ 4350026 h 5973007"/>
              <a:gd name="connsiteX72199" fmla="*/ 1676869 w 6884782"/>
              <a:gd name="connsiteY72199" fmla="*/ 4346308 h 5973007"/>
              <a:gd name="connsiteX72200" fmla="*/ 1681051 w 6884782"/>
              <a:gd name="connsiteY72200" fmla="*/ 4346618 h 5973007"/>
              <a:gd name="connsiteX72201" fmla="*/ 1682290 w 6884782"/>
              <a:gd name="connsiteY72201" fmla="*/ 4347961 h 5973007"/>
              <a:gd name="connsiteX72202" fmla="*/ 1682599 w 6884782"/>
              <a:gd name="connsiteY72202" fmla="*/ 4345585 h 5973007"/>
              <a:gd name="connsiteX72203" fmla="*/ 1688486 w 6884782"/>
              <a:gd name="connsiteY72203" fmla="*/ 4346411 h 5973007"/>
              <a:gd name="connsiteX72204" fmla="*/ 1687711 w 6884782"/>
              <a:gd name="connsiteY72204" fmla="*/ 4350955 h 5973007"/>
              <a:gd name="connsiteX72205" fmla="*/ 1684613 w 6884782"/>
              <a:gd name="connsiteY72205" fmla="*/ 4351058 h 5973007"/>
              <a:gd name="connsiteX72206" fmla="*/ 1685543 w 6884782"/>
              <a:gd name="connsiteY72206" fmla="*/ 4353330 h 5973007"/>
              <a:gd name="connsiteX72207" fmla="*/ 1694217 w 6884782"/>
              <a:gd name="connsiteY72207" fmla="*/ 4355188 h 5973007"/>
              <a:gd name="connsiteX72208" fmla="*/ 1685233 w 6884782"/>
              <a:gd name="connsiteY72208" fmla="*/ 4361384 h 5973007"/>
              <a:gd name="connsiteX72209" fmla="*/ 1680896 w 6884782"/>
              <a:gd name="connsiteY72209" fmla="*/ 4359732 h 5973007"/>
              <a:gd name="connsiteX72210" fmla="*/ 1681206 w 6884782"/>
              <a:gd name="connsiteY72210" fmla="*/ 4358286 h 5973007"/>
              <a:gd name="connsiteX72211" fmla="*/ 1678882 w 6884782"/>
              <a:gd name="connsiteY72211" fmla="*/ 4356737 h 5973007"/>
              <a:gd name="connsiteX72212" fmla="*/ 1675629 w 6884782"/>
              <a:gd name="connsiteY72212" fmla="*/ 4350439 h 5973007"/>
              <a:gd name="connsiteX72213" fmla="*/ 1674855 w 6884782"/>
              <a:gd name="connsiteY72213" fmla="*/ 4357667 h 5973007"/>
              <a:gd name="connsiteX72214" fmla="*/ 1659520 w 6884782"/>
              <a:gd name="connsiteY72214" fmla="*/ 4370367 h 5973007"/>
              <a:gd name="connsiteX72215" fmla="*/ 1653014 w 6884782"/>
              <a:gd name="connsiteY72215" fmla="*/ 4366134 h 5973007"/>
              <a:gd name="connsiteX72216" fmla="*/ 1651621 w 6884782"/>
              <a:gd name="connsiteY72216" fmla="*/ 4362313 h 5973007"/>
              <a:gd name="connsiteX72217" fmla="*/ 1649916 w 6884782"/>
              <a:gd name="connsiteY72217" fmla="*/ 4359732 h 5973007"/>
              <a:gd name="connsiteX72218" fmla="*/ 1650226 w 6884782"/>
              <a:gd name="connsiteY72218" fmla="*/ 4360558 h 5973007"/>
              <a:gd name="connsiteX72219" fmla="*/ 1648367 w 6884782"/>
              <a:gd name="connsiteY72219" fmla="*/ 4364998 h 5973007"/>
              <a:gd name="connsiteX72220" fmla="*/ 1649452 w 6884782"/>
              <a:gd name="connsiteY72220" fmla="*/ 4365720 h 5973007"/>
              <a:gd name="connsiteX72221" fmla="*/ 1647749 w 6884782"/>
              <a:gd name="connsiteY72221" fmla="*/ 4366237 h 5973007"/>
              <a:gd name="connsiteX72222" fmla="*/ 1646664 w 6884782"/>
              <a:gd name="connsiteY72222" fmla="*/ 4368818 h 5973007"/>
              <a:gd name="connsiteX72223" fmla="*/ 1642482 w 6884782"/>
              <a:gd name="connsiteY72223" fmla="*/ 4373774 h 5973007"/>
              <a:gd name="connsiteX72224" fmla="*/ 1642327 w 6884782"/>
              <a:gd name="connsiteY72224" fmla="*/ 4371090 h 5973007"/>
              <a:gd name="connsiteX72225" fmla="*/ 1642791 w 6884782"/>
              <a:gd name="connsiteY72225" fmla="*/ 4369851 h 5973007"/>
              <a:gd name="connsiteX72226" fmla="*/ 1642482 w 6884782"/>
              <a:gd name="connsiteY72226" fmla="*/ 4369128 h 5973007"/>
              <a:gd name="connsiteX72227" fmla="*/ 1643256 w 6884782"/>
              <a:gd name="connsiteY72227" fmla="*/ 4368715 h 5973007"/>
              <a:gd name="connsiteX72228" fmla="*/ 1643411 w 6884782"/>
              <a:gd name="connsiteY72228" fmla="*/ 4368508 h 5973007"/>
              <a:gd name="connsiteX72229" fmla="*/ 1643720 w 6884782"/>
              <a:gd name="connsiteY72229" fmla="*/ 4367476 h 5973007"/>
              <a:gd name="connsiteX72230" fmla="*/ 1640313 w 6884782"/>
              <a:gd name="connsiteY72230" fmla="*/ 4368508 h 5973007"/>
              <a:gd name="connsiteX72231" fmla="*/ 1641087 w 6884782"/>
              <a:gd name="connsiteY72231" fmla="*/ 4369541 h 5973007"/>
              <a:gd name="connsiteX72232" fmla="*/ 1638454 w 6884782"/>
              <a:gd name="connsiteY72232" fmla="*/ 4373671 h 5973007"/>
              <a:gd name="connsiteX72233" fmla="*/ 1636596 w 6884782"/>
              <a:gd name="connsiteY72233" fmla="*/ 4375530 h 5973007"/>
              <a:gd name="connsiteX72234" fmla="*/ 1639694 w 6884782"/>
              <a:gd name="connsiteY72234" fmla="*/ 4378111 h 5973007"/>
              <a:gd name="connsiteX72235" fmla="*/ 1647438 w 6884782"/>
              <a:gd name="connsiteY72235" fmla="*/ 4383171 h 5973007"/>
              <a:gd name="connsiteX72236" fmla="*/ 1643411 w 6884782"/>
              <a:gd name="connsiteY72236" fmla="*/ 4388231 h 5973007"/>
              <a:gd name="connsiteX72237" fmla="*/ 1631329 w 6884782"/>
              <a:gd name="connsiteY72237" fmla="*/ 4382861 h 5973007"/>
              <a:gd name="connsiteX72238" fmla="*/ 1630554 w 6884782"/>
              <a:gd name="connsiteY72238" fmla="*/ 4374497 h 5973007"/>
              <a:gd name="connsiteX72239" fmla="*/ 1630864 w 6884782"/>
              <a:gd name="connsiteY72239" fmla="*/ 4373878 h 5973007"/>
              <a:gd name="connsiteX72240" fmla="*/ 1629006 w 6884782"/>
              <a:gd name="connsiteY72240" fmla="*/ 4370780 h 5973007"/>
              <a:gd name="connsiteX72241" fmla="*/ 1630209 w 6884782"/>
              <a:gd name="connsiteY72241" fmla="*/ 4367755 h 5973007"/>
              <a:gd name="connsiteX72242" fmla="*/ 1620363 w 6884782"/>
              <a:gd name="connsiteY72242" fmla="*/ 4370649 h 5973007"/>
              <a:gd name="connsiteX72243" fmla="*/ 1619834 w 6884782"/>
              <a:gd name="connsiteY72243" fmla="*/ 4370649 h 5973007"/>
              <a:gd name="connsiteX72244" fmla="*/ 1622500 w 6884782"/>
              <a:gd name="connsiteY72244" fmla="*/ 4372948 h 5973007"/>
              <a:gd name="connsiteX72245" fmla="*/ 1617544 w 6884782"/>
              <a:gd name="connsiteY72245" fmla="*/ 4380279 h 5973007"/>
              <a:gd name="connsiteX72246" fmla="*/ 1610728 w 6884782"/>
              <a:gd name="connsiteY72246" fmla="*/ 4372432 h 5973007"/>
              <a:gd name="connsiteX72247" fmla="*/ 1613609 w 6884782"/>
              <a:gd name="connsiteY72247" fmla="*/ 4370649 h 5973007"/>
              <a:gd name="connsiteX72248" fmla="*/ 1606292 w 6884782"/>
              <a:gd name="connsiteY72248" fmla="*/ 4370649 h 5973007"/>
              <a:gd name="connsiteX72249" fmla="*/ 1603049 w 6884782"/>
              <a:gd name="connsiteY72249" fmla="*/ 4369039 h 5973007"/>
              <a:gd name="connsiteX72250" fmla="*/ 1600195 w 6884782"/>
              <a:gd name="connsiteY72250" fmla="*/ 4373878 h 5973007"/>
              <a:gd name="connsiteX72251" fmla="*/ 1590282 w 6884782"/>
              <a:gd name="connsiteY72251" fmla="*/ 4376872 h 5973007"/>
              <a:gd name="connsiteX72252" fmla="*/ 1585480 w 6884782"/>
              <a:gd name="connsiteY72252" fmla="*/ 4378008 h 5973007"/>
              <a:gd name="connsiteX72253" fmla="*/ 1582227 w 6884782"/>
              <a:gd name="connsiteY72253" fmla="*/ 4379144 h 5973007"/>
              <a:gd name="connsiteX72254" fmla="*/ 1581917 w 6884782"/>
              <a:gd name="connsiteY72254" fmla="*/ 4378214 h 5973007"/>
              <a:gd name="connsiteX72255" fmla="*/ 1579748 w 6884782"/>
              <a:gd name="connsiteY72255" fmla="*/ 4378318 h 5973007"/>
              <a:gd name="connsiteX72256" fmla="*/ 1572004 w 6884782"/>
              <a:gd name="connsiteY72256" fmla="*/ 4375840 h 5973007"/>
              <a:gd name="connsiteX72257" fmla="*/ 1583389 w 6884782"/>
              <a:gd name="connsiteY72257" fmla="*/ 4356428 h 5973007"/>
              <a:gd name="connsiteX72258" fmla="*/ 1583901 w 6884782"/>
              <a:gd name="connsiteY72258" fmla="*/ 4355205 h 5973007"/>
              <a:gd name="connsiteX72259" fmla="*/ 1580633 w 6884782"/>
              <a:gd name="connsiteY72259" fmla="*/ 4352166 h 5973007"/>
              <a:gd name="connsiteX72260" fmla="*/ 1570700 w 6884782"/>
              <a:gd name="connsiteY72260" fmla="*/ 4336762 h 5973007"/>
              <a:gd name="connsiteX72261" fmla="*/ 1559940 w 6884782"/>
              <a:gd name="connsiteY72261" fmla="*/ 4316740 h 5973007"/>
              <a:gd name="connsiteX72262" fmla="*/ 1549179 w 6884782"/>
              <a:gd name="connsiteY72262" fmla="*/ 4298257 h 5973007"/>
              <a:gd name="connsiteX72263" fmla="*/ 1543025 w 6884782"/>
              <a:gd name="connsiteY72263" fmla="*/ 4284895 h 5973007"/>
              <a:gd name="connsiteX72264" fmla="*/ 1541644 w 6884782"/>
              <a:gd name="connsiteY72264" fmla="*/ 4284665 h 5973007"/>
              <a:gd name="connsiteX72265" fmla="*/ 1541354 w 6884782"/>
              <a:gd name="connsiteY72265" fmla="*/ 4281554 h 5973007"/>
              <a:gd name="connsiteX72266" fmla="*/ 1541424 w 6884782"/>
              <a:gd name="connsiteY72266" fmla="*/ 4281420 h 5973007"/>
              <a:gd name="connsiteX72267" fmla="*/ 1539248 w 6884782"/>
              <a:gd name="connsiteY72267" fmla="*/ 4276693 h 5973007"/>
              <a:gd name="connsiteX72268" fmla="*/ 1530142 w 6884782"/>
              <a:gd name="connsiteY72268" fmla="*/ 4256669 h 5973007"/>
              <a:gd name="connsiteX72269" fmla="*/ 1528889 w 6884782"/>
              <a:gd name="connsiteY72269" fmla="*/ 4253948 h 5973007"/>
              <a:gd name="connsiteX72270" fmla="*/ 1523986 w 6884782"/>
              <a:gd name="connsiteY72270" fmla="*/ 4256063 h 5973007"/>
              <a:gd name="connsiteX72271" fmla="*/ 1517325 w 6884782"/>
              <a:gd name="connsiteY72271" fmla="*/ 4254410 h 5973007"/>
              <a:gd name="connsiteX72272" fmla="*/ 1512717 w 6884782"/>
              <a:gd name="connsiteY72272" fmla="*/ 4241439 h 5973007"/>
              <a:gd name="connsiteX72273" fmla="*/ 1520054 w 6884782"/>
              <a:gd name="connsiteY72273" fmla="*/ 4234838 h 5973007"/>
              <a:gd name="connsiteX72274" fmla="*/ 1509449 w 6884782"/>
              <a:gd name="connsiteY72274" fmla="*/ 4216622 h 5973007"/>
              <a:gd name="connsiteX72275" fmla="*/ 1499516 w 6884782"/>
              <a:gd name="connsiteY72275" fmla="*/ 4201220 h 5973007"/>
              <a:gd name="connsiteX72276" fmla="*/ 1495020 w 6884782"/>
              <a:gd name="connsiteY72276" fmla="*/ 4197037 h 5973007"/>
              <a:gd name="connsiteX72277" fmla="*/ 1495639 w 6884782"/>
              <a:gd name="connsiteY72277" fmla="*/ 4207119 h 5973007"/>
              <a:gd name="connsiteX72278" fmla="*/ 1491612 w 6884782"/>
              <a:gd name="connsiteY72278" fmla="*/ 4203711 h 5973007"/>
              <a:gd name="connsiteX72279" fmla="*/ 1490683 w 6884782"/>
              <a:gd name="connsiteY72279" fmla="*/ 4204331 h 5973007"/>
              <a:gd name="connsiteX72280" fmla="*/ 1487121 w 6884782"/>
              <a:gd name="connsiteY72280" fmla="*/ 4204744 h 5973007"/>
              <a:gd name="connsiteX72281" fmla="*/ 1485261 w 6884782"/>
              <a:gd name="connsiteY72281" fmla="*/ 4197413 h 5973007"/>
              <a:gd name="connsiteX72282" fmla="*/ 1487740 w 6884782"/>
              <a:gd name="connsiteY72282" fmla="*/ 4197103 h 5973007"/>
              <a:gd name="connsiteX72283" fmla="*/ 1488050 w 6884782"/>
              <a:gd name="connsiteY72283" fmla="*/ 4197000 h 5973007"/>
              <a:gd name="connsiteX72284" fmla="*/ 1487361 w 6884782"/>
              <a:gd name="connsiteY72284" fmla="*/ 4189910 h 5973007"/>
              <a:gd name="connsiteX72285" fmla="*/ 1463097 w 6884782"/>
              <a:gd name="connsiteY72285" fmla="*/ 4167335 h 5973007"/>
              <a:gd name="connsiteX72286" fmla="*/ 1455118 w 6884782"/>
              <a:gd name="connsiteY72286" fmla="*/ 4156336 h 5973007"/>
              <a:gd name="connsiteX72287" fmla="*/ 1446382 w 6884782"/>
              <a:gd name="connsiteY72287" fmla="*/ 4160653 h 5973007"/>
              <a:gd name="connsiteX72288" fmla="*/ 1438483 w 6884782"/>
              <a:gd name="connsiteY72288" fmla="*/ 4151980 h 5973007"/>
              <a:gd name="connsiteX72289" fmla="*/ 1445572 w 6884782"/>
              <a:gd name="connsiteY72289" fmla="*/ 4143178 h 5973007"/>
              <a:gd name="connsiteX72290" fmla="*/ 1440749 w 6884782"/>
              <a:gd name="connsiteY72290" fmla="*/ 4136530 h 5973007"/>
              <a:gd name="connsiteX72291" fmla="*/ 1433226 w 6884782"/>
              <a:gd name="connsiteY72291" fmla="*/ 4125640 h 5973007"/>
              <a:gd name="connsiteX72292" fmla="*/ 1426556 w 6884782"/>
              <a:gd name="connsiteY72292" fmla="*/ 4130812 h 5973007"/>
              <a:gd name="connsiteX72293" fmla="*/ 1430583 w 6884782"/>
              <a:gd name="connsiteY72293" fmla="*/ 4135252 h 5973007"/>
              <a:gd name="connsiteX72294" fmla="*/ 1420670 w 6884782"/>
              <a:gd name="connsiteY72294" fmla="*/ 4140209 h 5973007"/>
              <a:gd name="connsiteX72295" fmla="*/ 1419741 w 6884782"/>
              <a:gd name="connsiteY72295" fmla="*/ 4135769 h 5973007"/>
              <a:gd name="connsiteX72296" fmla="*/ 1415713 w 6884782"/>
              <a:gd name="connsiteY72296" fmla="*/ 4138763 h 5973007"/>
              <a:gd name="connsiteX72297" fmla="*/ 1405335 w 6884782"/>
              <a:gd name="connsiteY72297" fmla="*/ 4145785 h 5973007"/>
              <a:gd name="connsiteX72298" fmla="*/ 1398829 w 6884782"/>
              <a:gd name="connsiteY72298" fmla="*/ 4150947 h 5973007"/>
              <a:gd name="connsiteX72299" fmla="*/ 1399449 w 6884782"/>
              <a:gd name="connsiteY72299" fmla="*/ 4151257 h 5973007"/>
              <a:gd name="connsiteX72300" fmla="*/ 1400998 w 6884782"/>
              <a:gd name="connsiteY72300" fmla="*/ 4157969 h 5973007"/>
              <a:gd name="connsiteX72301" fmla="*/ 1397590 w 6884782"/>
              <a:gd name="connsiteY72301" fmla="*/ 4159828 h 5973007"/>
              <a:gd name="connsiteX72302" fmla="*/ 1392789 w 6884782"/>
              <a:gd name="connsiteY72302" fmla="*/ 4159311 h 5973007"/>
              <a:gd name="connsiteX72303" fmla="*/ 1392014 w 6884782"/>
              <a:gd name="connsiteY72303" fmla="*/ 4156420 h 5973007"/>
              <a:gd name="connsiteX72304" fmla="*/ 1386592 w 6884782"/>
              <a:gd name="connsiteY72304" fmla="*/ 4160860 h 5973007"/>
              <a:gd name="connsiteX72305" fmla="*/ 1378074 w 6884782"/>
              <a:gd name="connsiteY72305" fmla="*/ 4169017 h 5973007"/>
              <a:gd name="connsiteX72306" fmla="*/ 1374047 w 6884782"/>
              <a:gd name="connsiteY72306" fmla="*/ 4173870 h 5973007"/>
              <a:gd name="connsiteX72307" fmla="*/ 1372807 w 6884782"/>
              <a:gd name="connsiteY72307" fmla="*/ 4175006 h 5973007"/>
              <a:gd name="connsiteX72308" fmla="*/ 1366611 w 6884782"/>
              <a:gd name="connsiteY72308" fmla="*/ 4178207 h 5973007"/>
              <a:gd name="connsiteX72309" fmla="*/ 1366611 w 6884782"/>
              <a:gd name="connsiteY72309" fmla="*/ 4178723 h 5973007"/>
              <a:gd name="connsiteX72310" fmla="*/ 1365992 w 6884782"/>
              <a:gd name="connsiteY72310" fmla="*/ 4179240 h 5973007"/>
              <a:gd name="connsiteX72311" fmla="*/ 1365372 w 6884782"/>
              <a:gd name="connsiteY72311" fmla="*/ 4180892 h 5973007"/>
              <a:gd name="connsiteX72312" fmla="*/ 1368315 w 6884782"/>
              <a:gd name="connsiteY72312" fmla="*/ 4182544 h 5973007"/>
              <a:gd name="connsiteX72313" fmla="*/ 1368315 w 6884782"/>
              <a:gd name="connsiteY72313" fmla="*/ 4182028 h 5973007"/>
              <a:gd name="connsiteX72314" fmla="*/ 1368935 w 6884782"/>
              <a:gd name="connsiteY72314" fmla="*/ 4182028 h 5973007"/>
              <a:gd name="connsiteX72315" fmla="*/ 1375130 w 6884782"/>
              <a:gd name="connsiteY72315" fmla="*/ 4178723 h 5973007"/>
              <a:gd name="connsiteX72316" fmla="*/ 1375750 w 6884782"/>
              <a:gd name="connsiteY72316" fmla="*/ 4178723 h 5973007"/>
              <a:gd name="connsiteX72317" fmla="*/ 1377454 w 6884782"/>
              <a:gd name="connsiteY72317" fmla="*/ 4179756 h 5973007"/>
              <a:gd name="connsiteX72318" fmla="*/ 1376835 w 6884782"/>
              <a:gd name="connsiteY72318" fmla="*/ 4180376 h 5973007"/>
              <a:gd name="connsiteX72319" fmla="*/ 1376214 w 6884782"/>
              <a:gd name="connsiteY72319" fmla="*/ 4180892 h 5973007"/>
              <a:gd name="connsiteX72320" fmla="*/ 1375905 w 6884782"/>
              <a:gd name="connsiteY72320" fmla="*/ 4181099 h 5973007"/>
              <a:gd name="connsiteX72321" fmla="*/ 1375905 w 6884782"/>
              <a:gd name="connsiteY72321" fmla="*/ 4181202 h 5973007"/>
              <a:gd name="connsiteX72322" fmla="*/ 1370019 w 6884782"/>
              <a:gd name="connsiteY72322" fmla="*/ 4184093 h 5973007"/>
              <a:gd name="connsiteX72323" fmla="*/ 1369399 w 6884782"/>
              <a:gd name="connsiteY72323" fmla="*/ 4184093 h 5973007"/>
              <a:gd name="connsiteX72324" fmla="*/ 1369399 w 6884782"/>
              <a:gd name="connsiteY72324" fmla="*/ 4184712 h 5973007"/>
              <a:gd name="connsiteX72325" fmla="*/ 1368935 w 6884782"/>
              <a:gd name="connsiteY72325" fmla="*/ 4185229 h 5973007"/>
              <a:gd name="connsiteX72326" fmla="*/ 1367695 w 6884782"/>
              <a:gd name="connsiteY72326" fmla="*/ 4186365 h 5973007"/>
              <a:gd name="connsiteX72327" fmla="*/ 1365992 w 6884782"/>
              <a:gd name="connsiteY72327" fmla="*/ 4189566 h 5973007"/>
              <a:gd name="connsiteX72328" fmla="*/ 1365992 w 6884782"/>
              <a:gd name="connsiteY72328" fmla="*/ 4185848 h 5973007"/>
              <a:gd name="connsiteX72329" fmla="*/ 1361965 w 6884782"/>
              <a:gd name="connsiteY72329" fmla="*/ 4185229 h 5973007"/>
              <a:gd name="connsiteX72330" fmla="*/ 1363203 w 6884782"/>
              <a:gd name="connsiteY72330" fmla="*/ 4188430 h 5973007"/>
              <a:gd name="connsiteX72331" fmla="*/ 1360415 w 6884782"/>
              <a:gd name="connsiteY72331" fmla="*/ 4191114 h 5973007"/>
              <a:gd name="connsiteX72332" fmla="*/ 1358092 w 6884782"/>
              <a:gd name="connsiteY72332" fmla="*/ 4188430 h 5973007"/>
              <a:gd name="connsiteX72333" fmla="*/ 1359176 w 6884782"/>
              <a:gd name="connsiteY72333" fmla="*/ 4194418 h 5973007"/>
              <a:gd name="connsiteX72334" fmla="*/ 1358092 w 6884782"/>
              <a:gd name="connsiteY72334" fmla="*/ 4194418 h 5973007"/>
              <a:gd name="connsiteX72335" fmla="*/ 1357007 w 6884782"/>
              <a:gd name="connsiteY72335" fmla="*/ 4194418 h 5973007"/>
              <a:gd name="connsiteX72336" fmla="*/ 1355149 w 6884782"/>
              <a:gd name="connsiteY72336" fmla="*/ 4192250 h 5973007"/>
              <a:gd name="connsiteX72337" fmla="*/ 1350812 w 6884782"/>
              <a:gd name="connsiteY72337" fmla="*/ 4195244 h 5973007"/>
              <a:gd name="connsiteX72338" fmla="*/ 1351122 w 6884782"/>
              <a:gd name="connsiteY72338" fmla="*/ 4196277 h 5973007"/>
              <a:gd name="connsiteX72339" fmla="*/ 1348024 w 6884782"/>
              <a:gd name="connsiteY72339" fmla="*/ 4199168 h 5973007"/>
              <a:gd name="connsiteX72340" fmla="*/ 1347094 w 6884782"/>
              <a:gd name="connsiteY72340" fmla="*/ 4197723 h 5973007"/>
              <a:gd name="connsiteX72341" fmla="*/ 1340899 w 6884782"/>
              <a:gd name="connsiteY72341" fmla="*/ 4201956 h 5973007"/>
              <a:gd name="connsiteX72342" fmla="*/ 1333309 w 6884782"/>
              <a:gd name="connsiteY72342" fmla="*/ 4206396 h 5973007"/>
              <a:gd name="connsiteX72343" fmla="*/ 1333153 w 6884782"/>
              <a:gd name="connsiteY72343" fmla="*/ 4208048 h 5973007"/>
              <a:gd name="connsiteX72344" fmla="*/ 1331449 w 6884782"/>
              <a:gd name="connsiteY72344" fmla="*/ 4207325 h 5973007"/>
              <a:gd name="connsiteX72345" fmla="*/ 1328352 w 6884782"/>
              <a:gd name="connsiteY72345" fmla="*/ 4209081 h 5973007"/>
              <a:gd name="connsiteX72346" fmla="*/ 1326028 w 6884782"/>
              <a:gd name="connsiteY72346" fmla="*/ 4209597 h 5973007"/>
              <a:gd name="connsiteX72347" fmla="*/ 1324944 w 6884782"/>
              <a:gd name="connsiteY72347" fmla="*/ 4210113 h 5973007"/>
              <a:gd name="connsiteX72348" fmla="*/ 1323860 w 6884782"/>
              <a:gd name="connsiteY72348" fmla="*/ 4210630 h 5973007"/>
              <a:gd name="connsiteX72349" fmla="*/ 1295824 w 6884782"/>
              <a:gd name="connsiteY72349" fmla="*/ 4221988 h 5973007"/>
              <a:gd name="connsiteX72350" fmla="*/ 1291022 w 6884782"/>
              <a:gd name="connsiteY72350" fmla="*/ 4223330 h 5973007"/>
              <a:gd name="connsiteX72351" fmla="*/ 1290092 w 6884782"/>
              <a:gd name="connsiteY72351" fmla="*/ 4223124 h 5973007"/>
              <a:gd name="connsiteX72352" fmla="*/ 1290557 w 6884782"/>
              <a:gd name="connsiteY72352" fmla="*/ 4224466 h 5973007"/>
              <a:gd name="connsiteX72353" fmla="*/ 1291177 w 6884782"/>
              <a:gd name="connsiteY72353" fmla="*/ 4225499 h 5973007"/>
              <a:gd name="connsiteX72354" fmla="*/ 1283432 w 6884782"/>
              <a:gd name="connsiteY72354" fmla="*/ 4227770 h 5973007"/>
              <a:gd name="connsiteX72355" fmla="*/ 1282657 w 6884782"/>
              <a:gd name="connsiteY72355" fmla="*/ 4226428 h 5973007"/>
              <a:gd name="connsiteX72356" fmla="*/ 1282502 w 6884782"/>
              <a:gd name="connsiteY72356" fmla="*/ 4226531 h 5973007"/>
              <a:gd name="connsiteX72357" fmla="*/ 1278940 w 6884782"/>
              <a:gd name="connsiteY72357" fmla="*/ 4227770 h 5973007"/>
              <a:gd name="connsiteX72358" fmla="*/ 1277546 w 6884782"/>
              <a:gd name="connsiteY72358" fmla="*/ 4230765 h 5973007"/>
              <a:gd name="connsiteX72359" fmla="*/ 1277701 w 6884782"/>
              <a:gd name="connsiteY72359" fmla="*/ 4231487 h 5973007"/>
              <a:gd name="connsiteX72360" fmla="*/ 1278630 w 6884782"/>
              <a:gd name="connsiteY72360" fmla="*/ 4231178 h 5973007"/>
              <a:gd name="connsiteX72361" fmla="*/ 1281108 w 6884782"/>
              <a:gd name="connsiteY72361" fmla="*/ 4231901 h 5973007"/>
              <a:gd name="connsiteX72362" fmla="*/ 1282657 w 6884782"/>
              <a:gd name="connsiteY72362" fmla="*/ 4234482 h 5973007"/>
              <a:gd name="connsiteX72363" fmla="*/ 1284671 w 6884782"/>
              <a:gd name="connsiteY72363" fmla="*/ 4233346 h 5973007"/>
              <a:gd name="connsiteX72364" fmla="*/ 1292261 w 6884782"/>
              <a:gd name="connsiteY72364" fmla="*/ 4235308 h 5973007"/>
              <a:gd name="connsiteX72365" fmla="*/ 1286530 w 6884782"/>
              <a:gd name="connsiteY72365" fmla="*/ 4246563 h 5973007"/>
              <a:gd name="connsiteX72366" fmla="*/ 1279249 w 6884782"/>
              <a:gd name="connsiteY72366" fmla="*/ 4239025 h 5973007"/>
              <a:gd name="connsiteX72367" fmla="*/ 1279560 w 6884782"/>
              <a:gd name="connsiteY72367" fmla="*/ 4238302 h 5973007"/>
              <a:gd name="connsiteX72368" fmla="*/ 1278785 w 6884782"/>
              <a:gd name="connsiteY72368" fmla="*/ 4239025 h 5973007"/>
              <a:gd name="connsiteX72369" fmla="*/ 1278011 w 6884782"/>
              <a:gd name="connsiteY72369" fmla="*/ 4238922 h 5973007"/>
              <a:gd name="connsiteX72370" fmla="*/ 1278011 w 6884782"/>
              <a:gd name="connsiteY72370" fmla="*/ 4240368 h 5973007"/>
              <a:gd name="connsiteX72371" fmla="*/ 1269801 w 6884782"/>
              <a:gd name="connsiteY72371" fmla="*/ 4234378 h 5973007"/>
              <a:gd name="connsiteX72372" fmla="*/ 1266703 w 6884782"/>
              <a:gd name="connsiteY72372" fmla="*/ 4229629 h 5973007"/>
              <a:gd name="connsiteX72373" fmla="*/ 1262211 w 6884782"/>
              <a:gd name="connsiteY72373" fmla="*/ 4226841 h 5973007"/>
              <a:gd name="connsiteX72374" fmla="*/ 1246257 w 6884782"/>
              <a:gd name="connsiteY72374" fmla="*/ 4233862 h 5973007"/>
              <a:gd name="connsiteX72375" fmla="*/ 1245327 w 6884782"/>
              <a:gd name="connsiteY72375" fmla="*/ 4232520 h 5973007"/>
              <a:gd name="connsiteX72376" fmla="*/ 1241610 w 6884782"/>
              <a:gd name="connsiteY72376" fmla="*/ 4233759 h 5973007"/>
              <a:gd name="connsiteX72377" fmla="*/ 1239751 w 6884782"/>
              <a:gd name="connsiteY72377" fmla="*/ 4233449 h 5973007"/>
              <a:gd name="connsiteX72378" fmla="*/ 1240216 w 6884782"/>
              <a:gd name="connsiteY72378" fmla="*/ 4231384 h 5973007"/>
              <a:gd name="connsiteX72379" fmla="*/ 1241300 w 6884782"/>
              <a:gd name="connsiteY72379" fmla="*/ 4230248 h 5973007"/>
              <a:gd name="connsiteX72380" fmla="*/ 1237738 w 6884782"/>
              <a:gd name="connsiteY72380" fmla="*/ 4230042 h 5973007"/>
              <a:gd name="connsiteX72381" fmla="*/ 1226275 w 6884782"/>
              <a:gd name="connsiteY72381" fmla="*/ 4236547 h 5973007"/>
              <a:gd name="connsiteX72382" fmla="*/ 1234795 w 6884782"/>
              <a:gd name="connsiteY72382" fmla="*/ 4237579 h 5973007"/>
              <a:gd name="connsiteX72383" fmla="*/ 1245172 w 6884782"/>
              <a:gd name="connsiteY72383" fmla="*/ 4233862 h 5973007"/>
              <a:gd name="connsiteX72384" fmla="*/ 1237892 w 6884782"/>
              <a:gd name="connsiteY72384" fmla="*/ 4239025 h 5973007"/>
              <a:gd name="connsiteX72385" fmla="*/ 1229063 w 6884782"/>
              <a:gd name="connsiteY72385" fmla="*/ 4241194 h 5973007"/>
              <a:gd name="connsiteX72386" fmla="*/ 1229838 w 6884782"/>
              <a:gd name="connsiteY72386" fmla="*/ 4243259 h 5973007"/>
              <a:gd name="connsiteX72387" fmla="*/ 1227669 w 6884782"/>
              <a:gd name="connsiteY72387" fmla="*/ 4254513 h 5973007"/>
              <a:gd name="connsiteX72388" fmla="*/ 1225345 w 6884782"/>
              <a:gd name="connsiteY72388" fmla="*/ 4254101 h 5973007"/>
              <a:gd name="connsiteX72389" fmla="*/ 1224726 w 6884782"/>
              <a:gd name="connsiteY72389" fmla="*/ 4246460 h 5973007"/>
              <a:gd name="connsiteX72390" fmla="*/ 1225036 w 6884782"/>
              <a:gd name="connsiteY72390" fmla="*/ 4242330 h 5973007"/>
              <a:gd name="connsiteX72391" fmla="*/ 1220699 w 6884782"/>
              <a:gd name="connsiteY72391" fmla="*/ 4244601 h 5973007"/>
              <a:gd name="connsiteX72392" fmla="*/ 1217756 w 6884782"/>
              <a:gd name="connsiteY72392" fmla="*/ 4245014 h 5973007"/>
              <a:gd name="connsiteX72393" fmla="*/ 1213109 w 6884782"/>
              <a:gd name="connsiteY72393" fmla="*/ 4249557 h 5973007"/>
              <a:gd name="connsiteX72394" fmla="*/ 1208152 w 6884782"/>
              <a:gd name="connsiteY72394" fmla="*/ 4250280 h 5973007"/>
              <a:gd name="connsiteX72395" fmla="*/ 1209856 w 6884782"/>
              <a:gd name="connsiteY72395" fmla="*/ 4250590 h 5973007"/>
              <a:gd name="connsiteX72396" fmla="*/ 1211250 w 6884782"/>
              <a:gd name="connsiteY72396" fmla="*/ 4251519 h 5973007"/>
              <a:gd name="connsiteX72397" fmla="*/ 1211250 w 6884782"/>
              <a:gd name="connsiteY72397" fmla="*/ 4251416 h 5973007"/>
              <a:gd name="connsiteX72398" fmla="*/ 1213883 w 6884782"/>
              <a:gd name="connsiteY72398" fmla="*/ 4249661 h 5973007"/>
              <a:gd name="connsiteX72399" fmla="*/ 1220544 w 6884782"/>
              <a:gd name="connsiteY72399" fmla="*/ 4257302 h 5973007"/>
              <a:gd name="connsiteX72400" fmla="*/ 1216827 w 6884782"/>
              <a:gd name="connsiteY72400" fmla="*/ 4259676 h 5973007"/>
              <a:gd name="connsiteX72401" fmla="*/ 1215277 w 6884782"/>
              <a:gd name="connsiteY72401" fmla="*/ 4259264 h 5973007"/>
              <a:gd name="connsiteX72402" fmla="*/ 1214813 w 6884782"/>
              <a:gd name="connsiteY72402" fmla="*/ 4260193 h 5973007"/>
              <a:gd name="connsiteX72403" fmla="*/ 1210476 w 6884782"/>
              <a:gd name="connsiteY72403" fmla="*/ 4261329 h 5973007"/>
              <a:gd name="connsiteX72404" fmla="*/ 1209392 w 6884782"/>
              <a:gd name="connsiteY72404" fmla="*/ 4260812 h 5973007"/>
              <a:gd name="connsiteX72405" fmla="*/ 1202731 w 6884782"/>
              <a:gd name="connsiteY72405" fmla="*/ 4253584 h 5973007"/>
              <a:gd name="connsiteX72406" fmla="*/ 1205519 w 6884782"/>
              <a:gd name="connsiteY72406" fmla="*/ 4250693 h 5973007"/>
              <a:gd name="connsiteX72407" fmla="*/ 1194366 w 6884782"/>
              <a:gd name="connsiteY72407" fmla="*/ 4251209 h 5973007"/>
              <a:gd name="connsiteX72408" fmla="*/ 1185847 w 6884782"/>
              <a:gd name="connsiteY72408" fmla="*/ 4251726 h 5973007"/>
              <a:gd name="connsiteX72409" fmla="*/ 1176863 w 6884782"/>
              <a:gd name="connsiteY72409" fmla="*/ 4254307 h 5973007"/>
              <a:gd name="connsiteX72410" fmla="*/ 1178102 w 6884782"/>
              <a:gd name="connsiteY72410" fmla="*/ 4255133 h 5973007"/>
              <a:gd name="connsiteX72411" fmla="*/ 1179961 w 6884782"/>
              <a:gd name="connsiteY72411" fmla="*/ 4254307 h 5973007"/>
              <a:gd name="connsiteX72412" fmla="*/ 1192198 w 6884782"/>
              <a:gd name="connsiteY72412" fmla="*/ 4254617 h 5973007"/>
              <a:gd name="connsiteX72413" fmla="*/ 1182439 w 6884782"/>
              <a:gd name="connsiteY72413" fmla="*/ 4263807 h 5973007"/>
              <a:gd name="connsiteX72414" fmla="*/ 1179496 w 6884782"/>
              <a:gd name="connsiteY72414" fmla="*/ 4264426 h 5973007"/>
              <a:gd name="connsiteX72415" fmla="*/ 1176554 w 6884782"/>
              <a:gd name="connsiteY72415" fmla="*/ 4265872 h 5973007"/>
              <a:gd name="connsiteX72416" fmla="*/ 1176709 w 6884782"/>
              <a:gd name="connsiteY72416" fmla="*/ 4266904 h 5973007"/>
              <a:gd name="connsiteX72417" fmla="*/ 1166486 w 6884782"/>
              <a:gd name="connsiteY72417" fmla="*/ 4279192 h 5973007"/>
              <a:gd name="connsiteX72418" fmla="*/ 1165556 w 6884782"/>
              <a:gd name="connsiteY72418" fmla="*/ 4280431 h 5973007"/>
              <a:gd name="connsiteX72419" fmla="*/ 1168034 w 6884782"/>
              <a:gd name="connsiteY72419" fmla="*/ 4280741 h 5973007"/>
              <a:gd name="connsiteX72420" fmla="*/ 1171287 w 6884782"/>
              <a:gd name="connsiteY72420" fmla="*/ 4284355 h 5973007"/>
              <a:gd name="connsiteX72421" fmla="*/ 1174849 w 6884782"/>
              <a:gd name="connsiteY72421" fmla="*/ 4283012 h 5973007"/>
              <a:gd name="connsiteX72422" fmla="*/ 1183678 w 6884782"/>
              <a:gd name="connsiteY72422" fmla="*/ 4284355 h 5973007"/>
              <a:gd name="connsiteX72423" fmla="*/ 1186777 w 6884782"/>
              <a:gd name="connsiteY72423" fmla="*/ 4288278 h 5973007"/>
              <a:gd name="connsiteX72424" fmla="*/ 1187242 w 6884782"/>
              <a:gd name="connsiteY72424" fmla="*/ 4288278 h 5973007"/>
              <a:gd name="connsiteX72425" fmla="*/ 1189100 w 6884782"/>
              <a:gd name="connsiteY72425" fmla="*/ 4293441 h 5973007"/>
              <a:gd name="connsiteX72426" fmla="*/ 1185073 w 6884782"/>
              <a:gd name="connsiteY72426" fmla="*/ 4295403 h 5973007"/>
              <a:gd name="connsiteX72427" fmla="*/ 1183369 w 6884782"/>
              <a:gd name="connsiteY72427" fmla="*/ 4294164 h 5973007"/>
              <a:gd name="connsiteX72428" fmla="*/ 1183214 w 6884782"/>
              <a:gd name="connsiteY72428" fmla="*/ 4293235 h 5973007"/>
              <a:gd name="connsiteX72429" fmla="*/ 1183214 w 6884782"/>
              <a:gd name="connsiteY72429" fmla="*/ 4291789 h 5973007"/>
              <a:gd name="connsiteX72430" fmla="*/ 1177948 w 6884782"/>
              <a:gd name="connsiteY72430" fmla="*/ 4295609 h 5973007"/>
              <a:gd name="connsiteX72431" fmla="*/ 1164472 w 6884782"/>
              <a:gd name="connsiteY72431" fmla="*/ 4298088 h 5973007"/>
              <a:gd name="connsiteX72432" fmla="*/ 1166020 w 6884782"/>
              <a:gd name="connsiteY72432" fmla="*/ 4286420 h 5973007"/>
              <a:gd name="connsiteX72433" fmla="*/ 1166330 w 6884782"/>
              <a:gd name="connsiteY72433" fmla="*/ 4286420 h 5973007"/>
              <a:gd name="connsiteX72434" fmla="*/ 1166020 w 6884782"/>
              <a:gd name="connsiteY72434" fmla="*/ 4285697 h 5973007"/>
              <a:gd name="connsiteX72435" fmla="*/ 1164162 w 6884782"/>
              <a:gd name="connsiteY72435" fmla="*/ 4282289 h 5973007"/>
              <a:gd name="connsiteX72436" fmla="*/ 1165246 w 6884782"/>
              <a:gd name="connsiteY72436" fmla="*/ 4280844 h 5973007"/>
              <a:gd name="connsiteX72437" fmla="*/ 1156262 w 6884782"/>
              <a:gd name="connsiteY72437" fmla="*/ 4291582 h 5973007"/>
              <a:gd name="connsiteX72438" fmla="*/ 1149137 w 6884782"/>
              <a:gd name="connsiteY72438" fmla="*/ 4291582 h 5973007"/>
              <a:gd name="connsiteX72439" fmla="*/ 1149137 w 6884782"/>
              <a:gd name="connsiteY72439" fmla="*/ 4291789 h 5973007"/>
              <a:gd name="connsiteX72440" fmla="*/ 1149446 w 6884782"/>
              <a:gd name="connsiteY72440" fmla="*/ 4292615 h 5973007"/>
              <a:gd name="connsiteX72441" fmla="*/ 1150221 w 6884782"/>
              <a:gd name="connsiteY72441" fmla="*/ 4292718 h 5973007"/>
              <a:gd name="connsiteX72442" fmla="*/ 1149446 w 6884782"/>
              <a:gd name="connsiteY72442" fmla="*/ 4294370 h 5973007"/>
              <a:gd name="connsiteX72443" fmla="*/ 1143406 w 6884782"/>
              <a:gd name="connsiteY72443" fmla="*/ 4296229 h 5973007"/>
              <a:gd name="connsiteX72444" fmla="*/ 1142476 w 6884782"/>
              <a:gd name="connsiteY72444" fmla="*/ 4293647 h 5973007"/>
              <a:gd name="connsiteX72445" fmla="*/ 1143251 w 6884782"/>
              <a:gd name="connsiteY72445" fmla="*/ 4292409 h 5973007"/>
              <a:gd name="connsiteX72446" fmla="*/ 1137984 w 6884782"/>
              <a:gd name="connsiteY72446" fmla="*/ 4293441 h 5973007"/>
              <a:gd name="connsiteX72447" fmla="*/ 1120791 w 6884782"/>
              <a:gd name="connsiteY72447" fmla="*/ 4290653 h 5973007"/>
              <a:gd name="connsiteX72448" fmla="*/ 1109793 w 6884782"/>
              <a:gd name="connsiteY72448" fmla="*/ 4273100 h 5973007"/>
              <a:gd name="connsiteX72449" fmla="*/ 1110258 w 6884782"/>
              <a:gd name="connsiteY72449" fmla="*/ 4267111 h 5973007"/>
              <a:gd name="connsiteX72450" fmla="*/ 1107005 w 6884782"/>
              <a:gd name="connsiteY72450" fmla="*/ 4267421 h 5973007"/>
              <a:gd name="connsiteX72451" fmla="*/ 1099105 w 6884782"/>
              <a:gd name="connsiteY72451" fmla="*/ 4267317 h 5973007"/>
              <a:gd name="connsiteX72452" fmla="*/ 1087798 w 6884782"/>
              <a:gd name="connsiteY72452" fmla="*/ 4268453 h 5973007"/>
              <a:gd name="connsiteX72453" fmla="*/ 1077419 w 6884782"/>
              <a:gd name="connsiteY72453" fmla="*/ 4264633 h 5973007"/>
              <a:gd name="connsiteX72454" fmla="*/ 1082066 w 6884782"/>
              <a:gd name="connsiteY72454" fmla="*/ 4263600 h 5973007"/>
              <a:gd name="connsiteX72455" fmla="*/ 1077419 w 6884782"/>
              <a:gd name="connsiteY72455" fmla="*/ 4260296 h 5973007"/>
              <a:gd name="connsiteX72456" fmla="*/ 1071689 w 6884782"/>
              <a:gd name="connsiteY72456" fmla="*/ 4262568 h 5973007"/>
              <a:gd name="connsiteX72457" fmla="*/ 1074631 w 6884782"/>
              <a:gd name="connsiteY72457" fmla="*/ 4258231 h 5973007"/>
              <a:gd name="connsiteX72458" fmla="*/ 1085939 w 6884782"/>
              <a:gd name="connsiteY72458" fmla="*/ 4253894 h 5973007"/>
              <a:gd name="connsiteX72459" fmla="*/ 1097401 w 6884782"/>
              <a:gd name="connsiteY72459" fmla="*/ 4254927 h 5973007"/>
              <a:gd name="connsiteX72460" fmla="*/ 1104217 w 6884782"/>
              <a:gd name="connsiteY72460" fmla="*/ 4252345 h 5973007"/>
              <a:gd name="connsiteX72461" fmla="*/ 1110723 w 6884782"/>
              <a:gd name="connsiteY72461" fmla="*/ 4252242 h 5973007"/>
              <a:gd name="connsiteX72462" fmla="*/ 1109793 w 6884782"/>
              <a:gd name="connsiteY72462" fmla="*/ 4251003 h 5973007"/>
              <a:gd name="connsiteX72463" fmla="*/ 1110723 w 6884782"/>
              <a:gd name="connsiteY72463" fmla="*/ 4250797 h 5973007"/>
              <a:gd name="connsiteX72464" fmla="*/ 1109174 w 6884782"/>
              <a:gd name="connsiteY72464" fmla="*/ 4249454 h 5973007"/>
              <a:gd name="connsiteX72465" fmla="*/ 1104217 w 6884782"/>
              <a:gd name="connsiteY72465" fmla="*/ 4250590 h 5973007"/>
              <a:gd name="connsiteX72466" fmla="*/ 1096317 w 6884782"/>
              <a:gd name="connsiteY72466" fmla="*/ 4249557 h 5973007"/>
              <a:gd name="connsiteX72467" fmla="*/ 1084855 w 6884782"/>
              <a:gd name="connsiteY72467" fmla="*/ 4251726 h 5973007"/>
              <a:gd name="connsiteX72468" fmla="*/ 1090586 w 6884782"/>
              <a:gd name="connsiteY72468" fmla="*/ 4249557 h 5973007"/>
              <a:gd name="connsiteX72469" fmla="*/ 1077419 w 6884782"/>
              <a:gd name="connsiteY72469" fmla="*/ 4249557 h 5973007"/>
              <a:gd name="connsiteX72470" fmla="*/ 1080363 w 6884782"/>
              <a:gd name="connsiteY72470" fmla="*/ 4250590 h 5973007"/>
              <a:gd name="connsiteX72471" fmla="*/ 1071689 w 6884782"/>
              <a:gd name="connsiteY72471" fmla="*/ 4249557 h 5973007"/>
              <a:gd name="connsiteX72472" fmla="*/ 1064408 w 6884782"/>
              <a:gd name="connsiteY72472" fmla="*/ 4252242 h 5973007"/>
              <a:gd name="connsiteX72473" fmla="*/ 1063324 w 6884782"/>
              <a:gd name="connsiteY72473" fmla="*/ 4251932 h 5973007"/>
              <a:gd name="connsiteX72474" fmla="*/ 1053101 w 6884782"/>
              <a:gd name="connsiteY72474" fmla="*/ 4257921 h 5973007"/>
              <a:gd name="connsiteX72475" fmla="*/ 1050003 w 6884782"/>
              <a:gd name="connsiteY72475" fmla="*/ 4257095 h 5973007"/>
              <a:gd name="connsiteX72476" fmla="*/ 1049693 w 6884782"/>
              <a:gd name="connsiteY72476" fmla="*/ 4256475 h 5973007"/>
              <a:gd name="connsiteX72477" fmla="*/ 1048919 w 6884782"/>
              <a:gd name="connsiteY72477" fmla="*/ 4258231 h 5973007"/>
              <a:gd name="connsiteX72478" fmla="*/ 1046441 w 6884782"/>
              <a:gd name="connsiteY72478" fmla="*/ 4256992 h 5973007"/>
              <a:gd name="connsiteX72479" fmla="*/ 1047525 w 6884782"/>
              <a:gd name="connsiteY72479" fmla="*/ 4253584 h 5973007"/>
              <a:gd name="connsiteX72480" fmla="*/ 1048919 w 6884782"/>
              <a:gd name="connsiteY72480" fmla="*/ 4253378 h 5973007"/>
              <a:gd name="connsiteX72481" fmla="*/ 1049229 w 6884782"/>
              <a:gd name="connsiteY72481" fmla="*/ 4253584 h 5973007"/>
              <a:gd name="connsiteX72482" fmla="*/ 1050777 w 6884782"/>
              <a:gd name="connsiteY72482" fmla="*/ 4251312 h 5973007"/>
              <a:gd name="connsiteX72483" fmla="*/ 1047835 w 6884782"/>
              <a:gd name="connsiteY72483" fmla="*/ 4250590 h 5973007"/>
              <a:gd name="connsiteX72484" fmla="*/ 1042103 w 6884782"/>
              <a:gd name="connsiteY72484" fmla="*/ 4248421 h 5973007"/>
              <a:gd name="connsiteX72485" fmla="*/ 1038231 w 6884782"/>
              <a:gd name="connsiteY72485" fmla="*/ 4248421 h 5973007"/>
              <a:gd name="connsiteX72486" fmla="*/ 1039006 w 6884782"/>
              <a:gd name="connsiteY72486" fmla="*/ 4252035 h 5973007"/>
              <a:gd name="connsiteX72487" fmla="*/ 1038386 w 6884782"/>
              <a:gd name="connsiteY72487" fmla="*/ 4256888 h 5973007"/>
              <a:gd name="connsiteX72488" fmla="*/ 1034204 w 6884782"/>
              <a:gd name="connsiteY72488" fmla="*/ 4256063 h 5973007"/>
              <a:gd name="connsiteX72489" fmla="*/ 1030331 w 6884782"/>
              <a:gd name="connsiteY72489" fmla="*/ 4258231 h 5973007"/>
              <a:gd name="connsiteX72490" fmla="*/ 1025375 w 6884782"/>
              <a:gd name="connsiteY72490" fmla="*/ 4259986 h 5973007"/>
              <a:gd name="connsiteX72491" fmla="*/ 1024135 w 6884782"/>
              <a:gd name="connsiteY72491" fmla="*/ 4271654 h 5973007"/>
              <a:gd name="connsiteX72492" fmla="*/ 1025220 w 6884782"/>
              <a:gd name="connsiteY72492" fmla="*/ 4275888 h 5973007"/>
              <a:gd name="connsiteX72493" fmla="*/ 1026459 w 6884782"/>
              <a:gd name="connsiteY72493" fmla="*/ 4275062 h 5973007"/>
              <a:gd name="connsiteX72494" fmla="*/ 1030641 w 6884782"/>
              <a:gd name="connsiteY72494" fmla="*/ 4272997 h 5973007"/>
              <a:gd name="connsiteX72495" fmla="*/ 1032964 w 6884782"/>
              <a:gd name="connsiteY72495" fmla="*/ 4281050 h 5973007"/>
              <a:gd name="connsiteX72496" fmla="*/ 1032190 w 6884782"/>
              <a:gd name="connsiteY72496" fmla="*/ 4281876 h 5973007"/>
              <a:gd name="connsiteX72497" fmla="*/ 1030176 w 6884782"/>
              <a:gd name="connsiteY72497" fmla="*/ 4283115 h 5973007"/>
              <a:gd name="connsiteX72498" fmla="*/ 1032964 w 6884782"/>
              <a:gd name="connsiteY72498" fmla="*/ 4284768 h 5973007"/>
              <a:gd name="connsiteX72499" fmla="*/ 1043807 w 6884782"/>
              <a:gd name="connsiteY72499" fmla="*/ 4285387 h 5973007"/>
              <a:gd name="connsiteX72500" fmla="*/ 1044582 w 6884782"/>
              <a:gd name="connsiteY72500" fmla="*/ 4293028 h 5973007"/>
              <a:gd name="connsiteX72501" fmla="*/ 1033739 w 6884782"/>
              <a:gd name="connsiteY72501" fmla="*/ 4293544 h 5973007"/>
              <a:gd name="connsiteX72502" fmla="*/ 1028008 w 6884782"/>
              <a:gd name="connsiteY72502" fmla="*/ 4298294 h 5973007"/>
              <a:gd name="connsiteX72503" fmla="*/ 1024600 w 6884782"/>
              <a:gd name="connsiteY72503" fmla="*/ 4310995 h 5973007"/>
              <a:gd name="connsiteX72504" fmla="*/ 1023051 w 6884782"/>
              <a:gd name="connsiteY72504" fmla="*/ 4313782 h 5973007"/>
              <a:gd name="connsiteX72505" fmla="*/ 1024445 w 6884782"/>
              <a:gd name="connsiteY72505" fmla="*/ 4314196 h 5973007"/>
              <a:gd name="connsiteX72506" fmla="*/ 1031571 w 6884782"/>
              <a:gd name="connsiteY72506" fmla="*/ 4328548 h 5973007"/>
              <a:gd name="connsiteX72507" fmla="*/ 1032345 w 6884782"/>
              <a:gd name="connsiteY72507" fmla="*/ 4329891 h 5973007"/>
              <a:gd name="connsiteX72508" fmla="*/ 1033584 w 6884782"/>
              <a:gd name="connsiteY72508" fmla="*/ 4327722 h 5973007"/>
              <a:gd name="connsiteX72509" fmla="*/ 1038386 w 6884782"/>
              <a:gd name="connsiteY72509" fmla="*/ 4326173 h 5973007"/>
              <a:gd name="connsiteX72510" fmla="*/ 1043807 w 6884782"/>
              <a:gd name="connsiteY72510" fmla="*/ 4327309 h 5973007"/>
              <a:gd name="connsiteX72511" fmla="*/ 1041174 w 6884782"/>
              <a:gd name="connsiteY72511" fmla="*/ 4331956 h 5973007"/>
              <a:gd name="connsiteX72512" fmla="*/ 1033429 w 6884782"/>
              <a:gd name="connsiteY72512" fmla="*/ 4331956 h 5973007"/>
              <a:gd name="connsiteX72513" fmla="*/ 1032500 w 6884782"/>
              <a:gd name="connsiteY72513" fmla="*/ 4330407 h 5973007"/>
              <a:gd name="connsiteX72514" fmla="*/ 1038851 w 6884782"/>
              <a:gd name="connsiteY72514" fmla="*/ 4342798 h 5973007"/>
              <a:gd name="connsiteX72515" fmla="*/ 1023516 w 6884782"/>
              <a:gd name="connsiteY72515" fmla="*/ 4374910 h 5973007"/>
              <a:gd name="connsiteX72516" fmla="*/ 1020728 w 6884782"/>
              <a:gd name="connsiteY72516" fmla="*/ 4374497 h 5973007"/>
              <a:gd name="connsiteX72517" fmla="*/ 1020418 w 6884782"/>
              <a:gd name="connsiteY72517" fmla="*/ 4374807 h 5973007"/>
              <a:gd name="connsiteX72518" fmla="*/ 1017630 w 6884782"/>
              <a:gd name="connsiteY72518" fmla="*/ 4375736 h 5973007"/>
              <a:gd name="connsiteX72519" fmla="*/ 1016081 w 6884782"/>
              <a:gd name="connsiteY72519" fmla="*/ 4374704 h 5973007"/>
              <a:gd name="connsiteX72520" fmla="*/ 1011279 w 6884782"/>
              <a:gd name="connsiteY72520" fmla="*/ 4375633 h 5973007"/>
              <a:gd name="connsiteX72521" fmla="*/ 1010350 w 6884782"/>
              <a:gd name="connsiteY72521" fmla="*/ 4375530 h 5973007"/>
              <a:gd name="connsiteX72522" fmla="*/ 1008646 w 6884782"/>
              <a:gd name="connsiteY72522" fmla="*/ 4376046 h 5973007"/>
              <a:gd name="connsiteX72523" fmla="*/ 1009111 w 6884782"/>
              <a:gd name="connsiteY72523" fmla="*/ 4379350 h 5973007"/>
              <a:gd name="connsiteX72524" fmla="*/ 1006787 w 6884782"/>
              <a:gd name="connsiteY72524" fmla="*/ 4381415 h 5973007"/>
              <a:gd name="connsiteX72525" fmla="*/ 1003379 w 6884782"/>
              <a:gd name="connsiteY72525" fmla="*/ 4381209 h 5973007"/>
              <a:gd name="connsiteX72526" fmla="*/ 1001366 w 6884782"/>
              <a:gd name="connsiteY72526" fmla="*/ 4379867 h 5973007"/>
              <a:gd name="connsiteX72527" fmla="*/ 1000901 w 6884782"/>
              <a:gd name="connsiteY72527" fmla="*/ 4376975 h 5973007"/>
              <a:gd name="connsiteX72528" fmla="*/ 1000901 w 6884782"/>
              <a:gd name="connsiteY72528" fmla="*/ 4376769 h 5973007"/>
              <a:gd name="connsiteX72529" fmla="*/ 993621 w 6884782"/>
              <a:gd name="connsiteY72529" fmla="*/ 4372948 h 5973007"/>
              <a:gd name="connsiteX72530" fmla="*/ 992846 w 6884782"/>
              <a:gd name="connsiteY72530" fmla="*/ 4376975 h 5973007"/>
              <a:gd name="connsiteX72531" fmla="*/ 996099 w 6884782"/>
              <a:gd name="connsiteY72531" fmla="*/ 4383790 h 5973007"/>
              <a:gd name="connsiteX72532" fmla="*/ 1005238 w 6884782"/>
              <a:gd name="connsiteY72532" fmla="*/ 4389573 h 5973007"/>
              <a:gd name="connsiteX72533" fmla="*/ 1007407 w 6884782"/>
              <a:gd name="connsiteY72533" fmla="*/ 4394736 h 5973007"/>
              <a:gd name="connsiteX72534" fmla="*/ 1015152 w 6884782"/>
              <a:gd name="connsiteY72534" fmla="*/ 4400414 h 5973007"/>
              <a:gd name="connsiteX72535" fmla="*/ 1016236 w 6884782"/>
              <a:gd name="connsiteY72535" fmla="*/ 4402996 h 5973007"/>
              <a:gd name="connsiteX72536" fmla="*/ 1013758 w 6884782"/>
              <a:gd name="connsiteY72536" fmla="*/ 4401550 h 5973007"/>
              <a:gd name="connsiteX72537" fmla="*/ 1011124 w 6884782"/>
              <a:gd name="connsiteY72537" fmla="*/ 4398866 h 5973007"/>
              <a:gd name="connsiteX72538" fmla="*/ 1008491 w 6884782"/>
              <a:gd name="connsiteY72538" fmla="*/ 4398659 h 5973007"/>
              <a:gd name="connsiteX72539" fmla="*/ 1007407 w 6884782"/>
              <a:gd name="connsiteY72539" fmla="*/ 4395975 h 5973007"/>
              <a:gd name="connsiteX72540" fmla="*/ 999352 w 6884782"/>
              <a:gd name="connsiteY72540" fmla="*/ 4395458 h 5973007"/>
              <a:gd name="connsiteX72541" fmla="*/ 993156 w 6884782"/>
              <a:gd name="connsiteY72541" fmla="*/ 4387508 h 5973007"/>
              <a:gd name="connsiteX72542" fmla="*/ 978596 w 6884782"/>
              <a:gd name="connsiteY72542" fmla="*/ 4386475 h 5973007"/>
              <a:gd name="connsiteX72543" fmla="*/ 975498 w 6884782"/>
              <a:gd name="connsiteY72543" fmla="*/ 4407849 h 5973007"/>
              <a:gd name="connsiteX72544" fmla="*/ 946997 w 6884782"/>
              <a:gd name="connsiteY72544" fmla="*/ 4413528 h 5973007"/>
              <a:gd name="connsiteX72545" fmla="*/ 946068 w 6884782"/>
              <a:gd name="connsiteY72545" fmla="*/ 4416316 h 5973007"/>
              <a:gd name="connsiteX72546" fmla="*/ 945913 w 6884782"/>
              <a:gd name="connsiteY72546" fmla="*/ 4418071 h 5973007"/>
              <a:gd name="connsiteX72547" fmla="*/ 947617 w 6884782"/>
              <a:gd name="connsiteY72547" fmla="*/ 4419310 h 5973007"/>
              <a:gd name="connsiteX72548" fmla="*/ 949166 w 6884782"/>
              <a:gd name="connsiteY72548" fmla="*/ 4426848 h 5973007"/>
              <a:gd name="connsiteX72549" fmla="*/ 948391 w 6884782"/>
              <a:gd name="connsiteY72549" fmla="*/ 4427261 h 5973007"/>
              <a:gd name="connsiteX72550" fmla="*/ 952264 w 6884782"/>
              <a:gd name="connsiteY72550" fmla="*/ 4430875 h 5973007"/>
              <a:gd name="connsiteX72551" fmla="*/ 942040 w 6884782"/>
              <a:gd name="connsiteY72551" fmla="*/ 4438929 h 5973007"/>
              <a:gd name="connsiteX72552" fmla="*/ 940182 w 6884782"/>
              <a:gd name="connsiteY72552" fmla="*/ 4439445 h 5973007"/>
              <a:gd name="connsiteX72553" fmla="*/ 940646 w 6884782"/>
              <a:gd name="connsiteY72553" fmla="*/ 4440168 h 5973007"/>
              <a:gd name="connsiteX72554" fmla="*/ 939407 w 6884782"/>
              <a:gd name="connsiteY72554" fmla="*/ 4439858 h 5973007"/>
              <a:gd name="connsiteX72555" fmla="*/ 939252 w 6884782"/>
              <a:gd name="connsiteY72555" fmla="*/ 4439962 h 5973007"/>
              <a:gd name="connsiteX72556" fmla="*/ 938478 w 6884782"/>
              <a:gd name="connsiteY72556" fmla="*/ 4440375 h 5973007"/>
              <a:gd name="connsiteX72557" fmla="*/ 934915 w 6884782"/>
              <a:gd name="connsiteY72557" fmla="*/ 4440065 h 5973007"/>
              <a:gd name="connsiteX72558" fmla="*/ 934296 w 6884782"/>
              <a:gd name="connsiteY72558" fmla="*/ 4438103 h 5973007"/>
              <a:gd name="connsiteX72559" fmla="*/ 936774 w 6884782"/>
              <a:gd name="connsiteY72559" fmla="*/ 4433457 h 5973007"/>
              <a:gd name="connsiteX72560" fmla="*/ 933521 w 6884782"/>
              <a:gd name="connsiteY72560" fmla="*/ 4428191 h 5973007"/>
              <a:gd name="connsiteX72561" fmla="*/ 932282 w 6884782"/>
              <a:gd name="connsiteY72561" fmla="*/ 4426435 h 5973007"/>
              <a:gd name="connsiteX72562" fmla="*/ 931198 w 6884782"/>
              <a:gd name="connsiteY72562" fmla="*/ 4426538 h 5973007"/>
              <a:gd name="connsiteX72563" fmla="*/ 933366 w 6884782"/>
              <a:gd name="connsiteY72563" fmla="*/ 4433043 h 5973007"/>
              <a:gd name="connsiteX72564" fmla="*/ 927945 w 6884782"/>
              <a:gd name="connsiteY72564" fmla="*/ 4433973 h 5973007"/>
              <a:gd name="connsiteX72565" fmla="*/ 924693 w 6884782"/>
              <a:gd name="connsiteY72565" fmla="*/ 4424783 h 5973007"/>
              <a:gd name="connsiteX72566" fmla="*/ 908118 w 6884782"/>
              <a:gd name="connsiteY72566" fmla="*/ 4430049 h 5973007"/>
              <a:gd name="connsiteX72567" fmla="*/ 909668 w 6884782"/>
              <a:gd name="connsiteY72567" fmla="*/ 4444092 h 5973007"/>
              <a:gd name="connsiteX72568" fmla="*/ 912455 w 6884782"/>
              <a:gd name="connsiteY72568" fmla="*/ 4445021 h 5973007"/>
              <a:gd name="connsiteX72569" fmla="*/ 915398 w 6884782"/>
              <a:gd name="connsiteY72569" fmla="*/ 4444608 h 5973007"/>
              <a:gd name="connsiteX72570" fmla="*/ 915398 w 6884782"/>
              <a:gd name="connsiteY72570" fmla="*/ 4443679 h 5973007"/>
              <a:gd name="connsiteX72571" fmla="*/ 917257 w 6884782"/>
              <a:gd name="connsiteY72571" fmla="*/ 4439858 h 5973007"/>
              <a:gd name="connsiteX72572" fmla="*/ 915863 w 6884782"/>
              <a:gd name="connsiteY72572" fmla="*/ 4439342 h 5973007"/>
              <a:gd name="connsiteX72573" fmla="*/ 914469 w 6884782"/>
              <a:gd name="connsiteY72573" fmla="*/ 4435522 h 5973007"/>
              <a:gd name="connsiteX72574" fmla="*/ 914934 w 6884782"/>
              <a:gd name="connsiteY72574" fmla="*/ 4436244 h 5973007"/>
              <a:gd name="connsiteX72575" fmla="*/ 916328 w 6884782"/>
              <a:gd name="connsiteY72575" fmla="*/ 4435315 h 5973007"/>
              <a:gd name="connsiteX72576" fmla="*/ 916018 w 6884782"/>
              <a:gd name="connsiteY72576" fmla="*/ 4434489 h 5973007"/>
              <a:gd name="connsiteX72577" fmla="*/ 917876 w 6884782"/>
              <a:gd name="connsiteY72577" fmla="*/ 4434386 h 5973007"/>
              <a:gd name="connsiteX72578" fmla="*/ 922833 w 6884782"/>
              <a:gd name="connsiteY72578" fmla="*/ 4438206 h 5973007"/>
              <a:gd name="connsiteX72579" fmla="*/ 921594 w 6884782"/>
              <a:gd name="connsiteY72579" fmla="*/ 4439858 h 5973007"/>
              <a:gd name="connsiteX72580" fmla="*/ 923763 w 6884782"/>
              <a:gd name="connsiteY72580" fmla="*/ 4439962 h 5973007"/>
              <a:gd name="connsiteX72581" fmla="*/ 925776 w 6884782"/>
              <a:gd name="connsiteY72581" fmla="*/ 4441407 h 5973007"/>
              <a:gd name="connsiteX72582" fmla="*/ 928409 w 6884782"/>
              <a:gd name="connsiteY72582" fmla="*/ 4444608 h 5973007"/>
              <a:gd name="connsiteX72583" fmla="*/ 929494 w 6884782"/>
              <a:gd name="connsiteY72583" fmla="*/ 4443059 h 5973007"/>
              <a:gd name="connsiteX72584" fmla="*/ 931507 w 6884782"/>
              <a:gd name="connsiteY72584" fmla="*/ 4441924 h 5973007"/>
              <a:gd name="connsiteX72585" fmla="*/ 933521 w 6884782"/>
              <a:gd name="connsiteY72585" fmla="*/ 4442440 h 5973007"/>
              <a:gd name="connsiteX72586" fmla="*/ 933676 w 6884782"/>
              <a:gd name="connsiteY72586" fmla="*/ 4443266 h 5973007"/>
              <a:gd name="connsiteX72587" fmla="*/ 934605 w 6884782"/>
              <a:gd name="connsiteY72587" fmla="*/ 4446467 h 5973007"/>
              <a:gd name="connsiteX72588" fmla="*/ 932902 w 6884782"/>
              <a:gd name="connsiteY72588" fmla="*/ 4448635 h 5973007"/>
              <a:gd name="connsiteX72589" fmla="*/ 931043 w 6884782"/>
              <a:gd name="connsiteY72589" fmla="*/ 4449565 h 5973007"/>
              <a:gd name="connsiteX72590" fmla="*/ 931353 w 6884782"/>
              <a:gd name="connsiteY72590" fmla="*/ 4450494 h 5973007"/>
              <a:gd name="connsiteX72591" fmla="*/ 929029 w 6884782"/>
              <a:gd name="connsiteY72591" fmla="*/ 4457722 h 5973007"/>
              <a:gd name="connsiteX72592" fmla="*/ 928100 w 6884782"/>
              <a:gd name="connsiteY72592" fmla="*/ 4457515 h 5973007"/>
              <a:gd name="connsiteX72593" fmla="*/ 929494 w 6884782"/>
              <a:gd name="connsiteY72593" fmla="*/ 4463091 h 5973007"/>
              <a:gd name="connsiteX72594" fmla="*/ 923143 w 6884782"/>
              <a:gd name="connsiteY72594" fmla="*/ 4464640 h 5973007"/>
              <a:gd name="connsiteX72595" fmla="*/ 917102 w 6884782"/>
              <a:gd name="connsiteY72595" fmla="*/ 4462575 h 5973007"/>
              <a:gd name="connsiteX72596" fmla="*/ 915398 w 6884782"/>
              <a:gd name="connsiteY72596" fmla="*/ 4461645 h 5973007"/>
              <a:gd name="connsiteX72597" fmla="*/ 915398 w 6884782"/>
              <a:gd name="connsiteY72597" fmla="*/ 4462575 h 5973007"/>
              <a:gd name="connsiteX72598" fmla="*/ 914469 w 6884782"/>
              <a:gd name="connsiteY72598" fmla="*/ 4461542 h 5973007"/>
              <a:gd name="connsiteX72599" fmla="*/ 914469 w 6884782"/>
              <a:gd name="connsiteY72599" fmla="*/ 4461645 h 5973007"/>
              <a:gd name="connsiteX72600" fmla="*/ 913229 w 6884782"/>
              <a:gd name="connsiteY72600" fmla="*/ 4471042 h 5973007"/>
              <a:gd name="connsiteX72601" fmla="*/ 907344 w 6884782"/>
              <a:gd name="connsiteY72601" fmla="*/ 4459787 h 5973007"/>
              <a:gd name="connsiteX72602" fmla="*/ 902542 w 6884782"/>
              <a:gd name="connsiteY72602" fmla="*/ 4450391 h 5973007"/>
              <a:gd name="connsiteX72603" fmla="*/ 902232 w 6884782"/>
              <a:gd name="connsiteY72603" fmla="*/ 4450494 h 5973007"/>
              <a:gd name="connsiteX72604" fmla="*/ 902542 w 6884782"/>
              <a:gd name="connsiteY72604" fmla="*/ 4450287 h 5973007"/>
              <a:gd name="connsiteX72605" fmla="*/ 902232 w 6884782"/>
              <a:gd name="connsiteY72605" fmla="*/ 4449771 h 5973007"/>
              <a:gd name="connsiteX72606" fmla="*/ 901767 w 6884782"/>
              <a:gd name="connsiteY72606" fmla="*/ 4448842 h 5973007"/>
              <a:gd name="connsiteX72607" fmla="*/ 899444 w 6884782"/>
              <a:gd name="connsiteY72607" fmla="*/ 4449461 h 5973007"/>
              <a:gd name="connsiteX72608" fmla="*/ 897740 w 6884782"/>
              <a:gd name="connsiteY72608" fmla="*/ 4448119 h 5973007"/>
              <a:gd name="connsiteX72609" fmla="*/ 895881 w 6884782"/>
              <a:gd name="connsiteY72609" fmla="*/ 4444918 h 5973007"/>
              <a:gd name="connsiteX72610" fmla="*/ 896037 w 6884782"/>
              <a:gd name="connsiteY72610" fmla="*/ 4443989 h 5973007"/>
              <a:gd name="connsiteX72611" fmla="*/ 895417 w 6884782"/>
              <a:gd name="connsiteY72611" fmla="*/ 4444608 h 5973007"/>
              <a:gd name="connsiteX72612" fmla="*/ 892009 w 6884782"/>
              <a:gd name="connsiteY72612" fmla="*/ 4444815 h 5973007"/>
              <a:gd name="connsiteX72613" fmla="*/ 889840 w 6884782"/>
              <a:gd name="connsiteY72613" fmla="*/ 4443576 h 5973007"/>
              <a:gd name="connsiteX72614" fmla="*/ 888911 w 6884782"/>
              <a:gd name="connsiteY72614" fmla="*/ 4440788 h 5973007"/>
              <a:gd name="connsiteX72615" fmla="*/ 889685 w 6884782"/>
              <a:gd name="connsiteY72615" fmla="*/ 4438413 h 5973007"/>
              <a:gd name="connsiteX72616" fmla="*/ 891854 w 6884782"/>
              <a:gd name="connsiteY72616" fmla="*/ 4436761 h 5973007"/>
              <a:gd name="connsiteX72617" fmla="*/ 893404 w 6884782"/>
              <a:gd name="connsiteY72617" fmla="*/ 4436038 h 5973007"/>
              <a:gd name="connsiteX72618" fmla="*/ 892938 w 6884782"/>
              <a:gd name="connsiteY72618" fmla="*/ 4435418 h 5973007"/>
              <a:gd name="connsiteX72619" fmla="*/ 884884 w 6884782"/>
              <a:gd name="connsiteY72619" fmla="*/ 4436141 h 5973007"/>
              <a:gd name="connsiteX72620" fmla="*/ 875280 w 6884782"/>
              <a:gd name="connsiteY72620" fmla="*/ 4436761 h 5973007"/>
              <a:gd name="connsiteX72621" fmla="*/ 861959 w 6884782"/>
              <a:gd name="connsiteY72621" fmla="*/ 4435832 h 5973007"/>
              <a:gd name="connsiteX72622" fmla="*/ 854834 w 6884782"/>
              <a:gd name="connsiteY72622" fmla="*/ 4442956 h 5973007"/>
              <a:gd name="connsiteX72623" fmla="*/ 849102 w 6884782"/>
              <a:gd name="connsiteY72623" fmla="*/ 4465466 h 5973007"/>
              <a:gd name="connsiteX72624" fmla="*/ 848328 w 6884782"/>
              <a:gd name="connsiteY72624" fmla="*/ 4475585 h 5973007"/>
              <a:gd name="connsiteX72625" fmla="*/ 841357 w 6884782"/>
              <a:gd name="connsiteY72625" fmla="*/ 4480232 h 5973007"/>
              <a:gd name="connsiteX72626" fmla="*/ 844611 w 6884782"/>
              <a:gd name="connsiteY72626" fmla="*/ 4434696 h 5973007"/>
              <a:gd name="connsiteX72627" fmla="*/ 825868 w 6884782"/>
              <a:gd name="connsiteY72627" fmla="*/ 4434696 h 5973007"/>
              <a:gd name="connsiteX72628" fmla="*/ 822306 w 6884782"/>
              <a:gd name="connsiteY72628" fmla="*/ 4439239 h 5973007"/>
              <a:gd name="connsiteX72629" fmla="*/ 823235 w 6884782"/>
              <a:gd name="connsiteY72629" fmla="*/ 4440891 h 5973007"/>
              <a:gd name="connsiteX72630" fmla="*/ 819208 w 6884782"/>
              <a:gd name="connsiteY72630" fmla="*/ 4444815 h 5973007"/>
              <a:gd name="connsiteX72631" fmla="*/ 818898 w 6884782"/>
              <a:gd name="connsiteY72631" fmla="*/ 4443472 h 5973007"/>
              <a:gd name="connsiteX72632" fmla="*/ 818743 w 6884782"/>
              <a:gd name="connsiteY72632" fmla="*/ 4443472 h 5973007"/>
              <a:gd name="connsiteX72633" fmla="*/ 813012 w 6884782"/>
              <a:gd name="connsiteY72633" fmla="*/ 4445228 h 5973007"/>
              <a:gd name="connsiteX72634" fmla="*/ 810068 w 6884782"/>
              <a:gd name="connsiteY72634" fmla="*/ 4428500 h 5973007"/>
              <a:gd name="connsiteX72635" fmla="*/ 790087 w 6884782"/>
              <a:gd name="connsiteY72635" fmla="*/ 4428810 h 5973007"/>
              <a:gd name="connsiteX72636" fmla="*/ 789467 w 6884782"/>
              <a:gd name="connsiteY72636" fmla="*/ 4428707 h 5973007"/>
              <a:gd name="connsiteX72637" fmla="*/ 787609 w 6884782"/>
              <a:gd name="connsiteY72637" fmla="*/ 4431495 h 5973007"/>
              <a:gd name="connsiteX72638" fmla="*/ 781103 w 6884782"/>
              <a:gd name="connsiteY72638" fmla="*/ 4444505 h 5973007"/>
              <a:gd name="connsiteX72639" fmla="*/ 780174 w 6884782"/>
              <a:gd name="connsiteY72639" fmla="*/ 4445847 h 5973007"/>
              <a:gd name="connsiteX72640" fmla="*/ 782962 w 6884782"/>
              <a:gd name="connsiteY72640" fmla="*/ 4447706 h 5973007"/>
              <a:gd name="connsiteX72641" fmla="*/ 782652 w 6884782"/>
              <a:gd name="connsiteY72641" fmla="*/ 4448635 h 5973007"/>
              <a:gd name="connsiteX72642" fmla="*/ 783736 w 6884782"/>
              <a:gd name="connsiteY72642" fmla="*/ 4448739 h 5973007"/>
              <a:gd name="connsiteX72643" fmla="*/ 786370 w 6884782"/>
              <a:gd name="connsiteY72643" fmla="*/ 4450287 h 5973007"/>
              <a:gd name="connsiteX72644" fmla="*/ 788538 w 6884782"/>
              <a:gd name="connsiteY72644" fmla="*/ 4461645 h 5973007"/>
              <a:gd name="connsiteX72645" fmla="*/ 781103 w 6884782"/>
              <a:gd name="connsiteY72645" fmla="*/ 4465673 h 5973007"/>
              <a:gd name="connsiteX72646" fmla="*/ 782033 w 6884782"/>
              <a:gd name="connsiteY72646" fmla="*/ 4465673 h 5973007"/>
              <a:gd name="connsiteX72647" fmla="*/ 791017 w 6884782"/>
              <a:gd name="connsiteY72647" fmla="*/ 4478167 h 5973007"/>
              <a:gd name="connsiteX72648" fmla="*/ 788383 w 6884782"/>
              <a:gd name="connsiteY72648" fmla="*/ 4477134 h 5973007"/>
              <a:gd name="connsiteX72649" fmla="*/ 787609 w 6884782"/>
              <a:gd name="connsiteY72649" fmla="*/ 4476308 h 5973007"/>
              <a:gd name="connsiteX72650" fmla="*/ 786680 w 6884782"/>
              <a:gd name="connsiteY72650" fmla="*/ 4476205 h 5973007"/>
              <a:gd name="connsiteX72651" fmla="*/ 786680 w 6884782"/>
              <a:gd name="connsiteY72651" fmla="*/ 4475379 h 5973007"/>
              <a:gd name="connsiteX72652" fmla="*/ 784821 w 6884782"/>
              <a:gd name="connsiteY72652" fmla="*/ 4473520 h 5973007"/>
              <a:gd name="connsiteX72653" fmla="*/ 779709 w 6884782"/>
              <a:gd name="connsiteY72653" fmla="*/ 4470732 h 5973007"/>
              <a:gd name="connsiteX72654" fmla="*/ 775992 w 6884782"/>
              <a:gd name="connsiteY72654" fmla="*/ 4465363 h 5973007"/>
              <a:gd name="connsiteX72655" fmla="*/ 777696 w 6884782"/>
              <a:gd name="connsiteY72655" fmla="*/ 4463711 h 5973007"/>
              <a:gd name="connsiteX72656" fmla="*/ 775992 w 6884782"/>
              <a:gd name="connsiteY72656" fmla="*/ 4461955 h 5973007"/>
              <a:gd name="connsiteX72657" fmla="*/ 773358 w 6884782"/>
              <a:gd name="connsiteY72657" fmla="*/ 4456896 h 5973007"/>
              <a:gd name="connsiteX72658" fmla="*/ 775372 w 6884782"/>
              <a:gd name="connsiteY72658" fmla="*/ 4452559 h 5973007"/>
              <a:gd name="connsiteX72659" fmla="*/ 775217 w 6884782"/>
              <a:gd name="connsiteY72659" fmla="*/ 4452352 h 5973007"/>
              <a:gd name="connsiteX72660" fmla="*/ 770415 w 6884782"/>
              <a:gd name="connsiteY72660" fmla="*/ 4457206 h 5973007"/>
              <a:gd name="connsiteX72661" fmla="*/ 782962 w 6884782"/>
              <a:gd name="connsiteY72661" fmla="*/ 4424886 h 5973007"/>
              <a:gd name="connsiteX72662" fmla="*/ 784356 w 6884782"/>
              <a:gd name="connsiteY72662" fmla="*/ 4424164 h 5973007"/>
              <a:gd name="connsiteX72663" fmla="*/ 783427 w 6884782"/>
              <a:gd name="connsiteY72663" fmla="*/ 4418484 h 5973007"/>
              <a:gd name="connsiteX72664" fmla="*/ 782033 w 6884782"/>
              <a:gd name="connsiteY72664" fmla="*/ 4408881 h 5973007"/>
              <a:gd name="connsiteX72665" fmla="*/ 761741 w 6884782"/>
              <a:gd name="connsiteY72665" fmla="*/ 4411256 h 5973007"/>
              <a:gd name="connsiteX72666" fmla="*/ 762051 w 6884782"/>
              <a:gd name="connsiteY72666" fmla="*/ 4406300 h 5973007"/>
              <a:gd name="connsiteX72667" fmla="*/ 764994 w 6884782"/>
              <a:gd name="connsiteY72667" fmla="*/ 4402686 h 5973007"/>
              <a:gd name="connsiteX72668" fmla="*/ 759418 w 6884782"/>
              <a:gd name="connsiteY72668" fmla="*/ 4386991 h 5973007"/>
              <a:gd name="connsiteX72669" fmla="*/ 745942 w 6884782"/>
              <a:gd name="connsiteY72669" fmla="*/ 4387404 h 5973007"/>
              <a:gd name="connsiteX72670" fmla="*/ 744393 w 6884782"/>
              <a:gd name="connsiteY72670" fmla="*/ 4389779 h 5973007"/>
              <a:gd name="connsiteX72671" fmla="*/ 738817 w 6884782"/>
              <a:gd name="connsiteY72671" fmla="*/ 4393187 h 5973007"/>
              <a:gd name="connsiteX72672" fmla="*/ 734944 w 6884782"/>
              <a:gd name="connsiteY72672" fmla="*/ 4390502 h 5973007"/>
              <a:gd name="connsiteX72673" fmla="*/ 736803 w 6884782"/>
              <a:gd name="connsiteY72673" fmla="*/ 4384203 h 5973007"/>
              <a:gd name="connsiteX72674" fmla="*/ 741140 w 6884782"/>
              <a:gd name="connsiteY72674" fmla="*/ 4380693 h 5973007"/>
              <a:gd name="connsiteX72675" fmla="*/ 743928 w 6884782"/>
              <a:gd name="connsiteY72675" fmla="*/ 4379660 h 5973007"/>
              <a:gd name="connsiteX72676" fmla="*/ 743309 w 6884782"/>
              <a:gd name="connsiteY72676" fmla="*/ 4368096 h 5973007"/>
              <a:gd name="connsiteX72677" fmla="*/ 730143 w 6884782"/>
              <a:gd name="connsiteY72677" fmla="*/ 4364688 h 5973007"/>
              <a:gd name="connsiteX72678" fmla="*/ 731691 w 6884782"/>
              <a:gd name="connsiteY72678" fmla="*/ 4344450 h 5973007"/>
              <a:gd name="connsiteX72679" fmla="*/ 712639 w 6884782"/>
              <a:gd name="connsiteY72679" fmla="*/ 4348270 h 5973007"/>
              <a:gd name="connsiteX72680" fmla="*/ 712949 w 6884782"/>
              <a:gd name="connsiteY72680" fmla="*/ 4343211 h 5973007"/>
              <a:gd name="connsiteX72681" fmla="*/ 722553 w 6884782"/>
              <a:gd name="connsiteY72681" fmla="*/ 4340010 h 5973007"/>
              <a:gd name="connsiteX72682" fmla="*/ 720384 w 6884782"/>
              <a:gd name="connsiteY72682" fmla="*/ 4315744 h 5973007"/>
              <a:gd name="connsiteX72683" fmla="*/ 699318 w 6884782"/>
              <a:gd name="connsiteY72683" fmla="*/ 4309239 h 5973007"/>
              <a:gd name="connsiteX72684" fmla="*/ 703655 w 6884782"/>
              <a:gd name="connsiteY72684" fmla="*/ 4305729 h 5973007"/>
              <a:gd name="connsiteX72685" fmla="*/ 705204 w 6884782"/>
              <a:gd name="connsiteY72685" fmla="*/ 4303250 h 5973007"/>
              <a:gd name="connsiteX72686" fmla="*/ 693277 w 6884782"/>
              <a:gd name="connsiteY72686" fmla="*/ 4299946 h 5973007"/>
              <a:gd name="connsiteX72687" fmla="*/ 700402 w 6884782"/>
              <a:gd name="connsiteY72687" fmla="*/ 4298191 h 5973007"/>
              <a:gd name="connsiteX72688" fmla="*/ 697614 w 6884782"/>
              <a:gd name="connsiteY72688" fmla="*/ 4295919 h 5973007"/>
              <a:gd name="connsiteX72689" fmla="*/ 704585 w 6884782"/>
              <a:gd name="connsiteY72689" fmla="*/ 4287969 h 5973007"/>
              <a:gd name="connsiteX72690" fmla="*/ 709851 w 6884782"/>
              <a:gd name="connsiteY72690" fmla="*/ 4285800 h 5973007"/>
              <a:gd name="connsiteX72691" fmla="*/ 710625 w 6884782"/>
              <a:gd name="connsiteY72691" fmla="*/ 4283322 h 5973007"/>
              <a:gd name="connsiteX72692" fmla="*/ 721778 w 6884782"/>
              <a:gd name="connsiteY72692" fmla="*/ 4278985 h 5973007"/>
              <a:gd name="connsiteX72693" fmla="*/ 729833 w 6884782"/>
              <a:gd name="connsiteY72693" fmla="*/ 4260502 h 5973007"/>
              <a:gd name="connsiteX72694" fmla="*/ 704739 w 6884782"/>
              <a:gd name="connsiteY72694" fmla="*/ 4253687 h 5973007"/>
              <a:gd name="connsiteX72695" fmla="*/ 705204 w 6884782"/>
              <a:gd name="connsiteY72695" fmla="*/ 4248628 h 5973007"/>
              <a:gd name="connsiteX72696" fmla="*/ 725031 w 6884782"/>
              <a:gd name="connsiteY72696" fmla="*/ 4247802 h 5973007"/>
              <a:gd name="connsiteX72697" fmla="*/ 730452 w 6884782"/>
              <a:gd name="connsiteY72697" fmla="*/ 4245014 h 5973007"/>
              <a:gd name="connsiteX72698" fmla="*/ 728593 w 6884782"/>
              <a:gd name="connsiteY72698" fmla="*/ 4244085 h 5973007"/>
              <a:gd name="connsiteX72699" fmla="*/ 728748 w 6884782"/>
              <a:gd name="connsiteY72699" fmla="*/ 4242433 h 5973007"/>
              <a:gd name="connsiteX72700" fmla="*/ 730917 w 6884782"/>
              <a:gd name="connsiteY72700" fmla="*/ 4243568 h 5973007"/>
              <a:gd name="connsiteX72701" fmla="*/ 732156 w 6884782"/>
              <a:gd name="connsiteY72701" fmla="*/ 4244085 h 5973007"/>
              <a:gd name="connsiteX72702" fmla="*/ 732311 w 6884782"/>
              <a:gd name="connsiteY72702" fmla="*/ 4244085 h 5973007"/>
              <a:gd name="connsiteX72703" fmla="*/ 732776 w 6884782"/>
              <a:gd name="connsiteY72703" fmla="*/ 4239025 h 5973007"/>
              <a:gd name="connsiteX72704" fmla="*/ 735409 w 6884782"/>
              <a:gd name="connsiteY72704" fmla="*/ 4237889 h 5973007"/>
              <a:gd name="connsiteX72705" fmla="*/ 737113 w 6884782"/>
              <a:gd name="connsiteY72705" fmla="*/ 4234172 h 5973007"/>
              <a:gd name="connsiteX72706" fmla="*/ 746716 w 6884782"/>
              <a:gd name="connsiteY72706" fmla="*/ 4231074 h 5973007"/>
              <a:gd name="connsiteX72707" fmla="*/ 747955 w 6884782"/>
              <a:gd name="connsiteY72707" fmla="*/ 4222607 h 5973007"/>
              <a:gd name="connsiteX72708" fmla="*/ 746871 w 6884782"/>
              <a:gd name="connsiteY72708" fmla="*/ 4220645 h 5973007"/>
              <a:gd name="connsiteX72709" fmla="*/ 745167 w 6884782"/>
              <a:gd name="connsiteY72709" fmla="*/ 4220645 h 5973007"/>
              <a:gd name="connsiteX72710" fmla="*/ 745167 w 6884782"/>
              <a:gd name="connsiteY72710" fmla="*/ 4221575 h 5973007"/>
              <a:gd name="connsiteX72711" fmla="*/ 744393 w 6884782"/>
              <a:gd name="connsiteY72711" fmla="*/ 4224879 h 5973007"/>
              <a:gd name="connsiteX72712" fmla="*/ 743154 w 6884782"/>
              <a:gd name="connsiteY72712" fmla="*/ 4222814 h 5973007"/>
              <a:gd name="connsiteX72713" fmla="*/ 742999 w 6884782"/>
              <a:gd name="connsiteY72713" fmla="*/ 4220542 h 5973007"/>
              <a:gd name="connsiteX72714" fmla="*/ 740831 w 6884782"/>
              <a:gd name="connsiteY72714" fmla="*/ 4220542 h 5973007"/>
              <a:gd name="connsiteX72715" fmla="*/ 732311 w 6884782"/>
              <a:gd name="connsiteY72715" fmla="*/ 4214760 h 5973007"/>
              <a:gd name="connsiteX72716" fmla="*/ 741604 w 6884782"/>
              <a:gd name="connsiteY72716" fmla="*/ 4200510 h 5973007"/>
              <a:gd name="connsiteX72717" fmla="*/ 742999 w 6884782"/>
              <a:gd name="connsiteY72717" fmla="*/ 4200304 h 5973007"/>
              <a:gd name="connsiteX72718" fmla="*/ 742224 w 6884782"/>
              <a:gd name="connsiteY72718" fmla="*/ 4199168 h 5973007"/>
              <a:gd name="connsiteX72719" fmla="*/ 739126 w 6884782"/>
              <a:gd name="connsiteY72719" fmla="*/ 4188223 h 5973007"/>
              <a:gd name="connsiteX72720" fmla="*/ 742534 w 6884782"/>
              <a:gd name="connsiteY72720" fmla="*/ 4188739 h 5973007"/>
              <a:gd name="connsiteX72721" fmla="*/ 742379 w 6884782"/>
              <a:gd name="connsiteY72721" fmla="*/ 4190495 h 5973007"/>
              <a:gd name="connsiteX72722" fmla="*/ 745477 w 6884782"/>
              <a:gd name="connsiteY72722" fmla="*/ 4196793 h 5973007"/>
              <a:gd name="connsiteX72723" fmla="*/ 745787 w 6884782"/>
              <a:gd name="connsiteY72723" fmla="*/ 4199788 h 5973007"/>
              <a:gd name="connsiteX72724" fmla="*/ 747026 w 6884782"/>
              <a:gd name="connsiteY72724" fmla="*/ 4199581 h 5973007"/>
              <a:gd name="connsiteX72725" fmla="*/ 748885 w 6884782"/>
              <a:gd name="connsiteY72725" fmla="*/ 4201440 h 5973007"/>
              <a:gd name="connsiteX72726" fmla="*/ 748730 w 6884782"/>
              <a:gd name="connsiteY72726" fmla="*/ 4198445 h 5973007"/>
              <a:gd name="connsiteX72727" fmla="*/ 747800 w 6884782"/>
              <a:gd name="connsiteY72727" fmla="*/ 4193592 h 5973007"/>
              <a:gd name="connsiteX72728" fmla="*/ 748150 w 6884782"/>
              <a:gd name="connsiteY72728" fmla="*/ 4191187 h 5973007"/>
              <a:gd name="connsiteX72729" fmla="*/ 749040 w 6884782"/>
              <a:gd name="connsiteY72729" fmla="*/ 4190495 h 5973007"/>
              <a:gd name="connsiteX72730" fmla="*/ 750124 w 6884782"/>
              <a:gd name="connsiteY72730" fmla="*/ 4201337 h 5973007"/>
              <a:gd name="connsiteX72731" fmla="*/ 749969 w 6884782"/>
              <a:gd name="connsiteY72731" fmla="*/ 4202369 h 5973007"/>
              <a:gd name="connsiteX72732" fmla="*/ 755080 w 6884782"/>
              <a:gd name="connsiteY72732" fmla="*/ 4207222 h 5973007"/>
              <a:gd name="connsiteX72733" fmla="*/ 754306 w 6884782"/>
              <a:gd name="connsiteY72733" fmla="*/ 4211766 h 5973007"/>
              <a:gd name="connsiteX72734" fmla="*/ 755080 w 6884782"/>
              <a:gd name="connsiteY72734" fmla="*/ 4211972 h 5973007"/>
              <a:gd name="connsiteX72735" fmla="*/ 760502 w 6884782"/>
              <a:gd name="connsiteY72735" fmla="*/ 4209081 h 5973007"/>
              <a:gd name="connsiteX72736" fmla="*/ 763445 w 6884782"/>
              <a:gd name="connsiteY72736" fmla="*/ 4204228 h 5973007"/>
              <a:gd name="connsiteX72737" fmla="*/ 766233 w 6884782"/>
              <a:gd name="connsiteY72737" fmla="*/ 4203092 h 5973007"/>
              <a:gd name="connsiteX72738" fmla="*/ 771190 w 6884782"/>
              <a:gd name="connsiteY72738" fmla="*/ 4172941 h 5973007"/>
              <a:gd name="connsiteX72739" fmla="*/ 788693 w 6884782"/>
              <a:gd name="connsiteY72739" fmla="*/ 4171392 h 5973007"/>
              <a:gd name="connsiteX72740" fmla="*/ 793495 w 6884782"/>
              <a:gd name="connsiteY72740" fmla="*/ 4172528 h 5973007"/>
              <a:gd name="connsiteX72741" fmla="*/ 794269 w 6884782"/>
              <a:gd name="connsiteY72741" fmla="*/ 4167881 h 5973007"/>
              <a:gd name="connsiteX72742" fmla="*/ 789467 w 6884782"/>
              <a:gd name="connsiteY72742" fmla="*/ 4164165 h 5973007"/>
              <a:gd name="connsiteX72743" fmla="*/ 781413 w 6884782"/>
              <a:gd name="connsiteY72743" fmla="*/ 4160860 h 5973007"/>
              <a:gd name="connsiteX72744" fmla="*/ 774133 w 6884782"/>
              <a:gd name="connsiteY72744" fmla="*/ 4158175 h 5973007"/>
              <a:gd name="connsiteX72745" fmla="*/ 780948 w 6884782"/>
              <a:gd name="connsiteY72745" fmla="*/ 4158175 h 5973007"/>
              <a:gd name="connsiteX72746" fmla="*/ 788383 w 6884782"/>
              <a:gd name="connsiteY72746" fmla="*/ 4159828 h 5973007"/>
              <a:gd name="connsiteX72747" fmla="*/ 783736 w 6884782"/>
              <a:gd name="connsiteY72747" fmla="*/ 4155594 h 5973007"/>
              <a:gd name="connsiteX72748" fmla="*/ 778625 w 6884782"/>
              <a:gd name="connsiteY72748" fmla="*/ 4157143 h 5973007"/>
              <a:gd name="connsiteX72749" fmla="*/ 768866 w 6884782"/>
              <a:gd name="connsiteY72749" fmla="*/ 4151257 h 5973007"/>
              <a:gd name="connsiteX72750" fmla="*/ 769021 w 6884782"/>
              <a:gd name="connsiteY72750" fmla="*/ 4150018 h 5973007"/>
              <a:gd name="connsiteX72751" fmla="*/ 770260 w 6884782"/>
              <a:gd name="connsiteY72751" fmla="*/ 4150535 h 5973007"/>
              <a:gd name="connsiteX72752" fmla="*/ 772274 w 6884782"/>
              <a:gd name="connsiteY72752" fmla="*/ 4146507 h 5973007"/>
              <a:gd name="connsiteX72753" fmla="*/ 772584 w 6884782"/>
              <a:gd name="connsiteY72753" fmla="*/ 4146301 h 5973007"/>
              <a:gd name="connsiteX72754" fmla="*/ 769486 w 6884782"/>
              <a:gd name="connsiteY72754" fmla="*/ 4144030 h 5973007"/>
              <a:gd name="connsiteX72755" fmla="*/ 761586 w 6884782"/>
              <a:gd name="connsiteY72755" fmla="*/ 4139899 h 5973007"/>
              <a:gd name="connsiteX72756" fmla="*/ 756940 w 6884782"/>
              <a:gd name="connsiteY72756" fmla="*/ 4136595 h 5973007"/>
              <a:gd name="connsiteX72757" fmla="*/ 746716 w 6884782"/>
              <a:gd name="connsiteY72757" fmla="*/ 4125237 h 5973007"/>
              <a:gd name="connsiteX72758" fmla="*/ 738661 w 6884782"/>
              <a:gd name="connsiteY72758" fmla="*/ 4123584 h 5973007"/>
              <a:gd name="connsiteX72759" fmla="*/ 737577 w 6884782"/>
              <a:gd name="connsiteY72759" fmla="*/ 4122655 h 5973007"/>
              <a:gd name="connsiteX72760" fmla="*/ 735409 w 6884782"/>
              <a:gd name="connsiteY72760" fmla="*/ 4124617 h 5973007"/>
              <a:gd name="connsiteX72761" fmla="*/ 721933 w 6884782"/>
              <a:gd name="connsiteY72761" fmla="*/ 4130090 h 5973007"/>
              <a:gd name="connsiteX72762" fmla="*/ 725805 w 6884782"/>
              <a:gd name="connsiteY72762" fmla="*/ 4122242 h 5973007"/>
              <a:gd name="connsiteX72763" fmla="*/ 731381 w 6884782"/>
              <a:gd name="connsiteY72763" fmla="*/ 4116976 h 5973007"/>
              <a:gd name="connsiteX72764" fmla="*/ 722707 w 6884782"/>
              <a:gd name="connsiteY72764" fmla="*/ 4110161 h 5973007"/>
              <a:gd name="connsiteX72765" fmla="*/ 717596 w 6884782"/>
              <a:gd name="connsiteY72765" fmla="*/ 4106341 h 5973007"/>
              <a:gd name="connsiteX72766" fmla="*/ 712484 w 6884782"/>
              <a:gd name="connsiteY72766" fmla="*/ 4103140 h 5973007"/>
              <a:gd name="connsiteX72767" fmla="*/ 700557 w 6884782"/>
              <a:gd name="connsiteY72767" fmla="*/ 4097667 h 5973007"/>
              <a:gd name="connsiteX72768" fmla="*/ 701022 w 6884782"/>
              <a:gd name="connsiteY72768" fmla="*/ 4093331 h 5973007"/>
              <a:gd name="connsiteX72769" fmla="*/ 705049 w 6884782"/>
              <a:gd name="connsiteY72769" fmla="*/ 4098803 h 5973007"/>
              <a:gd name="connsiteX72770" fmla="*/ 695910 w 6884782"/>
              <a:gd name="connsiteY72770" fmla="*/ 4084657 h 5973007"/>
              <a:gd name="connsiteX72771" fmla="*/ 695291 w 6884782"/>
              <a:gd name="connsiteY72771" fmla="*/ 4088994 h 5973007"/>
              <a:gd name="connsiteX72772" fmla="*/ 679956 w 6884782"/>
              <a:gd name="connsiteY72772" fmla="*/ 4072782 h 5973007"/>
              <a:gd name="connsiteX72773" fmla="*/ 679027 w 6884782"/>
              <a:gd name="connsiteY72773" fmla="*/ 4070717 h 5973007"/>
              <a:gd name="connsiteX72774" fmla="*/ 679027 w 6884782"/>
              <a:gd name="connsiteY72774" fmla="*/ 4070614 h 5973007"/>
              <a:gd name="connsiteX72775" fmla="*/ 673296 w 6884782"/>
              <a:gd name="connsiteY72775" fmla="*/ 4064729 h 5973007"/>
              <a:gd name="connsiteX72776" fmla="*/ 673915 w 6884782"/>
              <a:gd name="connsiteY72776" fmla="*/ 4063076 h 5973007"/>
              <a:gd name="connsiteX72777" fmla="*/ 673141 w 6884782"/>
              <a:gd name="connsiteY72777" fmla="*/ 4062560 h 5973007"/>
              <a:gd name="connsiteX72778" fmla="*/ 673141 w 6884782"/>
              <a:gd name="connsiteY72778" fmla="*/ 4066381 h 5973007"/>
              <a:gd name="connsiteX72779" fmla="*/ 659355 w 6884782"/>
              <a:gd name="connsiteY72779" fmla="*/ 4054403 h 5973007"/>
              <a:gd name="connsiteX72780" fmla="*/ 658890 w 6884782"/>
              <a:gd name="connsiteY72780" fmla="*/ 4045833 h 5973007"/>
              <a:gd name="connsiteX72781" fmla="*/ 646343 w 6884782"/>
              <a:gd name="connsiteY72781" fmla="*/ 4036127 h 5973007"/>
              <a:gd name="connsiteX72782" fmla="*/ 639993 w 6884782"/>
              <a:gd name="connsiteY72782" fmla="*/ 4029621 h 5973007"/>
              <a:gd name="connsiteX72783" fmla="*/ 633797 w 6884782"/>
              <a:gd name="connsiteY72783" fmla="*/ 4022600 h 5973007"/>
              <a:gd name="connsiteX72784" fmla="*/ 621715 w 6884782"/>
              <a:gd name="connsiteY72784" fmla="*/ 4007421 h 5973007"/>
              <a:gd name="connsiteX72785" fmla="*/ 612576 w 6884782"/>
              <a:gd name="connsiteY72785" fmla="*/ 3991830 h 5973007"/>
              <a:gd name="connsiteX72786" fmla="*/ 606690 w 6884782"/>
              <a:gd name="connsiteY72786" fmla="*/ 3988009 h 5973007"/>
              <a:gd name="connsiteX72787" fmla="*/ 606535 w 6884782"/>
              <a:gd name="connsiteY72787" fmla="*/ 3992656 h 5973007"/>
              <a:gd name="connsiteX72788" fmla="*/ 589961 w 6884782"/>
              <a:gd name="connsiteY72788" fmla="*/ 3992139 h 5973007"/>
              <a:gd name="connsiteX72789" fmla="*/ 590891 w 6884782"/>
              <a:gd name="connsiteY72789" fmla="*/ 3984189 h 5973007"/>
              <a:gd name="connsiteX72790" fmla="*/ 603747 w 6884782"/>
              <a:gd name="connsiteY72790" fmla="*/ 3984395 h 5973007"/>
              <a:gd name="connsiteX72791" fmla="*/ 604366 w 6884782"/>
              <a:gd name="connsiteY72791" fmla="*/ 3985015 h 5973007"/>
              <a:gd name="connsiteX72792" fmla="*/ 601888 w 6884782"/>
              <a:gd name="connsiteY72792" fmla="*/ 3980472 h 5973007"/>
              <a:gd name="connsiteX72793" fmla="*/ 592749 w 6884782"/>
              <a:gd name="connsiteY72793" fmla="*/ 3967461 h 5973007"/>
              <a:gd name="connsiteX72794" fmla="*/ 594453 w 6884782"/>
              <a:gd name="connsiteY72794" fmla="*/ 3958788 h 5973007"/>
              <a:gd name="connsiteX72795" fmla="*/ 592130 w 6884782"/>
              <a:gd name="connsiteY72795" fmla="*/ 3958271 h 5973007"/>
              <a:gd name="connsiteX72796" fmla="*/ 592130 w 6884782"/>
              <a:gd name="connsiteY72796" fmla="*/ 3957755 h 5973007"/>
              <a:gd name="connsiteX72797" fmla="*/ 588722 w 6884782"/>
              <a:gd name="connsiteY72797" fmla="*/ 3952386 h 5973007"/>
              <a:gd name="connsiteX72798" fmla="*/ 588722 w 6884782"/>
              <a:gd name="connsiteY72798" fmla="*/ 3951766 h 5973007"/>
              <a:gd name="connsiteX72799" fmla="*/ 588103 w 6884782"/>
              <a:gd name="connsiteY72799" fmla="*/ 3951766 h 5973007"/>
              <a:gd name="connsiteX72800" fmla="*/ 587638 w 6884782"/>
              <a:gd name="connsiteY72800" fmla="*/ 3951766 h 5973007"/>
              <a:gd name="connsiteX72801" fmla="*/ 587018 w 6884782"/>
              <a:gd name="connsiteY72801" fmla="*/ 3949081 h 5973007"/>
              <a:gd name="connsiteX72802" fmla="*/ 582991 w 6884782"/>
              <a:gd name="connsiteY72802" fmla="*/ 3951250 h 5973007"/>
              <a:gd name="connsiteX72803" fmla="*/ 577260 w 6884782"/>
              <a:gd name="connsiteY72803" fmla="*/ 3946913 h 5973007"/>
              <a:gd name="connsiteX72804" fmla="*/ 572767 w 6884782"/>
              <a:gd name="connsiteY72804" fmla="*/ 3945880 h 5973007"/>
              <a:gd name="connsiteX72805" fmla="*/ 571063 w 6884782"/>
              <a:gd name="connsiteY72805" fmla="*/ 3945365 h 5973007"/>
              <a:gd name="connsiteX72806" fmla="*/ 570444 w 6884782"/>
              <a:gd name="connsiteY72806" fmla="*/ 3944745 h 5973007"/>
              <a:gd name="connsiteX72807" fmla="*/ 568740 w 6884782"/>
              <a:gd name="connsiteY72807" fmla="*/ 3942576 h 5973007"/>
              <a:gd name="connsiteX72808" fmla="*/ 571528 w 6884782"/>
              <a:gd name="connsiteY72808" fmla="*/ 3942576 h 5973007"/>
              <a:gd name="connsiteX72809" fmla="*/ 572767 w 6884782"/>
              <a:gd name="connsiteY72809" fmla="*/ 3943093 h 5973007"/>
              <a:gd name="connsiteX72810" fmla="*/ 573387 w 6884782"/>
              <a:gd name="connsiteY72810" fmla="*/ 3943093 h 5973007"/>
              <a:gd name="connsiteX72811" fmla="*/ 575556 w 6884782"/>
              <a:gd name="connsiteY72811" fmla="*/ 3944229 h 5973007"/>
              <a:gd name="connsiteX72812" fmla="*/ 580203 w 6884782"/>
              <a:gd name="connsiteY72812" fmla="*/ 3945880 h 5973007"/>
              <a:gd name="connsiteX72813" fmla="*/ 580203 w 6884782"/>
              <a:gd name="connsiteY72813" fmla="*/ 3941028 h 5973007"/>
              <a:gd name="connsiteX72814" fmla="*/ 580203 w 6884782"/>
              <a:gd name="connsiteY72814" fmla="*/ 3940408 h 5973007"/>
              <a:gd name="connsiteX72815" fmla="*/ 580203 w 6884782"/>
              <a:gd name="connsiteY72815" fmla="*/ 3939892 h 5973007"/>
              <a:gd name="connsiteX72816" fmla="*/ 579584 w 6884782"/>
              <a:gd name="connsiteY72816" fmla="*/ 3939375 h 5973007"/>
              <a:gd name="connsiteX72817" fmla="*/ 578499 w 6884782"/>
              <a:gd name="connsiteY72817" fmla="*/ 3936691 h 5973007"/>
              <a:gd name="connsiteX72818" fmla="*/ 574936 w 6884782"/>
              <a:gd name="connsiteY72818" fmla="*/ 3932354 h 5973007"/>
              <a:gd name="connsiteX72819" fmla="*/ 578963 w 6884782"/>
              <a:gd name="connsiteY72819" fmla="*/ 3932354 h 5973007"/>
              <a:gd name="connsiteX72820" fmla="*/ 567656 w 6884782"/>
              <a:gd name="connsiteY72820" fmla="*/ 3911806 h 5973007"/>
              <a:gd name="connsiteX72821" fmla="*/ 564249 w 6884782"/>
              <a:gd name="connsiteY72821" fmla="*/ 3912839 h 5973007"/>
              <a:gd name="connsiteX72822" fmla="*/ 563629 w 6884782"/>
              <a:gd name="connsiteY72822" fmla="*/ 3910774 h 5973007"/>
              <a:gd name="connsiteX72823" fmla="*/ 563009 w 6884782"/>
              <a:gd name="connsiteY72823" fmla="*/ 3908605 h 5973007"/>
              <a:gd name="connsiteX72824" fmla="*/ 561925 w 6884782"/>
              <a:gd name="connsiteY72824" fmla="*/ 3905301 h 5973007"/>
              <a:gd name="connsiteX72825" fmla="*/ 559137 w 6884782"/>
              <a:gd name="connsiteY72825" fmla="*/ 3898280 h 5973007"/>
              <a:gd name="connsiteX72826" fmla="*/ 552786 w 6884782"/>
              <a:gd name="connsiteY72826" fmla="*/ 3884237 h 5973007"/>
              <a:gd name="connsiteX72827" fmla="*/ 547055 w 6884782"/>
              <a:gd name="connsiteY72827" fmla="*/ 3869678 h 5973007"/>
              <a:gd name="connsiteX72828" fmla="*/ 544886 w 6884782"/>
              <a:gd name="connsiteY72828" fmla="*/ 3861624 h 5973007"/>
              <a:gd name="connsiteX72829" fmla="*/ 543028 w 6884782"/>
              <a:gd name="connsiteY72829" fmla="*/ 3853467 h 5973007"/>
              <a:gd name="connsiteX72830" fmla="*/ 538535 w 6884782"/>
              <a:gd name="connsiteY72830" fmla="*/ 3853467 h 5973007"/>
              <a:gd name="connsiteX72831" fmla="*/ 535128 w 6884782"/>
              <a:gd name="connsiteY72831" fmla="*/ 3838907 h 5973007"/>
              <a:gd name="connsiteX72832" fmla="*/ 534508 w 6884782"/>
              <a:gd name="connsiteY72832" fmla="*/ 3829098 h 5973007"/>
              <a:gd name="connsiteX72833" fmla="*/ 529397 w 6884782"/>
              <a:gd name="connsiteY72833" fmla="*/ 3827549 h 5973007"/>
              <a:gd name="connsiteX72834" fmla="*/ 535128 w 6884782"/>
              <a:gd name="connsiteY72834" fmla="*/ 3822076 h 5973007"/>
              <a:gd name="connsiteX72835" fmla="*/ 526609 w 6884782"/>
              <a:gd name="connsiteY72835" fmla="*/ 3807517 h 5973007"/>
              <a:gd name="connsiteX72836" fmla="*/ 530481 w 6884782"/>
              <a:gd name="connsiteY72836" fmla="*/ 3813506 h 5973007"/>
              <a:gd name="connsiteX72837" fmla="*/ 531101 w 6884782"/>
              <a:gd name="connsiteY72837" fmla="*/ 3801115 h 5973007"/>
              <a:gd name="connsiteX72838" fmla="*/ 525370 w 6884782"/>
              <a:gd name="connsiteY72838" fmla="*/ 3800496 h 5973007"/>
              <a:gd name="connsiteX72839" fmla="*/ 527325 w 6884782"/>
              <a:gd name="connsiteY72839" fmla="*/ 3795036 h 5973007"/>
              <a:gd name="connsiteX72840" fmla="*/ 527101 w 6884782"/>
              <a:gd name="connsiteY72840" fmla="*/ 3788337 h 5973007"/>
              <a:gd name="connsiteX72841" fmla="*/ 526917 w 6884782"/>
              <a:gd name="connsiteY72841" fmla="*/ 3788166 h 5973007"/>
              <a:gd name="connsiteX72842" fmla="*/ 524955 w 6884782"/>
              <a:gd name="connsiteY72842" fmla="*/ 3788166 h 5973007"/>
              <a:gd name="connsiteX72843" fmla="*/ 523515 w 6884782"/>
              <a:gd name="connsiteY72843" fmla="*/ 3787427 h 5973007"/>
              <a:gd name="connsiteX72844" fmla="*/ 522581 w 6884782"/>
              <a:gd name="connsiteY72844" fmla="*/ 3787486 h 5973007"/>
              <a:gd name="connsiteX72845" fmla="*/ 522653 w 6884782"/>
              <a:gd name="connsiteY72845" fmla="*/ 3786985 h 5973007"/>
              <a:gd name="connsiteX72846" fmla="*/ 513339 w 6884782"/>
              <a:gd name="connsiteY72846" fmla="*/ 3782203 h 5973007"/>
              <a:gd name="connsiteX72847" fmla="*/ 507608 w 6884782"/>
              <a:gd name="connsiteY72847" fmla="*/ 3769734 h 5973007"/>
              <a:gd name="connsiteX72848" fmla="*/ 524025 w 6884782"/>
              <a:gd name="connsiteY72848" fmla="*/ 3775000 h 5973007"/>
              <a:gd name="connsiteX72849" fmla="*/ 524285 w 6884782"/>
              <a:gd name="connsiteY72849" fmla="*/ 3775467 h 5973007"/>
              <a:gd name="connsiteX72850" fmla="*/ 524285 w 6884782"/>
              <a:gd name="connsiteY72850" fmla="*/ 3773379 h 5973007"/>
              <a:gd name="connsiteX72851" fmla="*/ 524232 w 6884782"/>
              <a:gd name="connsiteY72851" fmla="*/ 3773141 h 5973007"/>
              <a:gd name="connsiteX72852" fmla="*/ 517520 w 6884782"/>
              <a:gd name="connsiteY72852" fmla="*/ 3762453 h 5973007"/>
              <a:gd name="connsiteX72853" fmla="*/ 515249 w 6884782"/>
              <a:gd name="connsiteY72853" fmla="*/ 3767410 h 5973007"/>
              <a:gd name="connsiteX72854" fmla="*/ 502961 w 6884782"/>
              <a:gd name="connsiteY72854" fmla="*/ 3741388 h 5973007"/>
              <a:gd name="connsiteX72855" fmla="*/ 505233 w 6884782"/>
              <a:gd name="connsiteY72855" fmla="*/ 3736431 h 5973007"/>
              <a:gd name="connsiteX72856" fmla="*/ 498624 w 6884782"/>
              <a:gd name="connsiteY72856" fmla="*/ 3726208 h 5973007"/>
              <a:gd name="connsiteX72857" fmla="*/ 497179 w 6884782"/>
              <a:gd name="connsiteY72857" fmla="*/ 3730855 h 5973007"/>
              <a:gd name="connsiteX72858" fmla="*/ 485304 w 6884782"/>
              <a:gd name="connsiteY72858" fmla="*/ 3710718 h 5973007"/>
              <a:gd name="connsiteX72859" fmla="*/ 487886 w 6884782"/>
              <a:gd name="connsiteY72859" fmla="*/ 3700030 h 5973007"/>
              <a:gd name="connsiteX72860" fmla="*/ 476528 w 6884782"/>
              <a:gd name="connsiteY72860" fmla="*/ 3682991 h 5973007"/>
              <a:gd name="connsiteX72861" fmla="*/ 471468 w 6884782"/>
              <a:gd name="connsiteY72861" fmla="*/ 3672613 h 5973007"/>
              <a:gd name="connsiteX72862" fmla="*/ 466512 w 6884782"/>
              <a:gd name="connsiteY72862" fmla="*/ 3661616 h 5973007"/>
              <a:gd name="connsiteX72863" fmla="*/ 457942 w 6884782"/>
              <a:gd name="connsiteY72863" fmla="*/ 3638227 h 5973007"/>
              <a:gd name="connsiteX72864" fmla="*/ 455050 w 6884782"/>
              <a:gd name="connsiteY72864" fmla="*/ 3625215 h 5973007"/>
              <a:gd name="connsiteX72865" fmla="*/ 450817 w 6884782"/>
              <a:gd name="connsiteY72865" fmla="*/ 3627694 h 5973007"/>
              <a:gd name="connsiteX72866" fmla="*/ 452675 w 6884782"/>
              <a:gd name="connsiteY72866" fmla="*/ 3621343 h 5973007"/>
              <a:gd name="connsiteX72867" fmla="*/ 453811 w 6884782"/>
              <a:gd name="connsiteY72867" fmla="*/ 3619794 h 5973007"/>
              <a:gd name="connsiteX72868" fmla="*/ 452882 w 6884782"/>
              <a:gd name="connsiteY72868" fmla="*/ 3615457 h 5973007"/>
              <a:gd name="connsiteX72869" fmla="*/ 446377 w 6884782"/>
              <a:gd name="connsiteY72869" fmla="*/ 3607557 h 5973007"/>
              <a:gd name="connsiteX72870" fmla="*/ 445860 w 6884782"/>
              <a:gd name="connsiteY72870" fmla="*/ 3605234 h 5973007"/>
              <a:gd name="connsiteX72871" fmla="*/ 432437 w 6884782"/>
              <a:gd name="connsiteY72871" fmla="*/ 3611739 h 5973007"/>
              <a:gd name="connsiteX72872" fmla="*/ 415297 w 6884782"/>
              <a:gd name="connsiteY72872" fmla="*/ 3613908 h 5973007"/>
              <a:gd name="connsiteX72873" fmla="*/ 414058 w 6884782"/>
              <a:gd name="connsiteY72873" fmla="*/ 3619019 h 5973007"/>
              <a:gd name="connsiteX72874" fmla="*/ 411166 w 6884782"/>
              <a:gd name="connsiteY72874" fmla="*/ 3642874 h 5973007"/>
              <a:gd name="connsiteX72875" fmla="*/ 406210 w 6884782"/>
              <a:gd name="connsiteY72875" fmla="*/ 3625990 h 5973007"/>
              <a:gd name="connsiteX72876" fmla="*/ 409101 w 6884782"/>
              <a:gd name="connsiteY72876" fmla="*/ 3616076 h 5973007"/>
              <a:gd name="connsiteX72877" fmla="*/ 411476 w 6884782"/>
              <a:gd name="connsiteY72877" fmla="*/ 3614373 h 5973007"/>
              <a:gd name="connsiteX72878" fmla="*/ 409721 w 6884782"/>
              <a:gd name="connsiteY72878" fmla="*/ 3614682 h 5973007"/>
              <a:gd name="connsiteX72879" fmla="*/ 387004 w 6884782"/>
              <a:gd name="connsiteY72879" fmla="*/ 3610810 h 5973007"/>
              <a:gd name="connsiteX72880" fmla="*/ 343844 w 6884782"/>
              <a:gd name="connsiteY72880" fmla="*/ 3578591 h 5973007"/>
              <a:gd name="connsiteX72881" fmla="*/ 332898 w 6884782"/>
              <a:gd name="connsiteY72881" fmla="*/ 3542810 h 5973007"/>
              <a:gd name="connsiteX72882" fmla="*/ 333621 w 6884782"/>
              <a:gd name="connsiteY72882" fmla="*/ 3538318 h 5973007"/>
              <a:gd name="connsiteX72883" fmla="*/ 332588 w 6884782"/>
              <a:gd name="connsiteY72883" fmla="*/ 3537079 h 5973007"/>
              <a:gd name="connsiteX72884" fmla="*/ 330523 w 6884782"/>
              <a:gd name="connsiteY72884" fmla="*/ 3532587 h 5973007"/>
              <a:gd name="connsiteX72885" fmla="*/ 332898 w 6884782"/>
              <a:gd name="connsiteY72885" fmla="*/ 3533361 h 5973007"/>
              <a:gd name="connsiteX72886" fmla="*/ 334241 w 6884782"/>
              <a:gd name="connsiteY72886" fmla="*/ 3534911 h 5973007"/>
              <a:gd name="connsiteX72887" fmla="*/ 335376 w 6884782"/>
              <a:gd name="connsiteY72887" fmla="*/ 3528405 h 5973007"/>
              <a:gd name="connsiteX72888" fmla="*/ 362120 w 6884782"/>
              <a:gd name="connsiteY72888" fmla="*/ 3490455 h 5973007"/>
              <a:gd name="connsiteX72889" fmla="*/ 366456 w 6884782"/>
              <a:gd name="connsiteY72889" fmla="*/ 3487822 h 5973007"/>
              <a:gd name="connsiteX72890" fmla="*/ 365940 w 6884782"/>
              <a:gd name="connsiteY72890" fmla="*/ 3487203 h 5973007"/>
              <a:gd name="connsiteX72891" fmla="*/ 365630 w 6884782"/>
              <a:gd name="connsiteY72891" fmla="*/ 3487512 h 5973007"/>
              <a:gd name="connsiteX72892" fmla="*/ 366044 w 6884782"/>
              <a:gd name="connsiteY72892" fmla="*/ 3486738 h 5973007"/>
              <a:gd name="connsiteX72893" fmla="*/ 365424 w 6884782"/>
              <a:gd name="connsiteY72893" fmla="*/ 3484415 h 5973007"/>
              <a:gd name="connsiteX72894" fmla="*/ 362120 w 6884782"/>
              <a:gd name="connsiteY72894" fmla="*/ 3480077 h 5973007"/>
              <a:gd name="connsiteX72895" fmla="*/ 361604 w 6884782"/>
              <a:gd name="connsiteY72895" fmla="*/ 3474191 h 5973007"/>
              <a:gd name="connsiteX72896" fmla="*/ 363979 w 6884782"/>
              <a:gd name="connsiteY72896" fmla="*/ 3473417 h 5973007"/>
              <a:gd name="connsiteX72897" fmla="*/ 363359 w 6884782"/>
              <a:gd name="connsiteY72897" fmla="*/ 3471093 h 5973007"/>
              <a:gd name="connsiteX72898" fmla="*/ 369761 w 6884782"/>
              <a:gd name="connsiteY72898" fmla="*/ 3461645 h 5973007"/>
              <a:gd name="connsiteX72899" fmla="*/ 370896 w 6884782"/>
              <a:gd name="connsiteY72899" fmla="*/ 3461800 h 5973007"/>
              <a:gd name="connsiteX72900" fmla="*/ 371929 w 6884782"/>
              <a:gd name="connsiteY72900" fmla="*/ 3460250 h 5973007"/>
              <a:gd name="connsiteX72901" fmla="*/ 373685 w 6884782"/>
              <a:gd name="connsiteY72901" fmla="*/ 3461490 h 5973007"/>
              <a:gd name="connsiteX72902" fmla="*/ 374820 w 6884782"/>
              <a:gd name="connsiteY72902" fmla="*/ 3461180 h 5973007"/>
              <a:gd name="connsiteX72903" fmla="*/ 375337 w 6884782"/>
              <a:gd name="connsiteY72903" fmla="*/ 3461490 h 5973007"/>
              <a:gd name="connsiteX72904" fmla="*/ 376162 w 6884782"/>
              <a:gd name="connsiteY72904" fmla="*/ 3458082 h 5973007"/>
              <a:gd name="connsiteX72905" fmla="*/ 381635 w 6884782"/>
              <a:gd name="connsiteY72905" fmla="*/ 3459631 h 5973007"/>
              <a:gd name="connsiteX72906" fmla="*/ 380499 w 6884782"/>
              <a:gd name="connsiteY72906" fmla="*/ 3463968 h 5973007"/>
              <a:gd name="connsiteX72907" fmla="*/ 379880 w 6884782"/>
              <a:gd name="connsiteY72907" fmla="*/ 3467221 h 5973007"/>
              <a:gd name="connsiteX72908" fmla="*/ 382978 w 6884782"/>
              <a:gd name="connsiteY72908" fmla="*/ 3471713 h 5973007"/>
              <a:gd name="connsiteX72909" fmla="*/ 383494 w 6884782"/>
              <a:gd name="connsiteY72909" fmla="*/ 3467376 h 5973007"/>
              <a:gd name="connsiteX72910" fmla="*/ 387830 w 6884782"/>
              <a:gd name="connsiteY72910" fmla="*/ 3459786 h 5973007"/>
              <a:gd name="connsiteX72911" fmla="*/ 388554 w 6884782"/>
              <a:gd name="connsiteY72911" fmla="*/ 3459166 h 5973007"/>
              <a:gd name="connsiteX72912" fmla="*/ 387108 w 6884782"/>
              <a:gd name="connsiteY72912" fmla="*/ 3459786 h 5973007"/>
              <a:gd name="connsiteX72913" fmla="*/ 385456 w 6884782"/>
              <a:gd name="connsiteY72913" fmla="*/ 3458857 h 5973007"/>
              <a:gd name="connsiteX72914" fmla="*/ 382461 w 6884782"/>
              <a:gd name="connsiteY72914" fmla="*/ 3455914 h 5973007"/>
              <a:gd name="connsiteX72915" fmla="*/ 384010 w 6884782"/>
              <a:gd name="connsiteY72915" fmla="*/ 3453126 h 5973007"/>
              <a:gd name="connsiteX72916" fmla="*/ 387727 w 6884782"/>
              <a:gd name="connsiteY72916" fmla="*/ 3452351 h 5973007"/>
              <a:gd name="connsiteX72917" fmla="*/ 394026 w 6884782"/>
              <a:gd name="connsiteY72917" fmla="*/ 3455139 h 5973007"/>
              <a:gd name="connsiteX72918" fmla="*/ 393096 w 6884782"/>
              <a:gd name="connsiteY72918" fmla="*/ 3456533 h 5973007"/>
              <a:gd name="connsiteX72919" fmla="*/ 400221 w 6884782"/>
              <a:gd name="connsiteY72919" fmla="*/ 3460715 h 5973007"/>
              <a:gd name="connsiteX72920" fmla="*/ 404661 w 6884782"/>
              <a:gd name="connsiteY72920" fmla="*/ 3467531 h 5973007"/>
              <a:gd name="connsiteX72921" fmla="*/ 405487 w 6884782"/>
              <a:gd name="connsiteY72921" fmla="*/ 3472333 h 5973007"/>
              <a:gd name="connsiteX72922" fmla="*/ 407656 w 6884782"/>
              <a:gd name="connsiteY72922" fmla="*/ 3469235 h 5973007"/>
              <a:gd name="connsiteX72923" fmla="*/ 420047 w 6884782"/>
              <a:gd name="connsiteY72923" fmla="*/ 3461335 h 5973007"/>
              <a:gd name="connsiteX72924" fmla="*/ 422008 w 6884782"/>
              <a:gd name="connsiteY72924" fmla="*/ 3462729 h 5973007"/>
              <a:gd name="connsiteX72925" fmla="*/ 421698 w 6884782"/>
              <a:gd name="connsiteY72925" fmla="*/ 3460405 h 5973007"/>
              <a:gd name="connsiteX72926" fmla="*/ 420356 w 6884782"/>
              <a:gd name="connsiteY72926" fmla="*/ 3440424 h 5973007"/>
              <a:gd name="connsiteX72927" fmla="*/ 420356 w 6884782"/>
              <a:gd name="connsiteY72927" fmla="*/ 3439959 h 5973007"/>
              <a:gd name="connsiteX72928" fmla="*/ 415297 w 6884782"/>
              <a:gd name="connsiteY72928" fmla="*/ 3449253 h 5973007"/>
              <a:gd name="connsiteX72929" fmla="*/ 405281 w 6884782"/>
              <a:gd name="connsiteY72929" fmla="*/ 3458237 h 5973007"/>
              <a:gd name="connsiteX72930" fmla="*/ 415503 w 6884782"/>
              <a:gd name="connsiteY72930" fmla="*/ 3441353 h 5973007"/>
              <a:gd name="connsiteX72931" fmla="*/ 420356 w 6884782"/>
              <a:gd name="connsiteY72931" fmla="*/ 3439030 h 5973007"/>
              <a:gd name="connsiteX72932" fmla="*/ 420666 w 6884782"/>
              <a:gd name="connsiteY72932" fmla="*/ 3429581 h 5973007"/>
              <a:gd name="connsiteX72933" fmla="*/ 421595 w 6884782"/>
              <a:gd name="connsiteY72933" fmla="*/ 3419048 h 5973007"/>
              <a:gd name="connsiteX72934" fmla="*/ 416226 w 6884782"/>
              <a:gd name="connsiteY72934" fmla="*/ 3417190 h 5973007"/>
              <a:gd name="connsiteX72935" fmla="*/ 416226 w 6884782"/>
              <a:gd name="connsiteY72935" fmla="*/ 3411613 h 5973007"/>
              <a:gd name="connsiteX72936" fmla="*/ 413438 w 6884782"/>
              <a:gd name="connsiteY72936" fmla="*/ 3413317 h 5973007"/>
              <a:gd name="connsiteX72937" fmla="*/ 408069 w 6884782"/>
              <a:gd name="connsiteY72937" fmla="*/ 3412697 h 5973007"/>
              <a:gd name="connsiteX72938" fmla="*/ 406417 w 6884782"/>
              <a:gd name="connsiteY72938" fmla="*/ 3408980 h 5973007"/>
              <a:gd name="connsiteX72939" fmla="*/ 410753 w 6884782"/>
              <a:gd name="connsiteY72939" fmla="*/ 3401700 h 5973007"/>
              <a:gd name="connsiteX72940" fmla="*/ 415710 w 6884782"/>
              <a:gd name="connsiteY72940" fmla="*/ 3402939 h 5973007"/>
              <a:gd name="connsiteX72941" fmla="*/ 416536 w 6884782"/>
              <a:gd name="connsiteY72941" fmla="*/ 3405108 h 5973007"/>
              <a:gd name="connsiteX72942" fmla="*/ 417568 w 6884782"/>
              <a:gd name="connsiteY72942" fmla="*/ 3398137 h 5973007"/>
              <a:gd name="connsiteX72943" fmla="*/ 420563 w 6884782"/>
              <a:gd name="connsiteY72943" fmla="*/ 3386055 h 5973007"/>
              <a:gd name="connsiteX72944" fmla="*/ 414987 w 6884782"/>
              <a:gd name="connsiteY72944" fmla="*/ 3382028 h 5973007"/>
              <a:gd name="connsiteX72945" fmla="*/ 423867 w 6884782"/>
              <a:gd name="connsiteY72945" fmla="*/ 3377691 h 5973007"/>
              <a:gd name="connsiteX72946" fmla="*/ 419117 w 6884782"/>
              <a:gd name="connsiteY72946" fmla="*/ 3356470 h 5973007"/>
              <a:gd name="connsiteX72947" fmla="*/ 421595 w 6884782"/>
              <a:gd name="connsiteY72947" fmla="*/ 3365299 h 5973007"/>
              <a:gd name="connsiteX72948" fmla="*/ 426965 w 6884782"/>
              <a:gd name="connsiteY72948" fmla="*/ 3350584 h 5973007"/>
              <a:gd name="connsiteX72949" fmla="*/ 426965 w 6884782"/>
              <a:gd name="connsiteY72949" fmla="*/ 3350429 h 5973007"/>
              <a:gd name="connsiteX72950" fmla="*/ 421492 w 6884782"/>
              <a:gd name="connsiteY72950" fmla="*/ 3351049 h 5973007"/>
              <a:gd name="connsiteX72951" fmla="*/ 404248 w 6884782"/>
              <a:gd name="connsiteY72951" fmla="*/ 3352288 h 5973007"/>
              <a:gd name="connsiteX72952" fmla="*/ 414677 w 6884782"/>
              <a:gd name="connsiteY72952" fmla="*/ 3345627 h 5973007"/>
              <a:gd name="connsiteX72953" fmla="*/ 420976 w 6884782"/>
              <a:gd name="connsiteY72953" fmla="*/ 3343614 h 5973007"/>
              <a:gd name="connsiteX72954" fmla="*/ 422731 w 6884782"/>
              <a:gd name="connsiteY72954" fmla="*/ 3343459 h 5973007"/>
              <a:gd name="connsiteX72955" fmla="*/ 424693 w 6884782"/>
              <a:gd name="connsiteY72955" fmla="*/ 3341755 h 5973007"/>
              <a:gd name="connsiteX72956" fmla="*/ 427275 w 6884782"/>
              <a:gd name="connsiteY72956" fmla="*/ 3332461 h 5973007"/>
              <a:gd name="connsiteX72957" fmla="*/ 421802 w 6884782"/>
              <a:gd name="connsiteY72957" fmla="*/ 3330602 h 5973007"/>
              <a:gd name="connsiteX72958" fmla="*/ 424074 w 6884782"/>
              <a:gd name="connsiteY72958" fmla="*/ 3327504 h 5973007"/>
              <a:gd name="connsiteX72959" fmla="*/ 421698 w 6884782"/>
              <a:gd name="connsiteY72959" fmla="*/ 3327350 h 5973007"/>
              <a:gd name="connsiteX72960" fmla="*/ 409824 w 6884782"/>
              <a:gd name="connsiteY72960" fmla="*/ 3334010 h 5973007"/>
              <a:gd name="connsiteX72961" fmla="*/ 384114 w 6884782"/>
              <a:gd name="connsiteY72961" fmla="*/ 3325181 h 5973007"/>
              <a:gd name="connsiteX72962" fmla="*/ 368522 w 6884782"/>
              <a:gd name="connsiteY72962" fmla="*/ 3298074 h 5973007"/>
              <a:gd name="connsiteX72963" fmla="*/ 371826 w 6884782"/>
              <a:gd name="connsiteY72963" fmla="*/ 3290329 h 5973007"/>
              <a:gd name="connsiteX72964" fmla="*/ 373271 w 6884782"/>
              <a:gd name="connsiteY72964" fmla="*/ 3283669 h 5973007"/>
              <a:gd name="connsiteX72965" fmla="*/ 369554 w 6884782"/>
              <a:gd name="connsiteY72965" fmla="*/ 3284753 h 5973007"/>
              <a:gd name="connsiteX72966" fmla="*/ 362946 w 6884782"/>
              <a:gd name="connsiteY72966" fmla="*/ 3285992 h 5973007"/>
              <a:gd name="connsiteX72967" fmla="*/ 353136 w 6884782"/>
              <a:gd name="connsiteY72967" fmla="*/ 3275924 h 5973007"/>
              <a:gd name="connsiteX72968" fmla="*/ 353860 w 6884782"/>
              <a:gd name="connsiteY72968" fmla="*/ 3275150 h 5973007"/>
              <a:gd name="connsiteX72969" fmla="*/ 354582 w 6884782"/>
              <a:gd name="connsiteY72969" fmla="*/ 3273446 h 5973007"/>
              <a:gd name="connsiteX72970" fmla="*/ 353550 w 6884782"/>
              <a:gd name="connsiteY72970" fmla="*/ 3270812 h 5973007"/>
              <a:gd name="connsiteX72971" fmla="*/ 354892 w 6884782"/>
              <a:gd name="connsiteY72971" fmla="*/ 3268334 h 5973007"/>
              <a:gd name="connsiteX72972" fmla="*/ 359125 w 6884782"/>
              <a:gd name="connsiteY72972" fmla="*/ 3266785 h 5973007"/>
              <a:gd name="connsiteX72973" fmla="*/ 359848 w 6884782"/>
              <a:gd name="connsiteY72973" fmla="*/ 3267560 h 5973007"/>
              <a:gd name="connsiteX72974" fmla="*/ 365011 w 6884782"/>
              <a:gd name="connsiteY72974" fmla="*/ 3266166 h 5973007"/>
              <a:gd name="connsiteX72975" fmla="*/ 368315 w 6884782"/>
              <a:gd name="connsiteY72975" fmla="*/ 3266630 h 5973007"/>
              <a:gd name="connsiteX72976" fmla="*/ 363359 w 6884782"/>
              <a:gd name="connsiteY72976" fmla="*/ 3265391 h 5973007"/>
              <a:gd name="connsiteX72977" fmla="*/ 361604 w 6884782"/>
              <a:gd name="connsiteY72977" fmla="*/ 3264617 h 5973007"/>
              <a:gd name="connsiteX72978" fmla="*/ 361500 w 6884782"/>
              <a:gd name="connsiteY72978" fmla="*/ 3265546 h 5973007"/>
              <a:gd name="connsiteX72979" fmla="*/ 360571 w 6884782"/>
              <a:gd name="connsiteY72979" fmla="*/ 3264462 h 5973007"/>
              <a:gd name="connsiteX72980" fmla="*/ 360468 w 6884782"/>
              <a:gd name="connsiteY72980" fmla="*/ 3264462 h 5973007"/>
              <a:gd name="connsiteX72981" fmla="*/ 359538 w 6884782"/>
              <a:gd name="connsiteY72981" fmla="*/ 3264462 h 5973007"/>
              <a:gd name="connsiteX72982" fmla="*/ 356647 w 6884782"/>
              <a:gd name="connsiteY72982" fmla="*/ 3261983 h 5973007"/>
              <a:gd name="connsiteX72983" fmla="*/ 356751 w 6884782"/>
              <a:gd name="connsiteY72983" fmla="*/ 3261209 h 5973007"/>
              <a:gd name="connsiteX72984" fmla="*/ 352001 w 6884782"/>
              <a:gd name="connsiteY72984" fmla="*/ 3261364 h 5973007"/>
              <a:gd name="connsiteX72985" fmla="*/ 350555 w 6884782"/>
              <a:gd name="connsiteY72985" fmla="*/ 3261054 h 5973007"/>
              <a:gd name="connsiteX72986" fmla="*/ 350245 w 6884782"/>
              <a:gd name="connsiteY72986" fmla="*/ 3261519 h 5973007"/>
              <a:gd name="connsiteX72987" fmla="*/ 349522 w 6884782"/>
              <a:gd name="connsiteY72987" fmla="*/ 3260899 h 5973007"/>
              <a:gd name="connsiteX72988" fmla="*/ 345083 w 6884782"/>
              <a:gd name="connsiteY72988" fmla="*/ 3260124 h 5973007"/>
              <a:gd name="connsiteX72989" fmla="*/ 341778 w 6884782"/>
              <a:gd name="connsiteY72989" fmla="*/ 3256407 h 5973007"/>
              <a:gd name="connsiteX72990" fmla="*/ 347664 w 6884782"/>
              <a:gd name="connsiteY72990" fmla="*/ 3255633 h 5973007"/>
              <a:gd name="connsiteX72991" fmla="*/ 347974 w 6884782"/>
              <a:gd name="connsiteY72991" fmla="*/ 3255323 h 5973007"/>
              <a:gd name="connsiteX72992" fmla="*/ 348387 w 6884782"/>
              <a:gd name="connsiteY72992" fmla="*/ 3255478 h 5973007"/>
              <a:gd name="connsiteX72993" fmla="*/ 355202 w 6884782"/>
              <a:gd name="connsiteY72993" fmla="*/ 3254858 h 5973007"/>
              <a:gd name="connsiteX72994" fmla="*/ 361810 w 6884782"/>
              <a:gd name="connsiteY72994" fmla="*/ 3255943 h 5973007"/>
              <a:gd name="connsiteX72995" fmla="*/ 361913 w 6884782"/>
              <a:gd name="connsiteY72995" fmla="*/ 3255013 h 5973007"/>
              <a:gd name="connsiteX72996" fmla="*/ 362533 w 6884782"/>
              <a:gd name="connsiteY72996" fmla="*/ 3242776 h 5973007"/>
              <a:gd name="connsiteX72997" fmla="*/ 371206 w 6884782"/>
              <a:gd name="connsiteY72997" fmla="*/ 3244480 h 5973007"/>
              <a:gd name="connsiteX72998" fmla="*/ 377092 w 6884782"/>
              <a:gd name="connsiteY72998" fmla="*/ 3256252 h 5973007"/>
              <a:gd name="connsiteX72999" fmla="*/ 376886 w 6884782"/>
              <a:gd name="connsiteY72999" fmla="*/ 3256562 h 5973007"/>
              <a:gd name="connsiteX73000" fmla="*/ 376886 w 6884782"/>
              <a:gd name="connsiteY73000" fmla="*/ 3261519 h 5973007"/>
              <a:gd name="connsiteX73001" fmla="*/ 375337 w 6884782"/>
              <a:gd name="connsiteY73001" fmla="*/ 3262293 h 5973007"/>
              <a:gd name="connsiteX73002" fmla="*/ 376059 w 6884782"/>
              <a:gd name="connsiteY73002" fmla="*/ 3265236 h 5973007"/>
              <a:gd name="connsiteX73003" fmla="*/ 369657 w 6884782"/>
              <a:gd name="connsiteY73003" fmla="*/ 3267095 h 5973007"/>
              <a:gd name="connsiteX73004" fmla="*/ 374614 w 6884782"/>
              <a:gd name="connsiteY73004" fmla="*/ 3277318 h 5973007"/>
              <a:gd name="connsiteX73005" fmla="*/ 373994 w 6884782"/>
              <a:gd name="connsiteY73005" fmla="*/ 3279642 h 5973007"/>
              <a:gd name="connsiteX73006" fmla="*/ 373891 w 6884782"/>
              <a:gd name="connsiteY73006" fmla="*/ 3280881 h 5973007"/>
              <a:gd name="connsiteX73007" fmla="*/ 376782 w 6884782"/>
              <a:gd name="connsiteY73007" fmla="*/ 3272671 h 5973007"/>
              <a:gd name="connsiteX73008" fmla="*/ 383288 w 6884782"/>
              <a:gd name="connsiteY73008" fmla="*/ 3266785 h 5973007"/>
              <a:gd name="connsiteX73009" fmla="*/ 395368 w 6884782"/>
              <a:gd name="connsiteY73009" fmla="*/ 3266321 h 5973007"/>
              <a:gd name="connsiteX73010" fmla="*/ 395781 w 6884782"/>
              <a:gd name="connsiteY73010" fmla="*/ 3266166 h 5973007"/>
              <a:gd name="connsiteX73011" fmla="*/ 395575 w 6884782"/>
              <a:gd name="connsiteY73011" fmla="*/ 3266011 h 5973007"/>
              <a:gd name="connsiteX73012" fmla="*/ 396091 w 6884782"/>
              <a:gd name="connsiteY73012" fmla="*/ 3265546 h 5973007"/>
              <a:gd name="connsiteX73013" fmla="*/ 397020 w 6884782"/>
              <a:gd name="connsiteY73013" fmla="*/ 3264771 h 5973007"/>
              <a:gd name="connsiteX73014" fmla="*/ 397330 w 6884782"/>
              <a:gd name="connsiteY73014" fmla="*/ 3264617 h 5973007"/>
              <a:gd name="connsiteX73015" fmla="*/ 398363 w 6884782"/>
              <a:gd name="connsiteY73015" fmla="*/ 3265236 h 5973007"/>
              <a:gd name="connsiteX73016" fmla="*/ 399808 w 6884782"/>
              <a:gd name="connsiteY73016" fmla="*/ 3264617 h 5973007"/>
              <a:gd name="connsiteX73017" fmla="*/ 404455 w 6884782"/>
              <a:gd name="connsiteY73017" fmla="*/ 3263222 h 5973007"/>
              <a:gd name="connsiteX73018" fmla="*/ 415813 w 6884782"/>
              <a:gd name="connsiteY73018" fmla="*/ 3268334 h 5973007"/>
              <a:gd name="connsiteX73019" fmla="*/ 419014 w 6884782"/>
              <a:gd name="connsiteY73019" fmla="*/ 3270503 h 5973007"/>
              <a:gd name="connsiteX73020" fmla="*/ 422008 w 6884782"/>
              <a:gd name="connsiteY73020" fmla="*/ 3272052 h 5973007"/>
              <a:gd name="connsiteX73021" fmla="*/ 422318 w 6884782"/>
              <a:gd name="connsiteY73021" fmla="*/ 3272207 h 5973007"/>
              <a:gd name="connsiteX73022" fmla="*/ 429443 w 6884782"/>
              <a:gd name="connsiteY73022" fmla="*/ 3273291 h 5973007"/>
              <a:gd name="connsiteX73023" fmla="*/ 435431 w 6884782"/>
              <a:gd name="connsiteY73023" fmla="*/ 3277473 h 5973007"/>
              <a:gd name="connsiteX73024" fmla="*/ 437084 w 6884782"/>
              <a:gd name="connsiteY73024" fmla="*/ 3281190 h 5973007"/>
              <a:gd name="connsiteX73025" fmla="*/ 437394 w 6884782"/>
              <a:gd name="connsiteY73025" fmla="*/ 3283978 h 5973007"/>
              <a:gd name="connsiteX73026" fmla="*/ 438116 w 6884782"/>
              <a:gd name="connsiteY73026" fmla="*/ 3282585 h 5973007"/>
              <a:gd name="connsiteX73027" fmla="*/ 446583 w 6884782"/>
              <a:gd name="connsiteY73027" fmla="*/ 3284598 h 5973007"/>
              <a:gd name="connsiteX73028" fmla="*/ 441833 w 6884782"/>
              <a:gd name="connsiteY73028" fmla="*/ 3279332 h 5973007"/>
              <a:gd name="connsiteX73029" fmla="*/ 444002 w 6884782"/>
              <a:gd name="connsiteY73029" fmla="*/ 3275614 h 5973007"/>
              <a:gd name="connsiteX73030" fmla="*/ 443692 w 6884782"/>
              <a:gd name="connsiteY73030" fmla="*/ 3271587 h 5973007"/>
              <a:gd name="connsiteX73031" fmla="*/ 448855 w 6884782"/>
              <a:gd name="connsiteY73031" fmla="*/ 3272516 h 5973007"/>
              <a:gd name="connsiteX73032" fmla="*/ 446067 w 6884782"/>
              <a:gd name="connsiteY73032" fmla="*/ 3276079 h 5973007"/>
              <a:gd name="connsiteX73033" fmla="*/ 444518 w 6884782"/>
              <a:gd name="connsiteY73033" fmla="*/ 3275769 h 5973007"/>
              <a:gd name="connsiteX73034" fmla="*/ 446687 w 6884782"/>
              <a:gd name="connsiteY73034" fmla="*/ 3279796 h 5973007"/>
              <a:gd name="connsiteX73035" fmla="*/ 453295 w 6884782"/>
              <a:gd name="connsiteY73035" fmla="*/ 3282585 h 5973007"/>
              <a:gd name="connsiteX73036" fmla="*/ 454947 w 6884782"/>
              <a:gd name="connsiteY73036" fmla="*/ 3279487 h 5973007"/>
              <a:gd name="connsiteX73037" fmla="*/ 454637 w 6884782"/>
              <a:gd name="connsiteY73037" fmla="*/ 3277628 h 5973007"/>
              <a:gd name="connsiteX73038" fmla="*/ 454431 w 6884782"/>
              <a:gd name="connsiteY73038" fmla="*/ 3277783 h 5973007"/>
              <a:gd name="connsiteX73039" fmla="*/ 453915 w 6884782"/>
              <a:gd name="connsiteY73039" fmla="*/ 3276234 h 5973007"/>
              <a:gd name="connsiteX73040" fmla="*/ 452262 w 6884782"/>
              <a:gd name="connsiteY73040" fmla="*/ 3276079 h 5973007"/>
              <a:gd name="connsiteX73041" fmla="*/ 450198 w 6884782"/>
              <a:gd name="connsiteY73041" fmla="*/ 3272826 h 5973007"/>
              <a:gd name="connsiteX73042" fmla="*/ 452779 w 6884782"/>
              <a:gd name="connsiteY73042" fmla="*/ 3273446 h 5973007"/>
              <a:gd name="connsiteX73043" fmla="*/ 451333 w 6884782"/>
              <a:gd name="connsiteY73043" fmla="*/ 3269728 h 5973007"/>
              <a:gd name="connsiteX73044" fmla="*/ 456703 w 6884782"/>
              <a:gd name="connsiteY73044" fmla="*/ 3264462 h 5973007"/>
              <a:gd name="connsiteX73045" fmla="*/ 459387 w 6884782"/>
              <a:gd name="connsiteY73045" fmla="*/ 3267869 h 5973007"/>
              <a:gd name="connsiteX73046" fmla="*/ 461762 w 6884782"/>
              <a:gd name="connsiteY73046" fmla="*/ 3262293 h 5973007"/>
              <a:gd name="connsiteX73047" fmla="*/ 462382 w 6884782"/>
              <a:gd name="connsiteY73047" fmla="*/ 3266475 h 5973007"/>
              <a:gd name="connsiteX73048" fmla="*/ 461453 w 6884782"/>
              <a:gd name="connsiteY73048" fmla="*/ 3270193 h 5973007"/>
              <a:gd name="connsiteX73049" fmla="*/ 462485 w 6884782"/>
              <a:gd name="connsiteY73049" fmla="*/ 3271432 h 5973007"/>
              <a:gd name="connsiteX73050" fmla="*/ 465479 w 6884782"/>
              <a:gd name="connsiteY73050" fmla="*/ 3270193 h 5973007"/>
              <a:gd name="connsiteX73051" fmla="*/ 467338 w 6884782"/>
              <a:gd name="connsiteY73051" fmla="*/ 3263532 h 5973007"/>
              <a:gd name="connsiteX73052" fmla="*/ 467958 w 6884782"/>
              <a:gd name="connsiteY73052" fmla="*/ 3273755 h 5973007"/>
              <a:gd name="connsiteX73053" fmla="*/ 473533 w 6884782"/>
              <a:gd name="connsiteY73053" fmla="*/ 3253154 h 5973007"/>
              <a:gd name="connsiteX73054" fmla="*/ 473636 w 6884782"/>
              <a:gd name="connsiteY73054" fmla="*/ 3252070 h 5973007"/>
              <a:gd name="connsiteX73055" fmla="*/ 465995 w 6884782"/>
              <a:gd name="connsiteY73055" fmla="*/ 3248042 h 5973007"/>
              <a:gd name="connsiteX73056" fmla="*/ 458045 w 6884782"/>
              <a:gd name="connsiteY73056" fmla="*/ 3241382 h 5973007"/>
              <a:gd name="connsiteX73057" fmla="*/ 470435 w 6884782"/>
              <a:gd name="connsiteY73057" fmla="*/ 3238904 h 5973007"/>
              <a:gd name="connsiteX73058" fmla="*/ 473017 w 6884782"/>
              <a:gd name="connsiteY73058" fmla="*/ 3239368 h 5973007"/>
              <a:gd name="connsiteX73059" fmla="*/ 470642 w 6884782"/>
              <a:gd name="connsiteY73059" fmla="*/ 3233482 h 5973007"/>
              <a:gd name="connsiteX73060" fmla="*/ 471881 w 6884782"/>
              <a:gd name="connsiteY73060" fmla="*/ 3230849 h 5973007"/>
              <a:gd name="connsiteX73061" fmla="*/ 473740 w 6884782"/>
              <a:gd name="connsiteY73061" fmla="*/ 3228061 h 5973007"/>
              <a:gd name="connsiteX73062" fmla="*/ 472707 w 6884782"/>
              <a:gd name="connsiteY73062" fmla="*/ 3227287 h 5973007"/>
              <a:gd name="connsiteX73063" fmla="*/ 473946 w 6884782"/>
              <a:gd name="connsiteY73063" fmla="*/ 3226512 h 5973007"/>
              <a:gd name="connsiteX73064" fmla="*/ 473946 w 6884782"/>
              <a:gd name="connsiteY73064" fmla="*/ 3225583 h 5973007"/>
              <a:gd name="connsiteX73065" fmla="*/ 472191 w 6884782"/>
              <a:gd name="connsiteY73065" fmla="*/ 3223724 h 5973007"/>
              <a:gd name="connsiteX73066" fmla="*/ 477044 w 6884782"/>
              <a:gd name="connsiteY73066" fmla="*/ 3217838 h 5973007"/>
              <a:gd name="connsiteX73067" fmla="*/ 475495 w 6884782"/>
              <a:gd name="connsiteY73067" fmla="*/ 3217683 h 5973007"/>
              <a:gd name="connsiteX73068" fmla="*/ 472811 w 6884782"/>
              <a:gd name="connsiteY73068" fmla="*/ 3213656 h 5973007"/>
              <a:gd name="connsiteX73069" fmla="*/ 473843 w 6884782"/>
              <a:gd name="connsiteY73069" fmla="*/ 3211952 h 5973007"/>
              <a:gd name="connsiteX73070" fmla="*/ 477870 w 6884782"/>
              <a:gd name="connsiteY73070" fmla="*/ 3212726 h 5973007"/>
              <a:gd name="connsiteX73071" fmla="*/ 478593 w 6884782"/>
              <a:gd name="connsiteY73071" fmla="*/ 3215360 h 5973007"/>
              <a:gd name="connsiteX73072" fmla="*/ 481174 w 6884782"/>
              <a:gd name="connsiteY73072" fmla="*/ 3206531 h 5973007"/>
              <a:gd name="connsiteX73073" fmla="*/ 481587 w 6884782"/>
              <a:gd name="connsiteY73073" fmla="*/ 3204052 h 5973007"/>
              <a:gd name="connsiteX73074" fmla="*/ 479626 w 6884782"/>
              <a:gd name="connsiteY73074" fmla="*/ 3201264 h 5973007"/>
              <a:gd name="connsiteX73075" fmla="*/ 480658 w 6884782"/>
              <a:gd name="connsiteY73075" fmla="*/ 3199560 h 5973007"/>
              <a:gd name="connsiteX73076" fmla="*/ 482310 w 6884782"/>
              <a:gd name="connsiteY73076" fmla="*/ 3197856 h 5973007"/>
              <a:gd name="connsiteX73077" fmla="*/ 482413 w 6884782"/>
              <a:gd name="connsiteY73077" fmla="*/ 3197856 h 5973007"/>
              <a:gd name="connsiteX73078" fmla="*/ 482517 w 6884782"/>
              <a:gd name="connsiteY73078" fmla="*/ 3197546 h 5973007"/>
              <a:gd name="connsiteX73079" fmla="*/ 485924 w 6884782"/>
              <a:gd name="connsiteY73079" fmla="*/ 3191351 h 5973007"/>
              <a:gd name="connsiteX73080" fmla="*/ 486131 w 6884782"/>
              <a:gd name="connsiteY73080" fmla="*/ 3195842 h 5973007"/>
              <a:gd name="connsiteX73081" fmla="*/ 486234 w 6884782"/>
              <a:gd name="connsiteY73081" fmla="*/ 3196617 h 5973007"/>
              <a:gd name="connsiteX73082" fmla="*/ 487060 w 6884782"/>
              <a:gd name="connsiteY73082" fmla="*/ 3196307 h 5973007"/>
              <a:gd name="connsiteX73083" fmla="*/ 490364 w 6884782"/>
              <a:gd name="connsiteY73083" fmla="*/ 3198011 h 5973007"/>
              <a:gd name="connsiteX73084" fmla="*/ 491294 w 6884782"/>
              <a:gd name="connsiteY73084" fmla="*/ 3199405 h 5973007"/>
              <a:gd name="connsiteX73085" fmla="*/ 491087 w 6884782"/>
              <a:gd name="connsiteY73085" fmla="*/ 3199870 h 5973007"/>
              <a:gd name="connsiteX73086" fmla="*/ 495114 w 6884782"/>
              <a:gd name="connsiteY73086" fmla="*/ 3200335 h 5973007"/>
              <a:gd name="connsiteX73087" fmla="*/ 508950 w 6884782"/>
              <a:gd name="connsiteY73087" fmla="*/ 3170285 h 5973007"/>
              <a:gd name="connsiteX73088" fmla="*/ 511945 w 6884782"/>
              <a:gd name="connsiteY73088" fmla="*/ 3164244 h 5973007"/>
              <a:gd name="connsiteX73089" fmla="*/ 509983 w 6884782"/>
              <a:gd name="connsiteY73089" fmla="*/ 3162695 h 5973007"/>
              <a:gd name="connsiteX73090" fmla="*/ 513803 w 6884782"/>
              <a:gd name="connsiteY73090" fmla="*/ 3159287 h 5973007"/>
              <a:gd name="connsiteX73091" fmla="*/ 514320 w 6884782"/>
              <a:gd name="connsiteY73091" fmla="*/ 3159752 h 5973007"/>
              <a:gd name="connsiteX73092" fmla="*/ 516385 w 6884782"/>
              <a:gd name="connsiteY73092" fmla="*/ 3155570 h 5973007"/>
              <a:gd name="connsiteX73093" fmla="*/ 516591 w 6884782"/>
              <a:gd name="connsiteY73093" fmla="*/ 3154950 h 5973007"/>
              <a:gd name="connsiteX73094" fmla="*/ 515042 w 6884782"/>
              <a:gd name="connsiteY73094" fmla="*/ 3154331 h 5973007"/>
              <a:gd name="connsiteX73095" fmla="*/ 513493 w 6884782"/>
              <a:gd name="connsiteY73095" fmla="*/ 3152317 h 5973007"/>
              <a:gd name="connsiteX73096" fmla="*/ 513803 w 6884782"/>
              <a:gd name="connsiteY73096" fmla="*/ 3149529 h 5973007"/>
              <a:gd name="connsiteX73097" fmla="*/ 515559 w 6884782"/>
              <a:gd name="connsiteY73097" fmla="*/ 3147515 h 5973007"/>
              <a:gd name="connsiteX73098" fmla="*/ 518037 w 6884782"/>
              <a:gd name="connsiteY73098" fmla="*/ 3146896 h 5973007"/>
              <a:gd name="connsiteX73099" fmla="*/ 519172 w 6884782"/>
              <a:gd name="connsiteY73099" fmla="*/ 3146896 h 5973007"/>
              <a:gd name="connsiteX73100" fmla="*/ 520515 w 6884782"/>
              <a:gd name="connsiteY73100" fmla="*/ 3142403 h 5973007"/>
              <a:gd name="connsiteX73101" fmla="*/ 516488 w 6884782"/>
              <a:gd name="connsiteY73101" fmla="*/ 3140080 h 5973007"/>
              <a:gd name="connsiteX73102" fmla="*/ 513493 w 6884782"/>
              <a:gd name="connsiteY73102" fmla="*/ 3134194 h 5973007"/>
              <a:gd name="connsiteX73103" fmla="*/ 524852 w 6884782"/>
              <a:gd name="connsiteY73103" fmla="*/ 3137292 h 5973007"/>
              <a:gd name="connsiteX73104" fmla="*/ 527949 w 6884782"/>
              <a:gd name="connsiteY73104" fmla="*/ 3134504 h 5973007"/>
              <a:gd name="connsiteX73105" fmla="*/ 532493 w 6884782"/>
              <a:gd name="connsiteY73105" fmla="*/ 3128308 h 5973007"/>
              <a:gd name="connsiteX73106" fmla="*/ 532906 w 6884782"/>
              <a:gd name="connsiteY73106" fmla="*/ 3127533 h 5973007"/>
              <a:gd name="connsiteX73107" fmla="*/ 531770 w 6884782"/>
              <a:gd name="connsiteY73107" fmla="*/ 3127224 h 5973007"/>
              <a:gd name="connsiteX73108" fmla="*/ 526710 w 6884782"/>
              <a:gd name="connsiteY73108" fmla="*/ 3115606 h 5973007"/>
              <a:gd name="connsiteX73109" fmla="*/ 522373 w 6884782"/>
              <a:gd name="connsiteY73109" fmla="*/ 3108171 h 5973007"/>
              <a:gd name="connsiteX73110" fmla="*/ 521548 w 6884782"/>
              <a:gd name="connsiteY73110" fmla="*/ 3107397 h 5973007"/>
              <a:gd name="connsiteX73111" fmla="*/ 511531 w 6884782"/>
              <a:gd name="connsiteY73111" fmla="*/ 3127843 h 5973007"/>
              <a:gd name="connsiteX73112" fmla="*/ 498315 w 6884782"/>
              <a:gd name="connsiteY73112" fmla="*/ 3143642 h 5973007"/>
              <a:gd name="connsiteX73113" fmla="*/ 506059 w 6884782"/>
              <a:gd name="connsiteY73113" fmla="*/ 3133264 h 5973007"/>
              <a:gd name="connsiteX73114" fmla="*/ 499863 w 6884782"/>
              <a:gd name="connsiteY73114" fmla="*/ 3134659 h 5973007"/>
              <a:gd name="connsiteX73115" fmla="*/ 495527 w 6884782"/>
              <a:gd name="connsiteY73115" fmla="*/ 3137602 h 5973007"/>
              <a:gd name="connsiteX73116" fmla="*/ 496559 w 6884782"/>
              <a:gd name="connsiteY73116" fmla="*/ 3139615 h 5973007"/>
              <a:gd name="connsiteX73117" fmla="*/ 492946 w 6884782"/>
              <a:gd name="connsiteY73117" fmla="*/ 3149993 h 5973007"/>
              <a:gd name="connsiteX73118" fmla="*/ 488402 w 6884782"/>
              <a:gd name="connsiteY73118" fmla="*/ 3147670 h 5973007"/>
              <a:gd name="connsiteX73119" fmla="*/ 487886 w 6884782"/>
              <a:gd name="connsiteY73119" fmla="*/ 3147050 h 5973007"/>
              <a:gd name="connsiteX73120" fmla="*/ 485924 w 6884782"/>
              <a:gd name="connsiteY73120" fmla="*/ 3149529 h 5973007"/>
              <a:gd name="connsiteX73121" fmla="*/ 484375 w 6884782"/>
              <a:gd name="connsiteY73121" fmla="*/ 3145966 h 5973007"/>
              <a:gd name="connsiteX73122" fmla="*/ 484582 w 6884782"/>
              <a:gd name="connsiteY73122" fmla="*/ 3142558 h 5973007"/>
              <a:gd name="connsiteX73123" fmla="*/ 482000 w 6884782"/>
              <a:gd name="connsiteY73123" fmla="*/ 3138996 h 5973007"/>
              <a:gd name="connsiteX73124" fmla="*/ 483653 w 6884782"/>
              <a:gd name="connsiteY73124" fmla="*/ 3137602 h 5973007"/>
              <a:gd name="connsiteX73125" fmla="*/ 481897 w 6884782"/>
              <a:gd name="connsiteY73125" fmla="*/ 3135898 h 5973007"/>
              <a:gd name="connsiteX73126" fmla="*/ 494494 w 6884782"/>
              <a:gd name="connsiteY73126" fmla="*/ 3124281 h 5973007"/>
              <a:gd name="connsiteX73127" fmla="*/ 498315 w 6884782"/>
              <a:gd name="connsiteY73127" fmla="*/ 3117930 h 5973007"/>
              <a:gd name="connsiteX73128" fmla="*/ 495424 w 6884782"/>
              <a:gd name="connsiteY73128" fmla="*/ 3115606 h 5973007"/>
              <a:gd name="connsiteX73129" fmla="*/ 490261 w 6884782"/>
              <a:gd name="connsiteY73129" fmla="*/ 3099962 h 5973007"/>
              <a:gd name="connsiteX73130" fmla="*/ 491397 w 6884782"/>
              <a:gd name="connsiteY73130" fmla="*/ 3094540 h 5973007"/>
              <a:gd name="connsiteX73131" fmla="*/ 494185 w 6884782"/>
              <a:gd name="connsiteY73131" fmla="*/ 3089894 h 5973007"/>
              <a:gd name="connsiteX73132" fmla="*/ 493049 w 6884782"/>
              <a:gd name="connsiteY73132" fmla="*/ 3089274 h 5973007"/>
              <a:gd name="connsiteX73133" fmla="*/ 494185 w 6884782"/>
              <a:gd name="connsiteY73133" fmla="*/ 3081219 h 5973007"/>
              <a:gd name="connsiteX73134" fmla="*/ 500586 w 6884782"/>
              <a:gd name="connsiteY73134" fmla="*/ 3080755 h 5973007"/>
              <a:gd name="connsiteX73135" fmla="*/ 500070 w 6884782"/>
              <a:gd name="connsiteY73135" fmla="*/ 3085866 h 5973007"/>
              <a:gd name="connsiteX73136" fmla="*/ 496766 w 6884782"/>
              <a:gd name="connsiteY73136" fmla="*/ 3089894 h 5973007"/>
              <a:gd name="connsiteX73137" fmla="*/ 503684 w 6884782"/>
              <a:gd name="connsiteY73137" fmla="*/ 3090823 h 5973007"/>
              <a:gd name="connsiteX73138" fmla="*/ 510602 w 6884782"/>
              <a:gd name="connsiteY73138" fmla="*/ 3095315 h 5973007"/>
              <a:gd name="connsiteX73139" fmla="*/ 512048 w 6884782"/>
              <a:gd name="connsiteY73139" fmla="*/ 3097638 h 5973007"/>
              <a:gd name="connsiteX73140" fmla="*/ 513906 w 6884782"/>
              <a:gd name="connsiteY73140" fmla="*/ 3094230 h 5973007"/>
              <a:gd name="connsiteX73141" fmla="*/ 516385 w 6884782"/>
              <a:gd name="connsiteY73141" fmla="*/ 3087415 h 5973007"/>
              <a:gd name="connsiteX73142" fmla="*/ 523613 w 6884782"/>
              <a:gd name="connsiteY73142" fmla="*/ 3082923 h 5973007"/>
              <a:gd name="connsiteX73143" fmla="*/ 524955 w 6884782"/>
              <a:gd name="connsiteY73143" fmla="*/ 3081219 h 5973007"/>
              <a:gd name="connsiteX73144" fmla="*/ 523819 w 6884782"/>
              <a:gd name="connsiteY73144" fmla="*/ 3080600 h 5973007"/>
              <a:gd name="connsiteX73145" fmla="*/ 526503 w 6884782"/>
              <a:gd name="connsiteY73145" fmla="*/ 3079516 h 5973007"/>
              <a:gd name="connsiteX73146" fmla="*/ 529085 w 6884782"/>
              <a:gd name="connsiteY73146" fmla="*/ 3076418 h 5973007"/>
              <a:gd name="connsiteX73147" fmla="*/ 529188 w 6884782"/>
              <a:gd name="connsiteY73147" fmla="*/ 3076108 h 5973007"/>
              <a:gd name="connsiteX73148" fmla="*/ 529498 w 6884782"/>
              <a:gd name="connsiteY73148" fmla="*/ 3075953 h 5973007"/>
              <a:gd name="connsiteX73149" fmla="*/ 530015 w 6884782"/>
              <a:gd name="connsiteY73149" fmla="*/ 3075333 h 5973007"/>
              <a:gd name="connsiteX73150" fmla="*/ 536623 w 6884782"/>
              <a:gd name="connsiteY73150" fmla="*/ 3066040 h 5973007"/>
              <a:gd name="connsiteX73151" fmla="*/ 544987 w 6884782"/>
              <a:gd name="connsiteY73151" fmla="*/ 3055817 h 5973007"/>
              <a:gd name="connsiteX73152" fmla="*/ 543438 w 6884782"/>
              <a:gd name="connsiteY73152" fmla="*/ 3046523 h 5973007"/>
              <a:gd name="connsiteX73153" fmla="*/ 548291 w 6884782"/>
              <a:gd name="connsiteY73153" fmla="*/ 3048846 h 5973007"/>
              <a:gd name="connsiteX73154" fmla="*/ 552111 w 6884782"/>
              <a:gd name="connsiteY73154" fmla="*/ 3047917 h 5973007"/>
              <a:gd name="connsiteX73155" fmla="*/ 547052 w 6884782"/>
              <a:gd name="connsiteY73155" fmla="*/ 3043425 h 5973007"/>
              <a:gd name="connsiteX73156" fmla="*/ 540959 w 6884782"/>
              <a:gd name="connsiteY73156" fmla="*/ 3033976 h 5973007"/>
              <a:gd name="connsiteX73157" fmla="*/ 541992 w 6884782"/>
              <a:gd name="connsiteY73157" fmla="*/ 3031807 h 5973007"/>
              <a:gd name="connsiteX73158" fmla="*/ 553144 w 6884782"/>
              <a:gd name="connsiteY73158" fmla="*/ 3040482 h 5973007"/>
              <a:gd name="connsiteX73159" fmla="*/ 555416 w 6884782"/>
              <a:gd name="connsiteY73159" fmla="*/ 3043734 h 5973007"/>
              <a:gd name="connsiteX73160" fmla="*/ 558203 w 6884782"/>
              <a:gd name="connsiteY73160" fmla="*/ 3040017 h 5973007"/>
              <a:gd name="connsiteX73161" fmla="*/ 575860 w 6884782"/>
              <a:gd name="connsiteY73161" fmla="*/ 3024373 h 5973007"/>
              <a:gd name="connsiteX73162" fmla="*/ 574518 w 6884782"/>
              <a:gd name="connsiteY73162" fmla="*/ 3018796 h 5973007"/>
              <a:gd name="connsiteX73163" fmla="*/ 581952 w 6884782"/>
              <a:gd name="connsiteY73163" fmla="*/ 3013839 h 5973007"/>
              <a:gd name="connsiteX73164" fmla="*/ 584844 w 6884782"/>
              <a:gd name="connsiteY73164" fmla="*/ 3005940 h 5973007"/>
              <a:gd name="connsiteX73165" fmla="*/ 592071 w 6884782"/>
              <a:gd name="connsiteY73165" fmla="*/ 3000363 h 5973007"/>
              <a:gd name="connsiteX73166" fmla="*/ 593414 w 6884782"/>
              <a:gd name="connsiteY73166" fmla="*/ 3004391 h 5973007"/>
              <a:gd name="connsiteX73167" fmla="*/ 595376 w 6884782"/>
              <a:gd name="connsiteY73167" fmla="*/ 3002687 h 5973007"/>
              <a:gd name="connsiteX73168" fmla="*/ 603843 w 6884782"/>
              <a:gd name="connsiteY73168" fmla="*/ 2994632 h 5973007"/>
              <a:gd name="connsiteX73169" fmla="*/ 611484 w 6884782"/>
              <a:gd name="connsiteY73169" fmla="*/ 2987197 h 5973007"/>
              <a:gd name="connsiteX73170" fmla="*/ 627282 w 6884782"/>
              <a:gd name="connsiteY73170" fmla="*/ 2972172 h 5973007"/>
              <a:gd name="connsiteX73171" fmla="*/ 632651 w 6884782"/>
              <a:gd name="connsiteY73171" fmla="*/ 2967526 h 5973007"/>
              <a:gd name="connsiteX73172" fmla="*/ 632858 w 6884782"/>
              <a:gd name="connsiteY73172" fmla="*/ 2965357 h 5973007"/>
              <a:gd name="connsiteX73173" fmla="*/ 634200 w 6884782"/>
              <a:gd name="connsiteY73173" fmla="*/ 2966131 h 5973007"/>
              <a:gd name="connsiteX73174" fmla="*/ 635335 w 6884782"/>
              <a:gd name="connsiteY73174" fmla="*/ 2965202 h 5973007"/>
              <a:gd name="connsiteX73175" fmla="*/ 644319 w 6884782"/>
              <a:gd name="connsiteY73175" fmla="*/ 2958541 h 5973007"/>
              <a:gd name="connsiteX73176" fmla="*/ 644732 w 6884782"/>
              <a:gd name="connsiteY73176" fmla="*/ 2960555 h 5973007"/>
              <a:gd name="connsiteX73177" fmla="*/ 645455 w 6884782"/>
              <a:gd name="connsiteY73177" fmla="*/ 2959935 h 5973007"/>
              <a:gd name="connsiteX73178" fmla="*/ 647417 w 6884782"/>
              <a:gd name="connsiteY73178" fmla="*/ 2960245 h 5973007"/>
              <a:gd name="connsiteX73179" fmla="*/ 647520 w 6884782"/>
              <a:gd name="connsiteY73179" fmla="*/ 2960865 h 5973007"/>
              <a:gd name="connsiteX73180" fmla="*/ 650515 w 6884782"/>
              <a:gd name="connsiteY73180" fmla="*/ 2955134 h 5973007"/>
              <a:gd name="connsiteX73181" fmla="*/ 654541 w 6884782"/>
              <a:gd name="connsiteY73181" fmla="*/ 2945220 h 5973007"/>
              <a:gd name="connsiteX73182" fmla="*/ 669307 w 6884782"/>
              <a:gd name="connsiteY73182" fmla="*/ 2937011 h 5973007"/>
              <a:gd name="connsiteX73183" fmla="*/ 669514 w 6884782"/>
              <a:gd name="connsiteY73183" fmla="*/ 2936237 h 5973007"/>
              <a:gd name="connsiteX73184" fmla="*/ 669410 w 6884782"/>
              <a:gd name="connsiteY73184" fmla="*/ 2936237 h 5973007"/>
              <a:gd name="connsiteX73185" fmla="*/ 669927 w 6884782"/>
              <a:gd name="connsiteY73185" fmla="*/ 2933603 h 5973007"/>
              <a:gd name="connsiteX73186" fmla="*/ 669307 w 6884782"/>
              <a:gd name="connsiteY73186" fmla="*/ 2931435 h 5973007"/>
              <a:gd name="connsiteX73187" fmla="*/ 697496 w 6884782"/>
              <a:gd name="connsiteY73187" fmla="*/ 2915635 h 5973007"/>
              <a:gd name="connsiteX73188" fmla="*/ 709990 w 6884782"/>
              <a:gd name="connsiteY73188" fmla="*/ 2914241 h 5973007"/>
              <a:gd name="connsiteX73189" fmla="*/ 715566 w 6884782"/>
              <a:gd name="connsiteY73189" fmla="*/ 2910369 h 5973007"/>
              <a:gd name="connsiteX73190" fmla="*/ 716082 w 6884782"/>
              <a:gd name="connsiteY73190" fmla="*/ 2909439 h 5973007"/>
              <a:gd name="connsiteX73191" fmla="*/ 717631 w 6884782"/>
              <a:gd name="connsiteY73191" fmla="*/ 2909594 h 5973007"/>
              <a:gd name="connsiteX73192" fmla="*/ 717837 w 6884782"/>
              <a:gd name="connsiteY73192" fmla="*/ 2909439 h 5973007"/>
              <a:gd name="connsiteX73193" fmla="*/ 717218 w 6884782"/>
              <a:gd name="connsiteY73193" fmla="*/ 2909130 h 5973007"/>
              <a:gd name="connsiteX73194" fmla="*/ 717941 w 6884782"/>
              <a:gd name="connsiteY73194" fmla="*/ 2904328 h 5973007"/>
              <a:gd name="connsiteX73195" fmla="*/ 718354 w 6884782"/>
              <a:gd name="connsiteY73195" fmla="*/ 2903399 h 5973007"/>
              <a:gd name="connsiteX73196" fmla="*/ 716701 w 6884782"/>
              <a:gd name="connsiteY73196" fmla="*/ 2901695 h 5973007"/>
              <a:gd name="connsiteX73197" fmla="*/ 719180 w 6884782"/>
              <a:gd name="connsiteY73197" fmla="*/ 2901230 h 5973007"/>
              <a:gd name="connsiteX73198" fmla="*/ 719490 w 6884782"/>
              <a:gd name="connsiteY73198" fmla="*/ 2900455 h 5973007"/>
              <a:gd name="connsiteX73199" fmla="*/ 724859 w 6884782"/>
              <a:gd name="connsiteY73199" fmla="*/ 2901075 h 5973007"/>
              <a:gd name="connsiteX73200" fmla="*/ 725995 w 6884782"/>
              <a:gd name="connsiteY73200" fmla="*/ 2901849 h 5973007"/>
              <a:gd name="connsiteX73201" fmla="*/ 729609 w 6884782"/>
              <a:gd name="connsiteY73201" fmla="*/ 2901075 h 5973007"/>
              <a:gd name="connsiteX73202" fmla="*/ 732087 w 6884782"/>
              <a:gd name="connsiteY73202" fmla="*/ 2899061 h 5973007"/>
              <a:gd name="connsiteX73203" fmla="*/ 732500 w 6884782"/>
              <a:gd name="connsiteY73203" fmla="*/ 2897512 h 5973007"/>
              <a:gd name="connsiteX73204" fmla="*/ 731364 w 6884782"/>
              <a:gd name="connsiteY73204" fmla="*/ 2895344 h 5973007"/>
              <a:gd name="connsiteX73205" fmla="*/ 731364 w 6884782"/>
              <a:gd name="connsiteY73205" fmla="*/ 2892866 h 5973007"/>
              <a:gd name="connsiteX73206" fmla="*/ 734462 w 6884782"/>
              <a:gd name="connsiteY73206" fmla="*/ 2889767 h 5973007"/>
              <a:gd name="connsiteX73207" fmla="*/ 739418 w 6884782"/>
              <a:gd name="connsiteY73207" fmla="*/ 2889923 h 5973007"/>
              <a:gd name="connsiteX73208" fmla="*/ 743445 w 6884782"/>
              <a:gd name="connsiteY73208" fmla="*/ 2893950 h 5973007"/>
              <a:gd name="connsiteX73209" fmla="*/ 743548 w 6884782"/>
              <a:gd name="connsiteY73209" fmla="*/ 2893795 h 5973007"/>
              <a:gd name="connsiteX73210" fmla="*/ 747162 w 6884782"/>
              <a:gd name="connsiteY73210" fmla="*/ 2896428 h 5973007"/>
              <a:gd name="connsiteX73211" fmla="*/ 751809 w 6884782"/>
              <a:gd name="connsiteY73211" fmla="*/ 2895808 h 5973007"/>
              <a:gd name="connsiteX73212" fmla="*/ 752531 w 6884782"/>
              <a:gd name="connsiteY73212" fmla="*/ 2894569 h 5973007"/>
              <a:gd name="connsiteX73213" fmla="*/ 750570 w 6884782"/>
              <a:gd name="connsiteY73213" fmla="*/ 2891007 h 5973007"/>
              <a:gd name="connsiteX73214" fmla="*/ 751706 w 6884782"/>
              <a:gd name="connsiteY73214" fmla="*/ 2888683 h 5973007"/>
              <a:gd name="connsiteX73215" fmla="*/ 756455 w 6884782"/>
              <a:gd name="connsiteY73215" fmla="*/ 2885895 h 5973007"/>
              <a:gd name="connsiteX73216" fmla="*/ 766574 w 6884782"/>
              <a:gd name="connsiteY73216" fmla="*/ 2884811 h 5973007"/>
              <a:gd name="connsiteX73217" fmla="*/ 768743 w 6884782"/>
              <a:gd name="connsiteY73217" fmla="*/ 2885430 h 5973007"/>
              <a:gd name="connsiteX73218" fmla="*/ 768226 w 6884782"/>
              <a:gd name="connsiteY73218" fmla="*/ 2884656 h 5973007"/>
              <a:gd name="connsiteX73219" fmla="*/ 775145 w 6884782"/>
              <a:gd name="connsiteY73219" fmla="*/ 2878305 h 5973007"/>
              <a:gd name="connsiteX73220" fmla="*/ 778965 w 6884782"/>
              <a:gd name="connsiteY73220" fmla="*/ 2880629 h 5973007"/>
              <a:gd name="connsiteX73221" fmla="*/ 779172 w 6884782"/>
              <a:gd name="connsiteY73221" fmla="*/ 2879544 h 5973007"/>
              <a:gd name="connsiteX73222" fmla="*/ 781237 w 6884782"/>
              <a:gd name="connsiteY73222" fmla="*/ 2878150 h 5973007"/>
              <a:gd name="connsiteX73223" fmla="*/ 787639 w 6884782"/>
              <a:gd name="connsiteY73223" fmla="*/ 2876756 h 5973007"/>
              <a:gd name="connsiteX73224" fmla="*/ 787122 w 6884782"/>
              <a:gd name="connsiteY73224" fmla="*/ 2878305 h 5973007"/>
              <a:gd name="connsiteX73225" fmla="*/ 789807 w 6884782"/>
              <a:gd name="connsiteY73225" fmla="*/ 2877531 h 5973007"/>
              <a:gd name="connsiteX73226" fmla="*/ 791046 w 6884782"/>
              <a:gd name="connsiteY73226" fmla="*/ 2873194 h 5973007"/>
              <a:gd name="connsiteX73227" fmla="*/ 790324 w 6884782"/>
              <a:gd name="connsiteY73227" fmla="*/ 2873814 h 5973007"/>
              <a:gd name="connsiteX73228" fmla="*/ 782063 w 6884782"/>
              <a:gd name="connsiteY73228" fmla="*/ 2874433 h 5973007"/>
              <a:gd name="connsiteX73229" fmla="*/ 779894 w 6884782"/>
              <a:gd name="connsiteY73229" fmla="*/ 2873194 h 5973007"/>
              <a:gd name="connsiteX73230" fmla="*/ 779998 w 6884782"/>
              <a:gd name="connsiteY73230" fmla="*/ 2873968 h 5973007"/>
              <a:gd name="connsiteX73231" fmla="*/ 771531 w 6884782"/>
              <a:gd name="connsiteY73231" fmla="*/ 2876602 h 5973007"/>
              <a:gd name="connsiteX73232" fmla="*/ 770292 w 6884782"/>
              <a:gd name="connsiteY73232" fmla="*/ 2871645 h 5973007"/>
              <a:gd name="connsiteX73233" fmla="*/ 766781 w 6884782"/>
              <a:gd name="connsiteY73233" fmla="*/ 2872264 h 5973007"/>
              <a:gd name="connsiteX73234" fmla="*/ 766264 w 6884782"/>
              <a:gd name="connsiteY73234" fmla="*/ 2868701 h 5973007"/>
              <a:gd name="connsiteX73235" fmla="*/ 766987 w 6884782"/>
              <a:gd name="connsiteY73235" fmla="*/ 2867153 h 5973007"/>
              <a:gd name="connsiteX73236" fmla="*/ 769053 w 6884782"/>
              <a:gd name="connsiteY73236" fmla="*/ 2867462 h 5973007"/>
              <a:gd name="connsiteX73237" fmla="*/ 769982 w 6884782"/>
              <a:gd name="connsiteY73237" fmla="*/ 2868392 h 5973007"/>
              <a:gd name="connsiteX73238" fmla="*/ 770808 w 6884782"/>
              <a:gd name="connsiteY73238" fmla="*/ 2862815 h 5973007"/>
              <a:gd name="connsiteX73239" fmla="*/ 779482 w 6884782"/>
              <a:gd name="connsiteY73239" fmla="*/ 2869012 h 5973007"/>
              <a:gd name="connsiteX73240" fmla="*/ 779791 w 6884782"/>
              <a:gd name="connsiteY73240" fmla="*/ 2871955 h 5973007"/>
              <a:gd name="connsiteX73241" fmla="*/ 784334 w 6884782"/>
              <a:gd name="connsiteY73241" fmla="*/ 2865449 h 5973007"/>
              <a:gd name="connsiteX73242" fmla="*/ 788258 w 6884782"/>
              <a:gd name="connsiteY73242" fmla="*/ 2857704 h 5973007"/>
              <a:gd name="connsiteX73243" fmla="*/ 788774 w 6884782"/>
              <a:gd name="connsiteY73243" fmla="*/ 2857859 h 5973007"/>
              <a:gd name="connsiteX73244" fmla="*/ 786813 w 6884782"/>
              <a:gd name="connsiteY73244" fmla="*/ 2850579 h 5973007"/>
              <a:gd name="connsiteX73245" fmla="*/ 786193 w 6884782"/>
              <a:gd name="connsiteY73245" fmla="*/ 2845312 h 5973007"/>
              <a:gd name="connsiteX73246" fmla="*/ 785883 w 6884782"/>
              <a:gd name="connsiteY73246" fmla="*/ 2845777 h 5973007"/>
              <a:gd name="connsiteX73247" fmla="*/ 776384 w 6884782"/>
              <a:gd name="connsiteY73247" fmla="*/ 2846861 h 5973007"/>
              <a:gd name="connsiteX73248" fmla="*/ 770395 w 6884782"/>
              <a:gd name="connsiteY73248" fmla="*/ 2841440 h 5973007"/>
              <a:gd name="connsiteX73249" fmla="*/ 764922 w 6884782"/>
              <a:gd name="connsiteY73249" fmla="*/ 2843144 h 5973007"/>
              <a:gd name="connsiteX73250" fmla="*/ 759140 w 6884782"/>
              <a:gd name="connsiteY73250" fmla="*/ 2841905 h 5973007"/>
              <a:gd name="connsiteX73251" fmla="*/ 754287 w 6884782"/>
              <a:gd name="connsiteY73251" fmla="*/ 2844847 h 5973007"/>
              <a:gd name="connsiteX73252" fmla="*/ 752841 w 6884782"/>
              <a:gd name="connsiteY73252" fmla="*/ 2841440 h 5973007"/>
              <a:gd name="connsiteX73253" fmla="*/ 753874 w 6884782"/>
              <a:gd name="connsiteY73253" fmla="*/ 2839736 h 5973007"/>
              <a:gd name="connsiteX73254" fmla="*/ 747782 w 6884782"/>
              <a:gd name="connsiteY73254" fmla="*/ 2834624 h 5973007"/>
              <a:gd name="connsiteX73255" fmla="*/ 742619 w 6884782"/>
              <a:gd name="connsiteY73255" fmla="*/ 2825486 h 5973007"/>
              <a:gd name="connsiteX73256" fmla="*/ 741380 w 6884782"/>
              <a:gd name="connsiteY73256" fmla="*/ 2815417 h 5973007"/>
              <a:gd name="connsiteX73257" fmla="*/ 737560 w 6884782"/>
              <a:gd name="connsiteY73257" fmla="*/ 2813249 h 5973007"/>
              <a:gd name="connsiteX73258" fmla="*/ 734152 w 6884782"/>
              <a:gd name="connsiteY73258" fmla="*/ 2795590 h 5973007"/>
              <a:gd name="connsiteX73259" fmla="*/ 743858 w 6884782"/>
              <a:gd name="connsiteY73259" fmla="*/ 2782889 h 5973007"/>
              <a:gd name="connsiteX73260" fmla="*/ 749124 w 6884782"/>
              <a:gd name="connsiteY73260" fmla="*/ 2783509 h 5973007"/>
              <a:gd name="connsiteX73261" fmla="*/ 754287 w 6884782"/>
              <a:gd name="connsiteY73261" fmla="*/ 2790944 h 5973007"/>
              <a:gd name="connsiteX73262" fmla="*/ 756455 w 6884782"/>
              <a:gd name="connsiteY73262" fmla="*/ 2789395 h 5973007"/>
              <a:gd name="connsiteX73263" fmla="*/ 768330 w 6884782"/>
              <a:gd name="connsiteY73263" fmla="*/ 2785987 h 5973007"/>
              <a:gd name="connsiteX73264" fmla="*/ 769053 w 6884782"/>
              <a:gd name="connsiteY73264" fmla="*/ 2787071 h 5973007"/>
              <a:gd name="connsiteX73265" fmla="*/ 769156 w 6884782"/>
              <a:gd name="connsiteY73265" fmla="*/ 2786916 h 5973007"/>
              <a:gd name="connsiteX73266" fmla="*/ 772150 w 6884782"/>
              <a:gd name="connsiteY73266" fmla="*/ 2789859 h 5973007"/>
              <a:gd name="connsiteX73267" fmla="*/ 771840 w 6884782"/>
              <a:gd name="connsiteY73267" fmla="*/ 2790789 h 5973007"/>
              <a:gd name="connsiteX73268" fmla="*/ 778656 w 6884782"/>
              <a:gd name="connsiteY73268" fmla="*/ 2799928 h 5973007"/>
              <a:gd name="connsiteX73269" fmla="*/ 782992 w 6884782"/>
              <a:gd name="connsiteY73269" fmla="*/ 2828893 h 5973007"/>
              <a:gd name="connsiteX73270" fmla="*/ 781547 w 6884782"/>
              <a:gd name="connsiteY73270" fmla="*/ 2831836 h 5973007"/>
              <a:gd name="connsiteX73271" fmla="*/ 784851 w 6884782"/>
              <a:gd name="connsiteY73271" fmla="*/ 2832301 h 5973007"/>
              <a:gd name="connsiteX73272" fmla="*/ 785058 w 6884782"/>
              <a:gd name="connsiteY73272" fmla="*/ 2832610 h 5973007"/>
              <a:gd name="connsiteX73273" fmla="*/ 784644 w 6884782"/>
              <a:gd name="connsiteY73273" fmla="*/ 2827654 h 5973007"/>
              <a:gd name="connsiteX73274" fmla="*/ 788878 w 6884782"/>
              <a:gd name="connsiteY73274" fmla="*/ 2827499 h 5973007"/>
              <a:gd name="connsiteX73275" fmla="*/ 791356 w 6884782"/>
              <a:gd name="connsiteY73275" fmla="*/ 2827964 h 5973007"/>
              <a:gd name="connsiteX73276" fmla="*/ 791356 w 6884782"/>
              <a:gd name="connsiteY73276" fmla="*/ 2826879 h 5973007"/>
              <a:gd name="connsiteX73277" fmla="*/ 796209 w 6884782"/>
              <a:gd name="connsiteY73277" fmla="*/ 2825640 h 5973007"/>
              <a:gd name="connsiteX73278" fmla="*/ 797551 w 6884782"/>
              <a:gd name="connsiteY73278" fmla="*/ 2826260 h 5973007"/>
              <a:gd name="connsiteX73279" fmla="*/ 797241 w 6884782"/>
              <a:gd name="connsiteY73279" fmla="*/ 2821923 h 5973007"/>
              <a:gd name="connsiteX73280" fmla="*/ 798790 w 6884782"/>
              <a:gd name="connsiteY73280" fmla="*/ 2818205 h 5973007"/>
              <a:gd name="connsiteX73281" fmla="*/ 800649 w 6884782"/>
              <a:gd name="connsiteY73281" fmla="*/ 2817276 h 5973007"/>
              <a:gd name="connsiteX73282" fmla="*/ 798997 w 6884782"/>
              <a:gd name="connsiteY73282" fmla="*/ 2816037 h 5973007"/>
              <a:gd name="connsiteX73283" fmla="*/ 796932 w 6884782"/>
              <a:gd name="connsiteY73283" fmla="*/ 2811235 h 5973007"/>
              <a:gd name="connsiteX73284" fmla="*/ 797448 w 6884782"/>
              <a:gd name="connsiteY73284" fmla="*/ 2805814 h 5973007"/>
              <a:gd name="connsiteX73285" fmla="*/ 802404 w 6884782"/>
              <a:gd name="connsiteY73285" fmla="*/ 2808912 h 5973007"/>
              <a:gd name="connsiteX73286" fmla="*/ 803127 w 6884782"/>
              <a:gd name="connsiteY73286" fmla="*/ 2816502 h 5973007"/>
              <a:gd name="connsiteX73287" fmla="*/ 801785 w 6884782"/>
              <a:gd name="connsiteY73287" fmla="*/ 2817276 h 5973007"/>
              <a:gd name="connsiteX73288" fmla="*/ 805399 w 6884782"/>
              <a:gd name="connsiteY73288" fmla="*/ 2818205 h 5973007"/>
              <a:gd name="connsiteX73289" fmla="*/ 812833 w 6884782"/>
              <a:gd name="connsiteY73289" fmla="*/ 2829358 h 5973007"/>
              <a:gd name="connsiteX73290" fmla="*/ 803850 w 6884782"/>
              <a:gd name="connsiteY73290" fmla="*/ 2830597 h 5973007"/>
              <a:gd name="connsiteX73291" fmla="*/ 799823 w 6884782"/>
              <a:gd name="connsiteY73291" fmla="*/ 2829513 h 5973007"/>
              <a:gd name="connsiteX73292" fmla="*/ 799823 w 6884782"/>
              <a:gd name="connsiteY73292" fmla="*/ 2829822 h 5973007"/>
              <a:gd name="connsiteX73293" fmla="*/ 798584 w 6884782"/>
              <a:gd name="connsiteY73293" fmla="*/ 2833230 h 5973007"/>
              <a:gd name="connsiteX73294" fmla="*/ 794660 w 6884782"/>
              <a:gd name="connsiteY73294" fmla="*/ 2836018 h 5973007"/>
              <a:gd name="connsiteX73295" fmla="*/ 795176 w 6884782"/>
              <a:gd name="connsiteY73295" fmla="*/ 2850114 h 5973007"/>
              <a:gd name="connsiteX73296" fmla="*/ 797964 w 6884782"/>
              <a:gd name="connsiteY73296" fmla="*/ 2854142 h 5973007"/>
              <a:gd name="connsiteX73297" fmla="*/ 796932 w 6884782"/>
              <a:gd name="connsiteY73297" fmla="*/ 2857704 h 5973007"/>
              <a:gd name="connsiteX73298" fmla="*/ 795590 w 6884782"/>
              <a:gd name="connsiteY73298" fmla="*/ 2857239 h 5973007"/>
              <a:gd name="connsiteX73299" fmla="*/ 795899 w 6884782"/>
              <a:gd name="connsiteY73299" fmla="*/ 2860492 h 5973007"/>
              <a:gd name="connsiteX73300" fmla="*/ 795693 w 6884782"/>
              <a:gd name="connsiteY73300" fmla="*/ 2866998 h 5973007"/>
              <a:gd name="connsiteX73301" fmla="*/ 796209 w 6884782"/>
              <a:gd name="connsiteY73301" fmla="*/ 2866688 h 5973007"/>
              <a:gd name="connsiteX73302" fmla="*/ 804676 w 6884782"/>
              <a:gd name="connsiteY73302" fmla="*/ 2866688 h 5973007"/>
              <a:gd name="connsiteX73303" fmla="*/ 804883 w 6884782"/>
              <a:gd name="connsiteY73303" fmla="*/ 2866688 h 5973007"/>
              <a:gd name="connsiteX73304" fmla="*/ 803953 w 6884782"/>
              <a:gd name="connsiteY73304" fmla="*/ 2863745 h 5973007"/>
              <a:gd name="connsiteX73305" fmla="*/ 805502 w 6884782"/>
              <a:gd name="connsiteY73305" fmla="*/ 2860492 h 5973007"/>
              <a:gd name="connsiteX73306" fmla="*/ 808600 w 6884782"/>
              <a:gd name="connsiteY73306" fmla="*/ 2859718 h 5973007"/>
              <a:gd name="connsiteX73307" fmla="*/ 810149 w 6884782"/>
              <a:gd name="connsiteY73307" fmla="*/ 2864365 h 5973007"/>
              <a:gd name="connsiteX73308" fmla="*/ 810045 w 6884782"/>
              <a:gd name="connsiteY73308" fmla="*/ 2864829 h 5973007"/>
              <a:gd name="connsiteX73309" fmla="*/ 810871 w 6884782"/>
              <a:gd name="connsiteY73309" fmla="*/ 2864519 h 5973007"/>
              <a:gd name="connsiteX73310" fmla="*/ 813866 w 6884782"/>
              <a:gd name="connsiteY73310" fmla="*/ 2862351 h 5973007"/>
              <a:gd name="connsiteX73311" fmla="*/ 813762 w 6884782"/>
              <a:gd name="connsiteY73311" fmla="*/ 2862196 h 5973007"/>
              <a:gd name="connsiteX73312" fmla="*/ 813350 w 6884782"/>
              <a:gd name="connsiteY73312" fmla="*/ 2860027 h 5973007"/>
              <a:gd name="connsiteX73313" fmla="*/ 814589 w 6884782"/>
              <a:gd name="connsiteY73313" fmla="*/ 2858633 h 5973007"/>
              <a:gd name="connsiteX73314" fmla="*/ 815311 w 6884782"/>
              <a:gd name="connsiteY73314" fmla="*/ 2858943 h 5973007"/>
              <a:gd name="connsiteX73315" fmla="*/ 815828 w 6884782"/>
              <a:gd name="connsiteY73315" fmla="*/ 2855071 h 5973007"/>
              <a:gd name="connsiteX73316" fmla="*/ 819545 w 6884782"/>
              <a:gd name="connsiteY73316" fmla="*/ 2852592 h 5973007"/>
              <a:gd name="connsiteX73317" fmla="*/ 824501 w 6884782"/>
              <a:gd name="connsiteY73317" fmla="*/ 2853832 h 5973007"/>
              <a:gd name="connsiteX73318" fmla="*/ 824914 w 6884782"/>
              <a:gd name="connsiteY73318" fmla="*/ 2854761 h 5973007"/>
              <a:gd name="connsiteX73319" fmla="*/ 825637 w 6884782"/>
              <a:gd name="connsiteY73319" fmla="*/ 2854296 h 5973007"/>
              <a:gd name="connsiteX73320" fmla="*/ 822849 w 6884782"/>
              <a:gd name="connsiteY73320" fmla="*/ 2852747 h 5973007"/>
              <a:gd name="connsiteX73321" fmla="*/ 821197 w 6884782"/>
              <a:gd name="connsiteY73321" fmla="*/ 2849340 h 5973007"/>
              <a:gd name="connsiteX73322" fmla="*/ 822333 w 6884782"/>
              <a:gd name="connsiteY73322" fmla="*/ 2848100 h 5973007"/>
              <a:gd name="connsiteX73323" fmla="*/ 824088 w 6884782"/>
              <a:gd name="connsiteY73323" fmla="*/ 2846861 h 5973007"/>
              <a:gd name="connsiteX73324" fmla="*/ 828941 w 6884782"/>
              <a:gd name="connsiteY73324" fmla="*/ 2846397 h 5973007"/>
              <a:gd name="connsiteX73325" fmla="*/ 832039 w 6884782"/>
              <a:gd name="connsiteY73325" fmla="*/ 2848875 h 5973007"/>
              <a:gd name="connsiteX73326" fmla="*/ 832865 w 6884782"/>
              <a:gd name="connsiteY73326" fmla="*/ 2850424 h 5973007"/>
              <a:gd name="connsiteX73327" fmla="*/ 832142 w 6884782"/>
              <a:gd name="connsiteY73327" fmla="*/ 2851663 h 5973007"/>
              <a:gd name="connsiteX73328" fmla="*/ 832659 w 6884782"/>
              <a:gd name="connsiteY73328" fmla="*/ 2851973 h 5973007"/>
              <a:gd name="connsiteX73329" fmla="*/ 834104 w 6884782"/>
              <a:gd name="connsiteY73329" fmla="*/ 2854296 h 5973007"/>
              <a:gd name="connsiteX73330" fmla="*/ 832452 w 6884782"/>
              <a:gd name="connsiteY73330" fmla="*/ 2855690 h 5973007"/>
              <a:gd name="connsiteX73331" fmla="*/ 831832 w 6884782"/>
              <a:gd name="connsiteY73331" fmla="*/ 2856155 h 5973007"/>
              <a:gd name="connsiteX73332" fmla="*/ 835962 w 6884782"/>
              <a:gd name="connsiteY73332" fmla="*/ 2854916 h 5973007"/>
              <a:gd name="connsiteX73333" fmla="*/ 850419 w 6884782"/>
              <a:gd name="connsiteY73333" fmla="*/ 2849649 h 5973007"/>
              <a:gd name="connsiteX73334" fmla="*/ 856924 w 6884782"/>
              <a:gd name="connsiteY73334" fmla="*/ 2847481 h 5973007"/>
              <a:gd name="connsiteX73335" fmla="*/ 856614 w 6884782"/>
              <a:gd name="connsiteY73335" fmla="*/ 2846397 h 5973007"/>
              <a:gd name="connsiteX73336" fmla="*/ 857233 w 6884782"/>
              <a:gd name="connsiteY73336" fmla="*/ 2845002 h 5973007"/>
              <a:gd name="connsiteX73337" fmla="*/ 859505 w 6884782"/>
              <a:gd name="connsiteY73337" fmla="*/ 2845002 h 5973007"/>
              <a:gd name="connsiteX73338" fmla="*/ 861467 w 6884782"/>
              <a:gd name="connsiteY73338" fmla="*/ 2845622 h 5973007"/>
              <a:gd name="connsiteX73339" fmla="*/ 861570 w 6884782"/>
              <a:gd name="connsiteY73339" fmla="*/ 2846087 h 5973007"/>
              <a:gd name="connsiteX73340" fmla="*/ 864668 w 6884782"/>
              <a:gd name="connsiteY73340" fmla="*/ 2845002 h 5973007"/>
              <a:gd name="connsiteX73341" fmla="*/ 879536 w 6884782"/>
              <a:gd name="connsiteY73341" fmla="*/ 2840820 h 5973007"/>
              <a:gd name="connsiteX73342" fmla="*/ 893889 w 6884782"/>
              <a:gd name="connsiteY73342" fmla="*/ 2835554 h 5973007"/>
              <a:gd name="connsiteX73343" fmla="*/ 907622 w 6884782"/>
              <a:gd name="connsiteY73343" fmla="*/ 2829978 h 5973007"/>
              <a:gd name="connsiteX73344" fmla="*/ 920942 w 6884782"/>
              <a:gd name="connsiteY73344" fmla="*/ 2823782 h 5973007"/>
              <a:gd name="connsiteX73345" fmla="*/ 927551 w 6884782"/>
              <a:gd name="connsiteY73345" fmla="*/ 2819445 h 5973007"/>
              <a:gd name="connsiteX73346" fmla="*/ 929306 w 6884782"/>
              <a:gd name="connsiteY73346" fmla="*/ 2818515 h 5973007"/>
              <a:gd name="connsiteX73347" fmla="*/ 937980 w 6884782"/>
              <a:gd name="connsiteY73347" fmla="*/ 2817121 h 5973007"/>
              <a:gd name="connsiteX73348" fmla="*/ 938186 w 6884782"/>
              <a:gd name="connsiteY73348" fmla="*/ 2816502 h 5973007"/>
              <a:gd name="connsiteX73349" fmla="*/ 939116 w 6884782"/>
              <a:gd name="connsiteY73349" fmla="*/ 2816037 h 5973007"/>
              <a:gd name="connsiteX73350" fmla="*/ 940355 w 6884782"/>
              <a:gd name="connsiteY73350" fmla="*/ 2814333 h 5973007"/>
              <a:gd name="connsiteX73351" fmla="*/ 937567 w 6884782"/>
              <a:gd name="connsiteY73351" fmla="*/ 2811235 h 5973007"/>
              <a:gd name="connsiteX73352" fmla="*/ 937360 w 6884782"/>
              <a:gd name="connsiteY73352" fmla="*/ 2811854 h 5973007"/>
              <a:gd name="connsiteX73353" fmla="*/ 936741 w 6884782"/>
              <a:gd name="connsiteY73353" fmla="*/ 2811700 h 5973007"/>
              <a:gd name="connsiteX73354" fmla="*/ 931991 w 6884782"/>
              <a:gd name="connsiteY73354" fmla="*/ 2812474 h 5973007"/>
              <a:gd name="connsiteX73355" fmla="*/ 927758 w 6884782"/>
              <a:gd name="connsiteY73355" fmla="*/ 2815727 h 5973007"/>
              <a:gd name="connsiteX73356" fmla="*/ 924040 w 6884782"/>
              <a:gd name="connsiteY73356" fmla="*/ 2814178 h 5973007"/>
              <a:gd name="connsiteX73357" fmla="*/ 924660 w 6884782"/>
              <a:gd name="connsiteY73357" fmla="*/ 2810925 h 5973007"/>
              <a:gd name="connsiteX73358" fmla="*/ 931785 w 6884782"/>
              <a:gd name="connsiteY73358" fmla="*/ 2807363 h 5973007"/>
              <a:gd name="connsiteX73359" fmla="*/ 933746 w 6884782"/>
              <a:gd name="connsiteY73359" fmla="*/ 2808137 h 5973007"/>
              <a:gd name="connsiteX73360" fmla="*/ 933953 w 6884782"/>
              <a:gd name="connsiteY73360" fmla="*/ 2808912 h 5973007"/>
              <a:gd name="connsiteX73361" fmla="*/ 936121 w 6884782"/>
              <a:gd name="connsiteY73361" fmla="*/ 2808602 h 5973007"/>
              <a:gd name="connsiteX73362" fmla="*/ 936844 w 6884782"/>
              <a:gd name="connsiteY73362" fmla="*/ 2808757 h 5973007"/>
              <a:gd name="connsiteX73363" fmla="*/ 937051 w 6884782"/>
              <a:gd name="connsiteY73363" fmla="*/ 2808137 h 5973007"/>
              <a:gd name="connsiteX73364" fmla="*/ 937876 w 6884782"/>
              <a:gd name="connsiteY73364" fmla="*/ 2807672 h 5973007"/>
              <a:gd name="connsiteX73365" fmla="*/ 939632 w 6884782"/>
              <a:gd name="connsiteY73365" fmla="*/ 2806898 h 5973007"/>
              <a:gd name="connsiteX73366" fmla="*/ 941904 w 6884782"/>
              <a:gd name="connsiteY73366" fmla="*/ 2804729 h 5973007"/>
              <a:gd name="connsiteX73367" fmla="*/ 941697 w 6884782"/>
              <a:gd name="connsiteY73367" fmla="*/ 2799463 h 5973007"/>
              <a:gd name="connsiteX73368" fmla="*/ 947273 w 6884782"/>
              <a:gd name="connsiteY73368" fmla="*/ 2782115 h 5973007"/>
              <a:gd name="connsiteX73369" fmla="*/ 966685 w 6884782"/>
              <a:gd name="connsiteY73369" fmla="*/ 2770652 h 5973007"/>
              <a:gd name="connsiteX73370" fmla="*/ 1008710 w 6884782"/>
              <a:gd name="connsiteY73370" fmla="*/ 2788930 h 5973007"/>
              <a:gd name="connsiteX73371" fmla="*/ 1010053 w 6884782"/>
              <a:gd name="connsiteY73371" fmla="*/ 2794506 h 5973007"/>
              <a:gd name="connsiteX73372" fmla="*/ 1020688 w 6884782"/>
              <a:gd name="connsiteY73372" fmla="*/ 2793732 h 5973007"/>
              <a:gd name="connsiteX73373" fmla="*/ 1021927 w 6884782"/>
              <a:gd name="connsiteY73373" fmla="*/ 2793732 h 5973007"/>
              <a:gd name="connsiteX73374" fmla="*/ 1022547 w 6884782"/>
              <a:gd name="connsiteY73374" fmla="*/ 2791563 h 5973007"/>
              <a:gd name="connsiteX73375" fmla="*/ 1021721 w 6884782"/>
              <a:gd name="connsiteY73375" fmla="*/ 2791408 h 5973007"/>
              <a:gd name="connsiteX73376" fmla="*/ 1022753 w 6884782"/>
              <a:gd name="connsiteY73376" fmla="*/ 2791099 h 5973007"/>
              <a:gd name="connsiteX73377" fmla="*/ 1023063 w 6884782"/>
              <a:gd name="connsiteY73377" fmla="*/ 2789704 h 5973007"/>
              <a:gd name="connsiteX73378" fmla="*/ 1029878 w 6884782"/>
              <a:gd name="connsiteY73378" fmla="*/ 2781805 h 5973007"/>
              <a:gd name="connsiteX73379" fmla="*/ 1032150 w 6884782"/>
              <a:gd name="connsiteY73379" fmla="*/ 2782115 h 5973007"/>
              <a:gd name="connsiteX73380" fmla="*/ 1030807 w 6884782"/>
              <a:gd name="connsiteY73380" fmla="*/ 2781650 h 5973007"/>
              <a:gd name="connsiteX73381" fmla="*/ 1015732 w 6884782"/>
              <a:gd name="connsiteY73381" fmla="*/ 2752220 h 5973007"/>
              <a:gd name="connsiteX73382" fmla="*/ 1023476 w 6884782"/>
              <a:gd name="connsiteY73382" fmla="*/ 2733322 h 5973007"/>
              <a:gd name="connsiteX73383" fmla="*/ 1035040 w 6884782"/>
              <a:gd name="connsiteY73383" fmla="*/ 2727126 h 5973007"/>
              <a:gd name="connsiteX73384" fmla="*/ 1043404 w 6884782"/>
              <a:gd name="connsiteY73384" fmla="*/ 2721240 h 5973007"/>
              <a:gd name="connsiteX73385" fmla="*/ 1044540 w 6884782"/>
              <a:gd name="connsiteY73385" fmla="*/ 2717523 h 5973007"/>
              <a:gd name="connsiteX73386" fmla="*/ 1057034 w 6884782"/>
              <a:gd name="connsiteY73386" fmla="*/ 2711172 h 5973007"/>
              <a:gd name="connsiteX73387" fmla="*/ 1062610 w 6884782"/>
              <a:gd name="connsiteY73387" fmla="*/ 2719382 h 5973007"/>
              <a:gd name="connsiteX73388" fmla="*/ 1063642 w 6884782"/>
              <a:gd name="connsiteY73388" fmla="*/ 2722015 h 5973007"/>
              <a:gd name="connsiteX73389" fmla="*/ 1076653 w 6884782"/>
              <a:gd name="connsiteY73389" fmla="*/ 2724339 h 5973007"/>
              <a:gd name="connsiteX73390" fmla="*/ 1080164 w 6884782"/>
              <a:gd name="connsiteY73390" fmla="*/ 2732083 h 5973007"/>
              <a:gd name="connsiteX73391" fmla="*/ 1082538 w 6884782"/>
              <a:gd name="connsiteY73391" fmla="*/ 2735491 h 5973007"/>
              <a:gd name="connsiteX73392" fmla="*/ 1084914 w 6884782"/>
              <a:gd name="connsiteY73392" fmla="*/ 2735800 h 5973007"/>
              <a:gd name="connsiteX73393" fmla="*/ 1087908 w 6884782"/>
              <a:gd name="connsiteY73393" fmla="*/ 2734407 h 5973007"/>
              <a:gd name="connsiteX73394" fmla="*/ 1090489 w 6884782"/>
              <a:gd name="connsiteY73394" fmla="*/ 2736730 h 5973007"/>
              <a:gd name="connsiteX73395" fmla="*/ 1094723 w 6884782"/>
              <a:gd name="connsiteY73395" fmla="*/ 2737350 h 5973007"/>
              <a:gd name="connsiteX73396" fmla="*/ 1103087 w 6884782"/>
              <a:gd name="connsiteY73396" fmla="*/ 2742306 h 5973007"/>
              <a:gd name="connsiteX73397" fmla="*/ 1106288 w 6884782"/>
              <a:gd name="connsiteY73397" fmla="*/ 2745869 h 5973007"/>
              <a:gd name="connsiteX73398" fmla="*/ 1109385 w 6884782"/>
              <a:gd name="connsiteY73398" fmla="*/ 2741687 h 5973007"/>
              <a:gd name="connsiteX73399" fmla="*/ 1124460 w 6884782"/>
              <a:gd name="connsiteY73399" fmla="*/ 2730534 h 5973007"/>
              <a:gd name="connsiteX73400" fmla="*/ 1108869 w 6884782"/>
              <a:gd name="connsiteY73400" fmla="*/ 2747418 h 5973007"/>
              <a:gd name="connsiteX73401" fmla="*/ 1107113 w 6884782"/>
              <a:gd name="connsiteY73401" fmla="*/ 2746798 h 5973007"/>
              <a:gd name="connsiteX73402" fmla="*/ 1108662 w 6884782"/>
              <a:gd name="connsiteY73402" fmla="*/ 2748812 h 5973007"/>
              <a:gd name="connsiteX73403" fmla="*/ 1119298 w 6884782"/>
              <a:gd name="connsiteY73403" fmla="*/ 2763992 h 5973007"/>
              <a:gd name="connsiteX73404" fmla="*/ 1118162 w 6884782"/>
              <a:gd name="connsiteY73404" fmla="*/ 2766160 h 5973007"/>
              <a:gd name="connsiteX73405" fmla="*/ 1118781 w 6884782"/>
              <a:gd name="connsiteY73405" fmla="*/ 2765386 h 5973007"/>
              <a:gd name="connsiteX73406" fmla="*/ 1121260 w 6884782"/>
              <a:gd name="connsiteY73406" fmla="*/ 2763063 h 5973007"/>
              <a:gd name="connsiteX73407" fmla="*/ 1117129 w 6884782"/>
              <a:gd name="connsiteY73407" fmla="*/ 2769258 h 5973007"/>
              <a:gd name="connsiteX73408" fmla="*/ 1116200 w 6884782"/>
              <a:gd name="connsiteY73408" fmla="*/ 2770187 h 5973007"/>
              <a:gd name="connsiteX73409" fmla="*/ 1115890 w 6884782"/>
              <a:gd name="connsiteY73409" fmla="*/ 2774679 h 5973007"/>
              <a:gd name="connsiteX73410" fmla="*/ 1117955 w 6884782"/>
              <a:gd name="connsiteY73410" fmla="*/ 2783509 h 5973007"/>
              <a:gd name="connsiteX73411" fmla="*/ 1108766 w 6884782"/>
              <a:gd name="connsiteY73411" fmla="*/ 2791254 h 5973007"/>
              <a:gd name="connsiteX73412" fmla="*/ 1101951 w 6884782"/>
              <a:gd name="connsiteY73412" fmla="*/ 2798843 h 5973007"/>
              <a:gd name="connsiteX73413" fmla="*/ 1102570 w 6884782"/>
              <a:gd name="connsiteY73413" fmla="*/ 2798689 h 5973007"/>
              <a:gd name="connsiteX73414" fmla="*/ 1111450 w 6884782"/>
              <a:gd name="connsiteY73414" fmla="*/ 2806743 h 5973007"/>
              <a:gd name="connsiteX73415" fmla="*/ 1127455 w 6884782"/>
              <a:gd name="connsiteY73415" fmla="*/ 2803645 h 5973007"/>
              <a:gd name="connsiteX73416" fmla="*/ 1117646 w 6884782"/>
              <a:gd name="connsiteY73416" fmla="*/ 2798689 h 5973007"/>
              <a:gd name="connsiteX73417" fmla="*/ 1103912 w 6884782"/>
              <a:gd name="connsiteY73417" fmla="*/ 2799153 h 5973007"/>
              <a:gd name="connsiteX73418" fmla="*/ 1127248 w 6884782"/>
              <a:gd name="connsiteY73418" fmla="*/ 2796985 h 5973007"/>
              <a:gd name="connsiteX73419" fmla="*/ 1130759 w 6884782"/>
              <a:gd name="connsiteY73419" fmla="*/ 2797140 h 5973007"/>
              <a:gd name="connsiteX73420" fmla="*/ 1132721 w 6884782"/>
              <a:gd name="connsiteY73420" fmla="*/ 2797294 h 5973007"/>
              <a:gd name="connsiteX73421" fmla="*/ 1131585 w 6884782"/>
              <a:gd name="connsiteY73421" fmla="*/ 2790944 h 5973007"/>
              <a:gd name="connsiteX73422" fmla="*/ 1131069 w 6884782"/>
              <a:gd name="connsiteY73422" fmla="*/ 2790944 h 5973007"/>
              <a:gd name="connsiteX73423" fmla="*/ 1131792 w 6884782"/>
              <a:gd name="connsiteY73423" fmla="*/ 2793887 h 5973007"/>
              <a:gd name="connsiteX73424" fmla="*/ 1130759 w 6884782"/>
              <a:gd name="connsiteY73424" fmla="*/ 2797140 h 5973007"/>
              <a:gd name="connsiteX73425" fmla="*/ 1129107 w 6884782"/>
              <a:gd name="connsiteY73425" fmla="*/ 2793422 h 5973007"/>
              <a:gd name="connsiteX73426" fmla="*/ 1128694 w 6884782"/>
              <a:gd name="connsiteY73426" fmla="*/ 2791718 h 5973007"/>
              <a:gd name="connsiteX73427" fmla="*/ 1130036 w 6884782"/>
              <a:gd name="connsiteY73427" fmla="*/ 2790944 h 5973007"/>
              <a:gd name="connsiteX73428" fmla="*/ 1129623 w 6884782"/>
              <a:gd name="connsiteY73428" fmla="*/ 2790944 h 5973007"/>
              <a:gd name="connsiteX73429" fmla="*/ 1124667 w 6884782"/>
              <a:gd name="connsiteY73429" fmla="*/ 2788465 h 5973007"/>
              <a:gd name="connsiteX73430" fmla="*/ 1130243 w 6884782"/>
              <a:gd name="connsiteY73430" fmla="*/ 2783354 h 5973007"/>
              <a:gd name="connsiteX73431" fmla="*/ 1130759 w 6884782"/>
              <a:gd name="connsiteY73431" fmla="*/ 2782579 h 5973007"/>
              <a:gd name="connsiteX73432" fmla="*/ 1131069 w 6884782"/>
              <a:gd name="connsiteY73432" fmla="*/ 2778862 h 5973007"/>
              <a:gd name="connsiteX73433" fmla="*/ 1131482 w 6884782"/>
              <a:gd name="connsiteY73433" fmla="*/ 2777777 h 5973007"/>
              <a:gd name="connsiteX73434" fmla="*/ 1130243 w 6884782"/>
              <a:gd name="connsiteY73434" fmla="*/ 2776074 h 5973007"/>
              <a:gd name="connsiteX73435" fmla="*/ 1130036 w 6884782"/>
              <a:gd name="connsiteY73435" fmla="*/ 2773440 h 5973007"/>
              <a:gd name="connsiteX73436" fmla="*/ 1134683 w 6884782"/>
              <a:gd name="connsiteY73436" fmla="*/ 2765541 h 5973007"/>
              <a:gd name="connsiteX73437" fmla="*/ 1133857 w 6884782"/>
              <a:gd name="connsiteY73437" fmla="*/ 2766160 h 5973007"/>
              <a:gd name="connsiteX73438" fmla="*/ 1121776 w 6884782"/>
              <a:gd name="connsiteY73438" fmla="*/ 2763217 h 5973007"/>
              <a:gd name="connsiteX73439" fmla="*/ 1121569 w 6884782"/>
              <a:gd name="connsiteY73439" fmla="*/ 2763063 h 5973007"/>
              <a:gd name="connsiteX73440" fmla="*/ 1121363 w 6884782"/>
              <a:gd name="connsiteY73440" fmla="*/ 2763217 h 5973007"/>
              <a:gd name="connsiteX73441" fmla="*/ 1121260 w 6884782"/>
              <a:gd name="connsiteY73441" fmla="*/ 2762753 h 5973007"/>
              <a:gd name="connsiteX73442" fmla="*/ 1120124 w 6884782"/>
              <a:gd name="connsiteY73442" fmla="*/ 2761668 h 5973007"/>
              <a:gd name="connsiteX73443" fmla="*/ 1122808 w 6884782"/>
              <a:gd name="connsiteY73443" fmla="*/ 2760739 h 5973007"/>
              <a:gd name="connsiteX73444" fmla="*/ 1124047 w 6884782"/>
              <a:gd name="connsiteY73444" fmla="*/ 2761049 h 5973007"/>
              <a:gd name="connsiteX73445" fmla="*/ 1124770 w 6884782"/>
              <a:gd name="connsiteY73445" fmla="*/ 2760429 h 5973007"/>
              <a:gd name="connsiteX73446" fmla="*/ 1125183 w 6884782"/>
              <a:gd name="connsiteY73446" fmla="*/ 2761204 h 5973007"/>
              <a:gd name="connsiteX73447" fmla="*/ 1127661 w 6884782"/>
              <a:gd name="connsiteY73447" fmla="*/ 2761513 h 5973007"/>
              <a:gd name="connsiteX73448" fmla="*/ 1133444 w 6884782"/>
              <a:gd name="connsiteY73448" fmla="*/ 2760584 h 5973007"/>
              <a:gd name="connsiteX73449" fmla="*/ 1139123 w 6884782"/>
              <a:gd name="connsiteY73449" fmla="*/ 2762598 h 5973007"/>
              <a:gd name="connsiteX73450" fmla="*/ 1138503 w 6884782"/>
              <a:gd name="connsiteY73450" fmla="*/ 2764921 h 5973007"/>
              <a:gd name="connsiteX73451" fmla="*/ 1140878 w 6884782"/>
              <a:gd name="connsiteY73451" fmla="*/ 2765231 h 5973007"/>
              <a:gd name="connsiteX73452" fmla="*/ 1145938 w 6884782"/>
              <a:gd name="connsiteY73452" fmla="*/ 2774525 h 5973007"/>
              <a:gd name="connsiteX73453" fmla="*/ 1143460 w 6884782"/>
              <a:gd name="connsiteY73453" fmla="*/ 2779017 h 5973007"/>
              <a:gd name="connsiteX73454" fmla="*/ 1140465 w 6884782"/>
              <a:gd name="connsiteY73454" fmla="*/ 2780876 h 5973007"/>
              <a:gd name="connsiteX73455" fmla="*/ 1140362 w 6884782"/>
              <a:gd name="connsiteY73455" fmla="*/ 2780876 h 5973007"/>
              <a:gd name="connsiteX73456" fmla="*/ 1138400 w 6884782"/>
              <a:gd name="connsiteY73456" fmla="*/ 2786142 h 5973007"/>
              <a:gd name="connsiteX73457" fmla="*/ 1137987 w 6884782"/>
              <a:gd name="connsiteY73457" fmla="*/ 2786761 h 5973007"/>
              <a:gd name="connsiteX73458" fmla="*/ 1137987 w 6884782"/>
              <a:gd name="connsiteY73458" fmla="*/ 2787071 h 5973007"/>
              <a:gd name="connsiteX73459" fmla="*/ 1135612 w 6884782"/>
              <a:gd name="connsiteY73459" fmla="*/ 2796210 h 5973007"/>
              <a:gd name="connsiteX73460" fmla="*/ 1133960 w 6884782"/>
              <a:gd name="connsiteY73460" fmla="*/ 2797294 h 5973007"/>
              <a:gd name="connsiteX73461" fmla="*/ 1139329 w 6884782"/>
              <a:gd name="connsiteY73461" fmla="*/ 2797604 h 5973007"/>
              <a:gd name="connsiteX73462" fmla="*/ 1148003 w 6884782"/>
              <a:gd name="connsiteY73462" fmla="*/ 2793267 h 5973007"/>
              <a:gd name="connsiteX73463" fmla="*/ 1160497 w 6884782"/>
              <a:gd name="connsiteY73463" fmla="*/ 2795590 h 5973007"/>
              <a:gd name="connsiteX73464" fmla="*/ 1161323 w 6884782"/>
              <a:gd name="connsiteY73464" fmla="*/ 2795901 h 5973007"/>
              <a:gd name="connsiteX73465" fmla="*/ 1161323 w 6884782"/>
              <a:gd name="connsiteY73465" fmla="*/ 2795590 h 5973007"/>
              <a:gd name="connsiteX73466" fmla="*/ 1164214 w 6884782"/>
              <a:gd name="connsiteY73466" fmla="*/ 2792338 h 5973007"/>
              <a:gd name="connsiteX73467" fmla="*/ 1166279 w 6884782"/>
              <a:gd name="connsiteY73467" fmla="*/ 2792648 h 5973007"/>
              <a:gd name="connsiteX73468" fmla="*/ 1166692 w 6884782"/>
              <a:gd name="connsiteY73468" fmla="*/ 2793422 h 5973007"/>
              <a:gd name="connsiteX73469" fmla="*/ 1167415 w 6884782"/>
              <a:gd name="connsiteY73469" fmla="*/ 2794816 h 5973007"/>
              <a:gd name="connsiteX73470" fmla="*/ 1170616 w 6884782"/>
              <a:gd name="connsiteY73470" fmla="*/ 2789085 h 5973007"/>
              <a:gd name="connsiteX73471" fmla="*/ 1181871 w 6884782"/>
              <a:gd name="connsiteY73471" fmla="*/ 2781495 h 5973007"/>
              <a:gd name="connsiteX73472" fmla="*/ 1186414 w 6884782"/>
              <a:gd name="connsiteY73472" fmla="*/ 2786452 h 5973007"/>
              <a:gd name="connsiteX73473" fmla="*/ 1185898 w 6884782"/>
              <a:gd name="connsiteY73473" fmla="*/ 2789240 h 5973007"/>
              <a:gd name="connsiteX73474" fmla="*/ 1187240 w 6884782"/>
              <a:gd name="connsiteY73474" fmla="*/ 2788930 h 5973007"/>
              <a:gd name="connsiteX73475" fmla="*/ 1186931 w 6884782"/>
              <a:gd name="connsiteY73475" fmla="*/ 2782579 h 5973007"/>
              <a:gd name="connsiteX73476" fmla="*/ 1188789 w 6884782"/>
              <a:gd name="connsiteY73476" fmla="*/ 2774370 h 5973007"/>
              <a:gd name="connsiteX73477" fmla="*/ 1184349 w 6884782"/>
              <a:gd name="connsiteY73477" fmla="*/ 2772976 h 5973007"/>
              <a:gd name="connsiteX73478" fmla="*/ 1180941 w 6884782"/>
              <a:gd name="connsiteY73478" fmla="*/ 2766625 h 5973007"/>
              <a:gd name="connsiteX73479" fmla="*/ 1186827 w 6884782"/>
              <a:gd name="connsiteY73479" fmla="*/ 2763992 h 5973007"/>
              <a:gd name="connsiteX73480" fmla="*/ 1184762 w 6884782"/>
              <a:gd name="connsiteY73480" fmla="*/ 2763837 h 5973007"/>
              <a:gd name="connsiteX73481" fmla="*/ 1182284 w 6884782"/>
              <a:gd name="connsiteY73481" fmla="*/ 2755627 h 5973007"/>
              <a:gd name="connsiteX73482" fmla="*/ 1190958 w 6884782"/>
              <a:gd name="connsiteY73482" fmla="*/ 2746798 h 5973007"/>
              <a:gd name="connsiteX73483" fmla="*/ 1192300 w 6884782"/>
              <a:gd name="connsiteY73483" fmla="*/ 2746953 h 5973007"/>
              <a:gd name="connsiteX73484" fmla="*/ 1192300 w 6884782"/>
              <a:gd name="connsiteY73484" fmla="*/ 2746643 h 5973007"/>
              <a:gd name="connsiteX73485" fmla="*/ 1192094 w 6884782"/>
              <a:gd name="connsiteY73485" fmla="*/ 2744940 h 5973007"/>
              <a:gd name="connsiteX73486" fmla="*/ 1191164 w 6884782"/>
              <a:gd name="connsiteY73486" fmla="*/ 2746024 h 5973007"/>
              <a:gd name="connsiteX73487" fmla="*/ 1189615 w 6884782"/>
              <a:gd name="connsiteY73487" fmla="*/ 2743700 h 5973007"/>
              <a:gd name="connsiteX73488" fmla="*/ 1187447 w 6884782"/>
              <a:gd name="connsiteY73488" fmla="*/ 2741687 h 5973007"/>
              <a:gd name="connsiteX73489" fmla="*/ 1187240 w 6884782"/>
              <a:gd name="connsiteY73489" fmla="*/ 2740293 h 5973007"/>
              <a:gd name="connsiteX73490" fmla="*/ 1183523 w 6884782"/>
              <a:gd name="connsiteY73490" fmla="*/ 2735026 h 5973007"/>
              <a:gd name="connsiteX73491" fmla="*/ 1182594 w 6884782"/>
              <a:gd name="connsiteY73491" fmla="*/ 2731309 h 5973007"/>
              <a:gd name="connsiteX73492" fmla="*/ 1182491 w 6884782"/>
              <a:gd name="connsiteY73492" fmla="*/ 2731309 h 5973007"/>
              <a:gd name="connsiteX73493" fmla="*/ 1177844 w 6884782"/>
              <a:gd name="connsiteY73493" fmla="*/ 2732703 h 5973007"/>
              <a:gd name="connsiteX73494" fmla="*/ 1175572 w 6884782"/>
              <a:gd name="connsiteY73494" fmla="*/ 2731309 h 5973007"/>
              <a:gd name="connsiteX73495" fmla="*/ 1175056 w 6884782"/>
              <a:gd name="connsiteY73495" fmla="*/ 2726043 h 5973007"/>
              <a:gd name="connsiteX73496" fmla="*/ 1178051 w 6884782"/>
              <a:gd name="connsiteY73496" fmla="*/ 2720621 h 5973007"/>
              <a:gd name="connsiteX73497" fmla="*/ 1181251 w 6884782"/>
              <a:gd name="connsiteY73497" fmla="*/ 2718142 h 5973007"/>
              <a:gd name="connsiteX73498" fmla="*/ 1181355 w 6884782"/>
              <a:gd name="connsiteY73498" fmla="*/ 2716284 h 5973007"/>
              <a:gd name="connsiteX73499" fmla="*/ 1184349 w 6884782"/>
              <a:gd name="connsiteY73499" fmla="*/ 2717058 h 5973007"/>
              <a:gd name="connsiteX73500" fmla="*/ 1187137 w 6884782"/>
              <a:gd name="connsiteY73500" fmla="*/ 2717213 h 5973007"/>
              <a:gd name="connsiteX73501" fmla="*/ 1188892 w 6884782"/>
              <a:gd name="connsiteY73501" fmla="*/ 2719846 h 5973007"/>
              <a:gd name="connsiteX73502" fmla="*/ 1188479 w 6884782"/>
              <a:gd name="connsiteY73502" fmla="*/ 2720776 h 5973007"/>
              <a:gd name="connsiteX73503" fmla="*/ 1190028 w 6884782"/>
              <a:gd name="connsiteY73503" fmla="*/ 2724183 h 5973007"/>
              <a:gd name="connsiteX73504" fmla="*/ 1191577 w 6884782"/>
              <a:gd name="connsiteY73504" fmla="*/ 2724958 h 5973007"/>
              <a:gd name="connsiteX73505" fmla="*/ 1194365 w 6884782"/>
              <a:gd name="connsiteY73505" fmla="*/ 2723563 h 5973007"/>
              <a:gd name="connsiteX73506" fmla="*/ 1195707 w 6884782"/>
              <a:gd name="connsiteY73506" fmla="*/ 2722170 h 5973007"/>
              <a:gd name="connsiteX73507" fmla="*/ 1195191 w 6884782"/>
              <a:gd name="connsiteY73507" fmla="*/ 2720156 h 5973007"/>
              <a:gd name="connsiteX73508" fmla="*/ 1194881 w 6884782"/>
              <a:gd name="connsiteY73508" fmla="*/ 2712411 h 5973007"/>
              <a:gd name="connsiteX73509" fmla="*/ 1196017 w 6884782"/>
              <a:gd name="connsiteY73509" fmla="*/ 2713031 h 5973007"/>
              <a:gd name="connsiteX73510" fmla="*/ 1197463 w 6884782"/>
              <a:gd name="connsiteY73510" fmla="*/ 2719072 h 5973007"/>
              <a:gd name="connsiteX73511" fmla="*/ 1197669 w 6884782"/>
              <a:gd name="connsiteY73511" fmla="*/ 2720311 h 5973007"/>
              <a:gd name="connsiteX73512" fmla="*/ 1199218 w 6884782"/>
              <a:gd name="connsiteY73512" fmla="*/ 2718917 h 5973007"/>
              <a:gd name="connsiteX73513" fmla="*/ 1209854 w 6884782"/>
              <a:gd name="connsiteY73513" fmla="*/ 2710552 h 5973007"/>
              <a:gd name="connsiteX73514" fmla="*/ 1213984 w 6884782"/>
              <a:gd name="connsiteY73514" fmla="*/ 2709778 h 5973007"/>
              <a:gd name="connsiteX73515" fmla="*/ 1211196 w 6884782"/>
              <a:gd name="connsiteY73515" fmla="*/ 2706680 h 5973007"/>
              <a:gd name="connsiteX73516" fmla="*/ 1208408 w 6884782"/>
              <a:gd name="connsiteY73516" fmla="*/ 2703582 h 5973007"/>
              <a:gd name="connsiteX73517" fmla="*/ 1203761 w 6884782"/>
              <a:gd name="connsiteY73517" fmla="*/ 2697696 h 5973007"/>
              <a:gd name="connsiteX73518" fmla="*/ 1201386 w 6884782"/>
              <a:gd name="connsiteY73518" fmla="*/ 2696767 h 5973007"/>
              <a:gd name="connsiteX73519" fmla="*/ 1200973 w 6884782"/>
              <a:gd name="connsiteY73519" fmla="*/ 2696302 h 5973007"/>
              <a:gd name="connsiteX73520" fmla="*/ 1200044 w 6884782"/>
              <a:gd name="connsiteY73520" fmla="*/ 2696302 h 5973007"/>
              <a:gd name="connsiteX73521" fmla="*/ 1199734 w 6884782"/>
              <a:gd name="connsiteY73521" fmla="*/ 2695528 h 5973007"/>
              <a:gd name="connsiteX73522" fmla="*/ 1200560 w 6884782"/>
              <a:gd name="connsiteY73522" fmla="*/ 2695682 h 5973007"/>
              <a:gd name="connsiteX73523" fmla="*/ 1199838 w 6884782"/>
              <a:gd name="connsiteY73523" fmla="*/ 2694753 h 5973007"/>
              <a:gd name="connsiteX73524" fmla="*/ 1203348 w 6884782"/>
              <a:gd name="connsiteY73524" fmla="*/ 2689022 h 5973007"/>
              <a:gd name="connsiteX73525" fmla="*/ 1208821 w 6884782"/>
              <a:gd name="connsiteY73525" fmla="*/ 2689177 h 5973007"/>
              <a:gd name="connsiteX73526" fmla="*/ 1207582 w 6884782"/>
              <a:gd name="connsiteY73526" fmla="*/ 2697232 h 5973007"/>
              <a:gd name="connsiteX73527" fmla="*/ 1207375 w 6884782"/>
              <a:gd name="connsiteY73527" fmla="*/ 2697386 h 5973007"/>
              <a:gd name="connsiteX73528" fmla="*/ 1207478 w 6884782"/>
              <a:gd name="connsiteY73528" fmla="*/ 2697386 h 5973007"/>
              <a:gd name="connsiteX73529" fmla="*/ 1213364 w 6884782"/>
              <a:gd name="connsiteY73529" fmla="*/ 2703892 h 5973007"/>
              <a:gd name="connsiteX73530" fmla="*/ 1214500 w 6884782"/>
              <a:gd name="connsiteY73530" fmla="*/ 2705441 h 5973007"/>
              <a:gd name="connsiteX73531" fmla="*/ 1215532 w 6884782"/>
              <a:gd name="connsiteY73531" fmla="*/ 2707145 h 5973007"/>
              <a:gd name="connsiteX73532" fmla="*/ 1214500 w 6884782"/>
              <a:gd name="connsiteY73532" fmla="*/ 2710552 h 5973007"/>
              <a:gd name="connsiteX73533" fmla="*/ 1214397 w 6884782"/>
              <a:gd name="connsiteY73533" fmla="*/ 2710243 h 5973007"/>
              <a:gd name="connsiteX73534" fmla="*/ 1214087 w 6884782"/>
              <a:gd name="connsiteY73534" fmla="*/ 2713341 h 5973007"/>
              <a:gd name="connsiteX73535" fmla="*/ 1210886 w 6884782"/>
              <a:gd name="connsiteY73535" fmla="*/ 2719227 h 5973007"/>
              <a:gd name="connsiteX73536" fmla="*/ 1206033 w 6884782"/>
              <a:gd name="connsiteY73536" fmla="*/ 2723874 h 5973007"/>
              <a:gd name="connsiteX73537" fmla="*/ 1205930 w 6884782"/>
              <a:gd name="connsiteY73537" fmla="*/ 2724648 h 5973007"/>
              <a:gd name="connsiteX73538" fmla="*/ 1202626 w 6884782"/>
              <a:gd name="connsiteY73538" fmla="*/ 2728056 h 5973007"/>
              <a:gd name="connsiteX73539" fmla="*/ 1202832 w 6884782"/>
              <a:gd name="connsiteY73539" fmla="*/ 2728056 h 5973007"/>
              <a:gd name="connsiteX73540" fmla="*/ 1211402 w 6884782"/>
              <a:gd name="connsiteY73540" fmla="*/ 2730534 h 5973007"/>
              <a:gd name="connsiteX73541" fmla="*/ 1211712 w 6884782"/>
              <a:gd name="connsiteY73541" fmla="*/ 2731309 h 5973007"/>
              <a:gd name="connsiteX73542" fmla="*/ 1210267 w 6884782"/>
              <a:gd name="connsiteY73542" fmla="*/ 2732703 h 5973007"/>
              <a:gd name="connsiteX73543" fmla="*/ 1206549 w 6884782"/>
              <a:gd name="connsiteY73543" fmla="*/ 2731928 h 5973007"/>
              <a:gd name="connsiteX73544" fmla="*/ 1201799 w 6884782"/>
              <a:gd name="connsiteY73544" fmla="*/ 2729914 h 5973007"/>
              <a:gd name="connsiteX73545" fmla="*/ 1201076 w 6884782"/>
              <a:gd name="connsiteY73545" fmla="*/ 2729605 h 5973007"/>
              <a:gd name="connsiteX73546" fmla="*/ 1194158 w 6884782"/>
              <a:gd name="connsiteY73546" fmla="*/ 2735800 h 5973007"/>
              <a:gd name="connsiteX73547" fmla="*/ 1194262 w 6884782"/>
              <a:gd name="connsiteY73547" fmla="*/ 2737969 h 5973007"/>
              <a:gd name="connsiteX73548" fmla="*/ 1194571 w 6884782"/>
              <a:gd name="connsiteY73548" fmla="*/ 2737969 h 5973007"/>
              <a:gd name="connsiteX73549" fmla="*/ 1197772 w 6884782"/>
              <a:gd name="connsiteY73549" fmla="*/ 2742616 h 5973007"/>
              <a:gd name="connsiteX73550" fmla="*/ 1198186 w 6884782"/>
              <a:gd name="connsiteY73550" fmla="*/ 2745249 h 5973007"/>
              <a:gd name="connsiteX73551" fmla="*/ 1198289 w 6884782"/>
              <a:gd name="connsiteY73551" fmla="*/ 2745094 h 5973007"/>
              <a:gd name="connsiteX73552" fmla="*/ 1199941 w 6884782"/>
              <a:gd name="connsiteY73552" fmla="*/ 2744940 h 5973007"/>
              <a:gd name="connsiteX73553" fmla="*/ 1204794 w 6884782"/>
              <a:gd name="connsiteY73553" fmla="*/ 2749896 h 5973007"/>
              <a:gd name="connsiteX73554" fmla="*/ 1205620 w 6884782"/>
              <a:gd name="connsiteY73554" fmla="*/ 2753768 h 5973007"/>
              <a:gd name="connsiteX73555" fmla="*/ 1212744 w 6884782"/>
              <a:gd name="connsiteY73555" fmla="*/ 2751445 h 5973007"/>
              <a:gd name="connsiteX73556" fmla="*/ 1231021 w 6884782"/>
              <a:gd name="connsiteY73556" fmla="*/ 2748037 h 5973007"/>
              <a:gd name="connsiteX73557" fmla="*/ 1248161 w 6884782"/>
              <a:gd name="connsiteY73557" fmla="*/ 2757176 h 5973007"/>
              <a:gd name="connsiteX73558" fmla="*/ 1256835 w 6884782"/>
              <a:gd name="connsiteY73558" fmla="*/ 2780411 h 5973007"/>
              <a:gd name="connsiteX73559" fmla="*/ 1250020 w 6884782"/>
              <a:gd name="connsiteY73559" fmla="*/ 2794352 h 5973007"/>
              <a:gd name="connsiteX73560" fmla="*/ 1247335 w 6884782"/>
              <a:gd name="connsiteY73560" fmla="*/ 2799928 h 5973007"/>
              <a:gd name="connsiteX73561" fmla="*/ 1250949 w 6884782"/>
              <a:gd name="connsiteY73561" fmla="*/ 2802406 h 5973007"/>
              <a:gd name="connsiteX73562" fmla="*/ 1248058 w 6884782"/>
              <a:gd name="connsiteY73562" fmla="*/ 2804420 h 5973007"/>
              <a:gd name="connsiteX73563" fmla="*/ 1245683 w 6884782"/>
              <a:gd name="connsiteY73563" fmla="*/ 2803491 h 5973007"/>
              <a:gd name="connsiteX73564" fmla="*/ 1243308 w 6884782"/>
              <a:gd name="connsiteY73564" fmla="*/ 2808447 h 5973007"/>
              <a:gd name="connsiteX73565" fmla="*/ 1241346 w 6884782"/>
              <a:gd name="connsiteY73565" fmla="*/ 2809066 h 5973007"/>
              <a:gd name="connsiteX73566" fmla="*/ 1247542 w 6884782"/>
              <a:gd name="connsiteY73566" fmla="*/ 2809841 h 5973007"/>
              <a:gd name="connsiteX73567" fmla="*/ 1255905 w 6884782"/>
              <a:gd name="connsiteY73567" fmla="*/ 2811854 h 5973007"/>
              <a:gd name="connsiteX73568" fmla="*/ 1263650 w 6884782"/>
              <a:gd name="connsiteY73568" fmla="*/ 2816037 h 5973007"/>
              <a:gd name="connsiteX73569" fmla="*/ 1265095 w 6884782"/>
              <a:gd name="connsiteY73569" fmla="*/ 2815882 h 5973007"/>
              <a:gd name="connsiteX73570" fmla="*/ 1261998 w 6884782"/>
              <a:gd name="connsiteY73570" fmla="*/ 2814643 h 5973007"/>
              <a:gd name="connsiteX73571" fmla="*/ 1257351 w 6884782"/>
              <a:gd name="connsiteY73571" fmla="*/ 2807363 h 5973007"/>
              <a:gd name="connsiteX73572" fmla="*/ 1273769 w 6884782"/>
              <a:gd name="connsiteY73572" fmla="*/ 2810925 h 5973007"/>
              <a:gd name="connsiteX73573" fmla="*/ 1274182 w 6884782"/>
              <a:gd name="connsiteY73573" fmla="*/ 2810925 h 5973007"/>
              <a:gd name="connsiteX73574" fmla="*/ 1278106 w 6884782"/>
              <a:gd name="connsiteY73574" fmla="*/ 2808602 h 5973007"/>
              <a:gd name="connsiteX73575" fmla="*/ 1282030 w 6884782"/>
              <a:gd name="connsiteY73575" fmla="*/ 2808292 h 5973007"/>
              <a:gd name="connsiteX73576" fmla="*/ 1282442 w 6884782"/>
              <a:gd name="connsiteY73576" fmla="*/ 2808602 h 5973007"/>
              <a:gd name="connsiteX73577" fmla="*/ 1282236 w 6884782"/>
              <a:gd name="connsiteY73577" fmla="*/ 2807827 h 5973007"/>
              <a:gd name="connsiteX73578" fmla="*/ 1281823 w 6884782"/>
              <a:gd name="connsiteY73578" fmla="*/ 2806123 h 5973007"/>
              <a:gd name="connsiteX73579" fmla="*/ 1283785 w 6884782"/>
              <a:gd name="connsiteY73579" fmla="*/ 2804420 h 5973007"/>
              <a:gd name="connsiteX73580" fmla="*/ 1284198 w 6884782"/>
              <a:gd name="connsiteY73580" fmla="*/ 2805194 h 5973007"/>
              <a:gd name="connsiteX73581" fmla="*/ 1286573 w 6884782"/>
              <a:gd name="connsiteY73581" fmla="*/ 2807982 h 5973007"/>
              <a:gd name="connsiteX73582" fmla="*/ 1283475 w 6884782"/>
              <a:gd name="connsiteY73582" fmla="*/ 2809222 h 5973007"/>
              <a:gd name="connsiteX73583" fmla="*/ 1286366 w 6884782"/>
              <a:gd name="connsiteY73583" fmla="*/ 2811235 h 5973007"/>
              <a:gd name="connsiteX73584" fmla="*/ 1287605 w 6884782"/>
              <a:gd name="connsiteY73584" fmla="*/ 2814798 h 5973007"/>
              <a:gd name="connsiteX73585" fmla="*/ 1290187 w 6884782"/>
              <a:gd name="connsiteY73585" fmla="*/ 2816192 h 5973007"/>
              <a:gd name="connsiteX73586" fmla="*/ 1288535 w 6884782"/>
              <a:gd name="connsiteY73586" fmla="*/ 2817121 h 5973007"/>
              <a:gd name="connsiteX73587" fmla="*/ 1290909 w 6884782"/>
              <a:gd name="connsiteY73587" fmla="*/ 2818050 h 5973007"/>
              <a:gd name="connsiteX73588" fmla="*/ 1304952 w 6884782"/>
              <a:gd name="connsiteY73588" fmla="*/ 2821458 h 5973007"/>
              <a:gd name="connsiteX73589" fmla="*/ 1307534 w 6884782"/>
              <a:gd name="connsiteY73589" fmla="*/ 2826725 h 5973007"/>
              <a:gd name="connsiteX73590" fmla="*/ 1308876 w 6884782"/>
              <a:gd name="connsiteY73590" fmla="*/ 2827499 h 5973007"/>
              <a:gd name="connsiteX73591" fmla="*/ 1309908 w 6884782"/>
              <a:gd name="connsiteY73591" fmla="*/ 2826415 h 5973007"/>
              <a:gd name="connsiteX73592" fmla="*/ 1315691 w 6884782"/>
              <a:gd name="connsiteY73592" fmla="*/ 2825176 h 5973007"/>
              <a:gd name="connsiteX73593" fmla="*/ 1318582 w 6884782"/>
              <a:gd name="connsiteY73593" fmla="*/ 2826105 h 5973007"/>
              <a:gd name="connsiteX73594" fmla="*/ 1318582 w 6884782"/>
              <a:gd name="connsiteY73594" fmla="*/ 2824401 h 5973007"/>
              <a:gd name="connsiteX73595" fmla="*/ 1318169 w 6884782"/>
              <a:gd name="connsiteY73595" fmla="*/ 2824247 h 5973007"/>
              <a:gd name="connsiteX73596" fmla="*/ 1316930 w 6884782"/>
              <a:gd name="connsiteY73596" fmla="*/ 2816811 h 5973007"/>
              <a:gd name="connsiteX73597" fmla="*/ 1317653 w 6884782"/>
              <a:gd name="connsiteY73597" fmla="*/ 2810151 h 5973007"/>
              <a:gd name="connsiteX73598" fmla="*/ 1319202 w 6884782"/>
              <a:gd name="connsiteY73598" fmla="*/ 2806278 h 5973007"/>
              <a:gd name="connsiteX73599" fmla="*/ 1321060 w 6884782"/>
              <a:gd name="connsiteY73599" fmla="*/ 2797759 h 5973007"/>
              <a:gd name="connsiteX73600" fmla="*/ 1323848 w 6884782"/>
              <a:gd name="connsiteY73600" fmla="*/ 2792493 h 5973007"/>
              <a:gd name="connsiteX73601" fmla="*/ 1323022 w 6884782"/>
              <a:gd name="connsiteY73601" fmla="*/ 2791099 h 5973007"/>
              <a:gd name="connsiteX73602" fmla="*/ 1321886 w 6884782"/>
              <a:gd name="connsiteY73602" fmla="*/ 2785833 h 5973007"/>
              <a:gd name="connsiteX73603" fmla="*/ 1324158 w 6884782"/>
              <a:gd name="connsiteY73603" fmla="*/ 2780256 h 5973007"/>
              <a:gd name="connsiteX73604" fmla="*/ 1336033 w 6884782"/>
              <a:gd name="connsiteY73604" fmla="*/ 2797294 h 5973007"/>
              <a:gd name="connsiteX73605" fmla="*/ 1335309 w 6884782"/>
              <a:gd name="connsiteY73605" fmla="*/ 2799773 h 5973007"/>
              <a:gd name="connsiteX73606" fmla="*/ 1335103 w 6884782"/>
              <a:gd name="connsiteY73606" fmla="*/ 2800702 h 5973007"/>
              <a:gd name="connsiteX73607" fmla="*/ 1336445 w 6884782"/>
              <a:gd name="connsiteY73607" fmla="*/ 2802716 h 5973007"/>
              <a:gd name="connsiteX73608" fmla="*/ 1336549 w 6884782"/>
              <a:gd name="connsiteY73608" fmla="*/ 2809686 h 5973007"/>
              <a:gd name="connsiteX73609" fmla="*/ 1336549 w 6884782"/>
              <a:gd name="connsiteY73609" fmla="*/ 2809841 h 5973007"/>
              <a:gd name="connsiteX73610" fmla="*/ 1338098 w 6884782"/>
              <a:gd name="connsiteY73610" fmla="*/ 2808757 h 5973007"/>
              <a:gd name="connsiteX73611" fmla="*/ 1338511 w 6884782"/>
              <a:gd name="connsiteY73611" fmla="*/ 2814488 h 5973007"/>
              <a:gd name="connsiteX73612" fmla="*/ 1335929 w 6884782"/>
              <a:gd name="connsiteY73612" fmla="*/ 2816037 h 5973007"/>
              <a:gd name="connsiteX73613" fmla="*/ 1336962 w 6884782"/>
              <a:gd name="connsiteY73613" fmla="*/ 2818050 h 5973007"/>
              <a:gd name="connsiteX73614" fmla="*/ 1335000 w 6884782"/>
              <a:gd name="connsiteY73614" fmla="*/ 2825486 h 5973007"/>
              <a:gd name="connsiteX73615" fmla="*/ 1333348 w 6884782"/>
              <a:gd name="connsiteY73615" fmla="*/ 2825331 h 5973007"/>
              <a:gd name="connsiteX73616" fmla="*/ 1330043 w 6884782"/>
              <a:gd name="connsiteY73616" fmla="*/ 2826105 h 5973007"/>
              <a:gd name="connsiteX73617" fmla="*/ 1326326 w 6884782"/>
              <a:gd name="connsiteY73617" fmla="*/ 2826415 h 5973007"/>
              <a:gd name="connsiteX73618" fmla="*/ 1323538 w 6884782"/>
              <a:gd name="connsiteY73618" fmla="*/ 2825640 h 5973007"/>
              <a:gd name="connsiteX73619" fmla="*/ 1321886 w 6884782"/>
              <a:gd name="connsiteY73619" fmla="*/ 2827654 h 5973007"/>
              <a:gd name="connsiteX73620" fmla="*/ 1326223 w 6884782"/>
              <a:gd name="connsiteY73620" fmla="*/ 2831681 h 5973007"/>
              <a:gd name="connsiteX73621" fmla="*/ 1329218 w 6884782"/>
              <a:gd name="connsiteY73621" fmla="*/ 2837723 h 5973007"/>
              <a:gd name="connsiteX73622" fmla="*/ 1329437 w 6884782"/>
              <a:gd name="connsiteY73622" fmla="*/ 2844422 h 5973007"/>
              <a:gd name="connsiteX73623" fmla="*/ 1325716 w 6884782"/>
              <a:gd name="connsiteY73623" fmla="*/ 2850873 h 5973007"/>
              <a:gd name="connsiteX73624" fmla="*/ 1325603 w 6884782"/>
              <a:gd name="connsiteY73624" fmla="*/ 2850889 h 5973007"/>
              <a:gd name="connsiteX73625" fmla="*/ 1325707 w 6884782"/>
              <a:gd name="connsiteY73625" fmla="*/ 2850889 h 5973007"/>
              <a:gd name="connsiteX73626" fmla="*/ 1325716 w 6884782"/>
              <a:gd name="connsiteY73626" fmla="*/ 2850873 h 5973007"/>
              <a:gd name="connsiteX73627" fmla="*/ 1326739 w 6884782"/>
              <a:gd name="connsiteY73627" fmla="*/ 2850734 h 5973007"/>
              <a:gd name="connsiteX73628" fmla="*/ 1327978 w 6884782"/>
              <a:gd name="connsiteY73628" fmla="*/ 2851508 h 5973007"/>
              <a:gd name="connsiteX73629" fmla="*/ 1327978 w 6884782"/>
              <a:gd name="connsiteY73629" fmla="*/ 2851353 h 5973007"/>
              <a:gd name="connsiteX73630" fmla="*/ 1342228 w 6884782"/>
              <a:gd name="connsiteY73630" fmla="*/ 2848255 h 5973007"/>
              <a:gd name="connsiteX73631" fmla="*/ 1345738 w 6884782"/>
              <a:gd name="connsiteY73631" fmla="*/ 2850579 h 5973007"/>
              <a:gd name="connsiteX73632" fmla="*/ 1346358 w 6884782"/>
              <a:gd name="connsiteY73632" fmla="*/ 2854451 h 5973007"/>
              <a:gd name="connsiteX73633" fmla="*/ 1342641 w 6884782"/>
              <a:gd name="connsiteY73633" fmla="*/ 2857239 h 5973007"/>
              <a:gd name="connsiteX73634" fmla="*/ 1345945 w 6884782"/>
              <a:gd name="connsiteY73634" fmla="*/ 2859408 h 5973007"/>
              <a:gd name="connsiteX73635" fmla="*/ 1351934 w 6884782"/>
              <a:gd name="connsiteY73635" fmla="*/ 2864365 h 5973007"/>
              <a:gd name="connsiteX73636" fmla="*/ 1357406 w 6884782"/>
              <a:gd name="connsiteY73636" fmla="*/ 2866223 h 5973007"/>
              <a:gd name="connsiteX73637" fmla="*/ 1357200 w 6884782"/>
              <a:gd name="connsiteY73637" fmla="*/ 2861731 h 5973007"/>
              <a:gd name="connsiteX73638" fmla="*/ 1359059 w 6884782"/>
              <a:gd name="connsiteY73638" fmla="*/ 2865449 h 5973007"/>
              <a:gd name="connsiteX73639" fmla="*/ 1360504 w 6884782"/>
              <a:gd name="connsiteY73639" fmla="*/ 2866688 h 5973007"/>
              <a:gd name="connsiteX73640" fmla="*/ 1359678 w 6884782"/>
              <a:gd name="connsiteY73640" fmla="*/ 2864674 h 5973007"/>
              <a:gd name="connsiteX73641" fmla="*/ 1362879 w 6884782"/>
              <a:gd name="connsiteY73641" fmla="*/ 2858478 h 5973007"/>
              <a:gd name="connsiteX73642" fmla="*/ 1376199 w 6884782"/>
              <a:gd name="connsiteY73642" fmla="*/ 2857084 h 5973007"/>
              <a:gd name="connsiteX73643" fmla="*/ 1381465 w 6884782"/>
              <a:gd name="connsiteY73643" fmla="*/ 2829668 h 5973007"/>
              <a:gd name="connsiteX73644" fmla="*/ 1363912 w 6884782"/>
              <a:gd name="connsiteY73644" fmla="*/ 2818825 h 5973007"/>
              <a:gd name="connsiteX73645" fmla="*/ 1362672 w 6884782"/>
              <a:gd name="connsiteY73645" fmla="*/ 2815262 h 5973007"/>
              <a:gd name="connsiteX73646" fmla="*/ 1362776 w 6884782"/>
              <a:gd name="connsiteY73646" fmla="*/ 2814953 h 5973007"/>
              <a:gd name="connsiteX73647" fmla="*/ 1359988 w 6884782"/>
              <a:gd name="connsiteY73647" fmla="*/ 2815262 h 5973007"/>
              <a:gd name="connsiteX73648" fmla="*/ 1353999 w 6884782"/>
              <a:gd name="connsiteY73648" fmla="*/ 2814178 h 5973007"/>
              <a:gd name="connsiteX73649" fmla="*/ 1354515 w 6884782"/>
              <a:gd name="connsiteY73649" fmla="*/ 2816811 h 5973007"/>
              <a:gd name="connsiteX73650" fmla="*/ 1344809 w 6884782"/>
              <a:gd name="connsiteY73650" fmla="*/ 2824401 h 5973007"/>
              <a:gd name="connsiteX73651" fmla="*/ 1342641 w 6884782"/>
              <a:gd name="connsiteY73651" fmla="*/ 2816811 h 5973007"/>
              <a:gd name="connsiteX73652" fmla="*/ 1344293 w 6884782"/>
              <a:gd name="connsiteY73652" fmla="*/ 2815572 h 5973007"/>
              <a:gd name="connsiteX73653" fmla="*/ 1345016 w 6884782"/>
              <a:gd name="connsiteY73653" fmla="*/ 2814333 h 5973007"/>
              <a:gd name="connsiteX73654" fmla="*/ 1343364 w 6884782"/>
              <a:gd name="connsiteY73654" fmla="*/ 2812629 h 5973007"/>
              <a:gd name="connsiteX73655" fmla="*/ 1339543 w 6884782"/>
              <a:gd name="connsiteY73655" fmla="*/ 2810770 h 5973007"/>
              <a:gd name="connsiteX73656" fmla="*/ 1343983 w 6884782"/>
              <a:gd name="connsiteY73656" fmla="*/ 2808137 h 5973007"/>
              <a:gd name="connsiteX73657" fmla="*/ 1349043 w 6884782"/>
              <a:gd name="connsiteY73657" fmla="*/ 2807208 h 5973007"/>
              <a:gd name="connsiteX73658" fmla="*/ 1349353 w 6884782"/>
              <a:gd name="connsiteY73658" fmla="*/ 2812629 h 5973007"/>
              <a:gd name="connsiteX73659" fmla="*/ 1351211 w 6884782"/>
              <a:gd name="connsiteY73659" fmla="*/ 2812165 h 5973007"/>
              <a:gd name="connsiteX73660" fmla="*/ 1353586 w 6884782"/>
              <a:gd name="connsiteY73660" fmla="*/ 2812629 h 5973007"/>
              <a:gd name="connsiteX73661" fmla="*/ 1353896 w 6884782"/>
              <a:gd name="connsiteY73661" fmla="*/ 2813868 h 5973007"/>
              <a:gd name="connsiteX73662" fmla="*/ 1357716 w 6884782"/>
              <a:gd name="connsiteY73662" fmla="*/ 2809686 h 5973007"/>
              <a:gd name="connsiteX73663" fmla="*/ 1361537 w 6884782"/>
              <a:gd name="connsiteY73663" fmla="*/ 2808137 h 5973007"/>
              <a:gd name="connsiteX73664" fmla="*/ 1367938 w 6884782"/>
              <a:gd name="connsiteY73664" fmla="*/ 2807672 h 5973007"/>
              <a:gd name="connsiteX73665" fmla="*/ 1368455 w 6884782"/>
              <a:gd name="connsiteY73665" fmla="*/ 2807672 h 5973007"/>
              <a:gd name="connsiteX73666" fmla="*/ 1369591 w 6884782"/>
              <a:gd name="connsiteY73666" fmla="*/ 2805349 h 5973007"/>
              <a:gd name="connsiteX73667" fmla="*/ 1371656 w 6884782"/>
              <a:gd name="connsiteY73667" fmla="*/ 2807982 h 5973007"/>
              <a:gd name="connsiteX73668" fmla="*/ 1374754 w 6884782"/>
              <a:gd name="connsiteY73668" fmla="*/ 2808292 h 5973007"/>
              <a:gd name="connsiteX73669" fmla="*/ 1373824 w 6884782"/>
              <a:gd name="connsiteY73669" fmla="*/ 2810461 h 5973007"/>
              <a:gd name="connsiteX73670" fmla="*/ 1378884 w 6884782"/>
              <a:gd name="connsiteY73670" fmla="*/ 2812939 h 5973007"/>
              <a:gd name="connsiteX73671" fmla="*/ 1380123 w 6884782"/>
              <a:gd name="connsiteY73671" fmla="*/ 2812629 h 5973007"/>
              <a:gd name="connsiteX73672" fmla="*/ 1380949 w 6884782"/>
              <a:gd name="connsiteY73672" fmla="*/ 2810615 h 5973007"/>
              <a:gd name="connsiteX73673" fmla="*/ 1384460 w 6884782"/>
              <a:gd name="connsiteY73673" fmla="*/ 2809066 h 5973007"/>
              <a:gd name="connsiteX73674" fmla="*/ 1385079 w 6884782"/>
              <a:gd name="connsiteY73674" fmla="*/ 2810770 h 5973007"/>
              <a:gd name="connsiteX73675" fmla="*/ 1385802 w 6884782"/>
              <a:gd name="connsiteY73675" fmla="*/ 2810461 h 5973007"/>
              <a:gd name="connsiteX73676" fmla="*/ 1385492 w 6884782"/>
              <a:gd name="connsiteY73676" fmla="*/ 2809686 h 5973007"/>
              <a:gd name="connsiteX73677" fmla="*/ 1384253 w 6884782"/>
              <a:gd name="connsiteY73677" fmla="*/ 2803181 h 5973007"/>
              <a:gd name="connsiteX73678" fmla="*/ 1386628 w 6884782"/>
              <a:gd name="connsiteY73678" fmla="*/ 2809222 h 5973007"/>
              <a:gd name="connsiteX73679" fmla="*/ 1386834 w 6884782"/>
              <a:gd name="connsiteY73679" fmla="*/ 2809996 h 5973007"/>
              <a:gd name="connsiteX73680" fmla="*/ 1387454 w 6884782"/>
              <a:gd name="connsiteY73680" fmla="*/ 2809531 h 5973007"/>
              <a:gd name="connsiteX73681" fmla="*/ 1408002 w 6884782"/>
              <a:gd name="connsiteY73681" fmla="*/ 2785057 h 5973007"/>
              <a:gd name="connsiteX73682" fmla="*/ 1410170 w 6884782"/>
              <a:gd name="connsiteY73682" fmla="*/ 2770187 h 5973007"/>
              <a:gd name="connsiteX73683" fmla="*/ 1403149 w 6884782"/>
              <a:gd name="connsiteY73683" fmla="*/ 2760274 h 5973007"/>
              <a:gd name="connsiteX73684" fmla="*/ 1402323 w 6884782"/>
              <a:gd name="connsiteY73684" fmla="*/ 2752994 h 5973007"/>
              <a:gd name="connsiteX73685" fmla="*/ 1408105 w 6884782"/>
              <a:gd name="connsiteY73685" fmla="*/ 2751910 h 5973007"/>
              <a:gd name="connsiteX73686" fmla="*/ 1410583 w 6884782"/>
              <a:gd name="connsiteY73686" fmla="*/ 2751445 h 5973007"/>
              <a:gd name="connsiteX73687" fmla="*/ 1408105 w 6884782"/>
              <a:gd name="connsiteY73687" fmla="*/ 2748037 h 5973007"/>
              <a:gd name="connsiteX73688" fmla="*/ 1408002 w 6884782"/>
              <a:gd name="connsiteY73688" fmla="*/ 2744630 h 5973007"/>
              <a:gd name="connsiteX73689" fmla="*/ 1412959 w 6884782"/>
              <a:gd name="connsiteY73689" fmla="*/ 2740912 h 5973007"/>
              <a:gd name="connsiteX73690" fmla="*/ 1417192 w 6884782"/>
              <a:gd name="connsiteY73690" fmla="*/ 2741687 h 5973007"/>
              <a:gd name="connsiteX73691" fmla="*/ 1419819 w 6884782"/>
              <a:gd name="connsiteY73691" fmla="*/ 2747903 h 5973007"/>
              <a:gd name="connsiteX73692" fmla="*/ 1419609 w 6884782"/>
              <a:gd name="connsiteY73692" fmla="*/ 2748192 h 5973007"/>
              <a:gd name="connsiteX73693" fmla="*/ 1415333 w 6884782"/>
              <a:gd name="connsiteY73693" fmla="*/ 2750671 h 5973007"/>
              <a:gd name="connsiteX73694" fmla="*/ 1416882 w 6884782"/>
              <a:gd name="connsiteY73694" fmla="*/ 2750671 h 5973007"/>
              <a:gd name="connsiteX73695" fmla="*/ 1417811 w 6884782"/>
              <a:gd name="connsiteY73695" fmla="*/ 2750671 h 5973007"/>
              <a:gd name="connsiteX73696" fmla="*/ 1419609 w 6884782"/>
              <a:gd name="connsiteY73696" fmla="*/ 2748192 h 5973007"/>
              <a:gd name="connsiteX73697" fmla="*/ 1419876 w 6884782"/>
              <a:gd name="connsiteY73697" fmla="*/ 2748037 h 5973007"/>
              <a:gd name="connsiteX73698" fmla="*/ 1419819 w 6884782"/>
              <a:gd name="connsiteY73698" fmla="*/ 2747903 h 5973007"/>
              <a:gd name="connsiteX73699" fmla="*/ 1421632 w 6884782"/>
              <a:gd name="connsiteY73699" fmla="*/ 2745404 h 5973007"/>
              <a:gd name="connsiteX73700" fmla="*/ 1437327 w 6884782"/>
              <a:gd name="connsiteY73700" fmla="*/ 2751910 h 5973007"/>
              <a:gd name="connsiteX73701" fmla="*/ 1444245 w 6884782"/>
              <a:gd name="connsiteY73701" fmla="*/ 2742771 h 5973007"/>
              <a:gd name="connsiteX73702" fmla="*/ 1447239 w 6884782"/>
              <a:gd name="connsiteY73702" fmla="*/ 2740447 h 5973007"/>
              <a:gd name="connsiteX73703" fmla="*/ 1444658 w 6884782"/>
              <a:gd name="connsiteY73703" fmla="*/ 2738434 h 5973007"/>
              <a:gd name="connsiteX73704" fmla="*/ 1447342 w 6884782"/>
              <a:gd name="connsiteY73704" fmla="*/ 2736730 h 5973007"/>
              <a:gd name="connsiteX73705" fmla="*/ 1453538 w 6884782"/>
              <a:gd name="connsiteY73705" fmla="*/ 2737195 h 5973007"/>
              <a:gd name="connsiteX73706" fmla="*/ 1453951 w 6884782"/>
              <a:gd name="connsiteY73706" fmla="*/ 2737350 h 5973007"/>
              <a:gd name="connsiteX73707" fmla="*/ 1457668 w 6884782"/>
              <a:gd name="connsiteY73707" fmla="*/ 2730689 h 5973007"/>
              <a:gd name="connsiteX73708" fmla="*/ 1457152 w 6884782"/>
              <a:gd name="connsiteY73708" fmla="*/ 2721860 h 5973007"/>
              <a:gd name="connsiteX73709" fmla="*/ 1455500 w 6884782"/>
              <a:gd name="connsiteY73709" fmla="*/ 2715819 h 5973007"/>
              <a:gd name="connsiteX73710" fmla="*/ 1453848 w 6884782"/>
              <a:gd name="connsiteY73710" fmla="*/ 2713650 h 5973007"/>
              <a:gd name="connsiteX73711" fmla="*/ 1453228 w 6884782"/>
              <a:gd name="connsiteY73711" fmla="*/ 2712876 h 5973007"/>
              <a:gd name="connsiteX73712" fmla="*/ 1453641 w 6884782"/>
              <a:gd name="connsiteY73712" fmla="*/ 2722170 h 5973007"/>
              <a:gd name="connsiteX73713" fmla="*/ 1452608 w 6884782"/>
              <a:gd name="connsiteY73713" fmla="*/ 2732393 h 5973007"/>
              <a:gd name="connsiteX73714" fmla="*/ 1436810 w 6884782"/>
              <a:gd name="connsiteY73714" fmla="*/ 2707455 h 5973007"/>
              <a:gd name="connsiteX73715" fmla="*/ 1439702 w 6884782"/>
              <a:gd name="connsiteY73715" fmla="*/ 2695682 h 5973007"/>
              <a:gd name="connsiteX73716" fmla="*/ 1447652 w 6884782"/>
              <a:gd name="connsiteY73716" fmla="*/ 2702033 h 5973007"/>
              <a:gd name="connsiteX73717" fmla="*/ 1448169 w 6884782"/>
              <a:gd name="connsiteY73717" fmla="*/ 2700794 h 5973007"/>
              <a:gd name="connsiteX73718" fmla="*/ 1441147 w 6884782"/>
              <a:gd name="connsiteY73718" fmla="*/ 2690726 h 5973007"/>
              <a:gd name="connsiteX73719" fmla="*/ 1440837 w 6884782"/>
              <a:gd name="connsiteY73719" fmla="*/ 2687163 h 5973007"/>
              <a:gd name="connsiteX73720" fmla="*/ 1443316 w 6884782"/>
              <a:gd name="connsiteY73720" fmla="*/ 2689951 h 5973007"/>
              <a:gd name="connsiteX73721" fmla="*/ 1445277 w 6884782"/>
              <a:gd name="connsiteY73721" fmla="*/ 2694288 h 5973007"/>
              <a:gd name="connsiteX73722" fmla="*/ 1448375 w 6884782"/>
              <a:gd name="connsiteY73722" fmla="*/ 2695528 h 5973007"/>
              <a:gd name="connsiteX73723" fmla="*/ 1448788 w 6884782"/>
              <a:gd name="connsiteY73723" fmla="*/ 2699245 h 5973007"/>
              <a:gd name="connsiteX73724" fmla="*/ 1458185 w 6884782"/>
              <a:gd name="connsiteY73724" fmla="*/ 2703118 h 5973007"/>
              <a:gd name="connsiteX73725" fmla="*/ 1459320 w 6884782"/>
              <a:gd name="connsiteY73725" fmla="*/ 2706990 h 5973007"/>
              <a:gd name="connsiteX73726" fmla="*/ 1463038 w 6884782"/>
              <a:gd name="connsiteY73726" fmla="*/ 2703118 h 5973007"/>
              <a:gd name="connsiteX73727" fmla="*/ 1451370 w 6884782"/>
              <a:gd name="connsiteY73727" fmla="*/ 2697386 h 5973007"/>
              <a:gd name="connsiteX73728" fmla="*/ 1449614 w 6884782"/>
              <a:gd name="connsiteY73728" fmla="*/ 2678489 h 5973007"/>
              <a:gd name="connsiteX73729" fmla="*/ 1446207 w 6884782"/>
              <a:gd name="connsiteY73729" fmla="*/ 2664239 h 5973007"/>
              <a:gd name="connsiteX73730" fmla="*/ 1443109 w 6884782"/>
              <a:gd name="connsiteY73730" fmla="*/ 2663619 h 5973007"/>
              <a:gd name="connsiteX73731" fmla="*/ 1444245 w 6884782"/>
              <a:gd name="connsiteY73731" fmla="*/ 2662999 h 5973007"/>
              <a:gd name="connsiteX73732" fmla="*/ 1446000 w 6884782"/>
              <a:gd name="connsiteY73732" fmla="*/ 2663464 h 5973007"/>
              <a:gd name="connsiteX73733" fmla="*/ 1444761 w 6884782"/>
              <a:gd name="connsiteY73733" fmla="*/ 2658197 h 5973007"/>
              <a:gd name="connsiteX73734" fmla="*/ 1440631 w 6884782"/>
              <a:gd name="connsiteY73734" fmla="*/ 2636667 h 5973007"/>
              <a:gd name="connsiteX73735" fmla="*/ 1439805 w 6884782"/>
              <a:gd name="connsiteY73735" fmla="*/ 2625360 h 5973007"/>
              <a:gd name="connsiteX73736" fmla="*/ 1440837 w 6884782"/>
              <a:gd name="connsiteY73736" fmla="*/ 2618234 h 5973007"/>
              <a:gd name="connsiteX73737" fmla="*/ 1440321 w 6884782"/>
              <a:gd name="connsiteY73737" fmla="*/ 2619163 h 5973007"/>
              <a:gd name="connsiteX73738" fmla="*/ 1437637 w 6884782"/>
              <a:gd name="connsiteY73738" fmla="*/ 2618544 h 5973007"/>
              <a:gd name="connsiteX73739" fmla="*/ 1438256 w 6884782"/>
              <a:gd name="connsiteY73739" fmla="*/ 2616531 h 5973007"/>
              <a:gd name="connsiteX73740" fmla="*/ 1441147 w 6884782"/>
              <a:gd name="connsiteY73740" fmla="*/ 2616220 h 5973007"/>
              <a:gd name="connsiteX73741" fmla="*/ 1441457 w 6884782"/>
              <a:gd name="connsiteY73741" fmla="*/ 2614052 h 5973007"/>
              <a:gd name="connsiteX73742" fmla="*/ 1434849 w 6884782"/>
              <a:gd name="connsiteY73742" fmla="*/ 2609405 h 5973007"/>
              <a:gd name="connsiteX73743" fmla="*/ 1433197 w 6884782"/>
              <a:gd name="connsiteY73743" fmla="*/ 2579510 h 5973007"/>
              <a:gd name="connsiteX73744" fmla="*/ 1431544 w 6884782"/>
              <a:gd name="connsiteY73744" fmla="*/ 2560613 h 5973007"/>
              <a:gd name="connsiteX73745" fmla="*/ 1437327 w 6884782"/>
              <a:gd name="connsiteY73745" fmla="*/ 2543884 h 5973007"/>
              <a:gd name="connsiteX73746" fmla="*/ 1438979 w 6884782"/>
              <a:gd name="connsiteY73746" fmla="*/ 2551319 h 5973007"/>
              <a:gd name="connsiteX73747" fmla="*/ 1443935 w 6884782"/>
              <a:gd name="connsiteY73747" fmla="*/ 2543884 h 5973007"/>
              <a:gd name="connsiteX73748" fmla="*/ 1440218 w 6884782"/>
              <a:gd name="connsiteY73748" fmla="*/ 2539857 h 5973007"/>
              <a:gd name="connsiteX73749" fmla="*/ 1440425 w 6884782"/>
              <a:gd name="connsiteY73749" fmla="*/ 2537378 h 5973007"/>
              <a:gd name="connsiteX73750" fmla="*/ 1440115 w 6884782"/>
              <a:gd name="connsiteY73750" fmla="*/ 2537378 h 5973007"/>
              <a:gd name="connsiteX73751" fmla="*/ 1437430 w 6884782"/>
              <a:gd name="connsiteY73751" fmla="*/ 2532267 h 5973007"/>
              <a:gd name="connsiteX73752" fmla="*/ 1439082 w 6884782"/>
              <a:gd name="connsiteY73752" fmla="*/ 2527620 h 5973007"/>
              <a:gd name="connsiteX73753" fmla="*/ 1442696 w 6884782"/>
              <a:gd name="connsiteY73753" fmla="*/ 2527775 h 5973007"/>
              <a:gd name="connsiteX73754" fmla="*/ 1443832 w 6884782"/>
              <a:gd name="connsiteY73754" fmla="*/ 2534590 h 5973007"/>
              <a:gd name="connsiteX73755" fmla="*/ 1444968 w 6884782"/>
              <a:gd name="connsiteY73755" fmla="*/ 2539702 h 5973007"/>
              <a:gd name="connsiteX73756" fmla="*/ 1447239 w 6884782"/>
              <a:gd name="connsiteY73756" fmla="*/ 2539237 h 5973007"/>
              <a:gd name="connsiteX73757" fmla="*/ 1453848 w 6884782"/>
              <a:gd name="connsiteY73757" fmla="*/ 2557825 h 5973007"/>
              <a:gd name="connsiteX73758" fmla="*/ 1452196 w 6884782"/>
              <a:gd name="connsiteY73758" fmla="*/ 2576568 h 5973007"/>
              <a:gd name="connsiteX73759" fmla="*/ 1456326 w 6884782"/>
              <a:gd name="connsiteY73759" fmla="*/ 2601041 h 5973007"/>
              <a:gd name="connsiteX73760" fmla="*/ 1458907 w 6884782"/>
              <a:gd name="connsiteY73760" fmla="*/ 2587874 h 5973007"/>
              <a:gd name="connsiteX73761" fmla="*/ 1460456 w 6884782"/>
              <a:gd name="connsiteY73761" fmla="*/ 2574708 h 5973007"/>
              <a:gd name="connsiteX73762" fmla="*/ 1457152 w 6884782"/>
              <a:gd name="connsiteY73762" fmla="*/ 2555966 h 5973007"/>
              <a:gd name="connsiteX73763" fmla="*/ 1460456 w 6884782"/>
              <a:gd name="connsiteY73763" fmla="*/ 2565415 h 5973007"/>
              <a:gd name="connsiteX73764" fmla="*/ 1460456 w 6884782"/>
              <a:gd name="connsiteY73764" fmla="*/ 2543884 h 5973007"/>
              <a:gd name="connsiteX73765" fmla="*/ 1458907 w 6884782"/>
              <a:gd name="connsiteY73765" fmla="*/ 2548531 h 5973007"/>
              <a:gd name="connsiteX73766" fmla="*/ 1460456 w 6884782"/>
              <a:gd name="connsiteY73766" fmla="*/ 2534436 h 5973007"/>
              <a:gd name="connsiteX73767" fmla="*/ 1456326 w 6884782"/>
              <a:gd name="connsiteY73767" fmla="*/ 2522199 h 5973007"/>
              <a:gd name="connsiteX73768" fmla="*/ 1456842 w 6884782"/>
              <a:gd name="connsiteY73768" fmla="*/ 2520495 h 5973007"/>
              <a:gd name="connsiteX73769" fmla="*/ 1447652 w 6884782"/>
              <a:gd name="connsiteY73769" fmla="*/ 2503921 h 5973007"/>
              <a:gd name="connsiteX73770" fmla="*/ 1448892 w 6884782"/>
              <a:gd name="connsiteY73770" fmla="*/ 2498654 h 5973007"/>
              <a:gd name="connsiteX73771" fmla="*/ 1453125 w 6884782"/>
              <a:gd name="connsiteY73771" fmla="*/ 2496486 h 5973007"/>
              <a:gd name="connsiteX73772" fmla="*/ 1457668 w 6884782"/>
              <a:gd name="connsiteY73772" fmla="*/ 2500049 h 5973007"/>
              <a:gd name="connsiteX73773" fmla="*/ 1458907 w 6884782"/>
              <a:gd name="connsiteY73773" fmla="*/ 2495092 h 5973007"/>
              <a:gd name="connsiteX73774" fmla="*/ 1459217 w 6884782"/>
              <a:gd name="connsiteY73774" fmla="*/ 2494008 h 5973007"/>
              <a:gd name="connsiteX73775" fmla="*/ 1456842 w 6884782"/>
              <a:gd name="connsiteY73775" fmla="*/ 2491994 h 5973007"/>
              <a:gd name="connsiteX73776" fmla="*/ 1454054 w 6884782"/>
              <a:gd name="connsiteY73776" fmla="*/ 2482545 h 5973007"/>
              <a:gd name="connsiteX73777" fmla="*/ 1458081 w 6884782"/>
              <a:gd name="connsiteY73777" fmla="*/ 2476349 h 5973007"/>
              <a:gd name="connsiteX73778" fmla="*/ 1456016 w 6884782"/>
              <a:gd name="connsiteY73778" fmla="*/ 2476504 h 5973007"/>
              <a:gd name="connsiteX73779" fmla="*/ 1451266 w 6884782"/>
              <a:gd name="connsiteY73779" fmla="*/ 2474336 h 5973007"/>
              <a:gd name="connsiteX73780" fmla="*/ 1447136 w 6884782"/>
              <a:gd name="connsiteY73780" fmla="*/ 2466281 h 5973007"/>
              <a:gd name="connsiteX73781" fmla="*/ 1446103 w 6884782"/>
              <a:gd name="connsiteY73781" fmla="*/ 2463028 h 5973007"/>
              <a:gd name="connsiteX73782" fmla="*/ 1441147 w 6884782"/>
              <a:gd name="connsiteY73782" fmla="*/ 2470463 h 5973007"/>
              <a:gd name="connsiteX73783" fmla="*/ 1436088 w 6884782"/>
              <a:gd name="connsiteY73783" fmla="*/ 2466436 h 5973007"/>
              <a:gd name="connsiteX73784" fmla="*/ 1439185 w 6884782"/>
              <a:gd name="connsiteY73784" fmla="*/ 2457142 h 5973007"/>
              <a:gd name="connsiteX73785" fmla="*/ 1439805 w 6884782"/>
              <a:gd name="connsiteY73785" fmla="*/ 2456523 h 5973007"/>
              <a:gd name="connsiteX73786" fmla="*/ 1436810 w 6884782"/>
              <a:gd name="connsiteY73786" fmla="*/ 2455439 h 5973007"/>
              <a:gd name="connsiteX73787" fmla="*/ 1417089 w 6884782"/>
              <a:gd name="connsiteY73787" fmla="*/ 2459001 h 5973007"/>
              <a:gd name="connsiteX73788" fmla="*/ 1416159 w 6884782"/>
              <a:gd name="connsiteY73788" fmla="*/ 2459466 h 5973007"/>
              <a:gd name="connsiteX73789" fmla="*/ 1416985 w 6884782"/>
              <a:gd name="connsiteY73789" fmla="*/ 2459930 h 5973007"/>
              <a:gd name="connsiteX73790" fmla="*/ 1419670 w 6884782"/>
              <a:gd name="connsiteY73790" fmla="*/ 2465042 h 5973007"/>
              <a:gd name="connsiteX73791" fmla="*/ 1417605 w 6884782"/>
              <a:gd name="connsiteY73791" fmla="*/ 2466591 h 5973007"/>
              <a:gd name="connsiteX73792" fmla="*/ 1419154 w 6884782"/>
              <a:gd name="connsiteY73792" fmla="*/ 2468450 h 5973007"/>
              <a:gd name="connsiteX73793" fmla="*/ 1420806 w 6884782"/>
              <a:gd name="connsiteY73793" fmla="*/ 2470618 h 5973007"/>
              <a:gd name="connsiteX73794" fmla="*/ 1422871 w 6884782"/>
              <a:gd name="connsiteY73794" fmla="*/ 2470773 h 5973007"/>
              <a:gd name="connsiteX73795" fmla="*/ 1425866 w 6884782"/>
              <a:gd name="connsiteY73795" fmla="*/ 2472012 h 5973007"/>
              <a:gd name="connsiteX73796" fmla="*/ 1422148 w 6884782"/>
              <a:gd name="connsiteY73796" fmla="*/ 2477124 h 5973007"/>
              <a:gd name="connsiteX73797" fmla="*/ 1419773 w 6884782"/>
              <a:gd name="connsiteY73797" fmla="*/ 2474800 h 5973007"/>
              <a:gd name="connsiteX73798" fmla="*/ 1416469 w 6884782"/>
              <a:gd name="connsiteY73798" fmla="*/ 2479137 h 5973007"/>
              <a:gd name="connsiteX73799" fmla="*/ 1411719 w 6884782"/>
              <a:gd name="connsiteY73799" fmla="*/ 2481306 h 5973007"/>
              <a:gd name="connsiteX73800" fmla="*/ 1408415 w 6884782"/>
              <a:gd name="connsiteY73800" fmla="*/ 2480841 h 5973007"/>
              <a:gd name="connsiteX73801" fmla="*/ 1406350 w 6884782"/>
              <a:gd name="connsiteY73801" fmla="*/ 2479602 h 5973007"/>
              <a:gd name="connsiteX73802" fmla="*/ 1406866 w 6884782"/>
              <a:gd name="connsiteY73802" fmla="*/ 2483474 h 5973007"/>
              <a:gd name="connsiteX73803" fmla="*/ 1405627 w 6884782"/>
              <a:gd name="connsiteY73803" fmla="*/ 2488431 h 5973007"/>
              <a:gd name="connsiteX73804" fmla="*/ 1393856 w 6884782"/>
              <a:gd name="connsiteY73804" fmla="*/ 2489670 h 5973007"/>
              <a:gd name="connsiteX73805" fmla="*/ 1392824 w 6884782"/>
              <a:gd name="connsiteY73805" fmla="*/ 2487037 h 5973007"/>
              <a:gd name="connsiteX73806" fmla="*/ 1391584 w 6884782"/>
              <a:gd name="connsiteY73806" fmla="*/ 2489051 h 5973007"/>
              <a:gd name="connsiteX73807" fmla="*/ 1387454 w 6884782"/>
              <a:gd name="connsiteY73807" fmla="*/ 2489360 h 5973007"/>
              <a:gd name="connsiteX73808" fmla="*/ 1389003 w 6884782"/>
              <a:gd name="connsiteY73808" fmla="*/ 2485179 h 5973007"/>
              <a:gd name="connsiteX73809" fmla="*/ 1392204 w 6884782"/>
              <a:gd name="connsiteY73809" fmla="*/ 2485489 h 5973007"/>
              <a:gd name="connsiteX73810" fmla="*/ 1391997 w 6884782"/>
              <a:gd name="connsiteY73810" fmla="*/ 2480686 h 5973007"/>
              <a:gd name="connsiteX73811" fmla="*/ 1392101 w 6884782"/>
              <a:gd name="connsiteY73811" fmla="*/ 2479757 h 5973007"/>
              <a:gd name="connsiteX73812" fmla="*/ 1390448 w 6884782"/>
              <a:gd name="connsiteY73812" fmla="*/ 2480531 h 5973007"/>
              <a:gd name="connsiteX73813" fmla="*/ 1388177 w 6884782"/>
              <a:gd name="connsiteY73813" fmla="*/ 2480841 h 5973007"/>
              <a:gd name="connsiteX73814" fmla="*/ 1387454 w 6884782"/>
              <a:gd name="connsiteY73814" fmla="*/ 2478208 h 5973007"/>
              <a:gd name="connsiteX73815" fmla="*/ 1390965 w 6884782"/>
              <a:gd name="connsiteY73815" fmla="*/ 2477434 h 5973007"/>
              <a:gd name="connsiteX73816" fmla="*/ 1391997 w 6884782"/>
              <a:gd name="connsiteY73816" fmla="*/ 2478363 h 5973007"/>
              <a:gd name="connsiteX73817" fmla="*/ 1392204 w 6884782"/>
              <a:gd name="connsiteY73817" fmla="*/ 2478983 h 5973007"/>
              <a:gd name="connsiteX73818" fmla="*/ 1393030 w 6884782"/>
              <a:gd name="connsiteY73818" fmla="*/ 2472012 h 5973007"/>
              <a:gd name="connsiteX73819" fmla="*/ 1385802 w 6884782"/>
              <a:gd name="connsiteY73819" fmla="*/ 2462563 h 5973007"/>
              <a:gd name="connsiteX73820" fmla="*/ 1349869 w 6884782"/>
              <a:gd name="connsiteY73820" fmla="*/ 2446455 h 5973007"/>
              <a:gd name="connsiteX73821" fmla="*/ 1346152 w 6884782"/>
              <a:gd name="connsiteY73821" fmla="*/ 2445370 h 5973007"/>
              <a:gd name="connsiteX73822" fmla="*/ 1346048 w 6884782"/>
              <a:gd name="connsiteY73822" fmla="*/ 2445525 h 5973007"/>
              <a:gd name="connsiteX73823" fmla="*/ 1345222 w 6884782"/>
              <a:gd name="connsiteY73823" fmla="*/ 2445370 h 5973007"/>
              <a:gd name="connsiteX73824" fmla="*/ 1341196 w 6884782"/>
              <a:gd name="connsiteY73824" fmla="*/ 2445525 h 5973007"/>
              <a:gd name="connsiteX73825" fmla="*/ 1332109 w 6884782"/>
              <a:gd name="connsiteY73825" fmla="*/ 2449552 h 5973007"/>
              <a:gd name="connsiteX73826" fmla="*/ 1327669 w 6884782"/>
              <a:gd name="connsiteY73826" fmla="*/ 2456058 h 5973007"/>
              <a:gd name="connsiteX73827" fmla="*/ 1328288 w 6884782"/>
              <a:gd name="connsiteY73827" fmla="*/ 2457297 h 5973007"/>
              <a:gd name="connsiteX73828" fmla="*/ 1325913 w 6884782"/>
              <a:gd name="connsiteY73828" fmla="*/ 2462254 h 5973007"/>
              <a:gd name="connsiteX73829" fmla="*/ 1321267 w 6884782"/>
              <a:gd name="connsiteY73829" fmla="*/ 2464577 h 5973007"/>
              <a:gd name="connsiteX73830" fmla="*/ 1319408 w 6884782"/>
              <a:gd name="connsiteY73830" fmla="*/ 2466436 h 5973007"/>
              <a:gd name="connsiteX73831" fmla="*/ 1315588 w 6884782"/>
              <a:gd name="connsiteY73831" fmla="*/ 2465817 h 5973007"/>
              <a:gd name="connsiteX73832" fmla="*/ 1312077 w 6884782"/>
              <a:gd name="connsiteY73832" fmla="*/ 2459001 h 5973007"/>
              <a:gd name="connsiteX73833" fmla="*/ 1307018 w 6884782"/>
              <a:gd name="connsiteY73833" fmla="*/ 2447538 h 5973007"/>
              <a:gd name="connsiteX73834" fmla="*/ 1299376 w 6884782"/>
              <a:gd name="connsiteY73834" fmla="*/ 2444751 h 5973007"/>
              <a:gd name="connsiteX73835" fmla="*/ 1298137 w 6884782"/>
              <a:gd name="connsiteY73835" fmla="*/ 2442892 h 5973007"/>
              <a:gd name="connsiteX73836" fmla="*/ 1295350 w 6884782"/>
              <a:gd name="connsiteY73836" fmla="*/ 2442892 h 5973007"/>
              <a:gd name="connsiteX73837" fmla="*/ 1292252 w 6884782"/>
              <a:gd name="connsiteY73837" fmla="*/ 2441807 h 5973007"/>
              <a:gd name="connsiteX73838" fmla="*/ 1291116 w 6884782"/>
              <a:gd name="connsiteY73838" fmla="*/ 2440258 h 5973007"/>
              <a:gd name="connsiteX73839" fmla="*/ 1289051 w 6884782"/>
              <a:gd name="connsiteY73839" fmla="*/ 2440723 h 5973007"/>
              <a:gd name="connsiteX73840" fmla="*/ 1284301 w 6884782"/>
              <a:gd name="connsiteY73840" fmla="*/ 2436851 h 5973007"/>
              <a:gd name="connsiteX73841" fmla="*/ 1285334 w 6884782"/>
              <a:gd name="connsiteY73841" fmla="*/ 2432978 h 5973007"/>
              <a:gd name="connsiteX73842" fmla="*/ 1290806 w 6884782"/>
              <a:gd name="connsiteY73842" fmla="*/ 2434218 h 5973007"/>
              <a:gd name="connsiteX73843" fmla="*/ 1292562 w 6884782"/>
              <a:gd name="connsiteY73843" fmla="*/ 2436231 h 5973007"/>
              <a:gd name="connsiteX73844" fmla="*/ 1294420 w 6884782"/>
              <a:gd name="connsiteY73844" fmla="*/ 2434682 h 5973007"/>
              <a:gd name="connsiteX73845" fmla="*/ 1297725 w 6884782"/>
              <a:gd name="connsiteY73845" fmla="*/ 2433133 h 5973007"/>
              <a:gd name="connsiteX73846" fmla="*/ 1297931 w 6884782"/>
              <a:gd name="connsiteY73846" fmla="*/ 2431894 h 5973007"/>
              <a:gd name="connsiteX73847" fmla="*/ 1300719 w 6884782"/>
              <a:gd name="connsiteY73847" fmla="*/ 2422755 h 5973007"/>
              <a:gd name="connsiteX73848" fmla="*/ 1283682 w 6884782"/>
              <a:gd name="connsiteY73848" fmla="*/ 2414856 h 5973007"/>
              <a:gd name="connsiteX73849" fmla="*/ 1278312 w 6884782"/>
              <a:gd name="connsiteY73849" fmla="*/ 2407730 h 5973007"/>
              <a:gd name="connsiteX73850" fmla="*/ 1273975 w 6884782"/>
              <a:gd name="connsiteY73850" fmla="*/ 2406027 h 5973007"/>
              <a:gd name="connsiteX73851" fmla="*/ 1271600 w 6884782"/>
              <a:gd name="connsiteY73851" fmla="*/ 2405097 h 5973007"/>
              <a:gd name="connsiteX73852" fmla="*/ 1254770 w 6884782"/>
              <a:gd name="connsiteY73852" fmla="*/ 2410209 h 5973007"/>
              <a:gd name="connsiteX73853" fmla="*/ 1250433 w 6884782"/>
              <a:gd name="connsiteY73853" fmla="*/ 2416870 h 5973007"/>
              <a:gd name="connsiteX73854" fmla="*/ 1247232 w 6884782"/>
              <a:gd name="connsiteY73854" fmla="*/ 2422910 h 5973007"/>
              <a:gd name="connsiteX73855" fmla="*/ 1247129 w 6884782"/>
              <a:gd name="connsiteY73855" fmla="*/ 2424304 h 5973007"/>
              <a:gd name="connsiteX73856" fmla="*/ 1246303 w 6884782"/>
              <a:gd name="connsiteY73856" fmla="*/ 2424769 h 5973007"/>
              <a:gd name="connsiteX73857" fmla="*/ 1246097 w 6884782"/>
              <a:gd name="connsiteY73857" fmla="*/ 2425079 h 5973007"/>
              <a:gd name="connsiteX73858" fmla="*/ 1238042 w 6884782"/>
              <a:gd name="connsiteY73858" fmla="*/ 2428796 h 5973007"/>
              <a:gd name="connsiteX73859" fmla="*/ 1229472 w 6884782"/>
              <a:gd name="connsiteY73859" fmla="*/ 2441498 h 5973007"/>
              <a:gd name="connsiteX73860" fmla="*/ 1225445 w 6884782"/>
              <a:gd name="connsiteY73860" fmla="*/ 2443356 h 5973007"/>
              <a:gd name="connsiteX73861" fmla="*/ 1227717 w 6884782"/>
              <a:gd name="connsiteY73861" fmla="*/ 2439019 h 5973007"/>
              <a:gd name="connsiteX73862" fmla="*/ 1231847 w 6884782"/>
              <a:gd name="connsiteY73862" fmla="*/ 2434992 h 5973007"/>
              <a:gd name="connsiteX73863" fmla="*/ 1232054 w 6884782"/>
              <a:gd name="connsiteY73863" fmla="*/ 2430655 h 5973007"/>
              <a:gd name="connsiteX73864" fmla="*/ 1236080 w 6884782"/>
              <a:gd name="connsiteY73864" fmla="*/ 2428641 h 5973007"/>
              <a:gd name="connsiteX73865" fmla="*/ 1236597 w 6884782"/>
              <a:gd name="connsiteY73865" fmla="*/ 2421361 h 5973007"/>
              <a:gd name="connsiteX73866" fmla="*/ 1236700 w 6884782"/>
              <a:gd name="connsiteY73866" fmla="*/ 2418728 h 5973007"/>
              <a:gd name="connsiteX73867" fmla="*/ 1233189 w 6884782"/>
              <a:gd name="connsiteY73867" fmla="*/ 2420277 h 5973007"/>
              <a:gd name="connsiteX73868" fmla="*/ 1231331 w 6884782"/>
              <a:gd name="connsiteY73868" fmla="*/ 2414856 h 5973007"/>
              <a:gd name="connsiteX73869" fmla="*/ 1233705 w 6884782"/>
              <a:gd name="connsiteY73869" fmla="*/ 2412997 h 5973007"/>
              <a:gd name="connsiteX73870" fmla="*/ 1235255 w 6884782"/>
              <a:gd name="connsiteY73870" fmla="*/ 2413306 h 5973007"/>
              <a:gd name="connsiteX73871" fmla="*/ 1232673 w 6884782"/>
              <a:gd name="connsiteY73871" fmla="*/ 2408350 h 5973007"/>
              <a:gd name="connsiteX73872" fmla="*/ 1230918 w 6884782"/>
              <a:gd name="connsiteY73872" fmla="*/ 2402154 h 5973007"/>
              <a:gd name="connsiteX73873" fmla="*/ 1233705 w 6884782"/>
              <a:gd name="connsiteY73873" fmla="*/ 2407730 h 5973007"/>
              <a:gd name="connsiteX73874" fmla="*/ 1235564 w 6884782"/>
              <a:gd name="connsiteY73874" fmla="*/ 2413461 h 5973007"/>
              <a:gd name="connsiteX73875" fmla="*/ 1236803 w 6884782"/>
              <a:gd name="connsiteY73875" fmla="*/ 2413616 h 5973007"/>
              <a:gd name="connsiteX73876" fmla="*/ 1238042 w 6884782"/>
              <a:gd name="connsiteY73876" fmla="*/ 2414701 h 5973007"/>
              <a:gd name="connsiteX73877" fmla="*/ 1243825 w 6884782"/>
              <a:gd name="connsiteY73877" fmla="*/ 2410518 h 5973007"/>
              <a:gd name="connsiteX73878" fmla="*/ 1249194 w 6884782"/>
              <a:gd name="connsiteY73878" fmla="*/ 2405407 h 5973007"/>
              <a:gd name="connsiteX73879" fmla="*/ 1250743 w 6884782"/>
              <a:gd name="connsiteY73879" fmla="*/ 2381243 h 5973007"/>
              <a:gd name="connsiteX73880" fmla="*/ 1242379 w 6884782"/>
              <a:gd name="connsiteY73880" fmla="*/ 2376596 h 5973007"/>
              <a:gd name="connsiteX73881" fmla="*/ 1241140 w 6884782"/>
              <a:gd name="connsiteY73881" fmla="*/ 2376132 h 5973007"/>
              <a:gd name="connsiteX73882" fmla="*/ 1241966 w 6884782"/>
              <a:gd name="connsiteY73882" fmla="*/ 2377680 h 5973007"/>
              <a:gd name="connsiteX73883" fmla="*/ 1223999 w 6884782"/>
              <a:gd name="connsiteY73883" fmla="*/ 2388833 h 5973007"/>
              <a:gd name="connsiteX73884" fmla="*/ 1223896 w 6884782"/>
              <a:gd name="connsiteY73884" fmla="*/ 2383566 h 5973007"/>
              <a:gd name="connsiteX73885" fmla="*/ 1219663 w 6884782"/>
              <a:gd name="connsiteY73885" fmla="*/ 2386974 h 5973007"/>
              <a:gd name="connsiteX73886" fmla="*/ 1213570 w 6884782"/>
              <a:gd name="connsiteY73886" fmla="*/ 2387129 h 5973007"/>
              <a:gd name="connsiteX73887" fmla="*/ 1216152 w 6884782"/>
              <a:gd name="connsiteY73887" fmla="*/ 2380778 h 5973007"/>
              <a:gd name="connsiteX73888" fmla="*/ 1223896 w 6884782"/>
              <a:gd name="connsiteY73888" fmla="*/ 2383412 h 5973007"/>
              <a:gd name="connsiteX73889" fmla="*/ 1225858 w 6884782"/>
              <a:gd name="connsiteY73889" fmla="*/ 2379694 h 5973007"/>
              <a:gd name="connsiteX73890" fmla="*/ 1228749 w 6884782"/>
              <a:gd name="connsiteY73890" fmla="*/ 2376286 h 5973007"/>
              <a:gd name="connsiteX73891" fmla="*/ 1232776 w 6884782"/>
              <a:gd name="connsiteY73891" fmla="*/ 2373808 h 5973007"/>
              <a:gd name="connsiteX73892" fmla="*/ 1232466 w 6884782"/>
              <a:gd name="connsiteY73892" fmla="*/ 2373808 h 5973007"/>
              <a:gd name="connsiteX73893" fmla="*/ 1217907 w 6884782"/>
              <a:gd name="connsiteY73893" fmla="*/ 2376442 h 5973007"/>
              <a:gd name="connsiteX73894" fmla="*/ 1214603 w 6884782"/>
              <a:gd name="connsiteY73894" fmla="*/ 2366063 h 5973007"/>
              <a:gd name="connsiteX73895" fmla="*/ 1209131 w 6884782"/>
              <a:gd name="connsiteY73895" fmla="*/ 2366373 h 5973007"/>
              <a:gd name="connsiteX73896" fmla="*/ 1206033 w 6884782"/>
              <a:gd name="connsiteY73896" fmla="*/ 2359402 h 5973007"/>
              <a:gd name="connsiteX73897" fmla="*/ 1208924 w 6884782"/>
              <a:gd name="connsiteY73897" fmla="*/ 2352742 h 5973007"/>
              <a:gd name="connsiteX73898" fmla="*/ 1212744 w 6884782"/>
              <a:gd name="connsiteY73898" fmla="*/ 2353207 h 5973007"/>
              <a:gd name="connsiteX73899" fmla="*/ 1212331 w 6884782"/>
              <a:gd name="connsiteY73899" fmla="*/ 2349489 h 5973007"/>
              <a:gd name="connsiteX73900" fmla="*/ 1209234 w 6884782"/>
              <a:gd name="connsiteY73900" fmla="*/ 2329353 h 5973007"/>
              <a:gd name="connsiteX73901" fmla="*/ 1205207 w 6884782"/>
              <a:gd name="connsiteY73901" fmla="*/ 2328113 h 5973007"/>
              <a:gd name="connsiteX73902" fmla="*/ 1200560 w 6884782"/>
              <a:gd name="connsiteY73902" fmla="*/ 2327494 h 5973007"/>
              <a:gd name="connsiteX73903" fmla="*/ 1199321 w 6884782"/>
              <a:gd name="connsiteY73903" fmla="*/ 2330747 h 5973007"/>
              <a:gd name="connsiteX73904" fmla="*/ 1195191 w 6884782"/>
              <a:gd name="connsiteY73904" fmla="*/ 2335858 h 5973007"/>
              <a:gd name="connsiteX73905" fmla="*/ 1193849 w 6884782"/>
              <a:gd name="connsiteY73905" fmla="*/ 2337098 h 5973007"/>
              <a:gd name="connsiteX73906" fmla="*/ 1194571 w 6884782"/>
              <a:gd name="connsiteY73906" fmla="*/ 2337562 h 5973007"/>
              <a:gd name="connsiteX73907" fmla="*/ 1193333 w 6884782"/>
              <a:gd name="connsiteY73907" fmla="*/ 2337872 h 5973007"/>
              <a:gd name="connsiteX73908" fmla="*/ 1193229 w 6884782"/>
              <a:gd name="connsiteY73908" fmla="*/ 2338182 h 5973007"/>
              <a:gd name="connsiteX73909" fmla="*/ 1192816 w 6884782"/>
              <a:gd name="connsiteY73909" fmla="*/ 2338956 h 5973007"/>
              <a:gd name="connsiteX73910" fmla="*/ 1189408 w 6884782"/>
              <a:gd name="connsiteY73910" fmla="*/ 2340660 h 5973007"/>
              <a:gd name="connsiteX73911" fmla="*/ 1188789 w 6884782"/>
              <a:gd name="connsiteY73911" fmla="*/ 2340195 h 5973007"/>
              <a:gd name="connsiteX73912" fmla="*/ 1188479 w 6884782"/>
              <a:gd name="connsiteY73912" fmla="*/ 2340815 h 5973007"/>
              <a:gd name="connsiteX73913" fmla="*/ 1194055 w 6884782"/>
              <a:gd name="connsiteY73913" fmla="*/ 2344997 h 5973007"/>
              <a:gd name="connsiteX73914" fmla="*/ 1198186 w 6884782"/>
              <a:gd name="connsiteY73914" fmla="*/ 2353981 h 5973007"/>
              <a:gd name="connsiteX73915" fmla="*/ 1190441 w 6884782"/>
              <a:gd name="connsiteY73915" fmla="*/ 2358783 h 5973007"/>
              <a:gd name="connsiteX73916" fmla="*/ 1188686 w 6884782"/>
              <a:gd name="connsiteY73916" fmla="*/ 2358783 h 5973007"/>
              <a:gd name="connsiteX73917" fmla="*/ 1188273 w 6884782"/>
              <a:gd name="connsiteY73917" fmla="*/ 2360487 h 5973007"/>
              <a:gd name="connsiteX73918" fmla="*/ 1186414 w 6884782"/>
              <a:gd name="connsiteY73918" fmla="*/ 2364514 h 5973007"/>
              <a:gd name="connsiteX73919" fmla="*/ 1185175 w 6884782"/>
              <a:gd name="connsiteY73919" fmla="*/ 2359248 h 5973007"/>
              <a:gd name="connsiteX73920" fmla="*/ 1181871 w 6884782"/>
              <a:gd name="connsiteY73920" fmla="*/ 2359557 h 5973007"/>
              <a:gd name="connsiteX73921" fmla="*/ 1159258 w 6884782"/>
              <a:gd name="connsiteY73921" fmla="*/ 2341745 h 5973007"/>
              <a:gd name="connsiteX73922" fmla="*/ 1160394 w 6884782"/>
              <a:gd name="connsiteY73922" fmla="*/ 2339421 h 5973007"/>
              <a:gd name="connsiteX73923" fmla="*/ 1165247 w 6884782"/>
              <a:gd name="connsiteY73923" fmla="*/ 2336633 h 5973007"/>
              <a:gd name="connsiteX73924" fmla="*/ 1175366 w 6884782"/>
              <a:gd name="connsiteY73924" fmla="*/ 2335548 h 5973007"/>
              <a:gd name="connsiteX73925" fmla="*/ 1183110 w 6884782"/>
              <a:gd name="connsiteY73925" fmla="*/ 2337872 h 5973007"/>
              <a:gd name="connsiteX73926" fmla="*/ 1186001 w 6884782"/>
              <a:gd name="connsiteY73926" fmla="*/ 2333380 h 5973007"/>
              <a:gd name="connsiteX73927" fmla="*/ 1185278 w 6884782"/>
              <a:gd name="connsiteY73927" fmla="*/ 2332915 h 5973007"/>
              <a:gd name="connsiteX73928" fmla="*/ 1183110 w 6884782"/>
              <a:gd name="connsiteY73928" fmla="*/ 2332451 h 5973007"/>
              <a:gd name="connsiteX73929" fmla="*/ 1183007 w 6884782"/>
              <a:gd name="connsiteY73929" fmla="*/ 2333225 h 5973007"/>
              <a:gd name="connsiteX73930" fmla="*/ 1180425 w 6884782"/>
              <a:gd name="connsiteY73930" fmla="*/ 2335858 h 5973007"/>
              <a:gd name="connsiteX73931" fmla="*/ 1178876 w 6884782"/>
              <a:gd name="connsiteY73931" fmla="*/ 2334464 h 5973007"/>
              <a:gd name="connsiteX73932" fmla="*/ 1180219 w 6884782"/>
              <a:gd name="connsiteY73932" fmla="*/ 2332451 h 5973007"/>
              <a:gd name="connsiteX73933" fmla="*/ 1180425 w 6884782"/>
              <a:gd name="connsiteY73933" fmla="*/ 2332141 h 5973007"/>
              <a:gd name="connsiteX73934" fmla="*/ 1179599 w 6884782"/>
              <a:gd name="connsiteY73934" fmla="*/ 2331986 h 5973007"/>
              <a:gd name="connsiteX73935" fmla="*/ 1174230 w 6884782"/>
              <a:gd name="connsiteY73935" fmla="*/ 2327494 h 5973007"/>
              <a:gd name="connsiteX73936" fmla="*/ 1175572 w 6884782"/>
              <a:gd name="connsiteY73936" fmla="*/ 2326100 h 5973007"/>
              <a:gd name="connsiteX73937" fmla="*/ 1175675 w 6884782"/>
              <a:gd name="connsiteY73937" fmla="*/ 2325635 h 5973007"/>
              <a:gd name="connsiteX73938" fmla="*/ 1175159 w 6884782"/>
              <a:gd name="connsiteY73938" fmla="*/ 2324551 h 5973007"/>
              <a:gd name="connsiteX73939" fmla="*/ 1175366 w 6884782"/>
              <a:gd name="connsiteY73939" fmla="*/ 2321298 h 5973007"/>
              <a:gd name="connsiteX73940" fmla="*/ 1177328 w 6884782"/>
              <a:gd name="connsiteY73940" fmla="*/ 2319749 h 5973007"/>
              <a:gd name="connsiteX73941" fmla="*/ 1178876 w 6884782"/>
              <a:gd name="connsiteY73941" fmla="*/ 2318200 h 5973007"/>
              <a:gd name="connsiteX73942" fmla="*/ 1179599 w 6884782"/>
              <a:gd name="connsiteY73942" fmla="*/ 2313708 h 5973007"/>
              <a:gd name="connsiteX73943" fmla="*/ 1187550 w 6884782"/>
              <a:gd name="connsiteY73943" fmla="*/ 2314638 h 5973007"/>
              <a:gd name="connsiteX73944" fmla="*/ 1187963 w 6884782"/>
              <a:gd name="connsiteY73944" fmla="*/ 2317116 h 5973007"/>
              <a:gd name="connsiteX73945" fmla="*/ 1188066 w 6884782"/>
              <a:gd name="connsiteY73945" fmla="*/ 2317116 h 5973007"/>
              <a:gd name="connsiteX73946" fmla="*/ 1188376 w 6884782"/>
              <a:gd name="connsiteY73946" fmla="*/ 2313398 h 5973007"/>
              <a:gd name="connsiteX73947" fmla="*/ 1189408 w 6884782"/>
              <a:gd name="connsiteY73947" fmla="*/ 2303640 h 5973007"/>
              <a:gd name="connsiteX73948" fmla="*/ 1179496 w 6884782"/>
              <a:gd name="connsiteY73948" fmla="*/ 2307202 h 5973007"/>
              <a:gd name="connsiteX73949" fmla="*/ 1177328 w 6884782"/>
              <a:gd name="connsiteY73949" fmla="*/ 2301781 h 5973007"/>
              <a:gd name="connsiteX73950" fmla="*/ 1177534 w 6884782"/>
              <a:gd name="connsiteY73950" fmla="*/ 2300852 h 5973007"/>
              <a:gd name="connsiteX73951" fmla="*/ 1175263 w 6884782"/>
              <a:gd name="connsiteY73951" fmla="*/ 2300542 h 5973007"/>
              <a:gd name="connsiteX73952" fmla="*/ 1171132 w 6884782"/>
              <a:gd name="connsiteY73952" fmla="*/ 2295121 h 5973007"/>
              <a:gd name="connsiteX73953" fmla="*/ 1173404 w 6884782"/>
              <a:gd name="connsiteY73953" fmla="*/ 2292023 h 5973007"/>
              <a:gd name="connsiteX73954" fmla="*/ 1176605 w 6884782"/>
              <a:gd name="connsiteY73954" fmla="*/ 2291093 h 5973007"/>
              <a:gd name="connsiteX73955" fmla="*/ 1179290 w 6884782"/>
              <a:gd name="connsiteY73955" fmla="*/ 2283813 h 5973007"/>
              <a:gd name="connsiteX73956" fmla="*/ 1187447 w 6884782"/>
              <a:gd name="connsiteY73956" fmla="*/ 2280560 h 5973007"/>
              <a:gd name="connsiteX73957" fmla="*/ 1188169 w 6884782"/>
              <a:gd name="connsiteY73957" fmla="*/ 2283968 h 5973007"/>
              <a:gd name="connsiteX73958" fmla="*/ 1181871 w 6884782"/>
              <a:gd name="connsiteY73958" fmla="*/ 2287841 h 5973007"/>
              <a:gd name="connsiteX73959" fmla="*/ 1177534 w 6884782"/>
              <a:gd name="connsiteY73959" fmla="*/ 2290783 h 5973007"/>
              <a:gd name="connsiteX73960" fmla="*/ 1178051 w 6884782"/>
              <a:gd name="connsiteY73960" fmla="*/ 2290629 h 5973007"/>
              <a:gd name="connsiteX73961" fmla="*/ 1181148 w 6884782"/>
              <a:gd name="connsiteY73961" fmla="*/ 2294191 h 5973007"/>
              <a:gd name="connsiteX73962" fmla="*/ 1181355 w 6884782"/>
              <a:gd name="connsiteY73962" fmla="*/ 2295430 h 5973007"/>
              <a:gd name="connsiteX73963" fmla="*/ 1182387 w 6884782"/>
              <a:gd name="connsiteY73963" fmla="*/ 2294501 h 5973007"/>
              <a:gd name="connsiteX73964" fmla="*/ 1192094 w 6884782"/>
              <a:gd name="connsiteY73964" fmla="*/ 2292797 h 5973007"/>
              <a:gd name="connsiteX73965" fmla="*/ 1184039 w 6884782"/>
              <a:gd name="connsiteY73965" fmla="*/ 2265690 h 5973007"/>
              <a:gd name="connsiteX73966" fmla="*/ 1172578 w 6884782"/>
              <a:gd name="connsiteY73966" fmla="*/ 2265226 h 5973007"/>
              <a:gd name="connsiteX73967" fmla="*/ 1167622 w 6884782"/>
              <a:gd name="connsiteY73967" fmla="*/ 2266465 h 5973007"/>
              <a:gd name="connsiteX73968" fmla="*/ 1168551 w 6884782"/>
              <a:gd name="connsiteY73968" fmla="*/ 2268014 h 5973007"/>
              <a:gd name="connsiteX73969" fmla="*/ 1167208 w 6884782"/>
              <a:gd name="connsiteY73969" fmla="*/ 2272506 h 5973007"/>
              <a:gd name="connsiteX73970" fmla="*/ 1162562 w 6884782"/>
              <a:gd name="connsiteY73970" fmla="*/ 2271886 h 5973007"/>
              <a:gd name="connsiteX73971" fmla="*/ 1161736 w 6884782"/>
              <a:gd name="connsiteY73971" fmla="*/ 2270492 h 5973007"/>
              <a:gd name="connsiteX73972" fmla="*/ 1161013 w 6884782"/>
              <a:gd name="connsiteY73972" fmla="*/ 2272661 h 5973007"/>
              <a:gd name="connsiteX73973" fmla="*/ 1161013 w 6884782"/>
              <a:gd name="connsiteY73973" fmla="*/ 2290319 h 5973007"/>
              <a:gd name="connsiteX73974" fmla="*/ 1156367 w 6884782"/>
              <a:gd name="connsiteY73974" fmla="*/ 2272351 h 5973007"/>
              <a:gd name="connsiteX73975" fmla="*/ 1121156 w 6884782"/>
              <a:gd name="connsiteY73975" fmla="*/ 2273900 h 5973007"/>
              <a:gd name="connsiteX73976" fmla="*/ 1166279 w 6884782"/>
              <a:gd name="connsiteY73976" fmla="*/ 2248342 h 5973007"/>
              <a:gd name="connsiteX73977" fmla="*/ 1168551 w 6884782"/>
              <a:gd name="connsiteY73977" fmla="*/ 2246483 h 5973007"/>
              <a:gd name="connsiteX73978" fmla="*/ 1167002 w 6884782"/>
              <a:gd name="connsiteY73978" fmla="*/ 2246793 h 5973007"/>
              <a:gd name="connsiteX73979" fmla="*/ 1165866 w 6884782"/>
              <a:gd name="connsiteY73979" fmla="*/ 2246948 h 5973007"/>
              <a:gd name="connsiteX73980" fmla="*/ 1164214 w 6884782"/>
              <a:gd name="connsiteY73980" fmla="*/ 2247412 h 5973007"/>
              <a:gd name="connsiteX73981" fmla="*/ 1162046 w 6884782"/>
              <a:gd name="connsiteY73981" fmla="*/ 2246329 h 5973007"/>
              <a:gd name="connsiteX73982" fmla="*/ 1164937 w 6884782"/>
              <a:gd name="connsiteY73982" fmla="*/ 2243695 h 5973007"/>
              <a:gd name="connsiteX73983" fmla="*/ 1168861 w 6884782"/>
              <a:gd name="connsiteY73983" fmla="*/ 2243385 h 5973007"/>
              <a:gd name="connsiteX73984" fmla="*/ 1172888 w 6884782"/>
              <a:gd name="connsiteY73984" fmla="*/ 2242146 h 5973007"/>
              <a:gd name="connsiteX73985" fmla="*/ 1173197 w 6884782"/>
              <a:gd name="connsiteY73985" fmla="*/ 2242301 h 5973007"/>
              <a:gd name="connsiteX73986" fmla="*/ 1173610 w 6884782"/>
              <a:gd name="connsiteY73986" fmla="*/ 2242456 h 5973007"/>
              <a:gd name="connsiteX73987" fmla="*/ 1175882 w 6884782"/>
              <a:gd name="connsiteY73987" fmla="*/ 2240752 h 5973007"/>
              <a:gd name="connsiteX73988" fmla="*/ 1174746 w 6884782"/>
              <a:gd name="connsiteY73988" fmla="*/ 2227431 h 5973007"/>
              <a:gd name="connsiteX73989" fmla="*/ 1174333 w 6884782"/>
              <a:gd name="connsiteY73989" fmla="*/ 2220770 h 5973007"/>
              <a:gd name="connsiteX73990" fmla="*/ 1173817 w 6884782"/>
              <a:gd name="connsiteY73990" fmla="*/ 2212251 h 5973007"/>
              <a:gd name="connsiteX73991" fmla="*/ 1173507 w 6884782"/>
              <a:gd name="connsiteY73991" fmla="*/ 2211787 h 5973007"/>
              <a:gd name="connsiteX73992" fmla="*/ 1172991 w 6884782"/>
              <a:gd name="connsiteY73992" fmla="*/ 2207914 h 5973007"/>
              <a:gd name="connsiteX73993" fmla="*/ 1174127 w 6884782"/>
              <a:gd name="connsiteY73993" fmla="*/ 2204351 h 5973007"/>
              <a:gd name="connsiteX73994" fmla="*/ 1174746 w 6884782"/>
              <a:gd name="connsiteY73994" fmla="*/ 2203577 h 5973007"/>
              <a:gd name="connsiteX73995" fmla="*/ 1175263 w 6884782"/>
              <a:gd name="connsiteY73995" fmla="*/ 2200169 h 5973007"/>
              <a:gd name="connsiteX73996" fmla="*/ 1175159 w 6884782"/>
              <a:gd name="connsiteY73996" fmla="*/ 2189946 h 5973007"/>
              <a:gd name="connsiteX73997" fmla="*/ 1173714 w 6884782"/>
              <a:gd name="connsiteY73997" fmla="*/ 2188397 h 5973007"/>
              <a:gd name="connsiteX73998" fmla="*/ 1171339 w 6884782"/>
              <a:gd name="connsiteY73998" fmla="*/ 2185764 h 5973007"/>
              <a:gd name="connsiteX73999" fmla="*/ 1170100 w 6884782"/>
              <a:gd name="connsiteY73999" fmla="*/ 2186693 h 5973007"/>
              <a:gd name="connsiteX74000" fmla="*/ 1167828 w 6884782"/>
              <a:gd name="connsiteY74000" fmla="*/ 2187933 h 5973007"/>
              <a:gd name="connsiteX74001" fmla="*/ 1166279 w 6884782"/>
              <a:gd name="connsiteY74001" fmla="*/ 2184060 h 5973007"/>
              <a:gd name="connsiteX74002" fmla="*/ 1167828 w 6884782"/>
              <a:gd name="connsiteY74002" fmla="*/ 2182046 h 5973007"/>
              <a:gd name="connsiteX74003" fmla="*/ 1164214 w 6884782"/>
              <a:gd name="connsiteY74003" fmla="*/ 2178020 h 5973007"/>
              <a:gd name="connsiteX74004" fmla="*/ 1153372 w 6884782"/>
              <a:gd name="connsiteY74004" fmla="*/ 2171513 h 5973007"/>
              <a:gd name="connsiteX74005" fmla="*/ 1142117 w 6884782"/>
              <a:gd name="connsiteY74005" fmla="*/ 2168880 h 5973007"/>
              <a:gd name="connsiteX74006" fmla="*/ 1142221 w 6884782"/>
              <a:gd name="connsiteY74006" fmla="*/ 2170584 h 5973007"/>
              <a:gd name="connsiteX74007" fmla="*/ 1138297 w 6884782"/>
              <a:gd name="connsiteY74007" fmla="*/ 2173992 h 5973007"/>
              <a:gd name="connsiteX74008" fmla="*/ 1136232 w 6884782"/>
              <a:gd name="connsiteY74008" fmla="*/ 2174611 h 5973007"/>
              <a:gd name="connsiteX74009" fmla="*/ 1141395 w 6884782"/>
              <a:gd name="connsiteY74009" fmla="*/ 2176160 h 5973007"/>
              <a:gd name="connsiteX74010" fmla="*/ 1147590 w 6884782"/>
              <a:gd name="connsiteY74010" fmla="*/ 2180188 h 5973007"/>
              <a:gd name="connsiteX74011" fmla="*/ 1148416 w 6884782"/>
              <a:gd name="connsiteY74011" fmla="*/ 2180188 h 5973007"/>
              <a:gd name="connsiteX74012" fmla="*/ 1151823 w 6884782"/>
              <a:gd name="connsiteY74012" fmla="*/ 2182511 h 5973007"/>
              <a:gd name="connsiteX74013" fmla="*/ 1152753 w 6884782"/>
              <a:gd name="connsiteY74013" fmla="*/ 2183905 h 5973007"/>
              <a:gd name="connsiteX74014" fmla="*/ 1147073 w 6884782"/>
              <a:gd name="connsiteY74014" fmla="*/ 2188862 h 5973007"/>
              <a:gd name="connsiteX74015" fmla="*/ 1145525 w 6884782"/>
              <a:gd name="connsiteY74015" fmla="*/ 2188243 h 5973007"/>
              <a:gd name="connsiteX74016" fmla="*/ 1144596 w 6884782"/>
              <a:gd name="connsiteY74016" fmla="*/ 2189636 h 5973007"/>
              <a:gd name="connsiteX74017" fmla="*/ 1146764 w 6884782"/>
              <a:gd name="connsiteY74017" fmla="*/ 2189791 h 5973007"/>
              <a:gd name="connsiteX74018" fmla="*/ 1145834 w 6884782"/>
              <a:gd name="connsiteY74018" fmla="*/ 2193199 h 5973007"/>
              <a:gd name="connsiteX74019" fmla="*/ 1144079 w 6884782"/>
              <a:gd name="connsiteY74019" fmla="*/ 2192269 h 5973007"/>
              <a:gd name="connsiteX74020" fmla="*/ 1143357 w 6884782"/>
              <a:gd name="connsiteY74020" fmla="*/ 2190721 h 5973007"/>
              <a:gd name="connsiteX74021" fmla="*/ 1137471 w 6884782"/>
              <a:gd name="connsiteY74021" fmla="*/ 2194438 h 5973007"/>
              <a:gd name="connsiteX74022" fmla="*/ 1139639 w 6884782"/>
              <a:gd name="connsiteY74022" fmla="*/ 2195212 h 5973007"/>
              <a:gd name="connsiteX74023" fmla="*/ 1140052 w 6884782"/>
              <a:gd name="connsiteY74023" fmla="*/ 2196607 h 5973007"/>
              <a:gd name="connsiteX74024" fmla="*/ 1142633 w 6884782"/>
              <a:gd name="connsiteY74024" fmla="*/ 2195212 h 5973007"/>
              <a:gd name="connsiteX74025" fmla="*/ 1158225 w 6884782"/>
              <a:gd name="connsiteY74025" fmla="*/ 2187468 h 5973007"/>
              <a:gd name="connsiteX74026" fmla="*/ 1158122 w 6884782"/>
              <a:gd name="connsiteY74026" fmla="*/ 2189636 h 5973007"/>
              <a:gd name="connsiteX74027" fmla="*/ 1159155 w 6884782"/>
              <a:gd name="connsiteY74027" fmla="*/ 2189481 h 5973007"/>
              <a:gd name="connsiteX74028" fmla="*/ 1162046 w 6884782"/>
              <a:gd name="connsiteY74028" fmla="*/ 2197072 h 5973007"/>
              <a:gd name="connsiteX74029" fmla="*/ 1159774 w 6884782"/>
              <a:gd name="connsiteY74029" fmla="*/ 2199859 h 5973007"/>
              <a:gd name="connsiteX74030" fmla="*/ 1162356 w 6884782"/>
              <a:gd name="connsiteY74030" fmla="*/ 2204816 h 5973007"/>
              <a:gd name="connsiteX74031" fmla="*/ 1164524 w 6884782"/>
              <a:gd name="connsiteY74031" fmla="*/ 2209928 h 5973007"/>
              <a:gd name="connsiteX74032" fmla="*/ 1163698 w 6884782"/>
              <a:gd name="connsiteY74032" fmla="*/ 2217673 h 5973007"/>
              <a:gd name="connsiteX74033" fmla="*/ 1126939 w 6884782"/>
              <a:gd name="connsiteY74033" fmla="*/ 2212096 h 5973007"/>
              <a:gd name="connsiteX74034" fmla="*/ 1130553 w 6884782"/>
              <a:gd name="connsiteY74034" fmla="*/ 2203577 h 5973007"/>
              <a:gd name="connsiteX74035" fmla="*/ 1135922 w 6884782"/>
              <a:gd name="connsiteY74035" fmla="*/ 2198620 h 5973007"/>
              <a:gd name="connsiteX74036" fmla="*/ 1136128 w 6884782"/>
              <a:gd name="connsiteY74036" fmla="*/ 2198620 h 5973007"/>
              <a:gd name="connsiteX74037" fmla="*/ 1135199 w 6884782"/>
              <a:gd name="connsiteY74037" fmla="*/ 2197536 h 5973007"/>
              <a:gd name="connsiteX74038" fmla="*/ 1134476 w 6884782"/>
              <a:gd name="connsiteY74038" fmla="*/ 2195367 h 5973007"/>
              <a:gd name="connsiteX74039" fmla="*/ 1134683 w 6884782"/>
              <a:gd name="connsiteY74039" fmla="*/ 2195212 h 5973007"/>
              <a:gd name="connsiteX74040" fmla="*/ 1128488 w 6884782"/>
              <a:gd name="connsiteY74040" fmla="*/ 2196452 h 5973007"/>
              <a:gd name="connsiteX74041" fmla="*/ 1119711 w 6884782"/>
              <a:gd name="connsiteY74041" fmla="*/ 2195367 h 5973007"/>
              <a:gd name="connsiteX74042" fmla="*/ 1116613 w 6884782"/>
              <a:gd name="connsiteY74042" fmla="*/ 2193354 h 5973007"/>
              <a:gd name="connsiteX74043" fmla="*/ 1114858 w 6884782"/>
              <a:gd name="connsiteY74043" fmla="*/ 2194128 h 5973007"/>
              <a:gd name="connsiteX74044" fmla="*/ 1112999 w 6884782"/>
              <a:gd name="connsiteY74044" fmla="*/ 2192269 h 5973007"/>
              <a:gd name="connsiteX74045" fmla="*/ 1112483 w 6884782"/>
              <a:gd name="connsiteY74045" fmla="*/ 2190566 h 5973007"/>
              <a:gd name="connsiteX74046" fmla="*/ 1110005 w 6884782"/>
              <a:gd name="connsiteY74046" fmla="*/ 2188862 h 5973007"/>
              <a:gd name="connsiteX74047" fmla="*/ 1120227 w 6884782"/>
              <a:gd name="connsiteY74047" fmla="*/ 2175696 h 5973007"/>
              <a:gd name="connsiteX74048" fmla="*/ 1126939 w 6884782"/>
              <a:gd name="connsiteY74048" fmla="*/ 2173682 h 5973007"/>
              <a:gd name="connsiteX74049" fmla="*/ 1125699 w 6884782"/>
              <a:gd name="connsiteY74049" fmla="*/ 2169500 h 5973007"/>
              <a:gd name="connsiteX74050" fmla="*/ 1125906 w 6884782"/>
              <a:gd name="connsiteY74050" fmla="*/ 2167951 h 5973007"/>
              <a:gd name="connsiteX74051" fmla="*/ 1121260 w 6884782"/>
              <a:gd name="connsiteY74051" fmla="*/ 2167177 h 5973007"/>
              <a:gd name="connsiteX74052" fmla="*/ 1114238 w 6884782"/>
              <a:gd name="connsiteY74052" fmla="*/ 2167486 h 5973007"/>
              <a:gd name="connsiteX74053" fmla="*/ 1107113 w 6884782"/>
              <a:gd name="connsiteY74053" fmla="*/ 2155869 h 5973007"/>
              <a:gd name="connsiteX74054" fmla="*/ 1176915 w 6884782"/>
              <a:gd name="connsiteY74054" fmla="*/ 2161290 h 5973007"/>
              <a:gd name="connsiteX74055" fmla="*/ 1176915 w 6884782"/>
              <a:gd name="connsiteY74055" fmla="*/ 2130466 h 5973007"/>
              <a:gd name="connsiteX74056" fmla="*/ 1163904 w 6884782"/>
              <a:gd name="connsiteY74056" fmla="*/ 2120552 h 5973007"/>
              <a:gd name="connsiteX74057" fmla="*/ 1160703 w 6884782"/>
              <a:gd name="connsiteY74057" fmla="*/ 2109245 h 5973007"/>
              <a:gd name="connsiteX74058" fmla="*/ 1186311 w 6884782"/>
              <a:gd name="connsiteY74058" fmla="*/ 2104753 h 5973007"/>
              <a:gd name="connsiteX74059" fmla="*/ 1188169 w 6884782"/>
              <a:gd name="connsiteY74059" fmla="*/ 2079040 h 5973007"/>
              <a:gd name="connsiteX74060" fmla="*/ 1186518 w 6884782"/>
              <a:gd name="connsiteY74060" fmla="*/ 2073774 h 5973007"/>
              <a:gd name="connsiteX74061" fmla="*/ 1181768 w 6884782"/>
              <a:gd name="connsiteY74061" fmla="*/ 2072225 h 5973007"/>
              <a:gd name="connsiteX74062" fmla="*/ 1179909 w 6884782"/>
              <a:gd name="connsiteY74062" fmla="*/ 2077336 h 5973007"/>
              <a:gd name="connsiteX74063" fmla="*/ 1179186 w 6884782"/>
              <a:gd name="connsiteY74063" fmla="*/ 2079040 h 5973007"/>
              <a:gd name="connsiteX74064" fmla="*/ 1180116 w 6884782"/>
              <a:gd name="connsiteY74064" fmla="*/ 2078885 h 5973007"/>
              <a:gd name="connsiteX74065" fmla="*/ 1179083 w 6884782"/>
              <a:gd name="connsiteY74065" fmla="*/ 2079350 h 5973007"/>
              <a:gd name="connsiteX74066" fmla="*/ 1177121 w 6884782"/>
              <a:gd name="connsiteY74066" fmla="*/ 2083997 h 5973007"/>
              <a:gd name="connsiteX74067" fmla="*/ 1168861 w 6884782"/>
              <a:gd name="connsiteY74067" fmla="*/ 2090193 h 5973007"/>
              <a:gd name="connsiteX74068" fmla="*/ 1170100 w 6884782"/>
              <a:gd name="connsiteY74068" fmla="*/ 2085391 h 5973007"/>
              <a:gd name="connsiteX74069" fmla="*/ 1171235 w 6884782"/>
              <a:gd name="connsiteY74069" fmla="*/ 2081364 h 5973007"/>
              <a:gd name="connsiteX74070" fmla="*/ 1170409 w 6884782"/>
              <a:gd name="connsiteY74070" fmla="*/ 2081209 h 5973007"/>
              <a:gd name="connsiteX74071" fmla="*/ 1171339 w 6884782"/>
              <a:gd name="connsiteY74071" fmla="*/ 2080899 h 5973007"/>
              <a:gd name="connsiteX74072" fmla="*/ 1171752 w 6884782"/>
              <a:gd name="connsiteY74072" fmla="*/ 2079350 h 5973007"/>
              <a:gd name="connsiteX74073" fmla="*/ 1178567 w 6884782"/>
              <a:gd name="connsiteY74073" fmla="*/ 2071605 h 5973007"/>
              <a:gd name="connsiteX74074" fmla="*/ 1180838 w 6884782"/>
              <a:gd name="connsiteY74074" fmla="*/ 2071915 h 5973007"/>
              <a:gd name="connsiteX74075" fmla="*/ 1179496 w 6884782"/>
              <a:gd name="connsiteY74075" fmla="*/ 2071451 h 5973007"/>
              <a:gd name="connsiteX74076" fmla="*/ 1172888 w 6884782"/>
              <a:gd name="connsiteY74076" fmla="*/ 2065564 h 5973007"/>
              <a:gd name="connsiteX74077" fmla="*/ 1171339 w 6884782"/>
              <a:gd name="connsiteY74077" fmla="*/ 2062157 h 5973007"/>
              <a:gd name="connsiteX74078" fmla="*/ 1167312 w 6884782"/>
              <a:gd name="connsiteY74078" fmla="*/ 2059988 h 5973007"/>
              <a:gd name="connsiteX74079" fmla="*/ 1167208 w 6884782"/>
              <a:gd name="connsiteY74079" fmla="*/ 2063086 h 5973007"/>
              <a:gd name="connsiteX74080" fmla="*/ 1161736 w 6884782"/>
              <a:gd name="connsiteY74080" fmla="*/ 2063396 h 5973007"/>
              <a:gd name="connsiteX74081" fmla="*/ 1157709 w 6884782"/>
              <a:gd name="connsiteY74081" fmla="*/ 2057664 h 5973007"/>
              <a:gd name="connsiteX74082" fmla="*/ 1158432 w 6884782"/>
              <a:gd name="connsiteY74082" fmla="*/ 2054721 h 5973007"/>
              <a:gd name="connsiteX74083" fmla="*/ 1158845 w 6884782"/>
              <a:gd name="connsiteY74083" fmla="*/ 2054721 h 5973007"/>
              <a:gd name="connsiteX74084" fmla="*/ 1152133 w 6884782"/>
              <a:gd name="connsiteY74084" fmla="*/ 2049765 h 5973007"/>
              <a:gd name="connsiteX74085" fmla="*/ 1144802 w 6884782"/>
              <a:gd name="connsiteY74085" fmla="*/ 2041865 h 5973007"/>
              <a:gd name="connsiteX74086" fmla="*/ 1143357 w 6884782"/>
              <a:gd name="connsiteY74086" fmla="*/ 2046047 h 5973007"/>
              <a:gd name="connsiteX74087" fmla="*/ 1136438 w 6884782"/>
              <a:gd name="connsiteY74087" fmla="*/ 2055341 h 5973007"/>
              <a:gd name="connsiteX74088" fmla="*/ 1136438 w 6884782"/>
              <a:gd name="connsiteY74088" fmla="*/ 2042175 h 5973007"/>
              <a:gd name="connsiteX74089" fmla="*/ 1139949 w 6884782"/>
              <a:gd name="connsiteY74089" fmla="*/ 2032572 h 5973007"/>
              <a:gd name="connsiteX74090" fmla="*/ 1149345 w 6884782"/>
              <a:gd name="connsiteY74090" fmla="*/ 2033811 h 5973007"/>
              <a:gd name="connsiteX74091" fmla="*/ 1146248 w 6884782"/>
              <a:gd name="connsiteY74091" fmla="*/ 2038612 h 5973007"/>
              <a:gd name="connsiteX74092" fmla="*/ 1154095 w 6884782"/>
              <a:gd name="connsiteY74092" fmla="*/ 2036754 h 5973007"/>
              <a:gd name="connsiteX74093" fmla="*/ 1159361 w 6884782"/>
              <a:gd name="connsiteY74093" fmla="*/ 2038148 h 5973007"/>
              <a:gd name="connsiteX74094" fmla="*/ 1158845 w 6884782"/>
              <a:gd name="connsiteY74094" fmla="*/ 2036599 h 5973007"/>
              <a:gd name="connsiteX74095" fmla="*/ 1159567 w 6884782"/>
              <a:gd name="connsiteY74095" fmla="*/ 2035050 h 5973007"/>
              <a:gd name="connsiteX74096" fmla="*/ 1161839 w 6884782"/>
              <a:gd name="connsiteY74096" fmla="*/ 2034585 h 5973007"/>
              <a:gd name="connsiteX74097" fmla="*/ 1164111 w 6884782"/>
              <a:gd name="connsiteY74097" fmla="*/ 2037993 h 5973007"/>
              <a:gd name="connsiteX74098" fmla="*/ 1163904 w 6884782"/>
              <a:gd name="connsiteY74098" fmla="*/ 2039232 h 5973007"/>
              <a:gd name="connsiteX74099" fmla="*/ 1166279 w 6884782"/>
              <a:gd name="connsiteY74099" fmla="*/ 2039851 h 5973007"/>
              <a:gd name="connsiteX74100" fmla="*/ 1169274 w 6884782"/>
              <a:gd name="connsiteY74100" fmla="*/ 2036754 h 5973007"/>
              <a:gd name="connsiteX74101" fmla="*/ 1172165 w 6884782"/>
              <a:gd name="connsiteY74101" fmla="*/ 2023123 h 5973007"/>
              <a:gd name="connsiteX74102" fmla="*/ 1195294 w 6884782"/>
              <a:gd name="connsiteY74102" fmla="*/ 2008717 h 5973007"/>
              <a:gd name="connsiteX74103" fmla="*/ 1225342 w 6884782"/>
              <a:gd name="connsiteY74103" fmla="*/ 2014139 h 5973007"/>
              <a:gd name="connsiteX74104" fmla="*/ 1228853 w 6884782"/>
              <a:gd name="connsiteY74104" fmla="*/ 2021884 h 5973007"/>
              <a:gd name="connsiteX74105" fmla="*/ 1231227 w 6884782"/>
              <a:gd name="connsiteY74105" fmla="*/ 2025136 h 5973007"/>
              <a:gd name="connsiteX74106" fmla="*/ 1242276 w 6884782"/>
              <a:gd name="connsiteY74106" fmla="*/ 2026995 h 5973007"/>
              <a:gd name="connsiteX74107" fmla="*/ 1245580 w 6884782"/>
              <a:gd name="connsiteY74107" fmla="*/ 2023278 h 5973007"/>
              <a:gd name="connsiteX74108" fmla="*/ 1243928 w 6884782"/>
              <a:gd name="connsiteY74108" fmla="*/ 2021884 h 5973007"/>
              <a:gd name="connsiteX74109" fmla="*/ 1243205 w 6884782"/>
              <a:gd name="connsiteY74109" fmla="*/ 2019870 h 5973007"/>
              <a:gd name="connsiteX74110" fmla="*/ 1249917 w 6884782"/>
              <a:gd name="connsiteY74110" fmla="*/ 2019870 h 5973007"/>
              <a:gd name="connsiteX74111" fmla="*/ 1250227 w 6884782"/>
              <a:gd name="connsiteY74111" fmla="*/ 2020954 h 5973007"/>
              <a:gd name="connsiteX74112" fmla="*/ 1253014 w 6884782"/>
              <a:gd name="connsiteY74112" fmla="*/ 2016307 h 5973007"/>
              <a:gd name="connsiteX74113" fmla="*/ 1254047 w 6884782"/>
              <a:gd name="connsiteY74113" fmla="*/ 2005000 h 5973007"/>
              <a:gd name="connsiteX74114" fmla="*/ 1251879 w 6884782"/>
              <a:gd name="connsiteY74114" fmla="*/ 2002367 h 5973007"/>
              <a:gd name="connsiteX74115" fmla="*/ 1250227 w 6884782"/>
              <a:gd name="connsiteY74115" fmla="*/ 2003761 h 5973007"/>
              <a:gd name="connsiteX74116" fmla="*/ 1239385 w 6884782"/>
              <a:gd name="connsiteY74116" fmla="*/ 2005000 h 5973007"/>
              <a:gd name="connsiteX74117" fmla="*/ 1241450 w 6884782"/>
              <a:gd name="connsiteY74117" fmla="*/ 2003296 h 5973007"/>
              <a:gd name="connsiteX74118" fmla="*/ 1247026 w 6884782"/>
              <a:gd name="connsiteY74118" fmla="*/ 2002057 h 5973007"/>
              <a:gd name="connsiteX74119" fmla="*/ 1249813 w 6884782"/>
              <a:gd name="connsiteY74119" fmla="*/ 2002057 h 5973007"/>
              <a:gd name="connsiteX74120" fmla="*/ 1251672 w 6884782"/>
              <a:gd name="connsiteY74120" fmla="*/ 2002057 h 5973007"/>
              <a:gd name="connsiteX74121" fmla="*/ 1250949 w 6884782"/>
              <a:gd name="connsiteY74121" fmla="*/ 2001283 h 5973007"/>
              <a:gd name="connsiteX74122" fmla="*/ 1249813 w 6884782"/>
              <a:gd name="connsiteY74122" fmla="*/ 2002057 h 5973007"/>
              <a:gd name="connsiteX74123" fmla="*/ 1250020 w 6884782"/>
              <a:gd name="connsiteY74123" fmla="*/ 2000043 h 5973007"/>
              <a:gd name="connsiteX74124" fmla="*/ 1249400 w 6884782"/>
              <a:gd name="connsiteY74124" fmla="*/ 1999269 h 5973007"/>
              <a:gd name="connsiteX74125" fmla="*/ 1245580 w 6884782"/>
              <a:gd name="connsiteY74125" fmla="*/ 1996790 h 5973007"/>
              <a:gd name="connsiteX74126" fmla="*/ 1240417 w 6884782"/>
              <a:gd name="connsiteY74126" fmla="*/ 1987651 h 5973007"/>
              <a:gd name="connsiteX74127" fmla="*/ 1244651 w 6884782"/>
              <a:gd name="connsiteY74127" fmla="*/ 1981301 h 5973007"/>
              <a:gd name="connsiteX74128" fmla="*/ 1254254 w 6884782"/>
              <a:gd name="connsiteY74128" fmla="*/ 1984244 h 5973007"/>
              <a:gd name="connsiteX74129" fmla="*/ 1254873 w 6884782"/>
              <a:gd name="connsiteY74129" fmla="*/ 1985173 h 5973007"/>
              <a:gd name="connsiteX74130" fmla="*/ 1255905 w 6884782"/>
              <a:gd name="connsiteY74130" fmla="*/ 1986567 h 5973007"/>
              <a:gd name="connsiteX74131" fmla="*/ 1257558 w 6884782"/>
              <a:gd name="connsiteY74131" fmla="*/ 1985018 h 5973007"/>
              <a:gd name="connsiteX74132" fmla="*/ 1257971 w 6884782"/>
              <a:gd name="connsiteY74132" fmla="*/ 1989200 h 5973007"/>
              <a:gd name="connsiteX74133" fmla="*/ 1259623 w 6884782"/>
              <a:gd name="connsiteY74133" fmla="*/ 1991214 h 5973007"/>
              <a:gd name="connsiteX74134" fmla="*/ 1261275 w 6884782"/>
              <a:gd name="connsiteY74134" fmla="*/ 1995861 h 5973007"/>
              <a:gd name="connsiteX74135" fmla="*/ 1261481 w 6884782"/>
              <a:gd name="connsiteY74135" fmla="*/ 1996016 h 5973007"/>
              <a:gd name="connsiteX74136" fmla="*/ 1265405 w 6884782"/>
              <a:gd name="connsiteY74136" fmla="*/ 1993847 h 5973007"/>
              <a:gd name="connsiteX74137" fmla="*/ 1267161 w 6884782"/>
              <a:gd name="connsiteY74137" fmla="*/ 1993847 h 5973007"/>
              <a:gd name="connsiteX74138" fmla="*/ 1267161 w 6884782"/>
              <a:gd name="connsiteY74138" fmla="*/ 1993693 h 5973007"/>
              <a:gd name="connsiteX74139" fmla="*/ 1267470 w 6884782"/>
              <a:gd name="connsiteY74139" fmla="*/ 1994002 h 5973007"/>
              <a:gd name="connsiteX74140" fmla="*/ 1268193 w 6884782"/>
              <a:gd name="connsiteY74140" fmla="*/ 1994002 h 5973007"/>
              <a:gd name="connsiteX74141" fmla="*/ 1267883 w 6884782"/>
              <a:gd name="connsiteY74141" fmla="*/ 1993228 h 5973007"/>
              <a:gd name="connsiteX74142" fmla="*/ 1268503 w 6884782"/>
              <a:gd name="connsiteY74142" fmla="*/ 1987807 h 5973007"/>
              <a:gd name="connsiteX74143" fmla="*/ 1273459 w 6884782"/>
              <a:gd name="connsiteY74143" fmla="*/ 1990130 h 5973007"/>
              <a:gd name="connsiteX74144" fmla="*/ 1273253 w 6884782"/>
              <a:gd name="connsiteY74144" fmla="*/ 1990750 h 5973007"/>
              <a:gd name="connsiteX74145" fmla="*/ 1273459 w 6884782"/>
              <a:gd name="connsiteY74145" fmla="*/ 1990904 h 5973007"/>
              <a:gd name="connsiteX74146" fmla="*/ 1275628 w 6884782"/>
              <a:gd name="connsiteY74146" fmla="*/ 1991524 h 5973007"/>
              <a:gd name="connsiteX74147" fmla="*/ 1274492 w 6884782"/>
              <a:gd name="connsiteY74147" fmla="*/ 1994622 h 5973007"/>
              <a:gd name="connsiteX74148" fmla="*/ 1273562 w 6884782"/>
              <a:gd name="connsiteY74148" fmla="*/ 1995086 h 5973007"/>
              <a:gd name="connsiteX74149" fmla="*/ 1273666 w 6884782"/>
              <a:gd name="connsiteY74149" fmla="*/ 1995396 h 5973007"/>
              <a:gd name="connsiteX74150" fmla="*/ 1275111 w 6884782"/>
              <a:gd name="connsiteY74150" fmla="*/ 1996171 h 5973007"/>
              <a:gd name="connsiteX74151" fmla="*/ 1276763 w 6884782"/>
              <a:gd name="connsiteY74151" fmla="*/ 1995706 h 5973007"/>
              <a:gd name="connsiteX74152" fmla="*/ 1277073 w 6884782"/>
              <a:gd name="connsiteY74152" fmla="*/ 1997255 h 5973007"/>
              <a:gd name="connsiteX74153" fmla="*/ 1278829 w 6884782"/>
              <a:gd name="connsiteY74153" fmla="*/ 1995086 h 5973007"/>
              <a:gd name="connsiteX74154" fmla="*/ 1280687 w 6884782"/>
              <a:gd name="connsiteY74154" fmla="*/ 1991059 h 5973007"/>
              <a:gd name="connsiteX74155" fmla="*/ 1279964 w 6884782"/>
              <a:gd name="connsiteY74155" fmla="*/ 1990285 h 5973007"/>
              <a:gd name="connsiteX74156" fmla="*/ 1279241 w 6884782"/>
              <a:gd name="connsiteY74156" fmla="*/ 1985018 h 5973007"/>
              <a:gd name="connsiteX74157" fmla="*/ 1282752 w 6884782"/>
              <a:gd name="connsiteY74157" fmla="*/ 1984244 h 5973007"/>
              <a:gd name="connsiteX74158" fmla="*/ 1283062 w 6884782"/>
              <a:gd name="connsiteY74158" fmla="*/ 1982695 h 5973007"/>
              <a:gd name="connsiteX74159" fmla="*/ 1284095 w 6884782"/>
              <a:gd name="connsiteY74159" fmla="*/ 1973401 h 5973007"/>
              <a:gd name="connsiteX74160" fmla="*/ 1307018 w 6884782"/>
              <a:gd name="connsiteY74160" fmla="*/ 1979906 h 5973007"/>
              <a:gd name="connsiteX74161" fmla="*/ 1311354 w 6884782"/>
              <a:gd name="connsiteY74161" fmla="*/ 1977583 h 5973007"/>
              <a:gd name="connsiteX74162" fmla="*/ 1310322 w 6884782"/>
              <a:gd name="connsiteY74162" fmla="*/ 1976809 h 5973007"/>
              <a:gd name="connsiteX74163" fmla="*/ 1308773 w 6884782"/>
              <a:gd name="connsiteY74163" fmla="*/ 1975260 h 5973007"/>
              <a:gd name="connsiteX74164" fmla="*/ 1307018 w 6884782"/>
              <a:gd name="connsiteY74164" fmla="*/ 1974485 h 5973007"/>
              <a:gd name="connsiteX74165" fmla="*/ 1305469 w 6884782"/>
              <a:gd name="connsiteY74165" fmla="*/ 1971387 h 5973007"/>
              <a:gd name="connsiteX74166" fmla="*/ 1307121 w 6884782"/>
              <a:gd name="connsiteY74166" fmla="*/ 1972007 h 5973007"/>
              <a:gd name="connsiteX74167" fmla="*/ 1308773 w 6884782"/>
              <a:gd name="connsiteY74167" fmla="*/ 1973556 h 5973007"/>
              <a:gd name="connsiteX74168" fmla="*/ 1310425 w 6884782"/>
              <a:gd name="connsiteY74168" fmla="*/ 1973556 h 5973007"/>
              <a:gd name="connsiteX74169" fmla="*/ 1313316 w 6884782"/>
              <a:gd name="connsiteY74169" fmla="*/ 1975570 h 5973007"/>
              <a:gd name="connsiteX74170" fmla="*/ 1313419 w 6884782"/>
              <a:gd name="connsiteY74170" fmla="*/ 1974950 h 5973007"/>
              <a:gd name="connsiteX74171" fmla="*/ 1314555 w 6884782"/>
              <a:gd name="connsiteY74171" fmla="*/ 1969219 h 5973007"/>
              <a:gd name="connsiteX74172" fmla="*/ 1310631 w 6884782"/>
              <a:gd name="connsiteY74172" fmla="*/ 1961629 h 5973007"/>
              <a:gd name="connsiteX74173" fmla="*/ 1309289 w 6884782"/>
              <a:gd name="connsiteY74173" fmla="*/ 1944436 h 5973007"/>
              <a:gd name="connsiteX74174" fmla="*/ 1317033 w 6884782"/>
              <a:gd name="connsiteY74174" fmla="*/ 1945055 h 5973007"/>
              <a:gd name="connsiteX74175" fmla="*/ 1322196 w 6884782"/>
              <a:gd name="connsiteY74175" fmla="*/ 1951251 h 5973007"/>
              <a:gd name="connsiteX74176" fmla="*/ 1322506 w 6884782"/>
              <a:gd name="connsiteY74176" fmla="*/ 1950941 h 5973007"/>
              <a:gd name="connsiteX74177" fmla="*/ 1327049 w 6884782"/>
              <a:gd name="connsiteY74177" fmla="*/ 1949393 h 5973007"/>
              <a:gd name="connsiteX74178" fmla="*/ 1330870 w 6884782"/>
              <a:gd name="connsiteY74178" fmla="*/ 1949547 h 5973007"/>
              <a:gd name="connsiteX74179" fmla="*/ 1329734 w 6884782"/>
              <a:gd name="connsiteY74179" fmla="*/ 1948617 h 5973007"/>
              <a:gd name="connsiteX74180" fmla="*/ 1328288 w 6884782"/>
              <a:gd name="connsiteY74180" fmla="*/ 1946759 h 5973007"/>
              <a:gd name="connsiteX74181" fmla="*/ 1329940 w 6884782"/>
              <a:gd name="connsiteY74181" fmla="*/ 1948308 h 5973007"/>
              <a:gd name="connsiteX74182" fmla="*/ 1331799 w 6884782"/>
              <a:gd name="connsiteY74182" fmla="*/ 1948153 h 5973007"/>
              <a:gd name="connsiteX74183" fmla="*/ 1332419 w 6884782"/>
              <a:gd name="connsiteY74183" fmla="*/ 1949082 h 5973007"/>
              <a:gd name="connsiteX74184" fmla="*/ 1332522 w 6884782"/>
              <a:gd name="connsiteY74184" fmla="*/ 1949702 h 5973007"/>
              <a:gd name="connsiteX74185" fmla="*/ 1337272 w 6884782"/>
              <a:gd name="connsiteY74185" fmla="*/ 1951715 h 5973007"/>
              <a:gd name="connsiteX74186" fmla="*/ 1341402 w 6884782"/>
              <a:gd name="connsiteY74186" fmla="*/ 1955123 h 5973007"/>
              <a:gd name="connsiteX74187" fmla="*/ 1341505 w 6884782"/>
              <a:gd name="connsiteY74187" fmla="*/ 1955123 h 5973007"/>
              <a:gd name="connsiteX74188" fmla="*/ 1343157 w 6884782"/>
              <a:gd name="connsiteY74188" fmla="*/ 1956517 h 5973007"/>
              <a:gd name="connsiteX74189" fmla="*/ 1347494 w 6884782"/>
              <a:gd name="connsiteY74189" fmla="*/ 1962558 h 5973007"/>
              <a:gd name="connsiteX74190" fmla="*/ 1348423 w 6884782"/>
              <a:gd name="connsiteY74190" fmla="*/ 1965192 h 5973007"/>
              <a:gd name="connsiteX74191" fmla="*/ 1351831 w 6884782"/>
              <a:gd name="connsiteY74191" fmla="*/ 1964107 h 5973007"/>
              <a:gd name="connsiteX74192" fmla="*/ 1356167 w 6884782"/>
              <a:gd name="connsiteY74192" fmla="*/ 1959926 h 5973007"/>
              <a:gd name="connsiteX74193" fmla="*/ 1355755 w 6884782"/>
              <a:gd name="connsiteY74193" fmla="*/ 1958222 h 5973007"/>
              <a:gd name="connsiteX74194" fmla="*/ 1355755 w 6884782"/>
              <a:gd name="connsiteY74194" fmla="*/ 1957912 h 5973007"/>
              <a:gd name="connsiteX74195" fmla="*/ 1354928 w 6884782"/>
              <a:gd name="connsiteY74195" fmla="*/ 1957912 h 5973007"/>
              <a:gd name="connsiteX74196" fmla="*/ 1354515 w 6884782"/>
              <a:gd name="connsiteY74196" fmla="*/ 1958841 h 5973007"/>
              <a:gd name="connsiteX74197" fmla="*/ 1353999 w 6884782"/>
              <a:gd name="connsiteY74197" fmla="*/ 1958222 h 5973007"/>
              <a:gd name="connsiteX74198" fmla="*/ 1352863 w 6884782"/>
              <a:gd name="connsiteY74198" fmla="*/ 1958066 h 5973007"/>
              <a:gd name="connsiteX74199" fmla="*/ 1352554 w 6884782"/>
              <a:gd name="connsiteY74199" fmla="*/ 1954349 h 5973007"/>
              <a:gd name="connsiteX74200" fmla="*/ 1352554 w 6884782"/>
              <a:gd name="connsiteY74200" fmla="*/ 1954194 h 5973007"/>
              <a:gd name="connsiteX74201" fmla="*/ 1346255 w 6884782"/>
              <a:gd name="connsiteY74201" fmla="*/ 1950786 h 5973007"/>
              <a:gd name="connsiteX74202" fmla="*/ 1345222 w 6884782"/>
              <a:gd name="connsiteY74202" fmla="*/ 1949082 h 5973007"/>
              <a:gd name="connsiteX74203" fmla="*/ 1343467 w 6884782"/>
              <a:gd name="connsiteY74203" fmla="*/ 1948463 h 5973007"/>
              <a:gd name="connsiteX74204" fmla="*/ 1344499 w 6884782"/>
              <a:gd name="connsiteY74204" fmla="*/ 1947688 h 5973007"/>
              <a:gd name="connsiteX74205" fmla="*/ 1344293 w 6884782"/>
              <a:gd name="connsiteY74205" fmla="*/ 1947533 h 5973007"/>
              <a:gd name="connsiteX74206" fmla="*/ 1344706 w 6884782"/>
              <a:gd name="connsiteY74206" fmla="*/ 1947379 h 5973007"/>
              <a:gd name="connsiteX74207" fmla="*/ 1344499 w 6884782"/>
              <a:gd name="connsiteY74207" fmla="*/ 1946759 h 5973007"/>
              <a:gd name="connsiteX74208" fmla="*/ 1345222 w 6884782"/>
              <a:gd name="connsiteY74208" fmla="*/ 1944900 h 5973007"/>
              <a:gd name="connsiteX74209" fmla="*/ 1349456 w 6884782"/>
              <a:gd name="connsiteY74209" fmla="*/ 1945055 h 5973007"/>
              <a:gd name="connsiteX74210" fmla="*/ 1351521 w 6884782"/>
              <a:gd name="connsiteY74210" fmla="*/ 1949237 h 5973007"/>
              <a:gd name="connsiteX74211" fmla="*/ 1353379 w 6884782"/>
              <a:gd name="connsiteY74211" fmla="*/ 1951715 h 5973007"/>
              <a:gd name="connsiteX74212" fmla="*/ 1352760 w 6884782"/>
              <a:gd name="connsiteY74212" fmla="*/ 1953729 h 5973007"/>
              <a:gd name="connsiteX74213" fmla="*/ 1353483 w 6884782"/>
              <a:gd name="connsiteY74213" fmla="*/ 1952490 h 5973007"/>
              <a:gd name="connsiteX74214" fmla="*/ 1355032 w 6884782"/>
              <a:gd name="connsiteY74214" fmla="*/ 1951715 h 5973007"/>
              <a:gd name="connsiteX74215" fmla="*/ 1356684 w 6884782"/>
              <a:gd name="connsiteY74215" fmla="*/ 1952490 h 5973007"/>
              <a:gd name="connsiteX74216" fmla="*/ 1358026 w 6884782"/>
              <a:gd name="connsiteY74216" fmla="*/ 1953574 h 5973007"/>
              <a:gd name="connsiteX74217" fmla="*/ 1355755 w 6884782"/>
              <a:gd name="connsiteY74217" fmla="*/ 1948617 h 5973007"/>
              <a:gd name="connsiteX74218" fmla="*/ 1362776 w 6884782"/>
              <a:gd name="connsiteY74218" fmla="*/ 1950786 h 5973007"/>
              <a:gd name="connsiteX74219" fmla="*/ 1364222 w 6884782"/>
              <a:gd name="connsiteY74219" fmla="*/ 1948308 h 5973007"/>
              <a:gd name="connsiteX74220" fmla="*/ 1363086 w 6884782"/>
              <a:gd name="connsiteY74220" fmla="*/ 1947843 h 5973007"/>
              <a:gd name="connsiteX74221" fmla="*/ 1363912 w 6884782"/>
              <a:gd name="connsiteY74221" fmla="*/ 1946914 h 5973007"/>
              <a:gd name="connsiteX74222" fmla="*/ 1364634 w 6884782"/>
              <a:gd name="connsiteY74222" fmla="*/ 1947069 h 5973007"/>
              <a:gd name="connsiteX74223" fmla="*/ 1366287 w 6884782"/>
              <a:gd name="connsiteY74223" fmla="*/ 1940098 h 5973007"/>
              <a:gd name="connsiteX74224" fmla="*/ 1367009 w 6884782"/>
              <a:gd name="connsiteY74224" fmla="*/ 1932353 h 5973007"/>
              <a:gd name="connsiteX74225" fmla="*/ 1367629 w 6884782"/>
              <a:gd name="connsiteY74225" fmla="*/ 1929410 h 5973007"/>
              <a:gd name="connsiteX74226" fmla="*/ 1364325 w 6884782"/>
              <a:gd name="connsiteY74226" fmla="*/ 1930495 h 5973007"/>
              <a:gd name="connsiteX74227" fmla="*/ 1363499 w 6884782"/>
              <a:gd name="connsiteY74227" fmla="*/ 1930804 h 5973007"/>
              <a:gd name="connsiteX74228" fmla="*/ 1363395 w 6884782"/>
              <a:gd name="connsiteY74228" fmla="*/ 1932818 h 5973007"/>
              <a:gd name="connsiteX74229" fmla="*/ 1358749 w 6884782"/>
              <a:gd name="connsiteY74229" fmla="*/ 1936536 h 5973007"/>
              <a:gd name="connsiteX74230" fmla="*/ 1357406 w 6884782"/>
              <a:gd name="connsiteY74230" fmla="*/ 1935142 h 5973007"/>
              <a:gd name="connsiteX74231" fmla="*/ 1356890 w 6884782"/>
              <a:gd name="connsiteY74231" fmla="*/ 1932818 h 5973007"/>
              <a:gd name="connsiteX74232" fmla="*/ 1353276 w 6884782"/>
              <a:gd name="connsiteY74232" fmla="*/ 1933748 h 5973007"/>
              <a:gd name="connsiteX74233" fmla="*/ 1351418 w 6884782"/>
              <a:gd name="connsiteY74233" fmla="*/ 1935451 h 5973007"/>
              <a:gd name="connsiteX74234" fmla="*/ 1350695 w 6884782"/>
              <a:gd name="connsiteY74234" fmla="*/ 1935606 h 5973007"/>
              <a:gd name="connsiteX74235" fmla="*/ 1350385 w 6884782"/>
              <a:gd name="connsiteY74235" fmla="*/ 1936536 h 5973007"/>
              <a:gd name="connsiteX74236" fmla="*/ 1349662 w 6884782"/>
              <a:gd name="connsiteY74236" fmla="*/ 1936536 h 5973007"/>
              <a:gd name="connsiteX74237" fmla="*/ 1350075 w 6884782"/>
              <a:gd name="connsiteY74237" fmla="*/ 1935761 h 5973007"/>
              <a:gd name="connsiteX74238" fmla="*/ 1349146 w 6884782"/>
              <a:gd name="connsiteY74238" fmla="*/ 1935916 h 5973007"/>
              <a:gd name="connsiteX74239" fmla="*/ 1349456 w 6884782"/>
              <a:gd name="connsiteY74239" fmla="*/ 1936691 h 5973007"/>
              <a:gd name="connsiteX74240" fmla="*/ 1347597 w 6884782"/>
              <a:gd name="connsiteY74240" fmla="*/ 1936381 h 5973007"/>
              <a:gd name="connsiteX74241" fmla="*/ 1347907 w 6884782"/>
              <a:gd name="connsiteY74241" fmla="*/ 1936071 h 5973007"/>
              <a:gd name="connsiteX74242" fmla="*/ 1348733 w 6884782"/>
              <a:gd name="connsiteY74242" fmla="*/ 1935916 h 5973007"/>
              <a:gd name="connsiteX74243" fmla="*/ 1346048 w 6884782"/>
              <a:gd name="connsiteY74243" fmla="*/ 1934212 h 5973007"/>
              <a:gd name="connsiteX74244" fmla="*/ 1345119 w 6884782"/>
              <a:gd name="connsiteY74244" fmla="*/ 1930495 h 5973007"/>
              <a:gd name="connsiteX74245" fmla="*/ 1347494 w 6884782"/>
              <a:gd name="connsiteY74245" fmla="*/ 1925538 h 5973007"/>
              <a:gd name="connsiteX74246" fmla="*/ 1354309 w 6884782"/>
              <a:gd name="connsiteY74246" fmla="*/ 1930030 h 5973007"/>
              <a:gd name="connsiteX74247" fmla="*/ 1354309 w 6884782"/>
              <a:gd name="connsiteY74247" fmla="*/ 1930185 h 5973007"/>
              <a:gd name="connsiteX74248" fmla="*/ 1354515 w 6884782"/>
              <a:gd name="connsiteY74248" fmla="*/ 1930185 h 5973007"/>
              <a:gd name="connsiteX74249" fmla="*/ 1359471 w 6884782"/>
              <a:gd name="connsiteY74249" fmla="*/ 1927861 h 5973007"/>
              <a:gd name="connsiteX74250" fmla="*/ 1360194 w 6884782"/>
              <a:gd name="connsiteY74250" fmla="*/ 1927861 h 5973007"/>
              <a:gd name="connsiteX74251" fmla="*/ 1361021 w 6884782"/>
              <a:gd name="connsiteY74251" fmla="*/ 1926003 h 5973007"/>
              <a:gd name="connsiteX74252" fmla="*/ 1363499 w 6884782"/>
              <a:gd name="connsiteY74252" fmla="*/ 1925538 h 5973007"/>
              <a:gd name="connsiteX74253" fmla="*/ 1363499 w 6884782"/>
              <a:gd name="connsiteY74253" fmla="*/ 1927242 h 5973007"/>
              <a:gd name="connsiteX74254" fmla="*/ 1363602 w 6884782"/>
              <a:gd name="connsiteY74254" fmla="*/ 1927242 h 5973007"/>
              <a:gd name="connsiteX74255" fmla="*/ 1364634 w 6884782"/>
              <a:gd name="connsiteY74255" fmla="*/ 1927087 h 5973007"/>
              <a:gd name="connsiteX74256" fmla="*/ 1366596 w 6884782"/>
              <a:gd name="connsiteY74256" fmla="*/ 1926777 h 5973007"/>
              <a:gd name="connsiteX74257" fmla="*/ 1368042 w 6884782"/>
              <a:gd name="connsiteY74257" fmla="*/ 1927242 h 5973007"/>
              <a:gd name="connsiteX74258" fmla="*/ 1369074 w 6884782"/>
              <a:gd name="connsiteY74258" fmla="*/ 1922750 h 5973007"/>
              <a:gd name="connsiteX74259" fmla="*/ 1374444 w 6884782"/>
              <a:gd name="connsiteY74259" fmla="*/ 1929721 h 5973007"/>
              <a:gd name="connsiteX74260" fmla="*/ 1378161 w 6884782"/>
              <a:gd name="connsiteY74260" fmla="*/ 1932199 h 5973007"/>
              <a:gd name="connsiteX74261" fmla="*/ 1383324 w 6884782"/>
              <a:gd name="connsiteY74261" fmla="*/ 1912681 h 5973007"/>
              <a:gd name="connsiteX74262" fmla="*/ 1385905 w 6884782"/>
              <a:gd name="connsiteY74262" fmla="*/ 1924454 h 5973007"/>
              <a:gd name="connsiteX74263" fmla="*/ 1389416 w 6884782"/>
              <a:gd name="connsiteY74263" fmla="*/ 1919962 h 5973007"/>
              <a:gd name="connsiteX74264" fmla="*/ 1401497 w 6884782"/>
              <a:gd name="connsiteY74264" fmla="*/ 1931269 h 5973007"/>
              <a:gd name="connsiteX74265" fmla="*/ 1404904 w 6884782"/>
              <a:gd name="connsiteY74265" fmla="*/ 1940098 h 5973007"/>
              <a:gd name="connsiteX74266" fmla="*/ 1408828 w 6884782"/>
              <a:gd name="connsiteY74266" fmla="*/ 1941337 h 5973007"/>
              <a:gd name="connsiteX74267" fmla="*/ 1410170 w 6884782"/>
              <a:gd name="connsiteY74267" fmla="*/ 1944436 h 5973007"/>
              <a:gd name="connsiteX74268" fmla="*/ 1410273 w 6884782"/>
              <a:gd name="connsiteY74268" fmla="*/ 1944436 h 5973007"/>
              <a:gd name="connsiteX74269" fmla="*/ 1410170 w 6884782"/>
              <a:gd name="connsiteY74269" fmla="*/ 1944590 h 5973007"/>
              <a:gd name="connsiteX74270" fmla="*/ 1410583 w 6884782"/>
              <a:gd name="connsiteY74270" fmla="*/ 1945365 h 5973007"/>
              <a:gd name="connsiteX74271" fmla="*/ 1415436 w 6884782"/>
              <a:gd name="connsiteY74271" fmla="*/ 1959460 h 5973007"/>
              <a:gd name="connsiteX74272" fmla="*/ 1418947 w 6884782"/>
              <a:gd name="connsiteY74272" fmla="*/ 1962713 h 5973007"/>
              <a:gd name="connsiteX74273" fmla="*/ 1423387 w 6884782"/>
              <a:gd name="connsiteY74273" fmla="*/ 1966121 h 5973007"/>
              <a:gd name="connsiteX74274" fmla="*/ 1425349 w 6884782"/>
              <a:gd name="connsiteY74274" fmla="*/ 1965501 h 5973007"/>
              <a:gd name="connsiteX74275" fmla="*/ 1426588 w 6884782"/>
              <a:gd name="connsiteY74275" fmla="*/ 1966276 h 5973007"/>
              <a:gd name="connsiteX74276" fmla="*/ 1425556 w 6884782"/>
              <a:gd name="connsiteY74276" fmla="*/ 1961009 h 5973007"/>
              <a:gd name="connsiteX74277" fmla="*/ 1428343 w 6884782"/>
              <a:gd name="connsiteY74277" fmla="*/ 1943971 h 5973007"/>
              <a:gd name="connsiteX74278" fmla="*/ 1445897 w 6884782"/>
              <a:gd name="connsiteY74278" fmla="*/ 1932818 h 5973007"/>
              <a:gd name="connsiteX74279" fmla="*/ 1453435 w 6884782"/>
              <a:gd name="connsiteY74279" fmla="*/ 1933438 h 5973007"/>
              <a:gd name="connsiteX74280" fmla="*/ 1454158 w 6884782"/>
              <a:gd name="connsiteY74280" fmla="*/ 1931579 h 5973007"/>
              <a:gd name="connsiteX74281" fmla="*/ 1462005 w 6884782"/>
              <a:gd name="connsiteY74281" fmla="*/ 1932199 h 5973007"/>
              <a:gd name="connsiteX74282" fmla="*/ 1461799 w 6884782"/>
              <a:gd name="connsiteY74282" fmla="*/ 1933593 h 5973007"/>
              <a:gd name="connsiteX74283" fmla="*/ 1461696 w 6884782"/>
              <a:gd name="connsiteY74283" fmla="*/ 1934522 h 5973007"/>
              <a:gd name="connsiteX74284" fmla="*/ 1464380 w 6884782"/>
              <a:gd name="connsiteY74284" fmla="*/ 1935142 h 5973007"/>
              <a:gd name="connsiteX74285" fmla="*/ 1467994 w 6884782"/>
              <a:gd name="connsiteY74285" fmla="*/ 1932818 h 5973007"/>
              <a:gd name="connsiteX74286" fmla="*/ 1468717 w 6884782"/>
              <a:gd name="connsiteY74286" fmla="*/ 1936226 h 5973007"/>
              <a:gd name="connsiteX74287" fmla="*/ 1470678 w 6884782"/>
              <a:gd name="connsiteY74287" fmla="*/ 1936691 h 5973007"/>
              <a:gd name="connsiteX74288" fmla="*/ 1476048 w 6884782"/>
              <a:gd name="connsiteY74288" fmla="*/ 1939479 h 5973007"/>
              <a:gd name="connsiteX74289" fmla="*/ 1476358 w 6884782"/>
              <a:gd name="connsiteY74289" fmla="*/ 1939014 h 5973007"/>
              <a:gd name="connsiteX74290" fmla="*/ 1478939 w 6884782"/>
              <a:gd name="connsiteY74290" fmla="*/ 1939014 h 5973007"/>
              <a:gd name="connsiteX74291" fmla="*/ 1481521 w 6884782"/>
              <a:gd name="connsiteY74291" fmla="*/ 1942422 h 5973007"/>
              <a:gd name="connsiteX74292" fmla="*/ 1482243 w 6884782"/>
              <a:gd name="connsiteY74292" fmla="*/ 1942732 h 5973007"/>
              <a:gd name="connsiteX74293" fmla="*/ 1491020 w 6884782"/>
              <a:gd name="connsiteY74293" fmla="*/ 1952180 h 5973007"/>
              <a:gd name="connsiteX74294" fmla="*/ 1494531 w 6884782"/>
              <a:gd name="connsiteY74294" fmla="*/ 1960854 h 5973007"/>
              <a:gd name="connsiteX74295" fmla="*/ 1494634 w 6884782"/>
              <a:gd name="connsiteY74295" fmla="*/ 1963952 h 5973007"/>
              <a:gd name="connsiteX74296" fmla="*/ 1495667 w 6884782"/>
              <a:gd name="connsiteY74296" fmla="*/ 1965966 h 5973007"/>
              <a:gd name="connsiteX74297" fmla="*/ 1499797 w 6884782"/>
              <a:gd name="connsiteY74297" fmla="*/ 1976654 h 5973007"/>
              <a:gd name="connsiteX74298" fmla="*/ 1496390 w 6884782"/>
              <a:gd name="connsiteY74298" fmla="*/ 1970148 h 5973007"/>
              <a:gd name="connsiteX74299" fmla="*/ 1494634 w 6884782"/>
              <a:gd name="connsiteY74299" fmla="*/ 1964107 h 5973007"/>
              <a:gd name="connsiteX74300" fmla="*/ 1494737 w 6884782"/>
              <a:gd name="connsiteY74300" fmla="*/ 1968909 h 5973007"/>
              <a:gd name="connsiteX74301" fmla="*/ 1492775 w 6884782"/>
              <a:gd name="connsiteY74301" fmla="*/ 1986257 h 5973007"/>
              <a:gd name="connsiteX74302" fmla="*/ 1486477 w 6884782"/>
              <a:gd name="connsiteY74302" fmla="*/ 1988271 h 5973007"/>
              <a:gd name="connsiteX74303" fmla="*/ 1485547 w 6884782"/>
              <a:gd name="connsiteY74303" fmla="*/ 1989200 h 5973007"/>
              <a:gd name="connsiteX74304" fmla="*/ 1486374 w 6884782"/>
              <a:gd name="connsiteY74304" fmla="*/ 1991834 h 5973007"/>
              <a:gd name="connsiteX74305" fmla="*/ 1488748 w 6884782"/>
              <a:gd name="connsiteY74305" fmla="*/ 2000508 h 5973007"/>
              <a:gd name="connsiteX74306" fmla="*/ 1493292 w 6884782"/>
              <a:gd name="connsiteY74306" fmla="*/ 2002057 h 5973007"/>
              <a:gd name="connsiteX74307" fmla="*/ 1496493 w 6884782"/>
              <a:gd name="connsiteY74307" fmla="*/ 2002212 h 5973007"/>
              <a:gd name="connsiteX74308" fmla="*/ 1499384 w 6884782"/>
              <a:gd name="connsiteY74308" fmla="*/ 2000972 h 5973007"/>
              <a:gd name="connsiteX74309" fmla="*/ 1501759 w 6884782"/>
              <a:gd name="connsiteY74309" fmla="*/ 2002521 h 5973007"/>
              <a:gd name="connsiteX74310" fmla="*/ 1501862 w 6884782"/>
              <a:gd name="connsiteY74310" fmla="*/ 2002521 h 5973007"/>
              <a:gd name="connsiteX74311" fmla="*/ 1504753 w 6884782"/>
              <a:gd name="connsiteY74311" fmla="*/ 2000817 h 5973007"/>
              <a:gd name="connsiteX74312" fmla="*/ 1504857 w 6884782"/>
              <a:gd name="connsiteY74312" fmla="*/ 1990750 h 5973007"/>
              <a:gd name="connsiteX74313" fmla="*/ 1513736 w 6884782"/>
              <a:gd name="connsiteY74313" fmla="*/ 1976964 h 5973007"/>
              <a:gd name="connsiteX74314" fmla="*/ 1529741 w 6884782"/>
              <a:gd name="connsiteY74314" fmla="*/ 1983160 h 5973007"/>
              <a:gd name="connsiteX74315" fmla="*/ 1535110 w 6884782"/>
              <a:gd name="connsiteY74315" fmla="*/ 1991524 h 5973007"/>
              <a:gd name="connsiteX74316" fmla="*/ 1535246 w 6884782"/>
              <a:gd name="connsiteY74316" fmla="*/ 1991572 h 5973007"/>
              <a:gd name="connsiteX74317" fmla="*/ 1535524 w 6884782"/>
              <a:gd name="connsiteY74317" fmla="*/ 1991989 h 5973007"/>
              <a:gd name="connsiteX74318" fmla="*/ 1536969 w 6884782"/>
              <a:gd name="connsiteY74318" fmla="*/ 2001128 h 5973007"/>
              <a:gd name="connsiteX74319" fmla="*/ 1525301 w 6884782"/>
              <a:gd name="connsiteY74319" fmla="*/ 2014294 h 5973007"/>
              <a:gd name="connsiteX74320" fmla="*/ 1518383 w 6884782"/>
              <a:gd name="connsiteY74320" fmla="*/ 2013054 h 5973007"/>
              <a:gd name="connsiteX74321" fmla="*/ 1518073 w 6884782"/>
              <a:gd name="connsiteY74321" fmla="*/ 2014139 h 5973007"/>
              <a:gd name="connsiteX74322" fmla="*/ 1522410 w 6884782"/>
              <a:gd name="connsiteY74322" fmla="*/ 2023123 h 5973007"/>
              <a:gd name="connsiteX74323" fmla="*/ 1523236 w 6884782"/>
              <a:gd name="connsiteY74323" fmla="*/ 2024052 h 5973007"/>
              <a:gd name="connsiteX74324" fmla="*/ 1523856 w 6884782"/>
              <a:gd name="connsiteY74324" fmla="*/ 2023897 h 5973007"/>
              <a:gd name="connsiteX74325" fmla="*/ 1529948 w 6884782"/>
              <a:gd name="connsiteY74325" fmla="*/ 2027150 h 5973007"/>
              <a:gd name="connsiteX74326" fmla="*/ 1529948 w 6884782"/>
              <a:gd name="connsiteY74326" fmla="*/ 2028235 h 5973007"/>
              <a:gd name="connsiteX74327" fmla="*/ 1530773 w 6884782"/>
              <a:gd name="connsiteY74327" fmla="*/ 2030403 h 5973007"/>
              <a:gd name="connsiteX74328" fmla="*/ 1531600 w 6884782"/>
              <a:gd name="connsiteY74328" fmla="*/ 2032572 h 5973007"/>
              <a:gd name="connsiteX74329" fmla="*/ 1553903 w 6884782"/>
              <a:gd name="connsiteY74329" fmla="*/ 2037373 h 5973007"/>
              <a:gd name="connsiteX74330" fmla="*/ 1556691 w 6884782"/>
              <a:gd name="connsiteY74330" fmla="*/ 2037838 h 5973007"/>
              <a:gd name="connsiteX74331" fmla="*/ 1556691 w 6884782"/>
              <a:gd name="connsiteY74331" fmla="*/ 2034430 h 5973007"/>
              <a:gd name="connsiteX74332" fmla="*/ 1561544 w 6884782"/>
              <a:gd name="connsiteY74332" fmla="*/ 2030713 h 5973007"/>
              <a:gd name="connsiteX74333" fmla="*/ 1565881 w 6884782"/>
              <a:gd name="connsiteY74333" fmla="*/ 2031332 h 5973007"/>
              <a:gd name="connsiteX74334" fmla="*/ 1568566 w 6884782"/>
              <a:gd name="connsiteY74334" fmla="*/ 2037838 h 5973007"/>
              <a:gd name="connsiteX74335" fmla="*/ 1566191 w 6884782"/>
              <a:gd name="connsiteY74335" fmla="*/ 2039232 h 5973007"/>
              <a:gd name="connsiteX74336" fmla="*/ 1569701 w 6884782"/>
              <a:gd name="connsiteY74336" fmla="*/ 2039696 h 5973007"/>
              <a:gd name="connsiteX74337" fmla="*/ 1577755 w 6884782"/>
              <a:gd name="connsiteY74337" fmla="*/ 2040626 h 5973007"/>
              <a:gd name="connsiteX74338" fmla="*/ 1580130 w 6884782"/>
              <a:gd name="connsiteY74338" fmla="*/ 2069592 h 5973007"/>
              <a:gd name="connsiteX74339" fmla="*/ 1578375 w 6884782"/>
              <a:gd name="connsiteY74339" fmla="*/ 2077492 h 5973007"/>
              <a:gd name="connsiteX74340" fmla="*/ 1585499 w 6884782"/>
              <a:gd name="connsiteY74340" fmla="*/ 2078575 h 5973007"/>
              <a:gd name="connsiteX74341" fmla="*/ 1591282 w 6884782"/>
              <a:gd name="connsiteY74341" fmla="*/ 2070831 h 5973007"/>
              <a:gd name="connsiteX74342" fmla="*/ 1596238 w 6884782"/>
              <a:gd name="connsiteY74342" fmla="*/ 2057664 h 5973007"/>
              <a:gd name="connsiteX74343" fmla="*/ 1600369 w 6884782"/>
              <a:gd name="connsiteY74343" fmla="*/ 2045428 h 5973007"/>
              <a:gd name="connsiteX74344" fmla="*/ 1600369 w 6884782"/>
              <a:gd name="connsiteY74344" fmla="*/ 2056735 h 5973007"/>
              <a:gd name="connsiteX74345" fmla="*/ 1597787 w 6884782"/>
              <a:gd name="connsiteY74345" fmla="*/ 2068817 h 5973007"/>
              <a:gd name="connsiteX74346" fmla="*/ 1604499 w 6884782"/>
              <a:gd name="connsiteY74346" fmla="*/ 2061382 h 5973007"/>
              <a:gd name="connsiteX74347" fmla="*/ 1602021 w 6884782"/>
              <a:gd name="connsiteY74347" fmla="*/ 2053017 h 5973007"/>
              <a:gd name="connsiteX74348" fmla="*/ 1607493 w 6884782"/>
              <a:gd name="connsiteY74348" fmla="*/ 2046047 h 5973007"/>
              <a:gd name="connsiteX74349" fmla="*/ 1610901 w 6884782"/>
              <a:gd name="connsiteY74349" fmla="*/ 2037528 h 5973007"/>
              <a:gd name="connsiteX74350" fmla="*/ 1605222 w 6884782"/>
              <a:gd name="connsiteY74350" fmla="*/ 2035515 h 5973007"/>
              <a:gd name="connsiteX74351" fmla="*/ 1593347 w 6884782"/>
              <a:gd name="connsiteY74351" fmla="*/ 2028235 h 5973007"/>
              <a:gd name="connsiteX74352" fmla="*/ 1595928 w 6884782"/>
              <a:gd name="connsiteY74352" fmla="*/ 2026375 h 5973007"/>
              <a:gd name="connsiteX74353" fmla="*/ 1618955 w 6884782"/>
              <a:gd name="connsiteY74353" fmla="*/ 2039851 h 5973007"/>
              <a:gd name="connsiteX74354" fmla="*/ 1612553 w 6884782"/>
              <a:gd name="connsiteY74354" fmla="*/ 2037993 h 5973007"/>
              <a:gd name="connsiteX74355" fmla="*/ 1611313 w 6884782"/>
              <a:gd name="connsiteY74355" fmla="*/ 2041400 h 5973007"/>
              <a:gd name="connsiteX74356" fmla="*/ 1610967 w 6884782"/>
              <a:gd name="connsiteY74356" fmla="*/ 2044310 h 5973007"/>
              <a:gd name="connsiteX74357" fmla="*/ 1610901 w 6884782"/>
              <a:gd name="connsiteY74357" fmla="*/ 2044343 h 5973007"/>
              <a:gd name="connsiteX74358" fmla="*/ 1610956 w 6884782"/>
              <a:gd name="connsiteY74358" fmla="*/ 2044399 h 5973007"/>
              <a:gd name="connsiteX74359" fmla="*/ 1610281 w 6884782"/>
              <a:gd name="connsiteY74359" fmla="*/ 2050075 h 5973007"/>
              <a:gd name="connsiteX74360" fmla="*/ 1614308 w 6884782"/>
              <a:gd name="connsiteY74360" fmla="*/ 2047441 h 5973007"/>
              <a:gd name="connsiteX74361" fmla="*/ 1613998 w 6884782"/>
              <a:gd name="connsiteY74361" fmla="*/ 2047441 h 5973007"/>
              <a:gd name="connsiteX74362" fmla="*/ 1610956 w 6884782"/>
              <a:gd name="connsiteY74362" fmla="*/ 2044399 h 5973007"/>
              <a:gd name="connsiteX74363" fmla="*/ 1610967 w 6884782"/>
              <a:gd name="connsiteY74363" fmla="*/ 2044310 h 5973007"/>
              <a:gd name="connsiteX74364" fmla="*/ 1618541 w 6884782"/>
              <a:gd name="connsiteY74364" fmla="*/ 2040471 h 5973007"/>
              <a:gd name="connsiteX74365" fmla="*/ 1619987 w 6884782"/>
              <a:gd name="connsiteY74365" fmla="*/ 2041091 h 5973007"/>
              <a:gd name="connsiteX74366" fmla="*/ 1622156 w 6884782"/>
              <a:gd name="connsiteY74366" fmla="*/ 2037838 h 5973007"/>
              <a:gd name="connsiteX74367" fmla="*/ 1628454 w 6884782"/>
              <a:gd name="connsiteY74367" fmla="*/ 2024827 h 5973007"/>
              <a:gd name="connsiteX74368" fmla="*/ 1633410 w 6884782"/>
              <a:gd name="connsiteY74368" fmla="*/ 2017392 h 5973007"/>
              <a:gd name="connsiteX74369" fmla="*/ 1636921 w 6884782"/>
              <a:gd name="connsiteY74369" fmla="*/ 2011041 h 5973007"/>
              <a:gd name="connsiteX74370" fmla="*/ 1636611 w 6884782"/>
              <a:gd name="connsiteY74370" fmla="*/ 2010266 h 5973007"/>
              <a:gd name="connsiteX74371" fmla="*/ 1637128 w 6884782"/>
              <a:gd name="connsiteY74371" fmla="*/ 2010731 h 5973007"/>
              <a:gd name="connsiteX74372" fmla="*/ 1637334 w 6884782"/>
              <a:gd name="connsiteY74372" fmla="*/ 2010421 h 5973007"/>
              <a:gd name="connsiteX74373" fmla="*/ 1646937 w 6884782"/>
              <a:gd name="connsiteY74373" fmla="*/ 2003761 h 5973007"/>
              <a:gd name="connsiteX74374" fmla="*/ 1646731 w 6884782"/>
              <a:gd name="connsiteY74374" fmla="*/ 2003606 h 5973007"/>
              <a:gd name="connsiteX74375" fmla="*/ 1646317 w 6884782"/>
              <a:gd name="connsiteY74375" fmla="*/ 2002831 h 5973007"/>
              <a:gd name="connsiteX74376" fmla="*/ 1643116 w 6884782"/>
              <a:gd name="connsiteY74376" fmla="*/ 2000972 h 5973007"/>
              <a:gd name="connsiteX74377" fmla="*/ 1648589 w 6884782"/>
              <a:gd name="connsiteY74377" fmla="*/ 1990904 h 5973007"/>
              <a:gd name="connsiteX74378" fmla="*/ 1653029 w 6884782"/>
              <a:gd name="connsiteY74378" fmla="*/ 1987497 h 5973007"/>
              <a:gd name="connsiteX74379" fmla="*/ 1653339 w 6884782"/>
              <a:gd name="connsiteY74379" fmla="*/ 1987342 h 5973007"/>
              <a:gd name="connsiteX74380" fmla="*/ 1654888 w 6884782"/>
              <a:gd name="connsiteY74380" fmla="*/ 1985483 h 5973007"/>
              <a:gd name="connsiteX74381" fmla="*/ 1651790 w 6884782"/>
              <a:gd name="connsiteY74381" fmla="*/ 1981920 h 5973007"/>
              <a:gd name="connsiteX74382" fmla="*/ 1643426 w 6884782"/>
              <a:gd name="connsiteY74382" fmla="*/ 1959770 h 5973007"/>
              <a:gd name="connsiteX74383" fmla="*/ 1655404 w 6884782"/>
              <a:gd name="connsiteY74383" fmla="*/ 1966121 h 5973007"/>
              <a:gd name="connsiteX74384" fmla="*/ 1663355 w 6884782"/>
              <a:gd name="connsiteY74384" fmla="*/ 1975415 h 5973007"/>
              <a:gd name="connsiteX74385" fmla="*/ 1673990 w 6884782"/>
              <a:gd name="connsiteY74385" fmla="*/ 1961164 h 5973007"/>
              <a:gd name="connsiteX74386" fmla="*/ 1679566 w 6884782"/>
              <a:gd name="connsiteY74386" fmla="*/ 1953110 h 5973007"/>
              <a:gd name="connsiteX74387" fmla="*/ 1679463 w 6884782"/>
              <a:gd name="connsiteY74387" fmla="*/ 1952955 h 5973007"/>
              <a:gd name="connsiteX74388" fmla="*/ 1680082 w 6884782"/>
              <a:gd name="connsiteY74388" fmla="*/ 1952335 h 5973007"/>
              <a:gd name="connsiteX74389" fmla="*/ 1684729 w 6884782"/>
              <a:gd name="connsiteY74389" fmla="*/ 1944281 h 5973007"/>
              <a:gd name="connsiteX74390" fmla="*/ 1692989 w 6884782"/>
              <a:gd name="connsiteY74390" fmla="*/ 1924609 h 5973007"/>
              <a:gd name="connsiteX74391" fmla="*/ 1699701 w 6884782"/>
              <a:gd name="connsiteY74391" fmla="*/ 1925538 h 5973007"/>
              <a:gd name="connsiteX74392" fmla="*/ 1691440 w 6884782"/>
              <a:gd name="connsiteY74392" fmla="*/ 1932044 h 5973007"/>
              <a:gd name="connsiteX74393" fmla="*/ 1712918 w 6884782"/>
              <a:gd name="connsiteY74393" fmla="*/ 1917019 h 5973007"/>
              <a:gd name="connsiteX74394" fmla="*/ 1706309 w 6884782"/>
              <a:gd name="connsiteY74394" fmla="*/ 1916244 h 5973007"/>
              <a:gd name="connsiteX74395" fmla="*/ 1731091 w 6884782"/>
              <a:gd name="connsiteY74395" fmla="*/ 1890841 h 5973007"/>
              <a:gd name="connsiteX74396" fmla="*/ 1734395 w 6884782"/>
              <a:gd name="connsiteY74396" fmla="*/ 1889137 h 5973007"/>
              <a:gd name="connsiteX74397" fmla="*/ 1734601 w 6884782"/>
              <a:gd name="connsiteY74397" fmla="*/ 1889292 h 5973007"/>
              <a:gd name="connsiteX74398" fmla="*/ 1743481 w 6884782"/>
              <a:gd name="connsiteY74398" fmla="*/ 1879844 h 5973007"/>
              <a:gd name="connsiteX74399" fmla="*/ 1745960 w 6884782"/>
              <a:gd name="connsiteY74399" fmla="*/ 1880928 h 5973007"/>
              <a:gd name="connsiteX74400" fmla="*/ 1746786 w 6884782"/>
              <a:gd name="connsiteY74400" fmla="*/ 1879689 h 5973007"/>
              <a:gd name="connsiteX74401" fmla="*/ 1741003 w 6884782"/>
              <a:gd name="connsiteY74401" fmla="*/ 1879689 h 5973007"/>
              <a:gd name="connsiteX74402" fmla="*/ 1759280 w 6884782"/>
              <a:gd name="connsiteY74402" fmla="*/ 1857074 h 5973007"/>
              <a:gd name="connsiteX74403" fmla="*/ 1772497 w 6884782"/>
              <a:gd name="connsiteY74403" fmla="*/ 1856299 h 5973007"/>
              <a:gd name="connsiteX74404" fmla="*/ 1787365 w 6884782"/>
              <a:gd name="connsiteY74404" fmla="*/ 1835543 h 5973007"/>
              <a:gd name="connsiteX74405" fmla="*/ 1797381 w 6884782"/>
              <a:gd name="connsiteY74405" fmla="*/ 1825320 h 5973007"/>
              <a:gd name="connsiteX74406" fmla="*/ 1808017 w 6884782"/>
              <a:gd name="connsiteY74406" fmla="*/ 1814942 h 5973007"/>
              <a:gd name="connsiteX74407" fmla="*/ 1831249 w 6884782"/>
              <a:gd name="connsiteY74407" fmla="*/ 1795270 h 5973007"/>
              <a:gd name="connsiteX74408" fmla="*/ 1855205 w 6884782"/>
              <a:gd name="connsiteY74408" fmla="*/ 1780401 h 5973007"/>
              <a:gd name="connsiteX74409" fmla="*/ 1860987 w 6884782"/>
              <a:gd name="connsiteY74409" fmla="*/ 1770642 h 5973007"/>
              <a:gd name="connsiteX74410" fmla="*/ 1853966 w 6884782"/>
              <a:gd name="connsiteY74410" fmla="*/ 1770178 h 5973007"/>
              <a:gd name="connsiteX74411" fmla="*/ 1854792 w 6884782"/>
              <a:gd name="connsiteY74411" fmla="*/ 1743070 h 5973007"/>
              <a:gd name="connsiteX74412" fmla="*/ 1866873 w 6884782"/>
              <a:gd name="connsiteY74412" fmla="*/ 1744620 h 5973007"/>
              <a:gd name="connsiteX74413" fmla="*/ 1866563 w 6884782"/>
              <a:gd name="connsiteY74413" fmla="*/ 1765685 h 5973007"/>
              <a:gd name="connsiteX74414" fmla="*/ 1865634 w 6884782"/>
              <a:gd name="connsiteY74414" fmla="*/ 1766770 h 5973007"/>
              <a:gd name="connsiteX74415" fmla="*/ 1872655 w 6884782"/>
              <a:gd name="connsiteY74415" fmla="*/ 1762588 h 5973007"/>
              <a:gd name="connsiteX74416" fmla="*/ 1892480 w 6884782"/>
              <a:gd name="connsiteY74416" fmla="*/ 1747562 h 5973007"/>
              <a:gd name="connsiteX74417" fmla="*/ 1905697 w 6884782"/>
              <a:gd name="connsiteY74417" fmla="*/ 1750351 h 5973007"/>
              <a:gd name="connsiteX74418" fmla="*/ 1906523 w 6884782"/>
              <a:gd name="connsiteY74418" fmla="*/ 1746633 h 5973007"/>
              <a:gd name="connsiteX74419" fmla="*/ 1907349 w 6884782"/>
              <a:gd name="connsiteY74419" fmla="*/ 1746633 h 5973007"/>
              <a:gd name="connsiteX74420" fmla="*/ 1915713 w 6884782"/>
              <a:gd name="connsiteY74420" fmla="*/ 1741057 h 5973007"/>
              <a:gd name="connsiteX74421" fmla="*/ 1916539 w 6884782"/>
              <a:gd name="connsiteY74421" fmla="*/ 1741057 h 5973007"/>
              <a:gd name="connsiteX74422" fmla="*/ 1916539 w 6884782"/>
              <a:gd name="connsiteY74422" fmla="*/ 1739973 h 5973007"/>
              <a:gd name="connsiteX74423" fmla="*/ 1916539 w 6884782"/>
              <a:gd name="connsiteY74423" fmla="*/ 1739198 h 5973007"/>
              <a:gd name="connsiteX74424" fmla="*/ 1920669 w 6884782"/>
              <a:gd name="connsiteY74424" fmla="*/ 1738114 h 5973007"/>
              <a:gd name="connsiteX74425" fmla="*/ 1917262 w 6884782"/>
              <a:gd name="connsiteY74425" fmla="*/ 1731608 h 5973007"/>
              <a:gd name="connsiteX74426" fmla="*/ 1923870 w 6884782"/>
              <a:gd name="connsiteY74426" fmla="*/ 1722159 h 5973007"/>
              <a:gd name="connsiteX74427" fmla="*/ 1925626 w 6884782"/>
              <a:gd name="connsiteY74427" fmla="*/ 1714724 h 5973007"/>
              <a:gd name="connsiteX74428" fmla="*/ 1926348 w 6884782"/>
              <a:gd name="connsiteY74428" fmla="*/ 1711936 h 5973007"/>
              <a:gd name="connsiteX74429" fmla="*/ 1927174 w 6884782"/>
              <a:gd name="connsiteY74429" fmla="*/ 1711007 h 5973007"/>
              <a:gd name="connsiteX74430" fmla="*/ 1930582 w 6884782"/>
              <a:gd name="connsiteY74430" fmla="*/ 1708219 h 5973007"/>
              <a:gd name="connsiteX74431" fmla="*/ 1930582 w 6884782"/>
              <a:gd name="connsiteY74431" fmla="*/ 1712866 h 5973007"/>
              <a:gd name="connsiteX74432" fmla="*/ 1929756 w 6884782"/>
              <a:gd name="connsiteY74432" fmla="*/ 1714724 h 5973007"/>
              <a:gd name="connsiteX74433" fmla="*/ 1929756 w 6884782"/>
              <a:gd name="connsiteY74433" fmla="*/ 1715654 h 5973007"/>
              <a:gd name="connsiteX74434" fmla="*/ 1928001 w 6884782"/>
              <a:gd name="connsiteY74434" fmla="*/ 1719526 h 5973007"/>
              <a:gd name="connsiteX74435" fmla="*/ 1925626 w 6884782"/>
              <a:gd name="connsiteY74435" fmla="*/ 1726961 h 5973007"/>
              <a:gd name="connsiteX74436" fmla="*/ 1933060 w 6884782"/>
              <a:gd name="connsiteY74436" fmla="*/ 1726961 h 5973007"/>
              <a:gd name="connsiteX74437" fmla="*/ 1933886 w 6884782"/>
              <a:gd name="connsiteY74437" fmla="*/ 1726961 h 5973007"/>
              <a:gd name="connsiteX74438" fmla="*/ 1934712 w 6884782"/>
              <a:gd name="connsiteY74438" fmla="*/ 1726961 h 5973007"/>
              <a:gd name="connsiteX74439" fmla="*/ 1935022 w 6884782"/>
              <a:gd name="connsiteY74439" fmla="*/ 1726496 h 5973007"/>
              <a:gd name="connsiteX74440" fmla="*/ 1935951 w 6884782"/>
              <a:gd name="connsiteY74440" fmla="*/ 1720301 h 5973007"/>
              <a:gd name="connsiteX74441" fmla="*/ 1947516 w 6884782"/>
              <a:gd name="connsiteY74441" fmla="*/ 1701868 h 5973007"/>
              <a:gd name="connsiteX74442" fmla="*/ 1956086 w 6884782"/>
              <a:gd name="connsiteY74442" fmla="*/ 1706670 h 5973007"/>
              <a:gd name="connsiteX74443" fmla="*/ 1957119 w 6884782"/>
              <a:gd name="connsiteY74443" fmla="*/ 1714570 h 5973007"/>
              <a:gd name="connsiteX74444" fmla="*/ 1958339 w 6884782"/>
              <a:gd name="connsiteY74444" fmla="*/ 1713385 h 5973007"/>
              <a:gd name="connsiteX74445" fmla="*/ 1958339 w 6884782"/>
              <a:gd name="connsiteY74445" fmla="*/ 1658683 h 5973007"/>
              <a:gd name="connsiteX74446" fmla="*/ 1957312 w 6884782"/>
              <a:gd name="connsiteY74446" fmla="*/ 1657239 h 5973007"/>
              <a:gd name="connsiteX74447" fmla="*/ 1948238 w 6884782"/>
              <a:gd name="connsiteY74447" fmla="*/ 1656174 h 5973007"/>
              <a:gd name="connsiteX74448" fmla="*/ 1929343 w 6884782"/>
              <a:gd name="connsiteY74448" fmla="*/ 1638515 h 5973007"/>
              <a:gd name="connsiteX74449" fmla="*/ 1925006 w 6884782"/>
              <a:gd name="connsiteY74449" fmla="*/ 1629376 h 5973007"/>
              <a:gd name="connsiteX74450" fmla="*/ 1916849 w 6884782"/>
              <a:gd name="connsiteY74450" fmla="*/ 1621477 h 5973007"/>
              <a:gd name="connsiteX74451" fmla="*/ 1913648 w 6884782"/>
              <a:gd name="connsiteY74451" fmla="*/ 1623181 h 5973007"/>
              <a:gd name="connsiteX74452" fmla="*/ 1905594 w 6884782"/>
              <a:gd name="connsiteY74452" fmla="*/ 1616210 h 5973007"/>
              <a:gd name="connsiteX74453" fmla="*/ 1902290 w 6884782"/>
              <a:gd name="connsiteY74453" fmla="*/ 1605368 h 5973007"/>
              <a:gd name="connsiteX74454" fmla="*/ 1900741 w 6884782"/>
              <a:gd name="connsiteY74454" fmla="*/ 1601960 h 5973007"/>
              <a:gd name="connsiteX74455" fmla="*/ 1891551 w 6884782"/>
              <a:gd name="connsiteY74455" fmla="*/ 1597468 h 5973007"/>
              <a:gd name="connsiteX74456" fmla="*/ 1889899 w 6884782"/>
              <a:gd name="connsiteY74456" fmla="*/ 1591117 h 5973007"/>
              <a:gd name="connsiteX74457" fmla="*/ 1885562 w 6884782"/>
              <a:gd name="connsiteY74457" fmla="*/ 1586160 h 5973007"/>
              <a:gd name="connsiteX74458" fmla="*/ 1877508 w 6884782"/>
              <a:gd name="connsiteY74458" fmla="*/ 1577486 h 5973007"/>
              <a:gd name="connsiteX74459" fmla="*/ 1867699 w 6884782"/>
              <a:gd name="connsiteY74459" fmla="*/ 1575318 h 5973007"/>
              <a:gd name="connsiteX74460" fmla="*/ 1850971 w 6884782"/>
              <a:gd name="connsiteY74460" fmla="*/ 1555801 h 5973007"/>
              <a:gd name="connsiteX74461" fmla="*/ 1855825 w 6884782"/>
              <a:gd name="connsiteY74461" fmla="*/ 1557040 h 5973007"/>
              <a:gd name="connsiteX74462" fmla="*/ 1852004 w 6884782"/>
              <a:gd name="connsiteY74462" fmla="*/ 1552393 h 5973007"/>
              <a:gd name="connsiteX74463" fmla="*/ 1848803 w 6884782"/>
              <a:gd name="connsiteY74463" fmla="*/ 1547901 h 5973007"/>
              <a:gd name="connsiteX74464" fmla="*/ 1842195 w 6884782"/>
              <a:gd name="connsiteY74464" fmla="*/ 1539382 h 5973007"/>
              <a:gd name="connsiteX74465" fmla="*/ 1837755 w 6884782"/>
              <a:gd name="connsiteY74465" fmla="*/ 1543409 h 5973007"/>
              <a:gd name="connsiteX74466" fmla="*/ 1832798 w 6884782"/>
              <a:gd name="connsiteY74466" fmla="*/ 1533496 h 5973007"/>
              <a:gd name="connsiteX74467" fmla="*/ 1837238 w 6884782"/>
              <a:gd name="connsiteY74467" fmla="*/ 1532566 h 5973007"/>
              <a:gd name="connsiteX74468" fmla="*/ 1834244 w 6884782"/>
              <a:gd name="connsiteY74468" fmla="*/ 1528539 h 5973007"/>
              <a:gd name="connsiteX74469" fmla="*/ 1827222 w 6884782"/>
              <a:gd name="connsiteY74469" fmla="*/ 1518161 h 5973007"/>
              <a:gd name="connsiteX74470" fmla="*/ 1822060 w 6884782"/>
              <a:gd name="connsiteY74470" fmla="*/ 1511655 h 5973007"/>
              <a:gd name="connsiteX74471" fmla="*/ 1821750 w 6884782"/>
              <a:gd name="connsiteY74471" fmla="*/ 1512275 h 5973007"/>
              <a:gd name="connsiteX74472" fmla="*/ 1815038 w 6884782"/>
              <a:gd name="connsiteY74472" fmla="*/ 1513824 h 5973007"/>
              <a:gd name="connsiteX74473" fmla="*/ 1813179 w 6884782"/>
              <a:gd name="connsiteY74473" fmla="*/ 1510416 h 5973007"/>
              <a:gd name="connsiteX74474" fmla="*/ 1813696 w 6884782"/>
              <a:gd name="connsiteY74474" fmla="*/ 1505615 h 5973007"/>
              <a:gd name="connsiteX74475" fmla="*/ 1816587 w 6884782"/>
              <a:gd name="connsiteY74475" fmla="*/ 1504840 h 5973007"/>
              <a:gd name="connsiteX74476" fmla="*/ 1812147 w 6884782"/>
              <a:gd name="connsiteY74476" fmla="*/ 1499418 h 5973007"/>
              <a:gd name="connsiteX74477" fmla="*/ 1803990 w 6884782"/>
              <a:gd name="connsiteY74477" fmla="*/ 1490899 h 5973007"/>
              <a:gd name="connsiteX74478" fmla="*/ 1799137 w 6884782"/>
              <a:gd name="connsiteY74478" fmla="*/ 1486872 h 5973007"/>
              <a:gd name="connsiteX74479" fmla="*/ 1798001 w 6884782"/>
              <a:gd name="connsiteY74479" fmla="*/ 1485633 h 5973007"/>
              <a:gd name="connsiteX74480" fmla="*/ 1794800 w 6884782"/>
              <a:gd name="connsiteY74480" fmla="*/ 1479437 h 5973007"/>
              <a:gd name="connsiteX74481" fmla="*/ 1794284 w 6884782"/>
              <a:gd name="connsiteY74481" fmla="*/ 1479437 h 5973007"/>
              <a:gd name="connsiteX74482" fmla="*/ 1793767 w 6884782"/>
              <a:gd name="connsiteY74482" fmla="*/ 1478817 h 5973007"/>
              <a:gd name="connsiteX74483" fmla="*/ 1792115 w 6884782"/>
              <a:gd name="connsiteY74483" fmla="*/ 1478198 h 5973007"/>
              <a:gd name="connsiteX74484" fmla="*/ 1790463 w 6884782"/>
              <a:gd name="connsiteY74484" fmla="*/ 1481141 h 5973007"/>
              <a:gd name="connsiteX74485" fmla="*/ 1790979 w 6884782"/>
              <a:gd name="connsiteY74485" fmla="*/ 1481141 h 5973007"/>
              <a:gd name="connsiteX74486" fmla="*/ 1790979 w 6884782"/>
              <a:gd name="connsiteY74486" fmla="*/ 1481761 h 5973007"/>
              <a:gd name="connsiteX74487" fmla="*/ 1794284 w 6884782"/>
              <a:gd name="connsiteY74487" fmla="*/ 1487956 h 5973007"/>
              <a:gd name="connsiteX74488" fmla="*/ 1794284 w 6884782"/>
              <a:gd name="connsiteY74488" fmla="*/ 1488576 h 5973007"/>
              <a:gd name="connsiteX74489" fmla="*/ 1793251 w 6884782"/>
              <a:gd name="connsiteY74489" fmla="*/ 1490280 h 5973007"/>
              <a:gd name="connsiteX74490" fmla="*/ 1792631 w 6884782"/>
              <a:gd name="connsiteY74490" fmla="*/ 1489660 h 5973007"/>
              <a:gd name="connsiteX74491" fmla="*/ 1792115 w 6884782"/>
              <a:gd name="connsiteY74491" fmla="*/ 1489040 h 5973007"/>
              <a:gd name="connsiteX74492" fmla="*/ 1791909 w 6884782"/>
              <a:gd name="connsiteY74492" fmla="*/ 1488730 h 5973007"/>
              <a:gd name="connsiteX74493" fmla="*/ 1791806 w 6884782"/>
              <a:gd name="connsiteY74493" fmla="*/ 1488730 h 5973007"/>
              <a:gd name="connsiteX74494" fmla="*/ 1788914 w 6884782"/>
              <a:gd name="connsiteY74494" fmla="*/ 1482845 h 5973007"/>
              <a:gd name="connsiteX74495" fmla="*/ 1788914 w 6884782"/>
              <a:gd name="connsiteY74495" fmla="*/ 1482225 h 5973007"/>
              <a:gd name="connsiteX74496" fmla="*/ 1788295 w 6884782"/>
              <a:gd name="connsiteY74496" fmla="*/ 1482225 h 5973007"/>
              <a:gd name="connsiteX74497" fmla="*/ 1787778 w 6884782"/>
              <a:gd name="connsiteY74497" fmla="*/ 1481761 h 5973007"/>
              <a:gd name="connsiteX74498" fmla="*/ 1786643 w 6884782"/>
              <a:gd name="connsiteY74498" fmla="*/ 1480521 h 5973007"/>
              <a:gd name="connsiteX74499" fmla="*/ 1783441 w 6884782"/>
              <a:gd name="connsiteY74499" fmla="*/ 1478817 h 5973007"/>
              <a:gd name="connsiteX74500" fmla="*/ 1787159 w 6884782"/>
              <a:gd name="connsiteY74500" fmla="*/ 1478817 h 5973007"/>
              <a:gd name="connsiteX74501" fmla="*/ 1787778 w 6884782"/>
              <a:gd name="connsiteY74501" fmla="*/ 1474790 h 5973007"/>
              <a:gd name="connsiteX74502" fmla="*/ 1784577 w 6884782"/>
              <a:gd name="connsiteY74502" fmla="*/ 1476029 h 5973007"/>
              <a:gd name="connsiteX74503" fmla="*/ 1781893 w 6884782"/>
              <a:gd name="connsiteY74503" fmla="*/ 1473241 h 5973007"/>
              <a:gd name="connsiteX74504" fmla="*/ 1784577 w 6884782"/>
              <a:gd name="connsiteY74504" fmla="*/ 1470918 h 5973007"/>
              <a:gd name="connsiteX74505" fmla="*/ 1778589 w 6884782"/>
              <a:gd name="connsiteY74505" fmla="*/ 1472002 h 5973007"/>
              <a:gd name="connsiteX74506" fmla="*/ 1778589 w 6884782"/>
              <a:gd name="connsiteY74506" fmla="*/ 1470918 h 5973007"/>
              <a:gd name="connsiteX74507" fmla="*/ 1778589 w 6884782"/>
              <a:gd name="connsiteY74507" fmla="*/ 1469833 h 5973007"/>
              <a:gd name="connsiteX74508" fmla="*/ 1780757 w 6884782"/>
              <a:gd name="connsiteY74508" fmla="*/ 1467974 h 5973007"/>
              <a:gd name="connsiteX74509" fmla="*/ 1777763 w 6884782"/>
              <a:gd name="connsiteY74509" fmla="*/ 1463638 h 5973007"/>
              <a:gd name="connsiteX74510" fmla="*/ 1776730 w 6884782"/>
              <a:gd name="connsiteY74510" fmla="*/ 1463948 h 5973007"/>
              <a:gd name="connsiteX74511" fmla="*/ 1773839 w 6884782"/>
              <a:gd name="connsiteY74511" fmla="*/ 1460849 h 5973007"/>
              <a:gd name="connsiteX74512" fmla="*/ 1775284 w 6884782"/>
              <a:gd name="connsiteY74512" fmla="*/ 1459920 h 5973007"/>
              <a:gd name="connsiteX74513" fmla="*/ 1771051 w 6884782"/>
              <a:gd name="connsiteY74513" fmla="*/ 1453724 h 5973007"/>
              <a:gd name="connsiteX74514" fmla="*/ 1766611 w 6884782"/>
              <a:gd name="connsiteY74514" fmla="*/ 1446134 h 5973007"/>
              <a:gd name="connsiteX74515" fmla="*/ 1764959 w 6884782"/>
              <a:gd name="connsiteY74515" fmla="*/ 1445979 h 5973007"/>
              <a:gd name="connsiteX74516" fmla="*/ 1765682 w 6884782"/>
              <a:gd name="connsiteY74516" fmla="*/ 1444275 h 5973007"/>
              <a:gd name="connsiteX74517" fmla="*/ 1763926 w 6884782"/>
              <a:gd name="connsiteY74517" fmla="*/ 1441178 h 5973007"/>
              <a:gd name="connsiteX74518" fmla="*/ 1763410 w 6884782"/>
              <a:gd name="connsiteY74518" fmla="*/ 1438854 h 5973007"/>
              <a:gd name="connsiteX74519" fmla="*/ 1762894 w 6884782"/>
              <a:gd name="connsiteY74519" fmla="*/ 1437770 h 5973007"/>
              <a:gd name="connsiteX74520" fmla="*/ 1762377 w 6884782"/>
              <a:gd name="connsiteY74520" fmla="*/ 1436685 h 5973007"/>
              <a:gd name="connsiteX74521" fmla="*/ 1751019 w 6884782"/>
              <a:gd name="connsiteY74521" fmla="*/ 1408649 h 5973007"/>
              <a:gd name="connsiteX74522" fmla="*/ 1749677 w 6884782"/>
              <a:gd name="connsiteY74522" fmla="*/ 1403848 h 5973007"/>
              <a:gd name="connsiteX74523" fmla="*/ 1749883 w 6884782"/>
              <a:gd name="connsiteY74523" fmla="*/ 1402918 h 5973007"/>
              <a:gd name="connsiteX74524" fmla="*/ 1748541 w 6884782"/>
              <a:gd name="connsiteY74524" fmla="*/ 1403383 h 5973007"/>
              <a:gd name="connsiteX74525" fmla="*/ 1747508 w 6884782"/>
              <a:gd name="connsiteY74525" fmla="*/ 1404003 h 5973007"/>
              <a:gd name="connsiteX74526" fmla="*/ 1745237 w 6884782"/>
              <a:gd name="connsiteY74526" fmla="*/ 1396258 h 5973007"/>
              <a:gd name="connsiteX74527" fmla="*/ 1746579 w 6884782"/>
              <a:gd name="connsiteY74527" fmla="*/ 1395483 h 5973007"/>
              <a:gd name="connsiteX74528" fmla="*/ 1746476 w 6884782"/>
              <a:gd name="connsiteY74528" fmla="*/ 1395328 h 5973007"/>
              <a:gd name="connsiteX74529" fmla="*/ 1745237 w 6884782"/>
              <a:gd name="connsiteY74529" fmla="*/ 1391766 h 5973007"/>
              <a:gd name="connsiteX74530" fmla="*/ 1742242 w 6884782"/>
              <a:gd name="connsiteY74530" fmla="*/ 1390371 h 5973007"/>
              <a:gd name="connsiteX74531" fmla="*/ 1741520 w 6884782"/>
              <a:gd name="connsiteY74531" fmla="*/ 1390526 h 5973007"/>
              <a:gd name="connsiteX74532" fmla="*/ 1741830 w 6884782"/>
              <a:gd name="connsiteY74532" fmla="*/ 1391456 h 5973007"/>
              <a:gd name="connsiteX74533" fmla="*/ 1741106 w 6884782"/>
              <a:gd name="connsiteY74533" fmla="*/ 1393934 h 5973007"/>
              <a:gd name="connsiteX74534" fmla="*/ 1738525 w 6884782"/>
              <a:gd name="connsiteY74534" fmla="*/ 1395483 h 5973007"/>
              <a:gd name="connsiteX74535" fmla="*/ 1739661 w 6884782"/>
              <a:gd name="connsiteY74535" fmla="*/ 1397497 h 5973007"/>
              <a:gd name="connsiteX74536" fmla="*/ 1737699 w 6884782"/>
              <a:gd name="connsiteY74536" fmla="*/ 1405087 h 5973007"/>
              <a:gd name="connsiteX74537" fmla="*/ 1726444 w 6884782"/>
              <a:gd name="connsiteY74537" fmla="*/ 1399355 h 5973007"/>
              <a:gd name="connsiteX74538" fmla="*/ 1733982 w 6884782"/>
              <a:gd name="connsiteY74538" fmla="*/ 1392075 h 5973007"/>
              <a:gd name="connsiteX74539" fmla="*/ 1734705 w 6884782"/>
              <a:gd name="connsiteY74539" fmla="*/ 1392385 h 5973007"/>
              <a:gd name="connsiteX74540" fmla="*/ 1733982 w 6884782"/>
              <a:gd name="connsiteY74540" fmla="*/ 1391611 h 5973007"/>
              <a:gd name="connsiteX74541" fmla="*/ 1734085 w 6884782"/>
              <a:gd name="connsiteY74541" fmla="*/ 1390836 h 5973007"/>
              <a:gd name="connsiteX74542" fmla="*/ 1732640 w 6884782"/>
              <a:gd name="connsiteY74542" fmla="*/ 1390836 h 5973007"/>
              <a:gd name="connsiteX74543" fmla="*/ 1738629 w 6884782"/>
              <a:gd name="connsiteY74543" fmla="*/ 1382627 h 5973007"/>
              <a:gd name="connsiteX74544" fmla="*/ 1743378 w 6884782"/>
              <a:gd name="connsiteY74544" fmla="*/ 1379529 h 5973007"/>
              <a:gd name="connsiteX74545" fmla="*/ 1746166 w 6884782"/>
              <a:gd name="connsiteY74545" fmla="*/ 1375037 h 5973007"/>
              <a:gd name="connsiteX74546" fmla="*/ 1739145 w 6884782"/>
              <a:gd name="connsiteY74546" fmla="*/ 1359082 h 5973007"/>
              <a:gd name="connsiteX74547" fmla="*/ 1740487 w 6884782"/>
              <a:gd name="connsiteY74547" fmla="*/ 1358153 h 5973007"/>
              <a:gd name="connsiteX74548" fmla="*/ 1739248 w 6884782"/>
              <a:gd name="connsiteY74548" fmla="*/ 1354436 h 5973007"/>
              <a:gd name="connsiteX74549" fmla="*/ 1739558 w 6884782"/>
              <a:gd name="connsiteY74549" fmla="*/ 1352577 h 5973007"/>
              <a:gd name="connsiteX74550" fmla="*/ 1741623 w 6884782"/>
              <a:gd name="connsiteY74550" fmla="*/ 1353042 h 5973007"/>
              <a:gd name="connsiteX74551" fmla="*/ 1742759 w 6884782"/>
              <a:gd name="connsiteY74551" fmla="*/ 1354126 h 5973007"/>
              <a:gd name="connsiteX74552" fmla="*/ 1742965 w 6884782"/>
              <a:gd name="connsiteY74552" fmla="*/ 1350563 h 5973007"/>
              <a:gd name="connsiteX74553" fmla="*/ 1736460 w 6884782"/>
              <a:gd name="connsiteY74553" fmla="*/ 1339101 h 5973007"/>
              <a:gd name="connsiteX74554" fmla="*/ 1735428 w 6884782"/>
              <a:gd name="connsiteY74554" fmla="*/ 1347620 h 5973007"/>
              <a:gd name="connsiteX74555" fmla="*/ 1739145 w 6884782"/>
              <a:gd name="connsiteY74555" fmla="*/ 1357998 h 5973007"/>
              <a:gd name="connsiteX74556" fmla="*/ 1733982 w 6884782"/>
              <a:gd name="connsiteY74556" fmla="*/ 1350718 h 5973007"/>
              <a:gd name="connsiteX74557" fmla="*/ 1731813 w 6884782"/>
              <a:gd name="connsiteY74557" fmla="*/ 1341889 h 5973007"/>
              <a:gd name="connsiteX74558" fmla="*/ 1729748 w 6884782"/>
              <a:gd name="connsiteY74558" fmla="*/ 1342664 h 5973007"/>
              <a:gd name="connsiteX74559" fmla="*/ 1718494 w 6884782"/>
              <a:gd name="connsiteY74559" fmla="*/ 1340495 h 5973007"/>
              <a:gd name="connsiteX74560" fmla="*/ 1718906 w 6884782"/>
              <a:gd name="connsiteY74560" fmla="*/ 1338171 h 5973007"/>
              <a:gd name="connsiteX74561" fmla="*/ 1726547 w 6884782"/>
              <a:gd name="connsiteY74561" fmla="*/ 1337552 h 5973007"/>
              <a:gd name="connsiteX74562" fmla="*/ 1730677 w 6884782"/>
              <a:gd name="connsiteY74562" fmla="*/ 1337861 h 5973007"/>
              <a:gd name="connsiteX74563" fmla="*/ 1728406 w 6884782"/>
              <a:gd name="connsiteY74563" fmla="*/ 1333525 h 5973007"/>
              <a:gd name="connsiteX74564" fmla="*/ 1727993 w 6884782"/>
              <a:gd name="connsiteY74564" fmla="*/ 1330582 h 5973007"/>
              <a:gd name="connsiteX74565" fmla="*/ 1723450 w 6884782"/>
              <a:gd name="connsiteY74565" fmla="*/ 1325935 h 5973007"/>
              <a:gd name="connsiteX74566" fmla="*/ 1722727 w 6884782"/>
              <a:gd name="connsiteY74566" fmla="*/ 1320978 h 5973007"/>
              <a:gd name="connsiteX74567" fmla="*/ 1722417 w 6884782"/>
              <a:gd name="connsiteY74567" fmla="*/ 1322682 h 5973007"/>
              <a:gd name="connsiteX74568" fmla="*/ 1721488 w 6884782"/>
              <a:gd name="connsiteY74568" fmla="*/ 1324076 h 5973007"/>
              <a:gd name="connsiteX74569" fmla="*/ 1721591 w 6884782"/>
              <a:gd name="connsiteY74569" fmla="*/ 1324076 h 5973007"/>
              <a:gd name="connsiteX74570" fmla="*/ 1723346 w 6884782"/>
              <a:gd name="connsiteY74570" fmla="*/ 1326709 h 5973007"/>
              <a:gd name="connsiteX74571" fmla="*/ 1715705 w 6884782"/>
              <a:gd name="connsiteY74571" fmla="*/ 1333370 h 5973007"/>
              <a:gd name="connsiteX74572" fmla="*/ 1713331 w 6884782"/>
              <a:gd name="connsiteY74572" fmla="*/ 1329652 h 5973007"/>
              <a:gd name="connsiteX74573" fmla="*/ 1713744 w 6884782"/>
              <a:gd name="connsiteY74573" fmla="*/ 1328103 h 5973007"/>
              <a:gd name="connsiteX74574" fmla="*/ 1712814 w 6884782"/>
              <a:gd name="connsiteY74574" fmla="*/ 1327638 h 5973007"/>
              <a:gd name="connsiteX74575" fmla="*/ 1711678 w 6884782"/>
              <a:gd name="connsiteY74575" fmla="*/ 1323302 h 5973007"/>
              <a:gd name="connsiteX74576" fmla="*/ 1712195 w 6884782"/>
              <a:gd name="connsiteY74576" fmla="*/ 1322217 h 5973007"/>
              <a:gd name="connsiteX74577" fmla="*/ 1719423 w 6884782"/>
              <a:gd name="connsiteY74577" fmla="*/ 1315557 h 5973007"/>
              <a:gd name="connsiteX74578" fmla="*/ 1722314 w 6884782"/>
              <a:gd name="connsiteY74578" fmla="*/ 1318345 h 5973007"/>
              <a:gd name="connsiteX74579" fmla="*/ 1721798 w 6884782"/>
              <a:gd name="connsiteY74579" fmla="*/ 1307192 h 5973007"/>
              <a:gd name="connsiteX74580" fmla="*/ 1721281 w 6884782"/>
              <a:gd name="connsiteY74580" fmla="*/ 1298673 h 5973007"/>
              <a:gd name="connsiteX74581" fmla="*/ 1718700 w 6884782"/>
              <a:gd name="connsiteY74581" fmla="*/ 1289689 h 5973007"/>
              <a:gd name="connsiteX74582" fmla="*/ 1717874 w 6884782"/>
              <a:gd name="connsiteY74582" fmla="*/ 1290928 h 5973007"/>
              <a:gd name="connsiteX74583" fmla="*/ 1718700 w 6884782"/>
              <a:gd name="connsiteY74583" fmla="*/ 1292787 h 5973007"/>
              <a:gd name="connsiteX74584" fmla="*/ 1718390 w 6884782"/>
              <a:gd name="connsiteY74584" fmla="*/ 1305024 h 5973007"/>
              <a:gd name="connsiteX74585" fmla="*/ 1709200 w 6884782"/>
              <a:gd name="connsiteY74585" fmla="*/ 1295265 h 5973007"/>
              <a:gd name="connsiteX74586" fmla="*/ 1708581 w 6884782"/>
              <a:gd name="connsiteY74586" fmla="*/ 1292322 h 5973007"/>
              <a:gd name="connsiteX74587" fmla="*/ 1707135 w 6884782"/>
              <a:gd name="connsiteY74587" fmla="*/ 1289379 h 5973007"/>
              <a:gd name="connsiteX74588" fmla="*/ 1706103 w 6884782"/>
              <a:gd name="connsiteY74588" fmla="*/ 1289534 h 5973007"/>
              <a:gd name="connsiteX74589" fmla="*/ 1693815 w 6884782"/>
              <a:gd name="connsiteY74589" fmla="*/ 1279311 h 5973007"/>
              <a:gd name="connsiteX74590" fmla="*/ 1692576 w 6884782"/>
              <a:gd name="connsiteY74590" fmla="*/ 1278381 h 5973007"/>
              <a:gd name="connsiteX74591" fmla="*/ 1692266 w 6884782"/>
              <a:gd name="connsiteY74591" fmla="*/ 1280860 h 5973007"/>
              <a:gd name="connsiteX74592" fmla="*/ 1688652 w 6884782"/>
              <a:gd name="connsiteY74592" fmla="*/ 1284113 h 5973007"/>
              <a:gd name="connsiteX74593" fmla="*/ 1689995 w 6884782"/>
              <a:gd name="connsiteY74593" fmla="*/ 1287675 h 5973007"/>
              <a:gd name="connsiteX74594" fmla="*/ 1688652 w 6884782"/>
              <a:gd name="connsiteY74594" fmla="*/ 1296504 h 5973007"/>
              <a:gd name="connsiteX74595" fmla="*/ 1684729 w 6884782"/>
              <a:gd name="connsiteY74595" fmla="*/ 1299602 h 5973007"/>
              <a:gd name="connsiteX74596" fmla="*/ 1684729 w 6884782"/>
              <a:gd name="connsiteY74596" fmla="*/ 1300067 h 5973007"/>
              <a:gd name="connsiteX74597" fmla="*/ 1679566 w 6884782"/>
              <a:gd name="connsiteY74597" fmla="*/ 1301926 h 5973007"/>
              <a:gd name="connsiteX74598" fmla="*/ 1677604 w 6884782"/>
              <a:gd name="connsiteY74598" fmla="*/ 1297899 h 5973007"/>
              <a:gd name="connsiteX74599" fmla="*/ 1678843 w 6884782"/>
              <a:gd name="connsiteY74599" fmla="*/ 1296195 h 5973007"/>
              <a:gd name="connsiteX74600" fmla="*/ 1679772 w 6884782"/>
              <a:gd name="connsiteY74600" fmla="*/ 1296040 h 5973007"/>
              <a:gd name="connsiteX74601" fmla="*/ 1681218 w 6884782"/>
              <a:gd name="connsiteY74601" fmla="*/ 1296040 h 5973007"/>
              <a:gd name="connsiteX74602" fmla="*/ 1677398 w 6884782"/>
              <a:gd name="connsiteY74602" fmla="*/ 1290773 h 5973007"/>
              <a:gd name="connsiteX74603" fmla="*/ 1674919 w 6884782"/>
              <a:gd name="connsiteY74603" fmla="*/ 1277297 h 5973007"/>
              <a:gd name="connsiteX74604" fmla="*/ 1686587 w 6884782"/>
              <a:gd name="connsiteY74604" fmla="*/ 1278846 h 5973007"/>
              <a:gd name="connsiteX74605" fmla="*/ 1686587 w 6884782"/>
              <a:gd name="connsiteY74605" fmla="*/ 1279156 h 5973007"/>
              <a:gd name="connsiteX74606" fmla="*/ 1687310 w 6884782"/>
              <a:gd name="connsiteY74606" fmla="*/ 1278846 h 5973007"/>
              <a:gd name="connsiteX74607" fmla="*/ 1690718 w 6884782"/>
              <a:gd name="connsiteY74607" fmla="*/ 1276988 h 5973007"/>
              <a:gd name="connsiteX74608" fmla="*/ 1692163 w 6884782"/>
              <a:gd name="connsiteY74608" fmla="*/ 1278072 h 5973007"/>
              <a:gd name="connsiteX74609" fmla="*/ 1681425 w 6884782"/>
              <a:gd name="connsiteY74609" fmla="*/ 1269088 h 5973007"/>
              <a:gd name="connsiteX74610" fmla="*/ 1681425 w 6884782"/>
              <a:gd name="connsiteY74610" fmla="*/ 1261963 h 5973007"/>
              <a:gd name="connsiteX74611" fmla="*/ 1681218 w 6884782"/>
              <a:gd name="connsiteY74611" fmla="*/ 1261963 h 5973007"/>
              <a:gd name="connsiteX74612" fmla="*/ 1680392 w 6884782"/>
              <a:gd name="connsiteY74612" fmla="*/ 1262272 h 5973007"/>
              <a:gd name="connsiteX74613" fmla="*/ 1680289 w 6884782"/>
              <a:gd name="connsiteY74613" fmla="*/ 1263047 h 5973007"/>
              <a:gd name="connsiteX74614" fmla="*/ 1678637 w 6884782"/>
              <a:gd name="connsiteY74614" fmla="*/ 1262272 h 5973007"/>
              <a:gd name="connsiteX74615" fmla="*/ 1676778 w 6884782"/>
              <a:gd name="connsiteY74615" fmla="*/ 1256232 h 5973007"/>
              <a:gd name="connsiteX74616" fmla="*/ 1679360 w 6884782"/>
              <a:gd name="connsiteY74616" fmla="*/ 1255302 h 5973007"/>
              <a:gd name="connsiteX74617" fmla="*/ 1680598 w 6884782"/>
              <a:gd name="connsiteY74617" fmla="*/ 1256077 h 5973007"/>
              <a:gd name="connsiteX74618" fmla="*/ 1679566 w 6884782"/>
              <a:gd name="connsiteY74618" fmla="*/ 1250810 h 5973007"/>
              <a:gd name="connsiteX74619" fmla="*/ 1682354 w 6884782"/>
              <a:gd name="connsiteY74619" fmla="*/ 1233617 h 5973007"/>
              <a:gd name="connsiteX74620" fmla="*/ 1699907 w 6884782"/>
              <a:gd name="connsiteY74620" fmla="*/ 1222619 h 5973007"/>
              <a:gd name="connsiteX74621" fmla="*/ 1705897 w 6884782"/>
              <a:gd name="connsiteY74621" fmla="*/ 1223084 h 5973007"/>
              <a:gd name="connsiteX74622" fmla="*/ 1705586 w 6884782"/>
              <a:gd name="connsiteY74622" fmla="*/ 1219831 h 5973007"/>
              <a:gd name="connsiteX74623" fmla="*/ 1705690 w 6884782"/>
              <a:gd name="connsiteY74623" fmla="*/ 1211931 h 5973007"/>
              <a:gd name="connsiteX74624" fmla="*/ 1704554 w 6884782"/>
              <a:gd name="connsiteY74624" fmla="*/ 1200623 h 5973007"/>
              <a:gd name="connsiteX74625" fmla="*/ 1708374 w 6884782"/>
              <a:gd name="connsiteY74625" fmla="*/ 1190245 h 5973007"/>
              <a:gd name="connsiteX74626" fmla="*/ 1709407 w 6884782"/>
              <a:gd name="connsiteY74626" fmla="*/ 1194892 h 5973007"/>
              <a:gd name="connsiteX74627" fmla="*/ 1712711 w 6884782"/>
              <a:gd name="connsiteY74627" fmla="*/ 1190245 h 5973007"/>
              <a:gd name="connsiteX74628" fmla="*/ 1710439 w 6884782"/>
              <a:gd name="connsiteY74628" fmla="*/ 1184514 h 5973007"/>
              <a:gd name="connsiteX74629" fmla="*/ 1714776 w 6884782"/>
              <a:gd name="connsiteY74629" fmla="*/ 1187457 h 5973007"/>
              <a:gd name="connsiteX74630" fmla="*/ 1719113 w 6884782"/>
              <a:gd name="connsiteY74630" fmla="*/ 1198765 h 5973007"/>
              <a:gd name="connsiteX74631" fmla="*/ 1718080 w 6884782"/>
              <a:gd name="connsiteY74631" fmla="*/ 1210227 h 5973007"/>
              <a:gd name="connsiteX74632" fmla="*/ 1720662 w 6884782"/>
              <a:gd name="connsiteY74632" fmla="*/ 1217043 h 5973007"/>
              <a:gd name="connsiteX74633" fmla="*/ 1720765 w 6884782"/>
              <a:gd name="connsiteY74633" fmla="*/ 1223548 h 5973007"/>
              <a:gd name="connsiteX74634" fmla="*/ 1722004 w 6884782"/>
              <a:gd name="connsiteY74634" fmla="*/ 1222619 h 5973007"/>
              <a:gd name="connsiteX74635" fmla="*/ 1722210 w 6884782"/>
              <a:gd name="connsiteY74635" fmla="*/ 1223548 h 5973007"/>
              <a:gd name="connsiteX74636" fmla="*/ 1723553 w 6884782"/>
              <a:gd name="connsiteY74636" fmla="*/ 1221999 h 5973007"/>
              <a:gd name="connsiteX74637" fmla="*/ 1722417 w 6884782"/>
              <a:gd name="connsiteY74637" fmla="*/ 1217043 h 5973007"/>
              <a:gd name="connsiteX74638" fmla="*/ 1723450 w 6884782"/>
              <a:gd name="connsiteY74638" fmla="*/ 1209143 h 5973007"/>
              <a:gd name="connsiteX74639" fmla="*/ 1721281 w 6884782"/>
              <a:gd name="connsiteY74639" fmla="*/ 1197681 h 5973007"/>
              <a:gd name="connsiteX74640" fmla="*/ 1723450 w 6884782"/>
              <a:gd name="connsiteY74640" fmla="*/ 1203412 h 5973007"/>
              <a:gd name="connsiteX74641" fmla="*/ 1723450 w 6884782"/>
              <a:gd name="connsiteY74641" fmla="*/ 1190245 h 5973007"/>
              <a:gd name="connsiteX74642" fmla="*/ 1722417 w 6884782"/>
              <a:gd name="connsiteY74642" fmla="*/ 1193188 h 5973007"/>
              <a:gd name="connsiteX74643" fmla="*/ 1723450 w 6884782"/>
              <a:gd name="connsiteY74643" fmla="*/ 1184514 h 5973007"/>
              <a:gd name="connsiteX74644" fmla="*/ 1720765 w 6884782"/>
              <a:gd name="connsiteY74644" fmla="*/ 1177234 h 5973007"/>
              <a:gd name="connsiteX74645" fmla="*/ 1721075 w 6884782"/>
              <a:gd name="connsiteY74645" fmla="*/ 1176150 h 5973007"/>
              <a:gd name="connsiteX74646" fmla="*/ 1715086 w 6884782"/>
              <a:gd name="connsiteY74646" fmla="*/ 1165927 h 5973007"/>
              <a:gd name="connsiteX74647" fmla="*/ 1715912 w 6884782"/>
              <a:gd name="connsiteY74647" fmla="*/ 1162829 h 5973007"/>
              <a:gd name="connsiteX74648" fmla="*/ 1716532 w 6884782"/>
              <a:gd name="connsiteY74648" fmla="*/ 1162519 h 5973007"/>
              <a:gd name="connsiteX74649" fmla="*/ 1714776 w 6884782"/>
              <a:gd name="connsiteY74649" fmla="*/ 1161745 h 5973007"/>
              <a:gd name="connsiteX74650" fmla="*/ 1716015 w 6884782"/>
              <a:gd name="connsiteY74650" fmla="*/ 1159266 h 5973007"/>
              <a:gd name="connsiteX74651" fmla="*/ 1719423 w 6884782"/>
              <a:gd name="connsiteY74651" fmla="*/ 1160351 h 5973007"/>
              <a:gd name="connsiteX74652" fmla="*/ 1719629 w 6884782"/>
              <a:gd name="connsiteY74652" fmla="*/ 1161745 h 5973007"/>
              <a:gd name="connsiteX74653" fmla="*/ 1719423 w 6884782"/>
              <a:gd name="connsiteY74653" fmla="*/ 1162054 h 5973007"/>
              <a:gd name="connsiteX74654" fmla="*/ 1721695 w 6884782"/>
              <a:gd name="connsiteY74654" fmla="*/ 1163603 h 5973007"/>
              <a:gd name="connsiteX74655" fmla="*/ 1722417 w 6884782"/>
              <a:gd name="connsiteY74655" fmla="*/ 1160660 h 5973007"/>
              <a:gd name="connsiteX74656" fmla="*/ 1724586 w 6884782"/>
              <a:gd name="connsiteY74656" fmla="*/ 1154929 h 5973007"/>
              <a:gd name="connsiteX74657" fmla="*/ 1724586 w 6884782"/>
              <a:gd name="connsiteY74657" fmla="*/ 1151057 h 5973007"/>
              <a:gd name="connsiteX74658" fmla="*/ 1720972 w 6884782"/>
              <a:gd name="connsiteY74658" fmla="*/ 1151832 h 5973007"/>
              <a:gd name="connsiteX74659" fmla="*/ 1716119 w 6884782"/>
              <a:gd name="connsiteY74659" fmla="*/ 1151212 h 5973007"/>
              <a:gd name="connsiteX74660" fmla="*/ 1716944 w 6884782"/>
              <a:gd name="connsiteY74660" fmla="*/ 1147030 h 5973007"/>
              <a:gd name="connsiteX74661" fmla="*/ 1714776 w 6884782"/>
              <a:gd name="connsiteY74661" fmla="*/ 1143157 h 5973007"/>
              <a:gd name="connsiteX74662" fmla="*/ 1713021 w 6884782"/>
              <a:gd name="connsiteY74662" fmla="*/ 1138200 h 5973007"/>
              <a:gd name="connsiteX74663" fmla="*/ 1701353 w 6884782"/>
              <a:gd name="connsiteY74663" fmla="*/ 1136961 h 5973007"/>
              <a:gd name="connsiteX74664" fmla="*/ 1697119 w 6884782"/>
              <a:gd name="connsiteY74664" fmla="*/ 1138045 h 5973007"/>
              <a:gd name="connsiteX74665" fmla="*/ 1697945 w 6884782"/>
              <a:gd name="connsiteY74665" fmla="*/ 1139285 h 5973007"/>
              <a:gd name="connsiteX74666" fmla="*/ 1700010 w 6884782"/>
              <a:gd name="connsiteY74666" fmla="*/ 1143467 h 5973007"/>
              <a:gd name="connsiteX74667" fmla="*/ 1691957 w 6884782"/>
              <a:gd name="connsiteY74667" fmla="*/ 1145790 h 5973007"/>
              <a:gd name="connsiteX74668" fmla="*/ 1691131 w 6884782"/>
              <a:gd name="connsiteY74668" fmla="*/ 1145016 h 5973007"/>
              <a:gd name="connsiteX74669" fmla="*/ 1689892 w 6884782"/>
              <a:gd name="connsiteY74669" fmla="*/ 1143002 h 5973007"/>
              <a:gd name="connsiteX74670" fmla="*/ 1688239 w 6884782"/>
              <a:gd name="connsiteY74670" fmla="*/ 1145790 h 5973007"/>
              <a:gd name="connsiteX74671" fmla="*/ 1687620 w 6884782"/>
              <a:gd name="connsiteY74671" fmla="*/ 1156633 h 5973007"/>
              <a:gd name="connsiteX74672" fmla="*/ 1679979 w 6884782"/>
              <a:gd name="connsiteY74672" fmla="*/ 1157408 h 5973007"/>
              <a:gd name="connsiteX74673" fmla="*/ 1679463 w 6884782"/>
              <a:gd name="connsiteY74673" fmla="*/ 1146565 h 5973007"/>
              <a:gd name="connsiteX74674" fmla="*/ 1674713 w 6884782"/>
              <a:gd name="connsiteY74674" fmla="*/ 1140833 h 5973007"/>
              <a:gd name="connsiteX74675" fmla="*/ 1662012 w 6884782"/>
              <a:gd name="connsiteY74675" fmla="*/ 1137426 h 5973007"/>
              <a:gd name="connsiteX74676" fmla="*/ 1659225 w 6884782"/>
              <a:gd name="connsiteY74676" fmla="*/ 1135877 h 5973007"/>
              <a:gd name="connsiteX74677" fmla="*/ 1658811 w 6884782"/>
              <a:gd name="connsiteY74677" fmla="*/ 1137271 h 5973007"/>
              <a:gd name="connsiteX74678" fmla="*/ 1644459 w 6884782"/>
              <a:gd name="connsiteY74678" fmla="*/ 1144396 h 5973007"/>
              <a:gd name="connsiteX74679" fmla="*/ 1643116 w 6884782"/>
              <a:gd name="connsiteY74679" fmla="*/ 1145171 h 5973007"/>
              <a:gd name="connsiteX74680" fmla="*/ 1645285 w 6884782"/>
              <a:gd name="connsiteY74680" fmla="*/ 1146410 h 5973007"/>
              <a:gd name="connsiteX74681" fmla="*/ 1646834 w 6884782"/>
              <a:gd name="connsiteY74681" fmla="*/ 1151212 h 5973007"/>
              <a:gd name="connsiteX74682" fmla="*/ 1645698 w 6884782"/>
              <a:gd name="connsiteY74682" fmla="*/ 1156633 h 5973007"/>
              <a:gd name="connsiteX74683" fmla="*/ 1641051 w 6884782"/>
              <a:gd name="connsiteY74683" fmla="*/ 1154000 h 5973007"/>
              <a:gd name="connsiteX74684" fmla="*/ 1641051 w 6884782"/>
              <a:gd name="connsiteY74684" fmla="*/ 1146255 h 5973007"/>
              <a:gd name="connsiteX74685" fmla="*/ 1642600 w 6884782"/>
              <a:gd name="connsiteY74685" fmla="*/ 1145326 h 5973007"/>
              <a:gd name="connsiteX74686" fmla="*/ 1630209 w 6884782"/>
              <a:gd name="connsiteY74686" fmla="*/ 1151676 h 5973007"/>
              <a:gd name="connsiteX74687" fmla="*/ 1598097 w 6884782"/>
              <a:gd name="connsiteY74687" fmla="*/ 1136342 h 5973007"/>
              <a:gd name="connsiteX74688" fmla="*/ 1598510 w 6884782"/>
              <a:gd name="connsiteY74688" fmla="*/ 1133554 h 5973007"/>
              <a:gd name="connsiteX74689" fmla="*/ 1598200 w 6884782"/>
              <a:gd name="connsiteY74689" fmla="*/ 1133244 h 5973007"/>
              <a:gd name="connsiteX74690" fmla="*/ 1597271 w 6884782"/>
              <a:gd name="connsiteY74690" fmla="*/ 1130456 h 5973007"/>
              <a:gd name="connsiteX74691" fmla="*/ 1598303 w 6884782"/>
              <a:gd name="connsiteY74691" fmla="*/ 1128907 h 5973007"/>
              <a:gd name="connsiteX74692" fmla="*/ 1597374 w 6884782"/>
              <a:gd name="connsiteY74692" fmla="*/ 1124105 h 5973007"/>
              <a:gd name="connsiteX74693" fmla="*/ 1597477 w 6884782"/>
              <a:gd name="connsiteY74693" fmla="*/ 1123176 h 5973007"/>
              <a:gd name="connsiteX74694" fmla="*/ 1596961 w 6884782"/>
              <a:gd name="connsiteY74694" fmla="*/ 1121471 h 5973007"/>
              <a:gd name="connsiteX74695" fmla="*/ 1593657 w 6884782"/>
              <a:gd name="connsiteY74695" fmla="*/ 1121936 h 5973007"/>
              <a:gd name="connsiteX74696" fmla="*/ 1591592 w 6884782"/>
              <a:gd name="connsiteY74696" fmla="*/ 1119613 h 5973007"/>
              <a:gd name="connsiteX74697" fmla="*/ 1591798 w 6884782"/>
              <a:gd name="connsiteY74697" fmla="*/ 1116205 h 5973007"/>
              <a:gd name="connsiteX74698" fmla="*/ 1593140 w 6884782"/>
              <a:gd name="connsiteY74698" fmla="*/ 1114192 h 5973007"/>
              <a:gd name="connsiteX74699" fmla="*/ 1596032 w 6884782"/>
              <a:gd name="connsiteY74699" fmla="*/ 1113727 h 5973007"/>
              <a:gd name="connsiteX74700" fmla="*/ 1596238 w 6884782"/>
              <a:gd name="connsiteY74700" fmla="*/ 1113727 h 5973007"/>
              <a:gd name="connsiteX74701" fmla="*/ 1600059 w 6884782"/>
              <a:gd name="connsiteY74701" fmla="*/ 1106447 h 5973007"/>
              <a:gd name="connsiteX74702" fmla="*/ 1596032 w 6884782"/>
              <a:gd name="connsiteY74702" fmla="*/ 1105672 h 5973007"/>
              <a:gd name="connsiteX74703" fmla="*/ 1589217 w 6884782"/>
              <a:gd name="connsiteY74703" fmla="*/ 1108925 h 5973007"/>
              <a:gd name="connsiteX74704" fmla="*/ 1583434 w 6884782"/>
              <a:gd name="connsiteY74704" fmla="*/ 1118064 h 5973007"/>
              <a:gd name="connsiteX74705" fmla="*/ 1578271 w 6884782"/>
              <a:gd name="connsiteY74705" fmla="*/ 1120232 h 5973007"/>
              <a:gd name="connsiteX74706" fmla="*/ 1572593 w 6884782"/>
              <a:gd name="connsiteY74706" fmla="*/ 1127977 h 5973007"/>
              <a:gd name="connsiteX74707" fmla="*/ 1570011 w 6884782"/>
              <a:gd name="connsiteY74707" fmla="*/ 1129062 h 5973007"/>
              <a:gd name="connsiteX74708" fmla="*/ 1571457 w 6884782"/>
              <a:gd name="connsiteY74708" fmla="*/ 1126583 h 5973007"/>
              <a:gd name="connsiteX74709" fmla="*/ 1574141 w 6884782"/>
              <a:gd name="connsiteY74709" fmla="*/ 1123950 h 5973007"/>
              <a:gd name="connsiteX74710" fmla="*/ 1574348 w 6884782"/>
              <a:gd name="connsiteY74710" fmla="*/ 1121317 h 5973007"/>
              <a:gd name="connsiteX74711" fmla="*/ 1577032 w 6884782"/>
              <a:gd name="connsiteY74711" fmla="*/ 1120232 h 5973007"/>
              <a:gd name="connsiteX74712" fmla="*/ 1577549 w 6884782"/>
              <a:gd name="connsiteY74712" fmla="*/ 1112178 h 5973007"/>
              <a:gd name="connsiteX74713" fmla="*/ 1585499 w 6884782"/>
              <a:gd name="connsiteY74713" fmla="*/ 1105982 h 5973007"/>
              <a:gd name="connsiteX74714" fmla="*/ 1586532 w 6884782"/>
              <a:gd name="connsiteY74714" fmla="*/ 1091422 h 5973007"/>
              <a:gd name="connsiteX74715" fmla="*/ 1565158 w 6884782"/>
              <a:gd name="connsiteY74715" fmla="*/ 1088324 h 5973007"/>
              <a:gd name="connsiteX74716" fmla="*/ 1559479 w 6884782"/>
              <a:gd name="connsiteY74716" fmla="*/ 1059823 h 5973007"/>
              <a:gd name="connsiteX74717" fmla="*/ 1556691 w 6884782"/>
              <a:gd name="connsiteY74717" fmla="*/ 1058893 h 5973007"/>
              <a:gd name="connsiteX74718" fmla="*/ 1554936 w 6884782"/>
              <a:gd name="connsiteY74718" fmla="*/ 1058739 h 5973007"/>
              <a:gd name="connsiteX74719" fmla="*/ 1553697 w 6884782"/>
              <a:gd name="connsiteY74719" fmla="*/ 1060442 h 5973007"/>
              <a:gd name="connsiteX74720" fmla="*/ 1546159 w 6884782"/>
              <a:gd name="connsiteY74720" fmla="*/ 1061991 h 5973007"/>
              <a:gd name="connsiteX74721" fmla="*/ 1545746 w 6884782"/>
              <a:gd name="connsiteY74721" fmla="*/ 1061217 h 5973007"/>
              <a:gd name="connsiteX74722" fmla="*/ 1542132 w 6884782"/>
              <a:gd name="connsiteY74722" fmla="*/ 1065089 h 5973007"/>
              <a:gd name="connsiteX74723" fmla="*/ 1534078 w 6884782"/>
              <a:gd name="connsiteY74723" fmla="*/ 1054866 h 5973007"/>
              <a:gd name="connsiteX74724" fmla="*/ 1533562 w 6884782"/>
              <a:gd name="connsiteY74724" fmla="*/ 1053008 h 5973007"/>
              <a:gd name="connsiteX74725" fmla="*/ 1532839 w 6884782"/>
              <a:gd name="connsiteY74725" fmla="*/ 1053472 h 5973007"/>
              <a:gd name="connsiteX74726" fmla="*/ 1533149 w 6884782"/>
              <a:gd name="connsiteY74726" fmla="*/ 1052233 h 5973007"/>
              <a:gd name="connsiteX74727" fmla="*/ 1533045 w 6884782"/>
              <a:gd name="connsiteY74727" fmla="*/ 1052078 h 5973007"/>
              <a:gd name="connsiteX74728" fmla="*/ 1532632 w 6884782"/>
              <a:gd name="connsiteY74728" fmla="*/ 1051304 h 5973007"/>
              <a:gd name="connsiteX74729" fmla="*/ 1532942 w 6884782"/>
              <a:gd name="connsiteY74729" fmla="*/ 1047741 h 5973007"/>
              <a:gd name="connsiteX74730" fmla="*/ 1534904 w 6884782"/>
              <a:gd name="connsiteY74730" fmla="*/ 1047121 h 5973007"/>
              <a:gd name="connsiteX74731" fmla="*/ 1539550 w 6884782"/>
              <a:gd name="connsiteY74731" fmla="*/ 1049600 h 5973007"/>
              <a:gd name="connsiteX74732" fmla="*/ 1544816 w 6884782"/>
              <a:gd name="connsiteY74732" fmla="*/ 1046347 h 5973007"/>
              <a:gd name="connsiteX74733" fmla="*/ 1546572 w 6884782"/>
              <a:gd name="connsiteY74733" fmla="*/ 1045108 h 5973007"/>
              <a:gd name="connsiteX74734" fmla="*/ 1546469 w 6884782"/>
              <a:gd name="connsiteY74734" fmla="*/ 1044024 h 5973007"/>
              <a:gd name="connsiteX74735" fmla="*/ 1539964 w 6884782"/>
              <a:gd name="connsiteY74735" fmla="*/ 1046192 h 5973007"/>
              <a:gd name="connsiteX74736" fmla="*/ 1539034 w 6884782"/>
              <a:gd name="connsiteY74736" fmla="*/ 1040771 h 5973007"/>
              <a:gd name="connsiteX74737" fmla="*/ 1548224 w 6884782"/>
              <a:gd name="connsiteY74737" fmla="*/ 1037518 h 5973007"/>
              <a:gd name="connsiteX74738" fmla="*/ 1542958 w 6884782"/>
              <a:gd name="connsiteY74738" fmla="*/ 1020944 h 5973007"/>
              <a:gd name="connsiteX74739" fmla="*/ 1528915 w 6884782"/>
              <a:gd name="connsiteY74739" fmla="*/ 1022493 h 5973007"/>
              <a:gd name="connsiteX74740" fmla="*/ 1527986 w 6884782"/>
              <a:gd name="connsiteY74740" fmla="*/ 1025281 h 5973007"/>
              <a:gd name="connsiteX74741" fmla="*/ 1528399 w 6884782"/>
              <a:gd name="connsiteY74741" fmla="*/ 1028224 h 5973007"/>
              <a:gd name="connsiteX74742" fmla="*/ 1529328 w 6884782"/>
              <a:gd name="connsiteY74742" fmla="*/ 1028224 h 5973007"/>
              <a:gd name="connsiteX74743" fmla="*/ 1533149 w 6884782"/>
              <a:gd name="connsiteY74743" fmla="*/ 1030083 h 5973007"/>
              <a:gd name="connsiteX74744" fmla="*/ 1533665 w 6884782"/>
              <a:gd name="connsiteY74744" fmla="*/ 1028688 h 5973007"/>
              <a:gd name="connsiteX74745" fmla="*/ 1537485 w 6884782"/>
              <a:gd name="connsiteY74745" fmla="*/ 1027295 h 5973007"/>
              <a:gd name="connsiteX74746" fmla="*/ 1536763 w 6884782"/>
              <a:gd name="connsiteY74746" fmla="*/ 1027759 h 5973007"/>
              <a:gd name="connsiteX74747" fmla="*/ 1537692 w 6884782"/>
              <a:gd name="connsiteY74747" fmla="*/ 1029153 h 5973007"/>
              <a:gd name="connsiteX74748" fmla="*/ 1538518 w 6884782"/>
              <a:gd name="connsiteY74748" fmla="*/ 1028844 h 5973007"/>
              <a:gd name="connsiteX74749" fmla="*/ 1538621 w 6884782"/>
              <a:gd name="connsiteY74749" fmla="*/ 1030702 h 5973007"/>
              <a:gd name="connsiteX74750" fmla="*/ 1534801 w 6884782"/>
              <a:gd name="connsiteY74750" fmla="*/ 1035659 h 5973007"/>
              <a:gd name="connsiteX74751" fmla="*/ 1533149 w 6884782"/>
              <a:gd name="connsiteY74751" fmla="*/ 1034420 h 5973007"/>
              <a:gd name="connsiteX74752" fmla="*/ 1533045 w 6884782"/>
              <a:gd name="connsiteY74752" fmla="*/ 1036588 h 5973007"/>
              <a:gd name="connsiteX74753" fmla="*/ 1531600 w 6884782"/>
              <a:gd name="connsiteY74753" fmla="*/ 1038602 h 5973007"/>
              <a:gd name="connsiteX74754" fmla="*/ 1528399 w 6884782"/>
              <a:gd name="connsiteY74754" fmla="*/ 1041235 h 5973007"/>
              <a:gd name="connsiteX74755" fmla="*/ 1529948 w 6884782"/>
              <a:gd name="connsiteY74755" fmla="*/ 1042319 h 5973007"/>
              <a:gd name="connsiteX74756" fmla="*/ 1531083 w 6884782"/>
              <a:gd name="connsiteY74756" fmla="*/ 1044333 h 5973007"/>
              <a:gd name="connsiteX74757" fmla="*/ 1530567 w 6884782"/>
              <a:gd name="connsiteY74757" fmla="*/ 1046347 h 5973007"/>
              <a:gd name="connsiteX74758" fmla="*/ 1529741 w 6884782"/>
              <a:gd name="connsiteY74758" fmla="*/ 1046502 h 5973007"/>
              <a:gd name="connsiteX74759" fmla="*/ 1526540 w 6884782"/>
              <a:gd name="connsiteY74759" fmla="*/ 1047431 h 5973007"/>
              <a:gd name="connsiteX74760" fmla="*/ 1524372 w 6884782"/>
              <a:gd name="connsiteY74760" fmla="*/ 1045728 h 5973007"/>
              <a:gd name="connsiteX74761" fmla="*/ 1523442 w 6884782"/>
              <a:gd name="connsiteY74761" fmla="*/ 1043869 h 5973007"/>
              <a:gd name="connsiteX74762" fmla="*/ 1522513 w 6884782"/>
              <a:gd name="connsiteY74762" fmla="*/ 1044178 h 5973007"/>
              <a:gd name="connsiteX74763" fmla="*/ 1515285 w 6884782"/>
              <a:gd name="connsiteY74763" fmla="*/ 1041855 h 5973007"/>
              <a:gd name="connsiteX74764" fmla="*/ 1515492 w 6884782"/>
              <a:gd name="connsiteY74764" fmla="*/ 1040925 h 5973007"/>
              <a:gd name="connsiteX74765" fmla="*/ 1509916 w 6884782"/>
              <a:gd name="connsiteY74765" fmla="*/ 1042319 h 5973007"/>
              <a:gd name="connsiteX74766" fmla="*/ 1508367 w 6884782"/>
              <a:gd name="connsiteY74766" fmla="*/ 1035969 h 5973007"/>
              <a:gd name="connsiteX74767" fmla="*/ 1510432 w 6884782"/>
              <a:gd name="connsiteY74767" fmla="*/ 1029928 h 5973007"/>
              <a:gd name="connsiteX74768" fmla="*/ 1511362 w 6884782"/>
              <a:gd name="connsiteY74768" fmla="*/ 1028224 h 5973007"/>
              <a:gd name="connsiteX74769" fmla="*/ 1510432 w 6884782"/>
              <a:gd name="connsiteY74769" fmla="*/ 1028224 h 5973007"/>
              <a:gd name="connsiteX74770" fmla="*/ 1511465 w 6884782"/>
              <a:gd name="connsiteY74770" fmla="*/ 1027295 h 5973007"/>
              <a:gd name="connsiteX74771" fmla="*/ 1511362 w 6884782"/>
              <a:gd name="connsiteY74771" fmla="*/ 1027295 h 5973007"/>
              <a:gd name="connsiteX74772" fmla="*/ 1501965 w 6884782"/>
              <a:gd name="connsiteY74772" fmla="*/ 1026055 h 5973007"/>
              <a:gd name="connsiteX74773" fmla="*/ 1513220 w 6884782"/>
              <a:gd name="connsiteY74773" fmla="*/ 1020169 h 5973007"/>
              <a:gd name="connsiteX74774" fmla="*/ 1522616 w 6884782"/>
              <a:gd name="connsiteY74774" fmla="*/ 1015368 h 5973007"/>
              <a:gd name="connsiteX74775" fmla="*/ 1522513 w 6884782"/>
              <a:gd name="connsiteY74775" fmla="*/ 1015058 h 5973007"/>
              <a:gd name="connsiteX74776" fmla="*/ 1522720 w 6884782"/>
              <a:gd name="connsiteY74776" fmla="*/ 1015368 h 5973007"/>
              <a:gd name="connsiteX74777" fmla="*/ 1523236 w 6884782"/>
              <a:gd name="connsiteY74777" fmla="*/ 1015058 h 5973007"/>
              <a:gd name="connsiteX74778" fmla="*/ 1524165 w 6884782"/>
              <a:gd name="connsiteY74778" fmla="*/ 1014593 h 5973007"/>
              <a:gd name="connsiteX74779" fmla="*/ 1523546 w 6884782"/>
              <a:gd name="connsiteY74779" fmla="*/ 1012270 h 5973007"/>
              <a:gd name="connsiteX74780" fmla="*/ 1524888 w 6884782"/>
              <a:gd name="connsiteY74780" fmla="*/ 1010566 h 5973007"/>
              <a:gd name="connsiteX74781" fmla="*/ 1528089 w 6884782"/>
              <a:gd name="connsiteY74781" fmla="*/ 1008707 h 5973007"/>
              <a:gd name="connsiteX74782" fmla="*/ 1529018 w 6884782"/>
              <a:gd name="connsiteY74782" fmla="*/ 1008862 h 5973007"/>
              <a:gd name="connsiteX74783" fmla="*/ 1528399 w 6884782"/>
              <a:gd name="connsiteY74783" fmla="*/ 1008242 h 5973007"/>
              <a:gd name="connsiteX74784" fmla="*/ 1528192 w 6884782"/>
              <a:gd name="connsiteY74784" fmla="*/ 1004835 h 5973007"/>
              <a:gd name="connsiteX74785" fmla="*/ 1529431 w 6884782"/>
              <a:gd name="connsiteY74785" fmla="*/ 1002666 h 5973007"/>
              <a:gd name="connsiteX74786" fmla="*/ 1532219 w 6884782"/>
              <a:gd name="connsiteY74786" fmla="*/ 1001737 h 5973007"/>
              <a:gd name="connsiteX74787" fmla="*/ 1534594 w 6884782"/>
              <a:gd name="connsiteY74787" fmla="*/ 1002511 h 5973007"/>
              <a:gd name="connsiteX74788" fmla="*/ 1536246 w 6884782"/>
              <a:gd name="connsiteY74788" fmla="*/ 1004680 h 5973007"/>
              <a:gd name="connsiteX74789" fmla="*/ 1536969 w 6884782"/>
              <a:gd name="connsiteY74789" fmla="*/ 1006229 h 5973007"/>
              <a:gd name="connsiteX74790" fmla="*/ 1537589 w 6884782"/>
              <a:gd name="connsiteY74790" fmla="*/ 1005764 h 5973007"/>
              <a:gd name="connsiteX74791" fmla="*/ 1536866 w 6884782"/>
              <a:gd name="connsiteY74791" fmla="*/ 997709 h 5973007"/>
              <a:gd name="connsiteX74792" fmla="*/ 1536246 w 6884782"/>
              <a:gd name="connsiteY74792" fmla="*/ 988106 h 5973007"/>
              <a:gd name="connsiteX74793" fmla="*/ 1537175 w 6884782"/>
              <a:gd name="connsiteY74793" fmla="*/ 974785 h 5973007"/>
              <a:gd name="connsiteX74794" fmla="*/ 1530051 w 6884782"/>
              <a:gd name="connsiteY74794" fmla="*/ 967660 h 5973007"/>
              <a:gd name="connsiteX74795" fmla="*/ 1507541 w 6884782"/>
              <a:gd name="connsiteY74795" fmla="*/ 961928 h 5973007"/>
              <a:gd name="connsiteX74796" fmla="*/ 1497422 w 6884782"/>
              <a:gd name="connsiteY74796" fmla="*/ 961154 h 5973007"/>
              <a:gd name="connsiteX74797" fmla="*/ 1492775 w 6884782"/>
              <a:gd name="connsiteY74797" fmla="*/ 954183 h 5973007"/>
              <a:gd name="connsiteX74798" fmla="*/ 1538311 w 6884782"/>
              <a:gd name="connsiteY74798" fmla="*/ 957437 h 5973007"/>
              <a:gd name="connsiteX74799" fmla="*/ 1538311 w 6884782"/>
              <a:gd name="connsiteY74799" fmla="*/ 938694 h 5973007"/>
              <a:gd name="connsiteX74800" fmla="*/ 1533768 w 6884782"/>
              <a:gd name="connsiteY74800" fmla="*/ 935131 h 5973007"/>
              <a:gd name="connsiteX74801" fmla="*/ 1532116 w 6884782"/>
              <a:gd name="connsiteY74801" fmla="*/ 936061 h 5973007"/>
              <a:gd name="connsiteX74802" fmla="*/ 1528192 w 6884782"/>
              <a:gd name="connsiteY74802" fmla="*/ 932034 h 5973007"/>
              <a:gd name="connsiteX74803" fmla="*/ 1529535 w 6884782"/>
              <a:gd name="connsiteY74803" fmla="*/ 931724 h 5973007"/>
              <a:gd name="connsiteX74804" fmla="*/ 1529535 w 6884782"/>
              <a:gd name="connsiteY74804" fmla="*/ 931569 h 5973007"/>
              <a:gd name="connsiteX74805" fmla="*/ 1527779 w 6884782"/>
              <a:gd name="connsiteY74805" fmla="*/ 925838 h 5973007"/>
              <a:gd name="connsiteX74806" fmla="*/ 1544507 w 6884782"/>
              <a:gd name="connsiteY74806" fmla="*/ 922894 h 5973007"/>
              <a:gd name="connsiteX74807" fmla="*/ 1544197 w 6884782"/>
              <a:gd name="connsiteY74807" fmla="*/ 902913 h 5973007"/>
              <a:gd name="connsiteX74808" fmla="*/ 1544300 w 6884782"/>
              <a:gd name="connsiteY74808" fmla="*/ 902293 h 5973007"/>
              <a:gd name="connsiteX74809" fmla="*/ 1541512 w 6884782"/>
              <a:gd name="connsiteY74809" fmla="*/ 900435 h 5973007"/>
              <a:gd name="connsiteX74810" fmla="*/ 1528502 w 6884782"/>
              <a:gd name="connsiteY74810" fmla="*/ 893929 h 5973007"/>
              <a:gd name="connsiteX74811" fmla="*/ 1527160 w 6884782"/>
              <a:gd name="connsiteY74811" fmla="*/ 893000 h 5973007"/>
              <a:gd name="connsiteX74812" fmla="*/ 1525301 w 6884782"/>
              <a:gd name="connsiteY74812" fmla="*/ 895788 h 5973007"/>
              <a:gd name="connsiteX74813" fmla="*/ 1524372 w 6884782"/>
              <a:gd name="connsiteY74813" fmla="*/ 895478 h 5973007"/>
              <a:gd name="connsiteX74814" fmla="*/ 1524268 w 6884782"/>
              <a:gd name="connsiteY74814" fmla="*/ 896562 h 5973007"/>
              <a:gd name="connsiteX74815" fmla="*/ 1522720 w 6884782"/>
              <a:gd name="connsiteY74815" fmla="*/ 899195 h 5973007"/>
              <a:gd name="connsiteX74816" fmla="*/ 1511362 w 6884782"/>
              <a:gd name="connsiteY74816" fmla="*/ 901364 h 5973007"/>
              <a:gd name="connsiteX74817" fmla="*/ 1507334 w 6884782"/>
              <a:gd name="connsiteY74817" fmla="*/ 893929 h 5973007"/>
              <a:gd name="connsiteX74818" fmla="*/ 1507334 w 6884782"/>
              <a:gd name="connsiteY74818" fmla="*/ 894859 h 5973007"/>
              <a:gd name="connsiteX74819" fmla="*/ 1494840 w 6884782"/>
              <a:gd name="connsiteY74819" fmla="*/ 903842 h 5973007"/>
              <a:gd name="connsiteX74820" fmla="*/ 1495873 w 6884782"/>
              <a:gd name="connsiteY74820" fmla="*/ 901209 h 5973007"/>
              <a:gd name="connsiteX74821" fmla="*/ 1496699 w 6884782"/>
              <a:gd name="connsiteY74821" fmla="*/ 900435 h 5973007"/>
              <a:gd name="connsiteX74822" fmla="*/ 1496802 w 6884782"/>
              <a:gd name="connsiteY74822" fmla="*/ 899505 h 5973007"/>
              <a:gd name="connsiteX74823" fmla="*/ 1497629 w 6884782"/>
              <a:gd name="connsiteY74823" fmla="*/ 899505 h 5973007"/>
              <a:gd name="connsiteX74824" fmla="*/ 1499487 w 6884782"/>
              <a:gd name="connsiteY74824" fmla="*/ 897647 h 5973007"/>
              <a:gd name="connsiteX74825" fmla="*/ 1502275 w 6884782"/>
              <a:gd name="connsiteY74825" fmla="*/ 892535 h 5973007"/>
              <a:gd name="connsiteX74826" fmla="*/ 1507644 w 6884782"/>
              <a:gd name="connsiteY74826" fmla="*/ 888817 h 5973007"/>
              <a:gd name="connsiteX74827" fmla="*/ 1509297 w 6884782"/>
              <a:gd name="connsiteY74827" fmla="*/ 890521 h 5973007"/>
              <a:gd name="connsiteX74828" fmla="*/ 1511052 w 6884782"/>
              <a:gd name="connsiteY74828" fmla="*/ 888817 h 5973007"/>
              <a:gd name="connsiteX74829" fmla="*/ 1516111 w 6884782"/>
              <a:gd name="connsiteY74829" fmla="*/ 886184 h 5973007"/>
              <a:gd name="connsiteX74830" fmla="*/ 1520448 w 6884782"/>
              <a:gd name="connsiteY74830" fmla="*/ 888198 h 5973007"/>
              <a:gd name="connsiteX74831" fmla="*/ 1520655 w 6884782"/>
              <a:gd name="connsiteY74831" fmla="*/ 888043 h 5973007"/>
              <a:gd name="connsiteX74832" fmla="*/ 1515802 w 6884782"/>
              <a:gd name="connsiteY74832" fmla="*/ 883241 h 5973007"/>
              <a:gd name="connsiteX74833" fmla="*/ 1548121 w 6884782"/>
              <a:gd name="connsiteY74833" fmla="*/ 895788 h 5973007"/>
              <a:gd name="connsiteX74834" fmla="*/ 1548843 w 6884782"/>
              <a:gd name="connsiteY74834" fmla="*/ 897182 h 5973007"/>
              <a:gd name="connsiteX74835" fmla="*/ 1554523 w 6884782"/>
              <a:gd name="connsiteY74835" fmla="*/ 896252 h 5973007"/>
              <a:gd name="connsiteX74836" fmla="*/ 1564126 w 6884782"/>
              <a:gd name="connsiteY74836" fmla="*/ 894859 h 5973007"/>
              <a:gd name="connsiteX74837" fmla="*/ 1561751 w 6884782"/>
              <a:gd name="connsiteY74837" fmla="*/ 874567 h 5973007"/>
              <a:gd name="connsiteX74838" fmla="*/ 1566707 w 6884782"/>
              <a:gd name="connsiteY74838" fmla="*/ 874877 h 5973007"/>
              <a:gd name="connsiteX74839" fmla="*/ 1570321 w 6884782"/>
              <a:gd name="connsiteY74839" fmla="*/ 877820 h 5973007"/>
              <a:gd name="connsiteX74840" fmla="*/ 1586016 w 6884782"/>
              <a:gd name="connsiteY74840" fmla="*/ 872244 h 5973007"/>
              <a:gd name="connsiteX74841" fmla="*/ 1585603 w 6884782"/>
              <a:gd name="connsiteY74841" fmla="*/ 858768 h 5973007"/>
              <a:gd name="connsiteX74842" fmla="*/ 1583228 w 6884782"/>
              <a:gd name="connsiteY74842" fmla="*/ 857219 h 5973007"/>
              <a:gd name="connsiteX74843" fmla="*/ 1579820 w 6884782"/>
              <a:gd name="connsiteY74843" fmla="*/ 851642 h 5973007"/>
              <a:gd name="connsiteX74844" fmla="*/ 1582505 w 6884782"/>
              <a:gd name="connsiteY74844" fmla="*/ 847770 h 5973007"/>
              <a:gd name="connsiteX74845" fmla="*/ 1588804 w 6884782"/>
              <a:gd name="connsiteY74845" fmla="*/ 849628 h 5973007"/>
              <a:gd name="connsiteX74846" fmla="*/ 1592314 w 6884782"/>
              <a:gd name="connsiteY74846" fmla="*/ 853966 h 5973007"/>
              <a:gd name="connsiteX74847" fmla="*/ 1593347 w 6884782"/>
              <a:gd name="connsiteY74847" fmla="*/ 856754 h 5973007"/>
              <a:gd name="connsiteX74848" fmla="*/ 1604911 w 6884782"/>
              <a:gd name="connsiteY74848" fmla="*/ 856134 h 5973007"/>
              <a:gd name="connsiteX74849" fmla="*/ 1608319 w 6884782"/>
              <a:gd name="connsiteY74849" fmla="*/ 842968 h 5973007"/>
              <a:gd name="connsiteX74850" fmla="*/ 1628557 w 6884782"/>
              <a:gd name="connsiteY74850" fmla="*/ 844517 h 5973007"/>
              <a:gd name="connsiteX74851" fmla="*/ 1624737 w 6884782"/>
              <a:gd name="connsiteY74851" fmla="*/ 825465 h 5973007"/>
              <a:gd name="connsiteX74852" fmla="*/ 1629796 w 6884782"/>
              <a:gd name="connsiteY74852" fmla="*/ 825775 h 5973007"/>
              <a:gd name="connsiteX74853" fmla="*/ 1632997 w 6884782"/>
              <a:gd name="connsiteY74853" fmla="*/ 835378 h 5973007"/>
              <a:gd name="connsiteX74854" fmla="*/ 1657263 w 6884782"/>
              <a:gd name="connsiteY74854" fmla="*/ 833210 h 5973007"/>
              <a:gd name="connsiteX74855" fmla="*/ 1663768 w 6884782"/>
              <a:gd name="connsiteY74855" fmla="*/ 812144 h 5973007"/>
              <a:gd name="connsiteX74856" fmla="*/ 1667278 w 6884782"/>
              <a:gd name="connsiteY74856" fmla="*/ 816481 h 5973007"/>
              <a:gd name="connsiteX74857" fmla="*/ 1669757 w 6884782"/>
              <a:gd name="connsiteY74857" fmla="*/ 818030 h 5973007"/>
              <a:gd name="connsiteX74858" fmla="*/ 1673061 w 6884782"/>
              <a:gd name="connsiteY74858" fmla="*/ 806103 h 5973007"/>
              <a:gd name="connsiteX74859" fmla="*/ 1674816 w 6884782"/>
              <a:gd name="connsiteY74859" fmla="*/ 813228 h 5973007"/>
              <a:gd name="connsiteX74860" fmla="*/ 1677088 w 6884782"/>
              <a:gd name="connsiteY74860" fmla="*/ 810440 h 5973007"/>
              <a:gd name="connsiteX74861" fmla="*/ 1685038 w 6884782"/>
              <a:gd name="connsiteY74861" fmla="*/ 817410 h 5973007"/>
              <a:gd name="connsiteX74862" fmla="*/ 1687207 w 6884782"/>
              <a:gd name="connsiteY74862" fmla="*/ 822677 h 5973007"/>
              <a:gd name="connsiteX74863" fmla="*/ 1689685 w 6884782"/>
              <a:gd name="connsiteY74863" fmla="*/ 823451 h 5973007"/>
              <a:gd name="connsiteX74864" fmla="*/ 1694022 w 6884782"/>
              <a:gd name="connsiteY74864" fmla="*/ 834604 h 5973007"/>
              <a:gd name="connsiteX74865" fmla="*/ 1712505 w 6884782"/>
              <a:gd name="connsiteY74865" fmla="*/ 842659 h 5973007"/>
              <a:gd name="connsiteX74866" fmla="*/ 1719320 w 6884782"/>
              <a:gd name="connsiteY74866" fmla="*/ 817565 h 5973007"/>
              <a:gd name="connsiteX74867" fmla="*/ 1724379 w 6884782"/>
              <a:gd name="connsiteY74867" fmla="*/ 818030 h 5973007"/>
              <a:gd name="connsiteX74868" fmla="*/ 1725205 w 6884782"/>
              <a:gd name="connsiteY74868" fmla="*/ 837857 h 5973007"/>
              <a:gd name="connsiteX74869" fmla="*/ 1727993 w 6884782"/>
              <a:gd name="connsiteY74869" fmla="*/ 843278 h 5973007"/>
              <a:gd name="connsiteX74870" fmla="*/ 1728922 w 6884782"/>
              <a:gd name="connsiteY74870" fmla="*/ 841419 h 5973007"/>
              <a:gd name="connsiteX74871" fmla="*/ 1730574 w 6884782"/>
              <a:gd name="connsiteY74871" fmla="*/ 841574 h 5973007"/>
              <a:gd name="connsiteX74872" fmla="*/ 1729439 w 6884782"/>
              <a:gd name="connsiteY74872" fmla="*/ 843743 h 5973007"/>
              <a:gd name="connsiteX74873" fmla="*/ 1728922 w 6884782"/>
              <a:gd name="connsiteY74873" fmla="*/ 844982 h 5973007"/>
              <a:gd name="connsiteX74874" fmla="*/ 1728922 w 6884782"/>
              <a:gd name="connsiteY74874" fmla="*/ 845136 h 5973007"/>
              <a:gd name="connsiteX74875" fmla="*/ 1733982 w 6884782"/>
              <a:gd name="connsiteY74875" fmla="*/ 845602 h 5973007"/>
              <a:gd name="connsiteX74876" fmla="*/ 1735118 w 6884782"/>
              <a:gd name="connsiteY74876" fmla="*/ 848235 h 5973007"/>
              <a:gd name="connsiteX74877" fmla="*/ 1738835 w 6884782"/>
              <a:gd name="connsiteY74877" fmla="*/ 849938 h 5973007"/>
              <a:gd name="connsiteX74878" fmla="*/ 1741933 w 6884782"/>
              <a:gd name="connsiteY74878" fmla="*/ 859542 h 5973007"/>
              <a:gd name="connsiteX74879" fmla="*/ 1750400 w 6884782"/>
              <a:gd name="connsiteY74879" fmla="*/ 860781 h 5973007"/>
              <a:gd name="connsiteX74880" fmla="*/ 1752362 w 6884782"/>
              <a:gd name="connsiteY74880" fmla="*/ 859697 h 5973007"/>
              <a:gd name="connsiteX74881" fmla="*/ 1752362 w 6884782"/>
              <a:gd name="connsiteY74881" fmla="*/ 857993 h 5973007"/>
              <a:gd name="connsiteX74882" fmla="*/ 1751432 w 6884782"/>
              <a:gd name="connsiteY74882" fmla="*/ 857993 h 5973007"/>
              <a:gd name="connsiteX74883" fmla="*/ 1748128 w 6884782"/>
              <a:gd name="connsiteY74883" fmla="*/ 857219 h 5973007"/>
              <a:gd name="connsiteX74884" fmla="*/ 1750193 w 6884782"/>
              <a:gd name="connsiteY74884" fmla="*/ 855980 h 5973007"/>
              <a:gd name="connsiteX74885" fmla="*/ 1752465 w 6884782"/>
              <a:gd name="connsiteY74885" fmla="*/ 855825 h 5973007"/>
              <a:gd name="connsiteX74886" fmla="*/ 1752465 w 6884782"/>
              <a:gd name="connsiteY74886" fmla="*/ 853656 h 5973007"/>
              <a:gd name="connsiteX74887" fmla="*/ 1758247 w 6884782"/>
              <a:gd name="connsiteY74887" fmla="*/ 845136 h 5973007"/>
              <a:gd name="connsiteX74888" fmla="*/ 1772497 w 6884782"/>
              <a:gd name="connsiteY74888" fmla="*/ 854430 h 5973007"/>
              <a:gd name="connsiteX74889" fmla="*/ 1772703 w 6884782"/>
              <a:gd name="connsiteY74889" fmla="*/ 855825 h 5973007"/>
              <a:gd name="connsiteX74890" fmla="*/ 1773839 w 6884782"/>
              <a:gd name="connsiteY74890" fmla="*/ 855050 h 5973007"/>
              <a:gd name="connsiteX74891" fmla="*/ 1784784 w 6884782"/>
              <a:gd name="connsiteY74891" fmla="*/ 851952 h 5973007"/>
              <a:gd name="connsiteX74892" fmla="*/ 1784268 w 6884782"/>
              <a:gd name="connsiteY74892" fmla="*/ 855360 h 5973007"/>
              <a:gd name="connsiteX74893" fmla="*/ 1782512 w 6884782"/>
              <a:gd name="connsiteY74893" fmla="*/ 855205 h 5973007"/>
              <a:gd name="connsiteX74894" fmla="*/ 1776214 w 6884782"/>
              <a:gd name="connsiteY74894" fmla="*/ 858303 h 5973007"/>
              <a:gd name="connsiteX74895" fmla="*/ 1773219 w 6884782"/>
              <a:gd name="connsiteY74895" fmla="*/ 858613 h 5973007"/>
              <a:gd name="connsiteX74896" fmla="*/ 1773426 w 6884782"/>
              <a:gd name="connsiteY74896" fmla="*/ 859852 h 5973007"/>
              <a:gd name="connsiteX74897" fmla="*/ 1771567 w 6884782"/>
              <a:gd name="connsiteY74897" fmla="*/ 861711 h 5973007"/>
              <a:gd name="connsiteX74898" fmla="*/ 1774562 w 6884782"/>
              <a:gd name="connsiteY74898" fmla="*/ 861556 h 5973007"/>
              <a:gd name="connsiteX74899" fmla="*/ 1779415 w 6884782"/>
              <a:gd name="connsiteY74899" fmla="*/ 860626 h 5973007"/>
              <a:gd name="connsiteX74900" fmla="*/ 1781820 w 6884782"/>
              <a:gd name="connsiteY74900" fmla="*/ 860976 h 5973007"/>
              <a:gd name="connsiteX74901" fmla="*/ 1782512 w 6884782"/>
              <a:gd name="connsiteY74901" fmla="*/ 861865 h 5973007"/>
              <a:gd name="connsiteX74902" fmla="*/ 1771670 w 6884782"/>
              <a:gd name="connsiteY74902" fmla="*/ 862950 h 5973007"/>
              <a:gd name="connsiteX74903" fmla="*/ 1770638 w 6884782"/>
              <a:gd name="connsiteY74903" fmla="*/ 862795 h 5973007"/>
              <a:gd name="connsiteX74904" fmla="*/ 1765785 w 6884782"/>
              <a:gd name="connsiteY74904" fmla="*/ 867906 h 5973007"/>
              <a:gd name="connsiteX74905" fmla="*/ 1761241 w 6884782"/>
              <a:gd name="connsiteY74905" fmla="*/ 867132 h 5973007"/>
              <a:gd name="connsiteX74906" fmla="*/ 1761035 w 6884782"/>
              <a:gd name="connsiteY74906" fmla="*/ 867906 h 5973007"/>
              <a:gd name="connsiteX74907" fmla="*/ 1763926 w 6884782"/>
              <a:gd name="connsiteY74907" fmla="*/ 873328 h 5973007"/>
              <a:gd name="connsiteX74908" fmla="*/ 1768779 w 6884782"/>
              <a:gd name="connsiteY74908" fmla="*/ 876271 h 5973007"/>
              <a:gd name="connsiteX74909" fmla="*/ 1769915 w 6884782"/>
              <a:gd name="connsiteY74909" fmla="*/ 879059 h 5973007"/>
              <a:gd name="connsiteX74910" fmla="*/ 1800066 w 6884782"/>
              <a:gd name="connsiteY74910" fmla="*/ 884015 h 5973007"/>
              <a:gd name="connsiteX74911" fmla="*/ 1801615 w 6884782"/>
              <a:gd name="connsiteY74911" fmla="*/ 901519 h 5973007"/>
              <a:gd name="connsiteX74912" fmla="*/ 1800479 w 6884782"/>
              <a:gd name="connsiteY74912" fmla="*/ 906321 h 5973007"/>
              <a:gd name="connsiteX74913" fmla="*/ 1805126 w 6884782"/>
              <a:gd name="connsiteY74913" fmla="*/ 907095 h 5973007"/>
              <a:gd name="connsiteX74914" fmla="*/ 1808842 w 6884782"/>
              <a:gd name="connsiteY74914" fmla="*/ 902293 h 5973007"/>
              <a:gd name="connsiteX74915" fmla="*/ 1812147 w 6884782"/>
              <a:gd name="connsiteY74915" fmla="*/ 894239 h 5973007"/>
              <a:gd name="connsiteX74916" fmla="*/ 1814832 w 6884782"/>
              <a:gd name="connsiteY74916" fmla="*/ 886959 h 5973007"/>
              <a:gd name="connsiteX74917" fmla="*/ 1814832 w 6884782"/>
              <a:gd name="connsiteY74917" fmla="*/ 893774 h 5973007"/>
              <a:gd name="connsiteX74918" fmla="*/ 1813179 w 6884782"/>
              <a:gd name="connsiteY74918" fmla="*/ 901209 h 5973007"/>
              <a:gd name="connsiteX74919" fmla="*/ 1817413 w 6884782"/>
              <a:gd name="connsiteY74919" fmla="*/ 896562 h 5973007"/>
              <a:gd name="connsiteX74920" fmla="*/ 1815864 w 6884782"/>
              <a:gd name="connsiteY74920" fmla="*/ 891450 h 5973007"/>
              <a:gd name="connsiteX74921" fmla="*/ 1821750 w 6884782"/>
              <a:gd name="connsiteY74921" fmla="*/ 881692 h 5973007"/>
              <a:gd name="connsiteX74922" fmla="*/ 1822989 w 6884782"/>
              <a:gd name="connsiteY74922" fmla="*/ 881847 h 5973007"/>
              <a:gd name="connsiteX74923" fmla="*/ 1822472 w 6884782"/>
              <a:gd name="connsiteY74923" fmla="*/ 883086 h 5973007"/>
              <a:gd name="connsiteX74924" fmla="*/ 1826500 w 6884782"/>
              <a:gd name="connsiteY74924" fmla="*/ 885100 h 5973007"/>
              <a:gd name="connsiteX74925" fmla="*/ 1826706 w 6884782"/>
              <a:gd name="connsiteY74925" fmla="*/ 885410 h 5973007"/>
              <a:gd name="connsiteX74926" fmla="*/ 1828978 w 6884782"/>
              <a:gd name="connsiteY74926" fmla="*/ 882312 h 5973007"/>
              <a:gd name="connsiteX74927" fmla="*/ 1833108 w 6884782"/>
              <a:gd name="connsiteY74927" fmla="*/ 874412 h 5973007"/>
              <a:gd name="connsiteX74928" fmla="*/ 1836412 w 6884782"/>
              <a:gd name="connsiteY74928" fmla="*/ 869765 h 5973007"/>
              <a:gd name="connsiteX74929" fmla="*/ 1847770 w 6884782"/>
              <a:gd name="connsiteY74929" fmla="*/ 859542 h 5973007"/>
              <a:gd name="connsiteX74930" fmla="*/ 1849423 w 6884782"/>
              <a:gd name="connsiteY74930" fmla="*/ 851487 h 5973007"/>
              <a:gd name="connsiteX74931" fmla="*/ 1850352 w 6884782"/>
              <a:gd name="connsiteY74931" fmla="*/ 850403 h 5973007"/>
              <a:gd name="connsiteX74932" fmla="*/ 1848390 w 6884782"/>
              <a:gd name="connsiteY74932" fmla="*/ 848235 h 5973007"/>
              <a:gd name="connsiteX74933" fmla="*/ 1842917 w 6884782"/>
              <a:gd name="connsiteY74933" fmla="*/ 834759 h 5973007"/>
              <a:gd name="connsiteX74934" fmla="*/ 1850765 w 6884782"/>
              <a:gd name="connsiteY74934" fmla="*/ 838631 h 5973007"/>
              <a:gd name="connsiteX74935" fmla="*/ 1856031 w 6884782"/>
              <a:gd name="connsiteY74935" fmla="*/ 844207 h 5973007"/>
              <a:gd name="connsiteX74936" fmla="*/ 1862846 w 6884782"/>
              <a:gd name="connsiteY74936" fmla="*/ 835533 h 5973007"/>
              <a:gd name="connsiteX74937" fmla="*/ 1866666 w 6884782"/>
              <a:gd name="connsiteY74937" fmla="*/ 830422 h 5973007"/>
              <a:gd name="connsiteX74938" fmla="*/ 1869867 w 6884782"/>
              <a:gd name="connsiteY74938" fmla="*/ 825310 h 5973007"/>
              <a:gd name="connsiteX74939" fmla="*/ 1875340 w 6884782"/>
              <a:gd name="connsiteY74939" fmla="*/ 813383 h 5973007"/>
              <a:gd name="connsiteX74940" fmla="*/ 1879676 w 6884782"/>
              <a:gd name="connsiteY74940" fmla="*/ 813847 h 5973007"/>
              <a:gd name="connsiteX74941" fmla="*/ 1874204 w 6884782"/>
              <a:gd name="connsiteY74941" fmla="*/ 817875 h 5973007"/>
              <a:gd name="connsiteX74942" fmla="*/ 1888350 w 6884782"/>
              <a:gd name="connsiteY74942" fmla="*/ 808736 h 5973007"/>
              <a:gd name="connsiteX74943" fmla="*/ 1884013 w 6884782"/>
              <a:gd name="connsiteY74943" fmla="*/ 808116 h 5973007"/>
              <a:gd name="connsiteX74944" fmla="*/ 1900225 w 6884782"/>
              <a:gd name="connsiteY74944" fmla="*/ 792782 h 5973007"/>
              <a:gd name="connsiteX74945" fmla="*/ 1902290 w 6884782"/>
              <a:gd name="connsiteY74945" fmla="*/ 791852 h 5973007"/>
              <a:gd name="connsiteX74946" fmla="*/ 1902393 w 6884782"/>
              <a:gd name="connsiteY74946" fmla="*/ 791852 h 5973007"/>
              <a:gd name="connsiteX74947" fmla="*/ 1908278 w 6884782"/>
              <a:gd name="connsiteY74947" fmla="*/ 786121 h 5973007"/>
              <a:gd name="connsiteX74948" fmla="*/ 1909931 w 6884782"/>
              <a:gd name="connsiteY74948" fmla="*/ 786741 h 5973007"/>
              <a:gd name="connsiteX74949" fmla="*/ 1910447 w 6884782"/>
              <a:gd name="connsiteY74949" fmla="*/ 785966 h 5973007"/>
              <a:gd name="connsiteX74950" fmla="*/ 1906626 w 6884782"/>
              <a:gd name="connsiteY74950" fmla="*/ 785966 h 5973007"/>
              <a:gd name="connsiteX74951" fmla="*/ 1918604 w 6884782"/>
              <a:gd name="connsiteY74951" fmla="*/ 772180 h 5973007"/>
              <a:gd name="connsiteX74952" fmla="*/ 1927174 w 6884782"/>
              <a:gd name="connsiteY74952" fmla="*/ 771716 h 5973007"/>
              <a:gd name="connsiteX74953" fmla="*/ 1936880 w 6884782"/>
              <a:gd name="connsiteY74953" fmla="*/ 759169 h 5973007"/>
              <a:gd name="connsiteX74954" fmla="*/ 1943386 w 6884782"/>
              <a:gd name="connsiteY74954" fmla="*/ 752819 h 5973007"/>
              <a:gd name="connsiteX74955" fmla="*/ 1950407 w 6884782"/>
              <a:gd name="connsiteY74955" fmla="*/ 746623 h 5973007"/>
              <a:gd name="connsiteX74956" fmla="*/ 1965586 w 6884782"/>
              <a:gd name="connsiteY74956" fmla="*/ 734541 h 5973007"/>
              <a:gd name="connsiteX74957" fmla="*/ 1981177 w 6884782"/>
              <a:gd name="connsiteY74957" fmla="*/ 725402 h 5973007"/>
              <a:gd name="connsiteX74958" fmla="*/ 1984998 w 6884782"/>
              <a:gd name="connsiteY74958" fmla="*/ 719516 h 5973007"/>
              <a:gd name="connsiteX74959" fmla="*/ 1980351 w 6884782"/>
              <a:gd name="connsiteY74959" fmla="*/ 719361 h 5973007"/>
              <a:gd name="connsiteX74960" fmla="*/ 1980867 w 6884782"/>
              <a:gd name="connsiteY74960" fmla="*/ 702787 h 5973007"/>
              <a:gd name="connsiteX74961" fmla="*/ 1988818 w 6884782"/>
              <a:gd name="connsiteY74961" fmla="*/ 703716 h 5973007"/>
              <a:gd name="connsiteX74962" fmla="*/ 1988612 w 6884782"/>
              <a:gd name="connsiteY74962" fmla="*/ 716573 h 5973007"/>
              <a:gd name="connsiteX74963" fmla="*/ 1987992 w 6884782"/>
              <a:gd name="connsiteY74963" fmla="*/ 717192 h 5973007"/>
              <a:gd name="connsiteX74964" fmla="*/ 1992535 w 6884782"/>
              <a:gd name="connsiteY74964" fmla="*/ 714714 h 5973007"/>
              <a:gd name="connsiteX74965" fmla="*/ 2005546 w 6884782"/>
              <a:gd name="connsiteY74965" fmla="*/ 705575 h 5973007"/>
              <a:gd name="connsiteX74966" fmla="*/ 2014219 w 6884782"/>
              <a:gd name="connsiteY74966" fmla="*/ 707279 h 5973007"/>
              <a:gd name="connsiteX74967" fmla="*/ 2014735 w 6884782"/>
              <a:gd name="connsiteY74967" fmla="*/ 704956 h 5973007"/>
              <a:gd name="connsiteX74968" fmla="*/ 2015252 w 6884782"/>
              <a:gd name="connsiteY74968" fmla="*/ 704956 h 5973007"/>
              <a:gd name="connsiteX74969" fmla="*/ 2020621 w 6884782"/>
              <a:gd name="connsiteY74969" fmla="*/ 701548 h 5973007"/>
              <a:gd name="connsiteX74970" fmla="*/ 2021240 w 6884782"/>
              <a:gd name="connsiteY74970" fmla="*/ 701548 h 5973007"/>
              <a:gd name="connsiteX74971" fmla="*/ 2021240 w 6884782"/>
              <a:gd name="connsiteY74971" fmla="*/ 700928 h 5973007"/>
              <a:gd name="connsiteX74972" fmla="*/ 2021240 w 6884782"/>
              <a:gd name="connsiteY74972" fmla="*/ 700464 h 5973007"/>
              <a:gd name="connsiteX74973" fmla="*/ 2023925 w 6884782"/>
              <a:gd name="connsiteY74973" fmla="*/ 699844 h 5973007"/>
              <a:gd name="connsiteX74974" fmla="*/ 2021757 w 6884782"/>
              <a:gd name="connsiteY74974" fmla="*/ 695817 h 5973007"/>
              <a:gd name="connsiteX74975" fmla="*/ 2026094 w 6884782"/>
              <a:gd name="connsiteY74975" fmla="*/ 690086 h 5973007"/>
              <a:gd name="connsiteX74976" fmla="*/ 2027126 w 6884782"/>
              <a:gd name="connsiteY74976" fmla="*/ 685593 h 5973007"/>
              <a:gd name="connsiteX74977" fmla="*/ 2027642 w 6884782"/>
              <a:gd name="connsiteY74977" fmla="*/ 683889 h 5973007"/>
              <a:gd name="connsiteX74978" fmla="*/ 2028262 w 6884782"/>
              <a:gd name="connsiteY74978" fmla="*/ 683270 h 5973007"/>
              <a:gd name="connsiteX74979" fmla="*/ 2030430 w 6884782"/>
              <a:gd name="connsiteY74979" fmla="*/ 681566 h 5973007"/>
              <a:gd name="connsiteX74980" fmla="*/ 2030430 w 6884782"/>
              <a:gd name="connsiteY74980" fmla="*/ 684354 h 5973007"/>
              <a:gd name="connsiteX74981" fmla="*/ 2029914 w 6884782"/>
              <a:gd name="connsiteY74981" fmla="*/ 685593 h 5973007"/>
              <a:gd name="connsiteX74982" fmla="*/ 2029914 w 6884782"/>
              <a:gd name="connsiteY74982" fmla="*/ 686213 h 5973007"/>
              <a:gd name="connsiteX74983" fmla="*/ 2028778 w 6884782"/>
              <a:gd name="connsiteY74983" fmla="*/ 688382 h 5973007"/>
              <a:gd name="connsiteX74984" fmla="*/ 2027126 w 6884782"/>
              <a:gd name="connsiteY74984" fmla="*/ 693029 h 5973007"/>
              <a:gd name="connsiteX74985" fmla="*/ 2031979 w 6884782"/>
              <a:gd name="connsiteY74985" fmla="*/ 693029 h 5973007"/>
              <a:gd name="connsiteX74986" fmla="*/ 2032599 w 6884782"/>
              <a:gd name="connsiteY74986" fmla="*/ 693029 h 5973007"/>
              <a:gd name="connsiteX74987" fmla="*/ 2033115 w 6884782"/>
              <a:gd name="connsiteY74987" fmla="*/ 693029 h 5973007"/>
              <a:gd name="connsiteX74988" fmla="*/ 2033631 w 6884782"/>
              <a:gd name="connsiteY74988" fmla="*/ 692409 h 5973007"/>
              <a:gd name="connsiteX74989" fmla="*/ 2036316 w 6884782"/>
              <a:gd name="connsiteY74989" fmla="*/ 691325 h 5973007"/>
              <a:gd name="connsiteX74990" fmla="*/ 2040653 w 6884782"/>
              <a:gd name="connsiteY74990" fmla="*/ 687762 h 5973007"/>
              <a:gd name="connsiteX74991" fmla="*/ 2040653 w 6884782"/>
              <a:gd name="connsiteY74991" fmla="*/ 691789 h 5973007"/>
              <a:gd name="connsiteX74992" fmla="*/ 2061201 w 6884782"/>
              <a:gd name="connsiteY74992" fmla="*/ 680482 h 5973007"/>
              <a:gd name="connsiteX74993" fmla="*/ 2060169 w 6884782"/>
              <a:gd name="connsiteY74993" fmla="*/ 677074 h 5973007"/>
              <a:gd name="connsiteX74994" fmla="*/ 2062233 w 6884782"/>
              <a:gd name="connsiteY74994" fmla="*/ 676455 h 5973007"/>
              <a:gd name="connsiteX74995" fmla="*/ 2064402 w 6884782"/>
              <a:gd name="connsiteY74995" fmla="*/ 675835 h 5973007"/>
              <a:gd name="connsiteX74996" fmla="*/ 2065554 w 6884782"/>
              <a:gd name="connsiteY74996" fmla="*/ 675457 h 5973007"/>
              <a:gd name="connsiteX74997" fmla="*/ 2069531 w 6884782"/>
              <a:gd name="connsiteY74997" fmla="*/ 667383 h 5973007"/>
              <a:gd name="connsiteX74998" fmla="*/ 2079562 w 6884782"/>
              <a:gd name="connsiteY74998" fmla="*/ 661551 h 5973007"/>
              <a:gd name="connsiteX74999" fmla="*/ 2080415 w 6884782"/>
              <a:gd name="connsiteY74999" fmla="*/ 652730 h 5973007"/>
              <a:gd name="connsiteX75000" fmla="*/ 2086178 w 6884782"/>
              <a:gd name="connsiteY75000" fmla="*/ 647750 h 5973007"/>
              <a:gd name="connsiteX75001" fmla="*/ 2091300 w 6884782"/>
              <a:gd name="connsiteY75001" fmla="*/ 646043 h 5973007"/>
              <a:gd name="connsiteX75002" fmla="*/ 2105812 w 6884782"/>
              <a:gd name="connsiteY75002" fmla="*/ 656287 h 5973007"/>
              <a:gd name="connsiteX75003" fmla="*/ 2106690 w 6884782"/>
              <a:gd name="connsiteY75003" fmla="*/ 658976 h 5973007"/>
              <a:gd name="connsiteX75004" fmla="*/ 2111383 w 6884782"/>
              <a:gd name="connsiteY75004" fmla="*/ 657712 h 5973007"/>
              <a:gd name="connsiteX75005" fmla="*/ 2119540 w 6884782"/>
              <a:gd name="connsiteY75005" fmla="*/ 655854 h 5973007"/>
              <a:gd name="connsiteX75006" fmla="*/ 2119540 w 6884782"/>
              <a:gd name="connsiteY75006" fmla="*/ 651361 h 5973007"/>
              <a:gd name="connsiteX75007" fmla="*/ 2134100 w 6884782"/>
              <a:gd name="connsiteY75007" fmla="*/ 647954 h 5973007"/>
              <a:gd name="connsiteX75008" fmla="*/ 2135365 w 6884782"/>
              <a:gd name="connsiteY75008" fmla="*/ 645901 h 5973007"/>
              <a:gd name="connsiteX75009" fmla="*/ 2140056 w 6884782"/>
              <a:gd name="connsiteY75009" fmla="*/ 646688 h 5973007"/>
              <a:gd name="connsiteX75010" fmla="*/ 2139960 w 6884782"/>
              <a:gd name="connsiteY75010" fmla="*/ 634235 h 5973007"/>
              <a:gd name="connsiteX75011" fmla="*/ 2145457 w 6884782"/>
              <a:gd name="connsiteY75011" fmla="*/ 642226 h 5973007"/>
              <a:gd name="connsiteX75012" fmla="*/ 2145458 w 6884782"/>
              <a:gd name="connsiteY75012" fmla="*/ 642222 h 5973007"/>
              <a:gd name="connsiteX75013" fmla="*/ 2150931 w 6884782"/>
              <a:gd name="connsiteY75013" fmla="*/ 647954 h 5973007"/>
              <a:gd name="connsiteX75014" fmla="*/ 2165490 w 6884782"/>
              <a:gd name="connsiteY75014" fmla="*/ 639434 h 5973007"/>
              <a:gd name="connsiteX75015" fmla="*/ 2159501 w 6884782"/>
              <a:gd name="connsiteY75015" fmla="*/ 643307 h 5973007"/>
              <a:gd name="connsiteX75016" fmla="*/ 2171892 w 6884782"/>
              <a:gd name="connsiteY75016" fmla="*/ 643926 h 5973007"/>
              <a:gd name="connsiteX75017" fmla="*/ 2172511 w 6884782"/>
              <a:gd name="connsiteY75017" fmla="*/ 638195 h 5973007"/>
              <a:gd name="connsiteX75018" fmla="*/ 2185521 w 6884782"/>
              <a:gd name="connsiteY75018" fmla="*/ 639899 h 5973007"/>
              <a:gd name="connsiteX75019" fmla="*/ 2185521 w 6884782"/>
              <a:gd name="connsiteY75019" fmla="*/ 635407 h 5973007"/>
              <a:gd name="connsiteX75020" fmla="*/ 2197396 w 6884782"/>
              <a:gd name="connsiteY75020" fmla="*/ 637111 h 5973007"/>
              <a:gd name="connsiteX75021" fmla="*/ 2210819 w 6884782"/>
              <a:gd name="connsiteY75021" fmla="*/ 637111 h 5973007"/>
              <a:gd name="connsiteX75022" fmla="*/ 2207102 w 6884782"/>
              <a:gd name="connsiteY75022" fmla="*/ 638815 h 5973007"/>
              <a:gd name="connsiteX75023" fmla="*/ 2213504 w 6884782"/>
              <a:gd name="connsiteY75023" fmla="*/ 637576 h 5973007"/>
              <a:gd name="connsiteX75024" fmla="*/ 2210303 w 6884782"/>
              <a:gd name="connsiteY75024" fmla="*/ 636027 h 5973007"/>
              <a:gd name="connsiteX75025" fmla="*/ 2216808 w 6884782"/>
              <a:gd name="connsiteY75025" fmla="*/ 635407 h 5973007"/>
              <a:gd name="connsiteX75026" fmla="*/ 2225378 w 6884782"/>
              <a:gd name="connsiteY75026" fmla="*/ 636491 h 5973007"/>
              <a:gd name="connsiteX75027" fmla="*/ 2225998 w 6884782"/>
              <a:gd name="connsiteY75027" fmla="*/ 643307 h 5973007"/>
              <a:gd name="connsiteX75028" fmla="*/ 2228786 w 6884782"/>
              <a:gd name="connsiteY75028" fmla="*/ 638505 h 5973007"/>
              <a:gd name="connsiteX75029" fmla="*/ 2229818 w 6884782"/>
              <a:gd name="connsiteY75029" fmla="*/ 638815 h 5973007"/>
              <a:gd name="connsiteX75030" fmla="*/ 2229818 w 6884782"/>
              <a:gd name="connsiteY75030" fmla="*/ 642222 h 5973007"/>
              <a:gd name="connsiteX75031" fmla="*/ 2229612 w 6884782"/>
              <a:gd name="connsiteY75031" fmla="*/ 642377 h 5973007"/>
              <a:gd name="connsiteX75032" fmla="*/ 2229199 w 6884782"/>
              <a:gd name="connsiteY75032" fmla="*/ 647954 h 5973007"/>
              <a:gd name="connsiteX75033" fmla="*/ 2229818 w 6884782"/>
              <a:gd name="connsiteY75033" fmla="*/ 647954 h 5973007"/>
              <a:gd name="connsiteX75034" fmla="*/ 2229818 w 6884782"/>
              <a:gd name="connsiteY75034" fmla="*/ 657752 h 5973007"/>
              <a:gd name="connsiteX75035" fmla="*/ 2237839 w 6884782"/>
              <a:gd name="connsiteY75035" fmla="*/ 646310 h 5973007"/>
              <a:gd name="connsiteX75036" fmla="*/ 2266626 w 6884782"/>
              <a:gd name="connsiteY75036" fmla="*/ 611448 h 5973007"/>
              <a:gd name="connsiteX75037" fmla="*/ 2257127 w 6884782"/>
              <a:gd name="connsiteY75037" fmla="*/ 601798 h 5973007"/>
              <a:gd name="connsiteX75038" fmla="*/ 2259261 w 6884782"/>
              <a:gd name="connsiteY75038" fmla="*/ 594684 h 5973007"/>
              <a:gd name="connsiteX75039" fmla="*/ 2260542 w 6884782"/>
              <a:gd name="connsiteY75039" fmla="*/ 595253 h 5973007"/>
              <a:gd name="connsiteX75040" fmla="*/ 2254993 w 6884782"/>
              <a:gd name="connsiteY75040" fmla="*/ 589989 h 5973007"/>
              <a:gd name="connsiteX75041" fmla="*/ 2240053 w 6884782"/>
              <a:gd name="connsiteY75041" fmla="*/ 559544 h 5973007"/>
              <a:gd name="connsiteX75042" fmla="*/ 2268838 w 6884782"/>
              <a:gd name="connsiteY75042" fmla="*/ 578056 h 5973007"/>
              <a:gd name="connsiteX75043" fmla="*/ 2275059 w 6884782"/>
              <a:gd name="connsiteY75043" fmla="*/ 601235 h 5973007"/>
              <a:gd name="connsiteX75044" fmla="*/ 2289985 w 6884782"/>
              <a:gd name="connsiteY75044" fmla="*/ 583159 h 5973007"/>
              <a:gd name="connsiteX75045" fmla="*/ 2314817 w 6884782"/>
              <a:gd name="connsiteY75045" fmla="*/ 558514 h 5973007"/>
              <a:gd name="connsiteX75046" fmla="*/ 2330283 w 6884782"/>
              <a:gd name="connsiteY75046" fmla="*/ 548921 h 5973007"/>
              <a:gd name="connsiteX75047" fmla="*/ 2329903 w 6884782"/>
              <a:gd name="connsiteY75047" fmla="*/ 548447 h 5973007"/>
              <a:gd name="connsiteX75048" fmla="*/ 2329690 w 6884782"/>
              <a:gd name="connsiteY75048" fmla="*/ 544321 h 5973007"/>
              <a:gd name="connsiteX75049" fmla="*/ 2331824 w 6884782"/>
              <a:gd name="connsiteY75049" fmla="*/ 541618 h 5973007"/>
              <a:gd name="connsiteX75050" fmla="*/ 2337136 w 6884782"/>
              <a:gd name="connsiteY75050" fmla="*/ 544671 h 5973007"/>
              <a:gd name="connsiteX75051" fmla="*/ 2342132 w 6884782"/>
              <a:gd name="connsiteY75051" fmla="*/ 541572 h 5973007"/>
              <a:gd name="connsiteX75052" fmla="*/ 2357476 w 6884782"/>
              <a:gd name="connsiteY75052" fmla="*/ 534230 h 5973007"/>
              <a:gd name="connsiteX75053" fmla="*/ 2357648 w 6884782"/>
              <a:gd name="connsiteY75053" fmla="*/ 533224 h 5973007"/>
              <a:gd name="connsiteX75054" fmla="*/ 2402039 w 6884782"/>
              <a:gd name="connsiteY75054" fmla="*/ 473756 h 5973007"/>
              <a:gd name="connsiteX75055" fmla="*/ 2451339 w 6884782"/>
              <a:gd name="connsiteY75055" fmla="*/ 458675 h 5973007"/>
              <a:gd name="connsiteX75056" fmla="*/ 2457528 w 6884782"/>
              <a:gd name="connsiteY75056" fmla="*/ 459671 h 5973007"/>
              <a:gd name="connsiteX75057" fmla="*/ 2459235 w 6884782"/>
              <a:gd name="connsiteY75057" fmla="*/ 458248 h 5973007"/>
              <a:gd name="connsiteX75058" fmla="*/ 2465425 w 6884782"/>
              <a:gd name="connsiteY75058" fmla="*/ 455403 h 5973007"/>
              <a:gd name="connsiteX75059" fmla="*/ 2282737 w 6884782"/>
              <a:gd name="connsiteY75059" fmla="*/ 453980 h 5973007"/>
              <a:gd name="connsiteX75060" fmla="*/ 2282097 w 6884782"/>
              <a:gd name="connsiteY75060" fmla="*/ 455118 h 5973007"/>
              <a:gd name="connsiteX75061" fmla="*/ 2283591 w 6884782"/>
              <a:gd name="connsiteY75061" fmla="*/ 454549 h 5973007"/>
              <a:gd name="connsiteX75062" fmla="*/ 2278896 w 6884782"/>
              <a:gd name="connsiteY75062" fmla="*/ 470483 h 5973007"/>
              <a:gd name="connsiteX75063" fmla="*/ 2277829 w 6884782"/>
              <a:gd name="connsiteY75063" fmla="*/ 469914 h 5973007"/>
              <a:gd name="connsiteX75064" fmla="*/ 2280390 w 6884782"/>
              <a:gd name="connsiteY75064" fmla="*/ 457679 h 5973007"/>
              <a:gd name="connsiteX75065" fmla="*/ 2282737 w 6884782"/>
              <a:gd name="connsiteY75065" fmla="*/ 453980 h 5973007"/>
              <a:gd name="connsiteX75066" fmla="*/ 3010712 w 6884782"/>
              <a:gd name="connsiteY75066" fmla="*/ 453696 h 5973007"/>
              <a:gd name="connsiteX75067" fmla="*/ 3016475 w 6884782"/>
              <a:gd name="connsiteY75067" fmla="*/ 454834 h 5973007"/>
              <a:gd name="connsiteX75068" fmla="*/ 3003242 w 6884782"/>
              <a:gd name="connsiteY75068" fmla="*/ 468491 h 5973007"/>
              <a:gd name="connsiteX75069" fmla="*/ 3010712 w 6884782"/>
              <a:gd name="connsiteY75069" fmla="*/ 453696 h 5973007"/>
              <a:gd name="connsiteX75070" fmla="*/ 2605855 w 6884782"/>
              <a:gd name="connsiteY75070" fmla="*/ 452700 h 5973007"/>
              <a:gd name="connsiteX75071" fmla="*/ 2610337 w 6884782"/>
              <a:gd name="connsiteY75071" fmla="*/ 454407 h 5973007"/>
              <a:gd name="connsiteX75072" fmla="*/ 2610337 w 6884782"/>
              <a:gd name="connsiteY75072" fmla="*/ 458106 h 5973007"/>
              <a:gd name="connsiteX75073" fmla="*/ 2603721 w 6884782"/>
              <a:gd name="connsiteY75073" fmla="*/ 457964 h 5973007"/>
              <a:gd name="connsiteX75074" fmla="*/ 2605855 w 6884782"/>
              <a:gd name="connsiteY75074" fmla="*/ 452700 h 5973007"/>
              <a:gd name="connsiteX75075" fmla="*/ 2767840 w 6884782"/>
              <a:gd name="connsiteY75075" fmla="*/ 449854 h 5973007"/>
              <a:gd name="connsiteX75076" fmla="*/ 2771042 w 6884782"/>
              <a:gd name="connsiteY75076" fmla="*/ 456541 h 5973007"/>
              <a:gd name="connsiteX75077" fmla="*/ 2768694 w 6884782"/>
              <a:gd name="connsiteY75077" fmla="*/ 468349 h 5973007"/>
              <a:gd name="connsiteX75078" fmla="*/ 2767200 w 6884782"/>
              <a:gd name="connsiteY75078" fmla="*/ 470483 h 5973007"/>
              <a:gd name="connsiteX75079" fmla="*/ 2766987 w 6884782"/>
              <a:gd name="connsiteY75079" fmla="*/ 471337 h 5973007"/>
              <a:gd name="connsiteX75080" fmla="*/ 2765706 w 6884782"/>
              <a:gd name="connsiteY75080" fmla="*/ 472618 h 5973007"/>
              <a:gd name="connsiteX75081" fmla="*/ 2762292 w 6884782"/>
              <a:gd name="connsiteY75081" fmla="*/ 477881 h 5973007"/>
              <a:gd name="connsiteX75082" fmla="*/ 2751407 w 6884782"/>
              <a:gd name="connsiteY75082" fmla="*/ 473898 h 5973007"/>
              <a:gd name="connsiteX75083" fmla="*/ 2767840 w 6884782"/>
              <a:gd name="connsiteY75083" fmla="*/ 449854 h 5973007"/>
              <a:gd name="connsiteX75084" fmla="*/ 2801561 w 6884782"/>
              <a:gd name="connsiteY75084" fmla="*/ 449712 h 5973007"/>
              <a:gd name="connsiteX75085" fmla="*/ 2811164 w 6884782"/>
              <a:gd name="connsiteY75085" fmla="*/ 460098 h 5973007"/>
              <a:gd name="connsiteX75086" fmla="*/ 2800067 w 6884782"/>
              <a:gd name="connsiteY75086" fmla="*/ 466500 h 5973007"/>
              <a:gd name="connsiteX75087" fmla="*/ 2799213 w 6884782"/>
              <a:gd name="connsiteY75087" fmla="*/ 463797 h 5973007"/>
              <a:gd name="connsiteX75088" fmla="*/ 2798573 w 6884782"/>
              <a:gd name="connsiteY75088" fmla="*/ 464508 h 5973007"/>
              <a:gd name="connsiteX75089" fmla="*/ 2792810 w 6884782"/>
              <a:gd name="connsiteY75089" fmla="*/ 466073 h 5973007"/>
              <a:gd name="connsiteX75090" fmla="*/ 2796652 w 6884782"/>
              <a:gd name="connsiteY75090" fmla="*/ 462659 h 5973007"/>
              <a:gd name="connsiteX75091" fmla="*/ 2798360 w 6884782"/>
              <a:gd name="connsiteY75091" fmla="*/ 461378 h 5973007"/>
              <a:gd name="connsiteX75092" fmla="*/ 2797293 w 6884782"/>
              <a:gd name="connsiteY75092" fmla="*/ 458106 h 5973007"/>
              <a:gd name="connsiteX75093" fmla="*/ 2801561 w 6884782"/>
              <a:gd name="connsiteY75093" fmla="*/ 449712 h 5973007"/>
              <a:gd name="connsiteX75094" fmla="*/ 2271426 w 6884782"/>
              <a:gd name="connsiteY75094" fmla="*/ 446582 h 5973007"/>
              <a:gd name="connsiteX75095" fmla="*/ 2275695 w 6884782"/>
              <a:gd name="connsiteY75095" fmla="*/ 449001 h 5973007"/>
              <a:gd name="connsiteX75096" fmla="*/ 2274628 w 6884782"/>
              <a:gd name="connsiteY75096" fmla="*/ 451135 h 5973007"/>
              <a:gd name="connsiteX75097" fmla="*/ 2272707 w 6884782"/>
              <a:gd name="connsiteY75097" fmla="*/ 469914 h 5973007"/>
              <a:gd name="connsiteX75098" fmla="*/ 2271426 w 6884782"/>
              <a:gd name="connsiteY75098" fmla="*/ 446582 h 5973007"/>
              <a:gd name="connsiteX75099" fmla="*/ 3112940 w 6884782"/>
              <a:gd name="connsiteY75099" fmla="*/ 446155 h 5973007"/>
              <a:gd name="connsiteX75100" fmla="*/ 3118702 w 6884782"/>
              <a:gd name="connsiteY75100" fmla="*/ 449712 h 5973007"/>
              <a:gd name="connsiteX75101" fmla="*/ 3095653 w 6884782"/>
              <a:gd name="connsiteY75101" fmla="*/ 458533 h 5973007"/>
              <a:gd name="connsiteX75102" fmla="*/ 3112940 w 6884782"/>
              <a:gd name="connsiteY75102" fmla="*/ 446155 h 5973007"/>
              <a:gd name="connsiteX75103" fmla="*/ 2590062 w 6884782"/>
              <a:gd name="connsiteY75103" fmla="*/ 444448 h 5973007"/>
              <a:gd name="connsiteX75104" fmla="*/ 2594330 w 6884782"/>
              <a:gd name="connsiteY75104" fmla="*/ 448716 h 5973007"/>
              <a:gd name="connsiteX75105" fmla="*/ 2588354 w 6884782"/>
              <a:gd name="connsiteY75105" fmla="*/ 461662 h 5973007"/>
              <a:gd name="connsiteX75106" fmla="*/ 2579604 w 6884782"/>
              <a:gd name="connsiteY75106" fmla="*/ 455688 h 5973007"/>
              <a:gd name="connsiteX75107" fmla="*/ 2582592 w 6884782"/>
              <a:gd name="connsiteY75107" fmla="*/ 446582 h 5973007"/>
              <a:gd name="connsiteX75108" fmla="*/ 2590062 w 6884782"/>
              <a:gd name="connsiteY75108" fmla="*/ 444448 h 5973007"/>
              <a:gd name="connsiteX75109" fmla="*/ 2962906 w 6884782"/>
              <a:gd name="connsiteY75109" fmla="*/ 444022 h 5973007"/>
              <a:gd name="connsiteX75110" fmla="*/ 2969096 w 6884782"/>
              <a:gd name="connsiteY75110" fmla="*/ 450566 h 5973007"/>
              <a:gd name="connsiteX75111" fmla="*/ 2968241 w 6884782"/>
              <a:gd name="connsiteY75111" fmla="*/ 453553 h 5973007"/>
              <a:gd name="connsiteX75112" fmla="*/ 2962906 w 6884782"/>
              <a:gd name="connsiteY75112" fmla="*/ 444022 h 5973007"/>
              <a:gd name="connsiteX75113" fmla="*/ 2757383 w 6884782"/>
              <a:gd name="connsiteY75113" fmla="*/ 442314 h 5973007"/>
              <a:gd name="connsiteX75114" fmla="*/ 2765066 w 6884782"/>
              <a:gd name="connsiteY75114" fmla="*/ 448432 h 5973007"/>
              <a:gd name="connsiteX75115" fmla="*/ 2757810 w 6884782"/>
              <a:gd name="connsiteY75115" fmla="*/ 443879 h 5973007"/>
              <a:gd name="connsiteX75116" fmla="*/ 2757383 w 6884782"/>
              <a:gd name="connsiteY75116" fmla="*/ 442314 h 5973007"/>
              <a:gd name="connsiteX75117" fmla="*/ 2555488 w 6884782"/>
              <a:gd name="connsiteY75117" fmla="*/ 442314 h 5973007"/>
              <a:gd name="connsiteX75118" fmla="*/ 2574269 w 6884782"/>
              <a:gd name="connsiteY75118" fmla="*/ 453553 h 5973007"/>
              <a:gd name="connsiteX75119" fmla="*/ 2560396 w 6884782"/>
              <a:gd name="connsiteY75119" fmla="*/ 452273 h 5973007"/>
              <a:gd name="connsiteX75120" fmla="*/ 2548872 w 6884782"/>
              <a:gd name="connsiteY75120" fmla="*/ 443025 h 5973007"/>
              <a:gd name="connsiteX75121" fmla="*/ 2555488 w 6884782"/>
              <a:gd name="connsiteY75121" fmla="*/ 442314 h 5973007"/>
              <a:gd name="connsiteX75122" fmla="*/ 2389020 w 6884782"/>
              <a:gd name="connsiteY75122" fmla="*/ 441176 h 5973007"/>
              <a:gd name="connsiteX75123" fmla="*/ 2396277 w 6884782"/>
              <a:gd name="connsiteY75123" fmla="*/ 441887 h 5973007"/>
              <a:gd name="connsiteX75124" fmla="*/ 2395423 w 6884782"/>
              <a:gd name="connsiteY75124" fmla="*/ 456114 h 5973007"/>
              <a:gd name="connsiteX75125" fmla="*/ 2390514 w 6884782"/>
              <a:gd name="connsiteY75125" fmla="*/ 456114 h 5973007"/>
              <a:gd name="connsiteX75126" fmla="*/ 2389020 w 6884782"/>
              <a:gd name="connsiteY75126" fmla="*/ 441176 h 5973007"/>
              <a:gd name="connsiteX75127" fmla="*/ 3291146 w 6884782"/>
              <a:gd name="connsiteY75127" fmla="*/ 439042 h 5973007"/>
              <a:gd name="connsiteX75128" fmla="*/ 3292640 w 6884782"/>
              <a:gd name="connsiteY75128" fmla="*/ 441318 h 5973007"/>
              <a:gd name="connsiteX75129" fmla="*/ 3288585 w 6884782"/>
              <a:gd name="connsiteY75129" fmla="*/ 445159 h 5973007"/>
              <a:gd name="connsiteX75130" fmla="*/ 3288798 w 6884782"/>
              <a:gd name="connsiteY75130" fmla="*/ 446298 h 5973007"/>
              <a:gd name="connsiteX75131" fmla="*/ 3291359 w 6884782"/>
              <a:gd name="connsiteY75131" fmla="*/ 448716 h 5973007"/>
              <a:gd name="connsiteX75132" fmla="*/ 3293066 w 6884782"/>
              <a:gd name="connsiteY75132" fmla="*/ 460525 h 5973007"/>
              <a:gd name="connsiteX75133" fmla="*/ 3280902 w 6884782"/>
              <a:gd name="connsiteY75133" fmla="*/ 464792 h 5973007"/>
              <a:gd name="connsiteX75134" fmla="*/ 3274712 w 6884782"/>
              <a:gd name="connsiteY75134" fmla="*/ 461662 h 5973007"/>
              <a:gd name="connsiteX75135" fmla="*/ 3273859 w 6884782"/>
              <a:gd name="connsiteY75135" fmla="*/ 447294 h 5973007"/>
              <a:gd name="connsiteX75136" fmla="*/ 3286024 w 6884782"/>
              <a:gd name="connsiteY75136" fmla="*/ 444164 h 5973007"/>
              <a:gd name="connsiteX75137" fmla="*/ 3286878 w 6884782"/>
              <a:gd name="connsiteY75137" fmla="*/ 441603 h 5973007"/>
              <a:gd name="connsiteX75138" fmla="*/ 3291146 w 6884782"/>
              <a:gd name="connsiteY75138" fmla="*/ 439042 h 5973007"/>
              <a:gd name="connsiteX75139" fmla="*/ 2873057 w 6884782"/>
              <a:gd name="connsiteY75139" fmla="*/ 434631 h 5973007"/>
              <a:gd name="connsiteX75140" fmla="*/ 2876685 w 6884782"/>
              <a:gd name="connsiteY75140" fmla="*/ 435485 h 5973007"/>
              <a:gd name="connsiteX75141" fmla="*/ 2878819 w 6884782"/>
              <a:gd name="connsiteY75141" fmla="*/ 437762 h 5973007"/>
              <a:gd name="connsiteX75142" fmla="*/ 2878178 w 6884782"/>
              <a:gd name="connsiteY75142" fmla="*/ 445017 h 5973007"/>
              <a:gd name="connsiteX75143" fmla="*/ 2867934 w 6884782"/>
              <a:gd name="connsiteY75143" fmla="*/ 444875 h 5973007"/>
              <a:gd name="connsiteX75144" fmla="*/ 2869855 w 6884782"/>
              <a:gd name="connsiteY75144" fmla="*/ 436481 h 5973007"/>
              <a:gd name="connsiteX75145" fmla="*/ 2873057 w 6884782"/>
              <a:gd name="connsiteY75145" fmla="*/ 434631 h 5973007"/>
              <a:gd name="connsiteX75146" fmla="*/ 3396788 w 6884782"/>
              <a:gd name="connsiteY75146" fmla="*/ 431644 h 5973007"/>
              <a:gd name="connsiteX75147" fmla="*/ 3398923 w 6884782"/>
              <a:gd name="connsiteY75147" fmla="*/ 431928 h 5973007"/>
              <a:gd name="connsiteX75148" fmla="*/ 3399990 w 6884782"/>
              <a:gd name="connsiteY75148" fmla="*/ 434489 h 5973007"/>
              <a:gd name="connsiteX75149" fmla="*/ 3399350 w 6884782"/>
              <a:gd name="connsiteY75149" fmla="*/ 439184 h 5973007"/>
              <a:gd name="connsiteX75150" fmla="*/ 3396788 w 6884782"/>
              <a:gd name="connsiteY75150" fmla="*/ 441603 h 5973007"/>
              <a:gd name="connsiteX75151" fmla="*/ 3394655 w 6884782"/>
              <a:gd name="connsiteY75151" fmla="*/ 440465 h 5973007"/>
              <a:gd name="connsiteX75152" fmla="*/ 3392520 w 6884782"/>
              <a:gd name="connsiteY75152" fmla="*/ 440322 h 5973007"/>
              <a:gd name="connsiteX75153" fmla="*/ 3392520 w 6884782"/>
              <a:gd name="connsiteY75153" fmla="*/ 439184 h 5973007"/>
              <a:gd name="connsiteX75154" fmla="*/ 3391453 w 6884782"/>
              <a:gd name="connsiteY75154" fmla="*/ 437904 h 5973007"/>
              <a:gd name="connsiteX75155" fmla="*/ 3394228 w 6884782"/>
              <a:gd name="connsiteY75155" fmla="*/ 433066 h 5973007"/>
              <a:gd name="connsiteX75156" fmla="*/ 3396788 w 6884782"/>
              <a:gd name="connsiteY75156" fmla="*/ 431644 h 5973007"/>
              <a:gd name="connsiteX75157" fmla="*/ 3003883 w 6884782"/>
              <a:gd name="connsiteY75157" fmla="*/ 430506 h 5973007"/>
              <a:gd name="connsiteX75158" fmla="*/ 2996200 w 6884782"/>
              <a:gd name="connsiteY75158" fmla="*/ 437335 h 5973007"/>
              <a:gd name="connsiteX75159" fmla="*/ 3003883 w 6884782"/>
              <a:gd name="connsiteY75159" fmla="*/ 430506 h 5973007"/>
              <a:gd name="connsiteX75160" fmla="*/ 2479084 w 6884782"/>
              <a:gd name="connsiteY75160" fmla="*/ 428514 h 5973007"/>
              <a:gd name="connsiteX75161" fmla="*/ 2484206 w 6884782"/>
              <a:gd name="connsiteY75161" fmla="*/ 428799 h 5973007"/>
              <a:gd name="connsiteX75162" fmla="*/ 2483352 w 6884782"/>
              <a:gd name="connsiteY75162" fmla="*/ 436197 h 5973007"/>
              <a:gd name="connsiteX75163" fmla="*/ 2478230 w 6884782"/>
              <a:gd name="connsiteY75163" fmla="*/ 435912 h 5973007"/>
              <a:gd name="connsiteX75164" fmla="*/ 2479084 w 6884782"/>
              <a:gd name="connsiteY75164" fmla="*/ 428514 h 5973007"/>
              <a:gd name="connsiteX75165" fmla="*/ 2780006 w 6884782"/>
              <a:gd name="connsiteY75165" fmla="*/ 427661 h 5973007"/>
              <a:gd name="connsiteX75166" fmla="*/ 2787475 w 6884782"/>
              <a:gd name="connsiteY75166" fmla="*/ 442030 h 5973007"/>
              <a:gd name="connsiteX75167" fmla="*/ 2775951 w 6884782"/>
              <a:gd name="connsiteY75167" fmla="*/ 440465 h 5973007"/>
              <a:gd name="connsiteX75168" fmla="*/ 2780006 w 6884782"/>
              <a:gd name="connsiteY75168" fmla="*/ 427661 h 5973007"/>
              <a:gd name="connsiteX75169" fmla="*/ 3144313 w 6884782"/>
              <a:gd name="connsiteY75169" fmla="*/ 426807 h 5973007"/>
              <a:gd name="connsiteX75170" fmla="*/ 3145380 w 6884782"/>
              <a:gd name="connsiteY75170" fmla="*/ 427803 h 5973007"/>
              <a:gd name="connsiteX75171" fmla="*/ 3143246 w 6884782"/>
              <a:gd name="connsiteY75171" fmla="*/ 427803 h 5973007"/>
              <a:gd name="connsiteX75172" fmla="*/ 3144313 w 6884782"/>
              <a:gd name="connsiteY75172" fmla="*/ 426807 h 5973007"/>
              <a:gd name="connsiteX75173" fmla="*/ 2534999 w 6884782"/>
              <a:gd name="connsiteY75173" fmla="*/ 426238 h 5973007"/>
              <a:gd name="connsiteX75174" fmla="*/ 2549298 w 6884782"/>
              <a:gd name="connsiteY75174" fmla="*/ 437619 h 5973007"/>
              <a:gd name="connsiteX75175" fmla="*/ 2540122 w 6884782"/>
              <a:gd name="connsiteY75175" fmla="*/ 442172 h 5973007"/>
              <a:gd name="connsiteX75176" fmla="*/ 2533932 w 6884782"/>
              <a:gd name="connsiteY75176" fmla="*/ 438900 h 5973007"/>
              <a:gd name="connsiteX75177" fmla="*/ 2529664 w 6884782"/>
              <a:gd name="connsiteY75177" fmla="*/ 428229 h 5973007"/>
              <a:gd name="connsiteX75178" fmla="*/ 2534999 w 6884782"/>
              <a:gd name="connsiteY75178" fmla="*/ 426238 h 5973007"/>
              <a:gd name="connsiteX75179" fmla="*/ 2807964 w 6884782"/>
              <a:gd name="connsiteY75179" fmla="*/ 425527 h 5973007"/>
              <a:gd name="connsiteX75180" fmla="*/ 2815220 w 6884782"/>
              <a:gd name="connsiteY75180" fmla="*/ 425953 h 5973007"/>
              <a:gd name="connsiteX75181" fmla="*/ 2812232 w 6884782"/>
              <a:gd name="connsiteY75181" fmla="*/ 440322 h 5973007"/>
              <a:gd name="connsiteX75182" fmla="*/ 2807323 w 6884782"/>
              <a:gd name="connsiteY75182" fmla="*/ 440465 h 5973007"/>
              <a:gd name="connsiteX75183" fmla="*/ 2807964 w 6884782"/>
              <a:gd name="connsiteY75183" fmla="*/ 425527 h 5973007"/>
              <a:gd name="connsiteX75184" fmla="*/ 2567653 w 6884782"/>
              <a:gd name="connsiteY75184" fmla="*/ 424957 h 5973007"/>
              <a:gd name="connsiteX75185" fmla="*/ 2579604 w 6884782"/>
              <a:gd name="connsiteY75185" fmla="*/ 428087 h 5973007"/>
              <a:gd name="connsiteX75186" fmla="*/ 2568080 w 6884782"/>
              <a:gd name="connsiteY75186" fmla="*/ 439753 h 5973007"/>
              <a:gd name="connsiteX75187" fmla="*/ 2564665 w 6884782"/>
              <a:gd name="connsiteY75187" fmla="*/ 435201 h 5973007"/>
              <a:gd name="connsiteX75188" fmla="*/ 2567653 w 6884782"/>
              <a:gd name="connsiteY75188" fmla="*/ 424957 h 5973007"/>
              <a:gd name="connsiteX75189" fmla="*/ 2738602 w 6884782"/>
              <a:gd name="connsiteY75189" fmla="*/ 424246 h 5973007"/>
              <a:gd name="connsiteX75190" fmla="*/ 2751621 w 6884782"/>
              <a:gd name="connsiteY75190" fmla="*/ 436908 h 5973007"/>
              <a:gd name="connsiteX75191" fmla="*/ 2738602 w 6884782"/>
              <a:gd name="connsiteY75191" fmla="*/ 424246 h 5973007"/>
              <a:gd name="connsiteX75192" fmla="*/ 3128306 w 6884782"/>
              <a:gd name="connsiteY75192" fmla="*/ 423535 h 5973007"/>
              <a:gd name="connsiteX75193" fmla="*/ 3131935 w 6884782"/>
              <a:gd name="connsiteY75193" fmla="*/ 432782 h 5973007"/>
              <a:gd name="connsiteX75194" fmla="*/ 3129801 w 6884782"/>
              <a:gd name="connsiteY75194" fmla="*/ 434205 h 5973007"/>
              <a:gd name="connsiteX75195" fmla="*/ 3127239 w 6884782"/>
              <a:gd name="connsiteY75195" fmla="*/ 431928 h 5973007"/>
              <a:gd name="connsiteX75196" fmla="*/ 3126172 w 6884782"/>
              <a:gd name="connsiteY75196" fmla="*/ 424957 h 5973007"/>
              <a:gd name="connsiteX75197" fmla="*/ 3128306 w 6884782"/>
              <a:gd name="connsiteY75197" fmla="*/ 423535 h 5973007"/>
              <a:gd name="connsiteX75198" fmla="*/ 3141752 w 6884782"/>
              <a:gd name="connsiteY75198" fmla="*/ 423108 h 5973007"/>
              <a:gd name="connsiteX75199" fmla="*/ 3144740 w 6884782"/>
              <a:gd name="connsiteY75199" fmla="*/ 424815 h 5973007"/>
              <a:gd name="connsiteX75200" fmla="*/ 3141752 w 6884782"/>
              <a:gd name="connsiteY75200" fmla="*/ 428514 h 5973007"/>
              <a:gd name="connsiteX75201" fmla="*/ 3140044 w 6884782"/>
              <a:gd name="connsiteY75201" fmla="*/ 423962 h 5973007"/>
              <a:gd name="connsiteX75202" fmla="*/ 3141752 w 6884782"/>
              <a:gd name="connsiteY75202" fmla="*/ 423108 h 5973007"/>
              <a:gd name="connsiteX75203" fmla="*/ 2075080 w 6884782"/>
              <a:gd name="connsiteY75203" fmla="*/ 422823 h 5973007"/>
              <a:gd name="connsiteX75204" fmla="*/ 2088952 w 6884782"/>
              <a:gd name="connsiteY75204" fmla="*/ 436054 h 5973007"/>
              <a:gd name="connsiteX75205" fmla="*/ 2055018 w 6884782"/>
              <a:gd name="connsiteY75205" fmla="*/ 438046 h 5973007"/>
              <a:gd name="connsiteX75206" fmla="*/ 2050750 w 6884782"/>
              <a:gd name="connsiteY75206" fmla="*/ 428799 h 5973007"/>
              <a:gd name="connsiteX75207" fmla="*/ 2075080 w 6884782"/>
              <a:gd name="connsiteY75207" fmla="*/ 422823 h 5973007"/>
              <a:gd name="connsiteX75208" fmla="*/ 3315263 w 6884782"/>
              <a:gd name="connsiteY75208" fmla="*/ 421827 h 5973007"/>
              <a:gd name="connsiteX75209" fmla="*/ 3323799 w 6884782"/>
              <a:gd name="connsiteY75209" fmla="*/ 425384 h 5973007"/>
              <a:gd name="connsiteX75210" fmla="*/ 3324653 w 6884782"/>
              <a:gd name="connsiteY75210" fmla="*/ 432356 h 5973007"/>
              <a:gd name="connsiteX75211" fmla="*/ 3307366 w 6884782"/>
              <a:gd name="connsiteY75211" fmla="*/ 430506 h 5973007"/>
              <a:gd name="connsiteX75212" fmla="*/ 3315263 w 6884782"/>
              <a:gd name="connsiteY75212" fmla="*/ 421827 h 5973007"/>
              <a:gd name="connsiteX75213" fmla="*/ 2737322 w 6884782"/>
              <a:gd name="connsiteY75213" fmla="*/ 421827 h 5973007"/>
              <a:gd name="connsiteX75214" fmla="*/ 2738602 w 6884782"/>
              <a:gd name="connsiteY75214" fmla="*/ 424104 h 5973007"/>
              <a:gd name="connsiteX75215" fmla="*/ 2737108 w 6884782"/>
              <a:gd name="connsiteY75215" fmla="*/ 424388 h 5973007"/>
              <a:gd name="connsiteX75216" fmla="*/ 2737322 w 6884782"/>
              <a:gd name="connsiteY75216" fmla="*/ 421827 h 5973007"/>
              <a:gd name="connsiteX75217" fmla="*/ 2878178 w 6884782"/>
              <a:gd name="connsiteY75217" fmla="*/ 420832 h 5973007"/>
              <a:gd name="connsiteX75218" fmla="*/ 2883941 w 6884782"/>
              <a:gd name="connsiteY75218" fmla="*/ 421970 h 5973007"/>
              <a:gd name="connsiteX75219" fmla="*/ 2885861 w 6884782"/>
              <a:gd name="connsiteY75219" fmla="*/ 427091 h 5973007"/>
              <a:gd name="connsiteX75220" fmla="*/ 2878178 w 6884782"/>
              <a:gd name="connsiteY75220" fmla="*/ 420832 h 5973007"/>
              <a:gd name="connsiteX75221" fmla="*/ 2656862 w 6884782"/>
              <a:gd name="connsiteY75221" fmla="*/ 420832 h 5973007"/>
              <a:gd name="connsiteX75222" fmla="*/ 2664972 w 6884782"/>
              <a:gd name="connsiteY75222" fmla="*/ 423108 h 5973007"/>
              <a:gd name="connsiteX75223" fmla="*/ 2665826 w 6884782"/>
              <a:gd name="connsiteY75223" fmla="*/ 427803 h 5973007"/>
              <a:gd name="connsiteX75224" fmla="*/ 2666039 w 6884782"/>
              <a:gd name="connsiteY75224" fmla="*/ 427376 h 5973007"/>
              <a:gd name="connsiteX75225" fmla="*/ 2673936 w 6884782"/>
              <a:gd name="connsiteY75225" fmla="*/ 421400 h 5973007"/>
              <a:gd name="connsiteX75226" fmla="*/ 2686101 w 6884782"/>
              <a:gd name="connsiteY75226" fmla="*/ 447009 h 5973007"/>
              <a:gd name="connsiteX75227" fmla="*/ 2662198 w 6884782"/>
              <a:gd name="connsiteY75227" fmla="*/ 451561 h 5973007"/>
              <a:gd name="connsiteX75228" fmla="*/ 2661771 w 6884782"/>
              <a:gd name="connsiteY75228" fmla="*/ 434489 h 5973007"/>
              <a:gd name="connsiteX75229" fmla="*/ 2665186 w 6884782"/>
              <a:gd name="connsiteY75229" fmla="*/ 428799 h 5973007"/>
              <a:gd name="connsiteX75230" fmla="*/ 2661984 w 6884782"/>
              <a:gd name="connsiteY75230" fmla="*/ 430648 h 5973007"/>
              <a:gd name="connsiteX75231" fmla="*/ 2649606 w 6884782"/>
              <a:gd name="connsiteY75231" fmla="*/ 426095 h 5973007"/>
              <a:gd name="connsiteX75232" fmla="*/ 2656862 w 6884782"/>
              <a:gd name="connsiteY75232" fmla="*/ 420832 h 5973007"/>
              <a:gd name="connsiteX75233" fmla="*/ 3198095 w 6884782"/>
              <a:gd name="connsiteY75233" fmla="*/ 419978 h 5973007"/>
              <a:gd name="connsiteX75234" fmla="*/ 3208765 w 6884782"/>
              <a:gd name="connsiteY75234" fmla="*/ 429083 h 5973007"/>
              <a:gd name="connsiteX75235" fmla="*/ 3210046 w 6884782"/>
              <a:gd name="connsiteY75235" fmla="*/ 433209 h 5973007"/>
              <a:gd name="connsiteX75236" fmla="*/ 3206632 w 6884782"/>
              <a:gd name="connsiteY75236" fmla="*/ 437904 h 5973007"/>
              <a:gd name="connsiteX75237" fmla="*/ 3195534 w 6884782"/>
              <a:gd name="connsiteY75237" fmla="*/ 425100 h 5973007"/>
              <a:gd name="connsiteX75238" fmla="*/ 3198095 w 6884782"/>
              <a:gd name="connsiteY75238" fmla="*/ 419978 h 5973007"/>
              <a:gd name="connsiteX75239" fmla="*/ 2628477 w 6884782"/>
              <a:gd name="connsiteY75239" fmla="*/ 419267 h 5973007"/>
              <a:gd name="connsiteX75240" fmla="*/ 2638081 w 6884782"/>
              <a:gd name="connsiteY75240" fmla="*/ 433778 h 5973007"/>
              <a:gd name="connsiteX75241" fmla="*/ 2620154 w 6884782"/>
              <a:gd name="connsiteY75241" fmla="*/ 432213 h 5973007"/>
              <a:gd name="connsiteX75242" fmla="*/ 2628477 w 6884782"/>
              <a:gd name="connsiteY75242" fmla="*/ 419267 h 5973007"/>
              <a:gd name="connsiteX75243" fmla="*/ 2732413 w 6884782"/>
              <a:gd name="connsiteY75243" fmla="*/ 418840 h 5973007"/>
              <a:gd name="connsiteX75244" fmla="*/ 2733693 w 6884782"/>
              <a:gd name="connsiteY75244" fmla="*/ 419835 h 5973007"/>
              <a:gd name="connsiteX75245" fmla="*/ 2733907 w 6884782"/>
              <a:gd name="connsiteY75245" fmla="*/ 420974 h 5973007"/>
              <a:gd name="connsiteX75246" fmla="*/ 2731772 w 6884782"/>
              <a:gd name="connsiteY75246" fmla="*/ 419835 h 5973007"/>
              <a:gd name="connsiteX75247" fmla="*/ 2732413 w 6884782"/>
              <a:gd name="connsiteY75247" fmla="*/ 418840 h 5973007"/>
              <a:gd name="connsiteX75248" fmla="*/ 2304720 w 6884782"/>
              <a:gd name="connsiteY75248" fmla="*/ 416848 h 5973007"/>
              <a:gd name="connsiteX75249" fmla="*/ 2319659 w 6884782"/>
              <a:gd name="connsiteY75249" fmla="*/ 436908 h 5973007"/>
              <a:gd name="connsiteX75250" fmla="*/ 2321367 w 6884782"/>
              <a:gd name="connsiteY75250" fmla="*/ 438473 h 5973007"/>
              <a:gd name="connsiteX75251" fmla="*/ 2321367 w 6884782"/>
              <a:gd name="connsiteY75251" fmla="*/ 437050 h 5973007"/>
              <a:gd name="connsiteX75252" fmla="*/ 2332678 w 6884782"/>
              <a:gd name="connsiteY75252" fmla="*/ 430648 h 5973007"/>
              <a:gd name="connsiteX75253" fmla="*/ 2341428 w 6884782"/>
              <a:gd name="connsiteY75253" fmla="*/ 453269 h 5973007"/>
              <a:gd name="connsiteX75254" fmla="*/ 2335452 w 6884782"/>
              <a:gd name="connsiteY75254" fmla="*/ 454407 h 5973007"/>
              <a:gd name="connsiteX75255" fmla="*/ 2331397 w 6884782"/>
              <a:gd name="connsiteY75255" fmla="*/ 459387 h 5973007"/>
              <a:gd name="connsiteX75256" fmla="*/ 2321153 w 6884782"/>
              <a:gd name="connsiteY75256" fmla="*/ 464650 h 5973007"/>
              <a:gd name="connsiteX75257" fmla="*/ 2293835 w 6884782"/>
              <a:gd name="connsiteY75257" fmla="*/ 444875 h 5973007"/>
              <a:gd name="connsiteX75258" fmla="*/ 2298744 w 6884782"/>
              <a:gd name="connsiteY75258" fmla="*/ 423108 h 5973007"/>
              <a:gd name="connsiteX75259" fmla="*/ 2304720 w 6884782"/>
              <a:gd name="connsiteY75259" fmla="*/ 416848 h 5973007"/>
              <a:gd name="connsiteX75260" fmla="*/ 3033975 w 6884782"/>
              <a:gd name="connsiteY75260" fmla="*/ 416563 h 5973007"/>
              <a:gd name="connsiteX75261" fmla="*/ 3036536 w 6884782"/>
              <a:gd name="connsiteY75261" fmla="*/ 422112 h 5973007"/>
              <a:gd name="connsiteX75262" fmla="*/ 3031627 w 6884782"/>
              <a:gd name="connsiteY75262" fmla="*/ 437050 h 5973007"/>
              <a:gd name="connsiteX75263" fmla="*/ 3026719 w 6884782"/>
              <a:gd name="connsiteY75263" fmla="*/ 427091 h 5973007"/>
              <a:gd name="connsiteX75264" fmla="*/ 3033975 w 6884782"/>
              <a:gd name="connsiteY75264" fmla="*/ 416563 h 5973007"/>
              <a:gd name="connsiteX75265" fmla="*/ 2728358 w 6884782"/>
              <a:gd name="connsiteY75265" fmla="*/ 413007 h 5973007"/>
              <a:gd name="connsiteX75266" fmla="*/ 2730492 w 6884782"/>
              <a:gd name="connsiteY75266" fmla="*/ 415994 h 5973007"/>
              <a:gd name="connsiteX75267" fmla="*/ 2731132 w 6884782"/>
              <a:gd name="connsiteY75267" fmla="*/ 419267 h 5973007"/>
              <a:gd name="connsiteX75268" fmla="*/ 2727291 w 6884782"/>
              <a:gd name="connsiteY75268" fmla="*/ 416706 h 5973007"/>
              <a:gd name="connsiteX75269" fmla="*/ 2728358 w 6884782"/>
              <a:gd name="connsiteY75269" fmla="*/ 413007 h 5973007"/>
              <a:gd name="connsiteX75270" fmla="*/ 3145807 w 6884782"/>
              <a:gd name="connsiteY75270" fmla="*/ 412011 h 5973007"/>
              <a:gd name="connsiteX75271" fmla="*/ 3148581 w 6884782"/>
              <a:gd name="connsiteY75271" fmla="*/ 412011 h 5973007"/>
              <a:gd name="connsiteX75272" fmla="*/ 3152423 w 6884782"/>
              <a:gd name="connsiteY75272" fmla="*/ 413576 h 5973007"/>
              <a:gd name="connsiteX75273" fmla="*/ 3155198 w 6884782"/>
              <a:gd name="connsiteY75273" fmla="*/ 418270 h 5973007"/>
              <a:gd name="connsiteX75274" fmla="*/ 3155624 w 6884782"/>
              <a:gd name="connsiteY75274" fmla="*/ 420690 h 5973007"/>
              <a:gd name="connsiteX75275" fmla="*/ 3145807 w 6884782"/>
              <a:gd name="connsiteY75275" fmla="*/ 423677 h 5973007"/>
              <a:gd name="connsiteX75276" fmla="*/ 3140898 w 6884782"/>
              <a:gd name="connsiteY75276" fmla="*/ 414287 h 5973007"/>
              <a:gd name="connsiteX75277" fmla="*/ 3143032 w 6884782"/>
              <a:gd name="connsiteY75277" fmla="*/ 412864 h 5973007"/>
              <a:gd name="connsiteX75278" fmla="*/ 3145807 w 6884782"/>
              <a:gd name="connsiteY75278" fmla="*/ 412011 h 5973007"/>
              <a:gd name="connsiteX75279" fmla="*/ 3059159 w 6884782"/>
              <a:gd name="connsiteY75279" fmla="*/ 410731 h 5973007"/>
              <a:gd name="connsiteX75280" fmla="*/ 3058732 w 6884782"/>
              <a:gd name="connsiteY75280" fmla="*/ 411442 h 5973007"/>
              <a:gd name="connsiteX75281" fmla="*/ 3059159 w 6884782"/>
              <a:gd name="connsiteY75281" fmla="*/ 414856 h 5973007"/>
              <a:gd name="connsiteX75282" fmla="*/ 3064494 w 6884782"/>
              <a:gd name="connsiteY75282" fmla="*/ 420974 h 5973007"/>
              <a:gd name="connsiteX75283" fmla="*/ 3064067 w 6884782"/>
              <a:gd name="connsiteY75283" fmla="*/ 423677 h 5973007"/>
              <a:gd name="connsiteX75284" fmla="*/ 3060652 w 6884782"/>
              <a:gd name="connsiteY75284" fmla="*/ 422965 h 5973007"/>
              <a:gd name="connsiteX75285" fmla="*/ 3060652 w 6884782"/>
              <a:gd name="connsiteY75285" fmla="*/ 418555 h 5973007"/>
              <a:gd name="connsiteX75286" fmla="*/ 3057664 w 6884782"/>
              <a:gd name="connsiteY75286" fmla="*/ 415283 h 5973007"/>
              <a:gd name="connsiteX75287" fmla="*/ 3057664 w 6884782"/>
              <a:gd name="connsiteY75287" fmla="*/ 410873 h 5973007"/>
              <a:gd name="connsiteX75288" fmla="*/ 3059159 w 6884782"/>
              <a:gd name="connsiteY75288" fmla="*/ 410731 h 5973007"/>
              <a:gd name="connsiteX75289" fmla="*/ 2783420 w 6884782"/>
              <a:gd name="connsiteY75289" fmla="*/ 410019 h 5973007"/>
              <a:gd name="connsiteX75290" fmla="*/ 2787689 w 6884782"/>
              <a:gd name="connsiteY75290" fmla="*/ 411584 h 5973007"/>
              <a:gd name="connsiteX75291" fmla="*/ 2782139 w 6884782"/>
              <a:gd name="connsiteY75291" fmla="*/ 413861 h 5973007"/>
              <a:gd name="connsiteX75292" fmla="*/ 2778298 w 6884782"/>
              <a:gd name="connsiteY75292" fmla="*/ 411299 h 5973007"/>
              <a:gd name="connsiteX75293" fmla="*/ 2783420 w 6884782"/>
              <a:gd name="connsiteY75293" fmla="*/ 410019 h 5973007"/>
              <a:gd name="connsiteX75294" fmla="*/ 3285810 w 6884782"/>
              <a:gd name="connsiteY75294" fmla="*/ 409592 h 5973007"/>
              <a:gd name="connsiteX75295" fmla="*/ 3287517 w 6884782"/>
              <a:gd name="connsiteY75295" fmla="*/ 414429 h 5973007"/>
              <a:gd name="connsiteX75296" fmla="*/ 3280475 w 6884782"/>
              <a:gd name="connsiteY75296" fmla="*/ 416706 h 5973007"/>
              <a:gd name="connsiteX75297" fmla="*/ 3278554 w 6884782"/>
              <a:gd name="connsiteY75297" fmla="*/ 412011 h 5973007"/>
              <a:gd name="connsiteX75298" fmla="*/ 3285810 w 6884782"/>
              <a:gd name="connsiteY75298" fmla="*/ 409592 h 5973007"/>
              <a:gd name="connsiteX75299" fmla="*/ 2791743 w 6884782"/>
              <a:gd name="connsiteY75299" fmla="*/ 409450 h 5973007"/>
              <a:gd name="connsiteX75300" fmla="*/ 2791957 w 6884782"/>
              <a:gd name="connsiteY75300" fmla="*/ 411157 h 5973007"/>
              <a:gd name="connsiteX75301" fmla="*/ 2792597 w 6884782"/>
              <a:gd name="connsiteY75301" fmla="*/ 410019 h 5973007"/>
              <a:gd name="connsiteX75302" fmla="*/ 2792170 w 6884782"/>
              <a:gd name="connsiteY75302" fmla="*/ 411726 h 5973007"/>
              <a:gd name="connsiteX75303" fmla="*/ 2791317 w 6884782"/>
              <a:gd name="connsiteY75303" fmla="*/ 412153 h 5973007"/>
              <a:gd name="connsiteX75304" fmla="*/ 2787902 w 6884782"/>
              <a:gd name="connsiteY75304" fmla="*/ 411442 h 5973007"/>
              <a:gd name="connsiteX75305" fmla="*/ 2791743 w 6884782"/>
              <a:gd name="connsiteY75305" fmla="*/ 409450 h 5973007"/>
              <a:gd name="connsiteX75306" fmla="*/ 3091598 w 6884782"/>
              <a:gd name="connsiteY75306" fmla="*/ 406036 h 5973007"/>
              <a:gd name="connsiteX75307" fmla="*/ 3095867 w 6884782"/>
              <a:gd name="connsiteY75307" fmla="*/ 406036 h 5973007"/>
              <a:gd name="connsiteX75308" fmla="*/ 3100135 w 6884782"/>
              <a:gd name="connsiteY75308" fmla="*/ 410304 h 5973007"/>
              <a:gd name="connsiteX75309" fmla="*/ 3087757 w 6884782"/>
              <a:gd name="connsiteY75309" fmla="*/ 422681 h 5973007"/>
              <a:gd name="connsiteX75310" fmla="*/ 3083702 w 6884782"/>
              <a:gd name="connsiteY75310" fmla="*/ 415283 h 5973007"/>
              <a:gd name="connsiteX75311" fmla="*/ 3091598 w 6884782"/>
              <a:gd name="connsiteY75311" fmla="*/ 406036 h 5973007"/>
              <a:gd name="connsiteX75312" fmla="*/ 3416209 w 6884782"/>
              <a:gd name="connsiteY75312" fmla="*/ 405182 h 5973007"/>
              <a:gd name="connsiteX75313" fmla="*/ 3426668 w 6884782"/>
              <a:gd name="connsiteY75313" fmla="*/ 408596 h 5973007"/>
              <a:gd name="connsiteX75314" fmla="*/ 3428801 w 6884782"/>
              <a:gd name="connsiteY75314" fmla="*/ 409877 h 5973007"/>
              <a:gd name="connsiteX75315" fmla="*/ 3431149 w 6884782"/>
              <a:gd name="connsiteY75315" fmla="*/ 411157 h 5973007"/>
              <a:gd name="connsiteX75316" fmla="*/ 3432430 w 6884782"/>
              <a:gd name="connsiteY75316" fmla="*/ 413149 h 5973007"/>
              <a:gd name="connsiteX75317" fmla="*/ 3431789 w 6884782"/>
              <a:gd name="connsiteY75317" fmla="*/ 415994 h 5973007"/>
              <a:gd name="connsiteX75318" fmla="*/ 3411728 w 6884782"/>
              <a:gd name="connsiteY75318" fmla="*/ 408312 h 5973007"/>
              <a:gd name="connsiteX75319" fmla="*/ 3413009 w 6884782"/>
              <a:gd name="connsiteY75319" fmla="*/ 405893 h 5973007"/>
              <a:gd name="connsiteX75320" fmla="*/ 3416209 w 6884782"/>
              <a:gd name="connsiteY75320" fmla="*/ 405182 h 5973007"/>
              <a:gd name="connsiteX75321" fmla="*/ 3210900 w 6884782"/>
              <a:gd name="connsiteY75321" fmla="*/ 403048 h 5973007"/>
              <a:gd name="connsiteX75322" fmla="*/ 3219224 w 6884782"/>
              <a:gd name="connsiteY75322" fmla="*/ 408454 h 5973007"/>
              <a:gd name="connsiteX75323" fmla="*/ 3219010 w 6884782"/>
              <a:gd name="connsiteY75323" fmla="*/ 421400 h 5973007"/>
              <a:gd name="connsiteX75324" fmla="*/ 3212821 w 6884782"/>
              <a:gd name="connsiteY75324" fmla="*/ 423108 h 5973007"/>
              <a:gd name="connsiteX75325" fmla="*/ 3212394 w 6884782"/>
              <a:gd name="connsiteY75325" fmla="*/ 422681 h 5973007"/>
              <a:gd name="connsiteX75326" fmla="*/ 3200869 w 6884782"/>
              <a:gd name="connsiteY75326" fmla="*/ 416706 h 5973007"/>
              <a:gd name="connsiteX75327" fmla="*/ 3199162 w 6884782"/>
              <a:gd name="connsiteY75327" fmla="*/ 409308 h 5973007"/>
              <a:gd name="connsiteX75328" fmla="*/ 3202790 w 6884782"/>
              <a:gd name="connsiteY75328" fmla="*/ 408169 h 5973007"/>
              <a:gd name="connsiteX75329" fmla="*/ 3207912 w 6884782"/>
              <a:gd name="connsiteY75329" fmla="*/ 411299 h 5973007"/>
              <a:gd name="connsiteX75330" fmla="*/ 3207912 w 6884782"/>
              <a:gd name="connsiteY75330" fmla="*/ 408739 h 5973007"/>
              <a:gd name="connsiteX75331" fmla="*/ 3210900 w 6884782"/>
              <a:gd name="connsiteY75331" fmla="*/ 403048 h 5973007"/>
              <a:gd name="connsiteX75332" fmla="*/ 3055317 w 6884782"/>
              <a:gd name="connsiteY75332" fmla="*/ 402052 h 5973007"/>
              <a:gd name="connsiteX75333" fmla="*/ 3056811 w 6884782"/>
              <a:gd name="connsiteY75333" fmla="*/ 410446 h 5973007"/>
              <a:gd name="connsiteX75334" fmla="*/ 3056171 w 6884782"/>
              <a:gd name="connsiteY75334" fmla="*/ 407032 h 5973007"/>
              <a:gd name="connsiteX75335" fmla="*/ 3054250 w 6884782"/>
              <a:gd name="connsiteY75335" fmla="*/ 405751 h 5973007"/>
              <a:gd name="connsiteX75336" fmla="*/ 3055317 w 6884782"/>
              <a:gd name="connsiteY75336" fmla="*/ 402052 h 5973007"/>
              <a:gd name="connsiteX75337" fmla="*/ 3026079 w 6884782"/>
              <a:gd name="connsiteY75337" fmla="*/ 402052 h 5973007"/>
              <a:gd name="connsiteX75338" fmla="*/ 3028853 w 6884782"/>
              <a:gd name="connsiteY75338" fmla="*/ 407458 h 5973007"/>
              <a:gd name="connsiteX75339" fmla="*/ 3023517 w 6884782"/>
              <a:gd name="connsiteY75339" fmla="*/ 427234 h 5973007"/>
              <a:gd name="connsiteX75340" fmla="*/ 3012633 w 6884782"/>
              <a:gd name="connsiteY75340" fmla="*/ 424246 h 5973007"/>
              <a:gd name="connsiteX75341" fmla="*/ 3026079 w 6884782"/>
              <a:gd name="connsiteY75341" fmla="*/ 402052 h 5973007"/>
              <a:gd name="connsiteX75342" fmla="*/ 3243980 w 6884782"/>
              <a:gd name="connsiteY75342" fmla="*/ 400487 h 5973007"/>
              <a:gd name="connsiteX75343" fmla="*/ 3255718 w 6884782"/>
              <a:gd name="connsiteY75343" fmla="*/ 408169 h 5973007"/>
              <a:gd name="connsiteX75344" fmla="*/ 3240565 w 6884782"/>
              <a:gd name="connsiteY75344" fmla="*/ 400772 h 5973007"/>
              <a:gd name="connsiteX75345" fmla="*/ 3243980 w 6884782"/>
              <a:gd name="connsiteY75345" fmla="*/ 400487 h 5973007"/>
              <a:gd name="connsiteX75346" fmla="*/ 2508749 w 6884782"/>
              <a:gd name="connsiteY75346" fmla="*/ 400060 h 5973007"/>
              <a:gd name="connsiteX75347" fmla="*/ 2515365 w 6884782"/>
              <a:gd name="connsiteY75347" fmla="*/ 402195 h 5973007"/>
              <a:gd name="connsiteX75348" fmla="*/ 2506828 w 6884782"/>
              <a:gd name="connsiteY75348" fmla="*/ 417133 h 5973007"/>
              <a:gd name="connsiteX75349" fmla="*/ 2508749 w 6884782"/>
              <a:gd name="connsiteY75349" fmla="*/ 400060 h 5973007"/>
              <a:gd name="connsiteX75350" fmla="*/ 2983608 w 6884782"/>
              <a:gd name="connsiteY75350" fmla="*/ 399633 h 5973007"/>
              <a:gd name="connsiteX75351" fmla="*/ 2987876 w 6884782"/>
              <a:gd name="connsiteY75351" fmla="*/ 413861 h 5973007"/>
              <a:gd name="connsiteX75352" fmla="*/ 2979553 w 6884782"/>
              <a:gd name="connsiteY75352" fmla="*/ 412011 h 5973007"/>
              <a:gd name="connsiteX75353" fmla="*/ 2978059 w 6884782"/>
              <a:gd name="connsiteY75353" fmla="*/ 408454 h 5973007"/>
              <a:gd name="connsiteX75354" fmla="*/ 2978059 w 6884782"/>
              <a:gd name="connsiteY75354" fmla="*/ 401198 h 5973007"/>
              <a:gd name="connsiteX75355" fmla="*/ 2976992 w 6884782"/>
              <a:gd name="connsiteY75355" fmla="*/ 401341 h 5973007"/>
              <a:gd name="connsiteX75356" fmla="*/ 2983608 w 6884782"/>
              <a:gd name="connsiteY75356" fmla="*/ 399633 h 5973007"/>
              <a:gd name="connsiteX75357" fmla="*/ 2680552 w 6884782"/>
              <a:gd name="connsiteY75357" fmla="*/ 393943 h 5973007"/>
              <a:gd name="connsiteX75358" fmla="*/ 2688235 w 6884782"/>
              <a:gd name="connsiteY75358" fmla="*/ 398068 h 5973007"/>
              <a:gd name="connsiteX75359" fmla="*/ 2688448 w 6884782"/>
              <a:gd name="connsiteY75359" fmla="*/ 402052 h 5973007"/>
              <a:gd name="connsiteX75360" fmla="*/ 2684607 w 6884782"/>
              <a:gd name="connsiteY75360" fmla="*/ 406036 h 5973007"/>
              <a:gd name="connsiteX75361" fmla="*/ 2678417 w 6884782"/>
              <a:gd name="connsiteY75361" fmla="*/ 396788 h 5973007"/>
              <a:gd name="connsiteX75362" fmla="*/ 2680552 w 6884782"/>
              <a:gd name="connsiteY75362" fmla="*/ 393943 h 5973007"/>
              <a:gd name="connsiteX75363" fmla="*/ 2962479 w 6884782"/>
              <a:gd name="connsiteY75363" fmla="*/ 392947 h 5973007"/>
              <a:gd name="connsiteX75364" fmla="*/ 2966748 w 6884782"/>
              <a:gd name="connsiteY75364" fmla="*/ 394512 h 5973007"/>
              <a:gd name="connsiteX75365" fmla="*/ 2961199 w 6884782"/>
              <a:gd name="connsiteY75365" fmla="*/ 406178 h 5973007"/>
              <a:gd name="connsiteX75366" fmla="*/ 2960132 w 6884782"/>
              <a:gd name="connsiteY75366" fmla="*/ 409308 h 5973007"/>
              <a:gd name="connsiteX75367" fmla="*/ 2963760 w 6884782"/>
              <a:gd name="connsiteY75367" fmla="*/ 408454 h 5973007"/>
              <a:gd name="connsiteX75368" fmla="*/ 2971443 w 6884782"/>
              <a:gd name="connsiteY75368" fmla="*/ 411015 h 5973007"/>
              <a:gd name="connsiteX75369" fmla="*/ 2976779 w 6884782"/>
              <a:gd name="connsiteY75369" fmla="*/ 432356 h 5973007"/>
              <a:gd name="connsiteX75370" fmla="*/ 2974858 w 6884782"/>
              <a:gd name="connsiteY75370" fmla="*/ 434774 h 5973007"/>
              <a:gd name="connsiteX75371" fmla="*/ 2973150 w 6884782"/>
              <a:gd name="connsiteY75371" fmla="*/ 439753 h 5973007"/>
              <a:gd name="connsiteX75372" fmla="*/ 2958425 w 6884782"/>
              <a:gd name="connsiteY75372" fmla="*/ 434631 h 5973007"/>
              <a:gd name="connsiteX75373" fmla="*/ 2950528 w 6884782"/>
              <a:gd name="connsiteY75373" fmla="*/ 418840 h 5973007"/>
              <a:gd name="connsiteX75374" fmla="*/ 2952022 w 6884782"/>
              <a:gd name="connsiteY75374" fmla="*/ 415141 h 5973007"/>
              <a:gd name="connsiteX75375" fmla="*/ 2949247 w 6884782"/>
              <a:gd name="connsiteY75375" fmla="*/ 412722 h 5973007"/>
              <a:gd name="connsiteX75376" fmla="*/ 2951808 w 6884782"/>
              <a:gd name="connsiteY75376" fmla="*/ 395081 h 5973007"/>
              <a:gd name="connsiteX75377" fmla="*/ 2962479 w 6884782"/>
              <a:gd name="connsiteY75377" fmla="*/ 392947 h 5973007"/>
              <a:gd name="connsiteX75378" fmla="*/ 2352525 w 6884782"/>
              <a:gd name="connsiteY75378" fmla="*/ 390955 h 5973007"/>
              <a:gd name="connsiteX75379" fmla="*/ 2364691 w 6884782"/>
              <a:gd name="connsiteY75379" fmla="*/ 402621 h 5973007"/>
              <a:gd name="connsiteX75380" fmla="*/ 2358288 w 6884782"/>
              <a:gd name="connsiteY75380" fmla="*/ 409734 h 5973007"/>
              <a:gd name="connsiteX75381" fmla="*/ 2346337 w 6884782"/>
              <a:gd name="connsiteY75381" fmla="*/ 394796 h 5973007"/>
              <a:gd name="connsiteX75382" fmla="*/ 2352525 w 6884782"/>
              <a:gd name="connsiteY75382" fmla="*/ 390955 h 5973007"/>
              <a:gd name="connsiteX75383" fmla="*/ 3040591 w 6884782"/>
              <a:gd name="connsiteY75383" fmla="*/ 390101 h 5973007"/>
              <a:gd name="connsiteX75384" fmla="*/ 3050408 w 6884782"/>
              <a:gd name="connsiteY75384" fmla="*/ 427945 h 5973007"/>
              <a:gd name="connsiteX75385" fmla="*/ 3040591 w 6884782"/>
              <a:gd name="connsiteY75385" fmla="*/ 390101 h 5973007"/>
              <a:gd name="connsiteX75386" fmla="*/ 2372587 w 6884782"/>
              <a:gd name="connsiteY75386" fmla="*/ 388394 h 5973007"/>
              <a:gd name="connsiteX75387" fmla="*/ 2382618 w 6884782"/>
              <a:gd name="connsiteY75387" fmla="*/ 399776 h 5973007"/>
              <a:gd name="connsiteX75388" fmla="*/ 2372587 w 6884782"/>
              <a:gd name="connsiteY75388" fmla="*/ 388394 h 5973007"/>
              <a:gd name="connsiteX75389" fmla="*/ 2925985 w 6884782"/>
              <a:gd name="connsiteY75389" fmla="*/ 386260 h 5973007"/>
              <a:gd name="connsiteX75390" fmla="*/ 2928759 w 6884782"/>
              <a:gd name="connsiteY75390" fmla="*/ 391666 h 5973007"/>
              <a:gd name="connsiteX75391" fmla="*/ 2925985 w 6884782"/>
              <a:gd name="connsiteY75391" fmla="*/ 413434 h 5973007"/>
              <a:gd name="connsiteX75392" fmla="*/ 2931960 w 6884782"/>
              <a:gd name="connsiteY75392" fmla="*/ 426238 h 5973007"/>
              <a:gd name="connsiteX75393" fmla="*/ 2900801 w 6884782"/>
              <a:gd name="connsiteY75393" fmla="*/ 413576 h 5973007"/>
              <a:gd name="connsiteX75394" fmla="*/ 2894612 w 6884782"/>
              <a:gd name="connsiteY75394" fmla="*/ 405324 h 5973007"/>
              <a:gd name="connsiteX75395" fmla="*/ 2917021 w 6884782"/>
              <a:gd name="connsiteY75395" fmla="*/ 407885 h 5973007"/>
              <a:gd name="connsiteX75396" fmla="*/ 2925985 w 6884782"/>
              <a:gd name="connsiteY75396" fmla="*/ 386260 h 5973007"/>
              <a:gd name="connsiteX75397" fmla="*/ 3154770 w 6884782"/>
              <a:gd name="connsiteY75397" fmla="*/ 385691 h 5973007"/>
              <a:gd name="connsiteX75398" fmla="*/ 3156478 w 6884782"/>
              <a:gd name="connsiteY75398" fmla="*/ 388964 h 5973007"/>
              <a:gd name="connsiteX75399" fmla="*/ 3155411 w 6884782"/>
              <a:gd name="connsiteY75399" fmla="*/ 393516 h 5973007"/>
              <a:gd name="connsiteX75400" fmla="*/ 3156051 w 6884782"/>
              <a:gd name="connsiteY75400" fmla="*/ 394654 h 5973007"/>
              <a:gd name="connsiteX75401" fmla="*/ 3154343 w 6884782"/>
              <a:gd name="connsiteY75401" fmla="*/ 398068 h 5973007"/>
              <a:gd name="connsiteX75402" fmla="*/ 3153063 w 6884782"/>
              <a:gd name="connsiteY75402" fmla="*/ 398922 h 5973007"/>
              <a:gd name="connsiteX75403" fmla="*/ 3150075 w 6884782"/>
              <a:gd name="connsiteY75403" fmla="*/ 402763 h 5973007"/>
              <a:gd name="connsiteX75404" fmla="*/ 3149222 w 6884782"/>
              <a:gd name="connsiteY75404" fmla="*/ 400772 h 5973007"/>
              <a:gd name="connsiteX75405" fmla="*/ 3144740 w 6884782"/>
              <a:gd name="connsiteY75405" fmla="*/ 400203 h 5973007"/>
              <a:gd name="connsiteX75406" fmla="*/ 3138764 w 6884782"/>
              <a:gd name="connsiteY75406" fmla="*/ 402479 h 5973007"/>
              <a:gd name="connsiteX75407" fmla="*/ 3146234 w 6884782"/>
              <a:gd name="connsiteY75407" fmla="*/ 397926 h 5973007"/>
              <a:gd name="connsiteX75408" fmla="*/ 3146874 w 6884782"/>
              <a:gd name="connsiteY75408" fmla="*/ 396361 h 5973007"/>
              <a:gd name="connsiteX75409" fmla="*/ 3146660 w 6884782"/>
              <a:gd name="connsiteY75409" fmla="*/ 396077 h 5973007"/>
              <a:gd name="connsiteX75410" fmla="*/ 3147087 w 6884782"/>
              <a:gd name="connsiteY75410" fmla="*/ 395650 h 5973007"/>
              <a:gd name="connsiteX75411" fmla="*/ 3147728 w 6884782"/>
              <a:gd name="connsiteY75411" fmla="*/ 394370 h 5973007"/>
              <a:gd name="connsiteX75412" fmla="*/ 3148155 w 6884782"/>
              <a:gd name="connsiteY75412" fmla="*/ 394227 h 5973007"/>
              <a:gd name="connsiteX75413" fmla="*/ 3149648 w 6884782"/>
              <a:gd name="connsiteY75413" fmla="*/ 391382 h 5973007"/>
              <a:gd name="connsiteX75414" fmla="*/ 3151783 w 6884782"/>
              <a:gd name="connsiteY75414" fmla="*/ 386118 h 5973007"/>
              <a:gd name="connsiteX75415" fmla="*/ 3154770 w 6884782"/>
              <a:gd name="connsiteY75415" fmla="*/ 385691 h 5973007"/>
              <a:gd name="connsiteX75416" fmla="*/ 2258834 w 6884782"/>
              <a:gd name="connsiteY75416" fmla="*/ 385407 h 5973007"/>
              <a:gd name="connsiteX75417" fmla="*/ 2261396 w 6884782"/>
              <a:gd name="connsiteY75417" fmla="*/ 385407 h 5973007"/>
              <a:gd name="connsiteX75418" fmla="*/ 2262676 w 6884782"/>
              <a:gd name="connsiteY75418" fmla="*/ 391524 h 5973007"/>
              <a:gd name="connsiteX75419" fmla="*/ 2263743 w 6884782"/>
              <a:gd name="connsiteY75419" fmla="*/ 392093 h 5973007"/>
              <a:gd name="connsiteX75420" fmla="*/ 2266731 w 6884782"/>
              <a:gd name="connsiteY75420" fmla="*/ 391097 h 5973007"/>
              <a:gd name="connsiteX75421" fmla="*/ 2277188 w 6884782"/>
              <a:gd name="connsiteY75421" fmla="*/ 397073 h 5973007"/>
              <a:gd name="connsiteX75422" fmla="*/ 2275055 w 6884782"/>
              <a:gd name="connsiteY75422" fmla="*/ 410446 h 5973007"/>
              <a:gd name="connsiteX75423" fmla="*/ 2269292 w 6884782"/>
              <a:gd name="connsiteY75423" fmla="*/ 413861 h 5973007"/>
              <a:gd name="connsiteX75424" fmla="*/ 2257340 w 6884782"/>
              <a:gd name="connsiteY75424" fmla="*/ 405751 h 5973007"/>
              <a:gd name="connsiteX75425" fmla="*/ 2260755 w 6884782"/>
              <a:gd name="connsiteY75425" fmla="*/ 392947 h 5973007"/>
              <a:gd name="connsiteX75426" fmla="*/ 2259048 w 6884782"/>
              <a:gd name="connsiteY75426" fmla="*/ 390813 h 5973007"/>
              <a:gd name="connsiteX75427" fmla="*/ 2258834 w 6884782"/>
              <a:gd name="connsiteY75427" fmla="*/ 385407 h 5973007"/>
              <a:gd name="connsiteX75428" fmla="*/ 2789823 w 6884782"/>
              <a:gd name="connsiteY75428" fmla="*/ 383557 h 5973007"/>
              <a:gd name="connsiteX75429" fmla="*/ 2794091 w 6884782"/>
              <a:gd name="connsiteY75429" fmla="*/ 385834 h 5973007"/>
              <a:gd name="connsiteX75430" fmla="*/ 2796652 w 6884782"/>
              <a:gd name="connsiteY75430" fmla="*/ 390101 h 5973007"/>
              <a:gd name="connsiteX75431" fmla="*/ 2798146 w 6884782"/>
              <a:gd name="connsiteY75431" fmla="*/ 394370 h 5973007"/>
              <a:gd name="connsiteX75432" fmla="*/ 2787475 w 6884782"/>
              <a:gd name="connsiteY75432" fmla="*/ 394227 h 5973007"/>
              <a:gd name="connsiteX75433" fmla="*/ 2786408 w 6884782"/>
              <a:gd name="connsiteY75433" fmla="*/ 391809 h 5973007"/>
              <a:gd name="connsiteX75434" fmla="*/ 2785981 w 6884782"/>
              <a:gd name="connsiteY75434" fmla="*/ 385691 h 5973007"/>
              <a:gd name="connsiteX75435" fmla="*/ 2789823 w 6884782"/>
              <a:gd name="connsiteY75435" fmla="*/ 383557 h 5973007"/>
              <a:gd name="connsiteX75436" fmla="*/ 2679485 w 6884782"/>
              <a:gd name="connsiteY75436" fmla="*/ 383557 h 5973007"/>
              <a:gd name="connsiteX75437" fmla="*/ 2665399 w 6884782"/>
              <a:gd name="connsiteY75437" fmla="*/ 400772 h 5973007"/>
              <a:gd name="connsiteX75438" fmla="*/ 2679485 w 6884782"/>
              <a:gd name="connsiteY75438" fmla="*/ 383557 h 5973007"/>
              <a:gd name="connsiteX75439" fmla="*/ 3096293 w 6884782"/>
              <a:gd name="connsiteY75439" fmla="*/ 380000 h 5973007"/>
              <a:gd name="connsiteX75440" fmla="*/ 3097574 w 6884782"/>
              <a:gd name="connsiteY75440" fmla="*/ 382277 h 5973007"/>
              <a:gd name="connsiteX75441" fmla="*/ 3098001 w 6884782"/>
              <a:gd name="connsiteY75441" fmla="*/ 385407 h 5973007"/>
              <a:gd name="connsiteX75442" fmla="*/ 3098641 w 6884782"/>
              <a:gd name="connsiteY75442" fmla="*/ 388679 h 5973007"/>
              <a:gd name="connsiteX75443" fmla="*/ 3099922 w 6884782"/>
              <a:gd name="connsiteY75443" fmla="*/ 390813 h 5973007"/>
              <a:gd name="connsiteX75444" fmla="*/ 3099068 w 6884782"/>
              <a:gd name="connsiteY75444" fmla="*/ 396077 h 5973007"/>
              <a:gd name="connsiteX75445" fmla="*/ 3098001 w 6884782"/>
              <a:gd name="connsiteY75445" fmla="*/ 393943 h 5973007"/>
              <a:gd name="connsiteX75446" fmla="*/ 3097361 w 6884782"/>
              <a:gd name="connsiteY75446" fmla="*/ 390671 h 5973007"/>
              <a:gd name="connsiteX75447" fmla="*/ 3095440 w 6884782"/>
              <a:gd name="connsiteY75447" fmla="*/ 389390 h 5973007"/>
              <a:gd name="connsiteX75448" fmla="*/ 3096293 w 6884782"/>
              <a:gd name="connsiteY75448" fmla="*/ 380000 h 5973007"/>
              <a:gd name="connsiteX75449" fmla="*/ 2702747 w 6884782"/>
              <a:gd name="connsiteY75449" fmla="*/ 378578 h 5973007"/>
              <a:gd name="connsiteX75450" fmla="*/ 2715126 w 6884782"/>
              <a:gd name="connsiteY75450" fmla="*/ 394654 h 5973007"/>
              <a:gd name="connsiteX75451" fmla="*/ 2706162 w 6884782"/>
              <a:gd name="connsiteY75451" fmla="*/ 401056 h 5973007"/>
              <a:gd name="connsiteX75452" fmla="*/ 2696985 w 6884782"/>
              <a:gd name="connsiteY75452" fmla="*/ 382988 h 5973007"/>
              <a:gd name="connsiteX75453" fmla="*/ 2702747 w 6884782"/>
              <a:gd name="connsiteY75453" fmla="*/ 378578 h 5973007"/>
              <a:gd name="connsiteX75454" fmla="*/ 2397557 w 6884782"/>
              <a:gd name="connsiteY75454" fmla="*/ 376159 h 5973007"/>
              <a:gd name="connsiteX75455" fmla="*/ 2401185 w 6884782"/>
              <a:gd name="connsiteY75455" fmla="*/ 376159 h 5973007"/>
              <a:gd name="connsiteX75456" fmla="*/ 2408655 w 6884782"/>
              <a:gd name="connsiteY75456" fmla="*/ 393231 h 5973007"/>
              <a:gd name="connsiteX75457" fmla="*/ 2398838 w 6884782"/>
              <a:gd name="connsiteY75457" fmla="*/ 398068 h 5973007"/>
              <a:gd name="connsiteX75458" fmla="*/ 2393502 w 6884782"/>
              <a:gd name="connsiteY75458" fmla="*/ 377724 h 5973007"/>
              <a:gd name="connsiteX75459" fmla="*/ 2397557 w 6884782"/>
              <a:gd name="connsiteY75459" fmla="*/ 376159 h 5973007"/>
              <a:gd name="connsiteX75460" fmla="*/ 2444083 w 6884782"/>
              <a:gd name="connsiteY75460" fmla="*/ 374736 h 5973007"/>
              <a:gd name="connsiteX75461" fmla="*/ 2461157 w 6884782"/>
              <a:gd name="connsiteY75461" fmla="*/ 400345 h 5973007"/>
              <a:gd name="connsiteX75462" fmla="*/ 2456247 w 6884782"/>
              <a:gd name="connsiteY75462" fmla="*/ 410731 h 5973007"/>
              <a:gd name="connsiteX75463" fmla="*/ 2437253 w 6884782"/>
              <a:gd name="connsiteY75463" fmla="*/ 393943 h 5973007"/>
              <a:gd name="connsiteX75464" fmla="*/ 2437467 w 6884782"/>
              <a:gd name="connsiteY75464" fmla="*/ 385549 h 5973007"/>
              <a:gd name="connsiteX75465" fmla="*/ 2438107 w 6884782"/>
              <a:gd name="connsiteY75465" fmla="*/ 384411 h 5973007"/>
              <a:gd name="connsiteX75466" fmla="*/ 2438961 w 6884782"/>
              <a:gd name="connsiteY75466" fmla="*/ 382277 h 5973007"/>
              <a:gd name="connsiteX75467" fmla="*/ 2662198 w 6884782"/>
              <a:gd name="connsiteY75467" fmla="*/ 373456 h 5973007"/>
              <a:gd name="connsiteX75468" fmla="*/ 2663905 w 6884782"/>
              <a:gd name="connsiteY75468" fmla="*/ 378151 h 5973007"/>
              <a:gd name="connsiteX75469" fmla="*/ 2654728 w 6884782"/>
              <a:gd name="connsiteY75469" fmla="*/ 383272 h 5973007"/>
              <a:gd name="connsiteX75470" fmla="*/ 2662198 w 6884782"/>
              <a:gd name="connsiteY75470" fmla="*/ 373456 h 5973007"/>
              <a:gd name="connsiteX75471" fmla="*/ 3136843 w 6884782"/>
              <a:gd name="connsiteY75471" fmla="*/ 371180 h 5973007"/>
              <a:gd name="connsiteX75472" fmla="*/ 3139404 w 6884782"/>
              <a:gd name="connsiteY75472" fmla="*/ 372460 h 5973007"/>
              <a:gd name="connsiteX75473" fmla="*/ 3140898 w 6884782"/>
              <a:gd name="connsiteY75473" fmla="*/ 374736 h 5973007"/>
              <a:gd name="connsiteX75474" fmla="*/ 3138764 w 6884782"/>
              <a:gd name="connsiteY75474" fmla="*/ 378578 h 5973007"/>
              <a:gd name="connsiteX75475" fmla="*/ 3133642 w 6884782"/>
              <a:gd name="connsiteY75475" fmla="*/ 383272 h 5973007"/>
              <a:gd name="connsiteX75476" fmla="*/ 3132148 w 6884782"/>
              <a:gd name="connsiteY75476" fmla="*/ 386972 h 5973007"/>
              <a:gd name="connsiteX75477" fmla="*/ 3131081 w 6884782"/>
              <a:gd name="connsiteY75477" fmla="*/ 386972 h 5973007"/>
              <a:gd name="connsiteX75478" fmla="*/ 3134709 w 6884782"/>
              <a:gd name="connsiteY75478" fmla="*/ 372460 h 5973007"/>
              <a:gd name="connsiteX75479" fmla="*/ 3136843 w 6884782"/>
              <a:gd name="connsiteY75479" fmla="*/ 371180 h 5973007"/>
              <a:gd name="connsiteX75480" fmla="*/ 2622715 w 6884782"/>
              <a:gd name="connsiteY75480" fmla="*/ 370469 h 5973007"/>
              <a:gd name="connsiteX75481" fmla="*/ 2635307 w 6884782"/>
              <a:gd name="connsiteY75481" fmla="*/ 392378 h 5973007"/>
              <a:gd name="connsiteX75482" fmla="*/ 2619727 w 6884782"/>
              <a:gd name="connsiteY75482" fmla="*/ 377440 h 5973007"/>
              <a:gd name="connsiteX75483" fmla="*/ 2622715 w 6884782"/>
              <a:gd name="connsiteY75483" fmla="*/ 370469 h 5973007"/>
              <a:gd name="connsiteX75484" fmla="*/ 2520060 w 6884782"/>
              <a:gd name="connsiteY75484" fmla="*/ 366200 h 5973007"/>
              <a:gd name="connsiteX75485" fmla="*/ 2532866 w 6884782"/>
              <a:gd name="connsiteY75485" fmla="*/ 374025 h 5973007"/>
              <a:gd name="connsiteX75486" fmla="*/ 2533079 w 6884782"/>
              <a:gd name="connsiteY75486" fmla="*/ 380285 h 5973007"/>
              <a:gd name="connsiteX75487" fmla="*/ 2522408 w 6884782"/>
              <a:gd name="connsiteY75487" fmla="*/ 378151 h 5973007"/>
              <a:gd name="connsiteX75488" fmla="*/ 2520060 w 6884782"/>
              <a:gd name="connsiteY75488" fmla="*/ 366200 h 5973007"/>
              <a:gd name="connsiteX75489" fmla="*/ 2664546 w 6884782"/>
              <a:gd name="connsiteY75489" fmla="*/ 361932 h 5973007"/>
              <a:gd name="connsiteX75490" fmla="*/ 2666679 w 6884782"/>
              <a:gd name="connsiteY75490" fmla="*/ 372460 h 5973007"/>
              <a:gd name="connsiteX75491" fmla="*/ 2664546 w 6884782"/>
              <a:gd name="connsiteY75491" fmla="*/ 361932 h 5973007"/>
              <a:gd name="connsiteX75492" fmla="*/ 3102483 w 6884782"/>
              <a:gd name="connsiteY75492" fmla="*/ 361221 h 5973007"/>
              <a:gd name="connsiteX75493" fmla="*/ 3103336 w 6884782"/>
              <a:gd name="connsiteY75493" fmla="*/ 363640 h 5973007"/>
              <a:gd name="connsiteX75494" fmla="*/ 3103123 w 6884782"/>
              <a:gd name="connsiteY75494" fmla="*/ 367339 h 5973007"/>
              <a:gd name="connsiteX75495" fmla="*/ 3096934 w 6884782"/>
              <a:gd name="connsiteY75495" fmla="*/ 368477 h 5973007"/>
              <a:gd name="connsiteX75496" fmla="*/ 3096080 w 6884782"/>
              <a:gd name="connsiteY75496" fmla="*/ 366058 h 5973007"/>
              <a:gd name="connsiteX75497" fmla="*/ 3097574 w 6884782"/>
              <a:gd name="connsiteY75497" fmla="*/ 362359 h 5973007"/>
              <a:gd name="connsiteX75498" fmla="*/ 3102483 w 6884782"/>
              <a:gd name="connsiteY75498" fmla="*/ 361221 h 5973007"/>
              <a:gd name="connsiteX75499" fmla="*/ 2443443 w 6884782"/>
              <a:gd name="connsiteY75499" fmla="*/ 359513 h 5973007"/>
              <a:gd name="connsiteX75500" fmla="*/ 2442589 w 6884782"/>
              <a:gd name="connsiteY75500" fmla="*/ 373171 h 5973007"/>
              <a:gd name="connsiteX75501" fmla="*/ 2438961 w 6884782"/>
              <a:gd name="connsiteY75501" fmla="*/ 382277 h 5973007"/>
              <a:gd name="connsiteX75502" fmla="*/ 2437467 w 6884782"/>
              <a:gd name="connsiteY75502" fmla="*/ 384553 h 5973007"/>
              <a:gd name="connsiteX75503" fmla="*/ 2437467 w 6884782"/>
              <a:gd name="connsiteY75503" fmla="*/ 385549 h 5973007"/>
              <a:gd name="connsiteX75504" fmla="*/ 2431491 w 6884782"/>
              <a:gd name="connsiteY75504" fmla="*/ 394938 h 5973007"/>
              <a:gd name="connsiteX75505" fmla="*/ 2417405 w 6884782"/>
              <a:gd name="connsiteY75505" fmla="*/ 407885 h 5973007"/>
              <a:gd name="connsiteX75506" fmla="*/ 2421033 w 6884782"/>
              <a:gd name="connsiteY75506" fmla="*/ 379858 h 5973007"/>
              <a:gd name="connsiteX75507" fmla="*/ 2443443 w 6884782"/>
              <a:gd name="connsiteY75507" fmla="*/ 359513 h 5973007"/>
              <a:gd name="connsiteX75508" fmla="*/ 2833574 w 6884782"/>
              <a:gd name="connsiteY75508" fmla="*/ 358376 h 5973007"/>
              <a:gd name="connsiteX75509" fmla="*/ 2812872 w 6884782"/>
              <a:gd name="connsiteY75509" fmla="*/ 387399 h 5973007"/>
              <a:gd name="connsiteX75510" fmla="*/ 2833574 w 6884782"/>
              <a:gd name="connsiteY75510" fmla="*/ 358376 h 5973007"/>
              <a:gd name="connsiteX75511" fmla="*/ 3217303 w 6884782"/>
              <a:gd name="connsiteY75511" fmla="*/ 356241 h 5973007"/>
              <a:gd name="connsiteX75512" fmla="*/ 3227120 w 6884782"/>
              <a:gd name="connsiteY75512" fmla="*/ 374310 h 5973007"/>
              <a:gd name="connsiteX75513" fmla="*/ 3217516 w 6884782"/>
              <a:gd name="connsiteY75513" fmla="*/ 374879 h 5973007"/>
              <a:gd name="connsiteX75514" fmla="*/ 3217303 w 6884782"/>
              <a:gd name="connsiteY75514" fmla="*/ 356241 h 5973007"/>
              <a:gd name="connsiteX75515" fmla="*/ 3051048 w 6884782"/>
              <a:gd name="connsiteY75515" fmla="*/ 355388 h 5973007"/>
              <a:gd name="connsiteX75516" fmla="*/ 3040164 w 6884782"/>
              <a:gd name="connsiteY75516" fmla="*/ 386402 h 5973007"/>
              <a:gd name="connsiteX75517" fmla="*/ 3051048 w 6884782"/>
              <a:gd name="connsiteY75517" fmla="*/ 355388 h 5973007"/>
              <a:gd name="connsiteX75518" fmla="*/ 2301945 w 6884782"/>
              <a:gd name="connsiteY75518" fmla="*/ 354676 h 5973007"/>
              <a:gd name="connsiteX75519" fmla="*/ 2306213 w 6884782"/>
              <a:gd name="connsiteY75519" fmla="*/ 360936 h 5973007"/>
              <a:gd name="connsiteX75520" fmla="*/ 2304506 w 6884782"/>
              <a:gd name="connsiteY75520" fmla="*/ 370611 h 5973007"/>
              <a:gd name="connsiteX75521" fmla="*/ 2274841 w 6884782"/>
              <a:gd name="connsiteY75521" fmla="*/ 385834 h 5973007"/>
              <a:gd name="connsiteX75522" fmla="*/ 2276121 w 6884782"/>
              <a:gd name="connsiteY75522" fmla="*/ 376159 h 5973007"/>
              <a:gd name="connsiteX75523" fmla="*/ 2301945 w 6884782"/>
              <a:gd name="connsiteY75523" fmla="*/ 354676 h 5973007"/>
              <a:gd name="connsiteX75524" fmla="*/ 3073244 w 6884782"/>
              <a:gd name="connsiteY75524" fmla="*/ 353681 h 5973007"/>
              <a:gd name="connsiteX75525" fmla="*/ 3077086 w 6884782"/>
              <a:gd name="connsiteY75525" fmla="*/ 355673 h 5973007"/>
              <a:gd name="connsiteX75526" fmla="*/ 3079006 w 6884782"/>
              <a:gd name="connsiteY75526" fmla="*/ 360367 h 5973007"/>
              <a:gd name="connsiteX75527" fmla="*/ 3070043 w 6884782"/>
              <a:gd name="connsiteY75527" fmla="*/ 363213 h 5973007"/>
              <a:gd name="connsiteX75528" fmla="*/ 3070256 w 6884782"/>
              <a:gd name="connsiteY75528" fmla="*/ 356099 h 5973007"/>
              <a:gd name="connsiteX75529" fmla="*/ 3073244 w 6884782"/>
              <a:gd name="connsiteY75529" fmla="*/ 353681 h 5973007"/>
              <a:gd name="connsiteX75530" fmla="*/ 2767840 w 6884782"/>
              <a:gd name="connsiteY75530" fmla="*/ 351120 h 5973007"/>
              <a:gd name="connsiteX75531" fmla="*/ 2775524 w 6884782"/>
              <a:gd name="connsiteY75531" fmla="*/ 355388 h 5973007"/>
              <a:gd name="connsiteX75532" fmla="*/ 2764853 w 6884782"/>
              <a:gd name="connsiteY75532" fmla="*/ 364777 h 5973007"/>
              <a:gd name="connsiteX75533" fmla="*/ 2767840 w 6884782"/>
              <a:gd name="connsiteY75533" fmla="*/ 351120 h 5973007"/>
              <a:gd name="connsiteX75534" fmla="*/ 2708937 w 6884782"/>
              <a:gd name="connsiteY75534" fmla="*/ 350835 h 5973007"/>
              <a:gd name="connsiteX75535" fmla="*/ 2706589 w 6884782"/>
              <a:gd name="connsiteY75535" fmla="*/ 361932 h 5973007"/>
              <a:gd name="connsiteX75536" fmla="*/ 2700400 w 6884782"/>
              <a:gd name="connsiteY75536" fmla="*/ 365489 h 5973007"/>
              <a:gd name="connsiteX75537" fmla="*/ 2690369 w 6884782"/>
              <a:gd name="connsiteY75537" fmla="*/ 362786 h 5973007"/>
              <a:gd name="connsiteX75538" fmla="*/ 2692076 w 6884782"/>
              <a:gd name="connsiteY75538" fmla="*/ 356811 h 5973007"/>
              <a:gd name="connsiteX75539" fmla="*/ 2708937 w 6884782"/>
              <a:gd name="connsiteY75539" fmla="*/ 350835 h 5973007"/>
              <a:gd name="connsiteX75540" fmla="*/ 2416551 w 6884782"/>
              <a:gd name="connsiteY75540" fmla="*/ 347137 h 5973007"/>
              <a:gd name="connsiteX75541" fmla="*/ 2417618 w 6884782"/>
              <a:gd name="connsiteY75541" fmla="*/ 347563 h 5973007"/>
              <a:gd name="connsiteX75542" fmla="*/ 2415911 w 6884782"/>
              <a:gd name="connsiteY75542" fmla="*/ 354392 h 5973007"/>
              <a:gd name="connsiteX75543" fmla="*/ 2413563 w 6884782"/>
              <a:gd name="connsiteY75543" fmla="*/ 359656 h 5973007"/>
              <a:gd name="connsiteX75544" fmla="*/ 2401612 w 6884782"/>
              <a:gd name="connsiteY75544" fmla="*/ 373741 h 5973007"/>
              <a:gd name="connsiteX75545" fmla="*/ 2403747 w 6884782"/>
              <a:gd name="connsiteY75545" fmla="*/ 365774 h 5973007"/>
              <a:gd name="connsiteX75546" fmla="*/ 2411643 w 6884782"/>
              <a:gd name="connsiteY75546" fmla="*/ 349412 h 5973007"/>
              <a:gd name="connsiteX75547" fmla="*/ 2414631 w 6884782"/>
              <a:gd name="connsiteY75547" fmla="*/ 348417 h 5973007"/>
              <a:gd name="connsiteX75548" fmla="*/ 2415058 w 6884782"/>
              <a:gd name="connsiteY75548" fmla="*/ 347421 h 5973007"/>
              <a:gd name="connsiteX75549" fmla="*/ 2416551 w 6884782"/>
              <a:gd name="connsiteY75549" fmla="*/ 347137 h 5973007"/>
              <a:gd name="connsiteX75550" fmla="*/ 2725584 w 6884782"/>
              <a:gd name="connsiteY75550" fmla="*/ 345287 h 5973007"/>
              <a:gd name="connsiteX75551" fmla="*/ 2726224 w 6884782"/>
              <a:gd name="connsiteY75551" fmla="*/ 348986 h 5973007"/>
              <a:gd name="connsiteX75552" fmla="*/ 2720675 w 6884782"/>
              <a:gd name="connsiteY75552" fmla="*/ 347563 h 5973007"/>
              <a:gd name="connsiteX75553" fmla="*/ 2725584 w 6884782"/>
              <a:gd name="connsiteY75553" fmla="*/ 345287 h 5973007"/>
              <a:gd name="connsiteX75554" fmla="*/ 2860038 w 6884782"/>
              <a:gd name="connsiteY75554" fmla="*/ 341588 h 5973007"/>
              <a:gd name="connsiteX75555" fmla="*/ 2863239 w 6884782"/>
              <a:gd name="connsiteY75555" fmla="*/ 345145 h 5973007"/>
              <a:gd name="connsiteX75556" fmla="*/ 2862599 w 6884782"/>
              <a:gd name="connsiteY75556" fmla="*/ 346994 h 5973007"/>
              <a:gd name="connsiteX75557" fmla="*/ 2862172 w 6884782"/>
              <a:gd name="connsiteY75557" fmla="*/ 348844 h 5973007"/>
              <a:gd name="connsiteX75558" fmla="*/ 2864093 w 6884782"/>
              <a:gd name="connsiteY75558" fmla="*/ 349839 h 5973007"/>
              <a:gd name="connsiteX75559" fmla="*/ 2869642 w 6884782"/>
              <a:gd name="connsiteY75559" fmla="*/ 352969 h 5973007"/>
              <a:gd name="connsiteX75560" fmla="*/ 2864093 w 6884782"/>
              <a:gd name="connsiteY75560" fmla="*/ 358945 h 5973007"/>
              <a:gd name="connsiteX75561" fmla="*/ 2860251 w 6884782"/>
              <a:gd name="connsiteY75561" fmla="*/ 353681 h 5973007"/>
              <a:gd name="connsiteX75562" fmla="*/ 2861745 w 6884782"/>
              <a:gd name="connsiteY75562" fmla="*/ 348986 h 5973007"/>
              <a:gd name="connsiteX75563" fmla="*/ 2860891 w 6884782"/>
              <a:gd name="connsiteY75563" fmla="*/ 349128 h 5973007"/>
              <a:gd name="connsiteX75564" fmla="*/ 2861105 w 6884782"/>
              <a:gd name="connsiteY75564" fmla="*/ 348274 h 5973007"/>
              <a:gd name="connsiteX75565" fmla="*/ 2856623 w 6884782"/>
              <a:gd name="connsiteY75565" fmla="*/ 346852 h 5973007"/>
              <a:gd name="connsiteX75566" fmla="*/ 2860038 w 6884782"/>
              <a:gd name="connsiteY75566" fmla="*/ 341588 h 5973007"/>
              <a:gd name="connsiteX75567" fmla="*/ 2545244 w 6884782"/>
              <a:gd name="connsiteY75567" fmla="*/ 334048 h 5973007"/>
              <a:gd name="connsiteX75568" fmla="*/ 2547805 w 6884782"/>
              <a:gd name="connsiteY75568" fmla="*/ 334190 h 5973007"/>
              <a:gd name="connsiteX75569" fmla="*/ 2552073 w 6884782"/>
              <a:gd name="connsiteY75569" fmla="*/ 336608 h 5973007"/>
              <a:gd name="connsiteX75570" fmla="*/ 2553140 w 6884782"/>
              <a:gd name="connsiteY75570" fmla="*/ 339881 h 5973007"/>
              <a:gd name="connsiteX75571" fmla="*/ 2551220 w 6884782"/>
              <a:gd name="connsiteY75571" fmla="*/ 341303 h 5973007"/>
              <a:gd name="connsiteX75572" fmla="*/ 2550153 w 6884782"/>
              <a:gd name="connsiteY75572" fmla="*/ 343437 h 5973007"/>
              <a:gd name="connsiteX75573" fmla="*/ 2549298 w 6884782"/>
              <a:gd name="connsiteY75573" fmla="*/ 342726 h 5973007"/>
              <a:gd name="connsiteX75574" fmla="*/ 2547591 w 6884782"/>
              <a:gd name="connsiteY75574" fmla="*/ 343295 h 5973007"/>
              <a:gd name="connsiteX75575" fmla="*/ 2544390 w 6884782"/>
              <a:gd name="connsiteY75575" fmla="*/ 338743 h 5973007"/>
              <a:gd name="connsiteX75576" fmla="*/ 2543963 w 6884782"/>
              <a:gd name="connsiteY75576" fmla="*/ 335897 h 5973007"/>
              <a:gd name="connsiteX75577" fmla="*/ 2545244 w 6884782"/>
              <a:gd name="connsiteY75577" fmla="*/ 334048 h 5973007"/>
              <a:gd name="connsiteX75578" fmla="*/ 2672229 w 6884782"/>
              <a:gd name="connsiteY75578" fmla="*/ 331202 h 5973007"/>
              <a:gd name="connsiteX75579" fmla="*/ 2673509 w 6884782"/>
              <a:gd name="connsiteY75579" fmla="*/ 332625 h 5973007"/>
              <a:gd name="connsiteX75580" fmla="*/ 2674789 w 6884782"/>
              <a:gd name="connsiteY75580" fmla="*/ 335328 h 5973007"/>
              <a:gd name="connsiteX75581" fmla="*/ 2669454 w 6884782"/>
              <a:gd name="connsiteY75581" fmla="*/ 337320 h 5973007"/>
              <a:gd name="connsiteX75582" fmla="*/ 2666679 w 6884782"/>
              <a:gd name="connsiteY75582" fmla="*/ 334901 h 5973007"/>
              <a:gd name="connsiteX75583" fmla="*/ 2668814 w 6884782"/>
              <a:gd name="connsiteY75583" fmla="*/ 332056 h 5973007"/>
              <a:gd name="connsiteX75584" fmla="*/ 2672229 w 6884782"/>
              <a:gd name="connsiteY75584" fmla="*/ 331202 h 5973007"/>
              <a:gd name="connsiteX75585" fmla="*/ 2797719 w 6884782"/>
              <a:gd name="connsiteY75585" fmla="*/ 330206 h 5973007"/>
              <a:gd name="connsiteX75586" fmla="*/ 2803055 w 6884782"/>
              <a:gd name="connsiteY75586" fmla="*/ 330491 h 5973007"/>
              <a:gd name="connsiteX75587" fmla="*/ 2810524 w 6884782"/>
              <a:gd name="connsiteY75587" fmla="*/ 336181 h 5973007"/>
              <a:gd name="connsiteX75588" fmla="*/ 2798573 w 6884782"/>
              <a:gd name="connsiteY75588" fmla="*/ 349982 h 5973007"/>
              <a:gd name="connsiteX75589" fmla="*/ 2791317 w 6884782"/>
              <a:gd name="connsiteY75589" fmla="*/ 342584 h 5973007"/>
              <a:gd name="connsiteX75590" fmla="*/ 2797719 w 6884782"/>
              <a:gd name="connsiteY75590" fmla="*/ 330206 h 5973007"/>
              <a:gd name="connsiteX75591" fmla="*/ 2992358 w 6884782"/>
              <a:gd name="connsiteY75591" fmla="*/ 329210 h 5973007"/>
              <a:gd name="connsiteX75592" fmla="*/ 3006444 w 6884782"/>
              <a:gd name="connsiteY75592" fmla="*/ 346994 h 5973007"/>
              <a:gd name="connsiteX75593" fmla="*/ 3006871 w 6884782"/>
              <a:gd name="connsiteY75593" fmla="*/ 349697 h 5973007"/>
              <a:gd name="connsiteX75594" fmla="*/ 3004737 w 6884782"/>
              <a:gd name="connsiteY75594" fmla="*/ 351831 h 5973007"/>
              <a:gd name="connsiteX75595" fmla="*/ 2992998 w 6884782"/>
              <a:gd name="connsiteY75595" fmla="*/ 342868 h 5973007"/>
              <a:gd name="connsiteX75596" fmla="*/ 2992571 w 6884782"/>
              <a:gd name="connsiteY75596" fmla="*/ 339596 h 5973007"/>
              <a:gd name="connsiteX75597" fmla="*/ 2991291 w 6884782"/>
              <a:gd name="connsiteY75597" fmla="*/ 337320 h 5973007"/>
              <a:gd name="connsiteX75598" fmla="*/ 2992358 w 6884782"/>
              <a:gd name="connsiteY75598" fmla="*/ 329210 h 5973007"/>
              <a:gd name="connsiteX75599" fmla="*/ 2958851 w 6884782"/>
              <a:gd name="connsiteY75599" fmla="*/ 327503 h 5973007"/>
              <a:gd name="connsiteX75600" fmla="*/ 2960985 w 6884782"/>
              <a:gd name="connsiteY75600" fmla="*/ 328784 h 5973007"/>
              <a:gd name="connsiteX75601" fmla="*/ 2962479 w 6884782"/>
              <a:gd name="connsiteY75601" fmla="*/ 330917 h 5973007"/>
              <a:gd name="connsiteX75602" fmla="*/ 2958211 w 6884782"/>
              <a:gd name="connsiteY75602" fmla="*/ 332340 h 5973007"/>
              <a:gd name="connsiteX75603" fmla="*/ 2957997 w 6884782"/>
              <a:gd name="connsiteY75603" fmla="*/ 330064 h 5973007"/>
              <a:gd name="connsiteX75604" fmla="*/ 2956717 w 6884782"/>
              <a:gd name="connsiteY75604" fmla="*/ 330206 h 5973007"/>
              <a:gd name="connsiteX75605" fmla="*/ 2957570 w 6884782"/>
              <a:gd name="connsiteY75605" fmla="*/ 327787 h 5973007"/>
              <a:gd name="connsiteX75606" fmla="*/ 2958638 w 6884782"/>
              <a:gd name="connsiteY75606" fmla="*/ 327787 h 5973007"/>
              <a:gd name="connsiteX75607" fmla="*/ 2958851 w 6884782"/>
              <a:gd name="connsiteY75607" fmla="*/ 327503 h 5973007"/>
              <a:gd name="connsiteX75608" fmla="*/ 3396788 w 6884782"/>
              <a:gd name="connsiteY75608" fmla="*/ 326650 h 5973007"/>
              <a:gd name="connsiteX75609" fmla="*/ 3400843 w 6884782"/>
              <a:gd name="connsiteY75609" fmla="*/ 327361 h 5973007"/>
              <a:gd name="connsiteX75610" fmla="*/ 3396575 w 6884782"/>
              <a:gd name="connsiteY75610" fmla="*/ 335897 h 5973007"/>
              <a:gd name="connsiteX75611" fmla="*/ 3393374 w 6884782"/>
              <a:gd name="connsiteY75611" fmla="*/ 327361 h 5973007"/>
              <a:gd name="connsiteX75612" fmla="*/ 3396788 w 6884782"/>
              <a:gd name="connsiteY75612" fmla="*/ 326650 h 5973007"/>
              <a:gd name="connsiteX75613" fmla="*/ 3375446 w 6884782"/>
              <a:gd name="connsiteY75613" fmla="*/ 325512 h 5973007"/>
              <a:gd name="connsiteX75614" fmla="*/ 3381849 w 6884782"/>
              <a:gd name="connsiteY75614" fmla="*/ 327219 h 5973007"/>
              <a:gd name="connsiteX75615" fmla="*/ 3381849 w 6884782"/>
              <a:gd name="connsiteY75615" fmla="*/ 337035 h 5973007"/>
              <a:gd name="connsiteX75616" fmla="*/ 3361788 w 6884782"/>
              <a:gd name="connsiteY75616" fmla="*/ 340165 h 5973007"/>
              <a:gd name="connsiteX75617" fmla="*/ 3375446 w 6884782"/>
              <a:gd name="connsiteY75617" fmla="*/ 325512 h 5973007"/>
              <a:gd name="connsiteX75618" fmla="*/ 3240565 w 6884782"/>
              <a:gd name="connsiteY75618" fmla="*/ 324658 h 5973007"/>
              <a:gd name="connsiteX75619" fmla="*/ 3254865 w 6884782"/>
              <a:gd name="connsiteY75619" fmla="*/ 335186 h 5973007"/>
              <a:gd name="connsiteX75620" fmla="*/ 3242059 w 6884782"/>
              <a:gd name="connsiteY75620" fmla="*/ 348274 h 5973007"/>
              <a:gd name="connsiteX75621" fmla="*/ 3237151 w 6884782"/>
              <a:gd name="connsiteY75621" fmla="*/ 341872 h 5973007"/>
              <a:gd name="connsiteX75622" fmla="*/ 3234163 w 6884782"/>
              <a:gd name="connsiteY75622" fmla="*/ 344149 h 5973007"/>
              <a:gd name="connsiteX75623" fmla="*/ 3226693 w 6884782"/>
              <a:gd name="connsiteY75623" fmla="*/ 344433 h 5973007"/>
              <a:gd name="connsiteX75624" fmla="*/ 3224772 w 6884782"/>
              <a:gd name="connsiteY75624" fmla="*/ 339881 h 5973007"/>
              <a:gd name="connsiteX75625" fmla="*/ 3229040 w 6884782"/>
              <a:gd name="connsiteY75625" fmla="*/ 333621 h 5973007"/>
              <a:gd name="connsiteX75626" fmla="*/ 3230535 w 6884782"/>
              <a:gd name="connsiteY75626" fmla="*/ 333479 h 5973007"/>
              <a:gd name="connsiteX75627" fmla="*/ 3230535 w 6884782"/>
              <a:gd name="connsiteY75627" fmla="*/ 333194 h 5973007"/>
              <a:gd name="connsiteX75628" fmla="*/ 3240565 w 6884782"/>
              <a:gd name="connsiteY75628" fmla="*/ 324658 h 5973007"/>
              <a:gd name="connsiteX75629" fmla="*/ 2781286 w 6884782"/>
              <a:gd name="connsiteY75629" fmla="*/ 321670 h 5973007"/>
              <a:gd name="connsiteX75630" fmla="*/ 2785981 w 6884782"/>
              <a:gd name="connsiteY75630" fmla="*/ 322097 h 5973007"/>
              <a:gd name="connsiteX75631" fmla="*/ 2771468 w 6884782"/>
              <a:gd name="connsiteY75631" fmla="*/ 345429 h 5973007"/>
              <a:gd name="connsiteX75632" fmla="*/ 2767200 w 6884782"/>
              <a:gd name="connsiteY75632" fmla="*/ 340876 h 5973007"/>
              <a:gd name="connsiteX75633" fmla="*/ 2781286 w 6884782"/>
              <a:gd name="connsiteY75633" fmla="*/ 321670 h 5973007"/>
              <a:gd name="connsiteX75634" fmla="*/ 2649819 w 6884782"/>
              <a:gd name="connsiteY75634" fmla="*/ 321101 h 5973007"/>
              <a:gd name="connsiteX75635" fmla="*/ 2656435 w 6884782"/>
              <a:gd name="connsiteY75635" fmla="*/ 332625 h 5973007"/>
              <a:gd name="connsiteX75636" fmla="*/ 2644697 w 6884782"/>
              <a:gd name="connsiteY75636" fmla="*/ 324942 h 5973007"/>
              <a:gd name="connsiteX75637" fmla="*/ 2649819 w 6884782"/>
              <a:gd name="connsiteY75637" fmla="*/ 321101 h 5973007"/>
              <a:gd name="connsiteX75638" fmla="*/ 2606282 w 6884782"/>
              <a:gd name="connsiteY75638" fmla="*/ 320248 h 5973007"/>
              <a:gd name="connsiteX75639" fmla="*/ 2595611 w 6884782"/>
              <a:gd name="connsiteY75639" fmla="*/ 343580 h 5973007"/>
              <a:gd name="connsiteX75640" fmla="*/ 2606282 w 6884782"/>
              <a:gd name="connsiteY75640" fmla="*/ 320248 h 5973007"/>
              <a:gd name="connsiteX75641" fmla="*/ 3119343 w 6884782"/>
              <a:gd name="connsiteY75641" fmla="*/ 319963 h 5973007"/>
              <a:gd name="connsiteX75642" fmla="*/ 3122758 w 6884782"/>
              <a:gd name="connsiteY75642" fmla="*/ 320816 h 5973007"/>
              <a:gd name="connsiteX75643" fmla="*/ 3122117 w 6884782"/>
              <a:gd name="connsiteY75643" fmla="*/ 328072 h 5973007"/>
              <a:gd name="connsiteX75644" fmla="*/ 3114434 w 6884782"/>
              <a:gd name="connsiteY75644" fmla="*/ 324231 h 5973007"/>
              <a:gd name="connsiteX75645" fmla="*/ 3115928 w 6884782"/>
              <a:gd name="connsiteY75645" fmla="*/ 321955 h 5973007"/>
              <a:gd name="connsiteX75646" fmla="*/ 3119343 w 6884782"/>
              <a:gd name="connsiteY75646" fmla="*/ 319963 h 5973007"/>
              <a:gd name="connsiteX75647" fmla="*/ 3312701 w 6884782"/>
              <a:gd name="connsiteY75647" fmla="*/ 315411 h 5973007"/>
              <a:gd name="connsiteX75648" fmla="*/ 3330842 w 6884782"/>
              <a:gd name="connsiteY75648" fmla="*/ 315979 h 5973007"/>
              <a:gd name="connsiteX75649" fmla="*/ 3332976 w 6884782"/>
              <a:gd name="connsiteY75649" fmla="*/ 318398 h 5973007"/>
              <a:gd name="connsiteX75650" fmla="*/ 3334043 w 6884782"/>
              <a:gd name="connsiteY75650" fmla="*/ 318398 h 5973007"/>
              <a:gd name="connsiteX75651" fmla="*/ 3334897 w 6884782"/>
              <a:gd name="connsiteY75651" fmla="*/ 319536 h 5973007"/>
              <a:gd name="connsiteX75652" fmla="*/ 3334897 w 6884782"/>
              <a:gd name="connsiteY75652" fmla="*/ 320816 h 5973007"/>
              <a:gd name="connsiteX75653" fmla="*/ 3328067 w 6884782"/>
              <a:gd name="connsiteY75653" fmla="*/ 321955 h 5973007"/>
              <a:gd name="connsiteX75654" fmla="*/ 3322305 w 6884782"/>
              <a:gd name="connsiteY75654" fmla="*/ 321813 h 5973007"/>
              <a:gd name="connsiteX75655" fmla="*/ 3304592 w 6884782"/>
              <a:gd name="connsiteY75655" fmla="*/ 316691 h 5973007"/>
              <a:gd name="connsiteX75656" fmla="*/ 3312701 w 6884782"/>
              <a:gd name="connsiteY75656" fmla="*/ 315411 h 5973007"/>
              <a:gd name="connsiteX75657" fmla="*/ 3082208 w 6884782"/>
              <a:gd name="connsiteY75657" fmla="*/ 314272 h 5973007"/>
              <a:gd name="connsiteX75658" fmla="*/ 3085836 w 6884782"/>
              <a:gd name="connsiteY75658" fmla="*/ 314557 h 5973007"/>
              <a:gd name="connsiteX75659" fmla="*/ 3078153 w 6884782"/>
              <a:gd name="connsiteY75659" fmla="*/ 323378 h 5973007"/>
              <a:gd name="connsiteX75660" fmla="*/ 3082208 w 6884782"/>
              <a:gd name="connsiteY75660" fmla="*/ 314272 h 5973007"/>
              <a:gd name="connsiteX75661" fmla="*/ 3092665 w 6884782"/>
              <a:gd name="connsiteY75661" fmla="*/ 314130 h 5973007"/>
              <a:gd name="connsiteX75662" fmla="*/ 3108245 w 6884782"/>
              <a:gd name="connsiteY75662" fmla="*/ 332767 h 5973007"/>
              <a:gd name="connsiteX75663" fmla="*/ 3104190 w 6884782"/>
              <a:gd name="connsiteY75663" fmla="*/ 357238 h 5973007"/>
              <a:gd name="connsiteX75664" fmla="*/ 3092665 w 6884782"/>
              <a:gd name="connsiteY75664" fmla="*/ 314130 h 5973007"/>
              <a:gd name="connsiteX75665" fmla="*/ 3184649 w 6884782"/>
              <a:gd name="connsiteY75665" fmla="*/ 313703 h 5973007"/>
              <a:gd name="connsiteX75666" fmla="*/ 3195961 w 6884782"/>
              <a:gd name="connsiteY75666" fmla="*/ 314841 h 5973007"/>
              <a:gd name="connsiteX75667" fmla="*/ 3198095 w 6884782"/>
              <a:gd name="connsiteY75667" fmla="*/ 314984 h 5973007"/>
              <a:gd name="connsiteX75668" fmla="*/ 3200229 w 6884782"/>
              <a:gd name="connsiteY75668" fmla="*/ 317402 h 5973007"/>
              <a:gd name="connsiteX75669" fmla="*/ 3189771 w 6884782"/>
              <a:gd name="connsiteY75669" fmla="*/ 318398 h 5973007"/>
              <a:gd name="connsiteX75670" fmla="*/ 3184009 w 6884782"/>
              <a:gd name="connsiteY75670" fmla="*/ 318256 h 5973007"/>
              <a:gd name="connsiteX75671" fmla="*/ 3182088 w 6884782"/>
              <a:gd name="connsiteY75671" fmla="*/ 315837 h 5973007"/>
              <a:gd name="connsiteX75672" fmla="*/ 3182088 w 6884782"/>
              <a:gd name="connsiteY75672" fmla="*/ 314699 h 5973007"/>
              <a:gd name="connsiteX75673" fmla="*/ 3184649 w 6884782"/>
              <a:gd name="connsiteY75673" fmla="*/ 313703 h 5973007"/>
              <a:gd name="connsiteX75674" fmla="*/ 2735401 w 6884782"/>
              <a:gd name="connsiteY75674" fmla="*/ 311284 h 5973007"/>
              <a:gd name="connsiteX75675" fmla="*/ 2749273 w 6884782"/>
              <a:gd name="connsiteY75675" fmla="*/ 321386 h 5973007"/>
              <a:gd name="connsiteX75676" fmla="*/ 2752901 w 6884782"/>
              <a:gd name="connsiteY75676" fmla="*/ 338600 h 5973007"/>
              <a:gd name="connsiteX75677" fmla="*/ 2742017 w 6884782"/>
              <a:gd name="connsiteY75677" fmla="*/ 327361 h 5973007"/>
              <a:gd name="connsiteX75678" fmla="*/ 2735401 w 6884782"/>
              <a:gd name="connsiteY75678" fmla="*/ 311284 h 5973007"/>
              <a:gd name="connsiteX75679" fmla="*/ 2303226 w 6884782"/>
              <a:gd name="connsiteY75679" fmla="*/ 311000 h 5973007"/>
              <a:gd name="connsiteX75680" fmla="*/ 2304933 w 6884782"/>
              <a:gd name="connsiteY75680" fmla="*/ 323378 h 5973007"/>
              <a:gd name="connsiteX75681" fmla="*/ 2303226 w 6884782"/>
              <a:gd name="connsiteY75681" fmla="*/ 311000 h 5973007"/>
              <a:gd name="connsiteX75682" fmla="*/ 2564452 w 6884782"/>
              <a:gd name="connsiteY75682" fmla="*/ 310858 h 5973007"/>
              <a:gd name="connsiteX75683" fmla="*/ 2565945 w 6884782"/>
              <a:gd name="connsiteY75683" fmla="*/ 314557 h 5973007"/>
              <a:gd name="connsiteX75684" fmla="*/ 2564024 w 6884782"/>
              <a:gd name="connsiteY75684" fmla="*/ 327930 h 5973007"/>
              <a:gd name="connsiteX75685" fmla="*/ 2555915 w 6884782"/>
              <a:gd name="connsiteY75685" fmla="*/ 326792 h 5973007"/>
              <a:gd name="connsiteX75686" fmla="*/ 2564452 w 6884782"/>
              <a:gd name="connsiteY75686" fmla="*/ 310858 h 5973007"/>
              <a:gd name="connsiteX75687" fmla="*/ 2848300 w 6884782"/>
              <a:gd name="connsiteY75687" fmla="*/ 306732 h 5973007"/>
              <a:gd name="connsiteX75688" fmla="*/ 2855129 w 6884782"/>
              <a:gd name="connsiteY75688" fmla="*/ 308439 h 5973007"/>
              <a:gd name="connsiteX75689" fmla="*/ 2842964 w 6884782"/>
              <a:gd name="connsiteY75689" fmla="*/ 315979 h 5973007"/>
              <a:gd name="connsiteX75690" fmla="*/ 2841257 w 6884782"/>
              <a:gd name="connsiteY75690" fmla="*/ 308724 h 5973007"/>
              <a:gd name="connsiteX75691" fmla="*/ 2848300 w 6884782"/>
              <a:gd name="connsiteY75691" fmla="*/ 306732 h 5973007"/>
              <a:gd name="connsiteX75692" fmla="*/ 2824183 w 6884782"/>
              <a:gd name="connsiteY75692" fmla="*/ 305594 h 5973007"/>
              <a:gd name="connsiteX75693" fmla="*/ 2827385 w 6884782"/>
              <a:gd name="connsiteY75693" fmla="*/ 325512 h 5973007"/>
              <a:gd name="connsiteX75694" fmla="*/ 2817994 w 6884782"/>
              <a:gd name="connsiteY75694" fmla="*/ 322382 h 5973007"/>
              <a:gd name="connsiteX75695" fmla="*/ 2824183 w 6884782"/>
              <a:gd name="connsiteY75695" fmla="*/ 305594 h 5973007"/>
              <a:gd name="connsiteX75696" fmla="*/ 3048701 w 6884782"/>
              <a:gd name="connsiteY75696" fmla="*/ 302606 h 5973007"/>
              <a:gd name="connsiteX75697" fmla="*/ 3047634 w 6884782"/>
              <a:gd name="connsiteY75697" fmla="*/ 309435 h 5973007"/>
              <a:gd name="connsiteX75698" fmla="*/ 3043152 w 6884782"/>
              <a:gd name="connsiteY75698" fmla="*/ 307728 h 5973007"/>
              <a:gd name="connsiteX75699" fmla="*/ 3048701 w 6884782"/>
              <a:gd name="connsiteY75699" fmla="*/ 302606 h 5973007"/>
              <a:gd name="connsiteX75700" fmla="*/ 2710217 w 6884782"/>
              <a:gd name="connsiteY75700" fmla="*/ 298054 h 5973007"/>
              <a:gd name="connsiteX75701" fmla="*/ 2719608 w 6884782"/>
              <a:gd name="connsiteY75701" fmla="*/ 310858 h 5973007"/>
              <a:gd name="connsiteX75702" fmla="*/ 2723663 w 6884782"/>
              <a:gd name="connsiteY75702" fmla="*/ 329922 h 5973007"/>
              <a:gd name="connsiteX75703" fmla="*/ 2708083 w 6884782"/>
              <a:gd name="connsiteY75703" fmla="*/ 328357 h 5973007"/>
              <a:gd name="connsiteX75704" fmla="*/ 2710217 w 6884782"/>
              <a:gd name="connsiteY75704" fmla="*/ 298054 h 5973007"/>
              <a:gd name="connsiteX75705" fmla="*/ 2740523 w 6884782"/>
              <a:gd name="connsiteY75705" fmla="*/ 297769 h 5973007"/>
              <a:gd name="connsiteX75706" fmla="*/ 2744791 w 6884782"/>
              <a:gd name="connsiteY75706" fmla="*/ 300045 h 5973007"/>
              <a:gd name="connsiteX75707" fmla="*/ 2740310 w 6884782"/>
              <a:gd name="connsiteY75707" fmla="*/ 310147 h 5973007"/>
              <a:gd name="connsiteX75708" fmla="*/ 2740523 w 6884782"/>
              <a:gd name="connsiteY75708" fmla="*/ 297769 h 5973007"/>
              <a:gd name="connsiteX75709" fmla="*/ 2893118 w 6884782"/>
              <a:gd name="connsiteY75709" fmla="*/ 297342 h 5973007"/>
              <a:gd name="connsiteX75710" fmla="*/ 2901228 w 6884782"/>
              <a:gd name="connsiteY75710" fmla="*/ 304740 h 5973007"/>
              <a:gd name="connsiteX75711" fmla="*/ 2895892 w 6884782"/>
              <a:gd name="connsiteY75711" fmla="*/ 309150 h 5973007"/>
              <a:gd name="connsiteX75712" fmla="*/ 2893118 w 6884782"/>
              <a:gd name="connsiteY75712" fmla="*/ 297342 h 5973007"/>
              <a:gd name="connsiteX75713" fmla="*/ 3279407 w 6884782"/>
              <a:gd name="connsiteY75713" fmla="*/ 296204 h 5973007"/>
              <a:gd name="connsiteX75714" fmla="*/ 3273005 w 6884782"/>
              <a:gd name="connsiteY75714" fmla="*/ 309862 h 5973007"/>
              <a:gd name="connsiteX75715" fmla="*/ 3279407 w 6884782"/>
              <a:gd name="connsiteY75715" fmla="*/ 296204 h 5973007"/>
              <a:gd name="connsiteX75716" fmla="*/ 2541402 w 6884782"/>
              <a:gd name="connsiteY75716" fmla="*/ 295919 h 5973007"/>
              <a:gd name="connsiteX75717" fmla="*/ 2543963 w 6884782"/>
              <a:gd name="connsiteY75717" fmla="*/ 297626 h 5973007"/>
              <a:gd name="connsiteX75718" fmla="*/ 2528810 w 6884782"/>
              <a:gd name="connsiteY75718" fmla="*/ 312849 h 5973007"/>
              <a:gd name="connsiteX75719" fmla="*/ 2527103 w 6884782"/>
              <a:gd name="connsiteY75719" fmla="*/ 310715 h 5973007"/>
              <a:gd name="connsiteX75720" fmla="*/ 2527743 w 6884782"/>
              <a:gd name="connsiteY75720" fmla="*/ 307443 h 5973007"/>
              <a:gd name="connsiteX75721" fmla="*/ 2534999 w 6884782"/>
              <a:gd name="connsiteY75721" fmla="*/ 299191 h 5973007"/>
              <a:gd name="connsiteX75722" fmla="*/ 2537134 w 6884782"/>
              <a:gd name="connsiteY75722" fmla="*/ 297769 h 5973007"/>
              <a:gd name="connsiteX75723" fmla="*/ 2539268 w 6884782"/>
              <a:gd name="connsiteY75723" fmla="*/ 296204 h 5973007"/>
              <a:gd name="connsiteX75724" fmla="*/ 2541402 w 6884782"/>
              <a:gd name="connsiteY75724" fmla="*/ 295919 h 5973007"/>
              <a:gd name="connsiteX75725" fmla="*/ 2450486 w 6884782"/>
              <a:gd name="connsiteY75725" fmla="*/ 289944 h 5973007"/>
              <a:gd name="connsiteX75726" fmla="*/ 2456461 w 6884782"/>
              <a:gd name="connsiteY75726" fmla="*/ 297342 h 5973007"/>
              <a:gd name="connsiteX75727" fmla="*/ 2447284 w 6884782"/>
              <a:gd name="connsiteY75727" fmla="*/ 296916 h 5973007"/>
              <a:gd name="connsiteX75728" fmla="*/ 2450486 w 6884782"/>
              <a:gd name="connsiteY75728" fmla="*/ 289944 h 5973007"/>
              <a:gd name="connsiteX75729" fmla="*/ 2614605 w 6884782"/>
              <a:gd name="connsiteY75729" fmla="*/ 281408 h 5973007"/>
              <a:gd name="connsiteX75730" fmla="*/ 2617593 w 6884782"/>
              <a:gd name="connsiteY75730" fmla="*/ 281693 h 5973007"/>
              <a:gd name="connsiteX75731" fmla="*/ 2630185 w 6884782"/>
              <a:gd name="connsiteY75731" fmla="*/ 287810 h 5973007"/>
              <a:gd name="connsiteX75732" fmla="*/ 2625703 w 6884782"/>
              <a:gd name="connsiteY75732" fmla="*/ 299049 h 5973007"/>
              <a:gd name="connsiteX75733" fmla="*/ 2609696 w 6884782"/>
              <a:gd name="connsiteY75733" fmla="*/ 290087 h 5973007"/>
              <a:gd name="connsiteX75734" fmla="*/ 2614605 w 6884782"/>
              <a:gd name="connsiteY75734" fmla="*/ 281408 h 5973007"/>
              <a:gd name="connsiteX75735" fmla="*/ 2847233 w 6884782"/>
              <a:gd name="connsiteY75735" fmla="*/ 276144 h 5973007"/>
              <a:gd name="connsiteX75736" fmla="*/ 2850434 w 6884782"/>
              <a:gd name="connsiteY75736" fmla="*/ 277851 h 5973007"/>
              <a:gd name="connsiteX75737" fmla="*/ 2835494 w 6884782"/>
              <a:gd name="connsiteY75737" fmla="*/ 298481 h 5973007"/>
              <a:gd name="connsiteX75738" fmla="*/ 2833147 w 6884782"/>
              <a:gd name="connsiteY75738" fmla="*/ 294924 h 5973007"/>
              <a:gd name="connsiteX75739" fmla="*/ 2847233 w 6884782"/>
              <a:gd name="connsiteY75739" fmla="*/ 276144 h 5973007"/>
              <a:gd name="connsiteX75740" fmla="*/ 3042725 w 6884782"/>
              <a:gd name="connsiteY75740" fmla="*/ 275433 h 5973007"/>
              <a:gd name="connsiteX75741" fmla="*/ 3044859 w 6884782"/>
              <a:gd name="connsiteY75741" fmla="*/ 276002 h 5973007"/>
              <a:gd name="connsiteX75742" fmla="*/ 3024584 w 6884782"/>
              <a:gd name="connsiteY75742" fmla="*/ 302891 h 5973007"/>
              <a:gd name="connsiteX75743" fmla="*/ 3037603 w 6884782"/>
              <a:gd name="connsiteY75743" fmla="*/ 276998 h 5973007"/>
              <a:gd name="connsiteX75744" fmla="*/ 3042725 w 6884782"/>
              <a:gd name="connsiteY75744" fmla="*/ 275433 h 5973007"/>
              <a:gd name="connsiteX75745" fmla="*/ 3262975 w 6884782"/>
              <a:gd name="connsiteY75745" fmla="*/ 274579 h 5973007"/>
              <a:gd name="connsiteX75746" fmla="*/ 3268950 w 6884782"/>
              <a:gd name="connsiteY75746" fmla="*/ 278705 h 5973007"/>
              <a:gd name="connsiteX75747" fmla="*/ 3263188 w 6884782"/>
              <a:gd name="connsiteY75747" fmla="*/ 294497 h 5973007"/>
              <a:gd name="connsiteX75748" fmla="*/ 3254011 w 6884782"/>
              <a:gd name="connsiteY75748" fmla="*/ 291652 h 5973007"/>
              <a:gd name="connsiteX75749" fmla="*/ 3262975 w 6884782"/>
              <a:gd name="connsiteY75749" fmla="*/ 274579 h 5973007"/>
              <a:gd name="connsiteX75750" fmla="*/ 3120837 w 6884782"/>
              <a:gd name="connsiteY75750" fmla="*/ 273868 h 5973007"/>
              <a:gd name="connsiteX75751" fmla="*/ 3126172 w 6884782"/>
              <a:gd name="connsiteY75751" fmla="*/ 275717 h 5973007"/>
              <a:gd name="connsiteX75752" fmla="*/ 3112940 w 6884782"/>
              <a:gd name="connsiteY75752" fmla="*/ 284680 h 5973007"/>
              <a:gd name="connsiteX75753" fmla="*/ 3115501 w 6884782"/>
              <a:gd name="connsiteY75753" fmla="*/ 274721 h 5973007"/>
              <a:gd name="connsiteX75754" fmla="*/ 3120837 w 6884782"/>
              <a:gd name="connsiteY75754" fmla="*/ 273868 h 5973007"/>
              <a:gd name="connsiteX75755" fmla="*/ 2541615 w 6884782"/>
              <a:gd name="connsiteY75755" fmla="*/ 269600 h 5973007"/>
              <a:gd name="connsiteX75756" fmla="*/ 2552500 w 6884782"/>
              <a:gd name="connsiteY75756" fmla="*/ 274721 h 5973007"/>
              <a:gd name="connsiteX75757" fmla="*/ 2539054 w 6884782"/>
              <a:gd name="connsiteY75757" fmla="*/ 276144 h 5973007"/>
              <a:gd name="connsiteX75758" fmla="*/ 2541615 w 6884782"/>
              <a:gd name="connsiteY75758" fmla="*/ 269600 h 5973007"/>
              <a:gd name="connsiteX75759" fmla="*/ 2642136 w 6884782"/>
              <a:gd name="connsiteY75759" fmla="*/ 266755 h 5973007"/>
              <a:gd name="connsiteX75760" fmla="*/ 2637868 w 6884782"/>
              <a:gd name="connsiteY75760" fmla="*/ 304455 h 5973007"/>
              <a:gd name="connsiteX75761" fmla="*/ 2642136 w 6884782"/>
              <a:gd name="connsiteY75761" fmla="*/ 266755 h 5973007"/>
              <a:gd name="connsiteX75762" fmla="*/ 2944766 w 6884782"/>
              <a:gd name="connsiteY75762" fmla="*/ 265332 h 5973007"/>
              <a:gd name="connsiteX75763" fmla="*/ 2956290 w 6884782"/>
              <a:gd name="connsiteY75763" fmla="*/ 278563 h 5973007"/>
              <a:gd name="connsiteX75764" fmla="*/ 2958638 w 6884782"/>
              <a:gd name="connsiteY75764" fmla="*/ 287099 h 5973007"/>
              <a:gd name="connsiteX75765" fmla="*/ 2959492 w 6884782"/>
              <a:gd name="connsiteY75765" fmla="*/ 302037 h 5973007"/>
              <a:gd name="connsiteX75766" fmla="*/ 2956504 w 6884782"/>
              <a:gd name="connsiteY75766" fmla="*/ 304882 h 5973007"/>
              <a:gd name="connsiteX75767" fmla="*/ 2937083 w 6884782"/>
              <a:gd name="connsiteY75767" fmla="*/ 292363 h 5973007"/>
              <a:gd name="connsiteX75768" fmla="*/ 2937723 w 6884782"/>
              <a:gd name="connsiteY75768" fmla="*/ 266328 h 5973007"/>
              <a:gd name="connsiteX75769" fmla="*/ 2944766 w 6884782"/>
              <a:gd name="connsiteY75769" fmla="*/ 265332 h 5973007"/>
              <a:gd name="connsiteX75770" fmla="*/ 3001322 w 6884782"/>
              <a:gd name="connsiteY75770" fmla="*/ 252243 h 5973007"/>
              <a:gd name="connsiteX75771" fmla="*/ 3003669 w 6884782"/>
              <a:gd name="connsiteY75771" fmla="*/ 253950 h 5973007"/>
              <a:gd name="connsiteX75772" fmla="*/ 3002602 w 6884782"/>
              <a:gd name="connsiteY75772" fmla="*/ 260495 h 5973007"/>
              <a:gd name="connsiteX75773" fmla="*/ 3000041 w 6884782"/>
              <a:gd name="connsiteY75773" fmla="*/ 261775 h 5973007"/>
              <a:gd name="connsiteX75774" fmla="*/ 2999188 w 6884782"/>
              <a:gd name="connsiteY75774" fmla="*/ 261206 h 5973007"/>
              <a:gd name="connsiteX75775" fmla="*/ 2995346 w 6884782"/>
              <a:gd name="connsiteY75775" fmla="*/ 258787 h 5973007"/>
              <a:gd name="connsiteX75776" fmla="*/ 2996840 w 6884782"/>
              <a:gd name="connsiteY75776" fmla="*/ 252385 h 5973007"/>
              <a:gd name="connsiteX75777" fmla="*/ 3001322 w 6884782"/>
              <a:gd name="connsiteY75777" fmla="*/ 252243 h 5973007"/>
              <a:gd name="connsiteX75778" fmla="*/ 3128093 w 6884782"/>
              <a:gd name="connsiteY75778" fmla="*/ 250251 h 5973007"/>
              <a:gd name="connsiteX75779" fmla="*/ 3130654 w 6884782"/>
              <a:gd name="connsiteY75779" fmla="*/ 250536 h 5973007"/>
              <a:gd name="connsiteX75780" fmla="*/ 3130441 w 6884782"/>
              <a:gd name="connsiteY75780" fmla="*/ 253950 h 5973007"/>
              <a:gd name="connsiteX75781" fmla="*/ 3119770 w 6884782"/>
              <a:gd name="connsiteY75781" fmla="*/ 258503 h 5973007"/>
              <a:gd name="connsiteX75782" fmla="*/ 3128093 w 6884782"/>
              <a:gd name="connsiteY75782" fmla="*/ 250251 h 5973007"/>
              <a:gd name="connsiteX75783" fmla="*/ 3086049 w 6884782"/>
              <a:gd name="connsiteY75783" fmla="*/ 241858 h 5973007"/>
              <a:gd name="connsiteX75784" fmla="*/ 3089891 w 6884782"/>
              <a:gd name="connsiteY75784" fmla="*/ 250678 h 5973007"/>
              <a:gd name="connsiteX75785" fmla="*/ 3076446 w 6884782"/>
              <a:gd name="connsiteY75785" fmla="*/ 279843 h 5973007"/>
              <a:gd name="connsiteX75786" fmla="*/ 3086049 w 6884782"/>
              <a:gd name="connsiteY75786" fmla="*/ 241858 h 5973007"/>
              <a:gd name="connsiteX75787" fmla="*/ 2846379 w 6884782"/>
              <a:gd name="connsiteY75787" fmla="*/ 240719 h 5973007"/>
              <a:gd name="connsiteX75788" fmla="*/ 2858331 w 6884782"/>
              <a:gd name="connsiteY75788" fmla="*/ 244133 h 5973007"/>
              <a:gd name="connsiteX75789" fmla="*/ 2846379 w 6884782"/>
              <a:gd name="connsiteY75789" fmla="*/ 240719 h 5973007"/>
              <a:gd name="connsiteX75790" fmla="*/ 3178673 w 6884782"/>
              <a:gd name="connsiteY75790" fmla="*/ 239866 h 5973007"/>
              <a:gd name="connsiteX75791" fmla="*/ 3182942 w 6884782"/>
              <a:gd name="connsiteY75791" fmla="*/ 240435 h 5973007"/>
              <a:gd name="connsiteX75792" fmla="*/ 3181661 w 6884782"/>
              <a:gd name="connsiteY75792" fmla="*/ 240435 h 5973007"/>
              <a:gd name="connsiteX75793" fmla="*/ 3182728 w 6884782"/>
              <a:gd name="connsiteY75793" fmla="*/ 241573 h 5973007"/>
              <a:gd name="connsiteX75794" fmla="*/ 3166295 w 6884782"/>
              <a:gd name="connsiteY75794" fmla="*/ 243707 h 5973007"/>
              <a:gd name="connsiteX75795" fmla="*/ 3166509 w 6884782"/>
              <a:gd name="connsiteY75795" fmla="*/ 242426 h 5973007"/>
              <a:gd name="connsiteX75796" fmla="*/ 3178673 w 6884782"/>
              <a:gd name="connsiteY75796" fmla="*/ 239866 h 5973007"/>
              <a:gd name="connsiteX75797" fmla="*/ 3159679 w 6884782"/>
              <a:gd name="connsiteY75797" fmla="*/ 239866 h 5973007"/>
              <a:gd name="connsiteX75798" fmla="*/ 3160746 w 6884782"/>
              <a:gd name="connsiteY75798" fmla="*/ 241146 h 5973007"/>
              <a:gd name="connsiteX75799" fmla="*/ 3154770 w 6884782"/>
              <a:gd name="connsiteY75799" fmla="*/ 243423 h 5973007"/>
              <a:gd name="connsiteX75800" fmla="*/ 3159679 w 6884782"/>
              <a:gd name="connsiteY75800" fmla="*/ 239866 h 5973007"/>
              <a:gd name="connsiteX75801" fmla="*/ 2654088 w 6884782"/>
              <a:gd name="connsiteY75801" fmla="*/ 238016 h 5973007"/>
              <a:gd name="connsiteX75802" fmla="*/ 2662838 w 6884782"/>
              <a:gd name="connsiteY75802" fmla="*/ 241573 h 5973007"/>
              <a:gd name="connsiteX75803" fmla="*/ 2662411 w 6884782"/>
              <a:gd name="connsiteY75803" fmla="*/ 244987 h 5973007"/>
              <a:gd name="connsiteX75804" fmla="*/ 2645124 w 6884782"/>
              <a:gd name="connsiteY75804" fmla="*/ 245698 h 5973007"/>
              <a:gd name="connsiteX75805" fmla="*/ 2643417 w 6884782"/>
              <a:gd name="connsiteY75805" fmla="*/ 240719 h 5973007"/>
              <a:gd name="connsiteX75806" fmla="*/ 2654088 w 6884782"/>
              <a:gd name="connsiteY75806" fmla="*/ 238016 h 5973007"/>
              <a:gd name="connsiteX75807" fmla="*/ 2752474 w 6884782"/>
              <a:gd name="connsiteY75807" fmla="*/ 228769 h 5973007"/>
              <a:gd name="connsiteX75808" fmla="*/ 2760798 w 6884782"/>
              <a:gd name="connsiteY75808" fmla="*/ 234032 h 5973007"/>
              <a:gd name="connsiteX75809" fmla="*/ 2755462 w 6884782"/>
              <a:gd name="connsiteY75809" fmla="*/ 241146 h 5973007"/>
              <a:gd name="connsiteX75810" fmla="*/ 2748206 w 6884782"/>
              <a:gd name="connsiteY75810" fmla="*/ 233464 h 5973007"/>
              <a:gd name="connsiteX75811" fmla="*/ 2752474 w 6884782"/>
              <a:gd name="connsiteY75811" fmla="*/ 228769 h 5973007"/>
              <a:gd name="connsiteX75812" fmla="*/ 3185290 w 6884782"/>
              <a:gd name="connsiteY75812" fmla="*/ 227204 h 5973007"/>
              <a:gd name="connsiteX75813" fmla="*/ 3184649 w 6884782"/>
              <a:gd name="connsiteY75813" fmla="*/ 232041 h 5973007"/>
              <a:gd name="connsiteX75814" fmla="*/ 3182302 w 6884782"/>
              <a:gd name="connsiteY75814" fmla="*/ 232041 h 5973007"/>
              <a:gd name="connsiteX75815" fmla="*/ 3164374 w 6884782"/>
              <a:gd name="connsiteY75815" fmla="*/ 237874 h 5973007"/>
              <a:gd name="connsiteX75816" fmla="*/ 3185290 w 6884782"/>
              <a:gd name="connsiteY75816" fmla="*/ 227204 h 5973007"/>
              <a:gd name="connsiteX75817" fmla="*/ 3116142 w 6884782"/>
              <a:gd name="connsiteY75817" fmla="*/ 226065 h 5973007"/>
              <a:gd name="connsiteX75818" fmla="*/ 3117849 w 6884782"/>
              <a:gd name="connsiteY75818" fmla="*/ 227773 h 5973007"/>
              <a:gd name="connsiteX75819" fmla="*/ 3116995 w 6884782"/>
              <a:gd name="connsiteY75819" fmla="*/ 229765 h 5973007"/>
              <a:gd name="connsiteX75820" fmla="*/ 3114434 w 6884782"/>
              <a:gd name="connsiteY75820" fmla="*/ 232041 h 5973007"/>
              <a:gd name="connsiteX75821" fmla="*/ 3112940 w 6884782"/>
              <a:gd name="connsiteY75821" fmla="*/ 234459 h 5973007"/>
              <a:gd name="connsiteX75822" fmla="*/ 3109312 w 6884782"/>
              <a:gd name="connsiteY75822" fmla="*/ 234317 h 5973007"/>
              <a:gd name="connsiteX75823" fmla="*/ 3110806 w 6884782"/>
              <a:gd name="connsiteY75823" fmla="*/ 231899 h 5973007"/>
              <a:gd name="connsiteX75824" fmla="*/ 3116142 w 6884782"/>
              <a:gd name="connsiteY75824" fmla="*/ 226065 h 5973007"/>
              <a:gd name="connsiteX75825" fmla="*/ 2859824 w 6884782"/>
              <a:gd name="connsiteY75825" fmla="*/ 219806 h 5973007"/>
              <a:gd name="connsiteX75826" fmla="*/ 2863666 w 6884782"/>
              <a:gd name="connsiteY75826" fmla="*/ 220801 h 5973007"/>
              <a:gd name="connsiteX75827" fmla="*/ 2865160 w 6884782"/>
              <a:gd name="connsiteY75827" fmla="*/ 224358 h 5973007"/>
              <a:gd name="connsiteX75828" fmla="*/ 2864306 w 6884782"/>
              <a:gd name="connsiteY75828" fmla="*/ 226777 h 5973007"/>
              <a:gd name="connsiteX75829" fmla="*/ 2842964 w 6884782"/>
              <a:gd name="connsiteY75829" fmla="*/ 233606 h 5973007"/>
              <a:gd name="connsiteX75830" fmla="*/ 2846379 w 6884782"/>
              <a:gd name="connsiteY75830" fmla="*/ 222936 h 5973007"/>
              <a:gd name="connsiteX75831" fmla="*/ 2850861 w 6884782"/>
              <a:gd name="connsiteY75831" fmla="*/ 220517 h 5973007"/>
              <a:gd name="connsiteX75832" fmla="*/ 2855769 w 6884782"/>
              <a:gd name="connsiteY75832" fmla="*/ 220801 h 5973007"/>
              <a:gd name="connsiteX75833" fmla="*/ 2859824 w 6884782"/>
              <a:gd name="connsiteY75833" fmla="*/ 219806 h 5973007"/>
              <a:gd name="connsiteX75834" fmla="*/ 3110166 w 6884782"/>
              <a:gd name="connsiteY75834" fmla="*/ 216391 h 5973007"/>
              <a:gd name="connsiteX75835" fmla="*/ 3112300 w 6884782"/>
              <a:gd name="connsiteY75835" fmla="*/ 216391 h 5973007"/>
              <a:gd name="connsiteX75836" fmla="*/ 3109312 w 6884782"/>
              <a:gd name="connsiteY75836" fmla="*/ 223789 h 5973007"/>
              <a:gd name="connsiteX75837" fmla="*/ 3105897 w 6884782"/>
              <a:gd name="connsiteY75837" fmla="*/ 225070 h 5973007"/>
              <a:gd name="connsiteX75838" fmla="*/ 3106324 w 6884782"/>
              <a:gd name="connsiteY75838" fmla="*/ 221228 h 5973007"/>
              <a:gd name="connsiteX75839" fmla="*/ 3108672 w 6884782"/>
              <a:gd name="connsiteY75839" fmla="*/ 220090 h 5973007"/>
              <a:gd name="connsiteX75840" fmla="*/ 3110166 w 6884782"/>
              <a:gd name="connsiteY75840" fmla="*/ 216391 h 5973007"/>
              <a:gd name="connsiteX75841" fmla="*/ 2661771 w 6884782"/>
              <a:gd name="connsiteY75841" fmla="*/ 215111 h 5973007"/>
              <a:gd name="connsiteX75842" fmla="*/ 2657503 w 6884782"/>
              <a:gd name="connsiteY75842" fmla="*/ 230191 h 5973007"/>
              <a:gd name="connsiteX75843" fmla="*/ 2653448 w 6884782"/>
              <a:gd name="connsiteY75843" fmla="*/ 216676 h 5973007"/>
              <a:gd name="connsiteX75844" fmla="*/ 2661771 w 6884782"/>
              <a:gd name="connsiteY75844" fmla="*/ 215111 h 5973007"/>
              <a:gd name="connsiteX75845" fmla="*/ 2791743 w 6884782"/>
              <a:gd name="connsiteY75845" fmla="*/ 214257 h 5973007"/>
              <a:gd name="connsiteX75846" fmla="*/ 2798360 w 6884782"/>
              <a:gd name="connsiteY75846" fmla="*/ 214257 h 5973007"/>
              <a:gd name="connsiteX75847" fmla="*/ 2806683 w 6884782"/>
              <a:gd name="connsiteY75847" fmla="*/ 216960 h 5973007"/>
              <a:gd name="connsiteX75848" fmla="*/ 2803481 w 6884782"/>
              <a:gd name="connsiteY75848" fmla="*/ 235313 h 5973007"/>
              <a:gd name="connsiteX75849" fmla="*/ 2764426 w 6884782"/>
              <a:gd name="connsiteY75849" fmla="*/ 253950 h 5973007"/>
              <a:gd name="connsiteX75850" fmla="*/ 2759090 w 6884782"/>
              <a:gd name="connsiteY75850" fmla="*/ 243565 h 5973007"/>
              <a:gd name="connsiteX75851" fmla="*/ 2791743 w 6884782"/>
              <a:gd name="connsiteY75851" fmla="*/ 214257 h 5973007"/>
              <a:gd name="connsiteX75852" fmla="*/ 3128947 w 6884782"/>
              <a:gd name="connsiteY75852" fmla="*/ 209989 h 5973007"/>
              <a:gd name="connsiteX75853" fmla="*/ 3131508 w 6884782"/>
              <a:gd name="connsiteY75853" fmla="*/ 210843 h 5973007"/>
              <a:gd name="connsiteX75854" fmla="*/ 3129801 w 6884782"/>
              <a:gd name="connsiteY75854" fmla="*/ 216818 h 5973007"/>
              <a:gd name="connsiteX75855" fmla="*/ 3119130 w 6884782"/>
              <a:gd name="connsiteY75855" fmla="*/ 220233 h 5973007"/>
              <a:gd name="connsiteX75856" fmla="*/ 3119556 w 6884782"/>
              <a:gd name="connsiteY75856" fmla="*/ 215538 h 5973007"/>
              <a:gd name="connsiteX75857" fmla="*/ 3128947 w 6884782"/>
              <a:gd name="connsiteY75857" fmla="*/ 209989 h 5973007"/>
              <a:gd name="connsiteX75858" fmla="*/ 3318890 w 6884782"/>
              <a:gd name="connsiteY75858" fmla="*/ 200315 h 5973007"/>
              <a:gd name="connsiteX75859" fmla="*/ 3322091 w 6884782"/>
              <a:gd name="connsiteY75859" fmla="*/ 201311 h 5973007"/>
              <a:gd name="connsiteX75860" fmla="*/ 3311420 w 6884782"/>
              <a:gd name="connsiteY75860" fmla="*/ 207998 h 5973007"/>
              <a:gd name="connsiteX75861" fmla="*/ 3318890 w 6884782"/>
              <a:gd name="connsiteY75861" fmla="*/ 200315 h 5973007"/>
              <a:gd name="connsiteX75862" fmla="*/ 3236083 w 6884782"/>
              <a:gd name="connsiteY75862" fmla="*/ 190925 h 5973007"/>
              <a:gd name="connsiteX75863" fmla="*/ 3236937 w 6884782"/>
              <a:gd name="connsiteY75863" fmla="*/ 193344 h 5973007"/>
              <a:gd name="connsiteX75864" fmla="*/ 3232028 w 6884782"/>
              <a:gd name="connsiteY75864" fmla="*/ 196758 h 5973007"/>
              <a:gd name="connsiteX75865" fmla="*/ 3232028 w 6884782"/>
              <a:gd name="connsiteY75865" fmla="*/ 198039 h 5973007"/>
              <a:gd name="connsiteX75866" fmla="*/ 3233949 w 6884782"/>
              <a:gd name="connsiteY75866" fmla="*/ 200457 h 5973007"/>
              <a:gd name="connsiteX75867" fmla="*/ 3232669 w 6884782"/>
              <a:gd name="connsiteY75867" fmla="*/ 212407 h 5973007"/>
              <a:gd name="connsiteX75868" fmla="*/ 3219650 w 6884782"/>
              <a:gd name="connsiteY75868" fmla="*/ 215822 h 5973007"/>
              <a:gd name="connsiteX75869" fmla="*/ 3214315 w 6884782"/>
              <a:gd name="connsiteY75869" fmla="*/ 212123 h 5973007"/>
              <a:gd name="connsiteX75870" fmla="*/ 3216876 w 6884782"/>
              <a:gd name="connsiteY75870" fmla="*/ 197754 h 5973007"/>
              <a:gd name="connsiteX75871" fmla="*/ 3229894 w 6884782"/>
              <a:gd name="connsiteY75871" fmla="*/ 195620 h 5973007"/>
              <a:gd name="connsiteX75872" fmla="*/ 3231175 w 6884782"/>
              <a:gd name="connsiteY75872" fmla="*/ 193202 h 5973007"/>
              <a:gd name="connsiteX75873" fmla="*/ 3236083 w 6884782"/>
              <a:gd name="connsiteY75873" fmla="*/ 190925 h 5973007"/>
              <a:gd name="connsiteX75874" fmla="*/ 2708510 w 6884782"/>
              <a:gd name="connsiteY75874" fmla="*/ 177125 h 5973007"/>
              <a:gd name="connsiteX75875" fmla="*/ 2711285 w 6884782"/>
              <a:gd name="connsiteY75875" fmla="*/ 177694 h 5973007"/>
              <a:gd name="connsiteX75876" fmla="*/ 2711925 w 6884782"/>
              <a:gd name="connsiteY75876" fmla="*/ 178974 h 5973007"/>
              <a:gd name="connsiteX75877" fmla="*/ 2709363 w 6884782"/>
              <a:gd name="connsiteY75877" fmla="*/ 183669 h 5973007"/>
              <a:gd name="connsiteX75878" fmla="*/ 2705949 w 6884782"/>
              <a:gd name="connsiteY75878" fmla="*/ 184808 h 5973007"/>
              <a:gd name="connsiteX75879" fmla="*/ 2705095 w 6884782"/>
              <a:gd name="connsiteY75879" fmla="*/ 181109 h 5973007"/>
              <a:gd name="connsiteX75880" fmla="*/ 2706589 w 6884782"/>
              <a:gd name="connsiteY75880" fmla="*/ 177552 h 5973007"/>
              <a:gd name="connsiteX75881" fmla="*/ 2708510 w 6884782"/>
              <a:gd name="connsiteY75881" fmla="*/ 177125 h 5973007"/>
              <a:gd name="connsiteX75882" fmla="*/ 2804549 w 6884782"/>
              <a:gd name="connsiteY75882" fmla="*/ 167166 h 5973007"/>
              <a:gd name="connsiteX75883" fmla="*/ 2804976 w 6884782"/>
              <a:gd name="connsiteY75883" fmla="*/ 181393 h 5973007"/>
              <a:gd name="connsiteX75884" fmla="*/ 2777444 w 6884782"/>
              <a:gd name="connsiteY75884" fmla="*/ 203871 h 5973007"/>
              <a:gd name="connsiteX75885" fmla="*/ 2767627 w 6884782"/>
              <a:gd name="connsiteY75885" fmla="*/ 206859 h 5973007"/>
              <a:gd name="connsiteX75886" fmla="*/ 2768267 w 6884782"/>
              <a:gd name="connsiteY75886" fmla="*/ 208424 h 5973007"/>
              <a:gd name="connsiteX75887" fmla="*/ 2767840 w 6884782"/>
              <a:gd name="connsiteY75887" fmla="*/ 211839 h 5973007"/>
              <a:gd name="connsiteX75888" fmla="*/ 2757597 w 6884782"/>
              <a:gd name="connsiteY75888" fmla="*/ 211697 h 5973007"/>
              <a:gd name="connsiteX75889" fmla="*/ 2756743 w 6884782"/>
              <a:gd name="connsiteY75889" fmla="*/ 207998 h 5973007"/>
              <a:gd name="connsiteX75890" fmla="*/ 2764212 w 6884782"/>
              <a:gd name="connsiteY75890" fmla="*/ 203729 h 5973007"/>
              <a:gd name="connsiteX75891" fmla="*/ 2766987 w 6884782"/>
              <a:gd name="connsiteY75891" fmla="*/ 205721 h 5973007"/>
              <a:gd name="connsiteX75892" fmla="*/ 2764212 w 6884782"/>
              <a:gd name="connsiteY75892" fmla="*/ 200315 h 5973007"/>
              <a:gd name="connsiteX75893" fmla="*/ 2765066 w 6884782"/>
              <a:gd name="connsiteY75893" fmla="*/ 193628 h 5973007"/>
              <a:gd name="connsiteX75894" fmla="*/ 2804549 w 6884782"/>
              <a:gd name="connsiteY75894" fmla="*/ 167166 h 5973007"/>
              <a:gd name="connsiteX75895" fmla="*/ 3092025 w 6884782"/>
              <a:gd name="connsiteY75895" fmla="*/ 163894 h 5973007"/>
              <a:gd name="connsiteX75896" fmla="*/ 3094586 w 6884782"/>
              <a:gd name="connsiteY75896" fmla="*/ 165886 h 5973007"/>
              <a:gd name="connsiteX75897" fmla="*/ 3090745 w 6884782"/>
              <a:gd name="connsiteY75897" fmla="*/ 169300 h 5973007"/>
              <a:gd name="connsiteX75898" fmla="*/ 3090104 w 6884782"/>
              <a:gd name="connsiteY75898" fmla="*/ 164606 h 5973007"/>
              <a:gd name="connsiteX75899" fmla="*/ 3092025 w 6884782"/>
              <a:gd name="connsiteY75899" fmla="*/ 163894 h 5973007"/>
              <a:gd name="connsiteX75900" fmla="*/ 3078580 w 6884782"/>
              <a:gd name="connsiteY75900" fmla="*/ 163325 h 5973007"/>
              <a:gd name="connsiteX75901" fmla="*/ 3081994 w 6884782"/>
              <a:gd name="connsiteY75901" fmla="*/ 167735 h 5973007"/>
              <a:gd name="connsiteX75902" fmla="*/ 3079860 w 6884782"/>
              <a:gd name="connsiteY75902" fmla="*/ 172857 h 5973007"/>
              <a:gd name="connsiteX75903" fmla="*/ 3077513 w 6884782"/>
              <a:gd name="connsiteY75903" fmla="*/ 173995 h 5973007"/>
              <a:gd name="connsiteX75904" fmla="*/ 3075592 w 6884782"/>
              <a:gd name="connsiteY75904" fmla="*/ 171719 h 5973007"/>
              <a:gd name="connsiteX75905" fmla="*/ 3076232 w 6884782"/>
              <a:gd name="connsiteY75905" fmla="*/ 164606 h 5973007"/>
              <a:gd name="connsiteX75906" fmla="*/ 3078580 w 6884782"/>
              <a:gd name="connsiteY75906" fmla="*/ 163325 h 5973007"/>
              <a:gd name="connsiteX75907" fmla="*/ 3098641 w 6884782"/>
              <a:gd name="connsiteY75907" fmla="*/ 153224 h 5973007"/>
              <a:gd name="connsiteX75908" fmla="*/ 3104617 w 6884782"/>
              <a:gd name="connsiteY75908" fmla="*/ 155358 h 5973007"/>
              <a:gd name="connsiteX75909" fmla="*/ 3106324 w 6884782"/>
              <a:gd name="connsiteY75909" fmla="*/ 158204 h 5973007"/>
              <a:gd name="connsiteX75910" fmla="*/ 3106538 w 6884782"/>
              <a:gd name="connsiteY75910" fmla="*/ 160053 h 5973007"/>
              <a:gd name="connsiteX75911" fmla="*/ 3106324 w 6884782"/>
              <a:gd name="connsiteY75911" fmla="*/ 162471 h 5973007"/>
              <a:gd name="connsiteX75912" fmla="*/ 3095867 w 6884782"/>
              <a:gd name="connsiteY75912" fmla="*/ 164748 h 5973007"/>
              <a:gd name="connsiteX75913" fmla="*/ 3093305 w 6884782"/>
              <a:gd name="connsiteY75913" fmla="*/ 155073 h 5973007"/>
              <a:gd name="connsiteX75914" fmla="*/ 3095653 w 6884782"/>
              <a:gd name="connsiteY75914" fmla="*/ 153935 h 5973007"/>
              <a:gd name="connsiteX75915" fmla="*/ 3098641 w 6884782"/>
              <a:gd name="connsiteY75915" fmla="*/ 153224 h 5973007"/>
              <a:gd name="connsiteX75916" fmla="*/ 2736468 w 6884782"/>
              <a:gd name="connsiteY75916" fmla="*/ 150094 h 5973007"/>
              <a:gd name="connsiteX75917" fmla="*/ 2738815 w 6884782"/>
              <a:gd name="connsiteY75917" fmla="*/ 151090 h 5973007"/>
              <a:gd name="connsiteX75918" fmla="*/ 2737108 w 6884782"/>
              <a:gd name="connsiteY75918" fmla="*/ 159768 h 5973007"/>
              <a:gd name="connsiteX75919" fmla="*/ 2730492 w 6884782"/>
              <a:gd name="connsiteY75919" fmla="*/ 152655 h 5973007"/>
              <a:gd name="connsiteX75920" fmla="*/ 2736468 w 6884782"/>
              <a:gd name="connsiteY75920" fmla="*/ 150094 h 5973007"/>
              <a:gd name="connsiteX75921" fmla="*/ 2384112 w 6884782"/>
              <a:gd name="connsiteY75921" fmla="*/ 149240 h 5973007"/>
              <a:gd name="connsiteX75922" fmla="*/ 2378136 w 6884782"/>
              <a:gd name="connsiteY75922" fmla="*/ 182673 h 5973007"/>
              <a:gd name="connsiteX75923" fmla="*/ 2359782 w 6884782"/>
              <a:gd name="connsiteY75923" fmla="*/ 206859 h 5973007"/>
              <a:gd name="connsiteX75924" fmla="*/ 2357434 w 6884782"/>
              <a:gd name="connsiteY75924" fmla="*/ 173568 h 5973007"/>
              <a:gd name="connsiteX75925" fmla="*/ 2384112 w 6884782"/>
              <a:gd name="connsiteY75925" fmla="*/ 149240 h 5973007"/>
              <a:gd name="connsiteX75926" fmla="*/ 3025651 w 6884782"/>
              <a:gd name="connsiteY75926" fmla="*/ 136009 h 5973007"/>
              <a:gd name="connsiteX75927" fmla="*/ 3033548 w 6884782"/>
              <a:gd name="connsiteY75927" fmla="*/ 137574 h 5973007"/>
              <a:gd name="connsiteX75928" fmla="*/ 3010925 w 6884782"/>
              <a:gd name="connsiteY75928" fmla="*/ 156496 h 5973007"/>
              <a:gd name="connsiteX75929" fmla="*/ 3008578 w 6884782"/>
              <a:gd name="connsiteY75929" fmla="*/ 150948 h 5973007"/>
              <a:gd name="connsiteX75930" fmla="*/ 3025651 w 6884782"/>
              <a:gd name="connsiteY75930" fmla="*/ 136009 h 5973007"/>
              <a:gd name="connsiteX75931" fmla="*/ 2919369 w 6884782"/>
              <a:gd name="connsiteY75931" fmla="*/ 136009 h 5973007"/>
              <a:gd name="connsiteX75932" fmla="*/ 2926198 w 6884782"/>
              <a:gd name="connsiteY75932" fmla="*/ 139139 h 5973007"/>
              <a:gd name="connsiteX75933" fmla="*/ 2929826 w 6884782"/>
              <a:gd name="connsiteY75933" fmla="*/ 143265 h 5973007"/>
              <a:gd name="connsiteX75934" fmla="*/ 2926412 w 6884782"/>
              <a:gd name="connsiteY75934" fmla="*/ 160764 h 5973007"/>
              <a:gd name="connsiteX75935" fmla="*/ 2923850 w 6884782"/>
              <a:gd name="connsiteY75935" fmla="*/ 163041 h 5973007"/>
              <a:gd name="connsiteX75936" fmla="*/ 2921076 w 6884782"/>
              <a:gd name="connsiteY75936" fmla="*/ 167735 h 5973007"/>
              <a:gd name="connsiteX75937" fmla="*/ 2907844 w 6884782"/>
              <a:gd name="connsiteY75937" fmla="*/ 161618 h 5973007"/>
              <a:gd name="connsiteX75938" fmla="*/ 2906350 w 6884782"/>
              <a:gd name="connsiteY75938" fmla="*/ 141131 h 5973007"/>
              <a:gd name="connsiteX75939" fmla="*/ 2919369 w 6884782"/>
              <a:gd name="connsiteY75939" fmla="*/ 136009 h 5973007"/>
              <a:gd name="connsiteX75940" fmla="*/ 2941137 w 6884782"/>
              <a:gd name="connsiteY75940" fmla="*/ 128753 h 5973007"/>
              <a:gd name="connsiteX75941" fmla="*/ 2945192 w 6884782"/>
              <a:gd name="connsiteY75941" fmla="*/ 133591 h 5973007"/>
              <a:gd name="connsiteX75942" fmla="*/ 2941991 w 6884782"/>
              <a:gd name="connsiteY75942" fmla="*/ 143265 h 5973007"/>
              <a:gd name="connsiteX75943" fmla="*/ 2934095 w 6884782"/>
              <a:gd name="connsiteY75943" fmla="*/ 140704 h 5973007"/>
              <a:gd name="connsiteX75944" fmla="*/ 2933454 w 6884782"/>
              <a:gd name="connsiteY75944" fmla="*/ 137147 h 5973007"/>
              <a:gd name="connsiteX75945" fmla="*/ 2935162 w 6884782"/>
              <a:gd name="connsiteY75945" fmla="*/ 129892 h 5973007"/>
              <a:gd name="connsiteX75946" fmla="*/ 2934095 w 6884782"/>
              <a:gd name="connsiteY75946" fmla="*/ 129892 h 5973007"/>
              <a:gd name="connsiteX75947" fmla="*/ 2941137 w 6884782"/>
              <a:gd name="connsiteY75947" fmla="*/ 128753 h 5973007"/>
              <a:gd name="connsiteX75948" fmla="*/ 2172826 w 6884782"/>
              <a:gd name="connsiteY75948" fmla="*/ 104710 h 5973007"/>
              <a:gd name="connsiteX75949" fmla="*/ 2191394 w 6884782"/>
              <a:gd name="connsiteY75949" fmla="*/ 119079 h 5973007"/>
              <a:gd name="connsiteX75950" fmla="*/ 2190540 w 6884782"/>
              <a:gd name="connsiteY75950" fmla="*/ 125624 h 5973007"/>
              <a:gd name="connsiteX75951" fmla="*/ 2159594 w 6884782"/>
              <a:gd name="connsiteY75951" fmla="*/ 147818 h 5973007"/>
              <a:gd name="connsiteX75952" fmla="*/ 2154472 w 6884782"/>
              <a:gd name="connsiteY75952" fmla="*/ 110543 h 5973007"/>
              <a:gd name="connsiteX75953" fmla="*/ 2163863 w 6884782"/>
              <a:gd name="connsiteY75953" fmla="*/ 104852 h 5973007"/>
              <a:gd name="connsiteX75954" fmla="*/ 2172826 w 6884782"/>
              <a:gd name="connsiteY75954" fmla="*/ 104710 h 5973007"/>
              <a:gd name="connsiteX75955" fmla="*/ 3040805 w 6884782"/>
              <a:gd name="connsiteY75955" fmla="*/ 89914 h 5973007"/>
              <a:gd name="connsiteX75956" fmla="*/ 3044219 w 6884782"/>
              <a:gd name="connsiteY75956" fmla="*/ 92190 h 5973007"/>
              <a:gd name="connsiteX75957" fmla="*/ 3044859 w 6884782"/>
              <a:gd name="connsiteY75957" fmla="*/ 97027 h 5973007"/>
              <a:gd name="connsiteX75958" fmla="*/ 3035255 w 6884782"/>
              <a:gd name="connsiteY75958" fmla="*/ 99162 h 5973007"/>
              <a:gd name="connsiteX75959" fmla="*/ 3037176 w 6884782"/>
              <a:gd name="connsiteY75959" fmla="*/ 92048 h 5973007"/>
              <a:gd name="connsiteX75960" fmla="*/ 3040805 w 6884782"/>
              <a:gd name="connsiteY75960" fmla="*/ 89914 h 5973007"/>
              <a:gd name="connsiteX75961" fmla="*/ 2603080 w 6884782"/>
              <a:gd name="connsiteY75961" fmla="*/ 70708 h 5973007"/>
              <a:gd name="connsiteX75962" fmla="*/ 2612471 w 6884782"/>
              <a:gd name="connsiteY75962" fmla="*/ 81094 h 5973007"/>
              <a:gd name="connsiteX75963" fmla="*/ 2614819 w 6884782"/>
              <a:gd name="connsiteY75963" fmla="*/ 91337 h 5973007"/>
              <a:gd name="connsiteX75964" fmla="*/ 2587074 w 6884782"/>
              <a:gd name="connsiteY75964" fmla="*/ 90056 h 5973007"/>
              <a:gd name="connsiteX75965" fmla="*/ 2603080 w 6884782"/>
              <a:gd name="connsiteY75965" fmla="*/ 70708 h 5973007"/>
              <a:gd name="connsiteX75966" fmla="*/ 2933881 w 6884782"/>
              <a:gd name="connsiteY75966" fmla="*/ 55343 h 5973007"/>
              <a:gd name="connsiteX75967" fmla="*/ 2935588 w 6884782"/>
              <a:gd name="connsiteY75967" fmla="*/ 56765 h 5973007"/>
              <a:gd name="connsiteX75968" fmla="*/ 2936869 w 6884782"/>
              <a:gd name="connsiteY75968" fmla="*/ 57904 h 5973007"/>
              <a:gd name="connsiteX75969" fmla="*/ 2936656 w 6884782"/>
              <a:gd name="connsiteY75969" fmla="*/ 59042 h 5973007"/>
              <a:gd name="connsiteX75970" fmla="*/ 2931960 w 6884782"/>
              <a:gd name="connsiteY75970" fmla="*/ 60038 h 5973007"/>
              <a:gd name="connsiteX75971" fmla="*/ 2932174 w 6884782"/>
              <a:gd name="connsiteY75971" fmla="*/ 57904 h 5973007"/>
              <a:gd name="connsiteX75972" fmla="*/ 2931107 w 6884782"/>
              <a:gd name="connsiteY75972" fmla="*/ 57904 h 5973007"/>
              <a:gd name="connsiteX75973" fmla="*/ 2932387 w 6884782"/>
              <a:gd name="connsiteY75973" fmla="*/ 55627 h 5973007"/>
              <a:gd name="connsiteX75974" fmla="*/ 2933454 w 6884782"/>
              <a:gd name="connsiteY75974" fmla="*/ 55627 h 5973007"/>
              <a:gd name="connsiteX75975" fmla="*/ 2933881 w 6884782"/>
              <a:gd name="connsiteY75975" fmla="*/ 55343 h 5973007"/>
              <a:gd name="connsiteX75976" fmla="*/ 2177308 w 6884782"/>
              <a:gd name="connsiteY75976" fmla="*/ 0 h 5973007"/>
              <a:gd name="connsiteX75977" fmla="*/ 2184137 w 6884782"/>
              <a:gd name="connsiteY75977" fmla="*/ 14085 h 5973007"/>
              <a:gd name="connsiteX75978" fmla="*/ 2181790 w 6884782"/>
              <a:gd name="connsiteY75978" fmla="*/ 34145 h 5973007"/>
              <a:gd name="connsiteX75979" fmla="*/ 2168345 w 6884782"/>
              <a:gd name="connsiteY75979" fmla="*/ 53635 h 5973007"/>
              <a:gd name="connsiteX75980" fmla="*/ 2157887 w 6884782"/>
              <a:gd name="connsiteY75980" fmla="*/ 26747 h 5973007"/>
              <a:gd name="connsiteX75981" fmla="*/ 2164503 w 6884782"/>
              <a:gd name="connsiteY75981" fmla="*/ 13516 h 597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 ang="0">
                <a:pos x="connsiteX13547" y="connsiteY13547"/>
              </a:cxn>
              <a:cxn ang="0">
                <a:pos x="connsiteX13548" y="connsiteY13548"/>
              </a:cxn>
              <a:cxn ang="0">
                <a:pos x="connsiteX13549" y="connsiteY13549"/>
              </a:cxn>
              <a:cxn ang="0">
                <a:pos x="connsiteX13550" y="connsiteY13550"/>
              </a:cxn>
              <a:cxn ang="0">
                <a:pos x="connsiteX13551" y="connsiteY13551"/>
              </a:cxn>
              <a:cxn ang="0">
                <a:pos x="connsiteX13552" y="connsiteY13552"/>
              </a:cxn>
              <a:cxn ang="0">
                <a:pos x="connsiteX13553" y="connsiteY13553"/>
              </a:cxn>
              <a:cxn ang="0">
                <a:pos x="connsiteX13554" y="connsiteY13554"/>
              </a:cxn>
              <a:cxn ang="0">
                <a:pos x="connsiteX13555" y="connsiteY13555"/>
              </a:cxn>
              <a:cxn ang="0">
                <a:pos x="connsiteX13556" y="connsiteY13556"/>
              </a:cxn>
              <a:cxn ang="0">
                <a:pos x="connsiteX13557" y="connsiteY13557"/>
              </a:cxn>
              <a:cxn ang="0">
                <a:pos x="connsiteX13558" y="connsiteY13558"/>
              </a:cxn>
              <a:cxn ang="0">
                <a:pos x="connsiteX13559" y="connsiteY13559"/>
              </a:cxn>
              <a:cxn ang="0">
                <a:pos x="connsiteX13560" y="connsiteY13560"/>
              </a:cxn>
              <a:cxn ang="0">
                <a:pos x="connsiteX13561" y="connsiteY13561"/>
              </a:cxn>
              <a:cxn ang="0">
                <a:pos x="connsiteX13562" y="connsiteY13562"/>
              </a:cxn>
              <a:cxn ang="0">
                <a:pos x="connsiteX13563" y="connsiteY13563"/>
              </a:cxn>
              <a:cxn ang="0">
                <a:pos x="connsiteX13564" y="connsiteY13564"/>
              </a:cxn>
              <a:cxn ang="0">
                <a:pos x="connsiteX13565" y="connsiteY13565"/>
              </a:cxn>
              <a:cxn ang="0">
                <a:pos x="connsiteX13566" y="connsiteY13566"/>
              </a:cxn>
              <a:cxn ang="0">
                <a:pos x="connsiteX13567" y="connsiteY13567"/>
              </a:cxn>
              <a:cxn ang="0">
                <a:pos x="connsiteX13568" y="connsiteY13568"/>
              </a:cxn>
              <a:cxn ang="0">
                <a:pos x="connsiteX13569" y="connsiteY13569"/>
              </a:cxn>
              <a:cxn ang="0">
                <a:pos x="connsiteX13570" y="connsiteY13570"/>
              </a:cxn>
              <a:cxn ang="0">
                <a:pos x="connsiteX13571" y="connsiteY13571"/>
              </a:cxn>
              <a:cxn ang="0">
                <a:pos x="connsiteX13572" y="connsiteY13572"/>
              </a:cxn>
              <a:cxn ang="0">
                <a:pos x="connsiteX13573" y="connsiteY13573"/>
              </a:cxn>
              <a:cxn ang="0">
                <a:pos x="connsiteX13574" y="connsiteY13574"/>
              </a:cxn>
              <a:cxn ang="0">
                <a:pos x="connsiteX13575" y="connsiteY13575"/>
              </a:cxn>
              <a:cxn ang="0">
                <a:pos x="connsiteX13576" y="connsiteY13576"/>
              </a:cxn>
              <a:cxn ang="0">
                <a:pos x="connsiteX13577" y="connsiteY13577"/>
              </a:cxn>
              <a:cxn ang="0">
                <a:pos x="connsiteX13578" y="connsiteY13578"/>
              </a:cxn>
              <a:cxn ang="0">
                <a:pos x="connsiteX13579" y="connsiteY13579"/>
              </a:cxn>
              <a:cxn ang="0">
                <a:pos x="connsiteX13580" y="connsiteY13580"/>
              </a:cxn>
              <a:cxn ang="0">
                <a:pos x="connsiteX13581" y="connsiteY13581"/>
              </a:cxn>
              <a:cxn ang="0">
                <a:pos x="connsiteX13582" y="connsiteY13582"/>
              </a:cxn>
              <a:cxn ang="0">
                <a:pos x="connsiteX13583" y="connsiteY13583"/>
              </a:cxn>
              <a:cxn ang="0">
                <a:pos x="connsiteX13584" y="connsiteY13584"/>
              </a:cxn>
              <a:cxn ang="0">
                <a:pos x="connsiteX13585" y="connsiteY13585"/>
              </a:cxn>
              <a:cxn ang="0">
                <a:pos x="connsiteX13586" y="connsiteY13586"/>
              </a:cxn>
              <a:cxn ang="0">
                <a:pos x="connsiteX13587" y="connsiteY13587"/>
              </a:cxn>
              <a:cxn ang="0">
                <a:pos x="connsiteX13588" y="connsiteY13588"/>
              </a:cxn>
              <a:cxn ang="0">
                <a:pos x="connsiteX13589" y="connsiteY13589"/>
              </a:cxn>
              <a:cxn ang="0">
                <a:pos x="connsiteX13590" y="connsiteY13590"/>
              </a:cxn>
              <a:cxn ang="0">
                <a:pos x="connsiteX13591" y="connsiteY13591"/>
              </a:cxn>
              <a:cxn ang="0">
                <a:pos x="connsiteX13592" y="connsiteY13592"/>
              </a:cxn>
              <a:cxn ang="0">
                <a:pos x="connsiteX13593" y="connsiteY13593"/>
              </a:cxn>
              <a:cxn ang="0">
                <a:pos x="connsiteX13594" y="connsiteY13594"/>
              </a:cxn>
              <a:cxn ang="0">
                <a:pos x="connsiteX13595" y="connsiteY13595"/>
              </a:cxn>
              <a:cxn ang="0">
                <a:pos x="connsiteX13596" y="connsiteY13596"/>
              </a:cxn>
              <a:cxn ang="0">
                <a:pos x="connsiteX13597" y="connsiteY13597"/>
              </a:cxn>
              <a:cxn ang="0">
                <a:pos x="connsiteX13598" y="connsiteY13598"/>
              </a:cxn>
              <a:cxn ang="0">
                <a:pos x="connsiteX13599" y="connsiteY13599"/>
              </a:cxn>
              <a:cxn ang="0">
                <a:pos x="connsiteX13600" y="connsiteY13600"/>
              </a:cxn>
              <a:cxn ang="0">
                <a:pos x="connsiteX13601" y="connsiteY13601"/>
              </a:cxn>
              <a:cxn ang="0">
                <a:pos x="connsiteX13602" y="connsiteY13602"/>
              </a:cxn>
              <a:cxn ang="0">
                <a:pos x="connsiteX13603" y="connsiteY13603"/>
              </a:cxn>
              <a:cxn ang="0">
                <a:pos x="connsiteX13604" y="connsiteY13604"/>
              </a:cxn>
              <a:cxn ang="0">
                <a:pos x="connsiteX13605" y="connsiteY13605"/>
              </a:cxn>
              <a:cxn ang="0">
                <a:pos x="connsiteX13606" y="connsiteY13606"/>
              </a:cxn>
              <a:cxn ang="0">
                <a:pos x="connsiteX13607" y="connsiteY13607"/>
              </a:cxn>
              <a:cxn ang="0">
                <a:pos x="connsiteX13608" y="connsiteY13608"/>
              </a:cxn>
              <a:cxn ang="0">
                <a:pos x="connsiteX13609" y="connsiteY13609"/>
              </a:cxn>
              <a:cxn ang="0">
                <a:pos x="connsiteX13610" y="connsiteY13610"/>
              </a:cxn>
              <a:cxn ang="0">
                <a:pos x="connsiteX13611" y="connsiteY13611"/>
              </a:cxn>
              <a:cxn ang="0">
                <a:pos x="connsiteX13612" y="connsiteY13612"/>
              </a:cxn>
              <a:cxn ang="0">
                <a:pos x="connsiteX13613" y="connsiteY13613"/>
              </a:cxn>
              <a:cxn ang="0">
                <a:pos x="connsiteX13614" y="connsiteY13614"/>
              </a:cxn>
              <a:cxn ang="0">
                <a:pos x="connsiteX13615" y="connsiteY13615"/>
              </a:cxn>
              <a:cxn ang="0">
                <a:pos x="connsiteX13616" y="connsiteY13616"/>
              </a:cxn>
              <a:cxn ang="0">
                <a:pos x="connsiteX13617" y="connsiteY13617"/>
              </a:cxn>
              <a:cxn ang="0">
                <a:pos x="connsiteX13618" y="connsiteY13618"/>
              </a:cxn>
              <a:cxn ang="0">
                <a:pos x="connsiteX13619" y="connsiteY13619"/>
              </a:cxn>
              <a:cxn ang="0">
                <a:pos x="connsiteX13620" y="connsiteY13620"/>
              </a:cxn>
              <a:cxn ang="0">
                <a:pos x="connsiteX13621" y="connsiteY13621"/>
              </a:cxn>
              <a:cxn ang="0">
                <a:pos x="connsiteX13622" y="connsiteY13622"/>
              </a:cxn>
              <a:cxn ang="0">
                <a:pos x="connsiteX13623" y="connsiteY13623"/>
              </a:cxn>
              <a:cxn ang="0">
                <a:pos x="connsiteX13624" y="connsiteY13624"/>
              </a:cxn>
              <a:cxn ang="0">
                <a:pos x="connsiteX13625" y="connsiteY13625"/>
              </a:cxn>
              <a:cxn ang="0">
                <a:pos x="connsiteX13626" y="connsiteY13626"/>
              </a:cxn>
              <a:cxn ang="0">
                <a:pos x="connsiteX13627" y="connsiteY13627"/>
              </a:cxn>
              <a:cxn ang="0">
                <a:pos x="connsiteX13628" y="connsiteY13628"/>
              </a:cxn>
              <a:cxn ang="0">
                <a:pos x="connsiteX13629" y="connsiteY13629"/>
              </a:cxn>
              <a:cxn ang="0">
                <a:pos x="connsiteX13630" y="connsiteY13630"/>
              </a:cxn>
              <a:cxn ang="0">
                <a:pos x="connsiteX13631" y="connsiteY13631"/>
              </a:cxn>
              <a:cxn ang="0">
                <a:pos x="connsiteX13632" y="connsiteY13632"/>
              </a:cxn>
              <a:cxn ang="0">
                <a:pos x="connsiteX13633" y="connsiteY13633"/>
              </a:cxn>
              <a:cxn ang="0">
                <a:pos x="connsiteX13634" y="connsiteY13634"/>
              </a:cxn>
              <a:cxn ang="0">
                <a:pos x="connsiteX13635" y="connsiteY13635"/>
              </a:cxn>
              <a:cxn ang="0">
                <a:pos x="connsiteX13636" y="connsiteY13636"/>
              </a:cxn>
              <a:cxn ang="0">
                <a:pos x="connsiteX13637" y="connsiteY13637"/>
              </a:cxn>
              <a:cxn ang="0">
                <a:pos x="connsiteX13638" y="connsiteY13638"/>
              </a:cxn>
              <a:cxn ang="0">
                <a:pos x="connsiteX13639" y="connsiteY13639"/>
              </a:cxn>
              <a:cxn ang="0">
                <a:pos x="connsiteX13640" y="connsiteY13640"/>
              </a:cxn>
              <a:cxn ang="0">
                <a:pos x="connsiteX13641" y="connsiteY13641"/>
              </a:cxn>
              <a:cxn ang="0">
                <a:pos x="connsiteX13642" y="connsiteY13642"/>
              </a:cxn>
              <a:cxn ang="0">
                <a:pos x="connsiteX13643" y="connsiteY13643"/>
              </a:cxn>
              <a:cxn ang="0">
                <a:pos x="connsiteX13644" y="connsiteY13644"/>
              </a:cxn>
              <a:cxn ang="0">
                <a:pos x="connsiteX13645" y="connsiteY13645"/>
              </a:cxn>
              <a:cxn ang="0">
                <a:pos x="connsiteX13646" y="connsiteY13646"/>
              </a:cxn>
              <a:cxn ang="0">
                <a:pos x="connsiteX13647" y="connsiteY13647"/>
              </a:cxn>
              <a:cxn ang="0">
                <a:pos x="connsiteX13648" y="connsiteY13648"/>
              </a:cxn>
              <a:cxn ang="0">
                <a:pos x="connsiteX13649" y="connsiteY13649"/>
              </a:cxn>
              <a:cxn ang="0">
                <a:pos x="connsiteX13650" y="connsiteY13650"/>
              </a:cxn>
              <a:cxn ang="0">
                <a:pos x="connsiteX13651" y="connsiteY13651"/>
              </a:cxn>
              <a:cxn ang="0">
                <a:pos x="connsiteX13652" y="connsiteY13652"/>
              </a:cxn>
              <a:cxn ang="0">
                <a:pos x="connsiteX13653" y="connsiteY13653"/>
              </a:cxn>
              <a:cxn ang="0">
                <a:pos x="connsiteX13654" y="connsiteY13654"/>
              </a:cxn>
              <a:cxn ang="0">
                <a:pos x="connsiteX13655" y="connsiteY13655"/>
              </a:cxn>
              <a:cxn ang="0">
                <a:pos x="connsiteX13656" y="connsiteY13656"/>
              </a:cxn>
              <a:cxn ang="0">
                <a:pos x="connsiteX13657" y="connsiteY13657"/>
              </a:cxn>
              <a:cxn ang="0">
                <a:pos x="connsiteX13658" y="connsiteY13658"/>
              </a:cxn>
              <a:cxn ang="0">
                <a:pos x="connsiteX13659" y="connsiteY13659"/>
              </a:cxn>
              <a:cxn ang="0">
                <a:pos x="connsiteX13660" y="connsiteY13660"/>
              </a:cxn>
              <a:cxn ang="0">
                <a:pos x="connsiteX13661" y="connsiteY13661"/>
              </a:cxn>
              <a:cxn ang="0">
                <a:pos x="connsiteX13662" y="connsiteY13662"/>
              </a:cxn>
              <a:cxn ang="0">
                <a:pos x="connsiteX13663" y="connsiteY13663"/>
              </a:cxn>
              <a:cxn ang="0">
                <a:pos x="connsiteX13664" y="connsiteY13664"/>
              </a:cxn>
              <a:cxn ang="0">
                <a:pos x="connsiteX13665" y="connsiteY13665"/>
              </a:cxn>
              <a:cxn ang="0">
                <a:pos x="connsiteX13666" y="connsiteY13666"/>
              </a:cxn>
              <a:cxn ang="0">
                <a:pos x="connsiteX13667" y="connsiteY13667"/>
              </a:cxn>
              <a:cxn ang="0">
                <a:pos x="connsiteX13668" y="connsiteY13668"/>
              </a:cxn>
              <a:cxn ang="0">
                <a:pos x="connsiteX13669" y="connsiteY13669"/>
              </a:cxn>
              <a:cxn ang="0">
                <a:pos x="connsiteX13670" y="connsiteY13670"/>
              </a:cxn>
              <a:cxn ang="0">
                <a:pos x="connsiteX13671" y="connsiteY13671"/>
              </a:cxn>
              <a:cxn ang="0">
                <a:pos x="connsiteX13672" y="connsiteY13672"/>
              </a:cxn>
              <a:cxn ang="0">
                <a:pos x="connsiteX13673" y="connsiteY13673"/>
              </a:cxn>
              <a:cxn ang="0">
                <a:pos x="connsiteX13674" y="connsiteY13674"/>
              </a:cxn>
              <a:cxn ang="0">
                <a:pos x="connsiteX13675" y="connsiteY13675"/>
              </a:cxn>
              <a:cxn ang="0">
                <a:pos x="connsiteX13676" y="connsiteY13676"/>
              </a:cxn>
              <a:cxn ang="0">
                <a:pos x="connsiteX13677" y="connsiteY13677"/>
              </a:cxn>
              <a:cxn ang="0">
                <a:pos x="connsiteX13678" y="connsiteY13678"/>
              </a:cxn>
              <a:cxn ang="0">
                <a:pos x="connsiteX13679" y="connsiteY13679"/>
              </a:cxn>
              <a:cxn ang="0">
                <a:pos x="connsiteX13680" y="connsiteY13680"/>
              </a:cxn>
              <a:cxn ang="0">
                <a:pos x="connsiteX13681" y="connsiteY13681"/>
              </a:cxn>
              <a:cxn ang="0">
                <a:pos x="connsiteX13682" y="connsiteY13682"/>
              </a:cxn>
              <a:cxn ang="0">
                <a:pos x="connsiteX13683" y="connsiteY13683"/>
              </a:cxn>
              <a:cxn ang="0">
                <a:pos x="connsiteX13684" y="connsiteY13684"/>
              </a:cxn>
              <a:cxn ang="0">
                <a:pos x="connsiteX13685" y="connsiteY13685"/>
              </a:cxn>
              <a:cxn ang="0">
                <a:pos x="connsiteX13686" y="connsiteY13686"/>
              </a:cxn>
              <a:cxn ang="0">
                <a:pos x="connsiteX13687" y="connsiteY13687"/>
              </a:cxn>
              <a:cxn ang="0">
                <a:pos x="connsiteX13688" y="connsiteY13688"/>
              </a:cxn>
              <a:cxn ang="0">
                <a:pos x="connsiteX13689" y="connsiteY13689"/>
              </a:cxn>
              <a:cxn ang="0">
                <a:pos x="connsiteX13690" y="connsiteY13690"/>
              </a:cxn>
              <a:cxn ang="0">
                <a:pos x="connsiteX13691" y="connsiteY13691"/>
              </a:cxn>
              <a:cxn ang="0">
                <a:pos x="connsiteX13692" y="connsiteY13692"/>
              </a:cxn>
              <a:cxn ang="0">
                <a:pos x="connsiteX13693" y="connsiteY13693"/>
              </a:cxn>
              <a:cxn ang="0">
                <a:pos x="connsiteX13694" y="connsiteY13694"/>
              </a:cxn>
              <a:cxn ang="0">
                <a:pos x="connsiteX13695" y="connsiteY13695"/>
              </a:cxn>
              <a:cxn ang="0">
                <a:pos x="connsiteX13696" y="connsiteY13696"/>
              </a:cxn>
              <a:cxn ang="0">
                <a:pos x="connsiteX13697" y="connsiteY13697"/>
              </a:cxn>
              <a:cxn ang="0">
                <a:pos x="connsiteX13698" y="connsiteY13698"/>
              </a:cxn>
              <a:cxn ang="0">
                <a:pos x="connsiteX13699" y="connsiteY13699"/>
              </a:cxn>
              <a:cxn ang="0">
                <a:pos x="connsiteX13700" y="connsiteY13700"/>
              </a:cxn>
              <a:cxn ang="0">
                <a:pos x="connsiteX13701" y="connsiteY13701"/>
              </a:cxn>
              <a:cxn ang="0">
                <a:pos x="connsiteX13702" y="connsiteY13702"/>
              </a:cxn>
              <a:cxn ang="0">
                <a:pos x="connsiteX13703" y="connsiteY13703"/>
              </a:cxn>
              <a:cxn ang="0">
                <a:pos x="connsiteX13704" y="connsiteY13704"/>
              </a:cxn>
              <a:cxn ang="0">
                <a:pos x="connsiteX13705" y="connsiteY13705"/>
              </a:cxn>
              <a:cxn ang="0">
                <a:pos x="connsiteX13706" y="connsiteY13706"/>
              </a:cxn>
              <a:cxn ang="0">
                <a:pos x="connsiteX13707" y="connsiteY13707"/>
              </a:cxn>
              <a:cxn ang="0">
                <a:pos x="connsiteX13708" y="connsiteY13708"/>
              </a:cxn>
              <a:cxn ang="0">
                <a:pos x="connsiteX13709" y="connsiteY13709"/>
              </a:cxn>
              <a:cxn ang="0">
                <a:pos x="connsiteX13710" y="connsiteY13710"/>
              </a:cxn>
              <a:cxn ang="0">
                <a:pos x="connsiteX13711" y="connsiteY13711"/>
              </a:cxn>
              <a:cxn ang="0">
                <a:pos x="connsiteX13712" y="connsiteY13712"/>
              </a:cxn>
              <a:cxn ang="0">
                <a:pos x="connsiteX13713" y="connsiteY13713"/>
              </a:cxn>
              <a:cxn ang="0">
                <a:pos x="connsiteX13714" y="connsiteY13714"/>
              </a:cxn>
              <a:cxn ang="0">
                <a:pos x="connsiteX13715" y="connsiteY13715"/>
              </a:cxn>
              <a:cxn ang="0">
                <a:pos x="connsiteX13716" y="connsiteY13716"/>
              </a:cxn>
              <a:cxn ang="0">
                <a:pos x="connsiteX13717" y="connsiteY13717"/>
              </a:cxn>
              <a:cxn ang="0">
                <a:pos x="connsiteX13718" y="connsiteY13718"/>
              </a:cxn>
              <a:cxn ang="0">
                <a:pos x="connsiteX13719" y="connsiteY13719"/>
              </a:cxn>
              <a:cxn ang="0">
                <a:pos x="connsiteX13720" y="connsiteY13720"/>
              </a:cxn>
              <a:cxn ang="0">
                <a:pos x="connsiteX13721" y="connsiteY13721"/>
              </a:cxn>
              <a:cxn ang="0">
                <a:pos x="connsiteX13722" y="connsiteY13722"/>
              </a:cxn>
              <a:cxn ang="0">
                <a:pos x="connsiteX13723" y="connsiteY13723"/>
              </a:cxn>
              <a:cxn ang="0">
                <a:pos x="connsiteX13724" y="connsiteY13724"/>
              </a:cxn>
              <a:cxn ang="0">
                <a:pos x="connsiteX13725" y="connsiteY13725"/>
              </a:cxn>
              <a:cxn ang="0">
                <a:pos x="connsiteX13726" y="connsiteY13726"/>
              </a:cxn>
              <a:cxn ang="0">
                <a:pos x="connsiteX13727" y="connsiteY13727"/>
              </a:cxn>
              <a:cxn ang="0">
                <a:pos x="connsiteX13728" y="connsiteY13728"/>
              </a:cxn>
              <a:cxn ang="0">
                <a:pos x="connsiteX13729" y="connsiteY13729"/>
              </a:cxn>
              <a:cxn ang="0">
                <a:pos x="connsiteX13730" y="connsiteY13730"/>
              </a:cxn>
              <a:cxn ang="0">
                <a:pos x="connsiteX13731" y="connsiteY13731"/>
              </a:cxn>
              <a:cxn ang="0">
                <a:pos x="connsiteX13732" y="connsiteY13732"/>
              </a:cxn>
              <a:cxn ang="0">
                <a:pos x="connsiteX13733" y="connsiteY13733"/>
              </a:cxn>
              <a:cxn ang="0">
                <a:pos x="connsiteX13734" y="connsiteY13734"/>
              </a:cxn>
              <a:cxn ang="0">
                <a:pos x="connsiteX13735" y="connsiteY13735"/>
              </a:cxn>
              <a:cxn ang="0">
                <a:pos x="connsiteX13736" y="connsiteY13736"/>
              </a:cxn>
              <a:cxn ang="0">
                <a:pos x="connsiteX13737" y="connsiteY13737"/>
              </a:cxn>
              <a:cxn ang="0">
                <a:pos x="connsiteX13738" y="connsiteY13738"/>
              </a:cxn>
              <a:cxn ang="0">
                <a:pos x="connsiteX13739" y="connsiteY13739"/>
              </a:cxn>
              <a:cxn ang="0">
                <a:pos x="connsiteX13740" y="connsiteY13740"/>
              </a:cxn>
              <a:cxn ang="0">
                <a:pos x="connsiteX13741" y="connsiteY13741"/>
              </a:cxn>
              <a:cxn ang="0">
                <a:pos x="connsiteX13742" y="connsiteY13742"/>
              </a:cxn>
              <a:cxn ang="0">
                <a:pos x="connsiteX13743" y="connsiteY13743"/>
              </a:cxn>
              <a:cxn ang="0">
                <a:pos x="connsiteX13744" y="connsiteY13744"/>
              </a:cxn>
              <a:cxn ang="0">
                <a:pos x="connsiteX13745" y="connsiteY13745"/>
              </a:cxn>
              <a:cxn ang="0">
                <a:pos x="connsiteX13746" y="connsiteY13746"/>
              </a:cxn>
              <a:cxn ang="0">
                <a:pos x="connsiteX13747" y="connsiteY13747"/>
              </a:cxn>
              <a:cxn ang="0">
                <a:pos x="connsiteX13748" y="connsiteY13748"/>
              </a:cxn>
              <a:cxn ang="0">
                <a:pos x="connsiteX13749" y="connsiteY13749"/>
              </a:cxn>
              <a:cxn ang="0">
                <a:pos x="connsiteX13750" y="connsiteY13750"/>
              </a:cxn>
              <a:cxn ang="0">
                <a:pos x="connsiteX13751" y="connsiteY13751"/>
              </a:cxn>
              <a:cxn ang="0">
                <a:pos x="connsiteX13752" y="connsiteY13752"/>
              </a:cxn>
              <a:cxn ang="0">
                <a:pos x="connsiteX13753" y="connsiteY13753"/>
              </a:cxn>
              <a:cxn ang="0">
                <a:pos x="connsiteX13754" y="connsiteY13754"/>
              </a:cxn>
              <a:cxn ang="0">
                <a:pos x="connsiteX13755" y="connsiteY13755"/>
              </a:cxn>
              <a:cxn ang="0">
                <a:pos x="connsiteX13756" y="connsiteY13756"/>
              </a:cxn>
              <a:cxn ang="0">
                <a:pos x="connsiteX13757" y="connsiteY13757"/>
              </a:cxn>
              <a:cxn ang="0">
                <a:pos x="connsiteX13758" y="connsiteY13758"/>
              </a:cxn>
              <a:cxn ang="0">
                <a:pos x="connsiteX13759" y="connsiteY13759"/>
              </a:cxn>
              <a:cxn ang="0">
                <a:pos x="connsiteX13760" y="connsiteY13760"/>
              </a:cxn>
              <a:cxn ang="0">
                <a:pos x="connsiteX13761" y="connsiteY13761"/>
              </a:cxn>
              <a:cxn ang="0">
                <a:pos x="connsiteX13762" y="connsiteY13762"/>
              </a:cxn>
              <a:cxn ang="0">
                <a:pos x="connsiteX13763" y="connsiteY13763"/>
              </a:cxn>
              <a:cxn ang="0">
                <a:pos x="connsiteX13764" y="connsiteY13764"/>
              </a:cxn>
              <a:cxn ang="0">
                <a:pos x="connsiteX13765" y="connsiteY13765"/>
              </a:cxn>
              <a:cxn ang="0">
                <a:pos x="connsiteX13766" y="connsiteY13766"/>
              </a:cxn>
              <a:cxn ang="0">
                <a:pos x="connsiteX13767" y="connsiteY13767"/>
              </a:cxn>
              <a:cxn ang="0">
                <a:pos x="connsiteX13768" y="connsiteY13768"/>
              </a:cxn>
              <a:cxn ang="0">
                <a:pos x="connsiteX13769" y="connsiteY13769"/>
              </a:cxn>
              <a:cxn ang="0">
                <a:pos x="connsiteX13770" y="connsiteY13770"/>
              </a:cxn>
              <a:cxn ang="0">
                <a:pos x="connsiteX13771" y="connsiteY13771"/>
              </a:cxn>
              <a:cxn ang="0">
                <a:pos x="connsiteX13772" y="connsiteY13772"/>
              </a:cxn>
              <a:cxn ang="0">
                <a:pos x="connsiteX13773" y="connsiteY13773"/>
              </a:cxn>
              <a:cxn ang="0">
                <a:pos x="connsiteX13774" y="connsiteY13774"/>
              </a:cxn>
              <a:cxn ang="0">
                <a:pos x="connsiteX13775" y="connsiteY13775"/>
              </a:cxn>
              <a:cxn ang="0">
                <a:pos x="connsiteX13776" y="connsiteY13776"/>
              </a:cxn>
              <a:cxn ang="0">
                <a:pos x="connsiteX13777" y="connsiteY13777"/>
              </a:cxn>
              <a:cxn ang="0">
                <a:pos x="connsiteX13778" y="connsiteY13778"/>
              </a:cxn>
              <a:cxn ang="0">
                <a:pos x="connsiteX13779" y="connsiteY13779"/>
              </a:cxn>
              <a:cxn ang="0">
                <a:pos x="connsiteX13780" y="connsiteY13780"/>
              </a:cxn>
              <a:cxn ang="0">
                <a:pos x="connsiteX13781" y="connsiteY13781"/>
              </a:cxn>
              <a:cxn ang="0">
                <a:pos x="connsiteX13782" y="connsiteY13782"/>
              </a:cxn>
              <a:cxn ang="0">
                <a:pos x="connsiteX13783" y="connsiteY13783"/>
              </a:cxn>
              <a:cxn ang="0">
                <a:pos x="connsiteX13784" y="connsiteY13784"/>
              </a:cxn>
              <a:cxn ang="0">
                <a:pos x="connsiteX13785" y="connsiteY13785"/>
              </a:cxn>
              <a:cxn ang="0">
                <a:pos x="connsiteX13786" y="connsiteY13786"/>
              </a:cxn>
              <a:cxn ang="0">
                <a:pos x="connsiteX13787" y="connsiteY13787"/>
              </a:cxn>
              <a:cxn ang="0">
                <a:pos x="connsiteX13788" y="connsiteY13788"/>
              </a:cxn>
              <a:cxn ang="0">
                <a:pos x="connsiteX13789" y="connsiteY13789"/>
              </a:cxn>
              <a:cxn ang="0">
                <a:pos x="connsiteX13790" y="connsiteY13790"/>
              </a:cxn>
              <a:cxn ang="0">
                <a:pos x="connsiteX13791" y="connsiteY13791"/>
              </a:cxn>
              <a:cxn ang="0">
                <a:pos x="connsiteX13792" y="connsiteY13792"/>
              </a:cxn>
              <a:cxn ang="0">
                <a:pos x="connsiteX13793" y="connsiteY13793"/>
              </a:cxn>
              <a:cxn ang="0">
                <a:pos x="connsiteX13794" y="connsiteY13794"/>
              </a:cxn>
              <a:cxn ang="0">
                <a:pos x="connsiteX13795" y="connsiteY13795"/>
              </a:cxn>
              <a:cxn ang="0">
                <a:pos x="connsiteX13796" y="connsiteY13796"/>
              </a:cxn>
              <a:cxn ang="0">
                <a:pos x="connsiteX13797" y="connsiteY13797"/>
              </a:cxn>
              <a:cxn ang="0">
                <a:pos x="connsiteX13798" y="connsiteY13798"/>
              </a:cxn>
              <a:cxn ang="0">
                <a:pos x="connsiteX13799" y="connsiteY13799"/>
              </a:cxn>
              <a:cxn ang="0">
                <a:pos x="connsiteX13800" y="connsiteY13800"/>
              </a:cxn>
              <a:cxn ang="0">
                <a:pos x="connsiteX13801" y="connsiteY13801"/>
              </a:cxn>
              <a:cxn ang="0">
                <a:pos x="connsiteX13802" y="connsiteY13802"/>
              </a:cxn>
              <a:cxn ang="0">
                <a:pos x="connsiteX13803" y="connsiteY13803"/>
              </a:cxn>
              <a:cxn ang="0">
                <a:pos x="connsiteX13804" y="connsiteY13804"/>
              </a:cxn>
              <a:cxn ang="0">
                <a:pos x="connsiteX13805" y="connsiteY13805"/>
              </a:cxn>
              <a:cxn ang="0">
                <a:pos x="connsiteX13806" y="connsiteY13806"/>
              </a:cxn>
              <a:cxn ang="0">
                <a:pos x="connsiteX13807" y="connsiteY13807"/>
              </a:cxn>
              <a:cxn ang="0">
                <a:pos x="connsiteX13808" y="connsiteY13808"/>
              </a:cxn>
              <a:cxn ang="0">
                <a:pos x="connsiteX13809" y="connsiteY13809"/>
              </a:cxn>
              <a:cxn ang="0">
                <a:pos x="connsiteX13810" y="connsiteY13810"/>
              </a:cxn>
              <a:cxn ang="0">
                <a:pos x="connsiteX13811" y="connsiteY13811"/>
              </a:cxn>
              <a:cxn ang="0">
                <a:pos x="connsiteX13812" y="connsiteY13812"/>
              </a:cxn>
              <a:cxn ang="0">
                <a:pos x="connsiteX13813" y="connsiteY13813"/>
              </a:cxn>
              <a:cxn ang="0">
                <a:pos x="connsiteX13814" y="connsiteY13814"/>
              </a:cxn>
              <a:cxn ang="0">
                <a:pos x="connsiteX13815" y="connsiteY13815"/>
              </a:cxn>
              <a:cxn ang="0">
                <a:pos x="connsiteX13816" y="connsiteY13816"/>
              </a:cxn>
              <a:cxn ang="0">
                <a:pos x="connsiteX13817" y="connsiteY13817"/>
              </a:cxn>
              <a:cxn ang="0">
                <a:pos x="connsiteX13818" y="connsiteY13818"/>
              </a:cxn>
              <a:cxn ang="0">
                <a:pos x="connsiteX13819" y="connsiteY13819"/>
              </a:cxn>
              <a:cxn ang="0">
                <a:pos x="connsiteX13820" y="connsiteY13820"/>
              </a:cxn>
              <a:cxn ang="0">
                <a:pos x="connsiteX13821" y="connsiteY13821"/>
              </a:cxn>
              <a:cxn ang="0">
                <a:pos x="connsiteX13822" y="connsiteY13822"/>
              </a:cxn>
              <a:cxn ang="0">
                <a:pos x="connsiteX13823" y="connsiteY13823"/>
              </a:cxn>
              <a:cxn ang="0">
                <a:pos x="connsiteX13824" y="connsiteY13824"/>
              </a:cxn>
              <a:cxn ang="0">
                <a:pos x="connsiteX13825" y="connsiteY13825"/>
              </a:cxn>
              <a:cxn ang="0">
                <a:pos x="connsiteX13826" y="connsiteY13826"/>
              </a:cxn>
              <a:cxn ang="0">
                <a:pos x="connsiteX13827" y="connsiteY13827"/>
              </a:cxn>
              <a:cxn ang="0">
                <a:pos x="connsiteX13828" y="connsiteY13828"/>
              </a:cxn>
              <a:cxn ang="0">
                <a:pos x="connsiteX13829" y="connsiteY13829"/>
              </a:cxn>
              <a:cxn ang="0">
                <a:pos x="connsiteX13830" y="connsiteY13830"/>
              </a:cxn>
              <a:cxn ang="0">
                <a:pos x="connsiteX13831" y="connsiteY13831"/>
              </a:cxn>
              <a:cxn ang="0">
                <a:pos x="connsiteX13832" y="connsiteY13832"/>
              </a:cxn>
              <a:cxn ang="0">
                <a:pos x="connsiteX13833" y="connsiteY13833"/>
              </a:cxn>
              <a:cxn ang="0">
                <a:pos x="connsiteX13834" y="connsiteY13834"/>
              </a:cxn>
              <a:cxn ang="0">
                <a:pos x="connsiteX13835" y="connsiteY13835"/>
              </a:cxn>
              <a:cxn ang="0">
                <a:pos x="connsiteX13836" y="connsiteY13836"/>
              </a:cxn>
              <a:cxn ang="0">
                <a:pos x="connsiteX13837" y="connsiteY13837"/>
              </a:cxn>
              <a:cxn ang="0">
                <a:pos x="connsiteX13838" y="connsiteY13838"/>
              </a:cxn>
              <a:cxn ang="0">
                <a:pos x="connsiteX13839" y="connsiteY13839"/>
              </a:cxn>
              <a:cxn ang="0">
                <a:pos x="connsiteX13840" y="connsiteY13840"/>
              </a:cxn>
              <a:cxn ang="0">
                <a:pos x="connsiteX13841" y="connsiteY13841"/>
              </a:cxn>
              <a:cxn ang="0">
                <a:pos x="connsiteX13842" y="connsiteY13842"/>
              </a:cxn>
              <a:cxn ang="0">
                <a:pos x="connsiteX13843" y="connsiteY13843"/>
              </a:cxn>
              <a:cxn ang="0">
                <a:pos x="connsiteX13844" y="connsiteY13844"/>
              </a:cxn>
              <a:cxn ang="0">
                <a:pos x="connsiteX13845" y="connsiteY13845"/>
              </a:cxn>
              <a:cxn ang="0">
                <a:pos x="connsiteX13846" y="connsiteY13846"/>
              </a:cxn>
              <a:cxn ang="0">
                <a:pos x="connsiteX13847" y="connsiteY13847"/>
              </a:cxn>
              <a:cxn ang="0">
                <a:pos x="connsiteX13848" y="connsiteY13848"/>
              </a:cxn>
              <a:cxn ang="0">
                <a:pos x="connsiteX13849" y="connsiteY13849"/>
              </a:cxn>
              <a:cxn ang="0">
                <a:pos x="connsiteX13850" y="connsiteY13850"/>
              </a:cxn>
              <a:cxn ang="0">
                <a:pos x="connsiteX13851" y="connsiteY13851"/>
              </a:cxn>
              <a:cxn ang="0">
                <a:pos x="connsiteX13852" y="connsiteY13852"/>
              </a:cxn>
              <a:cxn ang="0">
                <a:pos x="connsiteX13853" y="connsiteY13853"/>
              </a:cxn>
              <a:cxn ang="0">
                <a:pos x="connsiteX13854" y="connsiteY13854"/>
              </a:cxn>
              <a:cxn ang="0">
                <a:pos x="connsiteX13855" y="connsiteY13855"/>
              </a:cxn>
              <a:cxn ang="0">
                <a:pos x="connsiteX13856" y="connsiteY13856"/>
              </a:cxn>
              <a:cxn ang="0">
                <a:pos x="connsiteX13857" y="connsiteY13857"/>
              </a:cxn>
              <a:cxn ang="0">
                <a:pos x="connsiteX13858" y="connsiteY13858"/>
              </a:cxn>
              <a:cxn ang="0">
                <a:pos x="connsiteX13859" y="connsiteY13859"/>
              </a:cxn>
              <a:cxn ang="0">
                <a:pos x="connsiteX13860" y="connsiteY13860"/>
              </a:cxn>
              <a:cxn ang="0">
                <a:pos x="connsiteX13861" y="connsiteY13861"/>
              </a:cxn>
              <a:cxn ang="0">
                <a:pos x="connsiteX13862" y="connsiteY13862"/>
              </a:cxn>
              <a:cxn ang="0">
                <a:pos x="connsiteX13863" y="connsiteY13863"/>
              </a:cxn>
              <a:cxn ang="0">
                <a:pos x="connsiteX13864" y="connsiteY13864"/>
              </a:cxn>
              <a:cxn ang="0">
                <a:pos x="connsiteX13865" y="connsiteY13865"/>
              </a:cxn>
              <a:cxn ang="0">
                <a:pos x="connsiteX13866" y="connsiteY13866"/>
              </a:cxn>
              <a:cxn ang="0">
                <a:pos x="connsiteX13867" y="connsiteY13867"/>
              </a:cxn>
              <a:cxn ang="0">
                <a:pos x="connsiteX13868" y="connsiteY13868"/>
              </a:cxn>
              <a:cxn ang="0">
                <a:pos x="connsiteX13869" y="connsiteY13869"/>
              </a:cxn>
              <a:cxn ang="0">
                <a:pos x="connsiteX13870" y="connsiteY13870"/>
              </a:cxn>
              <a:cxn ang="0">
                <a:pos x="connsiteX13871" y="connsiteY13871"/>
              </a:cxn>
              <a:cxn ang="0">
                <a:pos x="connsiteX13872" y="connsiteY13872"/>
              </a:cxn>
              <a:cxn ang="0">
                <a:pos x="connsiteX13873" y="connsiteY13873"/>
              </a:cxn>
              <a:cxn ang="0">
                <a:pos x="connsiteX13874" y="connsiteY13874"/>
              </a:cxn>
              <a:cxn ang="0">
                <a:pos x="connsiteX13875" y="connsiteY13875"/>
              </a:cxn>
              <a:cxn ang="0">
                <a:pos x="connsiteX13876" y="connsiteY13876"/>
              </a:cxn>
              <a:cxn ang="0">
                <a:pos x="connsiteX13877" y="connsiteY13877"/>
              </a:cxn>
              <a:cxn ang="0">
                <a:pos x="connsiteX13878" y="connsiteY13878"/>
              </a:cxn>
              <a:cxn ang="0">
                <a:pos x="connsiteX13879" y="connsiteY13879"/>
              </a:cxn>
              <a:cxn ang="0">
                <a:pos x="connsiteX13880" y="connsiteY13880"/>
              </a:cxn>
              <a:cxn ang="0">
                <a:pos x="connsiteX13881" y="connsiteY13881"/>
              </a:cxn>
              <a:cxn ang="0">
                <a:pos x="connsiteX13882" y="connsiteY13882"/>
              </a:cxn>
              <a:cxn ang="0">
                <a:pos x="connsiteX13883" y="connsiteY13883"/>
              </a:cxn>
              <a:cxn ang="0">
                <a:pos x="connsiteX13884" y="connsiteY13884"/>
              </a:cxn>
              <a:cxn ang="0">
                <a:pos x="connsiteX13885" y="connsiteY13885"/>
              </a:cxn>
              <a:cxn ang="0">
                <a:pos x="connsiteX13886" y="connsiteY13886"/>
              </a:cxn>
              <a:cxn ang="0">
                <a:pos x="connsiteX13887" y="connsiteY13887"/>
              </a:cxn>
              <a:cxn ang="0">
                <a:pos x="connsiteX13888" y="connsiteY13888"/>
              </a:cxn>
              <a:cxn ang="0">
                <a:pos x="connsiteX13889" y="connsiteY13889"/>
              </a:cxn>
              <a:cxn ang="0">
                <a:pos x="connsiteX13890" y="connsiteY13890"/>
              </a:cxn>
              <a:cxn ang="0">
                <a:pos x="connsiteX13891" y="connsiteY13891"/>
              </a:cxn>
              <a:cxn ang="0">
                <a:pos x="connsiteX13892" y="connsiteY13892"/>
              </a:cxn>
              <a:cxn ang="0">
                <a:pos x="connsiteX13893" y="connsiteY13893"/>
              </a:cxn>
              <a:cxn ang="0">
                <a:pos x="connsiteX13894" y="connsiteY13894"/>
              </a:cxn>
              <a:cxn ang="0">
                <a:pos x="connsiteX13895" y="connsiteY13895"/>
              </a:cxn>
              <a:cxn ang="0">
                <a:pos x="connsiteX13896" y="connsiteY13896"/>
              </a:cxn>
              <a:cxn ang="0">
                <a:pos x="connsiteX13897" y="connsiteY13897"/>
              </a:cxn>
              <a:cxn ang="0">
                <a:pos x="connsiteX13898" y="connsiteY13898"/>
              </a:cxn>
              <a:cxn ang="0">
                <a:pos x="connsiteX13899" y="connsiteY13899"/>
              </a:cxn>
              <a:cxn ang="0">
                <a:pos x="connsiteX13900" y="connsiteY13900"/>
              </a:cxn>
              <a:cxn ang="0">
                <a:pos x="connsiteX13901" y="connsiteY13901"/>
              </a:cxn>
              <a:cxn ang="0">
                <a:pos x="connsiteX13902" y="connsiteY13902"/>
              </a:cxn>
              <a:cxn ang="0">
                <a:pos x="connsiteX13903" y="connsiteY13903"/>
              </a:cxn>
              <a:cxn ang="0">
                <a:pos x="connsiteX13904" y="connsiteY13904"/>
              </a:cxn>
              <a:cxn ang="0">
                <a:pos x="connsiteX13905" y="connsiteY13905"/>
              </a:cxn>
              <a:cxn ang="0">
                <a:pos x="connsiteX13906" y="connsiteY13906"/>
              </a:cxn>
              <a:cxn ang="0">
                <a:pos x="connsiteX13907" y="connsiteY13907"/>
              </a:cxn>
              <a:cxn ang="0">
                <a:pos x="connsiteX13908" y="connsiteY13908"/>
              </a:cxn>
              <a:cxn ang="0">
                <a:pos x="connsiteX13909" y="connsiteY13909"/>
              </a:cxn>
              <a:cxn ang="0">
                <a:pos x="connsiteX13910" y="connsiteY13910"/>
              </a:cxn>
              <a:cxn ang="0">
                <a:pos x="connsiteX13911" y="connsiteY13911"/>
              </a:cxn>
              <a:cxn ang="0">
                <a:pos x="connsiteX13912" y="connsiteY13912"/>
              </a:cxn>
              <a:cxn ang="0">
                <a:pos x="connsiteX13913" y="connsiteY13913"/>
              </a:cxn>
              <a:cxn ang="0">
                <a:pos x="connsiteX13914" y="connsiteY13914"/>
              </a:cxn>
              <a:cxn ang="0">
                <a:pos x="connsiteX13915" y="connsiteY13915"/>
              </a:cxn>
              <a:cxn ang="0">
                <a:pos x="connsiteX13916" y="connsiteY13916"/>
              </a:cxn>
              <a:cxn ang="0">
                <a:pos x="connsiteX13917" y="connsiteY13917"/>
              </a:cxn>
              <a:cxn ang="0">
                <a:pos x="connsiteX13918" y="connsiteY13918"/>
              </a:cxn>
              <a:cxn ang="0">
                <a:pos x="connsiteX13919" y="connsiteY13919"/>
              </a:cxn>
              <a:cxn ang="0">
                <a:pos x="connsiteX13920" y="connsiteY13920"/>
              </a:cxn>
              <a:cxn ang="0">
                <a:pos x="connsiteX13921" y="connsiteY13921"/>
              </a:cxn>
              <a:cxn ang="0">
                <a:pos x="connsiteX13922" y="connsiteY13922"/>
              </a:cxn>
              <a:cxn ang="0">
                <a:pos x="connsiteX13923" y="connsiteY13923"/>
              </a:cxn>
              <a:cxn ang="0">
                <a:pos x="connsiteX13924" y="connsiteY13924"/>
              </a:cxn>
              <a:cxn ang="0">
                <a:pos x="connsiteX13925" y="connsiteY13925"/>
              </a:cxn>
              <a:cxn ang="0">
                <a:pos x="connsiteX13926" y="connsiteY13926"/>
              </a:cxn>
              <a:cxn ang="0">
                <a:pos x="connsiteX13927" y="connsiteY13927"/>
              </a:cxn>
              <a:cxn ang="0">
                <a:pos x="connsiteX13928" y="connsiteY13928"/>
              </a:cxn>
              <a:cxn ang="0">
                <a:pos x="connsiteX13929" y="connsiteY13929"/>
              </a:cxn>
              <a:cxn ang="0">
                <a:pos x="connsiteX13930" y="connsiteY13930"/>
              </a:cxn>
              <a:cxn ang="0">
                <a:pos x="connsiteX13931" y="connsiteY13931"/>
              </a:cxn>
              <a:cxn ang="0">
                <a:pos x="connsiteX13932" y="connsiteY13932"/>
              </a:cxn>
              <a:cxn ang="0">
                <a:pos x="connsiteX13933" y="connsiteY13933"/>
              </a:cxn>
              <a:cxn ang="0">
                <a:pos x="connsiteX13934" y="connsiteY13934"/>
              </a:cxn>
              <a:cxn ang="0">
                <a:pos x="connsiteX13935" y="connsiteY13935"/>
              </a:cxn>
              <a:cxn ang="0">
                <a:pos x="connsiteX13936" y="connsiteY13936"/>
              </a:cxn>
              <a:cxn ang="0">
                <a:pos x="connsiteX13937" y="connsiteY13937"/>
              </a:cxn>
              <a:cxn ang="0">
                <a:pos x="connsiteX13938" y="connsiteY13938"/>
              </a:cxn>
              <a:cxn ang="0">
                <a:pos x="connsiteX13939" y="connsiteY13939"/>
              </a:cxn>
              <a:cxn ang="0">
                <a:pos x="connsiteX13940" y="connsiteY13940"/>
              </a:cxn>
              <a:cxn ang="0">
                <a:pos x="connsiteX13941" y="connsiteY13941"/>
              </a:cxn>
              <a:cxn ang="0">
                <a:pos x="connsiteX13942" y="connsiteY13942"/>
              </a:cxn>
              <a:cxn ang="0">
                <a:pos x="connsiteX13943" y="connsiteY13943"/>
              </a:cxn>
              <a:cxn ang="0">
                <a:pos x="connsiteX13944" y="connsiteY13944"/>
              </a:cxn>
              <a:cxn ang="0">
                <a:pos x="connsiteX13945" y="connsiteY13945"/>
              </a:cxn>
              <a:cxn ang="0">
                <a:pos x="connsiteX13946" y="connsiteY13946"/>
              </a:cxn>
              <a:cxn ang="0">
                <a:pos x="connsiteX13947" y="connsiteY13947"/>
              </a:cxn>
              <a:cxn ang="0">
                <a:pos x="connsiteX13948" y="connsiteY13948"/>
              </a:cxn>
              <a:cxn ang="0">
                <a:pos x="connsiteX13949" y="connsiteY13949"/>
              </a:cxn>
              <a:cxn ang="0">
                <a:pos x="connsiteX13950" y="connsiteY13950"/>
              </a:cxn>
              <a:cxn ang="0">
                <a:pos x="connsiteX13951" y="connsiteY13951"/>
              </a:cxn>
              <a:cxn ang="0">
                <a:pos x="connsiteX13952" y="connsiteY13952"/>
              </a:cxn>
              <a:cxn ang="0">
                <a:pos x="connsiteX13953" y="connsiteY13953"/>
              </a:cxn>
              <a:cxn ang="0">
                <a:pos x="connsiteX13954" y="connsiteY13954"/>
              </a:cxn>
              <a:cxn ang="0">
                <a:pos x="connsiteX13955" y="connsiteY13955"/>
              </a:cxn>
              <a:cxn ang="0">
                <a:pos x="connsiteX13956" y="connsiteY13956"/>
              </a:cxn>
              <a:cxn ang="0">
                <a:pos x="connsiteX13957" y="connsiteY13957"/>
              </a:cxn>
              <a:cxn ang="0">
                <a:pos x="connsiteX13958" y="connsiteY13958"/>
              </a:cxn>
              <a:cxn ang="0">
                <a:pos x="connsiteX13959" y="connsiteY13959"/>
              </a:cxn>
              <a:cxn ang="0">
                <a:pos x="connsiteX13960" y="connsiteY13960"/>
              </a:cxn>
              <a:cxn ang="0">
                <a:pos x="connsiteX13961" y="connsiteY13961"/>
              </a:cxn>
              <a:cxn ang="0">
                <a:pos x="connsiteX13962" y="connsiteY13962"/>
              </a:cxn>
              <a:cxn ang="0">
                <a:pos x="connsiteX13963" y="connsiteY13963"/>
              </a:cxn>
              <a:cxn ang="0">
                <a:pos x="connsiteX13964" y="connsiteY13964"/>
              </a:cxn>
              <a:cxn ang="0">
                <a:pos x="connsiteX13965" y="connsiteY13965"/>
              </a:cxn>
              <a:cxn ang="0">
                <a:pos x="connsiteX13966" y="connsiteY13966"/>
              </a:cxn>
              <a:cxn ang="0">
                <a:pos x="connsiteX13967" y="connsiteY13967"/>
              </a:cxn>
              <a:cxn ang="0">
                <a:pos x="connsiteX13968" y="connsiteY13968"/>
              </a:cxn>
              <a:cxn ang="0">
                <a:pos x="connsiteX13969" y="connsiteY13969"/>
              </a:cxn>
              <a:cxn ang="0">
                <a:pos x="connsiteX13970" y="connsiteY13970"/>
              </a:cxn>
              <a:cxn ang="0">
                <a:pos x="connsiteX13971" y="connsiteY13971"/>
              </a:cxn>
              <a:cxn ang="0">
                <a:pos x="connsiteX13972" y="connsiteY13972"/>
              </a:cxn>
              <a:cxn ang="0">
                <a:pos x="connsiteX13973" y="connsiteY13973"/>
              </a:cxn>
              <a:cxn ang="0">
                <a:pos x="connsiteX13974" y="connsiteY13974"/>
              </a:cxn>
              <a:cxn ang="0">
                <a:pos x="connsiteX13975" y="connsiteY13975"/>
              </a:cxn>
              <a:cxn ang="0">
                <a:pos x="connsiteX13976" y="connsiteY13976"/>
              </a:cxn>
              <a:cxn ang="0">
                <a:pos x="connsiteX13977" y="connsiteY13977"/>
              </a:cxn>
              <a:cxn ang="0">
                <a:pos x="connsiteX13978" y="connsiteY13978"/>
              </a:cxn>
              <a:cxn ang="0">
                <a:pos x="connsiteX13979" y="connsiteY13979"/>
              </a:cxn>
              <a:cxn ang="0">
                <a:pos x="connsiteX13980" y="connsiteY13980"/>
              </a:cxn>
              <a:cxn ang="0">
                <a:pos x="connsiteX13981" y="connsiteY13981"/>
              </a:cxn>
              <a:cxn ang="0">
                <a:pos x="connsiteX13982" y="connsiteY13982"/>
              </a:cxn>
              <a:cxn ang="0">
                <a:pos x="connsiteX13983" y="connsiteY13983"/>
              </a:cxn>
              <a:cxn ang="0">
                <a:pos x="connsiteX13984" y="connsiteY13984"/>
              </a:cxn>
              <a:cxn ang="0">
                <a:pos x="connsiteX13985" y="connsiteY13985"/>
              </a:cxn>
              <a:cxn ang="0">
                <a:pos x="connsiteX13986" y="connsiteY13986"/>
              </a:cxn>
              <a:cxn ang="0">
                <a:pos x="connsiteX13987" y="connsiteY13987"/>
              </a:cxn>
              <a:cxn ang="0">
                <a:pos x="connsiteX13988" y="connsiteY13988"/>
              </a:cxn>
              <a:cxn ang="0">
                <a:pos x="connsiteX13989" y="connsiteY13989"/>
              </a:cxn>
              <a:cxn ang="0">
                <a:pos x="connsiteX13990" y="connsiteY13990"/>
              </a:cxn>
              <a:cxn ang="0">
                <a:pos x="connsiteX13991" y="connsiteY13991"/>
              </a:cxn>
              <a:cxn ang="0">
                <a:pos x="connsiteX13992" y="connsiteY13992"/>
              </a:cxn>
              <a:cxn ang="0">
                <a:pos x="connsiteX13993" y="connsiteY13993"/>
              </a:cxn>
              <a:cxn ang="0">
                <a:pos x="connsiteX13994" y="connsiteY13994"/>
              </a:cxn>
              <a:cxn ang="0">
                <a:pos x="connsiteX13995" y="connsiteY13995"/>
              </a:cxn>
              <a:cxn ang="0">
                <a:pos x="connsiteX13996" y="connsiteY13996"/>
              </a:cxn>
              <a:cxn ang="0">
                <a:pos x="connsiteX13997" y="connsiteY13997"/>
              </a:cxn>
              <a:cxn ang="0">
                <a:pos x="connsiteX13998" y="connsiteY13998"/>
              </a:cxn>
              <a:cxn ang="0">
                <a:pos x="connsiteX13999" y="connsiteY13999"/>
              </a:cxn>
              <a:cxn ang="0">
                <a:pos x="connsiteX14000" y="connsiteY14000"/>
              </a:cxn>
              <a:cxn ang="0">
                <a:pos x="connsiteX14001" y="connsiteY14001"/>
              </a:cxn>
              <a:cxn ang="0">
                <a:pos x="connsiteX14002" y="connsiteY14002"/>
              </a:cxn>
              <a:cxn ang="0">
                <a:pos x="connsiteX14003" y="connsiteY14003"/>
              </a:cxn>
              <a:cxn ang="0">
                <a:pos x="connsiteX14004" y="connsiteY14004"/>
              </a:cxn>
              <a:cxn ang="0">
                <a:pos x="connsiteX14005" y="connsiteY14005"/>
              </a:cxn>
              <a:cxn ang="0">
                <a:pos x="connsiteX14006" y="connsiteY14006"/>
              </a:cxn>
              <a:cxn ang="0">
                <a:pos x="connsiteX14007" y="connsiteY14007"/>
              </a:cxn>
              <a:cxn ang="0">
                <a:pos x="connsiteX14008" y="connsiteY14008"/>
              </a:cxn>
              <a:cxn ang="0">
                <a:pos x="connsiteX14009" y="connsiteY14009"/>
              </a:cxn>
              <a:cxn ang="0">
                <a:pos x="connsiteX14010" y="connsiteY14010"/>
              </a:cxn>
              <a:cxn ang="0">
                <a:pos x="connsiteX14011" y="connsiteY14011"/>
              </a:cxn>
              <a:cxn ang="0">
                <a:pos x="connsiteX14012" y="connsiteY14012"/>
              </a:cxn>
              <a:cxn ang="0">
                <a:pos x="connsiteX14013" y="connsiteY14013"/>
              </a:cxn>
              <a:cxn ang="0">
                <a:pos x="connsiteX14014" y="connsiteY14014"/>
              </a:cxn>
              <a:cxn ang="0">
                <a:pos x="connsiteX14015" y="connsiteY14015"/>
              </a:cxn>
              <a:cxn ang="0">
                <a:pos x="connsiteX14016" y="connsiteY14016"/>
              </a:cxn>
              <a:cxn ang="0">
                <a:pos x="connsiteX14017" y="connsiteY14017"/>
              </a:cxn>
              <a:cxn ang="0">
                <a:pos x="connsiteX14018" y="connsiteY14018"/>
              </a:cxn>
              <a:cxn ang="0">
                <a:pos x="connsiteX14019" y="connsiteY14019"/>
              </a:cxn>
              <a:cxn ang="0">
                <a:pos x="connsiteX14020" y="connsiteY14020"/>
              </a:cxn>
              <a:cxn ang="0">
                <a:pos x="connsiteX14021" y="connsiteY14021"/>
              </a:cxn>
              <a:cxn ang="0">
                <a:pos x="connsiteX14022" y="connsiteY14022"/>
              </a:cxn>
              <a:cxn ang="0">
                <a:pos x="connsiteX14023" y="connsiteY14023"/>
              </a:cxn>
              <a:cxn ang="0">
                <a:pos x="connsiteX14024" y="connsiteY14024"/>
              </a:cxn>
              <a:cxn ang="0">
                <a:pos x="connsiteX14025" y="connsiteY14025"/>
              </a:cxn>
              <a:cxn ang="0">
                <a:pos x="connsiteX14026" y="connsiteY14026"/>
              </a:cxn>
              <a:cxn ang="0">
                <a:pos x="connsiteX14027" y="connsiteY14027"/>
              </a:cxn>
              <a:cxn ang="0">
                <a:pos x="connsiteX14028" y="connsiteY14028"/>
              </a:cxn>
              <a:cxn ang="0">
                <a:pos x="connsiteX14029" y="connsiteY14029"/>
              </a:cxn>
              <a:cxn ang="0">
                <a:pos x="connsiteX14030" y="connsiteY14030"/>
              </a:cxn>
              <a:cxn ang="0">
                <a:pos x="connsiteX14031" y="connsiteY14031"/>
              </a:cxn>
              <a:cxn ang="0">
                <a:pos x="connsiteX14032" y="connsiteY14032"/>
              </a:cxn>
              <a:cxn ang="0">
                <a:pos x="connsiteX14033" y="connsiteY14033"/>
              </a:cxn>
              <a:cxn ang="0">
                <a:pos x="connsiteX14034" y="connsiteY14034"/>
              </a:cxn>
              <a:cxn ang="0">
                <a:pos x="connsiteX14035" y="connsiteY14035"/>
              </a:cxn>
              <a:cxn ang="0">
                <a:pos x="connsiteX14036" y="connsiteY14036"/>
              </a:cxn>
              <a:cxn ang="0">
                <a:pos x="connsiteX14037" y="connsiteY14037"/>
              </a:cxn>
              <a:cxn ang="0">
                <a:pos x="connsiteX14038" y="connsiteY14038"/>
              </a:cxn>
              <a:cxn ang="0">
                <a:pos x="connsiteX14039" y="connsiteY14039"/>
              </a:cxn>
              <a:cxn ang="0">
                <a:pos x="connsiteX14040" y="connsiteY14040"/>
              </a:cxn>
              <a:cxn ang="0">
                <a:pos x="connsiteX14041" y="connsiteY14041"/>
              </a:cxn>
              <a:cxn ang="0">
                <a:pos x="connsiteX14042" y="connsiteY14042"/>
              </a:cxn>
              <a:cxn ang="0">
                <a:pos x="connsiteX14043" y="connsiteY14043"/>
              </a:cxn>
              <a:cxn ang="0">
                <a:pos x="connsiteX14044" y="connsiteY14044"/>
              </a:cxn>
              <a:cxn ang="0">
                <a:pos x="connsiteX14045" y="connsiteY14045"/>
              </a:cxn>
              <a:cxn ang="0">
                <a:pos x="connsiteX14046" y="connsiteY14046"/>
              </a:cxn>
              <a:cxn ang="0">
                <a:pos x="connsiteX14047" y="connsiteY14047"/>
              </a:cxn>
              <a:cxn ang="0">
                <a:pos x="connsiteX14048" y="connsiteY14048"/>
              </a:cxn>
              <a:cxn ang="0">
                <a:pos x="connsiteX14049" y="connsiteY14049"/>
              </a:cxn>
              <a:cxn ang="0">
                <a:pos x="connsiteX14050" y="connsiteY14050"/>
              </a:cxn>
              <a:cxn ang="0">
                <a:pos x="connsiteX14051" y="connsiteY14051"/>
              </a:cxn>
              <a:cxn ang="0">
                <a:pos x="connsiteX14052" y="connsiteY14052"/>
              </a:cxn>
              <a:cxn ang="0">
                <a:pos x="connsiteX14053" y="connsiteY14053"/>
              </a:cxn>
              <a:cxn ang="0">
                <a:pos x="connsiteX14054" y="connsiteY14054"/>
              </a:cxn>
              <a:cxn ang="0">
                <a:pos x="connsiteX14055" y="connsiteY14055"/>
              </a:cxn>
              <a:cxn ang="0">
                <a:pos x="connsiteX14056" y="connsiteY14056"/>
              </a:cxn>
              <a:cxn ang="0">
                <a:pos x="connsiteX14057" y="connsiteY14057"/>
              </a:cxn>
              <a:cxn ang="0">
                <a:pos x="connsiteX14058" y="connsiteY14058"/>
              </a:cxn>
              <a:cxn ang="0">
                <a:pos x="connsiteX14059" y="connsiteY14059"/>
              </a:cxn>
              <a:cxn ang="0">
                <a:pos x="connsiteX14060" y="connsiteY14060"/>
              </a:cxn>
              <a:cxn ang="0">
                <a:pos x="connsiteX14061" y="connsiteY14061"/>
              </a:cxn>
              <a:cxn ang="0">
                <a:pos x="connsiteX14062" y="connsiteY14062"/>
              </a:cxn>
              <a:cxn ang="0">
                <a:pos x="connsiteX14063" y="connsiteY14063"/>
              </a:cxn>
              <a:cxn ang="0">
                <a:pos x="connsiteX14064" y="connsiteY14064"/>
              </a:cxn>
              <a:cxn ang="0">
                <a:pos x="connsiteX14065" y="connsiteY14065"/>
              </a:cxn>
              <a:cxn ang="0">
                <a:pos x="connsiteX14066" y="connsiteY14066"/>
              </a:cxn>
              <a:cxn ang="0">
                <a:pos x="connsiteX14067" y="connsiteY14067"/>
              </a:cxn>
              <a:cxn ang="0">
                <a:pos x="connsiteX14068" y="connsiteY14068"/>
              </a:cxn>
              <a:cxn ang="0">
                <a:pos x="connsiteX14069" y="connsiteY14069"/>
              </a:cxn>
              <a:cxn ang="0">
                <a:pos x="connsiteX14070" y="connsiteY14070"/>
              </a:cxn>
              <a:cxn ang="0">
                <a:pos x="connsiteX14071" y="connsiteY14071"/>
              </a:cxn>
              <a:cxn ang="0">
                <a:pos x="connsiteX14072" y="connsiteY14072"/>
              </a:cxn>
              <a:cxn ang="0">
                <a:pos x="connsiteX14073" y="connsiteY14073"/>
              </a:cxn>
              <a:cxn ang="0">
                <a:pos x="connsiteX14074" y="connsiteY14074"/>
              </a:cxn>
              <a:cxn ang="0">
                <a:pos x="connsiteX14075" y="connsiteY14075"/>
              </a:cxn>
              <a:cxn ang="0">
                <a:pos x="connsiteX14076" y="connsiteY14076"/>
              </a:cxn>
              <a:cxn ang="0">
                <a:pos x="connsiteX14077" y="connsiteY14077"/>
              </a:cxn>
              <a:cxn ang="0">
                <a:pos x="connsiteX14078" y="connsiteY14078"/>
              </a:cxn>
              <a:cxn ang="0">
                <a:pos x="connsiteX14079" y="connsiteY14079"/>
              </a:cxn>
              <a:cxn ang="0">
                <a:pos x="connsiteX14080" y="connsiteY14080"/>
              </a:cxn>
              <a:cxn ang="0">
                <a:pos x="connsiteX14081" y="connsiteY14081"/>
              </a:cxn>
              <a:cxn ang="0">
                <a:pos x="connsiteX14082" y="connsiteY14082"/>
              </a:cxn>
              <a:cxn ang="0">
                <a:pos x="connsiteX14083" y="connsiteY14083"/>
              </a:cxn>
              <a:cxn ang="0">
                <a:pos x="connsiteX14084" y="connsiteY14084"/>
              </a:cxn>
              <a:cxn ang="0">
                <a:pos x="connsiteX14085" y="connsiteY14085"/>
              </a:cxn>
              <a:cxn ang="0">
                <a:pos x="connsiteX14086" y="connsiteY14086"/>
              </a:cxn>
              <a:cxn ang="0">
                <a:pos x="connsiteX14087" y="connsiteY14087"/>
              </a:cxn>
              <a:cxn ang="0">
                <a:pos x="connsiteX14088" y="connsiteY14088"/>
              </a:cxn>
              <a:cxn ang="0">
                <a:pos x="connsiteX14089" y="connsiteY14089"/>
              </a:cxn>
              <a:cxn ang="0">
                <a:pos x="connsiteX14090" y="connsiteY14090"/>
              </a:cxn>
              <a:cxn ang="0">
                <a:pos x="connsiteX14091" y="connsiteY14091"/>
              </a:cxn>
              <a:cxn ang="0">
                <a:pos x="connsiteX14092" y="connsiteY14092"/>
              </a:cxn>
              <a:cxn ang="0">
                <a:pos x="connsiteX14093" y="connsiteY14093"/>
              </a:cxn>
              <a:cxn ang="0">
                <a:pos x="connsiteX14094" y="connsiteY14094"/>
              </a:cxn>
              <a:cxn ang="0">
                <a:pos x="connsiteX14095" y="connsiteY14095"/>
              </a:cxn>
              <a:cxn ang="0">
                <a:pos x="connsiteX14096" y="connsiteY14096"/>
              </a:cxn>
              <a:cxn ang="0">
                <a:pos x="connsiteX14097" y="connsiteY14097"/>
              </a:cxn>
              <a:cxn ang="0">
                <a:pos x="connsiteX14098" y="connsiteY14098"/>
              </a:cxn>
              <a:cxn ang="0">
                <a:pos x="connsiteX14099" y="connsiteY14099"/>
              </a:cxn>
              <a:cxn ang="0">
                <a:pos x="connsiteX14100" y="connsiteY14100"/>
              </a:cxn>
              <a:cxn ang="0">
                <a:pos x="connsiteX14101" y="connsiteY14101"/>
              </a:cxn>
              <a:cxn ang="0">
                <a:pos x="connsiteX14102" y="connsiteY14102"/>
              </a:cxn>
              <a:cxn ang="0">
                <a:pos x="connsiteX14103" y="connsiteY14103"/>
              </a:cxn>
              <a:cxn ang="0">
                <a:pos x="connsiteX14104" y="connsiteY14104"/>
              </a:cxn>
              <a:cxn ang="0">
                <a:pos x="connsiteX14105" y="connsiteY14105"/>
              </a:cxn>
              <a:cxn ang="0">
                <a:pos x="connsiteX14106" y="connsiteY14106"/>
              </a:cxn>
              <a:cxn ang="0">
                <a:pos x="connsiteX14107" y="connsiteY14107"/>
              </a:cxn>
              <a:cxn ang="0">
                <a:pos x="connsiteX14108" y="connsiteY14108"/>
              </a:cxn>
              <a:cxn ang="0">
                <a:pos x="connsiteX14109" y="connsiteY14109"/>
              </a:cxn>
              <a:cxn ang="0">
                <a:pos x="connsiteX14110" y="connsiteY14110"/>
              </a:cxn>
              <a:cxn ang="0">
                <a:pos x="connsiteX14111" y="connsiteY14111"/>
              </a:cxn>
              <a:cxn ang="0">
                <a:pos x="connsiteX14112" y="connsiteY14112"/>
              </a:cxn>
              <a:cxn ang="0">
                <a:pos x="connsiteX14113" y="connsiteY14113"/>
              </a:cxn>
              <a:cxn ang="0">
                <a:pos x="connsiteX14114" y="connsiteY14114"/>
              </a:cxn>
              <a:cxn ang="0">
                <a:pos x="connsiteX14115" y="connsiteY14115"/>
              </a:cxn>
              <a:cxn ang="0">
                <a:pos x="connsiteX14116" y="connsiteY14116"/>
              </a:cxn>
              <a:cxn ang="0">
                <a:pos x="connsiteX14117" y="connsiteY14117"/>
              </a:cxn>
              <a:cxn ang="0">
                <a:pos x="connsiteX14118" y="connsiteY14118"/>
              </a:cxn>
              <a:cxn ang="0">
                <a:pos x="connsiteX14119" y="connsiteY14119"/>
              </a:cxn>
              <a:cxn ang="0">
                <a:pos x="connsiteX14120" y="connsiteY14120"/>
              </a:cxn>
              <a:cxn ang="0">
                <a:pos x="connsiteX14121" y="connsiteY14121"/>
              </a:cxn>
              <a:cxn ang="0">
                <a:pos x="connsiteX14122" y="connsiteY14122"/>
              </a:cxn>
              <a:cxn ang="0">
                <a:pos x="connsiteX14123" y="connsiteY14123"/>
              </a:cxn>
              <a:cxn ang="0">
                <a:pos x="connsiteX14124" y="connsiteY14124"/>
              </a:cxn>
              <a:cxn ang="0">
                <a:pos x="connsiteX14125" y="connsiteY14125"/>
              </a:cxn>
              <a:cxn ang="0">
                <a:pos x="connsiteX14126" y="connsiteY14126"/>
              </a:cxn>
              <a:cxn ang="0">
                <a:pos x="connsiteX14127" y="connsiteY14127"/>
              </a:cxn>
              <a:cxn ang="0">
                <a:pos x="connsiteX14128" y="connsiteY14128"/>
              </a:cxn>
              <a:cxn ang="0">
                <a:pos x="connsiteX14129" y="connsiteY14129"/>
              </a:cxn>
              <a:cxn ang="0">
                <a:pos x="connsiteX14130" y="connsiteY14130"/>
              </a:cxn>
              <a:cxn ang="0">
                <a:pos x="connsiteX14131" y="connsiteY14131"/>
              </a:cxn>
              <a:cxn ang="0">
                <a:pos x="connsiteX14132" y="connsiteY14132"/>
              </a:cxn>
              <a:cxn ang="0">
                <a:pos x="connsiteX14133" y="connsiteY14133"/>
              </a:cxn>
              <a:cxn ang="0">
                <a:pos x="connsiteX14134" y="connsiteY14134"/>
              </a:cxn>
              <a:cxn ang="0">
                <a:pos x="connsiteX14135" y="connsiteY14135"/>
              </a:cxn>
              <a:cxn ang="0">
                <a:pos x="connsiteX14136" y="connsiteY14136"/>
              </a:cxn>
              <a:cxn ang="0">
                <a:pos x="connsiteX14137" y="connsiteY14137"/>
              </a:cxn>
              <a:cxn ang="0">
                <a:pos x="connsiteX14138" y="connsiteY14138"/>
              </a:cxn>
              <a:cxn ang="0">
                <a:pos x="connsiteX14139" y="connsiteY14139"/>
              </a:cxn>
              <a:cxn ang="0">
                <a:pos x="connsiteX14140" y="connsiteY14140"/>
              </a:cxn>
              <a:cxn ang="0">
                <a:pos x="connsiteX14141" y="connsiteY14141"/>
              </a:cxn>
              <a:cxn ang="0">
                <a:pos x="connsiteX14142" y="connsiteY14142"/>
              </a:cxn>
              <a:cxn ang="0">
                <a:pos x="connsiteX14143" y="connsiteY14143"/>
              </a:cxn>
              <a:cxn ang="0">
                <a:pos x="connsiteX14144" y="connsiteY14144"/>
              </a:cxn>
              <a:cxn ang="0">
                <a:pos x="connsiteX14145" y="connsiteY14145"/>
              </a:cxn>
              <a:cxn ang="0">
                <a:pos x="connsiteX14146" y="connsiteY14146"/>
              </a:cxn>
              <a:cxn ang="0">
                <a:pos x="connsiteX14147" y="connsiteY14147"/>
              </a:cxn>
              <a:cxn ang="0">
                <a:pos x="connsiteX14148" y="connsiteY14148"/>
              </a:cxn>
              <a:cxn ang="0">
                <a:pos x="connsiteX14149" y="connsiteY14149"/>
              </a:cxn>
              <a:cxn ang="0">
                <a:pos x="connsiteX14150" y="connsiteY14150"/>
              </a:cxn>
              <a:cxn ang="0">
                <a:pos x="connsiteX14151" y="connsiteY14151"/>
              </a:cxn>
              <a:cxn ang="0">
                <a:pos x="connsiteX14152" y="connsiteY14152"/>
              </a:cxn>
              <a:cxn ang="0">
                <a:pos x="connsiteX14153" y="connsiteY14153"/>
              </a:cxn>
              <a:cxn ang="0">
                <a:pos x="connsiteX14154" y="connsiteY14154"/>
              </a:cxn>
              <a:cxn ang="0">
                <a:pos x="connsiteX14155" y="connsiteY14155"/>
              </a:cxn>
              <a:cxn ang="0">
                <a:pos x="connsiteX14156" y="connsiteY14156"/>
              </a:cxn>
              <a:cxn ang="0">
                <a:pos x="connsiteX14157" y="connsiteY14157"/>
              </a:cxn>
              <a:cxn ang="0">
                <a:pos x="connsiteX14158" y="connsiteY14158"/>
              </a:cxn>
              <a:cxn ang="0">
                <a:pos x="connsiteX14159" y="connsiteY14159"/>
              </a:cxn>
              <a:cxn ang="0">
                <a:pos x="connsiteX14160" y="connsiteY14160"/>
              </a:cxn>
              <a:cxn ang="0">
                <a:pos x="connsiteX14161" y="connsiteY14161"/>
              </a:cxn>
              <a:cxn ang="0">
                <a:pos x="connsiteX14162" y="connsiteY14162"/>
              </a:cxn>
              <a:cxn ang="0">
                <a:pos x="connsiteX14163" y="connsiteY14163"/>
              </a:cxn>
              <a:cxn ang="0">
                <a:pos x="connsiteX14164" y="connsiteY14164"/>
              </a:cxn>
              <a:cxn ang="0">
                <a:pos x="connsiteX14165" y="connsiteY14165"/>
              </a:cxn>
              <a:cxn ang="0">
                <a:pos x="connsiteX14166" y="connsiteY14166"/>
              </a:cxn>
              <a:cxn ang="0">
                <a:pos x="connsiteX14167" y="connsiteY14167"/>
              </a:cxn>
              <a:cxn ang="0">
                <a:pos x="connsiteX14168" y="connsiteY14168"/>
              </a:cxn>
              <a:cxn ang="0">
                <a:pos x="connsiteX14169" y="connsiteY14169"/>
              </a:cxn>
              <a:cxn ang="0">
                <a:pos x="connsiteX14170" y="connsiteY14170"/>
              </a:cxn>
              <a:cxn ang="0">
                <a:pos x="connsiteX14171" y="connsiteY14171"/>
              </a:cxn>
              <a:cxn ang="0">
                <a:pos x="connsiteX14172" y="connsiteY14172"/>
              </a:cxn>
              <a:cxn ang="0">
                <a:pos x="connsiteX14173" y="connsiteY14173"/>
              </a:cxn>
              <a:cxn ang="0">
                <a:pos x="connsiteX14174" y="connsiteY14174"/>
              </a:cxn>
              <a:cxn ang="0">
                <a:pos x="connsiteX14175" y="connsiteY14175"/>
              </a:cxn>
              <a:cxn ang="0">
                <a:pos x="connsiteX14176" y="connsiteY14176"/>
              </a:cxn>
              <a:cxn ang="0">
                <a:pos x="connsiteX14177" y="connsiteY14177"/>
              </a:cxn>
              <a:cxn ang="0">
                <a:pos x="connsiteX14178" y="connsiteY14178"/>
              </a:cxn>
              <a:cxn ang="0">
                <a:pos x="connsiteX14179" y="connsiteY14179"/>
              </a:cxn>
              <a:cxn ang="0">
                <a:pos x="connsiteX14180" y="connsiteY14180"/>
              </a:cxn>
              <a:cxn ang="0">
                <a:pos x="connsiteX14181" y="connsiteY14181"/>
              </a:cxn>
              <a:cxn ang="0">
                <a:pos x="connsiteX14182" y="connsiteY14182"/>
              </a:cxn>
              <a:cxn ang="0">
                <a:pos x="connsiteX14183" y="connsiteY14183"/>
              </a:cxn>
              <a:cxn ang="0">
                <a:pos x="connsiteX14184" y="connsiteY14184"/>
              </a:cxn>
              <a:cxn ang="0">
                <a:pos x="connsiteX14185" y="connsiteY14185"/>
              </a:cxn>
              <a:cxn ang="0">
                <a:pos x="connsiteX14186" y="connsiteY14186"/>
              </a:cxn>
              <a:cxn ang="0">
                <a:pos x="connsiteX14187" y="connsiteY14187"/>
              </a:cxn>
              <a:cxn ang="0">
                <a:pos x="connsiteX14188" y="connsiteY14188"/>
              </a:cxn>
              <a:cxn ang="0">
                <a:pos x="connsiteX14189" y="connsiteY14189"/>
              </a:cxn>
              <a:cxn ang="0">
                <a:pos x="connsiteX14190" y="connsiteY14190"/>
              </a:cxn>
              <a:cxn ang="0">
                <a:pos x="connsiteX14191" y="connsiteY14191"/>
              </a:cxn>
              <a:cxn ang="0">
                <a:pos x="connsiteX14192" y="connsiteY14192"/>
              </a:cxn>
              <a:cxn ang="0">
                <a:pos x="connsiteX14193" y="connsiteY14193"/>
              </a:cxn>
              <a:cxn ang="0">
                <a:pos x="connsiteX14194" y="connsiteY14194"/>
              </a:cxn>
              <a:cxn ang="0">
                <a:pos x="connsiteX14195" y="connsiteY14195"/>
              </a:cxn>
              <a:cxn ang="0">
                <a:pos x="connsiteX14196" y="connsiteY14196"/>
              </a:cxn>
              <a:cxn ang="0">
                <a:pos x="connsiteX14197" y="connsiteY14197"/>
              </a:cxn>
              <a:cxn ang="0">
                <a:pos x="connsiteX14198" y="connsiteY14198"/>
              </a:cxn>
              <a:cxn ang="0">
                <a:pos x="connsiteX14199" y="connsiteY14199"/>
              </a:cxn>
              <a:cxn ang="0">
                <a:pos x="connsiteX14200" y="connsiteY14200"/>
              </a:cxn>
              <a:cxn ang="0">
                <a:pos x="connsiteX14201" y="connsiteY14201"/>
              </a:cxn>
              <a:cxn ang="0">
                <a:pos x="connsiteX14202" y="connsiteY14202"/>
              </a:cxn>
              <a:cxn ang="0">
                <a:pos x="connsiteX14203" y="connsiteY14203"/>
              </a:cxn>
              <a:cxn ang="0">
                <a:pos x="connsiteX14204" y="connsiteY14204"/>
              </a:cxn>
              <a:cxn ang="0">
                <a:pos x="connsiteX14205" y="connsiteY14205"/>
              </a:cxn>
              <a:cxn ang="0">
                <a:pos x="connsiteX14206" y="connsiteY14206"/>
              </a:cxn>
              <a:cxn ang="0">
                <a:pos x="connsiteX14207" y="connsiteY14207"/>
              </a:cxn>
              <a:cxn ang="0">
                <a:pos x="connsiteX14208" y="connsiteY14208"/>
              </a:cxn>
              <a:cxn ang="0">
                <a:pos x="connsiteX14209" y="connsiteY14209"/>
              </a:cxn>
              <a:cxn ang="0">
                <a:pos x="connsiteX14210" y="connsiteY14210"/>
              </a:cxn>
              <a:cxn ang="0">
                <a:pos x="connsiteX14211" y="connsiteY14211"/>
              </a:cxn>
              <a:cxn ang="0">
                <a:pos x="connsiteX14212" y="connsiteY14212"/>
              </a:cxn>
              <a:cxn ang="0">
                <a:pos x="connsiteX14213" y="connsiteY14213"/>
              </a:cxn>
              <a:cxn ang="0">
                <a:pos x="connsiteX14214" y="connsiteY14214"/>
              </a:cxn>
              <a:cxn ang="0">
                <a:pos x="connsiteX14215" y="connsiteY14215"/>
              </a:cxn>
              <a:cxn ang="0">
                <a:pos x="connsiteX14216" y="connsiteY14216"/>
              </a:cxn>
              <a:cxn ang="0">
                <a:pos x="connsiteX14217" y="connsiteY14217"/>
              </a:cxn>
              <a:cxn ang="0">
                <a:pos x="connsiteX14218" y="connsiteY14218"/>
              </a:cxn>
              <a:cxn ang="0">
                <a:pos x="connsiteX14219" y="connsiteY14219"/>
              </a:cxn>
              <a:cxn ang="0">
                <a:pos x="connsiteX14220" y="connsiteY14220"/>
              </a:cxn>
              <a:cxn ang="0">
                <a:pos x="connsiteX14221" y="connsiteY14221"/>
              </a:cxn>
              <a:cxn ang="0">
                <a:pos x="connsiteX14222" y="connsiteY14222"/>
              </a:cxn>
              <a:cxn ang="0">
                <a:pos x="connsiteX14223" y="connsiteY14223"/>
              </a:cxn>
              <a:cxn ang="0">
                <a:pos x="connsiteX14224" y="connsiteY14224"/>
              </a:cxn>
              <a:cxn ang="0">
                <a:pos x="connsiteX14225" y="connsiteY14225"/>
              </a:cxn>
              <a:cxn ang="0">
                <a:pos x="connsiteX14226" y="connsiteY14226"/>
              </a:cxn>
              <a:cxn ang="0">
                <a:pos x="connsiteX14227" y="connsiteY14227"/>
              </a:cxn>
              <a:cxn ang="0">
                <a:pos x="connsiteX14228" y="connsiteY14228"/>
              </a:cxn>
              <a:cxn ang="0">
                <a:pos x="connsiteX14229" y="connsiteY14229"/>
              </a:cxn>
              <a:cxn ang="0">
                <a:pos x="connsiteX14230" y="connsiteY14230"/>
              </a:cxn>
              <a:cxn ang="0">
                <a:pos x="connsiteX14231" y="connsiteY14231"/>
              </a:cxn>
              <a:cxn ang="0">
                <a:pos x="connsiteX14232" y="connsiteY14232"/>
              </a:cxn>
              <a:cxn ang="0">
                <a:pos x="connsiteX14233" y="connsiteY14233"/>
              </a:cxn>
              <a:cxn ang="0">
                <a:pos x="connsiteX14234" y="connsiteY14234"/>
              </a:cxn>
              <a:cxn ang="0">
                <a:pos x="connsiteX14235" y="connsiteY14235"/>
              </a:cxn>
              <a:cxn ang="0">
                <a:pos x="connsiteX14236" y="connsiteY14236"/>
              </a:cxn>
              <a:cxn ang="0">
                <a:pos x="connsiteX14237" y="connsiteY14237"/>
              </a:cxn>
              <a:cxn ang="0">
                <a:pos x="connsiteX14238" y="connsiteY14238"/>
              </a:cxn>
              <a:cxn ang="0">
                <a:pos x="connsiteX14239" y="connsiteY14239"/>
              </a:cxn>
              <a:cxn ang="0">
                <a:pos x="connsiteX14240" y="connsiteY14240"/>
              </a:cxn>
              <a:cxn ang="0">
                <a:pos x="connsiteX14241" y="connsiteY14241"/>
              </a:cxn>
              <a:cxn ang="0">
                <a:pos x="connsiteX14242" y="connsiteY14242"/>
              </a:cxn>
              <a:cxn ang="0">
                <a:pos x="connsiteX14243" y="connsiteY14243"/>
              </a:cxn>
              <a:cxn ang="0">
                <a:pos x="connsiteX14244" y="connsiteY14244"/>
              </a:cxn>
              <a:cxn ang="0">
                <a:pos x="connsiteX14245" y="connsiteY14245"/>
              </a:cxn>
              <a:cxn ang="0">
                <a:pos x="connsiteX14246" y="connsiteY14246"/>
              </a:cxn>
              <a:cxn ang="0">
                <a:pos x="connsiteX14247" y="connsiteY14247"/>
              </a:cxn>
              <a:cxn ang="0">
                <a:pos x="connsiteX14248" y="connsiteY14248"/>
              </a:cxn>
              <a:cxn ang="0">
                <a:pos x="connsiteX14249" y="connsiteY14249"/>
              </a:cxn>
              <a:cxn ang="0">
                <a:pos x="connsiteX14250" y="connsiteY14250"/>
              </a:cxn>
              <a:cxn ang="0">
                <a:pos x="connsiteX14251" y="connsiteY14251"/>
              </a:cxn>
              <a:cxn ang="0">
                <a:pos x="connsiteX14252" y="connsiteY14252"/>
              </a:cxn>
              <a:cxn ang="0">
                <a:pos x="connsiteX14253" y="connsiteY14253"/>
              </a:cxn>
              <a:cxn ang="0">
                <a:pos x="connsiteX14254" y="connsiteY14254"/>
              </a:cxn>
              <a:cxn ang="0">
                <a:pos x="connsiteX14255" y="connsiteY14255"/>
              </a:cxn>
              <a:cxn ang="0">
                <a:pos x="connsiteX14256" y="connsiteY14256"/>
              </a:cxn>
              <a:cxn ang="0">
                <a:pos x="connsiteX14257" y="connsiteY14257"/>
              </a:cxn>
              <a:cxn ang="0">
                <a:pos x="connsiteX14258" y="connsiteY14258"/>
              </a:cxn>
              <a:cxn ang="0">
                <a:pos x="connsiteX14259" y="connsiteY14259"/>
              </a:cxn>
              <a:cxn ang="0">
                <a:pos x="connsiteX14260" y="connsiteY14260"/>
              </a:cxn>
              <a:cxn ang="0">
                <a:pos x="connsiteX14261" y="connsiteY14261"/>
              </a:cxn>
              <a:cxn ang="0">
                <a:pos x="connsiteX14262" y="connsiteY14262"/>
              </a:cxn>
              <a:cxn ang="0">
                <a:pos x="connsiteX14263" y="connsiteY14263"/>
              </a:cxn>
              <a:cxn ang="0">
                <a:pos x="connsiteX14264" y="connsiteY14264"/>
              </a:cxn>
              <a:cxn ang="0">
                <a:pos x="connsiteX14265" y="connsiteY14265"/>
              </a:cxn>
              <a:cxn ang="0">
                <a:pos x="connsiteX14266" y="connsiteY14266"/>
              </a:cxn>
              <a:cxn ang="0">
                <a:pos x="connsiteX14267" y="connsiteY14267"/>
              </a:cxn>
              <a:cxn ang="0">
                <a:pos x="connsiteX14268" y="connsiteY14268"/>
              </a:cxn>
              <a:cxn ang="0">
                <a:pos x="connsiteX14269" y="connsiteY14269"/>
              </a:cxn>
              <a:cxn ang="0">
                <a:pos x="connsiteX14270" y="connsiteY14270"/>
              </a:cxn>
              <a:cxn ang="0">
                <a:pos x="connsiteX14271" y="connsiteY14271"/>
              </a:cxn>
              <a:cxn ang="0">
                <a:pos x="connsiteX14272" y="connsiteY14272"/>
              </a:cxn>
              <a:cxn ang="0">
                <a:pos x="connsiteX14273" y="connsiteY14273"/>
              </a:cxn>
              <a:cxn ang="0">
                <a:pos x="connsiteX14274" y="connsiteY14274"/>
              </a:cxn>
              <a:cxn ang="0">
                <a:pos x="connsiteX14275" y="connsiteY14275"/>
              </a:cxn>
              <a:cxn ang="0">
                <a:pos x="connsiteX14276" y="connsiteY14276"/>
              </a:cxn>
              <a:cxn ang="0">
                <a:pos x="connsiteX14277" y="connsiteY14277"/>
              </a:cxn>
              <a:cxn ang="0">
                <a:pos x="connsiteX14278" y="connsiteY14278"/>
              </a:cxn>
              <a:cxn ang="0">
                <a:pos x="connsiteX14279" y="connsiteY14279"/>
              </a:cxn>
              <a:cxn ang="0">
                <a:pos x="connsiteX14280" y="connsiteY14280"/>
              </a:cxn>
              <a:cxn ang="0">
                <a:pos x="connsiteX14281" y="connsiteY14281"/>
              </a:cxn>
              <a:cxn ang="0">
                <a:pos x="connsiteX14282" y="connsiteY14282"/>
              </a:cxn>
              <a:cxn ang="0">
                <a:pos x="connsiteX14283" y="connsiteY14283"/>
              </a:cxn>
              <a:cxn ang="0">
                <a:pos x="connsiteX14284" y="connsiteY14284"/>
              </a:cxn>
              <a:cxn ang="0">
                <a:pos x="connsiteX14285" y="connsiteY14285"/>
              </a:cxn>
              <a:cxn ang="0">
                <a:pos x="connsiteX14286" y="connsiteY14286"/>
              </a:cxn>
              <a:cxn ang="0">
                <a:pos x="connsiteX14287" y="connsiteY14287"/>
              </a:cxn>
              <a:cxn ang="0">
                <a:pos x="connsiteX14288" y="connsiteY14288"/>
              </a:cxn>
              <a:cxn ang="0">
                <a:pos x="connsiteX14289" y="connsiteY14289"/>
              </a:cxn>
              <a:cxn ang="0">
                <a:pos x="connsiteX14290" y="connsiteY14290"/>
              </a:cxn>
              <a:cxn ang="0">
                <a:pos x="connsiteX14291" y="connsiteY14291"/>
              </a:cxn>
              <a:cxn ang="0">
                <a:pos x="connsiteX14292" y="connsiteY14292"/>
              </a:cxn>
              <a:cxn ang="0">
                <a:pos x="connsiteX14293" y="connsiteY14293"/>
              </a:cxn>
              <a:cxn ang="0">
                <a:pos x="connsiteX14294" y="connsiteY14294"/>
              </a:cxn>
              <a:cxn ang="0">
                <a:pos x="connsiteX14295" y="connsiteY14295"/>
              </a:cxn>
              <a:cxn ang="0">
                <a:pos x="connsiteX14296" y="connsiteY14296"/>
              </a:cxn>
              <a:cxn ang="0">
                <a:pos x="connsiteX14297" y="connsiteY14297"/>
              </a:cxn>
              <a:cxn ang="0">
                <a:pos x="connsiteX14298" y="connsiteY14298"/>
              </a:cxn>
              <a:cxn ang="0">
                <a:pos x="connsiteX14299" y="connsiteY14299"/>
              </a:cxn>
              <a:cxn ang="0">
                <a:pos x="connsiteX14300" y="connsiteY14300"/>
              </a:cxn>
              <a:cxn ang="0">
                <a:pos x="connsiteX14301" y="connsiteY14301"/>
              </a:cxn>
              <a:cxn ang="0">
                <a:pos x="connsiteX14302" y="connsiteY14302"/>
              </a:cxn>
              <a:cxn ang="0">
                <a:pos x="connsiteX14303" y="connsiteY14303"/>
              </a:cxn>
              <a:cxn ang="0">
                <a:pos x="connsiteX14304" y="connsiteY14304"/>
              </a:cxn>
              <a:cxn ang="0">
                <a:pos x="connsiteX14305" y="connsiteY14305"/>
              </a:cxn>
              <a:cxn ang="0">
                <a:pos x="connsiteX14306" y="connsiteY14306"/>
              </a:cxn>
              <a:cxn ang="0">
                <a:pos x="connsiteX14307" y="connsiteY14307"/>
              </a:cxn>
              <a:cxn ang="0">
                <a:pos x="connsiteX14308" y="connsiteY14308"/>
              </a:cxn>
              <a:cxn ang="0">
                <a:pos x="connsiteX14309" y="connsiteY14309"/>
              </a:cxn>
              <a:cxn ang="0">
                <a:pos x="connsiteX14310" y="connsiteY14310"/>
              </a:cxn>
              <a:cxn ang="0">
                <a:pos x="connsiteX14311" y="connsiteY14311"/>
              </a:cxn>
              <a:cxn ang="0">
                <a:pos x="connsiteX14312" y="connsiteY14312"/>
              </a:cxn>
              <a:cxn ang="0">
                <a:pos x="connsiteX14313" y="connsiteY14313"/>
              </a:cxn>
              <a:cxn ang="0">
                <a:pos x="connsiteX14314" y="connsiteY14314"/>
              </a:cxn>
              <a:cxn ang="0">
                <a:pos x="connsiteX14315" y="connsiteY14315"/>
              </a:cxn>
              <a:cxn ang="0">
                <a:pos x="connsiteX14316" y="connsiteY14316"/>
              </a:cxn>
              <a:cxn ang="0">
                <a:pos x="connsiteX14317" y="connsiteY14317"/>
              </a:cxn>
              <a:cxn ang="0">
                <a:pos x="connsiteX14318" y="connsiteY14318"/>
              </a:cxn>
              <a:cxn ang="0">
                <a:pos x="connsiteX14319" y="connsiteY14319"/>
              </a:cxn>
              <a:cxn ang="0">
                <a:pos x="connsiteX14320" y="connsiteY14320"/>
              </a:cxn>
              <a:cxn ang="0">
                <a:pos x="connsiteX14321" y="connsiteY14321"/>
              </a:cxn>
              <a:cxn ang="0">
                <a:pos x="connsiteX14322" y="connsiteY14322"/>
              </a:cxn>
              <a:cxn ang="0">
                <a:pos x="connsiteX14323" y="connsiteY14323"/>
              </a:cxn>
              <a:cxn ang="0">
                <a:pos x="connsiteX14324" y="connsiteY14324"/>
              </a:cxn>
              <a:cxn ang="0">
                <a:pos x="connsiteX14325" y="connsiteY14325"/>
              </a:cxn>
              <a:cxn ang="0">
                <a:pos x="connsiteX14326" y="connsiteY14326"/>
              </a:cxn>
              <a:cxn ang="0">
                <a:pos x="connsiteX14327" y="connsiteY14327"/>
              </a:cxn>
              <a:cxn ang="0">
                <a:pos x="connsiteX14328" y="connsiteY14328"/>
              </a:cxn>
              <a:cxn ang="0">
                <a:pos x="connsiteX14329" y="connsiteY14329"/>
              </a:cxn>
              <a:cxn ang="0">
                <a:pos x="connsiteX14330" y="connsiteY14330"/>
              </a:cxn>
              <a:cxn ang="0">
                <a:pos x="connsiteX14331" y="connsiteY14331"/>
              </a:cxn>
              <a:cxn ang="0">
                <a:pos x="connsiteX14332" y="connsiteY14332"/>
              </a:cxn>
              <a:cxn ang="0">
                <a:pos x="connsiteX14333" y="connsiteY14333"/>
              </a:cxn>
              <a:cxn ang="0">
                <a:pos x="connsiteX14334" y="connsiteY14334"/>
              </a:cxn>
              <a:cxn ang="0">
                <a:pos x="connsiteX14335" y="connsiteY14335"/>
              </a:cxn>
              <a:cxn ang="0">
                <a:pos x="connsiteX14336" y="connsiteY14336"/>
              </a:cxn>
              <a:cxn ang="0">
                <a:pos x="connsiteX14337" y="connsiteY14337"/>
              </a:cxn>
              <a:cxn ang="0">
                <a:pos x="connsiteX14338" y="connsiteY14338"/>
              </a:cxn>
              <a:cxn ang="0">
                <a:pos x="connsiteX14339" y="connsiteY14339"/>
              </a:cxn>
              <a:cxn ang="0">
                <a:pos x="connsiteX14340" y="connsiteY14340"/>
              </a:cxn>
              <a:cxn ang="0">
                <a:pos x="connsiteX14341" y="connsiteY14341"/>
              </a:cxn>
              <a:cxn ang="0">
                <a:pos x="connsiteX14342" y="connsiteY14342"/>
              </a:cxn>
              <a:cxn ang="0">
                <a:pos x="connsiteX14343" y="connsiteY14343"/>
              </a:cxn>
              <a:cxn ang="0">
                <a:pos x="connsiteX14344" y="connsiteY14344"/>
              </a:cxn>
              <a:cxn ang="0">
                <a:pos x="connsiteX14345" y="connsiteY14345"/>
              </a:cxn>
              <a:cxn ang="0">
                <a:pos x="connsiteX14346" y="connsiteY14346"/>
              </a:cxn>
              <a:cxn ang="0">
                <a:pos x="connsiteX14347" y="connsiteY14347"/>
              </a:cxn>
              <a:cxn ang="0">
                <a:pos x="connsiteX14348" y="connsiteY14348"/>
              </a:cxn>
              <a:cxn ang="0">
                <a:pos x="connsiteX14349" y="connsiteY14349"/>
              </a:cxn>
              <a:cxn ang="0">
                <a:pos x="connsiteX14350" y="connsiteY14350"/>
              </a:cxn>
              <a:cxn ang="0">
                <a:pos x="connsiteX14351" y="connsiteY14351"/>
              </a:cxn>
              <a:cxn ang="0">
                <a:pos x="connsiteX14352" y="connsiteY14352"/>
              </a:cxn>
              <a:cxn ang="0">
                <a:pos x="connsiteX14353" y="connsiteY14353"/>
              </a:cxn>
              <a:cxn ang="0">
                <a:pos x="connsiteX14354" y="connsiteY14354"/>
              </a:cxn>
              <a:cxn ang="0">
                <a:pos x="connsiteX14355" y="connsiteY14355"/>
              </a:cxn>
              <a:cxn ang="0">
                <a:pos x="connsiteX14356" y="connsiteY14356"/>
              </a:cxn>
              <a:cxn ang="0">
                <a:pos x="connsiteX14357" y="connsiteY14357"/>
              </a:cxn>
              <a:cxn ang="0">
                <a:pos x="connsiteX14358" y="connsiteY14358"/>
              </a:cxn>
              <a:cxn ang="0">
                <a:pos x="connsiteX14359" y="connsiteY14359"/>
              </a:cxn>
              <a:cxn ang="0">
                <a:pos x="connsiteX14360" y="connsiteY14360"/>
              </a:cxn>
              <a:cxn ang="0">
                <a:pos x="connsiteX14361" y="connsiteY14361"/>
              </a:cxn>
              <a:cxn ang="0">
                <a:pos x="connsiteX14362" y="connsiteY14362"/>
              </a:cxn>
              <a:cxn ang="0">
                <a:pos x="connsiteX14363" y="connsiteY14363"/>
              </a:cxn>
              <a:cxn ang="0">
                <a:pos x="connsiteX14364" y="connsiteY14364"/>
              </a:cxn>
              <a:cxn ang="0">
                <a:pos x="connsiteX14365" y="connsiteY14365"/>
              </a:cxn>
              <a:cxn ang="0">
                <a:pos x="connsiteX14366" y="connsiteY14366"/>
              </a:cxn>
              <a:cxn ang="0">
                <a:pos x="connsiteX14367" y="connsiteY14367"/>
              </a:cxn>
              <a:cxn ang="0">
                <a:pos x="connsiteX14368" y="connsiteY14368"/>
              </a:cxn>
              <a:cxn ang="0">
                <a:pos x="connsiteX14369" y="connsiteY14369"/>
              </a:cxn>
              <a:cxn ang="0">
                <a:pos x="connsiteX14370" y="connsiteY14370"/>
              </a:cxn>
              <a:cxn ang="0">
                <a:pos x="connsiteX14371" y="connsiteY14371"/>
              </a:cxn>
              <a:cxn ang="0">
                <a:pos x="connsiteX14372" y="connsiteY14372"/>
              </a:cxn>
              <a:cxn ang="0">
                <a:pos x="connsiteX14373" y="connsiteY14373"/>
              </a:cxn>
              <a:cxn ang="0">
                <a:pos x="connsiteX14374" y="connsiteY14374"/>
              </a:cxn>
              <a:cxn ang="0">
                <a:pos x="connsiteX14375" y="connsiteY14375"/>
              </a:cxn>
              <a:cxn ang="0">
                <a:pos x="connsiteX14376" y="connsiteY14376"/>
              </a:cxn>
              <a:cxn ang="0">
                <a:pos x="connsiteX14377" y="connsiteY14377"/>
              </a:cxn>
              <a:cxn ang="0">
                <a:pos x="connsiteX14378" y="connsiteY14378"/>
              </a:cxn>
              <a:cxn ang="0">
                <a:pos x="connsiteX14379" y="connsiteY14379"/>
              </a:cxn>
              <a:cxn ang="0">
                <a:pos x="connsiteX14380" y="connsiteY14380"/>
              </a:cxn>
              <a:cxn ang="0">
                <a:pos x="connsiteX14381" y="connsiteY14381"/>
              </a:cxn>
              <a:cxn ang="0">
                <a:pos x="connsiteX14382" y="connsiteY14382"/>
              </a:cxn>
              <a:cxn ang="0">
                <a:pos x="connsiteX14383" y="connsiteY14383"/>
              </a:cxn>
              <a:cxn ang="0">
                <a:pos x="connsiteX14384" y="connsiteY14384"/>
              </a:cxn>
              <a:cxn ang="0">
                <a:pos x="connsiteX14385" y="connsiteY14385"/>
              </a:cxn>
              <a:cxn ang="0">
                <a:pos x="connsiteX14386" y="connsiteY14386"/>
              </a:cxn>
              <a:cxn ang="0">
                <a:pos x="connsiteX14387" y="connsiteY14387"/>
              </a:cxn>
              <a:cxn ang="0">
                <a:pos x="connsiteX14388" y="connsiteY14388"/>
              </a:cxn>
              <a:cxn ang="0">
                <a:pos x="connsiteX14389" y="connsiteY14389"/>
              </a:cxn>
              <a:cxn ang="0">
                <a:pos x="connsiteX14390" y="connsiteY14390"/>
              </a:cxn>
              <a:cxn ang="0">
                <a:pos x="connsiteX14391" y="connsiteY14391"/>
              </a:cxn>
              <a:cxn ang="0">
                <a:pos x="connsiteX14392" y="connsiteY14392"/>
              </a:cxn>
              <a:cxn ang="0">
                <a:pos x="connsiteX14393" y="connsiteY14393"/>
              </a:cxn>
              <a:cxn ang="0">
                <a:pos x="connsiteX14394" y="connsiteY14394"/>
              </a:cxn>
              <a:cxn ang="0">
                <a:pos x="connsiteX14395" y="connsiteY14395"/>
              </a:cxn>
              <a:cxn ang="0">
                <a:pos x="connsiteX14396" y="connsiteY14396"/>
              </a:cxn>
              <a:cxn ang="0">
                <a:pos x="connsiteX14397" y="connsiteY14397"/>
              </a:cxn>
              <a:cxn ang="0">
                <a:pos x="connsiteX14398" y="connsiteY14398"/>
              </a:cxn>
              <a:cxn ang="0">
                <a:pos x="connsiteX14399" y="connsiteY14399"/>
              </a:cxn>
              <a:cxn ang="0">
                <a:pos x="connsiteX14400" y="connsiteY14400"/>
              </a:cxn>
              <a:cxn ang="0">
                <a:pos x="connsiteX14401" y="connsiteY14401"/>
              </a:cxn>
              <a:cxn ang="0">
                <a:pos x="connsiteX14402" y="connsiteY14402"/>
              </a:cxn>
              <a:cxn ang="0">
                <a:pos x="connsiteX14403" y="connsiteY14403"/>
              </a:cxn>
              <a:cxn ang="0">
                <a:pos x="connsiteX14404" y="connsiteY14404"/>
              </a:cxn>
              <a:cxn ang="0">
                <a:pos x="connsiteX14405" y="connsiteY14405"/>
              </a:cxn>
              <a:cxn ang="0">
                <a:pos x="connsiteX14406" y="connsiteY14406"/>
              </a:cxn>
              <a:cxn ang="0">
                <a:pos x="connsiteX14407" y="connsiteY14407"/>
              </a:cxn>
              <a:cxn ang="0">
                <a:pos x="connsiteX14408" y="connsiteY14408"/>
              </a:cxn>
              <a:cxn ang="0">
                <a:pos x="connsiteX14409" y="connsiteY14409"/>
              </a:cxn>
              <a:cxn ang="0">
                <a:pos x="connsiteX14410" y="connsiteY14410"/>
              </a:cxn>
              <a:cxn ang="0">
                <a:pos x="connsiteX14411" y="connsiteY14411"/>
              </a:cxn>
              <a:cxn ang="0">
                <a:pos x="connsiteX14412" y="connsiteY14412"/>
              </a:cxn>
              <a:cxn ang="0">
                <a:pos x="connsiteX14413" y="connsiteY14413"/>
              </a:cxn>
              <a:cxn ang="0">
                <a:pos x="connsiteX14414" y="connsiteY14414"/>
              </a:cxn>
              <a:cxn ang="0">
                <a:pos x="connsiteX14415" y="connsiteY14415"/>
              </a:cxn>
              <a:cxn ang="0">
                <a:pos x="connsiteX14416" y="connsiteY14416"/>
              </a:cxn>
              <a:cxn ang="0">
                <a:pos x="connsiteX14417" y="connsiteY14417"/>
              </a:cxn>
              <a:cxn ang="0">
                <a:pos x="connsiteX14418" y="connsiteY14418"/>
              </a:cxn>
              <a:cxn ang="0">
                <a:pos x="connsiteX14419" y="connsiteY14419"/>
              </a:cxn>
              <a:cxn ang="0">
                <a:pos x="connsiteX14420" y="connsiteY14420"/>
              </a:cxn>
              <a:cxn ang="0">
                <a:pos x="connsiteX14421" y="connsiteY14421"/>
              </a:cxn>
              <a:cxn ang="0">
                <a:pos x="connsiteX14422" y="connsiteY14422"/>
              </a:cxn>
              <a:cxn ang="0">
                <a:pos x="connsiteX14423" y="connsiteY14423"/>
              </a:cxn>
              <a:cxn ang="0">
                <a:pos x="connsiteX14424" y="connsiteY14424"/>
              </a:cxn>
              <a:cxn ang="0">
                <a:pos x="connsiteX14425" y="connsiteY14425"/>
              </a:cxn>
              <a:cxn ang="0">
                <a:pos x="connsiteX14426" y="connsiteY14426"/>
              </a:cxn>
              <a:cxn ang="0">
                <a:pos x="connsiteX14427" y="connsiteY14427"/>
              </a:cxn>
              <a:cxn ang="0">
                <a:pos x="connsiteX14428" y="connsiteY14428"/>
              </a:cxn>
              <a:cxn ang="0">
                <a:pos x="connsiteX14429" y="connsiteY14429"/>
              </a:cxn>
              <a:cxn ang="0">
                <a:pos x="connsiteX14430" y="connsiteY14430"/>
              </a:cxn>
              <a:cxn ang="0">
                <a:pos x="connsiteX14431" y="connsiteY14431"/>
              </a:cxn>
              <a:cxn ang="0">
                <a:pos x="connsiteX14432" y="connsiteY14432"/>
              </a:cxn>
              <a:cxn ang="0">
                <a:pos x="connsiteX14433" y="connsiteY14433"/>
              </a:cxn>
              <a:cxn ang="0">
                <a:pos x="connsiteX14434" y="connsiteY14434"/>
              </a:cxn>
              <a:cxn ang="0">
                <a:pos x="connsiteX14435" y="connsiteY14435"/>
              </a:cxn>
              <a:cxn ang="0">
                <a:pos x="connsiteX14436" y="connsiteY14436"/>
              </a:cxn>
              <a:cxn ang="0">
                <a:pos x="connsiteX14437" y="connsiteY14437"/>
              </a:cxn>
              <a:cxn ang="0">
                <a:pos x="connsiteX14438" y="connsiteY14438"/>
              </a:cxn>
              <a:cxn ang="0">
                <a:pos x="connsiteX14439" y="connsiteY14439"/>
              </a:cxn>
              <a:cxn ang="0">
                <a:pos x="connsiteX14440" y="connsiteY14440"/>
              </a:cxn>
              <a:cxn ang="0">
                <a:pos x="connsiteX14441" y="connsiteY14441"/>
              </a:cxn>
              <a:cxn ang="0">
                <a:pos x="connsiteX14442" y="connsiteY14442"/>
              </a:cxn>
              <a:cxn ang="0">
                <a:pos x="connsiteX14443" y="connsiteY14443"/>
              </a:cxn>
              <a:cxn ang="0">
                <a:pos x="connsiteX14444" y="connsiteY14444"/>
              </a:cxn>
              <a:cxn ang="0">
                <a:pos x="connsiteX14445" y="connsiteY14445"/>
              </a:cxn>
              <a:cxn ang="0">
                <a:pos x="connsiteX14446" y="connsiteY14446"/>
              </a:cxn>
              <a:cxn ang="0">
                <a:pos x="connsiteX14447" y="connsiteY14447"/>
              </a:cxn>
              <a:cxn ang="0">
                <a:pos x="connsiteX14448" y="connsiteY14448"/>
              </a:cxn>
              <a:cxn ang="0">
                <a:pos x="connsiteX14449" y="connsiteY14449"/>
              </a:cxn>
              <a:cxn ang="0">
                <a:pos x="connsiteX14450" y="connsiteY14450"/>
              </a:cxn>
              <a:cxn ang="0">
                <a:pos x="connsiteX14451" y="connsiteY14451"/>
              </a:cxn>
              <a:cxn ang="0">
                <a:pos x="connsiteX14452" y="connsiteY14452"/>
              </a:cxn>
              <a:cxn ang="0">
                <a:pos x="connsiteX14453" y="connsiteY14453"/>
              </a:cxn>
              <a:cxn ang="0">
                <a:pos x="connsiteX14454" y="connsiteY14454"/>
              </a:cxn>
              <a:cxn ang="0">
                <a:pos x="connsiteX14455" y="connsiteY14455"/>
              </a:cxn>
              <a:cxn ang="0">
                <a:pos x="connsiteX14456" y="connsiteY14456"/>
              </a:cxn>
              <a:cxn ang="0">
                <a:pos x="connsiteX14457" y="connsiteY14457"/>
              </a:cxn>
              <a:cxn ang="0">
                <a:pos x="connsiteX14458" y="connsiteY14458"/>
              </a:cxn>
              <a:cxn ang="0">
                <a:pos x="connsiteX14459" y="connsiteY14459"/>
              </a:cxn>
              <a:cxn ang="0">
                <a:pos x="connsiteX14460" y="connsiteY14460"/>
              </a:cxn>
              <a:cxn ang="0">
                <a:pos x="connsiteX14461" y="connsiteY14461"/>
              </a:cxn>
              <a:cxn ang="0">
                <a:pos x="connsiteX14462" y="connsiteY14462"/>
              </a:cxn>
              <a:cxn ang="0">
                <a:pos x="connsiteX14463" y="connsiteY14463"/>
              </a:cxn>
              <a:cxn ang="0">
                <a:pos x="connsiteX14464" y="connsiteY14464"/>
              </a:cxn>
              <a:cxn ang="0">
                <a:pos x="connsiteX14465" y="connsiteY14465"/>
              </a:cxn>
              <a:cxn ang="0">
                <a:pos x="connsiteX14466" y="connsiteY14466"/>
              </a:cxn>
              <a:cxn ang="0">
                <a:pos x="connsiteX14467" y="connsiteY14467"/>
              </a:cxn>
              <a:cxn ang="0">
                <a:pos x="connsiteX14468" y="connsiteY14468"/>
              </a:cxn>
              <a:cxn ang="0">
                <a:pos x="connsiteX14469" y="connsiteY14469"/>
              </a:cxn>
              <a:cxn ang="0">
                <a:pos x="connsiteX14470" y="connsiteY14470"/>
              </a:cxn>
              <a:cxn ang="0">
                <a:pos x="connsiteX14471" y="connsiteY14471"/>
              </a:cxn>
              <a:cxn ang="0">
                <a:pos x="connsiteX14472" y="connsiteY14472"/>
              </a:cxn>
              <a:cxn ang="0">
                <a:pos x="connsiteX14473" y="connsiteY14473"/>
              </a:cxn>
              <a:cxn ang="0">
                <a:pos x="connsiteX14474" y="connsiteY14474"/>
              </a:cxn>
              <a:cxn ang="0">
                <a:pos x="connsiteX14475" y="connsiteY14475"/>
              </a:cxn>
              <a:cxn ang="0">
                <a:pos x="connsiteX14476" y="connsiteY14476"/>
              </a:cxn>
              <a:cxn ang="0">
                <a:pos x="connsiteX14477" y="connsiteY14477"/>
              </a:cxn>
              <a:cxn ang="0">
                <a:pos x="connsiteX14478" y="connsiteY14478"/>
              </a:cxn>
              <a:cxn ang="0">
                <a:pos x="connsiteX14479" y="connsiteY14479"/>
              </a:cxn>
              <a:cxn ang="0">
                <a:pos x="connsiteX14480" y="connsiteY14480"/>
              </a:cxn>
              <a:cxn ang="0">
                <a:pos x="connsiteX14481" y="connsiteY14481"/>
              </a:cxn>
              <a:cxn ang="0">
                <a:pos x="connsiteX14482" y="connsiteY14482"/>
              </a:cxn>
              <a:cxn ang="0">
                <a:pos x="connsiteX14483" y="connsiteY14483"/>
              </a:cxn>
              <a:cxn ang="0">
                <a:pos x="connsiteX14484" y="connsiteY14484"/>
              </a:cxn>
              <a:cxn ang="0">
                <a:pos x="connsiteX14485" y="connsiteY14485"/>
              </a:cxn>
              <a:cxn ang="0">
                <a:pos x="connsiteX14486" y="connsiteY14486"/>
              </a:cxn>
              <a:cxn ang="0">
                <a:pos x="connsiteX14487" y="connsiteY14487"/>
              </a:cxn>
              <a:cxn ang="0">
                <a:pos x="connsiteX14488" y="connsiteY14488"/>
              </a:cxn>
              <a:cxn ang="0">
                <a:pos x="connsiteX14489" y="connsiteY14489"/>
              </a:cxn>
              <a:cxn ang="0">
                <a:pos x="connsiteX14490" y="connsiteY14490"/>
              </a:cxn>
              <a:cxn ang="0">
                <a:pos x="connsiteX14491" y="connsiteY14491"/>
              </a:cxn>
              <a:cxn ang="0">
                <a:pos x="connsiteX14492" y="connsiteY14492"/>
              </a:cxn>
              <a:cxn ang="0">
                <a:pos x="connsiteX14493" y="connsiteY14493"/>
              </a:cxn>
              <a:cxn ang="0">
                <a:pos x="connsiteX14494" y="connsiteY14494"/>
              </a:cxn>
              <a:cxn ang="0">
                <a:pos x="connsiteX14495" y="connsiteY14495"/>
              </a:cxn>
              <a:cxn ang="0">
                <a:pos x="connsiteX14496" y="connsiteY14496"/>
              </a:cxn>
              <a:cxn ang="0">
                <a:pos x="connsiteX14497" y="connsiteY14497"/>
              </a:cxn>
              <a:cxn ang="0">
                <a:pos x="connsiteX14498" y="connsiteY14498"/>
              </a:cxn>
              <a:cxn ang="0">
                <a:pos x="connsiteX14499" y="connsiteY14499"/>
              </a:cxn>
              <a:cxn ang="0">
                <a:pos x="connsiteX14500" y="connsiteY14500"/>
              </a:cxn>
              <a:cxn ang="0">
                <a:pos x="connsiteX14501" y="connsiteY14501"/>
              </a:cxn>
              <a:cxn ang="0">
                <a:pos x="connsiteX14502" y="connsiteY14502"/>
              </a:cxn>
              <a:cxn ang="0">
                <a:pos x="connsiteX14503" y="connsiteY14503"/>
              </a:cxn>
              <a:cxn ang="0">
                <a:pos x="connsiteX14504" y="connsiteY14504"/>
              </a:cxn>
              <a:cxn ang="0">
                <a:pos x="connsiteX14505" y="connsiteY14505"/>
              </a:cxn>
              <a:cxn ang="0">
                <a:pos x="connsiteX14506" y="connsiteY14506"/>
              </a:cxn>
              <a:cxn ang="0">
                <a:pos x="connsiteX14507" y="connsiteY14507"/>
              </a:cxn>
              <a:cxn ang="0">
                <a:pos x="connsiteX14508" y="connsiteY14508"/>
              </a:cxn>
              <a:cxn ang="0">
                <a:pos x="connsiteX14509" y="connsiteY14509"/>
              </a:cxn>
              <a:cxn ang="0">
                <a:pos x="connsiteX14510" y="connsiteY14510"/>
              </a:cxn>
              <a:cxn ang="0">
                <a:pos x="connsiteX14511" y="connsiteY14511"/>
              </a:cxn>
              <a:cxn ang="0">
                <a:pos x="connsiteX14512" y="connsiteY14512"/>
              </a:cxn>
              <a:cxn ang="0">
                <a:pos x="connsiteX14513" y="connsiteY14513"/>
              </a:cxn>
              <a:cxn ang="0">
                <a:pos x="connsiteX14514" y="connsiteY14514"/>
              </a:cxn>
              <a:cxn ang="0">
                <a:pos x="connsiteX14515" y="connsiteY14515"/>
              </a:cxn>
              <a:cxn ang="0">
                <a:pos x="connsiteX14516" y="connsiteY14516"/>
              </a:cxn>
              <a:cxn ang="0">
                <a:pos x="connsiteX14517" y="connsiteY14517"/>
              </a:cxn>
              <a:cxn ang="0">
                <a:pos x="connsiteX14518" y="connsiteY14518"/>
              </a:cxn>
              <a:cxn ang="0">
                <a:pos x="connsiteX14519" y="connsiteY14519"/>
              </a:cxn>
              <a:cxn ang="0">
                <a:pos x="connsiteX14520" y="connsiteY14520"/>
              </a:cxn>
              <a:cxn ang="0">
                <a:pos x="connsiteX14521" y="connsiteY14521"/>
              </a:cxn>
              <a:cxn ang="0">
                <a:pos x="connsiteX14522" y="connsiteY14522"/>
              </a:cxn>
              <a:cxn ang="0">
                <a:pos x="connsiteX14523" y="connsiteY14523"/>
              </a:cxn>
              <a:cxn ang="0">
                <a:pos x="connsiteX14524" y="connsiteY14524"/>
              </a:cxn>
              <a:cxn ang="0">
                <a:pos x="connsiteX14525" y="connsiteY14525"/>
              </a:cxn>
              <a:cxn ang="0">
                <a:pos x="connsiteX14526" y="connsiteY14526"/>
              </a:cxn>
              <a:cxn ang="0">
                <a:pos x="connsiteX14527" y="connsiteY14527"/>
              </a:cxn>
              <a:cxn ang="0">
                <a:pos x="connsiteX14528" y="connsiteY14528"/>
              </a:cxn>
              <a:cxn ang="0">
                <a:pos x="connsiteX14529" y="connsiteY14529"/>
              </a:cxn>
              <a:cxn ang="0">
                <a:pos x="connsiteX14530" y="connsiteY14530"/>
              </a:cxn>
              <a:cxn ang="0">
                <a:pos x="connsiteX14531" y="connsiteY14531"/>
              </a:cxn>
              <a:cxn ang="0">
                <a:pos x="connsiteX14532" y="connsiteY14532"/>
              </a:cxn>
              <a:cxn ang="0">
                <a:pos x="connsiteX14533" y="connsiteY14533"/>
              </a:cxn>
              <a:cxn ang="0">
                <a:pos x="connsiteX14534" y="connsiteY14534"/>
              </a:cxn>
              <a:cxn ang="0">
                <a:pos x="connsiteX14535" y="connsiteY14535"/>
              </a:cxn>
              <a:cxn ang="0">
                <a:pos x="connsiteX14536" y="connsiteY14536"/>
              </a:cxn>
              <a:cxn ang="0">
                <a:pos x="connsiteX14537" y="connsiteY14537"/>
              </a:cxn>
              <a:cxn ang="0">
                <a:pos x="connsiteX14538" y="connsiteY14538"/>
              </a:cxn>
              <a:cxn ang="0">
                <a:pos x="connsiteX14539" y="connsiteY14539"/>
              </a:cxn>
              <a:cxn ang="0">
                <a:pos x="connsiteX14540" y="connsiteY14540"/>
              </a:cxn>
              <a:cxn ang="0">
                <a:pos x="connsiteX14541" y="connsiteY14541"/>
              </a:cxn>
              <a:cxn ang="0">
                <a:pos x="connsiteX14542" y="connsiteY14542"/>
              </a:cxn>
              <a:cxn ang="0">
                <a:pos x="connsiteX14543" y="connsiteY14543"/>
              </a:cxn>
              <a:cxn ang="0">
                <a:pos x="connsiteX14544" y="connsiteY14544"/>
              </a:cxn>
              <a:cxn ang="0">
                <a:pos x="connsiteX14545" y="connsiteY14545"/>
              </a:cxn>
              <a:cxn ang="0">
                <a:pos x="connsiteX14546" y="connsiteY14546"/>
              </a:cxn>
              <a:cxn ang="0">
                <a:pos x="connsiteX14547" y="connsiteY14547"/>
              </a:cxn>
              <a:cxn ang="0">
                <a:pos x="connsiteX14548" y="connsiteY14548"/>
              </a:cxn>
              <a:cxn ang="0">
                <a:pos x="connsiteX14549" y="connsiteY14549"/>
              </a:cxn>
              <a:cxn ang="0">
                <a:pos x="connsiteX14550" y="connsiteY14550"/>
              </a:cxn>
              <a:cxn ang="0">
                <a:pos x="connsiteX14551" y="connsiteY14551"/>
              </a:cxn>
              <a:cxn ang="0">
                <a:pos x="connsiteX14552" y="connsiteY14552"/>
              </a:cxn>
              <a:cxn ang="0">
                <a:pos x="connsiteX14553" y="connsiteY14553"/>
              </a:cxn>
              <a:cxn ang="0">
                <a:pos x="connsiteX14554" y="connsiteY14554"/>
              </a:cxn>
              <a:cxn ang="0">
                <a:pos x="connsiteX14555" y="connsiteY14555"/>
              </a:cxn>
              <a:cxn ang="0">
                <a:pos x="connsiteX14556" y="connsiteY14556"/>
              </a:cxn>
              <a:cxn ang="0">
                <a:pos x="connsiteX14557" y="connsiteY14557"/>
              </a:cxn>
              <a:cxn ang="0">
                <a:pos x="connsiteX14558" y="connsiteY14558"/>
              </a:cxn>
              <a:cxn ang="0">
                <a:pos x="connsiteX14559" y="connsiteY14559"/>
              </a:cxn>
              <a:cxn ang="0">
                <a:pos x="connsiteX14560" y="connsiteY14560"/>
              </a:cxn>
              <a:cxn ang="0">
                <a:pos x="connsiteX14561" y="connsiteY14561"/>
              </a:cxn>
              <a:cxn ang="0">
                <a:pos x="connsiteX14562" y="connsiteY14562"/>
              </a:cxn>
              <a:cxn ang="0">
                <a:pos x="connsiteX14563" y="connsiteY14563"/>
              </a:cxn>
              <a:cxn ang="0">
                <a:pos x="connsiteX14564" y="connsiteY14564"/>
              </a:cxn>
              <a:cxn ang="0">
                <a:pos x="connsiteX14565" y="connsiteY14565"/>
              </a:cxn>
              <a:cxn ang="0">
                <a:pos x="connsiteX14566" y="connsiteY14566"/>
              </a:cxn>
              <a:cxn ang="0">
                <a:pos x="connsiteX14567" y="connsiteY14567"/>
              </a:cxn>
              <a:cxn ang="0">
                <a:pos x="connsiteX14568" y="connsiteY14568"/>
              </a:cxn>
              <a:cxn ang="0">
                <a:pos x="connsiteX14569" y="connsiteY14569"/>
              </a:cxn>
              <a:cxn ang="0">
                <a:pos x="connsiteX14570" y="connsiteY14570"/>
              </a:cxn>
              <a:cxn ang="0">
                <a:pos x="connsiteX14571" y="connsiteY14571"/>
              </a:cxn>
              <a:cxn ang="0">
                <a:pos x="connsiteX14572" y="connsiteY14572"/>
              </a:cxn>
              <a:cxn ang="0">
                <a:pos x="connsiteX14573" y="connsiteY14573"/>
              </a:cxn>
              <a:cxn ang="0">
                <a:pos x="connsiteX14574" y="connsiteY14574"/>
              </a:cxn>
              <a:cxn ang="0">
                <a:pos x="connsiteX14575" y="connsiteY14575"/>
              </a:cxn>
              <a:cxn ang="0">
                <a:pos x="connsiteX14576" y="connsiteY14576"/>
              </a:cxn>
              <a:cxn ang="0">
                <a:pos x="connsiteX14577" y="connsiteY14577"/>
              </a:cxn>
              <a:cxn ang="0">
                <a:pos x="connsiteX14578" y="connsiteY14578"/>
              </a:cxn>
              <a:cxn ang="0">
                <a:pos x="connsiteX14579" y="connsiteY14579"/>
              </a:cxn>
              <a:cxn ang="0">
                <a:pos x="connsiteX14580" y="connsiteY14580"/>
              </a:cxn>
              <a:cxn ang="0">
                <a:pos x="connsiteX14581" y="connsiteY14581"/>
              </a:cxn>
              <a:cxn ang="0">
                <a:pos x="connsiteX14582" y="connsiteY14582"/>
              </a:cxn>
              <a:cxn ang="0">
                <a:pos x="connsiteX14583" y="connsiteY14583"/>
              </a:cxn>
              <a:cxn ang="0">
                <a:pos x="connsiteX14584" y="connsiteY14584"/>
              </a:cxn>
              <a:cxn ang="0">
                <a:pos x="connsiteX14585" y="connsiteY14585"/>
              </a:cxn>
              <a:cxn ang="0">
                <a:pos x="connsiteX14586" y="connsiteY14586"/>
              </a:cxn>
              <a:cxn ang="0">
                <a:pos x="connsiteX14587" y="connsiteY14587"/>
              </a:cxn>
              <a:cxn ang="0">
                <a:pos x="connsiteX14588" y="connsiteY14588"/>
              </a:cxn>
              <a:cxn ang="0">
                <a:pos x="connsiteX14589" y="connsiteY14589"/>
              </a:cxn>
              <a:cxn ang="0">
                <a:pos x="connsiteX14590" y="connsiteY14590"/>
              </a:cxn>
              <a:cxn ang="0">
                <a:pos x="connsiteX14591" y="connsiteY14591"/>
              </a:cxn>
              <a:cxn ang="0">
                <a:pos x="connsiteX14592" y="connsiteY14592"/>
              </a:cxn>
              <a:cxn ang="0">
                <a:pos x="connsiteX14593" y="connsiteY14593"/>
              </a:cxn>
              <a:cxn ang="0">
                <a:pos x="connsiteX14594" y="connsiteY14594"/>
              </a:cxn>
              <a:cxn ang="0">
                <a:pos x="connsiteX14595" y="connsiteY14595"/>
              </a:cxn>
              <a:cxn ang="0">
                <a:pos x="connsiteX14596" y="connsiteY14596"/>
              </a:cxn>
              <a:cxn ang="0">
                <a:pos x="connsiteX14597" y="connsiteY14597"/>
              </a:cxn>
              <a:cxn ang="0">
                <a:pos x="connsiteX14598" y="connsiteY14598"/>
              </a:cxn>
              <a:cxn ang="0">
                <a:pos x="connsiteX14599" y="connsiteY14599"/>
              </a:cxn>
              <a:cxn ang="0">
                <a:pos x="connsiteX14600" y="connsiteY14600"/>
              </a:cxn>
              <a:cxn ang="0">
                <a:pos x="connsiteX14601" y="connsiteY14601"/>
              </a:cxn>
              <a:cxn ang="0">
                <a:pos x="connsiteX14602" y="connsiteY14602"/>
              </a:cxn>
              <a:cxn ang="0">
                <a:pos x="connsiteX14603" y="connsiteY14603"/>
              </a:cxn>
              <a:cxn ang="0">
                <a:pos x="connsiteX14604" y="connsiteY14604"/>
              </a:cxn>
              <a:cxn ang="0">
                <a:pos x="connsiteX14605" y="connsiteY14605"/>
              </a:cxn>
              <a:cxn ang="0">
                <a:pos x="connsiteX14606" y="connsiteY14606"/>
              </a:cxn>
              <a:cxn ang="0">
                <a:pos x="connsiteX14607" y="connsiteY14607"/>
              </a:cxn>
              <a:cxn ang="0">
                <a:pos x="connsiteX14608" y="connsiteY14608"/>
              </a:cxn>
              <a:cxn ang="0">
                <a:pos x="connsiteX14609" y="connsiteY14609"/>
              </a:cxn>
              <a:cxn ang="0">
                <a:pos x="connsiteX14610" y="connsiteY14610"/>
              </a:cxn>
              <a:cxn ang="0">
                <a:pos x="connsiteX14611" y="connsiteY14611"/>
              </a:cxn>
              <a:cxn ang="0">
                <a:pos x="connsiteX14612" y="connsiteY14612"/>
              </a:cxn>
              <a:cxn ang="0">
                <a:pos x="connsiteX14613" y="connsiteY14613"/>
              </a:cxn>
              <a:cxn ang="0">
                <a:pos x="connsiteX14614" y="connsiteY14614"/>
              </a:cxn>
              <a:cxn ang="0">
                <a:pos x="connsiteX14615" y="connsiteY14615"/>
              </a:cxn>
              <a:cxn ang="0">
                <a:pos x="connsiteX14616" y="connsiteY14616"/>
              </a:cxn>
              <a:cxn ang="0">
                <a:pos x="connsiteX14617" y="connsiteY14617"/>
              </a:cxn>
              <a:cxn ang="0">
                <a:pos x="connsiteX14618" y="connsiteY14618"/>
              </a:cxn>
              <a:cxn ang="0">
                <a:pos x="connsiteX14619" y="connsiteY14619"/>
              </a:cxn>
              <a:cxn ang="0">
                <a:pos x="connsiteX14620" y="connsiteY14620"/>
              </a:cxn>
              <a:cxn ang="0">
                <a:pos x="connsiteX14621" y="connsiteY14621"/>
              </a:cxn>
              <a:cxn ang="0">
                <a:pos x="connsiteX14622" y="connsiteY14622"/>
              </a:cxn>
              <a:cxn ang="0">
                <a:pos x="connsiteX14623" y="connsiteY14623"/>
              </a:cxn>
              <a:cxn ang="0">
                <a:pos x="connsiteX14624" y="connsiteY14624"/>
              </a:cxn>
              <a:cxn ang="0">
                <a:pos x="connsiteX14625" y="connsiteY14625"/>
              </a:cxn>
              <a:cxn ang="0">
                <a:pos x="connsiteX14626" y="connsiteY14626"/>
              </a:cxn>
              <a:cxn ang="0">
                <a:pos x="connsiteX14627" y="connsiteY14627"/>
              </a:cxn>
              <a:cxn ang="0">
                <a:pos x="connsiteX14628" y="connsiteY14628"/>
              </a:cxn>
              <a:cxn ang="0">
                <a:pos x="connsiteX14629" y="connsiteY14629"/>
              </a:cxn>
              <a:cxn ang="0">
                <a:pos x="connsiteX14630" y="connsiteY14630"/>
              </a:cxn>
              <a:cxn ang="0">
                <a:pos x="connsiteX14631" y="connsiteY14631"/>
              </a:cxn>
              <a:cxn ang="0">
                <a:pos x="connsiteX14632" y="connsiteY14632"/>
              </a:cxn>
              <a:cxn ang="0">
                <a:pos x="connsiteX14633" y="connsiteY14633"/>
              </a:cxn>
              <a:cxn ang="0">
                <a:pos x="connsiteX14634" y="connsiteY14634"/>
              </a:cxn>
              <a:cxn ang="0">
                <a:pos x="connsiteX14635" y="connsiteY14635"/>
              </a:cxn>
              <a:cxn ang="0">
                <a:pos x="connsiteX14636" y="connsiteY14636"/>
              </a:cxn>
              <a:cxn ang="0">
                <a:pos x="connsiteX14637" y="connsiteY14637"/>
              </a:cxn>
              <a:cxn ang="0">
                <a:pos x="connsiteX14638" y="connsiteY14638"/>
              </a:cxn>
              <a:cxn ang="0">
                <a:pos x="connsiteX14639" y="connsiteY14639"/>
              </a:cxn>
              <a:cxn ang="0">
                <a:pos x="connsiteX14640" y="connsiteY14640"/>
              </a:cxn>
              <a:cxn ang="0">
                <a:pos x="connsiteX14641" y="connsiteY14641"/>
              </a:cxn>
              <a:cxn ang="0">
                <a:pos x="connsiteX14642" y="connsiteY14642"/>
              </a:cxn>
              <a:cxn ang="0">
                <a:pos x="connsiteX14643" y="connsiteY14643"/>
              </a:cxn>
              <a:cxn ang="0">
                <a:pos x="connsiteX14644" y="connsiteY14644"/>
              </a:cxn>
              <a:cxn ang="0">
                <a:pos x="connsiteX14645" y="connsiteY14645"/>
              </a:cxn>
              <a:cxn ang="0">
                <a:pos x="connsiteX14646" y="connsiteY14646"/>
              </a:cxn>
              <a:cxn ang="0">
                <a:pos x="connsiteX14647" y="connsiteY14647"/>
              </a:cxn>
              <a:cxn ang="0">
                <a:pos x="connsiteX14648" y="connsiteY14648"/>
              </a:cxn>
              <a:cxn ang="0">
                <a:pos x="connsiteX14649" y="connsiteY14649"/>
              </a:cxn>
              <a:cxn ang="0">
                <a:pos x="connsiteX14650" y="connsiteY14650"/>
              </a:cxn>
              <a:cxn ang="0">
                <a:pos x="connsiteX14651" y="connsiteY14651"/>
              </a:cxn>
              <a:cxn ang="0">
                <a:pos x="connsiteX14652" y="connsiteY14652"/>
              </a:cxn>
              <a:cxn ang="0">
                <a:pos x="connsiteX14653" y="connsiteY14653"/>
              </a:cxn>
              <a:cxn ang="0">
                <a:pos x="connsiteX14654" y="connsiteY14654"/>
              </a:cxn>
              <a:cxn ang="0">
                <a:pos x="connsiteX14655" y="connsiteY14655"/>
              </a:cxn>
              <a:cxn ang="0">
                <a:pos x="connsiteX14656" y="connsiteY14656"/>
              </a:cxn>
              <a:cxn ang="0">
                <a:pos x="connsiteX14657" y="connsiteY14657"/>
              </a:cxn>
              <a:cxn ang="0">
                <a:pos x="connsiteX14658" y="connsiteY14658"/>
              </a:cxn>
              <a:cxn ang="0">
                <a:pos x="connsiteX14659" y="connsiteY14659"/>
              </a:cxn>
              <a:cxn ang="0">
                <a:pos x="connsiteX14660" y="connsiteY14660"/>
              </a:cxn>
              <a:cxn ang="0">
                <a:pos x="connsiteX14661" y="connsiteY14661"/>
              </a:cxn>
              <a:cxn ang="0">
                <a:pos x="connsiteX14662" y="connsiteY14662"/>
              </a:cxn>
              <a:cxn ang="0">
                <a:pos x="connsiteX14663" y="connsiteY14663"/>
              </a:cxn>
              <a:cxn ang="0">
                <a:pos x="connsiteX14664" y="connsiteY14664"/>
              </a:cxn>
              <a:cxn ang="0">
                <a:pos x="connsiteX14665" y="connsiteY14665"/>
              </a:cxn>
              <a:cxn ang="0">
                <a:pos x="connsiteX14666" y="connsiteY14666"/>
              </a:cxn>
              <a:cxn ang="0">
                <a:pos x="connsiteX14667" y="connsiteY14667"/>
              </a:cxn>
              <a:cxn ang="0">
                <a:pos x="connsiteX14668" y="connsiteY14668"/>
              </a:cxn>
              <a:cxn ang="0">
                <a:pos x="connsiteX14669" y="connsiteY14669"/>
              </a:cxn>
              <a:cxn ang="0">
                <a:pos x="connsiteX14670" y="connsiteY14670"/>
              </a:cxn>
              <a:cxn ang="0">
                <a:pos x="connsiteX14671" y="connsiteY14671"/>
              </a:cxn>
              <a:cxn ang="0">
                <a:pos x="connsiteX14672" y="connsiteY14672"/>
              </a:cxn>
              <a:cxn ang="0">
                <a:pos x="connsiteX14673" y="connsiteY14673"/>
              </a:cxn>
              <a:cxn ang="0">
                <a:pos x="connsiteX14674" y="connsiteY14674"/>
              </a:cxn>
              <a:cxn ang="0">
                <a:pos x="connsiteX14675" y="connsiteY14675"/>
              </a:cxn>
              <a:cxn ang="0">
                <a:pos x="connsiteX14676" y="connsiteY14676"/>
              </a:cxn>
              <a:cxn ang="0">
                <a:pos x="connsiteX14677" y="connsiteY14677"/>
              </a:cxn>
              <a:cxn ang="0">
                <a:pos x="connsiteX14678" y="connsiteY14678"/>
              </a:cxn>
              <a:cxn ang="0">
                <a:pos x="connsiteX14679" y="connsiteY14679"/>
              </a:cxn>
              <a:cxn ang="0">
                <a:pos x="connsiteX14680" y="connsiteY14680"/>
              </a:cxn>
              <a:cxn ang="0">
                <a:pos x="connsiteX14681" y="connsiteY14681"/>
              </a:cxn>
              <a:cxn ang="0">
                <a:pos x="connsiteX14682" y="connsiteY14682"/>
              </a:cxn>
              <a:cxn ang="0">
                <a:pos x="connsiteX14683" y="connsiteY14683"/>
              </a:cxn>
              <a:cxn ang="0">
                <a:pos x="connsiteX14684" y="connsiteY14684"/>
              </a:cxn>
              <a:cxn ang="0">
                <a:pos x="connsiteX14685" y="connsiteY14685"/>
              </a:cxn>
              <a:cxn ang="0">
                <a:pos x="connsiteX14686" y="connsiteY14686"/>
              </a:cxn>
              <a:cxn ang="0">
                <a:pos x="connsiteX14687" y="connsiteY14687"/>
              </a:cxn>
              <a:cxn ang="0">
                <a:pos x="connsiteX14688" y="connsiteY14688"/>
              </a:cxn>
              <a:cxn ang="0">
                <a:pos x="connsiteX14689" y="connsiteY14689"/>
              </a:cxn>
              <a:cxn ang="0">
                <a:pos x="connsiteX14690" y="connsiteY14690"/>
              </a:cxn>
              <a:cxn ang="0">
                <a:pos x="connsiteX14691" y="connsiteY14691"/>
              </a:cxn>
              <a:cxn ang="0">
                <a:pos x="connsiteX14692" y="connsiteY14692"/>
              </a:cxn>
              <a:cxn ang="0">
                <a:pos x="connsiteX14693" y="connsiteY14693"/>
              </a:cxn>
              <a:cxn ang="0">
                <a:pos x="connsiteX14694" y="connsiteY14694"/>
              </a:cxn>
              <a:cxn ang="0">
                <a:pos x="connsiteX14695" y="connsiteY14695"/>
              </a:cxn>
              <a:cxn ang="0">
                <a:pos x="connsiteX14696" y="connsiteY14696"/>
              </a:cxn>
              <a:cxn ang="0">
                <a:pos x="connsiteX14697" y="connsiteY14697"/>
              </a:cxn>
              <a:cxn ang="0">
                <a:pos x="connsiteX14698" y="connsiteY14698"/>
              </a:cxn>
              <a:cxn ang="0">
                <a:pos x="connsiteX14699" y="connsiteY14699"/>
              </a:cxn>
              <a:cxn ang="0">
                <a:pos x="connsiteX14700" y="connsiteY14700"/>
              </a:cxn>
              <a:cxn ang="0">
                <a:pos x="connsiteX14701" y="connsiteY14701"/>
              </a:cxn>
              <a:cxn ang="0">
                <a:pos x="connsiteX14702" y="connsiteY14702"/>
              </a:cxn>
              <a:cxn ang="0">
                <a:pos x="connsiteX14703" y="connsiteY14703"/>
              </a:cxn>
              <a:cxn ang="0">
                <a:pos x="connsiteX14704" y="connsiteY14704"/>
              </a:cxn>
              <a:cxn ang="0">
                <a:pos x="connsiteX14705" y="connsiteY14705"/>
              </a:cxn>
              <a:cxn ang="0">
                <a:pos x="connsiteX14706" y="connsiteY14706"/>
              </a:cxn>
              <a:cxn ang="0">
                <a:pos x="connsiteX14707" y="connsiteY14707"/>
              </a:cxn>
              <a:cxn ang="0">
                <a:pos x="connsiteX14708" y="connsiteY14708"/>
              </a:cxn>
              <a:cxn ang="0">
                <a:pos x="connsiteX14709" y="connsiteY14709"/>
              </a:cxn>
              <a:cxn ang="0">
                <a:pos x="connsiteX14710" y="connsiteY14710"/>
              </a:cxn>
              <a:cxn ang="0">
                <a:pos x="connsiteX14711" y="connsiteY14711"/>
              </a:cxn>
              <a:cxn ang="0">
                <a:pos x="connsiteX14712" y="connsiteY14712"/>
              </a:cxn>
              <a:cxn ang="0">
                <a:pos x="connsiteX14713" y="connsiteY14713"/>
              </a:cxn>
              <a:cxn ang="0">
                <a:pos x="connsiteX14714" y="connsiteY14714"/>
              </a:cxn>
              <a:cxn ang="0">
                <a:pos x="connsiteX14715" y="connsiteY14715"/>
              </a:cxn>
              <a:cxn ang="0">
                <a:pos x="connsiteX14716" y="connsiteY14716"/>
              </a:cxn>
              <a:cxn ang="0">
                <a:pos x="connsiteX14717" y="connsiteY14717"/>
              </a:cxn>
              <a:cxn ang="0">
                <a:pos x="connsiteX14718" y="connsiteY14718"/>
              </a:cxn>
              <a:cxn ang="0">
                <a:pos x="connsiteX14719" y="connsiteY14719"/>
              </a:cxn>
              <a:cxn ang="0">
                <a:pos x="connsiteX14720" y="connsiteY14720"/>
              </a:cxn>
              <a:cxn ang="0">
                <a:pos x="connsiteX14721" y="connsiteY14721"/>
              </a:cxn>
              <a:cxn ang="0">
                <a:pos x="connsiteX14722" y="connsiteY14722"/>
              </a:cxn>
              <a:cxn ang="0">
                <a:pos x="connsiteX14723" y="connsiteY14723"/>
              </a:cxn>
              <a:cxn ang="0">
                <a:pos x="connsiteX14724" y="connsiteY14724"/>
              </a:cxn>
              <a:cxn ang="0">
                <a:pos x="connsiteX14725" y="connsiteY14725"/>
              </a:cxn>
              <a:cxn ang="0">
                <a:pos x="connsiteX14726" y="connsiteY14726"/>
              </a:cxn>
              <a:cxn ang="0">
                <a:pos x="connsiteX14727" y="connsiteY14727"/>
              </a:cxn>
              <a:cxn ang="0">
                <a:pos x="connsiteX14728" y="connsiteY14728"/>
              </a:cxn>
              <a:cxn ang="0">
                <a:pos x="connsiteX14729" y="connsiteY14729"/>
              </a:cxn>
              <a:cxn ang="0">
                <a:pos x="connsiteX14730" y="connsiteY14730"/>
              </a:cxn>
              <a:cxn ang="0">
                <a:pos x="connsiteX14731" y="connsiteY14731"/>
              </a:cxn>
              <a:cxn ang="0">
                <a:pos x="connsiteX14732" y="connsiteY14732"/>
              </a:cxn>
              <a:cxn ang="0">
                <a:pos x="connsiteX14733" y="connsiteY14733"/>
              </a:cxn>
              <a:cxn ang="0">
                <a:pos x="connsiteX14734" y="connsiteY14734"/>
              </a:cxn>
              <a:cxn ang="0">
                <a:pos x="connsiteX14735" y="connsiteY14735"/>
              </a:cxn>
              <a:cxn ang="0">
                <a:pos x="connsiteX14736" y="connsiteY14736"/>
              </a:cxn>
              <a:cxn ang="0">
                <a:pos x="connsiteX14737" y="connsiteY14737"/>
              </a:cxn>
              <a:cxn ang="0">
                <a:pos x="connsiteX14738" y="connsiteY14738"/>
              </a:cxn>
              <a:cxn ang="0">
                <a:pos x="connsiteX14739" y="connsiteY14739"/>
              </a:cxn>
              <a:cxn ang="0">
                <a:pos x="connsiteX14740" y="connsiteY14740"/>
              </a:cxn>
              <a:cxn ang="0">
                <a:pos x="connsiteX14741" y="connsiteY14741"/>
              </a:cxn>
              <a:cxn ang="0">
                <a:pos x="connsiteX14742" y="connsiteY14742"/>
              </a:cxn>
              <a:cxn ang="0">
                <a:pos x="connsiteX14743" y="connsiteY14743"/>
              </a:cxn>
              <a:cxn ang="0">
                <a:pos x="connsiteX14744" y="connsiteY14744"/>
              </a:cxn>
              <a:cxn ang="0">
                <a:pos x="connsiteX14745" y="connsiteY14745"/>
              </a:cxn>
              <a:cxn ang="0">
                <a:pos x="connsiteX14746" y="connsiteY14746"/>
              </a:cxn>
              <a:cxn ang="0">
                <a:pos x="connsiteX14747" y="connsiteY14747"/>
              </a:cxn>
              <a:cxn ang="0">
                <a:pos x="connsiteX14748" y="connsiteY14748"/>
              </a:cxn>
              <a:cxn ang="0">
                <a:pos x="connsiteX14749" y="connsiteY14749"/>
              </a:cxn>
              <a:cxn ang="0">
                <a:pos x="connsiteX14750" y="connsiteY14750"/>
              </a:cxn>
              <a:cxn ang="0">
                <a:pos x="connsiteX14751" y="connsiteY14751"/>
              </a:cxn>
              <a:cxn ang="0">
                <a:pos x="connsiteX14752" y="connsiteY14752"/>
              </a:cxn>
              <a:cxn ang="0">
                <a:pos x="connsiteX14753" y="connsiteY14753"/>
              </a:cxn>
              <a:cxn ang="0">
                <a:pos x="connsiteX14754" y="connsiteY14754"/>
              </a:cxn>
              <a:cxn ang="0">
                <a:pos x="connsiteX14755" y="connsiteY14755"/>
              </a:cxn>
              <a:cxn ang="0">
                <a:pos x="connsiteX14756" y="connsiteY14756"/>
              </a:cxn>
              <a:cxn ang="0">
                <a:pos x="connsiteX14757" y="connsiteY14757"/>
              </a:cxn>
              <a:cxn ang="0">
                <a:pos x="connsiteX14758" y="connsiteY14758"/>
              </a:cxn>
              <a:cxn ang="0">
                <a:pos x="connsiteX14759" y="connsiteY14759"/>
              </a:cxn>
              <a:cxn ang="0">
                <a:pos x="connsiteX14760" y="connsiteY14760"/>
              </a:cxn>
              <a:cxn ang="0">
                <a:pos x="connsiteX14761" y="connsiteY14761"/>
              </a:cxn>
              <a:cxn ang="0">
                <a:pos x="connsiteX14762" y="connsiteY14762"/>
              </a:cxn>
              <a:cxn ang="0">
                <a:pos x="connsiteX14763" y="connsiteY14763"/>
              </a:cxn>
              <a:cxn ang="0">
                <a:pos x="connsiteX14764" y="connsiteY14764"/>
              </a:cxn>
              <a:cxn ang="0">
                <a:pos x="connsiteX14765" y="connsiteY14765"/>
              </a:cxn>
              <a:cxn ang="0">
                <a:pos x="connsiteX14766" y="connsiteY14766"/>
              </a:cxn>
              <a:cxn ang="0">
                <a:pos x="connsiteX14767" y="connsiteY14767"/>
              </a:cxn>
              <a:cxn ang="0">
                <a:pos x="connsiteX14768" y="connsiteY14768"/>
              </a:cxn>
              <a:cxn ang="0">
                <a:pos x="connsiteX14769" y="connsiteY14769"/>
              </a:cxn>
              <a:cxn ang="0">
                <a:pos x="connsiteX14770" y="connsiteY14770"/>
              </a:cxn>
              <a:cxn ang="0">
                <a:pos x="connsiteX14771" y="connsiteY14771"/>
              </a:cxn>
              <a:cxn ang="0">
                <a:pos x="connsiteX14772" y="connsiteY14772"/>
              </a:cxn>
              <a:cxn ang="0">
                <a:pos x="connsiteX14773" y="connsiteY14773"/>
              </a:cxn>
              <a:cxn ang="0">
                <a:pos x="connsiteX14774" y="connsiteY14774"/>
              </a:cxn>
              <a:cxn ang="0">
                <a:pos x="connsiteX14775" y="connsiteY14775"/>
              </a:cxn>
              <a:cxn ang="0">
                <a:pos x="connsiteX14776" y="connsiteY14776"/>
              </a:cxn>
              <a:cxn ang="0">
                <a:pos x="connsiteX14777" y="connsiteY14777"/>
              </a:cxn>
              <a:cxn ang="0">
                <a:pos x="connsiteX14778" y="connsiteY14778"/>
              </a:cxn>
              <a:cxn ang="0">
                <a:pos x="connsiteX14779" y="connsiteY14779"/>
              </a:cxn>
              <a:cxn ang="0">
                <a:pos x="connsiteX14780" y="connsiteY14780"/>
              </a:cxn>
              <a:cxn ang="0">
                <a:pos x="connsiteX14781" y="connsiteY14781"/>
              </a:cxn>
              <a:cxn ang="0">
                <a:pos x="connsiteX14782" y="connsiteY14782"/>
              </a:cxn>
              <a:cxn ang="0">
                <a:pos x="connsiteX14783" y="connsiteY14783"/>
              </a:cxn>
              <a:cxn ang="0">
                <a:pos x="connsiteX14784" y="connsiteY14784"/>
              </a:cxn>
              <a:cxn ang="0">
                <a:pos x="connsiteX14785" y="connsiteY14785"/>
              </a:cxn>
              <a:cxn ang="0">
                <a:pos x="connsiteX14786" y="connsiteY14786"/>
              </a:cxn>
              <a:cxn ang="0">
                <a:pos x="connsiteX14787" y="connsiteY14787"/>
              </a:cxn>
              <a:cxn ang="0">
                <a:pos x="connsiteX14788" y="connsiteY14788"/>
              </a:cxn>
              <a:cxn ang="0">
                <a:pos x="connsiteX14789" y="connsiteY14789"/>
              </a:cxn>
              <a:cxn ang="0">
                <a:pos x="connsiteX14790" y="connsiteY14790"/>
              </a:cxn>
              <a:cxn ang="0">
                <a:pos x="connsiteX14791" y="connsiteY14791"/>
              </a:cxn>
              <a:cxn ang="0">
                <a:pos x="connsiteX14792" y="connsiteY14792"/>
              </a:cxn>
              <a:cxn ang="0">
                <a:pos x="connsiteX14793" y="connsiteY14793"/>
              </a:cxn>
              <a:cxn ang="0">
                <a:pos x="connsiteX14794" y="connsiteY14794"/>
              </a:cxn>
              <a:cxn ang="0">
                <a:pos x="connsiteX14795" y="connsiteY14795"/>
              </a:cxn>
              <a:cxn ang="0">
                <a:pos x="connsiteX14796" y="connsiteY14796"/>
              </a:cxn>
              <a:cxn ang="0">
                <a:pos x="connsiteX14797" y="connsiteY14797"/>
              </a:cxn>
              <a:cxn ang="0">
                <a:pos x="connsiteX14798" y="connsiteY14798"/>
              </a:cxn>
              <a:cxn ang="0">
                <a:pos x="connsiteX14799" y="connsiteY14799"/>
              </a:cxn>
              <a:cxn ang="0">
                <a:pos x="connsiteX14800" y="connsiteY14800"/>
              </a:cxn>
              <a:cxn ang="0">
                <a:pos x="connsiteX14801" y="connsiteY14801"/>
              </a:cxn>
              <a:cxn ang="0">
                <a:pos x="connsiteX14802" y="connsiteY14802"/>
              </a:cxn>
              <a:cxn ang="0">
                <a:pos x="connsiteX14803" y="connsiteY14803"/>
              </a:cxn>
              <a:cxn ang="0">
                <a:pos x="connsiteX14804" y="connsiteY14804"/>
              </a:cxn>
              <a:cxn ang="0">
                <a:pos x="connsiteX14805" y="connsiteY14805"/>
              </a:cxn>
              <a:cxn ang="0">
                <a:pos x="connsiteX14806" y="connsiteY14806"/>
              </a:cxn>
              <a:cxn ang="0">
                <a:pos x="connsiteX14807" y="connsiteY14807"/>
              </a:cxn>
              <a:cxn ang="0">
                <a:pos x="connsiteX14808" y="connsiteY14808"/>
              </a:cxn>
              <a:cxn ang="0">
                <a:pos x="connsiteX14809" y="connsiteY14809"/>
              </a:cxn>
              <a:cxn ang="0">
                <a:pos x="connsiteX14810" y="connsiteY14810"/>
              </a:cxn>
              <a:cxn ang="0">
                <a:pos x="connsiteX14811" y="connsiteY14811"/>
              </a:cxn>
              <a:cxn ang="0">
                <a:pos x="connsiteX14812" y="connsiteY14812"/>
              </a:cxn>
              <a:cxn ang="0">
                <a:pos x="connsiteX14813" y="connsiteY14813"/>
              </a:cxn>
              <a:cxn ang="0">
                <a:pos x="connsiteX14814" y="connsiteY14814"/>
              </a:cxn>
              <a:cxn ang="0">
                <a:pos x="connsiteX14815" y="connsiteY14815"/>
              </a:cxn>
              <a:cxn ang="0">
                <a:pos x="connsiteX14816" y="connsiteY14816"/>
              </a:cxn>
              <a:cxn ang="0">
                <a:pos x="connsiteX14817" y="connsiteY14817"/>
              </a:cxn>
              <a:cxn ang="0">
                <a:pos x="connsiteX14818" y="connsiteY14818"/>
              </a:cxn>
              <a:cxn ang="0">
                <a:pos x="connsiteX14819" y="connsiteY14819"/>
              </a:cxn>
              <a:cxn ang="0">
                <a:pos x="connsiteX14820" y="connsiteY14820"/>
              </a:cxn>
              <a:cxn ang="0">
                <a:pos x="connsiteX14821" y="connsiteY14821"/>
              </a:cxn>
              <a:cxn ang="0">
                <a:pos x="connsiteX14822" y="connsiteY14822"/>
              </a:cxn>
              <a:cxn ang="0">
                <a:pos x="connsiteX14823" y="connsiteY14823"/>
              </a:cxn>
              <a:cxn ang="0">
                <a:pos x="connsiteX14824" y="connsiteY14824"/>
              </a:cxn>
              <a:cxn ang="0">
                <a:pos x="connsiteX14825" y="connsiteY14825"/>
              </a:cxn>
              <a:cxn ang="0">
                <a:pos x="connsiteX14826" y="connsiteY14826"/>
              </a:cxn>
              <a:cxn ang="0">
                <a:pos x="connsiteX14827" y="connsiteY14827"/>
              </a:cxn>
              <a:cxn ang="0">
                <a:pos x="connsiteX14828" y="connsiteY14828"/>
              </a:cxn>
              <a:cxn ang="0">
                <a:pos x="connsiteX14829" y="connsiteY14829"/>
              </a:cxn>
              <a:cxn ang="0">
                <a:pos x="connsiteX14830" y="connsiteY14830"/>
              </a:cxn>
              <a:cxn ang="0">
                <a:pos x="connsiteX14831" y="connsiteY14831"/>
              </a:cxn>
              <a:cxn ang="0">
                <a:pos x="connsiteX14832" y="connsiteY14832"/>
              </a:cxn>
              <a:cxn ang="0">
                <a:pos x="connsiteX14833" y="connsiteY14833"/>
              </a:cxn>
              <a:cxn ang="0">
                <a:pos x="connsiteX14834" y="connsiteY14834"/>
              </a:cxn>
              <a:cxn ang="0">
                <a:pos x="connsiteX14835" y="connsiteY14835"/>
              </a:cxn>
              <a:cxn ang="0">
                <a:pos x="connsiteX14836" y="connsiteY14836"/>
              </a:cxn>
              <a:cxn ang="0">
                <a:pos x="connsiteX14837" y="connsiteY14837"/>
              </a:cxn>
              <a:cxn ang="0">
                <a:pos x="connsiteX14838" y="connsiteY14838"/>
              </a:cxn>
              <a:cxn ang="0">
                <a:pos x="connsiteX14839" y="connsiteY14839"/>
              </a:cxn>
              <a:cxn ang="0">
                <a:pos x="connsiteX14840" y="connsiteY14840"/>
              </a:cxn>
              <a:cxn ang="0">
                <a:pos x="connsiteX14841" y="connsiteY14841"/>
              </a:cxn>
              <a:cxn ang="0">
                <a:pos x="connsiteX14842" y="connsiteY14842"/>
              </a:cxn>
              <a:cxn ang="0">
                <a:pos x="connsiteX14843" y="connsiteY14843"/>
              </a:cxn>
              <a:cxn ang="0">
                <a:pos x="connsiteX14844" y="connsiteY14844"/>
              </a:cxn>
              <a:cxn ang="0">
                <a:pos x="connsiteX14845" y="connsiteY14845"/>
              </a:cxn>
              <a:cxn ang="0">
                <a:pos x="connsiteX14846" y="connsiteY14846"/>
              </a:cxn>
              <a:cxn ang="0">
                <a:pos x="connsiteX14847" y="connsiteY14847"/>
              </a:cxn>
              <a:cxn ang="0">
                <a:pos x="connsiteX14848" y="connsiteY14848"/>
              </a:cxn>
              <a:cxn ang="0">
                <a:pos x="connsiteX14849" y="connsiteY14849"/>
              </a:cxn>
              <a:cxn ang="0">
                <a:pos x="connsiteX14850" y="connsiteY14850"/>
              </a:cxn>
              <a:cxn ang="0">
                <a:pos x="connsiteX14851" y="connsiteY14851"/>
              </a:cxn>
              <a:cxn ang="0">
                <a:pos x="connsiteX14852" y="connsiteY14852"/>
              </a:cxn>
              <a:cxn ang="0">
                <a:pos x="connsiteX14853" y="connsiteY14853"/>
              </a:cxn>
              <a:cxn ang="0">
                <a:pos x="connsiteX14854" y="connsiteY14854"/>
              </a:cxn>
              <a:cxn ang="0">
                <a:pos x="connsiteX14855" y="connsiteY14855"/>
              </a:cxn>
              <a:cxn ang="0">
                <a:pos x="connsiteX14856" y="connsiteY14856"/>
              </a:cxn>
              <a:cxn ang="0">
                <a:pos x="connsiteX14857" y="connsiteY14857"/>
              </a:cxn>
              <a:cxn ang="0">
                <a:pos x="connsiteX14858" y="connsiteY14858"/>
              </a:cxn>
              <a:cxn ang="0">
                <a:pos x="connsiteX14859" y="connsiteY14859"/>
              </a:cxn>
              <a:cxn ang="0">
                <a:pos x="connsiteX14860" y="connsiteY14860"/>
              </a:cxn>
              <a:cxn ang="0">
                <a:pos x="connsiteX14861" y="connsiteY14861"/>
              </a:cxn>
              <a:cxn ang="0">
                <a:pos x="connsiteX14862" y="connsiteY14862"/>
              </a:cxn>
              <a:cxn ang="0">
                <a:pos x="connsiteX14863" y="connsiteY14863"/>
              </a:cxn>
              <a:cxn ang="0">
                <a:pos x="connsiteX14864" y="connsiteY14864"/>
              </a:cxn>
              <a:cxn ang="0">
                <a:pos x="connsiteX14865" y="connsiteY14865"/>
              </a:cxn>
              <a:cxn ang="0">
                <a:pos x="connsiteX14866" y="connsiteY14866"/>
              </a:cxn>
              <a:cxn ang="0">
                <a:pos x="connsiteX14867" y="connsiteY14867"/>
              </a:cxn>
              <a:cxn ang="0">
                <a:pos x="connsiteX14868" y="connsiteY14868"/>
              </a:cxn>
              <a:cxn ang="0">
                <a:pos x="connsiteX14869" y="connsiteY14869"/>
              </a:cxn>
              <a:cxn ang="0">
                <a:pos x="connsiteX14870" y="connsiteY14870"/>
              </a:cxn>
              <a:cxn ang="0">
                <a:pos x="connsiteX14871" y="connsiteY14871"/>
              </a:cxn>
              <a:cxn ang="0">
                <a:pos x="connsiteX14872" y="connsiteY14872"/>
              </a:cxn>
              <a:cxn ang="0">
                <a:pos x="connsiteX14873" y="connsiteY14873"/>
              </a:cxn>
              <a:cxn ang="0">
                <a:pos x="connsiteX14874" y="connsiteY14874"/>
              </a:cxn>
              <a:cxn ang="0">
                <a:pos x="connsiteX14875" y="connsiteY14875"/>
              </a:cxn>
              <a:cxn ang="0">
                <a:pos x="connsiteX14876" y="connsiteY14876"/>
              </a:cxn>
              <a:cxn ang="0">
                <a:pos x="connsiteX14877" y="connsiteY14877"/>
              </a:cxn>
              <a:cxn ang="0">
                <a:pos x="connsiteX14878" y="connsiteY14878"/>
              </a:cxn>
              <a:cxn ang="0">
                <a:pos x="connsiteX14879" y="connsiteY14879"/>
              </a:cxn>
              <a:cxn ang="0">
                <a:pos x="connsiteX14880" y="connsiteY14880"/>
              </a:cxn>
              <a:cxn ang="0">
                <a:pos x="connsiteX14881" y="connsiteY14881"/>
              </a:cxn>
              <a:cxn ang="0">
                <a:pos x="connsiteX14882" y="connsiteY14882"/>
              </a:cxn>
              <a:cxn ang="0">
                <a:pos x="connsiteX14883" y="connsiteY14883"/>
              </a:cxn>
              <a:cxn ang="0">
                <a:pos x="connsiteX14884" y="connsiteY14884"/>
              </a:cxn>
              <a:cxn ang="0">
                <a:pos x="connsiteX14885" y="connsiteY14885"/>
              </a:cxn>
              <a:cxn ang="0">
                <a:pos x="connsiteX14886" y="connsiteY14886"/>
              </a:cxn>
              <a:cxn ang="0">
                <a:pos x="connsiteX14887" y="connsiteY14887"/>
              </a:cxn>
              <a:cxn ang="0">
                <a:pos x="connsiteX14888" y="connsiteY14888"/>
              </a:cxn>
              <a:cxn ang="0">
                <a:pos x="connsiteX14889" y="connsiteY14889"/>
              </a:cxn>
              <a:cxn ang="0">
                <a:pos x="connsiteX14890" y="connsiteY14890"/>
              </a:cxn>
              <a:cxn ang="0">
                <a:pos x="connsiteX14891" y="connsiteY14891"/>
              </a:cxn>
              <a:cxn ang="0">
                <a:pos x="connsiteX14892" y="connsiteY14892"/>
              </a:cxn>
              <a:cxn ang="0">
                <a:pos x="connsiteX14893" y="connsiteY14893"/>
              </a:cxn>
              <a:cxn ang="0">
                <a:pos x="connsiteX14894" y="connsiteY14894"/>
              </a:cxn>
              <a:cxn ang="0">
                <a:pos x="connsiteX14895" y="connsiteY14895"/>
              </a:cxn>
              <a:cxn ang="0">
                <a:pos x="connsiteX14896" y="connsiteY14896"/>
              </a:cxn>
              <a:cxn ang="0">
                <a:pos x="connsiteX14897" y="connsiteY14897"/>
              </a:cxn>
              <a:cxn ang="0">
                <a:pos x="connsiteX14898" y="connsiteY14898"/>
              </a:cxn>
              <a:cxn ang="0">
                <a:pos x="connsiteX14899" y="connsiteY14899"/>
              </a:cxn>
              <a:cxn ang="0">
                <a:pos x="connsiteX14900" y="connsiteY14900"/>
              </a:cxn>
              <a:cxn ang="0">
                <a:pos x="connsiteX14901" y="connsiteY14901"/>
              </a:cxn>
              <a:cxn ang="0">
                <a:pos x="connsiteX14902" y="connsiteY14902"/>
              </a:cxn>
              <a:cxn ang="0">
                <a:pos x="connsiteX14903" y="connsiteY14903"/>
              </a:cxn>
              <a:cxn ang="0">
                <a:pos x="connsiteX14904" y="connsiteY14904"/>
              </a:cxn>
              <a:cxn ang="0">
                <a:pos x="connsiteX14905" y="connsiteY14905"/>
              </a:cxn>
              <a:cxn ang="0">
                <a:pos x="connsiteX14906" y="connsiteY14906"/>
              </a:cxn>
              <a:cxn ang="0">
                <a:pos x="connsiteX14907" y="connsiteY14907"/>
              </a:cxn>
              <a:cxn ang="0">
                <a:pos x="connsiteX14908" y="connsiteY14908"/>
              </a:cxn>
              <a:cxn ang="0">
                <a:pos x="connsiteX14909" y="connsiteY14909"/>
              </a:cxn>
              <a:cxn ang="0">
                <a:pos x="connsiteX14910" y="connsiteY14910"/>
              </a:cxn>
              <a:cxn ang="0">
                <a:pos x="connsiteX14911" y="connsiteY14911"/>
              </a:cxn>
              <a:cxn ang="0">
                <a:pos x="connsiteX14912" y="connsiteY14912"/>
              </a:cxn>
              <a:cxn ang="0">
                <a:pos x="connsiteX14913" y="connsiteY14913"/>
              </a:cxn>
              <a:cxn ang="0">
                <a:pos x="connsiteX14914" y="connsiteY14914"/>
              </a:cxn>
              <a:cxn ang="0">
                <a:pos x="connsiteX14915" y="connsiteY14915"/>
              </a:cxn>
              <a:cxn ang="0">
                <a:pos x="connsiteX14916" y="connsiteY14916"/>
              </a:cxn>
              <a:cxn ang="0">
                <a:pos x="connsiteX14917" y="connsiteY14917"/>
              </a:cxn>
              <a:cxn ang="0">
                <a:pos x="connsiteX14918" y="connsiteY14918"/>
              </a:cxn>
              <a:cxn ang="0">
                <a:pos x="connsiteX14919" y="connsiteY14919"/>
              </a:cxn>
              <a:cxn ang="0">
                <a:pos x="connsiteX14920" y="connsiteY14920"/>
              </a:cxn>
              <a:cxn ang="0">
                <a:pos x="connsiteX14921" y="connsiteY14921"/>
              </a:cxn>
              <a:cxn ang="0">
                <a:pos x="connsiteX14922" y="connsiteY14922"/>
              </a:cxn>
              <a:cxn ang="0">
                <a:pos x="connsiteX14923" y="connsiteY14923"/>
              </a:cxn>
              <a:cxn ang="0">
                <a:pos x="connsiteX14924" y="connsiteY14924"/>
              </a:cxn>
              <a:cxn ang="0">
                <a:pos x="connsiteX14925" y="connsiteY14925"/>
              </a:cxn>
              <a:cxn ang="0">
                <a:pos x="connsiteX14926" y="connsiteY14926"/>
              </a:cxn>
              <a:cxn ang="0">
                <a:pos x="connsiteX14927" y="connsiteY14927"/>
              </a:cxn>
              <a:cxn ang="0">
                <a:pos x="connsiteX14928" y="connsiteY14928"/>
              </a:cxn>
              <a:cxn ang="0">
                <a:pos x="connsiteX14929" y="connsiteY14929"/>
              </a:cxn>
              <a:cxn ang="0">
                <a:pos x="connsiteX14930" y="connsiteY14930"/>
              </a:cxn>
              <a:cxn ang="0">
                <a:pos x="connsiteX14931" y="connsiteY14931"/>
              </a:cxn>
              <a:cxn ang="0">
                <a:pos x="connsiteX14932" y="connsiteY14932"/>
              </a:cxn>
              <a:cxn ang="0">
                <a:pos x="connsiteX14933" y="connsiteY14933"/>
              </a:cxn>
              <a:cxn ang="0">
                <a:pos x="connsiteX14934" y="connsiteY14934"/>
              </a:cxn>
              <a:cxn ang="0">
                <a:pos x="connsiteX14935" y="connsiteY14935"/>
              </a:cxn>
              <a:cxn ang="0">
                <a:pos x="connsiteX14936" y="connsiteY14936"/>
              </a:cxn>
              <a:cxn ang="0">
                <a:pos x="connsiteX14937" y="connsiteY14937"/>
              </a:cxn>
              <a:cxn ang="0">
                <a:pos x="connsiteX14938" y="connsiteY14938"/>
              </a:cxn>
              <a:cxn ang="0">
                <a:pos x="connsiteX14939" y="connsiteY14939"/>
              </a:cxn>
              <a:cxn ang="0">
                <a:pos x="connsiteX14940" y="connsiteY14940"/>
              </a:cxn>
              <a:cxn ang="0">
                <a:pos x="connsiteX14941" y="connsiteY14941"/>
              </a:cxn>
              <a:cxn ang="0">
                <a:pos x="connsiteX14942" y="connsiteY14942"/>
              </a:cxn>
              <a:cxn ang="0">
                <a:pos x="connsiteX14943" y="connsiteY14943"/>
              </a:cxn>
              <a:cxn ang="0">
                <a:pos x="connsiteX14944" y="connsiteY14944"/>
              </a:cxn>
              <a:cxn ang="0">
                <a:pos x="connsiteX14945" y="connsiteY14945"/>
              </a:cxn>
              <a:cxn ang="0">
                <a:pos x="connsiteX14946" y="connsiteY14946"/>
              </a:cxn>
              <a:cxn ang="0">
                <a:pos x="connsiteX14947" y="connsiteY14947"/>
              </a:cxn>
              <a:cxn ang="0">
                <a:pos x="connsiteX14948" y="connsiteY14948"/>
              </a:cxn>
              <a:cxn ang="0">
                <a:pos x="connsiteX14949" y="connsiteY14949"/>
              </a:cxn>
              <a:cxn ang="0">
                <a:pos x="connsiteX14950" y="connsiteY14950"/>
              </a:cxn>
              <a:cxn ang="0">
                <a:pos x="connsiteX14951" y="connsiteY14951"/>
              </a:cxn>
              <a:cxn ang="0">
                <a:pos x="connsiteX14952" y="connsiteY14952"/>
              </a:cxn>
              <a:cxn ang="0">
                <a:pos x="connsiteX14953" y="connsiteY14953"/>
              </a:cxn>
              <a:cxn ang="0">
                <a:pos x="connsiteX14954" y="connsiteY14954"/>
              </a:cxn>
              <a:cxn ang="0">
                <a:pos x="connsiteX14955" y="connsiteY14955"/>
              </a:cxn>
              <a:cxn ang="0">
                <a:pos x="connsiteX14956" y="connsiteY14956"/>
              </a:cxn>
              <a:cxn ang="0">
                <a:pos x="connsiteX14957" y="connsiteY14957"/>
              </a:cxn>
              <a:cxn ang="0">
                <a:pos x="connsiteX14958" y="connsiteY14958"/>
              </a:cxn>
              <a:cxn ang="0">
                <a:pos x="connsiteX14959" y="connsiteY14959"/>
              </a:cxn>
              <a:cxn ang="0">
                <a:pos x="connsiteX14960" y="connsiteY14960"/>
              </a:cxn>
              <a:cxn ang="0">
                <a:pos x="connsiteX14961" y="connsiteY14961"/>
              </a:cxn>
              <a:cxn ang="0">
                <a:pos x="connsiteX14962" y="connsiteY14962"/>
              </a:cxn>
              <a:cxn ang="0">
                <a:pos x="connsiteX14963" y="connsiteY14963"/>
              </a:cxn>
              <a:cxn ang="0">
                <a:pos x="connsiteX14964" y="connsiteY14964"/>
              </a:cxn>
              <a:cxn ang="0">
                <a:pos x="connsiteX14965" y="connsiteY14965"/>
              </a:cxn>
              <a:cxn ang="0">
                <a:pos x="connsiteX14966" y="connsiteY14966"/>
              </a:cxn>
              <a:cxn ang="0">
                <a:pos x="connsiteX14967" y="connsiteY14967"/>
              </a:cxn>
              <a:cxn ang="0">
                <a:pos x="connsiteX14968" y="connsiteY14968"/>
              </a:cxn>
              <a:cxn ang="0">
                <a:pos x="connsiteX14969" y="connsiteY14969"/>
              </a:cxn>
              <a:cxn ang="0">
                <a:pos x="connsiteX14970" y="connsiteY14970"/>
              </a:cxn>
              <a:cxn ang="0">
                <a:pos x="connsiteX14971" y="connsiteY14971"/>
              </a:cxn>
              <a:cxn ang="0">
                <a:pos x="connsiteX14972" y="connsiteY14972"/>
              </a:cxn>
              <a:cxn ang="0">
                <a:pos x="connsiteX14973" y="connsiteY14973"/>
              </a:cxn>
              <a:cxn ang="0">
                <a:pos x="connsiteX14974" y="connsiteY14974"/>
              </a:cxn>
              <a:cxn ang="0">
                <a:pos x="connsiteX14975" y="connsiteY14975"/>
              </a:cxn>
              <a:cxn ang="0">
                <a:pos x="connsiteX14976" y="connsiteY14976"/>
              </a:cxn>
              <a:cxn ang="0">
                <a:pos x="connsiteX14977" y="connsiteY14977"/>
              </a:cxn>
              <a:cxn ang="0">
                <a:pos x="connsiteX14978" y="connsiteY14978"/>
              </a:cxn>
              <a:cxn ang="0">
                <a:pos x="connsiteX14979" y="connsiteY14979"/>
              </a:cxn>
              <a:cxn ang="0">
                <a:pos x="connsiteX14980" y="connsiteY14980"/>
              </a:cxn>
              <a:cxn ang="0">
                <a:pos x="connsiteX14981" y="connsiteY14981"/>
              </a:cxn>
              <a:cxn ang="0">
                <a:pos x="connsiteX14982" y="connsiteY14982"/>
              </a:cxn>
              <a:cxn ang="0">
                <a:pos x="connsiteX14983" y="connsiteY14983"/>
              </a:cxn>
              <a:cxn ang="0">
                <a:pos x="connsiteX14984" y="connsiteY14984"/>
              </a:cxn>
              <a:cxn ang="0">
                <a:pos x="connsiteX14985" y="connsiteY14985"/>
              </a:cxn>
              <a:cxn ang="0">
                <a:pos x="connsiteX14986" y="connsiteY14986"/>
              </a:cxn>
              <a:cxn ang="0">
                <a:pos x="connsiteX14987" y="connsiteY14987"/>
              </a:cxn>
              <a:cxn ang="0">
                <a:pos x="connsiteX14988" y="connsiteY14988"/>
              </a:cxn>
              <a:cxn ang="0">
                <a:pos x="connsiteX14989" y="connsiteY14989"/>
              </a:cxn>
              <a:cxn ang="0">
                <a:pos x="connsiteX14990" y="connsiteY14990"/>
              </a:cxn>
              <a:cxn ang="0">
                <a:pos x="connsiteX14991" y="connsiteY14991"/>
              </a:cxn>
              <a:cxn ang="0">
                <a:pos x="connsiteX14992" y="connsiteY14992"/>
              </a:cxn>
              <a:cxn ang="0">
                <a:pos x="connsiteX14993" y="connsiteY14993"/>
              </a:cxn>
              <a:cxn ang="0">
                <a:pos x="connsiteX14994" y="connsiteY14994"/>
              </a:cxn>
              <a:cxn ang="0">
                <a:pos x="connsiteX14995" y="connsiteY14995"/>
              </a:cxn>
              <a:cxn ang="0">
                <a:pos x="connsiteX14996" y="connsiteY14996"/>
              </a:cxn>
              <a:cxn ang="0">
                <a:pos x="connsiteX14997" y="connsiteY14997"/>
              </a:cxn>
              <a:cxn ang="0">
                <a:pos x="connsiteX14998" y="connsiteY14998"/>
              </a:cxn>
              <a:cxn ang="0">
                <a:pos x="connsiteX14999" y="connsiteY14999"/>
              </a:cxn>
              <a:cxn ang="0">
                <a:pos x="connsiteX15000" y="connsiteY15000"/>
              </a:cxn>
              <a:cxn ang="0">
                <a:pos x="connsiteX15001" y="connsiteY15001"/>
              </a:cxn>
              <a:cxn ang="0">
                <a:pos x="connsiteX15002" y="connsiteY15002"/>
              </a:cxn>
              <a:cxn ang="0">
                <a:pos x="connsiteX15003" y="connsiteY15003"/>
              </a:cxn>
              <a:cxn ang="0">
                <a:pos x="connsiteX15004" y="connsiteY15004"/>
              </a:cxn>
              <a:cxn ang="0">
                <a:pos x="connsiteX15005" y="connsiteY15005"/>
              </a:cxn>
              <a:cxn ang="0">
                <a:pos x="connsiteX15006" y="connsiteY15006"/>
              </a:cxn>
              <a:cxn ang="0">
                <a:pos x="connsiteX15007" y="connsiteY15007"/>
              </a:cxn>
              <a:cxn ang="0">
                <a:pos x="connsiteX15008" y="connsiteY15008"/>
              </a:cxn>
              <a:cxn ang="0">
                <a:pos x="connsiteX15009" y="connsiteY15009"/>
              </a:cxn>
              <a:cxn ang="0">
                <a:pos x="connsiteX15010" y="connsiteY15010"/>
              </a:cxn>
              <a:cxn ang="0">
                <a:pos x="connsiteX15011" y="connsiteY15011"/>
              </a:cxn>
              <a:cxn ang="0">
                <a:pos x="connsiteX15012" y="connsiteY15012"/>
              </a:cxn>
              <a:cxn ang="0">
                <a:pos x="connsiteX15013" y="connsiteY15013"/>
              </a:cxn>
              <a:cxn ang="0">
                <a:pos x="connsiteX15014" y="connsiteY15014"/>
              </a:cxn>
              <a:cxn ang="0">
                <a:pos x="connsiteX15015" y="connsiteY15015"/>
              </a:cxn>
              <a:cxn ang="0">
                <a:pos x="connsiteX15016" y="connsiteY15016"/>
              </a:cxn>
              <a:cxn ang="0">
                <a:pos x="connsiteX15017" y="connsiteY15017"/>
              </a:cxn>
              <a:cxn ang="0">
                <a:pos x="connsiteX15018" y="connsiteY15018"/>
              </a:cxn>
              <a:cxn ang="0">
                <a:pos x="connsiteX15019" y="connsiteY15019"/>
              </a:cxn>
              <a:cxn ang="0">
                <a:pos x="connsiteX15020" y="connsiteY15020"/>
              </a:cxn>
              <a:cxn ang="0">
                <a:pos x="connsiteX15021" y="connsiteY15021"/>
              </a:cxn>
              <a:cxn ang="0">
                <a:pos x="connsiteX15022" y="connsiteY15022"/>
              </a:cxn>
              <a:cxn ang="0">
                <a:pos x="connsiteX15023" y="connsiteY15023"/>
              </a:cxn>
              <a:cxn ang="0">
                <a:pos x="connsiteX15024" y="connsiteY15024"/>
              </a:cxn>
              <a:cxn ang="0">
                <a:pos x="connsiteX15025" y="connsiteY15025"/>
              </a:cxn>
              <a:cxn ang="0">
                <a:pos x="connsiteX15026" y="connsiteY15026"/>
              </a:cxn>
              <a:cxn ang="0">
                <a:pos x="connsiteX15027" y="connsiteY15027"/>
              </a:cxn>
              <a:cxn ang="0">
                <a:pos x="connsiteX15028" y="connsiteY15028"/>
              </a:cxn>
              <a:cxn ang="0">
                <a:pos x="connsiteX15029" y="connsiteY15029"/>
              </a:cxn>
              <a:cxn ang="0">
                <a:pos x="connsiteX15030" y="connsiteY15030"/>
              </a:cxn>
              <a:cxn ang="0">
                <a:pos x="connsiteX15031" y="connsiteY15031"/>
              </a:cxn>
              <a:cxn ang="0">
                <a:pos x="connsiteX15032" y="connsiteY15032"/>
              </a:cxn>
              <a:cxn ang="0">
                <a:pos x="connsiteX15033" y="connsiteY15033"/>
              </a:cxn>
              <a:cxn ang="0">
                <a:pos x="connsiteX15034" y="connsiteY15034"/>
              </a:cxn>
              <a:cxn ang="0">
                <a:pos x="connsiteX15035" y="connsiteY15035"/>
              </a:cxn>
              <a:cxn ang="0">
                <a:pos x="connsiteX15036" y="connsiteY15036"/>
              </a:cxn>
              <a:cxn ang="0">
                <a:pos x="connsiteX15037" y="connsiteY15037"/>
              </a:cxn>
              <a:cxn ang="0">
                <a:pos x="connsiteX15038" y="connsiteY15038"/>
              </a:cxn>
              <a:cxn ang="0">
                <a:pos x="connsiteX15039" y="connsiteY15039"/>
              </a:cxn>
              <a:cxn ang="0">
                <a:pos x="connsiteX15040" y="connsiteY15040"/>
              </a:cxn>
              <a:cxn ang="0">
                <a:pos x="connsiteX15041" y="connsiteY15041"/>
              </a:cxn>
              <a:cxn ang="0">
                <a:pos x="connsiteX15042" y="connsiteY15042"/>
              </a:cxn>
              <a:cxn ang="0">
                <a:pos x="connsiteX15043" y="connsiteY15043"/>
              </a:cxn>
              <a:cxn ang="0">
                <a:pos x="connsiteX15044" y="connsiteY15044"/>
              </a:cxn>
              <a:cxn ang="0">
                <a:pos x="connsiteX15045" y="connsiteY15045"/>
              </a:cxn>
              <a:cxn ang="0">
                <a:pos x="connsiteX15046" y="connsiteY15046"/>
              </a:cxn>
              <a:cxn ang="0">
                <a:pos x="connsiteX15047" y="connsiteY15047"/>
              </a:cxn>
              <a:cxn ang="0">
                <a:pos x="connsiteX15048" y="connsiteY15048"/>
              </a:cxn>
              <a:cxn ang="0">
                <a:pos x="connsiteX15049" y="connsiteY15049"/>
              </a:cxn>
              <a:cxn ang="0">
                <a:pos x="connsiteX15050" y="connsiteY15050"/>
              </a:cxn>
              <a:cxn ang="0">
                <a:pos x="connsiteX15051" y="connsiteY15051"/>
              </a:cxn>
              <a:cxn ang="0">
                <a:pos x="connsiteX15052" y="connsiteY15052"/>
              </a:cxn>
              <a:cxn ang="0">
                <a:pos x="connsiteX15053" y="connsiteY15053"/>
              </a:cxn>
              <a:cxn ang="0">
                <a:pos x="connsiteX15054" y="connsiteY15054"/>
              </a:cxn>
              <a:cxn ang="0">
                <a:pos x="connsiteX15055" y="connsiteY15055"/>
              </a:cxn>
              <a:cxn ang="0">
                <a:pos x="connsiteX15056" y="connsiteY15056"/>
              </a:cxn>
              <a:cxn ang="0">
                <a:pos x="connsiteX15057" y="connsiteY15057"/>
              </a:cxn>
              <a:cxn ang="0">
                <a:pos x="connsiteX15058" y="connsiteY15058"/>
              </a:cxn>
              <a:cxn ang="0">
                <a:pos x="connsiteX15059" y="connsiteY15059"/>
              </a:cxn>
              <a:cxn ang="0">
                <a:pos x="connsiteX15060" y="connsiteY15060"/>
              </a:cxn>
              <a:cxn ang="0">
                <a:pos x="connsiteX15061" y="connsiteY15061"/>
              </a:cxn>
              <a:cxn ang="0">
                <a:pos x="connsiteX15062" y="connsiteY15062"/>
              </a:cxn>
              <a:cxn ang="0">
                <a:pos x="connsiteX15063" y="connsiteY15063"/>
              </a:cxn>
              <a:cxn ang="0">
                <a:pos x="connsiteX15064" y="connsiteY15064"/>
              </a:cxn>
              <a:cxn ang="0">
                <a:pos x="connsiteX15065" y="connsiteY15065"/>
              </a:cxn>
              <a:cxn ang="0">
                <a:pos x="connsiteX15066" y="connsiteY15066"/>
              </a:cxn>
              <a:cxn ang="0">
                <a:pos x="connsiteX15067" y="connsiteY15067"/>
              </a:cxn>
              <a:cxn ang="0">
                <a:pos x="connsiteX15068" y="connsiteY15068"/>
              </a:cxn>
              <a:cxn ang="0">
                <a:pos x="connsiteX15069" y="connsiteY15069"/>
              </a:cxn>
              <a:cxn ang="0">
                <a:pos x="connsiteX15070" y="connsiteY15070"/>
              </a:cxn>
              <a:cxn ang="0">
                <a:pos x="connsiteX15071" y="connsiteY15071"/>
              </a:cxn>
              <a:cxn ang="0">
                <a:pos x="connsiteX15072" y="connsiteY15072"/>
              </a:cxn>
              <a:cxn ang="0">
                <a:pos x="connsiteX15073" y="connsiteY15073"/>
              </a:cxn>
              <a:cxn ang="0">
                <a:pos x="connsiteX15074" y="connsiteY15074"/>
              </a:cxn>
              <a:cxn ang="0">
                <a:pos x="connsiteX15075" y="connsiteY15075"/>
              </a:cxn>
              <a:cxn ang="0">
                <a:pos x="connsiteX15076" y="connsiteY15076"/>
              </a:cxn>
              <a:cxn ang="0">
                <a:pos x="connsiteX15077" y="connsiteY15077"/>
              </a:cxn>
              <a:cxn ang="0">
                <a:pos x="connsiteX15078" y="connsiteY15078"/>
              </a:cxn>
              <a:cxn ang="0">
                <a:pos x="connsiteX15079" y="connsiteY15079"/>
              </a:cxn>
              <a:cxn ang="0">
                <a:pos x="connsiteX15080" y="connsiteY15080"/>
              </a:cxn>
              <a:cxn ang="0">
                <a:pos x="connsiteX15081" y="connsiteY15081"/>
              </a:cxn>
              <a:cxn ang="0">
                <a:pos x="connsiteX15082" y="connsiteY15082"/>
              </a:cxn>
              <a:cxn ang="0">
                <a:pos x="connsiteX15083" y="connsiteY15083"/>
              </a:cxn>
              <a:cxn ang="0">
                <a:pos x="connsiteX15084" y="connsiteY15084"/>
              </a:cxn>
              <a:cxn ang="0">
                <a:pos x="connsiteX15085" y="connsiteY15085"/>
              </a:cxn>
              <a:cxn ang="0">
                <a:pos x="connsiteX15086" y="connsiteY15086"/>
              </a:cxn>
              <a:cxn ang="0">
                <a:pos x="connsiteX15087" y="connsiteY15087"/>
              </a:cxn>
              <a:cxn ang="0">
                <a:pos x="connsiteX15088" y="connsiteY15088"/>
              </a:cxn>
              <a:cxn ang="0">
                <a:pos x="connsiteX15089" y="connsiteY15089"/>
              </a:cxn>
              <a:cxn ang="0">
                <a:pos x="connsiteX15090" y="connsiteY15090"/>
              </a:cxn>
              <a:cxn ang="0">
                <a:pos x="connsiteX15091" y="connsiteY15091"/>
              </a:cxn>
              <a:cxn ang="0">
                <a:pos x="connsiteX15092" y="connsiteY15092"/>
              </a:cxn>
              <a:cxn ang="0">
                <a:pos x="connsiteX15093" y="connsiteY15093"/>
              </a:cxn>
              <a:cxn ang="0">
                <a:pos x="connsiteX15094" y="connsiteY15094"/>
              </a:cxn>
              <a:cxn ang="0">
                <a:pos x="connsiteX15095" y="connsiteY15095"/>
              </a:cxn>
              <a:cxn ang="0">
                <a:pos x="connsiteX15096" y="connsiteY15096"/>
              </a:cxn>
              <a:cxn ang="0">
                <a:pos x="connsiteX15097" y="connsiteY15097"/>
              </a:cxn>
              <a:cxn ang="0">
                <a:pos x="connsiteX15098" y="connsiteY15098"/>
              </a:cxn>
              <a:cxn ang="0">
                <a:pos x="connsiteX15099" y="connsiteY15099"/>
              </a:cxn>
              <a:cxn ang="0">
                <a:pos x="connsiteX15100" y="connsiteY15100"/>
              </a:cxn>
              <a:cxn ang="0">
                <a:pos x="connsiteX15101" y="connsiteY15101"/>
              </a:cxn>
              <a:cxn ang="0">
                <a:pos x="connsiteX15102" y="connsiteY15102"/>
              </a:cxn>
              <a:cxn ang="0">
                <a:pos x="connsiteX15103" y="connsiteY15103"/>
              </a:cxn>
              <a:cxn ang="0">
                <a:pos x="connsiteX15104" y="connsiteY15104"/>
              </a:cxn>
              <a:cxn ang="0">
                <a:pos x="connsiteX15105" y="connsiteY15105"/>
              </a:cxn>
              <a:cxn ang="0">
                <a:pos x="connsiteX15106" y="connsiteY15106"/>
              </a:cxn>
              <a:cxn ang="0">
                <a:pos x="connsiteX15107" y="connsiteY15107"/>
              </a:cxn>
              <a:cxn ang="0">
                <a:pos x="connsiteX15108" y="connsiteY15108"/>
              </a:cxn>
              <a:cxn ang="0">
                <a:pos x="connsiteX15109" y="connsiteY15109"/>
              </a:cxn>
              <a:cxn ang="0">
                <a:pos x="connsiteX15110" y="connsiteY15110"/>
              </a:cxn>
              <a:cxn ang="0">
                <a:pos x="connsiteX15111" y="connsiteY15111"/>
              </a:cxn>
              <a:cxn ang="0">
                <a:pos x="connsiteX15112" y="connsiteY15112"/>
              </a:cxn>
              <a:cxn ang="0">
                <a:pos x="connsiteX15113" y="connsiteY15113"/>
              </a:cxn>
              <a:cxn ang="0">
                <a:pos x="connsiteX15114" y="connsiteY15114"/>
              </a:cxn>
              <a:cxn ang="0">
                <a:pos x="connsiteX15115" y="connsiteY15115"/>
              </a:cxn>
              <a:cxn ang="0">
                <a:pos x="connsiteX15116" y="connsiteY15116"/>
              </a:cxn>
              <a:cxn ang="0">
                <a:pos x="connsiteX15117" y="connsiteY15117"/>
              </a:cxn>
              <a:cxn ang="0">
                <a:pos x="connsiteX15118" y="connsiteY15118"/>
              </a:cxn>
              <a:cxn ang="0">
                <a:pos x="connsiteX15119" y="connsiteY15119"/>
              </a:cxn>
              <a:cxn ang="0">
                <a:pos x="connsiteX15120" y="connsiteY15120"/>
              </a:cxn>
              <a:cxn ang="0">
                <a:pos x="connsiteX15121" y="connsiteY15121"/>
              </a:cxn>
              <a:cxn ang="0">
                <a:pos x="connsiteX15122" y="connsiteY15122"/>
              </a:cxn>
              <a:cxn ang="0">
                <a:pos x="connsiteX15123" y="connsiteY15123"/>
              </a:cxn>
              <a:cxn ang="0">
                <a:pos x="connsiteX15124" y="connsiteY15124"/>
              </a:cxn>
              <a:cxn ang="0">
                <a:pos x="connsiteX15125" y="connsiteY15125"/>
              </a:cxn>
              <a:cxn ang="0">
                <a:pos x="connsiteX15126" y="connsiteY15126"/>
              </a:cxn>
              <a:cxn ang="0">
                <a:pos x="connsiteX15127" y="connsiteY15127"/>
              </a:cxn>
              <a:cxn ang="0">
                <a:pos x="connsiteX15128" y="connsiteY15128"/>
              </a:cxn>
              <a:cxn ang="0">
                <a:pos x="connsiteX15129" y="connsiteY15129"/>
              </a:cxn>
              <a:cxn ang="0">
                <a:pos x="connsiteX15130" y="connsiteY15130"/>
              </a:cxn>
              <a:cxn ang="0">
                <a:pos x="connsiteX15131" y="connsiteY15131"/>
              </a:cxn>
              <a:cxn ang="0">
                <a:pos x="connsiteX15132" y="connsiteY15132"/>
              </a:cxn>
              <a:cxn ang="0">
                <a:pos x="connsiteX15133" y="connsiteY15133"/>
              </a:cxn>
              <a:cxn ang="0">
                <a:pos x="connsiteX15134" y="connsiteY15134"/>
              </a:cxn>
              <a:cxn ang="0">
                <a:pos x="connsiteX15135" y="connsiteY15135"/>
              </a:cxn>
              <a:cxn ang="0">
                <a:pos x="connsiteX15136" y="connsiteY15136"/>
              </a:cxn>
              <a:cxn ang="0">
                <a:pos x="connsiteX15137" y="connsiteY15137"/>
              </a:cxn>
              <a:cxn ang="0">
                <a:pos x="connsiteX15138" y="connsiteY15138"/>
              </a:cxn>
              <a:cxn ang="0">
                <a:pos x="connsiteX15139" y="connsiteY15139"/>
              </a:cxn>
              <a:cxn ang="0">
                <a:pos x="connsiteX15140" y="connsiteY15140"/>
              </a:cxn>
              <a:cxn ang="0">
                <a:pos x="connsiteX15141" y="connsiteY15141"/>
              </a:cxn>
              <a:cxn ang="0">
                <a:pos x="connsiteX15142" y="connsiteY15142"/>
              </a:cxn>
              <a:cxn ang="0">
                <a:pos x="connsiteX15143" y="connsiteY15143"/>
              </a:cxn>
              <a:cxn ang="0">
                <a:pos x="connsiteX15144" y="connsiteY15144"/>
              </a:cxn>
              <a:cxn ang="0">
                <a:pos x="connsiteX15145" y="connsiteY15145"/>
              </a:cxn>
              <a:cxn ang="0">
                <a:pos x="connsiteX15146" y="connsiteY15146"/>
              </a:cxn>
              <a:cxn ang="0">
                <a:pos x="connsiteX15147" y="connsiteY15147"/>
              </a:cxn>
              <a:cxn ang="0">
                <a:pos x="connsiteX15148" y="connsiteY15148"/>
              </a:cxn>
              <a:cxn ang="0">
                <a:pos x="connsiteX15149" y="connsiteY15149"/>
              </a:cxn>
              <a:cxn ang="0">
                <a:pos x="connsiteX15150" y="connsiteY15150"/>
              </a:cxn>
              <a:cxn ang="0">
                <a:pos x="connsiteX15151" y="connsiteY15151"/>
              </a:cxn>
              <a:cxn ang="0">
                <a:pos x="connsiteX15152" y="connsiteY15152"/>
              </a:cxn>
              <a:cxn ang="0">
                <a:pos x="connsiteX15153" y="connsiteY15153"/>
              </a:cxn>
              <a:cxn ang="0">
                <a:pos x="connsiteX15154" y="connsiteY15154"/>
              </a:cxn>
              <a:cxn ang="0">
                <a:pos x="connsiteX15155" y="connsiteY15155"/>
              </a:cxn>
              <a:cxn ang="0">
                <a:pos x="connsiteX15156" y="connsiteY15156"/>
              </a:cxn>
              <a:cxn ang="0">
                <a:pos x="connsiteX15157" y="connsiteY15157"/>
              </a:cxn>
              <a:cxn ang="0">
                <a:pos x="connsiteX15158" y="connsiteY15158"/>
              </a:cxn>
              <a:cxn ang="0">
                <a:pos x="connsiteX15159" y="connsiteY15159"/>
              </a:cxn>
              <a:cxn ang="0">
                <a:pos x="connsiteX15160" y="connsiteY15160"/>
              </a:cxn>
              <a:cxn ang="0">
                <a:pos x="connsiteX15161" y="connsiteY15161"/>
              </a:cxn>
              <a:cxn ang="0">
                <a:pos x="connsiteX15162" y="connsiteY15162"/>
              </a:cxn>
              <a:cxn ang="0">
                <a:pos x="connsiteX15163" y="connsiteY15163"/>
              </a:cxn>
              <a:cxn ang="0">
                <a:pos x="connsiteX15164" y="connsiteY15164"/>
              </a:cxn>
              <a:cxn ang="0">
                <a:pos x="connsiteX15165" y="connsiteY15165"/>
              </a:cxn>
              <a:cxn ang="0">
                <a:pos x="connsiteX15166" y="connsiteY15166"/>
              </a:cxn>
              <a:cxn ang="0">
                <a:pos x="connsiteX15167" y="connsiteY15167"/>
              </a:cxn>
              <a:cxn ang="0">
                <a:pos x="connsiteX15168" y="connsiteY15168"/>
              </a:cxn>
              <a:cxn ang="0">
                <a:pos x="connsiteX15169" y="connsiteY15169"/>
              </a:cxn>
              <a:cxn ang="0">
                <a:pos x="connsiteX15170" y="connsiteY15170"/>
              </a:cxn>
              <a:cxn ang="0">
                <a:pos x="connsiteX15171" y="connsiteY15171"/>
              </a:cxn>
              <a:cxn ang="0">
                <a:pos x="connsiteX15172" y="connsiteY15172"/>
              </a:cxn>
              <a:cxn ang="0">
                <a:pos x="connsiteX15173" y="connsiteY15173"/>
              </a:cxn>
              <a:cxn ang="0">
                <a:pos x="connsiteX15174" y="connsiteY15174"/>
              </a:cxn>
              <a:cxn ang="0">
                <a:pos x="connsiteX15175" y="connsiteY15175"/>
              </a:cxn>
              <a:cxn ang="0">
                <a:pos x="connsiteX15176" y="connsiteY15176"/>
              </a:cxn>
              <a:cxn ang="0">
                <a:pos x="connsiteX15177" y="connsiteY15177"/>
              </a:cxn>
              <a:cxn ang="0">
                <a:pos x="connsiteX15178" y="connsiteY15178"/>
              </a:cxn>
              <a:cxn ang="0">
                <a:pos x="connsiteX15179" y="connsiteY15179"/>
              </a:cxn>
              <a:cxn ang="0">
                <a:pos x="connsiteX15180" y="connsiteY15180"/>
              </a:cxn>
              <a:cxn ang="0">
                <a:pos x="connsiteX15181" y="connsiteY15181"/>
              </a:cxn>
              <a:cxn ang="0">
                <a:pos x="connsiteX15182" y="connsiteY15182"/>
              </a:cxn>
              <a:cxn ang="0">
                <a:pos x="connsiteX15183" y="connsiteY15183"/>
              </a:cxn>
              <a:cxn ang="0">
                <a:pos x="connsiteX15184" y="connsiteY15184"/>
              </a:cxn>
              <a:cxn ang="0">
                <a:pos x="connsiteX15185" y="connsiteY15185"/>
              </a:cxn>
              <a:cxn ang="0">
                <a:pos x="connsiteX15186" y="connsiteY15186"/>
              </a:cxn>
              <a:cxn ang="0">
                <a:pos x="connsiteX15187" y="connsiteY15187"/>
              </a:cxn>
              <a:cxn ang="0">
                <a:pos x="connsiteX15188" y="connsiteY15188"/>
              </a:cxn>
              <a:cxn ang="0">
                <a:pos x="connsiteX15189" y="connsiteY15189"/>
              </a:cxn>
              <a:cxn ang="0">
                <a:pos x="connsiteX15190" y="connsiteY15190"/>
              </a:cxn>
              <a:cxn ang="0">
                <a:pos x="connsiteX15191" y="connsiteY15191"/>
              </a:cxn>
              <a:cxn ang="0">
                <a:pos x="connsiteX15192" y="connsiteY15192"/>
              </a:cxn>
              <a:cxn ang="0">
                <a:pos x="connsiteX15193" y="connsiteY15193"/>
              </a:cxn>
              <a:cxn ang="0">
                <a:pos x="connsiteX15194" y="connsiteY15194"/>
              </a:cxn>
              <a:cxn ang="0">
                <a:pos x="connsiteX15195" y="connsiteY15195"/>
              </a:cxn>
              <a:cxn ang="0">
                <a:pos x="connsiteX15196" y="connsiteY15196"/>
              </a:cxn>
              <a:cxn ang="0">
                <a:pos x="connsiteX15197" y="connsiteY15197"/>
              </a:cxn>
              <a:cxn ang="0">
                <a:pos x="connsiteX15198" y="connsiteY15198"/>
              </a:cxn>
              <a:cxn ang="0">
                <a:pos x="connsiteX15199" y="connsiteY15199"/>
              </a:cxn>
              <a:cxn ang="0">
                <a:pos x="connsiteX15200" y="connsiteY15200"/>
              </a:cxn>
              <a:cxn ang="0">
                <a:pos x="connsiteX15201" y="connsiteY15201"/>
              </a:cxn>
              <a:cxn ang="0">
                <a:pos x="connsiteX15202" y="connsiteY15202"/>
              </a:cxn>
              <a:cxn ang="0">
                <a:pos x="connsiteX15203" y="connsiteY15203"/>
              </a:cxn>
              <a:cxn ang="0">
                <a:pos x="connsiteX15204" y="connsiteY15204"/>
              </a:cxn>
              <a:cxn ang="0">
                <a:pos x="connsiteX15205" y="connsiteY15205"/>
              </a:cxn>
              <a:cxn ang="0">
                <a:pos x="connsiteX15206" y="connsiteY15206"/>
              </a:cxn>
              <a:cxn ang="0">
                <a:pos x="connsiteX15207" y="connsiteY15207"/>
              </a:cxn>
              <a:cxn ang="0">
                <a:pos x="connsiteX15208" y="connsiteY15208"/>
              </a:cxn>
              <a:cxn ang="0">
                <a:pos x="connsiteX15209" y="connsiteY15209"/>
              </a:cxn>
              <a:cxn ang="0">
                <a:pos x="connsiteX15210" y="connsiteY15210"/>
              </a:cxn>
              <a:cxn ang="0">
                <a:pos x="connsiteX15211" y="connsiteY15211"/>
              </a:cxn>
              <a:cxn ang="0">
                <a:pos x="connsiteX15212" y="connsiteY15212"/>
              </a:cxn>
              <a:cxn ang="0">
                <a:pos x="connsiteX15213" y="connsiteY15213"/>
              </a:cxn>
              <a:cxn ang="0">
                <a:pos x="connsiteX15214" y="connsiteY15214"/>
              </a:cxn>
              <a:cxn ang="0">
                <a:pos x="connsiteX15215" y="connsiteY15215"/>
              </a:cxn>
              <a:cxn ang="0">
                <a:pos x="connsiteX15216" y="connsiteY15216"/>
              </a:cxn>
              <a:cxn ang="0">
                <a:pos x="connsiteX15217" y="connsiteY15217"/>
              </a:cxn>
              <a:cxn ang="0">
                <a:pos x="connsiteX15218" y="connsiteY15218"/>
              </a:cxn>
              <a:cxn ang="0">
                <a:pos x="connsiteX15219" y="connsiteY15219"/>
              </a:cxn>
              <a:cxn ang="0">
                <a:pos x="connsiteX15220" y="connsiteY15220"/>
              </a:cxn>
              <a:cxn ang="0">
                <a:pos x="connsiteX15221" y="connsiteY15221"/>
              </a:cxn>
              <a:cxn ang="0">
                <a:pos x="connsiteX15222" y="connsiteY15222"/>
              </a:cxn>
              <a:cxn ang="0">
                <a:pos x="connsiteX15223" y="connsiteY15223"/>
              </a:cxn>
              <a:cxn ang="0">
                <a:pos x="connsiteX15224" y="connsiteY15224"/>
              </a:cxn>
              <a:cxn ang="0">
                <a:pos x="connsiteX15225" y="connsiteY15225"/>
              </a:cxn>
              <a:cxn ang="0">
                <a:pos x="connsiteX15226" y="connsiteY15226"/>
              </a:cxn>
              <a:cxn ang="0">
                <a:pos x="connsiteX15227" y="connsiteY15227"/>
              </a:cxn>
              <a:cxn ang="0">
                <a:pos x="connsiteX15228" y="connsiteY15228"/>
              </a:cxn>
              <a:cxn ang="0">
                <a:pos x="connsiteX15229" y="connsiteY15229"/>
              </a:cxn>
              <a:cxn ang="0">
                <a:pos x="connsiteX15230" y="connsiteY15230"/>
              </a:cxn>
              <a:cxn ang="0">
                <a:pos x="connsiteX15231" y="connsiteY15231"/>
              </a:cxn>
              <a:cxn ang="0">
                <a:pos x="connsiteX15232" y="connsiteY15232"/>
              </a:cxn>
              <a:cxn ang="0">
                <a:pos x="connsiteX15233" y="connsiteY15233"/>
              </a:cxn>
              <a:cxn ang="0">
                <a:pos x="connsiteX15234" y="connsiteY15234"/>
              </a:cxn>
              <a:cxn ang="0">
                <a:pos x="connsiteX15235" y="connsiteY15235"/>
              </a:cxn>
              <a:cxn ang="0">
                <a:pos x="connsiteX15236" y="connsiteY15236"/>
              </a:cxn>
              <a:cxn ang="0">
                <a:pos x="connsiteX15237" y="connsiteY15237"/>
              </a:cxn>
              <a:cxn ang="0">
                <a:pos x="connsiteX15238" y="connsiteY15238"/>
              </a:cxn>
              <a:cxn ang="0">
                <a:pos x="connsiteX15239" y="connsiteY15239"/>
              </a:cxn>
              <a:cxn ang="0">
                <a:pos x="connsiteX15240" y="connsiteY15240"/>
              </a:cxn>
              <a:cxn ang="0">
                <a:pos x="connsiteX15241" y="connsiteY15241"/>
              </a:cxn>
              <a:cxn ang="0">
                <a:pos x="connsiteX15242" y="connsiteY15242"/>
              </a:cxn>
              <a:cxn ang="0">
                <a:pos x="connsiteX15243" y="connsiteY15243"/>
              </a:cxn>
              <a:cxn ang="0">
                <a:pos x="connsiteX15244" y="connsiteY15244"/>
              </a:cxn>
              <a:cxn ang="0">
                <a:pos x="connsiteX15245" y="connsiteY15245"/>
              </a:cxn>
              <a:cxn ang="0">
                <a:pos x="connsiteX15246" y="connsiteY15246"/>
              </a:cxn>
              <a:cxn ang="0">
                <a:pos x="connsiteX15247" y="connsiteY15247"/>
              </a:cxn>
              <a:cxn ang="0">
                <a:pos x="connsiteX15248" y="connsiteY15248"/>
              </a:cxn>
              <a:cxn ang="0">
                <a:pos x="connsiteX15249" y="connsiteY15249"/>
              </a:cxn>
              <a:cxn ang="0">
                <a:pos x="connsiteX15250" y="connsiteY15250"/>
              </a:cxn>
              <a:cxn ang="0">
                <a:pos x="connsiteX15251" y="connsiteY15251"/>
              </a:cxn>
              <a:cxn ang="0">
                <a:pos x="connsiteX15252" y="connsiteY15252"/>
              </a:cxn>
              <a:cxn ang="0">
                <a:pos x="connsiteX15253" y="connsiteY15253"/>
              </a:cxn>
              <a:cxn ang="0">
                <a:pos x="connsiteX15254" y="connsiteY15254"/>
              </a:cxn>
              <a:cxn ang="0">
                <a:pos x="connsiteX15255" y="connsiteY15255"/>
              </a:cxn>
              <a:cxn ang="0">
                <a:pos x="connsiteX15256" y="connsiteY15256"/>
              </a:cxn>
              <a:cxn ang="0">
                <a:pos x="connsiteX15257" y="connsiteY15257"/>
              </a:cxn>
              <a:cxn ang="0">
                <a:pos x="connsiteX15258" y="connsiteY15258"/>
              </a:cxn>
              <a:cxn ang="0">
                <a:pos x="connsiteX15259" y="connsiteY15259"/>
              </a:cxn>
              <a:cxn ang="0">
                <a:pos x="connsiteX15260" y="connsiteY15260"/>
              </a:cxn>
              <a:cxn ang="0">
                <a:pos x="connsiteX15261" y="connsiteY15261"/>
              </a:cxn>
              <a:cxn ang="0">
                <a:pos x="connsiteX15262" y="connsiteY15262"/>
              </a:cxn>
              <a:cxn ang="0">
                <a:pos x="connsiteX15263" y="connsiteY15263"/>
              </a:cxn>
              <a:cxn ang="0">
                <a:pos x="connsiteX15264" y="connsiteY15264"/>
              </a:cxn>
              <a:cxn ang="0">
                <a:pos x="connsiteX15265" y="connsiteY15265"/>
              </a:cxn>
              <a:cxn ang="0">
                <a:pos x="connsiteX15266" y="connsiteY15266"/>
              </a:cxn>
              <a:cxn ang="0">
                <a:pos x="connsiteX15267" y="connsiteY15267"/>
              </a:cxn>
              <a:cxn ang="0">
                <a:pos x="connsiteX15268" y="connsiteY15268"/>
              </a:cxn>
              <a:cxn ang="0">
                <a:pos x="connsiteX15269" y="connsiteY15269"/>
              </a:cxn>
              <a:cxn ang="0">
                <a:pos x="connsiteX15270" y="connsiteY15270"/>
              </a:cxn>
              <a:cxn ang="0">
                <a:pos x="connsiteX15271" y="connsiteY15271"/>
              </a:cxn>
              <a:cxn ang="0">
                <a:pos x="connsiteX15272" y="connsiteY15272"/>
              </a:cxn>
              <a:cxn ang="0">
                <a:pos x="connsiteX15273" y="connsiteY15273"/>
              </a:cxn>
              <a:cxn ang="0">
                <a:pos x="connsiteX15274" y="connsiteY15274"/>
              </a:cxn>
              <a:cxn ang="0">
                <a:pos x="connsiteX15275" y="connsiteY15275"/>
              </a:cxn>
              <a:cxn ang="0">
                <a:pos x="connsiteX15276" y="connsiteY15276"/>
              </a:cxn>
              <a:cxn ang="0">
                <a:pos x="connsiteX15277" y="connsiteY15277"/>
              </a:cxn>
              <a:cxn ang="0">
                <a:pos x="connsiteX15278" y="connsiteY15278"/>
              </a:cxn>
              <a:cxn ang="0">
                <a:pos x="connsiteX15279" y="connsiteY15279"/>
              </a:cxn>
              <a:cxn ang="0">
                <a:pos x="connsiteX15280" y="connsiteY15280"/>
              </a:cxn>
              <a:cxn ang="0">
                <a:pos x="connsiteX15281" y="connsiteY15281"/>
              </a:cxn>
              <a:cxn ang="0">
                <a:pos x="connsiteX15282" y="connsiteY15282"/>
              </a:cxn>
              <a:cxn ang="0">
                <a:pos x="connsiteX15283" y="connsiteY15283"/>
              </a:cxn>
              <a:cxn ang="0">
                <a:pos x="connsiteX15284" y="connsiteY15284"/>
              </a:cxn>
              <a:cxn ang="0">
                <a:pos x="connsiteX15285" y="connsiteY15285"/>
              </a:cxn>
              <a:cxn ang="0">
                <a:pos x="connsiteX15286" y="connsiteY15286"/>
              </a:cxn>
              <a:cxn ang="0">
                <a:pos x="connsiteX15287" y="connsiteY15287"/>
              </a:cxn>
              <a:cxn ang="0">
                <a:pos x="connsiteX15288" y="connsiteY15288"/>
              </a:cxn>
              <a:cxn ang="0">
                <a:pos x="connsiteX15289" y="connsiteY15289"/>
              </a:cxn>
              <a:cxn ang="0">
                <a:pos x="connsiteX15290" y="connsiteY15290"/>
              </a:cxn>
              <a:cxn ang="0">
                <a:pos x="connsiteX15291" y="connsiteY15291"/>
              </a:cxn>
              <a:cxn ang="0">
                <a:pos x="connsiteX15292" y="connsiteY15292"/>
              </a:cxn>
              <a:cxn ang="0">
                <a:pos x="connsiteX15293" y="connsiteY15293"/>
              </a:cxn>
              <a:cxn ang="0">
                <a:pos x="connsiteX15294" y="connsiteY15294"/>
              </a:cxn>
              <a:cxn ang="0">
                <a:pos x="connsiteX15295" y="connsiteY15295"/>
              </a:cxn>
              <a:cxn ang="0">
                <a:pos x="connsiteX15296" y="connsiteY15296"/>
              </a:cxn>
              <a:cxn ang="0">
                <a:pos x="connsiteX15297" y="connsiteY15297"/>
              </a:cxn>
              <a:cxn ang="0">
                <a:pos x="connsiteX15298" y="connsiteY15298"/>
              </a:cxn>
              <a:cxn ang="0">
                <a:pos x="connsiteX15299" y="connsiteY15299"/>
              </a:cxn>
              <a:cxn ang="0">
                <a:pos x="connsiteX15300" y="connsiteY15300"/>
              </a:cxn>
              <a:cxn ang="0">
                <a:pos x="connsiteX15301" y="connsiteY15301"/>
              </a:cxn>
              <a:cxn ang="0">
                <a:pos x="connsiteX15302" y="connsiteY15302"/>
              </a:cxn>
              <a:cxn ang="0">
                <a:pos x="connsiteX15303" y="connsiteY15303"/>
              </a:cxn>
              <a:cxn ang="0">
                <a:pos x="connsiteX15304" y="connsiteY15304"/>
              </a:cxn>
              <a:cxn ang="0">
                <a:pos x="connsiteX15305" y="connsiteY15305"/>
              </a:cxn>
              <a:cxn ang="0">
                <a:pos x="connsiteX15306" y="connsiteY15306"/>
              </a:cxn>
              <a:cxn ang="0">
                <a:pos x="connsiteX15307" y="connsiteY15307"/>
              </a:cxn>
              <a:cxn ang="0">
                <a:pos x="connsiteX15308" y="connsiteY15308"/>
              </a:cxn>
              <a:cxn ang="0">
                <a:pos x="connsiteX15309" y="connsiteY15309"/>
              </a:cxn>
              <a:cxn ang="0">
                <a:pos x="connsiteX15310" y="connsiteY15310"/>
              </a:cxn>
              <a:cxn ang="0">
                <a:pos x="connsiteX15311" y="connsiteY15311"/>
              </a:cxn>
              <a:cxn ang="0">
                <a:pos x="connsiteX15312" y="connsiteY15312"/>
              </a:cxn>
              <a:cxn ang="0">
                <a:pos x="connsiteX15313" y="connsiteY15313"/>
              </a:cxn>
              <a:cxn ang="0">
                <a:pos x="connsiteX15314" y="connsiteY15314"/>
              </a:cxn>
              <a:cxn ang="0">
                <a:pos x="connsiteX15315" y="connsiteY15315"/>
              </a:cxn>
              <a:cxn ang="0">
                <a:pos x="connsiteX15316" y="connsiteY15316"/>
              </a:cxn>
              <a:cxn ang="0">
                <a:pos x="connsiteX15317" y="connsiteY15317"/>
              </a:cxn>
              <a:cxn ang="0">
                <a:pos x="connsiteX15318" y="connsiteY15318"/>
              </a:cxn>
              <a:cxn ang="0">
                <a:pos x="connsiteX15319" y="connsiteY15319"/>
              </a:cxn>
              <a:cxn ang="0">
                <a:pos x="connsiteX15320" y="connsiteY15320"/>
              </a:cxn>
              <a:cxn ang="0">
                <a:pos x="connsiteX15321" y="connsiteY15321"/>
              </a:cxn>
              <a:cxn ang="0">
                <a:pos x="connsiteX15322" y="connsiteY15322"/>
              </a:cxn>
              <a:cxn ang="0">
                <a:pos x="connsiteX15323" y="connsiteY15323"/>
              </a:cxn>
              <a:cxn ang="0">
                <a:pos x="connsiteX15324" y="connsiteY15324"/>
              </a:cxn>
              <a:cxn ang="0">
                <a:pos x="connsiteX15325" y="connsiteY15325"/>
              </a:cxn>
              <a:cxn ang="0">
                <a:pos x="connsiteX15326" y="connsiteY15326"/>
              </a:cxn>
              <a:cxn ang="0">
                <a:pos x="connsiteX15327" y="connsiteY15327"/>
              </a:cxn>
              <a:cxn ang="0">
                <a:pos x="connsiteX15328" y="connsiteY15328"/>
              </a:cxn>
              <a:cxn ang="0">
                <a:pos x="connsiteX15329" y="connsiteY15329"/>
              </a:cxn>
              <a:cxn ang="0">
                <a:pos x="connsiteX15330" y="connsiteY15330"/>
              </a:cxn>
              <a:cxn ang="0">
                <a:pos x="connsiteX15331" y="connsiteY15331"/>
              </a:cxn>
              <a:cxn ang="0">
                <a:pos x="connsiteX15332" y="connsiteY15332"/>
              </a:cxn>
              <a:cxn ang="0">
                <a:pos x="connsiteX15333" y="connsiteY15333"/>
              </a:cxn>
              <a:cxn ang="0">
                <a:pos x="connsiteX15334" y="connsiteY15334"/>
              </a:cxn>
              <a:cxn ang="0">
                <a:pos x="connsiteX15335" y="connsiteY15335"/>
              </a:cxn>
              <a:cxn ang="0">
                <a:pos x="connsiteX15336" y="connsiteY15336"/>
              </a:cxn>
              <a:cxn ang="0">
                <a:pos x="connsiteX15337" y="connsiteY15337"/>
              </a:cxn>
              <a:cxn ang="0">
                <a:pos x="connsiteX15338" y="connsiteY15338"/>
              </a:cxn>
              <a:cxn ang="0">
                <a:pos x="connsiteX15339" y="connsiteY15339"/>
              </a:cxn>
              <a:cxn ang="0">
                <a:pos x="connsiteX15340" y="connsiteY15340"/>
              </a:cxn>
              <a:cxn ang="0">
                <a:pos x="connsiteX15341" y="connsiteY15341"/>
              </a:cxn>
              <a:cxn ang="0">
                <a:pos x="connsiteX15342" y="connsiteY15342"/>
              </a:cxn>
              <a:cxn ang="0">
                <a:pos x="connsiteX15343" y="connsiteY15343"/>
              </a:cxn>
              <a:cxn ang="0">
                <a:pos x="connsiteX15344" y="connsiteY15344"/>
              </a:cxn>
              <a:cxn ang="0">
                <a:pos x="connsiteX15345" y="connsiteY15345"/>
              </a:cxn>
              <a:cxn ang="0">
                <a:pos x="connsiteX15346" y="connsiteY15346"/>
              </a:cxn>
              <a:cxn ang="0">
                <a:pos x="connsiteX15347" y="connsiteY15347"/>
              </a:cxn>
              <a:cxn ang="0">
                <a:pos x="connsiteX15348" y="connsiteY15348"/>
              </a:cxn>
              <a:cxn ang="0">
                <a:pos x="connsiteX15349" y="connsiteY15349"/>
              </a:cxn>
              <a:cxn ang="0">
                <a:pos x="connsiteX15350" y="connsiteY15350"/>
              </a:cxn>
              <a:cxn ang="0">
                <a:pos x="connsiteX15351" y="connsiteY15351"/>
              </a:cxn>
              <a:cxn ang="0">
                <a:pos x="connsiteX15352" y="connsiteY15352"/>
              </a:cxn>
              <a:cxn ang="0">
                <a:pos x="connsiteX15353" y="connsiteY15353"/>
              </a:cxn>
              <a:cxn ang="0">
                <a:pos x="connsiteX15354" y="connsiteY15354"/>
              </a:cxn>
              <a:cxn ang="0">
                <a:pos x="connsiteX15355" y="connsiteY15355"/>
              </a:cxn>
              <a:cxn ang="0">
                <a:pos x="connsiteX15356" y="connsiteY15356"/>
              </a:cxn>
              <a:cxn ang="0">
                <a:pos x="connsiteX15357" y="connsiteY15357"/>
              </a:cxn>
              <a:cxn ang="0">
                <a:pos x="connsiteX15358" y="connsiteY15358"/>
              </a:cxn>
              <a:cxn ang="0">
                <a:pos x="connsiteX15359" y="connsiteY15359"/>
              </a:cxn>
              <a:cxn ang="0">
                <a:pos x="connsiteX15360" y="connsiteY15360"/>
              </a:cxn>
              <a:cxn ang="0">
                <a:pos x="connsiteX15361" y="connsiteY15361"/>
              </a:cxn>
              <a:cxn ang="0">
                <a:pos x="connsiteX15362" y="connsiteY15362"/>
              </a:cxn>
              <a:cxn ang="0">
                <a:pos x="connsiteX15363" y="connsiteY15363"/>
              </a:cxn>
              <a:cxn ang="0">
                <a:pos x="connsiteX15364" y="connsiteY15364"/>
              </a:cxn>
              <a:cxn ang="0">
                <a:pos x="connsiteX15365" y="connsiteY15365"/>
              </a:cxn>
              <a:cxn ang="0">
                <a:pos x="connsiteX15366" y="connsiteY15366"/>
              </a:cxn>
              <a:cxn ang="0">
                <a:pos x="connsiteX15367" y="connsiteY15367"/>
              </a:cxn>
              <a:cxn ang="0">
                <a:pos x="connsiteX15368" y="connsiteY15368"/>
              </a:cxn>
              <a:cxn ang="0">
                <a:pos x="connsiteX15369" y="connsiteY15369"/>
              </a:cxn>
              <a:cxn ang="0">
                <a:pos x="connsiteX15370" y="connsiteY15370"/>
              </a:cxn>
              <a:cxn ang="0">
                <a:pos x="connsiteX15371" y="connsiteY15371"/>
              </a:cxn>
              <a:cxn ang="0">
                <a:pos x="connsiteX15372" y="connsiteY15372"/>
              </a:cxn>
              <a:cxn ang="0">
                <a:pos x="connsiteX15373" y="connsiteY15373"/>
              </a:cxn>
              <a:cxn ang="0">
                <a:pos x="connsiteX15374" y="connsiteY15374"/>
              </a:cxn>
              <a:cxn ang="0">
                <a:pos x="connsiteX15375" y="connsiteY15375"/>
              </a:cxn>
              <a:cxn ang="0">
                <a:pos x="connsiteX15376" y="connsiteY15376"/>
              </a:cxn>
              <a:cxn ang="0">
                <a:pos x="connsiteX15377" y="connsiteY15377"/>
              </a:cxn>
              <a:cxn ang="0">
                <a:pos x="connsiteX15378" y="connsiteY15378"/>
              </a:cxn>
              <a:cxn ang="0">
                <a:pos x="connsiteX15379" y="connsiteY15379"/>
              </a:cxn>
              <a:cxn ang="0">
                <a:pos x="connsiteX15380" y="connsiteY15380"/>
              </a:cxn>
              <a:cxn ang="0">
                <a:pos x="connsiteX15381" y="connsiteY15381"/>
              </a:cxn>
              <a:cxn ang="0">
                <a:pos x="connsiteX15382" y="connsiteY15382"/>
              </a:cxn>
              <a:cxn ang="0">
                <a:pos x="connsiteX15383" y="connsiteY15383"/>
              </a:cxn>
              <a:cxn ang="0">
                <a:pos x="connsiteX15384" y="connsiteY15384"/>
              </a:cxn>
              <a:cxn ang="0">
                <a:pos x="connsiteX15385" y="connsiteY15385"/>
              </a:cxn>
              <a:cxn ang="0">
                <a:pos x="connsiteX15386" y="connsiteY15386"/>
              </a:cxn>
              <a:cxn ang="0">
                <a:pos x="connsiteX15387" y="connsiteY15387"/>
              </a:cxn>
              <a:cxn ang="0">
                <a:pos x="connsiteX15388" y="connsiteY15388"/>
              </a:cxn>
              <a:cxn ang="0">
                <a:pos x="connsiteX15389" y="connsiteY15389"/>
              </a:cxn>
              <a:cxn ang="0">
                <a:pos x="connsiteX15390" y="connsiteY15390"/>
              </a:cxn>
              <a:cxn ang="0">
                <a:pos x="connsiteX15391" y="connsiteY15391"/>
              </a:cxn>
              <a:cxn ang="0">
                <a:pos x="connsiteX15392" y="connsiteY15392"/>
              </a:cxn>
              <a:cxn ang="0">
                <a:pos x="connsiteX15393" y="connsiteY15393"/>
              </a:cxn>
              <a:cxn ang="0">
                <a:pos x="connsiteX15394" y="connsiteY15394"/>
              </a:cxn>
              <a:cxn ang="0">
                <a:pos x="connsiteX15395" y="connsiteY15395"/>
              </a:cxn>
              <a:cxn ang="0">
                <a:pos x="connsiteX15396" y="connsiteY15396"/>
              </a:cxn>
              <a:cxn ang="0">
                <a:pos x="connsiteX15397" y="connsiteY15397"/>
              </a:cxn>
              <a:cxn ang="0">
                <a:pos x="connsiteX15398" y="connsiteY15398"/>
              </a:cxn>
              <a:cxn ang="0">
                <a:pos x="connsiteX15399" y="connsiteY15399"/>
              </a:cxn>
              <a:cxn ang="0">
                <a:pos x="connsiteX15400" y="connsiteY15400"/>
              </a:cxn>
              <a:cxn ang="0">
                <a:pos x="connsiteX15401" y="connsiteY15401"/>
              </a:cxn>
              <a:cxn ang="0">
                <a:pos x="connsiteX15402" y="connsiteY15402"/>
              </a:cxn>
              <a:cxn ang="0">
                <a:pos x="connsiteX15403" y="connsiteY15403"/>
              </a:cxn>
              <a:cxn ang="0">
                <a:pos x="connsiteX15404" y="connsiteY15404"/>
              </a:cxn>
              <a:cxn ang="0">
                <a:pos x="connsiteX15405" y="connsiteY15405"/>
              </a:cxn>
              <a:cxn ang="0">
                <a:pos x="connsiteX15406" y="connsiteY15406"/>
              </a:cxn>
              <a:cxn ang="0">
                <a:pos x="connsiteX15407" y="connsiteY15407"/>
              </a:cxn>
              <a:cxn ang="0">
                <a:pos x="connsiteX15408" y="connsiteY15408"/>
              </a:cxn>
              <a:cxn ang="0">
                <a:pos x="connsiteX15409" y="connsiteY15409"/>
              </a:cxn>
              <a:cxn ang="0">
                <a:pos x="connsiteX15410" y="connsiteY15410"/>
              </a:cxn>
              <a:cxn ang="0">
                <a:pos x="connsiteX15411" y="connsiteY15411"/>
              </a:cxn>
              <a:cxn ang="0">
                <a:pos x="connsiteX15412" y="connsiteY15412"/>
              </a:cxn>
              <a:cxn ang="0">
                <a:pos x="connsiteX15413" y="connsiteY15413"/>
              </a:cxn>
              <a:cxn ang="0">
                <a:pos x="connsiteX15414" y="connsiteY15414"/>
              </a:cxn>
              <a:cxn ang="0">
                <a:pos x="connsiteX15415" y="connsiteY15415"/>
              </a:cxn>
              <a:cxn ang="0">
                <a:pos x="connsiteX15416" y="connsiteY15416"/>
              </a:cxn>
              <a:cxn ang="0">
                <a:pos x="connsiteX15417" y="connsiteY15417"/>
              </a:cxn>
              <a:cxn ang="0">
                <a:pos x="connsiteX15418" y="connsiteY15418"/>
              </a:cxn>
              <a:cxn ang="0">
                <a:pos x="connsiteX15419" y="connsiteY15419"/>
              </a:cxn>
              <a:cxn ang="0">
                <a:pos x="connsiteX15420" y="connsiteY15420"/>
              </a:cxn>
              <a:cxn ang="0">
                <a:pos x="connsiteX15421" y="connsiteY15421"/>
              </a:cxn>
              <a:cxn ang="0">
                <a:pos x="connsiteX15422" y="connsiteY15422"/>
              </a:cxn>
              <a:cxn ang="0">
                <a:pos x="connsiteX15423" y="connsiteY15423"/>
              </a:cxn>
              <a:cxn ang="0">
                <a:pos x="connsiteX15424" y="connsiteY15424"/>
              </a:cxn>
              <a:cxn ang="0">
                <a:pos x="connsiteX15425" y="connsiteY15425"/>
              </a:cxn>
              <a:cxn ang="0">
                <a:pos x="connsiteX15426" y="connsiteY15426"/>
              </a:cxn>
              <a:cxn ang="0">
                <a:pos x="connsiteX15427" y="connsiteY15427"/>
              </a:cxn>
              <a:cxn ang="0">
                <a:pos x="connsiteX15428" y="connsiteY15428"/>
              </a:cxn>
              <a:cxn ang="0">
                <a:pos x="connsiteX15429" y="connsiteY15429"/>
              </a:cxn>
              <a:cxn ang="0">
                <a:pos x="connsiteX15430" y="connsiteY15430"/>
              </a:cxn>
              <a:cxn ang="0">
                <a:pos x="connsiteX15431" y="connsiteY15431"/>
              </a:cxn>
              <a:cxn ang="0">
                <a:pos x="connsiteX15432" y="connsiteY15432"/>
              </a:cxn>
              <a:cxn ang="0">
                <a:pos x="connsiteX15433" y="connsiteY15433"/>
              </a:cxn>
              <a:cxn ang="0">
                <a:pos x="connsiteX15434" y="connsiteY15434"/>
              </a:cxn>
              <a:cxn ang="0">
                <a:pos x="connsiteX15435" y="connsiteY15435"/>
              </a:cxn>
              <a:cxn ang="0">
                <a:pos x="connsiteX15436" y="connsiteY15436"/>
              </a:cxn>
              <a:cxn ang="0">
                <a:pos x="connsiteX15437" y="connsiteY15437"/>
              </a:cxn>
              <a:cxn ang="0">
                <a:pos x="connsiteX15438" y="connsiteY15438"/>
              </a:cxn>
              <a:cxn ang="0">
                <a:pos x="connsiteX15439" y="connsiteY15439"/>
              </a:cxn>
              <a:cxn ang="0">
                <a:pos x="connsiteX15440" y="connsiteY15440"/>
              </a:cxn>
              <a:cxn ang="0">
                <a:pos x="connsiteX15441" y="connsiteY15441"/>
              </a:cxn>
              <a:cxn ang="0">
                <a:pos x="connsiteX15442" y="connsiteY15442"/>
              </a:cxn>
              <a:cxn ang="0">
                <a:pos x="connsiteX15443" y="connsiteY15443"/>
              </a:cxn>
              <a:cxn ang="0">
                <a:pos x="connsiteX15444" y="connsiteY15444"/>
              </a:cxn>
              <a:cxn ang="0">
                <a:pos x="connsiteX15445" y="connsiteY15445"/>
              </a:cxn>
              <a:cxn ang="0">
                <a:pos x="connsiteX15446" y="connsiteY15446"/>
              </a:cxn>
              <a:cxn ang="0">
                <a:pos x="connsiteX15447" y="connsiteY15447"/>
              </a:cxn>
              <a:cxn ang="0">
                <a:pos x="connsiteX15448" y="connsiteY15448"/>
              </a:cxn>
              <a:cxn ang="0">
                <a:pos x="connsiteX15449" y="connsiteY15449"/>
              </a:cxn>
              <a:cxn ang="0">
                <a:pos x="connsiteX15450" y="connsiteY15450"/>
              </a:cxn>
              <a:cxn ang="0">
                <a:pos x="connsiteX15451" y="connsiteY15451"/>
              </a:cxn>
              <a:cxn ang="0">
                <a:pos x="connsiteX15452" y="connsiteY15452"/>
              </a:cxn>
              <a:cxn ang="0">
                <a:pos x="connsiteX15453" y="connsiteY15453"/>
              </a:cxn>
              <a:cxn ang="0">
                <a:pos x="connsiteX15454" y="connsiteY15454"/>
              </a:cxn>
              <a:cxn ang="0">
                <a:pos x="connsiteX15455" y="connsiteY15455"/>
              </a:cxn>
              <a:cxn ang="0">
                <a:pos x="connsiteX15456" y="connsiteY15456"/>
              </a:cxn>
              <a:cxn ang="0">
                <a:pos x="connsiteX15457" y="connsiteY15457"/>
              </a:cxn>
              <a:cxn ang="0">
                <a:pos x="connsiteX15458" y="connsiteY15458"/>
              </a:cxn>
              <a:cxn ang="0">
                <a:pos x="connsiteX15459" y="connsiteY15459"/>
              </a:cxn>
              <a:cxn ang="0">
                <a:pos x="connsiteX15460" y="connsiteY15460"/>
              </a:cxn>
              <a:cxn ang="0">
                <a:pos x="connsiteX15461" y="connsiteY15461"/>
              </a:cxn>
              <a:cxn ang="0">
                <a:pos x="connsiteX15462" y="connsiteY15462"/>
              </a:cxn>
              <a:cxn ang="0">
                <a:pos x="connsiteX15463" y="connsiteY15463"/>
              </a:cxn>
              <a:cxn ang="0">
                <a:pos x="connsiteX15464" y="connsiteY15464"/>
              </a:cxn>
              <a:cxn ang="0">
                <a:pos x="connsiteX15465" y="connsiteY15465"/>
              </a:cxn>
              <a:cxn ang="0">
                <a:pos x="connsiteX15466" y="connsiteY15466"/>
              </a:cxn>
              <a:cxn ang="0">
                <a:pos x="connsiteX15467" y="connsiteY15467"/>
              </a:cxn>
              <a:cxn ang="0">
                <a:pos x="connsiteX15468" y="connsiteY15468"/>
              </a:cxn>
              <a:cxn ang="0">
                <a:pos x="connsiteX15469" y="connsiteY15469"/>
              </a:cxn>
              <a:cxn ang="0">
                <a:pos x="connsiteX15470" y="connsiteY15470"/>
              </a:cxn>
              <a:cxn ang="0">
                <a:pos x="connsiteX15471" y="connsiteY15471"/>
              </a:cxn>
              <a:cxn ang="0">
                <a:pos x="connsiteX15472" y="connsiteY15472"/>
              </a:cxn>
              <a:cxn ang="0">
                <a:pos x="connsiteX15473" y="connsiteY15473"/>
              </a:cxn>
              <a:cxn ang="0">
                <a:pos x="connsiteX15474" y="connsiteY15474"/>
              </a:cxn>
              <a:cxn ang="0">
                <a:pos x="connsiteX15475" y="connsiteY15475"/>
              </a:cxn>
              <a:cxn ang="0">
                <a:pos x="connsiteX15476" y="connsiteY15476"/>
              </a:cxn>
              <a:cxn ang="0">
                <a:pos x="connsiteX15477" y="connsiteY15477"/>
              </a:cxn>
              <a:cxn ang="0">
                <a:pos x="connsiteX15478" y="connsiteY15478"/>
              </a:cxn>
              <a:cxn ang="0">
                <a:pos x="connsiteX15479" y="connsiteY15479"/>
              </a:cxn>
              <a:cxn ang="0">
                <a:pos x="connsiteX15480" y="connsiteY15480"/>
              </a:cxn>
              <a:cxn ang="0">
                <a:pos x="connsiteX15481" y="connsiteY15481"/>
              </a:cxn>
              <a:cxn ang="0">
                <a:pos x="connsiteX15482" y="connsiteY15482"/>
              </a:cxn>
              <a:cxn ang="0">
                <a:pos x="connsiteX15483" y="connsiteY15483"/>
              </a:cxn>
              <a:cxn ang="0">
                <a:pos x="connsiteX15484" y="connsiteY15484"/>
              </a:cxn>
              <a:cxn ang="0">
                <a:pos x="connsiteX15485" y="connsiteY15485"/>
              </a:cxn>
              <a:cxn ang="0">
                <a:pos x="connsiteX15486" y="connsiteY15486"/>
              </a:cxn>
              <a:cxn ang="0">
                <a:pos x="connsiteX15487" y="connsiteY15487"/>
              </a:cxn>
              <a:cxn ang="0">
                <a:pos x="connsiteX15488" y="connsiteY15488"/>
              </a:cxn>
              <a:cxn ang="0">
                <a:pos x="connsiteX15489" y="connsiteY15489"/>
              </a:cxn>
              <a:cxn ang="0">
                <a:pos x="connsiteX15490" y="connsiteY15490"/>
              </a:cxn>
              <a:cxn ang="0">
                <a:pos x="connsiteX15491" y="connsiteY15491"/>
              </a:cxn>
              <a:cxn ang="0">
                <a:pos x="connsiteX15492" y="connsiteY15492"/>
              </a:cxn>
              <a:cxn ang="0">
                <a:pos x="connsiteX15493" y="connsiteY15493"/>
              </a:cxn>
              <a:cxn ang="0">
                <a:pos x="connsiteX15494" y="connsiteY15494"/>
              </a:cxn>
              <a:cxn ang="0">
                <a:pos x="connsiteX15495" y="connsiteY15495"/>
              </a:cxn>
              <a:cxn ang="0">
                <a:pos x="connsiteX15496" y="connsiteY15496"/>
              </a:cxn>
              <a:cxn ang="0">
                <a:pos x="connsiteX15497" y="connsiteY15497"/>
              </a:cxn>
              <a:cxn ang="0">
                <a:pos x="connsiteX15498" y="connsiteY15498"/>
              </a:cxn>
              <a:cxn ang="0">
                <a:pos x="connsiteX15499" y="connsiteY15499"/>
              </a:cxn>
              <a:cxn ang="0">
                <a:pos x="connsiteX15500" y="connsiteY15500"/>
              </a:cxn>
              <a:cxn ang="0">
                <a:pos x="connsiteX15501" y="connsiteY15501"/>
              </a:cxn>
              <a:cxn ang="0">
                <a:pos x="connsiteX15502" y="connsiteY15502"/>
              </a:cxn>
              <a:cxn ang="0">
                <a:pos x="connsiteX15503" y="connsiteY15503"/>
              </a:cxn>
              <a:cxn ang="0">
                <a:pos x="connsiteX15504" y="connsiteY15504"/>
              </a:cxn>
              <a:cxn ang="0">
                <a:pos x="connsiteX15505" y="connsiteY15505"/>
              </a:cxn>
              <a:cxn ang="0">
                <a:pos x="connsiteX15506" y="connsiteY15506"/>
              </a:cxn>
              <a:cxn ang="0">
                <a:pos x="connsiteX15507" y="connsiteY15507"/>
              </a:cxn>
              <a:cxn ang="0">
                <a:pos x="connsiteX15508" y="connsiteY15508"/>
              </a:cxn>
              <a:cxn ang="0">
                <a:pos x="connsiteX15509" y="connsiteY15509"/>
              </a:cxn>
              <a:cxn ang="0">
                <a:pos x="connsiteX15510" y="connsiteY15510"/>
              </a:cxn>
              <a:cxn ang="0">
                <a:pos x="connsiteX15511" y="connsiteY15511"/>
              </a:cxn>
              <a:cxn ang="0">
                <a:pos x="connsiteX15512" y="connsiteY15512"/>
              </a:cxn>
              <a:cxn ang="0">
                <a:pos x="connsiteX15513" y="connsiteY15513"/>
              </a:cxn>
              <a:cxn ang="0">
                <a:pos x="connsiteX15514" y="connsiteY15514"/>
              </a:cxn>
              <a:cxn ang="0">
                <a:pos x="connsiteX15515" y="connsiteY15515"/>
              </a:cxn>
              <a:cxn ang="0">
                <a:pos x="connsiteX15516" y="connsiteY15516"/>
              </a:cxn>
              <a:cxn ang="0">
                <a:pos x="connsiteX15517" y="connsiteY15517"/>
              </a:cxn>
              <a:cxn ang="0">
                <a:pos x="connsiteX15518" y="connsiteY15518"/>
              </a:cxn>
              <a:cxn ang="0">
                <a:pos x="connsiteX15519" y="connsiteY15519"/>
              </a:cxn>
              <a:cxn ang="0">
                <a:pos x="connsiteX15520" y="connsiteY15520"/>
              </a:cxn>
              <a:cxn ang="0">
                <a:pos x="connsiteX15521" y="connsiteY15521"/>
              </a:cxn>
              <a:cxn ang="0">
                <a:pos x="connsiteX15522" y="connsiteY15522"/>
              </a:cxn>
              <a:cxn ang="0">
                <a:pos x="connsiteX15523" y="connsiteY15523"/>
              </a:cxn>
              <a:cxn ang="0">
                <a:pos x="connsiteX15524" y="connsiteY15524"/>
              </a:cxn>
              <a:cxn ang="0">
                <a:pos x="connsiteX15525" y="connsiteY15525"/>
              </a:cxn>
              <a:cxn ang="0">
                <a:pos x="connsiteX15526" y="connsiteY15526"/>
              </a:cxn>
              <a:cxn ang="0">
                <a:pos x="connsiteX15527" y="connsiteY15527"/>
              </a:cxn>
              <a:cxn ang="0">
                <a:pos x="connsiteX15528" y="connsiteY15528"/>
              </a:cxn>
              <a:cxn ang="0">
                <a:pos x="connsiteX15529" y="connsiteY15529"/>
              </a:cxn>
              <a:cxn ang="0">
                <a:pos x="connsiteX15530" y="connsiteY15530"/>
              </a:cxn>
              <a:cxn ang="0">
                <a:pos x="connsiteX15531" y="connsiteY15531"/>
              </a:cxn>
              <a:cxn ang="0">
                <a:pos x="connsiteX15532" y="connsiteY15532"/>
              </a:cxn>
              <a:cxn ang="0">
                <a:pos x="connsiteX15533" y="connsiteY15533"/>
              </a:cxn>
              <a:cxn ang="0">
                <a:pos x="connsiteX15534" y="connsiteY15534"/>
              </a:cxn>
              <a:cxn ang="0">
                <a:pos x="connsiteX15535" y="connsiteY15535"/>
              </a:cxn>
              <a:cxn ang="0">
                <a:pos x="connsiteX15536" y="connsiteY15536"/>
              </a:cxn>
              <a:cxn ang="0">
                <a:pos x="connsiteX15537" y="connsiteY15537"/>
              </a:cxn>
              <a:cxn ang="0">
                <a:pos x="connsiteX15538" y="connsiteY15538"/>
              </a:cxn>
              <a:cxn ang="0">
                <a:pos x="connsiteX15539" y="connsiteY15539"/>
              </a:cxn>
              <a:cxn ang="0">
                <a:pos x="connsiteX15540" y="connsiteY15540"/>
              </a:cxn>
              <a:cxn ang="0">
                <a:pos x="connsiteX15541" y="connsiteY15541"/>
              </a:cxn>
              <a:cxn ang="0">
                <a:pos x="connsiteX15542" y="connsiteY15542"/>
              </a:cxn>
              <a:cxn ang="0">
                <a:pos x="connsiteX15543" y="connsiteY15543"/>
              </a:cxn>
              <a:cxn ang="0">
                <a:pos x="connsiteX15544" y="connsiteY15544"/>
              </a:cxn>
              <a:cxn ang="0">
                <a:pos x="connsiteX15545" y="connsiteY15545"/>
              </a:cxn>
              <a:cxn ang="0">
                <a:pos x="connsiteX15546" y="connsiteY15546"/>
              </a:cxn>
              <a:cxn ang="0">
                <a:pos x="connsiteX15547" y="connsiteY15547"/>
              </a:cxn>
              <a:cxn ang="0">
                <a:pos x="connsiteX15548" y="connsiteY15548"/>
              </a:cxn>
              <a:cxn ang="0">
                <a:pos x="connsiteX15549" y="connsiteY15549"/>
              </a:cxn>
              <a:cxn ang="0">
                <a:pos x="connsiteX15550" y="connsiteY15550"/>
              </a:cxn>
              <a:cxn ang="0">
                <a:pos x="connsiteX15551" y="connsiteY15551"/>
              </a:cxn>
              <a:cxn ang="0">
                <a:pos x="connsiteX15552" y="connsiteY15552"/>
              </a:cxn>
              <a:cxn ang="0">
                <a:pos x="connsiteX15553" y="connsiteY15553"/>
              </a:cxn>
              <a:cxn ang="0">
                <a:pos x="connsiteX15554" y="connsiteY15554"/>
              </a:cxn>
              <a:cxn ang="0">
                <a:pos x="connsiteX15555" y="connsiteY15555"/>
              </a:cxn>
              <a:cxn ang="0">
                <a:pos x="connsiteX15556" y="connsiteY15556"/>
              </a:cxn>
              <a:cxn ang="0">
                <a:pos x="connsiteX15557" y="connsiteY15557"/>
              </a:cxn>
              <a:cxn ang="0">
                <a:pos x="connsiteX15558" y="connsiteY15558"/>
              </a:cxn>
              <a:cxn ang="0">
                <a:pos x="connsiteX15559" y="connsiteY15559"/>
              </a:cxn>
              <a:cxn ang="0">
                <a:pos x="connsiteX15560" y="connsiteY15560"/>
              </a:cxn>
              <a:cxn ang="0">
                <a:pos x="connsiteX15561" y="connsiteY15561"/>
              </a:cxn>
              <a:cxn ang="0">
                <a:pos x="connsiteX15562" y="connsiteY15562"/>
              </a:cxn>
              <a:cxn ang="0">
                <a:pos x="connsiteX15563" y="connsiteY15563"/>
              </a:cxn>
              <a:cxn ang="0">
                <a:pos x="connsiteX15564" y="connsiteY15564"/>
              </a:cxn>
              <a:cxn ang="0">
                <a:pos x="connsiteX15565" y="connsiteY15565"/>
              </a:cxn>
              <a:cxn ang="0">
                <a:pos x="connsiteX15566" y="connsiteY15566"/>
              </a:cxn>
              <a:cxn ang="0">
                <a:pos x="connsiteX15567" y="connsiteY15567"/>
              </a:cxn>
              <a:cxn ang="0">
                <a:pos x="connsiteX15568" y="connsiteY15568"/>
              </a:cxn>
              <a:cxn ang="0">
                <a:pos x="connsiteX15569" y="connsiteY15569"/>
              </a:cxn>
              <a:cxn ang="0">
                <a:pos x="connsiteX15570" y="connsiteY15570"/>
              </a:cxn>
              <a:cxn ang="0">
                <a:pos x="connsiteX15571" y="connsiteY15571"/>
              </a:cxn>
              <a:cxn ang="0">
                <a:pos x="connsiteX15572" y="connsiteY15572"/>
              </a:cxn>
              <a:cxn ang="0">
                <a:pos x="connsiteX15573" y="connsiteY15573"/>
              </a:cxn>
              <a:cxn ang="0">
                <a:pos x="connsiteX15574" y="connsiteY15574"/>
              </a:cxn>
              <a:cxn ang="0">
                <a:pos x="connsiteX15575" y="connsiteY15575"/>
              </a:cxn>
              <a:cxn ang="0">
                <a:pos x="connsiteX15576" y="connsiteY15576"/>
              </a:cxn>
              <a:cxn ang="0">
                <a:pos x="connsiteX15577" y="connsiteY15577"/>
              </a:cxn>
              <a:cxn ang="0">
                <a:pos x="connsiteX15578" y="connsiteY15578"/>
              </a:cxn>
              <a:cxn ang="0">
                <a:pos x="connsiteX15579" y="connsiteY15579"/>
              </a:cxn>
              <a:cxn ang="0">
                <a:pos x="connsiteX15580" y="connsiteY15580"/>
              </a:cxn>
              <a:cxn ang="0">
                <a:pos x="connsiteX15581" y="connsiteY15581"/>
              </a:cxn>
              <a:cxn ang="0">
                <a:pos x="connsiteX15582" y="connsiteY15582"/>
              </a:cxn>
              <a:cxn ang="0">
                <a:pos x="connsiteX15583" y="connsiteY15583"/>
              </a:cxn>
              <a:cxn ang="0">
                <a:pos x="connsiteX15584" y="connsiteY15584"/>
              </a:cxn>
              <a:cxn ang="0">
                <a:pos x="connsiteX15585" y="connsiteY15585"/>
              </a:cxn>
              <a:cxn ang="0">
                <a:pos x="connsiteX15586" y="connsiteY15586"/>
              </a:cxn>
              <a:cxn ang="0">
                <a:pos x="connsiteX15587" y="connsiteY15587"/>
              </a:cxn>
              <a:cxn ang="0">
                <a:pos x="connsiteX15588" y="connsiteY15588"/>
              </a:cxn>
              <a:cxn ang="0">
                <a:pos x="connsiteX15589" y="connsiteY15589"/>
              </a:cxn>
              <a:cxn ang="0">
                <a:pos x="connsiteX15590" y="connsiteY15590"/>
              </a:cxn>
              <a:cxn ang="0">
                <a:pos x="connsiteX15591" y="connsiteY15591"/>
              </a:cxn>
              <a:cxn ang="0">
                <a:pos x="connsiteX15592" y="connsiteY15592"/>
              </a:cxn>
              <a:cxn ang="0">
                <a:pos x="connsiteX15593" y="connsiteY15593"/>
              </a:cxn>
              <a:cxn ang="0">
                <a:pos x="connsiteX15594" y="connsiteY15594"/>
              </a:cxn>
              <a:cxn ang="0">
                <a:pos x="connsiteX15595" y="connsiteY15595"/>
              </a:cxn>
              <a:cxn ang="0">
                <a:pos x="connsiteX15596" y="connsiteY15596"/>
              </a:cxn>
              <a:cxn ang="0">
                <a:pos x="connsiteX15597" y="connsiteY15597"/>
              </a:cxn>
              <a:cxn ang="0">
                <a:pos x="connsiteX15598" y="connsiteY15598"/>
              </a:cxn>
              <a:cxn ang="0">
                <a:pos x="connsiteX15599" y="connsiteY15599"/>
              </a:cxn>
              <a:cxn ang="0">
                <a:pos x="connsiteX15600" y="connsiteY15600"/>
              </a:cxn>
              <a:cxn ang="0">
                <a:pos x="connsiteX15601" y="connsiteY15601"/>
              </a:cxn>
              <a:cxn ang="0">
                <a:pos x="connsiteX15602" y="connsiteY15602"/>
              </a:cxn>
              <a:cxn ang="0">
                <a:pos x="connsiteX15603" y="connsiteY15603"/>
              </a:cxn>
              <a:cxn ang="0">
                <a:pos x="connsiteX15604" y="connsiteY15604"/>
              </a:cxn>
              <a:cxn ang="0">
                <a:pos x="connsiteX15605" y="connsiteY15605"/>
              </a:cxn>
              <a:cxn ang="0">
                <a:pos x="connsiteX15606" y="connsiteY15606"/>
              </a:cxn>
              <a:cxn ang="0">
                <a:pos x="connsiteX15607" y="connsiteY15607"/>
              </a:cxn>
              <a:cxn ang="0">
                <a:pos x="connsiteX15608" y="connsiteY15608"/>
              </a:cxn>
              <a:cxn ang="0">
                <a:pos x="connsiteX15609" y="connsiteY15609"/>
              </a:cxn>
              <a:cxn ang="0">
                <a:pos x="connsiteX15610" y="connsiteY15610"/>
              </a:cxn>
              <a:cxn ang="0">
                <a:pos x="connsiteX15611" y="connsiteY15611"/>
              </a:cxn>
              <a:cxn ang="0">
                <a:pos x="connsiteX15612" y="connsiteY15612"/>
              </a:cxn>
              <a:cxn ang="0">
                <a:pos x="connsiteX15613" y="connsiteY15613"/>
              </a:cxn>
              <a:cxn ang="0">
                <a:pos x="connsiteX15614" y="connsiteY15614"/>
              </a:cxn>
              <a:cxn ang="0">
                <a:pos x="connsiteX15615" y="connsiteY15615"/>
              </a:cxn>
              <a:cxn ang="0">
                <a:pos x="connsiteX15616" y="connsiteY15616"/>
              </a:cxn>
              <a:cxn ang="0">
                <a:pos x="connsiteX15617" y="connsiteY15617"/>
              </a:cxn>
              <a:cxn ang="0">
                <a:pos x="connsiteX15618" y="connsiteY15618"/>
              </a:cxn>
              <a:cxn ang="0">
                <a:pos x="connsiteX15619" y="connsiteY15619"/>
              </a:cxn>
              <a:cxn ang="0">
                <a:pos x="connsiteX15620" y="connsiteY15620"/>
              </a:cxn>
              <a:cxn ang="0">
                <a:pos x="connsiteX15621" y="connsiteY15621"/>
              </a:cxn>
              <a:cxn ang="0">
                <a:pos x="connsiteX15622" y="connsiteY15622"/>
              </a:cxn>
              <a:cxn ang="0">
                <a:pos x="connsiteX15623" y="connsiteY15623"/>
              </a:cxn>
              <a:cxn ang="0">
                <a:pos x="connsiteX15624" y="connsiteY15624"/>
              </a:cxn>
              <a:cxn ang="0">
                <a:pos x="connsiteX15625" y="connsiteY15625"/>
              </a:cxn>
              <a:cxn ang="0">
                <a:pos x="connsiteX15626" y="connsiteY15626"/>
              </a:cxn>
              <a:cxn ang="0">
                <a:pos x="connsiteX15627" y="connsiteY15627"/>
              </a:cxn>
              <a:cxn ang="0">
                <a:pos x="connsiteX15628" y="connsiteY15628"/>
              </a:cxn>
              <a:cxn ang="0">
                <a:pos x="connsiteX15629" y="connsiteY15629"/>
              </a:cxn>
              <a:cxn ang="0">
                <a:pos x="connsiteX15630" y="connsiteY15630"/>
              </a:cxn>
              <a:cxn ang="0">
                <a:pos x="connsiteX15631" y="connsiteY15631"/>
              </a:cxn>
              <a:cxn ang="0">
                <a:pos x="connsiteX15632" y="connsiteY15632"/>
              </a:cxn>
              <a:cxn ang="0">
                <a:pos x="connsiteX15633" y="connsiteY15633"/>
              </a:cxn>
              <a:cxn ang="0">
                <a:pos x="connsiteX15634" y="connsiteY15634"/>
              </a:cxn>
              <a:cxn ang="0">
                <a:pos x="connsiteX15635" y="connsiteY15635"/>
              </a:cxn>
              <a:cxn ang="0">
                <a:pos x="connsiteX15636" y="connsiteY15636"/>
              </a:cxn>
              <a:cxn ang="0">
                <a:pos x="connsiteX15637" y="connsiteY15637"/>
              </a:cxn>
              <a:cxn ang="0">
                <a:pos x="connsiteX15638" y="connsiteY15638"/>
              </a:cxn>
              <a:cxn ang="0">
                <a:pos x="connsiteX15639" y="connsiteY15639"/>
              </a:cxn>
              <a:cxn ang="0">
                <a:pos x="connsiteX15640" y="connsiteY15640"/>
              </a:cxn>
              <a:cxn ang="0">
                <a:pos x="connsiteX15641" y="connsiteY15641"/>
              </a:cxn>
              <a:cxn ang="0">
                <a:pos x="connsiteX15642" y="connsiteY15642"/>
              </a:cxn>
              <a:cxn ang="0">
                <a:pos x="connsiteX15643" y="connsiteY15643"/>
              </a:cxn>
              <a:cxn ang="0">
                <a:pos x="connsiteX15644" y="connsiteY15644"/>
              </a:cxn>
              <a:cxn ang="0">
                <a:pos x="connsiteX15645" y="connsiteY15645"/>
              </a:cxn>
              <a:cxn ang="0">
                <a:pos x="connsiteX15646" y="connsiteY15646"/>
              </a:cxn>
              <a:cxn ang="0">
                <a:pos x="connsiteX15647" y="connsiteY15647"/>
              </a:cxn>
              <a:cxn ang="0">
                <a:pos x="connsiteX15648" y="connsiteY15648"/>
              </a:cxn>
              <a:cxn ang="0">
                <a:pos x="connsiteX15649" y="connsiteY15649"/>
              </a:cxn>
              <a:cxn ang="0">
                <a:pos x="connsiteX15650" y="connsiteY15650"/>
              </a:cxn>
              <a:cxn ang="0">
                <a:pos x="connsiteX15651" y="connsiteY15651"/>
              </a:cxn>
              <a:cxn ang="0">
                <a:pos x="connsiteX15652" y="connsiteY15652"/>
              </a:cxn>
              <a:cxn ang="0">
                <a:pos x="connsiteX15653" y="connsiteY15653"/>
              </a:cxn>
              <a:cxn ang="0">
                <a:pos x="connsiteX15654" y="connsiteY15654"/>
              </a:cxn>
              <a:cxn ang="0">
                <a:pos x="connsiteX15655" y="connsiteY15655"/>
              </a:cxn>
              <a:cxn ang="0">
                <a:pos x="connsiteX15656" y="connsiteY15656"/>
              </a:cxn>
              <a:cxn ang="0">
                <a:pos x="connsiteX15657" y="connsiteY15657"/>
              </a:cxn>
              <a:cxn ang="0">
                <a:pos x="connsiteX15658" y="connsiteY15658"/>
              </a:cxn>
              <a:cxn ang="0">
                <a:pos x="connsiteX15659" y="connsiteY15659"/>
              </a:cxn>
              <a:cxn ang="0">
                <a:pos x="connsiteX15660" y="connsiteY15660"/>
              </a:cxn>
              <a:cxn ang="0">
                <a:pos x="connsiteX15661" y="connsiteY15661"/>
              </a:cxn>
              <a:cxn ang="0">
                <a:pos x="connsiteX15662" y="connsiteY15662"/>
              </a:cxn>
              <a:cxn ang="0">
                <a:pos x="connsiteX15663" y="connsiteY15663"/>
              </a:cxn>
              <a:cxn ang="0">
                <a:pos x="connsiteX15664" y="connsiteY15664"/>
              </a:cxn>
              <a:cxn ang="0">
                <a:pos x="connsiteX15665" y="connsiteY15665"/>
              </a:cxn>
              <a:cxn ang="0">
                <a:pos x="connsiteX15666" y="connsiteY15666"/>
              </a:cxn>
              <a:cxn ang="0">
                <a:pos x="connsiteX15667" y="connsiteY15667"/>
              </a:cxn>
              <a:cxn ang="0">
                <a:pos x="connsiteX15668" y="connsiteY15668"/>
              </a:cxn>
              <a:cxn ang="0">
                <a:pos x="connsiteX15669" y="connsiteY15669"/>
              </a:cxn>
              <a:cxn ang="0">
                <a:pos x="connsiteX15670" y="connsiteY15670"/>
              </a:cxn>
              <a:cxn ang="0">
                <a:pos x="connsiteX15671" y="connsiteY15671"/>
              </a:cxn>
              <a:cxn ang="0">
                <a:pos x="connsiteX15672" y="connsiteY15672"/>
              </a:cxn>
              <a:cxn ang="0">
                <a:pos x="connsiteX15673" y="connsiteY15673"/>
              </a:cxn>
              <a:cxn ang="0">
                <a:pos x="connsiteX15674" y="connsiteY15674"/>
              </a:cxn>
              <a:cxn ang="0">
                <a:pos x="connsiteX15675" y="connsiteY15675"/>
              </a:cxn>
              <a:cxn ang="0">
                <a:pos x="connsiteX15676" y="connsiteY15676"/>
              </a:cxn>
              <a:cxn ang="0">
                <a:pos x="connsiteX15677" y="connsiteY15677"/>
              </a:cxn>
              <a:cxn ang="0">
                <a:pos x="connsiteX15678" y="connsiteY15678"/>
              </a:cxn>
              <a:cxn ang="0">
                <a:pos x="connsiteX15679" y="connsiteY15679"/>
              </a:cxn>
              <a:cxn ang="0">
                <a:pos x="connsiteX15680" y="connsiteY15680"/>
              </a:cxn>
              <a:cxn ang="0">
                <a:pos x="connsiteX15681" y="connsiteY15681"/>
              </a:cxn>
              <a:cxn ang="0">
                <a:pos x="connsiteX15682" y="connsiteY15682"/>
              </a:cxn>
              <a:cxn ang="0">
                <a:pos x="connsiteX15683" y="connsiteY15683"/>
              </a:cxn>
              <a:cxn ang="0">
                <a:pos x="connsiteX15684" y="connsiteY15684"/>
              </a:cxn>
              <a:cxn ang="0">
                <a:pos x="connsiteX15685" y="connsiteY15685"/>
              </a:cxn>
              <a:cxn ang="0">
                <a:pos x="connsiteX15686" y="connsiteY15686"/>
              </a:cxn>
              <a:cxn ang="0">
                <a:pos x="connsiteX15687" y="connsiteY15687"/>
              </a:cxn>
              <a:cxn ang="0">
                <a:pos x="connsiteX15688" y="connsiteY15688"/>
              </a:cxn>
              <a:cxn ang="0">
                <a:pos x="connsiteX15689" y="connsiteY15689"/>
              </a:cxn>
              <a:cxn ang="0">
                <a:pos x="connsiteX15690" y="connsiteY15690"/>
              </a:cxn>
              <a:cxn ang="0">
                <a:pos x="connsiteX15691" y="connsiteY15691"/>
              </a:cxn>
              <a:cxn ang="0">
                <a:pos x="connsiteX15692" y="connsiteY15692"/>
              </a:cxn>
              <a:cxn ang="0">
                <a:pos x="connsiteX15693" y="connsiteY15693"/>
              </a:cxn>
              <a:cxn ang="0">
                <a:pos x="connsiteX15694" y="connsiteY15694"/>
              </a:cxn>
              <a:cxn ang="0">
                <a:pos x="connsiteX15695" y="connsiteY15695"/>
              </a:cxn>
              <a:cxn ang="0">
                <a:pos x="connsiteX15696" y="connsiteY15696"/>
              </a:cxn>
              <a:cxn ang="0">
                <a:pos x="connsiteX15697" y="connsiteY15697"/>
              </a:cxn>
              <a:cxn ang="0">
                <a:pos x="connsiteX15698" y="connsiteY15698"/>
              </a:cxn>
              <a:cxn ang="0">
                <a:pos x="connsiteX15699" y="connsiteY15699"/>
              </a:cxn>
              <a:cxn ang="0">
                <a:pos x="connsiteX15700" y="connsiteY15700"/>
              </a:cxn>
              <a:cxn ang="0">
                <a:pos x="connsiteX15701" y="connsiteY15701"/>
              </a:cxn>
              <a:cxn ang="0">
                <a:pos x="connsiteX15702" y="connsiteY15702"/>
              </a:cxn>
              <a:cxn ang="0">
                <a:pos x="connsiteX15703" y="connsiteY15703"/>
              </a:cxn>
              <a:cxn ang="0">
                <a:pos x="connsiteX15704" y="connsiteY15704"/>
              </a:cxn>
              <a:cxn ang="0">
                <a:pos x="connsiteX15705" y="connsiteY15705"/>
              </a:cxn>
              <a:cxn ang="0">
                <a:pos x="connsiteX15706" y="connsiteY15706"/>
              </a:cxn>
              <a:cxn ang="0">
                <a:pos x="connsiteX15707" y="connsiteY15707"/>
              </a:cxn>
              <a:cxn ang="0">
                <a:pos x="connsiteX15708" y="connsiteY15708"/>
              </a:cxn>
              <a:cxn ang="0">
                <a:pos x="connsiteX15709" y="connsiteY15709"/>
              </a:cxn>
              <a:cxn ang="0">
                <a:pos x="connsiteX15710" y="connsiteY15710"/>
              </a:cxn>
              <a:cxn ang="0">
                <a:pos x="connsiteX15711" y="connsiteY15711"/>
              </a:cxn>
              <a:cxn ang="0">
                <a:pos x="connsiteX15712" y="connsiteY15712"/>
              </a:cxn>
              <a:cxn ang="0">
                <a:pos x="connsiteX15713" y="connsiteY15713"/>
              </a:cxn>
              <a:cxn ang="0">
                <a:pos x="connsiteX15714" y="connsiteY15714"/>
              </a:cxn>
              <a:cxn ang="0">
                <a:pos x="connsiteX15715" y="connsiteY15715"/>
              </a:cxn>
              <a:cxn ang="0">
                <a:pos x="connsiteX15716" y="connsiteY15716"/>
              </a:cxn>
              <a:cxn ang="0">
                <a:pos x="connsiteX15717" y="connsiteY15717"/>
              </a:cxn>
              <a:cxn ang="0">
                <a:pos x="connsiteX15718" y="connsiteY15718"/>
              </a:cxn>
              <a:cxn ang="0">
                <a:pos x="connsiteX15719" y="connsiteY15719"/>
              </a:cxn>
              <a:cxn ang="0">
                <a:pos x="connsiteX15720" y="connsiteY15720"/>
              </a:cxn>
              <a:cxn ang="0">
                <a:pos x="connsiteX15721" y="connsiteY15721"/>
              </a:cxn>
              <a:cxn ang="0">
                <a:pos x="connsiteX15722" y="connsiteY15722"/>
              </a:cxn>
              <a:cxn ang="0">
                <a:pos x="connsiteX15723" y="connsiteY15723"/>
              </a:cxn>
              <a:cxn ang="0">
                <a:pos x="connsiteX15724" y="connsiteY15724"/>
              </a:cxn>
              <a:cxn ang="0">
                <a:pos x="connsiteX15725" y="connsiteY15725"/>
              </a:cxn>
              <a:cxn ang="0">
                <a:pos x="connsiteX15726" y="connsiteY15726"/>
              </a:cxn>
              <a:cxn ang="0">
                <a:pos x="connsiteX15727" y="connsiteY15727"/>
              </a:cxn>
              <a:cxn ang="0">
                <a:pos x="connsiteX15728" y="connsiteY15728"/>
              </a:cxn>
              <a:cxn ang="0">
                <a:pos x="connsiteX15729" y="connsiteY15729"/>
              </a:cxn>
              <a:cxn ang="0">
                <a:pos x="connsiteX15730" y="connsiteY15730"/>
              </a:cxn>
              <a:cxn ang="0">
                <a:pos x="connsiteX15731" y="connsiteY15731"/>
              </a:cxn>
              <a:cxn ang="0">
                <a:pos x="connsiteX15732" y="connsiteY15732"/>
              </a:cxn>
              <a:cxn ang="0">
                <a:pos x="connsiteX15733" y="connsiteY15733"/>
              </a:cxn>
              <a:cxn ang="0">
                <a:pos x="connsiteX15734" y="connsiteY15734"/>
              </a:cxn>
              <a:cxn ang="0">
                <a:pos x="connsiteX15735" y="connsiteY15735"/>
              </a:cxn>
              <a:cxn ang="0">
                <a:pos x="connsiteX15736" y="connsiteY15736"/>
              </a:cxn>
              <a:cxn ang="0">
                <a:pos x="connsiteX15737" y="connsiteY15737"/>
              </a:cxn>
              <a:cxn ang="0">
                <a:pos x="connsiteX15738" y="connsiteY15738"/>
              </a:cxn>
              <a:cxn ang="0">
                <a:pos x="connsiteX15739" y="connsiteY15739"/>
              </a:cxn>
              <a:cxn ang="0">
                <a:pos x="connsiteX15740" y="connsiteY15740"/>
              </a:cxn>
              <a:cxn ang="0">
                <a:pos x="connsiteX15741" y="connsiteY15741"/>
              </a:cxn>
              <a:cxn ang="0">
                <a:pos x="connsiteX15742" y="connsiteY15742"/>
              </a:cxn>
              <a:cxn ang="0">
                <a:pos x="connsiteX15743" y="connsiteY15743"/>
              </a:cxn>
              <a:cxn ang="0">
                <a:pos x="connsiteX15744" y="connsiteY15744"/>
              </a:cxn>
              <a:cxn ang="0">
                <a:pos x="connsiteX15745" y="connsiteY15745"/>
              </a:cxn>
              <a:cxn ang="0">
                <a:pos x="connsiteX15746" y="connsiteY15746"/>
              </a:cxn>
              <a:cxn ang="0">
                <a:pos x="connsiteX15747" y="connsiteY15747"/>
              </a:cxn>
              <a:cxn ang="0">
                <a:pos x="connsiteX15748" y="connsiteY15748"/>
              </a:cxn>
              <a:cxn ang="0">
                <a:pos x="connsiteX15749" y="connsiteY15749"/>
              </a:cxn>
              <a:cxn ang="0">
                <a:pos x="connsiteX15750" y="connsiteY15750"/>
              </a:cxn>
              <a:cxn ang="0">
                <a:pos x="connsiteX15751" y="connsiteY15751"/>
              </a:cxn>
              <a:cxn ang="0">
                <a:pos x="connsiteX15752" y="connsiteY15752"/>
              </a:cxn>
              <a:cxn ang="0">
                <a:pos x="connsiteX15753" y="connsiteY15753"/>
              </a:cxn>
              <a:cxn ang="0">
                <a:pos x="connsiteX15754" y="connsiteY15754"/>
              </a:cxn>
              <a:cxn ang="0">
                <a:pos x="connsiteX15755" y="connsiteY15755"/>
              </a:cxn>
              <a:cxn ang="0">
                <a:pos x="connsiteX15756" y="connsiteY15756"/>
              </a:cxn>
              <a:cxn ang="0">
                <a:pos x="connsiteX15757" y="connsiteY15757"/>
              </a:cxn>
              <a:cxn ang="0">
                <a:pos x="connsiteX15758" y="connsiteY15758"/>
              </a:cxn>
              <a:cxn ang="0">
                <a:pos x="connsiteX15759" y="connsiteY15759"/>
              </a:cxn>
              <a:cxn ang="0">
                <a:pos x="connsiteX15760" y="connsiteY15760"/>
              </a:cxn>
              <a:cxn ang="0">
                <a:pos x="connsiteX15761" y="connsiteY15761"/>
              </a:cxn>
              <a:cxn ang="0">
                <a:pos x="connsiteX15762" y="connsiteY15762"/>
              </a:cxn>
              <a:cxn ang="0">
                <a:pos x="connsiteX15763" y="connsiteY15763"/>
              </a:cxn>
              <a:cxn ang="0">
                <a:pos x="connsiteX15764" y="connsiteY15764"/>
              </a:cxn>
              <a:cxn ang="0">
                <a:pos x="connsiteX15765" y="connsiteY15765"/>
              </a:cxn>
              <a:cxn ang="0">
                <a:pos x="connsiteX15766" y="connsiteY15766"/>
              </a:cxn>
              <a:cxn ang="0">
                <a:pos x="connsiteX15767" y="connsiteY15767"/>
              </a:cxn>
              <a:cxn ang="0">
                <a:pos x="connsiteX15768" y="connsiteY15768"/>
              </a:cxn>
              <a:cxn ang="0">
                <a:pos x="connsiteX15769" y="connsiteY15769"/>
              </a:cxn>
              <a:cxn ang="0">
                <a:pos x="connsiteX15770" y="connsiteY15770"/>
              </a:cxn>
              <a:cxn ang="0">
                <a:pos x="connsiteX15771" y="connsiteY15771"/>
              </a:cxn>
              <a:cxn ang="0">
                <a:pos x="connsiteX15772" y="connsiteY15772"/>
              </a:cxn>
              <a:cxn ang="0">
                <a:pos x="connsiteX15773" y="connsiteY15773"/>
              </a:cxn>
              <a:cxn ang="0">
                <a:pos x="connsiteX15774" y="connsiteY15774"/>
              </a:cxn>
              <a:cxn ang="0">
                <a:pos x="connsiteX15775" y="connsiteY15775"/>
              </a:cxn>
              <a:cxn ang="0">
                <a:pos x="connsiteX15776" y="connsiteY15776"/>
              </a:cxn>
              <a:cxn ang="0">
                <a:pos x="connsiteX15777" y="connsiteY15777"/>
              </a:cxn>
              <a:cxn ang="0">
                <a:pos x="connsiteX15778" y="connsiteY15778"/>
              </a:cxn>
              <a:cxn ang="0">
                <a:pos x="connsiteX15779" y="connsiteY15779"/>
              </a:cxn>
              <a:cxn ang="0">
                <a:pos x="connsiteX15780" y="connsiteY15780"/>
              </a:cxn>
              <a:cxn ang="0">
                <a:pos x="connsiteX15781" y="connsiteY15781"/>
              </a:cxn>
              <a:cxn ang="0">
                <a:pos x="connsiteX15782" y="connsiteY15782"/>
              </a:cxn>
              <a:cxn ang="0">
                <a:pos x="connsiteX15783" y="connsiteY15783"/>
              </a:cxn>
              <a:cxn ang="0">
                <a:pos x="connsiteX15784" y="connsiteY15784"/>
              </a:cxn>
              <a:cxn ang="0">
                <a:pos x="connsiteX15785" y="connsiteY15785"/>
              </a:cxn>
              <a:cxn ang="0">
                <a:pos x="connsiteX15786" y="connsiteY15786"/>
              </a:cxn>
              <a:cxn ang="0">
                <a:pos x="connsiteX15787" y="connsiteY15787"/>
              </a:cxn>
              <a:cxn ang="0">
                <a:pos x="connsiteX15788" y="connsiteY15788"/>
              </a:cxn>
              <a:cxn ang="0">
                <a:pos x="connsiteX15789" y="connsiteY15789"/>
              </a:cxn>
              <a:cxn ang="0">
                <a:pos x="connsiteX15790" y="connsiteY15790"/>
              </a:cxn>
              <a:cxn ang="0">
                <a:pos x="connsiteX15791" y="connsiteY15791"/>
              </a:cxn>
              <a:cxn ang="0">
                <a:pos x="connsiteX15792" y="connsiteY15792"/>
              </a:cxn>
              <a:cxn ang="0">
                <a:pos x="connsiteX15793" y="connsiteY15793"/>
              </a:cxn>
              <a:cxn ang="0">
                <a:pos x="connsiteX15794" y="connsiteY15794"/>
              </a:cxn>
              <a:cxn ang="0">
                <a:pos x="connsiteX15795" y="connsiteY15795"/>
              </a:cxn>
              <a:cxn ang="0">
                <a:pos x="connsiteX15796" y="connsiteY15796"/>
              </a:cxn>
              <a:cxn ang="0">
                <a:pos x="connsiteX15797" y="connsiteY15797"/>
              </a:cxn>
              <a:cxn ang="0">
                <a:pos x="connsiteX15798" y="connsiteY15798"/>
              </a:cxn>
              <a:cxn ang="0">
                <a:pos x="connsiteX15799" y="connsiteY15799"/>
              </a:cxn>
              <a:cxn ang="0">
                <a:pos x="connsiteX15800" y="connsiteY15800"/>
              </a:cxn>
              <a:cxn ang="0">
                <a:pos x="connsiteX15801" y="connsiteY15801"/>
              </a:cxn>
              <a:cxn ang="0">
                <a:pos x="connsiteX15802" y="connsiteY15802"/>
              </a:cxn>
              <a:cxn ang="0">
                <a:pos x="connsiteX15803" y="connsiteY15803"/>
              </a:cxn>
              <a:cxn ang="0">
                <a:pos x="connsiteX15804" y="connsiteY15804"/>
              </a:cxn>
              <a:cxn ang="0">
                <a:pos x="connsiteX15805" y="connsiteY15805"/>
              </a:cxn>
              <a:cxn ang="0">
                <a:pos x="connsiteX15806" y="connsiteY15806"/>
              </a:cxn>
              <a:cxn ang="0">
                <a:pos x="connsiteX15807" y="connsiteY15807"/>
              </a:cxn>
              <a:cxn ang="0">
                <a:pos x="connsiteX15808" y="connsiteY15808"/>
              </a:cxn>
              <a:cxn ang="0">
                <a:pos x="connsiteX15809" y="connsiteY15809"/>
              </a:cxn>
              <a:cxn ang="0">
                <a:pos x="connsiteX15810" y="connsiteY15810"/>
              </a:cxn>
              <a:cxn ang="0">
                <a:pos x="connsiteX15811" y="connsiteY15811"/>
              </a:cxn>
              <a:cxn ang="0">
                <a:pos x="connsiteX15812" y="connsiteY15812"/>
              </a:cxn>
              <a:cxn ang="0">
                <a:pos x="connsiteX15813" y="connsiteY15813"/>
              </a:cxn>
              <a:cxn ang="0">
                <a:pos x="connsiteX15814" y="connsiteY15814"/>
              </a:cxn>
              <a:cxn ang="0">
                <a:pos x="connsiteX15815" y="connsiteY15815"/>
              </a:cxn>
              <a:cxn ang="0">
                <a:pos x="connsiteX15816" y="connsiteY15816"/>
              </a:cxn>
              <a:cxn ang="0">
                <a:pos x="connsiteX15817" y="connsiteY15817"/>
              </a:cxn>
              <a:cxn ang="0">
                <a:pos x="connsiteX15818" y="connsiteY15818"/>
              </a:cxn>
              <a:cxn ang="0">
                <a:pos x="connsiteX15819" y="connsiteY15819"/>
              </a:cxn>
              <a:cxn ang="0">
                <a:pos x="connsiteX15820" y="connsiteY15820"/>
              </a:cxn>
              <a:cxn ang="0">
                <a:pos x="connsiteX15821" y="connsiteY15821"/>
              </a:cxn>
              <a:cxn ang="0">
                <a:pos x="connsiteX15822" y="connsiteY15822"/>
              </a:cxn>
              <a:cxn ang="0">
                <a:pos x="connsiteX15823" y="connsiteY15823"/>
              </a:cxn>
              <a:cxn ang="0">
                <a:pos x="connsiteX15824" y="connsiteY15824"/>
              </a:cxn>
              <a:cxn ang="0">
                <a:pos x="connsiteX15825" y="connsiteY15825"/>
              </a:cxn>
              <a:cxn ang="0">
                <a:pos x="connsiteX15826" y="connsiteY15826"/>
              </a:cxn>
              <a:cxn ang="0">
                <a:pos x="connsiteX15827" y="connsiteY15827"/>
              </a:cxn>
              <a:cxn ang="0">
                <a:pos x="connsiteX15828" y="connsiteY15828"/>
              </a:cxn>
              <a:cxn ang="0">
                <a:pos x="connsiteX15829" y="connsiteY15829"/>
              </a:cxn>
              <a:cxn ang="0">
                <a:pos x="connsiteX15830" y="connsiteY15830"/>
              </a:cxn>
              <a:cxn ang="0">
                <a:pos x="connsiteX15831" y="connsiteY15831"/>
              </a:cxn>
              <a:cxn ang="0">
                <a:pos x="connsiteX15832" y="connsiteY15832"/>
              </a:cxn>
              <a:cxn ang="0">
                <a:pos x="connsiteX15833" y="connsiteY15833"/>
              </a:cxn>
              <a:cxn ang="0">
                <a:pos x="connsiteX15834" y="connsiteY15834"/>
              </a:cxn>
              <a:cxn ang="0">
                <a:pos x="connsiteX15835" y="connsiteY15835"/>
              </a:cxn>
              <a:cxn ang="0">
                <a:pos x="connsiteX15836" y="connsiteY15836"/>
              </a:cxn>
              <a:cxn ang="0">
                <a:pos x="connsiteX15837" y="connsiteY15837"/>
              </a:cxn>
              <a:cxn ang="0">
                <a:pos x="connsiteX15838" y="connsiteY15838"/>
              </a:cxn>
              <a:cxn ang="0">
                <a:pos x="connsiteX15839" y="connsiteY15839"/>
              </a:cxn>
              <a:cxn ang="0">
                <a:pos x="connsiteX15840" y="connsiteY15840"/>
              </a:cxn>
              <a:cxn ang="0">
                <a:pos x="connsiteX15841" y="connsiteY15841"/>
              </a:cxn>
              <a:cxn ang="0">
                <a:pos x="connsiteX15842" y="connsiteY15842"/>
              </a:cxn>
              <a:cxn ang="0">
                <a:pos x="connsiteX15843" y="connsiteY15843"/>
              </a:cxn>
              <a:cxn ang="0">
                <a:pos x="connsiteX15844" y="connsiteY15844"/>
              </a:cxn>
              <a:cxn ang="0">
                <a:pos x="connsiteX15845" y="connsiteY15845"/>
              </a:cxn>
              <a:cxn ang="0">
                <a:pos x="connsiteX15846" y="connsiteY15846"/>
              </a:cxn>
              <a:cxn ang="0">
                <a:pos x="connsiteX15847" y="connsiteY15847"/>
              </a:cxn>
              <a:cxn ang="0">
                <a:pos x="connsiteX15848" y="connsiteY15848"/>
              </a:cxn>
              <a:cxn ang="0">
                <a:pos x="connsiteX15849" y="connsiteY15849"/>
              </a:cxn>
              <a:cxn ang="0">
                <a:pos x="connsiteX15850" y="connsiteY15850"/>
              </a:cxn>
              <a:cxn ang="0">
                <a:pos x="connsiteX15851" y="connsiteY15851"/>
              </a:cxn>
              <a:cxn ang="0">
                <a:pos x="connsiteX15852" y="connsiteY15852"/>
              </a:cxn>
              <a:cxn ang="0">
                <a:pos x="connsiteX15853" y="connsiteY15853"/>
              </a:cxn>
              <a:cxn ang="0">
                <a:pos x="connsiteX15854" y="connsiteY15854"/>
              </a:cxn>
              <a:cxn ang="0">
                <a:pos x="connsiteX15855" y="connsiteY15855"/>
              </a:cxn>
              <a:cxn ang="0">
                <a:pos x="connsiteX15856" y="connsiteY15856"/>
              </a:cxn>
              <a:cxn ang="0">
                <a:pos x="connsiteX15857" y="connsiteY15857"/>
              </a:cxn>
              <a:cxn ang="0">
                <a:pos x="connsiteX15858" y="connsiteY15858"/>
              </a:cxn>
              <a:cxn ang="0">
                <a:pos x="connsiteX15859" y="connsiteY15859"/>
              </a:cxn>
              <a:cxn ang="0">
                <a:pos x="connsiteX15860" y="connsiteY15860"/>
              </a:cxn>
              <a:cxn ang="0">
                <a:pos x="connsiteX15861" y="connsiteY15861"/>
              </a:cxn>
              <a:cxn ang="0">
                <a:pos x="connsiteX15862" y="connsiteY15862"/>
              </a:cxn>
              <a:cxn ang="0">
                <a:pos x="connsiteX15863" y="connsiteY15863"/>
              </a:cxn>
              <a:cxn ang="0">
                <a:pos x="connsiteX15864" y="connsiteY15864"/>
              </a:cxn>
              <a:cxn ang="0">
                <a:pos x="connsiteX15865" y="connsiteY15865"/>
              </a:cxn>
              <a:cxn ang="0">
                <a:pos x="connsiteX15866" y="connsiteY15866"/>
              </a:cxn>
              <a:cxn ang="0">
                <a:pos x="connsiteX15867" y="connsiteY15867"/>
              </a:cxn>
              <a:cxn ang="0">
                <a:pos x="connsiteX15868" y="connsiteY15868"/>
              </a:cxn>
              <a:cxn ang="0">
                <a:pos x="connsiteX15869" y="connsiteY15869"/>
              </a:cxn>
              <a:cxn ang="0">
                <a:pos x="connsiteX15870" y="connsiteY15870"/>
              </a:cxn>
              <a:cxn ang="0">
                <a:pos x="connsiteX15871" y="connsiteY15871"/>
              </a:cxn>
              <a:cxn ang="0">
                <a:pos x="connsiteX15872" y="connsiteY15872"/>
              </a:cxn>
              <a:cxn ang="0">
                <a:pos x="connsiteX15873" y="connsiteY15873"/>
              </a:cxn>
              <a:cxn ang="0">
                <a:pos x="connsiteX15874" y="connsiteY15874"/>
              </a:cxn>
              <a:cxn ang="0">
                <a:pos x="connsiteX15875" y="connsiteY15875"/>
              </a:cxn>
              <a:cxn ang="0">
                <a:pos x="connsiteX15876" y="connsiteY15876"/>
              </a:cxn>
              <a:cxn ang="0">
                <a:pos x="connsiteX15877" y="connsiteY15877"/>
              </a:cxn>
              <a:cxn ang="0">
                <a:pos x="connsiteX15878" y="connsiteY15878"/>
              </a:cxn>
              <a:cxn ang="0">
                <a:pos x="connsiteX15879" y="connsiteY15879"/>
              </a:cxn>
              <a:cxn ang="0">
                <a:pos x="connsiteX15880" y="connsiteY15880"/>
              </a:cxn>
              <a:cxn ang="0">
                <a:pos x="connsiteX15881" y="connsiteY15881"/>
              </a:cxn>
              <a:cxn ang="0">
                <a:pos x="connsiteX15882" y="connsiteY15882"/>
              </a:cxn>
              <a:cxn ang="0">
                <a:pos x="connsiteX15883" y="connsiteY15883"/>
              </a:cxn>
              <a:cxn ang="0">
                <a:pos x="connsiteX15884" y="connsiteY15884"/>
              </a:cxn>
              <a:cxn ang="0">
                <a:pos x="connsiteX15885" y="connsiteY15885"/>
              </a:cxn>
              <a:cxn ang="0">
                <a:pos x="connsiteX15886" y="connsiteY15886"/>
              </a:cxn>
              <a:cxn ang="0">
                <a:pos x="connsiteX15887" y="connsiteY15887"/>
              </a:cxn>
              <a:cxn ang="0">
                <a:pos x="connsiteX15888" y="connsiteY15888"/>
              </a:cxn>
              <a:cxn ang="0">
                <a:pos x="connsiteX15889" y="connsiteY15889"/>
              </a:cxn>
              <a:cxn ang="0">
                <a:pos x="connsiteX15890" y="connsiteY15890"/>
              </a:cxn>
              <a:cxn ang="0">
                <a:pos x="connsiteX15891" y="connsiteY15891"/>
              </a:cxn>
              <a:cxn ang="0">
                <a:pos x="connsiteX15892" y="connsiteY15892"/>
              </a:cxn>
              <a:cxn ang="0">
                <a:pos x="connsiteX15893" y="connsiteY15893"/>
              </a:cxn>
              <a:cxn ang="0">
                <a:pos x="connsiteX15894" y="connsiteY15894"/>
              </a:cxn>
              <a:cxn ang="0">
                <a:pos x="connsiteX15895" y="connsiteY15895"/>
              </a:cxn>
              <a:cxn ang="0">
                <a:pos x="connsiteX15896" y="connsiteY15896"/>
              </a:cxn>
              <a:cxn ang="0">
                <a:pos x="connsiteX15897" y="connsiteY15897"/>
              </a:cxn>
              <a:cxn ang="0">
                <a:pos x="connsiteX15898" y="connsiteY15898"/>
              </a:cxn>
              <a:cxn ang="0">
                <a:pos x="connsiteX15899" y="connsiteY15899"/>
              </a:cxn>
              <a:cxn ang="0">
                <a:pos x="connsiteX15900" y="connsiteY15900"/>
              </a:cxn>
              <a:cxn ang="0">
                <a:pos x="connsiteX15901" y="connsiteY15901"/>
              </a:cxn>
              <a:cxn ang="0">
                <a:pos x="connsiteX15902" y="connsiteY15902"/>
              </a:cxn>
              <a:cxn ang="0">
                <a:pos x="connsiteX15903" y="connsiteY15903"/>
              </a:cxn>
              <a:cxn ang="0">
                <a:pos x="connsiteX15904" y="connsiteY15904"/>
              </a:cxn>
              <a:cxn ang="0">
                <a:pos x="connsiteX15905" y="connsiteY15905"/>
              </a:cxn>
              <a:cxn ang="0">
                <a:pos x="connsiteX15906" y="connsiteY15906"/>
              </a:cxn>
              <a:cxn ang="0">
                <a:pos x="connsiteX15907" y="connsiteY15907"/>
              </a:cxn>
              <a:cxn ang="0">
                <a:pos x="connsiteX15908" y="connsiteY15908"/>
              </a:cxn>
              <a:cxn ang="0">
                <a:pos x="connsiteX15909" y="connsiteY15909"/>
              </a:cxn>
              <a:cxn ang="0">
                <a:pos x="connsiteX15910" y="connsiteY15910"/>
              </a:cxn>
              <a:cxn ang="0">
                <a:pos x="connsiteX15911" y="connsiteY15911"/>
              </a:cxn>
              <a:cxn ang="0">
                <a:pos x="connsiteX15912" y="connsiteY15912"/>
              </a:cxn>
              <a:cxn ang="0">
                <a:pos x="connsiteX15913" y="connsiteY15913"/>
              </a:cxn>
              <a:cxn ang="0">
                <a:pos x="connsiteX15914" y="connsiteY15914"/>
              </a:cxn>
              <a:cxn ang="0">
                <a:pos x="connsiteX15915" y="connsiteY15915"/>
              </a:cxn>
              <a:cxn ang="0">
                <a:pos x="connsiteX15916" y="connsiteY15916"/>
              </a:cxn>
              <a:cxn ang="0">
                <a:pos x="connsiteX15917" y="connsiteY15917"/>
              </a:cxn>
              <a:cxn ang="0">
                <a:pos x="connsiteX15918" y="connsiteY15918"/>
              </a:cxn>
              <a:cxn ang="0">
                <a:pos x="connsiteX15919" y="connsiteY15919"/>
              </a:cxn>
              <a:cxn ang="0">
                <a:pos x="connsiteX15920" y="connsiteY15920"/>
              </a:cxn>
              <a:cxn ang="0">
                <a:pos x="connsiteX15921" y="connsiteY15921"/>
              </a:cxn>
              <a:cxn ang="0">
                <a:pos x="connsiteX15922" y="connsiteY15922"/>
              </a:cxn>
              <a:cxn ang="0">
                <a:pos x="connsiteX15923" y="connsiteY15923"/>
              </a:cxn>
              <a:cxn ang="0">
                <a:pos x="connsiteX15924" y="connsiteY15924"/>
              </a:cxn>
              <a:cxn ang="0">
                <a:pos x="connsiteX15925" y="connsiteY15925"/>
              </a:cxn>
              <a:cxn ang="0">
                <a:pos x="connsiteX15926" y="connsiteY15926"/>
              </a:cxn>
              <a:cxn ang="0">
                <a:pos x="connsiteX15927" y="connsiteY15927"/>
              </a:cxn>
              <a:cxn ang="0">
                <a:pos x="connsiteX15928" y="connsiteY15928"/>
              </a:cxn>
              <a:cxn ang="0">
                <a:pos x="connsiteX15929" y="connsiteY15929"/>
              </a:cxn>
              <a:cxn ang="0">
                <a:pos x="connsiteX15930" y="connsiteY15930"/>
              </a:cxn>
              <a:cxn ang="0">
                <a:pos x="connsiteX15931" y="connsiteY15931"/>
              </a:cxn>
              <a:cxn ang="0">
                <a:pos x="connsiteX15932" y="connsiteY15932"/>
              </a:cxn>
              <a:cxn ang="0">
                <a:pos x="connsiteX15933" y="connsiteY15933"/>
              </a:cxn>
              <a:cxn ang="0">
                <a:pos x="connsiteX15934" y="connsiteY15934"/>
              </a:cxn>
              <a:cxn ang="0">
                <a:pos x="connsiteX15935" y="connsiteY15935"/>
              </a:cxn>
              <a:cxn ang="0">
                <a:pos x="connsiteX15936" y="connsiteY15936"/>
              </a:cxn>
              <a:cxn ang="0">
                <a:pos x="connsiteX15937" y="connsiteY15937"/>
              </a:cxn>
              <a:cxn ang="0">
                <a:pos x="connsiteX15938" y="connsiteY15938"/>
              </a:cxn>
              <a:cxn ang="0">
                <a:pos x="connsiteX15939" y="connsiteY15939"/>
              </a:cxn>
              <a:cxn ang="0">
                <a:pos x="connsiteX15940" y="connsiteY15940"/>
              </a:cxn>
              <a:cxn ang="0">
                <a:pos x="connsiteX15941" y="connsiteY15941"/>
              </a:cxn>
              <a:cxn ang="0">
                <a:pos x="connsiteX15942" y="connsiteY15942"/>
              </a:cxn>
              <a:cxn ang="0">
                <a:pos x="connsiteX15943" y="connsiteY15943"/>
              </a:cxn>
              <a:cxn ang="0">
                <a:pos x="connsiteX15944" y="connsiteY15944"/>
              </a:cxn>
              <a:cxn ang="0">
                <a:pos x="connsiteX15945" y="connsiteY15945"/>
              </a:cxn>
              <a:cxn ang="0">
                <a:pos x="connsiteX15946" y="connsiteY15946"/>
              </a:cxn>
              <a:cxn ang="0">
                <a:pos x="connsiteX15947" y="connsiteY15947"/>
              </a:cxn>
              <a:cxn ang="0">
                <a:pos x="connsiteX15948" y="connsiteY15948"/>
              </a:cxn>
              <a:cxn ang="0">
                <a:pos x="connsiteX15949" y="connsiteY15949"/>
              </a:cxn>
              <a:cxn ang="0">
                <a:pos x="connsiteX15950" y="connsiteY15950"/>
              </a:cxn>
              <a:cxn ang="0">
                <a:pos x="connsiteX15951" y="connsiteY15951"/>
              </a:cxn>
              <a:cxn ang="0">
                <a:pos x="connsiteX15952" y="connsiteY15952"/>
              </a:cxn>
              <a:cxn ang="0">
                <a:pos x="connsiteX15953" y="connsiteY15953"/>
              </a:cxn>
              <a:cxn ang="0">
                <a:pos x="connsiteX15954" y="connsiteY15954"/>
              </a:cxn>
              <a:cxn ang="0">
                <a:pos x="connsiteX15955" y="connsiteY15955"/>
              </a:cxn>
              <a:cxn ang="0">
                <a:pos x="connsiteX15956" y="connsiteY15956"/>
              </a:cxn>
              <a:cxn ang="0">
                <a:pos x="connsiteX15957" y="connsiteY15957"/>
              </a:cxn>
              <a:cxn ang="0">
                <a:pos x="connsiteX15958" y="connsiteY15958"/>
              </a:cxn>
              <a:cxn ang="0">
                <a:pos x="connsiteX15959" y="connsiteY15959"/>
              </a:cxn>
              <a:cxn ang="0">
                <a:pos x="connsiteX15960" y="connsiteY15960"/>
              </a:cxn>
              <a:cxn ang="0">
                <a:pos x="connsiteX15961" y="connsiteY15961"/>
              </a:cxn>
              <a:cxn ang="0">
                <a:pos x="connsiteX15962" y="connsiteY15962"/>
              </a:cxn>
              <a:cxn ang="0">
                <a:pos x="connsiteX15963" y="connsiteY15963"/>
              </a:cxn>
              <a:cxn ang="0">
                <a:pos x="connsiteX15964" y="connsiteY15964"/>
              </a:cxn>
              <a:cxn ang="0">
                <a:pos x="connsiteX15965" y="connsiteY15965"/>
              </a:cxn>
              <a:cxn ang="0">
                <a:pos x="connsiteX15966" y="connsiteY15966"/>
              </a:cxn>
              <a:cxn ang="0">
                <a:pos x="connsiteX15967" y="connsiteY15967"/>
              </a:cxn>
              <a:cxn ang="0">
                <a:pos x="connsiteX15968" y="connsiteY15968"/>
              </a:cxn>
              <a:cxn ang="0">
                <a:pos x="connsiteX15969" y="connsiteY15969"/>
              </a:cxn>
              <a:cxn ang="0">
                <a:pos x="connsiteX15970" y="connsiteY15970"/>
              </a:cxn>
              <a:cxn ang="0">
                <a:pos x="connsiteX15971" y="connsiteY15971"/>
              </a:cxn>
              <a:cxn ang="0">
                <a:pos x="connsiteX15972" y="connsiteY15972"/>
              </a:cxn>
              <a:cxn ang="0">
                <a:pos x="connsiteX15973" y="connsiteY15973"/>
              </a:cxn>
              <a:cxn ang="0">
                <a:pos x="connsiteX15974" y="connsiteY15974"/>
              </a:cxn>
              <a:cxn ang="0">
                <a:pos x="connsiteX15975" y="connsiteY15975"/>
              </a:cxn>
              <a:cxn ang="0">
                <a:pos x="connsiteX15976" y="connsiteY15976"/>
              </a:cxn>
              <a:cxn ang="0">
                <a:pos x="connsiteX15977" y="connsiteY15977"/>
              </a:cxn>
              <a:cxn ang="0">
                <a:pos x="connsiteX15978" y="connsiteY15978"/>
              </a:cxn>
              <a:cxn ang="0">
                <a:pos x="connsiteX15979" y="connsiteY15979"/>
              </a:cxn>
              <a:cxn ang="0">
                <a:pos x="connsiteX15980" y="connsiteY15980"/>
              </a:cxn>
              <a:cxn ang="0">
                <a:pos x="connsiteX15981" y="connsiteY15981"/>
              </a:cxn>
              <a:cxn ang="0">
                <a:pos x="connsiteX15982" y="connsiteY15982"/>
              </a:cxn>
              <a:cxn ang="0">
                <a:pos x="connsiteX15983" y="connsiteY15983"/>
              </a:cxn>
              <a:cxn ang="0">
                <a:pos x="connsiteX15984" y="connsiteY15984"/>
              </a:cxn>
              <a:cxn ang="0">
                <a:pos x="connsiteX15985" y="connsiteY15985"/>
              </a:cxn>
              <a:cxn ang="0">
                <a:pos x="connsiteX15986" y="connsiteY15986"/>
              </a:cxn>
              <a:cxn ang="0">
                <a:pos x="connsiteX15987" y="connsiteY15987"/>
              </a:cxn>
              <a:cxn ang="0">
                <a:pos x="connsiteX15988" y="connsiteY15988"/>
              </a:cxn>
              <a:cxn ang="0">
                <a:pos x="connsiteX15989" y="connsiteY15989"/>
              </a:cxn>
              <a:cxn ang="0">
                <a:pos x="connsiteX15990" y="connsiteY15990"/>
              </a:cxn>
              <a:cxn ang="0">
                <a:pos x="connsiteX15991" y="connsiteY15991"/>
              </a:cxn>
              <a:cxn ang="0">
                <a:pos x="connsiteX15992" y="connsiteY15992"/>
              </a:cxn>
              <a:cxn ang="0">
                <a:pos x="connsiteX15993" y="connsiteY15993"/>
              </a:cxn>
              <a:cxn ang="0">
                <a:pos x="connsiteX15994" y="connsiteY15994"/>
              </a:cxn>
              <a:cxn ang="0">
                <a:pos x="connsiteX15995" y="connsiteY15995"/>
              </a:cxn>
              <a:cxn ang="0">
                <a:pos x="connsiteX15996" y="connsiteY15996"/>
              </a:cxn>
              <a:cxn ang="0">
                <a:pos x="connsiteX15997" y="connsiteY15997"/>
              </a:cxn>
              <a:cxn ang="0">
                <a:pos x="connsiteX15998" y="connsiteY15998"/>
              </a:cxn>
              <a:cxn ang="0">
                <a:pos x="connsiteX15999" y="connsiteY15999"/>
              </a:cxn>
              <a:cxn ang="0">
                <a:pos x="connsiteX16000" y="connsiteY16000"/>
              </a:cxn>
              <a:cxn ang="0">
                <a:pos x="connsiteX16001" y="connsiteY16001"/>
              </a:cxn>
              <a:cxn ang="0">
                <a:pos x="connsiteX16002" y="connsiteY16002"/>
              </a:cxn>
              <a:cxn ang="0">
                <a:pos x="connsiteX16003" y="connsiteY16003"/>
              </a:cxn>
              <a:cxn ang="0">
                <a:pos x="connsiteX16004" y="connsiteY16004"/>
              </a:cxn>
              <a:cxn ang="0">
                <a:pos x="connsiteX16005" y="connsiteY16005"/>
              </a:cxn>
              <a:cxn ang="0">
                <a:pos x="connsiteX16006" y="connsiteY16006"/>
              </a:cxn>
              <a:cxn ang="0">
                <a:pos x="connsiteX16007" y="connsiteY16007"/>
              </a:cxn>
              <a:cxn ang="0">
                <a:pos x="connsiteX16008" y="connsiteY16008"/>
              </a:cxn>
              <a:cxn ang="0">
                <a:pos x="connsiteX16009" y="connsiteY16009"/>
              </a:cxn>
              <a:cxn ang="0">
                <a:pos x="connsiteX16010" y="connsiteY16010"/>
              </a:cxn>
              <a:cxn ang="0">
                <a:pos x="connsiteX16011" y="connsiteY16011"/>
              </a:cxn>
              <a:cxn ang="0">
                <a:pos x="connsiteX16012" y="connsiteY16012"/>
              </a:cxn>
              <a:cxn ang="0">
                <a:pos x="connsiteX16013" y="connsiteY16013"/>
              </a:cxn>
              <a:cxn ang="0">
                <a:pos x="connsiteX16014" y="connsiteY16014"/>
              </a:cxn>
              <a:cxn ang="0">
                <a:pos x="connsiteX16015" y="connsiteY16015"/>
              </a:cxn>
              <a:cxn ang="0">
                <a:pos x="connsiteX16016" y="connsiteY16016"/>
              </a:cxn>
              <a:cxn ang="0">
                <a:pos x="connsiteX16017" y="connsiteY16017"/>
              </a:cxn>
              <a:cxn ang="0">
                <a:pos x="connsiteX16018" y="connsiteY16018"/>
              </a:cxn>
              <a:cxn ang="0">
                <a:pos x="connsiteX16019" y="connsiteY16019"/>
              </a:cxn>
              <a:cxn ang="0">
                <a:pos x="connsiteX16020" y="connsiteY16020"/>
              </a:cxn>
              <a:cxn ang="0">
                <a:pos x="connsiteX16021" y="connsiteY16021"/>
              </a:cxn>
              <a:cxn ang="0">
                <a:pos x="connsiteX16022" y="connsiteY16022"/>
              </a:cxn>
              <a:cxn ang="0">
                <a:pos x="connsiteX16023" y="connsiteY16023"/>
              </a:cxn>
              <a:cxn ang="0">
                <a:pos x="connsiteX16024" y="connsiteY16024"/>
              </a:cxn>
              <a:cxn ang="0">
                <a:pos x="connsiteX16025" y="connsiteY16025"/>
              </a:cxn>
              <a:cxn ang="0">
                <a:pos x="connsiteX16026" y="connsiteY16026"/>
              </a:cxn>
              <a:cxn ang="0">
                <a:pos x="connsiteX16027" y="connsiteY16027"/>
              </a:cxn>
              <a:cxn ang="0">
                <a:pos x="connsiteX16028" y="connsiteY16028"/>
              </a:cxn>
              <a:cxn ang="0">
                <a:pos x="connsiteX16029" y="connsiteY16029"/>
              </a:cxn>
              <a:cxn ang="0">
                <a:pos x="connsiteX16030" y="connsiteY16030"/>
              </a:cxn>
              <a:cxn ang="0">
                <a:pos x="connsiteX16031" y="connsiteY16031"/>
              </a:cxn>
              <a:cxn ang="0">
                <a:pos x="connsiteX16032" y="connsiteY16032"/>
              </a:cxn>
              <a:cxn ang="0">
                <a:pos x="connsiteX16033" y="connsiteY16033"/>
              </a:cxn>
              <a:cxn ang="0">
                <a:pos x="connsiteX16034" y="connsiteY16034"/>
              </a:cxn>
              <a:cxn ang="0">
                <a:pos x="connsiteX16035" y="connsiteY16035"/>
              </a:cxn>
              <a:cxn ang="0">
                <a:pos x="connsiteX16036" y="connsiteY16036"/>
              </a:cxn>
              <a:cxn ang="0">
                <a:pos x="connsiteX16037" y="connsiteY16037"/>
              </a:cxn>
              <a:cxn ang="0">
                <a:pos x="connsiteX16038" y="connsiteY16038"/>
              </a:cxn>
              <a:cxn ang="0">
                <a:pos x="connsiteX16039" y="connsiteY16039"/>
              </a:cxn>
              <a:cxn ang="0">
                <a:pos x="connsiteX16040" y="connsiteY16040"/>
              </a:cxn>
              <a:cxn ang="0">
                <a:pos x="connsiteX16041" y="connsiteY16041"/>
              </a:cxn>
              <a:cxn ang="0">
                <a:pos x="connsiteX16042" y="connsiteY16042"/>
              </a:cxn>
              <a:cxn ang="0">
                <a:pos x="connsiteX16043" y="connsiteY16043"/>
              </a:cxn>
              <a:cxn ang="0">
                <a:pos x="connsiteX16044" y="connsiteY16044"/>
              </a:cxn>
              <a:cxn ang="0">
                <a:pos x="connsiteX16045" y="connsiteY16045"/>
              </a:cxn>
              <a:cxn ang="0">
                <a:pos x="connsiteX16046" y="connsiteY16046"/>
              </a:cxn>
              <a:cxn ang="0">
                <a:pos x="connsiteX16047" y="connsiteY16047"/>
              </a:cxn>
              <a:cxn ang="0">
                <a:pos x="connsiteX16048" y="connsiteY16048"/>
              </a:cxn>
              <a:cxn ang="0">
                <a:pos x="connsiteX16049" y="connsiteY16049"/>
              </a:cxn>
              <a:cxn ang="0">
                <a:pos x="connsiteX16050" y="connsiteY16050"/>
              </a:cxn>
              <a:cxn ang="0">
                <a:pos x="connsiteX16051" y="connsiteY16051"/>
              </a:cxn>
              <a:cxn ang="0">
                <a:pos x="connsiteX16052" y="connsiteY16052"/>
              </a:cxn>
              <a:cxn ang="0">
                <a:pos x="connsiteX16053" y="connsiteY16053"/>
              </a:cxn>
              <a:cxn ang="0">
                <a:pos x="connsiteX16054" y="connsiteY16054"/>
              </a:cxn>
              <a:cxn ang="0">
                <a:pos x="connsiteX16055" y="connsiteY16055"/>
              </a:cxn>
              <a:cxn ang="0">
                <a:pos x="connsiteX16056" y="connsiteY16056"/>
              </a:cxn>
              <a:cxn ang="0">
                <a:pos x="connsiteX16057" y="connsiteY16057"/>
              </a:cxn>
              <a:cxn ang="0">
                <a:pos x="connsiteX16058" y="connsiteY16058"/>
              </a:cxn>
              <a:cxn ang="0">
                <a:pos x="connsiteX16059" y="connsiteY16059"/>
              </a:cxn>
              <a:cxn ang="0">
                <a:pos x="connsiteX16060" y="connsiteY16060"/>
              </a:cxn>
              <a:cxn ang="0">
                <a:pos x="connsiteX16061" y="connsiteY16061"/>
              </a:cxn>
              <a:cxn ang="0">
                <a:pos x="connsiteX16062" y="connsiteY16062"/>
              </a:cxn>
              <a:cxn ang="0">
                <a:pos x="connsiteX16063" y="connsiteY16063"/>
              </a:cxn>
              <a:cxn ang="0">
                <a:pos x="connsiteX16064" y="connsiteY16064"/>
              </a:cxn>
              <a:cxn ang="0">
                <a:pos x="connsiteX16065" y="connsiteY16065"/>
              </a:cxn>
              <a:cxn ang="0">
                <a:pos x="connsiteX16066" y="connsiteY16066"/>
              </a:cxn>
              <a:cxn ang="0">
                <a:pos x="connsiteX16067" y="connsiteY16067"/>
              </a:cxn>
              <a:cxn ang="0">
                <a:pos x="connsiteX16068" y="connsiteY16068"/>
              </a:cxn>
              <a:cxn ang="0">
                <a:pos x="connsiteX16069" y="connsiteY16069"/>
              </a:cxn>
              <a:cxn ang="0">
                <a:pos x="connsiteX16070" y="connsiteY16070"/>
              </a:cxn>
              <a:cxn ang="0">
                <a:pos x="connsiteX16071" y="connsiteY16071"/>
              </a:cxn>
              <a:cxn ang="0">
                <a:pos x="connsiteX16072" y="connsiteY16072"/>
              </a:cxn>
              <a:cxn ang="0">
                <a:pos x="connsiteX16073" y="connsiteY16073"/>
              </a:cxn>
              <a:cxn ang="0">
                <a:pos x="connsiteX16074" y="connsiteY16074"/>
              </a:cxn>
              <a:cxn ang="0">
                <a:pos x="connsiteX16075" y="connsiteY16075"/>
              </a:cxn>
              <a:cxn ang="0">
                <a:pos x="connsiteX16076" y="connsiteY16076"/>
              </a:cxn>
              <a:cxn ang="0">
                <a:pos x="connsiteX16077" y="connsiteY16077"/>
              </a:cxn>
              <a:cxn ang="0">
                <a:pos x="connsiteX16078" y="connsiteY16078"/>
              </a:cxn>
              <a:cxn ang="0">
                <a:pos x="connsiteX16079" y="connsiteY16079"/>
              </a:cxn>
              <a:cxn ang="0">
                <a:pos x="connsiteX16080" y="connsiteY16080"/>
              </a:cxn>
              <a:cxn ang="0">
                <a:pos x="connsiteX16081" y="connsiteY16081"/>
              </a:cxn>
              <a:cxn ang="0">
                <a:pos x="connsiteX16082" y="connsiteY16082"/>
              </a:cxn>
              <a:cxn ang="0">
                <a:pos x="connsiteX16083" y="connsiteY16083"/>
              </a:cxn>
              <a:cxn ang="0">
                <a:pos x="connsiteX16084" y="connsiteY16084"/>
              </a:cxn>
              <a:cxn ang="0">
                <a:pos x="connsiteX16085" y="connsiteY16085"/>
              </a:cxn>
              <a:cxn ang="0">
                <a:pos x="connsiteX16086" y="connsiteY16086"/>
              </a:cxn>
              <a:cxn ang="0">
                <a:pos x="connsiteX16087" y="connsiteY16087"/>
              </a:cxn>
              <a:cxn ang="0">
                <a:pos x="connsiteX16088" y="connsiteY16088"/>
              </a:cxn>
              <a:cxn ang="0">
                <a:pos x="connsiteX16089" y="connsiteY16089"/>
              </a:cxn>
              <a:cxn ang="0">
                <a:pos x="connsiteX16090" y="connsiteY16090"/>
              </a:cxn>
              <a:cxn ang="0">
                <a:pos x="connsiteX16091" y="connsiteY16091"/>
              </a:cxn>
              <a:cxn ang="0">
                <a:pos x="connsiteX16092" y="connsiteY16092"/>
              </a:cxn>
              <a:cxn ang="0">
                <a:pos x="connsiteX16093" y="connsiteY16093"/>
              </a:cxn>
              <a:cxn ang="0">
                <a:pos x="connsiteX16094" y="connsiteY16094"/>
              </a:cxn>
              <a:cxn ang="0">
                <a:pos x="connsiteX16095" y="connsiteY16095"/>
              </a:cxn>
              <a:cxn ang="0">
                <a:pos x="connsiteX16096" y="connsiteY16096"/>
              </a:cxn>
              <a:cxn ang="0">
                <a:pos x="connsiteX16097" y="connsiteY16097"/>
              </a:cxn>
              <a:cxn ang="0">
                <a:pos x="connsiteX16098" y="connsiteY16098"/>
              </a:cxn>
              <a:cxn ang="0">
                <a:pos x="connsiteX16099" y="connsiteY16099"/>
              </a:cxn>
              <a:cxn ang="0">
                <a:pos x="connsiteX16100" y="connsiteY16100"/>
              </a:cxn>
              <a:cxn ang="0">
                <a:pos x="connsiteX16101" y="connsiteY16101"/>
              </a:cxn>
              <a:cxn ang="0">
                <a:pos x="connsiteX16102" y="connsiteY16102"/>
              </a:cxn>
              <a:cxn ang="0">
                <a:pos x="connsiteX16103" y="connsiteY16103"/>
              </a:cxn>
              <a:cxn ang="0">
                <a:pos x="connsiteX16104" y="connsiteY16104"/>
              </a:cxn>
              <a:cxn ang="0">
                <a:pos x="connsiteX16105" y="connsiteY16105"/>
              </a:cxn>
              <a:cxn ang="0">
                <a:pos x="connsiteX16106" y="connsiteY16106"/>
              </a:cxn>
              <a:cxn ang="0">
                <a:pos x="connsiteX16107" y="connsiteY16107"/>
              </a:cxn>
              <a:cxn ang="0">
                <a:pos x="connsiteX16108" y="connsiteY16108"/>
              </a:cxn>
              <a:cxn ang="0">
                <a:pos x="connsiteX16109" y="connsiteY16109"/>
              </a:cxn>
              <a:cxn ang="0">
                <a:pos x="connsiteX16110" y="connsiteY16110"/>
              </a:cxn>
              <a:cxn ang="0">
                <a:pos x="connsiteX16111" y="connsiteY16111"/>
              </a:cxn>
              <a:cxn ang="0">
                <a:pos x="connsiteX16112" y="connsiteY16112"/>
              </a:cxn>
              <a:cxn ang="0">
                <a:pos x="connsiteX16113" y="connsiteY16113"/>
              </a:cxn>
              <a:cxn ang="0">
                <a:pos x="connsiteX16114" y="connsiteY16114"/>
              </a:cxn>
              <a:cxn ang="0">
                <a:pos x="connsiteX16115" y="connsiteY16115"/>
              </a:cxn>
              <a:cxn ang="0">
                <a:pos x="connsiteX16116" y="connsiteY16116"/>
              </a:cxn>
              <a:cxn ang="0">
                <a:pos x="connsiteX16117" y="connsiteY16117"/>
              </a:cxn>
              <a:cxn ang="0">
                <a:pos x="connsiteX16118" y="connsiteY16118"/>
              </a:cxn>
              <a:cxn ang="0">
                <a:pos x="connsiteX16119" y="connsiteY16119"/>
              </a:cxn>
              <a:cxn ang="0">
                <a:pos x="connsiteX16120" y="connsiteY16120"/>
              </a:cxn>
              <a:cxn ang="0">
                <a:pos x="connsiteX16121" y="connsiteY16121"/>
              </a:cxn>
              <a:cxn ang="0">
                <a:pos x="connsiteX16122" y="connsiteY16122"/>
              </a:cxn>
              <a:cxn ang="0">
                <a:pos x="connsiteX16123" y="connsiteY16123"/>
              </a:cxn>
              <a:cxn ang="0">
                <a:pos x="connsiteX16124" y="connsiteY16124"/>
              </a:cxn>
              <a:cxn ang="0">
                <a:pos x="connsiteX16125" y="connsiteY16125"/>
              </a:cxn>
              <a:cxn ang="0">
                <a:pos x="connsiteX16126" y="connsiteY16126"/>
              </a:cxn>
              <a:cxn ang="0">
                <a:pos x="connsiteX16127" y="connsiteY16127"/>
              </a:cxn>
              <a:cxn ang="0">
                <a:pos x="connsiteX16128" y="connsiteY16128"/>
              </a:cxn>
              <a:cxn ang="0">
                <a:pos x="connsiteX16129" y="connsiteY16129"/>
              </a:cxn>
              <a:cxn ang="0">
                <a:pos x="connsiteX16130" y="connsiteY16130"/>
              </a:cxn>
              <a:cxn ang="0">
                <a:pos x="connsiteX16131" y="connsiteY16131"/>
              </a:cxn>
              <a:cxn ang="0">
                <a:pos x="connsiteX16132" y="connsiteY16132"/>
              </a:cxn>
              <a:cxn ang="0">
                <a:pos x="connsiteX16133" y="connsiteY16133"/>
              </a:cxn>
              <a:cxn ang="0">
                <a:pos x="connsiteX16134" y="connsiteY16134"/>
              </a:cxn>
              <a:cxn ang="0">
                <a:pos x="connsiteX16135" y="connsiteY16135"/>
              </a:cxn>
              <a:cxn ang="0">
                <a:pos x="connsiteX16136" y="connsiteY16136"/>
              </a:cxn>
              <a:cxn ang="0">
                <a:pos x="connsiteX16137" y="connsiteY16137"/>
              </a:cxn>
              <a:cxn ang="0">
                <a:pos x="connsiteX16138" y="connsiteY16138"/>
              </a:cxn>
              <a:cxn ang="0">
                <a:pos x="connsiteX16139" y="connsiteY16139"/>
              </a:cxn>
              <a:cxn ang="0">
                <a:pos x="connsiteX16140" y="connsiteY16140"/>
              </a:cxn>
              <a:cxn ang="0">
                <a:pos x="connsiteX16141" y="connsiteY16141"/>
              </a:cxn>
              <a:cxn ang="0">
                <a:pos x="connsiteX16142" y="connsiteY16142"/>
              </a:cxn>
              <a:cxn ang="0">
                <a:pos x="connsiteX16143" y="connsiteY16143"/>
              </a:cxn>
              <a:cxn ang="0">
                <a:pos x="connsiteX16144" y="connsiteY16144"/>
              </a:cxn>
              <a:cxn ang="0">
                <a:pos x="connsiteX16145" y="connsiteY16145"/>
              </a:cxn>
              <a:cxn ang="0">
                <a:pos x="connsiteX16146" y="connsiteY16146"/>
              </a:cxn>
              <a:cxn ang="0">
                <a:pos x="connsiteX16147" y="connsiteY16147"/>
              </a:cxn>
              <a:cxn ang="0">
                <a:pos x="connsiteX16148" y="connsiteY16148"/>
              </a:cxn>
              <a:cxn ang="0">
                <a:pos x="connsiteX16149" y="connsiteY16149"/>
              </a:cxn>
              <a:cxn ang="0">
                <a:pos x="connsiteX16150" y="connsiteY16150"/>
              </a:cxn>
              <a:cxn ang="0">
                <a:pos x="connsiteX16151" y="connsiteY16151"/>
              </a:cxn>
              <a:cxn ang="0">
                <a:pos x="connsiteX16152" y="connsiteY16152"/>
              </a:cxn>
              <a:cxn ang="0">
                <a:pos x="connsiteX16153" y="connsiteY16153"/>
              </a:cxn>
              <a:cxn ang="0">
                <a:pos x="connsiteX16154" y="connsiteY16154"/>
              </a:cxn>
              <a:cxn ang="0">
                <a:pos x="connsiteX16155" y="connsiteY16155"/>
              </a:cxn>
              <a:cxn ang="0">
                <a:pos x="connsiteX16156" y="connsiteY16156"/>
              </a:cxn>
              <a:cxn ang="0">
                <a:pos x="connsiteX16157" y="connsiteY16157"/>
              </a:cxn>
              <a:cxn ang="0">
                <a:pos x="connsiteX16158" y="connsiteY16158"/>
              </a:cxn>
              <a:cxn ang="0">
                <a:pos x="connsiteX16159" y="connsiteY16159"/>
              </a:cxn>
              <a:cxn ang="0">
                <a:pos x="connsiteX16160" y="connsiteY16160"/>
              </a:cxn>
              <a:cxn ang="0">
                <a:pos x="connsiteX16161" y="connsiteY16161"/>
              </a:cxn>
              <a:cxn ang="0">
                <a:pos x="connsiteX16162" y="connsiteY16162"/>
              </a:cxn>
              <a:cxn ang="0">
                <a:pos x="connsiteX16163" y="connsiteY16163"/>
              </a:cxn>
              <a:cxn ang="0">
                <a:pos x="connsiteX16164" y="connsiteY16164"/>
              </a:cxn>
              <a:cxn ang="0">
                <a:pos x="connsiteX16165" y="connsiteY16165"/>
              </a:cxn>
              <a:cxn ang="0">
                <a:pos x="connsiteX16166" y="connsiteY16166"/>
              </a:cxn>
              <a:cxn ang="0">
                <a:pos x="connsiteX16167" y="connsiteY16167"/>
              </a:cxn>
              <a:cxn ang="0">
                <a:pos x="connsiteX16168" y="connsiteY16168"/>
              </a:cxn>
              <a:cxn ang="0">
                <a:pos x="connsiteX16169" y="connsiteY16169"/>
              </a:cxn>
              <a:cxn ang="0">
                <a:pos x="connsiteX16170" y="connsiteY16170"/>
              </a:cxn>
              <a:cxn ang="0">
                <a:pos x="connsiteX16171" y="connsiteY16171"/>
              </a:cxn>
              <a:cxn ang="0">
                <a:pos x="connsiteX16172" y="connsiteY16172"/>
              </a:cxn>
              <a:cxn ang="0">
                <a:pos x="connsiteX16173" y="connsiteY16173"/>
              </a:cxn>
              <a:cxn ang="0">
                <a:pos x="connsiteX16174" y="connsiteY16174"/>
              </a:cxn>
              <a:cxn ang="0">
                <a:pos x="connsiteX16175" y="connsiteY16175"/>
              </a:cxn>
              <a:cxn ang="0">
                <a:pos x="connsiteX16176" y="connsiteY16176"/>
              </a:cxn>
              <a:cxn ang="0">
                <a:pos x="connsiteX16177" y="connsiteY16177"/>
              </a:cxn>
              <a:cxn ang="0">
                <a:pos x="connsiteX16178" y="connsiteY16178"/>
              </a:cxn>
              <a:cxn ang="0">
                <a:pos x="connsiteX16179" y="connsiteY16179"/>
              </a:cxn>
              <a:cxn ang="0">
                <a:pos x="connsiteX16180" y="connsiteY16180"/>
              </a:cxn>
              <a:cxn ang="0">
                <a:pos x="connsiteX16181" y="connsiteY16181"/>
              </a:cxn>
              <a:cxn ang="0">
                <a:pos x="connsiteX16182" y="connsiteY16182"/>
              </a:cxn>
              <a:cxn ang="0">
                <a:pos x="connsiteX16183" y="connsiteY16183"/>
              </a:cxn>
              <a:cxn ang="0">
                <a:pos x="connsiteX16184" y="connsiteY16184"/>
              </a:cxn>
              <a:cxn ang="0">
                <a:pos x="connsiteX16185" y="connsiteY16185"/>
              </a:cxn>
              <a:cxn ang="0">
                <a:pos x="connsiteX16186" y="connsiteY16186"/>
              </a:cxn>
              <a:cxn ang="0">
                <a:pos x="connsiteX16187" y="connsiteY16187"/>
              </a:cxn>
              <a:cxn ang="0">
                <a:pos x="connsiteX16188" y="connsiteY16188"/>
              </a:cxn>
              <a:cxn ang="0">
                <a:pos x="connsiteX16189" y="connsiteY16189"/>
              </a:cxn>
              <a:cxn ang="0">
                <a:pos x="connsiteX16190" y="connsiteY16190"/>
              </a:cxn>
              <a:cxn ang="0">
                <a:pos x="connsiteX16191" y="connsiteY16191"/>
              </a:cxn>
              <a:cxn ang="0">
                <a:pos x="connsiteX16192" y="connsiteY16192"/>
              </a:cxn>
              <a:cxn ang="0">
                <a:pos x="connsiteX16193" y="connsiteY16193"/>
              </a:cxn>
              <a:cxn ang="0">
                <a:pos x="connsiteX16194" y="connsiteY16194"/>
              </a:cxn>
              <a:cxn ang="0">
                <a:pos x="connsiteX16195" y="connsiteY16195"/>
              </a:cxn>
              <a:cxn ang="0">
                <a:pos x="connsiteX16196" y="connsiteY16196"/>
              </a:cxn>
              <a:cxn ang="0">
                <a:pos x="connsiteX16197" y="connsiteY16197"/>
              </a:cxn>
              <a:cxn ang="0">
                <a:pos x="connsiteX16198" y="connsiteY16198"/>
              </a:cxn>
              <a:cxn ang="0">
                <a:pos x="connsiteX16199" y="connsiteY16199"/>
              </a:cxn>
              <a:cxn ang="0">
                <a:pos x="connsiteX16200" y="connsiteY16200"/>
              </a:cxn>
              <a:cxn ang="0">
                <a:pos x="connsiteX16201" y="connsiteY16201"/>
              </a:cxn>
              <a:cxn ang="0">
                <a:pos x="connsiteX16202" y="connsiteY16202"/>
              </a:cxn>
              <a:cxn ang="0">
                <a:pos x="connsiteX16203" y="connsiteY16203"/>
              </a:cxn>
              <a:cxn ang="0">
                <a:pos x="connsiteX16204" y="connsiteY16204"/>
              </a:cxn>
              <a:cxn ang="0">
                <a:pos x="connsiteX16205" y="connsiteY16205"/>
              </a:cxn>
              <a:cxn ang="0">
                <a:pos x="connsiteX16206" y="connsiteY16206"/>
              </a:cxn>
              <a:cxn ang="0">
                <a:pos x="connsiteX16207" y="connsiteY16207"/>
              </a:cxn>
              <a:cxn ang="0">
                <a:pos x="connsiteX16208" y="connsiteY16208"/>
              </a:cxn>
              <a:cxn ang="0">
                <a:pos x="connsiteX16209" y="connsiteY16209"/>
              </a:cxn>
              <a:cxn ang="0">
                <a:pos x="connsiteX16210" y="connsiteY16210"/>
              </a:cxn>
              <a:cxn ang="0">
                <a:pos x="connsiteX16211" y="connsiteY16211"/>
              </a:cxn>
              <a:cxn ang="0">
                <a:pos x="connsiteX16212" y="connsiteY16212"/>
              </a:cxn>
              <a:cxn ang="0">
                <a:pos x="connsiteX16213" y="connsiteY16213"/>
              </a:cxn>
              <a:cxn ang="0">
                <a:pos x="connsiteX16214" y="connsiteY16214"/>
              </a:cxn>
              <a:cxn ang="0">
                <a:pos x="connsiteX16215" y="connsiteY16215"/>
              </a:cxn>
              <a:cxn ang="0">
                <a:pos x="connsiteX16216" y="connsiteY16216"/>
              </a:cxn>
              <a:cxn ang="0">
                <a:pos x="connsiteX16217" y="connsiteY16217"/>
              </a:cxn>
              <a:cxn ang="0">
                <a:pos x="connsiteX16218" y="connsiteY16218"/>
              </a:cxn>
              <a:cxn ang="0">
                <a:pos x="connsiteX16219" y="connsiteY16219"/>
              </a:cxn>
              <a:cxn ang="0">
                <a:pos x="connsiteX16220" y="connsiteY16220"/>
              </a:cxn>
              <a:cxn ang="0">
                <a:pos x="connsiteX16221" y="connsiteY16221"/>
              </a:cxn>
              <a:cxn ang="0">
                <a:pos x="connsiteX16222" y="connsiteY16222"/>
              </a:cxn>
              <a:cxn ang="0">
                <a:pos x="connsiteX16223" y="connsiteY16223"/>
              </a:cxn>
              <a:cxn ang="0">
                <a:pos x="connsiteX16224" y="connsiteY16224"/>
              </a:cxn>
              <a:cxn ang="0">
                <a:pos x="connsiteX16225" y="connsiteY16225"/>
              </a:cxn>
              <a:cxn ang="0">
                <a:pos x="connsiteX16226" y="connsiteY16226"/>
              </a:cxn>
              <a:cxn ang="0">
                <a:pos x="connsiteX16227" y="connsiteY16227"/>
              </a:cxn>
              <a:cxn ang="0">
                <a:pos x="connsiteX16228" y="connsiteY16228"/>
              </a:cxn>
              <a:cxn ang="0">
                <a:pos x="connsiteX16229" y="connsiteY16229"/>
              </a:cxn>
              <a:cxn ang="0">
                <a:pos x="connsiteX16230" y="connsiteY16230"/>
              </a:cxn>
              <a:cxn ang="0">
                <a:pos x="connsiteX16231" y="connsiteY16231"/>
              </a:cxn>
              <a:cxn ang="0">
                <a:pos x="connsiteX16232" y="connsiteY16232"/>
              </a:cxn>
              <a:cxn ang="0">
                <a:pos x="connsiteX16233" y="connsiteY16233"/>
              </a:cxn>
              <a:cxn ang="0">
                <a:pos x="connsiteX16234" y="connsiteY16234"/>
              </a:cxn>
              <a:cxn ang="0">
                <a:pos x="connsiteX16235" y="connsiteY16235"/>
              </a:cxn>
              <a:cxn ang="0">
                <a:pos x="connsiteX16236" y="connsiteY16236"/>
              </a:cxn>
              <a:cxn ang="0">
                <a:pos x="connsiteX16237" y="connsiteY16237"/>
              </a:cxn>
              <a:cxn ang="0">
                <a:pos x="connsiteX16238" y="connsiteY16238"/>
              </a:cxn>
              <a:cxn ang="0">
                <a:pos x="connsiteX16239" y="connsiteY16239"/>
              </a:cxn>
              <a:cxn ang="0">
                <a:pos x="connsiteX16240" y="connsiteY16240"/>
              </a:cxn>
              <a:cxn ang="0">
                <a:pos x="connsiteX16241" y="connsiteY16241"/>
              </a:cxn>
              <a:cxn ang="0">
                <a:pos x="connsiteX16242" y="connsiteY16242"/>
              </a:cxn>
              <a:cxn ang="0">
                <a:pos x="connsiteX16243" y="connsiteY16243"/>
              </a:cxn>
              <a:cxn ang="0">
                <a:pos x="connsiteX16244" y="connsiteY16244"/>
              </a:cxn>
              <a:cxn ang="0">
                <a:pos x="connsiteX16245" y="connsiteY16245"/>
              </a:cxn>
              <a:cxn ang="0">
                <a:pos x="connsiteX16246" y="connsiteY16246"/>
              </a:cxn>
              <a:cxn ang="0">
                <a:pos x="connsiteX16247" y="connsiteY16247"/>
              </a:cxn>
              <a:cxn ang="0">
                <a:pos x="connsiteX16248" y="connsiteY16248"/>
              </a:cxn>
              <a:cxn ang="0">
                <a:pos x="connsiteX16249" y="connsiteY16249"/>
              </a:cxn>
              <a:cxn ang="0">
                <a:pos x="connsiteX16250" y="connsiteY16250"/>
              </a:cxn>
              <a:cxn ang="0">
                <a:pos x="connsiteX16251" y="connsiteY16251"/>
              </a:cxn>
              <a:cxn ang="0">
                <a:pos x="connsiteX16252" y="connsiteY16252"/>
              </a:cxn>
              <a:cxn ang="0">
                <a:pos x="connsiteX16253" y="connsiteY16253"/>
              </a:cxn>
              <a:cxn ang="0">
                <a:pos x="connsiteX16254" y="connsiteY16254"/>
              </a:cxn>
              <a:cxn ang="0">
                <a:pos x="connsiteX16255" y="connsiteY16255"/>
              </a:cxn>
              <a:cxn ang="0">
                <a:pos x="connsiteX16256" y="connsiteY16256"/>
              </a:cxn>
              <a:cxn ang="0">
                <a:pos x="connsiteX16257" y="connsiteY16257"/>
              </a:cxn>
              <a:cxn ang="0">
                <a:pos x="connsiteX16258" y="connsiteY16258"/>
              </a:cxn>
              <a:cxn ang="0">
                <a:pos x="connsiteX16259" y="connsiteY16259"/>
              </a:cxn>
              <a:cxn ang="0">
                <a:pos x="connsiteX16260" y="connsiteY16260"/>
              </a:cxn>
              <a:cxn ang="0">
                <a:pos x="connsiteX16261" y="connsiteY16261"/>
              </a:cxn>
              <a:cxn ang="0">
                <a:pos x="connsiteX16262" y="connsiteY16262"/>
              </a:cxn>
              <a:cxn ang="0">
                <a:pos x="connsiteX16263" y="connsiteY16263"/>
              </a:cxn>
              <a:cxn ang="0">
                <a:pos x="connsiteX16264" y="connsiteY16264"/>
              </a:cxn>
              <a:cxn ang="0">
                <a:pos x="connsiteX16265" y="connsiteY16265"/>
              </a:cxn>
              <a:cxn ang="0">
                <a:pos x="connsiteX16266" y="connsiteY16266"/>
              </a:cxn>
              <a:cxn ang="0">
                <a:pos x="connsiteX16267" y="connsiteY16267"/>
              </a:cxn>
              <a:cxn ang="0">
                <a:pos x="connsiteX16268" y="connsiteY16268"/>
              </a:cxn>
              <a:cxn ang="0">
                <a:pos x="connsiteX16269" y="connsiteY16269"/>
              </a:cxn>
              <a:cxn ang="0">
                <a:pos x="connsiteX16270" y="connsiteY16270"/>
              </a:cxn>
              <a:cxn ang="0">
                <a:pos x="connsiteX16271" y="connsiteY16271"/>
              </a:cxn>
              <a:cxn ang="0">
                <a:pos x="connsiteX16272" y="connsiteY16272"/>
              </a:cxn>
              <a:cxn ang="0">
                <a:pos x="connsiteX16273" y="connsiteY16273"/>
              </a:cxn>
              <a:cxn ang="0">
                <a:pos x="connsiteX16274" y="connsiteY16274"/>
              </a:cxn>
              <a:cxn ang="0">
                <a:pos x="connsiteX16275" y="connsiteY16275"/>
              </a:cxn>
              <a:cxn ang="0">
                <a:pos x="connsiteX16276" y="connsiteY16276"/>
              </a:cxn>
              <a:cxn ang="0">
                <a:pos x="connsiteX16277" y="connsiteY16277"/>
              </a:cxn>
              <a:cxn ang="0">
                <a:pos x="connsiteX16278" y="connsiteY16278"/>
              </a:cxn>
              <a:cxn ang="0">
                <a:pos x="connsiteX16279" y="connsiteY16279"/>
              </a:cxn>
              <a:cxn ang="0">
                <a:pos x="connsiteX16280" y="connsiteY16280"/>
              </a:cxn>
              <a:cxn ang="0">
                <a:pos x="connsiteX16281" y="connsiteY16281"/>
              </a:cxn>
              <a:cxn ang="0">
                <a:pos x="connsiteX16282" y="connsiteY16282"/>
              </a:cxn>
              <a:cxn ang="0">
                <a:pos x="connsiteX16283" y="connsiteY16283"/>
              </a:cxn>
              <a:cxn ang="0">
                <a:pos x="connsiteX16284" y="connsiteY16284"/>
              </a:cxn>
              <a:cxn ang="0">
                <a:pos x="connsiteX16285" y="connsiteY16285"/>
              </a:cxn>
              <a:cxn ang="0">
                <a:pos x="connsiteX16286" y="connsiteY16286"/>
              </a:cxn>
              <a:cxn ang="0">
                <a:pos x="connsiteX16287" y="connsiteY16287"/>
              </a:cxn>
              <a:cxn ang="0">
                <a:pos x="connsiteX16288" y="connsiteY16288"/>
              </a:cxn>
              <a:cxn ang="0">
                <a:pos x="connsiteX16289" y="connsiteY16289"/>
              </a:cxn>
              <a:cxn ang="0">
                <a:pos x="connsiteX16290" y="connsiteY16290"/>
              </a:cxn>
              <a:cxn ang="0">
                <a:pos x="connsiteX16291" y="connsiteY16291"/>
              </a:cxn>
              <a:cxn ang="0">
                <a:pos x="connsiteX16292" y="connsiteY16292"/>
              </a:cxn>
              <a:cxn ang="0">
                <a:pos x="connsiteX16293" y="connsiteY16293"/>
              </a:cxn>
              <a:cxn ang="0">
                <a:pos x="connsiteX16294" y="connsiteY16294"/>
              </a:cxn>
              <a:cxn ang="0">
                <a:pos x="connsiteX16295" y="connsiteY16295"/>
              </a:cxn>
              <a:cxn ang="0">
                <a:pos x="connsiteX16296" y="connsiteY16296"/>
              </a:cxn>
              <a:cxn ang="0">
                <a:pos x="connsiteX16297" y="connsiteY16297"/>
              </a:cxn>
              <a:cxn ang="0">
                <a:pos x="connsiteX16298" y="connsiteY16298"/>
              </a:cxn>
              <a:cxn ang="0">
                <a:pos x="connsiteX16299" y="connsiteY16299"/>
              </a:cxn>
              <a:cxn ang="0">
                <a:pos x="connsiteX16300" y="connsiteY16300"/>
              </a:cxn>
              <a:cxn ang="0">
                <a:pos x="connsiteX16301" y="connsiteY16301"/>
              </a:cxn>
              <a:cxn ang="0">
                <a:pos x="connsiteX16302" y="connsiteY16302"/>
              </a:cxn>
              <a:cxn ang="0">
                <a:pos x="connsiteX16303" y="connsiteY16303"/>
              </a:cxn>
              <a:cxn ang="0">
                <a:pos x="connsiteX16304" y="connsiteY16304"/>
              </a:cxn>
              <a:cxn ang="0">
                <a:pos x="connsiteX16305" y="connsiteY16305"/>
              </a:cxn>
              <a:cxn ang="0">
                <a:pos x="connsiteX16306" y="connsiteY16306"/>
              </a:cxn>
              <a:cxn ang="0">
                <a:pos x="connsiteX16307" y="connsiteY16307"/>
              </a:cxn>
              <a:cxn ang="0">
                <a:pos x="connsiteX16308" y="connsiteY16308"/>
              </a:cxn>
              <a:cxn ang="0">
                <a:pos x="connsiteX16309" y="connsiteY16309"/>
              </a:cxn>
              <a:cxn ang="0">
                <a:pos x="connsiteX16310" y="connsiteY16310"/>
              </a:cxn>
              <a:cxn ang="0">
                <a:pos x="connsiteX16311" y="connsiteY16311"/>
              </a:cxn>
              <a:cxn ang="0">
                <a:pos x="connsiteX16312" y="connsiteY16312"/>
              </a:cxn>
              <a:cxn ang="0">
                <a:pos x="connsiteX16313" y="connsiteY16313"/>
              </a:cxn>
              <a:cxn ang="0">
                <a:pos x="connsiteX16314" y="connsiteY16314"/>
              </a:cxn>
              <a:cxn ang="0">
                <a:pos x="connsiteX16315" y="connsiteY16315"/>
              </a:cxn>
              <a:cxn ang="0">
                <a:pos x="connsiteX16316" y="connsiteY16316"/>
              </a:cxn>
              <a:cxn ang="0">
                <a:pos x="connsiteX16317" y="connsiteY16317"/>
              </a:cxn>
              <a:cxn ang="0">
                <a:pos x="connsiteX16318" y="connsiteY16318"/>
              </a:cxn>
              <a:cxn ang="0">
                <a:pos x="connsiteX16319" y="connsiteY16319"/>
              </a:cxn>
              <a:cxn ang="0">
                <a:pos x="connsiteX16320" y="connsiteY16320"/>
              </a:cxn>
              <a:cxn ang="0">
                <a:pos x="connsiteX16321" y="connsiteY16321"/>
              </a:cxn>
              <a:cxn ang="0">
                <a:pos x="connsiteX16322" y="connsiteY16322"/>
              </a:cxn>
              <a:cxn ang="0">
                <a:pos x="connsiteX16323" y="connsiteY16323"/>
              </a:cxn>
              <a:cxn ang="0">
                <a:pos x="connsiteX16324" y="connsiteY16324"/>
              </a:cxn>
              <a:cxn ang="0">
                <a:pos x="connsiteX16325" y="connsiteY16325"/>
              </a:cxn>
              <a:cxn ang="0">
                <a:pos x="connsiteX16326" y="connsiteY16326"/>
              </a:cxn>
              <a:cxn ang="0">
                <a:pos x="connsiteX16327" y="connsiteY16327"/>
              </a:cxn>
              <a:cxn ang="0">
                <a:pos x="connsiteX16328" y="connsiteY16328"/>
              </a:cxn>
              <a:cxn ang="0">
                <a:pos x="connsiteX16329" y="connsiteY16329"/>
              </a:cxn>
              <a:cxn ang="0">
                <a:pos x="connsiteX16330" y="connsiteY16330"/>
              </a:cxn>
              <a:cxn ang="0">
                <a:pos x="connsiteX16331" y="connsiteY16331"/>
              </a:cxn>
              <a:cxn ang="0">
                <a:pos x="connsiteX16332" y="connsiteY16332"/>
              </a:cxn>
              <a:cxn ang="0">
                <a:pos x="connsiteX16333" y="connsiteY16333"/>
              </a:cxn>
              <a:cxn ang="0">
                <a:pos x="connsiteX16334" y="connsiteY16334"/>
              </a:cxn>
              <a:cxn ang="0">
                <a:pos x="connsiteX16335" y="connsiteY16335"/>
              </a:cxn>
              <a:cxn ang="0">
                <a:pos x="connsiteX16336" y="connsiteY16336"/>
              </a:cxn>
              <a:cxn ang="0">
                <a:pos x="connsiteX16337" y="connsiteY16337"/>
              </a:cxn>
              <a:cxn ang="0">
                <a:pos x="connsiteX16338" y="connsiteY16338"/>
              </a:cxn>
              <a:cxn ang="0">
                <a:pos x="connsiteX16339" y="connsiteY16339"/>
              </a:cxn>
              <a:cxn ang="0">
                <a:pos x="connsiteX16340" y="connsiteY16340"/>
              </a:cxn>
              <a:cxn ang="0">
                <a:pos x="connsiteX16341" y="connsiteY16341"/>
              </a:cxn>
              <a:cxn ang="0">
                <a:pos x="connsiteX16342" y="connsiteY16342"/>
              </a:cxn>
              <a:cxn ang="0">
                <a:pos x="connsiteX16343" y="connsiteY16343"/>
              </a:cxn>
              <a:cxn ang="0">
                <a:pos x="connsiteX16344" y="connsiteY16344"/>
              </a:cxn>
              <a:cxn ang="0">
                <a:pos x="connsiteX16345" y="connsiteY16345"/>
              </a:cxn>
              <a:cxn ang="0">
                <a:pos x="connsiteX16346" y="connsiteY16346"/>
              </a:cxn>
              <a:cxn ang="0">
                <a:pos x="connsiteX16347" y="connsiteY16347"/>
              </a:cxn>
              <a:cxn ang="0">
                <a:pos x="connsiteX16348" y="connsiteY16348"/>
              </a:cxn>
              <a:cxn ang="0">
                <a:pos x="connsiteX16349" y="connsiteY16349"/>
              </a:cxn>
              <a:cxn ang="0">
                <a:pos x="connsiteX16350" y="connsiteY16350"/>
              </a:cxn>
              <a:cxn ang="0">
                <a:pos x="connsiteX16351" y="connsiteY16351"/>
              </a:cxn>
              <a:cxn ang="0">
                <a:pos x="connsiteX16352" y="connsiteY16352"/>
              </a:cxn>
              <a:cxn ang="0">
                <a:pos x="connsiteX16353" y="connsiteY16353"/>
              </a:cxn>
              <a:cxn ang="0">
                <a:pos x="connsiteX16354" y="connsiteY16354"/>
              </a:cxn>
              <a:cxn ang="0">
                <a:pos x="connsiteX16355" y="connsiteY16355"/>
              </a:cxn>
              <a:cxn ang="0">
                <a:pos x="connsiteX16356" y="connsiteY16356"/>
              </a:cxn>
              <a:cxn ang="0">
                <a:pos x="connsiteX16357" y="connsiteY16357"/>
              </a:cxn>
              <a:cxn ang="0">
                <a:pos x="connsiteX16358" y="connsiteY16358"/>
              </a:cxn>
              <a:cxn ang="0">
                <a:pos x="connsiteX16359" y="connsiteY16359"/>
              </a:cxn>
              <a:cxn ang="0">
                <a:pos x="connsiteX16360" y="connsiteY16360"/>
              </a:cxn>
              <a:cxn ang="0">
                <a:pos x="connsiteX16361" y="connsiteY16361"/>
              </a:cxn>
              <a:cxn ang="0">
                <a:pos x="connsiteX16362" y="connsiteY16362"/>
              </a:cxn>
              <a:cxn ang="0">
                <a:pos x="connsiteX16363" y="connsiteY16363"/>
              </a:cxn>
              <a:cxn ang="0">
                <a:pos x="connsiteX16364" y="connsiteY16364"/>
              </a:cxn>
              <a:cxn ang="0">
                <a:pos x="connsiteX16365" y="connsiteY16365"/>
              </a:cxn>
              <a:cxn ang="0">
                <a:pos x="connsiteX16366" y="connsiteY16366"/>
              </a:cxn>
              <a:cxn ang="0">
                <a:pos x="connsiteX16367" y="connsiteY16367"/>
              </a:cxn>
              <a:cxn ang="0">
                <a:pos x="connsiteX16368" y="connsiteY16368"/>
              </a:cxn>
              <a:cxn ang="0">
                <a:pos x="connsiteX16369" y="connsiteY16369"/>
              </a:cxn>
              <a:cxn ang="0">
                <a:pos x="connsiteX16370" y="connsiteY16370"/>
              </a:cxn>
              <a:cxn ang="0">
                <a:pos x="connsiteX16371" y="connsiteY16371"/>
              </a:cxn>
              <a:cxn ang="0">
                <a:pos x="connsiteX16372" y="connsiteY16372"/>
              </a:cxn>
              <a:cxn ang="0">
                <a:pos x="connsiteX16373" y="connsiteY16373"/>
              </a:cxn>
              <a:cxn ang="0">
                <a:pos x="connsiteX16374" y="connsiteY16374"/>
              </a:cxn>
              <a:cxn ang="0">
                <a:pos x="connsiteX16375" y="connsiteY16375"/>
              </a:cxn>
              <a:cxn ang="0">
                <a:pos x="connsiteX16376" y="connsiteY16376"/>
              </a:cxn>
              <a:cxn ang="0">
                <a:pos x="connsiteX16377" y="connsiteY16377"/>
              </a:cxn>
              <a:cxn ang="0">
                <a:pos x="connsiteX16378" y="connsiteY16378"/>
              </a:cxn>
              <a:cxn ang="0">
                <a:pos x="connsiteX16379" y="connsiteY16379"/>
              </a:cxn>
              <a:cxn ang="0">
                <a:pos x="connsiteX16380" y="connsiteY16380"/>
              </a:cxn>
              <a:cxn ang="0">
                <a:pos x="connsiteX16381" y="connsiteY16381"/>
              </a:cxn>
              <a:cxn ang="0">
                <a:pos x="connsiteX16382" y="connsiteY16382"/>
              </a:cxn>
              <a:cxn ang="0">
                <a:pos x="connsiteX16383" y="connsiteY16383"/>
              </a:cxn>
              <a:cxn ang="0">
                <a:pos x="connsiteX16384" y="connsiteY16384"/>
              </a:cxn>
              <a:cxn ang="0">
                <a:pos x="connsiteX16385" y="connsiteY16385"/>
              </a:cxn>
              <a:cxn ang="0">
                <a:pos x="connsiteX16386" y="connsiteY16386"/>
              </a:cxn>
              <a:cxn ang="0">
                <a:pos x="connsiteX16387" y="connsiteY16387"/>
              </a:cxn>
              <a:cxn ang="0">
                <a:pos x="connsiteX16388" y="connsiteY16388"/>
              </a:cxn>
              <a:cxn ang="0">
                <a:pos x="connsiteX16389" y="connsiteY16389"/>
              </a:cxn>
              <a:cxn ang="0">
                <a:pos x="connsiteX16390" y="connsiteY16390"/>
              </a:cxn>
              <a:cxn ang="0">
                <a:pos x="connsiteX16391" y="connsiteY16391"/>
              </a:cxn>
              <a:cxn ang="0">
                <a:pos x="connsiteX16392" y="connsiteY16392"/>
              </a:cxn>
              <a:cxn ang="0">
                <a:pos x="connsiteX16393" y="connsiteY16393"/>
              </a:cxn>
              <a:cxn ang="0">
                <a:pos x="connsiteX16394" y="connsiteY16394"/>
              </a:cxn>
              <a:cxn ang="0">
                <a:pos x="connsiteX16395" y="connsiteY16395"/>
              </a:cxn>
              <a:cxn ang="0">
                <a:pos x="connsiteX16396" y="connsiteY16396"/>
              </a:cxn>
              <a:cxn ang="0">
                <a:pos x="connsiteX16397" y="connsiteY16397"/>
              </a:cxn>
              <a:cxn ang="0">
                <a:pos x="connsiteX16398" y="connsiteY16398"/>
              </a:cxn>
              <a:cxn ang="0">
                <a:pos x="connsiteX16399" y="connsiteY16399"/>
              </a:cxn>
              <a:cxn ang="0">
                <a:pos x="connsiteX16400" y="connsiteY16400"/>
              </a:cxn>
              <a:cxn ang="0">
                <a:pos x="connsiteX16401" y="connsiteY16401"/>
              </a:cxn>
              <a:cxn ang="0">
                <a:pos x="connsiteX16402" y="connsiteY16402"/>
              </a:cxn>
              <a:cxn ang="0">
                <a:pos x="connsiteX16403" y="connsiteY16403"/>
              </a:cxn>
              <a:cxn ang="0">
                <a:pos x="connsiteX16404" y="connsiteY16404"/>
              </a:cxn>
              <a:cxn ang="0">
                <a:pos x="connsiteX16405" y="connsiteY16405"/>
              </a:cxn>
              <a:cxn ang="0">
                <a:pos x="connsiteX16406" y="connsiteY16406"/>
              </a:cxn>
              <a:cxn ang="0">
                <a:pos x="connsiteX16407" y="connsiteY16407"/>
              </a:cxn>
              <a:cxn ang="0">
                <a:pos x="connsiteX16408" y="connsiteY16408"/>
              </a:cxn>
              <a:cxn ang="0">
                <a:pos x="connsiteX16409" y="connsiteY16409"/>
              </a:cxn>
              <a:cxn ang="0">
                <a:pos x="connsiteX16410" y="connsiteY16410"/>
              </a:cxn>
              <a:cxn ang="0">
                <a:pos x="connsiteX16411" y="connsiteY16411"/>
              </a:cxn>
              <a:cxn ang="0">
                <a:pos x="connsiteX16412" y="connsiteY16412"/>
              </a:cxn>
              <a:cxn ang="0">
                <a:pos x="connsiteX16413" y="connsiteY16413"/>
              </a:cxn>
              <a:cxn ang="0">
                <a:pos x="connsiteX16414" y="connsiteY16414"/>
              </a:cxn>
              <a:cxn ang="0">
                <a:pos x="connsiteX16415" y="connsiteY16415"/>
              </a:cxn>
              <a:cxn ang="0">
                <a:pos x="connsiteX16416" y="connsiteY16416"/>
              </a:cxn>
              <a:cxn ang="0">
                <a:pos x="connsiteX16417" y="connsiteY16417"/>
              </a:cxn>
              <a:cxn ang="0">
                <a:pos x="connsiteX16418" y="connsiteY16418"/>
              </a:cxn>
              <a:cxn ang="0">
                <a:pos x="connsiteX16419" y="connsiteY16419"/>
              </a:cxn>
              <a:cxn ang="0">
                <a:pos x="connsiteX16420" y="connsiteY16420"/>
              </a:cxn>
              <a:cxn ang="0">
                <a:pos x="connsiteX16421" y="connsiteY16421"/>
              </a:cxn>
              <a:cxn ang="0">
                <a:pos x="connsiteX16422" y="connsiteY16422"/>
              </a:cxn>
              <a:cxn ang="0">
                <a:pos x="connsiteX16423" y="connsiteY16423"/>
              </a:cxn>
              <a:cxn ang="0">
                <a:pos x="connsiteX16424" y="connsiteY16424"/>
              </a:cxn>
              <a:cxn ang="0">
                <a:pos x="connsiteX16425" y="connsiteY16425"/>
              </a:cxn>
              <a:cxn ang="0">
                <a:pos x="connsiteX16426" y="connsiteY16426"/>
              </a:cxn>
              <a:cxn ang="0">
                <a:pos x="connsiteX16427" y="connsiteY16427"/>
              </a:cxn>
              <a:cxn ang="0">
                <a:pos x="connsiteX16428" y="connsiteY16428"/>
              </a:cxn>
              <a:cxn ang="0">
                <a:pos x="connsiteX16429" y="connsiteY16429"/>
              </a:cxn>
              <a:cxn ang="0">
                <a:pos x="connsiteX16430" y="connsiteY16430"/>
              </a:cxn>
              <a:cxn ang="0">
                <a:pos x="connsiteX16431" y="connsiteY16431"/>
              </a:cxn>
              <a:cxn ang="0">
                <a:pos x="connsiteX16432" y="connsiteY16432"/>
              </a:cxn>
              <a:cxn ang="0">
                <a:pos x="connsiteX16433" y="connsiteY16433"/>
              </a:cxn>
              <a:cxn ang="0">
                <a:pos x="connsiteX16434" y="connsiteY16434"/>
              </a:cxn>
              <a:cxn ang="0">
                <a:pos x="connsiteX16435" y="connsiteY16435"/>
              </a:cxn>
              <a:cxn ang="0">
                <a:pos x="connsiteX16436" y="connsiteY16436"/>
              </a:cxn>
              <a:cxn ang="0">
                <a:pos x="connsiteX16437" y="connsiteY16437"/>
              </a:cxn>
              <a:cxn ang="0">
                <a:pos x="connsiteX16438" y="connsiteY16438"/>
              </a:cxn>
              <a:cxn ang="0">
                <a:pos x="connsiteX16439" y="connsiteY16439"/>
              </a:cxn>
              <a:cxn ang="0">
                <a:pos x="connsiteX16440" y="connsiteY16440"/>
              </a:cxn>
              <a:cxn ang="0">
                <a:pos x="connsiteX16441" y="connsiteY16441"/>
              </a:cxn>
              <a:cxn ang="0">
                <a:pos x="connsiteX16442" y="connsiteY16442"/>
              </a:cxn>
              <a:cxn ang="0">
                <a:pos x="connsiteX16443" y="connsiteY16443"/>
              </a:cxn>
              <a:cxn ang="0">
                <a:pos x="connsiteX16444" y="connsiteY16444"/>
              </a:cxn>
              <a:cxn ang="0">
                <a:pos x="connsiteX16445" y="connsiteY16445"/>
              </a:cxn>
              <a:cxn ang="0">
                <a:pos x="connsiteX16446" y="connsiteY16446"/>
              </a:cxn>
              <a:cxn ang="0">
                <a:pos x="connsiteX16447" y="connsiteY16447"/>
              </a:cxn>
              <a:cxn ang="0">
                <a:pos x="connsiteX16448" y="connsiteY16448"/>
              </a:cxn>
              <a:cxn ang="0">
                <a:pos x="connsiteX16449" y="connsiteY16449"/>
              </a:cxn>
              <a:cxn ang="0">
                <a:pos x="connsiteX16450" y="connsiteY16450"/>
              </a:cxn>
              <a:cxn ang="0">
                <a:pos x="connsiteX16451" y="connsiteY16451"/>
              </a:cxn>
              <a:cxn ang="0">
                <a:pos x="connsiteX16452" y="connsiteY16452"/>
              </a:cxn>
              <a:cxn ang="0">
                <a:pos x="connsiteX16453" y="connsiteY16453"/>
              </a:cxn>
              <a:cxn ang="0">
                <a:pos x="connsiteX16454" y="connsiteY16454"/>
              </a:cxn>
              <a:cxn ang="0">
                <a:pos x="connsiteX16455" y="connsiteY16455"/>
              </a:cxn>
              <a:cxn ang="0">
                <a:pos x="connsiteX16456" y="connsiteY16456"/>
              </a:cxn>
              <a:cxn ang="0">
                <a:pos x="connsiteX16457" y="connsiteY16457"/>
              </a:cxn>
              <a:cxn ang="0">
                <a:pos x="connsiteX16458" y="connsiteY16458"/>
              </a:cxn>
              <a:cxn ang="0">
                <a:pos x="connsiteX16459" y="connsiteY16459"/>
              </a:cxn>
              <a:cxn ang="0">
                <a:pos x="connsiteX16460" y="connsiteY16460"/>
              </a:cxn>
              <a:cxn ang="0">
                <a:pos x="connsiteX16461" y="connsiteY16461"/>
              </a:cxn>
              <a:cxn ang="0">
                <a:pos x="connsiteX16462" y="connsiteY16462"/>
              </a:cxn>
              <a:cxn ang="0">
                <a:pos x="connsiteX16463" y="connsiteY16463"/>
              </a:cxn>
              <a:cxn ang="0">
                <a:pos x="connsiteX16464" y="connsiteY16464"/>
              </a:cxn>
              <a:cxn ang="0">
                <a:pos x="connsiteX16465" y="connsiteY16465"/>
              </a:cxn>
              <a:cxn ang="0">
                <a:pos x="connsiteX16466" y="connsiteY16466"/>
              </a:cxn>
              <a:cxn ang="0">
                <a:pos x="connsiteX16467" y="connsiteY16467"/>
              </a:cxn>
              <a:cxn ang="0">
                <a:pos x="connsiteX16468" y="connsiteY16468"/>
              </a:cxn>
              <a:cxn ang="0">
                <a:pos x="connsiteX16469" y="connsiteY16469"/>
              </a:cxn>
              <a:cxn ang="0">
                <a:pos x="connsiteX16470" y="connsiteY16470"/>
              </a:cxn>
              <a:cxn ang="0">
                <a:pos x="connsiteX16471" y="connsiteY16471"/>
              </a:cxn>
              <a:cxn ang="0">
                <a:pos x="connsiteX16472" y="connsiteY16472"/>
              </a:cxn>
              <a:cxn ang="0">
                <a:pos x="connsiteX16473" y="connsiteY16473"/>
              </a:cxn>
              <a:cxn ang="0">
                <a:pos x="connsiteX16474" y="connsiteY16474"/>
              </a:cxn>
              <a:cxn ang="0">
                <a:pos x="connsiteX16475" y="connsiteY16475"/>
              </a:cxn>
              <a:cxn ang="0">
                <a:pos x="connsiteX16476" y="connsiteY16476"/>
              </a:cxn>
              <a:cxn ang="0">
                <a:pos x="connsiteX16477" y="connsiteY16477"/>
              </a:cxn>
              <a:cxn ang="0">
                <a:pos x="connsiteX16478" y="connsiteY16478"/>
              </a:cxn>
              <a:cxn ang="0">
                <a:pos x="connsiteX16479" y="connsiteY16479"/>
              </a:cxn>
              <a:cxn ang="0">
                <a:pos x="connsiteX16480" y="connsiteY16480"/>
              </a:cxn>
              <a:cxn ang="0">
                <a:pos x="connsiteX16481" y="connsiteY16481"/>
              </a:cxn>
              <a:cxn ang="0">
                <a:pos x="connsiteX16482" y="connsiteY16482"/>
              </a:cxn>
              <a:cxn ang="0">
                <a:pos x="connsiteX16483" y="connsiteY16483"/>
              </a:cxn>
              <a:cxn ang="0">
                <a:pos x="connsiteX16484" y="connsiteY16484"/>
              </a:cxn>
              <a:cxn ang="0">
                <a:pos x="connsiteX16485" y="connsiteY16485"/>
              </a:cxn>
              <a:cxn ang="0">
                <a:pos x="connsiteX16486" y="connsiteY16486"/>
              </a:cxn>
              <a:cxn ang="0">
                <a:pos x="connsiteX16487" y="connsiteY16487"/>
              </a:cxn>
              <a:cxn ang="0">
                <a:pos x="connsiteX16488" y="connsiteY16488"/>
              </a:cxn>
              <a:cxn ang="0">
                <a:pos x="connsiteX16489" y="connsiteY16489"/>
              </a:cxn>
              <a:cxn ang="0">
                <a:pos x="connsiteX16490" y="connsiteY16490"/>
              </a:cxn>
              <a:cxn ang="0">
                <a:pos x="connsiteX16491" y="connsiteY16491"/>
              </a:cxn>
              <a:cxn ang="0">
                <a:pos x="connsiteX16492" y="connsiteY16492"/>
              </a:cxn>
              <a:cxn ang="0">
                <a:pos x="connsiteX16493" y="connsiteY16493"/>
              </a:cxn>
              <a:cxn ang="0">
                <a:pos x="connsiteX16494" y="connsiteY16494"/>
              </a:cxn>
              <a:cxn ang="0">
                <a:pos x="connsiteX16495" y="connsiteY16495"/>
              </a:cxn>
              <a:cxn ang="0">
                <a:pos x="connsiteX16496" y="connsiteY16496"/>
              </a:cxn>
              <a:cxn ang="0">
                <a:pos x="connsiteX16497" y="connsiteY16497"/>
              </a:cxn>
              <a:cxn ang="0">
                <a:pos x="connsiteX16498" y="connsiteY16498"/>
              </a:cxn>
              <a:cxn ang="0">
                <a:pos x="connsiteX16499" y="connsiteY16499"/>
              </a:cxn>
              <a:cxn ang="0">
                <a:pos x="connsiteX16500" y="connsiteY16500"/>
              </a:cxn>
              <a:cxn ang="0">
                <a:pos x="connsiteX16501" y="connsiteY16501"/>
              </a:cxn>
              <a:cxn ang="0">
                <a:pos x="connsiteX16502" y="connsiteY16502"/>
              </a:cxn>
              <a:cxn ang="0">
                <a:pos x="connsiteX16503" y="connsiteY16503"/>
              </a:cxn>
              <a:cxn ang="0">
                <a:pos x="connsiteX16504" y="connsiteY16504"/>
              </a:cxn>
              <a:cxn ang="0">
                <a:pos x="connsiteX16505" y="connsiteY16505"/>
              </a:cxn>
              <a:cxn ang="0">
                <a:pos x="connsiteX16506" y="connsiteY16506"/>
              </a:cxn>
              <a:cxn ang="0">
                <a:pos x="connsiteX16507" y="connsiteY16507"/>
              </a:cxn>
              <a:cxn ang="0">
                <a:pos x="connsiteX16508" y="connsiteY16508"/>
              </a:cxn>
              <a:cxn ang="0">
                <a:pos x="connsiteX16509" y="connsiteY16509"/>
              </a:cxn>
              <a:cxn ang="0">
                <a:pos x="connsiteX16510" y="connsiteY16510"/>
              </a:cxn>
              <a:cxn ang="0">
                <a:pos x="connsiteX16511" y="connsiteY16511"/>
              </a:cxn>
              <a:cxn ang="0">
                <a:pos x="connsiteX16512" y="connsiteY16512"/>
              </a:cxn>
              <a:cxn ang="0">
                <a:pos x="connsiteX16513" y="connsiteY16513"/>
              </a:cxn>
              <a:cxn ang="0">
                <a:pos x="connsiteX16514" y="connsiteY16514"/>
              </a:cxn>
              <a:cxn ang="0">
                <a:pos x="connsiteX16515" y="connsiteY16515"/>
              </a:cxn>
              <a:cxn ang="0">
                <a:pos x="connsiteX16516" y="connsiteY16516"/>
              </a:cxn>
              <a:cxn ang="0">
                <a:pos x="connsiteX16517" y="connsiteY16517"/>
              </a:cxn>
              <a:cxn ang="0">
                <a:pos x="connsiteX16518" y="connsiteY16518"/>
              </a:cxn>
              <a:cxn ang="0">
                <a:pos x="connsiteX16519" y="connsiteY16519"/>
              </a:cxn>
              <a:cxn ang="0">
                <a:pos x="connsiteX16520" y="connsiteY16520"/>
              </a:cxn>
              <a:cxn ang="0">
                <a:pos x="connsiteX16521" y="connsiteY16521"/>
              </a:cxn>
              <a:cxn ang="0">
                <a:pos x="connsiteX16522" y="connsiteY16522"/>
              </a:cxn>
              <a:cxn ang="0">
                <a:pos x="connsiteX16523" y="connsiteY16523"/>
              </a:cxn>
              <a:cxn ang="0">
                <a:pos x="connsiteX16524" y="connsiteY16524"/>
              </a:cxn>
              <a:cxn ang="0">
                <a:pos x="connsiteX16525" y="connsiteY16525"/>
              </a:cxn>
              <a:cxn ang="0">
                <a:pos x="connsiteX16526" y="connsiteY16526"/>
              </a:cxn>
              <a:cxn ang="0">
                <a:pos x="connsiteX16527" y="connsiteY16527"/>
              </a:cxn>
              <a:cxn ang="0">
                <a:pos x="connsiteX16528" y="connsiteY16528"/>
              </a:cxn>
              <a:cxn ang="0">
                <a:pos x="connsiteX16529" y="connsiteY16529"/>
              </a:cxn>
              <a:cxn ang="0">
                <a:pos x="connsiteX16530" y="connsiteY16530"/>
              </a:cxn>
              <a:cxn ang="0">
                <a:pos x="connsiteX16531" y="connsiteY16531"/>
              </a:cxn>
              <a:cxn ang="0">
                <a:pos x="connsiteX16532" y="connsiteY16532"/>
              </a:cxn>
              <a:cxn ang="0">
                <a:pos x="connsiteX16533" y="connsiteY16533"/>
              </a:cxn>
              <a:cxn ang="0">
                <a:pos x="connsiteX16534" y="connsiteY16534"/>
              </a:cxn>
              <a:cxn ang="0">
                <a:pos x="connsiteX16535" y="connsiteY16535"/>
              </a:cxn>
              <a:cxn ang="0">
                <a:pos x="connsiteX16536" y="connsiteY16536"/>
              </a:cxn>
              <a:cxn ang="0">
                <a:pos x="connsiteX16537" y="connsiteY16537"/>
              </a:cxn>
              <a:cxn ang="0">
                <a:pos x="connsiteX16538" y="connsiteY16538"/>
              </a:cxn>
              <a:cxn ang="0">
                <a:pos x="connsiteX16539" y="connsiteY16539"/>
              </a:cxn>
              <a:cxn ang="0">
                <a:pos x="connsiteX16540" y="connsiteY16540"/>
              </a:cxn>
              <a:cxn ang="0">
                <a:pos x="connsiteX16541" y="connsiteY16541"/>
              </a:cxn>
              <a:cxn ang="0">
                <a:pos x="connsiteX16542" y="connsiteY16542"/>
              </a:cxn>
              <a:cxn ang="0">
                <a:pos x="connsiteX16543" y="connsiteY16543"/>
              </a:cxn>
              <a:cxn ang="0">
                <a:pos x="connsiteX16544" y="connsiteY16544"/>
              </a:cxn>
              <a:cxn ang="0">
                <a:pos x="connsiteX16545" y="connsiteY16545"/>
              </a:cxn>
              <a:cxn ang="0">
                <a:pos x="connsiteX16546" y="connsiteY16546"/>
              </a:cxn>
              <a:cxn ang="0">
                <a:pos x="connsiteX16547" y="connsiteY16547"/>
              </a:cxn>
              <a:cxn ang="0">
                <a:pos x="connsiteX16548" y="connsiteY16548"/>
              </a:cxn>
              <a:cxn ang="0">
                <a:pos x="connsiteX16549" y="connsiteY16549"/>
              </a:cxn>
              <a:cxn ang="0">
                <a:pos x="connsiteX16550" y="connsiteY16550"/>
              </a:cxn>
              <a:cxn ang="0">
                <a:pos x="connsiteX16551" y="connsiteY16551"/>
              </a:cxn>
              <a:cxn ang="0">
                <a:pos x="connsiteX16552" y="connsiteY16552"/>
              </a:cxn>
              <a:cxn ang="0">
                <a:pos x="connsiteX16553" y="connsiteY16553"/>
              </a:cxn>
              <a:cxn ang="0">
                <a:pos x="connsiteX16554" y="connsiteY16554"/>
              </a:cxn>
              <a:cxn ang="0">
                <a:pos x="connsiteX16555" y="connsiteY16555"/>
              </a:cxn>
              <a:cxn ang="0">
                <a:pos x="connsiteX16556" y="connsiteY16556"/>
              </a:cxn>
              <a:cxn ang="0">
                <a:pos x="connsiteX16557" y="connsiteY16557"/>
              </a:cxn>
              <a:cxn ang="0">
                <a:pos x="connsiteX16558" y="connsiteY16558"/>
              </a:cxn>
              <a:cxn ang="0">
                <a:pos x="connsiteX16559" y="connsiteY16559"/>
              </a:cxn>
              <a:cxn ang="0">
                <a:pos x="connsiteX16560" y="connsiteY16560"/>
              </a:cxn>
              <a:cxn ang="0">
                <a:pos x="connsiteX16561" y="connsiteY16561"/>
              </a:cxn>
              <a:cxn ang="0">
                <a:pos x="connsiteX16562" y="connsiteY16562"/>
              </a:cxn>
              <a:cxn ang="0">
                <a:pos x="connsiteX16563" y="connsiteY16563"/>
              </a:cxn>
              <a:cxn ang="0">
                <a:pos x="connsiteX16564" y="connsiteY16564"/>
              </a:cxn>
              <a:cxn ang="0">
                <a:pos x="connsiteX16565" y="connsiteY16565"/>
              </a:cxn>
              <a:cxn ang="0">
                <a:pos x="connsiteX16566" y="connsiteY16566"/>
              </a:cxn>
              <a:cxn ang="0">
                <a:pos x="connsiteX16567" y="connsiteY16567"/>
              </a:cxn>
              <a:cxn ang="0">
                <a:pos x="connsiteX16568" y="connsiteY16568"/>
              </a:cxn>
              <a:cxn ang="0">
                <a:pos x="connsiteX16569" y="connsiteY16569"/>
              </a:cxn>
              <a:cxn ang="0">
                <a:pos x="connsiteX16570" y="connsiteY16570"/>
              </a:cxn>
              <a:cxn ang="0">
                <a:pos x="connsiteX16571" y="connsiteY16571"/>
              </a:cxn>
              <a:cxn ang="0">
                <a:pos x="connsiteX16572" y="connsiteY16572"/>
              </a:cxn>
              <a:cxn ang="0">
                <a:pos x="connsiteX16573" y="connsiteY16573"/>
              </a:cxn>
              <a:cxn ang="0">
                <a:pos x="connsiteX16574" y="connsiteY16574"/>
              </a:cxn>
              <a:cxn ang="0">
                <a:pos x="connsiteX16575" y="connsiteY16575"/>
              </a:cxn>
              <a:cxn ang="0">
                <a:pos x="connsiteX16576" y="connsiteY16576"/>
              </a:cxn>
              <a:cxn ang="0">
                <a:pos x="connsiteX16577" y="connsiteY16577"/>
              </a:cxn>
              <a:cxn ang="0">
                <a:pos x="connsiteX16578" y="connsiteY16578"/>
              </a:cxn>
              <a:cxn ang="0">
                <a:pos x="connsiteX16579" y="connsiteY16579"/>
              </a:cxn>
              <a:cxn ang="0">
                <a:pos x="connsiteX16580" y="connsiteY16580"/>
              </a:cxn>
              <a:cxn ang="0">
                <a:pos x="connsiteX16581" y="connsiteY16581"/>
              </a:cxn>
              <a:cxn ang="0">
                <a:pos x="connsiteX16582" y="connsiteY16582"/>
              </a:cxn>
              <a:cxn ang="0">
                <a:pos x="connsiteX16583" y="connsiteY16583"/>
              </a:cxn>
              <a:cxn ang="0">
                <a:pos x="connsiteX16584" y="connsiteY16584"/>
              </a:cxn>
              <a:cxn ang="0">
                <a:pos x="connsiteX16585" y="connsiteY16585"/>
              </a:cxn>
              <a:cxn ang="0">
                <a:pos x="connsiteX16586" y="connsiteY16586"/>
              </a:cxn>
              <a:cxn ang="0">
                <a:pos x="connsiteX16587" y="connsiteY16587"/>
              </a:cxn>
              <a:cxn ang="0">
                <a:pos x="connsiteX16588" y="connsiteY16588"/>
              </a:cxn>
              <a:cxn ang="0">
                <a:pos x="connsiteX16589" y="connsiteY16589"/>
              </a:cxn>
              <a:cxn ang="0">
                <a:pos x="connsiteX16590" y="connsiteY16590"/>
              </a:cxn>
              <a:cxn ang="0">
                <a:pos x="connsiteX16591" y="connsiteY16591"/>
              </a:cxn>
              <a:cxn ang="0">
                <a:pos x="connsiteX16592" y="connsiteY16592"/>
              </a:cxn>
              <a:cxn ang="0">
                <a:pos x="connsiteX16593" y="connsiteY16593"/>
              </a:cxn>
              <a:cxn ang="0">
                <a:pos x="connsiteX16594" y="connsiteY16594"/>
              </a:cxn>
              <a:cxn ang="0">
                <a:pos x="connsiteX16595" y="connsiteY16595"/>
              </a:cxn>
              <a:cxn ang="0">
                <a:pos x="connsiteX16596" y="connsiteY16596"/>
              </a:cxn>
              <a:cxn ang="0">
                <a:pos x="connsiteX16597" y="connsiteY16597"/>
              </a:cxn>
              <a:cxn ang="0">
                <a:pos x="connsiteX16598" y="connsiteY16598"/>
              </a:cxn>
              <a:cxn ang="0">
                <a:pos x="connsiteX16599" y="connsiteY16599"/>
              </a:cxn>
              <a:cxn ang="0">
                <a:pos x="connsiteX16600" y="connsiteY16600"/>
              </a:cxn>
              <a:cxn ang="0">
                <a:pos x="connsiteX16601" y="connsiteY16601"/>
              </a:cxn>
              <a:cxn ang="0">
                <a:pos x="connsiteX16602" y="connsiteY16602"/>
              </a:cxn>
              <a:cxn ang="0">
                <a:pos x="connsiteX16603" y="connsiteY16603"/>
              </a:cxn>
              <a:cxn ang="0">
                <a:pos x="connsiteX16604" y="connsiteY16604"/>
              </a:cxn>
              <a:cxn ang="0">
                <a:pos x="connsiteX16605" y="connsiteY16605"/>
              </a:cxn>
              <a:cxn ang="0">
                <a:pos x="connsiteX16606" y="connsiteY16606"/>
              </a:cxn>
              <a:cxn ang="0">
                <a:pos x="connsiteX16607" y="connsiteY16607"/>
              </a:cxn>
              <a:cxn ang="0">
                <a:pos x="connsiteX16608" y="connsiteY16608"/>
              </a:cxn>
              <a:cxn ang="0">
                <a:pos x="connsiteX16609" y="connsiteY16609"/>
              </a:cxn>
              <a:cxn ang="0">
                <a:pos x="connsiteX16610" y="connsiteY16610"/>
              </a:cxn>
              <a:cxn ang="0">
                <a:pos x="connsiteX16611" y="connsiteY16611"/>
              </a:cxn>
              <a:cxn ang="0">
                <a:pos x="connsiteX16612" y="connsiteY16612"/>
              </a:cxn>
              <a:cxn ang="0">
                <a:pos x="connsiteX16613" y="connsiteY16613"/>
              </a:cxn>
              <a:cxn ang="0">
                <a:pos x="connsiteX16614" y="connsiteY16614"/>
              </a:cxn>
              <a:cxn ang="0">
                <a:pos x="connsiteX16615" y="connsiteY16615"/>
              </a:cxn>
              <a:cxn ang="0">
                <a:pos x="connsiteX16616" y="connsiteY16616"/>
              </a:cxn>
              <a:cxn ang="0">
                <a:pos x="connsiteX16617" y="connsiteY16617"/>
              </a:cxn>
              <a:cxn ang="0">
                <a:pos x="connsiteX16618" y="connsiteY16618"/>
              </a:cxn>
              <a:cxn ang="0">
                <a:pos x="connsiteX16619" y="connsiteY16619"/>
              </a:cxn>
              <a:cxn ang="0">
                <a:pos x="connsiteX16620" y="connsiteY16620"/>
              </a:cxn>
              <a:cxn ang="0">
                <a:pos x="connsiteX16621" y="connsiteY16621"/>
              </a:cxn>
              <a:cxn ang="0">
                <a:pos x="connsiteX16622" y="connsiteY16622"/>
              </a:cxn>
              <a:cxn ang="0">
                <a:pos x="connsiteX16623" y="connsiteY16623"/>
              </a:cxn>
              <a:cxn ang="0">
                <a:pos x="connsiteX16624" y="connsiteY16624"/>
              </a:cxn>
              <a:cxn ang="0">
                <a:pos x="connsiteX16625" y="connsiteY16625"/>
              </a:cxn>
              <a:cxn ang="0">
                <a:pos x="connsiteX16626" y="connsiteY16626"/>
              </a:cxn>
              <a:cxn ang="0">
                <a:pos x="connsiteX16627" y="connsiteY16627"/>
              </a:cxn>
              <a:cxn ang="0">
                <a:pos x="connsiteX16628" y="connsiteY16628"/>
              </a:cxn>
              <a:cxn ang="0">
                <a:pos x="connsiteX16629" y="connsiteY16629"/>
              </a:cxn>
              <a:cxn ang="0">
                <a:pos x="connsiteX16630" y="connsiteY16630"/>
              </a:cxn>
              <a:cxn ang="0">
                <a:pos x="connsiteX16631" y="connsiteY16631"/>
              </a:cxn>
              <a:cxn ang="0">
                <a:pos x="connsiteX16632" y="connsiteY16632"/>
              </a:cxn>
              <a:cxn ang="0">
                <a:pos x="connsiteX16633" y="connsiteY16633"/>
              </a:cxn>
              <a:cxn ang="0">
                <a:pos x="connsiteX16634" y="connsiteY16634"/>
              </a:cxn>
              <a:cxn ang="0">
                <a:pos x="connsiteX16635" y="connsiteY16635"/>
              </a:cxn>
              <a:cxn ang="0">
                <a:pos x="connsiteX16636" y="connsiteY16636"/>
              </a:cxn>
              <a:cxn ang="0">
                <a:pos x="connsiteX16637" y="connsiteY16637"/>
              </a:cxn>
              <a:cxn ang="0">
                <a:pos x="connsiteX16638" y="connsiteY16638"/>
              </a:cxn>
              <a:cxn ang="0">
                <a:pos x="connsiteX16639" y="connsiteY16639"/>
              </a:cxn>
              <a:cxn ang="0">
                <a:pos x="connsiteX16640" y="connsiteY16640"/>
              </a:cxn>
              <a:cxn ang="0">
                <a:pos x="connsiteX16641" y="connsiteY16641"/>
              </a:cxn>
              <a:cxn ang="0">
                <a:pos x="connsiteX16642" y="connsiteY16642"/>
              </a:cxn>
              <a:cxn ang="0">
                <a:pos x="connsiteX16643" y="connsiteY16643"/>
              </a:cxn>
              <a:cxn ang="0">
                <a:pos x="connsiteX16644" y="connsiteY16644"/>
              </a:cxn>
              <a:cxn ang="0">
                <a:pos x="connsiteX16645" y="connsiteY16645"/>
              </a:cxn>
              <a:cxn ang="0">
                <a:pos x="connsiteX16646" y="connsiteY16646"/>
              </a:cxn>
              <a:cxn ang="0">
                <a:pos x="connsiteX16647" y="connsiteY16647"/>
              </a:cxn>
              <a:cxn ang="0">
                <a:pos x="connsiteX16648" y="connsiteY16648"/>
              </a:cxn>
              <a:cxn ang="0">
                <a:pos x="connsiteX16649" y="connsiteY16649"/>
              </a:cxn>
              <a:cxn ang="0">
                <a:pos x="connsiteX16650" y="connsiteY16650"/>
              </a:cxn>
              <a:cxn ang="0">
                <a:pos x="connsiteX16651" y="connsiteY16651"/>
              </a:cxn>
              <a:cxn ang="0">
                <a:pos x="connsiteX16652" y="connsiteY16652"/>
              </a:cxn>
              <a:cxn ang="0">
                <a:pos x="connsiteX16653" y="connsiteY16653"/>
              </a:cxn>
              <a:cxn ang="0">
                <a:pos x="connsiteX16654" y="connsiteY16654"/>
              </a:cxn>
              <a:cxn ang="0">
                <a:pos x="connsiteX16655" y="connsiteY16655"/>
              </a:cxn>
              <a:cxn ang="0">
                <a:pos x="connsiteX16656" y="connsiteY16656"/>
              </a:cxn>
              <a:cxn ang="0">
                <a:pos x="connsiteX16657" y="connsiteY16657"/>
              </a:cxn>
              <a:cxn ang="0">
                <a:pos x="connsiteX16658" y="connsiteY16658"/>
              </a:cxn>
              <a:cxn ang="0">
                <a:pos x="connsiteX16659" y="connsiteY16659"/>
              </a:cxn>
              <a:cxn ang="0">
                <a:pos x="connsiteX16660" y="connsiteY16660"/>
              </a:cxn>
              <a:cxn ang="0">
                <a:pos x="connsiteX16661" y="connsiteY16661"/>
              </a:cxn>
              <a:cxn ang="0">
                <a:pos x="connsiteX16662" y="connsiteY16662"/>
              </a:cxn>
              <a:cxn ang="0">
                <a:pos x="connsiteX16663" y="connsiteY16663"/>
              </a:cxn>
              <a:cxn ang="0">
                <a:pos x="connsiteX16664" y="connsiteY16664"/>
              </a:cxn>
              <a:cxn ang="0">
                <a:pos x="connsiteX16665" y="connsiteY16665"/>
              </a:cxn>
              <a:cxn ang="0">
                <a:pos x="connsiteX16666" y="connsiteY16666"/>
              </a:cxn>
              <a:cxn ang="0">
                <a:pos x="connsiteX16667" y="connsiteY16667"/>
              </a:cxn>
              <a:cxn ang="0">
                <a:pos x="connsiteX16668" y="connsiteY16668"/>
              </a:cxn>
              <a:cxn ang="0">
                <a:pos x="connsiteX16669" y="connsiteY16669"/>
              </a:cxn>
              <a:cxn ang="0">
                <a:pos x="connsiteX16670" y="connsiteY16670"/>
              </a:cxn>
              <a:cxn ang="0">
                <a:pos x="connsiteX16671" y="connsiteY16671"/>
              </a:cxn>
              <a:cxn ang="0">
                <a:pos x="connsiteX16672" y="connsiteY16672"/>
              </a:cxn>
              <a:cxn ang="0">
                <a:pos x="connsiteX16673" y="connsiteY16673"/>
              </a:cxn>
              <a:cxn ang="0">
                <a:pos x="connsiteX16674" y="connsiteY16674"/>
              </a:cxn>
              <a:cxn ang="0">
                <a:pos x="connsiteX16675" y="connsiteY16675"/>
              </a:cxn>
              <a:cxn ang="0">
                <a:pos x="connsiteX16676" y="connsiteY16676"/>
              </a:cxn>
              <a:cxn ang="0">
                <a:pos x="connsiteX16677" y="connsiteY16677"/>
              </a:cxn>
              <a:cxn ang="0">
                <a:pos x="connsiteX16678" y="connsiteY16678"/>
              </a:cxn>
              <a:cxn ang="0">
                <a:pos x="connsiteX16679" y="connsiteY16679"/>
              </a:cxn>
              <a:cxn ang="0">
                <a:pos x="connsiteX16680" y="connsiteY16680"/>
              </a:cxn>
              <a:cxn ang="0">
                <a:pos x="connsiteX16681" y="connsiteY16681"/>
              </a:cxn>
              <a:cxn ang="0">
                <a:pos x="connsiteX16682" y="connsiteY16682"/>
              </a:cxn>
              <a:cxn ang="0">
                <a:pos x="connsiteX16683" y="connsiteY16683"/>
              </a:cxn>
              <a:cxn ang="0">
                <a:pos x="connsiteX16684" y="connsiteY16684"/>
              </a:cxn>
              <a:cxn ang="0">
                <a:pos x="connsiteX16685" y="connsiteY16685"/>
              </a:cxn>
              <a:cxn ang="0">
                <a:pos x="connsiteX16686" y="connsiteY16686"/>
              </a:cxn>
              <a:cxn ang="0">
                <a:pos x="connsiteX16687" y="connsiteY16687"/>
              </a:cxn>
              <a:cxn ang="0">
                <a:pos x="connsiteX16688" y="connsiteY16688"/>
              </a:cxn>
              <a:cxn ang="0">
                <a:pos x="connsiteX16689" y="connsiteY16689"/>
              </a:cxn>
              <a:cxn ang="0">
                <a:pos x="connsiteX16690" y="connsiteY16690"/>
              </a:cxn>
              <a:cxn ang="0">
                <a:pos x="connsiteX16691" y="connsiteY16691"/>
              </a:cxn>
              <a:cxn ang="0">
                <a:pos x="connsiteX16692" y="connsiteY16692"/>
              </a:cxn>
              <a:cxn ang="0">
                <a:pos x="connsiteX16693" y="connsiteY16693"/>
              </a:cxn>
              <a:cxn ang="0">
                <a:pos x="connsiteX16694" y="connsiteY16694"/>
              </a:cxn>
              <a:cxn ang="0">
                <a:pos x="connsiteX16695" y="connsiteY16695"/>
              </a:cxn>
              <a:cxn ang="0">
                <a:pos x="connsiteX16696" y="connsiteY16696"/>
              </a:cxn>
              <a:cxn ang="0">
                <a:pos x="connsiteX16697" y="connsiteY16697"/>
              </a:cxn>
              <a:cxn ang="0">
                <a:pos x="connsiteX16698" y="connsiteY16698"/>
              </a:cxn>
              <a:cxn ang="0">
                <a:pos x="connsiteX16699" y="connsiteY16699"/>
              </a:cxn>
              <a:cxn ang="0">
                <a:pos x="connsiteX16700" y="connsiteY16700"/>
              </a:cxn>
              <a:cxn ang="0">
                <a:pos x="connsiteX16701" y="connsiteY16701"/>
              </a:cxn>
              <a:cxn ang="0">
                <a:pos x="connsiteX16702" y="connsiteY16702"/>
              </a:cxn>
              <a:cxn ang="0">
                <a:pos x="connsiteX16703" y="connsiteY16703"/>
              </a:cxn>
              <a:cxn ang="0">
                <a:pos x="connsiteX16704" y="connsiteY16704"/>
              </a:cxn>
              <a:cxn ang="0">
                <a:pos x="connsiteX16705" y="connsiteY16705"/>
              </a:cxn>
              <a:cxn ang="0">
                <a:pos x="connsiteX16706" y="connsiteY16706"/>
              </a:cxn>
              <a:cxn ang="0">
                <a:pos x="connsiteX16707" y="connsiteY16707"/>
              </a:cxn>
              <a:cxn ang="0">
                <a:pos x="connsiteX16708" y="connsiteY16708"/>
              </a:cxn>
              <a:cxn ang="0">
                <a:pos x="connsiteX16709" y="connsiteY16709"/>
              </a:cxn>
              <a:cxn ang="0">
                <a:pos x="connsiteX16710" y="connsiteY16710"/>
              </a:cxn>
              <a:cxn ang="0">
                <a:pos x="connsiteX16711" y="connsiteY16711"/>
              </a:cxn>
              <a:cxn ang="0">
                <a:pos x="connsiteX16712" y="connsiteY16712"/>
              </a:cxn>
              <a:cxn ang="0">
                <a:pos x="connsiteX16713" y="connsiteY16713"/>
              </a:cxn>
              <a:cxn ang="0">
                <a:pos x="connsiteX16714" y="connsiteY16714"/>
              </a:cxn>
              <a:cxn ang="0">
                <a:pos x="connsiteX16715" y="connsiteY16715"/>
              </a:cxn>
              <a:cxn ang="0">
                <a:pos x="connsiteX16716" y="connsiteY16716"/>
              </a:cxn>
              <a:cxn ang="0">
                <a:pos x="connsiteX16717" y="connsiteY16717"/>
              </a:cxn>
              <a:cxn ang="0">
                <a:pos x="connsiteX16718" y="connsiteY16718"/>
              </a:cxn>
              <a:cxn ang="0">
                <a:pos x="connsiteX16719" y="connsiteY16719"/>
              </a:cxn>
              <a:cxn ang="0">
                <a:pos x="connsiteX16720" y="connsiteY16720"/>
              </a:cxn>
              <a:cxn ang="0">
                <a:pos x="connsiteX16721" y="connsiteY16721"/>
              </a:cxn>
              <a:cxn ang="0">
                <a:pos x="connsiteX16722" y="connsiteY16722"/>
              </a:cxn>
              <a:cxn ang="0">
                <a:pos x="connsiteX16723" y="connsiteY16723"/>
              </a:cxn>
              <a:cxn ang="0">
                <a:pos x="connsiteX16724" y="connsiteY16724"/>
              </a:cxn>
              <a:cxn ang="0">
                <a:pos x="connsiteX16725" y="connsiteY16725"/>
              </a:cxn>
              <a:cxn ang="0">
                <a:pos x="connsiteX16726" y="connsiteY16726"/>
              </a:cxn>
              <a:cxn ang="0">
                <a:pos x="connsiteX16727" y="connsiteY16727"/>
              </a:cxn>
              <a:cxn ang="0">
                <a:pos x="connsiteX16728" y="connsiteY16728"/>
              </a:cxn>
              <a:cxn ang="0">
                <a:pos x="connsiteX16729" y="connsiteY16729"/>
              </a:cxn>
              <a:cxn ang="0">
                <a:pos x="connsiteX16730" y="connsiteY16730"/>
              </a:cxn>
              <a:cxn ang="0">
                <a:pos x="connsiteX16731" y="connsiteY16731"/>
              </a:cxn>
              <a:cxn ang="0">
                <a:pos x="connsiteX16732" y="connsiteY16732"/>
              </a:cxn>
              <a:cxn ang="0">
                <a:pos x="connsiteX16733" y="connsiteY16733"/>
              </a:cxn>
              <a:cxn ang="0">
                <a:pos x="connsiteX16734" y="connsiteY16734"/>
              </a:cxn>
              <a:cxn ang="0">
                <a:pos x="connsiteX16735" y="connsiteY16735"/>
              </a:cxn>
              <a:cxn ang="0">
                <a:pos x="connsiteX16736" y="connsiteY16736"/>
              </a:cxn>
              <a:cxn ang="0">
                <a:pos x="connsiteX16737" y="connsiteY16737"/>
              </a:cxn>
              <a:cxn ang="0">
                <a:pos x="connsiteX16738" y="connsiteY16738"/>
              </a:cxn>
              <a:cxn ang="0">
                <a:pos x="connsiteX16739" y="connsiteY16739"/>
              </a:cxn>
              <a:cxn ang="0">
                <a:pos x="connsiteX16740" y="connsiteY16740"/>
              </a:cxn>
              <a:cxn ang="0">
                <a:pos x="connsiteX16741" y="connsiteY16741"/>
              </a:cxn>
              <a:cxn ang="0">
                <a:pos x="connsiteX16742" y="connsiteY16742"/>
              </a:cxn>
              <a:cxn ang="0">
                <a:pos x="connsiteX16743" y="connsiteY16743"/>
              </a:cxn>
              <a:cxn ang="0">
                <a:pos x="connsiteX16744" y="connsiteY16744"/>
              </a:cxn>
              <a:cxn ang="0">
                <a:pos x="connsiteX16745" y="connsiteY16745"/>
              </a:cxn>
              <a:cxn ang="0">
                <a:pos x="connsiteX16746" y="connsiteY16746"/>
              </a:cxn>
              <a:cxn ang="0">
                <a:pos x="connsiteX16747" y="connsiteY16747"/>
              </a:cxn>
              <a:cxn ang="0">
                <a:pos x="connsiteX16748" y="connsiteY16748"/>
              </a:cxn>
              <a:cxn ang="0">
                <a:pos x="connsiteX16749" y="connsiteY16749"/>
              </a:cxn>
              <a:cxn ang="0">
                <a:pos x="connsiteX16750" y="connsiteY16750"/>
              </a:cxn>
              <a:cxn ang="0">
                <a:pos x="connsiteX16751" y="connsiteY16751"/>
              </a:cxn>
              <a:cxn ang="0">
                <a:pos x="connsiteX16752" y="connsiteY16752"/>
              </a:cxn>
              <a:cxn ang="0">
                <a:pos x="connsiteX16753" y="connsiteY16753"/>
              </a:cxn>
              <a:cxn ang="0">
                <a:pos x="connsiteX16754" y="connsiteY16754"/>
              </a:cxn>
              <a:cxn ang="0">
                <a:pos x="connsiteX16755" y="connsiteY16755"/>
              </a:cxn>
              <a:cxn ang="0">
                <a:pos x="connsiteX16756" y="connsiteY16756"/>
              </a:cxn>
              <a:cxn ang="0">
                <a:pos x="connsiteX16757" y="connsiteY16757"/>
              </a:cxn>
              <a:cxn ang="0">
                <a:pos x="connsiteX16758" y="connsiteY16758"/>
              </a:cxn>
              <a:cxn ang="0">
                <a:pos x="connsiteX16759" y="connsiteY16759"/>
              </a:cxn>
              <a:cxn ang="0">
                <a:pos x="connsiteX16760" y="connsiteY16760"/>
              </a:cxn>
              <a:cxn ang="0">
                <a:pos x="connsiteX16761" y="connsiteY16761"/>
              </a:cxn>
              <a:cxn ang="0">
                <a:pos x="connsiteX16762" y="connsiteY16762"/>
              </a:cxn>
              <a:cxn ang="0">
                <a:pos x="connsiteX16763" y="connsiteY16763"/>
              </a:cxn>
              <a:cxn ang="0">
                <a:pos x="connsiteX16764" y="connsiteY16764"/>
              </a:cxn>
              <a:cxn ang="0">
                <a:pos x="connsiteX16765" y="connsiteY16765"/>
              </a:cxn>
              <a:cxn ang="0">
                <a:pos x="connsiteX16766" y="connsiteY16766"/>
              </a:cxn>
              <a:cxn ang="0">
                <a:pos x="connsiteX16767" y="connsiteY16767"/>
              </a:cxn>
              <a:cxn ang="0">
                <a:pos x="connsiteX16768" y="connsiteY16768"/>
              </a:cxn>
              <a:cxn ang="0">
                <a:pos x="connsiteX16769" y="connsiteY16769"/>
              </a:cxn>
              <a:cxn ang="0">
                <a:pos x="connsiteX16770" y="connsiteY16770"/>
              </a:cxn>
              <a:cxn ang="0">
                <a:pos x="connsiteX16771" y="connsiteY16771"/>
              </a:cxn>
              <a:cxn ang="0">
                <a:pos x="connsiteX16772" y="connsiteY16772"/>
              </a:cxn>
              <a:cxn ang="0">
                <a:pos x="connsiteX16773" y="connsiteY16773"/>
              </a:cxn>
              <a:cxn ang="0">
                <a:pos x="connsiteX16774" y="connsiteY16774"/>
              </a:cxn>
              <a:cxn ang="0">
                <a:pos x="connsiteX16775" y="connsiteY16775"/>
              </a:cxn>
              <a:cxn ang="0">
                <a:pos x="connsiteX16776" y="connsiteY16776"/>
              </a:cxn>
              <a:cxn ang="0">
                <a:pos x="connsiteX16777" y="connsiteY16777"/>
              </a:cxn>
              <a:cxn ang="0">
                <a:pos x="connsiteX16778" y="connsiteY16778"/>
              </a:cxn>
              <a:cxn ang="0">
                <a:pos x="connsiteX16779" y="connsiteY16779"/>
              </a:cxn>
              <a:cxn ang="0">
                <a:pos x="connsiteX16780" y="connsiteY16780"/>
              </a:cxn>
              <a:cxn ang="0">
                <a:pos x="connsiteX16781" y="connsiteY16781"/>
              </a:cxn>
              <a:cxn ang="0">
                <a:pos x="connsiteX16782" y="connsiteY16782"/>
              </a:cxn>
              <a:cxn ang="0">
                <a:pos x="connsiteX16783" y="connsiteY16783"/>
              </a:cxn>
              <a:cxn ang="0">
                <a:pos x="connsiteX16784" y="connsiteY16784"/>
              </a:cxn>
              <a:cxn ang="0">
                <a:pos x="connsiteX16785" y="connsiteY16785"/>
              </a:cxn>
              <a:cxn ang="0">
                <a:pos x="connsiteX16786" y="connsiteY16786"/>
              </a:cxn>
              <a:cxn ang="0">
                <a:pos x="connsiteX16787" y="connsiteY16787"/>
              </a:cxn>
              <a:cxn ang="0">
                <a:pos x="connsiteX16788" y="connsiteY16788"/>
              </a:cxn>
              <a:cxn ang="0">
                <a:pos x="connsiteX16789" y="connsiteY16789"/>
              </a:cxn>
              <a:cxn ang="0">
                <a:pos x="connsiteX16790" y="connsiteY16790"/>
              </a:cxn>
              <a:cxn ang="0">
                <a:pos x="connsiteX16791" y="connsiteY16791"/>
              </a:cxn>
              <a:cxn ang="0">
                <a:pos x="connsiteX16792" y="connsiteY16792"/>
              </a:cxn>
              <a:cxn ang="0">
                <a:pos x="connsiteX16793" y="connsiteY16793"/>
              </a:cxn>
              <a:cxn ang="0">
                <a:pos x="connsiteX16794" y="connsiteY16794"/>
              </a:cxn>
              <a:cxn ang="0">
                <a:pos x="connsiteX16795" y="connsiteY16795"/>
              </a:cxn>
              <a:cxn ang="0">
                <a:pos x="connsiteX16796" y="connsiteY16796"/>
              </a:cxn>
              <a:cxn ang="0">
                <a:pos x="connsiteX16797" y="connsiteY16797"/>
              </a:cxn>
              <a:cxn ang="0">
                <a:pos x="connsiteX16798" y="connsiteY16798"/>
              </a:cxn>
              <a:cxn ang="0">
                <a:pos x="connsiteX16799" y="connsiteY16799"/>
              </a:cxn>
              <a:cxn ang="0">
                <a:pos x="connsiteX16800" y="connsiteY16800"/>
              </a:cxn>
              <a:cxn ang="0">
                <a:pos x="connsiteX16801" y="connsiteY16801"/>
              </a:cxn>
              <a:cxn ang="0">
                <a:pos x="connsiteX16802" y="connsiteY16802"/>
              </a:cxn>
              <a:cxn ang="0">
                <a:pos x="connsiteX16803" y="connsiteY16803"/>
              </a:cxn>
              <a:cxn ang="0">
                <a:pos x="connsiteX16804" y="connsiteY16804"/>
              </a:cxn>
              <a:cxn ang="0">
                <a:pos x="connsiteX16805" y="connsiteY16805"/>
              </a:cxn>
              <a:cxn ang="0">
                <a:pos x="connsiteX16806" y="connsiteY16806"/>
              </a:cxn>
              <a:cxn ang="0">
                <a:pos x="connsiteX16807" y="connsiteY16807"/>
              </a:cxn>
              <a:cxn ang="0">
                <a:pos x="connsiteX16808" y="connsiteY16808"/>
              </a:cxn>
              <a:cxn ang="0">
                <a:pos x="connsiteX16809" y="connsiteY16809"/>
              </a:cxn>
              <a:cxn ang="0">
                <a:pos x="connsiteX16810" y="connsiteY16810"/>
              </a:cxn>
              <a:cxn ang="0">
                <a:pos x="connsiteX16811" y="connsiteY16811"/>
              </a:cxn>
              <a:cxn ang="0">
                <a:pos x="connsiteX16812" y="connsiteY16812"/>
              </a:cxn>
              <a:cxn ang="0">
                <a:pos x="connsiteX16813" y="connsiteY16813"/>
              </a:cxn>
              <a:cxn ang="0">
                <a:pos x="connsiteX16814" y="connsiteY16814"/>
              </a:cxn>
              <a:cxn ang="0">
                <a:pos x="connsiteX16815" y="connsiteY16815"/>
              </a:cxn>
              <a:cxn ang="0">
                <a:pos x="connsiteX16816" y="connsiteY16816"/>
              </a:cxn>
              <a:cxn ang="0">
                <a:pos x="connsiteX16817" y="connsiteY16817"/>
              </a:cxn>
              <a:cxn ang="0">
                <a:pos x="connsiteX16818" y="connsiteY16818"/>
              </a:cxn>
              <a:cxn ang="0">
                <a:pos x="connsiteX16819" y="connsiteY16819"/>
              </a:cxn>
              <a:cxn ang="0">
                <a:pos x="connsiteX16820" y="connsiteY16820"/>
              </a:cxn>
              <a:cxn ang="0">
                <a:pos x="connsiteX16821" y="connsiteY16821"/>
              </a:cxn>
              <a:cxn ang="0">
                <a:pos x="connsiteX16822" y="connsiteY16822"/>
              </a:cxn>
              <a:cxn ang="0">
                <a:pos x="connsiteX16823" y="connsiteY16823"/>
              </a:cxn>
              <a:cxn ang="0">
                <a:pos x="connsiteX16824" y="connsiteY16824"/>
              </a:cxn>
              <a:cxn ang="0">
                <a:pos x="connsiteX16825" y="connsiteY16825"/>
              </a:cxn>
              <a:cxn ang="0">
                <a:pos x="connsiteX16826" y="connsiteY16826"/>
              </a:cxn>
              <a:cxn ang="0">
                <a:pos x="connsiteX16827" y="connsiteY16827"/>
              </a:cxn>
              <a:cxn ang="0">
                <a:pos x="connsiteX16828" y="connsiteY16828"/>
              </a:cxn>
              <a:cxn ang="0">
                <a:pos x="connsiteX16829" y="connsiteY16829"/>
              </a:cxn>
              <a:cxn ang="0">
                <a:pos x="connsiteX16830" y="connsiteY16830"/>
              </a:cxn>
              <a:cxn ang="0">
                <a:pos x="connsiteX16831" y="connsiteY16831"/>
              </a:cxn>
              <a:cxn ang="0">
                <a:pos x="connsiteX16832" y="connsiteY16832"/>
              </a:cxn>
              <a:cxn ang="0">
                <a:pos x="connsiteX16833" y="connsiteY16833"/>
              </a:cxn>
              <a:cxn ang="0">
                <a:pos x="connsiteX16834" y="connsiteY16834"/>
              </a:cxn>
              <a:cxn ang="0">
                <a:pos x="connsiteX16835" y="connsiteY16835"/>
              </a:cxn>
              <a:cxn ang="0">
                <a:pos x="connsiteX16836" y="connsiteY16836"/>
              </a:cxn>
              <a:cxn ang="0">
                <a:pos x="connsiteX16837" y="connsiteY16837"/>
              </a:cxn>
              <a:cxn ang="0">
                <a:pos x="connsiteX16838" y="connsiteY16838"/>
              </a:cxn>
              <a:cxn ang="0">
                <a:pos x="connsiteX16839" y="connsiteY16839"/>
              </a:cxn>
              <a:cxn ang="0">
                <a:pos x="connsiteX16840" y="connsiteY16840"/>
              </a:cxn>
              <a:cxn ang="0">
                <a:pos x="connsiteX16841" y="connsiteY16841"/>
              </a:cxn>
              <a:cxn ang="0">
                <a:pos x="connsiteX16842" y="connsiteY16842"/>
              </a:cxn>
              <a:cxn ang="0">
                <a:pos x="connsiteX16843" y="connsiteY16843"/>
              </a:cxn>
              <a:cxn ang="0">
                <a:pos x="connsiteX16844" y="connsiteY16844"/>
              </a:cxn>
              <a:cxn ang="0">
                <a:pos x="connsiteX16845" y="connsiteY16845"/>
              </a:cxn>
              <a:cxn ang="0">
                <a:pos x="connsiteX16846" y="connsiteY16846"/>
              </a:cxn>
              <a:cxn ang="0">
                <a:pos x="connsiteX16847" y="connsiteY16847"/>
              </a:cxn>
              <a:cxn ang="0">
                <a:pos x="connsiteX16848" y="connsiteY16848"/>
              </a:cxn>
              <a:cxn ang="0">
                <a:pos x="connsiteX16849" y="connsiteY16849"/>
              </a:cxn>
              <a:cxn ang="0">
                <a:pos x="connsiteX16850" y="connsiteY16850"/>
              </a:cxn>
              <a:cxn ang="0">
                <a:pos x="connsiteX16851" y="connsiteY16851"/>
              </a:cxn>
              <a:cxn ang="0">
                <a:pos x="connsiteX16852" y="connsiteY16852"/>
              </a:cxn>
              <a:cxn ang="0">
                <a:pos x="connsiteX16853" y="connsiteY16853"/>
              </a:cxn>
              <a:cxn ang="0">
                <a:pos x="connsiteX16854" y="connsiteY16854"/>
              </a:cxn>
              <a:cxn ang="0">
                <a:pos x="connsiteX16855" y="connsiteY16855"/>
              </a:cxn>
              <a:cxn ang="0">
                <a:pos x="connsiteX16856" y="connsiteY16856"/>
              </a:cxn>
              <a:cxn ang="0">
                <a:pos x="connsiteX16857" y="connsiteY16857"/>
              </a:cxn>
              <a:cxn ang="0">
                <a:pos x="connsiteX16858" y="connsiteY16858"/>
              </a:cxn>
              <a:cxn ang="0">
                <a:pos x="connsiteX16859" y="connsiteY16859"/>
              </a:cxn>
              <a:cxn ang="0">
                <a:pos x="connsiteX16860" y="connsiteY16860"/>
              </a:cxn>
              <a:cxn ang="0">
                <a:pos x="connsiteX16861" y="connsiteY16861"/>
              </a:cxn>
              <a:cxn ang="0">
                <a:pos x="connsiteX16862" y="connsiteY16862"/>
              </a:cxn>
              <a:cxn ang="0">
                <a:pos x="connsiteX16863" y="connsiteY16863"/>
              </a:cxn>
              <a:cxn ang="0">
                <a:pos x="connsiteX16864" y="connsiteY16864"/>
              </a:cxn>
              <a:cxn ang="0">
                <a:pos x="connsiteX16865" y="connsiteY16865"/>
              </a:cxn>
              <a:cxn ang="0">
                <a:pos x="connsiteX16866" y="connsiteY16866"/>
              </a:cxn>
              <a:cxn ang="0">
                <a:pos x="connsiteX16867" y="connsiteY16867"/>
              </a:cxn>
              <a:cxn ang="0">
                <a:pos x="connsiteX16868" y="connsiteY16868"/>
              </a:cxn>
              <a:cxn ang="0">
                <a:pos x="connsiteX16869" y="connsiteY16869"/>
              </a:cxn>
              <a:cxn ang="0">
                <a:pos x="connsiteX16870" y="connsiteY16870"/>
              </a:cxn>
              <a:cxn ang="0">
                <a:pos x="connsiteX16871" y="connsiteY16871"/>
              </a:cxn>
              <a:cxn ang="0">
                <a:pos x="connsiteX16872" y="connsiteY16872"/>
              </a:cxn>
              <a:cxn ang="0">
                <a:pos x="connsiteX16873" y="connsiteY16873"/>
              </a:cxn>
              <a:cxn ang="0">
                <a:pos x="connsiteX16874" y="connsiteY16874"/>
              </a:cxn>
              <a:cxn ang="0">
                <a:pos x="connsiteX16875" y="connsiteY16875"/>
              </a:cxn>
              <a:cxn ang="0">
                <a:pos x="connsiteX16876" y="connsiteY16876"/>
              </a:cxn>
              <a:cxn ang="0">
                <a:pos x="connsiteX16877" y="connsiteY16877"/>
              </a:cxn>
              <a:cxn ang="0">
                <a:pos x="connsiteX16878" y="connsiteY16878"/>
              </a:cxn>
              <a:cxn ang="0">
                <a:pos x="connsiteX16879" y="connsiteY16879"/>
              </a:cxn>
              <a:cxn ang="0">
                <a:pos x="connsiteX16880" y="connsiteY16880"/>
              </a:cxn>
              <a:cxn ang="0">
                <a:pos x="connsiteX16881" y="connsiteY16881"/>
              </a:cxn>
              <a:cxn ang="0">
                <a:pos x="connsiteX16882" y="connsiteY16882"/>
              </a:cxn>
              <a:cxn ang="0">
                <a:pos x="connsiteX16883" y="connsiteY16883"/>
              </a:cxn>
              <a:cxn ang="0">
                <a:pos x="connsiteX16884" y="connsiteY16884"/>
              </a:cxn>
              <a:cxn ang="0">
                <a:pos x="connsiteX16885" y="connsiteY16885"/>
              </a:cxn>
              <a:cxn ang="0">
                <a:pos x="connsiteX16886" y="connsiteY16886"/>
              </a:cxn>
              <a:cxn ang="0">
                <a:pos x="connsiteX16887" y="connsiteY16887"/>
              </a:cxn>
              <a:cxn ang="0">
                <a:pos x="connsiteX16888" y="connsiteY16888"/>
              </a:cxn>
              <a:cxn ang="0">
                <a:pos x="connsiteX16889" y="connsiteY16889"/>
              </a:cxn>
              <a:cxn ang="0">
                <a:pos x="connsiteX16890" y="connsiteY16890"/>
              </a:cxn>
              <a:cxn ang="0">
                <a:pos x="connsiteX16891" y="connsiteY16891"/>
              </a:cxn>
              <a:cxn ang="0">
                <a:pos x="connsiteX16892" y="connsiteY16892"/>
              </a:cxn>
              <a:cxn ang="0">
                <a:pos x="connsiteX16893" y="connsiteY16893"/>
              </a:cxn>
              <a:cxn ang="0">
                <a:pos x="connsiteX16894" y="connsiteY16894"/>
              </a:cxn>
              <a:cxn ang="0">
                <a:pos x="connsiteX16895" y="connsiteY16895"/>
              </a:cxn>
              <a:cxn ang="0">
                <a:pos x="connsiteX16896" y="connsiteY16896"/>
              </a:cxn>
              <a:cxn ang="0">
                <a:pos x="connsiteX16897" y="connsiteY16897"/>
              </a:cxn>
              <a:cxn ang="0">
                <a:pos x="connsiteX16898" y="connsiteY16898"/>
              </a:cxn>
              <a:cxn ang="0">
                <a:pos x="connsiteX16899" y="connsiteY16899"/>
              </a:cxn>
              <a:cxn ang="0">
                <a:pos x="connsiteX16900" y="connsiteY16900"/>
              </a:cxn>
              <a:cxn ang="0">
                <a:pos x="connsiteX16901" y="connsiteY16901"/>
              </a:cxn>
              <a:cxn ang="0">
                <a:pos x="connsiteX16902" y="connsiteY16902"/>
              </a:cxn>
              <a:cxn ang="0">
                <a:pos x="connsiteX16903" y="connsiteY16903"/>
              </a:cxn>
              <a:cxn ang="0">
                <a:pos x="connsiteX16904" y="connsiteY16904"/>
              </a:cxn>
              <a:cxn ang="0">
                <a:pos x="connsiteX16905" y="connsiteY16905"/>
              </a:cxn>
              <a:cxn ang="0">
                <a:pos x="connsiteX16906" y="connsiteY16906"/>
              </a:cxn>
              <a:cxn ang="0">
                <a:pos x="connsiteX16907" y="connsiteY16907"/>
              </a:cxn>
              <a:cxn ang="0">
                <a:pos x="connsiteX16908" y="connsiteY16908"/>
              </a:cxn>
              <a:cxn ang="0">
                <a:pos x="connsiteX16909" y="connsiteY16909"/>
              </a:cxn>
              <a:cxn ang="0">
                <a:pos x="connsiteX16910" y="connsiteY16910"/>
              </a:cxn>
              <a:cxn ang="0">
                <a:pos x="connsiteX16911" y="connsiteY16911"/>
              </a:cxn>
              <a:cxn ang="0">
                <a:pos x="connsiteX16912" y="connsiteY16912"/>
              </a:cxn>
              <a:cxn ang="0">
                <a:pos x="connsiteX16913" y="connsiteY16913"/>
              </a:cxn>
              <a:cxn ang="0">
                <a:pos x="connsiteX16914" y="connsiteY16914"/>
              </a:cxn>
              <a:cxn ang="0">
                <a:pos x="connsiteX16915" y="connsiteY16915"/>
              </a:cxn>
              <a:cxn ang="0">
                <a:pos x="connsiteX16916" y="connsiteY16916"/>
              </a:cxn>
              <a:cxn ang="0">
                <a:pos x="connsiteX16917" y="connsiteY16917"/>
              </a:cxn>
              <a:cxn ang="0">
                <a:pos x="connsiteX16918" y="connsiteY16918"/>
              </a:cxn>
              <a:cxn ang="0">
                <a:pos x="connsiteX16919" y="connsiteY16919"/>
              </a:cxn>
              <a:cxn ang="0">
                <a:pos x="connsiteX16920" y="connsiteY16920"/>
              </a:cxn>
              <a:cxn ang="0">
                <a:pos x="connsiteX16921" y="connsiteY16921"/>
              </a:cxn>
              <a:cxn ang="0">
                <a:pos x="connsiteX16922" y="connsiteY16922"/>
              </a:cxn>
              <a:cxn ang="0">
                <a:pos x="connsiteX16923" y="connsiteY16923"/>
              </a:cxn>
              <a:cxn ang="0">
                <a:pos x="connsiteX16924" y="connsiteY16924"/>
              </a:cxn>
              <a:cxn ang="0">
                <a:pos x="connsiteX16925" y="connsiteY16925"/>
              </a:cxn>
              <a:cxn ang="0">
                <a:pos x="connsiteX16926" y="connsiteY16926"/>
              </a:cxn>
              <a:cxn ang="0">
                <a:pos x="connsiteX16927" y="connsiteY16927"/>
              </a:cxn>
              <a:cxn ang="0">
                <a:pos x="connsiteX16928" y="connsiteY16928"/>
              </a:cxn>
              <a:cxn ang="0">
                <a:pos x="connsiteX16929" y="connsiteY16929"/>
              </a:cxn>
              <a:cxn ang="0">
                <a:pos x="connsiteX16930" y="connsiteY16930"/>
              </a:cxn>
              <a:cxn ang="0">
                <a:pos x="connsiteX16931" y="connsiteY16931"/>
              </a:cxn>
              <a:cxn ang="0">
                <a:pos x="connsiteX16932" y="connsiteY16932"/>
              </a:cxn>
              <a:cxn ang="0">
                <a:pos x="connsiteX16933" y="connsiteY16933"/>
              </a:cxn>
              <a:cxn ang="0">
                <a:pos x="connsiteX16934" y="connsiteY16934"/>
              </a:cxn>
              <a:cxn ang="0">
                <a:pos x="connsiteX16935" y="connsiteY16935"/>
              </a:cxn>
              <a:cxn ang="0">
                <a:pos x="connsiteX16936" y="connsiteY16936"/>
              </a:cxn>
              <a:cxn ang="0">
                <a:pos x="connsiteX16937" y="connsiteY16937"/>
              </a:cxn>
              <a:cxn ang="0">
                <a:pos x="connsiteX16938" y="connsiteY16938"/>
              </a:cxn>
              <a:cxn ang="0">
                <a:pos x="connsiteX16939" y="connsiteY16939"/>
              </a:cxn>
              <a:cxn ang="0">
                <a:pos x="connsiteX16940" y="connsiteY16940"/>
              </a:cxn>
              <a:cxn ang="0">
                <a:pos x="connsiteX16941" y="connsiteY16941"/>
              </a:cxn>
              <a:cxn ang="0">
                <a:pos x="connsiteX16942" y="connsiteY16942"/>
              </a:cxn>
              <a:cxn ang="0">
                <a:pos x="connsiteX16943" y="connsiteY16943"/>
              </a:cxn>
              <a:cxn ang="0">
                <a:pos x="connsiteX16944" y="connsiteY16944"/>
              </a:cxn>
              <a:cxn ang="0">
                <a:pos x="connsiteX16945" y="connsiteY16945"/>
              </a:cxn>
              <a:cxn ang="0">
                <a:pos x="connsiteX16946" y="connsiteY16946"/>
              </a:cxn>
              <a:cxn ang="0">
                <a:pos x="connsiteX16947" y="connsiteY16947"/>
              </a:cxn>
              <a:cxn ang="0">
                <a:pos x="connsiteX16948" y="connsiteY16948"/>
              </a:cxn>
              <a:cxn ang="0">
                <a:pos x="connsiteX16949" y="connsiteY16949"/>
              </a:cxn>
              <a:cxn ang="0">
                <a:pos x="connsiteX16950" y="connsiteY16950"/>
              </a:cxn>
              <a:cxn ang="0">
                <a:pos x="connsiteX16951" y="connsiteY16951"/>
              </a:cxn>
              <a:cxn ang="0">
                <a:pos x="connsiteX16952" y="connsiteY16952"/>
              </a:cxn>
              <a:cxn ang="0">
                <a:pos x="connsiteX16953" y="connsiteY16953"/>
              </a:cxn>
              <a:cxn ang="0">
                <a:pos x="connsiteX16954" y="connsiteY16954"/>
              </a:cxn>
              <a:cxn ang="0">
                <a:pos x="connsiteX16955" y="connsiteY16955"/>
              </a:cxn>
              <a:cxn ang="0">
                <a:pos x="connsiteX16956" y="connsiteY16956"/>
              </a:cxn>
              <a:cxn ang="0">
                <a:pos x="connsiteX16957" y="connsiteY16957"/>
              </a:cxn>
              <a:cxn ang="0">
                <a:pos x="connsiteX16958" y="connsiteY16958"/>
              </a:cxn>
              <a:cxn ang="0">
                <a:pos x="connsiteX16959" y="connsiteY16959"/>
              </a:cxn>
              <a:cxn ang="0">
                <a:pos x="connsiteX16960" y="connsiteY16960"/>
              </a:cxn>
              <a:cxn ang="0">
                <a:pos x="connsiteX16961" y="connsiteY16961"/>
              </a:cxn>
              <a:cxn ang="0">
                <a:pos x="connsiteX16962" y="connsiteY16962"/>
              </a:cxn>
              <a:cxn ang="0">
                <a:pos x="connsiteX16963" y="connsiteY16963"/>
              </a:cxn>
              <a:cxn ang="0">
                <a:pos x="connsiteX16964" y="connsiteY16964"/>
              </a:cxn>
              <a:cxn ang="0">
                <a:pos x="connsiteX16965" y="connsiteY16965"/>
              </a:cxn>
              <a:cxn ang="0">
                <a:pos x="connsiteX16966" y="connsiteY16966"/>
              </a:cxn>
              <a:cxn ang="0">
                <a:pos x="connsiteX16967" y="connsiteY16967"/>
              </a:cxn>
              <a:cxn ang="0">
                <a:pos x="connsiteX16968" y="connsiteY16968"/>
              </a:cxn>
              <a:cxn ang="0">
                <a:pos x="connsiteX16969" y="connsiteY16969"/>
              </a:cxn>
              <a:cxn ang="0">
                <a:pos x="connsiteX16970" y="connsiteY16970"/>
              </a:cxn>
              <a:cxn ang="0">
                <a:pos x="connsiteX16971" y="connsiteY16971"/>
              </a:cxn>
              <a:cxn ang="0">
                <a:pos x="connsiteX16972" y="connsiteY16972"/>
              </a:cxn>
              <a:cxn ang="0">
                <a:pos x="connsiteX16973" y="connsiteY16973"/>
              </a:cxn>
              <a:cxn ang="0">
                <a:pos x="connsiteX16974" y="connsiteY16974"/>
              </a:cxn>
              <a:cxn ang="0">
                <a:pos x="connsiteX16975" y="connsiteY16975"/>
              </a:cxn>
              <a:cxn ang="0">
                <a:pos x="connsiteX16976" y="connsiteY16976"/>
              </a:cxn>
              <a:cxn ang="0">
                <a:pos x="connsiteX16977" y="connsiteY16977"/>
              </a:cxn>
              <a:cxn ang="0">
                <a:pos x="connsiteX16978" y="connsiteY16978"/>
              </a:cxn>
              <a:cxn ang="0">
                <a:pos x="connsiteX16979" y="connsiteY16979"/>
              </a:cxn>
              <a:cxn ang="0">
                <a:pos x="connsiteX16980" y="connsiteY16980"/>
              </a:cxn>
              <a:cxn ang="0">
                <a:pos x="connsiteX16981" y="connsiteY16981"/>
              </a:cxn>
              <a:cxn ang="0">
                <a:pos x="connsiteX16982" y="connsiteY16982"/>
              </a:cxn>
              <a:cxn ang="0">
                <a:pos x="connsiteX16983" y="connsiteY16983"/>
              </a:cxn>
              <a:cxn ang="0">
                <a:pos x="connsiteX16984" y="connsiteY16984"/>
              </a:cxn>
              <a:cxn ang="0">
                <a:pos x="connsiteX16985" y="connsiteY16985"/>
              </a:cxn>
              <a:cxn ang="0">
                <a:pos x="connsiteX16986" y="connsiteY16986"/>
              </a:cxn>
              <a:cxn ang="0">
                <a:pos x="connsiteX16987" y="connsiteY16987"/>
              </a:cxn>
              <a:cxn ang="0">
                <a:pos x="connsiteX16988" y="connsiteY16988"/>
              </a:cxn>
              <a:cxn ang="0">
                <a:pos x="connsiteX16989" y="connsiteY16989"/>
              </a:cxn>
              <a:cxn ang="0">
                <a:pos x="connsiteX16990" y="connsiteY16990"/>
              </a:cxn>
              <a:cxn ang="0">
                <a:pos x="connsiteX16991" y="connsiteY16991"/>
              </a:cxn>
              <a:cxn ang="0">
                <a:pos x="connsiteX16992" y="connsiteY16992"/>
              </a:cxn>
              <a:cxn ang="0">
                <a:pos x="connsiteX16993" y="connsiteY16993"/>
              </a:cxn>
              <a:cxn ang="0">
                <a:pos x="connsiteX16994" y="connsiteY16994"/>
              </a:cxn>
              <a:cxn ang="0">
                <a:pos x="connsiteX16995" y="connsiteY16995"/>
              </a:cxn>
              <a:cxn ang="0">
                <a:pos x="connsiteX16996" y="connsiteY16996"/>
              </a:cxn>
              <a:cxn ang="0">
                <a:pos x="connsiteX16997" y="connsiteY16997"/>
              </a:cxn>
              <a:cxn ang="0">
                <a:pos x="connsiteX16998" y="connsiteY16998"/>
              </a:cxn>
              <a:cxn ang="0">
                <a:pos x="connsiteX16999" y="connsiteY16999"/>
              </a:cxn>
              <a:cxn ang="0">
                <a:pos x="connsiteX17000" y="connsiteY17000"/>
              </a:cxn>
              <a:cxn ang="0">
                <a:pos x="connsiteX17001" y="connsiteY17001"/>
              </a:cxn>
              <a:cxn ang="0">
                <a:pos x="connsiteX17002" y="connsiteY17002"/>
              </a:cxn>
              <a:cxn ang="0">
                <a:pos x="connsiteX17003" y="connsiteY17003"/>
              </a:cxn>
              <a:cxn ang="0">
                <a:pos x="connsiteX17004" y="connsiteY17004"/>
              </a:cxn>
              <a:cxn ang="0">
                <a:pos x="connsiteX17005" y="connsiteY17005"/>
              </a:cxn>
              <a:cxn ang="0">
                <a:pos x="connsiteX17006" y="connsiteY17006"/>
              </a:cxn>
              <a:cxn ang="0">
                <a:pos x="connsiteX17007" y="connsiteY17007"/>
              </a:cxn>
              <a:cxn ang="0">
                <a:pos x="connsiteX17008" y="connsiteY17008"/>
              </a:cxn>
              <a:cxn ang="0">
                <a:pos x="connsiteX17009" y="connsiteY17009"/>
              </a:cxn>
              <a:cxn ang="0">
                <a:pos x="connsiteX17010" y="connsiteY17010"/>
              </a:cxn>
              <a:cxn ang="0">
                <a:pos x="connsiteX17011" y="connsiteY17011"/>
              </a:cxn>
              <a:cxn ang="0">
                <a:pos x="connsiteX17012" y="connsiteY17012"/>
              </a:cxn>
              <a:cxn ang="0">
                <a:pos x="connsiteX17013" y="connsiteY17013"/>
              </a:cxn>
              <a:cxn ang="0">
                <a:pos x="connsiteX17014" y="connsiteY17014"/>
              </a:cxn>
              <a:cxn ang="0">
                <a:pos x="connsiteX17015" y="connsiteY17015"/>
              </a:cxn>
              <a:cxn ang="0">
                <a:pos x="connsiteX17016" y="connsiteY17016"/>
              </a:cxn>
              <a:cxn ang="0">
                <a:pos x="connsiteX17017" y="connsiteY17017"/>
              </a:cxn>
              <a:cxn ang="0">
                <a:pos x="connsiteX17018" y="connsiteY17018"/>
              </a:cxn>
              <a:cxn ang="0">
                <a:pos x="connsiteX17019" y="connsiteY17019"/>
              </a:cxn>
              <a:cxn ang="0">
                <a:pos x="connsiteX17020" y="connsiteY17020"/>
              </a:cxn>
              <a:cxn ang="0">
                <a:pos x="connsiteX17021" y="connsiteY17021"/>
              </a:cxn>
              <a:cxn ang="0">
                <a:pos x="connsiteX17022" y="connsiteY17022"/>
              </a:cxn>
              <a:cxn ang="0">
                <a:pos x="connsiteX17023" y="connsiteY17023"/>
              </a:cxn>
              <a:cxn ang="0">
                <a:pos x="connsiteX17024" y="connsiteY17024"/>
              </a:cxn>
              <a:cxn ang="0">
                <a:pos x="connsiteX17025" y="connsiteY17025"/>
              </a:cxn>
              <a:cxn ang="0">
                <a:pos x="connsiteX17026" y="connsiteY17026"/>
              </a:cxn>
              <a:cxn ang="0">
                <a:pos x="connsiteX17027" y="connsiteY17027"/>
              </a:cxn>
              <a:cxn ang="0">
                <a:pos x="connsiteX17028" y="connsiteY17028"/>
              </a:cxn>
              <a:cxn ang="0">
                <a:pos x="connsiteX17029" y="connsiteY17029"/>
              </a:cxn>
              <a:cxn ang="0">
                <a:pos x="connsiteX17030" y="connsiteY17030"/>
              </a:cxn>
              <a:cxn ang="0">
                <a:pos x="connsiteX17031" y="connsiteY17031"/>
              </a:cxn>
              <a:cxn ang="0">
                <a:pos x="connsiteX17032" y="connsiteY17032"/>
              </a:cxn>
              <a:cxn ang="0">
                <a:pos x="connsiteX17033" y="connsiteY17033"/>
              </a:cxn>
              <a:cxn ang="0">
                <a:pos x="connsiteX17034" y="connsiteY17034"/>
              </a:cxn>
              <a:cxn ang="0">
                <a:pos x="connsiteX17035" y="connsiteY17035"/>
              </a:cxn>
              <a:cxn ang="0">
                <a:pos x="connsiteX17036" y="connsiteY17036"/>
              </a:cxn>
              <a:cxn ang="0">
                <a:pos x="connsiteX17037" y="connsiteY17037"/>
              </a:cxn>
              <a:cxn ang="0">
                <a:pos x="connsiteX17038" y="connsiteY17038"/>
              </a:cxn>
              <a:cxn ang="0">
                <a:pos x="connsiteX17039" y="connsiteY17039"/>
              </a:cxn>
              <a:cxn ang="0">
                <a:pos x="connsiteX17040" y="connsiteY17040"/>
              </a:cxn>
              <a:cxn ang="0">
                <a:pos x="connsiteX17041" y="connsiteY17041"/>
              </a:cxn>
              <a:cxn ang="0">
                <a:pos x="connsiteX17042" y="connsiteY17042"/>
              </a:cxn>
              <a:cxn ang="0">
                <a:pos x="connsiteX17043" y="connsiteY17043"/>
              </a:cxn>
              <a:cxn ang="0">
                <a:pos x="connsiteX17044" y="connsiteY17044"/>
              </a:cxn>
              <a:cxn ang="0">
                <a:pos x="connsiteX17045" y="connsiteY17045"/>
              </a:cxn>
              <a:cxn ang="0">
                <a:pos x="connsiteX17046" y="connsiteY17046"/>
              </a:cxn>
              <a:cxn ang="0">
                <a:pos x="connsiteX17047" y="connsiteY17047"/>
              </a:cxn>
              <a:cxn ang="0">
                <a:pos x="connsiteX17048" y="connsiteY17048"/>
              </a:cxn>
              <a:cxn ang="0">
                <a:pos x="connsiteX17049" y="connsiteY17049"/>
              </a:cxn>
              <a:cxn ang="0">
                <a:pos x="connsiteX17050" y="connsiteY17050"/>
              </a:cxn>
              <a:cxn ang="0">
                <a:pos x="connsiteX17051" y="connsiteY17051"/>
              </a:cxn>
              <a:cxn ang="0">
                <a:pos x="connsiteX17052" y="connsiteY17052"/>
              </a:cxn>
              <a:cxn ang="0">
                <a:pos x="connsiteX17053" y="connsiteY17053"/>
              </a:cxn>
              <a:cxn ang="0">
                <a:pos x="connsiteX17054" y="connsiteY17054"/>
              </a:cxn>
              <a:cxn ang="0">
                <a:pos x="connsiteX17055" y="connsiteY17055"/>
              </a:cxn>
              <a:cxn ang="0">
                <a:pos x="connsiteX17056" y="connsiteY17056"/>
              </a:cxn>
              <a:cxn ang="0">
                <a:pos x="connsiteX17057" y="connsiteY17057"/>
              </a:cxn>
              <a:cxn ang="0">
                <a:pos x="connsiteX17058" y="connsiteY17058"/>
              </a:cxn>
              <a:cxn ang="0">
                <a:pos x="connsiteX17059" y="connsiteY17059"/>
              </a:cxn>
              <a:cxn ang="0">
                <a:pos x="connsiteX17060" y="connsiteY17060"/>
              </a:cxn>
              <a:cxn ang="0">
                <a:pos x="connsiteX17061" y="connsiteY17061"/>
              </a:cxn>
              <a:cxn ang="0">
                <a:pos x="connsiteX17062" y="connsiteY17062"/>
              </a:cxn>
              <a:cxn ang="0">
                <a:pos x="connsiteX17063" y="connsiteY17063"/>
              </a:cxn>
              <a:cxn ang="0">
                <a:pos x="connsiteX17064" y="connsiteY17064"/>
              </a:cxn>
              <a:cxn ang="0">
                <a:pos x="connsiteX17065" y="connsiteY17065"/>
              </a:cxn>
              <a:cxn ang="0">
                <a:pos x="connsiteX17066" y="connsiteY17066"/>
              </a:cxn>
              <a:cxn ang="0">
                <a:pos x="connsiteX17067" y="connsiteY17067"/>
              </a:cxn>
              <a:cxn ang="0">
                <a:pos x="connsiteX17068" y="connsiteY17068"/>
              </a:cxn>
              <a:cxn ang="0">
                <a:pos x="connsiteX17069" y="connsiteY17069"/>
              </a:cxn>
              <a:cxn ang="0">
                <a:pos x="connsiteX17070" y="connsiteY17070"/>
              </a:cxn>
              <a:cxn ang="0">
                <a:pos x="connsiteX17071" y="connsiteY17071"/>
              </a:cxn>
              <a:cxn ang="0">
                <a:pos x="connsiteX17072" y="connsiteY17072"/>
              </a:cxn>
              <a:cxn ang="0">
                <a:pos x="connsiteX17073" y="connsiteY17073"/>
              </a:cxn>
              <a:cxn ang="0">
                <a:pos x="connsiteX17074" y="connsiteY17074"/>
              </a:cxn>
              <a:cxn ang="0">
                <a:pos x="connsiteX17075" y="connsiteY17075"/>
              </a:cxn>
              <a:cxn ang="0">
                <a:pos x="connsiteX17076" y="connsiteY17076"/>
              </a:cxn>
              <a:cxn ang="0">
                <a:pos x="connsiteX17077" y="connsiteY17077"/>
              </a:cxn>
              <a:cxn ang="0">
                <a:pos x="connsiteX17078" y="connsiteY17078"/>
              </a:cxn>
              <a:cxn ang="0">
                <a:pos x="connsiteX17079" y="connsiteY17079"/>
              </a:cxn>
              <a:cxn ang="0">
                <a:pos x="connsiteX17080" y="connsiteY17080"/>
              </a:cxn>
              <a:cxn ang="0">
                <a:pos x="connsiteX17081" y="connsiteY17081"/>
              </a:cxn>
              <a:cxn ang="0">
                <a:pos x="connsiteX17082" y="connsiteY17082"/>
              </a:cxn>
              <a:cxn ang="0">
                <a:pos x="connsiteX17083" y="connsiteY17083"/>
              </a:cxn>
              <a:cxn ang="0">
                <a:pos x="connsiteX17084" y="connsiteY17084"/>
              </a:cxn>
              <a:cxn ang="0">
                <a:pos x="connsiteX17085" y="connsiteY17085"/>
              </a:cxn>
              <a:cxn ang="0">
                <a:pos x="connsiteX17086" y="connsiteY17086"/>
              </a:cxn>
              <a:cxn ang="0">
                <a:pos x="connsiteX17087" y="connsiteY17087"/>
              </a:cxn>
              <a:cxn ang="0">
                <a:pos x="connsiteX17088" y="connsiteY17088"/>
              </a:cxn>
              <a:cxn ang="0">
                <a:pos x="connsiteX17089" y="connsiteY17089"/>
              </a:cxn>
              <a:cxn ang="0">
                <a:pos x="connsiteX17090" y="connsiteY17090"/>
              </a:cxn>
              <a:cxn ang="0">
                <a:pos x="connsiteX17091" y="connsiteY17091"/>
              </a:cxn>
              <a:cxn ang="0">
                <a:pos x="connsiteX17092" y="connsiteY17092"/>
              </a:cxn>
              <a:cxn ang="0">
                <a:pos x="connsiteX17093" y="connsiteY17093"/>
              </a:cxn>
              <a:cxn ang="0">
                <a:pos x="connsiteX17094" y="connsiteY17094"/>
              </a:cxn>
              <a:cxn ang="0">
                <a:pos x="connsiteX17095" y="connsiteY17095"/>
              </a:cxn>
              <a:cxn ang="0">
                <a:pos x="connsiteX17096" y="connsiteY17096"/>
              </a:cxn>
              <a:cxn ang="0">
                <a:pos x="connsiteX17097" y="connsiteY17097"/>
              </a:cxn>
              <a:cxn ang="0">
                <a:pos x="connsiteX17098" y="connsiteY17098"/>
              </a:cxn>
              <a:cxn ang="0">
                <a:pos x="connsiteX17099" y="connsiteY17099"/>
              </a:cxn>
              <a:cxn ang="0">
                <a:pos x="connsiteX17100" y="connsiteY17100"/>
              </a:cxn>
              <a:cxn ang="0">
                <a:pos x="connsiteX17101" y="connsiteY17101"/>
              </a:cxn>
              <a:cxn ang="0">
                <a:pos x="connsiteX17102" y="connsiteY17102"/>
              </a:cxn>
              <a:cxn ang="0">
                <a:pos x="connsiteX17103" y="connsiteY17103"/>
              </a:cxn>
              <a:cxn ang="0">
                <a:pos x="connsiteX17104" y="connsiteY17104"/>
              </a:cxn>
              <a:cxn ang="0">
                <a:pos x="connsiteX17105" y="connsiteY17105"/>
              </a:cxn>
              <a:cxn ang="0">
                <a:pos x="connsiteX17106" y="connsiteY17106"/>
              </a:cxn>
              <a:cxn ang="0">
                <a:pos x="connsiteX17107" y="connsiteY17107"/>
              </a:cxn>
              <a:cxn ang="0">
                <a:pos x="connsiteX17108" y="connsiteY17108"/>
              </a:cxn>
              <a:cxn ang="0">
                <a:pos x="connsiteX17109" y="connsiteY17109"/>
              </a:cxn>
              <a:cxn ang="0">
                <a:pos x="connsiteX17110" y="connsiteY17110"/>
              </a:cxn>
              <a:cxn ang="0">
                <a:pos x="connsiteX17111" y="connsiteY17111"/>
              </a:cxn>
              <a:cxn ang="0">
                <a:pos x="connsiteX17112" y="connsiteY17112"/>
              </a:cxn>
              <a:cxn ang="0">
                <a:pos x="connsiteX17113" y="connsiteY17113"/>
              </a:cxn>
              <a:cxn ang="0">
                <a:pos x="connsiteX17114" y="connsiteY17114"/>
              </a:cxn>
              <a:cxn ang="0">
                <a:pos x="connsiteX17115" y="connsiteY17115"/>
              </a:cxn>
              <a:cxn ang="0">
                <a:pos x="connsiteX17116" y="connsiteY17116"/>
              </a:cxn>
              <a:cxn ang="0">
                <a:pos x="connsiteX17117" y="connsiteY17117"/>
              </a:cxn>
              <a:cxn ang="0">
                <a:pos x="connsiteX17118" y="connsiteY17118"/>
              </a:cxn>
              <a:cxn ang="0">
                <a:pos x="connsiteX17119" y="connsiteY17119"/>
              </a:cxn>
              <a:cxn ang="0">
                <a:pos x="connsiteX17120" y="connsiteY17120"/>
              </a:cxn>
              <a:cxn ang="0">
                <a:pos x="connsiteX17121" y="connsiteY17121"/>
              </a:cxn>
              <a:cxn ang="0">
                <a:pos x="connsiteX17122" y="connsiteY17122"/>
              </a:cxn>
              <a:cxn ang="0">
                <a:pos x="connsiteX17123" y="connsiteY17123"/>
              </a:cxn>
              <a:cxn ang="0">
                <a:pos x="connsiteX17124" y="connsiteY17124"/>
              </a:cxn>
              <a:cxn ang="0">
                <a:pos x="connsiteX17125" y="connsiteY17125"/>
              </a:cxn>
              <a:cxn ang="0">
                <a:pos x="connsiteX17126" y="connsiteY17126"/>
              </a:cxn>
              <a:cxn ang="0">
                <a:pos x="connsiteX17127" y="connsiteY17127"/>
              </a:cxn>
              <a:cxn ang="0">
                <a:pos x="connsiteX17128" y="connsiteY17128"/>
              </a:cxn>
              <a:cxn ang="0">
                <a:pos x="connsiteX17129" y="connsiteY17129"/>
              </a:cxn>
              <a:cxn ang="0">
                <a:pos x="connsiteX17130" y="connsiteY17130"/>
              </a:cxn>
              <a:cxn ang="0">
                <a:pos x="connsiteX17131" y="connsiteY17131"/>
              </a:cxn>
              <a:cxn ang="0">
                <a:pos x="connsiteX17132" y="connsiteY17132"/>
              </a:cxn>
              <a:cxn ang="0">
                <a:pos x="connsiteX17133" y="connsiteY17133"/>
              </a:cxn>
              <a:cxn ang="0">
                <a:pos x="connsiteX17134" y="connsiteY17134"/>
              </a:cxn>
              <a:cxn ang="0">
                <a:pos x="connsiteX17135" y="connsiteY17135"/>
              </a:cxn>
              <a:cxn ang="0">
                <a:pos x="connsiteX17136" y="connsiteY17136"/>
              </a:cxn>
              <a:cxn ang="0">
                <a:pos x="connsiteX17137" y="connsiteY17137"/>
              </a:cxn>
              <a:cxn ang="0">
                <a:pos x="connsiteX17138" y="connsiteY17138"/>
              </a:cxn>
              <a:cxn ang="0">
                <a:pos x="connsiteX17139" y="connsiteY17139"/>
              </a:cxn>
              <a:cxn ang="0">
                <a:pos x="connsiteX17140" y="connsiteY17140"/>
              </a:cxn>
              <a:cxn ang="0">
                <a:pos x="connsiteX17141" y="connsiteY17141"/>
              </a:cxn>
              <a:cxn ang="0">
                <a:pos x="connsiteX17142" y="connsiteY17142"/>
              </a:cxn>
              <a:cxn ang="0">
                <a:pos x="connsiteX17143" y="connsiteY17143"/>
              </a:cxn>
              <a:cxn ang="0">
                <a:pos x="connsiteX17144" y="connsiteY17144"/>
              </a:cxn>
              <a:cxn ang="0">
                <a:pos x="connsiteX17145" y="connsiteY17145"/>
              </a:cxn>
              <a:cxn ang="0">
                <a:pos x="connsiteX17146" y="connsiteY17146"/>
              </a:cxn>
              <a:cxn ang="0">
                <a:pos x="connsiteX17147" y="connsiteY17147"/>
              </a:cxn>
              <a:cxn ang="0">
                <a:pos x="connsiteX17148" y="connsiteY17148"/>
              </a:cxn>
              <a:cxn ang="0">
                <a:pos x="connsiteX17149" y="connsiteY17149"/>
              </a:cxn>
              <a:cxn ang="0">
                <a:pos x="connsiteX17150" y="connsiteY17150"/>
              </a:cxn>
              <a:cxn ang="0">
                <a:pos x="connsiteX17151" y="connsiteY17151"/>
              </a:cxn>
              <a:cxn ang="0">
                <a:pos x="connsiteX17152" y="connsiteY17152"/>
              </a:cxn>
              <a:cxn ang="0">
                <a:pos x="connsiteX17153" y="connsiteY17153"/>
              </a:cxn>
              <a:cxn ang="0">
                <a:pos x="connsiteX17154" y="connsiteY17154"/>
              </a:cxn>
              <a:cxn ang="0">
                <a:pos x="connsiteX17155" y="connsiteY17155"/>
              </a:cxn>
              <a:cxn ang="0">
                <a:pos x="connsiteX17156" y="connsiteY17156"/>
              </a:cxn>
              <a:cxn ang="0">
                <a:pos x="connsiteX17157" y="connsiteY17157"/>
              </a:cxn>
              <a:cxn ang="0">
                <a:pos x="connsiteX17158" y="connsiteY17158"/>
              </a:cxn>
              <a:cxn ang="0">
                <a:pos x="connsiteX17159" y="connsiteY17159"/>
              </a:cxn>
              <a:cxn ang="0">
                <a:pos x="connsiteX17160" y="connsiteY17160"/>
              </a:cxn>
              <a:cxn ang="0">
                <a:pos x="connsiteX17161" y="connsiteY17161"/>
              </a:cxn>
              <a:cxn ang="0">
                <a:pos x="connsiteX17162" y="connsiteY17162"/>
              </a:cxn>
              <a:cxn ang="0">
                <a:pos x="connsiteX17163" y="connsiteY17163"/>
              </a:cxn>
              <a:cxn ang="0">
                <a:pos x="connsiteX17164" y="connsiteY17164"/>
              </a:cxn>
              <a:cxn ang="0">
                <a:pos x="connsiteX17165" y="connsiteY17165"/>
              </a:cxn>
              <a:cxn ang="0">
                <a:pos x="connsiteX17166" y="connsiteY17166"/>
              </a:cxn>
              <a:cxn ang="0">
                <a:pos x="connsiteX17167" y="connsiteY17167"/>
              </a:cxn>
              <a:cxn ang="0">
                <a:pos x="connsiteX17168" y="connsiteY17168"/>
              </a:cxn>
              <a:cxn ang="0">
                <a:pos x="connsiteX17169" y="connsiteY17169"/>
              </a:cxn>
              <a:cxn ang="0">
                <a:pos x="connsiteX17170" y="connsiteY17170"/>
              </a:cxn>
              <a:cxn ang="0">
                <a:pos x="connsiteX17171" y="connsiteY17171"/>
              </a:cxn>
              <a:cxn ang="0">
                <a:pos x="connsiteX17172" y="connsiteY17172"/>
              </a:cxn>
              <a:cxn ang="0">
                <a:pos x="connsiteX17173" y="connsiteY17173"/>
              </a:cxn>
              <a:cxn ang="0">
                <a:pos x="connsiteX17174" y="connsiteY17174"/>
              </a:cxn>
              <a:cxn ang="0">
                <a:pos x="connsiteX17175" y="connsiteY17175"/>
              </a:cxn>
              <a:cxn ang="0">
                <a:pos x="connsiteX17176" y="connsiteY17176"/>
              </a:cxn>
              <a:cxn ang="0">
                <a:pos x="connsiteX17177" y="connsiteY17177"/>
              </a:cxn>
              <a:cxn ang="0">
                <a:pos x="connsiteX17178" y="connsiteY17178"/>
              </a:cxn>
              <a:cxn ang="0">
                <a:pos x="connsiteX17179" y="connsiteY17179"/>
              </a:cxn>
              <a:cxn ang="0">
                <a:pos x="connsiteX17180" y="connsiteY17180"/>
              </a:cxn>
              <a:cxn ang="0">
                <a:pos x="connsiteX17181" y="connsiteY17181"/>
              </a:cxn>
              <a:cxn ang="0">
                <a:pos x="connsiteX17182" y="connsiteY17182"/>
              </a:cxn>
              <a:cxn ang="0">
                <a:pos x="connsiteX17183" y="connsiteY17183"/>
              </a:cxn>
              <a:cxn ang="0">
                <a:pos x="connsiteX17184" y="connsiteY17184"/>
              </a:cxn>
              <a:cxn ang="0">
                <a:pos x="connsiteX17185" y="connsiteY17185"/>
              </a:cxn>
              <a:cxn ang="0">
                <a:pos x="connsiteX17186" y="connsiteY17186"/>
              </a:cxn>
              <a:cxn ang="0">
                <a:pos x="connsiteX17187" y="connsiteY17187"/>
              </a:cxn>
              <a:cxn ang="0">
                <a:pos x="connsiteX17188" y="connsiteY17188"/>
              </a:cxn>
              <a:cxn ang="0">
                <a:pos x="connsiteX17189" y="connsiteY17189"/>
              </a:cxn>
              <a:cxn ang="0">
                <a:pos x="connsiteX17190" y="connsiteY17190"/>
              </a:cxn>
              <a:cxn ang="0">
                <a:pos x="connsiteX17191" y="connsiteY17191"/>
              </a:cxn>
              <a:cxn ang="0">
                <a:pos x="connsiteX17192" y="connsiteY17192"/>
              </a:cxn>
              <a:cxn ang="0">
                <a:pos x="connsiteX17193" y="connsiteY17193"/>
              </a:cxn>
              <a:cxn ang="0">
                <a:pos x="connsiteX17194" y="connsiteY17194"/>
              </a:cxn>
              <a:cxn ang="0">
                <a:pos x="connsiteX17195" y="connsiteY17195"/>
              </a:cxn>
              <a:cxn ang="0">
                <a:pos x="connsiteX17196" y="connsiteY17196"/>
              </a:cxn>
              <a:cxn ang="0">
                <a:pos x="connsiteX17197" y="connsiteY17197"/>
              </a:cxn>
              <a:cxn ang="0">
                <a:pos x="connsiteX17198" y="connsiteY17198"/>
              </a:cxn>
              <a:cxn ang="0">
                <a:pos x="connsiteX17199" y="connsiteY17199"/>
              </a:cxn>
              <a:cxn ang="0">
                <a:pos x="connsiteX17200" y="connsiteY17200"/>
              </a:cxn>
              <a:cxn ang="0">
                <a:pos x="connsiteX17201" y="connsiteY17201"/>
              </a:cxn>
              <a:cxn ang="0">
                <a:pos x="connsiteX17202" y="connsiteY17202"/>
              </a:cxn>
              <a:cxn ang="0">
                <a:pos x="connsiteX17203" y="connsiteY17203"/>
              </a:cxn>
              <a:cxn ang="0">
                <a:pos x="connsiteX17204" y="connsiteY17204"/>
              </a:cxn>
              <a:cxn ang="0">
                <a:pos x="connsiteX17205" y="connsiteY17205"/>
              </a:cxn>
              <a:cxn ang="0">
                <a:pos x="connsiteX17206" y="connsiteY17206"/>
              </a:cxn>
              <a:cxn ang="0">
                <a:pos x="connsiteX17207" y="connsiteY17207"/>
              </a:cxn>
              <a:cxn ang="0">
                <a:pos x="connsiteX17208" y="connsiteY17208"/>
              </a:cxn>
              <a:cxn ang="0">
                <a:pos x="connsiteX17209" y="connsiteY17209"/>
              </a:cxn>
              <a:cxn ang="0">
                <a:pos x="connsiteX17210" y="connsiteY17210"/>
              </a:cxn>
              <a:cxn ang="0">
                <a:pos x="connsiteX17211" y="connsiteY17211"/>
              </a:cxn>
              <a:cxn ang="0">
                <a:pos x="connsiteX17212" y="connsiteY17212"/>
              </a:cxn>
              <a:cxn ang="0">
                <a:pos x="connsiteX17213" y="connsiteY17213"/>
              </a:cxn>
              <a:cxn ang="0">
                <a:pos x="connsiteX17214" y="connsiteY17214"/>
              </a:cxn>
              <a:cxn ang="0">
                <a:pos x="connsiteX17215" y="connsiteY17215"/>
              </a:cxn>
              <a:cxn ang="0">
                <a:pos x="connsiteX17216" y="connsiteY17216"/>
              </a:cxn>
              <a:cxn ang="0">
                <a:pos x="connsiteX17217" y="connsiteY17217"/>
              </a:cxn>
              <a:cxn ang="0">
                <a:pos x="connsiteX17218" y="connsiteY17218"/>
              </a:cxn>
              <a:cxn ang="0">
                <a:pos x="connsiteX17219" y="connsiteY17219"/>
              </a:cxn>
              <a:cxn ang="0">
                <a:pos x="connsiteX17220" y="connsiteY17220"/>
              </a:cxn>
              <a:cxn ang="0">
                <a:pos x="connsiteX17221" y="connsiteY17221"/>
              </a:cxn>
              <a:cxn ang="0">
                <a:pos x="connsiteX17222" y="connsiteY17222"/>
              </a:cxn>
              <a:cxn ang="0">
                <a:pos x="connsiteX17223" y="connsiteY17223"/>
              </a:cxn>
              <a:cxn ang="0">
                <a:pos x="connsiteX17224" y="connsiteY17224"/>
              </a:cxn>
              <a:cxn ang="0">
                <a:pos x="connsiteX17225" y="connsiteY17225"/>
              </a:cxn>
              <a:cxn ang="0">
                <a:pos x="connsiteX17226" y="connsiteY17226"/>
              </a:cxn>
              <a:cxn ang="0">
                <a:pos x="connsiteX17227" y="connsiteY17227"/>
              </a:cxn>
              <a:cxn ang="0">
                <a:pos x="connsiteX17228" y="connsiteY17228"/>
              </a:cxn>
              <a:cxn ang="0">
                <a:pos x="connsiteX17229" y="connsiteY17229"/>
              </a:cxn>
              <a:cxn ang="0">
                <a:pos x="connsiteX17230" y="connsiteY17230"/>
              </a:cxn>
              <a:cxn ang="0">
                <a:pos x="connsiteX17231" y="connsiteY17231"/>
              </a:cxn>
              <a:cxn ang="0">
                <a:pos x="connsiteX17232" y="connsiteY17232"/>
              </a:cxn>
              <a:cxn ang="0">
                <a:pos x="connsiteX17233" y="connsiteY17233"/>
              </a:cxn>
              <a:cxn ang="0">
                <a:pos x="connsiteX17234" y="connsiteY17234"/>
              </a:cxn>
              <a:cxn ang="0">
                <a:pos x="connsiteX17235" y="connsiteY17235"/>
              </a:cxn>
              <a:cxn ang="0">
                <a:pos x="connsiteX17236" y="connsiteY17236"/>
              </a:cxn>
              <a:cxn ang="0">
                <a:pos x="connsiteX17237" y="connsiteY17237"/>
              </a:cxn>
              <a:cxn ang="0">
                <a:pos x="connsiteX17238" y="connsiteY17238"/>
              </a:cxn>
              <a:cxn ang="0">
                <a:pos x="connsiteX17239" y="connsiteY17239"/>
              </a:cxn>
              <a:cxn ang="0">
                <a:pos x="connsiteX17240" y="connsiteY17240"/>
              </a:cxn>
              <a:cxn ang="0">
                <a:pos x="connsiteX17241" y="connsiteY17241"/>
              </a:cxn>
              <a:cxn ang="0">
                <a:pos x="connsiteX17242" y="connsiteY17242"/>
              </a:cxn>
              <a:cxn ang="0">
                <a:pos x="connsiteX17243" y="connsiteY17243"/>
              </a:cxn>
              <a:cxn ang="0">
                <a:pos x="connsiteX17244" y="connsiteY17244"/>
              </a:cxn>
              <a:cxn ang="0">
                <a:pos x="connsiteX17245" y="connsiteY17245"/>
              </a:cxn>
              <a:cxn ang="0">
                <a:pos x="connsiteX17246" y="connsiteY17246"/>
              </a:cxn>
              <a:cxn ang="0">
                <a:pos x="connsiteX17247" y="connsiteY17247"/>
              </a:cxn>
              <a:cxn ang="0">
                <a:pos x="connsiteX17248" y="connsiteY17248"/>
              </a:cxn>
              <a:cxn ang="0">
                <a:pos x="connsiteX17249" y="connsiteY17249"/>
              </a:cxn>
              <a:cxn ang="0">
                <a:pos x="connsiteX17250" y="connsiteY17250"/>
              </a:cxn>
              <a:cxn ang="0">
                <a:pos x="connsiteX17251" y="connsiteY17251"/>
              </a:cxn>
              <a:cxn ang="0">
                <a:pos x="connsiteX17252" y="connsiteY17252"/>
              </a:cxn>
              <a:cxn ang="0">
                <a:pos x="connsiteX17253" y="connsiteY17253"/>
              </a:cxn>
              <a:cxn ang="0">
                <a:pos x="connsiteX17254" y="connsiteY17254"/>
              </a:cxn>
              <a:cxn ang="0">
                <a:pos x="connsiteX17255" y="connsiteY17255"/>
              </a:cxn>
              <a:cxn ang="0">
                <a:pos x="connsiteX17256" y="connsiteY17256"/>
              </a:cxn>
              <a:cxn ang="0">
                <a:pos x="connsiteX17257" y="connsiteY17257"/>
              </a:cxn>
              <a:cxn ang="0">
                <a:pos x="connsiteX17258" y="connsiteY17258"/>
              </a:cxn>
              <a:cxn ang="0">
                <a:pos x="connsiteX17259" y="connsiteY17259"/>
              </a:cxn>
              <a:cxn ang="0">
                <a:pos x="connsiteX17260" y="connsiteY17260"/>
              </a:cxn>
              <a:cxn ang="0">
                <a:pos x="connsiteX17261" y="connsiteY17261"/>
              </a:cxn>
              <a:cxn ang="0">
                <a:pos x="connsiteX17262" y="connsiteY17262"/>
              </a:cxn>
              <a:cxn ang="0">
                <a:pos x="connsiteX17263" y="connsiteY17263"/>
              </a:cxn>
              <a:cxn ang="0">
                <a:pos x="connsiteX17264" y="connsiteY17264"/>
              </a:cxn>
              <a:cxn ang="0">
                <a:pos x="connsiteX17265" y="connsiteY17265"/>
              </a:cxn>
              <a:cxn ang="0">
                <a:pos x="connsiteX17266" y="connsiteY17266"/>
              </a:cxn>
              <a:cxn ang="0">
                <a:pos x="connsiteX17267" y="connsiteY17267"/>
              </a:cxn>
              <a:cxn ang="0">
                <a:pos x="connsiteX17268" y="connsiteY17268"/>
              </a:cxn>
              <a:cxn ang="0">
                <a:pos x="connsiteX17269" y="connsiteY17269"/>
              </a:cxn>
              <a:cxn ang="0">
                <a:pos x="connsiteX17270" y="connsiteY17270"/>
              </a:cxn>
              <a:cxn ang="0">
                <a:pos x="connsiteX17271" y="connsiteY17271"/>
              </a:cxn>
              <a:cxn ang="0">
                <a:pos x="connsiteX17272" y="connsiteY17272"/>
              </a:cxn>
              <a:cxn ang="0">
                <a:pos x="connsiteX17273" y="connsiteY17273"/>
              </a:cxn>
              <a:cxn ang="0">
                <a:pos x="connsiteX17274" y="connsiteY17274"/>
              </a:cxn>
              <a:cxn ang="0">
                <a:pos x="connsiteX17275" y="connsiteY17275"/>
              </a:cxn>
              <a:cxn ang="0">
                <a:pos x="connsiteX17276" y="connsiteY17276"/>
              </a:cxn>
              <a:cxn ang="0">
                <a:pos x="connsiteX17277" y="connsiteY17277"/>
              </a:cxn>
              <a:cxn ang="0">
                <a:pos x="connsiteX17278" y="connsiteY17278"/>
              </a:cxn>
              <a:cxn ang="0">
                <a:pos x="connsiteX17279" y="connsiteY17279"/>
              </a:cxn>
              <a:cxn ang="0">
                <a:pos x="connsiteX17280" y="connsiteY17280"/>
              </a:cxn>
              <a:cxn ang="0">
                <a:pos x="connsiteX17281" y="connsiteY17281"/>
              </a:cxn>
              <a:cxn ang="0">
                <a:pos x="connsiteX17282" y="connsiteY17282"/>
              </a:cxn>
              <a:cxn ang="0">
                <a:pos x="connsiteX17283" y="connsiteY17283"/>
              </a:cxn>
              <a:cxn ang="0">
                <a:pos x="connsiteX17284" y="connsiteY17284"/>
              </a:cxn>
              <a:cxn ang="0">
                <a:pos x="connsiteX17285" y="connsiteY17285"/>
              </a:cxn>
              <a:cxn ang="0">
                <a:pos x="connsiteX17286" y="connsiteY17286"/>
              </a:cxn>
              <a:cxn ang="0">
                <a:pos x="connsiteX17287" y="connsiteY17287"/>
              </a:cxn>
              <a:cxn ang="0">
                <a:pos x="connsiteX17288" y="connsiteY17288"/>
              </a:cxn>
              <a:cxn ang="0">
                <a:pos x="connsiteX17289" y="connsiteY17289"/>
              </a:cxn>
              <a:cxn ang="0">
                <a:pos x="connsiteX17290" y="connsiteY17290"/>
              </a:cxn>
              <a:cxn ang="0">
                <a:pos x="connsiteX17291" y="connsiteY17291"/>
              </a:cxn>
              <a:cxn ang="0">
                <a:pos x="connsiteX17292" y="connsiteY17292"/>
              </a:cxn>
              <a:cxn ang="0">
                <a:pos x="connsiteX17293" y="connsiteY17293"/>
              </a:cxn>
              <a:cxn ang="0">
                <a:pos x="connsiteX17294" y="connsiteY17294"/>
              </a:cxn>
              <a:cxn ang="0">
                <a:pos x="connsiteX17295" y="connsiteY17295"/>
              </a:cxn>
              <a:cxn ang="0">
                <a:pos x="connsiteX17296" y="connsiteY17296"/>
              </a:cxn>
              <a:cxn ang="0">
                <a:pos x="connsiteX17297" y="connsiteY17297"/>
              </a:cxn>
              <a:cxn ang="0">
                <a:pos x="connsiteX17298" y="connsiteY17298"/>
              </a:cxn>
              <a:cxn ang="0">
                <a:pos x="connsiteX17299" y="connsiteY17299"/>
              </a:cxn>
              <a:cxn ang="0">
                <a:pos x="connsiteX17300" y="connsiteY17300"/>
              </a:cxn>
              <a:cxn ang="0">
                <a:pos x="connsiteX17301" y="connsiteY17301"/>
              </a:cxn>
              <a:cxn ang="0">
                <a:pos x="connsiteX17302" y="connsiteY17302"/>
              </a:cxn>
              <a:cxn ang="0">
                <a:pos x="connsiteX17303" y="connsiteY17303"/>
              </a:cxn>
              <a:cxn ang="0">
                <a:pos x="connsiteX17304" y="connsiteY17304"/>
              </a:cxn>
              <a:cxn ang="0">
                <a:pos x="connsiteX17305" y="connsiteY17305"/>
              </a:cxn>
              <a:cxn ang="0">
                <a:pos x="connsiteX17306" y="connsiteY17306"/>
              </a:cxn>
              <a:cxn ang="0">
                <a:pos x="connsiteX17307" y="connsiteY17307"/>
              </a:cxn>
              <a:cxn ang="0">
                <a:pos x="connsiteX17308" y="connsiteY17308"/>
              </a:cxn>
              <a:cxn ang="0">
                <a:pos x="connsiteX17309" y="connsiteY17309"/>
              </a:cxn>
              <a:cxn ang="0">
                <a:pos x="connsiteX17310" y="connsiteY17310"/>
              </a:cxn>
              <a:cxn ang="0">
                <a:pos x="connsiteX17311" y="connsiteY17311"/>
              </a:cxn>
              <a:cxn ang="0">
                <a:pos x="connsiteX17312" y="connsiteY17312"/>
              </a:cxn>
              <a:cxn ang="0">
                <a:pos x="connsiteX17313" y="connsiteY17313"/>
              </a:cxn>
              <a:cxn ang="0">
                <a:pos x="connsiteX17314" y="connsiteY17314"/>
              </a:cxn>
              <a:cxn ang="0">
                <a:pos x="connsiteX17315" y="connsiteY17315"/>
              </a:cxn>
              <a:cxn ang="0">
                <a:pos x="connsiteX17316" y="connsiteY17316"/>
              </a:cxn>
              <a:cxn ang="0">
                <a:pos x="connsiteX17317" y="connsiteY17317"/>
              </a:cxn>
              <a:cxn ang="0">
                <a:pos x="connsiteX17318" y="connsiteY17318"/>
              </a:cxn>
              <a:cxn ang="0">
                <a:pos x="connsiteX17319" y="connsiteY17319"/>
              </a:cxn>
              <a:cxn ang="0">
                <a:pos x="connsiteX17320" y="connsiteY17320"/>
              </a:cxn>
              <a:cxn ang="0">
                <a:pos x="connsiteX17321" y="connsiteY17321"/>
              </a:cxn>
              <a:cxn ang="0">
                <a:pos x="connsiteX17322" y="connsiteY17322"/>
              </a:cxn>
              <a:cxn ang="0">
                <a:pos x="connsiteX17323" y="connsiteY17323"/>
              </a:cxn>
              <a:cxn ang="0">
                <a:pos x="connsiteX17324" y="connsiteY17324"/>
              </a:cxn>
              <a:cxn ang="0">
                <a:pos x="connsiteX17325" y="connsiteY17325"/>
              </a:cxn>
              <a:cxn ang="0">
                <a:pos x="connsiteX17326" y="connsiteY17326"/>
              </a:cxn>
              <a:cxn ang="0">
                <a:pos x="connsiteX17327" y="connsiteY17327"/>
              </a:cxn>
              <a:cxn ang="0">
                <a:pos x="connsiteX17328" y="connsiteY17328"/>
              </a:cxn>
              <a:cxn ang="0">
                <a:pos x="connsiteX17329" y="connsiteY17329"/>
              </a:cxn>
              <a:cxn ang="0">
                <a:pos x="connsiteX17330" y="connsiteY17330"/>
              </a:cxn>
              <a:cxn ang="0">
                <a:pos x="connsiteX17331" y="connsiteY17331"/>
              </a:cxn>
              <a:cxn ang="0">
                <a:pos x="connsiteX17332" y="connsiteY17332"/>
              </a:cxn>
              <a:cxn ang="0">
                <a:pos x="connsiteX17333" y="connsiteY17333"/>
              </a:cxn>
              <a:cxn ang="0">
                <a:pos x="connsiteX17334" y="connsiteY17334"/>
              </a:cxn>
              <a:cxn ang="0">
                <a:pos x="connsiteX17335" y="connsiteY17335"/>
              </a:cxn>
              <a:cxn ang="0">
                <a:pos x="connsiteX17336" y="connsiteY17336"/>
              </a:cxn>
              <a:cxn ang="0">
                <a:pos x="connsiteX17337" y="connsiteY17337"/>
              </a:cxn>
              <a:cxn ang="0">
                <a:pos x="connsiteX17338" y="connsiteY17338"/>
              </a:cxn>
              <a:cxn ang="0">
                <a:pos x="connsiteX17339" y="connsiteY17339"/>
              </a:cxn>
              <a:cxn ang="0">
                <a:pos x="connsiteX17340" y="connsiteY17340"/>
              </a:cxn>
              <a:cxn ang="0">
                <a:pos x="connsiteX17341" y="connsiteY17341"/>
              </a:cxn>
              <a:cxn ang="0">
                <a:pos x="connsiteX17342" y="connsiteY17342"/>
              </a:cxn>
              <a:cxn ang="0">
                <a:pos x="connsiteX17343" y="connsiteY17343"/>
              </a:cxn>
              <a:cxn ang="0">
                <a:pos x="connsiteX17344" y="connsiteY17344"/>
              </a:cxn>
              <a:cxn ang="0">
                <a:pos x="connsiteX17345" y="connsiteY17345"/>
              </a:cxn>
              <a:cxn ang="0">
                <a:pos x="connsiteX17346" y="connsiteY17346"/>
              </a:cxn>
              <a:cxn ang="0">
                <a:pos x="connsiteX17347" y="connsiteY17347"/>
              </a:cxn>
              <a:cxn ang="0">
                <a:pos x="connsiteX17348" y="connsiteY17348"/>
              </a:cxn>
              <a:cxn ang="0">
                <a:pos x="connsiteX17349" y="connsiteY17349"/>
              </a:cxn>
              <a:cxn ang="0">
                <a:pos x="connsiteX17350" y="connsiteY17350"/>
              </a:cxn>
              <a:cxn ang="0">
                <a:pos x="connsiteX17351" y="connsiteY17351"/>
              </a:cxn>
              <a:cxn ang="0">
                <a:pos x="connsiteX17352" y="connsiteY17352"/>
              </a:cxn>
              <a:cxn ang="0">
                <a:pos x="connsiteX17353" y="connsiteY17353"/>
              </a:cxn>
              <a:cxn ang="0">
                <a:pos x="connsiteX17354" y="connsiteY17354"/>
              </a:cxn>
              <a:cxn ang="0">
                <a:pos x="connsiteX17355" y="connsiteY17355"/>
              </a:cxn>
              <a:cxn ang="0">
                <a:pos x="connsiteX17356" y="connsiteY17356"/>
              </a:cxn>
              <a:cxn ang="0">
                <a:pos x="connsiteX17357" y="connsiteY17357"/>
              </a:cxn>
              <a:cxn ang="0">
                <a:pos x="connsiteX17358" y="connsiteY17358"/>
              </a:cxn>
              <a:cxn ang="0">
                <a:pos x="connsiteX17359" y="connsiteY17359"/>
              </a:cxn>
              <a:cxn ang="0">
                <a:pos x="connsiteX17360" y="connsiteY17360"/>
              </a:cxn>
              <a:cxn ang="0">
                <a:pos x="connsiteX17361" y="connsiteY17361"/>
              </a:cxn>
              <a:cxn ang="0">
                <a:pos x="connsiteX17362" y="connsiteY17362"/>
              </a:cxn>
              <a:cxn ang="0">
                <a:pos x="connsiteX17363" y="connsiteY17363"/>
              </a:cxn>
              <a:cxn ang="0">
                <a:pos x="connsiteX17364" y="connsiteY17364"/>
              </a:cxn>
              <a:cxn ang="0">
                <a:pos x="connsiteX17365" y="connsiteY17365"/>
              </a:cxn>
              <a:cxn ang="0">
                <a:pos x="connsiteX17366" y="connsiteY17366"/>
              </a:cxn>
              <a:cxn ang="0">
                <a:pos x="connsiteX17367" y="connsiteY17367"/>
              </a:cxn>
              <a:cxn ang="0">
                <a:pos x="connsiteX17368" y="connsiteY17368"/>
              </a:cxn>
              <a:cxn ang="0">
                <a:pos x="connsiteX17369" y="connsiteY17369"/>
              </a:cxn>
              <a:cxn ang="0">
                <a:pos x="connsiteX17370" y="connsiteY17370"/>
              </a:cxn>
              <a:cxn ang="0">
                <a:pos x="connsiteX17371" y="connsiteY17371"/>
              </a:cxn>
              <a:cxn ang="0">
                <a:pos x="connsiteX17372" y="connsiteY17372"/>
              </a:cxn>
              <a:cxn ang="0">
                <a:pos x="connsiteX17373" y="connsiteY17373"/>
              </a:cxn>
              <a:cxn ang="0">
                <a:pos x="connsiteX17374" y="connsiteY17374"/>
              </a:cxn>
              <a:cxn ang="0">
                <a:pos x="connsiteX17375" y="connsiteY17375"/>
              </a:cxn>
              <a:cxn ang="0">
                <a:pos x="connsiteX17376" y="connsiteY17376"/>
              </a:cxn>
              <a:cxn ang="0">
                <a:pos x="connsiteX17377" y="connsiteY17377"/>
              </a:cxn>
              <a:cxn ang="0">
                <a:pos x="connsiteX17378" y="connsiteY17378"/>
              </a:cxn>
              <a:cxn ang="0">
                <a:pos x="connsiteX17379" y="connsiteY17379"/>
              </a:cxn>
              <a:cxn ang="0">
                <a:pos x="connsiteX17380" y="connsiteY17380"/>
              </a:cxn>
              <a:cxn ang="0">
                <a:pos x="connsiteX17381" y="connsiteY17381"/>
              </a:cxn>
              <a:cxn ang="0">
                <a:pos x="connsiteX17382" y="connsiteY17382"/>
              </a:cxn>
              <a:cxn ang="0">
                <a:pos x="connsiteX17383" y="connsiteY17383"/>
              </a:cxn>
              <a:cxn ang="0">
                <a:pos x="connsiteX17384" y="connsiteY17384"/>
              </a:cxn>
              <a:cxn ang="0">
                <a:pos x="connsiteX17385" y="connsiteY17385"/>
              </a:cxn>
              <a:cxn ang="0">
                <a:pos x="connsiteX17386" y="connsiteY17386"/>
              </a:cxn>
              <a:cxn ang="0">
                <a:pos x="connsiteX17387" y="connsiteY17387"/>
              </a:cxn>
              <a:cxn ang="0">
                <a:pos x="connsiteX17388" y="connsiteY17388"/>
              </a:cxn>
              <a:cxn ang="0">
                <a:pos x="connsiteX17389" y="connsiteY17389"/>
              </a:cxn>
              <a:cxn ang="0">
                <a:pos x="connsiteX17390" y="connsiteY17390"/>
              </a:cxn>
              <a:cxn ang="0">
                <a:pos x="connsiteX17391" y="connsiteY17391"/>
              </a:cxn>
              <a:cxn ang="0">
                <a:pos x="connsiteX17392" y="connsiteY17392"/>
              </a:cxn>
              <a:cxn ang="0">
                <a:pos x="connsiteX17393" y="connsiteY17393"/>
              </a:cxn>
              <a:cxn ang="0">
                <a:pos x="connsiteX17394" y="connsiteY17394"/>
              </a:cxn>
              <a:cxn ang="0">
                <a:pos x="connsiteX17395" y="connsiteY17395"/>
              </a:cxn>
              <a:cxn ang="0">
                <a:pos x="connsiteX17396" y="connsiteY17396"/>
              </a:cxn>
              <a:cxn ang="0">
                <a:pos x="connsiteX17397" y="connsiteY17397"/>
              </a:cxn>
              <a:cxn ang="0">
                <a:pos x="connsiteX17398" y="connsiteY17398"/>
              </a:cxn>
              <a:cxn ang="0">
                <a:pos x="connsiteX17399" y="connsiteY17399"/>
              </a:cxn>
              <a:cxn ang="0">
                <a:pos x="connsiteX17400" y="connsiteY17400"/>
              </a:cxn>
              <a:cxn ang="0">
                <a:pos x="connsiteX17401" y="connsiteY17401"/>
              </a:cxn>
              <a:cxn ang="0">
                <a:pos x="connsiteX17402" y="connsiteY17402"/>
              </a:cxn>
              <a:cxn ang="0">
                <a:pos x="connsiteX17403" y="connsiteY17403"/>
              </a:cxn>
              <a:cxn ang="0">
                <a:pos x="connsiteX17404" y="connsiteY17404"/>
              </a:cxn>
              <a:cxn ang="0">
                <a:pos x="connsiteX17405" y="connsiteY17405"/>
              </a:cxn>
              <a:cxn ang="0">
                <a:pos x="connsiteX17406" y="connsiteY17406"/>
              </a:cxn>
              <a:cxn ang="0">
                <a:pos x="connsiteX17407" y="connsiteY17407"/>
              </a:cxn>
              <a:cxn ang="0">
                <a:pos x="connsiteX17408" y="connsiteY17408"/>
              </a:cxn>
              <a:cxn ang="0">
                <a:pos x="connsiteX17409" y="connsiteY17409"/>
              </a:cxn>
              <a:cxn ang="0">
                <a:pos x="connsiteX17410" y="connsiteY17410"/>
              </a:cxn>
              <a:cxn ang="0">
                <a:pos x="connsiteX17411" y="connsiteY17411"/>
              </a:cxn>
              <a:cxn ang="0">
                <a:pos x="connsiteX17412" y="connsiteY17412"/>
              </a:cxn>
              <a:cxn ang="0">
                <a:pos x="connsiteX17413" y="connsiteY17413"/>
              </a:cxn>
              <a:cxn ang="0">
                <a:pos x="connsiteX17414" y="connsiteY17414"/>
              </a:cxn>
              <a:cxn ang="0">
                <a:pos x="connsiteX17415" y="connsiteY17415"/>
              </a:cxn>
              <a:cxn ang="0">
                <a:pos x="connsiteX17416" y="connsiteY17416"/>
              </a:cxn>
              <a:cxn ang="0">
                <a:pos x="connsiteX17417" y="connsiteY17417"/>
              </a:cxn>
              <a:cxn ang="0">
                <a:pos x="connsiteX17418" y="connsiteY17418"/>
              </a:cxn>
              <a:cxn ang="0">
                <a:pos x="connsiteX17419" y="connsiteY17419"/>
              </a:cxn>
              <a:cxn ang="0">
                <a:pos x="connsiteX17420" y="connsiteY17420"/>
              </a:cxn>
              <a:cxn ang="0">
                <a:pos x="connsiteX17421" y="connsiteY17421"/>
              </a:cxn>
              <a:cxn ang="0">
                <a:pos x="connsiteX17422" y="connsiteY17422"/>
              </a:cxn>
              <a:cxn ang="0">
                <a:pos x="connsiteX17423" y="connsiteY17423"/>
              </a:cxn>
              <a:cxn ang="0">
                <a:pos x="connsiteX17424" y="connsiteY17424"/>
              </a:cxn>
              <a:cxn ang="0">
                <a:pos x="connsiteX17425" y="connsiteY17425"/>
              </a:cxn>
              <a:cxn ang="0">
                <a:pos x="connsiteX17426" y="connsiteY17426"/>
              </a:cxn>
              <a:cxn ang="0">
                <a:pos x="connsiteX17427" y="connsiteY17427"/>
              </a:cxn>
              <a:cxn ang="0">
                <a:pos x="connsiteX17428" y="connsiteY17428"/>
              </a:cxn>
              <a:cxn ang="0">
                <a:pos x="connsiteX17429" y="connsiteY17429"/>
              </a:cxn>
              <a:cxn ang="0">
                <a:pos x="connsiteX17430" y="connsiteY17430"/>
              </a:cxn>
              <a:cxn ang="0">
                <a:pos x="connsiteX17431" y="connsiteY17431"/>
              </a:cxn>
              <a:cxn ang="0">
                <a:pos x="connsiteX17432" y="connsiteY17432"/>
              </a:cxn>
              <a:cxn ang="0">
                <a:pos x="connsiteX17433" y="connsiteY17433"/>
              </a:cxn>
              <a:cxn ang="0">
                <a:pos x="connsiteX17434" y="connsiteY17434"/>
              </a:cxn>
              <a:cxn ang="0">
                <a:pos x="connsiteX17435" y="connsiteY17435"/>
              </a:cxn>
              <a:cxn ang="0">
                <a:pos x="connsiteX17436" y="connsiteY17436"/>
              </a:cxn>
              <a:cxn ang="0">
                <a:pos x="connsiteX17437" y="connsiteY17437"/>
              </a:cxn>
              <a:cxn ang="0">
                <a:pos x="connsiteX17438" y="connsiteY17438"/>
              </a:cxn>
              <a:cxn ang="0">
                <a:pos x="connsiteX17439" y="connsiteY17439"/>
              </a:cxn>
              <a:cxn ang="0">
                <a:pos x="connsiteX17440" y="connsiteY17440"/>
              </a:cxn>
              <a:cxn ang="0">
                <a:pos x="connsiteX17441" y="connsiteY17441"/>
              </a:cxn>
              <a:cxn ang="0">
                <a:pos x="connsiteX17442" y="connsiteY17442"/>
              </a:cxn>
              <a:cxn ang="0">
                <a:pos x="connsiteX17443" y="connsiteY17443"/>
              </a:cxn>
              <a:cxn ang="0">
                <a:pos x="connsiteX17444" y="connsiteY17444"/>
              </a:cxn>
              <a:cxn ang="0">
                <a:pos x="connsiteX17445" y="connsiteY17445"/>
              </a:cxn>
              <a:cxn ang="0">
                <a:pos x="connsiteX17446" y="connsiteY17446"/>
              </a:cxn>
              <a:cxn ang="0">
                <a:pos x="connsiteX17447" y="connsiteY17447"/>
              </a:cxn>
              <a:cxn ang="0">
                <a:pos x="connsiteX17448" y="connsiteY17448"/>
              </a:cxn>
              <a:cxn ang="0">
                <a:pos x="connsiteX17449" y="connsiteY17449"/>
              </a:cxn>
              <a:cxn ang="0">
                <a:pos x="connsiteX17450" y="connsiteY17450"/>
              </a:cxn>
              <a:cxn ang="0">
                <a:pos x="connsiteX17451" y="connsiteY17451"/>
              </a:cxn>
              <a:cxn ang="0">
                <a:pos x="connsiteX17452" y="connsiteY17452"/>
              </a:cxn>
              <a:cxn ang="0">
                <a:pos x="connsiteX17453" y="connsiteY17453"/>
              </a:cxn>
              <a:cxn ang="0">
                <a:pos x="connsiteX17454" y="connsiteY17454"/>
              </a:cxn>
              <a:cxn ang="0">
                <a:pos x="connsiteX17455" y="connsiteY17455"/>
              </a:cxn>
              <a:cxn ang="0">
                <a:pos x="connsiteX17456" y="connsiteY17456"/>
              </a:cxn>
              <a:cxn ang="0">
                <a:pos x="connsiteX17457" y="connsiteY17457"/>
              </a:cxn>
              <a:cxn ang="0">
                <a:pos x="connsiteX17458" y="connsiteY17458"/>
              </a:cxn>
              <a:cxn ang="0">
                <a:pos x="connsiteX17459" y="connsiteY17459"/>
              </a:cxn>
              <a:cxn ang="0">
                <a:pos x="connsiteX17460" y="connsiteY17460"/>
              </a:cxn>
              <a:cxn ang="0">
                <a:pos x="connsiteX17461" y="connsiteY17461"/>
              </a:cxn>
              <a:cxn ang="0">
                <a:pos x="connsiteX17462" y="connsiteY17462"/>
              </a:cxn>
              <a:cxn ang="0">
                <a:pos x="connsiteX17463" y="connsiteY17463"/>
              </a:cxn>
              <a:cxn ang="0">
                <a:pos x="connsiteX17464" y="connsiteY17464"/>
              </a:cxn>
              <a:cxn ang="0">
                <a:pos x="connsiteX17465" y="connsiteY17465"/>
              </a:cxn>
              <a:cxn ang="0">
                <a:pos x="connsiteX17466" y="connsiteY17466"/>
              </a:cxn>
              <a:cxn ang="0">
                <a:pos x="connsiteX17467" y="connsiteY17467"/>
              </a:cxn>
              <a:cxn ang="0">
                <a:pos x="connsiteX17468" y="connsiteY17468"/>
              </a:cxn>
              <a:cxn ang="0">
                <a:pos x="connsiteX17469" y="connsiteY17469"/>
              </a:cxn>
              <a:cxn ang="0">
                <a:pos x="connsiteX17470" y="connsiteY17470"/>
              </a:cxn>
              <a:cxn ang="0">
                <a:pos x="connsiteX17471" y="connsiteY17471"/>
              </a:cxn>
              <a:cxn ang="0">
                <a:pos x="connsiteX17472" y="connsiteY17472"/>
              </a:cxn>
              <a:cxn ang="0">
                <a:pos x="connsiteX17473" y="connsiteY17473"/>
              </a:cxn>
              <a:cxn ang="0">
                <a:pos x="connsiteX17474" y="connsiteY17474"/>
              </a:cxn>
              <a:cxn ang="0">
                <a:pos x="connsiteX17475" y="connsiteY17475"/>
              </a:cxn>
              <a:cxn ang="0">
                <a:pos x="connsiteX17476" y="connsiteY17476"/>
              </a:cxn>
              <a:cxn ang="0">
                <a:pos x="connsiteX17477" y="connsiteY17477"/>
              </a:cxn>
              <a:cxn ang="0">
                <a:pos x="connsiteX17478" y="connsiteY17478"/>
              </a:cxn>
              <a:cxn ang="0">
                <a:pos x="connsiteX17479" y="connsiteY17479"/>
              </a:cxn>
              <a:cxn ang="0">
                <a:pos x="connsiteX17480" y="connsiteY17480"/>
              </a:cxn>
              <a:cxn ang="0">
                <a:pos x="connsiteX17481" y="connsiteY17481"/>
              </a:cxn>
              <a:cxn ang="0">
                <a:pos x="connsiteX17482" y="connsiteY17482"/>
              </a:cxn>
              <a:cxn ang="0">
                <a:pos x="connsiteX17483" y="connsiteY17483"/>
              </a:cxn>
              <a:cxn ang="0">
                <a:pos x="connsiteX17484" y="connsiteY17484"/>
              </a:cxn>
              <a:cxn ang="0">
                <a:pos x="connsiteX17485" y="connsiteY17485"/>
              </a:cxn>
              <a:cxn ang="0">
                <a:pos x="connsiteX17486" y="connsiteY17486"/>
              </a:cxn>
              <a:cxn ang="0">
                <a:pos x="connsiteX17487" y="connsiteY17487"/>
              </a:cxn>
              <a:cxn ang="0">
                <a:pos x="connsiteX17488" y="connsiteY17488"/>
              </a:cxn>
              <a:cxn ang="0">
                <a:pos x="connsiteX17489" y="connsiteY17489"/>
              </a:cxn>
              <a:cxn ang="0">
                <a:pos x="connsiteX17490" y="connsiteY17490"/>
              </a:cxn>
              <a:cxn ang="0">
                <a:pos x="connsiteX17491" y="connsiteY17491"/>
              </a:cxn>
              <a:cxn ang="0">
                <a:pos x="connsiteX17492" y="connsiteY17492"/>
              </a:cxn>
              <a:cxn ang="0">
                <a:pos x="connsiteX17493" y="connsiteY17493"/>
              </a:cxn>
              <a:cxn ang="0">
                <a:pos x="connsiteX17494" y="connsiteY17494"/>
              </a:cxn>
              <a:cxn ang="0">
                <a:pos x="connsiteX17495" y="connsiteY17495"/>
              </a:cxn>
              <a:cxn ang="0">
                <a:pos x="connsiteX17496" y="connsiteY17496"/>
              </a:cxn>
              <a:cxn ang="0">
                <a:pos x="connsiteX17497" y="connsiteY17497"/>
              </a:cxn>
              <a:cxn ang="0">
                <a:pos x="connsiteX17498" y="connsiteY17498"/>
              </a:cxn>
              <a:cxn ang="0">
                <a:pos x="connsiteX17499" y="connsiteY17499"/>
              </a:cxn>
              <a:cxn ang="0">
                <a:pos x="connsiteX17500" y="connsiteY17500"/>
              </a:cxn>
              <a:cxn ang="0">
                <a:pos x="connsiteX17501" y="connsiteY17501"/>
              </a:cxn>
              <a:cxn ang="0">
                <a:pos x="connsiteX17502" y="connsiteY17502"/>
              </a:cxn>
              <a:cxn ang="0">
                <a:pos x="connsiteX17503" y="connsiteY17503"/>
              </a:cxn>
              <a:cxn ang="0">
                <a:pos x="connsiteX17504" y="connsiteY17504"/>
              </a:cxn>
              <a:cxn ang="0">
                <a:pos x="connsiteX17505" y="connsiteY17505"/>
              </a:cxn>
              <a:cxn ang="0">
                <a:pos x="connsiteX17506" y="connsiteY17506"/>
              </a:cxn>
              <a:cxn ang="0">
                <a:pos x="connsiteX17507" y="connsiteY17507"/>
              </a:cxn>
              <a:cxn ang="0">
                <a:pos x="connsiteX17508" y="connsiteY17508"/>
              </a:cxn>
              <a:cxn ang="0">
                <a:pos x="connsiteX17509" y="connsiteY17509"/>
              </a:cxn>
              <a:cxn ang="0">
                <a:pos x="connsiteX17510" y="connsiteY17510"/>
              </a:cxn>
              <a:cxn ang="0">
                <a:pos x="connsiteX17511" y="connsiteY17511"/>
              </a:cxn>
              <a:cxn ang="0">
                <a:pos x="connsiteX17512" y="connsiteY17512"/>
              </a:cxn>
              <a:cxn ang="0">
                <a:pos x="connsiteX17513" y="connsiteY17513"/>
              </a:cxn>
              <a:cxn ang="0">
                <a:pos x="connsiteX17514" y="connsiteY17514"/>
              </a:cxn>
              <a:cxn ang="0">
                <a:pos x="connsiteX17515" y="connsiteY17515"/>
              </a:cxn>
              <a:cxn ang="0">
                <a:pos x="connsiteX17516" y="connsiteY17516"/>
              </a:cxn>
              <a:cxn ang="0">
                <a:pos x="connsiteX17517" y="connsiteY17517"/>
              </a:cxn>
              <a:cxn ang="0">
                <a:pos x="connsiteX17518" y="connsiteY17518"/>
              </a:cxn>
              <a:cxn ang="0">
                <a:pos x="connsiteX17519" y="connsiteY17519"/>
              </a:cxn>
              <a:cxn ang="0">
                <a:pos x="connsiteX17520" y="connsiteY17520"/>
              </a:cxn>
              <a:cxn ang="0">
                <a:pos x="connsiteX17521" y="connsiteY17521"/>
              </a:cxn>
              <a:cxn ang="0">
                <a:pos x="connsiteX17522" y="connsiteY17522"/>
              </a:cxn>
              <a:cxn ang="0">
                <a:pos x="connsiteX17523" y="connsiteY17523"/>
              </a:cxn>
              <a:cxn ang="0">
                <a:pos x="connsiteX17524" y="connsiteY17524"/>
              </a:cxn>
              <a:cxn ang="0">
                <a:pos x="connsiteX17525" y="connsiteY17525"/>
              </a:cxn>
              <a:cxn ang="0">
                <a:pos x="connsiteX17526" y="connsiteY17526"/>
              </a:cxn>
              <a:cxn ang="0">
                <a:pos x="connsiteX17527" y="connsiteY17527"/>
              </a:cxn>
              <a:cxn ang="0">
                <a:pos x="connsiteX17528" y="connsiteY17528"/>
              </a:cxn>
              <a:cxn ang="0">
                <a:pos x="connsiteX17529" y="connsiteY17529"/>
              </a:cxn>
              <a:cxn ang="0">
                <a:pos x="connsiteX17530" y="connsiteY17530"/>
              </a:cxn>
              <a:cxn ang="0">
                <a:pos x="connsiteX17531" y="connsiteY17531"/>
              </a:cxn>
              <a:cxn ang="0">
                <a:pos x="connsiteX17532" y="connsiteY17532"/>
              </a:cxn>
              <a:cxn ang="0">
                <a:pos x="connsiteX17533" y="connsiteY17533"/>
              </a:cxn>
              <a:cxn ang="0">
                <a:pos x="connsiteX17534" y="connsiteY17534"/>
              </a:cxn>
              <a:cxn ang="0">
                <a:pos x="connsiteX17535" y="connsiteY17535"/>
              </a:cxn>
              <a:cxn ang="0">
                <a:pos x="connsiteX17536" y="connsiteY17536"/>
              </a:cxn>
              <a:cxn ang="0">
                <a:pos x="connsiteX17537" y="connsiteY17537"/>
              </a:cxn>
              <a:cxn ang="0">
                <a:pos x="connsiteX17538" y="connsiteY17538"/>
              </a:cxn>
              <a:cxn ang="0">
                <a:pos x="connsiteX17539" y="connsiteY17539"/>
              </a:cxn>
              <a:cxn ang="0">
                <a:pos x="connsiteX17540" y="connsiteY17540"/>
              </a:cxn>
              <a:cxn ang="0">
                <a:pos x="connsiteX17541" y="connsiteY17541"/>
              </a:cxn>
              <a:cxn ang="0">
                <a:pos x="connsiteX17542" y="connsiteY17542"/>
              </a:cxn>
              <a:cxn ang="0">
                <a:pos x="connsiteX17543" y="connsiteY17543"/>
              </a:cxn>
              <a:cxn ang="0">
                <a:pos x="connsiteX17544" y="connsiteY17544"/>
              </a:cxn>
              <a:cxn ang="0">
                <a:pos x="connsiteX17545" y="connsiteY17545"/>
              </a:cxn>
              <a:cxn ang="0">
                <a:pos x="connsiteX17546" y="connsiteY17546"/>
              </a:cxn>
              <a:cxn ang="0">
                <a:pos x="connsiteX17547" y="connsiteY17547"/>
              </a:cxn>
              <a:cxn ang="0">
                <a:pos x="connsiteX17548" y="connsiteY17548"/>
              </a:cxn>
              <a:cxn ang="0">
                <a:pos x="connsiteX17549" y="connsiteY17549"/>
              </a:cxn>
              <a:cxn ang="0">
                <a:pos x="connsiteX17550" y="connsiteY17550"/>
              </a:cxn>
              <a:cxn ang="0">
                <a:pos x="connsiteX17551" y="connsiteY17551"/>
              </a:cxn>
              <a:cxn ang="0">
                <a:pos x="connsiteX17552" y="connsiteY17552"/>
              </a:cxn>
              <a:cxn ang="0">
                <a:pos x="connsiteX17553" y="connsiteY17553"/>
              </a:cxn>
              <a:cxn ang="0">
                <a:pos x="connsiteX17554" y="connsiteY17554"/>
              </a:cxn>
              <a:cxn ang="0">
                <a:pos x="connsiteX17555" y="connsiteY17555"/>
              </a:cxn>
              <a:cxn ang="0">
                <a:pos x="connsiteX17556" y="connsiteY17556"/>
              </a:cxn>
              <a:cxn ang="0">
                <a:pos x="connsiteX17557" y="connsiteY17557"/>
              </a:cxn>
              <a:cxn ang="0">
                <a:pos x="connsiteX17558" y="connsiteY17558"/>
              </a:cxn>
              <a:cxn ang="0">
                <a:pos x="connsiteX17559" y="connsiteY17559"/>
              </a:cxn>
              <a:cxn ang="0">
                <a:pos x="connsiteX17560" y="connsiteY17560"/>
              </a:cxn>
              <a:cxn ang="0">
                <a:pos x="connsiteX17561" y="connsiteY17561"/>
              </a:cxn>
              <a:cxn ang="0">
                <a:pos x="connsiteX17562" y="connsiteY17562"/>
              </a:cxn>
              <a:cxn ang="0">
                <a:pos x="connsiteX17563" y="connsiteY17563"/>
              </a:cxn>
              <a:cxn ang="0">
                <a:pos x="connsiteX17564" y="connsiteY17564"/>
              </a:cxn>
              <a:cxn ang="0">
                <a:pos x="connsiteX17565" y="connsiteY17565"/>
              </a:cxn>
              <a:cxn ang="0">
                <a:pos x="connsiteX17566" y="connsiteY17566"/>
              </a:cxn>
              <a:cxn ang="0">
                <a:pos x="connsiteX17567" y="connsiteY17567"/>
              </a:cxn>
              <a:cxn ang="0">
                <a:pos x="connsiteX17568" y="connsiteY17568"/>
              </a:cxn>
              <a:cxn ang="0">
                <a:pos x="connsiteX17569" y="connsiteY17569"/>
              </a:cxn>
              <a:cxn ang="0">
                <a:pos x="connsiteX17570" y="connsiteY17570"/>
              </a:cxn>
              <a:cxn ang="0">
                <a:pos x="connsiteX17571" y="connsiteY17571"/>
              </a:cxn>
              <a:cxn ang="0">
                <a:pos x="connsiteX17572" y="connsiteY17572"/>
              </a:cxn>
              <a:cxn ang="0">
                <a:pos x="connsiteX17573" y="connsiteY17573"/>
              </a:cxn>
              <a:cxn ang="0">
                <a:pos x="connsiteX17574" y="connsiteY17574"/>
              </a:cxn>
              <a:cxn ang="0">
                <a:pos x="connsiteX17575" y="connsiteY17575"/>
              </a:cxn>
              <a:cxn ang="0">
                <a:pos x="connsiteX17576" y="connsiteY17576"/>
              </a:cxn>
              <a:cxn ang="0">
                <a:pos x="connsiteX17577" y="connsiteY17577"/>
              </a:cxn>
              <a:cxn ang="0">
                <a:pos x="connsiteX17578" y="connsiteY17578"/>
              </a:cxn>
              <a:cxn ang="0">
                <a:pos x="connsiteX17579" y="connsiteY17579"/>
              </a:cxn>
              <a:cxn ang="0">
                <a:pos x="connsiteX17580" y="connsiteY17580"/>
              </a:cxn>
              <a:cxn ang="0">
                <a:pos x="connsiteX17581" y="connsiteY17581"/>
              </a:cxn>
              <a:cxn ang="0">
                <a:pos x="connsiteX17582" y="connsiteY17582"/>
              </a:cxn>
              <a:cxn ang="0">
                <a:pos x="connsiteX17583" y="connsiteY17583"/>
              </a:cxn>
              <a:cxn ang="0">
                <a:pos x="connsiteX17584" y="connsiteY17584"/>
              </a:cxn>
              <a:cxn ang="0">
                <a:pos x="connsiteX17585" y="connsiteY17585"/>
              </a:cxn>
              <a:cxn ang="0">
                <a:pos x="connsiteX17586" y="connsiteY17586"/>
              </a:cxn>
              <a:cxn ang="0">
                <a:pos x="connsiteX17587" y="connsiteY17587"/>
              </a:cxn>
              <a:cxn ang="0">
                <a:pos x="connsiteX17588" y="connsiteY17588"/>
              </a:cxn>
              <a:cxn ang="0">
                <a:pos x="connsiteX17589" y="connsiteY17589"/>
              </a:cxn>
              <a:cxn ang="0">
                <a:pos x="connsiteX17590" y="connsiteY17590"/>
              </a:cxn>
              <a:cxn ang="0">
                <a:pos x="connsiteX17591" y="connsiteY17591"/>
              </a:cxn>
              <a:cxn ang="0">
                <a:pos x="connsiteX17592" y="connsiteY17592"/>
              </a:cxn>
              <a:cxn ang="0">
                <a:pos x="connsiteX17593" y="connsiteY17593"/>
              </a:cxn>
              <a:cxn ang="0">
                <a:pos x="connsiteX17594" y="connsiteY17594"/>
              </a:cxn>
              <a:cxn ang="0">
                <a:pos x="connsiteX17595" y="connsiteY17595"/>
              </a:cxn>
              <a:cxn ang="0">
                <a:pos x="connsiteX17596" y="connsiteY17596"/>
              </a:cxn>
              <a:cxn ang="0">
                <a:pos x="connsiteX17597" y="connsiteY17597"/>
              </a:cxn>
              <a:cxn ang="0">
                <a:pos x="connsiteX17598" y="connsiteY17598"/>
              </a:cxn>
              <a:cxn ang="0">
                <a:pos x="connsiteX17599" y="connsiteY17599"/>
              </a:cxn>
              <a:cxn ang="0">
                <a:pos x="connsiteX17600" y="connsiteY17600"/>
              </a:cxn>
              <a:cxn ang="0">
                <a:pos x="connsiteX17601" y="connsiteY17601"/>
              </a:cxn>
              <a:cxn ang="0">
                <a:pos x="connsiteX17602" y="connsiteY17602"/>
              </a:cxn>
              <a:cxn ang="0">
                <a:pos x="connsiteX17603" y="connsiteY17603"/>
              </a:cxn>
              <a:cxn ang="0">
                <a:pos x="connsiteX17604" y="connsiteY17604"/>
              </a:cxn>
              <a:cxn ang="0">
                <a:pos x="connsiteX17605" y="connsiteY17605"/>
              </a:cxn>
              <a:cxn ang="0">
                <a:pos x="connsiteX17606" y="connsiteY17606"/>
              </a:cxn>
              <a:cxn ang="0">
                <a:pos x="connsiteX17607" y="connsiteY17607"/>
              </a:cxn>
              <a:cxn ang="0">
                <a:pos x="connsiteX17608" y="connsiteY17608"/>
              </a:cxn>
              <a:cxn ang="0">
                <a:pos x="connsiteX17609" y="connsiteY17609"/>
              </a:cxn>
              <a:cxn ang="0">
                <a:pos x="connsiteX17610" y="connsiteY17610"/>
              </a:cxn>
              <a:cxn ang="0">
                <a:pos x="connsiteX17611" y="connsiteY17611"/>
              </a:cxn>
              <a:cxn ang="0">
                <a:pos x="connsiteX17612" y="connsiteY17612"/>
              </a:cxn>
              <a:cxn ang="0">
                <a:pos x="connsiteX17613" y="connsiteY17613"/>
              </a:cxn>
              <a:cxn ang="0">
                <a:pos x="connsiteX17614" y="connsiteY17614"/>
              </a:cxn>
              <a:cxn ang="0">
                <a:pos x="connsiteX17615" y="connsiteY17615"/>
              </a:cxn>
              <a:cxn ang="0">
                <a:pos x="connsiteX17616" y="connsiteY17616"/>
              </a:cxn>
              <a:cxn ang="0">
                <a:pos x="connsiteX17617" y="connsiteY17617"/>
              </a:cxn>
              <a:cxn ang="0">
                <a:pos x="connsiteX17618" y="connsiteY17618"/>
              </a:cxn>
              <a:cxn ang="0">
                <a:pos x="connsiteX17619" y="connsiteY17619"/>
              </a:cxn>
              <a:cxn ang="0">
                <a:pos x="connsiteX17620" y="connsiteY17620"/>
              </a:cxn>
              <a:cxn ang="0">
                <a:pos x="connsiteX17621" y="connsiteY17621"/>
              </a:cxn>
              <a:cxn ang="0">
                <a:pos x="connsiteX17622" y="connsiteY17622"/>
              </a:cxn>
              <a:cxn ang="0">
                <a:pos x="connsiteX17623" y="connsiteY17623"/>
              </a:cxn>
              <a:cxn ang="0">
                <a:pos x="connsiteX17624" y="connsiteY17624"/>
              </a:cxn>
              <a:cxn ang="0">
                <a:pos x="connsiteX17625" y="connsiteY17625"/>
              </a:cxn>
              <a:cxn ang="0">
                <a:pos x="connsiteX17626" y="connsiteY17626"/>
              </a:cxn>
              <a:cxn ang="0">
                <a:pos x="connsiteX17627" y="connsiteY17627"/>
              </a:cxn>
              <a:cxn ang="0">
                <a:pos x="connsiteX17628" y="connsiteY17628"/>
              </a:cxn>
              <a:cxn ang="0">
                <a:pos x="connsiteX17629" y="connsiteY17629"/>
              </a:cxn>
              <a:cxn ang="0">
                <a:pos x="connsiteX17630" y="connsiteY17630"/>
              </a:cxn>
              <a:cxn ang="0">
                <a:pos x="connsiteX17631" y="connsiteY17631"/>
              </a:cxn>
              <a:cxn ang="0">
                <a:pos x="connsiteX17632" y="connsiteY17632"/>
              </a:cxn>
              <a:cxn ang="0">
                <a:pos x="connsiteX17633" y="connsiteY17633"/>
              </a:cxn>
              <a:cxn ang="0">
                <a:pos x="connsiteX17634" y="connsiteY17634"/>
              </a:cxn>
              <a:cxn ang="0">
                <a:pos x="connsiteX17635" y="connsiteY17635"/>
              </a:cxn>
              <a:cxn ang="0">
                <a:pos x="connsiteX17636" y="connsiteY17636"/>
              </a:cxn>
              <a:cxn ang="0">
                <a:pos x="connsiteX17637" y="connsiteY17637"/>
              </a:cxn>
              <a:cxn ang="0">
                <a:pos x="connsiteX17638" y="connsiteY17638"/>
              </a:cxn>
              <a:cxn ang="0">
                <a:pos x="connsiteX17639" y="connsiteY17639"/>
              </a:cxn>
              <a:cxn ang="0">
                <a:pos x="connsiteX17640" y="connsiteY17640"/>
              </a:cxn>
              <a:cxn ang="0">
                <a:pos x="connsiteX17641" y="connsiteY17641"/>
              </a:cxn>
              <a:cxn ang="0">
                <a:pos x="connsiteX17642" y="connsiteY17642"/>
              </a:cxn>
              <a:cxn ang="0">
                <a:pos x="connsiteX17643" y="connsiteY17643"/>
              </a:cxn>
              <a:cxn ang="0">
                <a:pos x="connsiteX17644" y="connsiteY17644"/>
              </a:cxn>
              <a:cxn ang="0">
                <a:pos x="connsiteX17645" y="connsiteY17645"/>
              </a:cxn>
              <a:cxn ang="0">
                <a:pos x="connsiteX17646" y="connsiteY17646"/>
              </a:cxn>
              <a:cxn ang="0">
                <a:pos x="connsiteX17647" y="connsiteY17647"/>
              </a:cxn>
              <a:cxn ang="0">
                <a:pos x="connsiteX17648" y="connsiteY17648"/>
              </a:cxn>
              <a:cxn ang="0">
                <a:pos x="connsiteX17649" y="connsiteY17649"/>
              </a:cxn>
              <a:cxn ang="0">
                <a:pos x="connsiteX17650" y="connsiteY17650"/>
              </a:cxn>
              <a:cxn ang="0">
                <a:pos x="connsiteX17651" y="connsiteY17651"/>
              </a:cxn>
              <a:cxn ang="0">
                <a:pos x="connsiteX17652" y="connsiteY17652"/>
              </a:cxn>
              <a:cxn ang="0">
                <a:pos x="connsiteX17653" y="connsiteY17653"/>
              </a:cxn>
              <a:cxn ang="0">
                <a:pos x="connsiteX17654" y="connsiteY17654"/>
              </a:cxn>
              <a:cxn ang="0">
                <a:pos x="connsiteX17655" y="connsiteY17655"/>
              </a:cxn>
              <a:cxn ang="0">
                <a:pos x="connsiteX17656" y="connsiteY17656"/>
              </a:cxn>
              <a:cxn ang="0">
                <a:pos x="connsiteX17657" y="connsiteY17657"/>
              </a:cxn>
              <a:cxn ang="0">
                <a:pos x="connsiteX17658" y="connsiteY17658"/>
              </a:cxn>
              <a:cxn ang="0">
                <a:pos x="connsiteX17659" y="connsiteY17659"/>
              </a:cxn>
              <a:cxn ang="0">
                <a:pos x="connsiteX17660" y="connsiteY17660"/>
              </a:cxn>
              <a:cxn ang="0">
                <a:pos x="connsiteX17661" y="connsiteY17661"/>
              </a:cxn>
              <a:cxn ang="0">
                <a:pos x="connsiteX17662" y="connsiteY17662"/>
              </a:cxn>
              <a:cxn ang="0">
                <a:pos x="connsiteX17663" y="connsiteY17663"/>
              </a:cxn>
              <a:cxn ang="0">
                <a:pos x="connsiteX17664" y="connsiteY17664"/>
              </a:cxn>
              <a:cxn ang="0">
                <a:pos x="connsiteX17665" y="connsiteY17665"/>
              </a:cxn>
              <a:cxn ang="0">
                <a:pos x="connsiteX17666" y="connsiteY17666"/>
              </a:cxn>
              <a:cxn ang="0">
                <a:pos x="connsiteX17667" y="connsiteY17667"/>
              </a:cxn>
              <a:cxn ang="0">
                <a:pos x="connsiteX17668" y="connsiteY17668"/>
              </a:cxn>
              <a:cxn ang="0">
                <a:pos x="connsiteX17669" y="connsiteY17669"/>
              </a:cxn>
              <a:cxn ang="0">
                <a:pos x="connsiteX17670" y="connsiteY17670"/>
              </a:cxn>
              <a:cxn ang="0">
                <a:pos x="connsiteX17671" y="connsiteY17671"/>
              </a:cxn>
              <a:cxn ang="0">
                <a:pos x="connsiteX17672" y="connsiteY17672"/>
              </a:cxn>
              <a:cxn ang="0">
                <a:pos x="connsiteX17673" y="connsiteY17673"/>
              </a:cxn>
              <a:cxn ang="0">
                <a:pos x="connsiteX17674" y="connsiteY17674"/>
              </a:cxn>
              <a:cxn ang="0">
                <a:pos x="connsiteX17675" y="connsiteY17675"/>
              </a:cxn>
              <a:cxn ang="0">
                <a:pos x="connsiteX17676" y="connsiteY17676"/>
              </a:cxn>
              <a:cxn ang="0">
                <a:pos x="connsiteX17677" y="connsiteY17677"/>
              </a:cxn>
              <a:cxn ang="0">
                <a:pos x="connsiteX17678" y="connsiteY17678"/>
              </a:cxn>
              <a:cxn ang="0">
                <a:pos x="connsiteX17679" y="connsiteY17679"/>
              </a:cxn>
              <a:cxn ang="0">
                <a:pos x="connsiteX17680" y="connsiteY17680"/>
              </a:cxn>
              <a:cxn ang="0">
                <a:pos x="connsiteX17681" y="connsiteY17681"/>
              </a:cxn>
              <a:cxn ang="0">
                <a:pos x="connsiteX17682" y="connsiteY17682"/>
              </a:cxn>
              <a:cxn ang="0">
                <a:pos x="connsiteX17683" y="connsiteY17683"/>
              </a:cxn>
              <a:cxn ang="0">
                <a:pos x="connsiteX17684" y="connsiteY17684"/>
              </a:cxn>
              <a:cxn ang="0">
                <a:pos x="connsiteX17685" y="connsiteY17685"/>
              </a:cxn>
              <a:cxn ang="0">
                <a:pos x="connsiteX17686" y="connsiteY17686"/>
              </a:cxn>
              <a:cxn ang="0">
                <a:pos x="connsiteX17687" y="connsiteY17687"/>
              </a:cxn>
              <a:cxn ang="0">
                <a:pos x="connsiteX17688" y="connsiteY17688"/>
              </a:cxn>
              <a:cxn ang="0">
                <a:pos x="connsiteX17689" y="connsiteY17689"/>
              </a:cxn>
              <a:cxn ang="0">
                <a:pos x="connsiteX17690" y="connsiteY17690"/>
              </a:cxn>
              <a:cxn ang="0">
                <a:pos x="connsiteX17691" y="connsiteY17691"/>
              </a:cxn>
              <a:cxn ang="0">
                <a:pos x="connsiteX17692" y="connsiteY17692"/>
              </a:cxn>
              <a:cxn ang="0">
                <a:pos x="connsiteX17693" y="connsiteY17693"/>
              </a:cxn>
              <a:cxn ang="0">
                <a:pos x="connsiteX17694" y="connsiteY17694"/>
              </a:cxn>
              <a:cxn ang="0">
                <a:pos x="connsiteX17695" y="connsiteY17695"/>
              </a:cxn>
              <a:cxn ang="0">
                <a:pos x="connsiteX17696" y="connsiteY17696"/>
              </a:cxn>
              <a:cxn ang="0">
                <a:pos x="connsiteX17697" y="connsiteY17697"/>
              </a:cxn>
              <a:cxn ang="0">
                <a:pos x="connsiteX17698" y="connsiteY17698"/>
              </a:cxn>
              <a:cxn ang="0">
                <a:pos x="connsiteX17699" y="connsiteY17699"/>
              </a:cxn>
              <a:cxn ang="0">
                <a:pos x="connsiteX17700" y="connsiteY17700"/>
              </a:cxn>
              <a:cxn ang="0">
                <a:pos x="connsiteX17701" y="connsiteY17701"/>
              </a:cxn>
              <a:cxn ang="0">
                <a:pos x="connsiteX17702" y="connsiteY17702"/>
              </a:cxn>
              <a:cxn ang="0">
                <a:pos x="connsiteX17703" y="connsiteY17703"/>
              </a:cxn>
              <a:cxn ang="0">
                <a:pos x="connsiteX17704" y="connsiteY17704"/>
              </a:cxn>
              <a:cxn ang="0">
                <a:pos x="connsiteX17705" y="connsiteY17705"/>
              </a:cxn>
              <a:cxn ang="0">
                <a:pos x="connsiteX17706" y="connsiteY17706"/>
              </a:cxn>
              <a:cxn ang="0">
                <a:pos x="connsiteX17707" y="connsiteY17707"/>
              </a:cxn>
              <a:cxn ang="0">
                <a:pos x="connsiteX17708" y="connsiteY17708"/>
              </a:cxn>
              <a:cxn ang="0">
                <a:pos x="connsiteX17709" y="connsiteY17709"/>
              </a:cxn>
              <a:cxn ang="0">
                <a:pos x="connsiteX17710" y="connsiteY17710"/>
              </a:cxn>
              <a:cxn ang="0">
                <a:pos x="connsiteX17711" y="connsiteY17711"/>
              </a:cxn>
              <a:cxn ang="0">
                <a:pos x="connsiteX17712" y="connsiteY17712"/>
              </a:cxn>
              <a:cxn ang="0">
                <a:pos x="connsiteX17713" y="connsiteY17713"/>
              </a:cxn>
              <a:cxn ang="0">
                <a:pos x="connsiteX17714" y="connsiteY17714"/>
              </a:cxn>
              <a:cxn ang="0">
                <a:pos x="connsiteX17715" y="connsiteY17715"/>
              </a:cxn>
              <a:cxn ang="0">
                <a:pos x="connsiteX17716" y="connsiteY17716"/>
              </a:cxn>
              <a:cxn ang="0">
                <a:pos x="connsiteX17717" y="connsiteY17717"/>
              </a:cxn>
              <a:cxn ang="0">
                <a:pos x="connsiteX17718" y="connsiteY17718"/>
              </a:cxn>
              <a:cxn ang="0">
                <a:pos x="connsiteX17719" y="connsiteY17719"/>
              </a:cxn>
              <a:cxn ang="0">
                <a:pos x="connsiteX17720" y="connsiteY17720"/>
              </a:cxn>
              <a:cxn ang="0">
                <a:pos x="connsiteX17721" y="connsiteY17721"/>
              </a:cxn>
              <a:cxn ang="0">
                <a:pos x="connsiteX17722" y="connsiteY17722"/>
              </a:cxn>
              <a:cxn ang="0">
                <a:pos x="connsiteX17723" y="connsiteY17723"/>
              </a:cxn>
              <a:cxn ang="0">
                <a:pos x="connsiteX17724" y="connsiteY17724"/>
              </a:cxn>
              <a:cxn ang="0">
                <a:pos x="connsiteX17725" y="connsiteY17725"/>
              </a:cxn>
              <a:cxn ang="0">
                <a:pos x="connsiteX17726" y="connsiteY17726"/>
              </a:cxn>
              <a:cxn ang="0">
                <a:pos x="connsiteX17727" y="connsiteY17727"/>
              </a:cxn>
              <a:cxn ang="0">
                <a:pos x="connsiteX17728" y="connsiteY17728"/>
              </a:cxn>
              <a:cxn ang="0">
                <a:pos x="connsiteX17729" y="connsiteY17729"/>
              </a:cxn>
              <a:cxn ang="0">
                <a:pos x="connsiteX17730" y="connsiteY17730"/>
              </a:cxn>
              <a:cxn ang="0">
                <a:pos x="connsiteX17731" y="connsiteY17731"/>
              </a:cxn>
              <a:cxn ang="0">
                <a:pos x="connsiteX17732" y="connsiteY17732"/>
              </a:cxn>
              <a:cxn ang="0">
                <a:pos x="connsiteX17733" y="connsiteY17733"/>
              </a:cxn>
              <a:cxn ang="0">
                <a:pos x="connsiteX17734" y="connsiteY17734"/>
              </a:cxn>
              <a:cxn ang="0">
                <a:pos x="connsiteX17735" y="connsiteY17735"/>
              </a:cxn>
              <a:cxn ang="0">
                <a:pos x="connsiteX17736" y="connsiteY17736"/>
              </a:cxn>
              <a:cxn ang="0">
                <a:pos x="connsiteX17737" y="connsiteY17737"/>
              </a:cxn>
              <a:cxn ang="0">
                <a:pos x="connsiteX17738" y="connsiteY17738"/>
              </a:cxn>
              <a:cxn ang="0">
                <a:pos x="connsiteX17739" y="connsiteY17739"/>
              </a:cxn>
              <a:cxn ang="0">
                <a:pos x="connsiteX17740" y="connsiteY17740"/>
              </a:cxn>
              <a:cxn ang="0">
                <a:pos x="connsiteX17741" y="connsiteY17741"/>
              </a:cxn>
              <a:cxn ang="0">
                <a:pos x="connsiteX17742" y="connsiteY17742"/>
              </a:cxn>
              <a:cxn ang="0">
                <a:pos x="connsiteX17743" y="connsiteY17743"/>
              </a:cxn>
              <a:cxn ang="0">
                <a:pos x="connsiteX17744" y="connsiteY17744"/>
              </a:cxn>
              <a:cxn ang="0">
                <a:pos x="connsiteX17745" y="connsiteY17745"/>
              </a:cxn>
              <a:cxn ang="0">
                <a:pos x="connsiteX17746" y="connsiteY17746"/>
              </a:cxn>
              <a:cxn ang="0">
                <a:pos x="connsiteX17747" y="connsiteY17747"/>
              </a:cxn>
              <a:cxn ang="0">
                <a:pos x="connsiteX17748" y="connsiteY17748"/>
              </a:cxn>
              <a:cxn ang="0">
                <a:pos x="connsiteX17749" y="connsiteY17749"/>
              </a:cxn>
              <a:cxn ang="0">
                <a:pos x="connsiteX17750" y="connsiteY17750"/>
              </a:cxn>
              <a:cxn ang="0">
                <a:pos x="connsiteX17751" y="connsiteY17751"/>
              </a:cxn>
              <a:cxn ang="0">
                <a:pos x="connsiteX17752" y="connsiteY17752"/>
              </a:cxn>
              <a:cxn ang="0">
                <a:pos x="connsiteX17753" y="connsiteY17753"/>
              </a:cxn>
              <a:cxn ang="0">
                <a:pos x="connsiteX17754" y="connsiteY17754"/>
              </a:cxn>
              <a:cxn ang="0">
                <a:pos x="connsiteX17755" y="connsiteY17755"/>
              </a:cxn>
              <a:cxn ang="0">
                <a:pos x="connsiteX17756" y="connsiteY17756"/>
              </a:cxn>
              <a:cxn ang="0">
                <a:pos x="connsiteX17757" y="connsiteY17757"/>
              </a:cxn>
              <a:cxn ang="0">
                <a:pos x="connsiteX17758" y="connsiteY17758"/>
              </a:cxn>
              <a:cxn ang="0">
                <a:pos x="connsiteX17759" y="connsiteY17759"/>
              </a:cxn>
              <a:cxn ang="0">
                <a:pos x="connsiteX17760" y="connsiteY17760"/>
              </a:cxn>
              <a:cxn ang="0">
                <a:pos x="connsiteX17761" y="connsiteY17761"/>
              </a:cxn>
              <a:cxn ang="0">
                <a:pos x="connsiteX17762" y="connsiteY17762"/>
              </a:cxn>
              <a:cxn ang="0">
                <a:pos x="connsiteX17763" y="connsiteY17763"/>
              </a:cxn>
              <a:cxn ang="0">
                <a:pos x="connsiteX17764" y="connsiteY17764"/>
              </a:cxn>
              <a:cxn ang="0">
                <a:pos x="connsiteX17765" y="connsiteY17765"/>
              </a:cxn>
              <a:cxn ang="0">
                <a:pos x="connsiteX17766" y="connsiteY17766"/>
              </a:cxn>
              <a:cxn ang="0">
                <a:pos x="connsiteX17767" y="connsiteY17767"/>
              </a:cxn>
              <a:cxn ang="0">
                <a:pos x="connsiteX17768" y="connsiteY17768"/>
              </a:cxn>
              <a:cxn ang="0">
                <a:pos x="connsiteX17769" y="connsiteY17769"/>
              </a:cxn>
              <a:cxn ang="0">
                <a:pos x="connsiteX17770" y="connsiteY17770"/>
              </a:cxn>
              <a:cxn ang="0">
                <a:pos x="connsiteX17771" y="connsiteY17771"/>
              </a:cxn>
              <a:cxn ang="0">
                <a:pos x="connsiteX17772" y="connsiteY17772"/>
              </a:cxn>
              <a:cxn ang="0">
                <a:pos x="connsiteX17773" y="connsiteY17773"/>
              </a:cxn>
              <a:cxn ang="0">
                <a:pos x="connsiteX17774" y="connsiteY17774"/>
              </a:cxn>
              <a:cxn ang="0">
                <a:pos x="connsiteX17775" y="connsiteY17775"/>
              </a:cxn>
              <a:cxn ang="0">
                <a:pos x="connsiteX17776" y="connsiteY17776"/>
              </a:cxn>
              <a:cxn ang="0">
                <a:pos x="connsiteX17777" y="connsiteY17777"/>
              </a:cxn>
              <a:cxn ang="0">
                <a:pos x="connsiteX17778" y="connsiteY17778"/>
              </a:cxn>
              <a:cxn ang="0">
                <a:pos x="connsiteX17779" y="connsiteY17779"/>
              </a:cxn>
              <a:cxn ang="0">
                <a:pos x="connsiteX17780" y="connsiteY17780"/>
              </a:cxn>
              <a:cxn ang="0">
                <a:pos x="connsiteX17781" y="connsiteY17781"/>
              </a:cxn>
              <a:cxn ang="0">
                <a:pos x="connsiteX17782" y="connsiteY17782"/>
              </a:cxn>
              <a:cxn ang="0">
                <a:pos x="connsiteX17783" y="connsiteY17783"/>
              </a:cxn>
              <a:cxn ang="0">
                <a:pos x="connsiteX17784" y="connsiteY17784"/>
              </a:cxn>
              <a:cxn ang="0">
                <a:pos x="connsiteX17785" y="connsiteY17785"/>
              </a:cxn>
              <a:cxn ang="0">
                <a:pos x="connsiteX17786" y="connsiteY17786"/>
              </a:cxn>
              <a:cxn ang="0">
                <a:pos x="connsiteX17787" y="connsiteY17787"/>
              </a:cxn>
              <a:cxn ang="0">
                <a:pos x="connsiteX17788" y="connsiteY17788"/>
              </a:cxn>
              <a:cxn ang="0">
                <a:pos x="connsiteX17789" y="connsiteY17789"/>
              </a:cxn>
              <a:cxn ang="0">
                <a:pos x="connsiteX17790" y="connsiteY17790"/>
              </a:cxn>
              <a:cxn ang="0">
                <a:pos x="connsiteX17791" y="connsiteY17791"/>
              </a:cxn>
              <a:cxn ang="0">
                <a:pos x="connsiteX17792" y="connsiteY17792"/>
              </a:cxn>
              <a:cxn ang="0">
                <a:pos x="connsiteX17793" y="connsiteY17793"/>
              </a:cxn>
              <a:cxn ang="0">
                <a:pos x="connsiteX17794" y="connsiteY17794"/>
              </a:cxn>
              <a:cxn ang="0">
                <a:pos x="connsiteX17795" y="connsiteY17795"/>
              </a:cxn>
              <a:cxn ang="0">
                <a:pos x="connsiteX17796" y="connsiteY17796"/>
              </a:cxn>
              <a:cxn ang="0">
                <a:pos x="connsiteX17797" y="connsiteY17797"/>
              </a:cxn>
              <a:cxn ang="0">
                <a:pos x="connsiteX17798" y="connsiteY17798"/>
              </a:cxn>
              <a:cxn ang="0">
                <a:pos x="connsiteX17799" y="connsiteY17799"/>
              </a:cxn>
              <a:cxn ang="0">
                <a:pos x="connsiteX17800" y="connsiteY17800"/>
              </a:cxn>
              <a:cxn ang="0">
                <a:pos x="connsiteX17801" y="connsiteY17801"/>
              </a:cxn>
              <a:cxn ang="0">
                <a:pos x="connsiteX17802" y="connsiteY17802"/>
              </a:cxn>
              <a:cxn ang="0">
                <a:pos x="connsiteX17803" y="connsiteY17803"/>
              </a:cxn>
              <a:cxn ang="0">
                <a:pos x="connsiteX17804" y="connsiteY17804"/>
              </a:cxn>
              <a:cxn ang="0">
                <a:pos x="connsiteX17805" y="connsiteY17805"/>
              </a:cxn>
              <a:cxn ang="0">
                <a:pos x="connsiteX17806" y="connsiteY17806"/>
              </a:cxn>
              <a:cxn ang="0">
                <a:pos x="connsiteX17807" y="connsiteY17807"/>
              </a:cxn>
              <a:cxn ang="0">
                <a:pos x="connsiteX17808" y="connsiteY17808"/>
              </a:cxn>
              <a:cxn ang="0">
                <a:pos x="connsiteX17809" y="connsiteY17809"/>
              </a:cxn>
              <a:cxn ang="0">
                <a:pos x="connsiteX17810" y="connsiteY17810"/>
              </a:cxn>
              <a:cxn ang="0">
                <a:pos x="connsiteX17811" y="connsiteY17811"/>
              </a:cxn>
              <a:cxn ang="0">
                <a:pos x="connsiteX17812" y="connsiteY17812"/>
              </a:cxn>
              <a:cxn ang="0">
                <a:pos x="connsiteX17813" y="connsiteY17813"/>
              </a:cxn>
              <a:cxn ang="0">
                <a:pos x="connsiteX17814" y="connsiteY17814"/>
              </a:cxn>
              <a:cxn ang="0">
                <a:pos x="connsiteX17815" y="connsiteY17815"/>
              </a:cxn>
              <a:cxn ang="0">
                <a:pos x="connsiteX17816" y="connsiteY17816"/>
              </a:cxn>
              <a:cxn ang="0">
                <a:pos x="connsiteX17817" y="connsiteY17817"/>
              </a:cxn>
              <a:cxn ang="0">
                <a:pos x="connsiteX17818" y="connsiteY17818"/>
              </a:cxn>
              <a:cxn ang="0">
                <a:pos x="connsiteX17819" y="connsiteY17819"/>
              </a:cxn>
              <a:cxn ang="0">
                <a:pos x="connsiteX17820" y="connsiteY17820"/>
              </a:cxn>
              <a:cxn ang="0">
                <a:pos x="connsiteX17821" y="connsiteY17821"/>
              </a:cxn>
              <a:cxn ang="0">
                <a:pos x="connsiteX17822" y="connsiteY17822"/>
              </a:cxn>
              <a:cxn ang="0">
                <a:pos x="connsiteX17823" y="connsiteY17823"/>
              </a:cxn>
              <a:cxn ang="0">
                <a:pos x="connsiteX17824" y="connsiteY17824"/>
              </a:cxn>
              <a:cxn ang="0">
                <a:pos x="connsiteX17825" y="connsiteY17825"/>
              </a:cxn>
              <a:cxn ang="0">
                <a:pos x="connsiteX17826" y="connsiteY17826"/>
              </a:cxn>
              <a:cxn ang="0">
                <a:pos x="connsiteX17827" y="connsiteY17827"/>
              </a:cxn>
              <a:cxn ang="0">
                <a:pos x="connsiteX17828" y="connsiteY17828"/>
              </a:cxn>
              <a:cxn ang="0">
                <a:pos x="connsiteX17829" y="connsiteY17829"/>
              </a:cxn>
              <a:cxn ang="0">
                <a:pos x="connsiteX17830" y="connsiteY17830"/>
              </a:cxn>
              <a:cxn ang="0">
                <a:pos x="connsiteX17831" y="connsiteY17831"/>
              </a:cxn>
              <a:cxn ang="0">
                <a:pos x="connsiteX17832" y="connsiteY17832"/>
              </a:cxn>
              <a:cxn ang="0">
                <a:pos x="connsiteX17833" y="connsiteY17833"/>
              </a:cxn>
              <a:cxn ang="0">
                <a:pos x="connsiteX17834" y="connsiteY17834"/>
              </a:cxn>
              <a:cxn ang="0">
                <a:pos x="connsiteX17835" y="connsiteY17835"/>
              </a:cxn>
              <a:cxn ang="0">
                <a:pos x="connsiteX17836" y="connsiteY17836"/>
              </a:cxn>
              <a:cxn ang="0">
                <a:pos x="connsiteX17837" y="connsiteY17837"/>
              </a:cxn>
              <a:cxn ang="0">
                <a:pos x="connsiteX17838" y="connsiteY17838"/>
              </a:cxn>
              <a:cxn ang="0">
                <a:pos x="connsiteX17839" y="connsiteY17839"/>
              </a:cxn>
              <a:cxn ang="0">
                <a:pos x="connsiteX17840" y="connsiteY17840"/>
              </a:cxn>
              <a:cxn ang="0">
                <a:pos x="connsiteX17841" y="connsiteY17841"/>
              </a:cxn>
              <a:cxn ang="0">
                <a:pos x="connsiteX17842" y="connsiteY17842"/>
              </a:cxn>
              <a:cxn ang="0">
                <a:pos x="connsiteX17843" y="connsiteY17843"/>
              </a:cxn>
              <a:cxn ang="0">
                <a:pos x="connsiteX17844" y="connsiteY17844"/>
              </a:cxn>
              <a:cxn ang="0">
                <a:pos x="connsiteX17845" y="connsiteY17845"/>
              </a:cxn>
              <a:cxn ang="0">
                <a:pos x="connsiteX17846" y="connsiteY17846"/>
              </a:cxn>
              <a:cxn ang="0">
                <a:pos x="connsiteX17847" y="connsiteY17847"/>
              </a:cxn>
              <a:cxn ang="0">
                <a:pos x="connsiteX17848" y="connsiteY17848"/>
              </a:cxn>
              <a:cxn ang="0">
                <a:pos x="connsiteX17849" y="connsiteY17849"/>
              </a:cxn>
              <a:cxn ang="0">
                <a:pos x="connsiteX17850" y="connsiteY17850"/>
              </a:cxn>
              <a:cxn ang="0">
                <a:pos x="connsiteX17851" y="connsiteY17851"/>
              </a:cxn>
              <a:cxn ang="0">
                <a:pos x="connsiteX17852" y="connsiteY17852"/>
              </a:cxn>
              <a:cxn ang="0">
                <a:pos x="connsiteX17853" y="connsiteY17853"/>
              </a:cxn>
              <a:cxn ang="0">
                <a:pos x="connsiteX17854" y="connsiteY17854"/>
              </a:cxn>
              <a:cxn ang="0">
                <a:pos x="connsiteX17855" y="connsiteY17855"/>
              </a:cxn>
              <a:cxn ang="0">
                <a:pos x="connsiteX17856" y="connsiteY17856"/>
              </a:cxn>
              <a:cxn ang="0">
                <a:pos x="connsiteX17857" y="connsiteY17857"/>
              </a:cxn>
              <a:cxn ang="0">
                <a:pos x="connsiteX17858" y="connsiteY17858"/>
              </a:cxn>
              <a:cxn ang="0">
                <a:pos x="connsiteX17859" y="connsiteY17859"/>
              </a:cxn>
              <a:cxn ang="0">
                <a:pos x="connsiteX17860" y="connsiteY17860"/>
              </a:cxn>
              <a:cxn ang="0">
                <a:pos x="connsiteX17861" y="connsiteY17861"/>
              </a:cxn>
              <a:cxn ang="0">
                <a:pos x="connsiteX17862" y="connsiteY17862"/>
              </a:cxn>
              <a:cxn ang="0">
                <a:pos x="connsiteX17863" y="connsiteY17863"/>
              </a:cxn>
              <a:cxn ang="0">
                <a:pos x="connsiteX17864" y="connsiteY17864"/>
              </a:cxn>
              <a:cxn ang="0">
                <a:pos x="connsiteX17865" y="connsiteY17865"/>
              </a:cxn>
              <a:cxn ang="0">
                <a:pos x="connsiteX17866" y="connsiteY17866"/>
              </a:cxn>
              <a:cxn ang="0">
                <a:pos x="connsiteX17867" y="connsiteY17867"/>
              </a:cxn>
              <a:cxn ang="0">
                <a:pos x="connsiteX17868" y="connsiteY17868"/>
              </a:cxn>
              <a:cxn ang="0">
                <a:pos x="connsiteX17869" y="connsiteY17869"/>
              </a:cxn>
              <a:cxn ang="0">
                <a:pos x="connsiteX17870" y="connsiteY17870"/>
              </a:cxn>
              <a:cxn ang="0">
                <a:pos x="connsiteX17871" y="connsiteY17871"/>
              </a:cxn>
              <a:cxn ang="0">
                <a:pos x="connsiteX17872" y="connsiteY17872"/>
              </a:cxn>
              <a:cxn ang="0">
                <a:pos x="connsiteX17873" y="connsiteY17873"/>
              </a:cxn>
              <a:cxn ang="0">
                <a:pos x="connsiteX17874" y="connsiteY17874"/>
              </a:cxn>
              <a:cxn ang="0">
                <a:pos x="connsiteX17875" y="connsiteY17875"/>
              </a:cxn>
              <a:cxn ang="0">
                <a:pos x="connsiteX17876" y="connsiteY17876"/>
              </a:cxn>
              <a:cxn ang="0">
                <a:pos x="connsiteX17877" y="connsiteY17877"/>
              </a:cxn>
              <a:cxn ang="0">
                <a:pos x="connsiteX17878" y="connsiteY17878"/>
              </a:cxn>
              <a:cxn ang="0">
                <a:pos x="connsiteX17879" y="connsiteY17879"/>
              </a:cxn>
              <a:cxn ang="0">
                <a:pos x="connsiteX17880" y="connsiteY17880"/>
              </a:cxn>
              <a:cxn ang="0">
                <a:pos x="connsiteX17881" y="connsiteY17881"/>
              </a:cxn>
              <a:cxn ang="0">
                <a:pos x="connsiteX17882" y="connsiteY17882"/>
              </a:cxn>
              <a:cxn ang="0">
                <a:pos x="connsiteX17883" y="connsiteY17883"/>
              </a:cxn>
              <a:cxn ang="0">
                <a:pos x="connsiteX17884" y="connsiteY17884"/>
              </a:cxn>
              <a:cxn ang="0">
                <a:pos x="connsiteX17885" y="connsiteY17885"/>
              </a:cxn>
              <a:cxn ang="0">
                <a:pos x="connsiteX17886" y="connsiteY17886"/>
              </a:cxn>
              <a:cxn ang="0">
                <a:pos x="connsiteX17887" y="connsiteY17887"/>
              </a:cxn>
              <a:cxn ang="0">
                <a:pos x="connsiteX17888" y="connsiteY17888"/>
              </a:cxn>
              <a:cxn ang="0">
                <a:pos x="connsiteX17889" y="connsiteY17889"/>
              </a:cxn>
              <a:cxn ang="0">
                <a:pos x="connsiteX17890" y="connsiteY17890"/>
              </a:cxn>
              <a:cxn ang="0">
                <a:pos x="connsiteX17891" y="connsiteY17891"/>
              </a:cxn>
              <a:cxn ang="0">
                <a:pos x="connsiteX17892" y="connsiteY17892"/>
              </a:cxn>
              <a:cxn ang="0">
                <a:pos x="connsiteX17893" y="connsiteY17893"/>
              </a:cxn>
              <a:cxn ang="0">
                <a:pos x="connsiteX17894" y="connsiteY17894"/>
              </a:cxn>
              <a:cxn ang="0">
                <a:pos x="connsiteX17895" y="connsiteY17895"/>
              </a:cxn>
              <a:cxn ang="0">
                <a:pos x="connsiteX17896" y="connsiteY17896"/>
              </a:cxn>
              <a:cxn ang="0">
                <a:pos x="connsiteX17897" y="connsiteY17897"/>
              </a:cxn>
              <a:cxn ang="0">
                <a:pos x="connsiteX17898" y="connsiteY17898"/>
              </a:cxn>
              <a:cxn ang="0">
                <a:pos x="connsiteX17899" y="connsiteY17899"/>
              </a:cxn>
              <a:cxn ang="0">
                <a:pos x="connsiteX17900" y="connsiteY17900"/>
              </a:cxn>
              <a:cxn ang="0">
                <a:pos x="connsiteX17901" y="connsiteY17901"/>
              </a:cxn>
              <a:cxn ang="0">
                <a:pos x="connsiteX17902" y="connsiteY17902"/>
              </a:cxn>
              <a:cxn ang="0">
                <a:pos x="connsiteX17903" y="connsiteY17903"/>
              </a:cxn>
              <a:cxn ang="0">
                <a:pos x="connsiteX17904" y="connsiteY17904"/>
              </a:cxn>
              <a:cxn ang="0">
                <a:pos x="connsiteX17905" y="connsiteY17905"/>
              </a:cxn>
              <a:cxn ang="0">
                <a:pos x="connsiteX17906" y="connsiteY17906"/>
              </a:cxn>
              <a:cxn ang="0">
                <a:pos x="connsiteX17907" y="connsiteY17907"/>
              </a:cxn>
              <a:cxn ang="0">
                <a:pos x="connsiteX17908" y="connsiteY17908"/>
              </a:cxn>
              <a:cxn ang="0">
                <a:pos x="connsiteX17909" y="connsiteY17909"/>
              </a:cxn>
              <a:cxn ang="0">
                <a:pos x="connsiteX17910" y="connsiteY17910"/>
              </a:cxn>
              <a:cxn ang="0">
                <a:pos x="connsiteX17911" y="connsiteY17911"/>
              </a:cxn>
              <a:cxn ang="0">
                <a:pos x="connsiteX17912" y="connsiteY17912"/>
              </a:cxn>
              <a:cxn ang="0">
                <a:pos x="connsiteX17913" y="connsiteY17913"/>
              </a:cxn>
              <a:cxn ang="0">
                <a:pos x="connsiteX17914" y="connsiteY17914"/>
              </a:cxn>
              <a:cxn ang="0">
                <a:pos x="connsiteX17915" y="connsiteY17915"/>
              </a:cxn>
              <a:cxn ang="0">
                <a:pos x="connsiteX17916" y="connsiteY17916"/>
              </a:cxn>
              <a:cxn ang="0">
                <a:pos x="connsiteX17917" y="connsiteY17917"/>
              </a:cxn>
              <a:cxn ang="0">
                <a:pos x="connsiteX17918" y="connsiteY17918"/>
              </a:cxn>
              <a:cxn ang="0">
                <a:pos x="connsiteX17919" y="connsiteY17919"/>
              </a:cxn>
              <a:cxn ang="0">
                <a:pos x="connsiteX17920" y="connsiteY17920"/>
              </a:cxn>
              <a:cxn ang="0">
                <a:pos x="connsiteX17921" y="connsiteY17921"/>
              </a:cxn>
              <a:cxn ang="0">
                <a:pos x="connsiteX17922" y="connsiteY17922"/>
              </a:cxn>
              <a:cxn ang="0">
                <a:pos x="connsiteX17923" y="connsiteY17923"/>
              </a:cxn>
              <a:cxn ang="0">
                <a:pos x="connsiteX17924" y="connsiteY17924"/>
              </a:cxn>
              <a:cxn ang="0">
                <a:pos x="connsiteX17925" y="connsiteY17925"/>
              </a:cxn>
              <a:cxn ang="0">
                <a:pos x="connsiteX17926" y="connsiteY17926"/>
              </a:cxn>
              <a:cxn ang="0">
                <a:pos x="connsiteX17927" y="connsiteY17927"/>
              </a:cxn>
              <a:cxn ang="0">
                <a:pos x="connsiteX17928" y="connsiteY17928"/>
              </a:cxn>
              <a:cxn ang="0">
                <a:pos x="connsiteX17929" y="connsiteY17929"/>
              </a:cxn>
              <a:cxn ang="0">
                <a:pos x="connsiteX17930" y="connsiteY17930"/>
              </a:cxn>
              <a:cxn ang="0">
                <a:pos x="connsiteX17931" y="connsiteY17931"/>
              </a:cxn>
              <a:cxn ang="0">
                <a:pos x="connsiteX17932" y="connsiteY17932"/>
              </a:cxn>
              <a:cxn ang="0">
                <a:pos x="connsiteX17933" y="connsiteY17933"/>
              </a:cxn>
              <a:cxn ang="0">
                <a:pos x="connsiteX17934" y="connsiteY17934"/>
              </a:cxn>
              <a:cxn ang="0">
                <a:pos x="connsiteX17935" y="connsiteY17935"/>
              </a:cxn>
              <a:cxn ang="0">
                <a:pos x="connsiteX17936" y="connsiteY17936"/>
              </a:cxn>
              <a:cxn ang="0">
                <a:pos x="connsiteX17937" y="connsiteY17937"/>
              </a:cxn>
              <a:cxn ang="0">
                <a:pos x="connsiteX17938" y="connsiteY17938"/>
              </a:cxn>
              <a:cxn ang="0">
                <a:pos x="connsiteX17939" y="connsiteY17939"/>
              </a:cxn>
              <a:cxn ang="0">
                <a:pos x="connsiteX17940" y="connsiteY17940"/>
              </a:cxn>
              <a:cxn ang="0">
                <a:pos x="connsiteX17941" y="connsiteY17941"/>
              </a:cxn>
              <a:cxn ang="0">
                <a:pos x="connsiteX17942" y="connsiteY17942"/>
              </a:cxn>
              <a:cxn ang="0">
                <a:pos x="connsiteX17943" y="connsiteY17943"/>
              </a:cxn>
              <a:cxn ang="0">
                <a:pos x="connsiteX17944" y="connsiteY17944"/>
              </a:cxn>
              <a:cxn ang="0">
                <a:pos x="connsiteX17945" y="connsiteY17945"/>
              </a:cxn>
              <a:cxn ang="0">
                <a:pos x="connsiteX17946" y="connsiteY17946"/>
              </a:cxn>
              <a:cxn ang="0">
                <a:pos x="connsiteX17947" y="connsiteY17947"/>
              </a:cxn>
              <a:cxn ang="0">
                <a:pos x="connsiteX17948" y="connsiteY17948"/>
              </a:cxn>
              <a:cxn ang="0">
                <a:pos x="connsiteX17949" y="connsiteY17949"/>
              </a:cxn>
              <a:cxn ang="0">
                <a:pos x="connsiteX17950" y="connsiteY17950"/>
              </a:cxn>
              <a:cxn ang="0">
                <a:pos x="connsiteX17951" y="connsiteY17951"/>
              </a:cxn>
              <a:cxn ang="0">
                <a:pos x="connsiteX17952" y="connsiteY17952"/>
              </a:cxn>
              <a:cxn ang="0">
                <a:pos x="connsiteX17953" y="connsiteY17953"/>
              </a:cxn>
              <a:cxn ang="0">
                <a:pos x="connsiteX17954" y="connsiteY17954"/>
              </a:cxn>
              <a:cxn ang="0">
                <a:pos x="connsiteX17955" y="connsiteY17955"/>
              </a:cxn>
              <a:cxn ang="0">
                <a:pos x="connsiteX17956" y="connsiteY17956"/>
              </a:cxn>
              <a:cxn ang="0">
                <a:pos x="connsiteX17957" y="connsiteY17957"/>
              </a:cxn>
              <a:cxn ang="0">
                <a:pos x="connsiteX17958" y="connsiteY17958"/>
              </a:cxn>
              <a:cxn ang="0">
                <a:pos x="connsiteX17959" y="connsiteY17959"/>
              </a:cxn>
              <a:cxn ang="0">
                <a:pos x="connsiteX17960" y="connsiteY17960"/>
              </a:cxn>
              <a:cxn ang="0">
                <a:pos x="connsiteX17961" y="connsiteY17961"/>
              </a:cxn>
              <a:cxn ang="0">
                <a:pos x="connsiteX17962" y="connsiteY17962"/>
              </a:cxn>
              <a:cxn ang="0">
                <a:pos x="connsiteX17963" y="connsiteY17963"/>
              </a:cxn>
              <a:cxn ang="0">
                <a:pos x="connsiteX17964" y="connsiteY17964"/>
              </a:cxn>
              <a:cxn ang="0">
                <a:pos x="connsiteX17965" y="connsiteY17965"/>
              </a:cxn>
              <a:cxn ang="0">
                <a:pos x="connsiteX17966" y="connsiteY17966"/>
              </a:cxn>
              <a:cxn ang="0">
                <a:pos x="connsiteX17967" y="connsiteY17967"/>
              </a:cxn>
              <a:cxn ang="0">
                <a:pos x="connsiteX17968" y="connsiteY17968"/>
              </a:cxn>
              <a:cxn ang="0">
                <a:pos x="connsiteX17969" y="connsiteY17969"/>
              </a:cxn>
              <a:cxn ang="0">
                <a:pos x="connsiteX17970" y="connsiteY17970"/>
              </a:cxn>
              <a:cxn ang="0">
                <a:pos x="connsiteX17971" y="connsiteY17971"/>
              </a:cxn>
              <a:cxn ang="0">
                <a:pos x="connsiteX17972" y="connsiteY17972"/>
              </a:cxn>
              <a:cxn ang="0">
                <a:pos x="connsiteX17973" y="connsiteY17973"/>
              </a:cxn>
              <a:cxn ang="0">
                <a:pos x="connsiteX17974" y="connsiteY17974"/>
              </a:cxn>
              <a:cxn ang="0">
                <a:pos x="connsiteX17975" y="connsiteY17975"/>
              </a:cxn>
              <a:cxn ang="0">
                <a:pos x="connsiteX17976" y="connsiteY17976"/>
              </a:cxn>
              <a:cxn ang="0">
                <a:pos x="connsiteX17977" y="connsiteY17977"/>
              </a:cxn>
              <a:cxn ang="0">
                <a:pos x="connsiteX17978" y="connsiteY17978"/>
              </a:cxn>
              <a:cxn ang="0">
                <a:pos x="connsiteX17979" y="connsiteY17979"/>
              </a:cxn>
              <a:cxn ang="0">
                <a:pos x="connsiteX17980" y="connsiteY17980"/>
              </a:cxn>
              <a:cxn ang="0">
                <a:pos x="connsiteX17981" y="connsiteY17981"/>
              </a:cxn>
              <a:cxn ang="0">
                <a:pos x="connsiteX17982" y="connsiteY17982"/>
              </a:cxn>
              <a:cxn ang="0">
                <a:pos x="connsiteX17983" y="connsiteY17983"/>
              </a:cxn>
              <a:cxn ang="0">
                <a:pos x="connsiteX17984" y="connsiteY17984"/>
              </a:cxn>
              <a:cxn ang="0">
                <a:pos x="connsiteX17985" y="connsiteY17985"/>
              </a:cxn>
              <a:cxn ang="0">
                <a:pos x="connsiteX17986" y="connsiteY17986"/>
              </a:cxn>
              <a:cxn ang="0">
                <a:pos x="connsiteX17987" y="connsiteY17987"/>
              </a:cxn>
              <a:cxn ang="0">
                <a:pos x="connsiteX17988" y="connsiteY17988"/>
              </a:cxn>
              <a:cxn ang="0">
                <a:pos x="connsiteX17989" y="connsiteY17989"/>
              </a:cxn>
              <a:cxn ang="0">
                <a:pos x="connsiteX17990" y="connsiteY17990"/>
              </a:cxn>
              <a:cxn ang="0">
                <a:pos x="connsiteX17991" y="connsiteY17991"/>
              </a:cxn>
              <a:cxn ang="0">
                <a:pos x="connsiteX17992" y="connsiteY17992"/>
              </a:cxn>
              <a:cxn ang="0">
                <a:pos x="connsiteX17993" y="connsiteY17993"/>
              </a:cxn>
              <a:cxn ang="0">
                <a:pos x="connsiteX17994" y="connsiteY17994"/>
              </a:cxn>
              <a:cxn ang="0">
                <a:pos x="connsiteX17995" y="connsiteY17995"/>
              </a:cxn>
              <a:cxn ang="0">
                <a:pos x="connsiteX17996" y="connsiteY17996"/>
              </a:cxn>
              <a:cxn ang="0">
                <a:pos x="connsiteX17997" y="connsiteY17997"/>
              </a:cxn>
              <a:cxn ang="0">
                <a:pos x="connsiteX17998" y="connsiteY17998"/>
              </a:cxn>
              <a:cxn ang="0">
                <a:pos x="connsiteX17999" y="connsiteY17999"/>
              </a:cxn>
              <a:cxn ang="0">
                <a:pos x="connsiteX18000" y="connsiteY18000"/>
              </a:cxn>
              <a:cxn ang="0">
                <a:pos x="connsiteX18001" y="connsiteY18001"/>
              </a:cxn>
              <a:cxn ang="0">
                <a:pos x="connsiteX18002" y="connsiteY18002"/>
              </a:cxn>
              <a:cxn ang="0">
                <a:pos x="connsiteX18003" y="connsiteY18003"/>
              </a:cxn>
              <a:cxn ang="0">
                <a:pos x="connsiteX18004" y="connsiteY18004"/>
              </a:cxn>
              <a:cxn ang="0">
                <a:pos x="connsiteX18005" y="connsiteY18005"/>
              </a:cxn>
              <a:cxn ang="0">
                <a:pos x="connsiteX18006" y="connsiteY18006"/>
              </a:cxn>
              <a:cxn ang="0">
                <a:pos x="connsiteX18007" y="connsiteY18007"/>
              </a:cxn>
              <a:cxn ang="0">
                <a:pos x="connsiteX18008" y="connsiteY18008"/>
              </a:cxn>
              <a:cxn ang="0">
                <a:pos x="connsiteX18009" y="connsiteY18009"/>
              </a:cxn>
              <a:cxn ang="0">
                <a:pos x="connsiteX18010" y="connsiteY18010"/>
              </a:cxn>
              <a:cxn ang="0">
                <a:pos x="connsiteX18011" y="connsiteY18011"/>
              </a:cxn>
              <a:cxn ang="0">
                <a:pos x="connsiteX18012" y="connsiteY18012"/>
              </a:cxn>
              <a:cxn ang="0">
                <a:pos x="connsiteX18013" y="connsiteY18013"/>
              </a:cxn>
              <a:cxn ang="0">
                <a:pos x="connsiteX18014" y="connsiteY18014"/>
              </a:cxn>
              <a:cxn ang="0">
                <a:pos x="connsiteX18015" y="connsiteY18015"/>
              </a:cxn>
              <a:cxn ang="0">
                <a:pos x="connsiteX18016" y="connsiteY18016"/>
              </a:cxn>
              <a:cxn ang="0">
                <a:pos x="connsiteX18017" y="connsiteY18017"/>
              </a:cxn>
              <a:cxn ang="0">
                <a:pos x="connsiteX18018" y="connsiteY18018"/>
              </a:cxn>
              <a:cxn ang="0">
                <a:pos x="connsiteX18019" y="connsiteY18019"/>
              </a:cxn>
              <a:cxn ang="0">
                <a:pos x="connsiteX18020" y="connsiteY18020"/>
              </a:cxn>
              <a:cxn ang="0">
                <a:pos x="connsiteX18021" y="connsiteY18021"/>
              </a:cxn>
              <a:cxn ang="0">
                <a:pos x="connsiteX18022" y="connsiteY18022"/>
              </a:cxn>
              <a:cxn ang="0">
                <a:pos x="connsiteX18023" y="connsiteY18023"/>
              </a:cxn>
              <a:cxn ang="0">
                <a:pos x="connsiteX18024" y="connsiteY18024"/>
              </a:cxn>
              <a:cxn ang="0">
                <a:pos x="connsiteX18025" y="connsiteY18025"/>
              </a:cxn>
              <a:cxn ang="0">
                <a:pos x="connsiteX18026" y="connsiteY18026"/>
              </a:cxn>
              <a:cxn ang="0">
                <a:pos x="connsiteX18027" y="connsiteY18027"/>
              </a:cxn>
              <a:cxn ang="0">
                <a:pos x="connsiteX18028" y="connsiteY18028"/>
              </a:cxn>
              <a:cxn ang="0">
                <a:pos x="connsiteX18029" y="connsiteY18029"/>
              </a:cxn>
              <a:cxn ang="0">
                <a:pos x="connsiteX18030" y="connsiteY18030"/>
              </a:cxn>
              <a:cxn ang="0">
                <a:pos x="connsiteX18031" y="connsiteY18031"/>
              </a:cxn>
              <a:cxn ang="0">
                <a:pos x="connsiteX18032" y="connsiteY18032"/>
              </a:cxn>
              <a:cxn ang="0">
                <a:pos x="connsiteX18033" y="connsiteY18033"/>
              </a:cxn>
              <a:cxn ang="0">
                <a:pos x="connsiteX18034" y="connsiteY18034"/>
              </a:cxn>
              <a:cxn ang="0">
                <a:pos x="connsiteX18035" y="connsiteY18035"/>
              </a:cxn>
              <a:cxn ang="0">
                <a:pos x="connsiteX18036" y="connsiteY18036"/>
              </a:cxn>
              <a:cxn ang="0">
                <a:pos x="connsiteX18037" y="connsiteY18037"/>
              </a:cxn>
              <a:cxn ang="0">
                <a:pos x="connsiteX18038" y="connsiteY18038"/>
              </a:cxn>
              <a:cxn ang="0">
                <a:pos x="connsiteX18039" y="connsiteY18039"/>
              </a:cxn>
              <a:cxn ang="0">
                <a:pos x="connsiteX18040" y="connsiteY18040"/>
              </a:cxn>
              <a:cxn ang="0">
                <a:pos x="connsiteX18041" y="connsiteY18041"/>
              </a:cxn>
              <a:cxn ang="0">
                <a:pos x="connsiteX18042" y="connsiteY18042"/>
              </a:cxn>
              <a:cxn ang="0">
                <a:pos x="connsiteX18043" y="connsiteY18043"/>
              </a:cxn>
              <a:cxn ang="0">
                <a:pos x="connsiteX18044" y="connsiteY18044"/>
              </a:cxn>
              <a:cxn ang="0">
                <a:pos x="connsiteX18045" y="connsiteY18045"/>
              </a:cxn>
              <a:cxn ang="0">
                <a:pos x="connsiteX18046" y="connsiteY18046"/>
              </a:cxn>
              <a:cxn ang="0">
                <a:pos x="connsiteX18047" y="connsiteY18047"/>
              </a:cxn>
              <a:cxn ang="0">
                <a:pos x="connsiteX18048" y="connsiteY18048"/>
              </a:cxn>
              <a:cxn ang="0">
                <a:pos x="connsiteX18049" y="connsiteY18049"/>
              </a:cxn>
              <a:cxn ang="0">
                <a:pos x="connsiteX18050" y="connsiteY18050"/>
              </a:cxn>
              <a:cxn ang="0">
                <a:pos x="connsiteX18051" y="connsiteY18051"/>
              </a:cxn>
              <a:cxn ang="0">
                <a:pos x="connsiteX18052" y="connsiteY18052"/>
              </a:cxn>
              <a:cxn ang="0">
                <a:pos x="connsiteX18053" y="connsiteY18053"/>
              </a:cxn>
              <a:cxn ang="0">
                <a:pos x="connsiteX18054" y="connsiteY18054"/>
              </a:cxn>
              <a:cxn ang="0">
                <a:pos x="connsiteX18055" y="connsiteY18055"/>
              </a:cxn>
              <a:cxn ang="0">
                <a:pos x="connsiteX18056" y="connsiteY18056"/>
              </a:cxn>
              <a:cxn ang="0">
                <a:pos x="connsiteX18057" y="connsiteY18057"/>
              </a:cxn>
              <a:cxn ang="0">
                <a:pos x="connsiteX18058" y="connsiteY18058"/>
              </a:cxn>
              <a:cxn ang="0">
                <a:pos x="connsiteX18059" y="connsiteY18059"/>
              </a:cxn>
              <a:cxn ang="0">
                <a:pos x="connsiteX18060" y="connsiteY18060"/>
              </a:cxn>
              <a:cxn ang="0">
                <a:pos x="connsiteX18061" y="connsiteY18061"/>
              </a:cxn>
              <a:cxn ang="0">
                <a:pos x="connsiteX18062" y="connsiteY18062"/>
              </a:cxn>
              <a:cxn ang="0">
                <a:pos x="connsiteX18063" y="connsiteY18063"/>
              </a:cxn>
              <a:cxn ang="0">
                <a:pos x="connsiteX18064" y="connsiteY18064"/>
              </a:cxn>
              <a:cxn ang="0">
                <a:pos x="connsiteX18065" y="connsiteY18065"/>
              </a:cxn>
              <a:cxn ang="0">
                <a:pos x="connsiteX18066" y="connsiteY18066"/>
              </a:cxn>
              <a:cxn ang="0">
                <a:pos x="connsiteX18067" y="connsiteY18067"/>
              </a:cxn>
              <a:cxn ang="0">
                <a:pos x="connsiteX18068" y="connsiteY18068"/>
              </a:cxn>
              <a:cxn ang="0">
                <a:pos x="connsiteX18069" y="connsiteY18069"/>
              </a:cxn>
              <a:cxn ang="0">
                <a:pos x="connsiteX18070" y="connsiteY18070"/>
              </a:cxn>
              <a:cxn ang="0">
                <a:pos x="connsiteX18071" y="connsiteY18071"/>
              </a:cxn>
              <a:cxn ang="0">
                <a:pos x="connsiteX18072" y="connsiteY18072"/>
              </a:cxn>
              <a:cxn ang="0">
                <a:pos x="connsiteX18073" y="connsiteY18073"/>
              </a:cxn>
              <a:cxn ang="0">
                <a:pos x="connsiteX18074" y="connsiteY18074"/>
              </a:cxn>
              <a:cxn ang="0">
                <a:pos x="connsiteX18075" y="connsiteY18075"/>
              </a:cxn>
              <a:cxn ang="0">
                <a:pos x="connsiteX18076" y="connsiteY18076"/>
              </a:cxn>
              <a:cxn ang="0">
                <a:pos x="connsiteX18077" y="connsiteY18077"/>
              </a:cxn>
              <a:cxn ang="0">
                <a:pos x="connsiteX18078" y="connsiteY18078"/>
              </a:cxn>
              <a:cxn ang="0">
                <a:pos x="connsiteX18079" y="connsiteY18079"/>
              </a:cxn>
              <a:cxn ang="0">
                <a:pos x="connsiteX18080" y="connsiteY18080"/>
              </a:cxn>
              <a:cxn ang="0">
                <a:pos x="connsiteX18081" y="connsiteY18081"/>
              </a:cxn>
              <a:cxn ang="0">
                <a:pos x="connsiteX18082" y="connsiteY18082"/>
              </a:cxn>
              <a:cxn ang="0">
                <a:pos x="connsiteX18083" y="connsiteY18083"/>
              </a:cxn>
              <a:cxn ang="0">
                <a:pos x="connsiteX18084" y="connsiteY18084"/>
              </a:cxn>
              <a:cxn ang="0">
                <a:pos x="connsiteX18085" y="connsiteY18085"/>
              </a:cxn>
              <a:cxn ang="0">
                <a:pos x="connsiteX18086" y="connsiteY18086"/>
              </a:cxn>
              <a:cxn ang="0">
                <a:pos x="connsiteX18087" y="connsiteY18087"/>
              </a:cxn>
              <a:cxn ang="0">
                <a:pos x="connsiteX18088" y="connsiteY18088"/>
              </a:cxn>
              <a:cxn ang="0">
                <a:pos x="connsiteX18089" y="connsiteY18089"/>
              </a:cxn>
              <a:cxn ang="0">
                <a:pos x="connsiteX18090" y="connsiteY18090"/>
              </a:cxn>
              <a:cxn ang="0">
                <a:pos x="connsiteX18091" y="connsiteY18091"/>
              </a:cxn>
              <a:cxn ang="0">
                <a:pos x="connsiteX18092" y="connsiteY18092"/>
              </a:cxn>
              <a:cxn ang="0">
                <a:pos x="connsiteX18093" y="connsiteY18093"/>
              </a:cxn>
              <a:cxn ang="0">
                <a:pos x="connsiteX18094" y="connsiteY18094"/>
              </a:cxn>
              <a:cxn ang="0">
                <a:pos x="connsiteX18095" y="connsiteY18095"/>
              </a:cxn>
              <a:cxn ang="0">
                <a:pos x="connsiteX18096" y="connsiteY18096"/>
              </a:cxn>
              <a:cxn ang="0">
                <a:pos x="connsiteX18097" y="connsiteY18097"/>
              </a:cxn>
              <a:cxn ang="0">
                <a:pos x="connsiteX18098" y="connsiteY18098"/>
              </a:cxn>
              <a:cxn ang="0">
                <a:pos x="connsiteX18099" y="connsiteY18099"/>
              </a:cxn>
              <a:cxn ang="0">
                <a:pos x="connsiteX18100" y="connsiteY18100"/>
              </a:cxn>
              <a:cxn ang="0">
                <a:pos x="connsiteX18101" y="connsiteY18101"/>
              </a:cxn>
              <a:cxn ang="0">
                <a:pos x="connsiteX18102" y="connsiteY18102"/>
              </a:cxn>
              <a:cxn ang="0">
                <a:pos x="connsiteX18103" y="connsiteY18103"/>
              </a:cxn>
              <a:cxn ang="0">
                <a:pos x="connsiteX18104" y="connsiteY18104"/>
              </a:cxn>
              <a:cxn ang="0">
                <a:pos x="connsiteX18105" y="connsiteY18105"/>
              </a:cxn>
              <a:cxn ang="0">
                <a:pos x="connsiteX18106" y="connsiteY18106"/>
              </a:cxn>
              <a:cxn ang="0">
                <a:pos x="connsiteX18107" y="connsiteY18107"/>
              </a:cxn>
              <a:cxn ang="0">
                <a:pos x="connsiteX18108" y="connsiteY18108"/>
              </a:cxn>
              <a:cxn ang="0">
                <a:pos x="connsiteX18109" y="connsiteY18109"/>
              </a:cxn>
              <a:cxn ang="0">
                <a:pos x="connsiteX18110" y="connsiteY18110"/>
              </a:cxn>
              <a:cxn ang="0">
                <a:pos x="connsiteX18111" y="connsiteY18111"/>
              </a:cxn>
              <a:cxn ang="0">
                <a:pos x="connsiteX18112" y="connsiteY18112"/>
              </a:cxn>
              <a:cxn ang="0">
                <a:pos x="connsiteX18113" y="connsiteY18113"/>
              </a:cxn>
              <a:cxn ang="0">
                <a:pos x="connsiteX18114" y="connsiteY18114"/>
              </a:cxn>
              <a:cxn ang="0">
                <a:pos x="connsiteX18115" y="connsiteY18115"/>
              </a:cxn>
              <a:cxn ang="0">
                <a:pos x="connsiteX18116" y="connsiteY18116"/>
              </a:cxn>
              <a:cxn ang="0">
                <a:pos x="connsiteX18117" y="connsiteY18117"/>
              </a:cxn>
              <a:cxn ang="0">
                <a:pos x="connsiteX18118" y="connsiteY18118"/>
              </a:cxn>
              <a:cxn ang="0">
                <a:pos x="connsiteX18119" y="connsiteY18119"/>
              </a:cxn>
              <a:cxn ang="0">
                <a:pos x="connsiteX18120" y="connsiteY18120"/>
              </a:cxn>
              <a:cxn ang="0">
                <a:pos x="connsiteX18121" y="connsiteY18121"/>
              </a:cxn>
              <a:cxn ang="0">
                <a:pos x="connsiteX18122" y="connsiteY18122"/>
              </a:cxn>
              <a:cxn ang="0">
                <a:pos x="connsiteX18123" y="connsiteY18123"/>
              </a:cxn>
              <a:cxn ang="0">
                <a:pos x="connsiteX18124" y="connsiteY18124"/>
              </a:cxn>
              <a:cxn ang="0">
                <a:pos x="connsiteX18125" y="connsiteY18125"/>
              </a:cxn>
              <a:cxn ang="0">
                <a:pos x="connsiteX18126" y="connsiteY18126"/>
              </a:cxn>
              <a:cxn ang="0">
                <a:pos x="connsiteX18127" y="connsiteY18127"/>
              </a:cxn>
              <a:cxn ang="0">
                <a:pos x="connsiteX18128" y="connsiteY18128"/>
              </a:cxn>
              <a:cxn ang="0">
                <a:pos x="connsiteX18129" y="connsiteY18129"/>
              </a:cxn>
              <a:cxn ang="0">
                <a:pos x="connsiteX18130" y="connsiteY18130"/>
              </a:cxn>
              <a:cxn ang="0">
                <a:pos x="connsiteX18131" y="connsiteY18131"/>
              </a:cxn>
              <a:cxn ang="0">
                <a:pos x="connsiteX18132" y="connsiteY18132"/>
              </a:cxn>
              <a:cxn ang="0">
                <a:pos x="connsiteX18133" y="connsiteY18133"/>
              </a:cxn>
              <a:cxn ang="0">
                <a:pos x="connsiteX18134" y="connsiteY18134"/>
              </a:cxn>
              <a:cxn ang="0">
                <a:pos x="connsiteX18135" y="connsiteY18135"/>
              </a:cxn>
              <a:cxn ang="0">
                <a:pos x="connsiteX18136" y="connsiteY18136"/>
              </a:cxn>
              <a:cxn ang="0">
                <a:pos x="connsiteX18137" y="connsiteY18137"/>
              </a:cxn>
              <a:cxn ang="0">
                <a:pos x="connsiteX18138" y="connsiteY18138"/>
              </a:cxn>
              <a:cxn ang="0">
                <a:pos x="connsiteX18139" y="connsiteY18139"/>
              </a:cxn>
              <a:cxn ang="0">
                <a:pos x="connsiteX18140" y="connsiteY18140"/>
              </a:cxn>
              <a:cxn ang="0">
                <a:pos x="connsiteX18141" y="connsiteY18141"/>
              </a:cxn>
              <a:cxn ang="0">
                <a:pos x="connsiteX18142" y="connsiteY18142"/>
              </a:cxn>
              <a:cxn ang="0">
                <a:pos x="connsiteX18143" y="connsiteY18143"/>
              </a:cxn>
              <a:cxn ang="0">
                <a:pos x="connsiteX18144" y="connsiteY18144"/>
              </a:cxn>
              <a:cxn ang="0">
                <a:pos x="connsiteX18145" y="connsiteY18145"/>
              </a:cxn>
              <a:cxn ang="0">
                <a:pos x="connsiteX18146" y="connsiteY18146"/>
              </a:cxn>
              <a:cxn ang="0">
                <a:pos x="connsiteX18147" y="connsiteY18147"/>
              </a:cxn>
              <a:cxn ang="0">
                <a:pos x="connsiteX18148" y="connsiteY18148"/>
              </a:cxn>
              <a:cxn ang="0">
                <a:pos x="connsiteX18149" y="connsiteY18149"/>
              </a:cxn>
              <a:cxn ang="0">
                <a:pos x="connsiteX18150" y="connsiteY18150"/>
              </a:cxn>
              <a:cxn ang="0">
                <a:pos x="connsiteX18151" y="connsiteY18151"/>
              </a:cxn>
              <a:cxn ang="0">
                <a:pos x="connsiteX18152" y="connsiteY18152"/>
              </a:cxn>
              <a:cxn ang="0">
                <a:pos x="connsiteX18153" y="connsiteY18153"/>
              </a:cxn>
              <a:cxn ang="0">
                <a:pos x="connsiteX18154" y="connsiteY18154"/>
              </a:cxn>
              <a:cxn ang="0">
                <a:pos x="connsiteX18155" y="connsiteY18155"/>
              </a:cxn>
              <a:cxn ang="0">
                <a:pos x="connsiteX18156" y="connsiteY18156"/>
              </a:cxn>
              <a:cxn ang="0">
                <a:pos x="connsiteX18157" y="connsiteY18157"/>
              </a:cxn>
              <a:cxn ang="0">
                <a:pos x="connsiteX18158" y="connsiteY18158"/>
              </a:cxn>
              <a:cxn ang="0">
                <a:pos x="connsiteX18159" y="connsiteY18159"/>
              </a:cxn>
              <a:cxn ang="0">
                <a:pos x="connsiteX18160" y="connsiteY18160"/>
              </a:cxn>
              <a:cxn ang="0">
                <a:pos x="connsiteX18161" y="connsiteY18161"/>
              </a:cxn>
              <a:cxn ang="0">
                <a:pos x="connsiteX18162" y="connsiteY18162"/>
              </a:cxn>
              <a:cxn ang="0">
                <a:pos x="connsiteX18163" y="connsiteY18163"/>
              </a:cxn>
              <a:cxn ang="0">
                <a:pos x="connsiteX18164" y="connsiteY18164"/>
              </a:cxn>
              <a:cxn ang="0">
                <a:pos x="connsiteX18165" y="connsiteY18165"/>
              </a:cxn>
              <a:cxn ang="0">
                <a:pos x="connsiteX18166" y="connsiteY18166"/>
              </a:cxn>
              <a:cxn ang="0">
                <a:pos x="connsiteX18167" y="connsiteY18167"/>
              </a:cxn>
              <a:cxn ang="0">
                <a:pos x="connsiteX18168" y="connsiteY18168"/>
              </a:cxn>
              <a:cxn ang="0">
                <a:pos x="connsiteX18169" y="connsiteY18169"/>
              </a:cxn>
              <a:cxn ang="0">
                <a:pos x="connsiteX18170" y="connsiteY18170"/>
              </a:cxn>
              <a:cxn ang="0">
                <a:pos x="connsiteX18171" y="connsiteY18171"/>
              </a:cxn>
              <a:cxn ang="0">
                <a:pos x="connsiteX18172" y="connsiteY18172"/>
              </a:cxn>
              <a:cxn ang="0">
                <a:pos x="connsiteX18173" y="connsiteY18173"/>
              </a:cxn>
              <a:cxn ang="0">
                <a:pos x="connsiteX18174" y="connsiteY18174"/>
              </a:cxn>
              <a:cxn ang="0">
                <a:pos x="connsiteX18175" y="connsiteY18175"/>
              </a:cxn>
              <a:cxn ang="0">
                <a:pos x="connsiteX18176" y="connsiteY18176"/>
              </a:cxn>
              <a:cxn ang="0">
                <a:pos x="connsiteX18177" y="connsiteY18177"/>
              </a:cxn>
              <a:cxn ang="0">
                <a:pos x="connsiteX18178" y="connsiteY18178"/>
              </a:cxn>
              <a:cxn ang="0">
                <a:pos x="connsiteX18179" y="connsiteY18179"/>
              </a:cxn>
              <a:cxn ang="0">
                <a:pos x="connsiteX18180" y="connsiteY18180"/>
              </a:cxn>
              <a:cxn ang="0">
                <a:pos x="connsiteX18181" y="connsiteY18181"/>
              </a:cxn>
              <a:cxn ang="0">
                <a:pos x="connsiteX18182" y="connsiteY18182"/>
              </a:cxn>
              <a:cxn ang="0">
                <a:pos x="connsiteX18183" y="connsiteY18183"/>
              </a:cxn>
              <a:cxn ang="0">
                <a:pos x="connsiteX18184" y="connsiteY18184"/>
              </a:cxn>
              <a:cxn ang="0">
                <a:pos x="connsiteX18185" y="connsiteY18185"/>
              </a:cxn>
              <a:cxn ang="0">
                <a:pos x="connsiteX18186" y="connsiteY18186"/>
              </a:cxn>
              <a:cxn ang="0">
                <a:pos x="connsiteX18187" y="connsiteY18187"/>
              </a:cxn>
              <a:cxn ang="0">
                <a:pos x="connsiteX18188" y="connsiteY18188"/>
              </a:cxn>
              <a:cxn ang="0">
                <a:pos x="connsiteX18189" y="connsiteY18189"/>
              </a:cxn>
              <a:cxn ang="0">
                <a:pos x="connsiteX18190" y="connsiteY18190"/>
              </a:cxn>
              <a:cxn ang="0">
                <a:pos x="connsiteX18191" y="connsiteY18191"/>
              </a:cxn>
              <a:cxn ang="0">
                <a:pos x="connsiteX18192" y="connsiteY18192"/>
              </a:cxn>
              <a:cxn ang="0">
                <a:pos x="connsiteX18193" y="connsiteY18193"/>
              </a:cxn>
              <a:cxn ang="0">
                <a:pos x="connsiteX18194" y="connsiteY18194"/>
              </a:cxn>
              <a:cxn ang="0">
                <a:pos x="connsiteX18195" y="connsiteY18195"/>
              </a:cxn>
              <a:cxn ang="0">
                <a:pos x="connsiteX18196" y="connsiteY18196"/>
              </a:cxn>
              <a:cxn ang="0">
                <a:pos x="connsiteX18197" y="connsiteY18197"/>
              </a:cxn>
              <a:cxn ang="0">
                <a:pos x="connsiteX18198" y="connsiteY18198"/>
              </a:cxn>
              <a:cxn ang="0">
                <a:pos x="connsiteX18199" y="connsiteY18199"/>
              </a:cxn>
              <a:cxn ang="0">
                <a:pos x="connsiteX18200" y="connsiteY18200"/>
              </a:cxn>
              <a:cxn ang="0">
                <a:pos x="connsiteX18201" y="connsiteY18201"/>
              </a:cxn>
              <a:cxn ang="0">
                <a:pos x="connsiteX18202" y="connsiteY18202"/>
              </a:cxn>
              <a:cxn ang="0">
                <a:pos x="connsiteX18203" y="connsiteY18203"/>
              </a:cxn>
              <a:cxn ang="0">
                <a:pos x="connsiteX18204" y="connsiteY18204"/>
              </a:cxn>
              <a:cxn ang="0">
                <a:pos x="connsiteX18205" y="connsiteY18205"/>
              </a:cxn>
              <a:cxn ang="0">
                <a:pos x="connsiteX18206" y="connsiteY18206"/>
              </a:cxn>
              <a:cxn ang="0">
                <a:pos x="connsiteX18207" y="connsiteY18207"/>
              </a:cxn>
              <a:cxn ang="0">
                <a:pos x="connsiteX18208" y="connsiteY18208"/>
              </a:cxn>
              <a:cxn ang="0">
                <a:pos x="connsiteX18209" y="connsiteY18209"/>
              </a:cxn>
              <a:cxn ang="0">
                <a:pos x="connsiteX18210" y="connsiteY18210"/>
              </a:cxn>
              <a:cxn ang="0">
                <a:pos x="connsiteX18211" y="connsiteY18211"/>
              </a:cxn>
              <a:cxn ang="0">
                <a:pos x="connsiteX18212" y="connsiteY18212"/>
              </a:cxn>
              <a:cxn ang="0">
                <a:pos x="connsiteX18213" y="connsiteY18213"/>
              </a:cxn>
              <a:cxn ang="0">
                <a:pos x="connsiteX18214" y="connsiteY18214"/>
              </a:cxn>
              <a:cxn ang="0">
                <a:pos x="connsiteX18215" y="connsiteY18215"/>
              </a:cxn>
              <a:cxn ang="0">
                <a:pos x="connsiteX18216" y="connsiteY18216"/>
              </a:cxn>
              <a:cxn ang="0">
                <a:pos x="connsiteX18217" y="connsiteY18217"/>
              </a:cxn>
              <a:cxn ang="0">
                <a:pos x="connsiteX18218" y="connsiteY18218"/>
              </a:cxn>
              <a:cxn ang="0">
                <a:pos x="connsiteX18219" y="connsiteY18219"/>
              </a:cxn>
              <a:cxn ang="0">
                <a:pos x="connsiteX18220" y="connsiteY18220"/>
              </a:cxn>
              <a:cxn ang="0">
                <a:pos x="connsiteX18221" y="connsiteY18221"/>
              </a:cxn>
              <a:cxn ang="0">
                <a:pos x="connsiteX18222" y="connsiteY18222"/>
              </a:cxn>
              <a:cxn ang="0">
                <a:pos x="connsiteX18223" y="connsiteY18223"/>
              </a:cxn>
              <a:cxn ang="0">
                <a:pos x="connsiteX18224" y="connsiteY18224"/>
              </a:cxn>
              <a:cxn ang="0">
                <a:pos x="connsiteX18225" y="connsiteY18225"/>
              </a:cxn>
              <a:cxn ang="0">
                <a:pos x="connsiteX18226" y="connsiteY18226"/>
              </a:cxn>
              <a:cxn ang="0">
                <a:pos x="connsiteX18227" y="connsiteY18227"/>
              </a:cxn>
              <a:cxn ang="0">
                <a:pos x="connsiteX18228" y="connsiteY18228"/>
              </a:cxn>
              <a:cxn ang="0">
                <a:pos x="connsiteX18229" y="connsiteY18229"/>
              </a:cxn>
              <a:cxn ang="0">
                <a:pos x="connsiteX18230" y="connsiteY18230"/>
              </a:cxn>
              <a:cxn ang="0">
                <a:pos x="connsiteX18231" y="connsiteY18231"/>
              </a:cxn>
              <a:cxn ang="0">
                <a:pos x="connsiteX18232" y="connsiteY18232"/>
              </a:cxn>
              <a:cxn ang="0">
                <a:pos x="connsiteX18233" y="connsiteY18233"/>
              </a:cxn>
              <a:cxn ang="0">
                <a:pos x="connsiteX18234" y="connsiteY18234"/>
              </a:cxn>
              <a:cxn ang="0">
                <a:pos x="connsiteX18235" y="connsiteY18235"/>
              </a:cxn>
              <a:cxn ang="0">
                <a:pos x="connsiteX18236" y="connsiteY18236"/>
              </a:cxn>
              <a:cxn ang="0">
                <a:pos x="connsiteX18237" y="connsiteY18237"/>
              </a:cxn>
              <a:cxn ang="0">
                <a:pos x="connsiteX18238" y="connsiteY18238"/>
              </a:cxn>
              <a:cxn ang="0">
                <a:pos x="connsiteX18239" y="connsiteY18239"/>
              </a:cxn>
              <a:cxn ang="0">
                <a:pos x="connsiteX18240" y="connsiteY18240"/>
              </a:cxn>
              <a:cxn ang="0">
                <a:pos x="connsiteX18241" y="connsiteY18241"/>
              </a:cxn>
              <a:cxn ang="0">
                <a:pos x="connsiteX18242" y="connsiteY18242"/>
              </a:cxn>
              <a:cxn ang="0">
                <a:pos x="connsiteX18243" y="connsiteY18243"/>
              </a:cxn>
              <a:cxn ang="0">
                <a:pos x="connsiteX18244" y="connsiteY18244"/>
              </a:cxn>
              <a:cxn ang="0">
                <a:pos x="connsiteX18245" y="connsiteY18245"/>
              </a:cxn>
              <a:cxn ang="0">
                <a:pos x="connsiteX18246" y="connsiteY18246"/>
              </a:cxn>
              <a:cxn ang="0">
                <a:pos x="connsiteX18247" y="connsiteY18247"/>
              </a:cxn>
              <a:cxn ang="0">
                <a:pos x="connsiteX18248" y="connsiteY18248"/>
              </a:cxn>
              <a:cxn ang="0">
                <a:pos x="connsiteX18249" y="connsiteY18249"/>
              </a:cxn>
              <a:cxn ang="0">
                <a:pos x="connsiteX18250" y="connsiteY18250"/>
              </a:cxn>
              <a:cxn ang="0">
                <a:pos x="connsiteX18251" y="connsiteY18251"/>
              </a:cxn>
              <a:cxn ang="0">
                <a:pos x="connsiteX18252" y="connsiteY18252"/>
              </a:cxn>
              <a:cxn ang="0">
                <a:pos x="connsiteX18253" y="connsiteY18253"/>
              </a:cxn>
              <a:cxn ang="0">
                <a:pos x="connsiteX18254" y="connsiteY18254"/>
              </a:cxn>
              <a:cxn ang="0">
                <a:pos x="connsiteX18255" y="connsiteY18255"/>
              </a:cxn>
              <a:cxn ang="0">
                <a:pos x="connsiteX18256" y="connsiteY18256"/>
              </a:cxn>
              <a:cxn ang="0">
                <a:pos x="connsiteX18257" y="connsiteY18257"/>
              </a:cxn>
              <a:cxn ang="0">
                <a:pos x="connsiteX18258" y="connsiteY18258"/>
              </a:cxn>
              <a:cxn ang="0">
                <a:pos x="connsiteX18259" y="connsiteY18259"/>
              </a:cxn>
              <a:cxn ang="0">
                <a:pos x="connsiteX18260" y="connsiteY18260"/>
              </a:cxn>
              <a:cxn ang="0">
                <a:pos x="connsiteX18261" y="connsiteY18261"/>
              </a:cxn>
              <a:cxn ang="0">
                <a:pos x="connsiteX18262" y="connsiteY18262"/>
              </a:cxn>
              <a:cxn ang="0">
                <a:pos x="connsiteX18263" y="connsiteY18263"/>
              </a:cxn>
              <a:cxn ang="0">
                <a:pos x="connsiteX18264" y="connsiteY18264"/>
              </a:cxn>
              <a:cxn ang="0">
                <a:pos x="connsiteX18265" y="connsiteY18265"/>
              </a:cxn>
              <a:cxn ang="0">
                <a:pos x="connsiteX18266" y="connsiteY18266"/>
              </a:cxn>
              <a:cxn ang="0">
                <a:pos x="connsiteX18267" y="connsiteY18267"/>
              </a:cxn>
              <a:cxn ang="0">
                <a:pos x="connsiteX18268" y="connsiteY18268"/>
              </a:cxn>
              <a:cxn ang="0">
                <a:pos x="connsiteX18269" y="connsiteY18269"/>
              </a:cxn>
              <a:cxn ang="0">
                <a:pos x="connsiteX18270" y="connsiteY18270"/>
              </a:cxn>
              <a:cxn ang="0">
                <a:pos x="connsiteX18271" y="connsiteY18271"/>
              </a:cxn>
              <a:cxn ang="0">
                <a:pos x="connsiteX18272" y="connsiteY18272"/>
              </a:cxn>
              <a:cxn ang="0">
                <a:pos x="connsiteX18273" y="connsiteY18273"/>
              </a:cxn>
              <a:cxn ang="0">
                <a:pos x="connsiteX18274" y="connsiteY18274"/>
              </a:cxn>
              <a:cxn ang="0">
                <a:pos x="connsiteX18275" y="connsiteY18275"/>
              </a:cxn>
              <a:cxn ang="0">
                <a:pos x="connsiteX18276" y="connsiteY18276"/>
              </a:cxn>
              <a:cxn ang="0">
                <a:pos x="connsiteX18277" y="connsiteY18277"/>
              </a:cxn>
              <a:cxn ang="0">
                <a:pos x="connsiteX18278" y="connsiteY18278"/>
              </a:cxn>
              <a:cxn ang="0">
                <a:pos x="connsiteX18279" y="connsiteY18279"/>
              </a:cxn>
              <a:cxn ang="0">
                <a:pos x="connsiteX18280" y="connsiteY18280"/>
              </a:cxn>
              <a:cxn ang="0">
                <a:pos x="connsiteX18281" y="connsiteY18281"/>
              </a:cxn>
              <a:cxn ang="0">
                <a:pos x="connsiteX18282" y="connsiteY18282"/>
              </a:cxn>
              <a:cxn ang="0">
                <a:pos x="connsiteX18283" y="connsiteY18283"/>
              </a:cxn>
              <a:cxn ang="0">
                <a:pos x="connsiteX18284" y="connsiteY18284"/>
              </a:cxn>
              <a:cxn ang="0">
                <a:pos x="connsiteX18285" y="connsiteY18285"/>
              </a:cxn>
              <a:cxn ang="0">
                <a:pos x="connsiteX18286" y="connsiteY18286"/>
              </a:cxn>
              <a:cxn ang="0">
                <a:pos x="connsiteX18287" y="connsiteY18287"/>
              </a:cxn>
              <a:cxn ang="0">
                <a:pos x="connsiteX18288" y="connsiteY18288"/>
              </a:cxn>
              <a:cxn ang="0">
                <a:pos x="connsiteX18289" y="connsiteY18289"/>
              </a:cxn>
              <a:cxn ang="0">
                <a:pos x="connsiteX18290" y="connsiteY18290"/>
              </a:cxn>
              <a:cxn ang="0">
                <a:pos x="connsiteX18291" y="connsiteY18291"/>
              </a:cxn>
              <a:cxn ang="0">
                <a:pos x="connsiteX18292" y="connsiteY18292"/>
              </a:cxn>
              <a:cxn ang="0">
                <a:pos x="connsiteX18293" y="connsiteY18293"/>
              </a:cxn>
              <a:cxn ang="0">
                <a:pos x="connsiteX18294" y="connsiteY18294"/>
              </a:cxn>
              <a:cxn ang="0">
                <a:pos x="connsiteX18295" y="connsiteY18295"/>
              </a:cxn>
              <a:cxn ang="0">
                <a:pos x="connsiteX18296" y="connsiteY18296"/>
              </a:cxn>
              <a:cxn ang="0">
                <a:pos x="connsiteX18297" y="connsiteY18297"/>
              </a:cxn>
              <a:cxn ang="0">
                <a:pos x="connsiteX18298" y="connsiteY18298"/>
              </a:cxn>
              <a:cxn ang="0">
                <a:pos x="connsiteX18299" y="connsiteY18299"/>
              </a:cxn>
              <a:cxn ang="0">
                <a:pos x="connsiteX18300" y="connsiteY18300"/>
              </a:cxn>
              <a:cxn ang="0">
                <a:pos x="connsiteX18301" y="connsiteY18301"/>
              </a:cxn>
              <a:cxn ang="0">
                <a:pos x="connsiteX18302" y="connsiteY18302"/>
              </a:cxn>
              <a:cxn ang="0">
                <a:pos x="connsiteX18303" y="connsiteY18303"/>
              </a:cxn>
              <a:cxn ang="0">
                <a:pos x="connsiteX18304" y="connsiteY18304"/>
              </a:cxn>
              <a:cxn ang="0">
                <a:pos x="connsiteX18305" y="connsiteY18305"/>
              </a:cxn>
              <a:cxn ang="0">
                <a:pos x="connsiteX18306" y="connsiteY18306"/>
              </a:cxn>
              <a:cxn ang="0">
                <a:pos x="connsiteX18307" y="connsiteY18307"/>
              </a:cxn>
              <a:cxn ang="0">
                <a:pos x="connsiteX18308" y="connsiteY18308"/>
              </a:cxn>
              <a:cxn ang="0">
                <a:pos x="connsiteX18309" y="connsiteY18309"/>
              </a:cxn>
              <a:cxn ang="0">
                <a:pos x="connsiteX18310" y="connsiteY18310"/>
              </a:cxn>
              <a:cxn ang="0">
                <a:pos x="connsiteX18311" y="connsiteY18311"/>
              </a:cxn>
              <a:cxn ang="0">
                <a:pos x="connsiteX18312" y="connsiteY18312"/>
              </a:cxn>
              <a:cxn ang="0">
                <a:pos x="connsiteX18313" y="connsiteY18313"/>
              </a:cxn>
              <a:cxn ang="0">
                <a:pos x="connsiteX18314" y="connsiteY18314"/>
              </a:cxn>
              <a:cxn ang="0">
                <a:pos x="connsiteX18315" y="connsiteY18315"/>
              </a:cxn>
              <a:cxn ang="0">
                <a:pos x="connsiteX18316" y="connsiteY18316"/>
              </a:cxn>
              <a:cxn ang="0">
                <a:pos x="connsiteX18317" y="connsiteY18317"/>
              </a:cxn>
              <a:cxn ang="0">
                <a:pos x="connsiteX18318" y="connsiteY18318"/>
              </a:cxn>
              <a:cxn ang="0">
                <a:pos x="connsiteX18319" y="connsiteY18319"/>
              </a:cxn>
              <a:cxn ang="0">
                <a:pos x="connsiteX18320" y="connsiteY18320"/>
              </a:cxn>
              <a:cxn ang="0">
                <a:pos x="connsiteX18321" y="connsiteY18321"/>
              </a:cxn>
              <a:cxn ang="0">
                <a:pos x="connsiteX18322" y="connsiteY18322"/>
              </a:cxn>
              <a:cxn ang="0">
                <a:pos x="connsiteX18323" y="connsiteY18323"/>
              </a:cxn>
              <a:cxn ang="0">
                <a:pos x="connsiteX18324" y="connsiteY18324"/>
              </a:cxn>
              <a:cxn ang="0">
                <a:pos x="connsiteX18325" y="connsiteY18325"/>
              </a:cxn>
              <a:cxn ang="0">
                <a:pos x="connsiteX18326" y="connsiteY18326"/>
              </a:cxn>
              <a:cxn ang="0">
                <a:pos x="connsiteX18327" y="connsiteY18327"/>
              </a:cxn>
              <a:cxn ang="0">
                <a:pos x="connsiteX18328" y="connsiteY18328"/>
              </a:cxn>
              <a:cxn ang="0">
                <a:pos x="connsiteX18329" y="connsiteY18329"/>
              </a:cxn>
              <a:cxn ang="0">
                <a:pos x="connsiteX18330" y="connsiteY18330"/>
              </a:cxn>
              <a:cxn ang="0">
                <a:pos x="connsiteX18331" y="connsiteY18331"/>
              </a:cxn>
              <a:cxn ang="0">
                <a:pos x="connsiteX18332" y="connsiteY18332"/>
              </a:cxn>
              <a:cxn ang="0">
                <a:pos x="connsiteX18333" y="connsiteY18333"/>
              </a:cxn>
              <a:cxn ang="0">
                <a:pos x="connsiteX18334" y="connsiteY18334"/>
              </a:cxn>
              <a:cxn ang="0">
                <a:pos x="connsiteX18335" y="connsiteY18335"/>
              </a:cxn>
              <a:cxn ang="0">
                <a:pos x="connsiteX18336" y="connsiteY18336"/>
              </a:cxn>
              <a:cxn ang="0">
                <a:pos x="connsiteX18337" y="connsiteY18337"/>
              </a:cxn>
              <a:cxn ang="0">
                <a:pos x="connsiteX18338" y="connsiteY18338"/>
              </a:cxn>
              <a:cxn ang="0">
                <a:pos x="connsiteX18339" y="connsiteY18339"/>
              </a:cxn>
              <a:cxn ang="0">
                <a:pos x="connsiteX18340" y="connsiteY18340"/>
              </a:cxn>
              <a:cxn ang="0">
                <a:pos x="connsiteX18341" y="connsiteY18341"/>
              </a:cxn>
              <a:cxn ang="0">
                <a:pos x="connsiteX18342" y="connsiteY18342"/>
              </a:cxn>
              <a:cxn ang="0">
                <a:pos x="connsiteX18343" y="connsiteY18343"/>
              </a:cxn>
              <a:cxn ang="0">
                <a:pos x="connsiteX18344" y="connsiteY18344"/>
              </a:cxn>
              <a:cxn ang="0">
                <a:pos x="connsiteX18345" y="connsiteY18345"/>
              </a:cxn>
              <a:cxn ang="0">
                <a:pos x="connsiteX18346" y="connsiteY18346"/>
              </a:cxn>
              <a:cxn ang="0">
                <a:pos x="connsiteX18347" y="connsiteY18347"/>
              </a:cxn>
              <a:cxn ang="0">
                <a:pos x="connsiteX18348" y="connsiteY18348"/>
              </a:cxn>
              <a:cxn ang="0">
                <a:pos x="connsiteX18349" y="connsiteY18349"/>
              </a:cxn>
              <a:cxn ang="0">
                <a:pos x="connsiteX18350" y="connsiteY18350"/>
              </a:cxn>
              <a:cxn ang="0">
                <a:pos x="connsiteX18351" y="connsiteY18351"/>
              </a:cxn>
              <a:cxn ang="0">
                <a:pos x="connsiteX18352" y="connsiteY18352"/>
              </a:cxn>
              <a:cxn ang="0">
                <a:pos x="connsiteX18353" y="connsiteY18353"/>
              </a:cxn>
              <a:cxn ang="0">
                <a:pos x="connsiteX18354" y="connsiteY18354"/>
              </a:cxn>
              <a:cxn ang="0">
                <a:pos x="connsiteX18355" y="connsiteY18355"/>
              </a:cxn>
              <a:cxn ang="0">
                <a:pos x="connsiteX18356" y="connsiteY18356"/>
              </a:cxn>
              <a:cxn ang="0">
                <a:pos x="connsiteX18357" y="connsiteY18357"/>
              </a:cxn>
              <a:cxn ang="0">
                <a:pos x="connsiteX18358" y="connsiteY18358"/>
              </a:cxn>
              <a:cxn ang="0">
                <a:pos x="connsiteX18359" y="connsiteY18359"/>
              </a:cxn>
              <a:cxn ang="0">
                <a:pos x="connsiteX18360" y="connsiteY18360"/>
              </a:cxn>
              <a:cxn ang="0">
                <a:pos x="connsiteX18361" y="connsiteY18361"/>
              </a:cxn>
              <a:cxn ang="0">
                <a:pos x="connsiteX18362" y="connsiteY18362"/>
              </a:cxn>
              <a:cxn ang="0">
                <a:pos x="connsiteX18363" y="connsiteY18363"/>
              </a:cxn>
              <a:cxn ang="0">
                <a:pos x="connsiteX18364" y="connsiteY18364"/>
              </a:cxn>
              <a:cxn ang="0">
                <a:pos x="connsiteX18365" y="connsiteY18365"/>
              </a:cxn>
              <a:cxn ang="0">
                <a:pos x="connsiteX18366" y="connsiteY18366"/>
              </a:cxn>
              <a:cxn ang="0">
                <a:pos x="connsiteX18367" y="connsiteY18367"/>
              </a:cxn>
              <a:cxn ang="0">
                <a:pos x="connsiteX18368" y="connsiteY18368"/>
              </a:cxn>
              <a:cxn ang="0">
                <a:pos x="connsiteX18369" y="connsiteY18369"/>
              </a:cxn>
              <a:cxn ang="0">
                <a:pos x="connsiteX18370" y="connsiteY18370"/>
              </a:cxn>
              <a:cxn ang="0">
                <a:pos x="connsiteX18371" y="connsiteY18371"/>
              </a:cxn>
              <a:cxn ang="0">
                <a:pos x="connsiteX18372" y="connsiteY18372"/>
              </a:cxn>
              <a:cxn ang="0">
                <a:pos x="connsiteX18373" y="connsiteY18373"/>
              </a:cxn>
              <a:cxn ang="0">
                <a:pos x="connsiteX18374" y="connsiteY18374"/>
              </a:cxn>
              <a:cxn ang="0">
                <a:pos x="connsiteX18375" y="connsiteY18375"/>
              </a:cxn>
              <a:cxn ang="0">
                <a:pos x="connsiteX18376" y="connsiteY18376"/>
              </a:cxn>
              <a:cxn ang="0">
                <a:pos x="connsiteX18377" y="connsiteY18377"/>
              </a:cxn>
              <a:cxn ang="0">
                <a:pos x="connsiteX18378" y="connsiteY18378"/>
              </a:cxn>
              <a:cxn ang="0">
                <a:pos x="connsiteX18379" y="connsiteY18379"/>
              </a:cxn>
              <a:cxn ang="0">
                <a:pos x="connsiteX18380" y="connsiteY18380"/>
              </a:cxn>
              <a:cxn ang="0">
                <a:pos x="connsiteX18381" y="connsiteY18381"/>
              </a:cxn>
              <a:cxn ang="0">
                <a:pos x="connsiteX18382" y="connsiteY18382"/>
              </a:cxn>
              <a:cxn ang="0">
                <a:pos x="connsiteX18383" y="connsiteY18383"/>
              </a:cxn>
              <a:cxn ang="0">
                <a:pos x="connsiteX18384" y="connsiteY18384"/>
              </a:cxn>
              <a:cxn ang="0">
                <a:pos x="connsiteX18385" y="connsiteY18385"/>
              </a:cxn>
              <a:cxn ang="0">
                <a:pos x="connsiteX18386" y="connsiteY18386"/>
              </a:cxn>
              <a:cxn ang="0">
                <a:pos x="connsiteX18387" y="connsiteY18387"/>
              </a:cxn>
              <a:cxn ang="0">
                <a:pos x="connsiteX18388" y="connsiteY18388"/>
              </a:cxn>
              <a:cxn ang="0">
                <a:pos x="connsiteX18389" y="connsiteY18389"/>
              </a:cxn>
              <a:cxn ang="0">
                <a:pos x="connsiteX18390" y="connsiteY18390"/>
              </a:cxn>
              <a:cxn ang="0">
                <a:pos x="connsiteX18391" y="connsiteY18391"/>
              </a:cxn>
              <a:cxn ang="0">
                <a:pos x="connsiteX18392" y="connsiteY18392"/>
              </a:cxn>
              <a:cxn ang="0">
                <a:pos x="connsiteX18393" y="connsiteY18393"/>
              </a:cxn>
              <a:cxn ang="0">
                <a:pos x="connsiteX18394" y="connsiteY18394"/>
              </a:cxn>
              <a:cxn ang="0">
                <a:pos x="connsiteX18395" y="connsiteY18395"/>
              </a:cxn>
              <a:cxn ang="0">
                <a:pos x="connsiteX18396" y="connsiteY18396"/>
              </a:cxn>
              <a:cxn ang="0">
                <a:pos x="connsiteX18397" y="connsiteY18397"/>
              </a:cxn>
              <a:cxn ang="0">
                <a:pos x="connsiteX18398" y="connsiteY18398"/>
              </a:cxn>
              <a:cxn ang="0">
                <a:pos x="connsiteX18399" y="connsiteY18399"/>
              </a:cxn>
              <a:cxn ang="0">
                <a:pos x="connsiteX18400" y="connsiteY18400"/>
              </a:cxn>
              <a:cxn ang="0">
                <a:pos x="connsiteX18401" y="connsiteY18401"/>
              </a:cxn>
              <a:cxn ang="0">
                <a:pos x="connsiteX18402" y="connsiteY18402"/>
              </a:cxn>
              <a:cxn ang="0">
                <a:pos x="connsiteX18403" y="connsiteY18403"/>
              </a:cxn>
              <a:cxn ang="0">
                <a:pos x="connsiteX18404" y="connsiteY18404"/>
              </a:cxn>
              <a:cxn ang="0">
                <a:pos x="connsiteX18405" y="connsiteY18405"/>
              </a:cxn>
              <a:cxn ang="0">
                <a:pos x="connsiteX18406" y="connsiteY18406"/>
              </a:cxn>
              <a:cxn ang="0">
                <a:pos x="connsiteX18407" y="connsiteY18407"/>
              </a:cxn>
              <a:cxn ang="0">
                <a:pos x="connsiteX18408" y="connsiteY18408"/>
              </a:cxn>
              <a:cxn ang="0">
                <a:pos x="connsiteX18409" y="connsiteY18409"/>
              </a:cxn>
              <a:cxn ang="0">
                <a:pos x="connsiteX18410" y="connsiteY18410"/>
              </a:cxn>
              <a:cxn ang="0">
                <a:pos x="connsiteX18411" y="connsiteY18411"/>
              </a:cxn>
              <a:cxn ang="0">
                <a:pos x="connsiteX18412" y="connsiteY18412"/>
              </a:cxn>
              <a:cxn ang="0">
                <a:pos x="connsiteX18413" y="connsiteY18413"/>
              </a:cxn>
              <a:cxn ang="0">
                <a:pos x="connsiteX18414" y="connsiteY18414"/>
              </a:cxn>
              <a:cxn ang="0">
                <a:pos x="connsiteX18415" y="connsiteY18415"/>
              </a:cxn>
              <a:cxn ang="0">
                <a:pos x="connsiteX18416" y="connsiteY18416"/>
              </a:cxn>
              <a:cxn ang="0">
                <a:pos x="connsiteX18417" y="connsiteY18417"/>
              </a:cxn>
              <a:cxn ang="0">
                <a:pos x="connsiteX18418" y="connsiteY18418"/>
              </a:cxn>
              <a:cxn ang="0">
                <a:pos x="connsiteX18419" y="connsiteY18419"/>
              </a:cxn>
              <a:cxn ang="0">
                <a:pos x="connsiteX18420" y="connsiteY18420"/>
              </a:cxn>
              <a:cxn ang="0">
                <a:pos x="connsiteX18421" y="connsiteY18421"/>
              </a:cxn>
              <a:cxn ang="0">
                <a:pos x="connsiteX18422" y="connsiteY18422"/>
              </a:cxn>
              <a:cxn ang="0">
                <a:pos x="connsiteX18423" y="connsiteY18423"/>
              </a:cxn>
              <a:cxn ang="0">
                <a:pos x="connsiteX18424" y="connsiteY18424"/>
              </a:cxn>
              <a:cxn ang="0">
                <a:pos x="connsiteX18425" y="connsiteY18425"/>
              </a:cxn>
              <a:cxn ang="0">
                <a:pos x="connsiteX18426" y="connsiteY18426"/>
              </a:cxn>
              <a:cxn ang="0">
                <a:pos x="connsiteX18427" y="connsiteY18427"/>
              </a:cxn>
              <a:cxn ang="0">
                <a:pos x="connsiteX18428" y="connsiteY18428"/>
              </a:cxn>
              <a:cxn ang="0">
                <a:pos x="connsiteX18429" y="connsiteY18429"/>
              </a:cxn>
              <a:cxn ang="0">
                <a:pos x="connsiteX18430" y="connsiteY18430"/>
              </a:cxn>
              <a:cxn ang="0">
                <a:pos x="connsiteX18431" y="connsiteY18431"/>
              </a:cxn>
              <a:cxn ang="0">
                <a:pos x="connsiteX18432" y="connsiteY18432"/>
              </a:cxn>
              <a:cxn ang="0">
                <a:pos x="connsiteX18433" y="connsiteY18433"/>
              </a:cxn>
              <a:cxn ang="0">
                <a:pos x="connsiteX18434" y="connsiteY18434"/>
              </a:cxn>
              <a:cxn ang="0">
                <a:pos x="connsiteX18435" y="connsiteY18435"/>
              </a:cxn>
              <a:cxn ang="0">
                <a:pos x="connsiteX18436" y="connsiteY18436"/>
              </a:cxn>
              <a:cxn ang="0">
                <a:pos x="connsiteX18437" y="connsiteY18437"/>
              </a:cxn>
              <a:cxn ang="0">
                <a:pos x="connsiteX18438" y="connsiteY18438"/>
              </a:cxn>
              <a:cxn ang="0">
                <a:pos x="connsiteX18439" y="connsiteY18439"/>
              </a:cxn>
              <a:cxn ang="0">
                <a:pos x="connsiteX18440" y="connsiteY18440"/>
              </a:cxn>
              <a:cxn ang="0">
                <a:pos x="connsiteX18441" y="connsiteY18441"/>
              </a:cxn>
              <a:cxn ang="0">
                <a:pos x="connsiteX18442" y="connsiteY18442"/>
              </a:cxn>
              <a:cxn ang="0">
                <a:pos x="connsiteX18443" y="connsiteY18443"/>
              </a:cxn>
              <a:cxn ang="0">
                <a:pos x="connsiteX18444" y="connsiteY18444"/>
              </a:cxn>
              <a:cxn ang="0">
                <a:pos x="connsiteX18445" y="connsiteY18445"/>
              </a:cxn>
              <a:cxn ang="0">
                <a:pos x="connsiteX18446" y="connsiteY18446"/>
              </a:cxn>
              <a:cxn ang="0">
                <a:pos x="connsiteX18447" y="connsiteY18447"/>
              </a:cxn>
              <a:cxn ang="0">
                <a:pos x="connsiteX18448" y="connsiteY18448"/>
              </a:cxn>
              <a:cxn ang="0">
                <a:pos x="connsiteX18449" y="connsiteY18449"/>
              </a:cxn>
              <a:cxn ang="0">
                <a:pos x="connsiteX18450" y="connsiteY18450"/>
              </a:cxn>
              <a:cxn ang="0">
                <a:pos x="connsiteX18451" y="connsiteY18451"/>
              </a:cxn>
              <a:cxn ang="0">
                <a:pos x="connsiteX18452" y="connsiteY18452"/>
              </a:cxn>
              <a:cxn ang="0">
                <a:pos x="connsiteX18453" y="connsiteY18453"/>
              </a:cxn>
              <a:cxn ang="0">
                <a:pos x="connsiteX18454" y="connsiteY18454"/>
              </a:cxn>
              <a:cxn ang="0">
                <a:pos x="connsiteX18455" y="connsiteY18455"/>
              </a:cxn>
              <a:cxn ang="0">
                <a:pos x="connsiteX18456" y="connsiteY18456"/>
              </a:cxn>
              <a:cxn ang="0">
                <a:pos x="connsiteX18457" y="connsiteY18457"/>
              </a:cxn>
              <a:cxn ang="0">
                <a:pos x="connsiteX18458" y="connsiteY18458"/>
              </a:cxn>
              <a:cxn ang="0">
                <a:pos x="connsiteX18459" y="connsiteY18459"/>
              </a:cxn>
              <a:cxn ang="0">
                <a:pos x="connsiteX18460" y="connsiteY18460"/>
              </a:cxn>
              <a:cxn ang="0">
                <a:pos x="connsiteX18461" y="connsiteY18461"/>
              </a:cxn>
              <a:cxn ang="0">
                <a:pos x="connsiteX18462" y="connsiteY18462"/>
              </a:cxn>
              <a:cxn ang="0">
                <a:pos x="connsiteX18463" y="connsiteY18463"/>
              </a:cxn>
              <a:cxn ang="0">
                <a:pos x="connsiteX18464" y="connsiteY18464"/>
              </a:cxn>
              <a:cxn ang="0">
                <a:pos x="connsiteX18465" y="connsiteY18465"/>
              </a:cxn>
              <a:cxn ang="0">
                <a:pos x="connsiteX18466" y="connsiteY18466"/>
              </a:cxn>
              <a:cxn ang="0">
                <a:pos x="connsiteX18467" y="connsiteY18467"/>
              </a:cxn>
              <a:cxn ang="0">
                <a:pos x="connsiteX18468" y="connsiteY18468"/>
              </a:cxn>
              <a:cxn ang="0">
                <a:pos x="connsiteX18469" y="connsiteY18469"/>
              </a:cxn>
              <a:cxn ang="0">
                <a:pos x="connsiteX18470" y="connsiteY18470"/>
              </a:cxn>
              <a:cxn ang="0">
                <a:pos x="connsiteX18471" y="connsiteY18471"/>
              </a:cxn>
              <a:cxn ang="0">
                <a:pos x="connsiteX18472" y="connsiteY18472"/>
              </a:cxn>
              <a:cxn ang="0">
                <a:pos x="connsiteX18473" y="connsiteY18473"/>
              </a:cxn>
              <a:cxn ang="0">
                <a:pos x="connsiteX18474" y="connsiteY18474"/>
              </a:cxn>
              <a:cxn ang="0">
                <a:pos x="connsiteX18475" y="connsiteY18475"/>
              </a:cxn>
              <a:cxn ang="0">
                <a:pos x="connsiteX18476" y="connsiteY18476"/>
              </a:cxn>
              <a:cxn ang="0">
                <a:pos x="connsiteX18477" y="connsiteY18477"/>
              </a:cxn>
              <a:cxn ang="0">
                <a:pos x="connsiteX18478" y="connsiteY18478"/>
              </a:cxn>
              <a:cxn ang="0">
                <a:pos x="connsiteX18479" y="connsiteY18479"/>
              </a:cxn>
              <a:cxn ang="0">
                <a:pos x="connsiteX18480" y="connsiteY18480"/>
              </a:cxn>
              <a:cxn ang="0">
                <a:pos x="connsiteX18481" y="connsiteY18481"/>
              </a:cxn>
              <a:cxn ang="0">
                <a:pos x="connsiteX18482" y="connsiteY18482"/>
              </a:cxn>
              <a:cxn ang="0">
                <a:pos x="connsiteX18483" y="connsiteY18483"/>
              </a:cxn>
              <a:cxn ang="0">
                <a:pos x="connsiteX18484" y="connsiteY18484"/>
              </a:cxn>
              <a:cxn ang="0">
                <a:pos x="connsiteX18485" y="connsiteY18485"/>
              </a:cxn>
              <a:cxn ang="0">
                <a:pos x="connsiteX18486" y="connsiteY18486"/>
              </a:cxn>
              <a:cxn ang="0">
                <a:pos x="connsiteX18487" y="connsiteY18487"/>
              </a:cxn>
              <a:cxn ang="0">
                <a:pos x="connsiteX18488" y="connsiteY18488"/>
              </a:cxn>
              <a:cxn ang="0">
                <a:pos x="connsiteX18489" y="connsiteY18489"/>
              </a:cxn>
              <a:cxn ang="0">
                <a:pos x="connsiteX18490" y="connsiteY18490"/>
              </a:cxn>
              <a:cxn ang="0">
                <a:pos x="connsiteX18491" y="connsiteY18491"/>
              </a:cxn>
              <a:cxn ang="0">
                <a:pos x="connsiteX18492" y="connsiteY18492"/>
              </a:cxn>
              <a:cxn ang="0">
                <a:pos x="connsiteX18493" y="connsiteY18493"/>
              </a:cxn>
              <a:cxn ang="0">
                <a:pos x="connsiteX18494" y="connsiteY18494"/>
              </a:cxn>
              <a:cxn ang="0">
                <a:pos x="connsiteX18495" y="connsiteY18495"/>
              </a:cxn>
              <a:cxn ang="0">
                <a:pos x="connsiteX18496" y="connsiteY18496"/>
              </a:cxn>
              <a:cxn ang="0">
                <a:pos x="connsiteX18497" y="connsiteY18497"/>
              </a:cxn>
              <a:cxn ang="0">
                <a:pos x="connsiteX18498" y="connsiteY18498"/>
              </a:cxn>
              <a:cxn ang="0">
                <a:pos x="connsiteX18499" y="connsiteY18499"/>
              </a:cxn>
              <a:cxn ang="0">
                <a:pos x="connsiteX18500" y="connsiteY18500"/>
              </a:cxn>
              <a:cxn ang="0">
                <a:pos x="connsiteX18501" y="connsiteY18501"/>
              </a:cxn>
              <a:cxn ang="0">
                <a:pos x="connsiteX18502" y="connsiteY18502"/>
              </a:cxn>
              <a:cxn ang="0">
                <a:pos x="connsiteX18503" y="connsiteY18503"/>
              </a:cxn>
              <a:cxn ang="0">
                <a:pos x="connsiteX18504" y="connsiteY18504"/>
              </a:cxn>
              <a:cxn ang="0">
                <a:pos x="connsiteX18505" y="connsiteY18505"/>
              </a:cxn>
              <a:cxn ang="0">
                <a:pos x="connsiteX18506" y="connsiteY18506"/>
              </a:cxn>
              <a:cxn ang="0">
                <a:pos x="connsiteX18507" y="connsiteY18507"/>
              </a:cxn>
              <a:cxn ang="0">
                <a:pos x="connsiteX18508" y="connsiteY18508"/>
              </a:cxn>
              <a:cxn ang="0">
                <a:pos x="connsiteX18509" y="connsiteY18509"/>
              </a:cxn>
              <a:cxn ang="0">
                <a:pos x="connsiteX18510" y="connsiteY18510"/>
              </a:cxn>
              <a:cxn ang="0">
                <a:pos x="connsiteX18511" y="connsiteY18511"/>
              </a:cxn>
              <a:cxn ang="0">
                <a:pos x="connsiteX18512" y="connsiteY18512"/>
              </a:cxn>
              <a:cxn ang="0">
                <a:pos x="connsiteX18513" y="connsiteY18513"/>
              </a:cxn>
              <a:cxn ang="0">
                <a:pos x="connsiteX18514" y="connsiteY18514"/>
              </a:cxn>
              <a:cxn ang="0">
                <a:pos x="connsiteX18515" y="connsiteY18515"/>
              </a:cxn>
              <a:cxn ang="0">
                <a:pos x="connsiteX18516" y="connsiteY18516"/>
              </a:cxn>
              <a:cxn ang="0">
                <a:pos x="connsiteX18517" y="connsiteY18517"/>
              </a:cxn>
              <a:cxn ang="0">
                <a:pos x="connsiteX18518" y="connsiteY18518"/>
              </a:cxn>
              <a:cxn ang="0">
                <a:pos x="connsiteX18519" y="connsiteY18519"/>
              </a:cxn>
              <a:cxn ang="0">
                <a:pos x="connsiteX18520" y="connsiteY18520"/>
              </a:cxn>
              <a:cxn ang="0">
                <a:pos x="connsiteX18521" y="connsiteY18521"/>
              </a:cxn>
              <a:cxn ang="0">
                <a:pos x="connsiteX18522" y="connsiteY18522"/>
              </a:cxn>
              <a:cxn ang="0">
                <a:pos x="connsiteX18523" y="connsiteY18523"/>
              </a:cxn>
              <a:cxn ang="0">
                <a:pos x="connsiteX18524" y="connsiteY18524"/>
              </a:cxn>
              <a:cxn ang="0">
                <a:pos x="connsiteX18525" y="connsiteY18525"/>
              </a:cxn>
              <a:cxn ang="0">
                <a:pos x="connsiteX18526" y="connsiteY18526"/>
              </a:cxn>
              <a:cxn ang="0">
                <a:pos x="connsiteX18527" y="connsiteY18527"/>
              </a:cxn>
              <a:cxn ang="0">
                <a:pos x="connsiteX18528" y="connsiteY18528"/>
              </a:cxn>
              <a:cxn ang="0">
                <a:pos x="connsiteX18529" y="connsiteY18529"/>
              </a:cxn>
              <a:cxn ang="0">
                <a:pos x="connsiteX18530" y="connsiteY18530"/>
              </a:cxn>
              <a:cxn ang="0">
                <a:pos x="connsiteX18531" y="connsiteY18531"/>
              </a:cxn>
              <a:cxn ang="0">
                <a:pos x="connsiteX18532" y="connsiteY18532"/>
              </a:cxn>
              <a:cxn ang="0">
                <a:pos x="connsiteX18533" y="connsiteY18533"/>
              </a:cxn>
              <a:cxn ang="0">
                <a:pos x="connsiteX18534" y="connsiteY18534"/>
              </a:cxn>
              <a:cxn ang="0">
                <a:pos x="connsiteX18535" y="connsiteY18535"/>
              </a:cxn>
              <a:cxn ang="0">
                <a:pos x="connsiteX18536" y="connsiteY18536"/>
              </a:cxn>
              <a:cxn ang="0">
                <a:pos x="connsiteX18537" y="connsiteY18537"/>
              </a:cxn>
              <a:cxn ang="0">
                <a:pos x="connsiteX18538" y="connsiteY18538"/>
              </a:cxn>
              <a:cxn ang="0">
                <a:pos x="connsiteX18539" y="connsiteY18539"/>
              </a:cxn>
              <a:cxn ang="0">
                <a:pos x="connsiteX18540" y="connsiteY18540"/>
              </a:cxn>
              <a:cxn ang="0">
                <a:pos x="connsiteX18541" y="connsiteY18541"/>
              </a:cxn>
              <a:cxn ang="0">
                <a:pos x="connsiteX18542" y="connsiteY18542"/>
              </a:cxn>
              <a:cxn ang="0">
                <a:pos x="connsiteX18543" y="connsiteY18543"/>
              </a:cxn>
              <a:cxn ang="0">
                <a:pos x="connsiteX18544" y="connsiteY18544"/>
              </a:cxn>
              <a:cxn ang="0">
                <a:pos x="connsiteX18545" y="connsiteY18545"/>
              </a:cxn>
              <a:cxn ang="0">
                <a:pos x="connsiteX18546" y="connsiteY18546"/>
              </a:cxn>
              <a:cxn ang="0">
                <a:pos x="connsiteX18547" y="connsiteY18547"/>
              </a:cxn>
              <a:cxn ang="0">
                <a:pos x="connsiteX18548" y="connsiteY18548"/>
              </a:cxn>
              <a:cxn ang="0">
                <a:pos x="connsiteX18549" y="connsiteY18549"/>
              </a:cxn>
              <a:cxn ang="0">
                <a:pos x="connsiteX18550" y="connsiteY18550"/>
              </a:cxn>
              <a:cxn ang="0">
                <a:pos x="connsiteX18551" y="connsiteY18551"/>
              </a:cxn>
              <a:cxn ang="0">
                <a:pos x="connsiteX18552" y="connsiteY18552"/>
              </a:cxn>
              <a:cxn ang="0">
                <a:pos x="connsiteX18553" y="connsiteY18553"/>
              </a:cxn>
              <a:cxn ang="0">
                <a:pos x="connsiteX18554" y="connsiteY18554"/>
              </a:cxn>
              <a:cxn ang="0">
                <a:pos x="connsiteX18555" y="connsiteY18555"/>
              </a:cxn>
              <a:cxn ang="0">
                <a:pos x="connsiteX18556" y="connsiteY18556"/>
              </a:cxn>
              <a:cxn ang="0">
                <a:pos x="connsiteX18557" y="connsiteY18557"/>
              </a:cxn>
              <a:cxn ang="0">
                <a:pos x="connsiteX18558" y="connsiteY18558"/>
              </a:cxn>
              <a:cxn ang="0">
                <a:pos x="connsiteX18559" y="connsiteY18559"/>
              </a:cxn>
              <a:cxn ang="0">
                <a:pos x="connsiteX18560" y="connsiteY18560"/>
              </a:cxn>
              <a:cxn ang="0">
                <a:pos x="connsiteX18561" y="connsiteY18561"/>
              </a:cxn>
              <a:cxn ang="0">
                <a:pos x="connsiteX18562" y="connsiteY18562"/>
              </a:cxn>
              <a:cxn ang="0">
                <a:pos x="connsiteX18563" y="connsiteY18563"/>
              </a:cxn>
              <a:cxn ang="0">
                <a:pos x="connsiteX18564" y="connsiteY18564"/>
              </a:cxn>
              <a:cxn ang="0">
                <a:pos x="connsiteX18565" y="connsiteY18565"/>
              </a:cxn>
              <a:cxn ang="0">
                <a:pos x="connsiteX18566" y="connsiteY18566"/>
              </a:cxn>
              <a:cxn ang="0">
                <a:pos x="connsiteX18567" y="connsiteY18567"/>
              </a:cxn>
              <a:cxn ang="0">
                <a:pos x="connsiteX18568" y="connsiteY18568"/>
              </a:cxn>
              <a:cxn ang="0">
                <a:pos x="connsiteX18569" y="connsiteY18569"/>
              </a:cxn>
              <a:cxn ang="0">
                <a:pos x="connsiteX18570" y="connsiteY18570"/>
              </a:cxn>
              <a:cxn ang="0">
                <a:pos x="connsiteX18571" y="connsiteY18571"/>
              </a:cxn>
              <a:cxn ang="0">
                <a:pos x="connsiteX18572" y="connsiteY18572"/>
              </a:cxn>
              <a:cxn ang="0">
                <a:pos x="connsiteX18573" y="connsiteY18573"/>
              </a:cxn>
              <a:cxn ang="0">
                <a:pos x="connsiteX18574" y="connsiteY18574"/>
              </a:cxn>
              <a:cxn ang="0">
                <a:pos x="connsiteX18575" y="connsiteY18575"/>
              </a:cxn>
              <a:cxn ang="0">
                <a:pos x="connsiteX18576" y="connsiteY18576"/>
              </a:cxn>
              <a:cxn ang="0">
                <a:pos x="connsiteX18577" y="connsiteY18577"/>
              </a:cxn>
              <a:cxn ang="0">
                <a:pos x="connsiteX18578" y="connsiteY18578"/>
              </a:cxn>
              <a:cxn ang="0">
                <a:pos x="connsiteX18579" y="connsiteY18579"/>
              </a:cxn>
              <a:cxn ang="0">
                <a:pos x="connsiteX18580" y="connsiteY18580"/>
              </a:cxn>
              <a:cxn ang="0">
                <a:pos x="connsiteX18581" y="connsiteY18581"/>
              </a:cxn>
              <a:cxn ang="0">
                <a:pos x="connsiteX18582" y="connsiteY18582"/>
              </a:cxn>
              <a:cxn ang="0">
                <a:pos x="connsiteX18583" y="connsiteY18583"/>
              </a:cxn>
              <a:cxn ang="0">
                <a:pos x="connsiteX18584" y="connsiteY18584"/>
              </a:cxn>
              <a:cxn ang="0">
                <a:pos x="connsiteX18585" y="connsiteY18585"/>
              </a:cxn>
              <a:cxn ang="0">
                <a:pos x="connsiteX18586" y="connsiteY18586"/>
              </a:cxn>
              <a:cxn ang="0">
                <a:pos x="connsiteX18587" y="connsiteY18587"/>
              </a:cxn>
              <a:cxn ang="0">
                <a:pos x="connsiteX18588" y="connsiteY18588"/>
              </a:cxn>
              <a:cxn ang="0">
                <a:pos x="connsiteX18589" y="connsiteY18589"/>
              </a:cxn>
              <a:cxn ang="0">
                <a:pos x="connsiteX18590" y="connsiteY18590"/>
              </a:cxn>
              <a:cxn ang="0">
                <a:pos x="connsiteX18591" y="connsiteY18591"/>
              </a:cxn>
              <a:cxn ang="0">
                <a:pos x="connsiteX18592" y="connsiteY18592"/>
              </a:cxn>
              <a:cxn ang="0">
                <a:pos x="connsiteX18593" y="connsiteY18593"/>
              </a:cxn>
              <a:cxn ang="0">
                <a:pos x="connsiteX18594" y="connsiteY18594"/>
              </a:cxn>
              <a:cxn ang="0">
                <a:pos x="connsiteX18595" y="connsiteY18595"/>
              </a:cxn>
              <a:cxn ang="0">
                <a:pos x="connsiteX18596" y="connsiteY18596"/>
              </a:cxn>
              <a:cxn ang="0">
                <a:pos x="connsiteX18597" y="connsiteY18597"/>
              </a:cxn>
              <a:cxn ang="0">
                <a:pos x="connsiteX18598" y="connsiteY18598"/>
              </a:cxn>
              <a:cxn ang="0">
                <a:pos x="connsiteX18599" y="connsiteY18599"/>
              </a:cxn>
              <a:cxn ang="0">
                <a:pos x="connsiteX18600" y="connsiteY18600"/>
              </a:cxn>
              <a:cxn ang="0">
                <a:pos x="connsiteX18601" y="connsiteY18601"/>
              </a:cxn>
              <a:cxn ang="0">
                <a:pos x="connsiteX18602" y="connsiteY18602"/>
              </a:cxn>
              <a:cxn ang="0">
                <a:pos x="connsiteX18603" y="connsiteY18603"/>
              </a:cxn>
              <a:cxn ang="0">
                <a:pos x="connsiteX18604" y="connsiteY18604"/>
              </a:cxn>
              <a:cxn ang="0">
                <a:pos x="connsiteX18605" y="connsiteY18605"/>
              </a:cxn>
              <a:cxn ang="0">
                <a:pos x="connsiteX18606" y="connsiteY18606"/>
              </a:cxn>
              <a:cxn ang="0">
                <a:pos x="connsiteX18607" y="connsiteY18607"/>
              </a:cxn>
              <a:cxn ang="0">
                <a:pos x="connsiteX18608" y="connsiteY18608"/>
              </a:cxn>
              <a:cxn ang="0">
                <a:pos x="connsiteX18609" y="connsiteY18609"/>
              </a:cxn>
              <a:cxn ang="0">
                <a:pos x="connsiteX18610" y="connsiteY18610"/>
              </a:cxn>
              <a:cxn ang="0">
                <a:pos x="connsiteX18611" y="connsiteY18611"/>
              </a:cxn>
              <a:cxn ang="0">
                <a:pos x="connsiteX18612" y="connsiteY18612"/>
              </a:cxn>
              <a:cxn ang="0">
                <a:pos x="connsiteX18613" y="connsiteY18613"/>
              </a:cxn>
              <a:cxn ang="0">
                <a:pos x="connsiteX18614" y="connsiteY18614"/>
              </a:cxn>
              <a:cxn ang="0">
                <a:pos x="connsiteX18615" y="connsiteY18615"/>
              </a:cxn>
              <a:cxn ang="0">
                <a:pos x="connsiteX18616" y="connsiteY18616"/>
              </a:cxn>
              <a:cxn ang="0">
                <a:pos x="connsiteX18617" y="connsiteY18617"/>
              </a:cxn>
              <a:cxn ang="0">
                <a:pos x="connsiteX18618" y="connsiteY18618"/>
              </a:cxn>
              <a:cxn ang="0">
                <a:pos x="connsiteX18619" y="connsiteY18619"/>
              </a:cxn>
              <a:cxn ang="0">
                <a:pos x="connsiteX18620" y="connsiteY18620"/>
              </a:cxn>
              <a:cxn ang="0">
                <a:pos x="connsiteX18621" y="connsiteY18621"/>
              </a:cxn>
              <a:cxn ang="0">
                <a:pos x="connsiteX18622" y="connsiteY18622"/>
              </a:cxn>
              <a:cxn ang="0">
                <a:pos x="connsiteX18623" y="connsiteY18623"/>
              </a:cxn>
              <a:cxn ang="0">
                <a:pos x="connsiteX18624" y="connsiteY18624"/>
              </a:cxn>
              <a:cxn ang="0">
                <a:pos x="connsiteX18625" y="connsiteY18625"/>
              </a:cxn>
              <a:cxn ang="0">
                <a:pos x="connsiteX18626" y="connsiteY18626"/>
              </a:cxn>
              <a:cxn ang="0">
                <a:pos x="connsiteX18627" y="connsiteY18627"/>
              </a:cxn>
              <a:cxn ang="0">
                <a:pos x="connsiteX18628" y="connsiteY18628"/>
              </a:cxn>
              <a:cxn ang="0">
                <a:pos x="connsiteX18629" y="connsiteY18629"/>
              </a:cxn>
              <a:cxn ang="0">
                <a:pos x="connsiteX18630" y="connsiteY18630"/>
              </a:cxn>
              <a:cxn ang="0">
                <a:pos x="connsiteX18631" y="connsiteY18631"/>
              </a:cxn>
              <a:cxn ang="0">
                <a:pos x="connsiteX18632" y="connsiteY18632"/>
              </a:cxn>
              <a:cxn ang="0">
                <a:pos x="connsiteX18633" y="connsiteY18633"/>
              </a:cxn>
              <a:cxn ang="0">
                <a:pos x="connsiteX18634" y="connsiteY18634"/>
              </a:cxn>
              <a:cxn ang="0">
                <a:pos x="connsiteX18635" y="connsiteY18635"/>
              </a:cxn>
              <a:cxn ang="0">
                <a:pos x="connsiteX18636" y="connsiteY18636"/>
              </a:cxn>
              <a:cxn ang="0">
                <a:pos x="connsiteX18637" y="connsiteY18637"/>
              </a:cxn>
              <a:cxn ang="0">
                <a:pos x="connsiteX18638" y="connsiteY18638"/>
              </a:cxn>
              <a:cxn ang="0">
                <a:pos x="connsiteX18639" y="connsiteY18639"/>
              </a:cxn>
              <a:cxn ang="0">
                <a:pos x="connsiteX18640" y="connsiteY18640"/>
              </a:cxn>
              <a:cxn ang="0">
                <a:pos x="connsiteX18641" y="connsiteY18641"/>
              </a:cxn>
              <a:cxn ang="0">
                <a:pos x="connsiteX18642" y="connsiteY18642"/>
              </a:cxn>
              <a:cxn ang="0">
                <a:pos x="connsiteX18643" y="connsiteY18643"/>
              </a:cxn>
              <a:cxn ang="0">
                <a:pos x="connsiteX18644" y="connsiteY18644"/>
              </a:cxn>
              <a:cxn ang="0">
                <a:pos x="connsiteX18645" y="connsiteY18645"/>
              </a:cxn>
              <a:cxn ang="0">
                <a:pos x="connsiteX18646" y="connsiteY18646"/>
              </a:cxn>
              <a:cxn ang="0">
                <a:pos x="connsiteX18647" y="connsiteY18647"/>
              </a:cxn>
              <a:cxn ang="0">
                <a:pos x="connsiteX18648" y="connsiteY18648"/>
              </a:cxn>
              <a:cxn ang="0">
                <a:pos x="connsiteX18649" y="connsiteY18649"/>
              </a:cxn>
              <a:cxn ang="0">
                <a:pos x="connsiteX18650" y="connsiteY18650"/>
              </a:cxn>
              <a:cxn ang="0">
                <a:pos x="connsiteX18651" y="connsiteY18651"/>
              </a:cxn>
              <a:cxn ang="0">
                <a:pos x="connsiteX18652" y="connsiteY18652"/>
              </a:cxn>
              <a:cxn ang="0">
                <a:pos x="connsiteX18653" y="connsiteY18653"/>
              </a:cxn>
              <a:cxn ang="0">
                <a:pos x="connsiteX18654" y="connsiteY18654"/>
              </a:cxn>
              <a:cxn ang="0">
                <a:pos x="connsiteX18655" y="connsiteY18655"/>
              </a:cxn>
              <a:cxn ang="0">
                <a:pos x="connsiteX18656" y="connsiteY18656"/>
              </a:cxn>
              <a:cxn ang="0">
                <a:pos x="connsiteX18657" y="connsiteY18657"/>
              </a:cxn>
              <a:cxn ang="0">
                <a:pos x="connsiteX18658" y="connsiteY18658"/>
              </a:cxn>
              <a:cxn ang="0">
                <a:pos x="connsiteX18659" y="connsiteY18659"/>
              </a:cxn>
              <a:cxn ang="0">
                <a:pos x="connsiteX18660" y="connsiteY18660"/>
              </a:cxn>
              <a:cxn ang="0">
                <a:pos x="connsiteX18661" y="connsiteY18661"/>
              </a:cxn>
              <a:cxn ang="0">
                <a:pos x="connsiteX18662" y="connsiteY18662"/>
              </a:cxn>
              <a:cxn ang="0">
                <a:pos x="connsiteX18663" y="connsiteY18663"/>
              </a:cxn>
              <a:cxn ang="0">
                <a:pos x="connsiteX18664" y="connsiteY18664"/>
              </a:cxn>
              <a:cxn ang="0">
                <a:pos x="connsiteX18665" y="connsiteY18665"/>
              </a:cxn>
              <a:cxn ang="0">
                <a:pos x="connsiteX18666" y="connsiteY18666"/>
              </a:cxn>
              <a:cxn ang="0">
                <a:pos x="connsiteX18667" y="connsiteY18667"/>
              </a:cxn>
              <a:cxn ang="0">
                <a:pos x="connsiteX18668" y="connsiteY18668"/>
              </a:cxn>
              <a:cxn ang="0">
                <a:pos x="connsiteX18669" y="connsiteY18669"/>
              </a:cxn>
              <a:cxn ang="0">
                <a:pos x="connsiteX18670" y="connsiteY18670"/>
              </a:cxn>
              <a:cxn ang="0">
                <a:pos x="connsiteX18671" y="connsiteY18671"/>
              </a:cxn>
              <a:cxn ang="0">
                <a:pos x="connsiteX18672" y="connsiteY18672"/>
              </a:cxn>
              <a:cxn ang="0">
                <a:pos x="connsiteX18673" y="connsiteY18673"/>
              </a:cxn>
              <a:cxn ang="0">
                <a:pos x="connsiteX18674" y="connsiteY18674"/>
              </a:cxn>
              <a:cxn ang="0">
                <a:pos x="connsiteX18675" y="connsiteY18675"/>
              </a:cxn>
              <a:cxn ang="0">
                <a:pos x="connsiteX18676" y="connsiteY18676"/>
              </a:cxn>
              <a:cxn ang="0">
                <a:pos x="connsiteX18677" y="connsiteY18677"/>
              </a:cxn>
              <a:cxn ang="0">
                <a:pos x="connsiteX18678" y="connsiteY18678"/>
              </a:cxn>
              <a:cxn ang="0">
                <a:pos x="connsiteX18679" y="connsiteY18679"/>
              </a:cxn>
              <a:cxn ang="0">
                <a:pos x="connsiteX18680" y="connsiteY18680"/>
              </a:cxn>
              <a:cxn ang="0">
                <a:pos x="connsiteX18681" y="connsiteY18681"/>
              </a:cxn>
              <a:cxn ang="0">
                <a:pos x="connsiteX18682" y="connsiteY18682"/>
              </a:cxn>
              <a:cxn ang="0">
                <a:pos x="connsiteX18683" y="connsiteY18683"/>
              </a:cxn>
              <a:cxn ang="0">
                <a:pos x="connsiteX18684" y="connsiteY18684"/>
              </a:cxn>
              <a:cxn ang="0">
                <a:pos x="connsiteX18685" y="connsiteY18685"/>
              </a:cxn>
              <a:cxn ang="0">
                <a:pos x="connsiteX18686" y="connsiteY18686"/>
              </a:cxn>
              <a:cxn ang="0">
                <a:pos x="connsiteX18687" y="connsiteY18687"/>
              </a:cxn>
              <a:cxn ang="0">
                <a:pos x="connsiteX18688" y="connsiteY18688"/>
              </a:cxn>
              <a:cxn ang="0">
                <a:pos x="connsiteX18689" y="connsiteY18689"/>
              </a:cxn>
              <a:cxn ang="0">
                <a:pos x="connsiteX18690" y="connsiteY18690"/>
              </a:cxn>
              <a:cxn ang="0">
                <a:pos x="connsiteX18691" y="connsiteY18691"/>
              </a:cxn>
              <a:cxn ang="0">
                <a:pos x="connsiteX18692" y="connsiteY18692"/>
              </a:cxn>
              <a:cxn ang="0">
                <a:pos x="connsiteX18693" y="connsiteY18693"/>
              </a:cxn>
              <a:cxn ang="0">
                <a:pos x="connsiteX18694" y="connsiteY18694"/>
              </a:cxn>
              <a:cxn ang="0">
                <a:pos x="connsiteX18695" y="connsiteY18695"/>
              </a:cxn>
              <a:cxn ang="0">
                <a:pos x="connsiteX18696" y="connsiteY18696"/>
              </a:cxn>
              <a:cxn ang="0">
                <a:pos x="connsiteX18697" y="connsiteY18697"/>
              </a:cxn>
              <a:cxn ang="0">
                <a:pos x="connsiteX18698" y="connsiteY18698"/>
              </a:cxn>
              <a:cxn ang="0">
                <a:pos x="connsiteX18699" y="connsiteY18699"/>
              </a:cxn>
              <a:cxn ang="0">
                <a:pos x="connsiteX18700" y="connsiteY18700"/>
              </a:cxn>
              <a:cxn ang="0">
                <a:pos x="connsiteX18701" y="connsiteY18701"/>
              </a:cxn>
              <a:cxn ang="0">
                <a:pos x="connsiteX18702" y="connsiteY18702"/>
              </a:cxn>
              <a:cxn ang="0">
                <a:pos x="connsiteX18703" y="connsiteY18703"/>
              </a:cxn>
              <a:cxn ang="0">
                <a:pos x="connsiteX18704" y="connsiteY18704"/>
              </a:cxn>
              <a:cxn ang="0">
                <a:pos x="connsiteX18705" y="connsiteY18705"/>
              </a:cxn>
              <a:cxn ang="0">
                <a:pos x="connsiteX18706" y="connsiteY18706"/>
              </a:cxn>
              <a:cxn ang="0">
                <a:pos x="connsiteX18707" y="connsiteY18707"/>
              </a:cxn>
              <a:cxn ang="0">
                <a:pos x="connsiteX18708" y="connsiteY18708"/>
              </a:cxn>
              <a:cxn ang="0">
                <a:pos x="connsiteX18709" y="connsiteY18709"/>
              </a:cxn>
              <a:cxn ang="0">
                <a:pos x="connsiteX18710" y="connsiteY18710"/>
              </a:cxn>
              <a:cxn ang="0">
                <a:pos x="connsiteX18711" y="connsiteY18711"/>
              </a:cxn>
              <a:cxn ang="0">
                <a:pos x="connsiteX18712" y="connsiteY18712"/>
              </a:cxn>
              <a:cxn ang="0">
                <a:pos x="connsiteX18713" y="connsiteY18713"/>
              </a:cxn>
              <a:cxn ang="0">
                <a:pos x="connsiteX18714" y="connsiteY18714"/>
              </a:cxn>
              <a:cxn ang="0">
                <a:pos x="connsiteX18715" y="connsiteY18715"/>
              </a:cxn>
              <a:cxn ang="0">
                <a:pos x="connsiteX18716" y="connsiteY18716"/>
              </a:cxn>
              <a:cxn ang="0">
                <a:pos x="connsiteX18717" y="connsiteY18717"/>
              </a:cxn>
              <a:cxn ang="0">
                <a:pos x="connsiteX18718" y="connsiteY18718"/>
              </a:cxn>
              <a:cxn ang="0">
                <a:pos x="connsiteX18719" y="connsiteY18719"/>
              </a:cxn>
              <a:cxn ang="0">
                <a:pos x="connsiteX18720" y="connsiteY18720"/>
              </a:cxn>
              <a:cxn ang="0">
                <a:pos x="connsiteX18721" y="connsiteY18721"/>
              </a:cxn>
              <a:cxn ang="0">
                <a:pos x="connsiteX18722" y="connsiteY18722"/>
              </a:cxn>
              <a:cxn ang="0">
                <a:pos x="connsiteX18723" y="connsiteY18723"/>
              </a:cxn>
              <a:cxn ang="0">
                <a:pos x="connsiteX18724" y="connsiteY18724"/>
              </a:cxn>
              <a:cxn ang="0">
                <a:pos x="connsiteX18725" y="connsiteY18725"/>
              </a:cxn>
              <a:cxn ang="0">
                <a:pos x="connsiteX18726" y="connsiteY18726"/>
              </a:cxn>
              <a:cxn ang="0">
                <a:pos x="connsiteX18727" y="connsiteY18727"/>
              </a:cxn>
              <a:cxn ang="0">
                <a:pos x="connsiteX18728" y="connsiteY18728"/>
              </a:cxn>
              <a:cxn ang="0">
                <a:pos x="connsiteX18729" y="connsiteY18729"/>
              </a:cxn>
              <a:cxn ang="0">
                <a:pos x="connsiteX18730" y="connsiteY18730"/>
              </a:cxn>
              <a:cxn ang="0">
                <a:pos x="connsiteX18731" y="connsiteY18731"/>
              </a:cxn>
              <a:cxn ang="0">
                <a:pos x="connsiteX18732" y="connsiteY18732"/>
              </a:cxn>
              <a:cxn ang="0">
                <a:pos x="connsiteX18733" y="connsiteY18733"/>
              </a:cxn>
              <a:cxn ang="0">
                <a:pos x="connsiteX18734" y="connsiteY18734"/>
              </a:cxn>
              <a:cxn ang="0">
                <a:pos x="connsiteX18735" y="connsiteY18735"/>
              </a:cxn>
              <a:cxn ang="0">
                <a:pos x="connsiteX18736" y="connsiteY18736"/>
              </a:cxn>
              <a:cxn ang="0">
                <a:pos x="connsiteX18737" y="connsiteY18737"/>
              </a:cxn>
              <a:cxn ang="0">
                <a:pos x="connsiteX18738" y="connsiteY18738"/>
              </a:cxn>
              <a:cxn ang="0">
                <a:pos x="connsiteX18739" y="connsiteY18739"/>
              </a:cxn>
              <a:cxn ang="0">
                <a:pos x="connsiteX18740" y="connsiteY18740"/>
              </a:cxn>
              <a:cxn ang="0">
                <a:pos x="connsiteX18741" y="connsiteY18741"/>
              </a:cxn>
              <a:cxn ang="0">
                <a:pos x="connsiteX18742" y="connsiteY18742"/>
              </a:cxn>
              <a:cxn ang="0">
                <a:pos x="connsiteX18743" y="connsiteY18743"/>
              </a:cxn>
              <a:cxn ang="0">
                <a:pos x="connsiteX18744" y="connsiteY18744"/>
              </a:cxn>
              <a:cxn ang="0">
                <a:pos x="connsiteX18745" y="connsiteY18745"/>
              </a:cxn>
              <a:cxn ang="0">
                <a:pos x="connsiteX18746" y="connsiteY18746"/>
              </a:cxn>
              <a:cxn ang="0">
                <a:pos x="connsiteX18747" y="connsiteY18747"/>
              </a:cxn>
              <a:cxn ang="0">
                <a:pos x="connsiteX18748" y="connsiteY18748"/>
              </a:cxn>
              <a:cxn ang="0">
                <a:pos x="connsiteX18749" y="connsiteY18749"/>
              </a:cxn>
              <a:cxn ang="0">
                <a:pos x="connsiteX18750" y="connsiteY18750"/>
              </a:cxn>
              <a:cxn ang="0">
                <a:pos x="connsiteX18751" y="connsiteY18751"/>
              </a:cxn>
              <a:cxn ang="0">
                <a:pos x="connsiteX18752" y="connsiteY18752"/>
              </a:cxn>
              <a:cxn ang="0">
                <a:pos x="connsiteX18753" y="connsiteY18753"/>
              </a:cxn>
              <a:cxn ang="0">
                <a:pos x="connsiteX18754" y="connsiteY18754"/>
              </a:cxn>
              <a:cxn ang="0">
                <a:pos x="connsiteX18755" y="connsiteY18755"/>
              </a:cxn>
              <a:cxn ang="0">
                <a:pos x="connsiteX18756" y="connsiteY18756"/>
              </a:cxn>
              <a:cxn ang="0">
                <a:pos x="connsiteX18757" y="connsiteY18757"/>
              </a:cxn>
              <a:cxn ang="0">
                <a:pos x="connsiteX18758" y="connsiteY18758"/>
              </a:cxn>
              <a:cxn ang="0">
                <a:pos x="connsiteX18759" y="connsiteY18759"/>
              </a:cxn>
              <a:cxn ang="0">
                <a:pos x="connsiteX18760" y="connsiteY18760"/>
              </a:cxn>
              <a:cxn ang="0">
                <a:pos x="connsiteX18761" y="connsiteY18761"/>
              </a:cxn>
              <a:cxn ang="0">
                <a:pos x="connsiteX18762" y="connsiteY18762"/>
              </a:cxn>
              <a:cxn ang="0">
                <a:pos x="connsiteX18763" y="connsiteY18763"/>
              </a:cxn>
              <a:cxn ang="0">
                <a:pos x="connsiteX18764" y="connsiteY18764"/>
              </a:cxn>
              <a:cxn ang="0">
                <a:pos x="connsiteX18765" y="connsiteY18765"/>
              </a:cxn>
              <a:cxn ang="0">
                <a:pos x="connsiteX18766" y="connsiteY18766"/>
              </a:cxn>
              <a:cxn ang="0">
                <a:pos x="connsiteX18767" y="connsiteY18767"/>
              </a:cxn>
              <a:cxn ang="0">
                <a:pos x="connsiteX18768" y="connsiteY18768"/>
              </a:cxn>
              <a:cxn ang="0">
                <a:pos x="connsiteX18769" y="connsiteY18769"/>
              </a:cxn>
              <a:cxn ang="0">
                <a:pos x="connsiteX18770" y="connsiteY18770"/>
              </a:cxn>
              <a:cxn ang="0">
                <a:pos x="connsiteX18771" y="connsiteY18771"/>
              </a:cxn>
              <a:cxn ang="0">
                <a:pos x="connsiteX18772" y="connsiteY18772"/>
              </a:cxn>
              <a:cxn ang="0">
                <a:pos x="connsiteX18773" y="connsiteY18773"/>
              </a:cxn>
              <a:cxn ang="0">
                <a:pos x="connsiteX18774" y="connsiteY18774"/>
              </a:cxn>
              <a:cxn ang="0">
                <a:pos x="connsiteX18775" y="connsiteY18775"/>
              </a:cxn>
              <a:cxn ang="0">
                <a:pos x="connsiteX18776" y="connsiteY18776"/>
              </a:cxn>
              <a:cxn ang="0">
                <a:pos x="connsiteX18777" y="connsiteY18777"/>
              </a:cxn>
              <a:cxn ang="0">
                <a:pos x="connsiteX18778" y="connsiteY18778"/>
              </a:cxn>
              <a:cxn ang="0">
                <a:pos x="connsiteX18779" y="connsiteY18779"/>
              </a:cxn>
              <a:cxn ang="0">
                <a:pos x="connsiteX18780" y="connsiteY18780"/>
              </a:cxn>
              <a:cxn ang="0">
                <a:pos x="connsiteX18781" y="connsiteY18781"/>
              </a:cxn>
              <a:cxn ang="0">
                <a:pos x="connsiteX18782" y="connsiteY18782"/>
              </a:cxn>
              <a:cxn ang="0">
                <a:pos x="connsiteX18783" y="connsiteY18783"/>
              </a:cxn>
              <a:cxn ang="0">
                <a:pos x="connsiteX18784" y="connsiteY18784"/>
              </a:cxn>
              <a:cxn ang="0">
                <a:pos x="connsiteX18785" y="connsiteY18785"/>
              </a:cxn>
              <a:cxn ang="0">
                <a:pos x="connsiteX18786" y="connsiteY18786"/>
              </a:cxn>
              <a:cxn ang="0">
                <a:pos x="connsiteX18787" y="connsiteY18787"/>
              </a:cxn>
              <a:cxn ang="0">
                <a:pos x="connsiteX18788" y="connsiteY18788"/>
              </a:cxn>
              <a:cxn ang="0">
                <a:pos x="connsiteX18789" y="connsiteY18789"/>
              </a:cxn>
              <a:cxn ang="0">
                <a:pos x="connsiteX18790" y="connsiteY18790"/>
              </a:cxn>
              <a:cxn ang="0">
                <a:pos x="connsiteX18791" y="connsiteY18791"/>
              </a:cxn>
              <a:cxn ang="0">
                <a:pos x="connsiteX18792" y="connsiteY18792"/>
              </a:cxn>
              <a:cxn ang="0">
                <a:pos x="connsiteX18793" y="connsiteY18793"/>
              </a:cxn>
              <a:cxn ang="0">
                <a:pos x="connsiteX18794" y="connsiteY18794"/>
              </a:cxn>
              <a:cxn ang="0">
                <a:pos x="connsiteX18795" y="connsiteY18795"/>
              </a:cxn>
              <a:cxn ang="0">
                <a:pos x="connsiteX18796" y="connsiteY18796"/>
              </a:cxn>
              <a:cxn ang="0">
                <a:pos x="connsiteX18797" y="connsiteY18797"/>
              </a:cxn>
              <a:cxn ang="0">
                <a:pos x="connsiteX18798" y="connsiteY18798"/>
              </a:cxn>
              <a:cxn ang="0">
                <a:pos x="connsiteX18799" y="connsiteY18799"/>
              </a:cxn>
              <a:cxn ang="0">
                <a:pos x="connsiteX18800" y="connsiteY18800"/>
              </a:cxn>
              <a:cxn ang="0">
                <a:pos x="connsiteX18801" y="connsiteY18801"/>
              </a:cxn>
              <a:cxn ang="0">
                <a:pos x="connsiteX18802" y="connsiteY18802"/>
              </a:cxn>
              <a:cxn ang="0">
                <a:pos x="connsiteX18803" y="connsiteY18803"/>
              </a:cxn>
              <a:cxn ang="0">
                <a:pos x="connsiteX18804" y="connsiteY18804"/>
              </a:cxn>
              <a:cxn ang="0">
                <a:pos x="connsiteX18805" y="connsiteY18805"/>
              </a:cxn>
              <a:cxn ang="0">
                <a:pos x="connsiteX18806" y="connsiteY18806"/>
              </a:cxn>
              <a:cxn ang="0">
                <a:pos x="connsiteX18807" y="connsiteY18807"/>
              </a:cxn>
              <a:cxn ang="0">
                <a:pos x="connsiteX18808" y="connsiteY18808"/>
              </a:cxn>
              <a:cxn ang="0">
                <a:pos x="connsiteX18809" y="connsiteY18809"/>
              </a:cxn>
              <a:cxn ang="0">
                <a:pos x="connsiteX18810" y="connsiteY18810"/>
              </a:cxn>
              <a:cxn ang="0">
                <a:pos x="connsiteX18811" y="connsiteY18811"/>
              </a:cxn>
              <a:cxn ang="0">
                <a:pos x="connsiteX18812" y="connsiteY18812"/>
              </a:cxn>
              <a:cxn ang="0">
                <a:pos x="connsiteX18813" y="connsiteY18813"/>
              </a:cxn>
              <a:cxn ang="0">
                <a:pos x="connsiteX18814" y="connsiteY18814"/>
              </a:cxn>
              <a:cxn ang="0">
                <a:pos x="connsiteX18815" y="connsiteY18815"/>
              </a:cxn>
              <a:cxn ang="0">
                <a:pos x="connsiteX18816" y="connsiteY18816"/>
              </a:cxn>
              <a:cxn ang="0">
                <a:pos x="connsiteX18817" y="connsiteY18817"/>
              </a:cxn>
              <a:cxn ang="0">
                <a:pos x="connsiteX18818" y="connsiteY18818"/>
              </a:cxn>
              <a:cxn ang="0">
                <a:pos x="connsiteX18819" y="connsiteY18819"/>
              </a:cxn>
              <a:cxn ang="0">
                <a:pos x="connsiteX18820" y="connsiteY18820"/>
              </a:cxn>
              <a:cxn ang="0">
                <a:pos x="connsiteX18821" y="connsiteY18821"/>
              </a:cxn>
              <a:cxn ang="0">
                <a:pos x="connsiteX18822" y="connsiteY18822"/>
              </a:cxn>
              <a:cxn ang="0">
                <a:pos x="connsiteX18823" y="connsiteY18823"/>
              </a:cxn>
              <a:cxn ang="0">
                <a:pos x="connsiteX18824" y="connsiteY18824"/>
              </a:cxn>
              <a:cxn ang="0">
                <a:pos x="connsiteX18825" y="connsiteY18825"/>
              </a:cxn>
              <a:cxn ang="0">
                <a:pos x="connsiteX18826" y="connsiteY18826"/>
              </a:cxn>
              <a:cxn ang="0">
                <a:pos x="connsiteX18827" y="connsiteY18827"/>
              </a:cxn>
              <a:cxn ang="0">
                <a:pos x="connsiteX18828" y="connsiteY18828"/>
              </a:cxn>
              <a:cxn ang="0">
                <a:pos x="connsiteX18829" y="connsiteY18829"/>
              </a:cxn>
              <a:cxn ang="0">
                <a:pos x="connsiteX18830" y="connsiteY18830"/>
              </a:cxn>
              <a:cxn ang="0">
                <a:pos x="connsiteX18831" y="connsiteY18831"/>
              </a:cxn>
              <a:cxn ang="0">
                <a:pos x="connsiteX18832" y="connsiteY18832"/>
              </a:cxn>
              <a:cxn ang="0">
                <a:pos x="connsiteX18833" y="connsiteY18833"/>
              </a:cxn>
              <a:cxn ang="0">
                <a:pos x="connsiteX18834" y="connsiteY18834"/>
              </a:cxn>
              <a:cxn ang="0">
                <a:pos x="connsiteX18835" y="connsiteY18835"/>
              </a:cxn>
              <a:cxn ang="0">
                <a:pos x="connsiteX18836" y="connsiteY18836"/>
              </a:cxn>
              <a:cxn ang="0">
                <a:pos x="connsiteX18837" y="connsiteY18837"/>
              </a:cxn>
              <a:cxn ang="0">
                <a:pos x="connsiteX18838" y="connsiteY18838"/>
              </a:cxn>
              <a:cxn ang="0">
                <a:pos x="connsiteX18839" y="connsiteY18839"/>
              </a:cxn>
              <a:cxn ang="0">
                <a:pos x="connsiteX18840" y="connsiteY18840"/>
              </a:cxn>
              <a:cxn ang="0">
                <a:pos x="connsiteX18841" y="connsiteY18841"/>
              </a:cxn>
              <a:cxn ang="0">
                <a:pos x="connsiteX18842" y="connsiteY18842"/>
              </a:cxn>
              <a:cxn ang="0">
                <a:pos x="connsiteX18843" y="connsiteY18843"/>
              </a:cxn>
              <a:cxn ang="0">
                <a:pos x="connsiteX18844" y="connsiteY18844"/>
              </a:cxn>
              <a:cxn ang="0">
                <a:pos x="connsiteX18845" y="connsiteY18845"/>
              </a:cxn>
              <a:cxn ang="0">
                <a:pos x="connsiteX18846" y="connsiteY18846"/>
              </a:cxn>
              <a:cxn ang="0">
                <a:pos x="connsiteX18847" y="connsiteY18847"/>
              </a:cxn>
              <a:cxn ang="0">
                <a:pos x="connsiteX18848" y="connsiteY18848"/>
              </a:cxn>
              <a:cxn ang="0">
                <a:pos x="connsiteX18849" y="connsiteY18849"/>
              </a:cxn>
              <a:cxn ang="0">
                <a:pos x="connsiteX18850" y="connsiteY18850"/>
              </a:cxn>
              <a:cxn ang="0">
                <a:pos x="connsiteX18851" y="connsiteY18851"/>
              </a:cxn>
              <a:cxn ang="0">
                <a:pos x="connsiteX18852" y="connsiteY18852"/>
              </a:cxn>
              <a:cxn ang="0">
                <a:pos x="connsiteX18853" y="connsiteY18853"/>
              </a:cxn>
              <a:cxn ang="0">
                <a:pos x="connsiteX18854" y="connsiteY18854"/>
              </a:cxn>
              <a:cxn ang="0">
                <a:pos x="connsiteX18855" y="connsiteY18855"/>
              </a:cxn>
              <a:cxn ang="0">
                <a:pos x="connsiteX18856" y="connsiteY18856"/>
              </a:cxn>
              <a:cxn ang="0">
                <a:pos x="connsiteX18857" y="connsiteY18857"/>
              </a:cxn>
              <a:cxn ang="0">
                <a:pos x="connsiteX18858" y="connsiteY18858"/>
              </a:cxn>
              <a:cxn ang="0">
                <a:pos x="connsiteX18859" y="connsiteY18859"/>
              </a:cxn>
              <a:cxn ang="0">
                <a:pos x="connsiteX18860" y="connsiteY18860"/>
              </a:cxn>
              <a:cxn ang="0">
                <a:pos x="connsiteX18861" y="connsiteY18861"/>
              </a:cxn>
              <a:cxn ang="0">
                <a:pos x="connsiteX18862" y="connsiteY18862"/>
              </a:cxn>
              <a:cxn ang="0">
                <a:pos x="connsiteX18863" y="connsiteY18863"/>
              </a:cxn>
              <a:cxn ang="0">
                <a:pos x="connsiteX18864" y="connsiteY18864"/>
              </a:cxn>
              <a:cxn ang="0">
                <a:pos x="connsiteX18865" y="connsiteY18865"/>
              </a:cxn>
              <a:cxn ang="0">
                <a:pos x="connsiteX18866" y="connsiteY18866"/>
              </a:cxn>
              <a:cxn ang="0">
                <a:pos x="connsiteX18867" y="connsiteY18867"/>
              </a:cxn>
              <a:cxn ang="0">
                <a:pos x="connsiteX18868" y="connsiteY18868"/>
              </a:cxn>
              <a:cxn ang="0">
                <a:pos x="connsiteX18869" y="connsiteY18869"/>
              </a:cxn>
              <a:cxn ang="0">
                <a:pos x="connsiteX18870" y="connsiteY18870"/>
              </a:cxn>
              <a:cxn ang="0">
                <a:pos x="connsiteX18871" y="connsiteY18871"/>
              </a:cxn>
              <a:cxn ang="0">
                <a:pos x="connsiteX18872" y="connsiteY18872"/>
              </a:cxn>
              <a:cxn ang="0">
                <a:pos x="connsiteX18873" y="connsiteY18873"/>
              </a:cxn>
              <a:cxn ang="0">
                <a:pos x="connsiteX18874" y="connsiteY18874"/>
              </a:cxn>
              <a:cxn ang="0">
                <a:pos x="connsiteX18875" y="connsiteY18875"/>
              </a:cxn>
              <a:cxn ang="0">
                <a:pos x="connsiteX18876" y="connsiteY18876"/>
              </a:cxn>
              <a:cxn ang="0">
                <a:pos x="connsiteX18877" y="connsiteY18877"/>
              </a:cxn>
              <a:cxn ang="0">
                <a:pos x="connsiteX18878" y="connsiteY18878"/>
              </a:cxn>
              <a:cxn ang="0">
                <a:pos x="connsiteX18879" y="connsiteY18879"/>
              </a:cxn>
              <a:cxn ang="0">
                <a:pos x="connsiteX18880" y="connsiteY18880"/>
              </a:cxn>
              <a:cxn ang="0">
                <a:pos x="connsiteX18881" y="connsiteY18881"/>
              </a:cxn>
              <a:cxn ang="0">
                <a:pos x="connsiteX18882" y="connsiteY18882"/>
              </a:cxn>
              <a:cxn ang="0">
                <a:pos x="connsiteX18883" y="connsiteY18883"/>
              </a:cxn>
              <a:cxn ang="0">
                <a:pos x="connsiteX18884" y="connsiteY18884"/>
              </a:cxn>
              <a:cxn ang="0">
                <a:pos x="connsiteX18885" y="connsiteY18885"/>
              </a:cxn>
              <a:cxn ang="0">
                <a:pos x="connsiteX18886" y="connsiteY18886"/>
              </a:cxn>
              <a:cxn ang="0">
                <a:pos x="connsiteX18887" y="connsiteY18887"/>
              </a:cxn>
              <a:cxn ang="0">
                <a:pos x="connsiteX18888" y="connsiteY18888"/>
              </a:cxn>
              <a:cxn ang="0">
                <a:pos x="connsiteX18889" y="connsiteY18889"/>
              </a:cxn>
              <a:cxn ang="0">
                <a:pos x="connsiteX18890" y="connsiteY18890"/>
              </a:cxn>
              <a:cxn ang="0">
                <a:pos x="connsiteX18891" y="connsiteY18891"/>
              </a:cxn>
              <a:cxn ang="0">
                <a:pos x="connsiteX18892" y="connsiteY18892"/>
              </a:cxn>
              <a:cxn ang="0">
                <a:pos x="connsiteX18893" y="connsiteY18893"/>
              </a:cxn>
              <a:cxn ang="0">
                <a:pos x="connsiteX18894" y="connsiteY18894"/>
              </a:cxn>
              <a:cxn ang="0">
                <a:pos x="connsiteX18895" y="connsiteY18895"/>
              </a:cxn>
              <a:cxn ang="0">
                <a:pos x="connsiteX18896" y="connsiteY18896"/>
              </a:cxn>
              <a:cxn ang="0">
                <a:pos x="connsiteX18897" y="connsiteY18897"/>
              </a:cxn>
              <a:cxn ang="0">
                <a:pos x="connsiteX18898" y="connsiteY18898"/>
              </a:cxn>
              <a:cxn ang="0">
                <a:pos x="connsiteX18899" y="connsiteY18899"/>
              </a:cxn>
              <a:cxn ang="0">
                <a:pos x="connsiteX18900" y="connsiteY18900"/>
              </a:cxn>
              <a:cxn ang="0">
                <a:pos x="connsiteX18901" y="connsiteY18901"/>
              </a:cxn>
              <a:cxn ang="0">
                <a:pos x="connsiteX18902" y="connsiteY18902"/>
              </a:cxn>
              <a:cxn ang="0">
                <a:pos x="connsiteX18903" y="connsiteY18903"/>
              </a:cxn>
              <a:cxn ang="0">
                <a:pos x="connsiteX18904" y="connsiteY18904"/>
              </a:cxn>
              <a:cxn ang="0">
                <a:pos x="connsiteX18905" y="connsiteY18905"/>
              </a:cxn>
              <a:cxn ang="0">
                <a:pos x="connsiteX18906" y="connsiteY18906"/>
              </a:cxn>
              <a:cxn ang="0">
                <a:pos x="connsiteX18907" y="connsiteY18907"/>
              </a:cxn>
              <a:cxn ang="0">
                <a:pos x="connsiteX18908" y="connsiteY18908"/>
              </a:cxn>
              <a:cxn ang="0">
                <a:pos x="connsiteX18909" y="connsiteY18909"/>
              </a:cxn>
              <a:cxn ang="0">
                <a:pos x="connsiteX18910" y="connsiteY18910"/>
              </a:cxn>
              <a:cxn ang="0">
                <a:pos x="connsiteX18911" y="connsiteY18911"/>
              </a:cxn>
              <a:cxn ang="0">
                <a:pos x="connsiteX18912" y="connsiteY18912"/>
              </a:cxn>
              <a:cxn ang="0">
                <a:pos x="connsiteX18913" y="connsiteY18913"/>
              </a:cxn>
              <a:cxn ang="0">
                <a:pos x="connsiteX18914" y="connsiteY18914"/>
              </a:cxn>
              <a:cxn ang="0">
                <a:pos x="connsiteX18915" y="connsiteY18915"/>
              </a:cxn>
              <a:cxn ang="0">
                <a:pos x="connsiteX18916" y="connsiteY18916"/>
              </a:cxn>
              <a:cxn ang="0">
                <a:pos x="connsiteX18917" y="connsiteY18917"/>
              </a:cxn>
              <a:cxn ang="0">
                <a:pos x="connsiteX18918" y="connsiteY18918"/>
              </a:cxn>
              <a:cxn ang="0">
                <a:pos x="connsiteX18919" y="connsiteY18919"/>
              </a:cxn>
              <a:cxn ang="0">
                <a:pos x="connsiteX18920" y="connsiteY18920"/>
              </a:cxn>
              <a:cxn ang="0">
                <a:pos x="connsiteX18921" y="connsiteY18921"/>
              </a:cxn>
              <a:cxn ang="0">
                <a:pos x="connsiteX18922" y="connsiteY18922"/>
              </a:cxn>
              <a:cxn ang="0">
                <a:pos x="connsiteX18923" y="connsiteY18923"/>
              </a:cxn>
              <a:cxn ang="0">
                <a:pos x="connsiteX18924" y="connsiteY18924"/>
              </a:cxn>
              <a:cxn ang="0">
                <a:pos x="connsiteX18925" y="connsiteY18925"/>
              </a:cxn>
              <a:cxn ang="0">
                <a:pos x="connsiteX18926" y="connsiteY18926"/>
              </a:cxn>
              <a:cxn ang="0">
                <a:pos x="connsiteX18927" y="connsiteY18927"/>
              </a:cxn>
              <a:cxn ang="0">
                <a:pos x="connsiteX18928" y="connsiteY18928"/>
              </a:cxn>
              <a:cxn ang="0">
                <a:pos x="connsiteX18929" y="connsiteY18929"/>
              </a:cxn>
              <a:cxn ang="0">
                <a:pos x="connsiteX18930" y="connsiteY18930"/>
              </a:cxn>
              <a:cxn ang="0">
                <a:pos x="connsiteX18931" y="connsiteY18931"/>
              </a:cxn>
              <a:cxn ang="0">
                <a:pos x="connsiteX18932" y="connsiteY18932"/>
              </a:cxn>
              <a:cxn ang="0">
                <a:pos x="connsiteX18933" y="connsiteY18933"/>
              </a:cxn>
              <a:cxn ang="0">
                <a:pos x="connsiteX18934" y="connsiteY18934"/>
              </a:cxn>
              <a:cxn ang="0">
                <a:pos x="connsiteX18935" y="connsiteY18935"/>
              </a:cxn>
              <a:cxn ang="0">
                <a:pos x="connsiteX18936" y="connsiteY18936"/>
              </a:cxn>
              <a:cxn ang="0">
                <a:pos x="connsiteX18937" y="connsiteY18937"/>
              </a:cxn>
              <a:cxn ang="0">
                <a:pos x="connsiteX18938" y="connsiteY18938"/>
              </a:cxn>
              <a:cxn ang="0">
                <a:pos x="connsiteX18939" y="connsiteY18939"/>
              </a:cxn>
              <a:cxn ang="0">
                <a:pos x="connsiteX18940" y="connsiteY18940"/>
              </a:cxn>
              <a:cxn ang="0">
                <a:pos x="connsiteX18941" y="connsiteY18941"/>
              </a:cxn>
              <a:cxn ang="0">
                <a:pos x="connsiteX18942" y="connsiteY18942"/>
              </a:cxn>
              <a:cxn ang="0">
                <a:pos x="connsiteX18943" y="connsiteY18943"/>
              </a:cxn>
              <a:cxn ang="0">
                <a:pos x="connsiteX18944" y="connsiteY18944"/>
              </a:cxn>
              <a:cxn ang="0">
                <a:pos x="connsiteX18945" y="connsiteY18945"/>
              </a:cxn>
              <a:cxn ang="0">
                <a:pos x="connsiteX18946" y="connsiteY18946"/>
              </a:cxn>
              <a:cxn ang="0">
                <a:pos x="connsiteX18947" y="connsiteY18947"/>
              </a:cxn>
              <a:cxn ang="0">
                <a:pos x="connsiteX18948" y="connsiteY18948"/>
              </a:cxn>
              <a:cxn ang="0">
                <a:pos x="connsiteX18949" y="connsiteY18949"/>
              </a:cxn>
              <a:cxn ang="0">
                <a:pos x="connsiteX18950" y="connsiteY18950"/>
              </a:cxn>
              <a:cxn ang="0">
                <a:pos x="connsiteX18951" y="connsiteY18951"/>
              </a:cxn>
              <a:cxn ang="0">
                <a:pos x="connsiteX18952" y="connsiteY18952"/>
              </a:cxn>
              <a:cxn ang="0">
                <a:pos x="connsiteX18953" y="connsiteY18953"/>
              </a:cxn>
              <a:cxn ang="0">
                <a:pos x="connsiteX18954" y="connsiteY18954"/>
              </a:cxn>
              <a:cxn ang="0">
                <a:pos x="connsiteX18955" y="connsiteY18955"/>
              </a:cxn>
              <a:cxn ang="0">
                <a:pos x="connsiteX18956" y="connsiteY18956"/>
              </a:cxn>
              <a:cxn ang="0">
                <a:pos x="connsiteX18957" y="connsiteY18957"/>
              </a:cxn>
              <a:cxn ang="0">
                <a:pos x="connsiteX18958" y="connsiteY18958"/>
              </a:cxn>
              <a:cxn ang="0">
                <a:pos x="connsiteX18959" y="connsiteY18959"/>
              </a:cxn>
              <a:cxn ang="0">
                <a:pos x="connsiteX18960" y="connsiteY18960"/>
              </a:cxn>
              <a:cxn ang="0">
                <a:pos x="connsiteX18961" y="connsiteY18961"/>
              </a:cxn>
              <a:cxn ang="0">
                <a:pos x="connsiteX18962" y="connsiteY18962"/>
              </a:cxn>
              <a:cxn ang="0">
                <a:pos x="connsiteX18963" y="connsiteY18963"/>
              </a:cxn>
              <a:cxn ang="0">
                <a:pos x="connsiteX18964" y="connsiteY18964"/>
              </a:cxn>
              <a:cxn ang="0">
                <a:pos x="connsiteX18965" y="connsiteY18965"/>
              </a:cxn>
              <a:cxn ang="0">
                <a:pos x="connsiteX18966" y="connsiteY18966"/>
              </a:cxn>
              <a:cxn ang="0">
                <a:pos x="connsiteX18967" y="connsiteY18967"/>
              </a:cxn>
              <a:cxn ang="0">
                <a:pos x="connsiteX18968" y="connsiteY18968"/>
              </a:cxn>
              <a:cxn ang="0">
                <a:pos x="connsiteX18969" y="connsiteY18969"/>
              </a:cxn>
              <a:cxn ang="0">
                <a:pos x="connsiteX18970" y="connsiteY18970"/>
              </a:cxn>
              <a:cxn ang="0">
                <a:pos x="connsiteX18971" y="connsiteY18971"/>
              </a:cxn>
              <a:cxn ang="0">
                <a:pos x="connsiteX18972" y="connsiteY18972"/>
              </a:cxn>
              <a:cxn ang="0">
                <a:pos x="connsiteX18973" y="connsiteY18973"/>
              </a:cxn>
              <a:cxn ang="0">
                <a:pos x="connsiteX18974" y="connsiteY18974"/>
              </a:cxn>
              <a:cxn ang="0">
                <a:pos x="connsiteX18975" y="connsiteY18975"/>
              </a:cxn>
              <a:cxn ang="0">
                <a:pos x="connsiteX18976" y="connsiteY18976"/>
              </a:cxn>
              <a:cxn ang="0">
                <a:pos x="connsiteX18977" y="connsiteY18977"/>
              </a:cxn>
              <a:cxn ang="0">
                <a:pos x="connsiteX18978" y="connsiteY18978"/>
              </a:cxn>
              <a:cxn ang="0">
                <a:pos x="connsiteX18979" y="connsiteY18979"/>
              </a:cxn>
              <a:cxn ang="0">
                <a:pos x="connsiteX18980" y="connsiteY18980"/>
              </a:cxn>
              <a:cxn ang="0">
                <a:pos x="connsiteX18981" y="connsiteY18981"/>
              </a:cxn>
              <a:cxn ang="0">
                <a:pos x="connsiteX18982" y="connsiteY18982"/>
              </a:cxn>
              <a:cxn ang="0">
                <a:pos x="connsiteX18983" y="connsiteY18983"/>
              </a:cxn>
              <a:cxn ang="0">
                <a:pos x="connsiteX18984" y="connsiteY18984"/>
              </a:cxn>
              <a:cxn ang="0">
                <a:pos x="connsiteX18985" y="connsiteY18985"/>
              </a:cxn>
              <a:cxn ang="0">
                <a:pos x="connsiteX18986" y="connsiteY18986"/>
              </a:cxn>
              <a:cxn ang="0">
                <a:pos x="connsiteX18987" y="connsiteY18987"/>
              </a:cxn>
              <a:cxn ang="0">
                <a:pos x="connsiteX18988" y="connsiteY18988"/>
              </a:cxn>
              <a:cxn ang="0">
                <a:pos x="connsiteX18989" y="connsiteY18989"/>
              </a:cxn>
              <a:cxn ang="0">
                <a:pos x="connsiteX18990" y="connsiteY18990"/>
              </a:cxn>
              <a:cxn ang="0">
                <a:pos x="connsiteX18991" y="connsiteY18991"/>
              </a:cxn>
              <a:cxn ang="0">
                <a:pos x="connsiteX18992" y="connsiteY18992"/>
              </a:cxn>
              <a:cxn ang="0">
                <a:pos x="connsiteX18993" y="connsiteY18993"/>
              </a:cxn>
              <a:cxn ang="0">
                <a:pos x="connsiteX18994" y="connsiteY18994"/>
              </a:cxn>
              <a:cxn ang="0">
                <a:pos x="connsiteX18995" y="connsiteY18995"/>
              </a:cxn>
              <a:cxn ang="0">
                <a:pos x="connsiteX18996" y="connsiteY18996"/>
              </a:cxn>
              <a:cxn ang="0">
                <a:pos x="connsiteX18997" y="connsiteY18997"/>
              </a:cxn>
              <a:cxn ang="0">
                <a:pos x="connsiteX18998" y="connsiteY18998"/>
              </a:cxn>
              <a:cxn ang="0">
                <a:pos x="connsiteX18999" y="connsiteY18999"/>
              </a:cxn>
              <a:cxn ang="0">
                <a:pos x="connsiteX19000" y="connsiteY19000"/>
              </a:cxn>
              <a:cxn ang="0">
                <a:pos x="connsiteX19001" y="connsiteY19001"/>
              </a:cxn>
              <a:cxn ang="0">
                <a:pos x="connsiteX19002" y="connsiteY19002"/>
              </a:cxn>
              <a:cxn ang="0">
                <a:pos x="connsiteX19003" y="connsiteY19003"/>
              </a:cxn>
              <a:cxn ang="0">
                <a:pos x="connsiteX19004" y="connsiteY19004"/>
              </a:cxn>
              <a:cxn ang="0">
                <a:pos x="connsiteX19005" y="connsiteY19005"/>
              </a:cxn>
              <a:cxn ang="0">
                <a:pos x="connsiteX19006" y="connsiteY19006"/>
              </a:cxn>
              <a:cxn ang="0">
                <a:pos x="connsiteX19007" y="connsiteY19007"/>
              </a:cxn>
              <a:cxn ang="0">
                <a:pos x="connsiteX19008" y="connsiteY19008"/>
              </a:cxn>
              <a:cxn ang="0">
                <a:pos x="connsiteX19009" y="connsiteY19009"/>
              </a:cxn>
              <a:cxn ang="0">
                <a:pos x="connsiteX19010" y="connsiteY19010"/>
              </a:cxn>
              <a:cxn ang="0">
                <a:pos x="connsiteX19011" y="connsiteY19011"/>
              </a:cxn>
              <a:cxn ang="0">
                <a:pos x="connsiteX19012" y="connsiteY19012"/>
              </a:cxn>
              <a:cxn ang="0">
                <a:pos x="connsiteX19013" y="connsiteY19013"/>
              </a:cxn>
              <a:cxn ang="0">
                <a:pos x="connsiteX19014" y="connsiteY19014"/>
              </a:cxn>
              <a:cxn ang="0">
                <a:pos x="connsiteX19015" y="connsiteY19015"/>
              </a:cxn>
              <a:cxn ang="0">
                <a:pos x="connsiteX19016" y="connsiteY19016"/>
              </a:cxn>
              <a:cxn ang="0">
                <a:pos x="connsiteX19017" y="connsiteY19017"/>
              </a:cxn>
              <a:cxn ang="0">
                <a:pos x="connsiteX19018" y="connsiteY19018"/>
              </a:cxn>
              <a:cxn ang="0">
                <a:pos x="connsiteX19019" y="connsiteY19019"/>
              </a:cxn>
              <a:cxn ang="0">
                <a:pos x="connsiteX19020" y="connsiteY19020"/>
              </a:cxn>
              <a:cxn ang="0">
                <a:pos x="connsiteX19021" y="connsiteY19021"/>
              </a:cxn>
              <a:cxn ang="0">
                <a:pos x="connsiteX19022" y="connsiteY19022"/>
              </a:cxn>
              <a:cxn ang="0">
                <a:pos x="connsiteX19023" y="connsiteY19023"/>
              </a:cxn>
              <a:cxn ang="0">
                <a:pos x="connsiteX19024" y="connsiteY19024"/>
              </a:cxn>
              <a:cxn ang="0">
                <a:pos x="connsiteX19025" y="connsiteY19025"/>
              </a:cxn>
              <a:cxn ang="0">
                <a:pos x="connsiteX19026" y="connsiteY19026"/>
              </a:cxn>
              <a:cxn ang="0">
                <a:pos x="connsiteX19027" y="connsiteY19027"/>
              </a:cxn>
              <a:cxn ang="0">
                <a:pos x="connsiteX19028" y="connsiteY19028"/>
              </a:cxn>
              <a:cxn ang="0">
                <a:pos x="connsiteX19029" y="connsiteY19029"/>
              </a:cxn>
              <a:cxn ang="0">
                <a:pos x="connsiteX19030" y="connsiteY19030"/>
              </a:cxn>
              <a:cxn ang="0">
                <a:pos x="connsiteX19031" y="connsiteY19031"/>
              </a:cxn>
              <a:cxn ang="0">
                <a:pos x="connsiteX19032" y="connsiteY19032"/>
              </a:cxn>
              <a:cxn ang="0">
                <a:pos x="connsiteX19033" y="connsiteY19033"/>
              </a:cxn>
              <a:cxn ang="0">
                <a:pos x="connsiteX19034" y="connsiteY19034"/>
              </a:cxn>
              <a:cxn ang="0">
                <a:pos x="connsiteX19035" y="connsiteY19035"/>
              </a:cxn>
              <a:cxn ang="0">
                <a:pos x="connsiteX19036" y="connsiteY19036"/>
              </a:cxn>
              <a:cxn ang="0">
                <a:pos x="connsiteX19037" y="connsiteY19037"/>
              </a:cxn>
              <a:cxn ang="0">
                <a:pos x="connsiteX19038" y="connsiteY19038"/>
              </a:cxn>
              <a:cxn ang="0">
                <a:pos x="connsiteX19039" y="connsiteY19039"/>
              </a:cxn>
              <a:cxn ang="0">
                <a:pos x="connsiteX19040" y="connsiteY19040"/>
              </a:cxn>
              <a:cxn ang="0">
                <a:pos x="connsiteX19041" y="connsiteY19041"/>
              </a:cxn>
              <a:cxn ang="0">
                <a:pos x="connsiteX19042" y="connsiteY19042"/>
              </a:cxn>
              <a:cxn ang="0">
                <a:pos x="connsiteX19043" y="connsiteY19043"/>
              </a:cxn>
              <a:cxn ang="0">
                <a:pos x="connsiteX19044" y="connsiteY19044"/>
              </a:cxn>
              <a:cxn ang="0">
                <a:pos x="connsiteX19045" y="connsiteY19045"/>
              </a:cxn>
              <a:cxn ang="0">
                <a:pos x="connsiteX19046" y="connsiteY19046"/>
              </a:cxn>
              <a:cxn ang="0">
                <a:pos x="connsiteX19047" y="connsiteY19047"/>
              </a:cxn>
              <a:cxn ang="0">
                <a:pos x="connsiteX19048" y="connsiteY19048"/>
              </a:cxn>
              <a:cxn ang="0">
                <a:pos x="connsiteX19049" y="connsiteY19049"/>
              </a:cxn>
              <a:cxn ang="0">
                <a:pos x="connsiteX19050" y="connsiteY19050"/>
              </a:cxn>
              <a:cxn ang="0">
                <a:pos x="connsiteX19051" y="connsiteY19051"/>
              </a:cxn>
              <a:cxn ang="0">
                <a:pos x="connsiteX19052" y="connsiteY19052"/>
              </a:cxn>
              <a:cxn ang="0">
                <a:pos x="connsiteX19053" y="connsiteY19053"/>
              </a:cxn>
              <a:cxn ang="0">
                <a:pos x="connsiteX19054" y="connsiteY19054"/>
              </a:cxn>
              <a:cxn ang="0">
                <a:pos x="connsiteX19055" y="connsiteY19055"/>
              </a:cxn>
              <a:cxn ang="0">
                <a:pos x="connsiteX19056" y="connsiteY19056"/>
              </a:cxn>
              <a:cxn ang="0">
                <a:pos x="connsiteX19057" y="connsiteY19057"/>
              </a:cxn>
              <a:cxn ang="0">
                <a:pos x="connsiteX19058" y="connsiteY19058"/>
              </a:cxn>
              <a:cxn ang="0">
                <a:pos x="connsiteX19059" y="connsiteY19059"/>
              </a:cxn>
              <a:cxn ang="0">
                <a:pos x="connsiteX19060" y="connsiteY19060"/>
              </a:cxn>
              <a:cxn ang="0">
                <a:pos x="connsiteX19061" y="connsiteY19061"/>
              </a:cxn>
              <a:cxn ang="0">
                <a:pos x="connsiteX19062" y="connsiteY19062"/>
              </a:cxn>
              <a:cxn ang="0">
                <a:pos x="connsiteX19063" y="connsiteY19063"/>
              </a:cxn>
              <a:cxn ang="0">
                <a:pos x="connsiteX19064" y="connsiteY19064"/>
              </a:cxn>
              <a:cxn ang="0">
                <a:pos x="connsiteX19065" y="connsiteY19065"/>
              </a:cxn>
              <a:cxn ang="0">
                <a:pos x="connsiteX19066" y="connsiteY19066"/>
              </a:cxn>
              <a:cxn ang="0">
                <a:pos x="connsiteX19067" y="connsiteY19067"/>
              </a:cxn>
              <a:cxn ang="0">
                <a:pos x="connsiteX19068" y="connsiteY19068"/>
              </a:cxn>
              <a:cxn ang="0">
                <a:pos x="connsiteX19069" y="connsiteY19069"/>
              </a:cxn>
              <a:cxn ang="0">
                <a:pos x="connsiteX19070" y="connsiteY19070"/>
              </a:cxn>
              <a:cxn ang="0">
                <a:pos x="connsiteX19071" y="connsiteY19071"/>
              </a:cxn>
              <a:cxn ang="0">
                <a:pos x="connsiteX19072" y="connsiteY19072"/>
              </a:cxn>
              <a:cxn ang="0">
                <a:pos x="connsiteX19073" y="connsiteY19073"/>
              </a:cxn>
              <a:cxn ang="0">
                <a:pos x="connsiteX19074" y="connsiteY19074"/>
              </a:cxn>
              <a:cxn ang="0">
                <a:pos x="connsiteX19075" y="connsiteY19075"/>
              </a:cxn>
              <a:cxn ang="0">
                <a:pos x="connsiteX19076" y="connsiteY19076"/>
              </a:cxn>
              <a:cxn ang="0">
                <a:pos x="connsiteX19077" y="connsiteY19077"/>
              </a:cxn>
              <a:cxn ang="0">
                <a:pos x="connsiteX19078" y="connsiteY19078"/>
              </a:cxn>
              <a:cxn ang="0">
                <a:pos x="connsiteX19079" y="connsiteY19079"/>
              </a:cxn>
              <a:cxn ang="0">
                <a:pos x="connsiteX19080" y="connsiteY19080"/>
              </a:cxn>
              <a:cxn ang="0">
                <a:pos x="connsiteX19081" y="connsiteY19081"/>
              </a:cxn>
              <a:cxn ang="0">
                <a:pos x="connsiteX19082" y="connsiteY19082"/>
              </a:cxn>
              <a:cxn ang="0">
                <a:pos x="connsiteX19083" y="connsiteY19083"/>
              </a:cxn>
              <a:cxn ang="0">
                <a:pos x="connsiteX19084" y="connsiteY19084"/>
              </a:cxn>
              <a:cxn ang="0">
                <a:pos x="connsiteX19085" y="connsiteY19085"/>
              </a:cxn>
              <a:cxn ang="0">
                <a:pos x="connsiteX19086" y="connsiteY19086"/>
              </a:cxn>
              <a:cxn ang="0">
                <a:pos x="connsiteX19087" y="connsiteY19087"/>
              </a:cxn>
              <a:cxn ang="0">
                <a:pos x="connsiteX19088" y="connsiteY19088"/>
              </a:cxn>
              <a:cxn ang="0">
                <a:pos x="connsiteX19089" y="connsiteY19089"/>
              </a:cxn>
              <a:cxn ang="0">
                <a:pos x="connsiteX19090" y="connsiteY19090"/>
              </a:cxn>
              <a:cxn ang="0">
                <a:pos x="connsiteX19091" y="connsiteY19091"/>
              </a:cxn>
              <a:cxn ang="0">
                <a:pos x="connsiteX19092" y="connsiteY19092"/>
              </a:cxn>
              <a:cxn ang="0">
                <a:pos x="connsiteX19093" y="connsiteY19093"/>
              </a:cxn>
              <a:cxn ang="0">
                <a:pos x="connsiteX19094" y="connsiteY19094"/>
              </a:cxn>
              <a:cxn ang="0">
                <a:pos x="connsiteX19095" y="connsiteY19095"/>
              </a:cxn>
              <a:cxn ang="0">
                <a:pos x="connsiteX19096" y="connsiteY19096"/>
              </a:cxn>
              <a:cxn ang="0">
                <a:pos x="connsiteX19097" y="connsiteY19097"/>
              </a:cxn>
              <a:cxn ang="0">
                <a:pos x="connsiteX19098" y="connsiteY19098"/>
              </a:cxn>
              <a:cxn ang="0">
                <a:pos x="connsiteX19099" y="connsiteY19099"/>
              </a:cxn>
              <a:cxn ang="0">
                <a:pos x="connsiteX19100" y="connsiteY19100"/>
              </a:cxn>
              <a:cxn ang="0">
                <a:pos x="connsiteX19101" y="connsiteY19101"/>
              </a:cxn>
              <a:cxn ang="0">
                <a:pos x="connsiteX19102" y="connsiteY19102"/>
              </a:cxn>
              <a:cxn ang="0">
                <a:pos x="connsiteX19103" y="connsiteY19103"/>
              </a:cxn>
              <a:cxn ang="0">
                <a:pos x="connsiteX19104" y="connsiteY19104"/>
              </a:cxn>
              <a:cxn ang="0">
                <a:pos x="connsiteX19105" y="connsiteY19105"/>
              </a:cxn>
              <a:cxn ang="0">
                <a:pos x="connsiteX19106" y="connsiteY19106"/>
              </a:cxn>
              <a:cxn ang="0">
                <a:pos x="connsiteX19107" y="connsiteY19107"/>
              </a:cxn>
              <a:cxn ang="0">
                <a:pos x="connsiteX19108" y="connsiteY19108"/>
              </a:cxn>
              <a:cxn ang="0">
                <a:pos x="connsiteX19109" y="connsiteY19109"/>
              </a:cxn>
              <a:cxn ang="0">
                <a:pos x="connsiteX19110" y="connsiteY19110"/>
              </a:cxn>
              <a:cxn ang="0">
                <a:pos x="connsiteX19111" y="connsiteY19111"/>
              </a:cxn>
              <a:cxn ang="0">
                <a:pos x="connsiteX19112" y="connsiteY19112"/>
              </a:cxn>
              <a:cxn ang="0">
                <a:pos x="connsiteX19113" y="connsiteY19113"/>
              </a:cxn>
              <a:cxn ang="0">
                <a:pos x="connsiteX19114" y="connsiteY19114"/>
              </a:cxn>
              <a:cxn ang="0">
                <a:pos x="connsiteX19115" y="connsiteY19115"/>
              </a:cxn>
              <a:cxn ang="0">
                <a:pos x="connsiteX19116" y="connsiteY19116"/>
              </a:cxn>
              <a:cxn ang="0">
                <a:pos x="connsiteX19117" y="connsiteY19117"/>
              </a:cxn>
              <a:cxn ang="0">
                <a:pos x="connsiteX19118" y="connsiteY19118"/>
              </a:cxn>
              <a:cxn ang="0">
                <a:pos x="connsiteX19119" y="connsiteY19119"/>
              </a:cxn>
              <a:cxn ang="0">
                <a:pos x="connsiteX19120" y="connsiteY19120"/>
              </a:cxn>
              <a:cxn ang="0">
                <a:pos x="connsiteX19121" y="connsiteY19121"/>
              </a:cxn>
              <a:cxn ang="0">
                <a:pos x="connsiteX19122" y="connsiteY19122"/>
              </a:cxn>
              <a:cxn ang="0">
                <a:pos x="connsiteX19123" y="connsiteY19123"/>
              </a:cxn>
              <a:cxn ang="0">
                <a:pos x="connsiteX19124" y="connsiteY19124"/>
              </a:cxn>
              <a:cxn ang="0">
                <a:pos x="connsiteX19125" y="connsiteY19125"/>
              </a:cxn>
              <a:cxn ang="0">
                <a:pos x="connsiteX19126" y="connsiteY19126"/>
              </a:cxn>
              <a:cxn ang="0">
                <a:pos x="connsiteX19127" y="connsiteY19127"/>
              </a:cxn>
              <a:cxn ang="0">
                <a:pos x="connsiteX19128" y="connsiteY19128"/>
              </a:cxn>
              <a:cxn ang="0">
                <a:pos x="connsiteX19129" y="connsiteY19129"/>
              </a:cxn>
              <a:cxn ang="0">
                <a:pos x="connsiteX19130" y="connsiteY19130"/>
              </a:cxn>
              <a:cxn ang="0">
                <a:pos x="connsiteX19131" y="connsiteY19131"/>
              </a:cxn>
              <a:cxn ang="0">
                <a:pos x="connsiteX19132" y="connsiteY19132"/>
              </a:cxn>
              <a:cxn ang="0">
                <a:pos x="connsiteX19133" y="connsiteY19133"/>
              </a:cxn>
              <a:cxn ang="0">
                <a:pos x="connsiteX19134" y="connsiteY19134"/>
              </a:cxn>
              <a:cxn ang="0">
                <a:pos x="connsiteX19135" y="connsiteY19135"/>
              </a:cxn>
              <a:cxn ang="0">
                <a:pos x="connsiteX19136" y="connsiteY19136"/>
              </a:cxn>
              <a:cxn ang="0">
                <a:pos x="connsiteX19137" y="connsiteY19137"/>
              </a:cxn>
              <a:cxn ang="0">
                <a:pos x="connsiteX19138" y="connsiteY19138"/>
              </a:cxn>
              <a:cxn ang="0">
                <a:pos x="connsiteX19139" y="connsiteY19139"/>
              </a:cxn>
              <a:cxn ang="0">
                <a:pos x="connsiteX19140" y="connsiteY19140"/>
              </a:cxn>
              <a:cxn ang="0">
                <a:pos x="connsiteX19141" y="connsiteY19141"/>
              </a:cxn>
              <a:cxn ang="0">
                <a:pos x="connsiteX19142" y="connsiteY19142"/>
              </a:cxn>
              <a:cxn ang="0">
                <a:pos x="connsiteX19143" y="connsiteY19143"/>
              </a:cxn>
              <a:cxn ang="0">
                <a:pos x="connsiteX19144" y="connsiteY19144"/>
              </a:cxn>
              <a:cxn ang="0">
                <a:pos x="connsiteX19145" y="connsiteY19145"/>
              </a:cxn>
              <a:cxn ang="0">
                <a:pos x="connsiteX19146" y="connsiteY19146"/>
              </a:cxn>
              <a:cxn ang="0">
                <a:pos x="connsiteX19147" y="connsiteY19147"/>
              </a:cxn>
              <a:cxn ang="0">
                <a:pos x="connsiteX19148" y="connsiteY19148"/>
              </a:cxn>
              <a:cxn ang="0">
                <a:pos x="connsiteX19149" y="connsiteY19149"/>
              </a:cxn>
              <a:cxn ang="0">
                <a:pos x="connsiteX19150" y="connsiteY19150"/>
              </a:cxn>
              <a:cxn ang="0">
                <a:pos x="connsiteX19151" y="connsiteY19151"/>
              </a:cxn>
              <a:cxn ang="0">
                <a:pos x="connsiteX19152" y="connsiteY19152"/>
              </a:cxn>
              <a:cxn ang="0">
                <a:pos x="connsiteX19153" y="connsiteY19153"/>
              </a:cxn>
              <a:cxn ang="0">
                <a:pos x="connsiteX19154" y="connsiteY19154"/>
              </a:cxn>
              <a:cxn ang="0">
                <a:pos x="connsiteX19155" y="connsiteY19155"/>
              </a:cxn>
              <a:cxn ang="0">
                <a:pos x="connsiteX19156" y="connsiteY19156"/>
              </a:cxn>
              <a:cxn ang="0">
                <a:pos x="connsiteX19157" y="connsiteY19157"/>
              </a:cxn>
              <a:cxn ang="0">
                <a:pos x="connsiteX19158" y="connsiteY19158"/>
              </a:cxn>
              <a:cxn ang="0">
                <a:pos x="connsiteX19159" y="connsiteY19159"/>
              </a:cxn>
              <a:cxn ang="0">
                <a:pos x="connsiteX19160" y="connsiteY19160"/>
              </a:cxn>
              <a:cxn ang="0">
                <a:pos x="connsiteX19161" y="connsiteY19161"/>
              </a:cxn>
              <a:cxn ang="0">
                <a:pos x="connsiteX19162" y="connsiteY19162"/>
              </a:cxn>
              <a:cxn ang="0">
                <a:pos x="connsiteX19163" y="connsiteY19163"/>
              </a:cxn>
              <a:cxn ang="0">
                <a:pos x="connsiteX19164" y="connsiteY19164"/>
              </a:cxn>
              <a:cxn ang="0">
                <a:pos x="connsiteX19165" y="connsiteY19165"/>
              </a:cxn>
              <a:cxn ang="0">
                <a:pos x="connsiteX19166" y="connsiteY19166"/>
              </a:cxn>
              <a:cxn ang="0">
                <a:pos x="connsiteX19167" y="connsiteY19167"/>
              </a:cxn>
              <a:cxn ang="0">
                <a:pos x="connsiteX19168" y="connsiteY19168"/>
              </a:cxn>
              <a:cxn ang="0">
                <a:pos x="connsiteX19169" y="connsiteY19169"/>
              </a:cxn>
              <a:cxn ang="0">
                <a:pos x="connsiteX19170" y="connsiteY19170"/>
              </a:cxn>
              <a:cxn ang="0">
                <a:pos x="connsiteX19171" y="connsiteY19171"/>
              </a:cxn>
              <a:cxn ang="0">
                <a:pos x="connsiteX19172" y="connsiteY19172"/>
              </a:cxn>
              <a:cxn ang="0">
                <a:pos x="connsiteX19173" y="connsiteY19173"/>
              </a:cxn>
              <a:cxn ang="0">
                <a:pos x="connsiteX19174" y="connsiteY19174"/>
              </a:cxn>
              <a:cxn ang="0">
                <a:pos x="connsiteX19175" y="connsiteY19175"/>
              </a:cxn>
              <a:cxn ang="0">
                <a:pos x="connsiteX19176" y="connsiteY19176"/>
              </a:cxn>
              <a:cxn ang="0">
                <a:pos x="connsiteX19177" y="connsiteY19177"/>
              </a:cxn>
              <a:cxn ang="0">
                <a:pos x="connsiteX19178" y="connsiteY19178"/>
              </a:cxn>
              <a:cxn ang="0">
                <a:pos x="connsiteX19179" y="connsiteY19179"/>
              </a:cxn>
              <a:cxn ang="0">
                <a:pos x="connsiteX19180" y="connsiteY19180"/>
              </a:cxn>
              <a:cxn ang="0">
                <a:pos x="connsiteX19181" y="connsiteY19181"/>
              </a:cxn>
              <a:cxn ang="0">
                <a:pos x="connsiteX19182" y="connsiteY19182"/>
              </a:cxn>
              <a:cxn ang="0">
                <a:pos x="connsiteX19183" y="connsiteY19183"/>
              </a:cxn>
              <a:cxn ang="0">
                <a:pos x="connsiteX19184" y="connsiteY19184"/>
              </a:cxn>
              <a:cxn ang="0">
                <a:pos x="connsiteX19185" y="connsiteY19185"/>
              </a:cxn>
              <a:cxn ang="0">
                <a:pos x="connsiteX19186" y="connsiteY19186"/>
              </a:cxn>
              <a:cxn ang="0">
                <a:pos x="connsiteX19187" y="connsiteY19187"/>
              </a:cxn>
              <a:cxn ang="0">
                <a:pos x="connsiteX19188" y="connsiteY19188"/>
              </a:cxn>
              <a:cxn ang="0">
                <a:pos x="connsiteX19189" y="connsiteY19189"/>
              </a:cxn>
              <a:cxn ang="0">
                <a:pos x="connsiteX19190" y="connsiteY19190"/>
              </a:cxn>
              <a:cxn ang="0">
                <a:pos x="connsiteX19191" y="connsiteY19191"/>
              </a:cxn>
              <a:cxn ang="0">
                <a:pos x="connsiteX19192" y="connsiteY19192"/>
              </a:cxn>
              <a:cxn ang="0">
                <a:pos x="connsiteX19193" y="connsiteY19193"/>
              </a:cxn>
              <a:cxn ang="0">
                <a:pos x="connsiteX19194" y="connsiteY19194"/>
              </a:cxn>
              <a:cxn ang="0">
                <a:pos x="connsiteX19195" y="connsiteY19195"/>
              </a:cxn>
              <a:cxn ang="0">
                <a:pos x="connsiteX19196" y="connsiteY19196"/>
              </a:cxn>
              <a:cxn ang="0">
                <a:pos x="connsiteX19197" y="connsiteY19197"/>
              </a:cxn>
              <a:cxn ang="0">
                <a:pos x="connsiteX19198" y="connsiteY19198"/>
              </a:cxn>
              <a:cxn ang="0">
                <a:pos x="connsiteX19199" y="connsiteY19199"/>
              </a:cxn>
              <a:cxn ang="0">
                <a:pos x="connsiteX19200" y="connsiteY19200"/>
              </a:cxn>
              <a:cxn ang="0">
                <a:pos x="connsiteX19201" y="connsiteY19201"/>
              </a:cxn>
              <a:cxn ang="0">
                <a:pos x="connsiteX19202" y="connsiteY19202"/>
              </a:cxn>
              <a:cxn ang="0">
                <a:pos x="connsiteX19203" y="connsiteY19203"/>
              </a:cxn>
              <a:cxn ang="0">
                <a:pos x="connsiteX19204" y="connsiteY19204"/>
              </a:cxn>
              <a:cxn ang="0">
                <a:pos x="connsiteX19205" y="connsiteY19205"/>
              </a:cxn>
              <a:cxn ang="0">
                <a:pos x="connsiteX19206" y="connsiteY19206"/>
              </a:cxn>
              <a:cxn ang="0">
                <a:pos x="connsiteX19207" y="connsiteY19207"/>
              </a:cxn>
              <a:cxn ang="0">
                <a:pos x="connsiteX19208" y="connsiteY19208"/>
              </a:cxn>
              <a:cxn ang="0">
                <a:pos x="connsiteX19209" y="connsiteY19209"/>
              </a:cxn>
              <a:cxn ang="0">
                <a:pos x="connsiteX19210" y="connsiteY19210"/>
              </a:cxn>
              <a:cxn ang="0">
                <a:pos x="connsiteX19211" y="connsiteY19211"/>
              </a:cxn>
              <a:cxn ang="0">
                <a:pos x="connsiteX19212" y="connsiteY19212"/>
              </a:cxn>
              <a:cxn ang="0">
                <a:pos x="connsiteX19213" y="connsiteY19213"/>
              </a:cxn>
              <a:cxn ang="0">
                <a:pos x="connsiteX19214" y="connsiteY19214"/>
              </a:cxn>
              <a:cxn ang="0">
                <a:pos x="connsiteX19215" y="connsiteY19215"/>
              </a:cxn>
              <a:cxn ang="0">
                <a:pos x="connsiteX19216" y="connsiteY19216"/>
              </a:cxn>
              <a:cxn ang="0">
                <a:pos x="connsiteX19217" y="connsiteY19217"/>
              </a:cxn>
              <a:cxn ang="0">
                <a:pos x="connsiteX19218" y="connsiteY19218"/>
              </a:cxn>
              <a:cxn ang="0">
                <a:pos x="connsiteX19219" y="connsiteY19219"/>
              </a:cxn>
              <a:cxn ang="0">
                <a:pos x="connsiteX19220" y="connsiteY19220"/>
              </a:cxn>
              <a:cxn ang="0">
                <a:pos x="connsiteX19221" y="connsiteY19221"/>
              </a:cxn>
              <a:cxn ang="0">
                <a:pos x="connsiteX19222" y="connsiteY19222"/>
              </a:cxn>
              <a:cxn ang="0">
                <a:pos x="connsiteX19223" y="connsiteY19223"/>
              </a:cxn>
              <a:cxn ang="0">
                <a:pos x="connsiteX19224" y="connsiteY19224"/>
              </a:cxn>
              <a:cxn ang="0">
                <a:pos x="connsiteX19225" y="connsiteY19225"/>
              </a:cxn>
              <a:cxn ang="0">
                <a:pos x="connsiteX19226" y="connsiteY19226"/>
              </a:cxn>
              <a:cxn ang="0">
                <a:pos x="connsiteX19227" y="connsiteY19227"/>
              </a:cxn>
              <a:cxn ang="0">
                <a:pos x="connsiteX19228" y="connsiteY19228"/>
              </a:cxn>
              <a:cxn ang="0">
                <a:pos x="connsiteX19229" y="connsiteY19229"/>
              </a:cxn>
              <a:cxn ang="0">
                <a:pos x="connsiteX19230" y="connsiteY19230"/>
              </a:cxn>
              <a:cxn ang="0">
                <a:pos x="connsiteX19231" y="connsiteY19231"/>
              </a:cxn>
              <a:cxn ang="0">
                <a:pos x="connsiteX19232" y="connsiteY19232"/>
              </a:cxn>
              <a:cxn ang="0">
                <a:pos x="connsiteX19233" y="connsiteY19233"/>
              </a:cxn>
              <a:cxn ang="0">
                <a:pos x="connsiteX19234" y="connsiteY19234"/>
              </a:cxn>
              <a:cxn ang="0">
                <a:pos x="connsiteX19235" y="connsiteY19235"/>
              </a:cxn>
              <a:cxn ang="0">
                <a:pos x="connsiteX19236" y="connsiteY19236"/>
              </a:cxn>
              <a:cxn ang="0">
                <a:pos x="connsiteX19237" y="connsiteY19237"/>
              </a:cxn>
              <a:cxn ang="0">
                <a:pos x="connsiteX19238" y="connsiteY19238"/>
              </a:cxn>
              <a:cxn ang="0">
                <a:pos x="connsiteX19239" y="connsiteY19239"/>
              </a:cxn>
              <a:cxn ang="0">
                <a:pos x="connsiteX19240" y="connsiteY19240"/>
              </a:cxn>
              <a:cxn ang="0">
                <a:pos x="connsiteX19241" y="connsiteY19241"/>
              </a:cxn>
              <a:cxn ang="0">
                <a:pos x="connsiteX19242" y="connsiteY19242"/>
              </a:cxn>
              <a:cxn ang="0">
                <a:pos x="connsiteX19243" y="connsiteY19243"/>
              </a:cxn>
              <a:cxn ang="0">
                <a:pos x="connsiteX19244" y="connsiteY19244"/>
              </a:cxn>
              <a:cxn ang="0">
                <a:pos x="connsiteX19245" y="connsiteY19245"/>
              </a:cxn>
              <a:cxn ang="0">
                <a:pos x="connsiteX19246" y="connsiteY19246"/>
              </a:cxn>
              <a:cxn ang="0">
                <a:pos x="connsiteX19247" y="connsiteY19247"/>
              </a:cxn>
              <a:cxn ang="0">
                <a:pos x="connsiteX19248" y="connsiteY19248"/>
              </a:cxn>
              <a:cxn ang="0">
                <a:pos x="connsiteX19249" y="connsiteY19249"/>
              </a:cxn>
              <a:cxn ang="0">
                <a:pos x="connsiteX19250" y="connsiteY19250"/>
              </a:cxn>
              <a:cxn ang="0">
                <a:pos x="connsiteX19251" y="connsiteY19251"/>
              </a:cxn>
              <a:cxn ang="0">
                <a:pos x="connsiteX19252" y="connsiteY19252"/>
              </a:cxn>
              <a:cxn ang="0">
                <a:pos x="connsiteX19253" y="connsiteY19253"/>
              </a:cxn>
              <a:cxn ang="0">
                <a:pos x="connsiteX19254" y="connsiteY19254"/>
              </a:cxn>
              <a:cxn ang="0">
                <a:pos x="connsiteX19255" y="connsiteY19255"/>
              </a:cxn>
              <a:cxn ang="0">
                <a:pos x="connsiteX19256" y="connsiteY19256"/>
              </a:cxn>
              <a:cxn ang="0">
                <a:pos x="connsiteX19257" y="connsiteY19257"/>
              </a:cxn>
              <a:cxn ang="0">
                <a:pos x="connsiteX19258" y="connsiteY19258"/>
              </a:cxn>
              <a:cxn ang="0">
                <a:pos x="connsiteX19259" y="connsiteY19259"/>
              </a:cxn>
              <a:cxn ang="0">
                <a:pos x="connsiteX19260" y="connsiteY19260"/>
              </a:cxn>
              <a:cxn ang="0">
                <a:pos x="connsiteX19261" y="connsiteY19261"/>
              </a:cxn>
              <a:cxn ang="0">
                <a:pos x="connsiteX19262" y="connsiteY19262"/>
              </a:cxn>
              <a:cxn ang="0">
                <a:pos x="connsiteX19263" y="connsiteY19263"/>
              </a:cxn>
              <a:cxn ang="0">
                <a:pos x="connsiteX19264" y="connsiteY19264"/>
              </a:cxn>
              <a:cxn ang="0">
                <a:pos x="connsiteX19265" y="connsiteY19265"/>
              </a:cxn>
              <a:cxn ang="0">
                <a:pos x="connsiteX19266" y="connsiteY19266"/>
              </a:cxn>
              <a:cxn ang="0">
                <a:pos x="connsiteX19267" y="connsiteY19267"/>
              </a:cxn>
              <a:cxn ang="0">
                <a:pos x="connsiteX19268" y="connsiteY19268"/>
              </a:cxn>
              <a:cxn ang="0">
                <a:pos x="connsiteX19269" y="connsiteY19269"/>
              </a:cxn>
              <a:cxn ang="0">
                <a:pos x="connsiteX19270" y="connsiteY19270"/>
              </a:cxn>
              <a:cxn ang="0">
                <a:pos x="connsiteX19271" y="connsiteY19271"/>
              </a:cxn>
              <a:cxn ang="0">
                <a:pos x="connsiteX19272" y="connsiteY19272"/>
              </a:cxn>
              <a:cxn ang="0">
                <a:pos x="connsiteX19273" y="connsiteY19273"/>
              </a:cxn>
              <a:cxn ang="0">
                <a:pos x="connsiteX19274" y="connsiteY19274"/>
              </a:cxn>
              <a:cxn ang="0">
                <a:pos x="connsiteX19275" y="connsiteY19275"/>
              </a:cxn>
              <a:cxn ang="0">
                <a:pos x="connsiteX19276" y="connsiteY19276"/>
              </a:cxn>
              <a:cxn ang="0">
                <a:pos x="connsiteX19277" y="connsiteY19277"/>
              </a:cxn>
              <a:cxn ang="0">
                <a:pos x="connsiteX19278" y="connsiteY19278"/>
              </a:cxn>
              <a:cxn ang="0">
                <a:pos x="connsiteX19279" y="connsiteY19279"/>
              </a:cxn>
              <a:cxn ang="0">
                <a:pos x="connsiteX19280" y="connsiteY19280"/>
              </a:cxn>
              <a:cxn ang="0">
                <a:pos x="connsiteX19281" y="connsiteY19281"/>
              </a:cxn>
              <a:cxn ang="0">
                <a:pos x="connsiteX19282" y="connsiteY19282"/>
              </a:cxn>
              <a:cxn ang="0">
                <a:pos x="connsiteX19283" y="connsiteY19283"/>
              </a:cxn>
              <a:cxn ang="0">
                <a:pos x="connsiteX19284" y="connsiteY19284"/>
              </a:cxn>
              <a:cxn ang="0">
                <a:pos x="connsiteX19285" y="connsiteY19285"/>
              </a:cxn>
              <a:cxn ang="0">
                <a:pos x="connsiteX19286" y="connsiteY19286"/>
              </a:cxn>
              <a:cxn ang="0">
                <a:pos x="connsiteX19287" y="connsiteY19287"/>
              </a:cxn>
              <a:cxn ang="0">
                <a:pos x="connsiteX19288" y="connsiteY19288"/>
              </a:cxn>
              <a:cxn ang="0">
                <a:pos x="connsiteX19289" y="connsiteY19289"/>
              </a:cxn>
              <a:cxn ang="0">
                <a:pos x="connsiteX19290" y="connsiteY19290"/>
              </a:cxn>
              <a:cxn ang="0">
                <a:pos x="connsiteX19291" y="connsiteY19291"/>
              </a:cxn>
              <a:cxn ang="0">
                <a:pos x="connsiteX19292" y="connsiteY19292"/>
              </a:cxn>
              <a:cxn ang="0">
                <a:pos x="connsiteX19293" y="connsiteY19293"/>
              </a:cxn>
              <a:cxn ang="0">
                <a:pos x="connsiteX19294" y="connsiteY19294"/>
              </a:cxn>
              <a:cxn ang="0">
                <a:pos x="connsiteX19295" y="connsiteY19295"/>
              </a:cxn>
              <a:cxn ang="0">
                <a:pos x="connsiteX19296" y="connsiteY19296"/>
              </a:cxn>
              <a:cxn ang="0">
                <a:pos x="connsiteX19297" y="connsiteY19297"/>
              </a:cxn>
              <a:cxn ang="0">
                <a:pos x="connsiteX19298" y="connsiteY19298"/>
              </a:cxn>
              <a:cxn ang="0">
                <a:pos x="connsiteX19299" y="connsiteY19299"/>
              </a:cxn>
              <a:cxn ang="0">
                <a:pos x="connsiteX19300" y="connsiteY19300"/>
              </a:cxn>
              <a:cxn ang="0">
                <a:pos x="connsiteX19301" y="connsiteY19301"/>
              </a:cxn>
              <a:cxn ang="0">
                <a:pos x="connsiteX19302" y="connsiteY19302"/>
              </a:cxn>
              <a:cxn ang="0">
                <a:pos x="connsiteX19303" y="connsiteY19303"/>
              </a:cxn>
              <a:cxn ang="0">
                <a:pos x="connsiteX19304" y="connsiteY19304"/>
              </a:cxn>
              <a:cxn ang="0">
                <a:pos x="connsiteX19305" y="connsiteY19305"/>
              </a:cxn>
              <a:cxn ang="0">
                <a:pos x="connsiteX19306" y="connsiteY19306"/>
              </a:cxn>
              <a:cxn ang="0">
                <a:pos x="connsiteX19307" y="connsiteY19307"/>
              </a:cxn>
              <a:cxn ang="0">
                <a:pos x="connsiteX19308" y="connsiteY19308"/>
              </a:cxn>
              <a:cxn ang="0">
                <a:pos x="connsiteX19309" y="connsiteY19309"/>
              </a:cxn>
              <a:cxn ang="0">
                <a:pos x="connsiteX19310" y="connsiteY19310"/>
              </a:cxn>
              <a:cxn ang="0">
                <a:pos x="connsiteX19311" y="connsiteY19311"/>
              </a:cxn>
              <a:cxn ang="0">
                <a:pos x="connsiteX19312" y="connsiteY19312"/>
              </a:cxn>
              <a:cxn ang="0">
                <a:pos x="connsiteX19313" y="connsiteY19313"/>
              </a:cxn>
              <a:cxn ang="0">
                <a:pos x="connsiteX19314" y="connsiteY19314"/>
              </a:cxn>
              <a:cxn ang="0">
                <a:pos x="connsiteX19315" y="connsiteY19315"/>
              </a:cxn>
              <a:cxn ang="0">
                <a:pos x="connsiteX19316" y="connsiteY19316"/>
              </a:cxn>
              <a:cxn ang="0">
                <a:pos x="connsiteX19317" y="connsiteY19317"/>
              </a:cxn>
              <a:cxn ang="0">
                <a:pos x="connsiteX19318" y="connsiteY19318"/>
              </a:cxn>
              <a:cxn ang="0">
                <a:pos x="connsiteX19319" y="connsiteY19319"/>
              </a:cxn>
              <a:cxn ang="0">
                <a:pos x="connsiteX19320" y="connsiteY19320"/>
              </a:cxn>
              <a:cxn ang="0">
                <a:pos x="connsiteX19321" y="connsiteY19321"/>
              </a:cxn>
              <a:cxn ang="0">
                <a:pos x="connsiteX19322" y="connsiteY19322"/>
              </a:cxn>
              <a:cxn ang="0">
                <a:pos x="connsiteX19323" y="connsiteY19323"/>
              </a:cxn>
              <a:cxn ang="0">
                <a:pos x="connsiteX19324" y="connsiteY19324"/>
              </a:cxn>
              <a:cxn ang="0">
                <a:pos x="connsiteX19325" y="connsiteY19325"/>
              </a:cxn>
              <a:cxn ang="0">
                <a:pos x="connsiteX19326" y="connsiteY19326"/>
              </a:cxn>
              <a:cxn ang="0">
                <a:pos x="connsiteX19327" y="connsiteY19327"/>
              </a:cxn>
              <a:cxn ang="0">
                <a:pos x="connsiteX19328" y="connsiteY19328"/>
              </a:cxn>
              <a:cxn ang="0">
                <a:pos x="connsiteX19329" y="connsiteY19329"/>
              </a:cxn>
              <a:cxn ang="0">
                <a:pos x="connsiteX19330" y="connsiteY19330"/>
              </a:cxn>
              <a:cxn ang="0">
                <a:pos x="connsiteX19331" y="connsiteY19331"/>
              </a:cxn>
              <a:cxn ang="0">
                <a:pos x="connsiteX19332" y="connsiteY19332"/>
              </a:cxn>
              <a:cxn ang="0">
                <a:pos x="connsiteX19333" y="connsiteY19333"/>
              </a:cxn>
              <a:cxn ang="0">
                <a:pos x="connsiteX19334" y="connsiteY19334"/>
              </a:cxn>
              <a:cxn ang="0">
                <a:pos x="connsiteX19335" y="connsiteY19335"/>
              </a:cxn>
              <a:cxn ang="0">
                <a:pos x="connsiteX19336" y="connsiteY19336"/>
              </a:cxn>
              <a:cxn ang="0">
                <a:pos x="connsiteX19337" y="connsiteY19337"/>
              </a:cxn>
              <a:cxn ang="0">
                <a:pos x="connsiteX19338" y="connsiteY19338"/>
              </a:cxn>
              <a:cxn ang="0">
                <a:pos x="connsiteX19339" y="connsiteY19339"/>
              </a:cxn>
              <a:cxn ang="0">
                <a:pos x="connsiteX19340" y="connsiteY19340"/>
              </a:cxn>
              <a:cxn ang="0">
                <a:pos x="connsiteX19341" y="connsiteY19341"/>
              </a:cxn>
              <a:cxn ang="0">
                <a:pos x="connsiteX19342" y="connsiteY19342"/>
              </a:cxn>
              <a:cxn ang="0">
                <a:pos x="connsiteX19343" y="connsiteY19343"/>
              </a:cxn>
              <a:cxn ang="0">
                <a:pos x="connsiteX19344" y="connsiteY19344"/>
              </a:cxn>
              <a:cxn ang="0">
                <a:pos x="connsiteX19345" y="connsiteY19345"/>
              </a:cxn>
              <a:cxn ang="0">
                <a:pos x="connsiteX19346" y="connsiteY19346"/>
              </a:cxn>
              <a:cxn ang="0">
                <a:pos x="connsiteX19347" y="connsiteY19347"/>
              </a:cxn>
              <a:cxn ang="0">
                <a:pos x="connsiteX19348" y="connsiteY19348"/>
              </a:cxn>
              <a:cxn ang="0">
                <a:pos x="connsiteX19349" y="connsiteY19349"/>
              </a:cxn>
              <a:cxn ang="0">
                <a:pos x="connsiteX19350" y="connsiteY19350"/>
              </a:cxn>
              <a:cxn ang="0">
                <a:pos x="connsiteX19351" y="connsiteY19351"/>
              </a:cxn>
              <a:cxn ang="0">
                <a:pos x="connsiteX19352" y="connsiteY19352"/>
              </a:cxn>
              <a:cxn ang="0">
                <a:pos x="connsiteX19353" y="connsiteY19353"/>
              </a:cxn>
              <a:cxn ang="0">
                <a:pos x="connsiteX19354" y="connsiteY19354"/>
              </a:cxn>
              <a:cxn ang="0">
                <a:pos x="connsiteX19355" y="connsiteY19355"/>
              </a:cxn>
              <a:cxn ang="0">
                <a:pos x="connsiteX19356" y="connsiteY19356"/>
              </a:cxn>
              <a:cxn ang="0">
                <a:pos x="connsiteX19357" y="connsiteY19357"/>
              </a:cxn>
              <a:cxn ang="0">
                <a:pos x="connsiteX19358" y="connsiteY19358"/>
              </a:cxn>
              <a:cxn ang="0">
                <a:pos x="connsiteX19359" y="connsiteY19359"/>
              </a:cxn>
              <a:cxn ang="0">
                <a:pos x="connsiteX19360" y="connsiteY19360"/>
              </a:cxn>
              <a:cxn ang="0">
                <a:pos x="connsiteX19361" y="connsiteY19361"/>
              </a:cxn>
              <a:cxn ang="0">
                <a:pos x="connsiteX19362" y="connsiteY19362"/>
              </a:cxn>
              <a:cxn ang="0">
                <a:pos x="connsiteX19363" y="connsiteY19363"/>
              </a:cxn>
              <a:cxn ang="0">
                <a:pos x="connsiteX19364" y="connsiteY19364"/>
              </a:cxn>
              <a:cxn ang="0">
                <a:pos x="connsiteX19365" y="connsiteY19365"/>
              </a:cxn>
              <a:cxn ang="0">
                <a:pos x="connsiteX19366" y="connsiteY19366"/>
              </a:cxn>
              <a:cxn ang="0">
                <a:pos x="connsiteX19367" y="connsiteY19367"/>
              </a:cxn>
              <a:cxn ang="0">
                <a:pos x="connsiteX19368" y="connsiteY19368"/>
              </a:cxn>
              <a:cxn ang="0">
                <a:pos x="connsiteX19369" y="connsiteY19369"/>
              </a:cxn>
              <a:cxn ang="0">
                <a:pos x="connsiteX19370" y="connsiteY19370"/>
              </a:cxn>
              <a:cxn ang="0">
                <a:pos x="connsiteX19371" y="connsiteY19371"/>
              </a:cxn>
              <a:cxn ang="0">
                <a:pos x="connsiteX19372" y="connsiteY19372"/>
              </a:cxn>
              <a:cxn ang="0">
                <a:pos x="connsiteX19373" y="connsiteY19373"/>
              </a:cxn>
              <a:cxn ang="0">
                <a:pos x="connsiteX19374" y="connsiteY19374"/>
              </a:cxn>
              <a:cxn ang="0">
                <a:pos x="connsiteX19375" y="connsiteY19375"/>
              </a:cxn>
              <a:cxn ang="0">
                <a:pos x="connsiteX19376" y="connsiteY19376"/>
              </a:cxn>
              <a:cxn ang="0">
                <a:pos x="connsiteX19377" y="connsiteY19377"/>
              </a:cxn>
              <a:cxn ang="0">
                <a:pos x="connsiteX19378" y="connsiteY19378"/>
              </a:cxn>
              <a:cxn ang="0">
                <a:pos x="connsiteX19379" y="connsiteY19379"/>
              </a:cxn>
              <a:cxn ang="0">
                <a:pos x="connsiteX19380" y="connsiteY19380"/>
              </a:cxn>
              <a:cxn ang="0">
                <a:pos x="connsiteX19381" y="connsiteY19381"/>
              </a:cxn>
              <a:cxn ang="0">
                <a:pos x="connsiteX19382" y="connsiteY19382"/>
              </a:cxn>
              <a:cxn ang="0">
                <a:pos x="connsiteX19383" y="connsiteY19383"/>
              </a:cxn>
              <a:cxn ang="0">
                <a:pos x="connsiteX19384" y="connsiteY19384"/>
              </a:cxn>
              <a:cxn ang="0">
                <a:pos x="connsiteX19385" y="connsiteY19385"/>
              </a:cxn>
              <a:cxn ang="0">
                <a:pos x="connsiteX19386" y="connsiteY19386"/>
              </a:cxn>
              <a:cxn ang="0">
                <a:pos x="connsiteX19387" y="connsiteY19387"/>
              </a:cxn>
              <a:cxn ang="0">
                <a:pos x="connsiteX19388" y="connsiteY19388"/>
              </a:cxn>
              <a:cxn ang="0">
                <a:pos x="connsiteX19389" y="connsiteY19389"/>
              </a:cxn>
              <a:cxn ang="0">
                <a:pos x="connsiteX19390" y="connsiteY19390"/>
              </a:cxn>
              <a:cxn ang="0">
                <a:pos x="connsiteX19391" y="connsiteY19391"/>
              </a:cxn>
              <a:cxn ang="0">
                <a:pos x="connsiteX19392" y="connsiteY19392"/>
              </a:cxn>
              <a:cxn ang="0">
                <a:pos x="connsiteX19393" y="connsiteY19393"/>
              </a:cxn>
              <a:cxn ang="0">
                <a:pos x="connsiteX19394" y="connsiteY19394"/>
              </a:cxn>
              <a:cxn ang="0">
                <a:pos x="connsiteX19395" y="connsiteY19395"/>
              </a:cxn>
              <a:cxn ang="0">
                <a:pos x="connsiteX19396" y="connsiteY19396"/>
              </a:cxn>
              <a:cxn ang="0">
                <a:pos x="connsiteX19397" y="connsiteY19397"/>
              </a:cxn>
              <a:cxn ang="0">
                <a:pos x="connsiteX19398" y="connsiteY19398"/>
              </a:cxn>
              <a:cxn ang="0">
                <a:pos x="connsiteX19399" y="connsiteY19399"/>
              </a:cxn>
              <a:cxn ang="0">
                <a:pos x="connsiteX19400" y="connsiteY19400"/>
              </a:cxn>
              <a:cxn ang="0">
                <a:pos x="connsiteX19401" y="connsiteY19401"/>
              </a:cxn>
              <a:cxn ang="0">
                <a:pos x="connsiteX19402" y="connsiteY19402"/>
              </a:cxn>
              <a:cxn ang="0">
                <a:pos x="connsiteX19403" y="connsiteY19403"/>
              </a:cxn>
              <a:cxn ang="0">
                <a:pos x="connsiteX19404" y="connsiteY19404"/>
              </a:cxn>
              <a:cxn ang="0">
                <a:pos x="connsiteX19405" y="connsiteY19405"/>
              </a:cxn>
              <a:cxn ang="0">
                <a:pos x="connsiteX19406" y="connsiteY19406"/>
              </a:cxn>
              <a:cxn ang="0">
                <a:pos x="connsiteX19407" y="connsiteY19407"/>
              </a:cxn>
              <a:cxn ang="0">
                <a:pos x="connsiteX19408" y="connsiteY19408"/>
              </a:cxn>
              <a:cxn ang="0">
                <a:pos x="connsiteX19409" y="connsiteY19409"/>
              </a:cxn>
              <a:cxn ang="0">
                <a:pos x="connsiteX19410" y="connsiteY19410"/>
              </a:cxn>
              <a:cxn ang="0">
                <a:pos x="connsiteX19411" y="connsiteY19411"/>
              </a:cxn>
              <a:cxn ang="0">
                <a:pos x="connsiteX19412" y="connsiteY19412"/>
              </a:cxn>
              <a:cxn ang="0">
                <a:pos x="connsiteX19413" y="connsiteY19413"/>
              </a:cxn>
              <a:cxn ang="0">
                <a:pos x="connsiteX19414" y="connsiteY19414"/>
              </a:cxn>
              <a:cxn ang="0">
                <a:pos x="connsiteX19415" y="connsiteY19415"/>
              </a:cxn>
              <a:cxn ang="0">
                <a:pos x="connsiteX19416" y="connsiteY19416"/>
              </a:cxn>
              <a:cxn ang="0">
                <a:pos x="connsiteX19417" y="connsiteY19417"/>
              </a:cxn>
              <a:cxn ang="0">
                <a:pos x="connsiteX19418" y="connsiteY19418"/>
              </a:cxn>
              <a:cxn ang="0">
                <a:pos x="connsiteX19419" y="connsiteY19419"/>
              </a:cxn>
              <a:cxn ang="0">
                <a:pos x="connsiteX19420" y="connsiteY19420"/>
              </a:cxn>
              <a:cxn ang="0">
                <a:pos x="connsiteX19421" y="connsiteY19421"/>
              </a:cxn>
              <a:cxn ang="0">
                <a:pos x="connsiteX19422" y="connsiteY19422"/>
              </a:cxn>
              <a:cxn ang="0">
                <a:pos x="connsiteX19423" y="connsiteY19423"/>
              </a:cxn>
              <a:cxn ang="0">
                <a:pos x="connsiteX19424" y="connsiteY19424"/>
              </a:cxn>
              <a:cxn ang="0">
                <a:pos x="connsiteX19425" y="connsiteY19425"/>
              </a:cxn>
              <a:cxn ang="0">
                <a:pos x="connsiteX19426" y="connsiteY19426"/>
              </a:cxn>
              <a:cxn ang="0">
                <a:pos x="connsiteX19427" y="connsiteY19427"/>
              </a:cxn>
              <a:cxn ang="0">
                <a:pos x="connsiteX19428" y="connsiteY19428"/>
              </a:cxn>
              <a:cxn ang="0">
                <a:pos x="connsiteX19429" y="connsiteY19429"/>
              </a:cxn>
              <a:cxn ang="0">
                <a:pos x="connsiteX19430" y="connsiteY19430"/>
              </a:cxn>
              <a:cxn ang="0">
                <a:pos x="connsiteX19431" y="connsiteY19431"/>
              </a:cxn>
              <a:cxn ang="0">
                <a:pos x="connsiteX19432" y="connsiteY19432"/>
              </a:cxn>
              <a:cxn ang="0">
                <a:pos x="connsiteX19433" y="connsiteY19433"/>
              </a:cxn>
              <a:cxn ang="0">
                <a:pos x="connsiteX19434" y="connsiteY19434"/>
              </a:cxn>
              <a:cxn ang="0">
                <a:pos x="connsiteX19435" y="connsiteY19435"/>
              </a:cxn>
              <a:cxn ang="0">
                <a:pos x="connsiteX19436" y="connsiteY19436"/>
              </a:cxn>
              <a:cxn ang="0">
                <a:pos x="connsiteX19437" y="connsiteY19437"/>
              </a:cxn>
              <a:cxn ang="0">
                <a:pos x="connsiteX19438" y="connsiteY19438"/>
              </a:cxn>
              <a:cxn ang="0">
                <a:pos x="connsiteX19439" y="connsiteY19439"/>
              </a:cxn>
              <a:cxn ang="0">
                <a:pos x="connsiteX19440" y="connsiteY19440"/>
              </a:cxn>
              <a:cxn ang="0">
                <a:pos x="connsiteX19441" y="connsiteY19441"/>
              </a:cxn>
              <a:cxn ang="0">
                <a:pos x="connsiteX19442" y="connsiteY19442"/>
              </a:cxn>
              <a:cxn ang="0">
                <a:pos x="connsiteX19443" y="connsiteY19443"/>
              </a:cxn>
              <a:cxn ang="0">
                <a:pos x="connsiteX19444" y="connsiteY19444"/>
              </a:cxn>
              <a:cxn ang="0">
                <a:pos x="connsiteX19445" y="connsiteY19445"/>
              </a:cxn>
              <a:cxn ang="0">
                <a:pos x="connsiteX19446" y="connsiteY19446"/>
              </a:cxn>
              <a:cxn ang="0">
                <a:pos x="connsiteX19447" y="connsiteY19447"/>
              </a:cxn>
              <a:cxn ang="0">
                <a:pos x="connsiteX19448" y="connsiteY19448"/>
              </a:cxn>
              <a:cxn ang="0">
                <a:pos x="connsiteX19449" y="connsiteY19449"/>
              </a:cxn>
              <a:cxn ang="0">
                <a:pos x="connsiteX19450" y="connsiteY19450"/>
              </a:cxn>
              <a:cxn ang="0">
                <a:pos x="connsiteX19451" y="connsiteY19451"/>
              </a:cxn>
              <a:cxn ang="0">
                <a:pos x="connsiteX19452" y="connsiteY19452"/>
              </a:cxn>
              <a:cxn ang="0">
                <a:pos x="connsiteX19453" y="connsiteY19453"/>
              </a:cxn>
              <a:cxn ang="0">
                <a:pos x="connsiteX19454" y="connsiteY19454"/>
              </a:cxn>
              <a:cxn ang="0">
                <a:pos x="connsiteX19455" y="connsiteY19455"/>
              </a:cxn>
              <a:cxn ang="0">
                <a:pos x="connsiteX19456" y="connsiteY19456"/>
              </a:cxn>
              <a:cxn ang="0">
                <a:pos x="connsiteX19457" y="connsiteY19457"/>
              </a:cxn>
              <a:cxn ang="0">
                <a:pos x="connsiteX19458" y="connsiteY19458"/>
              </a:cxn>
              <a:cxn ang="0">
                <a:pos x="connsiteX19459" y="connsiteY19459"/>
              </a:cxn>
              <a:cxn ang="0">
                <a:pos x="connsiteX19460" y="connsiteY19460"/>
              </a:cxn>
              <a:cxn ang="0">
                <a:pos x="connsiteX19461" y="connsiteY19461"/>
              </a:cxn>
              <a:cxn ang="0">
                <a:pos x="connsiteX19462" y="connsiteY19462"/>
              </a:cxn>
              <a:cxn ang="0">
                <a:pos x="connsiteX19463" y="connsiteY19463"/>
              </a:cxn>
              <a:cxn ang="0">
                <a:pos x="connsiteX19464" y="connsiteY19464"/>
              </a:cxn>
              <a:cxn ang="0">
                <a:pos x="connsiteX19465" y="connsiteY19465"/>
              </a:cxn>
              <a:cxn ang="0">
                <a:pos x="connsiteX19466" y="connsiteY19466"/>
              </a:cxn>
              <a:cxn ang="0">
                <a:pos x="connsiteX19467" y="connsiteY19467"/>
              </a:cxn>
              <a:cxn ang="0">
                <a:pos x="connsiteX19468" y="connsiteY19468"/>
              </a:cxn>
              <a:cxn ang="0">
                <a:pos x="connsiteX19469" y="connsiteY19469"/>
              </a:cxn>
              <a:cxn ang="0">
                <a:pos x="connsiteX19470" y="connsiteY19470"/>
              </a:cxn>
              <a:cxn ang="0">
                <a:pos x="connsiteX19471" y="connsiteY19471"/>
              </a:cxn>
              <a:cxn ang="0">
                <a:pos x="connsiteX19472" y="connsiteY19472"/>
              </a:cxn>
              <a:cxn ang="0">
                <a:pos x="connsiteX19473" y="connsiteY19473"/>
              </a:cxn>
              <a:cxn ang="0">
                <a:pos x="connsiteX19474" y="connsiteY19474"/>
              </a:cxn>
              <a:cxn ang="0">
                <a:pos x="connsiteX19475" y="connsiteY19475"/>
              </a:cxn>
              <a:cxn ang="0">
                <a:pos x="connsiteX19476" y="connsiteY19476"/>
              </a:cxn>
              <a:cxn ang="0">
                <a:pos x="connsiteX19477" y="connsiteY19477"/>
              </a:cxn>
              <a:cxn ang="0">
                <a:pos x="connsiteX19478" y="connsiteY19478"/>
              </a:cxn>
              <a:cxn ang="0">
                <a:pos x="connsiteX19479" y="connsiteY19479"/>
              </a:cxn>
              <a:cxn ang="0">
                <a:pos x="connsiteX19480" y="connsiteY19480"/>
              </a:cxn>
              <a:cxn ang="0">
                <a:pos x="connsiteX19481" y="connsiteY19481"/>
              </a:cxn>
              <a:cxn ang="0">
                <a:pos x="connsiteX19482" y="connsiteY19482"/>
              </a:cxn>
              <a:cxn ang="0">
                <a:pos x="connsiteX19483" y="connsiteY19483"/>
              </a:cxn>
              <a:cxn ang="0">
                <a:pos x="connsiteX19484" y="connsiteY19484"/>
              </a:cxn>
              <a:cxn ang="0">
                <a:pos x="connsiteX19485" y="connsiteY19485"/>
              </a:cxn>
              <a:cxn ang="0">
                <a:pos x="connsiteX19486" y="connsiteY19486"/>
              </a:cxn>
              <a:cxn ang="0">
                <a:pos x="connsiteX19487" y="connsiteY19487"/>
              </a:cxn>
              <a:cxn ang="0">
                <a:pos x="connsiteX19488" y="connsiteY19488"/>
              </a:cxn>
              <a:cxn ang="0">
                <a:pos x="connsiteX19489" y="connsiteY19489"/>
              </a:cxn>
              <a:cxn ang="0">
                <a:pos x="connsiteX19490" y="connsiteY19490"/>
              </a:cxn>
              <a:cxn ang="0">
                <a:pos x="connsiteX19491" y="connsiteY19491"/>
              </a:cxn>
              <a:cxn ang="0">
                <a:pos x="connsiteX19492" y="connsiteY19492"/>
              </a:cxn>
              <a:cxn ang="0">
                <a:pos x="connsiteX19493" y="connsiteY19493"/>
              </a:cxn>
              <a:cxn ang="0">
                <a:pos x="connsiteX19494" y="connsiteY19494"/>
              </a:cxn>
              <a:cxn ang="0">
                <a:pos x="connsiteX19495" y="connsiteY19495"/>
              </a:cxn>
              <a:cxn ang="0">
                <a:pos x="connsiteX19496" y="connsiteY19496"/>
              </a:cxn>
              <a:cxn ang="0">
                <a:pos x="connsiteX19497" y="connsiteY19497"/>
              </a:cxn>
              <a:cxn ang="0">
                <a:pos x="connsiteX19498" y="connsiteY19498"/>
              </a:cxn>
              <a:cxn ang="0">
                <a:pos x="connsiteX19499" y="connsiteY19499"/>
              </a:cxn>
              <a:cxn ang="0">
                <a:pos x="connsiteX19500" y="connsiteY19500"/>
              </a:cxn>
              <a:cxn ang="0">
                <a:pos x="connsiteX19501" y="connsiteY19501"/>
              </a:cxn>
              <a:cxn ang="0">
                <a:pos x="connsiteX19502" y="connsiteY19502"/>
              </a:cxn>
              <a:cxn ang="0">
                <a:pos x="connsiteX19503" y="connsiteY19503"/>
              </a:cxn>
              <a:cxn ang="0">
                <a:pos x="connsiteX19504" y="connsiteY19504"/>
              </a:cxn>
              <a:cxn ang="0">
                <a:pos x="connsiteX19505" y="connsiteY19505"/>
              </a:cxn>
              <a:cxn ang="0">
                <a:pos x="connsiteX19506" y="connsiteY19506"/>
              </a:cxn>
              <a:cxn ang="0">
                <a:pos x="connsiteX19507" y="connsiteY19507"/>
              </a:cxn>
              <a:cxn ang="0">
                <a:pos x="connsiteX19508" y="connsiteY19508"/>
              </a:cxn>
              <a:cxn ang="0">
                <a:pos x="connsiteX19509" y="connsiteY19509"/>
              </a:cxn>
              <a:cxn ang="0">
                <a:pos x="connsiteX19510" y="connsiteY19510"/>
              </a:cxn>
              <a:cxn ang="0">
                <a:pos x="connsiteX19511" y="connsiteY19511"/>
              </a:cxn>
              <a:cxn ang="0">
                <a:pos x="connsiteX19512" y="connsiteY19512"/>
              </a:cxn>
              <a:cxn ang="0">
                <a:pos x="connsiteX19513" y="connsiteY19513"/>
              </a:cxn>
              <a:cxn ang="0">
                <a:pos x="connsiteX19514" y="connsiteY19514"/>
              </a:cxn>
              <a:cxn ang="0">
                <a:pos x="connsiteX19515" y="connsiteY19515"/>
              </a:cxn>
              <a:cxn ang="0">
                <a:pos x="connsiteX19516" y="connsiteY19516"/>
              </a:cxn>
              <a:cxn ang="0">
                <a:pos x="connsiteX19517" y="connsiteY19517"/>
              </a:cxn>
              <a:cxn ang="0">
                <a:pos x="connsiteX19518" y="connsiteY19518"/>
              </a:cxn>
              <a:cxn ang="0">
                <a:pos x="connsiteX19519" y="connsiteY19519"/>
              </a:cxn>
              <a:cxn ang="0">
                <a:pos x="connsiteX19520" y="connsiteY19520"/>
              </a:cxn>
              <a:cxn ang="0">
                <a:pos x="connsiteX19521" y="connsiteY19521"/>
              </a:cxn>
              <a:cxn ang="0">
                <a:pos x="connsiteX19522" y="connsiteY19522"/>
              </a:cxn>
              <a:cxn ang="0">
                <a:pos x="connsiteX19523" y="connsiteY19523"/>
              </a:cxn>
              <a:cxn ang="0">
                <a:pos x="connsiteX19524" y="connsiteY19524"/>
              </a:cxn>
              <a:cxn ang="0">
                <a:pos x="connsiteX19525" y="connsiteY19525"/>
              </a:cxn>
              <a:cxn ang="0">
                <a:pos x="connsiteX19526" y="connsiteY19526"/>
              </a:cxn>
              <a:cxn ang="0">
                <a:pos x="connsiteX19527" y="connsiteY19527"/>
              </a:cxn>
              <a:cxn ang="0">
                <a:pos x="connsiteX19528" y="connsiteY19528"/>
              </a:cxn>
              <a:cxn ang="0">
                <a:pos x="connsiteX19529" y="connsiteY19529"/>
              </a:cxn>
              <a:cxn ang="0">
                <a:pos x="connsiteX19530" y="connsiteY19530"/>
              </a:cxn>
              <a:cxn ang="0">
                <a:pos x="connsiteX19531" y="connsiteY19531"/>
              </a:cxn>
              <a:cxn ang="0">
                <a:pos x="connsiteX19532" y="connsiteY19532"/>
              </a:cxn>
              <a:cxn ang="0">
                <a:pos x="connsiteX19533" y="connsiteY19533"/>
              </a:cxn>
              <a:cxn ang="0">
                <a:pos x="connsiteX19534" y="connsiteY19534"/>
              </a:cxn>
              <a:cxn ang="0">
                <a:pos x="connsiteX19535" y="connsiteY19535"/>
              </a:cxn>
              <a:cxn ang="0">
                <a:pos x="connsiteX19536" y="connsiteY19536"/>
              </a:cxn>
              <a:cxn ang="0">
                <a:pos x="connsiteX19537" y="connsiteY19537"/>
              </a:cxn>
              <a:cxn ang="0">
                <a:pos x="connsiteX19538" y="connsiteY19538"/>
              </a:cxn>
              <a:cxn ang="0">
                <a:pos x="connsiteX19539" y="connsiteY19539"/>
              </a:cxn>
              <a:cxn ang="0">
                <a:pos x="connsiteX19540" y="connsiteY19540"/>
              </a:cxn>
              <a:cxn ang="0">
                <a:pos x="connsiteX19541" y="connsiteY19541"/>
              </a:cxn>
              <a:cxn ang="0">
                <a:pos x="connsiteX19542" y="connsiteY19542"/>
              </a:cxn>
              <a:cxn ang="0">
                <a:pos x="connsiteX19543" y="connsiteY19543"/>
              </a:cxn>
              <a:cxn ang="0">
                <a:pos x="connsiteX19544" y="connsiteY19544"/>
              </a:cxn>
              <a:cxn ang="0">
                <a:pos x="connsiteX19545" y="connsiteY19545"/>
              </a:cxn>
              <a:cxn ang="0">
                <a:pos x="connsiteX19546" y="connsiteY19546"/>
              </a:cxn>
              <a:cxn ang="0">
                <a:pos x="connsiteX19547" y="connsiteY19547"/>
              </a:cxn>
              <a:cxn ang="0">
                <a:pos x="connsiteX19548" y="connsiteY19548"/>
              </a:cxn>
              <a:cxn ang="0">
                <a:pos x="connsiteX19549" y="connsiteY19549"/>
              </a:cxn>
              <a:cxn ang="0">
                <a:pos x="connsiteX19550" y="connsiteY19550"/>
              </a:cxn>
              <a:cxn ang="0">
                <a:pos x="connsiteX19551" y="connsiteY19551"/>
              </a:cxn>
              <a:cxn ang="0">
                <a:pos x="connsiteX19552" y="connsiteY19552"/>
              </a:cxn>
              <a:cxn ang="0">
                <a:pos x="connsiteX19553" y="connsiteY19553"/>
              </a:cxn>
              <a:cxn ang="0">
                <a:pos x="connsiteX19554" y="connsiteY19554"/>
              </a:cxn>
              <a:cxn ang="0">
                <a:pos x="connsiteX19555" y="connsiteY19555"/>
              </a:cxn>
              <a:cxn ang="0">
                <a:pos x="connsiteX19556" y="connsiteY19556"/>
              </a:cxn>
              <a:cxn ang="0">
                <a:pos x="connsiteX19557" y="connsiteY19557"/>
              </a:cxn>
              <a:cxn ang="0">
                <a:pos x="connsiteX19558" y="connsiteY19558"/>
              </a:cxn>
              <a:cxn ang="0">
                <a:pos x="connsiteX19559" y="connsiteY19559"/>
              </a:cxn>
              <a:cxn ang="0">
                <a:pos x="connsiteX19560" y="connsiteY19560"/>
              </a:cxn>
              <a:cxn ang="0">
                <a:pos x="connsiteX19561" y="connsiteY19561"/>
              </a:cxn>
              <a:cxn ang="0">
                <a:pos x="connsiteX19562" y="connsiteY19562"/>
              </a:cxn>
              <a:cxn ang="0">
                <a:pos x="connsiteX19563" y="connsiteY19563"/>
              </a:cxn>
              <a:cxn ang="0">
                <a:pos x="connsiteX19564" y="connsiteY19564"/>
              </a:cxn>
              <a:cxn ang="0">
                <a:pos x="connsiteX19565" y="connsiteY19565"/>
              </a:cxn>
              <a:cxn ang="0">
                <a:pos x="connsiteX19566" y="connsiteY19566"/>
              </a:cxn>
              <a:cxn ang="0">
                <a:pos x="connsiteX19567" y="connsiteY19567"/>
              </a:cxn>
              <a:cxn ang="0">
                <a:pos x="connsiteX19568" y="connsiteY19568"/>
              </a:cxn>
              <a:cxn ang="0">
                <a:pos x="connsiteX19569" y="connsiteY19569"/>
              </a:cxn>
              <a:cxn ang="0">
                <a:pos x="connsiteX19570" y="connsiteY19570"/>
              </a:cxn>
              <a:cxn ang="0">
                <a:pos x="connsiteX19571" y="connsiteY19571"/>
              </a:cxn>
              <a:cxn ang="0">
                <a:pos x="connsiteX19572" y="connsiteY19572"/>
              </a:cxn>
              <a:cxn ang="0">
                <a:pos x="connsiteX19573" y="connsiteY19573"/>
              </a:cxn>
              <a:cxn ang="0">
                <a:pos x="connsiteX19574" y="connsiteY19574"/>
              </a:cxn>
              <a:cxn ang="0">
                <a:pos x="connsiteX19575" y="connsiteY19575"/>
              </a:cxn>
              <a:cxn ang="0">
                <a:pos x="connsiteX19576" y="connsiteY19576"/>
              </a:cxn>
              <a:cxn ang="0">
                <a:pos x="connsiteX19577" y="connsiteY19577"/>
              </a:cxn>
              <a:cxn ang="0">
                <a:pos x="connsiteX19578" y="connsiteY19578"/>
              </a:cxn>
              <a:cxn ang="0">
                <a:pos x="connsiteX19579" y="connsiteY19579"/>
              </a:cxn>
              <a:cxn ang="0">
                <a:pos x="connsiteX19580" y="connsiteY19580"/>
              </a:cxn>
              <a:cxn ang="0">
                <a:pos x="connsiteX19581" y="connsiteY19581"/>
              </a:cxn>
              <a:cxn ang="0">
                <a:pos x="connsiteX19582" y="connsiteY19582"/>
              </a:cxn>
              <a:cxn ang="0">
                <a:pos x="connsiteX19583" y="connsiteY19583"/>
              </a:cxn>
              <a:cxn ang="0">
                <a:pos x="connsiteX19584" y="connsiteY19584"/>
              </a:cxn>
              <a:cxn ang="0">
                <a:pos x="connsiteX19585" y="connsiteY19585"/>
              </a:cxn>
              <a:cxn ang="0">
                <a:pos x="connsiteX19586" y="connsiteY19586"/>
              </a:cxn>
              <a:cxn ang="0">
                <a:pos x="connsiteX19587" y="connsiteY19587"/>
              </a:cxn>
              <a:cxn ang="0">
                <a:pos x="connsiteX19588" y="connsiteY19588"/>
              </a:cxn>
              <a:cxn ang="0">
                <a:pos x="connsiteX19589" y="connsiteY19589"/>
              </a:cxn>
              <a:cxn ang="0">
                <a:pos x="connsiteX19590" y="connsiteY19590"/>
              </a:cxn>
              <a:cxn ang="0">
                <a:pos x="connsiteX19591" y="connsiteY19591"/>
              </a:cxn>
              <a:cxn ang="0">
                <a:pos x="connsiteX19592" y="connsiteY19592"/>
              </a:cxn>
              <a:cxn ang="0">
                <a:pos x="connsiteX19593" y="connsiteY19593"/>
              </a:cxn>
              <a:cxn ang="0">
                <a:pos x="connsiteX19594" y="connsiteY19594"/>
              </a:cxn>
              <a:cxn ang="0">
                <a:pos x="connsiteX19595" y="connsiteY19595"/>
              </a:cxn>
              <a:cxn ang="0">
                <a:pos x="connsiteX19596" y="connsiteY19596"/>
              </a:cxn>
              <a:cxn ang="0">
                <a:pos x="connsiteX19597" y="connsiteY19597"/>
              </a:cxn>
              <a:cxn ang="0">
                <a:pos x="connsiteX19598" y="connsiteY19598"/>
              </a:cxn>
              <a:cxn ang="0">
                <a:pos x="connsiteX19599" y="connsiteY19599"/>
              </a:cxn>
              <a:cxn ang="0">
                <a:pos x="connsiteX19600" y="connsiteY19600"/>
              </a:cxn>
              <a:cxn ang="0">
                <a:pos x="connsiteX19601" y="connsiteY19601"/>
              </a:cxn>
              <a:cxn ang="0">
                <a:pos x="connsiteX19602" y="connsiteY19602"/>
              </a:cxn>
              <a:cxn ang="0">
                <a:pos x="connsiteX19603" y="connsiteY19603"/>
              </a:cxn>
              <a:cxn ang="0">
                <a:pos x="connsiteX19604" y="connsiteY19604"/>
              </a:cxn>
              <a:cxn ang="0">
                <a:pos x="connsiteX19605" y="connsiteY19605"/>
              </a:cxn>
              <a:cxn ang="0">
                <a:pos x="connsiteX19606" y="connsiteY19606"/>
              </a:cxn>
              <a:cxn ang="0">
                <a:pos x="connsiteX19607" y="connsiteY19607"/>
              </a:cxn>
              <a:cxn ang="0">
                <a:pos x="connsiteX19608" y="connsiteY19608"/>
              </a:cxn>
              <a:cxn ang="0">
                <a:pos x="connsiteX19609" y="connsiteY19609"/>
              </a:cxn>
              <a:cxn ang="0">
                <a:pos x="connsiteX19610" y="connsiteY19610"/>
              </a:cxn>
              <a:cxn ang="0">
                <a:pos x="connsiteX19611" y="connsiteY19611"/>
              </a:cxn>
              <a:cxn ang="0">
                <a:pos x="connsiteX19612" y="connsiteY19612"/>
              </a:cxn>
              <a:cxn ang="0">
                <a:pos x="connsiteX19613" y="connsiteY19613"/>
              </a:cxn>
              <a:cxn ang="0">
                <a:pos x="connsiteX19614" y="connsiteY19614"/>
              </a:cxn>
              <a:cxn ang="0">
                <a:pos x="connsiteX19615" y="connsiteY19615"/>
              </a:cxn>
              <a:cxn ang="0">
                <a:pos x="connsiteX19616" y="connsiteY19616"/>
              </a:cxn>
              <a:cxn ang="0">
                <a:pos x="connsiteX19617" y="connsiteY19617"/>
              </a:cxn>
              <a:cxn ang="0">
                <a:pos x="connsiteX19618" y="connsiteY19618"/>
              </a:cxn>
              <a:cxn ang="0">
                <a:pos x="connsiteX19619" y="connsiteY19619"/>
              </a:cxn>
              <a:cxn ang="0">
                <a:pos x="connsiteX19620" y="connsiteY19620"/>
              </a:cxn>
              <a:cxn ang="0">
                <a:pos x="connsiteX19621" y="connsiteY19621"/>
              </a:cxn>
              <a:cxn ang="0">
                <a:pos x="connsiteX19622" y="connsiteY19622"/>
              </a:cxn>
              <a:cxn ang="0">
                <a:pos x="connsiteX19623" y="connsiteY19623"/>
              </a:cxn>
              <a:cxn ang="0">
                <a:pos x="connsiteX19624" y="connsiteY19624"/>
              </a:cxn>
              <a:cxn ang="0">
                <a:pos x="connsiteX19625" y="connsiteY19625"/>
              </a:cxn>
              <a:cxn ang="0">
                <a:pos x="connsiteX19626" y="connsiteY19626"/>
              </a:cxn>
              <a:cxn ang="0">
                <a:pos x="connsiteX19627" y="connsiteY19627"/>
              </a:cxn>
              <a:cxn ang="0">
                <a:pos x="connsiteX19628" y="connsiteY19628"/>
              </a:cxn>
              <a:cxn ang="0">
                <a:pos x="connsiteX19629" y="connsiteY19629"/>
              </a:cxn>
              <a:cxn ang="0">
                <a:pos x="connsiteX19630" y="connsiteY19630"/>
              </a:cxn>
              <a:cxn ang="0">
                <a:pos x="connsiteX19631" y="connsiteY19631"/>
              </a:cxn>
              <a:cxn ang="0">
                <a:pos x="connsiteX19632" y="connsiteY19632"/>
              </a:cxn>
              <a:cxn ang="0">
                <a:pos x="connsiteX19633" y="connsiteY19633"/>
              </a:cxn>
              <a:cxn ang="0">
                <a:pos x="connsiteX19634" y="connsiteY19634"/>
              </a:cxn>
              <a:cxn ang="0">
                <a:pos x="connsiteX19635" y="connsiteY19635"/>
              </a:cxn>
              <a:cxn ang="0">
                <a:pos x="connsiteX19636" y="connsiteY19636"/>
              </a:cxn>
              <a:cxn ang="0">
                <a:pos x="connsiteX19637" y="connsiteY19637"/>
              </a:cxn>
              <a:cxn ang="0">
                <a:pos x="connsiteX19638" y="connsiteY19638"/>
              </a:cxn>
              <a:cxn ang="0">
                <a:pos x="connsiteX19639" y="connsiteY19639"/>
              </a:cxn>
              <a:cxn ang="0">
                <a:pos x="connsiteX19640" y="connsiteY19640"/>
              </a:cxn>
              <a:cxn ang="0">
                <a:pos x="connsiteX19641" y="connsiteY19641"/>
              </a:cxn>
              <a:cxn ang="0">
                <a:pos x="connsiteX19642" y="connsiteY19642"/>
              </a:cxn>
              <a:cxn ang="0">
                <a:pos x="connsiteX19643" y="connsiteY19643"/>
              </a:cxn>
              <a:cxn ang="0">
                <a:pos x="connsiteX19644" y="connsiteY19644"/>
              </a:cxn>
              <a:cxn ang="0">
                <a:pos x="connsiteX19645" y="connsiteY19645"/>
              </a:cxn>
              <a:cxn ang="0">
                <a:pos x="connsiteX19646" y="connsiteY19646"/>
              </a:cxn>
              <a:cxn ang="0">
                <a:pos x="connsiteX19647" y="connsiteY19647"/>
              </a:cxn>
              <a:cxn ang="0">
                <a:pos x="connsiteX19648" y="connsiteY19648"/>
              </a:cxn>
              <a:cxn ang="0">
                <a:pos x="connsiteX19649" y="connsiteY19649"/>
              </a:cxn>
              <a:cxn ang="0">
                <a:pos x="connsiteX19650" y="connsiteY19650"/>
              </a:cxn>
              <a:cxn ang="0">
                <a:pos x="connsiteX19651" y="connsiteY19651"/>
              </a:cxn>
              <a:cxn ang="0">
                <a:pos x="connsiteX19652" y="connsiteY19652"/>
              </a:cxn>
              <a:cxn ang="0">
                <a:pos x="connsiteX19653" y="connsiteY19653"/>
              </a:cxn>
              <a:cxn ang="0">
                <a:pos x="connsiteX19654" y="connsiteY19654"/>
              </a:cxn>
              <a:cxn ang="0">
                <a:pos x="connsiteX19655" y="connsiteY19655"/>
              </a:cxn>
              <a:cxn ang="0">
                <a:pos x="connsiteX19656" y="connsiteY19656"/>
              </a:cxn>
              <a:cxn ang="0">
                <a:pos x="connsiteX19657" y="connsiteY19657"/>
              </a:cxn>
              <a:cxn ang="0">
                <a:pos x="connsiteX19658" y="connsiteY19658"/>
              </a:cxn>
              <a:cxn ang="0">
                <a:pos x="connsiteX19659" y="connsiteY19659"/>
              </a:cxn>
              <a:cxn ang="0">
                <a:pos x="connsiteX19660" y="connsiteY19660"/>
              </a:cxn>
              <a:cxn ang="0">
                <a:pos x="connsiteX19661" y="connsiteY19661"/>
              </a:cxn>
              <a:cxn ang="0">
                <a:pos x="connsiteX19662" y="connsiteY19662"/>
              </a:cxn>
              <a:cxn ang="0">
                <a:pos x="connsiteX19663" y="connsiteY19663"/>
              </a:cxn>
              <a:cxn ang="0">
                <a:pos x="connsiteX19664" y="connsiteY19664"/>
              </a:cxn>
              <a:cxn ang="0">
                <a:pos x="connsiteX19665" y="connsiteY19665"/>
              </a:cxn>
              <a:cxn ang="0">
                <a:pos x="connsiteX19666" y="connsiteY19666"/>
              </a:cxn>
              <a:cxn ang="0">
                <a:pos x="connsiteX19667" y="connsiteY19667"/>
              </a:cxn>
              <a:cxn ang="0">
                <a:pos x="connsiteX19668" y="connsiteY19668"/>
              </a:cxn>
              <a:cxn ang="0">
                <a:pos x="connsiteX19669" y="connsiteY19669"/>
              </a:cxn>
              <a:cxn ang="0">
                <a:pos x="connsiteX19670" y="connsiteY19670"/>
              </a:cxn>
              <a:cxn ang="0">
                <a:pos x="connsiteX19671" y="connsiteY19671"/>
              </a:cxn>
              <a:cxn ang="0">
                <a:pos x="connsiteX19672" y="connsiteY19672"/>
              </a:cxn>
              <a:cxn ang="0">
                <a:pos x="connsiteX19673" y="connsiteY19673"/>
              </a:cxn>
              <a:cxn ang="0">
                <a:pos x="connsiteX19674" y="connsiteY19674"/>
              </a:cxn>
              <a:cxn ang="0">
                <a:pos x="connsiteX19675" y="connsiteY19675"/>
              </a:cxn>
              <a:cxn ang="0">
                <a:pos x="connsiteX19676" y="connsiteY19676"/>
              </a:cxn>
              <a:cxn ang="0">
                <a:pos x="connsiteX19677" y="connsiteY19677"/>
              </a:cxn>
              <a:cxn ang="0">
                <a:pos x="connsiteX19678" y="connsiteY19678"/>
              </a:cxn>
              <a:cxn ang="0">
                <a:pos x="connsiteX19679" y="connsiteY19679"/>
              </a:cxn>
              <a:cxn ang="0">
                <a:pos x="connsiteX19680" y="connsiteY19680"/>
              </a:cxn>
              <a:cxn ang="0">
                <a:pos x="connsiteX19681" y="connsiteY19681"/>
              </a:cxn>
              <a:cxn ang="0">
                <a:pos x="connsiteX19682" y="connsiteY19682"/>
              </a:cxn>
              <a:cxn ang="0">
                <a:pos x="connsiteX19683" y="connsiteY19683"/>
              </a:cxn>
              <a:cxn ang="0">
                <a:pos x="connsiteX19684" y="connsiteY19684"/>
              </a:cxn>
              <a:cxn ang="0">
                <a:pos x="connsiteX19685" y="connsiteY19685"/>
              </a:cxn>
              <a:cxn ang="0">
                <a:pos x="connsiteX19686" y="connsiteY19686"/>
              </a:cxn>
              <a:cxn ang="0">
                <a:pos x="connsiteX19687" y="connsiteY19687"/>
              </a:cxn>
              <a:cxn ang="0">
                <a:pos x="connsiteX19688" y="connsiteY19688"/>
              </a:cxn>
              <a:cxn ang="0">
                <a:pos x="connsiteX19689" y="connsiteY19689"/>
              </a:cxn>
              <a:cxn ang="0">
                <a:pos x="connsiteX19690" y="connsiteY19690"/>
              </a:cxn>
              <a:cxn ang="0">
                <a:pos x="connsiteX19691" y="connsiteY19691"/>
              </a:cxn>
              <a:cxn ang="0">
                <a:pos x="connsiteX19692" y="connsiteY19692"/>
              </a:cxn>
              <a:cxn ang="0">
                <a:pos x="connsiteX19693" y="connsiteY19693"/>
              </a:cxn>
              <a:cxn ang="0">
                <a:pos x="connsiteX19694" y="connsiteY19694"/>
              </a:cxn>
              <a:cxn ang="0">
                <a:pos x="connsiteX19695" y="connsiteY19695"/>
              </a:cxn>
              <a:cxn ang="0">
                <a:pos x="connsiteX19696" y="connsiteY19696"/>
              </a:cxn>
              <a:cxn ang="0">
                <a:pos x="connsiteX19697" y="connsiteY19697"/>
              </a:cxn>
              <a:cxn ang="0">
                <a:pos x="connsiteX19698" y="connsiteY19698"/>
              </a:cxn>
              <a:cxn ang="0">
                <a:pos x="connsiteX19699" y="connsiteY19699"/>
              </a:cxn>
              <a:cxn ang="0">
                <a:pos x="connsiteX19700" y="connsiteY19700"/>
              </a:cxn>
              <a:cxn ang="0">
                <a:pos x="connsiteX19701" y="connsiteY19701"/>
              </a:cxn>
              <a:cxn ang="0">
                <a:pos x="connsiteX19702" y="connsiteY19702"/>
              </a:cxn>
              <a:cxn ang="0">
                <a:pos x="connsiteX19703" y="connsiteY19703"/>
              </a:cxn>
              <a:cxn ang="0">
                <a:pos x="connsiteX19704" y="connsiteY19704"/>
              </a:cxn>
              <a:cxn ang="0">
                <a:pos x="connsiteX19705" y="connsiteY19705"/>
              </a:cxn>
              <a:cxn ang="0">
                <a:pos x="connsiteX19706" y="connsiteY19706"/>
              </a:cxn>
              <a:cxn ang="0">
                <a:pos x="connsiteX19707" y="connsiteY19707"/>
              </a:cxn>
              <a:cxn ang="0">
                <a:pos x="connsiteX19708" y="connsiteY19708"/>
              </a:cxn>
              <a:cxn ang="0">
                <a:pos x="connsiteX19709" y="connsiteY19709"/>
              </a:cxn>
              <a:cxn ang="0">
                <a:pos x="connsiteX19710" y="connsiteY19710"/>
              </a:cxn>
              <a:cxn ang="0">
                <a:pos x="connsiteX19711" y="connsiteY19711"/>
              </a:cxn>
              <a:cxn ang="0">
                <a:pos x="connsiteX19712" y="connsiteY19712"/>
              </a:cxn>
              <a:cxn ang="0">
                <a:pos x="connsiteX19713" y="connsiteY19713"/>
              </a:cxn>
              <a:cxn ang="0">
                <a:pos x="connsiteX19714" y="connsiteY19714"/>
              </a:cxn>
              <a:cxn ang="0">
                <a:pos x="connsiteX19715" y="connsiteY19715"/>
              </a:cxn>
              <a:cxn ang="0">
                <a:pos x="connsiteX19716" y="connsiteY19716"/>
              </a:cxn>
              <a:cxn ang="0">
                <a:pos x="connsiteX19717" y="connsiteY19717"/>
              </a:cxn>
              <a:cxn ang="0">
                <a:pos x="connsiteX19718" y="connsiteY19718"/>
              </a:cxn>
              <a:cxn ang="0">
                <a:pos x="connsiteX19719" y="connsiteY19719"/>
              </a:cxn>
              <a:cxn ang="0">
                <a:pos x="connsiteX19720" y="connsiteY19720"/>
              </a:cxn>
              <a:cxn ang="0">
                <a:pos x="connsiteX19721" y="connsiteY19721"/>
              </a:cxn>
              <a:cxn ang="0">
                <a:pos x="connsiteX19722" y="connsiteY19722"/>
              </a:cxn>
              <a:cxn ang="0">
                <a:pos x="connsiteX19723" y="connsiteY19723"/>
              </a:cxn>
              <a:cxn ang="0">
                <a:pos x="connsiteX19724" y="connsiteY19724"/>
              </a:cxn>
              <a:cxn ang="0">
                <a:pos x="connsiteX19725" y="connsiteY19725"/>
              </a:cxn>
              <a:cxn ang="0">
                <a:pos x="connsiteX19726" y="connsiteY19726"/>
              </a:cxn>
              <a:cxn ang="0">
                <a:pos x="connsiteX19727" y="connsiteY19727"/>
              </a:cxn>
              <a:cxn ang="0">
                <a:pos x="connsiteX19728" y="connsiteY19728"/>
              </a:cxn>
              <a:cxn ang="0">
                <a:pos x="connsiteX19729" y="connsiteY19729"/>
              </a:cxn>
              <a:cxn ang="0">
                <a:pos x="connsiteX19730" y="connsiteY19730"/>
              </a:cxn>
              <a:cxn ang="0">
                <a:pos x="connsiteX19731" y="connsiteY19731"/>
              </a:cxn>
              <a:cxn ang="0">
                <a:pos x="connsiteX19732" y="connsiteY19732"/>
              </a:cxn>
              <a:cxn ang="0">
                <a:pos x="connsiteX19733" y="connsiteY19733"/>
              </a:cxn>
              <a:cxn ang="0">
                <a:pos x="connsiteX19734" y="connsiteY19734"/>
              </a:cxn>
              <a:cxn ang="0">
                <a:pos x="connsiteX19735" y="connsiteY19735"/>
              </a:cxn>
              <a:cxn ang="0">
                <a:pos x="connsiteX19736" y="connsiteY19736"/>
              </a:cxn>
              <a:cxn ang="0">
                <a:pos x="connsiteX19737" y="connsiteY19737"/>
              </a:cxn>
              <a:cxn ang="0">
                <a:pos x="connsiteX19738" y="connsiteY19738"/>
              </a:cxn>
              <a:cxn ang="0">
                <a:pos x="connsiteX19739" y="connsiteY19739"/>
              </a:cxn>
              <a:cxn ang="0">
                <a:pos x="connsiteX19740" y="connsiteY19740"/>
              </a:cxn>
              <a:cxn ang="0">
                <a:pos x="connsiteX19741" y="connsiteY19741"/>
              </a:cxn>
              <a:cxn ang="0">
                <a:pos x="connsiteX19742" y="connsiteY19742"/>
              </a:cxn>
              <a:cxn ang="0">
                <a:pos x="connsiteX19743" y="connsiteY19743"/>
              </a:cxn>
              <a:cxn ang="0">
                <a:pos x="connsiteX19744" y="connsiteY19744"/>
              </a:cxn>
              <a:cxn ang="0">
                <a:pos x="connsiteX19745" y="connsiteY19745"/>
              </a:cxn>
              <a:cxn ang="0">
                <a:pos x="connsiteX19746" y="connsiteY19746"/>
              </a:cxn>
              <a:cxn ang="0">
                <a:pos x="connsiteX19747" y="connsiteY19747"/>
              </a:cxn>
              <a:cxn ang="0">
                <a:pos x="connsiteX19748" y="connsiteY19748"/>
              </a:cxn>
              <a:cxn ang="0">
                <a:pos x="connsiteX19749" y="connsiteY19749"/>
              </a:cxn>
              <a:cxn ang="0">
                <a:pos x="connsiteX19750" y="connsiteY19750"/>
              </a:cxn>
              <a:cxn ang="0">
                <a:pos x="connsiteX19751" y="connsiteY19751"/>
              </a:cxn>
              <a:cxn ang="0">
                <a:pos x="connsiteX19752" y="connsiteY19752"/>
              </a:cxn>
              <a:cxn ang="0">
                <a:pos x="connsiteX19753" y="connsiteY19753"/>
              </a:cxn>
              <a:cxn ang="0">
                <a:pos x="connsiteX19754" y="connsiteY19754"/>
              </a:cxn>
              <a:cxn ang="0">
                <a:pos x="connsiteX19755" y="connsiteY19755"/>
              </a:cxn>
              <a:cxn ang="0">
                <a:pos x="connsiteX19756" y="connsiteY19756"/>
              </a:cxn>
              <a:cxn ang="0">
                <a:pos x="connsiteX19757" y="connsiteY19757"/>
              </a:cxn>
              <a:cxn ang="0">
                <a:pos x="connsiteX19758" y="connsiteY19758"/>
              </a:cxn>
              <a:cxn ang="0">
                <a:pos x="connsiteX19759" y="connsiteY19759"/>
              </a:cxn>
              <a:cxn ang="0">
                <a:pos x="connsiteX19760" y="connsiteY19760"/>
              </a:cxn>
              <a:cxn ang="0">
                <a:pos x="connsiteX19761" y="connsiteY19761"/>
              </a:cxn>
              <a:cxn ang="0">
                <a:pos x="connsiteX19762" y="connsiteY19762"/>
              </a:cxn>
              <a:cxn ang="0">
                <a:pos x="connsiteX19763" y="connsiteY19763"/>
              </a:cxn>
              <a:cxn ang="0">
                <a:pos x="connsiteX19764" y="connsiteY19764"/>
              </a:cxn>
              <a:cxn ang="0">
                <a:pos x="connsiteX19765" y="connsiteY19765"/>
              </a:cxn>
              <a:cxn ang="0">
                <a:pos x="connsiteX19766" y="connsiteY19766"/>
              </a:cxn>
              <a:cxn ang="0">
                <a:pos x="connsiteX19767" y="connsiteY19767"/>
              </a:cxn>
              <a:cxn ang="0">
                <a:pos x="connsiteX19768" y="connsiteY19768"/>
              </a:cxn>
              <a:cxn ang="0">
                <a:pos x="connsiteX19769" y="connsiteY19769"/>
              </a:cxn>
              <a:cxn ang="0">
                <a:pos x="connsiteX19770" y="connsiteY19770"/>
              </a:cxn>
              <a:cxn ang="0">
                <a:pos x="connsiteX19771" y="connsiteY19771"/>
              </a:cxn>
              <a:cxn ang="0">
                <a:pos x="connsiteX19772" y="connsiteY19772"/>
              </a:cxn>
              <a:cxn ang="0">
                <a:pos x="connsiteX19773" y="connsiteY19773"/>
              </a:cxn>
              <a:cxn ang="0">
                <a:pos x="connsiteX19774" y="connsiteY19774"/>
              </a:cxn>
              <a:cxn ang="0">
                <a:pos x="connsiteX19775" y="connsiteY19775"/>
              </a:cxn>
              <a:cxn ang="0">
                <a:pos x="connsiteX19776" y="connsiteY19776"/>
              </a:cxn>
              <a:cxn ang="0">
                <a:pos x="connsiteX19777" y="connsiteY19777"/>
              </a:cxn>
              <a:cxn ang="0">
                <a:pos x="connsiteX19778" y="connsiteY19778"/>
              </a:cxn>
              <a:cxn ang="0">
                <a:pos x="connsiteX19779" y="connsiteY19779"/>
              </a:cxn>
              <a:cxn ang="0">
                <a:pos x="connsiteX19780" y="connsiteY19780"/>
              </a:cxn>
              <a:cxn ang="0">
                <a:pos x="connsiteX19781" y="connsiteY19781"/>
              </a:cxn>
              <a:cxn ang="0">
                <a:pos x="connsiteX19782" y="connsiteY19782"/>
              </a:cxn>
              <a:cxn ang="0">
                <a:pos x="connsiteX19783" y="connsiteY19783"/>
              </a:cxn>
              <a:cxn ang="0">
                <a:pos x="connsiteX19784" y="connsiteY19784"/>
              </a:cxn>
              <a:cxn ang="0">
                <a:pos x="connsiteX19785" y="connsiteY19785"/>
              </a:cxn>
              <a:cxn ang="0">
                <a:pos x="connsiteX19786" y="connsiteY19786"/>
              </a:cxn>
              <a:cxn ang="0">
                <a:pos x="connsiteX19787" y="connsiteY19787"/>
              </a:cxn>
              <a:cxn ang="0">
                <a:pos x="connsiteX19788" y="connsiteY19788"/>
              </a:cxn>
              <a:cxn ang="0">
                <a:pos x="connsiteX19789" y="connsiteY19789"/>
              </a:cxn>
              <a:cxn ang="0">
                <a:pos x="connsiteX19790" y="connsiteY19790"/>
              </a:cxn>
              <a:cxn ang="0">
                <a:pos x="connsiteX19791" y="connsiteY19791"/>
              </a:cxn>
              <a:cxn ang="0">
                <a:pos x="connsiteX19792" y="connsiteY19792"/>
              </a:cxn>
              <a:cxn ang="0">
                <a:pos x="connsiteX19793" y="connsiteY19793"/>
              </a:cxn>
              <a:cxn ang="0">
                <a:pos x="connsiteX19794" y="connsiteY19794"/>
              </a:cxn>
              <a:cxn ang="0">
                <a:pos x="connsiteX19795" y="connsiteY19795"/>
              </a:cxn>
              <a:cxn ang="0">
                <a:pos x="connsiteX19796" y="connsiteY19796"/>
              </a:cxn>
              <a:cxn ang="0">
                <a:pos x="connsiteX19797" y="connsiteY19797"/>
              </a:cxn>
              <a:cxn ang="0">
                <a:pos x="connsiteX19798" y="connsiteY19798"/>
              </a:cxn>
              <a:cxn ang="0">
                <a:pos x="connsiteX19799" y="connsiteY19799"/>
              </a:cxn>
              <a:cxn ang="0">
                <a:pos x="connsiteX19800" y="connsiteY19800"/>
              </a:cxn>
              <a:cxn ang="0">
                <a:pos x="connsiteX19801" y="connsiteY19801"/>
              </a:cxn>
              <a:cxn ang="0">
                <a:pos x="connsiteX19802" y="connsiteY19802"/>
              </a:cxn>
              <a:cxn ang="0">
                <a:pos x="connsiteX19803" y="connsiteY19803"/>
              </a:cxn>
              <a:cxn ang="0">
                <a:pos x="connsiteX19804" y="connsiteY19804"/>
              </a:cxn>
              <a:cxn ang="0">
                <a:pos x="connsiteX19805" y="connsiteY19805"/>
              </a:cxn>
              <a:cxn ang="0">
                <a:pos x="connsiteX19806" y="connsiteY19806"/>
              </a:cxn>
              <a:cxn ang="0">
                <a:pos x="connsiteX19807" y="connsiteY19807"/>
              </a:cxn>
              <a:cxn ang="0">
                <a:pos x="connsiteX19808" y="connsiteY19808"/>
              </a:cxn>
              <a:cxn ang="0">
                <a:pos x="connsiteX19809" y="connsiteY19809"/>
              </a:cxn>
              <a:cxn ang="0">
                <a:pos x="connsiteX19810" y="connsiteY19810"/>
              </a:cxn>
              <a:cxn ang="0">
                <a:pos x="connsiteX19811" y="connsiteY19811"/>
              </a:cxn>
              <a:cxn ang="0">
                <a:pos x="connsiteX19812" y="connsiteY19812"/>
              </a:cxn>
              <a:cxn ang="0">
                <a:pos x="connsiteX19813" y="connsiteY19813"/>
              </a:cxn>
              <a:cxn ang="0">
                <a:pos x="connsiteX19814" y="connsiteY19814"/>
              </a:cxn>
              <a:cxn ang="0">
                <a:pos x="connsiteX19815" y="connsiteY19815"/>
              </a:cxn>
              <a:cxn ang="0">
                <a:pos x="connsiteX19816" y="connsiteY19816"/>
              </a:cxn>
              <a:cxn ang="0">
                <a:pos x="connsiteX19817" y="connsiteY19817"/>
              </a:cxn>
              <a:cxn ang="0">
                <a:pos x="connsiteX19818" y="connsiteY19818"/>
              </a:cxn>
              <a:cxn ang="0">
                <a:pos x="connsiteX19819" y="connsiteY19819"/>
              </a:cxn>
              <a:cxn ang="0">
                <a:pos x="connsiteX19820" y="connsiteY19820"/>
              </a:cxn>
              <a:cxn ang="0">
                <a:pos x="connsiteX19821" y="connsiteY19821"/>
              </a:cxn>
              <a:cxn ang="0">
                <a:pos x="connsiteX19822" y="connsiteY19822"/>
              </a:cxn>
              <a:cxn ang="0">
                <a:pos x="connsiteX19823" y="connsiteY19823"/>
              </a:cxn>
              <a:cxn ang="0">
                <a:pos x="connsiteX19824" y="connsiteY19824"/>
              </a:cxn>
              <a:cxn ang="0">
                <a:pos x="connsiteX19825" y="connsiteY19825"/>
              </a:cxn>
              <a:cxn ang="0">
                <a:pos x="connsiteX19826" y="connsiteY19826"/>
              </a:cxn>
              <a:cxn ang="0">
                <a:pos x="connsiteX19827" y="connsiteY19827"/>
              </a:cxn>
              <a:cxn ang="0">
                <a:pos x="connsiteX19828" y="connsiteY19828"/>
              </a:cxn>
              <a:cxn ang="0">
                <a:pos x="connsiteX19829" y="connsiteY19829"/>
              </a:cxn>
              <a:cxn ang="0">
                <a:pos x="connsiteX19830" y="connsiteY19830"/>
              </a:cxn>
              <a:cxn ang="0">
                <a:pos x="connsiteX19831" y="connsiteY19831"/>
              </a:cxn>
              <a:cxn ang="0">
                <a:pos x="connsiteX19832" y="connsiteY19832"/>
              </a:cxn>
              <a:cxn ang="0">
                <a:pos x="connsiteX19833" y="connsiteY19833"/>
              </a:cxn>
              <a:cxn ang="0">
                <a:pos x="connsiteX19834" y="connsiteY19834"/>
              </a:cxn>
              <a:cxn ang="0">
                <a:pos x="connsiteX19835" y="connsiteY19835"/>
              </a:cxn>
              <a:cxn ang="0">
                <a:pos x="connsiteX19836" y="connsiteY19836"/>
              </a:cxn>
              <a:cxn ang="0">
                <a:pos x="connsiteX19837" y="connsiteY19837"/>
              </a:cxn>
              <a:cxn ang="0">
                <a:pos x="connsiteX19838" y="connsiteY19838"/>
              </a:cxn>
              <a:cxn ang="0">
                <a:pos x="connsiteX19839" y="connsiteY19839"/>
              </a:cxn>
              <a:cxn ang="0">
                <a:pos x="connsiteX19840" y="connsiteY19840"/>
              </a:cxn>
              <a:cxn ang="0">
                <a:pos x="connsiteX19841" y="connsiteY19841"/>
              </a:cxn>
              <a:cxn ang="0">
                <a:pos x="connsiteX19842" y="connsiteY19842"/>
              </a:cxn>
              <a:cxn ang="0">
                <a:pos x="connsiteX19843" y="connsiteY19843"/>
              </a:cxn>
              <a:cxn ang="0">
                <a:pos x="connsiteX19844" y="connsiteY19844"/>
              </a:cxn>
              <a:cxn ang="0">
                <a:pos x="connsiteX19845" y="connsiteY19845"/>
              </a:cxn>
              <a:cxn ang="0">
                <a:pos x="connsiteX19846" y="connsiteY19846"/>
              </a:cxn>
              <a:cxn ang="0">
                <a:pos x="connsiteX19847" y="connsiteY19847"/>
              </a:cxn>
              <a:cxn ang="0">
                <a:pos x="connsiteX19848" y="connsiteY19848"/>
              </a:cxn>
              <a:cxn ang="0">
                <a:pos x="connsiteX19849" y="connsiteY19849"/>
              </a:cxn>
              <a:cxn ang="0">
                <a:pos x="connsiteX19850" y="connsiteY19850"/>
              </a:cxn>
              <a:cxn ang="0">
                <a:pos x="connsiteX19851" y="connsiteY19851"/>
              </a:cxn>
              <a:cxn ang="0">
                <a:pos x="connsiteX19852" y="connsiteY19852"/>
              </a:cxn>
              <a:cxn ang="0">
                <a:pos x="connsiteX19853" y="connsiteY19853"/>
              </a:cxn>
              <a:cxn ang="0">
                <a:pos x="connsiteX19854" y="connsiteY19854"/>
              </a:cxn>
              <a:cxn ang="0">
                <a:pos x="connsiteX19855" y="connsiteY19855"/>
              </a:cxn>
              <a:cxn ang="0">
                <a:pos x="connsiteX19856" y="connsiteY19856"/>
              </a:cxn>
              <a:cxn ang="0">
                <a:pos x="connsiteX19857" y="connsiteY19857"/>
              </a:cxn>
              <a:cxn ang="0">
                <a:pos x="connsiteX19858" y="connsiteY19858"/>
              </a:cxn>
              <a:cxn ang="0">
                <a:pos x="connsiteX19859" y="connsiteY19859"/>
              </a:cxn>
              <a:cxn ang="0">
                <a:pos x="connsiteX19860" y="connsiteY19860"/>
              </a:cxn>
              <a:cxn ang="0">
                <a:pos x="connsiteX19861" y="connsiteY19861"/>
              </a:cxn>
              <a:cxn ang="0">
                <a:pos x="connsiteX19862" y="connsiteY19862"/>
              </a:cxn>
              <a:cxn ang="0">
                <a:pos x="connsiteX19863" y="connsiteY19863"/>
              </a:cxn>
              <a:cxn ang="0">
                <a:pos x="connsiteX19864" y="connsiteY19864"/>
              </a:cxn>
              <a:cxn ang="0">
                <a:pos x="connsiteX19865" y="connsiteY19865"/>
              </a:cxn>
              <a:cxn ang="0">
                <a:pos x="connsiteX19866" y="connsiteY19866"/>
              </a:cxn>
              <a:cxn ang="0">
                <a:pos x="connsiteX19867" y="connsiteY19867"/>
              </a:cxn>
              <a:cxn ang="0">
                <a:pos x="connsiteX19868" y="connsiteY19868"/>
              </a:cxn>
              <a:cxn ang="0">
                <a:pos x="connsiteX19869" y="connsiteY19869"/>
              </a:cxn>
              <a:cxn ang="0">
                <a:pos x="connsiteX19870" y="connsiteY19870"/>
              </a:cxn>
              <a:cxn ang="0">
                <a:pos x="connsiteX19871" y="connsiteY19871"/>
              </a:cxn>
              <a:cxn ang="0">
                <a:pos x="connsiteX19872" y="connsiteY19872"/>
              </a:cxn>
              <a:cxn ang="0">
                <a:pos x="connsiteX19873" y="connsiteY19873"/>
              </a:cxn>
              <a:cxn ang="0">
                <a:pos x="connsiteX19874" y="connsiteY19874"/>
              </a:cxn>
              <a:cxn ang="0">
                <a:pos x="connsiteX19875" y="connsiteY19875"/>
              </a:cxn>
              <a:cxn ang="0">
                <a:pos x="connsiteX19876" y="connsiteY19876"/>
              </a:cxn>
              <a:cxn ang="0">
                <a:pos x="connsiteX19877" y="connsiteY19877"/>
              </a:cxn>
              <a:cxn ang="0">
                <a:pos x="connsiteX19878" y="connsiteY19878"/>
              </a:cxn>
              <a:cxn ang="0">
                <a:pos x="connsiteX19879" y="connsiteY19879"/>
              </a:cxn>
              <a:cxn ang="0">
                <a:pos x="connsiteX19880" y="connsiteY19880"/>
              </a:cxn>
              <a:cxn ang="0">
                <a:pos x="connsiteX19881" y="connsiteY19881"/>
              </a:cxn>
              <a:cxn ang="0">
                <a:pos x="connsiteX19882" y="connsiteY19882"/>
              </a:cxn>
              <a:cxn ang="0">
                <a:pos x="connsiteX19883" y="connsiteY19883"/>
              </a:cxn>
              <a:cxn ang="0">
                <a:pos x="connsiteX19884" y="connsiteY19884"/>
              </a:cxn>
              <a:cxn ang="0">
                <a:pos x="connsiteX19885" y="connsiteY19885"/>
              </a:cxn>
              <a:cxn ang="0">
                <a:pos x="connsiteX19886" y="connsiteY19886"/>
              </a:cxn>
              <a:cxn ang="0">
                <a:pos x="connsiteX19887" y="connsiteY19887"/>
              </a:cxn>
              <a:cxn ang="0">
                <a:pos x="connsiteX19888" y="connsiteY19888"/>
              </a:cxn>
              <a:cxn ang="0">
                <a:pos x="connsiteX19889" y="connsiteY19889"/>
              </a:cxn>
              <a:cxn ang="0">
                <a:pos x="connsiteX19890" y="connsiteY19890"/>
              </a:cxn>
              <a:cxn ang="0">
                <a:pos x="connsiteX19891" y="connsiteY19891"/>
              </a:cxn>
              <a:cxn ang="0">
                <a:pos x="connsiteX19892" y="connsiteY19892"/>
              </a:cxn>
              <a:cxn ang="0">
                <a:pos x="connsiteX19893" y="connsiteY19893"/>
              </a:cxn>
              <a:cxn ang="0">
                <a:pos x="connsiteX19894" y="connsiteY19894"/>
              </a:cxn>
              <a:cxn ang="0">
                <a:pos x="connsiteX19895" y="connsiteY19895"/>
              </a:cxn>
              <a:cxn ang="0">
                <a:pos x="connsiteX19896" y="connsiteY19896"/>
              </a:cxn>
              <a:cxn ang="0">
                <a:pos x="connsiteX19897" y="connsiteY19897"/>
              </a:cxn>
              <a:cxn ang="0">
                <a:pos x="connsiteX19898" y="connsiteY19898"/>
              </a:cxn>
              <a:cxn ang="0">
                <a:pos x="connsiteX19899" y="connsiteY19899"/>
              </a:cxn>
              <a:cxn ang="0">
                <a:pos x="connsiteX19900" y="connsiteY19900"/>
              </a:cxn>
              <a:cxn ang="0">
                <a:pos x="connsiteX19901" y="connsiteY19901"/>
              </a:cxn>
              <a:cxn ang="0">
                <a:pos x="connsiteX19902" y="connsiteY19902"/>
              </a:cxn>
              <a:cxn ang="0">
                <a:pos x="connsiteX19903" y="connsiteY19903"/>
              </a:cxn>
              <a:cxn ang="0">
                <a:pos x="connsiteX19904" y="connsiteY19904"/>
              </a:cxn>
              <a:cxn ang="0">
                <a:pos x="connsiteX19905" y="connsiteY19905"/>
              </a:cxn>
              <a:cxn ang="0">
                <a:pos x="connsiteX19906" y="connsiteY19906"/>
              </a:cxn>
              <a:cxn ang="0">
                <a:pos x="connsiteX19907" y="connsiteY19907"/>
              </a:cxn>
              <a:cxn ang="0">
                <a:pos x="connsiteX19908" y="connsiteY19908"/>
              </a:cxn>
              <a:cxn ang="0">
                <a:pos x="connsiteX19909" y="connsiteY19909"/>
              </a:cxn>
              <a:cxn ang="0">
                <a:pos x="connsiteX19910" y="connsiteY19910"/>
              </a:cxn>
              <a:cxn ang="0">
                <a:pos x="connsiteX19911" y="connsiteY19911"/>
              </a:cxn>
              <a:cxn ang="0">
                <a:pos x="connsiteX19912" y="connsiteY19912"/>
              </a:cxn>
              <a:cxn ang="0">
                <a:pos x="connsiteX19913" y="connsiteY19913"/>
              </a:cxn>
              <a:cxn ang="0">
                <a:pos x="connsiteX19914" y="connsiteY19914"/>
              </a:cxn>
              <a:cxn ang="0">
                <a:pos x="connsiteX19915" y="connsiteY19915"/>
              </a:cxn>
              <a:cxn ang="0">
                <a:pos x="connsiteX19916" y="connsiteY19916"/>
              </a:cxn>
              <a:cxn ang="0">
                <a:pos x="connsiteX19917" y="connsiteY19917"/>
              </a:cxn>
              <a:cxn ang="0">
                <a:pos x="connsiteX19918" y="connsiteY19918"/>
              </a:cxn>
              <a:cxn ang="0">
                <a:pos x="connsiteX19919" y="connsiteY19919"/>
              </a:cxn>
              <a:cxn ang="0">
                <a:pos x="connsiteX19920" y="connsiteY19920"/>
              </a:cxn>
              <a:cxn ang="0">
                <a:pos x="connsiteX19921" y="connsiteY19921"/>
              </a:cxn>
              <a:cxn ang="0">
                <a:pos x="connsiteX19922" y="connsiteY19922"/>
              </a:cxn>
              <a:cxn ang="0">
                <a:pos x="connsiteX19923" y="connsiteY19923"/>
              </a:cxn>
              <a:cxn ang="0">
                <a:pos x="connsiteX19924" y="connsiteY19924"/>
              </a:cxn>
              <a:cxn ang="0">
                <a:pos x="connsiteX19925" y="connsiteY19925"/>
              </a:cxn>
              <a:cxn ang="0">
                <a:pos x="connsiteX19926" y="connsiteY19926"/>
              </a:cxn>
              <a:cxn ang="0">
                <a:pos x="connsiteX19927" y="connsiteY19927"/>
              </a:cxn>
              <a:cxn ang="0">
                <a:pos x="connsiteX19928" y="connsiteY19928"/>
              </a:cxn>
              <a:cxn ang="0">
                <a:pos x="connsiteX19929" y="connsiteY19929"/>
              </a:cxn>
              <a:cxn ang="0">
                <a:pos x="connsiteX19930" y="connsiteY19930"/>
              </a:cxn>
              <a:cxn ang="0">
                <a:pos x="connsiteX19931" y="connsiteY19931"/>
              </a:cxn>
              <a:cxn ang="0">
                <a:pos x="connsiteX19932" y="connsiteY19932"/>
              </a:cxn>
              <a:cxn ang="0">
                <a:pos x="connsiteX19933" y="connsiteY19933"/>
              </a:cxn>
              <a:cxn ang="0">
                <a:pos x="connsiteX19934" y="connsiteY19934"/>
              </a:cxn>
              <a:cxn ang="0">
                <a:pos x="connsiteX19935" y="connsiteY19935"/>
              </a:cxn>
              <a:cxn ang="0">
                <a:pos x="connsiteX19936" y="connsiteY19936"/>
              </a:cxn>
              <a:cxn ang="0">
                <a:pos x="connsiteX19937" y="connsiteY19937"/>
              </a:cxn>
              <a:cxn ang="0">
                <a:pos x="connsiteX19938" y="connsiteY19938"/>
              </a:cxn>
              <a:cxn ang="0">
                <a:pos x="connsiteX19939" y="connsiteY19939"/>
              </a:cxn>
              <a:cxn ang="0">
                <a:pos x="connsiteX19940" y="connsiteY19940"/>
              </a:cxn>
              <a:cxn ang="0">
                <a:pos x="connsiteX19941" y="connsiteY19941"/>
              </a:cxn>
              <a:cxn ang="0">
                <a:pos x="connsiteX19942" y="connsiteY19942"/>
              </a:cxn>
              <a:cxn ang="0">
                <a:pos x="connsiteX19943" y="connsiteY19943"/>
              </a:cxn>
              <a:cxn ang="0">
                <a:pos x="connsiteX19944" y="connsiteY19944"/>
              </a:cxn>
              <a:cxn ang="0">
                <a:pos x="connsiteX19945" y="connsiteY19945"/>
              </a:cxn>
              <a:cxn ang="0">
                <a:pos x="connsiteX19946" y="connsiteY19946"/>
              </a:cxn>
              <a:cxn ang="0">
                <a:pos x="connsiteX19947" y="connsiteY19947"/>
              </a:cxn>
              <a:cxn ang="0">
                <a:pos x="connsiteX19948" y="connsiteY19948"/>
              </a:cxn>
              <a:cxn ang="0">
                <a:pos x="connsiteX19949" y="connsiteY19949"/>
              </a:cxn>
              <a:cxn ang="0">
                <a:pos x="connsiteX19950" y="connsiteY19950"/>
              </a:cxn>
              <a:cxn ang="0">
                <a:pos x="connsiteX19951" y="connsiteY19951"/>
              </a:cxn>
              <a:cxn ang="0">
                <a:pos x="connsiteX19952" y="connsiteY19952"/>
              </a:cxn>
              <a:cxn ang="0">
                <a:pos x="connsiteX19953" y="connsiteY19953"/>
              </a:cxn>
              <a:cxn ang="0">
                <a:pos x="connsiteX19954" y="connsiteY19954"/>
              </a:cxn>
              <a:cxn ang="0">
                <a:pos x="connsiteX19955" y="connsiteY19955"/>
              </a:cxn>
              <a:cxn ang="0">
                <a:pos x="connsiteX19956" y="connsiteY19956"/>
              </a:cxn>
              <a:cxn ang="0">
                <a:pos x="connsiteX19957" y="connsiteY19957"/>
              </a:cxn>
              <a:cxn ang="0">
                <a:pos x="connsiteX19958" y="connsiteY19958"/>
              </a:cxn>
              <a:cxn ang="0">
                <a:pos x="connsiteX19959" y="connsiteY19959"/>
              </a:cxn>
              <a:cxn ang="0">
                <a:pos x="connsiteX19960" y="connsiteY19960"/>
              </a:cxn>
              <a:cxn ang="0">
                <a:pos x="connsiteX19961" y="connsiteY19961"/>
              </a:cxn>
              <a:cxn ang="0">
                <a:pos x="connsiteX19962" y="connsiteY19962"/>
              </a:cxn>
              <a:cxn ang="0">
                <a:pos x="connsiteX19963" y="connsiteY19963"/>
              </a:cxn>
              <a:cxn ang="0">
                <a:pos x="connsiteX19964" y="connsiteY19964"/>
              </a:cxn>
              <a:cxn ang="0">
                <a:pos x="connsiteX19965" y="connsiteY19965"/>
              </a:cxn>
              <a:cxn ang="0">
                <a:pos x="connsiteX19966" y="connsiteY19966"/>
              </a:cxn>
              <a:cxn ang="0">
                <a:pos x="connsiteX19967" y="connsiteY19967"/>
              </a:cxn>
              <a:cxn ang="0">
                <a:pos x="connsiteX19968" y="connsiteY19968"/>
              </a:cxn>
              <a:cxn ang="0">
                <a:pos x="connsiteX19969" y="connsiteY19969"/>
              </a:cxn>
              <a:cxn ang="0">
                <a:pos x="connsiteX19970" y="connsiteY19970"/>
              </a:cxn>
              <a:cxn ang="0">
                <a:pos x="connsiteX19971" y="connsiteY19971"/>
              </a:cxn>
              <a:cxn ang="0">
                <a:pos x="connsiteX19972" y="connsiteY19972"/>
              </a:cxn>
              <a:cxn ang="0">
                <a:pos x="connsiteX19973" y="connsiteY19973"/>
              </a:cxn>
              <a:cxn ang="0">
                <a:pos x="connsiteX19974" y="connsiteY19974"/>
              </a:cxn>
              <a:cxn ang="0">
                <a:pos x="connsiteX19975" y="connsiteY19975"/>
              </a:cxn>
              <a:cxn ang="0">
                <a:pos x="connsiteX19976" y="connsiteY19976"/>
              </a:cxn>
              <a:cxn ang="0">
                <a:pos x="connsiteX19977" y="connsiteY19977"/>
              </a:cxn>
              <a:cxn ang="0">
                <a:pos x="connsiteX19978" y="connsiteY19978"/>
              </a:cxn>
              <a:cxn ang="0">
                <a:pos x="connsiteX19979" y="connsiteY19979"/>
              </a:cxn>
              <a:cxn ang="0">
                <a:pos x="connsiteX19980" y="connsiteY19980"/>
              </a:cxn>
              <a:cxn ang="0">
                <a:pos x="connsiteX19981" y="connsiteY19981"/>
              </a:cxn>
              <a:cxn ang="0">
                <a:pos x="connsiteX19982" y="connsiteY19982"/>
              </a:cxn>
              <a:cxn ang="0">
                <a:pos x="connsiteX19983" y="connsiteY19983"/>
              </a:cxn>
              <a:cxn ang="0">
                <a:pos x="connsiteX19984" y="connsiteY19984"/>
              </a:cxn>
              <a:cxn ang="0">
                <a:pos x="connsiteX19985" y="connsiteY19985"/>
              </a:cxn>
              <a:cxn ang="0">
                <a:pos x="connsiteX19986" y="connsiteY19986"/>
              </a:cxn>
              <a:cxn ang="0">
                <a:pos x="connsiteX19987" y="connsiteY19987"/>
              </a:cxn>
              <a:cxn ang="0">
                <a:pos x="connsiteX19988" y="connsiteY19988"/>
              </a:cxn>
              <a:cxn ang="0">
                <a:pos x="connsiteX19989" y="connsiteY19989"/>
              </a:cxn>
              <a:cxn ang="0">
                <a:pos x="connsiteX19990" y="connsiteY19990"/>
              </a:cxn>
              <a:cxn ang="0">
                <a:pos x="connsiteX19991" y="connsiteY19991"/>
              </a:cxn>
              <a:cxn ang="0">
                <a:pos x="connsiteX19992" y="connsiteY19992"/>
              </a:cxn>
              <a:cxn ang="0">
                <a:pos x="connsiteX19993" y="connsiteY19993"/>
              </a:cxn>
              <a:cxn ang="0">
                <a:pos x="connsiteX19994" y="connsiteY19994"/>
              </a:cxn>
              <a:cxn ang="0">
                <a:pos x="connsiteX19995" y="connsiteY19995"/>
              </a:cxn>
              <a:cxn ang="0">
                <a:pos x="connsiteX19996" y="connsiteY19996"/>
              </a:cxn>
              <a:cxn ang="0">
                <a:pos x="connsiteX19997" y="connsiteY19997"/>
              </a:cxn>
              <a:cxn ang="0">
                <a:pos x="connsiteX19998" y="connsiteY19998"/>
              </a:cxn>
              <a:cxn ang="0">
                <a:pos x="connsiteX19999" y="connsiteY19999"/>
              </a:cxn>
              <a:cxn ang="0">
                <a:pos x="connsiteX20000" y="connsiteY20000"/>
              </a:cxn>
              <a:cxn ang="0">
                <a:pos x="connsiteX20001" y="connsiteY20001"/>
              </a:cxn>
              <a:cxn ang="0">
                <a:pos x="connsiteX20002" y="connsiteY20002"/>
              </a:cxn>
              <a:cxn ang="0">
                <a:pos x="connsiteX20003" y="connsiteY20003"/>
              </a:cxn>
              <a:cxn ang="0">
                <a:pos x="connsiteX20004" y="connsiteY20004"/>
              </a:cxn>
              <a:cxn ang="0">
                <a:pos x="connsiteX20005" y="connsiteY20005"/>
              </a:cxn>
              <a:cxn ang="0">
                <a:pos x="connsiteX20006" y="connsiteY20006"/>
              </a:cxn>
              <a:cxn ang="0">
                <a:pos x="connsiteX20007" y="connsiteY20007"/>
              </a:cxn>
              <a:cxn ang="0">
                <a:pos x="connsiteX20008" y="connsiteY20008"/>
              </a:cxn>
              <a:cxn ang="0">
                <a:pos x="connsiteX20009" y="connsiteY20009"/>
              </a:cxn>
              <a:cxn ang="0">
                <a:pos x="connsiteX20010" y="connsiteY20010"/>
              </a:cxn>
              <a:cxn ang="0">
                <a:pos x="connsiteX20011" y="connsiteY20011"/>
              </a:cxn>
              <a:cxn ang="0">
                <a:pos x="connsiteX20012" y="connsiteY20012"/>
              </a:cxn>
              <a:cxn ang="0">
                <a:pos x="connsiteX20013" y="connsiteY20013"/>
              </a:cxn>
              <a:cxn ang="0">
                <a:pos x="connsiteX20014" y="connsiteY20014"/>
              </a:cxn>
              <a:cxn ang="0">
                <a:pos x="connsiteX20015" y="connsiteY20015"/>
              </a:cxn>
              <a:cxn ang="0">
                <a:pos x="connsiteX20016" y="connsiteY20016"/>
              </a:cxn>
              <a:cxn ang="0">
                <a:pos x="connsiteX20017" y="connsiteY20017"/>
              </a:cxn>
              <a:cxn ang="0">
                <a:pos x="connsiteX20018" y="connsiteY20018"/>
              </a:cxn>
              <a:cxn ang="0">
                <a:pos x="connsiteX20019" y="connsiteY20019"/>
              </a:cxn>
              <a:cxn ang="0">
                <a:pos x="connsiteX20020" y="connsiteY20020"/>
              </a:cxn>
              <a:cxn ang="0">
                <a:pos x="connsiteX20021" y="connsiteY20021"/>
              </a:cxn>
              <a:cxn ang="0">
                <a:pos x="connsiteX20022" y="connsiteY20022"/>
              </a:cxn>
              <a:cxn ang="0">
                <a:pos x="connsiteX20023" y="connsiteY20023"/>
              </a:cxn>
              <a:cxn ang="0">
                <a:pos x="connsiteX20024" y="connsiteY20024"/>
              </a:cxn>
              <a:cxn ang="0">
                <a:pos x="connsiteX20025" y="connsiteY20025"/>
              </a:cxn>
              <a:cxn ang="0">
                <a:pos x="connsiteX20026" y="connsiteY20026"/>
              </a:cxn>
              <a:cxn ang="0">
                <a:pos x="connsiteX20027" y="connsiteY20027"/>
              </a:cxn>
              <a:cxn ang="0">
                <a:pos x="connsiteX20028" y="connsiteY20028"/>
              </a:cxn>
              <a:cxn ang="0">
                <a:pos x="connsiteX20029" y="connsiteY20029"/>
              </a:cxn>
              <a:cxn ang="0">
                <a:pos x="connsiteX20030" y="connsiteY20030"/>
              </a:cxn>
              <a:cxn ang="0">
                <a:pos x="connsiteX20031" y="connsiteY20031"/>
              </a:cxn>
              <a:cxn ang="0">
                <a:pos x="connsiteX20032" y="connsiteY20032"/>
              </a:cxn>
              <a:cxn ang="0">
                <a:pos x="connsiteX20033" y="connsiteY20033"/>
              </a:cxn>
              <a:cxn ang="0">
                <a:pos x="connsiteX20034" y="connsiteY20034"/>
              </a:cxn>
              <a:cxn ang="0">
                <a:pos x="connsiteX20035" y="connsiteY20035"/>
              </a:cxn>
              <a:cxn ang="0">
                <a:pos x="connsiteX20036" y="connsiteY20036"/>
              </a:cxn>
              <a:cxn ang="0">
                <a:pos x="connsiteX20037" y="connsiteY20037"/>
              </a:cxn>
              <a:cxn ang="0">
                <a:pos x="connsiteX20038" y="connsiteY20038"/>
              </a:cxn>
              <a:cxn ang="0">
                <a:pos x="connsiteX20039" y="connsiteY20039"/>
              </a:cxn>
              <a:cxn ang="0">
                <a:pos x="connsiteX20040" y="connsiteY20040"/>
              </a:cxn>
              <a:cxn ang="0">
                <a:pos x="connsiteX20041" y="connsiteY20041"/>
              </a:cxn>
              <a:cxn ang="0">
                <a:pos x="connsiteX20042" y="connsiteY20042"/>
              </a:cxn>
              <a:cxn ang="0">
                <a:pos x="connsiteX20043" y="connsiteY20043"/>
              </a:cxn>
              <a:cxn ang="0">
                <a:pos x="connsiteX20044" y="connsiteY20044"/>
              </a:cxn>
              <a:cxn ang="0">
                <a:pos x="connsiteX20045" y="connsiteY20045"/>
              </a:cxn>
              <a:cxn ang="0">
                <a:pos x="connsiteX20046" y="connsiteY20046"/>
              </a:cxn>
              <a:cxn ang="0">
                <a:pos x="connsiteX20047" y="connsiteY20047"/>
              </a:cxn>
              <a:cxn ang="0">
                <a:pos x="connsiteX20048" y="connsiteY20048"/>
              </a:cxn>
              <a:cxn ang="0">
                <a:pos x="connsiteX20049" y="connsiteY20049"/>
              </a:cxn>
              <a:cxn ang="0">
                <a:pos x="connsiteX20050" y="connsiteY20050"/>
              </a:cxn>
              <a:cxn ang="0">
                <a:pos x="connsiteX20051" y="connsiteY20051"/>
              </a:cxn>
              <a:cxn ang="0">
                <a:pos x="connsiteX20052" y="connsiteY20052"/>
              </a:cxn>
              <a:cxn ang="0">
                <a:pos x="connsiteX20053" y="connsiteY20053"/>
              </a:cxn>
              <a:cxn ang="0">
                <a:pos x="connsiteX20054" y="connsiteY20054"/>
              </a:cxn>
              <a:cxn ang="0">
                <a:pos x="connsiteX20055" y="connsiteY20055"/>
              </a:cxn>
              <a:cxn ang="0">
                <a:pos x="connsiteX20056" y="connsiteY20056"/>
              </a:cxn>
              <a:cxn ang="0">
                <a:pos x="connsiteX20057" y="connsiteY20057"/>
              </a:cxn>
              <a:cxn ang="0">
                <a:pos x="connsiteX20058" y="connsiteY20058"/>
              </a:cxn>
              <a:cxn ang="0">
                <a:pos x="connsiteX20059" y="connsiteY20059"/>
              </a:cxn>
              <a:cxn ang="0">
                <a:pos x="connsiteX20060" y="connsiteY20060"/>
              </a:cxn>
              <a:cxn ang="0">
                <a:pos x="connsiteX20061" y="connsiteY20061"/>
              </a:cxn>
              <a:cxn ang="0">
                <a:pos x="connsiteX20062" y="connsiteY20062"/>
              </a:cxn>
              <a:cxn ang="0">
                <a:pos x="connsiteX20063" y="connsiteY20063"/>
              </a:cxn>
              <a:cxn ang="0">
                <a:pos x="connsiteX20064" y="connsiteY20064"/>
              </a:cxn>
              <a:cxn ang="0">
                <a:pos x="connsiteX20065" y="connsiteY20065"/>
              </a:cxn>
              <a:cxn ang="0">
                <a:pos x="connsiteX20066" y="connsiteY20066"/>
              </a:cxn>
              <a:cxn ang="0">
                <a:pos x="connsiteX20067" y="connsiteY20067"/>
              </a:cxn>
              <a:cxn ang="0">
                <a:pos x="connsiteX20068" y="connsiteY20068"/>
              </a:cxn>
              <a:cxn ang="0">
                <a:pos x="connsiteX20069" y="connsiteY20069"/>
              </a:cxn>
              <a:cxn ang="0">
                <a:pos x="connsiteX20070" y="connsiteY20070"/>
              </a:cxn>
              <a:cxn ang="0">
                <a:pos x="connsiteX20071" y="connsiteY20071"/>
              </a:cxn>
              <a:cxn ang="0">
                <a:pos x="connsiteX20072" y="connsiteY20072"/>
              </a:cxn>
              <a:cxn ang="0">
                <a:pos x="connsiteX20073" y="connsiteY20073"/>
              </a:cxn>
              <a:cxn ang="0">
                <a:pos x="connsiteX20074" y="connsiteY20074"/>
              </a:cxn>
              <a:cxn ang="0">
                <a:pos x="connsiteX20075" y="connsiteY20075"/>
              </a:cxn>
              <a:cxn ang="0">
                <a:pos x="connsiteX20076" y="connsiteY20076"/>
              </a:cxn>
              <a:cxn ang="0">
                <a:pos x="connsiteX20077" y="connsiteY20077"/>
              </a:cxn>
              <a:cxn ang="0">
                <a:pos x="connsiteX20078" y="connsiteY20078"/>
              </a:cxn>
              <a:cxn ang="0">
                <a:pos x="connsiteX20079" y="connsiteY20079"/>
              </a:cxn>
              <a:cxn ang="0">
                <a:pos x="connsiteX20080" y="connsiteY20080"/>
              </a:cxn>
              <a:cxn ang="0">
                <a:pos x="connsiteX20081" y="connsiteY20081"/>
              </a:cxn>
              <a:cxn ang="0">
                <a:pos x="connsiteX20082" y="connsiteY20082"/>
              </a:cxn>
              <a:cxn ang="0">
                <a:pos x="connsiteX20083" y="connsiteY20083"/>
              </a:cxn>
              <a:cxn ang="0">
                <a:pos x="connsiteX20084" y="connsiteY20084"/>
              </a:cxn>
              <a:cxn ang="0">
                <a:pos x="connsiteX20085" y="connsiteY20085"/>
              </a:cxn>
              <a:cxn ang="0">
                <a:pos x="connsiteX20086" y="connsiteY20086"/>
              </a:cxn>
              <a:cxn ang="0">
                <a:pos x="connsiteX20087" y="connsiteY20087"/>
              </a:cxn>
              <a:cxn ang="0">
                <a:pos x="connsiteX20088" y="connsiteY20088"/>
              </a:cxn>
              <a:cxn ang="0">
                <a:pos x="connsiteX20089" y="connsiteY20089"/>
              </a:cxn>
              <a:cxn ang="0">
                <a:pos x="connsiteX20090" y="connsiteY20090"/>
              </a:cxn>
              <a:cxn ang="0">
                <a:pos x="connsiteX20091" y="connsiteY20091"/>
              </a:cxn>
              <a:cxn ang="0">
                <a:pos x="connsiteX20092" y="connsiteY20092"/>
              </a:cxn>
              <a:cxn ang="0">
                <a:pos x="connsiteX20093" y="connsiteY20093"/>
              </a:cxn>
              <a:cxn ang="0">
                <a:pos x="connsiteX20094" y="connsiteY20094"/>
              </a:cxn>
              <a:cxn ang="0">
                <a:pos x="connsiteX20095" y="connsiteY20095"/>
              </a:cxn>
              <a:cxn ang="0">
                <a:pos x="connsiteX20096" y="connsiteY20096"/>
              </a:cxn>
              <a:cxn ang="0">
                <a:pos x="connsiteX20097" y="connsiteY20097"/>
              </a:cxn>
              <a:cxn ang="0">
                <a:pos x="connsiteX20098" y="connsiteY20098"/>
              </a:cxn>
              <a:cxn ang="0">
                <a:pos x="connsiteX20099" y="connsiteY20099"/>
              </a:cxn>
              <a:cxn ang="0">
                <a:pos x="connsiteX20100" y="connsiteY20100"/>
              </a:cxn>
              <a:cxn ang="0">
                <a:pos x="connsiteX20101" y="connsiteY20101"/>
              </a:cxn>
              <a:cxn ang="0">
                <a:pos x="connsiteX20102" y="connsiteY20102"/>
              </a:cxn>
              <a:cxn ang="0">
                <a:pos x="connsiteX20103" y="connsiteY20103"/>
              </a:cxn>
              <a:cxn ang="0">
                <a:pos x="connsiteX20104" y="connsiteY20104"/>
              </a:cxn>
              <a:cxn ang="0">
                <a:pos x="connsiteX20105" y="connsiteY20105"/>
              </a:cxn>
              <a:cxn ang="0">
                <a:pos x="connsiteX20106" y="connsiteY20106"/>
              </a:cxn>
              <a:cxn ang="0">
                <a:pos x="connsiteX20107" y="connsiteY20107"/>
              </a:cxn>
              <a:cxn ang="0">
                <a:pos x="connsiteX20108" y="connsiteY20108"/>
              </a:cxn>
              <a:cxn ang="0">
                <a:pos x="connsiteX20109" y="connsiteY20109"/>
              </a:cxn>
              <a:cxn ang="0">
                <a:pos x="connsiteX20110" y="connsiteY20110"/>
              </a:cxn>
              <a:cxn ang="0">
                <a:pos x="connsiteX20111" y="connsiteY20111"/>
              </a:cxn>
              <a:cxn ang="0">
                <a:pos x="connsiteX20112" y="connsiteY20112"/>
              </a:cxn>
              <a:cxn ang="0">
                <a:pos x="connsiteX20113" y="connsiteY20113"/>
              </a:cxn>
              <a:cxn ang="0">
                <a:pos x="connsiteX20114" y="connsiteY20114"/>
              </a:cxn>
              <a:cxn ang="0">
                <a:pos x="connsiteX20115" y="connsiteY20115"/>
              </a:cxn>
              <a:cxn ang="0">
                <a:pos x="connsiteX20116" y="connsiteY20116"/>
              </a:cxn>
              <a:cxn ang="0">
                <a:pos x="connsiteX20117" y="connsiteY20117"/>
              </a:cxn>
              <a:cxn ang="0">
                <a:pos x="connsiteX20118" y="connsiteY20118"/>
              </a:cxn>
              <a:cxn ang="0">
                <a:pos x="connsiteX20119" y="connsiteY20119"/>
              </a:cxn>
              <a:cxn ang="0">
                <a:pos x="connsiteX20120" y="connsiteY20120"/>
              </a:cxn>
              <a:cxn ang="0">
                <a:pos x="connsiteX20121" y="connsiteY20121"/>
              </a:cxn>
              <a:cxn ang="0">
                <a:pos x="connsiteX20122" y="connsiteY20122"/>
              </a:cxn>
              <a:cxn ang="0">
                <a:pos x="connsiteX20123" y="connsiteY20123"/>
              </a:cxn>
              <a:cxn ang="0">
                <a:pos x="connsiteX20124" y="connsiteY20124"/>
              </a:cxn>
              <a:cxn ang="0">
                <a:pos x="connsiteX20125" y="connsiteY20125"/>
              </a:cxn>
              <a:cxn ang="0">
                <a:pos x="connsiteX20126" y="connsiteY20126"/>
              </a:cxn>
              <a:cxn ang="0">
                <a:pos x="connsiteX20127" y="connsiteY20127"/>
              </a:cxn>
              <a:cxn ang="0">
                <a:pos x="connsiteX20128" y="connsiteY20128"/>
              </a:cxn>
              <a:cxn ang="0">
                <a:pos x="connsiteX20129" y="connsiteY20129"/>
              </a:cxn>
              <a:cxn ang="0">
                <a:pos x="connsiteX20130" y="connsiteY20130"/>
              </a:cxn>
              <a:cxn ang="0">
                <a:pos x="connsiteX20131" y="connsiteY20131"/>
              </a:cxn>
              <a:cxn ang="0">
                <a:pos x="connsiteX20132" y="connsiteY20132"/>
              </a:cxn>
              <a:cxn ang="0">
                <a:pos x="connsiteX20133" y="connsiteY20133"/>
              </a:cxn>
              <a:cxn ang="0">
                <a:pos x="connsiteX20134" y="connsiteY20134"/>
              </a:cxn>
              <a:cxn ang="0">
                <a:pos x="connsiteX20135" y="connsiteY20135"/>
              </a:cxn>
              <a:cxn ang="0">
                <a:pos x="connsiteX20136" y="connsiteY20136"/>
              </a:cxn>
              <a:cxn ang="0">
                <a:pos x="connsiteX20137" y="connsiteY20137"/>
              </a:cxn>
              <a:cxn ang="0">
                <a:pos x="connsiteX20138" y="connsiteY20138"/>
              </a:cxn>
              <a:cxn ang="0">
                <a:pos x="connsiteX20139" y="connsiteY20139"/>
              </a:cxn>
              <a:cxn ang="0">
                <a:pos x="connsiteX20140" y="connsiteY20140"/>
              </a:cxn>
              <a:cxn ang="0">
                <a:pos x="connsiteX20141" y="connsiteY20141"/>
              </a:cxn>
              <a:cxn ang="0">
                <a:pos x="connsiteX20142" y="connsiteY20142"/>
              </a:cxn>
              <a:cxn ang="0">
                <a:pos x="connsiteX20143" y="connsiteY20143"/>
              </a:cxn>
              <a:cxn ang="0">
                <a:pos x="connsiteX20144" y="connsiteY20144"/>
              </a:cxn>
              <a:cxn ang="0">
                <a:pos x="connsiteX20145" y="connsiteY20145"/>
              </a:cxn>
              <a:cxn ang="0">
                <a:pos x="connsiteX20146" y="connsiteY20146"/>
              </a:cxn>
              <a:cxn ang="0">
                <a:pos x="connsiteX20147" y="connsiteY20147"/>
              </a:cxn>
              <a:cxn ang="0">
                <a:pos x="connsiteX20148" y="connsiteY20148"/>
              </a:cxn>
              <a:cxn ang="0">
                <a:pos x="connsiteX20149" y="connsiteY20149"/>
              </a:cxn>
              <a:cxn ang="0">
                <a:pos x="connsiteX20150" y="connsiteY20150"/>
              </a:cxn>
              <a:cxn ang="0">
                <a:pos x="connsiteX20151" y="connsiteY20151"/>
              </a:cxn>
              <a:cxn ang="0">
                <a:pos x="connsiteX20152" y="connsiteY20152"/>
              </a:cxn>
              <a:cxn ang="0">
                <a:pos x="connsiteX20153" y="connsiteY20153"/>
              </a:cxn>
              <a:cxn ang="0">
                <a:pos x="connsiteX20154" y="connsiteY20154"/>
              </a:cxn>
              <a:cxn ang="0">
                <a:pos x="connsiteX20155" y="connsiteY20155"/>
              </a:cxn>
              <a:cxn ang="0">
                <a:pos x="connsiteX20156" y="connsiteY20156"/>
              </a:cxn>
              <a:cxn ang="0">
                <a:pos x="connsiteX20157" y="connsiteY20157"/>
              </a:cxn>
              <a:cxn ang="0">
                <a:pos x="connsiteX20158" y="connsiteY20158"/>
              </a:cxn>
              <a:cxn ang="0">
                <a:pos x="connsiteX20159" y="connsiteY20159"/>
              </a:cxn>
              <a:cxn ang="0">
                <a:pos x="connsiteX20160" y="connsiteY20160"/>
              </a:cxn>
              <a:cxn ang="0">
                <a:pos x="connsiteX20161" y="connsiteY20161"/>
              </a:cxn>
              <a:cxn ang="0">
                <a:pos x="connsiteX20162" y="connsiteY20162"/>
              </a:cxn>
              <a:cxn ang="0">
                <a:pos x="connsiteX20163" y="connsiteY20163"/>
              </a:cxn>
              <a:cxn ang="0">
                <a:pos x="connsiteX20164" y="connsiteY20164"/>
              </a:cxn>
              <a:cxn ang="0">
                <a:pos x="connsiteX20165" y="connsiteY20165"/>
              </a:cxn>
              <a:cxn ang="0">
                <a:pos x="connsiteX20166" y="connsiteY20166"/>
              </a:cxn>
              <a:cxn ang="0">
                <a:pos x="connsiteX20167" y="connsiteY20167"/>
              </a:cxn>
              <a:cxn ang="0">
                <a:pos x="connsiteX20168" y="connsiteY20168"/>
              </a:cxn>
              <a:cxn ang="0">
                <a:pos x="connsiteX20169" y="connsiteY20169"/>
              </a:cxn>
              <a:cxn ang="0">
                <a:pos x="connsiteX20170" y="connsiteY20170"/>
              </a:cxn>
              <a:cxn ang="0">
                <a:pos x="connsiteX20171" y="connsiteY20171"/>
              </a:cxn>
              <a:cxn ang="0">
                <a:pos x="connsiteX20172" y="connsiteY20172"/>
              </a:cxn>
              <a:cxn ang="0">
                <a:pos x="connsiteX20173" y="connsiteY20173"/>
              </a:cxn>
              <a:cxn ang="0">
                <a:pos x="connsiteX20174" y="connsiteY20174"/>
              </a:cxn>
              <a:cxn ang="0">
                <a:pos x="connsiteX20175" y="connsiteY20175"/>
              </a:cxn>
              <a:cxn ang="0">
                <a:pos x="connsiteX20176" y="connsiteY20176"/>
              </a:cxn>
              <a:cxn ang="0">
                <a:pos x="connsiteX20177" y="connsiteY20177"/>
              </a:cxn>
              <a:cxn ang="0">
                <a:pos x="connsiteX20178" y="connsiteY20178"/>
              </a:cxn>
              <a:cxn ang="0">
                <a:pos x="connsiteX20179" y="connsiteY20179"/>
              </a:cxn>
              <a:cxn ang="0">
                <a:pos x="connsiteX20180" y="connsiteY20180"/>
              </a:cxn>
              <a:cxn ang="0">
                <a:pos x="connsiteX20181" y="connsiteY20181"/>
              </a:cxn>
              <a:cxn ang="0">
                <a:pos x="connsiteX20182" y="connsiteY20182"/>
              </a:cxn>
              <a:cxn ang="0">
                <a:pos x="connsiteX20183" y="connsiteY20183"/>
              </a:cxn>
              <a:cxn ang="0">
                <a:pos x="connsiteX20184" y="connsiteY20184"/>
              </a:cxn>
              <a:cxn ang="0">
                <a:pos x="connsiteX20185" y="connsiteY20185"/>
              </a:cxn>
              <a:cxn ang="0">
                <a:pos x="connsiteX20186" y="connsiteY20186"/>
              </a:cxn>
              <a:cxn ang="0">
                <a:pos x="connsiteX20187" y="connsiteY20187"/>
              </a:cxn>
              <a:cxn ang="0">
                <a:pos x="connsiteX20188" y="connsiteY20188"/>
              </a:cxn>
              <a:cxn ang="0">
                <a:pos x="connsiteX20189" y="connsiteY20189"/>
              </a:cxn>
              <a:cxn ang="0">
                <a:pos x="connsiteX20190" y="connsiteY20190"/>
              </a:cxn>
              <a:cxn ang="0">
                <a:pos x="connsiteX20191" y="connsiteY20191"/>
              </a:cxn>
              <a:cxn ang="0">
                <a:pos x="connsiteX20192" y="connsiteY20192"/>
              </a:cxn>
              <a:cxn ang="0">
                <a:pos x="connsiteX20193" y="connsiteY20193"/>
              </a:cxn>
              <a:cxn ang="0">
                <a:pos x="connsiteX20194" y="connsiteY20194"/>
              </a:cxn>
              <a:cxn ang="0">
                <a:pos x="connsiteX20195" y="connsiteY20195"/>
              </a:cxn>
              <a:cxn ang="0">
                <a:pos x="connsiteX20196" y="connsiteY20196"/>
              </a:cxn>
              <a:cxn ang="0">
                <a:pos x="connsiteX20197" y="connsiteY20197"/>
              </a:cxn>
              <a:cxn ang="0">
                <a:pos x="connsiteX20198" y="connsiteY20198"/>
              </a:cxn>
              <a:cxn ang="0">
                <a:pos x="connsiteX20199" y="connsiteY20199"/>
              </a:cxn>
              <a:cxn ang="0">
                <a:pos x="connsiteX20200" y="connsiteY20200"/>
              </a:cxn>
              <a:cxn ang="0">
                <a:pos x="connsiteX20201" y="connsiteY20201"/>
              </a:cxn>
              <a:cxn ang="0">
                <a:pos x="connsiteX20202" y="connsiteY20202"/>
              </a:cxn>
              <a:cxn ang="0">
                <a:pos x="connsiteX20203" y="connsiteY20203"/>
              </a:cxn>
              <a:cxn ang="0">
                <a:pos x="connsiteX20204" y="connsiteY20204"/>
              </a:cxn>
              <a:cxn ang="0">
                <a:pos x="connsiteX20205" y="connsiteY20205"/>
              </a:cxn>
              <a:cxn ang="0">
                <a:pos x="connsiteX20206" y="connsiteY20206"/>
              </a:cxn>
              <a:cxn ang="0">
                <a:pos x="connsiteX20207" y="connsiteY20207"/>
              </a:cxn>
              <a:cxn ang="0">
                <a:pos x="connsiteX20208" y="connsiteY20208"/>
              </a:cxn>
              <a:cxn ang="0">
                <a:pos x="connsiteX20209" y="connsiteY20209"/>
              </a:cxn>
              <a:cxn ang="0">
                <a:pos x="connsiteX20210" y="connsiteY20210"/>
              </a:cxn>
              <a:cxn ang="0">
                <a:pos x="connsiteX20211" y="connsiteY20211"/>
              </a:cxn>
              <a:cxn ang="0">
                <a:pos x="connsiteX20212" y="connsiteY20212"/>
              </a:cxn>
              <a:cxn ang="0">
                <a:pos x="connsiteX20213" y="connsiteY20213"/>
              </a:cxn>
              <a:cxn ang="0">
                <a:pos x="connsiteX20214" y="connsiteY20214"/>
              </a:cxn>
              <a:cxn ang="0">
                <a:pos x="connsiteX20215" y="connsiteY20215"/>
              </a:cxn>
              <a:cxn ang="0">
                <a:pos x="connsiteX20216" y="connsiteY20216"/>
              </a:cxn>
              <a:cxn ang="0">
                <a:pos x="connsiteX20217" y="connsiteY20217"/>
              </a:cxn>
              <a:cxn ang="0">
                <a:pos x="connsiteX20218" y="connsiteY20218"/>
              </a:cxn>
              <a:cxn ang="0">
                <a:pos x="connsiteX20219" y="connsiteY20219"/>
              </a:cxn>
              <a:cxn ang="0">
                <a:pos x="connsiteX20220" y="connsiteY20220"/>
              </a:cxn>
              <a:cxn ang="0">
                <a:pos x="connsiteX20221" y="connsiteY20221"/>
              </a:cxn>
              <a:cxn ang="0">
                <a:pos x="connsiteX20222" y="connsiteY20222"/>
              </a:cxn>
              <a:cxn ang="0">
                <a:pos x="connsiteX20223" y="connsiteY20223"/>
              </a:cxn>
              <a:cxn ang="0">
                <a:pos x="connsiteX20224" y="connsiteY20224"/>
              </a:cxn>
              <a:cxn ang="0">
                <a:pos x="connsiteX20225" y="connsiteY20225"/>
              </a:cxn>
              <a:cxn ang="0">
                <a:pos x="connsiteX20226" y="connsiteY20226"/>
              </a:cxn>
              <a:cxn ang="0">
                <a:pos x="connsiteX20227" y="connsiteY20227"/>
              </a:cxn>
              <a:cxn ang="0">
                <a:pos x="connsiteX20228" y="connsiteY20228"/>
              </a:cxn>
              <a:cxn ang="0">
                <a:pos x="connsiteX20229" y="connsiteY20229"/>
              </a:cxn>
              <a:cxn ang="0">
                <a:pos x="connsiteX20230" y="connsiteY20230"/>
              </a:cxn>
              <a:cxn ang="0">
                <a:pos x="connsiteX20231" y="connsiteY20231"/>
              </a:cxn>
              <a:cxn ang="0">
                <a:pos x="connsiteX20232" y="connsiteY20232"/>
              </a:cxn>
              <a:cxn ang="0">
                <a:pos x="connsiteX20233" y="connsiteY20233"/>
              </a:cxn>
              <a:cxn ang="0">
                <a:pos x="connsiteX20234" y="connsiteY20234"/>
              </a:cxn>
              <a:cxn ang="0">
                <a:pos x="connsiteX20235" y="connsiteY20235"/>
              </a:cxn>
              <a:cxn ang="0">
                <a:pos x="connsiteX20236" y="connsiteY20236"/>
              </a:cxn>
              <a:cxn ang="0">
                <a:pos x="connsiteX20237" y="connsiteY20237"/>
              </a:cxn>
              <a:cxn ang="0">
                <a:pos x="connsiteX20238" y="connsiteY20238"/>
              </a:cxn>
              <a:cxn ang="0">
                <a:pos x="connsiteX20239" y="connsiteY20239"/>
              </a:cxn>
              <a:cxn ang="0">
                <a:pos x="connsiteX20240" y="connsiteY20240"/>
              </a:cxn>
              <a:cxn ang="0">
                <a:pos x="connsiteX20241" y="connsiteY20241"/>
              </a:cxn>
              <a:cxn ang="0">
                <a:pos x="connsiteX20242" y="connsiteY20242"/>
              </a:cxn>
              <a:cxn ang="0">
                <a:pos x="connsiteX20243" y="connsiteY20243"/>
              </a:cxn>
              <a:cxn ang="0">
                <a:pos x="connsiteX20244" y="connsiteY20244"/>
              </a:cxn>
              <a:cxn ang="0">
                <a:pos x="connsiteX20245" y="connsiteY20245"/>
              </a:cxn>
              <a:cxn ang="0">
                <a:pos x="connsiteX20246" y="connsiteY20246"/>
              </a:cxn>
              <a:cxn ang="0">
                <a:pos x="connsiteX20247" y="connsiteY20247"/>
              </a:cxn>
              <a:cxn ang="0">
                <a:pos x="connsiteX20248" y="connsiteY20248"/>
              </a:cxn>
              <a:cxn ang="0">
                <a:pos x="connsiteX20249" y="connsiteY20249"/>
              </a:cxn>
              <a:cxn ang="0">
                <a:pos x="connsiteX20250" y="connsiteY20250"/>
              </a:cxn>
              <a:cxn ang="0">
                <a:pos x="connsiteX20251" y="connsiteY20251"/>
              </a:cxn>
              <a:cxn ang="0">
                <a:pos x="connsiteX20252" y="connsiteY20252"/>
              </a:cxn>
              <a:cxn ang="0">
                <a:pos x="connsiteX20253" y="connsiteY20253"/>
              </a:cxn>
              <a:cxn ang="0">
                <a:pos x="connsiteX20254" y="connsiteY20254"/>
              </a:cxn>
              <a:cxn ang="0">
                <a:pos x="connsiteX20255" y="connsiteY20255"/>
              </a:cxn>
              <a:cxn ang="0">
                <a:pos x="connsiteX20256" y="connsiteY20256"/>
              </a:cxn>
              <a:cxn ang="0">
                <a:pos x="connsiteX20257" y="connsiteY20257"/>
              </a:cxn>
              <a:cxn ang="0">
                <a:pos x="connsiteX20258" y="connsiteY20258"/>
              </a:cxn>
              <a:cxn ang="0">
                <a:pos x="connsiteX20259" y="connsiteY20259"/>
              </a:cxn>
              <a:cxn ang="0">
                <a:pos x="connsiteX20260" y="connsiteY20260"/>
              </a:cxn>
              <a:cxn ang="0">
                <a:pos x="connsiteX20261" y="connsiteY20261"/>
              </a:cxn>
              <a:cxn ang="0">
                <a:pos x="connsiteX20262" y="connsiteY20262"/>
              </a:cxn>
              <a:cxn ang="0">
                <a:pos x="connsiteX20263" y="connsiteY20263"/>
              </a:cxn>
              <a:cxn ang="0">
                <a:pos x="connsiteX20264" y="connsiteY20264"/>
              </a:cxn>
              <a:cxn ang="0">
                <a:pos x="connsiteX20265" y="connsiteY20265"/>
              </a:cxn>
              <a:cxn ang="0">
                <a:pos x="connsiteX20266" y="connsiteY20266"/>
              </a:cxn>
              <a:cxn ang="0">
                <a:pos x="connsiteX20267" y="connsiteY20267"/>
              </a:cxn>
              <a:cxn ang="0">
                <a:pos x="connsiteX20268" y="connsiteY20268"/>
              </a:cxn>
              <a:cxn ang="0">
                <a:pos x="connsiteX20269" y="connsiteY20269"/>
              </a:cxn>
              <a:cxn ang="0">
                <a:pos x="connsiteX20270" y="connsiteY20270"/>
              </a:cxn>
              <a:cxn ang="0">
                <a:pos x="connsiteX20271" y="connsiteY20271"/>
              </a:cxn>
              <a:cxn ang="0">
                <a:pos x="connsiteX20272" y="connsiteY20272"/>
              </a:cxn>
              <a:cxn ang="0">
                <a:pos x="connsiteX20273" y="connsiteY20273"/>
              </a:cxn>
              <a:cxn ang="0">
                <a:pos x="connsiteX20274" y="connsiteY20274"/>
              </a:cxn>
              <a:cxn ang="0">
                <a:pos x="connsiteX20275" y="connsiteY20275"/>
              </a:cxn>
              <a:cxn ang="0">
                <a:pos x="connsiteX20276" y="connsiteY20276"/>
              </a:cxn>
              <a:cxn ang="0">
                <a:pos x="connsiteX20277" y="connsiteY20277"/>
              </a:cxn>
              <a:cxn ang="0">
                <a:pos x="connsiteX20278" y="connsiteY20278"/>
              </a:cxn>
              <a:cxn ang="0">
                <a:pos x="connsiteX20279" y="connsiteY20279"/>
              </a:cxn>
              <a:cxn ang="0">
                <a:pos x="connsiteX20280" y="connsiteY20280"/>
              </a:cxn>
              <a:cxn ang="0">
                <a:pos x="connsiteX20281" y="connsiteY20281"/>
              </a:cxn>
              <a:cxn ang="0">
                <a:pos x="connsiteX20282" y="connsiteY20282"/>
              </a:cxn>
              <a:cxn ang="0">
                <a:pos x="connsiteX20283" y="connsiteY20283"/>
              </a:cxn>
              <a:cxn ang="0">
                <a:pos x="connsiteX20284" y="connsiteY20284"/>
              </a:cxn>
              <a:cxn ang="0">
                <a:pos x="connsiteX20285" y="connsiteY20285"/>
              </a:cxn>
              <a:cxn ang="0">
                <a:pos x="connsiteX20286" y="connsiteY20286"/>
              </a:cxn>
              <a:cxn ang="0">
                <a:pos x="connsiteX20287" y="connsiteY20287"/>
              </a:cxn>
              <a:cxn ang="0">
                <a:pos x="connsiteX20288" y="connsiteY20288"/>
              </a:cxn>
              <a:cxn ang="0">
                <a:pos x="connsiteX20289" y="connsiteY20289"/>
              </a:cxn>
              <a:cxn ang="0">
                <a:pos x="connsiteX20290" y="connsiteY20290"/>
              </a:cxn>
              <a:cxn ang="0">
                <a:pos x="connsiteX20291" y="connsiteY20291"/>
              </a:cxn>
              <a:cxn ang="0">
                <a:pos x="connsiteX20292" y="connsiteY20292"/>
              </a:cxn>
              <a:cxn ang="0">
                <a:pos x="connsiteX20293" y="connsiteY20293"/>
              </a:cxn>
              <a:cxn ang="0">
                <a:pos x="connsiteX20294" y="connsiteY20294"/>
              </a:cxn>
              <a:cxn ang="0">
                <a:pos x="connsiteX20295" y="connsiteY20295"/>
              </a:cxn>
              <a:cxn ang="0">
                <a:pos x="connsiteX20296" y="connsiteY20296"/>
              </a:cxn>
              <a:cxn ang="0">
                <a:pos x="connsiteX20297" y="connsiteY20297"/>
              </a:cxn>
              <a:cxn ang="0">
                <a:pos x="connsiteX20298" y="connsiteY20298"/>
              </a:cxn>
              <a:cxn ang="0">
                <a:pos x="connsiteX20299" y="connsiteY20299"/>
              </a:cxn>
              <a:cxn ang="0">
                <a:pos x="connsiteX20300" y="connsiteY20300"/>
              </a:cxn>
              <a:cxn ang="0">
                <a:pos x="connsiteX20301" y="connsiteY20301"/>
              </a:cxn>
              <a:cxn ang="0">
                <a:pos x="connsiteX20302" y="connsiteY20302"/>
              </a:cxn>
              <a:cxn ang="0">
                <a:pos x="connsiteX20303" y="connsiteY20303"/>
              </a:cxn>
              <a:cxn ang="0">
                <a:pos x="connsiteX20304" y="connsiteY20304"/>
              </a:cxn>
              <a:cxn ang="0">
                <a:pos x="connsiteX20305" y="connsiteY20305"/>
              </a:cxn>
              <a:cxn ang="0">
                <a:pos x="connsiteX20306" y="connsiteY20306"/>
              </a:cxn>
              <a:cxn ang="0">
                <a:pos x="connsiteX20307" y="connsiteY20307"/>
              </a:cxn>
              <a:cxn ang="0">
                <a:pos x="connsiteX20308" y="connsiteY20308"/>
              </a:cxn>
              <a:cxn ang="0">
                <a:pos x="connsiteX20309" y="connsiteY20309"/>
              </a:cxn>
              <a:cxn ang="0">
                <a:pos x="connsiteX20310" y="connsiteY20310"/>
              </a:cxn>
              <a:cxn ang="0">
                <a:pos x="connsiteX20311" y="connsiteY20311"/>
              </a:cxn>
              <a:cxn ang="0">
                <a:pos x="connsiteX20312" y="connsiteY20312"/>
              </a:cxn>
              <a:cxn ang="0">
                <a:pos x="connsiteX20313" y="connsiteY20313"/>
              </a:cxn>
              <a:cxn ang="0">
                <a:pos x="connsiteX20314" y="connsiteY20314"/>
              </a:cxn>
              <a:cxn ang="0">
                <a:pos x="connsiteX20315" y="connsiteY20315"/>
              </a:cxn>
              <a:cxn ang="0">
                <a:pos x="connsiteX20316" y="connsiteY20316"/>
              </a:cxn>
              <a:cxn ang="0">
                <a:pos x="connsiteX20317" y="connsiteY20317"/>
              </a:cxn>
              <a:cxn ang="0">
                <a:pos x="connsiteX20318" y="connsiteY20318"/>
              </a:cxn>
              <a:cxn ang="0">
                <a:pos x="connsiteX20319" y="connsiteY20319"/>
              </a:cxn>
              <a:cxn ang="0">
                <a:pos x="connsiteX20320" y="connsiteY20320"/>
              </a:cxn>
              <a:cxn ang="0">
                <a:pos x="connsiteX20321" y="connsiteY20321"/>
              </a:cxn>
              <a:cxn ang="0">
                <a:pos x="connsiteX20322" y="connsiteY20322"/>
              </a:cxn>
              <a:cxn ang="0">
                <a:pos x="connsiteX20323" y="connsiteY20323"/>
              </a:cxn>
              <a:cxn ang="0">
                <a:pos x="connsiteX20324" y="connsiteY20324"/>
              </a:cxn>
              <a:cxn ang="0">
                <a:pos x="connsiteX20325" y="connsiteY20325"/>
              </a:cxn>
              <a:cxn ang="0">
                <a:pos x="connsiteX20326" y="connsiteY20326"/>
              </a:cxn>
              <a:cxn ang="0">
                <a:pos x="connsiteX20327" y="connsiteY20327"/>
              </a:cxn>
              <a:cxn ang="0">
                <a:pos x="connsiteX20328" y="connsiteY20328"/>
              </a:cxn>
              <a:cxn ang="0">
                <a:pos x="connsiteX20329" y="connsiteY20329"/>
              </a:cxn>
              <a:cxn ang="0">
                <a:pos x="connsiteX20330" y="connsiteY20330"/>
              </a:cxn>
              <a:cxn ang="0">
                <a:pos x="connsiteX20331" y="connsiteY20331"/>
              </a:cxn>
              <a:cxn ang="0">
                <a:pos x="connsiteX20332" y="connsiteY20332"/>
              </a:cxn>
              <a:cxn ang="0">
                <a:pos x="connsiteX20333" y="connsiteY20333"/>
              </a:cxn>
              <a:cxn ang="0">
                <a:pos x="connsiteX20334" y="connsiteY20334"/>
              </a:cxn>
              <a:cxn ang="0">
                <a:pos x="connsiteX20335" y="connsiteY20335"/>
              </a:cxn>
              <a:cxn ang="0">
                <a:pos x="connsiteX20336" y="connsiteY20336"/>
              </a:cxn>
              <a:cxn ang="0">
                <a:pos x="connsiteX20337" y="connsiteY20337"/>
              </a:cxn>
              <a:cxn ang="0">
                <a:pos x="connsiteX20338" y="connsiteY20338"/>
              </a:cxn>
              <a:cxn ang="0">
                <a:pos x="connsiteX20339" y="connsiteY20339"/>
              </a:cxn>
              <a:cxn ang="0">
                <a:pos x="connsiteX20340" y="connsiteY20340"/>
              </a:cxn>
              <a:cxn ang="0">
                <a:pos x="connsiteX20341" y="connsiteY20341"/>
              </a:cxn>
              <a:cxn ang="0">
                <a:pos x="connsiteX20342" y="connsiteY20342"/>
              </a:cxn>
              <a:cxn ang="0">
                <a:pos x="connsiteX20343" y="connsiteY20343"/>
              </a:cxn>
              <a:cxn ang="0">
                <a:pos x="connsiteX20344" y="connsiteY20344"/>
              </a:cxn>
              <a:cxn ang="0">
                <a:pos x="connsiteX20345" y="connsiteY20345"/>
              </a:cxn>
              <a:cxn ang="0">
                <a:pos x="connsiteX20346" y="connsiteY20346"/>
              </a:cxn>
              <a:cxn ang="0">
                <a:pos x="connsiteX20347" y="connsiteY20347"/>
              </a:cxn>
              <a:cxn ang="0">
                <a:pos x="connsiteX20348" y="connsiteY20348"/>
              </a:cxn>
              <a:cxn ang="0">
                <a:pos x="connsiteX20349" y="connsiteY20349"/>
              </a:cxn>
              <a:cxn ang="0">
                <a:pos x="connsiteX20350" y="connsiteY20350"/>
              </a:cxn>
              <a:cxn ang="0">
                <a:pos x="connsiteX20351" y="connsiteY20351"/>
              </a:cxn>
              <a:cxn ang="0">
                <a:pos x="connsiteX20352" y="connsiteY20352"/>
              </a:cxn>
              <a:cxn ang="0">
                <a:pos x="connsiteX20353" y="connsiteY20353"/>
              </a:cxn>
              <a:cxn ang="0">
                <a:pos x="connsiteX20354" y="connsiteY20354"/>
              </a:cxn>
              <a:cxn ang="0">
                <a:pos x="connsiteX20355" y="connsiteY20355"/>
              </a:cxn>
              <a:cxn ang="0">
                <a:pos x="connsiteX20356" y="connsiteY20356"/>
              </a:cxn>
              <a:cxn ang="0">
                <a:pos x="connsiteX20357" y="connsiteY20357"/>
              </a:cxn>
              <a:cxn ang="0">
                <a:pos x="connsiteX20358" y="connsiteY20358"/>
              </a:cxn>
              <a:cxn ang="0">
                <a:pos x="connsiteX20359" y="connsiteY20359"/>
              </a:cxn>
              <a:cxn ang="0">
                <a:pos x="connsiteX20360" y="connsiteY20360"/>
              </a:cxn>
              <a:cxn ang="0">
                <a:pos x="connsiteX20361" y="connsiteY20361"/>
              </a:cxn>
              <a:cxn ang="0">
                <a:pos x="connsiteX20362" y="connsiteY20362"/>
              </a:cxn>
              <a:cxn ang="0">
                <a:pos x="connsiteX20363" y="connsiteY20363"/>
              </a:cxn>
              <a:cxn ang="0">
                <a:pos x="connsiteX20364" y="connsiteY20364"/>
              </a:cxn>
              <a:cxn ang="0">
                <a:pos x="connsiteX20365" y="connsiteY20365"/>
              </a:cxn>
              <a:cxn ang="0">
                <a:pos x="connsiteX20366" y="connsiteY20366"/>
              </a:cxn>
              <a:cxn ang="0">
                <a:pos x="connsiteX20367" y="connsiteY20367"/>
              </a:cxn>
              <a:cxn ang="0">
                <a:pos x="connsiteX20368" y="connsiteY20368"/>
              </a:cxn>
              <a:cxn ang="0">
                <a:pos x="connsiteX20369" y="connsiteY20369"/>
              </a:cxn>
              <a:cxn ang="0">
                <a:pos x="connsiteX20370" y="connsiteY20370"/>
              </a:cxn>
              <a:cxn ang="0">
                <a:pos x="connsiteX20371" y="connsiteY20371"/>
              </a:cxn>
              <a:cxn ang="0">
                <a:pos x="connsiteX20372" y="connsiteY20372"/>
              </a:cxn>
              <a:cxn ang="0">
                <a:pos x="connsiteX20373" y="connsiteY20373"/>
              </a:cxn>
              <a:cxn ang="0">
                <a:pos x="connsiteX20374" y="connsiteY20374"/>
              </a:cxn>
              <a:cxn ang="0">
                <a:pos x="connsiteX20375" y="connsiteY20375"/>
              </a:cxn>
              <a:cxn ang="0">
                <a:pos x="connsiteX20376" y="connsiteY20376"/>
              </a:cxn>
              <a:cxn ang="0">
                <a:pos x="connsiteX20377" y="connsiteY20377"/>
              </a:cxn>
              <a:cxn ang="0">
                <a:pos x="connsiteX20378" y="connsiteY20378"/>
              </a:cxn>
              <a:cxn ang="0">
                <a:pos x="connsiteX20379" y="connsiteY20379"/>
              </a:cxn>
              <a:cxn ang="0">
                <a:pos x="connsiteX20380" y="connsiteY20380"/>
              </a:cxn>
              <a:cxn ang="0">
                <a:pos x="connsiteX20381" y="connsiteY20381"/>
              </a:cxn>
              <a:cxn ang="0">
                <a:pos x="connsiteX20382" y="connsiteY20382"/>
              </a:cxn>
              <a:cxn ang="0">
                <a:pos x="connsiteX20383" y="connsiteY20383"/>
              </a:cxn>
              <a:cxn ang="0">
                <a:pos x="connsiteX20384" y="connsiteY20384"/>
              </a:cxn>
              <a:cxn ang="0">
                <a:pos x="connsiteX20385" y="connsiteY20385"/>
              </a:cxn>
              <a:cxn ang="0">
                <a:pos x="connsiteX20386" y="connsiteY20386"/>
              </a:cxn>
              <a:cxn ang="0">
                <a:pos x="connsiteX20387" y="connsiteY20387"/>
              </a:cxn>
              <a:cxn ang="0">
                <a:pos x="connsiteX20388" y="connsiteY20388"/>
              </a:cxn>
              <a:cxn ang="0">
                <a:pos x="connsiteX20389" y="connsiteY20389"/>
              </a:cxn>
              <a:cxn ang="0">
                <a:pos x="connsiteX20390" y="connsiteY20390"/>
              </a:cxn>
              <a:cxn ang="0">
                <a:pos x="connsiteX20391" y="connsiteY20391"/>
              </a:cxn>
              <a:cxn ang="0">
                <a:pos x="connsiteX20392" y="connsiteY20392"/>
              </a:cxn>
              <a:cxn ang="0">
                <a:pos x="connsiteX20393" y="connsiteY20393"/>
              </a:cxn>
              <a:cxn ang="0">
                <a:pos x="connsiteX20394" y="connsiteY20394"/>
              </a:cxn>
              <a:cxn ang="0">
                <a:pos x="connsiteX20395" y="connsiteY20395"/>
              </a:cxn>
              <a:cxn ang="0">
                <a:pos x="connsiteX20396" y="connsiteY20396"/>
              </a:cxn>
              <a:cxn ang="0">
                <a:pos x="connsiteX20397" y="connsiteY20397"/>
              </a:cxn>
              <a:cxn ang="0">
                <a:pos x="connsiteX20398" y="connsiteY20398"/>
              </a:cxn>
              <a:cxn ang="0">
                <a:pos x="connsiteX20399" y="connsiteY20399"/>
              </a:cxn>
              <a:cxn ang="0">
                <a:pos x="connsiteX20400" y="connsiteY20400"/>
              </a:cxn>
              <a:cxn ang="0">
                <a:pos x="connsiteX20401" y="connsiteY20401"/>
              </a:cxn>
              <a:cxn ang="0">
                <a:pos x="connsiteX20402" y="connsiteY20402"/>
              </a:cxn>
              <a:cxn ang="0">
                <a:pos x="connsiteX20403" y="connsiteY20403"/>
              </a:cxn>
              <a:cxn ang="0">
                <a:pos x="connsiteX20404" y="connsiteY20404"/>
              </a:cxn>
              <a:cxn ang="0">
                <a:pos x="connsiteX20405" y="connsiteY20405"/>
              </a:cxn>
              <a:cxn ang="0">
                <a:pos x="connsiteX20406" y="connsiteY20406"/>
              </a:cxn>
              <a:cxn ang="0">
                <a:pos x="connsiteX20407" y="connsiteY20407"/>
              </a:cxn>
              <a:cxn ang="0">
                <a:pos x="connsiteX20408" y="connsiteY20408"/>
              </a:cxn>
              <a:cxn ang="0">
                <a:pos x="connsiteX20409" y="connsiteY20409"/>
              </a:cxn>
              <a:cxn ang="0">
                <a:pos x="connsiteX20410" y="connsiteY20410"/>
              </a:cxn>
              <a:cxn ang="0">
                <a:pos x="connsiteX20411" y="connsiteY20411"/>
              </a:cxn>
              <a:cxn ang="0">
                <a:pos x="connsiteX20412" y="connsiteY20412"/>
              </a:cxn>
              <a:cxn ang="0">
                <a:pos x="connsiteX20413" y="connsiteY20413"/>
              </a:cxn>
              <a:cxn ang="0">
                <a:pos x="connsiteX20414" y="connsiteY20414"/>
              </a:cxn>
              <a:cxn ang="0">
                <a:pos x="connsiteX20415" y="connsiteY20415"/>
              </a:cxn>
              <a:cxn ang="0">
                <a:pos x="connsiteX20416" y="connsiteY20416"/>
              </a:cxn>
              <a:cxn ang="0">
                <a:pos x="connsiteX20417" y="connsiteY20417"/>
              </a:cxn>
              <a:cxn ang="0">
                <a:pos x="connsiteX20418" y="connsiteY20418"/>
              </a:cxn>
              <a:cxn ang="0">
                <a:pos x="connsiteX20419" y="connsiteY20419"/>
              </a:cxn>
              <a:cxn ang="0">
                <a:pos x="connsiteX20420" y="connsiteY20420"/>
              </a:cxn>
              <a:cxn ang="0">
                <a:pos x="connsiteX20421" y="connsiteY20421"/>
              </a:cxn>
              <a:cxn ang="0">
                <a:pos x="connsiteX20422" y="connsiteY20422"/>
              </a:cxn>
              <a:cxn ang="0">
                <a:pos x="connsiteX20423" y="connsiteY20423"/>
              </a:cxn>
              <a:cxn ang="0">
                <a:pos x="connsiteX20424" y="connsiteY20424"/>
              </a:cxn>
              <a:cxn ang="0">
                <a:pos x="connsiteX20425" y="connsiteY20425"/>
              </a:cxn>
              <a:cxn ang="0">
                <a:pos x="connsiteX20426" y="connsiteY20426"/>
              </a:cxn>
              <a:cxn ang="0">
                <a:pos x="connsiteX20427" y="connsiteY20427"/>
              </a:cxn>
              <a:cxn ang="0">
                <a:pos x="connsiteX20428" y="connsiteY20428"/>
              </a:cxn>
              <a:cxn ang="0">
                <a:pos x="connsiteX20429" y="connsiteY20429"/>
              </a:cxn>
              <a:cxn ang="0">
                <a:pos x="connsiteX20430" y="connsiteY20430"/>
              </a:cxn>
              <a:cxn ang="0">
                <a:pos x="connsiteX20431" y="connsiteY20431"/>
              </a:cxn>
              <a:cxn ang="0">
                <a:pos x="connsiteX20432" y="connsiteY20432"/>
              </a:cxn>
              <a:cxn ang="0">
                <a:pos x="connsiteX20433" y="connsiteY20433"/>
              </a:cxn>
              <a:cxn ang="0">
                <a:pos x="connsiteX20434" y="connsiteY20434"/>
              </a:cxn>
              <a:cxn ang="0">
                <a:pos x="connsiteX20435" y="connsiteY20435"/>
              </a:cxn>
              <a:cxn ang="0">
                <a:pos x="connsiteX20436" y="connsiteY20436"/>
              </a:cxn>
              <a:cxn ang="0">
                <a:pos x="connsiteX20437" y="connsiteY20437"/>
              </a:cxn>
              <a:cxn ang="0">
                <a:pos x="connsiteX20438" y="connsiteY20438"/>
              </a:cxn>
              <a:cxn ang="0">
                <a:pos x="connsiteX20439" y="connsiteY20439"/>
              </a:cxn>
              <a:cxn ang="0">
                <a:pos x="connsiteX20440" y="connsiteY20440"/>
              </a:cxn>
              <a:cxn ang="0">
                <a:pos x="connsiteX20441" y="connsiteY20441"/>
              </a:cxn>
              <a:cxn ang="0">
                <a:pos x="connsiteX20442" y="connsiteY20442"/>
              </a:cxn>
              <a:cxn ang="0">
                <a:pos x="connsiteX20443" y="connsiteY20443"/>
              </a:cxn>
              <a:cxn ang="0">
                <a:pos x="connsiteX20444" y="connsiteY20444"/>
              </a:cxn>
              <a:cxn ang="0">
                <a:pos x="connsiteX20445" y="connsiteY20445"/>
              </a:cxn>
              <a:cxn ang="0">
                <a:pos x="connsiteX20446" y="connsiteY20446"/>
              </a:cxn>
              <a:cxn ang="0">
                <a:pos x="connsiteX20447" y="connsiteY20447"/>
              </a:cxn>
              <a:cxn ang="0">
                <a:pos x="connsiteX20448" y="connsiteY20448"/>
              </a:cxn>
              <a:cxn ang="0">
                <a:pos x="connsiteX20449" y="connsiteY20449"/>
              </a:cxn>
              <a:cxn ang="0">
                <a:pos x="connsiteX20450" y="connsiteY20450"/>
              </a:cxn>
              <a:cxn ang="0">
                <a:pos x="connsiteX20451" y="connsiteY20451"/>
              </a:cxn>
              <a:cxn ang="0">
                <a:pos x="connsiteX20452" y="connsiteY20452"/>
              </a:cxn>
              <a:cxn ang="0">
                <a:pos x="connsiteX20453" y="connsiteY20453"/>
              </a:cxn>
              <a:cxn ang="0">
                <a:pos x="connsiteX20454" y="connsiteY20454"/>
              </a:cxn>
              <a:cxn ang="0">
                <a:pos x="connsiteX20455" y="connsiteY20455"/>
              </a:cxn>
              <a:cxn ang="0">
                <a:pos x="connsiteX20456" y="connsiteY20456"/>
              </a:cxn>
              <a:cxn ang="0">
                <a:pos x="connsiteX20457" y="connsiteY20457"/>
              </a:cxn>
              <a:cxn ang="0">
                <a:pos x="connsiteX20458" y="connsiteY20458"/>
              </a:cxn>
              <a:cxn ang="0">
                <a:pos x="connsiteX20459" y="connsiteY20459"/>
              </a:cxn>
              <a:cxn ang="0">
                <a:pos x="connsiteX20460" y="connsiteY20460"/>
              </a:cxn>
              <a:cxn ang="0">
                <a:pos x="connsiteX20461" y="connsiteY20461"/>
              </a:cxn>
              <a:cxn ang="0">
                <a:pos x="connsiteX20462" y="connsiteY20462"/>
              </a:cxn>
              <a:cxn ang="0">
                <a:pos x="connsiteX20463" y="connsiteY20463"/>
              </a:cxn>
              <a:cxn ang="0">
                <a:pos x="connsiteX20464" y="connsiteY20464"/>
              </a:cxn>
              <a:cxn ang="0">
                <a:pos x="connsiteX20465" y="connsiteY20465"/>
              </a:cxn>
              <a:cxn ang="0">
                <a:pos x="connsiteX20466" y="connsiteY20466"/>
              </a:cxn>
              <a:cxn ang="0">
                <a:pos x="connsiteX20467" y="connsiteY20467"/>
              </a:cxn>
              <a:cxn ang="0">
                <a:pos x="connsiteX20468" y="connsiteY20468"/>
              </a:cxn>
              <a:cxn ang="0">
                <a:pos x="connsiteX20469" y="connsiteY20469"/>
              </a:cxn>
              <a:cxn ang="0">
                <a:pos x="connsiteX20470" y="connsiteY20470"/>
              </a:cxn>
              <a:cxn ang="0">
                <a:pos x="connsiteX20471" y="connsiteY20471"/>
              </a:cxn>
              <a:cxn ang="0">
                <a:pos x="connsiteX20472" y="connsiteY20472"/>
              </a:cxn>
              <a:cxn ang="0">
                <a:pos x="connsiteX20473" y="connsiteY20473"/>
              </a:cxn>
              <a:cxn ang="0">
                <a:pos x="connsiteX20474" y="connsiteY20474"/>
              </a:cxn>
              <a:cxn ang="0">
                <a:pos x="connsiteX20475" y="connsiteY20475"/>
              </a:cxn>
              <a:cxn ang="0">
                <a:pos x="connsiteX20476" y="connsiteY20476"/>
              </a:cxn>
              <a:cxn ang="0">
                <a:pos x="connsiteX20477" y="connsiteY20477"/>
              </a:cxn>
              <a:cxn ang="0">
                <a:pos x="connsiteX20478" y="connsiteY20478"/>
              </a:cxn>
              <a:cxn ang="0">
                <a:pos x="connsiteX20479" y="connsiteY20479"/>
              </a:cxn>
              <a:cxn ang="0">
                <a:pos x="connsiteX20480" y="connsiteY20480"/>
              </a:cxn>
              <a:cxn ang="0">
                <a:pos x="connsiteX20481" y="connsiteY20481"/>
              </a:cxn>
              <a:cxn ang="0">
                <a:pos x="connsiteX20482" y="connsiteY20482"/>
              </a:cxn>
              <a:cxn ang="0">
                <a:pos x="connsiteX20483" y="connsiteY20483"/>
              </a:cxn>
              <a:cxn ang="0">
                <a:pos x="connsiteX20484" y="connsiteY20484"/>
              </a:cxn>
              <a:cxn ang="0">
                <a:pos x="connsiteX20485" y="connsiteY20485"/>
              </a:cxn>
              <a:cxn ang="0">
                <a:pos x="connsiteX20486" y="connsiteY20486"/>
              </a:cxn>
              <a:cxn ang="0">
                <a:pos x="connsiteX20487" y="connsiteY20487"/>
              </a:cxn>
              <a:cxn ang="0">
                <a:pos x="connsiteX20488" y="connsiteY20488"/>
              </a:cxn>
              <a:cxn ang="0">
                <a:pos x="connsiteX20489" y="connsiteY20489"/>
              </a:cxn>
              <a:cxn ang="0">
                <a:pos x="connsiteX20490" y="connsiteY20490"/>
              </a:cxn>
              <a:cxn ang="0">
                <a:pos x="connsiteX20491" y="connsiteY20491"/>
              </a:cxn>
              <a:cxn ang="0">
                <a:pos x="connsiteX20492" y="connsiteY20492"/>
              </a:cxn>
              <a:cxn ang="0">
                <a:pos x="connsiteX20493" y="connsiteY20493"/>
              </a:cxn>
              <a:cxn ang="0">
                <a:pos x="connsiteX20494" y="connsiteY20494"/>
              </a:cxn>
              <a:cxn ang="0">
                <a:pos x="connsiteX20495" y="connsiteY20495"/>
              </a:cxn>
              <a:cxn ang="0">
                <a:pos x="connsiteX20496" y="connsiteY20496"/>
              </a:cxn>
              <a:cxn ang="0">
                <a:pos x="connsiteX20497" y="connsiteY20497"/>
              </a:cxn>
              <a:cxn ang="0">
                <a:pos x="connsiteX20498" y="connsiteY20498"/>
              </a:cxn>
              <a:cxn ang="0">
                <a:pos x="connsiteX20499" y="connsiteY20499"/>
              </a:cxn>
              <a:cxn ang="0">
                <a:pos x="connsiteX20500" y="connsiteY20500"/>
              </a:cxn>
              <a:cxn ang="0">
                <a:pos x="connsiteX20501" y="connsiteY20501"/>
              </a:cxn>
              <a:cxn ang="0">
                <a:pos x="connsiteX20502" y="connsiteY20502"/>
              </a:cxn>
              <a:cxn ang="0">
                <a:pos x="connsiteX20503" y="connsiteY20503"/>
              </a:cxn>
              <a:cxn ang="0">
                <a:pos x="connsiteX20504" y="connsiteY20504"/>
              </a:cxn>
              <a:cxn ang="0">
                <a:pos x="connsiteX20505" y="connsiteY20505"/>
              </a:cxn>
              <a:cxn ang="0">
                <a:pos x="connsiteX20506" y="connsiteY20506"/>
              </a:cxn>
              <a:cxn ang="0">
                <a:pos x="connsiteX20507" y="connsiteY20507"/>
              </a:cxn>
              <a:cxn ang="0">
                <a:pos x="connsiteX20508" y="connsiteY20508"/>
              </a:cxn>
              <a:cxn ang="0">
                <a:pos x="connsiteX20509" y="connsiteY20509"/>
              </a:cxn>
              <a:cxn ang="0">
                <a:pos x="connsiteX20510" y="connsiteY20510"/>
              </a:cxn>
              <a:cxn ang="0">
                <a:pos x="connsiteX20511" y="connsiteY20511"/>
              </a:cxn>
              <a:cxn ang="0">
                <a:pos x="connsiteX20512" y="connsiteY20512"/>
              </a:cxn>
              <a:cxn ang="0">
                <a:pos x="connsiteX20513" y="connsiteY20513"/>
              </a:cxn>
              <a:cxn ang="0">
                <a:pos x="connsiteX20514" y="connsiteY20514"/>
              </a:cxn>
              <a:cxn ang="0">
                <a:pos x="connsiteX20515" y="connsiteY20515"/>
              </a:cxn>
              <a:cxn ang="0">
                <a:pos x="connsiteX20516" y="connsiteY20516"/>
              </a:cxn>
              <a:cxn ang="0">
                <a:pos x="connsiteX20517" y="connsiteY20517"/>
              </a:cxn>
              <a:cxn ang="0">
                <a:pos x="connsiteX20518" y="connsiteY20518"/>
              </a:cxn>
              <a:cxn ang="0">
                <a:pos x="connsiteX20519" y="connsiteY20519"/>
              </a:cxn>
              <a:cxn ang="0">
                <a:pos x="connsiteX20520" y="connsiteY20520"/>
              </a:cxn>
              <a:cxn ang="0">
                <a:pos x="connsiteX20521" y="connsiteY20521"/>
              </a:cxn>
              <a:cxn ang="0">
                <a:pos x="connsiteX20522" y="connsiteY20522"/>
              </a:cxn>
              <a:cxn ang="0">
                <a:pos x="connsiteX20523" y="connsiteY20523"/>
              </a:cxn>
              <a:cxn ang="0">
                <a:pos x="connsiteX20524" y="connsiteY20524"/>
              </a:cxn>
              <a:cxn ang="0">
                <a:pos x="connsiteX20525" y="connsiteY20525"/>
              </a:cxn>
              <a:cxn ang="0">
                <a:pos x="connsiteX20526" y="connsiteY20526"/>
              </a:cxn>
              <a:cxn ang="0">
                <a:pos x="connsiteX20527" y="connsiteY20527"/>
              </a:cxn>
              <a:cxn ang="0">
                <a:pos x="connsiteX20528" y="connsiteY20528"/>
              </a:cxn>
              <a:cxn ang="0">
                <a:pos x="connsiteX20529" y="connsiteY20529"/>
              </a:cxn>
              <a:cxn ang="0">
                <a:pos x="connsiteX20530" y="connsiteY20530"/>
              </a:cxn>
              <a:cxn ang="0">
                <a:pos x="connsiteX20531" y="connsiteY20531"/>
              </a:cxn>
              <a:cxn ang="0">
                <a:pos x="connsiteX20532" y="connsiteY20532"/>
              </a:cxn>
              <a:cxn ang="0">
                <a:pos x="connsiteX20533" y="connsiteY20533"/>
              </a:cxn>
              <a:cxn ang="0">
                <a:pos x="connsiteX20534" y="connsiteY20534"/>
              </a:cxn>
              <a:cxn ang="0">
                <a:pos x="connsiteX20535" y="connsiteY20535"/>
              </a:cxn>
              <a:cxn ang="0">
                <a:pos x="connsiteX20536" y="connsiteY20536"/>
              </a:cxn>
              <a:cxn ang="0">
                <a:pos x="connsiteX20537" y="connsiteY20537"/>
              </a:cxn>
              <a:cxn ang="0">
                <a:pos x="connsiteX20538" y="connsiteY20538"/>
              </a:cxn>
              <a:cxn ang="0">
                <a:pos x="connsiteX20539" y="connsiteY20539"/>
              </a:cxn>
              <a:cxn ang="0">
                <a:pos x="connsiteX20540" y="connsiteY20540"/>
              </a:cxn>
              <a:cxn ang="0">
                <a:pos x="connsiteX20541" y="connsiteY20541"/>
              </a:cxn>
              <a:cxn ang="0">
                <a:pos x="connsiteX20542" y="connsiteY20542"/>
              </a:cxn>
              <a:cxn ang="0">
                <a:pos x="connsiteX20543" y="connsiteY20543"/>
              </a:cxn>
              <a:cxn ang="0">
                <a:pos x="connsiteX20544" y="connsiteY20544"/>
              </a:cxn>
              <a:cxn ang="0">
                <a:pos x="connsiteX20545" y="connsiteY20545"/>
              </a:cxn>
              <a:cxn ang="0">
                <a:pos x="connsiteX20546" y="connsiteY20546"/>
              </a:cxn>
              <a:cxn ang="0">
                <a:pos x="connsiteX20547" y="connsiteY20547"/>
              </a:cxn>
              <a:cxn ang="0">
                <a:pos x="connsiteX20548" y="connsiteY20548"/>
              </a:cxn>
              <a:cxn ang="0">
                <a:pos x="connsiteX20549" y="connsiteY20549"/>
              </a:cxn>
              <a:cxn ang="0">
                <a:pos x="connsiteX20550" y="connsiteY20550"/>
              </a:cxn>
              <a:cxn ang="0">
                <a:pos x="connsiteX20551" y="connsiteY20551"/>
              </a:cxn>
              <a:cxn ang="0">
                <a:pos x="connsiteX20552" y="connsiteY20552"/>
              </a:cxn>
              <a:cxn ang="0">
                <a:pos x="connsiteX20553" y="connsiteY20553"/>
              </a:cxn>
              <a:cxn ang="0">
                <a:pos x="connsiteX20554" y="connsiteY20554"/>
              </a:cxn>
              <a:cxn ang="0">
                <a:pos x="connsiteX20555" y="connsiteY20555"/>
              </a:cxn>
              <a:cxn ang="0">
                <a:pos x="connsiteX20556" y="connsiteY20556"/>
              </a:cxn>
              <a:cxn ang="0">
                <a:pos x="connsiteX20557" y="connsiteY20557"/>
              </a:cxn>
              <a:cxn ang="0">
                <a:pos x="connsiteX20558" y="connsiteY20558"/>
              </a:cxn>
              <a:cxn ang="0">
                <a:pos x="connsiteX20559" y="connsiteY20559"/>
              </a:cxn>
              <a:cxn ang="0">
                <a:pos x="connsiteX20560" y="connsiteY20560"/>
              </a:cxn>
              <a:cxn ang="0">
                <a:pos x="connsiteX20561" y="connsiteY20561"/>
              </a:cxn>
              <a:cxn ang="0">
                <a:pos x="connsiteX20562" y="connsiteY20562"/>
              </a:cxn>
              <a:cxn ang="0">
                <a:pos x="connsiteX20563" y="connsiteY20563"/>
              </a:cxn>
              <a:cxn ang="0">
                <a:pos x="connsiteX20564" y="connsiteY20564"/>
              </a:cxn>
              <a:cxn ang="0">
                <a:pos x="connsiteX20565" y="connsiteY20565"/>
              </a:cxn>
              <a:cxn ang="0">
                <a:pos x="connsiteX20566" y="connsiteY20566"/>
              </a:cxn>
              <a:cxn ang="0">
                <a:pos x="connsiteX20567" y="connsiteY20567"/>
              </a:cxn>
              <a:cxn ang="0">
                <a:pos x="connsiteX20568" y="connsiteY20568"/>
              </a:cxn>
              <a:cxn ang="0">
                <a:pos x="connsiteX20569" y="connsiteY20569"/>
              </a:cxn>
              <a:cxn ang="0">
                <a:pos x="connsiteX20570" y="connsiteY20570"/>
              </a:cxn>
              <a:cxn ang="0">
                <a:pos x="connsiteX20571" y="connsiteY20571"/>
              </a:cxn>
              <a:cxn ang="0">
                <a:pos x="connsiteX20572" y="connsiteY20572"/>
              </a:cxn>
              <a:cxn ang="0">
                <a:pos x="connsiteX20573" y="connsiteY20573"/>
              </a:cxn>
              <a:cxn ang="0">
                <a:pos x="connsiteX20574" y="connsiteY20574"/>
              </a:cxn>
              <a:cxn ang="0">
                <a:pos x="connsiteX20575" y="connsiteY20575"/>
              </a:cxn>
              <a:cxn ang="0">
                <a:pos x="connsiteX20576" y="connsiteY20576"/>
              </a:cxn>
              <a:cxn ang="0">
                <a:pos x="connsiteX20577" y="connsiteY20577"/>
              </a:cxn>
              <a:cxn ang="0">
                <a:pos x="connsiteX20578" y="connsiteY20578"/>
              </a:cxn>
              <a:cxn ang="0">
                <a:pos x="connsiteX20579" y="connsiteY20579"/>
              </a:cxn>
              <a:cxn ang="0">
                <a:pos x="connsiteX20580" y="connsiteY20580"/>
              </a:cxn>
              <a:cxn ang="0">
                <a:pos x="connsiteX20581" y="connsiteY20581"/>
              </a:cxn>
              <a:cxn ang="0">
                <a:pos x="connsiteX20582" y="connsiteY20582"/>
              </a:cxn>
              <a:cxn ang="0">
                <a:pos x="connsiteX20583" y="connsiteY20583"/>
              </a:cxn>
              <a:cxn ang="0">
                <a:pos x="connsiteX20584" y="connsiteY20584"/>
              </a:cxn>
              <a:cxn ang="0">
                <a:pos x="connsiteX20585" y="connsiteY20585"/>
              </a:cxn>
              <a:cxn ang="0">
                <a:pos x="connsiteX20586" y="connsiteY20586"/>
              </a:cxn>
              <a:cxn ang="0">
                <a:pos x="connsiteX20587" y="connsiteY20587"/>
              </a:cxn>
              <a:cxn ang="0">
                <a:pos x="connsiteX20588" y="connsiteY20588"/>
              </a:cxn>
              <a:cxn ang="0">
                <a:pos x="connsiteX20589" y="connsiteY20589"/>
              </a:cxn>
              <a:cxn ang="0">
                <a:pos x="connsiteX20590" y="connsiteY20590"/>
              </a:cxn>
              <a:cxn ang="0">
                <a:pos x="connsiteX20591" y="connsiteY20591"/>
              </a:cxn>
              <a:cxn ang="0">
                <a:pos x="connsiteX20592" y="connsiteY20592"/>
              </a:cxn>
              <a:cxn ang="0">
                <a:pos x="connsiteX20593" y="connsiteY20593"/>
              </a:cxn>
              <a:cxn ang="0">
                <a:pos x="connsiteX20594" y="connsiteY20594"/>
              </a:cxn>
              <a:cxn ang="0">
                <a:pos x="connsiteX20595" y="connsiteY20595"/>
              </a:cxn>
              <a:cxn ang="0">
                <a:pos x="connsiteX20596" y="connsiteY20596"/>
              </a:cxn>
              <a:cxn ang="0">
                <a:pos x="connsiteX20597" y="connsiteY20597"/>
              </a:cxn>
              <a:cxn ang="0">
                <a:pos x="connsiteX20598" y="connsiteY20598"/>
              </a:cxn>
              <a:cxn ang="0">
                <a:pos x="connsiteX20599" y="connsiteY20599"/>
              </a:cxn>
              <a:cxn ang="0">
                <a:pos x="connsiteX20600" y="connsiteY20600"/>
              </a:cxn>
              <a:cxn ang="0">
                <a:pos x="connsiteX20601" y="connsiteY20601"/>
              </a:cxn>
              <a:cxn ang="0">
                <a:pos x="connsiteX20602" y="connsiteY20602"/>
              </a:cxn>
              <a:cxn ang="0">
                <a:pos x="connsiteX20603" y="connsiteY20603"/>
              </a:cxn>
              <a:cxn ang="0">
                <a:pos x="connsiteX20604" y="connsiteY20604"/>
              </a:cxn>
              <a:cxn ang="0">
                <a:pos x="connsiteX20605" y="connsiteY20605"/>
              </a:cxn>
              <a:cxn ang="0">
                <a:pos x="connsiteX20606" y="connsiteY20606"/>
              </a:cxn>
              <a:cxn ang="0">
                <a:pos x="connsiteX20607" y="connsiteY20607"/>
              </a:cxn>
              <a:cxn ang="0">
                <a:pos x="connsiteX20608" y="connsiteY20608"/>
              </a:cxn>
              <a:cxn ang="0">
                <a:pos x="connsiteX20609" y="connsiteY20609"/>
              </a:cxn>
              <a:cxn ang="0">
                <a:pos x="connsiteX20610" y="connsiteY20610"/>
              </a:cxn>
              <a:cxn ang="0">
                <a:pos x="connsiteX20611" y="connsiteY20611"/>
              </a:cxn>
              <a:cxn ang="0">
                <a:pos x="connsiteX20612" y="connsiteY20612"/>
              </a:cxn>
              <a:cxn ang="0">
                <a:pos x="connsiteX20613" y="connsiteY20613"/>
              </a:cxn>
              <a:cxn ang="0">
                <a:pos x="connsiteX20614" y="connsiteY20614"/>
              </a:cxn>
              <a:cxn ang="0">
                <a:pos x="connsiteX20615" y="connsiteY20615"/>
              </a:cxn>
              <a:cxn ang="0">
                <a:pos x="connsiteX20616" y="connsiteY20616"/>
              </a:cxn>
              <a:cxn ang="0">
                <a:pos x="connsiteX20617" y="connsiteY20617"/>
              </a:cxn>
              <a:cxn ang="0">
                <a:pos x="connsiteX20618" y="connsiteY20618"/>
              </a:cxn>
              <a:cxn ang="0">
                <a:pos x="connsiteX20619" y="connsiteY20619"/>
              </a:cxn>
              <a:cxn ang="0">
                <a:pos x="connsiteX20620" y="connsiteY20620"/>
              </a:cxn>
              <a:cxn ang="0">
                <a:pos x="connsiteX20621" y="connsiteY20621"/>
              </a:cxn>
              <a:cxn ang="0">
                <a:pos x="connsiteX20622" y="connsiteY20622"/>
              </a:cxn>
              <a:cxn ang="0">
                <a:pos x="connsiteX20623" y="connsiteY20623"/>
              </a:cxn>
              <a:cxn ang="0">
                <a:pos x="connsiteX20624" y="connsiteY20624"/>
              </a:cxn>
              <a:cxn ang="0">
                <a:pos x="connsiteX20625" y="connsiteY20625"/>
              </a:cxn>
              <a:cxn ang="0">
                <a:pos x="connsiteX20626" y="connsiteY20626"/>
              </a:cxn>
              <a:cxn ang="0">
                <a:pos x="connsiteX20627" y="connsiteY20627"/>
              </a:cxn>
              <a:cxn ang="0">
                <a:pos x="connsiteX20628" y="connsiteY20628"/>
              </a:cxn>
              <a:cxn ang="0">
                <a:pos x="connsiteX20629" y="connsiteY20629"/>
              </a:cxn>
              <a:cxn ang="0">
                <a:pos x="connsiteX20630" y="connsiteY20630"/>
              </a:cxn>
              <a:cxn ang="0">
                <a:pos x="connsiteX20631" y="connsiteY20631"/>
              </a:cxn>
              <a:cxn ang="0">
                <a:pos x="connsiteX20632" y="connsiteY20632"/>
              </a:cxn>
              <a:cxn ang="0">
                <a:pos x="connsiteX20633" y="connsiteY20633"/>
              </a:cxn>
              <a:cxn ang="0">
                <a:pos x="connsiteX20634" y="connsiteY20634"/>
              </a:cxn>
              <a:cxn ang="0">
                <a:pos x="connsiteX20635" y="connsiteY20635"/>
              </a:cxn>
              <a:cxn ang="0">
                <a:pos x="connsiteX20636" y="connsiteY20636"/>
              </a:cxn>
              <a:cxn ang="0">
                <a:pos x="connsiteX20637" y="connsiteY20637"/>
              </a:cxn>
              <a:cxn ang="0">
                <a:pos x="connsiteX20638" y="connsiteY20638"/>
              </a:cxn>
              <a:cxn ang="0">
                <a:pos x="connsiteX20639" y="connsiteY20639"/>
              </a:cxn>
              <a:cxn ang="0">
                <a:pos x="connsiteX20640" y="connsiteY20640"/>
              </a:cxn>
              <a:cxn ang="0">
                <a:pos x="connsiteX20641" y="connsiteY20641"/>
              </a:cxn>
              <a:cxn ang="0">
                <a:pos x="connsiteX20642" y="connsiteY20642"/>
              </a:cxn>
              <a:cxn ang="0">
                <a:pos x="connsiteX20643" y="connsiteY20643"/>
              </a:cxn>
              <a:cxn ang="0">
                <a:pos x="connsiteX20644" y="connsiteY20644"/>
              </a:cxn>
              <a:cxn ang="0">
                <a:pos x="connsiteX20645" y="connsiteY20645"/>
              </a:cxn>
              <a:cxn ang="0">
                <a:pos x="connsiteX20646" y="connsiteY20646"/>
              </a:cxn>
              <a:cxn ang="0">
                <a:pos x="connsiteX20647" y="connsiteY20647"/>
              </a:cxn>
              <a:cxn ang="0">
                <a:pos x="connsiteX20648" y="connsiteY20648"/>
              </a:cxn>
              <a:cxn ang="0">
                <a:pos x="connsiteX20649" y="connsiteY20649"/>
              </a:cxn>
              <a:cxn ang="0">
                <a:pos x="connsiteX20650" y="connsiteY20650"/>
              </a:cxn>
              <a:cxn ang="0">
                <a:pos x="connsiteX20651" y="connsiteY20651"/>
              </a:cxn>
              <a:cxn ang="0">
                <a:pos x="connsiteX20652" y="connsiteY20652"/>
              </a:cxn>
              <a:cxn ang="0">
                <a:pos x="connsiteX20653" y="connsiteY20653"/>
              </a:cxn>
              <a:cxn ang="0">
                <a:pos x="connsiteX20654" y="connsiteY20654"/>
              </a:cxn>
              <a:cxn ang="0">
                <a:pos x="connsiteX20655" y="connsiteY20655"/>
              </a:cxn>
              <a:cxn ang="0">
                <a:pos x="connsiteX20656" y="connsiteY20656"/>
              </a:cxn>
              <a:cxn ang="0">
                <a:pos x="connsiteX20657" y="connsiteY20657"/>
              </a:cxn>
              <a:cxn ang="0">
                <a:pos x="connsiteX20658" y="connsiteY20658"/>
              </a:cxn>
              <a:cxn ang="0">
                <a:pos x="connsiteX20659" y="connsiteY20659"/>
              </a:cxn>
              <a:cxn ang="0">
                <a:pos x="connsiteX20660" y="connsiteY20660"/>
              </a:cxn>
              <a:cxn ang="0">
                <a:pos x="connsiteX20661" y="connsiteY20661"/>
              </a:cxn>
              <a:cxn ang="0">
                <a:pos x="connsiteX20662" y="connsiteY20662"/>
              </a:cxn>
              <a:cxn ang="0">
                <a:pos x="connsiteX20663" y="connsiteY20663"/>
              </a:cxn>
              <a:cxn ang="0">
                <a:pos x="connsiteX20664" y="connsiteY20664"/>
              </a:cxn>
              <a:cxn ang="0">
                <a:pos x="connsiteX20665" y="connsiteY20665"/>
              </a:cxn>
              <a:cxn ang="0">
                <a:pos x="connsiteX20666" y="connsiteY20666"/>
              </a:cxn>
              <a:cxn ang="0">
                <a:pos x="connsiteX20667" y="connsiteY20667"/>
              </a:cxn>
              <a:cxn ang="0">
                <a:pos x="connsiteX20668" y="connsiteY20668"/>
              </a:cxn>
              <a:cxn ang="0">
                <a:pos x="connsiteX20669" y="connsiteY20669"/>
              </a:cxn>
              <a:cxn ang="0">
                <a:pos x="connsiteX20670" y="connsiteY20670"/>
              </a:cxn>
              <a:cxn ang="0">
                <a:pos x="connsiteX20671" y="connsiteY20671"/>
              </a:cxn>
              <a:cxn ang="0">
                <a:pos x="connsiteX20672" y="connsiteY20672"/>
              </a:cxn>
              <a:cxn ang="0">
                <a:pos x="connsiteX20673" y="connsiteY20673"/>
              </a:cxn>
              <a:cxn ang="0">
                <a:pos x="connsiteX20674" y="connsiteY20674"/>
              </a:cxn>
              <a:cxn ang="0">
                <a:pos x="connsiteX20675" y="connsiteY20675"/>
              </a:cxn>
              <a:cxn ang="0">
                <a:pos x="connsiteX20676" y="connsiteY20676"/>
              </a:cxn>
              <a:cxn ang="0">
                <a:pos x="connsiteX20677" y="connsiteY20677"/>
              </a:cxn>
              <a:cxn ang="0">
                <a:pos x="connsiteX20678" y="connsiteY20678"/>
              </a:cxn>
              <a:cxn ang="0">
                <a:pos x="connsiteX20679" y="connsiteY20679"/>
              </a:cxn>
              <a:cxn ang="0">
                <a:pos x="connsiteX20680" y="connsiteY20680"/>
              </a:cxn>
              <a:cxn ang="0">
                <a:pos x="connsiteX20681" y="connsiteY20681"/>
              </a:cxn>
              <a:cxn ang="0">
                <a:pos x="connsiteX20682" y="connsiteY20682"/>
              </a:cxn>
              <a:cxn ang="0">
                <a:pos x="connsiteX20683" y="connsiteY20683"/>
              </a:cxn>
              <a:cxn ang="0">
                <a:pos x="connsiteX20684" y="connsiteY20684"/>
              </a:cxn>
              <a:cxn ang="0">
                <a:pos x="connsiteX20685" y="connsiteY20685"/>
              </a:cxn>
              <a:cxn ang="0">
                <a:pos x="connsiteX20686" y="connsiteY20686"/>
              </a:cxn>
              <a:cxn ang="0">
                <a:pos x="connsiteX20687" y="connsiteY20687"/>
              </a:cxn>
              <a:cxn ang="0">
                <a:pos x="connsiteX20688" y="connsiteY20688"/>
              </a:cxn>
              <a:cxn ang="0">
                <a:pos x="connsiteX20689" y="connsiteY20689"/>
              </a:cxn>
              <a:cxn ang="0">
                <a:pos x="connsiteX20690" y="connsiteY20690"/>
              </a:cxn>
              <a:cxn ang="0">
                <a:pos x="connsiteX20691" y="connsiteY20691"/>
              </a:cxn>
              <a:cxn ang="0">
                <a:pos x="connsiteX20692" y="connsiteY20692"/>
              </a:cxn>
              <a:cxn ang="0">
                <a:pos x="connsiteX20693" y="connsiteY20693"/>
              </a:cxn>
              <a:cxn ang="0">
                <a:pos x="connsiteX20694" y="connsiteY20694"/>
              </a:cxn>
              <a:cxn ang="0">
                <a:pos x="connsiteX20695" y="connsiteY20695"/>
              </a:cxn>
              <a:cxn ang="0">
                <a:pos x="connsiteX20696" y="connsiteY20696"/>
              </a:cxn>
              <a:cxn ang="0">
                <a:pos x="connsiteX20697" y="connsiteY20697"/>
              </a:cxn>
              <a:cxn ang="0">
                <a:pos x="connsiteX20698" y="connsiteY20698"/>
              </a:cxn>
              <a:cxn ang="0">
                <a:pos x="connsiteX20699" y="connsiteY20699"/>
              </a:cxn>
              <a:cxn ang="0">
                <a:pos x="connsiteX20700" y="connsiteY20700"/>
              </a:cxn>
              <a:cxn ang="0">
                <a:pos x="connsiteX20701" y="connsiteY20701"/>
              </a:cxn>
              <a:cxn ang="0">
                <a:pos x="connsiteX20702" y="connsiteY20702"/>
              </a:cxn>
              <a:cxn ang="0">
                <a:pos x="connsiteX20703" y="connsiteY20703"/>
              </a:cxn>
              <a:cxn ang="0">
                <a:pos x="connsiteX20704" y="connsiteY20704"/>
              </a:cxn>
              <a:cxn ang="0">
                <a:pos x="connsiteX20705" y="connsiteY20705"/>
              </a:cxn>
              <a:cxn ang="0">
                <a:pos x="connsiteX20706" y="connsiteY20706"/>
              </a:cxn>
              <a:cxn ang="0">
                <a:pos x="connsiteX20707" y="connsiteY20707"/>
              </a:cxn>
              <a:cxn ang="0">
                <a:pos x="connsiteX20708" y="connsiteY20708"/>
              </a:cxn>
              <a:cxn ang="0">
                <a:pos x="connsiteX20709" y="connsiteY20709"/>
              </a:cxn>
              <a:cxn ang="0">
                <a:pos x="connsiteX20710" y="connsiteY20710"/>
              </a:cxn>
              <a:cxn ang="0">
                <a:pos x="connsiteX20711" y="connsiteY20711"/>
              </a:cxn>
              <a:cxn ang="0">
                <a:pos x="connsiteX20712" y="connsiteY20712"/>
              </a:cxn>
              <a:cxn ang="0">
                <a:pos x="connsiteX20713" y="connsiteY20713"/>
              </a:cxn>
              <a:cxn ang="0">
                <a:pos x="connsiteX20714" y="connsiteY20714"/>
              </a:cxn>
              <a:cxn ang="0">
                <a:pos x="connsiteX20715" y="connsiteY20715"/>
              </a:cxn>
              <a:cxn ang="0">
                <a:pos x="connsiteX20716" y="connsiteY20716"/>
              </a:cxn>
              <a:cxn ang="0">
                <a:pos x="connsiteX20717" y="connsiteY20717"/>
              </a:cxn>
              <a:cxn ang="0">
                <a:pos x="connsiteX20718" y="connsiteY20718"/>
              </a:cxn>
              <a:cxn ang="0">
                <a:pos x="connsiteX20719" y="connsiteY20719"/>
              </a:cxn>
              <a:cxn ang="0">
                <a:pos x="connsiteX20720" y="connsiteY20720"/>
              </a:cxn>
              <a:cxn ang="0">
                <a:pos x="connsiteX20721" y="connsiteY20721"/>
              </a:cxn>
              <a:cxn ang="0">
                <a:pos x="connsiteX20722" y="connsiteY20722"/>
              </a:cxn>
              <a:cxn ang="0">
                <a:pos x="connsiteX20723" y="connsiteY20723"/>
              </a:cxn>
              <a:cxn ang="0">
                <a:pos x="connsiteX20724" y="connsiteY20724"/>
              </a:cxn>
              <a:cxn ang="0">
                <a:pos x="connsiteX20725" y="connsiteY20725"/>
              </a:cxn>
              <a:cxn ang="0">
                <a:pos x="connsiteX20726" y="connsiteY20726"/>
              </a:cxn>
              <a:cxn ang="0">
                <a:pos x="connsiteX20727" y="connsiteY20727"/>
              </a:cxn>
              <a:cxn ang="0">
                <a:pos x="connsiteX20728" y="connsiteY20728"/>
              </a:cxn>
              <a:cxn ang="0">
                <a:pos x="connsiteX20729" y="connsiteY20729"/>
              </a:cxn>
              <a:cxn ang="0">
                <a:pos x="connsiteX20730" y="connsiteY20730"/>
              </a:cxn>
              <a:cxn ang="0">
                <a:pos x="connsiteX20731" y="connsiteY20731"/>
              </a:cxn>
              <a:cxn ang="0">
                <a:pos x="connsiteX20732" y="connsiteY20732"/>
              </a:cxn>
              <a:cxn ang="0">
                <a:pos x="connsiteX20733" y="connsiteY20733"/>
              </a:cxn>
              <a:cxn ang="0">
                <a:pos x="connsiteX20734" y="connsiteY20734"/>
              </a:cxn>
              <a:cxn ang="0">
                <a:pos x="connsiteX20735" y="connsiteY20735"/>
              </a:cxn>
              <a:cxn ang="0">
                <a:pos x="connsiteX20736" y="connsiteY20736"/>
              </a:cxn>
              <a:cxn ang="0">
                <a:pos x="connsiteX20737" y="connsiteY20737"/>
              </a:cxn>
              <a:cxn ang="0">
                <a:pos x="connsiteX20738" y="connsiteY20738"/>
              </a:cxn>
              <a:cxn ang="0">
                <a:pos x="connsiteX20739" y="connsiteY20739"/>
              </a:cxn>
              <a:cxn ang="0">
                <a:pos x="connsiteX20740" y="connsiteY20740"/>
              </a:cxn>
              <a:cxn ang="0">
                <a:pos x="connsiteX20741" y="connsiteY20741"/>
              </a:cxn>
              <a:cxn ang="0">
                <a:pos x="connsiteX20742" y="connsiteY20742"/>
              </a:cxn>
              <a:cxn ang="0">
                <a:pos x="connsiteX20743" y="connsiteY20743"/>
              </a:cxn>
              <a:cxn ang="0">
                <a:pos x="connsiteX20744" y="connsiteY20744"/>
              </a:cxn>
              <a:cxn ang="0">
                <a:pos x="connsiteX20745" y="connsiteY20745"/>
              </a:cxn>
              <a:cxn ang="0">
                <a:pos x="connsiteX20746" y="connsiteY20746"/>
              </a:cxn>
              <a:cxn ang="0">
                <a:pos x="connsiteX20747" y="connsiteY20747"/>
              </a:cxn>
              <a:cxn ang="0">
                <a:pos x="connsiteX20748" y="connsiteY20748"/>
              </a:cxn>
              <a:cxn ang="0">
                <a:pos x="connsiteX20749" y="connsiteY20749"/>
              </a:cxn>
              <a:cxn ang="0">
                <a:pos x="connsiteX20750" y="connsiteY20750"/>
              </a:cxn>
              <a:cxn ang="0">
                <a:pos x="connsiteX20751" y="connsiteY20751"/>
              </a:cxn>
              <a:cxn ang="0">
                <a:pos x="connsiteX20752" y="connsiteY20752"/>
              </a:cxn>
              <a:cxn ang="0">
                <a:pos x="connsiteX20753" y="connsiteY20753"/>
              </a:cxn>
              <a:cxn ang="0">
                <a:pos x="connsiteX20754" y="connsiteY20754"/>
              </a:cxn>
              <a:cxn ang="0">
                <a:pos x="connsiteX20755" y="connsiteY20755"/>
              </a:cxn>
              <a:cxn ang="0">
                <a:pos x="connsiteX20756" y="connsiteY20756"/>
              </a:cxn>
              <a:cxn ang="0">
                <a:pos x="connsiteX20757" y="connsiteY20757"/>
              </a:cxn>
              <a:cxn ang="0">
                <a:pos x="connsiteX20758" y="connsiteY20758"/>
              </a:cxn>
              <a:cxn ang="0">
                <a:pos x="connsiteX20759" y="connsiteY20759"/>
              </a:cxn>
              <a:cxn ang="0">
                <a:pos x="connsiteX20760" y="connsiteY20760"/>
              </a:cxn>
              <a:cxn ang="0">
                <a:pos x="connsiteX20761" y="connsiteY20761"/>
              </a:cxn>
              <a:cxn ang="0">
                <a:pos x="connsiteX20762" y="connsiteY20762"/>
              </a:cxn>
              <a:cxn ang="0">
                <a:pos x="connsiteX20763" y="connsiteY20763"/>
              </a:cxn>
              <a:cxn ang="0">
                <a:pos x="connsiteX20764" y="connsiteY20764"/>
              </a:cxn>
              <a:cxn ang="0">
                <a:pos x="connsiteX20765" y="connsiteY20765"/>
              </a:cxn>
              <a:cxn ang="0">
                <a:pos x="connsiteX20766" y="connsiteY20766"/>
              </a:cxn>
              <a:cxn ang="0">
                <a:pos x="connsiteX20767" y="connsiteY20767"/>
              </a:cxn>
              <a:cxn ang="0">
                <a:pos x="connsiteX20768" y="connsiteY20768"/>
              </a:cxn>
              <a:cxn ang="0">
                <a:pos x="connsiteX20769" y="connsiteY20769"/>
              </a:cxn>
              <a:cxn ang="0">
                <a:pos x="connsiteX20770" y="connsiteY20770"/>
              </a:cxn>
              <a:cxn ang="0">
                <a:pos x="connsiteX20771" y="connsiteY20771"/>
              </a:cxn>
              <a:cxn ang="0">
                <a:pos x="connsiteX20772" y="connsiteY20772"/>
              </a:cxn>
              <a:cxn ang="0">
                <a:pos x="connsiteX20773" y="connsiteY20773"/>
              </a:cxn>
              <a:cxn ang="0">
                <a:pos x="connsiteX20774" y="connsiteY20774"/>
              </a:cxn>
              <a:cxn ang="0">
                <a:pos x="connsiteX20775" y="connsiteY20775"/>
              </a:cxn>
              <a:cxn ang="0">
                <a:pos x="connsiteX20776" y="connsiteY20776"/>
              </a:cxn>
              <a:cxn ang="0">
                <a:pos x="connsiteX20777" y="connsiteY20777"/>
              </a:cxn>
              <a:cxn ang="0">
                <a:pos x="connsiteX20778" y="connsiteY20778"/>
              </a:cxn>
              <a:cxn ang="0">
                <a:pos x="connsiteX20779" y="connsiteY20779"/>
              </a:cxn>
              <a:cxn ang="0">
                <a:pos x="connsiteX20780" y="connsiteY20780"/>
              </a:cxn>
              <a:cxn ang="0">
                <a:pos x="connsiteX20781" y="connsiteY20781"/>
              </a:cxn>
              <a:cxn ang="0">
                <a:pos x="connsiteX20782" y="connsiteY20782"/>
              </a:cxn>
              <a:cxn ang="0">
                <a:pos x="connsiteX20783" y="connsiteY20783"/>
              </a:cxn>
              <a:cxn ang="0">
                <a:pos x="connsiteX20784" y="connsiteY20784"/>
              </a:cxn>
              <a:cxn ang="0">
                <a:pos x="connsiteX20785" y="connsiteY20785"/>
              </a:cxn>
              <a:cxn ang="0">
                <a:pos x="connsiteX20786" y="connsiteY20786"/>
              </a:cxn>
              <a:cxn ang="0">
                <a:pos x="connsiteX20787" y="connsiteY20787"/>
              </a:cxn>
              <a:cxn ang="0">
                <a:pos x="connsiteX20788" y="connsiteY20788"/>
              </a:cxn>
              <a:cxn ang="0">
                <a:pos x="connsiteX20789" y="connsiteY20789"/>
              </a:cxn>
              <a:cxn ang="0">
                <a:pos x="connsiteX20790" y="connsiteY20790"/>
              </a:cxn>
              <a:cxn ang="0">
                <a:pos x="connsiteX20791" y="connsiteY20791"/>
              </a:cxn>
              <a:cxn ang="0">
                <a:pos x="connsiteX20792" y="connsiteY20792"/>
              </a:cxn>
              <a:cxn ang="0">
                <a:pos x="connsiteX20793" y="connsiteY20793"/>
              </a:cxn>
              <a:cxn ang="0">
                <a:pos x="connsiteX20794" y="connsiteY20794"/>
              </a:cxn>
              <a:cxn ang="0">
                <a:pos x="connsiteX20795" y="connsiteY20795"/>
              </a:cxn>
              <a:cxn ang="0">
                <a:pos x="connsiteX20796" y="connsiteY20796"/>
              </a:cxn>
              <a:cxn ang="0">
                <a:pos x="connsiteX20797" y="connsiteY20797"/>
              </a:cxn>
              <a:cxn ang="0">
                <a:pos x="connsiteX20798" y="connsiteY20798"/>
              </a:cxn>
              <a:cxn ang="0">
                <a:pos x="connsiteX20799" y="connsiteY20799"/>
              </a:cxn>
              <a:cxn ang="0">
                <a:pos x="connsiteX20800" y="connsiteY20800"/>
              </a:cxn>
              <a:cxn ang="0">
                <a:pos x="connsiteX20801" y="connsiteY20801"/>
              </a:cxn>
              <a:cxn ang="0">
                <a:pos x="connsiteX20802" y="connsiteY20802"/>
              </a:cxn>
              <a:cxn ang="0">
                <a:pos x="connsiteX20803" y="connsiteY20803"/>
              </a:cxn>
              <a:cxn ang="0">
                <a:pos x="connsiteX20804" y="connsiteY20804"/>
              </a:cxn>
              <a:cxn ang="0">
                <a:pos x="connsiteX20805" y="connsiteY20805"/>
              </a:cxn>
              <a:cxn ang="0">
                <a:pos x="connsiteX20806" y="connsiteY20806"/>
              </a:cxn>
              <a:cxn ang="0">
                <a:pos x="connsiteX20807" y="connsiteY20807"/>
              </a:cxn>
              <a:cxn ang="0">
                <a:pos x="connsiteX20808" y="connsiteY20808"/>
              </a:cxn>
              <a:cxn ang="0">
                <a:pos x="connsiteX20809" y="connsiteY20809"/>
              </a:cxn>
              <a:cxn ang="0">
                <a:pos x="connsiteX20810" y="connsiteY20810"/>
              </a:cxn>
              <a:cxn ang="0">
                <a:pos x="connsiteX20811" y="connsiteY20811"/>
              </a:cxn>
              <a:cxn ang="0">
                <a:pos x="connsiteX20812" y="connsiteY20812"/>
              </a:cxn>
              <a:cxn ang="0">
                <a:pos x="connsiteX20813" y="connsiteY20813"/>
              </a:cxn>
              <a:cxn ang="0">
                <a:pos x="connsiteX20814" y="connsiteY20814"/>
              </a:cxn>
              <a:cxn ang="0">
                <a:pos x="connsiteX20815" y="connsiteY20815"/>
              </a:cxn>
              <a:cxn ang="0">
                <a:pos x="connsiteX20816" y="connsiteY20816"/>
              </a:cxn>
              <a:cxn ang="0">
                <a:pos x="connsiteX20817" y="connsiteY20817"/>
              </a:cxn>
              <a:cxn ang="0">
                <a:pos x="connsiteX20818" y="connsiteY20818"/>
              </a:cxn>
              <a:cxn ang="0">
                <a:pos x="connsiteX20819" y="connsiteY20819"/>
              </a:cxn>
              <a:cxn ang="0">
                <a:pos x="connsiteX20820" y="connsiteY20820"/>
              </a:cxn>
              <a:cxn ang="0">
                <a:pos x="connsiteX20821" y="connsiteY20821"/>
              </a:cxn>
              <a:cxn ang="0">
                <a:pos x="connsiteX20822" y="connsiteY20822"/>
              </a:cxn>
              <a:cxn ang="0">
                <a:pos x="connsiteX20823" y="connsiteY20823"/>
              </a:cxn>
              <a:cxn ang="0">
                <a:pos x="connsiteX20824" y="connsiteY20824"/>
              </a:cxn>
              <a:cxn ang="0">
                <a:pos x="connsiteX20825" y="connsiteY20825"/>
              </a:cxn>
              <a:cxn ang="0">
                <a:pos x="connsiteX20826" y="connsiteY20826"/>
              </a:cxn>
              <a:cxn ang="0">
                <a:pos x="connsiteX20827" y="connsiteY20827"/>
              </a:cxn>
              <a:cxn ang="0">
                <a:pos x="connsiteX20828" y="connsiteY20828"/>
              </a:cxn>
              <a:cxn ang="0">
                <a:pos x="connsiteX20829" y="connsiteY20829"/>
              </a:cxn>
              <a:cxn ang="0">
                <a:pos x="connsiteX20830" y="connsiteY20830"/>
              </a:cxn>
              <a:cxn ang="0">
                <a:pos x="connsiteX20831" y="connsiteY20831"/>
              </a:cxn>
              <a:cxn ang="0">
                <a:pos x="connsiteX20832" y="connsiteY20832"/>
              </a:cxn>
              <a:cxn ang="0">
                <a:pos x="connsiteX20833" y="connsiteY20833"/>
              </a:cxn>
              <a:cxn ang="0">
                <a:pos x="connsiteX20834" y="connsiteY20834"/>
              </a:cxn>
              <a:cxn ang="0">
                <a:pos x="connsiteX20835" y="connsiteY20835"/>
              </a:cxn>
              <a:cxn ang="0">
                <a:pos x="connsiteX20836" y="connsiteY20836"/>
              </a:cxn>
              <a:cxn ang="0">
                <a:pos x="connsiteX20837" y="connsiteY20837"/>
              </a:cxn>
              <a:cxn ang="0">
                <a:pos x="connsiteX20838" y="connsiteY20838"/>
              </a:cxn>
              <a:cxn ang="0">
                <a:pos x="connsiteX20839" y="connsiteY20839"/>
              </a:cxn>
              <a:cxn ang="0">
                <a:pos x="connsiteX20840" y="connsiteY20840"/>
              </a:cxn>
              <a:cxn ang="0">
                <a:pos x="connsiteX20841" y="connsiteY20841"/>
              </a:cxn>
              <a:cxn ang="0">
                <a:pos x="connsiteX20842" y="connsiteY20842"/>
              </a:cxn>
              <a:cxn ang="0">
                <a:pos x="connsiteX20843" y="connsiteY20843"/>
              </a:cxn>
              <a:cxn ang="0">
                <a:pos x="connsiteX20844" y="connsiteY20844"/>
              </a:cxn>
              <a:cxn ang="0">
                <a:pos x="connsiteX20845" y="connsiteY20845"/>
              </a:cxn>
              <a:cxn ang="0">
                <a:pos x="connsiteX20846" y="connsiteY20846"/>
              </a:cxn>
              <a:cxn ang="0">
                <a:pos x="connsiteX20847" y="connsiteY20847"/>
              </a:cxn>
              <a:cxn ang="0">
                <a:pos x="connsiteX20848" y="connsiteY20848"/>
              </a:cxn>
              <a:cxn ang="0">
                <a:pos x="connsiteX20849" y="connsiteY20849"/>
              </a:cxn>
              <a:cxn ang="0">
                <a:pos x="connsiteX20850" y="connsiteY20850"/>
              </a:cxn>
              <a:cxn ang="0">
                <a:pos x="connsiteX20851" y="connsiteY20851"/>
              </a:cxn>
              <a:cxn ang="0">
                <a:pos x="connsiteX20852" y="connsiteY20852"/>
              </a:cxn>
              <a:cxn ang="0">
                <a:pos x="connsiteX20853" y="connsiteY20853"/>
              </a:cxn>
              <a:cxn ang="0">
                <a:pos x="connsiteX20854" y="connsiteY20854"/>
              </a:cxn>
              <a:cxn ang="0">
                <a:pos x="connsiteX20855" y="connsiteY20855"/>
              </a:cxn>
              <a:cxn ang="0">
                <a:pos x="connsiteX20856" y="connsiteY20856"/>
              </a:cxn>
              <a:cxn ang="0">
                <a:pos x="connsiteX20857" y="connsiteY20857"/>
              </a:cxn>
              <a:cxn ang="0">
                <a:pos x="connsiteX20858" y="connsiteY20858"/>
              </a:cxn>
              <a:cxn ang="0">
                <a:pos x="connsiteX20859" y="connsiteY20859"/>
              </a:cxn>
              <a:cxn ang="0">
                <a:pos x="connsiteX20860" y="connsiteY20860"/>
              </a:cxn>
              <a:cxn ang="0">
                <a:pos x="connsiteX20861" y="connsiteY20861"/>
              </a:cxn>
              <a:cxn ang="0">
                <a:pos x="connsiteX20862" y="connsiteY20862"/>
              </a:cxn>
              <a:cxn ang="0">
                <a:pos x="connsiteX20863" y="connsiteY20863"/>
              </a:cxn>
              <a:cxn ang="0">
                <a:pos x="connsiteX20864" y="connsiteY20864"/>
              </a:cxn>
              <a:cxn ang="0">
                <a:pos x="connsiteX20865" y="connsiteY20865"/>
              </a:cxn>
              <a:cxn ang="0">
                <a:pos x="connsiteX20866" y="connsiteY20866"/>
              </a:cxn>
              <a:cxn ang="0">
                <a:pos x="connsiteX20867" y="connsiteY20867"/>
              </a:cxn>
              <a:cxn ang="0">
                <a:pos x="connsiteX20868" y="connsiteY20868"/>
              </a:cxn>
              <a:cxn ang="0">
                <a:pos x="connsiteX20869" y="connsiteY20869"/>
              </a:cxn>
              <a:cxn ang="0">
                <a:pos x="connsiteX20870" y="connsiteY20870"/>
              </a:cxn>
              <a:cxn ang="0">
                <a:pos x="connsiteX20871" y="connsiteY20871"/>
              </a:cxn>
              <a:cxn ang="0">
                <a:pos x="connsiteX20872" y="connsiteY20872"/>
              </a:cxn>
              <a:cxn ang="0">
                <a:pos x="connsiteX20873" y="connsiteY20873"/>
              </a:cxn>
              <a:cxn ang="0">
                <a:pos x="connsiteX20874" y="connsiteY20874"/>
              </a:cxn>
              <a:cxn ang="0">
                <a:pos x="connsiteX20875" y="connsiteY20875"/>
              </a:cxn>
              <a:cxn ang="0">
                <a:pos x="connsiteX20876" y="connsiteY20876"/>
              </a:cxn>
              <a:cxn ang="0">
                <a:pos x="connsiteX20877" y="connsiteY20877"/>
              </a:cxn>
              <a:cxn ang="0">
                <a:pos x="connsiteX20878" y="connsiteY20878"/>
              </a:cxn>
              <a:cxn ang="0">
                <a:pos x="connsiteX20879" y="connsiteY20879"/>
              </a:cxn>
              <a:cxn ang="0">
                <a:pos x="connsiteX20880" y="connsiteY20880"/>
              </a:cxn>
              <a:cxn ang="0">
                <a:pos x="connsiteX20881" y="connsiteY20881"/>
              </a:cxn>
              <a:cxn ang="0">
                <a:pos x="connsiteX20882" y="connsiteY20882"/>
              </a:cxn>
              <a:cxn ang="0">
                <a:pos x="connsiteX20883" y="connsiteY20883"/>
              </a:cxn>
              <a:cxn ang="0">
                <a:pos x="connsiteX20884" y="connsiteY20884"/>
              </a:cxn>
              <a:cxn ang="0">
                <a:pos x="connsiteX20885" y="connsiteY20885"/>
              </a:cxn>
              <a:cxn ang="0">
                <a:pos x="connsiteX20886" y="connsiteY20886"/>
              </a:cxn>
              <a:cxn ang="0">
                <a:pos x="connsiteX20887" y="connsiteY20887"/>
              </a:cxn>
              <a:cxn ang="0">
                <a:pos x="connsiteX20888" y="connsiteY20888"/>
              </a:cxn>
              <a:cxn ang="0">
                <a:pos x="connsiteX20889" y="connsiteY20889"/>
              </a:cxn>
              <a:cxn ang="0">
                <a:pos x="connsiteX20890" y="connsiteY20890"/>
              </a:cxn>
              <a:cxn ang="0">
                <a:pos x="connsiteX20891" y="connsiteY20891"/>
              </a:cxn>
              <a:cxn ang="0">
                <a:pos x="connsiteX20892" y="connsiteY20892"/>
              </a:cxn>
              <a:cxn ang="0">
                <a:pos x="connsiteX20893" y="connsiteY20893"/>
              </a:cxn>
              <a:cxn ang="0">
                <a:pos x="connsiteX20894" y="connsiteY20894"/>
              </a:cxn>
              <a:cxn ang="0">
                <a:pos x="connsiteX20895" y="connsiteY20895"/>
              </a:cxn>
              <a:cxn ang="0">
                <a:pos x="connsiteX20896" y="connsiteY20896"/>
              </a:cxn>
              <a:cxn ang="0">
                <a:pos x="connsiteX20897" y="connsiteY20897"/>
              </a:cxn>
              <a:cxn ang="0">
                <a:pos x="connsiteX20898" y="connsiteY20898"/>
              </a:cxn>
              <a:cxn ang="0">
                <a:pos x="connsiteX20899" y="connsiteY20899"/>
              </a:cxn>
              <a:cxn ang="0">
                <a:pos x="connsiteX20900" y="connsiteY20900"/>
              </a:cxn>
              <a:cxn ang="0">
                <a:pos x="connsiteX20901" y="connsiteY20901"/>
              </a:cxn>
              <a:cxn ang="0">
                <a:pos x="connsiteX20902" y="connsiteY20902"/>
              </a:cxn>
              <a:cxn ang="0">
                <a:pos x="connsiteX20903" y="connsiteY20903"/>
              </a:cxn>
              <a:cxn ang="0">
                <a:pos x="connsiteX20904" y="connsiteY20904"/>
              </a:cxn>
              <a:cxn ang="0">
                <a:pos x="connsiteX20905" y="connsiteY20905"/>
              </a:cxn>
              <a:cxn ang="0">
                <a:pos x="connsiteX20906" y="connsiteY20906"/>
              </a:cxn>
              <a:cxn ang="0">
                <a:pos x="connsiteX20907" y="connsiteY20907"/>
              </a:cxn>
              <a:cxn ang="0">
                <a:pos x="connsiteX20908" y="connsiteY20908"/>
              </a:cxn>
              <a:cxn ang="0">
                <a:pos x="connsiteX20909" y="connsiteY20909"/>
              </a:cxn>
              <a:cxn ang="0">
                <a:pos x="connsiteX20910" y="connsiteY20910"/>
              </a:cxn>
              <a:cxn ang="0">
                <a:pos x="connsiteX20911" y="connsiteY20911"/>
              </a:cxn>
              <a:cxn ang="0">
                <a:pos x="connsiteX20912" y="connsiteY20912"/>
              </a:cxn>
              <a:cxn ang="0">
                <a:pos x="connsiteX20913" y="connsiteY20913"/>
              </a:cxn>
              <a:cxn ang="0">
                <a:pos x="connsiteX20914" y="connsiteY20914"/>
              </a:cxn>
              <a:cxn ang="0">
                <a:pos x="connsiteX20915" y="connsiteY20915"/>
              </a:cxn>
              <a:cxn ang="0">
                <a:pos x="connsiteX20916" y="connsiteY20916"/>
              </a:cxn>
              <a:cxn ang="0">
                <a:pos x="connsiteX20917" y="connsiteY20917"/>
              </a:cxn>
              <a:cxn ang="0">
                <a:pos x="connsiteX20918" y="connsiteY20918"/>
              </a:cxn>
              <a:cxn ang="0">
                <a:pos x="connsiteX20919" y="connsiteY20919"/>
              </a:cxn>
              <a:cxn ang="0">
                <a:pos x="connsiteX20920" y="connsiteY20920"/>
              </a:cxn>
              <a:cxn ang="0">
                <a:pos x="connsiteX20921" y="connsiteY20921"/>
              </a:cxn>
              <a:cxn ang="0">
                <a:pos x="connsiteX20922" y="connsiteY20922"/>
              </a:cxn>
              <a:cxn ang="0">
                <a:pos x="connsiteX20923" y="connsiteY20923"/>
              </a:cxn>
              <a:cxn ang="0">
                <a:pos x="connsiteX20924" y="connsiteY20924"/>
              </a:cxn>
              <a:cxn ang="0">
                <a:pos x="connsiteX20925" y="connsiteY20925"/>
              </a:cxn>
              <a:cxn ang="0">
                <a:pos x="connsiteX20926" y="connsiteY20926"/>
              </a:cxn>
              <a:cxn ang="0">
                <a:pos x="connsiteX20927" y="connsiteY20927"/>
              </a:cxn>
              <a:cxn ang="0">
                <a:pos x="connsiteX20928" y="connsiteY20928"/>
              </a:cxn>
              <a:cxn ang="0">
                <a:pos x="connsiteX20929" y="connsiteY20929"/>
              </a:cxn>
              <a:cxn ang="0">
                <a:pos x="connsiteX20930" y="connsiteY20930"/>
              </a:cxn>
              <a:cxn ang="0">
                <a:pos x="connsiteX20931" y="connsiteY20931"/>
              </a:cxn>
              <a:cxn ang="0">
                <a:pos x="connsiteX20932" y="connsiteY20932"/>
              </a:cxn>
              <a:cxn ang="0">
                <a:pos x="connsiteX20933" y="connsiteY20933"/>
              </a:cxn>
              <a:cxn ang="0">
                <a:pos x="connsiteX20934" y="connsiteY20934"/>
              </a:cxn>
              <a:cxn ang="0">
                <a:pos x="connsiteX20935" y="connsiteY20935"/>
              </a:cxn>
              <a:cxn ang="0">
                <a:pos x="connsiteX20936" y="connsiteY20936"/>
              </a:cxn>
              <a:cxn ang="0">
                <a:pos x="connsiteX20937" y="connsiteY20937"/>
              </a:cxn>
              <a:cxn ang="0">
                <a:pos x="connsiteX20938" y="connsiteY20938"/>
              </a:cxn>
              <a:cxn ang="0">
                <a:pos x="connsiteX20939" y="connsiteY20939"/>
              </a:cxn>
              <a:cxn ang="0">
                <a:pos x="connsiteX20940" y="connsiteY20940"/>
              </a:cxn>
              <a:cxn ang="0">
                <a:pos x="connsiteX20941" y="connsiteY20941"/>
              </a:cxn>
              <a:cxn ang="0">
                <a:pos x="connsiteX20942" y="connsiteY20942"/>
              </a:cxn>
              <a:cxn ang="0">
                <a:pos x="connsiteX20943" y="connsiteY20943"/>
              </a:cxn>
              <a:cxn ang="0">
                <a:pos x="connsiteX20944" y="connsiteY20944"/>
              </a:cxn>
              <a:cxn ang="0">
                <a:pos x="connsiteX20945" y="connsiteY20945"/>
              </a:cxn>
              <a:cxn ang="0">
                <a:pos x="connsiteX20946" y="connsiteY20946"/>
              </a:cxn>
              <a:cxn ang="0">
                <a:pos x="connsiteX20947" y="connsiteY20947"/>
              </a:cxn>
              <a:cxn ang="0">
                <a:pos x="connsiteX20948" y="connsiteY20948"/>
              </a:cxn>
              <a:cxn ang="0">
                <a:pos x="connsiteX20949" y="connsiteY20949"/>
              </a:cxn>
              <a:cxn ang="0">
                <a:pos x="connsiteX20950" y="connsiteY20950"/>
              </a:cxn>
              <a:cxn ang="0">
                <a:pos x="connsiteX20951" y="connsiteY20951"/>
              </a:cxn>
              <a:cxn ang="0">
                <a:pos x="connsiteX20952" y="connsiteY20952"/>
              </a:cxn>
              <a:cxn ang="0">
                <a:pos x="connsiteX20953" y="connsiteY20953"/>
              </a:cxn>
              <a:cxn ang="0">
                <a:pos x="connsiteX20954" y="connsiteY20954"/>
              </a:cxn>
              <a:cxn ang="0">
                <a:pos x="connsiteX20955" y="connsiteY20955"/>
              </a:cxn>
              <a:cxn ang="0">
                <a:pos x="connsiteX20956" y="connsiteY20956"/>
              </a:cxn>
              <a:cxn ang="0">
                <a:pos x="connsiteX20957" y="connsiteY20957"/>
              </a:cxn>
              <a:cxn ang="0">
                <a:pos x="connsiteX20958" y="connsiteY20958"/>
              </a:cxn>
              <a:cxn ang="0">
                <a:pos x="connsiteX20959" y="connsiteY20959"/>
              </a:cxn>
              <a:cxn ang="0">
                <a:pos x="connsiteX20960" y="connsiteY20960"/>
              </a:cxn>
              <a:cxn ang="0">
                <a:pos x="connsiteX20961" y="connsiteY20961"/>
              </a:cxn>
              <a:cxn ang="0">
                <a:pos x="connsiteX20962" y="connsiteY20962"/>
              </a:cxn>
              <a:cxn ang="0">
                <a:pos x="connsiteX20963" y="connsiteY20963"/>
              </a:cxn>
              <a:cxn ang="0">
                <a:pos x="connsiteX20964" y="connsiteY20964"/>
              </a:cxn>
              <a:cxn ang="0">
                <a:pos x="connsiteX20965" y="connsiteY20965"/>
              </a:cxn>
              <a:cxn ang="0">
                <a:pos x="connsiteX20966" y="connsiteY20966"/>
              </a:cxn>
              <a:cxn ang="0">
                <a:pos x="connsiteX20967" y="connsiteY20967"/>
              </a:cxn>
              <a:cxn ang="0">
                <a:pos x="connsiteX20968" y="connsiteY20968"/>
              </a:cxn>
              <a:cxn ang="0">
                <a:pos x="connsiteX20969" y="connsiteY20969"/>
              </a:cxn>
              <a:cxn ang="0">
                <a:pos x="connsiteX20970" y="connsiteY20970"/>
              </a:cxn>
              <a:cxn ang="0">
                <a:pos x="connsiteX20971" y="connsiteY20971"/>
              </a:cxn>
              <a:cxn ang="0">
                <a:pos x="connsiteX20972" y="connsiteY20972"/>
              </a:cxn>
              <a:cxn ang="0">
                <a:pos x="connsiteX20973" y="connsiteY20973"/>
              </a:cxn>
              <a:cxn ang="0">
                <a:pos x="connsiteX20974" y="connsiteY20974"/>
              </a:cxn>
              <a:cxn ang="0">
                <a:pos x="connsiteX20975" y="connsiteY20975"/>
              </a:cxn>
              <a:cxn ang="0">
                <a:pos x="connsiteX20976" y="connsiteY20976"/>
              </a:cxn>
              <a:cxn ang="0">
                <a:pos x="connsiteX20977" y="connsiteY20977"/>
              </a:cxn>
              <a:cxn ang="0">
                <a:pos x="connsiteX20978" y="connsiteY20978"/>
              </a:cxn>
              <a:cxn ang="0">
                <a:pos x="connsiteX20979" y="connsiteY20979"/>
              </a:cxn>
              <a:cxn ang="0">
                <a:pos x="connsiteX20980" y="connsiteY20980"/>
              </a:cxn>
              <a:cxn ang="0">
                <a:pos x="connsiteX20981" y="connsiteY20981"/>
              </a:cxn>
              <a:cxn ang="0">
                <a:pos x="connsiteX20982" y="connsiteY20982"/>
              </a:cxn>
              <a:cxn ang="0">
                <a:pos x="connsiteX20983" y="connsiteY20983"/>
              </a:cxn>
              <a:cxn ang="0">
                <a:pos x="connsiteX20984" y="connsiteY20984"/>
              </a:cxn>
              <a:cxn ang="0">
                <a:pos x="connsiteX20985" y="connsiteY20985"/>
              </a:cxn>
              <a:cxn ang="0">
                <a:pos x="connsiteX20986" y="connsiteY20986"/>
              </a:cxn>
              <a:cxn ang="0">
                <a:pos x="connsiteX20987" y="connsiteY20987"/>
              </a:cxn>
              <a:cxn ang="0">
                <a:pos x="connsiteX20988" y="connsiteY20988"/>
              </a:cxn>
              <a:cxn ang="0">
                <a:pos x="connsiteX20989" y="connsiteY20989"/>
              </a:cxn>
              <a:cxn ang="0">
                <a:pos x="connsiteX20990" y="connsiteY20990"/>
              </a:cxn>
              <a:cxn ang="0">
                <a:pos x="connsiteX20991" y="connsiteY20991"/>
              </a:cxn>
              <a:cxn ang="0">
                <a:pos x="connsiteX20992" y="connsiteY20992"/>
              </a:cxn>
              <a:cxn ang="0">
                <a:pos x="connsiteX20993" y="connsiteY20993"/>
              </a:cxn>
              <a:cxn ang="0">
                <a:pos x="connsiteX20994" y="connsiteY20994"/>
              </a:cxn>
              <a:cxn ang="0">
                <a:pos x="connsiteX20995" y="connsiteY20995"/>
              </a:cxn>
              <a:cxn ang="0">
                <a:pos x="connsiteX20996" y="connsiteY20996"/>
              </a:cxn>
              <a:cxn ang="0">
                <a:pos x="connsiteX20997" y="connsiteY20997"/>
              </a:cxn>
              <a:cxn ang="0">
                <a:pos x="connsiteX20998" y="connsiteY20998"/>
              </a:cxn>
              <a:cxn ang="0">
                <a:pos x="connsiteX20999" y="connsiteY20999"/>
              </a:cxn>
              <a:cxn ang="0">
                <a:pos x="connsiteX21000" y="connsiteY21000"/>
              </a:cxn>
              <a:cxn ang="0">
                <a:pos x="connsiteX21001" y="connsiteY21001"/>
              </a:cxn>
              <a:cxn ang="0">
                <a:pos x="connsiteX21002" y="connsiteY21002"/>
              </a:cxn>
              <a:cxn ang="0">
                <a:pos x="connsiteX21003" y="connsiteY21003"/>
              </a:cxn>
              <a:cxn ang="0">
                <a:pos x="connsiteX21004" y="connsiteY21004"/>
              </a:cxn>
              <a:cxn ang="0">
                <a:pos x="connsiteX21005" y="connsiteY21005"/>
              </a:cxn>
              <a:cxn ang="0">
                <a:pos x="connsiteX21006" y="connsiteY21006"/>
              </a:cxn>
              <a:cxn ang="0">
                <a:pos x="connsiteX21007" y="connsiteY21007"/>
              </a:cxn>
              <a:cxn ang="0">
                <a:pos x="connsiteX21008" y="connsiteY21008"/>
              </a:cxn>
              <a:cxn ang="0">
                <a:pos x="connsiteX21009" y="connsiteY21009"/>
              </a:cxn>
              <a:cxn ang="0">
                <a:pos x="connsiteX21010" y="connsiteY21010"/>
              </a:cxn>
              <a:cxn ang="0">
                <a:pos x="connsiteX21011" y="connsiteY21011"/>
              </a:cxn>
              <a:cxn ang="0">
                <a:pos x="connsiteX21012" y="connsiteY21012"/>
              </a:cxn>
              <a:cxn ang="0">
                <a:pos x="connsiteX21013" y="connsiteY21013"/>
              </a:cxn>
              <a:cxn ang="0">
                <a:pos x="connsiteX21014" y="connsiteY21014"/>
              </a:cxn>
              <a:cxn ang="0">
                <a:pos x="connsiteX21015" y="connsiteY21015"/>
              </a:cxn>
              <a:cxn ang="0">
                <a:pos x="connsiteX21016" y="connsiteY21016"/>
              </a:cxn>
              <a:cxn ang="0">
                <a:pos x="connsiteX21017" y="connsiteY21017"/>
              </a:cxn>
              <a:cxn ang="0">
                <a:pos x="connsiteX21018" y="connsiteY21018"/>
              </a:cxn>
              <a:cxn ang="0">
                <a:pos x="connsiteX21019" y="connsiteY21019"/>
              </a:cxn>
              <a:cxn ang="0">
                <a:pos x="connsiteX21020" y="connsiteY21020"/>
              </a:cxn>
              <a:cxn ang="0">
                <a:pos x="connsiteX21021" y="connsiteY21021"/>
              </a:cxn>
              <a:cxn ang="0">
                <a:pos x="connsiteX21022" y="connsiteY21022"/>
              </a:cxn>
              <a:cxn ang="0">
                <a:pos x="connsiteX21023" y="connsiteY21023"/>
              </a:cxn>
              <a:cxn ang="0">
                <a:pos x="connsiteX21024" y="connsiteY21024"/>
              </a:cxn>
              <a:cxn ang="0">
                <a:pos x="connsiteX21025" y="connsiteY21025"/>
              </a:cxn>
              <a:cxn ang="0">
                <a:pos x="connsiteX21026" y="connsiteY21026"/>
              </a:cxn>
              <a:cxn ang="0">
                <a:pos x="connsiteX21027" y="connsiteY21027"/>
              </a:cxn>
              <a:cxn ang="0">
                <a:pos x="connsiteX21028" y="connsiteY21028"/>
              </a:cxn>
              <a:cxn ang="0">
                <a:pos x="connsiteX21029" y="connsiteY21029"/>
              </a:cxn>
              <a:cxn ang="0">
                <a:pos x="connsiteX21030" y="connsiteY21030"/>
              </a:cxn>
              <a:cxn ang="0">
                <a:pos x="connsiteX21031" y="connsiteY21031"/>
              </a:cxn>
              <a:cxn ang="0">
                <a:pos x="connsiteX21032" y="connsiteY21032"/>
              </a:cxn>
              <a:cxn ang="0">
                <a:pos x="connsiteX21033" y="connsiteY21033"/>
              </a:cxn>
              <a:cxn ang="0">
                <a:pos x="connsiteX21034" y="connsiteY21034"/>
              </a:cxn>
              <a:cxn ang="0">
                <a:pos x="connsiteX21035" y="connsiteY21035"/>
              </a:cxn>
              <a:cxn ang="0">
                <a:pos x="connsiteX21036" y="connsiteY21036"/>
              </a:cxn>
              <a:cxn ang="0">
                <a:pos x="connsiteX21037" y="connsiteY21037"/>
              </a:cxn>
              <a:cxn ang="0">
                <a:pos x="connsiteX21038" y="connsiteY21038"/>
              </a:cxn>
              <a:cxn ang="0">
                <a:pos x="connsiteX21039" y="connsiteY21039"/>
              </a:cxn>
              <a:cxn ang="0">
                <a:pos x="connsiteX21040" y="connsiteY21040"/>
              </a:cxn>
              <a:cxn ang="0">
                <a:pos x="connsiteX21041" y="connsiteY21041"/>
              </a:cxn>
              <a:cxn ang="0">
                <a:pos x="connsiteX21042" y="connsiteY21042"/>
              </a:cxn>
              <a:cxn ang="0">
                <a:pos x="connsiteX21043" y="connsiteY21043"/>
              </a:cxn>
              <a:cxn ang="0">
                <a:pos x="connsiteX21044" y="connsiteY21044"/>
              </a:cxn>
              <a:cxn ang="0">
                <a:pos x="connsiteX21045" y="connsiteY21045"/>
              </a:cxn>
              <a:cxn ang="0">
                <a:pos x="connsiteX21046" y="connsiteY21046"/>
              </a:cxn>
              <a:cxn ang="0">
                <a:pos x="connsiteX21047" y="connsiteY21047"/>
              </a:cxn>
              <a:cxn ang="0">
                <a:pos x="connsiteX21048" y="connsiteY21048"/>
              </a:cxn>
              <a:cxn ang="0">
                <a:pos x="connsiteX21049" y="connsiteY21049"/>
              </a:cxn>
              <a:cxn ang="0">
                <a:pos x="connsiteX21050" y="connsiteY21050"/>
              </a:cxn>
              <a:cxn ang="0">
                <a:pos x="connsiteX21051" y="connsiteY21051"/>
              </a:cxn>
              <a:cxn ang="0">
                <a:pos x="connsiteX21052" y="connsiteY21052"/>
              </a:cxn>
              <a:cxn ang="0">
                <a:pos x="connsiteX21053" y="connsiteY21053"/>
              </a:cxn>
              <a:cxn ang="0">
                <a:pos x="connsiteX21054" y="connsiteY21054"/>
              </a:cxn>
              <a:cxn ang="0">
                <a:pos x="connsiteX21055" y="connsiteY21055"/>
              </a:cxn>
              <a:cxn ang="0">
                <a:pos x="connsiteX21056" y="connsiteY21056"/>
              </a:cxn>
              <a:cxn ang="0">
                <a:pos x="connsiteX21057" y="connsiteY21057"/>
              </a:cxn>
              <a:cxn ang="0">
                <a:pos x="connsiteX21058" y="connsiteY21058"/>
              </a:cxn>
              <a:cxn ang="0">
                <a:pos x="connsiteX21059" y="connsiteY21059"/>
              </a:cxn>
              <a:cxn ang="0">
                <a:pos x="connsiteX21060" y="connsiteY21060"/>
              </a:cxn>
              <a:cxn ang="0">
                <a:pos x="connsiteX21061" y="connsiteY21061"/>
              </a:cxn>
              <a:cxn ang="0">
                <a:pos x="connsiteX21062" y="connsiteY21062"/>
              </a:cxn>
              <a:cxn ang="0">
                <a:pos x="connsiteX21063" y="connsiteY21063"/>
              </a:cxn>
              <a:cxn ang="0">
                <a:pos x="connsiteX21064" y="connsiteY21064"/>
              </a:cxn>
              <a:cxn ang="0">
                <a:pos x="connsiteX21065" y="connsiteY21065"/>
              </a:cxn>
              <a:cxn ang="0">
                <a:pos x="connsiteX21066" y="connsiteY21066"/>
              </a:cxn>
              <a:cxn ang="0">
                <a:pos x="connsiteX21067" y="connsiteY21067"/>
              </a:cxn>
              <a:cxn ang="0">
                <a:pos x="connsiteX21068" y="connsiteY21068"/>
              </a:cxn>
              <a:cxn ang="0">
                <a:pos x="connsiteX21069" y="connsiteY21069"/>
              </a:cxn>
              <a:cxn ang="0">
                <a:pos x="connsiteX21070" y="connsiteY21070"/>
              </a:cxn>
              <a:cxn ang="0">
                <a:pos x="connsiteX21071" y="connsiteY21071"/>
              </a:cxn>
              <a:cxn ang="0">
                <a:pos x="connsiteX21072" y="connsiteY21072"/>
              </a:cxn>
              <a:cxn ang="0">
                <a:pos x="connsiteX21073" y="connsiteY21073"/>
              </a:cxn>
              <a:cxn ang="0">
                <a:pos x="connsiteX21074" y="connsiteY21074"/>
              </a:cxn>
              <a:cxn ang="0">
                <a:pos x="connsiteX21075" y="connsiteY21075"/>
              </a:cxn>
              <a:cxn ang="0">
                <a:pos x="connsiteX21076" y="connsiteY21076"/>
              </a:cxn>
              <a:cxn ang="0">
                <a:pos x="connsiteX21077" y="connsiteY21077"/>
              </a:cxn>
              <a:cxn ang="0">
                <a:pos x="connsiteX21078" y="connsiteY21078"/>
              </a:cxn>
              <a:cxn ang="0">
                <a:pos x="connsiteX21079" y="connsiteY21079"/>
              </a:cxn>
              <a:cxn ang="0">
                <a:pos x="connsiteX21080" y="connsiteY21080"/>
              </a:cxn>
              <a:cxn ang="0">
                <a:pos x="connsiteX21081" y="connsiteY21081"/>
              </a:cxn>
              <a:cxn ang="0">
                <a:pos x="connsiteX21082" y="connsiteY21082"/>
              </a:cxn>
              <a:cxn ang="0">
                <a:pos x="connsiteX21083" y="connsiteY21083"/>
              </a:cxn>
              <a:cxn ang="0">
                <a:pos x="connsiteX21084" y="connsiteY21084"/>
              </a:cxn>
              <a:cxn ang="0">
                <a:pos x="connsiteX21085" y="connsiteY21085"/>
              </a:cxn>
              <a:cxn ang="0">
                <a:pos x="connsiteX21086" y="connsiteY21086"/>
              </a:cxn>
              <a:cxn ang="0">
                <a:pos x="connsiteX21087" y="connsiteY21087"/>
              </a:cxn>
              <a:cxn ang="0">
                <a:pos x="connsiteX21088" y="connsiteY21088"/>
              </a:cxn>
              <a:cxn ang="0">
                <a:pos x="connsiteX21089" y="connsiteY21089"/>
              </a:cxn>
              <a:cxn ang="0">
                <a:pos x="connsiteX21090" y="connsiteY21090"/>
              </a:cxn>
              <a:cxn ang="0">
                <a:pos x="connsiteX21091" y="connsiteY21091"/>
              </a:cxn>
              <a:cxn ang="0">
                <a:pos x="connsiteX21092" y="connsiteY21092"/>
              </a:cxn>
              <a:cxn ang="0">
                <a:pos x="connsiteX21093" y="connsiteY21093"/>
              </a:cxn>
              <a:cxn ang="0">
                <a:pos x="connsiteX21094" y="connsiteY21094"/>
              </a:cxn>
              <a:cxn ang="0">
                <a:pos x="connsiteX21095" y="connsiteY21095"/>
              </a:cxn>
              <a:cxn ang="0">
                <a:pos x="connsiteX21096" y="connsiteY21096"/>
              </a:cxn>
              <a:cxn ang="0">
                <a:pos x="connsiteX21097" y="connsiteY21097"/>
              </a:cxn>
              <a:cxn ang="0">
                <a:pos x="connsiteX21098" y="connsiteY21098"/>
              </a:cxn>
              <a:cxn ang="0">
                <a:pos x="connsiteX21099" y="connsiteY21099"/>
              </a:cxn>
              <a:cxn ang="0">
                <a:pos x="connsiteX21100" y="connsiteY21100"/>
              </a:cxn>
              <a:cxn ang="0">
                <a:pos x="connsiteX21101" y="connsiteY21101"/>
              </a:cxn>
              <a:cxn ang="0">
                <a:pos x="connsiteX21102" y="connsiteY21102"/>
              </a:cxn>
              <a:cxn ang="0">
                <a:pos x="connsiteX21103" y="connsiteY21103"/>
              </a:cxn>
              <a:cxn ang="0">
                <a:pos x="connsiteX21104" y="connsiteY21104"/>
              </a:cxn>
              <a:cxn ang="0">
                <a:pos x="connsiteX21105" y="connsiteY21105"/>
              </a:cxn>
              <a:cxn ang="0">
                <a:pos x="connsiteX21106" y="connsiteY21106"/>
              </a:cxn>
              <a:cxn ang="0">
                <a:pos x="connsiteX21107" y="connsiteY21107"/>
              </a:cxn>
              <a:cxn ang="0">
                <a:pos x="connsiteX21108" y="connsiteY21108"/>
              </a:cxn>
              <a:cxn ang="0">
                <a:pos x="connsiteX21109" y="connsiteY21109"/>
              </a:cxn>
              <a:cxn ang="0">
                <a:pos x="connsiteX21110" y="connsiteY21110"/>
              </a:cxn>
              <a:cxn ang="0">
                <a:pos x="connsiteX21111" y="connsiteY21111"/>
              </a:cxn>
              <a:cxn ang="0">
                <a:pos x="connsiteX21112" y="connsiteY21112"/>
              </a:cxn>
              <a:cxn ang="0">
                <a:pos x="connsiteX21113" y="connsiteY21113"/>
              </a:cxn>
              <a:cxn ang="0">
                <a:pos x="connsiteX21114" y="connsiteY21114"/>
              </a:cxn>
              <a:cxn ang="0">
                <a:pos x="connsiteX21115" y="connsiteY21115"/>
              </a:cxn>
              <a:cxn ang="0">
                <a:pos x="connsiteX21116" y="connsiteY21116"/>
              </a:cxn>
              <a:cxn ang="0">
                <a:pos x="connsiteX21117" y="connsiteY21117"/>
              </a:cxn>
              <a:cxn ang="0">
                <a:pos x="connsiteX21118" y="connsiteY21118"/>
              </a:cxn>
              <a:cxn ang="0">
                <a:pos x="connsiteX21119" y="connsiteY21119"/>
              </a:cxn>
              <a:cxn ang="0">
                <a:pos x="connsiteX21120" y="connsiteY21120"/>
              </a:cxn>
              <a:cxn ang="0">
                <a:pos x="connsiteX21121" y="connsiteY21121"/>
              </a:cxn>
              <a:cxn ang="0">
                <a:pos x="connsiteX21122" y="connsiteY21122"/>
              </a:cxn>
              <a:cxn ang="0">
                <a:pos x="connsiteX21123" y="connsiteY21123"/>
              </a:cxn>
              <a:cxn ang="0">
                <a:pos x="connsiteX21124" y="connsiteY21124"/>
              </a:cxn>
              <a:cxn ang="0">
                <a:pos x="connsiteX21125" y="connsiteY21125"/>
              </a:cxn>
              <a:cxn ang="0">
                <a:pos x="connsiteX21126" y="connsiteY21126"/>
              </a:cxn>
              <a:cxn ang="0">
                <a:pos x="connsiteX21127" y="connsiteY21127"/>
              </a:cxn>
              <a:cxn ang="0">
                <a:pos x="connsiteX21128" y="connsiteY21128"/>
              </a:cxn>
              <a:cxn ang="0">
                <a:pos x="connsiteX21129" y="connsiteY21129"/>
              </a:cxn>
              <a:cxn ang="0">
                <a:pos x="connsiteX21130" y="connsiteY21130"/>
              </a:cxn>
              <a:cxn ang="0">
                <a:pos x="connsiteX21131" y="connsiteY21131"/>
              </a:cxn>
              <a:cxn ang="0">
                <a:pos x="connsiteX21132" y="connsiteY21132"/>
              </a:cxn>
              <a:cxn ang="0">
                <a:pos x="connsiteX21133" y="connsiteY21133"/>
              </a:cxn>
              <a:cxn ang="0">
                <a:pos x="connsiteX21134" y="connsiteY21134"/>
              </a:cxn>
              <a:cxn ang="0">
                <a:pos x="connsiteX21135" y="connsiteY21135"/>
              </a:cxn>
              <a:cxn ang="0">
                <a:pos x="connsiteX21136" y="connsiteY21136"/>
              </a:cxn>
              <a:cxn ang="0">
                <a:pos x="connsiteX21137" y="connsiteY21137"/>
              </a:cxn>
              <a:cxn ang="0">
                <a:pos x="connsiteX21138" y="connsiteY21138"/>
              </a:cxn>
              <a:cxn ang="0">
                <a:pos x="connsiteX21139" y="connsiteY21139"/>
              </a:cxn>
              <a:cxn ang="0">
                <a:pos x="connsiteX21140" y="connsiteY21140"/>
              </a:cxn>
              <a:cxn ang="0">
                <a:pos x="connsiteX21141" y="connsiteY21141"/>
              </a:cxn>
              <a:cxn ang="0">
                <a:pos x="connsiteX21142" y="connsiteY21142"/>
              </a:cxn>
              <a:cxn ang="0">
                <a:pos x="connsiteX21143" y="connsiteY21143"/>
              </a:cxn>
              <a:cxn ang="0">
                <a:pos x="connsiteX21144" y="connsiteY21144"/>
              </a:cxn>
              <a:cxn ang="0">
                <a:pos x="connsiteX21145" y="connsiteY21145"/>
              </a:cxn>
              <a:cxn ang="0">
                <a:pos x="connsiteX21146" y="connsiteY21146"/>
              </a:cxn>
              <a:cxn ang="0">
                <a:pos x="connsiteX21147" y="connsiteY21147"/>
              </a:cxn>
              <a:cxn ang="0">
                <a:pos x="connsiteX21148" y="connsiteY21148"/>
              </a:cxn>
              <a:cxn ang="0">
                <a:pos x="connsiteX21149" y="connsiteY21149"/>
              </a:cxn>
              <a:cxn ang="0">
                <a:pos x="connsiteX21150" y="connsiteY21150"/>
              </a:cxn>
              <a:cxn ang="0">
                <a:pos x="connsiteX21151" y="connsiteY21151"/>
              </a:cxn>
              <a:cxn ang="0">
                <a:pos x="connsiteX21152" y="connsiteY21152"/>
              </a:cxn>
              <a:cxn ang="0">
                <a:pos x="connsiteX21153" y="connsiteY21153"/>
              </a:cxn>
              <a:cxn ang="0">
                <a:pos x="connsiteX21154" y="connsiteY21154"/>
              </a:cxn>
              <a:cxn ang="0">
                <a:pos x="connsiteX21155" y="connsiteY21155"/>
              </a:cxn>
              <a:cxn ang="0">
                <a:pos x="connsiteX21156" y="connsiteY21156"/>
              </a:cxn>
              <a:cxn ang="0">
                <a:pos x="connsiteX21157" y="connsiteY21157"/>
              </a:cxn>
              <a:cxn ang="0">
                <a:pos x="connsiteX21158" y="connsiteY21158"/>
              </a:cxn>
              <a:cxn ang="0">
                <a:pos x="connsiteX21159" y="connsiteY21159"/>
              </a:cxn>
              <a:cxn ang="0">
                <a:pos x="connsiteX21160" y="connsiteY21160"/>
              </a:cxn>
              <a:cxn ang="0">
                <a:pos x="connsiteX21161" y="connsiteY21161"/>
              </a:cxn>
              <a:cxn ang="0">
                <a:pos x="connsiteX21162" y="connsiteY21162"/>
              </a:cxn>
              <a:cxn ang="0">
                <a:pos x="connsiteX21163" y="connsiteY21163"/>
              </a:cxn>
              <a:cxn ang="0">
                <a:pos x="connsiteX21164" y="connsiteY21164"/>
              </a:cxn>
              <a:cxn ang="0">
                <a:pos x="connsiteX21165" y="connsiteY21165"/>
              </a:cxn>
              <a:cxn ang="0">
                <a:pos x="connsiteX21166" y="connsiteY21166"/>
              </a:cxn>
              <a:cxn ang="0">
                <a:pos x="connsiteX21167" y="connsiteY21167"/>
              </a:cxn>
              <a:cxn ang="0">
                <a:pos x="connsiteX21168" y="connsiteY21168"/>
              </a:cxn>
              <a:cxn ang="0">
                <a:pos x="connsiteX21169" y="connsiteY21169"/>
              </a:cxn>
              <a:cxn ang="0">
                <a:pos x="connsiteX21170" y="connsiteY21170"/>
              </a:cxn>
              <a:cxn ang="0">
                <a:pos x="connsiteX21171" y="connsiteY21171"/>
              </a:cxn>
              <a:cxn ang="0">
                <a:pos x="connsiteX21172" y="connsiteY21172"/>
              </a:cxn>
              <a:cxn ang="0">
                <a:pos x="connsiteX21173" y="connsiteY21173"/>
              </a:cxn>
              <a:cxn ang="0">
                <a:pos x="connsiteX21174" y="connsiteY21174"/>
              </a:cxn>
              <a:cxn ang="0">
                <a:pos x="connsiteX21175" y="connsiteY21175"/>
              </a:cxn>
              <a:cxn ang="0">
                <a:pos x="connsiteX21176" y="connsiteY21176"/>
              </a:cxn>
              <a:cxn ang="0">
                <a:pos x="connsiteX21177" y="connsiteY21177"/>
              </a:cxn>
              <a:cxn ang="0">
                <a:pos x="connsiteX21178" y="connsiteY21178"/>
              </a:cxn>
              <a:cxn ang="0">
                <a:pos x="connsiteX21179" y="connsiteY21179"/>
              </a:cxn>
              <a:cxn ang="0">
                <a:pos x="connsiteX21180" y="connsiteY21180"/>
              </a:cxn>
              <a:cxn ang="0">
                <a:pos x="connsiteX21181" y="connsiteY21181"/>
              </a:cxn>
              <a:cxn ang="0">
                <a:pos x="connsiteX21182" y="connsiteY21182"/>
              </a:cxn>
              <a:cxn ang="0">
                <a:pos x="connsiteX21183" y="connsiteY21183"/>
              </a:cxn>
              <a:cxn ang="0">
                <a:pos x="connsiteX21184" y="connsiteY21184"/>
              </a:cxn>
              <a:cxn ang="0">
                <a:pos x="connsiteX21185" y="connsiteY21185"/>
              </a:cxn>
              <a:cxn ang="0">
                <a:pos x="connsiteX21186" y="connsiteY21186"/>
              </a:cxn>
              <a:cxn ang="0">
                <a:pos x="connsiteX21187" y="connsiteY21187"/>
              </a:cxn>
              <a:cxn ang="0">
                <a:pos x="connsiteX21188" y="connsiteY21188"/>
              </a:cxn>
              <a:cxn ang="0">
                <a:pos x="connsiteX21189" y="connsiteY21189"/>
              </a:cxn>
              <a:cxn ang="0">
                <a:pos x="connsiteX21190" y="connsiteY21190"/>
              </a:cxn>
              <a:cxn ang="0">
                <a:pos x="connsiteX21191" y="connsiteY21191"/>
              </a:cxn>
              <a:cxn ang="0">
                <a:pos x="connsiteX21192" y="connsiteY21192"/>
              </a:cxn>
              <a:cxn ang="0">
                <a:pos x="connsiteX21193" y="connsiteY21193"/>
              </a:cxn>
              <a:cxn ang="0">
                <a:pos x="connsiteX21194" y="connsiteY21194"/>
              </a:cxn>
              <a:cxn ang="0">
                <a:pos x="connsiteX21195" y="connsiteY21195"/>
              </a:cxn>
              <a:cxn ang="0">
                <a:pos x="connsiteX21196" y="connsiteY21196"/>
              </a:cxn>
              <a:cxn ang="0">
                <a:pos x="connsiteX21197" y="connsiteY21197"/>
              </a:cxn>
              <a:cxn ang="0">
                <a:pos x="connsiteX21198" y="connsiteY21198"/>
              </a:cxn>
              <a:cxn ang="0">
                <a:pos x="connsiteX21199" y="connsiteY21199"/>
              </a:cxn>
              <a:cxn ang="0">
                <a:pos x="connsiteX21200" y="connsiteY21200"/>
              </a:cxn>
              <a:cxn ang="0">
                <a:pos x="connsiteX21201" y="connsiteY21201"/>
              </a:cxn>
              <a:cxn ang="0">
                <a:pos x="connsiteX21202" y="connsiteY21202"/>
              </a:cxn>
              <a:cxn ang="0">
                <a:pos x="connsiteX21203" y="connsiteY21203"/>
              </a:cxn>
              <a:cxn ang="0">
                <a:pos x="connsiteX21204" y="connsiteY21204"/>
              </a:cxn>
              <a:cxn ang="0">
                <a:pos x="connsiteX21205" y="connsiteY21205"/>
              </a:cxn>
              <a:cxn ang="0">
                <a:pos x="connsiteX21206" y="connsiteY21206"/>
              </a:cxn>
              <a:cxn ang="0">
                <a:pos x="connsiteX21207" y="connsiteY21207"/>
              </a:cxn>
              <a:cxn ang="0">
                <a:pos x="connsiteX21208" y="connsiteY21208"/>
              </a:cxn>
              <a:cxn ang="0">
                <a:pos x="connsiteX21209" y="connsiteY21209"/>
              </a:cxn>
              <a:cxn ang="0">
                <a:pos x="connsiteX21210" y="connsiteY21210"/>
              </a:cxn>
              <a:cxn ang="0">
                <a:pos x="connsiteX21211" y="connsiteY21211"/>
              </a:cxn>
              <a:cxn ang="0">
                <a:pos x="connsiteX21212" y="connsiteY21212"/>
              </a:cxn>
              <a:cxn ang="0">
                <a:pos x="connsiteX21213" y="connsiteY21213"/>
              </a:cxn>
              <a:cxn ang="0">
                <a:pos x="connsiteX21214" y="connsiteY21214"/>
              </a:cxn>
              <a:cxn ang="0">
                <a:pos x="connsiteX21215" y="connsiteY21215"/>
              </a:cxn>
              <a:cxn ang="0">
                <a:pos x="connsiteX21216" y="connsiteY21216"/>
              </a:cxn>
              <a:cxn ang="0">
                <a:pos x="connsiteX21217" y="connsiteY21217"/>
              </a:cxn>
              <a:cxn ang="0">
                <a:pos x="connsiteX21218" y="connsiteY21218"/>
              </a:cxn>
              <a:cxn ang="0">
                <a:pos x="connsiteX21219" y="connsiteY21219"/>
              </a:cxn>
              <a:cxn ang="0">
                <a:pos x="connsiteX21220" y="connsiteY21220"/>
              </a:cxn>
              <a:cxn ang="0">
                <a:pos x="connsiteX21221" y="connsiteY21221"/>
              </a:cxn>
              <a:cxn ang="0">
                <a:pos x="connsiteX21222" y="connsiteY21222"/>
              </a:cxn>
              <a:cxn ang="0">
                <a:pos x="connsiteX21223" y="connsiteY21223"/>
              </a:cxn>
              <a:cxn ang="0">
                <a:pos x="connsiteX21224" y="connsiteY21224"/>
              </a:cxn>
              <a:cxn ang="0">
                <a:pos x="connsiteX21225" y="connsiteY21225"/>
              </a:cxn>
              <a:cxn ang="0">
                <a:pos x="connsiteX21226" y="connsiteY21226"/>
              </a:cxn>
              <a:cxn ang="0">
                <a:pos x="connsiteX21227" y="connsiteY21227"/>
              </a:cxn>
              <a:cxn ang="0">
                <a:pos x="connsiteX21228" y="connsiteY21228"/>
              </a:cxn>
              <a:cxn ang="0">
                <a:pos x="connsiteX21229" y="connsiteY21229"/>
              </a:cxn>
              <a:cxn ang="0">
                <a:pos x="connsiteX21230" y="connsiteY21230"/>
              </a:cxn>
              <a:cxn ang="0">
                <a:pos x="connsiteX21231" y="connsiteY21231"/>
              </a:cxn>
              <a:cxn ang="0">
                <a:pos x="connsiteX21232" y="connsiteY21232"/>
              </a:cxn>
              <a:cxn ang="0">
                <a:pos x="connsiteX21233" y="connsiteY21233"/>
              </a:cxn>
              <a:cxn ang="0">
                <a:pos x="connsiteX21234" y="connsiteY21234"/>
              </a:cxn>
              <a:cxn ang="0">
                <a:pos x="connsiteX21235" y="connsiteY21235"/>
              </a:cxn>
              <a:cxn ang="0">
                <a:pos x="connsiteX21236" y="connsiteY21236"/>
              </a:cxn>
              <a:cxn ang="0">
                <a:pos x="connsiteX21237" y="connsiteY21237"/>
              </a:cxn>
              <a:cxn ang="0">
                <a:pos x="connsiteX21238" y="connsiteY21238"/>
              </a:cxn>
              <a:cxn ang="0">
                <a:pos x="connsiteX21239" y="connsiteY21239"/>
              </a:cxn>
              <a:cxn ang="0">
                <a:pos x="connsiteX21240" y="connsiteY21240"/>
              </a:cxn>
              <a:cxn ang="0">
                <a:pos x="connsiteX21241" y="connsiteY21241"/>
              </a:cxn>
              <a:cxn ang="0">
                <a:pos x="connsiteX21242" y="connsiteY21242"/>
              </a:cxn>
              <a:cxn ang="0">
                <a:pos x="connsiteX21243" y="connsiteY21243"/>
              </a:cxn>
              <a:cxn ang="0">
                <a:pos x="connsiteX21244" y="connsiteY21244"/>
              </a:cxn>
              <a:cxn ang="0">
                <a:pos x="connsiteX21245" y="connsiteY21245"/>
              </a:cxn>
              <a:cxn ang="0">
                <a:pos x="connsiteX21246" y="connsiteY21246"/>
              </a:cxn>
              <a:cxn ang="0">
                <a:pos x="connsiteX21247" y="connsiteY21247"/>
              </a:cxn>
              <a:cxn ang="0">
                <a:pos x="connsiteX21248" y="connsiteY21248"/>
              </a:cxn>
              <a:cxn ang="0">
                <a:pos x="connsiteX21249" y="connsiteY21249"/>
              </a:cxn>
              <a:cxn ang="0">
                <a:pos x="connsiteX21250" y="connsiteY21250"/>
              </a:cxn>
              <a:cxn ang="0">
                <a:pos x="connsiteX21251" y="connsiteY21251"/>
              </a:cxn>
              <a:cxn ang="0">
                <a:pos x="connsiteX21252" y="connsiteY21252"/>
              </a:cxn>
              <a:cxn ang="0">
                <a:pos x="connsiteX21253" y="connsiteY21253"/>
              </a:cxn>
              <a:cxn ang="0">
                <a:pos x="connsiteX21254" y="connsiteY21254"/>
              </a:cxn>
              <a:cxn ang="0">
                <a:pos x="connsiteX21255" y="connsiteY21255"/>
              </a:cxn>
              <a:cxn ang="0">
                <a:pos x="connsiteX21256" y="connsiteY21256"/>
              </a:cxn>
              <a:cxn ang="0">
                <a:pos x="connsiteX21257" y="connsiteY21257"/>
              </a:cxn>
              <a:cxn ang="0">
                <a:pos x="connsiteX21258" y="connsiteY21258"/>
              </a:cxn>
              <a:cxn ang="0">
                <a:pos x="connsiteX21259" y="connsiteY21259"/>
              </a:cxn>
              <a:cxn ang="0">
                <a:pos x="connsiteX21260" y="connsiteY21260"/>
              </a:cxn>
              <a:cxn ang="0">
                <a:pos x="connsiteX21261" y="connsiteY21261"/>
              </a:cxn>
              <a:cxn ang="0">
                <a:pos x="connsiteX21262" y="connsiteY21262"/>
              </a:cxn>
              <a:cxn ang="0">
                <a:pos x="connsiteX21263" y="connsiteY21263"/>
              </a:cxn>
              <a:cxn ang="0">
                <a:pos x="connsiteX21264" y="connsiteY21264"/>
              </a:cxn>
              <a:cxn ang="0">
                <a:pos x="connsiteX21265" y="connsiteY21265"/>
              </a:cxn>
              <a:cxn ang="0">
                <a:pos x="connsiteX21266" y="connsiteY21266"/>
              </a:cxn>
              <a:cxn ang="0">
                <a:pos x="connsiteX21267" y="connsiteY21267"/>
              </a:cxn>
              <a:cxn ang="0">
                <a:pos x="connsiteX21268" y="connsiteY21268"/>
              </a:cxn>
              <a:cxn ang="0">
                <a:pos x="connsiteX21269" y="connsiteY21269"/>
              </a:cxn>
              <a:cxn ang="0">
                <a:pos x="connsiteX21270" y="connsiteY21270"/>
              </a:cxn>
              <a:cxn ang="0">
                <a:pos x="connsiteX21271" y="connsiteY21271"/>
              </a:cxn>
              <a:cxn ang="0">
                <a:pos x="connsiteX21272" y="connsiteY21272"/>
              </a:cxn>
              <a:cxn ang="0">
                <a:pos x="connsiteX21273" y="connsiteY21273"/>
              </a:cxn>
              <a:cxn ang="0">
                <a:pos x="connsiteX21274" y="connsiteY21274"/>
              </a:cxn>
              <a:cxn ang="0">
                <a:pos x="connsiteX21275" y="connsiteY21275"/>
              </a:cxn>
              <a:cxn ang="0">
                <a:pos x="connsiteX21276" y="connsiteY21276"/>
              </a:cxn>
              <a:cxn ang="0">
                <a:pos x="connsiteX21277" y="connsiteY21277"/>
              </a:cxn>
              <a:cxn ang="0">
                <a:pos x="connsiteX21278" y="connsiteY21278"/>
              </a:cxn>
              <a:cxn ang="0">
                <a:pos x="connsiteX21279" y="connsiteY21279"/>
              </a:cxn>
              <a:cxn ang="0">
                <a:pos x="connsiteX21280" y="connsiteY21280"/>
              </a:cxn>
              <a:cxn ang="0">
                <a:pos x="connsiteX21281" y="connsiteY21281"/>
              </a:cxn>
              <a:cxn ang="0">
                <a:pos x="connsiteX21282" y="connsiteY21282"/>
              </a:cxn>
              <a:cxn ang="0">
                <a:pos x="connsiteX21283" y="connsiteY21283"/>
              </a:cxn>
              <a:cxn ang="0">
                <a:pos x="connsiteX21284" y="connsiteY21284"/>
              </a:cxn>
              <a:cxn ang="0">
                <a:pos x="connsiteX21285" y="connsiteY21285"/>
              </a:cxn>
              <a:cxn ang="0">
                <a:pos x="connsiteX21286" y="connsiteY21286"/>
              </a:cxn>
              <a:cxn ang="0">
                <a:pos x="connsiteX21287" y="connsiteY21287"/>
              </a:cxn>
              <a:cxn ang="0">
                <a:pos x="connsiteX21288" y="connsiteY21288"/>
              </a:cxn>
              <a:cxn ang="0">
                <a:pos x="connsiteX21289" y="connsiteY21289"/>
              </a:cxn>
              <a:cxn ang="0">
                <a:pos x="connsiteX21290" y="connsiteY21290"/>
              </a:cxn>
              <a:cxn ang="0">
                <a:pos x="connsiteX21291" y="connsiteY21291"/>
              </a:cxn>
              <a:cxn ang="0">
                <a:pos x="connsiteX21292" y="connsiteY21292"/>
              </a:cxn>
              <a:cxn ang="0">
                <a:pos x="connsiteX21293" y="connsiteY21293"/>
              </a:cxn>
              <a:cxn ang="0">
                <a:pos x="connsiteX21294" y="connsiteY21294"/>
              </a:cxn>
              <a:cxn ang="0">
                <a:pos x="connsiteX21295" y="connsiteY21295"/>
              </a:cxn>
              <a:cxn ang="0">
                <a:pos x="connsiteX21296" y="connsiteY21296"/>
              </a:cxn>
              <a:cxn ang="0">
                <a:pos x="connsiteX21297" y="connsiteY21297"/>
              </a:cxn>
              <a:cxn ang="0">
                <a:pos x="connsiteX21298" y="connsiteY21298"/>
              </a:cxn>
              <a:cxn ang="0">
                <a:pos x="connsiteX21299" y="connsiteY21299"/>
              </a:cxn>
              <a:cxn ang="0">
                <a:pos x="connsiteX21300" y="connsiteY21300"/>
              </a:cxn>
              <a:cxn ang="0">
                <a:pos x="connsiteX21301" y="connsiteY21301"/>
              </a:cxn>
              <a:cxn ang="0">
                <a:pos x="connsiteX21302" y="connsiteY21302"/>
              </a:cxn>
              <a:cxn ang="0">
                <a:pos x="connsiteX21303" y="connsiteY21303"/>
              </a:cxn>
              <a:cxn ang="0">
                <a:pos x="connsiteX21304" y="connsiteY21304"/>
              </a:cxn>
              <a:cxn ang="0">
                <a:pos x="connsiteX21305" y="connsiteY21305"/>
              </a:cxn>
              <a:cxn ang="0">
                <a:pos x="connsiteX21306" y="connsiteY21306"/>
              </a:cxn>
              <a:cxn ang="0">
                <a:pos x="connsiteX21307" y="connsiteY21307"/>
              </a:cxn>
              <a:cxn ang="0">
                <a:pos x="connsiteX21308" y="connsiteY21308"/>
              </a:cxn>
              <a:cxn ang="0">
                <a:pos x="connsiteX21309" y="connsiteY21309"/>
              </a:cxn>
              <a:cxn ang="0">
                <a:pos x="connsiteX21310" y="connsiteY21310"/>
              </a:cxn>
              <a:cxn ang="0">
                <a:pos x="connsiteX21311" y="connsiteY21311"/>
              </a:cxn>
              <a:cxn ang="0">
                <a:pos x="connsiteX21312" y="connsiteY21312"/>
              </a:cxn>
              <a:cxn ang="0">
                <a:pos x="connsiteX21313" y="connsiteY21313"/>
              </a:cxn>
              <a:cxn ang="0">
                <a:pos x="connsiteX21314" y="connsiteY21314"/>
              </a:cxn>
              <a:cxn ang="0">
                <a:pos x="connsiteX21315" y="connsiteY21315"/>
              </a:cxn>
              <a:cxn ang="0">
                <a:pos x="connsiteX21316" y="connsiteY21316"/>
              </a:cxn>
              <a:cxn ang="0">
                <a:pos x="connsiteX21317" y="connsiteY21317"/>
              </a:cxn>
              <a:cxn ang="0">
                <a:pos x="connsiteX21318" y="connsiteY21318"/>
              </a:cxn>
              <a:cxn ang="0">
                <a:pos x="connsiteX21319" y="connsiteY21319"/>
              </a:cxn>
              <a:cxn ang="0">
                <a:pos x="connsiteX21320" y="connsiteY21320"/>
              </a:cxn>
              <a:cxn ang="0">
                <a:pos x="connsiteX21321" y="connsiteY21321"/>
              </a:cxn>
              <a:cxn ang="0">
                <a:pos x="connsiteX21322" y="connsiteY21322"/>
              </a:cxn>
              <a:cxn ang="0">
                <a:pos x="connsiteX21323" y="connsiteY21323"/>
              </a:cxn>
              <a:cxn ang="0">
                <a:pos x="connsiteX21324" y="connsiteY21324"/>
              </a:cxn>
              <a:cxn ang="0">
                <a:pos x="connsiteX21325" y="connsiteY21325"/>
              </a:cxn>
              <a:cxn ang="0">
                <a:pos x="connsiteX21326" y="connsiteY21326"/>
              </a:cxn>
              <a:cxn ang="0">
                <a:pos x="connsiteX21327" y="connsiteY21327"/>
              </a:cxn>
              <a:cxn ang="0">
                <a:pos x="connsiteX21328" y="connsiteY21328"/>
              </a:cxn>
              <a:cxn ang="0">
                <a:pos x="connsiteX21329" y="connsiteY21329"/>
              </a:cxn>
              <a:cxn ang="0">
                <a:pos x="connsiteX21330" y="connsiteY21330"/>
              </a:cxn>
              <a:cxn ang="0">
                <a:pos x="connsiteX21331" y="connsiteY21331"/>
              </a:cxn>
              <a:cxn ang="0">
                <a:pos x="connsiteX21332" y="connsiteY21332"/>
              </a:cxn>
              <a:cxn ang="0">
                <a:pos x="connsiteX21333" y="connsiteY21333"/>
              </a:cxn>
              <a:cxn ang="0">
                <a:pos x="connsiteX21334" y="connsiteY21334"/>
              </a:cxn>
              <a:cxn ang="0">
                <a:pos x="connsiteX21335" y="connsiteY21335"/>
              </a:cxn>
              <a:cxn ang="0">
                <a:pos x="connsiteX21336" y="connsiteY21336"/>
              </a:cxn>
              <a:cxn ang="0">
                <a:pos x="connsiteX21337" y="connsiteY21337"/>
              </a:cxn>
              <a:cxn ang="0">
                <a:pos x="connsiteX21338" y="connsiteY21338"/>
              </a:cxn>
              <a:cxn ang="0">
                <a:pos x="connsiteX21339" y="connsiteY21339"/>
              </a:cxn>
              <a:cxn ang="0">
                <a:pos x="connsiteX21340" y="connsiteY21340"/>
              </a:cxn>
              <a:cxn ang="0">
                <a:pos x="connsiteX21341" y="connsiteY21341"/>
              </a:cxn>
              <a:cxn ang="0">
                <a:pos x="connsiteX21342" y="connsiteY21342"/>
              </a:cxn>
              <a:cxn ang="0">
                <a:pos x="connsiteX21343" y="connsiteY21343"/>
              </a:cxn>
              <a:cxn ang="0">
                <a:pos x="connsiteX21344" y="connsiteY21344"/>
              </a:cxn>
              <a:cxn ang="0">
                <a:pos x="connsiteX21345" y="connsiteY21345"/>
              </a:cxn>
              <a:cxn ang="0">
                <a:pos x="connsiteX21346" y="connsiteY21346"/>
              </a:cxn>
              <a:cxn ang="0">
                <a:pos x="connsiteX21347" y="connsiteY21347"/>
              </a:cxn>
              <a:cxn ang="0">
                <a:pos x="connsiteX21348" y="connsiteY21348"/>
              </a:cxn>
              <a:cxn ang="0">
                <a:pos x="connsiteX21349" y="connsiteY21349"/>
              </a:cxn>
              <a:cxn ang="0">
                <a:pos x="connsiteX21350" y="connsiteY21350"/>
              </a:cxn>
              <a:cxn ang="0">
                <a:pos x="connsiteX21351" y="connsiteY21351"/>
              </a:cxn>
              <a:cxn ang="0">
                <a:pos x="connsiteX21352" y="connsiteY21352"/>
              </a:cxn>
              <a:cxn ang="0">
                <a:pos x="connsiteX21353" y="connsiteY21353"/>
              </a:cxn>
              <a:cxn ang="0">
                <a:pos x="connsiteX21354" y="connsiteY21354"/>
              </a:cxn>
              <a:cxn ang="0">
                <a:pos x="connsiteX21355" y="connsiteY21355"/>
              </a:cxn>
              <a:cxn ang="0">
                <a:pos x="connsiteX21356" y="connsiteY21356"/>
              </a:cxn>
              <a:cxn ang="0">
                <a:pos x="connsiteX21357" y="connsiteY21357"/>
              </a:cxn>
              <a:cxn ang="0">
                <a:pos x="connsiteX21358" y="connsiteY21358"/>
              </a:cxn>
              <a:cxn ang="0">
                <a:pos x="connsiteX21359" y="connsiteY21359"/>
              </a:cxn>
              <a:cxn ang="0">
                <a:pos x="connsiteX21360" y="connsiteY21360"/>
              </a:cxn>
              <a:cxn ang="0">
                <a:pos x="connsiteX21361" y="connsiteY21361"/>
              </a:cxn>
              <a:cxn ang="0">
                <a:pos x="connsiteX21362" y="connsiteY21362"/>
              </a:cxn>
              <a:cxn ang="0">
                <a:pos x="connsiteX21363" y="connsiteY21363"/>
              </a:cxn>
              <a:cxn ang="0">
                <a:pos x="connsiteX21364" y="connsiteY21364"/>
              </a:cxn>
              <a:cxn ang="0">
                <a:pos x="connsiteX21365" y="connsiteY21365"/>
              </a:cxn>
              <a:cxn ang="0">
                <a:pos x="connsiteX21366" y="connsiteY21366"/>
              </a:cxn>
              <a:cxn ang="0">
                <a:pos x="connsiteX21367" y="connsiteY21367"/>
              </a:cxn>
              <a:cxn ang="0">
                <a:pos x="connsiteX21368" y="connsiteY21368"/>
              </a:cxn>
              <a:cxn ang="0">
                <a:pos x="connsiteX21369" y="connsiteY21369"/>
              </a:cxn>
              <a:cxn ang="0">
                <a:pos x="connsiteX21370" y="connsiteY21370"/>
              </a:cxn>
              <a:cxn ang="0">
                <a:pos x="connsiteX21371" y="connsiteY21371"/>
              </a:cxn>
              <a:cxn ang="0">
                <a:pos x="connsiteX21372" y="connsiteY21372"/>
              </a:cxn>
              <a:cxn ang="0">
                <a:pos x="connsiteX21373" y="connsiteY21373"/>
              </a:cxn>
              <a:cxn ang="0">
                <a:pos x="connsiteX21374" y="connsiteY21374"/>
              </a:cxn>
              <a:cxn ang="0">
                <a:pos x="connsiteX21375" y="connsiteY21375"/>
              </a:cxn>
              <a:cxn ang="0">
                <a:pos x="connsiteX21376" y="connsiteY21376"/>
              </a:cxn>
              <a:cxn ang="0">
                <a:pos x="connsiteX21377" y="connsiteY21377"/>
              </a:cxn>
              <a:cxn ang="0">
                <a:pos x="connsiteX21378" y="connsiteY21378"/>
              </a:cxn>
              <a:cxn ang="0">
                <a:pos x="connsiteX21379" y="connsiteY21379"/>
              </a:cxn>
              <a:cxn ang="0">
                <a:pos x="connsiteX21380" y="connsiteY21380"/>
              </a:cxn>
              <a:cxn ang="0">
                <a:pos x="connsiteX21381" y="connsiteY21381"/>
              </a:cxn>
              <a:cxn ang="0">
                <a:pos x="connsiteX21382" y="connsiteY21382"/>
              </a:cxn>
              <a:cxn ang="0">
                <a:pos x="connsiteX21383" y="connsiteY21383"/>
              </a:cxn>
              <a:cxn ang="0">
                <a:pos x="connsiteX21384" y="connsiteY21384"/>
              </a:cxn>
              <a:cxn ang="0">
                <a:pos x="connsiteX21385" y="connsiteY21385"/>
              </a:cxn>
              <a:cxn ang="0">
                <a:pos x="connsiteX21386" y="connsiteY21386"/>
              </a:cxn>
              <a:cxn ang="0">
                <a:pos x="connsiteX21387" y="connsiteY21387"/>
              </a:cxn>
              <a:cxn ang="0">
                <a:pos x="connsiteX21388" y="connsiteY21388"/>
              </a:cxn>
              <a:cxn ang="0">
                <a:pos x="connsiteX21389" y="connsiteY21389"/>
              </a:cxn>
              <a:cxn ang="0">
                <a:pos x="connsiteX21390" y="connsiteY21390"/>
              </a:cxn>
              <a:cxn ang="0">
                <a:pos x="connsiteX21391" y="connsiteY21391"/>
              </a:cxn>
              <a:cxn ang="0">
                <a:pos x="connsiteX21392" y="connsiteY21392"/>
              </a:cxn>
              <a:cxn ang="0">
                <a:pos x="connsiteX21393" y="connsiteY21393"/>
              </a:cxn>
              <a:cxn ang="0">
                <a:pos x="connsiteX21394" y="connsiteY21394"/>
              </a:cxn>
              <a:cxn ang="0">
                <a:pos x="connsiteX21395" y="connsiteY21395"/>
              </a:cxn>
              <a:cxn ang="0">
                <a:pos x="connsiteX21396" y="connsiteY21396"/>
              </a:cxn>
              <a:cxn ang="0">
                <a:pos x="connsiteX21397" y="connsiteY21397"/>
              </a:cxn>
              <a:cxn ang="0">
                <a:pos x="connsiteX21398" y="connsiteY21398"/>
              </a:cxn>
              <a:cxn ang="0">
                <a:pos x="connsiteX21399" y="connsiteY21399"/>
              </a:cxn>
              <a:cxn ang="0">
                <a:pos x="connsiteX21400" y="connsiteY21400"/>
              </a:cxn>
              <a:cxn ang="0">
                <a:pos x="connsiteX21401" y="connsiteY21401"/>
              </a:cxn>
              <a:cxn ang="0">
                <a:pos x="connsiteX21402" y="connsiteY21402"/>
              </a:cxn>
              <a:cxn ang="0">
                <a:pos x="connsiteX21403" y="connsiteY21403"/>
              </a:cxn>
              <a:cxn ang="0">
                <a:pos x="connsiteX21404" y="connsiteY21404"/>
              </a:cxn>
              <a:cxn ang="0">
                <a:pos x="connsiteX21405" y="connsiteY21405"/>
              </a:cxn>
              <a:cxn ang="0">
                <a:pos x="connsiteX21406" y="connsiteY21406"/>
              </a:cxn>
              <a:cxn ang="0">
                <a:pos x="connsiteX21407" y="connsiteY21407"/>
              </a:cxn>
              <a:cxn ang="0">
                <a:pos x="connsiteX21408" y="connsiteY21408"/>
              </a:cxn>
              <a:cxn ang="0">
                <a:pos x="connsiteX21409" y="connsiteY21409"/>
              </a:cxn>
              <a:cxn ang="0">
                <a:pos x="connsiteX21410" y="connsiteY21410"/>
              </a:cxn>
              <a:cxn ang="0">
                <a:pos x="connsiteX21411" y="connsiteY21411"/>
              </a:cxn>
              <a:cxn ang="0">
                <a:pos x="connsiteX21412" y="connsiteY21412"/>
              </a:cxn>
              <a:cxn ang="0">
                <a:pos x="connsiteX21413" y="connsiteY21413"/>
              </a:cxn>
              <a:cxn ang="0">
                <a:pos x="connsiteX21414" y="connsiteY21414"/>
              </a:cxn>
              <a:cxn ang="0">
                <a:pos x="connsiteX21415" y="connsiteY21415"/>
              </a:cxn>
              <a:cxn ang="0">
                <a:pos x="connsiteX21416" y="connsiteY21416"/>
              </a:cxn>
              <a:cxn ang="0">
                <a:pos x="connsiteX21417" y="connsiteY21417"/>
              </a:cxn>
              <a:cxn ang="0">
                <a:pos x="connsiteX21418" y="connsiteY21418"/>
              </a:cxn>
              <a:cxn ang="0">
                <a:pos x="connsiteX21419" y="connsiteY21419"/>
              </a:cxn>
              <a:cxn ang="0">
                <a:pos x="connsiteX21420" y="connsiteY21420"/>
              </a:cxn>
              <a:cxn ang="0">
                <a:pos x="connsiteX21421" y="connsiteY21421"/>
              </a:cxn>
              <a:cxn ang="0">
                <a:pos x="connsiteX21422" y="connsiteY21422"/>
              </a:cxn>
              <a:cxn ang="0">
                <a:pos x="connsiteX21423" y="connsiteY21423"/>
              </a:cxn>
              <a:cxn ang="0">
                <a:pos x="connsiteX21424" y="connsiteY21424"/>
              </a:cxn>
              <a:cxn ang="0">
                <a:pos x="connsiteX21425" y="connsiteY21425"/>
              </a:cxn>
              <a:cxn ang="0">
                <a:pos x="connsiteX21426" y="connsiteY21426"/>
              </a:cxn>
              <a:cxn ang="0">
                <a:pos x="connsiteX21427" y="connsiteY21427"/>
              </a:cxn>
              <a:cxn ang="0">
                <a:pos x="connsiteX21428" y="connsiteY21428"/>
              </a:cxn>
              <a:cxn ang="0">
                <a:pos x="connsiteX21429" y="connsiteY21429"/>
              </a:cxn>
              <a:cxn ang="0">
                <a:pos x="connsiteX21430" y="connsiteY21430"/>
              </a:cxn>
              <a:cxn ang="0">
                <a:pos x="connsiteX21431" y="connsiteY21431"/>
              </a:cxn>
              <a:cxn ang="0">
                <a:pos x="connsiteX21432" y="connsiteY21432"/>
              </a:cxn>
              <a:cxn ang="0">
                <a:pos x="connsiteX21433" y="connsiteY21433"/>
              </a:cxn>
              <a:cxn ang="0">
                <a:pos x="connsiteX21434" y="connsiteY21434"/>
              </a:cxn>
              <a:cxn ang="0">
                <a:pos x="connsiteX21435" y="connsiteY21435"/>
              </a:cxn>
              <a:cxn ang="0">
                <a:pos x="connsiteX21436" y="connsiteY21436"/>
              </a:cxn>
              <a:cxn ang="0">
                <a:pos x="connsiteX21437" y="connsiteY21437"/>
              </a:cxn>
              <a:cxn ang="0">
                <a:pos x="connsiteX21438" y="connsiteY21438"/>
              </a:cxn>
              <a:cxn ang="0">
                <a:pos x="connsiteX21439" y="connsiteY21439"/>
              </a:cxn>
              <a:cxn ang="0">
                <a:pos x="connsiteX21440" y="connsiteY21440"/>
              </a:cxn>
              <a:cxn ang="0">
                <a:pos x="connsiteX21441" y="connsiteY21441"/>
              </a:cxn>
              <a:cxn ang="0">
                <a:pos x="connsiteX21442" y="connsiteY21442"/>
              </a:cxn>
              <a:cxn ang="0">
                <a:pos x="connsiteX21443" y="connsiteY21443"/>
              </a:cxn>
              <a:cxn ang="0">
                <a:pos x="connsiteX21444" y="connsiteY21444"/>
              </a:cxn>
              <a:cxn ang="0">
                <a:pos x="connsiteX21445" y="connsiteY21445"/>
              </a:cxn>
              <a:cxn ang="0">
                <a:pos x="connsiteX21446" y="connsiteY21446"/>
              </a:cxn>
              <a:cxn ang="0">
                <a:pos x="connsiteX21447" y="connsiteY21447"/>
              </a:cxn>
              <a:cxn ang="0">
                <a:pos x="connsiteX21448" y="connsiteY21448"/>
              </a:cxn>
              <a:cxn ang="0">
                <a:pos x="connsiteX21449" y="connsiteY21449"/>
              </a:cxn>
              <a:cxn ang="0">
                <a:pos x="connsiteX21450" y="connsiteY21450"/>
              </a:cxn>
              <a:cxn ang="0">
                <a:pos x="connsiteX21451" y="connsiteY21451"/>
              </a:cxn>
              <a:cxn ang="0">
                <a:pos x="connsiteX21452" y="connsiteY21452"/>
              </a:cxn>
              <a:cxn ang="0">
                <a:pos x="connsiteX21453" y="connsiteY21453"/>
              </a:cxn>
              <a:cxn ang="0">
                <a:pos x="connsiteX21454" y="connsiteY21454"/>
              </a:cxn>
              <a:cxn ang="0">
                <a:pos x="connsiteX21455" y="connsiteY21455"/>
              </a:cxn>
              <a:cxn ang="0">
                <a:pos x="connsiteX21456" y="connsiteY21456"/>
              </a:cxn>
              <a:cxn ang="0">
                <a:pos x="connsiteX21457" y="connsiteY21457"/>
              </a:cxn>
              <a:cxn ang="0">
                <a:pos x="connsiteX21458" y="connsiteY21458"/>
              </a:cxn>
              <a:cxn ang="0">
                <a:pos x="connsiteX21459" y="connsiteY21459"/>
              </a:cxn>
              <a:cxn ang="0">
                <a:pos x="connsiteX21460" y="connsiteY21460"/>
              </a:cxn>
              <a:cxn ang="0">
                <a:pos x="connsiteX21461" y="connsiteY21461"/>
              </a:cxn>
              <a:cxn ang="0">
                <a:pos x="connsiteX21462" y="connsiteY21462"/>
              </a:cxn>
              <a:cxn ang="0">
                <a:pos x="connsiteX21463" y="connsiteY21463"/>
              </a:cxn>
              <a:cxn ang="0">
                <a:pos x="connsiteX21464" y="connsiteY21464"/>
              </a:cxn>
              <a:cxn ang="0">
                <a:pos x="connsiteX21465" y="connsiteY21465"/>
              </a:cxn>
              <a:cxn ang="0">
                <a:pos x="connsiteX21466" y="connsiteY21466"/>
              </a:cxn>
              <a:cxn ang="0">
                <a:pos x="connsiteX21467" y="connsiteY21467"/>
              </a:cxn>
              <a:cxn ang="0">
                <a:pos x="connsiteX21468" y="connsiteY21468"/>
              </a:cxn>
              <a:cxn ang="0">
                <a:pos x="connsiteX21469" y="connsiteY21469"/>
              </a:cxn>
              <a:cxn ang="0">
                <a:pos x="connsiteX21470" y="connsiteY21470"/>
              </a:cxn>
              <a:cxn ang="0">
                <a:pos x="connsiteX21471" y="connsiteY21471"/>
              </a:cxn>
              <a:cxn ang="0">
                <a:pos x="connsiteX21472" y="connsiteY21472"/>
              </a:cxn>
              <a:cxn ang="0">
                <a:pos x="connsiteX21473" y="connsiteY21473"/>
              </a:cxn>
              <a:cxn ang="0">
                <a:pos x="connsiteX21474" y="connsiteY21474"/>
              </a:cxn>
              <a:cxn ang="0">
                <a:pos x="connsiteX21475" y="connsiteY21475"/>
              </a:cxn>
              <a:cxn ang="0">
                <a:pos x="connsiteX21476" y="connsiteY21476"/>
              </a:cxn>
              <a:cxn ang="0">
                <a:pos x="connsiteX21477" y="connsiteY21477"/>
              </a:cxn>
              <a:cxn ang="0">
                <a:pos x="connsiteX21478" y="connsiteY21478"/>
              </a:cxn>
              <a:cxn ang="0">
                <a:pos x="connsiteX21479" y="connsiteY21479"/>
              </a:cxn>
              <a:cxn ang="0">
                <a:pos x="connsiteX21480" y="connsiteY21480"/>
              </a:cxn>
              <a:cxn ang="0">
                <a:pos x="connsiteX21481" y="connsiteY21481"/>
              </a:cxn>
              <a:cxn ang="0">
                <a:pos x="connsiteX21482" y="connsiteY21482"/>
              </a:cxn>
              <a:cxn ang="0">
                <a:pos x="connsiteX21483" y="connsiteY21483"/>
              </a:cxn>
              <a:cxn ang="0">
                <a:pos x="connsiteX21484" y="connsiteY21484"/>
              </a:cxn>
              <a:cxn ang="0">
                <a:pos x="connsiteX21485" y="connsiteY21485"/>
              </a:cxn>
              <a:cxn ang="0">
                <a:pos x="connsiteX21486" y="connsiteY21486"/>
              </a:cxn>
              <a:cxn ang="0">
                <a:pos x="connsiteX21487" y="connsiteY21487"/>
              </a:cxn>
              <a:cxn ang="0">
                <a:pos x="connsiteX21488" y="connsiteY21488"/>
              </a:cxn>
              <a:cxn ang="0">
                <a:pos x="connsiteX21489" y="connsiteY21489"/>
              </a:cxn>
              <a:cxn ang="0">
                <a:pos x="connsiteX21490" y="connsiteY21490"/>
              </a:cxn>
              <a:cxn ang="0">
                <a:pos x="connsiteX21491" y="connsiteY21491"/>
              </a:cxn>
              <a:cxn ang="0">
                <a:pos x="connsiteX21492" y="connsiteY21492"/>
              </a:cxn>
              <a:cxn ang="0">
                <a:pos x="connsiteX21493" y="connsiteY21493"/>
              </a:cxn>
              <a:cxn ang="0">
                <a:pos x="connsiteX21494" y="connsiteY21494"/>
              </a:cxn>
              <a:cxn ang="0">
                <a:pos x="connsiteX21495" y="connsiteY21495"/>
              </a:cxn>
              <a:cxn ang="0">
                <a:pos x="connsiteX21496" y="connsiteY21496"/>
              </a:cxn>
              <a:cxn ang="0">
                <a:pos x="connsiteX21497" y="connsiteY21497"/>
              </a:cxn>
              <a:cxn ang="0">
                <a:pos x="connsiteX21498" y="connsiteY21498"/>
              </a:cxn>
              <a:cxn ang="0">
                <a:pos x="connsiteX21499" y="connsiteY21499"/>
              </a:cxn>
              <a:cxn ang="0">
                <a:pos x="connsiteX21500" y="connsiteY21500"/>
              </a:cxn>
              <a:cxn ang="0">
                <a:pos x="connsiteX21501" y="connsiteY21501"/>
              </a:cxn>
              <a:cxn ang="0">
                <a:pos x="connsiteX21502" y="connsiteY21502"/>
              </a:cxn>
              <a:cxn ang="0">
                <a:pos x="connsiteX21503" y="connsiteY21503"/>
              </a:cxn>
              <a:cxn ang="0">
                <a:pos x="connsiteX21504" y="connsiteY21504"/>
              </a:cxn>
              <a:cxn ang="0">
                <a:pos x="connsiteX21505" y="connsiteY21505"/>
              </a:cxn>
              <a:cxn ang="0">
                <a:pos x="connsiteX21506" y="connsiteY21506"/>
              </a:cxn>
              <a:cxn ang="0">
                <a:pos x="connsiteX21507" y="connsiteY21507"/>
              </a:cxn>
              <a:cxn ang="0">
                <a:pos x="connsiteX21508" y="connsiteY21508"/>
              </a:cxn>
              <a:cxn ang="0">
                <a:pos x="connsiteX21509" y="connsiteY21509"/>
              </a:cxn>
              <a:cxn ang="0">
                <a:pos x="connsiteX21510" y="connsiteY21510"/>
              </a:cxn>
              <a:cxn ang="0">
                <a:pos x="connsiteX21511" y="connsiteY21511"/>
              </a:cxn>
              <a:cxn ang="0">
                <a:pos x="connsiteX21512" y="connsiteY21512"/>
              </a:cxn>
              <a:cxn ang="0">
                <a:pos x="connsiteX21513" y="connsiteY21513"/>
              </a:cxn>
              <a:cxn ang="0">
                <a:pos x="connsiteX21514" y="connsiteY21514"/>
              </a:cxn>
              <a:cxn ang="0">
                <a:pos x="connsiteX21515" y="connsiteY21515"/>
              </a:cxn>
              <a:cxn ang="0">
                <a:pos x="connsiteX21516" y="connsiteY21516"/>
              </a:cxn>
              <a:cxn ang="0">
                <a:pos x="connsiteX21517" y="connsiteY21517"/>
              </a:cxn>
              <a:cxn ang="0">
                <a:pos x="connsiteX21518" y="connsiteY21518"/>
              </a:cxn>
              <a:cxn ang="0">
                <a:pos x="connsiteX21519" y="connsiteY21519"/>
              </a:cxn>
              <a:cxn ang="0">
                <a:pos x="connsiteX21520" y="connsiteY21520"/>
              </a:cxn>
              <a:cxn ang="0">
                <a:pos x="connsiteX21521" y="connsiteY21521"/>
              </a:cxn>
              <a:cxn ang="0">
                <a:pos x="connsiteX21522" y="connsiteY21522"/>
              </a:cxn>
              <a:cxn ang="0">
                <a:pos x="connsiteX21523" y="connsiteY21523"/>
              </a:cxn>
              <a:cxn ang="0">
                <a:pos x="connsiteX21524" y="connsiteY21524"/>
              </a:cxn>
              <a:cxn ang="0">
                <a:pos x="connsiteX21525" y="connsiteY21525"/>
              </a:cxn>
              <a:cxn ang="0">
                <a:pos x="connsiteX21526" y="connsiteY21526"/>
              </a:cxn>
              <a:cxn ang="0">
                <a:pos x="connsiteX21527" y="connsiteY21527"/>
              </a:cxn>
              <a:cxn ang="0">
                <a:pos x="connsiteX21528" y="connsiteY21528"/>
              </a:cxn>
              <a:cxn ang="0">
                <a:pos x="connsiteX21529" y="connsiteY21529"/>
              </a:cxn>
              <a:cxn ang="0">
                <a:pos x="connsiteX21530" y="connsiteY21530"/>
              </a:cxn>
              <a:cxn ang="0">
                <a:pos x="connsiteX21531" y="connsiteY21531"/>
              </a:cxn>
              <a:cxn ang="0">
                <a:pos x="connsiteX21532" y="connsiteY21532"/>
              </a:cxn>
              <a:cxn ang="0">
                <a:pos x="connsiteX21533" y="connsiteY21533"/>
              </a:cxn>
              <a:cxn ang="0">
                <a:pos x="connsiteX21534" y="connsiteY21534"/>
              </a:cxn>
              <a:cxn ang="0">
                <a:pos x="connsiteX21535" y="connsiteY21535"/>
              </a:cxn>
              <a:cxn ang="0">
                <a:pos x="connsiteX21536" y="connsiteY21536"/>
              </a:cxn>
              <a:cxn ang="0">
                <a:pos x="connsiteX21537" y="connsiteY21537"/>
              </a:cxn>
              <a:cxn ang="0">
                <a:pos x="connsiteX21538" y="connsiteY21538"/>
              </a:cxn>
              <a:cxn ang="0">
                <a:pos x="connsiteX21539" y="connsiteY21539"/>
              </a:cxn>
              <a:cxn ang="0">
                <a:pos x="connsiteX21540" y="connsiteY21540"/>
              </a:cxn>
              <a:cxn ang="0">
                <a:pos x="connsiteX21541" y="connsiteY21541"/>
              </a:cxn>
              <a:cxn ang="0">
                <a:pos x="connsiteX21542" y="connsiteY21542"/>
              </a:cxn>
              <a:cxn ang="0">
                <a:pos x="connsiteX21543" y="connsiteY21543"/>
              </a:cxn>
              <a:cxn ang="0">
                <a:pos x="connsiteX21544" y="connsiteY21544"/>
              </a:cxn>
              <a:cxn ang="0">
                <a:pos x="connsiteX21545" y="connsiteY21545"/>
              </a:cxn>
              <a:cxn ang="0">
                <a:pos x="connsiteX21546" y="connsiteY21546"/>
              </a:cxn>
              <a:cxn ang="0">
                <a:pos x="connsiteX21547" y="connsiteY21547"/>
              </a:cxn>
              <a:cxn ang="0">
                <a:pos x="connsiteX21548" y="connsiteY21548"/>
              </a:cxn>
              <a:cxn ang="0">
                <a:pos x="connsiteX21549" y="connsiteY21549"/>
              </a:cxn>
              <a:cxn ang="0">
                <a:pos x="connsiteX21550" y="connsiteY21550"/>
              </a:cxn>
              <a:cxn ang="0">
                <a:pos x="connsiteX21551" y="connsiteY21551"/>
              </a:cxn>
              <a:cxn ang="0">
                <a:pos x="connsiteX21552" y="connsiteY21552"/>
              </a:cxn>
              <a:cxn ang="0">
                <a:pos x="connsiteX21553" y="connsiteY21553"/>
              </a:cxn>
              <a:cxn ang="0">
                <a:pos x="connsiteX21554" y="connsiteY21554"/>
              </a:cxn>
              <a:cxn ang="0">
                <a:pos x="connsiteX21555" y="connsiteY21555"/>
              </a:cxn>
              <a:cxn ang="0">
                <a:pos x="connsiteX21556" y="connsiteY21556"/>
              </a:cxn>
              <a:cxn ang="0">
                <a:pos x="connsiteX21557" y="connsiteY21557"/>
              </a:cxn>
              <a:cxn ang="0">
                <a:pos x="connsiteX21558" y="connsiteY21558"/>
              </a:cxn>
              <a:cxn ang="0">
                <a:pos x="connsiteX21559" y="connsiteY21559"/>
              </a:cxn>
              <a:cxn ang="0">
                <a:pos x="connsiteX21560" y="connsiteY21560"/>
              </a:cxn>
              <a:cxn ang="0">
                <a:pos x="connsiteX21561" y="connsiteY21561"/>
              </a:cxn>
              <a:cxn ang="0">
                <a:pos x="connsiteX21562" y="connsiteY21562"/>
              </a:cxn>
              <a:cxn ang="0">
                <a:pos x="connsiteX21563" y="connsiteY21563"/>
              </a:cxn>
              <a:cxn ang="0">
                <a:pos x="connsiteX21564" y="connsiteY21564"/>
              </a:cxn>
              <a:cxn ang="0">
                <a:pos x="connsiteX21565" y="connsiteY21565"/>
              </a:cxn>
              <a:cxn ang="0">
                <a:pos x="connsiteX21566" y="connsiteY21566"/>
              </a:cxn>
              <a:cxn ang="0">
                <a:pos x="connsiteX21567" y="connsiteY21567"/>
              </a:cxn>
              <a:cxn ang="0">
                <a:pos x="connsiteX21568" y="connsiteY21568"/>
              </a:cxn>
              <a:cxn ang="0">
                <a:pos x="connsiteX21569" y="connsiteY21569"/>
              </a:cxn>
              <a:cxn ang="0">
                <a:pos x="connsiteX21570" y="connsiteY21570"/>
              </a:cxn>
              <a:cxn ang="0">
                <a:pos x="connsiteX21571" y="connsiteY21571"/>
              </a:cxn>
              <a:cxn ang="0">
                <a:pos x="connsiteX21572" y="connsiteY21572"/>
              </a:cxn>
              <a:cxn ang="0">
                <a:pos x="connsiteX21573" y="connsiteY21573"/>
              </a:cxn>
              <a:cxn ang="0">
                <a:pos x="connsiteX21574" y="connsiteY21574"/>
              </a:cxn>
              <a:cxn ang="0">
                <a:pos x="connsiteX21575" y="connsiteY21575"/>
              </a:cxn>
              <a:cxn ang="0">
                <a:pos x="connsiteX21576" y="connsiteY21576"/>
              </a:cxn>
              <a:cxn ang="0">
                <a:pos x="connsiteX21577" y="connsiteY21577"/>
              </a:cxn>
              <a:cxn ang="0">
                <a:pos x="connsiteX21578" y="connsiteY21578"/>
              </a:cxn>
              <a:cxn ang="0">
                <a:pos x="connsiteX21579" y="connsiteY21579"/>
              </a:cxn>
              <a:cxn ang="0">
                <a:pos x="connsiteX21580" y="connsiteY21580"/>
              </a:cxn>
              <a:cxn ang="0">
                <a:pos x="connsiteX21581" y="connsiteY21581"/>
              </a:cxn>
              <a:cxn ang="0">
                <a:pos x="connsiteX21582" y="connsiteY21582"/>
              </a:cxn>
              <a:cxn ang="0">
                <a:pos x="connsiteX21583" y="connsiteY21583"/>
              </a:cxn>
              <a:cxn ang="0">
                <a:pos x="connsiteX21584" y="connsiteY21584"/>
              </a:cxn>
              <a:cxn ang="0">
                <a:pos x="connsiteX21585" y="connsiteY21585"/>
              </a:cxn>
              <a:cxn ang="0">
                <a:pos x="connsiteX21586" y="connsiteY21586"/>
              </a:cxn>
              <a:cxn ang="0">
                <a:pos x="connsiteX21587" y="connsiteY21587"/>
              </a:cxn>
              <a:cxn ang="0">
                <a:pos x="connsiteX21588" y="connsiteY21588"/>
              </a:cxn>
              <a:cxn ang="0">
                <a:pos x="connsiteX21589" y="connsiteY21589"/>
              </a:cxn>
              <a:cxn ang="0">
                <a:pos x="connsiteX21590" y="connsiteY21590"/>
              </a:cxn>
              <a:cxn ang="0">
                <a:pos x="connsiteX21591" y="connsiteY21591"/>
              </a:cxn>
              <a:cxn ang="0">
                <a:pos x="connsiteX21592" y="connsiteY21592"/>
              </a:cxn>
              <a:cxn ang="0">
                <a:pos x="connsiteX21593" y="connsiteY21593"/>
              </a:cxn>
              <a:cxn ang="0">
                <a:pos x="connsiteX21594" y="connsiteY21594"/>
              </a:cxn>
              <a:cxn ang="0">
                <a:pos x="connsiteX21595" y="connsiteY21595"/>
              </a:cxn>
              <a:cxn ang="0">
                <a:pos x="connsiteX21596" y="connsiteY21596"/>
              </a:cxn>
              <a:cxn ang="0">
                <a:pos x="connsiteX21597" y="connsiteY21597"/>
              </a:cxn>
              <a:cxn ang="0">
                <a:pos x="connsiteX21598" y="connsiteY21598"/>
              </a:cxn>
              <a:cxn ang="0">
                <a:pos x="connsiteX21599" y="connsiteY21599"/>
              </a:cxn>
              <a:cxn ang="0">
                <a:pos x="connsiteX21600" y="connsiteY21600"/>
              </a:cxn>
              <a:cxn ang="0">
                <a:pos x="connsiteX21601" y="connsiteY21601"/>
              </a:cxn>
              <a:cxn ang="0">
                <a:pos x="connsiteX21602" y="connsiteY21602"/>
              </a:cxn>
              <a:cxn ang="0">
                <a:pos x="connsiteX21603" y="connsiteY21603"/>
              </a:cxn>
              <a:cxn ang="0">
                <a:pos x="connsiteX21604" y="connsiteY21604"/>
              </a:cxn>
              <a:cxn ang="0">
                <a:pos x="connsiteX21605" y="connsiteY21605"/>
              </a:cxn>
              <a:cxn ang="0">
                <a:pos x="connsiteX21606" y="connsiteY21606"/>
              </a:cxn>
              <a:cxn ang="0">
                <a:pos x="connsiteX21607" y="connsiteY21607"/>
              </a:cxn>
              <a:cxn ang="0">
                <a:pos x="connsiteX21608" y="connsiteY21608"/>
              </a:cxn>
              <a:cxn ang="0">
                <a:pos x="connsiteX21609" y="connsiteY21609"/>
              </a:cxn>
              <a:cxn ang="0">
                <a:pos x="connsiteX21610" y="connsiteY21610"/>
              </a:cxn>
              <a:cxn ang="0">
                <a:pos x="connsiteX21611" y="connsiteY21611"/>
              </a:cxn>
              <a:cxn ang="0">
                <a:pos x="connsiteX21612" y="connsiteY21612"/>
              </a:cxn>
              <a:cxn ang="0">
                <a:pos x="connsiteX21613" y="connsiteY21613"/>
              </a:cxn>
              <a:cxn ang="0">
                <a:pos x="connsiteX21614" y="connsiteY21614"/>
              </a:cxn>
              <a:cxn ang="0">
                <a:pos x="connsiteX21615" y="connsiteY21615"/>
              </a:cxn>
              <a:cxn ang="0">
                <a:pos x="connsiteX21616" y="connsiteY21616"/>
              </a:cxn>
              <a:cxn ang="0">
                <a:pos x="connsiteX21617" y="connsiteY21617"/>
              </a:cxn>
              <a:cxn ang="0">
                <a:pos x="connsiteX21618" y="connsiteY21618"/>
              </a:cxn>
              <a:cxn ang="0">
                <a:pos x="connsiteX21619" y="connsiteY21619"/>
              </a:cxn>
              <a:cxn ang="0">
                <a:pos x="connsiteX21620" y="connsiteY21620"/>
              </a:cxn>
              <a:cxn ang="0">
                <a:pos x="connsiteX21621" y="connsiteY21621"/>
              </a:cxn>
              <a:cxn ang="0">
                <a:pos x="connsiteX21622" y="connsiteY21622"/>
              </a:cxn>
              <a:cxn ang="0">
                <a:pos x="connsiteX21623" y="connsiteY21623"/>
              </a:cxn>
              <a:cxn ang="0">
                <a:pos x="connsiteX21624" y="connsiteY21624"/>
              </a:cxn>
              <a:cxn ang="0">
                <a:pos x="connsiteX21625" y="connsiteY21625"/>
              </a:cxn>
              <a:cxn ang="0">
                <a:pos x="connsiteX21626" y="connsiteY21626"/>
              </a:cxn>
              <a:cxn ang="0">
                <a:pos x="connsiteX21627" y="connsiteY21627"/>
              </a:cxn>
              <a:cxn ang="0">
                <a:pos x="connsiteX21628" y="connsiteY21628"/>
              </a:cxn>
              <a:cxn ang="0">
                <a:pos x="connsiteX21629" y="connsiteY21629"/>
              </a:cxn>
              <a:cxn ang="0">
                <a:pos x="connsiteX21630" y="connsiteY21630"/>
              </a:cxn>
              <a:cxn ang="0">
                <a:pos x="connsiteX21631" y="connsiteY21631"/>
              </a:cxn>
              <a:cxn ang="0">
                <a:pos x="connsiteX21632" y="connsiteY21632"/>
              </a:cxn>
              <a:cxn ang="0">
                <a:pos x="connsiteX21633" y="connsiteY21633"/>
              </a:cxn>
              <a:cxn ang="0">
                <a:pos x="connsiteX21634" y="connsiteY21634"/>
              </a:cxn>
              <a:cxn ang="0">
                <a:pos x="connsiteX21635" y="connsiteY21635"/>
              </a:cxn>
              <a:cxn ang="0">
                <a:pos x="connsiteX21636" y="connsiteY21636"/>
              </a:cxn>
              <a:cxn ang="0">
                <a:pos x="connsiteX21637" y="connsiteY21637"/>
              </a:cxn>
              <a:cxn ang="0">
                <a:pos x="connsiteX21638" y="connsiteY21638"/>
              </a:cxn>
              <a:cxn ang="0">
                <a:pos x="connsiteX21639" y="connsiteY21639"/>
              </a:cxn>
              <a:cxn ang="0">
                <a:pos x="connsiteX21640" y="connsiteY21640"/>
              </a:cxn>
              <a:cxn ang="0">
                <a:pos x="connsiteX21641" y="connsiteY21641"/>
              </a:cxn>
              <a:cxn ang="0">
                <a:pos x="connsiteX21642" y="connsiteY21642"/>
              </a:cxn>
              <a:cxn ang="0">
                <a:pos x="connsiteX21643" y="connsiteY21643"/>
              </a:cxn>
              <a:cxn ang="0">
                <a:pos x="connsiteX21644" y="connsiteY21644"/>
              </a:cxn>
              <a:cxn ang="0">
                <a:pos x="connsiteX21645" y="connsiteY21645"/>
              </a:cxn>
              <a:cxn ang="0">
                <a:pos x="connsiteX21646" y="connsiteY21646"/>
              </a:cxn>
              <a:cxn ang="0">
                <a:pos x="connsiteX21647" y="connsiteY21647"/>
              </a:cxn>
              <a:cxn ang="0">
                <a:pos x="connsiteX21648" y="connsiteY21648"/>
              </a:cxn>
              <a:cxn ang="0">
                <a:pos x="connsiteX21649" y="connsiteY21649"/>
              </a:cxn>
              <a:cxn ang="0">
                <a:pos x="connsiteX21650" y="connsiteY21650"/>
              </a:cxn>
              <a:cxn ang="0">
                <a:pos x="connsiteX21651" y="connsiteY21651"/>
              </a:cxn>
              <a:cxn ang="0">
                <a:pos x="connsiteX21652" y="connsiteY21652"/>
              </a:cxn>
              <a:cxn ang="0">
                <a:pos x="connsiteX21653" y="connsiteY21653"/>
              </a:cxn>
              <a:cxn ang="0">
                <a:pos x="connsiteX21654" y="connsiteY21654"/>
              </a:cxn>
              <a:cxn ang="0">
                <a:pos x="connsiteX21655" y="connsiteY21655"/>
              </a:cxn>
              <a:cxn ang="0">
                <a:pos x="connsiteX21656" y="connsiteY21656"/>
              </a:cxn>
              <a:cxn ang="0">
                <a:pos x="connsiteX21657" y="connsiteY21657"/>
              </a:cxn>
              <a:cxn ang="0">
                <a:pos x="connsiteX21658" y="connsiteY21658"/>
              </a:cxn>
              <a:cxn ang="0">
                <a:pos x="connsiteX21659" y="connsiteY21659"/>
              </a:cxn>
              <a:cxn ang="0">
                <a:pos x="connsiteX21660" y="connsiteY21660"/>
              </a:cxn>
              <a:cxn ang="0">
                <a:pos x="connsiteX21661" y="connsiteY21661"/>
              </a:cxn>
              <a:cxn ang="0">
                <a:pos x="connsiteX21662" y="connsiteY21662"/>
              </a:cxn>
              <a:cxn ang="0">
                <a:pos x="connsiteX21663" y="connsiteY21663"/>
              </a:cxn>
              <a:cxn ang="0">
                <a:pos x="connsiteX21664" y="connsiteY21664"/>
              </a:cxn>
              <a:cxn ang="0">
                <a:pos x="connsiteX21665" y="connsiteY21665"/>
              </a:cxn>
              <a:cxn ang="0">
                <a:pos x="connsiteX21666" y="connsiteY21666"/>
              </a:cxn>
              <a:cxn ang="0">
                <a:pos x="connsiteX21667" y="connsiteY21667"/>
              </a:cxn>
              <a:cxn ang="0">
                <a:pos x="connsiteX21668" y="connsiteY21668"/>
              </a:cxn>
              <a:cxn ang="0">
                <a:pos x="connsiteX21669" y="connsiteY21669"/>
              </a:cxn>
              <a:cxn ang="0">
                <a:pos x="connsiteX21670" y="connsiteY21670"/>
              </a:cxn>
              <a:cxn ang="0">
                <a:pos x="connsiteX21671" y="connsiteY21671"/>
              </a:cxn>
              <a:cxn ang="0">
                <a:pos x="connsiteX21672" y="connsiteY21672"/>
              </a:cxn>
              <a:cxn ang="0">
                <a:pos x="connsiteX21673" y="connsiteY21673"/>
              </a:cxn>
              <a:cxn ang="0">
                <a:pos x="connsiteX21674" y="connsiteY21674"/>
              </a:cxn>
              <a:cxn ang="0">
                <a:pos x="connsiteX21675" y="connsiteY21675"/>
              </a:cxn>
              <a:cxn ang="0">
                <a:pos x="connsiteX21676" y="connsiteY21676"/>
              </a:cxn>
              <a:cxn ang="0">
                <a:pos x="connsiteX21677" y="connsiteY21677"/>
              </a:cxn>
              <a:cxn ang="0">
                <a:pos x="connsiteX21678" y="connsiteY21678"/>
              </a:cxn>
              <a:cxn ang="0">
                <a:pos x="connsiteX21679" y="connsiteY21679"/>
              </a:cxn>
              <a:cxn ang="0">
                <a:pos x="connsiteX21680" y="connsiteY21680"/>
              </a:cxn>
              <a:cxn ang="0">
                <a:pos x="connsiteX21681" y="connsiteY21681"/>
              </a:cxn>
              <a:cxn ang="0">
                <a:pos x="connsiteX21682" y="connsiteY21682"/>
              </a:cxn>
              <a:cxn ang="0">
                <a:pos x="connsiteX21683" y="connsiteY21683"/>
              </a:cxn>
              <a:cxn ang="0">
                <a:pos x="connsiteX21684" y="connsiteY21684"/>
              </a:cxn>
              <a:cxn ang="0">
                <a:pos x="connsiteX21685" y="connsiteY21685"/>
              </a:cxn>
              <a:cxn ang="0">
                <a:pos x="connsiteX21686" y="connsiteY21686"/>
              </a:cxn>
              <a:cxn ang="0">
                <a:pos x="connsiteX21687" y="connsiteY21687"/>
              </a:cxn>
              <a:cxn ang="0">
                <a:pos x="connsiteX21688" y="connsiteY21688"/>
              </a:cxn>
              <a:cxn ang="0">
                <a:pos x="connsiteX21689" y="connsiteY21689"/>
              </a:cxn>
              <a:cxn ang="0">
                <a:pos x="connsiteX21690" y="connsiteY21690"/>
              </a:cxn>
              <a:cxn ang="0">
                <a:pos x="connsiteX21691" y="connsiteY21691"/>
              </a:cxn>
              <a:cxn ang="0">
                <a:pos x="connsiteX21692" y="connsiteY21692"/>
              </a:cxn>
              <a:cxn ang="0">
                <a:pos x="connsiteX21693" y="connsiteY21693"/>
              </a:cxn>
              <a:cxn ang="0">
                <a:pos x="connsiteX21694" y="connsiteY21694"/>
              </a:cxn>
              <a:cxn ang="0">
                <a:pos x="connsiteX21695" y="connsiteY21695"/>
              </a:cxn>
              <a:cxn ang="0">
                <a:pos x="connsiteX21696" y="connsiteY21696"/>
              </a:cxn>
              <a:cxn ang="0">
                <a:pos x="connsiteX21697" y="connsiteY21697"/>
              </a:cxn>
              <a:cxn ang="0">
                <a:pos x="connsiteX21698" y="connsiteY21698"/>
              </a:cxn>
              <a:cxn ang="0">
                <a:pos x="connsiteX21699" y="connsiteY21699"/>
              </a:cxn>
              <a:cxn ang="0">
                <a:pos x="connsiteX21700" y="connsiteY21700"/>
              </a:cxn>
              <a:cxn ang="0">
                <a:pos x="connsiteX21701" y="connsiteY21701"/>
              </a:cxn>
              <a:cxn ang="0">
                <a:pos x="connsiteX21702" y="connsiteY21702"/>
              </a:cxn>
              <a:cxn ang="0">
                <a:pos x="connsiteX21703" y="connsiteY21703"/>
              </a:cxn>
              <a:cxn ang="0">
                <a:pos x="connsiteX21704" y="connsiteY21704"/>
              </a:cxn>
              <a:cxn ang="0">
                <a:pos x="connsiteX21705" y="connsiteY21705"/>
              </a:cxn>
              <a:cxn ang="0">
                <a:pos x="connsiteX21706" y="connsiteY21706"/>
              </a:cxn>
              <a:cxn ang="0">
                <a:pos x="connsiteX21707" y="connsiteY21707"/>
              </a:cxn>
              <a:cxn ang="0">
                <a:pos x="connsiteX21708" y="connsiteY21708"/>
              </a:cxn>
              <a:cxn ang="0">
                <a:pos x="connsiteX21709" y="connsiteY21709"/>
              </a:cxn>
              <a:cxn ang="0">
                <a:pos x="connsiteX21710" y="connsiteY21710"/>
              </a:cxn>
              <a:cxn ang="0">
                <a:pos x="connsiteX21711" y="connsiteY21711"/>
              </a:cxn>
              <a:cxn ang="0">
                <a:pos x="connsiteX21712" y="connsiteY21712"/>
              </a:cxn>
              <a:cxn ang="0">
                <a:pos x="connsiteX21713" y="connsiteY21713"/>
              </a:cxn>
              <a:cxn ang="0">
                <a:pos x="connsiteX21714" y="connsiteY21714"/>
              </a:cxn>
              <a:cxn ang="0">
                <a:pos x="connsiteX21715" y="connsiteY21715"/>
              </a:cxn>
              <a:cxn ang="0">
                <a:pos x="connsiteX21716" y="connsiteY21716"/>
              </a:cxn>
              <a:cxn ang="0">
                <a:pos x="connsiteX21717" y="connsiteY21717"/>
              </a:cxn>
              <a:cxn ang="0">
                <a:pos x="connsiteX21718" y="connsiteY21718"/>
              </a:cxn>
              <a:cxn ang="0">
                <a:pos x="connsiteX21719" y="connsiteY21719"/>
              </a:cxn>
              <a:cxn ang="0">
                <a:pos x="connsiteX21720" y="connsiteY21720"/>
              </a:cxn>
              <a:cxn ang="0">
                <a:pos x="connsiteX21721" y="connsiteY21721"/>
              </a:cxn>
              <a:cxn ang="0">
                <a:pos x="connsiteX21722" y="connsiteY21722"/>
              </a:cxn>
              <a:cxn ang="0">
                <a:pos x="connsiteX21723" y="connsiteY21723"/>
              </a:cxn>
              <a:cxn ang="0">
                <a:pos x="connsiteX21724" y="connsiteY21724"/>
              </a:cxn>
              <a:cxn ang="0">
                <a:pos x="connsiteX21725" y="connsiteY21725"/>
              </a:cxn>
              <a:cxn ang="0">
                <a:pos x="connsiteX21726" y="connsiteY21726"/>
              </a:cxn>
              <a:cxn ang="0">
                <a:pos x="connsiteX21727" y="connsiteY21727"/>
              </a:cxn>
              <a:cxn ang="0">
                <a:pos x="connsiteX21728" y="connsiteY21728"/>
              </a:cxn>
              <a:cxn ang="0">
                <a:pos x="connsiteX21729" y="connsiteY21729"/>
              </a:cxn>
              <a:cxn ang="0">
                <a:pos x="connsiteX21730" y="connsiteY21730"/>
              </a:cxn>
              <a:cxn ang="0">
                <a:pos x="connsiteX21731" y="connsiteY21731"/>
              </a:cxn>
              <a:cxn ang="0">
                <a:pos x="connsiteX21732" y="connsiteY21732"/>
              </a:cxn>
              <a:cxn ang="0">
                <a:pos x="connsiteX21733" y="connsiteY21733"/>
              </a:cxn>
              <a:cxn ang="0">
                <a:pos x="connsiteX21734" y="connsiteY21734"/>
              </a:cxn>
              <a:cxn ang="0">
                <a:pos x="connsiteX21735" y="connsiteY21735"/>
              </a:cxn>
              <a:cxn ang="0">
                <a:pos x="connsiteX21736" y="connsiteY21736"/>
              </a:cxn>
              <a:cxn ang="0">
                <a:pos x="connsiteX21737" y="connsiteY21737"/>
              </a:cxn>
              <a:cxn ang="0">
                <a:pos x="connsiteX21738" y="connsiteY21738"/>
              </a:cxn>
              <a:cxn ang="0">
                <a:pos x="connsiteX21739" y="connsiteY21739"/>
              </a:cxn>
              <a:cxn ang="0">
                <a:pos x="connsiteX21740" y="connsiteY21740"/>
              </a:cxn>
              <a:cxn ang="0">
                <a:pos x="connsiteX21741" y="connsiteY21741"/>
              </a:cxn>
              <a:cxn ang="0">
                <a:pos x="connsiteX21742" y="connsiteY21742"/>
              </a:cxn>
              <a:cxn ang="0">
                <a:pos x="connsiteX21743" y="connsiteY21743"/>
              </a:cxn>
              <a:cxn ang="0">
                <a:pos x="connsiteX21744" y="connsiteY21744"/>
              </a:cxn>
              <a:cxn ang="0">
                <a:pos x="connsiteX21745" y="connsiteY21745"/>
              </a:cxn>
              <a:cxn ang="0">
                <a:pos x="connsiteX21746" y="connsiteY21746"/>
              </a:cxn>
              <a:cxn ang="0">
                <a:pos x="connsiteX21747" y="connsiteY21747"/>
              </a:cxn>
              <a:cxn ang="0">
                <a:pos x="connsiteX21748" y="connsiteY21748"/>
              </a:cxn>
              <a:cxn ang="0">
                <a:pos x="connsiteX21749" y="connsiteY21749"/>
              </a:cxn>
              <a:cxn ang="0">
                <a:pos x="connsiteX21750" y="connsiteY21750"/>
              </a:cxn>
              <a:cxn ang="0">
                <a:pos x="connsiteX21751" y="connsiteY21751"/>
              </a:cxn>
              <a:cxn ang="0">
                <a:pos x="connsiteX21752" y="connsiteY21752"/>
              </a:cxn>
              <a:cxn ang="0">
                <a:pos x="connsiteX21753" y="connsiteY21753"/>
              </a:cxn>
              <a:cxn ang="0">
                <a:pos x="connsiteX21754" y="connsiteY21754"/>
              </a:cxn>
              <a:cxn ang="0">
                <a:pos x="connsiteX21755" y="connsiteY21755"/>
              </a:cxn>
              <a:cxn ang="0">
                <a:pos x="connsiteX21756" y="connsiteY21756"/>
              </a:cxn>
              <a:cxn ang="0">
                <a:pos x="connsiteX21757" y="connsiteY21757"/>
              </a:cxn>
              <a:cxn ang="0">
                <a:pos x="connsiteX21758" y="connsiteY21758"/>
              </a:cxn>
              <a:cxn ang="0">
                <a:pos x="connsiteX21759" y="connsiteY21759"/>
              </a:cxn>
              <a:cxn ang="0">
                <a:pos x="connsiteX21760" y="connsiteY21760"/>
              </a:cxn>
              <a:cxn ang="0">
                <a:pos x="connsiteX21761" y="connsiteY21761"/>
              </a:cxn>
              <a:cxn ang="0">
                <a:pos x="connsiteX21762" y="connsiteY21762"/>
              </a:cxn>
              <a:cxn ang="0">
                <a:pos x="connsiteX21763" y="connsiteY21763"/>
              </a:cxn>
              <a:cxn ang="0">
                <a:pos x="connsiteX21764" y="connsiteY21764"/>
              </a:cxn>
              <a:cxn ang="0">
                <a:pos x="connsiteX21765" y="connsiteY21765"/>
              </a:cxn>
              <a:cxn ang="0">
                <a:pos x="connsiteX21766" y="connsiteY21766"/>
              </a:cxn>
              <a:cxn ang="0">
                <a:pos x="connsiteX21767" y="connsiteY21767"/>
              </a:cxn>
              <a:cxn ang="0">
                <a:pos x="connsiteX21768" y="connsiteY21768"/>
              </a:cxn>
              <a:cxn ang="0">
                <a:pos x="connsiteX21769" y="connsiteY21769"/>
              </a:cxn>
              <a:cxn ang="0">
                <a:pos x="connsiteX21770" y="connsiteY21770"/>
              </a:cxn>
              <a:cxn ang="0">
                <a:pos x="connsiteX21771" y="connsiteY21771"/>
              </a:cxn>
              <a:cxn ang="0">
                <a:pos x="connsiteX21772" y="connsiteY21772"/>
              </a:cxn>
              <a:cxn ang="0">
                <a:pos x="connsiteX21773" y="connsiteY21773"/>
              </a:cxn>
              <a:cxn ang="0">
                <a:pos x="connsiteX21774" y="connsiteY21774"/>
              </a:cxn>
              <a:cxn ang="0">
                <a:pos x="connsiteX21775" y="connsiteY21775"/>
              </a:cxn>
              <a:cxn ang="0">
                <a:pos x="connsiteX21776" y="connsiteY21776"/>
              </a:cxn>
              <a:cxn ang="0">
                <a:pos x="connsiteX21777" y="connsiteY21777"/>
              </a:cxn>
              <a:cxn ang="0">
                <a:pos x="connsiteX21778" y="connsiteY21778"/>
              </a:cxn>
              <a:cxn ang="0">
                <a:pos x="connsiteX21779" y="connsiteY21779"/>
              </a:cxn>
              <a:cxn ang="0">
                <a:pos x="connsiteX21780" y="connsiteY21780"/>
              </a:cxn>
              <a:cxn ang="0">
                <a:pos x="connsiteX21781" y="connsiteY21781"/>
              </a:cxn>
              <a:cxn ang="0">
                <a:pos x="connsiteX21782" y="connsiteY21782"/>
              </a:cxn>
              <a:cxn ang="0">
                <a:pos x="connsiteX21783" y="connsiteY21783"/>
              </a:cxn>
              <a:cxn ang="0">
                <a:pos x="connsiteX21784" y="connsiteY21784"/>
              </a:cxn>
              <a:cxn ang="0">
                <a:pos x="connsiteX21785" y="connsiteY21785"/>
              </a:cxn>
              <a:cxn ang="0">
                <a:pos x="connsiteX21786" y="connsiteY21786"/>
              </a:cxn>
              <a:cxn ang="0">
                <a:pos x="connsiteX21787" y="connsiteY21787"/>
              </a:cxn>
              <a:cxn ang="0">
                <a:pos x="connsiteX21788" y="connsiteY21788"/>
              </a:cxn>
              <a:cxn ang="0">
                <a:pos x="connsiteX21789" y="connsiteY21789"/>
              </a:cxn>
              <a:cxn ang="0">
                <a:pos x="connsiteX21790" y="connsiteY21790"/>
              </a:cxn>
              <a:cxn ang="0">
                <a:pos x="connsiteX21791" y="connsiteY21791"/>
              </a:cxn>
              <a:cxn ang="0">
                <a:pos x="connsiteX21792" y="connsiteY21792"/>
              </a:cxn>
              <a:cxn ang="0">
                <a:pos x="connsiteX21793" y="connsiteY21793"/>
              </a:cxn>
              <a:cxn ang="0">
                <a:pos x="connsiteX21794" y="connsiteY21794"/>
              </a:cxn>
              <a:cxn ang="0">
                <a:pos x="connsiteX21795" y="connsiteY21795"/>
              </a:cxn>
              <a:cxn ang="0">
                <a:pos x="connsiteX21796" y="connsiteY21796"/>
              </a:cxn>
              <a:cxn ang="0">
                <a:pos x="connsiteX21797" y="connsiteY21797"/>
              </a:cxn>
              <a:cxn ang="0">
                <a:pos x="connsiteX21798" y="connsiteY21798"/>
              </a:cxn>
              <a:cxn ang="0">
                <a:pos x="connsiteX21799" y="connsiteY21799"/>
              </a:cxn>
              <a:cxn ang="0">
                <a:pos x="connsiteX21800" y="connsiteY21800"/>
              </a:cxn>
              <a:cxn ang="0">
                <a:pos x="connsiteX21801" y="connsiteY21801"/>
              </a:cxn>
              <a:cxn ang="0">
                <a:pos x="connsiteX21802" y="connsiteY21802"/>
              </a:cxn>
              <a:cxn ang="0">
                <a:pos x="connsiteX21803" y="connsiteY21803"/>
              </a:cxn>
              <a:cxn ang="0">
                <a:pos x="connsiteX21804" y="connsiteY21804"/>
              </a:cxn>
              <a:cxn ang="0">
                <a:pos x="connsiteX21805" y="connsiteY21805"/>
              </a:cxn>
              <a:cxn ang="0">
                <a:pos x="connsiteX21806" y="connsiteY21806"/>
              </a:cxn>
              <a:cxn ang="0">
                <a:pos x="connsiteX21807" y="connsiteY21807"/>
              </a:cxn>
              <a:cxn ang="0">
                <a:pos x="connsiteX21808" y="connsiteY21808"/>
              </a:cxn>
              <a:cxn ang="0">
                <a:pos x="connsiteX21809" y="connsiteY21809"/>
              </a:cxn>
              <a:cxn ang="0">
                <a:pos x="connsiteX21810" y="connsiteY21810"/>
              </a:cxn>
              <a:cxn ang="0">
                <a:pos x="connsiteX21811" y="connsiteY21811"/>
              </a:cxn>
              <a:cxn ang="0">
                <a:pos x="connsiteX21812" y="connsiteY21812"/>
              </a:cxn>
              <a:cxn ang="0">
                <a:pos x="connsiteX21813" y="connsiteY21813"/>
              </a:cxn>
              <a:cxn ang="0">
                <a:pos x="connsiteX21814" y="connsiteY21814"/>
              </a:cxn>
              <a:cxn ang="0">
                <a:pos x="connsiteX21815" y="connsiteY21815"/>
              </a:cxn>
              <a:cxn ang="0">
                <a:pos x="connsiteX21816" y="connsiteY21816"/>
              </a:cxn>
              <a:cxn ang="0">
                <a:pos x="connsiteX21817" y="connsiteY21817"/>
              </a:cxn>
              <a:cxn ang="0">
                <a:pos x="connsiteX21818" y="connsiteY21818"/>
              </a:cxn>
              <a:cxn ang="0">
                <a:pos x="connsiteX21819" y="connsiteY21819"/>
              </a:cxn>
              <a:cxn ang="0">
                <a:pos x="connsiteX21820" y="connsiteY21820"/>
              </a:cxn>
              <a:cxn ang="0">
                <a:pos x="connsiteX21821" y="connsiteY21821"/>
              </a:cxn>
              <a:cxn ang="0">
                <a:pos x="connsiteX21822" y="connsiteY21822"/>
              </a:cxn>
              <a:cxn ang="0">
                <a:pos x="connsiteX21823" y="connsiteY21823"/>
              </a:cxn>
              <a:cxn ang="0">
                <a:pos x="connsiteX21824" y="connsiteY21824"/>
              </a:cxn>
              <a:cxn ang="0">
                <a:pos x="connsiteX21825" y="connsiteY21825"/>
              </a:cxn>
              <a:cxn ang="0">
                <a:pos x="connsiteX21826" y="connsiteY21826"/>
              </a:cxn>
              <a:cxn ang="0">
                <a:pos x="connsiteX21827" y="connsiteY21827"/>
              </a:cxn>
              <a:cxn ang="0">
                <a:pos x="connsiteX21828" y="connsiteY21828"/>
              </a:cxn>
              <a:cxn ang="0">
                <a:pos x="connsiteX21829" y="connsiteY21829"/>
              </a:cxn>
              <a:cxn ang="0">
                <a:pos x="connsiteX21830" y="connsiteY21830"/>
              </a:cxn>
              <a:cxn ang="0">
                <a:pos x="connsiteX21831" y="connsiteY21831"/>
              </a:cxn>
              <a:cxn ang="0">
                <a:pos x="connsiteX21832" y="connsiteY21832"/>
              </a:cxn>
              <a:cxn ang="0">
                <a:pos x="connsiteX21833" y="connsiteY21833"/>
              </a:cxn>
              <a:cxn ang="0">
                <a:pos x="connsiteX21834" y="connsiteY21834"/>
              </a:cxn>
              <a:cxn ang="0">
                <a:pos x="connsiteX21835" y="connsiteY21835"/>
              </a:cxn>
              <a:cxn ang="0">
                <a:pos x="connsiteX21836" y="connsiteY21836"/>
              </a:cxn>
              <a:cxn ang="0">
                <a:pos x="connsiteX21837" y="connsiteY21837"/>
              </a:cxn>
              <a:cxn ang="0">
                <a:pos x="connsiteX21838" y="connsiteY21838"/>
              </a:cxn>
              <a:cxn ang="0">
                <a:pos x="connsiteX21839" y="connsiteY21839"/>
              </a:cxn>
              <a:cxn ang="0">
                <a:pos x="connsiteX21840" y="connsiteY21840"/>
              </a:cxn>
              <a:cxn ang="0">
                <a:pos x="connsiteX21841" y="connsiteY21841"/>
              </a:cxn>
              <a:cxn ang="0">
                <a:pos x="connsiteX21842" y="connsiteY21842"/>
              </a:cxn>
              <a:cxn ang="0">
                <a:pos x="connsiteX21843" y="connsiteY21843"/>
              </a:cxn>
              <a:cxn ang="0">
                <a:pos x="connsiteX21844" y="connsiteY21844"/>
              </a:cxn>
              <a:cxn ang="0">
                <a:pos x="connsiteX21845" y="connsiteY21845"/>
              </a:cxn>
              <a:cxn ang="0">
                <a:pos x="connsiteX21846" y="connsiteY21846"/>
              </a:cxn>
              <a:cxn ang="0">
                <a:pos x="connsiteX21847" y="connsiteY21847"/>
              </a:cxn>
              <a:cxn ang="0">
                <a:pos x="connsiteX21848" y="connsiteY21848"/>
              </a:cxn>
              <a:cxn ang="0">
                <a:pos x="connsiteX21849" y="connsiteY21849"/>
              </a:cxn>
              <a:cxn ang="0">
                <a:pos x="connsiteX21850" y="connsiteY21850"/>
              </a:cxn>
              <a:cxn ang="0">
                <a:pos x="connsiteX21851" y="connsiteY21851"/>
              </a:cxn>
              <a:cxn ang="0">
                <a:pos x="connsiteX21852" y="connsiteY21852"/>
              </a:cxn>
              <a:cxn ang="0">
                <a:pos x="connsiteX21853" y="connsiteY21853"/>
              </a:cxn>
              <a:cxn ang="0">
                <a:pos x="connsiteX21854" y="connsiteY21854"/>
              </a:cxn>
              <a:cxn ang="0">
                <a:pos x="connsiteX21855" y="connsiteY21855"/>
              </a:cxn>
              <a:cxn ang="0">
                <a:pos x="connsiteX21856" y="connsiteY21856"/>
              </a:cxn>
              <a:cxn ang="0">
                <a:pos x="connsiteX21857" y="connsiteY21857"/>
              </a:cxn>
              <a:cxn ang="0">
                <a:pos x="connsiteX21858" y="connsiteY21858"/>
              </a:cxn>
              <a:cxn ang="0">
                <a:pos x="connsiteX21859" y="connsiteY21859"/>
              </a:cxn>
              <a:cxn ang="0">
                <a:pos x="connsiteX21860" y="connsiteY21860"/>
              </a:cxn>
              <a:cxn ang="0">
                <a:pos x="connsiteX21861" y="connsiteY21861"/>
              </a:cxn>
              <a:cxn ang="0">
                <a:pos x="connsiteX21862" y="connsiteY21862"/>
              </a:cxn>
              <a:cxn ang="0">
                <a:pos x="connsiteX21863" y="connsiteY21863"/>
              </a:cxn>
              <a:cxn ang="0">
                <a:pos x="connsiteX21864" y="connsiteY21864"/>
              </a:cxn>
              <a:cxn ang="0">
                <a:pos x="connsiteX21865" y="connsiteY21865"/>
              </a:cxn>
              <a:cxn ang="0">
                <a:pos x="connsiteX21866" y="connsiteY21866"/>
              </a:cxn>
              <a:cxn ang="0">
                <a:pos x="connsiteX21867" y="connsiteY21867"/>
              </a:cxn>
              <a:cxn ang="0">
                <a:pos x="connsiteX21868" y="connsiteY21868"/>
              </a:cxn>
              <a:cxn ang="0">
                <a:pos x="connsiteX21869" y="connsiteY21869"/>
              </a:cxn>
              <a:cxn ang="0">
                <a:pos x="connsiteX21870" y="connsiteY21870"/>
              </a:cxn>
              <a:cxn ang="0">
                <a:pos x="connsiteX21871" y="connsiteY21871"/>
              </a:cxn>
              <a:cxn ang="0">
                <a:pos x="connsiteX21872" y="connsiteY21872"/>
              </a:cxn>
              <a:cxn ang="0">
                <a:pos x="connsiteX21873" y="connsiteY21873"/>
              </a:cxn>
              <a:cxn ang="0">
                <a:pos x="connsiteX21874" y="connsiteY21874"/>
              </a:cxn>
              <a:cxn ang="0">
                <a:pos x="connsiteX21875" y="connsiteY21875"/>
              </a:cxn>
              <a:cxn ang="0">
                <a:pos x="connsiteX21876" y="connsiteY21876"/>
              </a:cxn>
              <a:cxn ang="0">
                <a:pos x="connsiteX21877" y="connsiteY21877"/>
              </a:cxn>
              <a:cxn ang="0">
                <a:pos x="connsiteX21878" y="connsiteY21878"/>
              </a:cxn>
              <a:cxn ang="0">
                <a:pos x="connsiteX21879" y="connsiteY21879"/>
              </a:cxn>
              <a:cxn ang="0">
                <a:pos x="connsiteX21880" y="connsiteY21880"/>
              </a:cxn>
              <a:cxn ang="0">
                <a:pos x="connsiteX21881" y="connsiteY21881"/>
              </a:cxn>
              <a:cxn ang="0">
                <a:pos x="connsiteX21882" y="connsiteY21882"/>
              </a:cxn>
              <a:cxn ang="0">
                <a:pos x="connsiteX21883" y="connsiteY21883"/>
              </a:cxn>
              <a:cxn ang="0">
                <a:pos x="connsiteX21884" y="connsiteY21884"/>
              </a:cxn>
              <a:cxn ang="0">
                <a:pos x="connsiteX21885" y="connsiteY21885"/>
              </a:cxn>
              <a:cxn ang="0">
                <a:pos x="connsiteX21886" y="connsiteY21886"/>
              </a:cxn>
              <a:cxn ang="0">
                <a:pos x="connsiteX21887" y="connsiteY21887"/>
              </a:cxn>
              <a:cxn ang="0">
                <a:pos x="connsiteX21888" y="connsiteY21888"/>
              </a:cxn>
              <a:cxn ang="0">
                <a:pos x="connsiteX21889" y="connsiteY21889"/>
              </a:cxn>
              <a:cxn ang="0">
                <a:pos x="connsiteX21890" y="connsiteY21890"/>
              </a:cxn>
              <a:cxn ang="0">
                <a:pos x="connsiteX21891" y="connsiteY21891"/>
              </a:cxn>
              <a:cxn ang="0">
                <a:pos x="connsiteX21892" y="connsiteY21892"/>
              </a:cxn>
              <a:cxn ang="0">
                <a:pos x="connsiteX21893" y="connsiteY21893"/>
              </a:cxn>
              <a:cxn ang="0">
                <a:pos x="connsiteX21894" y="connsiteY21894"/>
              </a:cxn>
              <a:cxn ang="0">
                <a:pos x="connsiteX21895" y="connsiteY21895"/>
              </a:cxn>
              <a:cxn ang="0">
                <a:pos x="connsiteX21896" y="connsiteY21896"/>
              </a:cxn>
              <a:cxn ang="0">
                <a:pos x="connsiteX21897" y="connsiteY21897"/>
              </a:cxn>
              <a:cxn ang="0">
                <a:pos x="connsiteX21898" y="connsiteY21898"/>
              </a:cxn>
              <a:cxn ang="0">
                <a:pos x="connsiteX21899" y="connsiteY21899"/>
              </a:cxn>
              <a:cxn ang="0">
                <a:pos x="connsiteX21900" y="connsiteY21900"/>
              </a:cxn>
              <a:cxn ang="0">
                <a:pos x="connsiteX21901" y="connsiteY21901"/>
              </a:cxn>
              <a:cxn ang="0">
                <a:pos x="connsiteX21902" y="connsiteY21902"/>
              </a:cxn>
              <a:cxn ang="0">
                <a:pos x="connsiteX21903" y="connsiteY21903"/>
              </a:cxn>
              <a:cxn ang="0">
                <a:pos x="connsiteX21904" y="connsiteY21904"/>
              </a:cxn>
              <a:cxn ang="0">
                <a:pos x="connsiteX21905" y="connsiteY21905"/>
              </a:cxn>
              <a:cxn ang="0">
                <a:pos x="connsiteX21906" y="connsiteY21906"/>
              </a:cxn>
              <a:cxn ang="0">
                <a:pos x="connsiteX21907" y="connsiteY21907"/>
              </a:cxn>
              <a:cxn ang="0">
                <a:pos x="connsiteX21908" y="connsiteY21908"/>
              </a:cxn>
              <a:cxn ang="0">
                <a:pos x="connsiteX21909" y="connsiteY21909"/>
              </a:cxn>
              <a:cxn ang="0">
                <a:pos x="connsiteX21910" y="connsiteY21910"/>
              </a:cxn>
              <a:cxn ang="0">
                <a:pos x="connsiteX21911" y="connsiteY21911"/>
              </a:cxn>
              <a:cxn ang="0">
                <a:pos x="connsiteX21912" y="connsiteY21912"/>
              </a:cxn>
              <a:cxn ang="0">
                <a:pos x="connsiteX21913" y="connsiteY21913"/>
              </a:cxn>
              <a:cxn ang="0">
                <a:pos x="connsiteX21914" y="connsiteY21914"/>
              </a:cxn>
              <a:cxn ang="0">
                <a:pos x="connsiteX21915" y="connsiteY21915"/>
              </a:cxn>
              <a:cxn ang="0">
                <a:pos x="connsiteX21916" y="connsiteY21916"/>
              </a:cxn>
              <a:cxn ang="0">
                <a:pos x="connsiteX21917" y="connsiteY21917"/>
              </a:cxn>
              <a:cxn ang="0">
                <a:pos x="connsiteX21918" y="connsiteY21918"/>
              </a:cxn>
              <a:cxn ang="0">
                <a:pos x="connsiteX21919" y="connsiteY21919"/>
              </a:cxn>
              <a:cxn ang="0">
                <a:pos x="connsiteX21920" y="connsiteY21920"/>
              </a:cxn>
              <a:cxn ang="0">
                <a:pos x="connsiteX21921" y="connsiteY21921"/>
              </a:cxn>
              <a:cxn ang="0">
                <a:pos x="connsiteX21922" y="connsiteY21922"/>
              </a:cxn>
              <a:cxn ang="0">
                <a:pos x="connsiteX21923" y="connsiteY21923"/>
              </a:cxn>
              <a:cxn ang="0">
                <a:pos x="connsiteX21924" y="connsiteY21924"/>
              </a:cxn>
              <a:cxn ang="0">
                <a:pos x="connsiteX21925" y="connsiteY21925"/>
              </a:cxn>
              <a:cxn ang="0">
                <a:pos x="connsiteX21926" y="connsiteY21926"/>
              </a:cxn>
              <a:cxn ang="0">
                <a:pos x="connsiteX21927" y="connsiteY21927"/>
              </a:cxn>
              <a:cxn ang="0">
                <a:pos x="connsiteX21928" y="connsiteY21928"/>
              </a:cxn>
              <a:cxn ang="0">
                <a:pos x="connsiteX21929" y="connsiteY21929"/>
              </a:cxn>
              <a:cxn ang="0">
                <a:pos x="connsiteX21930" y="connsiteY21930"/>
              </a:cxn>
              <a:cxn ang="0">
                <a:pos x="connsiteX21931" y="connsiteY21931"/>
              </a:cxn>
              <a:cxn ang="0">
                <a:pos x="connsiteX21932" y="connsiteY21932"/>
              </a:cxn>
              <a:cxn ang="0">
                <a:pos x="connsiteX21933" y="connsiteY21933"/>
              </a:cxn>
              <a:cxn ang="0">
                <a:pos x="connsiteX21934" y="connsiteY21934"/>
              </a:cxn>
              <a:cxn ang="0">
                <a:pos x="connsiteX21935" y="connsiteY21935"/>
              </a:cxn>
              <a:cxn ang="0">
                <a:pos x="connsiteX21936" y="connsiteY21936"/>
              </a:cxn>
              <a:cxn ang="0">
                <a:pos x="connsiteX21937" y="connsiteY21937"/>
              </a:cxn>
              <a:cxn ang="0">
                <a:pos x="connsiteX21938" y="connsiteY21938"/>
              </a:cxn>
              <a:cxn ang="0">
                <a:pos x="connsiteX21939" y="connsiteY21939"/>
              </a:cxn>
              <a:cxn ang="0">
                <a:pos x="connsiteX21940" y="connsiteY21940"/>
              </a:cxn>
              <a:cxn ang="0">
                <a:pos x="connsiteX21941" y="connsiteY21941"/>
              </a:cxn>
              <a:cxn ang="0">
                <a:pos x="connsiteX21942" y="connsiteY21942"/>
              </a:cxn>
              <a:cxn ang="0">
                <a:pos x="connsiteX21943" y="connsiteY21943"/>
              </a:cxn>
              <a:cxn ang="0">
                <a:pos x="connsiteX21944" y="connsiteY21944"/>
              </a:cxn>
              <a:cxn ang="0">
                <a:pos x="connsiteX21945" y="connsiteY21945"/>
              </a:cxn>
              <a:cxn ang="0">
                <a:pos x="connsiteX21946" y="connsiteY21946"/>
              </a:cxn>
              <a:cxn ang="0">
                <a:pos x="connsiteX21947" y="connsiteY21947"/>
              </a:cxn>
              <a:cxn ang="0">
                <a:pos x="connsiteX21948" y="connsiteY21948"/>
              </a:cxn>
              <a:cxn ang="0">
                <a:pos x="connsiteX21949" y="connsiteY21949"/>
              </a:cxn>
              <a:cxn ang="0">
                <a:pos x="connsiteX21950" y="connsiteY21950"/>
              </a:cxn>
              <a:cxn ang="0">
                <a:pos x="connsiteX21951" y="connsiteY21951"/>
              </a:cxn>
              <a:cxn ang="0">
                <a:pos x="connsiteX21952" y="connsiteY21952"/>
              </a:cxn>
              <a:cxn ang="0">
                <a:pos x="connsiteX21953" y="connsiteY21953"/>
              </a:cxn>
              <a:cxn ang="0">
                <a:pos x="connsiteX21954" y="connsiteY21954"/>
              </a:cxn>
              <a:cxn ang="0">
                <a:pos x="connsiteX21955" y="connsiteY21955"/>
              </a:cxn>
              <a:cxn ang="0">
                <a:pos x="connsiteX21956" y="connsiteY21956"/>
              </a:cxn>
              <a:cxn ang="0">
                <a:pos x="connsiteX21957" y="connsiteY21957"/>
              </a:cxn>
              <a:cxn ang="0">
                <a:pos x="connsiteX21958" y="connsiteY21958"/>
              </a:cxn>
              <a:cxn ang="0">
                <a:pos x="connsiteX21959" y="connsiteY21959"/>
              </a:cxn>
              <a:cxn ang="0">
                <a:pos x="connsiteX21960" y="connsiteY21960"/>
              </a:cxn>
              <a:cxn ang="0">
                <a:pos x="connsiteX21961" y="connsiteY21961"/>
              </a:cxn>
              <a:cxn ang="0">
                <a:pos x="connsiteX21962" y="connsiteY21962"/>
              </a:cxn>
              <a:cxn ang="0">
                <a:pos x="connsiteX21963" y="connsiteY21963"/>
              </a:cxn>
              <a:cxn ang="0">
                <a:pos x="connsiteX21964" y="connsiteY21964"/>
              </a:cxn>
              <a:cxn ang="0">
                <a:pos x="connsiteX21965" y="connsiteY21965"/>
              </a:cxn>
              <a:cxn ang="0">
                <a:pos x="connsiteX21966" y="connsiteY21966"/>
              </a:cxn>
              <a:cxn ang="0">
                <a:pos x="connsiteX21967" y="connsiteY21967"/>
              </a:cxn>
              <a:cxn ang="0">
                <a:pos x="connsiteX21968" y="connsiteY21968"/>
              </a:cxn>
              <a:cxn ang="0">
                <a:pos x="connsiteX21969" y="connsiteY21969"/>
              </a:cxn>
              <a:cxn ang="0">
                <a:pos x="connsiteX21970" y="connsiteY21970"/>
              </a:cxn>
              <a:cxn ang="0">
                <a:pos x="connsiteX21971" y="connsiteY21971"/>
              </a:cxn>
              <a:cxn ang="0">
                <a:pos x="connsiteX21972" y="connsiteY21972"/>
              </a:cxn>
              <a:cxn ang="0">
                <a:pos x="connsiteX21973" y="connsiteY21973"/>
              </a:cxn>
              <a:cxn ang="0">
                <a:pos x="connsiteX21974" y="connsiteY21974"/>
              </a:cxn>
              <a:cxn ang="0">
                <a:pos x="connsiteX21975" y="connsiteY21975"/>
              </a:cxn>
              <a:cxn ang="0">
                <a:pos x="connsiteX21976" y="connsiteY21976"/>
              </a:cxn>
              <a:cxn ang="0">
                <a:pos x="connsiteX21977" y="connsiteY21977"/>
              </a:cxn>
              <a:cxn ang="0">
                <a:pos x="connsiteX21978" y="connsiteY21978"/>
              </a:cxn>
              <a:cxn ang="0">
                <a:pos x="connsiteX21979" y="connsiteY21979"/>
              </a:cxn>
              <a:cxn ang="0">
                <a:pos x="connsiteX21980" y="connsiteY21980"/>
              </a:cxn>
              <a:cxn ang="0">
                <a:pos x="connsiteX21981" y="connsiteY21981"/>
              </a:cxn>
              <a:cxn ang="0">
                <a:pos x="connsiteX21982" y="connsiteY21982"/>
              </a:cxn>
              <a:cxn ang="0">
                <a:pos x="connsiteX21983" y="connsiteY21983"/>
              </a:cxn>
              <a:cxn ang="0">
                <a:pos x="connsiteX21984" y="connsiteY21984"/>
              </a:cxn>
              <a:cxn ang="0">
                <a:pos x="connsiteX21985" y="connsiteY21985"/>
              </a:cxn>
              <a:cxn ang="0">
                <a:pos x="connsiteX21986" y="connsiteY21986"/>
              </a:cxn>
              <a:cxn ang="0">
                <a:pos x="connsiteX21987" y="connsiteY21987"/>
              </a:cxn>
              <a:cxn ang="0">
                <a:pos x="connsiteX21988" y="connsiteY21988"/>
              </a:cxn>
              <a:cxn ang="0">
                <a:pos x="connsiteX21989" y="connsiteY21989"/>
              </a:cxn>
              <a:cxn ang="0">
                <a:pos x="connsiteX21990" y="connsiteY21990"/>
              </a:cxn>
              <a:cxn ang="0">
                <a:pos x="connsiteX21991" y="connsiteY21991"/>
              </a:cxn>
              <a:cxn ang="0">
                <a:pos x="connsiteX21992" y="connsiteY21992"/>
              </a:cxn>
              <a:cxn ang="0">
                <a:pos x="connsiteX21993" y="connsiteY21993"/>
              </a:cxn>
              <a:cxn ang="0">
                <a:pos x="connsiteX21994" y="connsiteY21994"/>
              </a:cxn>
              <a:cxn ang="0">
                <a:pos x="connsiteX21995" y="connsiteY21995"/>
              </a:cxn>
              <a:cxn ang="0">
                <a:pos x="connsiteX21996" y="connsiteY21996"/>
              </a:cxn>
              <a:cxn ang="0">
                <a:pos x="connsiteX21997" y="connsiteY21997"/>
              </a:cxn>
              <a:cxn ang="0">
                <a:pos x="connsiteX21998" y="connsiteY21998"/>
              </a:cxn>
              <a:cxn ang="0">
                <a:pos x="connsiteX21999" y="connsiteY21999"/>
              </a:cxn>
              <a:cxn ang="0">
                <a:pos x="connsiteX22000" y="connsiteY22000"/>
              </a:cxn>
              <a:cxn ang="0">
                <a:pos x="connsiteX22001" y="connsiteY22001"/>
              </a:cxn>
              <a:cxn ang="0">
                <a:pos x="connsiteX22002" y="connsiteY22002"/>
              </a:cxn>
              <a:cxn ang="0">
                <a:pos x="connsiteX22003" y="connsiteY22003"/>
              </a:cxn>
              <a:cxn ang="0">
                <a:pos x="connsiteX22004" y="connsiteY22004"/>
              </a:cxn>
              <a:cxn ang="0">
                <a:pos x="connsiteX22005" y="connsiteY22005"/>
              </a:cxn>
              <a:cxn ang="0">
                <a:pos x="connsiteX22006" y="connsiteY22006"/>
              </a:cxn>
              <a:cxn ang="0">
                <a:pos x="connsiteX22007" y="connsiteY22007"/>
              </a:cxn>
              <a:cxn ang="0">
                <a:pos x="connsiteX22008" y="connsiteY22008"/>
              </a:cxn>
              <a:cxn ang="0">
                <a:pos x="connsiteX22009" y="connsiteY22009"/>
              </a:cxn>
              <a:cxn ang="0">
                <a:pos x="connsiteX22010" y="connsiteY22010"/>
              </a:cxn>
              <a:cxn ang="0">
                <a:pos x="connsiteX22011" y="connsiteY22011"/>
              </a:cxn>
              <a:cxn ang="0">
                <a:pos x="connsiteX22012" y="connsiteY22012"/>
              </a:cxn>
              <a:cxn ang="0">
                <a:pos x="connsiteX22013" y="connsiteY22013"/>
              </a:cxn>
              <a:cxn ang="0">
                <a:pos x="connsiteX22014" y="connsiteY22014"/>
              </a:cxn>
              <a:cxn ang="0">
                <a:pos x="connsiteX22015" y="connsiteY22015"/>
              </a:cxn>
              <a:cxn ang="0">
                <a:pos x="connsiteX22016" y="connsiteY22016"/>
              </a:cxn>
              <a:cxn ang="0">
                <a:pos x="connsiteX22017" y="connsiteY22017"/>
              </a:cxn>
              <a:cxn ang="0">
                <a:pos x="connsiteX22018" y="connsiteY22018"/>
              </a:cxn>
              <a:cxn ang="0">
                <a:pos x="connsiteX22019" y="connsiteY22019"/>
              </a:cxn>
              <a:cxn ang="0">
                <a:pos x="connsiteX22020" y="connsiteY22020"/>
              </a:cxn>
              <a:cxn ang="0">
                <a:pos x="connsiteX22021" y="connsiteY22021"/>
              </a:cxn>
              <a:cxn ang="0">
                <a:pos x="connsiteX22022" y="connsiteY22022"/>
              </a:cxn>
              <a:cxn ang="0">
                <a:pos x="connsiteX22023" y="connsiteY22023"/>
              </a:cxn>
              <a:cxn ang="0">
                <a:pos x="connsiteX22024" y="connsiteY22024"/>
              </a:cxn>
              <a:cxn ang="0">
                <a:pos x="connsiteX22025" y="connsiteY22025"/>
              </a:cxn>
              <a:cxn ang="0">
                <a:pos x="connsiteX22026" y="connsiteY22026"/>
              </a:cxn>
              <a:cxn ang="0">
                <a:pos x="connsiteX22027" y="connsiteY22027"/>
              </a:cxn>
              <a:cxn ang="0">
                <a:pos x="connsiteX22028" y="connsiteY22028"/>
              </a:cxn>
              <a:cxn ang="0">
                <a:pos x="connsiteX22029" y="connsiteY22029"/>
              </a:cxn>
              <a:cxn ang="0">
                <a:pos x="connsiteX22030" y="connsiteY22030"/>
              </a:cxn>
              <a:cxn ang="0">
                <a:pos x="connsiteX22031" y="connsiteY22031"/>
              </a:cxn>
              <a:cxn ang="0">
                <a:pos x="connsiteX22032" y="connsiteY22032"/>
              </a:cxn>
              <a:cxn ang="0">
                <a:pos x="connsiteX22033" y="connsiteY22033"/>
              </a:cxn>
              <a:cxn ang="0">
                <a:pos x="connsiteX22034" y="connsiteY22034"/>
              </a:cxn>
              <a:cxn ang="0">
                <a:pos x="connsiteX22035" y="connsiteY22035"/>
              </a:cxn>
              <a:cxn ang="0">
                <a:pos x="connsiteX22036" y="connsiteY22036"/>
              </a:cxn>
              <a:cxn ang="0">
                <a:pos x="connsiteX22037" y="connsiteY22037"/>
              </a:cxn>
              <a:cxn ang="0">
                <a:pos x="connsiteX22038" y="connsiteY22038"/>
              </a:cxn>
              <a:cxn ang="0">
                <a:pos x="connsiteX22039" y="connsiteY22039"/>
              </a:cxn>
              <a:cxn ang="0">
                <a:pos x="connsiteX22040" y="connsiteY22040"/>
              </a:cxn>
              <a:cxn ang="0">
                <a:pos x="connsiteX22041" y="connsiteY22041"/>
              </a:cxn>
              <a:cxn ang="0">
                <a:pos x="connsiteX22042" y="connsiteY22042"/>
              </a:cxn>
              <a:cxn ang="0">
                <a:pos x="connsiteX22043" y="connsiteY22043"/>
              </a:cxn>
              <a:cxn ang="0">
                <a:pos x="connsiteX22044" y="connsiteY22044"/>
              </a:cxn>
              <a:cxn ang="0">
                <a:pos x="connsiteX22045" y="connsiteY22045"/>
              </a:cxn>
              <a:cxn ang="0">
                <a:pos x="connsiteX22046" y="connsiteY22046"/>
              </a:cxn>
              <a:cxn ang="0">
                <a:pos x="connsiteX22047" y="connsiteY22047"/>
              </a:cxn>
              <a:cxn ang="0">
                <a:pos x="connsiteX22048" y="connsiteY22048"/>
              </a:cxn>
              <a:cxn ang="0">
                <a:pos x="connsiteX22049" y="connsiteY22049"/>
              </a:cxn>
              <a:cxn ang="0">
                <a:pos x="connsiteX22050" y="connsiteY22050"/>
              </a:cxn>
              <a:cxn ang="0">
                <a:pos x="connsiteX22051" y="connsiteY22051"/>
              </a:cxn>
              <a:cxn ang="0">
                <a:pos x="connsiteX22052" y="connsiteY22052"/>
              </a:cxn>
              <a:cxn ang="0">
                <a:pos x="connsiteX22053" y="connsiteY22053"/>
              </a:cxn>
              <a:cxn ang="0">
                <a:pos x="connsiteX22054" y="connsiteY22054"/>
              </a:cxn>
              <a:cxn ang="0">
                <a:pos x="connsiteX22055" y="connsiteY22055"/>
              </a:cxn>
              <a:cxn ang="0">
                <a:pos x="connsiteX22056" y="connsiteY22056"/>
              </a:cxn>
              <a:cxn ang="0">
                <a:pos x="connsiteX22057" y="connsiteY22057"/>
              </a:cxn>
              <a:cxn ang="0">
                <a:pos x="connsiteX22058" y="connsiteY22058"/>
              </a:cxn>
              <a:cxn ang="0">
                <a:pos x="connsiteX22059" y="connsiteY22059"/>
              </a:cxn>
              <a:cxn ang="0">
                <a:pos x="connsiteX22060" y="connsiteY22060"/>
              </a:cxn>
              <a:cxn ang="0">
                <a:pos x="connsiteX22061" y="connsiteY22061"/>
              </a:cxn>
              <a:cxn ang="0">
                <a:pos x="connsiteX22062" y="connsiteY22062"/>
              </a:cxn>
              <a:cxn ang="0">
                <a:pos x="connsiteX22063" y="connsiteY22063"/>
              </a:cxn>
              <a:cxn ang="0">
                <a:pos x="connsiteX22064" y="connsiteY22064"/>
              </a:cxn>
              <a:cxn ang="0">
                <a:pos x="connsiteX22065" y="connsiteY22065"/>
              </a:cxn>
              <a:cxn ang="0">
                <a:pos x="connsiteX22066" y="connsiteY22066"/>
              </a:cxn>
              <a:cxn ang="0">
                <a:pos x="connsiteX22067" y="connsiteY22067"/>
              </a:cxn>
              <a:cxn ang="0">
                <a:pos x="connsiteX22068" y="connsiteY22068"/>
              </a:cxn>
              <a:cxn ang="0">
                <a:pos x="connsiteX22069" y="connsiteY22069"/>
              </a:cxn>
              <a:cxn ang="0">
                <a:pos x="connsiteX22070" y="connsiteY22070"/>
              </a:cxn>
              <a:cxn ang="0">
                <a:pos x="connsiteX22071" y="connsiteY22071"/>
              </a:cxn>
              <a:cxn ang="0">
                <a:pos x="connsiteX22072" y="connsiteY22072"/>
              </a:cxn>
              <a:cxn ang="0">
                <a:pos x="connsiteX22073" y="connsiteY22073"/>
              </a:cxn>
              <a:cxn ang="0">
                <a:pos x="connsiteX22074" y="connsiteY22074"/>
              </a:cxn>
              <a:cxn ang="0">
                <a:pos x="connsiteX22075" y="connsiteY22075"/>
              </a:cxn>
              <a:cxn ang="0">
                <a:pos x="connsiteX22076" y="connsiteY22076"/>
              </a:cxn>
              <a:cxn ang="0">
                <a:pos x="connsiteX22077" y="connsiteY22077"/>
              </a:cxn>
              <a:cxn ang="0">
                <a:pos x="connsiteX22078" y="connsiteY22078"/>
              </a:cxn>
              <a:cxn ang="0">
                <a:pos x="connsiteX22079" y="connsiteY22079"/>
              </a:cxn>
              <a:cxn ang="0">
                <a:pos x="connsiteX22080" y="connsiteY22080"/>
              </a:cxn>
              <a:cxn ang="0">
                <a:pos x="connsiteX22081" y="connsiteY22081"/>
              </a:cxn>
              <a:cxn ang="0">
                <a:pos x="connsiteX22082" y="connsiteY22082"/>
              </a:cxn>
              <a:cxn ang="0">
                <a:pos x="connsiteX22083" y="connsiteY22083"/>
              </a:cxn>
              <a:cxn ang="0">
                <a:pos x="connsiteX22084" y="connsiteY22084"/>
              </a:cxn>
              <a:cxn ang="0">
                <a:pos x="connsiteX22085" y="connsiteY22085"/>
              </a:cxn>
              <a:cxn ang="0">
                <a:pos x="connsiteX22086" y="connsiteY22086"/>
              </a:cxn>
              <a:cxn ang="0">
                <a:pos x="connsiteX22087" y="connsiteY22087"/>
              </a:cxn>
              <a:cxn ang="0">
                <a:pos x="connsiteX22088" y="connsiteY22088"/>
              </a:cxn>
              <a:cxn ang="0">
                <a:pos x="connsiteX22089" y="connsiteY22089"/>
              </a:cxn>
              <a:cxn ang="0">
                <a:pos x="connsiteX22090" y="connsiteY22090"/>
              </a:cxn>
              <a:cxn ang="0">
                <a:pos x="connsiteX22091" y="connsiteY22091"/>
              </a:cxn>
              <a:cxn ang="0">
                <a:pos x="connsiteX22092" y="connsiteY22092"/>
              </a:cxn>
              <a:cxn ang="0">
                <a:pos x="connsiteX22093" y="connsiteY22093"/>
              </a:cxn>
              <a:cxn ang="0">
                <a:pos x="connsiteX22094" y="connsiteY22094"/>
              </a:cxn>
              <a:cxn ang="0">
                <a:pos x="connsiteX22095" y="connsiteY22095"/>
              </a:cxn>
              <a:cxn ang="0">
                <a:pos x="connsiteX22096" y="connsiteY22096"/>
              </a:cxn>
              <a:cxn ang="0">
                <a:pos x="connsiteX22097" y="connsiteY22097"/>
              </a:cxn>
              <a:cxn ang="0">
                <a:pos x="connsiteX22098" y="connsiteY22098"/>
              </a:cxn>
              <a:cxn ang="0">
                <a:pos x="connsiteX22099" y="connsiteY22099"/>
              </a:cxn>
              <a:cxn ang="0">
                <a:pos x="connsiteX22100" y="connsiteY22100"/>
              </a:cxn>
              <a:cxn ang="0">
                <a:pos x="connsiteX22101" y="connsiteY22101"/>
              </a:cxn>
              <a:cxn ang="0">
                <a:pos x="connsiteX22102" y="connsiteY22102"/>
              </a:cxn>
              <a:cxn ang="0">
                <a:pos x="connsiteX22103" y="connsiteY22103"/>
              </a:cxn>
              <a:cxn ang="0">
                <a:pos x="connsiteX22104" y="connsiteY22104"/>
              </a:cxn>
              <a:cxn ang="0">
                <a:pos x="connsiteX22105" y="connsiteY22105"/>
              </a:cxn>
              <a:cxn ang="0">
                <a:pos x="connsiteX22106" y="connsiteY22106"/>
              </a:cxn>
              <a:cxn ang="0">
                <a:pos x="connsiteX22107" y="connsiteY22107"/>
              </a:cxn>
              <a:cxn ang="0">
                <a:pos x="connsiteX22108" y="connsiteY22108"/>
              </a:cxn>
              <a:cxn ang="0">
                <a:pos x="connsiteX22109" y="connsiteY22109"/>
              </a:cxn>
              <a:cxn ang="0">
                <a:pos x="connsiteX22110" y="connsiteY22110"/>
              </a:cxn>
              <a:cxn ang="0">
                <a:pos x="connsiteX22111" y="connsiteY22111"/>
              </a:cxn>
              <a:cxn ang="0">
                <a:pos x="connsiteX22112" y="connsiteY22112"/>
              </a:cxn>
              <a:cxn ang="0">
                <a:pos x="connsiteX22113" y="connsiteY22113"/>
              </a:cxn>
              <a:cxn ang="0">
                <a:pos x="connsiteX22114" y="connsiteY22114"/>
              </a:cxn>
              <a:cxn ang="0">
                <a:pos x="connsiteX22115" y="connsiteY22115"/>
              </a:cxn>
              <a:cxn ang="0">
                <a:pos x="connsiteX22116" y="connsiteY22116"/>
              </a:cxn>
              <a:cxn ang="0">
                <a:pos x="connsiteX22117" y="connsiteY22117"/>
              </a:cxn>
              <a:cxn ang="0">
                <a:pos x="connsiteX22118" y="connsiteY22118"/>
              </a:cxn>
              <a:cxn ang="0">
                <a:pos x="connsiteX22119" y="connsiteY22119"/>
              </a:cxn>
              <a:cxn ang="0">
                <a:pos x="connsiteX22120" y="connsiteY22120"/>
              </a:cxn>
              <a:cxn ang="0">
                <a:pos x="connsiteX22121" y="connsiteY22121"/>
              </a:cxn>
              <a:cxn ang="0">
                <a:pos x="connsiteX22122" y="connsiteY22122"/>
              </a:cxn>
              <a:cxn ang="0">
                <a:pos x="connsiteX22123" y="connsiteY22123"/>
              </a:cxn>
              <a:cxn ang="0">
                <a:pos x="connsiteX22124" y="connsiteY22124"/>
              </a:cxn>
              <a:cxn ang="0">
                <a:pos x="connsiteX22125" y="connsiteY22125"/>
              </a:cxn>
              <a:cxn ang="0">
                <a:pos x="connsiteX22126" y="connsiteY22126"/>
              </a:cxn>
              <a:cxn ang="0">
                <a:pos x="connsiteX22127" y="connsiteY22127"/>
              </a:cxn>
              <a:cxn ang="0">
                <a:pos x="connsiteX22128" y="connsiteY22128"/>
              </a:cxn>
              <a:cxn ang="0">
                <a:pos x="connsiteX22129" y="connsiteY22129"/>
              </a:cxn>
              <a:cxn ang="0">
                <a:pos x="connsiteX22130" y="connsiteY22130"/>
              </a:cxn>
              <a:cxn ang="0">
                <a:pos x="connsiteX22131" y="connsiteY22131"/>
              </a:cxn>
              <a:cxn ang="0">
                <a:pos x="connsiteX22132" y="connsiteY22132"/>
              </a:cxn>
              <a:cxn ang="0">
                <a:pos x="connsiteX22133" y="connsiteY22133"/>
              </a:cxn>
              <a:cxn ang="0">
                <a:pos x="connsiteX22134" y="connsiteY22134"/>
              </a:cxn>
              <a:cxn ang="0">
                <a:pos x="connsiteX22135" y="connsiteY22135"/>
              </a:cxn>
              <a:cxn ang="0">
                <a:pos x="connsiteX22136" y="connsiteY22136"/>
              </a:cxn>
              <a:cxn ang="0">
                <a:pos x="connsiteX22137" y="connsiteY22137"/>
              </a:cxn>
              <a:cxn ang="0">
                <a:pos x="connsiteX22138" y="connsiteY22138"/>
              </a:cxn>
              <a:cxn ang="0">
                <a:pos x="connsiteX22139" y="connsiteY22139"/>
              </a:cxn>
              <a:cxn ang="0">
                <a:pos x="connsiteX22140" y="connsiteY22140"/>
              </a:cxn>
              <a:cxn ang="0">
                <a:pos x="connsiteX22141" y="connsiteY22141"/>
              </a:cxn>
              <a:cxn ang="0">
                <a:pos x="connsiteX22142" y="connsiteY22142"/>
              </a:cxn>
              <a:cxn ang="0">
                <a:pos x="connsiteX22143" y="connsiteY22143"/>
              </a:cxn>
              <a:cxn ang="0">
                <a:pos x="connsiteX22144" y="connsiteY22144"/>
              </a:cxn>
              <a:cxn ang="0">
                <a:pos x="connsiteX22145" y="connsiteY22145"/>
              </a:cxn>
              <a:cxn ang="0">
                <a:pos x="connsiteX22146" y="connsiteY22146"/>
              </a:cxn>
              <a:cxn ang="0">
                <a:pos x="connsiteX22147" y="connsiteY22147"/>
              </a:cxn>
              <a:cxn ang="0">
                <a:pos x="connsiteX22148" y="connsiteY22148"/>
              </a:cxn>
              <a:cxn ang="0">
                <a:pos x="connsiteX22149" y="connsiteY22149"/>
              </a:cxn>
              <a:cxn ang="0">
                <a:pos x="connsiteX22150" y="connsiteY22150"/>
              </a:cxn>
              <a:cxn ang="0">
                <a:pos x="connsiteX22151" y="connsiteY22151"/>
              </a:cxn>
              <a:cxn ang="0">
                <a:pos x="connsiteX22152" y="connsiteY22152"/>
              </a:cxn>
              <a:cxn ang="0">
                <a:pos x="connsiteX22153" y="connsiteY22153"/>
              </a:cxn>
              <a:cxn ang="0">
                <a:pos x="connsiteX22154" y="connsiteY22154"/>
              </a:cxn>
              <a:cxn ang="0">
                <a:pos x="connsiteX22155" y="connsiteY22155"/>
              </a:cxn>
              <a:cxn ang="0">
                <a:pos x="connsiteX22156" y="connsiteY22156"/>
              </a:cxn>
              <a:cxn ang="0">
                <a:pos x="connsiteX22157" y="connsiteY22157"/>
              </a:cxn>
              <a:cxn ang="0">
                <a:pos x="connsiteX22158" y="connsiteY22158"/>
              </a:cxn>
              <a:cxn ang="0">
                <a:pos x="connsiteX22159" y="connsiteY22159"/>
              </a:cxn>
              <a:cxn ang="0">
                <a:pos x="connsiteX22160" y="connsiteY22160"/>
              </a:cxn>
              <a:cxn ang="0">
                <a:pos x="connsiteX22161" y="connsiteY22161"/>
              </a:cxn>
              <a:cxn ang="0">
                <a:pos x="connsiteX22162" y="connsiteY22162"/>
              </a:cxn>
              <a:cxn ang="0">
                <a:pos x="connsiteX22163" y="connsiteY22163"/>
              </a:cxn>
              <a:cxn ang="0">
                <a:pos x="connsiteX22164" y="connsiteY22164"/>
              </a:cxn>
              <a:cxn ang="0">
                <a:pos x="connsiteX22165" y="connsiteY22165"/>
              </a:cxn>
              <a:cxn ang="0">
                <a:pos x="connsiteX22166" y="connsiteY22166"/>
              </a:cxn>
              <a:cxn ang="0">
                <a:pos x="connsiteX22167" y="connsiteY22167"/>
              </a:cxn>
              <a:cxn ang="0">
                <a:pos x="connsiteX22168" y="connsiteY22168"/>
              </a:cxn>
              <a:cxn ang="0">
                <a:pos x="connsiteX22169" y="connsiteY22169"/>
              </a:cxn>
              <a:cxn ang="0">
                <a:pos x="connsiteX22170" y="connsiteY22170"/>
              </a:cxn>
              <a:cxn ang="0">
                <a:pos x="connsiteX22171" y="connsiteY22171"/>
              </a:cxn>
              <a:cxn ang="0">
                <a:pos x="connsiteX22172" y="connsiteY22172"/>
              </a:cxn>
              <a:cxn ang="0">
                <a:pos x="connsiteX22173" y="connsiteY22173"/>
              </a:cxn>
              <a:cxn ang="0">
                <a:pos x="connsiteX22174" y="connsiteY22174"/>
              </a:cxn>
              <a:cxn ang="0">
                <a:pos x="connsiteX22175" y="connsiteY22175"/>
              </a:cxn>
              <a:cxn ang="0">
                <a:pos x="connsiteX22176" y="connsiteY22176"/>
              </a:cxn>
              <a:cxn ang="0">
                <a:pos x="connsiteX22177" y="connsiteY22177"/>
              </a:cxn>
              <a:cxn ang="0">
                <a:pos x="connsiteX22178" y="connsiteY22178"/>
              </a:cxn>
              <a:cxn ang="0">
                <a:pos x="connsiteX22179" y="connsiteY22179"/>
              </a:cxn>
              <a:cxn ang="0">
                <a:pos x="connsiteX22180" y="connsiteY22180"/>
              </a:cxn>
              <a:cxn ang="0">
                <a:pos x="connsiteX22181" y="connsiteY22181"/>
              </a:cxn>
              <a:cxn ang="0">
                <a:pos x="connsiteX22182" y="connsiteY22182"/>
              </a:cxn>
              <a:cxn ang="0">
                <a:pos x="connsiteX22183" y="connsiteY22183"/>
              </a:cxn>
              <a:cxn ang="0">
                <a:pos x="connsiteX22184" y="connsiteY22184"/>
              </a:cxn>
              <a:cxn ang="0">
                <a:pos x="connsiteX22185" y="connsiteY22185"/>
              </a:cxn>
              <a:cxn ang="0">
                <a:pos x="connsiteX22186" y="connsiteY22186"/>
              </a:cxn>
              <a:cxn ang="0">
                <a:pos x="connsiteX22187" y="connsiteY22187"/>
              </a:cxn>
              <a:cxn ang="0">
                <a:pos x="connsiteX22188" y="connsiteY22188"/>
              </a:cxn>
              <a:cxn ang="0">
                <a:pos x="connsiteX22189" y="connsiteY22189"/>
              </a:cxn>
              <a:cxn ang="0">
                <a:pos x="connsiteX22190" y="connsiteY22190"/>
              </a:cxn>
              <a:cxn ang="0">
                <a:pos x="connsiteX22191" y="connsiteY22191"/>
              </a:cxn>
              <a:cxn ang="0">
                <a:pos x="connsiteX22192" y="connsiteY22192"/>
              </a:cxn>
              <a:cxn ang="0">
                <a:pos x="connsiteX22193" y="connsiteY22193"/>
              </a:cxn>
              <a:cxn ang="0">
                <a:pos x="connsiteX22194" y="connsiteY22194"/>
              </a:cxn>
              <a:cxn ang="0">
                <a:pos x="connsiteX22195" y="connsiteY22195"/>
              </a:cxn>
              <a:cxn ang="0">
                <a:pos x="connsiteX22196" y="connsiteY22196"/>
              </a:cxn>
              <a:cxn ang="0">
                <a:pos x="connsiteX22197" y="connsiteY22197"/>
              </a:cxn>
              <a:cxn ang="0">
                <a:pos x="connsiteX22198" y="connsiteY22198"/>
              </a:cxn>
              <a:cxn ang="0">
                <a:pos x="connsiteX22199" y="connsiteY22199"/>
              </a:cxn>
              <a:cxn ang="0">
                <a:pos x="connsiteX22200" y="connsiteY22200"/>
              </a:cxn>
              <a:cxn ang="0">
                <a:pos x="connsiteX22201" y="connsiteY22201"/>
              </a:cxn>
              <a:cxn ang="0">
                <a:pos x="connsiteX22202" y="connsiteY22202"/>
              </a:cxn>
              <a:cxn ang="0">
                <a:pos x="connsiteX22203" y="connsiteY22203"/>
              </a:cxn>
              <a:cxn ang="0">
                <a:pos x="connsiteX22204" y="connsiteY22204"/>
              </a:cxn>
              <a:cxn ang="0">
                <a:pos x="connsiteX22205" y="connsiteY22205"/>
              </a:cxn>
              <a:cxn ang="0">
                <a:pos x="connsiteX22206" y="connsiteY22206"/>
              </a:cxn>
              <a:cxn ang="0">
                <a:pos x="connsiteX22207" y="connsiteY22207"/>
              </a:cxn>
              <a:cxn ang="0">
                <a:pos x="connsiteX22208" y="connsiteY22208"/>
              </a:cxn>
              <a:cxn ang="0">
                <a:pos x="connsiteX22209" y="connsiteY22209"/>
              </a:cxn>
              <a:cxn ang="0">
                <a:pos x="connsiteX22210" y="connsiteY22210"/>
              </a:cxn>
              <a:cxn ang="0">
                <a:pos x="connsiteX22211" y="connsiteY22211"/>
              </a:cxn>
              <a:cxn ang="0">
                <a:pos x="connsiteX22212" y="connsiteY22212"/>
              </a:cxn>
              <a:cxn ang="0">
                <a:pos x="connsiteX22213" y="connsiteY22213"/>
              </a:cxn>
              <a:cxn ang="0">
                <a:pos x="connsiteX22214" y="connsiteY22214"/>
              </a:cxn>
              <a:cxn ang="0">
                <a:pos x="connsiteX22215" y="connsiteY22215"/>
              </a:cxn>
              <a:cxn ang="0">
                <a:pos x="connsiteX22216" y="connsiteY22216"/>
              </a:cxn>
              <a:cxn ang="0">
                <a:pos x="connsiteX22217" y="connsiteY22217"/>
              </a:cxn>
              <a:cxn ang="0">
                <a:pos x="connsiteX22218" y="connsiteY22218"/>
              </a:cxn>
              <a:cxn ang="0">
                <a:pos x="connsiteX22219" y="connsiteY22219"/>
              </a:cxn>
              <a:cxn ang="0">
                <a:pos x="connsiteX22220" y="connsiteY22220"/>
              </a:cxn>
              <a:cxn ang="0">
                <a:pos x="connsiteX22221" y="connsiteY22221"/>
              </a:cxn>
              <a:cxn ang="0">
                <a:pos x="connsiteX22222" y="connsiteY22222"/>
              </a:cxn>
              <a:cxn ang="0">
                <a:pos x="connsiteX22223" y="connsiteY22223"/>
              </a:cxn>
              <a:cxn ang="0">
                <a:pos x="connsiteX22224" y="connsiteY22224"/>
              </a:cxn>
              <a:cxn ang="0">
                <a:pos x="connsiteX22225" y="connsiteY22225"/>
              </a:cxn>
              <a:cxn ang="0">
                <a:pos x="connsiteX22226" y="connsiteY22226"/>
              </a:cxn>
              <a:cxn ang="0">
                <a:pos x="connsiteX22227" y="connsiteY22227"/>
              </a:cxn>
              <a:cxn ang="0">
                <a:pos x="connsiteX22228" y="connsiteY22228"/>
              </a:cxn>
              <a:cxn ang="0">
                <a:pos x="connsiteX22229" y="connsiteY22229"/>
              </a:cxn>
              <a:cxn ang="0">
                <a:pos x="connsiteX22230" y="connsiteY22230"/>
              </a:cxn>
              <a:cxn ang="0">
                <a:pos x="connsiteX22231" y="connsiteY22231"/>
              </a:cxn>
              <a:cxn ang="0">
                <a:pos x="connsiteX22232" y="connsiteY22232"/>
              </a:cxn>
              <a:cxn ang="0">
                <a:pos x="connsiteX22233" y="connsiteY22233"/>
              </a:cxn>
              <a:cxn ang="0">
                <a:pos x="connsiteX22234" y="connsiteY22234"/>
              </a:cxn>
              <a:cxn ang="0">
                <a:pos x="connsiteX22235" y="connsiteY22235"/>
              </a:cxn>
              <a:cxn ang="0">
                <a:pos x="connsiteX22236" y="connsiteY22236"/>
              </a:cxn>
              <a:cxn ang="0">
                <a:pos x="connsiteX22237" y="connsiteY22237"/>
              </a:cxn>
              <a:cxn ang="0">
                <a:pos x="connsiteX22238" y="connsiteY22238"/>
              </a:cxn>
              <a:cxn ang="0">
                <a:pos x="connsiteX22239" y="connsiteY22239"/>
              </a:cxn>
              <a:cxn ang="0">
                <a:pos x="connsiteX22240" y="connsiteY22240"/>
              </a:cxn>
              <a:cxn ang="0">
                <a:pos x="connsiteX22241" y="connsiteY22241"/>
              </a:cxn>
              <a:cxn ang="0">
                <a:pos x="connsiteX22242" y="connsiteY22242"/>
              </a:cxn>
              <a:cxn ang="0">
                <a:pos x="connsiteX22243" y="connsiteY22243"/>
              </a:cxn>
              <a:cxn ang="0">
                <a:pos x="connsiteX22244" y="connsiteY22244"/>
              </a:cxn>
              <a:cxn ang="0">
                <a:pos x="connsiteX22245" y="connsiteY22245"/>
              </a:cxn>
              <a:cxn ang="0">
                <a:pos x="connsiteX22246" y="connsiteY22246"/>
              </a:cxn>
              <a:cxn ang="0">
                <a:pos x="connsiteX22247" y="connsiteY22247"/>
              </a:cxn>
              <a:cxn ang="0">
                <a:pos x="connsiteX22248" y="connsiteY22248"/>
              </a:cxn>
              <a:cxn ang="0">
                <a:pos x="connsiteX22249" y="connsiteY22249"/>
              </a:cxn>
              <a:cxn ang="0">
                <a:pos x="connsiteX22250" y="connsiteY22250"/>
              </a:cxn>
              <a:cxn ang="0">
                <a:pos x="connsiteX22251" y="connsiteY22251"/>
              </a:cxn>
              <a:cxn ang="0">
                <a:pos x="connsiteX22252" y="connsiteY22252"/>
              </a:cxn>
              <a:cxn ang="0">
                <a:pos x="connsiteX22253" y="connsiteY22253"/>
              </a:cxn>
              <a:cxn ang="0">
                <a:pos x="connsiteX22254" y="connsiteY22254"/>
              </a:cxn>
              <a:cxn ang="0">
                <a:pos x="connsiteX22255" y="connsiteY22255"/>
              </a:cxn>
              <a:cxn ang="0">
                <a:pos x="connsiteX22256" y="connsiteY22256"/>
              </a:cxn>
              <a:cxn ang="0">
                <a:pos x="connsiteX22257" y="connsiteY22257"/>
              </a:cxn>
              <a:cxn ang="0">
                <a:pos x="connsiteX22258" y="connsiteY22258"/>
              </a:cxn>
              <a:cxn ang="0">
                <a:pos x="connsiteX22259" y="connsiteY22259"/>
              </a:cxn>
              <a:cxn ang="0">
                <a:pos x="connsiteX22260" y="connsiteY22260"/>
              </a:cxn>
              <a:cxn ang="0">
                <a:pos x="connsiteX22261" y="connsiteY22261"/>
              </a:cxn>
              <a:cxn ang="0">
                <a:pos x="connsiteX22262" y="connsiteY22262"/>
              </a:cxn>
              <a:cxn ang="0">
                <a:pos x="connsiteX22263" y="connsiteY22263"/>
              </a:cxn>
              <a:cxn ang="0">
                <a:pos x="connsiteX22264" y="connsiteY22264"/>
              </a:cxn>
              <a:cxn ang="0">
                <a:pos x="connsiteX22265" y="connsiteY22265"/>
              </a:cxn>
              <a:cxn ang="0">
                <a:pos x="connsiteX22266" y="connsiteY22266"/>
              </a:cxn>
              <a:cxn ang="0">
                <a:pos x="connsiteX22267" y="connsiteY22267"/>
              </a:cxn>
              <a:cxn ang="0">
                <a:pos x="connsiteX22268" y="connsiteY22268"/>
              </a:cxn>
              <a:cxn ang="0">
                <a:pos x="connsiteX22269" y="connsiteY22269"/>
              </a:cxn>
              <a:cxn ang="0">
                <a:pos x="connsiteX22270" y="connsiteY22270"/>
              </a:cxn>
              <a:cxn ang="0">
                <a:pos x="connsiteX22271" y="connsiteY22271"/>
              </a:cxn>
              <a:cxn ang="0">
                <a:pos x="connsiteX22272" y="connsiteY22272"/>
              </a:cxn>
              <a:cxn ang="0">
                <a:pos x="connsiteX22273" y="connsiteY22273"/>
              </a:cxn>
              <a:cxn ang="0">
                <a:pos x="connsiteX22274" y="connsiteY22274"/>
              </a:cxn>
              <a:cxn ang="0">
                <a:pos x="connsiteX22275" y="connsiteY22275"/>
              </a:cxn>
              <a:cxn ang="0">
                <a:pos x="connsiteX22276" y="connsiteY22276"/>
              </a:cxn>
              <a:cxn ang="0">
                <a:pos x="connsiteX22277" y="connsiteY22277"/>
              </a:cxn>
              <a:cxn ang="0">
                <a:pos x="connsiteX22278" y="connsiteY22278"/>
              </a:cxn>
              <a:cxn ang="0">
                <a:pos x="connsiteX22279" y="connsiteY22279"/>
              </a:cxn>
              <a:cxn ang="0">
                <a:pos x="connsiteX22280" y="connsiteY22280"/>
              </a:cxn>
              <a:cxn ang="0">
                <a:pos x="connsiteX22281" y="connsiteY22281"/>
              </a:cxn>
              <a:cxn ang="0">
                <a:pos x="connsiteX22282" y="connsiteY22282"/>
              </a:cxn>
              <a:cxn ang="0">
                <a:pos x="connsiteX22283" y="connsiteY22283"/>
              </a:cxn>
              <a:cxn ang="0">
                <a:pos x="connsiteX22284" y="connsiteY22284"/>
              </a:cxn>
              <a:cxn ang="0">
                <a:pos x="connsiteX22285" y="connsiteY22285"/>
              </a:cxn>
              <a:cxn ang="0">
                <a:pos x="connsiteX22286" y="connsiteY22286"/>
              </a:cxn>
              <a:cxn ang="0">
                <a:pos x="connsiteX22287" y="connsiteY22287"/>
              </a:cxn>
              <a:cxn ang="0">
                <a:pos x="connsiteX22288" y="connsiteY22288"/>
              </a:cxn>
              <a:cxn ang="0">
                <a:pos x="connsiteX22289" y="connsiteY22289"/>
              </a:cxn>
              <a:cxn ang="0">
                <a:pos x="connsiteX22290" y="connsiteY22290"/>
              </a:cxn>
              <a:cxn ang="0">
                <a:pos x="connsiteX22291" y="connsiteY22291"/>
              </a:cxn>
              <a:cxn ang="0">
                <a:pos x="connsiteX22292" y="connsiteY22292"/>
              </a:cxn>
              <a:cxn ang="0">
                <a:pos x="connsiteX22293" y="connsiteY22293"/>
              </a:cxn>
              <a:cxn ang="0">
                <a:pos x="connsiteX22294" y="connsiteY22294"/>
              </a:cxn>
              <a:cxn ang="0">
                <a:pos x="connsiteX22295" y="connsiteY22295"/>
              </a:cxn>
              <a:cxn ang="0">
                <a:pos x="connsiteX22296" y="connsiteY22296"/>
              </a:cxn>
              <a:cxn ang="0">
                <a:pos x="connsiteX22297" y="connsiteY22297"/>
              </a:cxn>
              <a:cxn ang="0">
                <a:pos x="connsiteX22298" y="connsiteY22298"/>
              </a:cxn>
              <a:cxn ang="0">
                <a:pos x="connsiteX22299" y="connsiteY22299"/>
              </a:cxn>
              <a:cxn ang="0">
                <a:pos x="connsiteX22300" y="connsiteY22300"/>
              </a:cxn>
              <a:cxn ang="0">
                <a:pos x="connsiteX22301" y="connsiteY22301"/>
              </a:cxn>
              <a:cxn ang="0">
                <a:pos x="connsiteX22302" y="connsiteY22302"/>
              </a:cxn>
              <a:cxn ang="0">
                <a:pos x="connsiteX22303" y="connsiteY22303"/>
              </a:cxn>
              <a:cxn ang="0">
                <a:pos x="connsiteX22304" y="connsiteY22304"/>
              </a:cxn>
              <a:cxn ang="0">
                <a:pos x="connsiteX22305" y="connsiteY22305"/>
              </a:cxn>
              <a:cxn ang="0">
                <a:pos x="connsiteX22306" y="connsiteY22306"/>
              </a:cxn>
              <a:cxn ang="0">
                <a:pos x="connsiteX22307" y="connsiteY22307"/>
              </a:cxn>
              <a:cxn ang="0">
                <a:pos x="connsiteX22308" y="connsiteY22308"/>
              </a:cxn>
              <a:cxn ang="0">
                <a:pos x="connsiteX22309" y="connsiteY22309"/>
              </a:cxn>
              <a:cxn ang="0">
                <a:pos x="connsiteX22310" y="connsiteY22310"/>
              </a:cxn>
              <a:cxn ang="0">
                <a:pos x="connsiteX22311" y="connsiteY22311"/>
              </a:cxn>
              <a:cxn ang="0">
                <a:pos x="connsiteX22312" y="connsiteY22312"/>
              </a:cxn>
              <a:cxn ang="0">
                <a:pos x="connsiteX22313" y="connsiteY22313"/>
              </a:cxn>
              <a:cxn ang="0">
                <a:pos x="connsiteX22314" y="connsiteY22314"/>
              </a:cxn>
              <a:cxn ang="0">
                <a:pos x="connsiteX22315" y="connsiteY22315"/>
              </a:cxn>
              <a:cxn ang="0">
                <a:pos x="connsiteX22316" y="connsiteY22316"/>
              </a:cxn>
              <a:cxn ang="0">
                <a:pos x="connsiteX22317" y="connsiteY22317"/>
              </a:cxn>
              <a:cxn ang="0">
                <a:pos x="connsiteX22318" y="connsiteY22318"/>
              </a:cxn>
              <a:cxn ang="0">
                <a:pos x="connsiteX22319" y="connsiteY22319"/>
              </a:cxn>
              <a:cxn ang="0">
                <a:pos x="connsiteX22320" y="connsiteY22320"/>
              </a:cxn>
              <a:cxn ang="0">
                <a:pos x="connsiteX22321" y="connsiteY22321"/>
              </a:cxn>
              <a:cxn ang="0">
                <a:pos x="connsiteX22322" y="connsiteY22322"/>
              </a:cxn>
              <a:cxn ang="0">
                <a:pos x="connsiteX22323" y="connsiteY22323"/>
              </a:cxn>
              <a:cxn ang="0">
                <a:pos x="connsiteX22324" y="connsiteY22324"/>
              </a:cxn>
              <a:cxn ang="0">
                <a:pos x="connsiteX22325" y="connsiteY22325"/>
              </a:cxn>
              <a:cxn ang="0">
                <a:pos x="connsiteX22326" y="connsiteY22326"/>
              </a:cxn>
              <a:cxn ang="0">
                <a:pos x="connsiteX22327" y="connsiteY22327"/>
              </a:cxn>
              <a:cxn ang="0">
                <a:pos x="connsiteX22328" y="connsiteY22328"/>
              </a:cxn>
              <a:cxn ang="0">
                <a:pos x="connsiteX22329" y="connsiteY22329"/>
              </a:cxn>
              <a:cxn ang="0">
                <a:pos x="connsiteX22330" y="connsiteY22330"/>
              </a:cxn>
              <a:cxn ang="0">
                <a:pos x="connsiteX22331" y="connsiteY22331"/>
              </a:cxn>
              <a:cxn ang="0">
                <a:pos x="connsiteX22332" y="connsiteY22332"/>
              </a:cxn>
              <a:cxn ang="0">
                <a:pos x="connsiteX22333" y="connsiteY22333"/>
              </a:cxn>
              <a:cxn ang="0">
                <a:pos x="connsiteX22334" y="connsiteY22334"/>
              </a:cxn>
              <a:cxn ang="0">
                <a:pos x="connsiteX22335" y="connsiteY22335"/>
              </a:cxn>
              <a:cxn ang="0">
                <a:pos x="connsiteX22336" y="connsiteY22336"/>
              </a:cxn>
              <a:cxn ang="0">
                <a:pos x="connsiteX22337" y="connsiteY22337"/>
              </a:cxn>
              <a:cxn ang="0">
                <a:pos x="connsiteX22338" y="connsiteY22338"/>
              </a:cxn>
              <a:cxn ang="0">
                <a:pos x="connsiteX22339" y="connsiteY22339"/>
              </a:cxn>
              <a:cxn ang="0">
                <a:pos x="connsiteX22340" y="connsiteY22340"/>
              </a:cxn>
              <a:cxn ang="0">
                <a:pos x="connsiteX22341" y="connsiteY22341"/>
              </a:cxn>
              <a:cxn ang="0">
                <a:pos x="connsiteX22342" y="connsiteY22342"/>
              </a:cxn>
              <a:cxn ang="0">
                <a:pos x="connsiteX22343" y="connsiteY22343"/>
              </a:cxn>
              <a:cxn ang="0">
                <a:pos x="connsiteX22344" y="connsiteY22344"/>
              </a:cxn>
              <a:cxn ang="0">
                <a:pos x="connsiteX22345" y="connsiteY22345"/>
              </a:cxn>
              <a:cxn ang="0">
                <a:pos x="connsiteX22346" y="connsiteY22346"/>
              </a:cxn>
              <a:cxn ang="0">
                <a:pos x="connsiteX22347" y="connsiteY22347"/>
              </a:cxn>
              <a:cxn ang="0">
                <a:pos x="connsiteX22348" y="connsiteY22348"/>
              </a:cxn>
              <a:cxn ang="0">
                <a:pos x="connsiteX22349" y="connsiteY22349"/>
              </a:cxn>
              <a:cxn ang="0">
                <a:pos x="connsiteX22350" y="connsiteY22350"/>
              </a:cxn>
              <a:cxn ang="0">
                <a:pos x="connsiteX22351" y="connsiteY22351"/>
              </a:cxn>
              <a:cxn ang="0">
                <a:pos x="connsiteX22352" y="connsiteY22352"/>
              </a:cxn>
              <a:cxn ang="0">
                <a:pos x="connsiteX22353" y="connsiteY22353"/>
              </a:cxn>
              <a:cxn ang="0">
                <a:pos x="connsiteX22354" y="connsiteY22354"/>
              </a:cxn>
              <a:cxn ang="0">
                <a:pos x="connsiteX22355" y="connsiteY22355"/>
              </a:cxn>
              <a:cxn ang="0">
                <a:pos x="connsiteX22356" y="connsiteY22356"/>
              </a:cxn>
              <a:cxn ang="0">
                <a:pos x="connsiteX22357" y="connsiteY22357"/>
              </a:cxn>
              <a:cxn ang="0">
                <a:pos x="connsiteX22358" y="connsiteY22358"/>
              </a:cxn>
              <a:cxn ang="0">
                <a:pos x="connsiteX22359" y="connsiteY22359"/>
              </a:cxn>
              <a:cxn ang="0">
                <a:pos x="connsiteX22360" y="connsiteY22360"/>
              </a:cxn>
              <a:cxn ang="0">
                <a:pos x="connsiteX22361" y="connsiteY22361"/>
              </a:cxn>
              <a:cxn ang="0">
                <a:pos x="connsiteX22362" y="connsiteY22362"/>
              </a:cxn>
              <a:cxn ang="0">
                <a:pos x="connsiteX22363" y="connsiteY22363"/>
              </a:cxn>
              <a:cxn ang="0">
                <a:pos x="connsiteX22364" y="connsiteY22364"/>
              </a:cxn>
              <a:cxn ang="0">
                <a:pos x="connsiteX22365" y="connsiteY22365"/>
              </a:cxn>
              <a:cxn ang="0">
                <a:pos x="connsiteX22366" y="connsiteY22366"/>
              </a:cxn>
              <a:cxn ang="0">
                <a:pos x="connsiteX22367" y="connsiteY22367"/>
              </a:cxn>
              <a:cxn ang="0">
                <a:pos x="connsiteX22368" y="connsiteY22368"/>
              </a:cxn>
              <a:cxn ang="0">
                <a:pos x="connsiteX22369" y="connsiteY22369"/>
              </a:cxn>
              <a:cxn ang="0">
                <a:pos x="connsiteX22370" y="connsiteY22370"/>
              </a:cxn>
              <a:cxn ang="0">
                <a:pos x="connsiteX22371" y="connsiteY22371"/>
              </a:cxn>
              <a:cxn ang="0">
                <a:pos x="connsiteX22372" y="connsiteY22372"/>
              </a:cxn>
              <a:cxn ang="0">
                <a:pos x="connsiteX22373" y="connsiteY22373"/>
              </a:cxn>
              <a:cxn ang="0">
                <a:pos x="connsiteX22374" y="connsiteY22374"/>
              </a:cxn>
              <a:cxn ang="0">
                <a:pos x="connsiteX22375" y="connsiteY22375"/>
              </a:cxn>
              <a:cxn ang="0">
                <a:pos x="connsiteX22376" y="connsiteY22376"/>
              </a:cxn>
              <a:cxn ang="0">
                <a:pos x="connsiteX22377" y="connsiteY22377"/>
              </a:cxn>
              <a:cxn ang="0">
                <a:pos x="connsiteX22378" y="connsiteY22378"/>
              </a:cxn>
              <a:cxn ang="0">
                <a:pos x="connsiteX22379" y="connsiteY22379"/>
              </a:cxn>
              <a:cxn ang="0">
                <a:pos x="connsiteX22380" y="connsiteY22380"/>
              </a:cxn>
              <a:cxn ang="0">
                <a:pos x="connsiteX22381" y="connsiteY22381"/>
              </a:cxn>
              <a:cxn ang="0">
                <a:pos x="connsiteX22382" y="connsiteY22382"/>
              </a:cxn>
              <a:cxn ang="0">
                <a:pos x="connsiteX22383" y="connsiteY22383"/>
              </a:cxn>
              <a:cxn ang="0">
                <a:pos x="connsiteX22384" y="connsiteY22384"/>
              </a:cxn>
              <a:cxn ang="0">
                <a:pos x="connsiteX22385" y="connsiteY22385"/>
              </a:cxn>
              <a:cxn ang="0">
                <a:pos x="connsiteX22386" y="connsiteY22386"/>
              </a:cxn>
              <a:cxn ang="0">
                <a:pos x="connsiteX22387" y="connsiteY22387"/>
              </a:cxn>
              <a:cxn ang="0">
                <a:pos x="connsiteX22388" y="connsiteY22388"/>
              </a:cxn>
              <a:cxn ang="0">
                <a:pos x="connsiteX22389" y="connsiteY22389"/>
              </a:cxn>
              <a:cxn ang="0">
                <a:pos x="connsiteX22390" y="connsiteY22390"/>
              </a:cxn>
              <a:cxn ang="0">
                <a:pos x="connsiteX22391" y="connsiteY22391"/>
              </a:cxn>
              <a:cxn ang="0">
                <a:pos x="connsiteX22392" y="connsiteY22392"/>
              </a:cxn>
              <a:cxn ang="0">
                <a:pos x="connsiteX22393" y="connsiteY22393"/>
              </a:cxn>
              <a:cxn ang="0">
                <a:pos x="connsiteX22394" y="connsiteY22394"/>
              </a:cxn>
              <a:cxn ang="0">
                <a:pos x="connsiteX22395" y="connsiteY22395"/>
              </a:cxn>
              <a:cxn ang="0">
                <a:pos x="connsiteX22396" y="connsiteY22396"/>
              </a:cxn>
              <a:cxn ang="0">
                <a:pos x="connsiteX22397" y="connsiteY22397"/>
              </a:cxn>
              <a:cxn ang="0">
                <a:pos x="connsiteX22398" y="connsiteY22398"/>
              </a:cxn>
              <a:cxn ang="0">
                <a:pos x="connsiteX22399" y="connsiteY22399"/>
              </a:cxn>
              <a:cxn ang="0">
                <a:pos x="connsiteX22400" y="connsiteY22400"/>
              </a:cxn>
              <a:cxn ang="0">
                <a:pos x="connsiteX22401" y="connsiteY22401"/>
              </a:cxn>
              <a:cxn ang="0">
                <a:pos x="connsiteX22402" y="connsiteY22402"/>
              </a:cxn>
              <a:cxn ang="0">
                <a:pos x="connsiteX22403" y="connsiteY22403"/>
              </a:cxn>
              <a:cxn ang="0">
                <a:pos x="connsiteX22404" y="connsiteY22404"/>
              </a:cxn>
              <a:cxn ang="0">
                <a:pos x="connsiteX22405" y="connsiteY22405"/>
              </a:cxn>
              <a:cxn ang="0">
                <a:pos x="connsiteX22406" y="connsiteY22406"/>
              </a:cxn>
              <a:cxn ang="0">
                <a:pos x="connsiteX22407" y="connsiteY22407"/>
              </a:cxn>
              <a:cxn ang="0">
                <a:pos x="connsiteX22408" y="connsiteY22408"/>
              </a:cxn>
              <a:cxn ang="0">
                <a:pos x="connsiteX22409" y="connsiteY22409"/>
              </a:cxn>
              <a:cxn ang="0">
                <a:pos x="connsiteX22410" y="connsiteY22410"/>
              </a:cxn>
              <a:cxn ang="0">
                <a:pos x="connsiteX22411" y="connsiteY22411"/>
              </a:cxn>
              <a:cxn ang="0">
                <a:pos x="connsiteX22412" y="connsiteY22412"/>
              </a:cxn>
              <a:cxn ang="0">
                <a:pos x="connsiteX22413" y="connsiteY22413"/>
              </a:cxn>
              <a:cxn ang="0">
                <a:pos x="connsiteX22414" y="connsiteY22414"/>
              </a:cxn>
              <a:cxn ang="0">
                <a:pos x="connsiteX22415" y="connsiteY22415"/>
              </a:cxn>
              <a:cxn ang="0">
                <a:pos x="connsiteX22416" y="connsiteY22416"/>
              </a:cxn>
              <a:cxn ang="0">
                <a:pos x="connsiteX22417" y="connsiteY22417"/>
              </a:cxn>
              <a:cxn ang="0">
                <a:pos x="connsiteX22418" y="connsiteY22418"/>
              </a:cxn>
              <a:cxn ang="0">
                <a:pos x="connsiteX22419" y="connsiteY22419"/>
              </a:cxn>
              <a:cxn ang="0">
                <a:pos x="connsiteX22420" y="connsiteY22420"/>
              </a:cxn>
              <a:cxn ang="0">
                <a:pos x="connsiteX22421" y="connsiteY22421"/>
              </a:cxn>
              <a:cxn ang="0">
                <a:pos x="connsiteX22422" y="connsiteY22422"/>
              </a:cxn>
              <a:cxn ang="0">
                <a:pos x="connsiteX22423" y="connsiteY22423"/>
              </a:cxn>
              <a:cxn ang="0">
                <a:pos x="connsiteX22424" y="connsiteY22424"/>
              </a:cxn>
              <a:cxn ang="0">
                <a:pos x="connsiteX22425" y="connsiteY22425"/>
              </a:cxn>
              <a:cxn ang="0">
                <a:pos x="connsiteX22426" y="connsiteY22426"/>
              </a:cxn>
              <a:cxn ang="0">
                <a:pos x="connsiteX22427" y="connsiteY22427"/>
              </a:cxn>
              <a:cxn ang="0">
                <a:pos x="connsiteX22428" y="connsiteY22428"/>
              </a:cxn>
              <a:cxn ang="0">
                <a:pos x="connsiteX22429" y="connsiteY22429"/>
              </a:cxn>
              <a:cxn ang="0">
                <a:pos x="connsiteX22430" y="connsiteY22430"/>
              </a:cxn>
              <a:cxn ang="0">
                <a:pos x="connsiteX22431" y="connsiteY22431"/>
              </a:cxn>
              <a:cxn ang="0">
                <a:pos x="connsiteX22432" y="connsiteY22432"/>
              </a:cxn>
              <a:cxn ang="0">
                <a:pos x="connsiteX22433" y="connsiteY22433"/>
              </a:cxn>
              <a:cxn ang="0">
                <a:pos x="connsiteX22434" y="connsiteY22434"/>
              </a:cxn>
              <a:cxn ang="0">
                <a:pos x="connsiteX22435" y="connsiteY22435"/>
              </a:cxn>
              <a:cxn ang="0">
                <a:pos x="connsiteX22436" y="connsiteY22436"/>
              </a:cxn>
              <a:cxn ang="0">
                <a:pos x="connsiteX22437" y="connsiteY22437"/>
              </a:cxn>
              <a:cxn ang="0">
                <a:pos x="connsiteX22438" y="connsiteY22438"/>
              </a:cxn>
              <a:cxn ang="0">
                <a:pos x="connsiteX22439" y="connsiteY22439"/>
              </a:cxn>
              <a:cxn ang="0">
                <a:pos x="connsiteX22440" y="connsiteY22440"/>
              </a:cxn>
              <a:cxn ang="0">
                <a:pos x="connsiteX22441" y="connsiteY22441"/>
              </a:cxn>
              <a:cxn ang="0">
                <a:pos x="connsiteX22442" y="connsiteY22442"/>
              </a:cxn>
              <a:cxn ang="0">
                <a:pos x="connsiteX22443" y="connsiteY22443"/>
              </a:cxn>
              <a:cxn ang="0">
                <a:pos x="connsiteX22444" y="connsiteY22444"/>
              </a:cxn>
              <a:cxn ang="0">
                <a:pos x="connsiteX22445" y="connsiteY22445"/>
              </a:cxn>
              <a:cxn ang="0">
                <a:pos x="connsiteX22446" y="connsiteY22446"/>
              </a:cxn>
              <a:cxn ang="0">
                <a:pos x="connsiteX22447" y="connsiteY22447"/>
              </a:cxn>
              <a:cxn ang="0">
                <a:pos x="connsiteX22448" y="connsiteY22448"/>
              </a:cxn>
              <a:cxn ang="0">
                <a:pos x="connsiteX22449" y="connsiteY22449"/>
              </a:cxn>
              <a:cxn ang="0">
                <a:pos x="connsiteX22450" y="connsiteY22450"/>
              </a:cxn>
              <a:cxn ang="0">
                <a:pos x="connsiteX22451" y="connsiteY22451"/>
              </a:cxn>
              <a:cxn ang="0">
                <a:pos x="connsiteX22452" y="connsiteY22452"/>
              </a:cxn>
              <a:cxn ang="0">
                <a:pos x="connsiteX22453" y="connsiteY22453"/>
              </a:cxn>
              <a:cxn ang="0">
                <a:pos x="connsiteX22454" y="connsiteY22454"/>
              </a:cxn>
              <a:cxn ang="0">
                <a:pos x="connsiteX22455" y="connsiteY22455"/>
              </a:cxn>
              <a:cxn ang="0">
                <a:pos x="connsiteX22456" y="connsiteY22456"/>
              </a:cxn>
              <a:cxn ang="0">
                <a:pos x="connsiteX22457" y="connsiteY22457"/>
              </a:cxn>
              <a:cxn ang="0">
                <a:pos x="connsiteX22458" y="connsiteY22458"/>
              </a:cxn>
              <a:cxn ang="0">
                <a:pos x="connsiteX22459" y="connsiteY22459"/>
              </a:cxn>
              <a:cxn ang="0">
                <a:pos x="connsiteX22460" y="connsiteY22460"/>
              </a:cxn>
              <a:cxn ang="0">
                <a:pos x="connsiteX22461" y="connsiteY22461"/>
              </a:cxn>
              <a:cxn ang="0">
                <a:pos x="connsiteX22462" y="connsiteY22462"/>
              </a:cxn>
              <a:cxn ang="0">
                <a:pos x="connsiteX22463" y="connsiteY22463"/>
              </a:cxn>
              <a:cxn ang="0">
                <a:pos x="connsiteX22464" y="connsiteY22464"/>
              </a:cxn>
              <a:cxn ang="0">
                <a:pos x="connsiteX22465" y="connsiteY22465"/>
              </a:cxn>
              <a:cxn ang="0">
                <a:pos x="connsiteX22466" y="connsiteY22466"/>
              </a:cxn>
              <a:cxn ang="0">
                <a:pos x="connsiteX22467" y="connsiteY22467"/>
              </a:cxn>
              <a:cxn ang="0">
                <a:pos x="connsiteX22468" y="connsiteY22468"/>
              </a:cxn>
              <a:cxn ang="0">
                <a:pos x="connsiteX22469" y="connsiteY22469"/>
              </a:cxn>
              <a:cxn ang="0">
                <a:pos x="connsiteX22470" y="connsiteY22470"/>
              </a:cxn>
              <a:cxn ang="0">
                <a:pos x="connsiteX22471" y="connsiteY22471"/>
              </a:cxn>
              <a:cxn ang="0">
                <a:pos x="connsiteX22472" y="connsiteY22472"/>
              </a:cxn>
              <a:cxn ang="0">
                <a:pos x="connsiteX22473" y="connsiteY22473"/>
              </a:cxn>
              <a:cxn ang="0">
                <a:pos x="connsiteX22474" y="connsiteY22474"/>
              </a:cxn>
              <a:cxn ang="0">
                <a:pos x="connsiteX22475" y="connsiteY22475"/>
              </a:cxn>
              <a:cxn ang="0">
                <a:pos x="connsiteX22476" y="connsiteY22476"/>
              </a:cxn>
              <a:cxn ang="0">
                <a:pos x="connsiteX22477" y="connsiteY22477"/>
              </a:cxn>
              <a:cxn ang="0">
                <a:pos x="connsiteX22478" y="connsiteY22478"/>
              </a:cxn>
              <a:cxn ang="0">
                <a:pos x="connsiteX22479" y="connsiteY22479"/>
              </a:cxn>
              <a:cxn ang="0">
                <a:pos x="connsiteX22480" y="connsiteY22480"/>
              </a:cxn>
              <a:cxn ang="0">
                <a:pos x="connsiteX22481" y="connsiteY22481"/>
              </a:cxn>
              <a:cxn ang="0">
                <a:pos x="connsiteX22482" y="connsiteY22482"/>
              </a:cxn>
              <a:cxn ang="0">
                <a:pos x="connsiteX22483" y="connsiteY22483"/>
              </a:cxn>
              <a:cxn ang="0">
                <a:pos x="connsiteX22484" y="connsiteY22484"/>
              </a:cxn>
              <a:cxn ang="0">
                <a:pos x="connsiteX22485" y="connsiteY22485"/>
              </a:cxn>
              <a:cxn ang="0">
                <a:pos x="connsiteX22486" y="connsiteY22486"/>
              </a:cxn>
              <a:cxn ang="0">
                <a:pos x="connsiteX22487" y="connsiteY22487"/>
              </a:cxn>
              <a:cxn ang="0">
                <a:pos x="connsiteX22488" y="connsiteY22488"/>
              </a:cxn>
              <a:cxn ang="0">
                <a:pos x="connsiteX22489" y="connsiteY22489"/>
              </a:cxn>
              <a:cxn ang="0">
                <a:pos x="connsiteX22490" y="connsiteY22490"/>
              </a:cxn>
              <a:cxn ang="0">
                <a:pos x="connsiteX22491" y="connsiteY22491"/>
              </a:cxn>
              <a:cxn ang="0">
                <a:pos x="connsiteX22492" y="connsiteY22492"/>
              </a:cxn>
              <a:cxn ang="0">
                <a:pos x="connsiteX22493" y="connsiteY22493"/>
              </a:cxn>
              <a:cxn ang="0">
                <a:pos x="connsiteX22494" y="connsiteY22494"/>
              </a:cxn>
              <a:cxn ang="0">
                <a:pos x="connsiteX22495" y="connsiteY22495"/>
              </a:cxn>
              <a:cxn ang="0">
                <a:pos x="connsiteX22496" y="connsiteY22496"/>
              </a:cxn>
              <a:cxn ang="0">
                <a:pos x="connsiteX22497" y="connsiteY22497"/>
              </a:cxn>
              <a:cxn ang="0">
                <a:pos x="connsiteX22498" y="connsiteY22498"/>
              </a:cxn>
              <a:cxn ang="0">
                <a:pos x="connsiteX22499" y="connsiteY22499"/>
              </a:cxn>
              <a:cxn ang="0">
                <a:pos x="connsiteX22500" y="connsiteY22500"/>
              </a:cxn>
              <a:cxn ang="0">
                <a:pos x="connsiteX22501" y="connsiteY22501"/>
              </a:cxn>
              <a:cxn ang="0">
                <a:pos x="connsiteX22502" y="connsiteY22502"/>
              </a:cxn>
              <a:cxn ang="0">
                <a:pos x="connsiteX22503" y="connsiteY22503"/>
              </a:cxn>
              <a:cxn ang="0">
                <a:pos x="connsiteX22504" y="connsiteY22504"/>
              </a:cxn>
              <a:cxn ang="0">
                <a:pos x="connsiteX22505" y="connsiteY22505"/>
              </a:cxn>
              <a:cxn ang="0">
                <a:pos x="connsiteX22506" y="connsiteY22506"/>
              </a:cxn>
              <a:cxn ang="0">
                <a:pos x="connsiteX22507" y="connsiteY22507"/>
              </a:cxn>
              <a:cxn ang="0">
                <a:pos x="connsiteX22508" y="connsiteY22508"/>
              </a:cxn>
              <a:cxn ang="0">
                <a:pos x="connsiteX22509" y="connsiteY22509"/>
              </a:cxn>
              <a:cxn ang="0">
                <a:pos x="connsiteX22510" y="connsiteY22510"/>
              </a:cxn>
              <a:cxn ang="0">
                <a:pos x="connsiteX22511" y="connsiteY22511"/>
              </a:cxn>
              <a:cxn ang="0">
                <a:pos x="connsiteX22512" y="connsiteY22512"/>
              </a:cxn>
              <a:cxn ang="0">
                <a:pos x="connsiteX22513" y="connsiteY22513"/>
              </a:cxn>
              <a:cxn ang="0">
                <a:pos x="connsiteX22514" y="connsiteY22514"/>
              </a:cxn>
              <a:cxn ang="0">
                <a:pos x="connsiteX22515" y="connsiteY22515"/>
              </a:cxn>
              <a:cxn ang="0">
                <a:pos x="connsiteX22516" y="connsiteY22516"/>
              </a:cxn>
              <a:cxn ang="0">
                <a:pos x="connsiteX22517" y="connsiteY22517"/>
              </a:cxn>
              <a:cxn ang="0">
                <a:pos x="connsiteX22518" y="connsiteY22518"/>
              </a:cxn>
              <a:cxn ang="0">
                <a:pos x="connsiteX22519" y="connsiteY22519"/>
              </a:cxn>
              <a:cxn ang="0">
                <a:pos x="connsiteX22520" y="connsiteY22520"/>
              </a:cxn>
              <a:cxn ang="0">
                <a:pos x="connsiteX22521" y="connsiteY22521"/>
              </a:cxn>
              <a:cxn ang="0">
                <a:pos x="connsiteX22522" y="connsiteY22522"/>
              </a:cxn>
              <a:cxn ang="0">
                <a:pos x="connsiteX22523" y="connsiteY22523"/>
              </a:cxn>
              <a:cxn ang="0">
                <a:pos x="connsiteX22524" y="connsiteY22524"/>
              </a:cxn>
              <a:cxn ang="0">
                <a:pos x="connsiteX22525" y="connsiteY22525"/>
              </a:cxn>
              <a:cxn ang="0">
                <a:pos x="connsiteX22526" y="connsiteY22526"/>
              </a:cxn>
              <a:cxn ang="0">
                <a:pos x="connsiteX22527" y="connsiteY22527"/>
              </a:cxn>
              <a:cxn ang="0">
                <a:pos x="connsiteX22528" y="connsiteY22528"/>
              </a:cxn>
              <a:cxn ang="0">
                <a:pos x="connsiteX22529" y="connsiteY22529"/>
              </a:cxn>
              <a:cxn ang="0">
                <a:pos x="connsiteX22530" y="connsiteY22530"/>
              </a:cxn>
              <a:cxn ang="0">
                <a:pos x="connsiteX22531" y="connsiteY22531"/>
              </a:cxn>
              <a:cxn ang="0">
                <a:pos x="connsiteX22532" y="connsiteY22532"/>
              </a:cxn>
              <a:cxn ang="0">
                <a:pos x="connsiteX22533" y="connsiteY22533"/>
              </a:cxn>
              <a:cxn ang="0">
                <a:pos x="connsiteX22534" y="connsiteY22534"/>
              </a:cxn>
              <a:cxn ang="0">
                <a:pos x="connsiteX22535" y="connsiteY22535"/>
              </a:cxn>
              <a:cxn ang="0">
                <a:pos x="connsiteX22536" y="connsiteY22536"/>
              </a:cxn>
              <a:cxn ang="0">
                <a:pos x="connsiteX22537" y="connsiteY22537"/>
              </a:cxn>
              <a:cxn ang="0">
                <a:pos x="connsiteX22538" y="connsiteY22538"/>
              </a:cxn>
              <a:cxn ang="0">
                <a:pos x="connsiteX22539" y="connsiteY22539"/>
              </a:cxn>
              <a:cxn ang="0">
                <a:pos x="connsiteX22540" y="connsiteY22540"/>
              </a:cxn>
              <a:cxn ang="0">
                <a:pos x="connsiteX22541" y="connsiteY22541"/>
              </a:cxn>
              <a:cxn ang="0">
                <a:pos x="connsiteX22542" y="connsiteY22542"/>
              </a:cxn>
              <a:cxn ang="0">
                <a:pos x="connsiteX22543" y="connsiteY22543"/>
              </a:cxn>
              <a:cxn ang="0">
                <a:pos x="connsiteX22544" y="connsiteY22544"/>
              </a:cxn>
              <a:cxn ang="0">
                <a:pos x="connsiteX22545" y="connsiteY22545"/>
              </a:cxn>
              <a:cxn ang="0">
                <a:pos x="connsiteX22546" y="connsiteY22546"/>
              </a:cxn>
              <a:cxn ang="0">
                <a:pos x="connsiteX22547" y="connsiteY22547"/>
              </a:cxn>
              <a:cxn ang="0">
                <a:pos x="connsiteX22548" y="connsiteY22548"/>
              </a:cxn>
              <a:cxn ang="0">
                <a:pos x="connsiteX22549" y="connsiteY22549"/>
              </a:cxn>
              <a:cxn ang="0">
                <a:pos x="connsiteX22550" y="connsiteY22550"/>
              </a:cxn>
              <a:cxn ang="0">
                <a:pos x="connsiteX22551" y="connsiteY22551"/>
              </a:cxn>
              <a:cxn ang="0">
                <a:pos x="connsiteX22552" y="connsiteY22552"/>
              </a:cxn>
              <a:cxn ang="0">
                <a:pos x="connsiteX22553" y="connsiteY22553"/>
              </a:cxn>
              <a:cxn ang="0">
                <a:pos x="connsiteX22554" y="connsiteY22554"/>
              </a:cxn>
              <a:cxn ang="0">
                <a:pos x="connsiteX22555" y="connsiteY22555"/>
              </a:cxn>
              <a:cxn ang="0">
                <a:pos x="connsiteX22556" y="connsiteY22556"/>
              </a:cxn>
              <a:cxn ang="0">
                <a:pos x="connsiteX22557" y="connsiteY22557"/>
              </a:cxn>
              <a:cxn ang="0">
                <a:pos x="connsiteX22558" y="connsiteY22558"/>
              </a:cxn>
              <a:cxn ang="0">
                <a:pos x="connsiteX22559" y="connsiteY22559"/>
              </a:cxn>
              <a:cxn ang="0">
                <a:pos x="connsiteX22560" y="connsiteY22560"/>
              </a:cxn>
              <a:cxn ang="0">
                <a:pos x="connsiteX22561" y="connsiteY22561"/>
              </a:cxn>
              <a:cxn ang="0">
                <a:pos x="connsiteX22562" y="connsiteY22562"/>
              </a:cxn>
              <a:cxn ang="0">
                <a:pos x="connsiteX22563" y="connsiteY22563"/>
              </a:cxn>
              <a:cxn ang="0">
                <a:pos x="connsiteX22564" y="connsiteY22564"/>
              </a:cxn>
              <a:cxn ang="0">
                <a:pos x="connsiteX22565" y="connsiteY22565"/>
              </a:cxn>
              <a:cxn ang="0">
                <a:pos x="connsiteX22566" y="connsiteY22566"/>
              </a:cxn>
              <a:cxn ang="0">
                <a:pos x="connsiteX22567" y="connsiteY22567"/>
              </a:cxn>
              <a:cxn ang="0">
                <a:pos x="connsiteX22568" y="connsiteY22568"/>
              </a:cxn>
              <a:cxn ang="0">
                <a:pos x="connsiteX22569" y="connsiteY22569"/>
              </a:cxn>
              <a:cxn ang="0">
                <a:pos x="connsiteX22570" y="connsiteY22570"/>
              </a:cxn>
              <a:cxn ang="0">
                <a:pos x="connsiteX22571" y="connsiteY22571"/>
              </a:cxn>
              <a:cxn ang="0">
                <a:pos x="connsiteX22572" y="connsiteY22572"/>
              </a:cxn>
              <a:cxn ang="0">
                <a:pos x="connsiteX22573" y="connsiteY22573"/>
              </a:cxn>
              <a:cxn ang="0">
                <a:pos x="connsiteX22574" y="connsiteY22574"/>
              </a:cxn>
              <a:cxn ang="0">
                <a:pos x="connsiteX22575" y="connsiteY22575"/>
              </a:cxn>
              <a:cxn ang="0">
                <a:pos x="connsiteX22576" y="connsiteY22576"/>
              </a:cxn>
              <a:cxn ang="0">
                <a:pos x="connsiteX22577" y="connsiteY22577"/>
              </a:cxn>
              <a:cxn ang="0">
                <a:pos x="connsiteX22578" y="connsiteY22578"/>
              </a:cxn>
              <a:cxn ang="0">
                <a:pos x="connsiteX22579" y="connsiteY22579"/>
              </a:cxn>
              <a:cxn ang="0">
                <a:pos x="connsiteX22580" y="connsiteY22580"/>
              </a:cxn>
              <a:cxn ang="0">
                <a:pos x="connsiteX22581" y="connsiteY22581"/>
              </a:cxn>
              <a:cxn ang="0">
                <a:pos x="connsiteX22582" y="connsiteY22582"/>
              </a:cxn>
              <a:cxn ang="0">
                <a:pos x="connsiteX22583" y="connsiteY22583"/>
              </a:cxn>
              <a:cxn ang="0">
                <a:pos x="connsiteX22584" y="connsiteY22584"/>
              </a:cxn>
              <a:cxn ang="0">
                <a:pos x="connsiteX22585" y="connsiteY22585"/>
              </a:cxn>
              <a:cxn ang="0">
                <a:pos x="connsiteX22586" y="connsiteY22586"/>
              </a:cxn>
              <a:cxn ang="0">
                <a:pos x="connsiteX22587" y="connsiteY22587"/>
              </a:cxn>
              <a:cxn ang="0">
                <a:pos x="connsiteX22588" y="connsiteY22588"/>
              </a:cxn>
              <a:cxn ang="0">
                <a:pos x="connsiteX22589" y="connsiteY22589"/>
              </a:cxn>
              <a:cxn ang="0">
                <a:pos x="connsiteX22590" y="connsiteY22590"/>
              </a:cxn>
              <a:cxn ang="0">
                <a:pos x="connsiteX22591" y="connsiteY22591"/>
              </a:cxn>
              <a:cxn ang="0">
                <a:pos x="connsiteX22592" y="connsiteY22592"/>
              </a:cxn>
              <a:cxn ang="0">
                <a:pos x="connsiteX22593" y="connsiteY22593"/>
              </a:cxn>
              <a:cxn ang="0">
                <a:pos x="connsiteX22594" y="connsiteY22594"/>
              </a:cxn>
              <a:cxn ang="0">
                <a:pos x="connsiteX22595" y="connsiteY22595"/>
              </a:cxn>
              <a:cxn ang="0">
                <a:pos x="connsiteX22596" y="connsiteY22596"/>
              </a:cxn>
              <a:cxn ang="0">
                <a:pos x="connsiteX22597" y="connsiteY22597"/>
              </a:cxn>
              <a:cxn ang="0">
                <a:pos x="connsiteX22598" y="connsiteY22598"/>
              </a:cxn>
              <a:cxn ang="0">
                <a:pos x="connsiteX22599" y="connsiteY22599"/>
              </a:cxn>
              <a:cxn ang="0">
                <a:pos x="connsiteX22600" y="connsiteY22600"/>
              </a:cxn>
              <a:cxn ang="0">
                <a:pos x="connsiteX22601" y="connsiteY22601"/>
              </a:cxn>
              <a:cxn ang="0">
                <a:pos x="connsiteX22602" y="connsiteY22602"/>
              </a:cxn>
              <a:cxn ang="0">
                <a:pos x="connsiteX22603" y="connsiteY22603"/>
              </a:cxn>
              <a:cxn ang="0">
                <a:pos x="connsiteX22604" y="connsiteY22604"/>
              </a:cxn>
              <a:cxn ang="0">
                <a:pos x="connsiteX22605" y="connsiteY22605"/>
              </a:cxn>
              <a:cxn ang="0">
                <a:pos x="connsiteX22606" y="connsiteY22606"/>
              </a:cxn>
              <a:cxn ang="0">
                <a:pos x="connsiteX22607" y="connsiteY22607"/>
              </a:cxn>
              <a:cxn ang="0">
                <a:pos x="connsiteX22608" y="connsiteY22608"/>
              </a:cxn>
              <a:cxn ang="0">
                <a:pos x="connsiteX22609" y="connsiteY22609"/>
              </a:cxn>
              <a:cxn ang="0">
                <a:pos x="connsiteX22610" y="connsiteY22610"/>
              </a:cxn>
              <a:cxn ang="0">
                <a:pos x="connsiteX22611" y="connsiteY22611"/>
              </a:cxn>
              <a:cxn ang="0">
                <a:pos x="connsiteX22612" y="connsiteY22612"/>
              </a:cxn>
              <a:cxn ang="0">
                <a:pos x="connsiteX22613" y="connsiteY22613"/>
              </a:cxn>
              <a:cxn ang="0">
                <a:pos x="connsiteX22614" y="connsiteY22614"/>
              </a:cxn>
              <a:cxn ang="0">
                <a:pos x="connsiteX22615" y="connsiteY22615"/>
              </a:cxn>
              <a:cxn ang="0">
                <a:pos x="connsiteX22616" y="connsiteY22616"/>
              </a:cxn>
              <a:cxn ang="0">
                <a:pos x="connsiteX22617" y="connsiteY22617"/>
              </a:cxn>
              <a:cxn ang="0">
                <a:pos x="connsiteX22618" y="connsiteY22618"/>
              </a:cxn>
              <a:cxn ang="0">
                <a:pos x="connsiteX22619" y="connsiteY22619"/>
              </a:cxn>
              <a:cxn ang="0">
                <a:pos x="connsiteX22620" y="connsiteY22620"/>
              </a:cxn>
              <a:cxn ang="0">
                <a:pos x="connsiteX22621" y="connsiteY22621"/>
              </a:cxn>
              <a:cxn ang="0">
                <a:pos x="connsiteX22622" y="connsiteY22622"/>
              </a:cxn>
              <a:cxn ang="0">
                <a:pos x="connsiteX22623" y="connsiteY22623"/>
              </a:cxn>
              <a:cxn ang="0">
                <a:pos x="connsiteX22624" y="connsiteY22624"/>
              </a:cxn>
              <a:cxn ang="0">
                <a:pos x="connsiteX22625" y="connsiteY22625"/>
              </a:cxn>
              <a:cxn ang="0">
                <a:pos x="connsiteX22626" y="connsiteY22626"/>
              </a:cxn>
              <a:cxn ang="0">
                <a:pos x="connsiteX22627" y="connsiteY22627"/>
              </a:cxn>
              <a:cxn ang="0">
                <a:pos x="connsiteX22628" y="connsiteY22628"/>
              </a:cxn>
              <a:cxn ang="0">
                <a:pos x="connsiteX22629" y="connsiteY22629"/>
              </a:cxn>
              <a:cxn ang="0">
                <a:pos x="connsiteX22630" y="connsiteY22630"/>
              </a:cxn>
              <a:cxn ang="0">
                <a:pos x="connsiteX22631" y="connsiteY22631"/>
              </a:cxn>
              <a:cxn ang="0">
                <a:pos x="connsiteX22632" y="connsiteY22632"/>
              </a:cxn>
              <a:cxn ang="0">
                <a:pos x="connsiteX22633" y="connsiteY22633"/>
              </a:cxn>
              <a:cxn ang="0">
                <a:pos x="connsiteX22634" y="connsiteY22634"/>
              </a:cxn>
              <a:cxn ang="0">
                <a:pos x="connsiteX22635" y="connsiteY22635"/>
              </a:cxn>
              <a:cxn ang="0">
                <a:pos x="connsiteX22636" y="connsiteY22636"/>
              </a:cxn>
              <a:cxn ang="0">
                <a:pos x="connsiteX22637" y="connsiteY22637"/>
              </a:cxn>
              <a:cxn ang="0">
                <a:pos x="connsiteX22638" y="connsiteY22638"/>
              </a:cxn>
              <a:cxn ang="0">
                <a:pos x="connsiteX22639" y="connsiteY22639"/>
              </a:cxn>
              <a:cxn ang="0">
                <a:pos x="connsiteX22640" y="connsiteY22640"/>
              </a:cxn>
              <a:cxn ang="0">
                <a:pos x="connsiteX22641" y="connsiteY22641"/>
              </a:cxn>
              <a:cxn ang="0">
                <a:pos x="connsiteX22642" y="connsiteY22642"/>
              </a:cxn>
              <a:cxn ang="0">
                <a:pos x="connsiteX22643" y="connsiteY22643"/>
              </a:cxn>
              <a:cxn ang="0">
                <a:pos x="connsiteX22644" y="connsiteY22644"/>
              </a:cxn>
              <a:cxn ang="0">
                <a:pos x="connsiteX22645" y="connsiteY22645"/>
              </a:cxn>
              <a:cxn ang="0">
                <a:pos x="connsiteX22646" y="connsiteY22646"/>
              </a:cxn>
              <a:cxn ang="0">
                <a:pos x="connsiteX22647" y="connsiteY22647"/>
              </a:cxn>
              <a:cxn ang="0">
                <a:pos x="connsiteX22648" y="connsiteY22648"/>
              </a:cxn>
              <a:cxn ang="0">
                <a:pos x="connsiteX22649" y="connsiteY22649"/>
              </a:cxn>
              <a:cxn ang="0">
                <a:pos x="connsiteX22650" y="connsiteY22650"/>
              </a:cxn>
              <a:cxn ang="0">
                <a:pos x="connsiteX22651" y="connsiteY22651"/>
              </a:cxn>
              <a:cxn ang="0">
                <a:pos x="connsiteX22652" y="connsiteY22652"/>
              </a:cxn>
              <a:cxn ang="0">
                <a:pos x="connsiteX22653" y="connsiteY22653"/>
              </a:cxn>
              <a:cxn ang="0">
                <a:pos x="connsiteX22654" y="connsiteY22654"/>
              </a:cxn>
              <a:cxn ang="0">
                <a:pos x="connsiteX22655" y="connsiteY22655"/>
              </a:cxn>
              <a:cxn ang="0">
                <a:pos x="connsiteX22656" y="connsiteY22656"/>
              </a:cxn>
              <a:cxn ang="0">
                <a:pos x="connsiteX22657" y="connsiteY22657"/>
              </a:cxn>
              <a:cxn ang="0">
                <a:pos x="connsiteX22658" y="connsiteY22658"/>
              </a:cxn>
              <a:cxn ang="0">
                <a:pos x="connsiteX22659" y="connsiteY22659"/>
              </a:cxn>
              <a:cxn ang="0">
                <a:pos x="connsiteX22660" y="connsiteY22660"/>
              </a:cxn>
              <a:cxn ang="0">
                <a:pos x="connsiteX22661" y="connsiteY22661"/>
              </a:cxn>
              <a:cxn ang="0">
                <a:pos x="connsiteX22662" y="connsiteY22662"/>
              </a:cxn>
              <a:cxn ang="0">
                <a:pos x="connsiteX22663" y="connsiteY22663"/>
              </a:cxn>
              <a:cxn ang="0">
                <a:pos x="connsiteX22664" y="connsiteY22664"/>
              </a:cxn>
              <a:cxn ang="0">
                <a:pos x="connsiteX22665" y="connsiteY22665"/>
              </a:cxn>
              <a:cxn ang="0">
                <a:pos x="connsiteX22666" y="connsiteY22666"/>
              </a:cxn>
              <a:cxn ang="0">
                <a:pos x="connsiteX22667" y="connsiteY22667"/>
              </a:cxn>
              <a:cxn ang="0">
                <a:pos x="connsiteX22668" y="connsiteY22668"/>
              </a:cxn>
              <a:cxn ang="0">
                <a:pos x="connsiteX22669" y="connsiteY22669"/>
              </a:cxn>
              <a:cxn ang="0">
                <a:pos x="connsiteX22670" y="connsiteY22670"/>
              </a:cxn>
              <a:cxn ang="0">
                <a:pos x="connsiteX22671" y="connsiteY22671"/>
              </a:cxn>
              <a:cxn ang="0">
                <a:pos x="connsiteX22672" y="connsiteY22672"/>
              </a:cxn>
              <a:cxn ang="0">
                <a:pos x="connsiteX22673" y="connsiteY22673"/>
              </a:cxn>
              <a:cxn ang="0">
                <a:pos x="connsiteX22674" y="connsiteY22674"/>
              </a:cxn>
              <a:cxn ang="0">
                <a:pos x="connsiteX22675" y="connsiteY22675"/>
              </a:cxn>
              <a:cxn ang="0">
                <a:pos x="connsiteX22676" y="connsiteY22676"/>
              </a:cxn>
              <a:cxn ang="0">
                <a:pos x="connsiteX22677" y="connsiteY22677"/>
              </a:cxn>
              <a:cxn ang="0">
                <a:pos x="connsiteX22678" y="connsiteY22678"/>
              </a:cxn>
              <a:cxn ang="0">
                <a:pos x="connsiteX22679" y="connsiteY22679"/>
              </a:cxn>
              <a:cxn ang="0">
                <a:pos x="connsiteX22680" y="connsiteY22680"/>
              </a:cxn>
              <a:cxn ang="0">
                <a:pos x="connsiteX22681" y="connsiteY22681"/>
              </a:cxn>
              <a:cxn ang="0">
                <a:pos x="connsiteX22682" y="connsiteY22682"/>
              </a:cxn>
              <a:cxn ang="0">
                <a:pos x="connsiteX22683" y="connsiteY22683"/>
              </a:cxn>
              <a:cxn ang="0">
                <a:pos x="connsiteX22684" y="connsiteY22684"/>
              </a:cxn>
              <a:cxn ang="0">
                <a:pos x="connsiteX22685" y="connsiteY22685"/>
              </a:cxn>
              <a:cxn ang="0">
                <a:pos x="connsiteX22686" y="connsiteY22686"/>
              </a:cxn>
              <a:cxn ang="0">
                <a:pos x="connsiteX22687" y="connsiteY22687"/>
              </a:cxn>
              <a:cxn ang="0">
                <a:pos x="connsiteX22688" y="connsiteY22688"/>
              </a:cxn>
              <a:cxn ang="0">
                <a:pos x="connsiteX22689" y="connsiteY22689"/>
              </a:cxn>
              <a:cxn ang="0">
                <a:pos x="connsiteX22690" y="connsiteY22690"/>
              </a:cxn>
              <a:cxn ang="0">
                <a:pos x="connsiteX22691" y="connsiteY22691"/>
              </a:cxn>
              <a:cxn ang="0">
                <a:pos x="connsiteX22692" y="connsiteY22692"/>
              </a:cxn>
              <a:cxn ang="0">
                <a:pos x="connsiteX22693" y="connsiteY22693"/>
              </a:cxn>
              <a:cxn ang="0">
                <a:pos x="connsiteX22694" y="connsiteY22694"/>
              </a:cxn>
              <a:cxn ang="0">
                <a:pos x="connsiteX22695" y="connsiteY22695"/>
              </a:cxn>
              <a:cxn ang="0">
                <a:pos x="connsiteX22696" y="connsiteY22696"/>
              </a:cxn>
              <a:cxn ang="0">
                <a:pos x="connsiteX22697" y="connsiteY22697"/>
              </a:cxn>
              <a:cxn ang="0">
                <a:pos x="connsiteX22698" y="connsiteY22698"/>
              </a:cxn>
              <a:cxn ang="0">
                <a:pos x="connsiteX22699" y="connsiteY22699"/>
              </a:cxn>
              <a:cxn ang="0">
                <a:pos x="connsiteX22700" y="connsiteY22700"/>
              </a:cxn>
              <a:cxn ang="0">
                <a:pos x="connsiteX22701" y="connsiteY22701"/>
              </a:cxn>
              <a:cxn ang="0">
                <a:pos x="connsiteX22702" y="connsiteY22702"/>
              </a:cxn>
              <a:cxn ang="0">
                <a:pos x="connsiteX22703" y="connsiteY22703"/>
              </a:cxn>
              <a:cxn ang="0">
                <a:pos x="connsiteX22704" y="connsiteY22704"/>
              </a:cxn>
              <a:cxn ang="0">
                <a:pos x="connsiteX22705" y="connsiteY22705"/>
              </a:cxn>
              <a:cxn ang="0">
                <a:pos x="connsiteX22706" y="connsiteY22706"/>
              </a:cxn>
              <a:cxn ang="0">
                <a:pos x="connsiteX22707" y="connsiteY22707"/>
              </a:cxn>
              <a:cxn ang="0">
                <a:pos x="connsiteX22708" y="connsiteY22708"/>
              </a:cxn>
              <a:cxn ang="0">
                <a:pos x="connsiteX22709" y="connsiteY22709"/>
              </a:cxn>
              <a:cxn ang="0">
                <a:pos x="connsiteX22710" y="connsiteY22710"/>
              </a:cxn>
              <a:cxn ang="0">
                <a:pos x="connsiteX22711" y="connsiteY22711"/>
              </a:cxn>
              <a:cxn ang="0">
                <a:pos x="connsiteX22712" y="connsiteY22712"/>
              </a:cxn>
              <a:cxn ang="0">
                <a:pos x="connsiteX22713" y="connsiteY22713"/>
              </a:cxn>
              <a:cxn ang="0">
                <a:pos x="connsiteX22714" y="connsiteY22714"/>
              </a:cxn>
              <a:cxn ang="0">
                <a:pos x="connsiteX22715" y="connsiteY22715"/>
              </a:cxn>
              <a:cxn ang="0">
                <a:pos x="connsiteX22716" y="connsiteY22716"/>
              </a:cxn>
              <a:cxn ang="0">
                <a:pos x="connsiteX22717" y="connsiteY22717"/>
              </a:cxn>
              <a:cxn ang="0">
                <a:pos x="connsiteX22718" y="connsiteY22718"/>
              </a:cxn>
              <a:cxn ang="0">
                <a:pos x="connsiteX22719" y="connsiteY22719"/>
              </a:cxn>
              <a:cxn ang="0">
                <a:pos x="connsiteX22720" y="connsiteY22720"/>
              </a:cxn>
              <a:cxn ang="0">
                <a:pos x="connsiteX22721" y="connsiteY22721"/>
              </a:cxn>
              <a:cxn ang="0">
                <a:pos x="connsiteX22722" y="connsiteY22722"/>
              </a:cxn>
              <a:cxn ang="0">
                <a:pos x="connsiteX22723" y="connsiteY22723"/>
              </a:cxn>
              <a:cxn ang="0">
                <a:pos x="connsiteX22724" y="connsiteY22724"/>
              </a:cxn>
              <a:cxn ang="0">
                <a:pos x="connsiteX22725" y="connsiteY22725"/>
              </a:cxn>
              <a:cxn ang="0">
                <a:pos x="connsiteX22726" y="connsiteY22726"/>
              </a:cxn>
              <a:cxn ang="0">
                <a:pos x="connsiteX22727" y="connsiteY22727"/>
              </a:cxn>
              <a:cxn ang="0">
                <a:pos x="connsiteX22728" y="connsiteY22728"/>
              </a:cxn>
              <a:cxn ang="0">
                <a:pos x="connsiteX22729" y="connsiteY22729"/>
              </a:cxn>
              <a:cxn ang="0">
                <a:pos x="connsiteX22730" y="connsiteY22730"/>
              </a:cxn>
              <a:cxn ang="0">
                <a:pos x="connsiteX22731" y="connsiteY22731"/>
              </a:cxn>
              <a:cxn ang="0">
                <a:pos x="connsiteX22732" y="connsiteY22732"/>
              </a:cxn>
              <a:cxn ang="0">
                <a:pos x="connsiteX22733" y="connsiteY22733"/>
              </a:cxn>
              <a:cxn ang="0">
                <a:pos x="connsiteX22734" y="connsiteY22734"/>
              </a:cxn>
              <a:cxn ang="0">
                <a:pos x="connsiteX22735" y="connsiteY22735"/>
              </a:cxn>
              <a:cxn ang="0">
                <a:pos x="connsiteX22736" y="connsiteY22736"/>
              </a:cxn>
              <a:cxn ang="0">
                <a:pos x="connsiteX22737" y="connsiteY22737"/>
              </a:cxn>
              <a:cxn ang="0">
                <a:pos x="connsiteX22738" y="connsiteY22738"/>
              </a:cxn>
              <a:cxn ang="0">
                <a:pos x="connsiteX22739" y="connsiteY22739"/>
              </a:cxn>
              <a:cxn ang="0">
                <a:pos x="connsiteX22740" y="connsiteY22740"/>
              </a:cxn>
              <a:cxn ang="0">
                <a:pos x="connsiteX22741" y="connsiteY22741"/>
              </a:cxn>
              <a:cxn ang="0">
                <a:pos x="connsiteX22742" y="connsiteY22742"/>
              </a:cxn>
              <a:cxn ang="0">
                <a:pos x="connsiteX22743" y="connsiteY22743"/>
              </a:cxn>
              <a:cxn ang="0">
                <a:pos x="connsiteX22744" y="connsiteY22744"/>
              </a:cxn>
              <a:cxn ang="0">
                <a:pos x="connsiteX22745" y="connsiteY22745"/>
              </a:cxn>
              <a:cxn ang="0">
                <a:pos x="connsiteX22746" y="connsiteY22746"/>
              </a:cxn>
              <a:cxn ang="0">
                <a:pos x="connsiteX22747" y="connsiteY22747"/>
              </a:cxn>
              <a:cxn ang="0">
                <a:pos x="connsiteX22748" y="connsiteY22748"/>
              </a:cxn>
              <a:cxn ang="0">
                <a:pos x="connsiteX22749" y="connsiteY22749"/>
              </a:cxn>
              <a:cxn ang="0">
                <a:pos x="connsiteX22750" y="connsiteY22750"/>
              </a:cxn>
              <a:cxn ang="0">
                <a:pos x="connsiteX22751" y="connsiteY22751"/>
              </a:cxn>
              <a:cxn ang="0">
                <a:pos x="connsiteX22752" y="connsiteY22752"/>
              </a:cxn>
              <a:cxn ang="0">
                <a:pos x="connsiteX22753" y="connsiteY22753"/>
              </a:cxn>
              <a:cxn ang="0">
                <a:pos x="connsiteX22754" y="connsiteY22754"/>
              </a:cxn>
              <a:cxn ang="0">
                <a:pos x="connsiteX22755" y="connsiteY22755"/>
              </a:cxn>
              <a:cxn ang="0">
                <a:pos x="connsiteX22756" y="connsiteY22756"/>
              </a:cxn>
              <a:cxn ang="0">
                <a:pos x="connsiteX22757" y="connsiteY22757"/>
              </a:cxn>
              <a:cxn ang="0">
                <a:pos x="connsiteX22758" y="connsiteY22758"/>
              </a:cxn>
              <a:cxn ang="0">
                <a:pos x="connsiteX22759" y="connsiteY22759"/>
              </a:cxn>
              <a:cxn ang="0">
                <a:pos x="connsiteX22760" y="connsiteY22760"/>
              </a:cxn>
              <a:cxn ang="0">
                <a:pos x="connsiteX22761" y="connsiteY22761"/>
              </a:cxn>
              <a:cxn ang="0">
                <a:pos x="connsiteX22762" y="connsiteY22762"/>
              </a:cxn>
              <a:cxn ang="0">
                <a:pos x="connsiteX22763" y="connsiteY22763"/>
              </a:cxn>
              <a:cxn ang="0">
                <a:pos x="connsiteX22764" y="connsiteY22764"/>
              </a:cxn>
              <a:cxn ang="0">
                <a:pos x="connsiteX22765" y="connsiteY22765"/>
              </a:cxn>
              <a:cxn ang="0">
                <a:pos x="connsiteX22766" y="connsiteY22766"/>
              </a:cxn>
              <a:cxn ang="0">
                <a:pos x="connsiteX22767" y="connsiteY22767"/>
              </a:cxn>
              <a:cxn ang="0">
                <a:pos x="connsiteX22768" y="connsiteY22768"/>
              </a:cxn>
              <a:cxn ang="0">
                <a:pos x="connsiteX22769" y="connsiteY22769"/>
              </a:cxn>
              <a:cxn ang="0">
                <a:pos x="connsiteX22770" y="connsiteY22770"/>
              </a:cxn>
              <a:cxn ang="0">
                <a:pos x="connsiteX22771" y="connsiteY22771"/>
              </a:cxn>
              <a:cxn ang="0">
                <a:pos x="connsiteX22772" y="connsiteY22772"/>
              </a:cxn>
              <a:cxn ang="0">
                <a:pos x="connsiteX22773" y="connsiteY22773"/>
              </a:cxn>
              <a:cxn ang="0">
                <a:pos x="connsiteX22774" y="connsiteY22774"/>
              </a:cxn>
              <a:cxn ang="0">
                <a:pos x="connsiteX22775" y="connsiteY22775"/>
              </a:cxn>
              <a:cxn ang="0">
                <a:pos x="connsiteX22776" y="connsiteY22776"/>
              </a:cxn>
              <a:cxn ang="0">
                <a:pos x="connsiteX22777" y="connsiteY22777"/>
              </a:cxn>
              <a:cxn ang="0">
                <a:pos x="connsiteX22778" y="connsiteY22778"/>
              </a:cxn>
              <a:cxn ang="0">
                <a:pos x="connsiteX22779" y="connsiteY22779"/>
              </a:cxn>
              <a:cxn ang="0">
                <a:pos x="connsiteX22780" y="connsiteY22780"/>
              </a:cxn>
              <a:cxn ang="0">
                <a:pos x="connsiteX22781" y="connsiteY22781"/>
              </a:cxn>
              <a:cxn ang="0">
                <a:pos x="connsiteX22782" y="connsiteY22782"/>
              </a:cxn>
              <a:cxn ang="0">
                <a:pos x="connsiteX22783" y="connsiteY22783"/>
              </a:cxn>
              <a:cxn ang="0">
                <a:pos x="connsiteX22784" y="connsiteY22784"/>
              </a:cxn>
              <a:cxn ang="0">
                <a:pos x="connsiteX22785" y="connsiteY22785"/>
              </a:cxn>
              <a:cxn ang="0">
                <a:pos x="connsiteX22786" y="connsiteY22786"/>
              </a:cxn>
              <a:cxn ang="0">
                <a:pos x="connsiteX22787" y="connsiteY22787"/>
              </a:cxn>
              <a:cxn ang="0">
                <a:pos x="connsiteX22788" y="connsiteY22788"/>
              </a:cxn>
              <a:cxn ang="0">
                <a:pos x="connsiteX22789" y="connsiteY22789"/>
              </a:cxn>
              <a:cxn ang="0">
                <a:pos x="connsiteX22790" y="connsiteY22790"/>
              </a:cxn>
              <a:cxn ang="0">
                <a:pos x="connsiteX22791" y="connsiteY22791"/>
              </a:cxn>
              <a:cxn ang="0">
                <a:pos x="connsiteX22792" y="connsiteY22792"/>
              </a:cxn>
              <a:cxn ang="0">
                <a:pos x="connsiteX22793" y="connsiteY22793"/>
              </a:cxn>
              <a:cxn ang="0">
                <a:pos x="connsiteX22794" y="connsiteY22794"/>
              </a:cxn>
              <a:cxn ang="0">
                <a:pos x="connsiteX22795" y="connsiteY22795"/>
              </a:cxn>
              <a:cxn ang="0">
                <a:pos x="connsiteX22796" y="connsiteY22796"/>
              </a:cxn>
              <a:cxn ang="0">
                <a:pos x="connsiteX22797" y="connsiteY22797"/>
              </a:cxn>
              <a:cxn ang="0">
                <a:pos x="connsiteX22798" y="connsiteY22798"/>
              </a:cxn>
              <a:cxn ang="0">
                <a:pos x="connsiteX22799" y="connsiteY22799"/>
              </a:cxn>
              <a:cxn ang="0">
                <a:pos x="connsiteX22800" y="connsiteY22800"/>
              </a:cxn>
              <a:cxn ang="0">
                <a:pos x="connsiteX22801" y="connsiteY22801"/>
              </a:cxn>
              <a:cxn ang="0">
                <a:pos x="connsiteX22802" y="connsiteY22802"/>
              </a:cxn>
              <a:cxn ang="0">
                <a:pos x="connsiteX22803" y="connsiteY22803"/>
              </a:cxn>
              <a:cxn ang="0">
                <a:pos x="connsiteX22804" y="connsiteY22804"/>
              </a:cxn>
              <a:cxn ang="0">
                <a:pos x="connsiteX22805" y="connsiteY22805"/>
              </a:cxn>
              <a:cxn ang="0">
                <a:pos x="connsiteX22806" y="connsiteY22806"/>
              </a:cxn>
              <a:cxn ang="0">
                <a:pos x="connsiteX22807" y="connsiteY22807"/>
              </a:cxn>
              <a:cxn ang="0">
                <a:pos x="connsiteX22808" y="connsiteY22808"/>
              </a:cxn>
              <a:cxn ang="0">
                <a:pos x="connsiteX22809" y="connsiteY22809"/>
              </a:cxn>
              <a:cxn ang="0">
                <a:pos x="connsiteX22810" y="connsiteY22810"/>
              </a:cxn>
              <a:cxn ang="0">
                <a:pos x="connsiteX22811" y="connsiteY22811"/>
              </a:cxn>
              <a:cxn ang="0">
                <a:pos x="connsiteX22812" y="connsiteY22812"/>
              </a:cxn>
              <a:cxn ang="0">
                <a:pos x="connsiteX22813" y="connsiteY22813"/>
              </a:cxn>
              <a:cxn ang="0">
                <a:pos x="connsiteX22814" y="connsiteY22814"/>
              </a:cxn>
              <a:cxn ang="0">
                <a:pos x="connsiteX22815" y="connsiteY22815"/>
              </a:cxn>
              <a:cxn ang="0">
                <a:pos x="connsiteX22816" y="connsiteY22816"/>
              </a:cxn>
              <a:cxn ang="0">
                <a:pos x="connsiteX22817" y="connsiteY22817"/>
              </a:cxn>
              <a:cxn ang="0">
                <a:pos x="connsiteX22818" y="connsiteY22818"/>
              </a:cxn>
              <a:cxn ang="0">
                <a:pos x="connsiteX22819" y="connsiteY22819"/>
              </a:cxn>
              <a:cxn ang="0">
                <a:pos x="connsiteX22820" y="connsiteY22820"/>
              </a:cxn>
              <a:cxn ang="0">
                <a:pos x="connsiteX22821" y="connsiteY22821"/>
              </a:cxn>
              <a:cxn ang="0">
                <a:pos x="connsiteX22822" y="connsiteY22822"/>
              </a:cxn>
              <a:cxn ang="0">
                <a:pos x="connsiteX22823" y="connsiteY22823"/>
              </a:cxn>
              <a:cxn ang="0">
                <a:pos x="connsiteX22824" y="connsiteY22824"/>
              </a:cxn>
              <a:cxn ang="0">
                <a:pos x="connsiteX22825" y="connsiteY22825"/>
              </a:cxn>
              <a:cxn ang="0">
                <a:pos x="connsiteX22826" y="connsiteY22826"/>
              </a:cxn>
              <a:cxn ang="0">
                <a:pos x="connsiteX22827" y="connsiteY22827"/>
              </a:cxn>
              <a:cxn ang="0">
                <a:pos x="connsiteX22828" y="connsiteY22828"/>
              </a:cxn>
              <a:cxn ang="0">
                <a:pos x="connsiteX22829" y="connsiteY22829"/>
              </a:cxn>
              <a:cxn ang="0">
                <a:pos x="connsiteX22830" y="connsiteY22830"/>
              </a:cxn>
              <a:cxn ang="0">
                <a:pos x="connsiteX22831" y="connsiteY22831"/>
              </a:cxn>
              <a:cxn ang="0">
                <a:pos x="connsiteX22832" y="connsiteY22832"/>
              </a:cxn>
              <a:cxn ang="0">
                <a:pos x="connsiteX22833" y="connsiteY22833"/>
              </a:cxn>
              <a:cxn ang="0">
                <a:pos x="connsiteX22834" y="connsiteY22834"/>
              </a:cxn>
              <a:cxn ang="0">
                <a:pos x="connsiteX22835" y="connsiteY22835"/>
              </a:cxn>
              <a:cxn ang="0">
                <a:pos x="connsiteX22836" y="connsiteY22836"/>
              </a:cxn>
              <a:cxn ang="0">
                <a:pos x="connsiteX22837" y="connsiteY22837"/>
              </a:cxn>
              <a:cxn ang="0">
                <a:pos x="connsiteX22838" y="connsiteY22838"/>
              </a:cxn>
              <a:cxn ang="0">
                <a:pos x="connsiteX22839" y="connsiteY22839"/>
              </a:cxn>
              <a:cxn ang="0">
                <a:pos x="connsiteX22840" y="connsiteY22840"/>
              </a:cxn>
              <a:cxn ang="0">
                <a:pos x="connsiteX22841" y="connsiteY22841"/>
              </a:cxn>
              <a:cxn ang="0">
                <a:pos x="connsiteX22842" y="connsiteY22842"/>
              </a:cxn>
              <a:cxn ang="0">
                <a:pos x="connsiteX22843" y="connsiteY22843"/>
              </a:cxn>
              <a:cxn ang="0">
                <a:pos x="connsiteX22844" y="connsiteY22844"/>
              </a:cxn>
              <a:cxn ang="0">
                <a:pos x="connsiteX22845" y="connsiteY22845"/>
              </a:cxn>
              <a:cxn ang="0">
                <a:pos x="connsiteX22846" y="connsiteY22846"/>
              </a:cxn>
              <a:cxn ang="0">
                <a:pos x="connsiteX22847" y="connsiteY22847"/>
              </a:cxn>
              <a:cxn ang="0">
                <a:pos x="connsiteX22848" y="connsiteY22848"/>
              </a:cxn>
              <a:cxn ang="0">
                <a:pos x="connsiteX22849" y="connsiteY22849"/>
              </a:cxn>
              <a:cxn ang="0">
                <a:pos x="connsiteX22850" y="connsiteY22850"/>
              </a:cxn>
              <a:cxn ang="0">
                <a:pos x="connsiteX22851" y="connsiteY22851"/>
              </a:cxn>
              <a:cxn ang="0">
                <a:pos x="connsiteX22852" y="connsiteY22852"/>
              </a:cxn>
              <a:cxn ang="0">
                <a:pos x="connsiteX22853" y="connsiteY22853"/>
              </a:cxn>
              <a:cxn ang="0">
                <a:pos x="connsiteX22854" y="connsiteY22854"/>
              </a:cxn>
              <a:cxn ang="0">
                <a:pos x="connsiteX22855" y="connsiteY22855"/>
              </a:cxn>
              <a:cxn ang="0">
                <a:pos x="connsiteX22856" y="connsiteY22856"/>
              </a:cxn>
              <a:cxn ang="0">
                <a:pos x="connsiteX22857" y="connsiteY22857"/>
              </a:cxn>
              <a:cxn ang="0">
                <a:pos x="connsiteX22858" y="connsiteY22858"/>
              </a:cxn>
              <a:cxn ang="0">
                <a:pos x="connsiteX22859" y="connsiteY22859"/>
              </a:cxn>
              <a:cxn ang="0">
                <a:pos x="connsiteX22860" y="connsiteY22860"/>
              </a:cxn>
              <a:cxn ang="0">
                <a:pos x="connsiteX22861" y="connsiteY22861"/>
              </a:cxn>
              <a:cxn ang="0">
                <a:pos x="connsiteX22862" y="connsiteY22862"/>
              </a:cxn>
              <a:cxn ang="0">
                <a:pos x="connsiteX22863" y="connsiteY22863"/>
              </a:cxn>
              <a:cxn ang="0">
                <a:pos x="connsiteX22864" y="connsiteY22864"/>
              </a:cxn>
              <a:cxn ang="0">
                <a:pos x="connsiteX22865" y="connsiteY22865"/>
              </a:cxn>
              <a:cxn ang="0">
                <a:pos x="connsiteX22866" y="connsiteY22866"/>
              </a:cxn>
              <a:cxn ang="0">
                <a:pos x="connsiteX22867" y="connsiteY22867"/>
              </a:cxn>
              <a:cxn ang="0">
                <a:pos x="connsiteX22868" y="connsiteY22868"/>
              </a:cxn>
              <a:cxn ang="0">
                <a:pos x="connsiteX22869" y="connsiteY22869"/>
              </a:cxn>
              <a:cxn ang="0">
                <a:pos x="connsiteX22870" y="connsiteY22870"/>
              </a:cxn>
              <a:cxn ang="0">
                <a:pos x="connsiteX22871" y="connsiteY22871"/>
              </a:cxn>
              <a:cxn ang="0">
                <a:pos x="connsiteX22872" y="connsiteY22872"/>
              </a:cxn>
              <a:cxn ang="0">
                <a:pos x="connsiteX22873" y="connsiteY22873"/>
              </a:cxn>
              <a:cxn ang="0">
                <a:pos x="connsiteX22874" y="connsiteY22874"/>
              </a:cxn>
              <a:cxn ang="0">
                <a:pos x="connsiteX22875" y="connsiteY22875"/>
              </a:cxn>
              <a:cxn ang="0">
                <a:pos x="connsiteX22876" y="connsiteY22876"/>
              </a:cxn>
              <a:cxn ang="0">
                <a:pos x="connsiteX22877" y="connsiteY22877"/>
              </a:cxn>
              <a:cxn ang="0">
                <a:pos x="connsiteX22878" y="connsiteY22878"/>
              </a:cxn>
              <a:cxn ang="0">
                <a:pos x="connsiteX22879" y="connsiteY22879"/>
              </a:cxn>
              <a:cxn ang="0">
                <a:pos x="connsiteX22880" y="connsiteY22880"/>
              </a:cxn>
              <a:cxn ang="0">
                <a:pos x="connsiteX22881" y="connsiteY22881"/>
              </a:cxn>
              <a:cxn ang="0">
                <a:pos x="connsiteX22882" y="connsiteY22882"/>
              </a:cxn>
              <a:cxn ang="0">
                <a:pos x="connsiteX22883" y="connsiteY22883"/>
              </a:cxn>
              <a:cxn ang="0">
                <a:pos x="connsiteX22884" y="connsiteY22884"/>
              </a:cxn>
              <a:cxn ang="0">
                <a:pos x="connsiteX22885" y="connsiteY22885"/>
              </a:cxn>
              <a:cxn ang="0">
                <a:pos x="connsiteX22886" y="connsiteY22886"/>
              </a:cxn>
              <a:cxn ang="0">
                <a:pos x="connsiteX22887" y="connsiteY22887"/>
              </a:cxn>
              <a:cxn ang="0">
                <a:pos x="connsiteX22888" y="connsiteY22888"/>
              </a:cxn>
              <a:cxn ang="0">
                <a:pos x="connsiteX22889" y="connsiteY22889"/>
              </a:cxn>
              <a:cxn ang="0">
                <a:pos x="connsiteX22890" y="connsiteY22890"/>
              </a:cxn>
              <a:cxn ang="0">
                <a:pos x="connsiteX22891" y="connsiteY22891"/>
              </a:cxn>
              <a:cxn ang="0">
                <a:pos x="connsiteX22892" y="connsiteY22892"/>
              </a:cxn>
              <a:cxn ang="0">
                <a:pos x="connsiteX22893" y="connsiteY22893"/>
              </a:cxn>
              <a:cxn ang="0">
                <a:pos x="connsiteX22894" y="connsiteY22894"/>
              </a:cxn>
              <a:cxn ang="0">
                <a:pos x="connsiteX22895" y="connsiteY22895"/>
              </a:cxn>
              <a:cxn ang="0">
                <a:pos x="connsiteX22896" y="connsiteY22896"/>
              </a:cxn>
              <a:cxn ang="0">
                <a:pos x="connsiteX22897" y="connsiteY22897"/>
              </a:cxn>
              <a:cxn ang="0">
                <a:pos x="connsiteX22898" y="connsiteY22898"/>
              </a:cxn>
              <a:cxn ang="0">
                <a:pos x="connsiteX22899" y="connsiteY22899"/>
              </a:cxn>
              <a:cxn ang="0">
                <a:pos x="connsiteX22900" y="connsiteY22900"/>
              </a:cxn>
              <a:cxn ang="0">
                <a:pos x="connsiteX22901" y="connsiteY22901"/>
              </a:cxn>
              <a:cxn ang="0">
                <a:pos x="connsiteX22902" y="connsiteY22902"/>
              </a:cxn>
              <a:cxn ang="0">
                <a:pos x="connsiteX22903" y="connsiteY22903"/>
              </a:cxn>
              <a:cxn ang="0">
                <a:pos x="connsiteX22904" y="connsiteY22904"/>
              </a:cxn>
              <a:cxn ang="0">
                <a:pos x="connsiteX22905" y="connsiteY22905"/>
              </a:cxn>
              <a:cxn ang="0">
                <a:pos x="connsiteX22906" y="connsiteY22906"/>
              </a:cxn>
              <a:cxn ang="0">
                <a:pos x="connsiteX22907" y="connsiteY22907"/>
              </a:cxn>
              <a:cxn ang="0">
                <a:pos x="connsiteX22908" y="connsiteY22908"/>
              </a:cxn>
              <a:cxn ang="0">
                <a:pos x="connsiteX22909" y="connsiteY22909"/>
              </a:cxn>
              <a:cxn ang="0">
                <a:pos x="connsiteX22910" y="connsiteY22910"/>
              </a:cxn>
              <a:cxn ang="0">
                <a:pos x="connsiteX22911" y="connsiteY22911"/>
              </a:cxn>
              <a:cxn ang="0">
                <a:pos x="connsiteX22912" y="connsiteY22912"/>
              </a:cxn>
              <a:cxn ang="0">
                <a:pos x="connsiteX22913" y="connsiteY22913"/>
              </a:cxn>
              <a:cxn ang="0">
                <a:pos x="connsiteX22914" y="connsiteY22914"/>
              </a:cxn>
              <a:cxn ang="0">
                <a:pos x="connsiteX22915" y="connsiteY22915"/>
              </a:cxn>
              <a:cxn ang="0">
                <a:pos x="connsiteX22916" y="connsiteY22916"/>
              </a:cxn>
              <a:cxn ang="0">
                <a:pos x="connsiteX22917" y="connsiteY22917"/>
              </a:cxn>
              <a:cxn ang="0">
                <a:pos x="connsiteX22918" y="connsiteY22918"/>
              </a:cxn>
              <a:cxn ang="0">
                <a:pos x="connsiteX22919" y="connsiteY22919"/>
              </a:cxn>
              <a:cxn ang="0">
                <a:pos x="connsiteX22920" y="connsiteY22920"/>
              </a:cxn>
              <a:cxn ang="0">
                <a:pos x="connsiteX22921" y="connsiteY22921"/>
              </a:cxn>
              <a:cxn ang="0">
                <a:pos x="connsiteX22922" y="connsiteY22922"/>
              </a:cxn>
              <a:cxn ang="0">
                <a:pos x="connsiteX22923" y="connsiteY22923"/>
              </a:cxn>
              <a:cxn ang="0">
                <a:pos x="connsiteX22924" y="connsiteY22924"/>
              </a:cxn>
              <a:cxn ang="0">
                <a:pos x="connsiteX22925" y="connsiteY22925"/>
              </a:cxn>
              <a:cxn ang="0">
                <a:pos x="connsiteX22926" y="connsiteY22926"/>
              </a:cxn>
              <a:cxn ang="0">
                <a:pos x="connsiteX22927" y="connsiteY22927"/>
              </a:cxn>
              <a:cxn ang="0">
                <a:pos x="connsiteX22928" y="connsiteY22928"/>
              </a:cxn>
              <a:cxn ang="0">
                <a:pos x="connsiteX22929" y="connsiteY22929"/>
              </a:cxn>
              <a:cxn ang="0">
                <a:pos x="connsiteX22930" y="connsiteY22930"/>
              </a:cxn>
              <a:cxn ang="0">
                <a:pos x="connsiteX22931" y="connsiteY22931"/>
              </a:cxn>
              <a:cxn ang="0">
                <a:pos x="connsiteX22932" y="connsiteY22932"/>
              </a:cxn>
              <a:cxn ang="0">
                <a:pos x="connsiteX22933" y="connsiteY22933"/>
              </a:cxn>
              <a:cxn ang="0">
                <a:pos x="connsiteX22934" y="connsiteY22934"/>
              </a:cxn>
              <a:cxn ang="0">
                <a:pos x="connsiteX22935" y="connsiteY22935"/>
              </a:cxn>
              <a:cxn ang="0">
                <a:pos x="connsiteX22936" y="connsiteY22936"/>
              </a:cxn>
              <a:cxn ang="0">
                <a:pos x="connsiteX22937" y="connsiteY22937"/>
              </a:cxn>
              <a:cxn ang="0">
                <a:pos x="connsiteX22938" y="connsiteY22938"/>
              </a:cxn>
              <a:cxn ang="0">
                <a:pos x="connsiteX22939" y="connsiteY22939"/>
              </a:cxn>
              <a:cxn ang="0">
                <a:pos x="connsiteX22940" y="connsiteY22940"/>
              </a:cxn>
              <a:cxn ang="0">
                <a:pos x="connsiteX22941" y="connsiteY22941"/>
              </a:cxn>
              <a:cxn ang="0">
                <a:pos x="connsiteX22942" y="connsiteY22942"/>
              </a:cxn>
              <a:cxn ang="0">
                <a:pos x="connsiteX22943" y="connsiteY22943"/>
              </a:cxn>
              <a:cxn ang="0">
                <a:pos x="connsiteX22944" y="connsiteY22944"/>
              </a:cxn>
              <a:cxn ang="0">
                <a:pos x="connsiteX22945" y="connsiteY22945"/>
              </a:cxn>
              <a:cxn ang="0">
                <a:pos x="connsiteX22946" y="connsiteY22946"/>
              </a:cxn>
              <a:cxn ang="0">
                <a:pos x="connsiteX22947" y="connsiteY22947"/>
              </a:cxn>
              <a:cxn ang="0">
                <a:pos x="connsiteX22948" y="connsiteY22948"/>
              </a:cxn>
              <a:cxn ang="0">
                <a:pos x="connsiteX22949" y="connsiteY22949"/>
              </a:cxn>
              <a:cxn ang="0">
                <a:pos x="connsiteX22950" y="connsiteY22950"/>
              </a:cxn>
              <a:cxn ang="0">
                <a:pos x="connsiteX22951" y="connsiteY22951"/>
              </a:cxn>
              <a:cxn ang="0">
                <a:pos x="connsiteX22952" y="connsiteY22952"/>
              </a:cxn>
              <a:cxn ang="0">
                <a:pos x="connsiteX22953" y="connsiteY22953"/>
              </a:cxn>
              <a:cxn ang="0">
                <a:pos x="connsiteX22954" y="connsiteY22954"/>
              </a:cxn>
              <a:cxn ang="0">
                <a:pos x="connsiteX22955" y="connsiteY22955"/>
              </a:cxn>
              <a:cxn ang="0">
                <a:pos x="connsiteX22956" y="connsiteY22956"/>
              </a:cxn>
              <a:cxn ang="0">
                <a:pos x="connsiteX22957" y="connsiteY22957"/>
              </a:cxn>
              <a:cxn ang="0">
                <a:pos x="connsiteX22958" y="connsiteY22958"/>
              </a:cxn>
              <a:cxn ang="0">
                <a:pos x="connsiteX22959" y="connsiteY22959"/>
              </a:cxn>
              <a:cxn ang="0">
                <a:pos x="connsiteX22960" y="connsiteY22960"/>
              </a:cxn>
              <a:cxn ang="0">
                <a:pos x="connsiteX22961" y="connsiteY22961"/>
              </a:cxn>
              <a:cxn ang="0">
                <a:pos x="connsiteX22962" y="connsiteY22962"/>
              </a:cxn>
              <a:cxn ang="0">
                <a:pos x="connsiteX22963" y="connsiteY22963"/>
              </a:cxn>
              <a:cxn ang="0">
                <a:pos x="connsiteX22964" y="connsiteY22964"/>
              </a:cxn>
              <a:cxn ang="0">
                <a:pos x="connsiteX22965" y="connsiteY22965"/>
              </a:cxn>
              <a:cxn ang="0">
                <a:pos x="connsiteX22966" y="connsiteY22966"/>
              </a:cxn>
              <a:cxn ang="0">
                <a:pos x="connsiteX22967" y="connsiteY22967"/>
              </a:cxn>
              <a:cxn ang="0">
                <a:pos x="connsiteX22968" y="connsiteY22968"/>
              </a:cxn>
              <a:cxn ang="0">
                <a:pos x="connsiteX22969" y="connsiteY22969"/>
              </a:cxn>
              <a:cxn ang="0">
                <a:pos x="connsiteX22970" y="connsiteY22970"/>
              </a:cxn>
              <a:cxn ang="0">
                <a:pos x="connsiteX22971" y="connsiteY22971"/>
              </a:cxn>
              <a:cxn ang="0">
                <a:pos x="connsiteX22972" y="connsiteY22972"/>
              </a:cxn>
              <a:cxn ang="0">
                <a:pos x="connsiteX22973" y="connsiteY22973"/>
              </a:cxn>
              <a:cxn ang="0">
                <a:pos x="connsiteX22974" y="connsiteY22974"/>
              </a:cxn>
              <a:cxn ang="0">
                <a:pos x="connsiteX22975" y="connsiteY22975"/>
              </a:cxn>
              <a:cxn ang="0">
                <a:pos x="connsiteX22976" y="connsiteY22976"/>
              </a:cxn>
              <a:cxn ang="0">
                <a:pos x="connsiteX22977" y="connsiteY22977"/>
              </a:cxn>
              <a:cxn ang="0">
                <a:pos x="connsiteX22978" y="connsiteY22978"/>
              </a:cxn>
              <a:cxn ang="0">
                <a:pos x="connsiteX22979" y="connsiteY22979"/>
              </a:cxn>
              <a:cxn ang="0">
                <a:pos x="connsiteX22980" y="connsiteY22980"/>
              </a:cxn>
              <a:cxn ang="0">
                <a:pos x="connsiteX22981" y="connsiteY22981"/>
              </a:cxn>
              <a:cxn ang="0">
                <a:pos x="connsiteX22982" y="connsiteY22982"/>
              </a:cxn>
              <a:cxn ang="0">
                <a:pos x="connsiteX22983" y="connsiteY22983"/>
              </a:cxn>
              <a:cxn ang="0">
                <a:pos x="connsiteX22984" y="connsiteY22984"/>
              </a:cxn>
              <a:cxn ang="0">
                <a:pos x="connsiteX22985" y="connsiteY22985"/>
              </a:cxn>
              <a:cxn ang="0">
                <a:pos x="connsiteX22986" y="connsiteY22986"/>
              </a:cxn>
              <a:cxn ang="0">
                <a:pos x="connsiteX22987" y="connsiteY22987"/>
              </a:cxn>
              <a:cxn ang="0">
                <a:pos x="connsiteX22988" y="connsiteY22988"/>
              </a:cxn>
              <a:cxn ang="0">
                <a:pos x="connsiteX22989" y="connsiteY22989"/>
              </a:cxn>
              <a:cxn ang="0">
                <a:pos x="connsiteX22990" y="connsiteY22990"/>
              </a:cxn>
              <a:cxn ang="0">
                <a:pos x="connsiteX22991" y="connsiteY22991"/>
              </a:cxn>
              <a:cxn ang="0">
                <a:pos x="connsiteX22992" y="connsiteY22992"/>
              </a:cxn>
              <a:cxn ang="0">
                <a:pos x="connsiteX22993" y="connsiteY22993"/>
              </a:cxn>
              <a:cxn ang="0">
                <a:pos x="connsiteX22994" y="connsiteY22994"/>
              </a:cxn>
              <a:cxn ang="0">
                <a:pos x="connsiteX22995" y="connsiteY22995"/>
              </a:cxn>
              <a:cxn ang="0">
                <a:pos x="connsiteX22996" y="connsiteY22996"/>
              </a:cxn>
              <a:cxn ang="0">
                <a:pos x="connsiteX22997" y="connsiteY22997"/>
              </a:cxn>
              <a:cxn ang="0">
                <a:pos x="connsiteX22998" y="connsiteY22998"/>
              </a:cxn>
              <a:cxn ang="0">
                <a:pos x="connsiteX22999" y="connsiteY22999"/>
              </a:cxn>
              <a:cxn ang="0">
                <a:pos x="connsiteX23000" y="connsiteY23000"/>
              </a:cxn>
              <a:cxn ang="0">
                <a:pos x="connsiteX23001" y="connsiteY23001"/>
              </a:cxn>
              <a:cxn ang="0">
                <a:pos x="connsiteX23002" y="connsiteY23002"/>
              </a:cxn>
              <a:cxn ang="0">
                <a:pos x="connsiteX23003" y="connsiteY23003"/>
              </a:cxn>
              <a:cxn ang="0">
                <a:pos x="connsiteX23004" y="connsiteY23004"/>
              </a:cxn>
              <a:cxn ang="0">
                <a:pos x="connsiteX23005" y="connsiteY23005"/>
              </a:cxn>
              <a:cxn ang="0">
                <a:pos x="connsiteX23006" y="connsiteY23006"/>
              </a:cxn>
              <a:cxn ang="0">
                <a:pos x="connsiteX23007" y="connsiteY23007"/>
              </a:cxn>
              <a:cxn ang="0">
                <a:pos x="connsiteX23008" y="connsiteY23008"/>
              </a:cxn>
              <a:cxn ang="0">
                <a:pos x="connsiteX23009" y="connsiteY23009"/>
              </a:cxn>
              <a:cxn ang="0">
                <a:pos x="connsiteX23010" y="connsiteY23010"/>
              </a:cxn>
              <a:cxn ang="0">
                <a:pos x="connsiteX23011" y="connsiteY23011"/>
              </a:cxn>
              <a:cxn ang="0">
                <a:pos x="connsiteX23012" y="connsiteY23012"/>
              </a:cxn>
              <a:cxn ang="0">
                <a:pos x="connsiteX23013" y="connsiteY23013"/>
              </a:cxn>
              <a:cxn ang="0">
                <a:pos x="connsiteX23014" y="connsiteY23014"/>
              </a:cxn>
              <a:cxn ang="0">
                <a:pos x="connsiteX23015" y="connsiteY23015"/>
              </a:cxn>
              <a:cxn ang="0">
                <a:pos x="connsiteX23016" y="connsiteY23016"/>
              </a:cxn>
              <a:cxn ang="0">
                <a:pos x="connsiteX23017" y="connsiteY23017"/>
              </a:cxn>
              <a:cxn ang="0">
                <a:pos x="connsiteX23018" y="connsiteY23018"/>
              </a:cxn>
              <a:cxn ang="0">
                <a:pos x="connsiteX23019" y="connsiteY23019"/>
              </a:cxn>
              <a:cxn ang="0">
                <a:pos x="connsiteX23020" y="connsiteY23020"/>
              </a:cxn>
              <a:cxn ang="0">
                <a:pos x="connsiteX23021" y="connsiteY23021"/>
              </a:cxn>
              <a:cxn ang="0">
                <a:pos x="connsiteX23022" y="connsiteY23022"/>
              </a:cxn>
              <a:cxn ang="0">
                <a:pos x="connsiteX23023" y="connsiteY23023"/>
              </a:cxn>
              <a:cxn ang="0">
                <a:pos x="connsiteX23024" y="connsiteY23024"/>
              </a:cxn>
              <a:cxn ang="0">
                <a:pos x="connsiteX23025" y="connsiteY23025"/>
              </a:cxn>
              <a:cxn ang="0">
                <a:pos x="connsiteX23026" y="connsiteY23026"/>
              </a:cxn>
              <a:cxn ang="0">
                <a:pos x="connsiteX23027" y="connsiteY23027"/>
              </a:cxn>
              <a:cxn ang="0">
                <a:pos x="connsiteX23028" y="connsiteY23028"/>
              </a:cxn>
              <a:cxn ang="0">
                <a:pos x="connsiteX23029" y="connsiteY23029"/>
              </a:cxn>
              <a:cxn ang="0">
                <a:pos x="connsiteX23030" y="connsiteY23030"/>
              </a:cxn>
              <a:cxn ang="0">
                <a:pos x="connsiteX23031" y="connsiteY23031"/>
              </a:cxn>
              <a:cxn ang="0">
                <a:pos x="connsiteX23032" y="connsiteY23032"/>
              </a:cxn>
              <a:cxn ang="0">
                <a:pos x="connsiteX23033" y="connsiteY23033"/>
              </a:cxn>
              <a:cxn ang="0">
                <a:pos x="connsiteX23034" y="connsiteY23034"/>
              </a:cxn>
              <a:cxn ang="0">
                <a:pos x="connsiteX23035" y="connsiteY23035"/>
              </a:cxn>
              <a:cxn ang="0">
                <a:pos x="connsiteX23036" y="connsiteY23036"/>
              </a:cxn>
              <a:cxn ang="0">
                <a:pos x="connsiteX23037" y="connsiteY23037"/>
              </a:cxn>
              <a:cxn ang="0">
                <a:pos x="connsiteX23038" y="connsiteY23038"/>
              </a:cxn>
              <a:cxn ang="0">
                <a:pos x="connsiteX23039" y="connsiteY23039"/>
              </a:cxn>
              <a:cxn ang="0">
                <a:pos x="connsiteX23040" y="connsiteY23040"/>
              </a:cxn>
              <a:cxn ang="0">
                <a:pos x="connsiteX23041" y="connsiteY23041"/>
              </a:cxn>
              <a:cxn ang="0">
                <a:pos x="connsiteX23042" y="connsiteY23042"/>
              </a:cxn>
              <a:cxn ang="0">
                <a:pos x="connsiteX23043" y="connsiteY23043"/>
              </a:cxn>
              <a:cxn ang="0">
                <a:pos x="connsiteX23044" y="connsiteY23044"/>
              </a:cxn>
              <a:cxn ang="0">
                <a:pos x="connsiteX23045" y="connsiteY23045"/>
              </a:cxn>
              <a:cxn ang="0">
                <a:pos x="connsiteX23046" y="connsiteY23046"/>
              </a:cxn>
              <a:cxn ang="0">
                <a:pos x="connsiteX23047" y="connsiteY23047"/>
              </a:cxn>
              <a:cxn ang="0">
                <a:pos x="connsiteX23048" y="connsiteY23048"/>
              </a:cxn>
              <a:cxn ang="0">
                <a:pos x="connsiteX23049" y="connsiteY23049"/>
              </a:cxn>
              <a:cxn ang="0">
                <a:pos x="connsiteX23050" y="connsiteY23050"/>
              </a:cxn>
              <a:cxn ang="0">
                <a:pos x="connsiteX23051" y="connsiteY23051"/>
              </a:cxn>
              <a:cxn ang="0">
                <a:pos x="connsiteX23052" y="connsiteY23052"/>
              </a:cxn>
              <a:cxn ang="0">
                <a:pos x="connsiteX23053" y="connsiteY23053"/>
              </a:cxn>
              <a:cxn ang="0">
                <a:pos x="connsiteX23054" y="connsiteY23054"/>
              </a:cxn>
              <a:cxn ang="0">
                <a:pos x="connsiteX23055" y="connsiteY23055"/>
              </a:cxn>
              <a:cxn ang="0">
                <a:pos x="connsiteX23056" y="connsiteY23056"/>
              </a:cxn>
              <a:cxn ang="0">
                <a:pos x="connsiteX23057" y="connsiteY23057"/>
              </a:cxn>
              <a:cxn ang="0">
                <a:pos x="connsiteX23058" y="connsiteY23058"/>
              </a:cxn>
              <a:cxn ang="0">
                <a:pos x="connsiteX23059" y="connsiteY23059"/>
              </a:cxn>
              <a:cxn ang="0">
                <a:pos x="connsiteX23060" y="connsiteY23060"/>
              </a:cxn>
              <a:cxn ang="0">
                <a:pos x="connsiteX23061" y="connsiteY23061"/>
              </a:cxn>
              <a:cxn ang="0">
                <a:pos x="connsiteX23062" y="connsiteY23062"/>
              </a:cxn>
              <a:cxn ang="0">
                <a:pos x="connsiteX23063" y="connsiteY23063"/>
              </a:cxn>
              <a:cxn ang="0">
                <a:pos x="connsiteX23064" y="connsiteY23064"/>
              </a:cxn>
              <a:cxn ang="0">
                <a:pos x="connsiteX23065" y="connsiteY23065"/>
              </a:cxn>
              <a:cxn ang="0">
                <a:pos x="connsiteX23066" y="connsiteY23066"/>
              </a:cxn>
              <a:cxn ang="0">
                <a:pos x="connsiteX23067" y="connsiteY23067"/>
              </a:cxn>
              <a:cxn ang="0">
                <a:pos x="connsiteX23068" y="connsiteY23068"/>
              </a:cxn>
              <a:cxn ang="0">
                <a:pos x="connsiteX23069" y="connsiteY23069"/>
              </a:cxn>
              <a:cxn ang="0">
                <a:pos x="connsiteX23070" y="connsiteY23070"/>
              </a:cxn>
              <a:cxn ang="0">
                <a:pos x="connsiteX23071" y="connsiteY23071"/>
              </a:cxn>
              <a:cxn ang="0">
                <a:pos x="connsiteX23072" y="connsiteY23072"/>
              </a:cxn>
              <a:cxn ang="0">
                <a:pos x="connsiteX23073" y="connsiteY23073"/>
              </a:cxn>
              <a:cxn ang="0">
                <a:pos x="connsiteX23074" y="connsiteY23074"/>
              </a:cxn>
              <a:cxn ang="0">
                <a:pos x="connsiteX23075" y="connsiteY23075"/>
              </a:cxn>
              <a:cxn ang="0">
                <a:pos x="connsiteX23076" y="connsiteY23076"/>
              </a:cxn>
              <a:cxn ang="0">
                <a:pos x="connsiteX23077" y="connsiteY23077"/>
              </a:cxn>
              <a:cxn ang="0">
                <a:pos x="connsiteX23078" y="connsiteY23078"/>
              </a:cxn>
              <a:cxn ang="0">
                <a:pos x="connsiteX23079" y="connsiteY23079"/>
              </a:cxn>
              <a:cxn ang="0">
                <a:pos x="connsiteX23080" y="connsiteY23080"/>
              </a:cxn>
              <a:cxn ang="0">
                <a:pos x="connsiteX23081" y="connsiteY23081"/>
              </a:cxn>
              <a:cxn ang="0">
                <a:pos x="connsiteX23082" y="connsiteY23082"/>
              </a:cxn>
              <a:cxn ang="0">
                <a:pos x="connsiteX23083" y="connsiteY23083"/>
              </a:cxn>
              <a:cxn ang="0">
                <a:pos x="connsiteX23084" y="connsiteY23084"/>
              </a:cxn>
              <a:cxn ang="0">
                <a:pos x="connsiteX23085" y="connsiteY23085"/>
              </a:cxn>
              <a:cxn ang="0">
                <a:pos x="connsiteX23086" y="connsiteY23086"/>
              </a:cxn>
              <a:cxn ang="0">
                <a:pos x="connsiteX23087" y="connsiteY23087"/>
              </a:cxn>
              <a:cxn ang="0">
                <a:pos x="connsiteX23088" y="connsiteY23088"/>
              </a:cxn>
              <a:cxn ang="0">
                <a:pos x="connsiteX23089" y="connsiteY23089"/>
              </a:cxn>
              <a:cxn ang="0">
                <a:pos x="connsiteX23090" y="connsiteY23090"/>
              </a:cxn>
              <a:cxn ang="0">
                <a:pos x="connsiteX23091" y="connsiteY23091"/>
              </a:cxn>
              <a:cxn ang="0">
                <a:pos x="connsiteX23092" y="connsiteY23092"/>
              </a:cxn>
              <a:cxn ang="0">
                <a:pos x="connsiteX23093" y="connsiteY23093"/>
              </a:cxn>
              <a:cxn ang="0">
                <a:pos x="connsiteX23094" y="connsiteY23094"/>
              </a:cxn>
              <a:cxn ang="0">
                <a:pos x="connsiteX23095" y="connsiteY23095"/>
              </a:cxn>
              <a:cxn ang="0">
                <a:pos x="connsiteX23096" y="connsiteY23096"/>
              </a:cxn>
              <a:cxn ang="0">
                <a:pos x="connsiteX23097" y="connsiteY23097"/>
              </a:cxn>
              <a:cxn ang="0">
                <a:pos x="connsiteX23098" y="connsiteY23098"/>
              </a:cxn>
              <a:cxn ang="0">
                <a:pos x="connsiteX23099" y="connsiteY23099"/>
              </a:cxn>
              <a:cxn ang="0">
                <a:pos x="connsiteX23100" y="connsiteY23100"/>
              </a:cxn>
              <a:cxn ang="0">
                <a:pos x="connsiteX23101" y="connsiteY23101"/>
              </a:cxn>
              <a:cxn ang="0">
                <a:pos x="connsiteX23102" y="connsiteY23102"/>
              </a:cxn>
              <a:cxn ang="0">
                <a:pos x="connsiteX23103" y="connsiteY23103"/>
              </a:cxn>
              <a:cxn ang="0">
                <a:pos x="connsiteX23104" y="connsiteY23104"/>
              </a:cxn>
              <a:cxn ang="0">
                <a:pos x="connsiteX23105" y="connsiteY23105"/>
              </a:cxn>
              <a:cxn ang="0">
                <a:pos x="connsiteX23106" y="connsiteY23106"/>
              </a:cxn>
              <a:cxn ang="0">
                <a:pos x="connsiteX23107" y="connsiteY23107"/>
              </a:cxn>
              <a:cxn ang="0">
                <a:pos x="connsiteX23108" y="connsiteY23108"/>
              </a:cxn>
              <a:cxn ang="0">
                <a:pos x="connsiteX23109" y="connsiteY23109"/>
              </a:cxn>
              <a:cxn ang="0">
                <a:pos x="connsiteX23110" y="connsiteY23110"/>
              </a:cxn>
              <a:cxn ang="0">
                <a:pos x="connsiteX23111" y="connsiteY23111"/>
              </a:cxn>
              <a:cxn ang="0">
                <a:pos x="connsiteX23112" y="connsiteY23112"/>
              </a:cxn>
              <a:cxn ang="0">
                <a:pos x="connsiteX23113" y="connsiteY23113"/>
              </a:cxn>
              <a:cxn ang="0">
                <a:pos x="connsiteX23114" y="connsiteY23114"/>
              </a:cxn>
              <a:cxn ang="0">
                <a:pos x="connsiteX23115" y="connsiteY23115"/>
              </a:cxn>
              <a:cxn ang="0">
                <a:pos x="connsiteX23116" y="connsiteY23116"/>
              </a:cxn>
              <a:cxn ang="0">
                <a:pos x="connsiteX23117" y="connsiteY23117"/>
              </a:cxn>
              <a:cxn ang="0">
                <a:pos x="connsiteX23118" y="connsiteY23118"/>
              </a:cxn>
              <a:cxn ang="0">
                <a:pos x="connsiteX23119" y="connsiteY23119"/>
              </a:cxn>
              <a:cxn ang="0">
                <a:pos x="connsiteX23120" y="connsiteY23120"/>
              </a:cxn>
              <a:cxn ang="0">
                <a:pos x="connsiteX23121" y="connsiteY23121"/>
              </a:cxn>
              <a:cxn ang="0">
                <a:pos x="connsiteX23122" y="connsiteY23122"/>
              </a:cxn>
              <a:cxn ang="0">
                <a:pos x="connsiteX23123" y="connsiteY23123"/>
              </a:cxn>
              <a:cxn ang="0">
                <a:pos x="connsiteX23124" y="connsiteY23124"/>
              </a:cxn>
              <a:cxn ang="0">
                <a:pos x="connsiteX23125" y="connsiteY23125"/>
              </a:cxn>
              <a:cxn ang="0">
                <a:pos x="connsiteX23126" y="connsiteY23126"/>
              </a:cxn>
              <a:cxn ang="0">
                <a:pos x="connsiteX23127" y="connsiteY23127"/>
              </a:cxn>
              <a:cxn ang="0">
                <a:pos x="connsiteX23128" y="connsiteY23128"/>
              </a:cxn>
              <a:cxn ang="0">
                <a:pos x="connsiteX23129" y="connsiteY23129"/>
              </a:cxn>
              <a:cxn ang="0">
                <a:pos x="connsiteX23130" y="connsiteY23130"/>
              </a:cxn>
              <a:cxn ang="0">
                <a:pos x="connsiteX23131" y="connsiteY23131"/>
              </a:cxn>
              <a:cxn ang="0">
                <a:pos x="connsiteX23132" y="connsiteY23132"/>
              </a:cxn>
              <a:cxn ang="0">
                <a:pos x="connsiteX23133" y="connsiteY23133"/>
              </a:cxn>
              <a:cxn ang="0">
                <a:pos x="connsiteX23134" y="connsiteY23134"/>
              </a:cxn>
              <a:cxn ang="0">
                <a:pos x="connsiteX23135" y="connsiteY23135"/>
              </a:cxn>
              <a:cxn ang="0">
                <a:pos x="connsiteX23136" y="connsiteY23136"/>
              </a:cxn>
              <a:cxn ang="0">
                <a:pos x="connsiteX23137" y="connsiteY23137"/>
              </a:cxn>
              <a:cxn ang="0">
                <a:pos x="connsiteX23138" y="connsiteY23138"/>
              </a:cxn>
              <a:cxn ang="0">
                <a:pos x="connsiteX23139" y="connsiteY23139"/>
              </a:cxn>
              <a:cxn ang="0">
                <a:pos x="connsiteX23140" y="connsiteY23140"/>
              </a:cxn>
              <a:cxn ang="0">
                <a:pos x="connsiteX23141" y="connsiteY23141"/>
              </a:cxn>
              <a:cxn ang="0">
                <a:pos x="connsiteX23142" y="connsiteY23142"/>
              </a:cxn>
              <a:cxn ang="0">
                <a:pos x="connsiteX23143" y="connsiteY23143"/>
              </a:cxn>
              <a:cxn ang="0">
                <a:pos x="connsiteX23144" y="connsiteY23144"/>
              </a:cxn>
              <a:cxn ang="0">
                <a:pos x="connsiteX23145" y="connsiteY23145"/>
              </a:cxn>
              <a:cxn ang="0">
                <a:pos x="connsiteX23146" y="connsiteY23146"/>
              </a:cxn>
              <a:cxn ang="0">
                <a:pos x="connsiteX23147" y="connsiteY23147"/>
              </a:cxn>
              <a:cxn ang="0">
                <a:pos x="connsiteX23148" y="connsiteY23148"/>
              </a:cxn>
              <a:cxn ang="0">
                <a:pos x="connsiteX23149" y="connsiteY23149"/>
              </a:cxn>
              <a:cxn ang="0">
                <a:pos x="connsiteX23150" y="connsiteY23150"/>
              </a:cxn>
              <a:cxn ang="0">
                <a:pos x="connsiteX23151" y="connsiteY23151"/>
              </a:cxn>
              <a:cxn ang="0">
                <a:pos x="connsiteX23152" y="connsiteY23152"/>
              </a:cxn>
              <a:cxn ang="0">
                <a:pos x="connsiteX23153" y="connsiteY23153"/>
              </a:cxn>
              <a:cxn ang="0">
                <a:pos x="connsiteX23154" y="connsiteY23154"/>
              </a:cxn>
              <a:cxn ang="0">
                <a:pos x="connsiteX23155" y="connsiteY23155"/>
              </a:cxn>
              <a:cxn ang="0">
                <a:pos x="connsiteX23156" y="connsiteY23156"/>
              </a:cxn>
              <a:cxn ang="0">
                <a:pos x="connsiteX23157" y="connsiteY23157"/>
              </a:cxn>
              <a:cxn ang="0">
                <a:pos x="connsiteX23158" y="connsiteY23158"/>
              </a:cxn>
              <a:cxn ang="0">
                <a:pos x="connsiteX23159" y="connsiteY23159"/>
              </a:cxn>
              <a:cxn ang="0">
                <a:pos x="connsiteX23160" y="connsiteY23160"/>
              </a:cxn>
              <a:cxn ang="0">
                <a:pos x="connsiteX23161" y="connsiteY23161"/>
              </a:cxn>
              <a:cxn ang="0">
                <a:pos x="connsiteX23162" y="connsiteY23162"/>
              </a:cxn>
              <a:cxn ang="0">
                <a:pos x="connsiteX23163" y="connsiteY23163"/>
              </a:cxn>
              <a:cxn ang="0">
                <a:pos x="connsiteX23164" y="connsiteY23164"/>
              </a:cxn>
              <a:cxn ang="0">
                <a:pos x="connsiteX23165" y="connsiteY23165"/>
              </a:cxn>
              <a:cxn ang="0">
                <a:pos x="connsiteX23166" y="connsiteY23166"/>
              </a:cxn>
              <a:cxn ang="0">
                <a:pos x="connsiteX23167" y="connsiteY23167"/>
              </a:cxn>
              <a:cxn ang="0">
                <a:pos x="connsiteX23168" y="connsiteY23168"/>
              </a:cxn>
              <a:cxn ang="0">
                <a:pos x="connsiteX23169" y="connsiteY23169"/>
              </a:cxn>
              <a:cxn ang="0">
                <a:pos x="connsiteX23170" y="connsiteY23170"/>
              </a:cxn>
              <a:cxn ang="0">
                <a:pos x="connsiteX23171" y="connsiteY23171"/>
              </a:cxn>
              <a:cxn ang="0">
                <a:pos x="connsiteX23172" y="connsiteY23172"/>
              </a:cxn>
              <a:cxn ang="0">
                <a:pos x="connsiteX23173" y="connsiteY23173"/>
              </a:cxn>
              <a:cxn ang="0">
                <a:pos x="connsiteX23174" y="connsiteY23174"/>
              </a:cxn>
              <a:cxn ang="0">
                <a:pos x="connsiteX23175" y="connsiteY23175"/>
              </a:cxn>
              <a:cxn ang="0">
                <a:pos x="connsiteX23176" y="connsiteY23176"/>
              </a:cxn>
              <a:cxn ang="0">
                <a:pos x="connsiteX23177" y="connsiteY23177"/>
              </a:cxn>
              <a:cxn ang="0">
                <a:pos x="connsiteX23178" y="connsiteY23178"/>
              </a:cxn>
              <a:cxn ang="0">
                <a:pos x="connsiteX23179" y="connsiteY23179"/>
              </a:cxn>
              <a:cxn ang="0">
                <a:pos x="connsiteX23180" y="connsiteY23180"/>
              </a:cxn>
              <a:cxn ang="0">
                <a:pos x="connsiteX23181" y="connsiteY23181"/>
              </a:cxn>
              <a:cxn ang="0">
                <a:pos x="connsiteX23182" y="connsiteY23182"/>
              </a:cxn>
              <a:cxn ang="0">
                <a:pos x="connsiteX23183" y="connsiteY23183"/>
              </a:cxn>
              <a:cxn ang="0">
                <a:pos x="connsiteX23184" y="connsiteY23184"/>
              </a:cxn>
              <a:cxn ang="0">
                <a:pos x="connsiteX23185" y="connsiteY23185"/>
              </a:cxn>
              <a:cxn ang="0">
                <a:pos x="connsiteX23186" y="connsiteY23186"/>
              </a:cxn>
              <a:cxn ang="0">
                <a:pos x="connsiteX23187" y="connsiteY23187"/>
              </a:cxn>
              <a:cxn ang="0">
                <a:pos x="connsiteX23188" y="connsiteY23188"/>
              </a:cxn>
              <a:cxn ang="0">
                <a:pos x="connsiteX23189" y="connsiteY23189"/>
              </a:cxn>
              <a:cxn ang="0">
                <a:pos x="connsiteX23190" y="connsiteY23190"/>
              </a:cxn>
              <a:cxn ang="0">
                <a:pos x="connsiteX23191" y="connsiteY23191"/>
              </a:cxn>
              <a:cxn ang="0">
                <a:pos x="connsiteX23192" y="connsiteY23192"/>
              </a:cxn>
              <a:cxn ang="0">
                <a:pos x="connsiteX23193" y="connsiteY23193"/>
              </a:cxn>
              <a:cxn ang="0">
                <a:pos x="connsiteX23194" y="connsiteY23194"/>
              </a:cxn>
              <a:cxn ang="0">
                <a:pos x="connsiteX23195" y="connsiteY23195"/>
              </a:cxn>
              <a:cxn ang="0">
                <a:pos x="connsiteX23196" y="connsiteY23196"/>
              </a:cxn>
              <a:cxn ang="0">
                <a:pos x="connsiteX23197" y="connsiteY23197"/>
              </a:cxn>
              <a:cxn ang="0">
                <a:pos x="connsiteX23198" y="connsiteY23198"/>
              </a:cxn>
              <a:cxn ang="0">
                <a:pos x="connsiteX23199" y="connsiteY23199"/>
              </a:cxn>
              <a:cxn ang="0">
                <a:pos x="connsiteX23200" y="connsiteY23200"/>
              </a:cxn>
              <a:cxn ang="0">
                <a:pos x="connsiteX23201" y="connsiteY23201"/>
              </a:cxn>
              <a:cxn ang="0">
                <a:pos x="connsiteX23202" y="connsiteY23202"/>
              </a:cxn>
              <a:cxn ang="0">
                <a:pos x="connsiteX23203" y="connsiteY23203"/>
              </a:cxn>
              <a:cxn ang="0">
                <a:pos x="connsiteX23204" y="connsiteY23204"/>
              </a:cxn>
              <a:cxn ang="0">
                <a:pos x="connsiteX23205" y="connsiteY23205"/>
              </a:cxn>
              <a:cxn ang="0">
                <a:pos x="connsiteX23206" y="connsiteY23206"/>
              </a:cxn>
              <a:cxn ang="0">
                <a:pos x="connsiteX23207" y="connsiteY23207"/>
              </a:cxn>
              <a:cxn ang="0">
                <a:pos x="connsiteX23208" y="connsiteY23208"/>
              </a:cxn>
              <a:cxn ang="0">
                <a:pos x="connsiteX23209" y="connsiteY23209"/>
              </a:cxn>
              <a:cxn ang="0">
                <a:pos x="connsiteX23210" y="connsiteY23210"/>
              </a:cxn>
              <a:cxn ang="0">
                <a:pos x="connsiteX23211" y="connsiteY23211"/>
              </a:cxn>
              <a:cxn ang="0">
                <a:pos x="connsiteX23212" y="connsiteY23212"/>
              </a:cxn>
              <a:cxn ang="0">
                <a:pos x="connsiteX23213" y="connsiteY23213"/>
              </a:cxn>
              <a:cxn ang="0">
                <a:pos x="connsiteX23214" y="connsiteY23214"/>
              </a:cxn>
              <a:cxn ang="0">
                <a:pos x="connsiteX23215" y="connsiteY23215"/>
              </a:cxn>
              <a:cxn ang="0">
                <a:pos x="connsiteX23216" y="connsiteY23216"/>
              </a:cxn>
              <a:cxn ang="0">
                <a:pos x="connsiteX23217" y="connsiteY23217"/>
              </a:cxn>
              <a:cxn ang="0">
                <a:pos x="connsiteX23218" y="connsiteY23218"/>
              </a:cxn>
              <a:cxn ang="0">
                <a:pos x="connsiteX23219" y="connsiteY23219"/>
              </a:cxn>
              <a:cxn ang="0">
                <a:pos x="connsiteX23220" y="connsiteY23220"/>
              </a:cxn>
              <a:cxn ang="0">
                <a:pos x="connsiteX23221" y="connsiteY23221"/>
              </a:cxn>
              <a:cxn ang="0">
                <a:pos x="connsiteX23222" y="connsiteY23222"/>
              </a:cxn>
              <a:cxn ang="0">
                <a:pos x="connsiteX23223" y="connsiteY23223"/>
              </a:cxn>
              <a:cxn ang="0">
                <a:pos x="connsiteX23224" y="connsiteY23224"/>
              </a:cxn>
              <a:cxn ang="0">
                <a:pos x="connsiteX23225" y="connsiteY23225"/>
              </a:cxn>
              <a:cxn ang="0">
                <a:pos x="connsiteX23226" y="connsiteY23226"/>
              </a:cxn>
              <a:cxn ang="0">
                <a:pos x="connsiteX23227" y="connsiteY23227"/>
              </a:cxn>
              <a:cxn ang="0">
                <a:pos x="connsiteX23228" y="connsiteY23228"/>
              </a:cxn>
              <a:cxn ang="0">
                <a:pos x="connsiteX23229" y="connsiteY23229"/>
              </a:cxn>
              <a:cxn ang="0">
                <a:pos x="connsiteX23230" y="connsiteY23230"/>
              </a:cxn>
              <a:cxn ang="0">
                <a:pos x="connsiteX23231" y="connsiteY23231"/>
              </a:cxn>
              <a:cxn ang="0">
                <a:pos x="connsiteX23232" y="connsiteY23232"/>
              </a:cxn>
              <a:cxn ang="0">
                <a:pos x="connsiteX23233" y="connsiteY23233"/>
              </a:cxn>
              <a:cxn ang="0">
                <a:pos x="connsiteX23234" y="connsiteY23234"/>
              </a:cxn>
              <a:cxn ang="0">
                <a:pos x="connsiteX23235" y="connsiteY23235"/>
              </a:cxn>
              <a:cxn ang="0">
                <a:pos x="connsiteX23236" y="connsiteY23236"/>
              </a:cxn>
              <a:cxn ang="0">
                <a:pos x="connsiteX23237" y="connsiteY23237"/>
              </a:cxn>
              <a:cxn ang="0">
                <a:pos x="connsiteX23238" y="connsiteY23238"/>
              </a:cxn>
              <a:cxn ang="0">
                <a:pos x="connsiteX23239" y="connsiteY23239"/>
              </a:cxn>
              <a:cxn ang="0">
                <a:pos x="connsiteX23240" y="connsiteY23240"/>
              </a:cxn>
              <a:cxn ang="0">
                <a:pos x="connsiteX23241" y="connsiteY23241"/>
              </a:cxn>
              <a:cxn ang="0">
                <a:pos x="connsiteX23242" y="connsiteY23242"/>
              </a:cxn>
              <a:cxn ang="0">
                <a:pos x="connsiteX23243" y="connsiteY23243"/>
              </a:cxn>
              <a:cxn ang="0">
                <a:pos x="connsiteX23244" y="connsiteY23244"/>
              </a:cxn>
              <a:cxn ang="0">
                <a:pos x="connsiteX23245" y="connsiteY23245"/>
              </a:cxn>
              <a:cxn ang="0">
                <a:pos x="connsiteX23246" y="connsiteY23246"/>
              </a:cxn>
              <a:cxn ang="0">
                <a:pos x="connsiteX23247" y="connsiteY23247"/>
              </a:cxn>
              <a:cxn ang="0">
                <a:pos x="connsiteX23248" y="connsiteY23248"/>
              </a:cxn>
              <a:cxn ang="0">
                <a:pos x="connsiteX23249" y="connsiteY23249"/>
              </a:cxn>
              <a:cxn ang="0">
                <a:pos x="connsiteX23250" y="connsiteY23250"/>
              </a:cxn>
              <a:cxn ang="0">
                <a:pos x="connsiteX23251" y="connsiteY23251"/>
              </a:cxn>
              <a:cxn ang="0">
                <a:pos x="connsiteX23252" y="connsiteY23252"/>
              </a:cxn>
              <a:cxn ang="0">
                <a:pos x="connsiteX23253" y="connsiteY23253"/>
              </a:cxn>
              <a:cxn ang="0">
                <a:pos x="connsiteX23254" y="connsiteY23254"/>
              </a:cxn>
              <a:cxn ang="0">
                <a:pos x="connsiteX23255" y="connsiteY23255"/>
              </a:cxn>
              <a:cxn ang="0">
                <a:pos x="connsiteX23256" y="connsiteY23256"/>
              </a:cxn>
              <a:cxn ang="0">
                <a:pos x="connsiteX23257" y="connsiteY23257"/>
              </a:cxn>
              <a:cxn ang="0">
                <a:pos x="connsiteX23258" y="connsiteY23258"/>
              </a:cxn>
              <a:cxn ang="0">
                <a:pos x="connsiteX23259" y="connsiteY23259"/>
              </a:cxn>
              <a:cxn ang="0">
                <a:pos x="connsiteX23260" y="connsiteY23260"/>
              </a:cxn>
              <a:cxn ang="0">
                <a:pos x="connsiteX23261" y="connsiteY23261"/>
              </a:cxn>
              <a:cxn ang="0">
                <a:pos x="connsiteX23262" y="connsiteY23262"/>
              </a:cxn>
              <a:cxn ang="0">
                <a:pos x="connsiteX23263" y="connsiteY23263"/>
              </a:cxn>
              <a:cxn ang="0">
                <a:pos x="connsiteX23264" y="connsiteY23264"/>
              </a:cxn>
              <a:cxn ang="0">
                <a:pos x="connsiteX23265" y="connsiteY23265"/>
              </a:cxn>
              <a:cxn ang="0">
                <a:pos x="connsiteX23266" y="connsiteY23266"/>
              </a:cxn>
              <a:cxn ang="0">
                <a:pos x="connsiteX23267" y="connsiteY23267"/>
              </a:cxn>
              <a:cxn ang="0">
                <a:pos x="connsiteX23268" y="connsiteY23268"/>
              </a:cxn>
              <a:cxn ang="0">
                <a:pos x="connsiteX23269" y="connsiteY23269"/>
              </a:cxn>
              <a:cxn ang="0">
                <a:pos x="connsiteX23270" y="connsiteY23270"/>
              </a:cxn>
              <a:cxn ang="0">
                <a:pos x="connsiteX23271" y="connsiteY23271"/>
              </a:cxn>
              <a:cxn ang="0">
                <a:pos x="connsiteX23272" y="connsiteY23272"/>
              </a:cxn>
              <a:cxn ang="0">
                <a:pos x="connsiteX23273" y="connsiteY23273"/>
              </a:cxn>
              <a:cxn ang="0">
                <a:pos x="connsiteX23274" y="connsiteY23274"/>
              </a:cxn>
              <a:cxn ang="0">
                <a:pos x="connsiteX23275" y="connsiteY23275"/>
              </a:cxn>
              <a:cxn ang="0">
                <a:pos x="connsiteX23276" y="connsiteY23276"/>
              </a:cxn>
              <a:cxn ang="0">
                <a:pos x="connsiteX23277" y="connsiteY23277"/>
              </a:cxn>
              <a:cxn ang="0">
                <a:pos x="connsiteX23278" y="connsiteY23278"/>
              </a:cxn>
              <a:cxn ang="0">
                <a:pos x="connsiteX23279" y="connsiteY23279"/>
              </a:cxn>
              <a:cxn ang="0">
                <a:pos x="connsiteX23280" y="connsiteY23280"/>
              </a:cxn>
              <a:cxn ang="0">
                <a:pos x="connsiteX23281" y="connsiteY23281"/>
              </a:cxn>
              <a:cxn ang="0">
                <a:pos x="connsiteX23282" y="connsiteY23282"/>
              </a:cxn>
              <a:cxn ang="0">
                <a:pos x="connsiteX23283" y="connsiteY23283"/>
              </a:cxn>
              <a:cxn ang="0">
                <a:pos x="connsiteX23284" y="connsiteY23284"/>
              </a:cxn>
              <a:cxn ang="0">
                <a:pos x="connsiteX23285" y="connsiteY23285"/>
              </a:cxn>
              <a:cxn ang="0">
                <a:pos x="connsiteX23286" y="connsiteY23286"/>
              </a:cxn>
              <a:cxn ang="0">
                <a:pos x="connsiteX23287" y="connsiteY23287"/>
              </a:cxn>
              <a:cxn ang="0">
                <a:pos x="connsiteX23288" y="connsiteY23288"/>
              </a:cxn>
              <a:cxn ang="0">
                <a:pos x="connsiteX23289" y="connsiteY23289"/>
              </a:cxn>
              <a:cxn ang="0">
                <a:pos x="connsiteX23290" y="connsiteY23290"/>
              </a:cxn>
              <a:cxn ang="0">
                <a:pos x="connsiteX23291" y="connsiteY23291"/>
              </a:cxn>
              <a:cxn ang="0">
                <a:pos x="connsiteX23292" y="connsiteY23292"/>
              </a:cxn>
              <a:cxn ang="0">
                <a:pos x="connsiteX23293" y="connsiteY23293"/>
              </a:cxn>
              <a:cxn ang="0">
                <a:pos x="connsiteX23294" y="connsiteY23294"/>
              </a:cxn>
              <a:cxn ang="0">
                <a:pos x="connsiteX23295" y="connsiteY23295"/>
              </a:cxn>
              <a:cxn ang="0">
                <a:pos x="connsiteX23296" y="connsiteY23296"/>
              </a:cxn>
              <a:cxn ang="0">
                <a:pos x="connsiteX23297" y="connsiteY23297"/>
              </a:cxn>
              <a:cxn ang="0">
                <a:pos x="connsiteX23298" y="connsiteY23298"/>
              </a:cxn>
              <a:cxn ang="0">
                <a:pos x="connsiteX23299" y="connsiteY23299"/>
              </a:cxn>
              <a:cxn ang="0">
                <a:pos x="connsiteX23300" y="connsiteY23300"/>
              </a:cxn>
              <a:cxn ang="0">
                <a:pos x="connsiteX23301" y="connsiteY23301"/>
              </a:cxn>
              <a:cxn ang="0">
                <a:pos x="connsiteX23302" y="connsiteY23302"/>
              </a:cxn>
              <a:cxn ang="0">
                <a:pos x="connsiteX23303" y="connsiteY23303"/>
              </a:cxn>
              <a:cxn ang="0">
                <a:pos x="connsiteX23304" y="connsiteY23304"/>
              </a:cxn>
              <a:cxn ang="0">
                <a:pos x="connsiteX23305" y="connsiteY23305"/>
              </a:cxn>
              <a:cxn ang="0">
                <a:pos x="connsiteX23306" y="connsiteY23306"/>
              </a:cxn>
              <a:cxn ang="0">
                <a:pos x="connsiteX23307" y="connsiteY23307"/>
              </a:cxn>
              <a:cxn ang="0">
                <a:pos x="connsiteX23308" y="connsiteY23308"/>
              </a:cxn>
              <a:cxn ang="0">
                <a:pos x="connsiteX23309" y="connsiteY23309"/>
              </a:cxn>
              <a:cxn ang="0">
                <a:pos x="connsiteX23310" y="connsiteY23310"/>
              </a:cxn>
              <a:cxn ang="0">
                <a:pos x="connsiteX23311" y="connsiteY23311"/>
              </a:cxn>
              <a:cxn ang="0">
                <a:pos x="connsiteX23312" y="connsiteY23312"/>
              </a:cxn>
              <a:cxn ang="0">
                <a:pos x="connsiteX23313" y="connsiteY23313"/>
              </a:cxn>
              <a:cxn ang="0">
                <a:pos x="connsiteX23314" y="connsiteY23314"/>
              </a:cxn>
              <a:cxn ang="0">
                <a:pos x="connsiteX23315" y="connsiteY23315"/>
              </a:cxn>
              <a:cxn ang="0">
                <a:pos x="connsiteX23316" y="connsiteY23316"/>
              </a:cxn>
              <a:cxn ang="0">
                <a:pos x="connsiteX23317" y="connsiteY23317"/>
              </a:cxn>
              <a:cxn ang="0">
                <a:pos x="connsiteX23318" y="connsiteY23318"/>
              </a:cxn>
              <a:cxn ang="0">
                <a:pos x="connsiteX23319" y="connsiteY23319"/>
              </a:cxn>
              <a:cxn ang="0">
                <a:pos x="connsiteX23320" y="connsiteY23320"/>
              </a:cxn>
              <a:cxn ang="0">
                <a:pos x="connsiteX23321" y="connsiteY23321"/>
              </a:cxn>
              <a:cxn ang="0">
                <a:pos x="connsiteX23322" y="connsiteY23322"/>
              </a:cxn>
              <a:cxn ang="0">
                <a:pos x="connsiteX23323" y="connsiteY23323"/>
              </a:cxn>
              <a:cxn ang="0">
                <a:pos x="connsiteX23324" y="connsiteY23324"/>
              </a:cxn>
              <a:cxn ang="0">
                <a:pos x="connsiteX23325" y="connsiteY23325"/>
              </a:cxn>
              <a:cxn ang="0">
                <a:pos x="connsiteX23326" y="connsiteY23326"/>
              </a:cxn>
              <a:cxn ang="0">
                <a:pos x="connsiteX23327" y="connsiteY23327"/>
              </a:cxn>
              <a:cxn ang="0">
                <a:pos x="connsiteX23328" y="connsiteY23328"/>
              </a:cxn>
              <a:cxn ang="0">
                <a:pos x="connsiteX23329" y="connsiteY23329"/>
              </a:cxn>
              <a:cxn ang="0">
                <a:pos x="connsiteX23330" y="connsiteY23330"/>
              </a:cxn>
              <a:cxn ang="0">
                <a:pos x="connsiteX23331" y="connsiteY23331"/>
              </a:cxn>
              <a:cxn ang="0">
                <a:pos x="connsiteX23332" y="connsiteY23332"/>
              </a:cxn>
              <a:cxn ang="0">
                <a:pos x="connsiteX23333" y="connsiteY23333"/>
              </a:cxn>
              <a:cxn ang="0">
                <a:pos x="connsiteX23334" y="connsiteY23334"/>
              </a:cxn>
              <a:cxn ang="0">
                <a:pos x="connsiteX23335" y="connsiteY23335"/>
              </a:cxn>
              <a:cxn ang="0">
                <a:pos x="connsiteX23336" y="connsiteY23336"/>
              </a:cxn>
              <a:cxn ang="0">
                <a:pos x="connsiteX23337" y="connsiteY23337"/>
              </a:cxn>
              <a:cxn ang="0">
                <a:pos x="connsiteX23338" y="connsiteY23338"/>
              </a:cxn>
              <a:cxn ang="0">
                <a:pos x="connsiteX23339" y="connsiteY23339"/>
              </a:cxn>
              <a:cxn ang="0">
                <a:pos x="connsiteX23340" y="connsiteY23340"/>
              </a:cxn>
              <a:cxn ang="0">
                <a:pos x="connsiteX23341" y="connsiteY23341"/>
              </a:cxn>
              <a:cxn ang="0">
                <a:pos x="connsiteX23342" y="connsiteY23342"/>
              </a:cxn>
              <a:cxn ang="0">
                <a:pos x="connsiteX23343" y="connsiteY23343"/>
              </a:cxn>
              <a:cxn ang="0">
                <a:pos x="connsiteX23344" y="connsiteY23344"/>
              </a:cxn>
              <a:cxn ang="0">
                <a:pos x="connsiteX23345" y="connsiteY23345"/>
              </a:cxn>
              <a:cxn ang="0">
                <a:pos x="connsiteX23346" y="connsiteY23346"/>
              </a:cxn>
              <a:cxn ang="0">
                <a:pos x="connsiteX23347" y="connsiteY23347"/>
              </a:cxn>
              <a:cxn ang="0">
                <a:pos x="connsiteX23348" y="connsiteY23348"/>
              </a:cxn>
              <a:cxn ang="0">
                <a:pos x="connsiteX23349" y="connsiteY23349"/>
              </a:cxn>
              <a:cxn ang="0">
                <a:pos x="connsiteX23350" y="connsiteY23350"/>
              </a:cxn>
              <a:cxn ang="0">
                <a:pos x="connsiteX23351" y="connsiteY23351"/>
              </a:cxn>
              <a:cxn ang="0">
                <a:pos x="connsiteX23352" y="connsiteY23352"/>
              </a:cxn>
              <a:cxn ang="0">
                <a:pos x="connsiteX23353" y="connsiteY23353"/>
              </a:cxn>
              <a:cxn ang="0">
                <a:pos x="connsiteX23354" y="connsiteY23354"/>
              </a:cxn>
              <a:cxn ang="0">
                <a:pos x="connsiteX23355" y="connsiteY23355"/>
              </a:cxn>
              <a:cxn ang="0">
                <a:pos x="connsiteX23356" y="connsiteY23356"/>
              </a:cxn>
              <a:cxn ang="0">
                <a:pos x="connsiteX23357" y="connsiteY23357"/>
              </a:cxn>
              <a:cxn ang="0">
                <a:pos x="connsiteX23358" y="connsiteY23358"/>
              </a:cxn>
              <a:cxn ang="0">
                <a:pos x="connsiteX23359" y="connsiteY23359"/>
              </a:cxn>
              <a:cxn ang="0">
                <a:pos x="connsiteX23360" y="connsiteY23360"/>
              </a:cxn>
              <a:cxn ang="0">
                <a:pos x="connsiteX23361" y="connsiteY23361"/>
              </a:cxn>
              <a:cxn ang="0">
                <a:pos x="connsiteX23362" y="connsiteY23362"/>
              </a:cxn>
              <a:cxn ang="0">
                <a:pos x="connsiteX23363" y="connsiteY23363"/>
              </a:cxn>
              <a:cxn ang="0">
                <a:pos x="connsiteX23364" y="connsiteY23364"/>
              </a:cxn>
              <a:cxn ang="0">
                <a:pos x="connsiteX23365" y="connsiteY23365"/>
              </a:cxn>
              <a:cxn ang="0">
                <a:pos x="connsiteX23366" y="connsiteY23366"/>
              </a:cxn>
              <a:cxn ang="0">
                <a:pos x="connsiteX23367" y="connsiteY23367"/>
              </a:cxn>
              <a:cxn ang="0">
                <a:pos x="connsiteX23368" y="connsiteY23368"/>
              </a:cxn>
              <a:cxn ang="0">
                <a:pos x="connsiteX23369" y="connsiteY23369"/>
              </a:cxn>
              <a:cxn ang="0">
                <a:pos x="connsiteX23370" y="connsiteY23370"/>
              </a:cxn>
              <a:cxn ang="0">
                <a:pos x="connsiteX23371" y="connsiteY23371"/>
              </a:cxn>
              <a:cxn ang="0">
                <a:pos x="connsiteX23372" y="connsiteY23372"/>
              </a:cxn>
              <a:cxn ang="0">
                <a:pos x="connsiteX23373" y="connsiteY23373"/>
              </a:cxn>
              <a:cxn ang="0">
                <a:pos x="connsiteX23374" y="connsiteY23374"/>
              </a:cxn>
              <a:cxn ang="0">
                <a:pos x="connsiteX23375" y="connsiteY23375"/>
              </a:cxn>
              <a:cxn ang="0">
                <a:pos x="connsiteX23376" y="connsiteY23376"/>
              </a:cxn>
              <a:cxn ang="0">
                <a:pos x="connsiteX23377" y="connsiteY23377"/>
              </a:cxn>
              <a:cxn ang="0">
                <a:pos x="connsiteX23378" y="connsiteY23378"/>
              </a:cxn>
              <a:cxn ang="0">
                <a:pos x="connsiteX23379" y="connsiteY23379"/>
              </a:cxn>
              <a:cxn ang="0">
                <a:pos x="connsiteX23380" y="connsiteY23380"/>
              </a:cxn>
              <a:cxn ang="0">
                <a:pos x="connsiteX23381" y="connsiteY23381"/>
              </a:cxn>
              <a:cxn ang="0">
                <a:pos x="connsiteX23382" y="connsiteY23382"/>
              </a:cxn>
              <a:cxn ang="0">
                <a:pos x="connsiteX23383" y="connsiteY23383"/>
              </a:cxn>
              <a:cxn ang="0">
                <a:pos x="connsiteX23384" y="connsiteY23384"/>
              </a:cxn>
              <a:cxn ang="0">
                <a:pos x="connsiteX23385" y="connsiteY23385"/>
              </a:cxn>
              <a:cxn ang="0">
                <a:pos x="connsiteX23386" y="connsiteY23386"/>
              </a:cxn>
              <a:cxn ang="0">
                <a:pos x="connsiteX23387" y="connsiteY23387"/>
              </a:cxn>
              <a:cxn ang="0">
                <a:pos x="connsiteX23388" y="connsiteY23388"/>
              </a:cxn>
              <a:cxn ang="0">
                <a:pos x="connsiteX23389" y="connsiteY23389"/>
              </a:cxn>
              <a:cxn ang="0">
                <a:pos x="connsiteX23390" y="connsiteY23390"/>
              </a:cxn>
              <a:cxn ang="0">
                <a:pos x="connsiteX23391" y="connsiteY23391"/>
              </a:cxn>
              <a:cxn ang="0">
                <a:pos x="connsiteX23392" y="connsiteY23392"/>
              </a:cxn>
              <a:cxn ang="0">
                <a:pos x="connsiteX23393" y="connsiteY23393"/>
              </a:cxn>
              <a:cxn ang="0">
                <a:pos x="connsiteX23394" y="connsiteY23394"/>
              </a:cxn>
              <a:cxn ang="0">
                <a:pos x="connsiteX23395" y="connsiteY23395"/>
              </a:cxn>
              <a:cxn ang="0">
                <a:pos x="connsiteX23396" y="connsiteY23396"/>
              </a:cxn>
              <a:cxn ang="0">
                <a:pos x="connsiteX23397" y="connsiteY23397"/>
              </a:cxn>
              <a:cxn ang="0">
                <a:pos x="connsiteX23398" y="connsiteY23398"/>
              </a:cxn>
              <a:cxn ang="0">
                <a:pos x="connsiteX23399" y="connsiteY23399"/>
              </a:cxn>
              <a:cxn ang="0">
                <a:pos x="connsiteX23400" y="connsiteY23400"/>
              </a:cxn>
              <a:cxn ang="0">
                <a:pos x="connsiteX23401" y="connsiteY23401"/>
              </a:cxn>
              <a:cxn ang="0">
                <a:pos x="connsiteX23402" y="connsiteY23402"/>
              </a:cxn>
              <a:cxn ang="0">
                <a:pos x="connsiteX23403" y="connsiteY23403"/>
              </a:cxn>
              <a:cxn ang="0">
                <a:pos x="connsiteX23404" y="connsiteY23404"/>
              </a:cxn>
              <a:cxn ang="0">
                <a:pos x="connsiteX23405" y="connsiteY23405"/>
              </a:cxn>
              <a:cxn ang="0">
                <a:pos x="connsiteX23406" y="connsiteY23406"/>
              </a:cxn>
              <a:cxn ang="0">
                <a:pos x="connsiteX23407" y="connsiteY23407"/>
              </a:cxn>
              <a:cxn ang="0">
                <a:pos x="connsiteX23408" y="connsiteY23408"/>
              </a:cxn>
              <a:cxn ang="0">
                <a:pos x="connsiteX23409" y="connsiteY23409"/>
              </a:cxn>
              <a:cxn ang="0">
                <a:pos x="connsiteX23410" y="connsiteY23410"/>
              </a:cxn>
              <a:cxn ang="0">
                <a:pos x="connsiteX23411" y="connsiteY23411"/>
              </a:cxn>
              <a:cxn ang="0">
                <a:pos x="connsiteX23412" y="connsiteY23412"/>
              </a:cxn>
              <a:cxn ang="0">
                <a:pos x="connsiteX23413" y="connsiteY23413"/>
              </a:cxn>
              <a:cxn ang="0">
                <a:pos x="connsiteX23414" y="connsiteY23414"/>
              </a:cxn>
              <a:cxn ang="0">
                <a:pos x="connsiteX23415" y="connsiteY23415"/>
              </a:cxn>
              <a:cxn ang="0">
                <a:pos x="connsiteX23416" y="connsiteY23416"/>
              </a:cxn>
              <a:cxn ang="0">
                <a:pos x="connsiteX23417" y="connsiteY23417"/>
              </a:cxn>
              <a:cxn ang="0">
                <a:pos x="connsiteX23418" y="connsiteY23418"/>
              </a:cxn>
              <a:cxn ang="0">
                <a:pos x="connsiteX23419" y="connsiteY23419"/>
              </a:cxn>
              <a:cxn ang="0">
                <a:pos x="connsiteX23420" y="connsiteY23420"/>
              </a:cxn>
              <a:cxn ang="0">
                <a:pos x="connsiteX23421" y="connsiteY23421"/>
              </a:cxn>
              <a:cxn ang="0">
                <a:pos x="connsiteX23422" y="connsiteY23422"/>
              </a:cxn>
              <a:cxn ang="0">
                <a:pos x="connsiteX23423" y="connsiteY23423"/>
              </a:cxn>
              <a:cxn ang="0">
                <a:pos x="connsiteX23424" y="connsiteY23424"/>
              </a:cxn>
              <a:cxn ang="0">
                <a:pos x="connsiteX23425" y="connsiteY23425"/>
              </a:cxn>
              <a:cxn ang="0">
                <a:pos x="connsiteX23426" y="connsiteY23426"/>
              </a:cxn>
              <a:cxn ang="0">
                <a:pos x="connsiteX23427" y="connsiteY23427"/>
              </a:cxn>
              <a:cxn ang="0">
                <a:pos x="connsiteX23428" y="connsiteY23428"/>
              </a:cxn>
              <a:cxn ang="0">
                <a:pos x="connsiteX23429" y="connsiteY23429"/>
              </a:cxn>
              <a:cxn ang="0">
                <a:pos x="connsiteX23430" y="connsiteY23430"/>
              </a:cxn>
              <a:cxn ang="0">
                <a:pos x="connsiteX23431" y="connsiteY23431"/>
              </a:cxn>
              <a:cxn ang="0">
                <a:pos x="connsiteX23432" y="connsiteY23432"/>
              </a:cxn>
              <a:cxn ang="0">
                <a:pos x="connsiteX23433" y="connsiteY23433"/>
              </a:cxn>
              <a:cxn ang="0">
                <a:pos x="connsiteX23434" y="connsiteY23434"/>
              </a:cxn>
              <a:cxn ang="0">
                <a:pos x="connsiteX23435" y="connsiteY23435"/>
              </a:cxn>
              <a:cxn ang="0">
                <a:pos x="connsiteX23436" y="connsiteY23436"/>
              </a:cxn>
              <a:cxn ang="0">
                <a:pos x="connsiteX23437" y="connsiteY23437"/>
              </a:cxn>
              <a:cxn ang="0">
                <a:pos x="connsiteX23438" y="connsiteY23438"/>
              </a:cxn>
              <a:cxn ang="0">
                <a:pos x="connsiteX23439" y="connsiteY23439"/>
              </a:cxn>
              <a:cxn ang="0">
                <a:pos x="connsiteX23440" y="connsiteY23440"/>
              </a:cxn>
              <a:cxn ang="0">
                <a:pos x="connsiteX23441" y="connsiteY23441"/>
              </a:cxn>
              <a:cxn ang="0">
                <a:pos x="connsiteX23442" y="connsiteY23442"/>
              </a:cxn>
              <a:cxn ang="0">
                <a:pos x="connsiteX23443" y="connsiteY23443"/>
              </a:cxn>
              <a:cxn ang="0">
                <a:pos x="connsiteX23444" y="connsiteY23444"/>
              </a:cxn>
              <a:cxn ang="0">
                <a:pos x="connsiteX23445" y="connsiteY23445"/>
              </a:cxn>
              <a:cxn ang="0">
                <a:pos x="connsiteX23446" y="connsiteY23446"/>
              </a:cxn>
              <a:cxn ang="0">
                <a:pos x="connsiteX23447" y="connsiteY23447"/>
              </a:cxn>
              <a:cxn ang="0">
                <a:pos x="connsiteX23448" y="connsiteY23448"/>
              </a:cxn>
              <a:cxn ang="0">
                <a:pos x="connsiteX23449" y="connsiteY23449"/>
              </a:cxn>
              <a:cxn ang="0">
                <a:pos x="connsiteX23450" y="connsiteY23450"/>
              </a:cxn>
              <a:cxn ang="0">
                <a:pos x="connsiteX23451" y="connsiteY23451"/>
              </a:cxn>
              <a:cxn ang="0">
                <a:pos x="connsiteX23452" y="connsiteY23452"/>
              </a:cxn>
              <a:cxn ang="0">
                <a:pos x="connsiteX23453" y="connsiteY23453"/>
              </a:cxn>
              <a:cxn ang="0">
                <a:pos x="connsiteX23454" y="connsiteY23454"/>
              </a:cxn>
              <a:cxn ang="0">
                <a:pos x="connsiteX23455" y="connsiteY23455"/>
              </a:cxn>
              <a:cxn ang="0">
                <a:pos x="connsiteX23456" y="connsiteY23456"/>
              </a:cxn>
              <a:cxn ang="0">
                <a:pos x="connsiteX23457" y="connsiteY23457"/>
              </a:cxn>
              <a:cxn ang="0">
                <a:pos x="connsiteX23458" y="connsiteY23458"/>
              </a:cxn>
              <a:cxn ang="0">
                <a:pos x="connsiteX23459" y="connsiteY23459"/>
              </a:cxn>
              <a:cxn ang="0">
                <a:pos x="connsiteX23460" y="connsiteY23460"/>
              </a:cxn>
              <a:cxn ang="0">
                <a:pos x="connsiteX23461" y="connsiteY23461"/>
              </a:cxn>
              <a:cxn ang="0">
                <a:pos x="connsiteX23462" y="connsiteY23462"/>
              </a:cxn>
              <a:cxn ang="0">
                <a:pos x="connsiteX23463" y="connsiteY23463"/>
              </a:cxn>
              <a:cxn ang="0">
                <a:pos x="connsiteX23464" y="connsiteY23464"/>
              </a:cxn>
              <a:cxn ang="0">
                <a:pos x="connsiteX23465" y="connsiteY23465"/>
              </a:cxn>
              <a:cxn ang="0">
                <a:pos x="connsiteX23466" y="connsiteY23466"/>
              </a:cxn>
              <a:cxn ang="0">
                <a:pos x="connsiteX23467" y="connsiteY23467"/>
              </a:cxn>
              <a:cxn ang="0">
                <a:pos x="connsiteX23468" y="connsiteY23468"/>
              </a:cxn>
              <a:cxn ang="0">
                <a:pos x="connsiteX23469" y="connsiteY23469"/>
              </a:cxn>
              <a:cxn ang="0">
                <a:pos x="connsiteX23470" y="connsiteY23470"/>
              </a:cxn>
              <a:cxn ang="0">
                <a:pos x="connsiteX23471" y="connsiteY23471"/>
              </a:cxn>
              <a:cxn ang="0">
                <a:pos x="connsiteX23472" y="connsiteY23472"/>
              </a:cxn>
              <a:cxn ang="0">
                <a:pos x="connsiteX23473" y="connsiteY23473"/>
              </a:cxn>
              <a:cxn ang="0">
                <a:pos x="connsiteX23474" y="connsiteY23474"/>
              </a:cxn>
              <a:cxn ang="0">
                <a:pos x="connsiteX23475" y="connsiteY23475"/>
              </a:cxn>
              <a:cxn ang="0">
                <a:pos x="connsiteX23476" y="connsiteY23476"/>
              </a:cxn>
              <a:cxn ang="0">
                <a:pos x="connsiteX23477" y="connsiteY23477"/>
              </a:cxn>
              <a:cxn ang="0">
                <a:pos x="connsiteX23478" y="connsiteY23478"/>
              </a:cxn>
              <a:cxn ang="0">
                <a:pos x="connsiteX23479" y="connsiteY23479"/>
              </a:cxn>
              <a:cxn ang="0">
                <a:pos x="connsiteX23480" y="connsiteY23480"/>
              </a:cxn>
              <a:cxn ang="0">
                <a:pos x="connsiteX23481" y="connsiteY23481"/>
              </a:cxn>
              <a:cxn ang="0">
                <a:pos x="connsiteX23482" y="connsiteY23482"/>
              </a:cxn>
              <a:cxn ang="0">
                <a:pos x="connsiteX23483" y="connsiteY23483"/>
              </a:cxn>
              <a:cxn ang="0">
                <a:pos x="connsiteX23484" y="connsiteY23484"/>
              </a:cxn>
              <a:cxn ang="0">
                <a:pos x="connsiteX23485" y="connsiteY23485"/>
              </a:cxn>
              <a:cxn ang="0">
                <a:pos x="connsiteX23486" y="connsiteY23486"/>
              </a:cxn>
              <a:cxn ang="0">
                <a:pos x="connsiteX23487" y="connsiteY23487"/>
              </a:cxn>
              <a:cxn ang="0">
                <a:pos x="connsiteX23488" y="connsiteY23488"/>
              </a:cxn>
              <a:cxn ang="0">
                <a:pos x="connsiteX23489" y="connsiteY23489"/>
              </a:cxn>
              <a:cxn ang="0">
                <a:pos x="connsiteX23490" y="connsiteY23490"/>
              </a:cxn>
              <a:cxn ang="0">
                <a:pos x="connsiteX23491" y="connsiteY23491"/>
              </a:cxn>
              <a:cxn ang="0">
                <a:pos x="connsiteX23492" y="connsiteY23492"/>
              </a:cxn>
              <a:cxn ang="0">
                <a:pos x="connsiteX23493" y="connsiteY23493"/>
              </a:cxn>
              <a:cxn ang="0">
                <a:pos x="connsiteX23494" y="connsiteY23494"/>
              </a:cxn>
              <a:cxn ang="0">
                <a:pos x="connsiteX23495" y="connsiteY23495"/>
              </a:cxn>
              <a:cxn ang="0">
                <a:pos x="connsiteX23496" y="connsiteY23496"/>
              </a:cxn>
              <a:cxn ang="0">
                <a:pos x="connsiteX23497" y="connsiteY23497"/>
              </a:cxn>
              <a:cxn ang="0">
                <a:pos x="connsiteX23498" y="connsiteY23498"/>
              </a:cxn>
              <a:cxn ang="0">
                <a:pos x="connsiteX23499" y="connsiteY23499"/>
              </a:cxn>
              <a:cxn ang="0">
                <a:pos x="connsiteX23500" y="connsiteY23500"/>
              </a:cxn>
              <a:cxn ang="0">
                <a:pos x="connsiteX23501" y="connsiteY23501"/>
              </a:cxn>
              <a:cxn ang="0">
                <a:pos x="connsiteX23502" y="connsiteY23502"/>
              </a:cxn>
              <a:cxn ang="0">
                <a:pos x="connsiteX23503" y="connsiteY23503"/>
              </a:cxn>
              <a:cxn ang="0">
                <a:pos x="connsiteX23504" y="connsiteY23504"/>
              </a:cxn>
              <a:cxn ang="0">
                <a:pos x="connsiteX23505" y="connsiteY23505"/>
              </a:cxn>
              <a:cxn ang="0">
                <a:pos x="connsiteX23506" y="connsiteY23506"/>
              </a:cxn>
              <a:cxn ang="0">
                <a:pos x="connsiteX23507" y="connsiteY23507"/>
              </a:cxn>
              <a:cxn ang="0">
                <a:pos x="connsiteX23508" y="connsiteY23508"/>
              </a:cxn>
              <a:cxn ang="0">
                <a:pos x="connsiteX23509" y="connsiteY23509"/>
              </a:cxn>
              <a:cxn ang="0">
                <a:pos x="connsiteX23510" y="connsiteY23510"/>
              </a:cxn>
              <a:cxn ang="0">
                <a:pos x="connsiteX23511" y="connsiteY23511"/>
              </a:cxn>
              <a:cxn ang="0">
                <a:pos x="connsiteX23512" y="connsiteY23512"/>
              </a:cxn>
              <a:cxn ang="0">
                <a:pos x="connsiteX23513" y="connsiteY23513"/>
              </a:cxn>
              <a:cxn ang="0">
                <a:pos x="connsiteX23514" y="connsiteY23514"/>
              </a:cxn>
              <a:cxn ang="0">
                <a:pos x="connsiteX23515" y="connsiteY23515"/>
              </a:cxn>
              <a:cxn ang="0">
                <a:pos x="connsiteX23516" y="connsiteY23516"/>
              </a:cxn>
              <a:cxn ang="0">
                <a:pos x="connsiteX23517" y="connsiteY23517"/>
              </a:cxn>
              <a:cxn ang="0">
                <a:pos x="connsiteX23518" y="connsiteY23518"/>
              </a:cxn>
              <a:cxn ang="0">
                <a:pos x="connsiteX23519" y="connsiteY23519"/>
              </a:cxn>
              <a:cxn ang="0">
                <a:pos x="connsiteX23520" y="connsiteY23520"/>
              </a:cxn>
              <a:cxn ang="0">
                <a:pos x="connsiteX23521" y="connsiteY23521"/>
              </a:cxn>
              <a:cxn ang="0">
                <a:pos x="connsiteX23522" y="connsiteY23522"/>
              </a:cxn>
              <a:cxn ang="0">
                <a:pos x="connsiteX23523" y="connsiteY23523"/>
              </a:cxn>
              <a:cxn ang="0">
                <a:pos x="connsiteX23524" y="connsiteY23524"/>
              </a:cxn>
              <a:cxn ang="0">
                <a:pos x="connsiteX23525" y="connsiteY23525"/>
              </a:cxn>
              <a:cxn ang="0">
                <a:pos x="connsiteX23526" y="connsiteY23526"/>
              </a:cxn>
              <a:cxn ang="0">
                <a:pos x="connsiteX23527" y="connsiteY23527"/>
              </a:cxn>
              <a:cxn ang="0">
                <a:pos x="connsiteX23528" y="connsiteY23528"/>
              </a:cxn>
              <a:cxn ang="0">
                <a:pos x="connsiteX23529" y="connsiteY23529"/>
              </a:cxn>
              <a:cxn ang="0">
                <a:pos x="connsiteX23530" y="connsiteY23530"/>
              </a:cxn>
              <a:cxn ang="0">
                <a:pos x="connsiteX23531" y="connsiteY23531"/>
              </a:cxn>
              <a:cxn ang="0">
                <a:pos x="connsiteX23532" y="connsiteY23532"/>
              </a:cxn>
              <a:cxn ang="0">
                <a:pos x="connsiteX23533" y="connsiteY23533"/>
              </a:cxn>
              <a:cxn ang="0">
                <a:pos x="connsiteX23534" y="connsiteY23534"/>
              </a:cxn>
              <a:cxn ang="0">
                <a:pos x="connsiteX23535" y="connsiteY23535"/>
              </a:cxn>
              <a:cxn ang="0">
                <a:pos x="connsiteX23536" y="connsiteY23536"/>
              </a:cxn>
              <a:cxn ang="0">
                <a:pos x="connsiteX23537" y="connsiteY23537"/>
              </a:cxn>
              <a:cxn ang="0">
                <a:pos x="connsiteX23538" y="connsiteY23538"/>
              </a:cxn>
              <a:cxn ang="0">
                <a:pos x="connsiteX23539" y="connsiteY23539"/>
              </a:cxn>
              <a:cxn ang="0">
                <a:pos x="connsiteX23540" y="connsiteY23540"/>
              </a:cxn>
              <a:cxn ang="0">
                <a:pos x="connsiteX23541" y="connsiteY23541"/>
              </a:cxn>
              <a:cxn ang="0">
                <a:pos x="connsiteX23542" y="connsiteY23542"/>
              </a:cxn>
              <a:cxn ang="0">
                <a:pos x="connsiteX23543" y="connsiteY23543"/>
              </a:cxn>
              <a:cxn ang="0">
                <a:pos x="connsiteX23544" y="connsiteY23544"/>
              </a:cxn>
              <a:cxn ang="0">
                <a:pos x="connsiteX23545" y="connsiteY23545"/>
              </a:cxn>
              <a:cxn ang="0">
                <a:pos x="connsiteX23546" y="connsiteY23546"/>
              </a:cxn>
              <a:cxn ang="0">
                <a:pos x="connsiteX23547" y="connsiteY23547"/>
              </a:cxn>
              <a:cxn ang="0">
                <a:pos x="connsiteX23548" y="connsiteY23548"/>
              </a:cxn>
              <a:cxn ang="0">
                <a:pos x="connsiteX23549" y="connsiteY23549"/>
              </a:cxn>
              <a:cxn ang="0">
                <a:pos x="connsiteX23550" y="connsiteY23550"/>
              </a:cxn>
              <a:cxn ang="0">
                <a:pos x="connsiteX23551" y="connsiteY23551"/>
              </a:cxn>
              <a:cxn ang="0">
                <a:pos x="connsiteX23552" y="connsiteY23552"/>
              </a:cxn>
              <a:cxn ang="0">
                <a:pos x="connsiteX23553" y="connsiteY23553"/>
              </a:cxn>
              <a:cxn ang="0">
                <a:pos x="connsiteX23554" y="connsiteY23554"/>
              </a:cxn>
              <a:cxn ang="0">
                <a:pos x="connsiteX23555" y="connsiteY23555"/>
              </a:cxn>
              <a:cxn ang="0">
                <a:pos x="connsiteX23556" y="connsiteY23556"/>
              </a:cxn>
              <a:cxn ang="0">
                <a:pos x="connsiteX23557" y="connsiteY23557"/>
              </a:cxn>
              <a:cxn ang="0">
                <a:pos x="connsiteX23558" y="connsiteY23558"/>
              </a:cxn>
              <a:cxn ang="0">
                <a:pos x="connsiteX23559" y="connsiteY23559"/>
              </a:cxn>
              <a:cxn ang="0">
                <a:pos x="connsiteX23560" y="connsiteY23560"/>
              </a:cxn>
              <a:cxn ang="0">
                <a:pos x="connsiteX23561" y="connsiteY23561"/>
              </a:cxn>
              <a:cxn ang="0">
                <a:pos x="connsiteX23562" y="connsiteY23562"/>
              </a:cxn>
              <a:cxn ang="0">
                <a:pos x="connsiteX23563" y="connsiteY23563"/>
              </a:cxn>
              <a:cxn ang="0">
                <a:pos x="connsiteX23564" y="connsiteY23564"/>
              </a:cxn>
              <a:cxn ang="0">
                <a:pos x="connsiteX23565" y="connsiteY23565"/>
              </a:cxn>
              <a:cxn ang="0">
                <a:pos x="connsiteX23566" y="connsiteY23566"/>
              </a:cxn>
              <a:cxn ang="0">
                <a:pos x="connsiteX23567" y="connsiteY23567"/>
              </a:cxn>
              <a:cxn ang="0">
                <a:pos x="connsiteX23568" y="connsiteY23568"/>
              </a:cxn>
              <a:cxn ang="0">
                <a:pos x="connsiteX23569" y="connsiteY23569"/>
              </a:cxn>
              <a:cxn ang="0">
                <a:pos x="connsiteX23570" y="connsiteY23570"/>
              </a:cxn>
              <a:cxn ang="0">
                <a:pos x="connsiteX23571" y="connsiteY23571"/>
              </a:cxn>
              <a:cxn ang="0">
                <a:pos x="connsiteX23572" y="connsiteY23572"/>
              </a:cxn>
              <a:cxn ang="0">
                <a:pos x="connsiteX23573" y="connsiteY23573"/>
              </a:cxn>
              <a:cxn ang="0">
                <a:pos x="connsiteX23574" y="connsiteY23574"/>
              </a:cxn>
              <a:cxn ang="0">
                <a:pos x="connsiteX23575" y="connsiteY23575"/>
              </a:cxn>
              <a:cxn ang="0">
                <a:pos x="connsiteX23576" y="connsiteY23576"/>
              </a:cxn>
              <a:cxn ang="0">
                <a:pos x="connsiteX23577" y="connsiteY23577"/>
              </a:cxn>
              <a:cxn ang="0">
                <a:pos x="connsiteX23578" y="connsiteY23578"/>
              </a:cxn>
              <a:cxn ang="0">
                <a:pos x="connsiteX23579" y="connsiteY23579"/>
              </a:cxn>
              <a:cxn ang="0">
                <a:pos x="connsiteX23580" y="connsiteY23580"/>
              </a:cxn>
              <a:cxn ang="0">
                <a:pos x="connsiteX23581" y="connsiteY23581"/>
              </a:cxn>
              <a:cxn ang="0">
                <a:pos x="connsiteX23582" y="connsiteY23582"/>
              </a:cxn>
              <a:cxn ang="0">
                <a:pos x="connsiteX23583" y="connsiteY23583"/>
              </a:cxn>
              <a:cxn ang="0">
                <a:pos x="connsiteX23584" y="connsiteY23584"/>
              </a:cxn>
              <a:cxn ang="0">
                <a:pos x="connsiteX23585" y="connsiteY23585"/>
              </a:cxn>
              <a:cxn ang="0">
                <a:pos x="connsiteX23586" y="connsiteY23586"/>
              </a:cxn>
              <a:cxn ang="0">
                <a:pos x="connsiteX23587" y="connsiteY23587"/>
              </a:cxn>
              <a:cxn ang="0">
                <a:pos x="connsiteX23588" y="connsiteY23588"/>
              </a:cxn>
              <a:cxn ang="0">
                <a:pos x="connsiteX23589" y="connsiteY23589"/>
              </a:cxn>
              <a:cxn ang="0">
                <a:pos x="connsiteX23590" y="connsiteY23590"/>
              </a:cxn>
              <a:cxn ang="0">
                <a:pos x="connsiteX23591" y="connsiteY23591"/>
              </a:cxn>
              <a:cxn ang="0">
                <a:pos x="connsiteX23592" y="connsiteY23592"/>
              </a:cxn>
              <a:cxn ang="0">
                <a:pos x="connsiteX23593" y="connsiteY23593"/>
              </a:cxn>
              <a:cxn ang="0">
                <a:pos x="connsiteX23594" y="connsiteY23594"/>
              </a:cxn>
              <a:cxn ang="0">
                <a:pos x="connsiteX23595" y="connsiteY23595"/>
              </a:cxn>
              <a:cxn ang="0">
                <a:pos x="connsiteX23596" y="connsiteY23596"/>
              </a:cxn>
              <a:cxn ang="0">
                <a:pos x="connsiteX23597" y="connsiteY23597"/>
              </a:cxn>
              <a:cxn ang="0">
                <a:pos x="connsiteX23598" y="connsiteY23598"/>
              </a:cxn>
              <a:cxn ang="0">
                <a:pos x="connsiteX23599" y="connsiteY23599"/>
              </a:cxn>
              <a:cxn ang="0">
                <a:pos x="connsiteX23600" y="connsiteY23600"/>
              </a:cxn>
              <a:cxn ang="0">
                <a:pos x="connsiteX23601" y="connsiteY23601"/>
              </a:cxn>
              <a:cxn ang="0">
                <a:pos x="connsiteX23602" y="connsiteY23602"/>
              </a:cxn>
              <a:cxn ang="0">
                <a:pos x="connsiteX23603" y="connsiteY23603"/>
              </a:cxn>
              <a:cxn ang="0">
                <a:pos x="connsiteX23604" y="connsiteY23604"/>
              </a:cxn>
              <a:cxn ang="0">
                <a:pos x="connsiteX23605" y="connsiteY23605"/>
              </a:cxn>
              <a:cxn ang="0">
                <a:pos x="connsiteX23606" y="connsiteY23606"/>
              </a:cxn>
              <a:cxn ang="0">
                <a:pos x="connsiteX23607" y="connsiteY23607"/>
              </a:cxn>
              <a:cxn ang="0">
                <a:pos x="connsiteX23608" y="connsiteY23608"/>
              </a:cxn>
              <a:cxn ang="0">
                <a:pos x="connsiteX23609" y="connsiteY23609"/>
              </a:cxn>
              <a:cxn ang="0">
                <a:pos x="connsiteX23610" y="connsiteY23610"/>
              </a:cxn>
              <a:cxn ang="0">
                <a:pos x="connsiteX23611" y="connsiteY23611"/>
              </a:cxn>
              <a:cxn ang="0">
                <a:pos x="connsiteX23612" y="connsiteY23612"/>
              </a:cxn>
              <a:cxn ang="0">
                <a:pos x="connsiteX23613" y="connsiteY23613"/>
              </a:cxn>
              <a:cxn ang="0">
                <a:pos x="connsiteX23614" y="connsiteY23614"/>
              </a:cxn>
              <a:cxn ang="0">
                <a:pos x="connsiteX23615" y="connsiteY23615"/>
              </a:cxn>
              <a:cxn ang="0">
                <a:pos x="connsiteX23616" y="connsiteY23616"/>
              </a:cxn>
              <a:cxn ang="0">
                <a:pos x="connsiteX23617" y="connsiteY23617"/>
              </a:cxn>
              <a:cxn ang="0">
                <a:pos x="connsiteX23618" y="connsiteY23618"/>
              </a:cxn>
              <a:cxn ang="0">
                <a:pos x="connsiteX23619" y="connsiteY23619"/>
              </a:cxn>
              <a:cxn ang="0">
                <a:pos x="connsiteX23620" y="connsiteY23620"/>
              </a:cxn>
              <a:cxn ang="0">
                <a:pos x="connsiteX23621" y="connsiteY23621"/>
              </a:cxn>
              <a:cxn ang="0">
                <a:pos x="connsiteX23622" y="connsiteY23622"/>
              </a:cxn>
              <a:cxn ang="0">
                <a:pos x="connsiteX23623" y="connsiteY23623"/>
              </a:cxn>
              <a:cxn ang="0">
                <a:pos x="connsiteX23624" y="connsiteY23624"/>
              </a:cxn>
              <a:cxn ang="0">
                <a:pos x="connsiteX23625" y="connsiteY23625"/>
              </a:cxn>
              <a:cxn ang="0">
                <a:pos x="connsiteX23626" y="connsiteY23626"/>
              </a:cxn>
              <a:cxn ang="0">
                <a:pos x="connsiteX23627" y="connsiteY23627"/>
              </a:cxn>
              <a:cxn ang="0">
                <a:pos x="connsiteX23628" y="connsiteY23628"/>
              </a:cxn>
              <a:cxn ang="0">
                <a:pos x="connsiteX23629" y="connsiteY23629"/>
              </a:cxn>
              <a:cxn ang="0">
                <a:pos x="connsiteX23630" y="connsiteY23630"/>
              </a:cxn>
              <a:cxn ang="0">
                <a:pos x="connsiteX23631" y="connsiteY23631"/>
              </a:cxn>
              <a:cxn ang="0">
                <a:pos x="connsiteX23632" y="connsiteY23632"/>
              </a:cxn>
              <a:cxn ang="0">
                <a:pos x="connsiteX23633" y="connsiteY23633"/>
              </a:cxn>
              <a:cxn ang="0">
                <a:pos x="connsiteX23634" y="connsiteY23634"/>
              </a:cxn>
              <a:cxn ang="0">
                <a:pos x="connsiteX23635" y="connsiteY23635"/>
              </a:cxn>
              <a:cxn ang="0">
                <a:pos x="connsiteX23636" y="connsiteY23636"/>
              </a:cxn>
              <a:cxn ang="0">
                <a:pos x="connsiteX23637" y="connsiteY23637"/>
              </a:cxn>
              <a:cxn ang="0">
                <a:pos x="connsiteX23638" y="connsiteY23638"/>
              </a:cxn>
              <a:cxn ang="0">
                <a:pos x="connsiteX23639" y="connsiteY23639"/>
              </a:cxn>
              <a:cxn ang="0">
                <a:pos x="connsiteX23640" y="connsiteY23640"/>
              </a:cxn>
              <a:cxn ang="0">
                <a:pos x="connsiteX23641" y="connsiteY23641"/>
              </a:cxn>
              <a:cxn ang="0">
                <a:pos x="connsiteX23642" y="connsiteY23642"/>
              </a:cxn>
              <a:cxn ang="0">
                <a:pos x="connsiteX23643" y="connsiteY23643"/>
              </a:cxn>
              <a:cxn ang="0">
                <a:pos x="connsiteX23644" y="connsiteY23644"/>
              </a:cxn>
              <a:cxn ang="0">
                <a:pos x="connsiteX23645" y="connsiteY23645"/>
              </a:cxn>
              <a:cxn ang="0">
                <a:pos x="connsiteX23646" y="connsiteY23646"/>
              </a:cxn>
              <a:cxn ang="0">
                <a:pos x="connsiteX23647" y="connsiteY23647"/>
              </a:cxn>
              <a:cxn ang="0">
                <a:pos x="connsiteX23648" y="connsiteY23648"/>
              </a:cxn>
              <a:cxn ang="0">
                <a:pos x="connsiteX23649" y="connsiteY23649"/>
              </a:cxn>
              <a:cxn ang="0">
                <a:pos x="connsiteX23650" y="connsiteY23650"/>
              </a:cxn>
              <a:cxn ang="0">
                <a:pos x="connsiteX23651" y="connsiteY23651"/>
              </a:cxn>
              <a:cxn ang="0">
                <a:pos x="connsiteX23652" y="connsiteY23652"/>
              </a:cxn>
              <a:cxn ang="0">
                <a:pos x="connsiteX23653" y="connsiteY23653"/>
              </a:cxn>
              <a:cxn ang="0">
                <a:pos x="connsiteX23654" y="connsiteY23654"/>
              </a:cxn>
              <a:cxn ang="0">
                <a:pos x="connsiteX23655" y="connsiteY23655"/>
              </a:cxn>
              <a:cxn ang="0">
                <a:pos x="connsiteX23656" y="connsiteY23656"/>
              </a:cxn>
              <a:cxn ang="0">
                <a:pos x="connsiteX23657" y="connsiteY23657"/>
              </a:cxn>
              <a:cxn ang="0">
                <a:pos x="connsiteX23658" y="connsiteY23658"/>
              </a:cxn>
              <a:cxn ang="0">
                <a:pos x="connsiteX23659" y="connsiteY23659"/>
              </a:cxn>
              <a:cxn ang="0">
                <a:pos x="connsiteX23660" y="connsiteY23660"/>
              </a:cxn>
              <a:cxn ang="0">
                <a:pos x="connsiteX23661" y="connsiteY23661"/>
              </a:cxn>
              <a:cxn ang="0">
                <a:pos x="connsiteX23662" y="connsiteY23662"/>
              </a:cxn>
              <a:cxn ang="0">
                <a:pos x="connsiteX23663" y="connsiteY23663"/>
              </a:cxn>
              <a:cxn ang="0">
                <a:pos x="connsiteX23664" y="connsiteY23664"/>
              </a:cxn>
              <a:cxn ang="0">
                <a:pos x="connsiteX23665" y="connsiteY23665"/>
              </a:cxn>
              <a:cxn ang="0">
                <a:pos x="connsiteX23666" y="connsiteY23666"/>
              </a:cxn>
              <a:cxn ang="0">
                <a:pos x="connsiteX23667" y="connsiteY23667"/>
              </a:cxn>
              <a:cxn ang="0">
                <a:pos x="connsiteX23668" y="connsiteY23668"/>
              </a:cxn>
              <a:cxn ang="0">
                <a:pos x="connsiteX23669" y="connsiteY23669"/>
              </a:cxn>
              <a:cxn ang="0">
                <a:pos x="connsiteX23670" y="connsiteY23670"/>
              </a:cxn>
              <a:cxn ang="0">
                <a:pos x="connsiteX23671" y="connsiteY23671"/>
              </a:cxn>
              <a:cxn ang="0">
                <a:pos x="connsiteX23672" y="connsiteY23672"/>
              </a:cxn>
              <a:cxn ang="0">
                <a:pos x="connsiteX23673" y="connsiteY23673"/>
              </a:cxn>
              <a:cxn ang="0">
                <a:pos x="connsiteX23674" y="connsiteY23674"/>
              </a:cxn>
              <a:cxn ang="0">
                <a:pos x="connsiteX23675" y="connsiteY23675"/>
              </a:cxn>
              <a:cxn ang="0">
                <a:pos x="connsiteX23676" y="connsiteY23676"/>
              </a:cxn>
              <a:cxn ang="0">
                <a:pos x="connsiteX23677" y="connsiteY23677"/>
              </a:cxn>
              <a:cxn ang="0">
                <a:pos x="connsiteX23678" y="connsiteY23678"/>
              </a:cxn>
              <a:cxn ang="0">
                <a:pos x="connsiteX23679" y="connsiteY23679"/>
              </a:cxn>
              <a:cxn ang="0">
                <a:pos x="connsiteX23680" y="connsiteY23680"/>
              </a:cxn>
              <a:cxn ang="0">
                <a:pos x="connsiteX23681" y="connsiteY23681"/>
              </a:cxn>
              <a:cxn ang="0">
                <a:pos x="connsiteX23682" y="connsiteY23682"/>
              </a:cxn>
              <a:cxn ang="0">
                <a:pos x="connsiteX23683" y="connsiteY23683"/>
              </a:cxn>
              <a:cxn ang="0">
                <a:pos x="connsiteX23684" y="connsiteY23684"/>
              </a:cxn>
              <a:cxn ang="0">
                <a:pos x="connsiteX23685" y="connsiteY23685"/>
              </a:cxn>
              <a:cxn ang="0">
                <a:pos x="connsiteX23686" y="connsiteY23686"/>
              </a:cxn>
              <a:cxn ang="0">
                <a:pos x="connsiteX23687" y="connsiteY23687"/>
              </a:cxn>
              <a:cxn ang="0">
                <a:pos x="connsiteX23688" y="connsiteY23688"/>
              </a:cxn>
              <a:cxn ang="0">
                <a:pos x="connsiteX23689" y="connsiteY23689"/>
              </a:cxn>
              <a:cxn ang="0">
                <a:pos x="connsiteX23690" y="connsiteY23690"/>
              </a:cxn>
              <a:cxn ang="0">
                <a:pos x="connsiteX23691" y="connsiteY23691"/>
              </a:cxn>
              <a:cxn ang="0">
                <a:pos x="connsiteX23692" y="connsiteY23692"/>
              </a:cxn>
              <a:cxn ang="0">
                <a:pos x="connsiteX23693" y="connsiteY23693"/>
              </a:cxn>
              <a:cxn ang="0">
                <a:pos x="connsiteX23694" y="connsiteY23694"/>
              </a:cxn>
              <a:cxn ang="0">
                <a:pos x="connsiteX23695" y="connsiteY23695"/>
              </a:cxn>
              <a:cxn ang="0">
                <a:pos x="connsiteX23696" y="connsiteY23696"/>
              </a:cxn>
              <a:cxn ang="0">
                <a:pos x="connsiteX23697" y="connsiteY23697"/>
              </a:cxn>
              <a:cxn ang="0">
                <a:pos x="connsiteX23698" y="connsiteY23698"/>
              </a:cxn>
              <a:cxn ang="0">
                <a:pos x="connsiteX23699" y="connsiteY23699"/>
              </a:cxn>
              <a:cxn ang="0">
                <a:pos x="connsiteX23700" y="connsiteY23700"/>
              </a:cxn>
              <a:cxn ang="0">
                <a:pos x="connsiteX23701" y="connsiteY23701"/>
              </a:cxn>
              <a:cxn ang="0">
                <a:pos x="connsiteX23702" y="connsiteY23702"/>
              </a:cxn>
              <a:cxn ang="0">
                <a:pos x="connsiteX23703" y="connsiteY23703"/>
              </a:cxn>
              <a:cxn ang="0">
                <a:pos x="connsiteX23704" y="connsiteY23704"/>
              </a:cxn>
              <a:cxn ang="0">
                <a:pos x="connsiteX23705" y="connsiteY23705"/>
              </a:cxn>
              <a:cxn ang="0">
                <a:pos x="connsiteX23706" y="connsiteY23706"/>
              </a:cxn>
              <a:cxn ang="0">
                <a:pos x="connsiteX23707" y="connsiteY23707"/>
              </a:cxn>
              <a:cxn ang="0">
                <a:pos x="connsiteX23708" y="connsiteY23708"/>
              </a:cxn>
              <a:cxn ang="0">
                <a:pos x="connsiteX23709" y="connsiteY23709"/>
              </a:cxn>
              <a:cxn ang="0">
                <a:pos x="connsiteX23710" y="connsiteY23710"/>
              </a:cxn>
              <a:cxn ang="0">
                <a:pos x="connsiteX23711" y="connsiteY23711"/>
              </a:cxn>
              <a:cxn ang="0">
                <a:pos x="connsiteX23712" y="connsiteY23712"/>
              </a:cxn>
              <a:cxn ang="0">
                <a:pos x="connsiteX23713" y="connsiteY23713"/>
              </a:cxn>
              <a:cxn ang="0">
                <a:pos x="connsiteX23714" y="connsiteY23714"/>
              </a:cxn>
              <a:cxn ang="0">
                <a:pos x="connsiteX23715" y="connsiteY23715"/>
              </a:cxn>
              <a:cxn ang="0">
                <a:pos x="connsiteX23716" y="connsiteY23716"/>
              </a:cxn>
              <a:cxn ang="0">
                <a:pos x="connsiteX23717" y="connsiteY23717"/>
              </a:cxn>
              <a:cxn ang="0">
                <a:pos x="connsiteX23718" y="connsiteY23718"/>
              </a:cxn>
              <a:cxn ang="0">
                <a:pos x="connsiteX23719" y="connsiteY23719"/>
              </a:cxn>
              <a:cxn ang="0">
                <a:pos x="connsiteX23720" y="connsiteY23720"/>
              </a:cxn>
              <a:cxn ang="0">
                <a:pos x="connsiteX23721" y="connsiteY23721"/>
              </a:cxn>
              <a:cxn ang="0">
                <a:pos x="connsiteX23722" y="connsiteY23722"/>
              </a:cxn>
              <a:cxn ang="0">
                <a:pos x="connsiteX23723" y="connsiteY23723"/>
              </a:cxn>
              <a:cxn ang="0">
                <a:pos x="connsiteX23724" y="connsiteY23724"/>
              </a:cxn>
              <a:cxn ang="0">
                <a:pos x="connsiteX23725" y="connsiteY23725"/>
              </a:cxn>
              <a:cxn ang="0">
                <a:pos x="connsiteX23726" y="connsiteY23726"/>
              </a:cxn>
              <a:cxn ang="0">
                <a:pos x="connsiteX23727" y="connsiteY23727"/>
              </a:cxn>
              <a:cxn ang="0">
                <a:pos x="connsiteX23728" y="connsiteY23728"/>
              </a:cxn>
              <a:cxn ang="0">
                <a:pos x="connsiteX23729" y="connsiteY23729"/>
              </a:cxn>
              <a:cxn ang="0">
                <a:pos x="connsiteX23730" y="connsiteY23730"/>
              </a:cxn>
              <a:cxn ang="0">
                <a:pos x="connsiteX23731" y="connsiteY23731"/>
              </a:cxn>
              <a:cxn ang="0">
                <a:pos x="connsiteX23732" y="connsiteY23732"/>
              </a:cxn>
              <a:cxn ang="0">
                <a:pos x="connsiteX23733" y="connsiteY23733"/>
              </a:cxn>
              <a:cxn ang="0">
                <a:pos x="connsiteX23734" y="connsiteY23734"/>
              </a:cxn>
              <a:cxn ang="0">
                <a:pos x="connsiteX23735" y="connsiteY23735"/>
              </a:cxn>
              <a:cxn ang="0">
                <a:pos x="connsiteX23736" y="connsiteY23736"/>
              </a:cxn>
              <a:cxn ang="0">
                <a:pos x="connsiteX23737" y="connsiteY23737"/>
              </a:cxn>
              <a:cxn ang="0">
                <a:pos x="connsiteX23738" y="connsiteY23738"/>
              </a:cxn>
              <a:cxn ang="0">
                <a:pos x="connsiteX23739" y="connsiteY23739"/>
              </a:cxn>
              <a:cxn ang="0">
                <a:pos x="connsiteX23740" y="connsiteY23740"/>
              </a:cxn>
              <a:cxn ang="0">
                <a:pos x="connsiteX23741" y="connsiteY23741"/>
              </a:cxn>
              <a:cxn ang="0">
                <a:pos x="connsiteX23742" y="connsiteY23742"/>
              </a:cxn>
              <a:cxn ang="0">
                <a:pos x="connsiteX23743" y="connsiteY23743"/>
              </a:cxn>
              <a:cxn ang="0">
                <a:pos x="connsiteX23744" y="connsiteY23744"/>
              </a:cxn>
              <a:cxn ang="0">
                <a:pos x="connsiteX23745" y="connsiteY23745"/>
              </a:cxn>
              <a:cxn ang="0">
                <a:pos x="connsiteX23746" y="connsiteY23746"/>
              </a:cxn>
              <a:cxn ang="0">
                <a:pos x="connsiteX23747" y="connsiteY23747"/>
              </a:cxn>
              <a:cxn ang="0">
                <a:pos x="connsiteX23748" y="connsiteY23748"/>
              </a:cxn>
              <a:cxn ang="0">
                <a:pos x="connsiteX23749" y="connsiteY23749"/>
              </a:cxn>
              <a:cxn ang="0">
                <a:pos x="connsiteX23750" y="connsiteY23750"/>
              </a:cxn>
              <a:cxn ang="0">
                <a:pos x="connsiteX23751" y="connsiteY23751"/>
              </a:cxn>
              <a:cxn ang="0">
                <a:pos x="connsiteX23752" y="connsiteY23752"/>
              </a:cxn>
              <a:cxn ang="0">
                <a:pos x="connsiteX23753" y="connsiteY23753"/>
              </a:cxn>
              <a:cxn ang="0">
                <a:pos x="connsiteX23754" y="connsiteY23754"/>
              </a:cxn>
              <a:cxn ang="0">
                <a:pos x="connsiteX23755" y="connsiteY23755"/>
              </a:cxn>
              <a:cxn ang="0">
                <a:pos x="connsiteX23756" y="connsiteY23756"/>
              </a:cxn>
              <a:cxn ang="0">
                <a:pos x="connsiteX23757" y="connsiteY23757"/>
              </a:cxn>
              <a:cxn ang="0">
                <a:pos x="connsiteX23758" y="connsiteY23758"/>
              </a:cxn>
              <a:cxn ang="0">
                <a:pos x="connsiteX23759" y="connsiteY23759"/>
              </a:cxn>
              <a:cxn ang="0">
                <a:pos x="connsiteX23760" y="connsiteY23760"/>
              </a:cxn>
              <a:cxn ang="0">
                <a:pos x="connsiteX23761" y="connsiteY23761"/>
              </a:cxn>
              <a:cxn ang="0">
                <a:pos x="connsiteX23762" y="connsiteY23762"/>
              </a:cxn>
              <a:cxn ang="0">
                <a:pos x="connsiteX23763" y="connsiteY23763"/>
              </a:cxn>
              <a:cxn ang="0">
                <a:pos x="connsiteX23764" y="connsiteY23764"/>
              </a:cxn>
              <a:cxn ang="0">
                <a:pos x="connsiteX23765" y="connsiteY23765"/>
              </a:cxn>
              <a:cxn ang="0">
                <a:pos x="connsiteX23766" y="connsiteY23766"/>
              </a:cxn>
              <a:cxn ang="0">
                <a:pos x="connsiteX23767" y="connsiteY23767"/>
              </a:cxn>
              <a:cxn ang="0">
                <a:pos x="connsiteX23768" y="connsiteY23768"/>
              </a:cxn>
              <a:cxn ang="0">
                <a:pos x="connsiteX23769" y="connsiteY23769"/>
              </a:cxn>
              <a:cxn ang="0">
                <a:pos x="connsiteX23770" y="connsiteY23770"/>
              </a:cxn>
              <a:cxn ang="0">
                <a:pos x="connsiteX23771" y="connsiteY23771"/>
              </a:cxn>
              <a:cxn ang="0">
                <a:pos x="connsiteX23772" y="connsiteY23772"/>
              </a:cxn>
              <a:cxn ang="0">
                <a:pos x="connsiteX23773" y="connsiteY23773"/>
              </a:cxn>
              <a:cxn ang="0">
                <a:pos x="connsiteX23774" y="connsiteY23774"/>
              </a:cxn>
              <a:cxn ang="0">
                <a:pos x="connsiteX23775" y="connsiteY23775"/>
              </a:cxn>
              <a:cxn ang="0">
                <a:pos x="connsiteX23776" y="connsiteY23776"/>
              </a:cxn>
              <a:cxn ang="0">
                <a:pos x="connsiteX23777" y="connsiteY23777"/>
              </a:cxn>
              <a:cxn ang="0">
                <a:pos x="connsiteX23778" y="connsiteY23778"/>
              </a:cxn>
              <a:cxn ang="0">
                <a:pos x="connsiteX23779" y="connsiteY23779"/>
              </a:cxn>
              <a:cxn ang="0">
                <a:pos x="connsiteX23780" y="connsiteY23780"/>
              </a:cxn>
              <a:cxn ang="0">
                <a:pos x="connsiteX23781" y="connsiteY23781"/>
              </a:cxn>
              <a:cxn ang="0">
                <a:pos x="connsiteX23782" y="connsiteY23782"/>
              </a:cxn>
              <a:cxn ang="0">
                <a:pos x="connsiteX23783" y="connsiteY23783"/>
              </a:cxn>
              <a:cxn ang="0">
                <a:pos x="connsiteX23784" y="connsiteY23784"/>
              </a:cxn>
              <a:cxn ang="0">
                <a:pos x="connsiteX23785" y="connsiteY23785"/>
              </a:cxn>
              <a:cxn ang="0">
                <a:pos x="connsiteX23786" y="connsiteY23786"/>
              </a:cxn>
              <a:cxn ang="0">
                <a:pos x="connsiteX23787" y="connsiteY23787"/>
              </a:cxn>
              <a:cxn ang="0">
                <a:pos x="connsiteX23788" y="connsiteY23788"/>
              </a:cxn>
              <a:cxn ang="0">
                <a:pos x="connsiteX23789" y="connsiteY23789"/>
              </a:cxn>
              <a:cxn ang="0">
                <a:pos x="connsiteX23790" y="connsiteY23790"/>
              </a:cxn>
              <a:cxn ang="0">
                <a:pos x="connsiteX23791" y="connsiteY23791"/>
              </a:cxn>
              <a:cxn ang="0">
                <a:pos x="connsiteX23792" y="connsiteY23792"/>
              </a:cxn>
              <a:cxn ang="0">
                <a:pos x="connsiteX23793" y="connsiteY23793"/>
              </a:cxn>
              <a:cxn ang="0">
                <a:pos x="connsiteX23794" y="connsiteY23794"/>
              </a:cxn>
              <a:cxn ang="0">
                <a:pos x="connsiteX23795" y="connsiteY23795"/>
              </a:cxn>
              <a:cxn ang="0">
                <a:pos x="connsiteX23796" y="connsiteY23796"/>
              </a:cxn>
              <a:cxn ang="0">
                <a:pos x="connsiteX23797" y="connsiteY23797"/>
              </a:cxn>
              <a:cxn ang="0">
                <a:pos x="connsiteX23798" y="connsiteY23798"/>
              </a:cxn>
              <a:cxn ang="0">
                <a:pos x="connsiteX23799" y="connsiteY23799"/>
              </a:cxn>
              <a:cxn ang="0">
                <a:pos x="connsiteX23800" y="connsiteY23800"/>
              </a:cxn>
              <a:cxn ang="0">
                <a:pos x="connsiteX23801" y="connsiteY23801"/>
              </a:cxn>
              <a:cxn ang="0">
                <a:pos x="connsiteX23802" y="connsiteY23802"/>
              </a:cxn>
              <a:cxn ang="0">
                <a:pos x="connsiteX23803" y="connsiteY23803"/>
              </a:cxn>
              <a:cxn ang="0">
                <a:pos x="connsiteX23804" y="connsiteY23804"/>
              </a:cxn>
              <a:cxn ang="0">
                <a:pos x="connsiteX23805" y="connsiteY23805"/>
              </a:cxn>
              <a:cxn ang="0">
                <a:pos x="connsiteX23806" y="connsiteY23806"/>
              </a:cxn>
              <a:cxn ang="0">
                <a:pos x="connsiteX23807" y="connsiteY23807"/>
              </a:cxn>
              <a:cxn ang="0">
                <a:pos x="connsiteX23808" y="connsiteY23808"/>
              </a:cxn>
              <a:cxn ang="0">
                <a:pos x="connsiteX23809" y="connsiteY23809"/>
              </a:cxn>
              <a:cxn ang="0">
                <a:pos x="connsiteX23810" y="connsiteY23810"/>
              </a:cxn>
              <a:cxn ang="0">
                <a:pos x="connsiteX23811" y="connsiteY23811"/>
              </a:cxn>
              <a:cxn ang="0">
                <a:pos x="connsiteX23812" y="connsiteY23812"/>
              </a:cxn>
              <a:cxn ang="0">
                <a:pos x="connsiteX23813" y="connsiteY23813"/>
              </a:cxn>
              <a:cxn ang="0">
                <a:pos x="connsiteX23814" y="connsiteY23814"/>
              </a:cxn>
              <a:cxn ang="0">
                <a:pos x="connsiteX23815" y="connsiteY23815"/>
              </a:cxn>
              <a:cxn ang="0">
                <a:pos x="connsiteX23816" y="connsiteY23816"/>
              </a:cxn>
              <a:cxn ang="0">
                <a:pos x="connsiteX23817" y="connsiteY23817"/>
              </a:cxn>
              <a:cxn ang="0">
                <a:pos x="connsiteX23818" y="connsiteY23818"/>
              </a:cxn>
              <a:cxn ang="0">
                <a:pos x="connsiteX23819" y="connsiteY23819"/>
              </a:cxn>
              <a:cxn ang="0">
                <a:pos x="connsiteX23820" y="connsiteY23820"/>
              </a:cxn>
              <a:cxn ang="0">
                <a:pos x="connsiteX23821" y="connsiteY23821"/>
              </a:cxn>
              <a:cxn ang="0">
                <a:pos x="connsiteX23822" y="connsiteY23822"/>
              </a:cxn>
              <a:cxn ang="0">
                <a:pos x="connsiteX23823" y="connsiteY23823"/>
              </a:cxn>
              <a:cxn ang="0">
                <a:pos x="connsiteX23824" y="connsiteY23824"/>
              </a:cxn>
              <a:cxn ang="0">
                <a:pos x="connsiteX23825" y="connsiteY23825"/>
              </a:cxn>
              <a:cxn ang="0">
                <a:pos x="connsiteX23826" y="connsiteY23826"/>
              </a:cxn>
              <a:cxn ang="0">
                <a:pos x="connsiteX23827" y="connsiteY23827"/>
              </a:cxn>
              <a:cxn ang="0">
                <a:pos x="connsiteX23828" y="connsiteY23828"/>
              </a:cxn>
              <a:cxn ang="0">
                <a:pos x="connsiteX23829" y="connsiteY23829"/>
              </a:cxn>
              <a:cxn ang="0">
                <a:pos x="connsiteX23830" y="connsiteY23830"/>
              </a:cxn>
              <a:cxn ang="0">
                <a:pos x="connsiteX23831" y="connsiteY23831"/>
              </a:cxn>
              <a:cxn ang="0">
                <a:pos x="connsiteX23832" y="connsiteY23832"/>
              </a:cxn>
              <a:cxn ang="0">
                <a:pos x="connsiteX23833" y="connsiteY23833"/>
              </a:cxn>
              <a:cxn ang="0">
                <a:pos x="connsiteX23834" y="connsiteY23834"/>
              </a:cxn>
              <a:cxn ang="0">
                <a:pos x="connsiteX23835" y="connsiteY23835"/>
              </a:cxn>
              <a:cxn ang="0">
                <a:pos x="connsiteX23836" y="connsiteY23836"/>
              </a:cxn>
              <a:cxn ang="0">
                <a:pos x="connsiteX23837" y="connsiteY23837"/>
              </a:cxn>
              <a:cxn ang="0">
                <a:pos x="connsiteX23838" y="connsiteY23838"/>
              </a:cxn>
              <a:cxn ang="0">
                <a:pos x="connsiteX23839" y="connsiteY23839"/>
              </a:cxn>
              <a:cxn ang="0">
                <a:pos x="connsiteX23840" y="connsiteY23840"/>
              </a:cxn>
              <a:cxn ang="0">
                <a:pos x="connsiteX23841" y="connsiteY23841"/>
              </a:cxn>
              <a:cxn ang="0">
                <a:pos x="connsiteX23842" y="connsiteY23842"/>
              </a:cxn>
              <a:cxn ang="0">
                <a:pos x="connsiteX23843" y="connsiteY23843"/>
              </a:cxn>
              <a:cxn ang="0">
                <a:pos x="connsiteX23844" y="connsiteY23844"/>
              </a:cxn>
              <a:cxn ang="0">
                <a:pos x="connsiteX23845" y="connsiteY23845"/>
              </a:cxn>
              <a:cxn ang="0">
                <a:pos x="connsiteX23846" y="connsiteY23846"/>
              </a:cxn>
              <a:cxn ang="0">
                <a:pos x="connsiteX23847" y="connsiteY23847"/>
              </a:cxn>
              <a:cxn ang="0">
                <a:pos x="connsiteX23848" y="connsiteY23848"/>
              </a:cxn>
              <a:cxn ang="0">
                <a:pos x="connsiteX23849" y="connsiteY23849"/>
              </a:cxn>
              <a:cxn ang="0">
                <a:pos x="connsiteX23850" y="connsiteY23850"/>
              </a:cxn>
              <a:cxn ang="0">
                <a:pos x="connsiteX23851" y="connsiteY23851"/>
              </a:cxn>
              <a:cxn ang="0">
                <a:pos x="connsiteX23852" y="connsiteY23852"/>
              </a:cxn>
              <a:cxn ang="0">
                <a:pos x="connsiteX23853" y="connsiteY23853"/>
              </a:cxn>
              <a:cxn ang="0">
                <a:pos x="connsiteX23854" y="connsiteY23854"/>
              </a:cxn>
              <a:cxn ang="0">
                <a:pos x="connsiteX23855" y="connsiteY23855"/>
              </a:cxn>
              <a:cxn ang="0">
                <a:pos x="connsiteX23856" y="connsiteY23856"/>
              </a:cxn>
              <a:cxn ang="0">
                <a:pos x="connsiteX23857" y="connsiteY23857"/>
              </a:cxn>
              <a:cxn ang="0">
                <a:pos x="connsiteX23858" y="connsiteY23858"/>
              </a:cxn>
              <a:cxn ang="0">
                <a:pos x="connsiteX23859" y="connsiteY23859"/>
              </a:cxn>
              <a:cxn ang="0">
                <a:pos x="connsiteX23860" y="connsiteY23860"/>
              </a:cxn>
              <a:cxn ang="0">
                <a:pos x="connsiteX23861" y="connsiteY23861"/>
              </a:cxn>
              <a:cxn ang="0">
                <a:pos x="connsiteX23862" y="connsiteY23862"/>
              </a:cxn>
              <a:cxn ang="0">
                <a:pos x="connsiteX23863" y="connsiteY23863"/>
              </a:cxn>
              <a:cxn ang="0">
                <a:pos x="connsiteX23864" y="connsiteY23864"/>
              </a:cxn>
              <a:cxn ang="0">
                <a:pos x="connsiteX23865" y="connsiteY23865"/>
              </a:cxn>
              <a:cxn ang="0">
                <a:pos x="connsiteX23866" y="connsiteY23866"/>
              </a:cxn>
              <a:cxn ang="0">
                <a:pos x="connsiteX23867" y="connsiteY23867"/>
              </a:cxn>
              <a:cxn ang="0">
                <a:pos x="connsiteX23868" y="connsiteY23868"/>
              </a:cxn>
              <a:cxn ang="0">
                <a:pos x="connsiteX23869" y="connsiteY23869"/>
              </a:cxn>
              <a:cxn ang="0">
                <a:pos x="connsiteX23870" y="connsiteY23870"/>
              </a:cxn>
              <a:cxn ang="0">
                <a:pos x="connsiteX23871" y="connsiteY23871"/>
              </a:cxn>
              <a:cxn ang="0">
                <a:pos x="connsiteX23872" y="connsiteY23872"/>
              </a:cxn>
              <a:cxn ang="0">
                <a:pos x="connsiteX23873" y="connsiteY23873"/>
              </a:cxn>
              <a:cxn ang="0">
                <a:pos x="connsiteX23874" y="connsiteY23874"/>
              </a:cxn>
              <a:cxn ang="0">
                <a:pos x="connsiteX23875" y="connsiteY23875"/>
              </a:cxn>
              <a:cxn ang="0">
                <a:pos x="connsiteX23876" y="connsiteY23876"/>
              </a:cxn>
              <a:cxn ang="0">
                <a:pos x="connsiteX23877" y="connsiteY23877"/>
              </a:cxn>
              <a:cxn ang="0">
                <a:pos x="connsiteX23878" y="connsiteY23878"/>
              </a:cxn>
              <a:cxn ang="0">
                <a:pos x="connsiteX23879" y="connsiteY23879"/>
              </a:cxn>
              <a:cxn ang="0">
                <a:pos x="connsiteX23880" y="connsiteY23880"/>
              </a:cxn>
              <a:cxn ang="0">
                <a:pos x="connsiteX23881" y="connsiteY23881"/>
              </a:cxn>
              <a:cxn ang="0">
                <a:pos x="connsiteX23882" y="connsiteY23882"/>
              </a:cxn>
              <a:cxn ang="0">
                <a:pos x="connsiteX23883" y="connsiteY23883"/>
              </a:cxn>
              <a:cxn ang="0">
                <a:pos x="connsiteX23884" y="connsiteY23884"/>
              </a:cxn>
              <a:cxn ang="0">
                <a:pos x="connsiteX23885" y="connsiteY23885"/>
              </a:cxn>
              <a:cxn ang="0">
                <a:pos x="connsiteX23886" y="connsiteY23886"/>
              </a:cxn>
              <a:cxn ang="0">
                <a:pos x="connsiteX23887" y="connsiteY23887"/>
              </a:cxn>
              <a:cxn ang="0">
                <a:pos x="connsiteX23888" y="connsiteY23888"/>
              </a:cxn>
              <a:cxn ang="0">
                <a:pos x="connsiteX23889" y="connsiteY23889"/>
              </a:cxn>
              <a:cxn ang="0">
                <a:pos x="connsiteX23890" y="connsiteY23890"/>
              </a:cxn>
              <a:cxn ang="0">
                <a:pos x="connsiteX23891" y="connsiteY23891"/>
              </a:cxn>
              <a:cxn ang="0">
                <a:pos x="connsiteX23892" y="connsiteY23892"/>
              </a:cxn>
              <a:cxn ang="0">
                <a:pos x="connsiteX23893" y="connsiteY23893"/>
              </a:cxn>
              <a:cxn ang="0">
                <a:pos x="connsiteX23894" y="connsiteY23894"/>
              </a:cxn>
              <a:cxn ang="0">
                <a:pos x="connsiteX23895" y="connsiteY23895"/>
              </a:cxn>
              <a:cxn ang="0">
                <a:pos x="connsiteX23896" y="connsiteY23896"/>
              </a:cxn>
              <a:cxn ang="0">
                <a:pos x="connsiteX23897" y="connsiteY23897"/>
              </a:cxn>
              <a:cxn ang="0">
                <a:pos x="connsiteX23898" y="connsiteY23898"/>
              </a:cxn>
              <a:cxn ang="0">
                <a:pos x="connsiteX23899" y="connsiteY23899"/>
              </a:cxn>
              <a:cxn ang="0">
                <a:pos x="connsiteX23900" y="connsiteY23900"/>
              </a:cxn>
              <a:cxn ang="0">
                <a:pos x="connsiteX23901" y="connsiteY23901"/>
              </a:cxn>
              <a:cxn ang="0">
                <a:pos x="connsiteX23902" y="connsiteY23902"/>
              </a:cxn>
              <a:cxn ang="0">
                <a:pos x="connsiteX23903" y="connsiteY23903"/>
              </a:cxn>
              <a:cxn ang="0">
                <a:pos x="connsiteX23904" y="connsiteY23904"/>
              </a:cxn>
              <a:cxn ang="0">
                <a:pos x="connsiteX23905" y="connsiteY23905"/>
              </a:cxn>
              <a:cxn ang="0">
                <a:pos x="connsiteX23906" y="connsiteY23906"/>
              </a:cxn>
              <a:cxn ang="0">
                <a:pos x="connsiteX23907" y="connsiteY23907"/>
              </a:cxn>
              <a:cxn ang="0">
                <a:pos x="connsiteX23908" y="connsiteY23908"/>
              </a:cxn>
              <a:cxn ang="0">
                <a:pos x="connsiteX23909" y="connsiteY23909"/>
              </a:cxn>
              <a:cxn ang="0">
                <a:pos x="connsiteX23910" y="connsiteY23910"/>
              </a:cxn>
              <a:cxn ang="0">
                <a:pos x="connsiteX23911" y="connsiteY23911"/>
              </a:cxn>
              <a:cxn ang="0">
                <a:pos x="connsiteX23912" y="connsiteY23912"/>
              </a:cxn>
              <a:cxn ang="0">
                <a:pos x="connsiteX23913" y="connsiteY23913"/>
              </a:cxn>
              <a:cxn ang="0">
                <a:pos x="connsiteX23914" y="connsiteY23914"/>
              </a:cxn>
              <a:cxn ang="0">
                <a:pos x="connsiteX23915" y="connsiteY23915"/>
              </a:cxn>
              <a:cxn ang="0">
                <a:pos x="connsiteX23916" y="connsiteY23916"/>
              </a:cxn>
              <a:cxn ang="0">
                <a:pos x="connsiteX23917" y="connsiteY23917"/>
              </a:cxn>
              <a:cxn ang="0">
                <a:pos x="connsiteX23918" y="connsiteY23918"/>
              </a:cxn>
              <a:cxn ang="0">
                <a:pos x="connsiteX23919" y="connsiteY23919"/>
              </a:cxn>
              <a:cxn ang="0">
                <a:pos x="connsiteX23920" y="connsiteY23920"/>
              </a:cxn>
              <a:cxn ang="0">
                <a:pos x="connsiteX23921" y="connsiteY23921"/>
              </a:cxn>
              <a:cxn ang="0">
                <a:pos x="connsiteX23922" y="connsiteY23922"/>
              </a:cxn>
              <a:cxn ang="0">
                <a:pos x="connsiteX23923" y="connsiteY23923"/>
              </a:cxn>
              <a:cxn ang="0">
                <a:pos x="connsiteX23924" y="connsiteY23924"/>
              </a:cxn>
              <a:cxn ang="0">
                <a:pos x="connsiteX23925" y="connsiteY23925"/>
              </a:cxn>
              <a:cxn ang="0">
                <a:pos x="connsiteX23926" y="connsiteY23926"/>
              </a:cxn>
              <a:cxn ang="0">
                <a:pos x="connsiteX23927" y="connsiteY23927"/>
              </a:cxn>
              <a:cxn ang="0">
                <a:pos x="connsiteX23928" y="connsiteY23928"/>
              </a:cxn>
              <a:cxn ang="0">
                <a:pos x="connsiteX23929" y="connsiteY23929"/>
              </a:cxn>
              <a:cxn ang="0">
                <a:pos x="connsiteX23930" y="connsiteY23930"/>
              </a:cxn>
              <a:cxn ang="0">
                <a:pos x="connsiteX23931" y="connsiteY23931"/>
              </a:cxn>
              <a:cxn ang="0">
                <a:pos x="connsiteX23932" y="connsiteY23932"/>
              </a:cxn>
              <a:cxn ang="0">
                <a:pos x="connsiteX23933" y="connsiteY23933"/>
              </a:cxn>
              <a:cxn ang="0">
                <a:pos x="connsiteX23934" y="connsiteY23934"/>
              </a:cxn>
              <a:cxn ang="0">
                <a:pos x="connsiteX23935" y="connsiteY23935"/>
              </a:cxn>
              <a:cxn ang="0">
                <a:pos x="connsiteX23936" y="connsiteY23936"/>
              </a:cxn>
              <a:cxn ang="0">
                <a:pos x="connsiteX23937" y="connsiteY23937"/>
              </a:cxn>
              <a:cxn ang="0">
                <a:pos x="connsiteX23938" y="connsiteY23938"/>
              </a:cxn>
              <a:cxn ang="0">
                <a:pos x="connsiteX23939" y="connsiteY23939"/>
              </a:cxn>
              <a:cxn ang="0">
                <a:pos x="connsiteX23940" y="connsiteY23940"/>
              </a:cxn>
              <a:cxn ang="0">
                <a:pos x="connsiteX23941" y="connsiteY23941"/>
              </a:cxn>
              <a:cxn ang="0">
                <a:pos x="connsiteX23942" y="connsiteY23942"/>
              </a:cxn>
              <a:cxn ang="0">
                <a:pos x="connsiteX23943" y="connsiteY23943"/>
              </a:cxn>
              <a:cxn ang="0">
                <a:pos x="connsiteX23944" y="connsiteY23944"/>
              </a:cxn>
              <a:cxn ang="0">
                <a:pos x="connsiteX23945" y="connsiteY23945"/>
              </a:cxn>
              <a:cxn ang="0">
                <a:pos x="connsiteX23946" y="connsiteY23946"/>
              </a:cxn>
              <a:cxn ang="0">
                <a:pos x="connsiteX23947" y="connsiteY23947"/>
              </a:cxn>
              <a:cxn ang="0">
                <a:pos x="connsiteX23948" y="connsiteY23948"/>
              </a:cxn>
              <a:cxn ang="0">
                <a:pos x="connsiteX23949" y="connsiteY23949"/>
              </a:cxn>
              <a:cxn ang="0">
                <a:pos x="connsiteX23950" y="connsiteY23950"/>
              </a:cxn>
              <a:cxn ang="0">
                <a:pos x="connsiteX23951" y="connsiteY23951"/>
              </a:cxn>
              <a:cxn ang="0">
                <a:pos x="connsiteX23952" y="connsiteY23952"/>
              </a:cxn>
              <a:cxn ang="0">
                <a:pos x="connsiteX23953" y="connsiteY23953"/>
              </a:cxn>
              <a:cxn ang="0">
                <a:pos x="connsiteX23954" y="connsiteY23954"/>
              </a:cxn>
              <a:cxn ang="0">
                <a:pos x="connsiteX23955" y="connsiteY23955"/>
              </a:cxn>
              <a:cxn ang="0">
                <a:pos x="connsiteX23956" y="connsiteY23956"/>
              </a:cxn>
              <a:cxn ang="0">
                <a:pos x="connsiteX23957" y="connsiteY23957"/>
              </a:cxn>
              <a:cxn ang="0">
                <a:pos x="connsiteX23958" y="connsiteY23958"/>
              </a:cxn>
              <a:cxn ang="0">
                <a:pos x="connsiteX23959" y="connsiteY23959"/>
              </a:cxn>
              <a:cxn ang="0">
                <a:pos x="connsiteX23960" y="connsiteY23960"/>
              </a:cxn>
              <a:cxn ang="0">
                <a:pos x="connsiteX23961" y="connsiteY23961"/>
              </a:cxn>
              <a:cxn ang="0">
                <a:pos x="connsiteX23962" y="connsiteY23962"/>
              </a:cxn>
              <a:cxn ang="0">
                <a:pos x="connsiteX23963" y="connsiteY23963"/>
              </a:cxn>
              <a:cxn ang="0">
                <a:pos x="connsiteX23964" y="connsiteY23964"/>
              </a:cxn>
              <a:cxn ang="0">
                <a:pos x="connsiteX23965" y="connsiteY23965"/>
              </a:cxn>
              <a:cxn ang="0">
                <a:pos x="connsiteX23966" y="connsiteY23966"/>
              </a:cxn>
              <a:cxn ang="0">
                <a:pos x="connsiteX23967" y="connsiteY23967"/>
              </a:cxn>
              <a:cxn ang="0">
                <a:pos x="connsiteX23968" y="connsiteY23968"/>
              </a:cxn>
              <a:cxn ang="0">
                <a:pos x="connsiteX23969" y="connsiteY23969"/>
              </a:cxn>
              <a:cxn ang="0">
                <a:pos x="connsiteX23970" y="connsiteY23970"/>
              </a:cxn>
              <a:cxn ang="0">
                <a:pos x="connsiteX23971" y="connsiteY23971"/>
              </a:cxn>
              <a:cxn ang="0">
                <a:pos x="connsiteX23972" y="connsiteY23972"/>
              </a:cxn>
              <a:cxn ang="0">
                <a:pos x="connsiteX23973" y="connsiteY23973"/>
              </a:cxn>
              <a:cxn ang="0">
                <a:pos x="connsiteX23974" y="connsiteY23974"/>
              </a:cxn>
              <a:cxn ang="0">
                <a:pos x="connsiteX23975" y="connsiteY23975"/>
              </a:cxn>
              <a:cxn ang="0">
                <a:pos x="connsiteX23976" y="connsiteY23976"/>
              </a:cxn>
              <a:cxn ang="0">
                <a:pos x="connsiteX23977" y="connsiteY23977"/>
              </a:cxn>
              <a:cxn ang="0">
                <a:pos x="connsiteX23978" y="connsiteY23978"/>
              </a:cxn>
              <a:cxn ang="0">
                <a:pos x="connsiteX23979" y="connsiteY23979"/>
              </a:cxn>
              <a:cxn ang="0">
                <a:pos x="connsiteX23980" y="connsiteY23980"/>
              </a:cxn>
              <a:cxn ang="0">
                <a:pos x="connsiteX23981" y="connsiteY23981"/>
              </a:cxn>
              <a:cxn ang="0">
                <a:pos x="connsiteX23982" y="connsiteY23982"/>
              </a:cxn>
              <a:cxn ang="0">
                <a:pos x="connsiteX23983" y="connsiteY23983"/>
              </a:cxn>
              <a:cxn ang="0">
                <a:pos x="connsiteX23984" y="connsiteY23984"/>
              </a:cxn>
              <a:cxn ang="0">
                <a:pos x="connsiteX23985" y="connsiteY23985"/>
              </a:cxn>
              <a:cxn ang="0">
                <a:pos x="connsiteX23986" y="connsiteY23986"/>
              </a:cxn>
              <a:cxn ang="0">
                <a:pos x="connsiteX23987" y="connsiteY23987"/>
              </a:cxn>
              <a:cxn ang="0">
                <a:pos x="connsiteX23988" y="connsiteY23988"/>
              </a:cxn>
              <a:cxn ang="0">
                <a:pos x="connsiteX23989" y="connsiteY23989"/>
              </a:cxn>
              <a:cxn ang="0">
                <a:pos x="connsiteX23990" y="connsiteY23990"/>
              </a:cxn>
              <a:cxn ang="0">
                <a:pos x="connsiteX23991" y="connsiteY23991"/>
              </a:cxn>
              <a:cxn ang="0">
                <a:pos x="connsiteX23992" y="connsiteY23992"/>
              </a:cxn>
              <a:cxn ang="0">
                <a:pos x="connsiteX23993" y="connsiteY23993"/>
              </a:cxn>
              <a:cxn ang="0">
                <a:pos x="connsiteX23994" y="connsiteY23994"/>
              </a:cxn>
              <a:cxn ang="0">
                <a:pos x="connsiteX23995" y="connsiteY23995"/>
              </a:cxn>
              <a:cxn ang="0">
                <a:pos x="connsiteX23996" y="connsiteY23996"/>
              </a:cxn>
              <a:cxn ang="0">
                <a:pos x="connsiteX23997" y="connsiteY23997"/>
              </a:cxn>
              <a:cxn ang="0">
                <a:pos x="connsiteX23998" y="connsiteY23998"/>
              </a:cxn>
              <a:cxn ang="0">
                <a:pos x="connsiteX23999" y="connsiteY23999"/>
              </a:cxn>
              <a:cxn ang="0">
                <a:pos x="connsiteX24000" y="connsiteY24000"/>
              </a:cxn>
              <a:cxn ang="0">
                <a:pos x="connsiteX24001" y="connsiteY24001"/>
              </a:cxn>
              <a:cxn ang="0">
                <a:pos x="connsiteX24002" y="connsiteY24002"/>
              </a:cxn>
              <a:cxn ang="0">
                <a:pos x="connsiteX24003" y="connsiteY24003"/>
              </a:cxn>
              <a:cxn ang="0">
                <a:pos x="connsiteX24004" y="connsiteY24004"/>
              </a:cxn>
              <a:cxn ang="0">
                <a:pos x="connsiteX24005" y="connsiteY24005"/>
              </a:cxn>
              <a:cxn ang="0">
                <a:pos x="connsiteX24006" y="connsiteY24006"/>
              </a:cxn>
              <a:cxn ang="0">
                <a:pos x="connsiteX24007" y="connsiteY24007"/>
              </a:cxn>
              <a:cxn ang="0">
                <a:pos x="connsiteX24008" y="connsiteY24008"/>
              </a:cxn>
              <a:cxn ang="0">
                <a:pos x="connsiteX24009" y="connsiteY24009"/>
              </a:cxn>
              <a:cxn ang="0">
                <a:pos x="connsiteX24010" y="connsiteY24010"/>
              </a:cxn>
              <a:cxn ang="0">
                <a:pos x="connsiteX24011" y="connsiteY24011"/>
              </a:cxn>
              <a:cxn ang="0">
                <a:pos x="connsiteX24012" y="connsiteY24012"/>
              </a:cxn>
              <a:cxn ang="0">
                <a:pos x="connsiteX24013" y="connsiteY24013"/>
              </a:cxn>
              <a:cxn ang="0">
                <a:pos x="connsiteX24014" y="connsiteY24014"/>
              </a:cxn>
              <a:cxn ang="0">
                <a:pos x="connsiteX24015" y="connsiteY24015"/>
              </a:cxn>
              <a:cxn ang="0">
                <a:pos x="connsiteX24016" y="connsiteY24016"/>
              </a:cxn>
              <a:cxn ang="0">
                <a:pos x="connsiteX24017" y="connsiteY24017"/>
              </a:cxn>
              <a:cxn ang="0">
                <a:pos x="connsiteX24018" y="connsiteY24018"/>
              </a:cxn>
              <a:cxn ang="0">
                <a:pos x="connsiteX24019" y="connsiteY24019"/>
              </a:cxn>
              <a:cxn ang="0">
                <a:pos x="connsiteX24020" y="connsiteY24020"/>
              </a:cxn>
              <a:cxn ang="0">
                <a:pos x="connsiteX24021" y="connsiteY24021"/>
              </a:cxn>
              <a:cxn ang="0">
                <a:pos x="connsiteX24022" y="connsiteY24022"/>
              </a:cxn>
              <a:cxn ang="0">
                <a:pos x="connsiteX24023" y="connsiteY24023"/>
              </a:cxn>
              <a:cxn ang="0">
                <a:pos x="connsiteX24024" y="connsiteY24024"/>
              </a:cxn>
              <a:cxn ang="0">
                <a:pos x="connsiteX24025" y="connsiteY24025"/>
              </a:cxn>
              <a:cxn ang="0">
                <a:pos x="connsiteX24026" y="connsiteY24026"/>
              </a:cxn>
              <a:cxn ang="0">
                <a:pos x="connsiteX24027" y="connsiteY24027"/>
              </a:cxn>
              <a:cxn ang="0">
                <a:pos x="connsiteX24028" y="connsiteY24028"/>
              </a:cxn>
              <a:cxn ang="0">
                <a:pos x="connsiteX24029" y="connsiteY24029"/>
              </a:cxn>
              <a:cxn ang="0">
                <a:pos x="connsiteX24030" y="connsiteY24030"/>
              </a:cxn>
              <a:cxn ang="0">
                <a:pos x="connsiteX24031" y="connsiteY24031"/>
              </a:cxn>
              <a:cxn ang="0">
                <a:pos x="connsiteX24032" y="connsiteY24032"/>
              </a:cxn>
              <a:cxn ang="0">
                <a:pos x="connsiteX24033" y="connsiteY24033"/>
              </a:cxn>
              <a:cxn ang="0">
                <a:pos x="connsiteX24034" y="connsiteY24034"/>
              </a:cxn>
              <a:cxn ang="0">
                <a:pos x="connsiteX24035" y="connsiteY24035"/>
              </a:cxn>
              <a:cxn ang="0">
                <a:pos x="connsiteX24036" y="connsiteY24036"/>
              </a:cxn>
              <a:cxn ang="0">
                <a:pos x="connsiteX24037" y="connsiteY24037"/>
              </a:cxn>
              <a:cxn ang="0">
                <a:pos x="connsiteX24038" y="connsiteY24038"/>
              </a:cxn>
              <a:cxn ang="0">
                <a:pos x="connsiteX24039" y="connsiteY24039"/>
              </a:cxn>
              <a:cxn ang="0">
                <a:pos x="connsiteX24040" y="connsiteY24040"/>
              </a:cxn>
              <a:cxn ang="0">
                <a:pos x="connsiteX24041" y="connsiteY24041"/>
              </a:cxn>
              <a:cxn ang="0">
                <a:pos x="connsiteX24042" y="connsiteY24042"/>
              </a:cxn>
              <a:cxn ang="0">
                <a:pos x="connsiteX24043" y="connsiteY24043"/>
              </a:cxn>
              <a:cxn ang="0">
                <a:pos x="connsiteX24044" y="connsiteY24044"/>
              </a:cxn>
              <a:cxn ang="0">
                <a:pos x="connsiteX24045" y="connsiteY24045"/>
              </a:cxn>
              <a:cxn ang="0">
                <a:pos x="connsiteX24046" y="connsiteY24046"/>
              </a:cxn>
              <a:cxn ang="0">
                <a:pos x="connsiteX24047" y="connsiteY24047"/>
              </a:cxn>
              <a:cxn ang="0">
                <a:pos x="connsiteX24048" y="connsiteY24048"/>
              </a:cxn>
              <a:cxn ang="0">
                <a:pos x="connsiteX24049" y="connsiteY24049"/>
              </a:cxn>
              <a:cxn ang="0">
                <a:pos x="connsiteX24050" y="connsiteY24050"/>
              </a:cxn>
              <a:cxn ang="0">
                <a:pos x="connsiteX24051" y="connsiteY24051"/>
              </a:cxn>
              <a:cxn ang="0">
                <a:pos x="connsiteX24052" y="connsiteY24052"/>
              </a:cxn>
              <a:cxn ang="0">
                <a:pos x="connsiteX24053" y="connsiteY24053"/>
              </a:cxn>
              <a:cxn ang="0">
                <a:pos x="connsiteX24054" y="connsiteY24054"/>
              </a:cxn>
              <a:cxn ang="0">
                <a:pos x="connsiteX24055" y="connsiteY24055"/>
              </a:cxn>
              <a:cxn ang="0">
                <a:pos x="connsiteX24056" y="connsiteY24056"/>
              </a:cxn>
              <a:cxn ang="0">
                <a:pos x="connsiteX24057" y="connsiteY24057"/>
              </a:cxn>
              <a:cxn ang="0">
                <a:pos x="connsiteX24058" y="connsiteY24058"/>
              </a:cxn>
              <a:cxn ang="0">
                <a:pos x="connsiteX24059" y="connsiteY24059"/>
              </a:cxn>
              <a:cxn ang="0">
                <a:pos x="connsiteX24060" y="connsiteY24060"/>
              </a:cxn>
              <a:cxn ang="0">
                <a:pos x="connsiteX24061" y="connsiteY24061"/>
              </a:cxn>
              <a:cxn ang="0">
                <a:pos x="connsiteX24062" y="connsiteY24062"/>
              </a:cxn>
              <a:cxn ang="0">
                <a:pos x="connsiteX24063" y="connsiteY24063"/>
              </a:cxn>
              <a:cxn ang="0">
                <a:pos x="connsiteX24064" y="connsiteY24064"/>
              </a:cxn>
              <a:cxn ang="0">
                <a:pos x="connsiteX24065" y="connsiteY24065"/>
              </a:cxn>
              <a:cxn ang="0">
                <a:pos x="connsiteX24066" y="connsiteY24066"/>
              </a:cxn>
              <a:cxn ang="0">
                <a:pos x="connsiteX24067" y="connsiteY24067"/>
              </a:cxn>
              <a:cxn ang="0">
                <a:pos x="connsiteX24068" y="connsiteY24068"/>
              </a:cxn>
              <a:cxn ang="0">
                <a:pos x="connsiteX24069" y="connsiteY24069"/>
              </a:cxn>
              <a:cxn ang="0">
                <a:pos x="connsiteX24070" y="connsiteY24070"/>
              </a:cxn>
              <a:cxn ang="0">
                <a:pos x="connsiteX24071" y="connsiteY24071"/>
              </a:cxn>
              <a:cxn ang="0">
                <a:pos x="connsiteX24072" y="connsiteY24072"/>
              </a:cxn>
              <a:cxn ang="0">
                <a:pos x="connsiteX24073" y="connsiteY24073"/>
              </a:cxn>
              <a:cxn ang="0">
                <a:pos x="connsiteX24074" y="connsiteY24074"/>
              </a:cxn>
              <a:cxn ang="0">
                <a:pos x="connsiteX24075" y="connsiteY24075"/>
              </a:cxn>
              <a:cxn ang="0">
                <a:pos x="connsiteX24076" y="connsiteY24076"/>
              </a:cxn>
              <a:cxn ang="0">
                <a:pos x="connsiteX24077" y="connsiteY24077"/>
              </a:cxn>
              <a:cxn ang="0">
                <a:pos x="connsiteX24078" y="connsiteY24078"/>
              </a:cxn>
              <a:cxn ang="0">
                <a:pos x="connsiteX24079" y="connsiteY24079"/>
              </a:cxn>
              <a:cxn ang="0">
                <a:pos x="connsiteX24080" y="connsiteY24080"/>
              </a:cxn>
              <a:cxn ang="0">
                <a:pos x="connsiteX24081" y="connsiteY24081"/>
              </a:cxn>
              <a:cxn ang="0">
                <a:pos x="connsiteX24082" y="connsiteY24082"/>
              </a:cxn>
              <a:cxn ang="0">
                <a:pos x="connsiteX24083" y="connsiteY24083"/>
              </a:cxn>
              <a:cxn ang="0">
                <a:pos x="connsiteX24084" y="connsiteY24084"/>
              </a:cxn>
              <a:cxn ang="0">
                <a:pos x="connsiteX24085" y="connsiteY24085"/>
              </a:cxn>
              <a:cxn ang="0">
                <a:pos x="connsiteX24086" y="connsiteY24086"/>
              </a:cxn>
              <a:cxn ang="0">
                <a:pos x="connsiteX24087" y="connsiteY24087"/>
              </a:cxn>
              <a:cxn ang="0">
                <a:pos x="connsiteX24088" y="connsiteY24088"/>
              </a:cxn>
              <a:cxn ang="0">
                <a:pos x="connsiteX24089" y="connsiteY24089"/>
              </a:cxn>
              <a:cxn ang="0">
                <a:pos x="connsiteX24090" y="connsiteY24090"/>
              </a:cxn>
              <a:cxn ang="0">
                <a:pos x="connsiteX24091" y="connsiteY24091"/>
              </a:cxn>
              <a:cxn ang="0">
                <a:pos x="connsiteX24092" y="connsiteY24092"/>
              </a:cxn>
              <a:cxn ang="0">
                <a:pos x="connsiteX24093" y="connsiteY24093"/>
              </a:cxn>
              <a:cxn ang="0">
                <a:pos x="connsiteX24094" y="connsiteY24094"/>
              </a:cxn>
              <a:cxn ang="0">
                <a:pos x="connsiteX24095" y="connsiteY24095"/>
              </a:cxn>
              <a:cxn ang="0">
                <a:pos x="connsiteX24096" y="connsiteY24096"/>
              </a:cxn>
              <a:cxn ang="0">
                <a:pos x="connsiteX24097" y="connsiteY24097"/>
              </a:cxn>
              <a:cxn ang="0">
                <a:pos x="connsiteX24098" y="connsiteY24098"/>
              </a:cxn>
              <a:cxn ang="0">
                <a:pos x="connsiteX24099" y="connsiteY24099"/>
              </a:cxn>
              <a:cxn ang="0">
                <a:pos x="connsiteX24100" y="connsiteY24100"/>
              </a:cxn>
              <a:cxn ang="0">
                <a:pos x="connsiteX24101" y="connsiteY24101"/>
              </a:cxn>
              <a:cxn ang="0">
                <a:pos x="connsiteX24102" y="connsiteY24102"/>
              </a:cxn>
              <a:cxn ang="0">
                <a:pos x="connsiteX24103" y="connsiteY24103"/>
              </a:cxn>
              <a:cxn ang="0">
                <a:pos x="connsiteX24104" y="connsiteY24104"/>
              </a:cxn>
              <a:cxn ang="0">
                <a:pos x="connsiteX24105" y="connsiteY24105"/>
              </a:cxn>
              <a:cxn ang="0">
                <a:pos x="connsiteX24106" y="connsiteY24106"/>
              </a:cxn>
              <a:cxn ang="0">
                <a:pos x="connsiteX24107" y="connsiteY24107"/>
              </a:cxn>
              <a:cxn ang="0">
                <a:pos x="connsiteX24108" y="connsiteY24108"/>
              </a:cxn>
              <a:cxn ang="0">
                <a:pos x="connsiteX24109" y="connsiteY24109"/>
              </a:cxn>
              <a:cxn ang="0">
                <a:pos x="connsiteX24110" y="connsiteY24110"/>
              </a:cxn>
              <a:cxn ang="0">
                <a:pos x="connsiteX24111" y="connsiteY24111"/>
              </a:cxn>
              <a:cxn ang="0">
                <a:pos x="connsiteX24112" y="connsiteY24112"/>
              </a:cxn>
              <a:cxn ang="0">
                <a:pos x="connsiteX24113" y="connsiteY24113"/>
              </a:cxn>
              <a:cxn ang="0">
                <a:pos x="connsiteX24114" y="connsiteY24114"/>
              </a:cxn>
              <a:cxn ang="0">
                <a:pos x="connsiteX24115" y="connsiteY24115"/>
              </a:cxn>
              <a:cxn ang="0">
                <a:pos x="connsiteX24116" y="connsiteY24116"/>
              </a:cxn>
              <a:cxn ang="0">
                <a:pos x="connsiteX24117" y="connsiteY24117"/>
              </a:cxn>
              <a:cxn ang="0">
                <a:pos x="connsiteX24118" y="connsiteY24118"/>
              </a:cxn>
              <a:cxn ang="0">
                <a:pos x="connsiteX24119" y="connsiteY24119"/>
              </a:cxn>
              <a:cxn ang="0">
                <a:pos x="connsiteX24120" y="connsiteY24120"/>
              </a:cxn>
              <a:cxn ang="0">
                <a:pos x="connsiteX24121" y="connsiteY24121"/>
              </a:cxn>
              <a:cxn ang="0">
                <a:pos x="connsiteX24122" y="connsiteY24122"/>
              </a:cxn>
              <a:cxn ang="0">
                <a:pos x="connsiteX24123" y="connsiteY24123"/>
              </a:cxn>
              <a:cxn ang="0">
                <a:pos x="connsiteX24124" y="connsiteY24124"/>
              </a:cxn>
              <a:cxn ang="0">
                <a:pos x="connsiteX24125" y="connsiteY24125"/>
              </a:cxn>
              <a:cxn ang="0">
                <a:pos x="connsiteX24126" y="connsiteY24126"/>
              </a:cxn>
              <a:cxn ang="0">
                <a:pos x="connsiteX24127" y="connsiteY24127"/>
              </a:cxn>
              <a:cxn ang="0">
                <a:pos x="connsiteX24128" y="connsiteY24128"/>
              </a:cxn>
              <a:cxn ang="0">
                <a:pos x="connsiteX24129" y="connsiteY24129"/>
              </a:cxn>
              <a:cxn ang="0">
                <a:pos x="connsiteX24130" y="connsiteY24130"/>
              </a:cxn>
              <a:cxn ang="0">
                <a:pos x="connsiteX24131" y="connsiteY24131"/>
              </a:cxn>
              <a:cxn ang="0">
                <a:pos x="connsiteX24132" y="connsiteY24132"/>
              </a:cxn>
              <a:cxn ang="0">
                <a:pos x="connsiteX24133" y="connsiteY24133"/>
              </a:cxn>
              <a:cxn ang="0">
                <a:pos x="connsiteX24134" y="connsiteY24134"/>
              </a:cxn>
              <a:cxn ang="0">
                <a:pos x="connsiteX24135" y="connsiteY24135"/>
              </a:cxn>
              <a:cxn ang="0">
                <a:pos x="connsiteX24136" y="connsiteY24136"/>
              </a:cxn>
              <a:cxn ang="0">
                <a:pos x="connsiteX24137" y="connsiteY24137"/>
              </a:cxn>
              <a:cxn ang="0">
                <a:pos x="connsiteX24138" y="connsiteY24138"/>
              </a:cxn>
              <a:cxn ang="0">
                <a:pos x="connsiteX24139" y="connsiteY24139"/>
              </a:cxn>
              <a:cxn ang="0">
                <a:pos x="connsiteX24140" y="connsiteY24140"/>
              </a:cxn>
              <a:cxn ang="0">
                <a:pos x="connsiteX24141" y="connsiteY24141"/>
              </a:cxn>
              <a:cxn ang="0">
                <a:pos x="connsiteX24142" y="connsiteY24142"/>
              </a:cxn>
              <a:cxn ang="0">
                <a:pos x="connsiteX24143" y="connsiteY24143"/>
              </a:cxn>
              <a:cxn ang="0">
                <a:pos x="connsiteX24144" y="connsiteY24144"/>
              </a:cxn>
              <a:cxn ang="0">
                <a:pos x="connsiteX24145" y="connsiteY24145"/>
              </a:cxn>
              <a:cxn ang="0">
                <a:pos x="connsiteX24146" y="connsiteY24146"/>
              </a:cxn>
              <a:cxn ang="0">
                <a:pos x="connsiteX24147" y="connsiteY24147"/>
              </a:cxn>
              <a:cxn ang="0">
                <a:pos x="connsiteX24148" y="connsiteY24148"/>
              </a:cxn>
              <a:cxn ang="0">
                <a:pos x="connsiteX24149" y="connsiteY24149"/>
              </a:cxn>
              <a:cxn ang="0">
                <a:pos x="connsiteX24150" y="connsiteY24150"/>
              </a:cxn>
              <a:cxn ang="0">
                <a:pos x="connsiteX24151" y="connsiteY24151"/>
              </a:cxn>
              <a:cxn ang="0">
                <a:pos x="connsiteX24152" y="connsiteY24152"/>
              </a:cxn>
              <a:cxn ang="0">
                <a:pos x="connsiteX24153" y="connsiteY24153"/>
              </a:cxn>
              <a:cxn ang="0">
                <a:pos x="connsiteX24154" y="connsiteY24154"/>
              </a:cxn>
              <a:cxn ang="0">
                <a:pos x="connsiteX24155" y="connsiteY24155"/>
              </a:cxn>
              <a:cxn ang="0">
                <a:pos x="connsiteX24156" y="connsiteY24156"/>
              </a:cxn>
              <a:cxn ang="0">
                <a:pos x="connsiteX24157" y="connsiteY24157"/>
              </a:cxn>
              <a:cxn ang="0">
                <a:pos x="connsiteX24158" y="connsiteY24158"/>
              </a:cxn>
              <a:cxn ang="0">
                <a:pos x="connsiteX24159" y="connsiteY24159"/>
              </a:cxn>
              <a:cxn ang="0">
                <a:pos x="connsiteX24160" y="connsiteY24160"/>
              </a:cxn>
              <a:cxn ang="0">
                <a:pos x="connsiteX24161" y="connsiteY24161"/>
              </a:cxn>
              <a:cxn ang="0">
                <a:pos x="connsiteX24162" y="connsiteY24162"/>
              </a:cxn>
              <a:cxn ang="0">
                <a:pos x="connsiteX24163" y="connsiteY24163"/>
              </a:cxn>
              <a:cxn ang="0">
                <a:pos x="connsiteX24164" y="connsiteY24164"/>
              </a:cxn>
              <a:cxn ang="0">
                <a:pos x="connsiteX24165" y="connsiteY24165"/>
              </a:cxn>
              <a:cxn ang="0">
                <a:pos x="connsiteX24166" y="connsiteY24166"/>
              </a:cxn>
              <a:cxn ang="0">
                <a:pos x="connsiteX24167" y="connsiteY24167"/>
              </a:cxn>
              <a:cxn ang="0">
                <a:pos x="connsiteX24168" y="connsiteY24168"/>
              </a:cxn>
              <a:cxn ang="0">
                <a:pos x="connsiteX24169" y="connsiteY24169"/>
              </a:cxn>
              <a:cxn ang="0">
                <a:pos x="connsiteX24170" y="connsiteY24170"/>
              </a:cxn>
              <a:cxn ang="0">
                <a:pos x="connsiteX24171" y="connsiteY24171"/>
              </a:cxn>
              <a:cxn ang="0">
                <a:pos x="connsiteX24172" y="connsiteY24172"/>
              </a:cxn>
              <a:cxn ang="0">
                <a:pos x="connsiteX24173" y="connsiteY24173"/>
              </a:cxn>
              <a:cxn ang="0">
                <a:pos x="connsiteX24174" y="connsiteY24174"/>
              </a:cxn>
              <a:cxn ang="0">
                <a:pos x="connsiteX24175" y="connsiteY24175"/>
              </a:cxn>
              <a:cxn ang="0">
                <a:pos x="connsiteX24176" y="connsiteY24176"/>
              </a:cxn>
              <a:cxn ang="0">
                <a:pos x="connsiteX24177" y="connsiteY24177"/>
              </a:cxn>
              <a:cxn ang="0">
                <a:pos x="connsiteX24178" y="connsiteY24178"/>
              </a:cxn>
              <a:cxn ang="0">
                <a:pos x="connsiteX24179" y="connsiteY24179"/>
              </a:cxn>
              <a:cxn ang="0">
                <a:pos x="connsiteX24180" y="connsiteY24180"/>
              </a:cxn>
              <a:cxn ang="0">
                <a:pos x="connsiteX24181" y="connsiteY24181"/>
              </a:cxn>
              <a:cxn ang="0">
                <a:pos x="connsiteX24182" y="connsiteY24182"/>
              </a:cxn>
              <a:cxn ang="0">
                <a:pos x="connsiteX24183" y="connsiteY24183"/>
              </a:cxn>
              <a:cxn ang="0">
                <a:pos x="connsiteX24184" y="connsiteY24184"/>
              </a:cxn>
              <a:cxn ang="0">
                <a:pos x="connsiteX24185" y="connsiteY24185"/>
              </a:cxn>
              <a:cxn ang="0">
                <a:pos x="connsiteX24186" y="connsiteY24186"/>
              </a:cxn>
              <a:cxn ang="0">
                <a:pos x="connsiteX24187" y="connsiteY24187"/>
              </a:cxn>
              <a:cxn ang="0">
                <a:pos x="connsiteX24188" y="connsiteY24188"/>
              </a:cxn>
              <a:cxn ang="0">
                <a:pos x="connsiteX24189" y="connsiteY24189"/>
              </a:cxn>
              <a:cxn ang="0">
                <a:pos x="connsiteX24190" y="connsiteY24190"/>
              </a:cxn>
              <a:cxn ang="0">
                <a:pos x="connsiteX24191" y="connsiteY24191"/>
              </a:cxn>
              <a:cxn ang="0">
                <a:pos x="connsiteX24192" y="connsiteY24192"/>
              </a:cxn>
              <a:cxn ang="0">
                <a:pos x="connsiteX24193" y="connsiteY24193"/>
              </a:cxn>
              <a:cxn ang="0">
                <a:pos x="connsiteX24194" y="connsiteY24194"/>
              </a:cxn>
              <a:cxn ang="0">
                <a:pos x="connsiteX24195" y="connsiteY24195"/>
              </a:cxn>
              <a:cxn ang="0">
                <a:pos x="connsiteX24196" y="connsiteY24196"/>
              </a:cxn>
              <a:cxn ang="0">
                <a:pos x="connsiteX24197" y="connsiteY24197"/>
              </a:cxn>
              <a:cxn ang="0">
                <a:pos x="connsiteX24198" y="connsiteY24198"/>
              </a:cxn>
              <a:cxn ang="0">
                <a:pos x="connsiteX24199" y="connsiteY24199"/>
              </a:cxn>
              <a:cxn ang="0">
                <a:pos x="connsiteX24200" y="connsiteY24200"/>
              </a:cxn>
              <a:cxn ang="0">
                <a:pos x="connsiteX24201" y="connsiteY24201"/>
              </a:cxn>
              <a:cxn ang="0">
                <a:pos x="connsiteX24202" y="connsiteY24202"/>
              </a:cxn>
              <a:cxn ang="0">
                <a:pos x="connsiteX24203" y="connsiteY24203"/>
              </a:cxn>
              <a:cxn ang="0">
                <a:pos x="connsiteX24204" y="connsiteY24204"/>
              </a:cxn>
              <a:cxn ang="0">
                <a:pos x="connsiteX24205" y="connsiteY24205"/>
              </a:cxn>
              <a:cxn ang="0">
                <a:pos x="connsiteX24206" y="connsiteY24206"/>
              </a:cxn>
              <a:cxn ang="0">
                <a:pos x="connsiteX24207" y="connsiteY24207"/>
              </a:cxn>
              <a:cxn ang="0">
                <a:pos x="connsiteX24208" y="connsiteY24208"/>
              </a:cxn>
              <a:cxn ang="0">
                <a:pos x="connsiteX24209" y="connsiteY24209"/>
              </a:cxn>
              <a:cxn ang="0">
                <a:pos x="connsiteX24210" y="connsiteY24210"/>
              </a:cxn>
              <a:cxn ang="0">
                <a:pos x="connsiteX24211" y="connsiteY24211"/>
              </a:cxn>
              <a:cxn ang="0">
                <a:pos x="connsiteX24212" y="connsiteY24212"/>
              </a:cxn>
              <a:cxn ang="0">
                <a:pos x="connsiteX24213" y="connsiteY24213"/>
              </a:cxn>
              <a:cxn ang="0">
                <a:pos x="connsiteX24214" y="connsiteY24214"/>
              </a:cxn>
              <a:cxn ang="0">
                <a:pos x="connsiteX24215" y="connsiteY24215"/>
              </a:cxn>
              <a:cxn ang="0">
                <a:pos x="connsiteX24216" y="connsiteY24216"/>
              </a:cxn>
              <a:cxn ang="0">
                <a:pos x="connsiteX24217" y="connsiteY24217"/>
              </a:cxn>
              <a:cxn ang="0">
                <a:pos x="connsiteX24218" y="connsiteY24218"/>
              </a:cxn>
              <a:cxn ang="0">
                <a:pos x="connsiteX24219" y="connsiteY24219"/>
              </a:cxn>
              <a:cxn ang="0">
                <a:pos x="connsiteX24220" y="connsiteY24220"/>
              </a:cxn>
              <a:cxn ang="0">
                <a:pos x="connsiteX24221" y="connsiteY24221"/>
              </a:cxn>
              <a:cxn ang="0">
                <a:pos x="connsiteX24222" y="connsiteY24222"/>
              </a:cxn>
              <a:cxn ang="0">
                <a:pos x="connsiteX24223" y="connsiteY24223"/>
              </a:cxn>
              <a:cxn ang="0">
                <a:pos x="connsiteX24224" y="connsiteY24224"/>
              </a:cxn>
              <a:cxn ang="0">
                <a:pos x="connsiteX24225" y="connsiteY24225"/>
              </a:cxn>
              <a:cxn ang="0">
                <a:pos x="connsiteX24226" y="connsiteY24226"/>
              </a:cxn>
              <a:cxn ang="0">
                <a:pos x="connsiteX24227" y="connsiteY24227"/>
              </a:cxn>
              <a:cxn ang="0">
                <a:pos x="connsiteX24228" y="connsiteY24228"/>
              </a:cxn>
              <a:cxn ang="0">
                <a:pos x="connsiteX24229" y="connsiteY24229"/>
              </a:cxn>
              <a:cxn ang="0">
                <a:pos x="connsiteX24230" y="connsiteY24230"/>
              </a:cxn>
              <a:cxn ang="0">
                <a:pos x="connsiteX24231" y="connsiteY24231"/>
              </a:cxn>
              <a:cxn ang="0">
                <a:pos x="connsiteX24232" y="connsiteY24232"/>
              </a:cxn>
              <a:cxn ang="0">
                <a:pos x="connsiteX24233" y="connsiteY24233"/>
              </a:cxn>
              <a:cxn ang="0">
                <a:pos x="connsiteX24234" y="connsiteY24234"/>
              </a:cxn>
              <a:cxn ang="0">
                <a:pos x="connsiteX24235" y="connsiteY24235"/>
              </a:cxn>
              <a:cxn ang="0">
                <a:pos x="connsiteX24236" y="connsiteY24236"/>
              </a:cxn>
              <a:cxn ang="0">
                <a:pos x="connsiteX24237" y="connsiteY24237"/>
              </a:cxn>
              <a:cxn ang="0">
                <a:pos x="connsiteX24238" y="connsiteY24238"/>
              </a:cxn>
              <a:cxn ang="0">
                <a:pos x="connsiteX24239" y="connsiteY24239"/>
              </a:cxn>
              <a:cxn ang="0">
                <a:pos x="connsiteX24240" y="connsiteY24240"/>
              </a:cxn>
              <a:cxn ang="0">
                <a:pos x="connsiteX24241" y="connsiteY24241"/>
              </a:cxn>
              <a:cxn ang="0">
                <a:pos x="connsiteX24242" y="connsiteY24242"/>
              </a:cxn>
              <a:cxn ang="0">
                <a:pos x="connsiteX24243" y="connsiteY24243"/>
              </a:cxn>
              <a:cxn ang="0">
                <a:pos x="connsiteX24244" y="connsiteY24244"/>
              </a:cxn>
              <a:cxn ang="0">
                <a:pos x="connsiteX24245" y="connsiteY24245"/>
              </a:cxn>
              <a:cxn ang="0">
                <a:pos x="connsiteX24246" y="connsiteY24246"/>
              </a:cxn>
              <a:cxn ang="0">
                <a:pos x="connsiteX24247" y="connsiteY24247"/>
              </a:cxn>
              <a:cxn ang="0">
                <a:pos x="connsiteX24248" y="connsiteY24248"/>
              </a:cxn>
              <a:cxn ang="0">
                <a:pos x="connsiteX24249" y="connsiteY24249"/>
              </a:cxn>
              <a:cxn ang="0">
                <a:pos x="connsiteX24250" y="connsiteY24250"/>
              </a:cxn>
              <a:cxn ang="0">
                <a:pos x="connsiteX24251" y="connsiteY24251"/>
              </a:cxn>
              <a:cxn ang="0">
                <a:pos x="connsiteX24252" y="connsiteY24252"/>
              </a:cxn>
              <a:cxn ang="0">
                <a:pos x="connsiteX24253" y="connsiteY24253"/>
              </a:cxn>
              <a:cxn ang="0">
                <a:pos x="connsiteX24254" y="connsiteY24254"/>
              </a:cxn>
              <a:cxn ang="0">
                <a:pos x="connsiteX24255" y="connsiteY24255"/>
              </a:cxn>
              <a:cxn ang="0">
                <a:pos x="connsiteX24256" y="connsiteY24256"/>
              </a:cxn>
              <a:cxn ang="0">
                <a:pos x="connsiteX24257" y="connsiteY24257"/>
              </a:cxn>
              <a:cxn ang="0">
                <a:pos x="connsiteX24258" y="connsiteY24258"/>
              </a:cxn>
              <a:cxn ang="0">
                <a:pos x="connsiteX24259" y="connsiteY24259"/>
              </a:cxn>
              <a:cxn ang="0">
                <a:pos x="connsiteX24260" y="connsiteY24260"/>
              </a:cxn>
              <a:cxn ang="0">
                <a:pos x="connsiteX24261" y="connsiteY24261"/>
              </a:cxn>
              <a:cxn ang="0">
                <a:pos x="connsiteX24262" y="connsiteY24262"/>
              </a:cxn>
              <a:cxn ang="0">
                <a:pos x="connsiteX24263" y="connsiteY24263"/>
              </a:cxn>
              <a:cxn ang="0">
                <a:pos x="connsiteX24264" y="connsiteY24264"/>
              </a:cxn>
              <a:cxn ang="0">
                <a:pos x="connsiteX24265" y="connsiteY24265"/>
              </a:cxn>
              <a:cxn ang="0">
                <a:pos x="connsiteX24266" y="connsiteY24266"/>
              </a:cxn>
              <a:cxn ang="0">
                <a:pos x="connsiteX24267" y="connsiteY24267"/>
              </a:cxn>
              <a:cxn ang="0">
                <a:pos x="connsiteX24268" y="connsiteY24268"/>
              </a:cxn>
              <a:cxn ang="0">
                <a:pos x="connsiteX24269" y="connsiteY24269"/>
              </a:cxn>
              <a:cxn ang="0">
                <a:pos x="connsiteX24270" y="connsiteY24270"/>
              </a:cxn>
              <a:cxn ang="0">
                <a:pos x="connsiteX24271" y="connsiteY24271"/>
              </a:cxn>
              <a:cxn ang="0">
                <a:pos x="connsiteX24272" y="connsiteY24272"/>
              </a:cxn>
              <a:cxn ang="0">
                <a:pos x="connsiteX24273" y="connsiteY24273"/>
              </a:cxn>
              <a:cxn ang="0">
                <a:pos x="connsiteX24274" y="connsiteY24274"/>
              </a:cxn>
              <a:cxn ang="0">
                <a:pos x="connsiteX24275" y="connsiteY24275"/>
              </a:cxn>
              <a:cxn ang="0">
                <a:pos x="connsiteX24276" y="connsiteY24276"/>
              </a:cxn>
              <a:cxn ang="0">
                <a:pos x="connsiteX24277" y="connsiteY24277"/>
              </a:cxn>
              <a:cxn ang="0">
                <a:pos x="connsiteX24278" y="connsiteY24278"/>
              </a:cxn>
              <a:cxn ang="0">
                <a:pos x="connsiteX24279" y="connsiteY24279"/>
              </a:cxn>
              <a:cxn ang="0">
                <a:pos x="connsiteX24280" y="connsiteY24280"/>
              </a:cxn>
              <a:cxn ang="0">
                <a:pos x="connsiteX24281" y="connsiteY24281"/>
              </a:cxn>
              <a:cxn ang="0">
                <a:pos x="connsiteX24282" y="connsiteY24282"/>
              </a:cxn>
              <a:cxn ang="0">
                <a:pos x="connsiteX24283" y="connsiteY24283"/>
              </a:cxn>
              <a:cxn ang="0">
                <a:pos x="connsiteX24284" y="connsiteY24284"/>
              </a:cxn>
              <a:cxn ang="0">
                <a:pos x="connsiteX24285" y="connsiteY24285"/>
              </a:cxn>
              <a:cxn ang="0">
                <a:pos x="connsiteX24286" y="connsiteY24286"/>
              </a:cxn>
              <a:cxn ang="0">
                <a:pos x="connsiteX24287" y="connsiteY24287"/>
              </a:cxn>
              <a:cxn ang="0">
                <a:pos x="connsiteX24288" y="connsiteY24288"/>
              </a:cxn>
              <a:cxn ang="0">
                <a:pos x="connsiteX24289" y="connsiteY24289"/>
              </a:cxn>
              <a:cxn ang="0">
                <a:pos x="connsiteX24290" y="connsiteY24290"/>
              </a:cxn>
              <a:cxn ang="0">
                <a:pos x="connsiteX24291" y="connsiteY24291"/>
              </a:cxn>
              <a:cxn ang="0">
                <a:pos x="connsiteX24292" y="connsiteY24292"/>
              </a:cxn>
              <a:cxn ang="0">
                <a:pos x="connsiteX24293" y="connsiteY24293"/>
              </a:cxn>
              <a:cxn ang="0">
                <a:pos x="connsiteX24294" y="connsiteY24294"/>
              </a:cxn>
              <a:cxn ang="0">
                <a:pos x="connsiteX24295" y="connsiteY24295"/>
              </a:cxn>
              <a:cxn ang="0">
                <a:pos x="connsiteX24296" y="connsiteY24296"/>
              </a:cxn>
              <a:cxn ang="0">
                <a:pos x="connsiteX24297" y="connsiteY24297"/>
              </a:cxn>
              <a:cxn ang="0">
                <a:pos x="connsiteX24298" y="connsiteY24298"/>
              </a:cxn>
              <a:cxn ang="0">
                <a:pos x="connsiteX24299" y="connsiteY24299"/>
              </a:cxn>
              <a:cxn ang="0">
                <a:pos x="connsiteX24300" y="connsiteY24300"/>
              </a:cxn>
              <a:cxn ang="0">
                <a:pos x="connsiteX24301" y="connsiteY24301"/>
              </a:cxn>
              <a:cxn ang="0">
                <a:pos x="connsiteX24302" y="connsiteY24302"/>
              </a:cxn>
              <a:cxn ang="0">
                <a:pos x="connsiteX24303" y="connsiteY24303"/>
              </a:cxn>
              <a:cxn ang="0">
                <a:pos x="connsiteX24304" y="connsiteY24304"/>
              </a:cxn>
              <a:cxn ang="0">
                <a:pos x="connsiteX24305" y="connsiteY24305"/>
              </a:cxn>
              <a:cxn ang="0">
                <a:pos x="connsiteX24306" y="connsiteY24306"/>
              </a:cxn>
              <a:cxn ang="0">
                <a:pos x="connsiteX24307" y="connsiteY24307"/>
              </a:cxn>
              <a:cxn ang="0">
                <a:pos x="connsiteX24308" y="connsiteY24308"/>
              </a:cxn>
              <a:cxn ang="0">
                <a:pos x="connsiteX24309" y="connsiteY24309"/>
              </a:cxn>
              <a:cxn ang="0">
                <a:pos x="connsiteX24310" y="connsiteY24310"/>
              </a:cxn>
              <a:cxn ang="0">
                <a:pos x="connsiteX24311" y="connsiteY24311"/>
              </a:cxn>
              <a:cxn ang="0">
                <a:pos x="connsiteX24312" y="connsiteY24312"/>
              </a:cxn>
              <a:cxn ang="0">
                <a:pos x="connsiteX24313" y="connsiteY24313"/>
              </a:cxn>
              <a:cxn ang="0">
                <a:pos x="connsiteX24314" y="connsiteY24314"/>
              </a:cxn>
              <a:cxn ang="0">
                <a:pos x="connsiteX24315" y="connsiteY24315"/>
              </a:cxn>
              <a:cxn ang="0">
                <a:pos x="connsiteX24316" y="connsiteY24316"/>
              </a:cxn>
              <a:cxn ang="0">
                <a:pos x="connsiteX24317" y="connsiteY24317"/>
              </a:cxn>
              <a:cxn ang="0">
                <a:pos x="connsiteX24318" y="connsiteY24318"/>
              </a:cxn>
              <a:cxn ang="0">
                <a:pos x="connsiteX24319" y="connsiteY24319"/>
              </a:cxn>
              <a:cxn ang="0">
                <a:pos x="connsiteX24320" y="connsiteY24320"/>
              </a:cxn>
              <a:cxn ang="0">
                <a:pos x="connsiteX24321" y="connsiteY24321"/>
              </a:cxn>
              <a:cxn ang="0">
                <a:pos x="connsiteX24322" y="connsiteY24322"/>
              </a:cxn>
              <a:cxn ang="0">
                <a:pos x="connsiteX24323" y="connsiteY24323"/>
              </a:cxn>
              <a:cxn ang="0">
                <a:pos x="connsiteX24324" y="connsiteY24324"/>
              </a:cxn>
              <a:cxn ang="0">
                <a:pos x="connsiteX24325" y="connsiteY24325"/>
              </a:cxn>
              <a:cxn ang="0">
                <a:pos x="connsiteX24326" y="connsiteY24326"/>
              </a:cxn>
              <a:cxn ang="0">
                <a:pos x="connsiteX24327" y="connsiteY24327"/>
              </a:cxn>
              <a:cxn ang="0">
                <a:pos x="connsiteX24328" y="connsiteY24328"/>
              </a:cxn>
              <a:cxn ang="0">
                <a:pos x="connsiteX24329" y="connsiteY24329"/>
              </a:cxn>
              <a:cxn ang="0">
                <a:pos x="connsiteX24330" y="connsiteY24330"/>
              </a:cxn>
              <a:cxn ang="0">
                <a:pos x="connsiteX24331" y="connsiteY24331"/>
              </a:cxn>
              <a:cxn ang="0">
                <a:pos x="connsiteX24332" y="connsiteY24332"/>
              </a:cxn>
              <a:cxn ang="0">
                <a:pos x="connsiteX24333" y="connsiteY24333"/>
              </a:cxn>
              <a:cxn ang="0">
                <a:pos x="connsiteX24334" y="connsiteY24334"/>
              </a:cxn>
              <a:cxn ang="0">
                <a:pos x="connsiteX24335" y="connsiteY24335"/>
              </a:cxn>
              <a:cxn ang="0">
                <a:pos x="connsiteX24336" y="connsiteY24336"/>
              </a:cxn>
              <a:cxn ang="0">
                <a:pos x="connsiteX24337" y="connsiteY24337"/>
              </a:cxn>
              <a:cxn ang="0">
                <a:pos x="connsiteX24338" y="connsiteY24338"/>
              </a:cxn>
              <a:cxn ang="0">
                <a:pos x="connsiteX24339" y="connsiteY24339"/>
              </a:cxn>
              <a:cxn ang="0">
                <a:pos x="connsiteX24340" y="connsiteY24340"/>
              </a:cxn>
              <a:cxn ang="0">
                <a:pos x="connsiteX24341" y="connsiteY24341"/>
              </a:cxn>
              <a:cxn ang="0">
                <a:pos x="connsiteX24342" y="connsiteY24342"/>
              </a:cxn>
              <a:cxn ang="0">
                <a:pos x="connsiteX24343" y="connsiteY24343"/>
              </a:cxn>
              <a:cxn ang="0">
                <a:pos x="connsiteX24344" y="connsiteY24344"/>
              </a:cxn>
              <a:cxn ang="0">
                <a:pos x="connsiteX24345" y="connsiteY24345"/>
              </a:cxn>
              <a:cxn ang="0">
                <a:pos x="connsiteX24346" y="connsiteY24346"/>
              </a:cxn>
              <a:cxn ang="0">
                <a:pos x="connsiteX24347" y="connsiteY24347"/>
              </a:cxn>
              <a:cxn ang="0">
                <a:pos x="connsiteX24348" y="connsiteY24348"/>
              </a:cxn>
              <a:cxn ang="0">
                <a:pos x="connsiteX24349" y="connsiteY24349"/>
              </a:cxn>
              <a:cxn ang="0">
                <a:pos x="connsiteX24350" y="connsiteY24350"/>
              </a:cxn>
              <a:cxn ang="0">
                <a:pos x="connsiteX24351" y="connsiteY24351"/>
              </a:cxn>
              <a:cxn ang="0">
                <a:pos x="connsiteX24352" y="connsiteY24352"/>
              </a:cxn>
              <a:cxn ang="0">
                <a:pos x="connsiteX24353" y="connsiteY24353"/>
              </a:cxn>
              <a:cxn ang="0">
                <a:pos x="connsiteX24354" y="connsiteY24354"/>
              </a:cxn>
              <a:cxn ang="0">
                <a:pos x="connsiteX24355" y="connsiteY24355"/>
              </a:cxn>
              <a:cxn ang="0">
                <a:pos x="connsiteX24356" y="connsiteY24356"/>
              </a:cxn>
              <a:cxn ang="0">
                <a:pos x="connsiteX24357" y="connsiteY24357"/>
              </a:cxn>
              <a:cxn ang="0">
                <a:pos x="connsiteX24358" y="connsiteY24358"/>
              </a:cxn>
              <a:cxn ang="0">
                <a:pos x="connsiteX24359" y="connsiteY24359"/>
              </a:cxn>
              <a:cxn ang="0">
                <a:pos x="connsiteX24360" y="connsiteY24360"/>
              </a:cxn>
              <a:cxn ang="0">
                <a:pos x="connsiteX24361" y="connsiteY24361"/>
              </a:cxn>
              <a:cxn ang="0">
                <a:pos x="connsiteX24362" y="connsiteY24362"/>
              </a:cxn>
              <a:cxn ang="0">
                <a:pos x="connsiteX24363" y="connsiteY24363"/>
              </a:cxn>
              <a:cxn ang="0">
                <a:pos x="connsiteX24364" y="connsiteY24364"/>
              </a:cxn>
              <a:cxn ang="0">
                <a:pos x="connsiteX24365" y="connsiteY24365"/>
              </a:cxn>
              <a:cxn ang="0">
                <a:pos x="connsiteX24366" y="connsiteY24366"/>
              </a:cxn>
              <a:cxn ang="0">
                <a:pos x="connsiteX24367" y="connsiteY24367"/>
              </a:cxn>
              <a:cxn ang="0">
                <a:pos x="connsiteX24368" y="connsiteY24368"/>
              </a:cxn>
              <a:cxn ang="0">
                <a:pos x="connsiteX24369" y="connsiteY24369"/>
              </a:cxn>
              <a:cxn ang="0">
                <a:pos x="connsiteX24370" y="connsiteY24370"/>
              </a:cxn>
              <a:cxn ang="0">
                <a:pos x="connsiteX24371" y="connsiteY24371"/>
              </a:cxn>
              <a:cxn ang="0">
                <a:pos x="connsiteX24372" y="connsiteY24372"/>
              </a:cxn>
              <a:cxn ang="0">
                <a:pos x="connsiteX24373" y="connsiteY24373"/>
              </a:cxn>
              <a:cxn ang="0">
                <a:pos x="connsiteX24374" y="connsiteY24374"/>
              </a:cxn>
              <a:cxn ang="0">
                <a:pos x="connsiteX24375" y="connsiteY24375"/>
              </a:cxn>
              <a:cxn ang="0">
                <a:pos x="connsiteX24376" y="connsiteY24376"/>
              </a:cxn>
              <a:cxn ang="0">
                <a:pos x="connsiteX24377" y="connsiteY24377"/>
              </a:cxn>
              <a:cxn ang="0">
                <a:pos x="connsiteX24378" y="connsiteY24378"/>
              </a:cxn>
              <a:cxn ang="0">
                <a:pos x="connsiteX24379" y="connsiteY24379"/>
              </a:cxn>
              <a:cxn ang="0">
                <a:pos x="connsiteX24380" y="connsiteY24380"/>
              </a:cxn>
              <a:cxn ang="0">
                <a:pos x="connsiteX24381" y="connsiteY24381"/>
              </a:cxn>
              <a:cxn ang="0">
                <a:pos x="connsiteX24382" y="connsiteY24382"/>
              </a:cxn>
              <a:cxn ang="0">
                <a:pos x="connsiteX24383" y="connsiteY24383"/>
              </a:cxn>
              <a:cxn ang="0">
                <a:pos x="connsiteX24384" y="connsiteY24384"/>
              </a:cxn>
              <a:cxn ang="0">
                <a:pos x="connsiteX24385" y="connsiteY24385"/>
              </a:cxn>
              <a:cxn ang="0">
                <a:pos x="connsiteX24386" y="connsiteY24386"/>
              </a:cxn>
              <a:cxn ang="0">
                <a:pos x="connsiteX24387" y="connsiteY24387"/>
              </a:cxn>
              <a:cxn ang="0">
                <a:pos x="connsiteX24388" y="connsiteY24388"/>
              </a:cxn>
              <a:cxn ang="0">
                <a:pos x="connsiteX24389" y="connsiteY24389"/>
              </a:cxn>
              <a:cxn ang="0">
                <a:pos x="connsiteX24390" y="connsiteY24390"/>
              </a:cxn>
              <a:cxn ang="0">
                <a:pos x="connsiteX24391" y="connsiteY24391"/>
              </a:cxn>
              <a:cxn ang="0">
                <a:pos x="connsiteX24392" y="connsiteY24392"/>
              </a:cxn>
              <a:cxn ang="0">
                <a:pos x="connsiteX24393" y="connsiteY24393"/>
              </a:cxn>
              <a:cxn ang="0">
                <a:pos x="connsiteX24394" y="connsiteY24394"/>
              </a:cxn>
              <a:cxn ang="0">
                <a:pos x="connsiteX24395" y="connsiteY24395"/>
              </a:cxn>
              <a:cxn ang="0">
                <a:pos x="connsiteX24396" y="connsiteY24396"/>
              </a:cxn>
              <a:cxn ang="0">
                <a:pos x="connsiteX24397" y="connsiteY24397"/>
              </a:cxn>
              <a:cxn ang="0">
                <a:pos x="connsiteX24398" y="connsiteY24398"/>
              </a:cxn>
              <a:cxn ang="0">
                <a:pos x="connsiteX24399" y="connsiteY24399"/>
              </a:cxn>
              <a:cxn ang="0">
                <a:pos x="connsiteX24400" y="connsiteY24400"/>
              </a:cxn>
              <a:cxn ang="0">
                <a:pos x="connsiteX24401" y="connsiteY24401"/>
              </a:cxn>
              <a:cxn ang="0">
                <a:pos x="connsiteX24402" y="connsiteY24402"/>
              </a:cxn>
              <a:cxn ang="0">
                <a:pos x="connsiteX24403" y="connsiteY24403"/>
              </a:cxn>
              <a:cxn ang="0">
                <a:pos x="connsiteX24404" y="connsiteY24404"/>
              </a:cxn>
              <a:cxn ang="0">
                <a:pos x="connsiteX24405" y="connsiteY24405"/>
              </a:cxn>
              <a:cxn ang="0">
                <a:pos x="connsiteX24406" y="connsiteY24406"/>
              </a:cxn>
              <a:cxn ang="0">
                <a:pos x="connsiteX24407" y="connsiteY24407"/>
              </a:cxn>
              <a:cxn ang="0">
                <a:pos x="connsiteX24408" y="connsiteY24408"/>
              </a:cxn>
              <a:cxn ang="0">
                <a:pos x="connsiteX24409" y="connsiteY24409"/>
              </a:cxn>
              <a:cxn ang="0">
                <a:pos x="connsiteX24410" y="connsiteY24410"/>
              </a:cxn>
              <a:cxn ang="0">
                <a:pos x="connsiteX24411" y="connsiteY24411"/>
              </a:cxn>
              <a:cxn ang="0">
                <a:pos x="connsiteX24412" y="connsiteY24412"/>
              </a:cxn>
              <a:cxn ang="0">
                <a:pos x="connsiteX24413" y="connsiteY24413"/>
              </a:cxn>
              <a:cxn ang="0">
                <a:pos x="connsiteX24414" y="connsiteY24414"/>
              </a:cxn>
              <a:cxn ang="0">
                <a:pos x="connsiteX24415" y="connsiteY24415"/>
              </a:cxn>
              <a:cxn ang="0">
                <a:pos x="connsiteX24416" y="connsiteY24416"/>
              </a:cxn>
              <a:cxn ang="0">
                <a:pos x="connsiteX24417" y="connsiteY24417"/>
              </a:cxn>
              <a:cxn ang="0">
                <a:pos x="connsiteX24418" y="connsiteY24418"/>
              </a:cxn>
              <a:cxn ang="0">
                <a:pos x="connsiteX24419" y="connsiteY24419"/>
              </a:cxn>
              <a:cxn ang="0">
                <a:pos x="connsiteX24420" y="connsiteY24420"/>
              </a:cxn>
              <a:cxn ang="0">
                <a:pos x="connsiteX24421" y="connsiteY24421"/>
              </a:cxn>
              <a:cxn ang="0">
                <a:pos x="connsiteX24422" y="connsiteY24422"/>
              </a:cxn>
              <a:cxn ang="0">
                <a:pos x="connsiteX24423" y="connsiteY24423"/>
              </a:cxn>
              <a:cxn ang="0">
                <a:pos x="connsiteX24424" y="connsiteY24424"/>
              </a:cxn>
              <a:cxn ang="0">
                <a:pos x="connsiteX24425" y="connsiteY24425"/>
              </a:cxn>
              <a:cxn ang="0">
                <a:pos x="connsiteX24426" y="connsiteY24426"/>
              </a:cxn>
              <a:cxn ang="0">
                <a:pos x="connsiteX24427" y="connsiteY24427"/>
              </a:cxn>
              <a:cxn ang="0">
                <a:pos x="connsiteX24428" y="connsiteY24428"/>
              </a:cxn>
              <a:cxn ang="0">
                <a:pos x="connsiteX24429" y="connsiteY24429"/>
              </a:cxn>
              <a:cxn ang="0">
                <a:pos x="connsiteX24430" y="connsiteY24430"/>
              </a:cxn>
              <a:cxn ang="0">
                <a:pos x="connsiteX24431" y="connsiteY24431"/>
              </a:cxn>
              <a:cxn ang="0">
                <a:pos x="connsiteX24432" y="connsiteY24432"/>
              </a:cxn>
              <a:cxn ang="0">
                <a:pos x="connsiteX24433" y="connsiteY24433"/>
              </a:cxn>
              <a:cxn ang="0">
                <a:pos x="connsiteX24434" y="connsiteY24434"/>
              </a:cxn>
              <a:cxn ang="0">
                <a:pos x="connsiteX24435" y="connsiteY24435"/>
              </a:cxn>
              <a:cxn ang="0">
                <a:pos x="connsiteX24436" y="connsiteY24436"/>
              </a:cxn>
              <a:cxn ang="0">
                <a:pos x="connsiteX24437" y="connsiteY24437"/>
              </a:cxn>
              <a:cxn ang="0">
                <a:pos x="connsiteX24438" y="connsiteY24438"/>
              </a:cxn>
              <a:cxn ang="0">
                <a:pos x="connsiteX24439" y="connsiteY24439"/>
              </a:cxn>
              <a:cxn ang="0">
                <a:pos x="connsiteX24440" y="connsiteY24440"/>
              </a:cxn>
              <a:cxn ang="0">
                <a:pos x="connsiteX24441" y="connsiteY24441"/>
              </a:cxn>
              <a:cxn ang="0">
                <a:pos x="connsiteX24442" y="connsiteY24442"/>
              </a:cxn>
              <a:cxn ang="0">
                <a:pos x="connsiteX24443" y="connsiteY24443"/>
              </a:cxn>
              <a:cxn ang="0">
                <a:pos x="connsiteX24444" y="connsiteY24444"/>
              </a:cxn>
              <a:cxn ang="0">
                <a:pos x="connsiteX24445" y="connsiteY24445"/>
              </a:cxn>
              <a:cxn ang="0">
                <a:pos x="connsiteX24446" y="connsiteY24446"/>
              </a:cxn>
              <a:cxn ang="0">
                <a:pos x="connsiteX24447" y="connsiteY24447"/>
              </a:cxn>
              <a:cxn ang="0">
                <a:pos x="connsiteX24448" y="connsiteY24448"/>
              </a:cxn>
              <a:cxn ang="0">
                <a:pos x="connsiteX24449" y="connsiteY24449"/>
              </a:cxn>
              <a:cxn ang="0">
                <a:pos x="connsiteX24450" y="connsiteY24450"/>
              </a:cxn>
              <a:cxn ang="0">
                <a:pos x="connsiteX24451" y="connsiteY24451"/>
              </a:cxn>
              <a:cxn ang="0">
                <a:pos x="connsiteX24452" y="connsiteY24452"/>
              </a:cxn>
              <a:cxn ang="0">
                <a:pos x="connsiteX24453" y="connsiteY24453"/>
              </a:cxn>
              <a:cxn ang="0">
                <a:pos x="connsiteX24454" y="connsiteY24454"/>
              </a:cxn>
              <a:cxn ang="0">
                <a:pos x="connsiteX24455" y="connsiteY24455"/>
              </a:cxn>
              <a:cxn ang="0">
                <a:pos x="connsiteX24456" y="connsiteY24456"/>
              </a:cxn>
              <a:cxn ang="0">
                <a:pos x="connsiteX24457" y="connsiteY24457"/>
              </a:cxn>
              <a:cxn ang="0">
                <a:pos x="connsiteX24458" y="connsiteY24458"/>
              </a:cxn>
              <a:cxn ang="0">
                <a:pos x="connsiteX24459" y="connsiteY24459"/>
              </a:cxn>
              <a:cxn ang="0">
                <a:pos x="connsiteX24460" y="connsiteY24460"/>
              </a:cxn>
              <a:cxn ang="0">
                <a:pos x="connsiteX24461" y="connsiteY24461"/>
              </a:cxn>
              <a:cxn ang="0">
                <a:pos x="connsiteX24462" y="connsiteY24462"/>
              </a:cxn>
              <a:cxn ang="0">
                <a:pos x="connsiteX24463" y="connsiteY24463"/>
              </a:cxn>
              <a:cxn ang="0">
                <a:pos x="connsiteX24464" y="connsiteY24464"/>
              </a:cxn>
              <a:cxn ang="0">
                <a:pos x="connsiteX24465" y="connsiteY24465"/>
              </a:cxn>
              <a:cxn ang="0">
                <a:pos x="connsiteX24466" y="connsiteY24466"/>
              </a:cxn>
              <a:cxn ang="0">
                <a:pos x="connsiteX24467" y="connsiteY24467"/>
              </a:cxn>
              <a:cxn ang="0">
                <a:pos x="connsiteX24468" y="connsiteY24468"/>
              </a:cxn>
              <a:cxn ang="0">
                <a:pos x="connsiteX24469" y="connsiteY24469"/>
              </a:cxn>
              <a:cxn ang="0">
                <a:pos x="connsiteX24470" y="connsiteY24470"/>
              </a:cxn>
              <a:cxn ang="0">
                <a:pos x="connsiteX24471" y="connsiteY24471"/>
              </a:cxn>
              <a:cxn ang="0">
                <a:pos x="connsiteX24472" y="connsiteY24472"/>
              </a:cxn>
              <a:cxn ang="0">
                <a:pos x="connsiteX24473" y="connsiteY24473"/>
              </a:cxn>
              <a:cxn ang="0">
                <a:pos x="connsiteX24474" y="connsiteY24474"/>
              </a:cxn>
              <a:cxn ang="0">
                <a:pos x="connsiteX24475" y="connsiteY24475"/>
              </a:cxn>
              <a:cxn ang="0">
                <a:pos x="connsiteX24476" y="connsiteY24476"/>
              </a:cxn>
              <a:cxn ang="0">
                <a:pos x="connsiteX24477" y="connsiteY24477"/>
              </a:cxn>
              <a:cxn ang="0">
                <a:pos x="connsiteX24478" y="connsiteY24478"/>
              </a:cxn>
              <a:cxn ang="0">
                <a:pos x="connsiteX24479" y="connsiteY24479"/>
              </a:cxn>
              <a:cxn ang="0">
                <a:pos x="connsiteX24480" y="connsiteY24480"/>
              </a:cxn>
              <a:cxn ang="0">
                <a:pos x="connsiteX24481" y="connsiteY24481"/>
              </a:cxn>
              <a:cxn ang="0">
                <a:pos x="connsiteX24482" y="connsiteY24482"/>
              </a:cxn>
              <a:cxn ang="0">
                <a:pos x="connsiteX24483" y="connsiteY24483"/>
              </a:cxn>
              <a:cxn ang="0">
                <a:pos x="connsiteX24484" y="connsiteY24484"/>
              </a:cxn>
              <a:cxn ang="0">
                <a:pos x="connsiteX24485" y="connsiteY24485"/>
              </a:cxn>
              <a:cxn ang="0">
                <a:pos x="connsiteX24486" y="connsiteY24486"/>
              </a:cxn>
              <a:cxn ang="0">
                <a:pos x="connsiteX24487" y="connsiteY24487"/>
              </a:cxn>
              <a:cxn ang="0">
                <a:pos x="connsiteX24488" y="connsiteY24488"/>
              </a:cxn>
              <a:cxn ang="0">
                <a:pos x="connsiteX24489" y="connsiteY24489"/>
              </a:cxn>
              <a:cxn ang="0">
                <a:pos x="connsiteX24490" y="connsiteY24490"/>
              </a:cxn>
              <a:cxn ang="0">
                <a:pos x="connsiteX24491" y="connsiteY24491"/>
              </a:cxn>
              <a:cxn ang="0">
                <a:pos x="connsiteX24492" y="connsiteY24492"/>
              </a:cxn>
              <a:cxn ang="0">
                <a:pos x="connsiteX24493" y="connsiteY24493"/>
              </a:cxn>
              <a:cxn ang="0">
                <a:pos x="connsiteX24494" y="connsiteY24494"/>
              </a:cxn>
              <a:cxn ang="0">
                <a:pos x="connsiteX24495" y="connsiteY24495"/>
              </a:cxn>
              <a:cxn ang="0">
                <a:pos x="connsiteX24496" y="connsiteY24496"/>
              </a:cxn>
              <a:cxn ang="0">
                <a:pos x="connsiteX24497" y="connsiteY24497"/>
              </a:cxn>
              <a:cxn ang="0">
                <a:pos x="connsiteX24498" y="connsiteY24498"/>
              </a:cxn>
              <a:cxn ang="0">
                <a:pos x="connsiteX24499" y="connsiteY24499"/>
              </a:cxn>
              <a:cxn ang="0">
                <a:pos x="connsiteX24500" y="connsiteY24500"/>
              </a:cxn>
              <a:cxn ang="0">
                <a:pos x="connsiteX24501" y="connsiteY24501"/>
              </a:cxn>
              <a:cxn ang="0">
                <a:pos x="connsiteX24502" y="connsiteY24502"/>
              </a:cxn>
              <a:cxn ang="0">
                <a:pos x="connsiteX24503" y="connsiteY24503"/>
              </a:cxn>
              <a:cxn ang="0">
                <a:pos x="connsiteX24504" y="connsiteY24504"/>
              </a:cxn>
              <a:cxn ang="0">
                <a:pos x="connsiteX24505" y="connsiteY24505"/>
              </a:cxn>
              <a:cxn ang="0">
                <a:pos x="connsiteX24506" y="connsiteY24506"/>
              </a:cxn>
              <a:cxn ang="0">
                <a:pos x="connsiteX24507" y="connsiteY24507"/>
              </a:cxn>
              <a:cxn ang="0">
                <a:pos x="connsiteX24508" y="connsiteY24508"/>
              </a:cxn>
              <a:cxn ang="0">
                <a:pos x="connsiteX24509" y="connsiteY24509"/>
              </a:cxn>
              <a:cxn ang="0">
                <a:pos x="connsiteX24510" y="connsiteY24510"/>
              </a:cxn>
              <a:cxn ang="0">
                <a:pos x="connsiteX24511" y="connsiteY24511"/>
              </a:cxn>
              <a:cxn ang="0">
                <a:pos x="connsiteX24512" y="connsiteY24512"/>
              </a:cxn>
              <a:cxn ang="0">
                <a:pos x="connsiteX24513" y="connsiteY24513"/>
              </a:cxn>
              <a:cxn ang="0">
                <a:pos x="connsiteX24514" y="connsiteY24514"/>
              </a:cxn>
              <a:cxn ang="0">
                <a:pos x="connsiteX24515" y="connsiteY24515"/>
              </a:cxn>
              <a:cxn ang="0">
                <a:pos x="connsiteX24516" y="connsiteY24516"/>
              </a:cxn>
              <a:cxn ang="0">
                <a:pos x="connsiteX24517" y="connsiteY24517"/>
              </a:cxn>
              <a:cxn ang="0">
                <a:pos x="connsiteX24518" y="connsiteY24518"/>
              </a:cxn>
              <a:cxn ang="0">
                <a:pos x="connsiteX24519" y="connsiteY24519"/>
              </a:cxn>
              <a:cxn ang="0">
                <a:pos x="connsiteX24520" y="connsiteY24520"/>
              </a:cxn>
              <a:cxn ang="0">
                <a:pos x="connsiteX24521" y="connsiteY24521"/>
              </a:cxn>
              <a:cxn ang="0">
                <a:pos x="connsiteX24522" y="connsiteY24522"/>
              </a:cxn>
              <a:cxn ang="0">
                <a:pos x="connsiteX24523" y="connsiteY24523"/>
              </a:cxn>
              <a:cxn ang="0">
                <a:pos x="connsiteX24524" y="connsiteY24524"/>
              </a:cxn>
              <a:cxn ang="0">
                <a:pos x="connsiteX24525" y="connsiteY24525"/>
              </a:cxn>
              <a:cxn ang="0">
                <a:pos x="connsiteX24526" y="connsiteY24526"/>
              </a:cxn>
              <a:cxn ang="0">
                <a:pos x="connsiteX24527" y="connsiteY24527"/>
              </a:cxn>
              <a:cxn ang="0">
                <a:pos x="connsiteX24528" y="connsiteY24528"/>
              </a:cxn>
              <a:cxn ang="0">
                <a:pos x="connsiteX24529" y="connsiteY24529"/>
              </a:cxn>
              <a:cxn ang="0">
                <a:pos x="connsiteX24530" y="connsiteY24530"/>
              </a:cxn>
              <a:cxn ang="0">
                <a:pos x="connsiteX24531" y="connsiteY24531"/>
              </a:cxn>
              <a:cxn ang="0">
                <a:pos x="connsiteX24532" y="connsiteY24532"/>
              </a:cxn>
              <a:cxn ang="0">
                <a:pos x="connsiteX24533" y="connsiteY24533"/>
              </a:cxn>
              <a:cxn ang="0">
                <a:pos x="connsiteX24534" y="connsiteY24534"/>
              </a:cxn>
              <a:cxn ang="0">
                <a:pos x="connsiteX24535" y="connsiteY24535"/>
              </a:cxn>
              <a:cxn ang="0">
                <a:pos x="connsiteX24536" y="connsiteY24536"/>
              </a:cxn>
              <a:cxn ang="0">
                <a:pos x="connsiteX24537" y="connsiteY24537"/>
              </a:cxn>
              <a:cxn ang="0">
                <a:pos x="connsiteX24538" y="connsiteY24538"/>
              </a:cxn>
              <a:cxn ang="0">
                <a:pos x="connsiteX24539" y="connsiteY24539"/>
              </a:cxn>
              <a:cxn ang="0">
                <a:pos x="connsiteX24540" y="connsiteY24540"/>
              </a:cxn>
              <a:cxn ang="0">
                <a:pos x="connsiteX24541" y="connsiteY24541"/>
              </a:cxn>
              <a:cxn ang="0">
                <a:pos x="connsiteX24542" y="connsiteY24542"/>
              </a:cxn>
              <a:cxn ang="0">
                <a:pos x="connsiteX24543" y="connsiteY24543"/>
              </a:cxn>
              <a:cxn ang="0">
                <a:pos x="connsiteX24544" y="connsiteY24544"/>
              </a:cxn>
              <a:cxn ang="0">
                <a:pos x="connsiteX24545" y="connsiteY24545"/>
              </a:cxn>
              <a:cxn ang="0">
                <a:pos x="connsiteX24546" y="connsiteY24546"/>
              </a:cxn>
              <a:cxn ang="0">
                <a:pos x="connsiteX24547" y="connsiteY24547"/>
              </a:cxn>
              <a:cxn ang="0">
                <a:pos x="connsiteX24548" y="connsiteY24548"/>
              </a:cxn>
              <a:cxn ang="0">
                <a:pos x="connsiteX24549" y="connsiteY24549"/>
              </a:cxn>
              <a:cxn ang="0">
                <a:pos x="connsiteX24550" y="connsiteY24550"/>
              </a:cxn>
              <a:cxn ang="0">
                <a:pos x="connsiteX24551" y="connsiteY24551"/>
              </a:cxn>
              <a:cxn ang="0">
                <a:pos x="connsiteX24552" y="connsiteY24552"/>
              </a:cxn>
              <a:cxn ang="0">
                <a:pos x="connsiteX24553" y="connsiteY24553"/>
              </a:cxn>
              <a:cxn ang="0">
                <a:pos x="connsiteX24554" y="connsiteY24554"/>
              </a:cxn>
              <a:cxn ang="0">
                <a:pos x="connsiteX24555" y="connsiteY24555"/>
              </a:cxn>
              <a:cxn ang="0">
                <a:pos x="connsiteX24556" y="connsiteY24556"/>
              </a:cxn>
              <a:cxn ang="0">
                <a:pos x="connsiteX24557" y="connsiteY24557"/>
              </a:cxn>
              <a:cxn ang="0">
                <a:pos x="connsiteX24558" y="connsiteY24558"/>
              </a:cxn>
              <a:cxn ang="0">
                <a:pos x="connsiteX24559" y="connsiteY24559"/>
              </a:cxn>
              <a:cxn ang="0">
                <a:pos x="connsiteX24560" y="connsiteY24560"/>
              </a:cxn>
              <a:cxn ang="0">
                <a:pos x="connsiteX24561" y="connsiteY24561"/>
              </a:cxn>
              <a:cxn ang="0">
                <a:pos x="connsiteX24562" y="connsiteY24562"/>
              </a:cxn>
              <a:cxn ang="0">
                <a:pos x="connsiteX24563" y="connsiteY24563"/>
              </a:cxn>
              <a:cxn ang="0">
                <a:pos x="connsiteX24564" y="connsiteY24564"/>
              </a:cxn>
              <a:cxn ang="0">
                <a:pos x="connsiteX24565" y="connsiteY24565"/>
              </a:cxn>
              <a:cxn ang="0">
                <a:pos x="connsiteX24566" y="connsiteY24566"/>
              </a:cxn>
              <a:cxn ang="0">
                <a:pos x="connsiteX24567" y="connsiteY24567"/>
              </a:cxn>
              <a:cxn ang="0">
                <a:pos x="connsiteX24568" y="connsiteY24568"/>
              </a:cxn>
              <a:cxn ang="0">
                <a:pos x="connsiteX24569" y="connsiteY24569"/>
              </a:cxn>
              <a:cxn ang="0">
                <a:pos x="connsiteX24570" y="connsiteY24570"/>
              </a:cxn>
              <a:cxn ang="0">
                <a:pos x="connsiteX24571" y="connsiteY24571"/>
              </a:cxn>
              <a:cxn ang="0">
                <a:pos x="connsiteX24572" y="connsiteY24572"/>
              </a:cxn>
              <a:cxn ang="0">
                <a:pos x="connsiteX24573" y="connsiteY24573"/>
              </a:cxn>
              <a:cxn ang="0">
                <a:pos x="connsiteX24574" y="connsiteY24574"/>
              </a:cxn>
              <a:cxn ang="0">
                <a:pos x="connsiteX24575" y="connsiteY24575"/>
              </a:cxn>
              <a:cxn ang="0">
                <a:pos x="connsiteX24576" y="connsiteY24576"/>
              </a:cxn>
              <a:cxn ang="0">
                <a:pos x="connsiteX24577" y="connsiteY24577"/>
              </a:cxn>
              <a:cxn ang="0">
                <a:pos x="connsiteX24578" y="connsiteY24578"/>
              </a:cxn>
              <a:cxn ang="0">
                <a:pos x="connsiteX24579" y="connsiteY24579"/>
              </a:cxn>
              <a:cxn ang="0">
                <a:pos x="connsiteX24580" y="connsiteY24580"/>
              </a:cxn>
              <a:cxn ang="0">
                <a:pos x="connsiteX24581" y="connsiteY24581"/>
              </a:cxn>
              <a:cxn ang="0">
                <a:pos x="connsiteX24582" y="connsiteY24582"/>
              </a:cxn>
              <a:cxn ang="0">
                <a:pos x="connsiteX24583" y="connsiteY24583"/>
              </a:cxn>
              <a:cxn ang="0">
                <a:pos x="connsiteX24584" y="connsiteY24584"/>
              </a:cxn>
              <a:cxn ang="0">
                <a:pos x="connsiteX24585" y="connsiteY24585"/>
              </a:cxn>
              <a:cxn ang="0">
                <a:pos x="connsiteX24586" y="connsiteY24586"/>
              </a:cxn>
              <a:cxn ang="0">
                <a:pos x="connsiteX24587" y="connsiteY24587"/>
              </a:cxn>
              <a:cxn ang="0">
                <a:pos x="connsiteX24588" y="connsiteY24588"/>
              </a:cxn>
              <a:cxn ang="0">
                <a:pos x="connsiteX24589" y="connsiteY24589"/>
              </a:cxn>
              <a:cxn ang="0">
                <a:pos x="connsiteX24590" y="connsiteY24590"/>
              </a:cxn>
              <a:cxn ang="0">
                <a:pos x="connsiteX24591" y="connsiteY24591"/>
              </a:cxn>
              <a:cxn ang="0">
                <a:pos x="connsiteX24592" y="connsiteY24592"/>
              </a:cxn>
              <a:cxn ang="0">
                <a:pos x="connsiteX24593" y="connsiteY24593"/>
              </a:cxn>
              <a:cxn ang="0">
                <a:pos x="connsiteX24594" y="connsiteY24594"/>
              </a:cxn>
              <a:cxn ang="0">
                <a:pos x="connsiteX24595" y="connsiteY24595"/>
              </a:cxn>
              <a:cxn ang="0">
                <a:pos x="connsiteX24596" y="connsiteY24596"/>
              </a:cxn>
              <a:cxn ang="0">
                <a:pos x="connsiteX24597" y="connsiteY24597"/>
              </a:cxn>
              <a:cxn ang="0">
                <a:pos x="connsiteX24598" y="connsiteY24598"/>
              </a:cxn>
              <a:cxn ang="0">
                <a:pos x="connsiteX24599" y="connsiteY24599"/>
              </a:cxn>
              <a:cxn ang="0">
                <a:pos x="connsiteX24600" y="connsiteY24600"/>
              </a:cxn>
              <a:cxn ang="0">
                <a:pos x="connsiteX24601" y="connsiteY24601"/>
              </a:cxn>
              <a:cxn ang="0">
                <a:pos x="connsiteX24602" y="connsiteY24602"/>
              </a:cxn>
              <a:cxn ang="0">
                <a:pos x="connsiteX24603" y="connsiteY24603"/>
              </a:cxn>
              <a:cxn ang="0">
                <a:pos x="connsiteX24604" y="connsiteY24604"/>
              </a:cxn>
              <a:cxn ang="0">
                <a:pos x="connsiteX24605" y="connsiteY24605"/>
              </a:cxn>
              <a:cxn ang="0">
                <a:pos x="connsiteX24606" y="connsiteY24606"/>
              </a:cxn>
              <a:cxn ang="0">
                <a:pos x="connsiteX24607" y="connsiteY24607"/>
              </a:cxn>
              <a:cxn ang="0">
                <a:pos x="connsiteX24608" y="connsiteY24608"/>
              </a:cxn>
              <a:cxn ang="0">
                <a:pos x="connsiteX24609" y="connsiteY24609"/>
              </a:cxn>
              <a:cxn ang="0">
                <a:pos x="connsiteX24610" y="connsiteY24610"/>
              </a:cxn>
              <a:cxn ang="0">
                <a:pos x="connsiteX24611" y="connsiteY24611"/>
              </a:cxn>
              <a:cxn ang="0">
                <a:pos x="connsiteX24612" y="connsiteY24612"/>
              </a:cxn>
              <a:cxn ang="0">
                <a:pos x="connsiteX24613" y="connsiteY24613"/>
              </a:cxn>
              <a:cxn ang="0">
                <a:pos x="connsiteX24614" y="connsiteY24614"/>
              </a:cxn>
              <a:cxn ang="0">
                <a:pos x="connsiteX24615" y="connsiteY24615"/>
              </a:cxn>
              <a:cxn ang="0">
                <a:pos x="connsiteX24616" y="connsiteY24616"/>
              </a:cxn>
              <a:cxn ang="0">
                <a:pos x="connsiteX24617" y="connsiteY24617"/>
              </a:cxn>
              <a:cxn ang="0">
                <a:pos x="connsiteX24618" y="connsiteY24618"/>
              </a:cxn>
              <a:cxn ang="0">
                <a:pos x="connsiteX24619" y="connsiteY24619"/>
              </a:cxn>
              <a:cxn ang="0">
                <a:pos x="connsiteX24620" y="connsiteY24620"/>
              </a:cxn>
              <a:cxn ang="0">
                <a:pos x="connsiteX24621" y="connsiteY24621"/>
              </a:cxn>
              <a:cxn ang="0">
                <a:pos x="connsiteX24622" y="connsiteY24622"/>
              </a:cxn>
              <a:cxn ang="0">
                <a:pos x="connsiteX24623" y="connsiteY24623"/>
              </a:cxn>
              <a:cxn ang="0">
                <a:pos x="connsiteX24624" y="connsiteY24624"/>
              </a:cxn>
              <a:cxn ang="0">
                <a:pos x="connsiteX24625" y="connsiteY24625"/>
              </a:cxn>
              <a:cxn ang="0">
                <a:pos x="connsiteX24626" y="connsiteY24626"/>
              </a:cxn>
              <a:cxn ang="0">
                <a:pos x="connsiteX24627" y="connsiteY24627"/>
              </a:cxn>
              <a:cxn ang="0">
                <a:pos x="connsiteX24628" y="connsiteY24628"/>
              </a:cxn>
              <a:cxn ang="0">
                <a:pos x="connsiteX24629" y="connsiteY24629"/>
              </a:cxn>
              <a:cxn ang="0">
                <a:pos x="connsiteX24630" y="connsiteY24630"/>
              </a:cxn>
              <a:cxn ang="0">
                <a:pos x="connsiteX24631" y="connsiteY24631"/>
              </a:cxn>
              <a:cxn ang="0">
                <a:pos x="connsiteX24632" y="connsiteY24632"/>
              </a:cxn>
              <a:cxn ang="0">
                <a:pos x="connsiteX24633" y="connsiteY24633"/>
              </a:cxn>
              <a:cxn ang="0">
                <a:pos x="connsiteX24634" y="connsiteY24634"/>
              </a:cxn>
              <a:cxn ang="0">
                <a:pos x="connsiteX24635" y="connsiteY24635"/>
              </a:cxn>
              <a:cxn ang="0">
                <a:pos x="connsiteX24636" y="connsiteY24636"/>
              </a:cxn>
              <a:cxn ang="0">
                <a:pos x="connsiteX24637" y="connsiteY24637"/>
              </a:cxn>
              <a:cxn ang="0">
                <a:pos x="connsiteX24638" y="connsiteY24638"/>
              </a:cxn>
              <a:cxn ang="0">
                <a:pos x="connsiteX24639" y="connsiteY24639"/>
              </a:cxn>
              <a:cxn ang="0">
                <a:pos x="connsiteX24640" y="connsiteY24640"/>
              </a:cxn>
              <a:cxn ang="0">
                <a:pos x="connsiteX24641" y="connsiteY24641"/>
              </a:cxn>
              <a:cxn ang="0">
                <a:pos x="connsiteX24642" y="connsiteY24642"/>
              </a:cxn>
              <a:cxn ang="0">
                <a:pos x="connsiteX24643" y="connsiteY24643"/>
              </a:cxn>
              <a:cxn ang="0">
                <a:pos x="connsiteX24644" y="connsiteY24644"/>
              </a:cxn>
              <a:cxn ang="0">
                <a:pos x="connsiteX24645" y="connsiteY24645"/>
              </a:cxn>
              <a:cxn ang="0">
                <a:pos x="connsiteX24646" y="connsiteY24646"/>
              </a:cxn>
              <a:cxn ang="0">
                <a:pos x="connsiteX24647" y="connsiteY24647"/>
              </a:cxn>
              <a:cxn ang="0">
                <a:pos x="connsiteX24648" y="connsiteY24648"/>
              </a:cxn>
              <a:cxn ang="0">
                <a:pos x="connsiteX24649" y="connsiteY24649"/>
              </a:cxn>
              <a:cxn ang="0">
                <a:pos x="connsiteX24650" y="connsiteY24650"/>
              </a:cxn>
              <a:cxn ang="0">
                <a:pos x="connsiteX24651" y="connsiteY24651"/>
              </a:cxn>
              <a:cxn ang="0">
                <a:pos x="connsiteX24652" y="connsiteY24652"/>
              </a:cxn>
              <a:cxn ang="0">
                <a:pos x="connsiteX24653" y="connsiteY24653"/>
              </a:cxn>
              <a:cxn ang="0">
                <a:pos x="connsiteX24654" y="connsiteY24654"/>
              </a:cxn>
              <a:cxn ang="0">
                <a:pos x="connsiteX24655" y="connsiteY24655"/>
              </a:cxn>
              <a:cxn ang="0">
                <a:pos x="connsiteX24656" y="connsiteY24656"/>
              </a:cxn>
              <a:cxn ang="0">
                <a:pos x="connsiteX24657" y="connsiteY24657"/>
              </a:cxn>
              <a:cxn ang="0">
                <a:pos x="connsiteX24658" y="connsiteY24658"/>
              </a:cxn>
              <a:cxn ang="0">
                <a:pos x="connsiteX24659" y="connsiteY24659"/>
              </a:cxn>
              <a:cxn ang="0">
                <a:pos x="connsiteX24660" y="connsiteY24660"/>
              </a:cxn>
              <a:cxn ang="0">
                <a:pos x="connsiteX24661" y="connsiteY24661"/>
              </a:cxn>
              <a:cxn ang="0">
                <a:pos x="connsiteX24662" y="connsiteY24662"/>
              </a:cxn>
              <a:cxn ang="0">
                <a:pos x="connsiteX24663" y="connsiteY24663"/>
              </a:cxn>
              <a:cxn ang="0">
                <a:pos x="connsiteX24664" y="connsiteY24664"/>
              </a:cxn>
              <a:cxn ang="0">
                <a:pos x="connsiteX24665" y="connsiteY24665"/>
              </a:cxn>
              <a:cxn ang="0">
                <a:pos x="connsiteX24666" y="connsiteY24666"/>
              </a:cxn>
              <a:cxn ang="0">
                <a:pos x="connsiteX24667" y="connsiteY24667"/>
              </a:cxn>
              <a:cxn ang="0">
                <a:pos x="connsiteX24668" y="connsiteY24668"/>
              </a:cxn>
              <a:cxn ang="0">
                <a:pos x="connsiteX24669" y="connsiteY24669"/>
              </a:cxn>
              <a:cxn ang="0">
                <a:pos x="connsiteX24670" y="connsiteY24670"/>
              </a:cxn>
              <a:cxn ang="0">
                <a:pos x="connsiteX24671" y="connsiteY24671"/>
              </a:cxn>
              <a:cxn ang="0">
                <a:pos x="connsiteX24672" y="connsiteY24672"/>
              </a:cxn>
              <a:cxn ang="0">
                <a:pos x="connsiteX24673" y="connsiteY24673"/>
              </a:cxn>
              <a:cxn ang="0">
                <a:pos x="connsiteX24674" y="connsiteY24674"/>
              </a:cxn>
              <a:cxn ang="0">
                <a:pos x="connsiteX24675" y="connsiteY24675"/>
              </a:cxn>
              <a:cxn ang="0">
                <a:pos x="connsiteX24676" y="connsiteY24676"/>
              </a:cxn>
              <a:cxn ang="0">
                <a:pos x="connsiteX24677" y="connsiteY24677"/>
              </a:cxn>
              <a:cxn ang="0">
                <a:pos x="connsiteX24678" y="connsiteY24678"/>
              </a:cxn>
              <a:cxn ang="0">
                <a:pos x="connsiteX24679" y="connsiteY24679"/>
              </a:cxn>
              <a:cxn ang="0">
                <a:pos x="connsiteX24680" y="connsiteY24680"/>
              </a:cxn>
              <a:cxn ang="0">
                <a:pos x="connsiteX24681" y="connsiteY24681"/>
              </a:cxn>
              <a:cxn ang="0">
                <a:pos x="connsiteX24682" y="connsiteY24682"/>
              </a:cxn>
              <a:cxn ang="0">
                <a:pos x="connsiteX24683" y="connsiteY24683"/>
              </a:cxn>
              <a:cxn ang="0">
                <a:pos x="connsiteX24684" y="connsiteY24684"/>
              </a:cxn>
              <a:cxn ang="0">
                <a:pos x="connsiteX24685" y="connsiteY24685"/>
              </a:cxn>
              <a:cxn ang="0">
                <a:pos x="connsiteX24686" y="connsiteY24686"/>
              </a:cxn>
              <a:cxn ang="0">
                <a:pos x="connsiteX24687" y="connsiteY24687"/>
              </a:cxn>
              <a:cxn ang="0">
                <a:pos x="connsiteX24688" y="connsiteY24688"/>
              </a:cxn>
              <a:cxn ang="0">
                <a:pos x="connsiteX24689" y="connsiteY24689"/>
              </a:cxn>
              <a:cxn ang="0">
                <a:pos x="connsiteX24690" y="connsiteY24690"/>
              </a:cxn>
              <a:cxn ang="0">
                <a:pos x="connsiteX24691" y="connsiteY24691"/>
              </a:cxn>
              <a:cxn ang="0">
                <a:pos x="connsiteX24692" y="connsiteY24692"/>
              </a:cxn>
              <a:cxn ang="0">
                <a:pos x="connsiteX24693" y="connsiteY24693"/>
              </a:cxn>
              <a:cxn ang="0">
                <a:pos x="connsiteX24694" y="connsiteY24694"/>
              </a:cxn>
              <a:cxn ang="0">
                <a:pos x="connsiteX24695" y="connsiteY24695"/>
              </a:cxn>
              <a:cxn ang="0">
                <a:pos x="connsiteX24696" y="connsiteY24696"/>
              </a:cxn>
              <a:cxn ang="0">
                <a:pos x="connsiteX24697" y="connsiteY24697"/>
              </a:cxn>
              <a:cxn ang="0">
                <a:pos x="connsiteX24698" y="connsiteY24698"/>
              </a:cxn>
              <a:cxn ang="0">
                <a:pos x="connsiteX24699" y="connsiteY24699"/>
              </a:cxn>
              <a:cxn ang="0">
                <a:pos x="connsiteX24700" y="connsiteY24700"/>
              </a:cxn>
              <a:cxn ang="0">
                <a:pos x="connsiteX24701" y="connsiteY24701"/>
              </a:cxn>
              <a:cxn ang="0">
                <a:pos x="connsiteX24702" y="connsiteY24702"/>
              </a:cxn>
              <a:cxn ang="0">
                <a:pos x="connsiteX24703" y="connsiteY24703"/>
              </a:cxn>
              <a:cxn ang="0">
                <a:pos x="connsiteX24704" y="connsiteY24704"/>
              </a:cxn>
              <a:cxn ang="0">
                <a:pos x="connsiteX24705" y="connsiteY24705"/>
              </a:cxn>
              <a:cxn ang="0">
                <a:pos x="connsiteX24706" y="connsiteY24706"/>
              </a:cxn>
              <a:cxn ang="0">
                <a:pos x="connsiteX24707" y="connsiteY24707"/>
              </a:cxn>
              <a:cxn ang="0">
                <a:pos x="connsiteX24708" y="connsiteY24708"/>
              </a:cxn>
              <a:cxn ang="0">
                <a:pos x="connsiteX24709" y="connsiteY24709"/>
              </a:cxn>
              <a:cxn ang="0">
                <a:pos x="connsiteX24710" y="connsiteY24710"/>
              </a:cxn>
              <a:cxn ang="0">
                <a:pos x="connsiteX24711" y="connsiteY24711"/>
              </a:cxn>
              <a:cxn ang="0">
                <a:pos x="connsiteX24712" y="connsiteY24712"/>
              </a:cxn>
              <a:cxn ang="0">
                <a:pos x="connsiteX24713" y="connsiteY24713"/>
              </a:cxn>
              <a:cxn ang="0">
                <a:pos x="connsiteX24714" y="connsiteY24714"/>
              </a:cxn>
              <a:cxn ang="0">
                <a:pos x="connsiteX24715" y="connsiteY24715"/>
              </a:cxn>
              <a:cxn ang="0">
                <a:pos x="connsiteX24716" y="connsiteY24716"/>
              </a:cxn>
              <a:cxn ang="0">
                <a:pos x="connsiteX24717" y="connsiteY24717"/>
              </a:cxn>
              <a:cxn ang="0">
                <a:pos x="connsiteX24718" y="connsiteY24718"/>
              </a:cxn>
              <a:cxn ang="0">
                <a:pos x="connsiteX24719" y="connsiteY24719"/>
              </a:cxn>
              <a:cxn ang="0">
                <a:pos x="connsiteX24720" y="connsiteY24720"/>
              </a:cxn>
              <a:cxn ang="0">
                <a:pos x="connsiteX24721" y="connsiteY24721"/>
              </a:cxn>
              <a:cxn ang="0">
                <a:pos x="connsiteX24722" y="connsiteY24722"/>
              </a:cxn>
              <a:cxn ang="0">
                <a:pos x="connsiteX24723" y="connsiteY24723"/>
              </a:cxn>
              <a:cxn ang="0">
                <a:pos x="connsiteX24724" y="connsiteY24724"/>
              </a:cxn>
              <a:cxn ang="0">
                <a:pos x="connsiteX24725" y="connsiteY24725"/>
              </a:cxn>
              <a:cxn ang="0">
                <a:pos x="connsiteX24726" y="connsiteY24726"/>
              </a:cxn>
              <a:cxn ang="0">
                <a:pos x="connsiteX24727" y="connsiteY24727"/>
              </a:cxn>
              <a:cxn ang="0">
                <a:pos x="connsiteX24728" y="connsiteY24728"/>
              </a:cxn>
              <a:cxn ang="0">
                <a:pos x="connsiteX24729" y="connsiteY24729"/>
              </a:cxn>
              <a:cxn ang="0">
                <a:pos x="connsiteX24730" y="connsiteY24730"/>
              </a:cxn>
              <a:cxn ang="0">
                <a:pos x="connsiteX24731" y="connsiteY24731"/>
              </a:cxn>
              <a:cxn ang="0">
                <a:pos x="connsiteX24732" y="connsiteY24732"/>
              </a:cxn>
              <a:cxn ang="0">
                <a:pos x="connsiteX24733" y="connsiteY24733"/>
              </a:cxn>
              <a:cxn ang="0">
                <a:pos x="connsiteX24734" y="connsiteY24734"/>
              </a:cxn>
              <a:cxn ang="0">
                <a:pos x="connsiteX24735" y="connsiteY24735"/>
              </a:cxn>
              <a:cxn ang="0">
                <a:pos x="connsiteX24736" y="connsiteY24736"/>
              </a:cxn>
              <a:cxn ang="0">
                <a:pos x="connsiteX24737" y="connsiteY24737"/>
              </a:cxn>
              <a:cxn ang="0">
                <a:pos x="connsiteX24738" y="connsiteY24738"/>
              </a:cxn>
              <a:cxn ang="0">
                <a:pos x="connsiteX24739" y="connsiteY24739"/>
              </a:cxn>
              <a:cxn ang="0">
                <a:pos x="connsiteX24740" y="connsiteY24740"/>
              </a:cxn>
              <a:cxn ang="0">
                <a:pos x="connsiteX24741" y="connsiteY24741"/>
              </a:cxn>
              <a:cxn ang="0">
                <a:pos x="connsiteX24742" y="connsiteY24742"/>
              </a:cxn>
              <a:cxn ang="0">
                <a:pos x="connsiteX24743" y="connsiteY24743"/>
              </a:cxn>
              <a:cxn ang="0">
                <a:pos x="connsiteX24744" y="connsiteY24744"/>
              </a:cxn>
              <a:cxn ang="0">
                <a:pos x="connsiteX24745" y="connsiteY24745"/>
              </a:cxn>
              <a:cxn ang="0">
                <a:pos x="connsiteX24746" y="connsiteY24746"/>
              </a:cxn>
              <a:cxn ang="0">
                <a:pos x="connsiteX24747" y="connsiteY24747"/>
              </a:cxn>
              <a:cxn ang="0">
                <a:pos x="connsiteX24748" y="connsiteY24748"/>
              </a:cxn>
              <a:cxn ang="0">
                <a:pos x="connsiteX24749" y="connsiteY24749"/>
              </a:cxn>
              <a:cxn ang="0">
                <a:pos x="connsiteX24750" y="connsiteY24750"/>
              </a:cxn>
              <a:cxn ang="0">
                <a:pos x="connsiteX24751" y="connsiteY24751"/>
              </a:cxn>
              <a:cxn ang="0">
                <a:pos x="connsiteX24752" y="connsiteY24752"/>
              </a:cxn>
              <a:cxn ang="0">
                <a:pos x="connsiteX24753" y="connsiteY24753"/>
              </a:cxn>
              <a:cxn ang="0">
                <a:pos x="connsiteX24754" y="connsiteY24754"/>
              </a:cxn>
              <a:cxn ang="0">
                <a:pos x="connsiteX24755" y="connsiteY24755"/>
              </a:cxn>
              <a:cxn ang="0">
                <a:pos x="connsiteX24756" y="connsiteY24756"/>
              </a:cxn>
              <a:cxn ang="0">
                <a:pos x="connsiteX24757" y="connsiteY24757"/>
              </a:cxn>
              <a:cxn ang="0">
                <a:pos x="connsiteX24758" y="connsiteY24758"/>
              </a:cxn>
              <a:cxn ang="0">
                <a:pos x="connsiteX24759" y="connsiteY24759"/>
              </a:cxn>
              <a:cxn ang="0">
                <a:pos x="connsiteX24760" y="connsiteY24760"/>
              </a:cxn>
              <a:cxn ang="0">
                <a:pos x="connsiteX24761" y="connsiteY24761"/>
              </a:cxn>
              <a:cxn ang="0">
                <a:pos x="connsiteX24762" y="connsiteY24762"/>
              </a:cxn>
              <a:cxn ang="0">
                <a:pos x="connsiteX24763" y="connsiteY24763"/>
              </a:cxn>
              <a:cxn ang="0">
                <a:pos x="connsiteX24764" y="connsiteY24764"/>
              </a:cxn>
              <a:cxn ang="0">
                <a:pos x="connsiteX24765" y="connsiteY24765"/>
              </a:cxn>
              <a:cxn ang="0">
                <a:pos x="connsiteX24766" y="connsiteY24766"/>
              </a:cxn>
              <a:cxn ang="0">
                <a:pos x="connsiteX24767" y="connsiteY24767"/>
              </a:cxn>
              <a:cxn ang="0">
                <a:pos x="connsiteX24768" y="connsiteY24768"/>
              </a:cxn>
              <a:cxn ang="0">
                <a:pos x="connsiteX24769" y="connsiteY24769"/>
              </a:cxn>
              <a:cxn ang="0">
                <a:pos x="connsiteX24770" y="connsiteY24770"/>
              </a:cxn>
              <a:cxn ang="0">
                <a:pos x="connsiteX24771" y="connsiteY24771"/>
              </a:cxn>
              <a:cxn ang="0">
                <a:pos x="connsiteX24772" y="connsiteY24772"/>
              </a:cxn>
              <a:cxn ang="0">
                <a:pos x="connsiteX24773" y="connsiteY24773"/>
              </a:cxn>
              <a:cxn ang="0">
                <a:pos x="connsiteX24774" y="connsiteY24774"/>
              </a:cxn>
              <a:cxn ang="0">
                <a:pos x="connsiteX24775" y="connsiteY24775"/>
              </a:cxn>
              <a:cxn ang="0">
                <a:pos x="connsiteX24776" y="connsiteY24776"/>
              </a:cxn>
              <a:cxn ang="0">
                <a:pos x="connsiteX24777" y="connsiteY24777"/>
              </a:cxn>
              <a:cxn ang="0">
                <a:pos x="connsiteX24778" y="connsiteY24778"/>
              </a:cxn>
              <a:cxn ang="0">
                <a:pos x="connsiteX24779" y="connsiteY24779"/>
              </a:cxn>
              <a:cxn ang="0">
                <a:pos x="connsiteX24780" y="connsiteY24780"/>
              </a:cxn>
              <a:cxn ang="0">
                <a:pos x="connsiteX24781" y="connsiteY24781"/>
              </a:cxn>
              <a:cxn ang="0">
                <a:pos x="connsiteX24782" y="connsiteY24782"/>
              </a:cxn>
              <a:cxn ang="0">
                <a:pos x="connsiteX24783" y="connsiteY24783"/>
              </a:cxn>
              <a:cxn ang="0">
                <a:pos x="connsiteX24784" y="connsiteY24784"/>
              </a:cxn>
              <a:cxn ang="0">
                <a:pos x="connsiteX24785" y="connsiteY24785"/>
              </a:cxn>
              <a:cxn ang="0">
                <a:pos x="connsiteX24786" y="connsiteY24786"/>
              </a:cxn>
              <a:cxn ang="0">
                <a:pos x="connsiteX24787" y="connsiteY24787"/>
              </a:cxn>
              <a:cxn ang="0">
                <a:pos x="connsiteX24788" y="connsiteY24788"/>
              </a:cxn>
              <a:cxn ang="0">
                <a:pos x="connsiteX24789" y="connsiteY24789"/>
              </a:cxn>
              <a:cxn ang="0">
                <a:pos x="connsiteX24790" y="connsiteY24790"/>
              </a:cxn>
              <a:cxn ang="0">
                <a:pos x="connsiteX24791" y="connsiteY24791"/>
              </a:cxn>
              <a:cxn ang="0">
                <a:pos x="connsiteX24792" y="connsiteY24792"/>
              </a:cxn>
              <a:cxn ang="0">
                <a:pos x="connsiteX24793" y="connsiteY24793"/>
              </a:cxn>
              <a:cxn ang="0">
                <a:pos x="connsiteX24794" y="connsiteY24794"/>
              </a:cxn>
              <a:cxn ang="0">
                <a:pos x="connsiteX24795" y="connsiteY24795"/>
              </a:cxn>
              <a:cxn ang="0">
                <a:pos x="connsiteX24796" y="connsiteY24796"/>
              </a:cxn>
              <a:cxn ang="0">
                <a:pos x="connsiteX24797" y="connsiteY24797"/>
              </a:cxn>
              <a:cxn ang="0">
                <a:pos x="connsiteX24798" y="connsiteY24798"/>
              </a:cxn>
              <a:cxn ang="0">
                <a:pos x="connsiteX24799" y="connsiteY24799"/>
              </a:cxn>
              <a:cxn ang="0">
                <a:pos x="connsiteX24800" y="connsiteY24800"/>
              </a:cxn>
              <a:cxn ang="0">
                <a:pos x="connsiteX24801" y="connsiteY24801"/>
              </a:cxn>
              <a:cxn ang="0">
                <a:pos x="connsiteX24802" y="connsiteY24802"/>
              </a:cxn>
              <a:cxn ang="0">
                <a:pos x="connsiteX24803" y="connsiteY24803"/>
              </a:cxn>
              <a:cxn ang="0">
                <a:pos x="connsiteX24804" y="connsiteY24804"/>
              </a:cxn>
              <a:cxn ang="0">
                <a:pos x="connsiteX24805" y="connsiteY24805"/>
              </a:cxn>
              <a:cxn ang="0">
                <a:pos x="connsiteX24806" y="connsiteY24806"/>
              </a:cxn>
              <a:cxn ang="0">
                <a:pos x="connsiteX24807" y="connsiteY24807"/>
              </a:cxn>
              <a:cxn ang="0">
                <a:pos x="connsiteX24808" y="connsiteY24808"/>
              </a:cxn>
              <a:cxn ang="0">
                <a:pos x="connsiteX24809" y="connsiteY24809"/>
              </a:cxn>
              <a:cxn ang="0">
                <a:pos x="connsiteX24810" y="connsiteY24810"/>
              </a:cxn>
              <a:cxn ang="0">
                <a:pos x="connsiteX24811" y="connsiteY24811"/>
              </a:cxn>
              <a:cxn ang="0">
                <a:pos x="connsiteX24812" y="connsiteY24812"/>
              </a:cxn>
              <a:cxn ang="0">
                <a:pos x="connsiteX24813" y="connsiteY24813"/>
              </a:cxn>
              <a:cxn ang="0">
                <a:pos x="connsiteX24814" y="connsiteY24814"/>
              </a:cxn>
              <a:cxn ang="0">
                <a:pos x="connsiteX24815" y="connsiteY24815"/>
              </a:cxn>
              <a:cxn ang="0">
                <a:pos x="connsiteX24816" y="connsiteY24816"/>
              </a:cxn>
              <a:cxn ang="0">
                <a:pos x="connsiteX24817" y="connsiteY24817"/>
              </a:cxn>
              <a:cxn ang="0">
                <a:pos x="connsiteX24818" y="connsiteY24818"/>
              </a:cxn>
              <a:cxn ang="0">
                <a:pos x="connsiteX24819" y="connsiteY24819"/>
              </a:cxn>
              <a:cxn ang="0">
                <a:pos x="connsiteX24820" y="connsiteY24820"/>
              </a:cxn>
              <a:cxn ang="0">
                <a:pos x="connsiteX24821" y="connsiteY24821"/>
              </a:cxn>
              <a:cxn ang="0">
                <a:pos x="connsiteX24822" y="connsiteY24822"/>
              </a:cxn>
              <a:cxn ang="0">
                <a:pos x="connsiteX24823" y="connsiteY24823"/>
              </a:cxn>
              <a:cxn ang="0">
                <a:pos x="connsiteX24824" y="connsiteY24824"/>
              </a:cxn>
              <a:cxn ang="0">
                <a:pos x="connsiteX24825" y="connsiteY24825"/>
              </a:cxn>
              <a:cxn ang="0">
                <a:pos x="connsiteX24826" y="connsiteY24826"/>
              </a:cxn>
              <a:cxn ang="0">
                <a:pos x="connsiteX24827" y="connsiteY24827"/>
              </a:cxn>
              <a:cxn ang="0">
                <a:pos x="connsiteX24828" y="connsiteY24828"/>
              </a:cxn>
              <a:cxn ang="0">
                <a:pos x="connsiteX24829" y="connsiteY24829"/>
              </a:cxn>
              <a:cxn ang="0">
                <a:pos x="connsiteX24830" y="connsiteY24830"/>
              </a:cxn>
              <a:cxn ang="0">
                <a:pos x="connsiteX24831" y="connsiteY24831"/>
              </a:cxn>
              <a:cxn ang="0">
                <a:pos x="connsiteX24832" y="connsiteY24832"/>
              </a:cxn>
              <a:cxn ang="0">
                <a:pos x="connsiteX24833" y="connsiteY24833"/>
              </a:cxn>
              <a:cxn ang="0">
                <a:pos x="connsiteX24834" y="connsiteY24834"/>
              </a:cxn>
              <a:cxn ang="0">
                <a:pos x="connsiteX24835" y="connsiteY24835"/>
              </a:cxn>
              <a:cxn ang="0">
                <a:pos x="connsiteX24836" y="connsiteY24836"/>
              </a:cxn>
              <a:cxn ang="0">
                <a:pos x="connsiteX24837" y="connsiteY24837"/>
              </a:cxn>
              <a:cxn ang="0">
                <a:pos x="connsiteX24838" y="connsiteY24838"/>
              </a:cxn>
              <a:cxn ang="0">
                <a:pos x="connsiteX24839" y="connsiteY24839"/>
              </a:cxn>
              <a:cxn ang="0">
                <a:pos x="connsiteX24840" y="connsiteY24840"/>
              </a:cxn>
              <a:cxn ang="0">
                <a:pos x="connsiteX24841" y="connsiteY24841"/>
              </a:cxn>
              <a:cxn ang="0">
                <a:pos x="connsiteX24842" y="connsiteY24842"/>
              </a:cxn>
              <a:cxn ang="0">
                <a:pos x="connsiteX24843" y="connsiteY24843"/>
              </a:cxn>
              <a:cxn ang="0">
                <a:pos x="connsiteX24844" y="connsiteY24844"/>
              </a:cxn>
              <a:cxn ang="0">
                <a:pos x="connsiteX24845" y="connsiteY24845"/>
              </a:cxn>
              <a:cxn ang="0">
                <a:pos x="connsiteX24846" y="connsiteY24846"/>
              </a:cxn>
              <a:cxn ang="0">
                <a:pos x="connsiteX24847" y="connsiteY24847"/>
              </a:cxn>
              <a:cxn ang="0">
                <a:pos x="connsiteX24848" y="connsiteY24848"/>
              </a:cxn>
              <a:cxn ang="0">
                <a:pos x="connsiteX24849" y="connsiteY24849"/>
              </a:cxn>
              <a:cxn ang="0">
                <a:pos x="connsiteX24850" y="connsiteY24850"/>
              </a:cxn>
              <a:cxn ang="0">
                <a:pos x="connsiteX24851" y="connsiteY24851"/>
              </a:cxn>
              <a:cxn ang="0">
                <a:pos x="connsiteX24852" y="connsiteY24852"/>
              </a:cxn>
              <a:cxn ang="0">
                <a:pos x="connsiteX24853" y="connsiteY24853"/>
              </a:cxn>
              <a:cxn ang="0">
                <a:pos x="connsiteX24854" y="connsiteY24854"/>
              </a:cxn>
              <a:cxn ang="0">
                <a:pos x="connsiteX24855" y="connsiteY24855"/>
              </a:cxn>
              <a:cxn ang="0">
                <a:pos x="connsiteX24856" y="connsiteY24856"/>
              </a:cxn>
              <a:cxn ang="0">
                <a:pos x="connsiteX24857" y="connsiteY24857"/>
              </a:cxn>
              <a:cxn ang="0">
                <a:pos x="connsiteX24858" y="connsiteY24858"/>
              </a:cxn>
              <a:cxn ang="0">
                <a:pos x="connsiteX24859" y="connsiteY24859"/>
              </a:cxn>
              <a:cxn ang="0">
                <a:pos x="connsiteX24860" y="connsiteY24860"/>
              </a:cxn>
              <a:cxn ang="0">
                <a:pos x="connsiteX24861" y="connsiteY24861"/>
              </a:cxn>
              <a:cxn ang="0">
                <a:pos x="connsiteX24862" y="connsiteY24862"/>
              </a:cxn>
              <a:cxn ang="0">
                <a:pos x="connsiteX24863" y="connsiteY24863"/>
              </a:cxn>
              <a:cxn ang="0">
                <a:pos x="connsiteX24864" y="connsiteY24864"/>
              </a:cxn>
              <a:cxn ang="0">
                <a:pos x="connsiteX24865" y="connsiteY24865"/>
              </a:cxn>
              <a:cxn ang="0">
                <a:pos x="connsiteX24866" y="connsiteY24866"/>
              </a:cxn>
              <a:cxn ang="0">
                <a:pos x="connsiteX24867" y="connsiteY24867"/>
              </a:cxn>
              <a:cxn ang="0">
                <a:pos x="connsiteX24868" y="connsiteY24868"/>
              </a:cxn>
              <a:cxn ang="0">
                <a:pos x="connsiteX24869" y="connsiteY24869"/>
              </a:cxn>
              <a:cxn ang="0">
                <a:pos x="connsiteX24870" y="connsiteY24870"/>
              </a:cxn>
              <a:cxn ang="0">
                <a:pos x="connsiteX24871" y="connsiteY24871"/>
              </a:cxn>
              <a:cxn ang="0">
                <a:pos x="connsiteX24872" y="connsiteY24872"/>
              </a:cxn>
              <a:cxn ang="0">
                <a:pos x="connsiteX24873" y="connsiteY24873"/>
              </a:cxn>
              <a:cxn ang="0">
                <a:pos x="connsiteX24874" y="connsiteY24874"/>
              </a:cxn>
              <a:cxn ang="0">
                <a:pos x="connsiteX24875" y="connsiteY24875"/>
              </a:cxn>
              <a:cxn ang="0">
                <a:pos x="connsiteX24876" y="connsiteY24876"/>
              </a:cxn>
              <a:cxn ang="0">
                <a:pos x="connsiteX24877" y="connsiteY24877"/>
              </a:cxn>
              <a:cxn ang="0">
                <a:pos x="connsiteX24878" y="connsiteY24878"/>
              </a:cxn>
              <a:cxn ang="0">
                <a:pos x="connsiteX24879" y="connsiteY24879"/>
              </a:cxn>
              <a:cxn ang="0">
                <a:pos x="connsiteX24880" y="connsiteY24880"/>
              </a:cxn>
              <a:cxn ang="0">
                <a:pos x="connsiteX24881" y="connsiteY24881"/>
              </a:cxn>
              <a:cxn ang="0">
                <a:pos x="connsiteX24882" y="connsiteY24882"/>
              </a:cxn>
              <a:cxn ang="0">
                <a:pos x="connsiteX24883" y="connsiteY24883"/>
              </a:cxn>
              <a:cxn ang="0">
                <a:pos x="connsiteX24884" y="connsiteY24884"/>
              </a:cxn>
              <a:cxn ang="0">
                <a:pos x="connsiteX24885" y="connsiteY24885"/>
              </a:cxn>
              <a:cxn ang="0">
                <a:pos x="connsiteX24886" y="connsiteY24886"/>
              </a:cxn>
              <a:cxn ang="0">
                <a:pos x="connsiteX24887" y="connsiteY24887"/>
              </a:cxn>
              <a:cxn ang="0">
                <a:pos x="connsiteX24888" y="connsiteY24888"/>
              </a:cxn>
              <a:cxn ang="0">
                <a:pos x="connsiteX24889" y="connsiteY24889"/>
              </a:cxn>
              <a:cxn ang="0">
                <a:pos x="connsiteX24890" y="connsiteY24890"/>
              </a:cxn>
              <a:cxn ang="0">
                <a:pos x="connsiteX24891" y="connsiteY24891"/>
              </a:cxn>
              <a:cxn ang="0">
                <a:pos x="connsiteX24892" y="connsiteY24892"/>
              </a:cxn>
              <a:cxn ang="0">
                <a:pos x="connsiteX24893" y="connsiteY24893"/>
              </a:cxn>
              <a:cxn ang="0">
                <a:pos x="connsiteX24894" y="connsiteY24894"/>
              </a:cxn>
              <a:cxn ang="0">
                <a:pos x="connsiteX24895" y="connsiteY24895"/>
              </a:cxn>
              <a:cxn ang="0">
                <a:pos x="connsiteX24896" y="connsiteY24896"/>
              </a:cxn>
              <a:cxn ang="0">
                <a:pos x="connsiteX24897" y="connsiteY24897"/>
              </a:cxn>
              <a:cxn ang="0">
                <a:pos x="connsiteX24898" y="connsiteY24898"/>
              </a:cxn>
              <a:cxn ang="0">
                <a:pos x="connsiteX24899" y="connsiteY24899"/>
              </a:cxn>
              <a:cxn ang="0">
                <a:pos x="connsiteX24900" y="connsiteY24900"/>
              </a:cxn>
              <a:cxn ang="0">
                <a:pos x="connsiteX24901" y="connsiteY24901"/>
              </a:cxn>
              <a:cxn ang="0">
                <a:pos x="connsiteX24902" y="connsiteY24902"/>
              </a:cxn>
              <a:cxn ang="0">
                <a:pos x="connsiteX24903" y="connsiteY24903"/>
              </a:cxn>
              <a:cxn ang="0">
                <a:pos x="connsiteX24904" y="connsiteY24904"/>
              </a:cxn>
              <a:cxn ang="0">
                <a:pos x="connsiteX24905" y="connsiteY24905"/>
              </a:cxn>
              <a:cxn ang="0">
                <a:pos x="connsiteX24906" y="connsiteY24906"/>
              </a:cxn>
              <a:cxn ang="0">
                <a:pos x="connsiteX24907" y="connsiteY24907"/>
              </a:cxn>
              <a:cxn ang="0">
                <a:pos x="connsiteX24908" y="connsiteY24908"/>
              </a:cxn>
              <a:cxn ang="0">
                <a:pos x="connsiteX24909" y="connsiteY24909"/>
              </a:cxn>
              <a:cxn ang="0">
                <a:pos x="connsiteX24910" y="connsiteY24910"/>
              </a:cxn>
              <a:cxn ang="0">
                <a:pos x="connsiteX24911" y="connsiteY24911"/>
              </a:cxn>
              <a:cxn ang="0">
                <a:pos x="connsiteX24912" y="connsiteY24912"/>
              </a:cxn>
              <a:cxn ang="0">
                <a:pos x="connsiteX24913" y="connsiteY24913"/>
              </a:cxn>
              <a:cxn ang="0">
                <a:pos x="connsiteX24914" y="connsiteY24914"/>
              </a:cxn>
              <a:cxn ang="0">
                <a:pos x="connsiteX24915" y="connsiteY24915"/>
              </a:cxn>
              <a:cxn ang="0">
                <a:pos x="connsiteX24916" y="connsiteY24916"/>
              </a:cxn>
              <a:cxn ang="0">
                <a:pos x="connsiteX24917" y="connsiteY24917"/>
              </a:cxn>
              <a:cxn ang="0">
                <a:pos x="connsiteX24918" y="connsiteY24918"/>
              </a:cxn>
              <a:cxn ang="0">
                <a:pos x="connsiteX24919" y="connsiteY24919"/>
              </a:cxn>
              <a:cxn ang="0">
                <a:pos x="connsiteX24920" y="connsiteY24920"/>
              </a:cxn>
              <a:cxn ang="0">
                <a:pos x="connsiteX24921" y="connsiteY24921"/>
              </a:cxn>
              <a:cxn ang="0">
                <a:pos x="connsiteX24922" y="connsiteY24922"/>
              </a:cxn>
              <a:cxn ang="0">
                <a:pos x="connsiteX24923" y="connsiteY24923"/>
              </a:cxn>
              <a:cxn ang="0">
                <a:pos x="connsiteX24924" y="connsiteY24924"/>
              </a:cxn>
              <a:cxn ang="0">
                <a:pos x="connsiteX24925" y="connsiteY24925"/>
              </a:cxn>
              <a:cxn ang="0">
                <a:pos x="connsiteX24926" y="connsiteY24926"/>
              </a:cxn>
              <a:cxn ang="0">
                <a:pos x="connsiteX24927" y="connsiteY24927"/>
              </a:cxn>
              <a:cxn ang="0">
                <a:pos x="connsiteX24928" y="connsiteY24928"/>
              </a:cxn>
              <a:cxn ang="0">
                <a:pos x="connsiteX24929" y="connsiteY24929"/>
              </a:cxn>
              <a:cxn ang="0">
                <a:pos x="connsiteX24930" y="connsiteY24930"/>
              </a:cxn>
              <a:cxn ang="0">
                <a:pos x="connsiteX24931" y="connsiteY24931"/>
              </a:cxn>
              <a:cxn ang="0">
                <a:pos x="connsiteX24932" y="connsiteY24932"/>
              </a:cxn>
              <a:cxn ang="0">
                <a:pos x="connsiteX24933" y="connsiteY24933"/>
              </a:cxn>
              <a:cxn ang="0">
                <a:pos x="connsiteX24934" y="connsiteY24934"/>
              </a:cxn>
              <a:cxn ang="0">
                <a:pos x="connsiteX24935" y="connsiteY24935"/>
              </a:cxn>
              <a:cxn ang="0">
                <a:pos x="connsiteX24936" y="connsiteY24936"/>
              </a:cxn>
              <a:cxn ang="0">
                <a:pos x="connsiteX24937" y="connsiteY24937"/>
              </a:cxn>
              <a:cxn ang="0">
                <a:pos x="connsiteX24938" y="connsiteY24938"/>
              </a:cxn>
              <a:cxn ang="0">
                <a:pos x="connsiteX24939" y="connsiteY24939"/>
              </a:cxn>
              <a:cxn ang="0">
                <a:pos x="connsiteX24940" y="connsiteY24940"/>
              </a:cxn>
              <a:cxn ang="0">
                <a:pos x="connsiteX24941" y="connsiteY24941"/>
              </a:cxn>
              <a:cxn ang="0">
                <a:pos x="connsiteX24942" y="connsiteY24942"/>
              </a:cxn>
              <a:cxn ang="0">
                <a:pos x="connsiteX24943" y="connsiteY24943"/>
              </a:cxn>
              <a:cxn ang="0">
                <a:pos x="connsiteX24944" y="connsiteY24944"/>
              </a:cxn>
              <a:cxn ang="0">
                <a:pos x="connsiteX24945" y="connsiteY24945"/>
              </a:cxn>
              <a:cxn ang="0">
                <a:pos x="connsiteX24946" y="connsiteY24946"/>
              </a:cxn>
              <a:cxn ang="0">
                <a:pos x="connsiteX24947" y="connsiteY24947"/>
              </a:cxn>
              <a:cxn ang="0">
                <a:pos x="connsiteX24948" y="connsiteY24948"/>
              </a:cxn>
              <a:cxn ang="0">
                <a:pos x="connsiteX24949" y="connsiteY24949"/>
              </a:cxn>
              <a:cxn ang="0">
                <a:pos x="connsiteX24950" y="connsiteY24950"/>
              </a:cxn>
              <a:cxn ang="0">
                <a:pos x="connsiteX24951" y="connsiteY24951"/>
              </a:cxn>
              <a:cxn ang="0">
                <a:pos x="connsiteX24952" y="connsiteY24952"/>
              </a:cxn>
              <a:cxn ang="0">
                <a:pos x="connsiteX24953" y="connsiteY24953"/>
              </a:cxn>
              <a:cxn ang="0">
                <a:pos x="connsiteX24954" y="connsiteY24954"/>
              </a:cxn>
              <a:cxn ang="0">
                <a:pos x="connsiteX24955" y="connsiteY24955"/>
              </a:cxn>
              <a:cxn ang="0">
                <a:pos x="connsiteX24956" y="connsiteY24956"/>
              </a:cxn>
              <a:cxn ang="0">
                <a:pos x="connsiteX24957" y="connsiteY24957"/>
              </a:cxn>
              <a:cxn ang="0">
                <a:pos x="connsiteX24958" y="connsiteY24958"/>
              </a:cxn>
              <a:cxn ang="0">
                <a:pos x="connsiteX24959" y="connsiteY24959"/>
              </a:cxn>
              <a:cxn ang="0">
                <a:pos x="connsiteX24960" y="connsiteY24960"/>
              </a:cxn>
              <a:cxn ang="0">
                <a:pos x="connsiteX24961" y="connsiteY24961"/>
              </a:cxn>
              <a:cxn ang="0">
                <a:pos x="connsiteX24962" y="connsiteY24962"/>
              </a:cxn>
              <a:cxn ang="0">
                <a:pos x="connsiteX24963" y="connsiteY24963"/>
              </a:cxn>
              <a:cxn ang="0">
                <a:pos x="connsiteX24964" y="connsiteY24964"/>
              </a:cxn>
              <a:cxn ang="0">
                <a:pos x="connsiteX24965" y="connsiteY24965"/>
              </a:cxn>
              <a:cxn ang="0">
                <a:pos x="connsiteX24966" y="connsiteY24966"/>
              </a:cxn>
              <a:cxn ang="0">
                <a:pos x="connsiteX24967" y="connsiteY24967"/>
              </a:cxn>
              <a:cxn ang="0">
                <a:pos x="connsiteX24968" y="connsiteY24968"/>
              </a:cxn>
              <a:cxn ang="0">
                <a:pos x="connsiteX24969" y="connsiteY24969"/>
              </a:cxn>
              <a:cxn ang="0">
                <a:pos x="connsiteX24970" y="connsiteY24970"/>
              </a:cxn>
              <a:cxn ang="0">
                <a:pos x="connsiteX24971" y="connsiteY24971"/>
              </a:cxn>
              <a:cxn ang="0">
                <a:pos x="connsiteX24972" y="connsiteY24972"/>
              </a:cxn>
              <a:cxn ang="0">
                <a:pos x="connsiteX24973" y="connsiteY24973"/>
              </a:cxn>
              <a:cxn ang="0">
                <a:pos x="connsiteX24974" y="connsiteY24974"/>
              </a:cxn>
              <a:cxn ang="0">
                <a:pos x="connsiteX24975" y="connsiteY24975"/>
              </a:cxn>
              <a:cxn ang="0">
                <a:pos x="connsiteX24976" y="connsiteY24976"/>
              </a:cxn>
              <a:cxn ang="0">
                <a:pos x="connsiteX24977" y="connsiteY24977"/>
              </a:cxn>
              <a:cxn ang="0">
                <a:pos x="connsiteX24978" y="connsiteY24978"/>
              </a:cxn>
              <a:cxn ang="0">
                <a:pos x="connsiteX24979" y="connsiteY24979"/>
              </a:cxn>
              <a:cxn ang="0">
                <a:pos x="connsiteX24980" y="connsiteY24980"/>
              </a:cxn>
              <a:cxn ang="0">
                <a:pos x="connsiteX24981" y="connsiteY24981"/>
              </a:cxn>
              <a:cxn ang="0">
                <a:pos x="connsiteX24982" y="connsiteY24982"/>
              </a:cxn>
              <a:cxn ang="0">
                <a:pos x="connsiteX24983" y="connsiteY24983"/>
              </a:cxn>
              <a:cxn ang="0">
                <a:pos x="connsiteX24984" y="connsiteY24984"/>
              </a:cxn>
              <a:cxn ang="0">
                <a:pos x="connsiteX24985" y="connsiteY24985"/>
              </a:cxn>
              <a:cxn ang="0">
                <a:pos x="connsiteX24986" y="connsiteY24986"/>
              </a:cxn>
              <a:cxn ang="0">
                <a:pos x="connsiteX24987" y="connsiteY24987"/>
              </a:cxn>
              <a:cxn ang="0">
                <a:pos x="connsiteX24988" y="connsiteY24988"/>
              </a:cxn>
              <a:cxn ang="0">
                <a:pos x="connsiteX24989" y="connsiteY24989"/>
              </a:cxn>
              <a:cxn ang="0">
                <a:pos x="connsiteX24990" y="connsiteY24990"/>
              </a:cxn>
              <a:cxn ang="0">
                <a:pos x="connsiteX24991" y="connsiteY24991"/>
              </a:cxn>
              <a:cxn ang="0">
                <a:pos x="connsiteX24992" y="connsiteY24992"/>
              </a:cxn>
              <a:cxn ang="0">
                <a:pos x="connsiteX24993" y="connsiteY24993"/>
              </a:cxn>
              <a:cxn ang="0">
                <a:pos x="connsiteX24994" y="connsiteY24994"/>
              </a:cxn>
              <a:cxn ang="0">
                <a:pos x="connsiteX24995" y="connsiteY24995"/>
              </a:cxn>
              <a:cxn ang="0">
                <a:pos x="connsiteX24996" y="connsiteY24996"/>
              </a:cxn>
              <a:cxn ang="0">
                <a:pos x="connsiteX24997" y="connsiteY24997"/>
              </a:cxn>
              <a:cxn ang="0">
                <a:pos x="connsiteX24998" y="connsiteY24998"/>
              </a:cxn>
              <a:cxn ang="0">
                <a:pos x="connsiteX24999" y="connsiteY24999"/>
              </a:cxn>
              <a:cxn ang="0">
                <a:pos x="connsiteX25000" y="connsiteY25000"/>
              </a:cxn>
              <a:cxn ang="0">
                <a:pos x="connsiteX25001" y="connsiteY25001"/>
              </a:cxn>
              <a:cxn ang="0">
                <a:pos x="connsiteX25002" y="connsiteY25002"/>
              </a:cxn>
              <a:cxn ang="0">
                <a:pos x="connsiteX25003" y="connsiteY25003"/>
              </a:cxn>
              <a:cxn ang="0">
                <a:pos x="connsiteX25004" y="connsiteY25004"/>
              </a:cxn>
              <a:cxn ang="0">
                <a:pos x="connsiteX25005" y="connsiteY25005"/>
              </a:cxn>
              <a:cxn ang="0">
                <a:pos x="connsiteX25006" y="connsiteY25006"/>
              </a:cxn>
              <a:cxn ang="0">
                <a:pos x="connsiteX25007" y="connsiteY25007"/>
              </a:cxn>
              <a:cxn ang="0">
                <a:pos x="connsiteX25008" y="connsiteY25008"/>
              </a:cxn>
              <a:cxn ang="0">
                <a:pos x="connsiteX25009" y="connsiteY25009"/>
              </a:cxn>
              <a:cxn ang="0">
                <a:pos x="connsiteX25010" y="connsiteY25010"/>
              </a:cxn>
              <a:cxn ang="0">
                <a:pos x="connsiteX25011" y="connsiteY25011"/>
              </a:cxn>
              <a:cxn ang="0">
                <a:pos x="connsiteX25012" y="connsiteY25012"/>
              </a:cxn>
              <a:cxn ang="0">
                <a:pos x="connsiteX25013" y="connsiteY25013"/>
              </a:cxn>
              <a:cxn ang="0">
                <a:pos x="connsiteX25014" y="connsiteY25014"/>
              </a:cxn>
              <a:cxn ang="0">
                <a:pos x="connsiteX25015" y="connsiteY25015"/>
              </a:cxn>
              <a:cxn ang="0">
                <a:pos x="connsiteX25016" y="connsiteY25016"/>
              </a:cxn>
              <a:cxn ang="0">
                <a:pos x="connsiteX25017" y="connsiteY25017"/>
              </a:cxn>
              <a:cxn ang="0">
                <a:pos x="connsiteX25018" y="connsiteY25018"/>
              </a:cxn>
              <a:cxn ang="0">
                <a:pos x="connsiteX25019" y="connsiteY25019"/>
              </a:cxn>
              <a:cxn ang="0">
                <a:pos x="connsiteX25020" y="connsiteY25020"/>
              </a:cxn>
              <a:cxn ang="0">
                <a:pos x="connsiteX25021" y="connsiteY25021"/>
              </a:cxn>
              <a:cxn ang="0">
                <a:pos x="connsiteX25022" y="connsiteY25022"/>
              </a:cxn>
              <a:cxn ang="0">
                <a:pos x="connsiteX25023" y="connsiteY25023"/>
              </a:cxn>
              <a:cxn ang="0">
                <a:pos x="connsiteX25024" y="connsiteY25024"/>
              </a:cxn>
              <a:cxn ang="0">
                <a:pos x="connsiteX25025" y="connsiteY25025"/>
              </a:cxn>
              <a:cxn ang="0">
                <a:pos x="connsiteX25026" y="connsiteY25026"/>
              </a:cxn>
              <a:cxn ang="0">
                <a:pos x="connsiteX25027" y="connsiteY25027"/>
              </a:cxn>
              <a:cxn ang="0">
                <a:pos x="connsiteX25028" y="connsiteY25028"/>
              </a:cxn>
              <a:cxn ang="0">
                <a:pos x="connsiteX25029" y="connsiteY25029"/>
              </a:cxn>
              <a:cxn ang="0">
                <a:pos x="connsiteX25030" y="connsiteY25030"/>
              </a:cxn>
              <a:cxn ang="0">
                <a:pos x="connsiteX25031" y="connsiteY25031"/>
              </a:cxn>
              <a:cxn ang="0">
                <a:pos x="connsiteX25032" y="connsiteY25032"/>
              </a:cxn>
              <a:cxn ang="0">
                <a:pos x="connsiteX25033" y="connsiteY25033"/>
              </a:cxn>
              <a:cxn ang="0">
                <a:pos x="connsiteX25034" y="connsiteY25034"/>
              </a:cxn>
              <a:cxn ang="0">
                <a:pos x="connsiteX25035" y="connsiteY25035"/>
              </a:cxn>
              <a:cxn ang="0">
                <a:pos x="connsiteX25036" y="connsiteY25036"/>
              </a:cxn>
              <a:cxn ang="0">
                <a:pos x="connsiteX25037" y="connsiteY25037"/>
              </a:cxn>
              <a:cxn ang="0">
                <a:pos x="connsiteX25038" y="connsiteY25038"/>
              </a:cxn>
              <a:cxn ang="0">
                <a:pos x="connsiteX25039" y="connsiteY25039"/>
              </a:cxn>
              <a:cxn ang="0">
                <a:pos x="connsiteX25040" y="connsiteY25040"/>
              </a:cxn>
              <a:cxn ang="0">
                <a:pos x="connsiteX25041" y="connsiteY25041"/>
              </a:cxn>
              <a:cxn ang="0">
                <a:pos x="connsiteX25042" y="connsiteY25042"/>
              </a:cxn>
              <a:cxn ang="0">
                <a:pos x="connsiteX25043" y="connsiteY25043"/>
              </a:cxn>
              <a:cxn ang="0">
                <a:pos x="connsiteX25044" y="connsiteY25044"/>
              </a:cxn>
              <a:cxn ang="0">
                <a:pos x="connsiteX25045" y="connsiteY25045"/>
              </a:cxn>
              <a:cxn ang="0">
                <a:pos x="connsiteX25046" y="connsiteY25046"/>
              </a:cxn>
              <a:cxn ang="0">
                <a:pos x="connsiteX25047" y="connsiteY25047"/>
              </a:cxn>
              <a:cxn ang="0">
                <a:pos x="connsiteX25048" y="connsiteY25048"/>
              </a:cxn>
              <a:cxn ang="0">
                <a:pos x="connsiteX25049" y="connsiteY25049"/>
              </a:cxn>
              <a:cxn ang="0">
                <a:pos x="connsiteX25050" y="connsiteY25050"/>
              </a:cxn>
              <a:cxn ang="0">
                <a:pos x="connsiteX25051" y="connsiteY25051"/>
              </a:cxn>
              <a:cxn ang="0">
                <a:pos x="connsiteX25052" y="connsiteY25052"/>
              </a:cxn>
              <a:cxn ang="0">
                <a:pos x="connsiteX25053" y="connsiteY25053"/>
              </a:cxn>
              <a:cxn ang="0">
                <a:pos x="connsiteX25054" y="connsiteY25054"/>
              </a:cxn>
              <a:cxn ang="0">
                <a:pos x="connsiteX25055" y="connsiteY25055"/>
              </a:cxn>
              <a:cxn ang="0">
                <a:pos x="connsiteX25056" y="connsiteY25056"/>
              </a:cxn>
              <a:cxn ang="0">
                <a:pos x="connsiteX25057" y="connsiteY25057"/>
              </a:cxn>
              <a:cxn ang="0">
                <a:pos x="connsiteX25058" y="connsiteY25058"/>
              </a:cxn>
              <a:cxn ang="0">
                <a:pos x="connsiteX25059" y="connsiteY25059"/>
              </a:cxn>
              <a:cxn ang="0">
                <a:pos x="connsiteX25060" y="connsiteY25060"/>
              </a:cxn>
              <a:cxn ang="0">
                <a:pos x="connsiteX25061" y="connsiteY25061"/>
              </a:cxn>
              <a:cxn ang="0">
                <a:pos x="connsiteX25062" y="connsiteY25062"/>
              </a:cxn>
              <a:cxn ang="0">
                <a:pos x="connsiteX25063" y="connsiteY25063"/>
              </a:cxn>
              <a:cxn ang="0">
                <a:pos x="connsiteX25064" y="connsiteY25064"/>
              </a:cxn>
              <a:cxn ang="0">
                <a:pos x="connsiteX25065" y="connsiteY25065"/>
              </a:cxn>
              <a:cxn ang="0">
                <a:pos x="connsiteX25066" y="connsiteY25066"/>
              </a:cxn>
              <a:cxn ang="0">
                <a:pos x="connsiteX25067" y="connsiteY25067"/>
              </a:cxn>
              <a:cxn ang="0">
                <a:pos x="connsiteX25068" y="connsiteY25068"/>
              </a:cxn>
              <a:cxn ang="0">
                <a:pos x="connsiteX25069" y="connsiteY25069"/>
              </a:cxn>
              <a:cxn ang="0">
                <a:pos x="connsiteX25070" y="connsiteY25070"/>
              </a:cxn>
              <a:cxn ang="0">
                <a:pos x="connsiteX25071" y="connsiteY25071"/>
              </a:cxn>
              <a:cxn ang="0">
                <a:pos x="connsiteX25072" y="connsiteY25072"/>
              </a:cxn>
              <a:cxn ang="0">
                <a:pos x="connsiteX25073" y="connsiteY25073"/>
              </a:cxn>
              <a:cxn ang="0">
                <a:pos x="connsiteX25074" y="connsiteY25074"/>
              </a:cxn>
              <a:cxn ang="0">
                <a:pos x="connsiteX25075" y="connsiteY25075"/>
              </a:cxn>
              <a:cxn ang="0">
                <a:pos x="connsiteX25076" y="connsiteY25076"/>
              </a:cxn>
              <a:cxn ang="0">
                <a:pos x="connsiteX25077" y="connsiteY25077"/>
              </a:cxn>
              <a:cxn ang="0">
                <a:pos x="connsiteX25078" y="connsiteY25078"/>
              </a:cxn>
              <a:cxn ang="0">
                <a:pos x="connsiteX25079" y="connsiteY25079"/>
              </a:cxn>
              <a:cxn ang="0">
                <a:pos x="connsiteX25080" y="connsiteY25080"/>
              </a:cxn>
              <a:cxn ang="0">
                <a:pos x="connsiteX25081" y="connsiteY25081"/>
              </a:cxn>
              <a:cxn ang="0">
                <a:pos x="connsiteX25082" y="connsiteY25082"/>
              </a:cxn>
              <a:cxn ang="0">
                <a:pos x="connsiteX25083" y="connsiteY25083"/>
              </a:cxn>
              <a:cxn ang="0">
                <a:pos x="connsiteX25084" y="connsiteY25084"/>
              </a:cxn>
              <a:cxn ang="0">
                <a:pos x="connsiteX25085" y="connsiteY25085"/>
              </a:cxn>
              <a:cxn ang="0">
                <a:pos x="connsiteX25086" y="connsiteY25086"/>
              </a:cxn>
              <a:cxn ang="0">
                <a:pos x="connsiteX25087" y="connsiteY25087"/>
              </a:cxn>
              <a:cxn ang="0">
                <a:pos x="connsiteX25088" y="connsiteY25088"/>
              </a:cxn>
              <a:cxn ang="0">
                <a:pos x="connsiteX25089" y="connsiteY25089"/>
              </a:cxn>
              <a:cxn ang="0">
                <a:pos x="connsiteX25090" y="connsiteY25090"/>
              </a:cxn>
              <a:cxn ang="0">
                <a:pos x="connsiteX25091" y="connsiteY25091"/>
              </a:cxn>
              <a:cxn ang="0">
                <a:pos x="connsiteX25092" y="connsiteY25092"/>
              </a:cxn>
              <a:cxn ang="0">
                <a:pos x="connsiteX25093" y="connsiteY25093"/>
              </a:cxn>
              <a:cxn ang="0">
                <a:pos x="connsiteX25094" y="connsiteY25094"/>
              </a:cxn>
              <a:cxn ang="0">
                <a:pos x="connsiteX25095" y="connsiteY25095"/>
              </a:cxn>
              <a:cxn ang="0">
                <a:pos x="connsiteX25096" y="connsiteY25096"/>
              </a:cxn>
              <a:cxn ang="0">
                <a:pos x="connsiteX25097" y="connsiteY25097"/>
              </a:cxn>
              <a:cxn ang="0">
                <a:pos x="connsiteX25098" y="connsiteY25098"/>
              </a:cxn>
              <a:cxn ang="0">
                <a:pos x="connsiteX25099" y="connsiteY25099"/>
              </a:cxn>
              <a:cxn ang="0">
                <a:pos x="connsiteX25100" y="connsiteY25100"/>
              </a:cxn>
              <a:cxn ang="0">
                <a:pos x="connsiteX25101" y="connsiteY25101"/>
              </a:cxn>
              <a:cxn ang="0">
                <a:pos x="connsiteX25102" y="connsiteY25102"/>
              </a:cxn>
              <a:cxn ang="0">
                <a:pos x="connsiteX25103" y="connsiteY25103"/>
              </a:cxn>
              <a:cxn ang="0">
                <a:pos x="connsiteX25104" y="connsiteY25104"/>
              </a:cxn>
              <a:cxn ang="0">
                <a:pos x="connsiteX25105" y="connsiteY25105"/>
              </a:cxn>
              <a:cxn ang="0">
                <a:pos x="connsiteX25106" y="connsiteY25106"/>
              </a:cxn>
              <a:cxn ang="0">
                <a:pos x="connsiteX25107" y="connsiteY25107"/>
              </a:cxn>
              <a:cxn ang="0">
                <a:pos x="connsiteX25108" y="connsiteY25108"/>
              </a:cxn>
              <a:cxn ang="0">
                <a:pos x="connsiteX25109" y="connsiteY25109"/>
              </a:cxn>
              <a:cxn ang="0">
                <a:pos x="connsiteX25110" y="connsiteY25110"/>
              </a:cxn>
              <a:cxn ang="0">
                <a:pos x="connsiteX25111" y="connsiteY25111"/>
              </a:cxn>
              <a:cxn ang="0">
                <a:pos x="connsiteX25112" y="connsiteY25112"/>
              </a:cxn>
              <a:cxn ang="0">
                <a:pos x="connsiteX25113" y="connsiteY25113"/>
              </a:cxn>
              <a:cxn ang="0">
                <a:pos x="connsiteX25114" y="connsiteY25114"/>
              </a:cxn>
              <a:cxn ang="0">
                <a:pos x="connsiteX25115" y="connsiteY25115"/>
              </a:cxn>
              <a:cxn ang="0">
                <a:pos x="connsiteX25116" y="connsiteY25116"/>
              </a:cxn>
              <a:cxn ang="0">
                <a:pos x="connsiteX25117" y="connsiteY25117"/>
              </a:cxn>
              <a:cxn ang="0">
                <a:pos x="connsiteX25118" y="connsiteY25118"/>
              </a:cxn>
              <a:cxn ang="0">
                <a:pos x="connsiteX25119" y="connsiteY25119"/>
              </a:cxn>
              <a:cxn ang="0">
                <a:pos x="connsiteX25120" y="connsiteY25120"/>
              </a:cxn>
              <a:cxn ang="0">
                <a:pos x="connsiteX25121" y="connsiteY25121"/>
              </a:cxn>
              <a:cxn ang="0">
                <a:pos x="connsiteX25122" y="connsiteY25122"/>
              </a:cxn>
              <a:cxn ang="0">
                <a:pos x="connsiteX25123" y="connsiteY25123"/>
              </a:cxn>
              <a:cxn ang="0">
                <a:pos x="connsiteX25124" y="connsiteY25124"/>
              </a:cxn>
              <a:cxn ang="0">
                <a:pos x="connsiteX25125" y="connsiteY25125"/>
              </a:cxn>
              <a:cxn ang="0">
                <a:pos x="connsiteX25126" y="connsiteY25126"/>
              </a:cxn>
              <a:cxn ang="0">
                <a:pos x="connsiteX25127" y="connsiteY25127"/>
              </a:cxn>
              <a:cxn ang="0">
                <a:pos x="connsiteX25128" y="connsiteY25128"/>
              </a:cxn>
              <a:cxn ang="0">
                <a:pos x="connsiteX25129" y="connsiteY25129"/>
              </a:cxn>
              <a:cxn ang="0">
                <a:pos x="connsiteX25130" y="connsiteY25130"/>
              </a:cxn>
              <a:cxn ang="0">
                <a:pos x="connsiteX25131" y="connsiteY25131"/>
              </a:cxn>
              <a:cxn ang="0">
                <a:pos x="connsiteX25132" y="connsiteY25132"/>
              </a:cxn>
              <a:cxn ang="0">
                <a:pos x="connsiteX25133" y="connsiteY25133"/>
              </a:cxn>
              <a:cxn ang="0">
                <a:pos x="connsiteX25134" y="connsiteY25134"/>
              </a:cxn>
              <a:cxn ang="0">
                <a:pos x="connsiteX25135" y="connsiteY25135"/>
              </a:cxn>
              <a:cxn ang="0">
                <a:pos x="connsiteX25136" y="connsiteY25136"/>
              </a:cxn>
              <a:cxn ang="0">
                <a:pos x="connsiteX25137" y="connsiteY25137"/>
              </a:cxn>
              <a:cxn ang="0">
                <a:pos x="connsiteX25138" y="connsiteY25138"/>
              </a:cxn>
              <a:cxn ang="0">
                <a:pos x="connsiteX25139" y="connsiteY25139"/>
              </a:cxn>
              <a:cxn ang="0">
                <a:pos x="connsiteX25140" y="connsiteY25140"/>
              </a:cxn>
              <a:cxn ang="0">
                <a:pos x="connsiteX25141" y="connsiteY25141"/>
              </a:cxn>
              <a:cxn ang="0">
                <a:pos x="connsiteX25142" y="connsiteY25142"/>
              </a:cxn>
              <a:cxn ang="0">
                <a:pos x="connsiteX25143" y="connsiteY25143"/>
              </a:cxn>
              <a:cxn ang="0">
                <a:pos x="connsiteX25144" y="connsiteY25144"/>
              </a:cxn>
              <a:cxn ang="0">
                <a:pos x="connsiteX25145" y="connsiteY25145"/>
              </a:cxn>
              <a:cxn ang="0">
                <a:pos x="connsiteX25146" y="connsiteY25146"/>
              </a:cxn>
              <a:cxn ang="0">
                <a:pos x="connsiteX25147" y="connsiteY25147"/>
              </a:cxn>
              <a:cxn ang="0">
                <a:pos x="connsiteX25148" y="connsiteY25148"/>
              </a:cxn>
              <a:cxn ang="0">
                <a:pos x="connsiteX25149" y="connsiteY25149"/>
              </a:cxn>
              <a:cxn ang="0">
                <a:pos x="connsiteX25150" y="connsiteY25150"/>
              </a:cxn>
              <a:cxn ang="0">
                <a:pos x="connsiteX25151" y="connsiteY25151"/>
              </a:cxn>
              <a:cxn ang="0">
                <a:pos x="connsiteX25152" y="connsiteY25152"/>
              </a:cxn>
              <a:cxn ang="0">
                <a:pos x="connsiteX25153" y="connsiteY25153"/>
              </a:cxn>
              <a:cxn ang="0">
                <a:pos x="connsiteX25154" y="connsiteY25154"/>
              </a:cxn>
              <a:cxn ang="0">
                <a:pos x="connsiteX25155" y="connsiteY25155"/>
              </a:cxn>
              <a:cxn ang="0">
                <a:pos x="connsiteX25156" y="connsiteY25156"/>
              </a:cxn>
              <a:cxn ang="0">
                <a:pos x="connsiteX25157" y="connsiteY25157"/>
              </a:cxn>
              <a:cxn ang="0">
                <a:pos x="connsiteX25158" y="connsiteY25158"/>
              </a:cxn>
              <a:cxn ang="0">
                <a:pos x="connsiteX25159" y="connsiteY25159"/>
              </a:cxn>
              <a:cxn ang="0">
                <a:pos x="connsiteX25160" y="connsiteY25160"/>
              </a:cxn>
              <a:cxn ang="0">
                <a:pos x="connsiteX25161" y="connsiteY25161"/>
              </a:cxn>
              <a:cxn ang="0">
                <a:pos x="connsiteX25162" y="connsiteY25162"/>
              </a:cxn>
              <a:cxn ang="0">
                <a:pos x="connsiteX25163" y="connsiteY25163"/>
              </a:cxn>
              <a:cxn ang="0">
                <a:pos x="connsiteX25164" y="connsiteY25164"/>
              </a:cxn>
              <a:cxn ang="0">
                <a:pos x="connsiteX25165" y="connsiteY25165"/>
              </a:cxn>
              <a:cxn ang="0">
                <a:pos x="connsiteX25166" y="connsiteY25166"/>
              </a:cxn>
              <a:cxn ang="0">
                <a:pos x="connsiteX25167" y="connsiteY25167"/>
              </a:cxn>
              <a:cxn ang="0">
                <a:pos x="connsiteX25168" y="connsiteY25168"/>
              </a:cxn>
              <a:cxn ang="0">
                <a:pos x="connsiteX25169" y="connsiteY25169"/>
              </a:cxn>
              <a:cxn ang="0">
                <a:pos x="connsiteX25170" y="connsiteY25170"/>
              </a:cxn>
              <a:cxn ang="0">
                <a:pos x="connsiteX25171" y="connsiteY25171"/>
              </a:cxn>
              <a:cxn ang="0">
                <a:pos x="connsiteX25172" y="connsiteY25172"/>
              </a:cxn>
              <a:cxn ang="0">
                <a:pos x="connsiteX25173" y="connsiteY25173"/>
              </a:cxn>
              <a:cxn ang="0">
                <a:pos x="connsiteX25174" y="connsiteY25174"/>
              </a:cxn>
              <a:cxn ang="0">
                <a:pos x="connsiteX25175" y="connsiteY25175"/>
              </a:cxn>
              <a:cxn ang="0">
                <a:pos x="connsiteX25176" y="connsiteY25176"/>
              </a:cxn>
              <a:cxn ang="0">
                <a:pos x="connsiteX25177" y="connsiteY25177"/>
              </a:cxn>
              <a:cxn ang="0">
                <a:pos x="connsiteX25178" y="connsiteY25178"/>
              </a:cxn>
              <a:cxn ang="0">
                <a:pos x="connsiteX25179" y="connsiteY25179"/>
              </a:cxn>
              <a:cxn ang="0">
                <a:pos x="connsiteX25180" y="connsiteY25180"/>
              </a:cxn>
              <a:cxn ang="0">
                <a:pos x="connsiteX25181" y="connsiteY25181"/>
              </a:cxn>
              <a:cxn ang="0">
                <a:pos x="connsiteX25182" y="connsiteY25182"/>
              </a:cxn>
              <a:cxn ang="0">
                <a:pos x="connsiteX25183" y="connsiteY25183"/>
              </a:cxn>
              <a:cxn ang="0">
                <a:pos x="connsiteX25184" y="connsiteY25184"/>
              </a:cxn>
              <a:cxn ang="0">
                <a:pos x="connsiteX25185" y="connsiteY25185"/>
              </a:cxn>
              <a:cxn ang="0">
                <a:pos x="connsiteX25186" y="connsiteY25186"/>
              </a:cxn>
              <a:cxn ang="0">
                <a:pos x="connsiteX25187" y="connsiteY25187"/>
              </a:cxn>
              <a:cxn ang="0">
                <a:pos x="connsiteX25188" y="connsiteY25188"/>
              </a:cxn>
              <a:cxn ang="0">
                <a:pos x="connsiteX25189" y="connsiteY25189"/>
              </a:cxn>
              <a:cxn ang="0">
                <a:pos x="connsiteX25190" y="connsiteY25190"/>
              </a:cxn>
              <a:cxn ang="0">
                <a:pos x="connsiteX25191" y="connsiteY25191"/>
              </a:cxn>
              <a:cxn ang="0">
                <a:pos x="connsiteX25192" y="connsiteY25192"/>
              </a:cxn>
              <a:cxn ang="0">
                <a:pos x="connsiteX25193" y="connsiteY25193"/>
              </a:cxn>
              <a:cxn ang="0">
                <a:pos x="connsiteX25194" y="connsiteY25194"/>
              </a:cxn>
              <a:cxn ang="0">
                <a:pos x="connsiteX25195" y="connsiteY25195"/>
              </a:cxn>
              <a:cxn ang="0">
                <a:pos x="connsiteX25196" y="connsiteY25196"/>
              </a:cxn>
              <a:cxn ang="0">
                <a:pos x="connsiteX25197" y="connsiteY25197"/>
              </a:cxn>
              <a:cxn ang="0">
                <a:pos x="connsiteX25198" y="connsiteY25198"/>
              </a:cxn>
              <a:cxn ang="0">
                <a:pos x="connsiteX25199" y="connsiteY25199"/>
              </a:cxn>
              <a:cxn ang="0">
                <a:pos x="connsiteX25200" y="connsiteY25200"/>
              </a:cxn>
              <a:cxn ang="0">
                <a:pos x="connsiteX25201" y="connsiteY25201"/>
              </a:cxn>
              <a:cxn ang="0">
                <a:pos x="connsiteX25202" y="connsiteY25202"/>
              </a:cxn>
              <a:cxn ang="0">
                <a:pos x="connsiteX25203" y="connsiteY25203"/>
              </a:cxn>
              <a:cxn ang="0">
                <a:pos x="connsiteX25204" y="connsiteY25204"/>
              </a:cxn>
              <a:cxn ang="0">
                <a:pos x="connsiteX25205" y="connsiteY25205"/>
              </a:cxn>
              <a:cxn ang="0">
                <a:pos x="connsiteX25206" y="connsiteY25206"/>
              </a:cxn>
              <a:cxn ang="0">
                <a:pos x="connsiteX25207" y="connsiteY25207"/>
              </a:cxn>
              <a:cxn ang="0">
                <a:pos x="connsiteX25208" y="connsiteY25208"/>
              </a:cxn>
              <a:cxn ang="0">
                <a:pos x="connsiteX25209" y="connsiteY25209"/>
              </a:cxn>
              <a:cxn ang="0">
                <a:pos x="connsiteX25210" y="connsiteY25210"/>
              </a:cxn>
              <a:cxn ang="0">
                <a:pos x="connsiteX25211" y="connsiteY25211"/>
              </a:cxn>
              <a:cxn ang="0">
                <a:pos x="connsiteX25212" y="connsiteY25212"/>
              </a:cxn>
              <a:cxn ang="0">
                <a:pos x="connsiteX25213" y="connsiteY25213"/>
              </a:cxn>
              <a:cxn ang="0">
                <a:pos x="connsiteX25214" y="connsiteY25214"/>
              </a:cxn>
              <a:cxn ang="0">
                <a:pos x="connsiteX25215" y="connsiteY25215"/>
              </a:cxn>
              <a:cxn ang="0">
                <a:pos x="connsiteX25216" y="connsiteY25216"/>
              </a:cxn>
              <a:cxn ang="0">
                <a:pos x="connsiteX25217" y="connsiteY25217"/>
              </a:cxn>
              <a:cxn ang="0">
                <a:pos x="connsiteX25218" y="connsiteY25218"/>
              </a:cxn>
              <a:cxn ang="0">
                <a:pos x="connsiteX25219" y="connsiteY25219"/>
              </a:cxn>
              <a:cxn ang="0">
                <a:pos x="connsiteX25220" y="connsiteY25220"/>
              </a:cxn>
              <a:cxn ang="0">
                <a:pos x="connsiteX25221" y="connsiteY25221"/>
              </a:cxn>
              <a:cxn ang="0">
                <a:pos x="connsiteX25222" y="connsiteY25222"/>
              </a:cxn>
              <a:cxn ang="0">
                <a:pos x="connsiteX25223" y="connsiteY25223"/>
              </a:cxn>
              <a:cxn ang="0">
                <a:pos x="connsiteX25224" y="connsiteY25224"/>
              </a:cxn>
              <a:cxn ang="0">
                <a:pos x="connsiteX25225" y="connsiteY25225"/>
              </a:cxn>
              <a:cxn ang="0">
                <a:pos x="connsiteX25226" y="connsiteY25226"/>
              </a:cxn>
              <a:cxn ang="0">
                <a:pos x="connsiteX25227" y="connsiteY25227"/>
              </a:cxn>
              <a:cxn ang="0">
                <a:pos x="connsiteX25228" y="connsiteY25228"/>
              </a:cxn>
              <a:cxn ang="0">
                <a:pos x="connsiteX25229" y="connsiteY25229"/>
              </a:cxn>
              <a:cxn ang="0">
                <a:pos x="connsiteX25230" y="connsiteY25230"/>
              </a:cxn>
              <a:cxn ang="0">
                <a:pos x="connsiteX25231" y="connsiteY25231"/>
              </a:cxn>
              <a:cxn ang="0">
                <a:pos x="connsiteX25232" y="connsiteY25232"/>
              </a:cxn>
              <a:cxn ang="0">
                <a:pos x="connsiteX25233" y="connsiteY25233"/>
              </a:cxn>
              <a:cxn ang="0">
                <a:pos x="connsiteX25234" y="connsiteY25234"/>
              </a:cxn>
              <a:cxn ang="0">
                <a:pos x="connsiteX25235" y="connsiteY25235"/>
              </a:cxn>
              <a:cxn ang="0">
                <a:pos x="connsiteX25236" y="connsiteY25236"/>
              </a:cxn>
              <a:cxn ang="0">
                <a:pos x="connsiteX25237" y="connsiteY25237"/>
              </a:cxn>
              <a:cxn ang="0">
                <a:pos x="connsiteX25238" y="connsiteY25238"/>
              </a:cxn>
              <a:cxn ang="0">
                <a:pos x="connsiteX25239" y="connsiteY25239"/>
              </a:cxn>
              <a:cxn ang="0">
                <a:pos x="connsiteX25240" y="connsiteY25240"/>
              </a:cxn>
              <a:cxn ang="0">
                <a:pos x="connsiteX25241" y="connsiteY25241"/>
              </a:cxn>
              <a:cxn ang="0">
                <a:pos x="connsiteX25242" y="connsiteY25242"/>
              </a:cxn>
              <a:cxn ang="0">
                <a:pos x="connsiteX25243" y="connsiteY25243"/>
              </a:cxn>
              <a:cxn ang="0">
                <a:pos x="connsiteX25244" y="connsiteY25244"/>
              </a:cxn>
              <a:cxn ang="0">
                <a:pos x="connsiteX25245" y="connsiteY25245"/>
              </a:cxn>
              <a:cxn ang="0">
                <a:pos x="connsiteX25246" y="connsiteY25246"/>
              </a:cxn>
              <a:cxn ang="0">
                <a:pos x="connsiteX25247" y="connsiteY25247"/>
              </a:cxn>
              <a:cxn ang="0">
                <a:pos x="connsiteX25248" y="connsiteY25248"/>
              </a:cxn>
              <a:cxn ang="0">
                <a:pos x="connsiteX25249" y="connsiteY25249"/>
              </a:cxn>
              <a:cxn ang="0">
                <a:pos x="connsiteX25250" y="connsiteY25250"/>
              </a:cxn>
              <a:cxn ang="0">
                <a:pos x="connsiteX25251" y="connsiteY25251"/>
              </a:cxn>
              <a:cxn ang="0">
                <a:pos x="connsiteX25252" y="connsiteY25252"/>
              </a:cxn>
              <a:cxn ang="0">
                <a:pos x="connsiteX25253" y="connsiteY25253"/>
              </a:cxn>
              <a:cxn ang="0">
                <a:pos x="connsiteX25254" y="connsiteY25254"/>
              </a:cxn>
              <a:cxn ang="0">
                <a:pos x="connsiteX25255" y="connsiteY25255"/>
              </a:cxn>
              <a:cxn ang="0">
                <a:pos x="connsiteX25256" y="connsiteY25256"/>
              </a:cxn>
              <a:cxn ang="0">
                <a:pos x="connsiteX25257" y="connsiteY25257"/>
              </a:cxn>
              <a:cxn ang="0">
                <a:pos x="connsiteX25258" y="connsiteY25258"/>
              </a:cxn>
              <a:cxn ang="0">
                <a:pos x="connsiteX25259" y="connsiteY25259"/>
              </a:cxn>
              <a:cxn ang="0">
                <a:pos x="connsiteX25260" y="connsiteY25260"/>
              </a:cxn>
              <a:cxn ang="0">
                <a:pos x="connsiteX25261" y="connsiteY25261"/>
              </a:cxn>
              <a:cxn ang="0">
                <a:pos x="connsiteX25262" y="connsiteY25262"/>
              </a:cxn>
              <a:cxn ang="0">
                <a:pos x="connsiteX25263" y="connsiteY25263"/>
              </a:cxn>
              <a:cxn ang="0">
                <a:pos x="connsiteX25264" y="connsiteY25264"/>
              </a:cxn>
              <a:cxn ang="0">
                <a:pos x="connsiteX25265" y="connsiteY25265"/>
              </a:cxn>
              <a:cxn ang="0">
                <a:pos x="connsiteX25266" y="connsiteY25266"/>
              </a:cxn>
              <a:cxn ang="0">
                <a:pos x="connsiteX25267" y="connsiteY25267"/>
              </a:cxn>
              <a:cxn ang="0">
                <a:pos x="connsiteX25268" y="connsiteY25268"/>
              </a:cxn>
              <a:cxn ang="0">
                <a:pos x="connsiteX25269" y="connsiteY25269"/>
              </a:cxn>
              <a:cxn ang="0">
                <a:pos x="connsiteX25270" y="connsiteY25270"/>
              </a:cxn>
              <a:cxn ang="0">
                <a:pos x="connsiteX25271" y="connsiteY25271"/>
              </a:cxn>
              <a:cxn ang="0">
                <a:pos x="connsiteX25272" y="connsiteY25272"/>
              </a:cxn>
              <a:cxn ang="0">
                <a:pos x="connsiteX25273" y="connsiteY25273"/>
              </a:cxn>
              <a:cxn ang="0">
                <a:pos x="connsiteX25274" y="connsiteY25274"/>
              </a:cxn>
              <a:cxn ang="0">
                <a:pos x="connsiteX25275" y="connsiteY25275"/>
              </a:cxn>
              <a:cxn ang="0">
                <a:pos x="connsiteX25276" y="connsiteY25276"/>
              </a:cxn>
              <a:cxn ang="0">
                <a:pos x="connsiteX25277" y="connsiteY25277"/>
              </a:cxn>
              <a:cxn ang="0">
                <a:pos x="connsiteX25278" y="connsiteY25278"/>
              </a:cxn>
              <a:cxn ang="0">
                <a:pos x="connsiteX25279" y="connsiteY25279"/>
              </a:cxn>
              <a:cxn ang="0">
                <a:pos x="connsiteX25280" y="connsiteY25280"/>
              </a:cxn>
              <a:cxn ang="0">
                <a:pos x="connsiteX25281" y="connsiteY25281"/>
              </a:cxn>
              <a:cxn ang="0">
                <a:pos x="connsiteX25282" y="connsiteY25282"/>
              </a:cxn>
              <a:cxn ang="0">
                <a:pos x="connsiteX25283" y="connsiteY25283"/>
              </a:cxn>
              <a:cxn ang="0">
                <a:pos x="connsiteX25284" y="connsiteY25284"/>
              </a:cxn>
              <a:cxn ang="0">
                <a:pos x="connsiteX25285" y="connsiteY25285"/>
              </a:cxn>
              <a:cxn ang="0">
                <a:pos x="connsiteX25286" y="connsiteY25286"/>
              </a:cxn>
              <a:cxn ang="0">
                <a:pos x="connsiteX25287" y="connsiteY25287"/>
              </a:cxn>
              <a:cxn ang="0">
                <a:pos x="connsiteX25288" y="connsiteY25288"/>
              </a:cxn>
              <a:cxn ang="0">
                <a:pos x="connsiteX25289" y="connsiteY25289"/>
              </a:cxn>
              <a:cxn ang="0">
                <a:pos x="connsiteX25290" y="connsiteY25290"/>
              </a:cxn>
              <a:cxn ang="0">
                <a:pos x="connsiteX25291" y="connsiteY25291"/>
              </a:cxn>
              <a:cxn ang="0">
                <a:pos x="connsiteX25292" y="connsiteY25292"/>
              </a:cxn>
              <a:cxn ang="0">
                <a:pos x="connsiteX25293" y="connsiteY25293"/>
              </a:cxn>
              <a:cxn ang="0">
                <a:pos x="connsiteX25294" y="connsiteY25294"/>
              </a:cxn>
              <a:cxn ang="0">
                <a:pos x="connsiteX25295" y="connsiteY25295"/>
              </a:cxn>
              <a:cxn ang="0">
                <a:pos x="connsiteX25296" y="connsiteY25296"/>
              </a:cxn>
              <a:cxn ang="0">
                <a:pos x="connsiteX25297" y="connsiteY25297"/>
              </a:cxn>
              <a:cxn ang="0">
                <a:pos x="connsiteX25298" y="connsiteY25298"/>
              </a:cxn>
              <a:cxn ang="0">
                <a:pos x="connsiteX25299" y="connsiteY25299"/>
              </a:cxn>
              <a:cxn ang="0">
                <a:pos x="connsiteX25300" y="connsiteY25300"/>
              </a:cxn>
              <a:cxn ang="0">
                <a:pos x="connsiteX25301" y="connsiteY25301"/>
              </a:cxn>
              <a:cxn ang="0">
                <a:pos x="connsiteX25302" y="connsiteY25302"/>
              </a:cxn>
              <a:cxn ang="0">
                <a:pos x="connsiteX25303" y="connsiteY25303"/>
              </a:cxn>
              <a:cxn ang="0">
                <a:pos x="connsiteX25304" y="connsiteY25304"/>
              </a:cxn>
              <a:cxn ang="0">
                <a:pos x="connsiteX25305" y="connsiteY25305"/>
              </a:cxn>
              <a:cxn ang="0">
                <a:pos x="connsiteX25306" y="connsiteY25306"/>
              </a:cxn>
              <a:cxn ang="0">
                <a:pos x="connsiteX25307" y="connsiteY25307"/>
              </a:cxn>
              <a:cxn ang="0">
                <a:pos x="connsiteX25308" y="connsiteY25308"/>
              </a:cxn>
              <a:cxn ang="0">
                <a:pos x="connsiteX25309" y="connsiteY25309"/>
              </a:cxn>
              <a:cxn ang="0">
                <a:pos x="connsiteX25310" y="connsiteY25310"/>
              </a:cxn>
              <a:cxn ang="0">
                <a:pos x="connsiteX25311" y="connsiteY25311"/>
              </a:cxn>
              <a:cxn ang="0">
                <a:pos x="connsiteX25312" y="connsiteY25312"/>
              </a:cxn>
              <a:cxn ang="0">
                <a:pos x="connsiteX25313" y="connsiteY25313"/>
              </a:cxn>
              <a:cxn ang="0">
                <a:pos x="connsiteX25314" y="connsiteY25314"/>
              </a:cxn>
              <a:cxn ang="0">
                <a:pos x="connsiteX25315" y="connsiteY25315"/>
              </a:cxn>
              <a:cxn ang="0">
                <a:pos x="connsiteX25316" y="connsiteY25316"/>
              </a:cxn>
              <a:cxn ang="0">
                <a:pos x="connsiteX25317" y="connsiteY25317"/>
              </a:cxn>
              <a:cxn ang="0">
                <a:pos x="connsiteX25318" y="connsiteY25318"/>
              </a:cxn>
              <a:cxn ang="0">
                <a:pos x="connsiteX25319" y="connsiteY25319"/>
              </a:cxn>
              <a:cxn ang="0">
                <a:pos x="connsiteX25320" y="connsiteY25320"/>
              </a:cxn>
              <a:cxn ang="0">
                <a:pos x="connsiteX25321" y="connsiteY25321"/>
              </a:cxn>
              <a:cxn ang="0">
                <a:pos x="connsiteX25322" y="connsiteY25322"/>
              </a:cxn>
              <a:cxn ang="0">
                <a:pos x="connsiteX25323" y="connsiteY25323"/>
              </a:cxn>
              <a:cxn ang="0">
                <a:pos x="connsiteX25324" y="connsiteY25324"/>
              </a:cxn>
              <a:cxn ang="0">
                <a:pos x="connsiteX25325" y="connsiteY25325"/>
              </a:cxn>
              <a:cxn ang="0">
                <a:pos x="connsiteX25326" y="connsiteY25326"/>
              </a:cxn>
              <a:cxn ang="0">
                <a:pos x="connsiteX25327" y="connsiteY25327"/>
              </a:cxn>
              <a:cxn ang="0">
                <a:pos x="connsiteX25328" y="connsiteY25328"/>
              </a:cxn>
              <a:cxn ang="0">
                <a:pos x="connsiteX25329" y="connsiteY25329"/>
              </a:cxn>
              <a:cxn ang="0">
                <a:pos x="connsiteX25330" y="connsiteY25330"/>
              </a:cxn>
              <a:cxn ang="0">
                <a:pos x="connsiteX25331" y="connsiteY25331"/>
              </a:cxn>
              <a:cxn ang="0">
                <a:pos x="connsiteX25332" y="connsiteY25332"/>
              </a:cxn>
              <a:cxn ang="0">
                <a:pos x="connsiteX25333" y="connsiteY25333"/>
              </a:cxn>
              <a:cxn ang="0">
                <a:pos x="connsiteX25334" y="connsiteY25334"/>
              </a:cxn>
              <a:cxn ang="0">
                <a:pos x="connsiteX25335" y="connsiteY25335"/>
              </a:cxn>
              <a:cxn ang="0">
                <a:pos x="connsiteX25336" y="connsiteY25336"/>
              </a:cxn>
              <a:cxn ang="0">
                <a:pos x="connsiteX25337" y="connsiteY25337"/>
              </a:cxn>
              <a:cxn ang="0">
                <a:pos x="connsiteX25338" y="connsiteY25338"/>
              </a:cxn>
              <a:cxn ang="0">
                <a:pos x="connsiteX25339" y="connsiteY25339"/>
              </a:cxn>
              <a:cxn ang="0">
                <a:pos x="connsiteX25340" y="connsiteY25340"/>
              </a:cxn>
              <a:cxn ang="0">
                <a:pos x="connsiteX25341" y="connsiteY25341"/>
              </a:cxn>
              <a:cxn ang="0">
                <a:pos x="connsiteX25342" y="connsiteY25342"/>
              </a:cxn>
              <a:cxn ang="0">
                <a:pos x="connsiteX25343" y="connsiteY25343"/>
              </a:cxn>
              <a:cxn ang="0">
                <a:pos x="connsiteX25344" y="connsiteY25344"/>
              </a:cxn>
              <a:cxn ang="0">
                <a:pos x="connsiteX25345" y="connsiteY25345"/>
              </a:cxn>
              <a:cxn ang="0">
                <a:pos x="connsiteX25346" y="connsiteY25346"/>
              </a:cxn>
              <a:cxn ang="0">
                <a:pos x="connsiteX25347" y="connsiteY25347"/>
              </a:cxn>
              <a:cxn ang="0">
                <a:pos x="connsiteX25348" y="connsiteY25348"/>
              </a:cxn>
              <a:cxn ang="0">
                <a:pos x="connsiteX25349" y="connsiteY25349"/>
              </a:cxn>
              <a:cxn ang="0">
                <a:pos x="connsiteX25350" y="connsiteY25350"/>
              </a:cxn>
              <a:cxn ang="0">
                <a:pos x="connsiteX25351" y="connsiteY25351"/>
              </a:cxn>
              <a:cxn ang="0">
                <a:pos x="connsiteX25352" y="connsiteY25352"/>
              </a:cxn>
              <a:cxn ang="0">
                <a:pos x="connsiteX25353" y="connsiteY25353"/>
              </a:cxn>
              <a:cxn ang="0">
                <a:pos x="connsiteX25354" y="connsiteY25354"/>
              </a:cxn>
              <a:cxn ang="0">
                <a:pos x="connsiteX25355" y="connsiteY25355"/>
              </a:cxn>
              <a:cxn ang="0">
                <a:pos x="connsiteX25356" y="connsiteY25356"/>
              </a:cxn>
              <a:cxn ang="0">
                <a:pos x="connsiteX25357" y="connsiteY25357"/>
              </a:cxn>
              <a:cxn ang="0">
                <a:pos x="connsiteX25358" y="connsiteY25358"/>
              </a:cxn>
              <a:cxn ang="0">
                <a:pos x="connsiteX25359" y="connsiteY25359"/>
              </a:cxn>
              <a:cxn ang="0">
                <a:pos x="connsiteX25360" y="connsiteY25360"/>
              </a:cxn>
              <a:cxn ang="0">
                <a:pos x="connsiteX25361" y="connsiteY25361"/>
              </a:cxn>
              <a:cxn ang="0">
                <a:pos x="connsiteX25362" y="connsiteY25362"/>
              </a:cxn>
              <a:cxn ang="0">
                <a:pos x="connsiteX25363" y="connsiteY25363"/>
              </a:cxn>
              <a:cxn ang="0">
                <a:pos x="connsiteX25364" y="connsiteY25364"/>
              </a:cxn>
              <a:cxn ang="0">
                <a:pos x="connsiteX25365" y="connsiteY25365"/>
              </a:cxn>
              <a:cxn ang="0">
                <a:pos x="connsiteX25366" y="connsiteY25366"/>
              </a:cxn>
              <a:cxn ang="0">
                <a:pos x="connsiteX25367" y="connsiteY25367"/>
              </a:cxn>
              <a:cxn ang="0">
                <a:pos x="connsiteX25368" y="connsiteY25368"/>
              </a:cxn>
              <a:cxn ang="0">
                <a:pos x="connsiteX25369" y="connsiteY25369"/>
              </a:cxn>
              <a:cxn ang="0">
                <a:pos x="connsiteX25370" y="connsiteY25370"/>
              </a:cxn>
              <a:cxn ang="0">
                <a:pos x="connsiteX25371" y="connsiteY25371"/>
              </a:cxn>
              <a:cxn ang="0">
                <a:pos x="connsiteX25372" y="connsiteY25372"/>
              </a:cxn>
              <a:cxn ang="0">
                <a:pos x="connsiteX25373" y="connsiteY25373"/>
              </a:cxn>
              <a:cxn ang="0">
                <a:pos x="connsiteX25374" y="connsiteY25374"/>
              </a:cxn>
              <a:cxn ang="0">
                <a:pos x="connsiteX25375" y="connsiteY25375"/>
              </a:cxn>
              <a:cxn ang="0">
                <a:pos x="connsiteX25376" y="connsiteY25376"/>
              </a:cxn>
              <a:cxn ang="0">
                <a:pos x="connsiteX25377" y="connsiteY25377"/>
              </a:cxn>
              <a:cxn ang="0">
                <a:pos x="connsiteX25378" y="connsiteY25378"/>
              </a:cxn>
              <a:cxn ang="0">
                <a:pos x="connsiteX25379" y="connsiteY25379"/>
              </a:cxn>
              <a:cxn ang="0">
                <a:pos x="connsiteX25380" y="connsiteY25380"/>
              </a:cxn>
              <a:cxn ang="0">
                <a:pos x="connsiteX25381" y="connsiteY25381"/>
              </a:cxn>
              <a:cxn ang="0">
                <a:pos x="connsiteX25382" y="connsiteY25382"/>
              </a:cxn>
              <a:cxn ang="0">
                <a:pos x="connsiteX25383" y="connsiteY25383"/>
              </a:cxn>
              <a:cxn ang="0">
                <a:pos x="connsiteX25384" y="connsiteY25384"/>
              </a:cxn>
              <a:cxn ang="0">
                <a:pos x="connsiteX25385" y="connsiteY25385"/>
              </a:cxn>
              <a:cxn ang="0">
                <a:pos x="connsiteX25386" y="connsiteY25386"/>
              </a:cxn>
              <a:cxn ang="0">
                <a:pos x="connsiteX25387" y="connsiteY25387"/>
              </a:cxn>
              <a:cxn ang="0">
                <a:pos x="connsiteX25388" y="connsiteY25388"/>
              </a:cxn>
              <a:cxn ang="0">
                <a:pos x="connsiteX25389" y="connsiteY25389"/>
              </a:cxn>
              <a:cxn ang="0">
                <a:pos x="connsiteX25390" y="connsiteY25390"/>
              </a:cxn>
              <a:cxn ang="0">
                <a:pos x="connsiteX25391" y="connsiteY25391"/>
              </a:cxn>
              <a:cxn ang="0">
                <a:pos x="connsiteX25392" y="connsiteY25392"/>
              </a:cxn>
              <a:cxn ang="0">
                <a:pos x="connsiteX25393" y="connsiteY25393"/>
              </a:cxn>
              <a:cxn ang="0">
                <a:pos x="connsiteX25394" y="connsiteY25394"/>
              </a:cxn>
              <a:cxn ang="0">
                <a:pos x="connsiteX25395" y="connsiteY25395"/>
              </a:cxn>
              <a:cxn ang="0">
                <a:pos x="connsiteX25396" y="connsiteY25396"/>
              </a:cxn>
              <a:cxn ang="0">
                <a:pos x="connsiteX25397" y="connsiteY25397"/>
              </a:cxn>
              <a:cxn ang="0">
                <a:pos x="connsiteX25398" y="connsiteY25398"/>
              </a:cxn>
              <a:cxn ang="0">
                <a:pos x="connsiteX25399" y="connsiteY25399"/>
              </a:cxn>
              <a:cxn ang="0">
                <a:pos x="connsiteX25400" y="connsiteY25400"/>
              </a:cxn>
              <a:cxn ang="0">
                <a:pos x="connsiteX25401" y="connsiteY25401"/>
              </a:cxn>
              <a:cxn ang="0">
                <a:pos x="connsiteX25402" y="connsiteY25402"/>
              </a:cxn>
              <a:cxn ang="0">
                <a:pos x="connsiteX25403" y="connsiteY25403"/>
              </a:cxn>
              <a:cxn ang="0">
                <a:pos x="connsiteX25404" y="connsiteY25404"/>
              </a:cxn>
              <a:cxn ang="0">
                <a:pos x="connsiteX25405" y="connsiteY25405"/>
              </a:cxn>
              <a:cxn ang="0">
                <a:pos x="connsiteX25406" y="connsiteY25406"/>
              </a:cxn>
              <a:cxn ang="0">
                <a:pos x="connsiteX25407" y="connsiteY25407"/>
              </a:cxn>
              <a:cxn ang="0">
                <a:pos x="connsiteX25408" y="connsiteY25408"/>
              </a:cxn>
              <a:cxn ang="0">
                <a:pos x="connsiteX25409" y="connsiteY25409"/>
              </a:cxn>
              <a:cxn ang="0">
                <a:pos x="connsiteX25410" y="connsiteY25410"/>
              </a:cxn>
              <a:cxn ang="0">
                <a:pos x="connsiteX25411" y="connsiteY25411"/>
              </a:cxn>
              <a:cxn ang="0">
                <a:pos x="connsiteX25412" y="connsiteY25412"/>
              </a:cxn>
              <a:cxn ang="0">
                <a:pos x="connsiteX25413" y="connsiteY25413"/>
              </a:cxn>
              <a:cxn ang="0">
                <a:pos x="connsiteX25414" y="connsiteY25414"/>
              </a:cxn>
              <a:cxn ang="0">
                <a:pos x="connsiteX25415" y="connsiteY25415"/>
              </a:cxn>
              <a:cxn ang="0">
                <a:pos x="connsiteX25416" y="connsiteY25416"/>
              </a:cxn>
              <a:cxn ang="0">
                <a:pos x="connsiteX25417" y="connsiteY25417"/>
              </a:cxn>
              <a:cxn ang="0">
                <a:pos x="connsiteX25418" y="connsiteY25418"/>
              </a:cxn>
              <a:cxn ang="0">
                <a:pos x="connsiteX25419" y="connsiteY25419"/>
              </a:cxn>
              <a:cxn ang="0">
                <a:pos x="connsiteX25420" y="connsiteY25420"/>
              </a:cxn>
              <a:cxn ang="0">
                <a:pos x="connsiteX25421" y="connsiteY25421"/>
              </a:cxn>
              <a:cxn ang="0">
                <a:pos x="connsiteX25422" y="connsiteY25422"/>
              </a:cxn>
              <a:cxn ang="0">
                <a:pos x="connsiteX25423" y="connsiteY25423"/>
              </a:cxn>
              <a:cxn ang="0">
                <a:pos x="connsiteX25424" y="connsiteY25424"/>
              </a:cxn>
              <a:cxn ang="0">
                <a:pos x="connsiteX25425" y="connsiteY25425"/>
              </a:cxn>
              <a:cxn ang="0">
                <a:pos x="connsiteX25426" y="connsiteY25426"/>
              </a:cxn>
              <a:cxn ang="0">
                <a:pos x="connsiteX25427" y="connsiteY25427"/>
              </a:cxn>
              <a:cxn ang="0">
                <a:pos x="connsiteX25428" y="connsiteY25428"/>
              </a:cxn>
              <a:cxn ang="0">
                <a:pos x="connsiteX25429" y="connsiteY25429"/>
              </a:cxn>
              <a:cxn ang="0">
                <a:pos x="connsiteX25430" y="connsiteY25430"/>
              </a:cxn>
              <a:cxn ang="0">
                <a:pos x="connsiteX25431" y="connsiteY25431"/>
              </a:cxn>
              <a:cxn ang="0">
                <a:pos x="connsiteX25432" y="connsiteY25432"/>
              </a:cxn>
              <a:cxn ang="0">
                <a:pos x="connsiteX25433" y="connsiteY25433"/>
              </a:cxn>
              <a:cxn ang="0">
                <a:pos x="connsiteX25434" y="connsiteY25434"/>
              </a:cxn>
              <a:cxn ang="0">
                <a:pos x="connsiteX25435" y="connsiteY25435"/>
              </a:cxn>
              <a:cxn ang="0">
                <a:pos x="connsiteX25436" y="connsiteY25436"/>
              </a:cxn>
              <a:cxn ang="0">
                <a:pos x="connsiteX25437" y="connsiteY25437"/>
              </a:cxn>
              <a:cxn ang="0">
                <a:pos x="connsiteX25438" y="connsiteY25438"/>
              </a:cxn>
              <a:cxn ang="0">
                <a:pos x="connsiteX25439" y="connsiteY25439"/>
              </a:cxn>
              <a:cxn ang="0">
                <a:pos x="connsiteX25440" y="connsiteY25440"/>
              </a:cxn>
              <a:cxn ang="0">
                <a:pos x="connsiteX25441" y="connsiteY25441"/>
              </a:cxn>
              <a:cxn ang="0">
                <a:pos x="connsiteX25442" y="connsiteY25442"/>
              </a:cxn>
              <a:cxn ang="0">
                <a:pos x="connsiteX25443" y="connsiteY25443"/>
              </a:cxn>
              <a:cxn ang="0">
                <a:pos x="connsiteX25444" y="connsiteY25444"/>
              </a:cxn>
              <a:cxn ang="0">
                <a:pos x="connsiteX25445" y="connsiteY25445"/>
              </a:cxn>
              <a:cxn ang="0">
                <a:pos x="connsiteX25446" y="connsiteY25446"/>
              </a:cxn>
              <a:cxn ang="0">
                <a:pos x="connsiteX25447" y="connsiteY25447"/>
              </a:cxn>
              <a:cxn ang="0">
                <a:pos x="connsiteX25448" y="connsiteY25448"/>
              </a:cxn>
              <a:cxn ang="0">
                <a:pos x="connsiteX25449" y="connsiteY25449"/>
              </a:cxn>
              <a:cxn ang="0">
                <a:pos x="connsiteX25450" y="connsiteY25450"/>
              </a:cxn>
              <a:cxn ang="0">
                <a:pos x="connsiteX25451" y="connsiteY25451"/>
              </a:cxn>
              <a:cxn ang="0">
                <a:pos x="connsiteX25452" y="connsiteY25452"/>
              </a:cxn>
              <a:cxn ang="0">
                <a:pos x="connsiteX25453" y="connsiteY25453"/>
              </a:cxn>
              <a:cxn ang="0">
                <a:pos x="connsiteX25454" y="connsiteY25454"/>
              </a:cxn>
              <a:cxn ang="0">
                <a:pos x="connsiteX25455" y="connsiteY25455"/>
              </a:cxn>
              <a:cxn ang="0">
                <a:pos x="connsiteX25456" y="connsiteY25456"/>
              </a:cxn>
              <a:cxn ang="0">
                <a:pos x="connsiteX25457" y="connsiteY25457"/>
              </a:cxn>
              <a:cxn ang="0">
                <a:pos x="connsiteX25458" y="connsiteY25458"/>
              </a:cxn>
              <a:cxn ang="0">
                <a:pos x="connsiteX25459" y="connsiteY25459"/>
              </a:cxn>
              <a:cxn ang="0">
                <a:pos x="connsiteX25460" y="connsiteY25460"/>
              </a:cxn>
              <a:cxn ang="0">
                <a:pos x="connsiteX25461" y="connsiteY25461"/>
              </a:cxn>
              <a:cxn ang="0">
                <a:pos x="connsiteX25462" y="connsiteY25462"/>
              </a:cxn>
              <a:cxn ang="0">
                <a:pos x="connsiteX25463" y="connsiteY25463"/>
              </a:cxn>
              <a:cxn ang="0">
                <a:pos x="connsiteX25464" y="connsiteY25464"/>
              </a:cxn>
              <a:cxn ang="0">
                <a:pos x="connsiteX25465" y="connsiteY25465"/>
              </a:cxn>
              <a:cxn ang="0">
                <a:pos x="connsiteX25466" y="connsiteY25466"/>
              </a:cxn>
              <a:cxn ang="0">
                <a:pos x="connsiteX25467" y="connsiteY25467"/>
              </a:cxn>
              <a:cxn ang="0">
                <a:pos x="connsiteX25468" y="connsiteY25468"/>
              </a:cxn>
              <a:cxn ang="0">
                <a:pos x="connsiteX25469" y="connsiteY25469"/>
              </a:cxn>
              <a:cxn ang="0">
                <a:pos x="connsiteX25470" y="connsiteY25470"/>
              </a:cxn>
              <a:cxn ang="0">
                <a:pos x="connsiteX25471" y="connsiteY25471"/>
              </a:cxn>
              <a:cxn ang="0">
                <a:pos x="connsiteX25472" y="connsiteY25472"/>
              </a:cxn>
              <a:cxn ang="0">
                <a:pos x="connsiteX25473" y="connsiteY25473"/>
              </a:cxn>
              <a:cxn ang="0">
                <a:pos x="connsiteX25474" y="connsiteY25474"/>
              </a:cxn>
              <a:cxn ang="0">
                <a:pos x="connsiteX25475" y="connsiteY25475"/>
              </a:cxn>
              <a:cxn ang="0">
                <a:pos x="connsiteX25476" y="connsiteY25476"/>
              </a:cxn>
              <a:cxn ang="0">
                <a:pos x="connsiteX25477" y="connsiteY25477"/>
              </a:cxn>
              <a:cxn ang="0">
                <a:pos x="connsiteX25478" y="connsiteY25478"/>
              </a:cxn>
              <a:cxn ang="0">
                <a:pos x="connsiteX25479" y="connsiteY25479"/>
              </a:cxn>
              <a:cxn ang="0">
                <a:pos x="connsiteX25480" y="connsiteY25480"/>
              </a:cxn>
              <a:cxn ang="0">
                <a:pos x="connsiteX25481" y="connsiteY25481"/>
              </a:cxn>
              <a:cxn ang="0">
                <a:pos x="connsiteX25482" y="connsiteY25482"/>
              </a:cxn>
              <a:cxn ang="0">
                <a:pos x="connsiteX25483" y="connsiteY25483"/>
              </a:cxn>
              <a:cxn ang="0">
                <a:pos x="connsiteX25484" y="connsiteY25484"/>
              </a:cxn>
              <a:cxn ang="0">
                <a:pos x="connsiteX25485" y="connsiteY25485"/>
              </a:cxn>
              <a:cxn ang="0">
                <a:pos x="connsiteX25486" y="connsiteY25486"/>
              </a:cxn>
              <a:cxn ang="0">
                <a:pos x="connsiteX25487" y="connsiteY25487"/>
              </a:cxn>
              <a:cxn ang="0">
                <a:pos x="connsiteX25488" y="connsiteY25488"/>
              </a:cxn>
              <a:cxn ang="0">
                <a:pos x="connsiteX25489" y="connsiteY25489"/>
              </a:cxn>
              <a:cxn ang="0">
                <a:pos x="connsiteX25490" y="connsiteY25490"/>
              </a:cxn>
              <a:cxn ang="0">
                <a:pos x="connsiteX25491" y="connsiteY25491"/>
              </a:cxn>
              <a:cxn ang="0">
                <a:pos x="connsiteX25492" y="connsiteY25492"/>
              </a:cxn>
              <a:cxn ang="0">
                <a:pos x="connsiteX25493" y="connsiteY25493"/>
              </a:cxn>
              <a:cxn ang="0">
                <a:pos x="connsiteX25494" y="connsiteY25494"/>
              </a:cxn>
              <a:cxn ang="0">
                <a:pos x="connsiteX25495" y="connsiteY25495"/>
              </a:cxn>
              <a:cxn ang="0">
                <a:pos x="connsiteX25496" y="connsiteY25496"/>
              </a:cxn>
              <a:cxn ang="0">
                <a:pos x="connsiteX25497" y="connsiteY25497"/>
              </a:cxn>
              <a:cxn ang="0">
                <a:pos x="connsiteX25498" y="connsiteY25498"/>
              </a:cxn>
              <a:cxn ang="0">
                <a:pos x="connsiteX25499" y="connsiteY25499"/>
              </a:cxn>
              <a:cxn ang="0">
                <a:pos x="connsiteX25500" y="connsiteY25500"/>
              </a:cxn>
              <a:cxn ang="0">
                <a:pos x="connsiteX25501" y="connsiteY25501"/>
              </a:cxn>
              <a:cxn ang="0">
                <a:pos x="connsiteX25502" y="connsiteY25502"/>
              </a:cxn>
              <a:cxn ang="0">
                <a:pos x="connsiteX25503" y="connsiteY25503"/>
              </a:cxn>
              <a:cxn ang="0">
                <a:pos x="connsiteX25504" y="connsiteY25504"/>
              </a:cxn>
              <a:cxn ang="0">
                <a:pos x="connsiteX25505" y="connsiteY25505"/>
              </a:cxn>
              <a:cxn ang="0">
                <a:pos x="connsiteX25506" y="connsiteY25506"/>
              </a:cxn>
              <a:cxn ang="0">
                <a:pos x="connsiteX25507" y="connsiteY25507"/>
              </a:cxn>
              <a:cxn ang="0">
                <a:pos x="connsiteX25508" y="connsiteY25508"/>
              </a:cxn>
              <a:cxn ang="0">
                <a:pos x="connsiteX25509" y="connsiteY25509"/>
              </a:cxn>
              <a:cxn ang="0">
                <a:pos x="connsiteX25510" y="connsiteY25510"/>
              </a:cxn>
              <a:cxn ang="0">
                <a:pos x="connsiteX25511" y="connsiteY25511"/>
              </a:cxn>
              <a:cxn ang="0">
                <a:pos x="connsiteX25512" y="connsiteY25512"/>
              </a:cxn>
              <a:cxn ang="0">
                <a:pos x="connsiteX25513" y="connsiteY25513"/>
              </a:cxn>
              <a:cxn ang="0">
                <a:pos x="connsiteX25514" y="connsiteY25514"/>
              </a:cxn>
              <a:cxn ang="0">
                <a:pos x="connsiteX25515" y="connsiteY25515"/>
              </a:cxn>
              <a:cxn ang="0">
                <a:pos x="connsiteX25516" y="connsiteY25516"/>
              </a:cxn>
              <a:cxn ang="0">
                <a:pos x="connsiteX25517" y="connsiteY25517"/>
              </a:cxn>
              <a:cxn ang="0">
                <a:pos x="connsiteX25518" y="connsiteY25518"/>
              </a:cxn>
              <a:cxn ang="0">
                <a:pos x="connsiteX25519" y="connsiteY25519"/>
              </a:cxn>
              <a:cxn ang="0">
                <a:pos x="connsiteX25520" y="connsiteY25520"/>
              </a:cxn>
              <a:cxn ang="0">
                <a:pos x="connsiteX25521" y="connsiteY25521"/>
              </a:cxn>
              <a:cxn ang="0">
                <a:pos x="connsiteX25522" y="connsiteY25522"/>
              </a:cxn>
              <a:cxn ang="0">
                <a:pos x="connsiteX25523" y="connsiteY25523"/>
              </a:cxn>
              <a:cxn ang="0">
                <a:pos x="connsiteX25524" y="connsiteY25524"/>
              </a:cxn>
              <a:cxn ang="0">
                <a:pos x="connsiteX25525" y="connsiteY25525"/>
              </a:cxn>
              <a:cxn ang="0">
                <a:pos x="connsiteX25526" y="connsiteY25526"/>
              </a:cxn>
              <a:cxn ang="0">
                <a:pos x="connsiteX25527" y="connsiteY25527"/>
              </a:cxn>
              <a:cxn ang="0">
                <a:pos x="connsiteX25528" y="connsiteY25528"/>
              </a:cxn>
              <a:cxn ang="0">
                <a:pos x="connsiteX25529" y="connsiteY25529"/>
              </a:cxn>
              <a:cxn ang="0">
                <a:pos x="connsiteX25530" y="connsiteY25530"/>
              </a:cxn>
              <a:cxn ang="0">
                <a:pos x="connsiteX25531" y="connsiteY25531"/>
              </a:cxn>
              <a:cxn ang="0">
                <a:pos x="connsiteX25532" y="connsiteY25532"/>
              </a:cxn>
              <a:cxn ang="0">
                <a:pos x="connsiteX25533" y="connsiteY25533"/>
              </a:cxn>
              <a:cxn ang="0">
                <a:pos x="connsiteX25534" y="connsiteY25534"/>
              </a:cxn>
              <a:cxn ang="0">
                <a:pos x="connsiteX25535" y="connsiteY25535"/>
              </a:cxn>
              <a:cxn ang="0">
                <a:pos x="connsiteX25536" y="connsiteY25536"/>
              </a:cxn>
              <a:cxn ang="0">
                <a:pos x="connsiteX25537" y="connsiteY25537"/>
              </a:cxn>
              <a:cxn ang="0">
                <a:pos x="connsiteX25538" y="connsiteY25538"/>
              </a:cxn>
              <a:cxn ang="0">
                <a:pos x="connsiteX25539" y="connsiteY25539"/>
              </a:cxn>
              <a:cxn ang="0">
                <a:pos x="connsiteX25540" y="connsiteY25540"/>
              </a:cxn>
              <a:cxn ang="0">
                <a:pos x="connsiteX25541" y="connsiteY25541"/>
              </a:cxn>
              <a:cxn ang="0">
                <a:pos x="connsiteX25542" y="connsiteY25542"/>
              </a:cxn>
              <a:cxn ang="0">
                <a:pos x="connsiteX25543" y="connsiteY25543"/>
              </a:cxn>
              <a:cxn ang="0">
                <a:pos x="connsiteX25544" y="connsiteY25544"/>
              </a:cxn>
              <a:cxn ang="0">
                <a:pos x="connsiteX25545" y="connsiteY25545"/>
              </a:cxn>
              <a:cxn ang="0">
                <a:pos x="connsiteX25546" y="connsiteY25546"/>
              </a:cxn>
              <a:cxn ang="0">
                <a:pos x="connsiteX25547" y="connsiteY25547"/>
              </a:cxn>
              <a:cxn ang="0">
                <a:pos x="connsiteX25548" y="connsiteY25548"/>
              </a:cxn>
              <a:cxn ang="0">
                <a:pos x="connsiteX25549" y="connsiteY25549"/>
              </a:cxn>
              <a:cxn ang="0">
                <a:pos x="connsiteX25550" y="connsiteY25550"/>
              </a:cxn>
              <a:cxn ang="0">
                <a:pos x="connsiteX25551" y="connsiteY25551"/>
              </a:cxn>
              <a:cxn ang="0">
                <a:pos x="connsiteX25552" y="connsiteY25552"/>
              </a:cxn>
              <a:cxn ang="0">
                <a:pos x="connsiteX25553" y="connsiteY25553"/>
              </a:cxn>
              <a:cxn ang="0">
                <a:pos x="connsiteX25554" y="connsiteY25554"/>
              </a:cxn>
              <a:cxn ang="0">
                <a:pos x="connsiteX25555" y="connsiteY25555"/>
              </a:cxn>
              <a:cxn ang="0">
                <a:pos x="connsiteX25556" y="connsiteY25556"/>
              </a:cxn>
              <a:cxn ang="0">
                <a:pos x="connsiteX25557" y="connsiteY25557"/>
              </a:cxn>
              <a:cxn ang="0">
                <a:pos x="connsiteX25558" y="connsiteY25558"/>
              </a:cxn>
              <a:cxn ang="0">
                <a:pos x="connsiteX25559" y="connsiteY25559"/>
              </a:cxn>
              <a:cxn ang="0">
                <a:pos x="connsiteX25560" y="connsiteY25560"/>
              </a:cxn>
              <a:cxn ang="0">
                <a:pos x="connsiteX25561" y="connsiteY25561"/>
              </a:cxn>
              <a:cxn ang="0">
                <a:pos x="connsiteX25562" y="connsiteY25562"/>
              </a:cxn>
              <a:cxn ang="0">
                <a:pos x="connsiteX25563" y="connsiteY25563"/>
              </a:cxn>
              <a:cxn ang="0">
                <a:pos x="connsiteX25564" y="connsiteY25564"/>
              </a:cxn>
              <a:cxn ang="0">
                <a:pos x="connsiteX25565" y="connsiteY25565"/>
              </a:cxn>
              <a:cxn ang="0">
                <a:pos x="connsiteX25566" y="connsiteY25566"/>
              </a:cxn>
              <a:cxn ang="0">
                <a:pos x="connsiteX25567" y="connsiteY25567"/>
              </a:cxn>
              <a:cxn ang="0">
                <a:pos x="connsiteX25568" y="connsiteY25568"/>
              </a:cxn>
              <a:cxn ang="0">
                <a:pos x="connsiteX25569" y="connsiteY25569"/>
              </a:cxn>
              <a:cxn ang="0">
                <a:pos x="connsiteX25570" y="connsiteY25570"/>
              </a:cxn>
              <a:cxn ang="0">
                <a:pos x="connsiteX25571" y="connsiteY25571"/>
              </a:cxn>
              <a:cxn ang="0">
                <a:pos x="connsiteX25572" y="connsiteY25572"/>
              </a:cxn>
              <a:cxn ang="0">
                <a:pos x="connsiteX25573" y="connsiteY25573"/>
              </a:cxn>
              <a:cxn ang="0">
                <a:pos x="connsiteX25574" y="connsiteY25574"/>
              </a:cxn>
              <a:cxn ang="0">
                <a:pos x="connsiteX25575" y="connsiteY25575"/>
              </a:cxn>
              <a:cxn ang="0">
                <a:pos x="connsiteX25576" y="connsiteY25576"/>
              </a:cxn>
              <a:cxn ang="0">
                <a:pos x="connsiteX25577" y="connsiteY25577"/>
              </a:cxn>
              <a:cxn ang="0">
                <a:pos x="connsiteX25578" y="connsiteY25578"/>
              </a:cxn>
              <a:cxn ang="0">
                <a:pos x="connsiteX25579" y="connsiteY25579"/>
              </a:cxn>
              <a:cxn ang="0">
                <a:pos x="connsiteX25580" y="connsiteY25580"/>
              </a:cxn>
              <a:cxn ang="0">
                <a:pos x="connsiteX25581" y="connsiteY25581"/>
              </a:cxn>
              <a:cxn ang="0">
                <a:pos x="connsiteX25582" y="connsiteY25582"/>
              </a:cxn>
              <a:cxn ang="0">
                <a:pos x="connsiteX25583" y="connsiteY25583"/>
              </a:cxn>
              <a:cxn ang="0">
                <a:pos x="connsiteX25584" y="connsiteY25584"/>
              </a:cxn>
              <a:cxn ang="0">
                <a:pos x="connsiteX25585" y="connsiteY25585"/>
              </a:cxn>
              <a:cxn ang="0">
                <a:pos x="connsiteX25586" y="connsiteY25586"/>
              </a:cxn>
              <a:cxn ang="0">
                <a:pos x="connsiteX25587" y="connsiteY25587"/>
              </a:cxn>
              <a:cxn ang="0">
                <a:pos x="connsiteX25588" y="connsiteY25588"/>
              </a:cxn>
              <a:cxn ang="0">
                <a:pos x="connsiteX25589" y="connsiteY25589"/>
              </a:cxn>
              <a:cxn ang="0">
                <a:pos x="connsiteX25590" y="connsiteY25590"/>
              </a:cxn>
              <a:cxn ang="0">
                <a:pos x="connsiteX25591" y="connsiteY25591"/>
              </a:cxn>
              <a:cxn ang="0">
                <a:pos x="connsiteX25592" y="connsiteY25592"/>
              </a:cxn>
              <a:cxn ang="0">
                <a:pos x="connsiteX25593" y="connsiteY25593"/>
              </a:cxn>
              <a:cxn ang="0">
                <a:pos x="connsiteX25594" y="connsiteY25594"/>
              </a:cxn>
              <a:cxn ang="0">
                <a:pos x="connsiteX25595" y="connsiteY25595"/>
              </a:cxn>
              <a:cxn ang="0">
                <a:pos x="connsiteX25596" y="connsiteY25596"/>
              </a:cxn>
              <a:cxn ang="0">
                <a:pos x="connsiteX25597" y="connsiteY25597"/>
              </a:cxn>
              <a:cxn ang="0">
                <a:pos x="connsiteX25598" y="connsiteY25598"/>
              </a:cxn>
              <a:cxn ang="0">
                <a:pos x="connsiteX25599" y="connsiteY25599"/>
              </a:cxn>
              <a:cxn ang="0">
                <a:pos x="connsiteX25600" y="connsiteY25600"/>
              </a:cxn>
              <a:cxn ang="0">
                <a:pos x="connsiteX25601" y="connsiteY25601"/>
              </a:cxn>
              <a:cxn ang="0">
                <a:pos x="connsiteX25602" y="connsiteY25602"/>
              </a:cxn>
              <a:cxn ang="0">
                <a:pos x="connsiteX25603" y="connsiteY25603"/>
              </a:cxn>
              <a:cxn ang="0">
                <a:pos x="connsiteX25604" y="connsiteY25604"/>
              </a:cxn>
              <a:cxn ang="0">
                <a:pos x="connsiteX25605" y="connsiteY25605"/>
              </a:cxn>
              <a:cxn ang="0">
                <a:pos x="connsiteX25606" y="connsiteY25606"/>
              </a:cxn>
              <a:cxn ang="0">
                <a:pos x="connsiteX25607" y="connsiteY25607"/>
              </a:cxn>
              <a:cxn ang="0">
                <a:pos x="connsiteX25608" y="connsiteY25608"/>
              </a:cxn>
              <a:cxn ang="0">
                <a:pos x="connsiteX25609" y="connsiteY25609"/>
              </a:cxn>
              <a:cxn ang="0">
                <a:pos x="connsiteX25610" y="connsiteY25610"/>
              </a:cxn>
              <a:cxn ang="0">
                <a:pos x="connsiteX25611" y="connsiteY25611"/>
              </a:cxn>
              <a:cxn ang="0">
                <a:pos x="connsiteX25612" y="connsiteY25612"/>
              </a:cxn>
              <a:cxn ang="0">
                <a:pos x="connsiteX25613" y="connsiteY25613"/>
              </a:cxn>
              <a:cxn ang="0">
                <a:pos x="connsiteX25614" y="connsiteY25614"/>
              </a:cxn>
              <a:cxn ang="0">
                <a:pos x="connsiteX25615" y="connsiteY25615"/>
              </a:cxn>
              <a:cxn ang="0">
                <a:pos x="connsiteX25616" y="connsiteY25616"/>
              </a:cxn>
              <a:cxn ang="0">
                <a:pos x="connsiteX25617" y="connsiteY25617"/>
              </a:cxn>
              <a:cxn ang="0">
                <a:pos x="connsiteX25618" y="connsiteY25618"/>
              </a:cxn>
              <a:cxn ang="0">
                <a:pos x="connsiteX25619" y="connsiteY25619"/>
              </a:cxn>
              <a:cxn ang="0">
                <a:pos x="connsiteX25620" y="connsiteY25620"/>
              </a:cxn>
              <a:cxn ang="0">
                <a:pos x="connsiteX25621" y="connsiteY25621"/>
              </a:cxn>
              <a:cxn ang="0">
                <a:pos x="connsiteX25622" y="connsiteY25622"/>
              </a:cxn>
              <a:cxn ang="0">
                <a:pos x="connsiteX25623" y="connsiteY25623"/>
              </a:cxn>
              <a:cxn ang="0">
                <a:pos x="connsiteX25624" y="connsiteY25624"/>
              </a:cxn>
              <a:cxn ang="0">
                <a:pos x="connsiteX25625" y="connsiteY25625"/>
              </a:cxn>
              <a:cxn ang="0">
                <a:pos x="connsiteX25626" y="connsiteY25626"/>
              </a:cxn>
              <a:cxn ang="0">
                <a:pos x="connsiteX25627" y="connsiteY25627"/>
              </a:cxn>
              <a:cxn ang="0">
                <a:pos x="connsiteX25628" y="connsiteY25628"/>
              </a:cxn>
              <a:cxn ang="0">
                <a:pos x="connsiteX25629" y="connsiteY25629"/>
              </a:cxn>
              <a:cxn ang="0">
                <a:pos x="connsiteX25630" y="connsiteY25630"/>
              </a:cxn>
              <a:cxn ang="0">
                <a:pos x="connsiteX25631" y="connsiteY25631"/>
              </a:cxn>
              <a:cxn ang="0">
                <a:pos x="connsiteX25632" y="connsiteY25632"/>
              </a:cxn>
              <a:cxn ang="0">
                <a:pos x="connsiteX25633" y="connsiteY25633"/>
              </a:cxn>
              <a:cxn ang="0">
                <a:pos x="connsiteX25634" y="connsiteY25634"/>
              </a:cxn>
              <a:cxn ang="0">
                <a:pos x="connsiteX25635" y="connsiteY25635"/>
              </a:cxn>
              <a:cxn ang="0">
                <a:pos x="connsiteX25636" y="connsiteY25636"/>
              </a:cxn>
              <a:cxn ang="0">
                <a:pos x="connsiteX25637" y="connsiteY25637"/>
              </a:cxn>
              <a:cxn ang="0">
                <a:pos x="connsiteX25638" y="connsiteY25638"/>
              </a:cxn>
              <a:cxn ang="0">
                <a:pos x="connsiteX25639" y="connsiteY25639"/>
              </a:cxn>
              <a:cxn ang="0">
                <a:pos x="connsiteX25640" y="connsiteY25640"/>
              </a:cxn>
              <a:cxn ang="0">
                <a:pos x="connsiteX25641" y="connsiteY25641"/>
              </a:cxn>
              <a:cxn ang="0">
                <a:pos x="connsiteX25642" y="connsiteY25642"/>
              </a:cxn>
              <a:cxn ang="0">
                <a:pos x="connsiteX25643" y="connsiteY25643"/>
              </a:cxn>
              <a:cxn ang="0">
                <a:pos x="connsiteX25644" y="connsiteY25644"/>
              </a:cxn>
              <a:cxn ang="0">
                <a:pos x="connsiteX25645" y="connsiteY25645"/>
              </a:cxn>
              <a:cxn ang="0">
                <a:pos x="connsiteX25646" y="connsiteY25646"/>
              </a:cxn>
              <a:cxn ang="0">
                <a:pos x="connsiteX25647" y="connsiteY25647"/>
              </a:cxn>
              <a:cxn ang="0">
                <a:pos x="connsiteX25648" y="connsiteY25648"/>
              </a:cxn>
              <a:cxn ang="0">
                <a:pos x="connsiteX25649" y="connsiteY25649"/>
              </a:cxn>
              <a:cxn ang="0">
                <a:pos x="connsiteX25650" y="connsiteY25650"/>
              </a:cxn>
              <a:cxn ang="0">
                <a:pos x="connsiteX25651" y="connsiteY25651"/>
              </a:cxn>
              <a:cxn ang="0">
                <a:pos x="connsiteX25652" y="connsiteY25652"/>
              </a:cxn>
              <a:cxn ang="0">
                <a:pos x="connsiteX25653" y="connsiteY25653"/>
              </a:cxn>
              <a:cxn ang="0">
                <a:pos x="connsiteX25654" y="connsiteY25654"/>
              </a:cxn>
              <a:cxn ang="0">
                <a:pos x="connsiteX25655" y="connsiteY25655"/>
              </a:cxn>
              <a:cxn ang="0">
                <a:pos x="connsiteX25656" y="connsiteY25656"/>
              </a:cxn>
              <a:cxn ang="0">
                <a:pos x="connsiteX25657" y="connsiteY25657"/>
              </a:cxn>
              <a:cxn ang="0">
                <a:pos x="connsiteX25658" y="connsiteY25658"/>
              </a:cxn>
              <a:cxn ang="0">
                <a:pos x="connsiteX25659" y="connsiteY25659"/>
              </a:cxn>
              <a:cxn ang="0">
                <a:pos x="connsiteX25660" y="connsiteY25660"/>
              </a:cxn>
              <a:cxn ang="0">
                <a:pos x="connsiteX25661" y="connsiteY25661"/>
              </a:cxn>
              <a:cxn ang="0">
                <a:pos x="connsiteX25662" y="connsiteY25662"/>
              </a:cxn>
              <a:cxn ang="0">
                <a:pos x="connsiteX25663" y="connsiteY25663"/>
              </a:cxn>
              <a:cxn ang="0">
                <a:pos x="connsiteX25664" y="connsiteY25664"/>
              </a:cxn>
              <a:cxn ang="0">
                <a:pos x="connsiteX25665" y="connsiteY25665"/>
              </a:cxn>
              <a:cxn ang="0">
                <a:pos x="connsiteX25666" y="connsiteY25666"/>
              </a:cxn>
              <a:cxn ang="0">
                <a:pos x="connsiteX25667" y="connsiteY25667"/>
              </a:cxn>
              <a:cxn ang="0">
                <a:pos x="connsiteX25668" y="connsiteY25668"/>
              </a:cxn>
              <a:cxn ang="0">
                <a:pos x="connsiteX25669" y="connsiteY25669"/>
              </a:cxn>
              <a:cxn ang="0">
                <a:pos x="connsiteX25670" y="connsiteY25670"/>
              </a:cxn>
              <a:cxn ang="0">
                <a:pos x="connsiteX25671" y="connsiteY25671"/>
              </a:cxn>
              <a:cxn ang="0">
                <a:pos x="connsiteX25672" y="connsiteY25672"/>
              </a:cxn>
              <a:cxn ang="0">
                <a:pos x="connsiteX25673" y="connsiteY25673"/>
              </a:cxn>
              <a:cxn ang="0">
                <a:pos x="connsiteX25674" y="connsiteY25674"/>
              </a:cxn>
              <a:cxn ang="0">
                <a:pos x="connsiteX25675" y="connsiteY25675"/>
              </a:cxn>
              <a:cxn ang="0">
                <a:pos x="connsiteX25676" y="connsiteY25676"/>
              </a:cxn>
              <a:cxn ang="0">
                <a:pos x="connsiteX25677" y="connsiteY25677"/>
              </a:cxn>
              <a:cxn ang="0">
                <a:pos x="connsiteX25678" y="connsiteY25678"/>
              </a:cxn>
              <a:cxn ang="0">
                <a:pos x="connsiteX25679" y="connsiteY25679"/>
              </a:cxn>
              <a:cxn ang="0">
                <a:pos x="connsiteX25680" y="connsiteY25680"/>
              </a:cxn>
              <a:cxn ang="0">
                <a:pos x="connsiteX25681" y="connsiteY25681"/>
              </a:cxn>
              <a:cxn ang="0">
                <a:pos x="connsiteX25682" y="connsiteY25682"/>
              </a:cxn>
              <a:cxn ang="0">
                <a:pos x="connsiteX25683" y="connsiteY25683"/>
              </a:cxn>
              <a:cxn ang="0">
                <a:pos x="connsiteX25684" y="connsiteY25684"/>
              </a:cxn>
              <a:cxn ang="0">
                <a:pos x="connsiteX25685" y="connsiteY25685"/>
              </a:cxn>
              <a:cxn ang="0">
                <a:pos x="connsiteX25686" y="connsiteY25686"/>
              </a:cxn>
              <a:cxn ang="0">
                <a:pos x="connsiteX25687" y="connsiteY25687"/>
              </a:cxn>
              <a:cxn ang="0">
                <a:pos x="connsiteX25688" y="connsiteY25688"/>
              </a:cxn>
              <a:cxn ang="0">
                <a:pos x="connsiteX25689" y="connsiteY25689"/>
              </a:cxn>
              <a:cxn ang="0">
                <a:pos x="connsiteX25690" y="connsiteY25690"/>
              </a:cxn>
              <a:cxn ang="0">
                <a:pos x="connsiteX25691" y="connsiteY25691"/>
              </a:cxn>
              <a:cxn ang="0">
                <a:pos x="connsiteX25692" y="connsiteY25692"/>
              </a:cxn>
              <a:cxn ang="0">
                <a:pos x="connsiteX25693" y="connsiteY25693"/>
              </a:cxn>
              <a:cxn ang="0">
                <a:pos x="connsiteX25694" y="connsiteY25694"/>
              </a:cxn>
              <a:cxn ang="0">
                <a:pos x="connsiteX25695" y="connsiteY25695"/>
              </a:cxn>
              <a:cxn ang="0">
                <a:pos x="connsiteX25696" y="connsiteY25696"/>
              </a:cxn>
              <a:cxn ang="0">
                <a:pos x="connsiteX25697" y="connsiteY25697"/>
              </a:cxn>
              <a:cxn ang="0">
                <a:pos x="connsiteX25698" y="connsiteY25698"/>
              </a:cxn>
              <a:cxn ang="0">
                <a:pos x="connsiteX25699" y="connsiteY25699"/>
              </a:cxn>
              <a:cxn ang="0">
                <a:pos x="connsiteX25700" y="connsiteY25700"/>
              </a:cxn>
              <a:cxn ang="0">
                <a:pos x="connsiteX25701" y="connsiteY25701"/>
              </a:cxn>
              <a:cxn ang="0">
                <a:pos x="connsiteX25702" y="connsiteY25702"/>
              </a:cxn>
              <a:cxn ang="0">
                <a:pos x="connsiteX25703" y="connsiteY25703"/>
              </a:cxn>
              <a:cxn ang="0">
                <a:pos x="connsiteX25704" y="connsiteY25704"/>
              </a:cxn>
              <a:cxn ang="0">
                <a:pos x="connsiteX25705" y="connsiteY25705"/>
              </a:cxn>
              <a:cxn ang="0">
                <a:pos x="connsiteX25706" y="connsiteY25706"/>
              </a:cxn>
              <a:cxn ang="0">
                <a:pos x="connsiteX25707" y="connsiteY25707"/>
              </a:cxn>
              <a:cxn ang="0">
                <a:pos x="connsiteX25708" y="connsiteY25708"/>
              </a:cxn>
              <a:cxn ang="0">
                <a:pos x="connsiteX25709" y="connsiteY25709"/>
              </a:cxn>
              <a:cxn ang="0">
                <a:pos x="connsiteX25710" y="connsiteY25710"/>
              </a:cxn>
              <a:cxn ang="0">
                <a:pos x="connsiteX25711" y="connsiteY25711"/>
              </a:cxn>
              <a:cxn ang="0">
                <a:pos x="connsiteX25712" y="connsiteY25712"/>
              </a:cxn>
              <a:cxn ang="0">
                <a:pos x="connsiteX25713" y="connsiteY25713"/>
              </a:cxn>
              <a:cxn ang="0">
                <a:pos x="connsiteX25714" y="connsiteY25714"/>
              </a:cxn>
              <a:cxn ang="0">
                <a:pos x="connsiteX25715" y="connsiteY25715"/>
              </a:cxn>
              <a:cxn ang="0">
                <a:pos x="connsiteX25716" y="connsiteY25716"/>
              </a:cxn>
              <a:cxn ang="0">
                <a:pos x="connsiteX25717" y="connsiteY25717"/>
              </a:cxn>
              <a:cxn ang="0">
                <a:pos x="connsiteX25718" y="connsiteY25718"/>
              </a:cxn>
              <a:cxn ang="0">
                <a:pos x="connsiteX25719" y="connsiteY25719"/>
              </a:cxn>
              <a:cxn ang="0">
                <a:pos x="connsiteX25720" y="connsiteY25720"/>
              </a:cxn>
              <a:cxn ang="0">
                <a:pos x="connsiteX25721" y="connsiteY25721"/>
              </a:cxn>
              <a:cxn ang="0">
                <a:pos x="connsiteX25722" y="connsiteY25722"/>
              </a:cxn>
              <a:cxn ang="0">
                <a:pos x="connsiteX25723" y="connsiteY25723"/>
              </a:cxn>
              <a:cxn ang="0">
                <a:pos x="connsiteX25724" y="connsiteY25724"/>
              </a:cxn>
              <a:cxn ang="0">
                <a:pos x="connsiteX25725" y="connsiteY25725"/>
              </a:cxn>
              <a:cxn ang="0">
                <a:pos x="connsiteX25726" y="connsiteY25726"/>
              </a:cxn>
              <a:cxn ang="0">
                <a:pos x="connsiteX25727" y="connsiteY25727"/>
              </a:cxn>
              <a:cxn ang="0">
                <a:pos x="connsiteX25728" y="connsiteY25728"/>
              </a:cxn>
              <a:cxn ang="0">
                <a:pos x="connsiteX25729" y="connsiteY25729"/>
              </a:cxn>
              <a:cxn ang="0">
                <a:pos x="connsiteX25730" y="connsiteY25730"/>
              </a:cxn>
              <a:cxn ang="0">
                <a:pos x="connsiteX25731" y="connsiteY25731"/>
              </a:cxn>
              <a:cxn ang="0">
                <a:pos x="connsiteX25732" y="connsiteY25732"/>
              </a:cxn>
              <a:cxn ang="0">
                <a:pos x="connsiteX25733" y="connsiteY25733"/>
              </a:cxn>
              <a:cxn ang="0">
                <a:pos x="connsiteX25734" y="connsiteY25734"/>
              </a:cxn>
              <a:cxn ang="0">
                <a:pos x="connsiteX25735" y="connsiteY25735"/>
              </a:cxn>
              <a:cxn ang="0">
                <a:pos x="connsiteX25736" y="connsiteY25736"/>
              </a:cxn>
              <a:cxn ang="0">
                <a:pos x="connsiteX25737" y="connsiteY25737"/>
              </a:cxn>
              <a:cxn ang="0">
                <a:pos x="connsiteX25738" y="connsiteY25738"/>
              </a:cxn>
              <a:cxn ang="0">
                <a:pos x="connsiteX25739" y="connsiteY25739"/>
              </a:cxn>
              <a:cxn ang="0">
                <a:pos x="connsiteX25740" y="connsiteY25740"/>
              </a:cxn>
              <a:cxn ang="0">
                <a:pos x="connsiteX25741" y="connsiteY25741"/>
              </a:cxn>
              <a:cxn ang="0">
                <a:pos x="connsiteX25742" y="connsiteY25742"/>
              </a:cxn>
              <a:cxn ang="0">
                <a:pos x="connsiteX25743" y="connsiteY25743"/>
              </a:cxn>
              <a:cxn ang="0">
                <a:pos x="connsiteX25744" y="connsiteY25744"/>
              </a:cxn>
              <a:cxn ang="0">
                <a:pos x="connsiteX25745" y="connsiteY25745"/>
              </a:cxn>
              <a:cxn ang="0">
                <a:pos x="connsiteX25746" y="connsiteY25746"/>
              </a:cxn>
              <a:cxn ang="0">
                <a:pos x="connsiteX25747" y="connsiteY25747"/>
              </a:cxn>
              <a:cxn ang="0">
                <a:pos x="connsiteX25748" y="connsiteY25748"/>
              </a:cxn>
              <a:cxn ang="0">
                <a:pos x="connsiteX25749" y="connsiteY25749"/>
              </a:cxn>
              <a:cxn ang="0">
                <a:pos x="connsiteX25750" y="connsiteY25750"/>
              </a:cxn>
              <a:cxn ang="0">
                <a:pos x="connsiteX25751" y="connsiteY25751"/>
              </a:cxn>
              <a:cxn ang="0">
                <a:pos x="connsiteX25752" y="connsiteY25752"/>
              </a:cxn>
              <a:cxn ang="0">
                <a:pos x="connsiteX25753" y="connsiteY25753"/>
              </a:cxn>
              <a:cxn ang="0">
                <a:pos x="connsiteX25754" y="connsiteY25754"/>
              </a:cxn>
              <a:cxn ang="0">
                <a:pos x="connsiteX25755" y="connsiteY25755"/>
              </a:cxn>
              <a:cxn ang="0">
                <a:pos x="connsiteX25756" y="connsiteY25756"/>
              </a:cxn>
              <a:cxn ang="0">
                <a:pos x="connsiteX25757" y="connsiteY25757"/>
              </a:cxn>
              <a:cxn ang="0">
                <a:pos x="connsiteX25758" y="connsiteY25758"/>
              </a:cxn>
              <a:cxn ang="0">
                <a:pos x="connsiteX25759" y="connsiteY25759"/>
              </a:cxn>
              <a:cxn ang="0">
                <a:pos x="connsiteX25760" y="connsiteY25760"/>
              </a:cxn>
              <a:cxn ang="0">
                <a:pos x="connsiteX25761" y="connsiteY25761"/>
              </a:cxn>
              <a:cxn ang="0">
                <a:pos x="connsiteX25762" y="connsiteY25762"/>
              </a:cxn>
              <a:cxn ang="0">
                <a:pos x="connsiteX25763" y="connsiteY25763"/>
              </a:cxn>
              <a:cxn ang="0">
                <a:pos x="connsiteX25764" y="connsiteY25764"/>
              </a:cxn>
              <a:cxn ang="0">
                <a:pos x="connsiteX25765" y="connsiteY25765"/>
              </a:cxn>
              <a:cxn ang="0">
                <a:pos x="connsiteX25766" y="connsiteY25766"/>
              </a:cxn>
              <a:cxn ang="0">
                <a:pos x="connsiteX25767" y="connsiteY25767"/>
              </a:cxn>
              <a:cxn ang="0">
                <a:pos x="connsiteX25768" y="connsiteY25768"/>
              </a:cxn>
              <a:cxn ang="0">
                <a:pos x="connsiteX25769" y="connsiteY25769"/>
              </a:cxn>
              <a:cxn ang="0">
                <a:pos x="connsiteX25770" y="connsiteY25770"/>
              </a:cxn>
              <a:cxn ang="0">
                <a:pos x="connsiteX25771" y="connsiteY25771"/>
              </a:cxn>
              <a:cxn ang="0">
                <a:pos x="connsiteX25772" y="connsiteY25772"/>
              </a:cxn>
              <a:cxn ang="0">
                <a:pos x="connsiteX25773" y="connsiteY25773"/>
              </a:cxn>
              <a:cxn ang="0">
                <a:pos x="connsiteX25774" y="connsiteY25774"/>
              </a:cxn>
              <a:cxn ang="0">
                <a:pos x="connsiteX25775" y="connsiteY25775"/>
              </a:cxn>
              <a:cxn ang="0">
                <a:pos x="connsiteX25776" y="connsiteY25776"/>
              </a:cxn>
              <a:cxn ang="0">
                <a:pos x="connsiteX25777" y="connsiteY25777"/>
              </a:cxn>
              <a:cxn ang="0">
                <a:pos x="connsiteX25778" y="connsiteY25778"/>
              </a:cxn>
              <a:cxn ang="0">
                <a:pos x="connsiteX25779" y="connsiteY25779"/>
              </a:cxn>
              <a:cxn ang="0">
                <a:pos x="connsiteX25780" y="connsiteY25780"/>
              </a:cxn>
              <a:cxn ang="0">
                <a:pos x="connsiteX25781" y="connsiteY25781"/>
              </a:cxn>
              <a:cxn ang="0">
                <a:pos x="connsiteX25782" y="connsiteY25782"/>
              </a:cxn>
              <a:cxn ang="0">
                <a:pos x="connsiteX25783" y="connsiteY25783"/>
              </a:cxn>
              <a:cxn ang="0">
                <a:pos x="connsiteX25784" y="connsiteY25784"/>
              </a:cxn>
              <a:cxn ang="0">
                <a:pos x="connsiteX25785" y="connsiteY25785"/>
              </a:cxn>
              <a:cxn ang="0">
                <a:pos x="connsiteX25786" y="connsiteY25786"/>
              </a:cxn>
              <a:cxn ang="0">
                <a:pos x="connsiteX25787" y="connsiteY25787"/>
              </a:cxn>
              <a:cxn ang="0">
                <a:pos x="connsiteX25788" y="connsiteY25788"/>
              </a:cxn>
              <a:cxn ang="0">
                <a:pos x="connsiteX25789" y="connsiteY25789"/>
              </a:cxn>
              <a:cxn ang="0">
                <a:pos x="connsiteX25790" y="connsiteY25790"/>
              </a:cxn>
              <a:cxn ang="0">
                <a:pos x="connsiteX25791" y="connsiteY25791"/>
              </a:cxn>
              <a:cxn ang="0">
                <a:pos x="connsiteX25792" y="connsiteY25792"/>
              </a:cxn>
              <a:cxn ang="0">
                <a:pos x="connsiteX25793" y="connsiteY25793"/>
              </a:cxn>
              <a:cxn ang="0">
                <a:pos x="connsiteX25794" y="connsiteY25794"/>
              </a:cxn>
              <a:cxn ang="0">
                <a:pos x="connsiteX25795" y="connsiteY25795"/>
              </a:cxn>
              <a:cxn ang="0">
                <a:pos x="connsiteX25796" y="connsiteY25796"/>
              </a:cxn>
              <a:cxn ang="0">
                <a:pos x="connsiteX25797" y="connsiteY25797"/>
              </a:cxn>
              <a:cxn ang="0">
                <a:pos x="connsiteX25798" y="connsiteY25798"/>
              </a:cxn>
              <a:cxn ang="0">
                <a:pos x="connsiteX25799" y="connsiteY25799"/>
              </a:cxn>
              <a:cxn ang="0">
                <a:pos x="connsiteX25800" y="connsiteY25800"/>
              </a:cxn>
              <a:cxn ang="0">
                <a:pos x="connsiteX25801" y="connsiteY25801"/>
              </a:cxn>
              <a:cxn ang="0">
                <a:pos x="connsiteX25802" y="connsiteY25802"/>
              </a:cxn>
              <a:cxn ang="0">
                <a:pos x="connsiteX25803" y="connsiteY25803"/>
              </a:cxn>
              <a:cxn ang="0">
                <a:pos x="connsiteX25804" y="connsiteY25804"/>
              </a:cxn>
              <a:cxn ang="0">
                <a:pos x="connsiteX25805" y="connsiteY25805"/>
              </a:cxn>
              <a:cxn ang="0">
                <a:pos x="connsiteX25806" y="connsiteY25806"/>
              </a:cxn>
              <a:cxn ang="0">
                <a:pos x="connsiteX25807" y="connsiteY25807"/>
              </a:cxn>
              <a:cxn ang="0">
                <a:pos x="connsiteX25808" y="connsiteY25808"/>
              </a:cxn>
              <a:cxn ang="0">
                <a:pos x="connsiteX25809" y="connsiteY25809"/>
              </a:cxn>
              <a:cxn ang="0">
                <a:pos x="connsiteX25810" y="connsiteY25810"/>
              </a:cxn>
              <a:cxn ang="0">
                <a:pos x="connsiteX25811" y="connsiteY25811"/>
              </a:cxn>
              <a:cxn ang="0">
                <a:pos x="connsiteX25812" y="connsiteY25812"/>
              </a:cxn>
              <a:cxn ang="0">
                <a:pos x="connsiteX25813" y="connsiteY25813"/>
              </a:cxn>
              <a:cxn ang="0">
                <a:pos x="connsiteX25814" y="connsiteY25814"/>
              </a:cxn>
              <a:cxn ang="0">
                <a:pos x="connsiteX25815" y="connsiteY25815"/>
              </a:cxn>
              <a:cxn ang="0">
                <a:pos x="connsiteX25816" y="connsiteY25816"/>
              </a:cxn>
              <a:cxn ang="0">
                <a:pos x="connsiteX25817" y="connsiteY25817"/>
              </a:cxn>
              <a:cxn ang="0">
                <a:pos x="connsiteX25818" y="connsiteY25818"/>
              </a:cxn>
              <a:cxn ang="0">
                <a:pos x="connsiteX25819" y="connsiteY25819"/>
              </a:cxn>
              <a:cxn ang="0">
                <a:pos x="connsiteX25820" y="connsiteY25820"/>
              </a:cxn>
              <a:cxn ang="0">
                <a:pos x="connsiteX25821" y="connsiteY25821"/>
              </a:cxn>
              <a:cxn ang="0">
                <a:pos x="connsiteX25822" y="connsiteY25822"/>
              </a:cxn>
              <a:cxn ang="0">
                <a:pos x="connsiteX25823" y="connsiteY25823"/>
              </a:cxn>
              <a:cxn ang="0">
                <a:pos x="connsiteX25824" y="connsiteY25824"/>
              </a:cxn>
              <a:cxn ang="0">
                <a:pos x="connsiteX25825" y="connsiteY25825"/>
              </a:cxn>
              <a:cxn ang="0">
                <a:pos x="connsiteX25826" y="connsiteY25826"/>
              </a:cxn>
              <a:cxn ang="0">
                <a:pos x="connsiteX25827" y="connsiteY25827"/>
              </a:cxn>
              <a:cxn ang="0">
                <a:pos x="connsiteX25828" y="connsiteY25828"/>
              </a:cxn>
              <a:cxn ang="0">
                <a:pos x="connsiteX25829" y="connsiteY25829"/>
              </a:cxn>
              <a:cxn ang="0">
                <a:pos x="connsiteX25830" y="connsiteY25830"/>
              </a:cxn>
              <a:cxn ang="0">
                <a:pos x="connsiteX25831" y="connsiteY25831"/>
              </a:cxn>
              <a:cxn ang="0">
                <a:pos x="connsiteX25832" y="connsiteY25832"/>
              </a:cxn>
              <a:cxn ang="0">
                <a:pos x="connsiteX25833" y="connsiteY25833"/>
              </a:cxn>
              <a:cxn ang="0">
                <a:pos x="connsiteX25834" y="connsiteY25834"/>
              </a:cxn>
              <a:cxn ang="0">
                <a:pos x="connsiteX25835" y="connsiteY25835"/>
              </a:cxn>
              <a:cxn ang="0">
                <a:pos x="connsiteX25836" y="connsiteY25836"/>
              </a:cxn>
              <a:cxn ang="0">
                <a:pos x="connsiteX25837" y="connsiteY25837"/>
              </a:cxn>
              <a:cxn ang="0">
                <a:pos x="connsiteX25838" y="connsiteY25838"/>
              </a:cxn>
              <a:cxn ang="0">
                <a:pos x="connsiteX25839" y="connsiteY25839"/>
              </a:cxn>
              <a:cxn ang="0">
                <a:pos x="connsiteX25840" y="connsiteY25840"/>
              </a:cxn>
              <a:cxn ang="0">
                <a:pos x="connsiteX25841" y="connsiteY25841"/>
              </a:cxn>
              <a:cxn ang="0">
                <a:pos x="connsiteX25842" y="connsiteY25842"/>
              </a:cxn>
              <a:cxn ang="0">
                <a:pos x="connsiteX25843" y="connsiteY25843"/>
              </a:cxn>
              <a:cxn ang="0">
                <a:pos x="connsiteX25844" y="connsiteY25844"/>
              </a:cxn>
              <a:cxn ang="0">
                <a:pos x="connsiteX25845" y="connsiteY25845"/>
              </a:cxn>
              <a:cxn ang="0">
                <a:pos x="connsiteX25846" y="connsiteY25846"/>
              </a:cxn>
              <a:cxn ang="0">
                <a:pos x="connsiteX25847" y="connsiteY25847"/>
              </a:cxn>
              <a:cxn ang="0">
                <a:pos x="connsiteX25848" y="connsiteY25848"/>
              </a:cxn>
              <a:cxn ang="0">
                <a:pos x="connsiteX25849" y="connsiteY25849"/>
              </a:cxn>
              <a:cxn ang="0">
                <a:pos x="connsiteX25850" y="connsiteY25850"/>
              </a:cxn>
              <a:cxn ang="0">
                <a:pos x="connsiteX25851" y="connsiteY25851"/>
              </a:cxn>
              <a:cxn ang="0">
                <a:pos x="connsiteX25852" y="connsiteY25852"/>
              </a:cxn>
              <a:cxn ang="0">
                <a:pos x="connsiteX25853" y="connsiteY25853"/>
              </a:cxn>
              <a:cxn ang="0">
                <a:pos x="connsiteX25854" y="connsiteY25854"/>
              </a:cxn>
              <a:cxn ang="0">
                <a:pos x="connsiteX25855" y="connsiteY25855"/>
              </a:cxn>
              <a:cxn ang="0">
                <a:pos x="connsiteX25856" y="connsiteY25856"/>
              </a:cxn>
              <a:cxn ang="0">
                <a:pos x="connsiteX25857" y="connsiteY25857"/>
              </a:cxn>
              <a:cxn ang="0">
                <a:pos x="connsiteX25858" y="connsiteY25858"/>
              </a:cxn>
              <a:cxn ang="0">
                <a:pos x="connsiteX25859" y="connsiteY25859"/>
              </a:cxn>
              <a:cxn ang="0">
                <a:pos x="connsiteX25860" y="connsiteY25860"/>
              </a:cxn>
              <a:cxn ang="0">
                <a:pos x="connsiteX25861" y="connsiteY25861"/>
              </a:cxn>
              <a:cxn ang="0">
                <a:pos x="connsiteX25862" y="connsiteY25862"/>
              </a:cxn>
              <a:cxn ang="0">
                <a:pos x="connsiteX25863" y="connsiteY25863"/>
              </a:cxn>
              <a:cxn ang="0">
                <a:pos x="connsiteX25864" y="connsiteY25864"/>
              </a:cxn>
              <a:cxn ang="0">
                <a:pos x="connsiteX25865" y="connsiteY25865"/>
              </a:cxn>
              <a:cxn ang="0">
                <a:pos x="connsiteX25866" y="connsiteY25866"/>
              </a:cxn>
              <a:cxn ang="0">
                <a:pos x="connsiteX25867" y="connsiteY25867"/>
              </a:cxn>
              <a:cxn ang="0">
                <a:pos x="connsiteX25868" y="connsiteY25868"/>
              </a:cxn>
              <a:cxn ang="0">
                <a:pos x="connsiteX25869" y="connsiteY25869"/>
              </a:cxn>
              <a:cxn ang="0">
                <a:pos x="connsiteX25870" y="connsiteY25870"/>
              </a:cxn>
              <a:cxn ang="0">
                <a:pos x="connsiteX25871" y="connsiteY25871"/>
              </a:cxn>
              <a:cxn ang="0">
                <a:pos x="connsiteX25872" y="connsiteY25872"/>
              </a:cxn>
              <a:cxn ang="0">
                <a:pos x="connsiteX25873" y="connsiteY25873"/>
              </a:cxn>
              <a:cxn ang="0">
                <a:pos x="connsiteX25874" y="connsiteY25874"/>
              </a:cxn>
              <a:cxn ang="0">
                <a:pos x="connsiteX25875" y="connsiteY25875"/>
              </a:cxn>
              <a:cxn ang="0">
                <a:pos x="connsiteX25876" y="connsiteY25876"/>
              </a:cxn>
              <a:cxn ang="0">
                <a:pos x="connsiteX25877" y="connsiteY25877"/>
              </a:cxn>
              <a:cxn ang="0">
                <a:pos x="connsiteX25878" y="connsiteY25878"/>
              </a:cxn>
              <a:cxn ang="0">
                <a:pos x="connsiteX25879" y="connsiteY25879"/>
              </a:cxn>
              <a:cxn ang="0">
                <a:pos x="connsiteX25880" y="connsiteY25880"/>
              </a:cxn>
              <a:cxn ang="0">
                <a:pos x="connsiteX25881" y="connsiteY25881"/>
              </a:cxn>
              <a:cxn ang="0">
                <a:pos x="connsiteX25882" y="connsiteY25882"/>
              </a:cxn>
              <a:cxn ang="0">
                <a:pos x="connsiteX25883" y="connsiteY25883"/>
              </a:cxn>
              <a:cxn ang="0">
                <a:pos x="connsiteX25884" y="connsiteY25884"/>
              </a:cxn>
              <a:cxn ang="0">
                <a:pos x="connsiteX25885" y="connsiteY25885"/>
              </a:cxn>
              <a:cxn ang="0">
                <a:pos x="connsiteX25886" y="connsiteY25886"/>
              </a:cxn>
              <a:cxn ang="0">
                <a:pos x="connsiteX25887" y="connsiteY25887"/>
              </a:cxn>
              <a:cxn ang="0">
                <a:pos x="connsiteX25888" y="connsiteY25888"/>
              </a:cxn>
              <a:cxn ang="0">
                <a:pos x="connsiteX25889" y="connsiteY25889"/>
              </a:cxn>
              <a:cxn ang="0">
                <a:pos x="connsiteX25890" y="connsiteY25890"/>
              </a:cxn>
              <a:cxn ang="0">
                <a:pos x="connsiteX25891" y="connsiteY25891"/>
              </a:cxn>
              <a:cxn ang="0">
                <a:pos x="connsiteX25892" y="connsiteY25892"/>
              </a:cxn>
              <a:cxn ang="0">
                <a:pos x="connsiteX25893" y="connsiteY25893"/>
              </a:cxn>
              <a:cxn ang="0">
                <a:pos x="connsiteX25894" y="connsiteY25894"/>
              </a:cxn>
              <a:cxn ang="0">
                <a:pos x="connsiteX25895" y="connsiteY25895"/>
              </a:cxn>
              <a:cxn ang="0">
                <a:pos x="connsiteX25896" y="connsiteY25896"/>
              </a:cxn>
              <a:cxn ang="0">
                <a:pos x="connsiteX25897" y="connsiteY25897"/>
              </a:cxn>
              <a:cxn ang="0">
                <a:pos x="connsiteX25898" y="connsiteY25898"/>
              </a:cxn>
              <a:cxn ang="0">
                <a:pos x="connsiteX25899" y="connsiteY25899"/>
              </a:cxn>
              <a:cxn ang="0">
                <a:pos x="connsiteX25900" y="connsiteY25900"/>
              </a:cxn>
              <a:cxn ang="0">
                <a:pos x="connsiteX25901" y="connsiteY25901"/>
              </a:cxn>
              <a:cxn ang="0">
                <a:pos x="connsiteX25902" y="connsiteY25902"/>
              </a:cxn>
              <a:cxn ang="0">
                <a:pos x="connsiteX25903" y="connsiteY25903"/>
              </a:cxn>
              <a:cxn ang="0">
                <a:pos x="connsiteX25904" y="connsiteY25904"/>
              </a:cxn>
              <a:cxn ang="0">
                <a:pos x="connsiteX25905" y="connsiteY25905"/>
              </a:cxn>
              <a:cxn ang="0">
                <a:pos x="connsiteX25906" y="connsiteY25906"/>
              </a:cxn>
              <a:cxn ang="0">
                <a:pos x="connsiteX25907" y="connsiteY25907"/>
              </a:cxn>
              <a:cxn ang="0">
                <a:pos x="connsiteX25908" y="connsiteY25908"/>
              </a:cxn>
              <a:cxn ang="0">
                <a:pos x="connsiteX25909" y="connsiteY25909"/>
              </a:cxn>
              <a:cxn ang="0">
                <a:pos x="connsiteX25910" y="connsiteY25910"/>
              </a:cxn>
              <a:cxn ang="0">
                <a:pos x="connsiteX25911" y="connsiteY25911"/>
              </a:cxn>
              <a:cxn ang="0">
                <a:pos x="connsiteX25912" y="connsiteY25912"/>
              </a:cxn>
              <a:cxn ang="0">
                <a:pos x="connsiteX25913" y="connsiteY25913"/>
              </a:cxn>
              <a:cxn ang="0">
                <a:pos x="connsiteX25914" y="connsiteY25914"/>
              </a:cxn>
              <a:cxn ang="0">
                <a:pos x="connsiteX25915" y="connsiteY25915"/>
              </a:cxn>
              <a:cxn ang="0">
                <a:pos x="connsiteX25916" y="connsiteY25916"/>
              </a:cxn>
              <a:cxn ang="0">
                <a:pos x="connsiteX25917" y="connsiteY25917"/>
              </a:cxn>
              <a:cxn ang="0">
                <a:pos x="connsiteX25918" y="connsiteY25918"/>
              </a:cxn>
              <a:cxn ang="0">
                <a:pos x="connsiteX25919" y="connsiteY25919"/>
              </a:cxn>
              <a:cxn ang="0">
                <a:pos x="connsiteX25920" y="connsiteY25920"/>
              </a:cxn>
              <a:cxn ang="0">
                <a:pos x="connsiteX25921" y="connsiteY25921"/>
              </a:cxn>
              <a:cxn ang="0">
                <a:pos x="connsiteX25922" y="connsiteY25922"/>
              </a:cxn>
              <a:cxn ang="0">
                <a:pos x="connsiteX25923" y="connsiteY25923"/>
              </a:cxn>
              <a:cxn ang="0">
                <a:pos x="connsiteX25924" y="connsiteY25924"/>
              </a:cxn>
              <a:cxn ang="0">
                <a:pos x="connsiteX25925" y="connsiteY25925"/>
              </a:cxn>
              <a:cxn ang="0">
                <a:pos x="connsiteX25926" y="connsiteY25926"/>
              </a:cxn>
              <a:cxn ang="0">
                <a:pos x="connsiteX25927" y="connsiteY25927"/>
              </a:cxn>
              <a:cxn ang="0">
                <a:pos x="connsiteX25928" y="connsiteY25928"/>
              </a:cxn>
              <a:cxn ang="0">
                <a:pos x="connsiteX25929" y="connsiteY25929"/>
              </a:cxn>
              <a:cxn ang="0">
                <a:pos x="connsiteX25930" y="connsiteY25930"/>
              </a:cxn>
              <a:cxn ang="0">
                <a:pos x="connsiteX25931" y="connsiteY25931"/>
              </a:cxn>
              <a:cxn ang="0">
                <a:pos x="connsiteX25932" y="connsiteY25932"/>
              </a:cxn>
              <a:cxn ang="0">
                <a:pos x="connsiteX25933" y="connsiteY25933"/>
              </a:cxn>
              <a:cxn ang="0">
                <a:pos x="connsiteX25934" y="connsiteY25934"/>
              </a:cxn>
              <a:cxn ang="0">
                <a:pos x="connsiteX25935" y="connsiteY25935"/>
              </a:cxn>
              <a:cxn ang="0">
                <a:pos x="connsiteX25936" y="connsiteY25936"/>
              </a:cxn>
              <a:cxn ang="0">
                <a:pos x="connsiteX25937" y="connsiteY25937"/>
              </a:cxn>
              <a:cxn ang="0">
                <a:pos x="connsiteX25938" y="connsiteY25938"/>
              </a:cxn>
              <a:cxn ang="0">
                <a:pos x="connsiteX25939" y="connsiteY25939"/>
              </a:cxn>
              <a:cxn ang="0">
                <a:pos x="connsiteX25940" y="connsiteY25940"/>
              </a:cxn>
              <a:cxn ang="0">
                <a:pos x="connsiteX25941" y="connsiteY25941"/>
              </a:cxn>
              <a:cxn ang="0">
                <a:pos x="connsiteX25942" y="connsiteY25942"/>
              </a:cxn>
              <a:cxn ang="0">
                <a:pos x="connsiteX25943" y="connsiteY25943"/>
              </a:cxn>
              <a:cxn ang="0">
                <a:pos x="connsiteX25944" y="connsiteY25944"/>
              </a:cxn>
              <a:cxn ang="0">
                <a:pos x="connsiteX25945" y="connsiteY25945"/>
              </a:cxn>
              <a:cxn ang="0">
                <a:pos x="connsiteX25946" y="connsiteY25946"/>
              </a:cxn>
              <a:cxn ang="0">
                <a:pos x="connsiteX25947" y="connsiteY25947"/>
              </a:cxn>
              <a:cxn ang="0">
                <a:pos x="connsiteX25948" y="connsiteY25948"/>
              </a:cxn>
              <a:cxn ang="0">
                <a:pos x="connsiteX25949" y="connsiteY25949"/>
              </a:cxn>
              <a:cxn ang="0">
                <a:pos x="connsiteX25950" y="connsiteY25950"/>
              </a:cxn>
              <a:cxn ang="0">
                <a:pos x="connsiteX25951" y="connsiteY25951"/>
              </a:cxn>
              <a:cxn ang="0">
                <a:pos x="connsiteX25952" y="connsiteY25952"/>
              </a:cxn>
              <a:cxn ang="0">
                <a:pos x="connsiteX25953" y="connsiteY25953"/>
              </a:cxn>
              <a:cxn ang="0">
                <a:pos x="connsiteX25954" y="connsiteY25954"/>
              </a:cxn>
              <a:cxn ang="0">
                <a:pos x="connsiteX25955" y="connsiteY25955"/>
              </a:cxn>
              <a:cxn ang="0">
                <a:pos x="connsiteX25956" y="connsiteY25956"/>
              </a:cxn>
              <a:cxn ang="0">
                <a:pos x="connsiteX25957" y="connsiteY25957"/>
              </a:cxn>
              <a:cxn ang="0">
                <a:pos x="connsiteX25958" y="connsiteY25958"/>
              </a:cxn>
              <a:cxn ang="0">
                <a:pos x="connsiteX25959" y="connsiteY25959"/>
              </a:cxn>
              <a:cxn ang="0">
                <a:pos x="connsiteX25960" y="connsiteY25960"/>
              </a:cxn>
              <a:cxn ang="0">
                <a:pos x="connsiteX25961" y="connsiteY25961"/>
              </a:cxn>
              <a:cxn ang="0">
                <a:pos x="connsiteX25962" y="connsiteY25962"/>
              </a:cxn>
              <a:cxn ang="0">
                <a:pos x="connsiteX25963" y="connsiteY25963"/>
              </a:cxn>
              <a:cxn ang="0">
                <a:pos x="connsiteX25964" y="connsiteY25964"/>
              </a:cxn>
              <a:cxn ang="0">
                <a:pos x="connsiteX25965" y="connsiteY25965"/>
              </a:cxn>
              <a:cxn ang="0">
                <a:pos x="connsiteX25966" y="connsiteY25966"/>
              </a:cxn>
              <a:cxn ang="0">
                <a:pos x="connsiteX25967" y="connsiteY25967"/>
              </a:cxn>
              <a:cxn ang="0">
                <a:pos x="connsiteX25968" y="connsiteY25968"/>
              </a:cxn>
              <a:cxn ang="0">
                <a:pos x="connsiteX25969" y="connsiteY25969"/>
              </a:cxn>
              <a:cxn ang="0">
                <a:pos x="connsiteX25970" y="connsiteY25970"/>
              </a:cxn>
              <a:cxn ang="0">
                <a:pos x="connsiteX25971" y="connsiteY25971"/>
              </a:cxn>
              <a:cxn ang="0">
                <a:pos x="connsiteX25972" y="connsiteY25972"/>
              </a:cxn>
              <a:cxn ang="0">
                <a:pos x="connsiteX25973" y="connsiteY25973"/>
              </a:cxn>
              <a:cxn ang="0">
                <a:pos x="connsiteX25974" y="connsiteY25974"/>
              </a:cxn>
              <a:cxn ang="0">
                <a:pos x="connsiteX25975" y="connsiteY25975"/>
              </a:cxn>
              <a:cxn ang="0">
                <a:pos x="connsiteX25976" y="connsiteY25976"/>
              </a:cxn>
              <a:cxn ang="0">
                <a:pos x="connsiteX25977" y="connsiteY25977"/>
              </a:cxn>
              <a:cxn ang="0">
                <a:pos x="connsiteX25978" y="connsiteY25978"/>
              </a:cxn>
              <a:cxn ang="0">
                <a:pos x="connsiteX25979" y="connsiteY25979"/>
              </a:cxn>
              <a:cxn ang="0">
                <a:pos x="connsiteX25980" y="connsiteY25980"/>
              </a:cxn>
              <a:cxn ang="0">
                <a:pos x="connsiteX25981" y="connsiteY25981"/>
              </a:cxn>
              <a:cxn ang="0">
                <a:pos x="connsiteX25982" y="connsiteY25982"/>
              </a:cxn>
              <a:cxn ang="0">
                <a:pos x="connsiteX25983" y="connsiteY25983"/>
              </a:cxn>
              <a:cxn ang="0">
                <a:pos x="connsiteX25984" y="connsiteY25984"/>
              </a:cxn>
              <a:cxn ang="0">
                <a:pos x="connsiteX25985" y="connsiteY25985"/>
              </a:cxn>
              <a:cxn ang="0">
                <a:pos x="connsiteX25986" y="connsiteY25986"/>
              </a:cxn>
              <a:cxn ang="0">
                <a:pos x="connsiteX25987" y="connsiteY25987"/>
              </a:cxn>
              <a:cxn ang="0">
                <a:pos x="connsiteX25988" y="connsiteY25988"/>
              </a:cxn>
              <a:cxn ang="0">
                <a:pos x="connsiteX25989" y="connsiteY25989"/>
              </a:cxn>
              <a:cxn ang="0">
                <a:pos x="connsiteX25990" y="connsiteY25990"/>
              </a:cxn>
              <a:cxn ang="0">
                <a:pos x="connsiteX25991" y="connsiteY25991"/>
              </a:cxn>
              <a:cxn ang="0">
                <a:pos x="connsiteX25992" y="connsiteY25992"/>
              </a:cxn>
              <a:cxn ang="0">
                <a:pos x="connsiteX25993" y="connsiteY25993"/>
              </a:cxn>
              <a:cxn ang="0">
                <a:pos x="connsiteX25994" y="connsiteY25994"/>
              </a:cxn>
              <a:cxn ang="0">
                <a:pos x="connsiteX25995" y="connsiteY25995"/>
              </a:cxn>
              <a:cxn ang="0">
                <a:pos x="connsiteX25996" y="connsiteY25996"/>
              </a:cxn>
              <a:cxn ang="0">
                <a:pos x="connsiteX25997" y="connsiteY25997"/>
              </a:cxn>
              <a:cxn ang="0">
                <a:pos x="connsiteX25998" y="connsiteY25998"/>
              </a:cxn>
              <a:cxn ang="0">
                <a:pos x="connsiteX25999" y="connsiteY25999"/>
              </a:cxn>
              <a:cxn ang="0">
                <a:pos x="connsiteX26000" y="connsiteY26000"/>
              </a:cxn>
              <a:cxn ang="0">
                <a:pos x="connsiteX26001" y="connsiteY26001"/>
              </a:cxn>
              <a:cxn ang="0">
                <a:pos x="connsiteX26002" y="connsiteY26002"/>
              </a:cxn>
              <a:cxn ang="0">
                <a:pos x="connsiteX26003" y="connsiteY26003"/>
              </a:cxn>
              <a:cxn ang="0">
                <a:pos x="connsiteX26004" y="connsiteY26004"/>
              </a:cxn>
              <a:cxn ang="0">
                <a:pos x="connsiteX26005" y="connsiteY26005"/>
              </a:cxn>
              <a:cxn ang="0">
                <a:pos x="connsiteX26006" y="connsiteY26006"/>
              </a:cxn>
              <a:cxn ang="0">
                <a:pos x="connsiteX26007" y="connsiteY26007"/>
              </a:cxn>
              <a:cxn ang="0">
                <a:pos x="connsiteX26008" y="connsiteY26008"/>
              </a:cxn>
              <a:cxn ang="0">
                <a:pos x="connsiteX26009" y="connsiteY26009"/>
              </a:cxn>
              <a:cxn ang="0">
                <a:pos x="connsiteX26010" y="connsiteY26010"/>
              </a:cxn>
              <a:cxn ang="0">
                <a:pos x="connsiteX26011" y="connsiteY26011"/>
              </a:cxn>
              <a:cxn ang="0">
                <a:pos x="connsiteX26012" y="connsiteY26012"/>
              </a:cxn>
              <a:cxn ang="0">
                <a:pos x="connsiteX26013" y="connsiteY26013"/>
              </a:cxn>
              <a:cxn ang="0">
                <a:pos x="connsiteX26014" y="connsiteY26014"/>
              </a:cxn>
              <a:cxn ang="0">
                <a:pos x="connsiteX26015" y="connsiteY26015"/>
              </a:cxn>
              <a:cxn ang="0">
                <a:pos x="connsiteX26016" y="connsiteY26016"/>
              </a:cxn>
              <a:cxn ang="0">
                <a:pos x="connsiteX26017" y="connsiteY26017"/>
              </a:cxn>
              <a:cxn ang="0">
                <a:pos x="connsiteX26018" y="connsiteY26018"/>
              </a:cxn>
              <a:cxn ang="0">
                <a:pos x="connsiteX26019" y="connsiteY26019"/>
              </a:cxn>
              <a:cxn ang="0">
                <a:pos x="connsiteX26020" y="connsiteY26020"/>
              </a:cxn>
              <a:cxn ang="0">
                <a:pos x="connsiteX26021" y="connsiteY26021"/>
              </a:cxn>
              <a:cxn ang="0">
                <a:pos x="connsiteX26022" y="connsiteY26022"/>
              </a:cxn>
              <a:cxn ang="0">
                <a:pos x="connsiteX26023" y="connsiteY26023"/>
              </a:cxn>
              <a:cxn ang="0">
                <a:pos x="connsiteX26024" y="connsiteY26024"/>
              </a:cxn>
              <a:cxn ang="0">
                <a:pos x="connsiteX26025" y="connsiteY26025"/>
              </a:cxn>
              <a:cxn ang="0">
                <a:pos x="connsiteX26026" y="connsiteY26026"/>
              </a:cxn>
              <a:cxn ang="0">
                <a:pos x="connsiteX26027" y="connsiteY26027"/>
              </a:cxn>
              <a:cxn ang="0">
                <a:pos x="connsiteX26028" y="connsiteY26028"/>
              </a:cxn>
              <a:cxn ang="0">
                <a:pos x="connsiteX26029" y="connsiteY26029"/>
              </a:cxn>
              <a:cxn ang="0">
                <a:pos x="connsiteX26030" y="connsiteY26030"/>
              </a:cxn>
              <a:cxn ang="0">
                <a:pos x="connsiteX26031" y="connsiteY26031"/>
              </a:cxn>
              <a:cxn ang="0">
                <a:pos x="connsiteX26032" y="connsiteY26032"/>
              </a:cxn>
              <a:cxn ang="0">
                <a:pos x="connsiteX26033" y="connsiteY26033"/>
              </a:cxn>
              <a:cxn ang="0">
                <a:pos x="connsiteX26034" y="connsiteY26034"/>
              </a:cxn>
              <a:cxn ang="0">
                <a:pos x="connsiteX26035" y="connsiteY26035"/>
              </a:cxn>
              <a:cxn ang="0">
                <a:pos x="connsiteX26036" y="connsiteY26036"/>
              </a:cxn>
              <a:cxn ang="0">
                <a:pos x="connsiteX26037" y="connsiteY26037"/>
              </a:cxn>
              <a:cxn ang="0">
                <a:pos x="connsiteX26038" y="connsiteY26038"/>
              </a:cxn>
              <a:cxn ang="0">
                <a:pos x="connsiteX26039" y="connsiteY26039"/>
              </a:cxn>
              <a:cxn ang="0">
                <a:pos x="connsiteX26040" y="connsiteY26040"/>
              </a:cxn>
              <a:cxn ang="0">
                <a:pos x="connsiteX26041" y="connsiteY26041"/>
              </a:cxn>
              <a:cxn ang="0">
                <a:pos x="connsiteX26042" y="connsiteY26042"/>
              </a:cxn>
              <a:cxn ang="0">
                <a:pos x="connsiteX26043" y="connsiteY26043"/>
              </a:cxn>
              <a:cxn ang="0">
                <a:pos x="connsiteX26044" y="connsiteY26044"/>
              </a:cxn>
              <a:cxn ang="0">
                <a:pos x="connsiteX26045" y="connsiteY26045"/>
              </a:cxn>
              <a:cxn ang="0">
                <a:pos x="connsiteX26046" y="connsiteY26046"/>
              </a:cxn>
              <a:cxn ang="0">
                <a:pos x="connsiteX26047" y="connsiteY26047"/>
              </a:cxn>
              <a:cxn ang="0">
                <a:pos x="connsiteX26048" y="connsiteY26048"/>
              </a:cxn>
              <a:cxn ang="0">
                <a:pos x="connsiteX26049" y="connsiteY26049"/>
              </a:cxn>
              <a:cxn ang="0">
                <a:pos x="connsiteX26050" y="connsiteY26050"/>
              </a:cxn>
              <a:cxn ang="0">
                <a:pos x="connsiteX26051" y="connsiteY26051"/>
              </a:cxn>
              <a:cxn ang="0">
                <a:pos x="connsiteX26052" y="connsiteY26052"/>
              </a:cxn>
              <a:cxn ang="0">
                <a:pos x="connsiteX26053" y="connsiteY26053"/>
              </a:cxn>
              <a:cxn ang="0">
                <a:pos x="connsiteX26054" y="connsiteY26054"/>
              </a:cxn>
              <a:cxn ang="0">
                <a:pos x="connsiteX26055" y="connsiteY26055"/>
              </a:cxn>
              <a:cxn ang="0">
                <a:pos x="connsiteX26056" y="connsiteY26056"/>
              </a:cxn>
              <a:cxn ang="0">
                <a:pos x="connsiteX26057" y="connsiteY26057"/>
              </a:cxn>
              <a:cxn ang="0">
                <a:pos x="connsiteX26058" y="connsiteY26058"/>
              </a:cxn>
              <a:cxn ang="0">
                <a:pos x="connsiteX26059" y="connsiteY26059"/>
              </a:cxn>
              <a:cxn ang="0">
                <a:pos x="connsiteX26060" y="connsiteY26060"/>
              </a:cxn>
              <a:cxn ang="0">
                <a:pos x="connsiteX26061" y="connsiteY26061"/>
              </a:cxn>
              <a:cxn ang="0">
                <a:pos x="connsiteX26062" y="connsiteY26062"/>
              </a:cxn>
              <a:cxn ang="0">
                <a:pos x="connsiteX26063" y="connsiteY26063"/>
              </a:cxn>
              <a:cxn ang="0">
                <a:pos x="connsiteX26064" y="connsiteY26064"/>
              </a:cxn>
              <a:cxn ang="0">
                <a:pos x="connsiteX26065" y="connsiteY26065"/>
              </a:cxn>
              <a:cxn ang="0">
                <a:pos x="connsiteX26066" y="connsiteY26066"/>
              </a:cxn>
              <a:cxn ang="0">
                <a:pos x="connsiteX26067" y="connsiteY26067"/>
              </a:cxn>
              <a:cxn ang="0">
                <a:pos x="connsiteX26068" y="connsiteY26068"/>
              </a:cxn>
              <a:cxn ang="0">
                <a:pos x="connsiteX26069" y="connsiteY26069"/>
              </a:cxn>
              <a:cxn ang="0">
                <a:pos x="connsiteX26070" y="connsiteY26070"/>
              </a:cxn>
              <a:cxn ang="0">
                <a:pos x="connsiteX26071" y="connsiteY26071"/>
              </a:cxn>
              <a:cxn ang="0">
                <a:pos x="connsiteX26072" y="connsiteY26072"/>
              </a:cxn>
              <a:cxn ang="0">
                <a:pos x="connsiteX26073" y="connsiteY26073"/>
              </a:cxn>
              <a:cxn ang="0">
                <a:pos x="connsiteX26074" y="connsiteY26074"/>
              </a:cxn>
              <a:cxn ang="0">
                <a:pos x="connsiteX26075" y="connsiteY26075"/>
              </a:cxn>
              <a:cxn ang="0">
                <a:pos x="connsiteX26076" y="connsiteY26076"/>
              </a:cxn>
              <a:cxn ang="0">
                <a:pos x="connsiteX26077" y="connsiteY26077"/>
              </a:cxn>
              <a:cxn ang="0">
                <a:pos x="connsiteX26078" y="connsiteY26078"/>
              </a:cxn>
              <a:cxn ang="0">
                <a:pos x="connsiteX26079" y="connsiteY26079"/>
              </a:cxn>
              <a:cxn ang="0">
                <a:pos x="connsiteX26080" y="connsiteY26080"/>
              </a:cxn>
              <a:cxn ang="0">
                <a:pos x="connsiteX26081" y="connsiteY26081"/>
              </a:cxn>
              <a:cxn ang="0">
                <a:pos x="connsiteX26082" y="connsiteY26082"/>
              </a:cxn>
              <a:cxn ang="0">
                <a:pos x="connsiteX26083" y="connsiteY26083"/>
              </a:cxn>
              <a:cxn ang="0">
                <a:pos x="connsiteX26084" y="connsiteY26084"/>
              </a:cxn>
              <a:cxn ang="0">
                <a:pos x="connsiteX26085" y="connsiteY26085"/>
              </a:cxn>
              <a:cxn ang="0">
                <a:pos x="connsiteX26086" y="connsiteY26086"/>
              </a:cxn>
              <a:cxn ang="0">
                <a:pos x="connsiteX26087" y="connsiteY26087"/>
              </a:cxn>
              <a:cxn ang="0">
                <a:pos x="connsiteX26088" y="connsiteY26088"/>
              </a:cxn>
              <a:cxn ang="0">
                <a:pos x="connsiteX26089" y="connsiteY26089"/>
              </a:cxn>
              <a:cxn ang="0">
                <a:pos x="connsiteX26090" y="connsiteY26090"/>
              </a:cxn>
              <a:cxn ang="0">
                <a:pos x="connsiteX26091" y="connsiteY26091"/>
              </a:cxn>
              <a:cxn ang="0">
                <a:pos x="connsiteX26092" y="connsiteY26092"/>
              </a:cxn>
              <a:cxn ang="0">
                <a:pos x="connsiteX26093" y="connsiteY26093"/>
              </a:cxn>
              <a:cxn ang="0">
                <a:pos x="connsiteX26094" y="connsiteY26094"/>
              </a:cxn>
              <a:cxn ang="0">
                <a:pos x="connsiteX26095" y="connsiteY26095"/>
              </a:cxn>
              <a:cxn ang="0">
                <a:pos x="connsiteX26096" y="connsiteY26096"/>
              </a:cxn>
              <a:cxn ang="0">
                <a:pos x="connsiteX26097" y="connsiteY26097"/>
              </a:cxn>
              <a:cxn ang="0">
                <a:pos x="connsiteX26098" y="connsiteY26098"/>
              </a:cxn>
              <a:cxn ang="0">
                <a:pos x="connsiteX26099" y="connsiteY26099"/>
              </a:cxn>
              <a:cxn ang="0">
                <a:pos x="connsiteX26100" y="connsiteY26100"/>
              </a:cxn>
              <a:cxn ang="0">
                <a:pos x="connsiteX26101" y="connsiteY26101"/>
              </a:cxn>
              <a:cxn ang="0">
                <a:pos x="connsiteX26102" y="connsiteY26102"/>
              </a:cxn>
              <a:cxn ang="0">
                <a:pos x="connsiteX26103" y="connsiteY26103"/>
              </a:cxn>
              <a:cxn ang="0">
                <a:pos x="connsiteX26104" y="connsiteY26104"/>
              </a:cxn>
              <a:cxn ang="0">
                <a:pos x="connsiteX26105" y="connsiteY26105"/>
              </a:cxn>
              <a:cxn ang="0">
                <a:pos x="connsiteX26106" y="connsiteY26106"/>
              </a:cxn>
              <a:cxn ang="0">
                <a:pos x="connsiteX26107" y="connsiteY26107"/>
              </a:cxn>
              <a:cxn ang="0">
                <a:pos x="connsiteX26108" y="connsiteY26108"/>
              </a:cxn>
              <a:cxn ang="0">
                <a:pos x="connsiteX26109" y="connsiteY26109"/>
              </a:cxn>
              <a:cxn ang="0">
                <a:pos x="connsiteX26110" y="connsiteY26110"/>
              </a:cxn>
              <a:cxn ang="0">
                <a:pos x="connsiteX26111" y="connsiteY26111"/>
              </a:cxn>
              <a:cxn ang="0">
                <a:pos x="connsiteX26112" y="connsiteY26112"/>
              </a:cxn>
              <a:cxn ang="0">
                <a:pos x="connsiteX26113" y="connsiteY26113"/>
              </a:cxn>
              <a:cxn ang="0">
                <a:pos x="connsiteX26114" y="connsiteY26114"/>
              </a:cxn>
              <a:cxn ang="0">
                <a:pos x="connsiteX26115" y="connsiteY26115"/>
              </a:cxn>
              <a:cxn ang="0">
                <a:pos x="connsiteX26116" y="connsiteY26116"/>
              </a:cxn>
              <a:cxn ang="0">
                <a:pos x="connsiteX26117" y="connsiteY26117"/>
              </a:cxn>
              <a:cxn ang="0">
                <a:pos x="connsiteX26118" y="connsiteY26118"/>
              </a:cxn>
              <a:cxn ang="0">
                <a:pos x="connsiteX26119" y="connsiteY26119"/>
              </a:cxn>
              <a:cxn ang="0">
                <a:pos x="connsiteX26120" y="connsiteY26120"/>
              </a:cxn>
              <a:cxn ang="0">
                <a:pos x="connsiteX26121" y="connsiteY26121"/>
              </a:cxn>
              <a:cxn ang="0">
                <a:pos x="connsiteX26122" y="connsiteY26122"/>
              </a:cxn>
              <a:cxn ang="0">
                <a:pos x="connsiteX26123" y="connsiteY26123"/>
              </a:cxn>
              <a:cxn ang="0">
                <a:pos x="connsiteX26124" y="connsiteY26124"/>
              </a:cxn>
              <a:cxn ang="0">
                <a:pos x="connsiteX26125" y="connsiteY26125"/>
              </a:cxn>
              <a:cxn ang="0">
                <a:pos x="connsiteX26126" y="connsiteY26126"/>
              </a:cxn>
              <a:cxn ang="0">
                <a:pos x="connsiteX26127" y="connsiteY26127"/>
              </a:cxn>
              <a:cxn ang="0">
                <a:pos x="connsiteX26128" y="connsiteY26128"/>
              </a:cxn>
              <a:cxn ang="0">
                <a:pos x="connsiteX26129" y="connsiteY26129"/>
              </a:cxn>
              <a:cxn ang="0">
                <a:pos x="connsiteX26130" y="connsiteY26130"/>
              </a:cxn>
              <a:cxn ang="0">
                <a:pos x="connsiteX26131" y="connsiteY26131"/>
              </a:cxn>
              <a:cxn ang="0">
                <a:pos x="connsiteX26132" y="connsiteY26132"/>
              </a:cxn>
              <a:cxn ang="0">
                <a:pos x="connsiteX26133" y="connsiteY26133"/>
              </a:cxn>
              <a:cxn ang="0">
                <a:pos x="connsiteX26134" y="connsiteY26134"/>
              </a:cxn>
              <a:cxn ang="0">
                <a:pos x="connsiteX26135" y="connsiteY26135"/>
              </a:cxn>
              <a:cxn ang="0">
                <a:pos x="connsiteX26136" y="connsiteY26136"/>
              </a:cxn>
              <a:cxn ang="0">
                <a:pos x="connsiteX26137" y="connsiteY26137"/>
              </a:cxn>
              <a:cxn ang="0">
                <a:pos x="connsiteX26138" y="connsiteY26138"/>
              </a:cxn>
              <a:cxn ang="0">
                <a:pos x="connsiteX26139" y="connsiteY26139"/>
              </a:cxn>
              <a:cxn ang="0">
                <a:pos x="connsiteX26140" y="connsiteY26140"/>
              </a:cxn>
              <a:cxn ang="0">
                <a:pos x="connsiteX26141" y="connsiteY26141"/>
              </a:cxn>
              <a:cxn ang="0">
                <a:pos x="connsiteX26142" y="connsiteY26142"/>
              </a:cxn>
              <a:cxn ang="0">
                <a:pos x="connsiteX26143" y="connsiteY26143"/>
              </a:cxn>
              <a:cxn ang="0">
                <a:pos x="connsiteX26144" y="connsiteY26144"/>
              </a:cxn>
              <a:cxn ang="0">
                <a:pos x="connsiteX26145" y="connsiteY26145"/>
              </a:cxn>
              <a:cxn ang="0">
                <a:pos x="connsiteX26146" y="connsiteY26146"/>
              </a:cxn>
              <a:cxn ang="0">
                <a:pos x="connsiteX26147" y="connsiteY26147"/>
              </a:cxn>
              <a:cxn ang="0">
                <a:pos x="connsiteX26148" y="connsiteY26148"/>
              </a:cxn>
              <a:cxn ang="0">
                <a:pos x="connsiteX26149" y="connsiteY26149"/>
              </a:cxn>
              <a:cxn ang="0">
                <a:pos x="connsiteX26150" y="connsiteY26150"/>
              </a:cxn>
              <a:cxn ang="0">
                <a:pos x="connsiteX26151" y="connsiteY26151"/>
              </a:cxn>
              <a:cxn ang="0">
                <a:pos x="connsiteX26152" y="connsiteY26152"/>
              </a:cxn>
              <a:cxn ang="0">
                <a:pos x="connsiteX26153" y="connsiteY26153"/>
              </a:cxn>
              <a:cxn ang="0">
                <a:pos x="connsiteX26154" y="connsiteY26154"/>
              </a:cxn>
              <a:cxn ang="0">
                <a:pos x="connsiteX26155" y="connsiteY26155"/>
              </a:cxn>
              <a:cxn ang="0">
                <a:pos x="connsiteX26156" y="connsiteY26156"/>
              </a:cxn>
              <a:cxn ang="0">
                <a:pos x="connsiteX26157" y="connsiteY26157"/>
              </a:cxn>
              <a:cxn ang="0">
                <a:pos x="connsiteX26158" y="connsiteY26158"/>
              </a:cxn>
              <a:cxn ang="0">
                <a:pos x="connsiteX26159" y="connsiteY26159"/>
              </a:cxn>
              <a:cxn ang="0">
                <a:pos x="connsiteX26160" y="connsiteY26160"/>
              </a:cxn>
              <a:cxn ang="0">
                <a:pos x="connsiteX26161" y="connsiteY26161"/>
              </a:cxn>
              <a:cxn ang="0">
                <a:pos x="connsiteX26162" y="connsiteY26162"/>
              </a:cxn>
              <a:cxn ang="0">
                <a:pos x="connsiteX26163" y="connsiteY26163"/>
              </a:cxn>
              <a:cxn ang="0">
                <a:pos x="connsiteX26164" y="connsiteY26164"/>
              </a:cxn>
              <a:cxn ang="0">
                <a:pos x="connsiteX26165" y="connsiteY26165"/>
              </a:cxn>
              <a:cxn ang="0">
                <a:pos x="connsiteX26166" y="connsiteY26166"/>
              </a:cxn>
              <a:cxn ang="0">
                <a:pos x="connsiteX26167" y="connsiteY26167"/>
              </a:cxn>
              <a:cxn ang="0">
                <a:pos x="connsiteX26168" y="connsiteY26168"/>
              </a:cxn>
              <a:cxn ang="0">
                <a:pos x="connsiteX26169" y="connsiteY26169"/>
              </a:cxn>
              <a:cxn ang="0">
                <a:pos x="connsiteX26170" y="connsiteY26170"/>
              </a:cxn>
              <a:cxn ang="0">
                <a:pos x="connsiteX26171" y="connsiteY26171"/>
              </a:cxn>
              <a:cxn ang="0">
                <a:pos x="connsiteX26172" y="connsiteY26172"/>
              </a:cxn>
              <a:cxn ang="0">
                <a:pos x="connsiteX26173" y="connsiteY26173"/>
              </a:cxn>
              <a:cxn ang="0">
                <a:pos x="connsiteX26174" y="connsiteY26174"/>
              </a:cxn>
              <a:cxn ang="0">
                <a:pos x="connsiteX26175" y="connsiteY26175"/>
              </a:cxn>
              <a:cxn ang="0">
                <a:pos x="connsiteX26176" y="connsiteY26176"/>
              </a:cxn>
              <a:cxn ang="0">
                <a:pos x="connsiteX26177" y="connsiteY26177"/>
              </a:cxn>
              <a:cxn ang="0">
                <a:pos x="connsiteX26178" y="connsiteY26178"/>
              </a:cxn>
              <a:cxn ang="0">
                <a:pos x="connsiteX26179" y="connsiteY26179"/>
              </a:cxn>
              <a:cxn ang="0">
                <a:pos x="connsiteX26180" y="connsiteY26180"/>
              </a:cxn>
              <a:cxn ang="0">
                <a:pos x="connsiteX26181" y="connsiteY26181"/>
              </a:cxn>
              <a:cxn ang="0">
                <a:pos x="connsiteX26182" y="connsiteY26182"/>
              </a:cxn>
              <a:cxn ang="0">
                <a:pos x="connsiteX26183" y="connsiteY26183"/>
              </a:cxn>
              <a:cxn ang="0">
                <a:pos x="connsiteX26184" y="connsiteY26184"/>
              </a:cxn>
              <a:cxn ang="0">
                <a:pos x="connsiteX26185" y="connsiteY26185"/>
              </a:cxn>
              <a:cxn ang="0">
                <a:pos x="connsiteX26186" y="connsiteY26186"/>
              </a:cxn>
              <a:cxn ang="0">
                <a:pos x="connsiteX26187" y="connsiteY26187"/>
              </a:cxn>
              <a:cxn ang="0">
                <a:pos x="connsiteX26188" y="connsiteY26188"/>
              </a:cxn>
              <a:cxn ang="0">
                <a:pos x="connsiteX26189" y="connsiteY26189"/>
              </a:cxn>
              <a:cxn ang="0">
                <a:pos x="connsiteX26190" y="connsiteY26190"/>
              </a:cxn>
              <a:cxn ang="0">
                <a:pos x="connsiteX26191" y="connsiteY26191"/>
              </a:cxn>
              <a:cxn ang="0">
                <a:pos x="connsiteX26192" y="connsiteY26192"/>
              </a:cxn>
              <a:cxn ang="0">
                <a:pos x="connsiteX26193" y="connsiteY26193"/>
              </a:cxn>
              <a:cxn ang="0">
                <a:pos x="connsiteX26194" y="connsiteY26194"/>
              </a:cxn>
              <a:cxn ang="0">
                <a:pos x="connsiteX26195" y="connsiteY26195"/>
              </a:cxn>
              <a:cxn ang="0">
                <a:pos x="connsiteX26196" y="connsiteY26196"/>
              </a:cxn>
              <a:cxn ang="0">
                <a:pos x="connsiteX26197" y="connsiteY26197"/>
              </a:cxn>
              <a:cxn ang="0">
                <a:pos x="connsiteX26198" y="connsiteY26198"/>
              </a:cxn>
              <a:cxn ang="0">
                <a:pos x="connsiteX26199" y="connsiteY26199"/>
              </a:cxn>
              <a:cxn ang="0">
                <a:pos x="connsiteX26200" y="connsiteY26200"/>
              </a:cxn>
              <a:cxn ang="0">
                <a:pos x="connsiteX26201" y="connsiteY26201"/>
              </a:cxn>
              <a:cxn ang="0">
                <a:pos x="connsiteX26202" y="connsiteY26202"/>
              </a:cxn>
              <a:cxn ang="0">
                <a:pos x="connsiteX26203" y="connsiteY26203"/>
              </a:cxn>
              <a:cxn ang="0">
                <a:pos x="connsiteX26204" y="connsiteY26204"/>
              </a:cxn>
              <a:cxn ang="0">
                <a:pos x="connsiteX26205" y="connsiteY26205"/>
              </a:cxn>
              <a:cxn ang="0">
                <a:pos x="connsiteX26206" y="connsiteY26206"/>
              </a:cxn>
              <a:cxn ang="0">
                <a:pos x="connsiteX26207" y="connsiteY26207"/>
              </a:cxn>
              <a:cxn ang="0">
                <a:pos x="connsiteX26208" y="connsiteY26208"/>
              </a:cxn>
              <a:cxn ang="0">
                <a:pos x="connsiteX26209" y="connsiteY26209"/>
              </a:cxn>
              <a:cxn ang="0">
                <a:pos x="connsiteX26210" y="connsiteY26210"/>
              </a:cxn>
              <a:cxn ang="0">
                <a:pos x="connsiteX26211" y="connsiteY26211"/>
              </a:cxn>
              <a:cxn ang="0">
                <a:pos x="connsiteX26212" y="connsiteY26212"/>
              </a:cxn>
              <a:cxn ang="0">
                <a:pos x="connsiteX26213" y="connsiteY26213"/>
              </a:cxn>
              <a:cxn ang="0">
                <a:pos x="connsiteX26214" y="connsiteY26214"/>
              </a:cxn>
              <a:cxn ang="0">
                <a:pos x="connsiteX26215" y="connsiteY26215"/>
              </a:cxn>
              <a:cxn ang="0">
                <a:pos x="connsiteX26216" y="connsiteY26216"/>
              </a:cxn>
              <a:cxn ang="0">
                <a:pos x="connsiteX26217" y="connsiteY26217"/>
              </a:cxn>
              <a:cxn ang="0">
                <a:pos x="connsiteX26218" y="connsiteY26218"/>
              </a:cxn>
              <a:cxn ang="0">
                <a:pos x="connsiteX26219" y="connsiteY26219"/>
              </a:cxn>
              <a:cxn ang="0">
                <a:pos x="connsiteX26220" y="connsiteY26220"/>
              </a:cxn>
              <a:cxn ang="0">
                <a:pos x="connsiteX26221" y="connsiteY26221"/>
              </a:cxn>
              <a:cxn ang="0">
                <a:pos x="connsiteX26222" y="connsiteY26222"/>
              </a:cxn>
              <a:cxn ang="0">
                <a:pos x="connsiteX26223" y="connsiteY26223"/>
              </a:cxn>
              <a:cxn ang="0">
                <a:pos x="connsiteX26224" y="connsiteY26224"/>
              </a:cxn>
              <a:cxn ang="0">
                <a:pos x="connsiteX26225" y="connsiteY26225"/>
              </a:cxn>
              <a:cxn ang="0">
                <a:pos x="connsiteX26226" y="connsiteY26226"/>
              </a:cxn>
              <a:cxn ang="0">
                <a:pos x="connsiteX26227" y="connsiteY26227"/>
              </a:cxn>
              <a:cxn ang="0">
                <a:pos x="connsiteX26228" y="connsiteY26228"/>
              </a:cxn>
              <a:cxn ang="0">
                <a:pos x="connsiteX26229" y="connsiteY26229"/>
              </a:cxn>
              <a:cxn ang="0">
                <a:pos x="connsiteX26230" y="connsiteY26230"/>
              </a:cxn>
              <a:cxn ang="0">
                <a:pos x="connsiteX26231" y="connsiteY26231"/>
              </a:cxn>
              <a:cxn ang="0">
                <a:pos x="connsiteX26232" y="connsiteY26232"/>
              </a:cxn>
              <a:cxn ang="0">
                <a:pos x="connsiteX26233" y="connsiteY26233"/>
              </a:cxn>
              <a:cxn ang="0">
                <a:pos x="connsiteX26234" y="connsiteY26234"/>
              </a:cxn>
              <a:cxn ang="0">
                <a:pos x="connsiteX26235" y="connsiteY26235"/>
              </a:cxn>
              <a:cxn ang="0">
                <a:pos x="connsiteX26236" y="connsiteY26236"/>
              </a:cxn>
              <a:cxn ang="0">
                <a:pos x="connsiteX26237" y="connsiteY26237"/>
              </a:cxn>
              <a:cxn ang="0">
                <a:pos x="connsiteX26238" y="connsiteY26238"/>
              </a:cxn>
              <a:cxn ang="0">
                <a:pos x="connsiteX26239" y="connsiteY26239"/>
              </a:cxn>
              <a:cxn ang="0">
                <a:pos x="connsiteX26240" y="connsiteY26240"/>
              </a:cxn>
              <a:cxn ang="0">
                <a:pos x="connsiteX26241" y="connsiteY26241"/>
              </a:cxn>
              <a:cxn ang="0">
                <a:pos x="connsiteX26242" y="connsiteY26242"/>
              </a:cxn>
              <a:cxn ang="0">
                <a:pos x="connsiteX26243" y="connsiteY26243"/>
              </a:cxn>
              <a:cxn ang="0">
                <a:pos x="connsiteX26244" y="connsiteY26244"/>
              </a:cxn>
              <a:cxn ang="0">
                <a:pos x="connsiteX26245" y="connsiteY26245"/>
              </a:cxn>
              <a:cxn ang="0">
                <a:pos x="connsiteX26246" y="connsiteY26246"/>
              </a:cxn>
              <a:cxn ang="0">
                <a:pos x="connsiteX26247" y="connsiteY26247"/>
              </a:cxn>
              <a:cxn ang="0">
                <a:pos x="connsiteX26248" y="connsiteY26248"/>
              </a:cxn>
              <a:cxn ang="0">
                <a:pos x="connsiteX26249" y="connsiteY26249"/>
              </a:cxn>
              <a:cxn ang="0">
                <a:pos x="connsiteX26250" y="connsiteY26250"/>
              </a:cxn>
              <a:cxn ang="0">
                <a:pos x="connsiteX26251" y="connsiteY26251"/>
              </a:cxn>
              <a:cxn ang="0">
                <a:pos x="connsiteX26252" y="connsiteY26252"/>
              </a:cxn>
              <a:cxn ang="0">
                <a:pos x="connsiteX26253" y="connsiteY26253"/>
              </a:cxn>
              <a:cxn ang="0">
                <a:pos x="connsiteX26254" y="connsiteY26254"/>
              </a:cxn>
              <a:cxn ang="0">
                <a:pos x="connsiteX26255" y="connsiteY26255"/>
              </a:cxn>
              <a:cxn ang="0">
                <a:pos x="connsiteX26256" y="connsiteY26256"/>
              </a:cxn>
              <a:cxn ang="0">
                <a:pos x="connsiteX26257" y="connsiteY26257"/>
              </a:cxn>
              <a:cxn ang="0">
                <a:pos x="connsiteX26258" y="connsiteY26258"/>
              </a:cxn>
              <a:cxn ang="0">
                <a:pos x="connsiteX26259" y="connsiteY26259"/>
              </a:cxn>
              <a:cxn ang="0">
                <a:pos x="connsiteX26260" y="connsiteY26260"/>
              </a:cxn>
              <a:cxn ang="0">
                <a:pos x="connsiteX26261" y="connsiteY26261"/>
              </a:cxn>
              <a:cxn ang="0">
                <a:pos x="connsiteX26262" y="connsiteY26262"/>
              </a:cxn>
              <a:cxn ang="0">
                <a:pos x="connsiteX26263" y="connsiteY26263"/>
              </a:cxn>
              <a:cxn ang="0">
                <a:pos x="connsiteX26264" y="connsiteY26264"/>
              </a:cxn>
              <a:cxn ang="0">
                <a:pos x="connsiteX26265" y="connsiteY26265"/>
              </a:cxn>
              <a:cxn ang="0">
                <a:pos x="connsiteX26266" y="connsiteY26266"/>
              </a:cxn>
              <a:cxn ang="0">
                <a:pos x="connsiteX26267" y="connsiteY26267"/>
              </a:cxn>
              <a:cxn ang="0">
                <a:pos x="connsiteX26268" y="connsiteY26268"/>
              </a:cxn>
              <a:cxn ang="0">
                <a:pos x="connsiteX26269" y="connsiteY26269"/>
              </a:cxn>
              <a:cxn ang="0">
                <a:pos x="connsiteX26270" y="connsiteY26270"/>
              </a:cxn>
              <a:cxn ang="0">
                <a:pos x="connsiteX26271" y="connsiteY26271"/>
              </a:cxn>
              <a:cxn ang="0">
                <a:pos x="connsiteX26272" y="connsiteY26272"/>
              </a:cxn>
              <a:cxn ang="0">
                <a:pos x="connsiteX26273" y="connsiteY26273"/>
              </a:cxn>
              <a:cxn ang="0">
                <a:pos x="connsiteX26274" y="connsiteY26274"/>
              </a:cxn>
              <a:cxn ang="0">
                <a:pos x="connsiteX26275" y="connsiteY26275"/>
              </a:cxn>
              <a:cxn ang="0">
                <a:pos x="connsiteX26276" y="connsiteY26276"/>
              </a:cxn>
              <a:cxn ang="0">
                <a:pos x="connsiteX26277" y="connsiteY26277"/>
              </a:cxn>
              <a:cxn ang="0">
                <a:pos x="connsiteX26278" y="connsiteY26278"/>
              </a:cxn>
              <a:cxn ang="0">
                <a:pos x="connsiteX26279" y="connsiteY26279"/>
              </a:cxn>
              <a:cxn ang="0">
                <a:pos x="connsiteX26280" y="connsiteY26280"/>
              </a:cxn>
              <a:cxn ang="0">
                <a:pos x="connsiteX26281" y="connsiteY26281"/>
              </a:cxn>
              <a:cxn ang="0">
                <a:pos x="connsiteX26282" y="connsiteY26282"/>
              </a:cxn>
              <a:cxn ang="0">
                <a:pos x="connsiteX26283" y="connsiteY26283"/>
              </a:cxn>
              <a:cxn ang="0">
                <a:pos x="connsiteX26284" y="connsiteY26284"/>
              </a:cxn>
              <a:cxn ang="0">
                <a:pos x="connsiteX26285" y="connsiteY26285"/>
              </a:cxn>
              <a:cxn ang="0">
                <a:pos x="connsiteX26286" y="connsiteY26286"/>
              </a:cxn>
              <a:cxn ang="0">
                <a:pos x="connsiteX26287" y="connsiteY26287"/>
              </a:cxn>
              <a:cxn ang="0">
                <a:pos x="connsiteX26288" y="connsiteY26288"/>
              </a:cxn>
              <a:cxn ang="0">
                <a:pos x="connsiteX26289" y="connsiteY26289"/>
              </a:cxn>
              <a:cxn ang="0">
                <a:pos x="connsiteX26290" y="connsiteY26290"/>
              </a:cxn>
              <a:cxn ang="0">
                <a:pos x="connsiteX26291" y="connsiteY26291"/>
              </a:cxn>
              <a:cxn ang="0">
                <a:pos x="connsiteX26292" y="connsiteY26292"/>
              </a:cxn>
              <a:cxn ang="0">
                <a:pos x="connsiteX26293" y="connsiteY26293"/>
              </a:cxn>
              <a:cxn ang="0">
                <a:pos x="connsiteX26294" y="connsiteY26294"/>
              </a:cxn>
              <a:cxn ang="0">
                <a:pos x="connsiteX26295" y="connsiteY26295"/>
              </a:cxn>
              <a:cxn ang="0">
                <a:pos x="connsiteX26296" y="connsiteY26296"/>
              </a:cxn>
              <a:cxn ang="0">
                <a:pos x="connsiteX26297" y="connsiteY26297"/>
              </a:cxn>
              <a:cxn ang="0">
                <a:pos x="connsiteX26298" y="connsiteY26298"/>
              </a:cxn>
              <a:cxn ang="0">
                <a:pos x="connsiteX26299" y="connsiteY26299"/>
              </a:cxn>
              <a:cxn ang="0">
                <a:pos x="connsiteX26300" y="connsiteY26300"/>
              </a:cxn>
              <a:cxn ang="0">
                <a:pos x="connsiteX26301" y="connsiteY26301"/>
              </a:cxn>
              <a:cxn ang="0">
                <a:pos x="connsiteX26302" y="connsiteY26302"/>
              </a:cxn>
              <a:cxn ang="0">
                <a:pos x="connsiteX26303" y="connsiteY26303"/>
              </a:cxn>
              <a:cxn ang="0">
                <a:pos x="connsiteX26304" y="connsiteY26304"/>
              </a:cxn>
              <a:cxn ang="0">
                <a:pos x="connsiteX26305" y="connsiteY26305"/>
              </a:cxn>
              <a:cxn ang="0">
                <a:pos x="connsiteX26306" y="connsiteY26306"/>
              </a:cxn>
              <a:cxn ang="0">
                <a:pos x="connsiteX26307" y="connsiteY26307"/>
              </a:cxn>
              <a:cxn ang="0">
                <a:pos x="connsiteX26308" y="connsiteY26308"/>
              </a:cxn>
              <a:cxn ang="0">
                <a:pos x="connsiteX26309" y="connsiteY26309"/>
              </a:cxn>
              <a:cxn ang="0">
                <a:pos x="connsiteX26310" y="connsiteY26310"/>
              </a:cxn>
              <a:cxn ang="0">
                <a:pos x="connsiteX26311" y="connsiteY26311"/>
              </a:cxn>
              <a:cxn ang="0">
                <a:pos x="connsiteX26312" y="connsiteY26312"/>
              </a:cxn>
              <a:cxn ang="0">
                <a:pos x="connsiteX26313" y="connsiteY26313"/>
              </a:cxn>
              <a:cxn ang="0">
                <a:pos x="connsiteX26314" y="connsiteY26314"/>
              </a:cxn>
              <a:cxn ang="0">
                <a:pos x="connsiteX26315" y="connsiteY26315"/>
              </a:cxn>
              <a:cxn ang="0">
                <a:pos x="connsiteX26316" y="connsiteY26316"/>
              </a:cxn>
              <a:cxn ang="0">
                <a:pos x="connsiteX26317" y="connsiteY26317"/>
              </a:cxn>
              <a:cxn ang="0">
                <a:pos x="connsiteX26318" y="connsiteY26318"/>
              </a:cxn>
              <a:cxn ang="0">
                <a:pos x="connsiteX26319" y="connsiteY26319"/>
              </a:cxn>
              <a:cxn ang="0">
                <a:pos x="connsiteX26320" y="connsiteY26320"/>
              </a:cxn>
              <a:cxn ang="0">
                <a:pos x="connsiteX26321" y="connsiteY26321"/>
              </a:cxn>
              <a:cxn ang="0">
                <a:pos x="connsiteX26322" y="connsiteY26322"/>
              </a:cxn>
              <a:cxn ang="0">
                <a:pos x="connsiteX26323" y="connsiteY26323"/>
              </a:cxn>
              <a:cxn ang="0">
                <a:pos x="connsiteX26324" y="connsiteY26324"/>
              </a:cxn>
              <a:cxn ang="0">
                <a:pos x="connsiteX26325" y="connsiteY26325"/>
              </a:cxn>
              <a:cxn ang="0">
                <a:pos x="connsiteX26326" y="connsiteY26326"/>
              </a:cxn>
              <a:cxn ang="0">
                <a:pos x="connsiteX26327" y="connsiteY26327"/>
              </a:cxn>
              <a:cxn ang="0">
                <a:pos x="connsiteX26328" y="connsiteY26328"/>
              </a:cxn>
              <a:cxn ang="0">
                <a:pos x="connsiteX26329" y="connsiteY26329"/>
              </a:cxn>
              <a:cxn ang="0">
                <a:pos x="connsiteX26330" y="connsiteY26330"/>
              </a:cxn>
              <a:cxn ang="0">
                <a:pos x="connsiteX26331" y="connsiteY26331"/>
              </a:cxn>
              <a:cxn ang="0">
                <a:pos x="connsiteX26332" y="connsiteY26332"/>
              </a:cxn>
              <a:cxn ang="0">
                <a:pos x="connsiteX26333" y="connsiteY26333"/>
              </a:cxn>
              <a:cxn ang="0">
                <a:pos x="connsiteX26334" y="connsiteY26334"/>
              </a:cxn>
              <a:cxn ang="0">
                <a:pos x="connsiteX26335" y="connsiteY26335"/>
              </a:cxn>
              <a:cxn ang="0">
                <a:pos x="connsiteX26336" y="connsiteY26336"/>
              </a:cxn>
              <a:cxn ang="0">
                <a:pos x="connsiteX26337" y="connsiteY26337"/>
              </a:cxn>
              <a:cxn ang="0">
                <a:pos x="connsiteX26338" y="connsiteY26338"/>
              </a:cxn>
              <a:cxn ang="0">
                <a:pos x="connsiteX26339" y="connsiteY26339"/>
              </a:cxn>
              <a:cxn ang="0">
                <a:pos x="connsiteX26340" y="connsiteY26340"/>
              </a:cxn>
              <a:cxn ang="0">
                <a:pos x="connsiteX26341" y="connsiteY26341"/>
              </a:cxn>
              <a:cxn ang="0">
                <a:pos x="connsiteX26342" y="connsiteY26342"/>
              </a:cxn>
              <a:cxn ang="0">
                <a:pos x="connsiteX26343" y="connsiteY26343"/>
              </a:cxn>
              <a:cxn ang="0">
                <a:pos x="connsiteX26344" y="connsiteY26344"/>
              </a:cxn>
              <a:cxn ang="0">
                <a:pos x="connsiteX26345" y="connsiteY26345"/>
              </a:cxn>
              <a:cxn ang="0">
                <a:pos x="connsiteX26346" y="connsiteY26346"/>
              </a:cxn>
              <a:cxn ang="0">
                <a:pos x="connsiteX26347" y="connsiteY26347"/>
              </a:cxn>
              <a:cxn ang="0">
                <a:pos x="connsiteX26348" y="connsiteY26348"/>
              </a:cxn>
              <a:cxn ang="0">
                <a:pos x="connsiteX26349" y="connsiteY26349"/>
              </a:cxn>
              <a:cxn ang="0">
                <a:pos x="connsiteX26350" y="connsiteY26350"/>
              </a:cxn>
              <a:cxn ang="0">
                <a:pos x="connsiteX26351" y="connsiteY26351"/>
              </a:cxn>
              <a:cxn ang="0">
                <a:pos x="connsiteX26352" y="connsiteY26352"/>
              </a:cxn>
              <a:cxn ang="0">
                <a:pos x="connsiteX26353" y="connsiteY26353"/>
              </a:cxn>
              <a:cxn ang="0">
                <a:pos x="connsiteX26354" y="connsiteY26354"/>
              </a:cxn>
              <a:cxn ang="0">
                <a:pos x="connsiteX26355" y="connsiteY26355"/>
              </a:cxn>
              <a:cxn ang="0">
                <a:pos x="connsiteX26356" y="connsiteY26356"/>
              </a:cxn>
              <a:cxn ang="0">
                <a:pos x="connsiteX26357" y="connsiteY26357"/>
              </a:cxn>
              <a:cxn ang="0">
                <a:pos x="connsiteX26358" y="connsiteY26358"/>
              </a:cxn>
              <a:cxn ang="0">
                <a:pos x="connsiteX26359" y="connsiteY26359"/>
              </a:cxn>
              <a:cxn ang="0">
                <a:pos x="connsiteX26360" y="connsiteY26360"/>
              </a:cxn>
              <a:cxn ang="0">
                <a:pos x="connsiteX26361" y="connsiteY26361"/>
              </a:cxn>
              <a:cxn ang="0">
                <a:pos x="connsiteX26362" y="connsiteY26362"/>
              </a:cxn>
              <a:cxn ang="0">
                <a:pos x="connsiteX26363" y="connsiteY26363"/>
              </a:cxn>
              <a:cxn ang="0">
                <a:pos x="connsiteX26364" y="connsiteY26364"/>
              </a:cxn>
              <a:cxn ang="0">
                <a:pos x="connsiteX26365" y="connsiteY26365"/>
              </a:cxn>
              <a:cxn ang="0">
                <a:pos x="connsiteX26366" y="connsiteY26366"/>
              </a:cxn>
              <a:cxn ang="0">
                <a:pos x="connsiteX26367" y="connsiteY26367"/>
              </a:cxn>
              <a:cxn ang="0">
                <a:pos x="connsiteX26368" y="connsiteY26368"/>
              </a:cxn>
              <a:cxn ang="0">
                <a:pos x="connsiteX26369" y="connsiteY26369"/>
              </a:cxn>
              <a:cxn ang="0">
                <a:pos x="connsiteX26370" y="connsiteY26370"/>
              </a:cxn>
              <a:cxn ang="0">
                <a:pos x="connsiteX26371" y="connsiteY26371"/>
              </a:cxn>
              <a:cxn ang="0">
                <a:pos x="connsiteX26372" y="connsiteY26372"/>
              </a:cxn>
              <a:cxn ang="0">
                <a:pos x="connsiteX26373" y="connsiteY26373"/>
              </a:cxn>
              <a:cxn ang="0">
                <a:pos x="connsiteX26374" y="connsiteY26374"/>
              </a:cxn>
              <a:cxn ang="0">
                <a:pos x="connsiteX26375" y="connsiteY26375"/>
              </a:cxn>
              <a:cxn ang="0">
                <a:pos x="connsiteX26376" y="connsiteY26376"/>
              </a:cxn>
              <a:cxn ang="0">
                <a:pos x="connsiteX26377" y="connsiteY26377"/>
              </a:cxn>
              <a:cxn ang="0">
                <a:pos x="connsiteX26378" y="connsiteY26378"/>
              </a:cxn>
              <a:cxn ang="0">
                <a:pos x="connsiteX26379" y="connsiteY26379"/>
              </a:cxn>
              <a:cxn ang="0">
                <a:pos x="connsiteX26380" y="connsiteY26380"/>
              </a:cxn>
              <a:cxn ang="0">
                <a:pos x="connsiteX26381" y="connsiteY26381"/>
              </a:cxn>
              <a:cxn ang="0">
                <a:pos x="connsiteX26382" y="connsiteY26382"/>
              </a:cxn>
              <a:cxn ang="0">
                <a:pos x="connsiteX26383" y="connsiteY26383"/>
              </a:cxn>
              <a:cxn ang="0">
                <a:pos x="connsiteX26384" y="connsiteY26384"/>
              </a:cxn>
              <a:cxn ang="0">
                <a:pos x="connsiteX26385" y="connsiteY26385"/>
              </a:cxn>
              <a:cxn ang="0">
                <a:pos x="connsiteX26386" y="connsiteY26386"/>
              </a:cxn>
              <a:cxn ang="0">
                <a:pos x="connsiteX26387" y="connsiteY26387"/>
              </a:cxn>
              <a:cxn ang="0">
                <a:pos x="connsiteX26388" y="connsiteY26388"/>
              </a:cxn>
              <a:cxn ang="0">
                <a:pos x="connsiteX26389" y="connsiteY26389"/>
              </a:cxn>
              <a:cxn ang="0">
                <a:pos x="connsiteX26390" y="connsiteY26390"/>
              </a:cxn>
              <a:cxn ang="0">
                <a:pos x="connsiteX26391" y="connsiteY26391"/>
              </a:cxn>
              <a:cxn ang="0">
                <a:pos x="connsiteX26392" y="connsiteY26392"/>
              </a:cxn>
              <a:cxn ang="0">
                <a:pos x="connsiteX26393" y="connsiteY26393"/>
              </a:cxn>
              <a:cxn ang="0">
                <a:pos x="connsiteX26394" y="connsiteY26394"/>
              </a:cxn>
              <a:cxn ang="0">
                <a:pos x="connsiteX26395" y="connsiteY26395"/>
              </a:cxn>
              <a:cxn ang="0">
                <a:pos x="connsiteX26396" y="connsiteY26396"/>
              </a:cxn>
              <a:cxn ang="0">
                <a:pos x="connsiteX26397" y="connsiteY26397"/>
              </a:cxn>
              <a:cxn ang="0">
                <a:pos x="connsiteX26398" y="connsiteY26398"/>
              </a:cxn>
              <a:cxn ang="0">
                <a:pos x="connsiteX26399" y="connsiteY26399"/>
              </a:cxn>
              <a:cxn ang="0">
                <a:pos x="connsiteX26400" y="connsiteY26400"/>
              </a:cxn>
              <a:cxn ang="0">
                <a:pos x="connsiteX26401" y="connsiteY26401"/>
              </a:cxn>
              <a:cxn ang="0">
                <a:pos x="connsiteX26402" y="connsiteY26402"/>
              </a:cxn>
              <a:cxn ang="0">
                <a:pos x="connsiteX26403" y="connsiteY26403"/>
              </a:cxn>
              <a:cxn ang="0">
                <a:pos x="connsiteX26404" y="connsiteY26404"/>
              </a:cxn>
              <a:cxn ang="0">
                <a:pos x="connsiteX26405" y="connsiteY26405"/>
              </a:cxn>
              <a:cxn ang="0">
                <a:pos x="connsiteX26406" y="connsiteY26406"/>
              </a:cxn>
              <a:cxn ang="0">
                <a:pos x="connsiteX26407" y="connsiteY26407"/>
              </a:cxn>
              <a:cxn ang="0">
                <a:pos x="connsiteX26408" y="connsiteY26408"/>
              </a:cxn>
              <a:cxn ang="0">
                <a:pos x="connsiteX26409" y="connsiteY26409"/>
              </a:cxn>
              <a:cxn ang="0">
                <a:pos x="connsiteX26410" y="connsiteY26410"/>
              </a:cxn>
              <a:cxn ang="0">
                <a:pos x="connsiteX26411" y="connsiteY26411"/>
              </a:cxn>
              <a:cxn ang="0">
                <a:pos x="connsiteX26412" y="connsiteY26412"/>
              </a:cxn>
              <a:cxn ang="0">
                <a:pos x="connsiteX26413" y="connsiteY26413"/>
              </a:cxn>
              <a:cxn ang="0">
                <a:pos x="connsiteX26414" y="connsiteY26414"/>
              </a:cxn>
              <a:cxn ang="0">
                <a:pos x="connsiteX26415" y="connsiteY26415"/>
              </a:cxn>
              <a:cxn ang="0">
                <a:pos x="connsiteX26416" y="connsiteY26416"/>
              </a:cxn>
              <a:cxn ang="0">
                <a:pos x="connsiteX26417" y="connsiteY26417"/>
              </a:cxn>
              <a:cxn ang="0">
                <a:pos x="connsiteX26418" y="connsiteY26418"/>
              </a:cxn>
              <a:cxn ang="0">
                <a:pos x="connsiteX26419" y="connsiteY26419"/>
              </a:cxn>
              <a:cxn ang="0">
                <a:pos x="connsiteX26420" y="connsiteY26420"/>
              </a:cxn>
              <a:cxn ang="0">
                <a:pos x="connsiteX26421" y="connsiteY26421"/>
              </a:cxn>
              <a:cxn ang="0">
                <a:pos x="connsiteX26422" y="connsiteY26422"/>
              </a:cxn>
              <a:cxn ang="0">
                <a:pos x="connsiteX26423" y="connsiteY26423"/>
              </a:cxn>
              <a:cxn ang="0">
                <a:pos x="connsiteX26424" y="connsiteY26424"/>
              </a:cxn>
              <a:cxn ang="0">
                <a:pos x="connsiteX26425" y="connsiteY26425"/>
              </a:cxn>
              <a:cxn ang="0">
                <a:pos x="connsiteX26426" y="connsiteY26426"/>
              </a:cxn>
              <a:cxn ang="0">
                <a:pos x="connsiteX26427" y="connsiteY26427"/>
              </a:cxn>
              <a:cxn ang="0">
                <a:pos x="connsiteX26428" y="connsiteY26428"/>
              </a:cxn>
              <a:cxn ang="0">
                <a:pos x="connsiteX26429" y="connsiteY26429"/>
              </a:cxn>
              <a:cxn ang="0">
                <a:pos x="connsiteX26430" y="connsiteY26430"/>
              </a:cxn>
              <a:cxn ang="0">
                <a:pos x="connsiteX26431" y="connsiteY26431"/>
              </a:cxn>
              <a:cxn ang="0">
                <a:pos x="connsiteX26432" y="connsiteY26432"/>
              </a:cxn>
              <a:cxn ang="0">
                <a:pos x="connsiteX26433" y="connsiteY26433"/>
              </a:cxn>
              <a:cxn ang="0">
                <a:pos x="connsiteX26434" y="connsiteY26434"/>
              </a:cxn>
              <a:cxn ang="0">
                <a:pos x="connsiteX26435" y="connsiteY26435"/>
              </a:cxn>
              <a:cxn ang="0">
                <a:pos x="connsiteX26436" y="connsiteY26436"/>
              </a:cxn>
              <a:cxn ang="0">
                <a:pos x="connsiteX26437" y="connsiteY26437"/>
              </a:cxn>
              <a:cxn ang="0">
                <a:pos x="connsiteX26438" y="connsiteY26438"/>
              </a:cxn>
              <a:cxn ang="0">
                <a:pos x="connsiteX26439" y="connsiteY26439"/>
              </a:cxn>
              <a:cxn ang="0">
                <a:pos x="connsiteX26440" y="connsiteY26440"/>
              </a:cxn>
              <a:cxn ang="0">
                <a:pos x="connsiteX26441" y="connsiteY26441"/>
              </a:cxn>
              <a:cxn ang="0">
                <a:pos x="connsiteX26442" y="connsiteY26442"/>
              </a:cxn>
              <a:cxn ang="0">
                <a:pos x="connsiteX26443" y="connsiteY26443"/>
              </a:cxn>
              <a:cxn ang="0">
                <a:pos x="connsiteX26444" y="connsiteY26444"/>
              </a:cxn>
              <a:cxn ang="0">
                <a:pos x="connsiteX26445" y="connsiteY26445"/>
              </a:cxn>
              <a:cxn ang="0">
                <a:pos x="connsiteX26446" y="connsiteY26446"/>
              </a:cxn>
              <a:cxn ang="0">
                <a:pos x="connsiteX26447" y="connsiteY26447"/>
              </a:cxn>
              <a:cxn ang="0">
                <a:pos x="connsiteX26448" y="connsiteY26448"/>
              </a:cxn>
              <a:cxn ang="0">
                <a:pos x="connsiteX26449" y="connsiteY26449"/>
              </a:cxn>
              <a:cxn ang="0">
                <a:pos x="connsiteX26450" y="connsiteY26450"/>
              </a:cxn>
              <a:cxn ang="0">
                <a:pos x="connsiteX26451" y="connsiteY26451"/>
              </a:cxn>
              <a:cxn ang="0">
                <a:pos x="connsiteX26452" y="connsiteY26452"/>
              </a:cxn>
              <a:cxn ang="0">
                <a:pos x="connsiteX26453" y="connsiteY26453"/>
              </a:cxn>
              <a:cxn ang="0">
                <a:pos x="connsiteX26454" y="connsiteY26454"/>
              </a:cxn>
              <a:cxn ang="0">
                <a:pos x="connsiteX26455" y="connsiteY26455"/>
              </a:cxn>
              <a:cxn ang="0">
                <a:pos x="connsiteX26456" y="connsiteY26456"/>
              </a:cxn>
              <a:cxn ang="0">
                <a:pos x="connsiteX26457" y="connsiteY26457"/>
              </a:cxn>
              <a:cxn ang="0">
                <a:pos x="connsiteX26458" y="connsiteY26458"/>
              </a:cxn>
              <a:cxn ang="0">
                <a:pos x="connsiteX26459" y="connsiteY26459"/>
              </a:cxn>
              <a:cxn ang="0">
                <a:pos x="connsiteX26460" y="connsiteY26460"/>
              </a:cxn>
              <a:cxn ang="0">
                <a:pos x="connsiteX26461" y="connsiteY26461"/>
              </a:cxn>
              <a:cxn ang="0">
                <a:pos x="connsiteX26462" y="connsiteY26462"/>
              </a:cxn>
              <a:cxn ang="0">
                <a:pos x="connsiteX26463" y="connsiteY26463"/>
              </a:cxn>
              <a:cxn ang="0">
                <a:pos x="connsiteX26464" y="connsiteY26464"/>
              </a:cxn>
              <a:cxn ang="0">
                <a:pos x="connsiteX26465" y="connsiteY26465"/>
              </a:cxn>
              <a:cxn ang="0">
                <a:pos x="connsiteX26466" y="connsiteY26466"/>
              </a:cxn>
              <a:cxn ang="0">
                <a:pos x="connsiteX26467" y="connsiteY26467"/>
              </a:cxn>
              <a:cxn ang="0">
                <a:pos x="connsiteX26468" y="connsiteY26468"/>
              </a:cxn>
              <a:cxn ang="0">
                <a:pos x="connsiteX26469" y="connsiteY26469"/>
              </a:cxn>
              <a:cxn ang="0">
                <a:pos x="connsiteX26470" y="connsiteY26470"/>
              </a:cxn>
              <a:cxn ang="0">
                <a:pos x="connsiteX26471" y="connsiteY26471"/>
              </a:cxn>
              <a:cxn ang="0">
                <a:pos x="connsiteX26472" y="connsiteY26472"/>
              </a:cxn>
              <a:cxn ang="0">
                <a:pos x="connsiteX26473" y="connsiteY26473"/>
              </a:cxn>
              <a:cxn ang="0">
                <a:pos x="connsiteX26474" y="connsiteY26474"/>
              </a:cxn>
              <a:cxn ang="0">
                <a:pos x="connsiteX26475" y="connsiteY26475"/>
              </a:cxn>
              <a:cxn ang="0">
                <a:pos x="connsiteX26476" y="connsiteY26476"/>
              </a:cxn>
              <a:cxn ang="0">
                <a:pos x="connsiteX26477" y="connsiteY26477"/>
              </a:cxn>
              <a:cxn ang="0">
                <a:pos x="connsiteX26478" y="connsiteY26478"/>
              </a:cxn>
              <a:cxn ang="0">
                <a:pos x="connsiteX26479" y="connsiteY26479"/>
              </a:cxn>
              <a:cxn ang="0">
                <a:pos x="connsiteX26480" y="connsiteY26480"/>
              </a:cxn>
              <a:cxn ang="0">
                <a:pos x="connsiteX26481" y="connsiteY26481"/>
              </a:cxn>
              <a:cxn ang="0">
                <a:pos x="connsiteX26482" y="connsiteY26482"/>
              </a:cxn>
              <a:cxn ang="0">
                <a:pos x="connsiteX26483" y="connsiteY26483"/>
              </a:cxn>
              <a:cxn ang="0">
                <a:pos x="connsiteX26484" y="connsiteY26484"/>
              </a:cxn>
              <a:cxn ang="0">
                <a:pos x="connsiteX26485" y="connsiteY26485"/>
              </a:cxn>
              <a:cxn ang="0">
                <a:pos x="connsiteX26486" y="connsiteY26486"/>
              </a:cxn>
              <a:cxn ang="0">
                <a:pos x="connsiteX26487" y="connsiteY26487"/>
              </a:cxn>
              <a:cxn ang="0">
                <a:pos x="connsiteX26488" y="connsiteY26488"/>
              </a:cxn>
              <a:cxn ang="0">
                <a:pos x="connsiteX26489" y="connsiteY26489"/>
              </a:cxn>
              <a:cxn ang="0">
                <a:pos x="connsiteX26490" y="connsiteY26490"/>
              </a:cxn>
              <a:cxn ang="0">
                <a:pos x="connsiteX26491" y="connsiteY26491"/>
              </a:cxn>
              <a:cxn ang="0">
                <a:pos x="connsiteX26492" y="connsiteY26492"/>
              </a:cxn>
              <a:cxn ang="0">
                <a:pos x="connsiteX26493" y="connsiteY26493"/>
              </a:cxn>
              <a:cxn ang="0">
                <a:pos x="connsiteX26494" y="connsiteY26494"/>
              </a:cxn>
              <a:cxn ang="0">
                <a:pos x="connsiteX26495" y="connsiteY26495"/>
              </a:cxn>
              <a:cxn ang="0">
                <a:pos x="connsiteX26496" y="connsiteY26496"/>
              </a:cxn>
              <a:cxn ang="0">
                <a:pos x="connsiteX26497" y="connsiteY26497"/>
              </a:cxn>
              <a:cxn ang="0">
                <a:pos x="connsiteX26498" y="connsiteY26498"/>
              </a:cxn>
              <a:cxn ang="0">
                <a:pos x="connsiteX26499" y="connsiteY26499"/>
              </a:cxn>
              <a:cxn ang="0">
                <a:pos x="connsiteX26500" y="connsiteY26500"/>
              </a:cxn>
              <a:cxn ang="0">
                <a:pos x="connsiteX26501" y="connsiteY26501"/>
              </a:cxn>
              <a:cxn ang="0">
                <a:pos x="connsiteX26502" y="connsiteY26502"/>
              </a:cxn>
              <a:cxn ang="0">
                <a:pos x="connsiteX26503" y="connsiteY26503"/>
              </a:cxn>
              <a:cxn ang="0">
                <a:pos x="connsiteX26504" y="connsiteY26504"/>
              </a:cxn>
              <a:cxn ang="0">
                <a:pos x="connsiteX26505" y="connsiteY26505"/>
              </a:cxn>
              <a:cxn ang="0">
                <a:pos x="connsiteX26506" y="connsiteY26506"/>
              </a:cxn>
              <a:cxn ang="0">
                <a:pos x="connsiteX26507" y="connsiteY26507"/>
              </a:cxn>
              <a:cxn ang="0">
                <a:pos x="connsiteX26508" y="connsiteY26508"/>
              </a:cxn>
              <a:cxn ang="0">
                <a:pos x="connsiteX26509" y="connsiteY26509"/>
              </a:cxn>
              <a:cxn ang="0">
                <a:pos x="connsiteX26510" y="connsiteY26510"/>
              </a:cxn>
              <a:cxn ang="0">
                <a:pos x="connsiteX26511" y="connsiteY26511"/>
              </a:cxn>
              <a:cxn ang="0">
                <a:pos x="connsiteX26512" y="connsiteY26512"/>
              </a:cxn>
              <a:cxn ang="0">
                <a:pos x="connsiteX26513" y="connsiteY26513"/>
              </a:cxn>
              <a:cxn ang="0">
                <a:pos x="connsiteX26514" y="connsiteY26514"/>
              </a:cxn>
              <a:cxn ang="0">
                <a:pos x="connsiteX26515" y="connsiteY26515"/>
              </a:cxn>
              <a:cxn ang="0">
                <a:pos x="connsiteX26516" y="connsiteY26516"/>
              </a:cxn>
              <a:cxn ang="0">
                <a:pos x="connsiteX26517" y="connsiteY26517"/>
              </a:cxn>
              <a:cxn ang="0">
                <a:pos x="connsiteX26518" y="connsiteY26518"/>
              </a:cxn>
              <a:cxn ang="0">
                <a:pos x="connsiteX26519" y="connsiteY26519"/>
              </a:cxn>
              <a:cxn ang="0">
                <a:pos x="connsiteX26520" y="connsiteY26520"/>
              </a:cxn>
              <a:cxn ang="0">
                <a:pos x="connsiteX26521" y="connsiteY26521"/>
              </a:cxn>
              <a:cxn ang="0">
                <a:pos x="connsiteX26522" y="connsiteY26522"/>
              </a:cxn>
              <a:cxn ang="0">
                <a:pos x="connsiteX26523" y="connsiteY26523"/>
              </a:cxn>
              <a:cxn ang="0">
                <a:pos x="connsiteX26524" y="connsiteY26524"/>
              </a:cxn>
              <a:cxn ang="0">
                <a:pos x="connsiteX26525" y="connsiteY26525"/>
              </a:cxn>
              <a:cxn ang="0">
                <a:pos x="connsiteX26526" y="connsiteY26526"/>
              </a:cxn>
              <a:cxn ang="0">
                <a:pos x="connsiteX26527" y="connsiteY26527"/>
              </a:cxn>
              <a:cxn ang="0">
                <a:pos x="connsiteX26528" y="connsiteY26528"/>
              </a:cxn>
              <a:cxn ang="0">
                <a:pos x="connsiteX26529" y="connsiteY26529"/>
              </a:cxn>
              <a:cxn ang="0">
                <a:pos x="connsiteX26530" y="connsiteY26530"/>
              </a:cxn>
              <a:cxn ang="0">
                <a:pos x="connsiteX26531" y="connsiteY26531"/>
              </a:cxn>
              <a:cxn ang="0">
                <a:pos x="connsiteX26532" y="connsiteY26532"/>
              </a:cxn>
              <a:cxn ang="0">
                <a:pos x="connsiteX26533" y="connsiteY26533"/>
              </a:cxn>
              <a:cxn ang="0">
                <a:pos x="connsiteX26534" y="connsiteY26534"/>
              </a:cxn>
              <a:cxn ang="0">
                <a:pos x="connsiteX26535" y="connsiteY26535"/>
              </a:cxn>
              <a:cxn ang="0">
                <a:pos x="connsiteX26536" y="connsiteY26536"/>
              </a:cxn>
              <a:cxn ang="0">
                <a:pos x="connsiteX26537" y="connsiteY26537"/>
              </a:cxn>
              <a:cxn ang="0">
                <a:pos x="connsiteX26538" y="connsiteY26538"/>
              </a:cxn>
              <a:cxn ang="0">
                <a:pos x="connsiteX26539" y="connsiteY26539"/>
              </a:cxn>
              <a:cxn ang="0">
                <a:pos x="connsiteX26540" y="connsiteY26540"/>
              </a:cxn>
              <a:cxn ang="0">
                <a:pos x="connsiteX26541" y="connsiteY26541"/>
              </a:cxn>
              <a:cxn ang="0">
                <a:pos x="connsiteX26542" y="connsiteY26542"/>
              </a:cxn>
              <a:cxn ang="0">
                <a:pos x="connsiteX26543" y="connsiteY26543"/>
              </a:cxn>
              <a:cxn ang="0">
                <a:pos x="connsiteX26544" y="connsiteY26544"/>
              </a:cxn>
              <a:cxn ang="0">
                <a:pos x="connsiteX26545" y="connsiteY26545"/>
              </a:cxn>
              <a:cxn ang="0">
                <a:pos x="connsiteX26546" y="connsiteY26546"/>
              </a:cxn>
              <a:cxn ang="0">
                <a:pos x="connsiteX26547" y="connsiteY26547"/>
              </a:cxn>
              <a:cxn ang="0">
                <a:pos x="connsiteX26548" y="connsiteY26548"/>
              </a:cxn>
              <a:cxn ang="0">
                <a:pos x="connsiteX26549" y="connsiteY26549"/>
              </a:cxn>
              <a:cxn ang="0">
                <a:pos x="connsiteX26550" y="connsiteY26550"/>
              </a:cxn>
              <a:cxn ang="0">
                <a:pos x="connsiteX26551" y="connsiteY26551"/>
              </a:cxn>
              <a:cxn ang="0">
                <a:pos x="connsiteX26552" y="connsiteY26552"/>
              </a:cxn>
              <a:cxn ang="0">
                <a:pos x="connsiteX26553" y="connsiteY26553"/>
              </a:cxn>
              <a:cxn ang="0">
                <a:pos x="connsiteX26554" y="connsiteY26554"/>
              </a:cxn>
              <a:cxn ang="0">
                <a:pos x="connsiteX26555" y="connsiteY26555"/>
              </a:cxn>
              <a:cxn ang="0">
                <a:pos x="connsiteX26556" y="connsiteY26556"/>
              </a:cxn>
              <a:cxn ang="0">
                <a:pos x="connsiteX26557" y="connsiteY26557"/>
              </a:cxn>
              <a:cxn ang="0">
                <a:pos x="connsiteX26558" y="connsiteY26558"/>
              </a:cxn>
              <a:cxn ang="0">
                <a:pos x="connsiteX26559" y="connsiteY26559"/>
              </a:cxn>
              <a:cxn ang="0">
                <a:pos x="connsiteX26560" y="connsiteY26560"/>
              </a:cxn>
              <a:cxn ang="0">
                <a:pos x="connsiteX26561" y="connsiteY26561"/>
              </a:cxn>
              <a:cxn ang="0">
                <a:pos x="connsiteX26562" y="connsiteY26562"/>
              </a:cxn>
              <a:cxn ang="0">
                <a:pos x="connsiteX26563" y="connsiteY26563"/>
              </a:cxn>
              <a:cxn ang="0">
                <a:pos x="connsiteX26564" y="connsiteY26564"/>
              </a:cxn>
              <a:cxn ang="0">
                <a:pos x="connsiteX26565" y="connsiteY26565"/>
              </a:cxn>
              <a:cxn ang="0">
                <a:pos x="connsiteX26566" y="connsiteY26566"/>
              </a:cxn>
              <a:cxn ang="0">
                <a:pos x="connsiteX26567" y="connsiteY26567"/>
              </a:cxn>
              <a:cxn ang="0">
                <a:pos x="connsiteX26568" y="connsiteY26568"/>
              </a:cxn>
              <a:cxn ang="0">
                <a:pos x="connsiteX26569" y="connsiteY26569"/>
              </a:cxn>
              <a:cxn ang="0">
                <a:pos x="connsiteX26570" y="connsiteY26570"/>
              </a:cxn>
              <a:cxn ang="0">
                <a:pos x="connsiteX26571" y="connsiteY26571"/>
              </a:cxn>
              <a:cxn ang="0">
                <a:pos x="connsiteX26572" y="connsiteY26572"/>
              </a:cxn>
              <a:cxn ang="0">
                <a:pos x="connsiteX26573" y="connsiteY26573"/>
              </a:cxn>
              <a:cxn ang="0">
                <a:pos x="connsiteX26574" y="connsiteY26574"/>
              </a:cxn>
              <a:cxn ang="0">
                <a:pos x="connsiteX26575" y="connsiteY26575"/>
              </a:cxn>
              <a:cxn ang="0">
                <a:pos x="connsiteX26576" y="connsiteY26576"/>
              </a:cxn>
              <a:cxn ang="0">
                <a:pos x="connsiteX26577" y="connsiteY26577"/>
              </a:cxn>
              <a:cxn ang="0">
                <a:pos x="connsiteX26578" y="connsiteY26578"/>
              </a:cxn>
              <a:cxn ang="0">
                <a:pos x="connsiteX26579" y="connsiteY26579"/>
              </a:cxn>
              <a:cxn ang="0">
                <a:pos x="connsiteX26580" y="connsiteY26580"/>
              </a:cxn>
              <a:cxn ang="0">
                <a:pos x="connsiteX26581" y="connsiteY26581"/>
              </a:cxn>
              <a:cxn ang="0">
                <a:pos x="connsiteX26582" y="connsiteY26582"/>
              </a:cxn>
              <a:cxn ang="0">
                <a:pos x="connsiteX26583" y="connsiteY26583"/>
              </a:cxn>
              <a:cxn ang="0">
                <a:pos x="connsiteX26584" y="connsiteY26584"/>
              </a:cxn>
              <a:cxn ang="0">
                <a:pos x="connsiteX26585" y="connsiteY26585"/>
              </a:cxn>
              <a:cxn ang="0">
                <a:pos x="connsiteX26586" y="connsiteY26586"/>
              </a:cxn>
              <a:cxn ang="0">
                <a:pos x="connsiteX26587" y="connsiteY26587"/>
              </a:cxn>
              <a:cxn ang="0">
                <a:pos x="connsiteX26588" y="connsiteY26588"/>
              </a:cxn>
              <a:cxn ang="0">
                <a:pos x="connsiteX26589" y="connsiteY26589"/>
              </a:cxn>
              <a:cxn ang="0">
                <a:pos x="connsiteX26590" y="connsiteY26590"/>
              </a:cxn>
              <a:cxn ang="0">
                <a:pos x="connsiteX26591" y="connsiteY26591"/>
              </a:cxn>
              <a:cxn ang="0">
                <a:pos x="connsiteX26592" y="connsiteY26592"/>
              </a:cxn>
              <a:cxn ang="0">
                <a:pos x="connsiteX26593" y="connsiteY26593"/>
              </a:cxn>
              <a:cxn ang="0">
                <a:pos x="connsiteX26594" y="connsiteY26594"/>
              </a:cxn>
              <a:cxn ang="0">
                <a:pos x="connsiteX26595" y="connsiteY26595"/>
              </a:cxn>
              <a:cxn ang="0">
                <a:pos x="connsiteX26596" y="connsiteY26596"/>
              </a:cxn>
              <a:cxn ang="0">
                <a:pos x="connsiteX26597" y="connsiteY26597"/>
              </a:cxn>
              <a:cxn ang="0">
                <a:pos x="connsiteX26598" y="connsiteY26598"/>
              </a:cxn>
              <a:cxn ang="0">
                <a:pos x="connsiteX26599" y="connsiteY26599"/>
              </a:cxn>
              <a:cxn ang="0">
                <a:pos x="connsiteX26600" y="connsiteY26600"/>
              </a:cxn>
              <a:cxn ang="0">
                <a:pos x="connsiteX26601" y="connsiteY26601"/>
              </a:cxn>
              <a:cxn ang="0">
                <a:pos x="connsiteX26602" y="connsiteY26602"/>
              </a:cxn>
              <a:cxn ang="0">
                <a:pos x="connsiteX26603" y="connsiteY26603"/>
              </a:cxn>
              <a:cxn ang="0">
                <a:pos x="connsiteX26604" y="connsiteY26604"/>
              </a:cxn>
              <a:cxn ang="0">
                <a:pos x="connsiteX26605" y="connsiteY26605"/>
              </a:cxn>
              <a:cxn ang="0">
                <a:pos x="connsiteX26606" y="connsiteY26606"/>
              </a:cxn>
              <a:cxn ang="0">
                <a:pos x="connsiteX26607" y="connsiteY26607"/>
              </a:cxn>
              <a:cxn ang="0">
                <a:pos x="connsiteX26608" y="connsiteY26608"/>
              </a:cxn>
              <a:cxn ang="0">
                <a:pos x="connsiteX26609" y="connsiteY26609"/>
              </a:cxn>
              <a:cxn ang="0">
                <a:pos x="connsiteX26610" y="connsiteY26610"/>
              </a:cxn>
              <a:cxn ang="0">
                <a:pos x="connsiteX26611" y="connsiteY26611"/>
              </a:cxn>
              <a:cxn ang="0">
                <a:pos x="connsiteX26612" y="connsiteY26612"/>
              </a:cxn>
              <a:cxn ang="0">
                <a:pos x="connsiteX26613" y="connsiteY26613"/>
              </a:cxn>
              <a:cxn ang="0">
                <a:pos x="connsiteX26614" y="connsiteY26614"/>
              </a:cxn>
              <a:cxn ang="0">
                <a:pos x="connsiteX26615" y="connsiteY26615"/>
              </a:cxn>
              <a:cxn ang="0">
                <a:pos x="connsiteX26616" y="connsiteY26616"/>
              </a:cxn>
              <a:cxn ang="0">
                <a:pos x="connsiteX26617" y="connsiteY26617"/>
              </a:cxn>
              <a:cxn ang="0">
                <a:pos x="connsiteX26618" y="connsiteY26618"/>
              </a:cxn>
              <a:cxn ang="0">
                <a:pos x="connsiteX26619" y="connsiteY26619"/>
              </a:cxn>
              <a:cxn ang="0">
                <a:pos x="connsiteX26620" y="connsiteY26620"/>
              </a:cxn>
              <a:cxn ang="0">
                <a:pos x="connsiteX26621" y="connsiteY26621"/>
              </a:cxn>
              <a:cxn ang="0">
                <a:pos x="connsiteX26622" y="connsiteY26622"/>
              </a:cxn>
              <a:cxn ang="0">
                <a:pos x="connsiteX26623" y="connsiteY26623"/>
              </a:cxn>
              <a:cxn ang="0">
                <a:pos x="connsiteX26624" y="connsiteY26624"/>
              </a:cxn>
              <a:cxn ang="0">
                <a:pos x="connsiteX26625" y="connsiteY26625"/>
              </a:cxn>
              <a:cxn ang="0">
                <a:pos x="connsiteX26626" y="connsiteY26626"/>
              </a:cxn>
              <a:cxn ang="0">
                <a:pos x="connsiteX26627" y="connsiteY26627"/>
              </a:cxn>
              <a:cxn ang="0">
                <a:pos x="connsiteX26628" y="connsiteY26628"/>
              </a:cxn>
              <a:cxn ang="0">
                <a:pos x="connsiteX26629" y="connsiteY26629"/>
              </a:cxn>
              <a:cxn ang="0">
                <a:pos x="connsiteX26630" y="connsiteY26630"/>
              </a:cxn>
              <a:cxn ang="0">
                <a:pos x="connsiteX26631" y="connsiteY26631"/>
              </a:cxn>
              <a:cxn ang="0">
                <a:pos x="connsiteX26632" y="connsiteY26632"/>
              </a:cxn>
              <a:cxn ang="0">
                <a:pos x="connsiteX26633" y="connsiteY26633"/>
              </a:cxn>
              <a:cxn ang="0">
                <a:pos x="connsiteX26634" y="connsiteY26634"/>
              </a:cxn>
              <a:cxn ang="0">
                <a:pos x="connsiteX26635" y="connsiteY26635"/>
              </a:cxn>
              <a:cxn ang="0">
                <a:pos x="connsiteX26636" y="connsiteY26636"/>
              </a:cxn>
              <a:cxn ang="0">
                <a:pos x="connsiteX26637" y="connsiteY26637"/>
              </a:cxn>
              <a:cxn ang="0">
                <a:pos x="connsiteX26638" y="connsiteY26638"/>
              </a:cxn>
              <a:cxn ang="0">
                <a:pos x="connsiteX26639" y="connsiteY26639"/>
              </a:cxn>
              <a:cxn ang="0">
                <a:pos x="connsiteX26640" y="connsiteY26640"/>
              </a:cxn>
              <a:cxn ang="0">
                <a:pos x="connsiteX26641" y="connsiteY26641"/>
              </a:cxn>
              <a:cxn ang="0">
                <a:pos x="connsiteX26642" y="connsiteY26642"/>
              </a:cxn>
              <a:cxn ang="0">
                <a:pos x="connsiteX26643" y="connsiteY26643"/>
              </a:cxn>
              <a:cxn ang="0">
                <a:pos x="connsiteX26644" y="connsiteY26644"/>
              </a:cxn>
              <a:cxn ang="0">
                <a:pos x="connsiteX26645" y="connsiteY26645"/>
              </a:cxn>
              <a:cxn ang="0">
                <a:pos x="connsiteX26646" y="connsiteY26646"/>
              </a:cxn>
              <a:cxn ang="0">
                <a:pos x="connsiteX26647" y="connsiteY26647"/>
              </a:cxn>
              <a:cxn ang="0">
                <a:pos x="connsiteX26648" y="connsiteY26648"/>
              </a:cxn>
              <a:cxn ang="0">
                <a:pos x="connsiteX26649" y="connsiteY26649"/>
              </a:cxn>
              <a:cxn ang="0">
                <a:pos x="connsiteX26650" y="connsiteY26650"/>
              </a:cxn>
              <a:cxn ang="0">
                <a:pos x="connsiteX26651" y="connsiteY26651"/>
              </a:cxn>
              <a:cxn ang="0">
                <a:pos x="connsiteX26652" y="connsiteY26652"/>
              </a:cxn>
              <a:cxn ang="0">
                <a:pos x="connsiteX26653" y="connsiteY26653"/>
              </a:cxn>
              <a:cxn ang="0">
                <a:pos x="connsiteX26654" y="connsiteY26654"/>
              </a:cxn>
              <a:cxn ang="0">
                <a:pos x="connsiteX26655" y="connsiteY26655"/>
              </a:cxn>
              <a:cxn ang="0">
                <a:pos x="connsiteX26656" y="connsiteY26656"/>
              </a:cxn>
              <a:cxn ang="0">
                <a:pos x="connsiteX26657" y="connsiteY26657"/>
              </a:cxn>
              <a:cxn ang="0">
                <a:pos x="connsiteX26658" y="connsiteY26658"/>
              </a:cxn>
              <a:cxn ang="0">
                <a:pos x="connsiteX26659" y="connsiteY26659"/>
              </a:cxn>
              <a:cxn ang="0">
                <a:pos x="connsiteX26660" y="connsiteY26660"/>
              </a:cxn>
              <a:cxn ang="0">
                <a:pos x="connsiteX26661" y="connsiteY26661"/>
              </a:cxn>
              <a:cxn ang="0">
                <a:pos x="connsiteX26662" y="connsiteY26662"/>
              </a:cxn>
              <a:cxn ang="0">
                <a:pos x="connsiteX26663" y="connsiteY26663"/>
              </a:cxn>
              <a:cxn ang="0">
                <a:pos x="connsiteX26664" y="connsiteY26664"/>
              </a:cxn>
              <a:cxn ang="0">
                <a:pos x="connsiteX26665" y="connsiteY26665"/>
              </a:cxn>
              <a:cxn ang="0">
                <a:pos x="connsiteX26666" y="connsiteY26666"/>
              </a:cxn>
              <a:cxn ang="0">
                <a:pos x="connsiteX26667" y="connsiteY26667"/>
              </a:cxn>
              <a:cxn ang="0">
                <a:pos x="connsiteX26668" y="connsiteY26668"/>
              </a:cxn>
              <a:cxn ang="0">
                <a:pos x="connsiteX26669" y="connsiteY26669"/>
              </a:cxn>
              <a:cxn ang="0">
                <a:pos x="connsiteX26670" y="connsiteY26670"/>
              </a:cxn>
              <a:cxn ang="0">
                <a:pos x="connsiteX26671" y="connsiteY26671"/>
              </a:cxn>
              <a:cxn ang="0">
                <a:pos x="connsiteX26672" y="connsiteY26672"/>
              </a:cxn>
              <a:cxn ang="0">
                <a:pos x="connsiteX26673" y="connsiteY26673"/>
              </a:cxn>
              <a:cxn ang="0">
                <a:pos x="connsiteX26674" y="connsiteY26674"/>
              </a:cxn>
              <a:cxn ang="0">
                <a:pos x="connsiteX26675" y="connsiteY26675"/>
              </a:cxn>
              <a:cxn ang="0">
                <a:pos x="connsiteX26676" y="connsiteY26676"/>
              </a:cxn>
              <a:cxn ang="0">
                <a:pos x="connsiteX26677" y="connsiteY26677"/>
              </a:cxn>
              <a:cxn ang="0">
                <a:pos x="connsiteX26678" y="connsiteY26678"/>
              </a:cxn>
              <a:cxn ang="0">
                <a:pos x="connsiteX26679" y="connsiteY26679"/>
              </a:cxn>
              <a:cxn ang="0">
                <a:pos x="connsiteX26680" y="connsiteY26680"/>
              </a:cxn>
              <a:cxn ang="0">
                <a:pos x="connsiteX26681" y="connsiteY26681"/>
              </a:cxn>
              <a:cxn ang="0">
                <a:pos x="connsiteX26682" y="connsiteY26682"/>
              </a:cxn>
              <a:cxn ang="0">
                <a:pos x="connsiteX26683" y="connsiteY26683"/>
              </a:cxn>
              <a:cxn ang="0">
                <a:pos x="connsiteX26684" y="connsiteY26684"/>
              </a:cxn>
              <a:cxn ang="0">
                <a:pos x="connsiteX26685" y="connsiteY26685"/>
              </a:cxn>
              <a:cxn ang="0">
                <a:pos x="connsiteX26686" y="connsiteY26686"/>
              </a:cxn>
              <a:cxn ang="0">
                <a:pos x="connsiteX26687" y="connsiteY26687"/>
              </a:cxn>
              <a:cxn ang="0">
                <a:pos x="connsiteX26688" y="connsiteY26688"/>
              </a:cxn>
              <a:cxn ang="0">
                <a:pos x="connsiteX26689" y="connsiteY26689"/>
              </a:cxn>
              <a:cxn ang="0">
                <a:pos x="connsiteX26690" y="connsiteY26690"/>
              </a:cxn>
              <a:cxn ang="0">
                <a:pos x="connsiteX26691" y="connsiteY26691"/>
              </a:cxn>
              <a:cxn ang="0">
                <a:pos x="connsiteX26692" y="connsiteY26692"/>
              </a:cxn>
              <a:cxn ang="0">
                <a:pos x="connsiteX26693" y="connsiteY26693"/>
              </a:cxn>
              <a:cxn ang="0">
                <a:pos x="connsiteX26694" y="connsiteY26694"/>
              </a:cxn>
              <a:cxn ang="0">
                <a:pos x="connsiteX26695" y="connsiteY26695"/>
              </a:cxn>
              <a:cxn ang="0">
                <a:pos x="connsiteX26696" y="connsiteY26696"/>
              </a:cxn>
              <a:cxn ang="0">
                <a:pos x="connsiteX26697" y="connsiteY26697"/>
              </a:cxn>
              <a:cxn ang="0">
                <a:pos x="connsiteX26698" y="connsiteY26698"/>
              </a:cxn>
              <a:cxn ang="0">
                <a:pos x="connsiteX26699" y="connsiteY26699"/>
              </a:cxn>
              <a:cxn ang="0">
                <a:pos x="connsiteX26700" y="connsiteY26700"/>
              </a:cxn>
              <a:cxn ang="0">
                <a:pos x="connsiteX26701" y="connsiteY26701"/>
              </a:cxn>
              <a:cxn ang="0">
                <a:pos x="connsiteX26702" y="connsiteY26702"/>
              </a:cxn>
              <a:cxn ang="0">
                <a:pos x="connsiteX26703" y="connsiteY26703"/>
              </a:cxn>
              <a:cxn ang="0">
                <a:pos x="connsiteX26704" y="connsiteY26704"/>
              </a:cxn>
              <a:cxn ang="0">
                <a:pos x="connsiteX26705" y="connsiteY26705"/>
              </a:cxn>
              <a:cxn ang="0">
                <a:pos x="connsiteX26706" y="connsiteY26706"/>
              </a:cxn>
              <a:cxn ang="0">
                <a:pos x="connsiteX26707" y="connsiteY26707"/>
              </a:cxn>
              <a:cxn ang="0">
                <a:pos x="connsiteX26708" y="connsiteY26708"/>
              </a:cxn>
              <a:cxn ang="0">
                <a:pos x="connsiteX26709" y="connsiteY26709"/>
              </a:cxn>
              <a:cxn ang="0">
                <a:pos x="connsiteX26710" y="connsiteY26710"/>
              </a:cxn>
              <a:cxn ang="0">
                <a:pos x="connsiteX26711" y="connsiteY26711"/>
              </a:cxn>
              <a:cxn ang="0">
                <a:pos x="connsiteX26712" y="connsiteY26712"/>
              </a:cxn>
              <a:cxn ang="0">
                <a:pos x="connsiteX26713" y="connsiteY26713"/>
              </a:cxn>
              <a:cxn ang="0">
                <a:pos x="connsiteX26714" y="connsiteY26714"/>
              </a:cxn>
              <a:cxn ang="0">
                <a:pos x="connsiteX26715" y="connsiteY26715"/>
              </a:cxn>
              <a:cxn ang="0">
                <a:pos x="connsiteX26716" y="connsiteY26716"/>
              </a:cxn>
              <a:cxn ang="0">
                <a:pos x="connsiteX26717" y="connsiteY26717"/>
              </a:cxn>
              <a:cxn ang="0">
                <a:pos x="connsiteX26718" y="connsiteY26718"/>
              </a:cxn>
              <a:cxn ang="0">
                <a:pos x="connsiteX26719" y="connsiteY26719"/>
              </a:cxn>
              <a:cxn ang="0">
                <a:pos x="connsiteX26720" y="connsiteY26720"/>
              </a:cxn>
              <a:cxn ang="0">
                <a:pos x="connsiteX26721" y="connsiteY26721"/>
              </a:cxn>
              <a:cxn ang="0">
                <a:pos x="connsiteX26722" y="connsiteY26722"/>
              </a:cxn>
              <a:cxn ang="0">
                <a:pos x="connsiteX26723" y="connsiteY26723"/>
              </a:cxn>
              <a:cxn ang="0">
                <a:pos x="connsiteX26724" y="connsiteY26724"/>
              </a:cxn>
              <a:cxn ang="0">
                <a:pos x="connsiteX26725" y="connsiteY26725"/>
              </a:cxn>
              <a:cxn ang="0">
                <a:pos x="connsiteX26726" y="connsiteY26726"/>
              </a:cxn>
              <a:cxn ang="0">
                <a:pos x="connsiteX26727" y="connsiteY26727"/>
              </a:cxn>
              <a:cxn ang="0">
                <a:pos x="connsiteX26728" y="connsiteY26728"/>
              </a:cxn>
              <a:cxn ang="0">
                <a:pos x="connsiteX26729" y="connsiteY26729"/>
              </a:cxn>
              <a:cxn ang="0">
                <a:pos x="connsiteX26730" y="connsiteY26730"/>
              </a:cxn>
              <a:cxn ang="0">
                <a:pos x="connsiteX26731" y="connsiteY26731"/>
              </a:cxn>
              <a:cxn ang="0">
                <a:pos x="connsiteX26732" y="connsiteY26732"/>
              </a:cxn>
              <a:cxn ang="0">
                <a:pos x="connsiteX26733" y="connsiteY26733"/>
              </a:cxn>
              <a:cxn ang="0">
                <a:pos x="connsiteX26734" y="connsiteY26734"/>
              </a:cxn>
              <a:cxn ang="0">
                <a:pos x="connsiteX26735" y="connsiteY26735"/>
              </a:cxn>
              <a:cxn ang="0">
                <a:pos x="connsiteX26736" y="connsiteY26736"/>
              </a:cxn>
              <a:cxn ang="0">
                <a:pos x="connsiteX26737" y="connsiteY26737"/>
              </a:cxn>
              <a:cxn ang="0">
                <a:pos x="connsiteX26738" y="connsiteY26738"/>
              </a:cxn>
              <a:cxn ang="0">
                <a:pos x="connsiteX26739" y="connsiteY26739"/>
              </a:cxn>
              <a:cxn ang="0">
                <a:pos x="connsiteX26740" y="connsiteY26740"/>
              </a:cxn>
              <a:cxn ang="0">
                <a:pos x="connsiteX26741" y="connsiteY26741"/>
              </a:cxn>
              <a:cxn ang="0">
                <a:pos x="connsiteX26742" y="connsiteY26742"/>
              </a:cxn>
              <a:cxn ang="0">
                <a:pos x="connsiteX26743" y="connsiteY26743"/>
              </a:cxn>
              <a:cxn ang="0">
                <a:pos x="connsiteX26744" y="connsiteY26744"/>
              </a:cxn>
              <a:cxn ang="0">
                <a:pos x="connsiteX26745" y="connsiteY26745"/>
              </a:cxn>
              <a:cxn ang="0">
                <a:pos x="connsiteX26746" y="connsiteY26746"/>
              </a:cxn>
              <a:cxn ang="0">
                <a:pos x="connsiteX26747" y="connsiteY26747"/>
              </a:cxn>
              <a:cxn ang="0">
                <a:pos x="connsiteX26748" y="connsiteY26748"/>
              </a:cxn>
              <a:cxn ang="0">
                <a:pos x="connsiteX26749" y="connsiteY26749"/>
              </a:cxn>
              <a:cxn ang="0">
                <a:pos x="connsiteX26750" y="connsiteY26750"/>
              </a:cxn>
              <a:cxn ang="0">
                <a:pos x="connsiteX26751" y="connsiteY26751"/>
              </a:cxn>
              <a:cxn ang="0">
                <a:pos x="connsiteX26752" y="connsiteY26752"/>
              </a:cxn>
              <a:cxn ang="0">
                <a:pos x="connsiteX26753" y="connsiteY26753"/>
              </a:cxn>
              <a:cxn ang="0">
                <a:pos x="connsiteX26754" y="connsiteY26754"/>
              </a:cxn>
              <a:cxn ang="0">
                <a:pos x="connsiteX26755" y="connsiteY26755"/>
              </a:cxn>
              <a:cxn ang="0">
                <a:pos x="connsiteX26756" y="connsiteY26756"/>
              </a:cxn>
              <a:cxn ang="0">
                <a:pos x="connsiteX26757" y="connsiteY26757"/>
              </a:cxn>
              <a:cxn ang="0">
                <a:pos x="connsiteX26758" y="connsiteY26758"/>
              </a:cxn>
              <a:cxn ang="0">
                <a:pos x="connsiteX26759" y="connsiteY26759"/>
              </a:cxn>
              <a:cxn ang="0">
                <a:pos x="connsiteX26760" y="connsiteY26760"/>
              </a:cxn>
              <a:cxn ang="0">
                <a:pos x="connsiteX26761" y="connsiteY26761"/>
              </a:cxn>
              <a:cxn ang="0">
                <a:pos x="connsiteX26762" y="connsiteY26762"/>
              </a:cxn>
              <a:cxn ang="0">
                <a:pos x="connsiteX26763" y="connsiteY26763"/>
              </a:cxn>
              <a:cxn ang="0">
                <a:pos x="connsiteX26764" y="connsiteY26764"/>
              </a:cxn>
              <a:cxn ang="0">
                <a:pos x="connsiteX26765" y="connsiteY26765"/>
              </a:cxn>
              <a:cxn ang="0">
                <a:pos x="connsiteX26766" y="connsiteY26766"/>
              </a:cxn>
              <a:cxn ang="0">
                <a:pos x="connsiteX26767" y="connsiteY26767"/>
              </a:cxn>
              <a:cxn ang="0">
                <a:pos x="connsiteX26768" y="connsiteY26768"/>
              </a:cxn>
              <a:cxn ang="0">
                <a:pos x="connsiteX26769" y="connsiteY26769"/>
              </a:cxn>
              <a:cxn ang="0">
                <a:pos x="connsiteX26770" y="connsiteY26770"/>
              </a:cxn>
              <a:cxn ang="0">
                <a:pos x="connsiteX26771" y="connsiteY26771"/>
              </a:cxn>
              <a:cxn ang="0">
                <a:pos x="connsiteX26772" y="connsiteY26772"/>
              </a:cxn>
              <a:cxn ang="0">
                <a:pos x="connsiteX26773" y="connsiteY26773"/>
              </a:cxn>
              <a:cxn ang="0">
                <a:pos x="connsiteX26774" y="connsiteY26774"/>
              </a:cxn>
              <a:cxn ang="0">
                <a:pos x="connsiteX26775" y="connsiteY26775"/>
              </a:cxn>
              <a:cxn ang="0">
                <a:pos x="connsiteX26776" y="connsiteY26776"/>
              </a:cxn>
              <a:cxn ang="0">
                <a:pos x="connsiteX26777" y="connsiteY26777"/>
              </a:cxn>
              <a:cxn ang="0">
                <a:pos x="connsiteX26778" y="connsiteY26778"/>
              </a:cxn>
              <a:cxn ang="0">
                <a:pos x="connsiteX26779" y="connsiteY26779"/>
              </a:cxn>
              <a:cxn ang="0">
                <a:pos x="connsiteX26780" y="connsiteY26780"/>
              </a:cxn>
              <a:cxn ang="0">
                <a:pos x="connsiteX26781" y="connsiteY26781"/>
              </a:cxn>
              <a:cxn ang="0">
                <a:pos x="connsiteX26782" y="connsiteY26782"/>
              </a:cxn>
              <a:cxn ang="0">
                <a:pos x="connsiteX26783" y="connsiteY26783"/>
              </a:cxn>
              <a:cxn ang="0">
                <a:pos x="connsiteX26784" y="connsiteY26784"/>
              </a:cxn>
              <a:cxn ang="0">
                <a:pos x="connsiteX26785" y="connsiteY26785"/>
              </a:cxn>
              <a:cxn ang="0">
                <a:pos x="connsiteX26786" y="connsiteY26786"/>
              </a:cxn>
              <a:cxn ang="0">
                <a:pos x="connsiteX26787" y="connsiteY26787"/>
              </a:cxn>
              <a:cxn ang="0">
                <a:pos x="connsiteX26788" y="connsiteY26788"/>
              </a:cxn>
              <a:cxn ang="0">
                <a:pos x="connsiteX26789" y="connsiteY26789"/>
              </a:cxn>
              <a:cxn ang="0">
                <a:pos x="connsiteX26790" y="connsiteY26790"/>
              </a:cxn>
              <a:cxn ang="0">
                <a:pos x="connsiteX26791" y="connsiteY26791"/>
              </a:cxn>
              <a:cxn ang="0">
                <a:pos x="connsiteX26792" y="connsiteY26792"/>
              </a:cxn>
              <a:cxn ang="0">
                <a:pos x="connsiteX26793" y="connsiteY26793"/>
              </a:cxn>
              <a:cxn ang="0">
                <a:pos x="connsiteX26794" y="connsiteY26794"/>
              </a:cxn>
              <a:cxn ang="0">
                <a:pos x="connsiteX26795" y="connsiteY26795"/>
              </a:cxn>
              <a:cxn ang="0">
                <a:pos x="connsiteX26796" y="connsiteY26796"/>
              </a:cxn>
              <a:cxn ang="0">
                <a:pos x="connsiteX26797" y="connsiteY26797"/>
              </a:cxn>
              <a:cxn ang="0">
                <a:pos x="connsiteX26798" y="connsiteY26798"/>
              </a:cxn>
              <a:cxn ang="0">
                <a:pos x="connsiteX26799" y="connsiteY26799"/>
              </a:cxn>
              <a:cxn ang="0">
                <a:pos x="connsiteX26800" y="connsiteY26800"/>
              </a:cxn>
              <a:cxn ang="0">
                <a:pos x="connsiteX26801" y="connsiteY26801"/>
              </a:cxn>
              <a:cxn ang="0">
                <a:pos x="connsiteX26802" y="connsiteY26802"/>
              </a:cxn>
              <a:cxn ang="0">
                <a:pos x="connsiteX26803" y="connsiteY26803"/>
              </a:cxn>
              <a:cxn ang="0">
                <a:pos x="connsiteX26804" y="connsiteY26804"/>
              </a:cxn>
              <a:cxn ang="0">
                <a:pos x="connsiteX26805" y="connsiteY26805"/>
              </a:cxn>
              <a:cxn ang="0">
                <a:pos x="connsiteX26806" y="connsiteY26806"/>
              </a:cxn>
              <a:cxn ang="0">
                <a:pos x="connsiteX26807" y="connsiteY26807"/>
              </a:cxn>
              <a:cxn ang="0">
                <a:pos x="connsiteX26808" y="connsiteY26808"/>
              </a:cxn>
              <a:cxn ang="0">
                <a:pos x="connsiteX26809" y="connsiteY26809"/>
              </a:cxn>
              <a:cxn ang="0">
                <a:pos x="connsiteX26810" y="connsiteY26810"/>
              </a:cxn>
              <a:cxn ang="0">
                <a:pos x="connsiteX26811" y="connsiteY26811"/>
              </a:cxn>
              <a:cxn ang="0">
                <a:pos x="connsiteX26812" y="connsiteY26812"/>
              </a:cxn>
              <a:cxn ang="0">
                <a:pos x="connsiteX26813" y="connsiteY26813"/>
              </a:cxn>
              <a:cxn ang="0">
                <a:pos x="connsiteX26814" y="connsiteY26814"/>
              </a:cxn>
              <a:cxn ang="0">
                <a:pos x="connsiteX26815" y="connsiteY26815"/>
              </a:cxn>
              <a:cxn ang="0">
                <a:pos x="connsiteX26816" y="connsiteY26816"/>
              </a:cxn>
              <a:cxn ang="0">
                <a:pos x="connsiteX26817" y="connsiteY26817"/>
              </a:cxn>
              <a:cxn ang="0">
                <a:pos x="connsiteX26818" y="connsiteY26818"/>
              </a:cxn>
              <a:cxn ang="0">
                <a:pos x="connsiteX26819" y="connsiteY26819"/>
              </a:cxn>
              <a:cxn ang="0">
                <a:pos x="connsiteX26820" y="connsiteY26820"/>
              </a:cxn>
              <a:cxn ang="0">
                <a:pos x="connsiteX26821" y="connsiteY26821"/>
              </a:cxn>
              <a:cxn ang="0">
                <a:pos x="connsiteX26822" y="connsiteY26822"/>
              </a:cxn>
              <a:cxn ang="0">
                <a:pos x="connsiteX26823" y="connsiteY26823"/>
              </a:cxn>
              <a:cxn ang="0">
                <a:pos x="connsiteX26824" y="connsiteY26824"/>
              </a:cxn>
              <a:cxn ang="0">
                <a:pos x="connsiteX26825" y="connsiteY26825"/>
              </a:cxn>
              <a:cxn ang="0">
                <a:pos x="connsiteX26826" y="connsiteY26826"/>
              </a:cxn>
              <a:cxn ang="0">
                <a:pos x="connsiteX26827" y="connsiteY26827"/>
              </a:cxn>
              <a:cxn ang="0">
                <a:pos x="connsiteX26828" y="connsiteY26828"/>
              </a:cxn>
              <a:cxn ang="0">
                <a:pos x="connsiteX26829" y="connsiteY26829"/>
              </a:cxn>
              <a:cxn ang="0">
                <a:pos x="connsiteX26830" y="connsiteY26830"/>
              </a:cxn>
              <a:cxn ang="0">
                <a:pos x="connsiteX26831" y="connsiteY26831"/>
              </a:cxn>
              <a:cxn ang="0">
                <a:pos x="connsiteX26832" y="connsiteY26832"/>
              </a:cxn>
              <a:cxn ang="0">
                <a:pos x="connsiteX26833" y="connsiteY26833"/>
              </a:cxn>
              <a:cxn ang="0">
                <a:pos x="connsiteX26834" y="connsiteY26834"/>
              </a:cxn>
              <a:cxn ang="0">
                <a:pos x="connsiteX26835" y="connsiteY26835"/>
              </a:cxn>
              <a:cxn ang="0">
                <a:pos x="connsiteX26836" y="connsiteY26836"/>
              </a:cxn>
              <a:cxn ang="0">
                <a:pos x="connsiteX26837" y="connsiteY26837"/>
              </a:cxn>
              <a:cxn ang="0">
                <a:pos x="connsiteX26838" y="connsiteY26838"/>
              </a:cxn>
              <a:cxn ang="0">
                <a:pos x="connsiteX26839" y="connsiteY26839"/>
              </a:cxn>
              <a:cxn ang="0">
                <a:pos x="connsiteX26840" y="connsiteY26840"/>
              </a:cxn>
              <a:cxn ang="0">
                <a:pos x="connsiteX26841" y="connsiteY26841"/>
              </a:cxn>
              <a:cxn ang="0">
                <a:pos x="connsiteX26842" y="connsiteY26842"/>
              </a:cxn>
              <a:cxn ang="0">
                <a:pos x="connsiteX26843" y="connsiteY26843"/>
              </a:cxn>
              <a:cxn ang="0">
                <a:pos x="connsiteX26844" y="connsiteY26844"/>
              </a:cxn>
              <a:cxn ang="0">
                <a:pos x="connsiteX26845" y="connsiteY26845"/>
              </a:cxn>
              <a:cxn ang="0">
                <a:pos x="connsiteX26846" y="connsiteY26846"/>
              </a:cxn>
              <a:cxn ang="0">
                <a:pos x="connsiteX26847" y="connsiteY26847"/>
              </a:cxn>
              <a:cxn ang="0">
                <a:pos x="connsiteX26848" y="connsiteY26848"/>
              </a:cxn>
              <a:cxn ang="0">
                <a:pos x="connsiteX26849" y="connsiteY26849"/>
              </a:cxn>
              <a:cxn ang="0">
                <a:pos x="connsiteX26850" y="connsiteY26850"/>
              </a:cxn>
              <a:cxn ang="0">
                <a:pos x="connsiteX26851" y="connsiteY26851"/>
              </a:cxn>
              <a:cxn ang="0">
                <a:pos x="connsiteX26852" y="connsiteY26852"/>
              </a:cxn>
              <a:cxn ang="0">
                <a:pos x="connsiteX26853" y="connsiteY26853"/>
              </a:cxn>
              <a:cxn ang="0">
                <a:pos x="connsiteX26854" y="connsiteY26854"/>
              </a:cxn>
              <a:cxn ang="0">
                <a:pos x="connsiteX26855" y="connsiteY26855"/>
              </a:cxn>
              <a:cxn ang="0">
                <a:pos x="connsiteX26856" y="connsiteY26856"/>
              </a:cxn>
              <a:cxn ang="0">
                <a:pos x="connsiteX26857" y="connsiteY26857"/>
              </a:cxn>
              <a:cxn ang="0">
                <a:pos x="connsiteX26858" y="connsiteY26858"/>
              </a:cxn>
              <a:cxn ang="0">
                <a:pos x="connsiteX26859" y="connsiteY26859"/>
              </a:cxn>
              <a:cxn ang="0">
                <a:pos x="connsiteX26860" y="connsiteY26860"/>
              </a:cxn>
              <a:cxn ang="0">
                <a:pos x="connsiteX26861" y="connsiteY26861"/>
              </a:cxn>
              <a:cxn ang="0">
                <a:pos x="connsiteX26862" y="connsiteY26862"/>
              </a:cxn>
              <a:cxn ang="0">
                <a:pos x="connsiteX26863" y="connsiteY26863"/>
              </a:cxn>
              <a:cxn ang="0">
                <a:pos x="connsiteX26864" y="connsiteY26864"/>
              </a:cxn>
              <a:cxn ang="0">
                <a:pos x="connsiteX26865" y="connsiteY26865"/>
              </a:cxn>
              <a:cxn ang="0">
                <a:pos x="connsiteX26866" y="connsiteY26866"/>
              </a:cxn>
              <a:cxn ang="0">
                <a:pos x="connsiteX26867" y="connsiteY26867"/>
              </a:cxn>
              <a:cxn ang="0">
                <a:pos x="connsiteX26868" y="connsiteY26868"/>
              </a:cxn>
              <a:cxn ang="0">
                <a:pos x="connsiteX26869" y="connsiteY26869"/>
              </a:cxn>
              <a:cxn ang="0">
                <a:pos x="connsiteX26870" y="connsiteY26870"/>
              </a:cxn>
              <a:cxn ang="0">
                <a:pos x="connsiteX26871" y="connsiteY26871"/>
              </a:cxn>
              <a:cxn ang="0">
                <a:pos x="connsiteX26872" y="connsiteY26872"/>
              </a:cxn>
              <a:cxn ang="0">
                <a:pos x="connsiteX26873" y="connsiteY26873"/>
              </a:cxn>
              <a:cxn ang="0">
                <a:pos x="connsiteX26874" y="connsiteY26874"/>
              </a:cxn>
              <a:cxn ang="0">
                <a:pos x="connsiteX26875" y="connsiteY26875"/>
              </a:cxn>
              <a:cxn ang="0">
                <a:pos x="connsiteX26876" y="connsiteY26876"/>
              </a:cxn>
              <a:cxn ang="0">
                <a:pos x="connsiteX26877" y="connsiteY26877"/>
              </a:cxn>
              <a:cxn ang="0">
                <a:pos x="connsiteX26878" y="connsiteY26878"/>
              </a:cxn>
              <a:cxn ang="0">
                <a:pos x="connsiteX26879" y="connsiteY26879"/>
              </a:cxn>
              <a:cxn ang="0">
                <a:pos x="connsiteX26880" y="connsiteY26880"/>
              </a:cxn>
              <a:cxn ang="0">
                <a:pos x="connsiteX26881" y="connsiteY26881"/>
              </a:cxn>
              <a:cxn ang="0">
                <a:pos x="connsiteX26882" y="connsiteY26882"/>
              </a:cxn>
              <a:cxn ang="0">
                <a:pos x="connsiteX26883" y="connsiteY26883"/>
              </a:cxn>
              <a:cxn ang="0">
                <a:pos x="connsiteX26884" y="connsiteY26884"/>
              </a:cxn>
              <a:cxn ang="0">
                <a:pos x="connsiteX26885" y="connsiteY26885"/>
              </a:cxn>
              <a:cxn ang="0">
                <a:pos x="connsiteX26886" y="connsiteY26886"/>
              </a:cxn>
              <a:cxn ang="0">
                <a:pos x="connsiteX26887" y="connsiteY26887"/>
              </a:cxn>
              <a:cxn ang="0">
                <a:pos x="connsiteX26888" y="connsiteY26888"/>
              </a:cxn>
              <a:cxn ang="0">
                <a:pos x="connsiteX26889" y="connsiteY26889"/>
              </a:cxn>
              <a:cxn ang="0">
                <a:pos x="connsiteX26890" y="connsiteY26890"/>
              </a:cxn>
              <a:cxn ang="0">
                <a:pos x="connsiteX26891" y="connsiteY26891"/>
              </a:cxn>
              <a:cxn ang="0">
                <a:pos x="connsiteX26892" y="connsiteY26892"/>
              </a:cxn>
              <a:cxn ang="0">
                <a:pos x="connsiteX26893" y="connsiteY26893"/>
              </a:cxn>
              <a:cxn ang="0">
                <a:pos x="connsiteX26894" y="connsiteY26894"/>
              </a:cxn>
              <a:cxn ang="0">
                <a:pos x="connsiteX26895" y="connsiteY26895"/>
              </a:cxn>
              <a:cxn ang="0">
                <a:pos x="connsiteX26896" y="connsiteY26896"/>
              </a:cxn>
              <a:cxn ang="0">
                <a:pos x="connsiteX26897" y="connsiteY26897"/>
              </a:cxn>
              <a:cxn ang="0">
                <a:pos x="connsiteX26898" y="connsiteY26898"/>
              </a:cxn>
              <a:cxn ang="0">
                <a:pos x="connsiteX26899" y="connsiteY26899"/>
              </a:cxn>
              <a:cxn ang="0">
                <a:pos x="connsiteX26900" y="connsiteY26900"/>
              </a:cxn>
              <a:cxn ang="0">
                <a:pos x="connsiteX26901" y="connsiteY26901"/>
              </a:cxn>
              <a:cxn ang="0">
                <a:pos x="connsiteX26902" y="connsiteY26902"/>
              </a:cxn>
              <a:cxn ang="0">
                <a:pos x="connsiteX26903" y="connsiteY26903"/>
              </a:cxn>
              <a:cxn ang="0">
                <a:pos x="connsiteX26904" y="connsiteY26904"/>
              </a:cxn>
              <a:cxn ang="0">
                <a:pos x="connsiteX26905" y="connsiteY26905"/>
              </a:cxn>
              <a:cxn ang="0">
                <a:pos x="connsiteX26906" y="connsiteY26906"/>
              </a:cxn>
              <a:cxn ang="0">
                <a:pos x="connsiteX26907" y="connsiteY26907"/>
              </a:cxn>
              <a:cxn ang="0">
                <a:pos x="connsiteX26908" y="connsiteY26908"/>
              </a:cxn>
              <a:cxn ang="0">
                <a:pos x="connsiteX26909" y="connsiteY26909"/>
              </a:cxn>
              <a:cxn ang="0">
                <a:pos x="connsiteX26910" y="connsiteY26910"/>
              </a:cxn>
              <a:cxn ang="0">
                <a:pos x="connsiteX26911" y="connsiteY26911"/>
              </a:cxn>
              <a:cxn ang="0">
                <a:pos x="connsiteX26912" y="connsiteY26912"/>
              </a:cxn>
              <a:cxn ang="0">
                <a:pos x="connsiteX26913" y="connsiteY26913"/>
              </a:cxn>
              <a:cxn ang="0">
                <a:pos x="connsiteX26914" y="connsiteY26914"/>
              </a:cxn>
              <a:cxn ang="0">
                <a:pos x="connsiteX26915" y="connsiteY26915"/>
              </a:cxn>
              <a:cxn ang="0">
                <a:pos x="connsiteX26916" y="connsiteY26916"/>
              </a:cxn>
              <a:cxn ang="0">
                <a:pos x="connsiteX26917" y="connsiteY26917"/>
              </a:cxn>
              <a:cxn ang="0">
                <a:pos x="connsiteX26918" y="connsiteY26918"/>
              </a:cxn>
              <a:cxn ang="0">
                <a:pos x="connsiteX26919" y="connsiteY26919"/>
              </a:cxn>
              <a:cxn ang="0">
                <a:pos x="connsiteX26920" y="connsiteY26920"/>
              </a:cxn>
              <a:cxn ang="0">
                <a:pos x="connsiteX26921" y="connsiteY26921"/>
              </a:cxn>
              <a:cxn ang="0">
                <a:pos x="connsiteX26922" y="connsiteY26922"/>
              </a:cxn>
              <a:cxn ang="0">
                <a:pos x="connsiteX26923" y="connsiteY26923"/>
              </a:cxn>
              <a:cxn ang="0">
                <a:pos x="connsiteX26924" y="connsiteY26924"/>
              </a:cxn>
              <a:cxn ang="0">
                <a:pos x="connsiteX26925" y="connsiteY26925"/>
              </a:cxn>
              <a:cxn ang="0">
                <a:pos x="connsiteX26926" y="connsiteY26926"/>
              </a:cxn>
              <a:cxn ang="0">
                <a:pos x="connsiteX26927" y="connsiteY26927"/>
              </a:cxn>
              <a:cxn ang="0">
                <a:pos x="connsiteX26928" y="connsiteY26928"/>
              </a:cxn>
              <a:cxn ang="0">
                <a:pos x="connsiteX26929" y="connsiteY26929"/>
              </a:cxn>
              <a:cxn ang="0">
                <a:pos x="connsiteX26930" y="connsiteY26930"/>
              </a:cxn>
              <a:cxn ang="0">
                <a:pos x="connsiteX26931" y="connsiteY26931"/>
              </a:cxn>
              <a:cxn ang="0">
                <a:pos x="connsiteX26932" y="connsiteY26932"/>
              </a:cxn>
              <a:cxn ang="0">
                <a:pos x="connsiteX26933" y="connsiteY26933"/>
              </a:cxn>
              <a:cxn ang="0">
                <a:pos x="connsiteX26934" y="connsiteY26934"/>
              </a:cxn>
              <a:cxn ang="0">
                <a:pos x="connsiteX26935" y="connsiteY26935"/>
              </a:cxn>
              <a:cxn ang="0">
                <a:pos x="connsiteX26936" y="connsiteY26936"/>
              </a:cxn>
              <a:cxn ang="0">
                <a:pos x="connsiteX26937" y="connsiteY26937"/>
              </a:cxn>
              <a:cxn ang="0">
                <a:pos x="connsiteX26938" y="connsiteY26938"/>
              </a:cxn>
              <a:cxn ang="0">
                <a:pos x="connsiteX26939" y="connsiteY26939"/>
              </a:cxn>
              <a:cxn ang="0">
                <a:pos x="connsiteX26940" y="connsiteY26940"/>
              </a:cxn>
              <a:cxn ang="0">
                <a:pos x="connsiteX26941" y="connsiteY26941"/>
              </a:cxn>
              <a:cxn ang="0">
                <a:pos x="connsiteX26942" y="connsiteY26942"/>
              </a:cxn>
              <a:cxn ang="0">
                <a:pos x="connsiteX26943" y="connsiteY26943"/>
              </a:cxn>
              <a:cxn ang="0">
                <a:pos x="connsiteX26944" y="connsiteY26944"/>
              </a:cxn>
              <a:cxn ang="0">
                <a:pos x="connsiteX26945" y="connsiteY26945"/>
              </a:cxn>
              <a:cxn ang="0">
                <a:pos x="connsiteX26946" y="connsiteY26946"/>
              </a:cxn>
              <a:cxn ang="0">
                <a:pos x="connsiteX26947" y="connsiteY26947"/>
              </a:cxn>
              <a:cxn ang="0">
                <a:pos x="connsiteX26948" y="connsiteY26948"/>
              </a:cxn>
              <a:cxn ang="0">
                <a:pos x="connsiteX26949" y="connsiteY26949"/>
              </a:cxn>
              <a:cxn ang="0">
                <a:pos x="connsiteX26950" y="connsiteY26950"/>
              </a:cxn>
              <a:cxn ang="0">
                <a:pos x="connsiteX26951" y="connsiteY26951"/>
              </a:cxn>
              <a:cxn ang="0">
                <a:pos x="connsiteX26952" y="connsiteY26952"/>
              </a:cxn>
              <a:cxn ang="0">
                <a:pos x="connsiteX26953" y="connsiteY26953"/>
              </a:cxn>
              <a:cxn ang="0">
                <a:pos x="connsiteX26954" y="connsiteY26954"/>
              </a:cxn>
              <a:cxn ang="0">
                <a:pos x="connsiteX26955" y="connsiteY26955"/>
              </a:cxn>
              <a:cxn ang="0">
                <a:pos x="connsiteX26956" y="connsiteY26956"/>
              </a:cxn>
              <a:cxn ang="0">
                <a:pos x="connsiteX26957" y="connsiteY26957"/>
              </a:cxn>
              <a:cxn ang="0">
                <a:pos x="connsiteX26958" y="connsiteY26958"/>
              </a:cxn>
              <a:cxn ang="0">
                <a:pos x="connsiteX26959" y="connsiteY26959"/>
              </a:cxn>
              <a:cxn ang="0">
                <a:pos x="connsiteX26960" y="connsiteY26960"/>
              </a:cxn>
              <a:cxn ang="0">
                <a:pos x="connsiteX26961" y="connsiteY26961"/>
              </a:cxn>
              <a:cxn ang="0">
                <a:pos x="connsiteX26962" y="connsiteY26962"/>
              </a:cxn>
              <a:cxn ang="0">
                <a:pos x="connsiteX26963" y="connsiteY26963"/>
              </a:cxn>
              <a:cxn ang="0">
                <a:pos x="connsiteX26964" y="connsiteY26964"/>
              </a:cxn>
              <a:cxn ang="0">
                <a:pos x="connsiteX26965" y="connsiteY26965"/>
              </a:cxn>
              <a:cxn ang="0">
                <a:pos x="connsiteX26966" y="connsiteY26966"/>
              </a:cxn>
              <a:cxn ang="0">
                <a:pos x="connsiteX26967" y="connsiteY26967"/>
              </a:cxn>
              <a:cxn ang="0">
                <a:pos x="connsiteX26968" y="connsiteY26968"/>
              </a:cxn>
              <a:cxn ang="0">
                <a:pos x="connsiteX26969" y="connsiteY26969"/>
              </a:cxn>
              <a:cxn ang="0">
                <a:pos x="connsiteX26970" y="connsiteY26970"/>
              </a:cxn>
              <a:cxn ang="0">
                <a:pos x="connsiteX26971" y="connsiteY26971"/>
              </a:cxn>
              <a:cxn ang="0">
                <a:pos x="connsiteX26972" y="connsiteY26972"/>
              </a:cxn>
              <a:cxn ang="0">
                <a:pos x="connsiteX26973" y="connsiteY26973"/>
              </a:cxn>
              <a:cxn ang="0">
                <a:pos x="connsiteX26974" y="connsiteY26974"/>
              </a:cxn>
              <a:cxn ang="0">
                <a:pos x="connsiteX26975" y="connsiteY26975"/>
              </a:cxn>
              <a:cxn ang="0">
                <a:pos x="connsiteX26976" y="connsiteY26976"/>
              </a:cxn>
              <a:cxn ang="0">
                <a:pos x="connsiteX26977" y="connsiteY26977"/>
              </a:cxn>
              <a:cxn ang="0">
                <a:pos x="connsiteX26978" y="connsiteY26978"/>
              </a:cxn>
              <a:cxn ang="0">
                <a:pos x="connsiteX26979" y="connsiteY26979"/>
              </a:cxn>
              <a:cxn ang="0">
                <a:pos x="connsiteX26980" y="connsiteY26980"/>
              </a:cxn>
              <a:cxn ang="0">
                <a:pos x="connsiteX26981" y="connsiteY26981"/>
              </a:cxn>
              <a:cxn ang="0">
                <a:pos x="connsiteX26982" y="connsiteY26982"/>
              </a:cxn>
              <a:cxn ang="0">
                <a:pos x="connsiteX26983" y="connsiteY26983"/>
              </a:cxn>
              <a:cxn ang="0">
                <a:pos x="connsiteX26984" y="connsiteY26984"/>
              </a:cxn>
              <a:cxn ang="0">
                <a:pos x="connsiteX26985" y="connsiteY26985"/>
              </a:cxn>
              <a:cxn ang="0">
                <a:pos x="connsiteX26986" y="connsiteY26986"/>
              </a:cxn>
              <a:cxn ang="0">
                <a:pos x="connsiteX26987" y="connsiteY26987"/>
              </a:cxn>
              <a:cxn ang="0">
                <a:pos x="connsiteX26988" y="connsiteY26988"/>
              </a:cxn>
              <a:cxn ang="0">
                <a:pos x="connsiteX26989" y="connsiteY26989"/>
              </a:cxn>
              <a:cxn ang="0">
                <a:pos x="connsiteX26990" y="connsiteY26990"/>
              </a:cxn>
              <a:cxn ang="0">
                <a:pos x="connsiteX26991" y="connsiteY26991"/>
              </a:cxn>
              <a:cxn ang="0">
                <a:pos x="connsiteX26992" y="connsiteY26992"/>
              </a:cxn>
              <a:cxn ang="0">
                <a:pos x="connsiteX26993" y="connsiteY26993"/>
              </a:cxn>
              <a:cxn ang="0">
                <a:pos x="connsiteX26994" y="connsiteY26994"/>
              </a:cxn>
              <a:cxn ang="0">
                <a:pos x="connsiteX26995" y="connsiteY26995"/>
              </a:cxn>
              <a:cxn ang="0">
                <a:pos x="connsiteX26996" y="connsiteY26996"/>
              </a:cxn>
              <a:cxn ang="0">
                <a:pos x="connsiteX26997" y="connsiteY26997"/>
              </a:cxn>
              <a:cxn ang="0">
                <a:pos x="connsiteX26998" y="connsiteY26998"/>
              </a:cxn>
              <a:cxn ang="0">
                <a:pos x="connsiteX26999" y="connsiteY26999"/>
              </a:cxn>
              <a:cxn ang="0">
                <a:pos x="connsiteX27000" y="connsiteY27000"/>
              </a:cxn>
              <a:cxn ang="0">
                <a:pos x="connsiteX27001" y="connsiteY27001"/>
              </a:cxn>
              <a:cxn ang="0">
                <a:pos x="connsiteX27002" y="connsiteY27002"/>
              </a:cxn>
              <a:cxn ang="0">
                <a:pos x="connsiteX27003" y="connsiteY27003"/>
              </a:cxn>
              <a:cxn ang="0">
                <a:pos x="connsiteX27004" y="connsiteY27004"/>
              </a:cxn>
              <a:cxn ang="0">
                <a:pos x="connsiteX27005" y="connsiteY27005"/>
              </a:cxn>
              <a:cxn ang="0">
                <a:pos x="connsiteX27006" y="connsiteY27006"/>
              </a:cxn>
              <a:cxn ang="0">
                <a:pos x="connsiteX27007" y="connsiteY27007"/>
              </a:cxn>
              <a:cxn ang="0">
                <a:pos x="connsiteX27008" y="connsiteY27008"/>
              </a:cxn>
              <a:cxn ang="0">
                <a:pos x="connsiteX27009" y="connsiteY27009"/>
              </a:cxn>
              <a:cxn ang="0">
                <a:pos x="connsiteX27010" y="connsiteY27010"/>
              </a:cxn>
              <a:cxn ang="0">
                <a:pos x="connsiteX27011" y="connsiteY27011"/>
              </a:cxn>
              <a:cxn ang="0">
                <a:pos x="connsiteX27012" y="connsiteY27012"/>
              </a:cxn>
              <a:cxn ang="0">
                <a:pos x="connsiteX27013" y="connsiteY27013"/>
              </a:cxn>
              <a:cxn ang="0">
                <a:pos x="connsiteX27014" y="connsiteY27014"/>
              </a:cxn>
              <a:cxn ang="0">
                <a:pos x="connsiteX27015" y="connsiteY27015"/>
              </a:cxn>
              <a:cxn ang="0">
                <a:pos x="connsiteX27016" y="connsiteY27016"/>
              </a:cxn>
              <a:cxn ang="0">
                <a:pos x="connsiteX27017" y="connsiteY27017"/>
              </a:cxn>
              <a:cxn ang="0">
                <a:pos x="connsiteX27018" y="connsiteY27018"/>
              </a:cxn>
              <a:cxn ang="0">
                <a:pos x="connsiteX27019" y="connsiteY27019"/>
              </a:cxn>
              <a:cxn ang="0">
                <a:pos x="connsiteX27020" y="connsiteY27020"/>
              </a:cxn>
              <a:cxn ang="0">
                <a:pos x="connsiteX27021" y="connsiteY27021"/>
              </a:cxn>
              <a:cxn ang="0">
                <a:pos x="connsiteX27022" y="connsiteY27022"/>
              </a:cxn>
              <a:cxn ang="0">
                <a:pos x="connsiteX27023" y="connsiteY27023"/>
              </a:cxn>
              <a:cxn ang="0">
                <a:pos x="connsiteX27024" y="connsiteY27024"/>
              </a:cxn>
              <a:cxn ang="0">
                <a:pos x="connsiteX27025" y="connsiteY27025"/>
              </a:cxn>
              <a:cxn ang="0">
                <a:pos x="connsiteX27026" y="connsiteY27026"/>
              </a:cxn>
              <a:cxn ang="0">
                <a:pos x="connsiteX27027" y="connsiteY27027"/>
              </a:cxn>
              <a:cxn ang="0">
                <a:pos x="connsiteX27028" y="connsiteY27028"/>
              </a:cxn>
              <a:cxn ang="0">
                <a:pos x="connsiteX27029" y="connsiteY27029"/>
              </a:cxn>
              <a:cxn ang="0">
                <a:pos x="connsiteX27030" y="connsiteY27030"/>
              </a:cxn>
              <a:cxn ang="0">
                <a:pos x="connsiteX27031" y="connsiteY27031"/>
              </a:cxn>
              <a:cxn ang="0">
                <a:pos x="connsiteX27032" y="connsiteY27032"/>
              </a:cxn>
              <a:cxn ang="0">
                <a:pos x="connsiteX27033" y="connsiteY27033"/>
              </a:cxn>
              <a:cxn ang="0">
                <a:pos x="connsiteX27034" y="connsiteY27034"/>
              </a:cxn>
              <a:cxn ang="0">
                <a:pos x="connsiteX27035" y="connsiteY27035"/>
              </a:cxn>
              <a:cxn ang="0">
                <a:pos x="connsiteX27036" y="connsiteY27036"/>
              </a:cxn>
              <a:cxn ang="0">
                <a:pos x="connsiteX27037" y="connsiteY27037"/>
              </a:cxn>
              <a:cxn ang="0">
                <a:pos x="connsiteX27038" y="connsiteY27038"/>
              </a:cxn>
              <a:cxn ang="0">
                <a:pos x="connsiteX27039" y="connsiteY27039"/>
              </a:cxn>
              <a:cxn ang="0">
                <a:pos x="connsiteX27040" y="connsiteY27040"/>
              </a:cxn>
              <a:cxn ang="0">
                <a:pos x="connsiteX27041" y="connsiteY27041"/>
              </a:cxn>
              <a:cxn ang="0">
                <a:pos x="connsiteX27042" y="connsiteY27042"/>
              </a:cxn>
              <a:cxn ang="0">
                <a:pos x="connsiteX27043" y="connsiteY27043"/>
              </a:cxn>
              <a:cxn ang="0">
                <a:pos x="connsiteX27044" y="connsiteY27044"/>
              </a:cxn>
              <a:cxn ang="0">
                <a:pos x="connsiteX27045" y="connsiteY27045"/>
              </a:cxn>
              <a:cxn ang="0">
                <a:pos x="connsiteX27046" y="connsiteY27046"/>
              </a:cxn>
              <a:cxn ang="0">
                <a:pos x="connsiteX27047" y="connsiteY27047"/>
              </a:cxn>
              <a:cxn ang="0">
                <a:pos x="connsiteX27048" y="connsiteY27048"/>
              </a:cxn>
              <a:cxn ang="0">
                <a:pos x="connsiteX27049" y="connsiteY27049"/>
              </a:cxn>
              <a:cxn ang="0">
                <a:pos x="connsiteX27050" y="connsiteY27050"/>
              </a:cxn>
              <a:cxn ang="0">
                <a:pos x="connsiteX27051" y="connsiteY27051"/>
              </a:cxn>
              <a:cxn ang="0">
                <a:pos x="connsiteX27052" y="connsiteY27052"/>
              </a:cxn>
              <a:cxn ang="0">
                <a:pos x="connsiteX27053" y="connsiteY27053"/>
              </a:cxn>
              <a:cxn ang="0">
                <a:pos x="connsiteX27054" y="connsiteY27054"/>
              </a:cxn>
              <a:cxn ang="0">
                <a:pos x="connsiteX27055" y="connsiteY27055"/>
              </a:cxn>
              <a:cxn ang="0">
                <a:pos x="connsiteX27056" y="connsiteY27056"/>
              </a:cxn>
              <a:cxn ang="0">
                <a:pos x="connsiteX27057" y="connsiteY27057"/>
              </a:cxn>
              <a:cxn ang="0">
                <a:pos x="connsiteX27058" y="connsiteY27058"/>
              </a:cxn>
              <a:cxn ang="0">
                <a:pos x="connsiteX27059" y="connsiteY27059"/>
              </a:cxn>
              <a:cxn ang="0">
                <a:pos x="connsiteX27060" y="connsiteY27060"/>
              </a:cxn>
              <a:cxn ang="0">
                <a:pos x="connsiteX27061" y="connsiteY27061"/>
              </a:cxn>
              <a:cxn ang="0">
                <a:pos x="connsiteX27062" y="connsiteY27062"/>
              </a:cxn>
              <a:cxn ang="0">
                <a:pos x="connsiteX27063" y="connsiteY27063"/>
              </a:cxn>
              <a:cxn ang="0">
                <a:pos x="connsiteX27064" y="connsiteY27064"/>
              </a:cxn>
              <a:cxn ang="0">
                <a:pos x="connsiteX27065" y="connsiteY27065"/>
              </a:cxn>
              <a:cxn ang="0">
                <a:pos x="connsiteX27066" y="connsiteY27066"/>
              </a:cxn>
              <a:cxn ang="0">
                <a:pos x="connsiteX27067" y="connsiteY27067"/>
              </a:cxn>
              <a:cxn ang="0">
                <a:pos x="connsiteX27068" y="connsiteY27068"/>
              </a:cxn>
              <a:cxn ang="0">
                <a:pos x="connsiteX27069" y="connsiteY27069"/>
              </a:cxn>
              <a:cxn ang="0">
                <a:pos x="connsiteX27070" y="connsiteY27070"/>
              </a:cxn>
              <a:cxn ang="0">
                <a:pos x="connsiteX27071" y="connsiteY27071"/>
              </a:cxn>
              <a:cxn ang="0">
                <a:pos x="connsiteX27072" y="connsiteY27072"/>
              </a:cxn>
              <a:cxn ang="0">
                <a:pos x="connsiteX27073" y="connsiteY27073"/>
              </a:cxn>
              <a:cxn ang="0">
                <a:pos x="connsiteX27074" y="connsiteY27074"/>
              </a:cxn>
              <a:cxn ang="0">
                <a:pos x="connsiteX27075" y="connsiteY27075"/>
              </a:cxn>
              <a:cxn ang="0">
                <a:pos x="connsiteX27076" y="connsiteY27076"/>
              </a:cxn>
              <a:cxn ang="0">
                <a:pos x="connsiteX27077" y="connsiteY27077"/>
              </a:cxn>
              <a:cxn ang="0">
                <a:pos x="connsiteX27078" y="connsiteY27078"/>
              </a:cxn>
              <a:cxn ang="0">
                <a:pos x="connsiteX27079" y="connsiteY27079"/>
              </a:cxn>
              <a:cxn ang="0">
                <a:pos x="connsiteX27080" y="connsiteY27080"/>
              </a:cxn>
              <a:cxn ang="0">
                <a:pos x="connsiteX27081" y="connsiteY27081"/>
              </a:cxn>
              <a:cxn ang="0">
                <a:pos x="connsiteX27082" y="connsiteY27082"/>
              </a:cxn>
              <a:cxn ang="0">
                <a:pos x="connsiteX27083" y="connsiteY27083"/>
              </a:cxn>
              <a:cxn ang="0">
                <a:pos x="connsiteX27084" y="connsiteY27084"/>
              </a:cxn>
              <a:cxn ang="0">
                <a:pos x="connsiteX27085" y="connsiteY27085"/>
              </a:cxn>
              <a:cxn ang="0">
                <a:pos x="connsiteX27086" y="connsiteY27086"/>
              </a:cxn>
              <a:cxn ang="0">
                <a:pos x="connsiteX27087" y="connsiteY27087"/>
              </a:cxn>
              <a:cxn ang="0">
                <a:pos x="connsiteX27088" y="connsiteY27088"/>
              </a:cxn>
              <a:cxn ang="0">
                <a:pos x="connsiteX27089" y="connsiteY27089"/>
              </a:cxn>
              <a:cxn ang="0">
                <a:pos x="connsiteX27090" y="connsiteY27090"/>
              </a:cxn>
              <a:cxn ang="0">
                <a:pos x="connsiteX27091" y="connsiteY27091"/>
              </a:cxn>
              <a:cxn ang="0">
                <a:pos x="connsiteX27092" y="connsiteY27092"/>
              </a:cxn>
              <a:cxn ang="0">
                <a:pos x="connsiteX27093" y="connsiteY27093"/>
              </a:cxn>
              <a:cxn ang="0">
                <a:pos x="connsiteX27094" y="connsiteY27094"/>
              </a:cxn>
              <a:cxn ang="0">
                <a:pos x="connsiteX27095" y="connsiteY27095"/>
              </a:cxn>
              <a:cxn ang="0">
                <a:pos x="connsiteX27096" y="connsiteY27096"/>
              </a:cxn>
              <a:cxn ang="0">
                <a:pos x="connsiteX27097" y="connsiteY27097"/>
              </a:cxn>
              <a:cxn ang="0">
                <a:pos x="connsiteX27098" y="connsiteY27098"/>
              </a:cxn>
              <a:cxn ang="0">
                <a:pos x="connsiteX27099" y="connsiteY27099"/>
              </a:cxn>
              <a:cxn ang="0">
                <a:pos x="connsiteX27100" y="connsiteY27100"/>
              </a:cxn>
              <a:cxn ang="0">
                <a:pos x="connsiteX27101" y="connsiteY27101"/>
              </a:cxn>
              <a:cxn ang="0">
                <a:pos x="connsiteX27102" y="connsiteY27102"/>
              </a:cxn>
              <a:cxn ang="0">
                <a:pos x="connsiteX27103" y="connsiteY27103"/>
              </a:cxn>
              <a:cxn ang="0">
                <a:pos x="connsiteX27104" y="connsiteY27104"/>
              </a:cxn>
              <a:cxn ang="0">
                <a:pos x="connsiteX27105" y="connsiteY27105"/>
              </a:cxn>
              <a:cxn ang="0">
                <a:pos x="connsiteX27106" y="connsiteY27106"/>
              </a:cxn>
              <a:cxn ang="0">
                <a:pos x="connsiteX27107" y="connsiteY27107"/>
              </a:cxn>
              <a:cxn ang="0">
                <a:pos x="connsiteX27108" y="connsiteY27108"/>
              </a:cxn>
              <a:cxn ang="0">
                <a:pos x="connsiteX27109" y="connsiteY27109"/>
              </a:cxn>
              <a:cxn ang="0">
                <a:pos x="connsiteX27110" y="connsiteY27110"/>
              </a:cxn>
              <a:cxn ang="0">
                <a:pos x="connsiteX27111" y="connsiteY27111"/>
              </a:cxn>
              <a:cxn ang="0">
                <a:pos x="connsiteX27112" y="connsiteY27112"/>
              </a:cxn>
              <a:cxn ang="0">
                <a:pos x="connsiteX27113" y="connsiteY27113"/>
              </a:cxn>
              <a:cxn ang="0">
                <a:pos x="connsiteX27114" y="connsiteY27114"/>
              </a:cxn>
              <a:cxn ang="0">
                <a:pos x="connsiteX27115" y="connsiteY27115"/>
              </a:cxn>
              <a:cxn ang="0">
                <a:pos x="connsiteX27116" y="connsiteY27116"/>
              </a:cxn>
              <a:cxn ang="0">
                <a:pos x="connsiteX27117" y="connsiteY27117"/>
              </a:cxn>
              <a:cxn ang="0">
                <a:pos x="connsiteX27118" y="connsiteY27118"/>
              </a:cxn>
              <a:cxn ang="0">
                <a:pos x="connsiteX27119" y="connsiteY27119"/>
              </a:cxn>
              <a:cxn ang="0">
                <a:pos x="connsiteX27120" y="connsiteY27120"/>
              </a:cxn>
              <a:cxn ang="0">
                <a:pos x="connsiteX27121" y="connsiteY27121"/>
              </a:cxn>
              <a:cxn ang="0">
                <a:pos x="connsiteX27122" y="connsiteY27122"/>
              </a:cxn>
              <a:cxn ang="0">
                <a:pos x="connsiteX27123" y="connsiteY27123"/>
              </a:cxn>
              <a:cxn ang="0">
                <a:pos x="connsiteX27124" y="connsiteY27124"/>
              </a:cxn>
              <a:cxn ang="0">
                <a:pos x="connsiteX27125" y="connsiteY27125"/>
              </a:cxn>
              <a:cxn ang="0">
                <a:pos x="connsiteX27126" y="connsiteY27126"/>
              </a:cxn>
              <a:cxn ang="0">
                <a:pos x="connsiteX27127" y="connsiteY27127"/>
              </a:cxn>
              <a:cxn ang="0">
                <a:pos x="connsiteX27128" y="connsiteY27128"/>
              </a:cxn>
              <a:cxn ang="0">
                <a:pos x="connsiteX27129" y="connsiteY27129"/>
              </a:cxn>
              <a:cxn ang="0">
                <a:pos x="connsiteX27130" y="connsiteY27130"/>
              </a:cxn>
              <a:cxn ang="0">
                <a:pos x="connsiteX27131" y="connsiteY27131"/>
              </a:cxn>
              <a:cxn ang="0">
                <a:pos x="connsiteX27132" y="connsiteY27132"/>
              </a:cxn>
              <a:cxn ang="0">
                <a:pos x="connsiteX27133" y="connsiteY27133"/>
              </a:cxn>
              <a:cxn ang="0">
                <a:pos x="connsiteX27134" y="connsiteY27134"/>
              </a:cxn>
              <a:cxn ang="0">
                <a:pos x="connsiteX27135" y="connsiteY27135"/>
              </a:cxn>
              <a:cxn ang="0">
                <a:pos x="connsiteX27136" y="connsiteY27136"/>
              </a:cxn>
              <a:cxn ang="0">
                <a:pos x="connsiteX27137" y="connsiteY27137"/>
              </a:cxn>
              <a:cxn ang="0">
                <a:pos x="connsiteX27138" y="connsiteY27138"/>
              </a:cxn>
              <a:cxn ang="0">
                <a:pos x="connsiteX27139" y="connsiteY27139"/>
              </a:cxn>
              <a:cxn ang="0">
                <a:pos x="connsiteX27140" y="connsiteY27140"/>
              </a:cxn>
              <a:cxn ang="0">
                <a:pos x="connsiteX27141" y="connsiteY27141"/>
              </a:cxn>
              <a:cxn ang="0">
                <a:pos x="connsiteX27142" y="connsiteY27142"/>
              </a:cxn>
              <a:cxn ang="0">
                <a:pos x="connsiteX27143" y="connsiteY27143"/>
              </a:cxn>
              <a:cxn ang="0">
                <a:pos x="connsiteX27144" y="connsiteY27144"/>
              </a:cxn>
              <a:cxn ang="0">
                <a:pos x="connsiteX27145" y="connsiteY27145"/>
              </a:cxn>
              <a:cxn ang="0">
                <a:pos x="connsiteX27146" y="connsiteY27146"/>
              </a:cxn>
              <a:cxn ang="0">
                <a:pos x="connsiteX27147" y="connsiteY27147"/>
              </a:cxn>
              <a:cxn ang="0">
                <a:pos x="connsiteX27148" y="connsiteY27148"/>
              </a:cxn>
              <a:cxn ang="0">
                <a:pos x="connsiteX27149" y="connsiteY27149"/>
              </a:cxn>
              <a:cxn ang="0">
                <a:pos x="connsiteX27150" y="connsiteY27150"/>
              </a:cxn>
              <a:cxn ang="0">
                <a:pos x="connsiteX27151" y="connsiteY27151"/>
              </a:cxn>
              <a:cxn ang="0">
                <a:pos x="connsiteX27152" y="connsiteY27152"/>
              </a:cxn>
              <a:cxn ang="0">
                <a:pos x="connsiteX27153" y="connsiteY27153"/>
              </a:cxn>
              <a:cxn ang="0">
                <a:pos x="connsiteX27154" y="connsiteY27154"/>
              </a:cxn>
              <a:cxn ang="0">
                <a:pos x="connsiteX27155" y="connsiteY27155"/>
              </a:cxn>
              <a:cxn ang="0">
                <a:pos x="connsiteX27156" y="connsiteY27156"/>
              </a:cxn>
              <a:cxn ang="0">
                <a:pos x="connsiteX27157" y="connsiteY27157"/>
              </a:cxn>
              <a:cxn ang="0">
                <a:pos x="connsiteX27158" y="connsiteY27158"/>
              </a:cxn>
              <a:cxn ang="0">
                <a:pos x="connsiteX27159" y="connsiteY27159"/>
              </a:cxn>
              <a:cxn ang="0">
                <a:pos x="connsiteX27160" y="connsiteY27160"/>
              </a:cxn>
              <a:cxn ang="0">
                <a:pos x="connsiteX27161" y="connsiteY27161"/>
              </a:cxn>
              <a:cxn ang="0">
                <a:pos x="connsiteX27162" y="connsiteY27162"/>
              </a:cxn>
              <a:cxn ang="0">
                <a:pos x="connsiteX27163" y="connsiteY27163"/>
              </a:cxn>
              <a:cxn ang="0">
                <a:pos x="connsiteX27164" y="connsiteY27164"/>
              </a:cxn>
              <a:cxn ang="0">
                <a:pos x="connsiteX27165" y="connsiteY27165"/>
              </a:cxn>
              <a:cxn ang="0">
                <a:pos x="connsiteX27166" y="connsiteY27166"/>
              </a:cxn>
              <a:cxn ang="0">
                <a:pos x="connsiteX27167" y="connsiteY27167"/>
              </a:cxn>
              <a:cxn ang="0">
                <a:pos x="connsiteX27168" y="connsiteY27168"/>
              </a:cxn>
              <a:cxn ang="0">
                <a:pos x="connsiteX27169" y="connsiteY27169"/>
              </a:cxn>
              <a:cxn ang="0">
                <a:pos x="connsiteX27170" y="connsiteY27170"/>
              </a:cxn>
              <a:cxn ang="0">
                <a:pos x="connsiteX27171" y="connsiteY27171"/>
              </a:cxn>
              <a:cxn ang="0">
                <a:pos x="connsiteX27172" y="connsiteY27172"/>
              </a:cxn>
              <a:cxn ang="0">
                <a:pos x="connsiteX27173" y="connsiteY27173"/>
              </a:cxn>
              <a:cxn ang="0">
                <a:pos x="connsiteX27174" y="connsiteY27174"/>
              </a:cxn>
              <a:cxn ang="0">
                <a:pos x="connsiteX27175" y="connsiteY27175"/>
              </a:cxn>
              <a:cxn ang="0">
                <a:pos x="connsiteX27176" y="connsiteY27176"/>
              </a:cxn>
              <a:cxn ang="0">
                <a:pos x="connsiteX27177" y="connsiteY27177"/>
              </a:cxn>
              <a:cxn ang="0">
                <a:pos x="connsiteX27178" y="connsiteY27178"/>
              </a:cxn>
              <a:cxn ang="0">
                <a:pos x="connsiteX27179" y="connsiteY27179"/>
              </a:cxn>
              <a:cxn ang="0">
                <a:pos x="connsiteX27180" y="connsiteY27180"/>
              </a:cxn>
              <a:cxn ang="0">
                <a:pos x="connsiteX27181" y="connsiteY27181"/>
              </a:cxn>
              <a:cxn ang="0">
                <a:pos x="connsiteX27182" y="connsiteY27182"/>
              </a:cxn>
              <a:cxn ang="0">
                <a:pos x="connsiteX27183" y="connsiteY27183"/>
              </a:cxn>
              <a:cxn ang="0">
                <a:pos x="connsiteX27184" y="connsiteY27184"/>
              </a:cxn>
              <a:cxn ang="0">
                <a:pos x="connsiteX27185" y="connsiteY27185"/>
              </a:cxn>
              <a:cxn ang="0">
                <a:pos x="connsiteX27186" y="connsiteY27186"/>
              </a:cxn>
              <a:cxn ang="0">
                <a:pos x="connsiteX27187" y="connsiteY27187"/>
              </a:cxn>
              <a:cxn ang="0">
                <a:pos x="connsiteX27188" y="connsiteY27188"/>
              </a:cxn>
              <a:cxn ang="0">
                <a:pos x="connsiteX27189" y="connsiteY27189"/>
              </a:cxn>
              <a:cxn ang="0">
                <a:pos x="connsiteX27190" y="connsiteY27190"/>
              </a:cxn>
              <a:cxn ang="0">
                <a:pos x="connsiteX27191" y="connsiteY27191"/>
              </a:cxn>
              <a:cxn ang="0">
                <a:pos x="connsiteX27192" y="connsiteY27192"/>
              </a:cxn>
              <a:cxn ang="0">
                <a:pos x="connsiteX27193" y="connsiteY27193"/>
              </a:cxn>
              <a:cxn ang="0">
                <a:pos x="connsiteX27194" y="connsiteY27194"/>
              </a:cxn>
              <a:cxn ang="0">
                <a:pos x="connsiteX27195" y="connsiteY27195"/>
              </a:cxn>
              <a:cxn ang="0">
                <a:pos x="connsiteX27196" y="connsiteY27196"/>
              </a:cxn>
              <a:cxn ang="0">
                <a:pos x="connsiteX27197" y="connsiteY27197"/>
              </a:cxn>
              <a:cxn ang="0">
                <a:pos x="connsiteX27198" y="connsiteY27198"/>
              </a:cxn>
              <a:cxn ang="0">
                <a:pos x="connsiteX27199" y="connsiteY27199"/>
              </a:cxn>
              <a:cxn ang="0">
                <a:pos x="connsiteX27200" y="connsiteY27200"/>
              </a:cxn>
              <a:cxn ang="0">
                <a:pos x="connsiteX27201" y="connsiteY27201"/>
              </a:cxn>
              <a:cxn ang="0">
                <a:pos x="connsiteX27202" y="connsiteY27202"/>
              </a:cxn>
              <a:cxn ang="0">
                <a:pos x="connsiteX27203" y="connsiteY27203"/>
              </a:cxn>
              <a:cxn ang="0">
                <a:pos x="connsiteX27204" y="connsiteY27204"/>
              </a:cxn>
              <a:cxn ang="0">
                <a:pos x="connsiteX27205" y="connsiteY27205"/>
              </a:cxn>
              <a:cxn ang="0">
                <a:pos x="connsiteX27206" y="connsiteY27206"/>
              </a:cxn>
              <a:cxn ang="0">
                <a:pos x="connsiteX27207" y="connsiteY27207"/>
              </a:cxn>
              <a:cxn ang="0">
                <a:pos x="connsiteX27208" y="connsiteY27208"/>
              </a:cxn>
              <a:cxn ang="0">
                <a:pos x="connsiteX27209" y="connsiteY27209"/>
              </a:cxn>
              <a:cxn ang="0">
                <a:pos x="connsiteX27210" y="connsiteY27210"/>
              </a:cxn>
              <a:cxn ang="0">
                <a:pos x="connsiteX27211" y="connsiteY27211"/>
              </a:cxn>
              <a:cxn ang="0">
                <a:pos x="connsiteX27212" y="connsiteY27212"/>
              </a:cxn>
              <a:cxn ang="0">
                <a:pos x="connsiteX27213" y="connsiteY27213"/>
              </a:cxn>
              <a:cxn ang="0">
                <a:pos x="connsiteX27214" y="connsiteY27214"/>
              </a:cxn>
              <a:cxn ang="0">
                <a:pos x="connsiteX27215" y="connsiteY27215"/>
              </a:cxn>
              <a:cxn ang="0">
                <a:pos x="connsiteX27216" y="connsiteY27216"/>
              </a:cxn>
              <a:cxn ang="0">
                <a:pos x="connsiteX27217" y="connsiteY27217"/>
              </a:cxn>
              <a:cxn ang="0">
                <a:pos x="connsiteX27218" y="connsiteY27218"/>
              </a:cxn>
              <a:cxn ang="0">
                <a:pos x="connsiteX27219" y="connsiteY27219"/>
              </a:cxn>
              <a:cxn ang="0">
                <a:pos x="connsiteX27220" y="connsiteY27220"/>
              </a:cxn>
              <a:cxn ang="0">
                <a:pos x="connsiteX27221" y="connsiteY27221"/>
              </a:cxn>
              <a:cxn ang="0">
                <a:pos x="connsiteX27222" y="connsiteY27222"/>
              </a:cxn>
              <a:cxn ang="0">
                <a:pos x="connsiteX27223" y="connsiteY27223"/>
              </a:cxn>
              <a:cxn ang="0">
                <a:pos x="connsiteX27224" y="connsiteY27224"/>
              </a:cxn>
              <a:cxn ang="0">
                <a:pos x="connsiteX27225" y="connsiteY27225"/>
              </a:cxn>
              <a:cxn ang="0">
                <a:pos x="connsiteX27226" y="connsiteY27226"/>
              </a:cxn>
              <a:cxn ang="0">
                <a:pos x="connsiteX27227" y="connsiteY27227"/>
              </a:cxn>
              <a:cxn ang="0">
                <a:pos x="connsiteX27228" y="connsiteY27228"/>
              </a:cxn>
              <a:cxn ang="0">
                <a:pos x="connsiteX27229" y="connsiteY27229"/>
              </a:cxn>
              <a:cxn ang="0">
                <a:pos x="connsiteX27230" y="connsiteY27230"/>
              </a:cxn>
              <a:cxn ang="0">
                <a:pos x="connsiteX27231" y="connsiteY27231"/>
              </a:cxn>
              <a:cxn ang="0">
                <a:pos x="connsiteX27232" y="connsiteY27232"/>
              </a:cxn>
              <a:cxn ang="0">
                <a:pos x="connsiteX27233" y="connsiteY27233"/>
              </a:cxn>
              <a:cxn ang="0">
                <a:pos x="connsiteX27234" y="connsiteY27234"/>
              </a:cxn>
              <a:cxn ang="0">
                <a:pos x="connsiteX27235" y="connsiteY27235"/>
              </a:cxn>
              <a:cxn ang="0">
                <a:pos x="connsiteX27236" y="connsiteY27236"/>
              </a:cxn>
              <a:cxn ang="0">
                <a:pos x="connsiteX27237" y="connsiteY27237"/>
              </a:cxn>
              <a:cxn ang="0">
                <a:pos x="connsiteX27238" y="connsiteY27238"/>
              </a:cxn>
              <a:cxn ang="0">
                <a:pos x="connsiteX27239" y="connsiteY27239"/>
              </a:cxn>
              <a:cxn ang="0">
                <a:pos x="connsiteX27240" y="connsiteY27240"/>
              </a:cxn>
              <a:cxn ang="0">
                <a:pos x="connsiteX27241" y="connsiteY27241"/>
              </a:cxn>
              <a:cxn ang="0">
                <a:pos x="connsiteX27242" y="connsiteY27242"/>
              </a:cxn>
              <a:cxn ang="0">
                <a:pos x="connsiteX27243" y="connsiteY27243"/>
              </a:cxn>
              <a:cxn ang="0">
                <a:pos x="connsiteX27244" y="connsiteY27244"/>
              </a:cxn>
              <a:cxn ang="0">
                <a:pos x="connsiteX27245" y="connsiteY27245"/>
              </a:cxn>
              <a:cxn ang="0">
                <a:pos x="connsiteX27246" y="connsiteY27246"/>
              </a:cxn>
              <a:cxn ang="0">
                <a:pos x="connsiteX27247" y="connsiteY27247"/>
              </a:cxn>
              <a:cxn ang="0">
                <a:pos x="connsiteX27248" y="connsiteY27248"/>
              </a:cxn>
              <a:cxn ang="0">
                <a:pos x="connsiteX27249" y="connsiteY27249"/>
              </a:cxn>
              <a:cxn ang="0">
                <a:pos x="connsiteX27250" y="connsiteY27250"/>
              </a:cxn>
              <a:cxn ang="0">
                <a:pos x="connsiteX27251" y="connsiteY27251"/>
              </a:cxn>
              <a:cxn ang="0">
                <a:pos x="connsiteX27252" y="connsiteY27252"/>
              </a:cxn>
              <a:cxn ang="0">
                <a:pos x="connsiteX27253" y="connsiteY27253"/>
              </a:cxn>
              <a:cxn ang="0">
                <a:pos x="connsiteX27254" y="connsiteY27254"/>
              </a:cxn>
              <a:cxn ang="0">
                <a:pos x="connsiteX27255" y="connsiteY27255"/>
              </a:cxn>
              <a:cxn ang="0">
                <a:pos x="connsiteX27256" y="connsiteY27256"/>
              </a:cxn>
              <a:cxn ang="0">
                <a:pos x="connsiteX27257" y="connsiteY27257"/>
              </a:cxn>
              <a:cxn ang="0">
                <a:pos x="connsiteX27258" y="connsiteY27258"/>
              </a:cxn>
              <a:cxn ang="0">
                <a:pos x="connsiteX27259" y="connsiteY27259"/>
              </a:cxn>
              <a:cxn ang="0">
                <a:pos x="connsiteX27260" y="connsiteY27260"/>
              </a:cxn>
              <a:cxn ang="0">
                <a:pos x="connsiteX27261" y="connsiteY27261"/>
              </a:cxn>
              <a:cxn ang="0">
                <a:pos x="connsiteX27262" y="connsiteY27262"/>
              </a:cxn>
              <a:cxn ang="0">
                <a:pos x="connsiteX27263" y="connsiteY27263"/>
              </a:cxn>
              <a:cxn ang="0">
                <a:pos x="connsiteX27264" y="connsiteY27264"/>
              </a:cxn>
              <a:cxn ang="0">
                <a:pos x="connsiteX27265" y="connsiteY27265"/>
              </a:cxn>
              <a:cxn ang="0">
                <a:pos x="connsiteX27266" y="connsiteY27266"/>
              </a:cxn>
              <a:cxn ang="0">
                <a:pos x="connsiteX27267" y="connsiteY27267"/>
              </a:cxn>
              <a:cxn ang="0">
                <a:pos x="connsiteX27268" y="connsiteY27268"/>
              </a:cxn>
              <a:cxn ang="0">
                <a:pos x="connsiteX27269" y="connsiteY27269"/>
              </a:cxn>
              <a:cxn ang="0">
                <a:pos x="connsiteX27270" y="connsiteY27270"/>
              </a:cxn>
              <a:cxn ang="0">
                <a:pos x="connsiteX27271" y="connsiteY27271"/>
              </a:cxn>
              <a:cxn ang="0">
                <a:pos x="connsiteX27272" y="connsiteY27272"/>
              </a:cxn>
              <a:cxn ang="0">
                <a:pos x="connsiteX27273" y="connsiteY27273"/>
              </a:cxn>
              <a:cxn ang="0">
                <a:pos x="connsiteX27274" y="connsiteY27274"/>
              </a:cxn>
              <a:cxn ang="0">
                <a:pos x="connsiteX27275" y="connsiteY27275"/>
              </a:cxn>
              <a:cxn ang="0">
                <a:pos x="connsiteX27276" y="connsiteY27276"/>
              </a:cxn>
              <a:cxn ang="0">
                <a:pos x="connsiteX27277" y="connsiteY27277"/>
              </a:cxn>
              <a:cxn ang="0">
                <a:pos x="connsiteX27278" y="connsiteY27278"/>
              </a:cxn>
              <a:cxn ang="0">
                <a:pos x="connsiteX27279" y="connsiteY27279"/>
              </a:cxn>
              <a:cxn ang="0">
                <a:pos x="connsiteX27280" y="connsiteY27280"/>
              </a:cxn>
              <a:cxn ang="0">
                <a:pos x="connsiteX27281" y="connsiteY27281"/>
              </a:cxn>
              <a:cxn ang="0">
                <a:pos x="connsiteX27282" y="connsiteY27282"/>
              </a:cxn>
              <a:cxn ang="0">
                <a:pos x="connsiteX27283" y="connsiteY27283"/>
              </a:cxn>
              <a:cxn ang="0">
                <a:pos x="connsiteX27284" y="connsiteY27284"/>
              </a:cxn>
              <a:cxn ang="0">
                <a:pos x="connsiteX27285" y="connsiteY27285"/>
              </a:cxn>
              <a:cxn ang="0">
                <a:pos x="connsiteX27286" y="connsiteY27286"/>
              </a:cxn>
              <a:cxn ang="0">
                <a:pos x="connsiteX27287" y="connsiteY27287"/>
              </a:cxn>
              <a:cxn ang="0">
                <a:pos x="connsiteX27288" y="connsiteY27288"/>
              </a:cxn>
              <a:cxn ang="0">
                <a:pos x="connsiteX27289" y="connsiteY27289"/>
              </a:cxn>
              <a:cxn ang="0">
                <a:pos x="connsiteX27290" y="connsiteY27290"/>
              </a:cxn>
              <a:cxn ang="0">
                <a:pos x="connsiteX27291" y="connsiteY27291"/>
              </a:cxn>
              <a:cxn ang="0">
                <a:pos x="connsiteX27292" y="connsiteY27292"/>
              </a:cxn>
              <a:cxn ang="0">
                <a:pos x="connsiteX27293" y="connsiteY27293"/>
              </a:cxn>
              <a:cxn ang="0">
                <a:pos x="connsiteX27294" y="connsiteY27294"/>
              </a:cxn>
              <a:cxn ang="0">
                <a:pos x="connsiteX27295" y="connsiteY27295"/>
              </a:cxn>
              <a:cxn ang="0">
                <a:pos x="connsiteX27296" y="connsiteY27296"/>
              </a:cxn>
              <a:cxn ang="0">
                <a:pos x="connsiteX27297" y="connsiteY27297"/>
              </a:cxn>
              <a:cxn ang="0">
                <a:pos x="connsiteX27298" y="connsiteY27298"/>
              </a:cxn>
              <a:cxn ang="0">
                <a:pos x="connsiteX27299" y="connsiteY27299"/>
              </a:cxn>
              <a:cxn ang="0">
                <a:pos x="connsiteX27300" y="connsiteY27300"/>
              </a:cxn>
              <a:cxn ang="0">
                <a:pos x="connsiteX27301" y="connsiteY27301"/>
              </a:cxn>
              <a:cxn ang="0">
                <a:pos x="connsiteX27302" y="connsiteY27302"/>
              </a:cxn>
              <a:cxn ang="0">
                <a:pos x="connsiteX27303" y="connsiteY27303"/>
              </a:cxn>
              <a:cxn ang="0">
                <a:pos x="connsiteX27304" y="connsiteY27304"/>
              </a:cxn>
              <a:cxn ang="0">
                <a:pos x="connsiteX27305" y="connsiteY27305"/>
              </a:cxn>
              <a:cxn ang="0">
                <a:pos x="connsiteX27306" y="connsiteY27306"/>
              </a:cxn>
              <a:cxn ang="0">
                <a:pos x="connsiteX27307" y="connsiteY27307"/>
              </a:cxn>
              <a:cxn ang="0">
                <a:pos x="connsiteX27308" y="connsiteY27308"/>
              </a:cxn>
              <a:cxn ang="0">
                <a:pos x="connsiteX27309" y="connsiteY27309"/>
              </a:cxn>
              <a:cxn ang="0">
                <a:pos x="connsiteX27310" y="connsiteY27310"/>
              </a:cxn>
              <a:cxn ang="0">
                <a:pos x="connsiteX27311" y="connsiteY27311"/>
              </a:cxn>
              <a:cxn ang="0">
                <a:pos x="connsiteX27312" y="connsiteY27312"/>
              </a:cxn>
              <a:cxn ang="0">
                <a:pos x="connsiteX27313" y="connsiteY27313"/>
              </a:cxn>
              <a:cxn ang="0">
                <a:pos x="connsiteX27314" y="connsiteY27314"/>
              </a:cxn>
              <a:cxn ang="0">
                <a:pos x="connsiteX27315" y="connsiteY27315"/>
              </a:cxn>
              <a:cxn ang="0">
                <a:pos x="connsiteX27316" y="connsiteY27316"/>
              </a:cxn>
              <a:cxn ang="0">
                <a:pos x="connsiteX27317" y="connsiteY27317"/>
              </a:cxn>
              <a:cxn ang="0">
                <a:pos x="connsiteX27318" y="connsiteY27318"/>
              </a:cxn>
              <a:cxn ang="0">
                <a:pos x="connsiteX27319" y="connsiteY27319"/>
              </a:cxn>
              <a:cxn ang="0">
                <a:pos x="connsiteX27320" y="connsiteY27320"/>
              </a:cxn>
              <a:cxn ang="0">
                <a:pos x="connsiteX27321" y="connsiteY27321"/>
              </a:cxn>
              <a:cxn ang="0">
                <a:pos x="connsiteX27322" y="connsiteY27322"/>
              </a:cxn>
              <a:cxn ang="0">
                <a:pos x="connsiteX27323" y="connsiteY27323"/>
              </a:cxn>
              <a:cxn ang="0">
                <a:pos x="connsiteX27324" y="connsiteY27324"/>
              </a:cxn>
              <a:cxn ang="0">
                <a:pos x="connsiteX27325" y="connsiteY27325"/>
              </a:cxn>
              <a:cxn ang="0">
                <a:pos x="connsiteX27326" y="connsiteY27326"/>
              </a:cxn>
              <a:cxn ang="0">
                <a:pos x="connsiteX27327" y="connsiteY27327"/>
              </a:cxn>
              <a:cxn ang="0">
                <a:pos x="connsiteX27328" y="connsiteY27328"/>
              </a:cxn>
              <a:cxn ang="0">
                <a:pos x="connsiteX27329" y="connsiteY27329"/>
              </a:cxn>
              <a:cxn ang="0">
                <a:pos x="connsiteX27330" y="connsiteY27330"/>
              </a:cxn>
              <a:cxn ang="0">
                <a:pos x="connsiteX27331" y="connsiteY27331"/>
              </a:cxn>
              <a:cxn ang="0">
                <a:pos x="connsiteX27332" y="connsiteY27332"/>
              </a:cxn>
              <a:cxn ang="0">
                <a:pos x="connsiteX27333" y="connsiteY27333"/>
              </a:cxn>
              <a:cxn ang="0">
                <a:pos x="connsiteX27334" y="connsiteY27334"/>
              </a:cxn>
              <a:cxn ang="0">
                <a:pos x="connsiteX27335" y="connsiteY27335"/>
              </a:cxn>
              <a:cxn ang="0">
                <a:pos x="connsiteX27336" y="connsiteY27336"/>
              </a:cxn>
              <a:cxn ang="0">
                <a:pos x="connsiteX27337" y="connsiteY27337"/>
              </a:cxn>
              <a:cxn ang="0">
                <a:pos x="connsiteX27338" y="connsiteY27338"/>
              </a:cxn>
              <a:cxn ang="0">
                <a:pos x="connsiteX27339" y="connsiteY27339"/>
              </a:cxn>
              <a:cxn ang="0">
                <a:pos x="connsiteX27340" y="connsiteY27340"/>
              </a:cxn>
              <a:cxn ang="0">
                <a:pos x="connsiteX27341" y="connsiteY27341"/>
              </a:cxn>
              <a:cxn ang="0">
                <a:pos x="connsiteX27342" y="connsiteY27342"/>
              </a:cxn>
              <a:cxn ang="0">
                <a:pos x="connsiteX27343" y="connsiteY27343"/>
              </a:cxn>
              <a:cxn ang="0">
                <a:pos x="connsiteX27344" y="connsiteY27344"/>
              </a:cxn>
              <a:cxn ang="0">
                <a:pos x="connsiteX27345" y="connsiteY27345"/>
              </a:cxn>
              <a:cxn ang="0">
                <a:pos x="connsiteX27346" y="connsiteY27346"/>
              </a:cxn>
              <a:cxn ang="0">
                <a:pos x="connsiteX27347" y="connsiteY27347"/>
              </a:cxn>
              <a:cxn ang="0">
                <a:pos x="connsiteX27348" y="connsiteY27348"/>
              </a:cxn>
              <a:cxn ang="0">
                <a:pos x="connsiteX27349" y="connsiteY27349"/>
              </a:cxn>
              <a:cxn ang="0">
                <a:pos x="connsiteX27350" y="connsiteY27350"/>
              </a:cxn>
              <a:cxn ang="0">
                <a:pos x="connsiteX27351" y="connsiteY27351"/>
              </a:cxn>
              <a:cxn ang="0">
                <a:pos x="connsiteX27352" y="connsiteY27352"/>
              </a:cxn>
              <a:cxn ang="0">
                <a:pos x="connsiteX27353" y="connsiteY27353"/>
              </a:cxn>
              <a:cxn ang="0">
                <a:pos x="connsiteX27354" y="connsiteY27354"/>
              </a:cxn>
              <a:cxn ang="0">
                <a:pos x="connsiteX27355" y="connsiteY27355"/>
              </a:cxn>
              <a:cxn ang="0">
                <a:pos x="connsiteX27356" y="connsiteY27356"/>
              </a:cxn>
              <a:cxn ang="0">
                <a:pos x="connsiteX27357" y="connsiteY27357"/>
              </a:cxn>
              <a:cxn ang="0">
                <a:pos x="connsiteX27358" y="connsiteY27358"/>
              </a:cxn>
              <a:cxn ang="0">
                <a:pos x="connsiteX27359" y="connsiteY27359"/>
              </a:cxn>
              <a:cxn ang="0">
                <a:pos x="connsiteX27360" y="connsiteY27360"/>
              </a:cxn>
              <a:cxn ang="0">
                <a:pos x="connsiteX27361" y="connsiteY27361"/>
              </a:cxn>
              <a:cxn ang="0">
                <a:pos x="connsiteX27362" y="connsiteY27362"/>
              </a:cxn>
              <a:cxn ang="0">
                <a:pos x="connsiteX27363" y="connsiteY27363"/>
              </a:cxn>
              <a:cxn ang="0">
                <a:pos x="connsiteX27364" y="connsiteY27364"/>
              </a:cxn>
              <a:cxn ang="0">
                <a:pos x="connsiteX27365" y="connsiteY27365"/>
              </a:cxn>
              <a:cxn ang="0">
                <a:pos x="connsiteX27366" y="connsiteY27366"/>
              </a:cxn>
              <a:cxn ang="0">
                <a:pos x="connsiteX27367" y="connsiteY27367"/>
              </a:cxn>
              <a:cxn ang="0">
                <a:pos x="connsiteX27368" y="connsiteY27368"/>
              </a:cxn>
              <a:cxn ang="0">
                <a:pos x="connsiteX27369" y="connsiteY27369"/>
              </a:cxn>
              <a:cxn ang="0">
                <a:pos x="connsiteX27370" y="connsiteY27370"/>
              </a:cxn>
              <a:cxn ang="0">
                <a:pos x="connsiteX27371" y="connsiteY27371"/>
              </a:cxn>
              <a:cxn ang="0">
                <a:pos x="connsiteX27372" y="connsiteY27372"/>
              </a:cxn>
              <a:cxn ang="0">
                <a:pos x="connsiteX27373" y="connsiteY27373"/>
              </a:cxn>
              <a:cxn ang="0">
                <a:pos x="connsiteX27374" y="connsiteY27374"/>
              </a:cxn>
              <a:cxn ang="0">
                <a:pos x="connsiteX27375" y="connsiteY27375"/>
              </a:cxn>
              <a:cxn ang="0">
                <a:pos x="connsiteX27376" y="connsiteY27376"/>
              </a:cxn>
              <a:cxn ang="0">
                <a:pos x="connsiteX27377" y="connsiteY27377"/>
              </a:cxn>
              <a:cxn ang="0">
                <a:pos x="connsiteX27378" y="connsiteY27378"/>
              </a:cxn>
              <a:cxn ang="0">
                <a:pos x="connsiteX27379" y="connsiteY27379"/>
              </a:cxn>
              <a:cxn ang="0">
                <a:pos x="connsiteX27380" y="connsiteY27380"/>
              </a:cxn>
              <a:cxn ang="0">
                <a:pos x="connsiteX27381" y="connsiteY27381"/>
              </a:cxn>
              <a:cxn ang="0">
                <a:pos x="connsiteX27382" y="connsiteY27382"/>
              </a:cxn>
              <a:cxn ang="0">
                <a:pos x="connsiteX27383" y="connsiteY27383"/>
              </a:cxn>
              <a:cxn ang="0">
                <a:pos x="connsiteX27384" y="connsiteY27384"/>
              </a:cxn>
              <a:cxn ang="0">
                <a:pos x="connsiteX27385" y="connsiteY27385"/>
              </a:cxn>
              <a:cxn ang="0">
                <a:pos x="connsiteX27386" y="connsiteY27386"/>
              </a:cxn>
              <a:cxn ang="0">
                <a:pos x="connsiteX27387" y="connsiteY27387"/>
              </a:cxn>
              <a:cxn ang="0">
                <a:pos x="connsiteX27388" y="connsiteY27388"/>
              </a:cxn>
              <a:cxn ang="0">
                <a:pos x="connsiteX27389" y="connsiteY27389"/>
              </a:cxn>
              <a:cxn ang="0">
                <a:pos x="connsiteX27390" y="connsiteY27390"/>
              </a:cxn>
              <a:cxn ang="0">
                <a:pos x="connsiteX27391" y="connsiteY27391"/>
              </a:cxn>
              <a:cxn ang="0">
                <a:pos x="connsiteX27392" y="connsiteY27392"/>
              </a:cxn>
              <a:cxn ang="0">
                <a:pos x="connsiteX27393" y="connsiteY27393"/>
              </a:cxn>
              <a:cxn ang="0">
                <a:pos x="connsiteX27394" y="connsiteY27394"/>
              </a:cxn>
              <a:cxn ang="0">
                <a:pos x="connsiteX27395" y="connsiteY27395"/>
              </a:cxn>
              <a:cxn ang="0">
                <a:pos x="connsiteX27396" y="connsiteY27396"/>
              </a:cxn>
              <a:cxn ang="0">
                <a:pos x="connsiteX27397" y="connsiteY27397"/>
              </a:cxn>
              <a:cxn ang="0">
                <a:pos x="connsiteX27398" y="connsiteY27398"/>
              </a:cxn>
              <a:cxn ang="0">
                <a:pos x="connsiteX27399" y="connsiteY27399"/>
              </a:cxn>
              <a:cxn ang="0">
                <a:pos x="connsiteX27400" y="connsiteY27400"/>
              </a:cxn>
              <a:cxn ang="0">
                <a:pos x="connsiteX27401" y="connsiteY27401"/>
              </a:cxn>
              <a:cxn ang="0">
                <a:pos x="connsiteX27402" y="connsiteY27402"/>
              </a:cxn>
              <a:cxn ang="0">
                <a:pos x="connsiteX27403" y="connsiteY27403"/>
              </a:cxn>
              <a:cxn ang="0">
                <a:pos x="connsiteX27404" y="connsiteY27404"/>
              </a:cxn>
              <a:cxn ang="0">
                <a:pos x="connsiteX27405" y="connsiteY27405"/>
              </a:cxn>
              <a:cxn ang="0">
                <a:pos x="connsiteX27406" y="connsiteY27406"/>
              </a:cxn>
              <a:cxn ang="0">
                <a:pos x="connsiteX27407" y="connsiteY27407"/>
              </a:cxn>
              <a:cxn ang="0">
                <a:pos x="connsiteX27408" y="connsiteY27408"/>
              </a:cxn>
              <a:cxn ang="0">
                <a:pos x="connsiteX27409" y="connsiteY27409"/>
              </a:cxn>
              <a:cxn ang="0">
                <a:pos x="connsiteX27410" y="connsiteY27410"/>
              </a:cxn>
              <a:cxn ang="0">
                <a:pos x="connsiteX27411" y="connsiteY27411"/>
              </a:cxn>
              <a:cxn ang="0">
                <a:pos x="connsiteX27412" y="connsiteY27412"/>
              </a:cxn>
              <a:cxn ang="0">
                <a:pos x="connsiteX27413" y="connsiteY27413"/>
              </a:cxn>
              <a:cxn ang="0">
                <a:pos x="connsiteX27414" y="connsiteY27414"/>
              </a:cxn>
              <a:cxn ang="0">
                <a:pos x="connsiteX27415" y="connsiteY27415"/>
              </a:cxn>
              <a:cxn ang="0">
                <a:pos x="connsiteX27416" y="connsiteY27416"/>
              </a:cxn>
              <a:cxn ang="0">
                <a:pos x="connsiteX27417" y="connsiteY27417"/>
              </a:cxn>
              <a:cxn ang="0">
                <a:pos x="connsiteX27418" y="connsiteY27418"/>
              </a:cxn>
              <a:cxn ang="0">
                <a:pos x="connsiteX27419" y="connsiteY27419"/>
              </a:cxn>
              <a:cxn ang="0">
                <a:pos x="connsiteX27420" y="connsiteY27420"/>
              </a:cxn>
              <a:cxn ang="0">
                <a:pos x="connsiteX27421" y="connsiteY27421"/>
              </a:cxn>
              <a:cxn ang="0">
                <a:pos x="connsiteX27422" y="connsiteY27422"/>
              </a:cxn>
              <a:cxn ang="0">
                <a:pos x="connsiteX27423" y="connsiteY27423"/>
              </a:cxn>
              <a:cxn ang="0">
                <a:pos x="connsiteX27424" y="connsiteY27424"/>
              </a:cxn>
              <a:cxn ang="0">
                <a:pos x="connsiteX27425" y="connsiteY27425"/>
              </a:cxn>
              <a:cxn ang="0">
                <a:pos x="connsiteX27426" y="connsiteY27426"/>
              </a:cxn>
              <a:cxn ang="0">
                <a:pos x="connsiteX27427" y="connsiteY27427"/>
              </a:cxn>
              <a:cxn ang="0">
                <a:pos x="connsiteX27428" y="connsiteY27428"/>
              </a:cxn>
              <a:cxn ang="0">
                <a:pos x="connsiteX27429" y="connsiteY27429"/>
              </a:cxn>
              <a:cxn ang="0">
                <a:pos x="connsiteX27430" y="connsiteY27430"/>
              </a:cxn>
              <a:cxn ang="0">
                <a:pos x="connsiteX27431" y="connsiteY27431"/>
              </a:cxn>
              <a:cxn ang="0">
                <a:pos x="connsiteX27432" y="connsiteY27432"/>
              </a:cxn>
              <a:cxn ang="0">
                <a:pos x="connsiteX27433" y="connsiteY27433"/>
              </a:cxn>
              <a:cxn ang="0">
                <a:pos x="connsiteX27434" y="connsiteY27434"/>
              </a:cxn>
              <a:cxn ang="0">
                <a:pos x="connsiteX27435" y="connsiteY27435"/>
              </a:cxn>
              <a:cxn ang="0">
                <a:pos x="connsiteX27436" y="connsiteY27436"/>
              </a:cxn>
              <a:cxn ang="0">
                <a:pos x="connsiteX27437" y="connsiteY27437"/>
              </a:cxn>
              <a:cxn ang="0">
                <a:pos x="connsiteX27438" y="connsiteY27438"/>
              </a:cxn>
              <a:cxn ang="0">
                <a:pos x="connsiteX27439" y="connsiteY27439"/>
              </a:cxn>
              <a:cxn ang="0">
                <a:pos x="connsiteX27440" y="connsiteY27440"/>
              </a:cxn>
              <a:cxn ang="0">
                <a:pos x="connsiteX27441" y="connsiteY27441"/>
              </a:cxn>
              <a:cxn ang="0">
                <a:pos x="connsiteX27442" y="connsiteY27442"/>
              </a:cxn>
              <a:cxn ang="0">
                <a:pos x="connsiteX27443" y="connsiteY27443"/>
              </a:cxn>
              <a:cxn ang="0">
                <a:pos x="connsiteX27444" y="connsiteY27444"/>
              </a:cxn>
              <a:cxn ang="0">
                <a:pos x="connsiteX27445" y="connsiteY27445"/>
              </a:cxn>
              <a:cxn ang="0">
                <a:pos x="connsiteX27446" y="connsiteY27446"/>
              </a:cxn>
              <a:cxn ang="0">
                <a:pos x="connsiteX27447" y="connsiteY27447"/>
              </a:cxn>
              <a:cxn ang="0">
                <a:pos x="connsiteX27448" y="connsiteY27448"/>
              </a:cxn>
              <a:cxn ang="0">
                <a:pos x="connsiteX27449" y="connsiteY27449"/>
              </a:cxn>
              <a:cxn ang="0">
                <a:pos x="connsiteX27450" y="connsiteY27450"/>
              </a:cxn>
              <a:cxn ang="0">
                <a:pos x="connsiteX27451" y="connsiteY27451"/>
              </a:cxn>
              <a:cxn ang="0">
                <a:pos x="connsiteX27452" y="connsiteY27452"/>
              </a:cxn>
              <a:cxn ang="0">
                <a:pos x="connsiteX27453" y="connsiteY27453"/>
              </a:cxn>
              <a:cxn ang="0">
                <a:pos x="connsiteX27454" y="connsiteY27454"/>
              </a:cxn>
              <a:cxn ang="0">
                <a:pos x="connsiteX27455" y="connsiteY27455"/>
              </a:cxn>
              <a:cxn ang="0">
                <a:pos x="connsiteX27456" y="connsiteY27456"/>
              </a:cxn>
              <a:cxn ang="0">
                <a:pos x="connsiteX27457" y="connsiteY27457"/>
              </a:cxn>
              <a:cxn ang="0">
                <a:pos x="connsiteX27458" y="connsiteY27458"/>
              </a:cxn>
              <a:cxn ang="0">
                <a:pos x="connsiteX27459" y="connsiteY27459"/>
              </a:cxn>
              <a:cxn ang="0">
                <a:pos x="connsiteX27460" y="connsiteY27460"/>
              </a:cxn>
              <a:cxn ang="0">
                <a:pos x="connsiteX27461" y="connsiteY27461"/>
              </a:cxn>
              <a:cxn ang="0">
                <a:pos x="connsiteX27462" y="connsiteY27462"/>
              </a:cxn>
              <a:cxn ang="0">
                <a:pos x="connsiteX27463" y="connsiteY27463"/>
              </a:cxn>
              <a:cxn ang="0">
                <a:pos x="connsiteX27464" y="connsiteY27464"/>
              </a:cxn>
              <a:cxn ang="0">
                <a:pos x="connsiteX27465" y="connsiteY27465"/>
              </a:cxn>
              <a:cxn ang="0">
                <a:pos x="connsiteX27466" y="connsiteY27466"/>
              </a:cxn>
              <a:cxn ang="0">
                <a:pos x="connsiteX27467" y="connsiteY27467"/>
              </a:cxn>
              <a:cxn ang="0">
                <a:pos x="connsiteX27468" y="connsiteY27468"/>
              </a:cxn>
              <a:cxn ang="0">
                <a:pos x="connsiteX27469" y="connsiteY27469"/>
              </a:cxn>
              <a:cxn ang="0">
                <a:pos x="connsiteX27470" y="connsiteY27470"/>
              </a:cxn>
              <a:cxn ang="0">
                <a:pos x="connsiteX27471" y="connsiteY27471"/>
              </a:cxn>
              <a:cxn ang="0">
                <a:pos x="connsiteX27472" y="connsiteY27472"/>
              </a:cxn>
              <a:cxn ang="0">
                <a:pos x="connsiteX27473" y="connsiteY27473"/>
              </a:cxn>
              <a:cxn ang="0">
                <a:pos x="connsiteX27474" y="connsiteY27474"/>
              </a:cxn>
              <a:cxn ang="0">
                <a:pos x="connsiteX27475" y="connsiteY27475"/>
              </a:cxn>
              <a:cxn ang="0">
                <a:pos x="connsiteX27476" y="connsiteY27476"/>
              </a:cxn>
              <a:cxn ang="0">
                <a:pos x="connsiteX27477" y="connsiteY27477"/>
              </a:cxn>
              <a:cxn ang="0">
                <a:pos x="connsiteX27478" y="connsiteY27478"/>
              </a:cxn>
              <a:cxn ang="0">
                <a:pos x="connsiteX27479" y="connsiteY27479"/>
              </a:cxn>
              <a:cxn ang="0">
                <a:pos x="connsiteX27480" y="connsiteY27480"/>
              </a:cxn>
              <a:cxn ang="0">
                <a:pos x="connsiteX27481" y="connsiteY27481"/>
              </a:cxn>
              <a:cxn ang="0">
                <a:pos x="connsiteX27482" y="connsiteY27482"/>
              </a:cxn>
              <a:cxn ang="0">
                <a:pos x="connsiteX27483" y="connsiteY27483"/>
              </a:cxn>
              <a:cxn ang="0">
                <a:pos x="connsiteX27484" y="connsiteY27484"/>
              </a:cxn>
              <a:cxn ang="0">
                <a:pos x="connsiteX27485" y="connsiteY27485"/>
              </a:cxn>
              <a:cxn ang="0">
                <a:pos x="connsiteX27486" y="connsiteY27486"/>
              </a:cxn>
              <a:cxn ang="0">
                <a:pos x="connsiteX27487" y="connsiteY27487"/>
              </a:cxn>
              <a:cxn ang="0">
                <a:pos x="connsiteX27488" y="connsiteY27488"/>
              </a:cxn>
              <a:cxn ang="0">
                <a:pos x="connsiteX27489" y="connsiteY27489"/>
              </a:cxn>
              <a:cxn ang="0">
                <a:pos x="connsiteX27490" y="connsiteY27490"/>
              </a:cxn>
              <a:cxn ang="0">
                <a:pos x="connsiteX27491" y="connsiteY27491"/>
              </a:cxn>
              <a:cxn ang="0">
                <a:pos x="connsiteX27492" y="connsiteY27492"/>
              </a:cxn>
              <a:cxn ang="0">
                <a:pos x="connsiteX27493" y="connsiteY27493"/>
              </a:cxn>
              <a:cxn ang="0">
                <a:pos x="connsiteX27494" y="connsiteY27494"/>
              </a:cxn>
              <a:cxn ang="0">
                <a:pos x="connsiteX27495" y="connsiteY27495"/>
              </a:cxn>
              <a:cxn ang="0">
                <a:pos x="connsiteX27496" y="connsiteY27496"/>
              </a:cxn>
              <a:cxn ang="0">
                <a:pos x="connsiteX27497" y="connsiteY27497"/>
              </a:cxn>
              <a:cxn ang="0">
                <a:pos x="connsiteX27498" y="connsiteY27498"/>
              </a:cxn>
              <a:cxn ang="0">
                <a:pos x="connsiteX27499" y="connsiteY27499"/>
              </a:cxn>
              <a:cxn ang="0">
                <a:pos x="connsiteX27500" y="connsiteY27500"/>
              </a:cxn>
              <a:cxn ang="0">
                <a:pos x="connsiteX27501" y="connsiteY27501"/>
              </a:cxn>
              <a:cxn ang="0">
                <a:pos x="connsiteX27502" y="connsiteY27502"/>
              </a:cxn>
              <a:cxn ang="0">
                <a:pos x="connsiteX27503" y="connsiteY27503"/>
              </a:cxn>
              <a:cxn ang="0">
                <a:pos x="connsiteX27504" y="connsiteY27504"/>
              </a:cxn>
              <a:cxn ang="0">
                <a:pos x="connsiteX27505" y="connsiteY27505"/>
              </a:cxn>
              <a:cxn ang="0">
                <a:pos x="connsiteX27506" y="connsiteY27506"/>
              </a:cxn>
              <a:cxn ang="0">
                <a:pos x="connsiteX27507" y="connsiteY27507"/>
              </a:cxn>
              <a:cxn ang="0">
                <a:pos x="connsiteX27508" y="connsiteY27508"/>
              </a:cxn>
              <a:cxn ang="0">
                <a:pos x="connsiteX27509" y="connsiteY27509"/>
              </a:cxn>
              <a:cxn ang="0">
                <a:pos x="connsiteX27510" y="connsiteY27510"/>
              </a:cxn>
              <a:cxn ang="0">
                <a:pos x="connsiteX27511" y="connsiteY27511"/>
              </a:cxn>
              <a:cxn ang="0">
                <a:pos x="connsiteX27512" y="connsiteY27512"/>
              </a:cxn>
              <a:cxn ang="0">
                <a:pos x="connsiteX27513" y="connsiteY27513"/>
              </a:cxn>
              <a:cxn ang="0">
                <a:pos x="connsiteX27514" y="connsiteY27514"/>
              </a:cxn>
              <a:cxn ang="0">
                <a:pos x="connsiteX27515" y="connsiteY27515"/>
              </a:cxn>
              <a:cxn ang="0">
                <a:pos x="connsiteX27516" y="connsiteY27516"/>
              </a:cxn>
              <a:cxn ang="0">
                <a:pos x="connsiteX27517" y="connsiteY27517"/>
              </a:cxn>
              <a:cxn ang="0">
                <a:pos x="connsiteX27518" y="connsiteY27518"/>
              </a:cxn>
              <a:cxn ang="0">
                <a:pos x="connsiteX27519" y="connsiteY27519"/>
              </a:cxn>
              <a:cxn ang="0">
                <a:pos x="connsiteX27520" y="connsiteY27520"/>
              </a:cxn>
              <a:cxn ang="0">
                <a:pos x="connsiteX27521" y="connsiteY27521"/>
              </a:cxn>
              <a:cxn ang="0">
                <a:pos x="connsiteX27522" y="connsiteY27522"/>
              </a:cxn>
              <a:cxn ang="0">
                <a:pos x="connsiteX27523" y="connsiteY27523"/>
              </a:cxn>
              <a:cxn ang="0">
                <a:pos x="connsiteX27524" y="connsiteY27524"/>
              </a:cxn>
              <a:cxn ang="0">
                <a:pos x="connsiteX27525" y="connsiteY27525"/>
              </a:cxn>
              <a:cxn ang="0">
                <a:pos x="connsiteX27526" y="connsiteY27526"/>
              </a:cxn>
              <a:cxn ang="0">
                <a:pos x="connsiteX27527" y="connsiteY27527"/>
              </a:cxn>
              <a:cxn ang="0">
                <a:pos x="connsiteX27528" y="connsiteY27528"/>
              </a:cxn>
              <a:cxn ang="0">
                <a:pos x="connsiteX27529" y="connsiteY27529"/>
              </a:cxn>
              <a:cxn ang="0">
                <a:pos x="connsiteX27530" y="connsiteY27530"/>
              </a:cxn>
              <a:cxn ang="0">
                <a:pos x="connsiteX27531" y="connsiteY27531"/>
              </a:cxn>
              <a:cxn ang="0">
                <a:pos x="connsiteX27532" y="connsiteY27532"/>
              </a:cxn>
              <a:cxn ang="0">
                <a:pos x="connsiteX27533" y="connsiteY27533"/>
              </a:cxn>
              <a:cxn ang="0">
                <a:pos x="connsiteX27534" y="connsiteY27534"/>
              </a:cxn>
              <a:cxn ang="0">
                <a:pos x="connsiteX27535" y="connsiteY27535"/>
              </a:cxn>
              <a:cxn ang="0">
                <a:pos x="connsiteX27536" y="connsiteY27536"/>
              </a:cxn>
              <a:cxn ang="0">
                <a:pos x="connsiteX27537" y="connsiteY27537"/>
              </a:cxn>
              <a:cxn ang="0">
                <a:pos x="connsiteX27538" y="connsiteY27538"/>
              </a:cxn>
              <a:cxn ang="0">
                <a:pos x="connsiteX27539" y="connsiteY27539"/>
              </a:cxn>
              <a:cxn ang="0">
                <a:pos x="connsiteX27540" y="connsiteY27540"/>
              </a:cxn>
              <a:cxn ang="0">
                <a:pos x="connsiteX27541" y="connsiteY27541"/>
              </a:cxn>
              <a:cxn ang="0">
                <a:pos x="connsiteX27542" y="connsiteY27542"/>
              </a:cxn>
              <a:cxn ang="0">
                <a:pos x="connsiteX27543" y="connsiteY27543"/>
              </a:cxn>
              <a:cxn ang="0">
                <a:pos x="connsiteX27544" y="connsiteY27544"/>
              </a:cxn>
              <a:cxn ang="0">
                <a:pos x="connsiteX27545" y="connsiteY27545"/>
              </a:cxn>
              <a:cxn ang="0">
                <a:pos x="connsiteX27546" y="connsiteY27546"/>
              </a:cxn>
              <a:cxn ang="0">
                <a:pos x="connsiteX27547" y="connsiteY27547"/>
              </a:cxn>
              <a:cxn ang="0">
                <a:pos x="connsiteX27548" y="connsiteY27548"/>
              </a:cxn>
              <a:cxn ang="0">
                <a:pos x="connsiteX27549" y="connsiteY27549"/>
              </a:cxn>
              <a:cxn ang="0">
                <a:pos x="connsiteX27550" y="connsiteY27550"/>
              </a:cxn>
              <a:cxn ang="0">
                <a:pos x="connsiteX27551" y="connsiteY27551"/>
              </a:cxn>
              <a:cxn ang="0">
                <a:pos x="connsiteX27552" y="connsiteY27552"/>
              </a:cxn>
              <a:cxn ang="0">
                <a:pos x="connsiteX27553" y="connsiteY27553"/>
              </a:cxn>
              <a:cxn ang="0">
                <a:pos x="connsiteX27554" y="connsiteY27554"/>
              </a:cxn>
              <a:cxn ang="0">
                <a:pos x="connsiteX27555" y="connsiteY27555"/>
              </a:cxn>
              <a:cxn ang="0">
                <a:pos x="connsiteX27556" y="connsiteY27556"/>
              </a:cxn>
              <a:cxn ang="0">
                <a:pos x="connsiteX27557" y="connsiteY27557"/>
              </a:cxn>
              <a:cxn ang="0">
                <a:pos x="connsiteX27558" y="connsiteY27558"/>
              </a:cxn>
              <a:cxn ang="0">
                <a:pos x="connsiteX27559" y="connsiteY27559"/>
              </a:cxn>
              <a:cxn ang="0">
                <a:pos x="connsiteX27560" y="connsiteY27560"/>
              </a:cxn>
              <a:cxn ang="0">
                <a:pos x="connsiteX27561" y="connsiteY27561"/>
              </a:cxn>
              <a:cxn ang="0">
                <a:pos x="connsiteX27562" y="connsiteY27562"/>
              </a:cxn>
              <a:cxn ang="0">
                <a:pos x="connsiteX27563" y="connsiteY27563"/>
              </a:cxn>
              <a:cxn ang="0">
                <a:pos x="connsiteX27564" y="connsiteY27564"/>
              </a:cxn>
              <a:cxn ang="0">
                <a:pos x="connsiteX27565" y="connsiteY27565"/>
              </a:cxn>
              <a:cxn ang="0">
                <a:pos x="connsiteX27566" y="connsiteY27566"/>
              </a:cxn>
              <a:cxn ang="0">
                <a:pos x="connsiteX27567" y="connsiteY27567"/>
              </a:cxn>
              <a:cxn ang="0">
                <a:pos x="connsiteX27568" y="connsiteY27568"/>
              </a:cxn>
              <a:cxn ang="0">
                <a:pos x="connsiteX27569" y="connsiteY27569"/>
              </a:cxn>
              <a:cxn ang="0">
                <a:pos x="connsiteX27570" y="connsiteY27570"/>
              </a:cxn>
              <a:cxn ang="0">
                <a:pos x="connsiteX27571" y="connsiteY27571"/>
              </a:cxn>
              <a:cxn ang="0">
                <a:pos x="connsiteX27572" y="connsiteY27572"/>
              </a:cxn>
              <a:cxn ang="0">
                <a:pos x="connsiteX27573" y="connsiteY27573"/>
              </a:cxn>
              <a:cxn ang="0">
                <a:pos x="connsiteX27574" y="connsiteY27574"/>
              </a:cxn>
              <a:cxn ang="0">
                <a:pos x="connsiteX27575" y="connsiteY27575"/>
              </a:cxn>
              <a:cxn ang="0">
                <a:pos x="connsiteX27576" y="connsiteY27576"/>
              </a:cxn>
              <a:cxn ang="0">
                <a:pos x="connsiteX27577" y="connsiteY27577"/>
              </a:cxn>
              <a:cxn ang="0">
                <a:pos x="connsiteX27578" y="connsiteY27578"/>
              </a:cxn>
              <a:cxn ang="0">
                <a:pos x="connsiteX27579" y="connsiteY27579"/>
              </a:cxn>
              <a:cxn ang="0">
                <a:pos x="connsiteX27580" y="connsiteY27580"/>
              </a:cxn>
              <a:cxn ang="0">
                <a:pos x="connsiteX27581" y="connsiteY27581"/>
              </a:cxn>
              <a:cxn ang="0">
                <a:pos x="connsiteX27582" y="connsiteY27582"/>
              </a:cxn>
              <a:cxn ang="0">
                <a:pos x="connsiteX27583" y="connsiteY27583"/>
              </a:cxn>
              <a:cxn ang="0">
                <a:pos x="connsiteX27584" y="connsiteY27584"/>
              </a:cxn>
              <a:cxn ang="0">
                <a:pos x="connsiteX27585" y="connsiteY27585"/>
              </a:cxn>
              <a:cxn ang="0">
                <a:pos x="connsiteX27586" y="connsiteY27586"/>
              </a:cxn>
              <a:cxn ang="0">
                <a:pos x="connsiteX27587" y="connsiteY27587"/>
              </a:cxn>
              <a:cxn ang="0">
                <a:pos x="connsiteX27588" y="connsiteY27588"/>
              </a:cxn>
              <a:cxn ang="0">
                <a:pos x="connsiteX27589" y="connsiteY27589"/>
              </a:cxn>
              <a:cxn ang="0">
                <a:pos x="connsiteX27590" y="connsiteY27590"/>
              </a:cxn>
              <a:cxn ang="0">
                <a:pos x="connsiteX27591" y="connsiteY27591"/>
              </a:cxn>
              <a:cxn ang="0">
                <a:pos x="connsiteX27592" y="connsiteY27592"/>
              </a:cxn>
              <a:cxn ang="0">
                <a:pos x="connsiteX27593" y="connsiteY27593"/>
              </a:cxn>
              <a:cxn ang="0">
                <a:pos x="connsiteX27594" y="connsiteY27594"/>
              </a:cxn>
              <a:cxn ang="0">
                <a:pos x="connsiteX27595" y="connsiteY27595"/>
              </a:cxn>
              <a:cxn ang="0">
                <a:pos x="connsiteX27596" y="connsiteY27596"/>
              </a:cxn>
              <a:cxn ang="0">
                <a:pos x="connsiteX27597" y="connsiteY27597"/>
              </a:cxn>
              <a:cxn ang="0">
                <a:pos x="connsiteX27598" y="connsiteY27598"/>
              </a:cxn>
              <a:cxn ang="0">
                <a:pos x="connsiteX27599" y="connsiteY27599"/>
              </a:cxn>
              <a:cxn ang="0">
                <a:pos x="connsiteX27600" y="connsiteY27600"/>
              </a:cxn>
              <a:cxn ang="0">
                <a:pos x="connsiteX27601" y="connsiteY27601"/>
              </a:cxn>
              <a:cxn ang="0">
                <a:pos x="connsiteX27602" y="connsiteY27602"/>
              </a:cxn>
              <a:cxn ang="0">
                <a:pos x="connsiteX27603" y="connsiteY27603"/>
              </a:cxn>
              <a:cxn ang="0">
                <a:pos x="connsiteX27604" y="connsiteY27604"/>
              </a:cxn>
              <a:cxn ang="0">
                <a:pos x="connsiteX27605" y="connsiteY27605"/>
              </a:cxn>
              <a:cxn ang="0">
                <a:pos x="connsiteX27606" y="connsiteY27606"/>
              </a:cxn>
              <a:cxn ang="0">
                <a:pos x="connsiteX27607" y="connsiteY27607"/>
              </a:cxn>
              <a:cxn ang="0">
                <a:pos x="connsiteX27608" y="connsiteY27608"/>
              </a:cxn>
              <a:cxn ang="0">
                <a:pos x="connsiteX27609" y="connsiteY27609"/>
              </a:cxn>
              <a:cxn ang="0">
                <a:pos x="connsiteX27610" y="connsiteY27610"/>
              </a:cxn>
              <a:cxn ang="0">
                <a:pos x="connsiteX27611" y="connsiteY27611"/>
              </a:cxn>
              <a:cxn ang="0">
                <a:pos x="connsiteX27612" y="connsiteY27612"/>
              </a:cxn>
              <a:cxn ang="0">
                <a:pos x="connsiteX27613" y="connsiteY27613"/>
              </a:cxn>
              <a:cxn ang="0">
                <a:pos x="connsiteX27614" y="connsiteY27614"/>
              </a:cxn>
              <a:cxn ang="0">
                <a:pos x="connsiteX27615" y="connsiteY27615"/>
              </a:cxn>
              <a:cxn ang="0">
                <a:pos x="connsiteX27616" y="connsiteY27616"/>
              </a:cxn>
              <a:cxn ang="0">
                <a:pos x="connsiteX27617" y="connsiteY27617"/>
              </a:cxn>
              <a:cxn ang="0">
                <a:pos x="connsiteX27618" y="connsiteY27618"/>
              </a:cxn>
              <a:cxn ang="0">
                <a:pos x="connsiteX27619" y="connsiteY27619"/>
              </a:cxn>
              <a:cxn ang="0">
                <a:pos x="connsiteX27620" y="connsiteY27620"/>
              </a:cxn>
              <a:cxn ang="0">
                <a:pos x="connsiteX27621" y="connsiteY27621"/>
              </a:cxn>
              <a:cxn ang="0">
                <a:pos x="connsiteX27622" y="connsiteY27622"/>
              </a:cxn>
              <a:cxn ang="0">
                <a:pos x="connsiteX27623" y="connsiteY27623"/>
              </a:cxn>
              <a:cxn ang="0">
                <a:pos x="connsiteX27624" y="connsiteY27624"/>
              </a:cxn>
              <a:cxn ang="0">
                <a:pos x="connsiteX27625" y="connsiteY27625"/>
              </a:cxn>
              <a:cxn ang="0">
                <a:pos x="connsiteX27626" y="connsiteY27626"/>
              </a:cxn>
              <a:cxn ang="0">
                <a:pos x="connsiteX27627" y="connsiteY27627"/>
              </a:cxn>
              <a:cxn ang="0">
                <a:pos x="connsiteX27628" y="connsiteY27628"/>
              </a:cxn>
              <a:cxn ang="0">
                <a:pos x="connsiteX27629" y="connsiteY27629"/>
              </a:cxn>
              <a:cxn ang="0">
                <a:pos x="connsiteX27630" y="connsiteY27630"/>
              </a:cxn>
              <a:cxn ang="0">
                <a:pos x="connsiteX27631" y="connsiteY27631"/>
              </a:cxn>
              <a:cxn ang="0">
                <a:pos x="connsiteX27632" y="connsiteY27632"/>
              </a:cxn>
              <a:cxn ang="0">
                <a:pos x="connsiteX27633" y="connsiteY27633"/>
              </a:cxn>
              <a:cxn ang="0">
                <a:pos x="connsiteX27634" y="connsiteY27634"/>
              </a:cxn>
              <a:cxn ang="0">
                <a:pos x="connsiteX27635" y="connsiteY27635"/>
              </a:cxn>
              <a:cxn ang="0">
                <a:pos x="connsiteX27636" y="connsiteY27636"/>
              </a:cxn>
              <a:cxn ang="0">
                <a:pos x="connsiteX27637" y="connsiteY27637"/>
              </a:cxn>
              <a:cxn ang="0">
                <a:pos x="connsiteX27638" y="connsiteY27638"/>
              </a:cxn>
              <a:cxn ang="0">
                <a:pos x="connsiteX27639" y="connsiteY27639"/>
              </a:cxn>
              <a:cxn ang="0">
                <a:pos x="connsiteX27640" y="connsiteY27640"/>
              </a:cxn>
              <a:cxn ang="0">
                <a:pos x="connsiteX27641" y="connsiteY27641"/>
              </a:cxn>
              <a:cxn ang="0">
                <a:pos x="connsiteX27642" y="connsiteY27642"/>
              </a:cxn>
              <a:cxn ang="0">
                <a:pos x="connsiteX27643" y="connsiteY27643"/>
              </a:cxn>
              <a:cxn ang="0">
                <a:pos x="connsiteX27644" y="connsiteY27644"/>
              </a:cxn>
              <a:cxn ang="0">
                <a:pos x="connsiteX27645" y="connsiteY27645"/>
              </a:cxn>
              <a:cxn ang="0">
                <a:pos x="connsiteX27646" y="connsiteY27646"/>
              </a:cxn>
              <a:cxn ang="0">
                <a:pos x="connsiteX27647" y="connsiteY27647"/>
              </a:cxn>
              <a:cxn ang="0">
                <a:pos x="connsiteX27648" y="connsiteY27648"/>
              </a:cxn>
              <a:cxn ang="0">
                <a:pos x="connsiteX27649" y="connsiteY27649"/>
              </a:cxn>
              <a:cxn ang="0">
                <a:pos x="connsiteX27650" y="connsiteY27650"/>
              </a:cxn>
              <a:cxn ang="0">
                <a:pos x="connsiteX27651" y="connsiteY27651"/>
              </a:cxn>
              <a:cxn ang="0">
                <a:pos x="connsiteX27652" y="connsiteY27652"/>
              </a:cxn>
              <a:cxn ang="0">
                <a:pos x="connsiteX27653" y="connsiteY27653"/>
              </a:cxn>
              <a:cxn ang="0">
                <a:pos x="connsiteX27654" y="connsiteY27654"/>
              </a:cxn>
              <a:cxn ang="0">
                <a:pos x="connsiteX27655" y="connsiteY27655"/>
              </a:cxn>
              <a:cxn ang="0">
                <a:pos x="connsiteX27656" y="connsiteY27656"/>
              </a:cxn>
              <a:cxn ang="0">
                <a:pos x="connsiteX27657" y="connsiteY27657"/>
              </a:cxn>
              <a:cxn ang="0">
                <a:pos x="connsiteX27658" y="connsiteY27658"/>
              </a:cxn>
              <a:cxn ang="0">
                <a:pos x="connsiteX27659" y="connsiteY27659"/>
              </a:cxn>
              <a:cxn ang="0">
                <a:pos x="connsiteX27660" y="connsiteY27660"/>
              </a:cxn>
              <a:cxn ang="0">
                <a:pos x="connsiteX27661" y="connsiteY27661"/>
              </a:cxn>
              <a:cxn ang="0">
                <a:pos x="connsiteX27662" y="connsiteY27662"/>
              </a:cxn>
              <a:cxn ang="0">
                <a:pos x="connsiteX27663" y="connsiteY27663"/>
              </a:cxn>
              <a:cxn ang="0">
                <a:pos x="connsiteX27664" y="connsiteY27664"/>
              </a:cxn>
              <a:cxn ang="0">
                <a:pos x="connsiteX27665" y="connsiteY27665"/>
              </a:cxn>
              <a:cxn ang="0">
                <a:pos x="connsiteX27666" y="connsiteY27666"/>
              </a:cxn>
              <a:cxn ang="0">
                <a:pos x="connsiteX27667" y="connsiteY27667"/>
              </a:cxn>
              <a:cxn ang="0">
                <a:pos x="connsiteX27668" y="connsiteY27668"/>
              </a:cxn>
              <a:cxn ang="0">
                <a:pos x="connsiteX27669" y="connsiteY27669"/>
              </a:cxn>
              <a:cxn ang="0">
                <a:pos x="connsiteX27670" y="connsiteY27670"/>
              </a:cxn>
              <a:cxn ang="0">
                <a:pos x="connsiteX27671" y="connsiteY27671"/>
              </a:cxn>
              <a:cxn ang="0">
                <a:pos x="connsiteX27672" y="connsiteY27672"/>
              </a:cxn>
              <a:cxn ang="0">
                <a:pos x="connsiteX27673" y="connsiteY27673"/>
              </a:cxn>
              <a:cxn ang="0">
                <a:pos x="connsiteX27674" y="connsiteY27674"/>
              </a:cxn>
              <a:cxn ang="0">
                <a:pos x="connsiteX27675" y="connsiteY27675"/>
              </a:cxn>
              <a:cxn ang="0">
                <a:pos x="connsiteX27676" y="connsiteY27676"/>
              </a:cxn>
              <a:cxn ang="0">
                <a:pos x="connsiteX27677" y="connsiteY27677"/>
              </a:cxn>
              <a:cxn ang="0">
                <a:pos x="connsiteX27678" y="connsiteY27678"/>
              </a:cxn>
              <a:cxn ang="0">
                <a:pos x="connsiteX27679" y="connsiteY27679"/>
              </a:cxn>
              <a:cxn ang="0">
                <a:pos x="connsiteX27680" y="connsiteY27680"/>
              </a:cxn>
              <a:cxn ang="0">
                <a:pos x="connsiteX27681" y="connsiteY27681"/>
              </a:cxn>
              <a:cxn ang="0">
                <a:pos x="connsiteX27682" y="connsiteY27682"/>
              </a:cxn>
              <a:cxn ang="0">
                <a:pos x="connsiteX27683" y="connsiteY27683"/>
              </a:cxn>
              <a:cxn ang="0">
                <a:pos x="connsiteX27684" y="connsiteY27684"/>
              </a:cxn>
              <a:cxn ang="0">
                <a:pos x="connsiteX27685" y="connsiteY27685"/>
              </a:cxn>
              <a:cxn ang="0">
                <a:pos x="connsiteX27686" y="connsiteY27686"/>
              </a:cxn>
              <a:cxn ang="0">
                <a:pos x="connsiteX27687" y="connsiteY27687"/>
              </a:cxn>
              <a:cxn ang="0">
                <a:pos x="connsiteX27688" y="connsiteY27688"/>
              </a:cxn>
              <a:cxn ang="0">
                <a:pos x="connsiteX27689" y="connsiteY27689"/>
              </a:cxn>
              <a:cxn ang="0">
                <a:pos x="connsiteX27690" y="connsiteY27690"/>
              </a:cxn>
              <a:cxn ang="0">
                <a:pos x="connsiteX27691" y="connsiteY27691"/>
              </a:cxn>
              <a:cxn ang="0">
                <a:pos x="connsiteX27692" y="connsiteY27692"/>
              </a:cxn>
              <a:cxn ang="0">
                <a:pos x="connsiteX27693" y="connsiteY27693"/>
              </a:cxn>
              <a:cxn ang="0">
                <a:pos x="connsiteX27694" y="connsiteY27694"/>
              </a:cxn>
              <a:cxn ang="0">
                <a:pos x="connsiteX27695" y="connsiteY27695"/>
              </a:cxn>
              <a:cxn ang="0">
                <a:pos x="connsiteX27696" y="connsiteY27696"/>
              </a:cxn>
              <a:cxn ang="0">
                <a:pos x="connsiteX27697" y="connsiteY27697"/>
              </a:cxn>
              <a:cxn ang="0">
                <a:pos x="connsiteX27698" y="connsiteY27698"/>
              </a:cxn>
              <a:cxn ang="0">
                <a:pos x="connsiteX27699" y="connsiteY27699"/>
              </a:cxn>
              <a:cxn ang="0">
                <a:pos x="connsiteX27700" y="connsiteY27700"/>
              </a:cxn>
              <a:cxn ang="0">
                <a:pos x="connsiteX27701" y="connsiteY27701"/>
              </a:cxn>
              <a:cxn ang="0">
                <a:pos x="connsiteX27702" y="connsiteY27702"/>
              </a:cxn>
              <a:cxn ang="0">
                <a:pos x="connsiteX27703" y="connsiteY27703"/>
              </a:cxn>
              <a:cxn ang="0">
                <a:pos x="connsiteX27704" y="connsiteY27704"/>
              </a:cxn>
              <a:cxn ang="0">
                <a:pos x="connsiteX27705" y="connsiteY27705"/>
              </a:cxn>
              <a:cxn ang="0">
                <a:pos x="connsiteX27706" y="connsiteY27706"/>
              </a:cxn>
              <a:cxn ang="0">
                <a:pos x="connsiteX27707" y="connsiteY27707"/>
              </a:cxn>
              <a:cxn ang="0">
                <a:pos x="connsiteX27708" y="connsiteY27708"/>
              </a:cxn>
              <a:cxn ang="0">
                <a:pos x="connsiteX27709" y="connsiteY27709"/>
              </a:cxn>
              <a:cxn ang="0">
                <a:pos x="connsiteX27710" y="connsiteY27710"/>
              </a:cxn>
              <a:cxn ang="0">
                <a:pos x="connsiteX27711" y="connsiteY27711"/>
              </a:cxn>
              <a:cxn ang="0">
                <a:pos x="connsiteX27712" y="connsiteY27712"/>
              </a:cxn>
              <a:cxn ang="0">
                <a:pos x="connsiteX27713" y="connsiteY27713"/>
              </a:cxn>
              <a:cxn ang="0">
                <a:pos x="connsiteX27714" y="connsiteY27714"/>
              </a:cxn>
              <a:cxn ang="0">
                <a:pos x="connsiteX27715" y="connsiteY27715"/>
              </a:cxn>
              <a:cxn ang="0">
                <a:pos x="connsiteX27716" y="connsiteY27716"/>
              </a:cxn>
              <a:cxn ang="0">
                <a:pos x="connsiteX27717" y="connsiteY27717"/>
              </a:cxn>
              <a:cxn ang="0">
                <a:pos x="connsiteX27718" y="connsiteY27718"/>
              </a:cxn>
              <a:cxn ang="0">
                <a:pos x="connsiteX27719" y="connsiteY27719"/>
              </a:cxn>
              <a:cxn ang="0">
                <a:pos x="connsiteX27720" y="connsiteY27720"/>
              </a:cxn>
              <a:cxn ang="0">
                <a:pos x="connsiteX27721" y="connsiteY27721"/>
              </a:cxn>
              <a:cxn ang="0">
                <a:pos x="connsiteX27722" y="connsiteY27722"/>
              </a:cxn>
              <a:cxn ang="0">
                <a:pos x="connsiteX27723" y="connsiteY27723"/>
              </a:cxn>
              <a:cxn ang="0">
                <a:pos x="connsiteX27724" y="connsiteY27724"/>
              </a:cxn>
              <a:cxn ang="0">
                <a:pos x="connsiteX27725" y="connsiteY27725"/>
              </a:cxn>
              <a:cxn ang="0">
                <a:pos x="connsiteX27726" y="connsiteY27726"/>
              </a:cxn>
              <a:cxn ang="0">
                <a:pos x="connsiteX27727" y="connsiteY27727"/>
              </a:cxn>
              <a:cxn ang="0">
                <a:pos x="connsiteX27728" y="connsiteY27728"/>
              </a:cxn>
              <a:cxn ang="0">
                <a:pos x="connsiteX27729" y="connsiteY27729"/>
              </a:cxn>
              <a:cxn ang="0">
                <a:pos x="connsiteX27730" y="connsiteY27730"/>
              </a:cxn>
              <a:cxn ang="0">
                <a:pos x="connsiteX27731" y="connsiteY27731"/>
              </a:cxn>
              <a:cxn ang="0">
                <a:pos x="connsiteX27732" y="connsiteY27732"/>
              </a:cxn>
              <a:cxn ang="0">
                <a:pos x="connsiteX27733" y="connsiteY27733"/>
              </a:cxn>
              <a:cxn ang="0">
                <a:pos x="connsiteX27734" y="connsiteY27734"/>
              </a:cxn>
              <a:cxn ang="0">
                <a:pos x="connsiteX27735" y="connsiteY27735"/>
              </a:cxn>
              <a:cxn ang="0">
                <a:pos x="connsiteX27736" y="connsiteY27736"/>
              </a:cxn>
              <a:cxn ang="0">
                <a:pos x="connsiteX27737" y="connsiteY27737"/>
              </a:cxn>
              <a:cxn ang="0">
                <a:pos x="connsiteX27738" y="connsiteY27738"/>
              </a:cxn>
              <a:cxn ang="0">
                <a:pos x="connsiteX27739" y="connsiteY27739"/>
              </a:cxn>
              <a:cxn ang="0">
                <a:pos x="connsiteX27740" y="connsiteY27740"/>
              </a:cxn>
              <a:cxn ang="0">
                <a:pos x="connsiteX27741" y="connsiteY27741"/>
              </a:cxn>
              <a:cxn ang="0">
                <a:pos x="connsiteX27742" y="connsiteY27742"/>
              </a:cxn>
              <a:cxn ang="0">
                <a:pos x="connsiteX27743" y="connsiteY27743"/>
              </a:cxn>
              <a:cxn ang="0">
                <a:pos x="connsiteX27744" y="connsiteY27744"/>
              </a:cxn>
              <a:cxn ang="0">
                <a:pos x="connsiteX27745" y="connsiteY27745"/>
              </a:cxn>
              <a:cxn ang="0">
                <a:pos x="connsiteX27746" y="connsiteY27746"/>
              </a:cxn>
              <a:cxn ang="0">
                <a:pos x="connsiteX27747" y="connsiteY27747"/>
              </a:cxn>
              <a:cxn ang="0">
                <a:pos x="connsiteX27748" y="connsiteY27748"/>
              </a:cxn>
              <a:cxn ang="0">
                <a:pos x="connsiteX27749" y="connsiteY27749"/>
              </a:cxn>
              <a:cxn ang="0">
                <a:pos x="connsiteX27750" y="connsiteY27750"/>
              </a:cxn>
              <a:cxn ang="0">
                <a:pos x="connsiteX27751" y="connsiteY27751"/>
              </a:cxn>
              <a:cxn ang="0">
                <a:pos x="connsiteX27752" y="connsiteY27752"/>
              </a:cxn>
              <a:cxn ang="0">
                <a:pos x="connsiteX27753" y="connsiteY27753"/>
              </a:cxn>
              <a:cxn ang="0">
                <a:pos x="connsiteX27754" y="connsiteY27754"/>
              </a:cxn>
              <a:cxn ang="0">
                <a:pos x="connsiteX27755" y="connsiteY27755"/>
              </a:cxn>
              <a:cxn ang="0">
                <a:pos x="connsiteX27756" y="connsiteY27756"/>
              </a:cxn>
              <a:cxn ang="0">
                <a:pos x="connsiteX27757" y="connsiteY27757"/>
              </a:cxn>
              <a:cxn ang="0">
                <a:pos x="connsiteX27758" y="connsiteY27758"/>
              </a:cxn>
              <a:cxn ang="0">
                <a:pos x="connsiteX27759" y="connsiteY27759"/>
              </a:cxn>
              <a:cxn ang="0">
                <a:pos x="connsiteX27760" y="connsiteY27760"/>
              </a:cxn>
              <a:cxn ang="0">
                <a:pos x="connsiteX27761" y="connsiteY27761"/>
              </a:cxn>
              <a:cxn ang="0">
                <a:pos x="connsiteX27762" y="connsiteY27762"/>
              </a:cxn>
              <a:cxn ang="0">
                <a:pos x="connsiteX27763" y="connsiteY27763"/>
              </a:cxn>
              <a:cxn ang="0">
                <a:pos x="connsiteX27764" y="connsiteY27764"/>
              </a:cxn>
              <a:cxn ang="0">
                <a:pos x="connsiteX27765" y="connsiteY27765"/>
              </a:cxn>
              <a:cxn ang="0">
                <a:pos x="connsiteX27766" y="connsiteY27766"/>
              </a:cxn>
              <a:cxn ang="0">
                <a:pos x="connsiteX27767" y="connsiteY27767"/>
              </a:cxn>
              <a:cxn ang="0">
                <a:pos x="connsiteX27768" y="connsiteY27768"/>
              </a:cxn>
              <a:cxn ang="0">
                <a:pos x="connsiteX27769" y="connsiteY27769"/>
              </a:cxn>
              <a:cxn ang="0">
                <a:pos x="connsiteX27770" y="connsiteY27770"/>
              </a:cxn>
              <a:cxn ang="0">
                <a:pos x="connsiteX27771" y="connsiteY27771"/>
              </a:cxn>
              <a:cxn ang="0">
                <a:pos x="connsiteX27772" y="connsiteY27772"/>
              </a:cxn>
              <a:cxn ang="0">
                <a:pos x="connsiteX27773" y="connsiteY27773"/>
              </a:cxn>
              <a:cxn ang="0">
                <a:pos x="connsiteX27774" y="connsiteY27774"/>
              </a:cxn>
              <a:cxn ang="0">
                <a:pos x="connsiteX27775" y="connsiteY27775"/>
              </a:cxn>
              <a:cxn ang="0">
                <a:pos x="connsiteX27776" y="connsiteY27776"/>
              </a:cxn>
              <a:cxn ang="0">
                <a:pos x="connsiteX27777" y="connsiteY27777"/>
              </a:cxn>
              <a:cxn ang="0">
                <a:pos x="connsiteX27778" y="connsiteY27778"/>
              </a:cxn>
              <a:cxn ang="0">
                <a:pos x="connsiteX27779" y="connsiteY27779"/>
              </a:cxn>
              <a:cxn ang="0">
                <a:pos x="connsiteX27780" y="connsiteY27780"/>
              </a:cxn>
              <a:cxn ang="0">
                <a:pos x="connsiteX27781" y="connsiteY27781"/>
              </a:cxn>
              <a:cxn ang="0">
                <a:pos x="connsiteX27782" y="connsiteY27782"/>
              </a:cxn>
              <a:cxn ang="0">
                <a:pos x="connsiteX27783" y="connsiteY27783"/>
              </a:cxn>
              <a:cxn ang="0">
                <a:pos x="connsiteX27784" y="connsiteY27784"/>
              </a:cxn>
              <a:cxn ang="0">
                <a:pos x="connsiteX27785" y="connsiteY27785"/>
              </a:cxn>
              <a:cxn ang="0">
                <a:pos x="connsiteX27786" y="connsiteY27786"/>
              </a:cxn>
              <a:cxn ang="0">
                <a:pos x="connsiteX27787" y="connsiteY27787"/>
              </a:cxn>
              <a:cxn ang="0">
                <a:pos x="connsiteX27788" y="connsiteY27788"/>
              </a:cxn>
              <a:cxn ang="0">
                <a:pos x="connsiteX27789" y="connsiteY27789"/>
              </a:cxn>
              <a:cxn ang="0">
                <a:pos x="connsiteX27790" y="connsiteY27790"/>
              </a:cxn>
              <a:cxn ang="0">
                <a:pos x="connsiteX27791" y="connsiteY27791"/>
              </a:cxn>
              <a:cxn ang="0">
                <a:pos x="connsiteX27792" y="connsiteY27792"/>
              </a:cxn>
              <a:cxn ang="0">
                <a:pos x="connsiteX27793" y="connsiteY27793"/>
              </a:cxn>
              <a:cxn ang="0">
                <a:pos x="connsiteX27794" y="connsiteY27794"/>
              </a:cxn>
              <a:cxn ang="0">
                <a:pos x="connsiteX27795" y="connsiteY27795"/>
              </a:cxn>
              <a:cxn ang="0">
                <a:pos x="connsiteX27796" y="connsiteY27796"/>
              </a:cxn>
              <a:cxn ang="0">
                <a:pos x="connsiteX27797" y="connsiteY27797"/>
              </a:cxn>
              <a:cxn ang="0">
                <a:pos x="connsiteX27798" y="connsiteY27798"/>
              </a:cxn>
              <a:cxn ang="0">
                <a:pos x="connsiteX27799" y="connsiteY27799"/>
              </a:cxn>
              <a:cxn ang="0">
                <a:pos x="connsiteX27800" y="connsiteY27800"/>
              </a:cxn>
              <a:cxn ang="0">
                <a:pos x="connsiteX27801" y="connsiteY27801"/>
              </a:cxn>
              <a:cxn ang="0">
                <a:pos x="connsiteX27802" y="connsiteY27802"/>
              </a:cxn>
              <a:cxn ang="0">
                <a:pos x="connsiteX27803" y="connsiteY27803"/>
              </a:cxn>
              <a:cxn ang="0">
                <a:pos x="connsiteX27804" y="connsiteY27804"/>
              </a:cxn>
              <a:cxn ang="0">
                <a:pos x="connsiteX27805" y="connsiteY27805"/>
              </a:cxn>
              <a:cxn ang="0">
                <a:pos x="connsiteX27806" y="connsiteY27806"/>
              </a:cxn>
              <a:cxn ang="0">
                <a:pos x="connsiteX27807" y="connsiteY27807"/>
              </a:cxn>
              <a:cxn ang="0">
                <a:pos x="connsiteX27808" y="connsiteY27808"/>
              </a:cxn>
              <a:cxn ang="0">
                <a:pos x="connsiteX27809" y="connsiteY27809"/>
              </a:cxn>
              <a:cxn ang="0">
                <a:pos x="connsiteX27810" y="connsiteY27810"/>
              </a:cxn>
              <a:cxn ang="0">
                <a:pos x="connsiteX27811" y="connsiteY27811"/>
              </a:cxn>
              <a:cxn ang="0">
                <a:pos x="connsiteX27812" y="connsiteY27812"/>
              </a:cxn>
              <a:cxn ang="0">
                <a:pos x="connsiteX27813" y="connsiteY27813"/>
              </a:cxn>
              <a:cxn ang="0">
                <a:pos x="connsiteX27814" y="connsiteY27814"/>
              </a:cxn>
              <a:cxn ang="0">
                <a:pos x="connsiteX27815" y="connsiteY27815"/>
              </a:cxn>
              <a:cxn ang="0">
                <a:pos x="connsiteX27816" y="connsiteY27816"/>
              </a:cxn>
              <a:cxn ang="0">
                <a:pos x="connsiteX27817" y="connsiteY27817"/>
              </a:cxn>
              <a:cxn ang="0">
                <a:pos x="connsiteX27818" y="connsiteY27818"/>
              </a:cxn>
              <a:cxn ang="0">
                <a:pos x="connsiteX27819" y="connsiteY27819"/>
              </a:cxn>
              <a:cxn ang="0">
                <a:pos x="connsiteX27820" y="connsiteY27820"/>
              </a:cxn>
              <a:cxn ang="0">
                <a:pos x="connsiteX27821" y="connsiteY27821"/>
              </a:cxn>
              <a:cxn ang="0">
                <a:pos x="connsiteX27822" y="connsiteY27822"/>
              </a:cxn>
              <a:cxn ang="0">
                <a:pos x="connsiteX27823" y="connsiteY27823"/>
              </a:cxn>
              <a:cxn ang="0">
                <a:pos x="connsiteX27824" y="connsiteY27824"/>
              </a:cxn>
              <a:cxn ang="0">
                <a:pos x="connsiteX27825" y="connsiteY27825"/>
              </a:cxn>
              <a:cxn ang="0">
                <a:pos x="connsiteX27826" y="connsiteY27826"/>
              </a:cxn>
              <a:cxn ang="0">
                <a:pos x="connsiteX27827" y="connsiteY27827"/>
              </a:cxn>
              <a:cxn ang="0">
                <a:pos x="connsiteX27828" y="connsiteY27828"/>
              </a:cxn>
              <a:cxn ang="0">
                <a:pos x="connsiteX27829" y="connsiteY27829"/>
              </a:cxn>
              <a:cxn ang="0">
                <a:pos x="connsiteX27830" y="connsiteY27830"/>
              </a:cxn>
              <a:cxn ang="0">
                <a:pos x="connsiteX27831" y="connsiteY27831"/>
              </a:cxn>
              <a:cxn ang="0">
                <a:pos x="connsiteX27832" y="connsiteY27832"/>
              </a:cxn>
              <a:cxn ang="0">
                <a:pos x="connsiteX27833" y="connsiteY27833"/>
              </a:cxn>
              <a:cxn ang="0">
                <a:pos x="connsiteX27834" y="connsiteY27834"/>
              </a:cxn>
              <a:cxn ang="0">
                <a:pos x="connsiteX27835" y="connsiteY27835"/>
              </a:cxn>
              <a:cxn ang="0">
                <a:pos x="connsiteX27836" y="connsiteY27836"/>
              </a:cxn>
              <a:cxn ang="0">
                <a:pos x="connsiteX27837" y="connsiteY27837"/>
              </a:cxn>
              <a:cxn ang="0">
                <a:pos x="connsiteX27838" y="connsiteY27838"/>
              </a:cxn>
              <a:cxn ang="0">
                <a:pos x="connsiteX27839" y="connsiteY27839"/>
              </a:cxn>
              <a:cxn ang="0">
                <a:pos x="connsiteX27840" y="connsiteY27840"/>
              </a:cxn>
              <a:cxn ang="0">
                <a:pos x="connsiteX27841" y="connsiteY27841"/>
              </a:cxn>
              <a:cxn ang="0">
                <a:pos x="connsiteX27842" y="connsiteY27842"/>
              </a:cxn>
              <a:cxn ang="0">
                <a:pos x="connsiteX27843" y="connsiteY27843"/>
              </a:cxn>
              <a:cxn ang="0">
                <a:pos x="connsiteX27844" y="connsiteY27844"/>
              </a:cxn>
              <a:cxn ang="0">
                <a:pos x="connsiteX27845" y="connsiteY27845"/>
              </a:cxn>
              <a:cxn ang="0">
                <a:pos x="connsiteX27846" y="connsiteY27846"/>
              </a:cxn>
              <a:cxn ang="0">
                <a:pos x="connsiteX27847" y="connsiteY27847"/>
              </a:cxn>
              <a:cxn ang="0">
                <a:pos x="connsiteX27848" y="connsiteY27848"/>
              </a:cxn>
              <a:cxn ang="0">
                <a:pos x="connsiteX27849" y="connsiteY27849"/>
              </a:cxn>
              <a:cxn ang="0">
                <a:pos x="connsiteX27850" y="connsiteY27850"/>
              </a:cxn>
              <a:cxn ang="0">
                <a:pos x="connsiteX27851" y="connsiteY27851"/>
              </a:cxn>
              <a:cxn ang="0">
                <a:pos x="connsiteX27852" y="connsiteY27852"/>
              </a:cxn>
              <a:cxn ang="0">
                <a:pos x="connsiteX27853" y="connsiteY27853"/>
              </a:cxn>
              <a:cxn ang="0">
                <a:pos x="connsiteX27854" y="connsiteY27854"/>
              </a:cxn>
              <a:cxn ang="0">
                <a:pos x="connsiteX27855" y="connsiteY27855"/>
              </a:cxn>
              <a:cxn ang="0">
                <a:pos x="connsiteX27856" y="connsiteY27856"/>
              </a:cxn>
              <a:cxn ang="0">
                <a:pos x="connsiteX27857" y="connsiteY27857"/>
              </a:cxn>
              <a:cxn ang="0">
                <a:pos x="connsiteX27858" y="connsiteY27858"/>
              </a:cxn>
              <a:cxn ang="0">
                <a:pos x="connsiteX27859" y="connsiteY27859"/>
              </a:cxn>
              <a:cxn ang="0">
                <a:pos x="connsiteX27860" y="connsiteY27860"/>
              </a:cxn>
              <a:cxn ang="0">
                <a:pos x="connsiteX27861" y="connsiteY27861"/>
              </a:cxn>
              <a:cxn ang="0">
                <a:pos x="connsiteX27862" y="connsiteY27862"/>
              </a:cxn>
              <a:cxn ang="0">
                <a:pos x="connsiteX27863" y="connsiteY27863"/>
              </a:cxn>
              <a:cxn ang="0">
                <a:pos x="connsiteX27864" y="connsiteY27864"/>
              </a:cxn>
              <a:cxn ang="0">
                <a:pos x="connsiteX27865" y="connsiteY27865"/>
              </a:cxn>
              <a:cxn ang="0">
                <a:pos x="connsiteX27866" y="connsiteY27866"/>
              </a:cxn>
              <a:cxn ang="0">
                <a:pos x="connsiteX27867" y="connsiteY27867"/>
              </a:cxn>
              <a:cxn ang="0">
                <a:pos x="connsiteX27868" y="connsiteY27868"/>
              </a:cxn>
              <a:cxn ang="0">
                <a:pos x="connsiteX27869" y="connsiteY27869"/>
              </a:cxn>
              <a:cxn ang="0">
                <a:pos x="connsiteX27870" y="connsiteY27870"/>
              </a:cxn>
              <a:cxn ang="0">
                <a:pos x="connsiteX27871" y="connsiteY27871"/>
              </a:cxn>
              <a:cxn ang="0">
                <a:pos x="connsiteX27872" y="connsiteY27872"/>
              </a:cxn>
              <a:cxn ang="0">
                <a:pos x="connsiteX27873" y="connsiteY27873"/>
              </a:cxn>
              <a:cxn ang="0">
                <a:pos x="connsiteX27874" y="connsiteY27874"/>
              </a:cxn>
              <a:cxn ang="0">
                <a:pos x="connsiteX27875" y="connsiteY27875"/>
              </a:cxn>
              <a:cxn ang="0">
                <a:pos x="connsiteX27876" y="connsiteY27876"/>
              </a:cxn>
              <a:cxn ang="0">
                <a:pos x="connsiteX27877" y="connsiteY27877"/>
              </a:cxn>
              <a:cxn ang="0">
                <a:pos x="connsiteX27878" y="connsiteY27878"/>
              </a:cxn>
              <a:cxn ang="0">
                <a:pos x="connsiteX27879" y="connsiteY27879"/>
              </a:cxn>
              <a:cxn ang="0">
                <a:pos x="connsiteX27880" y="connsiteY27880"/>
              </a:cxn>
              <a:cxn ang="0">
                <a:pos x="connsiteX27881" y="connsiteY27881"/>
              </a:cxn>
              <a:cxn ang="0">
                <a:pos x="connsiteX27882" y="connsiteY27882"/>
              </a:cxn>
              <a:cxn ang="0">
                <a:pos x="connsiteX27883" y="connsiteY27883"/>
              </a:cxn>
              <a:cxn ang="0">
                <a:pos x="connsiteX27884" y="connsiteY27884"/>
              </a:cxn>
              <a:cxn ang="0">
                <a:pos x="connsiteX27885" y="connsiteY27885"/>
              </a:cxn>
              <a:cxn ang="0">
                <a:pos x="connsiteX27886" y="connsiteY27886"/>
              </a:cxn>
              <a:cxn ang="0">
                <a:pos x="connsiteX27887" y="connsiteY27887"/>
              </a:cxn>
              <a:cxn ang="0">
                <a:pos x="connsiteX27888" y="connsiteY27888"/>
              </a:cxn>
              <a:cxn ang="0">
                <a:pos x="connsiteX27889" y="connsiteY27889"/>
              </a:cxn>
              <a:cxn ang="0">
                <a:pos x="connsiteX27890" y="connsiteY27890"/>
              </a:cxn>
              <a:cxn ang="0">
                <a:pos x="connsiteX27891" y="connsiteY27891"/>
              </a:cxn>
              <a:cxn ang="0">
                <a:pos x="connsiteX27892" y="connsiteY27892"/>
              </a:cxn>
              <a:cxn ang="0">
                <a:pos x="connsiteX27893" y="connsiteY27893"/>
              </a:cxn>
              <a:cxn ang="0">
                <a:pos x="connsiteX27894" y="connsiteY27894"/>
              </a:cxn>
              <a:cxn ang="0">
                <a:pos x="connsiteX27895" y="connsiteY27895"/>
              </a:cxn>
              <a:cxn ang="0">
                <a:pos x="connsiteX27896" y="connsiteY27896"/>
              </a:cxn>
              <a:cxn ang="0">
                <a:pos x="connsiteX27897" y="connsiteY27897"/>
              </a:cxn>
              <a:cxn ang="0">
                <a:pos x="connsiteX27898" y="connsiteY27898"/>
              </a:cxn>
              <a:cxn ang="0">
                <a:pos x="connsiteX27899" y="connsiteY27899"/>
              </a:cxn>
              <a:cxn ang="0">
                <a:pos x="connsiteX27900" y="connsiteY27900"/>
              </a:cxn>
              <a:cxn ang="0">
                <a:pos x="connsiteX27901" y="connsiteY27901"/>
              </a:cxn>
              <a:cxn ang="0">
                <a:pos x="connsiteX27902" y="connsiteY27902"/>
              </a:cxn>
              <a:cxn ang="0">
                <a:pos x="connsiteX27903" y="connsiteY27903"/>
              </a:cxn>
              <a:cxn ang="0">
                <a:pos x="connsiteX27904" y="connsiteY27904"/>
              </a:cxn>
              <a:cxn ang="0">
                <a:pos x="connsiteX27905" y="connsiteY27905"/>
              </a:cxn>
              <a:cxn ang="0">
                <a:pos x="connsiteX27906" y="connsiteY27906"/>
              </a:cxn>
              <a:cxn ang="0">
                <a:pos x="connsiteX27907" y="connsiteY27907"/>
              </a:cxn>
              <a:cxn ang="0">
                <a:pos x="connsiteX27908" y="connsiteY27908"/>
              </a:cxn>
              <a:cxn ang="0">
                <a:pos x="connsiteX27909" y="connsiteY27909"/>
              </a:cxn>
              <a:cxn ang="0">
                <a:pos x="connsiteX27910" y="connsiteY27910"/>
              </a:cxn>
              <a:cxn ang="0">
                <a:pos x="connsiteX27911" y="connsiteY27911"/>
              </a:cxn>
              <a:cxn ang="0">
                <a:pos x="connsiteX27912" y="connsiteY27912"/>
              </a:cxn>
              <a:cxn ang="0">
                <a:pos x="connsiteX27913" y="connsiteY27913"/>
              </a:cxn>
              <a:cxn ang="0">
                <a:pos x="connsiteX27914" y="connsiteY27914"/>
              </a:cxn>
              <a:cxn ang="0">
                <a:pos x="connsiteX27915" y="connsiteY27915"/>
              </a:cxn>
              <a:cxn ang="0">
                <a:pos x="connsiteX27916" y="connsiteY27916"/>
              </a:cxn>
              <a:cxn ang="0">
                <a:pos x="connsiteX27917" y="connsiteY27917"/>
              </a:cxn>
              <a:cxn ang="0">
                <a:pos x="connsiteX27918" y="connsiteY27918"/>
              </a:cxn>
              <a:cxn ang="0">
                <a:pos x="connsiteX27919" y="connsiteY27919"/>
              </a:cxn>
              <a:cxn ang="0">
                <a:pos x="connsiteX27920" y="connsiteY27920"/>
              </a:cxn>
              <a:cxn ang="0">
                <a:pos x="connsiteX27921" y="connsiteY27921"/>
              </a:cxn>
              <a:cxn ang="0">
                <a:pos x="connsiteX27922" y="connsiteY27922"/>
              </a:cxn>
              <a:cxn ang="0">
                <a:pos x="connsiteX27923" y="connsiteY27923"/>
              </a:cxn>
              <a:cxn ang="0">
                <a:pos x="connsiteX27924" y="connsiteY27924"/>
              </a:cxn>
              <a:cxn ang="0">
                <a:pos x="connsiteX27925" y="connsiteY27925"/>
              </a:cxn>
              <a:cxn ang="0">
                <a:pos x="connsiteX27926" y="connsiteY27926"/>
              </a:cxn>
              <a:cxn ang="0">
                <a:pos x="connsiteX27927" y="connsiteY27927"/>
              </a:cxn>
              <a:cxn ang="0">
                <a:pos x="connsiteX27928" y="connsiteY27928"/>
              </a:cxn>
              <a:cxn ang="0">
                <a:pos x="connsiteX27929" y="connsiteY27929"/>
              </a:cxn>
              <a:cxn ang="0">
                <a:pos x="connsiteX27930" y="connsiteY27930"/>
              </a:cxn>
              <a:cxn ang="0">
                <a:pos x="connsiteX27931" y="connsiteY27931"/>
              </a:cxn>
              <a:cxn ang="0">
                <a:pos x="connsiteX27932" y="connsiteY27932"/>
              </a:cxn>
              <a:cxn ang="0">
                <a:pos x="connsiteX27933" y="connsiteY27933"/>
              </a:cxn>
              <a:cxn ang="0">
                <a:pos x="connsiteX27934" y="connsiteY27934"/>
              </a:cxn>
              <a:cxn ang="0">
                <a:pos x="connsiteX27935" y="connsiteY27935"/>
              </a:cxn>
              <a:cxn ang="0">
                <a:pos x="connsiteX27936" y="connsiteY27936"/>
              </a:cxn>
              <a:cxn ang="0">
                <a:pos x="connsiteX27937" y="connsiteY27937"/>
              </a:cxn>
              <a:cxn ang="0">
                <a:pos x="connsiteX27938" y="connsiteY27938"/>
              </a:cxn>
              <a:cxn ang="0">
                <a:pos x="connsiteX27939" y="connsiteY27939"/>
              </a:cxn>
              <a:cxn ang="0">
                <a:pos x="connsiteX27940" y="connsiteY27940"/>
              </a:cxn>
              <a:cxn ang="0">
                <a:pos x="connsiteX27941" y="connsiteY27941"/>
              </a:cxn>
              <a:cxn ang="0">
                <a:pos x="connsiteX27942" y="connsiteY27942"/>
              </a:cxn>
              <a:cxn ang="0">
                <a:pos x="connsiteX27943" y="connsiteY27943"/>
              </a:cxn>
              <a:cxn ang="0">
                <a:pos x="connsiteX27944" y="connsiteY27944"/>
              </a:cxn>
              <a:cxn ang="0">
                <a:pos x="connsiteX27945" y="connsiteY27945"/>
              </a:cxn>
              <a:cxn ang="0">
                <a:pos x="connsiteX27946" y="connsiteY27946"/>
              </a:cxn>
              <a:cxn ang="0">
                <a:pos x="connsiteX27947" y="connsiteY27947"/>
              </a:cxn>
              <a:cxn ang="0">
                <a:pos x="connsiteX27948" y="connsiteY27948"/>
              </a:cxn>
              <a:cxn ang="0">
                <a:pos x="connsiteX27949" y="connsiteY27949"/>
              </a:cxn>
              <a:cxn ang="0">
                <a:pos x="connsiteX27950" y="connsiteY27950"/>
              </a:cxn>
              <a:cxn ang="0">
                <a:pos x="connsiteX27951" y="connsiteY27951"/>
              </a:cxn>
              <a:cxn ang="0">
                <a:pos x="connsiteX27952" y="connsiteY27952"/>
              </a:cxn>
              <a:cxn ang="0">
                <a:pos x="connsiteX27953" y="connsiteY27953"/>
              </a:cxn>
              <a:cxn ang="0">
                <a:pos x="connsiteX27954" y="connsiteY27954"/>
              </a:cxn>
              <a:cxn ang="0">
                <a:pos x="connsiteX27955" y="connsiteY27955"/>
              </a:cxn>
              <a:cxn ang="0">
                <a:pos x="connsiteX27956" y="connsiteY27956"/>
              </a:cxn>
              <a:cxn ang="0">
                <a:pos x="connsiteX27957" y="connsiteY27957"/>
              </a:cxn>
              <a:cxn ang="0">
                <a:pos x="connsiteX27958" y="connsiteY27958"/>
              </a:cxn>
              <a:cxn ang="0">
                <a:pos x="connsiteX27959" y="connsiteY27959"/>
              </a:cxn>
              <a:cxn ang="0">
                <a:pos x="connsiteX27960" y="connsiteY27960"/>
              </a:cxn>
              <a:cxn ang="0">
                <a:pos x="connsiteX27961" y="connsiteY27961"/>
              </a:cxn>
              <a:cxn ang="0">
                <a:pos x="connsiteX27962" y="connsiteY27962"/>
              </a:cxn>
              <a:cxn ang="0">
                <a:pos x="connsiteX27963" y="connsiteY27963"/>
              </a:cxn>
              <a:cxn ang="0">
                <a:pos x="connsiteX27964" y="connsiteY27964"/>
              </a:cxn>
              <a:cxn ang="0">
                <a:pos x="connsiteX27965" y="connsiteY27965"/>
              </a:cxn>
              <a:cxn ang="0">
                <a:pos x="connsiteX27966" y="connsiteY27966"/>
              </a:cxn>
              <a:cxn ang="0">
                <a:pos x="connsiteX27967" y="connsiteY27967"/>
              </a:cxn>
              <a:cxn ang="0">
                <a:pos x="connsiteX27968" y="connsiteY27968"/>
              </a:cxn>
              <a:cxn ang="0">
                <a:pos x="connsiteX27969" y="connsiteY27969"/>
              </a:cxn>
              <a:cxn ang="0">
                <a:pos x="connsiteX27970" y="connsiteY27970"/>
              </a:cxn>
              <a:cxn ang="0">
                <a:pos x="connsiteX27971" y="connsiteY27971"/>
              </a:cxn>
              <a:cxn ang="0">
                <a:pos x="connsiteX27972" y="connsiteY27972"/>
              </a:cxn>
              <a:cxn ang="0">
                <a:pos x="connsiteX27973" y="connsiteY27973"/>
              </a:cxn>
              <a:cxn ang="0">
                <a:pos x="connsiteX27974" y="connsiteY27974"/>
              </a:cxn>
              <a:cxn ang="0">
                <a:pos x="connsiteX27975" y="connsiteY27975"/>
              </a:cxn>
              <a:cxn ang="0">
                <a:pos x="connsiteX27976" y="connsiteY27976"/>
              </a:cxn>
              <a:cxn ang="0">
                <a:pos x="connsiteX27977" y="connsiteY27977"/>
              </a:cxn>
              <a:cxn ang="0">
                <a:pos x="connsiteX27978" y="connsiteY27978"/>
              </a:cxn>
              <a:cxn ang="0">
                <a:pos x="connsiteX27979" y="connsiteY27979"/>
              </a:cxn>
              <a:cxn ang="0">
                <a:pos x="connsiteX27980" y="connsiteY27980"/>
              </a:cxn>
              <a:cxn ang="0">
                <a:pos x="connsiteX27981" y="connsiteY27981"/>
              </a:cxn>
              <a:cxn ang="0">
                <a:pos x="connsiteX27982" y="connsiteY27982"/>
              </a:cxn>
              <a:cxn ang="0">
                <a:pos x="connsiteX27983" y="connsiteY27983"/>
              </a:cxn>
              <a:cxn ang="0">
                <a:pos x="connsiteX27984" y="connsiteY27984"/>
              </a:cxn>
              <a:cxn ang="0">
                <a:pos x="connsiteX27985" y="connsiteY27985"/>
              </a:cxn>
              <a:cxn ang="0">
                <a:pos x="connsiteX27986" y="connsiteY27986"/>
              </a:cxn>
              <a:cxn ang="0">
                <a:pos x="connsiteX27987" y="connsiteY27987"/>
              </a:cxn>
              <a:cxn ang="0">
                <a:pos x="connsiteX27988" y="connsiteY27988"/>
              </a:cxn>
              <a:cxn ang="0">
                <a:pos x="connsiteX27989" y="connsiteY27989"/>
              </a:cxn>
              <a:cxn ang="0">
                <a:pos x="connsiteX27990" y="connsiteY27990"/>
              </a:cxn>
              <a:cxn ang="0">
                <a:pos x="connsiteX27991" y="connsiteY27991"/>
              </a:cxn>
              <a:cxn ang="0">
                <a:pos x="connsiteX27992" y="connsiteY27992"/>
              </a:cxn>
              <a:cxn ang="0">
                <a:pos x="connsiteX27993" y="connsiteY27993"/>
              </a:cxn>
              <a:cxn ang="0">
                <a:pos x="connsiteX27994" y="connsiteY27994"/>
              </a:cxn>
              <a:cxn ang="0">
                <a:pos x="connsiteX27995" y="connsiteY27995"/>
              </a:cxn>
              <a:cxn ang="0">
                <a:pos x="connsiteX27996" y="connsiteY27996"/>
              </a:cxn>
              <a:cxn ang="0">
                <a:pos x="connsiteX27997" y="connsiteY27997"/>
              </a:cxn>
              <a:cxn ang="0">
                <a:pos x="connsiteX27998" y="connsiteY27998"/>
              </a:cxn>
              <a:cxn ang="0">
                <a:pos x="connsiteX27999" y="connsiteY27999"/>
              </a:cxn>
              <a:cxn ang="0">
                <a:pos x="connsiteX28000" y="connsiteY28000"/>
              </a:cxn>
              <a:cxn ang="0">
                <a:pos x="connsiteX28001" y="connsiteY28001"/>
              </a:cxn>
              <a:cxn ang="0">
                <a:pos x="connsiteX28002" y="connsiteY28002"/>
              </a:cxn>
              <a:cxn ang="0">
                <a:pos x="connsiteX28003" y="connsiteY28003"/>
              </a:cxn>
              <a:cxn ang="0">
                <a:pos x="connsiteX28004" y="connsiteY28004"/>
              </a:cxn>
              <a:cxn ang="0">
                <a:pos x="connsiteX28005" y="connsiteY28005"/>
              </a:cxn>
              <a:cxn ang="0">
                <a:pos x="connsiteX28006" y="connsiteY28006"/>
              </a:cxn>
              <a:cxn ang="0">
                <a:pos x="connsiteX28007" y="connsiteY28007"/>
              </a:cxn>
              <a:cxn ang="0">
                <a:pos x="connsiteX28008" y="connsiteY28008"/>
              </a:cxn>
              <a:cxn ang="0">
                <a:pos x="connsiteX28009" y="connsiteY28009"/>
              </a:cxn>
              <a:cxn ang="0">
                <a:pos x="connsiteX28010" y="connsiteY28010"/>
              </a:cxn>
              <a:cxn ang="0">
                <a:pos x="connsiteX28011" y="connsiteY28011"/>
              </a:cxn>
              <a:cxn ang="0">
                <a:pos x="connsiteX28012" y="connsiteY28012"/>
              </a:cxn>
              <a:cxn ang="0">
                <a:pos x="connsiteX28013" y="connsiteY28013"/>
              </a:cxn>
              <a:cxn ang="0">
                <a:pos x="connsiteX28014" y="connsiteY28014"/>
              </a:cxn>
              <a:cxn ang="0">
                <a:pos x="connsiteX28015" y="connsiteY28015"/>
              </a:cxn>
              <a:cxn ang="0">
                <a:pos x="connsiteX28016" y="connsiteY28016"/>
              </a:cxn>
              <a:cxn ang="0">
                <a:pos x="connsiteX28017" y="connsiteY28017"/>
              </a:cxn>
              <a:cxn ang="0">
                <a:pos x="connsiteX28018" y="connsiteY28018"/>
              </a:cxn>
              <a:cxn ang="0">
                <a:pos x="connsiteX28019" y="connsiteY28019"/>
              </a:cxn>
              <a:cxn ang="0">
                <a:pos x="connsiteX28020" y="connsiteY28020"/>
              </a:cxn>
              <a:cxn ang="0">
                <a:pos x="connsiteX28021" y="connsiteY28021"/>
              </a:cxn>
              <a:cxn ang="0">
                <a:pos x="connsiteX28022" y="connsiteY28022"/>
              </a:cxn>
              <a:cxn ang="0">
                <a:pos x="connsiteX28023" y="connsiteY28023"/>
              </a:cxn>
              <a:cxn ang="0">
                <a:pos x="connsiteX28024" y="connsiteY28024"/>
              </a:cxn>
              <a:cxn ang="0">
                <a:pos x="connsiteX28025" y="connsiteY28025"/>
              </a:cxn>
              <a:cxn ang="0">
                <a:pos x="connsiteX28026" y="connsiteY28026"/>
              </a:cxn>
              <a:cxn ang="0">
                <a:pos x="connsiteX28027" y="connsiteY28027"/>
              </a:cxn>
              <a:cxn ang="0">
                <a:pos x="connsiteX28028" y="connsiteY28028"/>
              </a:cxn>
              <a:cxn ang="0">
                <a:pos x="connsiteX28029" y="connsiteY28029"/>
              </a:cxn>
              <a:cxn ang="0">
                <a:pos x="connsiteX28030" y="connsiteY28030"/>
              </a:cxn>
              <a:cxn ang="0">
                <a:pos x="connsiteX28031" y="connsiteY28031"/>
              </a:cxn>
              <a:cxn ang="0">
                <a:pos x="connsiteX28032" y="connsiteY28032"/>
              </a:cxn>
              <a:cxn ang="0">
                <a:pos x="connsiteX28033" y="connsiteY28033"/>
              </a:cxn>
              <a:cxn ang="0">
                <a:pos x="connsiteX28034" y="connsiteY28034"/>
              </a:cxn>
              <a:cxn ang="0">
                <a:pos x="connsiteX28035" y="connsiteY28035"/>
              </a:cxn>
              <a:cxn ang="0">
                <a:pos x="connsiteX28036" y="connsiteY28036"/>
              </a:cxn>
              <a:cxn ang="0">
                <a:pos x="connsiteX28037" y="connsiteY28037"/>
              </a:cxn>
              <a:cxn ang="0">
                <a:pos x="connsiteX28038" y="connsiteY28038"/>
              </a:cxn>
              <a:cxn ang="0">
                <a:pos x="connsiteX28039" y="connsiteY28039"/>
              </a:cxn>
              <a:cxn ang="0">
                <a:pos x="connsiteX28040" y="connsiteY28040"/>
              </a:cxn>
              <a:cxn ang="0">
                <a:pos x="connsiteX28041" y="connsiteY28041"/>
              </a:cxn>
              <a:cxn ang="0">
                <a:pos x="connsiteX28042" y="connsiteY28042"/>
              </a:cxn>
              <a:cxn ang="0">
                <a:pos x="connsiteX28043" y="connsiteY28043"/>
              </a:cxn>
              <a:cxn ang="0">
                <a:pos x="connsiteX28044" y="connsiteY28044"/>
              </a:cxn>
              <a:cxn ang="0">
                <a:pos x="connsiteX28045" y="connsiteY28045"/>
              </a:cxn>
              <a:cxn ang="0">
                <a:pos x="connsiteX28046" y="connsiteY28046"/>
              </a:cxn>
              <a:cxn ang="0">
                <a:pos x="connsiteX28047" y="connsiteY28047"/>
              </a:cxn>
              <a:cxn ang="0">
                <a:pos x="connsiteX28048" y="connsiteY28048"/>
              </a:cxn>
              <a:cxn ang="0">
                <a:pos x="connsiteX28049" y="connsiteY28049"/>
              </a:cxn>
              <a:cxn ang="0">
                <a:pos x="connsiteX28050" y="connsiteY28050"/>
              </a:cxn>
              <a:cxn ang="0">
                <a:pos x="connsiteX28051" y="connsiteY28051"/>
              </a:cxn>
              <a:cxn ang="0">
                <a:pos x="connsiteX28052" y="connsiteY28052"/>
              </a:cxn>
              <a:cxn ang="0">
                <a:pos x="connsiteX28053" y="connsiteY28053"/>
              </a:cxn>
              <a:cxn ang="0">
                <a:pos x="connsiteX28054" y="connsiteY28054"/>
              </a:cxn>
              <a:cxn ang="0">
                <a:pos x="connsiteX28055" y="connsiteY28055"/>
              </a:cxn>
              <a:cxn ang="0">
                <a:pos x="connsiteX28056" y="connsiteY28056"/>
              </a:cxn>
              <a:cxn ang="0">
                <a:pos x="connsiteX28057" y="connsiteY28057"/>
              </a:cxn>
              <a:cxn ang="0">
                <a:pos x="connsiteX28058" y="connsiteY28058"/>
              </a:cxn>
              <a:cxn ang="0">
                <a:pos x="connsiteX28059" y="connsiteY28059"/>
              </a:cxn>
              <a:cxn ang="0">
                <a:pos x="connsiteX28060" y="connsiteY28060"/>
              </a:cxn>
              <a:cxn ang="0">
                <a:pos x="connsiteX28061" y="connsiteY28061"/>
              </a:cxn>
              <a:cxn ang="0">
                <a:pos x="connsiteX28062" y="connsiteY28062"/>
              </a:cxn>
              <a:cxn ang="0">
                <a:pos x="connsiteX28063" y="connsiteY28063"/>
              </a:cxn>
              <a:cxn ang="0">
                <a:pos x="connsiteX28064" y="connsiteY28064"/>
              </a:cxn>
              <a:cxn ang="0">
                <a:pos x="connsiteX28065" y="connsiteY28065"/>
              </a:cxn>
              <a:cxn ang="0">
                <a:pos x="connsiteX28066" y="connsiteY28066"/>
              </a:cxn>
              <a:cxn ang="0">
                <a:pos x="connsiteX28067" y="connsiteY28067"/>
              </a:cxn>
              <a:cxn ang="0">
                <a:pos x="connsiteX28068" y="connsiteY28068"/>
              </a:cxn>
              <a:cxn ang="0">
                <a:pos x="connsiteX28069" y="connsiteY28069"/>
              </a:cxn>
              <a:cxn ang="0">
                <a:pos x="connsiteX28070" y="connsiteY28070"/>
              </a:cxn>
              <a:cxn ang="0">
                <a:pos x="connsiteX28071" y="connsiteY28071"/>
              </a:cxn>
              <a:cxn ang="0">
                <a:pos x="connsiteX28072" y="connsiteY28072"/>
              </a:cxn>
              <a:cxn ang="0">
                <a:pos x="connsiteX28073" y="connsiteY28073"/>
              </a:cxn>
              <a:cxn ang="0">
                <a:pos x="connsiteX28074" y="connsiteY28074"/>
              </a:cxn>
              <a:cxn ang="0">
                <a:pos x="connsiteX28075" y="connsiteY28075"/>
              </a:cxn>
              <a:cxn ang="0">
                <a:pos x="connsiteX28076" y="connsiteY28076"/>
              </a:cxn>
              <a:cxn ang="0">
                <a:pos x="connsiteX28077" y="connsiteY28077"/>
              </a:cxn>
              <a:cxn ang="0">
                <a:pos x="connsiteX28078" y="connsiteY28078"/>
              </a:cxn>
              <a:cxn ang="0">
                <a:pos x="connsiteX28079" y="connsiteY28079"/>
              </a:cxn>
              <a:cxn ang="0">
                <a:pos x="connsiteX28080" y="connsiteY28080"/>
              </a:cxn>
              <a:cxn ang="0">
                <a:pos x="connsiteX28081" y="connsiteY28081"/>
              </a:cxn>
              <a:cxn ang="0">
                <a:pos x="connsiteX28082" y="connsiteY28082"/>
              </a:cxn>
              <a:cxn ang="0">
                <a:pos x="connsiteX28083" y="connsiteY28083"/>
              </a:cxn>
              <a:cxn ang="0">
                <a:pos x="connsiteX28084" y="connsiteY28084"/>
              </a:cxn>
              <a:cxn ang="0">
                <a:pos x="connsiteX28085" y="connsiteY28085"/>
              </a:cxn>
              <a:cxn ang="0">
                <a:pos x="connsiteX28086" y="connsiteY28086"/>
              </a:cxn>
              <a:cxn ang="0">
                <a:pos x="connsiteX28087" y="connsiteY28087"/>
              </a:cxn>
              <a:cxn ang="0">
                <a:pos x="connsiteX28088" y="connsiteY28088"/>
              </a:cxn>
              <a:cxn ang="0">
                <a:pos x="connsiteX28089" y="connsiteY28089"/>
              </a:cxn>
              <a:cxn ang="0">
                <a:pos x="connsiteX28090" y="connsiteY28090"/>
              </a:cxn>
              <a:cxn ang="0">
                <a:pos x="connsiteX28091" y="connsiteY28091"/>
              </a:cxn>
              <a:cxn ang="0">
                <a:pos x="connsiteX28092" y="connsiteY28092"/>
              </a:cxn>
              <a:cxn ang="0">
                <a:pos x="connsiteX28093" y="connsiteY28093"/>
              </a:cxn>
              <a:cxn ang="0">
                <a:pos x="connsiteX28094" y="connsiteY28094"/>
              </a:cxn>
              <a:cxn ang="0">
                <a:pos x="connsiteX28095" y="connsiteY28095"/>
              </a:cxn>
              <a:cxn ang="0">
                <a:pos x="connsiteX28096" y="connsiteY28096"/>
              </a:cxn>
              <a:cxn ang="0">
                <a:pos x="connsiteX28097" y="connsiteY28097"/>
              </a:cxn>
              <a:cxn ang="0">
                <a:pos x="connsiteX28098" y="connsiteY28098"/>
              </a:cxn>
              <a:cxn ang="0">
                <a:pos x="connsiteX28099" y="connsiteY28099"/>
              </a:cxn>
              <a:cxn ang="0">
                <a:pos x="connsiteX28100" y="connsiteY28100"/>
              </a:cxn>
              <a:cxn ang="0">
                <a:pos x="connsiteX28101" y="connsiteY28101"/>
              </a:cxn>
              <a:cxn ang="0">
                <a:pos x="connsiteX28102" y="connsiteY28102"/>
              </a:cxn>
              <a:cxn ang="0">
                <a:pos x="connsiteX28103" y="connsiteY28103"/>
              </a:cxn>
              <a:cxn ang="0">
                <a:pos x="connsiteX28104" y="connsiteY28104"/>
              </a:cxn>
              <a:cxn ang="0">
                <a:pos x="connsiteX28105" y="connsiteY28105"/>
              </a:cxn>
              <a:cxn ang="0">
                <a:pos x="connsiteX28106" y="connsiteY28106"/>
              </a:cxn>
              <a:cxn ang="0">
                <a:pos x="connsiteX28107" y="connsiteY28107"/>
              </a:cxn>
              <a:cxn ang="0">
                <a:pos x="connsiteX28108" y="connsiteY28108"/>
              </a:cxn>
              <a:cxn ang="0">
                <a:pos x="connsiteX28109" y="connsiteY28109"/>
              </a:cxn>
              <a:cxn ang="0">
                <a:pos x="connsiteX28110" y="connsiteY28110"/>
              </a:cxn>
              <a:cxn ang="0">
                <a:pos x="connsiteX28111" y="connsiteY28111"/>
              </a:cxn>
              <a:cxn ang="0">
                <a:pos x="connsiteX28112" y="connsiteY28112"/>
              </a:cxn>
              <a:cxn ang="0">
                <a:pos x="connsiteX28113" y="connsiteY28113"/>
              </a:cxn>
              <a:cxn ang="0">
                <a:pos x="connsiteX28114" y="connsiteY28114"/>
              </a:cxn>
              <a:cxn ang="0">
                <a:pos x="connsiteX28115" y="connsiteY28115"/>
              </a:cxn>
              <a:cxn ang="0">
                <a:pos x="connsiteX28116" y="connsiteY28116"/>
              </a:cxn>
              <a:cxn ang="0">
                <a:pos x="connsiteX28117" y="connsiteY28117"/>
              </a:cxn>
              <a:cxn ang="0">
                <a:pos x="connsiteX28118" y="connsiteY28118"/>
              </a:cxn>
              <a:cxn ang="0">
                <a:pos x="connsiteX28119" y="connsiteY28119"/>
              </a:cxn>
              <a:cxn ang="0">
                <a:pos x="connsiteX28120" y="connsiteY28120"/>
              </a:cxn>
              <a:cxn ang="0">
                <a:pos x="connsiteX28121" y="connsiteY28121"/>
              </a:cxn>
              <a:cxn ang="0">
                <a:pos x="connsiteX28122" y="connsiteY28122"/>
              </a:cxn>
              <a:cxn ang="0">
                <a:pos x="connsiteX28123" y="connsiteY28123"/>
              </a:cxn>
              <a:cxn ang="0">
                <a:pos x="connsiteX28124" y="connsiteY28124"/>
              </a:cxn>
              <a:cxn ang="0">
                <a:pos x="connsiteX28125" y="connsiteY28125"/>
              </a:cxn>
              <a:cxn ang="0">
                <a:pos x="connsiteX28126" y="connsiteY28126"/>
              </a:cxn>
              <a:cxn ang="0">
                <a:pos x="connsiteX28127" y="connsiteY28127"/>
              </a:cxn>
              <a:cxn ang="0">
                <a:pos x="connsiteX28128" y="connsiteY28128"/>
              </a:cxn>
              <a:cxn ang="0">
                <a:pos x="connsiteX28129" y="connsiteY28129"/>
              </a:cxn>
              <a:cxn ang="0">
                <a:pos x="connsiteX28130" y="connsiteY28130"/>
              </a:cxn>
              <a:cxn ang="0">
                <a:pos x="connsiteX28131" y="connsiteY28131"/>
              </a:cxn>
              <a:cxn ang="0">
                <a:pos x="connsiteX28132" y="connsiteY28132"/>
              </a:cxn>
              <a:cxn ang="0">
                <a:pos x="connsiteX28133" y="connsiteY28133"/>
              </a:cxn>
              <a:cxn ang="0">
                <a:pos x="connsiteX28134" y="connsiteY28134"/>
              </a:cxn>
              <a:cxn ang="0">
                <a:pos x="connsiteX28135" y="connsiteY28135"/>
              </a:cxn>
              <a:cxn ang="0">
                <a:pos x="connsiteX28136" y="connsiteY28136"/>
              </a:cxn>
              <a:cxn ang="0">
                <a:pos x="connsiteX28137" y="connsiteY28137"/>
              </a:cxn>
              <a:cxn ang="0">
                <a:pos x="connsiteX28138" y="connsiteY28138"/>
              </a:cxn>
              <a:cxn ang="0">
                <a:pos x="connsiteX28139" y="connsiteY28139"/>
              </a:cxn>
              <a:cxn ang="0">
                <a:pos x="connsiteX28140" y="connsiteY28140"/>
              </a:cxn>
              <a:cxn ang="0">
                <a:pos x="connsiteX28141" y="connsiteY28141"/>
              </a:cxn>
              <a:cxn ang="0">
                <a:pos x="connsiteX28142" y="connsiteY28142"/>
              </a:cxn>
              <a:cxn ang="0">
                <a:pos x="connsiteX28143" y="connsiteY28143"/>
              </a:cxn>
              <a:cxn ang="0">
                <a:pos x="connsiteX28144" y="connsiteY28144"/>
              </a:cxn>
              <a:cxn ang="0">
                <a:pos x="connsiteX28145" y="connsiteY28145"/>
              </a:cxn>
              <a:cxn ang="0">
                <a:pos x="connsiteX28146" y="connsiteY28146"/>
              </a:cxn>
              <a:cxn ang="0">
                <a:pos x="connsiteX28147" y="connsiteY28147"/>
              </a:cxn>
              <a:cxn ang="0">
                <a:pos x="connsiteX28148" y="connsiteY28148"/>
              </a:cxn>
              <a:cxn ang="0">
                <a:pos x="connsiteX28149" y="connsiteY28149"/>
              </a:cxn>
              <a:cxn ang="0">
                <a:pos x="connsiteX28150" y="connsiteY28150"/>
              </a:cxn>
              <a:cxn ang="0">
                <a:pos x="connsiteX28151" y="connsiteY28151"/>
              </a:cxn>
              <a:cxn ang="0">
                <a:pos x="connsiteX28152" y="connsiteY28152"/>
              </a:cxn>
              <a:cxn ang="0">
                <a:pos x="connsiteX28153" y="connsiteY28153"/>
              </a:cxn>
              <a:cxn ang="0">
                <a:pos x="connsiteX28154" y="connsiteY28154"/>
              </a:cxn>
              <a:cxn ang="0">
                <a:pos x="connsiteX28155" y="connsiteY28155"/>
              </a:cxn>
              <a:cxn ang="0">
                <a:pos x="connsiteX28156" y="connsiteY28156"/>
              </a:cxn>
              <a:cxn ang="0">
                <a:pos x="connsiteX28157" y="connsiteY28157"/>
              </a:cxn>
              <a:cxn ang="0">
                <a:pos x="connsiteX28158" y="connsiteY28158"/>
              </a:cxn>
              <a:cxn ang="0">
                <a:pos x="connsiteX28159" y="connsiteY28159"/>
              </a:cxn>
              <a:cxn ang="0">
                <a:pos x="connsiteX28160" y="connsiteY28160"/>
              </a:cxn>
              <a:cxn ang="0">
                <a:pos x="connsiteX28161" y="connsiteY28161"/>
              </a:cxn>
              <a:cxn ang="0">
                <a:pos x="connsiteX28162" y="connsiteY28162"/>
              </a:cxn>
              <a:cxn ang="0">
                <a:pos x="connsiteX28163" y="connsiteY28163"/>
              </a:cxn>
              <a:cxn ang="0">
                <a:pos x="connsiteX28164" y="connsiteY28164"/>
              </a:cxn>
              <a:cxn ang="0">
                <a:pos x="connsiteX28165" y="connsiteY28165"/>
              </a:cxn>
              <a:cxn ang="0">
                <a:pos x="connsiteX28166" y="connsiteY28166"/>
              </a:cxn>
              <a:cxn ang="0">
                <a:pos x="connsiteX28167" y="connsiteY28167"/>
              </a:cxn>
              <a:cxn ang="0">
                <a:pos x="connsiteX28168" y="connsiteY28168"/>
              </a:cxn>
              <a:cxn ang="0">
                <a:pos x="connsiteX28169" y="connsiteY28169"/>
              </a:cxn>
              <a:cxn ang="0">
                <a:pos x="connsiteX28170" y="connsiteY28170"/>
              </a:cxn>
              <a:cxn ang="0">
                <a:pos x="connsiteX28171" y="connsiteY28171"/>
              </a:cxn>
              <a:cxn ang="0">
                <a:pos x="connsiteX28172" y="connsiteY28172"/>
              </a:cxn>
              <a:cxn ang="0">
                <a:pos x="connsiteX28173" y="connsiteY28173"/>
              </a:cxn>
              <a:cxn ang="0">
                <a:pos x="connsiteX28174" y="connsiteY28174"/>
              </a:cxn>
              <a:cxn ang="0">
                <a:pos x="connsiteX28175" y="connsiteY28175"/>
              </a:cxn>
              <a:cxn ang="0">
                <a:pos x="connsiteX28176" y="connsiteY28176"/>
              </a:cxn>
              <a:cxn ang="0">
                <a:pos x="connsiteX28177" y="connsiteY28177"/>
              </a:cxn>
              <a:cxn ang="0">
                <a:pos x="connsiteX28178" y="connsiteY28178"/>
              </a:cxn>
              <a:cxn ang="0">
                <a:pos x="connsiteX28179" y="connsiteY28179"/>
              </a:cxn>
              <a:cxn ang="0">
                <a:pos x="connsiteX28180" y="connsiteY28180"/>
              </a:cxn>
              <a:cxn ang="0">
                <a:pos x="connsiteX28181" y="connsiteY28181"/>
              </a:cxn>
              <a:cxn ang="0">
                <a:pos x="connsiteX28182" y="connsiteY28182"/>
              </a:cxn>
              <a:cxn ang="0">
                <a:pos x="connsiteX28183" y="connsiteY28183"/>
              </a:cxn>
              <a:cxn ang="0">
                <a:pos x="connsiteX28184" y="connsiteY28184"/>
              </a:cxn>
              <a:cxn ang="0">
                <a:pos x="connsiteX28185" y="connsiteY28185"/>
              </a:cxn>
              <a:cxn ang="0">
                <a:pos x="connsiteX28186" y="connsiteY28186"/>
              </a:cxn>
              <a:cxn ang="0">
                <a:pos x="connsiteX28187" y="connsiteY28187"/>
              </a:cxn>
              <a:cxn ang="0">
                <a:pos x="connsiteX28188" y="connsiteY28188"/>
              </a:cxn>
              <a:cxn ang="0">
                <a:pos x="connsiteX28189" y="connsiteY28189"/>
              </a:cxn>
              <a:cxn ang="0">
                <a:pos x="connsiteX28190" y="connsiteY28190"/>
              </a:cxn>
              <a:cxn ang="0">
                <a:pos x="connsiteX28191" y="connsiteY28191"/>
              </a:cxn>
              <a:cxn ang="0">
                <a:pos x="connsiteX28192" y="connsiteY28192"/>
              </a:cxn>
              <a:cxn ang="0">
                <a:pos x="connsiteX28193" y="connsiteY28193"/>
              </a:cxn>
              <a:cxn ang="0">
                <a:pos x="connsiteX28194" y="connsiteY28194"/>
              </a:cxn>
              <a:cxn ang="0">
                <a:pos x="connsiteX28195" y="connsiteY28195"/>
              </a:cxn>
              <a:cxn ang="0">
                <a:pos x="connsiteX28196" y="connsiteY28196"/>
              </a:cxn>
              <a:cxn ang="0">
                <a:pos x="connsiteX28197" y="connsiteY28197"/>
              </a:cxn>
              <a:cxn ang="0">
                <a:pos x="connsiteX28198" y="connsiteY28198"/>
              </a:cxn>
              <a:cxn ang="0">
                <a:pos x="connsiteX28199" y="connsiteY28199"/>
              </a:cxn>
              <a:cxn ang="0">
                <a:pos x="connsiteX28200" y="connsiteY28200"/>
              </a:cxn>
              <a:cxn ang="0">
                <a:pos x="connsiteX28201" y="connsiteY28201"/>
              </a:cxn>
              <a:cxn ang="0">
                <a:pos x="connsiteX28202" y="connsiteY28202"/>
              </a:cxn>
              <a:cxn ang="0">
                <a:pos x="connsiteX28203" y="connsiteY28203"/>
              </a:cxn>
              <a:cxn ang="0">
                <a:pos x="connsiteX28204" y="connsiteY28204"/>
              </a:cxn>
              <a:cxn ang="0">
                <a:pos x="connsiteX28205" y="connsiteY28205"/>
              </a:cxn>
              <a:cxn ang="0">
                <a:pos x="connsiteX28206" y="connsiteY28206"/>
              </a:cxn>
              <a:cxn ang="0">
                <a:pos x="connsiteX28207" y="connsiteY28207"/>
              </a:cxn>
              <a:cxn ang="0">
                <a:pos x="connsiteX28208" y="connsiteY28208"/>
              </a:cxn>
              <a:cxn ang="0">
                <a:pos x="connsiteX28209" y="connsiteY28209"/>
              </a:cxn>
              <a:cxn ang="0">
                <a:pos x="connsiteX28210" y="connsiteY28210"/>
              </a:cxn>
              <a:cxn ang="0">
                <a:pos x="connsiteX28211" y="connsiteY28211"/>
              </a:cxn>
              <a:cxn ang="0">
                <a:pos x="connsiteX28212" y="connsiteY28212"/>
              </a:cxn>
              <a:cxn ang="0">
                <a:pos x="connsiteX28213" y="connsiteY28213"/>
              </a:cxn>
              <a:cxn ang="0">
                <a:pos x="connsiteX28214" y="connsiteY28214"/>
              </a:cxn>
              <a:cxn ang="0">
                <a:pos x="connsiteX28215" y="connsiteY28215"/>
              </a:cxn>
              <a:cxn ang="0">
                <a:pos x="connsiteX28216" y="connsiteY28216"/>
              </a:cxn>
              <a:cxn ang="0">
                <a:pos x="connsiteX28217" y="connsiteY28217"/>
              </a:cxn>
              <a:cxn ang="0">
                <a:pos x="connsiteX28218" y="connsiteY28218"/>
              </a:cxn>
              <a:cxn ang="0">
                <a:pos x="connsiteX28219" y="connsiteY28219"/>
              </a:cxn>
              <a:cxn ang="0">
                <a:pos x="connsiteX28220" y="connsiteY28220"/>
              </a:cxn>
              <a:cxn ang="0">
                <a:pos x="connsiteX28221" y="connsiteY28221"/>
              </a:cxn>
              <a:cxn ang="0">
                <a:pos x="connsiteX28222" y="connsiteY28222"/>
              </a:cxn>
              <a:cxn ang="0">
                <a:pos x="connsiteX28223" y="connsiteY28223"/>
              </a:cxn>
              <a:cxn ang="0">
                <a:pos x="connsiteX28224" y="connsiteY28224"/>
              </a:cxn>
              <a:cxn ang="0">
                <a:pos x="connsiteX28225" y="connsiteY28225"/>
              </a:cxn>
              <a:cxn ang="0">
                <a:pos x="connsiteX28226" y="connsiteY28226"/>
              </a:cxn>
              <a:cxn ang="0">
                <a:pos x="connsiteX28227" y="connsiteY28227"/>
              </a:cxn>
              <a:cxn ang="0">
                <a:pos x="connsiteX28228" y="connsiteY28228"/>
              </a:cxn>
              <a:cxn ang="0">
                <a:pos x="connsiteX28229" y="connsiteY28229"/>
              </a:cxn>
              <a:cxn ang="0">
                <a:pos x="connsiteX28230" y="connsiteY28230"/>
              </a:cxn>
              <a:cxn ang="0">
                <a:pos x="connsiteX28231" y="connsiteY28231"/>
              </a:cxn>
              <a:cxn ang="0">
                <a:pos x="connsiteX28232" y="connsiteY28232"/>
              </a:cxn>
              <a:cxn ang="0">
                <a:pos x="connsiteX28233" y="connsiteY28233"/>
              </a:cxn>
              <a:cxn ang="0">
                <a:pos x="connsiteX28234" y="connsiteY28234"/>
              </a:cxn>
              <a:cxn ang="0">
                <a:pos x="connsiteX28235" y="connsiteY28235"/>
              </a:cxn>
              <a:cxn ang="0">
                <a:pos x="connsiteX28236" y="connsiteY28236"/>
              </a:cxn>
              <a:cxn ang="0">
                <a:pos x="connsiteX28237" y="connsiteY28237"/>
              </a:cxn>
              <a:cxn ang="0">
                <a:pos x="connsiteX28238" y="connsiteY28238"/>
              </a:cxn>
              <a:cxn ang="0">
                <a:pos x="connsiteX28239" y="connsiteY28239"/>
              </a:cxn>
              <a:cxn ang="0">
                <a:pos x="connsiteX28240" y="connsiteY28240"/>
              </a:cxn>
              <a:cxn ang="0">
                <a:pos x="connsiteX28241" y="connsiteY28241"/>
              </a:cxn>
              <a:cxn ang="0">
                <a:pos x="connsiteX28242" y="connsiteY28242"/>
              </a:cxn>
              <a:cxn ang="0">
                <a:pos x="connsiteX28243" y="connsiteY28243"/>
              </a:cxn>
              <a:cxn ang="0">
                <a:pos x="connsiteX28244" y="connsiteY28244"/>
              </a:cxn>
              <a:cxn ang="0">
                <a:pos x="connsiteX28245" y="connsiteY28245"/>
              </a:cxn>
              <a:cxn ang="0">
                <a:pos x="connsiteX28246" y="connsiteY28246"/>
              </a:cxn>
              <a:cxn ang="0">
                <a:pos x="connsiteX28247" y="connsiteY28247"/>
              </a:cxn>
              <a:cxn ang="0">
                <a:pos x="connsiteX28248" y="connsiteY28248"/>
              </a:cxn>
              <a:cxn ang="0">
                <a:pos x="connsiteX28249" y="connsiteY28249"/>
              </a:cxn>
              <a:cxn ang="0">
                <a:pos x="connsiteX28250" y="connsiteY28250"/>
              </a:cxn>
              <a:cxn ang="0">
                <a:pos x="connsiteX28251" y="connsiteY28251"/>
              </a:cxn>
              <a:cxn ang="0">
                <a:pos x="connsiteX28252" y="connsiteY28252"/>
              </a:cxn>
              <a:cxn ang="0">
                <a:pos x="connsiteX28253" y="connsiteY28253"/>
              </a:cxn>
              <a:cxn ang="0">
                <a:pos x="connsiteX28254" y="connsiteY28254"/>
              </a:cxn>
              <a:cxn ang="0">
                <a:pos x="connsiteX28255" y="connsiteY28255"/>
              </a:cxn>
              <a:cxn ang="0">
                <a:pos x="connsiteX28256" y="connsiteY28256"/>
              </a:cxn>
              <a:cxn ang="0">
                <a:pos x="connsiteX28257" y="connsiteY28257"/>
              </a:cxn>
              <a:cxn ang="0">
                <a:pos x="connsiteX28258" y="connsiteY28258"/>
              </a:cxn>
              <a:cxn ang="0">
                <a:pos x="connsiteX28259" y="connsiteY28259"/>
              </a:cxn>
              <a:cxn ang="0">
                <a:pos x="connsiteX28260" y="connsiteY28260"/>
              </a:cxn>
              <a:cxn ang="0">
                <a:pos x="connsiteX28261" y="connsiteY28261"/>
              </a:cxn>
              <a:cxn ang="0">
                <a:pos x="connsiteX28262" y="connsiteY28262"/>
              </a:cxn>
              <a:cxn ang="0">
                <a:pos x="connsiteX28263" y="connsiteY28263"/>
              </a:cxn>
              <a:cxn ang="0">
                <a:pos x="connsiteX28264" y="connsiteY28264"/>
              </a:cxn>
              <a:cxn ang="0">
                <a:pos x="connsiteX28265" y="connsiteY28265"/>
              </a:cxn>
              <a:cxn ang="0">
                <a:pos x="connsiteX28266" y="connsiteY28266"/>
              </a:cxn>
              <a:cxn ang="0">
                <a:pos x="connsiteX28267" y="connsiteY28267"/>
              </a:cxn>
              <a:cxn ang="0">
                <a:pos x="connsiteX28268" y="connsiteY28268"/>
              </a:cxn>
              <a:cxn ang="0">
                <a:pos x="connsiteX28269" y="connsiteY28269"/>
              </a:cxn>
              <a:cxn ang="0">
                <a:pos x="connsiteX28270" y="connsiteY28270"/>
              </a:cxn>
              <a:cxn ang="0">
                <a:pos x="connsiteX28271" y="connsiteY28271"/>
              </a:cxn>
              <a:cxn ang="0">
                <a:pos x="connsiteX28272" y="connsiteY28272"/>
              </a:cxn>
              <a:cxn ang="0">
                <a:pos x="connsiteX28273" y="connsiteY28273"/>
              </a:cxn>
              <a:cxn ang="0">
                <a:pos x="connsiteX28274" y="connsiteY28274"/>
              </a:cxn>
              <a:cxn ang="0">
                <a:pos x="connsiteX28275" y="connsiteY28275"/>
              </a:cxn>
              <a:cxn ang="0">
                <a:pos x="connsiteX28276" y="connsiteY28276"/>
              </a:cxn>
              <a:cxn ang="0">
                <a:pos x="connsiteX28277" y="connsiteY28277"/>
              </a:cxn>
              <a:cxn ang="0">
                <a:pos x="connsiteX28278" y="connsiteY28278"/>
              </a:cxn>
              <a:cxn ang="0">
                <a:pos x="connsiteX28279" y="connsiteY28279"/>
              </a:cxn>
              <a:cxn ang="0">
                <a:pos x="connsiteX28280" y="connsiteY28280"/>
              </a:cxn>
              <a:cxn ang="0">
                <a:pos x="connsiteX28281" y="connsiteY28281"/>
              </a:cxn>
              <a:cxn ang="0">
                <a:pos x="connsiteX28282" y="connsiteY28282"/>
              </a:cxn>
              <a:cxn ang="0">
                <a:pos x="connsiteX28283" y="connsiteY28283"/>
              </a:cxn>
              <a:cxn ang="0">
                <a:pos x="connsiteX28284" y="connsiteY28284"/>
              </a:cxn>
              <a:cxn ang="0">
                <a:pos x="connsiteX28285" y="connsiteY28285"/>
              </a:cxn>
              <a:cxn ang="0">
                <a:pos x="connsiteX28286" y="connsiteY28286"/>
              </a:cxn>
              <a:cxn ang="0">
                <a:pos x="connsiteX28287" y="connsiteY28287"/>
              </a:cxn>
              <a:cxn ang="0">
                <a:pos x="connsiteX28288" y="connsiteY28288"/>
              </a:cxn>
              <a:cxn ang="0">
                <a:pos x="connsiteX28289" y="connsiteY28289"/>
              </a:cxn>
              <a:cxn ang="0">
                <a:pos x="connsiteX28290" y="connsiteY28290"/>
              </a:cxn>
              <a:cxn ang="0">
                <a:pos x="connsiteX28291" y="connsiteY28291"/>
              </a:cxn>
              <a:cxn ang="0">
                <a:pos x="connsiteX28292" y="connsiteY28292"/>
              </a:cxn>
              <a:cxn ang="0">
                <a:pos x="connsiteX28293" y="connsiteY28293"/>
              </a:cxn>
              <a:cxn ang="0">
                <a:pos x="connsiteX28294" y="connsiteY28294"/>
              </a:cxn>
              <a:cxn ang="0">
                <a:pos x="connsiteX28295" y="connsiteY28295"/>
              </a:cxn>
              <a:cxn ang="0">
                <a:pos x="connsiteX28296" y="connsiteY28296"/>
              </a:cxn>
              <a:cxn ang="0">
                <a:pos x="connsiteX28297" y="connsiteY28297"/>
              </a:cxn>
              <a:cxn ang="0">
                <a:pos x="connsiteX28298" y="connsiteY28298"/>
              </a:cxn>
              <a:cxn ang="0">
                <a:pos x="connsiteX28299" y="connsiteY28299"/>
              </a:cxn>
              <a:cxn ang="0">
                <a:pos x="connsiteX28300" y="connsiteY28300"/>
              </a:cxn>
              <a:cxn ang="0">
                <a:pos x="connsiteX28301" y="connsiteY28301"/>
              </a:cxn>
              <a:cxn ang="0">
                <a:pos x="connsiteX28302" y="connsiteY28302"/>
              </a:cxn>
              <a:cxn ang="0">
                <a:pos x="connsiteX28303" y="connsiteY28303"/>
              </a:cxn>
              <a:cxn ang="0">
                <a:pos x="connsiteX28304" y="connsiteY28304"/>
              </a:cxn>
              <a:cxn ang="0">
                <a:pos x="connsiteX28305" y="connsiteY28305"/>
              </a:cxn>
              <a:cxn ang="0">
                <a:pos x="connsiteX28306" y="connsiteY28306"/>
              </a:cxn>
              <a:cxn ang="0">
                <a:pos x="connsiteX28307" y="connsiteY28307"/>
              </a:cxn>
              <a:cxn ang="0">
                <a:pos x="connsiteX28308" y="connsiteY28308"/>
              </a:cxn>
              <a:cxn ang="0">
                <a:pos x="connsiteX28309" y="connsiteY28309"/>
              </a:cxn>
              <a:cxn ang="0">
                <a:pos x="connsiteX28310" y="connsiteY28310"/>
              </a:cxn>
              <a:cxn ang="0">
                <a:pos x="connsiteX28311" y="connsiteY28311"/>
              </a:cxn>
              <a:cxn ang="0">
                <a:pos x="connsiteX28312" y="connsiteY28312"/>
              </a:cxn>
              <a:cxn ang="0">
                <a:pos x="connsiteX28313" y="connsiteY28313"/>
              </a:cxn>
              <a:cxn ang="0">
                <a:pos x="connsiteX28314" y="connsiteY28314"/>
              </a:cxn>
              <a:cxn ang="0">
                <a:pos x="connsiteX28315" y="connsiteY28315"/>
              </a:cxn>
              <a:cxn ang="0">
                <a:pos x="connsiteX28316" y="connsiteY28316"/>
              </a:cxn>
              <a:cxn ang="0">
                <a:pos x="connsiteX28317" y="connsiteY28317"/>
              </a:cxn>
              <a:cxn ang="0">
                <a:pos x="connsiteX28318" y="connsiteY28318"/>
              </a:cxn>
              <a:cxn ang="0">
                <a:pos x="connsiteX28319" y="connsiteY28319"/>
              </a:cxn>
              <a:cxn ang="0">
                <a:pos x="connsiteX28320" y="connsiteY28320"/>
              </a:cxn>
              <a:cxn ang="0">
                <a:pos x="connsiteX28321" y="connsiteY28321"/>
              </a:cxn>
              <a:cxn ang="0">
                <a:pos x="connsiteX28322" y="connsiteY28322"/>
              </a:cxn>
              <a:cxn ang="0">
                <a:pos x="connsiteX28323" y="connsiteY28323"/>
              </a:cxn>
              <a:cxn ang="0">
                <a:pos x="connsiteX28324" y="connsiteY28324"/>
              </a:cxn>
              <a:cxn ang="0">
                <a:pos x="connsiteX28325" y="connsiteY28325"/>
              </a:cxn>
              <a:cxn ang="0">
                <a:pos x="connsiteX28326" y="connsiteY28326"/>
              </a:cxn>
              <a:cxn ang="0">
                <a:pos x="connsiteX28327" y="connsiteY28327"/>
              </a:cxn>
              <a:cxn ang="0">
                <a:pos x="connsiteX28328" y="connsiteY28328"/>
              </a:cxn>
              <a:cxn ang="0">
                <a:pos x="connsiteX28329" y="connsiteY28329"/>
              </a:cxn>
              <a:cxn ang="0">
                <a:pos x="connsiteX28330" y="connsiteY28330"/>
              </a:cxn>
              <a:cxn ang="0">
                <a:pos x="connsiteX28331" y="connsiteY28331"/>
              </a:cxn>
              <a:cxn ang="0">
                <a:pos x="connsiteX28332" y="connsiteY28332"/>
              </a:cxn>
              <a:cxn ang="0">
                <a:pos x="connsiteX28333" y="connsiteY28333"/>
              </a:cxn>
              <a:cxn ang="0">
                <a:pos x="connsiteX28334" y="connsiteY28334"/>
              </a:cxn>
              <a:cxn ang="0">
                <a:pos x="connsiteX28335" y="connsiteY28335"/>
              </a:cxn>
              <a:cxn ang="0">
                <a:pos x="connsiteX28336" y="connsiteY28336"/>
              </a:cxn>
              <a:cxn ang="0">
                <a:pos x="connsiteX28337" y="connsiteY28337"/>
              </a:cxn>
              <a:cxn ang="0">
                <a:pos x="connsiteX28338" y="connsiteY28338"/>
              </a:cxn>
              <a:cxn ang="0">
                <a:pos x="connsiteX28339" y="connsiteY28339"/>
              </a:cxn>
              <a:cxn ang="0">
                <a:pos x="connsiteX28340" y="connsiteY28340"/>
              </a:cxn>
              <a:cxn ang="0">
                <a:pos x="connsiteX28341" y="connsiteY28341"/>
              </a:cxn>
              <a:cxn ang="0">
                <a:pos x="connsiteX28342" y="connsiteY28342"/>
              </a:cxn>
              <a:cxn ang="0">
                <a:pos x="connsiteX28343" y="connsiteY28343"/>
              </a:cxn>
              <a:cxn ang="0">
                <a:pos x="connsiteX28344" y="connsiteY28344"/>
              </a:cxn>
              <a:cxn ang="0">
                <a:pos x="connsiteX28345" y="connsiteY28345"/>
              </a:cxn>
              <a:cxn ang="0">
                <a:pos x="connsiteX28346" y="connsiteY28346"/>
              </a:cxn>
              <a:cxn ang="0">
                <a:pos x="connsiteX28347" y="connsiteY28347"/>
              </a:cxn>
              <a:cxn ang="0">
                <a:pos x="connsiteX28348" y="connsiteY28348"/>
              </a:cxn>
              <a:cxn ang="0">
                <a:pos x="connsiteX28349" y="connsiteY28349"/>
              </a:cxn>
              <a:cxn ang="0">
                <a:pos x="connsiteX28350" y="connsiteY28350"/>
              </a:cxn>
              <a:cxn ang="0">
                <a:pos x="connsiteX28351" y="connsiteY28351"/>
              </a:cxn>
              <a:cxn ang="0">
                <a:pos x="connsiteX28352" y="connsiteY28352"/>
              </a:cxn>
              <a:cxn ang="0">
                <a:pos x="connsiteX28353" y="connsiteY28353"/>
              </a:cxn>
              <a:cxn ang="0">
                <a:pos x="connsiteX28354" y="connsiteY28354"/>
              </a:cxn>
              <a:cxn ang="0">
                <a:pos x="connsiteX28355" y="connsiteY28355"/>
              </a:cxn>
              <a:cxn ang="0">
                <a:pos x="connsiteX28356" y="connsiteY28356"/>
              </a:cxn>
              <a:cxn ang="0">
                <a:pos x="connsiteX28357" y="connsiteY28357"/>
              </a:cxn>
              <a:cxn ang="0">
                <a:pos x="connsiteX28358" y="connsiteY28358"/>
              </a:cxn>
              <a:cxn ang="0">
                <a:pos x="connsiteX28359" y="connsiteY28359"/>
              </a:cxn>
              <a:cxn ang="0">
                <a:pos x="connsiteX28360" y="connsiteY28360"/>
              </a:cxn>
              <a:cxn ang="0">
                <a:pos x="connsiteX28361" y="connsiteY28361"/>
              </a:cxn>
              <a:cxn ang="0">
                <a:pos x="connsiteX28362" y="connsiteY28362"/>
              </a:cxn>
              <a:cxn ang="0">
                <a:pos x="connsiteX28363" y="connsiteY28363"/>
              </a:cxn>
              <a:cxn ang="0">
                <a:pos x="connsiteX28364" y="connsiteY28364"/>
              </a:cxn>
              <a:cxn ang="0">
                <a:pos x="connsiteX28365" y="connsiteY28365"/>
              </a:cxn>
              <a:cxn ang="0">
                <a:pos x="connsiteX28366" y="connsiteY28366"/>
              </a:cxn>
              <a:cxn ang="0">
                <a:pos x="connsiteX28367" y="connsiteY28367"/>
              </a:cxn>
              <a:cxn ang="0">
                <a:pos x="connsiteX28368" y="connsiteY28368"/>
              </a:cxn>
              <a:cxn ang="0">
                <a:pos x="connsiteX28369" y="connsiteY28369"/>
              </a:cxn>
              <a:cxn ang="0">
                <a:pos x="connsiteX28370" y="connsiteY28370"/>
              </a:cxn>
              <a:cxn ang="0">
                <a:pos x="connsiteX28371" y="connsiteY28371"/>
              </a:cxn>
              <a:cxn ang="0">
                <a:pos x="connsiteX28372" y="connsiteY28372"/>
              </a:cxn>
              <a:cxn ang="0">
                <a:pos x="connsiteX28373" y="connsiteY28373"/>
              </a:cxn>
              <a:cxn ang="0">
                <a:pos x="connsiteX28374" y="connsiteY28374"/>
              </a:cxn>
              <a:cxn ang="0">
                <a:pos x="connsiteX28375" y="connsiteY28375"/>
              </a:cxn>
              <a:cxn ang="0">
                <a:pos x="connsiteX28376" y="connsiteY28376"/>
              </a:cxn>
              <a:cxn ang="0">
                <a:pos x="connsiteX28377" y="connsiteY28377"/>
              </a:cxn>
              <a:cxn ang="0">
                <a:pos x="connsiteX28378" y="connsiteY28378"/>
              </a:cxn>
              <a:cxn ang="0">
                <a:pos x="connsiteX28379" y="connsiteY28379"/>
              </a:cxn>
              <a:cxn ang="0">
                <a:pos x="connsiteX28380" y="connsiteY28380"/>
              </a:cxn>
              <a:cxn ang="0">
                <a:pos x="connsiteX28381" y="connsiteY28381"/>
              </a:cxn>
              <a:cxn ang="0">
                <a:pos x="connsiteX28382" y="connsiteY28382"/>
              </a:cxn>
              <a:cxn ang="0">
                <a:pos x="connsiteX28383" y="connsiteY28383"/>
              </a:cxn>
              <a:cxn ang="0">
                <a:pos x="connsiteX28384" y="connsiteY28384"/>
              </a:cxn>
              <a:cxn ang="0">
                <a:pos x="connsiteX28385" y="connsiteY28385"/>
              </a:cxn>
              <a:cxn ang="0">
                <a:pos x="connsiteX28386" y="connsiteY28386"/>
              </a:cxn>
              <a:cxn ang="0">
                <a:pos x="connsiteX28387" y="connsiteY28387"/>
              </a:cxn>
              <a:cxn ang="0">
                <a:pos x="connsiteX28388" y="connsiteY28388"/>
              </a:cxn>
              <a:cxn ang="0">
                <a:pos x="connsiteX28389" y="connsiteY28389"/>
              </a:cxn>
              <a:cxn ang="0">
                <a:pos x="connsiteX28390" y="connsiteY28390"/>
              </a:cxn>
              <a:cxn ang="0">
                <a:pos x="connsiteX28391" y="connsiteY28391"/>
              </a:cxn>
              <a:cxn ang="0">
                <a:pos x="connsiteX28392" y="connsiteY28392"/>
              </a:cxn>
              <a:cxn ang="0">
                <a:pos x="connsiteX28393" y="connsiteY28393"/>
              </a:cxn>
              <a:cxn ang="0">
                <a:pos x="connsiteX28394" y="connsiteY28394"/>
              </a:cxn>
              <a:cxn ang="0">
                <a:pos x="connsiteX28395" y="connsiteY28395"/>
              </a:cxn>
              <a:cxn ang="0">
                <a:pos x="connsiteX28396" y="connsiteY28396"/>
              </a:cxn>
              <a:cxn ang="0">
                <a:pos x="connsiteX28397" y="connsiteY28397"/>
              </a:cxn>
              <a:cxn ang="0">
                <a:pos x="connsiteX28398" y="connsiteY28398"/>
              </a:cxn>
              <a:cxn ang="0">
                <a:pos x="connsiteX28399" y="connsiteY28399"/>
              </a:cxn>
              <a:cxn ang="0">
                <a:pos x="connsiteX28400" y="connsiteY28400"/>
              </a:cxn>
              <a:cxn ang="0">
                <a:pos x="connsiteX28401" y="connsiteY28401"/>
              </a:cxn>
              <a:cxn ang="0">
                <a:pos x="connsiteX28402" y="connsiteY28402"/>
              </a:cxn>
              <a:cxn ang="0">
                <a:pos x="connsiteX28403" y="connsiteY28403"/>
              </a:cxn>
              <a:cxn ang="0">
                <a:pos x="connsiteX28404" y="connsiteY28404"/>
              </a:cxn>
              <a:cxn ang="0">
                <a:pos x="connsiteX28405" y="connsiteY28405"/>
              </a:cxn>
              <a:cxn ang="0">
                <a:pos x="connsiteX28406" y="connsiteY28406"/>
              </a:cxn>
              <a:cxn ang="0">
                <a:pos x="connsiteX28407" y="connsiteY28407"/>
              </a:cxn>
              <a:cxn ang="0">
                <a:pos x="connsiteX28408" y="connsiteY28408"/>
              </a:cxn>
              <a:cxn ang="0">
                <a:pos x="connsiteX28409" y="connsiteY28409"/>
              </a:cxn>
              <a:cxn ang="0">
                <a:pos x="connsiteX28410" y="connsiteY28410"/>
              </a:cxn>
              <a:cxn ang="0">
                <a:pos x="connsiteX28411" y="connsiteY28411"/>
              </a:cxn>
              <a:cxn ang="0">
                <a:pos x="connsiteX28412" y="connsiteY28412"/>
              </a:cxn>
              <a:cxn ang="0">
                <a:pos x="connsiteX28413" y="connsiteY28413"/>
              </a:cxn>
              <a:cxn ang="0">
                <a:pos x="connsiteX28414" y="connsiteY28414"/>
              </a:cxn>
              <a:cxn ang="0">
                <a:pos x="connsiteX28415" y="connsiteY28415"/>
              </a:cxn>
              <a:cxn ang="0">
                <a:pos x="connsiteX28416" y="connsiteY28416"/>
              </a:cxn>
              <a:cxn ang="0">
                <a:pos x="connsiteX28417" y="connsiteY28417"/>
              </a:cxn>
              <a:cxn ang="0">
                <a:pos x="connsiteX28418" y="connsiteY28418"/>
              </a:cxn>
              <a:cxn ang="0">
                <a:pos x="connsiteX28419" y="connsiteY28419"/>
              </a:cxn>
              <a:cxn ang="0">
                <a:pos x="connsiteX28420" y="connsiteY28420"/>
              </a:cxn>
              <a:cxn ang="0">
                <a:pos x="connsiteX28421" y="connsiteY28421"/>
              </a:cxn>
              <a:cxn ang="0">
                <a:pos x="connsiteX28422" y="connsiteY28422"/>
              </a:cxn>
              <a:cxn ang="0">
                <a:pos x="connsiteX28423" y="connsiteY28423"/>
              </a:cxn>
              <a:cxn ang="0">
                <a:pos x="connsiteX28424" y="connsiteY28424"/>
              </a:cxn>
              <a:cxn ang="0">
                <a:pos x="connsiteX28425" y="connsiteY28425"/>
              </a:cxn>
              <a:cxn ang="0">
                <a:pos x="connsiteX28426" y="connsiteY28426"/>
              </a:cxn>
              <a:cxn ang="0">
                <a:pos x="connsiteX28427" y="connsiteY28427"/>
              </a:cxn>
              <a:cxn ang="0">
                <a:pos x="connsiteX28428" y="connsiteY28428"/>
              </a:cxn>
              <a:cxn ang="0">
                <a:pos x="connsiteX28429" y="connsiteY28429"/>
              </a:cxn>
              <a:cxn ang="0">
                <a:pos x="connsiteX28430" y="connsiteY28430"/>
              </a:cxn>
              <a:cxn ang="0">
                <a:pos x="connsiteX28431" y="connsiteY28431"/>
              </a:cxn>
              <a:cxn ang="0">
                <a:pos x="connsiteX28432" y="connsiteY28432"/>
              </a:cxn>
              <a:cxn ang="0">
                <a:pos x="connsiteX28433" y="connsiteY28433"/>
              </a:cxn>
              <a:cxn ang="0">
                <a:pos x="connsiteX28434" y="connsiteY28434"/>
              </a:cxn>
              <a:cxn ang="0">
                <a:pos x="connsiteX28435" y="connsiteY28435"/>
              </a:cxn>
              <a:cxn ang="0">
                <a:pos x="connsiteX28436" y="connsiteY28436"/>
              </a:cxn>
              <a:cxn ang="0">
                <a:pos x="connsiteX28437" y="connsiteY28437"/>
              </a:cxn>
              <a:cxn ang="0">
                <a:pos x="connsiteX28438" y="connsiteY28438"/>
              </a:cxn>
              <a:cxn ang="0">
                <a:pos x="connsiteX28439" y="connsiteY28439"/>
              </a:cxn>
              <a:cxn ang="0">
                <a:pos x="connsiteX28440" y="connsiteY28440"/>
              </a:cxn>
              <a:cxn ang="0">
                <a:pos x="connsiteX28441" y="connsiteY28441"/>
              </a:cxn>
              <a:cxn ang="0">
                <a:pos x="connsiteX28442" y="connsiteY28442"/>
              </a:cxn>
              <a:cxn ang="0">
                <a:pos x="connsiteX28443" y="connsiteY28443"/>
              </a:cxn>
              <a:cxn ang="0">
                <a:pos x="connsiteX28444" y="connsiteY28444"/>
              </a:cxn>
              <a:cxn ang="0">
                <a:pos x="connsiteX28445" y="connsiteY28445"/>
              </a:cxn>
              <a:cxn ang="0">
                <a:pos x="connsiteX28446" y="connsiteY28446"/>
              </a:cxn>
              <a:cxn ang="0">
                <a:pos x="connsiteX28447" y="connsiteY28447"/>
              </a:cxn>
              <a:cxn ang="0">
                <a:pos x="connsiteX28448" y="connsiteY28448"/>
              </a:cxn>
              <a:cxn ang="0">
                <a:pos x="connsiteX28449" y="connsiteY28449"/>
              </a:cxn>
              <a:cxn ang="0">
                <a:pos x="connsiteX28450" y="connsiteY28450"/>
              </a:cxn>
              <a:cxn ang="0">
                <a:pos x="connsiteX28451" y="connsiteY28451"/>
              </a:cxn>
              <a:cxn ang="0">
                <a:pos x="connsiteX28452" y="connsiteY28452"/>
              </a:cxn>
              <a:cxn ang="0">
                <a:pos x="connsiteX28453" y="connsiteY28453"/>
              </a:cxn>
              <a:cxn ang="0">
                <a:pos x="connsiteX28454" y="connsiteY28454"/>
              </a:cxn>
              <a:cxn ang="0">
                <a:pos x="connsiteX28455" y="connsiteY28455"/>
              </a:cxn>
              <a:cxn ang="0">
                <a:pos x="connsiteX28456" y="connsiteY28456"/>
              </a:cxn>
              <a:cxn ang="0">
                <a:pos x="connsiteX28457" y="connsiteY28457"/>
              </a:cxn>
              <a:cxn ang="0">
                <a:pos x="connsiteX28458" y="connsiteY28458"/>
              </a:cxn>
              <a:cxn ang="0">
                <a:pos x="connsiteX28459" y="connsiteY28459"/>
              </a:cxn>
              <a:cxn ang="0">
                <a:pos x="connsiteX28460" y="connsiteY28460"/>
              </a:cxn>
              <a:cxn ang="0">
                <a:pos x="connsiteX28461" y="connsiteY28461"/>
              </a:cxn>
              <a:cxn ang="0">
                <a:pos x="connsiteX28462" y="connsiteY28462"/>
              </a:cxn>
              <a:cxn ang="0">
                <a:pos x="connsiteX28463" y="connsiteY28463"/>
              </a:cxn>
              <a:cxn ang="0">
                <a:pos x="connsiteX28464" y="connsiteY28464"/>
              </a:cxn>
              <a:cxn ang="0">
                <a:pos x="connsiteX28465" y="connsiteY28465"/>
              </a:cxn>
              <a:cxn ang="0">
                <a:pos x="connsiteX28466" y="connsiteY28466"/>
              </a:cxn>
              <a:cxn ang="0">
                <a:pos x="connsiteX28467" y="connsiteY28467"/>
              </a:cxn>
              <a:cxn ang="0">
                <a:pos x="connsiteX28468" y="connsiteY28468"/>
              </a:cxn>
              <a:cxn ang="0">
                <a:pos x="connsiteX28469" y="connsiteY28469"/>
              </a:cxn>
              <a:cxn ang="0">
                <a:pos x="connsiteX28470" y="connsiteY28470"/>
              </a:cxn>
              <a:cxn ang="0">
                <a:pos x="connsiteX28471" y="connsiteY28471"/>
              </a:cxn>
              <a:cxn ang="0">
                <a:pos x="connsiteX28472" y="connsiteY28472"/>
              </a:cxn>
              <a:cxn ang="0">
                <a:pos x="connsiteX28473" y="connsiteY28473"/>
              </a:cxn>
              <a:cxn ang="0">
                <a:pos x="connsiteX28474" y="connsiteY28474"/>
              </a:cxn>
              <a:cxn ang="0">
                <a:pos x="connsiteX28475" y="connsiteY28475"/>
              </a:cxn>
              <a:cxn ang="0">
                <a:pos x="connsiteX28476" y="connsiteY28476"/>
              </a:cxn>
              <a:cxn ang="0">
                <a:pos x="connsiteX28477" y="connsiteY28477"/>
              </a:cxn>
              <a:cxn ang="0">
                <a:pos x="connsiteX28478" y="connsiteY28478"/>
              </a:cxn>
              <a:cxn ang="0">
                <a:pos x="connsiteX28479" y="connsiteY28479"/>
              </a:cxn>
              <a:cxn ang="0">
                <a:pos x="connsiteX28480" y="connsiteY28480"/>
              </a:cxn>
              <a:cxn ang="0">
                <a:pos x="connsiteX28481" y="connsiteY28481"/>
              </a:cxn>
              <a:cxn ang="0">
                <a:pos x="connsiteX28482" y="connsiteY28482"/>
              </a:cxn>
              <a:cxn ang="0">
                <a:pos x="connsiteX28483" y="connsiteY28483"/>
              </a:cxn>
              <a:cxn ang="0">
                <a:pos x="connsiteX28484" y="connsiteY28484"/>
              </a:cxn>
              <a:cxn ang="0">
                <a:pos x="connsiteX28485" y="connsiteY28485"/>
              </a:cxn>
              <a:cxn ang="0">
                <a:pos x="connsiteX28486" y="connsiteY28486"/>
              </a:cxn>
              <a:cxn ang="0">
                <a:pos x="connsiteX28487" y="connsiteY28487"/>
              </a:cxn>
              <a:cxn ang="0">
                <a:pos x="connsiteX28488" y="connsiteY28488"/>
              </a:cxn>
              <a:cxn ang="0">
                <a:pos x="connsiteX28489" y="connsiteY28489"/>
              </a:cxn>
              <a:cxn ang="0">
                <a:pos x="connsiteX28490" y="connsiteY28490"/>
              </a:cxn>
              <a:cxn ang="0">
                <a:pos x="connsiteX28491" y="connsiteY28491"/>
              </a:cxn>
              <a:cxn ang="0">
                <a:pos x="connsiteX28492" y="connsiteY28492"/>
              </a:cxn>
              <a:cxn ang="0">
                <a:pos x="connsiteX28493" y="connsiteY28493"/>
              </a:cxn>
              <a:cxn ang="0">
                <a:pos x="connsiteX28494" y="connsiteY28494"/>
              </a:cxn>
              <a:cxn ang="0">
                <a:pos x="connsiteX28495" y="connsiteY28495"/>
              </a:cxn>
              <a:cxn ang="0">
                <a:pos x="connsiteX28496" y="connsiteY28496"/>
              </a:cxn>
              <a:cxn ang="0">
                <a:pos x="connsiteX28497" y="connsiteY28497"/>
              </a:cxn>
              <a:cxn ang="0">
                <a:pos x="connsiteX28498" y="connsiteY28498"/>
              </a:cxn>
              <a:cxn ang="0">
                <a:pos x="connsiteX28499" y="connsiteY28499"/>
              </a:cxn>
              <a:cxn ang="0">
                <a:pos x="connsiteX28500" y="connsiteY28500"/>
              </a:cxn>
              <a:cxn ang="0">
                <a:pos x="connsiteX28501" y="connsiteY28501"/>
              </a:cxn>
              <a:cxn ang="0">
                <a:pos x="connsiteX28502" y="connsiteY28502"/>
              </a:cxn>
              <a:cxn ang="0">
                <a:pos x="connsiteX28503" y="connsiteY28503"/>
              </a:cxn>
              <a:cxn ang="0">
                <a:pos x="connsiteX28504" y="connsiteY28504"/>
              </a:cxn>
              <a:cxn ang="0">
                <a:pos x="connsiteX28505" y="connsiteY28505"/>
              </a:cxn>
              <a:cxn ang="0">
                <a:pos x="connsiteX28506" y="connsiteY28506"/>
              </a:cxn>
              <a:cxn ang="0">
                <a:pos x="connsiteX28507" y="connsiteY28507"/>
              </a:cxn>
              <a:cxn ang="0">
                <a:pos x="connsiteX28508" y="connsiteY28508"/>
              </a:cxn>
              <a:cxn ang="0">
                <a:pos x="connsiteX28509" y="connsiteY28509"/>
              </a:cxn>
              <a:cxn ang="0">
                <a:pos x="connsiteX28510" y="connsiteY28510"/>
              </a:cxn>
              <a:cxn ang="0">
                <a:pos x="connsiteX28511" y="connsiteY28511"/>
              </a:cxn>
              <a:cxn ang="0">
                <a:pos x="connsiteX28512" y="connsiteY28512"/>
              </a:cxn>
              <a:cxn ang="0">
                <a:pos x="connsiteX28513" y="connsiteY28513"/>
              </a:cxn>
              <a:cxn ang="0">
                <a:pos x="connsiteX28514" y="connsiteY28514"/>
              </a:cxn>
              <a:cxn ang="0">
                <a:pos x="connsiteX28515" y="connsiteY28515"/>
              </a:cxn>
              <a:cxn ang="0">
                <a:pos x="connsiteX28516" y="connsiteY28516"/>
              </a:cxn>
              <a:cxn ang="0">
                <a:pos x="connsiteX28517" y="connsiteY28517"/>
              </a:cxn>
              <a:cxn ang="0">
                <a:pos x="connsiteX28518" y="connsiteY28518"/>
              </a:cxn>
              <a:cxn ang="0">
                <a:pos x="connsiteX28519" y="connsiteY28519"/>
              </a:cxn>
              <a:cxn ang="0">
                <a:pos x="connsiteX28520" y="connsiteY28520"/>
              </a:cxn>
              <a:cxn ang="0">
                <a:pos x="connsiteX28521" y="connsiteY28521"/>
              </a:cxn>
              <a:cxn ang="0">
                <a:pos x="connsiteX28522" y="connsiteY28522"/>
              </a:cxn>
              <a:cxn ang="0">
                <a:pos x="connsiteX28523" y="connsiteY28523"/>
              </a:cxn>
              <a:cxn ang="0">
                <a:pos x="connsiteX28524" y="connsiteY28524"/>
              </a:cxn>
              <a:cxn ang="0">
                <a:pos x="connsiteX28525" y="connsiteY28525"/>
              </a:cxn>
              <a:cxn ang="0">
                <a:pos x="connsiteX28526" y="connsiteY28526"/>
              </a:cxn>
              <a:cxn ang="0">
                <a:pos x="connsiteX28527" y="connsiteY28527"/>
              </a:cxn>
              <a:cxn ang="0">
                <a:pos x="connsiteX28528" y="connsiteY28528"/>
              </a:cxn>
              <a:cxn ang="0">
                <a:pos x="connsiteX28529" y="connsiteY28529"/>
              </a:cxn>
              <a:cxn ang="0">
                <a:pos x="connsiteX28530" y="connsiteY28530"/>
              </a:cxn>
              <a:cxn ang="0">
                <a:pos x="connsiteX28531" y="connsiteY28531"/>
              </a:cxn>
              <a:cxn ang="0">
                <a:pos x="connsiteX28532" y="connsiteY28532"/>
              </a:cxn>
              <a:cxn ang="0">
                <a:pos x="connsiteX28533" y="connsiteY28533"/>
              </a:cxn>
              <a:cxn ang="0">
                <a:pos x="connsiteX28534" y="connsiteY28534"/>
              </a:cxn>
              <a:cxn ang="0">
                <a:pos x="connsiteX28535" y="connsiteY28535"/>
              </a:cxn>
              <a:cxn ang="0">
                <a:pos x="connsiteX28536" y="connsiteY28536"/>
              </a:cxn>
              <a:cxn ang="0">
                <a:pos x="connsiteX28537" y="connsiteY28537"/>
              </a:cxn>
              <a:cxn ang="0">
                <a:pos x="connsiteX28538" y="connsiteY28538"/>
              </a:cxn>
              <a:cxn ang="0">
                <a:pos x="connsiteX28539" y="connsiteY28539"/>
              </a:cxn>
              <a:cxn ang="0">
                <a:pos x="connsiteX28540" y="connsiteY28540"/>
              </a:cxn>
              <a:cxn ang="0">
                <a:pos x="connsiteX28541" y="connsiteY28541"/>
              </a:cxn>
              <a:cxn ang="0">
                <a:pos x="connsiteX28542" y="connsiteY28542"/>
              </a:cxn>
              <a:cxn ang="0">
                <a:pos x="connsiteX28543" y="connsiteY28543"/>
              </a:cxn>
              <a:cxn ang="0">
                <a:pos x="connsiteX28544" y="connsiteY28544"/>
              </a:cxn>
              <a:cxn ang="0">
                <a:pos x="connsiteX28545" y="connsiteY28545"/>
              </a:cxn>
              <a:cxn ang="0">
                <a:pos x="connsiteX28546" y="connsiteY28546"/>
              </a:cxn>
              <a:cxn ang="0">
                <a:pos x="connsiteX28547" y="connsiteY28547"/>
              </a:cxn>
              <a:cxn ang="0">
                <a:pos x="connsiteX28548" y="connsiteY28548"/>
              </a:cxn>
              <a:cxn ang="0">
                <a:pos x="connsiteX28549" y="connsiteY28549"/>
              </a:cxn>
              <a:cxn ang="0">
                <a:pos x="connsiteX28550" y="connsiteY28550"/>
              </a:cxn>
              <a:cxn ang="0">
                <a:pos x="connsiteX28551" y="connsiteY28551"/>
              </a:cxn>
              <a:cxn ang="0">
                <a:pos x="connsiteX28552" y="connsiteY28552"/>
              </a:cxn>
              <a:cxn ang="0">
                <a:pos x="connsiteX28553" y="connsiteY28553"/>
              </a:cxn>
              <a:cxn ang="0">
                <a:pos x="connsiteX28554" y="connsiteY28554"/>
              </a:cxn>
              <a:cxn ang="0">
                <a:pos x="connsiteX28555" y="connsiteY28555"/>
              </a:cxn>
              <a:cxn ang="0">
                <a:pos x="connsiteX28556" y="connsiteY28556"/>
              </a:cxn>
              <a:cxn ang="0">
                <a:pos x="connsiteX28557" y="connsiteY28557"/>
              </a:cxn>
              <a:cxn ang="0">
                <a:pos x="connsiteX28558" y="connsiteY28558"/>
              </a:cxn>
              <a:cxn ang="0">
                <a:pos x="connsiteX28559" y="connsiteY28559"/>
              </a:cxn>
              <a:cxn ang="0">
                <a:pos x="connsiteX28560" y="connsiteY28560"/>
              </a:cxn>
              <a:cxn ang="0">
                <a:pos x="connsiteX28561" y="connsiteY28561"/>
              </a:cxn>
              <a:cxn ang="0">
                <a:pos x="connsiteX28562" y="connsiteY28562"/>
              </a:cxn>
              <a:cxn ang="0">
                <a:pos x="connsiteX28563" y="connsiteY28563"/>
              </a:cxn>
              <a:cxn ang="0">
                <a:pos x="connsiteX28564" y="connsiteY28564"/>
              </a:cxn>
              <a:cxn ang="0">
                <a:pos x="connsiteX28565" y="connsiteY28565"/>
              </a:cxn>
              <a:cxn ang="0">
                <a:pos x="connsiteX28566" y="connsiteY28566"/>
              </a:cxn>
              <a:cxn ang="0">
                <a:pos x="connsiteX28567" y="connsiteY28567"/>
              </a:cxn>
              <a:cxn ang="0">
                <a:pos x="connsiteX28568" y="connsiteY28568"/>
              </a:cxn>
              <a:cxn ang="0">
                <a:pos x="connsiteX28569" y="connsiteY28569"/>
              </a:cxn>
              <a:cxn ang="0">
                <a:pos x="connsiteX28570" y="connsiteY28570"/>
              </a:cxn>
              <a:cxn ang="0">
                <a:pos x="connsiteX28571" y="connsiteY28571"/>
              </a:cxn>
              <a:cxn ang="0">
                <a:pos x="connsiteX28572" y="connsiteY28572"/>
              </a:cxn>
              <a:cxn ang="0">
                <a:pos x="connsiteX28573" y="connsiteY28573"/>
              </a:cxn>
              <a:cxn ang="0">
                <a:pos x="connsiteX28574" y="connsiteY28574"/>
              </a:cxn>
              <a:cxn ang="0">
                <a:pos x="connsiteX28575" y="connsiteY28575"/>
              </a:cxn>
              <a:cxn ang="0">
                <a:pos x="connsiteX28576" y="connsiteY28576"/>
              </a:cxn>
              <a:cxn ang="0">
                <a:pos x="connsiteX28577" y="connsiteY28577"/>
              </a:cxn>
              <a:cxn ang="0">
                <a:pos x="connsiteX28578" y="connsiteY28578"/>
              </a:cxn>
              <a:cxn ang="0">
                <a:pos x="connsiteX28579" y="connsiteY28579"/>
              </a:cxn>
              <a:cxn ang="0">
                <a:pos x="connsiteX28580" y="connsiteY28580"/>
              </a:cxn>
              <a:cxn ang="0">
                <a:pos x="connsiteX28581" y="connsiteY28581"/>
              </a:cxn>
              <a:cxn ang="0">
                <a:pos x="connsiteX28582" y="connsiteY28582"/>
              </a:cxn>
              <a:cxn ang="0">
                <a:pos x="connsiteX28583" y="connsiteY28583"/>
              </a:cxn>
              <a:cxn ang="0">
                <a:pos x="connsiteX28584" y="connsiteY28584"/>
              </a:cxn>
              <a:cxn ang="0">
                <a:pos x="connsiteX28585" y="connsiteY28585"/>
              </a:cxn>
              <a:cxn ang="0">
                <a:pos x="connsiteX28586" y="connsiteY28586"/>
              </a:cxn>
              <a:cxn ang="0">
                <a:pos x="connsiteX28587" y="connsiteY28587"/>
              </a:cxn>
              <a:cxn ang="0">
                <a:pos x="connsiteX28588" y="connsiteY28588"/>
              </a:cxn>
              <a:cxn ang="0">
                <a:pos x="connsiteX28589" y="connsiteY28589"/>
              </a:cxn>
              <a:cxn ang="0">
                <a:pos x="connsiteX28590" y="connsiteY28590"/>
              </a:cxn>
              <a:cxn ang="0">
                <a:pos x="connsiteX28591" y="connsiteY28591"/>
              </a:cxn>
              <a:cxn ang="0">
                <a:pos x="connsiteX28592" y="connsiteY28592"/>
              </a:cxn>
              <a:cxn ang="0">
                <a:pos x="connsiteX28593" y="connsiteY28593"/>
              </a:cxn>
              <a:cxn ang="0">
                <a:pos x="connsiteX28594" y="connsiteY28594"/>
              </a:cxn>
              <a:cxn ang="0">
                <a:pos x="connsiteX28595" y="connsiteY28595"/>
              </a:cxn>
              <a:cxn ang="0">
                <a:pos x="connsiteX28596" y="connsiteY28596"/>
              </a:cxn>
              <a:cxn ang="0">
                <a:pos x="connsiteX28597" y="connsiteY28597"/>
              </a:cxn>
              <a:cxn ang="0">
                <a:pos x="connsiteX28598" y="connsiteY28598"/>
              </a:cxn>
              <a:cxn ang="0">
                <a:pos x="connsiteX28599" y="connsiteY28599"/>
              </a:cxn>
              <a:cxn ang="0">
                <a:pos x="connsiteX28600" y="connsiteY28600"/>
              </a:cxn>
              <a:cxn ang="0">
                <a:pos x="connsiteX28601" y="connsiteY28601"/>
              </a:cxn>
              <a:cxn ang="0">
                <a:pos x="connsiteX28602" y="connsiteY28602"/>
              </a:cxn>
              <a:cxn ang="0">
                <a:pos x="connsiteX28603" y="connsiteY28603"/>
              </a:cxn>
              <a:cxn ang="0">
                <a:pos x="connsiteX28604" y="connsiteY28604"/>
              </a:cxn>
              <a:cxn ang="0">
                <a:pos x="connsiteX28605" y="connsiteY28605"/>
              </a:cxn>
              <a:cxn ang="0">
                <a:pos x="connsiteX28606" y="connsiteY28606"/>
              </a:cxn>
              <a:cxn ang="0">
                <a:pos x="connsiteX28607" y="connsiteY28607"/>
              </a:cxn>
              <a:cxn ang="0">
                <a:pos x="connsiteX28608" y="connsiteY28608"/>
              </a:cxn>
              <a:cxn ang="0">
                <a:pos x="connsiteX28609" y="connsiteY28609"/>
              </a:cxn>
              <a:cxn ang="0">
                <a:pos x="connsiteX28610" y="connsiteY28610"/>
              </a:cxn>
              <a:cxn ang="0">
                <a:pos x="connsiteX28611" y="connsiteY28611"/>
              </a:cxn>
              <a:cxn ang="0">
                <a:pos x="connsiteX28612" y="connsiteY28612"/>
              </a:cxn>
              <a:cxn ang="0">
                <a:pos x="connsiteX28613" y="connsiteY28613"/>
              </a:cxn>
              <a:cxn ang="0">
                <a:pos x="connsiteX28614" y="connsiteY28614"/>
              </a:cxn>
              <a:cxn ang="0">
                <a:pos x="connsiteX28615" y="connsiteY28615"/>
              </a:cxn>
              <a:cxn ang="0">
                <a:pos x="connsiteX28616" y="connsiteY28616"/>
              </a:cxn>
              <a:cxn ang="0">
                <a:pos x="connsiteX28617" y="connsiteY28617"/>
              </a:cxn>
              <a:cxn ang="0">
                <a:pos x="connsiteX28618" y="connsiteY28618"/>
              </a:cxn>
              <a:cxn ang="0">
                <a:pos x="connsiteX28619" y="connsiteY28619"/>
              </a:cxn>
              <a:cxn ang="0">
                <a:pos x="connsiteX28620" y="connsiteY28620"/>
              </a:cxn>
              <a:cxn ang="0">
                <a:pos x="connsiteX28621" y="connsiteY28621"/>
              </a:cxn>
              <a:cxn ang="0">
                <a:pos x="connsiteX28622" y="connsiteY28622"/>
              </a:cxn>
              <a:cxn ang="0">
                <a:pos x="connsiteX28623" y="connsiteY28623"/>
              </a:cxn>
              <a:cxn ang="0">
                <a:pos x="connsiteX28624" y="connsiteY28624"/>
              </a:cxn>
              <a:cxn ang="0">
                <a:pos x="connsiteX28625" y="connsiteY28625"/>
              </a:cxn>
              <a:cxn ang="0">
                <a:pos x="connsiteX28626" y="connsiteY28626"/>
              </a:cxn>
              <a:cxn ang="0">
                <a:pos x="connsiteX28627" y="connsiteY28627"/>
              </a:cxn>
              <a:cxn ang="0">
                <a:pos x="connsiteX28628" y="connsiteY28628"/>
              </a:cxn>
              <a:cxn ang="0">
                <a:pos x="connsiteX28629" y="connsiteY28629"/>
              </a:cxn>
              <a:cxn ang="0">
                <a:pos x="connsiteX28630" y="connsiteY28630"/>
              </a:cxn>
              <a:cxn ang="0">
                <a:pos x="connsiteX28631" y="connsiteY28631"/>
              </a:cxn>
              <a:cxn ang="0">
                <a:pos x="connsiteX28632" y="connsiteY28632"/>
              </a:cxn>
              <a:cxn ang="0">
                <a:pos x="connsiteX28633" y="connsiteY28633"/>
              </a:cxn>
              <a:cxn ang="0">
                <a:pos x="connsiteX28634" y="connsiteY28634"/>
              </a:cxn>
              <a:cxn ang="0">
                <a:pos x="connsiteX28635" y="connsiteY28635"/>
              </a:cxn>
              <a:cxn ang="0">
                <a:pos x="connsiteX28636" y="connsiteY28636"/>
              </a:cxn>
              <a:cxn ang="0">
                <a:pos x="connsiteX28637" y="connsiteY28637"/>
              </a:cxn>
              <a:cxn ang="0">
                <a:pos x="connsiteX28638" y="connsiteY28638"/>
              </a:cxn>
              <a:cxn ang="0">
                <a:pos x="connsiteX28639" y="connsiteY28639"/>
              </a:cxn>
              <a:cxn ang="0">
                <a:pos x="connsiteX28640" y="connsiteY28640"/>
              </a:cxn>
              <a:cxn ang="0">
                <a:pos x="connsiteX28641" y="connsiteY28641"/>
              </a:cxn>
              <a:cxn ang="0">
                <a:pos x="connsiteX28642" y="connsiteY28642"/>
              </a:cxn>
              <a:cxn ang="0">
                <a:pos x="connsiteX28643" y="connsiteY28643"/>
              </a:cxn>
              <a:cxn ang="0">
                <a:pos x="connsiteX28644" y="connsiteY28644"/>
              </a:cxn>
              <a:cxn ang="0">
                <a:pos x="connsiteX28645" y="connsiteY28645"/>
              </a:cxn>
              <a:cxn ang="0">
                <a:pos x="connsiteX28646" y="connsiteY28646"/>
              </a:cxn>
              <a:cxn ang="0">
                <a:pos x="connsiteX28647" y="connsiteY28647"/>
              </a:cxn>
              <a:cxn ang="0">
                <a:pos x="connsiteX28648" y="connsiteY28648"/>
              </a:cxn>
              <a:cxn ang="0">
                <a:pos x="connsiteX28649" y="connsiteY28649"/>
              </a:cxn>
              <a:cxn ang="0">
                <a:pos x="connsiteX28650" y="connsiteY28650"/>
              </a:cxn>
              <a:cxn ang="0">
                <a:pos x="connsiteX28651" y="connsiteY28651"/>
              </a:cxn>
              <a:cxn ang="0">
                <a:pos x="connsiteX28652" y="connsiteY28652"/>
              </a:cxn>
              <a:cxn ang="0">
                <a:pos x="connsiteX28653" y="connsiteY28653"/>
              </a:cxn>
              <a:cxn ang="0">
                <a:pos x="connsiteX28654" y="connsiteY28654"/>
              </a:cxn>
              <a:cxn ang="0">
                <a:pos x="connsiteX28655" y="connsiteY28655"/>
              </a:cxn>
              <a:cxn ang="0">
                <a:pos x="connsiteX28656" y="connsiteY28656"/>
              </a:cxn>
              <a:cxn ang="0">
                <a:pos x="connsiteX28657" y="connsiteY28657"/>
              </a:cxn>
              <a:cxn ang="0">
                <a:pos x="connsiteX28658" y="connsiteY28658"/>
              </a:cxn>
              <a:cxn ang="0">
                <a:pos x="connsiteX28659" y="connsiteY28659"/>
              </a:cxn>
              <a:cxn ang="0">
                <a:pos x="connsiteX28660" y="connsiteY28660"/>
              </a:cxn>
              <a:cxn ang="0">
                <a:pos x="connsiteX28661" y="connsiteY28661"/>
              </a:cxn>
              <a:cxn ang="0">
                <a:pos x="connsiteX28662" y="connsiteY28662"/>
              </a:cxn>
              <a:cxn ang="0">
                <a:pos x="connsiteX28663" y="connsiteY28663"/>
              </a:cxn>
              <a:cxn ang="0">
                <a:pos x="connsiteX28664" y="connsiteY28664"/>
              </a:cxn>
              <a:cxn ang="0">
                <a:pos x="connsiteX28665" y="connsiteY28665"/>
              </a:cxn>
              <a:cxn ang="0">
                <a:pos x="connsiteX28666" y="connsiteY28666"/>
              </a:cxn>
              <a:cxn ang="0">
                <a:pos x="connsiteX28667" y="connsiteY28667"/>
              </a:cxn>
              <a:cxn ang="0">
                <a:pos x="connsiteX28668" y="connsiteY28668"/>
              </a:cxn>
              <a:cxn ang="0">
                <a:pos x="connsiteX28669" y="connsiteY28669"/>
              </a:cxn>
              <a:cxn ang="0">
                <a:pos x="connsiteX28670" y="connsiteY28670"/>
              </a:cxn>
              <a:cxn ang="0">
                <a:pos x="connsiteX28671" y="connsiteY28671"/>
              </a:cxn>
              <a:cxn ang="0">
                <a:pos x="connsiteX28672" y="connsiteY28672"/>
              </a:cxn>
              <a:cxn ang="0">
                <a:pos x="connsiteX28673" y="connsiteY28673"/>
              </a:cxn>
              <a:cxn ang="0">
                <a:pos x="connsiteX28674" y="connsiteY28674"/>
              </a:cxn>
              <a:cxn ang="0">
                <a:pos x="connsiteX28675" y="connsiteY28675"/>
              </a:cxn>
              <a:cxn ang="0">
                <a:pos x="connsiteX28676" y="connsiteY28676"/>
              </a:cxn>
              <a:cxn ang="0">
                <a:pos x="connsiteX28677" y="connsiteY28677"/>
              </a:cxn>
              <a:cxn ang="0">
                <a:pos x="connsiteX28678" y="connsiteY28678"/>
              </a:cxn>
              <a:cxn ang="0">
                <a:pos x="connsiteX28679" y="connsiteY28679"/>
              </a:cxn>
              <a:cxn ang="0">
                <a:pos x="connsiteX28680" y="connsiteY28680"/>
              </a:cxn>
              <a:cxn ang="0">
                <a:pos x="connsiteX28681" y="connsiteY28681"/>
              </a:cxn>
              <a:cxn ang="0">
                <a:pos x="connsiteX28682" y="connsiteY28682"/>
              </a:cxn>
              <a:cxn ang="0">
                <a:pos x="connsiteX28683" y="connsiteY28683"/>
              </a:cxn>
              <a:cxn ang="0">
                <a:pos x="connsiteX28684" y="connsiteY28684"/>
              </a:cxn>
              <a:cxn ang="0">
                <a:pos x="connsiteX28685" y="connsiteY28685"/>
              </a:cxn>
              <a:cxn ang="0">
                <a:pos x="connsiteX28686" y="connsiteY28686"/>
              </a:cxn>
              <a:cxn ang="0">
                <a:pos x="connsiteX28687" y="connsiteY28687"/>
              </a:cxn>
              <a:cxn ang="0">
                <a:pos x="connsiteX28688" y="connsiteY28688"/>
              </a:cxn>
              <a:cxn ang="0">
                <a:pos x="connsiteX28689" y="connsiteY28689"/>
              </a:cxn>
              <a:cxn ang="0">
                <a:pos x="connsiteX28690" y="connsiteY28690"/>
              </a:cxn>
              <a:cxn ang="0">
                <a:pos x="connsiteX28691" y="connsiteY28691"/>
              </a:cxn>
              <a:cxn ang="0">
                <a:pos x="connsiteX28692" y="connsiteY28692"/>
              </a:cxn>
              <a:cxn ang="0">
                <a:pos x="connsiteX28693" y="connsiteY28693"/>
              </a:cxn>
              <a:cxn ang="0">
                <a:pos x="connsiteX28694" y="connsiteY28694"/>
              </a:cxn>
              <a:cxn ang="0">
                <a:pos x="connsiteX28695" y="connsiteY28695"/>
              </a:cxn>
              <a:cxn ang="0">
                <a:pos x="connsiteX28696" y="connsiteY28696"/>
              </a:cxn>
              <a:cxn ang="0">
                <a:pos x="connsiteX28697" y="connsiteY28697"/>
              </a:cxn>
              <a:cxn ang="0">
                <a:pos x="connsiteX28698" y="connsiteY28698"/>
              </a:cxn>
              <a:cxn ang="0">
                <a:pos x="connsiteX28699" y="connsiteY28699"/>
              </a:cxn>
              <a:cxn ang="0">
                <a:pos x="connsiteX28700" y="connsiteY28700"/>
              </a:cxn>
              <a:cxn ang="0">
                <a:pos x="connsiteX28701" y="connsiteY28701"/>
              </a:cxn>
              <a:cxn ang="0">
                <a:pos x="connsiteX28702" y="connsiteY28702"/>
              </a:cxn>
              <a:cxn ang="0">
                <a:pos x="connsiteX28703" y="connsiteY28703"/>
              </a:cxn>
              <a:cxn ang="0">
                <a:pos x="connsiteX28704" y="connsiteY28704"/>
              </a:cxn>
              <a:cxn ang="0">
                <a:pos x="connsiteX28705" y="connsiteY28705"/>
              </a:cxn>
              <a:cxn ang="0">
                <a:pos x="connsiteX28706" y="connsiteY28706"/>
              </a:cxn>
              <a:cxn ang="0">
                <a:pos x="connsiteX28707" y="connsiteY28707"/>
              </a:cxn>
              <a:cxn ang="0">
                <a:pos x="connsiteX28708" y="connsiteY28708"/>
              </a:cxn>
              <a:cxn ang="0">
                <a:pos x="connsiteX28709" y="connsiteY28709"/>
              </a:cxn>
              <a:cxn ang="0">
                <a:pos x="connsiteX28710" y="connsiteY28710"/>
              </a:cxn>
              <a:cxn ang="0">
                <a:pos x="connsiteX28711" y="connsiteY28711"/>
              </a:cxn>
              <a:cxn ang="0">
                <a:pos x="connsiteX28712" y="connsiteY28712"/>
              </a:cxn>
              <a:cxn ang="0">
                <a:pos x="connsiteX28713" y="connsiteY28713"/>
              </a:cxn>
              <a:cxn ang="0">
                <a:pos x="connsiteX28714" y="connsiteY28714"/>
              </a:cxn>
              <a:cxn ang="0">
                <a:pos x="connsiteX28715" y="connsiteY28715"/>
              </a:cxn>
              <a:cxn ang="0">
                <a:pos x="connsiteX28716" y="connsiteY28716"/>
              </a:cxn>
              <a:cxn ang="0">
                <a:pos x="connsiteX28717" y="connsiteY28717"/>
              </a:cxn>
              <a:cxn ang="0">
                <a:pos x="connsiteX28718" y="connsiteY28718"/>
              </a:cxn>
              <a:cxn ang="0">
                <a:pos x="connsiteX28719" y="connsiteY28719"/>
              </a:cxn>
              <a:cxn ang="0">
                <a:pos x="connsiteX28720" y="connsiteY28720"/>
              </a:cxn>
              <a:cxn ang="0">
                <a:pos x="connsiteX28721" y="connsiteY28721"/>
              </a:cxn>
              <a:cxn ang="0">
                <a:pos x="connsiteX28722" y="connsiteY28722"/>
              </a:cxn>
              <a:cxn ang="0">
                <a:pos x="connsiteX28723" y="connsiteY28723"/>
              </a:cxn>
              <a:cxn ang="0">
                <a:pos x="connsiteX28724" y="connsiteY28724"/>
              </a:cxn>
              <a:cxn ang="0">
                <a:pos x="connsiteX28725" y="connsiteY28725"/>
              </a:cxn>
              <a:cxn ang="0">
                <a:pos x="connsiteX28726" y="connsiteY28726"/>
              </a:cxn>
              <a:cxn ang="0">
                <a:pos x="connsiteX28727" y="connsiteY28727"/>
              </a:cxn>
              <a:cxn ang="0">
                <a:pos x="connsiteX28728" y="connsiteY28728"/>
              </a:cxn>
              <a:cxn ang="0">
                <a:pos x="connsiteX28729" y="connsiteY28729"/>
              </a:cxn>
              <a:cxn ang="0">
                <a:pos x="connsiteX28730" y="connsiteY28730"/>
              </a:cxn>
              <a:cxn ang="0">
                <a:pos x="connsiteX28731" y="connsiteY28731"/>
              </a:cxn>
              <a:cxn ang="0">
                <a:pos x="connsiteX28732" y="connsiteY28732"/>
              </a:cxn>
              <a:cxn ang="0">
                <a:pos x="connsiteX28733" y="connsiteY28733"/>
              </a:cxn>
              <a:cxn ang="0">
                <a:pos x="connsiteX28734" y="connsiteY28734"/>
              </a:cxn>
              <a:cxn ang="0">
                <a:pos x="connsiteX28735" y="connsiteY28735"/>
              </a:cxn>
              <a:cxn ang="0">
                <a:pos x="connsiteX28736" y="connsiteY28736"/>
              </a:cxn>
              <a:cxn ang="0">
                <a:pos x="connsiteX28737" y="connsiteY28737"/>
              </a:cxn>
              <a:cxn ang="0">
                <a:pos x="connsiteX28738" y="connsiteY28738"/>
              </a:cxn>
              <a:cxn ang="0">
                <a:pos x="connsiteX28739" y="connsiteY28739"/>
              </a:cxn>
              <a:cxn ang="0">
                <a:pos x="connsiteX28740" y="connsiteY28740"/>
              </a:cxn>
              <a:cxn ang="0">
                <a:pos x="connsiteX28741" y="connsiteY28741"/>
              </a:cxn>
              <a:cxn ang="0">
                <a:pos x="connsiteX28742" y="connsiteY28742"/>
              </a:cxn>
              <a:cxn ang="0">
                <a:pos x="connsiteX28743" y="connsiteY28743"/>
              </a:cxn>
              <a:cxn ang="0">
                <a:pos x="connsiteX28744" y="connsiteY28744"/>
              </a:cxn>
              <a:cxn ang="0">
                <a:pos x="connsiteX28745" y="connsiteY28745"/>
              </a:cxn>
              <a:cxn ang="0">
                <a:pos x="connsiteX28746" y="connsiteY28746"/>
              </a:cxn>
              <a:cxn ang="0">
                <a:pos x="connsiteX28747" y="connsiteY28747"/>
              </a:cxn>
              <a:cxn ang="0">
                <a:pos x="connsiteX28748" y="connsiteY28748"/>
              </a:cxn>
              <a:cxn ang="0">
                <a:pos x="connsiteX28749" y="connsiteY28749"/>
              </a:cxn>
              <a:cxn ang="0">
                <a:pos x="connsiteX28750" y="connsiteY28750"/>
              </a:cxn>
              <a:cxn ang="0">
                <a:pos x="connsiteX28751" y="connsiteY28751"/>
              </a:cxn>
              <a:cxn ang="0">
                <a:pos x="connsiteX28752" y="connsiteY28752"/>
              </a:cxn>
              <a:cxn ang="0">
                <a:pos x="connsiteX28753" y="connsiteY28753"/>
              </a:cxn>
              <a:cxn ang="0">
                <a:pos x="connsiteX28754" y="connsiteY28754"/>
              </a:cxn>
              <a:cxn ang="0">
                <a:pos x="connsiteX28755" y="connsiteY28755"/>
              </a:cxn>
              <a:cxn ang="0">
                <a:pos x="connsiteX28756" y="connsiteY28756"/>
              </a:cxn>
              <a:cxn ang="0">
                <a:pos x="connsiteX28757" y="connsiteY28757"/>
              </a:cxn>
              <a:cxn ang="0">
                <a:pos x="connsiteX28758" y="connsiteY28758"/>
              </a:cxn>
              <a:cxn ang="0">
                <a:pos x="connsiteX28759" y="connsiteY28759"/>
              </a:cxn>
              <a:cxn ang="0">
                <a:pos x="connsiteX28760" y="connsiteY28760"/>
              </a:cxn>
              <a:cxn ang="0">
                <a:pos x="connsiteX28761" y="connsiteY28761"/>
              </a:cxn>
              <a:cxn ang="0">
                <a:pos x="connsiteX28762" y="connsiteY28762"/>
              </a:cxn>
              <a:cxn ang="0">
                <a:pos x="connsiteX28763" y="connsiteY28763"/>
              </a:cxn>
              <a:cxn ang="0">
                <a:pos x="connsiteX28764" y="connsiteY28764"/>
              </a:cxn>
              <a:cxn ang="0">
                <a:pos x="connsiteX28765" y="connsiteY28765"/>
              </a:cxn>
              <a:cxn ang="0">
                <a:pos x="connsiteX28766" y="connsiteY28766"/>
              </a:cxn>
              <a:cxn ang="0">
                <a:pos x="connsiteX28767" y="connsiteY28767"/>
              </a:cxn>
              <a:cxn ang="0">
                <a:pos x="connsiteX28768" y="connsiteY28768"/>
              </a:cxn>
              <a:cxn ang="0">
                <a:pos x="connsiteX28769" y="connsiteY28769"/>
              </a:cxn>
              <a:cxn ang="0">
                <a:pos x="connsiteX28770" y="connsiteY28770"/>
              </a:cxn>
              <a:cxn ang="0">
                <a:pos x="connsiteX28771" y="connsiteY28771"/>
              </a:cxn>
              <a:cxn ang="0">
                <a:pos x="connsiteX28772" y="connsiteY28772"/>
              </a:cxn>
              <a:cxn ang="0">
                <a:pos x="connsiteX28773" y="connsiteY28773"/>
              </a:cxn>
              <a:cxn ang="0">
                <a:pos x="connsiteX28774" y="connsiteY28774"/>
              </a:cxn>
              <a:cxn ang="0">
                <a:pos x="connsiteX28775" y="connsiteY28775"/>
              </a:cxn>
              <a:cxn ang="0">
                <a:pos x="connsiteX28776" y="connsiteY28776"/>
              </a:cxn>
              <a:cxn ang="0">
                <a:pos x="connsiteX28777" y="connsiteY28777"/>
              </a:cxn>
              <a:cxn ang="0">
                <a:pos x="connsiteX28778" y="connsiteY28778"/>
              </a:cxn>
              <a:cxn ang="0">
                <a:pos x="connsiteX28779" y="connsiteY28779"/>
              </a:cxn>
              <a:cxn ang="0">
                <a:pos x="connsiteX28780" y="connsiteY28780"/>
              </a:cxn>
              <a:cxn ang="0">
                <a:pos x="connsiteX28781" y="connsiteY28781"/>
              </a:cxn>
              <a:cxn ang="0">
                <a:pos x="connsiteX28782" y="connsiteY28782"/>
              </a:cxn>
              <a:cxn ang="0">
                <a:pos x="connsiteX28783" y="connsiteY28783"/>
              </a:cxn>
              <a:cxn ang="0">
                <a:pos x="connsiteX28784" y="connsiteY28784"/>
              </a:cxn>
              <a:cxn ang="0">
                <a:pos x="connsiteX28785" y="connsiteY28785"/>
              </a:cxn>
              <a:cxn ang="0">
                <a:pos x="connsiteX28786" y="connsiteY28786"/>
              </a:cxn>
              <a:cxn ang="0">
                <a:pos x="connsiteX28787" y="connsiteY28787"/>
              </a:cxn>
              <a:cxn ang="0">
                <a:pos x="connsiteX28788" y="connsiteY28788"/>
              </a:cxn>
              <a:cxn ang="0">
                <a:pos x="connsiteX28789" y="connsiteY28789"/>
              </a:cxn>
              <a:cxn ang="0">
                <a:pos x="connsiteX28790" y="connsiteY28790"/>
              </a:cxn>
              <a:cxn ang="0">
                <a:pos x="connsiteX28791" y="connsiteY28791"/>
              </a:cxn>
              <a:cxn ang="0">
                <a:pos x="connsiteX28792" y="connsiteY28792"/>
              </a:cxn>
              <a:cxn ang="0">
                <a:pos x="connsiteX28793" y="connsiteY28793"/>
              </a:cxn>
              <a:cxn ang="0">
                <a:pos x="connsiteX28794" y="connsiteY28794"/>
              </a:cxn>
              <a:cxn ang="0">
                <a:pos x="connsiteX28795" y="connsiteY28795"/>
              </a:cxn>
              <a:cxn ang="0">
                <a:pos x="connsiteX28796" y="connsiteY28796"/>
              </a:cxn>
              <a:cxn ang="0">
                <a:pos x="connsiteX28797" y="connsiteY28797"/>
              </a:cxn>
              <a:cxn ang="0">
                <a:pos x="connsiteX28798" y="connsiteY28798"/>
              </a:cxn>
              <a:cxn ang="0">
                <a:pos x="connsiteX28799" y="connsiteY28799"/>
              </a:cxn>
              <a:cxn ang="0">
                <a:pos x="connsiteX28800" y="connsiteY28800"/>
              </a:cxn>
              <a:cxn ang="0">
                <a:pos x="connsiteX28801" y="connsiteY28801"/>
              </a:cxn>
              <a:cxn ang="0">
                <a:pos x="connsiteX28802" y="connsiteY28802"/>
              </a:cxn>
              <a:cxn ang="0">
                <a:pos x="connsiteX28803" y="connsiteY28803"/>
              </a:cxn>
              <a:cxn ang="0">
                <a:pos x="connsiteX28804" y="connsiteY28804"/>
              </a:cxn>
              <a:cxn ang="0">
                <a:pos x="connsiteX28805" y="connsiteY28805"/>
              </a:cxn>
              <a:cxn ang="0">
                <a:pos x="connsiteX28806" y="connsiteY28806"/>
              </a:cxn>
              <a:cxn ang="0">
                <a:pos x="connsiteX28807" y="connsiteY28807"/>
              </a:cxn>
              <a:cxn ang="0">
                <a:pos x="connsiteX28808" y="connsiteY28808"/>
              </a:cxn>
              <a:cxn ang="0">
                <a:pos x="connsiteX28809" y="connsiteY28809"/>
              </a:cxn>
              <a:cxn ang="0">
                <a:pos x="connsiteX28810" y="connsiteY28810"/>
              </a:cxn>
              <a:cxn ang="0">
                <a:pos x="connsiteX28811" y="connsiteY28811"/>
              </a:cxn>
              <a:cxn ang="0">
                <a:pos x="connsiteX28812" y="connsiteY28812"/>
              </a:cxn>
              <a:cxn ang="0">
                <a:pos x="connsiteX28813" y="connsiteY28813"/>
              </a:cxn>
              <a:cxn ang="0">
                <a:pos x="connsiteX28814" y="connsiteY28814"/>
              </a:cxn>
              <a:cxn ang="0">
                <a:pos x="connsiteX28815" y="connsiteY28815"/>
              </a:cxn>
              <a:cxn ang="0">
                <a:pos x="connsiteX28816" y="connsiteY28816"/>
              </a:cxn>
              <a:cxn ang="0">
                <a:pos x="connsiteX28817" y="connsiteY28817"/>
              </a:cxn>
              <a:cxn ang="0">
                <a:pos x="connsiteX28818" y="connsiteY28818"/>
              </a:cxn>
              <a:cxn ang="0">
                <a:pos x="connsiteX28819" y="connsiteY28819"/>
              </a:cxn>
              <a:cxn ang="0">
                <a:pos x="connsiteX28820" y="connsiteY28820"/>
              </a:cxn>
              <a:cxn ang="0">
                <a:pos x="connsiteX28821" y="connsiteY28821"/>
              </a:cxn>
              <a:cxn ang="0">
                <a:pos x="connsiteX28822" y="connsiteY28822"/>
              </a:cxn>
              <a:cxn ang="0">
                <a:pos x="connsiteX28823" y="connsiteY28823"/>
              </a:cxn>
              <a:cxn ang="0">
                <a:pos x="connsiteX28824" y="connsiteY28824"/>
              </a:cxn>
              <a:cxn ang="0">
                <a:pos x="connsiteX28825" y="connsiteY28825"/>
              </a:cxn>
              <a:cxn ang="0">
                <a:pos x="connsiteX28826" y="connsiteY28826"/>
              </a:cxn>
              <a:cxn ang="0">
                <a:pos x="connsiteX28827" y="connsiteY28827"/>
              </a:cxn>
              <a:cxn ang="0">
                <a:pos x="connsiteX28828" y="connsiteY28828"/>
              </a:cxn>
              <a:cxn ang="0">
                <a:pos x="connsiteX28829" y="connsiteY28829"/>
              </a:cxn>
              <a:cxn ang="0">
                <a:pos x="connsiteX28830" y="connsiteY28830"/>
              </a:cxn>
              <a:cxn ang="0">
                <a:pos x="connsiteX28831" y="connsiteY28831"/>
              </a:cxn>
              <a:cxn ang="0">
                <a:pos x="connsiteX28832" y="connsiteY28832"/>
              </a:cxn>
              <a:cxn ang="0">
                <a:pos x="connsiteX28833" y="connsiteY28833"/>
              </a:cxn>
              <a:cxn ang="0">
                <a:pos x="connsiteX28834" y="connsiteY28834"/>
              </a:cxn>
              <a:cxn ang="0">
                <a:pos x="connsiteX28835" y="connsiteY28835"/>
              </a:cxn>
              <a:cxn ang="0">
                <a:pos x="connsiteX28836" y="connsiteY28836"/>
              </a:cxn>
              <a:cxn ang="0">
                <a:pos x="connsiteX28837" y="connsiteY28837"/>
              </a:cxn>
              <a:cxn ang="0">
                <a:pos x="connsiteX28838" y="connsiteY28838"/>
              </a:cxn>
              <a:cxn ang="0">
                <a:pos x="connsiteX28839" y="connsiteY28839"/>
              </a:cxn>
              <a:cxn ang="0">
                <a:pos x="connsiteX28840" y="connsiteY28840"/>
              </a:cxn>
              <a:cxn ang="0">
                <a:pos x="connsiteX28841" y="connsiteY28841"/>
              </a:cxn>
              <a:cxn ang="0">
                <a:pos x="connsiteX28842" y="connsiteY28842"/>
              </a:cxn>
              <a:cxn ang="0">
                <a:pos x="connsiteX28843" y="connsiteY28843"/>
              </a:cxn>
              <a:cxn ang="0">
                <a:pos x="connsiteX28844" y="connsiteY28844"/>
              </a:cxn>
              <a:cxn ang="0">
                <a:pos x="connsiteX28845" y="connsiteY28845"/>
              </a:cxn>
              <a:cxn ang="0">
                <a:pos x="connsiteX28846" y="connsiteY28846"/>
              </a:cxn>
              <a:cxn ang="0">
                <a:pos x="connsiteX28847" y="connsiteY28847"/>
              </a:cxn>
              <a:cxn ang="0">
                <a:pos x="connsiteX28848" y="connsiteY28848"/>
              </a:cxn>
              <a:cxn ang="0">
                <a:pos x="connsiteX28849" y="connsiteY28849"/>
              </a:cxn>
              <a:cxn ang="0">
                <a:pos x="connsiteX28850" y="connsiteY28850"/>
              </a:cxn>
              <a:cxn ang="0">
                <a:pos x="connsiteX28851" y="connsiteY28851"/>
              </a:cxn>
              <a:cxn ang="0">
                <a:pos x="connsiteX28852" y="connsiteY28852"/>
              </a:cxn>
              <a:cxn ang="0">
                <a:pos x="connsiteX28853" y="connsiteY28853"/>
              </a:cxn>
              <a:cxn ang="0">
                <a:pos x="connsiteX28854" y="connsiteY28854"/>
              </a:cxn>
              <a:cxn ang="0">
                <a:pos x="connsiteX28855" y="connsiteY28855"/>
              </a:cxn>
              <a:cxn ang="0">
                <a:pos x="connsiteX28856" y="connsiteY28856"/>
              </a:cxn>
              <a:cxn ang="0">
                <a:pos x="connsiteX28857" y="connsiteY28857"/>
              </a:cxn>
              <a:cxn ang="0">
                <a:pos x="connsiteX28858" y="connsiteY28858"/>
              </a:cxn>
              <a:cxn ang="0">
                <a:pos x="connsiteX28859" y="connsiteY28859"/>
              </a:cxn>
              <a:cxn ang="0">
                <a:pos x="connsiteX28860" y="connsiteY28860"/>
              </a:cxn>
              <a:cxn ang="0">
                <a:pos x="connsiteX28861" y="connsiteY28861"/>
              </a:cxn>
              <a:cxn ang="0">
                <a:pos x="connsiteX28862" y="connsiteY28862"/>
              </a:cxn>
              <a:cxn ang="0">
                <a:pos x="connsiteX28863" y="connsiteY28863"/>
              </a:cxn>
              <a:cxn ang="0">
                <a:pos x="connsiteX28864" y="connsiteY28864"/>
              </a:cxn>
              <a:cxn ang="0">
                <a:pos x="connsiteX28865" y="connsiteY28865"/>
              </a:cxn>
              <a:cxn ang="0">
                <a:pos x="connsiteX28866" y="connsiteY28866"/>
              </a:cxn>
              <a:cxn ang="0">
                <a:pos x="connsiteX28867" y="connsiteY28867"/>
              </a:cxn>
              <a:cxn ang="0">
                <a:pos x="connsiteX28868" y="connsiteY28868"/>
              </a:cxn>
              <a:cxn ang="0">
                <a:pos x="connsiteX28869" y="connsiteY28869"/>
              </a:cxn>
              <a:cxn ang="0">
                <a:pos x="connsiteX28870" y="connsiteY28870"/>
              </a:cxn>
              <a:cxn ang="0">
                <a:pos x="connsiteX28871" y="connsiteY28871"/>
              </a:cxn>
              <a:cxn ang="0">
                <a:pos x="connsiteX28872" y="connsiteY28872"/>
              </a:cxn>
              <a:cxn ang="0">
                <a:pos x="connsiteX28873" y="connsiteY28873"/>
              </a:cxn>
              <a:cxn ang="0">
                <a:pos x="connsiteX28874" y="connsiteY28874"/>
              </a:cxn>
              <a:cxn ang="0">
                <a:pos x="connsiteX28875" y="connsiteY28875"/>
              </a:cxn>
              <a:cxn ang="0">
                <a:pos x="connsiteX28876" y="connsiteY28876"/>
              </a:cxn>
              <a:cxn ang="0">
                <a:pos x="connsiteX28877" y="connsiteY28877"/>
              </a:cxn>
              <a:cxn ang="0">
                <a:pos x="connsiteX28878" y="connsiteY28878"/>
              </a:cxn>
              <a:cxn ang="0">
                <a:pos x="connsiteX28879" y="connsiteY28879"/>
              </a:cxn>
              <a:cxn ang="0">
                <a:pos x="connsiteX28880" y="connsiteY28880"/>
              </a:cxn>
              <a:cxn ang="0">
                <a:pos x="connsiteX28881" y="connsiteY28881"/>
              </a:cxn>
              <a:cxn ang="0">
                <a:pos x="connsiteX28882" y="connsiteY28882"/>
              </a:cxn>
              <a:cxn ang="0">
                <a:pos x="connsiteX28883" y="connsiteY28883"/>
              </a:cxn>
              <a:cxn ang="0">
                <a:pos x="connsiteX28884" y="connsiteY28884"/>
              </a:cxn>
              <a:cxn ang="0">
                <a:pos x="connsiteX28885" y="connsiteY28885"/>
              </a:cxn>
              <a:cxn ang="0">
                <a:pos x="connsiteX28886" y="connsiteY28886"/>
              </a:cxn>
              <a:cxn ang="0">
                <a:pos x="connsiteX28887" y="connsiteY28887"/>
              </a:cxn>
              <a:cxn ang="0">
                <a:pos x="connsiteX28888" y="connsiteY28888"/>
              </a:cxn>
              <a:cxn ang="0">
                <a:pos x="connsiteX28889" y="connsiteY28889"/>
              </a:cxn>
              <a:cxn ang="0">
                <a:pos x="connsiteX28890" y="connsiteY28890"/>
              </a:cxn>
              <a:cxn ang="0">
                <a:pos x="connsiteX28891" y="connsiteY28891"/>
              </a:cxn>
              <a:cxn ang="0">
                <a:pos x="connsiteX28892" y="connsiteY28892"/>
              </a:cxn>
              <a:cxn ang="0">
                <a:pos x="connsiteX28893" y="connsiteY28893"/>
              </a:cxn>
              <a:cxn ang="0">
                <a:pos x="connsiteX28894" y="connsiteY28894"/>
              </a:cxn>
              <a:cxn ang="0">
                <a:pos x="connsiteX28895" y="connsiteY28895"/>
              </a:cxn>
              <a:cxn ang="0">
                <a:pos x="connsiteX28896" y="connsiteY28896"/>
              </a:cxn>
              <a:cxn ang="0">
                <a:pos x="connsiteX28897" y="connsiteY28897"/>
              </a:cxn>
              <a:cxn ang="0">
                <a:pos x="connsiteX28898" y="connsiteY28898"/>
              </a:cxn>
              <a:cxn ang="0">
                <a:pos x="connsiteX28899" y="connsiteY28899"/>
              </a:cxn>
              <a:cxn ang="0">
                <a:pos x="connsiteX28900" y="connsiteY28900"/>
              </a:cxn>
              <a:cxn ang="0">
                <a:pos x="connsiteX28901" y="connsiteY28901"/>
              </a:cxn>
              <a:cxn ang="0">
                <a:pos x="connsiteX28902" y="connsiteY28902"/>
              </a:cxn>
              <a:cxn ang="0">
                <a:pos x="connsiteX28903" y="connsiteY28903"/>
              </a:cxn>
              <a:cxn ang="0">
                <a:pos x="connsiteX28904" y="connsiteY28904"/>
              </a:cxn>
              <a:cxn ang="0">
                <a:pos x="connsiteX28905" y="connsiteY28905"/>
              </a:cxn>
              <a:cxn ang="0">
                <a:pos x="connsiteX28906" y="connsiteY28906"/>
              </a:cxn>
              <a:cxn ang="0">
                <a:pos x="connsiteX28907" y="connsiteY28907"/>
              </a:cxn>
              <a:cxn ang="0">
                <a:pos x="connsiteX28908" y="connsiteY28908"/>
              </a:cxn>
              <a:cxn ang="0">
                <a:pos x="connsiteX28909" y="connsiteY28909"/>
              </a:cxn>
              <a:cxn ang="0">
                <a:pos x="connsiteX28910" y="connsiteY28910"/>
              </a:cxn>
              <a:cxn ang="0">
                <a:pos x="connsiteX28911" y="connsiteY28911"/>
              </a:cxn>
              <a:cxn ang="0">
                <a:pos x="connsiteX28912" y="connsiteY28912"/>
              </a:cxn>
              <a:cxn ang="0">
                <a:pos x="connsiteX28913" y="connsiteY28913"/>
              </a:cxn>
              <a:cxn ang="0">
                <a:pos x="connsiteX28914" y="connsiteY28914"/>
              </a:cxn>
              <a:cxn ang="0">
                <a:pos x="connsiteX28915" y="connsiteY28915"/>
              </a:cxn>
              <a:cxn ang="0">
                <a:pos x="connsiteX28916" y="connsiteY28916"/>
              </a:cxn>
              <a:cxn ang="0">
                <a:pos x="connsiteX28917" y="connsiteY28917"/>
              </a:cxn>
              <a:cxn ang="0">
                <a:pos x="connsiteX28918" y="connsiteY28918"/>
              </a:cxn>
              <a:cxn ang="0">
                <a:pos x="connsiteX28919" y="connsiteY28919"/>
              </a:cxn>
              <a:cxn ang="0">
                <a:pos x="connsiteX28920" y="connsiteY28920"/>
              </a:cxn>
              <a:cxn ang="0">
                <a:pos x="connsiteX28921" y="connsiteY28921"/>
              </a:cxn>
              <a:cxn ang="0">
                <a:pos x="connsiteX28922" y="connsiteY28922"/>
              </a:cxn>
              <a:cxn ang="0">
                <a:pos x="connsiteX28923" y="connsiteY28923"/>
              </a:cxn>
              <a:cxn ang="0">
                <a:pos x="connsiteX28924" y="connsiteY28924"/>
              </a:cxn>
              <a:cxn ang="0">
                <a:pos x="connsiteX28925" y="connsiteY28925"/>
              </a:cxn>
              <a:cxn ang="0">
                <a:pos x="connsiteX28926" y="connsiteY28926"/>
              </a:cxn>
              <a:cxn ang="0">
                <a:pos x="connsiteX28927" y="connsiteY28927"/>
              </a:cxn>
              <a:cxn ang="0">
                <a:pos x="connsiteX28928" y="connsiteY28928"/>
              </a:cxn>
              <a:cxn ang="0">
                <a:pos x="connsiteX28929" y="connsiteY28929"/>
              </a:cxn>
              <a:cxn ang="0">
                <a:pos x="connsiteX28930" y="connsiteY28930"/>
              </a:cxn>
              <a:cxn ang="0">
                <a:pos x="connsiteX28931" y="connsiteY28931"/>
              </a:cxn>
              <a:cxn ang="0">
                <a:pos x="connsiteX28932" y="connsiteY28932"/>
              </a:cxn>
              <a:cxn ang="0">
                <a:pos x="connsiteX28933" y="connsiteY28933"/>
              </a:cxn>
              <a:cxn ang="0">
                <a:pos x="connsiteX28934" y="connsiteY28934"/>
              </a:cxn>
              <a:cxn ang="0">
                <a:pos x="connsiteX28935" y="connsiteY28935"/>
              </a:cxn>
              <a:cxn ang="0">
                <a:pos x="connsiteX28936" y="connsiteY28936"/>
              </a:cxn>
              <a:cxn ang="0">
                <a:pos x="connsiteX28937" y="connsiteY28937"/>
              </a:cxn>
              <a:cxn ang="0">
                <a:pos x="connsiteX28938" y="connsiteY28938"/>
              </a:cxn>
              <a:cxn ang="0">
                <a:pos x="connsiteX28939" y="connsiteY28939"/>
              </a:cxn>
              <a:cxn ang="0">
                <a:pos x="connsiteX28940" y="connsiteY28940"/>
              </a:cxn>
              <a:cxn ang="0">
                <a:pos x="connsiteX28941" y="connsiteY28941"/>
              </a:cxn>
              <a:cxn ang="0">
                <a:pos x="connsiteX28942" y="connsiteY28942"/>
              </a:cxn>
              <a:cxn ang="0">
                <a:pos x="connsiteX28943" y="connsiteY28943"/>
              </a:cxn>
              <a:cxn ang="0">
                <a:pos x="connsiteX28944" y="connsiteY28944"/>
              </a:cxn>
              <a:cxn ang="0">
                <a:pos x="connsiteX28945" y="connsiteY28945"/>
              </a:cxn>
              <a:cxn ang="0">
                <a:pos x="connsiteX28946" y="connsiteY28946"/>
              </a:cxn>
              <a:cxn ang="0">
                <a:pos x="connsiteX28947" y="connsiteY28947"/>
              </a:cxn>
              <a:cxn ang="0">
                <a:pos x="connsiteX28948" y="connsiteY28948"/>
              </a:cxn>
              <a:cxn ang="0">
                <a:pos x="connsiteX28949" y="connsiteY28949"/>
              </a:cxn>
              <a:cxn ang="0">
                <a:pos x="connsiteX28950" y="connsiteY28950"/>
              </a:cxn>
              <a:cxn ang="0">
                <a:pos x="connsiteX28951" y="connsiteY28951"/>
              </a:cxn>
              <a:cxn ang="0">
                <a:pos x="connsiteX28952" y="connsiteY28952"/>
              </a:cxn>
              <a:cxn ang="0">
                <a:pos x="connsiteX28953" y="connsiteY28953"/>
              </a:cxn>
              <a:cxn ang="0">
                <a:pos x="connsiteX28954" y="connsiteY28954"/>
              </a:cxn>
              <a:cxn ang="0">
                <a:pos x="connsiteX28955" y="connsiteY28955"/>
              </a:cxn>
              <a:cxn ang="0">
                <a:pos x="connsiteX28956" y="connsiteY28956"/>
              </a:cxn>
              <a:cxn ang="0">
                <a:pos x="connsiteX28957" y="connsiteY28957"/>
              </a:cxn>
              <a:cxn ang="0">
                <a:pos x="connsiteX28958" y="connsiteY28958"/>
              </a:cxn>
              <a:cxn ang="0">
                <a:pos x="connsiteX28959" y="connsiteY28959"/>
              </a:cxn>
              <a:cxn ang="0">
                <a:pos x="connsiteX28960" y="connsiteY28960"/>
              </a:cxn>
              <a:cxn ang="0">
                <a:pos x="connsiteX28961" y="connsiteY28961"/>
              </a:cxn>
              <a:cxn ang="0">
                <a:pos x="connsiteX28962" y="connsiteY28962"/>
              </a:cxn>
              <a:cxn ang="0">
                <a:pos x="connsiteX28963" y="connsiteY28963"/>
              </a:cxn>
              <a:cxn ang="0">
                <a:pos x="connsiteX28964" y="connsiteY28964"/>
              </a:cxn>
              <a:cxn ang="0">
                <a:pos x="connsiteX28965" y="connsiteY28965"/>
              </a:cxn>
              <a:cxn ang="0">
                <a:pos x="connsiteX28966" y="connsiteY28966"/>
              </a:cxn>
              <a:cxn ang="0">
                <a:pos x="connsiteX28967" y="connsiteY28967"/>
              </a:cxn>
              <a:cxn ang="0">
                <a:pos x="connsiteX28968" y="connsiteY28968"/>
              </a:cxn>
              <a:cxn ang="0">
                <a:pos x="connsiteX28969" y="connsiteY28969"/>
              </a:cxn>
              <a:cxn ang="0">
                <a:pos x="connsiteX28970" y="connsiteY28970"/>
              </a:cxn>
              <a:cxn ang="0">
                <a:pos x="connsiteX28971" y="connsiteY28971"/>
              </a:cxn>
              <a:cxn ang="0">
                <a:pos x="connsiteX28972" y="connsiteY28972"/>
              </a:cxn>
              <a:cxn ang="0">
                <a:pos x="connsiteX28973" y="connsiteY28973"/>
              </a:cxn>
              <a:cxn ang="0">
                <a:pos x="connsiteX28974" y="connsiteY28974"/>
              </a:cxn>
              <a:cxn ang="0">
                <a:pos x="connsiteX28975" y="connsiteY28975"/>
              </a:cxn>
              <a:cxn ang="0">
                <a:pos x="connsiteX28976" y="connsiteY28976"/>
              </a:cxn>
              <a:cxn ang="0">
                <a:pos x="connsiteX28977" y="connsiteY28977"/>
              </a:cxn>
              <a:cxn ang="0">
                <a:pos x="connsiteX28978" y="connsiteY28978"/>
              </a:cxn>
              <a:cxn ang="0">
                <a:pos x="connsiteX28979" y="connsiteY28979"/>
              </a:cxn>
              <a:cxn ang="0">
                <a:pos x="connsiteX28980" y="connsiteY28980"/>
              </a:cxn>
              <a:cxn ang="0">
                <a:pos x="connsiteX28981" y="connsiteY28981"/>
              </a:cxn>
              <a:cxn ang="0">
                <a:pos x="connsiteX28982" y="connsiteY28982"/>
              </a:cxn>
              <a:cxn ang="0">
                <a:pos x="connsiteX28983" y="connsiteY28983"/>
              </a:cxn>
              <a:cxn ang="0">
                <a:pos x="connsiteX28984" y="connsiteY28984"/>
              </a:cxn>
              <a:cxn ang="0">
                <a:pos x="connsiteX28985" y="connsiteY28985"/>
              </a:cxn>
              <a:cxn ang="0">
                <a:pos x="connsiteX28986" y="connsiteY28986"/>
              </a:cxn>
              <a:cxn ang="0">
                <a:pos x="connsiteX28987" y="connsiteY28987"/>
              </a:cxn>
              <a:cxn ang="0">
                <a:pos x="connsiteX28988" y="connsiteY28988"/>
              </a:cxn>
              <a:cxn ang="0">
                <a:pos x="connsiteX28989" y="connsiteY28989"/>
              </a:cxn>
              <a:cxn ang="0">
                <a:pos x="connsiteX28990" y="connsiteY28990"/>
              </a:cxn>
              <a:cxn ang="0">
                <a:pos x="connsiteX28991" y="connsiteY28991"/>
              </a:cxn>
              <a:cxn ang="0">
                <a:pos x="connsiteX28992" y="connsiteY28992"/>
              </a:cxn>
              <a:cxn ang="0">
                <a:pos x="connsiteX28993" y="connsiteY28993"/>
              </a:cxn>
              <a:cxn ang="0">
                <a:pos x="connsiteX28994" y="connsiteY28994"/>
              </a:cxn>
              <a:cxn ang="0">
                <a:pos x="connsiteX28995" y="connsiteY28995"/>
              </a:cxn>
              <a:cxn ang="0">
                <a:pos x="connsiteX28996" y="connsiteY28996"/>
              </a:cxn>
              <a:cxn ang="0">
                <a:pos x="connsiteX28997" y="connsiteY28997"/>
              </a:cxn>
              <a:cxn ang="0">
                <a:pos x="connsiteX28998" y="connsiteY28998"/>
              </a:cxn>
              <a:cxn ang="0">
                <a:pos x="connsiteX28999" y="connsiteY28999"/>
              </a:cxn>
              <a:cxn ang="0">
                <a:pos x="connsiteX29000" y="connsiteY29000"/>
              </a:cxn>
              <a:cxn ang="0">
                <a:pos x="connsiteX29001" y="connsiteY29001"/>
              </a:cxn>
              <a:cxn ang="0">
                <a:pos x="connsiteX29002" y="connsiteY29002"/>
              </a:cxn>
              <a:cxn ang="0">
                <a:pos x="connsiteX29003" y="connsiteY29003"/>
              </a:cxn>
              <a:cxn ang="0">
                <a:pos x="connsiteX29004" y="connsiteY29004"/>
              </a:cxn>
              <a:cxn ang="0">
                <a:pos x="connsiteX29005" y="connsiteY29005"/>
              </a:cxn>
              <a:cxn ang="0">
                <a:pos x="connsiteX29006" y="connsiteY29006"/>
              </a:cxn>
              <a:cxn ang="0">
                <a:pos x="connsiteX29007" y="connsiteY29007"/>
              </a:cxn>
              <a:cxn ang="0">
                <a:pos x="connsiteX29008" y="connsiteY29008"/>
              </a:cxn>
              <a:cxn ang="0">
                <a:pos x="connsiteX29009" y="connsiteY29009"/>
              </a:cxn>
              <a:cxn ang="0">
                <a:pos x="connsiteX29010" y="connsiteY29010"/>
              </a:cxn>
              <a:cxn ang="0">
                <a:pos x="connsiteX29011" y="connsiteY29011"/>
              </a:cxn>
              <a:cxn ang="0">
                <a:pos x="connsiteX29012" y="connsiteY29012"/>
              </a:cxn>
              <a:cxn ang="0">
                <a:pos x="connsiteX29013" y="connsiteY29013"/>
              </a:cxn>
              <a:cxn ang="0">
                <a:pos x="connsiteX29014" y="connsiteY29014"/>
              </a:cxn>
              <a:cxn ang="0">
                <a:pos x="connsiteX29015" y="connsiteY29015"/>
              </a:cxn>
              <a:cxn ang="0">
                <a:pos x="connsiteX29016" y="connsiteY29016"/>
              </a:cxn>
              <a:cxn ang="0">
                <a:pos x="connsiteX29017" y="connsiteY29017"/>
              </a:cxn>
              <a:cxn ang="0">
                <a:pos x="connsiteX29018" y="connsiteY29018"/>
              </a:cxn>
              <a:cxn ang="0">
                <a:pos x="connsiteX29019" y="connsiteY29019"/>
              </a:cxn>
              <a:cxn ang="0">
                <a:pos x="connsiteX29020" y="connsiteY29020"/>
              </a:cxn>
              <a:cxn ang="0">
                <a:pos x="connsiteX29021" y="connsiteY29021"/>
              </a:cxn>
              <a:cxn ang="0">
                <a:pos x="connsiteX29022" y="connsiteY29022"/>
              </a:cxn>
              <a:cxn ang="0">
                <a:pos x="connsiteX29023" y="connsiteY29023"/>
              </a:cxn>
              <a:cxn ang="0">
                <a:pos x="connsiteX29024" y="connsiteY29024"/>
              </a:cxn>
              <a:cxn ang="0">
                <a:pos x="connsiteX29025" y="connsiteY29025"/>
              </a:cxn>
              <a:cxn ang="0">
                <a:pos x="connsiteX29026" y="connsiteY29026"/>
              </a:cxn>
              <a:cxn ang="0">
                <a:pos x="connsiteX29027" y="connsiteY29027"/>
              </a:cxn>
              <a:cxn ang="0">
                <a:pos x="connsiteX29028" y="connsiteY29028"/>
              </a:cxn>
              <a:cxn ang="0">
                <a:pos x="connsiteX29029" y="connsiteY29029"/>
              </a:cxn>
              <a:cxn ang="0">
                <a:pos x="connsiteX29030" y="connsiteY29030"/>
              </a:cxn>
              <a:cxn ang="0">
                <a:pos x="connsiteX29031" y="connsiteY29031"/>
              </a:cxn>
              <a:cxn ang="0">
                <a:pos x="connsiteX29032" y="connsiteY29032"/>
              </a:cxn>
              <a:cxn ang="0">
                <a:pos x="connsiteX29033" y="connsiteY29033"/>
              </a:cxn>
              <a:cxn ang="0">
                <a:pos x="connsiteX29034" y="connsiteY29034"/>
              </a:cxn>
              <a:cxn ang="0">
                <a:pos x="connsiteX29035" y="connsiteY29035"/>
              </a:cxn>
              <a:cxn ang="0">
                <a:pos x="connsiteX29036" y="connsiteY29036"/>
              </a:cxn>
              <a:cxn ang="0">
                <a:pos x="connsiteX29037" y="connsiteY29037"/>
              </a:cxn>
              <a:cxn ang="0">
                <a:pos x="connsiteX29038" y="connsiteY29038"/>
              </a:cxn>
              <a:cxn ang="0">
                <a:pos x="connsiteX29039" y="connsiteY29039"/>
              </a:cxn>
              <a:cxn ang="0">
                <a:pos x="connsiteX29040" y="connsiteY29040"/>
              </a:cxn>
              <a:cxn ang="0">
                <a:pos x="connsiteX29041" y="connsiteY29041"/>
              </a:cxn>
              <a:cxn ang="0">
                <a:pos x="connsiteX29042" y="connsiteY29042"/>
              </a:cxn>
              <a:cxn ang="0">
                <a:pos x="connsiteX29043" y="connsiteY29043"/>
              </a:cxn>
              <a:cxn ang="0">
                <a:pos x="connsiteX29044" y="connsiteY29044"/>
              </a:cxn>
              <a:cxn ang="0">
                <a:pos x="connsiteX29045" y="connsiteY29045"/>
              </a:cxn>
              <a:cxn ang="0">
                <a:pos x="connsiteX29046" y="connsiteY29046"/>
              </a:cxn>
              <a:cxn ang="0">
                <a:pos x="connsiteX29047" y="connsiteY29047"/>
              </a:cxn>
              <a:cxn ang="0">
                <a:pos x="connsiteX29048" y="connsiteY29048"/>
              </a:cxn>
              <a:cxn ang="0">
                <a:pos x="connsiteX29049" y="connsiteY29049"/>
              </a:cxn>
              <a:cxn ang="0">
                <a:pos x="connsiteX29050" y="connsiteY29050"/>
              </a:cxn>
              <a:cxn ang="0">
                <a:pos x="connsiteX29051" y="connsiteY29051"/>
              </a:cxn>
              <a:cxn ang="0">
                <a:pos x="connsiteX29052" y="connsiteY29052"/>
              </a:cxn>
              <a:cxn ang="0">
                <a:pos x="connsiteX29053" y="connsiteY29053"/>
              </a:cxn>
              <a:cxn ang="0">
                <a:pos x="connsiteX29054" y="connsiteY29054"/>
              </a:cxn>
              <a:cxn ang="0">
                <a:pos x="connsiteX29055" y="connsiteY29055"/>
              </a:cxn>
              <a:cxn ang="0">
                <a:pos x="connsiteX29056" y="connsiteY29056"/>
              </a:cxn>
              <a:cxn ang="0">
                <a:pos x="connsiteX29057" y="connsiteY29057"/>
              </a:cxn>
              <a:cxn ang="0">
                <a:pos x="connsiteX29058" y="connsiteY29058"/>
              </a:cxn>
              <a:cxn ang="0">
                <a:pos x="connsiteX29059" y="connsiteY29059"/>
              </a:cxn>
              <a:cxn ang="0">
                <a:pos x="connsiteX29060" y="connsiteY29060"/>
              </a:cxn>
              <a:cxn ang="0">
                <a:pos x="connsiteX29061" y="connsiteY29061"/>
              </a:cxn>
              <a:cxn ang="0">
                <a:pos x="connsiteX29062" y="connsiteY29062"/>
              </a:cxn>
              <a:cxn ang="0">
                <a:pos x="connsiteX29063" y="connsiteY29063"/>
              </a:cxn>
              <a:cxn ang="0">
                <a:pos x="connsiteX29064" y="connsiteY29064"/>
              </a:cxn>
              <a:cxn ang="0">
                <a:pos x="connsiteX29065" y="connsiteY29065"/>
              </a:cxn>
              <a:cxn ang="0">
                <a:pos x="connsiteX29066" y="connsiteY29066"/>
              </a:cxn>
              <a:cxn ang="0">
                <a:pos x="connsiteX29067" y="connsiteY29067"/>
              </a:cxn>
              <a:cxn ang="0">
                <a:pos x="connsiteX29068" y="connsiteY29068"/>
              </a:cxn>
              <a:cxn ang="0">
                <a:pos x="connsiteX29069" y="connsiteY29069"/>
              </a:cxn>
              <a:cxn ang="0">
                <a:pos x="connsiteX29070" y="connsiteY29070"/>
              </a:cxn>
              <a:cxn ang="0">
                <a:pos x="connsiteX29071" y="connsiteY29071"/>
              </a:cxn>
              <a:cxn ang="0">
                <a:pos x="connsiteX29072" y="connsiteY29072"/>
              </a:cxn>
              <a:cxn ang="0">
                <a:pos x="connsiteX29073" y="connsiteY29073"/>
              </a:cxn>
              <a:cxn ang="0">
                <a:pos x="connsiteX29074" y="connsiteY29074"/>
              </a:cxn>
              <a:cxn ang="0">
                <a:pos x="connsiteX29075" y="connsiteY29075"/>
              </a:cxn>
              <a:cxn ang="0">
                <a:pos x="connsiteX29076" y="connsiteY29076"/>
              </a:cxn>
              <a:cxn ang="0">
                <a:pos x="connsiteX29077" y="connsiteY29077"/>
              </a:cxn>
              <a:cxn ang="0">
                <a:pos x="connsiteX29078" y="connsiteY29078"/>
              </a:cxn>
              <a:cxn ang="0">
                <a:pos x="connsiteX29079" y="connsiteY29079"/>
              </a:cxn>
              <a:cxn ang="0">
                <a:pos x="connsiteX29080" y="connsiteY29080"/>
              </a:cxn>
              <a:cxn ang="0">
                <a:pos x="connsiteX29081" y="connsiteY29081"/>
              </a:cxn>
              <a:cxn ang="0">
                <a:pos x="connsiteX29082" y="connsiteY29082"/>
              </a:cxn>
              <a:cxn ang="0">
                <a:pos x="connsiteX29083" y="connsiteY29083"/>
              </a:cxn>
              <a:cxn ang="0">
                <a:pos x="connsiteX29084" y="connsiteY29084"/>
              </a:cxn>
              <a:cxn ang="0">
                <a:pos x="connsiteX29085" y="connsiteY29085"/>
              </a:cxn>
              <a:cxn ang="0">
                <a:pos x="connsiteX29086" y="connsiteY29086"/>
              </a:cxn>
              <a:cxn ang="0">
                <a:pos x="connsiteX29087" y="connsiteY29087"/>
              </a:cxn>
              <a:cxn ang="0">
                <a:pos x="connsiteX29088" y="connsiteY29088"/>
              </a:cxn>
              <a:cxn ang="0">
                <a:pos x="connsiteX29089" y="connsiteY29089"/>
              </a:cxn>
              <a:cxn ang="0">
                <a:pos x="connsiteX29090" y="connsiteY29090"/>
              </a:cxn>
              <a:cxn ang="0">
                <a:pos x="connsiteX29091" y="connsiteY29091"/>
              </a:cxn>
              <a:cxn ang="0">
                <a:pos x="connsiteX29092" y="connsiteY29092"/>
              </a:cxn>
              <a:cxn ang="0">
                <a:pos x="connsiteX29093" y="connsiteY29093"/>
              </a:cxn>
              <a:cxn ang="0">
                <a:pos x="connsiteX29094" y="connsiteY29094"/>
              </a:cxn>
              <a:cxn ang="0">
                <a:pos x="connsiteX29095" y="connsiteY29095"/>
              </a:cxn>
              <a:cxn ang="0">
                <a:pos x="connsiteX29096" y="connsiteY29096"/>
              </a:cxn>
              <a:cxn ang="0">
                <a:pos x="connsiteX29097" y="connsiteY29097"/>
              </a:cxn>
              <a:cxn ang="0">
                <a:pos x="connsiteX29098" y="connsiteY29098"/>
              </a:cxn>
              <a:cxn ang="0">
                <a:pos x="connsiteX29099" y="connsiteY29099"/>
              </a:cxn>
              <a:cxn ang="0">
                <a:pos x="connsiteX29100" y="connsiteY29100"/>
              </a:cxn>
              <a:cxn ang="0">
                <a:pos x="connsiteX29101" y="connsiteY29101"/>
              </a:cxn>
              <a:cxn ang="0">
                <a:pos x="connsiteX29102" y="connsiteY29102"/>
              </a:cxn>
              <a:cxn ang="0">
                <a:pos x="connsiteX29103" y="connsiteY29103"/>
              </a:cxn>
              <a:cxn ang="0">
                <a:pos x="connsiteX29104" y="connsiteY29104"/>
              </a:cxn>
              <a:cxn ang="0">
                <a:pos x="connsiteX29105" y="connsiteY29105"/>
              </a:cxn>
              <a:cxn ang="0">
                <a:pos x="connsiteX29106" y="connsiteY29106"/>
              </a:cxn>
              <a:cxn ang="0">
                <a:pos x="connsiteX29107" y="connsiteY29107"/>
              </a:cxn>
              <a:cxn ang="0">
                <a:pos x="connsiteX29108" y="connsiteY29108"/>
              </a:cxn>
              <a:cxn ang="0">
                <a:pos x="connsiteX29109" y="connsiteY29109"/>
              </a:cxn>
              <a:cxn ang="0">
                <a:pos x="connsiteX29110" y="connsiteY29110"/>
              </a:cxn>
              <a:cxn ang="0">
                <a:pos x="connsiteX29111" y="connsiteY29111"/>
              </a:cxn>
              <a:cxn ang="0">
                <a:pos x="connsiteX29112" y="connsiteY29112"/>
              </a:cxn>
              <a:cxn ang="0">
                <a:pos x="connsiteX29113" y="connsiteY29113"/>
              </a:cxn>
              <a:cxn ang="0">
                <a:pos x="connsiteX29114" y="connsiteY29114"/>
              </a:cxn>
              <a:cxn ang="0">
                <a:pos x="connsiteX29115" y="connsiteY29115"/>
              </a:cxn>
              <a:cxn ang="0">
                <a:pos x="connsiteX29116" y="connsiteY29116"/>
              </a:cxn>
              <a:cxn ang="0">
                <a:pos x="connsiteX29117" y="connsiteY29117"/>
              </a:cxn>
              <a:cxn ang="0">
                <a:pos x="connsiteX29118" y="connsiteY29118"/>
              </a:cxn>
              <a:cxn ang="0">
                <a:pos x="connsiteX29119" y="connsiteY29119"/>
              </a:cxn>
              <a:cxn ang="0">
                <a:pos x="connsiteX29120" y="connsiteY29120"/>
              </a:cxn>
              <a:cxn ang="0">
                <a:pos x="connsiteX29121" y="connsiteY29121"/>
              </a:cxn>
              <a:cxn ang="0">
                <a:pos x="connsiteX29122" y="connsiteY29122"/>
              </a:cxn>
              <a:cxn ang="0">
                <a:pos x="connsiteX29123" y="connsiteY29123"/>
              </a:cxn>
              <a:cxn ang="0">
                <a:pos x="connsiteX29124" y="connsiteY29124"/>
              </a:cxn>
              <a:cxn ang="0">
                <a:pos x="connsiteX29125" y="connsiteY29125"/>
              </a:cxn>
              <a:cxn ang="0">
                <a:pos x="connsiteX29126" y="connsiteY29126"/>
              </a:cxn>
              <a:cxn ang="0">
                <a:pos x="connsiteX29127" y="connsiteY29127"/>
              </a:cxn>
              <a:cxn ang="0">
                <a:pos x="connsiteX29128" y="connsiteY29128"/>
              </a:cxn>
              <a:cxn ang="0">
                <a:pos x="connsiteX29129" y="connsiteY29129"/>
              </a:cxn>
              <a:cxn ang="0">
                <a:pos x="connsiteX29130" y="connsiteY29130"/>
              </a:cxn>
              <a:cxn ang="0">
                <a:pos x="connsiteX29131" y="connsiteY29131"/>
              </a:cxn>
              <a:cxn ang="0">
                <a:pos x="connsiteX29132" y="connsiteY29132"/>
              </a:cxn>
              <a:cxn ang="0">
                <a:pos x="connsiteX29133" y="connsiteY29133"/>
              </a:cxn>
              <a:cxn ang="0">
                <a:pos x="connsiteX29134" y="connsiteY29134"/>
              </a:cxn>
              <a:cxn ang="0">
                <a:pos x="connsiteX29135" y="connsiteY29135"/>
              </a:cxn>
              <a:cxn ang="0">
                <a:pos x="connsiteX29136" y="connsiteY29136"/>
              </a:cxn>
              <a:cxn ang="0">
                <a:pos x="connsiteX29137" y="connsiteY29137"/>
              </a:cxn>
              <a:cxn ang="0">
                <a:pos x="connsiteX29138" y="connsiteY29138"/>
              </a:cxn>
              <a:cxn ang="0">
                <a:pos x="connsiteX29139" y="connsiteY29139"/>
              </a:cxn>
              <a:cxn ang="0">
                <a:pos x="connsiteX29140" y="connsiteY29140"/>
              </a:cxn>
              <a:cxn ang="0">
                <a:pos x="connsiteX29141" y="connsiteY29141"/>
              </a:cxn>
              <a:cxn ang="0">
                <a:pos x="connsiteX29142" y="connsiteY29142"/>
              </a:cxn>
              <a:cxn ang="0">
                <a:pos x="connsiteX29143" y="connsiteY29143"/>
              </a:cxn>
              <a:cxn ang="0">
                <a:pos x="connsiteX29144" y="connsiteY29144"/>
              </a:cxn>
              <a:cxn ang="0">
                <a:pos x="connsiteX29145" y="connsiteY29145"/>
              </a:cxn>
              <a:cxn ang="0">
                <a:pos x="connsiteX29146" y="connsiteY29146"/>
              </a:cxn>
              <a:cxn ang="0">
                <a:pos x="connsiteX29147" y="connsiteY29147"/>
              </a:cxn>
              <a:cxn ang="0">
                <a:pos x="connsiteX29148" y="connsiteY29148"/>
              </a:cxn>
              <a:cxn ang="0">
                <a:pos x="connsiteX29149" y="connsiteY29149"/>
              </a:cxn>
              <a:cxn ang="0">
                <a:pos x="connsiteX29150" y="connsiteY29150"/>
              </a:cxn>
              <a:cxn ang="0">
                <a:pos x="connsiteX29151" y="connsiteY29151"/>
              </a:cxn>
              <a:cxn ang="0">
                <a:pos x="connsiteX29152" y="connsiteY29152"/>
              </a:cxn>
              <a:cxn ang="0">
                <a:pos x="connsiteX29153" y="connsiteY29153"/>
              </a:cxn>
              <a:cxn ang="0">
                <a:pos x="connsiteX29154" y="connsiteY29154"/>
              </a:cxn>
              <a:cxn ang="0">
                <a:pos x="connsiteX29155" y="connsiteY29155"/>
              </a:cxn>
              <a:cxn ang="0">
                <a:pos x="connsiteX29156" y="connsiteY29156"/>
              </a:cxn>
              <a:cxn ang="0">
                <a:pos x="connsiteX29157" y="connsiteY29157"/>
              </a:cxn>
              <a:cxn ang="0">
                <a:pos x="connsiteX29158" y="connsiteY29158"/>
              </a:cxn>
              <a:cxn ang="0">
                <a:pos x="connsiteX29159" y="connsiteY29159"/>
              </a:cxn>
              <a:cxn ang="0">
                <a:pos x="connsiteX29160" y="connsiteY29160"/>
              </a:cxn>
              <a:cxn ang="0">
                <a:pos x="connsiteX29161" y="connsiteY29161"/>
              </a:cxn>
              <a:cxn ang="0">
                <a:pos x="connsiteX29162" y="connsiteY29162"/>
              </a:cxn>
              <a:cxn ang="0">
                <a:pos x="connsiteX29163" y="connsiteY29163"/>
              </a:cxn>
              <a:cxn ang="0">
                <a:pos x="connsiteX29164" y="connsiteY29164"/>
              </a:cxn>
              <a:cxn ang="0">
                <a:pos x="connsiteX29165" y="connsiteY29165"/>
              </a:cxn>
              <a:cxn ang="0">
                <a:pos x="connsiteX29166" y="connsiteY29166"/>
              </a:cxn>
              <a:cxn ang="0">
                <a:pos x="connsiteX29167" y="connsiteY29167"/>
              </a:cxn>
              <a:cxn ang="0">
                <a:pos x="connsiteX29168" y="connsiteY29168"/>
              </a:cxn>
              <a:cxn ang="0">
                <a:pos x="connsiteX29169" y="connsiteY29169"/>
              </a:cxn>
              <a:cxn ang="0">
                <a:pos x="connsiteX29170" y="connsiteY29170"/>
              </a:cxn>
              <a:cxn ang="0">
                <a:pos x="connsiteX29171" y="connsiteY29171"/>
              </a:cxn>
              <a:cxn ang="0">
                <a:pos x="connsiteX29172" y="connsiteY29172"/>
              </a:cxn>
              <a:cxn ang="0">
                <a:pos x="connsiteX29173" y="connsiteY29173"/>
              </a:cxn>
              <a:cxn ang="0">
                <a:pos x="connsiteX29174" y="connsiteY29174"/>
              </a:cxn>
              <a:cxn ang="0">
                <a:pos x="connsiteX29175" y="connsiteY29175"/>
              </a:cxn>
              <a:cxn ang="0">
                <a:pos x="connsiteX29176" y="connsiteY29176"/>
              </a:cxn>
              <a:cxn ang="0">
                <a:pos x="connsiteX29177" y="connsiteY29177"/>
              </a:cxn>
              <a:cxn ang="0">
                <a:pos x="connsiteX29178" y="connsiteY29178"/>
              </a:cxn>
              <a:cxn ang="0">
                <a:pos x="connsiteX29179" y="connsiteY29179"/>
              </a:cxn>
              <a:cxn ang="0">
                <a:pos x="connsiteX29180" y="connsiteY29180"/>
              </a:cxn>
              <a:cxn ang="0">
                <a:pos x="connsiteX29181" y="connsiteY29181"/>
              </a:cxn>
              <a:cxn ang="0">
                <a:pos x="connsiteX29182" y="connsiteY29182"/>
              </a:cxn>
              <a:cxn ang="0">
                <a:pos x="connsiteX29183" y="connsiteY29183"/>
              </a:cxn>
              <a:cxn ang="0">
                <a:pos x="connsiteX29184" y="connsiteY29184"/>
              </a:cxn>
              <a:cxn ang="0">
                <a:pos x="connsiteX29185" y="connsiteY29185"/>
              </a:cxn>
              <a:cxn ang="0">
                <a:pos x="connsiteX29186" y="connsiteY29186"/>
              </a:cxn>
              <a:cxn ang="0">
                <a:pos x="connsiteX29187" y="connsiteY29187"/>
              </a:cxn>
              <a:cxn ang="0">
                <a:pos x="connsiteX29188" y="connsiteY29188"/>
              </a:cxn>
              <a:cxn ang="0">
                <a:pos x="connsiteX29189" y="connsiteY29189"/>
              </a:cxn>
              <a:cxn ang="0">
                <a:pos x="connsiteX29190" y="connsiteY29190"/>
              </a:cxn>
              <a:cxn ang="0">
                <a:pos x="connsiteX29191" y="connsiteY29191"/>
              </a:cxn>
              <a:cxn ang="0">
                <a:pos x="connsiteX29192" y="connsiteY29192"/>
              </a:cxn>
              <a:cxn ang="0">
                <a:pos x="connsiteX29193" y="connsiteY29193"/>
              </a:cxn>
              <a:cxn ang="0">
                <a:pos x="connsiteX29194" y="connsiteY29194"/>
              </a:cxn>
              <a:cxn ang="0">
                <a:pos x="connsiteX29195" y="connsiteY29195"/>
              </a:cxn>
              <a:cxn ang="0">
                <a:pos x="connsiteX29196" y="connsiteY29196"/>
              </a:cxn>
              <a:cxn ang="0">
                <a:pos x="connsiteX29197" y="connsiteY29197"/>
              </a:cxn>
              <a:cxn ang="0">
                <a:pos x="connsiteX29198" y="connsiteY29198"/>
              </a:cxn>
              <a:cxn ang="0">
                <a:pos x="connsiteX29199" y="connsiteY29199"/>
              </a:cxn>
              <a:cxn ang="0">
                <a:pos x="connsiteX29200" y="connsiteY29200"/>
              </a:cxn>
              <a:cxn ang="0">
                <a:pos x="connsiteX29201" y="connsiteY29201"/>
              </a:cxn>
              <a:cxn ang="0">
                <a:pos x="connsiteX29202" y="connsiteY29202"/>
              </a:cxn>
              <a:cxn ang="0">
                <a:pos x="connsiteX29203" y="connsiteY29203"/>
              </a:cxn>
              <a:cxn ang="0">
                <a:pos x="connsiteX29204" y="connsiteY29204"/>
              </a:cxn>
              <a:cxn ang="0">
                <a:pos x="connsiteX29205" y="connsiteY29205"/>
              </a:cxn>
              <a:cxn ang="0">
                <a:pos x="connsiteX29206" y="connsiteY29206"/>
              </a:cxn>
              <a:cxn ang="0">
                <a:pos x="connsiteX29207" y="connsiteY29207"/>
              </a:cxn>
              <a:cxn ang="0">
                <a:pos x="connsiteX29208" y="connsiteY29208"/>
              </a:cxn>
              <a:cxn ang="0">
                <a:pos x="connsiteX29209" y="connsiteY29209"/>
              </a:cxn>
              <a:cxn ang="0">
                <a:pos x="connsiteX29210" y="connsiteY29210"/>
              </a:cxn>
              <a:cxn ang="0">
                <a:pos x="connsiteX29211" y="connsiteY29211"/>
              </a:cxn>
              <a:cxn ang="0">
                <a:pos x="connsiteX29212" y="connsiteY29212"/>
              </a:cxn>
              <a:cxn ang="0">
                <a:pos x="connsiteX29213" y="connsiteY29213"/>
              </a:cxn>
              <a:cxn ang="0">
                <a:pos x="connsiteX29214" y="connsiteY29214"/>
              </a:cxn>
              <a:cxn ang="0">
                <a:pos x="connsiteX29215" y="connsiteY29215"/>
              </a:cxn>
              <a:cxn ang="0">
                <a:pos x="connsiteX29216" y="connsiteY29216"/>
              </a:cxn>
              <a:cxn ang="0">
                <a:pos x="connsiteX29217" y="connsiteY29217"/>
              </a:cxn>
              <a:cxn ang="0">
                <a:pos x="connsiteX29218" y="connsiteY29218"/>
              </a:cxn>
              <a:cxn ang="0">
                <a:pos x="connsiteX29219" y="connsiteY29219"/>
              </a:cxn>
              <a:cxn ang="0">
                <a:pos x="connsiteX29220" y="connsiteY29220"/>
              </a:cxn>
              <a:cxn ang="0">
                <a:pos x="connsiteX29221" y="connsiteY29221"/>
              </a:cxn>
              <a:cxn ang="0">
                <a:pos x="connsiteX29222" y="connsiteY29222"/>
              </a:cxn>
              <a:cxn ang="0">
                <a:pos x="connsiteX29223" y="connsiteY29223"/>
              </a:cxn>
              <a:cxn ang="0">
                <a:pos x="connsiteX29224" y="connsiteY29224"/>
              </a:cxn>
              <a:cxn ang="0">
                <a:pos x="connsiteX29225" y="connsiteY29225"/>
              </a:cxn>
              <a:cxn ang="0">
                <a:pos x="connsiteX29226" y="connsiteY29226"/>
              </a:cxn>
              <a:cxn ang="0">
                <a:pos x="connsiteX29227" y="connsiteY29227"/>
              </a:cxn>
              <a:cxn ang="0">
                <a:pos x="connsiteX29228" y="connsiteY29228"/>
              </a:cxn>
              <a:cxn ang="0">
                <a:pos x="connsiteX29229" y="connsiteY29229"/>
              </a:cxn>
              <a:cxn ang="0">
                <a:pos x="connsiteX29230" y="connsiteY29230"/>
              </a:cxn>
              <a:cxn ang="0">
                <a:pos x="connsiteX29231" y="connsiteY29231"/>
              </a:cxn>
              <a:cxn ang="0">
                <a:pos x="connsiteX29232" y="connsiteY29232"/>
              </a:cxn>
              <a:cxn ang="0">
                <a:pos x="connsiteX29233" y="connsiteY29233"/>
              </a:cxn>
              <a:cxn ang="0">
                <a:pos x="connsiteX29234" y="connsiteY29234"/>
              </a:cxn>
              <a:cxn ang="0">
                <a:pos x="connsiteX29235" y="connsiteY29235"/>
              </a:cxn>
              <a:cxn ang="0">
                <a:pos x="connsiteX29236" y="connsiteY29236"/>
              </a:cxn>
              <a:cxn ang="0">
                <a:pos x="connsiteX29237" y="connsiteY29237"/>
              </a:cxn>
              <a:cxn ang="0">
                <a:pos x="connsiteX29238" y="connsiteY29238"/>
              </a:cxn>
              <a:cxn ang="0">
                <a:pos x="connsiteX29239" y="connsiteY29239"/>
              </a:cxn>
              <a:cxn ang="0">
                <a:pos x="connsiteX29240" y="connsiteY29240"/>
              </a:cxn>
              <a:cxn ang="0">
                <a:pos x="connsiteX29241" y="connsiteY29241"/>
              </a:cxn>
              <a:cxn ang="0">
                <a:pos x="connsiteX29242" y="connsiteY29242"/>
              </a:cxn>
              <a:cxn ang="0">
                <a:pos x="connsiteX29243" y="connsiteY29243"/>
              </a:cxn>
              <a:cxn ang="0">
                <a:pos x="connsiteX29244" y="connsiteY29244"/>
              </a:cxn>
              <a:cxn ang="0">
                <a:pos x="connsiteX29245" y="connsiteY29245"/>
              </a:cxn>
              <a:cxn ang="0">
                <a:pos x="connsiteX29246" y="connsiteY29246"/>
              </a:cxn>
              <a:cxn ang="0">
                <a:pos x="connsiteX29247" y="connsiteY29247"/>
              </a:cxn>
              <a:cxn ang="0">
                <a:pos x="connsiteX29248" y="connsiteY29248"/>
              </a:cxn>
              <a:cxn ang="0">
                <a:pos x="connsiteX29249" y="connsiteY29249"/>
              </a:cxn>
              <a:cxn ang="0">
                <a:pos x="connsiteX29250" y="connsiteY29250"/>
              </a:cxn>
              <a:cxn ang="0">
                <a:pos x="connsiteX29251" y="connsiteY29251"/>
              </a:cxn>
              <a:cxn ang="0">
                <a:pos x="connsiteX29252" y="connsiteY29252"/>
              </a:cxn>
              <a:cxn ang="0">
                <a:pos x="connsiteX29253" y="connsiteY29253"/>
              </a:cxn>
              <a:cxn ang="0">
                <a:pos x="connsiteX29254" y="connsiteY29254"/>
              </a:cxn>
              <a:cxn ang="0">
                <a:pos x="connsiteX29255" y="connsiteY29255"/>
              </a:cxn>
              <a:cxn ang="0">
                <a:pos x="connsiteX29256" y="connsiteY29256"/>
              </a:cxn>
              <a:cxn ang="0">
                <a:pos x="connsiteX29257" y="connsiteY29257"/>
              </a:cxn>
              <a:cxn ang="0">
                <a:pos x="connsiteX29258" y="connsiteY29258"/>
              </a:cxn>
              <a:cxn ang="0">
                <a:pos x="connsiteX29259" y="connsiteY29259"/>
              </a:cxn>
              <a:cxn ang="0">
                <a:pos x="connsiteX29260" y="connsiteY29260"/>
              </a:cxn>
              <a:cxn ang="0">
                <a:pos x="connsiteX29261" y="connsiteY29261"/>
              </a:cxn>
              <a:cxn ang="0">
                <a:pos x="connsiteX29262" y="connsiteY29262"/>
              </a:cxn>
              <a:cxn ang="0">
                <a:pos x="connsiteX29263" y="connsiteY29263"/>
              </a:cxn>
              <a:cxn ang="0">
                <a:pos x="connsiteX29264" y="connsiteY29264"/>
              </a:cxn>
              <a:cxn ang="0">
                <a:pos x="connsiteX29265" y="connsiteY29265"/>
              </a:cxn>
              <a:cxn ang="0">
                <a:pos x="connsiteX29266" y="connsiteY29266"/>
              </a:cxn>
              <a:cxn ang="0">
                <a:pos x="connsiteX29267" y="connsiteY29267"/>
              </a:cxn>
              <a:cxn ang="0">
                <a:pos x="connsiteX29268" y="connsiteY29268"/>
              </a:cxn>
              <a:cxn ang="0">
                <a:pos x="connsiteX29269" y="connsiteY29269"/>
              </a:cxn>
              <a:cxn ang="0">
                <a:pos x="connsiteX29270" y="connsiteY29270"/>
              </a:cxn>
              <a:cxn ang="0">
                <a:pos x="connsiteX29271" y="connsiteY29271"/>
              </a:cxn>
              <a:cxn ang="0">
                <a:pos x="connsiteX29272" y="connsiteY29272"/>
              </a:cxn>
              <a:cxn ang="0">
                <a:pos x="connsiteX29273" y="connsiteY29273"/>
              </a:cxn>
              <a:cxn ang="0">
                <a:pos x="connsiteX29274" y="connsiteY29274"/>
              </a:cxn>
              <a:cxn ang="0">
                <a:pos x="connsiteX29275" y="connsiteY29275"/>
              </a:cxn>
              <a:cxn ang="0">
                <a:pos x="connsiteX29276" y="connsiteY29276"/>
              </a:cxn>
              <a:cxn ang="0">
                <a:pos x="connsiteX29277" y="connsiteY29277"/>
              </a:cxn>
              <a:cxn ang="0">
                <a:pos x="connsiteX29278" y="connsiteY29278"/>
              </a:cxn>
              <a:cxn ang="0">
                <a:pos x="connsiteX29279" y="connsiteY29279"/>
              </a:cxn>
              <a:cxn ang="0">
                <a:pos x="connsiteX29280" y="connsiteY29280"/>
              </a:cxn>
              <a:cxn ang="0">
                <a:pos x="connsiteX29281" y="connsiteY29281"/>
              </a:cxn>
              <a:cxn ang="0">
                <a:pos x="connsiteX29282" y="connsiteY29282"/>
              </a:cxn>
              <a:cxn ang="0">
                <a:pos x="connsiteX29283" y="connsiteY29283"/>
              </a:cxn>
              <a:cxn ang="0">
                <a:pos x="connsiteX29284" y="connsiteY29284"/>
              </a:cxn>
              <a:cxn ang="0">
                <a:pos x="connsiteX29285" y="connsiteY29285"/>
              </a:cxn>
              <a:cxn ang="0">
                <a:pos x="connsiteX29286" y="connsiteY29286"/>
              </a:cxn>
              <a:cxn ang="0">
                <a:pos x="connsiteX29287" y="connsiteY29287"/>
              </a:cxn>
              <a:cxn ang="0">
                <a:pos x="connsiteX29288" y="connsiteY29288"/>
              </a:cxn>
              <a:cxn ang="0">
                <a:pos x="connsiteX29289" y="connsiteY29289"/>
              </a:cxn>
              <a:cxn ang="0">
                <a:pos x="connsiteX29290" y="connsiteY29290"/>
              </a:cxn>
              <a:cxn ang="0">
                <a:pos x="connsiteX29291" y="connsiteY29291"/>
              </a:cxn>
              <a:cxn ang="0">
                <a:pos x="connsiteX29292" y="connsiteY29292"/>
              </a:cxn>
              <a:cxn ang="0">
                <a:pos x="connsiteX29293" y="connsiteY29293"/>
              </a:cxn>
              <a:cxn ang="0">
                <a:pos x="connsiteX29294" y="connsiteY29294"/>
              </a:cxn>
              <a:cxn ang="0">
                <a:pos x="connsiteX29295" y="connsiteY29295"/>
              </a:cxn>
              <a:cxn ang="0">
                <a:pos x="connsiteX29296" y="connsiteY29296"/>
              </a:cxn>
              <a:cxn ang="0">
                <a:pos x="connsiteX29297" y="connsiteY29297"/>
              </a:cxn>
              <a:cxn ang="0">
                <a:pos x="connsiteX29298" y="connsiteY29298"/>
              </a:cxn>
              <a:cxn ang="0">
                <a:pos x="connsiteX29299" y="connsiteY29299"/>
              </a:cxn>
              <a:cxn ang="0">
                <a:pos x="connsiteX29300" y="connsiteY29300"/>
              </a:cxn>
              <a:cxn ang="0">
                <a:pos x="connsiteX29301" y="connsiteY29301"/>
              </a:cxn>
              <a:cxn ang="0">
                <a:pos x="connsiteX29302" y="connsiteY29302"/>
              </a:cxn>
              <a:cxn ang="0">
                <a:pos x="connsiteX29303" y="connsiteY29303"/>
              </a:cxn>
              <a:cxn ang="0">
                <a:pos x="connsiteX29304" y="connsiteY29304"/>
              </a:cxn>
              <a:cxn ang="0">
                <a:pos x="connsiteX29305" y="connsiteY29305"/>
              </a:cxn>
              <a:cxn ang="0">
                <a:pos x="connsiteX29306" y="connsiteY29306"/>
              </a:cxn>
              <a:cxn ang="0">
                <a:pos x="connsiteX29307" y="connsiteY29307"/>
              </a:cxn>
              <a:cxn ang="0">
                <a:pos x="connsiteX29308" y="connsiteY29308"/>
              </a:cxn>
              <a:cxn ang="0">
                <a:pos x="connsiteX29309" y="connsiteY29309"/>
              </a:cxn>
              <a:cxn ang="0">
                <a:pos x="connsiteX29310" y="connsiteY29310"/>
              </a:cxn>
              <a:cxn ang="0">
                <a:pos x="connsiteX29311" y="connsiteY29311"/>
              </a:cxn>
              <a:cxn ang="0">
                <a:pos x="connsiteX29312" y="connsiteY29312"/>
              </a:cxn>
              <a:cxn ang="0">
                <a:pos x="connsiteX29313" y="connsiteY29313"/>
              </a:cxn>
              <a:cxn ang="0">
                <a:pos x="connsiteX29314" y="connsiteY29314"/>
              </a:cxn>
              <a:cxn ang="0">
                <a:pos x="connsiteX29315" y="connsiteY29315"/>
              </a:cxn>
              <a:cxn ang="0">
                <a:pos x="connsiteX29316" y="connsiteY29316"/>
              </a:cxn>
              <a:cxn ang="0">
                <a:pos x="connsiteX29317" y="connsiteY29317"/>
              </a:cxn>
              <a:cxn ang="0">
                <a:pos x="connsiteX29318" y="connsiteY29318"/>
              </a:cxn>
              <a:cxn ang="0">
                <a:pos x="connsiteX29319" y="connsiteY29319"/>
              </a:cxn>
              <a:cxn ang="0">
                <a:pos x="connsiteX29320" y="connsiteY29320"/>
              </a:cxn>
              <a:cxn ang="0">
                <a:pos x="connsiteX29321" y="connsiteY29321"/>
              </a:cxn>
              <a:cxn ang="0">
                <a:pos x="connsiteX29322" y="connsiteY29322"/>
              </a:cxn>
              <a:cxn ang="0">
                <a:pos x="connsiteX29323" y="connsiteY29323"/>
              </a:cxn>
              <a:cxn ang="0">
                <a:pos x="connsiteX29324" y="connsiteY29324"/>
              </a:cxn>
              <a:cxn ang="0">
                <a:pos x="connsiteX29325" y="connsiteY29325"/>
              </a:cxn>
              <a:cxn ang="0">
                <a:pos x="connsiteX29326" y="connsiteY29326"/>
              </a:cxn>
              <a:cxn ang="0">
                <a:pos x="connsiteX29327" y="connsiteY29327"/>
              </a:cxn>
              <a:cxn ang="0">
                <a:pos x="connsiteX29328" y="connsiteY29328"/>
              </a:cxn>
              <a:cxn ang="0">
                <a:pos x="connsiteX29329" y="connsiteY29329"/>
              </a:cxn>
              <a:cxn ang="0">
                <a:pos x="connsiteX29330" y="connsiteY29330"/>
              </a:cxn>
              <a:cxn ang="0">
                <a:pos x="connsiteX29331" y="connsiteY29331"/>
              </a:cxn>
              <a:cxn ang="0">
                <a:pos x="connsiteX29332" y="connsiteY29332"/>
              </a:cxn>
              <a:cxn ang="0">
                <a:pos x="connsiteX29333" y="connsiteY29333"/>
              </a:cxn>
              <a:cxn ang="0">
                <a:pos x="connsiteX29334" y="connsiteY29334"/>
              </a:cxn>
              <a:cxn ang="0">
                <a:pos x="connsiteX29335" y="connsiteY29335"/>
              </a:cxn>
              <a:cxn ang="0">
                <a:pos x="connsiteX29336" y="connsiteY29336"/>
              </a:cxn>
              <a:cxn ang="0">
                <a:pos x="connsiteX29337" y="connsiteY29337"/>
              </a:cxn>
              <a:cxn ang="0">
                <a:pos x="connsiteX29338" y="connsiteY29338"/>
              </a:cxn>
              <a:cxn ang="0">
                <a:pos x="connsiteX29339" y="connsiteY29339"/>
              </a:cxn>
              <a:cxn ang="0">
                <a:pos x="connsiteX29340" y="connsiteY29340"/>
              </a:cxn>
              <a:cxn ang="0">
                <a:pos x="connsiteX29341" y="connsiteY29341"/>
              </a:cxn>
              <a:cxn ang="0">
                <a:pos x="connsiteX29342" y="connsiteY29342"/>
              </a:cxn>
              <a:cxn ang="0">
                <a:pos x="connsiteX29343" y="connsiteY29343"/>
              </a:cxn>
              <a:cxn ang="0">
                <a:pos x="connsiteX29344" y="connsiteY29344"/>
              </a:cxn>
              <a:cxn ang="0">
                <a:pos x="connsiteX29345" y="connsiteY29345"/>
              </a:cxn>
              <a:cxn ang="0">
                <a:pos x="connsiteX29346" y="connsiteY29346"/>
              </a:cxn>
              <a:cxn ang="0">
                <a:pos x="connsiteX29347" y="connsiteY29347"/>
              </a:cxn>
              <a:cxn ang="0">
                <a:pos x="connsiteX29348" y="connsiteY29348"/>
              </a:cxn>
              <a:cxn ang="0">
                <a:pos x="connsiteX29349" y="connsiteY29349"/>
              </a:cxn>
              <a:cxn ang="0">
                <a:pos x="connsiteX29350" y="connsiteY29350"/>
              </a:cxn>
              <a:cxn ang="0">
                <a:pos x="connsiteX29351" y="connsiteY29351"/>
              </a:cxn>
              <a:cxn ang="0">
                <a:pos x="connsiteX29352" y="connsiteY29352"/>
              </a:cxn>
              <a:cxn ang="0">
                <a:pos x="connsiteX29353" y="connsiteY29353"/>
              </a:cxn>
              <a:cxn ang="0">
                <a:pos x="connsiteX29354" y="connsiteY29354"/>
              </a:cxn>
              <a:cxn ang="0">
                <a:pos x="connsiteX29355" y="connsiteY29355"/>
              </a:cxn>
              <a:cxn ang="0">
                <a:pos x="connsiteX29356" y="connsiteY29356"/>
              </a:cxn>
              <a:cxn ang="0">
                <a:pos x="connsiteX29357" y="connsiteY29357"/>
              </a:cxn>
              <a:cxn ang="0">
                <a:pos x="connsiteX29358" y="connsiteY29358"/>
              </a:cxn>
              <a:cxn ang="0">
                <a:pos x="connsiteX29359" y="connsiteY29359"/>
              </a:cxn>
              <a:cxn ang="0">
                <a:pos x="connsiteX29360" y="connsiteY29360"/>
              </a:cxn>
              <a:cxn ang="0">
                <a:pos x="connsiteX29361" y="connsiteY29361"/>
              </a:cxn>
              <a:cxn ang="0">
                <a:pos x="connsiteX29362" y="connsiteY29362"/>
              </a:cxn>
              <a:cxn ang="0">
                <a:pos x="connsiteX29363" y="connsiteY29363"/>
              </a:cxn>
              <a:cxn ang="0">
                <a:pos x="connsiteX29364" y="connsiteY29364"/>
              </a:cxn>
              <a:cxn ang="0">
                <a:pos x="connsiteX29365" y="connsiteY29365"/>
              </a:cxn>
              <a:cxn ang="0">
                <a:pos x="connsiteX29366" y="connsiteY29366"/>
              </a:cxn>
              <a:cxn ang="0">
                <a:pos x="connsiteX29367" y="connsiteY29367"/>
              </a:cxn>
              <a:cxn ang="0">
                <a:pos x="connsiteX29368" y="connsiteY29368"/>
              </a:cxn>
              <a:cxn ang="0">
                <a:pos x="connsiteX29369" y="connsiteY29369"/>
              </a:cxn>
              <a:cxn ang="0">
                <a:pos x="connsiteX29370" y="connsiteY29370"/>
              </a:cxn>
              <a:cxn ang="0">
                <a:pos x="connsiteX29371" y="connsiteY29371"/>
              </a:cxn>
              <a:cxn ang="0">
                <a:pos x="connsiteX29372" y="connsiteY29372"/>
              </a:cxn>
              <a:cxn ang="0">
                <a:pos x="connsiteX29373" y="connsiteY29373"/>
              </a:cxn>
              <a:cxn ang="0">
                <a:pos x="connsiteX29374" y="connsiteY29374"/>
              </a:cxn>
              <a:cxn ang="0">
                <a:pos x="connsiteX29375" y="connsiteY29375"/>
              </a:cxn>
              <a:cxn ang="0">
                <a:pos x="connsiteX29376" y="connsiteY29376"/>
              </a:cxn>
              <a:cxn ang="0">
                <a:pos x="connsiteX29377" y="connsiteY29377"/>
              </a:cxn>
              <a:cxn ang="0">
                <a:pos x="connsiteX29378" y="connsiteY29378"/>
              </a:cxn>
              <a:cxn ang="0">
                <a:pos x="connsiteX29379" y="connsiteY29379"/>
              </a:cxn>
              <a:cxn ang="0">
                <a:pos x="connsiteX29380" y="connsiteY29380"/>
              </a:cxn>
              <a:cxn ang="0">
                <a:pos x="connsiteX29381" y="connsiteY29381"/>
              </a:cxn>
              <a:cxn ang="0">
                <a:pos x="connsiteX29382" y="connsiteY29382"/>
              </a:cxn>
              <a:cxn ang="0">
                <a:pos x="connsiteX29383" y="connsiteY29383"/>
              </a:cxn>
              <a:cxn ang="0">
                <a:pos x="connsiteX29384" y="connsiteY29384"/>
              </a:cxn>
              <a:cxn ang="0">
                <a:pos x="connsiteX29385" y="connsiteY29385"/>
              </a:cxn>
              <a:cxn ang="0">
                <a:pos x="connsiteX29386" y="connsiteY29386"/>
              </a:cxn>
              <a:cxn ang="0">
                <a:pos x="connsiteX29387" y="connsiteY29387"/>
              </a:cxn>
              <a:cxn ang="0">
                <a:pos x="connsiteX29388" y="connsiteY29388"/>
              </a:cxn>
              <a:cxn ang="0">
                <a:pos x="connsiteX29389" y="connsiteY29389"/>
              </a:cxn>
              <a:cxn ang="0">
                <a:pos x="connsiteX29390" y="connsiteY29390"/>
              </a:cxn>
              <a:cxn ang="0">
                <a:pos x="connsiteX29391" y="connsiteY29391"/>
              </a:cxn>
              <a:cxn ang="0">
                <a:pos x="connsiteX29392" y="connsiteY29392"/>
              </a:cxn>
              <a:cxn ang="0">
                <a:pos x="connsiteX29393" y="connsiteY29393"/>
              </a:cxn>
              <a:cxn ang="0">
                <a:pos x="connsiteX29394" y="connsiteY29394"/>
              </a:cxn>
              <a:cxn ang="0">
                <a:pos x="connsiteX29395" y="connsiteY29395"/>
              </a:cxn>
              <a:cxn ang="0">
                <a:pos x="connsiteX29396" y="connsiteY29396"/>
              </a:cxn>
              <a:cxn ang="0">
                <a:pos x="connsiteX29397" y="connsiteY29397"/>
              </a:cxn>
              <a:cxn ang="0">
                <a:pos x="connsiteX29398" y="connsiteY29398"/>
              </a:cxn>
              <a:cxn ang="0">
                <a:pos x="connsiteX29399" y="connsiteY29399"/>
              </a:cxn>
              <a:cxn ang="0">
                <a:pos x="connsiteX29400" y="connsiteY29400"/>
              </a:cxn>
              <a:cxn ang="0">
                <a:pos x="connsiteX29401" y="connsiteY29401"/>
              </a:cxn>
              <a:cxn ang="0">
                <a:pos x="connsiteX29402" y="connsiteY29402"/>
              </a:cxn>
              <a:cxn ang="0">
                <a:pos x="connsiteX29403" y="connsiteY29403"/>
              </a:cxn>
              <a:cxn ang="0">
                <a:pos x="connsiteX29404" y="connsiteY29404"/>
              </a:cxn>
              <a:cxn ang="0">
                <a:pos x="connsiteX29405" y="connsiteY29405"/>
              </a:cxn>
              <a:cxn ang="0">
                <a:pos x="connsiteX29406" y="connsiteY29406"/>
              </a:cxn>
              <a:cxn ang="0">
                <a:pos x="connsiteX29407" y="connsiteY29407"/>
              </a:cxn>
              <a:cxn ang="0">
                <a:pos x="connsiteX29408" y="connsiteY29408"/>
              </a:cxn>
              <a:cxn ang="0">
                <a:pos x="connsiteX29409" y="connsiteY29409"/>
              </a:cxn>
              <a:cxn ang="0">
                <a:pos x="connsiteX29410" y="connsiteY29410"/>
              </a:cxn>
              <a:cxn ang="0">
                <a:pos x="connsiteX29411" y="connsiteY29411"/>
              </a:cxn>
              <a:cxn ang="0">
                <a:pos x="connsiteX29412" y="connsiteY29412"/>
              </a:cxn>
              <a:cxn ang="0">
                <a:pos x="connsiteX29413" y="connsiteY29413"/>
              </a:cxn>
              <a:cxn ang="0">
                <a:pos x="connsiteX29414" y="connsiteY29414"/>
              </a:cxn>
              <a:cxn ang="0">
                <a:pos x="connsiteX29415" y="connsiteY29415"/>
              </a:cxn>
              <a:cxn ang="0">
                <a:pos x="connsiteX29416" y="connsiteY29416"/>
              </a:cxn>
              <a:cxn ang="0">
                <a:pos x="connsiteX29417" y="connsiteY29417"/>
              </a:cxn>
              <a:cxn ang="0">
                <a:pos x="connsiteX29418" y="connsiteY29418"/>
              </a:cxn>
              <a:cxn ang="0">
                <a:pos x="connsiteX29419" y="connsiteY29419"/>
              </a:cxn>
              <a:cxn ang="0">
                <a:pos x="connsiteX29420" y="connsiteY29420"/>
              </a:cxn>
              <a:cxn ang="0">
                <a:pos x="connsiteX29421" y="connsiteY29421"/>
              </a:cxn>
              <a:cxn ang="0">
                <a:pos x="connsiteX29422" y="connsiteY29422"/>
              </a:cxn>
              <a:cxn ang="0">
                <a:pos x="connsiteX29423" y="connsiteY29423"/>
              </a:cxn>
              <a:cxn ang="0">
                <a:pos x="connsiteX29424" y="connsiteY29424"/>
              </a:cxn>
              <a:cxn ang="0">
                <a:pos x="connsiteX29425" y="connsiteY29425"/>
              </a:cxn>
              <a:cxn ang="0">
                <a:pos x="connsiteX29426" y="connsiteY29426"/>
              </a:cxn>
              <a:cxn ang="0">
                <a:pos x="connsiteX29427" y="connsiteY29427"/>
              </a:cxn>
              <a:cxn ang="0">
                <a:pos x="connsiteX29428" y="connsiteY29428"/>
              </a:cxn>
              <a:cxn ang="0">
                <a:pos x="connsiteX29429" y="connsiteY29429"/>
              </a:cxn>
              <a:cxn ang="0">
                <a:pos x="connsiteX29430" y="connsiteY29430"/>
              </a:cxn>
              <a:cxn ang="0">
                <a:pos x="connsiteX29431" y="connsiteY29431"/>
              </a:cxn>
              <a:cxn ang="0">
                <a:pos x="connsiteX29432" y="connsiteY29432"/>
              </a:cxn>
              <a:cxn ang="0">
                <a:pos x="connsiteX29433" y="connsiteY29433"/>
              </a:cxn>
              <a:cxn ang="0">
                <a:pos x="connsiteX29434" y="connsiteY29434"/>
              </a:cxn>
              <a:cxn ang="0">
                <a:pos x="connsiteX29435" y="connsiteY29435"/>
              </a:cxn>
              <a:cxn ang="0">
                <a:pos x="connsiteX29436" y="connsiteY29436"/>
              </a:cxn>
              <a:cxn ang="0">
                <a:pos x="connsiteX29437" y="connsiteY29437"/>
              </a:cxn>
              <a:cxn ang="0">
                <a:pos x="connsiteX29438" y="connsiteY29438"/>
              </a:cxn>
              <a:cxn ang="0">
                <a:pos x="connsiteX29439" y="connsiteY29439"/>
              </a:cxn>
              <a:cxn ang="0">
                <a:pos x="connsiteX29440" y="connsiteY29440"/>
              </a:cxn>
              <a:cxn ang="0">
                <a:pos x="connsiteX29441" y="connsiteY29441"/>
              </a:cxn>
              <a:cxn ang="0">
                <a:pos x="connsiteX29442" y="connsiteY29442"/>
              </a:cxn>
              <a:cxn ang="0">
                <a:pos x="connsiteX29443" y="connsiteY29443"/>
              </a:cxn>
              <a:cxn ang="0">
                <a:pos x="connsiteX29444" y="connsiteY29444"/>
              </a:cxn>
              <a:cxn ang="0">
                <a:pos x="connsiteX29445" y="connsiteY29445"/>
              </a:cxn>
              <a:cxn ang="0">
                <a:pos x="connsiteX29446" y="connsiteY29446"/>
              </a:cxn>
              <a:cxn ang="0">
                <a:pos x="connsiteX29447" y="connsiteY29447"/>
              </a:cxn>
              <a:cxn ang="0">
                <a:pos x="connsiteX29448" y="connsiteY29448"/>
              </a:cxn>
              <a:cxn ang="0">
                <a:pos x="connsiteX29449" y="connsiteY29449"/>
              </a:cxn>
              <a:cxn ang="0">
                <a:pos x="connsiteX29450" y="connsiteY29450"/>
              </a:cxn>
              <a:cxn ang="0">
                <a:pos x="connsiteX29451" y="connsiteY29451"/>
              </a:cxn>
              <a:cxn ang="0">
                <a:pos x="connsiteX29452" y="connsiteY29452"/>
              </a:cxn>
              <a:cxn ang="0">
                <a:pos x="connsiteX29453" y="connsiteY29453"/>
              </a:cxn>
              <a:cxn ang="0">
                <a:pos x="connsiteX29454" y="connsiteY29454"/>
              </a:cxn>
              <a:cxn ang="0">
                <a:pos x="connsiteX29455" y="connsiteY29455"/>
              </a:cxn>
              <a:cxn ang="0">
                <a:pos x="connsiteX29456" y="connsiteY29456"/>
              </a:cxn>
              <a:cxn ang="0">
                <a:pos x="connsiteX29457" y="connsiteY29457"/>
              </a:cxn>
              <a:cxn ang="0">
                <a:pos x="connsiteX29458" y="connsiteY29458"/>
              </a:cxn>
              <a:cxn ang="0">
                <a:pos x="connsiteX29459" y="connsiteY29459"/>
              </a:cxn>
              <a:cxn ang="0">
                <a:pos x="connsiteX29460" y="connsiteY29460"/>
              </a:cxn>
              <a:cxn ang="0">
                <a:pos x="connsiteX29461" y="connsiteY29461"/>
              </a:cxn>
              <a:cxn ang="0">
                <a:pos x="connsiteX29462" y="connsiteY29462"/>
              </a:cxn>
              <a:cxn ang="0">
                <a:pos x="connsiteX29463" y="connsiteY29463"/>
              </a:cxn>
              <a:cxn ang="0">
                <a:pos x="connsiteX29464" y="connsiteY29464"/>
              </a:cxn>
              <a:cxn ang="0">
                <a:pos x="connsiteX29465" y="connsiteY29465"/>
              </a:cxn>
              <a:cxn ang="0">
                <a:pos x="connsiteX29466" y="connsiteY29466"/>
              </a:cxn>
              <a:cxn ang="0">
                <a:pos x="connsiteX29467" y="connsiteY29467"/>
              </a:cxn>
              <a:cxn ang="0">
                <a:pos x="connsiteX29468" y="connsiteY29468"/>
              </a:cxn>
              <a:cxn ang="0">
                <a:pos x="connsiteX29469" y="connsiteY29469"/>
              </a:cxn>
              <a:cxn ang="0">
                <a:pos x="connsiteX29470" y="connsiteY29470"/>
              </a:cxn>
              <a:cxn ang="0">
                <a:pos x="connsiteX29471" y="connsiteY29471"/>
              </a:cxn>
              <a:cxn ang="0">
                <a:pos x="connsiteX29472" y="connsiteY29472"/>
              </a:cxn>
              <a:cxn ang="0">
                <a:pos x="connsiteX29473" y="connsiteY29473"/>
              </a:cxn>
              <a:cxn ang="0">
                <a:pos x="connsiteX29474" y="connsiteY29474"/>
              </a:cxn>
              <a:cxn ang="0">
                <a:pos x="connsiteX29475" y="connsiteY29475"/>
              </a:cxn>
              <a:cxn ang="0">
                <a:pos x="connsiteX29476" y="connsiteY29476"/>
              </a:cxn>
              <a:cxn ang="0">
                <a:pos x="connsiteX29477" y="connsiteY29477"/>
              </a:cxn>
              <a:cxn ang="0">
                <a:pos x="connsiteX29478" y="connsiteY29478"/>
              </a:cxn>
              <a:cxn ang="0">
                <a:pos x="connsiteX29479" y="connsiteY29479"/>
              </a:cxn>
              <a:cxn ang="0">
                <a:pos x="connsiteX29480" y="connsiteY29480"/>
              </a:cxn>
              <a:cxn ang="0">
                <a:pos x="connsiteX29481" y="connsiteY29481"/>
              </a:cxn>
              <a:cxn ang="0">
                <a:pos x="connsiteX29482" y="connsiteY29482"/>
              </a:cxn>
              <a:cxn ang="0">
                <a:pos x="connsiteX29483" y="connsiteY29483"/>
              </a:cxn>
              <a:cxn ang="0">
                <a:pos x="connsiteX29484" y="connsiteY29484"/>
              </a:cxn>
              <a:cxn ang="0">
                <a:pos x="connsiteX29485" y="connsiteY29485"/>
              </a:cxn>
              <a:cxn ang="0">
                <a:pos x="connsiteX29486" y="connsiteY29486"/>
              </a:cxn>
              <a:cxn ang="0">
                <a:pos x="connsiteX29487" y="connsiteY29487"/>
              </a:cxn>
              <a:cxn ang="0">
                <a:pos x="connsiteX29488" y="connsiteY29488"/>
              </a:cxn>
              <a:cxn ang="0">
                <a:pos x="connsiteX29489" y="connsiteY29489"/>
              </a:cxn>
              <a:cxn ang="0">
                <a:pos x="connsiteX29490" y="connsiteY29490"/>
              </a:cxn>
              <a:cxn ang="0">
                <a:pos x="connsiteX29491" y="connsiteY29491"/>
              </a:cxn>
              <a:cxn ang="0">
                <a:pos x="connsiteX29492" y="connsiteY29492"/>
              </a:cxn>
              <a:cxn ang="0">
                <a:pos x="connsiteX29493" y="connsiteY29493"/>
              </a:cxn>
              <a:cxn ang="0">
                <a:pos x="connsiteX29494" y="connsiteY29494"/>
              </a:cxn>
              <a:cxn ang="0">
                <a:pos x="connsiteX29495" y="connsiteY29495"/>
              </a:cxn>
              <a:cxn ang="0">
                <a:pos x="connsiteX29496" y="connsiteY29496"/>
              </a:cxn>
              <a:cxn ang="0">
                <a:pos x="connsiteX29497" y="connsiteY29497"/>
              </a:cxn>
              <a:cxn ang="0">
                <a:pos x="connsiteX29498" y="connsiteY29498"/>
              </a:cxn>
              <a:cxn ang="0">
                <a:pos x="connsiteX29499" y="connsiteY29499"/>
              </a:cxn>
              <a:cxn ang="0">
                <a:pos x="connsiteX29500" y="connsiteY29500"/>
              </a:cxn>
              <a:cxn ang="0">
                <a:pos x="connsiteX29501" y="connsiteY29501"/>
              </a:cxn>
              <a:cxn ang="0">
                <a:pos x="connsiteX29502" y="connsiteY29502"/>
              </a:cxn>
              <a:cxn ang="0">
                <a:pos x="connsiteX29503" y="connsiteY29503"/>
              </a:cxn>
              <a:cxn ang="0">
                <a:pos x="connsiteX29504" y="connsiteY29504"/>
              </a:cxn>
              <a:cxn ang="0">
                <a:pos x="connsiteX29505" y="connsiteY29505"/>
              </a:cxn>
              <a:cxn ang="0">
                <a:pos x="connsiteX29506" y="connsiteY29506"/>
              </a:cxn>
              <a:cxn ang="0">
                <a:pos x="connsiteX29507" y="connsiteY29507"/>
              </a:cxn>
              <a:cxn ang="0">
                <a:pos x="connsiteX29508" y="connsiteY29508"/>
              </a:cxn>
              <a:cxn ang="0">
                <a:pos x="connsiteX29509" y="connsiteY29509"/>
              </a:cxn>
              <a:cxn ang="0">
                <a:pos x="connsiteX29510" y="connsiteY29510"/>
              </a:cxn>
              <a:cxn ang="0">
                <a:pos x="connsiteX29511" y="connsiteY29511"/>
              </a:cxn>
              <a:cxn ang="0">
                <a:pos x="connsiteX29512" y="connsiteY29512"/>
              </a:cxn>
              <a:cxn ang="0">
                <a:pos x="connsiteX29513" y="connsiteY29513"/>
              </a:cxn>
              <a:cxn ang="0">
                <a:pos x="connsiteX29514" y="connsiteY29514"/>
              </a:cxn>
              <a:cxn ang="0">
                <a:pos x="connsiteX29515" y="connsiteY29515"/>
              </a:cxn>
              <a:cxn ang="0">
                <a:pos x="connsiteX29516" y="connsiteY29516"/>
              </a:cxn>
              <a:cxn ang="0">
                <a:pos x="connsiteX29517" y="connsiteY29517"/>
              </a:cxn>
              <a:cxn ang="0">
                <a:pos x="connsiteX29518" y="connsiteY29518"/>
              </a:cxn>
              <a:cxn ang="0">
                <a:pos x="connsiteX29519" y="connsiteY29519"/>
              </a:cxn>
              <a:cxn ang="0">
                <a:pos x="connsiteX29520" y="connsiteY29520"/>
              </a:cxn>
              <a:cxn ang="0">
                <a:pos x="connsiteX29521" y="connsiteY29521"/>
              </a:cxn>
              <a:cxn ang="0">
                <a:pos x="connsiteX29522" y="connsiteY29522"/>
              </a:cxn>
              <a:cxn ang="0">
                <a:pos x="connsiteX29523" y="connsiteY29523"/>
              </a:cxn>
              <a:cxn ang="0">
                <a:pos x="connsiteX29524" y="connsiteY29524"/>
              </a:cxn>
              <a:cxn ang="0">
                <a:pos x="connsiteX29525" y="connsiteY29525"/>
              </a:cxn>
              <a:cxn ang="0">
                <a:pos x="connsiteX29526" y="connsiteY29526"/>
              </a:cxn>
              <a:cxn ang="0">
                <a:pos x="connsiteX29527" y="connsiteY29527"/>
              </a:cxn>
              <a:cxn ang="0">
                <a:pos x="connsiteX29528" y="connsiteY29528"/>
              </a:cxn>
              <a:cxn ang="0">
                <a:pos x="connsiteX29529" y="connsiteY29529"/>
              </a:cxn>
              <a:cxn ang="0">
                <a:pos x="connsiteX29530" y="connsiteY29530"/>
              </a:cxn>
              <a:cxn ang="0">
                <a:pos x="connsiteX29531" y="connsiteY29531"/>
              </a:cxn>
              <a:cxn ang="0">
                <a:pos x="connsiteX29532" y="connsiteY29532"/>
              </a:cxn>
              <a:cxn ang="0">
                <a:pos x="connsiteX29533" y="connsiteY29533"/>
              </a:cxn>
              <a:cxn ang="0">
                <a:pos x="connsiteX29534" y="connsiteY29534"/>
              </a:cxn>
              <a:cxn ang="0">
                <a:pos x="connsiteX29535" y="connsiteY29535"/>
              </a:cxn>
              <a:cxn ang="0">
                <a:pos x="connsiteX29536" y="connsiteY29536"/>
              </a:cxn>
              <a:cxn ang="0">
                <a:pos x="connsiteX29537" y="connsiteY29537"/>
              </a:cxn>
              <a:cxn ang="0">
                <a:pos x="connsiteX29538" y="connsiteY29538"/>
              </a:cxn>
              <a:cxn ang="0">
                <a:pos x="connsiteX29539" y="connsiteY29539"/>
              </a:cxn>
              <a:cxn ang="0">
                <a:pos x="connsiteX29540" y="connsiteY29540"/>
              </a:cxn>
              <a:cxn ang="0">
                <a:pos x="connsiteX29541" y="connsiteY29541"/>
              </a:cxn>
              <a:cxn ang="0">
                <a:pos x="connsiteX29542" y="connsiteY29542"/>
              </a:cxn>
              <a:cxn ang="0">
                <a:pos x="connsiteX29543" y="connsiteY29543"/>
              </a:cxn>
              <a:cxn ang="0">
                <a:pos x="connsiteX29544" y="connsiteY29544"/>
              </a:cxn>
              <a:cxn ang="0">
                <a:pos x="connsiteX29545" y="connsiteY29545"/>
              </a:cxn>
              <a:cxn ang="0">
                <a:pos x="connsiteX29546" y="connsiteY29546"/>
              </a:cxn>
              <a:cxn ang="0">
                <a:pos x="connsiteX29547" y="connsiteY29547"/>
              </a:cxn>
              <a:cxn ang="0">
                <a:pos x="connsiteX29548" y="connsiteY29548"/>
              </a:cxn>
              <a:cxn ang="0">
                <a:pos x="connsiteX29549" y="connsiteY29549"/>
              </a:cxn>
              <a:cxn ang="0">
                <a:pos x="connsiteX29550" y="connsiteY29550"/>
              </a:cxn>
              <a:cxn ang="0">
                <a:pos x="connsiteX29551" y="connsiteY29551"/>
              </a:cxn>
              <a:cxn ang="0">
                <a:pos x="connsiteX29552" y="connsiteY29552"/>
              </a:cxn>
              <a:cxn ang="0">
                <a:pos x="connsiteX29553" y="connsiteY29553"/>
              </a:cxn>
              <a:cxn ang="0">
                <a:pos x="connsiteX29554" y="connsiteY29554"/>
              </a:cxn>
              <a:cxn ang="0">
                <a:pos x="connsiteX29555" y="connsiteY29555"/>
              </a:cxn>
              <a:cxn ang="0">
                <a:pos x="connsiteX29556" y="connsiteY29556"/>
              </a:cxn>
              <a:cxn ang="0">
                <a:pos x="connsiteX29557" y="connsiteY29557"/>
              </a:cxn>
              <a:cxn ang="0">
                <a:pos x="connsiteX29558" y="connsiteY29558"/>
              </a:cxn>
              <a:cxn ang="0">
                <a:pos x="connsiteX29559" y="connsiteY29559"/>
              </a:cxn>
              <a:cxn ang="0">
                <a:pos x="connsiteX29560" y="connsiteY29560"/>
              </a:cxn>
              <a:cxn ang="0">
                <a:pos x="connsiteX29561" y="connsiteY29561"/>
              </a:cxn>
              <a:cxn ang="0">
                <a:pos x="connsiteX29562" y="connsiteY29562"/>
              </a:cxn>
              <a:cxn ang="0">
                <a:pos x="connsiteX29563" y="connsiteY29563"/>
              </a:cxn>
              <a:cxn ang="0">
                <a:pos x="connsiteX29564" y="connsiteY29564"/>
              </a:cxn>
              <a:cxn ang="0">
                <a:pos x="connsiteX29565" y="connsiteY29565"/>
              </a:cxn>
              <a:cxn ang="0">
                <a:pos x="connsiteX29566" y="connsiteY29566"/>
              </a:cxn>
              <a:cxn ang="0">
                <a:pos x="connsiteX29567" y="connsiteY29567"/>
              </a:cxn>
              <a:cxn ang="0">
                <a:pos x="connsiteX29568" y="connsiteY29568"/>
              </a:cxn>
              <a:cxn ang="0">
                <a:pos x="connsiteX29569" y="connsiteY29569"/>
              </a:cxn>
              <a:cxn ang="0">
                <a:pos x="connsiteX29570" y="connsiteY29570"/>
              </a:cxn>
              <a:cxn ang="0">
                <a:pos x="connsiteX29571" y="connsiteY29571"/>
              </a:cxn>
              <a:cxn ang="0">
                <a:pos x="connsiteX29572" y="connsiteY29572"/>
              </a:cxn>
              <a:cxn ang="0">
                <a:pos x="connsiteX29573" y="connsiteY29573"/>
              </a:cxn>
              <a:cxn ang="0">
                <a:pos x="connsiteX29574" y="connsiteY29574"/>
              </a:cxn>
              <a:cxn ang="0">
                <a:pos x="connsiteX29575" y="connsiteY29575"/>
              </a:cxn>
              <a:cxn ang="0">
                <a:pos x="connsiteX29576" y="connsiteY29576"/>
              </a:cxn>
              <a:cxn ang="0">
                <a:pos x="connsiteX29577" y="connsiteY29577"/>
              </a:cxn>
              <a:cxn ang="0">
                <a:pos x="connsiteX29578" y="connsiteY29578"/>
              </a:cxn>
              <a:cxn ang="0">
                <a:pos x="connsiteX29579" y="connsiteY29579"/>
              </a:cxn>
              <a:cxn ang="0">
                <a:pos x="connsiteX29580" y="connsiteY29580"/>
              </a:cxn>
              <a:cxn ang="0">
                <a:pos x="connsiteX29581" y="connsiteY29581"/>
              </a:cxn>
              <a:cxn ang="0">
                <a:pos x="connsiteX29582" y="connsiteY29582"/>
              </a:cxn>
              <a:cxn ang="0">
                <a:pos x="connsiteX29583" y="connsiteY29583"/>
              </a:cxn>
              <a:cxn ang="0">
                <a:pos x="connsiteX29584" y="connsiteY29584"/>
              </a:cxn>
              <a:cxn ang="0">
                <a:pos x="connsiteX29585" y="connsiteY29585"/>
              </a:cxn>
              <a:cxn ang="0">
                <a:pos x="connsiteX29586" y="connsiteY29586"/>
              </a:cxn>
              <a:cxn ang="0">
                <a:pos x="connsiteX29587" y="connsiteY29587"/>
              </a:cxn>
              <a:cxn ang="0">
                <a:pos x="connsiteX29588" y="connsiteY29588"/>
              </a:cxn>
              <a:cxn ang="0">
                <a:pos x="connsiteX29589" y="connsiteY29589"/>
              </a:cxn>
              <a:cxn ang="0">
                <a:pos x="connsiteX29590" y="connsiteY29590"/>
              </a:cxn>
              <a:cxn ang="0">
                <a:pos x="connsiteX29591" y="connsiteY29591"/>
              </a:cxn>
              <a:cxn ang="0">
                <a:pos x="connsiteX29592" y="connsiteY29592"/>
              </a:cxn>
              <a:cxn ang="0">
                <a:pos x="connsiteX29593" y="connsiteY29593"/>
              </a:cxn>
              <a:cxn ang="0">
                <a:pos x="connsiteX29594" y="connsiteY29594"/>
              </a:cxn>
              <a:cxn ang="0">
                <a:pos x="connsiteX29595" y="connsiteY29595"/>
              </a:cxn>
              <a:cxn ang="0">
                <a:pos x="connsiteX29596" y="connsiteY29596"/>
              </a:cxn>
              <a:cxn ang="0">
                <a:pos x="connsiteX29597" y="connsiteY29597"/>
              </a:cxn>
              <a:cxn ang="0">
                <a:pos x="connsiteX29598" y="connsiteY29598"/>
              </a:cxn>
              <a:cxn ang="0">
                <a:pos x="connsiteX29599" y="connsiteY29599"/>
              </a:cxn>
              <a:cxn ang="0">
                <a:pos x="connsiteX29600" y="connsiteY29600"/>
              </a:cxn>
              <a:cxn ang="0">
                <a:pos x="connsiteX29601" y="connsiteY29601"/>
              </a:cxn>
              <a:cxn ang="0">
                <a:pos x="connsiteX29602" y="connsiteY29602"/>
              </a:cxn>
              <a:cxn ang="0">
                <a:pos x="connsiteX29603" y="connsiteY29603"/>
              </a:cxn>
              <a:cxn ang="0">
                <a:pos x="connsiteX29604" y="connsiteY29604"/>
              </a:cxn>
              <a:cxn ang="0">
                <a:pos x="connsiteX29605" y="connsiteY29605"/>
              </a:cxn>
              <a:cxn ang="0">
                <a:pos x="connsiteX29606" y="connsiteY29606"/>
              </a:cxn>
              <a:cxn ang="0">
                <a:pos x="connsiteX29607" y="connsiteY29607"/>
              </a:cxn>
              <a:cxn ang="0">
                <a:pos x="connsiteX29608" y="connsiteY29608"/>
              </a:cxn>
              <a:cxn ang="0">
                <a:pos x="connsiteX29609" y="connsiteY29609"/>
              </a:cxn>
              <a:cxn ang="0">
                <a:pos x="connsiteX29610" y="connsiteY29610"/>
              </a:cxn>
              <a:cxn ang="0">
                <a:pos x="connsiteX29611" y="connsiteY29611"/>
              </a:cxn>
              <a:cxn ang="0">
                <a:pos x="connsiteX29612" y="connsiteY29612"/>
              </a:cxn>
              <a:cxn ang="0">
                <a:pos x="connsiteX29613" y="connsiteY29613"/>
              </a:cxn>
              <a:cxn ang="0">
                <a:pos x="connsiteX29614" y="connsiteY29614"/>
              </a:cxn>
              <a:cxn ang="0">
                <a:pos x="connsiteX29615" y="connsiteY29615"/>
              </a:cxn>
              <a:cxn ang="0">
                <a:pos x="connsiteX29616" y="connsiteY29616"/>
              </a:cxn>
              <a:cxn ang="0">
                <a:pos x="connsiteX29617" y="connsiteY29617"/>
              </a:cxn>
              <a:cxn ang="0">
                <a:pos x="connsiteX29618" y="connsiteY29618"/>
              </a:cxn>
              <a:cxn ang="0">
                <a:pos x="connsiteX29619" y="connsiteY29619"/>
              </a:cxn>
              <a:cxn ang="0">
                <a:pos x="connsiteX29620" y="connsiteY29620"/>
              </a:cxn>
              <a:cxn ang="0">
                <a:pos x="connsiteX29621" y="connsiteY29621"/>
              </a:cxn>
              <a:cxn ang="0">
                <a:pos x="connsiteX29622" y="connsiteY29622"/>
              </a:cxn>
              <a:cxn ang="0">
                <a:pos x="connsiteX29623" y="connsiteY29623"/>
              </a:cxn>
              <a:cxn ang="0">
                <a:pos x="connsiteX29624" y="connsiteY29624"/>
              </a:cxn>
              <a:cxn ang="0">
                <a:pos x="connsiteX29625" y="connsiteY29625"/>
              </a:cxn>
              <a:cxn ang="0">
                <a:pos x="connsiteX29626" y="connsiteY29626"/>
              </a:cxn>
              <a:cxn ang="0">
                <a:pos x="connsiteX29627" y="connsiteY29627"/>
              </a:cxn>
              <a:cxn ang="0">
                <a:pos x="connsiteX29628" y="connsiteY29628"/>
              </a:cxn>
              <a:cxn ang="0">
                <a:pos x="connsiteX29629" y="connsiteY29629"/>
              </a:cxn>
              <a:cxn ang="0">
                <a:pos x="connsiteX29630" y="connsiteY29630"/>
              </a:cxn>
              <a:cxn ang="0">
                <a:pos x="connsiteX29631" y="connsiteY29631"/>
              </a:cxn>
              <a:cxn ang="0">
                <a:pos x="connsiteX29632" y="connsiteY29632"/>
              </a:cxn>
              <a:cxn ang="0">
                <a:pos x="connsiteX29633" y="connsiteY29633"/>
              </a:cxn>
              <a:cxn ang="0">
                <a:pos x="connsiteX29634" y="connsiteY29634"/>
              </a:cxn>
              <a:cxn ang="0">
                <a:pos x="connsiteX29635" y="connsiteY29635"/>
              </a:cxn>
              <a:cxn ang="0">
                <a:pos x="connsiteX29636" y="connsiteY29636"/>
              </a:cxn>
              <a:cxn ang="0">
                <a:pos x="connsiteX29637" y="connsiteY29637"/>
              </a:cxn>
              <a:cxn ang="0">
                <a:pos x="connsiteX29638" y="connsiteY29638"/>
              </a:cxn>
              <a:cxn ang="0">
                <a:pos x="connsiteX29639" y="connsiteY29639"/>
              </a:cxn>
              <a:cxn ang="0">
                <a:pos x="connsiteX29640" y="connsiteY29640"/>
              </a:cxn>
              <a:cxn ang="0">
                <a:pos x="connsiteX29641" y="connsiteY29641"/>
              </a:cxn>
              <a:cxn ang="0">
                <a:pos x="connsiteX29642" y="connsiteY29642"/>
              </a:cxn>
              <a:cxn ang="0">
                <a:pos x="connsiteX29643" y="connsiteY29643"/>
              </a:cxn>
              <a:cxn ang="0">
                <a:pos x="connsiteX29644" y="connsiteY29644"/>
              </a:cxn>
              <a:cxn ang="0">
                <a:pos x="connsiteX29645" y="connsiteY29645"/>
              </a:cxn>
              <a:cxn ang="0">
                <a:pos x="connsiteX29646" y="connsiteY29646"/>
              </a:cxn>
              <a:cxn ang="0">
                <a:pos x="connsiteX29647" y="connsiteY29647"/>
              </a:cxn>
              <a:cxn ang="0">
                <a:pos x="connsiteX29648" y="connsiteY29648"/>
              </a:cxn>
              <a:cxn ang="0">
                <a:pos x="connsiteX29649" y="connsiteY29649"/>
              </a:cxn>
              <a:cxn ang="0">
                <a:pos x="connsiteX29650" y="connsiteY29650"/>
              </a:cxn>
              <a:cxn ang="0">
                <a:pos x="connsiteX29651" y="connsiteY29651"/>
              </a:cxn>
              <a:cxn ang="0">
                <a:pos x="connsiteX29652" y="connsiteY29652"/>
              </a:cxn>
              <a:cxn ang="0">
                <a:pos x="connsiteX29653" y="connsiteY29653"/>
              </a:cxn>
              <a:cxn ang="0">
                <a:pos x="connsiteX29654" y="connsiteY29654"/>
              </a:cxn>
              <a:cxn ang="0">
                <a:pos x="connsiteX29655" y="connsiteY29655"/>
              </a:cxn>
              <a:cxn ang="0">
                <a:pos x="connsiteX29656" y="connsiteY29656"/>
              </a:cxn>
              <a:cxn ang="0">
                <a:pos x="connsiteX29657" y="connsiteY29657"/>
              </a:cxn>
              <a:cxn ang="0">
                <a:pos x="connsiteX29658" y="connsiteY29658"/>
              </a:cxn>
              <a:cxn ang="0">
                <a:pos x="connsiteX29659" y="connsiteY29659"/>
              </a:cxn>
              <a:cxn ang="0">
                <a:pos x="connsiteX29660" y="connsiteY29660"/>
              </a:cxn>
              <a:cxn ang="0">
                <a:pos x="connsiteX29661" y="connsiteY29661"/>
              </a:cxn>
              <a:cxn ang="0">
                <a:pos x="connsiteX29662" y="connsiteY29662"/>
              </a:cxn>
              <a:cxn ang="0">
                <a:pos x="connsiteX29663" y="connsiteY29663"/>
              </a:cxn>
              <a:cxn ang="0">
                <a:pos x="connsiteX29664" y="connsiteY29664"/>
              </a:cxn>
              <a:cxn ang="0">
                <a:pos x="connsiteX29665" y="connsiteY29665"/>
              </a:cxn>
              <a:cxn ang="0">
                <a:pos x="connsiteX29666" y="connsiteY29666"/>
              </a:cxn>
              <a:cxn ang="0">
                <a:pos x="connsiteX29667" y="connsiteY29667"/>
              </a:cxn>
              <a:cxn ang="0">
                <a:pos x="connsiteX29668" y="connsiteY29668"/>
              </a:cxn>
              <a:cxn ang="0">
                <a:pos x="connsiteX29669" y="connsiteY29669"/>
              </a:cxn>
              <a:cxn ang="0">
                <a:pos x="connsiteX29670" y="connsiteY29670"/>
              </a:cxn>
              <a:cxn ang="0">
                <a:pos x="connsiteX29671" y="connsiteY29671"/>
              </a:cxn>
              <a:cxn ang="0">
                <a:pos x="connsiteX29672" y="connsiteY29672"/>
              </a:cxn>
              <a:cxn ang="0">
                <a:pos x="connsiteX29673" y="connsiteY29673"/>
              </a:cxn>
              <a:cxn ang="0">
                <a:pos x="connsiteX29674" y="connsiteY29674"/>
              </a:cxn>
              <a:cxn ang="0">
                <a:pos x="connsiteX29675" y="connsiteY29675"/>
              </a:cxn>
              <a:cxn ang="0">
                <a:pos x="connsiteX29676" y="connsiteY29676"/>
              </a:cxn>
              <a:cxn ang="0">
                <a:pos x="connsiteX29677" y="connsiteY29677"/>
              </a:cxn>
              <a:cxn ang="0">
                <a:pos x="connsiteX29678" y="connsiteY29678"/>
              </a:cxn>
              <a:cxn ang="0">
                <a:pos x="connsiteX29679" y="connsiteY29679"/>
              </a:cxn>
              <a:cxn ang="0">
                <a:pos x="connsiteX29680" y="connsiteY29680"/>
              </a:cxn>
              <a:cxn ang="0">
                <a:pos x="connsiteX29681" y="connsiteY29681"/>
              </a:cxn>
              <a:cxn ang="0">
                <a:pos x="connsiteX29682" y="connsiteY29682"/>
              </a:cxn>
              <a:cxn ang="0">
                <a:pos x="connsiteX29683" y="connsiteY29683"/>
              </a:cxn>
              <a:cxn ang="0">
                <a:pos x="connsiteX29684" y="connsiteY29684"/>
              </a:cxn>
              <a:cxn ang="0">
                <a:pos x="connsiteX29685" y="connsiteY29685"/>
              </a:cxn>
              <a:cxn ang="0">
                <a:pos x="connsiteX29686" y="connsiteY29686"/>
              </a:cxn>
              <a:cxn ang="0">
                <a:pos x="connsiteX29687" y="connsiteY29687"/>
              </a:cxn>
              <a:cxn ang="0">
                <a:pos x="connsiteX29688" y="connsiteY29688"/>
              </a:cxn>
              <a:cxn ang="0">
                <a:pos x="connsiteX29689" y="connsiteY29689"/>
              </a:cxn>
              <a:cxn ang="0">
                <a:pos x="connsiteX29690" y="connsiteY29690"/>
              </a:cxn>
              <a:cxn ang="0">
                <a:pos x="connsiteX29691" y="connsiteY29691"/>
              </a:cxn>
              <a:cxn ang="0">
                <a:pos x="connsiteX29692" y="connsiteY29692"/>
              </a:cxn>
              <a:cxn ang="0">
                <a:pos x="connsiteX29693" y="connsiteY29693"/>
              </a:cxn>
              <a:cxn ang="0">
                <a:pos x="connsiteX29694" y="connsiteY29694"/>
              </a:cxn>
              <a:cxn ang="0">
                <a:pos x="connsiteX29695" y="connsiteY29695"/>
              </a:cxn>
              <a:cxn ang="0">
                <a:pos x="connsiteX29696" y="connsiteY29696"/>
              </a:cxn>
              <a:cxn ang="0">
                <a:pos x="connsiteX29697" y="connsiteY29697"/>
              </a:cxn>
              <a:cxn ang="0">
                <a:pos x="connsiteX29698" y="connsiteY29698"/>
              </a:cxn>
              <a:cxn ang="0">
                <a:pos x="connsiteX29699" y="connsiteY29699"/>
              </a:cxn>
              <a:cxn ang="0">
                <a:pos x="connsiteX29700" y="connsiteY29700"/>
              </a:cxn>
              <a:cxn ang="0">
                <a:pos x="connsiteX29701" y="connsiteY29701"/>
              </a:cxn>
              <a:cxn ang="0">
                <a:pos x="connsiteX29702" y="connsiteY29702"/>
              </a:cxn>
              <a:cxn ang="0">
                <a:pos x="connsiteX29703" y="connsiteY29703"/>
              </a:cxn>
              <a:cxn ang="0">
                <a:pos x="connsiteX29704" y="connsiteY29704"/>
              </a:cxn>
              <a:cxn ang="0">
                <a:pos x="connsiteX29705" y="connsiteY29705"/>
              </a:cxn>
              <a:cxn ang="0">
                <a:pos x="connsiteX29706" y="connsiteY29706"/>
              </a:cxn>
              <a:cxn ang="0">
                <a:pos x="connsiteX29707" y="connsiteY29707"/>
              </a:cxn>
              <a:cxn ang="0">
                <a:pos x="connsiteX29708" y="connsiteY29708"/>
              </a:cxn>
              <a:cxn ang="0">
                <a:pos x="connsiteX29709" y="connsiteY29709"/>
              </a:cxn>
              <a:cxn ang="0">
                <a:pos x="connsiteX29710" y="connsiteY29710"/>
              </a:cxn>
              <a:cxn ang="0">
                <a:pos x="connsiteX29711" y="connsiteY29711"/>
              </a:cxn>
              <a:cxn ang="0">
                <a:pos x="connsiteX29712" y="connsiteY29712"/>
              </a:cxn>
              <a:cxn ang="0">
                <a:pos x="connsiteX29713" y="connsiteY29713"/>
              </a:cxn>
              <a:cxn ang="0">
                <a:pos x="connsiteX29714" y="connsiteY29714"/>
              </a:cxn>
              <a:cxn ang="0">
                <a:pos x="connsiteX29715" y="connsiteY29715"/>
              </a:cxn>
              <a:cxn ang="0">
                <a:pos x="connsiteX29716" y="connsiteY29716"/>
              </a:cxn>
              <a:cxn ang="0">
                <a:pos x="connsiteX29717" y="connsiteY29717"/>
              </a:cxn>
              <a:cxn ang="0">
                <a:pos x="connsiteX29718" y="connsiteY29718"/>
              </a:cxn>
              <a:cxn ang="0">
                <a:pos x="connsiteX29719" y="connsiteY29719"/>
              </a:cxn>
              <a:cxn ang="0">
                <a:pos x="connsiteX29720" y="connsiteY29720"/>
              </a:cxn>
              <a:cxn ang="0">
                <a:pos x="connsiteX29721" y="connsiteY29721"/>
              </a:cxn>
              <a:cxn ang="0">
                <a:pos x="connsiteX29722" y="connsiteY29722"/>
              </a:cxn>
              <a:cxn ang="0">
                <a:pos x="connsiteX29723" y="connsiteY29723"/>
              </a:cxn>
              <a:cxn ang="0">
                <a:pos x="connsiteX29724" y="connsiteY29724"/>
              </a:cxn>
              <a:cxn ang="0">
                <a:pos x="connsiteX29725" y="connsiteY29725"/>
              </a:cxn>
              <a:cxn ang="0">
                <a:pos x="connsiteX29726" y="connsiteY29726"/>
              </a:cxn>
              <a:cxn ang="0">
                <a:pos x="connsiteX29727" y="connsiteY29727"/>
              </a:cxn>
              <a:cxn ang="0">
                <a:pos x="connsiteX29728" y="connsiteY29728"/>
              </a:cxn>
              <a:cxn ang="0">
                <a:pos x="connsiteX29729" y="connsiteY29729"/>
              </a:cxn>
              <a:cxn ang="0">
                <a:pos x="connsiteX29730" y="connsiteY29730"/>
              </a:cxn>
              <a:cxn ang="0">
                <a:pos x="connsiteX29731" y="connsiteY29731"/>
              </a:cxn>
              <a:cxn ang="0">
                <a:pos x="connsiteX29732" y="connsiteY29732"/>
              </a:cxn>
              <a:cxn ang="0">
                <a:pos x="connsiteX29733" y="connsiteY29733"/>
              </a:cxn>
              <a:cxn ang="0">
                <a:pos x="connsiteX29734" y="connsiteY29734"/>
              </a:cxn>
              <a:cxn ang="0">
                <a:pos x="connsiteX29735" y="connsiteY29735"/>
              </a:cxn>
              <a:cxn ang="0">
                <a:pos x="connsiteX29736" y="connsiteY29736"/>
              </a:cxn>
              <a:cxn ang="0">
                <a:pos x="connsiteX29737" y="connsiteY29737"/>
              </a:cxn>
              <a:cxn ang="0">
                <a:pos x="connsiteX29738" y="connsiteY29738"/>
              </a:cxn>
              <a:cxn ang="0">
                <a:pos x="connsiteX29739" y="connsiteY29739"/>
              </a:cxn>
              <a:cxn ang="0">
                <a:pos x="connsiteX29740" y="connsiteY29740"/>
              </a:cxn>
              <a:cxn ang="0">
                <a:pos x="connsiteX29741" y="connsiteY29741"/>
              </a:cxn>
              <a:cxn ang="0">
                <a:pos x="connsiteX29742" y="connsiteY29742"/>
              </a:cxn>
              <a:cxn ang="0">
                <a:pos x="connsiteX29743" y="connsiteY29743"/>
              </a:cxn>
              <a:cxn ang="0">
                <a:pos x="connsiteX29744" y="connsiteY29744"/>
              </a:cxn>
              <a:cxn ang="0">
                <a:pos x="connsiteX29745" y="connsiteY29745"/>
              </a:cxn>
              <a:cxn ang="0">
                <a:pos x="connsiteX29746" y="connsiteY29746"/>
              </a:cxn>
              <a:cxn ang="0">
                <a:pos x="connsiteX29747" y="connsiteY29747"/>
              </a:cxn>
              <a:cxn ang="0">
                <a:pos x="connsiteX29748" y="connsiteY29748"/>
              </a:cxn>
              <a:cxn ang="0">
                <a:pos x="connsiteX29749" y="connsiteY29749"/>
              </a:cxn>
              <a:cxn ang="0">
                <a:pos x="connsiteX29750" y="connsiteY29750"/>
              </a:cxn>
              <a:cxn ang="0">
                <a:pos x="connsiteX29751" y="connsiteY29751"/>
              </a:cxn>
              <a:cxn ang="0">
                <a:pos x="connsiteX29752" y="connsiteY29752"/>
              </a:cxn>
              <a:cxn ang="0">
                <a:pos x="connsiteX29753" y="connsiteY29753"/>
              </a:cxn>
              <a:cxn ang="0">
                <a:pos x="connsiteX29754" y="connsiteY29754"/>
              </a:cxn>
              <a:cxn ang="0">
                <a:pos x="connsiteX29755" y="connsiteY29755"/>
              </a:cxn>
              <a:cxn ang="0">
                <a:pos x="connsiteX29756" y="connsiteY29756"/>
              </a:cxn>
              <a:cxn ang="0">
                <a:pos x="connsiteX29757" y="connsiteY29757"/>
              </a:cxn>
              <a:cxn ang="0">
                <a:pos x="connsiteX29758" y="connsiteY29758"/>
              </a:cxn>
              <a:cxn ang="0">
                <a:pos x="connsiteX29759" y="connsiteY29759"/>
              </a:cxn>
              <a:cxn ang="0">
                <a:pos x="connsiteX29760" y="connsiteY29760"/>
              </a:cxn>
              <a:cxn ang="0">
                <a:pos x="connsiteX29761" y="connsiteY29761"/>
              </a:cxn>
              <a:cxn ang="0">
                <a:pos x="connsiteX29762" y="connsiteY29762"/>
              </a:cxn>
              <a:cxn ang="0">
                <a:pos x="connsiteX29763" y="connsiteY29763"/>
              </a:cxn>
              <a:cxn ang="0">
                <a:pos x="connsiteX29764" y="connsiteY29764"/>
              </a:cxn>
              <a:cxn ang="0">
                <a:pos x="connsiteX29765" y="connsiteY29765"/>
              </a:cxn>
              <a:cxn ang="0">
                <a:pos x="connsiteX29766" y="connsiteY29766"/>
              </a:cxn>
              <a:cxn ang="0">
                <a:pos x="connsiteX29767" y="connsiteY29767"/>
              </a:cxn>
              <a:cxn ang="0">
                <a:pos x="connsiteX29768" y="connsiteY29768"/>
              </a:cxn>
              <a:cxn ang="0">
                <a:pos x="connsiteX29769" y="connsiteY29769"/>
              </a:cxn>
              <a:cxn ang="0">
                <a:pos x="connsiteX29770" y="connsiteY29770"/>
              </a:cxn>
              <a:cxn ang="0">
                <a:pos x="connsiteX29771" y="connsiteY29771"/>
              </a:cxn>
              <a:cxn ang="0">
                <a:pos x="connsiteX29772" y="connsiteY29772"/>
              </a:cxn>
              <a:cxn ang="0">
                <a:pos x="connsiteX29773" y="connsiteY29773"/>
              </a:cxn>
              <a:cxn ang="0">
                <a:pos x="connsiteX29774" y="connsiteY29774"/>
              </a:cxn>
              <a:cxn ang="0">
                <a:pos x="connsiteX29775" y="connsiteY29775"/>
              </a:cxn>
              <a:cxn ang="0">
                <a:pos x="connsiteX29776" y="connsiteY29776"/>
              </a:cxn>
              <a:cxn ang="0">
                <a:pos x="connsiteX29777" y="connsiteY29777"/>
              </a:cxn>
              <a:cxn ang="0">
                <a:pos x="connsiteX29778" y="connsiteY29778"/>
              </a:cxn>
              <a:cxn ang="0">
                <a:pos x="connsiteX29779" y="connsiteY29779"/>
              </a:cxn>
              <a:cxn ang="0">
                <a:pos x="connsiteX29780" y="connsiteY29780"/>
              </a:cxn>
              <a:cxn ang="0">
                <a:pos x="connsiteX29781" y="connsiteY29781"/>
              </a:cxn>
              <a:cxn ang="0">
                <a:pos x="connsiteX29782" y="connsiteY29782"/>
              </a:cxn>
              <a:cxn ang="0">
                <a:pos x="connsiteX29783" y="connsiteY29783"/>
              </a:cxn>
              <a:cxn ang="0">
                <a:pos x="connsiteX29784" y="connsiteY29784"/>
              </a:cxn>
              <a:cxn ang="0">
                <a:pos x="connsiteX29785" y="connsiteY29785"/>
              </a:cxn>
              <a:cxn ang="0">
                <a:pos x="connsiteX29786" y="connsiteY29786"/>
              </a:cxn>
              <a:cxn ang="0">
                <a:pos x="connsiteX29787" y="connsiteY29787"/>
              </a:cxn>
              <a:cxn ang="0">
                <a:pos x="connsiteX29788" y="connsiteY29788"/>
              </a:cxn>
              <a:cxn ang="0">
                <a:pos x="connsiteX29789" y="connsiteY29789"/>
              </a:cxn>
              <a:cxn ang="0">
                <a:pos x="connsiteX29790" y="connsiteY29790"/>
              </a:cxn>
              <a:cxn ang="0">
                <a:pos x="connsiteX29791" y="connsiteY29791"/>
              </a:cxn>
              <a:cxn ang="0">
                <a:pos x="connsiteX29792" y="connsiteY29792"/>
              </a:cxn>
              <a:cxn ang="0">
                <a:pos x="connsiteX29793" y="connsiteY29793"/>
              </a:cxn>
              <a:cxn ang="0">
                <a:pos x="connsiteX29794" y="connsiteY29794"/>
              </a:cxn>
              <a:cxn ang="0">
                <a:pos x="connsiteX29795" y="connsiteY29795"/>
              </a:cxn>
              <a:cxn ang="0">
                <a:pos x="connsiteX29796" y="connsiteY29796"/>
              </a:cxn>
              <a:cxn ang="0">
                <a:pos x="connsiteX29797" y="connsiteY29797"/>
              </a:cxn>
              <a:cxn ang="0">
                <a:pos x="connsiteX29798" y="connsiteY29798"/>
              </a:cxn>
              <a:cxn ang="0">
                <a:pos x="connsiteX29799" y="connsiteY29799"/>
              </a:cxn>
              <a:cxn ang="0">
                <a:pos x="connsiteX29800" y="connsiteY29800"/>
              </a:cxn>
              <a:cxn ang="0">
                <a:pos x="connsiteX29801" y="connsiteY29801"/>
              </a:cxn>
              <a:cxn ang="0">
                <a:pos x="connsiteX29802" y="connsiteY29802"/>
              </a:cxn>
              <a:cxn ang="0">
                <a:pos x="connsiteX29803" y="connsiteY29803"/>
              </a:cxn>
              <a:cxn ang="0">
                <a:pos x="connsiteX29804" y="connsiteY29804"/>
              </a:cxn>
              <a:cxn ang="0">
                <a:pos x="connsiteX29805" y="connsiteY29805"/>
              </a:cxn>
              <a:cxn ang="0">
                <a:pos x="connsiteX29806" y="connsiteY29806"/>
              </a:cxn>
              <a:cxn ang="0">
                <a:pos x="connsiteX29807" y="connsiteY29807"/>
              </a:cxn>
              <a:cxn ang="0">
                <a:pos x="connsiteX29808" y="connsiteY29808"/>
              </a:cxn>
              <a:cxn ang="0">
                <a:pos x="connsiteX29809" y="connsiteY29809"/>
              </a:cxn>
              <a:cxn ang="0">
                <a:pos x="connsiteX29810" y="connsiteY29810"/>
              </a:cxn>
              <a:cxn ang="0">
                <a:pos x="connsiteX29811" y="connsiteY29811"/>
              </a:cxn>
              <a:cxn ang="0">
                <a:pos x="connsiteX29812" y="connsiteY29812"/>
              </a:cxn>
              <a:cxn ang="0">
                <a:pos x="connsiteX29813" y="connsiteY29813"/>
              </a:cxn>
              <a:cxn ang="0">
                <a:pos x="connsiteX29814" y="connsiteY29814"/>
              </a:cxn>
              <a:cxn ang="0">
                <a:pos x="connsiteX29815" y="connsiteY29815"/>
              </a:cxn>
              <a:cxn ang="0">
                <a:pos x="connsiteX29816" y="connsiteY29816"/>
              </a:cxn>
              <a:cxn ang="0">
                <a:pos x="connsiteX29817" y="connsiteY29817"/>
              </a:cxn>
              <a:cxn ang="0">
                <a:pos x="connsiteX29818" y="connsiteY29818"/>
              </a:cxn>
              <a:cxn ang="0">
                <a:pos x="connsiteX29819" y="connsiteY29819"/>
              </a:cxn>
              <a:cxn ang="0">
                <a:pos x="connsiteX29820" y="connsiteY29820"/>
              </a:cxn>
              <a:cxn ang="0">
                <a:pos x="connsiteX29821" y="connsiteY29821"/>
              </a:cxn>
              <a:cxn ang="0">
                <a:pos x="connsiteX29822" y="connsiteY29822"/>
              </a:cxn>
              <a:cxn ang="0">
                <a:pos x="connsiteX29823" y="connsiteY29823"/>
              </a:cxn>
              <a:cxn ang="0">
                <a:pos x="connsiteX29824" y="connsiteY29824"/>
              </a:cxn>
              <a:cxn ang="0">
                <a:pos x="connsiteX29825" y="connsiteY29825"/>
              </a:cxn>
              <a:cxn ang="0">
                <a:pos x="connsiteX29826" y="connsiteY29826"/>
              </a:cxn>
              <a:cxn ang="0">
                <a:pos x="connsiteX29827" y="connsiteY29827"/>
              </a:cxn>
              <a:cxn ang="0">
                <a:pos x="connsiteX29828" y="connsiteY29828"/>
              </a:cxn>
              <a:cxn ang="0">
                <a:pos x="connsiteX29829" y="connsiteY29829"/>
              </a:cxn>
              <a:cxn ang="0">
                <a:pos x="connsiteX29830" y="connsiteY29830"/>
              </a:cxn>
              <a:cxn ang="0">
                <a:pos x="connsiteX29831" y="connsiteY29831"/>
              </a:cxn>
              <a:cxn ang="0">
                <a:pos x="connsiteX29832" y="connsiteY29832"/>
              </a:cxn>
              <a:cxn ang="0">
                <a:pos x="connsiteX29833" y="connsiteY29833"/>
              </a:cxn>
              <a:cxn ang="0">
                <a:pos x="connsiteX29834" y="connsiteY29834"/>
              </a:cxn>
              <a:cxn ang="0">
                <a:pos x="connsiteX29835" y="connsiteY29835"/>
              </a:cxn>
              <a:cxn ang="0">
                <a:pos x="connsiteX29836" y="connsiteY29836"/>
              </a:cxn>
              <a:cxn ang="0">
                <a:pos x="connsiteX29837" y="connsiteY29837"/>
              </a:cxn>
              <a:cxn ang="0">
                <a:pos x="connsiteX29838" y="connsiteY29838"/>
              </a:cxn>
              <a:cxn ang="0">
                <a:pos x="connsiteX29839" y="connsiteY29839"/>
              </a:cxn>
              <a:cxn ang="0">
                <a:pos x="connsiteX29840" y="connsiteY29840"/>
              </a:cxn>
              <a:cxn ang="0">
                <a:pos x="connsiteX29841" y="connsiteY29841"/>
              </a:cxn>
              <a:cxn ang="0">
                <a:pos x="connsiteX29842" y="connsiteY29842"/>
              </a:cxn>
              <a:cxn ang="0">
                <a:pos x="connsiteX29843" y="connsiteY29843"/>
              </a:cxn>
              <a:cxn ang="0">
                <a:pos x="connsiteX29844" y="connsiteY29844"/>
              </a:cxn>
              <a:cxn ang="0">
                <a:pos x="connsiteX29845" y="connsiteY29845"/>
              </a:cxn>
              <a:cxn ang="0">
                <a:pos x="connsiteX29846" y="connsiteY29846"/>
              </a:cxn>
              <a:cxn ang="0">
                <a:pos x="connsiteX29847" y="connsiteY29847"/>
              </a:cxn>
              <a:cxn ang="0">
                <a:pos x="connsiteX29848" y="connsiteY29848"/>
              </a:cxn>
              <a:cxn ang="0">
                <a:pos x="connsiteX29849" y="connsiteY29849"/>
              </a:cxn>
              <a:cxn ang="0">
                <a:pos x="connsiteX29850" y="connsiteY29850"/>
              </a:cxn>
              <a:cxn ang="0">
                <a:pos x="connsiteX29851" y="connsiteY29851"/>
              </a:cxn>
              <a:cxn ang="0">
                <a:pos x="connsiteX29852" y="connsiteY29852"/>
              </a:cxn>
              <a:cxn ang="0">
                <a:pos x="connsiteX29853" y="connsiteY29853"/>
              </a:cxn>
              <a:cxn ang="0">
                <a:pos x="connsiteX29854" y="connsiteY29854"/>
              </a:cxn>
              <a:cxn ang="0">
                <a:pos x="connsiteX29855" y="connsiteY29855"/>
              </a:cxn>
              <a:cxn ang="0">
                <a:pos x="connsiteX29856" y="connsiteY29856"/>
              </a:cxn>
              <a:cxn ang="0">
                <a:pos x="connsiteX29857" y="connsiteY29857"/>
              </a:cxn>
              <a:cxn ang="0">
                <a:pos x="connsiteX29858" y="connsiteY29858"/>
              </a:cxn>
              <a:cxn ang="0">
                <a:pos x="connsiteX29859" y="connsiteY29859"/>
              </a:cxn>
              <a:cxn ang="0">
                <a:pos x="connsiteX29860" y="connsiteY29860"/>
              </a:cxn>
              <a:cxn ang="0">
                <a:pos x="connsiteX29861" y="connsiteY29861"/>
              </a:cxn>
              <a:cxn ang="0">
                <a:pos x="connsiteX29862" y="connsiteY29862"/>
              </a:cxn>
              <a:cxn ang="0">
                <a:pos x="connsiteX29863" y="connsiteY29863"/>
              </a:cxn>
              <a:cxn ang="0">
                <a:pos x="connsiteX29864" y="connsiteY29864"/>
              </a:cxn>
              <a:cxn ang="0">
                <a:pos x="connsiteX29865" y="connsiteY29865"/>
              </a:cxn>
              <a:cxn ang="0">
                <a:pos x="connsiteX29866" y="connsiteY29866"/>
              </a:cxn>
              <a:cxn ang="0">
                <a:pos x="connsiteX29867" y="connsiteY29867"/>
              </a:cxn>
              <a:cxn ang="0">
                <a:pos x="connsiteX29868" y="connsiteY29868"/>
              </a:cxn>
              <a:cxn ang="0">
                <a:pos x="connsiteX29869" y="connsiteY29869"/>
              </a:cxn>
              <a:cxn ang="0">
                <a:pos x="connsiteX29870" y="connsiteY29870"/>
              </a:cxn>
              <a:cxn ang="0">
                <a:pos x="connsiteX29871" y="connsiteY29871"/>
              </a:cxn>
              <a:cxn ang="0">
                <a:pos x="connsiteX29872" y="connsiteY29872"/>
              </a:cxn>
              <a:cxn ang="0">
                <a:pos x="connsiteX29873" y="connsiteY29873"/>
              </a:cxn>
              <a:cxn ang="0">
                <a:pos x="connsiteX29874" y="connsiteY29874"/>
              </a:cxn>
              <a:cxn ang="0">
                <a:pos x="connsiteX29875" y="connsiteY29875"/>
              </a:cxn>
              <a:cxn ang="0">
                <a:pos x="connsiteX29876" y="connsiteY29876"/>
              </a:cxn>
              <a:cxn ang="0">
                <a:pos x="connsiteX29877" y="connsiteY29877"/>
              </a:cxn>
              <a:cxn ang="0">
                <a:pos x="connsiteX29878" y="connsiteY29878"/>
              </a:cxn>
              <a:cxn ang="0">
                <a:pos x="connsiteX29879" y="connsiteY29879"/>
              </a:cxn>
              <a:cxn ang="0">
                <a:pos x="connsiteX29880" y="connsiteY29880"/>
              </a:cxn>
              <a:cxn ang="0">
                <a:pos x="connsiteX29881" y="connsiteY29881"/>
              </a:cxn>
              <a:cxn ang="0">
                <a:pos x="connsiteX29882" y="connsiteY29882"/>
              </a:cxn>
              <a:cxn ang="0">
                <a:pos x="connsiteX29883" y="connsiteY29883"/>
              </a:cxn>
              <a:cxn ang="0">
                <a:pos x="connsiteX29884" y="connsiteY29884"/>
              </a:cxn>
              <a:cxn ang="0">
                <a:pos x="connsiteX29885" y="connsiteY29885"/>
              </a:cxn>
              <a:cxn ang="0">
                <a:pos x="connsiteX29886" y="connsiteY29886"/>
              </a:cxn>
              <a:cxn ang="0">
                <a:pos x="connsiteX29887" y="connsiteY29887"/>
              </a:cxn>
              <a:cxn ang="0">
                <a:pos x="connsiteX29888" y="connsiteY29888"/>
              </a:cxn>
              <a:cxn ang="0">
                <a:pos x="connsiteX29889" y="connsiteY29889"/>
              </a:cxn>
              <a:cxn ang="0">
                <a:pos x="connsiteX29890" y="connsiteY29890"/>
              </a:cxn>
              <a:cxn ang="0">
                <a:pos x="connsiteX29891" y="connsiteY29891"/>
              </a:cxn>
              <a:cxn ang="0">
                <a:pos x="connsiteX29892" y="connsiteY29892"/>
              </a:cxn>
              <a:cxn ang="0">
                <a:pos x="connsiteX29893" y="connsiteY29893"/>
              </a:cxn>
              <a:cxn ang="0">
                <a:pos x="connsiteX29894" y="connsiteY29894"/>
              </a:cxn>
              <a:cxn ang="0">
                <a:pos x="connsiteX29895" y="connsiteY29895"/>
              </a:cxn>
              <a:cxn ang="0">
                <a:pos x="connsiteX29896" y="connsiteY29896"/>
              </a:cxn>
              <a:cxn ang="0">
                <a:pos x="connsiteX29897" y="connsiteY29897"/>
              </a:cxn>
              <a:cxn ang="0">
                <a:pos x="connsiteX29898" y="connsiteY29898"/>
              </a:cxn>
              <a:cxn ang="0">
                <a:pos x="connsiteX29899" y="connsiteY29899"/>
              </a:cxn>
              <a:cxn ang="0">
                <a:pos x="connsiteX29900" y="connsiteY29900"/>
              </a:cxn>
              <a:cxn ang="0">
                <a:pos x="connsiteX29901" y="connsiteY29901"/>
              </a:cxn>
              <a:cxn ang="0">
                <a:pos x="connsiteX29902" y="connsiteY29902"/>
              </a:cxn>
              <a:cxn ang="0">
                <a:pos x="connsiteX29903" y="connsiteY29903"/>
              </a:cxn>
              <a:cxn ang="0">
                <a:pos x="connsiteX29904" y="connsiteY29904"/>
              </a:cxn>
              <a:cxn ang="0">
                <a:pos x="connsiteX29905" y="connsiteY29905"/>
              </a:cxn>
              <a:cxn ang="0">
                <a:pos x="connsiteX29906" y="connsiteY29906"/>
              </a:cxn>
              <a:cxn ang="0">
                <a:pos x="connsiteX29907" y="connsiteY29907"/>
              </a:cxn>
              <a:cxn ang="0">
                <a:pos x="connsiteX29908" y="connsiteY29908"/>
              </a:cxn>
              <a:cxn ang="0">
                <a:pos x="connsiteX29909" y="connsiteY29909"/>
              </a:cxn>
              <a:cxn ang="0">
                <a:pos x="connsiteX29910" y="connsiteY29910"/>
              </a:cxn>
              <a:cxn ang="0">
                <a:pos x="connsiteX29911" y="connsiteY29911"/>
              </a:cxn>
              <a:cxn ang="0">
                <a:pos x="connsiteX29912" y="connsiteY29912"/>
              </a:cxn>
              <a:cxn ang="0">
                <a:pos x="connsiteX29913" y="connsiteY29913"/>
              </a:cxn>
              <a:cxn ang="0">
                <a:pos x="connsiteX29914" y="connsiteY29914"/>
              </a:cxn>
              <a:cxn ang="0">
                <a:pos x="connsiteX29915" y="connsiteY29915"/>
              </a:cxn>
              <a:cxn ang="0">
                <a:pos x="connsiteX29916" y="connsiteY29916"/>
              </a:cxn>
              <a:cxn ang="0">
                <a:pos x="connsiteX29917" y="connsiteY29917"/>
              </a:cxn>
              <a:cxn ang="0">
                <a:pos x="connsiteX29918" y="connsiteY29918"/>
              </a:cxn>
              <a:cxn ang="0">
                <a:pos x="connsiteX29919" y="connsiteY29919"/>
              </a:cxn>
              <a:cxn ang="0">
                <a:pos x="connsiteX29920" y="connsiteY29920"/>
              </a:cxn>
              <a:cxn ang="0">
                <a:pos x="connsiteX29921" y="connsiteY29921"/>
              </a:cxn>
              <a:cxn ang="0">
                <a:pos x="connsiteX29922" y="connsiteY29922"/>
              </a:cxn>
              <a:cxn ang="0">
                <a:pos x="connsiteX29923" y="connsiteY29923"/>
              </a:cxn>
              <a:cxn ang="0">
                <a:pos x="connsiteX29924" y="connsiteY29924"/>
              </a:cxn>
              <a:cxn ang="0">
                <a:pos x="connsiteX29925" y="connsiteY29925"/>
              </a:cxn>
              <a:cxn ang="0">
                <a:pos x="connsiteX29926" y="connsiteY29926"/>
              </a:cxn>
              <a:cxn ang="0">
                <a:pos x="connsiteX29927" y="connsiteY29927"/>
              </a:cxn>
              <a:cxn ang="0">
                <a:pos x="connsiteX29928" y="connsiteY29928"/>
              </a:cxn>
              <a:cxn ang="0">
                <a:pos x="connsiteX29929" y="connsiteY29929"/>
              </a:cxn>
              <a:cxn ang="0">
                <a:pos x="connsiteX29930" y="connsiteY29930"/>
              </a:cxn>
              <a:cxn ang="0">
                <a:pos x="connsiteX29931" y="connsiteY29931"/>
              </a:cxn>
              <a:cxn ang="0">
                <a:pos x="connsiteX29932" y="connsiteY29932"/>
              </a:cxn>
              <a:cxn ang="0">
                <a:pos x="connsiteX29933" y="connsiteY29933"/>
              </a:cxn>
              <a:cxn ang="0">
                <a:pos x="connsiteX29934" y="connsiteY29934"/>
              </a:cxn>
              <a:cxn ang="0">
                <a:pos x="connsiteX29935" y="connsiteY29935"/>
              </a:cxn>
              <a:cxn ang="0">
                <a:pos x="connsiteX29936" y="connsiteY29936"/>
              </a:cxn>
              <a:cxn ang="0">
                <a:pos x="connsiteX29937" y="connsiteY29937"/>
              </a:cxn>
              <a:cxn ang="0">
                <a:pos x="connsiteX29938" y="connsiteY29938"/>
              </a:cxn>
              <a:cxn ang="0">
                <a:pos x="connsiteX29939" y="connsiteY29939"/>
              </a:cxn>
              <a:cxn ang="0">
                <a:pos x="connsiteX29940" y="connsiteY29940"/>
              </a:cxn>
              <a:cxn ang="0">
                <a:pos x="connsiteX29941" y="connsiteY29941"/>
              </a:cxn>
              <a:cxn ang="0">
                <a:pos x="connsiteX29942" y="connsiteY29942"/>
              </a:cxn>
              <a:cxn ang="0">
                <a:pos x="connsiteX29943" y="connsiteY29943"/>
              </a:cxn>
              <a:cxn ang="0">
                <a:pos x="connsiteX29944" y="connsiteY29944"/>
              </a:cxn>
              <a:cxn ang="0">
                <a:pos x="connsiteX29945" y="connsiteY29945"/>
              </a:cxn>
              <a:cxn ang="0">
                <a:pos x="connsiteX29946" y="connsiteY29946"/>
              </a:cxn>
              <a:cxn ang="0">
                <a:pos x="connsiteX29947" y="connsiteY29947"/>
              </a:cxn>
              <a:cxn ang="0">
                <a:pos x="connsiteX29948" y="connsiteY29948"/>
              </a:cxn>
              <a:cxn ang="0">
                <a:pos x="connsiteX29949" y="connsiteY29949"/>
              </a:cxn>
              <a:cxn ang="0">
                <a:pos x="connsiteX29950" y="connsiteY29950"/>
              </a:cxn>
              <a:cxn ang="0">
                <a:pos x="connsiteX29951" y="connsiteY29951"/>
              </a:cxn>
              <a:cxn ang="0">
                <a:pos x="connsiteX29952" y="connsiteY29952"/>
              </a:cxn>
              <a:cxn ang="0">
                <a:pos x="connsiteX29953" y="connsiteY29953"/>
              </a:cxn>
              <a:cxn ang="0">
                <a:pos x="connsiteX29954" y="connsiteY29954"/>
              </a:cxn>
              <a:cxn ang="0">
                <a:pos x="connsiteX29955" y="connsiteY29955"/>
              </a:cxn>
              <a:cxn ang="0">
                <a:pos x="connsiteX29956" y="connsiteY29956"/>
              </a:cxn>
              <a:cxn ang="0">
                <a:pos x="connsiteX29957" y="connsiteY29957"/>
              </a:cxn>
              <a:cxn ang="0">
                <a:pos x="connsiteX29958" y="connsiteY29958"/>
              </a:cxn>
              <a:cxn ang="0">
                <a:pos x="connsiteX29959" y="connsiteY29959"/>
              </a:cxn>
              <a:cxn ang="0">
                <a:pos x="connsiteX29960" y="connsiteY29960"/>
              </a:cxn>
              <a:cxn ang="0">
                <a:pos x="connsiteX29961" y="connsiteY29961"/>
              </a:cxn>
              <a:cxn ang="0">
                <a:pos x="connsiteX29962" y="connsiteY29962"/>
              </a:cxn>
              <a:cxn ang="0">
                <a:pos x="connsiteX29963" y="connsiteY29963"/>
              </a:cxn>
              <a:cxn ang="0">
                <a:pos x="connsiteX29964" y="connsiteY29964"/>
              </a:cxn>
              <a:cxn ang="0">
                <a:pos x="connsiteX29965" y="connsiteY29965"/>
              </a:cxn>
              <a:cxn ang="0">
                <a:pos x="connsiteX29966" y="connsiteY29966"/>
              </a:cxn>
              <a:cxn ang="0">
                <a:pos x="connsiteX29967" y="connsiteY29967"/>
              </a:cxn>
              <a:cxn ang="0">
                <a:pos x="connsiteX29968" y="connsiteY29968"/>
              </a:cxn>
              <a:cxn ang="0">
                <a:pos x="connsiteX29969" y="connsiteY29969"/>
              </a:cxn>
              <a:cxn ang="0">
                <a:pos x="connsiteX29970" y="connsiteY29970"/>
              </a:cxn>
              <a:cxn ang="0">
                <a:pos x="connsiteX29971" y="connsiteY29971"/>
              </a:cxn>
              <a:cxn ang="0">
                <a:pos x="connsiteX29972" y="connsiteY29972"/>
              </a:cxn>
              <a:cxn ang="0">
                <a:pos x="connsiteX29973" y="connsiteY29973"/>
              </a:cxn>
              <a:cxn ang="0">
                <a:pos x="connsiteX29974" y="connsiteY29974"/>
              </a:cxn>
              <a:cxn ang="0">
                <a:pos x="connsiteX29975" y="connsiteY29975"/>
              </a:cxn>
              <a:cxn ang="0">
                <a:pos x="connsiteX29976" y="connsiteY29976"/>
              </a:cxn>
              <a:cxn ang="0">
                <a:pos x="connsiteX29977" y="connsiteY29977"/>
              </a:cxn>
              <a:cxn ang="0">
                <a:pos x="connsiteX29978" y="connsiteY29978"/>
              </a:cxn>
              <a:cxn ang="0">
                <a:pos x="connsiteX29979" y="connsiteY29979"/>
              </a:cxn>
              <a:cxn ang="0">
                <a:pos x="connsiteX29980" y="connsiteY29980"/>
              </a:cxn>
              <a:cxn ang="0">
                <a:pos x="connsiteX29981" y="connsiteY29981"/>
              </a:cxn>
              <a:cxn ang="0">
                <a:pos x="connsiteX29982" y="connsiteY29982"/>
              </a:cxn>
              <a:cxn ang="0">
                <a:pos x="connsiteX29983" y="connsiteY29983"/>
              </a:cxn>
              <a:cxn ang="0">
                <a:pos x="connsiteX29984" y="connsiteY29984"/>
              </a:cxn>
              <a:cxn ang="0">
                <a:pos x="connsiteX29985" y="connsiteY29985"/>
              </a:cxn>
              <a:cxn ang="0">
                <a:pos x="connsiteX29986" y="connsiteY29986"/>
              </a:cxn>
              <a:cxn ang="0">
                <a:pos x="connsiteX29987" y="connsiteY29987"/>
              </a:cxn>
              <a:cxn ang="0">
                <a:pos x="connsiteX29988" y="connsiteY29988"/>
              </a:cxn>
              <a:cxn ang="0">
                <a:pos x="connsiteX29989" y="connsiteY29989"/>
              </a:cxn>
              <a:cxn ang="0">
                <a:pos x="connsiteX29990" y="connsiteY29990"/>
              </a:cxn>
              <a:cxn ang="0">
                <a:pos x="connsiteX29991" y="connsiteY29991"/>
              </a:cxn>
              <a:cxn ang="0">
                <a:pos x="connsiteX29992" y="connsiteY29992"/>
              </a:cxn>
              <a:cxn ang="0">
                <a:pos x="connsiteX29993" y="connsiteY29993"/>
              </a:cxn>
              <a:cxn ang="0">
                <a:pos x="connsiteX29994" y="connsiteY29994"/>
              </a:cxn>
              <a:cxn ang="0">
                <a:pos x="connsiteX29995" y="connsiteY29995"/>
              </a:cxn>
              <a:cxn ang="0">
                <a:pos x="connsiteX29996" y="connsiteY29996"/>
              </a:cxn>
              <a:cxn ang="0">
                <a:pos x="connsiteX29997" y="connsiteY29997"/>
              </a:cxn>
              <a:cxn ang="0">
                <a:pos x="connsiteX29998" y="connsiteY29998"/>
              </a:cxn>
              <a:cxn ang="0">
                <a:pos x="connsiteX29999" y="connsiteY29999"/>
              </a:cxn>
              <a:cxn ang="0">
                <a:pos x="connsiteX30000" y="connsiteY30000"/>
              </a:cxn>
              <a:cxn ang="0">
                <a:pos x="connsiteX30001" y="connsiteY30001"/>
              </a:cxn>
              <a:cxn ang="0">
                <a:pos x="connsiteX30002" y="connsiteY30002"/>
              </a:cxn>
              <a:cxn ang="0">
                <a:pos x="connsiteX30003" y="connsiteY30003"/>
              </a:cxn>
              <a:cxn ang="0">
                <a:pos x="connsiteX30004" y="connsiteY30004"/>
              </a:cxn>
              <a:cxn ang="0">
                <a:pos x="connsiteX30005" y="connsiteY30005"/>
              </a:cxn>
              <a:cxn ang="0">
                <a:pos x="connsiteX30006" y="connsiteY30006"/>
              </a:cxn>
              <a:cxn ang="0">
                <a:pos x="connsiteX30007" y="connsiteY30007"/>
              </a:cxn>
              <a:cxn ang="0">
                <a:pos x="connsiteX30008" y="connsiteY30008"/>
              </a:cxn>
              <a:cxn ang="0">
                <a:pos x="connsiteX30009" y="connsiteY30009"/>
              </a:cxn>
              <a:cxn ang="0">
                <a:pos x="connsiteX30010" y="connsiteY30010"/>
              </a:cxn>
              <a:cxn ang="0">
                <a:pos x="connsiteX30011" y="connsiteY30011"/>
              </a:cxn>
              <a:cxn ang="0">
                <a:pos x="connsiteX30012" y="connsiteY30012"/>
              </a:cxn>
              <a:cxn ang="0">
                <a:pos x="connsiteX30013" y="connsiteY30013"/>
              </a:cxn>
              <a:cxn ang="0">
                <a:pos x="connsiteX30014" y="connsiteY30014"/>
              </a:cxn>
              <a:cxn ang="0">
                <a:pos x="connsiteX30015" y="connsiteY30015"/>
              </a:cxn>
              <a:cxn ang="0">
                <a:pos x="connsiteX30016" y="connsiteY30016"/>
              </a:cxn>
              <a:cxn ang="0">
                <a:pos x="connsiteX30017" y="connsiteY30017"/>
              </a:cxn>
              <a:cxn ang="0">
                <a:pos x="connsiteX30018" y="connsiteY30018"/>
              </a:cxn>
              <a:cxn ang="0">
                <a:pos x="connsiteX30019" y="connsiteY30019"/>
              </a:cxn>
              <a:cxn ang="0">
                <a:pos x="connsiteX30020" y="connsiteY30020"/>
              </a:cxn>
              <a:cxn ang="0">
                <a:pos x="connsiteX30021" y="connsiteY30021"/>
              </a:cxn>
              <a:cxn ang="0">
                <a:pos x="connsiteX30022" y="connsiteY30022"/>
              </a:cxn>
              <a:cxn ang="0">
                <a:pos x="connsiteX30023" y="connsiteY30023"/>
              </a:cxn>
              <a:cxn ang="0">
                <a:pos x="connsiteX30024" y="connsiteY30024"/>
              </a:cxn>
              <a:cxn ang="0">
                <a:pos x="connsiteX30025" y="connsiteY30025"/>
              </a:cxn>
              <a:cxn ang="0">
                <a:pos x="connsiteX30026" y="connsiteY30026"/>
              </a:cxn>
              <a:cxn ang="0">
                <a:pos x="connsiteX30027" y="connsiteY30027"/>
              </a:cxn>
              <a:cxn ang="0">
                <a:pos x="connsiteX30028" y="connsiteY30028"/>
              </a:cxn>
              <a:cxn ang="0">
                <a:pos x="connsiteX30029" y="connsiteY30029"/>
              </a:cxn>
              <a:cxn ang="0">
                <a:pos x="connsiteX30030" y="connsiteY30030"/>
              </a:cxn>
              <a:cxn ang="0">
                <a:pos x="connsiteX30031" y="connsiteY30031"/>
              </a:cxn>
              <a:cxn ang="0">
                <a:pos x="connsiteX30032" y="connsiteY30032"/>
              </a:cxn>
              <a:cxn ang="0">
                <a:pos x="connsiteX30033" y="connsiteY30033"/>
              </a:cxn>
              <a:cxn ang="0">
                <a:pos x="connsiteX30034" y="connsiteY30034"/>
              </a:cxn>
              <a:cxn ang="0">
                <a:pos x="connsiteX30035" y="connsiteY30035"/>
              </a:cxn>
              <a:cxn ang="0">
                <a:pos x="connsiteX30036" y="connsiteY30036"/>
              </a:cxn>
              <a:cxn ang="0">
                <a:pos x="connsiteX30037" y="connsiteY30037"/>
              </a:cxn>
              <a:cxn ang="0">
                <a:pos x="connsiteX30038" y="connsiteY30038"/>
              </a:cxn>
              <a:cxn ang="0">
                <a:pos x="connsiteX30039" y="connsiteY30039"/>
              </a:cxn>
              <a:cxn ang="0">
                <a:pos x="connsiteX30040" y="connsiteY30040"/>
              </a:cxn>
              <a:cxn ang="0">
                <a:pos x="connsiteX30041" y="connsiteY30041"/>
              </a:cxn>
              <a:cxn ang="0">
                <a:pos x="connsiteX30042" y="connsiteY30042"/>
              </a:cxn>
              <a:cxn ang="0">
                <a:pos x="connsiteX30043" y="connsiteY30043"/>
              </a:cxn>
              <a:cxn ang="0">
                <a:pos x="connsiteX30044" y="connsiteY30044"/>
              </a:cxn>
              <a:cxn ang="0">
                <a:pos x="connsiteX30045" y="connsiteY30045"/>
              </a:cxn>
              <a:cxn ang="0">
                <a:pos x="connsiteX30046" y="connsiteY30046"/>
              </a:cxn>
              <a:cxn ang="0">
                <a:pos x="connsiteX30047" y="connsiteY30047"/>
              </a:cxn>
              <a:cxn ang="0">
                <a:pos x="connsiteX30048" y="connsiteY30048"/>
              </a:cxn>
              <a:cxn ang="0">
                <a:pos x="connsiteX30049" y="connsiteY30049"/>
              </a:cxn>
              <a:cxn ang="0">
                <a:pos x="connsiteX30050" y="connsiteY30050"/>
              </a:cxn>
              <a:cxn ang="0">
                <a:pos x="connsiteX30051" y="connsiteY30051"/>
              </a:cxn>
              <a:cxn ang="0">
                <a:pos x="connsiteX30052" y="connsiteY30052"/>
              </a:cxn>
              <a:cxn ang="0">
                <a:pos x="connsiteX30053" y="connsiteY30053"/>
              </a:cxn>
              <a:cxn ang="0">
                <a:pos x="connsiteX30054" y="connsiteY30054"/>
              </a:cxn>
              <a:cxn ang="0">
                <a:pos x="connsiteX30055" y="connsiteY30055"/>
              </a:cxn>
              <a:cxn ang="0">
                <a:pos x="connsiteX30056" y="connsiteY30056"/>
              </a:cxn>
              <a:cxn ang="0">
                <a:pos x="connsiteX30057" y="connsiteY30057"/>
              </a:cxn>
              <a:cxn ang="0">
                <a:pos x="connsiteX30058" y="connsiteY30058"/>
              </a:cxn>
              <a:cxn ang="0">
                <a:pos x="connsiteX30059" y="connsiteY30059"/>
              </a:cxn>
              <a:cxn ang="0">
                <a:pos x="connsiteX30060" y="connsiteY30060"/>
              </a:cxn>
              <a:cxn ang="0">
                <a:pos x="connsiteX30061" y="connsiteY30061"/>
              </a:cxn>
              <a:cxn ang="0">
                <a:pos x="connsiteX30062" y="connsiteY30062"/>
              </a:cxn>
              <a:cxn ang="0">
                <a:pos x="connsiteX30063" y="connsiteY30063"/>
              </a:cxn>
              <a:cxn ang="0">
                <a:pos x="connsiteX30064" y="connsiteY30064"/>
              </a:cxn>
              <a:cxn ang="0">
                <a:pos x="connsiteX30065" y="connsiteY30065"/>
              </a:cxn>
              <a:cxn ang="0">
                <a:pos x="connsiteX30066" y="connsiteY30066"/>
              </a:cxn>
              <a:cxn ang="0">
                <a:pos x="connsiteX30067" y="connsiteY30067"/>
              </a:cxn>
              <a:cxn ang="0">
                <a:pos x="connsiteX30068" y="connsiteY30068"/>
              </a:cxn>
              <a:cxn ang="0">
                <a:pos x="connsiteX30069" y="connsiteY30069"/>
              </a:cxn>
              <a:cxn ang="0">
                <a:pos x="connsiteX30070" y="connsiteY30070"/>
              </a:cxn>
              <a:cxn ang="0">
                <a:pos x="connsiteX30071" y="connsiteY30071"/>
              </a:cxn>
              <a:cxn ang="0">
                <a:pos x="connsiteX30072" y="connsiteY30072"/>
              </a:cxn>
              <a:cxn ang="0">
                <a:pos x="connsiteX30073" y="connsiteY30073"/>
              </a:cxn>
              <a:cxn ang="0">
                <a:pos x="connsiteX30074" y="connsiteY30074"/>
              </a:cxn>
              <a:cxn ang="0">
                <a:pos x="connsiteX30075" y="connsiteY30075"/>
              </a:cxn>
              <a:cxn ang="0">
                <a:pos x="connsiteX30076" y="connsiteY30076"/>
              </a:cxn>
              <a:cxn ang="0">
                <a:pos x="connsiteX30077" y="connsiteY30077"/>
              </a:cxn>
              <a:cxn ang="0">
                <a:pos x="connsiteX30078" y="connsiteY30078"/>
              </a:cxn>
              <a:cxn ang="0">
                <a:pos x="connsiteX30079" y="connsiteY30079"/>
              </a:cxn>
              <a:cxn ang="0">
                <a:pos x="connsiteX30080" y="connsiteY30080"/>
              </a:cxn>
              <a:cxn ang="0">
                <a:pos x="connsiteX30081" y="connsiteY30081"/>
              </a:cxn>
              <a:cxn ang="0">
                <a:pos x="connsiteX30082" y="connsiteY30082"/>
              </a:cxn>
              <a:cxn ang="0">
                <a:pos x="connsiteX30083" y="connsiteY30083"/>
              </a:cxn>
              <a:cxn ang="0">
                <a:pos x="connsiteX30084" y="connsiteY30084"/>
              </a:cxn>
              <a:cxn ang="0">
                <a:pos x="connsiteX30085" y="connsiteY30085"/>
              </a:cxn>
              <a:cxn ang="0">
                <a:pos x="connsiteX30086" y="connsiteY30086"/>
              </a:cxn>
              <a:cxn ang="0">
                <a:pos x="connsiteX30087" y="connsiteY30087"/>
              </a:cxn>
              <a:cxn ang="0">
                <a:pos x="connsiteX30088" y="connsiteY30088"/>
              </a:cxn>
              <a:cxn ang="0">
                <a:pos x="connsiteX30089" y="connsiteY30089"/>
              </a:cxn>
              <a:cxn ang="0">
                <a:pos x="connsiteX30090" y="connsiteY30090"/>
              </a:cxn>
              <a:cxn ang="0">
                <a:pos x="connsiteX30091" y="connsiteY30091"/>
              </a:cxn>
              <a:cxn ang="0">
                <a:pos x="connsiteX30092" y="connsiteY30092"/>
              </a:cxn>
              <a:cxn ang="0">
                <a:pos x="connsiteX30093" y="connsiteY30093"/>
              </a:cxn>
              <a:cxn ang="0">
                <a:pos x="connsiteX30094" y="connsiteY30094"/>
              </a:cxn>
              <a:cxn ang="0">
                <a:pos x="connsiteX30095" y="connsiteY30095"/>
              </a:cxn>
              <a:cxn ang="0">
                <a:pos x="connsiteX30096" y="connsiteY30096"/>
              </a:cxn>
              <a:cxn ang="0">
                <a:pos x="connsiteX30097" y="connsiteY30097"/>
              </a:cxn>
              <a:cxn ang="0">
                <a:pos x="connsiteX30098" y="connsiteY30098"/>
              </a:cxn>
              <a:cxn ang="0">
                <a:pos x="connsiteX30099" y="connsiteY30099"/>
              </a:cxn>
              <a:cxn ang="0">
                <a:pos x="connsiteX30100" y="connsiteY30100"/>
              </a:cxn>
              <a:cxn ang="0">
                <a:pos x="connsiteX30101" y="connsiteY30101"/>
              </a:cxn>
              <a:cxn ang="0">
                <a:pos x="connsiteX30102" y="connsiteY30102"/>
              </a:cxn>
              <a:cxn ang="0">
                <a:pos x="connsiteX30103" y="connsiteY30103"/>
              </a:cxn>
              <a:cxn ang="0">
                <a:pos x="connsiteX30104" y="connsiteY30104"/>
              </a:cxn>
              <a:cxn ang="0">
                <a:pos x="connsiteX30105" y="connsiteY30105"/>
              </a:cxn>
              <a:cxn ang="0">
                <a:pos x="connsiteX30106" y="connsiteY30106"/>
              </a:cxn>
              <a:cxn ang="0">
                <a:pos x="connsiteX30107" y="connsiteY30107"/>
              </a:cxn>
              <a:cxn ang="0">
                <a:pos x="connsiteX30108" y="connsiteY30108"/>
              </a:cxn>
              <a:cxn ang="0">
                <a:pos x="connsiteX30109" y="connsiteY30109"/>
              </a:cxn>
              <a:cxn ang="0">
                <a:pos x="connsiteX30110" y="connsiteY30110"/>
              </a:cxn>
              <a:cxn ang="0">
                <a:pos x="connsiteX30111" y="connsiteY30111"/>
              </a:cxn>
              <a:cxn ang="0">
                <a:pos x="connsiteX30112" y="connsiteY30112"/>
              </a:cxn>
              <a:cxn ang="0">
                <a:pos x="connsiteX30113" y="connsiteY30113"/>
              </a:cxn>
              <a:cxn ang="0">
                <a:pos x="connsiteX30114" y="connsiteY30114"/>
              </a:cxn>
              <a:cxn ang="0">
                <a:pos x="connsiteX30115" y="connsiteY30115"/>
              </a:cxn>
              <a:cxn ang="0">
                <a:pos x="connsiteX30116" y="connsiteY30116"/>
              </a:cxn>
              <a:cxn ang="0">
                <a:pos x="connsiteX30117" y="connsiteY30117"/>
              </a:cxn>
              <a:cxn ang="0">
                <a:pos x="connsiteX30118" y="connsiteY30118"/>
              </a:cxn>
              <a:cxn ang="0">
                <a:pos x="connsiteX30119" y="connsiteY30119"/>
              </a:cxn>
              <a:cxn ang="0">
                <a:pos x="connsiteX30120" y="connsiteY30120"/>
              </a:cxn>
              <a:cxn ang="0">
                <a:pos x="connsiteX30121" y="connsiteY30121"/>
              </a:cxn>
              <a:cxn ang="0">
                <a:pos x="connsiteX30122" y="connsiteY30122"/>
              </a:cxn>
              <a:cxn ang="0">
                <a:pos x="connsiteX30123" y="connsiteY30123"/>
              </a:cxn>
              <a:cxn ang="0">
                <a:pos x="connsiteX30124" y="connsiteY30124"/>
              </a:cxn>
              <a:cxn ang="0">
                <a:pos x="connsiteX30125" y="connsiteY30125"/>
              </a:cxn>
              <a:cxn ang="0">
                <a:pos x="connsiteX30126" y="connsiteY30126"/>
              </a:cxn>
              <a:cxn ang="0">
                <a:pos x="connsiteX30127" y="connsiteY30127"/>
              </a:cxn>
              <a:cxn ang="0">
                <a:pos x="connsiteX30128" y="connsiteY30128"/>
              </a:cxn>
              <a:cxn ang="0">
                <a:pos x="connsiteX30129" y="connsiteY30129"/>
              </a:cxn>
              <a:cxn ang="0">
                <a:pos x="connsiteX30130" y="connsiteY30130"/>
              </a:cxn>
              <a:cxn ang="0">
                <a:pos x="connsiteX30131" y="connsiteY30131"/>
              </a:cxn>
              <a:cxn ang="0">
                <a:pos x="connsiteX30132" y="connsiteY30132"/>
              </a:cxn>
              <a:cxn ang="0">
                <a:pos x="connsiteX30133" y="connsiteY30133"/>
              </a:cxn>
              <a:cxn ang="0">
                <a:pos x="connsiteX30134" y="connsiteY30134"/>
              </a:cxn>
              <a:cxn ang="0">
                <a:pos x="connsiteX30135" y="connsiteY30135"/>
              </a:cxn>
              <a:cxn ang="0">
                <a:pos x="connsiteX30136" y="connsiteY30136"/>
              </a:cxn>
              <a:cxn ang="0">
                <a:pos x="connsiteX30137" y="connsiteY30137"/>
              </a:cxn>
              <a:cxn ang="0">
                <a:pos x="connsiteX30138" y="connsiteY30138"/>
              </a:cxn>
              <a:cxn ang="0">
                <a:pos x="connsiteX30139" y="connsiteY30139"/>
              </a:cxn>
              <a:cxn ang="0">
                <a:pos x="connsiteX30140" y="connsiteY30140"/>
              </a:cxn>
              <a:cxn ang="0">
                <a:pos x="connsiteX30141" y="connsiteY30141"/>
              </a:cxn>
              <a:cxn ang="0">
                <a:pos x="connsiteX30142" y="connsiteY30142"/>
              </a:cxn>
              <a:cxn ang="0">
                <a:pos x="connsiteX30143" y="connsiteY30143"/>
              </a:cxn>
              <a:cxn ang="0">
                <a:pos x="connsiteX30144" y="connsiteY30144"/>
              </a:cxn>
              <a:cxn ang="0">
                <a:pos x="connsiteX30145" y="connsiteY30145"/>
              </a:cxn>
              <a:cxn ang="0">
                <a:pos x="connsiteX30146" y="connsiteY30146"/>
              </a:cxn>
              <a:cxn ang="0">
                <a:pos x="connsiteX30147" y="connsiteY30147"/>
              </a:cxn>
              <a:cxn ang="0">
                <a:pos x="connsiteX30148" y="connsiteY30148"/>
              </a:cxn>
              <a:cxn ang="0">
                <a:pos x="connsiteX30149" y="connsiteY30149"/>
              </a:cxn>
              <a:cxn ang="0">
                <a:pos x="connsiteX30150" y="connsiteY30150"/>
              </a:cxn>
              <a:cxn ang="0">
                <a:pos x="connsiteX30151" y="connsiteY30151"/>
              </a:cxn>
              <a:cxn ang="0">
                <a:pos x="connsiteX30152" y="connsiteY30152"/>
              </a:cxn>
              <a:cxn ang="0">
                <a:pos x="connsiteX30153" y="connsiteY30153"/>
              </a:cxn>
              <a:cxn ang="0">
                <a:pos x="connsiteX30154" y="connsiteY30154"/>
              </a:cxn>
              <a:cxn ang="0">
                <a:pos x="connsiteX30155" y="connsiteY30155"/>
              </a:cxn>
              <a:cxn ang="0">
                <a:pos x="connsiteX30156" y="connsiteY30156"/>
              </a:cxn>
              <a:cxn ang="0">
                <a:pos x="connsiteX30157" y="connsiteY30157"/>
              </a:cxn>
              <a:cxn ang="0">
                <a:pos x="connsiteX30158" y="connsiteY30158"/>
              </a:cxn>
              <a:cxn ang="0">
                <a:pos x="connsiteX30159" y="connsiteY30159"/>
              </a:cxn>
              <a:cxn ang="0">
                <a:pos x="connsiteX30160" y="connsiteY30160"/>
              </a:cxn>
              <a:cxn ang="0">
                <a:pos x="connsiteX30161" y="connsiteY30161"/>
              </a:cxn>
              <a:cxn ang="0">
                <a:pos x="connsiteX30162" y="connsiteY30162"/>
              </a:cxn>
              <a:cxn ang="0">
                <a:pos x="connsiteX30163" y="connsiteY30163"/>
              </a:cxn>
              <a:cxn ang="0">
                <a:pos x="connsiteX30164" y="connsiteY30164"/>
              </a:cxn>
              <a:cxn ang="0">
                <a:pos x="connsiteX30165" y="connsiteY30165"/>
              </a:cxn>
              <a:cxn ang="0">
                <a:pos x="connsiteX30166" y="connsiteY30166"/>
              </a:cxn>
              <a:cxn ang="0">
                <a:pos x="connsiteX30167" y="connsiteY30167"/>
              </a:cxn>
              <a:cxn ang="0">
                <a:pos x="connsiteX30168" y="connsiteY30168"/>
              </a:cxn>
              <a:cxn ang="0">
                <a:pos x="connsiteX30169" y="connsiteY30169"/>
              </a:cxn>
              <a:cxn ang="0">
                <a:pos x="connsiteX30170" y="connsiteY30170"/>
              </a:cxn>
              <a:cxn ang="0">
                <a:pos x="connsiteX30171" y="connsiteY30171"/>
              </a:cxn>
              <a:cxn ang="0">
                <a:pos x="connsiteX30172" y="connsiteY30172"/>
              </a:cxn>
              <a:cxn ang="0">
                <a:pos x="connsiteX30173" y="connsiteY30173"/>
              </a:cxn>
              <a:cxn ang="0">
                <a:pos x="connsiteX30174" y="connsiteY30174"/>
              </a:cxn>
              <a:cxn ang="0">
                <a:pos x="connsiteX30175" y="connsiteY30175"/>
              </a:cxn>
              <a:cxn ang="0">
                <a:pos x="connsiteX30176" y="connsiteY30176"/>
              </a:cxn>
              <a:cxn ang="0">
                <a:pos x="connsiteX30177" y="connsiteY30177"/>
              </a:cxn>
              <a:cxn ang="0">
                <a:pos x="connsiteX30178" y="connsiteY30178"/>
              </a:cxn>
              <a:cxn ang="0">
                <a:pos x="connsiteX30179" y="connsiteY30179"/>
              </a:cxn>
              <a:cxn ang="0">
                <a:pos x="connsiteX30180" y="connsiteY30180"/>
              </a:cxn>
              <a:cxn ang="0">
                <a:pos x="connsiteX30181" y="connsiteY30181"/>
              </a:cxn>
              <a:cxn ang="0">
                <a:pos x="connsiteX30182" y="connsiteY30182"/>
              </a:cxn>
              <a:cxn ang="0">
                <a:pos x="connsiteX30183" y="connsiteY30183"/>
              </a:cxn>
              <a:cxn ang="0">
                <a:pos x="connsiteX30184" y="connsiteY30184"/>
              </a:cxn>
              <a:cxn ang="0">
                <a:pos x="connsiteX30185" y="connsiteY30185"/>
              </a:cxn>
              <a:cxn ang="0">
                <a:pos x="connsiteX30186" y="connsiteY30186"/>
              </a:cxn>
              <a:cxn ang="0">
                <a:pos x="connsiteX30187" y="connsiteY30187"/>
              </a:cxn>
              <a:cxn ang="0">
                <a:pos x="connsiteX30188" y="connsiteY30188"/>
              </a:cxn>
              <a:cxn ang="0">
                <a:pos x="connsiteX30189" y="connsiteY30189"/>
              </a:cxn>
              <a:cxn ang="0">
                <a:pos x="connsiteX30190" y="connsiteY30190"/>
              </a:cxn>
              <a:cxn ang="0">
                <a:pos x="connsiteX30191" y="connsiteY30191"/>
              </a:cxn>
              <a:cxn ang="0">
                <a:pos x="connsiteX30192" y="connsiteY30192"/>
              </a:cxn>
              <a:cxn ang="0">
                <a:pos x="connsiteX30193" y="connsiteY30193"/>
              </a:cxn>
              <a:cxn ang="0">
                <a:pos x="connsiteX30194" y="connsiteY30194"/>
              </a:cxn>
              <a:cxn ang="0">
                <a:pos x="connsiteX30195" y="connsiteY30195"/>
              </a:cxn>
              <a:cxn ang="0">
                <a:pos x="connsiteX30196" y="connsiteY30196"/>
              </a:cxn>
              <a:cxn ang="0">
                <a:pos x="connsiteX30197" y="connsiteY30197"/>
              </a:cxn>
              <a:cxn ang="0">
                <a:pos x="connsiteX30198" y="connsiteY30198"/>
              </a:cxn>
              <a:cxn ang="0">
                <a:pos x="connsiteX30199" y="connsiteY30199"/>
              </a:cxn>
              <a:cxn ang="0">
                <a:pos x="connsiteX30200" y="connsiteY30200"/>
              </a:cxn>
              <a:cxn ang="0">
                <a:pos x="connsiteX30201" y="connsiteY30201"/>
              </a:cxn>
              <a:cxn ang="0">
                <a:pos x="connsiteX30202" y="connsiteY30202"/>
              </a:cxn>
              <a:cxn ang="0">
                <a:pos x="connsiteX30203" y="connsiteY30203"/>
              </a:cxn>
              <a:cxn ang="0">
                <a:pos x="connsiteX30204" y="connsiteY30204"/>
              </a:cxn>
              <a:cxn ang="0">
                <a:pos x="connsiteX30205" y="connsiteY30205"/>
              </a:cxn>
              <a:cxn ang="0">
                <a:pos x="connsiteX30206" y="connsiteY30206"/>
              </a:cxn>
              <a:cxn ang="0">
                <a:pos x="connsiteX30207" y="connsiteY30207"/>
              </a:cxn>
              <a:cxn ang="0">
                <a:pos x="connsiteX30208" y="connsiteY30208"/>
              </a:cxn>
              <a:cxn ang="0">
                <a:pos x="connsiteX30209" y="connsiteY30209"/>
              </a:cxn>
              <a:cxn ang="0">
                <a:pos x="connsiteX30210" y="connsiteY30210"/>
              </a:cxn>
              <a:cxn ang="0">
                <a:pos x="connsiteX30211" y="connsiteY30211"/>
              </a:cxn>
              <a:cxn ang="0">
                <a:pos x="connsiteX30212" y="connsiteY30212"/>
              </a:cxn>
              <a:cxn ang="0">
                <a:pos x="connsiteX30213" y="connsiteY30213"/>
              </a:cxn>
              <a:cxn ang="0">
                <a:pos x="connsiteX30214" y="connsiteY30214"/>
              </a:cxn>
              <a:cxn ang="0">
                <a:pos x="connsiteX30215" y="connsiteY30215"/>
              </a:cxn>
              <a:cxn ang="0">
                <a:pos x="connsiteX30216" y="connsiteY30216"/>
              </a:cxn>
              <a:cxn ang="0">
                <a:pos x="connsiteX30217" y="connsiteY30217"/>
              </a:cxn>
              <a:cxn ang="0">
                <a:pos x="connsiteX30218" y="connsiteY30218"/>
              </a:cxn>
              <a:cxn ang="0">
                <a:pos x="connsiteX30219" y="connsiteY30219"/>
              </a:cxn>
              <a:cxn ang="0">
                <a:pos x="connsiteX30220" y="connsiteY30220"/>
              </a:cxn>
              <a:cxn ang="0">
                <a:pos x="connsiteX30221" y="connsiteY30221"/>
              </a:cxn>
              <a:cxn ang="0">
                <a:pos x="connsiteX30222" y="connsiteY30222"/>
              </a:cxn>
              <a:cxn ang="0">
                <a:pos x="connsiteX30223" y="connsiteY30223"/>
              </a:cxn>
              <a:cxn ang="0">
                <a:pos x="connsiteX30224" y="connsiteY30224"/>
              </a:cxn>
              <a:cxn ang="0">
                <a:pos x="connsiteX30225" y="connsiteY30225"/>
              </a:cxn>
              <a:cxn ang="0">
                <a:pos x="connsiteX30226" y="connsiteY30226"/>
              </a:cxn>
              <a:cxn ang="0">
                <a:pos x="connsiteX30227" y="connsiteY30227"/>
              </a:cxn>
              <a:cxn ang="0">
                <a:pos x="connsiteX30228" y="connsiteY30228"/>
              </a:cxn>
              <a:cxn ang="0">
                <a:pos x="connsiteX30229" y="connsiteY30229"/>
              </a:cxn>
              <a:cxn ang="0">
                <a:pos x="connsiteX30230" y="connsiteY30230"/>
              </a:cxn>
              <a:cxn ang="0">
                <a:pos x="connsiteX30231" y="connsiteY30231"/>
              </a:cxn>
              <a:cxn ang="0">
                <a:pos x="connsiteX30232" y="connsiteY30232"/>
              </a:cxn>
              <a:cxn ang="0">
                <a:pos x="connsiteX30233" y="connsiteY30233"/>
              </a:cxn>
              <a:cxn ang="0">
                <a:pos x="connsiteX30234" y="connsiteY30234"/>
              </a:cxn>
              <a:cxn ang="0">
                <a:pos x="connsiteX30235" y="connsiteY30235"/>
              </a:cxn>
              <a:cxn ang="0">
                <a:pos x="connsiteX30236" y="connsiteY30236"/>
              </a:cxn>
              <a:cxn ang="0">
                <a:pos x="connsiteX30237" y="connsiteY30237"/>
              </a:cxn>
              <a:cxn ang="0">
                <a:pos x="connsiteX30238" y="connsiteY30238"/>
              </a:cxn>
              <a:cxn ang="0">
                <a:pos x="connsiteX30239" y="connsiteY30239"/>
              </a:cxn>
              <a:cxn ang="0">
                <a:pos x="connsiteX30240" y="connsiteY30240"/>
              </a:cxn>
              <a:cxn ang="0">
                <a:pos x="connsiteX30241" y="connsiteY30241"/>
              </a:cxn>
              <a:cxn ang="0">
                <a:pos x="connsiteX30242" y="connsiteY30242"/>
              </a:cxn>
              <a:cxn ang="0">
                <a:pos x="connsiteX30243" y="connsiteY30243"/>
              </a:cxn>
              <a:cxn ang="0">
                <a:pos x="connsiteX30244" y="connsiteY30244"/>
              </a:cxn>
              <a:cxn ang="0">
                <a:pos x="connsiteX30245" y="connsiteY30245"/>
              </a:cxn>
              <a:cxn ang="0">
                <a:pos x="connsiteX30246" y="connsiteY30246"/>
              </a:cxn>
              <a:cxn ang="0">
                <a:pos x="connsiteX30247" y="connsiteY30247"/>
              </a:cxn>
              <a:cxn ang="0">
                <a:pos x="connsiteX30248" y="connsiteY30248"/>
              </a:cxn>
              <a:cxn ang="0">
                <a:pos x="connsiteX30249" y="connsiteY30249"/>
              </a:cxn>
              <a:cxn ang="0">
                <a:pos x="connsiteX30250" y="connsiteY30250"/>
              </a:cxn>
              <a:cxn ang="0">
                <a:pos x="connsiteX30251" y="connsiteY30251"/>
              </a:cxn>
              <a:cxn ang="0">
                <a:pos x="connsiteX30252" y="connsiteY30252"/>
              </a:cxn>
              <a:cxn ang="0">
                <a:pos x="connsiteX30253" y="connsiteY30253"/>
              </a:cxn>
              <a:cxn ang="0">
                <a:pos x="connsiteX30254" y="connsiteY30254"/>
              </a:cxn>
              <a:cxn ang="0">
                <a:pos x="connsiteX30255" y="connsiteY30255"/>
              </a:cxn>
              <a:cxn ang="0">
                <a:pos x="connsiteX30256" y="connsiteY30256"/>
              </a:cxn>
              <a:cxn ang="0">
                <a:pos x="connsiteX30257" y="connsiteY30257"/>
              </a:cxn>
              <a:cxn ang="0">
                <a:pos x="connsiteX30258" y="connsiteY30258"/>
              </a:cxn>
              <a:cxn ang="0">
                <a:pos x="connsiteX30259" y="connsiteY30259"/>
              </a:cxn>
              <a:cxn ang="0">
                <a:pos x="connsiteX30260" y="connsiteY30260"/>
              </a:cxn>
              <a:cxn ang="0">
                <a:pos x="connsiteX30261" y="connsiteY30261"/>
              </a:cxn>
              <a:cxn ang="0">
                <a:pos x="connsiteX30262" y="connsiteY30262"/>
              </a:cxn>
              <a:cxn ang="0">
                <a:pos x="connsiteX30263" y="connsiteY30263"/>
              </a:cxn>
              <a:cxn ang="0">
                <a:pos x="connsiteX30264" y="connsiteY30264"/>
              </a:cxn>
              <a:cxn ang="0">
                <a:pos x="connsiteX30265" y="connsiteY30265"/>
              </a:cxn>
              <a:cxn ang="0">
                <a:pos x="connsiteX30266" y="connsiteY30266"/>
              </a:cxn>
              <a:cxn ang="0">
                <a:pos x="connsiteX30267" y="connsiteY30267"/>
              </a:cxn>
              <a:cxn ang="0">
                <a:pos x="connsiteX30268" y="connsiteY30268"/>
              </a:cxn>
              <a:cxn ang="0">
                <a:pos x="connsiteX30269" y="connsiteY30269"/>
              </a:cxn>
              <a:cxn ang="0">
                <a:pos x="connsiteX30270" y="connsiteY30270"/>
              </a:cxn>
              <a:cxn ang="0">
                <a:pos x="connsiteX30271" y="connsiteY30271"/>
              </a:cxn>
              <a:cxn ang="0">
                <a:pos x="connsiteX30272" y="connsiteY30272"/>
              </a:cxn>
              <a:cxn ang="0">
                <a:pos x="connsiteX30273" y="connsiteY30273"/>
              </a:cxn>
              <a:cxn ang="0">
                <a:pos x="connsiteX30274" y="connsiteY30274"/>
              </a:cxn>
              <a:cxn ang="0">
                <a:pos x="connsiteX30275" y="connsiteY30275"/>
              </a:cxn>
              <a:cxn ang="0">
                <a:pos x="connsiteX30276" y="connsiteY30276"/>
              </a:cxn>
              <a:cxn ang="0">
                <a:pos x="connsiteX30277" y="connsiteY30277"/>
              </a:cxn>
              <a:cxn ang="0">
                <a:pos x="connsiteX30278" y="connsiteY30278"/>
              </a:cxn>
              <a:cxn ang="0">
                <a:pos x="connsiteX30279" y="connsiteY30279"/>
              </a:cxn>
              <a:cxn ang="0">
                <a:pos x="connsiteX30280" y="connsiteY30280"/>
              </a:cxn>
              <a:cxn ang="0">
                <a:pos x="connsiteX30281" y="connsiteY30281"/>
              </a:cxn>
              <a:cxn ang="0">
                <a:pos x="connsiteX30282" y="connsiteY30282"/>
              </a:cxn>
              <a:cxn ang="0">
                <a:pos x="connsiteX30283" y="connsiteY30283"/>
              </a:cxn>
              <a:cxn ang="0">
                <a:pos x="connsiteX30284" y="connsiteY30284"/>
              </a:cxn>
              <a:cxn ang="0">
                <a:pos x="connsiteX30285" y="connsiteY30285"/>
              </a:cxn>
              <a:cxn ang="0">
                <a:pos x="connsiteX30286" y="connsiteY30286"/>
              </a:cxn>
              <a:cxn ang="0">
                <a:pos x="connsiteX30287" y="connsiteY30287"/>
              </a:cxn>
              <a:cxn ang="0">
                <a:pos x="connsiteX30288" y="connsiteY30288"/>
              </a:cxn>
              <a:cxn ang="0">
                <a:pos x="connsiteX30289" y="connsiteY30289"/>
              </a:cxn>
              <a:cxn ang="0">
                <a:pos x="connsiteX30290" y="connsiteY30290"/>
              </a:cxn>
              <a:cxn ang="0">
                <a:pos x="connsiteX30291" y="connsiteY30291"/>
              </a:cxn>
              <a:cxn ang="0">
                <a:pos x="connsiteX30292" y="connsiteY30292"/>
              </a:cxn>
              <a:cxn ang="0">
                <a:pos x="connsiteX30293" y="connsiteY30293"/>
              </a:cxn>
              <a:cxn ang="0">
                <a:pos x="connsiteX30294" y="connsiteY30294"/>
              </a:cxn>
              <a:cxn ang="0">
                <a:pos x="connsiteX30295" y="connsiteY30295"/>
              </a:cxn>
              <a:cxn ang="0">
                <a:pos x="connsiteX30296" y="connsiteY30296"/>
              </a:cxn>
              <a:cxn ang="0">
                <a:pos x="connsiteX30297" y="connsiteY30297"/>
              </a:cxn>
              <a:cxn ang="0">
                <a:pos x="connsiteX30298" y="connsiteY30298"/>
              </a:cxn>
              <a:cxn ang="0">
                <a:pos x="connsiteX30299" y="connsiteY30299"/>
              </a:cxn>
              <a:cxn ang="0">
                <a:pos x="connsiteX30300" y="connsiteY30300"/>
              </a:cxn>
              <a:cxn ang="0">
                <a:pos x="connsiteX30301" y="connsiteY30301"/>
              </a:cxn>
              <a:cxn ang="0">
                <a:pos x="connsiteX30302" y="connsiteY30302"/>
              </a:cxn>
              <a:cxn ang="0">
                <a:pos x="connsiteX30303" y="connsiteY30303"/>
              </a:cxn>
              <a:cxn ang="0">
                <a:pos x="connsiteX30304" y="connsiteY30304"/>
              </a:cxn>
              <a:cxn ang="0">
                <a:pos x="connsiteX30305" y="connsiteY30305"/>
              </a:cxn>
              <a:cxn ang="0">
                <a:pos x="connsiteX30306" y="connsiteY30306"/>
              </a:cxn>
              <a:cxn ang="0">
                <a:pos x="connsiteX30307" y="connsiteY30307"/>
              </a:cxn>
              <a:cxn ang="0">
                <a:pos x="connsiteX30308" y="connsiteY30308"/>
              </a:cxn>
              <a:cxn ang="0">
                <a:pos x="connsiteX30309" y="connsiteY30309"/>
              </a:cxn>
              <a:cxn ang="0">
                <a:pos x="connsiteX30310" y="connsiteY30310"/>
              </a:cxn>
              <a:cxn ang="0">
                <a:pos x="connsiteX30311" y="connsiteY30311"/>
              </a:cxn>
              <a:cxn ang="0">
                <a:pos x="connsiteX30312" y="connsiteY30312"/>
              </a:cxn>
              <a:cxn ang="0">
                <a:pos x="connsiteX30313" y="connsiteY30313"/>
              </a:cxn>
              <a:cxn ang="0">
                <a:pos x="connsiteX30314" y="connsiteY30314"/>
              </a:cxn>
              <a:cxn ang="0">
                <a:pos x="connsiteX30315" y="connsiteY30315"/>
              </a:cxn>
              <a:cxn ang="0">
                <a:pos x="connsiteX30316" y="connsiteY30316"/>
              </a:cxn>
              <a:cxn ang="0">
                <a:pos x="connsiteX30317" y="connsiteY30317"/>
              </a:cxn>
              <a:cxn ang="0">
                <a:pos x="connsiteX30318" y="connsiteY30318"/>
              </a:cxn>
              <a:cxn ang="0">
                <a:pos x="connsiteX30319" y="connsiteY30319"/>
              </a:cxn>
              <a:cxn ang="0">
                <a:pos x="connsiteX30320" y="connsiteY30320"/>
              </a:cxn>
              <a:cxn ang="0">
                <a:pos x="connsiteX30321" y="connsiteY30321"/>
              </a:cxn>
              <a:cxn ang="0">
                <a:pos x="connsiteX30322" y="connsiteY30322"/>
              </a:cxn>
              <a:cxn ang="0">
                <a:pos x="connsiteX30323" y="connsiteY30323"/>
              </a:cxn>
              <a:cxn ang="0">
                <a:pos x="connsiteX30324" y="connsiteY30324"/>
              </a:cxn>
              <a:cxn ang="0">
                <a:pos x="connsiteX30325" y="connsiteY30325"/>
              </a:cxn>
              <a:cxn ang="0">
                <a:pos x="connsiteX30326" y="connsiteY30326"/>
              </a:cxn>
              <a:cxn ang="0">
                <a:pos x="connsiteX30327" y="connsiteY30327"/>
              </a:cxn>
              <a:cxn ang="0">
                <a:pos x="connsiteX30328" y="connsiteY30328"/>
              </a:cxn>
              <a:cxn ang="0">
                <a:pos x="connsiteX30329" y="connsiteY30329"/>
              </a:cxn>
              <a:cxn ang="0">
                <a:pos x="connsiteX30330" y="connsiteY30330"/>
              </a:cxn>
              <a:cxn ang="0">
                <a:pos x="connsiteX30331" y="connsiteY30331"/>
              </a:cxn>
              <a:cxn ang="0">
                <a:pos x="connsiteX30332" y="connsiteY30332"/>
              </a:cxn>
              <a:cxn ang="0">
                <a:pos x="connsiteX30333" y="connsiteY30333"/>
              </a:cxn>
              <a:cxn ang="0">
                <a:pos x="connsiteX30334" y="connsiteY30334"/>
              </a:cxn>
              <a:cxn ang="0">
                <a:pos x="connsiteX30335" y="connsiteY30335"/>
              </a:cxn>
              <a:cxn ang="0">
                <a:pos x="connsiteX30336" y="connsiteY30336"/>
              </a:cxn>
              <a:cxn ang="0">
                <a:pos x="connsiteX30337" y="connsiteY30337"/>
              </a:cxn>
              <a:cxn ang="0">
                <a:pos x="connsiteX30338" y="connsiteY30338"/>
              </a:cxn>
              <a:cxn ang="0">
                <a:pos x="connsiteX30339" y="connsiteY30339"/>
              </a:cxn>
              <a:cxn ang="0">
                <a:pos x="connsiteX30340" y="connsiteY30340"/>
              </a:cxn>
              <a:cxn ang="0">
                <a:pos x="connsiteX30341" y="connsiteY30341"/>
              </a:cxn>
              <a:cxn ang="0">
                <a:pos x="connsiteX30342" y="connsiteY30342"/>
              </a:cxn>
              <a:cxn ang="0">
                <a:pos x="connsiteX30343" y="connsiteY30343"/>
              </a:cxn>
              <a:cxn ang="0">
                <a:pos x="connsiteX30344" y="connsiteY30344"/>
              </a:cxn>
              <a:cxn ang="0">
                <a:pos x="connsiteX30345" y="connsiteY30345"/>
              </a:cxn>
              <a:cxn ang="0">
                <a:pos x="connsiteX30346" y="connsiteY30346"/>
              </a:cxn>
              <a:cxn ang="0">
                <a:pos x="connsiteX30347" y="connsiteY30347"/>
              </a:cxn>
              <a:cxn ang="0">
                <a:pos x="connsiteX30348" y="connsiteY30348"/>
              </a:cxn>
              <a:cxn ang="0">
                <a:pos x="connsiteX30349" y="connsiteY30349"/>
              </a:cxn>
              <a:cxn ang="0">
                <a:pos x="connsiteX30350" y="connsiteY30350"/>
              </a:cxn>
              <a:cxn ang="0">
                <a:pos x="connsiteX30351" y="connsiteY30351"/>
              </a:cxn>
              <a:cxn ang="0">
                <a:pos x="connsiteX30352" y="connsiteY30352"/>
              </a:cxn>
              <a:cxn ang="0">
                <a:pos x="connsiteX30353" y="connsiteY30353"/>
              </a:cxn>
              <a:cxn ang="0">
                <a:pos x="connsiteX30354" y="connsiteY30354"/>
              </a:cxn>
              <a:cxn ang="0">
                <a:pos x="connsiteX30355" y="connsiteY30355"/>
              </a:cxn>
              <a:cxn ang="0">
                <a:pos x="connsiteX30356" y="connsiteY30356"/>
              </a:cxn>
              <a:cxn ang="0">
                <a:pos x="connsiteX30357" y="connsiteY30357"/>
              </a:cxn>
              <a:cxn ang="0">
                <a:pos x="connsiteX30358" y="connsiteY30358"/>
              </a:cxn>
              <a:cxn ang="0">
                <a:pos x="connsiteX30359" y="connsiteY30359"/>
              </a:cxn>
              <a:cxn ang="0">
                <a:pos x="connsiteX30360" y="connsiteY30360"/>
              </a:cxn>
              <a:cxn ang="0">
                <a:pos x="connsiteX30361" y="connsiteY30361"/>
              </a:cxn>
              <a:cxn ang="0">
                <a:pos x="connsiteX30362" y="connsiteY30362"/>
              </a:cxn>
              <a:cxn ang="0">
                <a:pos x="connsiteX30363" y="connsiteY30363"/>
              </a:cxn>
              <a:cxn ang="0">
                <a:pos x="connsiteX30364" y="connsiteY30364"/>
              </a:cxn>
              <a:cxn ang="0">
                <a:pos x="connsiteX30365" y="connsiteY30365"/>
              </a:cxn>
              <a:cxn ang="0">
                <a:pos x="connsiteX30366" y="connsiteY30366"/>
              </a:cxn>
              <a:cxn ang="0">
                <a:pos x="connsiteX30367" y="connsiteY30367"/>
              </a:cxn>
              <a:cxn ang="0">
                <a:pos x="connsiteX30368" y="connsiteY30368"/>
              </a:cxn>
              <a:cxn ang="0">
                <a:pos x="connsiteX30369" y="connsiteY30369"/>
              </a:cxn>
              <a:cxn ang="0">
                <a:pos x="connsiteX30370" y="connsiteY30370"/>
              </a:cxn>
              <a:cxn ang="0">
                <a:pos x="connsiteX30371" y="connsiteY30371"/>
              </a:cxn>
              <a:cxn ang="0">
                <a:pos x="connsiteX30372" y="connsiteY30372"/>
              </a:cxn>
              <a:cxn ang="0">
                <a:pos x="connsiteX30373" y="connsiteY30373"/>
              </a:cxn>
              <a:cxn ang="0">
                <a:pos x="connsiteX30374" y="connsiteY30374"/>
              </a:cxn>
              <a:cxn ang="0">
                <a:pos x="connsiteX30375" y="connsiteY30375"/>
              </a:cxn>
              <a:cxn ang="0">
                <a:pos x="connsiteX30376" y="connsiteY30376"/>
              </a:cxn>
              <a:cxn ang="0">
                <a:pos x="connsiteX30377" y="connsiteY30377"/>
              </a:cxn>
              <a:cxn ang="0">
                <a:pos x="connsiteX30378" y="connsiteY30378"/>
              </a:cxn>
              <a:cxn ang="0">
                <a:pos x="connsiteX30379" y="connsiteY30379"/>
              </a:cxn>
              <a:cxn ang="0">
                <a:pos x="connsiteX30380" y="connsiteY30380"/>
              </a:cxn>
              <a:cxn ang="0">
                <a:pos x="connsiteX30381" y="connsiteY30381"/>
              </a:cxn>
              <a:cxn ang="0">
                <a:pos x="connsiteX30382" y="connsiteY30382"/>
              </a:cxn>
              <a:cxn ang="0">
                <a:pos x="connsiteX30383" y="connsiteY30383"/>
              </a:cxn>
              <a:cxn ang="0">
                <a:pos x="connsiteX30384" y="connsiteY30384"/>
              </a:cxn>
              <a:cxn ang="0">
                <a:pos x="connsiteX30385" y="connsiteY30385"/>
              </a:cxn>
              <a:cxn ang="0">
                <a:pos x="connsiteX30386" y="connsiteY30386"/>
              </a:cxn>
              <a:cxn ang="0">
                <a:pos x="connsiteX30387" y="connsiteY30387"/>
              </a:cxn>
              <a:cxn ang="0">
                <a:pos x="connsiteX30388" y="connsiteY30388"/>
              </a:cxn>
              <a:cxn ang="0">
                <a:pos x="connsiteX30389" y="connsiteY30389"/>
              </a:cxn>
              <a:cxn ang="0">
                <a:pos x="connsiteX30390" y="connsiteY30390"/>
              </a:cxn>
              <a:cxn ang="0">
                <a:pos x="connsiteX30391" y="connsiteY30391"/>
              </a:cxn>
              <a:cxn ang="0">
                <a:pos x="connsiteX30392" y="connsiteY30392"/>
              </a:cxn>
              <a:cxn ang="0">
                <a:pos x="connsiteX30393" y="connsiteY30393"/>
              </a:cxn>
              <a:cxn ang="0">
                <a:pos x="connsiteX30394" y="connsiteY30394"/>
              </a:cxn>
              <a:cxn ang="0">
                <a:pos x="connsiteX30395" y="connsiteY30395"/>
              </a:cxn>
              <a:cxn ang="0">
                <a:pos x="connsiteX30396" y="connsiteY30396"/>
              </a:cxn>
              <a:cxn ang="0">
                <a:pos x="connsiteX30397" y="connsiteY30397"/>
              </a:cxn>
              <a:cxn ang="0">
                <a:pos x="connsiteX30398" y="connsiteY30398"/>
              </a:cxn>
              <a:cxn ang="0">
                <a:pos x="connsiteX30399" y="connsiteY30399"/>
              </a:cxn>
              <a:cxn ang="0">
                <a:pos x="connsiteX30400" y="connsiteY30400"/>
              </a:cxn>
              <a:cxn ang="0">
                <a:pos x="connsiteX30401" y="connsiteY30401"/>
              </a:cxn>
              <a:cxn ang="0">
                <a:pos x="connsiteX30402" y="connsiteY30402"/>
              </a:cxn>
              <a:cxn ang="0">
                <a:pos x="connsiteX30403" y="connsiteY30403"/>
              </a:cxn>
              <a:cxn ang="0">
                <a:pos x="connsiteX30404" y="connsiteY30404"/>
              </a:cxn>
              <a:cxn ang="0">
                <a:pos x="connsiteX30405" y="connsiteY30405"/>
              </a:cxn>
              <a:cxn ang="0">
                <a:pos x="connsiteX30406" y="connsiteY30406"/>
              </a:cxn>
              <a:cxn ang="0">
                <a:pos x="connsiteX30407" y="connsiteY30407"/>
              </a:cxn>
              <a:cxn ang="0">
                <a:pos x="connsiteX30408" y="connsiteY30408"/>
              </a:cxn>
              <a:cxn ang="0">
                <a:pos x="connsiteX30409" y="connsiteY30409"/>
              </a:cxn>
              <a:cxn ang="0">
                <a:pos x="connsiteX30410" y="connsiteY30410"/>
              </a:cxn>
              <a:cxn ang="0">
                <a:pos x="connsiteX30411" y="connsiteY30411"/>
              </a:cxn>
              <a:cxn ang="0">
                <a:pos x="connsiteX30412" y="connsiteY30412"/>
              </a:cxn>
              <a:cxn ang="0">
                <a:pos x="connsiteX30413" y="connsiteY30413"/>
              </a:cxn>
              <a:cxn ang="0">
                <a:pos x="connsiteX30414" y="connsiteY30414"/>
              </a:cxn>
              <a:cxn ang="0">
                <a:pos x="connsiteX30415" y="connsiteY30415"/>
              </a:cxn>
              <a:cxn ang="0">
                <a:pos x="connsiteX30416" y="connsiteY30416"/>
              </a:cxn>
              <a:cxn ang="0">
                <a:pos x="connsiteX30417" y="connsiteY30417"/>
              </a:cxn>
              <a:cxn ang="0">
                <a:pos x="connsiteX30418" y="connsiteY30418"/>
              </a:cxn>
              <a:cxn ang="0">
                <a:pos x="connsiteX30419" y="connsiteY30419"/>
              </a:cxn>
              <a:cxn ang="0">
                <a:pos x="connsiteX30420" y="connsiteY30420"/>
              </a:cxn>
              <a:cxn ang="0">
                <a:pos x="connsiteX30421" y="connsiteY30421"/>
              </a:cxn>
              <a:cxn ang="0">
                <a:pos x="connsiteX30422" y="connsiteY30422"/>
              </a:cxn>
              <a:cxn ang="0">
                <a:pos x="connsiteX30423" y="connsiteY30423"/>
              </a:cxn>
              <a:cxn ang="0">
                <a:pos x="connsiteX30424" y="connsiteY30424"/>
              </a:cxn>
              <a:cxn ang="0">
                <a:pos x="connsiteX30425" y="connsiteY30425"/>
              </a:cxn>
              <a:cxn ang="0">
                <a:pos x="connsiteX30426" y="connsiteY30426"/>
              </a:cxn>
              <a:cxn ang="0">
                <a:pos x="connsiteX30427" y="connsiteY30427"/>
              </a:cxn>
              <a:cxn ang="0">
                <a:pos x="connsiteX30428" y="connsiteY30428"/>
              </a:cxn>
              <a:cxn ang="0">
                <a:pos x="connsiteX30429" y="connsiteY30429"/>
              </a:cxn>
              <a:cxn ang="0">
                <a:pos x="connsiteX30430" y="connsiteY30430"/>
              </a:cxn>
              <a:cxn ang="0">
                <a:pos x="connsiteX30431" y="connsiteY30431"/>
              </a:cxn>
              <a:cxn ang="0">
                <a:pos x="connsiteX30432" y="connsiteY30432"/>
              </a:cxn>
              <a:cxn ang="0">
                <a:pos x="connsiteX30433" y="connsiteY30433"/>
              </a:cxn>
              <a:cxn ang="0">
                <a:pos x="connsiteX30434" y="connsiteY30434"/>
              </a:cxn>
              <a:cxn ang="0">
                <a:pos x="connsiteX30435" y="connsiteY30435"/>
              </a:cxn>
              <a:cxn ang="0">
                <a:pos x="connsiteX30436" y="connsiteY30436"/>
              </a:cxn>
              <a:cxn ang="0">
                <a:pos x="connsiteX30437" y="connsiteY30437"/>
              </a:cxn>
              <a:cxn ang="0">
                <a:pos x="connsiteX30438" y="connsiteY30438"/>
              </a:cxn>
              <a:cxn ang="0">
                <a:pos x="connsiteX30439" y="connsiteY30439"/>
              </a:cxn>
              <a:cxn ang="0">
                <a:pos x="connsiteX30440" y="connsiteY30440"/>
              </a:cxn>
              <a:cxn ang="0">
                <a:pos x="connsiteX30441" y="connsiteY30441"/>
              </a:cxn>
              <a:cxn ang="0">
                <a:pos x="connsiteX30442" y="connsiteY30442"/>
              </a:cxn>
              <a:cxn ang="0">
                <a:pos x="connsiteX30443" y="connsiteY30443"/>
              </a:cxn>
              <a:cxn ang="0">
                <a:pos x="connsiteX30444" y="connsiteY30444"/>
              </a:cxn>
              <a:cxn ang="0">
                <a:pos x="connsiteX30445" y="connsiteY30445"/>
              </a:cxn>
              <a:cxn ang="0">
                <a:pos x="connsiteX30446" y="connsiteY30446"/>
              </a:cxn>
              <a:cxn ang="0">
                <a:pos x="connsiteX30447" y="connsiteY30447"/>
              </a:cxn>
              <a:cxn ang="0">
                <a:pos x="connsiteX30448" y="connsiteY30448"/>
              </a:cxn>
              <a:cxn ang="0">
                <a:pos x="connsiteX30449" y="connsiteY30449"/>
              </a:cxn>
              <a:cxn ang="0">
                <a:pos x="connsiteX30450" y="connsiteY30450"/>
              </a:cxn>
              <a:cxn ang="0">
                <a:pos x="connsiteX30451" y="connsiteY30451"/>
              </a:cxn>
              <a:cxn ang="0">
                <a:pos x="connsiteX30452" y="connsiteY30452"/>
              </a:cxn>
              <a:cxn ang="0">
                <a:pos x="connsiteX30453" y="connsiteY30453"/>
              </a:cxn>
              <a:cxn ang="0">
                <a:pos x="connsiteX30454" y="connsiteY30454"/>
              </a:cxn>
              <a:cxn ang="0">
                <a:pos x="connsiteX30455" y="connsiteY30455"/>
              </a:cxn>
              <a:cxn ang="0">
                <a:pos x="connsiteX30456" y="connsiteY30456"/>
              </a:cxn>
              <a:cxn ang="0">
                <a:pos x="connsiteX30457" y="connsiteY30457"/>
              </a:cxn>
              <a:cxn ang="0">
                <a:pos x="connsiteX30458" y="connsiteY30458"/>
              </a:cxn>
              <a:cxn ang="0">
                <a:pos x="connsiteX30459" y="connsiteY30459"/>
              </a:cxn>
              <a:cxn ang="0">
                <a:pos x="connsiteX30460" y="connsiteY30460"/>
              </a:cxn>
              <a:cxn ang="0">
                <a:pos x="connsiteX30461" y="connsiteY30461"/>
              </a:cxn>
              <a:cxn ang="0">
                <a:pos x="connsiteX30462" y="connsiteY30462"/>
              </a:cxn>
              <a:cxn ang="0">
                <a:pos x="connsiteX30463" y="connsiteY30463"/>
              </a:cxn>
              <a:cxn ang="0">
                <a:pos x="connsiteX30464" y="connsiteY30464"/>
              </a:cxn>
              <a:cxn ang="0">
                <a:pos x="connsiteX30465" y="connsiteY30465"/>
              </a:cxn>
              <a:cxn ang="0">
                <a:pos x="connsiteX30466" y="connsiteY30466"/>
              </a:cxn>
              <a:cxn ang="0">
                <a:pos x="connsiteX30467" y="connsiteY30467"/>
              </a:cxn>
              <a:cxn ang="0">
                <a:pos x="connsiteX30468" y="connsiteY30468"/>
              </a:cxn>
              <a:cxn ang="0">
                <a:pos x="connsiteX30469" y="connsiteY30469"/>
              </a:cxn>
              <a:cxn ang="0">
                <a:pos x="connsiteX30470" y="connsiteY30470"/>
              </a:cxn>
              <a:cxn ang="0">
                <a:pos x="connsiteX30471" y="connsiteY30471"/>
              </a:cxn>
              <a:cxn ang="0">
                <a:pos x="connsiteX30472" y="connsiteY30472"/>
              </a:cxn>
              <a:cxn ang="0">
                <a:pos x="connsiteX30473" y="connsiteY30473"/>
              </a:cxn>
              <a:cxn ang="0">
                <a:pos x="connsiteX30474" y="connsiteY30474"/>
              </a:cxn>
              <a:cxn ang="0">
                <a:pos x="connsiteX30475" y="connsiteY30475"/>
              </a:cxn>
              <a:cxn ang="0">
                <a:pos x="connsiteX30476" y="connsiteY30476"/>
              </a:cxn>
              <a:cxn ang="0">
                <a:pos x="connsiteX30477" y="connsiteY30477"/>
              </a:cxn>
              <a:cxn ang="0">
                <a:pos x="connsiteX30478" y="connsiteY30478"/>
              </a:cxn>
              <a:cxn ang="0">
                <a:pos x="connsiteX30479" y="connsiteY30479"/>
              </a:cxn>
              <a:cxn ang="0">
                <a:pos x="connsiteX30480" y="connsiteY30480"/>
              </a:cxn>
              <a:cxn ang="0">
                <a:pos x="connsiteX30481" y="connsiteY30481"/>
              </a:cxn>
              <a:cxn ang="0">
                <a:pos x="connsiteX30482" y="connsiteY30482"/>
              </a:cxn>
              <a:cxn ang="0">
                <a:pos x="connsiteX30483" y="connsiteY30483"/>
              </a:cxn>
              <a:cxn ang="0">
                <a:pos x="connsiteX30484" y="connsiteY30484"/>
              </a:cxn>
              <a:cxn ang="0">
                <a:pos x="connsiteX30485" y="connsiteY30485"/>
              </a:cxn>
              <a:cxn ang="0">
                <a:pos x="connsiteX30486" y="connsiteY30486"/>
              </a:cxn>
              <a:cxn ang="0">
                <a:pos x="connsiteX30487" y="connsiteY30487"/>
              </a:cxn>
              <a:cxn ang="0">
                <a:pos x="connsiteX30488" y="connsiteY30488"/>
              </a:cxn>
              <a:cxn ang="0">
                <a:pos x="connsiteX30489" y="connsiteY30489"/>
              </a:cxn>
              <a:cxn ang="0">
                <a:pos x="connsiteX30490" y="connsiteY30490"/>
              </a:cxn>
              <a:cxn ang="0">
                <a:pos x="connsiteX30491" y="connsiteY30491"/>
              </a:cxn>
              <a:cxn ang="0">
                <a:pos x="connsiteX30492" y="connsiteY30492"/>
              </a:cxn>
              <a:cxn ang="0">
                <a:pos x="connsiteX30493" y="connsiteY30493"/>
              </a:cxn>
              <a:cxn ang="0">
                <a:pos x="connsiteX30494" y="connsiteY30494"/>
              </a:cxn>
              <a:cxn ang="0">
                <a:pos x="connsiteX30495" y="connsiteY30495"/>
              </a:cxn>
              <a:cxn ang="0">
                <a:pos x="connsiteX30496" y="connsiteY30496"/>
              </a:cxn>
              <a:cxn ang="0">
                <a:pos x="connsiteX30497" y="connsiteY30497"/>
              </a:cxn>
              <a:cxn ang="0">
                <a:pos x="connsiteX30498" y="connsiteY30498"/>
              </a:cxn>
              <a:cxn ang="0">
                <a:pos x="connsiteX30499" y="connsiteY30499"/>
              </a:cxn>
              <a:cxn ang="0">
                <a:pos x="connsiteX30500" y="connsiteY30500"/>
              </a:cxn>
              <a:cxn ang="0">
                <a:pos x="connsiteX30501" y="connsiteY30501"/>
              </a:cxn>
              <a:cxn ang="0">
                <a:pos x="connsiteX30502" y="connsiteY30502"/>
              </a:cxn>
              <a:cxn ang="0">
                <a:pos x="connsiteX30503" y="connsiteY30503"/>
              </a:cxn>
              <a:cxn ang="0">
                <a:pos x="connsiteX30504" y="connsiteY30504"/>
              </a:cxn>
              <a:cxn ang="0">
                <a:pos x="connsiteX30505" y="connsiteY30505"/>
              </a:cxn>
              <a:cxn ang="0">
                <a:pos x="connsiteX30506" y="connsiteY30506"/>
              </a:cxn>
              <a:cxn ang="0">
                <a:pos x="connsiteX30507" y="connsiteY30507"/>
              </a:cxn>
              <a:cxn ang="0">
                <a:pos x="connsiteX30508" y="connsiteY30508"/>
              </a:cxn>
              <a:cxn ang="0">
                <a:pos x="connsiteX30509" y="connsiteY30509"/>
              </a:cxn>
              <a:cxn ang="0">
                <a:pos x="connsiteX30510" y="connsiteY30510"/>
              </a:cxn>
              <a:cxn ang="0">
                <a:pos x="connsiteX30511" y="connsiteY30511"/>
              </a:cxn>
              <a:cxn ang="0">
                <a:pos x="connsiteX30512" y="connsiteY30512"/>
              </a:cxn>
              <a:cxn ang="0">
                <a:pos x="connsiteX30513" y="connsiteY30513"/>
              </a:cxn>
              <a:cxn ang="0">
                <a:pos x="connsiteX30514" y="connsiteY30514"/>
              </a:cxn>
              <a:cxn ang="0">
                <a:pos x="connsiteX30515" y="connsiteY30515"/>
              </a:cxn>
              <a:cxn ang="0">
                <a:pos x="connsiteX30516" y="connsiteY30516"/>
              </a:cxn>
              <a:cxn ang="0">
                <a:pos x="connsiteX30517" y="connsiteY30517"/>
              </a:cxn>
              <a:cxn ang="0">
                <a:pos x="connsiteX30518" y="connsiteY30518"/>
              </a:cxn>
              <a:cxn ang="0">
                <a:pos x="connsiteX30519" y="connsiteY30519"/>
              </a:cxn>
              <a:cxn ang="0">
                <a:pos x="connsiteX30520" y="connsiteY30520"/>
              </a:cxn>
              <a:cxn ang="0">
                <a:pos x="connsiteX30521" y="connsiteY30521"/>
              </a:cxn>
              <a:cxn ang="0">
                <a:pos x="connsiteX30522" y="connsiteY30522"/>
              </a:cxn>
              <a:cxn ang="0">
                <a:pos x="connsiteX30523" y="connsiteY30523"/>
              </a:cxn>
              <a:cxn ang="0">
                <a:pos x="connsiteX30524" y="connsiteY30524"/>
              </a:cxn>
              <a:cxn ang="0">
                <a:pos x="connsiteX30525" y="connsiteY30525"/>
              </a:cxn>
              <a:cxn ang="0">
                <a:pos x="connsiteX30526" y="connsiteY30526"/>
              </a:cxn>
              <a:cxn ang="0">
                <a:pos x="connsiteX30527" y="connsiteY30527"/>
              </a:cxn>
              <a:cxn ang="0">
                <a:pos x="connsiteX30528" y="connsiteY30528"/>
              </a:cxn>
              <a:cxn ang="0">
                <a:pos x="connsiteX30529" y="connsiteY30529"/>
              </a:cxn>
              <a:cxn ang="0">
                <a:pos x="connsiteX30530" y="connsiteY30530"/>
              </a:cxn>
              <a:cxn ang="0">
                <a:pos x="connsiteX30531" y="connsiteY30531"/>
              </a:cxn>
              <a:cxn ang="0">
                <a:pos x="connsiteX30532" y="connsiteY30532"/>
              </a:cxn>
              <a:cxn ang="0">
                <a:pos x="connsiteX30533" y="connsiteY30533"/>
              </a:cxn>
              <a:cxn ang="0">
                <a:pos x="connsiteX30534" y="connsiteY30534"/>
              </a:cxn>
              <a:cxn ang="0">
                <a:pos x="connsiteX30535" y="connsiteY30535"/>
              </a:cxn>
              <a:cxn ang="0">
                <a:pos x="connsiteX30536" y="connsiteY30536"/>
              </a:cxn>
              <a:cxn ang="0">
                <a:pos x="connsiteX30537" y="connsiteY30537"/>
              </a:cxn>
              <a:cxn ang="0">
                <a:pos x="connsiteX30538" y="connsiteY30538"/>
              </a:cxn>
              <a:cxn ang="0">
                <a:pos x="connsiteX30539" y="connsiteY30539"/>
              </a:cxn>
              <a:cxn ang="0">
                <a:pos x="connsiteX30540" y="connsiteY30540"/>
              </a:cxn>
              <a:cxn ang="0">
                <a:pos x="connsiteX30541" y="connsiteY30541"/>
              </a:cxn>
              <a:cxn ang="0">
                <a:pos x="connsiteX30542" y="connsiteY30542"/>
              </a:cxn>
              <a:cxn ang="0">
                <a:pos x="connsiteX30543" y="connsiteY30543"/>
              </a:cxn>
              <a:cxn ang="0">
                <a:pos x="connsiteX30544" y="connsiteY30544"/>
              </a:cxn>
              <a:cxn ang="0">
                <a:pos x="connsiteX30545" y="connsiteY30545"/>
              </a:cxn>
              <a:cxn ang="0">
                <a:pos x="connsiteX30546" y="connsiteY30546"/>
              </a:cxn>
              <a:cxn ang="0">
                <a:pos x="connsiteX30547" y="connsiteY30547"/>
              </a:cxn>
              <a:cxn ang="0">
                <a:pos x="connsiteX30548" y="connsiteY30548"/>
              </a:cxn>
              <a:cxn ang="0">
                <a:pos x="connsiteX30549" y="connsiteY30549"/>
              </a:cxn>
              <a:cxn ang="0">
                <a:pos x="connsiteX30550" y="connsiteY30550"/>
              </a:cxn>
              <a:cxn ang="0">
                <a:pos x="connsiteX30551" y="connsiteY30551"/>
              </a:cxn>
              <a:cxn ang="0">
                <a:pos x="connsiteX30552" y="connsiteY30552"/>
              </a:cxn>
              <a:cxn ang="0">
                <a:pos x="connsiteX30553" y="connsiteY30553"/>
              </a:cxn>
              <a:cxn ang="0">
                <a:pos x="connsiteX30554" y="connsiteY30554"/>
              </a:cxn>
              <a:cxn ang="0">
                <a:pos x="connsiteX30555" y="connsiteY30555"/>
              </a:cxn>
              <a:cxn ang="0">
                <a:pos x="connsiteX30556" y="connsiteY30556"/>
              </a:cxn>
              <a:cxn ang="0">
                <a:pos x="connsiteX30557" y="connsiteY30557"/>
              </a:cxn>
              <a:cxn ang="0">
                <a:pos x="connsiteX30558" y="connsiteY30558"/>
              </a:cxn>
              <a:cxn ang="0">
                <a:pos x="connsiteX30559" y="connsiteY30559"/>
              </a:cxn>
              <a:cxn ang="0">
                <a:pos x="connsiteX30560" y="connsiteY30560"/>
              </a:cxn>
              <a:cxn ang="0">
                <a:pos x="connsiteX30561" y="connsiteY30561"/>
              </a:cxn>
              <a:cxn ang="0">
                <a:pos x="connsiteX30562" y="connsiteY30562"/>
              </a:cxn>
              <a:cxn ang="0">
                <a:pos x="connsiteX30563" y="connsiteY30563"/>
              </a:cxn>
              <a:cxn ang="0">
                <a:pos x="connsiteX30564" y="connsiteY30564"/>
              </a:cxn>
              <a:cxn ang="0">
                <a:pos x="connsiteX30565" y="connsiteY30565"/>
              </a:cxn>
              <a:cxn ang="0">
                <a:pos x="connsiteX30566" y="connsiteY30566"/>
              </a:cxn>
              <a:cxn ang="0">
                <a:pos x="connsiteX30567" y="connsiteY30567"/>
              </a:cxn>
              <a:cxn ang="0">
                <a:pos x="connsiteX30568" y="connsiteY30568"/>
              </a:cxn>
              <a:cxn ang="0">
                <a:pos x="connsiteX30569" y="connsiteY30569"/>
              </a:cxn>
              <a:cxn ang="0">
                <a:pos x="connsiteX30570" y="connsiteY30570"/>
              </a:cxn>
              <a:cxn ang="0">
                <a:pos x="connsiteX30571" y="connsiteY30571"/>
              </a:cxn>
              <a:cxn ang="0">
                <a:pos x="connsiteX30572" y="connsiteY30572"/>
              </a:cxn>
              <a:cxn ang="0">
                <a:pos x="connsiteX30573" y="connsiteY30573"/>
              </a:cxn>
              <a:cxn ang="0">
                <a:pos x="connsiteX30574" y="connsiteY30574"/>
              </a:cxn>
              <a:cxn ang="0">
                <a:pos x="connsiteX30575" y="connsiteY30575"/>
              </a:cxn>
              <a:cxn ang="0">
                <a:pos x="connsiteX30576" y="connsiteY30576"/>
              </a:cxn>
              <a:cxn ang="0">
                <a:pos x="connsiteX30577" y="connsiteY30577"/>
              </a:cxn>
              <a:cxn ang="0">
                <a:pos x="connsiteX30578" y="connsiteY30578"/>
              </a:cxn>
              <a:cxn ang="0">
                <a:pos x="connsiteX30579" y="connsiteY30579"/>
              </a:cxn>
              <a:cxn ang="0">
                <a:pos x="connsiteX30580" y="connsiteY30580"/>
              </a:cxn>
              <a:cxn ang="0">
                <a:pos x="connsiteX30581" y="connsiteY30581"/>
              </a:cxn>
              <a:cxn ang="0">
                <a:pos x="connsiteX30582" y="connsiteY30582"/>
              </a:cxn>
              <a:cxn ang="0">
                <a:pos x="connsiteX30583" y="connsiteY30583"/>
              </a:cxn>
              <a:cxn ang="0">
                <a:pos x="connsiteX30584" y="connsiteY30584"/>
              </a:cxn>
              <a:cxn ang="0">
                <a:pos x="connsiteX30585" y="connsiteY30585"/>
              </a:cxn>
              <a:cxn ang="0">
                <a:pos x="connsiteX30586" y="connsiteY30586"/>
              </a:cxn>
              <a:cxn ang="0">
                <a:pos x="connsiteX30587" y="connsiteY30587"/>
              </a:cxn>
              <a:cxn ang="0">
                <a:pos x="connsiteX30588" y="connsiteY30588"/>
              </a:cxn>
              <a:cxn ang="0">
                <a:pos x="connsiteX30589" y="connsiteY30589"/>
              </a:cxn>
              <a:cxn ang="0">
                <a:pos x="connsiteX30590" y="connsiteY30590"/>
              </a:cxn>
              <a:cxn ang="0">
                <a:pos x="connsiteX30591" y="connsiteY30591"/>
              </a:cxn>
              <a:cxn ang="0">
                <a:pos x="connsiteX30592" y="connsiteY30592"/>
              </a:cxn>
              <a:cxn ang="0">
                <a:pos x="connsiteX30593" y="connsiteY30593"/>
              </a:cxn>
              <a:cxn ang="0">
                <a:pos x="connsiteX30594" y="connsiteY30594"/>
              </a:cxn>
              <a:cxn ang="0">
                <a:pos x="connsiteX30595" y="connsiteY30595"/>
              </a:cxn>
              <a:cxn ang="0">
                <a:pos x="connsiteX30596" y="connsiteY30596"/>
              </a:cxn>
              <a:cxn ang="0">
                <a:pos x="connsiteX30597" y="connsiteY30597"/>
              </a:cxn>
              <a:cxn ang="0">
                <a:pos x="connsiteX30598" y="connsiteY30598"/>
              </a:cxn>
              <a:cxn ang="0">
                <a:pos x="connsiteX30599" y="connsiteY30599"/>
              </a:cxn>
              <a:cxn ang="0">
                <a:pos x="connsiteX30600" y="connsiteY30600"/>
              </a:cxn>
              <a:cxn ang="0">
                <a:pos x="connsiteX30601" y="connsiteY30601"/>
              </a:cxn>
              <a:cxn ang="0">
                <a:pos x="connsiteX30602" y="connsiteY30602"/>
              </a:cxn>
              <a:cxn ang="0">
                <a:pos x="connsiteX30603" y="connsiteY30603"/>
              </a:cxn>
              <a:cxn ang="0">
                <a:pos x="connsiteX30604" y="connsiteY30604"/>
              </a:cxn>
              <a:cxn ang="0">
                <a:pos x="connsiteX30605" y="connsiteY30605"/>
              </a:cxn>
              <a:cxn ang="0">
                <a:pos x="connsiteX30606" y="connsiteY30606"/>
              </a:cxn>
              <a:cxn ang="0">
                <a:pos x="connsiteX30607" y="connsiteY30607"/>
              </a:cxn>
              <a:cxn ang="0">
                <a:pos x="connsiteX30608" y="connsiteY30608"/>
              </a:cxn>
              <a:cxn ang="0">
                <a:pos x="connsiteX30609" y="connsiteY30609"/>
              </a:cxn>
              <a:cxn ang="0">
                <a:pos x="connsiteX30610" y="connsiteY30610"/>
              </a:cxn>
              <a:cxn ang="0">
                <a:pos x="connsiteX30611" y="connsiteY30611"/>
              </a:cxn>
              <a:cxn ang="0">
                <a:pos x="connsiteX30612" y="connsiteY30612"/>
              </a:cxn>
              <a:cxn ang="0">
                <a:pos x="connsiteX30613" y="connsiteY30613"/>
              </a:cxn>
              <a:cxn ang="0">
                <a:pos x="connsiteX30614" y="connsiteY30614"/>
              </a:cxn>
              <a:cxn ang="0">
                <a:pos x="connsiteX30615" y="connsiteY30615"/>
              </a:cxn>
              <a:cxn ang="0">
                <a:pos x="connsiteX30616" y="connsiteY30616"/>
              </a:cxn>
              <a:cxn ang="0">
                <a:pos x="connsiteX30617" y="connsiteY30617"/>
              </a:cxn>
              <a:cxn ang="0">
                <a:pos x="connsiteX30618" y="connsiteY30618"/>
              </a:cxn>
              <a:cxn ang="0">
                <a:pos x="connsiteX30619" y="connsiteY30619"/>
              </a:cxn>
              <a:cxn ang="0">
                <a:pos x="connsiteX30620" y="connsiteY30620"/>
              </a:cxn>
              <a:cxn ang="0">
                <a:pos x="connsiteX30621" y="connsiteY30621"/>
              </a:cxn>
              <a:cxn ang="0">
                <a:pos x="connsiteX30622" y="connsiteY30622"/>
              </a:cxn>
              <a:cxn ang="0">
                <a:pos x="connsiteX30623" y="connsiteY30623"/>
              </a:cxn>
              <a:cxn ang="0">
                <a:pos x="connsiteX30624" y="connsiteY30624"/>
              </a:cxn>
              <a:cxn ang="0">
                <a:pos x="connsiteX30625" y="connsiteY30625"/>
              </a:cxn>
              <a:cxn ang="0">
                <a:pos x="connsiteX30626" y="connsiteY30626"/>
              </a:cxn>
              <a:cxn ang="0">
                <a:pos x="connsiteX30627" y="connsiteY30627"/>
              </a:cxn>
              <a:cxn ang="0">
                <a:pos x="connsiteX30628" y="connsiteY30628"/>
              </a:cxn>
              <a:cxn ang="0">
                <a:pos x="connsiteX30629" y="connsiteY30629"/>
              </a:cxn>
              <a:cxn ang="0">
                <a:pos x="connsiteX30630" y="connsiteY30630"/>
              </a:cxn>
              <a:cxn ang="0">
                <a:pos x="connsiteX30631" y="connsiteY30631"/>
              </a:cxn>
              <a:cxn ang="0">
                <a:pos x="connsiteX30632" y="connsiteY30632"/>
              </a:cxn>
              <a:cxn ang="0">
                <a:pos x="connsiteX30633" y="connsiteY30633"/>
              </a:cxn>
              <a:cxn ang="0">
                <a:pos x="connsiteX30634" y="connsiteY30634"/>
              </a:cxn>
              <a:cxn ang="0">
                <a:pos x="connsiteX30635" y="connsiteY30635"/>
              </a:cxn>
              <a:cxn ang="0">
                <a:pos x="connsiteX30636" y="connsiteY30636"/>
              </a:cxn>
              <a:cxn ang="0">
                <a:pos x="connsiteX30637" y="connsiteY30637"/>
              </a:cxn>
              <a:cxn ang="0">
                <a:pos x="connsiteX30638" y="connsiteY30638"/>
              </a:cxn>
              <a:cxn ang="0">
                <a:pos x="connsiteX30639" y="connsiteY30639"/>
              </a:cxn>
              <a:cxn ang="0">
                <a:pos x="connsiteX30640" y="connsiteY30640"/>
              </a:cxn>
              <a:cxn ang="0">
                <a:pos x="connsiteX30641" y="connsiteY30641"/>
              </a:cxn>
              <a:cxn ang="0">
                <a:pos x="connsiteX30642" y="connsiteY30642"/>
              </a:cxn>
              <a:cxn ang="0">
                <a:pos x="connsiteX30643" y="connsiteY30643"/>
              </a:cxn>
              <a:cxn ang="0">
                <a:pos x="connsiteX30644" y="connsiteY30644"/>
              </a:cxn>
              <a:cxn ang="0">
                <a:pos x="connsiteX30645" y="connsiteY30645"/>
              </a:cxn>
              <a:cxn ang="0">
                <a:pos x="connsiteX30646" y="connsiteY30646"/>
              </a:cxn>
              <a:cxn ang="0">
                <a:pos x="connsiteX30647" y="connsiteY30647"/>
              </a:cxn>
              <a:cxn ang="0">
                <a:pos x="connsiteX30648" y="connsiteY30648"/>
              </a:cxn>
              <a:cxn ang="0">
                <a:pos x="connsiteX30649" y="connsiteY30649"/>
              </a:cxn>
              <a:cxn ang="0">
                <a:pos x="connsiteX30650" y="connsiteY30650"/>
              </a:cxn>
              <a:cxn ang="0">
                <a:pos x="connsiteX30651" y="connsiteY30651"/>
              </a:cxn>
              <a:cxn ang="0">
                <a:pos x="connsiteX30652" y="connsiteY30652"/>
              </a:cxn>
              <a:cxn ang="0">
                <a:pos x="connsiteX30653" y="connsiteY30653"/>
              </a:cxn>
              <a:cxn ang="0">
                <a:pos x="connsiteX30654" y="connsiteY30654"/>
              </a:cxn>
              <a:cxn ang="0">
                <a:pos x="connsiteX30655" y="connsiteY30655"/>
              </a:cxn>
              <a:cxn ang="0">
                <a:pos x="connsiteX30656" y="connsiteY30656"/>
              </a:cxn>
              <a:cxn ang="0">
                <a:pos x="connsiteX30657" y="connsiteY30657"/>
              </a:cxn>
              <a:cxn ang="0">
                <a:pos x="connsiteX30658" y="connsiteY30658"/>
              </a:cxn>
              <a:cxn ang="0">
                <a:pos x="connsiteX30659" y="connsiteY30659"/>
              </a:cxn>
              <a:cxn ang="0">
                <a:pos x="connsiteX30660" y="connsiteY30660"/>
              </a:cxn>
              <a:cxn ang="0">
                <a:pos x="connsiteX30661" y="connsiteY30661"/>
              </a:cxn>
              <a:cxn ang="0">
                <a:pos x="connsiteX30662" y="connsiteY30662"/>
              </a:cxn>
              <a:cxn ang="0">
                <a:pos x="connsiteX30663" y="connsiteY30663"/>
              </a:cxn>
              <a:cxn ang="0">
                <a:pos x="connsiteX30664" y="connsiteY30664"/>
              </a:cxn>
              <a:cxn ang="0">
                <a:pos x="connsiteX30665" y="connsiteY30665"/>
              </a:cxn>
              <a:cxn ang="0">
                <a:pos x="connsiteX30666" y="connsiteY30666"/>
              </a:cxn>
              <a:cxn ang="0">
                <a:pos x="connsiteX30667" y="connsiteY30667"/>
              </a:cxn>
              <a:cxn ang="0">
                <a:pos x="connsiteX30668" y="connsiteY30668"/>
              </a:cxn>
              <a:cxn ang="0">
                <a:pos x="connsiteX30669" y="connsiteY30669"/>
              </a:cxn>
              <a:cxn ang="0">
                <a:pos x="connsiteX30670" y="connsiteY30670"/>
              </a:cxn>
              <a:cxn ang="0">
                <a:pos x="connsiteX30671" y="connsiteY30671"/>
              </a:cxn>
              <a:cxn ang="0">
                <a:pos x="connsiteX30672" y="connsiteY30672"/>
              </a:cxn>
              <a:cxn ang="0">
                <a:pos x="connsiteX30673" y="connsiteY30673"/>
              </a:cxn>
              <a:cxn ang="0">
                <a:pos x="connsiteX30674" y="connsiteY30674"/>
              </a:cxn>
              <a:cxn ang="0">
                <a:pos x="connsiteX30675" y="connsiteY30675"/>
              </a:cxn>
              <a:cxn ang="0">
                <a:pos x="connsiteX30676" y="connsiteY30676"/>
              </a:cxn>
              <a:cxn ang="0">
                <a:pos x="connsiteX30677" y="connsiteY30677"/>
              </a:cxn>
              <a:cxn ang="0">
                <a:pos x="connsiteX30678" y="connsiteY30678"/>
              </a:cxn>
              <a:cxn ang="0">
                <a:pos x="connsiteX30679" y="connsiteY30679"/>
              </a:cxn>
              <a:cxn ang="0">
                <a:pos x="connsiteX30680" y="connsiteY30680"/>
              </a:cxn>
              <a:cxn ang="0">
                <a:pos x="connsiteX30681" y="connsiteY30681"/>
              </a:cxn>
              <a:cxn ang="0">
                <a:pos x="connsiteX30682" y="connsiteY30682"/>
              </a:cxn>
              <a:cxn ang="0">
                <a:pos x="connsiteX30683" y="connsiteY30683"/>
              </a:cxn>
              <a:cxn ang="0">
                <a:pos x="connsiteX30684" y="connsiteY30684"/>
              </a:cxn>
              <a:cxn ang="0">
                <a:pos x="connsiteX30685" y="connsiteY30685"/>
              </a:cxn>
              <a:cxn ang="0">
                <a:pos x="connsiteX30686" y="connsiteY30686"/>
              </a:cxn>
              <a:cxn ang="0">
                <a:pos x="connsiteX30687" y="connsiteY30687"/>
              </a:cxn>
              <a:cxn ang="0">
                <a:pos x="connsiteX30688" y="connsiteY30688"/>
              </a:cxn>
              <a:cxn ang="0">
                <a:pos x="connsiteX30689" y="connsiteY30689"/>
              </a:cxn>
              <a:cxn ang="0">
                <a:pos x="connsiteX30690" y="connsiteY30690"/>
              </a:cxn>
              <a:cxn ang="0">
                <a:pos x="connsiteX30691" y="connsiteY30691"/>
              </a:cxn>
              <a:cxn ang="0">
                <a:pos x="connsiteX30692" y="connsiteY30692"/>
              </a:cxn>
              <a:cxn ang="0">
                <a:pos x="connsiteX30693" y="connsiteY30693"/>
              </a:cxn>
              <a:cxn ang="0">
                <a:pos x="connsiteX30694" y="connsiteY30694"/>
              </a:cxn>
              <a:cxn ang="0">
                <a:pos x="connsiteX30695" y="connsiteY30695"/>
              </a:cxn>
              <a:cxn ang="0">
                <a:pos x="connsiteX30696" y="connsiteY30696"/>
              </a:cxn>
              <a:cxn ang="0">
                <a:pos x="connsiteX30697" y="connsiteY30697"/>
              </a:cxn>
              <a:cxn ang="0">
                <a:pos x="connsiteX30698" y="connsiteY30698"/>
              </a:cxn>
              <a:cxn ang="0">
                <a:pos x="connsiteX30699" y="connsiteY30699"/>
              </a:cxn>
              <a:cxn ang="0">
                <a:pos x="connsiteX30700" y="connsiteY30700"/>
              </a:cxn>
              <a:cxn ang="0">
                <a:pos x="connsiteX30701" y="connsiteY30701"/>
              </a:cxn>
              <a:cxn ang="0">
                <a:pos x="connsiteX30702" y="connsiteY30702"/>
              </a:cxn>
              <a:cxn ang="0">
                <a:pos x="connsiteX30703" y="connsiteY30703"/>
              </a:cxn>
              <a:cxn ang="0">
                <a:pos x="connsiteX30704" y="connsiteY30704"/>
              </a:cxn>
              <a:cxn ang="0">
                <a:pos x="connsiteX30705" y="connsiteY30705"/>
              </a:cxn>
              <a:cxn ang="0">
                <a:pos x="connsiteX30706" y="connsiteY30706"/>
              </a:cxn>
              <a:cxn ang="0">
                <a:pos x="connsiteX30707" y="connsiteY30707"/>
              </a:cxn>
              <a:cxn ang="0">
                <a:pos x="connsiteX30708" y="connsiteY30708"/>
              </a:cxn>
              <a:cxn ang="0">
                <a:pos x="connsiteX30709" y="connsiteY30709"/>
              </a:cxn>
              <a:cxn ang="0">
                <a:pos x="connsiteX30710" y="connsiteY30710"/>
              </a:cxn>
              <a:cxn ang="0">
                <a:pos x="connsiteX30711" y="connsiteY30711"/>
              </a:cxn>
              <a:cxn ang="0">
                <a:pos x="connsiteX30712" y="connsiteY30712"/>
              </a:cxn>
              <a:cxn ang="0">
                <a:pos x="connsiteX30713" y="connsiteY30713"/>
              </a:cxn>
              <a:cxn ang="0">
                <a:pos x="connsiteX30714" y="connsiteY30714"/>
              </a:cxn>
              <a:cxn ang="0">
                <a:pos x="connsiteX30715" y="connsiteY30715"/>
              </a:cxn>
              <a:cxn ang="0">
                <a:pos x="connsiteX30716" y="connsiteY30716"/>
              </a:cxn>
              <a:cxn ang="0">
                <a:pos x="connsiteX30717" y="connsiteY30717"/>
              </a:cxn>
              <a:cxn ang="0">
                <a:pos x="connsiteX30718" y="connsiteY30718"/>
              </a:cxn>
              <a:cxn ang="0">
                <a:pos x="connsiteX30719" y="connsiteY30719"/>
              </a:cxn>
              <a:cxn ang="0">
                <a:pos x="connsiteX30720" y="connsiteY30720"/>
              </a:cxn>
              <a:cxn ang="0">
                <a:pos x="connsiteX30721" y="connsiteY30721"/>
              </a:cxn>
              <a:cxn ang="0">
                <a:pos x="connsiteX30722" y="connsiteY30722"/>
              </a:cxn>
              <a:cxn ang="0">
                <a:pos x="connsiteX30723" y="connsiteY30723"/>
              </a:cxn>
              <a:cxn ang="0">
                <a:pos x="connsiteX30724" y="connsiteY30724"/>
              </a:cxn>
              <a:cxn ang="0">
                <a:pos x="connsiteX30725" y="connsiteY30725"/>
              </a:cxn>
              <a:cxn ang="0">
                <a:pos x="connsiteX30726" y="connsiteY30726"/>
              </a:cxn>
              <a:cxn ang="0">
                <a:pos x="connsiteX30727" y="connsiteY30727"/>
              </a:cxn>
              <a:cxn ang="0">
                <a:pos x="connsiteX30728" y="connsiteY30728"/>
              </a:cxn>
              <a:cxn ang="0">
                <a:pos x="connsiteX30729" y="connsiteY30729"/>
              </a:cxn>
              <a:cxn ang="0">
                <a:pos x="connsiteX30730" y="connsiteY30730"/>
              </a:cxn>
              <a:cxn ang="0">
                <a:pos x="connsiteX30731" y="connsiteY30731"/>
              </a:cxn>
              <a:cxn ang="0">
                <a:pos x="connsiteX30732" y="connsiteY30732"/>
              </a:cxn>
              <a:cxn ang="0">
                <a:pos x="connsiteX30733" y="connsiteY30733"/>
              </a:cxn>
              <a:cxn ang="0">
                <a:pos x="connsiteX30734" y="connsiteY30734"/>
              </a:cxn>
              <a:cxn ang="0">
                <a:pos x="connsiteX30735" y="connsiteY30735"/>
              </a:cxn>
              <a:cxn ang="0">
                <a:pos x="connsiteX30736" y="connsiteY30736"/>
              </a:cxn>
              <a:cxn ang="0">
                <a:pos x="connsiteX30737" y="connsiteY30737"/>
              </a:cxn>
              <a:cxn ang="0">
                <a:pos x="connsiteX30738" y="connsiteY30738"/>
              </a:cxn>
              <a:cxn ang="0">
                <a:pos x="connsiteX30739" y="connsiteY30739"/>
              </a:cxn>
              <a:cxn ang="0">
                <a:pos x="connsiteX30740" y="connsiteY30740"/>
              </a:cxn>
              <a:cxn ang="0">
                <a:pos x="connsiteX30741" y="connsiteY30741"/>
              </a:cxn>
              <a:cxn ang="0">
                <a:pos x="connsiteX30742" y="connsiteY30742"/>
              </a:cxn>
              <a:cxn ang="0">
                <a:pos x="connsiteX30743" y="connsiteY30743"/>
              </a:cxn>
              <a:cxn ang="0">
                <a:pos x="connsiteX30744" y="connsiteY30744"/>
              </a:cxn>
              <a:cxn ang="0">
                <a:pos x="connsiteX30745" y="connsiteY30745"/>
              </a:cxn>
              <a:cxn ang="0">
                <a:pos x="connsiteX30746" y="connsiteY30746"/>
              </a:cxn>
              <a:cxn ang="0">
                <a:pos x="connsiteX30747" y="connsiteY30747"/>
              </a:cxn>
              <a:cxn ang="0">
                <a:pos x="connsiteX30748" y="connsiteY30748"/>
              </a:cxn>
              <a:cxn ang="0">
                <a:pos x="connsiteX30749" y="connsiteY30749"/>
              </a:cxn>
              <a:cxn ang="0">
                <a:pos x="connsiteX30750" y="connsiteY30750"/>
              </a:cxn>
              <a:cxn ang="0">
                <a:pos x="connsiteX30751" y="connsiteY30751"/>
              </a:cxn>
              <a:cxn ang="0">
                <a:pos x="connsiteX30752" y="connsiteY30752"/>
              </a:cxn>
              <a:cxn ang="0">
                <a:pos x="connsiteX30753" y="connsiteY30753"/>
              </a:cxn>
              <a:cxn ang="0">
                <a:pos x="connsiteX30754" y="connsiteY30754"/>
              </a:cxn>
              <a:cxn ang="0">
                <a:pos x="connsiteX30755" y="connsiteY30755"/>
              </a:cxn>
              <a:cxn ang="0">
                <a:pos x="connsiteX30756" y="connsiteY30756"/>
              </a:cxn>
              <a:cxn ang="0">
                <a:pos x="connsiteX30757" y="connsiteY30757"/>
              </a:cxn>
              <a:cxn ang="0">
                <a:pos x="connsiteX30758" y="connsiteY30758"/>
              </a:cxn>
              <a:cxn ang="0">
                <a:pos x="connsiteX30759" y="connsiteY30759"/>
              </a:cxn>
              <a:cxn ang="0">
                <a:pos x="connsiteX30760" y="connsiteY30760"/>
              </a:cxn>
              <a:cxn ang="0">
                <a:pos x="connsiteX30761" y="connsiteY30761"/>
              </a:cxn>
              <a:cxn ang="0">
                <a:pos x="connsiteX30762" y="connsiteY30762"/>
              </a:cxn>
              <a:cxn ang="0">
                <a:pos x="connsiteX30763" y="connsiteY30763"/>
              </a:cxn>
              <a:cxn ang="0">
                <a:pos x="connsiteX30764" y="connsiteY30764"/>
              </a:cxn>
              <a:cxn ang="0">
                <a:pos x="connsiteX30765" y="connsiteY30765"/>
              </a:cxn>
              <a:cxn ang="0">
                <a:pos x="connsiteX30766" y="connsiteY30766"/>
              </a:cxn>
              <a:cxn ang="0">
                <a:pos x="connsiteX30767" y="connsiteY30767"/>
              </a:cxn>
              <a:cxn ang="0">
                <a:pos x="connsiteX30768" y="connsiteY30768"/>
              </a:cxn>
              <a:cxn ang="0">
                <a:pos x="connsiteX30769" y="connsiteY30769"/>
              </a:cxn>
              <a:cxn ang="0">
                <a:pos x="connsiteX30770" y="connsiteY30770"/>
              </a:cxn>
              <a:cxn ang="0">
                <a:pos x="connsiteX30771" y="connsiteY30771"/>
              </a:cxn>
              <a:cxn ang="0">
                <a:pos x="connsiteX30772" y="connsiteY30772"/>
              </a:cxn>
              <a:cxn ang="0">
                <a:pos x="connsiteX30773" y="connsiteY30773"/>
              </a:cxn>
              <a:cxn ang="0">
                <a:pos x="connsiteX30774" y="connsiteY30774"/>
              </a:cxn>
              <a:cxn ang="0">
                <a:pos x="connsiteX30775" y="connsiteY30775"/>
              </a:cxn>
              <a:cxn ang="0">
                <a:pos x="connsiteX30776" y="connsiteY30776"/>
              </a:cxn>
              <a:cxn ang="0">
                <a:pos x="connsiteX30777" y="connsiteY30777"/>
              </a:cxn>
              <a:cxn ang="0">
                <a:pos x="connsiteX30778" y="connsiteY30778"/>
              </a:cxn>
              <a:cxn ang="0">
                <a:pos x="connsiteX30779" y="connsiteY30779"/>
              </a:cxn>
              <a:cxn ang="0">
                <a:pos x="connsiteX30780" y="connsiteY30780"/>
              </a:cxn>
              <a:cxn ang="0">
                <a:pos x="connsiteX30781" y="connsiteY30781"/>
              </a:cxn>
              <a:cxn ang="0">
                <a:pos x="connsiteX30782" y="connsiteY30782"/>
              </a:cxn>
              <a:cxn ang="0">
                <a:pos x="connsiteX30783" y="connsiteY30783"/>
              </a:cxn>
              <a:cxn ang="0">
                <a:pos x="connsiteX30784" y="connsiteY30784"/>
              </a:cxn>
              <a:cxn ang="0">
                <a:pos x="connsiteX30785" y="connsiteY30785"/>
              </a:cxn>
              <a:cxn ang="0">
                <a:pos x="connsiteX30786" y="connsiteY30786"/>
              </a:cxn>
              <a:cxn ang="0">
                <a:pos x="connsiteX30787" y="connsiteY30787"/>
              </a:cxn>
              <a:cxn ang="0">
                <a:pos x="connsiteX30788" y="connsiteY30788"/>
              </a:cxn>
              <a:cxn ang="0">
                <a:pos x="connsiteX30789" y="connsiteY30789"/>
              </a:cxn>
              <a:cxn ang="0">
                <a:pos x="connsiteX30790" y="connsiteY30790"/>
              </a:cxn>
              <a:cxn ang="0">
                <a:pos x="connsiteX30791" y="connsiteY30791"/>
              </a:cxn>
              <a:cxn ang="0">
                <a:pos x="connsiteX30792" y="connsiteY30792"/>
              </a:cxn>
              <a:cxn ang="0">
                <a:pos x="connsiteX30793" y="connsiteY30793"/>
              </a:cxn>
              <a:cxn ang="0">
                <a:pos x="connsiteX30794" y="connsiteY30794"/>
              </a:cxn>
              <a:cxn ang="0">
                <a:pos x="connsiteX30795" y="connsiteY30795"/>
              </a:cxn>
              <a:cxn ang="0">
                <a:pos x="connsiteX30796" y="connsiteY30796"/>
              </a:cxn>
              <a:cxn ang="0">
                <a:pos x="connsiteX30797" y="connsiteY30797"/>
              </a:cxn>
              <a:cxn ang="0">
                <a:pos x="connsiteX30798" y="connsiteY30798"/>
              </a:cxn>
              <a:cxn ang="0">
                <a:pos x="connsiteX30799" y="connsiteY30799"/>
              </a:cxn>
              <a:cxn ang="0">
                <a:pos x="connsiteX30800" y="connsiteY30800"/>
              </a:cxn>
              <a:cxn ang="0">
                <a:pos x="connsiteX30801" y="connsiteY30801"/>
              </a:cxn>
              <a:cxn ang="0">
                <a:pos x="connsiteX30802" y="connsiteY30802"/>
              </a:cxn>
              <a:cxn ang="0">
                <a:pos x="connsiteX30803" y="connsiteY30803"/>
              </a:cxn>
              <a:cxn ang="0">
                <a:pos x="connsiteX30804" y="connsiteY30804"/>
              </a:cxn>
              <a:cxn ang="0">
                <a:pos x="connsiteX30805" y="connsiteY30805"/>
              </a:cxn>
              <a:cxn ang="0">
                <a:pos x="connsiteX30806" y="connsiteY30806"/>
              </a:cxn>
              <a:cxn ang="0">
                <a:pos x="connsiteX30807" y="connsiteY30807"/>
              </a:cxn>
              <a:cxn ang="0">
                <a:pos x="connsiteX30808" y="connsiteY30808"/>
              </a:cxn>
              <a:cxn ang="0">
                <a:pos x="connsiteX30809" y="connsiteY30809"/>
              </a:cxn>
              <a:cxn ang="0">
                <a:pos x="connsiteX30810" y="connsiteY30810"/>
              </a:cxn>
              <a:cxn ang="0">
                <a:pos x="connsiteX30811" y="connsiteY30811"/>
              </a:cxn>
              <a:cxn ang="0">
                <a:pos x="connsiteX30812" y="connsiteY30812"/>
              </a:cxn>
              <a:cxn ang="0">
                <a:pos x="connsiteX30813" y="connsiteY30813"/>
              </a:cxn>
              <a:cxn ang="0">
                <a:pos x="connsiteX30814" y="connsiteY30814"/>
              </a:cxn>
              <a:cxn ang="0">
                <a:pos x="connsiteX30815" y="connsiteY30815"/>
              </a:cxn>
              <a:cxn ang="0">
                <a:pos x="connsiteX30816" y="connsiteY30816"/>
              </a:cxn>
              <a:cxn ang="0">
                <a:pos x="connsiteX30817" y="connsiteY30817"/>
              </a:cxn>
              <a:cxn ang="0">
                <a:pos x="connsiteX30818" y="connsiteY30818"/>
              </a:cxn>
              <a:cxn ang="0">
                <a:pos x="connsiteX30819" y="connsiteY30819"/>
              </a:cxn>
              <a:cxn ang="0">
                <a:pos x="connsiteX30820" y="connsiteY30820"/>
              </a:cxn>
              <a:cxn ang="0">
                <a:pos x="connsiteX30821" y="connsiteY30821"/>
              </a:cxn>
              <a:cxn ang="0">
                <a:pos x="connsiteX30822" y="connsiteY30822"/>
              </a:cxn>
              <a:cxn ang="0">
                <a:pos x="connsiteX30823" y="connsiteY30823"/>
              </a:cxn>
              <a:cxn ang="0">
                <a:pos x="connsiteX30824" y="connsiteY30824"/>
              </a:cxn>
              <a:cxn ang="0">
                <a:pos x="connsiteX30825" y="connsiteY30825"/>
              </a:cxn>
              <a:cxn ang="0">
                <a:pos x="connsiteX30826" y="connsiteY30826"/>
              </a:cxn>
              <a:cxn ang="0">
                <a:pos x="connsiteX30827" y="connsiteY30827"/>
              </a:cxn>
              <a:cxn ang="0">
                <a:pos x="connsiteX30828" y="connsiteY30828"/>
              </a:cxn>
              <a:cxn ang="0">
                <a:pos x="connsiteX30829" y="connsiteY30829"/>
              </a:cxn>
              <a:cxn ang="0">
                <a:pos x="connsiteX30830" y="connsiteY30830"/>
              </a:cxn>
              <a:cxn ang="0">
                <a:pos x="connsiteX30831" y="connsiteY30831"/>
              </a:cxn>
              <a:cxn ang="0">
                <a:pos x="connsiteX30832" y="connsiteY30832"/>
              </a:cxn>
              <a:cxn ang="0">
                <a:pos x="connsiteX30833" y="connsiteY30833"/>
              </a:cxn>
              <a:cxn ang="0">
                <a:pos x="connsiteX30834" y="connsiteY30834"/>
              </a:cxn>
              <a:cxn ang="0">
                <a:pos x="connsiteX30835" y="connsiteY30835"/>
              </a:cxn>
              <a:cxn ang="0">
                <a:pos x="connsiteX30836" y="connsiteY30836"/>
              </a:cxn>
              <a:cxn ang="0">
                <a:pos x="connsiteX30837" y="connsiteY30837"/>
              </a:cxn>
              <a:cxn ang="0">
                <a:pos x="connsiteX30838" y="connsiteY30838"/>
              </a:cxn>
              <a:cxn ang="0">
                <a:pos x="connsiteX30839" y="connsiteY30839"/>
              </a:cxn>
              <a:cxn ang="0">
                <a:pos x="connsiteX30840" y="connsiteY30840"/>
              </a:cxn>
              <a:cxn ang="0">
                <a:pos x="connsiteX30841" y="connsiteY30841"/>
              </a:cxn>
              <a:cxn ang="0">
                <a:pos x="connsiteX30842" y="connsiteY30842"/>
              </a:cxn>
              <a:cxn ang="0">
                <a:pos x="connsiteX30843" y="connsiteY30843"/>
              </a:cxn>
              <a:cxn ang="0">
                <a:pos x="connsiteX30844" y="connsiteY30844"/>
              </a:cxn>
              <a:cxn ang="0">
                <a:pos x="connsiteX30845" y="connsiteY30845"/>
              </a:cxn>
              <a:cxn ang="0">
                <a:pos x="connsiteX30846" y="connsiteY30846"/>
              </a:cxn>
              <a:cxn ang="0">
                <a:pos x="connsiteX30847" y="connsiteY30847"/>
              </a:cxn>
              <a:cxn ang="0">
                <a:pos x="connsiteX30848" y="connsiteY30848"/>
              </a:cxn>
              <a:cxn ang="0">
                <a:pos x="connsiteX30849" y="connsiteY30849"/>
              </a:cxn>
              <a:cxn ang="0">
                <a:pos x="connsiteX30850" y="connsiteY30850"/>
              </a:cxn>
              <a:cxn ang="0">
                <a:pos x="connsiteX30851" y="connsiteY30851"/>
              </a:cxn>
              <a:cxn ang="0">
                <a:pos x="connsiteX30852" y="connsiteY30852"/>
              </a:cxn>
              <a:cxn ang="0">
                <a:pos x="connsiteX30853" y="connsiteY30853"/>
              </a:cxn>
              <a:cxn ang="0">
                <a:pos x="connsiteX30854" y="connsiteY30854"/>
              </a:cxn>
              <a:cxn ang="0">
                <a:pos x="connsiteX30855" y="connsiteY30855"/>
              </a:cxn>
              <a:cxn ang="0">
                <a:pos x="connsiteX30856" y="connsiteY30856"/>
              </a:cxn>
              <a:cxn ang="0">
                <a:pos x="connsiteX30857" y="connsiteY30857"/>
              </a:cxn>
              <a:cxn ang="0">
                <a:pos x="connsiteX30858" y="connsiteY30858"/>
              </a:cxn>
              <a:cxn ang="0">
                <a:pos x="connsiteX30859" y="connsiteY30859"/>
              </a:cxn>
              <a:cxn ang="0">
                <a:pos x="connsiteX30860" y="connsiteY30860"/>
              </a:cxn>
              <a:cxn ang="0">
                <a:pos x="connsiteX30861" y="connsiteY30861"/>
              </a:cxn>
              <a:cxn ang="0">
                <a:pos x="connsiteX30862" y="connsiteY30862"/>
              </a:cxn>
              <a:cxn ang="0">
                <a:pos x="connsiteX30863" y="connsiteY30863"/>
              </a:cxn>
              <a:cxn ang="0">
                <a:pos x="connsiteX30864" y="connsiteY30864"/>
              </a:cxn>
              <a:cxn ang="0">
                <a:pos x="connsiteX30865" y="connsiteY30865"/>
              </a:cxn>
              <a:cxn ang="0">
                <a:pos x="connsiteX30866" y="connsiteY30866"/>
              </a:cxn>
              <a:cxn ang="0">
                <a:pos x="connsiteX30867" y="connsiteY30867"/>
              </a:cxn>
              <a:cxn ang="0">
                <a:pos x="connsiteX30868" y="connsiteY30868"/>
              </a:cxn>
              <a:cxn ang="0">
                <a:pos x="connsiteX30869" y="connsiteY30869"/>
              </a:cxn>
              <a:cxn ang="0">
                <a:pos x="connsiteX30870" y="connsiteY30870"/>
              </a:cxn>
              <a:cxn ang="0">
                <a:pos x="connsiteX30871" y="connsiteY30871"/>
              </a:cxn>
              <a:cxn ang="0">
                <a:pos x="connsiteX30872" y="connsiteY30872"/>
              </a:cxn>
              <a:cxn ang="0">
                <a:pos x="connsiteX30873" y="connsiteY30873"/>
              </a:cxn>
              <a:cxn ang="0">
                <a:pos x="connsiteX30874" y="connsiteY30874"/>
              </a:cxn>
              <a:cxn ang="0">
                <a:pos x="connsiteX30875" y="connsiteY30875"/>
              </a:cxn>
              <a:cxn ang="0">
                <a:pos x="connsiteX30876" y="connsiteY30876"/>
              </a:cxn>
              <a:cxn ang="0">
                <a:pos x="connsiteX30877" y="connsiteY30877"/>
              </a:cxn>
              <a:cxn ang="0">
                <a:pos x="connsiteX30878" y="connsiteY30878"/>
              </a:cxn>
              <a:cxn ang="0">
                <a:pos x="connsiteX30879" y="connsiteY30879"/>
              </a:cxn>
              <a:cxn ang="0">
                <a:pos x="connsiteX30880" y="connsiteY30880"/>
              </a:cxn>
              <a:cxn ang="0">
                <a:pos x="connsiteX30881" y="connsiteY30881"/>
              </a:cxn>
              <a:cxn ang="0">
                <a:pos x="connsiteX30882" y="connsiteY30882"/>
              </a:cxn>
              <a:cxn ang="0">
                <a:pos x="connsiteX30883" y="connsiteY30883"/>
              </a:cxn>
              <a:cxn ang="0">
                <a:pos x="connsiteX30884" y="connsiteY30884"/>
              </a:cxn>
              <a:cxn ang="0">
                <a:pos x="connsiteX30885" y="connsiteY30885"/>
              </a:cxn>
              <a:cxn ang="0">
                <a:pos x="connsiteX30886" y="connsiteY30886"/>
              </a:cxn>
              <a:cxn ang="0">
                <a:pos x="connsiteX30887" y="connsiteY30887"/>
              </a:cxn>
              <a:cxn ang="0">
                <a:pos x="connsiteX30888" y="connsiteY30888"/>
              </a:cxn>
              <a:cxn ang="0">
                <a:pos x="connsiteX30889" y="connsiteY30889"/>
              </a:cxn>
              <a:cxn ang="0">
                <a:pos x="connsiteX30890" y="connsiteY30890"/>
              </a:cxn>
              <a:cxn ang="0">
                <a:pos x="connsiteX30891" y="connsiteY30891"/>
              </a:cxn>
              <a:cxn ang="0">
                <a:pos x="connsiteX30892" y="connsiteY30892"/>
              </a:cxn>
              <a:cxn ang="0">
                <a:pos x="connsiteX30893" y="connsiteY30893"/>
              </a:cxn>
              <a:cxn ang="0">
                <a:pos x="connsiteX30894" y="connsiteY30894"/>
              </a:cxn>
              <a:cxn ang="0">
                <a:pos x="connsiteX30895" y="connsiteY30895"/>
              </a:cxn>
              <a:cxn ang="0">
                <a:pos x="connsiteX30896" y="connsiteY30896"/>
              </a:cxn>
              <a:cxn ang="0">
                <a:pos x="connsiteX30897" y="connsiteY30897"/>
              </a:cxn>
              <a:cxn ang="0">
                <a:pos x="connsiteX30898" y="connsiteY30898"/>
              </a:cxn>
              <a:cxn ang="0">
                <a:pos x="connsiteX30899" y="connsiteY30899"/>
              </a:cxn>
              <a:cxn ang="0">
                <a:pos x="connsiteX30900" y="connsiteY30900"/>
              </a:cxn>
              <a:cxn ang="0">
                <a:pos x="connsiteX30901" y="connsiteY30901"/>
              </a:cxn>
              <a:cxn ang="0">
                <a:pos x="connsiteX30902" y="connsiteY30902"/>
              </a:cxn>
              <a:cxn ang="0">
                <a:pos x="connsiteX30903" y="connsiteY30903"/>
              </a:cxn>
              <a:cxn ang="0">
                <a:pos x="connsiteX30904" y="connsiteY30904"/>
              </a:cxn>
              <a:cxn ang="0">
                <a:pos x="connsiteX30905" y="connsiteY30905"/>
              </a:cxn>
              <a:cxn ang="0">
                <a:pos x="connsiteX30906" y="connsiteY30906"/>
              </a:cxn>
              <a:cxn ang="0">
                <a:pos x="connsiteX30907" y="connsiteY30907"/>
              </a:cxn>
              <a:cxn ang="0">
                <a:pos x="connsiteX30908" y="connsiteY30908"/>
              </a:cxn>
              <a:cxn ang="0">
                <a:pos x="connsiteX30909" y="connsiteY30909"/>
              </a:cxn>
              <a:cxn ang="0">
                <a:pos x="connsiteX30910" y="connsiteY30910"/>
              </a:cxn>
              <a:cxn ang="0">
                <a:pos x="connsiteX30911" y="connsiteY30911"/>
              </a:cxn>
              <a:cxn ang="0">
                <a:pos x="connsiteX30912" y="connsiteY30912"/>
              </a:cxn>
              <a:cxn ang="0">
                <a:pos x="connsiteX30913" y="connsiteY30913"/>
              </a:cxn>
              <a:cxn ang="0">
                <a:pos x="connsiteX30914" y="connsiteY30914"/>
              </a:cxn>
              <a:cxn ang="0">
                <a:pos x="connsiteX30915" y="connsiteY30915"/>
              </a:cxn>
              <a:cxn ang="0">
                <a:pos x="connsiteX30916" y="connsiteY30916"/>
              </a:cxn>
              <a:cxn ang="0">
                <a:pos x="connsiteX30917" y="connsiteY30917"/>
              </a:cxn>
              <a:cxn ang="0">
                <a:pos x="connsiteX30918" y="connsiteY30918"/>
              </a:cxn>
              <a:cxn ang="0">
                <a:pos x="connsiteX30919" y="connsiteY30919"/>
              </a:cxn>
              <a:cxn ang="0">
                <a:pos x="connsiteX30920" y="connsiteY30920"/>
              </a:cxn>
              <a:cxn ang="0">
                <a:pos x="connsiteX30921" y="connsiteY30921"/>
              </a:cxn>
              <a:cxn ang="0">
                <a:pos x="connsiteX30922" y="connsiteY30922"/>
              </a:cxn>
              <a:cxn ang="0">
                <a:pos x="connsiteX30923" y="connsiteY30923"/>
              </a:cxn>
              <a:cxn ang="0">
                <a:pos x="connsiteX30924" y="connsiteY30924"/>
              </a:cxn>
              <a:cxn ang="0">
                <a:pos x="connsiteX30925" y="connsiteY30925"/>
              </a:cxn>
              <a:cxn ang="0">
                <a:pos x="connsiteX30926" y="connsiteY30926"/>
              </a:cxn>
              <a:cxn ang="0">
                <a:pos x="connsiteX30927" y="connsiteY30927"/>
              </a:cxn>
              <a:cxn ang="0">
                <a:pos x="connsiteX30928" y="connsiteY30928"/>
              </a:cxn>
              <a:cxn ang="0">
                <a:pos x="connsiteX30929" y="connsiteY30929"/>
              </a:cxn>
              <a:cxn ang="0">
                <a:pos x="connsiteX30930" y="connsiteY30930"/>
              </a:cxn>
              <a:cxn ang="0">
                <a:pos x="connsiteX30931" y="connsiteY30931"/>
              </a:cxn>
              <a:cxn ang="0">
                <a:pos x="connsiteX30932" y="connsiteY30932"/>
              </a:cxn>
              <a:cxn ang="0">
                <a:pos x="connsiteX30933" y="connsiteY30933"/>
              </a:cxn>
              <a:cxn ang="0">
                <a:pos x="connsiteX30934" y="connsiteY30934"/>
              </a:cxn>
              <a:cxn ang="0">
                <a:pos x="connsiteX30935" y="connsiteY30935"/>
              </a:cxn>
              <a:cxn ang="0">
                <a:pos x="connsiteX30936" y="connsiteY30936"/>
              </a:cxn>
              <a:cxn ang="0">
                <a:pos x="connsiteX30937" y="connsiteY30937"/>
              </a:cxn>
              <a:cxn ang="0">
                <a:pos x="connsiteX30938" y="connsiteY30938"/>
              </a:cxn>
              <a:cxn ang="0">
                <a:pos x="connsiteX30939" y="connsiteY30939"/>
              </a:cxn>
              <a:cxn ang="0">
                <a:pos x="connsiteX30940" y="connsiteY30940"/>
              </a:cxn>
              <a:cxn ang="0">
                <a:pos x="connsiteX30941" y="connsiteY30941"/>
              </a:cxn>
              <a:cxn ang="0">
                <a:pos x="connsiteX30942" y="connsiteY30942"/>
              </a:cxn>
              <a:cxn ang="0">
                <a:pos x="connsiteX30943" y="connsiteY30943"/>
              </a:cxn>
              <a:cxn ang="0">
                <a:pos x="connsiteX30944" y="connsiteY30944"/>
              </a:cxn>
              <a:cxn ang="0">
                <a:pos x="connsiteX30945" y="connsiteY30945"/>
              </a:cxn>
              <a:cxn ang="0">
                <a:pos x="connsiteX30946" y="connsiteY30946"/>
              </a:cxn>
              <a:cxn ang="0">
                <a:pos x="connsiteX30947" y="connsiteY30947"/>
              </a:cxn>
              <a:cxn ang="0">
                <a:pos x="connsiteX30948" y="connsiteY30948"/>
              </a:cxn>
              <a:cxn ang="0">
                <a:pos x="connsiteX30949" y="connsiteY30949"/>
              </a:cxn>
              <a:cxn ang="0">
                <a:pos x="connsiteX30950" y="connsiteY30950"/>
              </a:cxn>
              <a:cxn ang="0">
                <a:pos x="connsiteX30951" y="connsiteY30951"/>
              </a:cxn>
              <a:cxn ang="0">
                <a:pos x="connsiteX30952" y="connsiteY30952"/>
              </a:cxn>
              <a:cxn ang="0">
                <a:pos x="connsiteX30953" y="connsiteY30953"/>
              </a:cxn>
              <a:cxn ang="0">
                <a:pos x="connsiteX30954" y="connsiteY30954"/>
              </a:cxn>
              <a:cxn ang="0">
                <a:pos x="connsiteX30955" y="connsiteY30955"/>
              </a:cxn>
              <a:cxn ang="0">
                <a:pos x="connsiteX30956" y="connsiteY30956"/>
              </a:cxn>
              <a:cxn ang="0">
                <a:pos x="connsiteX30957" y="connsiteY30957"/>
              </a:cxn>
              <a:cxn ang="0">
                <a:pos x="connsiteX30958" y="connsiteY30958"/>
              </a:cxn>
              <a:cxn ang="0">
                <a:pos x="connsiteX30959" y="connsiteY30959"/>
              </a:cxn>
              <a:cxn ang="0">
                <a:pos x="connsiteX30960" y="connsiteY30960"/>
              </a:cxn>
              <a:cxn ang="0">
                <a:pos x="connsiteX30961" y="connsiteY30961"/>
              </a:cxn>
              <a:cxn ang="0">
                <a:pos x="connsiteX30962" y="connsiteY30962"/>
              </a:cxn>
              <a:cxn ang="0">
                <a:pos x="connsiteX30963" y="connsiteY30963"/>
              </a:cxn>
              <a:cxn ang="0">
                <a:pos x="connsiteX30964" y="connsiteY30964"/>
              </a:cxn>
              <a:cxn ang="0">
                <a:pos x="connsiteX30965" y="connsiteY30965"/>
              </a:cxn>
              <a:cxn ang="0">
                <a:pos x="connsiteX30966" y="connsiteY30966"/>
              </a:cxn>
              <a:cxn ang="0">
                <a:pos x="connsiteX30967" y="connsiteY30967"/>
              </a:cxn>
              <a:cxn ang="0">
                <a:pos x="connsiteX30968" y="connsiteY30968"/>
              </a:cxn>
              <a:cxn ang="0">
                <a:pos x="connsiteX30969" y="connsiteY30969"/>
              </a:cxn>
              <a:cxn ang="0">
                <a:pos x="connsiteX30970" y="connsiteY30970"/>
              </a:cxn>
              <a:cxn ang="0">
                <a:pos x="connsiteX30971" y="connsiteY30971"/>
              </a:cxn>
              <a:cxn ang="0">
                <a:pos x="connsiteX30972" y="connsiteY30972"/>
              </a:cxn>
              <a:cxn ang="0">
                <a:pos x="connsiteX30973" y="connsiteY30973"/>
              </a:cxn>
              <a:cxn ang="0">
                <a:pos x="connsiteX30974" y="connsiteY30974"/>
              </a:cxn>
              <a:cxn ang="0">
                <a:pos x="connsiteX30975" y="connsiteY30975"/>
              </a:cxn>
              <a:cxn ang="0">
                <a:pos x="connsiteX30976" y="connsiteY30976"/>
              </a:cxn>
              <a:cxn ang="0">
                <a:pos x="connsiteX30977" y="connsiteY30977"/>
              </a:cxn>
              <a:cxn ang="0">
                <a:pos x="connsiteX30978" y="connsiteY30978"/>
              </a:cxn>
              <a:cxn ang="0">
                <a:pos x="connsiteX30979" y="connsiteY30979"/>
              </a:cxn>
              <a:cxn ang="0">
                <a:pos x="connsiteX30980" y="connsiteY30980"/>
              </a:cxn>
              <a:cxn ang="0">
                <a:pos x="connsiteX30981" y="connsiteY30981"/>
              </a:cxn>
              <a:cxn ang="0">
                <a:pos x="connsiteX30982" y="connsiteY30982"/>
              </a:cxn>
              <a:cxn ang="0">
                <a:pos x="connsiteX30983" y="connsiteY30983"/>
              </a:cxn>
              <a:cxn ang="0">
                <a:pos x="connsiteX30984" y="connsiteY30984"/>
              </a:cxn>
              <a:cxn ang="0">
                <a:pos x="connsiteX30985" y="connsiteY30985"/>
              </a:cxn>
              <a:cxn ang="0">
                <a:pos x="connsiteX30986" y="connsiteY30986"/>
              </a:cxn>
              <a:cxn ang="0">
                <a:pos x="connsiteX30987" y="connsiteY30987"/>
              </a:cxn>
              <a:cxn ang="0">
                <a:pos x="connsiteX30988" y="connsiteY30988"/>
              </a:cxn>
              <a:cxn ang="0">
                <a:pos x="connsiteX30989" y="connsiteY30989"/>
              </a:cxn>
              <a:cxn ang="0">
                <a:pos x="connsiteX30990" y="connsiteY30990"/>
              </a:cxn>
              <a:cxn ang="0">
                <a:pos x="connsiteX30991" y="connsiteY30991"/>
              </a:cxn>
              <a:cxn ang="0">
                <a:pos x="connsiteX30992" y="connsiteY30992"/>
              </a:cxn>
              <a:cxn ang="0">
                <a:pos x="connsiteX30993" y="connsiteY30993"/>
              </a:cxn>
              <a:cxn ang="0">
                <a:pos x="connsiteX30994" y="connsiteY30994"/>
              </a:cxn>
              <a:cxn ang="0">
                <a:pos x="connsiteX30995" y="connsiteY30995"/>
              </a:cxn>
              <a:cxn ang="0">
                <a:pos x="connsiteX30996" y="connsiteY30996"/>
              </a:cxn>
              <a:cxn ang="0">
                <a:pos x="connsiteX30997" y="connsiteY30997"/>
              </a:cxn>
              <a:cxn ang="0">
                <a:pos x="connsiteX30998" y="connsiteY30998"/>
              </a:cxn>
              <a:cxn ang="0">
                <a:pos x="connsiteX30999" y="connsiteY30999"/>
              </a:cxn>
              <a:cxn ang="0">
                <a:pos x="connsiteX31000" y="connsiteY31000"/>
              </a:cxn>
              <a:cxn ang="0">
                <a:pos x="connsiteX31001" y="connsiteY31001"/>
              </a:cxn>
              <a:cxn ang="0">
                <a:pos x="connsiteX31002" y="connsiteY31002"/>
              </a:cxn>
              <a:cxn ang="0">
                <a:pos x="connsiteX31003" y="connsiteY31003"/>
              </a:cxn>
              <a:cxn ang="0">
                <a:pos x="connsiteX31004" y="connsiteY31004"/>
              </a:cxn>
              <a:cxn ang="0">
                <a:pos x="connsiteX31005" y="connsiteY31005"/>
              </a:cxn>
              <a:cxn ang="0">
                <a:pos x="connsiteX31006" y="connsiteY31006"/>
              </a:cxn>
              <a:cxn ang="0">
                <a:pos x="connsiteX31007" y="connsiteY31007"/>
              </a:cxn>
              <a:cxn ang="0">
                <a:pos x="connsiteX31008" y="connsiteY31008"/>
              </a:cxn>
              <a:cxn ang="0">
                <a:pos x="connsiteX31009" y="connsiteY31009"/>
              </a:cxn>
              <a:cxn ang="0">
                <a:pos x="connsiteX31010" y="connsiteY31010"/>
              </a:cxn>
              <a:cxn ang="0">
                <a:pos x="connsiteX31011" y="connsiteY31011"/>
              </a:cxn>
              <a:cxn ang="0">
                <a:pos x="connsiteX31012" y="connsiteY31012"/>
              </a:cxn>
              <a:cxn ang="0">
                <a:pos x="connsiteX31013" y="connsiteY31013"/>
              </a:cxn>
              <a:cxn ang="0">
                <a:pos x="connsiteX31014" y="connsiteY31014"/>
              </a:cxn>
              <a:cxn ang="0">
                <a:pos x="connsiteX31015" y="connsiteY31015"/>
              </a:cxn>
              <a:cxn ang="0">
                <a:pos x="connsiteX31016" y="connsiteY31016"/>
              </a:cxn>
              <a:cxn ang="0">
                <a:pos x="connsiteX31017" y="connsiteY31017"/>
              </a:cxn>
              <a:cxn ang="0">
                <a:pos x="connsiteX31018" y="connsiteY31018"/>
              </a:cxn>
              <a:cxn ang="0">
                <a:pos x="connsiteX31019" y="connsiteY31019"/>
              </a:cxn>
              <a:cxn ang="0">
                <a:pos x="connsiteX31020" y="connsiteY31020"/>
              </a:cxn>
              <a:cxn ang="0">
                <a:pos x="connsiteX31021" y="connsiteY31021"/>
              </a:cxn>
              <a:cxn ang="0">
                <a:pos x="connsiteX31022" y="connsiteY31022"/>
              </a:cxn>
              <a:cxn ang="0">
                <a:pos x="connsiteX31023" y="connsiteY31023"/>
              </a:cxn>
              <a:cxn ang="0">
                <a:pos x="connsiteX31024" y="connsiteY31024"/>
              </a:cxn>
              <a:cxn ang="0">
                <a:pos x="connsiteX31025" y="connsiteY31025"/>
              </a:cxn>
              <a:cxn ang="0">
                <a:pos x="connsiteX31026" y="connsiteY31026"/>
              </a:cxn>
              <a:cxn ang="0">
                <a:pos x="connsiteX31027" y="connsiteY31027"/>
              </a:cxn>
              <a:cxn ang="0">
                <a:pos x="connsiteX31028" y="connsiteY31028"/>
              </a:cxn>
              <a:cxn ang="0">
                <a:pos x="connsiteX31029" y="connsiteY31029"/>
              </a:cxn>
              <a:cxn ang="0">
                <a:pos x="connsiteX31030" y="connsiteY31030"/>
              </a:cxn>
              <a:cxn ang="0">
                <a:pos x="connsiteX31031" y="connsiteY31031"/>
              </a:cxn>
              <a:cxn ang="0">
                <a:pos x="connsiteX31032" y="connsiteY31032"/>
              </a:cxn>
              <a:cxn ang="0">
                <a:pos x="connsiteX31033" y="connsiteY31033"/>
              </a:cxn>
              <a:cxn ang="0">
                <a:pos x="connsiteX31034" y="connsiteY31034"/>
              </a:cxn>
              <a:cxn ang="0">
                <a:pos x="connsiteX31035" y="connsiteY31035"/>
              </a:cxn>
              <a:cxn ang="0">
                <a:pos x="connsiteX31036" y="connsiteY31036"/>
              </a:cxn>
              <a:cxn ang="0">
                <a:pos x="connsiteX31037" y="connsiteY31037"/>
              </a:cxn>
              <a:cxn ang="0">
                <a:pos x="connsiteX31038" y="connsiteY31038"/>
              </a:cxn>
              <a:cxn ang="0">
                <a:pos x="connsiteX31039" y="connsiteY31039"/>
              </a:cxn>
              <a:cxn ang="0">
                <a:pos x="connsiteX31040" y="connsiteY31040"/>
              </a:cxn>
              <a:cxn ang="0">
                <a:pos x="connsiteX31041" y="connsiteY31041"/>
              </a:cxn>
              <a:cxn ang="0">
                <a:pos x="connsiteX31042" y="connsiteY31042"/>
              </a:cxn>
              <a:cxn ang="0">
                <a:pos x="connsiteX31043" y="connsiteY31043"/>
              </a:cxn>
              <a:cxn ang="0">
                <a:pos x="connsiteX31044" y="connsiteY31044"/>
              </a:cxn>
              <a:cxn ang="0">
                <a:pos x="connsiteX31045" y="connsiteY31045"/>
              </a:cxn>
              <a:cxn ang="0">
                <a:pos x="connsiteX31046" y="connsiteY31046"/>
              </a:cxn>
              <a:cxn ang="0">
                <a:pos x="connsiteX31047" y="connsiteY31047"/>
              </a:cxn>
              <a:cxn ang="0">
                <a:pos x="connsiteX31048" y="connsiteY31048"/>
              </a:cxn>
              <a:cxn ang="0">
                <a:pos x="connsiteX31049" y="connsiteY31049"/>
              </a:cxn>
              <a:cxn ang="0">
                <a:pos x="connsiteX31050" y="connsiteY31050"/>
              </a:cxn>
              <a:cxn ang="0">
                <a:pos x="connsiteX31051" y="connsiteY31051"/>
              </a:cxn>
              <a:cxn ang="0">
                <a:pos x="connsiteX31052" y="connsiteY31052"/>
              </a:cxn>
              <a:cxn ang="0">
                <a:pos x="connsiteX31053" y="connsiteY31053"/>
              </a:cxn>
              <a:cxn ang="0">
                <a:pos x="connsiteX31054" y="connsiteY31054"/>
              </a:cxn>
              <a:cxn ang="0">
                <a:pos x="connsiteX31055" y="connsiteY31055"/>
              </a:cxn>
              <a:cxn ang="0">
                <a:pos x="connsiteX31056" y="connsiteY31056"/>
              </a:cxn>
              <a:cxn ang="0">
                <a:pos x="connsiteX31057" y="connsiteY31057"/>
              </a:cxn>
              <a:cxn ang="0">
                <a:pos x="connsiteX31058" y="connsiteY31058"/>
              </a:cxn>
              <a:cxn ang="0">
                <a:pos x="connsiteX31059" y="connsiteY31059"/>
              </a:cxn>
              <a:cxn ang="0">
                <a:pos x="connsiteX31060" y="connsiteY31060"/>
              </a:cxn>
              <a:cxn ang="0">
                <a:pos x="connsiteX31061" y="connsiteY31061"/>
              </a:cxn>
              <a:cxn ang="0">
                <a:pos x="connsiteX31062" y="connsiteY31062"/>
              </a:cxn>
              <a:cxn ang="0">
                <a:pos x="connsiteX31063" y="connsiteY31063"/>
              </a:cxn>
              <a:cxn ang="0">
                <a:pos x="connsiteX31064" y="connsiteY31064"/>
              </a:cxn>
              <a:cxn ang="0">
                <a:pos x="connsiteX31065" y="connsiteY31065"/>
              </a:cxn>
              <a:cxn ang="0">
                <a:pos x="connsiteX31066" y="connsiteY31066"/>
              </a:cxn>
              <a:cxn ang="0">
                <a:pos x="connsiteX31067" y="connsiteY31067"/>
              </a:cxn>
              <a:cxn ang="0">
                <a:pos x="connsiteX31068" y="connsiteY31068"/>
              </a:cxn>
              <a:cxn ang="0">
                <a:pos x="connsiteX31069" y="connsiteY31069"/>
              </a:cxn>
              <a:cxn ang="0">
                <a:pos x="connsiteX31070" y="connsiteY31070"/>
              </a:cxn>
              <a:cxn ang="0">
                <a:pos x="connsiteX31071" y="connsiteY31071"/>
              </a:cxn>
              <a:cxn ang="0">
                <a:pos x="connsiteX31072" y="connsiteY31072"/>
              </a:cxn>
              <a:cxn ang="0">
                <a:pos x="connsiteX31073" y="connsiteY31073"/>
              </a:cxn>
              <a:cxn ang="0">
                <a:pos x="connsiteX31074" y="connsiteY31074"/>
              </a:cxn>
              <a:cxn ang="0">
                <a:pos x="connsiteX31075" y="connsiteY31075"/>
              </a:cxn>
              <a:cxn ang="0">
                <a:pos x="connsiteX31076" y="connsiteY31076"/>
              </a:cxn>
              <a:cxn ang="0">
                <a:pos x="connsiteX31077" y="connsiteY31077"/>
              </a:cxn>
              <a:cxn ang="0">
                <a:pos x="connsiteX31078" y="connsiteY31078"/>
              </a:cxn>
              <a:cxn ang="0">
                <a:pos x="connsiteX31079" y="connsiteY31079"/>
              </a:cxn>
              <a:cxn ang="0">
                <a:pos x="connsiteX31080" y="connsiteY31080"/>
              </a:cxn>
              <a:cxn ang="0">
                <a:pos x="connsiteX31081" y="connsiteY31081"/>
              </a:cxn>
              <a:cxn ang="0">
                <a:pos x="connsiteX31082" y="connsiteY31082"/>
              </a:cxn>
              <a:cxn ang="0">
                <a:pos x="connsiteX31083" y="connsiteY31083"/>
              </a:cxn>
              <a:cxn ang="0">
                <a:pos x="connsiteX31084" y="connsiteY31084"/>
              </a:cxn>
              <a:cxn ang="0">
                <a:pos x="connsiteX31085" y="connsiteY31085"/>
              </a:cxn>
              <a:cxn ang="0">
                <a:pos x="connsiteX31086" y="connsiteY31086"/>
              </a:cxn>
              <a:cxn ang="0">
                <a:pos x="connsiteX31087" y="connsiteY31087"/>
              </a:cxn>
              <a:cxn ang="0">
                <a:pos x="connsiteX31088" y="connsiteY31088"/>
              </a:cxn>
              <a:cxn ang="0">
                <a:pos x="connsiteX31089" y="connsiteY31089"/>
              </a:cxn>
              <a:cxn ang="0">
                <a:pos x="connsiteX31090" y="connsiteY31090"/>
              </a:cxn>
              <a:cxn ang="0">
                <a:pos x="connsiteX31091" y="connsiteY31091"/>
              </a:cxn>
              <a:cxn ang="0">
                <a:pos x="connsiteX31092" y="connsiteY31092"/>
              </a:cxn>
              <a:cxn ang="0">
                <a:pos x="connsiteX31093" y="connsiteY31093"/>
              </a:cxn>
              <a:cxn ang="0">
                <a:pos x="connsiteX31094" y="connsiteY31094"/>
              </a:cxn>
              <a:cxn ang="0">
                <a:pos x="connsiteX31095" y="connsiteY31095"/>
              </a:cxn>
              <a:cxn ang="0">
                <a:pos x="connsiteX31096" y="connsiteY31096"/>
              </a:cxn>
              <a:cxn ang="0">
                <a:pos x="connsiteX31097" y="connsiteY31097"/>
              </a:cxn>
              <a:cxn ang="0">
                <a:pos x="connsiteX31098" y="connsiteY31098"/>
              </a:cxn>
              <a:cxn ang="0">
                <a:pos x="connsiteX31099" y="connsiteY31099"/>
              </a:cxn>
              <a:cxn ang="0">
                <a:pos x="connsiteX31100" y="connsiteY31100"/>
              </a:cxn>
              <a:cxn ang="0">
                <a:pos x="connsiteX31101" y="connsiteY31101"/>
              </a:cxn>
              <a:cxn ang="0">
                <a:pos x="connsiteX31102" y="connsiteY31102"/>
              </a:cxn>
              <a:cxn ang="0">
                <a:pos x="connsiteX31103" y="connsiteY31103"/>
              </a:cxn>
              <a:cxn ang="0">
                <a:pos x="connsiteX31104" y="connsiteY31104"/>
              </a:cxn>
              <a:cxn ang="0">
                <a:pos x="connsiteX31105" y="connsiteY31105"/>
              </a:cxn>
              <a:cxn ang="0">
                <a:pos x="connsiteX31106" y="connsiteY31106"/>
              </a:cxn>
              <a:cxn ang="0">
                <a:pos x="connsiteX31107" y="connsiteY31107"/>
              </a:cxn>
              <a:cxn ang="0">
                <a:pos x="connsiteX31108" y="connsiteY31108"/>
              </a:cxn>
              <a:cxn ang="0">
                <a:pos x="connsiteX31109" y="connsiteY31109"/>
              </a:cxn>
              <a:cxn ang="0">
                <a:pos x="connsiteX31110" y="connsiteY31110"/>
              </a:cxn>
              <a:cxn ang="0">
                <a:pos x="connsiteX31111" y="connsiteY31111"/>
              </a:cxn>
              <a:cxn ang="0">
                <a:pos x="connsiteX31112" y="connsiteY31112"/>
              </a:cxn>
              <a:cxn ang="0">
                <a:pos x="connsiteX31113" y="connsiteY31113"/>
              </a:cxn>
              <a:cxn ang="0">
                <a:pos x="connsiteX31114" y="connsiteY31114"/>
              </a:cxn>
              <a:cxn ang="0">
                <a:pos x="connsiteX31115" y="connsiteY31115"/>
              </a:cxn>
              <a:cxn ang="0">
                <a:pos x="connsiteX31116" y="connsiteY31116"/>
              </a:cxn>
              <a:cxn ang="0">
                <a:pos x="connsiteX31117" y="connsiteY31117"/>
              </a:cxn>
              <a:cxn ang="0">
                <a:pos x="connsiteX31118" y="connsiteY31118"/>
              </a:cxn>
              <a:cxn ang="0">
                <a:pos x="connsiteX31119" y="connsiteY31119"/>
              </a:cxn>
              <a:cxn ang="0">
                <a:pos x="connsiteX31120" y="connsiteY31120"/>
              </a:cxn>
              <a:cxn ang="0">
                <a:pos x="connsiteX31121" y="connsiteY31121"/>
              </a:cxn>
              <a:cxn ang="0">
                <a:pos x="connsiteX31122" y="connsiteY31122"/>
              </a:cxn>
              <a:cxn ang="0">
                <a:pos x="connsiteX31123" y="connsiteY31123"/>
              </a:cxn>
              <a:cxn ang="0">
                <a:pos x="connsiteX31124" y="connsiteY31124"/>
              </a:cxn>
              <a:cxn ang="0">
                <a:pos x="connsiteX31125" y="connsiteY31125"/>
              </a:cxn>
              <a:cxn ang="0">
                <a:pos x="connsiteX31126" y="connsiteY31126"/>
              </a:cxn>
              <a:cxn ang="0">
                <a:pos x="connsiteX31127" y="connsiteY31127"/>
              </a:cxn>
              <a:cxn ang="0">
                <a:pos x="connsiteX31128" y="connsiteY31128"/>
              </a:cxn>
              <a:cxn ang="0">
                <a:pos x="connsiteX31129" y="connsiteY31129"/>
              </a:cxn>
              <a:cxn ang="0">
                <a:pos x="connsiteX31130" y="connsiteY31130"/>
              </a:cxn>
              <a:cxn ang="0">
                <a:pos x="connsiteX31131" y="connsiteY31131"/>
              </a:cxn>
              <a:cxn ang="0">
                <a:pos x="connsiteX31132" y="connsiteY31132"/>
              </a:cxn>
              <a:cxn ang="0">
                <a:pos x="connsiteX31133" y="connsiteY31133"/>
              </a:cxn>
              <a:cxn ang="0">
                <a:pos x="connsiteX31134" y="connsiteY31134"/>
              </a:cxn>
              <a:cxn ang="0">
                <a:pos x="connsiteX31135" y="connsiteY31135"/>
              </a:cxn>
              <a:cxn ang="0">
                <a:pos x="connsiteX31136" y="connsiteY31136"/>
              </a:cxn>
              <a:cxn ang="0">
                <a:pos x="connsiteX31137" y="connsiteY31137"/>
              </a:cxn>
              <a:cxn ang="0">
                <a:pos x="connsiteX31138" y="connsiteY31138"/>
              </a:cxn>
              <a:cxn ang="0">
                <a:pos x="connsiteX31139" y="connsiteY31139"/>
              </a:cxn>
              <a:cxn ang="0">
                <a:pos x="connsiteX31140" y="connsiteY31140"/>
              </a:cxn>
              <a:cxn ang="0">
                <a:pos x="connsiteX31141" y="connsiteY31141"/>
              </a:cxn>
              <a:cxn ang="0">
                <a:pos x="connsiteX31142" y="connsiteY31142"/>
              </a:cxn>
              <a:cxn ang="0">
                <a:pos x="connsiteX31143" y="connsiteY31143"/>
              </a:cxn>
              <a:cxn ang="0">
                <a:pos x="connsiteX31144" y="connsiteY31144"/>
              </a:cxn>
              <a:cxn ang="0">
                <a:pos x="connsiteX31145" y="connsiteY31145"/>
              </a:cxn>
              <a:cxn ang="0">
                <a:pos x="connsiteX31146" y="connsiteY31146"/>
              </a:cxn>
              <a:cxn ang="0">
                <a:pos x="connsiteX31147" y="connsiteY31147"/>
              </a:cxn>
              <a:cxn ang="0">
                <a:pos x="connsiteX31148" y="connsiteY31148"/>
              </a:cxn>
              <a:cxn ang="0">
                <a:pos x="connsiteX31149" y="connsiteY31149"/>
              </a:cxn>
              <a:cxn ang="0">
                <a:pos x="connsiteX31150" y="connsiteY31150"/>
              </a:cxn>
              <a:cxn ang="0">
                <a:pos x="connsiteX31151" y="connsiteY31151"/>
              </a:cxn>
              <a:cxn ang="0">
                <a:pos x="connsiteX31152" y="connsiteY31152"/>
              </a:cxn>
              <a:cxn ang="0">
                <a:pos x="connsiteX31153" y="connsiteY31153"/>
              </a:cxn>
              <a:cxn ang="0">
                <a:pos x="connsiteX31154" y="connsiteY31154"/>
              </a:cxn>
              <a:cxn ang="0">
                <a:pos x="connsiteX31155" y="connsiteY31155"/>
              </a:cxn>
              <a:cxn ang="0">
                <a:pos x="connsiteX31156" y="connsiteY31156"/>
              </a:cxn>
              <a:cxn ang="0">
                <a:pos x="connsiteX31157" y="connsiteY31157"/>
              </a:cxn>
              <a:cxn ang="0">
                <a:pos x="connsiteX31158" y="connsiteY31158"/>
              </a:cxn>
              <a:cxn ang="0">
                <a:pos x="connsiteX31159" y="connsiteY31159"/>
              </a:cxn>
              <a:cxn ang="0">
                <a:pos x="connsiteX31160" y="connsiteY31160"/>
              </a:cxn>
              <a:cxn ang="0">
                <a:pos x="connsiteX31161" y="connsiteY31161"/>
              </a:cxn>
              <a:cxn ang="0">
                <a:pos x="connsiteX31162" y="connsiteY31162"/>
              </a:cxn>
              <a:cxn ang="0">
                <a:pos x="connsiteX31163" y="connsiteY31163"/>
              </a:cxn>
              <a:cxn ang="0">
                <a:pos x="connsiteX31164" y="connsiteY31164"/>
              </a:cxn>
              <a:cxn ang="0">
                <a:pos x="connsiteX31165" y="connsiteY31165"/>
              </a:cxn>
              <a:cxn ang="0">
                <a:pos x="connsiteX31166" y="connsiteY31166"/>
              </a:cxn>
              <a:cxn ang="0">
                <a:pos x="connsiteX31167" y="connsiteY31167"/>
              </a:cxn>
              <a:cxn ang="0">
                <a:pos x="connsiteX31168" y="connsiteY31168"/>
              </a:cxn>
              <a:cxn ang="0">
                <a:pos x="connsiteX31169" y="connsiteY31169"/>
              </a:cxn>
              <a:cxn ang="0">
                <a:pos x="connsiteX31170" y="connsiteY31170"/>
              </a:cxn>
              <a:cxn ang="0">
                <a:pos x="connsiteX31171" y="connsiteY31171"/>
              </a:cxn>
              <a:cxn ang="0">
                <a:pos x="connsiteX31172" y="connsiteY31172"/>
              </a:cxn>
              <a:cxn ang="0">
                <a:pos x="connsiteX31173" y="connsiteY31173"/>
              </a:cxn>
              <a:cxn ang="0">
                <a:pos x="connsiteX31174" y="connsiteY31174"/>
              </a:cxn>
              <a:cxn ang="0">
                <a:pos x="connsiteX31175" y="connsiteY31175"/>
              </a:cxn>
              <a:cxn ang="0">
                <a:pos x="connsiteX31176" y="connsiteY31176"/>
              </a:cxn>
              <a:cxn ang="0">
                <a:pos x="connsiteX31177" y="connsiteY31177"/>
              </a:cxn>
              <a:cxn ang="0">
                <a:pos x="connsiteX31178" y="connsiteY31178"/>
              </a:cxn>
              <a:cxn ang="0">
                <a:pos x="connsiteX31179" y="connsiteY31179"/>
              </a:cxn>
              <a:cxn ang="0">
                <a:pos x="connsiteX31180" y="connsiteY31180"/>
              </a:cxn>
              <a:cxn ang="0">
                <a:pos x="connsiteX31181" y="connsiteY31181"/>
              </a:cxn>
              <a:cxn ang="0">
                <a:pos x="connsiteX31182" y="connsiteY31182"/>
              </a:cxn>
              <a:cxn ang="0">
                <a:pos x="connsiteX31183" y="connsiteY31183"/>
              </a:cxn>
              <a:cxn ang="0">
                <a:pos x="connsiteX31184" y="connsiteY31184"/>
              </a:cxn>
              <a:cxn ang="0">
                <a:pos x="connsiteX31185" y="connsiteY31185"/>
              </a:cxn>
              <a:cxn ang="0">
                <a:pos x="connsiteX31186" y="connsiteY31186"/>
              </a:cxn>
              <a:cxn ang="0">
                <a:pos x="connsiteX31187" y="connsiteY31187"/>
              </a:cxn>
              <a:cxn ang="0">
                <a:pos x="connsiteX31188" y="connsiteY31188"/>
              </a:cxn>
              <a:cxn ang="0">
                <a:pos x="connsiteX31189" y="connsiteY31189"/>
              </a:cxn>
              <a:cxn ang="0">
                <a:pos x="connsiteX31190" y="connsiteY31190"/>
              </a:cxn>
              <a:cxn ang="0">
                <a:pos x="connsiteX31191" y="connsiteY31191"/>
              </a:cxn>
              <a:cxn ang="0">
                <a:pos x="connsiteX31192" y="connsiteY31192"/>
              </a:cxn>
              <a:cxn ang="0">
                <a:pos x="connsiteX31193" y="connsiteY31193"/>
              </a:cxn>
              <a:cxn ang="0">
                <a:pos x="connsiteX31194" y="connsiteY31194"/>
              </a:cxn>
              <a:cxn ang="0">
                <a:pos x="connsiteX31195" y="connsiteY31195"/>
              </a:cxn>
              <a:cxn ang="0">
                <a:pos x="connsiteX31196" y="connsiteY31196"/>
              </a:cxn>
              <a:cxn ang="0">
                <a:pos x="connsiteX31197" y="connsiteY31197"/>
              </a:cxn>
              <a:cxn ang="0">
                <a:pos x="connsiteX31198" y="connsiteY31198"/>
              </a:cxn>
              <a:cxn ang="0">
                <a:pos x="connsiteX31199" y="connsiteY31199"/>
              </a:cxn>
              <a:cxn ang="0">
                <a:pos x="connsiteX31200" y="connsiteY31200"/>
              </a:cxn>
              <a:cxn ang="0">
                <a:pos x="connsiteX31201" y="connsiteY31201"/>
              </a:cxn>
              <a:cxn ang="0">
                <a:pos x="connsiteX31202" y="connsiteY31202"/>
              </a:cxn>
              <a:cxn ang="0">
                <a:pos x="connsiteX31203" y="connsiteY31203"/>
              </a:cxn>
              <a:cxn ang="0">
                <a:pos x="connsiteX31204" y="connsiteY31204"/>
              </a:cxn>
              <a:cxn ang="0">
                <a:pos x="connsiteX31205" y="connsiteY31205"/>
              </a:cxn>
              <a:cxn ang="0">
                <a:pos x="connsiteX31206" y="connsiteY31206"/>
              </a:cxn>
              <a:cxn ang="0">
                <a:pos x="connsiteX31207" y="connsiteY31207"/>
              </a:cxn>
              <a:cxn ang="0">
                <a:pos x="connsiteX31208" y="connsiteY31208"/>
              </a:cxn>
              <a:cxn ang="0">
                <a:pos x="connsiteX31209" y="connsiteY31209"/>
              </a:cxn>
              <a:cxn ang="0">
                <a:pos x="connsiteX31210" y="connsiteY31210"/>
              </a:cxn>
              <a:cxn ang="0">
                <a:pos x="connsiteX31211" y="connsiteY31211"/>
              </a:cxn>
              <a:cxn ang="0">
                <a:pos x="connsiteX31212" y="connsiteY31212"/>
              </a:cxn>
              <a:cxn ang="0">
                <a:pos x="connsiteX31213" y="connsiteY31213"/>
              </a:cxn>
              <a:cxn ang="0">
                <a:pos x="connsiteX31214" y="connsiteY31214"/>
              </a:cxn>
              <a:cxn ang="0">
                <a:pos x="connsiteX31215" y="connsiteY31215"/>
              </a:cxn>
              <a:cxn ang="0">
                <a:pos x="connsiteX31216" y="connsiteY31216"/>
              </a:cxn>
              <a:cxn ang="0">
                <a:pos x="connsiteX31217" y="connsiteY31217"/>
              </a:cxn>
              <a:cxn ang="0">
                <a:pos x="connsiteX31218" y="connsiteY31218"/>
              </a:cxn>
              <a:cxn ang="0">
                <a:pos x="connsiteX31219" y="connsiteY31219"/>
              </a:cxn>
              <a:cxn ang="0">
                <a:pos x="connsiteX31220" y="connsiteY31220"/>
              </a:cxn>
              <a:cxn ang="0">
                <a:pos x="connsiteX31221" y="connsiteY31221"/>
              </a:cxn>
              <a:cxn ang="0">
                <a:pos x="connsiteX31222" y="connsiteY31222"/>
              </a:cxn>
              <a:cxn ang="0">
                <a:pos x="connsiteX31223" y="connsiteY31223"/>
              </a:cxn>
              <a:cxn ang="0">
                <a:pos x="connsiteX31224" y="connsiteY31224"/>
              </a:cxn>
              <a:cxn ang="0">
                <a:pos x="connsiteX31225" y="connsiteY31225"/>
              </a:cxn>
              <a:cxn ang="0">
                <a:pos x="connsiteX31226" y="connsiteY31226"/>
              </a:cxn>
              <a:cxn ang="0">
                <a:pos x="connsiteX31227" y="connsiteY31227"/>
              </a:cxn>
              <a:cxn ang="0">
                <a:pos x="connsiteX31228" y="connsiteY31228"/>
              </a:cxn>
              <a:cxn ang="0">
                <a:pos x="connsiteX31229" y="connsiteY31229"/>
              </a:cxn>
              <a:cxn ang="0">
                <a:pos x="connsiteX31230" y="connsiteY31230"/>
              </a:cxn>
              <a:cxn ang="0">
                <a:pos x="connsiteX31231" y="connsiteY31231"/>
              </a:cxn>
              <a:cxn ang="0">
                <a:pos x="connsiteX31232" y="connsiteY31232"/>
              </a:cxn>
              <a:cxn ang="0">
                <a:pos x="connsiteX31233" y="connsiteY31233"/>
              </a:cxn>
              <a:cxn ang="0">
                <a:pos x="connsiteX31234" y="connsiteY31234"/>
              </a:cxn>
              <a:cxn ang="0">
                <a:pos x="connsiteX31235" y="connsiteY31235"/>
              </a:cxn>
              <a:cxn ang="0">
                <a:pos x="connsiteX31236" y="connsiteY31236"/>
              </a:cxn>
              <a:cxn ang="0">
                <a:pos x="connsiteX31237" y="connsiteY31237"/>
              </a:cxn>
              <a:cxn ang="0">
                <a:pos x="connsiteX31238" y="connsiteY31238"/>
              </a:cxn>
              <a:cxn ang="0">
                <a:pos x="connsiteX31239" y="connsiteY31239"/>
              </a:cxn>
              <a:cxn ang="0">
                <a:pos x="connsiteX31240" y="connsiteY31240"/>
              </a:cxn>
              <a:cxn ang="0">
                <a:pos x="connsiteX31241" y="connsiteY31241"/>
              </a:cxn>
              <a:cxn ang="0">
                <a:pos x="connsiteX31242" y="connsiteY31242"/>
              </a:cxn>
              <a:cxn ang="0">
                <a:pos x="connsiteX31243" y="connsiteY31243"/>
              </a:cxn>
              <a:cxn ang="0">
                <a:pos x="connsiteX31244" y="connsiteY31244"/>
              </a:cxn>
              <a:cxn ang="0">
                <a:pos x="connsiteX31245" y="connsiteY31245"/>
              </a:cxn>
              <a:cxn ang="0">
                <a:pos x="connsiteX31246" y="connsiteY31246"/>
              </a:cxn>
              <a:cxn ang="0">
                <a:pos x="connsiteX31247" y="connsiteY31247"/>
              </a:cxn>
              <a:cxn ang="0">
                <a:pos x="connsiteX31248" y="connsiteY31248"/>
              </a:cxn>
              <a:cxn ang="0">
                <a:pos x="connsiteX31249" y="connsiteY31249"/>
              </a:cxn>
              <a:cxn ang="0">
                <a:pos x="connsiteX31250" y="connsiteY31250"/>
              </a:cxn>
              <a:cxn ang="0">
                <a:pos x="connsiteX31251" y="connsiteY31251"/>
              </a:cxn>
              <a:cxn ang="0">
                <a:pos x="connsiteX31252" y="connsiteY31252"/>
              </a:cxn>
              <a:cxn ang="0">
                <a:pos x="connsiteX31253" y="connsiteY31253"/>
              </a:cxn>
              <a:cxn ang="0">
                <a:pos x="connsiteX31254" y="connsiteY31254"/>
              </a:cxn>
              <a:cxn ang="0">
                <a:pos x="connsiteX31255" y="connsiteY31255"/>
              </a:cxn>
              <a:cxn ang="0">
                <a:pos x="connsiteX31256" y="connsiteY31256"/>
              </a:cxn>
              <a:cxn ang="0">
                <a:pos x="connsiteX31257" y="connsiteY31257"/>
              </a:cxn>
              <a:cxn ang="0">
                <a:pos x="connsiteX31258" y="connsiteY31258"/>
              </a:cxn>
              <a:cxn ang="0">
                <a:pos x="connsiteX31259" y="connsiteY31259"/>
              </a:cxn>
              <a:cxn ang="0">
                <a:pos x="connsiteX31260" y="connsiteY31260"/>
              </a:cxn>
              <a:cxn ang="0">
                <a:pos x="connsiteX31261" y="connsiteY31261"/>
              </a:cxn>
              <a:cxn ang="0">
                <a:pos x="connsiteX31262" y="connsiteY31262"/>
              </a:cxn>
              <a:cxn ang="0">
                <a:pos x="connsiteX31263" y="connsiteY31263"/>
              </a:cxn>
              <a:cxn ang="0">
                <a:pos x="connsiteX31264" y="connsiteY31264"/>
              </a:cxn>
              <a:cxn ang="0">
                <a:pos x="connsiteX31265" y="connsiteY31265"/>
              </a:cxn>
              <a:cxn ang="0">
                <a:pos x="connsiteX31266" y="connsiteY31266"/>
              </a:cxn>
              <a:cxn ang="0">
                <a:pos x="connsiteX31267" y="connsiteY31267"/>
              </a:cxn>
              <a:cxn ang="0">
                <a:pos x="connsiteX31268" y="connsiteY31268"/>
              </a:cxn>
              <a:cxn ang="0">
                <a:pos x="connsiteX31269" y="connsiteY31269"/>
              </a:cxn>
              <a:cxn ang="0">
                <a:pos x="connsiteX31270" y="connsiteY31270"/>
              </a:cxn>
              <a:cxn ang="0">
                <a:pos x="connsiteX31271" y="connsiteY31271"/>
              </a:cxn>
              <a:cxn ang="0">
                <a:pos x="connsiteX31272" y="connsiteY31272"/>
              </a:cxn>
              <a:cxn ang="0">
                <a:pos x="connsiteX31273" y="connsiteY31273"/>
              </a:cxn>
              <a:cxn ang="0">
                <a:pos x="connsiteX31274" y="connsiteY31274"/>
              </a:cxn>
              <a:cxn ang="0">
                <a:pos x="connsiteX31275" y="connsiteY31275"/>
              </a:cxn>
              <a:cxn ang="0">
                <a:pos x="connsiteX31276" y="connsiteY31276"/>
              </a:cxn>
              <a:cxn ang="0">
                <a:pos x="connsiteX31277" y="connsiteY31277"/>
              </a:cxn>
              <a:cxn ang="0">
                <a:pos x="connsiteX31278" y="connsiteY31278"/>
              </a:cxn>
              <a:cxn ang="0">
                <a:pos x="connsiteX31279" y="connsiteY31279"/>
              </a:cxn>
              <a:cxn ang="0">
                <a:pos x="connsiteX31280" y="connsiteY31280"/>
              </a:cxn>
              <a:cxn ang="0">
                <a:pos x="connsiteX31281" y="connsiteY31281"/>
              </a:cxn>
              <a:cxn ang="0">
                <a:pos x="connsiteX31282" y="connsiteY31282"/>
              </a:cxn>
              <a:cxn ang="0">
                <a:pos x="connsiteX31283" y="connsiteY31283"/>
              </a:cxn>
              <a:cxn ang="0">
                <a:pos x="connsiteX31284" y="connsiteY31284"/>
              </a:cxn>
              <a:cxn ang="0">
                <a:pos x="connsiteX31285" y="connsiteY31285"/>
              </a:cxn>
              <a:cxn ang="0">
                <a:pos x="connsiteX31286" y="connsiteY31286"/>
              </a:cxn>
              <a:cxn ang="0">
                <a:pos x="connsiteX31287" y="connsiteY31287"/>
              </a:cxn>
              <a:cxn ang="0">
                <a:pos x="connsiteX31288" y="connsiteY31288"/>
              </a:cxn>
              <a:cxn ang="0">
                <a:pos x="connsiteX31289" y="connsiteY31289"/>
              </a:cxn>
              <a:cxn ang="0">
                <a:pos x="connsiteX31290" y="connsiteY31290"/>
              </a:cxn>
              <a:cxn ang="0">
                <a:pos x="connsiteX31291" y="connsiteY31291"/>
              </a:cxn>
              <a:cxn ang="0">
                <a:pos x="connsiteX31292" y="connsiteY31292"/>
              </a:cxn>
              <a:cxn ang="0">
                <a:pos x="connsiteX31293" y="connsiteY31293"/>
              </a:cxn>
              <a:cxn ang="0">
                <a:pos x="connsiteX31294" y="connsiteY31294"/>
              </a:cxn>
              <a:cxn ang="0">
                <a:pos x="connsiteX31295" y="connsiteY31295"/>
              </a:cxn>
              <a:cxn ang="0">
                <a:pos x="connsiteX31296" y="connsiteY31296"/>
              </a:cxn>
              <a:cxn ang="0">
                <a:pos x="connsiteX31297" y="connsiteY31297"/>
              </a:cxn>
              <a:cxn ang="0">
                <a:pos x="connsiteX31298" y="connsiteY31298"/>
              </a:cxn>
              <a:cxn ang="0">
                <a:pos x="connsiteX31299" y="connsiteY31299"/>
              </a:cxn>
              <a:cxn ang="0">
                <a:pos x="connsiteX31300" y="connsiteY31300"/>
              </a:cxn>
              <a:cxn ang="0">
                <a:pos x="connsiteX31301" y="connsiteY31301"/>
              </a:cxn>
              <a:cxn ang="0">
                <a:pos x="connsiteX31302" y="connsiteY31302"/>
              </a:cxn>
              <a:cxn ang="0">
                <a:pos x="connsiteX31303" y="connsiteY31303"/>
              </a:cxn>
              <a:cxn ang="0">
                <a:pos x="connsiteX31304" y="connsiteY31304"/>
              </a:cxn>
              <a:cxn ang="0">
                <a:pos x="connsiteX31305" y="connsiteY31305"/>
              </a:cxn>
              <a:cxn ang="0">
                <a:pos x="connsiteX31306" y="connsiteY31306"/>
              </a:cxn>
              <a:cxn ang="0">
                <a:pos x="connsiteX31307" y="connsiteY31307"/>
              </a:cxn>
              <a:cxn ang="0">
                <a:pos x="connsiteX31308" y="connsiteY31308"/>
              </a:cxn>
              <a:cxn ang="0">
                <a:pos x="connsiteX31309" y="connsiteY31309"/>
              </a:cxn>
              <a:cxn ang="0">
                <a:pos x="connsiteX31310" y="connsiteY31310"/>
              </a:cxn>
              <a:cxn ang="0">
                <a:pos x="connsiteX31311" y="connsiteY31311"/>
              </a:cxn>
              <a:cxn ang="0">
                <a:pos x="connsiteX31312" y="connsiteY31312"/>
              </a:cxn>
              <a:cxn ang="0">
                <a:pos x="connsiteX31313" y="connsiteY31313"/>
              </a:cxn>
              <a:cxn ang="0">
                <a:pos x="connsiteX31314" y="connsiteY31314"/>
              </a:cxn>
              <a:cxn ang="0">
                <a:pos x="connsiteX31315" y="connsiteY31315"/>
              </a:cxn>
              <a:cxn ang="0">
                <a:pos x="connsiteX31316" y="connsiteY31316"/>
              </a:cxn>
              <a:cxn ang="0">
                <a:pos x="connsiteX31317" y="connsiteY31317"/>
              </a:cxn>
              <a:cxn ang="0">
                <a:pos x="connsiteX31318" y="connsiteY31318"/>
              </a:cxn>
              <a:cxn ang="0">
                <a:pos x="connsiteX31319" y="connsiteY31319"/>
              </a:cxn>
              <a:cxn ang="0">
                <a:pos x="connsiteX31320" y="connsiteY31320"/>
              </a:cxn>
              <a:cxn ang="0">
                <a:pos x="connsiteX31321" y="connsiteY31321"/>
              </a:cxn>
              <a:cxn ang="0">
                <a:pos x="connsiteX31322" y="connsiteY31322"/>
              </a:cxn>
              <a:cxn ang="0">
                <a:pos x="connsiteX31323" y="connsiteY31323"/>
              </a:cxn>
              <a:cxn ang="0">
                <a:pos x="connsiteX31324" y="connsiteY31324"/>
              </a:cxn>
              <a:cxn ang="0">
                <a:pos x="connsiteX31325" y="connsiteY31325"/>
              </a:cxn>
              <a:cxn ang="0">
                <a:pos x="connsiteX31326" y="connsiteY31326"/>
              </a:cxn>
              <a:cxn ang="0">
                <a:pos x="connsiteX31327" y="connsiteY31327"/>
              </a:cxn>
              <a:cxn ang="0">
                <a:pos x="connsiteX31328" y="connsiteY31328"/>
              </a:cxn>
              <a:cxn ang="0">
                <a:pos x="connsiteX31329" y="connsiteY31329"/>
              </a:cxn>
              <a:cxn ang="0">
                <a:pos x="connsiteX31330" y="connsiteY31330"/>
              </a:cxn>
              <a:cxn ang="0">
                <a:pos x="connsiteX31331" y="connsiteY31331"/>
              </a:cxn>
              <a:cxn ang="0">
                <a:pos x="connsiteX31332" y="connsiteY31332"/>
              </a:cxn>
              <a:cxn ang="0">
                <a:pos x="connsiteX31333" y="connsiteY31333"/>
              </a:cxn>
              <a:cxn ang="0">
                <a:pos x="connsiteX31334" y="connsiteY31334"/>
              </a:cxn>
              <a:cxn ang="0">
                <a:pos x="connsiteX31335" y="connsiteY31335"/>
              </a:cxn>
              <a:cxn ang="0">
                <a:pos x="connsiteX31336" y="connsiteY31336"/>
              </a:cxn>
              <a:cxn ang="0">
                <a:pos x="connsiteX31337" y="connsiteY31337"/>
              </a:cxn>
              <a:cxn ang="0">
                <a:pos x="connsiteX31338" y="connsiteY31338"/>
              </a:cxn>
              <a:cxn ang="0">
                <a:pos x="connsiteX31339" y="connsiteY31339"/>
              </a:cxn>
              <a:cxn ang="0">
                <a:pos x="connsiteX31340" y="connsiteY31340"/>
              </a:cxn>
              <a:cxn ang="0">
                <a:pos x="connsiteX31341" y="connsiteY31341"/>
              </a:cxn>
              <a:cxn ang="0">
                <a:pos x="connsiteX31342" y="connsiteY31342"/>
              </a:cxn>
              <a:cxn ang="0">
                <a:pos x="connsiteX31343" y="connsiteY31343"/>
              </a:cxn>
              <a:cxn ang="0">
                <a:pos x="connsiteX31344" y="connsiteY31344"/>
              </a:cxn>
              <a:cxn ang="0">
                <a:pos x="connsiteX31345" y="connsiteY31345"/>
              </a:cxn>
              <a:cxn ang="0">
                <a:pos x="connsiteX31346" y="connsiteY31346"/>
              </a:cxn>
              <a:cxn ang="0">
                <a:pos x="connsiteX31347" y="connsiteY31347"/>
              </a:cxn>
              <a:cxn ang="0">
                <a:pos x="connsiteX31348" y="connsiteY31348"/>
              </a:cxn>
              <a:cxn ang="0">
                <a:pos x="connsiteX31349" y="connsiteY31349"/>
              </a:cxn>
              <a:cxn ang="0">
                <a:pos x="connsiteX31350" y="connsiteY31350"/>
              </a:cxn>
              <a:cxn ang="0">
                <a:pos x="connsiteX31351" y="connsiteY31351"/>
              </a:cxn>
              <a:cxn ang="0">
                <a:pos x="connsiteX31352" y="connsiteY31352"/>
              </a:cxn>
              <a:cxn ang="0">
                <a:pos x="connsiteX31353" y="connsiteY31353"/>
              </a:cxn>
              <a:cxn ang="0">
                <a:pos x="connsiteX31354" y="connsiteY31354"/>
              </a:cxn>
              <a:cxn ang="0">
                <a:pos x="connsiteX31355" y="connsiteY31355"/>
              </a:cxn>
              <a:cxn ang="0">
                <a:pos x="connsiteX31356" y="connsiteY31356"/>
              </a:cxn>
              <a:cxn ang="0">
                <a:pos x="connsiteX31357" y="connsiteY31357"/>
              </a:cxn>
              <a:cxn ang="0">
                <a:pos x="connsiteX31358" y="connsiteY31358"/>
              </a:cxn>
              <a:cxn ang="0">
                <a:pos x="connsiteX31359" y="connsiteY31359"/>
              </a:cxn>
              <a:cxn ang="0">
                <a:pos x="connsiteX31360" y="connsiteY31360"/>
              </a:cxn>
              <a:cxn ang="0">
                <a:pos x="connsiteX31361" y="connsiteY31361"/>
              </a:cxn>
              <a:cxn ang="0">
                <a:pos x="connsiteX31362" y="connsiteY31362"/>
              </a:cxn>
              <a:cxn ang="0">
                <a:pos x="connsiteX31363" y="connsiteY31363"/>
              </a:cxn>
              <a:cxn ang="0">
                <a:pos x="connsiteX31364" y="connsiteY31364"/>
              </a:cxn>
              <a:cxn ang="0">
                <a:pos x="connsiteX31365" y="connsiteY31365"/>
              </a:cxn>
              <a:cxn ang="0">
                <a:pos x="connsiteX31366" y="connsiteY31366"/>
              </a:cxn>
              <a:cxn ang="0">
                <a:pos x="connsiteX31367" y="connsiteY31367"/>
              </a:cxn>
              <a:cxn ang="0">
                <a:pos x="connsiteX31368" y="connsiteY31368"/>
              </a:cxn>
              <a:cxn ang="0">
                <a:pos x="connsiteX31369" y="connsiteY31369"/>
              </a:cxn>
              <a:cxn ang="0">
                <a:pos x="connsiteX31370" y="connsiteY31370"/>
              </a:cxn>
              <a:cxn ang="0">
                <a:pos x="connsiteX31371" y="connsiteY31371"/>
              </a:cxn>
              <a:cxn ang="0">
                <a:pos x="connsiteX31372" y="connsiteY31372"/>
              </a:cxn>
              <a:cxn ang="0">
                <a:pos x="connsiteX31373" y="connsiteY31373"/>
              </a:cxn>
              <a:cxn ang="0">
                <a:pos x="connsiteX31374" y="connsiteY31374"/>
              </a:cxn>
              <a:cxn ang="0">
                <a:pos x="connsiteX31375" y="connsiteY31375"/>
              </a:cxn>
              <a:cxn ang="0">
                <a:pos x="connsiteX31376" y="connsiteY31376"/>
              </a:cxn>
              <a:cxn ang="0">
                <a:pos x="connsiteX31377" y="connsiteY31377"/>
              </a:cxn>
              <a:cxn ang="0">
                <a:pos x="connsiteX31378" y="connsiteY31378"/>
              </a:cxn>
              <a:cxn ang="0">
                <a:pos x="connsiteX31379" y="connsiteY31379"/>
              </a:cxn>
              <a:cxn ang="0">
                <a:pos x="connsiteX31380" y="connsiteY31380"/>
              </a:cxn>
              <a:cxn ang="0">
                <a:pos x="connsiteX31381" y="connsiteY31381"/>
              </a:cxn>
              <a:cxn ang="0">
                <a:pos x="connsiteX31382" y="connsiteY31382"/>
              </a:cxn>
              <a:cxn ang="0">
                <a:pos x="connsiteX31383" y="connsiteY31383"/>
              </a:cxn>
              <a:cxn ang="0">
                <a:pos x="connsiteX31384" y="connsiteY31384"/>
              </a:cxn>
              <a:cxn ang="0">
                <a:pos x="connsiteX31385" y="connsiteY31385"/>
              </a:cxn>
              <a:cxn ang="0">
                <a:pos x="connsiteX31386" y="connsiteY31386"/>
              </a:cxn>
              <a:cxn ang="0">
                <a:pos x="connsiteX31387" y="connsiteY31387"/>
              </a:cxn>
              <a:cxn ang="0">
                <a:pos x="connsiteX31388" y="connsiteY31388"/>
              </a:cxn>
              <a:cxn ang="0">
                <a:pos x="connsiteX31389" y="connsiteY31389"/>
              </a:cxn>
              <a:cxn ang="0">
                <a:pos x="connsiteX31390" y="connsiteY31390"/>
              </a:cxn>
              <a:cxn ang="0">
                <a:pos x="connsiteX31391" y="connsiteY31391"/>
              </a:cxn>
              <a:cxn ang="0">
                <a:pos x="connsiteX31392" y="connsiteY31392"/>
              </a:cxn>
              <a:cxn ang="0">
                <a:pos x="connsiteX31393" y="connsiteY31393"/>
              </a:cxn>
              <a:cxn ang="0">
                <a:pos x="connsiteX31394" y="connsiteY31394"/>
              </a:cxn>
              <a:cxn ang="0">
                <a:pos x="connsiteX31395" y="connsiteY31395"/>
              </a:cxn>
              <a:cxn ang="0">
                <a:pos x="connsiteX31396" y="connsiteY31396"/>
              </a:cxn>
              <a:cxn ang="0">
                <a:pos x="connsiteX31397" y="connsiteY31397"/>
              </a:cxn>
              <a:cxn ang="0">
                <a:pos x="connsiteX31398" y="connsiteY31398"/>
              </a:cxn>
              <a:cxn ang="0">
                <a:pos x="connsiteX31399" y="connsiteY31399"/>
              </a:cxn>
              <a:cxn ang="0">
                <a:pos x="connsiteX31400" y="connsiteY31400"/>
              </a:cxn>
              <a:cxn ang="0">
                <a:pos x="connsiteX31401" y="connsiteY31401"/>
              </a:cxn>
              <a:cxn ang="0">
                <a:pos x="connsiteX31402" y="connsiteY31402"/>
              </a:cxn>
              <a:cxn ang="0">
                <a:pos x="connsiteX31403" y="connsiteY31403"/>
              </a:cxn>
              <a:cxn ang="0">
                <a:pos x="connsiteX31404" y="connsiteY31404"/>
              </a:cxn>
              <a:cxn ang="0">
                <a:pos x="connsiteX31405" y="connsiteY31405"/>
              </a:cxn>
              <a:cxn ang="0">
                <a:pos x="connsiteX31406" y="connsiteY31406"/>
              </a:cxn>
              <a:cxn ang="0">
                <a:pos x="connsiteX31407" y="connsiteY31407"/>
              </a:cxn>
              <a:cxn ang="0">
                <a:pos x="connsiteX31408" y="connsiteY31408"/>
              </a:cxn>
              <a:cxn ang="0">
                <a:pos x="connsiteX31409" y="connsiteY31409"/>
              </a:cxn>
              <a:cxn ang="0">
                <a:pos x="connsiteX31410" y="connsiteY31410"/>
              </a:cxn>
              <a:cxn ang="0">
                <a:pos x="connsiteX31411" y="connsiteY31411"/>
              </a:cxn>
              <a:cxn ang="0">
                <a:pos x="connsiteX31412" y="connsiteY31412"/>
              </a:cxn>
              <a:cxn ang="0">
                <a:pos x="connsiteX31413" y="connsiteY31413"/>
              </a:cxn>
              <a:cxn ang="0">
                <a:pos x="connsiteX31414" y="connsiteY31414"/>
              </a:cxn>
              <a:cxn ang="0">
                <a:pos x="connsiteX31415" y="connsiteY31415"/>
              </a:cxn>
              <a:cxn ang="0">
                <a:pos x="connsiteX31416" y="connsiteY31416"/>
              </a:cxn>
              <a:cxn ang="0">
                <a:pos x="connsiteX31417" y="connsiteY31417"/>
              </a:cxn>
              <a:cxn ang="0">
                <a:pos x="connsiteX31418" y="connsiteY31418"/>
              </a:cxn>
              <a:cxn ang="0">
                <a:pos x="connsiteX31419" y="connsiteY31419"/>
              </a:cxn>
              <a:cxn ang="0">
                <a:pos x="connsiteX31420" y="connsiteY31420"/>
              </a:cxn>
              <a:cxn ang="0">
                <a:pos x="connsiteX31421" y="connsiteY31421"/>
              </a:cxn>
              <a:cxn ang="0">
                <a:pos x="connsiteX31422" y="connsiteY31422"/>
              </a:cxn>
              <a:cxn ang="0">
                <a:pos x="connsiteX31423" y="connsiteY31423"/>
              </a:cxn>
              <a:cxn ang="0">
                <a:pos x="connsiteX31424" y="connsiteY31424"/>
              </a:cxn>
              <a:cxn ang="0">
                <a:pos x="connsiteX31425" y="connsiteY31425"/>
              </a:cxn>
              <a:cxn ang="0">
                <a:pos x="connsiteX31426" y="connsiteY31426"/>
              </a:cxn>
              <a:cxn ang="0">
                <a:pos x="connsiteX31427" y="connsiteY31427"/>
              </a:cxn>
              <a:cxn ang="0">
                <a:pos x="connsiteX31428" y="connsiteY31428"/>
              </a:cxn>
              <a:cxn ang="0">
                <a:pos x="connsiteX31429" y="connsiteY31429"/>
              </a:cxn>
              <a:cxn ang="0">
                <a:pos x="connsiteX31430" y="connsiteY31430"/>
              </a:cxn>
              <a:cxn ang="0">
                <a:pos x="connsiteX31431" y="connsiteY31431"/>
              </a:cxn>
              <a:cxn ang="0">
                <a:pos x="connsiteX31432" y="connsiteY31432"/>
              </a:cxn>
              <a:cxn ang="0">
                <a:pos x="connsiteX31433" y="connsiteY31433"/>
              </a:cxn>
              <a:cxn ang="0">
                <a:pos x="connsiteX31434" y="connsiteY31434"/>
              </a:cxn>
              <a:cxn ang="0">
                <a:pos x="connsiteX31435" y="connsiteY31435"/>
              </a:cxn>
              <a:cxn ang="0">
                <a:pos x="connsiteX31436" y="connsiteY31436"/>
              </a:cxn>
              <a:cxn ang="0">
                <a:pos x="connsiteX31437" y="connsiteY31437"/>
              </a:cxn>
              <a:cxn ang="0">
                <a:pos x="connsiteX31438" y="connsiteY31438"/>
              </a:cxn>
              <a:cxn ang="0">
                <a:pos x="connsiteX31439" y="connsiteY31439"/>
              </a:cxn>
              <a:cxn ang="0">
                <a:pos x="connsiteX31440" y="connsiteY31440"/>
              </a:cxn>
              <a:cxn ang="0">
                <a:pos x="connsiteX31441" y="connsiteY31441"/>
              </a:cxn>
              <a:cxn ang="0">
                <a:pos x="connsiteX31442" y="connsiteY31442"/>
              </a:cxn>
              <a:cxn ang="0">
                <a:pos x="connsiteX31443" y="connsiteY31443"/>
              </a:cxn>
              <a:cxn ang="0">
                <a:pos x="connsiteX31444" y="connsiteY31444"/>
              </a:cxn>
              <a:cxn ang="0">
                <a:pos x="connsiteX31445" y="connsiteY31445"/>
              </a:cxn>
              <a:cxn ang="0">
                <a:pos x="connsiteX31446" y="connsiteY31446"/>
              </a:cxn>
              <a:cxn ang="0">
                <a:pos x="connsiteX31447" y="connsiteY31447"/>
              </a:cxn>
              <a:cxn ang="0">
                <a:pos x="connsiteX31448" y="connsiteY31448"/>
              </a:cxn>
              <a:cxn ang="0">
                <a:pos x="connsiteX31449" y="connsiteY31449"/>
              </a:cxn>
              <a:cxn ang="0">
                <a:pos x="connsiteX31450" y="connsiteY31450"/>
              </a:cxn>
              <a:cxn ang="0">
                <a:pos x="connsiteX31451" y="connsiteY31451"/>
              </a:cxn>
              <a:cxn ang="0">
                <a:pos x="connsiteX31452" y="connsiteY31452"/>
              </a:cxn>
              <a:cxn ang="0">
                <a:pos x="connsiteX31453" y="connsiteY31453"/>
              </a:cxn>
              <a:cxn ang="0">
                <a:pos x="connsiteX31454" y="connsiteY31454"/>
              </a:cxn>
              <a:cxn ang="0">
                <a:pos x="connsiteX31455" y="connsiteY31455"/>
              </a:cxn>
              <a:cxn ang="0">
                <a:pos x="connsiteX31456" y="connsiteY31456"/>
              </a:cxn>
              <a:cxn ang="0">
                <a:pos x="connsiteX31457" y="connsiteY31457"/>
              </a:cxn>
              <a:cxn ang="0">
                <a:pos x="connsiteX31458" y="connsiteY31458"/>
              </a:cxn>
              <a:cxn ang="0">
                <a:pos x="connsiteX31459" y="connsiteY31459"/>
              </a:cxn>
              <a:cxn ang="0">
                <a:pos x="connsiteX31460" y="connsiteY31460"/>
              </a:cxn>
              <a:cxn ang="0">
                <a:pos x="connsiteX31461" y="connsiteY31461"/>
              </a:cxn>
              <a:cxn ang="0">
                <a:pos x="connsiteX31462" y="connsiteY31462"/>
              </a:cxn>
              <a:cxn ang="0">
                <a:pos x="connsiteX31463" y="connsiteY31463"/>
              </a:cxn>
              <a:cxn ang="0">
                <a:pos x="connsiteX31464" y="connsiteY31464"/>
              </a:cxn>
              <a:cxn ang="0">
                <a:pos x="connsiteX31465" y="connsiteY31465"/>
              </a:cxn>
              <a:cxn ang="0">
                <a:pos x="connsiteX31466" y="connsiteY31466"/>
              </a:cxn>
              <a:cxn ang="0">
                <a:pos x="connsiteX31467" y="connsiteY31467"/>
              </a:cxn>
              <a:cxn ang="0">
                <a:pos x="connsiteX31468" y="connsiteY31468"/>
              </a:cxn>
              <a:cxn ang="0">
                <a:pos x="connsiteX31469" y="connsiteY31469"/>
              </a:cxn>
              <a:cxn ang="0">
                <a:pos x="connsiteX31470" y="connsiteY31470"/>
              </a:cxn>
              <a:cxn ang="0">
                <a:pos x="connsiteX31471" y="connsiteY31471"/>
              </a:cxn>
              <a:cxn ang="0">
                <a:pos x="connsiteX31472" y="connsiteY31472"/>
              </a:cxn>
              <a:cxn ang="0">
                <a:pos x="connsiteX31473" y="connsiteY31473"/>
              </a:cxn>
              <a:cxn ang="0">
                <a:pos x="connsiteX31474" y="connsiteY31474"/>
              </a:cxn>
              <a:cxn ang="0">
                <a:pos x="connsiteX31475" y="connsiteY31475"/>
              </a:cxn>
              <a:cxn ang="0">
                <a:pos x="connsiteX31476" y="connsiteY31476"/>
              </a:cxn>
              <a:cxn ang="0">
                <a:pos x="connsiteX31477" y="connsiteY31477"/>
              </a:cxn>
              <a:cxn ang="0">
                <a:pos x="connsiteX31478" y="connsiteY31478"/>
              </a:cxn>
              <a:cxn ang="0">
                <a:pos x="connsiteX31479" y="connsiteY31479"/>
              </a:cxn>
              <a:cxn ang="0">
                <a:pos x="connsiteX31480" y="connsiteY31480"/>
              </a:cxn>
              <a:cxn ang="0">
                <a:pos x="connsiteX31481" y="connsiteY31481"/>
              </a:cxn>
              <a:cxn ang="0">
                <a:pos x="connsiteX31482" y="connsiteY31482"/>
              </a:cxn>
              <a:cxn ang="0">
                <a:pos x="connsiteX31483" y="connsiteY31483"/>
              </a:cxn>
              <a:cxn ang="0">
                <a:pos x="connsiteX31484" y="connsiteY31484"/>
              </a:cxn>
              <a:cxn ang="0">
                <a:pos x="connsiteX31485" y="connsiteY31485"/>
              </a:cxn>
              <a:cxn ang="0">
                <a:pos x="connsiteX31486" y="connsiteY31486"/>
              </a:cxn>
              <a:cxn ang="0">
                <a:pos x="connsiteX31487" y="connsiteY31487"/>
              </a:cxn>
              <a:cxn ang="0">
                <a:pos x="connsiteX31488" y="connsiteY31488"/>
              </a:cxn>
              <a:cxn ang="0">
                <a:pos x="connsiteX31489" y="connsiteY31489"/>
              </a:cxn>
              <a:cxn ang="0">
                <a:pos x="connsiteX31490" y="connsiteY31490"/>
              </a:cxn>
              <a:cxn ang="0">
                <a:pos x="connsiteX31491" y="connsiteY31491"/>
              </a:cxn>
              <a:cxn ang="0">
                <a:pos x="connsiteX31492" y="connsiteY31492"/>
              </a:cxn>
              <a:cxn ang="0">
                <a:pos x="connsiteX31493" y="connsiteY31493"/>
              </a:cxn>
              <a:cxn ang="0">
                <a:pos x="connsiteX31494" y="connsiteY31494"/>
              </a:cxn>
              <a:cxn ang="0">
                <a:pos x="connsiteX31495" y="connsiteY31495"/>
              </a:cxn>
              <a:cxn ang="0">
                <a:pos x="connsiteX31496" y="connsiteY31496"/>
              </a:cxn>
              <a:cxn ang="0">
                <a:pos x="connsiteX31497" y="connsiteY31497"/>
              </a:cxn>
              <a:cxn ang="0">
                <a:pos x="connsiteX31498" y="connsiteY31498"/>
              </a:cxn>
              <a:cxn ang="0">
                <a:pos x="connsiteX31499" y="connsiteY31499"/>
              </a:cxn>
              <a:cxn ang="0">
                <a:pos x="connsiteX31500" y="connsiteY31500"/>
              </a:cxn>
              <a:cxn ang="0">
                <a:pos x="connsiteX31501" y="connsiteY31501"/>
              </a:cxn>
              <a:cxn ang="0">
                <a:pos x="connsiteX31502" y="connsiteY31502"/>
              </a:cxn>
              <a:cxn ang="0">
                <a:pos x="connsiteX31503" y="connsiteY31503"/>
              </a:cxn>
              <a:cxn ang="0">
                <a:pos x="connsiteX31504" y="connsiteY31504"/>
              </a:cxn>
              <a:cxn ang="0">
                <a:pos x="connsiteX31505" y="connsiteY31505"/>
              </a:cxn>
              <a:cxn ang="0">
                <a:pos x="connsiteX31506" y="connsiteY31506"/>
              </a:cxn>
              <a:cxn ang="0">
                <a:pos x="connsiteX31507" y="connsiteY31507"/>
              </a:cxn>
              <a:cxn ang="0">
                <a:pos x="connsiteX31508" y="connsiteY31508"/>
              </a:cxn>
              <a:cxn ang="0">
                <a:pos x="connsiteX31509" y="connsiteY31509"/>
              </a:cxn>
              <a:cxn ang="0">
                <a:pos x="connsiteX31510" y="connsiteY31510"/>
              </a:cxn>
              <a:cxn ang="0">
                <a:pos x="connsiteX31511" y="connsiteY31511"/>
              </a:cxn>
              <a:cxn ang="0">
                <a:pos x="connsiteX31512" y="connsiteY31512"/>
              </a:cxn>
              <a:cxn ang="0">
                <a:pos x="connsiteX31513" y="connsiteY31513"/>
              </a:cxn>
              <a:cxn ang="0">
                <a:pos x="connsiteX31514" y="connsiteY31514"/>
              </a:cxn>
              <a:cxn ang="0">
                <a:pos x="connsiteX31515" y="connsiteY31515"/>
              </a:cxn>
              <a:cxn ang="0">
                <a:pos x="connsiteX31516" y="connsiteY31516"/>
              </a:cxn>
              <a:cxn ang="0">
                <a:pos x="connsiteX31517" y="connsiteY31517"/>
              </a:cxn>
              <a:cxn ang="0">
                <a:pos x="connsiteX31518" y="connsiteY31518"/>
              </a:cxn>
              <a:cxn ang="0">
                <a:pos x="connsiteX31519" y="connsiteY31519"/>
              </a:cxn>
              <a:cxn ang="0">
                <a:pos x="connsiteX31520" y="connsiteY31520"/>
              </a:cxn>
              <a:cxn ang="0">
                <a:pos x="connsiteX31521" y="connsiteY31521"/>
              </a:cxn>
              <a:cxn ang="0">
                <a:pos x="connsiteX31522" y="connsiteY31522"/>
              </a:cxn>
              <a:cxn ang="0">
                <a:pos x="connsiteX31523" y="connsiteY31523"/>
              </a:cxn>
              <a:cxn ang="0">
                <a:pos x="connsiteX31524" y="connsiteY31524"/>
              </a:cxn>
              <a:cxn ang="0">
                <a:pos x="connsiteX31525" y="connsiteY31525"/>
              </a:cxn>
              <a:cxn ang="0">
                <a:pos x="connsiteX31526" y="connsiteY31526"/>
              </a:cxn>
              <a:cxn ang="0">
                <a:pos x="connsiteX31527" y="connsiteY31527"/>
              </a:cxn>
              <a:cxn ang="0">
                <a:pos x="connsiteX31528" y="connsiteY31528"/>
              </a:cxn>
              <a:cxn ang="0">
                <a:pos x="connsiteX31529" y="connsiteY31529"/>
              </a:cxn>
              <a:cxn ang="0">
                <a:pos x="connsiteX31530" y="connsiteY31530"/>
              </a:cxn>
              <a:cxn ang="0">
                <a:pos x="connsiteX31531" y="connsiteY31531"/>
              </a:cxn>
              <a:cxn ang="0">
                <a:pos x="connsiteX31532" y="connsiteY31532"/>
              </a:cxn>
              <a:cxn ang="0">
                <a:pos x="connsiteX31533" y="connsiteY31533"/>
              </a:cxn>
              <a:cxn ang="0">
                <a:pos x="connsiteX31534" y="connsiteY31534"/>
              </a:cxn>
              <a:cxn ang="0">
                <a:pos x="connsiteX31535" y="connsiteY31535"/>
              </a:cxn>
              <a:cxn ang="0">
                <a:pos x="connsiteX31536" y="connsiteY31536"/>
              </a:cxn>
              <a:cxn ang="0">
                <a:pos x="connsiteX31537" y="connsiteY31537"/>
              </a:cxn>
              <a:cxn ang="0">
                <a:pos x="connsiteX31538" y="connsiteY31538"/>
              </a:cxn>
              <a:cxn ang="0">
                <a:pos x="connsiteX31539" y="connsiteY31539"/>
              </a:cxn>
              <a:cxn ang="0">
                <a:pos x="connsiteX31540" y="connsiteY31540"/>
              </a:cxn>
              <a:cxn ang="0">
                <a:pos x="connsiteX31541" y="connsiteY31541"/>
              </a:cxn>
              <a:cxn ang="0">
                <a:pos x="connsiteX31542" y="connsiteY31542"/>
              </a:cxn>
              <a:cxn ang="0">
                <a:pos x="connsiteX31543" y="connsiteY31543"/>
              </a:cxn>
              <a:cxn ang="0">
                <a:pos x="connsiteX31544" y="connsiteY31544"/>
              </a:cxn>
              <a:cxn ang="0">
                <a:pos x="connsiteX31545" y="connsiteY31545"/>
              </a:cxn>
              <a:cxn ang="0">
                <a:pos x="connsiteX31546" y="connsiteY31546"/>
              </a:cxn>
              <a:cxn ang="0">
                <a:pos x="connsiteX31547" y="connsiteY31547"/>
              </a:cxn>
              <a:cxn ang="0">
                <a:pos x="connsiteX31548" y="connsiteY31548"/>
              </a:cxn>
              <a:cxn ang="0">
                <a:pos x="connsiteX31549" y="connsiteY31549"/>
              </a:cxn>
              <a:cxn ang="0">
                <a:pos x="connsiteX31550" y="connsiteY31550"/>
              </a:cxn>
              <a:cxn ang="0">
                <a:pos x="connsiteX31551" y="connsiteY31551"/>
              </a:cxn>
              <a:cxn ang="0">
                <a:pos x="connsiteX31552" y="connsiteY31552"/>
              </a:cxn>
              <a:cxn ang="0">
                <a:pos x="connsiteX31553" y="connsiteY31553"/>
              </a:cxn>
              <a:cxn ang="0">
                <a:pos x="connsiteX31554" y="connsiteY31554"/>
              </a:cxn>
              <a:cxn ang="0">
                <a:pos x="connsiteX31555" y="connsiteY31555"/>
              </a:cxn>
              <a:cxn ang="0">
                <a:pos x="connsiteX31556" y="connsiteY31556"/>
              </a:cxn>
              <a:cxn ang="0">
                <a:pos x="connsiteX31557" y="connsiteY31557"/>
              </a:cxn>
              <a:cxn ang="0">
                <a:pos x="connsiteX31558" y="connsiteY31558"/>
              </a:cxn>
              <a:cxn ang="0">
                <a:pos x="connsiteX31559" y="connsiteY31559"/>
              </a:cxn>
              <a:cxn ang="0">
                <a:pos x="connsiteX31560" y="connsiteY31560"/>
              </a:cxn>
              <a:cxn ang="0">
                <a:pos x="connsiteX31561" y="connsiteY31561"/>
              </a:cxn>
              <a:cxn ang="0">
                <a:pos x="connsiteX31562" y="connsiteY31562"/>
              </a:cxn>
              <a:cxn ang="0">
                <a:pos x="connsiteX31563" y="connsiteY31563"/>
              </a:cxn>
              <a:cxn ang="0">
                <a:pos x="connsiteX31564" y="connsiteY31564"/>
              </a:cxn>
              <a:cxn ang="0">
                <a:pos x="connsiteX31565" y="connsiteY31565"/>
              </a:cxn>
              <a:cxn ang="0">
                <a:pos x="connsiteX31566" y="connsiteY31566"/>
              </a:cxn>
              <a:cxn ang="0">
                <a:pos x="connsiteX31567" y="connsiteY31567"/>
              </a:cxn>
              <a:cxn ang="0">
                <a:pos x="connsiteX31568" y="connsiteY31568"/>
              </a:cxn>
              <a:cxn ang="0">
                <a:pos x="connsiteX31569" y="connsiteY31569"/>
              </a:cxn>
              <a:cxn ang="0">
                <a:pos x="connsiteX31570" y="connsiteY31570"/>
              </a:cxn>
              <a:cxn ang="0">
                <a:pos x="connsiteX31571" y="connsiteY31571"/>
              </a:cxn>
              <a:cxn ang="0">
                <a:pos x="connsiteX31572" y="connsiteY31572"/>
              </a:cxn>
              <a:cxn ang="0">
                <a:pos x="connsiteX31573" y="connsiteY31573"/>
              </a:cxn>
              <a:cxn ang="0">
                <a:pos x="connsiteX31574" y="connsiteY31574"/>
              </a:cxn>
              <a:cxn ang="0">
                <a:pos x="connsiteX31575" y="connsiteY31575"/>
              </a:cxn>
              <a:cxn ang="0">
                <a:pos x="connsiteX31576" y="connsiteY31576"/>
              </a:cxn>
              <a:cxn ang="0">
                <a:pos x="connsiteX31577" y="connsiteY31577"/>
              </a:cxn>
              <a:cxn ang="0">
                <a:pos x="connsiteX31578" y="connsiteY31578"/>
              </a:cxn>
              <a:cxn ang="0">
                <a:pos x="connsiteX31579" y="connsiteY31579"/>
              </a:cxn>
              <a:cxn ang="0">
                <a:pos x="connsiteX31580" y="connsiteY31580"/>
              </a:cxn>
              <a:cxn ang="0">
                <a:pos x="connsiteX31581" y="connsiteY31581"/>
              </a:cxn>
              <a:cxn ang="0">
                <a:pos x="connsiteX31582" y="connsiteY31582"/>
              </a:cxn>
              <a:cxn ang="0">
                <a:pos x="connsiteX31583" y="connsiteY31583"/>
              </a:cxn>
              <a:cxn ang="0">
                <a:pos x="connsiteX31584" y="connsiteY31584"/>
              </a:cxn>
              <a:cxn ang="0">
                <a:pos x="connsiteX31585" y="connsiteY31585"/>
              </a:cxn>
              <a:cxn ang="0">
                <a:pos x="connsiteX31586" y="connsiteY31586"/>
              </a:cxn>
              <a:cxn ang="0">
                <a:pos x="connsiteX31587" y="connsiteY31587"/>
              </a:cxn>
              <a:cxn ang="0">
                <a:pos x="connsiteX31588" y="connsiteY31588"/>
              </a:cxn>
              <a:cxn ang="0">
                <a:pos x="connsiteX31589" y="connsiteY31589"/>
              </a:cxn>
              <a:cxn ang="0">
                <a:pos x="connsiteX31590" y="connsiteY31590"/>
              </a:cxn>
              <a:cxn ang="0">
                <a:pos x="connsiteX31591" y="connsiteY31591"/>
              </a:cxn>
              <a:cxn ang="0">
                <a:pos x="connsiteX31592" y="connsiteY31592"/>
              </a:cxn>
              <a:cxn ang="0">
                <a:pos x="connsiteX31593" y="connsiteY31593"/>
              </a:cxn>
              <a:cxn ang="0">
                <a:pos x="connsiteX31594" y="connsiteY31594"/>
              </a:cxn>
              <a:cxn ang="0">
                <a:pos x="connsiteX31595" y="connsiteY31595"/>
              </a:cxn>
              <a:cxn ang="0">
                <a:pos x="connsiteX31596" y="connsiteY31596"/>
              </a:cxn>
              <a:cxn ang="0">
                <a:pos x="connsiteX31597" y="connsiteY31597"/>
              </a:cxn>
              <a:cxn ang="0">
                <a:pos x="connsiteX31598" y="connsiteY31598"/>
              </a:cxn>
              <a:cxn ang="0">
                <a:pos x="connsiteX31599" y="connsiteY31599"/>
              </a:cxn>
              <a:cxn ang="0">
                <a:pos x="connsiteX31600" y="connsiteY31600"/>
              </a:cxn>
              <a:cxn ang="0">
                <a:pos x="connsiteX31601" y="connsiteY31601"/>
              </a:cxn>
              <a:cxn ang="0">
                <a:pos x="connsiteX31602" y="connsiteY31602"/>
              </a:cxn>
              <a:cxn ang="0">
                <a:pos x="connsiteX31603" y="connsiteY31603"/>
              </a:cxn>
              <a:cxn ang="0">
                <a:pos x="connsiteX31604" y="connsiteY31604"/>
              </a:cxn>
              <a:cxn ang="0">
                <a:pos x="connsiteX31605" y="connsiteY31605"/>
              </a:cxn>
              <a:cxn ang="0">
                <a:pos x="connsiteX31606" y="connsiteY31606"/>
              </a:cxn>
              <a:cxn ang="0">
                <a:pos x="connsiteX31607" y="connsiteY31607"/>
              </a:cxn>
              <a:cxn ang="0">
                <a:pos x="connsiteX31608" y="connsiteY31608"/>
              </a:cxn>
              <a:cxn ang="0">
                <a:pos x="connsiteX31609" y="connsiteY31609"/>
              </a:cxn>
              <a:cxn ang="0">
                <a:pos x="connsiteX31610" y="connsiteY31610"/>
              </a:cxn>
              <a:cxn ang="0">
                <a:pos x="connsiteX31611" y="connsiteY31611"/>
              </a:cxn>
              <a:cxn ang="0">
                <a:pos x="connsiteX31612" y="connsiteY31612"/>
              </a:cxn>
              <a:cxn ang="0">
                <a:pos x="connsiteX31613" y="connsiteY31613"/>
              </a:cxn>
              <a:cxn ang="0">
                <a:pos x="connsiteX31614" y="connsiteY31614"/>
              </a:cxn>
              <a:cxn ang="0">
                <a:pos x="connsiteX31615" y="connsiteY31615"/>
              </a:cxn>
              <a:cxn ang="0">
                <a:pos x="connsiteX31616" y="connsiteY31616"/>
              </a:cxn>
              <a:cxn ang="0">
                <a:pos x="connsiteX31617" y="connsiteY31617"/>
              </a:cxn>
              <a:cxn ang="0">
                <a:pos x="connsiteX31618" y="connsiteY31618"/>
              </a:cxn>
              <a:cxn ang="0">
                <a:pos x="connsiteX31619" y="connsiteY31619"/>
              </a:cxn>
              <a:cxn ang="0">
                <a:pos x="connsiteX31620" y="connsiteY31620"/>
              </a:cxn>
              <a:cxn ang="0">
                <a:pos x="connsiteX31621" y="connsiteY31621"/>
              </a:cxn>
              <a:cxn ang="0">
                <a:pos x="connsiteX31622" y="connsiteY31622"/>
              </a:cxn>
              <a:cxn ang="0">
                <a:pos x="connsiteX31623" y="connsiteY31623"/>
              </a:cxn>
              <a:cxn ang="0">
                <a:pos x="connsiteX31624" y="connsiteY31624"/>
              </a:cxn>
              <a:cxn ang="0">
                <a:pos x="connsiteX31625" y="connsiteY31625"/>
              </a:cxn>
              <a:cxn ang="0">
                <a:pos x="connsiteX31626" y="connsiteY31626"/>
              </a:cxn>
              <a:cxn ang="0">
                <a:pos x="connsiteX31627" y="connsiteY31627"/>
              </a:cxn>
              <a:cxn ang="0">
                <a:pos x="connsiteX31628" y="connsiteY31628"/>
              </a:cxn>
              <a:cxn ang="0">
                <a:pos x="connsiteX31629" y="connsiteY31629"/>
              </a:cxn>
              <a:cxn ang="0">
                <a:pos x="connsiteX31630" y="connsiteY31630"/>
              </a:cxn>
              <a:cxn ang="0">
                <a:pos x="connsiteX31631" y="connsiteY31631"/>
              </a:cxn>
              <a:cxn ang="0">
                <a:pos x="connsiteX31632" y="connsiteY31632"/>
              </a:cxn>
              <a:cxn ang="0">
                <a:pos x="connsiteX31633" y="connsiteY31633"/>
              </a:cxn>
              <a:cxn ang="0">
                <a:pos x="connsiteX31634" y="connsiteY31634"/>
              </a:cxn>
              <a:cxn ang="0">
                <a:pos x="connsiteX31635" y="connsiteY31635"/>
              </a:cxn>
              <a:cxn ang="0">
                <a:pos x="connsiteX31636" y="connsiteY31636"/>
              </a:cxn>
              <a:cxn ang="0">
                <a:pos x="connsiteX31637" y="connsiteY31637"/>
              </a:cxn>
              <a:cxn ang="0">
                <a:pos x="connsiteX31638" y="connsiteY31638"/>
              </a:cxn>
              <a:cxn ang="0">
                <a:pos x="connsiteX31639" y="connsiteY31639"/>
              </a:cxn>
              <a:cxn ang="0">
                <a:pos x="connsiteX31640" y="connsiteY31640"/>
              </a:cxn>
              <a:cxn ang="0">
                <a:pos x="connsiteX31641" y="connsiteY31641"/>
              </a:cxn>
              <a:cxn ang="0">
                <a:pos x="connsiteX31642" y="connsiteY31642"/>
              </a:cxn>
              <a:cxn ang="0">
                <a:pos x="connsiteX31643" y="connsiteY31643"/>
              </a:cxn>
              <a:cxn ang="0">
                <a:pos x="connsiteX31644" y="connsiteY31644"/>
              </a:cxn>
              <a:cxn ang="0">
                <a:pos x="connsiteX31645" y="connsiteY31645"/>
              </a:cxn>
              <a:cxn ang="0">
                <a:pos x="connsiteX31646" y="connsiteY31646"/>
              </a:cxn>
              <a:cxn ang="0">
                <a:pos x="connsiteX31647" y="connsiteY31647"/>
              </a:cxn>
              <a:cxn ang="0">
                <a:pos x="connsiteX31648" y="connsiteY31648"/>
              </a:cxn>
              <a:cxn ang="0">
                <a:pos x="connsiteX31649" y="connsiteY31649"/>
              </a:cxn>
              <a:cxn ang="0">
                <a:pos x="connsiteX31650" y="connsiteY31650"/>
              </a:cxn>
              <a:cxn ang="0">
                <a:pos x="connsiteX31651" y="connsiteY31651"/>
              </a:cxn>
              <a:cxn ang="0">
                <a:pos x="connsiteX31652" y="connsiteY31652"/>
              </a:cxn>
              <a:cxn ang="0">
                <a:pos x="connsiteX31653" y="connsiteY31653"/>
              </a:cxn>
              <a:cxn ang="0">
                <a:pos x="connsiteX31654" y="connsiteY31654"/>
              </a:cxn>
              <a:cxn ang="0">
                <a:pos x="connsiteX31655" y="connsiteY31655"/>
              </a:cxn>
              <a:cxn ang="0">
                <a:pos x="connsiteX31656" y="connsiteY31656"/>
              </a:cxn>
              <a:cxn ang="0">
                <a:pos x="connsiteX31657" y="connsiteY31657"/>
              </a:cxn>
              <a:cxn ang="0">
                <a:pos x="connsiteX31658" y="connsiteY31658"/>
              </a:cxn>
              <a:cxn ang="0">
                <a:pos x="connsiteX31659" y="connsiteY31659"/>
              </a:cxn>
              <a:cxn ang="0">
                <a:pos x="connsiteX31660" y="connsiteY31660"/>
              </a:cxn>
              <a:cxn ang="0">
                <a:pos x="connsiteX31661" y="connsiteY31661"/>
              </a:cxn>
              <a:cxn ang="0">
                <a:pos x="connsiteX31662" y="connsiteY31662"/>
              </a:cxn>
              <a:cxn ang="0">
                <a:pos x="connsiteX31663" y="connsiteY31663"/>
              </a:cxn>
              <a:cxn ang="0">
                <a:pos x="connsiteX31664" y="connsiteY31664"/>
              </a:cxn>
              <a:cxn ang="0">
                <a:pos x="connsiteX31665" y="connsiteY31665"/>
              </a:cxn>
              <a:cxn ang="0">
                <a:pos x="connsiteX31666" y="connsiteY31666"/>
              </a:cxn>
              <a:cxn ang="0">
                <a:pos x="connsiteX31667" y="connsiteY31667"/>
              </a:cxn>
              <a:cxn ang="0">
                <a:pos x="connsiteX31668" y="connsiteY31668"/>
              </a:cxn>
              <a:cxn ang="0">
                <a:pos x="connsiteX31669" y="connsiteY31669"/>
              </a:cxn>
              <a:cxn ang="0">
                <a:pos x="connsiteX31670" y="connsiteY31670"/>
              </a:cxn>
              <a:cxn ang="0">
                <a:pos x="connsiteX31671" y="connsiteY31671"/>
              </a:cxn>
              <a:cxn ang="0">
                <a:pos x="connsiteX31672" y="connsiteY31672"/>
              </a:cxn>
              <a:cxn ang="0">
                <a:pos x="connsiteX31673" y="connsiteY31673"/>
              </a:cxn>
              <a:cxn ang="0">
                <a:pos x="connsiteX31674" y="connsiteY31674"/>
              </a:cxn>
              <a:cxn ang="0">
                <a:pos x="connsiteX31675" y="connsiteY31675"/>
              </a:cxn>
              <a:cxn ang="0">
                <a:pos x="connsiteX31676" y="connsiteY31676"/>
              </a:cxn>
              <a:cxn ang="0">
                <a:pos x="connsiteX31677" y="connsiteY31677"/>
              </a:cxn>
              <a:cxn ang="0">
                <a:pos x="connsiteX31678" y="connsiteY31678"/>
              </a:cxn>
              <a:cxn ang="0">
                <a:pos x="connsiteX31679" y="connsiteY31679"/>
              </a:cxn>
              <a:cxn ang="0">
                <a:pos x="connsiteX31680" y="connsiteY31680"/>
              </a:cxn>
              <a:cxn ang="0">
                <a:pos x="connsiteX31681" y="connsiteY31681"/>
              </a:cxn>
              <a:cxn ang="0">
                <a:pos x="connsiteX31682" y="connsiteY31682"/>
              </a:cxn>
              <a:cxn ang="0">
                <a:pos x="connsiteX31683" y="connsiteY31683"/>
              </a:cxn>
              <a:cxn ang="0">
                <a:pos x="connsiteX31684" y="connsiteY31684"/>
              </a:cxn>
              <a:cxn ang="0">
                <a:pos x="connsiteX31685" y="connsiteY31685"/>
              </a:cxn>
              <a:cxn ang="0">
                <a:pos x="connsiteX31686" y="connsiteY31686"/>
              </a:cxn>
              <a:cxn ang="0">
                <a:pos x="connsiteX31687" y="connsiteY31687"/>
              </a:cxn>
              <a:cxn ang="0">
                <a:pos x="connsiteX31688" y="connsiteY31688"/>
              </a:cxn>
              <a:cxn ang="0">
                <a:pos x="connsiteX31689" y="connsiteY31689"/>
              </a:cxn>
              <a:cxn ang="0">
                <a:pos x="connsiteX31690" y="connsiteY31690"/>
              </a:cxn>
              <a:cxn ang="0">
                <a:pos x="connsiteX31691" y="connsiteY31691"/>
              </a:cxn>
              <a:cxn ang="0">
                <a:pos x="connsiteX31692" y="connsiteY31692"/>
              </a:cxn>
              <a:cxn ang="0">
                <a:pos x="connsiteX31693" y="connsiteY31693"/>
              </a:cxn>
              <a:cxn ang="0">
                <a:pos x="connsiteX31694" y="connsiteY31694"/>
              </a:cxn>
              <a:cxn ang="0">
                <a:pos x="connsiteX31695" y="connsiteY31695"/>
              </a:cxn>
              <a:cxn ang="0">
                <a:pos x="connsiteX31696" y="connsiteY31696"/>
              </a:cxn>
              <a:cxn ang="0">
                <a:pos x="connsiteX31697" y="connsiteY31697"/>
              </a:cxn>
              <a:cxn ang="0">
                <a:pos x="connsiteX31698" y="connsiteY31698"/>
              </a:cxn>
              <a:cxn ang="0">
                <a:pos x="connsiteX31699" y="connsiteY31699"/>
              </a:cxn>
              <a:cxn ang="0">
                <a:pos x="connsiteX31700" y="connsiteY31700"/>
              </a:cxn>
              <a:cxn ang="0">
                <a:pos x="connsiteX31701" y="connsiteY31701"/>
              </a:cxn>
              <a:cxn ang="0">
                <a:pos x="connsiteX31702" y="connsiteY31702"/>
              </a:cxn>
              <a:cxn ang="0">
                <a:pos x="connsiteX31703" y="connsiteY31703"/>
              </a:cxn>
              <a:cxn ang="0">
                <a:pos x="connsiteX31704" y="connsiteY31704"/>
              </a:cxn>
              <a:cxn ang="0">
                <a:pos x="connsiteX31705" y="connsiteY31705"/>
              </a:cxn>
              <a:cxn ang="0">
                <a:pos x="connsiteX31706" y="connsiteY31706"/>
              </a:cxn>
              <a:cxn ang="0">
                <a:pos x="connsiteX31707" y="connsiteY31707"/>
              </a:cxn>
              <a:cxn ang="0">
                <a:pos x="connsiteX31708" y="connsiteY31708"/>
              </a:cxn>
              <a:cxn ang="0">
                <a:pos x="connsiteX31709" y="connsiteY31709"/>
              </a:cxn>
              <a:cxn ang="0">
                <a:pos x="connsiteX31710" y="connsiteY31710"/>
              </a:cxn>
              <a:cxn ang="0">
                <a:pos x="connsiteX31711" y="connsiteY31711"/>
              </a:cxn>
              <a:cxn ang="0">
                <a:pos x="connsiteX31712" y="connsiteY31712"/>
              </a:cxn>
              <a:cxn ang="0">
                <a:pos x="connsiteX31713" y="connsiteY31713"/>
              </a:cxn>
              <a:cxn ang="0">
                <a:pos x="connsiteX31714" y="connsiteY31714"/>
              </a:cxn>
              <a:cxn ang="0">
                <a:pos x="connsiteX31715" y="connsiteY31715"/>
              </a:cxn>
              <a:cxn ang="0">
                <a:pos x="connsiteX31716" y="connsiteY31716"/>
              </a:cxn>
              <a:cxn ang="0">
                <a:pos x="connsiteX31717" y="connsiteY31717"/>
              </a:cxn>
              <a:cxn ang="0">
                <a:pos x="connsiteX31718" y="connsiteY31718"/>
              </a:cxn>
              <a:cxn ang="0">
                <a:pos x="connsiteX31719" y="connsiteY31719"/>
              </a:cxn>
              <a:cxn ang="0">
                <a:pos x="connsiteX31720" y="connsiteY31720"/>
              </a:cxn>
              <a:cxn ang="0">
                <a:pos x="connsiteX31721" y="connsiteY31721"/>
              </a:cxn>
              <a:cxn ang="0">
                <a:pos x="connsiteX31722" y="connsiteY31722"/>
              </a:cxn>
              <a:cxn ang="0">
                <a:pos x="connsiteX31723" y="connsiteY31723"/>
              </a:cxn>
              <a:cxn ang="0">
                <a:pos x="connsiteX31724" y="connsiteY31724"/>
              </a:cxn>
              <a:cxn ang="0">
                <a:pos x="connsiteX31725" y="connsiteY31725"/>
              </a:cxn>
              <a:cxn ang="0">
                <a:pos x="connsiteX31726" y="connsiteY31726"/>
              </a:cxn>
              <a:cxn ang="0">
                <a:pos x="connsiteX31727" y="connsiteY31727"/>
              </a:cxn>
              <a:cxn ang="0">
                <a:pos x="connsiteX31728" y="connsiteY31728"/>
              </a:cxn>
              <a:cxn ang="0">
                <a:pos x="connsiteX31729" y="connsiteY31729"/>
              </a:cxn>
              <a:cxn ang="0">
                <a:pos x="connsiteX31730" y="connsiteY31730"/>
              </a:cxn>
              <a:cxn ang="0">
                <a:pos x="connsiteX31731" y="connsiteY31731"/>
              </a:cxn>
              <a:cxn ang="0">
                <a:pos x="connsiteX31732" y="connsiteY31732"/>
              </a:cxn>
              <a:cxn ang="0">
                <a:pos x="connsiteX31733" y="connsiteY31733"/>
              </a:cxn>
              <a:cxn ang="0">
                <a:pos x="connsiteX31734" y="connsiteY31734"/>
              </a:cxn>
              <a:cxn ang="0">
                <a:pos x="connsiteX31735" y="connsiteY31735"/>
              </a:cxn>
              <a:cxn ang="0">
                <a:pos x="connsiteX31736" y="connsiteY31736"/>
              </a:cxn>
              <a:cxn ang="0">
                <a:pos x="connsiteX31737" y="connsiteY31737"/>
              </a:cxn>
              <a:cxn ang="0">
                <a:pos x="connsiteX31738" y="connsiteY31738"/>
              </a:cxn>
              <a:cxn ang="0">
                <a:pos x="connsiteX31739" y="connsiteY31739"/>
              </a:cxn>
              <a:cxn ang="0">
                <a:pos x="connsiteX31740" y="connsiteY31740"/>
              </a:cxn>
              <a:cxn ang="0">
                <a:pos x="connsiteX31741" y="connsiteY31741"/>
              </a:cxn>
              <a:cxn ang="0">
                <a:pos x="connsiteX31742" y="connsiteY31742"/>
              </a:cxn>
              <a:cxn ang="0">
                <a:pos x="connsiteX31743" y="connsiteY31743"/>
              </a:cxn>
              <a:cxn ang="0">
                <a:pos x="connsiteX31744" y="connsiteY31744"/>
              </a:cxn>
              <a:cxn ang="0">
                <a:pos x="connsiteX31745" y="connsiteY31745"/>
              </a:cxn>
              <a:cxn ang="0">
                <a:pos x="connsiteX31746" y="connsiteY31746"/>
              </a:cxn>
              <a:cxn ang="0">
                <a:pos x="connsiteX31747" y="connsiteY31747"/>
              </a:cxn>
              <a:cxn ang="0">
                <a:pos x="connsiteX31748" y="connsiteY31748"/>
              </a:cxn>
              <a:cxn ang="0">
                <a:pos x="connsiteX31749" y="connsiteY31749"/>
              </a:cxn>
              <a:cxn ang="0">
                <a:pos x="connsiteX31750" y="connsiteY31750"/>
              </a:cxn>
              <a:cxn ang="0">
                <a:pos x="connsiteX31751" y="connsiteY31751"/>
              </a:cxn>
              <a:cxn ang="0">
                <a:pos x="connsiteX31752" y="connsiteY31752"/>
              </a:cxn>
              <a:cxn ang="0">
                <a:pos x="connsiteX31753" y="connsiteY31753"/>
              </a:cxn>
              <a:cxn ang="0">
                <a:pos x="connsiteX31754" y="connsiteY31754"/>
              </a:cxn>
              <a:cxn ang="0">
                <a:pos x="connsiteX31755" y="connsiteY31755"/>
              </a:cxn>
              <a:cxn ang="0">
                <a:pos x="connsiteX31756" y="connsiteY31756"/>
              </a:cxn>
              <a:cxn ang="0">
                <a:pos x="connsiteX31757" y="connsiteY31757"/>
              </a:cxn>
              <a:cxn ang="0">
                <a:pos x="connsiteX31758" y="connsiteY31758"/>
              </a:cxn>
              <a:cxn ang="0">
                <a:pos x="connsiteX31759" y="connsiteY31759"/>
              </a:cxn>
              <a:cxn ang="0">
                <a:pos x="connsiteX31760" y="connsiteY31760"/>
              </a:cxn>
              <a:cxn ang="0">
                <a:pos x="connsiteX31761" y="connsiteY31761"/>
              </a:cxn>
              <a:cxn ang="0">
                <a:pos x="connsiteX31762" y="connsiteY31762"/>
              </a:cxn>
              <a:cxn ang="0">
                <a:pos x="connsiteX31763" y="connsiteY31763"/>
              </a:cxn>
              <a:cxn ang="0">
                <a:pos x="connsiteX31764" y="connsiteY31764"/>
              </a:cxn>
              <a:cxn ang="0">
                <a:pos x="connsiteX31765" y="connsiteY31765"/>
              </a:cxn>
              <a:cxn ang="0">
                <a:pos x="connsiteX31766" y="connsiteY31766"/>
              </a:cxn>
              <a:cxn ang="0">
                <a:pos x="connsiteX31767" y="connsiteY31767"/>
              </a:cxn>
              <a:cxn ang="0">
                <a:pos x="connsiteX31768" y="connsiteY31768"/>
              </a:cxn>
              <a:cxn ang="0">
                <a:pos x="connsiteX31769" y="connsiteY31769"/>
              </a:cxn>
              <a:cxn ang="0">
                <a:pos x="connsiteX31770" y="connsiteY31770"/>
              </a:cxn>
              <a:cxn ang="0">
                <a:pos x="connsiteX31771" y="connsiteY31771"/>
              </a:cxn>
              <a:cxn ang="0">
                <a:pos x="connsiteX31772" y="connsiteY31772"/>
              </a:cxn>
              <a:cxn ang="0">
                <a:pos x="connsiteX31773" y="connsiteY31773"/>
              </a:cxn>
              <a:cxn ang="0">
                <a:pos x="connsiteX31774" y="connsiteY31774"/>
              </a:cxn>
              <a:cxn ang="0">
                <a:pos x="connsiteX31775" y="connsiteY31775"/>
              </a:cxn>
              <a:cxn ang="0">
                <a:pos x="connsiteX31776" y="connsiteY31776"/>
              </a:cxn>
              <a:cxn ang="0">
                <a:pos x="connsiteX31777" y="connsiteY31777"/>
              </a:cxn>
              <a:cxn ang="0">
                <a:pos x="connsiteX31778" y="connsiteY31778"/>
              </a:cxn>
              <a:cxn ang="0">
                <a:pos x="connsiteX31779" y="connsiteY31779"/>
              </a:cxn>
              <a:cxn ang="0">
                <a:pos x="connsiteX31780" y="connsiteY31780"/>
              </a:cxn>
              <a:cxn ang="0">
                <a:pos x="connsiteX31781" y="connsiteY31781"/>
              </a:cxn>
              <a:cxn ang="0">
                <a:pos x="connsiteX31782" y="connsiteY31782"/>
              </a:cxn>
              <a:cxn ang="0">
                <a:pos x="connsiteX31783" y="connsiteY31783"/>
              </a:cxn>
              <a:cxn ang="0">
                <a:pos x="connsiteX31784" y="connsiteY31784"/>
              </a:cxn>
              <a:cxn ang="0">
                <a:pos x="connsiteX31785" y="connsiteY31785"/>
              </a:cxn>
              <a:cxn ang="0">
                <a:pos x="connsiteX31786" y="connsiteY31786"/>
              </a:cxn>
              <a:cxn ang="0">
                <a:pos x="connsiteX31787" y="connsiteY31787"/>
              </a:cxn>
              <a:cxn ang="0">
                <a:pos x="connsiteX31788" y="connsiteY31788"/>
              </a:cxn>
              <a:cxn ang="0">
                <a:pos x="connsiteX31789" y="connsiteY31789"/>
              </a:cxn>
              <a:cxn ang="0">
                <a:pos x="connsiteX31790" y="connsiteY31790"/>
              </a:cxn>
              <a:cxn ang="0">
                <a:pos x="connsiteX31791" y="connsiteY31791"/>
              </a:cxn>
              <a:cxn ang="0">
                <a:pos x="connsiteX31792" y="connsiteY31792"/>
              </a:cxn>
              <a:cxn ang="0">
                <a:pos x="connsiteX31793" y="connsiteY31793"/>
              </a:cxn>
              <a:cxn ang="0">
                <a:pos x="connsiteX31794" y="connsiteY31794"/>
              </a:cxn>
              <a:cxn ang="0">
                <a:pos x="connsiteX31795" y="connsiteY31795"/>
              </a:cxn>
              <a:cxn ang="0">
                <a:pos x="connsiteX31796" y="connsiteY31796"/>
              </a:cxn>
              <a:cxn ang="0">
                <a:pos x="connsiteX31797" y="connsiteY31797"/>
              </a:cxn>
              <a:cxn ang="0">
                <a:pos x="connsiteX31798" y="connsiteY31798"/>
              </a:cxn>
              <a:cxn ang="0">
                <a:pos x="connsiteX31799" y="connsiteY31799"/>
              </a:cxn>
              <a:cxn ang="0">
                <a:pos x="connsiteX31800" y="connsiteY31800"/>
              </a:cxn>
              <a:cxn ang="0">
                <a:pos x="connsiteX31801" y="connsiteY31801"/>
              </a:cxn>
              <a:cxn ang="0">
                <a:pos x="connsiteX31802" y="connsiteY31802"/>
              </a:cxn>
              <a:cxn ang="0">
                <a:pos x="connsiteX31803" y="connsiteY31803"/>
              </a:cxn>
              <a:cxn ang="0">
                <a:pos x="connsiteX31804" y="connsiteY31804"/>
              </a:cxn>
              <a:cxn ang="0">
                <a:pos x="connsiteX31805" y="connsiteY31805"/>
              </a:cxn>
              <a:cxn ang="0">
                <a:pos x="connsiteX31806" y="connsiteY31806"/>
              </a:cxn>
              <a:cxn ang="0">
                <a:pos x="connsiteX31807" y="connsiteY31807"/>
              </a:cxn>
              <a:cxn ang="0">
                <a:pos x="connsiteX31808" y="connsiteY31808"/>
              </a:cxn>
              <a:cxn ang="0">
                <a:pos x="connsiteX31809" y="connsiteY31809"/>
              </a:cxn>
              <a:cxn ang="0">
                <a:pos x="connsiteX31810" y="connsiteY31810"/>
              </a:cxn>
              <a:cxn ang="0">
                <a:pos x="connsiteX31811" y="connsiteY31811"/>
              </a:cxn>
              <a:cxn ang="0">
                <a:pos x="connsiteX31812" y="connsiteY31812"/>
              </a:cxn>
              <a:cxn ang="0">
                <a:pos x="connsiteX31813" y="connsiteY31813"/>
              </a:cxn>
              <a:cxn ang="0">
                <a:pos x="connsiteX31814" y="connsiteY31814"/>
              </a:cxn>
              <a:cxn ang="0">
                <a:pos x="connsiteX31815" y="connsiteY31815"/>
              </a:cxn>
              <a:cxn ang="0">
                <a:pos x="connsiteX31816" y="connsiteY31816"/>
              </a:cxn>
              <a:cxn ang="0">
                <a:pos x="connsiteX31817" y="connsiteY31817"/>
              </a:cxn>
              <a:cxn ang="0">
                <a:pos x="connsiteX31818" y="connsiteY31818"/>
              </a:cxn>
              <a:cxn ang="0">
                <a:pos x="connsiteX31819" y="connsiteY31819"/>
              </a:cxn>
              <a:cxn ang="0">
                <a:pos x="connsiteX31820" y="connsiteY31820"/>
              </a:cxn>
              <a:cxn ang="0">
                <a:pos x="connsiteX31821" y="connsiteY31821"/>
              </a:cxn>
              <a:cxn ang="0">
                <a:pos x="connsiteX31822" y="connsiteY31822"/>
              </a:cxn>
              <a:cxn ang="0">
                <a:pos x="connsiteX31823" y="connsiteY31823"/>
              </a:cxn>
              <a:cxn ang="0">
                <a:pos x="connsiteX31824" y="connsiteY31824"/>
              </a:cxn>
              <a:cxn ang="0">
                <a:pos x="connsiteX31825" y="connsiteY31825"/>
              </a:cxn>
              <a:cxn ang="0">
                <a:pos x="connsiteX31826" y="connsiteY31826"/>
              </a:cxn>
              <a:cxn ang="0">
                <a:pos x="connsiteX31827" y="connsiteY31827"/>
              </a:cxn>
              <a:cxn ang="0">
                <a:pos x="connsiteX31828" y="connsiteY31828"/>
              </a:cxn>
              <a:cxn ang="0">
                <a:pos x="connsiteX31829" y="connsiteY31829"/>
              </a:cxn>
              <a:cxn ang="0">
                <a:pos x="connsiteX31830" y="connsiteY31830"/>
              </a:cxn>
              <a:cxn ang="0">
                <a:pos x="connsiteX31831" y="connsiteY31831"/>
              </a:cxn>
              <a:cxn ang="0">
                <a:pos x="connsiteX31832" y="connsiteY31832"/>
              </a:cxn>
              <a:cxn ang="0">
                <a:pos x="connsiteX31833" y="connsiteY31833"/>
              </a:cxn>
              <a:cxn ang="0">
                <a:pos x="connsiteX31834" y="connsiteY31834"/>
              </a:cxn>
              <a:cxn ang="0">
                <a:pos x="connsiteX31835" y="connsiteY31835"/>
              </a:cxn>
              <a:cxn ang="0">
                <a:pos x="connsiteX31836" y="connsiteY31836"/>
              </a:cxn>
              <a:cxn ang="0">
                <a:pos x="connsiteX31837" y="connsiteY31837"/>
              </a:cxn>
              <a:cxn ang="0">
                <a:pos x="connsiteX31838" y="connsiteY31838"/>
              </a:cxn>
              <a:cxn ang="0">
                <a:pos x="connsiteX31839" y="connsiteY31839"/>
              </a:cxn>
              <a:cxn ang="0">
                <a:pos x="connsiteX31840" y="connsiteY31840"/>
              </a:cxn>
              <a:cxn ang="0">
                <a:pos x="connsiteX31841" y="connsiteY31841"/>
              </a:cxn>
              <a:cxn ang="0">
                <a:pos x="connsiteX31842" y="connsiteY31842"/>
              </a:cxn>
              <a:cxn ang="0">
                <a:pos x="connsiteX31843" y="connsiteY31843"/>
              </a:cxn>
              <a:cxn ang="0">
                <a:pos x="connsiteX31844" y="connsiteY31844"/>
              </a:cxn>
              <a:cxn ang="0">
                <a:pos x="connsiteX31845" y="connsiteY31845"/>
              </a:cxn>
              <a:cxn ang="0">
                <a:pos x="connsiteX31846" y="connsiteY31846"/>
              </a:cxn>
              <a:cxn ang="0">
                <a:pos x="connsiteX31847" y="connsiteY31847"/>
              </a:cxn>
              <a:cxn ang="0">
                <a:pos x="connsiteX31848" y="connsiteY31848"/>
              </a:cxn>
              <a:cxn ang="0">
                <a:pos x="connsiteX31849" y="connsiteY31849"/>
              </a:cxn>
              <a:cxn ang="0">
                <a:pos x="connsiteX31850" y="connsiteY31850"/>
              </a:cxn>
              <a:cxn ang="0">
                <a:pos x="connsiteX31851" y="connsiteY31851"/>
              </a:cxn>
              <a:cxn ang="0">
                <a:pos x="connsiteX31852" y="connsiteY31852"/>
              </a:cxn>
              <a:cxn ang="0">
                <a:pos x="connsiteX31853" y="connsiteY31853"/>
              </a:cxn>
              <a:cxn ang="0">
                <a:pos x="connsiteX31854" y="connsiteY31854"/>
              </a:cxn>
              <a:cxn ang="0">
                <a:pos x="connsiteX31855" y="connsiteY31855"/>
              </a:cxn>
              <a:cxn ang="0">
                <a:pos x="connsiteX31856" y="connsiteY31856"/>
              </a:cxn>
              <a:cxn ang="0">
                <a:pos x="connsiteX31857" y="connsiteY31857"/>
              </a:cxn>
              <a:cxn ang="0">
                <a:pos x="connsiteX31858" y="connsiteY31858"/>
              </a:cxn>
              <a:cxn ang="0">
                <a:pos x="connsiteX31859" y="connsiteY31859"/>
              </a:cxn>
              <a:cxn ang="0">
                <a:pos x="connsiteX31860" y="connsiteY31860"/>
              </a:cxn>
              <a:cxn ang="0">
                <a:pos x="connsiteX31861" y="connsiteY31861"/>
              </a:cxn>
              <a:cxn ang="0">
                <a:pos x="connsiteX31862" y="connsiteY31862"/>
              </a:cxn>
              <a:cxn ang="0">
                <a:pos x="connsiteX31863" y="connsiteY31863"/>
              </a:cxn>
              <a:cxn ang="0">
                <a:pos x="connsiteX31864" y="connsiteY31864"/>
              </a:cxn>
              <a:cxn ang="0">
                <a:pos x="connsiteX31865" y="connsiteY31865"/>
              </a:cxn>
              <a:cxn ang="0">
                <a:pos x="connsiteX31866" y="connsiteY31866"/>
              </a:cxn>
              <a:cxn ang="0">
                <a:pos x="connsiteX31867" y="connsiteY31867"/>
              </a:cxn>
              <a:cxn ang="0">
                <a:pos x="connsiteX31868" y="connsiteY31868"/>
              </a:cxn>
              <a:cxn ang="0">
                <a:pos x="connsiteX31869" y="connsiteY31869"/>
              </a:cxn>
              <a:cxn ang="0">
                <a:pos x="connsiteX31870" y="connsiteY31870"/>
              </a:cxn>
              <a:cxn ang="0">
                <a:pos x="connsiteX31871" y="connsiteY31871"/>
              </a:cxn>
              <a:cxn ang="0">
                <a:pos x="connsiteX31872" y="connsiteY31872"/>
              </a:cxn>
              <a:cxn ang="0">
                <a:pos x="connsiteX31873" y="connsiteY31873"/>
              </a:cxn>
              <a:cxn ang="0">
                <a:pos x="connsiteX31874" y="connsiteY31874"/>
              </a:cxn>
              <a:cxn ang="0">
                <a:pos x="connsiteX31875" y="connsiteY31875"/>
              </a:cxn>
              <a:cxn ang="0">
                <a:pos x="connsiteX31876" y="connsiteY31876"/>
              </a:cxn>
              <a:cxn ang="0">
                <a:pos x="connsiteX31877" y="connsiteY31877"/>
              </a:cxn>
              <a:cxn ang="0">
                <a:pos x="connsiteX31878" y="connsiteY31878"/>
              </a:cxn>
              <a:cxn ang="0">
                <a:pos x="connsiteX31879" y="connsiteY31879"/>
              </a:cxn>
              <a:cxn ang="0">
                <a:pos x="connsiteX31880" y="connsiteY31880"/>
              </a:cxn>
              <a:cxn ang="0">
                <a:pos x="connsiteX31881" y="connsiteY31881"/>
              </a:cxn>
              <a:cxn ang="0">
                <a:pos x="connsiteX31882" y="connsiteY31882"/>
              </a:cxn>
              <a:cxn ang="0">
                <a:pos x="connsiteX31883" y="connsiteY31883"/>
              </a:cxn>
              <a:cxn ang="0">
                <a:pos x="connsiteX31884" y="connsiteY31884"/>
              </a:cxn>
              <a:cxn ang="0">
                <a:pos x="connsiteX31885" y="connsiteY31885"/>
              </a:cxn>
              <a:cxn ang="0">
                <a:pos x="connsiteX31886" y="connsiteY31886"/>
              </a:cxn>
              <a:cxn ang="0">
                <a:pos x="connsiteX31887" y="connsiteY31887"/>
              </a:cxn>
              <a:cxn ang="0">
                <a:pos x="connsiteX31888" y="connsiteY31888"/>
              </a:cxn>
              <a:cxn ang="0">
                <a:pos x="connsiteX31889" y="connsiteY31889"/>
              </a:cxn>
              <a:cxn ang="0">
                <a:pos x="connsiteX31890" y="connsiteY31890"/>
              </a:cxn>
              <a:cxn ang="0">
                <a:pos x="connsiteX31891" y="connsiteY31891"/>
              </a:cxn>
              <a:cxn ang="0">
                <a:pos x="connsiteX31892" y="connsiteY31892"/>
              </a:cxn>
              <a:cxn ang="0">
                <a:pos x="connsiteX31893" y="connsiteY31893"/>
              </a:cxn>
              <a:cxn ang="0">
                <a:pos x="connsiteX31894" y="connsiteY31894"/>
              </a:cxn>
              <a:cxn ang="0">
                <a:pos x="connsiteX31895" y="connsiteY31895"/>
              </a:cxn>
              <a:cxn ang="0">
                <a:pos x="connsiteX31896" y="connsiteY31896"/>
              </a:cxn>
              <a:cxn ang="0">
                <a:pos x="connsiteX31897" y="connsiteY31897"/>
              </a:cxn>
              <a:cxn ang="0">
                <a:pos x="connsiteX31898" y="connsiteY31898"/>
              </a:cxn>
              <a:cxn ang="0">
                <a:pos x="connsiteX31899" y="connsiteY31899"/>
              </a:cxn>
              <a:cxn ang="0">
                <a:pos x="connsiteX31900" y="connsiteY31900"/>
              </a:cxn>
              <a:cxn ang="0">
                <a:pos x="connsiteX31901" y="connsiteY31901"/>
              </a:cxn>
              <a:cxn ang="0">
                <a:pos x="connsiteX31902" y="connsiteY31902"/>
              </a:cxn>
              <a:cxn ang="0">
                <a:pos x="connsiteX31903" y="connsiteY31903"/>
              </a:cxn>
              <a:cxn ang="0">
                <a:pos x="connsiteX31904" y="connsiteY31904"/>
              </a:cxn>
              <a:cxn ang="0">
                <a:pos x="connsiteX31905" y="connsiteY31905"/>
              </a:cxn>
              <a:cxn ang="0">
                <a:pos x="connsiteX31906" y="connsiteY31906"/>
              </a:cxn>
              <a:cxn ang="0">
                <a:pos x="connsiteX31907" y="connsiteY31907"/>
              </a:cxn>
              <a:cxn ang="0">
                <a:pos x="connsiteX31908" y="connsiteY31908"/>
              </a:cxn>
              <a:cxn ang="0">
                <a:pos x="connsiteX31909" y="connsiteY31909"/>
              </a:cxn>
              <a:cxn ang="0">
                <a:pos x="connsiteX31910" y="connsiteY31910"/>
              </a:cxn>
              <a:cxn ang="0">
                <a:pos x="connsiteX31911" y="connsiteY31911"/>
              </a:cxn>
              <a:cxn ang="0">
                <a:pos x="connsiteX31912" y="connsiteY31912"/>
              </a:cxn>
              <a:cxn ang="0">
                <a:pos x="connsiteX31913" y="connsiteY31913"/>
              </a:cxn>
              <a:cxn ang="0">
                <a:pos x="connsiteX31914" y="connsiteY31914"/>
              </a:cxn>
              <a:cxn ang="0">
                <a:pos x="connsiteX31915" y="connsiteY31915"/>
              </a:cxn>
              <a:cxn ang="0">
                <a:pos x="connsiteX31916" y="connsiteY31916"/>
              </a:cxn>
              <a:cxn ang="0">
                <a:pos x="connsiteX31917" y="connsiteY31917"/>
              </a:cxn>
              <a:cxn ang="0">
                <a:pos x="connsiteX31918" y="connsiteY31918"/>
              </a:cxn>
              <a:cxn ang="0">
                <a:pos x="connsiteX31919" y="connsiteY31919"/>
              </a:cxn>
              <a:cxn ang="0">
                <a:pos x="connsiteX31920" y="connsiteY31920"/>
              </a:cxn>
              <a:cxn ang="0">
                <a:pos x="connsiteX31921" y="connsiteY31921"/>
              </a:cxn>
              <a:cxn ang="0">
                <a:pos x="connsiteX31922" y="connsiteY31922"/>
              </a:cxn>
              <a:cxn ang="0">
                <a:pos x="connsiteX31923" y="connsiteY31923"/>
              </a:cxn>
              <a:cxn ang="0">
                <a:pos x="connsiteX31924" y="connsiteY31924"/>
              </a:cxn>
              <a:cxn ang="0">
                <a:pos x="connsiteX31925" y="connsiteY31925"/>
              </a:cxn>
              <a:cxn ang="0">
                <a:pos x="connsiteX31926" y="connsiteY31926"/>
              </a:cxn>
              <a:cxn ang="0">
                <a:pos x="connsiteX31927" y="connsiteY31927"/>
              </a:cxn>
              <a:cxn ang="0">
                <a:pos x="connsiteX31928" y="connsiteY31928"/>
              </a:cxn>
              <a:cxn ang="0">
                <a:pos x="connsiteX31929" y="connsiteY31929"/>
              </a:cxn>
              <a:cxn ang="0">
                <a:pos x="connsiteX31930" y="connsiteY31930"/>
              </a:cxn>
              <a:cxn ang="0">
                <a:pos x="connsiteX31931" y="connsiteY31931"/>
              </a:cxn>
              <a:cxn ang="0">
                <a:pos x="connsiteX31932" y="connsiteY31932"/>
              </a:cxn>
              <a:cxn ang="0">
                <a:pos x="connsiteX31933" y="connsiteY31933"/>
              </a:cxn>
              <a:cxn ang="0">
                <a:pos x="connsiteX31934" y="connsiteY31934"/>
              </a:cxn>
              <a:cxn ang="0">
                <a:pos x="connsiteX31935" y="connsiteY31935"/>
              </a:cxn>
              <a:cxn ang="0">
                <a:pos x="connsiteX31936" y="connsiteY31936"/>
              </a:cxn>
              <a:cxn ang="0">
                <a:pos x="connsiteX31937" y="connsiteY31937"/>
              </a:cxn>
              <a:cxn ang="0">
                <a:pos x="connsiteX31938" y="connsiteY31938"/>
              </a:cxn>
              <a:cxn ang="0">
                <a:pos x="connsiteX31939" y="connsiteY31939"/>
              </a:cxn>
              <a:cxn ang="0">
                <a:pos x="connsiteX31940" y="connsiteY31940"/>
              </a:cxn>
              <a:cxn ang="0">
                <a:pos x="connsiteX31941" y="connsiteY31941"/>
              </a:cxn>
              <a:cxn ang="0">
                <a:pos x="connsiteX31942" y="connsiteY31942"/>
              </a:cxn>
              <a:cxn ang="0">
                <a:pos x="connsiteX31943" y="connsiteY31943"/>
              </a:cxn>
              <a:cxn ang="0">
                <a:pos x="connsiteX31944" y="connsiteY31944"/>
              </a:cxn>
              <a:cxn ang="0">
                <a:pos x="connsiteX31945" y="connsiteY31945"/>
              </a:cxn>
              <a:cxn ang="0">
                <a:pos x="connsiteX31946" y="connsiteY31946"/>
              </a:cxn>
              <a:cxn ang="0">
                <a:pos x="connsiteX31947" y="connsiteY31947"/>
              </a:cxn>
              <a:cxn ang="0">
                <a:pos x="connsiteX31948" y="connsiteY31948"/>
              </a:cxn>
              <a:cxn ang="0">
                <a:pos x="connsiteX31949" y="connsiteY31949"/>
              </a:cxn>
              <a:cxn ang="0">
                <a:pos x="connsiteX31950" y="connsiteY31950"/>
              </a:cxn>
              <a:cxn ang="0">
                <a:pos x="connsiteX31951" y="connsiteY31951"/>
              </a:cxn>
              <a:cxn ang="0">
                <a:pos x="connsiteX31952" y="connsiteY31952"/>
              </a:cxn>
              <a:cxn ang="0">
                <a:pos x="connsiteX31953" y="connsiteY31953"/>
              </a:cxn>
              <a:cxn ang="0">
                <a:pos x="connsiteX31954" y="connsiteY31954"/>
              </a:cxn>
              <a:cxn ang="0">
                <a:pos x="connsiteX31955" y="connsiteY31955"/>
              </a:cxn>
              <a:cxn ang="0">
                <a:pos x="connsiteX31956" y="connsiteY31956"/>
              </a:cxn>
              <a:cxn ang="0">
                <a:pos x="connsiteX31957" y="connsiteY31957"/>
              </a:cxn>
              <a:cxn ang="0">
                <a:pos x="connsiteX31958" y="connsiteY31958"/>
              </a:cxn>
              <a:cxn ang="0">
                <a:pos x="connsiteX31959" y="connsiteY31959"/>
              </a:cxn>
              <a:cxn ang="0">
                <a:pos x="connsiteX31960" y="connsiteY31960"/>
              </a:cxn>
              <a:cxn ang="0">
                <a:pos x="connsiteX31961" y="connsiteY31961"/>
              </a:cxn>
              <a:cxn ang="0">
                <a:pos x="connsiteX31962" y="connsiteY31962"/>
              </a:cxn>
              <a:cxn ang="0">
                <a:pos x="connsiteX31963" y="connsiteY31963"/>
              </a:cxn>
              <a:cxn ang="0">
                <a:pos x="connsiteX31964" y="connsiteY31964"/>
              </a:cxn>
              <a:cxn ang="0">
                <a:pos x="connsiteX31965" y="connsiteY31965"/>
              </a:cxn>
              <a:cxn ang="0">
                <a:pos x="connsiteX31966" y="connsiteY31966"/>
              </a:cxn>
              <a:cxn ang="0">
                <a:pos x="connsiteX31967" y="connsiteY31967"/>
              </a:cxn>
              <a:cxn ang="0">
                <a:pos x="connsiteX31968" y="connsiteY31968"/>
              </a:cxn>
              <a:cxn ang="0">
                <a:pos x="connsiteX31969" y="connsiteY31969"/>
              </a:cxn>
              <a:cxn ang="0">
                <a:pos x="connsiteX31970" y="connsiteY31970"/>
              </a:cxn>
              <a:cxn ang="0">
                <a:pos x="connsiteX31971" y="connsiteY31971"/>
              </a:cxn>
              <a:cxn ang="0">
                <a:pos x="connsiteX31972" y="connsiteY31972"/>
              </a:cxn>
              <a:cxn ang="0">
                <a:pos x="connsiteX31973" y="connsiteY31973"/>
              </a:cxn>
              <a:cxn ang="0">
                <a:pos x="connsiteX31974" y="connsiteY31974"/>
              </a:cxn>
              <a:cxn ang="0">
                <a:pos x="connsiteX31975" y="connsiteY31975"/>
              </a:cxn>
              <a:cxn ang="0">
                <a:pos x="connsiteX31976" y="connsiteY31976"/>
              </a:cxn>
              <a:cxn ang="0">
                <a:pos x="connsiteX31977" y="connsiteY31977"/>
              </a:cxn>
              <a:cxn ang="0">
                <a:pos x="connsiteX31978" y="connsiteY31978"/>
              </a:cxn>
              <a:cxn ang="0">
                <a:pos x="connsiteX31979" y="connsiteY31979"/>
              </a:cxn>
              <a:cxn ang="0">
                <a:pos x="connsiteX31980" y="connsiteY31980"/>
              </a:cxn>
              <a:cxn ang="0">
                <a:pos x="connsiteX31981" y="connsiteY31981"/>
              </a:cxn>
              <a:cxn ang="0">
                <a:pos x="connsiteX31982" y="connsiteY31982"/>
              </a:cxn>
              <a:cxn ang="0">
                <a:pos x="connsiteX31983" y="connsiteY31983"/>
              </a:cxn>
              <a:cxn ang="0">
                <a:pos x="connsiteX31984" y="connsiteY31984"/>
              </a:cxn>
              <a:cxn ang="0">
                <a:pos x="connsiteX31985" y="connsiteY31985"/>
              </a:cxn>
              <a:cxn ang="0">
                <a:pos x="connsiteX31986" y="connsiteY31986"/>
              </a:cxn>
              <a:cxn ang="0">
                <a:pos x="connsiteX31987" y="connsiteY31987"/>
              </a:cxn>
              <a:cxn ang="0">
                <a:pos x="connsiteX31988" y="connsiteY31988"/>
              </a:cxn>
              <a:cxn ang="0">
                <a:pos x="connsiteX31989" y="connsiteY31989"/>
              </a:cxn>
              <a:cxn ang="0">
                <a:pos x="connsiteX31990" y="connsiteY31990"/>
              </a:cxn>
              <a:cxn ang="0">
                <a:pos x="connsiteX31991" y="connsiteY31991"/>
              </a:cxn>
              <a:cxn ang="0">
                <a:pos x="connsiteX31992" y="connsiteY31992"/>
              </a:cxn>
              <a:cxn ang="0">
                <a:pos x="connsiteX31993" y="connsiteY31993"/>
              </a:cxn>
              <a:cxn ang="0">
                <a:pos x="connsiteX31994" y="connsiteY31994"/>
              </a:cxn>
              <a:cxn ang="0">
                <a:pos x="connsiteX31995" y="connsiteY31995"/>
              </a:cxn>
              <a:cxn ang="0">
                <a:pos x="connsiteX31996" y="connsiteY31996"/>
              </a:cxn>
              <a:cxn ang="0">
                <a:pos x="connsiteX31997" y="connsiteY31997"/>
              </a:cxn>
              <a:cxn ang="0">
                <a:pos x="connsiteX31998" y="connsiteY31998"/>
              </a:cxn>
              <a:cxn ang="0">
                <a:pos x="connsiteX31999" y="connsiteY31999"/>
              </a:cxn>
              <a:cxn ang="0">
                <a:pos x="connsiteX32000" y="connsiteY32000"/>
              </a:cxn>
              <a:cxn ang="0">
                <a:pos x="connsiteX32001" y="connsiteY32001"/>
              </a:cxn>
              <a:cxn ang="0">
                <a:pos x="connsiteX32002" y="connsiteY32002"/>
              </a:cxn>
              <a:cxn ang="0">
                <a:pos x="connsiteX32003" y="connsiteY32003"/>
              </a:cxn>
              <a:cxn ang="0">
                <a:pos x="connsiteX32004" y="connsiteY32004"/>
              </a:cxn>
              <a:cxn ang="0">
                <a:pos x="connsiteX32005" y="connsiteY32005"/>
              </a:cxn>
              <a:cxn ang="0">
                <a:pos x="connsiteX32006" y="connsiteY32006"/>
              </a:cxn>
              <a:cxn ang="0">
                <a:pos x="connsiteX32007" y="connsiteY32007"/>
              </a:cxn>
              <a:cxn ang="0">
                <a:pos x="connsiteX32008" y="connsiteY32008"/>
              </a:cxn>
              <a:cxn ang="0">
                <a:pos x="connsiteX32009" y="connsiteY32009"/>
              </a:cxn>
              <a:cxn ang="0">
                <a:pos x="connsiteX32010" y="connsiteY32010"/>
              </a:cxn>
              <a:cxn ang="0">
                <a:pos x="connsiteX32011" y="connsiteY32011"/>
              </a:cxn>
              <a:cxn ang="0">
                <a:pos x="connsiteX32012" y="connsiteY32012"/>
              </a:cxn>
              <a:cxn ang="0">
                <a:pos x="connsiteX32013" y="connsiteY32013"/>
              </a:cxn>
              <a:cxn ang="0">
                <a:pos x="connsiteX32014" y="connsiteY32014"/>
              </a:cxn>
              <a:cxn ang="0">
                <a:pos x="connsiteX32015" y="connsiteY32015"/>
              </a:cxn>
              <a:cxn ang="0">
                <a:pos x="connsiteX32016" y="connsiteY32016"/>
              </a:cxn>
              <a:cxn ang="0">
                <a:pos x="connsiteX32017" y="connsiteY32017"/>
              </a:cxn>
              <a:cxn ang="0">
                <a:pos x="connsiteX32018" y="connsiteY32018"/>
              </a:cxn>
              <a:cxn ang="0">
                <a:pos x="connsiteX32019" y="connsiteY32019"/>
              </a:cxn>
              <a:cxn ang="0">
                <a:pos x="connsiteX32020" y="connsiteY32020"/>
              </a:cxn>
              <a:cxn ang="0">
                <a:pos x="connsiteX32021" y="connsiteY32021"/>
              </a:cxn>
              <a:cxn ang="0">
                <a:pos x="connsiteX32022" y="connsiteY32022"/>
              </a:cxn>
              <a:cxn ang="0">
                <a:pos x="connsiteX32023" y="connsiteY32023"/>
              </a:cxn>
              <a:cxn ang="0">
                <a:pos x="connsiteX32024" y="connsiteY32024"/>
              </a:cxn>
              <a:cxn ang="0">
                <a:pos x="connsiteX32025" y="connsiteY32025"/>
              </a:cxn>
              <a:cxn ang="0">
                <a:pos x="connsiteX32026" y="connsiteY32026"/>
              </a:cxn>
              <a:cxn ang="0">
                <a:pos x="connsiteX32027" y="connsiteY32027"/>
              </a:cxn>
              <a:cxn ang="0">
                <a:pos x="connsiteX32028" y="connsiteY32028"/>
              </a:cxn>
              <a:cxn ang="0">
                <a:pos x="connsiteX32029" y="connsiteY32029"/>
              </a:cxn>
              <a:cxn ang="0">
                <a:pos x="connsiteX32030" y="connsiteY32030"/>
              </a:cxn>
              <a:cxn ang="0">
                <a:pos x="connsiteX32031" y="connsiteY32031"/>
              </a:cxn>
              <a:cxn ang="0">
                <a:pos x="connsiteX32032" y="connsiteY32032"/>
              </a:cxn>
              <a:cxn ang="0">
                <a:pos x="connsiteX32033" y="connsiteY32033"/>
              </a:cxn>
              <a:cxn ang="0">
                <a:pos x="connsiteX32034" y="connsiteY32034"/>
              </a:cxn>
              <a:cxn ang="0">
                <a:pos x="connsiteX32035" y="connsiteY32035"/>
              </a:cxn>
              <a:cxn ang="0">
                <a:pos x="connsiteX32036" y="connsiteY32036"/>
              </a:cxn>
              <a:cxn ang="0">
                <a:pos x="connsiteX32037" y="connsiteY32037"/>
              </a:cxn>
              <a:cxn ang="0">
                <a:pos x="connsiteX32038" y="connsiteY32038"/>
              </a:cxn>
              <a:cxn ang="0">
                <a:pos x="connsiteX32039" y="connsiteY32039"/>
              </a:cxn>
              <a:cxn ang="0">
                <a:pos x="connsiteX32040" y="connsiteY32040"/>
              </a:cxn>
              <a:cxn ang="0">
                <a:pos x="connsiteX32041" y="connsiteY32041"/>
              </a:cxn>
              <a:cxn ang="0">
                <a:pos x="connsiteX32042" y="connsiteY32042"/>
              </a:cxn>
              <a:cxn ang="0">
                <a:pos x="connsiteX32043" y="connsiteY32043"/>
              </a:cxn>
              <a:cxn ang="0">
                <a:pos x="connsiteX32044" y="connsiteY32044"/>
              </a:cxn>
              <a:cxn ang="0">
                <a:pos x="connsiteX32045" y="connsiteY32045"/>
              </a:cxn>
              <a:cxn ang="0">
                <a:pos x="connsiteX32046" y="connsiteY32046"/>
              </a:cxn>
              <a:cxn ang="0">
                <a:pos x="connsiteX32047" y="connsiteY32047"/>
              </a:cxn>
              <a:cxn ang="0">
                <a:pos x="connsiteX32048" y="connsiteY32048"/>
              </a:cxn>
              <a:cxn ang="0">
                <a:pos x="connsiteX32049" y="connsiteY32049"/>
              </a:cxn>
              <a:cxn ang="0">
                <a:pos x="connsiteX32050" y="connsiteY32050"/>
              </a:cxn>
              <a:cxn ang="0">
                <a:pos x="connsiteX32051" y="connsiteY32051"/>
              </a:cxn>
              <a:cxn ang="0">
                <a:pos x="connsiteX32052" y="connsiteY32052"/>
              </a:cxn>
              <a:cxn ang="0">
                <a:pos x="connsiteX32053" y="connsiteY32053"/>
              </a:cxn>
              <a:cxn ang="0">
                <a:pos x="connsiteX32054" y="connsiteY32054"/>
              </a:cxn>
              <a:cxn ang="0">
                <a:pos x="connsiteX32055" y="connsiteY32055"/>
              </a:cxn>
              <a:cxn ang="0">
                <a:pos x="connsiteX32056" y="connsiteY32056"/>
              </a:cxn>
              <a:cxn ang="0">
                <a:pos x="connsiteX32057" y="connsiteY32057"/>
              </a:cxn>
              <a:cxn ang="0">
                <a:pos x="connsiteX32058" y="connsiteY32058"/>
              </a:cxn>
              <a:cxn ang="0">
                <a:pos x="connsiteX32059" y="connsiteY32059"/>
              </a:cxn>
              <a:cxn ang="0">
                <a:pos x="connsiteX32060" y="connsiteY32060"/>
              </a:cxn>
              <a:cxn ang="0">
                <a:pos x="connsiteX32061" y="connsiteY32061"/>
              </a:cxn>
              <a:cxn ang="0">
                <a:pos x="connsiteX32062" y="connsiteY32062"/>
              </a:cxn>
              <a:cxn ang="0">
                <a:pos x="connsiteX32063" y="connsiteY32063"/>
              </a:cxn>
              <a:cxn ang="0">
                <a:pos x="connsiteX32064" y="connsiteY32064"/>
              </a:cxn>
              <a:cxn ang="0">
                <a:pos x="connsiteX32065" y="connsiteY32065"/>
              </a:cxn>
              <a:cxn ang="0">
                <a:pos x="connsiteX32066" y="connsiteY32066"/>
              </a:cxn>
              <a:cxn ang="0">
                <a:pos x="connsiteX32067" y="connsiteY32067"/>
              </a:cxn>
              <a:cxn ang="0">
                <a:pos x="connsiteX32068" y="connsiteY32068"/>
              </a:cxn>
              <a:cxn ang="0">
                <a:pos x="connsiteX32069" y="connsiteY32069"/>
              </a:cxn>
              <a:cxn ang="0">
                <a:pos x="connsiteX32070" y="connsiteY32070"/>
              </a:cxn>
              <a:cxn ang="0">
                <a:pos x="connsiteX32071" y="connsiteY32071"/>
              </a:cxn>
              <a:cxn ang="0">
                <a:pos x="connsiteX32072" y="connsiteY32072"/>
              </a:cxn>
              <a:cxn ang="0">
                <a:pos x="connsiteX32073" y="connsiteY32073"/>
              </a:cxn>
              <a:cxn ang="0">
                <a:pos x="connsiteX32074" y="connsiteY32074"/>
              </a:cxn>
              <a:cxn ang="0">
                <a:pos x="connsiteX32075" y="connsiteY32075"/>
              </a:cxn>
              <a:cxn ang="0">
                <a:pos x="connsiteX32076" y="connsiteY32076"/>
              </a:cxn>
              <a:cxn ang="0">
                <a:pos x="connsiteX32077" y="connsiteY32077"/>
              </a:cxn>
              <a:cxn ang="0">
                <a:pos x="connsiteX32078" y="connsiteY32078"/>
              </a:cxn>
              <a:cxn ang="0">
                <a:pos x="connsiteX32079" y="connsiteY32079"/>
              </a:cxn>
              <a:cxn ang="0">
                <a:pos x="connsiteX32080" y="connsiteY32080"/>
              </a:cxn>
              <a:cxn ang="0">
                <a:pos x="connsiteX32081" y="connsiteY32081"/>
              </a:cxn>
              <a:cxn ang="0">
                <a:pos x="connsiteX32082" y="connsiteY32082"/>
              </a:cxn>
              <a:cxn ang="0">
                <a:pos x="connsiteX32083" y="connsiteY32083"/>
              </a:cxn>
              <a:cxn ang="0">
                <a:pos x="connsiteX32084" y="connsiteY32084"/>
              </a:cxn>
              <a:cxn ang="0">
                <a:pos x="connsiteX32085" y="connsiteY32085"/>
              </a:cxn>
              <a:cxn ang="0">
                <a:pos x="connsiteX32086" y="connsiteY32086"/>
              </a:cxn>
              <a:cxn ang="0">
                <a:pos x="connsiteX32087" y="connsiteY32087"/>
              </a:cxn>
              <a:cxn ang="0">
                <a:pos x="connsiteX32088" y="connsiteY32088"/>
              </a:cxn>
              <a:cxn ang="0">
                <a:pos x="connsiteX32089" y="connsiteY32089"/>
              </a:cxn>
              <a:cxn ang="0">
                <a:pos x="connsiteX32090" y="connsiteY32090"/>
              </a:cxn>
              <a:cxn ang="0">
                <a:pos x="connsiteX32091" y="connsiteY32091"/>
              </a:cxn>
              <a:cxn ang="0">
                <a:pos x="connsiteX32092" y="connsiteY32092"/>
              </a:cxn>
              <a:cxn ang="0">
                <a:pos x="connsiteX32093" y="connsiteY32093"/>
              </a:cxn>
              <a:cxn ang="0">
                <a:pos x="connsiteX32094" y="connsiteY32094"/>
              </a:cxn>
              <a:cxn ang="0">
                <a:pos x="connsiteX32095" y="connsiteY32095"/>
              </a:cxn>
              <a:cxn ang="0">
                <a:pos x="connsiteX32096" y="connsiteY32096"/>
              </a:cxn>
              <a:cxn ang="0">
                <a:pos x="connsiteX32097" y="connsiteY32097"/>
              </a:cxn>
              <a:cxn ang="0">
                <a:pos x="connsiteX32098" y="connsiteY32098"/>
              </a:cxn>
              <a:cxn ang="0">
                <a:pos x="connsiteX32099" y="connsiteY32099"/>
              </a:cxn>
              <a:cxn ang="0">
                <a:pos x="connsiteX32100" y="connsiteY32100"/>
              </a:cxn>
              <a:cxn ang="0">
                <a:pos x="connsiteX32101" y="connsiteY32101"/>
              </a:cxn>
              <a:cxn ang="0">
                <a:pos x="connsiteX32102" y="connsiteY32102"/>
              </a:cxn>
              <a:cxn ang="0">
                <a:pos x="connsiteX32103" y="connsiteY32103"/>
              </a:cxn>
              <a:cxn ang="0">
                <a:pos x="connsiteX32104" y="connsiteY32104"/>
              </a:cxn>
              <a:cxn ang="0">
                <a:pos x="connsiteX32105" y="connsiteY32105"/>
              </a:cxn>
              <a:cxn ang="0">
                <a:pos x="connsiteX32106" y="connsiteY32106"/>
              </a:cxn>
              <a:cxn ang="0">
                <a:pos x="connsiteX32107" y="connsiteY32107"/>
              </a:cxn>
              <a:cxn ang="0">
                <a:pos x="connsiteX32108" y="connsiteY32108"/>
              </a:cxn>
              <a:cxn ang="0">
                <a:pos x="connsiteX32109" y="connsiteY32109"/>
              </a:cxn>
              <a:cxn ang="0">
                <a:pos x="connsiteX32110" y="connsiteY32110"/>
              </a:cxn>
              <a:cxn ang="0">
                <a:pos x="connsiteX32111" y="connsiteY32111"/>
              </a:cxn>
              <a:cxn ang="0">
                <a:pos x="connsiteX32112" y="connsiteY32112"/>
              </a:cxn>
              <a:cxn ang="0">
                <a:pos x="connsiteX32113" y="connsiteY32113"/>
              </a:cxn>
              <a:cxn ang="0">
                <a:pos x="connsiteX32114" y="connsiteY32114"/>
              </a:cxn>
              <a:cxn ang="0">
                <a:pos x="connsiteX32115" y="connsiteY32115"/>
              </a:cxn>
              <a:cxn ang="0">
                <a:pos x="connsiteX32116" y="connsiteY32116"/>
              </a:cxn>
              <a:cxn ang="0">
                <a:pos x="connsiteX32117" y="connsiteY32117"/>
              </a:cxn>
              <a:cxn ang="0">
                <a:pos x="connsiteX32118" y="connsiteY32118"/>
              </a:cxn>
              <a:cxn ang="0">
                <a:pos x="connsiteX32119" y="connsiteY32119"/>
              </a:cxn>
              <a:cxn ang="0">
                <a:pos x="connsiteX32120" y="connsiteY32120"/>
              </a:cxn>
              <a:cxn ang="0">
                <a:pos x="connsiteX32121" y="connsiteY32121"/>
              </a:cxn>
              <a:cxn ang="0">
                <a:pos x="connsiteX32122" y="connsiteY32122"/>
              </a:cxn>
              <a:cxn ang="0">
                <a:pos x="connsiteX32123" y="connsiteY32123"/>
              </a:cxn>
              <a:cxn ang="0">
                <a:pos x="connsiteX32124" y="connsiteY32124"/>
              </a:cxn>
              <a:cxn ang="0">
                <a:pos x="connsiteX32125" y="connsiteY32125"/>
              </a:cxn>
              <a:cxn ang="0">
                <a:pos x="connsiteX32126" y="connsiteY32126"/>
              </a:cxn>
              <a:cxn ang="0">
                <a:pos x="connsiteX32127" y="connsiteY32127"/>
              </a:cxn>
              <a:cxn ang="0">
                <a:pos x="connsiteX32128" y="connsiteY32128"/>
              </a:cxn>
              <a:cxn ang="0">
                <a:pos x="connsiteX32129" y="connsiteY32129"/>
              </a:cxn>
              <a:cxn ang="0">
                <a:pos x="connsiteX32130" y="connsiteY32130"/>
              </a:cxn>
              <a:cxn ang="0">
                <a:pos x="connsiteX32131" y="connsiteY32131"/>
              </a:cxn>
              <a:cxn ang="0">
                <a:pos x="connsiteX32132" y="connsiteY32132"/>
              </a:cxn>
              <a:cxn ang="0">
                <a:pos x="connsiteX32133" y="connsiteY32133"/>
              </a:cxn>
              <a:cxn ang="0">
                <a:pos x="connsiteX32134" y="connsiteY32134"/>
              </a:cxn>
              <a:cxn ang="0">
                <a:pos x="connsiteX32135" y="connsiteY32135"/>
              </a:cxn>
              <a:cxn ang="0">
                <a:pos x="connsiteX32136" y="connsiteY32136"/>
              </a:cxn>
              <a:cxn ang="0">
                <a:pos x="connsiteX32137" y="connsiteY32137"/>
              </a:cxn>
              <a:cxn ang="0">
                <a:pos x="connsiteX32138" y="connsiteY32138"/>
              </a:cxn>
              <a:cxn ang="0">
                <a:pos x="connsiteX32139" y="connsiteY32139"/>
              </a:cxn>
              <a:cxn ang="0">
                <a:pos x="connsiteX32140" y="connsiteY32140"/>
              </a:cxn>
              <a:cxn ang="0">
                <a:pos x="connsiteX32141" y="connsiteY32141"/>
              </a:cxn>
              <a:cxn ang="0">
                <a:pos x="connsiteX32142" y="connsiteY32142"/>
              </a:cxn>
              <a:cxn ang="0">
                <a:pos x="connsiteX32143" y="connsiteY32143"/>
              </a:cxn>
              <a:cxn ang="0">
                <a:pos x="connsiteX32144" y="connsiteY32144"/>
              </a:cxn>
              <a:cxn ang="0">
                <a:pos x="connsiteX32145" y="connsiteY32145"/>
              </a:cxn>
              <a:cxn ang="0">
                <a:pos x="connsiteX32146" y="connsiteY32146"/>
              </a:cxn>
              <a:cxn ang="0">
                <a:pos x="connsiteX32147" y="connsiteY32147"/>
              </a:cxn>
              <a:cxn ang="0">
                <a:pos x="connsiteX32148" y="connsiteY32148"/>
              </a:cxn>
              <a:cxn ang="0">
                <a:pos x="connsiteX32149" y="connsiteY32149"/>
              </a:cxn>
              <a:cxn ang="0">
                <a:pos x="connsiteX32150" y="connsiteY32150"/>
              </a:cxn>
              <a:cxn ang="0">
                <a:pos x="connsiteX32151" y="connsiteY32151"/>
              </a:cxn>
              <a:cxn ang="0">
                <a:pos x="connsiteX32152" y="connsiteY32152"/>
              </a:cxn>
              <a:cxn ang="0">
                <a:pos x="connsiteX32153" y="connsiteY32153"/>
              </a:cxn>
              <a:cxn ang="0">
                <a:pos x="connsiteX32154" y="connsiteY32154"/>
              </a:cxn>
              <a:cxn ang="0">
                <a:pos x="connsiteX32155" y="connsiteY32155"/>
              </a:cxn>
              <a:cxn ang="0">
                <a:pos x="connsiteX32156" y="connsiteY32156"/>
              </a:cxn>
              <a:cxn ang="0">
                <a:pos x="connsiteX32157" y="connsiteY32157"/>
              </a:cxn>
              <a:cxn ang="0">
                <a:pos x="connsiteX32158" y="connsiteY32158"/>
              </a:cxn>
              <a:cxn ang="0">
                <a:pos x="connsiteX32159" y="connsiteY32159"/>
              </a:cxn>
              <a:cxn ang="0">
                <a:pos x="connsiteX32160" y="connsiteY32160"/>
              </a:cxn>
              <a:cxn ang="0">
                <a:pos x="connsiteX32161" y="connsiteY32161"/>
              </a:cxn>
              <a:cxn ang="0">
                <a:pos x="connsiteX32162" y="connsiteY32162"/>
              </a:cxn>
              <a:cxn ang="0">
                <a:pos x="connsiteX32163" y="connsiteY32163"/>
              </a:cxn>
              <a:cxn ang="0">
                <a:pos x="connsiteX32164" y="connsiteY32164"/>
              </a:cxn>
              <a:cxn ang="0">
                <a:pos x="connsiteX32165" y="connsiteY32165"/>
              </a:cxn>
              <a:cxn ang="0">
                <a:pos x="connsiteX32166" y="connsiteY32166"/>
              </a:cxn>
              <a:cxn ang="0">
                <a:pos x="connsiteX32167" y="connsiteY32167"/>
              </a:cxn>
              <a:cxn ang="0">
                <a:pos x="connsiteX32168" y="connsiteY32168"/>
              </a:cxn>
              <a:cxn ang="0">
                <a:pos x="connsiteX32169" y="connsiteY32169"/>
              </a:cxn>
              <a:cxn ang="0">
                <a:pos x="connsiteX32170" y="connsiteY32170"/>
              </a:cxn>
              <a:cxn ang="0">
                <a:pos x="connsiteX32171" y="connsiteY32171"/>
              </a:cxn>
              <a:cxn ang="0">
                <a:pos x="connsiteX32172" y="connsiteY32172"/>
              </a:cxn>
              <a:cxn ang="0">
                <a:pos x="connsiteX32173" y="connsiteY32173"/>
              </a:cxn>
              <a:cxn ang="0">
                <a:pos x="connsiteX32174" y="connsiteY32174"/>
              </a:cxn>
              <a:cxn ang="0">
                <a:pos x="connsiteX32175" y="connsiteY32175"/>
              </a:cxn>
              <a:cxn ang="0">
                <a:pos x="connsiteX32176" y="connsiteY32176"/>
              </a:cxn>
              <a:cxn ang="0">
                <a:pos x="connsiteX32177" y="connsiteY32177"/>
              </a:cxn>
              <a:cxn ang="0">
                <a:pos x="connsiteX32178" y="connsiteY32178"/>
              </a:cxn>
              <a:cxn ang="0">
                <a:pos x="connsiteX32179" y="connsiteY32179"/>
              </a:cxn>
              <a:cxn ang="0">
                <a:pos x="connsiteX32180" y="connsiteY32180"/>
              </a:cxn>
              <a:cxn ang="0">
                <a:pos x="connsiteX32181" y="connsiteY32181"/>
              </a:cxn>
              <a:cxn ang="0">
                <a:pos x="connsiteX32182" y="connsiteY32182"/>
              </a:cxn>
              <a:cxn ang="0">
                <a:pos x="connsiteX32183" y="connsiteY32183"/>
              </a:cxn>
              <a:cxn ang="0">
                <a:pos x="connsiteX32184" y="connsiteY32184"/>
              </a:cxn>
              <a:cxn ang="0">
                <a:pos x="connsiteX32185" y="connsiteY32185"/>
              </a:cxn>
              <a:cxn ang="0">
                <a:pos x="connsiteX32186" y="connsiteY32186"/>
              </a:cxn>
              <a:cxn ang="0">
                <a:pos x="connsiteX32187" y="connsiteY32187"/>
              </a:cxn>
              <a:cxn ang="0">
                <a:pos x="connsiteX32188" y="connsiteY32188"/>
              </a:cxn>
              <a:cxn ang="0">
                <a:pos x="connsiteX32189" y="connsiteY32189"/>
              </a:cxn>
              <a:cxn ang="0">
                <a:pos x="connsiteX32190" y="connsiteY32190"/>
              </a:cxn>
              <a:cxn ang="0">
                <a:pos x="connsiteX32191" y="connsiteY32191"/>
              </a:cxn>
              <a:cxn ang="0">
                <a:pos x="connsiteX32192" y="connsiteY32192"/>
              </a:cxn>
              <a:cxn ang="0">
                <a:pos x="connsiteX32193" y="connsiteY32193"/>
              </a:cxn>
              <a:cxn ang="0">
                <a:pos x="connsiteX32194" y="connsiteY32194"/>
              </a:cxn>
              <a:cxn ang="0">
                <a:pos x="connsiteX32195" y="connsiteY32195"/>
              </a:cxn>
              <a:cxn ang="0">
                <a:pos x="connsiteX32196" y="connsiteY32196"/>
              </a:cxn>
              <a:cxn ang="0">
                <a:pos x="connsiteX32197" y="connsiteY32197"/>
              </a:cxn>
              <a:cxn ang="0">
                <a:pos x="connsiteX32198" y="connsiteY32198"/>
              </a:cxn>
              <a:cxn ang="0">
                <a:pos x="connsiteX32199" y="connsiteY32199"/>
              </a:cxn>
              <a:cxn ang="0">
                <a:pos x="connsiteX32200" y="connsiteY32200"/>
              </a:cxn>
              <a:cxn ang="0">
                <a:pos x="connsiteX32201" y="connsiteY32201"/>
              </a:cxn>
              <a:cxn ang="0">
                <a:pos x="connsiteX32202" y="connsiteY32202"/>
              </a:cxn>
              <a:cxn ang="0">
                <a:pos x="connsiteX32203" y="connsiteY32203"/>
              </a:cxn>
              <a:cxn ang="0">
                <a:pos x="connsiteX32204" y="connsiteY32204"/>
              </a:cxn>
              <a:cxn ang="0">
                <a:pos x="connsiteX32205" y="connsiteY32205"/>
              </a:cxn>
              <a:cxn ang="0">
                <a:pos x="connsiteX32206" y="connsiteY32206"/>
              </a:cxn>
              <a:cxn ang="0">
                <a:pos x="connsiteX32207" y="connsiteY32207"/>
              </a:cxn>
              <a:cxn ang="0">
                <a:pos x="connsiteX32208" y="connsiteY32208"/>
              </a:cxn>
              <a:cxn ang="0">
                <a:pos x="connsiteX32209" y="connsiteY32209"/>
              </a:cxn>
              <a:cxn ang="0">
                <a:pos x="connsiteX32210" y="connsiteY32210"/>
              </a:cxn>
              <a:cxn ang="0">
                <a:pos x="connsiteX32211" y="connsiteY32211"/>
              </a:cxn>
              <a:cxn ang="0">
                <a:pos x="connsiteX32212" y="connsiteY32212"/>
              </a:cxn>
              <a:cxn ang="0">
                <a:pos x="connsiteX32213" y="connsiteY32213"/>
              </a:cxn>
              <a:cxn ang="0">
                <a:pos x="connsiteX32214" y="connsiteY32214"/>
              </a:cxn>
              <a:cxn ang="0">
                <a:pos x="connsiteX32215" y="connsiteY32215"/>
              </a:cxn>
              <a:cxn ang="0">
                <a:pos x="connsiteX32216" y="connsiteY32216"/>
              </a:cxn>
              <a:cxn ang="0">
                <a:pos x="connsiteX32217" y="connsiteY32217"/>
              </a:cxn>
              <a:cxn ang="0">
                <a:pos x="connsiteX32218" y="connsiteY32218"/>
              </a:cxn>
              <a:cxn ang="0">
                <a:pos x="connsiteX32219" y="connsiteY32219"/>
              </a:cxn>
              <a:cxn ang="0">
                <a:pos x="connsiteX32220" y="connsiteY32220"/>
              </a:cxn>
              <a:cxn ang="0">
                <a:pos x="connsiteX32221" y="connsiteY32221"/>
              </a:cxn>
              <a:cxn ang="0">
                <a:pos x="connsiteX32222" y="connsiteY32222"/>
              </a:cxn>
              <a:cxn ang="0">
                <a:pos x="connsiteX32223" y="connsiteY32223"/>
              </a:cxn>
              <a:cxn ang="0">
                <a:pos x="connsiteX32224" y="connsiteY32224"/>
              </a:cxn>
              <a:cxn ang="0">
                <a:pos x="connsiteX32225" y="connsiteY32225"/>
              </a:cxn>
              <a:cxn ang="0">
                <a:pos x="connsiteX32226" y="connsiteY32226"/>
              </a:cxn>
              <a:cxn ang="0">
                <a:pos x="connsiteX32227" y="connsiteY32227"/>
              </a:cxn>
              <a:cxn ang="0">
                <a:pos x="connsiteX32228" y="connsiteY32228"/>
              </a:cxn>
              <a:cxn ang="0">
                <a:pos x="connsiteX32229" y="connsiteY32229"/>
              </a:cxn>
              <a:cxn ang="0">
                <a:pos x="connsiteX32230" y="connsiteY32230"/>
              </a:cxn>
              <a:cxn ang="0">
                <a:pos x="connsiteX32231" y="connsiteY32231"/>
              </a:cxn>
              <a:cxn ang="0">
                <a:pos x="connsiteX32232" y="connsiteY32232"/>
              </a:cxn>
              <a:cxn ang="0">
                <a:pos x="connsiteX32233" y="connsiteY32233"/>
              </a:cxn>
              <a:cxn ang="0">
                <a:pos x="connsiteX32234" y="connsiteY32234"/>
              </a:cxn>
              <a:cxn ang="0">
                <a:pos x="connsiteX32235" y="connsiteY32235"/>
              </a:cxn>
              <a:cxn ang="0">
                <a:pos x="connsiteX32236" y="connsiteY32236"/>
              </a:cxn>
              <a:cxn ang="0">
                <a:pos x="connsiteX32237" y="connsiteY32237"/>
              </a:cxn>
              <a:cxn ang="0">
                <a:pos x="connsiteX32238" y="connsiteY32238"/>
              </a:cxn>
              <a:cxn ang="0">
                <a:pos x="connsiteX32239" y="connsiteY32239"/>
              </a:cxn>
              <a:cxn ang="0">
                <a:pos x="connsiteX32240" y="connsiteY32240"/>
              </a:cxn>
              <a:cxn ang="0">
                <a:pos x="connsiteX32241" y="connsiteY32241"/>
              </a:cxn>
              <a:cxn ang="0">
                <a:pos x="connsiteX32242" y="connsiteY32242"/>
              </a:cxn>
              <a:cxn ang="0">
                <a:pos x="connsiteX32243" y="connsiteY32243"/>
              </a:cxn>
              <a:cxn ang="0">
                <a:pos x="connsiteX32244" y="connsiteY32244"/>
              </a:cxn>
              <a:cxn ang="0">
                <a:pos x="connsiteX32245" y="connsiteY32245"/>
              </a:cxn>
              <a:cxn ang="0">
                <a:pos x="connsiteX32246" y="connsiteY32246"/>
              </a:cxn>
              <a:cxn ang="0">
                <a:pos x="connsiteX32247" y="connsiteY32247"/>
              </a:cxn>
              <a:cxn ang="0">
                <a:pos x="connsiteX32248" y="connsiteY32248"/>
              </a:cxn>
              <a:cxn ang="0">
                <a:pos x="connsiteX32249" y="connsiteY32249"/>
              </a:cxn>
              <a:cxn ang="0">
                <a:pos x="connsiteX32250" y="connsiteY32250"/>
              </a:cxn>
              <a:cxn ang="0">
                <a:pos x="connsiteX32251" y="connsiteY32251"/>
              </a:cxn>
              <a:cxn ang="0">
                <a:pos x="connsiteX32252" y="connsiteY32252"/>
              </a:cxn>
              <a:cxn ang="0">
                <a:pos x="connsiteX32253" y="connsiteY32253"/>
              </a:cxn>
              <a:cxn ang="0">
                <a:pos x="connsiteX32254" y="connsiteY32254"/>
              </a:cxn>
              <a:cxn ang="0">
                <a:pos x="connsiteX32255" y="connsiteY32255"/>
              </a:cxn>
              <a:cxn ang="0">
                <a:pos x="connsiteX32256" y="connsiteY32256"/>
              </a:cxn>
              <a:cxn ang="0">
                <a:pos x="connsiteX32257" y="connsiteY32257"/>
              </a:cxn>
              <a:cxn ang="0">
                <a:pos x="connsiteX32258" y="connsiteY32258"/>
              </a:cxn>
              <a:cxn ang="0">
                <a:pos x="connsiteX32259" y="connsiteY32259"/>
              </a:cxn>
              <a:cxn ang="0">
                <a:pos x="connsiteX32260" y="connsiteY32260"/>
              </a:cxn>
              <a:cxn ang="0">
                <a:pos x="connsiteX32261" y="connsiteY32261"/>
              </a:cxn>
              <a:cxn ang="0">
                <a:pos x="connsiteX32262" y="connsiteY32262"/>
              </a:cxn>
              <a:cxn ang="0">
                <a:pos x="connsiteX32263" y="connsiteY32263"/>
              </a:cxn>
              <a:cxn ang="0">
                <a:pos x="connsiteX32264" y="connsiteY32264"/>
              </a:cxn>
              <a:cxn ang="0">
                <a:pos x="connsiteX32265" y="connsiteY32265"/>
              </a:cxn>
              <a:cxn ang="0">
                <a:pos x="connsiteX32266" y="connsiteY32266"/>
              </a:cxn>
              <a:cxn ang="0">
                <a:pos x="connsiteX32267" y="connsiteY32267"/>
              </a:cxn>
              <a:cxn ang="0">
                <a:pos x="connsiteX32268" y="connsiteY32268"/>
              </a:cxn>
              <a:cxn ang="0">
                <a:pos x="connsiteX32269" y="connsiteY32269"/>
              </a:cxn>
              <a:cxn ang="0">
                <a:pos x="connsiteX32270" y="connsiteY32270"/>
              </a:cxn>
              <a:cxn ang="0">
                <a:pos x="connsiteX32271" y="connsiteY32271"/>
              </a:cxn>
              <a:cxn ang="0">
                <a:pos x="connsiteX32272" y="connsiteY32272"/>
              </a:cxn>
              <a:cxn ang="0">
                <a:pos x="connsiteX32273" y="connsiteY32273"/>
              </a:cxn>
              <a:cxn ang="0">
                <a:pos x="connsiteX32274" y="connsiteY32274"/>
              </a:cxn>
              <a:cxn ang="0">
                <a:pos x="connsiteX32275" y="connsiteY32275"/>
              </a:cxn>
              <a:cxn ang="0">
                <a:pos x="connsiteX32276" y="connsiteY32276"/>
              </a:cxn>
              <a:cxn ang="0">
                <a:pos x="connsiteX32277" y="connsiteY32277"/>
              </a:cxn>
              <a:cxn ang="0">
                <a:pos x="connsiteX32278" y="connsiteY32278"/>
              </a:cxn>
              <a:cxn ang="0">
                <a:pos x="connsiteX32279" y="connsiteY32279"/>
              </a:cxn>
              <a:cxn ang="0">
                <a:pos x="connsiteX32280" y="connsiteY32280"/>
              </a:cxn>
              <a:cxn ang="0">
                <a:pos x="connsiteX32281" y="connsiteY32281"/>
              </a:cxn>
              <a:cxn ang="0">
                <a:pos x="connsiteX32282" y="connsiteY32282"/>
              </a:cxn>
              <a:cxn ang="0">
                <a:pos x="connsiteX32283" y="connsiteY32283"/>
              </a:cxn>
              <a:cxn ang="0">
                <a:pos x="connsiteX32284" y="connsiteY32284"/>
              </a:cxn>
              <a:cxn ang="0">
                <a:pos x="connsiteX32285" y="connsiteY32285"/>
              </a:cxn>
              <a:cxn ang="0">
                <a:pos x="connsiteX32286" y="connsiteY32286"/>
              </a:cxn>
              <a:cxn ang="0">
                <a:pos x="connsiteX32287" y="connsiteY32287"/>
              </a:cxn>
              <a:cxn ang="0">
                <a:pos x="connsiteX32288" y="connsiteY32288"/>
              </a:cxn>
              <a:cxn ang="0">
                <a:pos x="connsiteX32289" y="connsiteY32289"/>
              </a:cxn>
              <a:cxn ang="0">
                <a:pos x="connsiteX32290" y="connsiteY32290"/>
              </a:cxn>
              <a:cxn ang="0">
                <a:pos x="connsiteX32291" y="connsiteY32291"/>
              </a:cxn>
              <a:cxn ang="0">
                <a:pos x="connsiteX32292" y="connsiteY32292"/>
              </a:cxn>
              <a:cxn ang="0">
                <a:pos x="connsiteX32293" y="connsiteY32293"/>
              </a:cxn>
              <a:cxn ang="0">
                <a:pos x="connsiteX32294" y="connsiteY32294"/>
              </a:cxn>
              <a:cxn ang="0">
                <a:pos x="connsiteX32295" y="connsiteY32295"/>
              </a:cxn>
              <a:cxn ang="0">
                <a:pos x="connsiteX32296" y="connsiteY32296"/>
              </a:cxn>
              <a:cxn ang="0">
                <a:pos x="connsiteX32297" y="connsiteY32297"/>
              </a:cxn>
              <a:cxn ang="0">
                <a:pos x="connsiteX32298" y="connsiteY32298"/>
              </a:cxn>
              <a:cxn ang="0">
                <a:pos x="connsiteX32299" y="connsiteY32299"/>
              </a:cxn>
              <a:cxn ang="0">
                <a:pos x="connsiteX32300" y="connsiteY32300"/>
              </a:cxn>
              <a:cxn ang="0">
                <a:pos x="connsiteX32301" y="connsiteY32301"/>
              </a:cxn>
              <a:cxn ang="0">
                <a:pos x="connsiteX32302" y="connsiteY32302"/>
              </a:cxn>
              <a:cxn ang="0">
                <a:pos x="connsiteX32303" y="connsiteY32303"/>
              </a:cxn>
              <a:cxn ang="0">
                <a:pos x="connsiteX32304" y="connsiteY32304"/>
              </a:cxn>
              <a:cxn ang="0">
                <a:pos x="connsiteX32305" y="connsiteY32305"/>
              </a:cxn>
              <a:cxn ang="0">
                <a:pos x="connsiteX32306" y="connsiteY32306"/>
              </a:cxn>
              <a:cxn ang="0">
                <a:pos x="connsiteX32307" y="connsiteY32307"/>
              </a:cxn>
              <a:cxn ang="0">
                <a:pos x="connsiteX32308" y="connsiteY32308"/>
              </a:cxn>
              <a:cxn ang="0">
                <a:pos x="connsiteX32309" y="connsiteY32309"/>
              </a:cxn>
              <a:cxn ang="0">
                <a:pos x="connsiteX32310" y="connsiteY32310"/>
              </a:cxn>
              <a:cxn ang="0">
                <a:pos x="connsiteX32311" y="connsiteY32311"/>
              </a:cxn>
              <a:cxn ang="0">
                <a:pos x="connsiteX32312" y="connsiteY32312"/>
              </a:cxn>
              <a:cxn ang="0">
                <a:pos x="connsiteX32313" y="connsiteY32313"/>
              </a:cxn>
              <a:cxn ang="0">
                <a:pos x="connsiteX32314" y="connsiteY32314"/>
              </a:cxn>
              <a:cxn ang="0">
                <a:pos x="connsiteX32315" y="connsiteY32315"/>
              </a:cxn>
              <a:cxn ang="0">
                <a:pos x="connsiteX32316" y="connsiteY32316"/>
              </a:cxn>
              <a:cxn ang="0">
                <a:pos x="connsiteX32317" y="connsiteY32317"/>
              </a:cxn>
              <a:cxn ang="0">
                <a:pos x="connsiteX32318" y="connsiteY32318"/>
              </a:cxn>
              <a:cxn ang="0">
                <a:pos x="connsiteX32319" y="connsiteY32319"/>
              </a:cxn>
              <a:cxn ang="0">
                <a:pos x="connsiteX32320" y="connsiteY32320"/>
              </a:cxn>
              <a:cxn ang="0">
                <a:pos x="connsiteX32321" y="connsiteY32321"/>
              </a:cxn>
              <a:cxn ang="0">
                <a:pos x="connsiteX32322" y="connsiteY32322"/>
              </a:cxn>
              <a:cxn ang="0">
                <a:pos x="connsiteX32323" y="connsiteY32323"/>
              </a:cxn>
              <a:cxn ang="0">
                <a:pos x="connsiteX32324" y="connsiteY32324"/>
              </a:cxn>
              <a:cxn ang="0">
                <a:pos x="connsiteX32325" y="connsiteY32325"/>
              </a:cxn>
              <a:cxn ang="0">
                <a:pos x="connsiteX32326" y="connsiteY32326"/>
              </a:cxn>
              <a:cxn ang="0">
                <a:pos x="connsiteX32327" y="connsiteY32327"/>
              </a:cxn>
              <a:cxn ang="0">
                <a:pos x="connsiteX32328" y="connsiteY32328"/>
              </a:cxn>
              <a:cxn ang="0">
                <a:pos x="connsiteX32329" y="connsiteY32329"/>
              </a:cxn>
              <a:cxn ang="0">
                <a:pos x="connsiteX32330" y="connsiteY32330"/>
              </a:cxn>
              <a:cxn ang="0">
                <a:pos x="connsiteX32331" y="connsiteY32331"/>
              </a:cxn>
              <a:cxn ang="0">
                <a:pos x="connsiteX32332" y="connsiteY32332"/>
              </a:cxn>
              <a:cxn ang="0">
                <a:pos x="connsiteX32333" y="connsiteY32333"/>
              </a:cxn>
              <a:cxn ang="0">
                <a:pos x="connsiteX32334" y="connsiteY32334"/>
              </a:cxn>
              <a:cxn ang="0">
                <a:pos x="connsiteX32335" y="connsiteY32335"/>
              </a:cxn>
              <a:cxn ang="0">
                <a:pos x="connsiteX32336" y="connsiteY32336"/>
              </a:cxn>
              <a:cxn ang="0">
                <a:pos x="connsiteX32337" y="connsiteY32337"/>
              </a:cxn>
              <a:cxn ang="0">
                <a:pos x="connsiteX32338" y="connsiteY32338"/>
              </a:cxn>
              <a:cxn ang="0">
                <a:pos x="connsiteX32339" y="connsiteY32339"/>
              </a:cxn>
              <a:cxn ang="0">
                <a:pos x="connsiteX32340" y="connsiteY32340"/>
              </a:cxn>
              <a:cxn ang="0">
                <a:pos x="connsiteX32341" y="connsiteY32341"/>
              </a:cxn>
              <a:cxn ang="0">
                <a:pos x="connsiteX32342" y="connsiteY32342"/>
              </a:cxn>
              <a:cxn ang="0">
                <a:pos x="connsiteX32343" y="connsiteY32343"/>
              </a:cxn>
              <a:cxn ang="0">
                <a:pos x="connsiteX32344" y="connsiteY32344"/>
              </a:cxn>
              <a:cxn ang="0">
                <a:pos x="connsiteX32345" y="connsiteY32345"/>
              </a:cxn>
              <a:cxn ang="0">
                <a:pos x="connsiteX32346" y="connsiteY32346"/>
              </a:cxn>
              <a:cxn ang="0">
                <a:pos x="connsiteX32347" y="connsiteY32347"/>
              </a:cxn>
              <a:cxn ang="0">
                <a:pos x="connsiteX32348" y="connsiteY32348"/>
              </a:cxn>
              <a:cxn ang="0">
                <a:pos x="connsiteX32349" y="connsiteY32349"/>
              </a:cxn>
              <a:cxn ang="0">
                <a:pos x="connsiteX32350" y="connsiteY32350"/>
              </a:cxn>
              <a:cxn ang="0">
                <a:pos x="connsiteX32351" y="connsiteY32351"/>
              </a:cxn>
              <a:cxn ang="0">
                <a:pos x="connsiteX32352" y="connsiteY32352"/>
              </a:cxn>
              <a:cxn ang="0">
                <a:pos x="connsiteX32353" y="connsiteY32353"/>
              </a:cxn>
              <a:cxn ang="0">
                <a:pos x="connsiteX32354" y="connsiteY32354"/>
              </a:cxn>
              <a:cxn ang="0">
                <a:pos x="connsiteX32355" y="connsiteY32355"/>
              </a:cxn>
              <a:cxn ang="0">
                <a:pos x="connsiteX32356" y="connsiteY32356"/>
              </a:cxn>
              <a:cxn ang="0">
                <a:pos x="connsiteX32357" y="connsiteY32357"/>
              </a:cxn>
              <a:cxn ang="0">
                <a:pos x="connsiteX32358" y="connsiteY32358"/>
              </a:cxn>
              <a:cxn ang="0">
                <a:pos x="connsiteX32359" y="connsiteY32359"/>
              </a:cxn>
              <a:cxn ang="0">
                <a:pos x="connsiteX32360" y="connsiteY32360"/>
              </a:cxn>
              <a:cxn ang="0">
                <a:pos x="connsiteX32361" y="connsiteY32361"/>
              </a:cxn>
              <a:cxn ang="0">
                <a:pos x="connsiteX32362" y="connsiteY32362"/>
              </a:cxn>
              <a:cxn ang="0">
                <a:pos x="connsiteX32363" y="connsiteY32363"/>
              </a:cxn>
              <a:cxn ang="0">
                <a:pos x="connsiteX32364" y="connsiteY32364"/>
              </a:cxn>
              <a:cxn ang="0">
                <a:pos x="connsiteX32365" y="connsiteY32365"/>
              </a:cxn>
              <a:cxn ang="0">
                <a:pos x="connsiteX32366" y="connsiteY32366"/>
              </a:cxn>
              <a:cxn ang="0">
                <a:pos x="connsiteX32367" y="connsiteY32367"/>
              </a:cxn>
              <a:cxn ang="0">
                <a:pos x="connsiteX32368" y="connsiteY32368"/>
              </a:cxn>
              <a:cxn ang="0">
                <a:pos x="connsiteX32369" y="connsiteY32369"/>
              </a:cxn>
              <a:cxn ang="0">
                <a:pos x="connsiteX32370" y="connsiteY32370"/>
              </a:cxn>
              <a:cxn ang="0">
                <a:pos x="connsiteX32371" y="connsiteY32371"/>
              </a:cxn>
              <a:cxn ang="0">
                <a:pos x="connsiteX32372" y="connsiteY32372"/>
              </a:cxn>
              <a:cxn ang="0">
                <a:pos x="connsiteX32373" y="connsiteY32373"/>
              </a:cxn>
              <a:cxn ang="0">
                <a:pos x="connsiteX32374" y="connsiteY32374"/>
              </a:cxn>
              <a:cxn ang="0">
                <a:pos x="connsiteX32375" y="connsiteY32375"/>
              </a:cxn>
              <a:cxn ang="0">
                <a:pos x="connsiteX32376" y="connsiteY32376"/>
              </a:cxn>
              <a:cxn ang="0">
                <a:pos x="connsiteX32377" y="connsiteY32377"/>
              </a:cxn>
              <a:cxn ang="0">
                <a:pos x="connsiteX32378" y="connsiteY32378"/>
              </a:cxn>
              <a:cxn ang="0">
                <a:pos x="connsiteX32379" y="connsiteY32379"/>
              </a:cxn>
              <a:cxn ang="0">
                <a:pos x="connsiteX32380" y="connsiteY32380"/>
              </a:cxn>
              <a:cxn ang="0">
                <a:pos x="connsiteX32381" y="connsiteY32381"/>
              </a:cxn>
              <a:cxn ang="0">
                <a:pos x="connsiteX32382" y="connsiteY32382"/>
              </a:cxn>
              <a:cxn ang="0">
                <a:pos x="connsiteX32383" y="connsiteY32383"/>
              </a:cxn>
              <a:cxn ang="0">
                <a:pos x="connsiteX32384" y="connsiteY32384"/>
              </a:cxn>
              <a:cxn ang="0">
                <a:pos x="connsiteX32385" y="connsiteY32385"/>
              </a:cxn>
              <a:cxn ang="0">
                <a:pos x="connsiteX32386" y="connsiteY32386"/>
              </a:cxn>
              <a:cxn ang="0">
                <a:pos x="connsiteX32387" y="connsiteY32387"/>
              </a:cxn>
              <a:cxn ang="0">
                <a:pos x="connsiteX32388" y="connsiteY32388"/>
              </a:cxn>
              <a:cxn ang="0">
                <a:pos x="connsiteX32389" y="connsiteY32389"/>
              </a:cxn>
              <a:cxn ang="0">
                <a:pos x="connsiteX32390" y="connsiteY32390"/>
              </a:cxn>
              <a:cxn ang="0">
                <a:pos x="connsiteX32391" y="connsiteY32391"/>
              </a:cxn>
              <a:cxn ang="0">
                <a:pos x="connsiteX32392" y="connsiteY32392"/>
              </a:cxn>
              <a:cxn ang="0">
                <a:pos x="connsiteX32393" y="connsiteY32393"/>
              </a:cxn>
              <a:cxn ang="0">
                <a:pos x="connsiteX32394" y="connsiteY32394"/>
              </a:cxn>
              <a:cxn ang="0">
                <a:pos x="connsiteX32395" y="connsiteY32395"/>
              </a:cxn>
              <a:cxn ang="0">
                <a:pos x="connsiteX32396" y="connsiteY32396"/>
              </a:cxn>
              <a:cxn ang="0">
                <a:pos x="connsiteX32397" y="connsiteY32397"/>
              </a:cxn>
              <a:cxn ang="0">
                <a:pos x="connsiteX32398" y="connsiteY32398"/>
              </a:cxn>
              <a:cxn ang="0">
                <a:pos x="connsiteX32399" y="connsiteY32399"/>
              </a:cxn>
              <a:cxn ang="0">
                <a:pos x="connsiteX32400" y="connsiteY32400"/>
              </a:cxn>
              <a:cxn ang="0">
                <a:pos x="connsiteX32401" y="connsiteY32401"/>
              </a:cxn>
              <a:cxn ang="0">
                <a:pos x="connsiteX32402" y="connsiteY32402"/>
              </a:cxn>
              <a:cxn ang="0">
                <a:pos x="connsiteX32403" y="connsiteY32403"/>
              </a:cxn>
              <a:cxn ang="0">
                <a:pos x="connsiteX32404" y="connsiteY32404"/>
              </a:cxn>
              <a:cxn ang="0">
                <a:pos x="connsiteX32405" y="connsiteY32405"/>
              </a:cxn>
              <a:cxn ang="0">
                <a:pos x="connsiteX32406" y="connsiteY32406"/>
              </a:cxn>
              <a:cxn ang="0">
                <a:pos x="connsiteX32407" y="connsiteY32407"/>
              </a:cxn>
              <a:cxn ang="0">
                <a:pos x="connsiteX32408" y="connsiteY32408"/>
              </a:cxn>
              <a:cxn ang="0">
                <a:pos x="connsiteX32409" y="connsiteY32409"/>
              </a:cxn>
              <a:cxn ang="0">
                <a:pos x="connsiteX32410" y="connsiteY32410"/>
              </a:cxn>
              <a:cxn ang="0">
                <a:pos x="connsiteX32411" y="connsiteY32411"/>
              </a:cxn>
              <a:cxn ang="0">
                <a:pos x="connsiteX32412" y="connsiteY32412"/>
              </a:cxn>
              <a:cxn ang="0">
                <a:pos x="connsiteX32413" y="connsiteY32413"/>
              </a:cxn>
              <a:cxn ang="0">
                <a:pos x="connsiteX32414" y="connsiteY32414"/>
              </a:cxn>
              <a:cxn ang="0">
                <a:pos x="connsiteX32415" y="connsiteY32415"/>
              </a:cxn>
              <a:cxn ang="0">
                <a:pos x="connsiteX32416" y="connsiteY32416"/>
              </a:cxn>
              <a:cxn ang="0">
                <a:pos x="connsiteX32417" y="connsiteY32417"/>
              </a:cxn>
              <a:cxn ang="0">
                <a:pos x="connsiteX32418" y="connsiteY32418"/>
              </a:cxn>
              <a:cxn ang="0">
                <a:pos x="connsiteX32419" y="connsiteY32419"/>
              </a:cxn>
              <a:cxn ang="0">
                <a:pos x="connsiteX32420" y="connsiteY32420"/>
              </a:cxn>
              <a:cxn ang="0">
                <a:pos x="connsiteX32421" y="connsiteY32421"/>
              </a:cxn>
              <a:cxn ang="0">
                <a:pos x="connsiteX32422" y="connsiteY32422"/>
              </a:cxn>
              <a:cxn ang="0">
                <a:pos x="connsiteX32423" y="connsiteY32423"/>
              </a:cxn>
              <a:cxn ang="0">
                <a:pos x="connsiteX32424" y="connsiteY32424"/>
              </a:cxn>
              <a:cxn ang="0">
                <a:pos x="connsiteX32425" y="connsiteY32425"/>
              </a:cxn>
              <a:cxn ang="0">
                <a:pos x="connsiteX32426" y="connsiteY32426"/>
              </a:cxn>
              <a:cxn ang="0">
                <a:pos x="connsiteX32427" y="connsiteY32427"/>
              </a:cxn>
              <a:cxn ang="0">
                <a:pos x="connsiteX32428" y="connsiteY32428"/>
              </a:cxn>
              <a:cxn ang="0">
                <a:pos x="connsiteX32429" y="connsiteY32429"/>
              </a:cxn>
              <a:cxn ang="0">
                <a:pos x="connsiteX32430" y="connsiteY32430"/>
              </a:cxn>
              <a:cxn ang="0">
                <a:pos x="connsiteX32431" y="connsiteY32431"/>
              </a:cxn>
              <a:cxn ang="0">
                <a:pos x="connsiteX32432" y="connsiteY32432"/>
              </a:cxn>
              <a:cxn ang="0">
                <a:pos x="connsiteX32433" y="connsiteY32433"/>
              </a:cxn>
              <a:cxn ang="0">
                <a:pos x="connsiteX32434" y="connsiteY32434"/>
              </a:cxn>
              <a:cxn ang="0">
                <a:pos x="connsiteX32435" y="connsiteY32435"/>
              </a:cxn>
              <a:cxn ang="0">
                <a:pos x="connsiteX32436" y="connsiteY32436"/>
              </a:cxn>
              <a:cxn ang="0">
                <a:pos x="connsiteX32437" y="connsiteY32437"/>
              </a:cxn>
              <a:cxn ang="0">
                <a:pos x="connsiteX32438" y="connsiteY32438"/>
              </a:cxn>
              <a:cxn ang="0">
                <a:pos x="connsiteX32439" y="connsiteY32439"/>
              </a:cxn>
              <a:cxn ang="0">
                <a:pos x="connsiteX32440" y="connsiteY32440"/>
              </a:cxn>
              <a:cxn ang="0">
                <a:pos x="connsiteX32441" y="connsiteY32441"/>
              </a:cxn>
              <a:cxn ang="0">
                <a:pos x="connsiteX32442" y="connsiteY32442"/>
              </a:cxn>
              <a:cxn ang="0">
                <a:pos x="connsiteX32443" y="connsiteY32443"/>
              </a:cxn>
              <a:cxn ang="0">
                <a:pos x="connsiteX32444" y="connsiteY32444"/>
              </a:cxn>
              <a:cxn ang="0">
                <a:pos x="connsiteX32445" y="connsiteY32445"/>
              </a:cxn>
              <a:cxn ang="0">
                <a:pos x="connsiteX32446" y="connsiteY32446"/>
              </a:cxn>
              <a:cxn ang="0">
                <a:pos x="connsiteX32447" y="connsiteY32447"/>
              </a:cxn>
              <a:cxn ang="0">
                <a:pos x="connsiteX32448" y="connsiteY32448"/>
              </a:cxn>
              <a:cxn ang="0">
                <a:pos x="connsiteX32449" y="connsiteY32449"/>
              </a:cxn>
              <a:cxn ang="0">
                <a:pos x="connsiteX32450" y="connsiteY32450"/>
              </a:cxn>
              <a:cxn ang="0">
                <a:pos x="connsiteX32451" y="connsiteY32451"/>
              </a:cxn>
              <a:cxn ang="0">
                <a:pos x="connsiteX32452" y="connsiteY32452"/>
              </a:cxn>
              <a:cxn ang="0">
                <a:pos x="connsiteX32453" y="connsiteY32453"/>
              </a:cxn>
              <a:cxn ang="0">
                <a:pos x="connsiteX32454" y="connsiteY32454"/>
              </a:cxn>
              <a:cxn ang="0">
                <a:pos x="connsiteX32455" y="connsiteY32455"/>
              </a:cxn>
              <a:cxn ang="0">
                <a:pos x="connsiteX32456" y="connsiteY32456"/>
              </a:cxn>
              <a:cxn ang="0">
                <a:pos x="connsiteX32457" y="connsiteY32457"/>
              </a:cxn>
              <a:cxn ang="0">
                <a:pos x="connsiteX32458" y="connsiteY32458"/>
              </a:cxn>
              <a:cxn ang="0">
                <a:pos x="connsiteX32459" y="connsiteY32459"/>
              </a:cxn>
              <a:cxn ang="0">
                <a:pos x="connsiteX32460" y="connsiteY32460"/>
              </a:cxn>
              <a:cxn ang="0">
                <a:pos x="connsiteX32461" y="connsiteY32461"/>
              </a:cxn>
              <a:cxn ang="0">
                <a:pos x="connsiteX32462" y="connsiteY32462"/>
              </a:cxn>
              <a:cxn ang="0">
                <a:pos x="connsiteX32463" y="connsiteY32463"/>
              </a:cxn>
              <a:cxn ang="0">
                <a:pos x="connsiteX32464" y="connsiteY32464"/>
              </a:cxn>
              <a:cxn ang="0">
                <a:pos x="connsiteX32465" y="connsiteY32465"/>
              </a:cxn>
              <a:cxn ang="0">
                <a:pos x="connsiteX32466" y="connsiteY32466"/>
              </a:cxn>
              <a:cxn ang="0">
                <a:pos x="connsiteX32467" y="connsiteY32467"/>
              </a:cxn>
              <a:cxn ang="0">
                <a:pos x="connsiteX32468" y="connsiteY32468"/>
              </a:cxn>
              <a:cxn ang="0">
                <a:pos x="connsiteX32469" y="connsiteY32469"/>
              </a:cxn>
              <a:cxn ang="0">
                <a:pos x="connsiteX32470" y="connsiteY32470"/>
              </a:cxn>
              <a:cxn ang="0">
                <a:pos x="connsiteX32471" y="connsiteY32471"/>
              </a:cxn>
              <a:cxn ang="0">
                <a:pos x="connsiteX32472" y="connsiteY32472"/>
              </a:cxn>
              <a:cxn ang="0">
                <a:pos x="connsiteX32473" y="connsiteY32473"/>
              </a:cxn>
              <a:cxn ang="0">
                <a:pos x="connsiteX32474" y="connsiteY32474"/>
              </a:cxn>
              <a:cxn ang="0">
                <a:pos x="connsiteX32475" y="connsiteY32475"/>
              </a:cxn>
              <a:cxn ang="0">
                <a:pos x="connsiteX32476" y="connsiteY32476"/>
              </a:cxn>
              <a:cxn ang="0">
                <a:pos x="connsiteX32477" y="connsiteY32477"/>
              </a:cxn>
              <a:cxn ang="0">
                <a:pos x="connsiteX32478" y="connsiteY32478"/>
              </a:cxn>
              <a:cxn ang="0">
                <a:pos x="connsiteX32479" y="connsiteY32479"/>
              </a:cxn>
              <a:cxn ang="0">
                <a:pos x="connsiteX32480" y="connsiteY32480"/>
              </a:cxn>
              <a:cxn ang="0">
                <a:pos x="connsiteX32481" y="connsiteY32481"/>
              </a:cxn>
              <a:cxn ang="0">
                <a:pos x="connsiteX32482" y="connsiteY32482"/>
              </a:cxn>
              <a:cxn ang="0">
                <a:pos x="connsiteX32483" y="connsiteY32483"/>
              </a:cxn>
              <a:cxn ang="0">
                <a:pos x="connsiteX32484" y="connsiteY32484"/>
              </a:cxn>
              <a:cxn ang="0">
                <a:pos x="connsiteX32485" y="connsiteY32485"/>
              </a:cxn>
              <a:cxn ang="0">
                <a:pos x="connsiteX32486" y="connsiteY32486"/>
              </a:cxn>
              <a:cxn ang="0">
                <a:pos x="connsiteX32487" y="connsiteY32487"/>
              </a:cxn>
              <a:cxn ang="0">
                <a:pos x="connsiteX32488" y="connsiteY32488"/>
              </a:cxn>
              <a:cxn ang="0">
                <a:pos x="connsiteX32489" y="connsiteY32489"/>
              </a:cxn>
              <a:cxn ang="0">
                <a:pos x="connsiteX32490" y="connsiteY32490"/>
              </a:cxn>
              <a:cxn ang="0">
                <a:pos x="connsiteX32491" y="connsiteY32491"/>
              </a:cxn>
              <a:cxn ang="0">
                <a:pos x="connsiteX32492" y="connsiteY32492"/>
              </a:cxn>
              <a:cxn ang="0">
                <a:pos x="connsiteX32493" y="connsiteY32493"/>
              </a:cxn>
              <a:cxn ang="0">
                <a:pos x="connsiteX32494" y="connsiteY32494"/>
              </a:cxn>
              <a:cxn ang="0">
                <a:pos x="connsiteX32495" y="connsiteY32495"/>
              </a:cxn>
              <a:cxn ang="0">
                <a:pos x="connsiteX32496" y="connsiteY32496"/>
              </a:cxn>
              <a:cxn ang="0">
                <a:pos x="connsiteX32497" y="connsiteY32497"/>
              </a:cxn>
              <a:cxn ang="0">
                <a:pos x="connsiteX32498" y="connsiteY32498"/>
              </a:cxn>
              <a:cxn ang="0">
                <a:pos x="connsiteX32499" y="connsiteY32499"/>
              </a:cxn>
              <a:cxn ang="0">
                <a:pos x="connsiteX32500" y="connsiteY32500"/>
              </a:cxn>
              <a:cxn ang="0">
                <a:pos x="connsiteX32501" y="connsiteY32501"/>
              </a:cxn>
              <a:cxn ang="0">
                <a:pos x="connsiteX32502" y="connsiteY32502"/>
              </a:cxn>
              <a:cxn ang="0">
                <a:pos x="connsiteX32503" y="connsiteY32503"/>
              </a:cxn>
              <a:cxn ang="0">
                <a:pos x="connsiteX32504" y="connsiteY32504"/>
              </a:cxn>
              <a:cxn ang="0">
                <a:pos x="connsiteX32505" y="connsiteY32505"/>
              </a:cxn>
              <a:cxn ang="0">
                <a:pos x="connsiteX32506" y="connsiteY32506"/>
              </a:cxn>
              <a:cxn ang="0">
                <a:pos x="connsiteX32507" y="connsiteY32507"/>
              </a:cxn>
              <a:cxn ang="0">
                <a:pos x="connsiteX32508" y="connsiteY32508"/>
              </a:cxn>
              <a:cxn ang="0">
                <a:pos x="connsiteX32509" y="connsiteY32509"/>
              </a:cxn>
              <a:cxn ang="0">
                <a:pos x="connsiteX32510" y="connsiteY32510"/>
              </a:cxn>
              <a:cxn ang="0">
                <a:pos x="connsiteX32511" y="connsiteY32511"/>
              </a:cxn>
              <a:cxn ang="0">
                <a:pos x="connsiteX32512" y="connsiteY32512"/>
              </a:cxn>
              <a:cxn ang="0">
                <a:pos x="connsiteX32513" y="connsiteY32513"/>
              </a:cxn>
              <a:cxn ang="0">
                <a:pos x="connsiteX32514" y="connsiteY32514"/>
              </a:cxn>
              <a:cxn ang="0">
                <a:pos x="connsiteX32515" y="connsiteY32515"/>
              </a:cxn>
              <a:cxn ang="0">
                <a:pos x="connsiteX32516" y="connsiteY32516"/>
              </a:cxn>
              <a:cxn ang="0">
                <a:pos x="connsiteX32517" y="connsiteY32517"/>
              </a:cxn>
              <a:cxn ang="0">
                <a:pos x="connsiteX32518" y="connsiteY32518"/>
              </a:cxn>
              <a:cxn ang="0">
                <a:pos x="connsiteX32519" y="connsiteY32519"/>
              </a:cxn>
              <a:cxn ang="0">
                <a:pos x="connsiteX32520" y="connsiteY32520"/>
              </a:cxn>
              <a:cxn ang="0">
                <a:pos x="connsiteX32521" y="connsiteY32521"/>
              </a:cxn>
              <a:cxn ang="0">
                <a:pos x="connsiteX32522" y="connsiteY32522"/>
              </a:cxn>
              <a:cxn ang="0">
                <a:pos x="connsiteX32523" y="connsiteY32523"/>
              </a:cxn>
              <a:cxn ang="0">
                <a:pos x="connsiteX32524" y="connsiteY32524"/>
              </a:cxn>
              <a:cxn ang="0">
                <a:pos x="connsiteX32525" y="connsiteY32525"/>
              </a:cxn>
              <a:cxn ang="0">
                <a:pos x="connsiteX32526" y="connsiteY32526"/>
              </a:cxn>
              <a:cxn ang="0">
                <a:pos x="connsiteX32527" y="connsiteY32527"/>
              </a:cxn>
              <a:cxn ang="0">
                <a:pos x="connsiteX32528" y="connsiteY32528"/>
              </a:cxn>
              <a:cxn ang="0">
                <a:pos x="connsiteX32529" y="connsiteY32529"/>
              </a:cxn>
              <a:cxn ang="0">
                <a:pos x="connsiteX32530" y="connsiteY32530"/>
              </a:cxn>
              <a:cxn ang="0">
                <a:pos x="connsiteX32531" y="connsiteY32531"/>
              </a:cxn>
              <a:cxn ang="0">
                <a:pos x="connsiteX32532" y="connsiteY32532"/>
              </a:cxn>
              <a:cxn ang="0">
                <a:pos x="connsiteX32533" y="connsiteY32533"/>
              </a:cxn>
              <a:cxn ang="0">
                <a:pos x="connsiteX32534" y="connsiteY32534"/>
              </a:cxn>
              <a:cxn ang="0">
                <a:pos x="connsiteX32535" y="connsiteY32535"/>
              </a:cxn>
              <a:cxn ang="0">
                <a:pos x="connsiteX32536" y="connsiteY32536"/>
              </a:cxn>
              <a:cxn ang="0">
                <a:pos x="connsiteX32537" y="connsiteY32537"/>
              </a:cxn>
              <a:cxn ang="0">
                <a:pos x="connsiteX32538" y="connsiteY32538"/>
              </a:cxn>
              <a:cxn ang="0">
                <a:pos x="connsiteX32539" y="connsiteY32539"/>
              </a:cxn>
              <a:cxn ang="0">
                <a:pos x="connsiteX32540" y="connsiteY32540"/>
              </a:cxn>
              <a:cxn ang="0">
                <a:pos x="connsiteX32541" y="connsiteY32541"/>
              </a:cxn>
              <a:cxn ang="0">
                <a:pos x="connsiteX32542" y="connsiteY32542"/>
              </a:cxn>
              <a:cxn ang="0">
                <a:pos x="connsiteX32543" y="connsiteY32543"/>
              </a:cxn>
              <a:cxn ang="0">
                <a:pos x="connsiteX32544" y="connsiteY32544"/>
              </a:cxn>
              <a:cxn ang="0">
                <a:pos x="connsiteX32545" y="connsiteY32545"/>
              </a:cxn>
              <a:cxn ang="0">
                <a:pos x="connsiteX32546" y="connsiteY32546"/>
              </a:cxn>
              <a:cxn ang="0">
                <a:pos x="connsiteX32547" y="connsiteY32547"/>
              </a:cxn>
              <a:cxn ang="0">
                <a:pos x="connsiteX32548" y="connsiteY32548"/>
              </a:cxn>
              <a:cxn ang="0">
                <a:pos x="connsiteX32549" y="connsiteY32549"/>
              </a:cxn>
              <a:cxn ang="0">
                <a:pos x="connsiteX32550" y="connsiteY32550"/>
              </a:cxn>
              <a:cxn ang="0">
                <a:pos x="connsiteX32551" y="connsiteY32551"/>
              </a:cxn>
              <a:cxn ang="0">
                <a:pos x="connsiteX32552" y="connsiteY32552"/>
              </a:cxn>
              <a:cxn ang="0">
                <a:pos x="connsiteX32553" y="connsiteY32553"/>
              </a:cxn>
              <a:cxn ang="0">
                <a:pos x="connsiteX32554" y="connsiteY32554"/>
              </a:cxn>
              <a:cxn ang="0">
                <a:pos x="connsiteX32555" y="connsiteY32555"/>
              </a:cxn>
              <a:cxn ang="0">
                <a:pos x="connsiteX32556" y="connsiteY32556"/>
              </a:cxn>
              <a:cxn ang="0">
                <a:pos x="connsiteX32557" y="connsiteY32557"/>
              </a:cxn>
              <a:cxn ang="0">
                <a:pos x="connsiteX32558" y="connsiteY32558"/>
              </a:cxn>
              <a:cxn ang="0">
                <a:pos x="connsiteX32559" y="connsiteY32559"/>
              </a:cxn>
              <a:cxn ang="0">
                <a:pos x="connsiteX32560" y="connsiteY32560"/>
              </a:cxn>
              <a:cxn ang="0">
                <a:pos x="connsiteX32561" y="connsiteY32561"/>
              </a:cxn>
              <a:cxn ang="0">
                <a:pos x="connsiteX32562" y="connsiteY32562"/>
              </a:cxn>
              <a:cxn ang="0">
                <a:pos x="connsiteX32563" y="connsiteY32563"/>
              </a:cxn>
              <a:cxn ang="0">
                <a:pos x="connsiteX32564" y="connsiteY32564"/>
              </a:cxn>
              <a:cxn ang="0">
                <a:pos x="connsiteX32565" y="connsiteY32565"/>
              </a:cxn>
              <a:cxn ang="0">
                <a:pos x="connsiteX32566" y="connsiteY32566"/>
              </a:cxn>
              <a:cxn ang="0">
                <a:pos x="connsiteX32567" y="connsiteY32567"/>
              </a:cxn>
              <a:cxn ang="0">
                <a:pos x="connsiteX32568" y="connsiteY32568"/>
              </a:cxn>
              <a:cxn ang="0">
                <a:pos x="connsiteX32569" y="connsiteY32569"/>
              </a:cxn>
              <a:cxn ang="0">
                <a:pos x="connsiteX32570" y="connsiteY32570"/>
              </a:cxn>
              <a:cxn ang="0">
                <a:pos x="connsiteX32571" y="connsiteY32571"/>
              </a:cxn>
              <a:cxn ang="0">
                <a:pos x="connsiteX32572" y="connsiteY32572"/>
              </a:cxn>
              <a:cxn ang="0">
                <a:pos x="connsiteX32573" y="connsiteY32573"/>
              </a:cxn>
              <a:cxn ang="0">
                <a:pos x="connsiteX32574" y="connsiteY32574"/>
              </a:cxn>
              <a:cxn ang="0">
                <a:pos x="connsiteX32575" y="connsiteY32575"/>
              </a:cxn>
              <a:cxn ang="0">
                <a:pos x="connsiteX32576" y="connsiteY32576"/>
              </a:cxn>
              <a:cxn ang="0">
                <a:pos x="connsiteX32577" y="connsiteY32577"/>
              </a:cxn>
              <a:cxn ang="0">
                <a:pos x="connsiteX32578" y="connsiteY32578"/>
              </a:cxn>
              <a:cxn ang="0">
                <a:pos x="connsiteX32579" y="connsiteY32579"/>
              </a:cxn>
              <a:cxn ang="0">
                <a:pos x="connsiteX32580" y="connsiteY32580"/>
              </a:cxn>
              <a:cxn ang="0">
                <a:pos x="connsiteX32581" y="connsiteY32581"/>
              </a:cxn>
              <a:cxn ang="0">
                <a:pos x="connsiteX32582" y="connsiteY32582"/>
              </a:cxn>
              <a:cxn ang="0">
                <a:pos x="connsiteX32583" y="connsiteY32583"/>
              </a:cxn>
              <a:cxn ang="0">
                <a:pos x="connsiteX32584" y="connsiteY32584"/>
              </a:cxn>
              <a:cxn ang="0">
                <a:pos x="connsiteX32585" y="connsiteY32585"/>
              </a:cxn>
              <a:cxn ang="0">
                <a:pos x="connsiteX32586" y="connsiteY32586"/>
              </a:cxn>
              <a:cxn ang="0">
                <a:pos x="connsiteX32587" y="connsiteY32587"/>
              </a:cxn>
              <a:cxn ang="0">
                <a:pos x="connsiteX32588" y="connsiteY32588"/>
              </a:cxn>
              <a:cxn ang="0">
                <a:pos x="connsiteX32589" y="connsiteY32589"/>
              </a:cxn>
              <a:cxn ang="0">
                <a:pos x="connsiteX32590" y="connsiteY32590"/>
              </a:cxn>
              <a:cxn ang="0">
                <a:pos x="connsiteX32591" y="connsiteY32591"/>
              </a:cxn>
              <a:cxn ang="0">
                <a:pos x="connsiteX32592" y="connsiteY32592"/>
              </a:cxn>
              <a:cxn ang="0">
                <a:pos x="connsiteX32593" y="connsiteY32593"/>
              </a:cxn>
              <a:cxn ang="0">
                <a:pos x="connsiteX32594" y="connsiteY32594"/>
              </a:cxn>
              <a:cxn ang="0">
                <a:pos x="connsiteX32595" y="connsiteY32595"/>
              </a:cxn>
              <a:cxn ang="0">
                <a:pos x="connsiteX32596" y="connsiteY32596"/>
              </a:cxn>
              <a:cxn ang="0">
                <a:pos x="connsiteX32597" y="connsiteY32597"/>
              </a:cxn>
              <a:cxn ang="0">
                <a:pos x="connsiteX32598" y="connsiteY32598"/>
              </a:cxn>
              <a:cxn ang="0">
                <a:pos x="connsiteX32599" y="connsiteY32599"/>
              </a:cxn>
              <a:cxn ang="0">
                <a:pos x="connsiteX32600" y="connsiteY32600"/>
              </a:cxn>
              <a:cxn ang="0">
                <a:pos x="connsiteX32601" y="connsiteY32601"/>
              </a:cxn>
              <a:cxn ang="0">
                <a:pos x="connsiteX32602" y="connsiteY32602"/>
              </a:cxn>
              <a:cxn ang="0">
                <a:pos x="connsiteX32603" y="connsiteY32603"/>
              </a:cxn>
              <a:cxn ang="0">
                <a:pos x="connsiteX32604" y="connsiteY32604"/>
              </a:cxn>
              <a:cxn ang="0">
                <a:pos x="connsiteX32605" y="connsiteY32605"/>
              </a:cxn>
              <a:cxn ang="0">
                <a:pos x="connsiteX32606" y="connsiteY32606"/>
              </a:cxn>
              <a:cxn ang="0">
                <a:pos x="connsiteX32607" y="connsiteY32607"/>
              </a:cxn>
              <a:cxn ang="0">
                <a:pos x="connsiteX32608" y="connsiteY32608"/>
              </a:cxn>
              <a:cxn ang="0">
                <a:pos x="connsiteX32609" y="connsiteY32609"/>
              </a:cxn>
              <a:cxn ang="0">
                <a:pos x="connsiteX32610" y="connsiteY32610"/>
              </a:cxn>
              <a:cxn ang="0">
                <a:pos x="connsiteX32611" y="connsiteY32611"/>
              </a:cxn>
              <a:cxn ang="0">
                <a:pos x="connsiteX32612" y="connsiteY32612"/>
              </a:cxn>
              <a:cxn ang="0">
                <a:pos x="connsiteX32613" y="connsiteY32613"/>
              </a:cxn>
              <a:cxn ang="0">
                <a:pos x="connsiteX32614" y="connsiteY32614"/>
              </a:cxn>
              <a:cxn ang="0">
                <a:pos x="connsiteX32615" y="connsiteY32615"/>
              </a:cxn>
              <a:cxn ang="0">
                <a:pos x="connsiteX32616" y="connsiteY32616"/>
              </a:cxn>
              <a:cxn ang="0">
                <a:pos x="connsiteX32617" y="connsiteY32617"/>
              </a:cxn>
              <a:cxn ang="0">
                <a:pos x="connsiteX32618" y="connsiteY32618"/>
              </a:cxn>
              <a:cxn ang="0">
                <a:pos x="connsiteX32619" y="connsiteY32619"/>
              </a:cxn>
              <a:cxn ang="0">
                <a:pos x="connsiteX32620" y="connsiteY32620"/>
              </a:cxn>
              <a:cxn ang="0">
                <a:pos x="connsiteX32621" y="connsiteY32621"/>
              </a:cxn>
              <a:cxn ang="0">
                <a:pos x="connsiteX32622" y="connsiteY32622"/>
              </a:cxn>
              <a:cxn ang="0">
                <a:pos x="connsiteX32623" y="connsiteY32623"/>
              </a:cxn>
              <a:cxn ang="0">
                <a:pos x="connsiteX32624" y="connsiteY32624"/>
              </a:cxn>
              <a:cxn ang="0">
                <a:pos x="connsiteX32625" y="connsiteY32625"/>
              </a:cxn>
              <a:cxn ang="0">
                <a:pos x="connsiteX32626" y="connsiteY32626"/>
              </a:cxn>
              <a:cxn ang="0">
                <a:pos x="connsiteX32627" y="connsiteY32627"/>
              </a:cxn>
              <a:cxn ang="0">
                <a:pos x="connsiteX32628" y="connsiteY32628"/>
              </a:cxn>
              <a:cxn ang="0">
                <a:pos x="connsiteX32629" y="connsiteY32629"/>
              </a:cxn>
              <a:cxn ang="0">
                <a:pos x="connsiteX32630" y="connsiteY32630"/>
              </a:cxn>
              <a:cxn ang="0">
                <a:pos x="connsiteX32631" y="connsiteY32631"/>
              </a:cxn>
              <a:cxn ang="0">
                <a:pos x="connsiteX32632" y="connsiteY32632"/>
              </a:cxn>
              <a:cxn ang="0">
                <a:pos x="connsiteX32633" y="connsiteY32633"/>
              </a:cxn>
              <a:cxn ang="0">
                <a:pos x="connsiteX32634" y="connsiteY32634"/>
              </a:cxn>
              <a:cxn ang="0">
                <a:pos x="connsiteX32635" y="connsiteY32635"/>
              </a:cxn>
              <a:cxn ang="0">
                <a:pos x="connsiteX32636" y="connsiteY32636"/>
              </a:cxn>
              <a:cxn ang="0">
                <a:pos x="connsiteX32637" y="connsiteY32637"/>
              </a:cxn>
              <a:cxn ang="0">
                <a:pos x="connsiteX32638" y="connsiteY32638"/>
              </a:cxn>
              <a:cxn ang="0">
                <a:pos x="connsiteX32639" y="connsiteY32639"/>
              </a:cxn>
              <a:cxn ang="0">
                <a:pos x="connsiteX32640" y="connsiteY32640"/>
              </a:cxn>
              <a:cxn ang="0">
                <a:pos x="connsiteX32641" y="connsiteY32641"/>
              </a:cxn>
              <a:cxn ang="0">
                <a:pos x="connsiteX32642" y="connsiteY32642"/>
              </a:cxn>
              <a:cxn ang="0">
                <a:pos x="connsiteX32643" y="connsiteY32643"/>
              </a:cxn>
              <a:cxn ang="0">
                <a:pos x="connsiteX32644" y="connsiteY32644"/>
              </a:cxn>
              <a:cxn ang="0">
                <a:pos x="connsiteX32645" y="connsiteY32645"/>
              </a:cxn>
              <a:cxn ang="0">
                <a:pos x="connsiteX32646" y="connsiteY32646"/>
              </a:cxn>
              <a:cxn ang="0">
                <a:pos x="connsiteX32647" y="connsiteY32647"/>
              </a:cxn>
              <a:cxn ang="0">
                <a:pos x="connsiteX32648" y="connsiteY32648"/>
              </a:cxn>
              <a:cxn ang="0">
                <a:pos x="connsiteX32649" y="connsiteY32649"/>
              </a:cxn>
              <a:cxn ang="0">
                <a:pos x="connsiteX32650" y="connsiteY32650"/>
              </a:cxn>
              <a:cxn ang="0">
                <a:pos x="connsiteX32651" y="connsiteY32651"/>
              </a:cxn>
              <a:cxn ang="0">
                <a:pos x="connsiteX32652" y="connsiteY32652"/>
              </a:cxn>
              <a:cxn ang="0">
                <a:pos x="connsiteX32653" y="connsiteY32653"/>
              </a:cxn>
              <a:cxn ang="0">
                <a:pos x="connsiteX32654" y="connsiteY32654"/>
              </a:cxn>
              <a:cxn ang="0">
                <a:pos x="connsiteX32655" y="connsiteY32655"/>
              </a:cxn>
              <a:cxn ang="0">
                <a:pos x="connsiteX32656" y="connsiteY32656"/>
              </a:cxn>
              <a:cxn ang="0">
                <a:pos x="connsiteX32657" y="connsiteY32657"/>
              </a:cxn>
              <a:cxn ang="0">
                <a:pos x="connsiteX32658" y="connsiteY32658"/>
              </a:cxn>
              <a:cxn ang="0">
                <a:pos x="connsiteX32659" y="connsiteY32659"/>
              </a:cxn>
              <a:cxn ang="0">
                <a:pos x="connsiteX32660" y="connsiteY32660"/>
              </a:cxn>
              <a:cxn ang="0">
                <a:pos x="connsiteX32661" y="connsiteY32661"/>
              </a:cxn>
              <a:cxn ang="0">
                <a:pos x="connsiteX32662" y="connsiteY32662"/>
              </a:cxn>
              <a:cxn ang="0">
                <a:pos x="connsiteX32663" y="connsiteY32663"/>
              </a:cxn>
              <a:cxn ang="0">
                <a:pos x="connsiteX32664" y="connsiteY32664"/>
              </a:cxn>
              <a:cxn ang="0">
                <a:pos x="connsiteX32665" y="connsiteY32665"/>
              </a:cxn>
              <a:cxn ang="0">
                <a:pos x="connsiteX32666" y="connsiteY32666"/>
              </a:cxn>
              <a:cxn ang="0">
                <a:pos x="connsiteX32667" y="connsiteY32667"/>
              </a:cxn>
              <a:cxn ang="0">
                <a:pos x="connsiteX32668" y="connsiteY32668"/>
              </a:cxn>
              <a:cxn ang="0">
                <a:pos x="connsiteX32669" y="connsiteY32669"/>
              </a:cxn>
              <a:cxn ang="0">
                <a:pos x="connsiteX32670" y="connsiteY32670"/>
              </a:cxn>
              <a:cxn ang="0">
                <a:pos x="connsiteX32671" y="connsiteY32671"/>
              </a:cxn>
              <a:cxn ang="0">
                <a:pos x="connsiteX32672" y="connsiteY32672"/>
              </a:cxn>
              <a:cxn ang="0">
                <a:pos x="connsiteX32673" y="connsiteY32673"/>
              </a:cxn>
              <a:cxn ang="0">
                <a:pos x="connsiteX32674" y="connsiteY32674"/>
              </a:cxn>
              <a:cxn ang="0">
                <a:pos x="connsiteX32675" y="connsiteY32675"/>
              </a:cxn>
              <a:cxn ang="0">
                <a:pos x="connsiteX32676" y="connsiteY32676"/>
              </a:cxn>
              <a:cxn ang="0">
                <a:pos x="connsiteX32677" y="connsiteY32677"/>
              </a:cxn>
              <a:cxn ang="0">
                <a:pos x="connsiteX32678" y="connsiteY32678"/>
              </a:cxn>
              <a:cxn ang="0">
                <a:pos x="connsiteX32679" y="connsiteY32679"/>
              </a:cxn>
              <a:cxn ang="0">
                <a:pos x="connsiteX32680" y="connsiteY32680"/>
              </a:cxn>
              <a:cxn ang="0">
                <a:pos x="connsiteX32681" y="connsiteY32681"/>
              </a:cxn>
              <a:cxn ang="0">
                <a:pos x="connsiteX32682" y="connsiteY32682"/>
              </a:cxn>
              <a:cxn ang="0">
                <a:pos x="connsiteX32683" y="connsiteY32683"/>
              </a:cxn>
              <a:cxn ang="0">
                <a:pos x="connsiteX32684" y="connsiteY32684"/>
              </a:cxn>
              <a:cxn ang="0">
                <a:pos x="connsiteX32685" y="connsiteY32685"/>
              </a:cxn>
              <a:cxn ang="0">
                <a:pos x="connsiteX32686" y="connsiteY32686"/>
              </a:cxn>
              <a:cxn ang="0">
                <a:pos x="connsiteX32687" y="connsiteY32687"/>
              </a:cxn>
              <a:cxn ang="0">
                <a:pos x="connsiteX32688" y="connsiteY32688"/>
              </a:cxn>
              <a:cxn ang="0">
                <a:pos x="connsiteX32689" y="connsiteY32689"/>
              </a:cxn>
              <a:cxn ang="0">
                <a:pos x="connsiteX32690" y="connsiteY32690"/>
              </a:cxn>
              <a:cxn ang="0">
                <a:pos x="connsiteX32691" y="connsiteY32691"/>
              </a:cxn>
              <a:cxn ang="0">
                <a:pos x="connsiteX32692" y="connsiteY32692"/>
              </a:cxn>
              <a:cxn ang="0">
                <a:pos x="connsiteX32693" y="connsiteY32693"/>
              </a:cxn>
              <a:cxn ang="0">
                <a:pos x="connsiteX32694" y="connsiteY32694"/>
              </a:cxn>
              <a:cxn ang="0">
                <a:pos x="connsiteX32695" y="connsiteY32695"/>
              </a:cxn>
              <a:cxn ang="0">
                <a:pos x="connsiteX32696" y="connsiteY32696"/>
              </a:cxn>
              <a:cxn ang="0">
                <a:pos x="connsiteX32697" y="connsiteY32697"/>
              </a:cxn>
              <a:cxn ang="0">
                <a:pos x="connsiteX32698" y="connsiteY32698"/>
              </a:cxn>
              <a:cxn ang="0">
                <a:pos x="connsiteX32699" y="connsiteY32699"/>
              </a:cxn>
              <a:cxn ang="0">
                <a:pos x="connsiteX32700" y="connsiteY32700"/>
              </a:cxn>
              <a:cxn ang="0">
                <a:pos x="connsiteX32701" y="connsiteY32701"/>
              </a:cxn>
              <a:cxn ang="0">
                <a:pos x="connsiteX32702" y="connsiteY32702"/>
              </a:cxn>
              <a:cxn ang="0">
                <a:pos x="connsiteX32703" y="connsiteY32703"/>
              </a:cxn>
              <a:cxn ang="0">
                <a:pos x="connsiteX32704" y="connsiteY32704"/>
              </a:cxn>
              <a:cxn ang="0">
                <a:pos x="connsiteX32705" y="connsiteY32705"/>
              </a:cxn>
              <a:cxn ang="0">
                <a:pos x="connsiteX32706" y="connsiteY32706"/>
              </a:cxn>
              <a:cxn ang="0">
                <a:pos x="connsiteX32707" y="connsiteY32707"/>
              </a:cxn>
              <a:cxn ang="0">
                <a:pos x="connsiteX32708" y="connsiteY32708"/>
              </a:cxn>
              <a:cxn ang="0">
                <a:pos x="connsiteX32709" y="connsiteY32709"/>
              </a:cxn>
              <a:cxn ang="0">
                <a:pos x="connsiteX32710" y="connsiteY32710"/>
              </a:cxn>
              <a:cxn ang="0">
                <a:pos x="connsiteX32711" y="connsiteY32711"/>
              </a:cxn>
              <a:cxn ang="0">
                <a:pos x="connsiteX32712" y="connsiteY32712"/>
              </a:cxn>
              <a:cxn ang="0">
                <a:pos x="connsiteX32713" y="connsiteY32713"/>
              </a:cxn>
              <a:cxn ang="0">
                <a:pos x="connsiteX32714" y="connsiteY32714"/>
              </a:cxn>
              <a:cxn ang="0">
                <a:pos x="connsiteX32715" y="connsiteY32715"/>
              </a:cxn>
              <a:cxn ang="0">
                <a:pos x="connsiteX32716" y="connsiteY32716"/>
              </a:cxn>
              <a:cxn ang="0">
                <a:pos x="connsiteX32717" y="connsiteY32717"/>
              </a:cxn>
              <a:cxn ang="0">
                <a:pos x="connsiteX32718" y="connsiteY32718"/>
              </a:cxn>
              <a:cxn ang="0">
                <a:pos x="connsiteX32719" y="connsiteY32719"/>
              </a:cxn>
              <a:cxn ang="0">
                <a:pos x="connsiteX32720" y="connsiteY32720"/>
              </a:cxn>
              <a:cxn ang="0">
                <a:pos x="connsiteX32721" y="connsiteY32721"/>
              </a:cxn>
              <a:cxn ang="0">
                <a:pos x="connsiteX32722" y="connsiteY32722"/>
              </a:cxn>
              <a:cxn ang="0">
                <a:pos x="connsiteX32723" y="connsiteY32723"/>
              </a:cxn>
              <a:cxn ang="0">
                <a:pos x="connsiteX32724" y="connsiteY32724"/>
              </a:cxn>
              <a:cxn ang="0">
                <a:pos x="connsiteX32725" y="connsiteY32725"/>
              </a:cxn>
              <a:cxn ang="0">
                <a:pos x="connsiteX32726" y="connsiteY32726"/>
              </a:cxn>
              <a:cxn ang="0">
                <a:pos x="connsiteX32727" y="connsiteY32727"/>
              </a:cxn>
              <a:cxn ang="0">
                <a:pos x="connsiteX32728" y="connsiteY32728"/>
              </a:cxn>
              <a:cxn ang="0">
                <a:pos x="connsiteX32729" y="connsiteY32729"/>
              </a:cxn>
              <a:cxn ang="0">
                <a:pos x="connsiteX32730" y="connsiteY32730"/>
              </a:cxn>
              <a:cxn ang="0">
                <a:pos x="connsiteX32731" y="connsiteY32731"/>
              </a:cxn>
              <a:cxn ang="0">
                <a:pos x="connsiteX32732" y="connsiteY32732"/>
              </a:cxn>
              <a:cxn ang="0">
                <a:pos x="connsiteX32733" y="connsiteY32733"/>
              </a:cxn>
              <a:cxn ang="0">
                <a:pos x="connsiteX32734" y="connsiteY32734"/>
              </a:cxn>
              <a:cxn ang="0">
                <a:pos x="connsiteX32735" y="connsiteY32735"/>
              </a:cxn>
              <a:cxn ang="0">
                <a:pos x="connsiteX32736" y="connsiteY32736"/>
              </a:cxn>
              <a:cxn ang="0">
                <a:pos x="connsiteX32737" y="connsiteY32737"/>
              </a:cxn>
              <a:cxn ang="0">
                <a:pos x="connsiteX32738" y="connsiteY32738"/>
              </a:cxn>
              <a:cxn ang="0">
                <a:pos x="connsiteX32739" y="connsiteY32739"/>
              </a:cxn>
              <a:cxn ang="0">
                <a:pos x="connsiteX32740" y="connsiteY32740"/>
              </a:cxn>
              <a:cxn ang="0">
                <a:pos x="connsiteX32741" y="connsiteY32741"/>
              </a:cxn>
              <a:cxn ang="0">
                <a:pos x="connsiteX32742" y="connsiteY32742"/>
              </a:cxn>
              <a:cxn ang="0">
                <a:pos x="connsiteX32743" y="connsiteY32743"/>
              </a:cxn>
              <a:cxn ang="0">
                <a:pos x="connsiteX32744" y="connsiteY32744"/>
              </a:cxn>
              <a:cxn ang="0">
                <a:pos x="connsiteX32745" y="connsiteY32745"/>
              </a:cxn>
              <a:cxn ang="0">
                <a:pos x="connsiteX32746" y="connsiteY32746"/>
              </a:cxn>
              <a:cxn ang="0">
                <a:pos x="connsiteX32747" y="connsiteY32747"/>
              </a:cxn>
              <a:cxn ang="0">
                <a:pos x="connsiteX32748" y="connsiteY32748"/>
              </a:cxn>
              <a:cxn ang="0">
                <a:pos x="connsiteX32749" y="connsiteY32749"/>
              </a:cxn>
              <a:cxn ang="0">
                <a:pos x="connsiteX32750" y="connsiteY32750"/>
              </a:cxn>
              <a:cxn ang="0">
                <a:pos x="connsiteX32751" y="connsiteY32751"/>
              </a:cxn>
              <a:cxn ang="0">
                <a:pos x="connsiteX32752" y="connsiteY32752"/>
              </a:cxn>
              <a:cxn ang="0">
                <a:pos x="connsiteX32753" y="connsiteY32753"/>
              </a:cxn>
              <a:cxn ang="0">
                <a:pos x="connsiteX32754" y="connsiteY32754"/>
              </a:cxn>
              <a:cxn ang="0">
                <a:pos x="connsiteX32755" y="connsiteY32755"/>
              </a:cxn>
              <a:cxn ang="0">
                <a:pos x="connsiteX32756" y="connsiteY32756"/>
              </a:cxn>
              <a:cxn ang="0">
                <a:pos x="connsiteX32757" y="connsiteY32757"/>
              </a:cxn>
              <a:cxn ang="0">
                <a:pos x="connsiteX32758" y="connsiteY32758"/>
              </a:cxn>
              <a:cxn ang="0">
                <a:pos x="connsiteX32759" y="connsiteY32759"/>
              </a:cxn>
              <a:cxn ang="0">
                <a:pos x="connsiteX32760" y="connsiteY32760"/>
              </a:cxn>
              <a:cxn ang="0">
                <a:pos x="connsiteX32761" y="connsiteY32761"/>
              </a:cxn>
              <a:cxn ang="0">
                <a:pos x="connsiteX32762" y="connsiteY32762"/>
              </a:cxn>
              <a:cxn ang="0">
                <a:pos x="connsiteX32763" y="connsiteY32763"/>
              </a:cxn>
              <a:cxn ang="0">
                <a:pos x="connsiteX32764" y="connsiteY32764"/>
              </a:cxn>
              <a:cxn ang="0">
                <a:pos x="connsiteX32765" y="connsiteY32765"/>
              </a:cxn>
              <a:cxn ang="0">
                <a:pos x="connsiteX32766" y="connsiteY32766"/>
              </a:cxn>
              <a:cxn ang="0">
                <a:pos x="connsiteX32767" y="connsiteY32767"/>
              </a:cxn>
              <a:cxn ang="0">
                <a:pos x="connsiteX32768" y="connsiteY32768"/>
              </a:cxn>
              <a:cxn ang="0">
                <a:pos x="connsiteX32769" y="connsiteY32769"/>
              </a:cxn>
              <a:cxn ang="0">
                <a:pos x="connsiteX32770" y="connsiteY32770"/>
              </a:cxn>
              <a:cxn ang="0">
                <a:pos x="connsiteX32771" y="connsiteY32771"/>
              </a:cxn>
              <a:cxn ang="0">
                <a:pos x="connsiteX32772" y="connsiteY32772"/>
              </a:cxn>
              <a:cxn ang="0">
                <a:pos x="connsiteX32773" y="connsiteY32773"/>
              </a:cxn>
              <a:cxn ang="0">
                <a:pos x="connsiteX32774" y="connsiteY32774"/>
              </a:cxn>
              <a:cxn ang="0">
                <a:pos x="connsiteX32775" y="connsiteY32775"/>
              </a:cxn>
              <a:cxn ang="0">
                <a:pos x="connsiteX32776" y="connsiteY32776"/>
              </a:cxn>
              <a:cxn ang="0">
                <a:pos x="connsiteX32777" y="connsiteY32777"/>
              </a:cxn>
              <a:cxn ang="0">
                <a:pos x="connsiteX32778" y="connsiteY32778"/>
              </a:cxn>
              <a:cxn ang="0">
                <a:pos x="connsiteX32779" y="connsiteY32779"/>
              </a:cxn>
              <a:cxn ang="0">
                <a:pos x="connsiteX32780" y="connsiteY32780"/>
              </a:cxn>
              <a:cxn ang="0">
                <a:pos x="connsiteX32781" y="connsiteY32781"/>
              </a:cxn>
              <a:cxn ang="0">
                <a:pos x="connsiteX32782" y="connsiteY32782"/>
              </a:cxn>
              <a:cxn ang="0">
                <a:pos x="connsiteX32783" y="connsiteY32783"/>
              </a:cxn>
              <a:cxn ang="0">
                <a:pos x="connsiteX32784" y="connsiteY32784"/>
              </a:cxn>
              <a:cxn ang="0">
                <a:pos x="connsiteX32785" y="connsiteY32785"/>
              </a:cxn>
              <a:cxn ang="0">
                <a:pos x="connsiteX32786" y="connsiteY32786"/>
              </a:cxn>
              <a:cxn ang="0">
                <a:pos x="connsiteX32787" y="connsiteY32787"/>
              </a:cxn>
              <a:cxn ang="0">
                <a:pos x="connsiteX32788" y="connsiteY32788"/>
              </a:cxn>
              <a:cxn ang="0">
                <a:pos x="connsiteX32789" y="connsiteY32789"/>
              </a:cxn>
              <a:cxn ang="0">
                <a:pos x="connsiteX32790" y="connsiteY32790"/>
              </a:cxn>
              <a:cxn ang="0">
                <a:pos x="connsiteX32791" y="connsiteY32791"/>
              </a:cxn>
              <a:cxn ang="0">
                <a:pos x="connsiteX32792" y="connsiteY32792"/>
              </a:cxn>
              <a:cxn ang="0">
                <a:pos x="connsiteX32793" y="connsiteY32793"/>
              </a:cxn>
              <a:cxn ang="0">
                <a:pos x="connsiteX32794" y="connsiteY32794"/>
              </a:cxn>
              <a:cxn ang="0">
                <a:pos x="connsiteX32795" y="connsiteY32795"/>
              </a:cxn>
              <a:cxn ang="0">
                <a:pos x="connsiteX32796" y="connsiteY32796"/>
              </a:cxn>
              <a:cxn ang="0">
                <a:pos x="connsiteX32797" y="connsiteY32797"/>
              </a:cxn>
              <a:cxn ang="0">
                <a:pos x="connsiteX32798" y="connsiteY32798"/>
              </a:cxn>
              <a:cxn ang="0">
                <a:pos x="connsiteX32799" y="connsiteY32799"/>
              </a:cxn>
              <a:cxn ang="0">
                <a:pos x="connsiteX32800" y="connsiteY32800"/>
              </a:cxn>
              <a:cxn ang="0">
                <a:pos x="connsiteX32801" y="connsiteY32801"/>
              </a:cxn>
              <a:cxn ang="0">
                <a:pos x="connsiteX32802" y="connsiteY32802"/>
              </a:cxn>
              <a:cxn ang="0">
                <a:pos x="connsiteX32803" y="connsiteY32803"/>
              </a:cxn>
              <a:cxn ang="0">
                <a:pos x="connsiteX32804" y="connsiteY32804"/>
              </a:cxn>
              <a:cxn ang="0">
                <a:pos x="connsiteX32805" y="connsiteY32805"/>
              </a:cxn>
              <a:cxn ang="0">
                <a:pos x="connsiteX32806" y="connsiteY32806"/>
              </a:cxn>
              <a:cxn ang="0">
                <a:pos x="connsiteX32807" y="connsiteY32807"/>
              </a:cxn>
              <a:cxn ang="0">
                <a:pos x="connsiteX32808" y="connsiteY32808"/>
              </a:cxn>
              <a:cxn ang="0">
                <a:pos x="connsiteX32809" y="connsiteY32809"/>
              </a:cxn>
              <a:cxn ang="0">
                <a:pos x="connsiteX32810" y="connsiteY32810"/>
              </a:cxn>
              <a:cxn ang="0">
                <a:pos x="connsiteX32811" y="connsiteY32811"/>
              </a:cxn>
              <a:cxn ang="0">
                <a:pos x="connsiteX32812" y="connsiteY32812"/>
              </a:cxn>
              <a:cxn ang="0">
                <a:pos x="connsiteX32813" y="connsiteY32813"/>
              </a:cxn>
              <a:cxn ang="0">
                <a:pos x="connsiteX32814" y="connsiteY32814"/>
              </a:cxn>
              <a:cxn ang="0">
                <a:pos x="connsiteX32815" y="connsiteY32815"/>
              </a:cxn>
              <a:cxn ang="0">
                <a:pos x="connsiteX32816" y="connsiteY32816"/>
              </a:cxn>
              <a:cxn ang="0">
                <a:pos x="connsiteX32817" y="connsiteY32817"/>
              </a:cxn>
              <a:cxn ang="0">
                <a:pos x="connsiteX32818" y="connsiteY32818"/>
              </a:cxn>
              <a:cxn ang="0">
                <a:pos x="connsiteX32819" y="connsiteY32819"/>
              </a:cxn>
              <a:cxn ang="0">
                <a:pos x="connsiteX32820" y="connsiteY32820"/>
              </a:cxn>
              <a:cxn ang="0">
                <a:pos x="connsiteX32821" y="connsiteY32821"/>
              </a:cxn>
              <a:cxn ang="0">
                <a:pos x="connsiteX32822" y="connsiteY32822"/>
              </a:cxn>
              <a:cxn ang="0">
                <a:pos x="connsiteX32823" y="connsiteY32823"/>
              </a:cxn>
              <a:cxn ang="0">
                <a:pos x="connsiteX32824" y="connsiteY32824"/>
              </a:cxn>
              <a:cxn ang="0">
                <a:pos x="connsiteX32825" y="connsiteY32825"/>
              </a:cxn>
              <a:cxn ang="0">
                <a:pos x="connsiteX32826" y="connsiteY32826"/>
              </a:cxn>
              <a:cxn ang="0">
                <a:pos x="connsiteX32827" y="connsiteY32827"/>
              </a:cxn>
              <a:cxn ang="0">
                <a:pos x="connsiteX32828" y="connsiteY32828"/>
              </a:cxn>
              <a:cxn ang="0">
                <a:pos x="connsiteX32829" y="connsiteY32829"/>
              </a:cxn>
              <a:cxn ang="0">
                <a:pos x="connsiteX32830" y="connsiteY32830"/>
              </a:cxn>
              <a:cxn ang="0">
                <a:pos x="connsiteX32831" y="connsiteY32831"/>
              </a:cxn>
              <a:cxn ang="0">
                <a:pos x="connsiteX32832" y="connsiteY32832"/>
              </a:cxn>
              <a:cxn ang="0">
                <a:pos x="connsiteX32833" y="connsiteY32833"/>
              </a:cxn>
              <a:cxn ang="0">
                <a:pos x="connsiteX32834" y="connsiteY32834"/>
              </a:cxn>
              <a:cxn ang="0">
                <a:pos x="connsiteX32835" y="connsiteY32835"/>
              </a:cxn>
              <a:cxn ang="0">
                <a:pos x="connsiteX32836" y="connsiteY32836"/>
              </a:cxn>
              <a:cxn ang="0">
                <a:pos x="connsiteX32837" y="connsiteY32837"/>
              </a:cxn>
              <a:cxn ang="0">
                <a:pos x="connsiteX32838" y="connsiteY32838"/>
              </a:cxn>
              <a:cxn ang="0">
                <a:pos x="connsiteX32839" y="connsiteY32839"/>
              </a:cxn>
              <a:cxn ang="0">
                <a:pos x="connsiteX32840" y="connsiteY32840"/>
              </a:cxn>
              <a:cxn ang="0">
                <a:pos x="connsiteX32841" y="connsiteY32841"/>
              </a:cxn>
              <a:cxn ang="0">
                <a:pos x="connsiteX32842" y="connsiteY32842"/>
              </a:cxn>
              <a:cxn ang="0">
                <a:pos x="connsiteX32843" y="connsiteY32843"/>
              </a:cxn>
              <a:cxn ang="0">
                <a:pos x="connsiteX32844" y="connsiteY32844"/>
              </a:cxn>
              <a:cxn ang="0">
                <a:pos x="connsiteX32845" y="connsiteY32845"/>
              </a:cxn>
              <a:cxn ang="0">
                <a:pos x="connsiteX32846" y="connsiteY32846"/>
              </a:cxn>
              <a:cxn ang="0">
                <a:pos x="connsiteX32847" y="connsiteY32847"/>
              </a:cxn>
              <a:cxn ang="0">
                <a:pos x="connsiteX32848" y="connsiteY32848"/>
              </a:cxn>
              <a:cxn ang="0">
                <a:pos x="connsiteX32849" y="connsiteY32849"/>
              </a:cxn>
              <a:cxn ang="0">
                <a:pos x="connsiteX32850" y="connsiteY32850"/>
              </a:cxn>
              <a:cxn ang="0">
                <a:pos x="connsiteX32851" y="connsiteY32851"/>
              </a:cxn>
              <a:cxn ang="0">
                <a:pos x="connsiteX32852" y="connsiteY32852"/>
              </a:cxn>
              <a:cxn ang="0">
                <a:pos x="connsiteX32853" y="connsiteY32853"/>
              </a:cxn>
              <a:cxn ang="0">
                <a:pos x="connsiteX32854" y="connsiteY32854"/>
              </a:cxn>
              <a:cxn ang="0">
                <a:pos x="connsiteX32855" y="connsiteY32855"/>
              </a:cxn>
              <a:cxn ang="0">
                <a:pos x="connsiteX32856" y="connsiteY32856"/>
              </a:cxn>
              <a:cxn ang="0">
                <a:pos x="connsiteX32857" y="connsiteY32857"/>
              </a:cxn>
              <a:cxn ang="0">
                <a:pos x="connsiteX32858" y="connsiteY32858"/>
              </a:cxn>
              <a:cxn ang="0">
                <a:pos x="connsiteX32859" y="connsiteY32859"/>
              </a:cxn>
              <a:cxn ang="0">
                <a:pos x="connsiteX32860" y="connsiteY32860"/>
              </a:cxn>
              <a:cxn ang="0">
                <a:pos x="connsiteX32861" y="connsiteY32861"/>
              </a:cxn>
              <a:cxn ang="0">
                <a:pos x="connsiteX32862" y="connsiteY32862"/>
              </a:cxn>
              <a:cxn ang="0">
                <a:pos x="connsiteX32863" y="connsiteY32863"/>
              </a:cxn>
              <a:cxn ang="0">
                <a:pos x="connsiteX32864" y="connsiteY32864"/>
              </a:cxn>
              <a:cxn ang="0">
                <a:pos x="connsiteX32865" y="connsiteY32865"/>
              </a:cxn>
              <a:cxn ang="0">
                <a:pos x="connsiteX32866" y="connsiteY32866"/>
              </a:cxn>
              <a:cxn ang="0">
                <a:pos x="connsiteX32867" y="connsiteY32867"/>
              </a:cxn>
              <a:cxn ang="0">
                <a:pos x="connsiteX32868" y="connsiteY32868"/>
              </a:cxn>
              <a:cxn ang="0">
                <a:pos x="connsiteX32869" y="connsiteY32869"/>
              </a:cxn>
              <a:cxn ang="0">
                <a:pos x="connsiteX32870" y="connsiteY32870"/>
              </a:cxn>
              <a:cxn ang="0">
                <a:pos x="connsiteX32871" y="connsiteY32871"/>
              </a:cxn>
              <a:cxn ang="0">
                <a:pos x="connsiteX32872" y="connsiteY32872"/>
              </a:cxn>
              <a:cxn ang="0">
                <a:pos x="connsiteX32873" y="connsiteY32873"/>
              </a:cxn>
              <a:cxn ang="0">
                <a:pos x="connsiteX32874" y="connsiteY32874"/>
              </a:cxn>
              <a:cxn ang="0">
                <a:pos x="connsiteX32875" y="connsiteY32875"/>
              </a:cxn>
              <a:cxn ang="0">
                <a:pos x="connsiteX32876" y="connsiteY32876"/>
              </a:cxn>
              <a:cxn ang="0">
                <a:pos x="connsiteX32877" y="connsiteY32877"/>
              </a:cxn>
              <a:cxn ang="0">
                <a:pos x="connsiteX32878" y="connsiteY32878"/>
              </a:cxn>
              <a:cxn ang="0">
                <a:pos x="connsiteX32879" y="connsiteY32879"/>
              </a:cxn>
              <a:cxn ang="0">
                <a:pos x="connsiteX32880" y="connsiteY32880"/>
              </a:cxn>
              <a:cxn ang="0">
                <a:pos x="connsiteX32881" y="connsiteY32881"/>
              </a:cxn>
              <a:cxn ang="0">
                <a:pos x="connsiteX32882" y="connsiteY32882"/>
              </a:cxn>
              <a:cxn ang="0">
                <a:pos x="connsiteX32883" y="connsiteY32883"/>
              </a:cxn>
              <a:cxn ang="0">
                <a:pos x="connsiteX32884" y="connsiteY32884"/>
              </a:cxn>
              <a:cxn ang="0">
                <a:pos x="connsiteX32885" y="connsiteY32885"/>
              </a:cxn>
              <a:cxn ang="0">
                <a:pos x="connsiteX32886" y="connsiteY32886"/>
              </a:cxn>
              <a:cxn ang="0">
                <a:pos x="connsiteX32887" y="connsiteY32887"/>
              </a:cxn>
              <a:cxn ang="0">
                <a:pos x="connsiteX32888" y="connsiteY32888"/>
              </a:cxn>
              <a:cxn ang="0">
                <a:pos x="connsiteX32889" y="connsiteY32889"/>
              </a:cxn>
              <a:cxn ang="0">
                <a:pos x="connsiteX32890" y="connsiteY32890"/>
              </a:cxn>
              <a:cxn ang="0">
                <a:pos x="connsiteX32891" y="connsiteY32891"/>
              </a:cxn>
              <a:cxn ang="0">
                <a:pos x="connsiteX32892" y="connsiteY32892"/>
              </a:cxn>
              <a:cxn ang="0">
                <a:pos x="connsiteX32893" y="connsiteY32893"/>
              </a:cxn>
              <a:cxn ang="0">
                <a:pos x="connsiteX32894" y="connsiteY32894"/>
              </a:cxn>
              <a:cxn ang="0">
                <a:pos x="connsiteX32895" y="connsiteY32895"/>
              </a:cxn>
              <a:cxn ang="0">
                <a:pos x="connsiteX32896" y="connsiteY32896"/>
              </a:cxn>
              <a:cxn ang="0">
                <a:pos x="connsiteX32897" y="connsiteY32897"/>
              </a:cxn>
              <a:cxn ang="0">
                <a:pos x="connsiteX32898" y="connsiteY32898"/>
              </a:cxn>
              <a:cxn ang="0">
                <a:pos x="connsiteX32899" y="connsiteY32899"/>
              </a:cxn>
              <a:cxn ang="0">
                <a:pos x="connsiteX32900" y="connsiteY32900"/>
              </a:cxn>
              <a:cxn ang="0">
                <a:pos x="connsiteX32901" y="connsiteY32901"/>
              </a:cxn>
              <a:cxn ang="0">
                <a:pos x="connsiteX32902" y="connsiteY32902"/>
              </a:cxn>
              <a:cxn ang="0">
                <a:pos x="connsiteX32903" y="connsiteY32903"/>
              </a:cxn>
              <a:cxn ang="0">
                <a:pos x="connsiteX32904" y="connsiteY32904"/>
              </a:cxn>
              <a:cxn ang="0">
                <a:pos x="connsiteX32905" y="connsiteY32905"/>
              </a:cxn>
              <a:cxn ang="0">
                <a:pos x="connsiteX32906" y="connsiteY32906"/>
              </a:cxn>
              <a:cxn ang="0">
                <a:pos x="connsiteX32907" y="connsiteY32907"/>
              </a:cxn>
              <a:cxn ang="0">
                <a:pos x="connsiteX32908" y="connsiteY32908"/>
              </a:cxn>
              <a:cxn ang="0">
                <a:pos x="connsiteX32909" y="connsiteY32909"/>
              </a:cxn>
              <a:cxn ang="0">
                <a:pos x="connsiteX32910" y="connsiteY32910"/>
              </a:cxn>
              <a:cxn ang="0">
                <a:pos x="connsiteX32911" y="connsiteY32911"/>
              </a:cxn>
              <a:cxn ang="0">
                <a:pos x="connsiteX32912" y="connsiteY32912"/>
              </a:cxn>
              <a:cxn ang="0">
                <a:pos x="connsiteX32913" y="connsiteY32913"/>
              </a:cxn>
              <a:cxn ang="0">
                <a:pos x="connsiteX32914" y="connsiteY32914"/>
              </a:cxn>
              <a:cxn ang="0">
                <a:pos x="connsiteX32915" y="connsiteY32915"/>
              </a:cxn>
              <a:cxn ang="0">
                <a:pos x="connsiteX32916" y="connsiteY32916"/>
              </a:cxn>
              <a:cxn ang="0">
                <a:pos x="connsiteX32917" y="connsiteY32917"/>
              </a:cxn>
              <a:cxn ang="0">
                <a:pos x="connsiteX32918" y="connsiteY32918"/>
              </a:cxn>
              <a:cxn ang="0">
                <a:pos x="connsiteX32919" y="connsiteY32919"/>
              </a:cxn>
              <a:cxn ang="0">
                <a:pos x="connsiteX32920" y="connsiteY32920"/>
              </a:cxn>
              <a:cxn ang="0">
                <a:pos x="connsiteX32921" y="connsiteY32921"/>
              </a:cxn>
              <a:cxn ang="0">
                <a:pos x="connsiteX32922" y="connsiteY32922"/>
              </a:cxn>
              <a:cxn ang="0">
                <a:pos x="connsiteX32923" y="connsiteY32923"/>
              </a:cxn>
              <a:cxn ang="0">
                <a:pos x="connsiteX32924" y="connsiteY32924"/>
              </a:cxn>
              <a:cxn ang="0">
                <a:pos x="connsiteX32925" y="connsiteY32925"/>
              </a:cxn>
              <a:cxn ang="0">
                <a:pos x="connsiteX32926" y="connsiteY32926"/>
              </a:cxn>
              <a:cxn ang="0">
                <a:pos x="connsiteX32927" y="connsiteY32927"/>
              </a:cxn>
              <a:cxn ang="0">
                <a:pos x="connsiteX32928" y="connsiteY32928"/>
              </a:cxn>
              <a:cxn ang="0">
                <a:pos x="connsiteX32929" y="connsiteY32929"/>
              </a:cxn>
              <a:cxn ang="0">
                <a:pos x="connsiteX32930" y="connsiteY32930"/>
              </a:cxn>
              <a:cxn ang="0">
                <a:pos x="connsiteX32931" y="connsiteY32931"/>
              </a:cxn>
              <a:cxn ang="0">
                <a:pos x="connsiteX32932" y="connsiteY32932"/>
              </a:cxn>
              <a:cxn ang="0">
                <a:pos x="connsiteX32933" y="connsiteY32933"/>
              </a:cxn>
              <a:cxn ang="0">
                <a:pos x="connsiteX32934" y="connsiteY32934"/>
              </a:cxn>
              <a:cxn ang="0">
                <a:pos x="connsiteX32935" y="connsiteY32935"/>
              </a:cxn>
              <a:cxn ang="0">
                <a:pos x="connsiteX32936" y="connsiteY32936"/>
              </a:cxn>
              <a:cxn ang="0">
                <a:pos x="connsiteX32937" y="connsiteY32937"/>
              </a:cxn>
              <a:cxn ang="0">
                <a:pos x="connsiteX32938" y="connsiteY32938"/>
              </a:cxn>
              <a:cxn ang="0">
                <a:pos x="connsiteX32939" y="connsiteY32939"/>
              </a:cxn>
              <a:cxn ang="0">
                <a:pos x="connsiteX32940" y="connsiteY32940"/>
              </a:cxn>
              <a:cxn ang="0">
                <a:pos x="connsiteX32941" y="connsiteY32941"/>
              </a:cxn>
              <a:cxn ang="0">
                <a:pos x="connsiteX32942" y="connsiteY32942"/>
              </a:cxn>
              <a:cxn ang="0">
                <a:pos x="connsiteX32943" y="connsiteY32943"/>
              </a:cxn>
              <a:cxn ang="0">
                <a:pos x="connsiteX32944" y="connsiteY32944"/>
              </a:cxn>
              <a:cxn ang="0">
                <a:pos x="connsiteX32945" y="connsiteY32945"/>
              </a:cxn>
              <a:cxn ang="0">
                <a:pos x="connsiteX32946" y="connsiteY32946"/>
              </a:cxn>
              <a:cxn ang="0">
                <a:pos x="connsiteX32947" y="connsiteY32947"/>
              </a:cxn>
              <a:cxn ang="0">
                <a:pos x="connsiteX32948" y="connsiteY32948"/>
              </a:cxn>
              <a:cxn ang="0">
                <a:pos x="connsiteX32949" y="connsiteY32949"/>
              </a:cxn>
              <a:cxn ang="0">
                <a:pos x="connsiteX32950" y="connsiteY32950"/>
              </a:cxn>
              <a:cxn ang="0">
                <a:pos x="connsiteX32951" y="connsiteY32951"/>
              </a:cxn>
              <a:cxn ang="0">
                <a:pos x="connsiteX32952" y="connsiteY32952"/>
              </a:cxn>
              <a:cxn ang="0">
                <a:pos x="connsiteX32953" y="connsiteY32953"/>
              </a:cxn>
              <a:cxn ang="0">
                <a:pos x="connsiteX32954" y="connsiteY32954"/>
              </a:cxn>
              <a:cxn ang="0">
                <a:pos x="connsiteX32955" y="connsiteY32955"/>
              </a:cxn>
              <a:cxn ang="0">
                <a:pos x="connsiteX32956" y="connsiteY32956"/>
              </a:cxn>
              <a:cxn ang="0">
                <a:pos x="connsiteX32957" y="connsiteY32957"/>
              </a:cxn>
              <a:cxn ang="0">
                <a:pos x="connsiteX32958" y="connsiteY32958"/>
              </a:cxn>
              <a:cxn ang="0">
                <a:pos x="connsiteX32959" y="connsiteY32959"/>
              </a:cxn>
              <a:cxn ang="0">
                <a:pos x="connsiteX32960" y="connsiteY32960"/>
              </a:cxn>
              <a:cxn ang="0">
                <a:pos x="connsiteX32961" y="connsiteY32961"/>
              </a:cxn>
              <a:cxn ang="0">
                <a:pos x="connsiteX32962" y="connsiteY32962"/>
              </a:cxn>
              <a:cxn ang="0">
                <a:pos x="connsiteX32963" y="connsiteY32963"/>
              </a:cxn>
              <a:cxn ang="0">
                <a:pos x="connsiteX32964" y="connsiteY32964"/>
              </a:cxn>
              <a:cxn ang="0">
                <a:pos x="connsiteX32965" y="connsiteY32965"/>
              </a:cxn>
              <a:cxn ang="0">
                <a:pos x="connsiteX32966" y="connsiteY32966"/>
              </a:cxn>
              <a:cxn ang="0">
                <a:pos x="connsiteX32967" y="connsiteY32967"/>
              </a:cxn>
              <a:cxn ang="0">
                <a:pos x="connsiteX32968" y="connsiteY32968"/>
              </a:cxn>
              <a:cxn ang="0">
                <a:pos x="connsiteX32969" y="connsiteY32969"/>
              </a:cxn>
              <a:cxn ang="0">
                <a:pos x="connsiteX32970" y="connsiteY32970"/>
              </a:cxn>
              <a:cxn ang="0">
                <a:pos x="connsiteX32971" y="connsiteY32971"/>
              </a:cxn>
              <a:cxn ang="0">
                <a:pos x="connsiteX32972" y="connsiteY32972"/>
              </a:cxn>
              <a:cxn ang="0">
                <a:pos x="connsiteX32973" y="connsiteY32973"/>
              </a:cxn>
              <a:cxn ang="0">
                <a:pos x="connsiteX32974" y="connsiteY32974"/>
              </a:cxn>
              <a:cxn ang="0">
                <a:pos x="connsiteX32975" y="connsiteY32975"/>
              </a:cxn>
              <a:cxn ang="0">
                <a:pos x="connsiteX32976" y="connsiteY32976"/>
              </a:cxn>
              <a:cxn ang="0">
                <a:pos x="connsiteX32977" y="connsiteY32977"/>
              </a:cxn>
              <a:cxn ang="0">
                <a:pos x="connsiteX32978" y="connsiteY32978"/>
              </a:cxn>
              <a:cxn ang="0">
                <a:pos x="connsiteX32979" y="connsiteY32979"/>
              </a:cxn>
              <a:cxn ang="0">
                <a:pos x="connsiteX32980" y="connsiteY32980"/>
              </a:cxn>
              <a:cxn ang="0">
                <a:pos x="connsiteX32981" y="connsiteY32981"/>
              </a:cxn>
              <a:cxn ang="0">
                <a:pos x="connsiteX32982" y="connsiteY32982"/>
              </a:cxn>
              <a:cxn ang="0">
                <a:pos x="connsiteX32983" y="connsiteY32983"/>
              </a:cxn>
              <a:cxn ang="0">
                <a:pos x="connsiteX32984" y="connsiteY32984"/>
              </a:cxn>
              <a:cxn ang="0">
                <a:pos x="connsiteX32985" y="connsiteY32985"/>
              </a:cxn>
              <a:cxn ang="0">
                <a:pos x="connsiteX32986" y="connsiteY32986"/>
              </a:cxn>
              <a:cxn ang="0">
                <a:pos x="connsiteX32987" y="connsiteY32987"/>
              </a:cxn>
              <a:cxn ang="0">
                <a:pos x="connsiteX32988" y="connsiteY32988"/>
              </a:cxn>
              <a:cxn ang="0">
                <a:pos x="connsiteX32989" y="connsiteY32989"/>
              </a:cxn>
              <a:cxn ang="0">
                <a:pos x="connsiteX32990" y="connsiteY32990"/>
              </a:cxn>
              <a:cxn ang="0">
                <a:pos x="connsiteX32991" y="connsiteY32991"/>
              </a:cxn>
              <a:cxn ang="0">
                <a:pos x="connsiteX32992" y="connsiteY32992"/>
              </a:cxn>
              <a:cxn ang="0">
                <a:pos x="connsiteX32993" y="connsiteY32993"/>
              </a:cxn>
              <a:cxn ang="0">
                <a:pos x="connsiteX32994" y="connsiteY32994"/>
              </a:cxn>
              <a:cxn ang="0">
                <a:pos x="connsiteX32995" y="connsiteY32995"/>
              </a:cxn>
              <a:cxn ang="0">
                <a:pos x="connsiteX32996" y="connsiteY32996"/>
              </a:cxn>
              <a:cxn ang="0">
                <a:pos x="connsiteX32997" y="connsiteY32997"/>
              </a:cxn>
              <a:cxn ang="0">
                <a:pos x="connsiteX32998" y="connsiteY32998"/>
              </a:cxn>
              <a:cxn ang="0">
                <a:pos x="connsiteX32999" y="connsiteY32999"/>
              </a:cxn>
              <a:cxn ang="0">
                <a:pos x="connsiteX33000" y="connsiteY33000"/>
              </a:cxn>
              <a:cxn ang="0">
                <a:pos x="connsiteX33001" y="connsiteY33001"/>
              </a:cxn>
              <a:cxn ang="0">
                <a:pos x="connsiteX33002" y="connsiteY33002"/>
              </a:cxn>
              <a:cxn ang="0">
                <a:pos x="connsiteX33003" y="connsiteY33003"/>
              </a:cxn>
              <a:cxn ang="0">
                <a:pos x="connsiteX33004" y="connsiteY33004"/>
              </a:cxn>
              <a:cxn ang="0">
                <a:pos x="connsiteX33005" y="connsiteY33005"/>
              </a:cxn>
              <a:cxn ang="0">
                <a:pos x="connsiteX33006" y="connsiteY33006"/>
              </a:cxn>
              <a:cxn ang="0">
                <a:pos x="connsiteX33007" y="connsiteY33007"/>
              </a:cxn>
              <a:cxn ang="0">
                <a:pos x="connsiteX33008" y="connsiteY33008"/>
              </a:cxn>
              <a:cxn ang="0">
                <a:pos x="connsiteX33009" y="connsiteY33009"/>
              </a:cxn>
              <a:cxn ang="0">
                <a:pos x="connsiteX33010" y="connsiteY33010"/>
              </a:cxn>
              <a:cxn ang="0">
                <a:pos x="connsiteX33011" y="connsiteY33011"/>
              </a:cxn>
              <a:cxn ang="0">
                <a:pos x="connsiteX33012" y="connsiteY33012"/>
              </a:cxn>
              <a:cxn ang="0">
                <a:pos x="connsiteX33013" y="connsiteY33013"/>
              </a:cxn>
              <a:cxn ang="0">
                <a:pos x="connsiteX33014" y="connsiteY33014"/>
              </a:cxn>
              <a:cxn ang="0">
                <a:pos x="connsiteX33015" y="connsiteY33015"/>
              </a:cxn>
              <a:cxn ang="0">
                <a:pos x="connsiteX33016" y="connsiteY33016"/>
              </a:cxn>
              <a:cxn ang="0">
                <a:pos x="connsiteX33017" y="connsiteY33017"/>
              </a:cxn>
              <a:cxn ang="0">
                <a:pos x="connsiteX33018" y="connsiteY33018"/>
              </a:cxn>
              <a:cxn ang="0">
                <a:pos x="connsiteX33019" y="connsiteY33019"/>
              </a:cxn>
              <a:cxn ang="0">
                <a:pos x="connsiteX33020" y="connsiteY33020"/>
              </a:cxn>
              <a:cxn ang="0">
                <a:pos x="connsiteX33021" y="connsiteY33021"/>
              </a:cxn>
              <a:cxn ang="0">
                <a:pos x="connsiteX33022" y="connsiteY33022"/>
              </a:cxn>
              <a:cxn ang="0">
                <a:pos x="connsiteX33023" y="connsiteY33023"/>
              </a:cxn>
              <a:cxn ang="0">
                <a:pos x="connsiteX33024" y="connsiteY33024"/>
              </a:cxn>
              <a:cxn ang="0">
                <a:pos x="connsiteX33025" y="connsiteY33025"/>
              </a:cxn>
              <a:cxn ang="0">
                <a:pos x="connsiteX33026" y="connsiteY33026"/>
              </a:cxn>
              <a:cxn ang="0">
                <a:pos x="connsiteX33027" y="connsiteY33027"/>
              </a:cxn>
              <a:cxn ang="0">
                <a:pos x="connsiteX33028" y="connsiteY33028"/>
              </a:cxn>
              <a:cxn ang="0">
                <a:pos x="connsiteX33029" y="connsiteY33029"/>
              </a:cxn>
              <a:cxn ang="0">
                <a:pos x="connsiteX33030" y="connsiteY33030"/>
              </a:cxn>
              <a:cxn ang="0">
                <a:pos x="connsiteX33031" y="connsiteY33031"/>
              </a:cxn>
              <a:cxn ang="0">
                <a:pos x="connsiteX33032" y="connsiteY33032"/>
              </a:cxn>
              <a:cxn ang="0">
                <a:pos x="connsiteX33033" y="connsiteY33033"/>
              </a:cxn>
              <a:cxn ang="0">
                <a:pos x="connsiteX33034" y="connsiteY33034"/>
              </a:cxn>
              <a:cxn ang="0">
                <a:pos x="connsiteX33035" y="connsiteY33035"/>
              </a:cxn>
              <a:cxn ang="0">
                <a:pos x="connsiteX33036" y="connsiteY33036"/>
              </a:cxn>
              <a:cxn ang="0">
                <a:pos x="connsiteX33037" y="connsiteY33037"/>
              </a:cxn>
              <a:cxn ang="0">
                <a:pos x="connsiteX33038" y="connsiteY33038"/>
              </a:cxn>
              <a:cxn ang="0">
                <a:pos x="connsiteX33039" y="connsiteY33039"/>
              </a:cxn>
              <a:cxn ang="0">
                <a:pos x="connsiteX33040" y="connsiteY33040"/>
              </a:cxn>
              <a:cxn ang="0">
                <a:pos x="connsiteX33041" y="connsiteY33041"/>
              </a:cxn>
              <a:cxn ang="0">
                <a:pos x="connsiteX33042" y="connsiteY33042"/>
              </a:cxn>
              <a:cxn ang="0">
                <a:pos x="connsiteX33043" y="connsiteY33043"/>
              </a:cxn>
              <a:cxn ang="0">
                <a:pos x="connsiteX33044" y="connsiteY33044"/>
              </a:cxn>
              <a:cxn ang="0">
                <a:pos x="connsiteX33045" y="connsiteY33045"/>
              </a:cxn>
              <a:cxn ang="0">
                <a:pos x="connsiteX33046" y="connsiteY33046"/>
              </a:cxn>
              <a:cxn ang="0">
                <a:pos x="connsiteX33047" y="connsiteY33047"/>
              </a:cxn>
              <a:cxn ang="0">
                <a:pos x="connsiteX33048" y="connsiteY33048"/>
              </a:cxn>
              <a:cxn ang="0">
                <a:pos x="connsiteX33049" y="connsiteY33049"/>
              </a:cxn>
              <a:cxn ang="0">
                <a:pos x="connsiteX33050" y="connsiteY33050"/>
              </a:cxn>
              <a:cxn ang="0">
                <a:pos x="connsiteX33051" y="connsiteY33051"/>
              </a:cxn>
              <a:cxn ang="0">
                <a:pos x="connsiteX33052" y="connsiteY33052"/>
              </a:cxn>
              <a:cxn ang="0">
                <a:pos x="connsiteX33053" y="connsiteY33053"/>
              </a:cxn>
              <a:cxn ang="0">
                <a:pos x="connsiteX33054" y="connsiteY33054"/>
              </a:cxn>
              <a:cxn ang="0">
                <a:pos x="connsiteX33055" y="connsiteY33055"/>
              </a:cxn>
              <a:cxn ang="0">
                <a:pos x="connsiteX33056" y="connsiteY33056"/>
              </a:cxn>
              <a:cxn ang="0">
                <a:pos x="connsiteX33057" y="connsiteY33057"/>
              </a:cxn>
              <a:cxn ang="0">
                <a:pos x="connsiteX33058" y="connsiteY33058"/>
              </a:cxn>
              <a:cxn ang="0">
                <a:pos x="connsiteX33059" y="connsiteY33059"/>
              </a:cxn>
              <a:cxn ang="0">
                <a:pos x="connsiteX33060" y="connsiteY33060"/>
              </a:cxn>
              <a:cxn ang="0">
                <a:pos x="connsiteX33061" y="connsiteY33061"/>
              </a:cxn>
              <a:cxn ang="0">
                <a:pos x="connsiteX33062" y="connsiteY33062"/>
              </a:cxn>
              <a:cxn ang="0">
                <a:pos x="connsiteX33063" y="connsiteY33063"/>
              </a:cxn>
              <a:cxn ang="0">
                <a:pos x="connsiteX33064" y="connsiteY33064"/>
              </a:cxn>
              <a:cxn ang="0">
                <a:pos x="connsiteX33065" y="connsiteY33065"/>
              </a:cxn>
              <a:cxn ang="0">
                <a:pos x="connsiteX33066" y="connsiteY33066"/>
              </a:cxn>
              <a:cxn ang="0">
                <a:pos x="connsiteX33067" y="connsiteY33067"/>
              </a:cxn>
              <a:cxn ang="0">
                <a:pos x="connsiteX33068" y="connsiteY33068"/>
              </a:cxn>
              <a:cxn ang="0">
                <a:pos x="connsiteX33069" y="connsiteY33069"/>
              </a:cxn>
              <a:cxn ang="0">
                <a:pos x="connsiteX33070" y="connsiteY33070"/>
              </a:cxn>
              <a:cxn ang="0">
                <a:pos x="connsiteX33071" y="connsiteY33071"/>
              </a:cxn>
              <a:cxn ang="0">
                <a:pos x="connsiteX33072" y="connsiteY33072"/>
              </a:cxn>
              <a:cxn ang="0">
                <a:pos x="connsiteX33073" y="connsiteY33073"/>
              </a:cxn>
              <a:cxn ang="0">
                <a:pos x="connsiteX33074" y="connsiteY33074"/>
              </a:cxn>
              <a:cxn ang="0">
                <a:pos x="connsiteX33075" y="connsiteY33075"/>
              </a:cxn>
              <a:cxn ang="0">
                <a:pos x="connsiteX33076" y="connsiteY33076"/>
              </a:cxn>
              <a:cxn ang="0">
                <a:pos x="connsiteX33077" y="connsiteY33077"/>
              </a:cxn>
              <a:cxn ang="0">
                <a:pos x="connsiteX33078" y="connsiteY33078"/>
              </a:cxn>
              <a:cxn ang="0">
                <a:pos x="connsiteX33079" y="connsiteY33079"/>
              </a:cxn>
              <a:cxn ang="0">
                <a:pos x="connsiteX33080" y="connsiteY33080"/>
              </a:cxn>
              <a:cxn ang="0">
                <a:pos x="connsiteX33081" y="connsiteY33081"/>
              </a:cxn>
              <a:cxn ang="0">
                <a:pos x="connsiteX33082" y="connsiteY33082"/>
              </a:cxn>
              <a:cxn ang="0">
                <a:pos x="connsiteX33083" y="connsiteY33083"/>
              </a:cxn>
              <a:cxn ang="0">
                <a:pos x="connsiteX33084" y="connsiteY33084"/>
              </a:cxn>
              <a:cxn ang="0">
                <a:pos x="connsiteX33085" y="connsiteY33085"/>
              </a:cxn>
              <a:cxn ang="0">
                <a:pos x="connsiteX33086" y="connsiteY33086"/>
              </a:cxn>
              <a:cxn ang="0">
                <a:pos x="connsiteX33087" y="connsiteY33087"/>
              </a:cxn>
              <a:cxn ang="0">
                <a:pos x="connsiteX33088" y="connsiteY33088"/>
              </a:cxn>
              <a:cxn ang="0">
                <a:pos x="connsiteX33089" y="connsiteY33089"/>
              </a:cxn>
              <a:cxn ang="0">
                <a:pos x="connsiteX33090" y="connsiteY33090"/>
              </a:cxn>
              <a:cxn ang="0">
                <a:pos x="connsiteX33091" y="connsiteY33091"/>
              </a:cxn>
              <a:cxn ang="0">
                <a:pos x="connsiteX33092" y="connsiteY33092"/>
              </a:cxn>
              <a:cxn ang="0">
                <a:pos x="connsiteX33093" y="connsiteY33093"/>
              </a:cxn>
              <a:cxn ang="0">
                <a:pos x="connsiteX33094" y="connsiteY33094"/>
              </a:cxn>
              <a:cxn ang="0">
                <a:pos x="connsiteX33095" y="connsiteY33095"/>
              </a:cxn>
              <a:cxn ang="0">
                <a:pos x="connsiteX33096" y="connsiteY33096"/>
              </a:cxn>
              <a:cxn ang="0">
                <a:pos x="connsiteX33097" y="connsiteY33097"/>
              </a:cxn>
              <a:cxn ang="0">
                <a:pos x="connsiteX33098" y="connsiteY33098"/>
              </a:cxn>
              <a:cxn ang="0">
                <a:pos x="connsiteX33099" y="connsiteY33099"/>
              </a:cxn>
              <a:cxn ang="0">
                <a:pos x="connsiteX33100" y="connsiteY33100"/>
              </a:cxn>
              <a:cxn ang="0">
                <a:pos x="connsiteX33101" y="connsiteY33101"/>
              </a:cxn>
              <a:cxn ang="0">
                <a:pos x="connsiteX33102" y="connsiteY33102"/>
              </a:cxn>
              <a:cxn ang="0">
                <a:pos x="connsiteX33103" y="connsiteY33103"/>
              </a:cxn>
              <a:cxn ang="0">
                <a:pos x="connsiteX33104" y="connsiteY33104"/>
              </a:cxn>
              <a:cxn ang="0">
                <a:pos x="connsiteX33105" y="connsiteY33105"/>
              </a:cxn>
              <a:cxn ang="0">
                <a:pos x="connsiteX33106" y="connsiteY33106"/>
              </a:cxn>
              <a:cxn ang="0">
                <a:pos x="connsiteX33107" y="connsiteY33107"/>
              </a:cxn>
              <a:cxn ang="0">
                <a:pos x="connsiteX33108" y="connsiteY33108"/>
              </a:cxn>
              <a:cxn ang="0">
                <a:pos x="connsiteX33109" y="connsiteY33109"/>
              </a:cxn>
              <a:cxn ang="0">
                <a:pos x="connsiteX33110" y="connsiteY33110"/>
              </a:cxn>
              <a:cxn ang="0">
                <a:pos x="connsiteX33111" y="connsiteY33111"/>
              </a:cxn>
              <a:cxn ang="0">
                <a:pos x="connsiteX33112" y="connsiteY33112"/>
              </a:cxn>
              <a:cxn ang="0">
                <a:pos x="connsiteX33113" y="connsiteY33113"/>
              </a:cxn>
              <a:cxn ang="0">
                <a:pos x="connsiteX33114" y="connsiteY33114"/>
              </a:cxn>
              <a:cxn ang="0">
                <a:pos x="connsiteX33115" y="connsiteY33115"/>
              </a:cxn>
              <a:cxn ang="0">
                <a:pos x="connsiteX33116" y="connsiteY33116"/>
              </a:cxn>
              <a:cxn ang="0">
                <a:pos x="connsiteX33117" y="connsiteY33117"/>
              </a:cxn>
              <a:cxn ang="0">
                <a:pos x="connsiteX33118" y="connsiteY33118"/>
              </a:cxn>
              <a:cxn ang="0">
                <a:pos x="connsiteX33119" y="connsiteY33119"/>
              </a:cxn>
              <a:cxn ang="0">
                <a:pos x="connsiteX33120" y="connsiteY33120"/>
              </a:cxn>
              <a:cxn ang="0">
                <a:pos x="connsiteX33121" y="connsiteY33121"/>
              </a:cxn>
              <a:cxn ang="0">
                <a:pos x="connsiteX33122" y="connsiteY33122"/>
              </a:cxn>
              <a:cxn ang="0">
                <a:pos x="connsiteX33123" y="connsiteY33123"/>
              </a:cxn>
              <a:cxn ang="0">
                <a:pos x="connsiteX33124" y="connsiteY33124"/>
              </a:cxn>
              <a:cxn ang="0">
                <a:pos x="connsiteX33125" y="connsiteY33125"/>
              </a:cxn>
              <a:cxn ang="0">
                <a:pos x="connsiteX33126" y="connsiteY33126"/>
              </a:cxn>
              <a:cxn ang="0">
                <a:pos x="connsiteX33127" y="connsiteY33127"/>
              </a:cxn>
              <a:cxn ang="0">
                <a:pos x="connsiteX33128" y="connsiteY33128"/>
              </a:cxn>
              <a:cxn ang="0">
                <a:pos x="connsiteX33129" y="connsiteY33129"/>
              </a:cxn>
              <a:cxn ang="0">
                <a:pos x="connsiteX33130" y="connsiteY33130"/>
              </a:cxn>
              <a:cxn ang="0">
                <a:pos x="connsiteX33131" y="connsiteY33131"/>
              </a:cxn>
              <a:cxn ang="0">
                <a:pos x="connsiteX33132" y="connsiteY33132"/>
              </a:cxn>
              <a:cxn ang="0">
                <a:pos x="connsiteX33133" y="connsiteY33133"/>
              </a:cxn>
              <a:cxn ang="0">
                <a:pos x="connsiteX33134" y="connsiteY33134"/>
              </a:cxn>
              <a:cxn ang="0">
                <a:pos x="connsiteX33135" y="connsiteY33135"/>
              </a:cxn>
              <a:cxn ang="0">
                <a:pos x="connsiteX33136" y="connsiteY33136"/>
              </a:cxn>
              <a:cxn ang="0">
                <a:pos x="connsiteX33137" y="connsiteY33137"/>
              </a:cxn>
              <a:cxn ang="0">
                <a:pos x="connsiteX33138" y="connsiteY33138"/>
              </a:cxn>
              <a:cxn ang="0">
                <a:pos x="connsiteX33139" y="connsiteY33139"/>
              </a:cxn>
              <a:cxn ang="0">
                <a:pos x="connsiteX33140" y="connsiteY33140"/>
              </a:cxn>
              <a:cxn ang="0">
                <a:pos x="connsiteX33141" y="connsiteY33141"/>
              </a:cxn>
              <a:cxn ang="0">
                <a:pos x="connsiteX33142" y="connsiteY33142"/>
              </a:cxn>
              <a:cxn ang="0">
                <a:pos x="connsiteX33143" y="connsiteY33143"/>
              </a:cxn>
              <a:cxn ang="0">
                <a:pos x="connsiteX33144" y="connsiteY33144"/>
              </a:cxn>
              <a:cxn ang="0">
                <a:pos x="connsiteX33145" y="connsiteY33145"/>
              </a:cxn>
              <a:cxn ang="0">
                <a:pos x="connsiteX33146" y="connsiteY33146"/>
              </a:cxn>
              <a:cxn ang="0">
                <a:pos x="connsiteX33147" y="connsiteY33147"/>
              </a:cxn>
              <a:cxn ang="0">
                <a:pos x="connsiteX33148" y="connsiteY33148"/>
              </a:cxn>
              <a:cxn ang="0">
                <a:pos x="connsiteX33149" y="connsiteY33149"/>
              </a:cxn>
              <a:cxn ang="0">
                <a:pos x="connsiteX33150" y="connsiteY33150"/>
              </a:cxn>
              <a:cxn ang="0">
                <a:pos x="connsiteX33151" y="connsiteY33151"/>
              </a:cxn>
              <a:cxn ang="0">
                <a:pos x="connsiteX33152" y="connsiteY33152"/>
              </a:cxn>
              <a:cxn ang="0">
                <a:pos x="connsiteX33153" y="connsiteY33153"/>
              </a:cxn>
              <a:cxn ang="0">
                <a:pos x="connsiteX33154" y="connsiteY33154"/>
              </a:cxn>
              <a:cxn ang="0">
                <a:pos x="connsiteX33155" y="connsiteY33155"/>
              </a:cxn>
              <a:cxn ang="0">
                <a:pos x="connsiteX33156" y="connsiteY33156"/>
              </a:cxn>
              <a:cxn ang="0">
                <a:pos x="connsiteX33157" y="connsiteY33157"/>
              </a:cxn>
              <a:cxn ang="0">
                <a:pos x="connsiteX33158" y="connsiteY33158"/>
              </a:cxn>
              <a:cxn ang="0">
                <a:pos x="connsiteX33159" y="connsiteY33159"/>
              </a:cxn>
              <a:cxn ang="0">
                <a:pos x="connsiteX33160" y="connsiteY33160"/>
              </a:cxn>
              <a:cxn ang="0">
                <a:pos x="connsiteX33161" y="connsiteY33161"/>
              </a:cxn>
              <a:cxn ang="0">
                <a:pos x="connsiteX33162" y="connsiteY33162"/>
              </a:cxn>
              <a:cxn ang="0">
                <a:pos x="connsiteX33163" y="connsiteY33163"/>
              </a:cxn>
              <a:cxn ang="0">
                <a:pos x="connsiteX33164" y="connsiteY33164"/>
              </a:cxn>
              <a:cxn ang="0">
                <a:pos x="connsiteX33165" y="connsiteY33165"/>
              </a:cxn>
              <a:cxn ang="0">
                <a:pos x="connsiteX33166" y="connsiteY33166"/>
              </a:cxn>
              <a:cxn ang="0">
                <a:pos x="connsiteX33167" y="connsiteY33167"/>
              </a:cxn>
              <a:cxn ang="0">
                <a:pos x="connsiteX33168" y="connsiteY33168"/>
              </a:cxn>
              <a:cxn ang="0">
                <a:pos x="connsiteX33169" y="connsiteY33169"/>
              </a:cxn>
              <a:cxn ang="0">
                <a:pos x="connsiteX33170" y="connsiteY33170"/>
              </a:cxn>
              <a:cxn ang="0">
                <a:pos x="connsiteX33171" y="connsiteY33171"/>
              </a:cxn>
              <a:cxn ang="0">
                <a:pos x="connsiteX33172" y="connsiteY33172"/>
              </a:cxn>
              <a:cxn ang="0">
                <a:pos x="connsiteX33173" y="connsiteY33173"/>
              </a:cxn>
              <a:cxn ang="0">
                <a:pos x="connsiteX33174" y="connsiteY33174"/>
              </a:cxn>
              <a:cxn ang="0">
                <a:pos x="connsiteX33175" y="connsiteY33175"/>
              </a:cxn>
              <a:cxn ang="0">
                <a:pos x="connsiteX33176" y="connsiteY33176"/>
              </a:cxn>
              <a:cxn ang="0">
                <a:pos x="connsiteX33177" y="connsiteY33177"/>
              </a:cxn>
              <a:cxn ang="0">
                <a:pos x="connsiteX33178" y="connsiteY33178"/>
              </a:cxn>
              <a:cxn ang="0">
                <a:pos x="connsiteX33179" y="connsiteY33179"/>
              </a:cxn>
              <a:cxn ang="0">
                <a:pos x="connsiteX33180" y="connsiteY33180"/>
              </a:cxn>
              <a:cxn ang="0">
                <a:pos x="connsiteX33181" y="connsiteY33181"/>
              </a:cxn>
              <a:cxn ang="0">
                <a:pos x="connsiteX33182" y="connsiteY33182"/>
              </a:cxn>
              <a:cxn ang="0">
                <a:pos x="connsiteX33183" y="connsiteY33183"/>
              </a:cxn>
              <a:cxn ang="0">
                <a:pos x="connsiteX33184" y="connsiteY33184"/>
              </a:cxn>
              <a:cxn ang="0">
                <a:pos x="connsiteX33185" y="connsiteY33185"/>
              </a:cxn>
              <a:cxn ang="0">
                <a:pos x="connsiteX33186" y="connsiteY33186"/>
              </a:cxn>
              <a:cxn ang="0">
                <a:pos x="connsiteX33187" y="connsiteY33187"/>
              </a:cxn>
              <a:cxn ang="0">
                <a:pos x="connsiteX33188" y="connsiteY33188"/>
              </a:cxn>
              <a:cxn ang="0">
                <a:pos x="connsiteX33189" y="connsiteY33189"/>
              </a:cxn>
              <a:cxn ang="0">
                <a:pos x="connsiteX33190" y="connsiteY33190"/>
              </a:cxn>
              <a:cxn ang="0">
                <a:pos x="connsiteX33191" y="connsiteY33191"/>
              </a:cxn>
              <a:cxn ang="0">
                <a:pos x="connsiteX33192" y="connsiteY33192"/>
              </a:cxn>
              <a:cxn ang="0">
                <a:pos x="connsiteX33193" y="connsiteY33193"/>
              </a:cxn>
              <a:cxn ang="0">
                <a:pos x="connsiteX33194" y="connsiteY33194"/>
              </a:cxn>
              <a:cxn ang="0">
                <a:pos x="connsiteX33195" y="connsiteY33195"/>
              </a:cxn>
              <a:cxn ang="0">
                <a:pos x="connsiteX33196" y="connsiteY33196"/>
              </a:cxn>
              <a:cxn ang="0">
                <a:pos x="connsiteX33197" y="connsiteY33197"/>
              </a:cxn>
              <a:cxn ang="0">
                <a:pos x="connsiteX33198" y="connsiteY33198"/>
              </a:cxn>
              <a:cxn ang="0">
                <a:pos x="connsiteX33199" y="connsiteY33199"/>
              </a:cxn>
              <a:cxn ang="0">
                <a:pos x="connsiteX33200" y="connsiteY33200"/>
              </a:cxn>
              <a:cxn ang="0">
                <a:pos x="connsiteX33201" y="connsiteY33201"/>
              </a:cxn>
              <a:cxn ang="0">
                <a:pos x="connsiteX33202" y="connsiteY33202"/>
              </a:cxn>
              <a:cxn ang="0">
                <a:pos x="connsiteX33203" y="connsiteY33203"/>
              </a:cxn>
              <a:cxn ang="0">
                <a:pos x="connsiteX33204" y="connsiteY33204"/>
              </a:cxn>
              <a:cxn ang="0">
                <a:pos x="connsiteX33205" y="connsiteY33205"/>
              </a:cxn>
              <a:cxn ang="0">
                <a:pos x="connsiteX33206" y="connsiteY33206"/>
              </a:cxn>
              <a:cxn ang="0">
                <a:pos x="connsiteX33207" y="connsiteY33207"/>
              </a:cxn>
              <a:cxn ang="0">
                <a:pos x="connsiteX33208" y="connsiteY33208"/>
              </a:cxn>
              <a:cxn ang="0">
                <a:pos x="connsiteX33209" y="connsiteY33209"/>
              </a:cxn>
              <a:cxn ang="0">
                <a:pos x="connsiteX33210" y="connsiteY33210"/>
              </a:cxn>
              <a:cxn ang="0">
                <a:pos x="connsiteX33211" y="connsiteY33211"/>
              </a:cxn>
              <a:cxn ang="0">
                <a:pos x="connsiteX33212" y="connsiteY33212"/>
              </a:cxn>
              <a:cxn ang="0">
                <a:pos x="connsiteX33213" y="connsiteY33213"/>
              </a:cxn>
              <a:cxn ang="0">
                <a:pos x="connsiteX33214" y="connsiteY33214"/>
              </a:cxn>
              <a:cxn ang="0">
                <a:pos x="connsiteX33215" y="connsiteY33215"/>
              </a:cxn>
              <a:cxn ang="0">
                <a:pos x="connsiteX33216" y="connsiteY33216"/>
              </a:cxn>
              <a:cxn ang="0">
                <a:pos x="connsiteX33217" y="connsiteY33217"/>
              </a:cxn>
              <a:cxn ang="0">
                <a:pos x="connsiteX33218" y="connsiteY33218"/>
              </a:cxn>
              <a:cxn ang="0">
                <a:pos x="connsiteX33219" y="connsiteY33219"/>
              </a:cxn>
              <a:cxn ang="0">
                <a:pos x="connsiteX33220" y="connsiteY33220"/>
              </a:cxn>
              <a:cxn ang="0">
                <a:pos x="connsiteX33221" y="connsiteY33221"/>
              </a:cxn>
              <a:cxn ang="0">
                <a:pos x="connsiteX33222" y="connsiteY33222"/>
              </a:cxn>
              <a:cxn ang="0">
                <a:pos x="connsiteX33223" y="connsiteY33223"/>
              </a:cxn>
              <a:cxn ang="0">
                <a:pos x="connsiteX33224" y="connsiteY33224"/>
              </a:cxn>
              <a:cxn ang="0">
                <a:pos x="connsiteX33225" y="connsiteY33225"/>
              </a:cxn>
              <a:cxn ang="0">
                <a:pos x="connsiteX33226" y="connsiteY33226"/>
              </a:cxn>
              <a:cxn ang="0">
                <a:pos x="connsiteX33227" y="connsiteY33227"/>
              </a:cxn>
              <a:cxn ang="0">
                <a:pos x="connsiteX33228" y="connsiteY33228"/>
              </a:cxn>
              <a:cxn ang="0">
                <a:pos x="connsiteX33229" y="connsiteY33229"/>
              </a:cxn>
              <a:cxn ang="0">
                <a:pos x="connsiteX33230" y="connsiteY33230"/>
              </a:cxn>
              <a:cxn ang="0">
                <a:pos x="connsiteX33231" y="connsiteY33231"/>
              </a:cxn>
              <a:cxn ang="0">
                <a:pos x="connsiteX33232" y="connsiteY33232"/>
              </a:cxn>
              <a:cxn ang="0">
                <a:pos x="connsiteX33233" y="connsiteY33233"/>
              </a:cxn>
              <a:cxn ang="0">
                <a:pos x="connsiteX33234" y="connsiteY33234"/>
              </a:cxn>
              <a:cxn ang="0">
                <a:pos x="connsiteX33235" y="connsiteY33235"/>
              </a:cxn>
              <a:cxn ang="0">
                <a:pos x="connsiteX33236" y="connsiteY33236"/>
              </a:cxn>
              <a:cxn ang="0">
                <a:pos x="connsiteX33237" y="connsiteY33237"/>
              </a:cxn>
              <a:cxn ang="0">
                <a:pos x="connsiteX33238" y="connsiteY33238"/>
              </a:cxn>
              <a:cxn ang="0">
                <a:pos x="connsiteX33239" y="connsiteY33239"/>
              </a:cxn>
              <a:cxn ang="0">
                <a:pos x="connsiteX33240" y="connsiteY33240"/>
              </a:cxn>
              <a:cxn ang="0">
                <a:pos x="connsiteX33241" y="connsiteY33241"/>
              </a:cxn>
              <a:cxn ang="0">
                <a:pos x="connsiteX33242" y="connsiteY33242"/>
              </a:cxn>
              <a:cxn ang="0">
                <a:pos x="connsiteX33243" y="connsiteY33243"/>
              </a:cxn>
              <a:cxn ang="0">
                <a:pos x="connsiteX33244" y="connsiteY33244"/>
              </a:cxn>
              <a:cxn ang="0">
                <a:pos x="connsiteX33245" y="connsiteY33245"/>
              </a:cxn>
              <a:cxn ang="0">
                <a:pos x="connsiteX33246" y="connsiteY33246"/>
              </a:cxn>
              <a:cxn ang="0">
                <a:pos x="connsiteX33247" y="connsiteY33247"/>
              </a:cxn>
              <a:cxn ang="0">
                <a:pos x="connsiteX33248" y="connsiteY33248"/>
              </a:cxn>
              <a:cxn ang="0">
                <a:pos x="connsiteX33249" y="connsiteY33249"/>
              </a:cxn>
              <a:cxn ang="0">
                <a:pos x="connsiteX33250" y="connsiteY33250"/>
              </a:cxn>
              <a:cxn ang="0">
                <a:pos x="connsiteX33251" y="connsiteY33251"/>
              </a:cxn>
              <a:cxn ang="0">
                <a:pos x="connsiteX33252" y="connsiteY33252"/>
              </a:cxn>
              <a:cxn ang="0">
                <a:pos x="connsiteX33253" y="connsiteY33253"/>
              </a:cxn>
              <a:cxn ang="0">
                <a:pos x="connsiteX33254" y="connsiteY33254"/>
              </a:cxn>
              <a:cxn ang="0">
                <a:pos x="connsiteX33255" y="connsiteY33255"/>
              </a:cxn>
              <a:cxn ang="0">
                <a:pos x="connsiteX33256" y="connsiteY33256"/>
              </a:cxn>
              <a:cxn ang="0">
                <a:pos x="connsiteX33257" y="connsiteY33257"/>
              </a:cxn>
              <a:cxn ang="0">
                <a:pos x="connsiteX33258" y="connsiteY33258"/>
              </a:cxn>
              <a:cxn ang="0">
                <a:pos x="connsiteX33259" y="connsiteY33259"/>
              </a:cxn>
              <a:cxn ang="0">
                <a:pos x="connsiteX33260" y="connsiteY33260"/>
              </a:cxn>
              <a:cxn ang="0">
                <a:pos x="connsiteX33261" y="connsiteY33261"/>
              </a:cxn>
              <a:cxn ang="0">
                <a:pos x="connsiteX33262" y="connsiteY33262"/>
              </a:cxn>
              <a:cxn ang="0">
                <a:pos x="connsiteX33263" y="connsiteY33263"/>
              </a:cxn>
              <a:cxn ang="0">
                <a:pos x="connsiteX33264" y="connsiteY33264"/>
              </a:cxn>
              <a:cxn ang="0">
                <a:pos x="connsiteX33265" y="connsiteY33265"/>
              </a:cxn>
              <a:cxn ang="0">
                <a:pos x="connsiteX33266" y="connsiteY33266"/>
              </a:cxn>
              <a:cxn ang="0">
                <a:pos x="connsiteX33267" y="connsiteY33267"/>
              </a:cxn>
              <a:cxn ang="0">
                <a:pos x="connsiteX33268" y="connsiteY33268"/>
              </a:cxn>
              <a:cxn ang="0">
                <a:pos x="connsiteX33269" y="connsiteY33269"/>
              </a:cxn>
              <a:cxn ang="0">
                <a:pos x="connsiteX33270" y="connsiteY33270"/>
              </a:cxn>
              <a:cxn ang="0">
                <a:pos x="connsiteX33271" y="connsiteY33271"/>
              </a:cxn>
              <a:cxn ang="0">
                <a:pos x="connsiteX33272" y="connsiteY33272"/>
              </a:cxn>
              <a:cxn ang="0">
                <a:pos x="connsiteX33273" y="connsiteY33273"/>
              </a:cxn>
              <a:cxn ang="0">
                <a:pos x="connsiteX33274" y="connsiteY33274"/>
              </a:cxn>
              <a:cxn ang="0">
                <a:pos x="connsiteX33275" y="connsiteY33275"/>
              </a:cxn>
              <a:cxn ang="0">
                <a:pos x="connsiteX33276" y="connsiteY33276"/>
              </a:cxn>
              <a:cxn ang="0">
                <a:pos x="connsiteX33277" y="connsiteY33277"/>
              </a:cxn>
              <a:cxn ang="0">
                <a:pos x="connsiteX33278" y="connsiteY33278"/>
              </a:cxn>
              <a:cxn ang="0">
                <a:pos x="connsiteX33279" y="connsiteY33279"/>
              </a:cxn>
              <a:cxn ang="0">
                <a:pos x="connsiteX33280" y="connsiteY33280"/>
              </a:cxn>
              <a:cxn ang="0">
                <a:pos x="connsiteX33281" y="connsiteY33281"/>
              </a:cxn>
              <a:cxn ang="0">
                <a:pos x="connsiteX33282" y="connsiteY33282"/>
              </a:cxn>
              <a:cxn ang="0">
                <a:pos x="connsiteX33283" y="connsiteY33283"/>
              </a:cxn>
              <a:cxn ang="0">
                <a:pos x="connsiteX33284" y="connsiteY33284"/>
              </a:cxn>
              <a:cxn ang="0">
                <a:pos x="connsiteX33285" y="connsiteY33285"/>
              </a:cxn>
              <a:cxn ang="0">
                <a:pos x="connsiteX33286" y="connsiteY33286"/>
              </a:cxn>
              <a:cxn ang="0">
                <a:pos x="connsiteX33287" y="connsiteY33287"/>
              </a:cxn>
              <a:cxn ang="0">
                <a:pos x="connsiteX33288" y="connsiteY33288"/>
              </a:cxn>
              <a:cxn ang="0">
                <a:pos x="connsiteX33289" y="connsiteY33289"/>
              </a:cxn>
              <a:cxn ang="0">
                <a:pos x="connsiteX33290" y="connsiteY33290"/>
              </a:cxn>
              <a:cxn ang="0">
                <a:pos x="connsiteX33291" y="connsiteY33291"/>
              </a:cxn>
              <a:cxn ang="0">
                <a:pos x="connsiteX33292" y="connsiteY33292"/>
              </a:cxn>
              <a:cxn ang="0">
                <a:pos x="connsiteX33293" y="connsiteY33293"/>
              </a:cxn>
              <a:cxn ang="0">
                <a:pos x="connsiteX33294" y="connsiteY33294"/>
              </a:cxn>
              <a:cxn ang="0">
                <a:pos x="connsiteX33295" y="connsiteY33295"/>
              </a:cxn>
              <a:cxn ang="0">
                <a:pos x="connsiteX33296" y="connsiteY33296"/>
              </a:cxn>
              <a:cxn ang="0">
                <a:pos x="connsiteX33297" y="connsiteY33297"/>
              </a:cxn>
              <a:cxn ang="0">
                <a:pos x="connsiteX33298" y="connsiteY33298"/>
              </a:cxn>
              <a:cxn ang="0">
                <a:pos x="connsiteX33299" y="connsiteY33299"/>
              </a:cxn>
              <a:cxn ang="0">
                <a:pos x="connsiteX33300" y="connsiteY33300"/>
              </a:cxn>
              <a:cxn ang="0">
                <a:pos x="connsiteX33301" y="connsiteY33301"/>
              </a:cxn>
              <a:cxn ang="0">
                <a:pos x="connsiteX33302" y="connsiteY33302"/>
              </a:cxn>
              <a:cxn ang="0">
                <a:pos x="connsiteX33303" y="connsiteY33303"/>
              </a:cxn>
              <a:cxn ang="0">
                <a:pos x="connsiteX33304" y="connsiteY33304"/>
              </a:cxn>
              <a:cxn ang="0">
                <a:pos x="connsiteX33305" y="connsiteY33305"/>
              </a:cxn>
              <a:cxn ang="0">
                <a:pos x="connsiteX33306" y="connsiteY33306"/>
              </a:cxn>
              <a:cxn ang="0">
                <a:pos x="connsiteX33307" y="connsiteY33307"/>
              </a:cxn>
              <a:cxn ang="0">
                <a:pos x="connsiteX33308" y="connsiteY33308"/>
              </a:cxn>
              <a:cxn ang="0">
                <a:pos x="connsiteX33309" y="connsiteY33309"/>
              </a:cxn>
              <a:cxn ang="0">
                <a:pos x="connsiteX33310" y="connsiteY33310"/>
              </a:cxn>
              <a:cxn ang="0">
                <a:pos x="connsiteX33311" y="connsiteY33311"/>
              </a:cxn>
              <a:cxn ang="0">
                <a:pos x="connsiteX33312" y="connsiteY33312"/>
              </a:cxn>
              <a:cxn ang="0">
                <a:pos x="connsiteX33313" y="connsiteY33313"/>
              </a:cxn>
              <a:cxn ang="0">
                <a:pos x="connsiteX33314" y="connsiteY33314"/>
              </a:cxn>
              <a:cxn ang="0">
                <a:pos x="connsiteX33315" y="connsiteY33315"/>
              </a:cxn>
              <a:cxn ang="0">
                <a:pos x="connsiteX33316" y="connsiteY33316"/>
              </a:cxn>
              <a:cxn ang="0">
                <a:pos x="connsiteX33317" y="connsiteY33317"/>
              </a:cxn>
              <a:cxn ang="0">
                <a:pos x="connsiteX33318" y="connsiteY33318"/>
              </a:cxn>
              <a:cxn ang="0">
                <a:pos x="connsiteX33319" y="connsiteY33319"/>
              </a:cxn>
              <a:cxn ang="0">
                <a:pos x="connsiteX33320" y="connsiteY33320"/>
              </a:cxn>
              <a:cxn ang="0">
                <a:pos x="connsiteX33321" y="connsiteY33321"/>
              </a:cxn>
              <a:cxn ang="0">
                <a:pos x="connsiteX33322" y="connsiteY33322"/>
              </a:cxn>
              <a:cxn ang="0">
                <a:pos x="connsiteX33323" y="connsiteY33323"/>
              </a:cxn>
              <a:cxn ang="0">
                <a:pos x="connsiteX33324" y="connsiteY33324"/>
              </a:cxn>
              <a:cxn ang="0">
                <a:pos x="connsiteX33325" y="connsiteY33325"/>
              </a:cxn>
              <a:cxn ang="0">
                <a:pos x="connsiteX33326" y="connsiteY33326"/>
              </a:cxn>
              <a:cxn ang="0">
                <a:pos x="connsiteX33327" y="connsiteY33327"/>
              </a:cxn>
              <a:cxn ang="0">
                <a:pos x="connsiteX33328" y="connsiteY33328"/>
              </a:cxn>
              <a:cxn ang="0">
                <a:pos x="connsiteX33329" y="connsiteY33329"/>
              </a:cxn>
              <a:cxn ang="0">
                <a:pos x="connsiteX33330" y="connsiteY33330"/>
              </a:cxn>
              <a:cxn ang="0">
                <a:pos x="connsiteX33331" y="connsiteY33331"/>
              </a:cxn>
              <a:cxn ang="0">
                <a:pos x="connsiteX33332" y="connsiteY33332"/>
              </a:cxn>
              <a:cxn ang="0">
                <a:pos x="connsiteX33333" y="connsiteY33333"/>
              </a:cxn>
              <a:cxn ang="0">
                <a:pos x="connsiteX33334" y="connsiteY33334"/>
              </a:cxn>
              <a:cxn ang="0">
                <a:pos x="connsiteX33335" y="connsiteY33335"/>
              </a:cxn>
              <a:cxn ang="0">
                <a:pos x="connsiteX33336" y="connsiteY33336"/>
              </a:cxn>
              <a:cxn ang="0">
                <a:pos x="connsiteX33337" y="connsiteY33337"/>
              </a:cxn>
              <a:cxn ang="0">
                <a:pos x="connsiteX33338" y="connsiteY33338"/>
              </a:cxn>
              <a:cxn ang="0">
                <a:pos x="connsiteX33339" y="connsiteY33339"/>
              </a:cxn>
              <a:cxn ang="0">
                <a:pos x="connsiteX33340" y="connsiteY33340"/>
              </a:cxn>
              <a:cxn ang="0">
                <a:pos x="connsiteX33341" y="connsiteY33341"/>
              </a:cxn>
              <a:cxn ang="0">
                <a:pos x="connsiteX33342" y="connsiteY33342"/>
              </a:cxn>
              <a:cxn ang="0">
                <a:pos x="connsiteX33343" y="connsiteY33343"/>
              </a:cxn>
              <a:cxn ang="0">
                <a:pos x="connsiteX33344" y="connsiteY33344"/>
              </a:cxn>
              <a:cxn ang="0">
                <a:pos x="connsiteX33345" y="connsiteY33345"/>
              </a:cxn>
              <a:cxn ang="0">
                <a:pos x="connsiteX33346" y="connsiteY33346"/>
              </a:cxn>
              <a:cxn ang="0">
                <a:pos x="connsiteX33347" y="connsiteY33347"/>
              </a:cxn>
              <a:cxn ang="0">
                <a:pos x="connsiteX33348" y="connsiteY33348"/>
              </a:cxn>
              <a:cxn ang="0">
                <a:pos x="connsiteX33349" y="connsiteY33349"/>
              </a:cxn>
              <a:cxn ang="0">
                <a:pos x="connsiteX33350" y="connsiteY33350"/>
              </a:cxn>
              <a:cxn ang="0">
                <a:pos x="connsiteX33351" y="connsiteY33351"/>
              </a:cxn>
              <a:cxn ang="0">
                <a:pos x="connsiteX33352" y="connsiteY33352"/>
              </a:cxn>
              <a:cxn ang="0">
                <a:pos x="connsiteX33353" y="connsiteY33353"/>
              </a:cxn>
              <a:cxn ang="0">
                <a:pos x="connsiteX33354" y="connsiteY33354"/>
              </a:cxn>
              <a:cxn ang="0">
                <a:pos x="connsiteX33355" y="connsiteY33355"/>
              </a:cxn>
              <a:cxn ang="0">
                <a:pos x="connsiteX33356" y="connsiteY33356"/>
              </a:cxn>
              <a:cxn ang="0">
                <a:pos x="connsiteX33357" y="connsiteY33357"/>
              </a:cxn>
              <a:cxn ang="0">
                <a:pos x="connsiteX33358" y="connsiteY33358"/>
              </a:cxn>
              <a:cxn ang="0">
                <a:pos x="connsiteX33359" y="connsiteY33359"/>
              </a:cxn>
              <a:cxn ang="0">
                <a:pos x="connsiteX33360" y="connsiteY33360"/>
              </a:cxn>
              <a:cxn ang="0">
                <a:pos x="connsiteX33361" y="connsiteY33361"/>
              </a:cxn>
              <a:cxn ang="0">
                <a:pos x="connsiteX33362" y="connsiteY33362"/>
              </a:cxn>
              <a:cxn ang="0">
                <a:pos x="connsiteX33363" y="connsiteY33363"/>
              </a:cxn>
              <a:cxn ang="0">
                <a:pos x="connsiteX33364" y="connsiteY33364"/>
              </a:cxn>
              <a:cxn ang="0">
                <a:pos x="connsiteX33365" y="connsiteY33365"/>
              </a:cxn>
              <a:cxn ang="0">
                <a:pos x="connsiteX33366" y="connsiteY33366"/>
              </a:cxn>
              <a:cxn ang="0">
                <a:pos x="connsiteX33367" y="connsiteY33367"/>
              </a:cxn>
              <a:cxn ang="0">
                <a:pos x="connsiteX33368" y="connsiteY33368"/>
              </a:cxn>
              <a:cxn ang="0">
                <a:pos x="connsiteX33369" y="connsiteY33369"/>
              </a:cxn>
              <a:cxn ang="0">
                <a:pos x="connsiteX33370" y="connsiteY33370"/>
              </a:cxn>
              <a:cxn ang="0">
                <a:pos x="connsiteX33371" y="connsiteY33371"/>
              </a:cxn>
              <a:cxn ang="0">
                <a:pos x="connsiteX33372" y="connsiteY33372"/>
              </a:cxn>
              <a:cxn ang="0">
                <a:pos x="connsiteX33373" y="connsiteY33373"/>
              </a:cxn>
              <a:cxn ang="0">
                <a:pos x="connsiteX33374" y="connsiteY33374"/>
              </a:cxn>
              <a:cxn ang="0">
                <a:pos x="connsiteX33375" y="connsiteY33375"/>
              </a:cxn>
              <a:cxn ang="0">
                <a:pos x="connsiteX33376" y="connsiteY33376"/>
              </a:cxn>
              <a:cxn ang="0">
                <a:pos x="connsiteX33377" y="connsiteY33377"/>
              </a:cxn>
              <a:cxn ang="0">
                <a:pos x="connsiteX33378" y="connsiteY33378"/>
              </a:cxn>
              <a:cxn ang="0">
                <a:pos x="connsiteX33379" y="connsiteY33379"/>
              </a:cxn>
              <a:cxn ang="0">
                <a:pos x="connsiteX33380" y="connsiteY33380"/>
              </a:cxn>
              <a:cxn ang="0">
                <a:pos x="connsiteX33381" y="connsiteY33381"/>
              </a:cxn>
              <a:cxn ang="0">
                <a:pos x="connsiteX33382" y="connsiteY33382"/>
              </a:cxn>
              <a:cxn ang="0">
                <a:pos x="connsiteX33383" y="connsiteY33383"/>
              </a:cxn>
              <a:cxn ang="0">
                <a:pos x="connsiteX33384" y="connsiteY33384"/>
              </a:cxn>
              <a:cxn ang="0">
                <a:pos x="connsiteX33385" y="connsiteY33385"/>
              </a:cxn>
              <a:cxn ang="0">
                <a:pos x="connsiteX33386" y="connsiteY33386"/>
              </a:cxn>
              <a:cxn ang="0">
                <a:pos x="connsiteX33387" y="connsiteY33387"/>
              </a:cxn>
              <a:cxn ang="0">
                <a:pos x="connsiteX33388" y="connsiteY33388"/>
              </a:cxn>
              <a:cxn ang="0">
                <a:pos x="connsiteX33389" y="connsiteY33389"/>
              </a:cxn>
              <a:cxn ang="0">
                <a:pos x="connsiteX33390" y="connsiteY33390"/>
              </a:cxn>
              <a:cxn ang="0">
                <a:pos x="connsiteX33391" y="connsiteY33391"/>
              </a:cxn>
              <a:cxn ang="0">
                <a:pos x="connsiteX33392" y="connsiteY33392"/>
              </a:cxn>
              <a:cxn ang="0">
                <a:pos x="connsiteX33393" y="connsiteY33393"/>
              </a:cxn>
              <a:cxn ang="0">
                <a:pos x="connsiteX33394" y="connsiteY33394"/>
              </a:cxn>
              <a:cxn ang="0">
                <a:pos x="connsiteX33395" y="connsiteY33395"/>
              </a:cxn>
              <a:cxn ang="0">
                <a:pos x="connsiteX33396" y="connsiteY33396"/>
              </a:cxn>
              <a:cxn ang="0">
                <a:pos x="connsiteX33397" y="connsiteY33397"/>
              </a:cxn>
              <a:cxn ang="0">
                <a:pos x="connsiteX33398" y="connsiteY33398"/>
              </a:cxn>
              <a:cxn ang="0">
                <a:pos x="connsiteX33399" y="connsiteY33399"/>
              </a:cxn>
              <a:cxn ang="0">
                <a:pos x="connsiteX33400" y="connsiteY33400"/>
              </a:cxn>
              <a:cxn ang="0">
                <a:pos x="connsiteX33401" y="connsiteY33401"/>
              </a:cxn>
              <a:cxn ang="0">
                <a:pos x="connsiteX33402" y="connsiteY33402"/>
              </a:cxn>
              <a:cxn ang="0">
                <a:pos x="connsiteX33403" y="connsiteY33403"/>
              </a:cxn>
              <a:cxn ang="0">
                <a:pos x="connsiteX33404" y="connsiteY33404"/>
              </a:cxn>
              <a:cxn ang="0">
                <a:pos x="connsiteX33405" y="connsiteY33405"/>
              </a:cxn>
              <a:cxn ang="0">
                <a:pos x="connsiteX33406" y="connsiteY33406"/>
              </a:cxn>
              <a:cxn ang="0">
                <a:pos x="connsiteX33407" y="connsiteY33407"/>
              </a:cxn>
              <a:cxn ang="0">
                <a:pos x="connsiteX33408" y="connsiteY33408"/>
              </a:cxn>
              <a:cxn ang="0">
                <a:pos x="connsiteX33409" y="connsiteY33409"/>
              </a:cxn>
              <a:cxn ang="0">
                <a:pos x="connsiteX33410" y="connsiteY33410"/>
              </a:cxn>
              <a:cxn ang="0">
                <a:pos x="connsiteX33411" y="connsiteY33411"/>
              </a:cxn>
              <a:cxn ang="0">
                <a:pos x="connsiteX33412" y="connsiteY33412"/>
              </a:cxn>
              <a:cxn ang="0">
                <a:pos x="connsiteX33413" y="connsiteY33413"/>
              </a:cxn>
              <a:cxn ang="0">
                <a:pos x="connsiteX33414" y="connsiteY33414"/>
              </a:cxn>
              <a:cxn ang="0">
                <a:pos x="connsiteX33415" y="connsiteY33415"/>
              </a:cxn>
              <a:cxn ang="0">
                <a:pos x="connsiteX33416" y="connsiteY33416"/>
              </a:cxn>
              <a:cxn ang="0">
                <a:pos x="connsiteX33417" y="connsiteY33417"/>
              </a:cxn>
              <a:cxn ang="0">
                <a:pos x="connsiteX33418" y="connsiteY33418"/>
              </a:cxn>
              <a:cxn ang="0">
                <a:pos x="connsiteX33419" y="connsiteY33419"/>
              </a:cxn>
              <a:cxn ang="0">
                <a:pos x="connsiteX33420" y="connsiteY33420"/>
              </a:cxn>
              <a:cxn ang="0">
                <a:pos x="connsiteX33421" y="connsiteY33421"/>
              </a:cxn>
              <a:cxn ang="0">
                <a:pos x="connsiteX33422" y="connsiteY33422"/>
              </a:cxn>
              <a:cxn ang="0">
                <a:pos x="connsiteX33423" y="connsiteY33423"/>
              </a:cxn>
              <a:cxn ang="0">
                <a:pos x="connsiteX33424" y="connsiteY33424"/>
              </a:cxn>
              <a:cxn ang="0">
                <a:pos x="connsiteX33425" y="connsiteY33425"/>
              </a:cxn>
              <a:cxn ang="0">
                <a:pos x="connsiteX33426" y="connsiteY33426"/>
              </a:cxn>
              <a:cxn ang="0">
                <a:pos x="connsiteX33427" y="connsiteY33427"/>
              </a:cxn>
              <a:cxn ang="0">
                <a:pos x="connsiteX33428" y="connsiteY33428"/>
              </a:cxn>
              <a:cxn ang="0">
                <a:pos x="connsiteX33429" y="connsiteY33429"/>
              </a:cxn>
              <a:cxn ang="0">
                <a:pos x="connsiteX33430" y="connsiteY33430"/>
              </a:cxn>
              <a:cxn ang="0">
                <a:pos x="connsiteX33431" y="connsiteY33431"/>
              </a:cxn>
              <a:cxn ang="0">
                <a:pos x="connsiteX33432" y="connsiteY33432"/>
              </a:cxn>
              <a:cxn ang="0">
                <a:pos x="connsiteX33433" y="connsiteY33433"/>
              </a:cxn>
              <a:cxn ang="0">
                <a:pos x="connsiteX33434" y="connsiteY33434"/>
              </a:cxn>
              <a:cxn ang="0">
                <a:pos x="connsiteX33435" y="connsiteY33435"/>
              </a:cxn>
              <a:cxn ang="0">
                <a:pos x="connsiteX33436" y="connsiteY33436"/>
              </a:cxn>
              <a:cxn ang="0">
                <a:pos x="connsiteX33437" y="connsiteY33437"/>
              </a:cxn>
              <a:cxn ang="0">
                <a:pos x="connsiteX33438" y="connsiteY33438"/>
              </a:cxn>
              <a:cxn ang="0">
                <a:pos x="connsiteX33439" y="connsiteY33439"/>
              </a:cxn>
              <a:cxn ang="0">
                <a:pos x="connsiteX33440" y="connsiteY33440"/>
              </a:cxn>
              <a:cxn ang="0">
                <a:pos x="connsiteX33441" y="connsiteY33441"/>
              </a:cxn>
              <a:cxn ang="0">
                <a:pos x="connsiteX33442" y="connsiteY33442"/>
              </a:cxn>
              <a:cxn ang="0">
                <a:pos x="connsiteX33443" y="connsiteY33443"/>
              </a:cxn>
              <a:cxn ang="0">
                <a:pos x="connsiteX33444" y="connsiteY33444"/>
              </a:cxn>
              <a:cxn ang="0">
                <a:pos x="connsiteX33445" y="connsiteY33445"/>
              </a:cxn>
              <a:cxn ang="0">
                <a:pos x="connsiteX33446" y="connsiteY33446"/>
              </a:cxn>
              <a:cxn ang="0">
                <a:pos x="connsiteX33447" y="connsiteY33447"/>
              </a:cxn>
              <a:cxn ang="0">
                <a:pos x="connsiteX33448" y="connsiteY33448"/>
              </a:cxn>
              <a:cxn ang="0">
                <a:pos x="connsiteX33449" y="connsiteY33449"/>
              </a:cxn>
              <a:cxn ang="0">
                <a:pos x="connsiteX33450" y="connsiteY33450"/>
              </a:cxn>
              <a:cxn ang="0">
                <a:pos x="connsiteX33451" y="connsiteY33451"/>
              </a:cxn>
              <a:cxn ang="0">
                <a:pos x="connsiteX33452" y="connsiteY33452"/>
              </a:cxn>
              <a:cxn ang="0">
                <a:pos x="connsiteX33453" y="connsiteY33453"/>
              </a:cxn>
              <a:cxn ang="0">
                <a:pos x="connsiteX33454" y="connsiteY33454"/>
              </a:cxn>
              <a:cxn ang="0">
                <a:pos x="connsiteX33455" y="connsiteY33455"/>
              </a:cxn>
              <a:cxn ang="0">
                <a:pos x="connsiteX33456" y="connsiteY33456"/>
              </a:cxn>
              <a:cxn ang="0">
                <a:pos x="connsiteX33457" y="connsiteY33457"/>
              </a:cxn>
              <a:cxn ang="0">
                <a:pos x="connsiteX33458" y="connsiteY33458"/>
              </a:cxn>
              <a:cxn ang="0">
                <a:pos x="connsiteX33459" y="connsiteY33459"/>
              </a:cxn>
              <a:cxn ang="0">
                <a:pos x="connsiteX33460" y="connsiteY33460"/>
              </a:cxn>
              <a:cxn ang="0">
                <a:pos x="connsiteX33461" y="connsiteY33461"/>
              </a:cxn>
              <a:cxn ang="0">
                <a:pos x="connsiteX33462" y="connsiteY33462"/>
              </a:cxn>
              <a:cxn ang="0">
                <a:pos x="connsiteX33463" y="connsiteY33463"/>
              </a:cxn>
              <a:cxn ang="0">
                <a:pos x="connsiteX33464" y="connsiteY33464"/>
              </a:cxn>
              <a:cxn ang="0">
                <a:pos x="connsiteX33465" y="connsiteY33465"/>
              </a:cxn>
              <a:cxn ang="0">
                <a:pos x="connsiteX33466" y="connsiteY33466"/>
              </a:cxn>
              <a:cxn ang="0">
                <a:pos x="connsiteX33467" y="connsiteY33467"/>
              </a:cxn>
              <a:cxn ang="0">
                <a:pos x="connsiteX33468" y="connsiteY33468"/>
              </a:cxn>
              <a:cxn ang="0">
                <a:pos x="connsiteX33469" y="connsiteY33469"/>
              </a:cxn>
              <a:cxn ang="0">
                <a:pos x="connsiteX33470" y="connsiteY33470"/>
              </a:cxn>
              <a:cxn ang="0">
                <a:pos x="connsiteX33471" y="connsiteY33471"/>
              </a:cxn>
              <a:cxn ang="0">
                <a:pos x="connsiteX33472" y="connsiteY33472"/>
              </a:cxn>
              <a:cxn ang="0">
                <a:pos x="connsiteX33473" y="connsiteY33473"/>
              </a:cxn>
              <a:cxn ang="0">
                <a:pos x="connsiteX33474" y="connsiteY33474"/>
              </a:cxn>
              <a:cxn ang="0">
                <a:pos x="connsiteX33475" y="connsiteY33475"/>
              </a:cxn>
              <a:cxn ang="0">
                <a:pos x="connsiteX33476" y="connsiteY33476"/>
              </a:cxn>
              <a:cxn ang="0">
                <a:pos x="connsiteX33477" y="connsiteY33477"/>
              </a:cxn>
              <a:cxn ang="0">
                <a:pos x="connsiteX33478" y="connsiteY33478"/>
              </a:cxn>
              <a:cxn ang="0">
                <a:pos x="connsiteX33479" y="connsiteY33479"/>
              </a:cxn>
              <a:cxn ang="0">
                <a:pos x="connsiteX33480" y="connsiteY33480"/>
              </a:cxn>
              <a:cxn ang="0">
                <a:pos x="connsiteX33481" y="connsiteY33481"/>
              </a:cxn>
              <a:cxn ang="0">
                <a:pos x="connsiteX33482" y="connsiteY33482"/>
              </a:cxn>
              <a:cxn ang="0">
                <a:pos x="connsiteX33483" y="connsiteY33483"/>
              </a:cxn>
              <a:cxn ang="0">
                <a:pos x="connsiteX33484" y="connsiteY33484"/>
              </a:cxn>
              <a:cxn ang="0">
                <a:pos x="connsiteX33485" y="connsiteY33485"/>
              </a:cxn>
              <a:cxn ang="0">
                <a:pos x="connsiteX33486" y="connsiteY33486"/>
              </a:cxn>
              <a:cxn ang="0">
                <a:pos x="connsiteX33487" y="connsiteY33487"/>
              </a:cxn>
              <a:cxn ang="0">
                <a:pos x="connsiteX33488" y="connsiteY33488"/>
              </a:cxn>
              <a:cxn ang="0">
                <a:pos x="connsiteX33489" y="connsiteY33489"/>
              </a:cxn>
              <a:cxn ang="0">
                <a:pos x="connsiteX33490" y="connsiteY33490"/>
              </a:cxn>
              <a:cxn ang="0">
                <a:pos x="connsiteX33491" y="connsiteY33491"/>
              </a:cxn>
              <a:cxn ang="0">
                <a:pos x="connsiteX33492" y="connsiteY33492"/>
              </a:cxn>
              <a:cxn ang="0">
                <a:pos x="connsiteX33493" y="connsiteY33493"/>
              </a:cxn>
              <a:cxn ang="0">
                <a:pos x="connsiteX33494" y="connsiteY33494"/>
              </a:cxn>
              <a:cxn ang="0">
                <a:pos x="connsiteX33495" y="connsiteY33495"/>
              </a:cxn>
              <a:cxn ang="0">
                <a:pos x="connsiteX33496" y="connsiteY33496"/>
              </a:cxn>
              <a:cxn ang="0">
                <a:pos x="connsiteX33497" y="connsiteY33497"/>
              </a:cxn>
              <a:cxn ang="0">
                <a:pos x="connsiteX33498" y="connsiteY33498"/>
              </a:cxn>
              <a:cxn ang="0">
                <a:pos x="connsiteX33499" y="connsiteY33499"/>
              </a:cxn>
              <a:cxn ang="0">
                <a:pos x="connsiteX33500" y="connsiteY33500"/>
              </a:cxn>
              <a:cxn ang="0">
                <a:pos x="connsiteX33501" y="connsiteY33501"/>
              </a:cxn>
              <a:cxn ang="0">
                <a:pos x="connsiteX33502" y="connsiteY33502"/>
              </a:cxn>
              <a:cxn ang="0">
                <a:pos x="connsiteX33503" y="connsiteY33503"/>
              </a:cxn>
              <a:cxn ang="0">
                <a:pos x="connsiteX33504" y="connsiteY33504"/>
              </a:cxn>
              <a:cxn ang="0">
                <a:pos x="connsiteX33505" y="connsiteY33505"/>
              </a:cxn>
              <a:cxn ang="0">
                <a:pos x="connsiteX33506" y="connsiteY33506"/>
              </a:cxn>
              <a:cxn ang="0">
                <a:pos x="connsiteX33507" y="connsiteY33507"/>
              </a:cxn>
              <a:cxn ang="0">
                <a:pos x="connsiteX33508" y="connsiteY33508"/>
              </a:cxn>
              <a:cxn ang="0">
                <a:pos x="connsiteX33509" y="connsiteY33509"/>
              </a:cxn>
              <a:cxn ang="0">
                <a:pos x="connsiteX33510" y="connsiteY33510"/>
              </a:cxn>
              <a:cxn ang="0">
                <a:pos x="connsiteX33511" y="connsiteY33511"/>
              </a:cxn>
              <a:cxn ang="0">
                <a:pos x="connsiteX33512" y="connsiteY33512"/>
              </a:cxn>
              <a:cxn ang="0">
                <a:pos x="connsiteX33513" y="connsiteY33513"/>
              </a:cxn>
              <a:cxn ang="0">
                <a:pos x="connsiteX33514" y="connsiteY33514"/>
              </a:cxn>
              <a:cxn ang="0">
                <a:pos x="connsiteX33515" y="connsiteY33515"/>
              </a:cxn>
              <a:cxn ang="0">
                <a:pos x="connsiteX33516" y="connsiteY33516"/>
              </a:cxn>
              <a:cxn ang="0">
                <a:pos x="connsiteX33517" y="connsiteY33517"/>
              </a:cxn>
              <a:cxn ang="0">
                <a:pos x="connsiteX33518" y="connsiteY33518"/>
              </a:cxn>
              <a:cxn ang="0">
                <a:pos x="connsiteX33519" y="connsiteY33519"/>
              </a:cxn>
              <a:cxn ang="0">
                <a:pos x="connsiteX33520" y="connsiteY33520"/>
              </a:cxn>
              <a:cxn ang="0">
                <a:pos x="connsiteX33521" y="connsiteY33521"/>
              </a:cxn>
              <a:cxn ang="0">
                <a:pos x="connsiteX33522" y="connsiteY33522"/>
              </a:cxn>
              <a:cxn ang="0">
                <a:pos x="connsiteX33523" y="connsiteY33523"/>
              </a:cxn>
              <a:cxn ang="0">
                <a:pos x="connsiteX33524" y="connsiteY33524"/>
              </a:cxn>
              <a:cxn ang="0">
                <a:pos x="connsiteX33525" y="connsiteY33525"/>
              </a:cxn>
              <a:cxn ang="0">
                <a:pos x="connsiteX33526" y="connsiteY33526"/>
              </a:cxn>
              <a:cxn ang="0">
                <a:pos x="connsiteX33527" y="connsiteY33527"/>
              </a:cxn>
              <a:cxn ang="0">
                <a:pos x="connsiteX33528" y="connsiteY33528"/>
              </a:cxn>
              <a:cxn ang="0">
                <a:pos x="connsiteX33529" y="connsiteY33529"/>
              </a:cxn>
              <a:cxn ang="0">
                <a:pos x="connsiteX33530" y="connsiteY33530"/>
              </a:cxn>
              <a:cxn ang="0">
                <a:pos x="connsiteX33531" y="connsiteY33531"/>
              </a:cxn>
              <a:cxn ang="0">
                <a:pos x="connsiteX33532" y="connsiteY33532"/>
              </a:cxn>
              <a:cxn ang="0">
                <a:pos x="connsiteX33533" y="connsiteY33533"/>
              </a:cxn>
              <a:cxn ang="0">
                <a:pos x="connsiteX33534" y="connsiteY33534"/>
              </a:cxn>
              <a:cxn ang="0">
                <a:pos x="connsiteX33535" y="connsiteY33535"/>
              </a:cxn>
              <a:cxn ang="0">
                <a:pos x="connsiteX33536" y="connsiteY33536"/>
              </a:cxn>
              <a:cxn ang="0">
                <a:pos x="connsiteX33537" y="connsiteY33537"/>
              </a:cxn>
              <a:cxn ang="0">
                <a:pos x="connsiteX33538" y="connsiteY33538"/>
              </a:cxn>
              <a:cxn ang="0">
                <a:pos x="connsiteX33539" y="connsiteY33539"/>
              </a:cxn>
              <a:cxn ang="0">
                <a:pos x="connsiteX33540" y="connsiteY33540"/>
              </a:cxn>
              <a:cxn ang="0">
                <a:pos x="connsiteX33541" y="connsiteY33541"/>
              </a:cxn>
              <a:cxn ang="0">
                <a:pos x="connsiteX33542" y="connsiteY33542"/>
              </a:cxn>
              <a:cxn ang="0">
                <a:pos x="connsiteX33543" y="connsiteY33543"/>
              </a:cxn>
              <a:cxn ang="0">
                <a:pos x="connsiteX33544" y="connsiteY33544"/>
              </a:cxn>
              <a:cxn ang="0">
                <a:pos x="connsiteX33545" y="connsiteY33545"/>
              </a:cxn>
              <a:cxn ang="0">
                <a:pos x="connsiteX33546" y="connsiteY33546"/>
              </a:cxn>
              <a:cxn ang="0">
                <a:pos x="connsiteX33547" y="connsiteY33547"/>
              </a:cxn>
              <a:cxn ang="0">
                <a:pos x="connsiteX33548" y="connsiteY33548"/>
              </a:cxn>
              <a:cxn ang="0">
                <a:pos x="connsiteX33549" y="connsiteY33549"/>
              </a:cxn>
              <a:cxn ang="0">
                <a:pos x="connsiteX33550" y="connsiteY33550"/>
              </a:cxn>
              <a:cxn ang="0">
                <a:pos x="connsiteX33551" y="connsiteY33551"/>
              </a:cxn>
              <a:cxn ang="0">
                <a:pos x="connsiteX33552" y="connsiteY33552"/>
              </a:cxn>
              <a:cxn ang="0">
                <a:pos x="connsiteX33553" y="connsiteY33553"/>
              </a:cxn>
              <a:cxn ang="0">
                <a:pos x="connsiteX33554" y="connsiteY33554"/>
              </a:cxn>
              <a:cxn ang="0">
                <a:pos x="connsiteX33555" y="connsiteY33555"/>
              </a:cxn>
              <a:cxn ang="0">
                <a:pos x="connsiteX33556" y="connsiteY33556"/>
              </a:cxn>
              <a:cxn ang="0">
                <a:pos x="connsiteX33557" y="connsiteY33557"/>
              </a:cxn>
              <a:cxn ang="0">
                <a:pos x="connsiteX33558" y="connsiteY33558"/>
              </a:cxn>
              <a:cxn ang="0">
                <a:pos x="connsiteX33559" y="connsiteY33559"/>
              </a:cxn>
              <a:cxn ang="0">
                <a:pos x="connsiteX33560" y="connsiteY33560"/>
              </a:cxn>
              <a:cxn ang="0">
                <a:pos x="connsiteX33561" y="connsiteY33561"/>
              </a:cxn>
              <a:cxn ang="0">
                <a:pos x="connsiteX33562" y="connsiteY33562"/>
              </a:cxn>
              <a:cxn ang="0">
                <a:pos x="connsiteX33563" y="connsiteY33563"/>
              </a:cxn>
              <a:cxn ang="0">
                <a:pos x="connsiteX33564" y="connsiteY33564"/>
              </a:cxn>
              <a:cxn ang="0">
                <a:pos x="connsiteX33565" y="connsiteY33565"/>
              </a:cxn>
              <a:cxn ang="0">
                <a:pos x="connsiteX33566" y="connsiteY33566"/>
              </a:cxn>
              <a:cxn ang="0">
                <a:pos x="connsiteX33567" y="connsiteY33567"/>
              </a:cxn>
              <a:cxn ang="0">
                <a:pos x="connsiteX33568" y="connsiteY33568"/>
              </a:cxn>
              <a:cxn ang="0">
                <a:pos x="connsiteX33569" y="connsiteY33569"/>
              </a:cxn>
              <a:cxn ang="0">
                <a:pos x="connsiteX33570" y="connsiteY33570"/>
              </a:cxn>
              <a:cxn ang="0">
                <a:pos x="connsiteX33571" y="connsiteY33571"/>
              </a:cxn>
              <a:cxn ang="0">
                <a:pos x="connsiteX33572" y="connsiteY33572"/>
              </a:cxn>
              <a:cxn ang="0">
                <a:pos x="connsiteX33573" y="connsiteY33573"/>
              </a:cxn>
              <a:cxn ang="0">
                <a:pos x="connsiteX33574" y="connsiteY33574"/>
              </a:cxn>
              <a:cxn ang="0">
                <a:pos x="connsiteX33575" y="connsiteY33575"/>
              </a:cxn>
              <a:cxn ang="0">
                <a:pos x="connsiteX33576" y="connsiteY33576"/>
              </a:cxn>
              <a:cxn ang="0">
                <a:pos x="connsiteX33577" y="connsiteY33577"/>
              </a:cxn>
              <a:cxn ang="0">
                <a:pos x="connsiteX33578" y="connsiteY33578"/>
              </a:cxn>
              <a:cxn ang="0">
                <a:pos x="connsiteX33579" y="connsiteY33579"/>
              </a:cxn>
              <a:cxn ang="0">
                <a:pos x="connsiteX33580" y="connsiteY33580"/>
              </a:cxn>
              <a:cxn ang="0">
                <a:pos x="connsiteX33581" y="connsiteY33581"/>
              </a:cxn>
              <a:cxn ang="0">
                <a:pos x="connsiteX33582" y="connsiteY33582"/>
              </a:cxn>
              <a:cxn ang="0">
                <a:pos x="connsiteX33583" y="connsiteY33583"/>
              </a:cxn>
              <a:cxn ang="0">
                <a:pos x="connsiteX33584" y="connsiteY33584"/>
              </a:cxn>
              <a:cxn ang="0">
                <a:pos x="connsiteX33585" y="connsiteY33585"/>
              </a:cxn>
              <a:cxn ang="0">
                <a:pos x="connsiteX33586" y="connsiteY33586"/>
              </a:cxn>
              <a:cxn ang="0">
                <a:pos x="connsiteX33587" y="connsiteY33587"/>
              </a:cxn>
              <a:cxn ang="0">
                <a:pos x="connsiteX33588" y="connsiteY33588"/>
              </a:cxn>
              <a:cxn ang="0">
                <a:pos x="connsiteX33589" y="connsiteY33589"/>
              </a:cxn>
              <a:cxn ang="0">
                <a:pos x="connsiteX33590" y="connsiteY33590"/>
              </a:cxn>
              <a:cxn ang="0">
                <a:pos x="connsiteX33591" y="connsiteY33591"/>
              </a:cxn>
              <a:cxn ang="0">
                <a:pos x="connsiteX33592" y="connsiteY33592"/>
              </a:cxn>
              <a:cxn ang="0">
                <a:pos x="connsiteX33593" y="connsiteY33593"/>
              </a:cxn>
              <a:cxn ang="0">
                <a:pos x="connsiteX33594" y="connsiteY33594"/>
              </a:cxn>
              <a:cxn ang="0">
                <a:pos x="connsiteX33595" y="connsiteY33595"/>
              </a:cxn>
              <a:cxn ang="0">
                <a:pos x="connsiteX33596" y="connsiteY33596"/>
              </a:cxn>
              <a:cxn ang="0">
                <a:pos x="connsiteX33597" y="connsiteY33597"/>
              </a:cxn>
              <a:cxn ang="0">
                <a:pos x="connsiteX33598" y="connsiteY33598"/>
              </a:cxn>
              <a:cxn ang="0">
                <a:pos x="connsiteX33599" y="connsiteY33599"/>
              </a:cxn>
              <a:cxn ang="0">
                <a:pos x="connsiteX33600" y="connsiteY33600"/>
              </a:cxn>
              <a:cxn ang="0">
                <a:pos x="connsiteX33601" y="connsiteY33601"/>
              </a:cxn>
              <a:cxn ang="0">
                <a:pos x="connsiteX33602" y="connsiteY33602"/>
              </a:cxn>
              <a:cxn ang="0">
                <a:pos x="connsiteX33603" y="connsiteY33603"/>
              </a:cxn>
              <a:cxn ang="0">
                <a:pos x="connsiteX33604" y="connsiteY33604"/>
              </a:cxn>
              <a:cxn ang="0">
                <a:pos x="connsiteX33605" y="connsiteY33605"/>
              </a:cxn>
              <a:cxn ang="0">
                <a:pos x="connsiteX33606" y="connsiteY33606"/>
              </a:cxn>
              <a:cxn ang="0">
                <a:pos x="connsiteX33607" y="connsiteY33607"/>
              </a:cxn>
              <a:cxn ang="0">
                <a:pos x="connsiteX33608" y="connsiteY33608"/>
              </a:cxn>
              <a:cxn ang="0">
                <a:pos x="connsiteX33609" y="connsiteY33609"/>
              </a:cxn>
              <a:cxn ang="0">
                <a:pos x="connsiteX33610" y="connsiteY33610"/>
              </a:cxn>
              <a:cxn ang="0">
                <a:pos x="connsiteX33611" y="connsiteY33611"/>
              </a:cxn>
              <a:cxn ang="0">
                <a:pos x="connsiteX33612" y="connsiteY33612"/>
              </a:cxn>
              <a:cxn ang="0">
                <a:pos x="connsiteX33613" y="connsiteY33613"/>
              </a:cxn>
              <a:cxn ang="0">
                <a:pos x="connsiteX33614" y="connsiteY33614"/>
              </a:cxn>
              <a:cxn ang="0">
                <a:pos x="connsiteX33615" y="connsiteY33615"/>
              </a:cxn>
              <a:cxn ang="0">
                <a:pos x="connsiteX33616" y="connsiteY33616"/>
              </a:cxn>
              <a:cxn ang="0">
                <a:pos x="connsiteX33617" y="connsiteY33617"/>
              </a:cxn>
              <a:cxn ang="0">
                <a:pos x="connsiteX33618" y="connsiteY33618"/>
              </a:cxn>
              <a:cxn ang="0">
                <a:pos x="connsiteX33619" y="connsiteY33619"/>
              </a:cxn>
              <a:cxn ang="0">
                <a:pos x="connsiteX33620" y="connsiteY33620"/>
              </a:cxn>
              <a:cxn ang="0">
                <a:pos x="connsiteX33621" y="connsiteY33621"/>
              </a:cxn>
              <a:cxn ang="0">
                <a:pos x="connsiteX33622" y="connsiteY33622"/>
              </a:cxn>
              <a:cxn ang="0">
                <a:pos x="connsiteX33623" y="connsiteY33623"/>
              </a:cxn>
              <a:cxn ang="0">
                <a:pos x="connsiteX33624" y="connsiteY33624"/>
              </a:cxn>
              <a:cxn ang="0">
                <a:pos x="connsiteX33625" y="connsiteY33625"/>
              </a:cxn>
              <a:cxn ang="0">
                <a:pos x="connsiteX33626" y="connsiteY33626"/>
              </a:cxn>
              <a:cxn ang="0">
                <a:pos x="connsiteX33627" y="connsiteY33627"/>
              </a:cxn>
              <a:cxn ang="0">
                <a:pos x="connsiteX33628" y="connsiteY33628"/>
              </a:cxn>
              <a:cxn ang="0">
                <a:pos x="connsiteX33629" y="connsiteY33629"/>
              </a:cxn>
              <a:cxn ang="0">
                <a:pos x="connsiteX33630" y="connsiteY33630"/>
              </a:cxn>
              <a:cxn ang="0">
                <a:pos x="connsiteX33631" y="connsiteY33631"/>
              </a:cxn>
              <a:cxn ang="0">
                <a:pos x="connsiteX33632" y="connsiteY33632"/>
              </a:cxn>
              <a:cxn ang="0">
                <a:pos x="connsiteX33633" y="connsiteY33633"/>
              </a:cxn>
              <a:cxn ang="0">
                <a:pos x="connsiteX33634" y="connsiteY33634"/>
              </a:cxn>
              <a:cxn ang="0">
                <a:pos x="connsiteX33635" y="connsiteY33635"/>
              </a:cxn>
              <a:cxn ang="0">
                <a:pos x="connsiteX33636" y="connsiteY33636"/>
              </a:cxn>
              <a:cxn ang="0">
                <a:pos x="connsiteX33637" y="connsiteY33637"/>
              </a:cxn>
              <a:cxn ang="0">
                <a:pos x="connsiteX33638" y="connsiteY33638"/>
              </a:cxn>
              <a:cxn ang="0">
                <a:pos x="connsiteX33639" y="connsiteY33639"/>
              </a:cxn>
              <a:cxn ang="0">
                <a:pos x="connsiteX33640" y="connsiteY33640"/>
              </a:cxn>
              <a:cxn ang="0">
                <a:pos x="connsiteX33641" y="connsiteY33641"/>
              </a:cxn>
              <a:cxn ang="0">
                <a:pos x="connsiteX33642" y="connsiteY33642"/>
              </a:cxn>
              <a:cxn ang="0">
                <a:pos x="connsiteX33643" y="connsiteY33643"/>
              </a:cxn>
              <a:cxn ang="0">
                <a:pos x="connsiteX33644" y="connsiteY33644"/>
              </a:cxn>
              <a:cxn ang="0">
                <a:pos x="connsiteX33645" y="connsiteY33645"/>
              </a:cxn>
              <a:cxn ang="0">
                <a:pos x="connsiteX33646" y="connsiteY33646"/>
              </a:cxn>
              <a:cxn ang="0">
                <a:pos x="connsiteX33647" y="connsiteY33647"/>
              </a:cxn>
              <a:cxn ang="0">
                <a:pos x="connsiteX33648" y="connsiteY33648"/>
              </a:cxn>
              <a:cxn ang="0">
                <a:pos x="connsiteX33649" y="connsiteY33649"/>
              </a:cxn>
              <a:cxn ang="0">
                <a:pos x="connsiteX33650" y="connsiteY33650"/>
              </a:cxn>
              <a:cxn ang="0">
                <a:pos x="connsiteX33651" y="connsiteY33651"/>
              </a:cxn>
              <a:cxn ang="0">
                <a:pos x="connsiteX33652" y="connsiteY33652"/>
              </a:cxn>
              <a:cxn ang="0">
                <a:pos x="connsiteX33653" y="connsiteY33653"/>
              </a:cxn>
              <a:cxn ang="0">
                <a:pos x="connsiteX33654" y="connsiteY33654"/>
              </a:cxn>
              <a:cxn ang="0">
                <a:pos x="connsiteX33655" y="connsiteY33655"/>
              </a:cxn>
              <a:cxn ang="0">
                <a:pos x="connsiteX33656" y="connsiteY33656"/>
              </a:cxn>
              <a:cxn ang="0">
                <a:pos x="connsiteX33657" y="connsiteY33657"/>
              </a:cxn>
              <a:cxn ang="0">
                <a:pos x="connsiteX33658" y="connsiteY33658"/>
              </a:cxn>
              <a:cxn ang="0">
                <a:pos x="connsiteX33659" y="connsiteY33659"/>
              </a:cxn>
              <a:cxn ang="0">
                <a:pos x="connsiteX33660" y="connsiteY33660"/>
              </a:cxn>
              <a:cxn ang="0">
                <a:pos x="connsiteX33661" y="connsiteY33661"/>
              </a:cxn>
              <a:cxn ang="0">
                <a:pos x="connsiteX33662" y="connsiteY33662"/>
              </a:cxn>
              <a:cxn ang="0">
                <a:pos x="connsiteX33663" y="connsiteY33663"/>
              </a:cxn>
              <a:cxn ang="0">
                <a:pos x="connsiteX33664" y="connsiteY33664"/>
              </a:cxn>
              <a:cxn ang="0">
                <a:pos x="connsiteX33665" y="connsiteY33665"/>
              </a:cxn>
              <a:cxn ang="0">
                <a:pos x="connsiteX33666" y="connsiteY33666"/>
              </a:cxn>
              <a:cxn ang="0">
                <a:pos x="connsiteX33667" y="connsiteY33667"/>
              </a:cxn>
              <a:cxn ang="0">
                <a:pos x="connsiteX33668" y="connsiteY33668"/>
              </a:cxn>
              <a:cxn ang="0">
                <a:pos x="connsiteX33669" y="connsiteY33669"/>
              </a:cxn>
              <a:cxn ang="0">
                <a:pos x="connsiteX33670" y="connsiteY33670"/>
              </a:cxn>
              <a:cxn ang="0">
                <a:pos x="connsiteX33671" y="connsiteY33671"/>
              </a:cxn>
              <a:cxn ang="0">
                <a:pos x="connsiteX33672" y="connsiteY33672"/>
              </a:cxn>
              <a:cxn ang="0">
                <a:pos x="connsiteX33673" y="connsiteY33673"/>
              </a:cxn>
              <a:cxn ang="0">
                <a:pos x="connsiteX33674" y="connsiteY33674"/>
              </a:cxn>
              <a:cxn ang="0">
                <a:pos x="connsiteX33675" y="connsiteY33675"/>
              </a:cxn>
              <a:cxn ang="0">
                <a:pos x="connsiteX33676" y="connsiteY33676"/>
              </a:cxn>
              <a:cxn ang="0">
                <a:pos x="connsiteX33677" y="connsiteY33677"/>
              </a:cxn>
              <a:cxn ang="0">
                <a:pos x="connsiteX33678" y="connsiteY33678"/>
              </a:cxn>
              <a:cxn ang="0">
                <a:pos x="connsiteX33679" y="connsiteY33679"/>
              </a:cxn>
              <a:cxn ang="0">
                <a:pos x="connsiteX33680" y="connsiteY33680"/>
              </a:cxn>
              <a:cxn ang="0">
                <a:pos x="connsiteX33681" y="connsiteY33681"/>
              </a:cxn>
              <a:cxn ang="0">
                <a:pos x="connsiteX33682" y="connsiteY33682"/>
              </a:cxn>
              <a:cxn ang="0">
                <a:pos x="connsiteX33683" y="connsiteY33683"/>
              </a:cxn>
              <a:cxn ang="0">
                <a:pos x="connsiteX33684" y="connsiteY33684"/>
              </a:cxn>
              <a:cxn ang="0">
                <a:pos x="connsiteX33685" y="connsiteY33685"/>
              </a:cxn>
              <a:cxn ang="0">
                <a:pos x="connsiteX33686" y="connsiteY33686"/>
              </a:cxn>
              <a:cxn ang="0">
                <a:pos x="connsiteX33687" y="connsiteY33687"/>
              </a:cxn>
              <a:cxn ang="0">
                <a:pos x="connsiteX33688" y="connsiteY33688"/>
              </a:cxn>
              <a:cxn ang="0">
                <a:pos x="connsiteX33689" y="connsiteY33689"/>
              </a:cxn>
              <a:cxn ang="0">
                <a:pos x="connsiteX33690" y="connsiteY33690"/>
              </a:cxn>
              <a:cxn ang="0">
                <a:pos x="connsiteX33691" y="connsiteY33691"/>
              </a:cxn>
              <a:cxn ang="0">
                <a:pos x="connsiteX33692" y="connsiteY33692"/>
              </a:cxn>
              <a:cxn ang="0">
                <a:pos x="connsiteX33693" y="connsiteY33693"/>
              </a:cxn>
              <a:cxn ang="0">
                <a:pos x="connsiteX33694" y="connsiteY33694"/>
              </a:cxn>
              <a:cxn ang="0">
                <a:pos x="connsiteX33695" y="connsiteY33695"/>
              </a:cxn>
              <a:cxn ang="0">
                <a:pos x="connsiteX33696" y="connsiteY33696"/>
              </a:cxn>
              <a:cxn ang="0">
                <a:pos x="connsiteX33697" y="connsiteY33697"/>
              </a:cxn>
              <a:cxn ang="0">
                <a:pos x="connsiteX33698" y="connsiteY33698"/>
              </a:cxn>
              <a:cxn ang="0">
                <a:pos x="connsiteX33699" y="connsiteY33699"/>
              </a:cxn>
              <a:cxn ang="0">
                <a:pos x="connsiteX33700" y="connsiteY33700"/>
              </a:cxn>
              <a:cxn ang="0">
                <a:pos x="connsiteX33701" y="connsiteY33701"/>
              </a:cxn>
              <a:cxn ang="0">
                <a:pos x="connsiteX33702" y="connsiteY33702"/>
              </a:cxn>
              <a:cxn ang="0">
                <a:pos x="connsiteX33703" y="connsiteY33703"/>
              </a:cxn>
              <a:cxn ang="0">
                <a:pos x="connsiteX33704" y="connsiteY33704"/>
              </a:cxn>
              <a:cxn ang="0">
                <a:pos x="connsiteX33705" y="connsiteY33705"/>
              </a:cxn>
              <a:cxn ang="0">
                <a:pos x="connsiteX33706" y="connsiteY33706"/>
              </a:cxn>
              <a:cxn ang="0">
                <a:pos x="connsiteX33707" y="connsiteY33707"/>
              </a:cxn>
              <a:cxn ang="0">
                <a:pos x="connsiteX33708" y="connsiteY33708"/>
              </a:cxn>
              <a:cxn ang="0">
                <a:pos x="connsiteX33709" y="connsiteY33709"/>
              </a:cxn>
              <a:cxn ang="0">
                <a:pos x="connsiteX33710" y="connsiteY33710"/>
              </a:cxn>
              <a:cxn ang="0">
                <a:pos x="connsiteX33711" y="connsiteY33711"/>
              </a:cxn>
              <a:cxn ang="0">
                <a:pos x="connsiteX33712" y="connsiteY33712"/>
              </a:cxn>
              <a:cxn ang="0">
                <a:pos x="connsiteX33713" y="connsiteY33713"/>
              </a:cxn>
              <a:cxn ang="0">
                <a:pos x="connsiteX33714" y="connsiteY33714"/>
              </a:cxn>
              <a:cxn ang="0">
                <a:pos x="connsiteX33715" y="connsiteY33715"/>
              </a:cxn>
              <a:cxn ang="0">
                <a:pos x="connsiteX33716" y="connsiteY33716"/>
              </a:cxn>
              <a:cxn ang="0">
                <a:pos x="connsiteX33717" y="connsiteY33717"/>
              </a:cxn>
              <a:cxn ang="0">
                <a:pos x="connsiteX33718" y="connsiteY33718"/>
              </a:cxn>
              <a:cxn ang="0">
                <a:pos x="connsiteX33719" y="connsiteY33719"/>
              </a:cxn>
              <a:cxn ang="0">
                <a:pos x="connsiteX33720" y="connsiteY33720"/>
              </a:cxn>
              <a:cxn ang="0">
                <a:pos x="connsiteX33721" y="connsiteY33721"/>
              </a:cxn>
              <a:cxn ang="0">
                <a:pos x="connsiteX33722" y="connsiteY33722"/>
              </a:cxn>
              <a:cxn ang="0">
                <a:pos x="connsiteX33723" y="connsiteY33723"/>
              </a:cxn>
              <a:cxn ang="0">
                <a:pos x="connsiteX33724" y="connsiteY33724"/>
              </a:cxn>
              <a:cxn ang="0">
                <a:pos x="connsiteX33725" y="connsiteY33725"/>
              </a:cxn>
              <a:cxn ang="0">
                <a:pos x="connsiteX33726" y="connsiteY33726"/>
              </a:cxn>
              <a:cxn ang="0">
                <a:pos x="connsiteX33727" y="connsiteY33727"/>
              </a:cxn>
              <a:cxn ang="0">
                <a:pos x="connsiteX33728" y="connsiteY33728"/>
              </a:cxn>
              <a:cxn ang="0">
                <a:pos x="connsiteX33729" y="connsiteY33729"/>
              </a:cxn>
              <a:cxn ang="0">
                <a:pos x="connsiteX33730" y="connsiteY33730"/>
              </a:cxn>
              <a:cxn ang="0">
                <a:pos x="connsiteX33731" y="connsiteY33731"/>
              </a:cxn>
              <a:cxn ang="0">
                <a:pos x="connsiteX33732" y="connsiteY33732"/>
              </a:cxn>
              <a:cxn ang="0">
                <a:pos x="connsiteX33733" y="connsiteY33733"/>
              </a:cxn>
              <a:cxn ang="0">
                <a:pos x="connsiteX33734" y="connsiteY33734"/>
              </a:cxn>
              <a:cxn ang="0">
                <a:pos x="connsiteX33735" y="connsiteY33735"/>
              </a:cxn>
              <a:cxn ang="0">
                <a:pos x="connsiteX33736" y="connsiteY33736"/>
              </a:cxn>
              <a:cxn ang="0">
                <a:pos x="connsiteX33737" y="connsiteY33737"/>
              </a:cxn>
              <a:cxn ang="0">
                <a:pos x="connsiteX33738" y="connsiteY33738"/>
              </a:cxn>
              <a:cxn ang="0">
                <a:pos x="connsiteX33739" y="connsiteY33739"/>
              </a:cxn>
              <a:cxn ang="0">
                <a:pos x="connsiteX33740" y="connsiteY33740"/>
              </a:cxn>
              <a:cxn ang="0">
                <a:pos x="connsiteX33741" y="connsiteY33741"/>
              </a:cxn>
              <a:cxn ang="0">
                <a:pos x="connsiteX33742" y="connsiteY33742"/>
              </a:cxn>
              <a:cxn ang="0">
                <a:pos x="connsiteX33743" y="connsiteY33743"/>
              </a:cxn>
              <a:cxn ang="0">
                <a:pos x="connsiteX33744" y="connsiteY33744"/>
              </a:cxn>
              <a:cxn ang="0">
                <a:pos x="connsiteX33745" y="connsiteY33745"/>
              </a:cxn>
              <a:cxn ang="0">
                <a:pos x="connsiteX33746" y="connsiteY33746"/>
              </a:cxn>
              <a:cxn ang="0">
                <a:pos x="connsiteX33747" y="connsiteY33747"/>
              </a:cxn>
              <a:cxn ang="0">
                <a:pos x="connsiteX33748" y="connsiteY33748"/>
              </a:cxn>
              <a:cxn ang="0">
                <a:pos x="connsiteX33749" y="connsiteY33749"/>
              </a:cxn>
              <a:cxn ang="0">
                <a:pos x="connsiteX33750" y="connsiteY33750"/>
              </a:cxn>
              <a:cxn ang="0">
                <a:pos x="connsiteX33751" y="connsiteY33751"/>
              </a:cxn>
              <a:cxn ang="0">
                <a:pos x="connsiteX33752" y="connsiteY33752"/>
              </a:cxn>
              <a:cxn ang="0">
                <a:pos x="connsiteX33753" y="connsiteY33753"/>
              </a:cxn>
              <a:cxn ang="0">
                <a:pos x="connsiteX33754" y="connsiteY33754"/>
              </a:cxn>
              <a:cxn ang="0">
                <a:pos x="connsiteX33755" y="connsiteY33755"/>
              </a:cxn>
              <a:cxn ang="0">
                <a:pos x="connsiteX33756" y="connsiteY33756"/>
              </a:cxn>
              <a:cxn ang="0">
                <a:pos x="connsiteX33757" y="connsiteY33757"/>
              </a:cxn>
              <a:cxn ang="0">
                <a:pos x="connsiteX33758" y="connsiteY33758"/>
              </a:cxn>
              <a:cxn ang="0">
                <a:pos x="connsiteX33759" y="connsiteY33759"/>
              </a:cxn>
              <a:cxn ang="0">
                <a:pos x="connsiteX33760" y="connsiteY33760"/>
              </a:cxn>
              <a:cxn ang="0">
                <a:pos x="connsiteX33761" y="connsiteY33761"/>
              </a:cxn>
              <a:cxn ang="0">
                <a:pos x="connsiteX33762" y="connsiteY33762"/>
              </a:cxn>
              <a:cxn ang="0">
                <a:pos x="connsiteX33763" y="connsiteY33763"/>
              </a:cxn>
              <a:cxn ang="0">
                <a:pos x="connsiteX33764" y="connsiteY33764"/>
              </a:cxn>
              <a:cxn ang="0">
                <a:pos x="connsiteX33765" y="connsiteY33765"/>
              </a:cxn>
              <a:cxn ang="0">
                <a:pos x="connsiteX33766" y="connsiteY33766"/>
              </a:cxn>
              <a:cxn ang="0">
                <a:pos x="connsiteX33767" y="connsiteY33767"/>
              </a:cxn>
              <a:cxn ang="0">
                <a:pos x="connsiteX33768" y="connsiteY33768"/>
              </a:cxn>
              <a:cxn ang="0">
                <a:pos x="connsiteX33769" y="connsiteY33769"/>
              </a:cxn>
              <a:cxn ang="0">
                <a:pos x="connsiteX33770" y="connsiteY33770"/>
              </a:cxn>
              <a:cxn ang="0">
                <a:pos x="connsiteX33771" y="connsiteY33771"/>
              </a:cxn>
              <a:cxn ang="0">
                <a:pos x="connsiteX33772" y="connsiteY33772"/>
              </a:cxn>
              <a:cxn ang="0">
                <a:pos x="connsiteX33773" y="connsiteY33773"/>
              </a:cxn>
              <a:cxn ang="0">
                <a:pos x="connsiteX33774" y="connsiteY33774"/>
              </a:cxn>
              <a:cxn ang="0">
                <a:pos x="connsiteX33775" y="connsiteY33775"/>
              </a:cxn>
              <a:cxn ang="0">
                <a:pos x="connsiteX33776" y="connsiteY33776"/>
              </a:cxn>
              <a:cxn ang="0">
                <a:pos x="connsiteX33777" y="connsiteY33777"/>
              </a:cxn>
              <a:cxn ang="0">
                <a:pos x="connsiteX33778" y="connsiteY33778"/>
              </a:cxn>
              <a:cxn ang="0">
                <a:pos x="connsiteX33779" y="connsiteY33779"/>
              </a:cxn>
              <a:cxn ang="0">
                <a:pos x="connsiteX33780" y="connsiteY33780"/>
              </a:cxn>
              <a:cxn ang="0">
                <a:pos x="connsiteX33781" y="connsiteY33781"/>
              </a:cxn>
              <a:cxn ang="0">
                <a:pos x="connsiteX33782" y="connsiteY33782"/>
              </a:cxn>
              <a:cxn ang="0">
                <a:pos x="connsiteX33783" y="connsiteY33783"/>
              </a:cxn>
              <a:cxn ang="0">
                <a:pos x="connsiteX33784" y="connsiteY33784"/>
              </a:cxn>
              <a:cxn ang="0">
                <a:pos x="connsiteX33785" y="connsiteY33785"/>
              </a:cxn>
              <a:cxn ang="0">
                <a:pos x="connsiteX33786" y="connsiteY33786"/>
              </a:cxn>
              <a:cxn ang="0">
                <a:pos x="connsiteX33787" y="connsiteY33787"/>
              </a:cxn>
              <a:cxn ang="0">
                <a:pos x="connsiteX33788" y="connsiteY33788"/>
              </a:cxn>
              <a:cxn ang="0">
                <a:pos x="connsiteX33789" y="connsiteY33789"/>
              </a:cxn>
              <a:cxn ang="0">
                <a:pos x="connsiteX33790" y="connsiteY33790"/>
              </a:cxn>
              <a:cxn ang="0">
                <a:pos x="connsiteX33791" y="connsiteY33791"/>
              </a:cxn>
              <a:cxn ang="0">
                <a:pos x="connsiteX33792" y="connsiteY33792"/>
              </a:cxn>
              <a:cxn ang="0">
                <a:pos x="connsiteX33793" y="connsiteY33793"/>
              </a:cxn>
              <a:cxn ang="0">
                <a:pos x="connsiteX33794" y="connsiteY33794"/>
              </a:cxn>
              <a:cxn ang="0">
                <a:pos x="connsiteX33795" y="connsiteY33795"/>
              </a:cxn>
              <a:cxn ang="0">
                <a:pos x="connsiteX33796" y="connsiteY33796"/>
              </a:cxn>
              <a:cxn ang="0">
                <a:pos x="connsiteX33797" y="connsiteY33797"/>
              </a:cxn>
              <a:cxn ang="0">
                <a:pos x="connsiteX33798" y="connsiteY33798"/>
              </a:cxn>
              <a:cxn ang="0">
                <a:pos x="connsiteX33799" y="connsiteY33799"/>
              </a:cxn>
              <a:cxn ang="0">
                <a:pos x="connsiteX33800" y="connsiteY33800"/>
              </a:cxn>
              <a:cxn ang="0">
                <a:pos x="connsiteX33801" y="connsiteY33801"/>
              </a:cxn>
              <a:cxn ang="0">
                <a:pos x="connsiteX33802" y="connsiteY33802"/>
              </a:cxn>
              <a:cxn ang="0">
                <a:pos x="connsiteX33803" y="connsiteY33803"/>
              </a:cxn>
              <a:cxn ang="0">
                <a:pos x="connsiteX33804" y="connsiteY33804"/>
              </a:cxn>
              <a:cxn ang="0">
                <a:pos x="connsiteX33805" y="connsiteY33805"/>
              </a:cxn>
              <a:cxn ang="0">
                <a:pos x="connsiteX33806" y="connsiteY33806"/>
              </a:cxn>
              <a:cxn ang="0">
                <a:pos x="connsiteX33807" y="connsiteY33807"/>
              </a:cxn>
              <a:cxn ang="0">
                <a:pos x="connsiteX33808" y="connsiteY33808"/>
              </a:cxn>
              <a:cxn ang="0">
                <a:pos x="connsiteX33809" y="connsiteY33809"/>
              </a:cxn>
              <a:cxn ang="0">
                <a:pos x="connsiteX33810" y="connsiteY33810"/>
              </a:cxn>
              <a:cxn ang="0">
                <a:pos x="connsiteX33811" y="connsiteY33811"/>
              </a:cxn>
              <a:cxn ang="0">
                <a:pos x="connsiteX33812" y="connsiteY33812"/>
              </a:cxn>
              <a:cxn ang="0">
                <a:pos x="connsiteX33813" y="connsiteY33813"/>
              </a:cxn>
              <a:cxn ang="0">
                <a:pos x="connsiteX33814" y="connsiteY33814"/>
              </a:cxn>
              <a:cxn ang="0">
                <a:pos x="connsiteX33815" y="connsiteY33815"/>
              </a:cxn>
              <a:cxn ang="0">
                <a:pos x="connsiteX33816" y="connsiteY33816"/>
              </a:cxn>
              <a:cxn ang="0">
                <a:pos x="connsiteX33817" y="connsiteY33817"/>
              </a:cxn>
              <a:cxn ang="0">
                <a:pos x="connsiteX33818" y="connsiteY33818"/>
              </a:cxn>
              <a:cxn ang="0">
                <a:pos x="connsiteX33819" y="connsiteY33819"/>
              </a:cxn>
              <a:cxn ang="0">
                <a:pos x="connsiteX33820" y="connsiteY33820"/>
              </a:cxn>
              <a:cxn ang="0">
                <a:pos x="connsiteX33821" y="connsiteY33821"/>
              </a:cxn>
              <a:cxn ang="0">
                <a:pos x="connsiteX33822" y="connsiteY33822"/>
              </a:cxn>
              <a:cxn ang="0">
                <a:pos x="connsiteX33823" y="connsiteY33823"/>
              </a:cxn>
              <a:cxn ang="0">
                <a:pos x="connsiteX33824" y="connsiteY33824"/>
              </a:cxn>
              <a:cxn ang="0">
                <a:pos x="connsiteX33825" y="connsiteY33825"/>
              </a:cxn>
              <a:cxn ang="0">
                <a:pos x="connsiteX33826" y="connsiteY33826"/>
              </a:cxn>
              <a:cxn ang="0">
                <a:pos x="connsiteX33827" y="connsiteY33827"/>
              </a:cxn>
              <a:cxn ang="0">
                <a:pos x="connsiteX33828" y="connsiteY33828"/>
              </a:cxn>
              <a:cxn ang="0">
                <a:pos x="connsiteX33829" y="connsiteY33829"/>
              </a:cxn>
              <a:cxn ang="0">
                <a:pos x="connsiteX33830" y="connsiteY33830"/>
              </a:cxn>
              <a:cxn ang="0">
                <a:pos x="connsiteX33831" y="connsiteY33831"/>
              </a:cxn>
              <a:cxn ang="0">
                <a:pos x="connsiteX33832" y="connsiteY33832"/>
              </a:cxn>
              <a:cxn ang="0">
                <a:pos x="connsiteX33833" y="connsiteY33833"/>
              </a:cxn>
              <a:cxn ang="0">
                <a:pos x="connsiteX33834" y="connsiteY33834"/>
              </a:cxn>
              <a:cxn ang="0">
                <a:pos x="connsiteX33835" y="connsiteY33835"/>
              </a:cxn>
              <a:cxn ang="0">
                <a:pos x="connsiteX33836" y="connsiteY33836"/>
              </a:cxn>
              <a:cxn ang="0">
                <a:pos x="connsiteX33837" y="connsiteY33837"/>
              </a:cxn>
              <a:cxn ang="0">
                <a:pos x="connsiteX33838" y="connsiteY33838"/>
              </a:cxn>
              <a:cxn ang="0">
                <a:pos x="connsiteX33839" y="connsiteY33839"/>
              </a:cxn>
              <a:cxn ang="0">
                <a:pos x="connsiteX33840" y="connsiteY33840"/>
              </a:cxn>
              <a:cxn ang="0">
                <a:pos x="connsiteX33841" y="connsiteY33841"/>
              </a:cxn>
              <a:cxn ang="0">
                <a:pos x="connsiteX33842" y="connsiteY33842"/>
              </a:cxn>
              <a:cxn ang="0">
                <a:pos x="connsiteX33843" y="connsiteY33843"/>
              </a:cxn>
              <a:cxn ang="0">
                <a:pos x="connsiteX33844" y="connsiteY33844"/>
              </a:cxn>
              <a:cxn ang="0">
                <a:pos x="connsiteX33845" y="connsiteY33845"/>
              </a:cxn>
              <a:cxn ang="0">
                <a:pos x="connsiteX33846" y="connsiteY33846"/>
              </a:cxn>
              <a:cxn ang="0">
                <a:pos x="connsiteX33847" y="connsiteY33847"/>
              </a:cxn>
              <a:cxn ang="0">
                <a:pos x="connsiteX33848" y="connsiteY33848"/>
              </a:cxn>
              <a:cxn ang="0">
                <a:pos x="connsiteX33849" y="connsiteY33849"/>
              </a:cxn>
              <a:cxn ang="0">
                <a:pos x="connsiteX33850" y="connsiteY33850"/>
              </a:cxn>
              <a:cxn ang="0">
                <a:pos x="connsiteX33851" y="connsiteY33851"/>
              </a:cxn>
              <a:cxn ang="0">
                <a:pos x="connsiteX33852" y="connsiteY33852"/>
              </a:cxn>
              <a:cxn ang="0">
                <a:pos x="connsiteX33853" y="connsiteY33853"/>
              </a:cxn>
              <a:cxn ang="0">
                <a:pos x="connsiteX33854" y="connsiteY33854"/>
              </a:cxn>
              <a:cxn ang="0">
                <a:pos x="connsiteX33855" y="connsiteY33855"/>
              </a:cxn>
              <a:cxn ang="0">
                <a:pos x="connsiteX33856" y="connsiteY33856"/>
              </a:cxn>
              <a:cxn ang="0">
                <a:pos x="connsiteX33857" y="connsiteY33857"/>
              </a:cxn>
              <a:cxn ang="0">
                <a:pos x="connsiteX33858" y="connsiteY33858"/>
              </a:cxn>
              <a:cxn ang="0">
                <a:pos x="connsiteX33859" y="connsiteY33859"/>
              </a:cxn>
              <a:cxn ang="0">
                <a:pos x="connsiteX33860" y="connsiteY33860"/>
              </a:cxn>
              <a:cxn ang="0">
                <a:pos x="connsiteX33861" y="connsiteY33861"/>
              </a:cxn>
              <a:cxn ang="0">
                <a:pos x="connsiteX33862" y="connsiteY33862"/>
              </a:cxn>
              <a:cxn ang="0">
                <a:pos x="connsiteX33863" y="connsiteY33863"/>
              </a:cxn>
              <a:cxn ang="0">
                <a:pos x="connsiteX33864" y="connsiteY33864"/>
              </a:cxn>
              <a:cxn ang="0">
                <a:pos x="connsiteX33865" y="connsiteY33865"/>
              </a:cxn>
              <a:cxn ang="0">
                <a:pos x="connsiteX33866" y="connsiteY33866"/>
              </a:cxn>
              <a:cxn ang="0">
                <a:pos x="connsiteX33867" y="connsiteY33867"/>
              </a:cxn>
              <a:cxn ang="0">
                <a:pos x="connsiteX33868" y="connsiteY33868"/>
              </a:cxn>
              <a:cxn ang="0">
                <a:pos x="connsiteX33869" y="connsiteY33869"/>
              </a:cxn>
              <a:cxn ang="0">
                <a:pos x="connsiteX33870" y="connsiteY33870"/>
              </a:cxn>
              <a:cxn ang="0">
                <a:pos x="connsiteX33871" y="connsiteY33871"/>
              </a:cxn>
              <a:cxn ang="0">
                <a:pos x="connsiteX33872" y="connsiteY33872"/>
              </a:cxn>
              <a:cxn ang="0">
                <a:pos x="connsiteX33873" y="connsiteY33873"/>
              </a:cxn>
              <a:cxn ang="0">
                <a:pos x="connsiteX33874" y="connsiteY33874"/>
              </a:cxn>
              <a:cxn ang="0">
                <a:pos x="connsiteX33875" y="connsiteY33875"/>
              </a:cxn>
              <a:cxn ang="0">
                <a:pos x="connsiteX33876" y="connsiteY33876"/>
              </a:cxn>
              <a:cxn ang="0">
                <a:pos x="connsiteX33877" y="connsiteY33877"/>
              </a:cxn>
              <a:cxn ang="0">
                <a:pos x="connsiteX33878" y="connsiteY33878"/>
              </a:cxn>
              <a:cxn ang="0">
                <a:pos x="connsiteX33879" y="connsiteY33879"/>
              </a:cxn>
              <a:cxn ang="0">
                <a:pos x="connsiteX33880" y="connsiteY33880"/>
              </a:cxn>
              <a:cxn ang="0">
                <a:pos x="connsiteX33881" y="connsiteY33881"/>
              </a:cxn>
              <a:cxn ang="0">
                <a:pos x="connsiteX33882" y="connsiteY33882"/>
              </a:cxn>
              <a:cxn ang="0">
                <a:pos x="connsiteX33883" y="connsiteY33883"/>
              </a:cxn>
              <a:cxn ang="0">
                <a:pos x="connsiteX33884" y="connsiteY33884"/>
              </a:cxn>
              <a:cxn ang="0">
                <a:pos x="connsiteX33885" y="connsiteY33885"/>
              </a:cxn>
              <a:cxn ang="0">
                <a:pos x="connsiteX33886" y="connsiteY33886"/>
              </a:cxn>
              <a:cxn ang="0">
                <a:pos x="connsiteX33887" y="connsiteY33887"/>
              </a:cxn>
              <a:cxn ang="0">
                <a:pos x="connsiteX33888" y="connsiteY33888"/>
              </a:cxn>
              <a:cxn ang="0">
                <a:pos x="connsiteX33889" y="connsiteY33889"/>
              </a:cxn>
              <a:cxn ang="0">
                <a:pos x="connsiteX33890" y="connsiteY33890"/>
              </a:cxn>
              <a:cxn ang="0">
                <a:pos x="connsiteX33891" y="connsiteY33891"/>
              </a:cxn>
              <a:cxn ang="0">
                <a:pos x="connsiteX33892" y="connsiteY33892"/>
              </a:cxn>
              <a:cxn ang="0">
                <a:pos x="connsiteX33893" y="connsiteY33893"/>
              </a:cxn>
              <a:cxn ang="0">
                <a:pos x="connsiteX33894" y="connsiteY33894"/>
              </a:cxn>
              <a:cxn ang="0">
                <a:pos x="connsiteX33895" y="connsiteY33895"/>
              </a:cxn>
              <a:cxn ang="0">
                <a:pos x="connsiteX33896" y="connsiteY33896"/>
              </a:cxn>
              <a:cxn ang="0">
                <a:pos x="connsiteX33897" y="connsiteY33897"/>
              </a:cxn>
              <a:cxn ang="0">
                <a:pos x="connsiteX33898" y="connsiteY33898"/>
              </a:cxn>
              <a:cxn ang="0">
                <a:pos x="connsiteX33899" y="connsiteY33899"/>
              </a:cxn>
              <a:cxn ang="0">
                <a:pos x="connsiteX33900" y="connsiteY33900"/>
              </a:cxn>
              <a:cxn ang="0">
                <a:pos x="connsiteX33901" y="connsiteY33901"/>
              </a:cxn>
              <a:cxn ang="0">
                <a:pos x="connsiteX33902" y="connsiteY33902"/>
              </a:cxn>
              <a:cxn ang="0">
                <a:pos x="connsiteX33903" y="connsiteY33903"/>
              </a:cxn>
              <a:cxn ang="0">
                <a:pos x="connsiteX33904" y="connsiteY33904"/>
              </a:cxn>
              <a:cxn ang="0">
                <a:pos x="connsiteX33905" y="connsiteY33905"/>
              </a:cxn>
              <a:cxn ang="0">
                <a:pos x="connsiteX33906" y="connsiteY33906"/>
              </a:cxn>
              <a:cxn ang="0">
                <a:pos x="connsiteX33907" y="connsiteY33907"/>
              </a:cxn>
              <a:cxn ang="0">
                <a:pos x="connsiteX33908" y="connsiteY33908"/>
              </a:cxn>
              <a:cxn ang="0">
                <a:pos x="connsiteX33909" y="connsiteY33909"/>
              </a:cxn>
              <a:cxn ang="0">
                <a:pos x="connsiteX33910" y="connsiteY33910"/>
              </a:cxn>
              <a:cxn ang="0">
                <a:pos x="connsiteX33911" y="connsiteY33911"/>
              </a:cxn>
              <a:cxn ang="0">
                <a:pos x="connsiteX33912" y="connsiteY33912"/>
              </a:cxn>
              <a:cxn ang="0">
                <a:pos x="connsiteX33913" y="connsiteY33913"/>
              </a:cxn>
              <a:cxn ang="0">
                <a:pos x="connsiteX33914" y="connsiteY33914"/>
              </a:cxn>
              <a:cxn ang="0">
                <a:pos x="connsiteX33915" y="connsiteY33915"/>
              </a:cxn>
              <a:cxn ang="0">
                <a:pos x="connsiteX33916" y="connsiteY33916"/>
              </a:cxn>
              <a:cxn ang="0">
                <a:pos x="connsiteX33917" y="connsiteY33917"/>
              </a:cxn>
              <a:cxn ang="0">
                <a:pos x="connsiteX33918" y="connsiteY33918"/>
              </a:cxn>
              <a:cxn ang="0">
                <a:pos x="connsiteX33919" y="connsiteY33919"/>
              </a:cxn>
              <a:cxn ang="0">
                <a:pos x="connsiteX33920" y="connsiteY33920"/>
              </a:cxn>
              <a:cxn ang="0">
                <a:pos x="connsiteX33921" y="connsiteY33921"/>
              </a:cxn>
              <a:cxn ang="0">
                <a:pos x="connsiteX33922" y="connsiteY33922"/>
              </a:cxn>
              <a:cxn ang="0">
                <a:pos x="connsiteX33923" y="connsiteY33923"/>
              </a:cxn>
              <a:cxn ang="0">
                <a:pos x="connsiteX33924" y="connsiteY33924"/>
              </a:cxn>
              <a:cxn ang="0">
                <a:pos x="connsiteX33925" y="connsiteY33925"/>
              </a:cxn>
              <a:cxn ang="0">
                <a:pos x="connsiteX33926" y="connsiteY33926"/>
              </a:cxn>
              <a:cxn ang="0">
                <a:pos x="connsiteX33927" y="connsiteY33927"/>
              </a:cxn>
              <a:cxn ang="0">
                <a:pos x="connsiteX33928" y="connsiteY33928"/>
              </a:cxn>
              <a:cxn ang="0">
                <a:pos x="connsiteX33929" y="connsiteY33929"/>
              </a:cxn>
              <a:cxn ang="0">
                <a:pos x="connsiteX33930" y="connsiteY33930"/>
              </a:cxn>
              <a:cxn ang="0">
                <a:pos x="connsiteX33931" y="connsiteY33931"/>
              </a:cxn>
              <a:cxn ang="0">
                <a:pos x="connsiteX33932" y="connsiteY33932"/>
              </a:cxn>
              <a:cxn ang="0">
                <a:pos x="connsiteX33933" y="connsiteY33933"/>
              </a:cxn>
              <a:cxn ang="0">
                <a:pos x="connsiteX33934" y="connsiteY33934"/>
              </a:cxn>
              <a:cxn ang="0">
                <a:pos x="connsiteX33935" y="connsiteY33935"/>
              </a:cxn>
              <a:cxn ang="0">
                <a:pos x="connsiteX33936" y="connsiteY33936"/>
              </a:cxn>
              <a:cxn ang="0">
                <a:pos x="connsiteX33937" y="connsiteY33937"/>
              </a:cxn>
              <a:cxn ang="0">
                <a:pos x="connsiteX33938" y="connsiteY33938"/>
              </a:cxn>
              <a:cxn ang="0">
                <a:pos x="connsiteX33939" y="connsiteY33939"/>
              </a:cxn>
              <a:cxn ang="0">
                <a:pos x="connsiteX33940" y="connsiteY33940"/>
              </a:cxn>
              <a:cxn ang="0">
                <a:pos x="connsiteX33941" y="connsiteY33941"/>
              </a:cxn>
              <a:cxn ang="0">
                <a:pos x="connsiteX33942" y="connsiteY33942"/>
              </a:cxn>
              <a:cxn ang="0">
                <a:pos x="connsiteX33943" y="connsiteY33943"/>
              </a:cxn>
              <a:cxn ang="0">
                <a:pos x="connsiteX33944" y="connsiteY33944"/>
              </a:cxn>
              <a:cxn ang="0">
                <a:pos x="connsiteX33945" y="connsiteY33945"/>
              </a:cxn>
              <a:cxn ang="0">
                <a:pos x="connsiteX33946" y="connsiteY33946"/>
              </a:cxn>
              <a:cxn ang="0">
                <a:pos x="connsiteX33947" y="connsiteY33947"/>
              </a:cxn>
              <a:cxn ang="0">
                <a:pos x="connsiteX33948" y="connsiteY33948"/>
              </a:cxn>
              <a:cxn ang="0">
                <a:pos x="connsiteX33949" y="connsiteY33949"/>
              </a:cxn>
              <a:cxn ang="0">
                <a:pos x="connsiteX33950" y="connsiteY33950"/>
              </a:cxn>
              <a:cxn ang="0">
                <a:pos x="connsiteX33951" y="connsiteY33951"/>
              </a:cxn>
              <a:cxn ang="0">
                <a:pos x="connsiteX33952" y="connsiteY33952"/>
              </a:cxn>
              <a:cxn ang="0">
                <a:pos x="connsiteX33953" y="connsiteY33953"/>
              </a:cxn>
              <a:cxn ang="0">
                <a:pos x="connsiteX33954" y="connsiteY33954"/>
              </a:cxn>
              <a:cxn ang="0">
                <a:pos x="connsiteX33955" y="connsiteY33955"/>
              </a:cxn>
              <a:cxn ang="0">
                <a:pos x="connsiteX33956" y="connsiteY33956"/>
              </a:cxn>
              <a:cxn ang="0">
                <a:pos x="connsiteX33957" y="connsiteY33957"/>
              </a:cxn>
              <a:cxn ang="0">
                <a:pos x="connsiteX33958" y="connsiteY33958"/>
              </a:cxn>
              <a:cxn ang="0">
                <a:pos x="connsiteX33959" y="connsiteY33959"/>
              </a:cxn>
              <a:cxn ang="0">
                <a:pos x="connsiteX33960" y="connsiteY33960"/>
              </a:cxn>
              <a:cxn ang="0">
                <a:pos x="connsiteX33961" y="connsiteY33961"/>
              </a:cxn>
              <a:cxn ang="0">
                <a:pos x="connsiteX33962" y="connsiteY33962"/>
              </a:cxn>
              <a:cxn ang="0">
                <a:pos x="connsiteX33963" y="connsiteY33963"/>
              </a:cxn>
              <a:cxn ang="0">
                <a:pos x="connsiteX33964" y="connsiteY33964"/>
              </a:cxn>
              <a:cxn ang="0">
                <a:pos x="connsiteX33965" y="connsiteY33965"/>
              </a:cxn>
              <a:cxn ang="0">
                <a:pos x="connsiteX33966" y="connsiteY33966"/>
              </a:cxn>
              <a:cxn ang="0">
                <a:pos x="connsiteX33967" y="connsiteY33967"/>
              </a:cxn>
              <a:cxn ang="0">
                <a:pos x="connsiteX33968" y="connsiteY33968"/>
              </a:cxn>
              <a:cxn ang="0">
                <a:pos x="connsiteX33969" y="connsiteY33969"/>
              </a:cxn>
              <a:cxn ang="0">
                <a:pos x="connsiteX33970" y="connsiteY33970"/>
              </a:cxn>
              <a:cxn ang="0">
                <a:pos x="connsiteX33971" y="connsiteY33971"/>
              </a:cxn>
              <a:cxn ang="0">
                <a:pos x="connsiteX33972" y="connsiteY33972"/>
              </a:cxn>
              <a:cxn ang="0">
                <a:pos x="connsiteX33973" y="connsiteY33973"/>
              </a:cxn>
              <a:cxn ang="0">
                <a:pos x="connsiteX33974" y="connsiteY33974"/>
              </a:cxn>
              <a:cxn ang="0">
                <a:pos x="connsiteX33975" y="connsiteY33975"/>
              </a:cxn>
              <a:cxn ang="0">
                <a:pos x="connsiteX33976" y="connsiteY33976"/>
              </a:cxn>
              <a:cxn ang="0">
                <a:pos x="connsiteX33977" y="connsiteY33977"/>
              </a:cxn>
              <a:cxn ang="0">
                <a:pos x="connsiteX33978" y="connsiteY33978"/>
              </a:cxn>
              <a:cxn ang="0">
                <a:pos x="connsiteX33979" y="connsiteY33979"/>
              </a:cxn>
              <a:cxn ang="0">
                <a:pos x="connsiteX33980" y="connsiteY33980"/>
              </a:cxn>
              <a:cxn ang="0">
                <a:pos x="connsiteX33981" y="connsiteY33981"/>
              </a:cxn>
              <a:cxn ang="0">
                <a:pos x="connsiteX33982" y="connsiteY33982"/>
              </a:cxn>
              <a:cxn ang="0">
                <a:pos x="connsiteX33983" y="connsiteY33983"/>
              </a:cxn>
              <a:cxn ang="0">
                <a:pos x="connsiteX33984" y="connsiteY33984"/>
              </a:cxn>
              <a:cxn ang="0">
                <a:pos x="connsiteX33985" y="connsiteY33985"/>
              </a:cxn>
              <a:cxn ang="0">
                <a:pos x="connsiteX33986" y="connsiteY33986"/>
              </a:cxn>
              <a:cxn ang="0">
                <a:pos x="connsiteX33987" y="connsiteY33987"/>
              </a:cxn>
              <a:cxn ang="0">
                <a:pos x="connsiteX33988" y="connsiteY33988"/>
              </a:cxn>
              <a:cxn ang="0">
                <a:pos x="connsiteX33989" y="connsiteY33989"/>
              </a:cxn>
              <a:cxn ang="0">
                <a:pos x="connsiteX33990" y="connsiteY33990"/>
              </a:cxn>
              <a:cxn ang="0">
                <a:pos x="connsiteX33991" y="connsiteY33991"/>
              </a:cxn>
              <a:cxn ang="0">
                <a:pos x="connsiteX33992" y="connsiteY33992"/>
              </a:cxn>
              <a:cxn ang="0">
                <a:pos x="connsiteX33993" y="connsiteY33993"/>
              </a:cxn>
              <a:cxn ang="0">
                <a:pos x="connsiteX33994" y="connsiteY33994"/>
              </a:cxn>
              <a:cxn ang="0">
                <a:pos x="connsiteX33995" y="connsiteY33995"/>
              </a:cxn>
              <a:cxn ang="0">
                <a:pos x="connsiteX33996" y="connsiteY33996"/>
              </a:cxn>
              <a:cxn ang="0">
                <a:pos x="connsiteX33997" y="connsiteY33997"/>
              </a:cxn>
              <a:cxn ang="0">
                <a:pos x="connsiteX33998" y="connsiteY33998"/>
              </a:cxn>
              <a:cxn ang="0">
                <a:pos x="connsiteX33999" y="connsiteY33999"/>
              </a:cxn>
              <a:cxn ang="0">
                <a:pos x="connsiteX34000" y="connsiteY34000"/>
              </a:cxn>
              <a:cxn ang="0">
                <a:pos x="connsiteX34001" y="connsiteY34001"/>
              </a:cxn>
              <a:cxn ang="0">
                <a:pos x="connsiteX34002" y="connsiteY34002"/>
              </a:cxn>
              <a:cxn ang="0">
                <a:pos x="connsiteX34003" y="connsiteY34003"/>
              </a:cxn>
              <a:cxn ang="0">
                <a:pos x="connsiteX34004" y="connsiteY34004"/>
              </a:cxn>
              <a:cxn ang="0">
                <a:pos x="connsiteX34005" y="connsiteY34005"/>
              </a:cxn>
              <a:cxn ang="0">
                <a:pos x="connsiteX34006" y="connsiteY34006"/>
              </a:cxn>
              <a:cxn ang="0">
                <a:pos x="connsiteX34007" y="connsiteY34007"/>
              </a:cxn>
              <a:cxn ang="0">
                <a:pos x="connsiteX34008" y="connsiteY34008"/>
              </a:cxn>
              <a:cxn ang="0">
                <a:pos x="connsiteX34009" y="connsiteY34009"/>
              </a:cxn>
              <a:cxn ang="0">
                <a:pos x="connsiteX34010" y="connsiteY34010"/>
              </a:cxn>
              <a:cxn ang="0">
                <a:pos x="connsiteX34011" y="connsiteY34011"/>
              </a:cxn>
              <a:cxn ang="0">
                <a:pos x="connsiteX34012" y="connsiteY34012"/>
              </a:cxn>
              <a:cxn ang="0">
                <a:pos x="connsiteX34013" y="connsiteY34013"/>
              </a:cxn>
              <a:cxn ang="0">
                <a:pos x="connsiteX34014" y="connsiteY34014"/>
              </a:cxn>
              <a:cxn ang="0">
                <a:pos x="connsiteX34015" y="connsiteY34015"/>
              </a:cxn>
              <a:cxn ang="0">
                <a:pos x="connsiteX34016" y="connsiteY34016"/>
              </a:cxn>
              <a:cxn ang="0">
                <a:pos x="connsiteX34017" y="connsiteY34017"/>
              </a:cxn>
              <a:cxn ang="0">
                <a:pos x="connsiteX34018" y="connsiteY34018"/>
              </a:cxn>
              <a:cxn ang="0">
                <a:pos x="connsiteX34019" y="connsiteY34019"/>
              </a:cxn>
              <a:cxn ang="0">
                <a:pos x="connsiteX34020" y="connsiteY34020"/>
              </a:cxn>
              <a:cxn ang="0">
                <a:pos x="connsiteX34021" y="connsiteY34021"/>
              </a:cxn>
              <a:cxn ang="0">
                <a:pos x="connsiteX34022" y="connsiteY34022"/>
              </a:cxn>
              <a:cxn ang="0">
                <a:pos x="connsiteX34023" y="connsiteY34023"/>
              </a:cxn>
              <a:cxn ang="0">
                <a:pos x="connsiteX34024" y="connsiteY34024"/>
              </a:cxn>
              <a:cxn ang="0">
                <a:pos x="connsiteX34025" y="connsiteY34025"/>
              </a:cxn>
              <a:cxn ang="0">
                <a:pos x="connsiteX34026" y="connsiteY34026"/>
              </a:cxn>
              <a:cxn ang="0">
                <a:pos x="connsiteX34027" y="connsiteY34027"/>
              </a:cxn>
              <a:cxn ang="0">
                <a:pos x="connsiteX34028" y="connsiteY34028"/>
              </a:cxn>
              <a:cxn ang="0">
                <a:pos x="connsiteX34029" y="connsiteY34029"/>
              </a:cxn>
              <a:cxn ang="0">
                <a:pos x="connsiteX34030" y="connsiteY34030"/>
              </a:cxn>
              <a:cxn ang="0">
                <a:pos x="connsiteX34031" y="connsiteY34031"/>
              </a:cxn>
              <a:cxn ang="0">
                <a:pos x="connsiteX34032" y="connsiteY34032"/>
              </a:cxn>
              <a:cxn ang="0">
                <a:pos x="connsiteX34033" y="connsiteY34033"/>
              </a:cxn>
              <a:cxn ang="0">
                <a:pos x="connsiteX34034" y="connsiteY34034"/>
              </a:cxn>
              <a:cxn ang="0">
                <a:pos x="connsiteX34035" y="connsiteY34035"/>
              </a:cxn>
              <a:cxn ang="0">
                <a:pos x="connsiteX34036" y="connsiteY34036"/>
              </a:cxn>
              <a:cxn ang="0">
                <a:pos x="connsiteX34037" y="connsiteY34037"/>
              </a:cxn>
              <a:cxn ang="0">
                <a:pos x="connsiteX34038" y="connsiteY34038"/>
              </a:cxn>
              <a:cxn ang="0">
                <a:pos x="connsiteX34039" y="connsiteY34039"/>
              </a:cxn>
              <a:cxn ang="0">
                <a:pos x="connsiteX34040" y="connsiteY34040"/>
              </a:cxn>
              <a:cxn ang="0">
                <a:pos x="connsiteX34041" y="connsiteY34041"/>
              </a:cxn>
              <a:cxn ang="0">
                <a:pos x="connsiteX34042" y="connsiteY34042"/>
              </a:cxn>
              <a:cxn ang="0">
                <a:pos x="connsiteX34043" y="connsiteY34043"/>
              </a:cxn>
              <a:cxn ang="0">
                <a:pos x="connsiteX34044" y="connsiteY34044"/>
              </a:cxn>
              <a:cxn ang="0">
                <a:pos x="connsiteX34045" y="connsiteY34045"/>
              </a:cxn>
              <a:cxn ang="0">
                <a:pos x="connsiteX34046" y="connsiteY34046"/>
              </a:cxn>
              <a:cxn ang="0">
                <a:pos x="connsiteX34047" y="connsiteY34047"/>
              </a:cxn>
              <a:cxn ang="0">
                <a:pos x="connsiteX34048" y="connsiteY34048"/>
              </a:cxn>
              <a:cxn ang="0">
                <a:pos x="connsiteX34049" y="connsiteY34049"/>
              </a:cxn>
              <a:cxn ang="0">
                <a:pos x="connsiteX34050" y="connsiteY34050"/>
              </a:cxn>
              <a:cxn ang="0">
                <a:pos x="connsiteX34051" y="connsiteY34051"/>
              </a:cxn>
              <a:cxn ang="0">
                <a:pos x="connsiteX34052" y="connsiteY34052"/>
              </a:cxn>
              <a:cxn ang="0">
                <a:pos x="connsiteX34053" y="connsiteY34053"/>
              </a:cxn>
              <a:cxn ang="0">
                <a:pos x="connsiteX34054" y="connsiteY34054"/>
              </a:cxn>
              <a:cxn ang="0">
                <a:pos x="connsiteX34055" y="connsiteY34055"/>
              </a:cxn>
              <a:cxn ang="0">
                <a:pos x="connsiteX34056" y="connsiteY34056"/>
              </a:cxn>
              <a:cxn ang="0">
                <a:pos x="connsiteX34057" y="connsiteY34057"/>
              </a:cxn>
              <a:cxn ang="0">
                <a:pos x="connsiteX34058" y="connsiteY34058"/>
              </a:cxn>
              <a:cxn ang="0">
                <a:pos x="connsiteX34059" y="connsiteY34059"/>
              </a:cxn>
              <a:cxn ang="0">
                <a:pos x="connsiteX34060" y="connsiteY34060"/>
              </a:cxn>
              <a:cxn ang="0">
                <a:pos x="connsiteX34061" y="connsiteY34061"/>
              </a:cxn>
              <a:cxn ang="0">
                <a:pos x="connsiteX34062" y="connsiteY34062"/>
              </a:cxn>
              <a:cxn ang="0">
                <a:pos x="connsiteX34063" y="connsiteY34063"/>
              </a:cxn>
              <a:cxn ang="0">
                <a:pos x="connsiteX34064" y="connsiteY34064"/>
              </a:cxn>
              <a:cxn ang="0">
                <a:pos x="connsiteX34065" y="connsiteY34065"/>
              </a:cxn>
              <a:cxn ang="0">
                <a:pos x="connsiteX34066" y="connsiteY34066"/>
              </a:cxn>
              <a:cxn ang="0">
                <a:pos x="connsiteX34067" y="connsiteY34067"/>
              </a:cxn>
              <a:cxn ang="0">
                <a:pos x="connsiteX34068" y="connsiteY34068"/>
              </a:cxn>
              <a:cxn ang="0">
                <a:pos x="connsiteX34069" y="connsiteY34069"/>
              </a:cxn>
              <a:cxn ang="0">
                <a:pos x="connsiteX34070" y="connsiteY34070"/>
              </a:cxn>
              <a:cxn ang="0">
                <a:pos x="connsiteX34071" y="connsiteY34071"/>
              </a:cxn>
              <a:cxn ang="0">
                <a:pos x="connsiteX34072" y="connsiteY34072"/>
              </a:cxn>
              <a:cxn ang="0">
                <a:pos x="connsiteX34073" y="connsiteY34073"/>
              </a:cxn>
              <a:cxn ang="0">
                <a:pos x="connsiteX34074" y="connsiteY34074"/>
              </a:cxn>
              <a:cxn ang="0">
                <a:pos x="connsiteX34075" y="connsiteY34075"/>
              </a:cxn>
              <a:cxn ang="0">
                <a:pos x="connsiteX34076" y="connsiteY34076"/>
              </a:cxn>
              <a:cxn ang="0">
                <a:pos x="connsiteX34077" y="connsiteY34077"/>
              </a:cxn>
              <a:cxn ang="0">
                <a:pos x="connsiteX34078" y="connsiteY34078"/>
              </a:cxn>
              <a:cxn ang="0">
                <a:pos x="connsiteX34079" y="connsiteY34079"/>
              </a:cxn>
              <a:cxn ang="0">
                <a:pos x="connsiteX34080" y="connsiteY34080"/>
              </a:cxn>
              <a:cxn ang="0">
                <a:pos x="connsiteX34081" y="connsiteY34081"/>
              </a:cxn>
              <a:cxn ang="0">
                <a:pos x="connsiteX34082" y="connsiteY34082"/>
              </a:cxn>
              <a:cxn ang="0">
                <a:pos x="connsiteX34083" y="connsiteY34083"/>
              </a:cxn>
              <a:cxn ang="0">
                <a:pos x="connsiteX34084" y="connsiteY34084"/>
              </a:cxn>
              <a:cxn ang="0">
                <a:pos x="connsiteX34085" y="connsiteY34085"/>
              </a:cxn>
              <a:cxn ang="0">
                <a:pos x="connsiteX34086" y="connsiteY34086"/>
              </a:cxn>
              <a:cxn ang="0">
                <a:pos x="connsiteX34087" y="connsiteY34087"/>
              </a:cxn>
              <a:cxn ang="0">
                <a:pos x="connsiteX34088" y="connsiteY34088"/>
              </a:cxn>
              <a:cxn ang="0">
                <a:pos x="connsiteX34089" y="connsiteY34089"/>
              </a:cxn>
              <a:cxn ang="0">
                <a:pos x="connsiteX34090" y="connsiteY34090"/>
              </a:cxn>
              <a:cxn ang="0">
                <a:pos x="connsiteX34091" y="connsiteY34091"/>
              </a:cxn>
              <a:cxn ang="0">
                <a:pos x="connsiteX34092" y="connsiteY34092"/>
              </a:cxn>
              <a:cxn ang="0">
                <a:pos x="connsiteX34093" y="connsiteY34093"/>
              </a:cxn>
              <a:cxn ang="0">
                <a:pos x="connsiteX34094" y="connsiteY34094"/>
              </a:cxn>
              <a:cxn ang="0">
                <a:pos x="connsiteX34095" y="connsiteY34095"/>
              </a:cxn>
              <a:cxn ang="0">
                <a:pos x="connsiteX34096" y="connsiteY34096"/>
              </a:cxn>
              <a:cxn ang="0">
                <a:pos x="connsiteX34097" y="connsiteY34097"/>
              </a:cxn>
              <a:cxn ang="0">
                <a:pos x="connsiteX34098" y="connsiteY34098"/>
              </a:cxn>
              <a:cxn ang="0">
                <a:pos x="connsiteX34099" y="connsiteY34099"/>
              </a:cxn>
              <a:cxn ang="0">
                <a:pos x="connsiteX34100" y="connsiteY34100"/>
              </a:cxn>
              <a:cxn ang="0">
                <a:pos x="connsiteX34101" y="connsiteY34101"/>
              </a:cxn>
              <a:cxn ang="0">
                <a:pos x="connsiteX34102" y="connsiteY34102"/>
              </a:cxn>
              <a:cxn ang="0">
                <a:pos x="connsiteX34103" y="connsiteY34103"/>
              </a:cxn>
              <a:cxn ang="0">
                <a:pos x="connsiteX34104" y="connsiteY34104"/>
              </a:cxn>
              <a:cxn ang="0">
                <a:pos x="connsiteX34105" y="connsiteY34105"/>
              </a:cxn>
              <a:cxn ang="0">
                <a:pos x="connsiteX34106" y="connsiteY34106"/>
              </a:cxn>
              <a:cxn ang="0">
                <a:pos x="connsiteX34107" y="connsiteY34107"/>
              </a:cxn>
              <a:cxn ang="0">
                <a:pos x="connsiteX34108" y="connsiteY34108"/>
              </a:cxn>
              <a:cxn ang="0">
                <a:pos x="connsiteX34109" y="connsiteY34109"/>
              </a:cxn>
              <a:cxn ang="0">
                <a:pos x="connsiteX34110" y="connsiteY34110"/>
              </a:cxn>
              <a:cxn ang="0">
                <a:pos x="connsiteX34111" y="connsiteY34111"/>
              </a:cxn>
              <a:cxn ang="0">
                <a:pos x="connsiteX34112" y="connsiteY34112"/>
              </a:cxn>
              <a:cxn ang="0">
                <a:pos x="connsiteX34113" y="connsiteY34113"/>
              </a:cxn>
              <a:cxn ang="0">
                <a:pos x="connsiteX34114" y="connsiteY34114"/>
              </a:cxn>
              <a:cxn ang="0">
                <a:pos x="connsiteX34115" y="connsiteY34115"/>
              </a:cxn>
              <a:cxn ang="0">
                <a:pos x="connsiteX34116" y="connsiteY34116"/>
              </a:cxn>
              <a:cxn ang="0">
                <a:pos x="connsiteX34117" y="connsiteY34117"/>
              </a:cxn>
              <a:cxn ang="0">
                <a:pos x="connsiteX34118" y="connsiteY34118"/>
              </a:cxn>
              <a:cxn ang="0">
                <a:pos x="connsiteX34119" y="connsiteY34119"/>
              </a:cxn>
              <a:cxn ang="0">
                <a:pos x="connsiteX34120" y="connsiteY34120"/>
              </a:cxn>
              <a:cxn ang="0">
                <a:pos x="connsiteX34121" y="connsiteY34121"/>
              </a:cxn>
              <a:cxn ang="0">
                <a:pos x="connsiteX34122" y="connsiteY34122"/>
              </a:cxn>
              <a:cxn ang="0">
                <a:pos x="connsiteX34123" y="connsiteY34123"/>
              </a:cxn>
              <a:cxn ang="0">
                <a:pos x="connsiteX34124" y="connsiteY34124"/>
              </a:cxn>
              <a:cxn ang="0">
                <a:pos x="connsiteX34125" y="connsiteY34125"/>
              </a:cxn>
              <a:cxn ang="0">
                <a:pos x="connsiteX34126" y="connsiteY34126"/>
              </a:cxn>
              <a:cxn ang="0">
                <a:pos x="connsiteX34127" y="connsiteY34127"/>
              </a:cxn>
              <a:cxn ang="0">
                <a:pos x="connsiteX34128" y="connsiteY34128"/>
              </a:cxn>
              <a:cxn ang="0">
                <a:pos x="connsiteX34129" y="connsiteY34129"/>
              </a:cxn>
              <a:cxn ang="0">
                <a:pos x="connsiteX34130" y="connsiteY34130"/>
              </a:cxn>
              <a:cxn ang="0">
                <a:pos x="connsiteX34131" y="connsiteY34131"/>
              </a:cxn>
              <a:cxn ang="0">
                <a:pos x="connsiteX34132" y="connsiteY34132"/>
              </a:cxn>
              <a:cxn ang="0">
                <a:pos x="connsiteX34133" y="connsiteY34133"/>
              </a:cxn>
              <a:cxn ang="0">
                <a:pos x="connsiteX34134" y="connsiteY34134"/>
              </a:cxn>
              <a:cxn ang="0">
                <a:pos x="connsiteX34135" y="connsiteY34135"/>
              </a:cxn>
              <a:cxn ang="0">
                <a:pos x="connsiteX34136" y="connsiteY34136"/>
              </a:cxn>
              <a:cxn ang="0">
                <a:pos x="connsiteX34137" y="connsiteY34137"/>
              </a:cxn>
              <a:cxn ang="0">
                <a:pos x="connsiteX34138" y="connsiteY34138"/>
              </a:cxn>
              <a:cxn ang="0">
                <a:pos x="connsiteX34139" y="connsiteY34139"/>
              </a:cxn>
              <a:cxn ang="0">
                <a:pos x="connsiteX34140" y="connsiteY34140"/>
              </a:cxn>
              <a:cxn ang="0">
                <a:pos x="connsiteX34141" y="connsiteY34141"/>
              </a:cxn>
              <a:cxn ang="0">
                <a:pos x="connsiteX34142" y="connsiteY34142"/>
              </a:cxn>
              <a:cxn ang="0">
                <a:pos x="connsiteX34143" y="connsiteY34143"/>
              </a:cxn>
              <a:cxn ang="0">
                <a:pos x="connsiteX34144" y="connsiteY34144"/>
              </a:cxn>
              <a:cxn ang="0">
                <a:pos x="connsiteX34145" y="connsiteY34145"/>
              </a:cxn>
              <a:cxn ang="0">
                <a:pos x="connsiteX34146" y="connsiteY34146"/>
              </a:cxn>
              <a:cxn ang="0">
                <a:pos x="connsiteX34147" y="connsiteY34147"/>
              </a:cxn>
              <a:cxn ang="0">
                <a:pos x="connsiteX34148" y="connsiteY34148"/>
              </a:cxn>
              <a:cxn ang="0">
                <a:pos x="connsiteX34149" y="connsiteY34149"/>
              </a:cxn>
              <a:cxn ang="0">
                <a:pos x="connsiteX34150" y="connsiteY34150"/>
              </a:cxn>
              <a:cxn ang="0">
                <a:pos x="connsiteX34151" y="connsiteY34151"/>
              </a:cxn>
              <a:cxn ang="0">
                <a:pos x="connsiteX34152" y="connsiteY34152"/>
              </a:cxn>
              <a:cxn ang="0">
                <a:pos x="connsiteX34153" y="connsiteY34153"/>
              </a:cxn>
              <a:cxn ang="0">
                <a:pos x="connsiteX34154" y="connsiteY34154"/>
              </a:cxn>
              <a:cxn ang="0">
                <a:pos x="connsiteX34155" y="connsiteY34155"/>
              </a:cxn>
              <a:cxn ang="0">
                <a:pos x="connsiteX34156" y="connsiteY34156"/>
              </a:cxn>
              <a:cxn ang="0">
                <a:pos x="connsiteX34157" y="connsiteY34157"/>
              </a:cxn>
              <a:cxn ang="0">
                <a:pos x="connsiteX34158" y="connsiteY34158"/>
              </a:cxn>
              <a:cxn ang="0">
                <a:pos x="connsiteX34159" y="connsiteY34159"/>
              </a:cxn>
              <a:cxn ang="0">
                <a:pos x="connsiteX34160" y="connsiteY34160"/>
              </a:cxn>
              <a:cxn ang="0">
                <a:pos x="connsiteX34161" y="connsiteY34161"/>
              </a:cxn>
              <a:cxn ang="0">
                <a:pos x="connsiteX34162" y="connsiteY34162"/>
              </a:cxn>
              <a:cxn ang="0">
                <a:pos x="connsiteX34163" y="connsiteY34163"/>
              </a:cxn>
              <a:cxn ang="0">
                <a:pos x="connsiteX34164" y="connsiteY34164"/>
              </a:cxn>
              <a:cxn ang="0">
                <a:pos x="connsiteX34165" y="connsiteY34165"/>
              </a:cxn>
              <a:cxn ang="0">
                <a:pos x="connsiteX34166" y="connsiteY34166"/>
              </a:cxn>
              <a:cxn ang="0">
                <a:pos x="connsiteX34167" y="connsiteY34167"/>
              </a:cxn>
              <a:cxn ang="0">
                <a:pos x="connsiteX34168" y="connsiteY34168"/>
              </a:cxn>
              <a:cxn ang="0">
                <a:pos x="connsiteX34169" y="connsiteY34169"/>
              </a:cxn>
              <a:cxn ang="0">
                <a:pos x="connsiteX34170" y="connsiteY34170"/>
              </a:cxn>
              <a:cxn ang="0">
                <a:pos x="connsiteX34171" y="connsiteY34171"/>
              </a:cxn>
              <a:cxn ang="0">
                <a:pos x="connsiteX34172" y="connsiteY34172"/>
              </a:cxn>
              <a:cxn ang="0">
                <a:pos x="connsiteX34173" y="connsiteY34173"/>
              </a:cxn>
              <a:cxn ang="0">
                <a:pos x="connsiteX34174" y="connsiteY34174"/>
              </a:cxn>
              <a:cxn ang="0">
                <a:pos x="connsiteX34175" y="connsiteY34175"/>
              </a:cxn>
              <a:cxn ang="0">
                <a:pos x="connsiteX34176" y="connsiteY34176"/>
              </a:cxn>
              <a:cxn ang="0">
                <a:pos x="connsiteX34177" y="connsiteY34177"/>
              </a:cxn>
              <a:cxn ang="0">
                <a:pos x="connsiteX34178" y="connsiteY34178"/>
              </a:cxn>
              <a:cxn ang="0">
                <a:pos x="connsiteX34179" y="connsiteY34179"/>
              </a:cxn>
              <a:cxn ang="0">
                <a:pos x="connsiteX34180" y="connsiteY34180"/>
              </a:cxn>
              <a:cxn ang="0">
                <a:pos x="connsiteX34181" y="connsiteY34181"/>
              </a:cxn>
              <a:cxn ang="0">
                <a:pos x="connsiteX34182" y="connsiteY34182"/>
              </a:cxn>
              <a:cxn ang="0">
                <a:pos x="connsiteX34183" y="connsiteY34183"/>
              </a:cxn>
              <a:cxn ang="0">
                <a:pos x="connsiteX34184" y="connsiteY34184"/>
              </a:cxn>
              <a:cxn ang="0">
                <a:pos x="connsiteX34185" y="connsiteY34185"/>
              </a:cxn>
              <a:cxn ang="0">
                <a:pos x="connsiteX34186" y="connsiteY34186"/>
              </a:cxn>
              <a:cxn ang="0">
                <a:pos x="connsiteX34187" y="connsiteY34187"/>
              </a:cxn>
              <a:cxn ang="0">
                <a:pos x="connsiteX34188" y="connsiteY34188"/>
              </a:cxn>
              <a:cxn ang="0">
                <a:pos x="connsiteX34189" y="connsiteY34189"/>
              </a:cxn>
              <a:cxn ang="0">
                <a:pos x="connsiteX34190" y="connsiteY34190"/>
              </a:cxn>
              <a:cxn ang="0">
                <a:pos x="connsiteX34191" y="connsiteY34191"/>
              </a:cxn>
              <a:cxn ang="0">
                <a:pos x="connsiteX34192" y="connsiteY34192"/>
              </a:cxn>
              <a:cxn ang="0">
                <a:pos x="connsiteX34193" y="connsiteY34193"/>
              </a:cxn>
              <a:cxn ang="0">
                <a:pos x="connsiteX34194" y="connsiteY34194"/>
              </a:cxn>
              <a:cxn ang="0">
                <a:pos x="connsiteX34195" y="connsiteY34195"/>
              </a:cxn>
              <a:cxn ang="0">
                <a:pos x="connsiteX34196" y="connsiteY34196"/>
              </a:cxn>
              <a:cxn ang="0">
                <a:pos x="connsiteX34197" y="connsiteY34197"/>
              </a:cxn>
              <a:cxn ang="0">
                <a:pos x="connsiteX34198" y="connsiteY34198"/>
              </a:cxn>
              <a:cxn ang="0">
                <a:pos x="connsiteX34199" y="connsiteY34199"/>
              </a:cxn>
              <a:cxn ang="0">
                <a:pos x="connsiteX34200" y="connsiteY34200"/>
              </a:cxn>
              <a:cxn ang="0">
                <a:pos x="connsiteX34201" y="connsiteY34201"/>
              </a:cxn>
              <a:cxn ang="0">
                <a:pos x="connsiteX34202" y="connsiteY34202"/>
              </a:cxn>
              <a:cxn ang="0">
                <a:pos x="connsiteX34203" y="connsiteY34203"/>
              </a:cxn>
              <a:cxn ang="0">
                <a:pos x="connsiteX34204" y="connsiteY34204"/>
              </a:cxn>
              <a:cxn ang="0">
                <a:pos x="connsiteX34205" y="connsiteY34205"/>
              </a:cxn>
              <a:cxn ang="0">
                <a:pos x="connsiteX34206" y="connsiteY34206"/>
              </a:cxn>
              <a:cxn ang="0">
                <a:pos x="connsiteX34207" y="connsiteY34207"/>
              </a:cxn>
              <a:cxn ang="0">
                <a:pos x="connsiteX34208" y="connsiteY34208"/>
              </a:cxn>
              <a:cxn ang="0">
                <a:pos x="connsiteX34209" y="connsiteY34209"/>
              </a:cxn>
              <a:cxn ang="0">
                <a:pos x="connsiteX34210" y="connsiteY34210"/>
              </a:cxn>
              <a:cxn ang="0">
                <a:pos x="connsiteX34211" y="connsiteY34211"/>
              </a:cxn>
              <a:cxn ang="0">
                <a:pos x="connsiteX34212" y="connsiteY34212"/>
              </a:cxn>
              <a:cxn ang="0">
                <a:pos x="connsiteX34213" y="connsiteY34213"/>
              </a:cxn>
              <a:cxn ang="0">
                <a:pos x="connsiteX34214" y="connsiteY34214"/>
              </a:cxn>
              <a:cxn ang="0">
                <a:pos x="connsiteX34215" y="connsiteY34215"/>
              </a:cxn>
              <a:cxn ang="0">
                <a:pos x="connsiteX34216" y="connsiteY34216"/>
              </a:cxn>
              <a:cxn ang="0">
                <a:pos x="connsiteX34217" y="connsiteY34217"/>
              </a:cxn>
              <a:cxn ang="0">
                <a:pos x="connsiteX34218" y="connsiteY34218"/>
              </a:cxn>
              <a:cxn ang="0">
                <a:pos x="connsiteX34219" y="connsiteY34219"/>
              </a:cxn>
              <a:cxn ang="0">
                <a:pos x="connsiteX34220" y="connsiteY34220"/>
              </a:cxn>
              <a:cxn ang="0">
                <a:pos x="connsiteX34221" y="connsiteY34221"/>
              </a:cxn>
              <a:cxn ang="0">
                <a:pos x="connsiteX34222" y="connsiteY34222"/>
              </a:cxn>
              <a:cxn ang="0">
                <a:pos x="connsiteX34223" y="connsiteY34223"/>
              </a:cxn>
              <a:cxn ang="0">
                <a:pos x="connsiteX34224" y="connsiteY34224"/>
              </a:cxn>
              <a:cxn ang="0">
                <a:pos x="connsiteX34225" y="connsiteY34225"/>
              </a:cxn>
              <a:cxn ang="0">
                <a:pos x="connsiteX34226" y="connsiteY34226"/>
              </a:cxn>
              <a:cxn ang="0">
                <a:pos x="connsiteX34227" y="connsiteY34227"/>
              </a:cxn>
              <a:cxn ang="0">
                <a:pos x="connsiteX34228" y="connsiteY34228"/>
              </a:cxn>
              <a:cxn ang="0">
                <a:pos x="connsiteX34229" y="connsiteY34229"/>
              </a:cxn>
              <a:cxn ang="0">
                <a:pos x="connsiteX34230" y="connsiteY34230"/>
              </a:cxn>
              <a:cxn ang="0">
                <a:pos x="connsiteX34231" y="connsiteY34231"/>
              </a:cxn>
              <a:cxn ang="0">
                <a:pos x="connsiteX34232" y="connsiteY34232"/>
              </a:cxn>
              <a:cxn ang="0">
                <a:pos x="connsiteX34233" y="connsiteY34233"/>
              </a:cxn>
              <a:cxn ang="0">
                <a:pos x="connsiteX34234" y="connsiteY34234"/>
              </a:cxn>
              <a:cxn ang="0">
                <a:pos x="connsiteX34235" y="connsiteY34235"/>
              </a:cxn>
              <a:cxn ang="0">
                <a:pos x="connsiteX34236" y="connsiteY34236"/>
              </a:cxn>
              <a:cxn ang="0">
                <a:pos x="connsiteX34237" y="connsiteY34237"/>
              </a:cxn>
              <a:cxn ang="0">
                <a:pos x="connsiteX34238" y="connsiteY34238"/>
              </a:cxn>
              <a:cxn ang="0">
                <a:pos x="connsiteX34239" y="connsiteY34239"/>
              </a:cxn>
              <a:cxn ang="0">
                <a:pos x="connsiteX34240" y="connsiteY34240"/>
              </a:cxn>
              <a:cxn ang="0">
                <a:pos x="connsiteX34241" y="connsiteY34241"/>
              </a:cxn>
              <a:cxn ang="0">
                <a:pos x="connsiteX34242" y="connsiteY34242"/>
              </a:cxn>
              <a:cxn ang="0">
                <a:pos x="connsiteX34243" y="connsiteY34243"/>
              </a:cxn>
              <a:cxn ang="0">
                <a:pos x="connsiteX34244" y="connsiteY34244"/>
              </a:cxn>
              <a:cxn ang="0">
                <a:pos x="connsiteX34245" y="connsiteY34245"/>
              </a:cxn>
              <a:cxn ang="0">
                <a:pos x="connsiteX34246" y="connsiteY34246"/>
              </a:cxn>
              <a:cxn ang="0">
                <a:pos x="connsiteX34247" y="connsiteY34247"/>
              </a:cxn>
              <a:cxn ang="0">
                <a:pos x="connsiteX34248" y="connsiteY34248"/>
              </a:cxn>
              <a:cxn ang="0">
                <a:pos x="connsiteX34249" y="connsiteY34249"/>
              </a:cxn>
              <a:cxn ang="0">
                <a:pos x="connsiteX34250" y="connsiteY34250"/>
              </a:cxn>
              <a:cxn ang="0">
                <a:pos x="connsiteX34251" y="connsiteY34251"/>
              </a:cxn>
              <a:cxn ang="0">
                <a:pos x="connsiteX34252" y="connsiteY34252"/>
              </a:cxn>
              <a:cxn ang="0">
                <a:pos x="connsiteX34253" y="connsiteY34253"/>
              </a:cxn>
              <a:cxn ang="0">
                <a:pos x="connsiteX34254" y="connsiteY34254"/>
              </a:cxn>
              <a:cxn ang="0">
                <a:pos x="connsiteX34255" y="connsiteY34255"/>
              </a:cxn>
              <a:cxn ang="0">
                <a:pos x="connsiteX34256" y="connsiteY34256"/>
              </a:cxn>
              <a:cxn ang="0">
                <a:pos x="connsiteX34257" y="connsiteY34257"/>
              </a:cxn>
              <a:cxn ang="0">
                <a:pos x="connsiteX34258" y="connsiteY34258"/>
              </a:cxn>
              <a:cxn ang="0">
                <a:pos x="connsiteX34259" y="connsiteY34259"/>
              </a:cxn>
              <a:cxn ang="0">
                <a:pos x="connsiteX34260" y="connsiteY34260"/>
              </a:cxn>
              <a:cxn ang="0">
                <a:pos x="connsiteX34261" y="connsiteY34261"/>
              </a:cxn>
              <a:cxn ang="0">
                <a:pos x="connsiteX34262" y="connsiteY34262"/>
              </a:cxn>
              <a:cxn ang="0">
                <a:pos x="connsiteX34263" y="connsiteY34263"/>
              </a:cxn>
              <a:cxn ang="0">
                <a:pos x="connsiteX34264" y="connsiteY34264"/>
              </a:cxn>
              <a:cxn ang="0">
                <a:pos x="connsiteX34265" y="connsiteY34265"/>
              </a:cxn>
              <a:cxn ang="0">
                <a:pos x="connsiteX34266" y="connsiteY34266"/>
              </a:cxn>
              <a:cxn ang="0">
                <a:pos x="connsiteX34267" y="connsiteY34267"/>
              </a:cxn>
              <a:cxn ang="0">
                <a:pos x="connsiteX34268" y="connsiteY34268"/>
              </a:cxn>
              <a:cxn ang="0">
                <a:pos x="connsiteX34269" y="connsiteY34269"/>
              </a:cxn>
              <a:cxn ang="0">
                <a:pos x="connsiteX34270" y="connsiteY34270"/>
              </a:cxn>
              <a:cxn ang="0">
                <a:pos x="connsiteX34271" y="connsiteY34271"/>
              </a:cxn>
              <a:cxn ang="0">
                <a:pos x="connsiteX34272" y="connsiteY34272"/>
              </a:cxn>
              <a:cxn ang="0">
                <a:pos x="connsiteX34273" y="connsiteY34273"/>
              </a:cxn>
              <a:cxn ang="0">
                <a:pos x="connsiteX34274" y="connsiteY34274"/>
              </a:cxn>
              <a:cxn ang="0">
                <a:pos x="connsiteX34275" y="connsiteY34275"/>
              </a:cxn>
              <a:cxn ang="0">
                <a:pos x="connsiteX34276" y="connsiteY34276"/>
              </a:cxn>
              <a:cxn ang="0">
                <a:pos x="connsiteX34277" y="connsiteY34277"/>
              </a:cxn>
              <a:cxn ang="0">
                <a:pos x="connsiteX34278" y="connsiteY34278"/>
              </a:cxn>
              <a:cxn ang="0">
                <a:pos x="connsiteX34279" y="connsiteY34279"/>
              </a:cxn>
              <a:cxn ang="0">
                <a:pos x="connsiteX34280" y="connsiteY34280"/>
              </a:cxn>
              <a:cxn ang="0">
                <a:pos x="connsiteX34281" y="connsiteY34281"/>
              </a:cxn>
              <a:cxn ang="0">
                <a:pos x="connsiteX34282" y="connsiteY34282"/>
              </a:cxn>
              <a:cxn ang="0">
                <a:pos x="connsiteX34283" y="connsiteY34283"/>
              </a:cxn>
              <a:cxn ang="0">
                <a:pos x="connsiteX34284" y="connsiteY34284"/>
              </a:cxn>
              <a:cxn ang="0">
                <a:pos x="connsiteX34285" y="connsiteY34285"/>
              </a:cxn>
              <a:cxn ang="0">
                <a:pos x="connsiteX34286" y="connsiteY34286"/>
              </a:cxn>
              <a:cxn ang="0">
                <a:pos x="connsiteX34287" y="connsiteY34287"/>
              </a:cxn>
              <a:cxn ang="0">
                <a:pos x="connsiteX34288" y="connsiteY34288"/>
              </a:cxn>
              <a:cxn ang="0">
                <a:pos x="connsiteX34289" y="connsiteY34289"/>
              </a:cxn>
              <a:cxn ang="0">
                <a:pos x="connsiteX34290" y="connsiteY34290"/>
              </a:cxn>
              <a:cxn ang="0">
                <a:pos x="connsiteX34291" y="connsiteY34291"/>
              </a:cxn>
              <a:cxn ang="0">
                <a:pos x="connsiteX34292" y="connsiteY34292"/>
              </a:cxn>
              <a:cxn ang="0">
                <a:pos x="connsiteX34293" y="connsiteY34293"/>
              </a:cxn>
              <a:cxn ang="0">
                <a:pos x="connsiteX34294" y="connsiteY34294"/>
              </a:cxn>
              <a:cxn ang="0">
                <a:pos x="connsiteX34295" y="connsiteY34295"/>
              </a:cxn>
              <a:cxn ang="0">
                <a:pos x="connsiteX34296" y="connsiteY34296"/>
              </a:cxn>
              <a:cxn ang="0">
                <a:pos x="connsiteX34297" y="connsiteY34297"/>
              </a:cxn>
              <a:cxn ang="0">
                <a:pos x="connsiteX34298" y="connsiteY34298"/>
              </a:cxn>
              <a:cxn ang="0">
                <a:pos x="connsiteX34299" y="connsiteY34299"/>
              </a:cxn>
              <a:cxn ang="0">
                <a:pos x="connsiteX34300" y="connsiteY34300"/>
              </a:cxn>
              <a:cxn ang="0">
                <a:pos x="connsiteX34301" y="connsiteY34301"/>
              </a:cxn>
              <a:cxn ang="0">
                <a:pos x="connsiteX34302" y="connsiteY34302"/>
              </a:cxn>
              <a:cxn ang="0">
                <a:pos x="connsiteX34303" y="connsiteY34303"/>
              </a:cxn>
              <a:cxn ang="0">
                <a:pos x="connsiteX34304" y="connsiteY34304"/>
              </a:cxn>
              <a:cxn ang="0">
                <a:pos x="connsiteX34305" y="connsiteY34305"/>
              </a:cxn>
              <a:cxn ang="0">
                <a:pos x="connsiteX34306" y="connsiteY34306"/>
              </a:cxn>
              <a:cxn ang="0">
                <a:pos x="connsiteX34307" y="connsiteY34307"/>
              </a:cxn>
              <a:cxn ang="0">
                <a:pos x="connsiteX34308" y="connsiteY34308"/>
              </a:cxn>
              <a:cxn ang="0">
                <a:pos x="connsiteX34309" y="connsiteY34309"/>
              </a:cxn>
              <a:cxn ang="0">
                <a:pos x="connsiteX34310" y="connsiteY34310"/>
              </a:cxn>
              <a:cxn ang="0">
                <a:pos x="connsiteX34311" y="connsiteY34311"/>
              </a:cxn>
              <a:cxn ang="0">
                <a:pos x="connsiteX34312" y="connsiteY34312"/>
              </a:cxn>
              <a:cxn ang="0">
                <a:pos x="connsiteX34313" y="connsiteY34313"/>
              </a:cxn>
              <a:cxn ang="0">
                <a:pos x="connsiteX34314" y="connsiteY34314"/>
              </a:cxn>
              <a:cxn ang="0">
                <a:pos x="connsiteX34315" y="connsiteY34315"/>
              </a:cxn>
              <a:cxn ang="0">
                <a:pos x="connsiteX34316" y="connsiteY34316"/>
              </a:cxn>
              <a:cxn ang="0">
                <a:pos x="connsiteX34317" y="connsiteY34317"/>
              </a:cxn>
              <a:cxn ang="0">
                <a:pos x="connsiteX34318" y="connsiteY34318"/>
              </a:cxn>
              <a:cxn ang="0">
                <a:pos x="connsiteX34319" y="connsiteY34319"/>
              </a:cxn>
              <a:cxn ang="0">
                <a:pos x="connsiteX34320" y="connsiteY34320"/>
              </a:cxn>
              <a:cxn ang="0">
                <a:pos x="connsiteX34321" y="connsiteY34321"/>
              </a:cxn>
              <a:cxn ang="0">
                <a:pos x="connsiteX34322" y="connsiteY34322"/>
              </a:cxn>
              <a:cxn ang="0">
                <a:pos x="connsiteX34323" y="connsiteY34323"/>
              </a:cxn>
              <a:cxn ang="0">
                <a:pos x="connsiteX34324" y="connsiteY34324"/>
              </a:cxn>
              <a:cxn ang="0">
                <a:pos x="connsiteX34325" y="connsiteY34325"/>
              </a:cxn>
              <a:cxn ang="0">
                <a:pos x="connsiteX34326" y="connsiteY34326"/>
              </a:cxn>
              <a:cxn ang="0">
                <a:pos x="connsiteX34327" y="connsiteY34327"/>
              </a:cxn>
              <a:cxn ang="0">
                <a:pos x="connsiteX34328" y="connsiteY34328"/>
              </a:cxn>
              <a:cxn ang="0">
                <a:pos x="connsiteX34329" y="connsiteY34329"/>
              </a:cxn>
              <a:cxn ang="0">
                <a:pos x="connsiteX34330" y="connsiteY34330"/>
              </a:cxn>
              <a:cxn ang="0">
                <a:pos x="connsiteX34331" y="connsiteY34331"/>
              </a:cxn>
              <a:cxn ang="0">
                <a:pos x="connsiteX34332" y="connsiteY34332"/>
              </a:cxn>
              <a:cxn ang="0">
                <a:pos x="connsiteX34333" y="connsiteY34333"/>
              </a:cxn>
              <a:cxn ang="0">
                <a:pos x="connsiteX34334" y="connsiteY34334"/>
              </a:cxn>
              <a:cxn ang="0">
                <a:pos x="connsiteX34335" y="connsiteY34335"/>
              </a:cxn>
              <a:cxn ang="0">
                <a:pos x="connsiteX34336" y="connsiteY34336"/>
              </a:cxn>
              <a:cxn ang="0">
                <a:pos x="connsiteX34337" y="connsiteY34337"/>
              </a:cxn>
              <a:cxn ang="0">
                <a:pos x="connsiteX34338" y="connsiteY34338"/>
              </a:cxn>
              <a:cxn ang="0">
                <a:pos x="connsiteX34339" y="connsiteY34339"/>
              </a:cxn>
              <a:cxn ang="0">
                <a:pos x="connsiteX34340" y="connsiteY34340"/>
              </a:cxn>
              <a:cxn ang="0">
                <a:pos x="connsiteX34341" y="connsiteY34341"/>
              </a:cxn>
              <a:cxn ang="0">
                <a:pos x="connsiteX34342" y="connsiteY34342"/>
              </a:cxn>
              <a:cxn ang="0">
                <a:pos x="connsiteX34343" y="connsiteY34343"/>
              </a:cxn>
              <a:cxn ang="0">
                <a:pos x="connsiteX34344" y="connsiteY34344"/>
              </a:cxn>
              <a:cxn ang="0">
                <a:pos x="connsiteX34345" y="connsiteY34345"/>
              </a:cxn>
              <a:cxn ang="0">
                <a:pos x="connsiteX34346" y="connsiteY34346"/>
              </a:cxn>
              <a:cxn ang="0">
                <a:pos x="connsiteX34347" y="connsiteY34347"/>
              </a:cxn>
              <a:cxn ang="0">
                <a:pos x="connsiteX34348" y="connsiteY34348"/>
              </a:cxn>
              <a:cxn ang="0">
                <a:pos x="connsiteX34349" y="connsiteY34349"/>
              </a:cxn>
              <a:cxn ang="0">
                <a:pos x="connsiteX34350" y="connsiteY34350"/>
              </a:cxn>
              <a:cxn ang="0">
                <a:pos x="connsiteX34351" y="connsiteY34351"/>
              </a:cxn>
              <a:cxn ang="0">
                <a:pos x="connsiteX34352" y="connsiteY34352"/>
              </a:cxn>
              <a:cxn ang="0">
                <a:pos x="connsiteX34353" y="connsiteY34353"/>
              </a:cxn>
              <a:cxn ang="0">
                <a:pos x="connsiteX34354" y="connsiteY34354"/>
              </a:cxn>
              <a:cxn ang="0">
                <a:pos x="connsiteX34355" y="connsiteY34355"/>
              </a:cxn>
              <a:cxn ang="0">
                <a:pos x="connsiteX34356" y="connsiteY34356"/>
              </a:cxn>
              <a:cxn ang="0">
                <a:pos x="connsiteX34357" y="connsiteY34357"/>
              </a:cxn>
              <a:cxn ang="0">
                <a:pos x="connsiteX34358" y="connsiteY34358"/>
              </a:cxn>
              <a:cxn ang="0">
                <a:pos x="connsiteX34359" y="connsiteY34359"/>
              </a:cxn>
              <a:cxn ang="0">
                <a:pos x="connsiteX34360" y="connsiteY34360"/>
              </a:cxn>
              <a:cxn ang="0">
                <a:pos x="connsiteX34361" y="connsiteY34361"/>
              </a:cxn>
              <a:cxn ang="0">
                <a:pos x="connsiteX34362" y="connsiteY34362"/>
              </a:cxn>
              <a:cxn ang="0">
                <a:pos x="connsiteX34363" y="connsiteY34363"/>
              </a:cxn>
              <a:cxn ang="0">
                <a:pos x="connsiteX34364" y="connsiteY34364"/>
              </a:cxn>
              <a:cxn ang="0">
                <a:pos x="connsiteX34365" y="connsiteY34365"/>
              </a:cxn>
              <a:cxn ang="0">
                <a:pos x="connsiteX34366" y="connsiteY34366"/>
              </a:cxn>
              <a:cxn ang="0">
                <a:pos x="connsiteX34367" y="connsiteY34367"/>
              </a:cxn>
              <a:cxn ang="0">
                <a:pos x="connsiteX34368" y="connsiteY34368"/>
              </a:cxn>
              <a:cxn ang="0">
                <a:pos x="connsiteX34369" y="connsiteY34369"/>
              </a:cxn>
              <a:cxn ang="0">
                <a:pos x="connsiteX34370" y="connsiteY34370"/>
              </a:cxn>
              <a:cxn ang="0">
                <a:pos x="connsiteX34371" y="connsiteY34371"/>
              </a:cxn>
              <a:cxn ang="0">
                <a:pos x="connsiteX34372" y="connsiteY34372"/>
              </a:cxn>
              <a:cxn ang="0">
                <a:pos x="connsiteX34373" y="connsiteY34373"/>
              </a:cxn>
              <a:cxn ang="0">
                <a:pos x="connsiteX34374" y="connsiteY34374"/>
              </a:cxn>
              <a:cxn ang="0">
                <a:pos x="connsiteX34375" y="connsiteY34375"/>
              </a:cxn>
              <a:cxn ang="0">
                <a:pos x="connsiteX34376" y="connsiteY34376"/>
              </a:cxn>
              <a:cxn ang="0">
                <a:pos x="connsiteX34377" y="connsiteY34377"/>
              </a:cxn>
              <a:cxn ang="0">
                <a:pos x="connsiteX34378" y="connsiteY34378"/>
              </a:cxn>
              <a:cxn ang="0">
                <a:pos x="connsiteX34379" y="connsiteY34379"/>
              </a:cxn>
              <a:cxn ang="0">
                <a:pos x="connsiteX34380" y="connsiteY34380"/>
              </a:cxn>
              <a:cxn ang="0">
                <a:pos x="connsiteX34381" y="connsiteY34381"/>
              </a:cxn>
              <a:cxn ang="0">
                <a:pos x="connsiteX34382" y="connsiteY34382"/>
              </a:cxn>
              <a:cxn ang="0">
                <a:pos x="connsiteX34383" y="connsiteY34383"/>
              </a:cxn>
              <a:cxn ang="0">
                <a:pos x="connsiteX34384" y="connsiteY34384"/>
              </a:cxn>
              <a:cxn ang="0">
                <a:pos x="connsiteX34385" y="connsiteY34385"/>
              </a:cxn>
              <a:cxn ang="0">
                <a:pos x="connsiteX34386" y="connsiteY34386"/>
              </a:cxn>
              <a:cxn ang="0">
                <a:pos x="connsiteX34387" y="connsiteY34387"/>
              </a:cxn>
              <a:cxn ang="0">
                <a:pos x="connsiteX34388" y="connsiteY34388"/>
              </a:cxn>
              <a:cxn ang="0">
                <a:pos x="connsiteX34389" y="connsiteY34389"/>
              </a:cxn>
              <a:cxn ang="0">
                <a:pos x="connsiteX34390" y="connsiteY34390"/>
              </a:cxn>
              <a:cxn ang="0">
                <a:pos x="connsiteX34391" y="connsiteY34391"/>
              </a:cxn>
              <a:cxn ang="0">
                <a:pos x="connsiteX34392" y="connsiteY34392"/>
              </a:cxn>
              <a:cxn ang="0">
                <a:pos x="connsiteX34393" y="connsiteY34393"/>
              </a:cxn>
              <a:cxn ang="0">
                <a:pos x="connsiteX34394" y="connsiteY34394"/>
              </a:cxn>
              <a:cxn ang="0">
                <a:pos x="connsiteX34395" y="connsiteY34395"/>
              </a:cxn>
              <a:cxn ang="0">
                <a:pos x="connsiteX34396" y="connsiteY34396"/>
              </a:cxn>
              <a:cxn ang="0">
                <a:pos x="connsiteX34397" y="connsiteY34397"/>
              </a:cxn>
              <a:cxn ang="0">
                <a:pos x="connsiteX34398" y="connsiteY34398"/>
              </a:cxn>
              <a:cxn ang="0">
                <a:pos x="connsiteX34399" y="connsiteY34399"/>
              </a:cxn>
              <a:cxn ang="0">
                <a:pos x="connsiteX34400" y="connsiteY34400"/>
              </a:cxn>
              <a:cxn ang="0">
                <a:pos x="connsiteX34401" y="connsiteY34401"/>
              </a:cxn>
              <a:cxn ang="0">
                <a:pos x="connsiteX34402" y="connsiteY34402"/>
              </a:cxn>
              <a:cxn ang="0">
                <a:pos x="connsiteX34403" y="connsiteY34403"/>
              </a:cxn>
              <a:cxn ang="0">
                <a:pos x="connsiteX34404" y="connsiteY34404"/>
              </a:cxn>
              <a:cxn ang="0">
                <a:pos x="connsiteX34405" y="connsiteY34405"/>
              </a:cxn>
              <a:cxn ang="0">
                <a:pos x="connsiteX34406" y="connsiteY34406"/>
              </a:cxn>
              <a:cxn ang="0">
                <a:pos x="connsiteX34407" y="connsiteY34407"/>
              </a:cxn>
              <a:cxn ang="0">
                <a:pos x="connsiteX34408" y="connsiteY34408"/>
              </a:cxn>
              <a:cxn ang="0">
                <a:pos x="connsiteX34409" y="connsiteY34409"/>
              </a:cxn>
              <a:cxn ang="0">
                <a:pos x="connsiteX34410" y="connsiteY34410"/>
              </a:cxn>
              <a:cxn ang="0">
                <a:pos x="connsiteX34411" y="connsiteY34411"/>
              </a:cxn>
              <a:cxn ang="0">
                <a:pos x="connsiteX34412" y="connsiteY34412"/>
              </a:cxn>
              <a:cxn ang="0">
                <a:pos x="connsiteX34413" y="connsiteY34413"/>
              </a:cxn>
              <a:cxn ang="0">
                <a:pos x="connsiteX34414" y="connsiteY34414"/>
              </a:cxn>
              <a:cxn ang="0">
                <a:pos x="connsiteX34415" y="connsiteY34415"/>
              </a:cxn>
              <a:cxn ang="0">
                <a:pos x="connsiteX34416" y="connsiteY34416"/>
              </a:cxn>
              <a:cxn ang="0">
                <a:pos x="connsiteX34417" y="connsiteY34417"/>
              </a:cxn>
              <a:cxn ang="0">
                <a:pos x="connsiteX34418" y="connsiteY34418"/>
              </a:cxn>
              <a:cxn ang="0">
                <a:pos x="connsiteX34419" y="connsiteY34419"/>
              </a:cxn>
              <a:cxn ang="0">
                <a:pos x="connsiteX34420" y="connsiteY34420"/>
              </a:cxn>
              <a:cxn ang="0">
                <a:pos x="connsiteX34421" y="connsiteY34421"/>
              </a:cxn>
              <a:cxn ang="0">
                <a:pos x="connsiteX34422" y="connsiteY34422"/>
              </a:cxn>
              <a:cxn ang="0">
                <a:pos x="connsiteX34423" y="connsiteY34423"/>
              </a:cxn>
              <a:cxn ang="0">
                <a:pos x="connsiteX34424" y="connsiteY34424"/>
              </a:cxn>
              <a:cxn ang="0">
                <a:pos x="connsiteX34425" y="connsiteY34425"/>
              </a:cxn>
              <a:cxn ang="0">
                <a:pos x="connsiteX34426" y="connsiteY34426"/>
              </a:cxn>
              <a:cxn ang="0">
                <a:pos x="connsiteX34427" y="connsiteY34427"/>
              </a:cxn>
              <a:cxn ang="0">
                <a:pos x="connsiteX34428" y="connsiteY34428"/>
              </a:cxn>
              <a:cxn ang="0">
                <a:pos x="connsiteX34429" y="connsiteY34429"/>
              </a:cxn>
              <a:cxn ang="0">
                <a:pos x="connsiteX34430" y="connsiteY34430"/>
              </a:cxn>
              <a:cxn ang="0">
                <a:pos x="connsiteX34431" y="connsiteY34431"/>
              </a:cxn>
              <a:cxn ang="0">
                <a:pos x="connsiteX34432" y="connsiteY34432"/>
              </a:cxn>
              <a:cxn ang="0">
                <a:pos x="connsiteX34433" y="connsiteY34433"/>
              </a:cxn>
              <a:cxn ang="0">
                <a:pos x="connsiteX34434" y="connsiteY34434"/>
              </a:cxn>
              <a:cxn ang="0">
                <a:pos x="connsiteX34435" y="connsiteY34435"/>
              </a:cxn>
              <a:cxn ang="0">
                <a:pos x="connsiteX34436" y="connsiteY34436"/>
              </a:cxn>
              <a:cxn ang="0">
                <a:pos x="connsiteX34437" y="connsiteY34437"/>
              </a:cxn>
              <a:cxn ang="0">
                <a:pos x="connsiteX34438" y="connsiteY34438"/>
              </a:cxn>
              <a:cxn ang="0">
                <a:pos x="connsiteX34439" y="connsiteY34439"/>
              </a:cxn>
              <a:cxn ang="0">
                <a:pos x="connsiteX34440" y="connsiteY34440"/>
              </a:cxn>
              <a:cxn ang="0">
                <a:pos x="connsiteX34441" y="connsiteY34441"/>
              </a:cxn>
              <a:cxn ang="0">
                <a:pos x="connsiteX34442" y="connsiteY34442"/>
              </a:cxn>
              <a:cxn ang="0">
                <a:pos x="connsiteX34443" y="connsiteY34443"/>
              </a:cxn>
              <a:cxn ang="0">
                <a:pos x="connsiteX34444" y="connsiteY34444"/>
              </a:cxn>
              <a:cxn ang="0">
                <a:pos x="connsiteX34445" y="connsiteY34445"/>
              </a:cxn>
              <a:cxn ang="0">
                <a:pos x="connsiteX34446" y="connsiteY34446"/>
              </a:cxn>
              <a:cxn ang="0">
                <a:pos x="connsiteX34447" y="connsiteY34447"/>
              </a:cxn>
              <a:cxn ang="0">
                <a:pos x="connsiteX34448" y="connsiteY34448"/>
              </a:cxn>
              <a:cxn ang="0">
                <a:pos x="connsiteX34449" y="connsiteY34449"/>
              </a:cxn>
              <a:cxn ang="0">
                <a:pos x="connsiteX34450" y="connsiteY34450"/>
              </a:cxn>
              <a:cxn ang="0">
                <a:pos x="connsiteX34451" y="connsiteY34451"/>
              </a:cxn>
              <a:cxn ang="0">
                <a:pos x="connsiteX34452" y="connsiteY34452"/>
              </a:cxn>
              <a:cxn ang="0">
                <a:pos x="connsiteX34453" y="connsiteY34453"/>
              </a:cxn>
              <a:cxn ang="0">
                <a:pos x="connsiteX34454" y="connsiteY34454"/>
              </a:cxn>
              <a:cxn ang="0">
                <a:pos x="connsiteX34455" y="connsiteY34455"/>
              </a:cxn>
              <a:cxn ang="0">
                <a:pos x="connsiteX34456" y="connsiteY34456"/>
              </a:cxn>
              <a:cxn ang="0">
                <a:pos x="connsiteX34457" y="connsiteY34457"/>
              </a:cxn>
              <a:cxn ang="0">
                <a:pos x="connsiteX34458" y="connsiteY34458"/>
              </a:cxn>
              <a:cxn ang="0">
                <a:pos x="connsiteX34459" y="connsiteY34459"/>
              </a:cxn>
              <a:cxn ang="0">
                <a:pos x="connsiteX34460" y="connsiteY34460"/>
              </a:cxn>
              <a:cxn ang="0">
                <a:pos x="connsiteX34461" y="connsiteY34461"/>
              </a:cxn>
              <a:cxn ang="0">
                <a:pos x="connsiteX34462" y="connsiteY34462"/>
              </a:cxn>
              <a:cxn ang="0">
                <a:pos x="connsiteX34463" y="connsiteY34463"/>
              </a:cxn>
              <a:cxn ang="0">
                <a:pos x="connsiteX34464" y="connsiteY34464"/>
              </a:cxn>
              <a:cxn ang="0">
                <a:pos x="connsiteX34465" y="connsiteY34465"/>
              </a:cxn>
              <a:cxn ang="0">
                <a:pos x="connsiteX34466" y="connsiteY34466"/>
              </a:cxn>
              <a:cxn ang="0">
                <a:pos x="connsiteX34467" y="connsiteY34467"/>
              </a:cxn>
              <a:cxn ang="0">
                <a:pos x="connsiteX34468" y="connsiteY34468"/>
              </a:cxn>
              <a:cxn ang="0">
                <a:pos x="connsiteX34469" y="connsiteY34469"/>
              </a:cxn>
              <a:cxn ang="0">
                <a:pos x="connsiteX34470" y="connsiteY34470"/>
              </a:cxn>
              <a:cxn ang="0">
                <a:pos x="connsiteX34471" y="connsiteY34471"/>
              </a:cxn>
              <a:cxn ang="0">
                <a:pos x="connsiteX34472" y="connsiteY34472"/>
              </a:cxn>
              <a:cxn ang="0">
                <a:pos x="connsiteX34473" y="connsiteY34473"/>
              </a:cxn>
              <a:cxn ang="0">
                <a:pos x="connsiteX34474" y="connsiteY34474"/>
              </a:cxn>
              <a:cxn ang="0">
                <a:pos x="connsiteX34475" y="connsiteY34475"/>
              </a:cxn>
              <a:cxn ang="0">
                <a:pos x="connsiteX34476" y="connsiteY34476"/>
              </a:cxn>
              <a:cxn ang="0">
                <a:pos x="connsiteX34477" y="connsiteY34477"/>
              </a:cxn>
              <a:cxn ang="0">
                <a:pos x="connsiteX34478" y="connsiteY34478"/>
              </a:cxn>
              <a:cxn ang="0">
                <a:pos x="connsiteX34479" y="connsiteY34479"/>
              </a:cxn>
              <a:cxn ang="0">
                <a:pos x="connsiteX34480" y="connsiteY34480"/>
              </a:cxn>
              <a:cxn ang="0">
                <a:pos x="connsiteX34481" y="connsiteY34481"/>
              </a:cxn>
              <a:cxn ang="0">
                <a:pos x="connsiteX34482" y="connsiteY34482"/>
              </a:cxn>
              <a:cxn ang="0">
                <a:pos x="connsiteX34483" y="connsiteY34483"/>
              </a:cxn>
              <a:cxn ang="0">
                <a:pos x="connsiteX34484" y="connsiteY34484"/>
              </a:cxn>
              <a:cxn ang="0">
                <a:pos x="connsiteX34485" y="connsiteY34485"/>
              </a:cxn>
              <a:cxn ang="0">
                <a:pos x="connsiteX34486" y="connsiteY34486"/>
              </a:cxn>
              <a:cxn ang="0">
                <a:pos x="connsiteX34487" y="connsiteY34487"/>
              </a:cxn>
              <a:cxn ang="0">
                <a:pos x="connsiteX34488" y="connsiteY34488"/>
              </a:cxn>
              <a:cxn ang="0">
                <a:pos x="connsiteX34489" y="connsiteY34489"/>
              </a:cxn>
              <a:cxn ang="0">
                <a:pos x="connsiteX34490" y="connsiteY34490"/>
              </a:cxn>
              <a:cxn ang="0">
                <a:pos x="connsiteX34491" y="connsiteY34491"/>
              </a:cxn>
              <a:cxn ang="0">
                <a:pos x="connsiteX34492" y="connsiteY34492"/>
              </a:cxn>
              <a:cxn ang="0">
                <a:pos x="connsiteX34493" y="connsiteY34493"/>
              </a:cxn>
              <a:cxn ang="0">
                <a:pos x="connsiteX34494" y="connsiteY34494"/>
              </a:cxn>
              <a:cxn ang="0">
                <a:pos x="connsiteX34495" y="connsiteY34495"/>
              </a:cxn>
              <a:cxn ang="0">
                <a:pos x="connsiteX34496" y="connsiteY34496"/>
              </a:cxn>
              <a:cxn ang="0">
                <a:pos x="connsiteX34497" y="connsiteY34497"/>
              </a:cxn>
              <a:cxn ang="0">
                <a:pos x="connsiteX34498" y="connsiteY34498"/>
              </a:cxn>
              <a:cxn ang="0">
                <a:pos x="connsiteX34499" y="connsiteY34499"/>
              </a:cxn>
              <a:cxn ang="0">
                <a:pos x="connsiteX34500" y="connsiteY34500"/>
              </a:cxn>
              <a:cxn ang="0">
                <a:pos x="connsiteX34501" y="connsiteY34501"/>
              </a:cxn>
              <a:cxn ang="0">
                <a:pos x="connsiteX34502" y="connsiteY34502"/>
              </a:cxn>
              <a:cxn ang="0">
                <a:pos x="connsiteX34503" y="connsiteY34503"/>
              </a:cxn>
              <a:cxn ang="0">
                <a:pos x="connsiteX34504" y="connsiteY34504"/>
              </a:cxn>
              <a:cxn ang="0">
                <a:pos x="connsiteX34505" y="connsiteY34505"/>
              </a:cxn>
              <a:cxn ang="0">
                <a:pos x="connsiteX34506" y="connsiteY34506"/>
              </a:cxn>
              <a:cxn ang="0">
                <a:pos x="connsiteX34507" y="connsiteY34507"/>
              </a:cxn>
              <a:cxn ang="0">
                <a:pos x="connsiteX34508" y="connsiteY34508"/>
              </a:cxn>
              <a:cxn ang="0">
                <a:pos x="connsiteX34509" y="connsiteY34509"/>
              </a:cxn>
              <a:cxn ang="0">
                <a:pos x="connsiteX34510" y="connsiteY34510"/>
              </a:cxn>
              <a:cxn ang="0">
                <a:pos x="connsiteX34511" y="connsiteY34511"/>
              </a:cxn>
              <a:cxn ang="0">
                <a:pos x="connsiteX34512" y="connsiteY34512"/>
              </a:cxn>
              <a:cxn ang="0">
                <a:pos x="connsiteX34513" y="connsiteY34513"/>
              </a:cxn>
              <a:cxn ang="0">
                <a:pos x="connsiteX34514" y="connsiteY34514"/>
              </a:cxn>
              <a:cxn ang="0">
                <a:pos x="connsiteX34515" y="connsiteY34515"/>
              </a:cxn>
              <a:cxn ang="0">
                <a:pos x="connsiteX34516" y="connsiteY34516"/>
              </a:cxn>
              <a:cxn ang="0">
                <a:pos x="connsiteX34517" y="connsiteY34517"/>
              </a:cxn>
              <a:cxn ang="0">
                <a:pos x="connsiteX34518" y="connsiteY34518"/>
              </a:cxn>
              <a:cxn ang="0">
                <a:pos x="connsiteX34519" y="connsiteY34519"/>
              </a:cxn>
              <a:cxn ang="0">
                <a:pos x="connsiteX34520" y="connsiteY34520"/>
              </a:cxn>
              <a:cxn ang="0">
                <a:pos x="connsiteX34521" y="connsiteY34521"/>
              </a:cxn>
              <a:cxn ang="0">
                <a:pos x="connsiteX34522" y="connsiteY34522"/>
              </a:cxn>
              <a:cxn ang="0">
                <a:pos x="connsiteX34523" y="connsiteY34523"/>
              </a:cxn>
              <a:cxn ang="0">
                <a:pos x="connsiteX34524" y="connsiteY34524"/>
              </a:cxn>
              <a:cxn ang="0">
                <a:pos x="connsiteX34525" y="connsiteY34525"/>
              </a:cxn>
              <a:cxn ang="0">
                <a:pos x="connsiteX34526" y="connsiteY34526"/>
              </a:cxn>
              <a:cxn ang="0">
                <a:pos x="connsiteX34527" y="connsiteY34527"/>
              </a:cxn>
              <a:cxn ang="0">
                <a:pos x="connsiteX34528" y="connsiteY34528"/>
              </a:cxn>
              <a:cxn ang="0">
                <a:pos x="connsiteX34529" y="connsiteY34529"/>
              </a:cxn>
              <a:cxn ang="0">
                <a:pos x="connsiteX34530" y="connsiteY34530"/>
              </a:cxn>
              <a:cxn ang="0">
                <a:pos x="connsiteX34531" y="connsiteY34531"/>
              </a:cxn>
              <a:cxn ang="0">
                <a:pos x="connsiteX34532" y="connsiteY34532"/>
              </a:cxn>
              <a:cxn ang="0">
                <a:pos x="connsiteX34533" y="connsiteY34533"/>
              </a:cxn>
              <a:cxn ang="0">
                <a:pos x="connsiteX34534" y="connsiteY34534"/>
              </a:cxn>
              <a:cxn ang="0">
                <a:pos x="connsiteX34535" y="connsiteY34535"/>
              </a:cxn>
              <a:cxn ang="0">
                <a:pos x="connsiteX34536" y="connsiteY34536"/>
              </a:cxn>
              <a:cxn ang="0">
                <a:pos x="connsiteX34537" y="connsiteY34537"/>
              </a:cxn>
              <a:cxn ang="0">
                <a:pos x="connsiteX34538" y="connsiteY34538"/>
              </a:cxn>
              <a:cxn ang="0">
                <a:pos x="connsiteX34539" y="connsiteY34539"/>
              </a:cxn>
              <a:cxn ang="0">
                <a:pos x="connsiteX34540" y="connsiteY34540"/>
              </a:cxn>
              <a:cxn ang="0">
                <a:pos x="connsiteX34541" y="connsiteY34541"/>
              </a:cxn>
              <a:cxn ang="0">
                <a:pos x="connsiteX34542" y="connsiteY34542"/>
              </a:cxn>
              <a:cxn ang="0">
                <a:pos x="connsiteX34543" y="connsiteY34543"/>
              </a:cxn>
              <a:cxn ang="0">
                <a:pos x="connsiteX34544" y="connsiteY34544"/>
              </a:cxn>
              <a:cxn ang="0">
                <a:pos x="connsiteX34545" y="connsiteY34545"/>
              </a:cxn>
              <a:cxn ang="0">
                <a:pos x="connsiteX34546" y="connsiteY34546"/>
              </a:cxn>
              <a:cxn ang="0">
                <a:pos x="connsiteX34547" y="connsiteY34547"/>
              </a:cxn>
              <a:cxn ang="0">
                <a:pos x="connsiteX34548" y="connsiteY34548"/>
              </a:cxn>
              <a:cxn ang="0">
                <a:pos x="connsiteX34549" y="connsiteY34549"/>
              </a:cxn>
              <a:cxn ang="0">
                <a:pos x="connsiteX34550" y="connsiteY34550"/>
              </a:cxn>
              <a:cxn ang="0">
                <a:pos x="connsiteX34551" y="connsiteY34551"/>
              </a:cxn>
              <a:cxn ang="0">
                <a:pos x="connsiteX34552" y="connsiteY34552"/>
              </a:cxn>
              <a:cxn ang="0">
                <a:pos x="connsiteX34553" y="connsiteY34553"/>
              </a:cxn>
              <a:cxn ang="0">
                <a:pos x="connsiteX34554" y="connsiteY34554"/>
              </a:cxn>
              <a:cxn ang="0">
                <a:pos x="connsiteX34555" y="connsiteY34555"/>
              </a:cxn>
              <a:cxn ang="0">
                <a:pos x="connsiteX34556" y="connsiteY34556"/>
              </a:cxn>
              <a:cxn ang="0">
                <a:pos x="connsiteX34557" y="connsiteY34557"/>
              </a:cxn>
              <a:cxn ang="0">
                <a:pos x="connsiteX34558" y="connsiteY34558"/>
              </a:cxn>
              <a:cxn ang="0">
                <a:pos x="connsiteX34559" y="connsiteY34559"/>
              </a:cxn>
              <a:cxn ang="0">
                <a:pos x="connsiteX34560" y="connsiteY34560"/>
              </a:cxn>
              <a:cxn ang="0">
                <a:pos x="connsiteX34561" y="connsiteY34561"/>
              </a:cxn>
              <a:cxn ang="0">
                <a:pos x="connsiteX34562" y="connsiteY34562"/>
              </a:cxn>
              <a:cxn ang="0">
                <a:pos x="connsiteX34563" y="connsiteY34563"/>
              </a:cxn>
              <a:cxn ang="0">
                <a:pos x="connsiteX34564" y="connsiteY34564"/>
              </a:cxn>
              <a:cxn ang="0">
                <a:pos x="connsiteX34565" y="connsiteY34565"/>
              </a:cxn>
              <a:cxn ang="0">
                <a:pos x="connsiteX34566" y="connsiteY34566"/>
              </a:cxn>
              <a:cxn ang="0">
                <a:pos x="connsiteX34567" y="connsiteY34567"/>
              </a:cxn>
              <a:cxn ang="0">
                <a:pos x="connsiteX34568" y="connsiteY34568"/>
              </a:cxn>
              <a:cxn ang="0">
                <a:pos x="connsiteX34569" y="connsiteY34569"/>
              </a:cxn>
              <a:cxn ang="0">
                <a:pos x="connsiteX34570" y="connsiteY34570"/>
              </a:cxn>
              <a:cxn ang="0">
                <a:pos x="connsiteX34571" y="connsiteY34571"/>
              </a:cxn>
              <a:cxn ang="0">
                <a:pos x="connsiteX34572" y="connsiteY34572"/>
              </a:cxn>
              <a:cxn ang="0">
                <a:pos x="connsiteX34573" y="connsiteY34573"/>
              </a:cxn>
              <a:cxn ang="0">
                <a:pos x="connsiteX34574" y="connsiteY34574"/>
              </a:cxn>
              <a:cxn ang="0">
                <a:pos x="connsiteX34575" y="connsiteY34575"/>
              </a:cxn>
              <a:cxn ang="0">
                <a:pos x="connsiteX34576" y="connsiteY34576"/>
              </a:cxn>
              <a:cxn ang="0">
                <a:pos x="connsiteX34577" y="connsiteY34577"/>
              </a:cxn>
              <a:cxn ang="0">
                <a:pos x="connsiteX34578" y="connsiteY34578"/>
              </a:cxn>
              <a:cxn ang="0">
                <a:pos x="connsiteX34579" y="connsiteY34579"/>
              </a:cxn>
              <a:cxn ang="0">
                <a:pos x="connsiteX34580" y="connsiteY34580"/>
              </a:cxn>
              <a:cxn ang="0">
                <a:pos x="connsiteX34581" y="connsiteY34581"/>
              </a:cxn>
              <a:cxn ang="0">
                <a:pos x="connsiteX34582" y="connsiteY34582"/>
              </a:cxn>
              <a:cxn ang="0">
                <a:pos x="connsiteX34583" y="connsiteY34583"/>
              </a:cxn>
              <a:cxn ang="0">
                <a:pos x="connsiteX34584" y="connsiteY34584"/>
              </a:cxn>
              <a:cxn ang="0">
                <a:pos x="connsiteX34585" y="connsiteY34585"/>
              </a:cxn>
              <a:cxn ang="0">
                <a:pos x="connsiteX34586" y="connsiteY34586"/>
              </a:cxn>
              <a:cxn ang="0">
                <a:pos x="connsiteX34587" y="connsiteY34587"/>
              </a:cxn>
              <a:cxn ang="0">
                <a:pos x="connsiteX34588" y="connsiteY34588"/>
              </a:cxn>
              <a:cxn ang="0">
                <a:pos x="connsiteX34589" y="connsiteY34589"/>
              </a:cxn>
              <a:cxn ang="0">
                <a:pos x="connsiteX34590" y="connsiteY34590"/>
              </a:cxn>
              <a:cxn ang="0">
                <a:pos x="connsiteX34591" y="connsiteY34591"/>
              </a:cxn>
              <a:cxn ang="0">
                <a:pos x="connsiteX34592" y="connsiteY34592"/>
              </a:cxn>
              <a:cxn ang="0">
                <a:pos x="connsiteX34593" y="connsiteY34593"/>
              </a:cxn>
              <a:cxn ang="0">
                <a:pos x="connsiteX34594" y="connsiteY34594"/>
              </a:cxn>
              <a:cxn ang="0">
                <a:pos x="connsiteX34595" y="connsiteY34595"/>
              </a:cxn>
              <a:cxn ang="0">
                <a:pos x="connsiteX34596" y="connsiteY34596"/>
              </a:cxn>
              <a:cxn ang="0">
                <a:pos x="connsiteX34597" y="connsiteY34597"/>
              </a:cxn>
              <a:cxn ang="0">
                <a:pos x="connsiteX34598" y="connsiteY34598"/>
              </a:cxn>
              <a:cxn ang="0">
                <a:pos x="connsiteX34599" y="connsiteY34599"/>
              </a:cxn>
              <a:cxn ang="0">
                <a:pos x="connsiteX34600" y="connsiteY34600"/>
              </a:cxn>
              <a:cxn ang="0">
                <a:pos x="connsiteX34601" y="connsiteY34601"/>
              </a:cxn>
              <a:cxn ang="0">
                <a:pos x="connsiteX34602" y="connsiteY34602"/>
              </a:cxn>
              <a:cxn ang="0">
                <a:pos x="connsiteX34603" y="connsiteY34603"/>
              </a:cxn>
              <a:cxn ang="0">
                <a:pos x="connsiteX34604" y="connsiteY34604"/>
              </a:cxn>
              <a:cxn ang="0">
                <a:pos x="connsiteX34605" y="connsiteY34605"/>
              </a:cxn>
              <a:cxn ang="0">
                <a:pos x="connsiteX34606" y="connsiteY34606"/>
              </a:cxn>
              <a:cxn ang="0">
                <a:pos x="connsiteX34607" y="connsiteY34607"/>
              </a:cxn>
              <a:cxn ang="0">
                <a:pos x="connsiteX34608" y="connsiteY34608"/>
              </a:cxn>
              <a:cxn ang="0">
                <a:pos x="connsiteX34609" y="connsiteY34609"/>
              </a:cxn>
              <a:cxn ang="0">
                <a:pos x="connsiteX34610" y="connsiteY34610"/>
              </a:cxn>
              <a:cxn ang="0">
                <a:pos x="connsiteX34611" y="connsiteY34611"/>
              </a:cxn>
              <a:cxn ang="0">
                <a:pos x="connsiteX34612" y="connsiteY34612"/>
              </a:cxn>
              <a:cxn ang="0">
                <a:pos x="connsiteX34613" y="connsiteY34613"/>
              </a:cxn>
              <a:cxn ang="0">
                <a:pos x="connsiteX34614" y="connsiteY34614"/>
              </a:cxn>
              <a:cxn ang="0">
                <a:pos x="connsiteX34615" y="connsiteY34615"/>
              </a:cxn>
              <a:cxn ang="0">
                <a:pos x="connsiteX34616" y="connsiteY34616"/>
              </a:cxn>
              <a:cxn ang="0">
                <a:pos x="connsiteX34617" y="connsiteY34617"/>
              </a:cxn>
              <a:cxn ang="0">
                <a:pos x="connsiteX34618" y="connsiteY34618"/>
              </a:cxn>
              <a:cxn ang="0">
                <a:pos x="connsiteX34619" y="connsiteY34619"/>
              </a:cxn>
              <a:cxn ang="0">
                <a:pos x="connsiteX34620" y="connsiteY34620"/>
              </a:cxn>
              <a:cxn ang="0">
                <a:pos x="connsiteX34621" y="connsiteY34621"/>
              </a:cxn>
              <a:cxn ang="0">
                <a:pos x="connsiteX34622" y="connsiteY34622"/>
              </a:cxn>
              <a:cxn ang="0">
                <a:pos x="connsiteX34623" y="connsiteY34623"/>
              </a:cxn>
              <a:cxn ang="0">
                <a:pos x="connsiteX34624" y="connsiteY34624"/>
              </a:cxn>
              <a:cxn ang="0">
                <a:pos x="connsiteX34625" y="connsiteY34625"/>
              </a:cxn>
              <a:cxn ang="0">
                <a:pos x="connsiteX34626" y="connsiteY34626"/>
              </a:cxn>
              <a:cxn ang="0">
                <a:pos x="connsiteX34627" y="connsiteY34627"/>
              </a:cxn>
              <a:cxn ang="0">
                <a:pos x="connsiteX34628" y="connsiteY34628"/>
              </a:cxn>
              <a:cxn ang="0">
                <a:pos x="connsiteX34629" y="connsiteY34629"/>
              </a:cxn>
              <a:cxn ang="0">
                <a:pos x="connsiteX34630" y="connsiteY34630"/>
              </a:cxn>
              <a:cxn ang="0">
                <a:pos x="connsiteX34631" y="connsiteY34631"/>
              </a:cxn>
              <a:cxn ang="0">
                <a:pos x="connsiteX34632" y="connsiteY34632"/>
              </a:cxn>
              <a:cxn ang="0">
                <a:pos x="connsiteX34633" y="connsiteY34633"/>
              </a:cxn>
              <a:cxn ang="0">
                <a:pos x="connsiteX34634" y="connsiteY34634"/>
              </a:cxn>
              <a:cxn ang="0">
                <a:pos x="connsiteX34635" y="connsiteY34635"/>
              </a:cxn>
              <a:cxn ang="0">
                <a:pos x="connsiteX34636" y="connsiteY34636"/>
              </a:cxn>
              <a:cxn ang="0">
                <a:pos x="connsiteX34637" y="connsiteY34637"/>
              </a:cxn>
              <a:cxn ang="0">
                <a:pos x="connsiteX34638" y="connsiteY34638"/>
              </a:cxn>
              <a:cxn ang="0">
                <a:pos x="connsiteX34639" y="connsiteY34639"/>
              </a:cxn>
              <a:cxn ang="0">
                <a:pos x="connsiteX34640" y="connsiteY34640"/>
              </a:cxn>
              <a:cxn ang="0">
                <a:pos x="connsiteX34641" y="connsiteY34641"/>
              </a:cxn>
              <a:cxn ang="0">
                <a:pos x="connsiteX34642" y="connsiteY34642"/>
              </a:cxn>
              <a:cxn ang="0">
                <a:pos x="connsiteX34643" y="connsiteY34643"/>
              </a:cxn>
              <a:cxn ang="0">
                <a:pos x="connsiteX34644" y="connsiteY34644"/>
              </a:cxn>
              <a:cxn ang="0">
                <a:pos x="connsiteX34645" y="connsiteY34645"/>
              </a:cxn>
              <a:cxn ang="0">
                <a:pos x="connsiteX34646" y="connsiteY34646"/>
              </a:cxn>
              <a:cxn ang="0">
                <a:pos x="connsiteX34647" y="connsiteY34647"/>
              </a:cxn>
              <a:cxn ang="0">
                <a:pos x="connsiteX34648" y="connsiteY34648"/>
              </a:cxn>
              <a:cxn ang="0">
                <a:pos x="connsiteX34649" y="connsiteY34649"/>
              </a:cxn>
              <a:cxn ang="0">
                <a:pos x="connsiteX34650" y="connsiteY34650"/>
              </a:cxn>
              <a:cxn ang="0">
                <a:pos x="connsiteX34651" y="connsiteY34651"/>
              </a:cxn>
              <a:cxn ang="0">
                <a:pos x="connsiteX34652" y="connsiteY34652"/>
              </a:cxn>
              <a:cxn ang="0">
                <a:pos x="connsiteX34653" y="connsiteY34653"/>
              </a:cxn>
              <a:cxn ang="0">
                <a:pos x="connsiteX34654" y="connsiteY34654"/>
              </a:cxn>
              <a:cxn ang="0">
                <a:pos x="connsiteX34655" y="connsiteY34655"/>
              </a:cxn>
              <a:cxn ang="0">
                <a:pos x="connsiteX34656" y="connsiteY34656"/>
              </a:cxn>
              <a:cxn ang="0">
                <a:pos x="connsiteX34657" y="connsiteY34657"/>
              </a:cxn>
              <a:cxn ang="0">
                <a:pos x="connsiteX34658" y="connsiteY34658"/>
              </a:cxn>
              <a:cxn ang="0">
                <a:pos x="connsiteX34659" y="connsiteY34659"/>
              </a:cxn>
              <a:cxn ang="0">
                <a:pos x="connsiteX34660" y="connsiteY34660"/>
              </a:cxn>
              <a:cxn ang="0">
                <a:pos x="connsiteX34661" y="connsiteY34661"/>
              </a:cxn>
              <a:cxn ang="0">
                <a:pos x="connsiteX34662" y="connsiteY34662"/>
              </a:cxn>
              <a:cxn ang="0">
                <a:pos x="connsiteX34663" y="connsiteY34663"/>
              </a:cxn>
              <a:cxn ang="0">
                <a:pos x="connsiteX34664" y="connsiteY34664"/>
              </a:cxn>
              <a:cxn ang="0">
                <a:pos x="connsiteX34665" y="connsiteY34665"/>
              </a:cxn>
              <a:cxn ang="0">
                <a:pos x="connsiteX34666" y="connsiteY34666"/>
              </a:cxn>
              <a:cxn ang="0">
                <a:pos x="connsiteX34667" y="connsiteY34667"/>
              </a:cxn>
              <a:cxn ang="0">
                <a:pos x="connsiteX34668" y="connsiteY34668"/>
              </a:cxn>
              <a:cxn ang="0">
                <a:pos x="connsiteX34669" y="connsiteY34669"/>
              </a:cxn>
              <a:cxn ang="0">
                <a:pos x="connsiteX34670" y="connsiteY34670"/>
              </a:cxn>
              <a:cxn ang="0">
                <a:pos x="connsiteX34671" y="connsiteY34671"/>
              </a:cxn>
              <a:cxn ang="0">
                <a:pos x="connsiteX34672" y="connsiteY34672"/>
              </a:cxn>
              <a:cxn ang="0">
                <a:pos x="connsiteX34673" y="connsiteY34673"/>
              </a:cxn>
              <a:cxn ang="0">
                <a:pos x="connsiteX34674" y="connsiteY34674"/>
              </a:cxn>
              <a:cxn ang="0">
                <a:pos x="connsiteX34675" y="connsiteY34675"/>
              </a:cxn>
              <a:cxn ang="0">
                <a:pos x="connsiteX34676" y="connsiteY34676"/>
              </a:cxn>
              <a:cxn ang="0">
                <a:pos x="connsiteX34677" y="connsiteY34677"/>
              </a:cxn>
              <a:cxn ang="0">
                <a:pos x="connsiteX34678" y="connsiteY34678"/>
              </a:cxn>
              <a:cxn ang="0">
                <a:pos x="connsiteX34679" y="connsiteY34679"/>
              </a:cxn>
              <a:cxn ang="0">
                <a:pos x="connsiteX34680" y="connsiteY34680"/>
              </a:cxn>
              <a:cxn ang="0">
                <a:pos x="connsiteX34681" y="connsiteY34681"/>
              </a:cxn>
              <a:cxn ang="0">
                <a:pos x="connsiteX34682" y="connsiteY34682"/>
              </a:cxn>
              <a:cxn ang="0">
                <a:pos x="connsiteX34683" y="connsiteY34683"/>
              </a:cxn>
              <a:cxn ang="0">
                <a:pos x="connsiteX34684" y="connsiteY34684"/>
              </a:cxn>
              <a:cxn ang="0">
                <a:pos x="connsiteX34685" y="connsiteY34685"/>
              </a:cxn>
              <a:cxn ang="0">
                <a:pos x="connsiteX34686" y="connsiteY34686"/>
              </a:cxn>
              <a:cxn ang="0">
                <a:pos x="connsiteX34687" y="connsiteY34687"/>
              </a:cxn>
              <a:cxn ang="0">
                <a:pos x="connsiteX34688" y="connsiteY34688"/>
              </a:cxn>
              <a:cxn ang="0">
                <a:pos x="connsiteX34689" y="connsiteY34689"/>
              </a:cxn>
              <a:cxn ang="0">
                <a:pos x="connsiteX34690" y="connsiteY34690"/>
              </a:cxn>
              <a:cxn ang="0">
                <a:pos x="connsiteX34691" y="connsiteY34691"/>
              </a:cxn>
              <a:cxn ang="0">
                <a:pos x="connsiteX34692" y="connsiteY34692"/>
              </a:cxn>
              <a:cxn ang="0">
                <a:pos x="connsiteX34693" y="connsiteY34693"/>
              </a:cxn>
              <a:cxn ang="0">
                <a:pos x="connsiteX34694" y="connsiteY34694"/>
              </a:cxn>
              <a:cxn ang="0">
                <a:pos x="connsiteX34695" y="connsiteY34695"/>
              </a:cxn>
              <a:cxn ang="0">
                <a:pos x="connsiteX34696" y="connsiteY34696"/>
              </a:cxn>
              <a:cxn ang="0">
                <a:pos x="connsiteX34697" y="connsiteY34697"/>
              </a:cxn>
              <a:cxn ang="0">
                <a:pos x="connsiteX34698" y="connsiteY34698"/>
              </a:cxn>
              <a:cxn ang="0">
                <a:pos x="connsiteX34699" y="connsiteY34699"/>
              </a:cxn>
              <a:cxn ang="0">
                <a:pos x="connsiteX34700" y="connsiteY34700"/>
              </a:cxn>
              <a:cxn ang="0">
                <a:pos x="connsiteX34701" y="connsiteY34701"/>
              </a:cxn>
              <a:cxn ang="0">
                <a:pos x="connsiteX34702" y="connsiteY34702"/>
              </a:cxn>
              <a:cxn ang="0">
                <a:pos x="connsiteX34703" y="connsiteY34703"/>
              </a:cxn>
              <a:cxn ang="0">
                <a:pos x="connsiteX34704" y="connsiteY34704"/>
              </a:cxn>
              <a:cxn ang="0">
                <a:pos x="connsiteX34705" y="connsiteY34705"/>
              </a:cxn>
              <a:cxn ang="0">
                <a:pos x="connsiteX34706" y="connsiteY34706"/>
              </a:cxn>
              <a:cxn ang="0">
                <a:pos x="connsiteX34707" y="connsiteY34707"/>
              </a:cxn>
              <a:cxn ang="0">
                <a:pos x="connsiteX34708" y="connsiteY34708"/>
              </a:cxn>
              <a:cxn ang="0">
                <a:pos x="connsiteX34709" y="connsiteY34709"/>
              </a:cxn>
              <a:cxn ang="0">
                <a:pos x="connsiteX34710" y="connsiteY34710"/>
              </a:cxn>
              <a:cxn ang="0">
                <a:pos x="connsiteX34711" y="connsiteY34711"/>
              </a:cxn>
              <a:cxn ang="0">
                <a:pos x="connsiteX34712" y="connsiteY34712"/>
              </a:cxn>
              <a:cxn ang="0">
                <a:pos x="connsiteX34713" y="connsiteY34713"/>
              </a:cxn>
              <a:cxn ang="0">
                <a:pos x="connsiteX34714" y="connsiteY34714"/>
              </a:cxn>
              <a:cxn ang="0">
                <a:pos x="connsiteX34715" y="connsiteY34715"/>
              </a:cxn>
              <a:cxn ang="0">
                <a:pos x="connsiteX34716" y="connsiteY34716"/>
              </a:cxn>
              <a:cxn ang="0">
                <a:pos x="connsiteX34717" y="connsiteY34717"/>
              </a:cxn>
              <a:cxn ang="0">
                <a:pos x="connsiteX34718" y="connsiteY34718"/>
              </a:cxn>
              <a:cxn ang="0">
                <a:pos x="connsiteX34719" y="connsiteY34719"/>
              </a:cxn>
              <a:cxn ang="0">
                <a:pos x="connsiteX34720" y="connsiteY34720"/>
              </a:cxn>
              <a:cxn ang="0">
                <a:pos x="connsiteX34721" y="connsiteY34721"/>
              </a:cxn>
              <a:cxn ang="0">
                <a:pos x="connsiteX34722" y="connsiteY34722"/>
              </a:cxn>
              <a:cxn ang="0">
                <a:pos x="connsiteX34723" y="connsiteY34723"/>
              </a:cxn>
              <a:cxn ang="0">
                <a:pos x="connsiteX34724" y="connsiteY34724"/>
              </a:cxn>
              <a:cxn ang="0">
                <a:pos x="connsiteX34725" y="connsiteY34725"/>
              </a:cxn>
              <a:cxn ang="0">
                <a:pos x="connsiteX34726" y="connsiteY34726"/>
              </a:cxn>
              <a:cxn ang="0">
                <a:pos x="connsiteX34727" y="connsiteY34727"/>
              </a:cxn>
              <a:cxn ang="0">
                <a:pos x="connsiteX34728" y="connsiteY34728"/>
              </a:cxn>
              <a:cxn ang="0">
                <a:pos x="connsiteX34729" y="connsiteY34729"/>
              </a:cxn>
              <a:cxn ang="0">
                <a:pos x="connsiteX34730" y="connsiteY34730"/>
              </a:cxn>
              <a:cxn ang="0">
                <a:pos x="connsiteX34731" y="connsiteY34731"/>
              </a:cxn>
              <a:cxn ang="0">
                <a:pos x="connsiteX34732" y="connsiteY34732"/>
              </a:cxn>
              <a:cxn ang="0">
                <a:pos x="connsiteX34733" y="connsiteY34733"/>
              </a:cxn>
              <a:cxn ang="0">
                <a:pos x="connsiteX34734" y="connsiteY34734"/>
              </a:cxn>
              <a:cxn ang="0">
                <a:pos x="connsiteX34735" y="connsiteY34735"/>
              </a:cxn>
              <a:cxn ang="0">
                <a:pos x="connsiteX34736" y="connsiteY34736"/>
              </a:cxn>
              <a:cxn ang="0">
                <a:pos x="connsiteX34737" y="connsiteY34737"/>
              </a:cxn>
              <a:cxn ang="0">
                <a:pos x="connsiteX34738" y="connsiteY34738"/>
              </a:cxn>
              <a:cxn ang="0">
                <a:pos x="connsiteX34739" y="connsiteY34739"/>
              </a:cxn>
              <a:cxn ang="0">
                <a:pos x="connsiteX34740" y="connsiteY34740"/>
              </a:cxn>
              <a:cxn ang="0">
                <a:pos x="connsiteX34741" y="connsiteY34741"/>
              </a:cxn>
              <a:cxn ang="0">
                <a:pos x="connsiteX34742" y="connsiteY34742"/>
              </a:cxn>
              <a:cxn ang="0">
                <a:pos x="connsiteX34743" y="connsiteY34743"/>
              </a:cxn>
              <a:cxn ang="0">
                <a:pos x="connsiteX34744" y="connsiteY34744"/>
              </a:cxn>
              <a:cxn ang="0">
                <a:pos x="connsiteX34745" y="connsiteY34745"/>
              </a:cxn>
              <a:cxn ang="0">
                <a:pos x="connsiteX34746" y="connsiteY34746"/>
              </a:cxn>
              <a:cxn ang="0">
                <a:pos x="connsiteX34747" y="connsiteY34747"/>
              </a:cxn>
              <a:cxn ang="0">
                <a:pos x="connsiteX34748" y="connsiteY34748"/>
              </a:cxn>
              <a:cxn ang="0">
                <a:pos x="connsiteX34749" y="connsiteY34749"/>
              </a:cxn>
              <a:cxn ang="0">
                <a:pos x="connsiteX34750" y="connsiteY34750"/>
              </a:cxn>
              <a:cxn ang="0">
                <a:pos x="connsiteX34751" y="connsiteY34751"/>
              </a:cxn>
              <a:cxn ang="0">
                <a:pos x="connsiteX34752" y="connsiteY34752"/>
              </a:cxn>
              <a:cxn ang="0">
                <a:pos x="connsiteX34753" y="connsiteY34753"/>
              </a:cxn>
              <a:cxn ang="0">
                <a:pos x="connsiteX34754" y="connsiteY34754"/>
              </a:cxn>
              <a:cxn ang="0">
                <a:pos x="connsiteX34755" y="connsiteY34755"/>
              </a:cxn>
              <a:cxn ang="0">
                <a:pos x="connsiteX34756" y="connsiteY34756"/>
              </a:cxn>
              <a:cxn ang="0">
                <a:pos x="connsiteX34757" y="connsiteY34757"/>
              </a:cxn>
              <a:cxn ang="0">
                <a:pos x="connsiteX34758" y="connsiteY34758"/>
              </a:cxn>
              <a:cxn ang="0">
                <a:pos x="connsiteX34759" y="connsiteY34759"/>
              </a:cxn>
              <a:cxn ang="0">
                <a:pos x="connsiteX34760" y="connsiteY34760"/>
              </a:cxn>
              <a:cxn ang="0">
                <a:pos x="connsiteX34761" y="connsiteY34761"/>
              </a:cxn>
              <a:cxn ang="0">
                <a:pos x="connsiteX34762" y="connsiteY34762"/>
              </a:cxn>
              <a:cxn ang="0">
                <a:pos x="connsiteX34763" y="connsiteY34763"/>
              </a:cxn>
              <a:cxn ang="0">
                <a:pos x="connsiteX34764" y="connsiteY34764"/>
              </a:cxn>
              <a:cxn ang="0">
                <a:pos x="connsiteX34765" y="connsiteY34765"/>
              </a:cxn>
              <a:cxn ang="0">
                <a:pos x="connsiteX34766" y="connsiteY34766"/>
              </a:cxn>
              <a:cxn ang="0">
                <a:pos x="connsiteX34767" y="connsiteY34767"/>
              </a:cxn>
              <a:cxn ang="0">
                <a:pos x="connsiteX34768" y="connsiteY34768"/>
              </a:cxn>
              <a:cxn ang="0">
                <a:pos x="connsiteX34769" y="connsiteY34769"/>
              </a:cxn>
              <a:cxn ang="0">
                <a:pos x="connsiteX34770" y="connsiteY34770"/>
              </a:cxn>
              <a:cxn ang="0">
                <a:pos x="connsiteX34771" y="connsiteY34771"/>
              </a:cxn>
              <a:cxn ang="0">
                <a:pos x="connsiteX34772" y="connsiteY34772"/>
              </a:cxn>
              <a:cxn ang="0">
                <a:pos x="connsiteX34773" y="connsiteY34773"/>
              </a:cxn>
              <a:cxn ang="0">
                <a:pos x="connsiteX34774" y="connsiteY34774"/>
              </a:cxn>
              <a:cxn ang="0">
                <a:pos x="connsiteX34775" y="connsiteY34775"/>
              </a:cxn>
              <a:cxn ang="0">
                <a:pos x="connsiteX34776" y="connsiteY34776"/>
              </a:cxn>
              <a:cxn ang="0">
                <a:pos x="connsiteX34777" y="connsiteY34777"/>
              </a:cxn>
              <a:cxn ang="0">
                <a:pos x="connsiteX34778" y="connsiteY34778"/>
              </a:cxn>
              <a:cxn ang="0">
                <a:pos x="connsiteX34779" y="connsiteY34779"/>
              </a:cxn>
              <a:cxn ang="0">
                <a:pos x="connsiteX34780" y="connsiteY34780"/>
              </a:cxn>
              <a:cxn ang="0">
                <a:pos x="connsiteX34781" y="connsiteY34781"/>
              </a:cxn>
              <a:cxn ang="0">
                <a:pos x="connsiteX34782" y="connsiteY34782"/>
              </a:cxn>
              <a:cxn ang="0">
                <a:pos x="connsiteX34783" y="connsiteY34783"/>
              </a:cxn>
              <a:cxn ang="0">
                <a:pos x="connsiteX34784" y="connsiteY34784"/>
              </a:cxn>
              <a:cxn ang="0">
                <a:pos x="connsiteX34785" y="connsiteY34785"/>
              </a:cxn>
              <a:cxn ang="0">
                <a:pos x="connsiteX34786" y="connsiteY34786"/>
              </a:cxn>
              <a:cxn ang="0">
                <a:pos x="connsiteX34787" y="connsiteY34787"/>
              </a:cxn>
              <a:cxn ang="0">
                <a:pos x="connsiteX34788" y="connsiteY34788"/>
              </a:cxn>
              <a:cxn ang="0">
                <a:pos x="connsiteX34789" y="connsiteY34789"/>
              </a:cxn>
              <a:cxn ang="0">
                <a:pos x="connsiteX34790" y="connsiteY34790"/>
              </a:cxn>
              <a:cxn ang="0">
                <a:pos x="connsiteX34791" y="connsiteY34791"/>
              </a:cxn>
              <a:cxn ang="0">
                <a:pos x="connsiteX34792" y="connsiteY34792"/>
              </a:cxn>
              <a:cxn ang="0">
                <a:pos x="connsiteX34793" y="connsiteY34793"/>
              </a:cxn>
              <a:cxn ang="0">
                <a:pos x="connsiteX34794" y="connsiteY34794"/>
              </a:cxn>
              <a:cxn ang="0">
                <a:pos x="connsiteX34795" y="connsiteY34795"/>
              </a:cxn>
              <a:cxn ang="0">
                <a:pos x="connsiteX34796" y="connsiteY34796"/>
              </a:cxn>
              <a:cxn ang="0">
                <a:pos x="connsiteX34797" y="connsiteY34797"/>
              </a:cxn>
              <a:cxn ang="0">
                <a:pos x="connsiteX34798" y="connsiteY34798"/>
              </a:cxn>
              <a:cxn ang="0">
                <a:pos x="connsiteX34799" y="connsiteY34799"/>
              </a:cxn>
              <a:cxn ang="0">
                <a:pos x="connsiteX34800" y="connsiteY34800"/>
              </a:cxn>
              <a:cxn ang="0">
                <a:pos x="connsiteX34801" y="connsiteY34801"/>
              </a:cxn>
              <a:cxn ang="0">
                <a:pos x="connsiteX34802" y="connsiteY34802"/>
              </a:cxn>
              <a:cxn ang="0">
                <a:pos x="connsiteX34803" y="connsiteY34803"/>
              </a:cxn>
              <a:cxn ang="0">
                <a:pos x="connsiteX34804" y="connsiteY34804"/>
              </a:cxn>
              <a:cxn ang="0">
                <a:pos x="connsiteX34805" y="connsiteY34805"/>
              </a:cxn>
              <a:cxn ang="0">
                <a:pos x="connsiteX34806" y="connsiteY34806"/>
              </a:cxn>
              <a:cxn ang="0">
                <a:pos x="connsiteX34807" y="connsiteY34807"/>
              </a:cxn>
              <a:cxn ang="0">
                <a:pos x="connsiteX34808" y="connsiteY34808"/>
              </a:cxn>
              <a:cxn ang="0">
                <a:pos x="connsiteX34809" y="connsiteY34809"/>
              </a:cxn>
              <a:cxn ang="0">
                <a:pos x="connsiteX34810" y="connsiteY34810"/>
              </a:cxn>
              <a:cxn ang="0">
                <a:pos x="connsiteX34811" y="connsiteY34811"/>
              </a:cxn>
              <a:cxn ang="0">
                <a:pos x="connsiteX34812" y="connsiteY34812"/>
              </a:cxn>
              <a:cxn ang="0">
                <a:pos x="connsiteX34813" y="connsiteY34813"/>
              </a:cxn>
              <a:cxn ang="0">
                <a:pos x="connsiteX34814" y="connsiteY34814"/>
              </a:cxn>
              <a:cxn ang="0">
                <a:pos x="connsiteX34815" y="connsiteY34815"/>
              </a:cxn>
              <a:cxn ang="0">
                <a:pos x="connsiteX34816" y="connsiteY34816"/>
              </a:cxn>
              <a:cxn ang="0">
                <a:pos x="connsiteX34817" y="connsiteY34817"/>
              </a:cxn>
              <a:cxn ang="0">
                <a:pos x="connsiteX34818" y="connsiteY34818"/>
              </a:cxn>
              <a:cxn ang="0">
                <a:pos x="connsiteX34819" y="connsiteY34819"/>
              </a:cxn>
              <a:cxn ang="0">
                <a:pos x="connsiteX34820" y="connsiteY34820"/>
              </a:cxn>
              <a:cxn ang="0">
                <a:pos x="connsiteX34821" y="connsiteY34821"/>
              </a:cxn>
              <a:cxn ang="0">
                <a:pos x="connsiteX34822" y="connsiteY34822"/>
              </a:cxn>
              <a:cxn ang="0">
                <a:pos x="connsiteX34823" y="connsiteY34823"/>
              </a:cxn>
              <a:cxn ang="0">
                <a:pos x="connsiteX34824" y="connsiteY34824"/>
              </a:cxn>
              <a:cxn ang="0">
                <a:pos x="connsiteX34825" y="connsiteY34825"/>
              </a:cxn>
              <a:cxn ang="0">
                <a:pos x="connsiteX34826" y="connsiteY34826"/>
              </a:cxn>
              <a:cxn ang="0">
                <a:pos x="connsiteX34827" y="connsiteY34827"/>
              </a:cxn>
              <a:cxn ang="0">
                <a:pos x="connsiteX34828" y="connsiteY34828"/>
              </a:cxn>
              <a:cxn ang="0">
                <a:pos x="connsiteX34829" y="connsiteY34829"/>
              </a:cxn>
              <a:cxn ang="0">
                <a:pos x="connsiteX34830" y="connsiteY34830"/>
              </a:cxn>
              <a:cxn ang="0">
                <a:pos x="connsiteX34831" y="connsiteY34831"/>
              </a:cxn>
              <a:cxn ang="0">
                <a:pos x="connsiteX34832" y="connsiteY34832"/>
              </a:cxn>
              <a:cxn ang="0">
                <a:pos x="connsiteX34833" y="connsiteY34833"/>
              </a:cxn>
              <a:cxn ang="0">
                <a:pos x="connsiteX34834" y="connsiteY34834"/>
              </a:cxn>
              <a:cxn ang="0">
                <a:pos x="connsiteX34835" y="connsiteY34835"/>
              </a:cxn>
              <a:cxn ang="0">
                <a:pos x="connsiteX34836" y="connsiteY34836"/>
              </a:cxn>
              <a:cxn ang="0">
                <a:pos x="connsiteX34837" y="connsiteY34837"/>
              </a:cxn>
              <a:cxn ang="0">
                <a:pos x="connsiteX34838" y="connsiteY34838"/>
              </a:cxn>
              <a:cxn ang="0">
                <a:pos x="connsiteX34839" y="connsiteY34839"/>
              </a:cxn>
              <a:cxn ang="0">
                <a:pos x="connsiteX34840" y="connsiteY34840"/>
              </a:cxn>
              <a:cxn ang="0">
                <a:pos x="connsiteX34841" y="connsiteY34841"/>
              </a:cxn>
              <a:cxn ang="0">
                <a:pos x="connsiteX34842" y="connsiteY34842"/>
              </a:cxn>
              <a:cxn ang="0">
                <a:pos x="connsiteX34843" y="connsiteY34843"/>
              </a:cxn>
              <a:cxn ang="0">
                <a:pos x="connsiteX34844" y="connsiteY34844"/>
              </a:cxn>
              <a:cxn ang="0">
                <a:pos x="connsiteX34845" y="connsiteY34845"/>
              </a:cxn>
              <a:cxn ang="0">
                <a:pos x="connsiteX34846" y="connsiteY34846"/>
              </a:cxn>
              <a:cxn ang="0">
                <a:pos x="connsiteX34847" y="connsiteY34847"/>
              </a:cxn>
              <a:cxn ang="0">
                <a:pos x="connsiteX34848" y="connsiteY34848"/>
              </a:cxn>
              <a:cxn ang="0">
                <a:pos x="connsiteX34849" y="connsiteY34849"/>
              </a:cxn>
              <a:cxn ang="0">
                <a:pos x="connsiteX34850" y="connsiteY34850"/>
              </a:cxn>
              <a:cxn ang="0">
                <a:pos x="connsiteX34851" y="connsiteY34851"/>
              </a:cxn>
              <a:cxn ang="0">
                <a:pos x="connsiteX34852" y="connsiteY34852"/>
              </a:cxn>
              <a:cxn ang="0">
                <a:pos x="connsiteX34853" y="connsiteY34853"/>
              </a:cxn>
              <a:cxn ang="0">
                <a:pos x="connsiteX34854" y="connsiteY34854"/>
              </a:cxn>
              <a:cxn ang="0">
                <a:pos x="connsiteX34855" y="connsiteY34855"/>
              </a:cxn>
              <a:cxn ang="0">
                <a:pos x="connsiteX34856" y="connsiteY34856"/>
              </a:cxn>
              <a:cxn ang="0">
                <a:pos x="connsiteX34857" y="connsiteY34857"/>
              </a:cxn>
              <a:cxn ang="0">
                <a:pos x="connsiteX34858" y="connsiteY34858"/>
              </a:cxn>
              <a:cxn ang="0">
                <a:pos x="connsiteX34859" y="connsiteY34859"/>
              </a:cxn>
              <a:cxn ang="0">
                <a:pos x="connsiteX34860" y="connsiteY34860"/>
              </a:cxn>
              <a:cxn ang="0">
                <a:pos x="connsiteX34861" y="connsiteY34861"/>
              </a:cxn>
              <a:cxn ang="0">
                <a:pos x="connsiteX34862" y="connsiteY34862"/>
              </a:cxn>
              <a:cxn ang="0">
                <a:pos x="connsiteX34863" y="connsiteY34863"/>
              </a:cxn>
              <a:cxn ang="0">
                <a:pos x="connsiteX34864" y="connsiteY34864"/>
              </a:cxn>
              <a:cxn ang="0">
                <a:pos x="connsiteX34865" y="connsiteY34865"/>
              </a:cxn>
              <a:cxn ang="0">
                <a:pos x="connsiteX34866" y="connsiteY34866"/>
              </a:cxn>
              <a:cxn ang="0">
                <a:pos x="connsiteX34867" y="connsiteY34867"/>
              </a:cxn>
              <a:cxn ang="0">
                <a:pos x="connsiteX34868" y="connsiteY34868"/>
              </a:cxn>
              <a:cxn ang="0">
                <a:pos x="connsiteX34869" y="connsiteY34869"/>
              </a:cxn>
              <a:cxn ang="0">
                <a:pos x="connsiteX34870" y="connsiteY34870"/>
              </a:cxn>
              <a:cxn ang="0">
                <a:pos x="connsiteX34871" y="connsiteY34871"/>
              </a:cxn>
              <a:cxn ang="0">
                <a:pos x="connsiteX34872" y="connsiteY34872"/>
              </a:cxn>
              <a:cxn ang="0">
                <a:pos x="connsiteX34873" y="connsiteY34873"/>
              </a:cxn>
              <a:cxn ang="0">
                <a:pos x="connsiteX34874" y="connsiteY34874"/>
              </a:cxn>
              <a:cxn ang="0">
                <a:pos x="connsiteX34875" y="connsiteY34875"/>
              </a:cxn>
              <a:cxn ang="0">
                <a:pos x="connsiteX34876" y="connsiteY34876"/>
              </a:cxn>
              <a:cxn ang="0">
                <a:pos x="connsiteX34877" y="connsiteY34877"/>
              </a:cxn>
              <a:cxn ang="0">
                <a:pos x="connsiteX34878" y="connsiteY34878"/>
              </a:cxn>
              <a:cxn ang="0">
                <a:pos x="connsiteX34879" y="connsiteY34879"/>
              </a:cxn>
              <a:cxn ang="0">
                <a:pos x="connsiteX34880" y="connsiteY34880"/>
              </a:cxn>
              <a:cxn ang="0">
                <a:pos x="connsiteX34881" y="connsiteY34881"/>
              </a:cxn>
              <a:cxn ang="0">
                <a:pos x="connsiteX34882" y="connsiteY34882"/>
              </a:cxn>
              <a:cxn ang="0">
                <a:pos x="connsiteX34883" y="connsiteY34883"/>
              </a:cxn>
              <a:cxn ang="0">
                <a:pos x="connsiteX34884" y="connsiteY34884"/>
              </a:cxn>
              <a:cxn ang="0">
                <a:pos x="connsiteX34885" y="connsiteY34885"/>
              </a:cxn>
              <a:cxn ang="0">
                <a:pos x="connsiteX34886" y="connsiteY34886"/>
              </a:cxn>
              <a:cxn ang="0">
                <a:pos x="connsiteX34887" y="connsiteY34887"/>
              </a:cxn>
              <a:cxn ang="0">
                <a:pos x="connsiteX34888" y="connsiteY34888"/>
              </a:cxn>
              <a:cxn ang="0">
                <a:pos x="connsiteX34889" y="connsiteY34889"/>
              </a:cxn>
              <a:cxn ang="0">
                <a:pos x="connsiteX34890" y="connsiteY34890"/>
              </a:cxn>
              <a:cxn ang="0">
                <a:pos x="connsiteX34891" y="connsiteY34891"/>
              </a:cxn>
              <a:cxn ang="0">
                <a:pos x="connsiteX34892" y="connsiteY34892"/>
              </a:cxn>
              <a:cxn ang="0">
                <a:pos x="connsiteX34893" y="connsiteY34893"/>
              </a:cxn>
              <a:cxn ang="0">
                <a:pos x="connsiteX34894" y="connsiteY34894"/>
              </a:cxn>
              <a:cxn ang="0">
                <a:pos x="connsiteX34895" y="connsiteY34895"/>
              </a:cxn>
              <a:cxn ang="0">
                <a:pos x="connsiteX34896" y="connsiteY34896"/>
              </a:cxn>
              <a:cxn ang="0">
                <a:pos x="connsiteX34897" y="connsiteY34897"/>
              </a:cxn>
              <a:cxn ang="0">
                <a:pos x="connsiteX34898" y="connsiteY34898"/>
              </a:cxn>
              <a:cxn ang="0">
                <a:pos x="connsiteX34899" y="connsiteY34899"/>
              </a:cxn>
              <a:cxn ang="0">
                <a:pos x="connsiteX34900" y="connsiteY34900"/>
              </a:cxn>
              <a:cxn ang="0">
                <a:pos x="connsiteX34901" y="connsiteY34901"/>
              </a:cxn>
              <a:cxn ang="0">
                <a:pos x="connsiteX34902" y="connsiteY34902"/>
              </a:cxn>
              <a:cxn ang="0">
                <a:pos x="connsiteX34903" y="connsiteY34903"/>
              </a:cxn>
              <a:cxn ang="0">
                <a:pos x="connsiteX34904" y="connsiteY34904"/>
              </a:cxn>
              <a:cxn ang="0">
                <a:pos x="connsiteX34905" y="connsiteY34905"/>
              </a:cxn>
              <a:cxn ang="0">
                <a:pos x="connsiteX34906" y="connsiteY34906"/>
              </a:cxn>
              <a:cxn ang="0">
                <a:pos x="connsiteX34907" y="connsiteY34907"/>
              </a:cxn>
              <a:cxn ang="0">
                <a:pos x="connsiteX34908" y="connsiteY34908"/>
              </a:cxn>
              <a:cxn ang="0">
                <a:pos x="connsiteX34909" y="connsiteY34909"/>
              </a:cxn>
              <a:cxn ang="0">
                <a:pos x="connsiteX34910" y="connsiteY34910"/>
              </a:cxn>
              <a:cxn ang="0">
                <a:pos x="connsiteX34911" y="connsiteY34911"/>
              </a:cxn>
              <a:cxn ang="0">
                <a:pos x="connsiteX34912" y="connsiteY34912"/>
              </a:cxn>
              <a:cxn ang="0">
                <a:pos x="connsiteX34913" y="connsiteY34913"/>
              </a:cxn>
              <a:cxn ang="0">
                <a:pos x="connsiteX34914" y="connsiteY34914"/>
              </a:cxn>
              <a:cxn ang="0">
                <a:pos x="connsiteX34915" y="connsiteY34915"/>
              </a:cxn>
              <a:cxn ang="0">
                <a:pos x="connsiteX34916" y="connsiteY34916"/>
              </a:cxn>
              <a:cxn ang="0">
                <a:pos x="connsiteX34917" y="connsiteY34917"/>
              </a:cxn>
              <a:cxn ang="0">
                <a:pos x="connsiteX34918" y="connsiteY34918"/>
              </a:cxn>
              <a:cxn ang="0">
                <a:pos x="connsiteX34919" y="connsiteY34919"/>
              </a:cxn>
              <a:cxn ang="0">
                <a:pos x="connsiteX34920" y="connsiteY34920"/>
              </a:cxn>
              <a:cxn ang="0">
                <a:pos x="connsiteX34921" y="connsiteY34921"/>
              </a:cxn>
              <a:cxn ang="0">
                <a:pos x="connsiteX34922" y="connsiteY34922"/>
              </a:cxn>
              <a:cxn ang="0">
                <a:pos x="connsiteX34923" y="connsiteY34923"/>
              </a:cxn>
              <a:cxn ang="0">
                <a:pos x="connsiteX34924" y="connsiteY34924"/>
              </a:cxn>
              <a:cxn ang="0">
                <a:pos x="connsiteX34925" y="connsiteY34925"/>
              </a:cxn>
              <a:cxn ang="0">
                <a:pos x="connsiteX34926" y="connsiteY34926"/>
              </a:cxn>
              <a:cxn ang="0">
                <a:pos x="connsiteX34927" y="connsiteY34927"/>
              </a:cxn>
              <a:cxn ang="0">
                <a:pos x="connsiteX34928" y="connsiteY34928"/>
              </a:cxn>
              <a:cxn ang="0">
                <a:pos x="connsiteX34929" y="connsiteY34929"/>
              </a:cxn>
              <a:cxn ang="0">
                <a:pos x="connsiteX34930" y="connsiteY34930"/>
              </a:cxn>
              <a:cxn ang="0">
                <a:pos x="connsiteX34931" y="connsiteY34931"/>
              </a:cxn>
              <a:cxn ang="0">
                <a:pos x="connsiteX34932" y="connsiteY34932"/>
              </a:cxn>
              <a:cxn ang="0">
                <a:pos x="connsiteX34933" y="connsiteY34933"/>
              </a:cxn>
              <a:cxn ang="0">
                <a:pos x="connsiteX34934" y="connsiteY34934"/>
              </a:cxn>
              <a:cxn ang="0">
                <a:pos x="connsiteX34935" y="connsiteY34935"/>
              </a:cxn>
              <a:cxn ang="0">
                <a:pos x="connsiteX34936" y="connsiteY34936"/>
              </a:cxn>
              <a:cxn ang="0">
                <a:pos x="connsiteX34937" y="connsiteY34937"/>
              </a:cxn>
              <a:cxn ang="0">
                <a:pos x="connsiteX34938" y="connsiteY34938"/>
              </a:cxn>
              <a:cxn ang="0">
                <a:pos x="connsiteX34939" y="connsiteY34939"/>
              </a:cxn>
              <a:cxn ang="0">
                <a:pos x="connsiteX34940" y="connsiteY34940"/>
              </a:cxn>
              <a:cxn ang="0">
                <a:pos x="connsiteX34941" y="connsiteY34941"/>
              </a:cxn>
              <a:cxn ang="0">
                <a:pos x="connsiteX34942" y="connsiteY34942"/>
              </a:cxn>
              <a:cxn ang="0">
                <a:pos x="connsiteX34943" y="connsiteY34943"/>
              </a:cxn>
              <a:cxn ang="0">
                <a:pos x="connsiteX34944" y="connsiteY34944"/>
              </a:cxn>
              <a:cxn ang="0">
                <a:pos x="connsiteX34945" y="connsiteY34945"/>
              </a:cxn>
              <a:cxn ang="0">
                <a:pos x="connsiteX34946" y="connsiteY34946"/>
              </a:cxn>
              <a:cxn ang="0">
                <a:pos x="connsiteX34947" y="connsiteY34947"/>
              </a:cxn>
              <a:cxn ang="0">
                <a:pos x="connsiteX34948" y="connsiteY34948"/>
              </a:cxn>
              <a:cxn ang="0">
                <a:pos x="connsiteX34949" y="connsiteY34949"/>
              </a:cxn>
              <a:cxn ang="0">
                <a:pos x="connsiteX34950" y="connsiteY34950"/>
              </a:cxn>
              <a:cxn ang="0">
                <a:pos x="connsiteX34951" y="connsiteY34951"/>
              </a:cxn>
              <a:cxn ang="0">
                <a:pos x="connsiteX34952" y="connsiteY34952"/>
              </a:cxn>
              <a:cxn ang="0">
                <a:pos x="connsiteX34953" y="connsiteY34953"/>
              </a:cxn>
              <a:cxn ang="0">
                <a:pos x="connsiteX34954" y="connsiteY34954"/>
              </a:cxn>
              <a:cxn ang="0">
                <a:pos x="connsiteX34955" y="connsiteY34955"/>
              </a:cxn>
              <a:cxn ang="0">
                <a:pos x="connsiteX34956" y="connsiteY34956"/>
              </a:cxn>
              <a:cxn ang="0">
                <a:pos x="connsiteX34957" y="connsiteY34957"/>
              </a:cxn>
              <a:cxn ang="0">
                <a:pos x="connsiteX34958" y="connsiteY34958"/>
              </a:cxn>
              <a:cxn ang="0">
                <a:pos x="connsiteX34959" y="connsiteY34959"/>
              </a:cxn>
              <a:cxn ang="0">
                <a:pos x="connsiteX34960" y="connsiteY34960"/>
              </a:cxn>
              <a:cxn ang="0">
                <a:pos x="connsiteX34961" y="connsiteY34961"/>
              </a:cxn>
              <a:cxn ang="0">
                <a:pos x="connsiteX34962" y="connsiteY34962"/>
              </a:cxn>
              <a:cxn ang="0">
                <a:pos x="connsiteX34963" y="connsiteY34963"/>
              </a:cxn>
              <a:cxn ang="0">
                <a:pos x="connsiteX34964" y="connsiteY34964"/>
              </a:cxn>
              <a:cxn ang="0">
                <a:pos x="connsiteX34965" y="connsiteY34965"/>
              </a:cxn>
              <a:cxn ang="0">
                <a:pos x="connsiteX34966" y="connsiteY34966"/>
              </a:cxn>
              <a:cxn ang="0">
                <a:pos x="connsiteX34967" y="connsiteY34967"/>
              </a:cxn>
              <a:cxn ang="0">
                <a:pos x="connsiteX34968" y="connsiteY34968"/>
              </a:cxn>
              <a:cxn ang="0">
                <a:pos x="connsiteX34969" y="connsiteY34969"/>
              </a:cxn>
              <a:cxn ang="0">
                <a:pos x="connsiteX34970" y="connsiteY34970"/>
              </a:cxn>
              <a:cxn ang="0">
                <a:pos x="connsiteX34971" y="connsiteY34971"/>
              </a:cxn>
              <a:cxn ang="0">
                <a:pos x="connsiteX34972" y="connsiteY34972"/>
              </a:cxn>
              <a:cxn ang="0">
                <a:pos x="connsiteX34973" y="connsiteY34973"/>
              </a:cxn>
              <a:cxn ang="0">
                <a:pos x="connsiteX34974" y="connsiteY34974"/>
              </a:cxn>
              <a:cxn ang="0">
                <a:pos x="connsiteX34975" y="connsiteY34975"/>
              </a:cxn>
              <a:cxn ang="0">
                <a:pos x="connsiteX34976" y="connsiteY34976"/>
              </a:cxn>
              <a:cxn ang="0">
                <a:pos x="connsiteX34977" y="connsiteY34977"/>
              </a:cxn>
              <a:cxn ang="0">
                <a:pos x="connsiteX34978" y="connsiteY34978"/>
              </a:cxn>
              <a:cxn ang="0">
                <a:pos x="connsiteX34979" y="connsiteY34979"/>
              </a:cxn>
              <a:cxn ang="0">
                <a:pos x="connsiteX34980" y="connsiteY34980"/>
              </a:cxn>
              <a:cxn ang="0">
                <a:pos x="connsiteX34981" y="connsiteY34981"/>
              </a:cxn>
              <a:cxn ang="0">
                <a:pos x="connsiteX34982" y="connsiteY34982"/>
              </a:cxn>
              <a:cxn ang="0">
                <a:pos x="connsiteX34983" y="connsiteY34983"/>
              </a:cxn>
              <a:cxn ang="0">
                <a:pos x="connsiteX34984" y="connsiteY34984"/>
              </a:cxn>
              <a:cxn ang="0">
                <a:pos x="connsiteX34985" y="connsiteY34985"/>
              </a:cxn>
              <a:cxn ang="0">
                <a:pos x="connsiteX34986" y="connsiteY34986"/>
              </a:cxn>
              <a:cxn ang="0">
                <a:pos x="connsiteX34987" y="connsiteY34987"/>
              </a:cxn>
              <a:cxn ang="0">
                <a:pos x="connsiteX34988" y="connsiteY34988"/>
              </a:cxn>
              <a:cxn ang="0">
                <a:pos x="connsiteX34989" y="connsiteY34989"/>
              </a:cxn>
              <a:cxn ang="0">
                <a:pos x="connsiteX34990" y="connsiteY34990"/>
              </a:cxn>
              <a:cxn ang="0">
                <a:pos x="connsiteX34991" y="connsiteY34991"/>
              </a:cxn>
              <a:cxn ang="0">
                <a:pos x="connsiteX34992" y="connsiteY34992"/>
              </a:cxn>
              <a:cxn ang="0">
                <a:pos x="connsiteX34993" y="connsiteY34993"/>
              </a:cxn>
              <a:cxn ang="0">
                <a:pos x="connsiteX34994" y="connsiteY34994"/>
              </a:cxn>
              <a:cxn ang="0">
                <a:pos x="connsiteX34995" y="connsiteY34995"/>
              </a:cxn>
              <a:cxn ang="0">
                <a:pos x="connsiteX34996" y="connsiteY34996"/>
              </a:cxn>
              <a:cxn ang="0">
                <a:pos x="connsiteX34997" y="connsiteY34997"/>
              </a:cxn>
              <a:cxn ang="0">
                <a:pos x="connsiteX34998" y="connsiteY34998"/>
              </a:cxn>
              <a:cxn ang="0">
                <a:pos x="connsiteX34999" y="connsiteY34999"/>
              </a:cxn>
              <a:cxn ang="0">
                <a:pos x="connsiteX35000" y="connsiteY35000"/>
              </a:cxn>
              <a:cxn ang="0">
                <a:pos x="connsiteX35001" y="connsiteY35001"/>
              </a:cxn>
              <a:cxn ang="0">
                <a:pos x="connsiteX35002" y="connsiteY35002"/>
              </a:cxn>
              <a:cxn ang="0">
                <a:pos x="connsiteX35003" y="connsiteY35003"/>
              </a:cxn>
              <a:cxn ang="0">
                <a:pos x="connsiteX35004" y="connsiteY35004"/>
              </a:cxn>
              <a:cxn ang="0">
                <a:pos x="connsiteX35005" y="connsiteY35005"/>
              </a:cxn>
              <a:cxn ang="0">
                <a:pos x="connsiteX35006" y="connsiteY35006"/>
              </a:cxn>
              <a:cxn ang="0">
                <a:pos x="connsiteX35007" y="connsiteY35007"/>
              </a:cxn>
              <a:cxn ang="0">
                <a:pos x="connsiteX35008" y="connsiteY35008"/>
              </a:cxn>
              <a:cxn ang="0">
                <a:pos x="connsiteX35009" y="connsiteY35009"/>
              </a:cxn>
              <a:cxn ang="0">
                <a:pos x="connsiteX35010" y="connsiteY35010"/>
              </a:cxn>
              <a:cxn ang="0">
                <a:pos x="connsiteX35011" y="connsiteY35011"/>
              </a:cxn>
              <a:cxn ang="0">
                <a:pos x="connsiteX35012" y="connsiteY35012"/>
              </a:cxn>
              <a:cxn ang="0">
                <a:pos x="connsiteX35013" y="connsiteY35013"/>
              </a:cxn>
              <a:cxn ang="0">
                <a:pos x="connsiteX35014" y="connsiteY35014"/>
              </a:cxn>
              <a:cxn ang="0">
                <a:pos x="connsiteX35015" y="connsiteY35015"/>
              </a:cxn>
              <a:cxn ang="0">
                <a:pos x="connsiteX35016" y="connsiteY35016"/>
              </a:cxn>
              <a:cxn ang="0">
                <a:pos x="connsiteX35017" y="connsiteY35017"/>
              </a:cxn>
              <a:cxn ang="0">
                <a:pos x="connsiteX35018" y="connsiteY35018"/>
              </a:cxn>
              <a:cxn ang="0">
                <a:pos x="connsiteX35019" y="connsiteY35019"/>
              </a:cxn>
              <a:cxn ang="0">
                <a:pos x="connsiteX35020" y="connsiteY35020"/>
              </a:cxn>
              <a:cxn ang="0">
                <a:pos x="connsiteX35021" y="connsiteY35021"/>
              </a:cxn>
              <a:cxn ang="0">
                <a:pos x="connsiteX35022" y="connsiteY35022"/>
              </a:cxn>
              <a:cxn ang="0">
                <a:pos x="connsiteX35023" y="connsiteY35023"/>
              </a:cxn>
              <a:cxn ang="0">
                <a:pos x="connsiteX35024" y="connsiteY35024"/>
              </a:cxn>
              <a:cxn ang="0">
                <a:pos x="connsiteX35025" y="connsiteY35025"/>
              </a:cxn>
              <a:cxn ang="0">
                <a:pos x="connsiteX35026" y="connsiteY35026"/>
              </a:cxn>
              <a:cxn ang="0">
                <a:pos x="connsiteX35027" y="connsiteY35027"/>
              </a:cxn>
              <a:cxn ang="0">
                <a:pos x="connsiteX35028" y="connsiteY35028"/>
              </a:cxn>
              <a:cxn ang="0">
                <a:pos x="connsiteX35029" y="connsiteY35029"/>
              </a:cxn>
              <a:cxn ang="0">
                <a:pos x="connsiteX35030" y="connsiteY35030"/>
              </a:cxn>
              <a:cxn ang="0">
                <a:pos x="connsiteX35031" y="connsiteY35031"/>
              </a:cxn>
              <a:cxn ang="0">
                <a:pos x="connsiteX35032" y="connsiteY35032"/>
              </a:cxn>
              <a:cxn ang="0">
                <a:pos x="connsiteX35033" y="connsiteY35033"/>
              </a:cxn>
              <a:cxn ang="0">
                <a:pos x="connsiteX35034" y="connsiteY35034"/>
              </a:cxn>
              <a:cxn ang="0">
                <a:pos x="connsiteX35035" y="connsiteY35035"/>
              </a:cxn>
              <a:cxn ang="0">
                <a:pos x="connsiteX35036" y="connsiteY35036"/>
              </a:cxn>
              <a:cxn ang="0">
                <a:pos x="connsiteX35037" y="connsiteY35037"/>
              </a:cxn>
              <a:cxn ang="0">
                <a:pos x="connsiteX35038" y="connsiteY35038"/>
              </a:cxn>
              <a:cxn ang="0">
                <a:pos x="connsiteX35039" y="connsiteY35039"/>
              </a:cxn>
              <a:cxn ang="0">
                <a:pos x="connsiteX35040" y="connsiteY35040"/>
              </a:cxn>
              <a:cxn ang="0">
                <a:pos x="connsiteX35041" y="connsiteY35041"/>
              </a:cxn>
              <a:cxn ang="0">
                <a:pos x="connsiteX35042" y="connsiteY35042"/>
              </a:cxn>
              <a:cxn ang="0">
                <a:pos x="connsiteX35043" y="connsiteY35043"/>
              </a:cxn>
              <a:cxn ang="0">
                <a:pos x="connsiteX35044" y="connsiteY35044"/>
              </a:cxn>
              <a:cxn ang="0">
                <a:pos x="connsiteX35045" y="connsiteY35045"/>
              </a:cxn>
              <a:cxn ang="0">
                <a:pos x="connsiteX35046" y="connsiteY35046"/>
              </a:cxn>
              <a:cxn ang="0">
                <a:pos x="connsiteX35047" y="connsiteY35047"/>
              </a:cxn>
              <a:cxn ang="0">
                <a:pos x="connsiteX35048" y="connsiteY35048"/>
              </a:cxn>
              <a:cxn ang="0">
                <a:pos x="connsiteX35049" y="connsiteY35049"/>
              </a:cxn>
              <a:cxn ang="0">
                <a:pos x="connsiteX35050" y="connsiteY35050"/>
              </a:cxn>
              <a:cxn ang="0">
                <a:pos x="connsiteX35051" y="connsiteY35051"/>
              </a:cxn>
              <a:cxn ang="0">
                <a:pos x="connsiteX35052" y="connsiteY35052"/>
              </a:cxn>
              <a:cxn ang="0">
                <a:pos x="connsiteX35053" y="connsiteY35053"/>
              </a:cxn>
              <a:cxn ang="0">
                <a:pos x="connsiteX35054" y="connsiteY35054"/>
              </a:cxn>
              <a:cxn ang="0">
                <a:pos x="connsiteX35055" y="connsiteY35055"/>
              </a:cxn>
              <a:cxn ang="0">
                <a:pos x="connsiteX35056" y="connsiteY35056"/>
              </a:cxn>
              <a:cxn ang="0">
                <a:pos x="connsiteX35057" y="connsiteY35057"/>
              </a:cxn>
              <a:cxn ang="0">
                <a:pos x="connsiteX35058" y="connsiteY35058"/>
              </a:cxn>
              <a:cxn ang="0">
                <a:pos x="connsiteX35059" y="connsiteY35059"/>
              </a:cxn>
              <a:cxn ang="0">
                <a:pos x="connsiteX35060" y="connsiteY35060"/>
              </a:cxn>
              <a:cxn ang="0">
                <a:pos x="connsiteX35061" y="connsiteY35061"/>
              </a:cxn>
              <a:cxn ang="0">
                <a:pos x="connsiteX35062" y="connsiteY35062"/>
              </a:cxn>
              <a:cxn ang="0">
                <a:pos x="connsiteX35063" y="connsiteY35063"/>
              </a:cxn>
              <a:cxn ang="0">
                <a:pos x="connsiteX35064" y="connsiteY35064"/>
              </a:cxn>
              <a:cxn ang="0">
                <a:pos x="connsiteX35065" y="connsiteY35065"/>
              </a:cxn>
              <a:cxn ang="0">
                <a:pos x="connsiteX35066" y="connsiteY35066"/>
              </a:cxn>
              <a:cxn ang="0">
                <a:pos x="connsiteX35067" y="connsiteY35067"/>
              </a:cxn>
              <a:cxn ang="0">
                <a:pos x="connsiteX35068" y="connsiteY35068"/>
              </a:cxn>
              <a:cxn ang="0">
                <a:pos x="connsiteX35069" y="connsiteY35069"/>
              </a:cxn>
              <a:cxn ang="0">
                <a:pos x="connsiteX35070" y="connsiteY35070"/>
              </a:cxn>
              <a:cxn ang="0">
                <a:pos x="connsiteX35071" y="connsiteY35071"/>
              </a:cxn>
              <a:cxn ang="0">
                <a:pos x="connsiteX35072" y="connsiteY35072"/>
              </a:cxn>
              <a:cxn ang="0">
                <a:pos x="connsiteX35073" y="connsiteY35073"/>
              </a:cxn>
              <a:cxn ang="0">
                <a:pos x="connsiteX35074" y="connsiteY35074"/>
              </a:cxn>
              <a:cxn ang="0">
                <a:pos x="connsiteX35075" y="connsiteY35075"/>
              </a:cxn>
              <a:cxn ang="0">
                <a:pos x="connsiteX35076" y="connsiteY35076"/>
              </a:cxn>
              <a:cxn ang="0">
                <a:pos x="connsiteX35077" y="connsiteY35077"/>
              </a:cxn>
              <a:cxn ang="0">
                <a:pos x="connsiteX35078" y="connsiteY35078"/>
              </a:cxn>
              <a:cxn ang="0">
                <a:pos x="connsiteX35079" y="connsiteY35079"/>
              </a:cxn>
              <a:cxn ang="0">
                <a:pos x="connsiteX35080" y="connsiteY35080"/>
              </a:cxn>
              <a:cxn ang="0">
                <a:pos x="connsiteX35081" y="connsiteY35081"/>
              </a:cxn>
              <a:cxn ang="0">
                <a:pos x="connsiteX35082" y="connsiteY35082"/>
              </a:cxn>
              <a:cxn ang="0">
                <a:pos x="connsiteX35083" y="connsiteY35083"/>
              </a:cxn>
              <a:cxn ang="0">
                <a:pos x="connsiteX35084" y="connsiteY35084"/>
              </a:cxn>
              <a:cxn ang="0">
                <a:pos x="connsiteX35085" y="connsiteY35085"/>
              </a:cxn>
              <a:cxn ang="0">
                <a:pos x="connsiteX35086" y="connsiteY35086"/>
              </a:cxn>
              <a:cxn ang="0">
                <a:pos x="connsiteX35087" y="connsiteY35087"/>
              </a:cxn>
              <a:cxn ang="0">
                <a:pos x="connsiteX35088" y="connsiteY35088"/>
              </a:cxn>
              <a:cxn ang="0">
                <a:pos x="connsiteX35089" y="connsiteY35089"/>
              </a:cxn>
              <a:cxn ang="0">
                <a:pos x="connsiteX35090" y="connsiteY35090"/>
              </a:cxn>
              <a:cxn ang="0">
                <a:pos x="connsiteX35091" y="connsiteY35091"/>
              </a:cxn>
              <a:cxn ang="0">
                <a:pos x="connsiteX35092" y="connsiteY35092"/>
              </a:cxn>
              <a:cxn ang="0">
                <a:pos x="connsiteX35093" y="connsiteY35093"/>
              </a:cxn>
              <a:cxn ang="0">
                <a:pos x="connsiteX35094" y="connsiteY35094"/>
              </a:cxn>
              <a:cxn ang="0">
                <a:pos x="connsiteX35095" y="connsiteY35095"/>
              </a:cxn>
              <a:cxn ang="0">
                <a:pos x="connsiteX35096" y="connsiteY35096"/>
              </a:cxn>
              <a:cxn ang="0">
                <a:pos x="connsiteX35097" y="connsiteY35097"/>
              </a:cxn>
              <a:cxn ang="0">
                <a:pos x="connsiteX35098" y="connsiteY35098"/>
              </a:cxn>
              <a:cxn ang="0">
                <a:pos x="connsiteX35099" y="connsiteY35099"/>
              </a:cxn>
              <a:cxn ang="0">
                <a:pos x="connsiteX35100" y="connsiteY35100"/>
              </a:cxn>
              <a:cxn ang="0">
                <a:pos x="connsiteX35101" y="connsiteY35101"/>
              </a:cxn>
              <a:cxn ang="0">
                <a:pos x="connsiteX35102" y="connsiteY35102"/>
              </a:cxn>
              <a:cxn ang="0">
                <a:pos x="connsiteX35103" y="connsiteY35103"/>
              </a:cxn>
              <a:cxn ang="0">
                <a:pos x="connsiteX35104" y="connsiteY35104"/>
              </a:cxn>
              <a:cxn ang="0">
                <a:pos x="connsiteX35105" y="connsiteY35105"/>
              </a:cxn>
              <a:cxn ang="0">
                <a:pos x="connsiteX35106" y="connsiteY35106"/>
              </a:cxn>
              <a:cxn ang="0">
                <a:pos x="connsiteX35107" y="connsiteY35107"/>
              </a:cxn>
              <a:cxn ang="0">
                <a:pos x="connsiteX35108" y="connsiteY35108"/>
              </a:cxn>
              <a:cxn ang="0">
                <a:pos x="connsiteX35109" y="connsiteY35109"/>
              </a:cxn>
              <a:cxn ang="0">
                <a:pos x="connsiteX35110" y="connsiteY35110"/>
              </a:cxn>
              <a:cxn ang="0">
                <a:pos x="connsiteX35111" y="connsiteY35111"/>
              </a:cxn>
              <a:cxn ang="0">
                <a:pos x="connsiteX35112" y="connsiteY35112"/>
              </a:cxn>
              <a:cxn ang="0">
                <a:pos x="connsiteX35113" y="connsiteY35113"/>
              </a:cxn>
              <a:cxn ang="0">
                <a:pos x="connsiteX35114" y="connsiteY35114"/>
              </a:cxn>
              <a:cxn ang="0">
                <a:pos x="connsiteX35115" y="connsiteY35115"/>
              </a:cxn>
              <a:cxn ang="0">
                <a:pos x="connsiteX35116" y="connsiteY35116"/>
              </a:cxn>
              <a:cxn ang="0">
                <a:pos x="connsiteX35117" y="connsiteY35117"/>
              </a:cxn>
              <a:cxn ang="0">
                <a:pos x="connsiteX35118" y="connsiteY35118"/>
              </a:cxn>
              <a:cxn ang="0">
                <a:pos x="connsiteX35119" y="connsiteY35119"/>
              </a:cxn>
              <a:cxn ang="0">
                <a:pos x="connsiteX35120" y="connsiteY35120"/>
              </a:cxn>
              <a:cxn ang="0">
                <a:pos x="connsiteX35121" y="connsiteY35121"/>
              </a:cxn>
              <a:cxn ang="0">
                <a:pos x="connsiteX35122" y="connsiteY35122"/>
              </a:cxn>
              <a:cxn ang="0">
                <a:pos x="connsiteX35123" y="connsiteY35123"/>
              </a:cxn>
              <a:cxn ang="0">
                <a:pos x="connsiteX35124" y="connsiteY35124"/>
              </a:cxn>
              <a:cxn ang="0">
                <a:pos x="connsiteX35125" y="connsiteY35125"/>
              </a:cxn>
              <a:cxn ang="0">
                <a:pos x="connsiteX35126" y="connsiteY35126"/>
              </a:cxn>
              <a:cxn ang="0">
                <a:pos x="connsiteX35127" y="connsiteY35127"/>
              </a:cxn>
              <a:cxn ang="0">
                <a:pos x="connsiteX35128" y="connsiteY35128"/>
              </a:cxn>
              <a:cxn ang="0">
                <a:pos x="connsiteX35129" y="connsiteY35129"/>
              </a:cxn>
              <a:cxn ang="0">
                <a:pos x="connsiteX35130" y="connsiteY35130"/>
              </a:cxn>
              <a:cxn ang="0">
                <a:pos x="connsiteX35131" y="connsiteY35131"/>
              </a:cxn>
              <a:cxn ang="0">
                <a:pos x="connsiteX35132" y="connsiteY35132"/>
              </a:cxn>
              <a:cxn ang="0">
                <a:pos x="connsiteX35133" y="connsiteY35133"/>
              </a:cxn>
              <a:cxn ang="0">
                <a:pos x="connsiteX35134" y="connsiteY35134"/>
              </a:cxn>
              <a:cxn ang="0">
                <a:pos x="connsiteX35135" y="connsiteY35135"/>
              </a:cxn>
              <a:cxn ang="0">
                <a:pos x="connsiteX35136" y="connsiteY35136"/>
              </a:cxn>
              <a:cxn ang="0">
                <a:pos x="connsiteX35137" y="connsiteY35137"/>
              </a:cxn>
              <a:cxn ang="0">
                <a:pos x="connsiteX35138" y="connsiteY35138"/>
              </a:cxn>
              <a:cxn ang="0">
                <a:pos x="connsiteX35139" y="connsiteY35139"/>
              </a:cxn>
              <a:cxn ang="0">
                <a:pos x="connsiteX35140" y="connsiteY35140"/>
              </a:cxn>
              <a:cxn ang="0">
                <a:pos x="connsiteX35141" y="connsiteY35141"/>
              </a:cxn>
              <a:cxn ang="0">
                <a:pos x="connsiteX35142" y="connsiteY35142"/>
              </a:cxn>
              <a:cxn ang="0">
                <a:pos x="connsiteX35143" y="connsiteY35143"/>
              </a:cxn>
              <a:cxn ang="0">
                <a:pos x="connsiteX35144" y="connsiteY35144"/>
              </a:cxn>
              <a:cxn ang="0">
                <a:pos x="connsiteX35145" y="connsiteY35145"/>
              </a:cxn>
              <a:cxn ang="0">
                <a:pos x="connsiteX35146" y="connsiteY35146"/>
              </a:cxn>
              <a:cxn ang="0">
                <a:pos x="connsiteX35147" y="connsiteY35147"/>
              </a:cxn>
              <a:cxn ang="0">
                <a:pos x="connsiteX35148" y="connsiteY35148"/>
              </a:cxn>
              <a:cxn ang="0">
                <a:pos x="connsiteX35149" y="connsiteY35149"/>
              </a:cxn>
              <a:cxn ang="0">
                <a:pos x="connsiteX35150" y="connsiteY35150"/>
              </a:cxn>
              <a:cxn ang="0">
                <a:pos x="connsiteX35151" y="connsiteY35151"/>
              </a:cxn>
              <a:cxn ang="0">
                <a:pos x="connsiteX35152" y="connsiteY35152"/>
              </a:cxn>
              <a:cxn ang="0">
                <a:pos x="connsiteX35153" y="connsiteY35153"/>
              </a:cxn>
              <a:cxn ang="0">
                <a:pos x="connsiteX35154" y="connsiteY35154"/>
              </a:cxn>
              <a:cxn ang="0">
                <a:pos x="connsiteX35155" y="connsiteY35155"/>
              </a:cxn>
              <a:cxn ang="0">
                <a:pos x="connsiteX35156" y="connsiteY35156"/>
              </a:cxn>
              <a:cxn ang="0">
                <a:pos x="connsiteX35157" y="connsiteY35157"/>
              </a:cxn>
              <a:cxn ang="0">
                <a:pos x="connsiteX35158" y="connsiteY35158"/>
              </a:cxn>
              <a:cxn ang="0">
                <a:pos x="connsiteX35159" y="connsiteY35159"/>
              </a:cxn>
              <a:cxn ang="0">
                <a:pos x="connsiteX35160" y="connsiteY35160"/>
              </a:cxn>
              <a:cxn ang="0">
                <a:pos x="connsiteX35161" y="connsiteY35161"/>
              </a:cxn>
              <a:cxn ang="0">
                <a:pos x="connsiteX35162" y="connsiteY35162"/>
              </a:cxn>
              <a:cxn ang="0">
                <a:pos x="connsiteX35163" y="connsiteY35163"/>
              </a:cxn>
              <a:cxn ang="0">
                <a:pos x="connsiteX35164" y="connsiteY35164"/>
              </a:cxn>
              <a:cxn ang="0">
                <a:pos x="connsiteX35165" y="connsiteY35165"/>
              </a:cxn>
              <a:cxn ang="0">
                <a:pos x="connsiteX35166" y="connsiteY35166"/>
              </a:cxn>
              <a:cxn ang="0">
                <a:pos x="connsiteX35167" y="connsiteY35167"/>
              </a:cxn>
              <a:cxn ang="0">
                <a:pos x="connsiteX35168" y="connsiteY35168"/>
              </a:cxn>
              <a:cxn ang="0">
                <a:pos x="connsiteX35169" y="connsiteY35169"/>
              </a:cxn>
              <a:cxn ang="0">
                <a:pos x="connsiteX35170" y="connsiteY35170"/>
              </a:cxn>
              <a:cxn ang="0">
                <a:pos x="connsiteX35171" y="connsiteY35171"/>
              </a:cxn>
              <a:cxn ang="0">
                <a:pos x="connsiteX35172" y="connsiteY35172"/>
              </a:cxn>
              <a:cxn ang="0">
                <a:pos x="connsiteX35173" y="connsiteY35173"/>
              </a:cxn>
              <a:cxn ang="0">
                <a:pos x="connsiteX35174" y="connsiteY35174"/>
              </a:cxn>
              <a:cxn ang="0">
                <a:pos x="connsiteX35175" y="connsiteY35175"/>
              </a:cxn>
              <a:cxn ang="0">
                <a:pos x="connsiteX35176" y="connsiteY35176"/>
              </a:cxn>
              <a:cxn ang="0">
                <a:pos x="connsiteX35177" y="connsiteY35177"/>
              </a:cxn>
              <a:cxn ang="0">
                <a:pos x="connsiteX35178" y="connsiteY35178"/>
              </a:cxn>
              <a:cxn ang="0">
                <a:pos x="connsiteX35179" y="connsiteY35179"/>
              </a:cxn>
              <a:cxn ang="0">
                <a:pos x="connsiteX35180" y="connsiteY35180"/>
              </a:cxn>
              <a:cxn ang="0">
                <a:pos x="connsiteX35181" y="connsiteY35181"/>
              </a:cxn>
              <a:cxn ang="0">
                <a:pos x="connsiteX35182" y="connsiteY35182"/>
              </a:cxn>
              <a:cxn ang="0">
                <a:pos x="connsiteX35183" y="connsiteY35183"/>
              </a:cxn>
              <a:cxn ang="0">
                <a:pos x="connsiteX35184" y="connsiteY35184"/>
              </a:cxn>
              <a:cxn ang="0">
                <a:pos x="connsiteX35185" y="connsiteY35185"/>
              </a:cxn>
              <a:cxn ang="0">
                <a:pos x="connsiteX35186" y="connsiteY35186"/>
              </a:cxn>
              <a:cxn ang="0">
                <a:pos x="connsiteX35187" y="connsiteY35187"/>
              </a:cxn>
              <a:cxn ang="0">
                <a:pos x="connsiteX35188" y="connsiteY35188"/>
              </a:cxn>
              <a:cxn ang="0">
                <a:pos x="connsiteX35189" y="connsiteY35189"/>
              </a:cxn>
              <a:cxn ang="0">
                <a:pos x="connsiteX35190" y="connsiteY35190"/>
              </a:cxn>
              <a:cxn ang="0">
                <a:pos x="connsiteX35191" y="connsiteY35191"/>
              </a:cxn>
              <a:cxn ang="0">
                <a:pos x="connsiteX35192" y="connsiteY35192"/>
              </a:cxn>
              <a:cxn ang="0">
                <a:pos x="connsiteX35193" y="connsiteY35193"/>
              </a:cxn>
              <a:cxn ang="0">
                <a:pos x="connsiteX35194" y="connsiteY35194"/>
              </a:cxn>
              <a:cxn ang="0">
                <a:pos x="connsiteX35195" y="connsiteY35195"/>
              </a:cxn>
              <a:cxn ang="0">
                <a:pos x="connsiteX35196" y="connsiteY35196"/>
              </a:cxn>
              <a:cxn ang="0">
                <a:pos x="connsiteX35197" y="connsiteY35197"/>
              </a:cxn>
              <a:cxn ang="0">
                <a:pos x="connsiteX35198" y="connsiteY35198"/>
              </a:cxn>
              <a:cxn ang="0">
                <a:pos x="connsiteX35199" y="connsiteY35199"/>
              </a:cxn>
              <a:cxn ang="0">
                <a:pos x="connsiteX35200" y="connsiteY35200"/>
              </a:cxn>
              <a:cxn ang="0">
                <a:pos x="connsiteX35201" y="connsiteY35201"/>
              </a:cxn>
              <a:cxn ang="0">
                <a:pos x="connsiteX35202" y="connsiteY35202"/>
              </a:cxn>
              <a:cxn ang="0">
                <a:pos x="connsiteX35203" y="connsiteY35203"/>
              </a:cxn>
              <a:cxn ang="0">
                <a:pos x="connsiteX35204" y="connsiteY35204"/>
              </a:cxn>
              <a:cxn ang="0">
                <a:pos x="connsiteX35205" y="connsiteY35205"/>
              </a:cxn>
              <a:cxn ang="0">
                <a:pos x="connsiteX35206" y="connsiteY35206"/>
              </a:cxn>
              <a:cxn ang="0">
                <a:pos x="connsiteX35207" y="connsiteY35207"/>
              </a:cxn>
              <a:cxn ang="0">
                <a:pos x="connsiteX35208" y="connsiteY35208"/>
              </a:cxn>
              <a:cxn ang="0">
                <a:pos x="connsiteX35209" y="connsiteY35209"/>
              </a:cxn>
              <a:cxn ang="0">
                <a:pos x="connsiteX35210" y="connsiteY35210"/>
              </a:cxn>
              <a:cxn ang="0">
                <a:pos x="connsiteX35211" y="connsiteY35211"/>
              </a:cxn>
              <a:cxn ang="0">
                <a:pos x="connsiteX35212" y="connsiteY35212"/>
              </a:cxn>
              <a:cxn ang="0">
                <a:pos x="connsiteX35213" y="connsiteY35213"/>
              </a:cxn>
              <a:cxn ang="0">
                <a:pos x="connsiteX35214" y="connsiteY35214"/>
              </a:cxn>
              <a:cxn ang="0">
                <a:pos x="connsiteX35215" y="connsiteY35215"/>
              </a:cxn>
              <a:cxn ang="0">
                <a:pos x="connsiteX35216" y="connsiteY35216"/>
              </a:cxn>
              <a:cxn ang="0">
                <a:pos x="connsiteX35217" y="connsiteY35217"/>
              </a:cxn>
              <a:cxn ang="0">
                <a:pos x="connsiteX35218" y="connsiteY35218"/>
              </a:cxn>
              <a:cxn ang="0">
                <a:pos x="connsiteX35219" y="connsiteY35219"/>
              </a:cxn>
              <a:cxn ang="0">
                <a:pos x="connsiteX35220" y="connsiteY35220"/>
              </a:cxn>
              <a:cxn ang="0">
                <a:pos x="connsiteX35221" y="connsiteY35221"/>
              </a:cxn>
              <a:cxn ang="0">
                <a:pos x="connsiteX35222" y="connsiteY35222"/>
              </a:cxn>
              <a:cxn ang="0">
                <a:pos x="connsiteX35223" y="connsiteY35223"/>
              </a:cxn>
              <a:cxn ang="0">
                <a:pos x="connsiteX35224" y="connsiteY35224"/>
              </a:cxn>
              <a:cxn ang="0">
                <a:pos x="connsiteX35225" y="connsiteY35225"/>
              </a:cxn>
              <a:cxn ang="0">
                <a:pos x="connsiteX35226" y="connsiteY35226"/>
              </a:cxn>
              <a:cxn ang="0">
                <a:pos x="connsiteX35227" y="connsiteY35227"/>
              </a:cxn>
              <a:cxn ang="0">
                <a:pos x="connsiteX35228" y="connsiteY35228"/>
              </a:cxn>
              <a:cxn ang="0">
                <a:pos x="connsiteX35229" y="connsiteY35229"/>
              </a:cxn>
              <a:cxn ang="0">
                <a:pos x="connsiteX35230" y="connsiteY35230"/>
              </a:cxn>
              <a:cxn ang="0">
                <a:pos x="connsiteX35231" y="connsiteY35231"/>
              </a:cxn>
              <a:cxn ang="0">
                <a:pos x="connsiteX35232" y="connsiteY35232"/>
              </a:cxn>
              <a:cxn ang="0">
                <a:pos x="connsiteX35233" y="connsiteY35233"/>
              </a:cxn>
              <a:cxn ang="0">
                <a:pos x="connsiteX35234" y="connsiteY35234"/>
              </a:cxn>
              <a:cxn ang="0">
                <a:pos x="connsiteX35235" y="connsiteY35235"/>
              </a:cxn>
              <a:cxn ang="0">
                <a:pos x="connsiteX35236" y="connsiteY35236"/>
              </a:cxn>
              <a:cxn ang="0">
                <a:pos x="connsiteX35237" y="connsiteY35237"/>
              </a:cxn>
              <a:cxn ang="0">
                <a:pos x="connsiteX35238" y="connsiteY35238"/>
              </a:cxn>
              <a:cxn ang="0">
                <a:pos x="connsiteX35239" y="connsiteY35239"/>
              </a:cxn>
              <a:cxn ang="0">
                <a:pos x="connsiteX35240" y="connsiteY35240"/>
              </a:cxn>
              <a:cxn ang="0">
                <a:pos x="connsiteX35241" y="connsiteY35241"/>
              </a:cxn>
              <a:cxn ang="0">
                <a:pos x="connsiteX35242" y="connsiteY35242"/>
              </a:cxn>
              <a:cxn ang="0">
                <a:pos x="connsiteX35243" y="connsiteY35243"/>
              </a:cxn>
              <a:cxn ang="0">
                <a:pos x="connsiteX35244" y="connsiteY35244"/>
              </a:cxn>
              <a:cxn ang="0">
                <a:pos x="connsiteX35245" y="connsiteY35245"/>
              </a:cxn>
              <a:cxn ang="0">
                <a:pos x="connsiteX35246" y="connsiteY35246"/>
              </a:cxn>
              <a:cxn ang="0">
                <a:pos x="connsiteX35247" y="connsiteY35247"/>
              </a:cxn>
              <a:cxn ang="0">
                <a:pos x="connsiteX35248" y="connsiteY35248"/>
              </a:cxn>
              <a:cxn ang="0">
                <a:pos x="connsiteX35249" y="connsiteY35249"/>
              </a:cxn>
              <a:cxn ang="0">
                <a:pos x="connsiteX35250" y="connsiteY35250"/>
              </a:cxn>
              <a:cxn ang="0">
                <a:pos x="connsiteX35251" y="connsiteY35251"/>
              </a:cxn>
              <a:cxn ang="0">
                <a:pos x="connsiteX35252" y="connsiteY35252"/>
              </a:cxn>
              <a:cxn ang="0">
                <a:pos x="connsiteX35253" y="connsiteY35253"/>
              </a:cxn>
              <a:cxn ang="0">
                <a:pos x="connsiteX35254" y="connsiteY35254"/>
              </a:cxn>
              <a:cxn ang="0">
                <a:pos x="connsiteX35255" y="connsiteY35255"/>
              </a:cxn>
              <a:cxn ang="0">
                <a:pos x="connsiteX35256" y="connsiteY35256"/>
              </a:cxn>
              <a:cxn ang="0">
                <a:pos x="connsiteX35257" y="connsiteY35257"/>
              </a:cxn>
              <a:cxn ang="0">
                <a:pos x="connsiteX35258" y="connsiteY35258"/>
              </a:cxn>
              <a:cxn ang="0">
                <a:pos x="connsiteX35259" y="connsiteY35259"/>
              </a:cxn>
              <a:cxn ang="0">
                <a:pos x="connsiteX35260" y="connsiteY35260"/>
              </a:cxn>
              <a:cxn ang="0">
                <a:pos x="connsiteX35261" y="connsiteY35261"/>
              </a:cxn>
              <a:cxn ang="0">
                <a:pos x="connsiteX35262" y="connsiteY35262"/>
              </a:cxn>
              <a:cxn ang="0">
                <a:pos x="connsiteX35263" y="connsiteY35263"/>
              </a:cxn>
              <a:cxn ang="0">
                <a:pos x="connsiteX35264" y="connsiteY35264"/>
              </a:cxn>
              <a:cxn ang="0">
                <a:pos x="connsiteX35265" y="connsiteY35265"/>
              </a:cxn>
              <a:cxn ang="0">
                <a:pos x="connsiteX35266" y="connsiteY35266"/>
              </a:cxn>
              <a:cxn ang="0">
                <a:pos x="connsiteX35267" y="connsiteY35267"/>
              </a:cxn>
              <a:cxn ang="0">
                <a:pos x="connsiteX35268" y="connsiteY35268"/>
              </a:cxn>
              <a:cxn ang="0">
                <a:pos x="connsiteX35269" y="connsiteY35269"/>
              </a:cxn>
              <a:cxn ang="0">
                <a:pos x="connsiteX35270" y="connsiteY35270"/>
              </a:cxn>
              <a:cxn ang="0">
                <a:pos x="connsiteX35271" y="connsiteY35271"/>
              </a:cxn>
              <a:cxn ang="0">
                <a:pos x="connsiteX35272" y="connsiteY35272"/>
              </a:cxn>
              <a:cxn ang="0">
                <a:pos x="connsiteX35273" y="connsiteY35273"/>
              </a:cxn>
              <a:cxn ang="0">
                <a:pos x="connsiteX35274" y="connsiteY35274"/>
              </a:cxn>
              <a:cxn ang="0">
                <a:pos x="connsiteX35275" y="connsiteY35275"/>
              </a:cxn>
              <a:cxn ang="0">
                <a:pos x="connsiteX35276" y="connsiteY35276"/>
              </a:cxn>
              <a:cxn ang="0">
                <a:pos x="connsiteX35277" y="connsiteY35277"/>
              </a:cxn>
              <a:cxn ang="0">
                <a:pos x="connsiteX35278" y="connsiteY35278"/>
              </a:cxn>
              <a:cxn ang="0">
                <a:pos x="connsiteX35279" y="connsiteY35279"/>
              </a:cxn>
              <a:cxn ang="0">
                <a:pos x="connsiteX35280" y="connsiteY35280"/>
              </a:cxn>
              <a:cxn ang="0">
                <a:pos x="connsiteX35281" y="connsiteY35281"/>
              </a:cxn>
              <a:cxn ang="0">
                <a:pos x="connsiteX35282" y="connsiteY35282"/>
              </a:cxn>
              <a:cxn ang="0">
                <a:pos x="connsiteX35283" y="connsiteY35283"/>
              </a:cxn>
              <a:cxn ang="0">
                <a:pos x="connsiteX35284" y="connsiteY35284"/>
              </a:cxn>
              <a:cxn ang="0">
                <a:pos x="connsiteX35285" y="connsiteY35285"/>
              </a:cxn>
              <a:cxn ang="0">
                <a:pos x="connsiteX35286" y="connsiteY35286"/>
              </a:cxn>
              <a:cxn ang="0">
                <a:pos x="connsiteX35287" y="connsiteY35287"/>
              </a:cxn>
              <a:cxn ang="0">
                <a:pos x="connsiteX35288" y="connsiteY35288"/>
              </a:cxn>
              <a:cxn ang="0">
                <a:pos x="connsiteX35289" y="connsiteY35289"/>
              </a:cxn>
              <a:cxn ang="0">
                <a:pos x="connsiteX35290" y="connsiteY35290"/>
              </a:cxn>
              <a:cxn ang="0">
                <a:pos x="connsiteX35291" y="connsiteY35291"/>
              </a:cxn>
              <a:cxn ang="0">
                <a:pos x="connsiteX35292" y="connsiteY35292"/>
              </a:cxn>
              <a:cxn ang="0">
                <a:pos x="connsiteX35293" y="connsiteY35293"/>
              </a:cxn>
              <a:cxn ang="0">
                <a:pos x="connsiteX35294" y="connsiteY35294"/>
              </a:cxn>
              <a:cxn ang="0">
                <a:pos x="connsiteX35295" y="connsiteY35295"/>
              </a:cxn>
              <a:cxn ang="0">
                <a:pos x="connsiteX35296" y="connsiteY35296"/>
              </a:cxn>
              <a:cxn ang="0">
                <a:pos x="connsiteX35297" y="connsiteY35297"/>
              </a:cxn>
              <a:cxn ang="0">
                <a:pos x="connsiteX35298" y="connsiteY35298"/>
              </a:cxn>
              <a:cxn ang="0">
                <a:pos x="connsiteX35299" y="connsiteY35299"/>
              </a:cxn>
              <a:cxn ang="0">
                <a:pos x="connsiteX35300" y="connsiteY35300"/>
              </a:cxn>
              <a:cxn ang="0">
                <a:pos x="connsiteX35301" y="connsiteY35301"/>
              </a:cxn>
              <a:cxn ang="0">
                <a:pos x="connsiteX35302" y="connsiteY35302"/>
              </a:cxn>
              <a:cxn ang="0">
                <a:pos x="connsiteX35303" y="connsiteY35303"/>
              </a:cxn>
              <a:cxn ang="0">
                <a:pos x="connsiteX35304" y="connsiteY35304"/>
              </a:cxn>
              <a:cxn ang="0">
                <a:pos x="connsiteX35305" y="connsiteY35305"/>
              </a:cxn>
              <a:cxn ang="0">
                <a:pos x="connsiteX35306" y="connsiteY35306"/>
              </a:cxn>
              <a:cxn ang="0">
                <a:pos x="connsiteX35307" y="connsiteY35307"/>
              </a:cxn>
              <a:cxn ang="0">
                <a:pos x="connsiteX35308" y="connsiteY35308"/>
              </a:cxn>
              <a:cxn ang="0">
                <a:pos x="connsiteX35309" y="connsiteY35309"/>
              </a:cxn>
              <a:cxn ang="0">
                <a:pos x="connsiteX35310" y="connsiteY35310"/>
              </a:cxn>
              <a:cxn ang="0">
                <a:pos x="connsiteX35311" y="connsiteY35311"/>
              </a:cxn>
              <a:cxn ang="0">
                <a:pos x="connsiteX35312" y="connsiteY35312"/>
              </a:cxn>
              <a:cxn ang="0">
                <a:pos x="connsiteX35313" y="connsiteY35313"/>
              </a:cxn>
              <a:cxn ang="0">
                <a:pos x="connsiteX35314" y="connsiteY35314"/>
              </a:cxn>
              <a:cxn ang="0">
                <a:pos x="connsiteX35315" y="connsiteY35315"/>
              </a:cxn>
              <a:cxn ang="0">
                <a:pos x="connsiteX35316" y="connsiteY35316"/>
              </a:cxn>
              <a:cxn ang="0">
                <a:pos x="connsiteX35317" y="connsiteY35317"/>
              </a:cxn>
              <a:cxn ang="0">
                <a:pos x="connsiteX35318" y="connsiteY35318"/>
              </a:cxn>
              <a:cxn ang="0">
                <a:pos x="connsiteX35319" y="connsiteY35319"/>
              </a:cxn>
              <a:cxn ang="0">
                <a:pos x="connsiteX35320" y="connsiteY35320"/>
              </a:cxn>
              <a:cxn ang="0">
                <a:pos x="connsiteX35321" y="connsiteY35321"/>
              </a:cxn>
              <a:cxn ang="0">
                <a:pos x="connsiteX35322" y="connsiteY35322"/>
              </a:cxn>
              <a:cxn ang="0">
                <a:pos x="connsiteX35323" y="connsiteY35323"/>
              </a:cxn>
              <a:cxn ang="0">
                <a:pos x="connsiteX35324" y="connsiteY35324"/>
              </a:cxn>
              <a:cxn ang="0">
                <a:pos x="connsiteX35325" y="connsiteY35325"/>
              </a:cxn>
              <a:cxn ang="0">
                <a:pos x="connsiteX35326" y="connsiteY35326"/>
              </a:cxn>
              <a:cxn ang="0">
                <a:pos x="connsiteX35327" y="connsiteY35327"/>
              </a:cxn>
              <a:cxn ang="0">
                <a:pos x="connsiteX35328" y="connsiteY35328"/>
              </a:cxn>
              <a:cxn ang="0">
                <a:pos x="connsiteX35329" y="connsiteY35329"/>
              </a:cxn>
              <a:cxn ang="0">
                <a:pos x="connsiteX35330" y="connsiteY35330"/>
              </a:cxn>
              <a:cxn ang="0">
                <a:pos x="connsiteX35331" y="connsiteY35331"/>
              </a:cxn>
              <a:cxn ang="0">
                <a:pos x="connsiteX35332" y="connsiteY35332"/>
              </a:cxn>
              <a:cxn ang="0">
                <a:pos x="connsiteX35333" y="connsiteY35333"/>
              </a:cxn>
              <a:cxn ang="0">
                <a:pos x="connsiteX35334" y="connsiteY35334"/>
              </a:cxn>
              <a:cxn ang="0">
                <a:pos x="connsiteX35335" y="connsiteY35335"/>
              </a:cxn>
              <a:cxn ang="0">
                <a:pos x="connsiteX35336" y="connsiteY35336"/>
              </a:cxn>
              <a:cxn ang="0">
                <a:pos x="connsiteX35337" y="connsiteY35337"/>
              </a:cxn>
              <a:cxn ang="0">
                <a:pos x="connsiteX35338" y="connsiteY35338"/>
              </a:cxn>
              <a:cxn ang="0">
                <a:pos x="connsiteX35339" y="connsiteY35339"/>
              </a:cxn>
              <a:cxn ang="0">
                <a:pos x="connsiteX35340" y="connsiteY35340"/>
              </a:cxn>
              <a:cxn ang="0">
                <a:pos x="connsiteX35341" y="connsiteY35341"/>
              </a:cxn>
              <a:cxn ang="0">
                <a:pos x="connsiteX35342" y="connsiteY35342"/>
              </a:cxn>
              <a:cxn ang="0">
                <a:pos x="connsiteX35343" y="connsiteY35343"/>
              </a:cxn>
              <a:cxn ang="0">
                <a:pos x="connsiteX35344" y="connsiteY35344"/>
              </a:cxn>
              <a:cxn ang="0">
                <a:pos x="connsiteX35345" y="connsiteY35345"/>
              </a:cxn>
              <a:cxn ang="0">
                <a:pos x="connsiteX35346" y="connsiteY35346"/>
              </a:cxn>
              <a:cxn ang="0">
                <a:pos x="connsiteX35347" y="connsiteY35347"/>
              </a:cxn>
              <a:cxn ang="0">
                <a:pos x="connsiteX35348" y="connsiteY35348"/>
              </a:cxn>
              <a:cxn ang="0">
                <a:pos x="connsiteX35349" y="connsiteY35349"/>
              </a:cxn>
              <a:cxn ang="0">
                <a:pos x="connsiteX35350" y="connsiteY35350"/>
              </a:cxn>
              <a:cxn ang="0">
                <a:pos x="connsiteX35351" y="connsiteY35351"/>
              </a:cxn>
              <a:cxn ang="0">
                <a:pos x="connsiteX35352" y="connsiteY35352"/>
              </a:cxn>
              <a:cxn ang="0">
                <a:pos x="connsiteX35353" y="connsiteY35353"/>
              </a:cxn>
              <a:cxn ang="0">
                <a:pos x="connsiteX35354" y="connsiteY35354"/>
              </a:cxn>
              <a:cxn ang="0">
                <a:pos x="connsiteX35355" y="connsiteY35355"/>
              </a:cxn>
              <a:cxn ang="0">
                <a:pos x="connsiteX35356" y="connsiteY35356"/>
              </a:cxn>
              <a:cxn ang="0">
                <a:pos x="connsiteX35357" y="connsiteY35357"/>
              </a:cxn>
              <a:cxn ang="0">
                <a:pos x="connsiteX35358" y="connsiteY35358"/>
              </a:cxn>
              <a:cxn ang="0">
                <a:pos x="connsiteX35359" y="connsiteY35359"/>
              </a:cxn>
              <a:cxn ang="0">
                <a:pos x="connsiteX35360" y="connsiteY35360"/>
              </a:cxn>
              <a:cxn ang="0">
                <a:pos x="connsiteX35361" y="connsiteY35361"/>
              </a:cxn>
              <a:cxn ang="0">
                <a:pos x="connsiteX35362" y="connsiteY35362"/>
              </a:cxn>
              <a:cxn ang="0">
                <a:pos x="connsiteX35363" y="connsiteY35363"/>
              </a:cxn>
              <a:cxn ang="0">
                <a:pos x="connsiteX35364" y="connsiteY35364"/>
              </a:cxn>
              <a:cxn ang="0">
                <a:pos x="connsiteX35365" y="connsiteY35365"/>
              </a:cxn>
              <a:cxn ang="0">
                <a:pos x="connsiteX35366" y="connsiteY35366"/>
              </a:cxn>
              <a:cxn ang="0">
                <a:pos x="connsiteX35367" y="connsiteY35367"/>
              </a:cxn>
              <a:cxn ang="0">
                <a:pos x="connsiteX35368" y="connsiteY35368"/>
              </a:cxn>
              <a:cxn ang="0">
                <a:pos x="connsiteX35369" y="connsiteY35369"/>
              </a:cxn>
              <a:cxn ang="0">
                <a:pos x="connsiteX35370" y="connsiteY35370"/>
              </a:cxn>
              <a:cxn ang="0">
                <a:pos x="connsiteX35371" y="connsiteY35371"/>
              </a:cxn>
              <a:cxn ang="0">
                <a:pos x="connsiteX35372" y="connsiteY35372"/>
              </a:cxn>
              <a:cxn ang="0">
                <a:pos x="connsiteX35373" y="connsiteY35373"/>
              </a:cxn>
              <a:cxn ang="0">
                <a:pos x="connsiteX35374" y="connsiteY35374"/>
              </a:cxn>
              <a:cxn ang="0">
                <a:pos x="connsiteX35375" y="connsiteY35375"/>
              </a:cxn>
              <a:cxn ang="0">
                <a:pos x="connsiteX35376" y="connsiteY35376"/>
              </a:cxn>
              <a:cxn ang="0">
                <a:pos x="connsiteX35377" y="connsiteY35377"/>
              </a:cxn>
              <a:cxn ang="0">
                <a:pos x="connsiteX35378" y="connsiteY35378"/>
              </a:cxn>
              <a:cxn ang="0">
                <a:pos x="connsiteX35379" y="connsiteY35379"/>
              </a:cxn>
              <a:cxn ang="0">
                <a:pos x="connsiteX35380" y="connsiteY35380"/>
              </a:cxn>
              <a:cxn ang="0">
                <a:pos x="connsiteX35381" y="connsiteY35381"/>
              </a:cxn>
              <a:cxn ang="0">
                <a:pos x="connsiteX35382" y="connsiteY35382"/>
              </a:cxn>
              <a:cxn ang="0">
                <a:pos x="connsiteX35383" y="connsiteY35383"/>
              </a:cxn>
              <a:cxn ang="0">
                <a:pos x="connsiteX35384" y="connsiteY35384"/>
              </a:cxn>
              <a:cxn ang="0">
                <a:pos x="connsiteX35385" y="connsiteY35385"/>
              </a:cxn>
              <a:cxn ang="0">
                <a:pos x="connsiteX35386" y="connsiteY35386"/>
              </a:cxn>
              <a:cxn ang="0">
                <a:pos x="connsiteX35387" y="connsiteY35387"/>
              </a:cxn>
              <a:cxn ang="0">
                <a:pos x="connsiteX35388" y="connsiteY35388"/>
              </a:cxn>
              <a:cxn ang="0">
                <a:pos x="connsiteX35389" y="connsiteY35389"/>
              </a:cxn>
              <a:cxn ang="0">
                <a:pos x="connsiteX35390" y="connsiteY35390"/>
              </a:cxn>
              <a:cxn ang="0">
                <a:pos x="connsiteX35391" y="connsiteY35391"/>
              </a:cxn>
              <a:cxn ang="0">
                <a:pos x="connsiteX35392" y="connsiteY35392"/>
              </a:cxn>
              <a:cxn ang="0">
                <a:pos x="connsiteX35393" y="connsiteY35393"/>
              </a:cxn>
              <a:cxn ang="0">
                <a:pos x="connsiteX35394" y="connsiteY35394"/>
              </a:cxn>
              <a:cxn ang="0">
                <a:pos x="connsiteX35395" y="connsiteY35395"/>
              </a:cxn>
              <a:cxn ang="0">
                <a:pos x="connsiteX35396" y="connsiteY35396"/>
              </a:cxn>
              <a:cxn ang="0">
                <a:pos x="connsiteX35397" y="connsiteY35397"/>
              </a:cxn>
              <a:cxn ang="0">
                <a:pos x="connsiteX35398" y="connsiteY35398"/>
              </a:cxn>
              <a:cxn ang="0">
                <a:pos x="connsiteX35399" y="connsiteY35399"/>
              </a:cxn>
              <a:cxn ang="0">
                <a:pos x="connsiteX35400" y="connsiteY35400"/>
              </a:cxn>
              <a:cxn ang="0">
                <a:pos x="connsiteX35401" y="connsiteY35401"/>
              </a:cxn>
              <a:cxn ang="0">
                <a:pos x="connsiteX35402" y="connsiteY35402"/>
              </a:cxn>
              <a:cxn ang="0">
                <a:pos x="connsiteX35403" y="connsiteY35403"/>
              </a:cxn>
              <a:cxn ang="0">
                <a:pos x="connsiteX35404" y="connsiteY35404"/>
              </a:cxn>
              <a:cxn ang="0">
                <a:pos x="connsiteX35405" y="connsiteY35405"/>
              </a:cxn>
              <a:cxn ang="0">
                <a:pos x="connsiteX35406" y="connsiteY35406"/>
              </a:cxn>
              <a:cxn ang="0">
                <a:pos x="connsiteX35407" y="connsiteY35407"/>
              </a:cxn>
              <a:cxn ang="0">
                <a:pos x="connsiteX35408" y="connsiteY35408"/>
              </a:cxn>
              <a:cxn ang="0">
                <a:pos x="connsiteX35409" y="connsiteY35409"/>
              </a:cxn>
              <a:cxn ang="0">
                <a:pos x="connsiteX35410" y="connsiteY35410"/>
              </a:cxn>
              <a:cxn ang="0">
                <a:pos x="connsiteX35411" y="connsiteY35411"/>
              </a:cxn>
              <a:cxn ang="0">
                <a:pos x="connsiteX35412" y="connsiteY35412"/>
              </a:cxn>
              <a:cxn ang="0">
                <a:pos x="connsiteX35413" y="connsiteY35413"/>
              </a:cxn>
              <a:cxn ang="0">
                <a:pos x="connsiteX35414" y="connsiteY35414"/>
              </a:cxn>
              <a:cxn ang="0">
                <a:pos x="connsiteX35415" y="connsiteY35415"/>
              </a:cxn>
              <a:cxn ang="0">
                <a:pos x="connsiteX35416" y="connsiteY35416"/>
              </a:cxn>
              <a:cxn ang="0">
                <a:pos x="connsiteX35417" y="connsiteY35417"/>
              </a:cxn>
              <a:cxn ang="0">
                <a:pos x="connsiteX35418" y="connsiteY35418"/>
              </a:cxn>
              <a:cxn ang="0">
                <a:pos x="connsiteX35419" y="connsiteY35419"/>
              </a:cxn>
              <a:cxn ang="0">
                <a:pos x="connsiteX35420" y="connsiteY35420"/>
              </a:cxn>
              <a:cxn ang="0">
                <a:pos x="connsiteX35421" y="connsiteY35421"/>
              </a:cxn>
              <a:cxn ang="0">
                <a:pos x="connsiteX35422" y="connsiteY35422"/>
              </a:cxn>
              <a:cxn ang="0">
                <a:pos x="connsiteX35423" y="connsiteY35423"/>
              </a:cxn>
              <a:cxn ang="0">
                <a:pos x="connsiteX35424" y="connsiteY35424"/>
              </a:cxn>
              <a:cxn ang="0">
                <a:pos x="connsiteX35425" y="connsiteY35425"/>
              </a:cxn>
              <a:cxn ang="0">
                <a:pos x="connsiteX35426" y="connsiteY35426"/>
              </a:cxn>
              <a:cxn ang="0">
                <a:pos x="connsiteX35427" y="connsiteY35427"/>
              </a:cxn>
              <a:cxn ang="0">
                <a:pos x="connsiteX35428" y="connsiteY35428"/>
              </a:cxn>
              <a:cxn ang="0">
                <a:pos x="connsiteX35429" y="connsiteY35429"/>
              </a:cxn>
              <a:cxn ang="0">
                <a:pos x="connsiteX35430" y="connsiteY35430"/>
              </a:cxn>
              <a:cxn ang="0">
                <a:pos x="connsiteX35431" y="connsiteY35431"/>
              </a:cxn>
              <a:cxn ang="0">
                <a:pos x="connsiteX35432" y="connsiteY35432"/>
              </a:cxn>
              <a:cxn ang="0">
                <a:pos x="connsiteX35433" y="connsiteY35433"/>
              </a:cxn>
              <a:cxn ang="0">
                <a:pos x="connsiteX35434" y="connsiteY35434"/>
              </a:cxn>
              <a:cxn ang="0">
                <a:pos x="connsiteX35435" y="connsiteY35435"/>
              </a:cxn>
              <a:cxn ang="0">
                <a:pos x="connsiteX35436" y="connsiteY35436"/>
              </a:cxn>
              <a:cxn ang="0">
                <a:pos x="connsiteX35437" y="connsiteY35437"/>
              </a:cxn>
              <a:cxn ang="0">
                <a:pos x="connsiteX35438" y="connsiteY35438"/>
              </a:cxn>
              <a:cxn ang="0">
                <a:pos x="connsiteX35439" y="connsiteY35439"/>
              </a:cxn>
              <a:cxn ang="0">
                <a:pos x="connsiteX35440" y="connsiteY35440"/>
              </a:cxn>
              <a:cxn ang="0">
                <a:pos x="connsiteX35441" y="connsiteY35441"/>
              </a:cxn>
              <a:cxn ang="0">
                <a:pos x="connsiteX35442" y="connsiteY35442"/>
              </a:cxn>
              <a:cxn ang="0">
                <a:pos x="connsiteX35443" y="connsiteY35443"/>
              </a:cxn>
              <a:cxn ang="0">
                <a:pos x="connsiteX35444" y="connsiteY35444"/>
              </a:cxn>
              <a:cxn ang="0">
                <a:pos x="connsiteX35445" y="connsiteY35445"/>
              </a:cxn>
              <a:cxn ang="0">
                <a:pos x="connsiteX35446" y="connsiteY35446"/>
              </a:cxn>
              <a:cxn ang="0">
                <a:pos x="connsiteX35447" y="connsiteY35447"/>
              </a:cxn>
              <a:cxn ang="0">
                <a:pos x="connsiteX35448" y="connsiteY35448"/>
              </a:cxn>
              <a:cxn ang="0">
                <a:pos x="connsiteX35449" y="connsiteY35449"/>
              </a:cxn>
              <a:cxn ang="0">
                <a:pos x="connsiteX35450" y="connsiteY35450"/>
              </a:cxn>
              <a:cxn ang="0">
                <a:pos x="connsiteX35451" y="connsiteY35451"/>
              </a:cxn>
              <a:cxn ang="0">
                <a:pos x="connsiteX35452" y="connsiteY35452"/>
              </a:cxn>
              <a:cxn ang="0">
                <a:pos x="connsiteX35453" y="connsiteY35453"/>
              </a:cxn>
              <a:cxn ang="0">
                <a:pos x="connsiteX35454" y="connsiteY35454"/>
              </a:cxn>
              <a:cxn ang="0">
                <a:pos x="connsiteX35455" y="connsiteY35455"/>
              </a:cxn>
              <a:cxn ang="0">
                <a:pos x="connsiteX35456" y="connsiteY35456"/>
              </a:cxn>
              <a:cxn ang="0">
                <a:pos x="connsiteX35457" y="connsiteY35457"/>
              </a:cxn>
              <a:cxn ang="0">
                <a:pos x="connsiteX35458" y="connsiteY35458"/>
              </a:cxn>
              <a:cxn ang="0">
                <a:pos x="connsiteX35459" y="connsiteY35459"/>
              </a:cxn>
              <a:cxn ang="0">
                <a:pos x="connsiteX35460" y="connsiteY35460"/>
              </a:cxn>
              <a:cxn ang="0">
                <a:pos x="connsiteX35461" y="connsiteY35461"/>
              </a:cxn>
              <a:cxn ang="0">
                <a:pos x="connsiteX35462" y="connsiteY35462"/>
              </a:cxn>
              <a:cxn ang="0">
                <a:pos x="connsiteX35463" y="connsiteY35463"/>
              </a:cxn>
              <a:cxn ang="0">
                <a:pos x="connsiteX35464" y="connsiteY35464"/>
              </a:cxn>
              <a:cxn ang="0">
                <a:pos x="connsiteX35465" y="connsiteY35465"/>
              </a:cxn>
              <a:cxn ang="0">
                <a:pos x="connsiteX35466" y="connsiteY35466"/>
              </a:cxn>
              <a:cxn ang="0">
                <a:pos x="connsiteX35467" y="connsiteY35467"/>
              </a:cxn>
              <a:cxn ang="0">
                <a:pos x="connsiteX35468" y="connsiteY35468"/>
              </a:cxn>
              <a:cxn ang="0">
                <a:pos x="connsiteX35469" y="connsiteY35469"/>
              </a:cxn>
              <a:cxn ang="0">
                <a:pos x="connsiteX35470" y="connsiteY35470"/>
              </a:cxn>
              <a:cxn ang="0">
                <a:pos x="connsiteX35471" y="connsiteY35471"/>
              </a:cxn>
              <a:cxn ang="0">
                <a:pos x="connsiteX35472" y="connsiteY35472"/>
              </a:cxn>
              <a:cxn ang="0">
                <a:pos x="connsiteX35473" y="connsiteY35473"/>
              </a:cxn>
              <a:cxn ang="0">
                <a:pos x="connsiteX35474" y="connsiteY35474"/>
              </a:cxn>
              <a:cxn ang="0">
                <a:pos x="connsiteX35475" y="connsiteY35475"/>
              </a:cxn>
              <a:cxn ang="0">
                <a:pos x="connsiteX35476" y="connsiteY35476"/>
              </a:cxn>
              <a:cxn ang="0">
                <a:pos x="connsiteX35477" y="connsiteY35477"/>
              </a:cxn>
              <a:cxn ang="0">
                <a:pos x="connsiteX35478" y="connsiteY35478"/>
              </a:cxn>
              <a:cxn ang="0">
                <a:pos x="connsiteX35479" y="connsiteY35479"/>
              </a:cxn>
              <a:cxn ang="0">
                <a:pos x="connsiteX35480" y="connsiteY35480"/>
              </a:cxn>
              <a:cxn ang="0">
                <a:pos x="connsiteX35481" y="connsiteY35481"/>
              </a:cxn>
              <a:cxn ang="0">
                <a:pos x="connsiteX35482" y="connsiteY35482"/>
              </a:cxn>
              <a:cxn ang="0">
                <a:pos x="connsiteX35483" y="connsiteY35483"/>
              </a:cxn>
              <a:cxn ang="0">
                <a:pos x="connsiteX35484" y="connsiteY35484"/>
              </a:cxn>
              <a:cxn ang="0">
                <a:pos x="connsiteX35485" y="connsiteY35485"/>
              </a:cxn>
              <a:cxn ang="0">
                <a:pos x="connsiteX35486" y="connsiteY35486"/>
              </a:cxn>
              <a:cxn ang="0">
                <a:pos x="connsiteX35487" y="connsiteY35487"/>
              </a:cxn>
              <a:cxn ang="0">
                <a:pos x="connsiteX35488" y="connsiteY35488"/>
              </a:cxn>
              <a:cxn ang="0">
                <a:pos x="connsiteX35489" y="connsiteY35489"/>
              </a:cxn>
              <a:cxn ang="0">
                <a:pos x="connsiteX35490" y="connsiteY35490"/>
              </a:cxn>
              <a:cxn ang="0">
                <a:pos x="connsiteX35491" y="connsiteY35491"/>
              </a:cxn>
              <a:cxn ang="0">
                <a:pos x="connsiteX35492" y="connsiteY35492"/>
              </a:cxn>
              <a:cxn ang="0">
                <a:pos x="connsiteX35493" y="connsiteY35493"/>
              </a:cxn>
              <a:cxn ang="0">
                <a:pos x="connsiteX35494" y="connsiteY35494"/>
              </a:cxn>
              <a:cxn ang="0">
                <a:pos x="connsiteX35495" y="connsiteY35495"/>
              </a:cxn>
              <a:cxn ang="0">
                <a:pos x="connsiteX35496" y="connsiteY35496"/>
              </a:cxn>
              <a:cxn ang="0">
                <a:pos x="connsiteX35497" y="connsiteY35497"/>
              </a:cxn>
              <a:cxn ang="0">
                <a:pos x="connsiteX35498" y="connsiteY35498"/>
              </a:cxn>
              <a:cxn ang="0">
                <a:pos x="connsiteX35499" y="connsiteY35499"/>
              </a:cxn>
              <a:cxn ang="0">
                <a:pos x="connsiteX35500" y="connsiteY35500"/>
              </a:cxn>
              <a:cxn ang="0">
                <a:pos x="connsiteX35501" y="connsiteY35501"/>
              </a:cxn>
              <a:cxn ang="0">
                <a:pos x="connsiteX35502" y="connsiteY35502"/>
              </a:cxn>
              <a:cxn ang="0">
                <a:pos x="connsiteX35503" y="connsiteY35503"/>
              </a:cxn>
              <a:cxn ang="0">
                <a:pos x="connsiteX35504" y="connsiteY35504"/>
              </a:cxn>
              <a:cxn ang="0">
                <a:pos x="connsiteX35505" y="connsiteY35505"/>
              </a:cxn>
              <a:cxn ang="0">
                <a:pos x="connsiteX35506" y="connsiteY35506"/>
              </a:cxn>
              <a:cxn ang="0">
                <a:pos x="connsiteX35507" y="connsiteY35507"/>
              </a:cxn>
              <a:cxn ang="0">
                <a:pos x="connsiteX35508" y="connsiteY35508"/>
              </a:cxn>
              <a:cxn ang="0">
                <a:pos x="connsiteX35509" y="connsiteY35509"/>
              </a:cxn>
              <a:cxn ang="0">
                <a:pos x="connsiteX35510" y="connsiteY35510"/>
              </a:cxn>
              <a:cxn ang="0">
                <a:pos x="connsiteX35511" y="connsiteY35511"/>
              </a:cxn>
              <a:cxn ang="0">
                <a:pos x="connsiteX35512" y="connsiteY35512"/>
              </a:cxn>
              <a:cxn ang="0">
                <a:pos x="connsiteX35513" y="connsiteY35513"/>
              </a:cxn>
              <a:cxn ang="0">
                <a:pos x="connsiteX35514" y="connsiteY35514"/>
              </a:cxn>
              <a:cxn ang="0">
                <a:pos x="connsiteX35515" y="connsiteY35515"/>
              </a:cxn>
              <a:cxn ang="0">
                <a:pos x="connsiteX35516" y="connsiteY35516"/>
              </a:cxn>
              <a:cxn ang="0">
                <a:pos x="connsiteX35517" y="connsiteY35517"/>
              </a:cxn>
              <a:cxn ang="0">
                <a:pos x="connsiteX35518" y="connsiteY35518"/>
              </a:cxn>
              <a:cxn ang="0">
                <a:pos x="connsiteX35519" y="connsiteY35519"/>
              </a:cxn>
              <a:cxn ang="0">
                <a:pos x="connsiteX35520" y="connsiteY35520"/>
              </a:cxn>
              <a:cxn ang="0">
                <a:pos x="connsiteX35521" y="connsiteY35521"/>
              </a:cxn>
              <a:cxn ang="0">
                <a:pos x="connsiteX35522" y="connsiteY35522"/>
              </a:cxn>
              <a:cxn ang="0">
                <a:pos x="connsiteX35523" y="connsiteY35523"/>
              </a:cxn>
              <a:cxn ang="0">
                <a:pos x="connsiteX35524" y="connsiteY35524"/>
              </a:cxn>
              <a:cxn ang="0">
                <a:pos x="connsiteX35525" y="connsiteY35525"/>
              </a:cxn>
              <a:cxn ang="0">
                <a:pos x="connsiteX35526" y="connsiteY35526"/>
              </a:cxn>
              <a:cxn ang="0">
                <a:pos x="connsiteX35527" y="connsiteY35527"/>
              </a:cxn>
              <a:cxn ang="0">
                <a:pos x="connsiteX35528" y="connsiteY35528"/>
              </a:cxn>
              <a:cxn ang="0">
                <a:pos x="connsiteX35529" y="connsiteY35529"/>
              </a:cxn>
              <a:cxn ang="0">
                <a:pos x="connsiteX35530" y="connsiteY35530"/>
              </a:cxn>
              <a:cxn ang="0">
                <a:pos x="connsiteX35531" y="connsiteY35531"/>
              </a:cxn>
              <a:cxn ang="0">
                <a:pos x="connsiteX35532" y="connsiteY35532"/>
              </a:cxn>
              <a:cxn ang="0">
                <a:pos x="connsiteX35533" y="connsiteY35533"/>
              </a:cxn>
              <a:cxn ang="0">
                <a:pos x="connsiteX35534" y="connsiteY35534"/>
              </a:cxn>
              <a:cxn ang="0">
                <a:pos x="connsiteX35535" y="connsiteY35535"/>
              </a:cxn>
              <a:cxn ang="0">
                <a:pos x="connsiteX35536" y="connsiteY35536"/>
              </a:cxn>
              <a:cxn ang="0">
                <a:pos x="connsiteX35537" y="connsiteY35537"/>
              </a:cxn>
              <a:cxn ang="0">
                <a:pos x="connsiteX35538" y="connsiteY35538"/>
              </a:cxn>
              <a:cxn ang="0">
                <a:pos x="connsiteX35539" y="connsiteY35539"/>
              </a:cxn>
              <a:cxn ang="0">
                <a:pos x="connsiteX35540" y="connsiteY35540"/>
              </a:cxn>
              <a:cxn ang="0">
                <a:pos x="connsiteX35541" y="connsiteY35541"/>
              </a:cxn>
              <a:cxn ang="0">
                <a:pos x="connsiteX35542" y="connsiteY35542"/>
              </a:cxn>
              <a:cxn ang="0">
                <a:pos x="connsiteX35543" y="connsiteY35543"/>
              </a:cxn>
              <a:cxn ang="0">
                <a:pos x="connsiteX35544" y="connsiteY35544"/>
              </a:cxn>
              <a:cxn ang="0">
                <a:pos x="connsiteX35545" y="connsiteY35545"/>
              </a:cxn>
              <a:cxn ang="0">
                <a:pos x="connsiteX35546" y="connsiteY35546"/>
              </a:cxn>
              <a:cxn ang="0">
                <a:pos x="connsiteX35547" y="connsiteY35547"/>
              </a:cxn>
              <a:cxn ang="0">
                <a:pos x="connsiteX35548" y="connsiteY35548"/>
              </a:cxn>
              <a:cxn ang="0">
                <a:pos x="connsiteX35549" y="connsiteY35549"/>
              </a:cxn>
              <a:cxn ang="0">
                <a:pos x="connsiteX35550" y="connsiteY35550"/>
              </a:cxn>
              <a:cxn ang="0">
                <a:pos x="connsiteX35551" y="connsiteY35551"/>
              </a:cxn>
              <a:cxn ang="0">
                <a:pos x="connsiteX35552" y="connsiteY35552"/>
              </a:cxn>
              <a:cxn ang="0">
                <a:pos x="connsiteX35553" y="connsiteY35553"/>
              </a:cxn>
              <a:cxn ang="0">
                <a:pos x="connsiteX35554" y="connsiteY35554"/>
              </a:cxn>
              <a:cxn ang="0">
                <a:pos x="connsiteX35555" y="connsiteY35555"/>
              </a:cxn>
              <a:cxn ang="0">
                <a:pos x="connsiteX35556" y="connsiteY35556"/>
              </a:cxn>
              <a:cxn ang="0">
                <a:pos x="connsiteX35557" y="connsiteY35557"/>
              </a:cxn>
              <a:cxn ang="0">
                <a:pos x="connsiteX35558" y="connsiteY35558"/>
              </a:cxn>
              <a:cxn ang="0">
                <a:pos x="connsiteX35559" y="connsiteY35559"/>
              </a:cxn>
              <a:cxn ang="0">
                <a:pos x="connsiteX35560" y="connsiteY35560"/>
              </a:cxn>
              <a:cxn ang="0">
                <a:pos x="connsiteX35561" y="connsiteY35561"/>
              </a:cxn>
              <a:cxn ang="0">
                <a:pos x="connsiteX35562" y="connsiteY35562"/>
              </a:cxn>
              <a:cxn ang="0">
                <a:pos x="connsiteX35563" y="connsiteY35563"/>
              </a:cxn>
              <a:cxn ang="0">
                <a:pos x="connsiteX35564" y="connsiteY35564"/>
              </a:cxn>
              <a:cxn ang="0">
                <a:pos x="connsiteX35565" y="connsiteY35565"/>
              </a:cxn>
              <a:cxn ang="0">
                <a:pos x="connsiteX35566" y="connsiteY35566"/>
              </a:cxn>
              <a:cxn ang="0">
                <a:pos x="connsiteX35567" y="connsiteY35567"/>
              </a:cxn>
              <a:cxn ang="0">
                <a:pos x="connsiteX35568" y="connsiteY35568"/>
              </a:cxn>
              <a:cxn ang="0">
                <a:pos x="connsiteX35569" y="connsiteY35569"/>
              </a:cxn>
              <a:cxn ang="0">
                <a:pos x="connsiteX35570" y="connsiteY35570"/>
              </a:cxn>
              <a:cxn ang="0">
                <a:pos x="connsiteX35571" y="connsiteY35571"/>
              </a:cxn>
              <a:cxn ang="0">
                <a:pos x="connsiteX35572" y="connsiteY35572"/>
              </a:cxn>
              <a:cxn ang="0">
                <a:pos x="connsiteX35573" y="connsiteY35573"/>
              </a:cxn>
              <a:cxn ang="0">
                <a:pos x="connsiteX35574" y="connsiteY35574"/>
              </a:cxn>
              <a:cxn ang="0">
                <a:pos x="connsiteX35575" y="connsiteY35575"/>
              </a:cxn>
              <a:cxn ang="0">
                <a:pos x="connsiteX35576" y="connsiteY35576"/>
              </a:cxn>
              <a:cxn ang="0">
                <a:pos x="connsiteX35577" y="connsiteY35577"/>
              </a:cxn>
              <a:cxn ang="0">
                <a:pos x="connsiteX35578" y="connsiteY35578"/>
              </a:cxn>
              <a:cxn ang="0">
                <a:pos x="connsiteX35579" y="connsiteY35579"/>
              </a:cxn>
              <a:cxn ang="0">
                <a:pos x="connsiteX35580" y="connsiteY35580"/>
              </a:cxn>
              <a:cxn ang="0">
                <a:pos x="connsiteX35581" y="connsiteY35581"/>
              </a:cxn>
              <a:cxn ang="0">
                <a:pos x="connsiteX35582" y="connsiteY35582"/>
              </a:cxn>
              <a:cxn ang="0">
                <a:pos x="connsiteX35583" y="connsiteY35583"/>
              </a:cxn>
              <a:cxn ang="0">
                <a:pos x="connsiteX35584" y="connsiteY35584"/>
              </a:cxn>
              <a:cxn ang="0">
                <a:pos x="connsiteX35585" y="connsiteY35585"/>
              </a:cxn>
              <a:cxn ang="0">
                <a:pos x="connsiteX35586" y="connsiteY35586"/>
              </a:cxn>
              <a:cxn ang="0">
                <a:pos x="connsiteX35587" y="connsiteY35587"/>
              </a:cxn>
              <a:cxn ang="0">
                <a:pos x="connsiteX35588" y="connsiteY35588"/>
              </a:cxn>
              <a:cxn ang="0">
                <a:pos x="connsiteX35589" y="connsiteY35589"/>
              </a:cxn>
              <a:cxn ang="0">
                <a:pos x="connsiteX35590" y="connsiteY35590"/>
              </a:cxn>
              <a:cxn ang="0">
                <a:pos x="connsiteX35591" y="connsiteY35591"/>
              </a:cxn>
              <a:cxn ang="0">
                <a:pos x="connsiteX35592" y="connsiteY35592"/>
              </a:cxn>
              <a:cxn ang="0">
                <a:pos x="connsiteX35593" y="connsiteY35593"/>
              </a:cxn>
              <a:cxn ang="0">
                <a:pos x="connsiteX35594" y="connsiteY35594"/>
              </a:cxn>
              <a:cxn ang="0">
                <a:pos x="connsiteX35595" y="connsiteY35595"/>
              </a:cxn>
              <a:cxn ang="0">
                <a:pos x="connsiteX35596" y="connsiteY35596"/>
              </a:cxn>
              <a:cxn ang="0">
                <a:pos x="connsiteX35597" y="connsiteY35597"/>
              </a:cxn>
              <a:cxn ang="0">
                <a:pos x="connsiteX35598" y="connsiteY35598"/>
              </a:cxn>
              <a:cxn ang="0">
                <a:pos x="connsiteX35599" y="connsiteY35599"/>
              </a:cxn>
              <a:cxn ang="0">
                <a:pos x="connsiteX35600" y="connsiteY35600"/>
              </a:cxn>
              <a:cxn ang="0">
                <a:pos x="connsiteX35601" y="connsiteY35601"/>
              </a:cxn>
              <a:cxn ang="0">
                <a:pos x="connsiteX35602" y="connsiteY35602"/>
              </a:cxn>
              <a:cxn ang="0">
                <a:pos x="connsiteX35603" y="connsiteY35603"/>
              </a:cxn>
              <a:cxn ang="0">
                <a:pos x="connsiteX35604" y="connsiteY35604"/>
              </a:cxn>
              <a:cxn ang="0">
                <a:pos x="connsiteX35605" y="connsiteY35605"/>
              </a:cxn>
              <a:cxn ang="0">
                <a:pos x="connsiteX35606" y="connsiteY35606"/>
              </a:cxn>
              <a:cxn ang="0">
                <a:pos x="connsiteX35607" y="connsiteY35607"/>
              </a:cxn>
              <a:cxn ang="0">
                <a:pos x="connsiteX35608" y="connsiteY35608"/>
              </a:cxn>
              <a:cxn ang="0">
                <a:pos x="connsiteX35609" y="connsiteY35609"/>
              </a:cxn>
              <a:cxn ang="0">
                <a:pos x="connsiteX35610" y="connsiteY35610"/>
              </a:cxn>
              <a:cxn ang="0">
                <a:pos x="connsiteX35611" y="connsiteY35611"/>
              </a:cxn>
              <a:cxn ang="0">
                <a:pos x="connsiteX35612" y="connsiteY35612"/>
              </a:cxn>
              <a:cxn ang="0">
                <a:pos x="connsiteX35613" y="connsiteY35613"/>
              </a:cxn>
              <a:cxn ang="0">
                <a:pos x="connsiteX35614" y="connsiteY35614"/>
              </a:cxn>
              <a:cxn ang="0">
                <a:pos x="connsiteX35615" y="connsiteY35615"/>
              </a:cxn>
              <a:cxn ang="0">
                <a:pos x="connsiteX35616" y="connsiteY35616"/>
              </a:cxn>
              <a:cxn ang="0">
                <a:pos x="connsiteX35617" y="connsiteY35617"/>
              </a:cxn>
              <a:cxn ang="0">
                <a:pos x="connsiteX35618" y="connsiteY35618"/>
              </a:cxn>
              <a:cxn ang="0">
                <a:pos x="connsiteX35619" y="connsiteY35619"/>
              </a:cxn>
              <a:cxn ang="0">
                <a:pos x="connsiteX35620" y="connsiteY35620"/>
              </a:cxn>
              <a:cxn ang="0">
                <a:pos x="connsiteX35621" y="connsiteY35621"/>
              </a:cxn>
              <a:cxn ang="0">
                <a:pos x="connsiteX35622" y="connsiteY35622"/>
              </a:cxn>
              <a:cxn ang="0">
                <a:pos x="connsiteX35623" y="connsiteY35623"/>
              </a:cxn>
              <a:cxn ang="0">
                <a:pos x="connsiteX35624" y="connsiteY35624"/>
              </a:cxn>
              <a:cxn ang="0">
                <a:pos x="connsiteX35625" y="connsiteY35625"/>
              </a:cxn>
              <a:cxn ang="0">
                <a:pos x="connsiteX35626" y="connsiteY35626"/>
              </a:cxn>
              <a:cxn ang="0">
                <a:pos x="connsiteX35627" y="connsiteY35627"/>
              </a:cxn>
              <a:cxn ang="0">
                <a:pos x="connsiteX35628" y="connsiteY35628"/>
              </a:cxn>
              <a:cxn ang="0">
                <a:pos x="connsiteX35629" y="connsiteY35629"/>
              </a:cxn>
              <a:cxn ang="0">
                <a:pos x="connsiteX35630" y="connsiteY35630"/>
              </a:cxn>
              <a:cxn ang="0">
                <a:pos x="connsiteX35631" y="connsiteY35631"/>
              </a:cxn>
              <a:cxn ang="0">
                <a:pos x="connsiteX35632" y="connsiteY35632"/>
              </a:cxn>
              <a:cxn ang="0">
                <a:pos x="connsiteX35633" y="connsiteY35633"/>
              </a:cxn>
              <a:cxn ang="0">
                <a:pos x="connsiteX35634" y="connsiteY35634"/>
              </a:cxn>
              <a:cxn ang="0">
                <a:pos x="connsiteX35635" y="connsiteY35635"/>
              </a:cxn>
              <a:cxn ang="0">
                <a:pos x="connsiteX35636" y="connsiteY35636"/>
              </a:cxn>
              <a:cxn ang="0">
                <a:pos x="connsiteX35637" y="connsiteY35637"/>
              </a:cxn>
              <a:cxn ang="0">
                <a:pos x="connsiteX35638" y="connsiteY35638"/>
              </a:cxn>
              <a:cxn ang="0">
                <a:pos x="connsiteX35639" y="connsiteY35639"/>
              </a:cxn>
              <a:cxn ang="0">
                <a:pos x="connsiteX35640" y="connsiteY35640"/>
              </a:cxn>
              <a:cxn ang="0">
                <a:pos x="connsiteX35641" y="connsiteY35641"/>
              </a:cxn>
              <a:cxn ang="0">
                <a:pos x="connsiteX35642" y="connsiteY35642"/>
              </a:cxn>
              <a:cxn ang="0">
                <a:pos x="connsiteX35643" y="connsiteY35643"/>
              </a:cxn>
              <a:cxn ang="0">
                <a:pos x="connsiteX35644" y="connsiteY35644"/>
              </a:cxn>
              <a:cxn ang="0">
                <a:pos x="connsiteX35645" y="connsiteY35645"/>
              </a:cxn>
              <a:cxn ang="0">
                <a:pos x="connsiteX35646" y="connsiteY35646"/>
              </a:cxn>
              <a:cxn ang="0">
                <a:pos x="connsiteX35647" y="connsiteY35647"/>
              </a:cxn>
              <a:cxn ang="0">
                <a:pos x="connsiteX35648" y="connsiteY35648"/>
              </a:cxn>
              <a:cxn ang="0">
                <a:pos x="connsiteX35649" y="connsiteY35649"/>
              </a:cxn>
              <a:cxn ang="0">
                <a:pos x="connsiteX35650" y="connsiteY35650"/>
              </a:cxn>
              <a:cxn ang="0">
                <a:pos x="connsiteX35651" y="connsiteY35651"/>
              </a:cxn>
              <a:cxn ang="0">
                <a:pos x="connsiteX35652" y="connsiteY35652"/>
              </a:cxn>
              <a:cxn ang="0">
                <a:pos x="connsiteX35653" y="connsiteY35653"/>
              </a:cxn>
              <a:cxn ang="0">
                <a:pos x="connsiteX35654" y="connsiteY35654"/>
              </a:cxn>
              <a:cxn ang="0">
                <a:pos x="connsiteX35655" y="connsiteY35655"/>
              </a:cxn>
              <a:cxn ang="0">
                <a:pos x="connsiteX35656" y="connsiteY35656"/>
              </a:cxn>
              <a:cxn ang="0">
                <a:pos x="connsiteX35657" y="connsiteY35657"/>
              </a:cxn>
              <a:cxn ang="0">
                <a:pos x="connsiteX35658" y="connsiteY35658"/>
              </a:cxn>
              <a:cxn ang="0">
                <a:pos x="connsiteX35659" y="connsiteY35659"/>
              </a:cxn>
              <a:cxn ang="0">
                <a:pos x="connsiteX35660" y="connsiteY35660"/>
              </a:cxn>
              <a:cxn ang="0">
                <a:pos x="connsiteX35661" y="connsiteY35661"/>
              </a:cxn>
              <a:cxn ang="0">
                <a:pos x="connsiteX35662" y="connsiteY35662"/>
              </a:cxn>
              <a:cxn ang="0">
                <a:pos x="connsiteX35663" y="connsiteY35663"/>
              </a:cxn>
              <a:cxn ang="0">
                <a:pos x="connsiteX35664" y="connsiteY35664"/>
              </a:cxn>
              <a:cxn ang="0">
                <a:pos x="connsiteX35665" y="connsiteY35665"/>
              </a:cxn>
              <a:cxn ang="0">
                <a:pos x="connsiteX35666" y="connsiteY35666"/>
              </a:cxn>
              <a:cxn ang="0">
                <a:pos x="connsiteX35667" y="connsiteY35667"/>
              </a:cxn>
              <a:cxn ang="0">
                <a:pos x="connsiteX35668" y="connsiteY35668"/>
              </a:cxn>
              <a:cxn ang="0">
                <a:pos x="connsiteX35669" y="connsiteY35669"/>
              </a:cxn>
              <a:cxn ang="0">
                <a:pos x="connsiteX35670" y="connsiteY35670"/>
              </a:cxn>
              <a:cxn ang="0">
                <a:pos x="connsiteX35671" y="connsiteY35671"/>
              </a:cxn>
              <a:cxn ang="0">
                <a:pos x="connsiteX35672" y="connsiteY35672"/>
              </a:cxn>
              <a:cxn ang="0">
                <a:pos x="connsiteX35673" y="connsiteY35673"/>
              </a:cxn>
              <a:cxn ang="0">
                <a:pos x="connsiteX35674" y="connsiteY35674"/>
              </a:cxn>
              <a:cxn ang="0">
                <a:pos x="connsiteX35675" y="connsiteY35675"/>
              </a:cxn>
              <a:cxn ang="0">
                <a:pos x="connsiteX35676" y="connsiteY35676"/>
              </a:cxn>
              <a:cxn ang="0">
                <a:pos x="connsiteX35677" y="connsiteY35677"/>
              </a:cxn>
              <a:cxn ang="0">
                <a:pos x="connsiteX35678" y="connsiteY35678"/>
              </a:cxn>
              <a:cxn ang="0">
                <a:pos x="connsiteX35679" y="connsiteY35679"/>
              </a:cxn>
              <a:cxn ang="0">
                <a:pos x="connsiteX35680" y="connsiteY35680"/>
              </a:cxn>
              <a:cxn ang="0">
                <a:pos x="connsiteX35681" y="connsiteY35681"/>
              </a:cxn>
              <a:cxn ang="0">
                <a:pos x="connsiteX35682" y="connsiteY35682"/>
              </a:cxn>
              <a:cxn ang="0">
                <a:pos x="connsiteX35683" y="connsiteY35683"/>
              </a:cxn>
              <a:cxn ang="0">
                <a:pos x="connsiteX35684" y="connsiteY35684"/>
              </a:cxn>
              <a:cxn ang="0">
                <a:pos x="connsiteX35685" y="connsiteY35685"/>
              </a:cxn>
              <a:cxn ang="0">
                <a:pos x="connsiteX35686" y="connsiteY35686"/>
              </a:cxn>
              <a:cxn ang="0">
                <a:pos x="connsiteX35687" y="connsiteY35687"/>
              </a:cxn>
              <a:cxn ang="0">
                <a:pos x="connsiteX35688" y="connsiteY35688"/>
              </a:cxn>
              <a:cxn ang="0">
                <a:pos x="connsiteX35689" y="connsiteY35689"/>
              </a:cxn>
              <a:cxn ang="0">
                <a:pos x="connsiteX35690" y="connsiteY35690"/>
              </a:cxn>
              <a:cxn ang="0">
                <a:pos x="connsiteX35691" y="connsiteY35691"/>
              </a:cxn>
              <a:cxn ang="0">
                <a:pos x="connsiteX35692" y="connsiteY35692"/>
              </a:cxn>
              <a:cxn ang="0">
                <a:pos x="connsiteX35693" y="connsiteY35693"/>
              </a:cxn>
              <a:cxn ang="0">
                <a:pos x="connsiteX35694" y="connsiteY35694"/>
              </a:cxn>
              <a:cxn ang="0">
                <a:pos x="connsiteX35695" y="connsiteY35695"/>
              </a:cxn>
              <a:cxn ang="0">
                <a:pos x="connsiteX35696" y="connsiteY35696"/>
              </a:cxn>
              <a:cxn ang="0">
                <a:pos x="connsiteX35697" y="connsiteY35697"/>
              </a:cxn>
              <a:cxn ang="0">
                <a:pos x="connsiteX35698" y="connsiteY35698"/>
              </a:cxn>
              <a:cxn ang="0">
                <a:pos x="connsiteX35699" y="connsiteY35699"/>
              </a:cxn>
              <a:cxn ang="0">
                <a:pos x="connsiteX35700" y="connsiteY35700"/>
              </a:cxn>
              <a:cxn ang="0">
                <a:pos x="connsiteX35701" y="connsiteY35701"/>
              </a:cxn>
              <a:cxn ang="0">
                <a:pos x="connsiteX35702" y="connsiteY35702"/>
              </a:cxn>
              <a:cxn ang="0">
                <a:pos x="connsiteX35703" y="connsiteY35703"/>
              </a:cxn>
              <a:cxn ang="0">
                <a:pos x="connsiteX35704" y="connsiteY35704"/>
              </a:cxn>
              <a:cxn ang="0">
                <a:pos x="connsiteX35705" y="connsiteY35705"/>
              </a:cxn>
              <a:cxn ang="0">
                <a:pos x="connsiteX35706" y="connsiteY35706"/>
              </a:cxn>
              <a:cxn ang="0">
                <a:pos x="connsiteX35707" y="connsiteY35707"/>
              </a:cxn>
              <a:cxn ang="0">
                <a:pos x="connsiteX35708" y="connsiteY35708"/>
              </a:cxn>
              <a:cxn ang="0">
                <a:pos x="connsiteX35709" y="connsiteY35709"/>
              </a:cxn>
              <a:cxn ang="0">
                <a:pos x="connsiteX35710" y="connsiteY35710"/>
              </a:cxn>
              <a:cxn ang="0">
                <a:pos x="connsiteX35711" y="connsiteY35711"/>
              </a:cxn>
              <a:cxn ang="0">
                <a:pos x="connsiteX35712" y="connsiteY35712"/>
              </a:cxn>
              <a:cxn ang="0">
                <a:pos x="connsiteX35713" y="connsiteY35713"/>
              </a:cxn>
              <a:cxn ang="0">
                <a:pos x="connsiteX35714" y="connsiteY35714"/>
              </a:cxn>
              <a:cxn ang="0">
                <a:pos x="connsiteX35715" y="connsiteY35715"/>
              </a:cxn>
              <a:cxn ang="0">
                <a:pos x="connsiteX35716" y="connsiteY35716"/>
              </a:cxn>
              <a:cxn ang="0">
                <a:pos x="connsiteX35717" y="connsiteY35717"/>
              </a:cxn>
              <a:cxn ang="0">
                <a:pos x="connsiteX35718" y="connsiteY35718"/>
              </a:cxn>
              <a:cxn ang="0">
                <a:pos x="connsiteX35719" y="connsiteY35719"/>
              </a:cxn>
              <a:cxn ang="0">
                <a:pos x="connsiteX35720" y="connsiteY35720"/>
              </a:cxn>
              <a:cxn ang="0">
                <a:pos x="connsiteX35721" y="connsiteY35721"/>
              </a:cxn>
              <a:cxn ang="0">
                <a:pos x="connsiteX35722" y="connsiteY35722"/>
              </a:cxn>
              <a:cxn ang="0">
                <a:pos x="connsiteX35723" y="connsiteY35723"/>
              </a:cxn>
              <a:cxn ang="0">
                <a:pos x="connsiteX35724" y="connsiteY35724"/>
              </a:cxn>
              <a:cxn ang="0">
                <a:pos x="connsiteX35725" y="connsiteY35725"/>
              </a:cxn>
              <a:cxn ang="0">
                <a:pos x="connsiteX35726" y="connsiteY35726"/>
              </a:cxn>
              <a:cxn ang="0">
                <a:pos x="connsiteX35727" y="connsiteY35727"/>
              </a:cxn>
              <a:cxn ang="0">
                <a:pos x="connsiteX35728" y="connsiteY35728"/>
              </a:cxn>
              <a:cxn ang="0">
                <a:pos x="connsiteX35729" y="connsiteY35729"/>
              </a:cxn>
              <a:cxn ang="0">
                <a:pos x="connsiteX35730" y="connsiteY35730"/>
              </a:cxn>
              <a:cxn ang="0">
                <a:pos x="connsiteX35731" y="connsiteY35731"/>
              </a:cxn>
              <a:cxn ang="0">
                <a:pos x="connsiteX35732" y="connsiteY35732"/>
              </a:cxn>
              <a:cxn ang="0">
                <a:pos x="connsiteX35733" y="connsiteY35733"/>
              </a:cxn>
              <a:cxn ang="0">
                <a:pos x="connsiteX35734" y="connsiteY35734"/>
              </a:cxn>
              <a:cxn ang="0">
                <a:pos x="connsiteX35735" y="connsiteY35735"/>
              </a:cxn>
              <a:cxn ang="0">
                <a:pos x="connsiteX35736" y="connsiteY35736"/>
              </a:cxn>
              <a:cxn ang="0">
                <a:pos x="connsiteX35737" y="connsiteY35737"/>
              </a:cxn>
              <a:cxn ang="0">
                <a:pos x="connsiteX35738" y="connsiteY35738"/>
              </a:cxn>
              <a:cxn ang="0">
                <a:pos x="connsiteX35739" y="connsiteY35739"/>
              </a:cxn>
              <a:cxn ang="0">
                <a:pos x="connsiteX35740" y="connsiteY35740"/>
              </a:cxn>
              <a:cxn ang="0">
                <a:pos x="connsiteX35741" y="connsiteY35741"/>
              </a:cxn>
              <a:cxn ang="0">
                <a:pos x="connsiteX35742" y="connsiteY35742"/>
              </a:cxn>
              <a:cxn ang="0">
                <a:pos x="connsiteX35743" y="connsiteY35743"/>
              </a:cxn>
              <a:cxn ang="0">
                <a:pos x="connsiteX35744" y="connsiteY35744"/>
              </a:cxn>
              <a:cxn ang="0">
                <a:pos x="connsiteX35745" y="connsiteY35745"/>
              </a:cxn>
              <a:cxn ang="0">
                <a:pos x="connsiteX35746" y="connsiteY35746"/>
              </a:cxn>
              <a:cxn ang="0">
                <a:pos x="connsiteX35747" y="connsiteY35747"/>
              </a:cxn>
              <a:cxn ang="0">
                <a:pos x="connsiteX35748" y="connsiteY35748"/>
              </a:cxn>
              <a:cxn ang="0">
                <a:pos x="connsiteX35749" y="connsiteY35749"/>
              </a:cxn>
              <a:cxn ang="0">
                <a:pos x="connsiteX35750" y="connsiteY35750"/>
              </a:cxn>
              <a:cxn ang="0">
                <a:pos x="connsiteX35751" y="connsiteY35751"/>
              </a:cxn>
              <a:cxn ang="0">
                <a:pos x="connsiteX35752" y="connsiteY35752"/>
              </a:cxn>
              <a:cxn ang="0">
                <a:pos x="connsiteX35753" y="connsiteY35753"/>
              </a:cxn>
              <a:cxn ang="0">
                <a:pos x="connsiteX35754" y="connsiteY35754"/>
              </a:cxn>
              <a:cxn ang="0">
                <a:pos x="connsiteX35755" y="connsiteY35755"/>
              </a:cxn>
              <a:cxn ang="0">
                <a:pos x="connsiteX35756" y="connsiteY35756"/>
              </a:cxn>
              <a:cxn ang="0">
                <a:pos x="connsiteX35757" y="connsiteY35757"/>
              </a:cxn>
              <a:cxn ang="0">
                <a:pos x="connsiteX35758" y="connsiteY35758"/>
              </a:cxn>
              <a:cxn ang="0">
                <a:pos x="connsiteX35759" y="connsiteY35759"/>
              </a:cxn>
              <a:cxn ang="0">
                <a:pos x="connsiteX35760" y="connsiteY35760"/>
              </a:cxn>
              <a:cxn ang="0">
                <a:pos x="connsiteX35761" y="connsiteY35761"/>
              </a:cxn>
              <a:cxn ang="0">
                <a:pos x="connsiteX35762" y="connsiteY35762"/>
              </a:cxn>
              <a:cxn ang="0">
                <a:pos x="connsiteX35763" y="connsiteY35763"/>
              </a:cxn>
              <a:cxn ang="0">
                <a:pos x="connsiteX35764" y="connsiteY35764"/>
              </a:cxn>
              <a:cxn ang="0">
                <a:pos x="connsiteX35765" y="connsiteY35765"/>
              </a:cxn>
              <a:cxn ang="0">
                <a:pos x="connsiteX35766" y="connsiteY35766"/>
              </a:cxn>
              <a:cxn ang="0">
                <a:pos x="connsiteX35767" y="connsiteY35767"/>
              </a:cxn>
              <a:cxn ang="0">
                <a:pos x="connsiteX35768" y="connsiteY35768"/>
              </a:cxn>
              <a:cxn ang="0">
                <a:pos x="connsiteX35769" y="connsiteY35769"/>
              </a:cxn>
              <a:cxn ang="0">
                <a:pos x="connsiteX35770" y="connsiteY35770"/>
              </a:cxn>
              <a:cxn ang="0">
                <a:pos x="connsiteX35771" y="connsiteY35771"/>
              </a:cxn>
              <a:cxn ang="0">
                <a:pos x="connsiteX35772" y="connsiteY35772"/>
              </a:cxn>
              <a:cxn ang="0">
                <a:pos x="connsiteX35773" y="connsiteY35773"/>
              </a:cxn>
              <a:cxn ang="0">
                <a:pos x="connsiteX35774" y="connsiteY35774"/>
              </a:cxn>
              <a:cxn ang="0">
                <a:pos x="connsiteX35775" y="connsiteY35775"/>
              </a:cxn>
              <a:cxn ang="0">
                <a:pos x="connsiteX35776" y="connsiteY35776"/>
              </a:cxn>
              <a:cxn ang="0">
                <a:pos x="connsiteX35777" y="connsiteY35777"/>
              </a:cxn>
              <a:cxn ang="0">
                <a:pos x="connsiteX35778" y="connsiteY35778"/>
              </a:cxn>
              <a:cxn ang="0">
                <a:pos x="connsiteX35779" y="connsiteY35779"/>
              </a:cxn>
              <a:cxn ang="0">
                <a:pos x="connsiteX35780" y="connsiteY35780"/>
              </a:cxn>
              <a:cxn ang="0">
                <a:pos x="connsiteX35781" y="connsiteY35781"/>
              </a:cxn>
              <a:cxn ang="0">
                <a:pos x="connsiteX35782" y="connsiteY35782"/>
              </a:cxn>
              <a:cxn ang="0">
                <a:pos x="connsiteX35783" y="connsiteY35783"/>
              </a:cxn>
              <a:cxn ang="0">
                <a:pos x="connsiteX35784" y="connsiteY35784"/>
              </a:cxn>
              <a:cxn ang="0">
                <a:pos x="connsiteX35785" y="connsiteY35785"/>
              </a:cxn>
              <a:cxn ang="0">
                <a:pos x="connsiteX35786" y="connsiteY35786"/>
              </a:cxn>
              <a:cxn ang="0">
                <a:pos x="connsiteX35787" y="connsiteY35787"/>
              </a:cxn>
              <a:cxn ang="0">
                <a:pos x="connsiteX35788" y="connsiteY35788"/>
              </a:cxn>
              <a:cxn ang="0">
                <a:pos x="connsiteX35789" y="connsiteY35789"/>
              </a:cxn>
              <a:cxn ang="0">
                <a:pos x="connsiteX35790" y="connsiteY35790"/>
              </a:cxn>
              <a:cxn ang="0">
                <a:pos x="connsiteX35791" y="connsiteY35791"/>
              </a:cxn>
              <a:cxn ang="0">
                <a:pos x="connsiteX35792" y="connsiteY35792"/>
              </a:cxn>
              <a:cxn ang="0">
                <a:pos x="connsiteX35793" y="connsiteY35793"/>
              </a:cxn>
              <a:cxn ang="0">
                <a:pos x="connsiteX35794" y="connsiteY35794"/>
              </a:cxn>
              <a:cxn ang="0">
                <a:pos x="connsiteX35795" y="connsiteY35795"/>
              </a:cxn>
              <a:cxn ang="0">
                <a:pos x="connsiteX35796" y="connsiteY35796"/>
              </a:cxn>
              <a:cxn ang="0">
                <a:pos x="connsiteX35797" y="connsiteY35797"/>
              </a:cxn>
              <a:cxn ang="0">
                <a:pos x="connsiteX35798" y="connsiteY35798"/>
              </a:cxn>
              <a:cxn ang="0">
                <a:pos x="connsiteX35799" y="connsiteY35799"/>
              </a:cxn>
              <a:cxn ang="0">
                <a:pos x="connsiteX35800" y="connsiteY35800"/>
              </a:cxn>
              <a:cxn ang="0">
                <a:pos x="connsiteX35801" y="connsiteY35801"/>
              </a:cxn>
              <a:cxn ang="0">
                <a:pos x="connsiteX35802" y="connsiteY35802"/>
              </a:cxn>
              <a:cxn ang="0">
                <a:pos x="connsiteX35803" y="connsiteY35803"/>
              </a:cxn>
              <a:cxn ang="0">
                <a:pos x="connsiteX35804" y="connsiteY35804"/>
              </a:cxn>
              <a:cxn ang="0">
                <a:pos x="connsiteX35805" y="connsiteY35805"/>
              </a:cxn>
              <a:cxn ang="0">
                <a:pos x="connsiteX35806" y="connsiteY35806"/>
              </a:cxn>
              <a:cxn ang="0">
                <a:pos x="connsiteX35807" y="connsiteY35807"/>
              </a:cxn>
              <a:cxn ang="0">
                <a:pos x="connsiteX35808" y="connsiteY35808"/>
              </a:cxn>
              <a:cxn ang="0">
                <a:pos x="connsiteX35809" y="connsiteY35809"/>
              </a:cxn>
              <a:cxn ang="0">
                <a:pos x="connsiteX35810" y="connsiteY35810"/>
              </a:cxn>
              <a:cxn ang="0">
                <a:pos x="connsiteX35811" y="connsiteY35811"/>
              </a:cxn>
              <a:cxn ang="0">
                <a:pos x="connsiteX35812" y="connsiteY35812"/>
              </a:cxn>
              <a:cxn ang="0">
                <a:pos x="connsiteX35813" y="connsiteY35813"/>
              </a:cxn>
              <a:cxn ang="0">
                <a:pos x="connsiteX35814" y="connsiteY35814"/>
              </a:cxn>
              <a:cxn ang="0">
                <a:pos x="connsiteX35815" y="connsiteY35815"/>
              </a:cxn>
              <a:cxn ang="0">
                <a:pos x="connsiteX35816" y="connsiteY35816"/>
              </a:cxn>
              <a:cxn ang="0">
                <a:pos x="connsiteX35817" y="connsiteY35817"/>
              </a:cxn>
              <a:cxn ang="0">
                <a:pos x="connsiteX35818" y="connsiteY35818"/>
              </a:cxn>
              <a:cxn ang="0">
                <a:pos x="connsiteX35819" y="connsiteY35819"/>
              </a:cxn>
              <a:cxn ang="0">
                <a:pos x="connsiteX35820" y="connsiteY35820"/>
              </a:cxn>
              <a:cxn ang="0">
                <a:pos x="connsiteX35821" y="connsiteY35821"/>
              </a:cxn>
              <a:cxn ang="0">
                <a:pos x="connsiteX35822" y="connsiteY35822"/>
              </a:cxn>
              <a:cxn ang="0">
                <a:pos x="connsiteX35823" y="connsiteY35823"/>
              </a:cxn>
              <a:cxn ang="0">
                <a:pos x="connsiteX35824" y="connsiteY35824"/>
              </a:cxn>
              <a:cxn ang="0">
                <a:pos x="connsiteX35825" y="connsiteY35825"/>
              </a:cxn>
              <a:cxn ang="0">
                <a:pos x="connsiteX35826" y="connsiteY35826"/>
              </a:cxn>
              <a:cxn ang="0">
                <a:pos x="connsiteX35827" y="connsiteY35827"/>
              </a:cxn>
              <a:cxn ang="0">
                <a:pos x="connsiteX35828" y="connsiteY35828"/>
              </a:cxn>
              <a:cxn ang="0">
                <a:pos x="connsiteX35829" y="connsiteY35829"/>
              </a:cxn>
              <a:cxn ang="0">
                <a:pos x="connsiteX35830" y="connsiteY35830"/>
              </a:cxn>
              <a:cxn ang="0">
                <a:pos x="connsiteX35831" y="connsiteY35831"/>
              </a:cxn>
              <a:cxn ang="0">
                <a:pos x="connsiteX35832" y="connsiteY35832"/>
              </a:cxn>
              <a:cxn ang="0">
                <a:pos x="connsiteX35833" y="connsiteY35833"/>
              </a:cxn>
              <a:cxn ang="0">
                <a:pos x="connsiteX35834" y="connsiteY35834"/>
              </a:cxn>
              <a:cxn ang="0">
                <a:pos x="connsiteX35835" y="connsiteY35835"/>
              </a:cxn>
              <a:cxn ang="0">
                <a:pos x="connsiteX35836" y="connsiteY35836"/>
              </a:cxn>
              <a:cxn ang="0">
                <a:pos x="connsiteX35837" y="connsiteY35837"/>
              </a:cxn>
              <a:cxn ang="0">
                <a:pos x="connsiteX35838" y="connsiteY35838"/>
              </a:cxn>
              <a:cxn ang="0">
                <a:pos x="connsiteX35839" y="connsiteY35839"/>
              </a:cxn>
              <a:cxn ang="0">
                <a:pos x="connsiteX35840" y="connsiteY35840"/>
              </a:cxn>
              <a:cxn ang="0">
                <a:pos x="connsiteX35841" y="connsiteY35841"/>
              </a:cxn>
              <a:cxn ang="0">
                <a:pos x="connsiteX35842" y="connsiteY35842"/>
              </a:cxn>
              <a:cxn ang="0">
                <a:pos x="connsiteX35843" y="connsiteY35843"/>
              </a:cxn>
              <a:cxn ang="0">
                <a:pos x="connsiteX35844" y="connsiteY35844"/>
              </a:cxn>
              <a:cxn ang="0">
                <a:pos x="connsiteX35845" y="connsiteY35845"/>
              </a:cxn>
              <a:cxn ang="0">
                <a:pos x="connsiteX35846" y="connsiteY35846"/>
              </a:cxn>
              <a:cxn ang="0">
                <a:pos x="connsiteX35847" y="connsiteY35847"/>
              </a:cxn>
              <a:cxn ang="0">
                <a:pos x="connsiteX35848" y="connsiteY35848"/>
              </a:cxn>
              <a:cxn ang="0">
                <a:pos x="connsiteX35849" y="connsiteY35849"/>
              </a:cxn>
              <a:cxn ang="0">
                <a:pos x="connsiteX35850" y="connsiteY35850"/>
              </a:cxn>
              <a:cxn ang="0">
                <a:pos x="connsiteX35851" y="connsiteY35851"/>
              </a:cxn>
              <a:cxn ang="0">
                <a:pos x="connsiteX35852" y="connsiteY35852"/>
              </a:cxn>
              <a:cxn ang="0">
                <a:pos x="connsiteX35853" y="connsiteY35853"/>
              </a:cxn>
              <a:cxn ang="0">
                <a:pos x="connsiteX35854" y="connsiteY35854"/>
              </a:cxn>
              <a:cxn ang="0">
                <a:pos x="connsiteX35855" y="connsiteY35855"/>
              </a:cxn>
              <a:cxn ang="0">
                <a:pos x="connsiteX35856" y="connsiteY35856"/>
              </a:cxn>
              <a:cxn ang="0">
                <a:pos x="connsiteX35857" y="connsiteY35857"/>
              </a:cxn>
              <a:cxn ang="0">
                <a:pos x="connsiteX35858" y="connsiteY35858"/>
              </a:cxn>
              <a:cxn ang="0">
                <a:pos x="connsiteX35859" y="connsiteY35859"/>
              </a:cxn>
              <a:cxn ang="0">
                <a:pos x="connsiteX35860" y="connsiteY35860"/>
              </a:cxn>
              <a:cxn ang="0">
                <a:pos x="connsiteX35861" y="connsiteY35861"/>
              </a:cxn>
              <a:cxn ang="0">
                <a:pos x="connsiteX35862" y="connsiteY35862"/>
              </a:cxn>
              <a:cxn ang="0">
                <a:pos x="connsiteX35863" y="connsiteY35863"/>
              </a:cxn>
              <a:cxn ang="0">
                <a:pos x="connsiteX35864" y="connsiteY35864"/>
              </a:cxn>
              <a:cxn ang="0">
                <a:pos x="connsiteX35865" y="connsiteY35865"/>
              </a:cxn>
              <a:cxn ang="0">
                <a:pos x="connsiteX35866" y="connsiteY35866"/>
              </a:cxn>
              <a:cxn ang="0">
                <a:pos x="connsiteX35867" y="connsiteY35867"/>
              </a:cxn>
              <a:cxn ang="0">
                <a:pos x="connsiteX35868" y="connsiteY35868"/>
              </a:cxn>
              <a:cxn ang="0">
                <a:pos x="connsiteX35869" y="connsiteY35869"/>
              </a:cxn>
              <a:cxn ang="0">
                <a:pos x="connsiteX35870" y="connsiteY35870"/>
              </a:cxn>
              <a:cxn ang="0">
                <a:pos x="connsiteX35871" y="connsiteY35871"/>
              </a:cxn>
              <a:cxn ang="0">
                <a:pos x="connsiteX35872" y="connsiteY35872"/>
              </a:cxn>
              <a:cxn ang="0">
                <a:pos x="connsiteX35873" y="connsiteY35873"/>
              </a:cxn>
              <a:cxn ang="0">
                <a:pos x="connsiteX35874" y="connsiteY35874"/>
              </a:cxn>
              <a:cxn ang="0">
                <a:pos x="connsiteX35875" y="connsiteY35875"/>
              </a:cxn>
              <a:cxn ang="0">
                <a:pos x="connsiteX35876" y="connsiteY35876"/>
              </a:cxn>
              <a:cxn ang="0">
                <a:pos x="connsiteX35877" y="connsiteY35877"/>
              </a:cxn>
              <a:cxn ang="0">
                <a:pos x="connsiteX35878" y="connsiteY35878"/>
              </a:cxn>
              <a:cxn ang="0">
                <a:pos x="connsiteX35879" y="connsiteY35879"/>
              </a:cxn>
              <a:cxn ang="0">
                <a:pos x="connsiteX35880" y="connsiteY35880"/>
              </a:cxn>
              <a:cxn ang="0">
                <a:pos x="connsiteX35881" y="connsiteY35881"/>
              </a:cxn>
              <a:cxn ang="0">
                <a:pos x="connsiteX35882" y="connsiteY35882"/>
              </a:cxn>
              <a:cxn ang="0">
                <a:pos x="connsiteX35883" y="connsiteY35883"/>
              </a:cxn>
              <a:cxn ang="0">
                <a:pos x="connsiteX35884" y="connsiteY35884"/>
              </a:cxn>
              <a:cxn ang="0">
                <a:pos x="connsiteX35885" y="connsiteY35885"/>
              </a:cxn>
              <a:cxn ang="0">
                <a:pos x="connsiteX35886" y="connsiteY35886"/>
              </a:cxn>
              <a:cxn ang="0">
                <a:pos x="connsiteX35887" y="connsiteY35887"/>
              </a:cxn>
              <a:cxn ang="0">
                <a:pos x="connsiteX35888" y="connsiteY35888"/>
              </a:cxn>
              <a:cxn ang="0">
                <a:pos x="connsiteX35889" y="connsiteY35889"/>
              </a:cxn>
              <a:cxn ang="0">
                <a:pos x="connsiteX35890" y="connsiteY35890"/>
              </a:cxn>
              <a:cxn ang="0">
                <a:pos x="connsiteX35891" y="connsiteY35891"/>
              </a:cxn>
              <a:cxn ang="0">
                <a:pos x="connsiteX35892" y="connsiteY35892"/>
              </a:cxn>
              <a:cxn ang="0">
                <a:pos x="connsiteX35893" y="connsiteY35893"/>
              </a:cxn>
              <a:cxn ang="0">
                <a:pos x="connsiteX35894" y="connsiteY35894"/>
              </a:cxn>
              <a:cxn ang="0">
                <a:pos x="connsiteX35895" y="connsiteY35895"/>
              </a:cxn>
              <a:cxn ang="0">
                <a:pos x="connsiteX35896" y="connsiteY35896"/>
              </a:cxn>
              <a:cxn ang="0">
                <a:pos x="connsiteX35897" y="connsiteY35897"/>
              </a:cxn>
              <a:cxn ang="0">
                <a:pos x="connsiteX35898" y="connsiteY35898"/>
              </a:cxn>
              <a:cxn ang="0">
                <a:pos x="connsiteX35899" y="connsiteY35899"/>
              </a:cxn>
              <a:cxn ang="0">
                <a:pos x="connsiteX35900" y="connsiteY35900"/>
              </a:cxn>
              <a:cxn ang="0">
                <a:pos x="connsiteX35901" y="connsiteY35901"/>
              </a:cxn>
              <a:cxn ang="0">
                <a:pos x="connsiteX35902" y="connsiteY35902"/>
              </a:cxn>
              <a:cxn ang="0">
                <a:pos x="connsiteX35903" y="connsiteY35903"/>
              </a:cxn>
              <a:cxn ang="0">
                <a:pos x="connsiteX35904" y="connsiteY35904"/>
              </a:cxn>
              <a:cxn ang="0">
                <a:pos x="connsiteX35905" y="connsiteY35905"/>
              </a:cxn>
              <a:cxn ang="0">
                <a:pos x="connsiteX35906" y="connsiteY35906"/>
              </a:cxn>
              <a:cxn ang="0">
                <a:pos x="connsiteX35907" y="connsiteY35907"/>
              </a:cxn>
              <a:cxn ang="0">
                <a:pos x="connsiteX35908" y="connsiteY35908"/>
              </a:cxn>
              <a:cxn ang="0">
                <a:pos x="connsiteX35909" y="connsiteY35909"/>
              </a:cxn>
              <a:cxn ang="0">
                <a:pos x="connsiteX35910" y="connsiteY35910"/>
              </a:cxn>
              <a:cxn ang="0">
                <a:pos x="connsiteX35911" y="connsiteY35911"/>
              </a:cxn>
              <a:cxn ang="0">
                <a:pos x="connsiteX35912" y="connsiteY35912"/>
              </a:cxn>
              <a:cxn ang="0">
                <a:pos x="connsiteX35913" y="connsiteY35913"/>
              </a:cxn>
              <a:cxn ang="0">
                <a:pos x="connsiteX35914" y="connsiteY35914"/>
              </a:cxn>
              <a:cxn ang="0">
                <a:pos x="connsiteX35915" y="connsiteY35915"/>
              </a:cxn>
              <a:cxn ang="0">
                <a:pos x="connsiteX35916" y="connsiteY35916"/>
              </a:cxn>
              <a:cxn ang="0">
                <a:pos x="connsiteX35917" y="connsiteY35917"/>
              </a:cxn>
              <a:cxn ang="0">
                <a:pos x="connsiteX35918" y="connsiteY35918"/>
              </a:cxn>
              <a:cxn ang="0">
                <a:pos x="connsiteX35919" y="connsiteY35919"/>
              </a:cxn>
              <a:cxn ang="0">
                <a:pos x="connsiteX35920" y="connsiteY35920"/>
              </a:cxn>
              <a:cxn ang="0">
                <a:pos x="connsiteX35921" y="connsiteY35921"/>
              </a:cxn>
              <a:cxn ang="0">
                <a:pos x="connsiteX35922" y="connsiteY35922"/>
              </a:cxn>
              <a:cxn ang="0">
                <a:pos x="connsiteX35923" y="connsiteY35923"/>
              </a:cxn>
              <a:cxn ang="0">
                <a:pos x="connsiteX35924" y="connsiteY35924"/>
              </a:cxn>
              <a:cxn ang="0">
                <a:pos x="connsiteX35925" y="connsiteY35925"/>
              </a:cxn>
              <a:cxn ang="0">
                <a:pos x="connsiteX35926" y="connsiteY35926"/>
              </a:cxn>
              <a:cxn ang="0">
                <a:pos x="connsiteX35927" y="connsiteY35927"/>
              </a:cxn>
              <a:cxn ang="0">
                <a:pos x="connsiteX35928" y="connsiteY35928"/>
              </a:cxn>
              <a:cxn ang="0">
                <a:pos x="connsiteX35929" y="connsiteY35929"/>
              </a:cxn>
              <a:cxn ang="0">
                <a:pos x="connsiteX35930" y="connsiteY35930"/>
              </a:cxn>
              <a:cxn ang="0">
                <a:pos x="connsiteX35931" y="connsiteY35931"/>
              </a:cxn>
              <a:cxn ang="0">
                <a:pos x="connsiteX35932" y="connsiteY35932"/>
              </a:cxn>
              <a:cxn ang="0">
                <a:pos x="connsiteX35933" y="connsiteY35933"/>
              </a:cxn>
              <a:cxn ang="0">
                <a:pos x="connsiteX35934" y="connsiteY35934"/>
              </a:cxn>
              <a:cxn ang="0">
                <a:pos x="connsiteX35935" y="connsiteY35935"/>
              </a:cxn>
              <a:cxn ang="0">
                <a:pos x="connsiteX35936" y="connsiteY35936"/>
              </a:cxn>
              <a:cxn ang="0">
                <a:pos x="connsiteX35937" y="connsiteY35937"/>
              </a:cxn>
              <a:cxn ang="0">
                <a:pos x="connsiteX35938" y="connsiteY35938"/>
              </a:cxn>
              <a:cxn ang="0">
                <a:pos x="connsiteX35939" y="connsiteY35939"/>
              </a:cxn>
              <a:cxn ang="0">
                <a:pos x="connsiteX35940" y="connsiteY35940"/>
              </a:cxn>
              <a:cxn ang="0">
                <a:pos x="connsiteX35941" y="connsiteY35941"/>
              </a:cxn>
              <a:cxn ang="0">
                <a:pos x="connsiteX35942" y="connsiteY35942"/>
              </a:cxn>
              <a:cxn ang="0">
                <a:pos x="connsiteX35943" y="connsiteY35943"/>
              </a:cxn>
              <a:cxn ang="0">
                <a:pos x="connsiteX35944" y="connsiteY35944"/>
              </a:cxn>
              <a:cxn ang="0">
                <a:pos x="connsiteX35945" y="connsiteY35945"/>
              </a:cxn>
              <a:cxn ang="0">
                <a:pos x="connsiteX35946" y="connsiteY35946"/>
              </a:cxn>
              <a:cxn ang="0">
                <a:pos x="connsiteX35947" y="connsiteY35947"/>
              </a:cxn>
              <a:cxn ang="0">
                <a:pos x="connsiteX35948" y="connsiteY35948"/>
              </a:cxn>
              <a:cxn ang="0">
                <a:pos x="connsiteX35949" y="connsiteY35949"/>
              </a:cxn>
              <a:cxn ang="0">
                <a:pos x="connsiteX35950" y="connsiteY35950"/>
              </a:cxn>
              <a:cxn ang="0">
                <a:pos x="connsiteX35951" y="connsiteY35951"/>
              </a:cxn>
              <a:cxn ang="0">
                <a:pos x="connsiteX35952" y="connsiteY35952"/>
              </a:cxn>
              <a:cxn ang="0">
                <a:pos x="connsiteX35953" y="connsiteY35953"/>
              </a:cxn>
              <a:cxn ang="0">
                <a:pos x="connsiteX35954" y="connsiteY35954"/>
              </a:cxn>
              <a:cxn ang="0">
                <a:pos x="connsiteX35955" y="connsiteY35955"/>
              </a:cxn>
              <a:cxn ang="0">
                <a:pos x="connsiteX35956" y="connsiteY35956"/>
              </a:cxn>
              <a:cxn ang="0">
                <a:pos x="connsiteX35957" y="connsiteY35957"/>
              </a:cxn>
              <a:cxn ang="0">
                <a:pos x="connsiteX35958" y="connsiteY35958"/>
              </a:cxn>
              <a:cxn ang="0">
                <a:pos x="connsiteX35959" y="connsiteY35959"/>
              </a:cxn>
              <a:cxn ang="0">
                <a:pos x="connsiteX35960" y="connsiteY35960"/>
              </a:cxn>
              <a:cxn ang="0">
                <a:pos x="connsiteX35961" y="connsiteY35961"/>
              </a:cxn>
              <a:cxn ang="0">
                <a:pos x="connsiteX35962" y="connsiteY35962"/>
              </a:cxn>
              <a:cxn ang="0">
                <a:pos x="connsiteX35963" y="connsiteY35963"/>
              </a:cxn>
              <a:cxn ang="0">
                <a:pos x="connsiteX35964" y="connsiteY35964"/>
              </a:cxn>
              <a:cxn ang="0">
                <a:pos x="connsiteX35965" y="connsiteY35965"/>
              </a:cxn>
              <a:cxn ang="0">
                <a:pos x="connsiteX35966" y="connsiteY35966"/>
              </a:cxn>
              <a:cxn ang="0">
                <a:pos x="connsiteX35967" y="connsiteY35967"/>
              </a:cxn>
              <a:cxn ang="0">
                <a:pos x="connsiteX35968" y="connsiteY35968"/>
              </a:cxn>
              <a:cxn ang="0">
                <a:pos x="connsiteX35969" y="connsiteY35969"/>
              </a:cxn>
              <a:cxn ang="0">
                <a:pos x="connsiteX35970" y="connsiteY35970"/>
              </a:cxn>
              <a:cxn ang="0">
                <a:pos x="connsiteX35971" y="connsiteY35971"/>
              </a:cxn>
              <a:cxn ang="0">
                <a:pos x="connsiteX35972" y="connsiteY35972"/>
              </a:cxn>
              <a:cxn ang="0">
                <a:pos x="connsiteX35973" y="connsiteY35973"/>
              </a:cxn>
              <a:cxn ang="0">
                <a:pos x="connsiteX35974" y="connsiteY35974"/>
              </a:cxn>
              <a:cxn ang="0">
                <a:pos x="connsiteX35975" y="connsiteY35975"/>
              </a:cxn>
              <a:cxn ang="0">
                <a:pos x="connsiteX35976" y="connsiteY35976"/>
              </a:cxn>
              <a:cxn ang="0">
                <a:pos x="connsiteX35977" y="connsiteY35977"/>
              </a:cxn>
              <a:cxn ang="0">
                <a:pos x="connsiteX35978" y="connsiteY35978"/>
              </a:cxn>
              <a:cxn ang="0">
                <a:pos x="connsiteX35979" y="connsiteY35979"/>
              </a:cxn>
              <a:cxn ang="0">
                <a:pos x="connsiteX35980" y="connsiteY35980"/>
              </a:cxn>
              <a:cxn ang="0">
                <a:pos x="connsiteX35981" y="connsiteY35981"/>
              </a:cxn>
              <a:cxn ang="0">
                <a:pos x="connsiteX35982" y="connsiteY35982"/>
              </a:cxn>
              <a:cxn ang="0">
                <a:pos x="connsiteX35983" y="connsiteY35983"/>
              </a:cxn>
              <a:cxn ang="0">
                <a:pos x="connsiteX35984" y="connsiteY35984"/>
              </a:cxn>
              <a:cxn ang="0">
                <a:pos x="connsiteX35985" y="connsiteY35985"/>
              </a:cxn>
              <a:cxn ang="0">
                <a:pos x="connsiteX35986" y="connsiteY35986"/>
              </a:cxn>
              <a:cxn ang="0">
                <a:pos x="connsiteX35987" y="connsiteY35987"/>
              </a:cxn>
              <a:cxn ang="0">
                <a:pos x="connsiteX35988" y="connsiteY35988"/>
              </a:cxn>
              <a:cxn ang="0">
                <a:pos x="connsiteX35989" y="connsiteY35989"/>
              </a:cxn>
              <a:cxn ang="0">
                <a:pos x="connsiteX35990" y="connsiteY35990"/>
              </a:cxn>
              <a:cxn ang="0">
                <a:pos x="connsiteX35991" y="connsiteY35991"/>
              </a:cxn>
              <a:cxn ang="0">
                <a:pos x="connsiteX35992" y="connsiteY35992"/>
              </a:cxn>
              <a:cxn ang="0">
                <a:pos x="connsiteX35993" y="connsiteY35993"/>
              </a:cxn>
              <a:cxn ang="0">
                <a:pos x="connsiteX35994" y="connsiteY35994"/>
              </a:cxn>
              <a:cxn ang="0">
                <a:pos x="connsiteX35995" y="connsiteY35995"/>
              </a:cxn>
              <a:cxn ang="0">
                <a:pos x="connsiteX35996" y="connsiteY35996"/>
              </a:cxn>
              <a:cxn ang="0">
                <a:pos x="connsiteX35997" y="connsiteY35997"/>
              </a:cxn>
              <a:cxn ang="0">
                <a:pos x="connsiteX35998" y="connsiteY35998"/>
              </a:cxn>
              <a:cxn ang="0">
                <a:pos x="connsiteX35999" y="connsiteY35999"/>
              </a:cxn>
              <a:cxn ang="0">
                <a:pos x="connsiteX36000" y="connsiteY36000"/>
              </a:cxn>
              <a:cxn ang="0">
                <a:pos x="connsiteX36001" y="connsiteY36001"/>
              </a:cxn>
              <a:cxn ang="0">
                <a:pos x="connsiteX36002" y="connsiteY36002"/>
              </a:cxn>
              <a:cxn ang="0">
                <a:pos x="connsiteX36003" y="connsiteY36003"/>
              </a:cxn>
              <a:cxn ang="0">
                <a:pos x="connsiteX36004" y="connsiteY36004"/>
              </a:cxn>
              <a:cxn ang="0">
                <a:pos x="connsiteX36005" y="connsiteY36005"/>
              </a:cxn>
              <a:cxn ang="0">
                <a:pos x="connsiteX36006" y="connsiteY36006"/>
              </a:cxn>
              <a:cxn ang="0">
                <a:pos x="connsiteX36007" y="connsiteY36007"/>
              </a:cxn>
              <a:cxn ang="0">
                <a:pos x="connsiteX36008" y="connsiteY36008"/>
              </a:cxn>
              <a:cxn ang="0">
                <a:pos x="connsiteX36009" y="connsiteY36009"/>
              </a:cxn>
              <a:cxn ang="0">
                <a:pos x="connsiteX36010" y="connsiteY36010"/>
              </a:cxn>
              <a:cxn ang="0">
                <a:pos x="connsiteX36011" y="connsiteY36011"/>
              </a:cxn>
              <a:cxn ang="0">
                <a:pos x="connsiteX36012" y="connsiteY36012"/>
              </a:cxn>
              <a:cxn ang="0">
                <a:pos x="connsiteX36013" y="connsiteY36013"/>
              </a:cxn>
              <a:cxn ang="0">
                <a:pos x="connsiteX36014" y="connsiteY36014"/>
              </a:cxn>
              <a:cxn ang="0">
                <a:pos x="connsiteX36015" y="connsiteY36015"/>
              </a:cxn>
              <a:cxn ang="0">
                <a:pos x="connsiteX36016" y="connsiteY36016"/>
              </a:cxn>
              <a:cxn ang="0">
                <a:pos x="connsiteX36017" y="connsiteY36017"/>
              </a:cxn>
              <a:cxn ang="0">
                <a:pos x="connsiteX36018" y="connsiteY36018"/>
              </a:cxn>
              <a:cxn ang="0">
                <a:pos x="connsiteX36019" y="connsiteY36019"/>
              </a:cxn>
              <a:cxn ang="0">
                <a:pos x="connsiteX36020" y="connsiteY36020"/>
              </a:cxn>
              <a:cxn ang="0">
                <a:pos x="connsiteX36021" y="connsiteY36021"/>
              </a:cxn>
              <a:cxn ang="0">
                <a:pos x="connsiteX36022" y="connsiteY36022"/>
              </a:cxn>
              <a:cxn ang="0">
                <a:pos x="connsiteX36023" y="connsiteY36023"/>
              </a:cxn>
              <a:cxn ang="0">
                <a:pos x="connsiteX36024" y="connsiteY36024"/>
              </a:cxn>
              <a:cxn ang="0">
                <a:pos x="connsiteX36025" y="connsiteY36025"/>
              </a:cxn>
              <a:cxn ang="0">
                <a:pos x="connsiteX36026" y="connsiteY36026"/>
              </a:cxn>
              <a:cxn ang="0">
                <a:pos x="connsiteX36027" y="connsiteY36027"/>
              </a:cxn>
              <a:cxn ang="0">
                <a:pos x="connsiteX36028" y="connsiteY36028"/>
              </a:cxn>
              <a:cxn ang="0">
                <a:pos x="connsiteX36029" y="connsiteY36029"/>
              </a:cxn>
              <a:cxn ang="0">
                <a:pos x="connsiteX36030" y="connsiteY36030"/>
              </a:cxn>
              <a:cxn ang="0">
                <a:pos x="connsiteX36031" y="connsiteY36031"/>
              </a:cxn>
              <a:cxn ang="0">
                <a:pos x="connsiteX36032" y="connsiteY36032"/>
              </a:cxn>
              <a:cxn ang="0">
                <a:pos x="connsiteX36033" y="connsiteY36033"/>
              </a:cxn>
              <a:cxn ang="0">
                <a:pos x="connsiteX36034" y="connsiteY36034"/>
              </a:cxn>
              <a:cxn ang="0">
                <a:pos x="connsiteX36035" y="connsiteY36035"/>
              </a:cxn>
              <a:cxn ang="0">
                <a:pos x="connsiteX36036" y="connsiteY36036"/>
              </a:cxn>
              <a:cxn ang="0">
                <a:pos x="connsiteX36037" y="connsiteY36037"/>
              </a:cxn>
              <a:cxn ang="0">
                <a:pos x="connsiteX36038" y="connsiteY36038"/>
              </a:cxn>
              <a:cxn ang="0">
                <a:pos x="connsiteX36039" y="connsiteY36039"/>
              </a:cxn>
              <a:cxn ang="0">
                <a:pos x="connsiteX36040" y="connsiteY36040"/>
              </a:cxn>
              <a:cxn ang="0">
                <a:pos x="connsiteX36041" y="connsiteY36041"/>
              </a:cxn>
              <a:cxn ang="0">
                <a:pos x="connsiteX36042" y="connsiteY36042"/>
              </a:cxn>
              <a:cxn ang="0">
                <a:pos x="connsiteX36043" y="connsiteY36043"/>
              </a:cxn>
              <a:cxn ang="0">
                <a:pos x="connsiteX36044" y="connsiteY36044"/>
              </a:cxn>
              <a:cxn ang="0">
                <a:pos x="connsiteX36045" y="connsiteY36045"/>
              </a:cxn>
              <a:cxn ang="0">
                <a:pos x="connsiteX36046" y="connsiteY36046"/>
              </a:cxn>
              <a:cxn ang="0">
                <a:pos x="connsiteX36047" y="connsiteY36047"/>
              </a:cxn>
              <a:cxn ang="0">
                <a:pos x="connsiteX36048" y="connsiteY36048"/>
              </a:cxn>
              <a:cxn ang="0">
                <a:pos x="connsiteX36049" y="connsiteY36049"/>
              </a:cxn>
              <a:cxn ang="0">
                <a:pos x="connsiteX36050" y="connsiteY36050"/>
              </a:cxn>
              <a:cxn ang="0">
                <a:pos x="connsiteX36051" y="connsiteY36051"/>
              </a:cxn>
              <a:cxn ang="0">
                <a:pos x="connsiteX36052" y="connsiteY36052"/>
              </a:cxn>
              <a:cxn ang="0">
                <a:pos x="connsiteX36053" y="connsiteY36053"/>
              </a:cxn>
              <a:cxn ang="0">
                <a:pos x="connsiteX36054" y="connsiteY36054"/>
              </a:cxn>
              <a:cxn ang="0">
                <a:pos x="connsiteX36055" y="connsiteY36055"/>
              </a:cxn>
              <a:cxn ang="0">
                <a:pos x="connsiteX36056" y="connsiteY36056"/>
              </a:cxn>
              <a:cxn ang="0">
                <a:pos x="connsiteX36057" y="connsiteY36057"/>
              </a:cxn>
              <a:cxn ang="0">
                <a:pos x="connsiteX36058" y="connsiteY36058"/>
              </a:cxn>
              <a:cxn ang="0">
                <a:pos x="connsiteX36059" y="connsiteY36059"/>
              </a:cxn>
              <a:cxn ang="0">
                <a:pos x="connsiteX36060" y="connsiteY36060"/>
              </a:cxn>
              <a:cxn ang="0">
                <a:pos x="connsiteX36061" y="connsiteY36061"/>
              </a:cxn>
              <a:cxn ang="0">
                <a:pos x="connsiteX36062" y="connsiteY36062"/>
              </a:cxn>
              <a:cxn ang="0">
                <a:pos x="connsiteX36063" y="connsiteY36063"/>
              </a:cxn>
              <a:cxn ang="0">
                <a:pos x="connsiteX36064" y="connsiteY36064"/>
              </a:cxn>
              <a:cxn ang="0">
                <a:pos x="connsiteX36065" y="connsiteY36065"/>
              </a:cxn>
              <a:cxn ang="0">
                <a:pos x="connsiteX36066" y="connsiteY36066"/>
              </a:cxn>
              <a:cxn ang="0">
                <a:pos x="connsiteX36067" y="connsiteY36067"/>
              </a:cxn>
              <a:cxn ang="0">
                <a:pos x="connsiteX36068" y="connsiteY36068"/>
              </a:cxn>
              <a:cxn ang="0">
                <a:pos x="connsiteX36069" y="connsiteY36069"/>
              </a:cxn>
              <a:cxn ang="0">
                <a:pos x="connsiteX36070" y="connsiteY36070"/>
              </a:cxn>
              <a:cxn ang="0">
                <a:pos x="connsiteX36071" y="connsiteY36071"/>
              </a:cxn>
              <a:cxn ang="0">
                <a:pos x="connsiteX36072" y="connsiteY36072"/>
              </a:cxn>
              <a:cxn ang="0">
                <a:pos x="connsiteX36073" y="connsiteY36073"/>
              </a:cxn>
              <a:cxn ang="0">
                <a:pos x="connsiteX36074" y="connsiteY36074"/>
              </a:cxn>
              <a:cxn ang="0">
                <a:pos x="connsiteX36075" y="connsiteY36075"/>
              </a:cxn>
              <a:cxn ang="0">
                <a:pos x="connsiteX36076" y="connsiteY36076"/>
              </a:cxn>
              <a:cxn ang="0">
                <a:pos x="connsiteX36077" y="connsiteY36077"/>
              </a:cxn>
              <a:cxn ang="0">
                <a:pos x="connsiteX36078" y="connsiteY36078"/>
              </a:cxn>
              <a:cxn ang="0">
                <a:pos x="connsiteX36079" y="connsiteY36079"/>
              </a:cxn>
              <a:cxn ang="0">
                <a:pos x="connsiteX36080" y="connsiteY36080"/>
              </a:cxn>
              <a:cxn ang="0">
                <a:pos x="connsiteX36081" y="connsiteY36081"/>
              </a:cxn>
              <a:cxn ang="0">
                <a:pos x="connsiteX36082" y="connsiteY36082"/>
              </a:cxn>
              <a:cxn ang="0">
                <a:pos x="connsiteX36083" y="connsiteY36083"/>
              </a:cxn>
              <a:cxn ang="0">
                <a:pos x="connsiteX36084" y="connsiteY36084"/>
              </a:cxn>
              <a:cxn ang="0">
                <a:pos x="connsiteX36085" y="connsiteY36085"/>
              </a:cxn>
              <a:cxn ang="0">
                <a:pos x="connsiteX36086" y="connsiteY36086"/>
              </a:cxn>
              <a:cxn ang="0">
                <a:pos x="connsiteX36087" y="connsiteY36087"/>
              </a:cxn>
              <a:cxn ang="0">
                <a:pos x="connsiteX36088" y="connsiteY36088"/>
              </a:cxn>
              <a:cxn ang="0">
                <a:pos x="connsiteX36089" y="connsiteY36089"/>
              </a:cxn>
              <a:cxn ang="0">
                <a:pos x="connsiteX36090" y="connsiteY36090"/>
              </a:cxn>
              <a:cxn ang="0">
                <a:pos x="connsiteX36091" y="connsiteY36091"/>
              </a:cxn>
              <a:cxn ang="0">
                <a:pos x="connsiteX36092" y="connsiteY36092"/>
              </a:cxn>
              <a:cxn ang="0">
                <a:pos x="connsiteX36093" y="connsiteY36093"/>
              </a:cxn>
              <a:cxn ang="0">
                <a:pos x="connsiteX36094" y="connsiteY36094"/>
              </a:cxn>
              <a:cxn ang="0">
                <a:pos x="connsiteX36095" y="connsiteY36095"/>
              </a:cxn>
              <a:cxn ang="0">
                <a:pos x="connsiteX36096" y="connsiteY36096"/>
              </a:cxn>
              <a:cxn ang="0">
                <a:pos x="connsiteX36097" y="connsiteY36097"/>
              </a:cxn>
              <a:cxn ang="0">
                <a:pos x="connsiteX36098" y="connsiteY36098"/>
              </a:cxn>
              <a:cxn ang="0">
                <a:pos x="connsiteX36099" y="connsiteY36099"/>
              </a:cxn>
              <a:cxn ang="0">
                <a:pos x="connsiteX36100" y="connsiteY36100"/>
              </a:cxn>
              <a:cxn ang="0">
                <a:pos x="connsiteX36101" y="connsiteY36101"/>
              </a:cxn>
              <a:cxn ang="0">
                <a:pos x="connsiteX36102" y="connsiteY36102"/>
              </a:cxn>
              <a:cxn ang="0">
                <a:pos x="connsiteX36103" y="connsiteY36103"/>
              </a:cxn>
              <a:cxn ang="0">
                <a:pos x="connsiteX36104" y="connsiteY36104"/>
              </a:cxn>
              <a:cxn ang="0">
                <a:pos x="connsiteX36105" y="connsiteY36105"/>
              </a:cxn>
              <a:cxn ang="0">
                <a:pos x="connsiteX36106" y="connsiteY36106"/>
              </a:cxn>
              <a:cxn ang="0">
                <a:pos x="connsiteX36107" y="connsiteY36107"/>
              </a:cxn>
              <a:cxn ang="0">
                <a:pos x="connsiteX36108" y="connsiteY36108"/>
              </a:cxn>
              <a:cxn ang="0">
                <a:pos x="connsiteX36109" y="connsiteY36109"/>
              </a:cxn>
              <a:cxn ang="0">
                <a:pos x="connsiteX36110" y="connsiteY36110"/>
              </a:cxn>
              <a:cxn ang="0">
                <a:pos x="connsiteX36111" y="connsiteY36111"/>
              </a:cxn>
              <a:cxn ang="0">
                <a:pos x="connsiteX36112" y="connsiteY36112"/>
              </a:cxn>
              <a:cxn ang="0">
                <a:pos x="connsiteX36113" y="connsiteY36113"/>
              </a:cxn>
              <a:cxn ang="0">
                <a:pos x="connsiteX36114" y="connsiteY36114"/>
              </a:cxn>
              <a:cxn ang="0">
                <a:pos x="connsiteX36115" y="connsiteY36115"/>
              </a:cxn>
              <a:cxn ang="0">
                <a:pos x="connsiteX36116" y="connsiteY36116"/>
              </a:cxn>
              <a:cxn ang="0">
                <a:pos x="connsiteX36117" y="connsiteY36117"/>
              </a:cxn>
              <a:cxn ang="0">
                <a:pos x="connsiteX36118" y="connsiteY36118"/>
              </a:cxn>
              <a:cxn ang="0">
                <a:pos x="connsiteX36119" y="connsiteY36119"/>
              </a:cxn>
              <a:cxn ang="0">
                <a:pos x="connsiteX36120" y="connsiteY36120"/>
              </a:cxn>
              <a:cxn ang="0">
                <a:pos x="connsiteX36121" y="connsiteY36121"/>
              </a:cxn>
              <a:cxn ang="0">
                <a:pos x="connsiteX36122" y="connsiteY36122"/>
              </a:cxn>
              <a:cxn ang="0">
                <a:pos x="connsiteX36123" y="connsiteY36123"/>
              </a:cxn>
              <a:cxn ang="0">
                <a:pos x="connsiteX36124" y="connsiteY36124"/>
              </a:cxn>
              <a:cxn ang="0">
                <a:pos x="connsiteX36125" y="connsiteY36125"/>
              </a:cxn>
              <a:cxn ang="0">
                <a:pos x="connsiteX36126" y="connsiteY36126"/>
              </a:cxn>
              <a:cxn ang="0">
                <a:pos x="connsiteX36127" y="connsiteY36127"/>
              </a:cxn>
              <a:cxn ang="0">
                <a:pos x="connsiteX36128" y="connsiteY36128"/>
              </a:cxn>
              <a:cxn ang="0">
                <a:pos x="connsiteX36129" y="connsiteY36129"/>
              </a:cxn>
              <a:cxn ang="0">
                <a:pos x="connsiteX36130" y="connsiteY36130"/>
              </a:cxn>
              <a:cxn ang="0">
                <a:pos x="connsiteX36131" y="connsiteY36131"/>
              </a:cxn>
              <a:cxn ang="0">
                <a:pos x="connsiteX36132" y="connsiteY36132"/>
              </a:cxn>
              <a:cxn ang="0">
                <a:pos x="connsiteX36133" y="connsiteY36133"/>
              </a:cxn>
              <a:cxn ang="0">
                <a:pos x="connsiteX36134" y="connsiteY36134"/>
              </a:cxn>
              <a:cxn ang="0">
                <a:pos x="connsiteX36135" y="connsiteY36135"/>
              </a:cxn>
              <a:cxn ang="0">
                <a:pos x="connsiteX36136" y="connsiteY36136"/>
              </a:cxn>
              <a:cxn ang="0">
                <a:pos x="connsiteX36137" y="connsiteY36137"/>
              </a:cxn>
              <a:cxn ang="0">
                <a:pos x="connsiteX36138" y="connsiteY36138"/>
              </a:cxn>
              <a:cxn ang="0">
                <a:pos x="connsiteX36139" y="connsiteY36139"/>
              </a:cxn>
              <a:cxn ang="0">
                <a:pos x="connsiteX36140" y="connsiteY36140"/>
              </a:cxn>
              <a:cxn ang="0">
                <a:pos x="connsiteX36141" y="connsiteY36141"/>
              </a:cxn>
              <a:cxn ang="0">
                <a:pos x="connsiteX36142" y="connsiteY36142"/>
              </a:cxn>
              <a:cxn ang="0">
                <a:pos x="connsiteX36143" y="connsiteY36143"/>
              </a:cxn>
              <a:cxn ang="0">
                <a:pos x="connsiteX36144" y="connsiteY36144"/>
              </a:cxn>
              <a:cxn ang="0">
                <a:pos x="connsiteX36145" y="connsiteY36145"/>
              </a:cxn>
              <a:cxn ang="0">
                <a:pos x="connsiteX36146" y="connsiteY36146"/>
              </a:cxn>
              <a:cxn ang="0">
                <a:pos x="connsiteX36147" y="connsiteY36147"/>
              </a:cxn>
              <a:cxn ang="0">
                <a:pos x="connsiteX36148" y="connsiteY36148"/>
              </a:cxn>
              <a:cxn ang="0">
                <a:pos x="connsiteX36149" y="connsiteY36149"/>
              </a:cxn>
              <a:cxn ang="0">
                <a:pos x="connsiteX36150" y="connsiteY36150"/>
              </a:cxn>
              <a:cxn ang="0">
                <a:pos x="connsiteX36151" y="connsiteY36151"/>
              </a:cxn>
              <a:cxn ang="0">
                <a:pos x="connsiteX36152" y="connsiteY36152"/>
              </a:cxn>
              <a:cxn ang="0">
                <a:pos x="connsiteX36153" y="connsiteY36153"/>
              </a:cxn>
              <a:cxn ang="0">
                <a:pos x="connsiteX36154" y="connsiteY36154"/>
              </a:cxn>
              <a:cxn ang="0">
                <a:pos x="connsiteX36155" y="connsiteY36155"/>
              </a:cxn>
              <a:cxn ang="0">
                <a:pos x="connsiteX36156" y="connsiteY36156"/>
              </a:cxn>
              <a:cxn ang="0">
                <a:pos x="connsiteX36157" y="connsiteY36157"/>
              </a:cxn>
              <a:cxn ang="0">
                <a:pos x="connsiteX36158" y="connsiteY36158"/>
              </a:cxn>
              <a:cxn ang="0">
                <a:pos x="connsiteX36159" y="connsiteY36159"/>
              </a:cxn>
              <a:cxn ang="0">
                <a:pos x="connsiteX36160" y="connsiteY36160"/>
              </a:cxn>
              <a:cxn ang="0">
                <a:pos x="connsiteX36161" y="connsiteY36161"/>
              </a:cxn>
              <a:cxn ang="0">
                <a:pos x="connsiteX36162" y="connsiteY36162"/>
              </a:cxn>
              <a:cxn ang="0">
                <a:pos x="connsiteX36163" y="connsiteY36163"/>
              </a:cxn>
              <a:cxn ang="0">
                <a:pos x="connsiteX36164" y="connsiteY36164"/>
              </a:cxn>
              <a:cxn ang="0">
                <a:pos x="connsiteX36165" y="connsiteY36165"/>
              </a:cxn>
              <a:cxn ang="0">
                <a:pos x="connsiteX36166" y="connsiteY36166"/>
              </a:cxn>
              <a:cxn ang="0">
                <a:pos x="connsiteX36167" y="connsiteY36167"/>
              </a:cxn>
              <a:cxn ang="0">
                <a:pos x="connsiteX36168" y="connsiteY36168"/>
              </a:cxn>
              <a:cxn ang="0">
                <a:pos x="connsiteX36169" y="connsiteY36169"/>
              </a:cxn>
              <a:cxn ang="0">
                <a:pos x="connsiteX36170" y="connsiteY36170"/>
              </a:cxn>
              <a:cxn ang="0">
                <a:pos x="connsiteX36171" y="connsiteY36171"/>
              </a:cxn>
              <a:cxn ang="0">
                <a:pos x="connsiteX36172" y="connsiteY36172"/>
              </a:cxn>
              <a:cxn ang="0">
                <a:pos x="connsiteX36173" y="connsiteY36173"/>
              </a:cxn>
              <a:cxn ang="0">
                <a:pos x="connsiteX36174" y="connsiteY36174"/>
              </a:cxn>
              <a:cxn ang="0">
                <a:pos x="connsiteX36175" y="connsiteY36175"/>
              </a:cxn>
              <a:cxn ang="0">
                <a:pos x="connsiteX36176" y="connsiteY36176"/>
              </a:cxn>
              <a:cxn ang="0">
                <a:pos x="connsiteX36177" y="connsiteY36177"/>
              </a:cxn>
              <a:cxn ang="0">
                <a:pos x="connsiteX36178" y="connsiteY36178"/>
              </a:cxn>
              <a:cxn ang="0">
                <a:pos x="connsiteX36179" y="connsiteY36179"/>
              </a:cxn>
              <a:cxn ang="0">
                <a:pos x="connsiteX36180" y="connsiteY36180"/>
              </a:cxn>
              <a:cxn ang="0">
                <a:pos x="connsiteX36181" y="connsiteY36181"/>
              </a:cxn>
              <a:cxn ang="0">
                <a:pos x="connsiteX36182" y="connsiteY36182"/>
              </a:cxn>
              <a:cxn ang="0">
                <a:pos x="connsiteX36183" y="connsiteY36183"/>
              </a:cxn>
              <a:cxn ang="0">
                <a:pos x="connsiteX36184" y="connsiteY36184"/>
              </a:cxn>
              <a:cxn ang="0">
                <a:pos x="connsiteX36185" y="connsiteY36185"/>
              </a:cxn>
              <a:cxn ang="0">
                <a:pos x="connsiteX36186" y="connsiteY36186"/>
              </a:cxn>
              <a:cxn ang="0">
                <a:pos x="connsiteX36187" y="connsiteY36187"/>
              </a:cxn>
              <a:cxn ang="0">
                <a:pos x="connsiteX36188" y="connsiteY36188"/>
              </a:cxn>
              <a:cxn ang="0">
                <a:pos x="connsiteX36189" y="connsiteY36189"/>
              </a:cxn>
              <a:cxn ang="0">
                <a:pos x="connsiteX36190" y="connsiteY36190"/>
              </a:cxn>
              <a:cxn ang="0">
                <a:pos x="connsiteX36191" y="connsiteY36191"/>
              </a:cxn>
              <a:cxn ang="0">
                <a:pos x="connsiteX36192" y="connsiteY36192"/>
              </a:cxn>
              <a:cxn ang="0">
                <a:pos x="connsiteX36193" y="connsiteY36193"/>
              </a:cxn>
              <a:cxn ang="0">
                <a:pos x="connsiteX36194" y="connsiteY36194"/>
              </a:cxn>
              <a:cxn ang="0">
                <a:pos x="connsiteX36195" y="connsiteY36195"/>
              </a:cxn>
              <a:cxn ang="0">
                <a:pos x="connsiteX36196" y="connsiteY36196"/>
              </a:cxn>
              <a:cxn ang="0">
                <a:pos x="connsiteX36197" y="connsiteY36197"/>
              </a:cxn>
              <a:cxn ang="0">
                <a:pos x="connsiteX36198" y="connsiteY36198"/>
              </a:cxn>
              <a:cxn ang="0">
                <a:pos x="connsiteX36199" y="connsiteY36199"/>
              </a:cxn>
              <a:cxn ang="0">
                <a:pos x="connsiteX36200" y="connsiteY36200"/>
              </a:cxn>
              <a:cxn ang="0">
                <a:pos x="connsiteX36201" y="connsiteY36201"/>
              </a:cxn>
              <a:cxn ang="0">
                <a:pos x="connsiteX36202" y="connsiteY36202"/>
              </a:cxn>
              <a:cxn ang="0">
                <a:pos x="connsiteX36203" y="connsiteY36203"/>
              </a:cxn>
              <a:cxn ang="0">
                <a:pos x="connsiteX36204" y="connsiteY36204"/>
              </a:cxn>
              <a:cxn ang="0">
                <a:pos x="connsiteX36205" y="connsiteY36205"/>
              </a:cxn>
              <a:cxn ang="0">
                <a:pos x="connsiteX36206" y="connsiteY36206"/>
              </a:cxn>
              <a:cxn ang="0">
                <a:pos x="connsiteX36207" y="connsiteY36207"/>
              </a:cxn>
              <a:cxn ang="0">
                <a:pos x="connsiteX36208" y="connsiteY36208"/>
              </a:cxn>
              <a:cxn ang="0">
                <a:pos x="connsiteX36209" y="connsiteY36209"/>
              </a:cxn>
              <a:cxn ang="0">
                <a:pos x="connsiteX36210" y="connsiteY36210"/>
              </a:cxn>
              <a:cxn ang="0">
                <a:pos x="connsiteX36211" y="connsiteY36211"/>
              </a:cxn>
              <a:cxn ang="0">
                <a:pos x="connsiteX36212" y="connsiteY36212"/>
              </a:cxn>
              <a:cxn ang="0">
                <a:pos x="connsiteX36213" y="connsiteY36213"/>
              </a:cxn>
              <a:cxn ang="0">
                <a:pos x="connsiteX36214" y="connsiteY36214"/>
              </a:cxn>
              <a:cxn ang="0">
                <a:pos x="connsiteX36215" y="connsiteY36215"/>
              </a:cxn>
              <a:cxn ang="0">
                <a:pos x="connsiteX36216" y="connsiteY36216"/>
              </a:cxn>
              <a:cxn ang="0">
                <a:pos x="connsiteX36217" y="connsiteY36217"/>
              </a:cxn>
              <a:cxn ang="0">
                <a:pos x="connsiteX36218" y="connsiteY36218"/>
              </a:cxn>
              <a:cxn ang="0">
                <a:pos x="connsiteX36219" y="connsiteY36219"/>
              </a:cxn>
              <a:cxn ang="0">
                <a:pos x="connsiteX36220" y="connsiteY36220"/>
              </a:cxn>
              <a:cxn ang="0">
                <a:pos x="connsiteX36221" y="connsiteY36221"/>
              </a:cxn>
              <a:cxn ang="0">
                <a:pos x="connsiteX36222" y="connsiteY36222"/>
              </a:cxn>
              <a:cxn ang="0">
                <a:pos x="connsiteX36223" y="connsiteY36223"/>
              </a:cxn>
              <a:cxn ang="0">
                <a:pos x="connsiteX36224" y="connsiteY36224"/>
              </a:cxn>
              <a:cxn ang="0">
                <a:pos x="connsiteX36225" y="connsiteY36225"/>
              </a:cxn>
              <a:cxn ang="0">
                <a:pos x="connsiteX36226" y="connsiteY36226"/>
              </a:cxn>
              <a:cxn ang="0">
                <a:pos x="connsiteX36227" y="connsiteY36227"/>
              </a:cxn>
              <a:cxn ang="0">
                <a:pos x="connsiteX36228" y="connsiteY36228"/>
              </a:cxn>
              <a:cxn ang="0">
                <a:pos x="connsiteX36229" y="connsiteY36229"/>
              </a:cxn>
              <a:cxn ang="0">
                <a:pos x="connsiteX36230" y="connsiteY36230"/>
              </a:cxn>
              <a:cxn ang="0">
                <a:pos x="connsiteX36231" y="connsiteY36231"/>
              </a:cxn>
              <a:cxn ang="0">
                <a:pos x="connsiteX36232" y="connsiteY36232"/>
              </a:cxn>
              <a:cxn ang="0">
                <a:pos x="connsiteX36233" y="connsiteY36233"/>
              </a:cxn>
              <a:cxn ang="0">
                <a:pos x="connsiteX36234" y="connsiteY36234"/>
              </a:cxn>
              <a:cxn ang="0">
                <a:pos x="connsiteX36235" y="connsiteY36235"/>
              </a:cxn>
              <a:cxn ang="0">
                <a:pos x="connsiteX36236" y="connsiteY36236"/>
              </a:cxn>
              <a:cxn ang="0">
                <a:pos x="connsiteX36237" y="connsiteY36237"/>
              </a:cxn>
              <a:cxn ang="0">
                <a:pos x="connsiteX36238" y="connsiteY36238"/>
              </a:cxn>
              <a:cxn ang="0">
                <a:pos x="connsiteX36239" y="connsiteY36239"/>
              </a:cxn>
              <a:cxn ang="0">
                <a:pos x="connsiteX36240" y="connsiteY36240"/>
              </a:cxn>
              <a:cxn ang="0">
                <a:pos x="connsiteX36241" y="connsiteY36241"/>
              </a:cxn>
              <a:cxn ang="0">
                <a:pos x="connsiteX36242" y="connsiteY36242"/>
              </a:cxn>
              <a:cxn ang="0">
                <a:pos x="connsiteX36243" y="connsiteY36243"/>
              </a:cxn>
              <a:cxn ang="0">
                <a:pos x="connsiteX36244" y="connsiteY36244"/>
              </a:cxn>
              <a:cxn ang="0">
                <a:pos x="connsiteX36245" y="connsiteY36245"/>
              </a:cxn>
              <a:cxn ang="0">
                <a:pos x="connsiteX36246" y="connsiteY36246"/>
              </a:cxn>
              <a:cxn ang="0">
                <a:pos x="connsiteX36247" y="connsiteY36247"/>
              </a:cxn>
              <a:cxn ang="0">
                <a:pos x="connsiteX36248" y="connsiteY36248"/>
              </a:cxn>
              <a:cxn ang="0">
                <a:pos x="connsiteX36249" y="connsiteY36249"/>
              </a:cxn>
              <a:cxn ang="0">
                <a:pos x="connsiteX36250" y="connsiteY36250"/>
              </a:cxn>
              <a:cxn ang="0">
                <a:pos x="connsiteX36251" y="connsiteY36251"/>
              </a:cxn>
              <a:cxn ang="0">
                <a:pos x="connsiteX36252" y="connsiteY36252"/>
              </a:cxn>
              <a:cxn ang="0">
                <a:pos x="connsiteX36253" y="connsiteY36253"/>
              </a:cxn>
              <a:cxn ang="0">
                <a:pos x="connsiteX36254" y="connsiteY36254"/>
              </a:cxn>
              <a:cxn ang="0">
                <a:pos x="connsiteX36255" y="connsiteY36255"/>
              </a:cxn>
              <a:cxn ang="0">
                <a:pos x="connsiteX36256" y="connsiteY36256"/>
              </a:cxn>
              <a:cxn ang="0">
                <a:pos x="connsiteX36257" y="connsiteY36257"/>
              </a:cxn>
              <a:cxn ang="0">
                <a:pos x="connsiteX36258" y="connsiteY36258"/>
              </a:cxn>
              <a:cxn ang="0">
                <a:pos x="connsiteX36259" y="connsiteY36259"/>
              </a:cxn>
              <a:cxn ang="0">
                <a:pos x="connsiteX36260" y="connsiteY36260"/>
              </a:cxn>
              <a:cxn ang="0">
                <a:pos x="connsiteX36261" y="connsiteY36261"/>
              </a:cxn>
              <a:cxn ang="0">
                <a:pos x="connsiteX36262" y="connsiteY36262"/>
              </a:cxn>
              <a:cxn ang="0">
                <a:pos x="connsiteX36263" y="connsiteY36263"/>
              </a:cxn>
              <a:cxn ang="0">
                <a:pos x="connsiteX36264" y="connsiteY36264"/>
              </a:cxn>
              <a:cxn ang="0">
                <a:pos x="connsiteX36265" y="connsiteY36265"/>
              </a:cxn>
              <a:cxn ang="0">
                <a:pos x="connsiteX36266" y="connsiteY36266"/>
              </a:cxn>
              <a:cxn ang="0">
                <a:pos x="connsiteX36267" y="connsiteY36267"/>
              </a:cxn>
              <a:cxn ang="0">
                <a:pos x="connsiteX36268" y="connsiteY36268"/>
              </a:cxn>
              <a:cxn ang="0">
                <a:pos x="connsiteX36269" y="connsiteY36269"/>
              </a:cxn>
              <a:cxn ang="0">
                <a:pos x="connsiteX36270" y="connsiteY36270"/>
              </a:cxn>
              <a:cxn ang="0">
                <a:pos x="connsiteX36271" y="connsiteY36271"/>
              </a:cxn>
              <a:cxn ang="0">
                <a:pos x="connsiteX36272" y="connsiteY36272"/>
              </a:cxn>
              <a:cxn ang="0">
                <a:pos x="connsiteX36273" y="connsiteY36273"/>
              </a:cxn>
              <a:cxn ang="0">
                <a:pos x="connsiteX36274" y="connsiteY36274"/>
              </a:cxn>
              <a:cxn ang="0">
                <a:pos x="connsiteX36275" y="connsiteY36275"/>
              </a:cxn>
              <a:cxn ang="0">
                <a:pos x="connsiteX36276" y="connsiteY36276"/>
              </a:cxn>
              <a:cxn ang="0">
                <a:pos x="connsiteX36277" y="connsiteY36277"/>
              </a:cxn>
              <a:cxn ang="0">
                <a:pos x="connsiteX36278" y="connsiteY36278"/>
              </a:cxn>
              <a:cxn ang="0">
                <a:pos x="connsiteX36279" y="connsiteY36279"/>
              </a:cxn>
              <a:cxn ang="0">
                <a:pos x="connsiteX36280" y="connsiteY36280"/>
              </a:cxn>
              <a:cxn ang="0">
                <a:pos x="connsiteX36281" y="connsiteY36281"/>
              </a:cxn>
              <a:cxn ang="0">
                <a:pos x="connsiteX36282" y="connsiteY36282"/>
              </a:cxn>
              <a:cxn ang="0">
                <a:pos x="connsiteX36283" y="connsiteY36283"/>
              </a:cxn>
              <a:cxn ang="0">
                <a:pos x="connsiteX36284" y="connsiteY36284"/>
              </a:cxn>
              <a:cxn ang="0">
                <a:pos x="connsiteX36285" y="connsiteY36285"/>
              </a:cxn>
              <a:cxn ang="0">
                <a:pos x="connsiteX36286" y="connsiteY36286"/>
              </a:cxn>
              <a:cxn ang="0">
                <a:pos x="connsiteX36287" y="connsiteY36287"/>
              </a:cxn>
              <a:cxn ang="0">
                <a:pos x="connsiteX36288" y="connsiteY36288"/>
              </a:cxn>
              <a:cxn ang="0">
                <a:pos x="connsiteX36289" y="connsiteY36289"/>
              </a:cxn>
              <a:cxn ang="0">
                <a:pos x="connsiteX36290" y="connsiteY36290"/>
              </a:cxn>
              <a:cxn ang="0">
                <a:pos x="connsiteX36291" y="connsiteY36291"/>
              </a:cxn>
              <a:cxn ang="0">
                <a:pos x="connsiteX36292" y="connsiteY36292"/>
              </a:cxn>
              <a:cxn ang="0">
                <a:pos x="connsiteX36293" y="connsiteY36293"/>
              </a:cxn>
              <a:cxn ang="0">
                <a:pos x="connsiteX36294" y="connsiteY36294"/>
              </a:cxn>
              <a:cxn ang="0">
                <a:pos x="connsiteX36295" y="connsiteY36295"/>
              </a:cxn>
              <a:cxn ang="0">
                <a:pos x="connsiteX36296" y="connsiteY36296"/>
              </a:cxn>
              <a:cxn ang="0">
                <a:pos x="connsiteX36297" y="connsiteY36297"/>
              </a:cxn>
              <a:cxn ang="0">
                <a:pos x="connsiteX36298" y="connsiteY36298"/>
              </a:cxn>
              <a:cxn ang="0">
                <a:pos x="connsiteX36299" y="connsiteY36299"/>
              </a:cxn>
              <a:cxn ang="0">
                <a:pos x="connsiteX36300" y="connsiteY36300"/>
              </a:cxn>
              <a:cxn ang="0">
                <a:pos x="connsiteX36301" y="connsiteY36301"/>
              </a:cxn>
              <a:cxn ang="0">
                <a:pos x="connsiteX36302" y="connsiteY36302"/>
              </a:cxn>
              <a:cxn ang="0">
                <a:pos x="connsiteX36303" y="connsiteY36303"/>
              </a:cxn>
              <a:cxn ang="0">
                <a:pos x="connsiteX36304" y="connsiteY36304"/>
              </a:cxn>
              <a:cxn ang="0">
                <a:pos x="connsiteX36305" y="connsiteY36305"/>
              </a:cxn>
              <a:cxn ang="0">
                <a:pos x="connsiteX36306" y="connsiteY36306"/>
              </a:cxn>
              <a:cxn ang="0">
                <a:pos x="connsiteX36307" y="connsiteY36307"/>
              </a:cxn>
              <a:cxn ang="0">
                <a:pos x="connsiteX36308" y="connsiteY36308"/>
              </a:cxn>
              <a:cxn ang="0">
                <a:pos x="connsiteX36309" y="connsiteY36309"/>
              </a:cxn>
              <a:cxn ang="0">
                <a:pos x="connsiteX36310" y="connsiteY36310"/>
              </a:cxn>
              <a:cxn ang="0">
                <a:pos x="connsiteX36311" y="connsiteY36311"/>
              </a:cxn>
              <a:cxn ang="0">
                <a:pos x="connsiteX36312" y="connsiteY36312"/>
              </a:cxn>
              <a:cxn ang="0">
                <a:pos x="connsiteX36313" y="connsiteY36313"/>
              </a:cxn>
              <a:cxn ang="0">
                <a:pos x="connsiteX36314" y="connsiteY36314"/>
              </a:cxn>
              <a:cxn ang="0">
                <a:pos x="connsiteX36315" y="connsiteY36315"/>
              </a:cxn>
              <a:cxn ang="0">
                <a:pos x="connsiteX36316" y="connsiteY36316"/>
              </a:cxn>
              <a:cxn ang="0">
                <a:pos x="connsiteX36317" y="connsiteY36317"/>
              </a:cxn>
              <a:cxn ang="0">
                <a:pos x="connsiteX36318" y="connsiteY36318"/>
              </a:cxn>
              <a:cxn ang="0">
                <a:pos x="connsiteX36319" y="connsiteY36319"/>
              </a:cxn>
              <a:cxn ang="0">
                <a:pos x="connsiteX36320" y="connsiteY36320"/>
              </a:cxn>
              <a:cxn ang="0">
                <a:pos x="connsiteX36321" y="connsiteY36321"/>
              </a:cxn>
              <a:cxn ang="0">
                <a:pos x="connsiteX36322" y="connsiteY36322"/>
              </a:cxn>
              <a:cxn ang="0">
                <a:pos x="connsiteX36323" y="connsiteY36323"/>
              </a:cxn>
              <a:cxn ang="0">
                <a:pos x="connsiteX36324" y="connsiteY36324"/>
              </a:cxn>
              <a:cxn ang="0">
                <a:pos x="connsiteX36325" y="connsiteY36325"/>
              </a:cxn>
              <a:cxn ang="0">
                <a:pos x="connsiteX36326" y="connsiteY36326"/>
              </a:cxn>
              <a:cxn ang="0">
                <a:pos x="connsiteX36327" y="connsiteY36327"/>
              </a:cxn>
              <a:cxn ang="0">
                <a:pos x="connsiteX36328" y="connsiteY36328"/>
              </a:cxn>
              <a:cxn ang="0">
                <a:pos x="connsiteX36329" y="connsiteY36329"/>
              </a:cxn>
              <a:cxn ang="0">
                <a:pos x="connsiteX36330" y="connsiteY36330"/>
              </a:cxn>
              <a:cxn ang="0">
                <a:pos x="connsiteX36331" y="connsiteY36331"/>
              </a:cxn>
              <a:cxn ang="0">
                <a:pos x="connsiteX36332" y="connsiteY36332"/>
              </a:cxn>
              <a:cxn ang="0">
                <a:pos x="connsiteX36333" y="connsiteY36333"/>
              </a:cxn>
              <a:cxn ang="0">
                <a:pos x="connsiteX36334" y="connsiteY36334"/>
              </a:cxn>
              <a:cxn ang="0">
                <a:pos x="connsiteX36335" y="connsiteY36335"/>
              </a:cxn>
              <a:cxn ang="0">
                <a:pos x="connsiteX36336" y="connsiteY36336"/>
              </a:cxn>
              <a:cxn ang="0">
                <a:pos x="connsiteX36337" y="connsiteY36337"/>
              </a:cxn>
              <a:cxn ang="0">
                <a:pos x="connsiteX36338" y="connsiteY36338"/>
              </a:cxn>
              <a:cxn ang="0">
                <a:pos x="connsiteX36339" y="connsiteY36339"/>
              </a:cxn>
              <a:cxn ang="0">
                <a:pos x="connsiteX36340" y="connsiteY36340"/>
              </a:cxn>
              <a:cxn ang="0">
                <a:pos x="connsiteX36341" y="connsiteY36341"/>
              </a:cxn>
              <a:cxn ang="0">
                <a:pos x="connsiteX36342" y="connsiteY36342"/>
              </a:cxn>
              <a:cxn ang="0">
                <a:pos x="connsiteX36343" y="connsiteY36343"/>
              </a:cxn>
              <a:cxn ang="0">
                <a:pos x="connsiteX36344" y="connsiteY36344"/>
              </a:cxn>
              <a:cxn ang="0">
                <a:pos x="connsiteX36345" y="connsiteY36345"/>
              </a:cxn>
              <a:cxn ang="0">
                <a:pos x="connsiteX36346" y="connsiteY36346"/>
              </a:cxn>
              <a:cxn ang="0">
                <a:pos x="connsiteX36347" y="connsiteY36347"/>
              </a:cxn>
              <a:cxn ang="0">
                <a:pos x="connsiteX36348" y="connsiteY36348"/>
              </a:cxn>
              <a:cxn ang="0">
                <a:pos x="connsiteX36349" y="connsiteY36349"/>
              </a:cxn>
              <a:cxn ang="0">
                <a:pos x="connsiteX36350" y="connsiteY36350"/>
              </a:cxn>
              <a:cxn ang="0">
                <a:pos x="connsiteX36351" y="connsiteY36351"/>
              </a:cxn>
              <a:cxn ang="0">
                <a:pos x="connsiteX36352" y="connsiteY36352"/>
              </a:cxn>
              <a:cxn ang="0">
                <a:pos x="connsiteX36353" y="connsiteY36353"/>
              </a:cxn>
              <a:cxn ang="0">
                <a:pos x="connsiteX36354" y="connsiteY36354"/>
              </a:cxn>
              <a:cxn ang="0">
                <a:pos x="connsiteX36355" y="connsiteY36355"/>
              </a:cxn>
              <a:cxn ang="0">
                <a:pos x="connsiteX36356" y="connsiteY36356"/>
              </a:cxn>
              <a:cxn ang="0">
                <a:pos x="connsiteX36357" y="connsiteY36357"/>
              </a:cxn>
              <a:cxn ang="0">
                <a:pos x="connsiteX36358" y="connsiteY36358"/>
              </a:cxn>
              <a:cxn ang="0">
                <a:pos x="connsiteX36359" y="connsiteY36359"/>
              </a:cxn>
              <a:cxn ang="0">
                <a:pos x="connsiteX36360" y="connsiteY36360"/>
              </a:cxn>
              <a:cxn ang="0">
                <a:pos x="connsiteX36361" y="connsiteY36361"/>
              </a:cxn>
              <a:cxn ang="0">
                <a:pos x="connsiteX36362" y="connsiteY36362"/>
              </a:cxn>
              <a:cxn ang="0">
                <a:pos x="connsiteX36363" y="connsiteY36363"/>
              </a:cxn>
              <a:cxn ang="0">
                <a:pos x="connsiteX36364" y="connsiteY36364"/>
              </a:cxn>
              <a:cxn ang="0">
                <a:pos x="connsiteX36365" y="connsiteY36365"/>
              </a:cxn>
              <a:cxn ang="0">
                <a:pos x="connsiteX36366" y="connsiteY36366"/>
              </a:cxn>
              <a:cxn ang="0">
                <a:pos x="connsiteX36367" y="connsiteY36367"/>
              </a:cxn>
              <a:cxn ang="0">
                <a:pos x="connsiteX36368" y="connsiteY36368"/>
              </a:cxn>
              <a:cxn ang="0">
                <a:pos x="connsiteX36369" y="connsiteY36369"/>
              </a:cxn>
              <a:cxn ang="0">
                <a:pos x="connsiteX36370" y="connsiteY36370"/>
              </a:cxn>
              <a:cxn ang="0">
                <a:pos x="connsiteX36371" y="connsiteY36371"/>
              </a:cxn>
              <a:cxn ang="0">
                <a:pos x="connsiteX36372" y="connsiteY36372"/>
              </a:cxn>
              <a:cxn ang="0">
                <a:pos x="connsiteX36373" y="connsiteY36373"/>
              </a:cxn>
              <a:cxn ang="0">
                <a:pos x="connsiteX36374" y="connsiteY36374"/>
              </a:cxn>
              <a:cxn ang="0">
                <a:pos x="connsiteX36375" y="connsiteY36375"/>
              </a:cxn>
              <a:cxn ang="0">
                <a:pos x="connsiteX36376" y="connsiteY36376"/>
              </a:cxn>
              <a:cxn ang="0">
                <a:pos x="connsiteX36377" y="connsiteY36377"/>
              </a:cxn>
              <a:cxn ang="0">
                <a:pos x="connsiteX36378" y="connsiteY36378"/>
              </a:cxn>
              <a:cxn ang="0">
                <a:pos x="connsiteX36379" y="connsiteY36379"/>
              </a:cxn>
              <a:cxn ang="0">
                <a:pos x="connsiteX36380" y="connsiteY36380"/>
              </a:cxn>
              <a:cxn ang="0">
                <a:pos x="connsiteX36381" y="connsiteY36381"/>
              </a:cxn>
              <a:cxn ang="0">
                <a:pos x="connsiteX36382" y="connsiteY36382"/>
              </a:cxn>
              <a:cxn ang="0">
                <a:pos x="connsiteX36383" y="connsiteY36383"/>
              </a:cxn>
              <a:cxn ang="0">
                <a:pos x="connsiteX36384" y="connsiteY36384"/>
              </a:cxn>
              <a:cxn ang="0">
                <a:pos x="connsiteX36385" y="connsiteY36385"/>
              </a:cxn>
              <a:cxn ang="0">
                <a:pos x="connsiteX36386" y="connsiteY36386"/>
              </a:cxn>
              <a:cxn ang="0">
                <a:pos x="connsiteX36387" y="connsiteY36387"/>
              </a:cxn>
              <a:cxn ang="0">
                <a:pos x="connsiteX36388" y="connsiteY36388"/>
              </a:cxn>
              <a:cxn ang="0">
                <a:pos x="connsiteX36389" y="connsiteY36389"/>
              </a:cxn>
              <a:cxn ang="0">
                <a:pos x="connsiteX36390" y="connsiteY36390"/>
              </a:cxn>
              <a:cxn ang="0">
                <a:pos x="connsiteX36391" y="connsiteY36391"/>
              </a:cxn>
              <a:cxn ang="0">
                <a:pos x="connsiteX36392" y="connsiteY36392"/>
              </a:cxn>
              <a:cxn ang="0">
                <a:pos x="connsiteX36393" y="connsiteY36393"/>
              </a:cxn>
              <a:cxn ang="0">
                <a:pos x="connsiteX36394" y="connsiteY36394"/>
              </a:cxn>
              <a:cxn ang="0">
                <a:pos x="connsiteX36395" y="connsiteY36395"/>
              </a:cxn>
              <a:cxn ang="0">
                <a:pos x="connsiteX36396" y="connsiteY36396"/>
              </a:cxn>
              <a:cxn ang="0">
                <a:pos x="connsiteX36397" y="connsiteY36397"/>
              </a:cxn>
              <a:cxn ang="0">
                <a:pos x="connsiteX36398" y="connsiteY36398"/>
              </a:cxn>
              <a:cxn ang="0">
                <a:pos x="connsiteX36399" y="connsiteY36399"/>
              </a:cxn>
              <a:cxn ang="0">
                <a:pos x="connsiteX36400" y="connsiteY36400"/>
              </a:cxn>
              <a:cxn ang="0">
                <a:pos x="connsiteX36401" y="connsiteY36401"/>
              </a:cxn>
              <a:cxn ang="0">
                <a:pos x="connsiteX36402" y="connsiteY36402"/>
              </a:cxn>
              <a:cxn ang="0">
                <a:pos x="connsiteX36403" y="connsiteY36403"/>
              </a:cxn>
              <a:cxn ang="0">
                <a:pos x="connsiteX36404" y="connsiteY36404"/>
              </a:cxn>
              <a:cxn ang="0">
                <a:pos x="connsiteX36405" y="connsiteY36405"/>
              </a:cxn>
              <a:cxn ang="0">
                <a:pos x="connsiteX36406" y="connsiteY36406"/>
              </a:cxn>
              <a:cxn ang="0">
                <a:pos x="connsiteX36407" y="connsiteY36407"/>
              </a:cxn>
              <a:cxn ang="0">
                <a:pos x="connsiteX36408" y="connsiteY36408"/>
              </a:cxn>
              <a:cxn ang="0">
                <a:pos x="connsiteX36409" y="connsiteY36409"/>
              </a:cxn>
              <a:cxn ang="0">
                <a:pos x="connsiteX36410" y="connsiteY36410"/>
              </a:cxn>
              <a:cxn ang="0">
                <a:pos x="connsiteX36411" y="connsiteY36411"/>
              </a:cxn>
              <a:cxn ang="0">
                <a:pos x="connsiteX36412" y="connsiteY36412"/>
              </a:cxn>
              <a:cxn ang="0">
                <a:pos x="connsiteX36413" y="connsiteY36413"/>
              </a:cxn>
              <a:cxn ang="0">
                <a:pos x="connsiteX36414" y="connsiteY36414"/>
              </a:cxn>
              <a:cxn ang="0">
                <a:pos x="connsiteX36415" y="connsiteY36415"/>
              </a:cxn>
              <a:cxn ang="0">
                <a:pos x="connsiteX36416" y="connsiteY36416"/>
              </a:cxn>
              <a:cxn ang="0">
                <a:pos x="connsiteX36417" y="connsiteY36417"/>
              </a:cxn>
              <a:cxn ang="0">
                <a:pos x="connsiteX36418" y="connsiteY36418"/>
              </a:cxn>
              <a:cxn ang="0">
                <a:pos x="connsiteX36419" y="connsiteY36419"/>
              </a:cxn>
              <a:cxn ang="0">
                <a:pos x="connsiteX36420" y="connsiteY36420"/>
              </a:cxn>
              <a:cxn ang="0">
                <a:pos x="connsiteX36421" y="connsiteY36421"/>
              </a:cxn>
              <a:cxn ang="0">
                <a:pos x="connsiteX36422" y="connsiteY36422"/>
              </a:cxn>
              <a:cxn ang="0">
                <a:pos x="connsiteX36423" y="connsiteY36423"/>
              </a:cxn>
              <a:cxn ang="0">
                <a:pos x="connsiteX36424" y="connsiteY36424"/>
              </a:cxn>
              <a:cxn ang="0">
                <a:pos x="connsiteX36425" y="connsiteY36425"/>
              </a:cxn>
              <a:cxn ang="0">
                <a:pos x="connsiteX36426" y="connsiteY36426"/>
              </a:cxn>
              <a:cxn ang="0">
                <a:pos x="connsiteX36427" y="connsiteY36427"/>
              </a:cxn>
              <a:cxn ang="0">
                <a:pos x="connsiteX36428" y="connsiteY36428"/>
              </a:cxn>
              <a:cxn ang="0">
                <a:pos x="connsiteX36429" y="connsiteY36429"/>
              </a:cxn>
              <a:cxn ang="0">
                <a:pos x="connsiteX36430" y="connsiteY36430"/>
              </a:cxn>
              <a:cxn ang="0">
                <a:pos x="connsiteX36431" y="connsiteY36431"/>
              </a:cxn>
              <a:cxn ang="0">
                <a:pos x="connsiteX36432" y="connsiteY36432"/>
              </a:cxn>
              <a:cxn ang="0">
                <a:pos x="connsiteX36433" y="connsiteY36433"/>
              </a:cxn>
              <a:cxn ang="0">
                <a:pos x="connsiteX36434" y="connsiteY36434"/>
              </a:cxn>
              <a:cxn ang="0">
                <a:pos x="connsiteX36435" y="connsiteY36435"/>
              </a:cxn>
              <a:cxn ang="0">
                <a:pos x="connsiteX36436" y="connsiteY36436"/>
              </a:cxn>
              <a:cxn ang="0">
                <a:pos x="connsiteX36437" y="connsiteY36437"/>
              </a:cxn>
              <a:cxn ang="0">
                <a:pos x="connsiteX36438" y="connsiteY36438"/>
              </a:cxn>
              <a:cxn ang="0">
                <a:pos x="connsiteX36439" y="connsiteY36439"/>
              </a:cxn>
              <a:cxn ang="0">
                <a:pos x="connsiteX36440" y="connsiteY36440"/>
              </a:cxn>
              <a:cxn ang="0">
                <a:pos x="connsiteX36441" y="connsiteY36441"/>
              </a:cxn>
              <a:cxn ang="0">
                <a:pos x="connsiteX36442" y="connsiteY36442"/>
              </a:cxn>
              <a:cxn ang="0">
                <a:pos x="connsiteX36443" y="connsiteY36443"/>
              </a:cxn>
              <a:cxn ang="0">
                <a:pos x="connsiteX36444" y="connsiteY36444"/>
              </a:cxn>
              <a:cxn ang="0">
                <a:pos x="connsiteX36445" y="connsiteY36445"/>
              </a:cxn>
              <a:cxn ang="0">
                <a:pos x="connsiteX36446" y="connsiteY36446"/>
              </a:cxn>
              <a:cxn ang="0">
                <a:pos x="connsiteX36447" y="connsiteY36447"/>
              </a:cxn>
              <a:cxn ang="0">
                <a:pos x="connsiteX36448" y="connsiteY36448"/>
              </a:cxn>
              <a:cxn ang="0">
                <a:pos x="connsiteX36449" y="connsiteY36449"/>
              </a:cxn>
              <a:cxn ang="0">
                <a:pos x="connsiteX36450" y="connsiteY36450"/>
              </a:cxn>
              <a:cxn ang="0">
                <a:pos x="connsiteX36451" y="connsiteY36451"/>
              </a:cxn>
              <a:cxn ang="0">
                <a:pos x="connsiteX36452" y="connsiteY36452"/>
              </a:cxn>
              <a:cxn ang="0">
                <a:pos x="connsiteX36453" y="connsiteY36453"/>
              </a:cxn>
              <a:cxn ang="0">
                <a:pos x="connsiteX36454" y="connsiteY36454"/>
              </a:cxn>
              <a:cxn ang="0">
                <a:pos x="connsiteX36455" y="connsiteY36455"/>
              </a:cxn>
              <a:cxn ang="0">
                <a:pos x="connsiteX36456" y="connsiteY36456"/>
              </a:cxn>
              <a:cxn ang="0">
                <a:pos x="connsiteX36457" y="connsiteY36457"/>
              </a:cxn>
              <a:cxn ang="0">
                <a:pos x="connsiteX36458" y="connsiteY36458"/>
              </a:cxn>
              <a:cxn ang="0">
                <a:pos x="connsiteX36459" y="connsiteY36459"/>
              </a:cxn>
              <a:cxn ang="0">
                <a:pos x="connsiteX36460" y="connsiteY36460"/>
              </a:cxn>
              <a:cxn ang="0">
                <a:pos x="connsiteX36461" y="connsiteY36461"/>
              </a:cxn>
              <a:cxn ang="0">
                <a:pos x="connsiteX36462" y="connsiteY36462"/>
              </a:cxn>
              <a:cxn ang="0">
                <a:pos x="connsiteX36463" y="connsiteY36463"/>
              </a:cxn>
              <a:cxn ang="0">
                <a:pos x="connsiteX36464" y="connsiteY36464"/>
              </a:cxn>
              <a:cxn ang="0">
                <a:pos x="connsiteX36465" y="connsiteY36465"/>
              </a:cxn>
              <a:cxn ang="0">
                <a:pos x="connsiteX36466" y="connsiteY36466"/>
              </a:cxn>
              <a:cxn ang="0">
                <a:pos x="connsiteX36467" y="connsiteY36467"/>
              </a:cxn>
              <a:cxn ang="0">
                <a:pos x="connsiteX36468" y="connsiteY36468"/>
              </a:cxn>
              <a:cxn ang="0">
                <a:pos x="connsiteX36469" y="connsiteY36469"/>
              </a:cxn>
              <a:cxn ang="0">
                <a:pos x="connsiteX36470" y="connsiteY36470"/>
              </a:cxn>
              <a:cxn ang="0">
                <a:pos x="connsiteX36471" y="connsiteY36471"/>
              </a:cxn>
              <a:cxn ang="0">
                <a:pos x="connsiteX36472" y="connsiteY36472"/>
              </a:cxn>
              <a:cxn ang="0">
                <a:pos x="connsiteX36473" y="connsiteY36473"/>
              </a:cxn>
              <a:cxn ang="0">
                <a:pos x="connsiteX36474" y="connsiteY36474"/>
              </a:cxn>
              <a:cxn ang="0">
                <a:pos x="connsiteX36475" y="connsiteY36475"/>
              </a:cxn>
              <a:cxn ang="0">
                <a:pos x="connsiteX36476" y="connsiteY36476"/>
              </a:cxn>
              <a:cxn ang="0">
                <a:pos x="connsiteX36477" y="connsiteY36477"/>
              </a:cxn>
              <a:cxn ang="0">
                <a:pos x="connsiteX36478" y="connsiteY36478"/>
              </a:cxn>
              <a:cxn ang="0">
                <a:pos x="connsiteX36479" y="connsiteY36479"/>
              </a:cxn>
              <a:cxn ang="0">
                <a:pos x="connsiteX36480" y="connsiteY36480"/>
              </a:cxn>
              <a:cxn ang="0">
                <a:pos x="connsiteX36481" y="connsiteY36481"/>
              </a:cxn>
              <a:cxn ang="0">
                <a:pos x="connsiteX36482" y="connsiteY36482"/>
              </a:cxn>
              <a:cxn ang="0">
                <a:pos x="connsiteX36483" y="connsiteY36483"/>
              </a:cxn>
              <a:cxn ang="0">
                <a:pos x="connsiteX36484" y="connsiteY36484"/>
              </a:cxn>
              <a:cxn ang="0">
                <a:pos x="connsiteX36485" y="connsiteY36485"/>
              </a:cxn>
              <a:cxn ang="0">
                <a:pos x="connsiteX36486" y="connsiteY36486"/>
              </a:cxn>
              <a:cxn ang="0">
                <a:pos x="connsiteX36487" y="connsiteY36487"/>
              </a:cxn>
              <a:cxn ang="0">
                <a:pos x="connsiteX36488" y="connsiteY36488"/>
              </a:cxn>
              <a:cxn ang="0">
                <a:pos x="connsiteX36489" y="connsiteY36489"/>
              </a:cxn>
              <a:cxn ang="0">
                <a:pos x="connsiteX36490" y="connsiteY36490"/>
              </a:cxn>
              <a:cxn ang="0">
                <a:pos x="connsiteX36491" y="connsiteY36491"/>
              </a:cxn>
              <a:cxn ang="0">
                <a:pos x="connsiteX36492" y="connsiteY36492"/>
              </a:cxn>
              <a:cxn ang="0">
                <a:pos x="connsiteX36493" y="connsiteY36493"/>
              </a:cxn>
              <a:cxn ang="0">
                <a:pos x="connsiteX36494" y="connsiteY36494"/>
              </a:cxn>
              <a:cxn ang="0">
                <a:pos x="connsiteX36495" y="connsiteY36495"/>
              </a:cxn>
              <a:cxn ang="0">
                <a:pos x="connsiteX36496" y="connsiteY36496"/>
              </a:cxn>
              <a:cxn ang="0">
                <a:pos x="connsiteX36497" y="connsiteY36497"/>
              </a:cxn>
              <a:cxn ang="0">
                <a:pos x="connsiteX36498" y="connsiteY36498"/>
              </a:cxn>
              <a:cxn ang="0">
                <a:pos x="connsiteX36499" y="connsiteY36499"/>
              </a:cxn>
              <a:cxn ang="0">
                <a:pos x="connsiteX36500" y="connsiteY36500"/>
              </a:cxn>
              <a:cxn ang="0">
                <a:pos x="connsiteX36501" y="connsiteY36501"/>
              </a:cxn>
              <a:cxn ang="0">
                <a:pos x="connsiteX36502" y="connsiteY36502"/>
              </a:cxn>
              <a:cxn ang="0">
                <a:pos x="connsiteX36503" y="connsiteY36503"/>
              </a:cxn>
              <a:cxn ang="0">
                <a:pos x="connsiteX36504" y="connsiteY36504"/>
              </a:cxn>
              <a:cxn ang="0">
                <a:pos x="connsiteX36505" y="connsiteY36505"/>
              </a:cxn>
              <a:cxn ang="0">
                <a:pos x="connsiteX36506" y="connsiteY36506"/>
              </a:cxn>
              <a:cxn ang="0">
                <a:pos x="connsiteX36507" y="connsiteY36507"/>
              </a:cxn>
              <a:cxn ang="0">
                <a:pos x="connsiteX36508" y="connsiteY36508"/>
              </a:cxn>
              <a:cxn ang="0">
                <a:pos x="connsiteX36509" y="connsiteY36509"/>
              </a:cxn>
              <a:cxn ang="0">
                <a:pos x="connsiteX36510" y="connsiteY36510"/>
              </a:cxn>
              <a:cxn ang="0">
                <a:pos x="connsiteX36511" y="connsiteY36511"/>
              </a:cxn>
              <a:cxn ang="0">
                <a:pos x="connsiteX36512" y="connsiteY36512"/>
              </a:cxn>
              <a:cxn ang="0">
                <a:pos x="connsiteX36513" y="connsiteY36513"/>
              </a:cxn>
              <a:cxn ang="0">
                <a:pos x="connsiteX36514" y="connsiteY36514"/>
              </a:cxn>
              <a:cxn ang="0">
                <a:pos x="connsiteX36515" y="connsiteY36515"/>
              </a:cxn>
              <a:cxn ang="0">
                <a:pos x="connsiteX36516" y="connsiteY36516"/>
              </a:cxn>
              <a:cxn ang="0">
                <a:pos x="connsiteX36517" y="connsiteY36517"/>
              </a:cxn>
              <a:cxn ang="0">
                <a:pos x="connsiteX36518" y="connsiteY36518"/>
              </a:cxn>
              <a:cxn ang="0">
                <a:pos x="connsiteX36519" y="connsiteY36519"/>
              </a:cxn>
              <a:cxn ang="0">
                <a:pos x="connsiteX36520" y="connsiteY36520"/>
              </a:cxn>
              <a:cxn ang="0">
                <a:pos x="connsiteX36521" y="connsiteY36521"/>
              </a:cxn>
              <a:cxn ang="0">
                <a:pos x="connsiteX36522" y="connsiteY36522"/>
              </a:cxn>
              <a:cxn ang="0">
                <a:pos x="connsiteX36523" y="connsiteY36523"/>
              </a:cxn>
              <a:cxn ang="0">
                <a:pos x="connsiteX36524" y="connsiteY36524"/>
              </a:cxn>
              <a:cxn ang="0">
                <a:pos x="connsiteX36525" y="connsiteY36525"/>
              </a:cxn>
              <a:cxn ang="0">
                <a:pos x="connsiteX36526" y="connsiteY36526"/>
              </a:cxn>
              <a:cxn ang="0">
                <a:pos x="connsiteX36527" y="connsiteY36527"/>
              </a:cxn>
              <a:cxn ang="0">
                <a:pos x="connsiteX36528" y="connsiteY36528"/>
              </a:cxn>
              <a:cxn ang="0">
                <a:pos x="connsiteX36529" y="connsiteY36529"/>
              </a:cxn>
              <a:cxn ang="0">
                <a:pos x="connsiteX36530" y="connsiteY36530"/>
              </a:cxn>
              <a:cxn ang="0">
                <a:pos x="connsiteX36531" y="connsiteY36531"/>
              </a:cxn>
              <a:cxn ang="0">
                <a:pos x="connsiteX36532" y="connsiteY36532"/>
              </a:cxn>
              <a:cxn ang="0">
                <a:pos x="connsiteX36533" y="connsiteY36533"/>
              </a:cxn>
              <a:cxn ang="0">
                <a:pos x="connsiteX36534" y="connsiteY36534"/>
              </a:cxn>
              <a:cxn ang="0">
                <a:pos x="connsiteX36535" y="connsiteY36535"/>
              </a:cxn>
              <a:cxn ang="0">
                <a:pos x="connsiteX36536" y="connsiteY36536"/>
              </a:cxn>
              <a:cxn ang="0">
                <a:pos x="connsiteX36537" y="connsiteY36537"/>
              </a:cxn>
              <a:cxn ang="0">
                <a:pos x="connsiteX36538" y="connsiteY36538"/>
              </a:cxn>
              <a:cxn ang="0">
                <a:pos x="connsiteX36539" y="connsiteY36539"/>
              </a:cxn>
              <a:cxn ang="0">
                <a:pos x="connsiteX36540" y="connsiteY36540"/>
              </a:cxn>
              <a:cxn ang="0">
                <a:pos x="connsiteX36541" y="connsiteY36541"/>
              </a:cxn>
              <a:cxn ang="0">
                <a:pos x="connsiteX36542" y="connsiteY36542"/>
              </a:cxn>
              <a:cxn ang="0">
                <a:pos x="connsiteX36543" y="connsiteY36543"/>
              </a:cxn>
              <a:cxn ang="0">
                <a:pos x="connsiteX36544" y="connsiteY36544"/>
              </a:cxn>
              <a:cxn ang="0">
                <a:pos x="connsiteX36545" y="connsiteY36545"/>
              </a:cxn>
              <a:cxn ang="0">
                <a:pos x="connsiteX36546" y="connsiteY36546"/>
              </a:cxn>
              <a:cxn ang="0">
                <a:pos x="connsiteX36547" y="connsiteY36547"/>
              </a:cxn>
              <a:cxn ang="0">
                <a:pos x="connsiteX36548" y="connsiteY36548"/>
              </a:cxn>
              <a:cxn ang="0">
                <a:pos x="connsiteX36549" y="connsiteY36549"/>
              </a:cxn>
              <a:cxn ang="0">
                <a:pos x="connsiteX36550" y="connsiteY36550"/>
              </a:cxn>
              <a:cxn ang="0">
                <a:pos x="connsiteX36551" y="connsiteY36551"/>
              </a:cxn>
              <a:cxn ang="0">
                <a:pos x="connsiteX36552" y="connsiteY36552"/>
              </a:cxn>
              <a:cxn ang="0">
                <a:pos x="connsiteX36553" y="connsiteY36553"/>
              </a:cxn>
              <a:cxn ang="0">
                <a:pos x="connsiteX36554" y="connsiteY36554"/>
              </a:cxn>
              <a:cxn ang="0">
                <a:pos x="connsiteX36555" y="connsiteY36555"/>
              </a:cxn>
              <a:cxn ang="0">
                <a:pos x="connsiteX36556" y="connsiteY36556"/>
              </a:cxn>
              <a:cxn ang="0">
                <a:pos x="connsiteX36557" y="connsiteY36557"/>
              </a:cxn>
              <a:cxn ang="0">
                <a:pos x="connsiteX36558" y="connsiteY36558"/>
              </a:cxn>
              <a:cxn ang="0">
                <a:pos x="connsiteX36559" y="connsiteY36559"/>
              </a:cxn>
              <a:cxn ang="0">
                <a:pos x="connsiteX36560" y="connsiteY36560"/>
              </a:cxn>
              <a:cxn ang="0">
                <a:pos x="connsiteX36561" y="connsiteY36561"/>
              </a:cxn>
              <a:cxn ang="0">
                <a:pos x="connsiteX36562" y="connsiteY36562"/>
              </a:cxn>
              <a:cxn ang="0">
                <a:pos x="connsiteX36563" y="connsiteY36563"/>
              </a:cxn>
              <a:cxn ang="0">
                <a:pos x="connsiteX36564" y="connsiteY36564"/>
              </a:cxn>
              <a:cxn ang="0">
                <a:pos x="connsiteX36565" y="connsiteY36565"/>
              </a:cxn>
              <a:cxn ang="0">
                <a:pos x="connsiteX36566" y="connsiteY36566"/>
              </a:cxn>
              <a:cxn ang="0">
                <a:pos x="connsiteX36567" y="connsiteY36567"/>
              </a:cxn>
              <a:cxn ang="0">
                <a:pos x="connsiteX36568" y="connsiteY36568"/>
              </a:cxn>
              <a:cxn ang="0">
                <a:pos x="connsiteX36569" y="connsiteY36569"/>
              </a:cxn>
              <a:cxn ang="0">
                <a:pos x="connsiteX36570" y="connsiteY36570"/>
              </a:cxn>
              <a:cxn ang="0">
                <a:pos x="connsiteX36571" y="connsiteY36571"/>
              </a:cxn>
              <a:cxn ang="0">
                <a:pos x="connsiteX36572" y="connsiteY36572"/>
              </a:cxn>
              <a:cxn ang="0">
                <a:pos x="connsiteX36573" y="connsiteY36573"/>
              </a:cxn>
              <a:cxn ang="0">
                <a:pos x="connsiteX36574" y="connsiteY36574"/>
              </a:cxn>
              <a:cxn ang="0">
                <a:pos x="connsiteX36575" y="connsiteY36575"/>
              </a:cxn>
              <a:cxn ang="0">
                <a:pos x="connsiteX36576" y="connsiteY36576"/>
              </a:cxn>
              <a:cxn ang="0">
                <a:pos x="connsiteX36577" y="connsiteY36577"/>
              </a:cxn>
              <a:cxn ang="0">
                <a:pos x="connsiteX36578" y="connsiteY36578"/>
              </a:cxn>
              <a:cxn ang="0">
                <a:pos x="connsiteX36579" y="connsiteY36579"/>
              </a:cxn>
              <a:cxn ang="0">
                <a:pos x="connsiteX36580" y="connsiteY36580"/>
              </a:cxn>
              <a:cxn ang="0">
                <a:pos x="connsiteX36581" y="connsiteY36581"/>
              </a:cxn>
              <a:cxn ang="0">
                <a:pos x="connsiteX36582" y="connsiteY36582"/>
              </a:cxn>
              <a:cxn ang="0">
                <a:pos x="connsiteX36583" y="connsiteY36583"/>
              </a:cxn>
              <a:cxn ang="0">
                <a:pos x="connsiteX36584" y="connsiteY36584"/>
              </a:cxn>
              <a:cxn ang="0">
                <a:pos x="connsiteX36585" y="connsiteY36585"/>
              </a:cxn>
              <a:cxn ang="0">
                <a:pos x="connsiteX36586" y="connsiteY36586"/>
              </a:cxn>
              <a:cxn ang="0">
                <a:pos x="connsiteX36587" y="connsiteY36587"/>
              </a:cxn>
              <a:cxn ang="0">
                <a:pos x="connsiteX36588" y="connsiteY36588"/>
              </a:cxn>
              <a:cxn ang="0">
                <a:pos x="connsiteX36589" y="connsiteY36589"/>
              </a:cxn>
              <a:cxn ang="0">
                <a:pos x="connsiteX36590" y="connsiteY36590"/>
              </a:cxn>
              <a:cxn ang="0">
                <a:pos x="connsiteX36591" y="connsiteY36591"/>
              </a:cxn>
              <a:cxn ang="0">
                <a:pos x="connsiteX36592" y="connsiteY36592"/>
              </a:cxn>
              <a:cxn ang="0">
                <a:pos x="connsiteX36593" y="connsiteY36593"/>
              </a:cxn>
              <a:cxn ang="0">
                <a:pos x="connsiteX36594" y="connsiteY36594"/>
              </a:cxn>
              <a:cxn ang="0">
                <a:pos x="connsiteX36595" y="connsiteY36595"/>
              </a:cxn>
              <a:cxn ang="0">
                <a:pos x="connsiteX36596" y="connsiteY36596"/>
              </a:cxn>
              <a:cxn ang="0">
                <a:pos x="connsiteX36597" y="connsiteY36597"/>
              </a:cxn>
              <a:cxn ang="0">
                <a:pos x="connsiteX36598" y="connsiteY36598"/>
              </a:cxn>
              <a:cxn ang="0">
                <a:pos x="connsiteX36599" y="connsiteY36599"/>
              </a:cxn>
              <a:cxn ang="0">
                <a:pos x="connsiteX36600" y="connsiteY36600"/>
              </a:cxn>
              <a:cxn ang="0">
                <a:pos x="connsiteX36601" y="connsiteY36601"/>
              </a:cxn>
              <a:cxn ang="0">
                <a:pos x="connsiteX36602" y="connsiteY36602"/>
              </a:cxn>
              <a:cxn ang="0">
                <a:pos x="connsiteX36603" y="connsiteY36603"/>
              </a:cxn>
              <a:cxn ang="0">
                <a:pos x="connsiteX36604" y="connsiteY36604"/>
              </a:cxn>
              <a:cxn ang="0">
                <a:pos x="connsiteX36605" y="connsiteY36605"/>
              </a:cxn>
              <a:cxn ang="0">
                <a:pos x="connsiteX36606" y="connsiteY36606"/>
              </a:cxn>
              <a:cxn ang="0">
                <a:pos x="connsiteX36607" y="connsiteY36607"/>
              </a:cxn>
              <a:cxn ang="0">
                <a:pos x="connsiteX36608" y="connsiteY36608"/>
              </a:cxn>
              <a:cxn ang="0">
                <a:pos x="connsiteX36609" y="connsiteY36609"/>
              </a:cxn>
              <a:cxn ang="0">
                <a:pos x="connsiteX36610" y="connsiteY36610"/>
              </a:cxn>
              <a:cxn ang="0">
                <a:pos x="connsiteX36611" y="connsiteY36611"/>
              </a:cxn>
              <a:cxn ang="0">
                <a:pos x="connsiteX36612" y="connsiteY36612"/>
              </a:cxn>
              <a:cxn ang="0">
                <a:pos x="connsiteX36613" y="connsiteY36613"/>
              </a:cxn>
              <a:cxn ang="0">
                <a:pos x="connsiteX36614" y="connsiteY36614"/>
              </a:cxn>
              <a:cxn ang="0">
                <a:pos x="connsiteX36615" y="connsiteY36615"/>
              </a:cxn>
              <a:cxn ang="0">
                <a:pos x="connsiteX36616" y="connsiteY36616"/>
              </a:cxn>
              <a:cxn ang="0">
                <a:pos x="connsiteX36617" y="connsiteY36617"/>
              </a:cxn>
              <a:cxn ang="0">
                <a:pos x="connsiteX36618" y="connsiteY36618"/>
              </a:cxn>
              <a:cxn ang="0">
                <a:pos x="connsiteX36619" y="connsiteY36619"/>
              </a:cxn>
              <a:cxn ang="0">
                <a:pos x="connsiteX36620" y="connsiteY36620"/>
              </a:cxn>
              <a:cxn ang="0">
                <a:pos x="connsiteX36621" y="connsiteY36621"/>
              </a:cxn>
              <a:cxn ang="0">
                <a:pos x="connsiteX36622" y="connsiteY36622"/>
              </a:cxn>
              <a:cxn ang="0">
                <a:pos x="connsiteX36623" y="connsiteY36623"/>
              </a:cxn>
              <a:cxn ang="0">
                <a:pos x="connsiteX36624" y="connsiteY36624"/>
              </a:cxn>
              <a:cxn ang="0">
                <a:pos x="connsiteX36625" y="connsiteY36625"/>
              </a:cxn>
              <a:cxn ang="0">
                <a:pos x="connsiteX36626" y="connsiteY36626"/>
              </a:cxn>
              <a:cxn ang="0">
                <a:pos x="connsiteX36627" y="connsiteY36627"/>
              </a:cxn>
              <a:cxn ang="0">
                <a:pos x="connsiteX36628" y="connsiteY36628"/>
              </a:cxn>
              <a:cxn ang="0">
                <a:pos x="connsiteX36629" y="connsiteY36629"/>
              </a:cxn>
              <a:cxn ang="0">
                <a:pos x="connsiteX36630" y="connsiteY36630"/>
              </a:cxn>
              <a:cxn ang="0">
                <a:pos x="connsiteX36631" y="connsiteY36631"/>
              </a:cxn>
              <a:cxn ang="0">
                <a:pos x="connsiteX36632" y="connsiteY36632"/>
              </a:cxn>
              <a:cxn ang="0">
                <a:pos x="connsiteX36633" y="connsiteY36633"/>
              </a:cxn>
              <a:cxn ang="0">
                <a:pos x="connsiteX36634" y="connsiteY36634"/>
              </a:cxn>
              <a:cxn ang="0">
                <a:pos x="connsiteX36635" y="connsiteY36635"/>
              </a:cxn>
              <a:cxn ang="0">
                <a:pos x="connsiteX36636" y="connsiteY36636"/>
              </a:cxn>
              <a:cxn ang="0">
                <a:pos x="connsiteX36637" y="connsiteY36637"/>
              </a:cxn>
              <a:cxn ang="0">
                <a:pos x="connsiteX36638" y="connsiteY36638"/>
              </a:cxn>
              <a:cxn ang="0">
                <a:pos x="connsiteX36639" y="connsiteY36639"/>
              </a:cxn>
              <a:cxn ang="0">
                <a:pos x="connsiteX36640" y="connsiteY36640"/>
              </a:cxn>
              <a:cxn ang="0">
                <a:pos x="connsiteX36641" y="connsiteY36641"/>
              </a:cxn>
              <a:cxn ang="0">
                <a:pos x="connsiteX36642" y="connsiteY36642"/>
              </a:cxn>
              <a:cxn ang="0">
                <a:pos x="connsiteX36643" y="connsiteY36643"/>
              </a:cxn>
              <a:cxn ang="0">
                <a:pos x="connsiteX36644" y="connsiteY36644"/>
              </a:cxn>
              <a:cxn ang="0">
                <a:pos x="connsiteX36645" y="connsiteY36645"/>
              </a:cxn>
              <a:cxn ang="0">
                <a:pos x="connsiteX36646" y="connsiteY36646"/>
              </a:cxn>
              <a:cxn ang="0">
                <a:pos x="connsiteX36647" y="connsiteY36647"/>
              </a:cxn>
              <a:cxn ang="0">
                <a:pos x="connsiteX36648" y="connsiteY36648"/>
              </a:cxn>
              <a:cxn ang="0">
                <a:pos x="connsiteX36649" y="connsiteY36649"/>
              </a:cxn>
              <a:cxn ang="0">
                <a:pos x="connsiteX36650" y="connsiteY36650"/>
              </a:cxn>
              <a:cxn ang="0">
                <a:pos x="connsiteX36651" y="connsiteY36651"/>
              </a:cxn>
              <a:cxn ang="0">
                <a:pos x="connsiteX36652" y="connsiteY36652"/>
              </a:cxn>
              <a:cxn ang="0">
                <a:pos x="connsiteX36653" y="connsiteY36653"/>
              </a:cxn>
              <a:cxn ang="0">
                <a:pos x="connsiteX36654" y="connsiteY36654"/>
              </a:cxn>
              <a:cxn ang="0">
                <a:pos x="connsiteX36655" y="connsiteY36655"/>
              </a:cxn>
              <a:cxn ang="0">
                <a:pos x="connsiteX36656" y="connsiteY36656"/>
              </a:cxn>
              <a:cxn ang="0">
                <a:pos x="connsiteX36657" y="connsiteY36657"/>
              </a:cxn>
              <a:cxn ang="0">
                <a:pos x="connsiteX36658" y="connsiteY36658"/>
              </a:cxn>
              <a:cxn ang="0">
                <a:pos x="connsiteX36659" y="connsiteY36659"/>
              </a:cxn>
              <a:cxn ang="0">
                <a:pos x="connsiteX36660" y="connsiteY36660"/>
              </a:cxn>
              <a:cxn ang="0">
                <a:pos x="connsiteX36661" y="connsiteY36661"/>
              </a:cxn>
              <a:cxn ang="0">
                <a:pos x="connsiteX36662" y="connsiteY36662"/>
              </a:cxn>
              <a:cxn ang="0">
                <a:pos x="connsiteX36663" y="connsiteY36663"/>
              </a:cxn>
              <a:cxn ang="0">
                <a:pos x="connsiteX36664" y="connsiteY36664"/>
              </a:cxn>
              <a:cxn ang="0">
                <a:pos x="connsiteX36665" y="connsiteY36665"/>
              </a:cxn>
              <a:cxn ang="0">
                <a:pos x="connsiteX36666" y="connsiteY36666"/>
              </a:cxn>
              <a:cxn ang="0">
                <a:pos x="connsiteX36667" y="connsiteY36667"/>
              </a:cxn>
              <a:cxn ang="0">
                <a:pos x="connsiteX36668" y="connsiteY36668"/>
              </a:cxn>
              <a:cxn ang="0">
                <a:pos x="connsiteX36669" y="connsiteY36669"/>
              </a:cxn>
              <a:cxn ang="0">
                <a:pos x="connsiteX36670" y="connsiteY36670"/>
              </a:cxn>
              <a:cxn ang="0">
                <a:pos x="connsiteX36671" y="connsiteY36671"/>
              </a:cxn>
              <a:cxn ang="0">
                <a:pos x="connsiteX36672" y="connsiteY36672"/>
              </a:cxn>
              <a:cxn ang="0">
                <a:pos x="connsiteX36673" y="connsiteY36673"/>
              </a:cxn>
              <a:cxn ang="0">
                <a:pos x="connsiteX36674" y="connsiteY36674"/>
              </a:cxn>
              <a:cxn ang="0">
                <a:pos x="connsiteX36675" y="connsiteY36675"/>
              </a:cxn>
              <a:cxn ang="0">
                <a:pos x="connsiteX36676" y="connsiteY36676"/>
              </a:cxn>
              <a:cxn ang="0">
                <a:pos x="connsiteX36677" y="connsiteY36677"/>
              </a:cxn>
              <a:cxn ang="0">
                <a:pos x="connsiteX36678" y="connsiteY36678"/>
              </a:cxn>
              <a:cxn ang="0">
                <a:pos x="connsiteX36679" y="connsiteY36679"/>
              </a:cxn>
              <a:cxn ang="0">
                <a:pos x="connsiteX36680" y="connsiteY36680"/>
              </a:cxn>
              <a:cxn ang="0">
                <a:pos x="connsiteX36681" y="connsiteY36681"/>
              </a:cxn>
              <a:cxn ang="0">
                <a:pos x="connsiteX36682" y="connsiteY36682"/>
              </a:cxn>
              <a:cxn ang="0">
                <a:pos x="connsiteX36683" y="connsiteY36683"/>
              </a:cxn>
              <a:cxn ang="0">
                <a:pos x="connsiteX36684" y="connsiteY36684"/>
              </a:cxn>
              <a:cxn ang="0">
                <a:pos x="connsiteX36685" y="connsiteY36685"/>
              </a:cxn>
              <a:cxn ang="0">
                <a:pos x="connsiteX36686" y="connsiteY36686"/>
              </a:cxn>
              <a:cxn ang="0">
                <a:pos x="connsiteX36687" y="connsiteY36687"/>
              </a:cxn>
              <a:cxn ang="0">
                <a:pos x="connsiteX36688" y="connsiteY36688"/>
              </a:cxn>
              <a:cxn ang="0">
                <a:pos x="connsiteX36689" y="connsiteY36689"/>
              </a:cxn>
              <a:cxn ang="0">
                <a:pos x="connsiteX36690" y="connsiteY36690"/>
              </a:cxn>
              <a:cxn ang="0">
                <a:pos x="connsiteX36691" y="connsiteY36691"/>
              </a:cxn>
              <a:cxn ang="0">
                <a:pos x="connsiteX36692" y="connsiteY36692"/>
              </a:cxn>
              <a:cxn ang="0">
                <a:pos x="connsiteX36693" y="connsiteY36693"/>
              </a:cxn>
              <a:cxn ang="0">
                <a:pos x="connsiteX36694" y="connsiteY36694"/>
              </a:cxn>
              <a:cxn ang="0">
                <a:pos x="connsiteX36695" y="connsiteY36695"/>
              </a:cxn>
              <a:cxn ang="0">
                <a:pos x="connsiteX36696" y="connsiteY36696"/>
              </a:cxn>
              <a:cxn ang="0">
                <a:pos x="connsiteX36697" y="connsiteY36697"/>
              </a:cxn>
              <a:cxn ang="0">
                <a:pos x="connsiteX36698" y="connsiteY36698"/>
              </a:cxn>
              <a:cxn ang="0">
                <a:pos x="connsiteX36699" y="connsiteY36699"/>
              </a:cxn>
              <a:cxn ang="0">
                <a:pos x="connsiteX36700" y="connsiteY36700"/>
              </a:cxn>
              <a:cxn ang="0">
                <a:pos x="connsiteX36701" y="connsiteY36701"/>
              </a:cxn>
              <a:cxn ang="0">
                <a:pos x="connsiteX36702" y="connsiteY36702"/>
              </a:cxn>
              <a:cxn ang="0">
                <a:pos x="connsiteX36703" y="connsiteY36703"/>
              </a:cxn>
              <a:cxn ang="0">
                <a:pos x="connsiteX36704" y="connsiteY36704"/>
              </a:cxn>
              <a:cxn ang="0">
                <a:pos x="connsiteX36705" y="connsiteY36705"/>
              </a:cxn>
              <a:cxn ang="0">
                <a:pos x="connsiteX36706" y="connsiteY36706"/>
              </a:cxn>
              <a:cxn ang="0">
                <a:pos x="connsiteX36707" y="connsiteY36707"/>
              </a:cxn>
              <a:cxn ang="0">
                <a:pos x="connsiteX36708" y="connsiteY36708"/>
              </a:cxn>
              <a:cxn ang="0">
                <a:pos x="connsiteX36709" y="connsiteY36709"/>
              </a:cxn>
              <a:cxn ang="0">
                <a:pos x="connsiteX36710" y="connsiteY36710"/>
              </a:cxn>
              <a:cxn ang="0">
                <a:pos x="connsiteX36711" y="connsiteY36711"/>
              </a:cxn>
              <a:cxn ang="0">
                <a:pos x="connsiteX36712" y="connsiteY36712"/>
              </a:cxn>
              <a:cxn ang="0">
                <a:pos x="connsiteX36713" y="connsiteY36713"/>
              </a:cxn>
              <a:cxn ang="0">
                <a:pos x="connsiteX36714" y="connsiteY36714"/>
              </a:cxn>
              <a:cxn ang="0">
                <a:pos x="connsiteX36715" y="connsiteY36715"/>
              </a:cxn>
              <a:cxn ang="0">
                <a:pos x="connsiteX36716" y="connsiteY36716"/>
              </a:cxn>
              <a:cxn ang="0">
                <a:pos x="connsiteX36717" y="connsiteY36717"/>
              </a:cxn>
              <a:cxn ang="0">
                <a:pos x="connsiteX36718" y="connsiteY36718"/>
              </a:cxn>
              <a:cxn ang="0">
                <a:pos x="connsiteX36719" y="connsiteY36719"/>
              </a:cxn>
              <a:cxn ang="0">
                <a:pos x="connsiteX36720" y="connsiteY36720"/>
              </a:cxn>
              <a:cxn ang="0">
                <a:pos x="connsiteX36721" y="connsiteY36721"/>
              </a:cxn>
              <a:cxn ang="0">
                <a:pos x="connsiteX36722" y="connsiteY36722"/>
              </a:cxn>
              <a:cxn ang="0">
                <a:pos x="connsiteX36723" y="connsiteY36723"/>
              </a:cxn>
              <a:cxn ang="0">
                <a:pos x="connsiteX36724" y="connsiteY36724"/>
              </a:cxn>
              <a:cxn ang="0">
                <a:pos x="connsiteX36725" y="connsiteY36725"/>
              </a:cxn>
              <a:cxn ang="0">
                <a:pos x="connsiteX36726" y="connsiteY36726"/>
              </a:cxn>
              <a:cxn ang="0">
                <a:pos x="connsiteX36727" y="connsiteY36727"/>
              </a:cxn>
              <a:cxn ang="0">
                <a:pos x="connsiteX36728" y="connsiteY36728"/>
              </a:cxn>
              <a:cxn ang="0">
                <a:pos x="connsiteX36729" y="connsiteY36729"/>
              </a:cxn>
              <a:cxn ang="0">
                <a:pos x="connsiteX36730" y="connsiteY36730"/>
              </a:cxn>
              <a:cxn ang="0">
                <a:pos x="connsiteX36731" y="connsiteY36731"/>
              </a:cxn>
              <a:cxn ang="0">
                <a:pos x="connsiteX36732" y="connsiteY36732"/>
              </a:cxn>
              <a:cxn ang="0">
                <a:pos x="connsiteX36733" y="connsiteY36733"/>
              </a:cxn>
              <a:cxn ang="0">
                <a:pos x="connsiteX36734" y="connsiteY36734"/>
              </a:cxn>
              <a:cxn ang="0">
                <a:pos x="connsiteX36735" y="connsiteY36735"/>
              </a:cxn>
              <a:cxn ang="0">
                <a:pos x="connsiteX36736" y="connsiteY36736"/>
              </a:cxn>
              <a:cxn ang="0">
                <a:pos x="connsiteX36737" y="connsiteY36737"/>
              </a:cxn>
              <a:cxn ang="0">
                <a:pos x="connsiteX36738" y="connsiteY36738"/>
              </a:cxn>
              <a:cxn ang="0">
                <a:pos x="connsiteX36739" y="connsiteY36739"/>
              </a:cxn>
              <a:cxn ang="0">
                <a:pos x="connsiteX36740" y="connsiteY36740"/>
              </a:cxn>
              <a:cxn ang="0">
                <a:pos x="connsiteX36741" y="connsiteY36741"/>
              </a:cxn>
              <a:cxn ang="0">
                <a:pos x="connsiteX36742" y="connsiteY36742"/>
              </a:cxn>
              <a:cxn ang="0">
                <a:pos x="connsiteX36743" y="connsiteY36743"/>
              </a:cxn>
              <a:cxn ang="0">
                <a:pos x="connsiteX36744" y="connsiteY36744"/>
              </a:cxn>
              <a:cxn ang="0">
                <a:pos x="connsiteX36745" y="connsiteY36745"/>
              </a:cxn>
              <a:cxn ang="0">
                <a:pos x="connsiteX36746" y="connsiteY36746"/>
              </a:cxn>
              <a:cxn ang="0">
                <a:pos x="connsiteX36747" y="connsiteY36747"/>
              </a:cxn>
              <a:cxn ang="0">
                <a:pos x="connsiteX36748" y="connsiteY36748"/>
              </a:cxn>
              <a:cxn ang="0">
                <a:pos x="connsiteX36749" y="connsiteY36749"/>
              </a:cxn>
              <a:cxn ang="0">
                <a:pos x="connsiteX36750" y="connsiteY36750"/>
              </a:cxn>
              <a:cxn ang="0">
                <a:pos x="connsiteX36751" y="connsiteY36751"/>
              </a:cxn>
              <a:cxn ang="0">
                <a:pos x="connsiteX36752" y="connsiteY36752"/>
              </a:cxn>
              <a:cxn ang="0">
                <a:pos x="connsiteX36753" y="connsiteY36753"/>
              </a:cxn>
              <a:cxn ang="0">
                <a:pos x="connsiteX36754" y="connsiteY36754"/>
              </a:cxn>
              <a:cxn ang="0">
                <a:pos x="connsiteX36755" y="connsiteY36755"/>
              </a:cxn>
              <a:cxn ang="0">
                <a:pos x="connsiteX36756" y="connsiteY36756"/>
              </a:cxn>
              <a:cxn ang="0">
                <a:pos x="connsiteX36757" y="connsiteY36757"/>
              </a:cxn>
              <a:cxn ang="0">
                <a:pos x="connsiteX36758" y="connsiteY36758"/>
              </a:cxn>
              <a:cxn ang="0">
                <a:pos x="connsiteX36759" y="connsiteY36759"/>
              </a:cxn>
              <a:cxn ang="0">
                <a:pos x="connsiteX36760" y="connsiteY36760"/>
              </a:cxn>
              <a:cxn ang="0">
                <a:pos x="connsiteX36761" y="connsiteY36761"/>
              </a:cxn>
              <a:cxn ang="0">
                <a:pos x="connsiteX36762" y="connsiteY36762"/>
              </a:cxn>
              <a:cxn ang="0">
                <a:pos x="connsiteX36763" y="connsiteY36763"/>
              </a:cxn>
              <a:cxn ang="0">
                <a:pos x="connsiteX36764" y="connsiteY36764"/>
              </a:cxn>
              <a:cxn ang="0">
                <a:pos x="connsiteX36765" y="connsiteY36765"/>
              </a:cxn>
              <a:cxn ang="0">
                <a:pos x="connsiteX36766" y="connsiteY36766"/>
              </a:cxn>
              <a:cxn ang="0">
                <a:pos x="connsiteX36767" y="connsiteY36767"/>
              </a:cxn>
              <a:cxn ang="0">
                <a:pos x="connsiteX36768" y="connsiteY36768"/>
              </a:cxn>
              <a:cxn ang="0">
                <a:pos x="connsiteX36769" y="connsiteY36769"/>
              </a:cxn>
              <a:cxn ang="0">
                <a:pos x="connsiteX36770" y="connsiteY36770"/>
              </a:cxn>
              <a:cxn ang="0">
                <a:pos x="connsiteX36771" y="connsiteY36771"/>
              </a:cxn>
              <a:cxn ang="0">
                <a:pos x="connsiteX36772" y="connsiteY36772"/>
              </a:cxn>
              <a:cxn ang="0">
                <a:pos x="connsiteX36773" y="connsiteY36773"/>
              </a:cxn>
              <a:cxn ang="0">
                <a:pos x="connsiteX36774" y="connsiteY36774"/>
              </a:cxn>
              <a:cxn ang="0">
                <a:pos x="connsiteX36775" y="connsiteY36775"/>
              </a:cxn>
              <a:cxn ang="0">
                <a:pos x="connsiteX36776" y="connsiteY36776"/>
              </a:cxn>
              <a:cxn ang="0">
                <a:pos x="connsiteX36777" y="connsiteY36777"/>
              </a:cxn>
              <a:cxn ang="0">
                <a:pos x="connsiteX36778" y="connsiteY36778"/>
              </a:cxn>
              <a:cxn ang="0">
                <a:pos x="connsiteX36779" y="connsiteY36779"/>
              </a:cxn>
              <a:cxn ang="0">
                <a:pos x="connsiteX36780" y="connsiteY36780"/>
              </a:cxn>
              <a:cxn ang="0">
                <a:pos x="connsiteX36781" y="connsiteY36781"/>
              </a:cxn>
              <a:cxn ang="0">
                <a:pos x="connsiteX36782" y="connsiteY36782"/>
              </a:cxn>
              <a:cxn ang="0">
                <a:pos x="connsiteX36783" y="connsiteY36783"/>
              </a:cxn>
              <a:cxn ang="0">
                <a:pos x="connsiteX36784" y="connsiteY36784"/>
              </a:cxn>
              <a:cxn ang="0">
                <a:pos x="connsiteX36785" y="connsiteY36785"/>
              </a:cxn>
              <a:cxn ang="0">
                <a:pos x="connsiteX36786" y="connsiteY36786"/>
              </a:cxn>
              <a:cxn ang="0">
                <a:pos x="connsiteX36787" y="connsiteY36787"/>
              </a:cxn>
              <a:cxn ang="0">
                <a:pos x="connsiteX36788" y="connsiteY36788"/>
              </a:cxn>
              <a:cxn ang="0">
                <a:pos x="connsiteX36789" y="connsiteY36789"/>
              </a:cxn>
              <a:cxn ang="0">
                <a:pos x="connsiteX36790" y="connsiteY36790"/>
              </a:cxn>
              <a:cxn ang="0">
                <a:pos x="connsiteX36791" y="connsiteY36791"/>
              </a:cxn>
              <a:cxn ang="0">
                <a:pos x="connsiteX36792" y="connsiteY36792"/>
              </a:cxn>
              <a:cxn ang="0">
                <a:pos x="connsiteX36793" y="connsiteY36793"/>
              </a:cxn>
              <a:cxn ang="0">
                <a:pos x="connsiteX36794" y="connsiteY36794"/>
              </a:cxn>
              <a:cxn ang="0">
                <a:pos x="connsiteX36795" y="connsiteY36795"/>
              </a:cxn>
              <a:cxn ang="0">
                <a:pos x="connsiteX36796" y="connsiteY36796"/>
              </a:cxn>
              <a:cxn ang="0">
                <a:pos x="connsiteX36797" y="connsiteY36797"/>
              </a:cxn>
              <a:cxn ang="0">
                <a:pos x="connsiteX36798" y="connsiteY36798"/>
              </a:cxn>
              <a:cxn ang="0">
                <a:pos x="connsiteX36799" y="connsiteY36799"/>
              </a:cxn>
              <a:cxn ang="0">
                <a:pos x="connsiteX36800" y="connsiteY36800"/>
              </a:cxn>
              <a:cxn ang="0">
                <a:pos x="connsiteX36801" y="connsiteY36801"/>
              </a:cxn>
              <a:cxn ang="0">
                <a:pos x="connsiteX36802" y="connsiteY36802"/>
              </a:cxn>
              <a:cxn ang="0">
                <a:pos x="connsiteX36803" y="connsiteY36803"/>
              </a:cxn>
              <a:cxn ang="0">
                <a:pos x="connsiteX36804" y="connsiteY36804"/>
              </a:cxn>
              <a:cxn ang="0">
                <a:pos x="connsiteX36805" y="connsiteY36805"/>
              </a:cxn>
              <a:cxn ang="0">
                <a:pos x="connsiteX36806" y="connsiteY36806"/>
              </a:cxn>
              <a:cxn ang="0">
                <a:pos x="connsiteX36807" y="connsiteY36807"/>
              </a:cxn>
              <a:cxn ang="0">
                <a:pos x="connsiteX36808" y="connsiteY36808"/>
              </a:cxn>
              <a:cxn ang="0">
                <a:pos x="connsiteX36809" y="connsiteY36809"/>
              </a:cxn>
              <a:cxn ang="0">
                <a:pos x="connsiteX36810" y="connsiteY36810"/>
              </a:cxn>
              <a:cxn ang="0">
                <a:pos x="connsiteX36811" y="connsiteY36811"/>
              </a:cxn>
              <a:cxn ang="0">
                <a:pos x="connsiteX36812" y="connsiteY36812"/>
              </a:cxn>
              <a:cxn ang="0">
                <a:pos x="connsiteX36813" y="connsiteY36813"/>
              </a:cxn>
              <a:cxn ang="0">
                <a:pos x="connsiteX36814" y="connsiteY36814"/>
              </a:cxn>
              <a:cxn ang="0">
                <a:pos x="connsiteX36815" y="connsiteY36815"/>
              </a:cxn>
              <a:cxn ang="0">
                <a:pos x="connsiteX36816" y="connsiteY36816"/>
              </a:cxn>
              <a:cxn ang="0">
                <a:pos x="connsiteX36817" y="connsiteY36817"/>
              </a:cxn>
              <a:cxn ang="0">
                <a:pos x="connsiteX36818" y="connsiteY36818"/>
              </a:cxn>
              <a:cxn ang="0">
                <a:pos x="connsiteX36819" y="connsiteY36819"/>
              </a:cxn>
              <a:cxn ang="0">
                <a:pos x="connsiteX36820" y="connsiteY36820"/>
              </a:cxn>
              <a:cxn ang="0">
                <a:pos x="connsiteX36821" y="connsiteY36821"/>
              </a:cxn>
              <a:cxn ang="0">
                <a:pos x="connsiteX36822" y="connsiteY36822"/>
              </a:cxn>
              <a:cxn ang="0">
                <a:pos x="connsiteX36823" y="connsiteY36823"/>
              </a:cxn>
              <a:cxn ang="0">
                <a:pos x="connsiteX36824" y="connsiteY36824"/>
              </a:cxn>
              <a:cxn ang="0">
                <a:pos x="connsiteX36825" y="connsiteY36825"/>
              </a:cxn>
              <a:cxn ang="0">
                <a:pos x="connsiteX36826" y="connsiteY36826"/>
              </a:cxn>
              <a:cxn ang="0">
                <a:pos x="connsiteX36827" y="connsiteY36827"/>
              </a:cxn>
              <a:cxn ang="0">
                <a:pos x="connsiteX36828" y="connsiteY36828"/>
              </a:cxn>
              <a:cxn ang="0">
                <a:pos x="connsiteX36829" y="connsiteY36829"/>
              </a:cxn>
              <a:cxn ang="0">
                <a:pos x="connsiteX36830" y="connsiteY36830"/>
              </a:cxn>
              <a:cxn ang="0">
                <a:pos x="connsiteX36831" y="connsiteY36831"/>
              </a:cxn>
              <a:cxn ang="0">
                <a:pos x="connsiteX36832" y="connsiteY36832"/>
              </a:cxn>
              <a:cxn ang="0">
                <a:pos x="connsiteX36833" y="connsiteY36833"/>
              </a:cxn>
              <a:cxn ang="0">
                <a:pos x="connsiteX36834" y="connsiteY36834"/>
              </a:cxn>
              <a:cxn ang="0">
                <a:pos x="connsiteX36835" y="connsiteY36835"/>
              </a:cxn>
              <a:cxn ang="0">
                <a:pos x="connsiteX36836" y="connsiteY36836"/>
              </a:cxn>
              <a:cxn ang="0">
                <a:pos x="connsiteX36837" y="connsiteY36837"/>
              </a:cxn>
              <a:cxn ang="0">
                <a:pos x="connsiteX36838" y="connsiteY36838"/>
              </a:cxn>
              <a:cxn ang="0">
                <a:pos x="connsiteX36839" y="connsiteY36839"/>
              </a:cxn>
              <a:cxn ang="0">
                <a:pos x="connsiteX36840" y="connsiteY36840"/>
              </a:cxn>
              <a:cxn ang="0">
                <a:pos x="connsiteX36841" y="connsiteY36841"/>
              </a:cxn>
              <a:cxn ang="0">
                <a:pos x="connsiteX36842" y="connsiteY36842"/>
              </a:cxn>
              <a:cxn ang="0">
                <a:pos x="connsiteX36843" y="connsiteY36843"/>
              </a:cxn>
              <a:cxn ang="0">
                <a:pos x="connsiteX36844" y="connsiteY36844"/>
              </a:cxn>
              <a:cxn ang="0">
                <a:pos x="connsiteX36845" y="connsiteY36845"/>
              </a:cxn>
              <a:cxn ang="0">
                <a:pos x="connsiteX36846" y="connsiteY36846"/>
              </a:cxn>
              <a:cxn ang="0">
                <a:pos x="connsiteX36847" y="connsiteY36847"/>
              </a:cxn>
              <a:cxn ang="0">
                <a:pos x="connsiteX36848" y="connsiteY36848"/>
              </a:cxn>
              <a:cxn ang="0">
                <a:pos x="connsiteX36849" y="connsiteY36849"/>
              </a:cxn>
              <a:cxn ang="0">
                <a:pos x="connsiteX36850" y="connsiteY36850"/>
              </a:cxn>
              <a:cxn ang="0">
                <a:pos x="connsiteX36851" y="connsiteY36851"/>
              </a:cxn>
              <a:cxn ang="0">
                <a:pos x="connsiteX36852" y="connsiteY36852"/>
              </a:cxn>
              <a:cxn ang="0">
                <a:pos x="connsiteX36853" y="connsiteY36853"/>
              </a:cxn>
              <a:cxn ang="0">
                <a:pos x="connsiteX36854" y="connsiteY36854"/>
              </a:cxn>
              <a:cxn ang="0">
                <a:pos x="connsiteX36855" y="connsiteY36855"/>
              </a:cxn>
              <a:cxn ang="0">
                <a:pos x="connsiteX36856" y="connsiteY36856"/>
              </a:cxn>
              <a:cxn ang="0">
                <a:pos x="connsiteX36857" y="connsiteY36857"/>
              </a:cxn>
              <a:cxn ang="0">
                <a:pos x="connsiteX36858" y="connsiteY36858"/>
              </a:cxn>
              <a:cxn ang="0">
                <a:pos x="connsiteX36859" y="connsiteY36859"/>
              </a:cxn>
              <a:cxn ang="0">
                <a:pos x="connsiteX36860" y="connsiteY36860"/>
              </a:cxn>
              <a:cxn ang="0">
                <a:pos x="connsiteX36861" y="connsiteY36861"/>
              </a:cxn>
              <a:cxn ang="0">
                <a:pos x="connsiteX36862" y="connsiteY36862"/>
              </a:cxn>
              <a:cxn ang="0">
                <a:pos x="connsiteX36863" y="connsiteY36863"/>
              </a:cxn>
              <a:cxn ang="0">
                <a:pos x="connsiteX36864" y="connsiteY36864"/>
              </a:cxn>
              <a:cxn ang="0">
                <a:pos x="connsiteX36865" y="connsiteY36865"/>
              </a:cxn>
              <a:cxn ang="0">
                <a:pos x="connsiteX36866" y="connsiteY36866"/>
              </a:cxn>
              <a:cxn ang="0">
                <a:pos x="connsiteX36867" y="connsiteY36867"/>
              </a:cxn>
              <a:cxn ang="0">
                <a:pos x="connsiteX36868" y="connsiteY36868"/>
              </a:cxn>
              <a:cxn ang="0">
                <a:pos x="connsiteX36869" y="connsiteY36869"/>
              </a:cxn>
              <a:cxn ang="0">
                <a:pos x="connsiteX36870" y="connsiteY36870"/>
              </a:cxn>
              <a:cxn ang="0">
                <a:pos x="connsiteX36871" y="connsiteY36871"/>
              </a:cxn>
              <a:cxn ang="0">
                <a:pos x="connsiteX36872" y="connsiteY36872"/>
              </a:cxn>
              <a:cxn ang="0">
                <a:pos x="connsiteX36873" y="connsiteY36873"/>
              </a:cxn>
              <a:cxn ang="0">
                <a:pos x="connsiteX36874" y="connsiteY36874"/>
              </a:cxn>
              <a:cxn ang="0">
                <a:pos x="connsiteX36875" y="connsiteY36875"/>
              </a:cxn>
              <a:cxn ang="0">
                <a:pos x="connsiteX36876" y="connsiteY36876"/>
              </a:cxn>
              <a:cxn ang="0">
                <a:pos x="connsiteX36877" y="connsiteY36877"/>
              </a:cxn>
              <a:cxn ang="0">
                <a:pos x="connsiteX36878" y="connsiteY36878"/>
              </a:cxn>
              <a:cxn ang="0">
                <a:pos x="connsiteX36879" y="connsiteY36879"/>
              </a:cxn>
              <a:cxn ang="0">
                <a:pos x="connsiteX36880" y="connsiteY36880"/>
              </a:cxn>
              <a:cxn ang="0">
                <a:pos x="connsiteX36881" y="connsiteY36881"/>
              </a:cxn>
              <a:cxn ang="0">
                <a:pos x="connsiteX36882" y="connsiteY36882"/>
              </a:cxn>
              <a:cxn ang="0">
                <a:pos x="connsiteX36883" y="connsiteY36883"/>
              </a:cxn>
              <a:cxn ang="0">
                <a:pos x="connsiteX36884" y="connsiteY36884"/>
              </a:cxn>
              <a:cxn ang="0">
                <a:pos x="connsiteX36885" y="connsiteY36885"/>
              </a:cxn>
              <a:cxn ang="0">
                <a:pos x="connsiteX36886" y="connsiteY36886"/>
              </a:cxn>
              <a:cxn ang="0">
                <a:pos x="connsiteX36887" y="connsiteY36887"/>
              </a:cxn>
              <a:cxn ang="0">
                <a:pos x="connsiteX36888" y="connsiteY36888"/>
              </a:cxn>
              <a:cxn ang="0">
                <a:pos x="connsiteX36889" y="connsiteY36889"/>
              </a:cxn>
              <a:cxn ang="0">
                <a:pos x="connsiteX36890" y="connsiteY36890"/>
              </a:cxn>
              <a:cxn ang="0">
                <a:pos x="connsiteX36891" y="connsiteY36891"/>
              </a:cxn>
              <a:cxn ang="0">
                <a:pos x="connsiteX36892" y="connsiteY36892"/>
              </a:cxn>
              <a:cxn ang="0">
                <a:pos x="connsiteX36893" y="connsiteY36893"/>
              </a:cxn>
              <a:cxn ang="0">
                <a:pos x="connsiteX36894" y="connsiteY36894"/>
              </a:cxn>
              <a:cxn ang="0">
                <a:pos x="connsiteX36895" y="connsiteY36895"/>
              </a:cxn>
              <a:cxn ang="0">
                <a:pos x="connsiteX36896" y="connsiteY36896"/>
              </a:cxn>
              <a:cxn ang="0">
                <a:pos x="connsiteX36897" y="connsiteY36897"/>
              </a:cxn>
              <a:cxn ang="0">
                <a:pos x="connsiteX36898" y="connsiteY36898"/>
              </a:cxn>
              <a:cxn ang="0">
                <a:pos x="connsiteX36899" y="connsiteY36899"/>
              </a:cxn>
              <a:cxn ang="0">
                <a:pos x="connsiteX36900" y="connsiteY36900"/>
              </a:cxn>
              <a:cxn ang="0">
                <a:pos x="connsiteX36901" y="connsiteY36901"/>
              </a:cxn>
              <a:cxn ang="0">
                <a:pos x="connsiteX36902" y="connsiteY36902"/>
              </a:cxn>
              <a:cxn ang="0">
                <a:pos x="connsiteX36903" y="connsiteY36903"/>
              </a:cxn>
              <a:cxn ang="0">
                <a:pos x="connsiteX36904" y="connsiteY36904"/>
              </a:cxn>
              <a:cxn ang="0">
                <a:pos x="connsiteX36905" y="connsiteY36905"/>
              </a:cxn>
              <a:cxn ang="0">
                <a:pos x="connsiteX36906" y="connsiteY36906"/>
              </a:cxn>
              <a:cxn ang="0">
                <a:pos x="connsiteX36907" y="connsiteY36907"/>
              </a:cxn>
              <a:cxn ang="0">
                <a:pos x="connsiteX36908" y="connsiteY36908"/>
              </a:cxn>
              <a:cxn ang="0">
                <a:pos x="connsiteX36909" y="connsiteY36909"/>
              </a:cxn>
              <a:cxn ang="0">
                <a:pos x="connsiteX36910" y="connsiteY36910"/>
              </a:cxn>
              <a:cxn ang="0">
                <a:pos x="connsiteX36911" y="connsiteY36911"/>
              </a:cxn>
              <a:cxn ang="0">
                <a:pos x="connsiteX36912" y="connsiteY36912"/>
              </a:cxn>
              <a:cxn ang="0">
                <a:pos x="connsiteX36913" y="connsiteY36913"/>
              </a:cxn>
              <a:cxn ang="0">
                <a:pos x="connsiteX36914" y="connsiteY36914"/>
              </a:cxn>
              <a:cxn ang="0">
                <a:pos x="connsiteX36915" y="connsiteY36915"/>
              </a:cxn>
              <a:cxn ang="0">
                <a:pos x="connsiteX36916" y="connsiteY36916"/>
              </a:cxn>
              <a:cxn ang="0">
                <a:pos x="connsiteX36917" y="connsiteY36917"/>
              </a:cxn>
              <a:cxn ang="0">
                <a:pos x="connsiteX36918" y="connsiteY36918"/>
              </a:cxn>
              <a:cxn ang="0">
                <a:pos x="connsiteX36919" y="connsiteY36919"/>
              </a:cxn>
              <a:cxn ang="0">
                <a:pos x="connsiteX36920" y="connsiteY36920"/>
              </a:cxn>
              <a:cxn ang="0">
                <a:pos x="connsiteX36921" y="connsiteY36921"/>
              </a:cxn>
              <a:cxn ang="0">
                <a:pos x="connsiteX36922" y="connsiteY36922"/>
              </a:cxn>
              <a:cxn ang="0">
                <a:pos x="connsiteX36923" y="connsiteY36923"/>
              </a:cxn>
              <a:cxn ang="0">
                <a:pos x="connsiteX36924" y="connsiteY36924"/>
              </a:cxn>
              <a:cxn ang="0">
                <a:pos x="connsiteX36925" y="connsiteY36925"/>
              </a:cxn>
              <a:cxn ang="0">
                <a:pos x="connsiteX36926" y="connsiteY36926"/>
              </a:cxn>
              <a:cxn ang="0">
                <a:pos x="connsiteX36927" y="connsiteY36927"/>
              </a:cxn>
              <a:cxn ang="0">
                <a:pos x="connsiteX36928" y="connsiteY36928"/>
              </a:cxn>
              <a:cxn ang="0">
                <a:pos x="connsiteX36929" y="connsiteY36929"/>
              </a:cxn>
              <a:cxn ang="0">
                <a:pos x="connsiteX36930" y="connsiteY36930"/>
              </a:cxn>
              <a:cxn ang="0">
                <a:pos x="connsiteX36931" y="connsiteY36931"/>
              </a:cxn>
              <a:cxn ang="0">
                <a:pos x="connsiteX36932" y="connsiteY36932"/>
              </a:cxn>
              <a:cxn ang="0">
                <a:pos x="connsiteX36933" y="connsiteY36933"/>
              </a:cxn>
              <a:cxn ang="0">
                <a:pos x="connsiteX36934" y="connsiteY36934"/>
              </a:cxn>
              <a:cxn ang="0">
                <a:pos x="connsiteX36935" y="connsiteY36935"/>
              </a:cxn>
              <a:cxn ang="0">
                <a:pos x="connsiteX36936" y="connsiteY36936"/>
              </a:cxn>
              <a:cxn ang="0">
                <a:pos x="connsiteX36937" y="connsiteY36937"/>
              </a:cxn>
              <a:cxn ang="0">
                <a:pos x="connsiteX36938" y="connsiteY36938"/>
              </a:cxn>
              <a:cxn ang="0">
                <a:pos x="connsiteX36939" y="connsiteY36939"/>
              </a:cxn>
              <a:cxn ang="0">
                <a:pos x="connsiteX36940" y="connsiteY36940"/>
              </a:cxn>
              <a:cxn ang="0">
                <a:pos x="connsiteX36941" y="connsiteY36941"/>
              </a:cxn>
              <a:cxn ang="0">
                <a:pos x="connsiteX36942" y="connsiteY36942"/>
              </a:cxn>
              <a:cxn ang="0">
                <a:pos x="connsiteX36943" y="connsiteY36943"/>
              </a:cxn>
              <a:cxn ang="0">
                <a:pos x="connsiteX36944" y="connsiteY36944"/>
              </a:cxn>
              <a:cxn ang="0">
                <a:pos x="connsiteX36945" y="connsiteY36945"/>
              </a:cxn>
              <a:cxn ang="0">
                <a:pos x="connsiteX36946" y="connsiteY36946"/>
              </a:cxn>
              <a:cxn ang="0">
                <a:pos x="connsiteX36947" y="connsiteY36947"/>
              </a:cxn>
              <a:cxn ang="0">
                <a:pos x="connsiteX36948" y="connsiteY36948"/>
              </a:cxn>
              <a:cxn ang="0">
                <a:pos x="connsiteX36949" y="connsiteY36949"/>
              </a:cxn>
              <a:cxn ang="0">
                <a:pos x="connsiteX36950" y="connsiteY36950"/>
              </a:cxn>
              <a:cxn ang="0">
                <a:pos x="connsiteX36951" y="connsiteY36951"/>
              </a:cxn>
              <a:cxn ang="0">
                <a:pos x="connsiteX36952" y="connsiteY36952"/>
              </a:cxn>
              <a:cxn ang="0">
                <a:pos x="connsiteX36953" y="connsiteY36953"/>
              </a:cxn>
              <a:cxn ang="0">
                <a:pos x="connsiteX36954" y="connsiteY36954"/>
              </a:cxn>
              <a:cxn ang="0">
                <a:pos x="connsiteX36955" y="connsiteY36955"/>
              </a:cxn>
              <a:cxn ang="0">
                <a:pos x="connsiteX36956" y="connsiteY36956"/>
              </a:cxn>
              <a:cxn ang="0">
                <a:pos x="connsiteX36957" y="connsiteY36957"/>
              </a:cxn>
              <a:cxn ang="0">
                <a:pos x="connsiteX36958" y="connsiteY36958"/>
              </a:cxn>
              <a:cxn ang="0">
                <a:pos x="connsiteX36959" y="connsiteY36959"/>
              </a:cxn>
              <a:cxn ang="0">
                <a:pos x="connsiteX36960" y="connsiteY36960"/>
              </a:cxn>
              <a:cxn ang="0">
                <a:pos x="connsiteX36961" y="connsiteY36961"/>
              </a:cxn>
              <a:cxn ang="0">
                <a:pos x="connsiteX36962" y="connsiteY36962"/>
              </a:cxn>
              <a:cxn ang="0">
                <a:pos x="connsiteX36963" y="connsiteY36963"/>
              </a:cxn>
              <a:cxn ang="0">
                <a:pos x="connsiteX36964" y="connsiteY36964"/>
              </a:cxn>
              <a:cxn ang="0">
                <a:pos x="connsiteX36965" y="connsiteY36965"/>
              </a:cxn>
              <a:cxn ang="0">
                <a:pos x="connsiteX36966" y="connsiteY36966"/>
              </a:cxn>
              <a:cxn ang="0">
                <a:pos x="connsiteX36967" y="connsiteY36967"/>
              </a:cxn>
              <a:cxn ang="0">
                <a:pos x="connsiteX36968" y="connsiteY36968"/>
              </a:cxn>
              <a:cxn ang="0">
                <a:pos x="connsiteX36969" y="connsiteY36969"/>
              </a:cxn>
              <a:cxn ang="0">
                <a:pos x="connsiteX36970" y="connsiteY36970"/>
              </a:cxn>
              <a:cxn ang="0">
                <a:pos x="connsiteX36971" y="connsiteY36971"/>
              </a:cxn>
              <a:cxn ang="0">
                <a:pos x="connsiteX36972" y="connsiteY36972"/>
              </a:cxn>
              <a:cxn ang="0">
                <a:pos x="connsiteX36973" y="connsiteY36973"/>
              </a:cxn>
              <a:cxn ang="0">
                <a:pos x="connsiteX36974" y="connsiteY36974"/>
              </a:cxn>
              <a:cxn ang="0">
                <a:pos x="connsiteX36975" y="connsiteY36975"/>
              </a:cxn>
              <a:cxn ang="0">
                <a:pos x="connsiteX36976" y="connsiteY36976"/>
              </a:cxn>
              <a:cxn ang="0">
                <a:pos x="connsiteX36977" y="connsiteY36977"/>
              </a:cxn>
              <a:cxn ang="0">
                <a:pos x="connsiteX36978" y="connsiteY36978"/>
              </a:cxn>
              <a:cxn ang="0">
                <a:pos x="connsiteX36979" y="connsiteY36979"/>
              </a:cxn>
              <a:cxn ang="0">
                <a:pos x="connsiteX36980" y="connsiteY36980"/>
              </a:cxn>
              <a:cxn ang="0">
                <a:pos x="connsiteX36981" y="connsiteY36981"/>
              </a:cxn>
              <a:cxn ang="0">
                <a:pos x="connsiteX36982" y="connsiteY36982"/>
              </a:cxn>
              <a:cxn ang="0">
                <a:pos x="connsiteX36983" y="connsiteY36983"/>
              </a:cxn>
              <a:cxn ang="0">
                <a:pos x="connsiteX36984" y="connsiteY36984"/>
              </a:cxn>
              <a:cxn ang="0">
                <a:pos x="connsiteX36985" y="connsiteY36985"/>
              </a:cxn>
              <a:cxn ang="0">
                <a:pos x="connsiteX36986" y="connsiteY36986"/>
              </a:cxn>
              <a:cxn ang="0">
                <a:pos x="connsiteX36987" y="connsiteY36987"/>
              </a:cxn>
              <a:cxn ang="0">
                <a:pos x="connsiteX36988" y="connsiteY36988"/>
              </a:cxn>
              <a:cxn ang="0">
                <a:pos x="connsiteX36989" y="connsiteY36989"/>
              </a:cxn>
              <a:cxn ang="0">
                <a:pos x="connsiteX36990" y="connsiteY36990"/>
              </a:cxn>
              <a:cxn ang="0">
                <a:pos x="connsiteX36991" y="connsiteY36991"/>
              </a:cxn>
              <a:cxn ang="0">
                <a:pos x="connsiteX36992" y="connsiteY36992"/>
              </a:cxn>
              <a:cxn ang="0">
                <a:pos x="connsiteX36993" y="connsiteY36993"/>
              </a:cxn>
              <a:cxn ang="0">
                <a:pos x="connsiteX36994" y="connsiteY36994"/>
              </a:cxn>
              <a:cxn ang="0">
                <a:pos x="connsiteX36995" y="connsiteY36995"/>
              </a:cxn>
              <a:cxn ang="0">
                <a:pos x="connsiteX36996" y="connsiteY36996"/>
              </a:cxn>
              <a:cxn ang="0">
                <a:pos x="connsiteX36997" y="connsiteY36997"/>
              </a:cxn>
              <a:cxn ang="0">
                <a:pos x="connsiteX36998" y="connsiteY36998"/>
              </a:cxn>
              <a:cxn ang="0">
                <a:pos x="connsiteX36999" y="connsiteY36999"/>
              </a:cxn>
              <a:cxn ang="0">
                <a:pos x="connsiteX37000" y="connsiteY37000"/>
              </a:cxn>
              <a:cxn ang="0">
                <a:pos x="connsiteX37001" y="connsiteY37001"/>
              </a:cxn>
              <a:cxn ang="0">
                <a:pos x="connsiteX37002" y="connsiteY37002"/>
              </a:cxn>
              <a:cxn ang="0">
                <a:pos x="connsiteX37003" y="connsiteY37003"/>
              </a:cxn>
              <a:cxn ang="0">
                <a:pos x="connsiteX37004" y="connsiteY37004"/>
              </a:cxn>
              <a:cxn ang="0">
                <a:pos x="connsiteX37005" y="connsiteY37005"/>
              </a:cxn>
              <a:cxn ang="0">
                <a:pos x="connsiteX37006" y="connsiteY37006"/>
              </a:cxn>
              <a:cxn ang="0">
                <a:pos x="connsiteX37007" y="connsiteY37007"/>
              </a:cxn>
              <a:cxn ang="0">
                <a:pos x="connsiteX37008" y="connsiteY37008"/>
              </a:cxn>
              <a:cxn ang="0">
                <a:pos x="connsiteX37009" y="connsiteY37009"/>
              </a:cxn>
              <a:cxn ang="0">
                <a:pos x="connsiteX37010" y="connsiteY37010"/>
              </a:cxn>
              <a:cxn ang="0">
                <a:pos x="connsiteX37011" y="connsiteY37011"/>
              </a:cxn>
              <a:cxn ang="0">
                <a:pos x="connsiteX37012" y="connsiteY37012"/>
              </a:cxn>
              <a:cxn ang="0">
                <a:pos x="connsiteX37013" y="connsiteY37013"/>
              </a:cxn>
              <a:cxn ang="0">
                <a:pos x="connsiteX37014" y="connsiteY37014"/>
              </a:cxn>
              <a:cxn ang="0">
                <a:pos x="connsiteX37015" y="connsiteY37015"/>
              </a:cxn>
              <a:cxn ang="0">
                <a:pos x="connsiteX37016" y="connsiteY37016"/>
              </a:cxn>
              <a:cxn ang="0">
                <a:pos x="connsiteX37017" y="connsiteY37017"/>
              </a:cxn>
              <a:cxn ang="0">
                <a:pos x="connsiteX37018" y="connsiteY37018"/>
              </a:cxn>
              <a:cxn ang="0">
                <a:pos x="connsiteX37019" y="connsiteY37019"/>
              </a:cxn>
              <a:cxn ang="0">
                <a:pos x="connsiteX37020" y="connsiteY37020"/>
              </a:cxn>
              <a:cxn ang="0">
                <a:pos x="connsiteX37021" y="connsiteY37021"/>
              </a:cxn>
              <a:cxn ang="0">
                <a:pos x="connsiteX37022" y="connsiteY37022"/>
              </a:cxn>
              <a:cxn ang="0">
                <a:pos x="connsiteX37023" y="connsiteY37023"/>
              </a:cxn>
              <a:cxn ang="0">
                <a:pos x="connsiteX37024" y="connsiteY37024"/>
              </a:cxn>
              <a:cxn ang="0">
                <a:pos x="connsiteX37025" y="connsiteY37025"/>
              </a:cxn>
              <a:cxn ang="0">
                <a:pos x="connsiteX37026" y="connsiteY37026"/>
              </a:cxn>
              <a:cxn ang="0">
                <a:pos x="connsiteX37027" y="connsiteY37027"/>
              </a:cxn>
              <a:cxn ang="0">
                <a:pos x="connsiteX37028" y="connsiteY37028"/>
              </a:cxn>
              <a:cxn ang="0">
                <a:pos x="connsiteX37029" y="connsiteY37029"/>
              </a:cxn>
              <a:cxn ang="0">
                <a:pos x="connsiteX37030" y="connsiteY37030"/>
              </a:cxn>
              <a:cxn ang="0">
                <a:pos x="connsiteX37031" y="connsiteY37031"/>
              </a:cxn>
              <a:cxn ang="0">
                <a:pos x="connsiteX37032" y="connsiteY37032"/>
              </a:cxn>
              <a:cxn ang="0">
                <a:pos x="connsiteX37033" y="connsiteY37033"/>
              </a:cxn>
              <a:cxn ang="0">
                <a:pos x="connsiteX37034" y="connsiteY37034"/>
              </a:cxn>
              <a:cxn ang="0">
                <a:pos x="connsiteX37035" y="connsiteY37035"/>
              </a:cxn>
              <a:cxn ang="0">
                <a:pos x="connsiteX37036" y="connsiteY37036"/>
              </a:cxn>
              <a:cxn ang="0">
                <a:pos x="connsiteX37037" y="connsiteY37037"/>
              </a:cxn>
              <a:cxn ang="0">
                <a:pos x="connsiteX37038" y="connsiteY37038"/>
              </a:cxn>
              <a:cxn ang="0">
                <a:pos x="connsiteX37039" y="connsiteY37039"/>
              </a:cxn>
              <a:cxn ang="0">
                <a:pos x="connsiteX37040" y="connsiteY37040"/>
              </a:cxn>
              <a:cxn ang="0">
                <a:pos x="connsiteX37041" y="connsiteY37041"/>
              </a:cxn>
              <a:cxn ang="0">
                <a:pos x="connsiteX37042" y="connsiteY37042"/>
              </a:cxn>
              <a:cxn ang="0">
                <a:pos x="connsiteX37043" y="connsiteY37043"/>
              </a:cxn>
              <a:cxn ang="0">
                <a:pos x="connsiteX37044" y="connsiteY37044"/>
              </a:cxn>
              <a:cxn ang="0">
                <a:pos x="connsiteX37045" y="connsiteY37045"/>
              </a:cxn>
              <a:cxn ang="0">
                <a:pos x="connsiteX37046" y="connsiteY37046"/>
              </a:cxn>
              <a:cxn ang="0">
                <a:pos x="connsiteX37047" y="connsiteY37047"/>
              </a:cxn>
              <a:cxn ang="0">
                <a:pos x="connsiteX37048" y="connsiteY37048"/>
              </a:cxn>
              <a:cxn ang="0">
                <a:pos x="connsiteX37049" y="connsiteY37049"/>
              </a:cxn>
              <a:cxn ang="0">
                <a:pos x="connsiteX37050" y="connsiteY37050"/>
              </a:cxn>
              <a:cxn ang="0">
                <a:pos x="connsiteX37051" y="connsiteY37051"/>
              </a:cxn>
              <a:cxn ang="0">
                <a:pos x="connsiteX37052" y="connsiteY37052"/>
              </a:cxn>
              <a:cxn ang="0">
                <a:pos x="connsiteX37053" y="connsiteY37053"/>
              </a:cxn>
              <a:cxn ang="0">
                <a:pos x="connsiteX37054" y="connsiteY37054"/>
              </a:cxn>
              <a:cxn ang="0">
                <a:pos x="connsiteX37055" y="connsiteY37055"/>
              </a:cxn>
              <a:cxn ang="0">
                <a:pos x="connsiteX37056" y="connsiteY37056"/>
              </a:cxn>
              <a:cxn ang="0">
                <a:pos x="connsiteX37057" y="connsiteY37057"/>
              </a:cxn>
              <a:cxn ang="0">
                <a:pos x="connsiteX37058" y="connsiteY37058"/>
              </a:cxn>
              <a:cxn ang="0">
                <a:pos x="connsiteX37059" y="connsiteY37059"/>
              </a:cxn>
              <a:cxn ang="0">
                <a:pos x="connsiteX37060" y="connsiteY37060"/>
              </a:cxn>
              <a:cxn ang="0">
                <a:pos x="connsiteX37061" y="connsiteY37061"/>
              </a:cxn>
              <a:cxn ang="0">
                <a:pos x="connsiteX37062" y="connsiteY37062"/>
              </a:cxn>
              <a:cxn ang="0">
                <a:pos x="connsiteX37063" y="connsiteY37063"/>
              </a:cxn>
              <a:cxn ang="0">
                <a:pos x="connsiteX37064" y="connsiteY37064"/>
              </a:cxn>
              <a:cxn ang="0">
                <a:pos x="connsiteX37065" y="connsiteY37065"/>
              </a:cxn>
              <a:cxn ang="0">
                <a:pos x="connsiteX37066" y="connsiteY37066"/>
              </a:cxn>
              <a:cxn ang="0">
                <a:pos x="connsiteX37067" y="connsiteY37067"/>
              </a:cxn>
              <a:cxn ang="0">
                <a:pos x="connsiteX37068" y="connsiteY37068"/>
              </a:cxn>
              <a:cxn ang="0">
                <a:pos x="connsiteX37069" y="connsiteY37069"/>
              </a:cxn>
              <a:cxn ang="0">
                <a:pos x="connsiteX37070" y="connsiteY37070"/>
              </a:cxn>
              <a:cxn ang="0">
                <a:pos x="connsiteX37071" y="connsiteY37071"/>
              </a:cxn>
              <a:cxn ang="0">
                <a:pos x="connsiteX37072" y="connsiteY37072"/>
              </a:cxn>
              <a:cxn ang="0">
                <a:pos x="connsiteX37073" y="connsiteY37073"/>
              </a:cxn>
              <a:cxn ang="0">
                <a:pos x="connsiteX37074" y="connsiteY37074"/>
              </a:cxn>
              <a:cxn ang="0">
                <a:pos x="connsiteX37075" y="connsiteY37075"/>
              </a:cxn>
              <a:cxn ang="0">
                <a:pos x="connsiteX37076" y="connsiteY37076"/>
              </a:cxn>
              <a:cxn ang="0">
                <a:pos x="connsiteX37077" y="connsiteY37077"/>
              </a:cxn>
              <a:cxn ang="0">
                <a:pos x="connsiteX37078" y="connsiteY37078"/>
              </a:cxn>
              <a:cxn ang="0">
                <a:pos x="connsiteX37079" y="connsiteY37079"/>
              </a:cxn>
              <a:cxn ang="0">
                <a:pos x="connsiteX37080" y="connsiteY37080"/>
              </a:cxn>
              <a:cxn ang="0">
                <a:pos x="connsiteX37081" y="connsiteY37081"/>
              </a:cxn>
              <a:cxn ang="0">
                <a:pos x="connsiteX37082" y="connsiteY37082"/>
              </a:cxn>
              <a:cxn ang="0">
                <a:pos x="connsiteX37083" y="connsiteY37083"/>
              </a:cxn>
              <a:cxn ang="0">
                <a:pos x="connsiteX37084" y="connsiteY37084"/>
              </a:cxn>
              <a:cxn ang="0">
                <a:pos x="connsiteX37085" y="connsiteY37085"/>
              </a:cxn>
              <a:cxn ang="0">
                <a:pos x="connsiteX37086" y="connsiteY37086"/>
              </a:cxn>
              <a:cxn ang="0">
                <a:pos x="connsiteX37087" y="connsiteY37087"/>
              </a:cxn>
              <a:cxn ang="0">
                <a:pos x="connsiteX37088" y="connsiteY37088"/>
              </a:cxn>
              <a:cxn ang="0">
                <a:pos x="connsiteX37089" y="connsiteY37089"/>
              </a:cxn>
              <a:cxn ang="0">
                <a:pos x="connsiteX37090" y="connsiteY37090"/>
              </a:cxn>
              <a:cxn ang="0">
                <a:pos x="connsiteX37091" y="connsiteY37091"/>
              </a:cxn>
              <a:cxn ang="0">
                <a:pos x="connsiteX37092" y="connsiteY37092"/>
              </a:cxn>
              <a:cxn ang="0">
                <a:pos x="connsiteX37093" y="connsiteY37093"/>
              </a:cxn>
              <a:cxn ang="0">
                <a:pos x="connsiteX37094" y="connsiteY37094"/>
              </a:cxn>
              <a:cxn ang="0">
                <a:pos x="connsiteX37095" y="connsiteY37095"/>
              </a:cxn>
              <a:cxn ang="0">
                <a:pos x="connsiteX37096" y="connsiteY37096"/>
              </a:cxn>
              <a:cxn ang="0">
                <a:pos x="connsiteX37097" y="connsiteY37097"/>
              </a:cxn>
              <a:cxn ang="0">
                <a:pos x="connsiteX37098" y="connsiteY37098"/>
              </a:cxn>
              <a:cxn ang="0">
                <a:pos x="connsiteX37099" y="connsiteY37099"/>
              </a:cxn>
              <a:cxn ang="0">
                <a:pos x="connsiteX37100" y="connsiteY37100"/>
              </a:cxn>
              <a:cxn ang="0">
                <a:pos x="connsiteX37101" y="connsiteY37101"/>
              </a:cxn>
              <a:cxn ang="0">
                <a:pos x="connsiteX37102" y="connsiteY37102"/>
              </a:cxn>
              <a:cxn ang="0">
                <a:pos x="connsiteX37103" y="connsiteY37103"/>
              </a:cxn>
              <a:cxn ang="0">
                <a:pos x="connsiteX37104" y="connsiteY37104"/>
              </a:cxn>
              <a:cxn ang="0">
                <a:pos x="connsiteX37105" y="connsiteY37105"/>
              </a:cxn>
              <a:cxn ang="0">
                <a:pos x="connsiteX37106" y="connsiteY37106"/>
              </a:cxn>
              <a:cxn ang="0">
                <a:pos x="connsiteX37107" y="connsiteY37107"/>
              </a:cxn>
              <a:cxn ang="0">
                <a:pos x="connsiteX37108" y="connsiteY37108"/>
              </a:cxn>
              <a:cxn ang="0">
                <a:pos x="connsiteX37109" y="connsiteY37109"/>
              </a:cxn>
              <a:cxn ang="0">
                <a:pos x="connsiteX37110" y="connsiteY37110"/>
              </a:cxn>
              <a:cxn ang="0">
                <a:pos x="connsiteX37111" y="connsiteY37111"/>
              </a:cxn>
              <a:cxn ang="0">
                <a:pos x="connsiteX37112" y="connsiteY37112"/>
              </a:cxn>
              <a:cxn ang="0">
                <a:pos x="connsiteX37113" y="connsiteY37113"/>
              </a:cxn>
              <a:cxn ang="0">
                <a:pos x="connsiteX37114" y="connsiteY37114"/>
              </a:cxn>
              <a:cxn ang="0">
                <a:pos x="connsiteX37115" y="connsiteY37115"/>
              </a:cxn>
              <a:cxn ang="0">
                <a:pos x="connsiteX37116" y="connsiteY37116"/>
              </a:cxn>
              <a:cxn ang="0">
                <a:pos x="connsiteX37117" y="connsiteY37117"/>
              </a:cxn>
              <a:cxn ang="0">
                <a:pos x="connsiteX37118" y="connsiteY37118"/>
              </a:cxn>
              <a:cxn ang="0">
                <a:pos x="connsiteX37119" y="connsiteY37119"/>
              </a:cxn>
              <a:cxn ang="0">
                <a:pos x="connsiteX37120" y="connsiteY37120"/>
              </a:cxn>
              <a:cxn ang="0">
                <a:pos x="connsiteX37121" y="connsiteY37121"/>
              </a:cxn>
              <a:cxn ang="0">
                <a:pos x="connsiteX37122" y="connsiteY37122"/>
              </a:cxn>
              <a:cxn ang="0">
                <a:pos x="connsiteX37123" y="connsiteY37123"/>
              </a:cxn>
              <a:cxn ang="0">
                <a:pos x="connsiteX37124" y="connsiteY37124"/>
              </a:cxn>
              <a:cxn ang="0">
                <a:pos x="connsiteX37125" y="connsiteY37125"/>
              </a:cxn>
              <a:cxn ang="0">
                <a:pos x="connsiteX37126" y="connsiteY37126"/>
              </a:cxn>
              <a:cxn ang="0">
                <a:pos x="connsiteX37127" y="connsiteY37127"/>
              </a:cxn>
              <a:cxn ang="0">
                <a:pos x="connsiteX37128" y="connsiteY37128"/>
              </a:cxn>
              <a:cxn ang="0">
                <a:pos x="connsiteX37129" y="connsiteY37129"/>
              </a:cxn>
              <a:cxn ang="0">
                <a:pos x="connsiteX37130" y="connsiteY37130"/>
              </a:cxn>
              <a:cxn ang="0">
                <a:pos x="connsiteX37131" y="connsiteY37131"/>
              </a:cxn>
              <a:cxn ang="0">
                <a:pos x="connsiteX37132" y="connsiteY37132"/>
              </a:cxn>
              <a:cxn ang="0">
                <a:pos x="connsiteX37133" y="connsiteY37133"/>
              </a:cxn>
              <a:cxn ang="0">
                <a:pos x="connsiteX37134" y="connsiteY37134"/>
              </a:cxn>
              <a:cxn ang="0">
                <a:pos x="connsiteX37135" y="connsiteY37135"/>
              </a:cxn>
              <a:cxn ang="0">
                <a:pos x="connsiteX37136" y="connsiteY37136"/>
              </a:cxn>
              <a:cxn ang="0">
                <a:pos x="connsiteX37137" y="connsiteY37137"/>
              </a:cxn>
              <a:cxn ang="0">
                <a:pos x="connsiteX37138" y="connsiteY37138"/>
              </a:cxn>
              <a:cxn ang="0">
                <a:pos x="connsiteX37139" y="connsiteY37139"/>
              </a:cxn>
              <a:cxn ang="0">
                <a:pos x="connsiteX37140" y="connsiteY37140"/>
              </a:cxn>
              <a:cxn ang="0">
                <a:pos x="connsiteX37141" y="connsiteY37141"/>
              </a:cxn>
              <a:cxn ang="0">
                <a:pos x="connsiteX37142" y="connsiteY37142"/>
              </a:cxn>
              <a:cxn ang="0">
                <a:pos x="connsiteX37143" y="connsiteY37143"/>
              </a:cxn>
              <a:cxn ang="0">
                <a:pos x="connsiteX37144" y="connsiteY37144"/>
              </a:cxn>
              <a:cxn ang="0">
                <a:pos x="connsiteX37145" y="connsiteY37145"/>
              </a:cxn>
              <a:cxn ang="0">
                <a:pos x="connsiteX37146" y="connsiteY37146"/>
              </a:cxn>
              <a:cxn ang="0">
                <a:pos x="connsiteX37147" y="connsiteY37147"/>
              </a:cxn>
              <a:cxn ang="0">
                <a:pos x="connsiteX37148" y="connsiteY37148"/>
              </a:cxn>
              <a:cxn ang="0">
                <a:pos x="connsiteX37149" y="connsiteY37149"/>
              </a:cxn>
              <a:cxn ang="0">
                <a:pos x="connsiteX37150" y="connsiteY37150"/>
              </a:cxn>
              <a:cxn ang="0">
                <a:pos x="connsiteX37151" y="connsiteY37151"/>
              </a:cxn>
              <a:cxn ang="0">
                <a:pos x="connsiteX37152" y="connsiteY37152"/>
              </a:cxn>
              <a:cxn ang="0">
                <a:pos x="connsiteX37153" y="connsiteY37153"/>
              </a:cxn>
              <a:cxn ang="0">
                <a:pos x="connsiteX37154" y="connsiteY37154"/>
              </a:cxn>
              <a:cxn ang="0">
                <a:pos x="connsiteX37155" y="connsiteY37155"/>
              </a:cxn>
              <a:cxn ang="0">
                <a:pos x="connsiteX37156" y="connsiteY37156"/>
              </a:cxn>
              <a:cxn ang="0">
                <a:pos x="connsiteX37157" y="connsiteY37157"/>
              </a:cxn>
              <a:cxn ang="0">
                <a:pos x="connsiteX37158" y="connsiteY37158"/>
              </a:cxn>
              <a:cxn ang="0">
                <a:pos x="connsiteX37159" y="connsiteY37159"/>
              </a:cxn>
              <a:cxn ang="0">
                <a:pos x="connsiteX37160" y="connsiteY37160"/>
              </a:cxn>
              <a:cxn ang="0">
                <a:pos x="connsiteX37161" y="connsiteY37161"/>
              </a:cxn>
              <a:cxn ang="0">
                <a:pos x="connsiteX37162" y="connsiteY37162"/>
              </a:cxn>
              <a:cxn ang="0">
                <a:pos x="connsiteX37163" y="connsiteY37163"/>
              </a:cxn>
              <a:cxn ang="0">
                <a:pos x="connsiteX37164" y="connsiteY37164"/>
              </a:cxn>
              <a:cxn ang="0">
                <a:pos x="connsiteX37165" y="connsiteY37165"/>
              </a:cxn>
              <a:cxn ang="0">
                <a:pos x="connsiteX37166" y="connsiteY37166"/>
              </a:cxn>
              <a:cxn ang="0">
                <a:pos x="connsiteX37167" y="connsiteY37167"/>
              </a:cxn>
              <a:cxn ang="0">
                <a:pos x="connsiteX37168" y="connsiteY37168"/>
              </a:cxn>
              <a:cxn ang="0">
                <a:pos x="connsiteX37169" y="connsiteY37169"/>
              </a:cxn>
              <a:cxn ang="0">
                <a:pos x="connsiteX37170" y="connsiteY37170"/>
              </a:cxn>
              <a:cxn ang="0">
                <a:pos x="connsiteX37171" y="connsiteY37171"/>
              </a:cxn>
              <a:cxn ang="0">
                <a:pos x="connsiteX37172" y="connsiteY37172"/>
              </a:cxn>
              <a:cxn ang="0">
                <a:pos x="connsiteX37173" y="connsiteY37173"/>
              </a:cxn>
              <a:cxn ang="0">
                <a:pos x="connsiteX37174" y="connsiteY37174"/>
              </a:cxn>
              <a:cxn ang="0">
                <a:pos x="connsiteX37175" y="connsiteY37175"/>
              </a:cxn>
              <a:cxn ang="0">
                <a:pos x="connsiteX37176" y="connsiteY37176"/>
              </a:cxn>
              <a:cxn ang="0">
                <a:pos x="connsiteX37177" y="connsiteY37177"/>
              </a:cxn>
              <a:cxn ang="0">
                <a:pos x="connsiteX37178" y="connsiteY37178"/>
              </a:cxn>
              <a:cxn ang="0">
                <a:pos x="connsiteX37179" y="connsiteY37179"/>
              </a:cxn>
              <a:cxn ang="0">
                <a:pos x="connsiteX37180" y="connsiteY37180"/>
              </a:cxn>
              <a:cxn ang="0">
                <a:pos x="connsiteX37181" y="connsiteY37181"/>
              </a:cxn>
              <a:cxn ang="0">
                <a:pos x="connsiteX37182" y="connsiteY37182"/>
              </a:cxn>
              <a:cxn ang="0">
                <a:pos x="connsiteX37183" y="connsiteY37183"/>
              </a:cxn>
              <a:cxn ang="0">
                <a:pos x="connsiteX37184" y="connsiteY37184"/>
              </a:cxn>
              <a:cxn ang="0">
                <a:pos x="connsiteX37185" y="connsiteY37185"/>
              </a:cxn>
              <a:cxn ang="0">
                <a:pos x="connsiteX37186" y="connsiteY37186"/>
              </a:cxn>
              <a:cxn ang="0">
                <a:pos x="connsiteX37187" y="connsiteY37187"/>
              </a:cxn>
              <a:cxn ang="0">
                <a:pos x="connsiteX37188" y="connsiteY37188"/>
              </a:cxn>
              <a:cxn ang="0">
                <a:pos x="connsiteX37189" y="connsiteY37189"/>
              </a:cxn>
              <a:cxn ang="0">
                <a:pos x="connsiteX37190" y="connsiteY37190"/>
              </a:cxn>
              <a:cxn ang="0">
                <a:pos x="connsiteX37191" y="connsiteY37191"/>
              </a:cxn>
              <a:cxn ang="0">
                <a:pos x="connsiteX37192" y="connsiteY37192"/>
              </a:cxn>
              <a:cxn ang="0">
                <a:pos x="connsiteX37193" y="connsiteY37193"/>
              </a:cxn>
              <a:cxn ang="0">
                <a:pos x="connsiteX37194" y="connsiteY37194"/>
              </a:cxn>
              <a:cxn ang="0">
                <a:pos x="connsiteX37195" y="connsiteY37195"/>
              </a:cxn>
              <a:cxn ang="0">
                <a:pos x="connsiteX37196" y="connsiteY37196"/>
              </a:cxn>
              <a:cxn ang="0">
                <a:pos x="connsiteX37197" y="connsiteY37197"/>
              </a:cxn>
              <a:cxn ang="0">
                <a:pos x="connsiteX37198" y="connsiteY37198"/>
              </a:cxn>
              <a:cxn ang="0">
                <a:pos x="connsiteX37199" y="connsiteY37199"/>
              </a:cxn>
              <a:cxn ang="0">
                <a:pos x="connsiteX37200" y="connsiteY37200"/>
              </a:cxn>
              <a:cxn ang="0">
                <a:pos x="connsiteX37201" y="connsiteY37201"/>
              </a:cxn>
              <a:cxn ang="0">
                <a:pos x="connsiteX37202" y="connsiteY37202"/>
              </a:cxn>
              <a:cxn ang="0">
                <a:pos x="connsiteX37203" y="connsiteY37203"/>
              </a:cxn>
              <a:cxn ang="0">
                <a:pos x="connsiteX37204" y="connsiteY37204"/>
              </a:cxn>
              <a:cxn ang="0">
                <a:pos x="connsiteX37205" y="connsiteY37205"/>
              </a:cxn>
              <a:cxn ang="0">
                <a:pos x="connsiteX37206" y="connsiteY37206"/>
              </a:cxn>
              <a:cxn ang="0">
                <a:pos x="connsiteX37207" y="connsiteY37207"/>
              </a:cxn>
              <a:cxn ang="0">
                <a:pos x="connsiteX37208" y="connsiteY37208"/>
              </a:cxn>
              <a:cxn ang="0">
                <a:pos x="connsiteX37209" y="connsiteY37209"/>
              </a:cxn>
              <a:cxn ang="0">
                <a:pos x="connsiteX37210" y="connsiteY37210"/>
              </a:cxn>
              <a:cxn ang="0">
                <a:pos x="connsiteX37211" y="connsiteY37211"/>
              </a:cxn>
              <a:cxn ang="0">
                <a:pos x="connsiteX37212" y="connsiteY37212"/>
              </a:cxn>
              <a:cxn ang="0">
                <a:pos x="connsiteX37213" y="connsiteY37213"/>
              </a:cxn>
              <a:cxn ang="0">
                <a:pos x="connsiteX37214" y="connsiteY37214"/>
              </a:cxn>
              <a:cxn ang="0">
                <a:pos x="connsiteX37215" y="connsiteY37215"/>
              </a:cxn>
              <a:cxn ang="0">
                <a:pos x="connsiteX37216" y="connsiteY37216"/>
              </a:cxn>
              <a:cxn ang="0">
                <a:pos x="connsiteX37217" y="connsiteY37217"/>
              </a:cxn>
              <a:cxn ang="0">
                <a:pos x="connsiteX37218" y="connsiteY37218"/>
              </a:cxn>
              <a:cxn ang="0">
                <a:pos x="connsiteX37219" y="connsiteY37219"/>
              </a:cxn>
              <a:cxn ang="0">
                <a:pos x="connsiteX37220" y="connsiteY37220"/>
              </a:cxn>
              <a:cxn ang="0">
                <a:pos x="connsiteX37221" y="connsiteY37221"/>
              </a:cxn>
              <a:cxn ang="0">
                <a:pos x="connsiteX37222" y="connsiteY37222"/>
              </a:cxn>
              <a:cxn ang="0">
                <a:pos x="connsiteX37223" y="connsiteY37223"/>
              </a:cxn>
              <a:cxn ang="0">
                <a:pos x="connsiteX37224" y="connsiteY37224"/>
              </a:cxn>
              <a:cxn ang="0">
                <a:pos x="connsiteX37225" y="connsiteY37225"/>
              </a:cxn>
              <a:cxn ang="0">
                <a:pos x="connsiteX37226" y="connsiteY37226"/>
              </a:cxn>
              <a:cxn ang="0">
                <a:pos x="connsiteX37227" y="connsiteY37227"/>
              </a:cxn>
              <a:cxn ang="0">
                <a:pos x="connsiteX37228" y="connsiteY37228"/>
              </a:cxn>
              <a:cxn ang="0">
                <a:pos x="connsiteX37229" y="connsiteY37229"/>
              </a:cxn>
              <a:cxn ang="0">
                <a:pos x="connsiteX37230" y="connsiteY37230"/>
              </a:cxn>
              <a:cxn ang="0">
                <a:pos x="connsiteX37231" y="connsiteY37231"/>
              </a:cxn>
              <a:cxn ang="0">
                <a:pos x="connsiteX37232" y="connsiteY37232"/>
              </a:cxn>
              <a:cxn ang="0">
                <a:pos x="connsiteX37233" y="connsiteY37233"/>
              </a:cxn>
              <a:cxn ang="0">
                <a:pos x="connsiteX37234" y="connsiteY37234"/>
              </a:cxn>
              <a:cxn ang="0">
                <a:pos x="connsiteX37235" y="connsiteY37235"/>
              </a:cxn>
              <a:cxn ang="0">
                <a:pos x="connsiteX37236" y="connsiteY37236"/>
              </a:cxn>
              <a:cxn ang="0">
                <a:pos x="connsiteX37237" y="connsiteY37237"/>
              </a:cxn>
              <a:cxn ang="0">
                <a:pos x="connsiteX37238" y="connsiteY37238"/>
              </a:cxn>
              <a:cxn ang="0">
                <a:pos x="connsiteX37239" y="connsiteY37239"/>
              </a:cxn>
              <a:cxn ang="0">
                <a:pos x="connsiteX37240" y="connsiteY37240"/>
              </a:cxn>
              <a:cxn ang="0">
                <a:pos x="connsiteX37241" y="connsiteY37241"/>
              </a:cxn>
              <a:cxn ang="0">
                <a:pos x="connsiteX37242" y="connsiteY37242"/>
              </a:cxn>
              <a:cxn ang="0">
                <a:pos x="connsiteX37243" y="connsiteY37243"/>
              </a:cxn>
              <a:cxn ang="0">
                <a:pos x="connsiteX37244" y="connsiteY37244"/>
              </a:cxn>
              <a:cxn ang="0">
                <a:pos x="connsiteX37245" y="connsiteY37245"/>
              </a:cxn>
              <a:cxn ang="0">
                <a:pos x="connsiteX37246" y="connsiteY37246"/>
              </a:cxn>
              <a:cxn ang="0">
                <a:pos x="connsiteX37247" y="connsiteY37247"/>
              </a:cxn>
              <a:cxn ang="0">
                <a:pos x="connsiteX37248" y="connsiteY37248"/>
              </a:cxn>
              <a:cxn ang="0">
                <a:pos x="connsiteX37249" y="connsiteY37249"/>
              </a:cxn>
              <a:cxn ang="0">
                <a:pos x="connsiteX37250" y="connsiteY37250"/>
              </a:cxn>
              <a:cxn ang="0">
                <a:pos x="connsiteX37251" y="connsiteY37251"/>
              </a:cxn>
              <a:cxn ang="0">
                <a:pos x="connsiteX37252" y="connsiteY37252"/>
              </a:cxn>
              <a:cxn ang="0">
                <a:pos x="connsiteX37253" y="connsiteY37253"/>
              </a:cxn>
              <a:cxn ang="0">
                <a:pos x="connsiteX37254" y="connsiteY37254"/>
              </a:cxn>
              <a:cxn ang="0">
                <a:pos x="connsiteX37255" y="connsiteY37255"/>
              </a:cxn>
              <a:cxn ang="0">
                <a:pos x="connsiteX37256" y="connsiteY37256"/>
              </a:cxn>
              <a:cxn ang="0">
                <a:pos x="connsiteX37257" y="connsiteY37257"/>
              </a:cxn>
              <a:cxn ang="0">
                <a:pos x="connsiteX37258" y="connsiteY37258"/>
              </a:cxn>
              <a:cxn ang="0">
                <a:pos x="connsiteX37259" y="connsiteY37259"/>
              </a:cxn>
              <a:cxn ang="0">
                <a:pos x="connsiteX37260" y="connsiteY37260"/>
              </a:cxn>
              <a:cxn ang="0">
                <a:pos x="connsiteX37261" y="connsiteY37261"/>
              </a:cxn>
              <a:cxn ang="0">
                <a:pos x="connsiteX37262" y="connsiteY37262"/>
              </a:cxn>
              <a:cxn ang="0">
                <a:pos x="connsiteX37263" y="connsiteY37263"/>
              </a:cxn>
              <a:cxn ang="0">
                <a:pos x="connsiteX37264" y="connsiteY37264"/>
              </a:cxn>
              <a:cxn ang="0">
                <a:pos x="connsiteX37265" y="connsiteY37265"/>
              </a:cxn>
              <a:cxn ang="0">
                <a:pos x="connsiteX37266" y="connsiteY37266"/>
              </a:cxn>
              <a:cxn ang="0">
                <a:pos x="connsiteX37267" y="connsiteY37267"/>
              </a:cxn>
              <a:cxn ang="0">
                <a:pos x="connsiteX37268" y="connsiteY37268"/>
              </a:cxn>
              <a:cxn ang="0">
                <a:pos x="connsiteX37269" y="connsiteY37269"/>
              </a:cxn>
              <a:cxn ang="0">
                <a:pos x="connsiteX37270" y="connsiteY37270"/>
              </a:cxn>
              <a:cxn ang="0">
                <a:pos x="connsiteX37271" y="connsiteY37271"/>
              </a:cxn>
              <a:cxn ang="0">
                <a:pos x="connsiteX37272" y="connsiteY37272"/>
              </a:cxn>
              <a:cxn ang="0">
                <a:pos x="connsiteX37273" y="connsiteY37273"/>
              </a:cxn>
              <a:cxn ang="0">
                <a:pos x="connsiteX37274" y="connsiteY37274"/>
              </a:cxn>
              <a:cxn ang="0">
                <a:pos x="connsiteX37275" y="connsiteY37275"/>
              </a:cxn>
              <a:cxn ang="0">
                <a:pos x="connsiteX37276" y="connsiteY37276"/>
              </a:cxn>
              <a:cxn ang="0">
                <a:pos x="connsiteX37277" y="connsiteY37277"/>
              </a:cxn>
              <a:cxn ang="0">
                <a:pos x="connsiteX37278" y="connsiteY37278"/>
              </a:cxn>
              <a:cxn ang="0">
                <a:pos x="connsiteX37279" y="connsiteY37279"/>
              </a:cxn>
              <a:cxn ang="0">
                <a:pos x="connsiteX37280" y="connsiteY37280"/>
              </a:cxn>
              <a:cxn ang="0">
                <a:pos x="connsiteX37281" y="connsiteY37281"/>
              </a:cxn>
              <a:cxn ang="0">
                <a:pos x="connsiteX37282" y="connsiteY37282"/>
              </a:cxn>
              <a:cxn ang="0">
                <a:pos x="connsiteX37283" y="connsiteY37283"/>
              </a:cxn>
              <a:cxn ang="0">
                <a:pos x="connsiteX37284" y="connsiteY37284"/>
              </a:cxn>
              <a:cxn ang="0">
                <a:pos x="connsiteX37285" y="connsiteY37285"/>
              </a:cxn>
              <a:cxn ang="0">
                <a:pos x="connsiteX37286" y="connsiteY37286"/>
              </a:cxn>
              <a:cxn ang="0">
                <a:pos x="connsiteX37287" y="connsiteY37287"/>
              </a:cxn>
              <a:cxn ang="0">
                <a:pos x="connsiteX37288" y="connsiteY37288"/>
              </a:cxn>
              <a:cxn ang="0">
                <a:pos x="connsiteX37289" y="connsiteY37289"/>
              </a:cxn>
              <a:cxn ang="0">
                <a:pos x="connsiteX37290" y="connsiteY37290"/>
              </a:cxn>
              <a:cxn ang="0">
                <a:pos x="connsiteX37291" y="connsiteY37291"/>
              </a:cxn>
              <a:cxn ang="0">
                <a:pos x="connsiteX37292" y="connsiteY37292"/>
              </a:cxn>
              <a:cxn ang="0">
                <a:pos x="connsiteX37293" y="connsiteY37293"/>
              </a:cxn>
              <a:cxn ang="0">
                <a:pos x="connsiteX37294" y="connsiteY37294"/>
              </a:cxn>
              <a:cxn ang="0">
                <a:pos x="connsiteX37295" y="connsiteY37295"/>
              </a:cxn>
              <a:cxn ang="0">
                <a:pos x="connsiteX37296" y="connsiteY37296"/>
              </a:cxn>
              <a:cxn ang="0">
                <a:pos x="connsiteX37297" y="connsiteY37297"/>
              </a:cxn>
              <a:cxn ang="0">
                <a:pos x="connsiteX37298" y="connsiteY37298"/>
              </a:cxn>
              <a:cxn ang="0">
                <a:pos x="connsiteX37299" y="connsiteY37299"/>
              </a:cxn>
              <a:cxn ang="0">
                <a:pos x="connsiteX37300" y="connsiteY37300"/>
              </a:cxn>
              <a:cxn ang="0">
                <a:pos x="connsiteX37301" y="connsiteY37301"/>
              </a:cxn>
              <a:cxn ang="0">
                <a:pos x="connsiteX37302" y="connsiteY37302"/>
              </a:cxn>
              <a:cxn ang="0">
                <a:pos x="connsiteX37303" y="connsiteY37303"/>
              </a:cxn>
              <a:cxn ang="0">
                <a:pos x="connsiteX37304" y="connsiteY37304"/>
              </a:cxn>
              <a:cxn ang="0">
                <a:pos x="connsiteX37305" y="connsiteY37305"/>
              </a:cxn>
              <a:cxn ang="0">
                <a:pos x="connsiteX37306" y="connsiteY37306"/>
              </a:cxn>
              <a:cxn ang="0">
                <a:pos x="connsiteX37307" y="connsiteY37307"/>
              </a:cxn>
              <a:cxn ang="0">
                <a:pos x="connsiteX37308" y="connsiteY37308"/>
              </a:cxn>
              <a:cxn ang="0">
                <a:pos x="connsiteX37309" y="connsiteY37309"/>
              </a:cxn>
              <a:cxn ang="0">
                <a:pos x="connsiteX37310" y="connsiteY37310"/>
              </a:cxn>
              <a:cxn ang="0">
                <a:pos x="connsiteX37311" y="connsiteY37311"/>
              </a:cxn>
              <a:cxn ang="0">
                <a:pos x="connsiteX37312" y="connsiteY37312"/>
              </a:cxn>
              <a:cxn ang="0">
                <a:pos x="connsiteX37313" y="connsiteY37313"/>
              </a:cxn>
              <a:cxn ang="0">
                <a:pos x="connsiteX37314" y="connsiteY37314"/>
              </a:cxn>
              <a:cxn ang="0">
                <a:pos x="connsiteX37315" y="connsiteY37315"/>
              </a:cxn>
              <a:cxn ang="0">
                <a:pos x="connsiteX37316" y="connsiteY37316"/>
              </a:cxn>
              <a:cxn ang="0">
                <a:pos x="connsiteX37317" y="connsiteY37317"/>
              </a:cxn>
              <a:cxn ang="0">
                <a:pos x="connsiteX37318" y="connsiteY37318"/>
              </a:cxn>
              <a:cxn ang="0">
                <a:pos x="connsiteX37319" y="connsiteY37319"/>
              </a:cxn>
              <a:cxn ang="0">
                <a:pos x="connsiteX37320" y="connsiteY37320"/>
              </a:cxn>
              <a:cxn ang="0">
                <a:pos x="connsiteX37321" y="connsiteY37321"/>
              </a:cxn>
              <a:cxn ang="0">
                <a:pos x="connsiteX37322" y="connsiteY37322"/>
              </a:cxn>
              <a:cxn ang="0">
                <a:pos x="connsiteX37323" y="connsiteY37323"/>
              </a:cxn>
              <a:cxn ang="0">
                <a:pos x="connsiteX37324" y="connsiteY37324"/>
              </a:cxn>
              <a:cxn ang="0">
                <a:pos x="connsiteX37325" y="connsiteY37325"/>
              </a:cxn>
              <a:cxn ang="0">
                <a:pos x="connsiteX37326" y="connsiteY37326"/>
              </a:cxn>
              <a:cxn ang="0">
                <a:pos x="connsiteX37327" y="connsiteY37327"/>
              </a:cxn>
              <a:cxn ang="0">
                <a:pos x="connsiteX37328" y="connsiteY37328"/>
              </a:cxn>
              <a:cxn ang="0">
                <a:pos x="connsiteX37329" y="connsiteY37329"/>
              </a:cxn>
              <a:cxn ang="0">
                <a:pos x="connsiteX37330" y="connsiteY37330"/>
              </a:cxn>
              <a:cxn ang="0">
                <a:pos x="connsiteX37331" y="connsiteY37331"/>
              </a:cxn>
              <a:cxn ang="0">
                <a:pos x="connsiteX37332" y="connsiteY37332"/>
              </a:cxn>
              <a:cxn ang="0">
                <a:pos x="connsiteX37333" y="connsiteY37333"/>
              </a:cxn>
              <a:cxn ang="0">
                <a:pos x="connsiteX37334" y="connsiteY37334"/>
              </a:cxn>
              <a:cxn ang="0">
                <a:pos x="connsiteX37335" y="connsiteY37335"/>
              </a:cxn>
              <a:cxn ang="0">
                <a:pos x="connsiteX37336" y="connsiteY37336"/>
              </a:cxn>
              <a:cxn ang="0">
                <a:pos x="connsiteX37337" y="connsiteY37337"/>
              </a:cxn>
              <a:cxn ang="0">
                <a:pos x="connsiteX37338" y="connsiteY37338"/>
              </a:cxn>
              <a:cxn ang="0">
                <a:pos x="connsiteX37339" y="connsiteY37339"/>
              </a:cxn>
              <a:cxn ang="0">
                <a:pos x="connsiteX37340" y="connsiteY37340"/>
              </a:cxn>
              <a:cxn ang="0">
                <a:pos x="connsiteX37341" y="connsiteY37341"/>
              </a:cxn>
              <a:cxn ang="0">
                <a:pos x="connsiteX37342" y="connsiteY37342"/>
              </a:cxn>
              <a:cxn ang="0">
                <a:pos x="connsiteX37343" y="connsiteY37343"/>
              </a:cxn>
              <a:cxn ang="0">
                <a:pos x="connsiteX37344" y="connsiteY37344"/>
              </a:cxn>
              <a:cxn ang="0">
                <a:pos x="connsiteX37345" y="connsiteY37345"/>
              </a:cxn>
              <a:cxn ang="0">
                <a:pos x="connsiteX37346" y="connsiteY37346"/>
              </a:cxn>
              <a:cxn ang="0">
                <a:pos x="connsiteX37347" y="connsiteY37347"/>
              </a:cxn>
              <a:cxn ang="0">
                <a:pos x="connsiteX37348" y="connsiteY37348"/>
              </a:cxn>
              <a:cxn ang="0">
                <a:pos x="connsiteX37349" y="connsiteY37349"/>
              </a:cxn>
              <a:cxn ang="0">
                <a:pos x="connsiteX37350" y="connsiteY37350"/>
              </a:cxn>
              <a:cxn ang="0">
                <a:pos x="connsiteX37351" y="connsiteY37351"/>
              </a:cxn>
              <a:cxn ang="0">
                <a:pos x="connsiteX37352" y="connsiteY37352"/>
              </a:cxn>
              <a:cxn ang="0">
                <a:pos x="connsiteX37353" y="connsiteY37353"/>
              </a:cxn>
              <a:cxn ang="0">
                <a:pos x="connsiteX37354" y="connsiteY37354"/>
              </a:cxn>
              <a:cxn ang="0">
                <a:pos x="connsiteX37355" y="connsiteY37355"/>
              </a:cxn>
              <a:cxn ang="0">
                <a:pos x="connsiteX37356" y="connsiteY37356"/>
              </a:cxn>
              <a:cxn ang="0">
                <a:pos x="connsiteX37357" y="connsiteY37357"/>
              </a:cxn>
              <a:cxn ang="0">
                <a:pos x="connsiteX37358" y="connsiteY37358"/>
              </a:cxn>
              <a:cxn ang="0">
                <a:pos x="connsiteX37359" y="connsiteY37359"/>
              </a:cxn>
              <a:cxn ang="0">
                <a:pos x="connsiteX37360" y="connsiteY37360"/>
              </a:cxn>
              <a:cxn ang="0">
                <a:pos x="connsiteX37361" y="connsiteY37361"/>
              </a:cxn>
              <a:cxn ang="0">
                <a:pos x="connsiteX37362" y="connsiteY37362"/>
              </a:cxn>
              <a:cxn ang="0">
                <a:pos x="connsiteX37363" y="connsiteY37363"/>
              </a:cxn>
              <a:cxn ang="0">
                <a:pos x="connsiteX37364" y="connsiteY37364"/>
              </a:cxn>
              <a:cxn ang="0">
                <a:pos x="connsiteX37365" y="connsiteY37365"/>
              </a:cxn>
              <a:cxn ang="0">
                <a:pos x="connsiteX37366" y="connsiteY37366"/>
              </a:cxn>
              <a:cxn ang="0">
                <a:pos x="connsiteX37367" y="connsiteY37367"/>
              </a:cxn>
              <a:cxn ang="0">
                <a:pos x="connsiteX37368" y="connsiteY37368"/>
              </a:cxn>
              <a:cxn ang="0">
                <a:pos x="connsiteX37369" y="connsiteY37369"/>
              </a:cxn>
              <a:cxn ang="0">
                <a:pos x="connsiteX37370" y="connsiteY37370"/>
              </a:cxn>
              <a:cxn ang="0">
                <a:pos x="connsiteX37371" y="connsiteY37371"/>
              </a:cxn>
              <a:cxn ang="0">
                <a:pos x="connsiteX37372" y="connsiteY37372"/>
              </a:cxn>
              <a:cxn ang="0">
                <a:pos x="connsiteX37373" y="connsiteY37373"/>
              </a:cxn>
              <a:cxn ang="0">
                <a:pos x="connsiteX37374" y="connsiteY37374"/>
              </a:cxn>
              <a:cxn ang="0">
                <a:pos x="connsiteX37375" y="connsiteY37375"/>
              </a:cxn>
              <a:cxn ang="0">
                <a:pos x="connsiteX37376" y="connsiteY37376"/>
              </a:cxn>
              <a:cxn ang="0">
                <a:pos x="connsiteX37377" y="connsiteY37377"/>
              </a:cxn>
              <a:cxn ang="0">
                <a:pos x="connsiteX37378" y="connsiteY37378"/>
              </a:cxn>
              <a:cxn ang="0">
                <a:pos x="connsiteX37379" y="connsiteY37379"/>
              </a:cxn>
              <a:cxn ang="0">
                <a:pos x="connsiteX37380" y="connsiteY37380"/>
              </a:cxn>
              <a:cxn ang="0">
                <a:pos x="connsiteX37381" y="connsiteY37381"/>
              </a:cxn>
              <a:cxn ang="0">
                <a:pos x="connsiteX37382" y="connsiteY37382"/>
              </a:cxn>
              <a:cxn ang="0">
                <a:pos x="connsiteX37383" y="connsiteY37383"/>
              </a:cxn>
              <a:cxn ang="0">
                <a:pos x="connsiteX37384" y="connsiteY37384"/>
              </a:cxn>
              <a:cxn ang="0">
                <a:pos x="connsiteX37385" y="connsiteY37385"/>
              </a:cxn>
              <a:cxn ang="0">
                <a:pos x="connsiteX37386" y="connsiteY37386"/>
              </a:cxn>
              <a:cxn ang="0">
                <a:pos x="connsiteX37387" y="connsiteY37387"/>
              </a:cxn>
              <a:cxn ang="0">
                <a:pos x="connsiteX37388" y="connsiteY37388"/>
              </a:cxn>
              <a:cxn ang="0">
                <a:pos x="connsiteX37389" y="connsiteY37389"/>
              </a:cxn>
              <a:cxn ang="0">
                <a:pos x="connsiteX37390" y="connsiteY37390"/>
              </a:cxn>
              <a:cxn ang="0">
                <a:pos x="connsiteX37391" y="connsiteY37391"/>
              </a:cxn>
              <a:cxn ang="0">
                <a:pos x="connsiteX37392" y="connsiteY37392"/>
              </a:cxn>
              <a:cxn ang="0">
                <a:pos x="connsiteX37393" y="connsiteY37393"/>
              </a:cxn>
              <a:cxn ang="0">
                <a:pos x="connsiteX37394" y="connsiteY37394"/>
              </a:cxn>
              <a:cxn ang="0">
                <a:pos x="connsiteX37395" y="connsiteY37395"/>
              </a:cxn>
              <a:cxn ang="0">
                <a:pos x="connsiteX37396" y="connsiteY37396"/>
              </a:cxn>
              <a:cxn ang="0">
                <a:pos x="connsiteX37397" y="connsiteY37397"/>
              </a:cxn>
              <a:cxn ang="0">
                <a:pos x="connsiteX37398" y="connsiteY37398"/>
              </a:cxn>
              <a:cxn ang="0">
                <a:pos x="connsiteX37399" y="connsiteY37399"/>
              </a:cxn>
              <a:cxn ang="0">
                <a:pos x="connsiteX37400" y="connsiteY37400"/>
              </a:cxn>
              <a:cxn ang="0">
                <a:pos x="connsiteX37401" y="connsiteY37401"/>
              </a:cxn>
              <a:cxn ang="0">
                <a:pos x="connsiteX37402" y="connsiteY37402"/>
              </a:cxn>
              <a:cxn ang="0">
                <a:pos x="connsiteX37403" y="connsiteY37403"/>
              </a:cxn>
              <a:cxn ang="0">
                <a:pos x="connsiteX37404" y="connsiteY37404"/>
              </a:cxn>
              <a:cxn ang="0">
                <a:pos x="connsiteX37405" y="connsiteY37405"/>
              </a:cxn>
              <a:cxn ang="0">
                <a:pos x="connsiteX37406" y="connsiteY37406"/>
              </a:cxn>
              <a:cxn ang="0">
                <a:pos x="connsiteX37407" y="connsiteY37407"/>
              </a:cxn>
              <a:cxn ang="0">
                <a:pos x="connsiteX37408" y="connsiteY37408"/>
              </a:cxn>
              <a:cxn ang="0">
                <a:pos x="connsiteX37409" y="connsiteY37409"/>
              </a:cxn>
              <a:cxn ang="0">
                <a:pos x="connsiteX37410" y="connsiteY37410"/>
              </a:cxn>
              <a:cxn ang="0">
                <a:pos x="connsiteX37411" y="connsiteY37411"/>
              </a:cxn>
              <a:cxn ang="0">
                <a:pos x="connsiteX37412" y="connsiteY37412"/>
              </a:cxn>
              <a:cxn ang="0">
                <a:pos x="connsiteX37413" y="connsiteY37413"/>
              </a:cxn>
              <a:cxn ang="0">
                <a:pos x="connsiteX37414" y="connsiteY37414"/>
              </a:cxn>
              <a:cxn ang="0">
                <a:pos x="connsiteX37415" y="connsiteY37415"/>
              </a:cxn>
              <a:cxn ang="0">
                <a:pos x="connsiteX37416" y="connsiteY37416"/>
              </a:cxn>
              <a:cxn ang="0">
                <a:pos x="connsiteX37417" y="connsiteY37417"/>
              </a:cxn>
              <a:cxn ang="0">
                <a:pos x="connsiteX37418" y="connsiteY37418"/>
              </a:cxn>
              <a:cxn ang="0">
                <a:pos x="connsiteX37419" y="connsiteY37419"/>
              </a:cxn>
              <a:cxn ang="0">
                <a:pos x="connsiteX37420" y="connsiteY37420"/>
              </a:cxn>
              <a:cxn ang="0">
                <a:pos x="connsiteX37421" y="connsiteY37421"/>
              </a:cxn>
              <a:cxn ang="0">
                <a:pos x="connsiteX37422" y="connsiteY37422"/>
              </a:cxn>
              <a:cxn ang="0">
                <a:pos x="connsiteX37423" y="connsiteY37423"/>
              </a:cxn>
              <a:cxn ang="0">
                <a:pos x="connsiteX37424" y="connsiteY37424"/>
              </a:cxn>
              <a:cxn ang="0">
                <a:pos x="connsiteX37425" y="connsiteY37425"/>
              </a:cxn>
              <a:cxn ang="0">
                <a:pos x="connsiteX37426" y="connsiteY37426"/>
              </a:cxn>
              <a:cxn ang="0">
                <a:pos x="connsiteX37427" y="connsiteY37427"/>
              </a:cxn>
              <a:cxn ang="0">
                <a:pos x="connsiteX37428" y="connsiteY37428"/>
              </a:cxn>
              <a:cxn ang="0">
                <a:pos x="connsiteX37429" y="connsiteY37429"/>
              </a:cxn>
              <a:cxn ang="0">
                <a:pos x="connsiteX37430" y="connsiteY37430"/>
              </a:cxn>
              <a:cxn ang="0">
                <a:pos x="connsiteX37431" y="connsiteY37431"/>
              </a:cxn>
              <a:cxn ang="0">
                <a:pos x="connsiteX37432" y="connsiteY37432"/>
              </a:cxn>
              <a:cxn ang="0">
                <a:pos x="connsiteX37433" y="connsiteY37433"/>
              </a:cxn>
              <a:cxn ang="0">
                <a:pos x="connsiteX37434" y="connsiteY37434"/>
              </a:cxn>
              <a:cxn ang="0">
                <a:pos x="connsiteX37435" y="connsiteY37435"/>
              </a:cxn>
              <a:cxn ang="0">
                <a:pos x="connsiteX37436" y="connsiteY37436"/>
              </a:cxn>
              <a:cxn ang="0">
                <a:pos x="connsiteX37437" y="connsiteY37437"/>
              </a:cxn>
              <a:cxn ang="0">
                <a:pos x="connsiteX37438" y="connsiteY37438"/>
              </a:cxn>
              <a:cxn ang="0">
                <a:pos x="connsiteX37439" y="connsiteY37439"/>
              </a:cxn>
              <a:cxn ang="0">
                <a:pos x="connsiteX37440" y="connsiteY37440"/>
              </a:cxn>
              <a:cxn ang="0">
                <a:pos x="connsiteX37441" y="connsiteY37441"/>
              </a:cxn>
              <a:cxn ang="0">
                <a:pos x="connsiteX37442" y="connsiteY37442"/>
              </a:cxn>
              <a:cxn ang="0">
                <a:pos x="connsiteX37443" y="connsiteY37443"/>
              </a:cxn>
              <a:cxn ang="0">
                <a:pos x="connsiteX37444" y="connsiteY37444"/>
              </a:cxn>
              <a:cxn ang="0">
                <a:pos x="connsiteX37445" y="connsiteY37445"/>
              </a:cxn>
              <a:cxn ang="0">
                <a:pos x="connsiteX37446" y="connsiteY37446"/>
              </a:cxn>
              <a:cxn ang="0">
                <a:pos x="connsiteX37447" y="connsiteY37447"/>
              </a:cxn>
              <a:cxn ang="0">
                <a:pos x="connsiteX37448" y="connsiteY37448"/>
              </a:cxn>
              <a:cxn ang="0">
                <a:pos x="connsiteX37449" y="connsiteY37449"/>
              </a:cxn>
              <a:cxn ang="0">
                <a:pos x="connsiteX37450" y="connsiteY37450"/>
              </a:cxn>
              <a:cxn ang="0">
                <a:pos x="connsiteX37451" y="connsiteY37451"/>
              </a:cxn>
              <a:cxn ang="0">
                <a:pos x="connsiteX37452" y="connsiteY37452"/>
              </a:cxn>
              <a:cxn ang="0">
                <a:pos x="connsiteX37453" y="connsiteY37453"/>
              </a:cxn>
              <a:cxn ang="0">
                <a:pos x="connsiteX37454" y="connsiteY37454"/>
              </a:cxn>
              <a:cxn ang="0">
                <a:pos x="connsiteX37455" y="connsiteY37455"/>
              </a:cxn>
              <a:cxn ang="0">
                <a:pos x="connsiteX37456" y="connsiteY37456"/>
              </a:cxn>
              <a:cxn ang="0">
                <a:pos x="connsiteX37457" y="connsiteY37457"/>
              </a:cxn>
              <a:cxn ang="0">
                <a:pos x="connsiteX37458" y="connsiteY37458"/>
              </a:cxn>
              <a:cxn ang="0">
                <a:pos x="connsiteX37459" y="connsiteY37459"/>
              </a:cxn>
              <a:cxn ang="0">
                <a:pos x="connsiteX37460" y="connsiteY37460"/>
              </a:cxn>
              <a:cxn ang="0">
                <a:pos x="connsiteX37461" y="connsiteY37461"/>
              </a:cxn>
              <a:cxn ang="0">
                <a:pos x="connsiteX37462" y="connsiteY37462"/>
              </a:cxn>
              <a:cxn ang="0">
                <a:pos x="connsiteX37463" y="connsiteY37463"/>
              </a:cxn>
              <a:cxn ang="0">
                <a:pos x="connsiteX37464" y="connsiteY37464"/>
              </a:cxn>
              <a:cxn ang="0">
                <a:pos x="connsiteX37465" y="connsiteY37465"/>
              </a:cxn>
              <a:cxn ang="0">
                <a:pos x="connsiteX37466" y="connsiteY37466"/>
              </a:cxn>
              <a:cxn ang="0">
                <a:pos x="connsiteX37467" y="connsiteY37467"/>
              </a:cxn>
              <a:cxn ang="0">
                <a:pos x="connsiteX37468" y="connsiteY37468"/>
              </a:cxn>
              <a:cxn ang="0">
                <a:pos x="connsiteX37469" y="connsiteY37469"/>
              </a:cxn>
              <a:cxn ang="0">
                <a:pos x="connsiteX37470" y="connsiteY37470"/>
              </a:cxn>
              <a:cxn ang="0">
                <a:pos x="connsiteX37471" y="connsiteY37471"/>
              </a:cxn>
              <a:cxn ang="0">
                <a:pos x="connsiteX37472" y="connsiteY37472"/>
              </a:cxn>
              <a:cxn ang="0">
                <a:pos x="connsiteX37473" y="connsiteY37473"/>
              </a:cxn>
              <a:cxn ang="0">
                <a:pos x="connsiteX37474" y="connsiteY37474"/>
              </a:cxn>
              <a:cxn ang="0">
                <a:pos x="connsiteX37475" y="connsiteY37475"/>
              </a:cxn>
              <a:cxn ang="0">
                <a:pos x="connsiteX37476" y="connsiteY37476"/>
              </a:cxn>
              <a:cxn ang="0">
                <a:pos x="connsiteX37477" y="connsiteY37477"/>
              </a:cxn>
              <a:cxn ang="0">
                <a:pos x="connsiteX37478" y="connsiteY37478"/>
              </a:cxn>
              <a:cxn ang="0">
                <a:pos x="connsiteX37479" y="connsiteY37479"/>
              </a:cxn>
              <a:cxn ang="0">
                <a:pos x="connsiteX37480" y="connsiteY37480"/>
              </a:cxn>
              <a:cxn ang="0">
                <a:pos x="connsiteX37481" y="connsiteY37481"/>
              </a:cxn>
              <a:cxn ang="0">
                <a:pos x="connsiteX37482" y="connsiteY37482"/>
              </a:cxn>
              <a:cxn ang="0">
                <a:pos x="connsiteX37483" y="connsiteY37483"/>
              </a:cxn>
              <a:cxn ang="0">
                <a:pos x="connsiteX37484" y="connsiteY37484"/>
              </a:cxn>
              <a:cxn ang="0">
                <a:pos x="connsiteX37485" y="connsiteY37485"/>
              </a:cxn>
              <a:cxn ang="0">
                <a:pos x="connsiteX37486" y="connsiteY37486"/>
              </a:cxn>
              <a:cxn ang="0">
                <a:pos x="connsiteX37487" y="connsiteY37487"/>
              </a:cxn>
              <a:cxn ang="0">
                <a:pos x="connsiteX37488" y="connsiteY37488"/>
              </a:cxn>
              <a:cxn ang="0">
                <a:pos x="connsiteX37489" y="connsiteY37489"/>
              </a:cxn>
              <a:cxn ang="0">
                <a:pos x="connsiteX37490" y="connsiteY37490"/>
              </a:cxn>
              <a:cxn ang="0">
                <a:pos x="connsiteX37491" y="connsiteY37491"/>
              </a:cxn>
              <a:cxn ang="0">
                <a:pos x="connsiteX37492" y="connsiteY37492"/>
              </a:cxn>
              <a:cxn ang="0">
                <a:pos x="connsiteX37493" y="connsiteY37493"/>
              </a:cxn>
              <a:cxn ang="0">
                <a:pos x="connsiteX37494" y="connsiteY37494"/>
              </a:cxn>
              <a:cxn ang="0">
                <a:pos x="connsiteX37495" y="connsiteY37495"/>
              </a:cxn>
              <a:cxn ang="0">
                <a:pos x="connsiteX37496" y="connsiteY37496"/>
              </a:cxn>
              <a:cxn ang="0">
                <a:pos x="connsiteX37497" y="connsiteY37497"/>
              </a:cxn>
              <a:cxn ang="0">
                <a:pos x="connsiteX37498" y="connsiteY37498"/>
              </a:cxn>
              <a:cxn ang="0">
                <a:pos x="connsiteX37499" y="connsiteY37499"/>
              </a:cxn>
              <a:cxn ang="0">
                <a:pos x="connsiteX37500" y="connsiteY37500"/>
              </a:cxn>
              <a:cxn ang="0">
                <a:pos x="connsiteX37501" y="connsiteY37501"/>
              </a:cxn>
              <a:cxn ang="0">
                <a:pos x="connsiteX37502" y="connsiteY37502"/>
              </a:cxn>
              <a:cxn ang="0">
                <a:pos x="connsiteX37503" y="connsiteY37503"/>
              </a:cxn>
              <a:cxn ang="0">
                <a:pos x="connsiteX37504" y="connsiteY37504"/>
              </a:cxn>
              <a:cxn ang="0">
                <a:pos x="connsiteX37505" y="connsiteY37505"/>
              </a:cxn>
              <a:cxn ang="0">
                <a:pos x="connsiteX37506" y="connsiteY37506"/>
              </a:cxn>
              <a:cxn ang="0">
                <a:pos x="connsiteX37507" y="connsiteY37507"/>
              </a:cxn>
              <a:cxn ang="0">
                <a:pos x="connsiteX37508" y="connsiteY37508"/>
              </a:cxn>
              <a:cxn ang="0">
                <a:pos x="connsiteX37509" y="connsiteY37509"/>
              </a:cxn>
              <a:cxn ang="0">
                <a:pos x="connsiteX37510" y="connsiteY37510"/>
              </a:cxn>
              <a:cxn ang="0">
                <a:pos x="connsiteX37511" y="connsiteY37511"/>
              </a:cxn>
              <a:cxn ang="0">
                <a:pos x="connsiteX37512" y="connsiteY37512"/>
              </a:cxn>
              <a:cxn ang="0">
                <a:pos x="connsiteX37513" y="connsiteY37513"/>
              </a:cxn>
              <a:cxn ang="0">
                <a:pos x="connsiteX37514" y="connsiteY37514"/>
              </a:cxn>
              <a:cxn ang="0">
                <a:pos x="connsiteX37515" y="connsiteY37515"/>
              </a:cxn>
              <a:cxn ang="0">
                <a:pos x="connsiteX37516" y="connsiteY37516"/>
              </a:cxn>
              <a:cxn ang="0">
                <a:pos x="connsiteX37517" y="connsiteY37517"/>
              </a:cxn>
              <a:cxn ang="0">
                <a:pos x="connsiteX37518" y="connsiteY37518"/>
              </a:cxn>
              <a:cxn ang="0">
                <a:pos x="connsiteX37519" y="connsiteY37519"/>
              </a:cxn>
              <a:cxn ang="0">
                <a:pos x="connsiteX37520" y="connsiteY37520"/>
              </a:cxn>
              <a:cxn ang="0">
                <a:pos x="connsiteX37521" y="connsiteY37521"/>
              </a:cxn>
              <a:cxn ang="0">
                <a:pos x="connsiteX37522" y="connsiteY37522"/>
              </a:cxn>
              <a:cxn ang="0">
                <a:pos x="connsiteX37523" y="connsiteY37523"/>
              </a:cxn>
              <a:cxn ang="0">
                <a:pos x="connsiteX37524" y="connsiteY37524"/>
              </a:cxn>
              <a:cxn ang="0">
                <a:pos x="connsiteX37525" y="connsiteY37525"/>
              </a:cxn>
              <a:cxn ang="0">
                <a:pos x="connsiteX37526" y="connsiteY37526"/>
              </a:cxn>
              <a:cxn ang="0">
                <a:pos x="connsiteX37527" y="connsiteY37527"/>
              </a:cxn>
              <a:cxn ang="0">
                <a:pos x="connsiteX37528" y="connsiteY37528"/>
              </a:cxn>
              <a:cxn ang="0">
                <a:pos x="connsiteX37529" y="connsiteY37529"/>
              </a:cxn>
              <a:cxn ang="0">
                <a:pos x="connsiteX37530" y="connsiteY37530"/>
              </a:cxn>
              <a:cxn ang="0">
                <a:pos x="connsiteX37531" y="connsiteY37531"/>
              </a:cxn>
              <a:cxn ang="0">
                <a:pos x="connsiteX37532" y="connsiteY37532"/>
              </a:cxn>
              <a:cxn ang="0">
                <a:pos x="connsiteX37533" y="connsiteY37533"/>
              </a:cxn>
              <a:cxn ang="0">
                <a:pos x="connsiteX37534" y="connsiteY37534"/>
              </a:cxn>
              <a:cxn ang="0">
                <a:pos x="connsiteX37535" y="connsiteY37535"/>
              </a:cxn>
              <a:cxn ang="0">
                <a:pos x="connsiteX37536" y="connsiteY37536"/>
              </a:cxn>
              <a:cxn ang="0">
                <a:pos x="connsiteX37537" y="connsiteY37537"/>
              </a:cxn>
              <a:cxn ang="0">
                <a:pos x="connsiteX37538" y="connsiteY37538"/>
              </a:cxn>
              <a:cxn ang="0">
                <a:pos x="connsiteX37539" y="connsiteY37539"/>
              </a:cxn>
              <a:cxn ang="0">
                <a:pos x="connsiteX37540" y="connsiteY37540"/>
              </a:cxn>
              <a:cxn ang="0">
                <a:pos x="connsiteX37541" y="connsiteY37541"/>
              </a:cxn>
              <a:cxn ang="0">
                <a:pos x="connsiteX37542" y="connsiteY37542"/>
              </a:cxn>
              <a:cxn ang="0">
                <a:pos x="connsiteX37543" y="connsiteY37543"/>
              </a:cxn>
              <a:cxn ang="0">
                <a:pos x="connsiteX37544" y="connsiteY37544"/>
              </a:cxn>
              <a:cxn ang="0">
                <a:pos x="connsiteX37545" y="connsiteY37545"/>
              </a:cxn>
              <a:cxn ang="0">
                <a:pos x="connsiteX37546" y="connsiteY37546"/>
              </a:cxn>
              <a:cxn ang="0">
                <a:pos x="connsiteX37547" y="connsiteY37547"/>
              </a:cxn>
              <a:cxn ang="0">
                <a:pos x="connsiteX37548" y="connsiteY37548"/>
              </a:cxn>
              <a:cxn ang="0">
                <a:pos x="connsiteX37549" y="connsiteY37549"/>
              </a:cxn>
              <a:cxn ang="0">
                <a:pos x="connsiteX37550" y="connsiteY37550"/>
              </a:cxn>
              <a:cxn ang="0">
                <a:pos x="connsiteX37551" y="connsiteY37551"/>
              </a:cxn>
              <a:cxn ang="0">
                <a:pos x="connsiteX37552" y="connsiteY37552"/>
              </a:cxn>
              <a:cxn ang="0">
                <a:pos x="connsiteX37553" y="connsiteY37553"/>
              </a:cxn>
              <a:cxn ang="0">
                <a:pos x="connsiteX37554" y="connsiteY37554"/>
              </a:cxn>
              <a:cxn ang="0">
                <a:pos x="connsiteX37555" y="connsiteY37555"/>
              </a:cxn>
              <a:cxn ang="0">
                <a:pos x="connsiteX37556" y="connsiteY37556"/>
              </a:cxn>
              <a:cxn ang="0">
                <a:pos x="connsiteX37557" y="connsiteY37557"/>
              </a:cxn>
              <a:cxn ang="0">
                <a:pos x="connsiteX37558" y="connsiteY37558"/>
              </a:cxn>
              <a:cxn ang="0">
                <a:pos x="connsiteX37559" y="connsiteY37559"/>
              </a:cxn>
              <a:cxn ang="0">
                <a:pos x="connsiteX37560" y="connsiteY37560"/>
              </a:cxn>
              <a:cxn ang="0">
                <a:pos x="connsiteX37561" y="connsiteY37561"/>
              </a:cxn>
              <a:cxn ang="0">
                <a:pos x="connsiteX37562" y="connsiteY37562"/>
              </a:cxn>
              <a:cxn ang="0">
                <a:pos x="connsiteX37563" y="connsiteY37563"/>
              </a:cxn>
              <a:cxn ang="0">
                <a:pos x="connsiteX37564" y="connsiteY37564"/>
              </a:cxn>
              <a:cxn ang="0">
                <a:pos x="connsiteX37565" y="connsiteY37565"/>
              </a:cxn>
              <a:cxn ang="0">
                <a:pos x="connsiteX37566" y="connsiteY37566"/>
              </a:cxn>
              <a:cxn ang="0">
                <a:pos x="connsiteX37567" y="connsiteY37567"/>
              </a:cxn>
              <a:cxn ang="0">
                <a:pos x="connsiteX37568" y="connsiteY37568"/>
              </a:cxn>
              <a:cxn ang="0">
                <a:pos x="connsiteX37569" y="connsiteY37569"/>
              </a:cxn>
              <a:cxn ang="0">
                <a:pos x="connsiteX37570" y="connsiteY37570"/>
              </a:cxn>
              <a:cxn ang="0">
                <a:pos x="connsiteX37571" y="connsiteY37571"/>
              </a:cxn>
              <a:cxn ang="0">
                <a:pos x="connsiteX37572" y="connsiteY37572"/>
              </a:cxn>
              <a:cxn ang="0">
                <a:pos x="connsiteX37573" y="connsiteY37573"/>
              </a:cxn>
              <a:cxn ang="0">
                <a:pos x="connsiteX37574" y="connsiteY37574"/>
              </a:cxn>
              <a:cxn ang="0">
                <a:pos x="connsiteX37575" y="connsiteY37575"/>
              </a:cxn>
              <a:cxn ang="0">
                <a:pos x="connsiteX37576" y="connsiteY37576"/>
              </a:cxn>
              <a:cxn ang="0">
                <a:pos x="connsiteX37577" y="connsiteY37577"/>
              </a:cxn>
              <a:cxn ang="0">
                <a:pos x="connsiteX37578" y="connsiteY37578"/>
              </a:cxn>
              <a:cxn ang="0">
                <a:pos x="connsiteX37579" y="connsiteY37579"/>
              </a:cxn>
              <a:cxn ang="0">
                <a:pos x="connsiteX37580" y="connsiteY37580"/>
              </a:cxn>
              <a:cxn ang="0">
                <a:pos x="connsiteX37581" y="connsiteY37581"/>
              </a:cxn>
              <a:cxn ang="0">
                <a:pos x="connsiteX37582" y="connsiteY37582"/>
              </a:cxn>
              <a:cxn ang="0">
                <a:pos x="connsiteX37583" y="connsiteY37583"/>
              </a:cxn>
              <a:cxn ang="0">
                <a:pos x="connsiteX37584" y="connsiteY37584"/>
              </a:cxn>
              <a:cxn ang="0">
                <a:pos x="connsiteX37585" y="connsiteY37585"/>
              </a:cxn>
              <a:cxn ang="0">
                <a:pos x="connsiteX37586" y="connsiteY37586"/>
              </a:cxn>
              <a:cxn ang="0">
                <a:pos x="connsiteX37587" y="connsiteY37587"/>
              </a:cxn>
              <a:cxn ang="0">
                <a:pos x="connsiteX37588" y="connsiteY37588"/>
              </a:cxn>
              <a:cxn ang="0">
                <a:pos x="connsiteX37589" y="connsiteY37589"/>
              </a:cxn>
              <a:cxn ang="0">
                <a:pos x="connsiteX37590" y="connsiteY37590"/>
              </a:cxn>
              <a:cxn ang="0">
                <a:pos x="connsiteX37591" y="connsiteY37591"/>
              </a:cxn>
              <a:cxn ang="0">
                <a:pos x="connsiteX37592" y="connsiteY37592"/>
              </a:cxn>
              <a:cxn ang="0">
                <a:pos x="connsiteX37593" y="connsiteY37593"/>
              </a:cxn>
              <a:cxn ang="0">
                <a:pos x="connsiteX37594" y="connsiteY37594"/>
              </a:cxn>
              <a:cxn ang="0">
                <a:pos x="connsiteX37595" y="connsiteY37595"/>
              </a:cxn>
              <a:cxn ang="0">
                <a:pos x="connsiteX37596" y="connsiteY37596"/>
              </a:cxn>
              <a:cxn ang="0">
                <a:pos x="connsiteX37597" y="connsiteY37597"/>
              </a:cxn>
              <a:cxn ang="0">
                <a:pos x="connsiteX37598" y="connsiteY37598"/>
              </a:cxn>
              <a:cxn ang="0">
                <a:pos x="connsiteX37599" y="connsiteY37599"/>
              </a:cxn>
              <a:cxn ang="0">
                <a:pos x="connsiteX37600" y="connsiteY37600"/>
              </a:cxn>
              <a:cxn ang="0">
                <a:pos x="connsiteX37601" y="connsiteY37601"/>
              </a:cxn>
              <a:cxn ang="0">
                <a:pos x="connsiteX37602" y="connsiteY37602"/>
              </a:cxn>
              <a:cxn ang="0">
                <a:pos x="connsiteX37603" y="connsiteY37603"/>
              </a:cxn>
              <a:cxn ang="0">
                <a:pos x="connsiteX37604" y="connsiteY37604"/>
              </a:cxn>
              <a:cxn ang="0">
                <a:pos x="connsiteX37605" y="connsiteY37605"/>
              </a:cxn>
              <a:cxn ang="0">
                <a:pos x="connsiteX37606" y="connsiteY37606"/>
              </a:cxn>
              <a:cxn ang="0">
                <a:pos x="connsiteX37607" y="connsiteY37607"/>
              </a:cxn>
              <a:cxn ang="0">
                <a:pos x="connsiteX37608" y="connsiteY37608"/>
              </a:cxn>
              <a:cxn ang="0">
                <a:pos x="connsiteX37609" y="connsiteY37609"/>
              </a:cxn>
              <a:cxn ang="0">
                <a:pos x="connsiteX37610" y="connsiteY37610"/>
              </a:cxn>
              <a:cxn ang="0">
                <a:pos x="connsiteX37611" y="connsiteY37611"/>
              </a:cxn>
              <a:cxn ang="0">
                <a:pos x="connsiteX37612" y="connsiteY37612"/>
              </a:cxn>
              <a:cxn ang="0">
                <a:pos x="connsiteX37613" y="connsiteY37613"/>
              </a:cxn>
              <a:cxn ang="0">
                <a:pos x="connsiteX37614" y="connsiteY37614"/>
              </a:cxn>
              <a:cxn ang="0">
                <a:pos x="connsiteX37615" y="connsiteY37615"/>
              </a:cxn>
              <a:cxn ang="0">
                <a:pos x="connsiteX37616" y="connsiteY37616"/>
              </a:cxn>
              <a:cxn ang="0">
                <a:pos x="connsiteX37617" y="connsiteY37617"/>
              </a:cxn>
              <a:cxn ang="0">
                <a:pos x="connsiteX37618" y="connsiteY37618"/>
              </a:cxn>
              <a:cxn ang="0">
                <a:pos x="connsiteX37619" y="connsiteY37619"/>
              </a:cxn>
              <a:cxn ang="0">
                <a:pos x="connsiteX37620" y="connsiteY37620"/>
              </a:cxn>
              <a:cxn ang="0">
                <a:pos x="connsiteX37621" y="connsiteY37621"/>
              </a:cxn>
              <a:cxn ang="0">
                <a:pos x="connsiteX37622" y="connsiteY37622"/>
              </a:cxn>
              <a:cxn ang="0">
                <a:pos x="connsiteX37623" y="connsiteY37623"/>
              </a:cxn>
              <a:cxn ang="0">
                <a:pos x="connsiteX37624" y="connsiteY37624"/>
              </a:cxn>
              <a:cxn ang="0">
                <a:pos x="connsiteX37625" y="connsiteY37625"/>
              </a:cxn>
              <a:cxn ang="0">
                <a:pos x="connsiteX37626" y="connsiteY37626"/>
              </a:cxn>
              <a:cxn ang="0">
                <a:pos x="connsiteX37627" y="connsiteY37627"/>
              </a:cxn>
              <a:cxn ang="0">
                <a:pos x="connsiteX37628" y="connsiteY37628"/>
              </a:cxn>
              <a:cxn ang="0">
                <a:pos x="connsiteX37629" y="connsiteY37629"/>
              </a:cxn>
              <a:cxn ang="0">
                <a:pos x="connsiteX37630" y="connsiteY37630"/>
              </a:cxn>
              <a:cxn ang="0">
                <a:pos x="connsiteX37631" y="connsiteY37631"/>
              </a:cxn>
              <a:cxn ang="0">
                <a:pos x="connsiteX37632" y="connsiteY37632"/>
              </a:cxn>
              <a:cxn ang="0">
                <a:pos x="connsiteX37633" y="connsiteY37633"/>
              </a:cxn>
              <a:cxn ang="0">
                <a:pos x="connsiteX37634" y="connsiteY37634"/>
              </a:cxn>
              <a:cxn ang="0">
                <a:pos x="connsiteX37635" y="connsiteY37635"/>
              </a:cxn>
              <a:cxn ang="0">
                <a:pos x="connsiteX37636" y="connsiteY37636"/>
              </a:cxn>
              <a:cxn ang="0">
                <a:pos x="connsiteX37637" y="connsiteY37637"/>
              </a:cxn>
              <a:cxn ang="0">
                <a:pos x="connsiteX37638" y="connsiteY37638"/>
              </a:cxn>
              <a:cxn ang="0">
                <a:pos x="connsiteX37639" y="connsiteY37639"/>
              </a:cxn>
              <a:cxn ang="0">
                <a:pos x="connsiteX37640" y="connsiteY37640"/>
              </a:cxn>
              <a:cxn ang="0">
                <a:pos x="connsiteX37641" y="connsiteY37641"/>
              </a:cxn>
              <a:cxn ang="0">
                <a:pos x="connsiteX37642" y="connsiteY37642"/>
              </a:cxn>
              <a:cxn ang="0">
                <a:pos x="connsiteX37643" y="connsiteY37643"/>
              </a:cxn>
              <a:cxn ang="0">
                <a:pos x="connsiteX37644" y="connsiteY37644"/>
              </a:cxn>
              <a:cxn ang="0">
                <a:pos x="connsiteX37645" y="connsiteY37645"/>
              </a:cxn>
              <a:cxn ang="0">
                <a:pos x="connsiteX37646" y="connsiteY37646"/>
              </a:cxn>
              <a:cxn ang="0">
                <a:pos x="connsiteX37647" y="connsiteY37647"/>
              </a:cxn>
              <a:cxn ang="0">
                <a:pos x="connsiteX37648" y="connsiteY37648"/>
              </a:cxn>
              <a:cxn ang="0">
                <a:pos x="connsiteX37649" y="connsiteY37649"/>
              </a:cxn>
              <a:cxn ang="0">
                <a:pos x="connsiteX37650" y="connsiteY37650"/>
              </a:cxn>
              <a:cxn ang="0">
                <a:pos x="connsiteX37651" y="connsiteY37651"/>
              </a:cxn>
              <a:cxn ang="0">
                <a:pos x="connsiteX37652" y="connsiteY37652"/>
              </a:cxn>
              <a:cxn ang="0">
                <a:pos x="connsiteX37653" y="connsiteY37653"/>
              </a:cxn>
              <a:cxn ang="0">
                <a:pos x="connsiteX37654" y="connsiteY37654"/>
              </a:cxn>
              <a:cxn ang="0">
                <a:pos x="connsiteX37655" y="connsiteY37655"/>
              </a:cxn>
              <a:cxn ang="0">
                <a:pos x="connsiteX37656" y="connsiteY37656"/>
              </a:cxn>
              <a:cxn ang="0">
                <a:pos x="connsiteX37657" y="connsiteY37657"/>
              </a:cxn>
              <a:cxn ang="0">
                <a:pos x="connsiteX37658" y="connsiteY37658"/>
              </a:cxn>
              <a:cxn ang="0">
                <a:pos x="connsiteX37659" y="connsiteY37659"/>
              </a:cxn>
              <a:cxn ang="0">
                <a:pos x="connsiteX37660" y="connsiteY37660"/>
              </a:cxn>
              <a:cxn ang="0">
                <a:pos x="connsiteX37661" y="connsiteY37661"/>
              </a:cxn>
              <a:cxn ang="0">
                <a:pos x="connsiteX37662" y="connsiteY37662"/>
              </a:cxn>
              <a:cxn ang="0">
                <a:pos x="connsiteX37663" y="connsiteY37663"/>
              </a:cxn>
              <a:cxn ang="0">
                <a:pos x="connsiteX37664" y="connsiteY37664"/>
              </a:cxn>
              <a:cxn ang="0">
                <a:pos x="connsiteX37665" y="connsiteY37665"/>
              </a:cxn>
              <a:cxn ang="0">
                <a:pos x="connsiteX37666" y="connsiteY37666"/>
              </a:cxn>
              <a:cxn ang="0">
                <a:pos x="connsiteX37667" y="connsiteY37667"/>
              </a:cxn>
              <a:cxn ang="0">
                <a:pos x="connsiteX37668" y="connsiteY37668"/>
              </a:cxn>
              <a:cxn ang="0">
                <a:pos x="connsiteX37669" y="connsiteY37669"/>
              </a:cxn>
              <a:cxn ang="0">
                <a:pos x="connsiteX37670" y="connsiteY37670"/>
              </a:cxn>
              <a:cxn ang="0">
                <a:pos x="connsiteX37671" y="connsiteY37671"/>
              </a:cxn>
              <a:cxn ang="0">
                <a:pos x="connsiteX37672" y="connsiteY37672"/>
              </a:cxn>
              <a:cxn ang="0">
                <a:pos x="connsiteX37673" y="connsiteY37673"/>
              </a:cxn>
              <a:cxn ang="0">
                <a:pos x="connsiteX37674" y="connsiteY37674"/>
              </a:cxn>
              <a:cxn ang="0">
                <a:pos x="connsiteX37675" y="connsiteY37675"/>
              </a:cxn>
              <a:cxn ang="0">
                <a:pos x="connsiteX37676" y="connsiteY37676"/>
              </a:cxn>
              <a:cxn ang="0">
                <a:pos x="connsiteX37677" y="connsiteY37677"/>
              </a:cxn>
              <a:cxn ang="0">
                <a:pos x="connsiteX37678" y="connsiteY37678"/>
              </a:cxn>
              <a:cxn ang="0">
                <a:pos x="connsiteX37679" y="connsiteY37679"/>
              </a:cxn>
              <a:cxn ang="0">
                <a:pos x="connsiteX37680" y="connsiteY37680"/>
              </a:cxn>
              <a:cxn ang="0">
                <a:pos x="connsiteX37681" y="connsiteY37681"/>
              </a:cxn>
              <a:cxn ang="0">
                <a:pos x="connsiteX37682" y="connsiteY37682"/>
              </a:cxn>
              <a:cxn ang="0">
                <a:pos x="connsiteX37683" y="connsiteY37683"/>
              </a:cxn>
              <a:cxn ang="0">
                <a:pos x="connsiteX37684" y="connsiteY37684"/>
              </a:cxn>
              <a:cxn ang="0">
                <a:pos x="connsiteX37685" y="connsiteY37685"/>
              </a:cxn>
              <a:cxn ang="0">
                <a:pos x="connsiteX37686" y="connsiteY37686"/>
              </a:cxn>
              <a:cxn ang="0">
                <a:pos x="connsiteX37687" y="connsiteY37687"/>
              </a:cxn>
              <a:cxn ang="0">
                <a:pos x="connsiteX37688" y="connsiteY37688"/>
              </a:cxn>
              <a:cxn ang="0">
                <a:pos x="connsiteX37689" y="connsiteY37689"/>
              </a:cxn>
              <a:cxn ang="0">
                <a:pos x="connsiteX37690" y="connsiteY37690"/>
              </a:cxn>
              <a:cxn ang="0">
                <a:pos x="connsiteX37691" y="connsiteY37691"/>
              </a:cxn>
              <a:cxn ang="0">
                <a:pos x="connsiteX37692" y="connsiteY37692"/>
              </a:cxn>
              <a:cxn ang="0">
                <a:pos x="connsiteX37693" y="connsiteY37693"/>
              </a:cxn>
              <a:cxn ang="0">
                <a:pos x="connsiteX37694" y="connsiteY37694"/>
              </a:cxn>
              <a:cxn ang="0">
                <a:pos x="connsiteX37695" y="connsiteY37695"/>
              </a:cxn>
              <a:cxn ang="0">
                <a:pos x="connsiteX37696" y="connsiteY37696"/>
              </a:cxn>
              <a:cxn ang="0">
                <a:pos x="connsiteX37697" y="connsiteY37697"/>
              </a:cxn>
              <a:cxn ang="0">
                <a:pos x="connsiteX37698" y="connsiteY37698"/>
              </a:cxn>
              <a:cxn ang="0">
                <a:pos x="connsiteX37699" y="connsiteY37699"/>
              </a:cxn>
              <a:cxn ang="0">
                <a:pos x="connsiteX37700" y="connsiteY37700"/>
              </a:cxn>
              <a:cxn ang="0">
                <a:pos x="connsiteX37701" y="connsiteY37701"/>
              </a:cxn>
              <a:cxn ang="0">
                <a:pos x="connsiteX37702" y="connsiteY37702"/>
              </a:cxn>
              <a:cxn ang="0">
                <a:pos x="connsiteX37703" y="connsiteY37703"/>
              </a:cxn>
              <a:cxn ang="0">
                <a:pos x="connsiteX37704" y="connsiteY37704"/>
              </a:cxn>
              <a:cxn ang="0">
                <a:pos x="connsiteX37705" y="connsiteY37705"/>
              </a:cxn>
              <a:cxn ang="0">
                <a:pos x="connsiteX37706" y="connsiteY37706"/>
              </a:cxn>
              <a:cxn ang="0">
                <a:pos x="connsiteX37707" y="connsiteY37707"/>
              </a:cxn>
              <a:cxn ang="0">
                <a:pos x="connsiteX37708" y="connsiteY37708"/>
              </a:cxn>
              <a:cxn ang="0">
                <a:pos x="connsiteX37709" y="connsiteY37709"/>
              </a:cxn>
              <a:cxn ang="0">
                <a:pos x="connsiteX37710" y="connsiteY37710"/>
              </a:cxn>
              <a:cxn ang="0">
                <a:pos x="connsiteX37711" y="connsiteY37711"/>
              </a:cxn>
              <a:cxn ang="0">
                <a:pos x="connsiteX37712" y="connsiteY37712"/>
              </a:cxn>
              <a:cxn ang="0">
                <a:pos x="connsiteX37713" y="connsiteY37713"/>
              </a:cxn>
              <a:cxn ang="0">
                <a:pos x="connsiteX37714" y="connsiteY37714"/>
              </a:cxn>
              <a:cxn ang="0">
                <a:pos x="connsiteX37715" y="connsiteY37715"/>
              </a:cxn>
              <a:cxn ang="0">
                <a:pos x="connsiteX37716" y="connsiteY37716"/>
              </a:cxn>
              <a:cxn ang="0">
                <a:pos x="connsiteX37717" y="connsiteY37717"/>
              </a:cxn>
              <a:cxn ang="0">
                <a:pos x="connsiteX37718" y="connsiteY37718"/>
              </a:cxn>
              <a:cxn ang="0">
                <a:pos x="connsiteX37719" y="connsiteY37719"/>
              </a:cxn>
              <a:cxn ang="0">
                <a:pos x="connsiteX37720" y="connsiteY37720"/>
              </a:cxn>
              <a:cxn ang="0">
                <a:pos x="connsiteX37721" y="connsiteY37721"/>
              </a:cxn>
              <a:cxn ang="0">
                <a:pos x="connsiteX37722" y="connsiteY37722"/>
              </a:cxn>
              <a:cxn ang="0">
                <a:pos x="connsiteX37723" y="connsiteY37723"/>
              </a:cxn>
              <a:cxn ang="0">
                <a:pos x="connsiteX37724" y="connsiteY37724"/>
              </a:cxn>
              <a:cxn ang="0">
                <a:pos x="connsiteX37725" y="connsiteY37725"/>
              </a:cxn>
              <a:cxn ang="0">
                <a:pos x="connsiteX37726" y="connsiteY37726"/>
              </a:cxn>
              <a:cxn ang="0">
                <a:pos x="connsiteX37727" y="connsiteY37727"/>
              </a:cxn>
              <a:cxn ang="0">
                <a:pos x="connsiteX37728" y="connsiteY37728"/>
              </a:cxn>
              <a:cxn ang="0">
                <a:pos x="connsiteX37729" y="connsiteY37729"/>
              </a:cxn>
              <a:cxn ang="0">
                <a:pos x="connsiteX37730" y="connsiteY37730"/>
              </a:cxn>
              <a:cxn ang="0">
                <a:pos x="connsiteX37731" y="connsiteY37731"/>
              </a:cxn>
              <a:cxn ang="0">
                <a:pos x="connsiteX37732" y="connsiteY37732"/>
              </a:cxn>
              <a:cxn ang="0">
                <a:pos x="connsiteX37733" y="connsiteY37733"/>
              </a:cxn>
              <a:cxn ang="0">
                <a:pos x="connsiteX37734" y="connsiteY37734"/>
              </a:cxn>
              <a:cxn ang="0">
                <a:pos x="connsiteX37735" y="connsiteY37735"/>
              </a:cxn>
              <a:cxn ang="0">
                <a:pos x="connsiteX37736" y="connsiteY37736"/>
              </a:cxn>
              <a:cxn ang="0">
                <a:pos x="connsiteX37737" y="connsiteY37737"/>
              </a:cxn>
              <a:cxn ang="0">
                <a:pos x="connsiteX37738" y="connsiteY37738"/>
              </a:cxn>
              <a:cxn ang="0">
                <a:pos x="connsiteX37739" y="connsiteY37739"/>
              </a:cxn>
              <a:cxn ang="0">
                <a:pos x="connsiteX37740" y="connsiteY37740"/>
              </a:cxn>
              <a:cxn ang="0">
                <a:pos x="connsiteX37741" y="connsiteY37741"/>
              </a:cxn>
              <a:cxn ang="0">
                <a:pos x="connsiteX37742" y="connsiteY37742"/>
              </a:cxn>
              <a:cxn ang="0">
                <a:pos x="connsiteX37743" y="connsiteY37743"/>
              </a:cxn>
              <a:cxn ang="0">
                <a:pos x="connsiteX37744" y="connsiteY37744"/>
              </a:cxn>
              <a:cxn ang="0">
                <a:pos x="connsiteX37745" y="connsiteY37745"/>
              </a:cxn>
              <a:cxn ang="0">
                <a:pos x="connsiteX37746" y="connsiteY37746"/>
              </a:cxn>
              <a:cxn ang="0">
                <a:pos x="connsiteX37747" y="connsiteY37747"/>
              </a:cxn>
              <a:cxn ang="0">
                <a:pos x="connsiteX37748" y="connsiteY37748"/>
              </a:cxn>
              <a:cxn ang="0">
                <a:pos x="connsiteX37749" y="connsiteY37749"/>
              </a:cxn>
              <a:cxn ang="0">
                <a:pos x="connsiteX37750" y="connsiteY37750"/>
              </a:cxn>
              <a:cxn ang="0">
                <a:pos x="connsiteX37751" y="connsiteY37751"/>
              </a:cxn>
              <a:cxn ang="0">
                <a:pos x="connsiteX37752" y="connsiteY37752"/>
              </a:cxn>
              <a:cxn ang="0">
                <a:pos x="connsiteX37753" y="connsiteY37753"/>
              </a:cxn>
              <a:cxn ang="0">
                <a:pos x="connsiteX37754" y="connsiteY37754"/>
              </a:cxn>
              <a:cxn ang="0">
                <a:pos x="connsiteX37755" y="connsiteY37755"/>
              </a:cxn>
              <a:cxn ang="0">
                <a:pos x="connsiteX37756" y="connsiteY37756"/>
              </a:cxn>
              <a:cxn ang="0">
                <a:pos x="connsiteX37757" y="connsiteY37757"/>
              </a:cxn>
              <a:cxn ang="0">
                <a:pos x="connsiteX37758" y="connsiteY37758"/>
              </a:cxn>
              <a:cxn ang="0">
                <a:pos x="connsiteX37759" y="connsiteY37759"/>
              </a:cxn>
              <a:cxn ang="0">
                <a:pos x="connsiteX37760" y="connsiteY37760"/>
              </a:cxn>
              <a:cxn ang="0">
                <a:pos x="connsiteX37761" y="connsiteY37761"/>
              </a:cxn>
              <a:cxn ang="0">
                <a:pos x="connsiteX37762" y="connsiteY37762"/>
              </a:cxn>
              <a:cxn ang="0">
                <a:pos x="connsiteX37763" y="connsiteY37763"/>
              </a:cxn>
              <a:cxn ang="0">
                <a:pos x="connsiteX37764" y="connsiteY37764"/>
              </a:cxn>
              <a:cxn ang="0">
                <a:pos x="connsiteX37765" y="connsiteY37765"/>
              </a:cxn>
              <a:cxn ang="0">
                <a:pos x="connsiteX37766" y="connsiteY37766"/>
              </a:cxn>
              <a:cxn ang="0">
                <a:pos x="connsiteX37767" y="connsiteY37767"/>
              </a:cxn>
              <a:cxn ang="0">
                <a:pos x="connsiteX37768" y="connsiteY37768"/>
              </a:cxn>
              <a:cxn ang="0">
                <a:pos x="connsiteX37769" y="connsiteY37769"/>
              </a:cxn>
              <a:cxn ang="0">
                <a:pos x="connsiteX37770" y="connsiteY37770"/>
              </a:cxn>
              <a:cxn ang="0">
                <a:pos x="connsiteX37771" y="connsiteY37771"/>
              </a:cxn>
              <a:cxn ang="0">
                <a:pos x="connsiteX37772" y="connsiteY37772"/>
              </a:cxn>
              <a:cxn ang="0">
                <a:pos x="connsiteX37773" y="connsiteY37773"/>
              </a:cxn>
              <a:cxn ang="0">
                <a:pos x="connsiteX37774" y="connsiteY37774"/>
              </a:cxn>
              <a:cxn ang="0">
                <a:pos x="connsiteX37775" y="connsiteY37775"/>
              </a:cxn>
              <a:cxn ang="0">
                <a:pos x="connsiteX37776" y="connsiteY37776"/>
              </a:cxn>
              <a:cxn ang="0">
                <a:pos x="connsiteX37777" y="connsiteY37777"/>
              </a:cxn>
              <a:cxn ang="0">
                <a:pos x="connsiteX37778" y="connsiteY37778"/>
              </a:cxn>
              <a:cxn ang="0">
                <a:pos x="connsiteX37779" y="connsiteY37779"/>
              </a:cxn>
              <a:cxn ang="0">
                <a:pos x="connsiteX37780" y="connsiteY37780"/>
              </a:cxn>
              <a:cxn ang="0">
                <a:pos x="connsiteX37781" y="connsiteY37781"/>
              </a:cxn>
              <a:cxn ang="0">
                <a:pos x="connsiteX37782" y="connsiteY37782"/>
              </a:cxn>
              <a:cxn ang="0">
                <a:pos x="connsiteX37783" y="connsiteY37783"/>
              </a:cxn>
              <a:cxn ang="0">
                <a:pos x="connsiteX37784" y="connsiteY37784"/>
              </a:cxn>
              <a:cxn ang="0">
                <a:pos x="connsiteX37785" y="connsiteY37785"/>
              </a:cxn>
              <a:cxn ang="0">
                <a:pos x="connsiteX37786" y="connsiteY37786"/>
              </a:cxn>
              <a:cxn ang="0">
                <a:pos x="connsiteX37787" y="connsiteY37787"/>
              </a:cxn>
              <a:cxn ang="0">
                <a:pos x="connsiteX37788" y="connsiteY37788"/>
              </a:cxn>
              <a:cxn ang="0">
                <a:pos x="connsiteX37789" y="connsiteY37789"/>
              </a:cxn>
              <a:cxn ang="0">
                <a:pos x="connsiteX37790" y="connsiteY37790"/>
              </a:cxn>
              <a:cxn ang="0">
                <a:pos x="connsiteX37791" y="connsiteY37791"/>
              </a:cxn>
              <a:cxn ang="0">
                <a:pos x="connsiteX37792" y="connsiteY37792"/>
              </a:cxn>
              <a:cxn ang="0">
                <a:pos x="connsiteX37793" y="connsiteY37793"/>
              </a:cxn>
              <a:cxn ang="0">
                <a:pos x="connsiteX37794" y="connsiteY37794"/>
              </a:cxn>
              <a:cxn ang="0">
                <a:pos x="connsiteX37795" y="connsiteY37795"/>
              </a:cxn>
              <a:cxn ang="0">
                <a:pos x="connsiteX37796" y="connsiteY37796"/>
              </a:cxn>
              <a:cxn ang="0">
                <a:pos x="connsiteX37797" y="connsiteY37797"/>
              </a:cxn>
              <a:cxn ang="0">
                <a:pos x="connsiteX37798" y="connsiteY37798"/>
              </a:cxn>
              <a:cxn ang="0">
                <a:pos x="connsiteX37799" y="connsiteY37799"/>
              </a:cxn>
              <a:cxn ang="0">
                <a:pos x="connsiteX37800" y="connsiteY37800"/>
              </a:cxn>
              <a:cxn ang="0">
                <a:pos x="connsiteX37801" y="connsiteY37801"/>
              </a:cxn>
              <a:cxn ang="0">
                <a:pos x="connsiteX37802" y="connsiteY37802"/>
              </a:cxn>
              <a:cxn ang="0">
                <a:pos x="connsiteX37803" y="connsiteY37803"/>
              </a:cxn>
              <a:cxn ang="0">
                <a:pos x="connsiteX37804" y="connsiteY37804"/>
              </a:cxn>
              <a:cxn ang="0">
                <a:pos x="connsiteX37805" y="connsiteY37805"/>
              </a:cxn>
              <a:cxn ang="0">
                <a:pos x="connsiteX37806" y="connsiteY37806"/>
              </a:cxn>
              <a:cxn ang="0">
                <a:pos x="connsiteX37807" y="connsiteY37807"/>
              </a:cxn>
              <a:cxn ang="0">
                <a:pos x="connsiteX37808" y="connsiteY37808"/>
              </a:cxn>
              <a:cxn ang="0">
                <a:pos x="connsiteX37809" y="connsiteY37809"/>
              </a:cxn>
              <a:cxn ang="0">
                <a:pos x="connsiteX37810" y="connsiteY37810"/>
              </a:cxn>
              <a:cxn ang="0">
                <a:pos x="connsiteX37811" y="connsiteY37811"/>
              </a:cxn>
              <a:cxn ang="0">
                <a:pos x="connsiteX37812" y="connsiteY37812"/>
              </a:cxn>
              <a:cxn ang="0">
                <a:pos x="connsiteX37813" y="connsiteY37813"/>
              </a:cxn>
              <a:cxn ang="0">
                <a:pos x="connsiteX37814" y="connsiteY37814"/>
              </a:cxn>
              <a:cxn ang="0">
                <a:pos x="connsiteX37815" y="connsiteY37815"/>
              </a:cxn>
              <a:cxn ang="0">
                <a:pos x="connsiteX37816" y="connsiteY37816"/>
              </a:cxn>
              <a:cxn ang="0">
                <a:pos x="connsiteX37817" y="connsiteY37817"/>
              </a:cxn>
              <a:cxn ang="0">
                <a:pos x="connsiteX37818" y="connsiteY37818"/>
              </a:cxn>
              <a:cxn ang="0">
                <a:pos x="connsiteX37819" y="connsiteY37819"/>
              </a:cxn>
              <a:cxn ang="0">
                <a:pos x="connsiteX37820" y="connsiteY37820"/>
              </a:cxn>
              <a:cxn ang="0">
                <a:pos x="connsiteX37821" y="connsiteY37821"/>
              </a:cxn>
              <a:cxn ang="0">
                <a:pos x="connsiteX37822" y="connsiteY37822"/>
              </a:cxn>
              <a:cxn ang="0">
                <a:pos x="connsiteX37823" y="connsiteY37823"/>
              </a:cxn>
              <a:cxn ang="0">
                <a:pos x="connsiteX37824" y="connsiteY37824"/>
              </a:cxn>
              <a:cxn ang="0">
                <a:pos x="connsiteX37825" y="connsiteY37825"/>
              </a:cxn>
              <a:cxn ang="0">
                <a:pos x="connsiteX37826" y="connsiteY37826"/>
              </a:cxn>
              <a:cxn ang="0">
                <a:pos x="connsiteX37827" y="connsiteY37827"/>
              </a:cxn>
              <a:cxn ang="0">
                <a:pos x="connsiteX37828" y="connsiteY37828"/>
              </a:cxn>
              <a:cxn ang="0">
                <a:pos x="connsiteX37829" y="connsiteY37829"/>
              </a:cxn>
              <a:cxn ang="0">
                <a:pos x="connsiteX37830" y="connsiteY37830"/>
              </a:cxn>
              <a:cxn ang="0">
                <a:pos x="connsiteX37831" y="connsiteY37831"/>
              </a:cxn>
              <a:cxn ang="0">
                <a:pos x="connsiteX37832" y="connsiteY37832"/>
              </a:cxn>
              <a:cxn ang="0">
                <a:pos x="connsiteX37833" y="connsiteY37833"/>
              </a:cxn>
              <a:cxn ang="0">
                <a:pos x="connsiteX37834" y="connsiteY37834"/>
              </a:cxn>
              <a:cxn ang="0">
                <a:pos x="connsiteX37835" y="connsiteY37835"/>
              </a:cxn>
              <a:cxn ang="0">
                <a:pos x="connsiteX37836" y="connsiteY37836"/>
              </a:cxn>
              <a:cxn ang="0">
                <a:pos x="connsiteX37837" y="connsiteY37837"/>
              </a:cxn>
              <a:cxn ang="0">
                <a:pos x="connsiteX37838" y="connsiteY37838"/>
              </a:cxn>
              <a:cxn ang="0">
                <a:pos x="connsiteX37839" y="connsiteY37839"/>
              </a:cxn>
              <a:cxn ang="0">
                <a:pos x="connsiteX37840" y="connsiteY37840"/>
              </a:cxn>
              <a:cxn ang="0">
                <a:pos x="connsiteX37841" y="connsiteY37841"/>
              </a:cxn>
              <a:cxn ang="0">
                <a:pos x="connsiteX37842" y="connsiteY37842"/>
              </a:cxn>
              <a:cxn ang="0">
                <a:pos x="connsiteX37843" y="connsiteY37843"/>
              </a:cxn>
              <a:cxn ang="0">
                <a:pos x="connsiteX37844" y="connsiteY37844"/>
              </a:cxn>
              <a:cxn ang="0">
                <a:pos x="connsiteX37845" y="connsiteY37845"/>
              </a:cxn>
              <a:cxn ang="0">
                <a:pos x="connsiteX37846" y="connsiteY37846"/>
              </a:cxn>
              <a:cxn ang="0">
                <a:pos x="connsiteX37847" y="connsiteY37847"/>
              </a:cxn>
              <a:cxn ang="0">
                <a:pos x="connsiteX37848" y="connsiteY37848"/>
              </a:cxn>
              <a:cxn ang="0">
                <a:pos x="connsiteX37849" y="connsiteY37849"/>
              </a:cxn>
              <a:cxn ang="0">
                <a:pos x="connsiteX37850" y="connsiteY37850"/>
              </a:cxn>
              <a:cxn ang="0">
                <a:pos x="connsiteX37851" y="connsiteY37851"/>
              </a:cxn>
              <a:cxn ang="0">
                <a:pos x="connsiteX37852" y="connsiteY37852"/>
              </a:cxn>
              <a:cxn ang="0">
                <a:pos x="connsiteX37853" y="connsiteY37853"/>
              </a:cxn>
              <a:cxn ang="0">
                <a:pos x="connsiteX37854" y="connsiteY37854"/>
              </a:cxn>
              <a:cxn ang="0">
                <a:pos x="connsiteX37855" y="connsiteY37855"/>
              </a:cxn>
              <a:cxn ang="0">
                <a:pos x="connsiteX37856" y="connsiteY37856"/>
              </a:cxn>
              <a:cxn ang="0">
                <a:pos x="connsiteX37857" y="connsiteY37857"/>
              </a:cxn>
              <a:cxn ang="0">
                <a:pos x="connsiteX37858" y="connsiteY37858"/>
              </a:cxn>
              <a:cxn ang="0">
                <a:pos x="connsiteX37859" y="connsiteY37859"/>
              </a:cxn>
              <a:cxn ang="0">
                <a:pos x="connsiteX37860" y="connsiteY37860"/>
              </a:cxn>
              <a:cxn ang="0">
                <a:pos x="connsiteX37861" y="connsiteY37861"/>
              </a:cxn>
              <a:cxn ang="0">
                <a:pos x="connsiteX37862" y="connsiteY37862"/>
              </a:cxn>
              <a:cxn ang="0">
                <a:pos x="connsiteX37863" y="connsiteY37863"/>
              </a:cxn>
              <a:cxn ang="0">
                <a:pos x="connsiteX37864" y="connsiteY37864"/>
              </a:cxn>
              <a:cxn ang="0">
                <a:pos x="connsiteX37865" y="connsiteY37865"/>
              </a:cxn>
              <a:cxn ang="0">
                <a:pos x="connsiteX37866" y="connsiteY37866"/>
              </a:cxn>
              <a:cxn ang="0">
                <a:pos x="connsiteX37867" y="connsiteY37867"/>
              </a:cxn>
              <a:cxn ang="0">
                <a:pos x="connsiteX37868" y="connsiteY37868"/>
              </a:cxn>
              <a:cxn ang="0">
                <a:pos x="connsiteX37869" y="connsiteY37869"/>
              </a:cxn>
              <a:cxn ang="0">
                <a:pos x="connsiteX37870" y="connsiteY37870"/>
              </a:cxn>
              <a:cxn ang="0">
                <a:pos x="connsiteX37871" y="connsiteY37871"/>
              </a:cxn>
              <a:cxn ang="0">
                <a:pos x="connsiteX37872" y="connsiteY37872"/>
              </a:cxn>
              <a:cxn ang="0">
                <a:pos x="connsiteX37873" y="connsiteY37873"/>
              </a:cxn>
              <a:cxn ang="0">
                <a:pos x="connsiteX37874" y="connsiteY37874"/>
              </a:cxn>
              <a:cxn ang="0">
                <a:pos x="connsiteX37875" y="connsiteY37875"/>
              </a:cxn>
              <a:cxn ang="0">
                <a:pos x="connsiteX37876" y="connsiteY37876"/>
              </a:cxn>
              <a:cxn ang="0">
                <a:pos x="connsiteX37877" y="connsiteY37877"/>
              </a:cxn>
              <a:cxn ang="0">
                <a:pos x="connsiteX37878" y="connsiteY37878"/>
              </a:cxn>
              <a:cxn ang="0">
                <a:pos x="connsiteX37879" y="connsiteY37879"/>
              </a:cxn>
              <a:cxn ang="0">
                <a:pos x="connsiteX37880" y="connsiteY37880"/>
              </a:cxn>
              <a:cxn ang="0">
                <a:pos x="connsiteX37881" y="connsiteY37881"/>
              </a:cxn>
              <a:cxn ang="0">
                <a:pos x="connsiteX37882" y="connsiteY37882"/>
              </a:cxn>
              <a:cxn ang="0">
                <a:pos x="connsiteX37883" y="connsiteY37883"/>
              </a:cxn>
              <a:cxn ang="0">
                <a:pos x="connsiteX37884" y="connsiteY37884"/>
              </a:cxn>
              <a:cxn ang="0">
                <a:pos x="connsiteX37885" y="connsiteY37885"/>
              </a:cxn>
              <a:cxn ang="0">
                <a:pos x="connsiteX37886" y="connsiteY37886"/>
              </a:cxn>
              <a:cxn ang="0">
                <a:pos x="connsiteX37887" y="connsiteY37887"/>
              </a:cxn>
              <a:cxn ang="0">
                <a:pos x="connsiteX37888" y="connsiteY37888"/>
              </a:cxn>
              <a:cxn ang="0">
                <a:pos x="connsiteX37889" y="connsiteY37889"/>
              </a:cxn>
              <a:cxn ang="0">
                <a:pos x="connsiteX37890" y="connsiteY37890"/>
              </a:cxn>
              <a:cxn ang="0">
                <a:pos x="connsiteX37891" y="connsiteY37891"/>
              </a:cxn>
              <a:cxn ang="0">
                <a:pos x="connsiteX37892" y="connsiteY37892"/>
              </a:cxn>
              <a:cxn ang="0">
                <a:pos x="connsiteX37893" y="connsiteY37893"/>
              </a:cxn>
              <a:cxn ang="0">
                <a:pos x="connsiteX37894" y="connsiteY37894"/>
              </a:cxn>
              <a:cxn ang="0">
                <a:pos x="connsiteX37895" y="connsiteY37895"/>
              </a:cxn>
              <a:cxn ang="0">
                <a:pos x="connsiteX37896" y="connsiteY37896"/>
              </a:cxn>
              <a:cxn ang="0">
                <a:pos x="connsiteX37897" y="connsiteY37897"/>
              </a:cxn>
              <a:cxn ang="0">
                <a:pos x="connsiteX37898" y="connsiteY37898"/>
              </a:cxn>
              <a:cxn ang="0">
                <a:pos x="connsiteX37899" y="connsiteY37899"/>
              </a:cxn>
              <a:cxn ang="0">
                <a:pos x="connsiteX37900" y="connsiteY37900"/>
              </a:cxn>
              <a:cxn ang="0">
                <a:pos x="connsiteX37901" y="connsiteY37901"/>
              </a:cxn>
              <a:cxn ang="0">
                <a:pos x="connsiteX37902" y="connsiteY37902"/>
              </a:cxn>
              <a:cxn ang="0">
                <a:pos x="connsiteX37903" y="connsiteY37903"/>
              </a:cxn>
              <a:cxn ang="0">
                <a:pos x="connsiteX37904" y="connsiteY37904"/>
              </a:cxn>
              <a:cxn ang="0">
                <a:pos x="connsiteX37905" y="connsiteY37905"/>
              </a:cxn>
              <a:cxn ang="0">
                <a:pos x="connsiteX37906" y="connsiteY37906"/>
              </a:cxn>
              <a:cxn ang="0">
                <a:pos x="connsiteX37907" y="connsiteY37907"/>
              </a:cxn>
              <a:cxn ang="0">
                <a:pos x="connsiteX37908" y="connsiteY37908"/>
              </a:cxn>
              <a:cxn ang="0">
                <a:pos x="connsiteX37909" y="connsiteY37909"/>
              </a:cxn>
              <a:cxn ang="0">
                <a:pos x="connsiteX37910" y="connsiteY37910"/>
              </a:cxn>
              <a:cxn ang="0">
                <a:pos x="connsiteX37911" y="connsiteY37911"/>
              </a:cxn>
              <a:cxn ang="0">
                <a:pos x="connsiteX37912" y="connsiteY37912"/>
              </a:cxn>
              <a:cxn ang="0">
                <a:pos x="connsiteX37913" y="connsiteY37913"/>
              </a:cxn>
              <a:cxn ang="0">
                <a:pos x="connsiteX37914" y="connsiteY37914"/>
              </a:cxn>
              <a:cxn ang="0">
                <a:pos x="connsiteX37915" y="connsiteY37915"/>
              </a:cxn>
              <a:cxn ang="0">
                <a:pos x="connsiteX37916" y="connsiteY37916"/>
              </a:cxn>
              <a:cxn ang="0">
                <a:pos x="connsiteX37917" y="connsiteY37917"/>
              </a:cxn>
              <a:cxn ang="0">
                <a:pos x="connsiteX37918" y="connsiteY37918"/>
              </a:cxn>
              <a:cxn ang="0">
                <a:pos x="connsiteX37919" y="connsiteY37919"/>
              </a:cxn>
              <a:cxn ang="0">
                <a:pos x="connsiteX37920" y="connsiteY37920"/>
              </a:cxn>
              <a:cxn ang="0">
                <a:pos x="connsiteX37921" y="connsiteY37921"/>
              </a:cxn>
              <a:cxn ang="0">
                <a:pos x="connsiteX37922" y="connsiteY37922"/>
              </a:cxn>
              <a:cxn ang="0">
                <a:pos x="connsiteX37923" y="connsiteY37923"/>
              </a:cxn>
              <a:cxn ang="0">
                <a:pos x="connsiteX37924" y="connsiteY37924"/>
              </a:cxn>
              <a:cxn ang="0">
                <a:pos x="connsiteX37925" y="connsiteY37925"/>
              </a:cxn>
              <a:cxn ang="0">
                <a:pos x="connsiteX37926" y="connsiteY37926"/>
              </a:cxn>
              <a:cxn ang="0">
                <a:pos x="connsiteX37927" y="connsiteY37927"/>
              </a:cxn>
              <a:cxn ang="0">
                <a:pos x="connsiteX37928" y="connsiteY37928"/>
              </a:cxn>
              <a:cxn ang="0">
                <a:pos x="connsiteX37929" y="connsiteY37929"/>
              </a:cxn>
              <a:cxn ang="0">
                <a:pos x="connsiteX37930" y="connsiteY37930"/>
              </a:cxn>
              <a:cxn ang="0">
                <a:pos x="connsiteX37931" y="connsiteY37931"/>
              </a:cxn>
              <a:cxn ang="0">
                <a:pos x="connsiteX37932" y="connsiteY37932"/>
              </a:cxn>
              <a:cxn ang="0">
                <a:pos x="connsiteX37933" y="connsiteY37933"/>
              </a:cxn>
              <a:cxn ang="0">
                <a:pos x="connsiteX37934" y="connsiteY37934"/>
              </a:cxn>
              <a:cxn ang="0">
                <a:pos x="connsiteX37935" y="connsiteY37935"/>
              </a:cxn>
              <a:cxn ang="0">
                <a:pos x="connsiteX37936" y="connsiteY37936"/>
              </a:cxn>
              <a:cxn ang="0">
                <a:pos x="connsiteX37937" y="connsiteY37937"/>
              </a:cxn>
              <a:cxn ang="0">
                <a:pos x="connsiteX37938" y="connsiteY37938"/>
              </a:cxn>
              <a:cxn ang="0">
                <a:pos x="connsiteX37939" y="connsiteY37939"/>
              </a:cxn>
              <a:cxn ang="0">
                <a:pos x="connsiteX37940" y="connsiteY37940"/>
              </a:cxn>
              <a:cxn ang="0">
                <a:pos x="connsiteX37941" y="connsiteY37941"/>
              </a:cxn>
              <a:cxn ang="0">
                <a:pos x="connsiteX37942" y="connsiteY37942"/>
              </a:cxn>
              <a:cxn ang="0">
                <a:pos x="connsiteX37943" y="connsiteY37943"/>
              </a:cxn>
              <a:cxn ang="0">
                <a:pos x="connsiteX37944" y="connsiteY37944"/>
              </a:cxn>
              <a:cxn ang="0">
                <a:pos x="connsiteX37945" y="connsiteY37945"/>
              </a:cxn>
              <a:cxn ang="0">
                <a:pos x="connsiteX37946" y="connsiteY37946"/>
              </a:cxn>
              <a:cxn ang="0">
                <a:pos x="connsiteX37947" y="connsiteY37947"/>
              </a:cxn>
              <a:cxn ang="0">
                <a:pos x="connsiteX37948" y="connsiteY37948"/>
              </a:cxn>
              <a:cxn ang="0">
                <a:pos x="connsiteX37949" y="connsiteY37949"/>
              </a:cxn>
              <a:cxn ang="0">
                <a:pos x="connsiteX37950" y="connsiteY37950"/>
              </a:cxn>
              <a:cxn ang="0">
                <a:pos x="connsiteX37951" y="connsiteY37951"/>
              </a:cxn>
              <a:cxn ang="0">
                <a:pos x="connsiteX37952" y="connsiteY37952"/>
              </a:cxn>
              <a:cxn ang="0">
                <a:pos x="connsiteX37953" y="connsiteY37953"/>
              </a:cxn>
              <a:cxn ang="0">
                <a:pos x="connsiteX37954" y="connsiteY37954"/>
              </a:cxn>
              <a:cxn ang="0">
                <a:pos x="connsiteX37955" y="connsiteY37955"/>
              </a:cxn>
              <a:cxn ang="0">
                <a:pos x="connsiteX37956" y="connsiteY37956"/>
              </a:cxn>
              <a:cxn ang="0">
                <a:pos x="connsiteX37957" y="connsiteY37957"/>
              </a:cxn>
              <a:cxn ang="0">
                <a:pos x="connsiteX37958" y="connsiteY37958"/>
              </a:cxn>
              <a:cxn ang="0">
                <a:pos x="connsiteX37959" y="connsiteY37959"/>
              </a:cxn>
              <a:cxn ang="0">
                <a:pos x="connsiteX37960" y="connsiteY37960"/>
              </a:cxn>
              <a:cxn ang="0">
                <a:pos x="connsiteX37961" y="connsiteY37961"/>
              </a:cxn>
              <a:cxn ang="0">
                <a:pos x="connsiteX37962" y="connsiteY37962"/>
              </a:cxn>
              <a:cxn ang="0">
                <a:pos x="connsiteX37963" y="connsiteY37963"/>
              </a:cxn>
              <a:cxn ang="0">
                <a:pos x="connsiteX37964" y="connsiteY37964"/>
              </a:cxn>
              <a:cxn ang="0">
                <a:pos x="connsiteX37965" y="connsiteY37965"/>
              </a:cxn>
              <a:cxn ang="0">
                <a:pos x="connsiteX37966" y="connsiteY37966"/>
              </a:cxn>
              <a:cxn ang="0">
                <a:pos x="connsiteX37967" y="connsiteY37967"/>
              </a:cxn>
              <a:cxn ang="0">
                <a:pos x="connsiteX37968" y="connsiteY37968"/>
              </a:cxn>
              <a:cxn ang="0">
                <a:pos x="connsiteX37969" y="connsiteY37969"/>
              </a:cxn>
              <a:cxn ang="0">
                <a:pos x="connsiteX37970" y="connsiteY37970"/>
              </a:cxn>
              <a:cxn ang="0">
                <a:pos x="connsiteX37971" y="connsiteY37971"/>
              </a:cxn>
              <a:cxn ang="0">
                <a:pos x="connsiteX37972" y="connsiteY37972"/>
              </a:cxn>
              <a:cxn ang="0">
                <a:pos x="connsiteX37973" y="connsiteY37973"/>
              </a:cxn>
              <a:cxn ang="0">
                <a:pos x="connsiteX37974" y="connsiteY37974"/>
              </a:cxn>
              <a:cxn ang="0">
                <a:pos x="connsiteX37975" y="connsiteY37975"/>
              </a:cxn>
              <a:cxn ang="0">
                <a:pos x="connsiteX37976" y="connsiteY37976"/>
              </a:cxn>
              <a:cxn ang="0">
                <a:pos x="connsiteX37977" y="connsiteY37977"/>
              </a:cxn>
              <a:cxn ang="0">
                <a:pos x="connsiteX37978" y="connsiteY37978"/>
              </a:cxn>
              <a:cxn ang="0">
                <a:pos x="connsiteX37979" y="connsiteY37979"/>
              </a:cxn>
              <a:cxn ang="0">
                <a:pos x="connsiteX37980" y="connsiteY37980"/>
              </a:cxn>
              <a:cxn ang="0">
                <a:pos x="connsiteX37981" y="connsiteY37981"/>
              </a:cxn>
              <a:cxn ang="0">
                <a:pos x="connsiteX37982" y="connsiteY37982"/>
              </a:cxn>
              <a:cxn ang="0">
                <a:pos x="connsiteX37983" y="connsiteY37983"/>
              </a:cxn>
              <a:cxn ang="0">
                <a:pos x="connsiteX37984" y="connsiteY37984"/>
              </a:cxn>
              <a:cxn ang="0">
                <a:pos x="connsiteX37985" y="connsiteY37985"/>
              </a:cxn>
              <a:cxn ang="0">
                <a:pos x="connsiteX37986" y="connsiteY37986"/>
              </a:cxn>
              <a:cxn ang="0">
                <a:pos x="connsiteX37987" y="connsiteY37987"/>
              </a:cxn>
              <a:cxn ang="0">
                <a:pos x="connsiteX37988" y="connsiteY37988"/>
              </a:cxn>
              <a:cxn ang="0">
                <a:pos x="connsiteX37989" y="connsiteY37989"/>
              </a:cxn>
              <a:cxn ang="0">
                <a:pos x="connsiteX37990" y="connsiteY37990"/>
              </a:cxn>
              <a:cxn ang="0">
                <a:pos x="connsiteX37991" y="connsiteY37991"/>
              </a:cxn>
              <a:cxn ang="0">
                <a:pos x="connsiteX37992" y="connsiteY37992"/>
              </a:cxn>
              <a:cxn ang="0">
                <a:pos x="connsiteX37993" y="connsiteY37993"/>
              </a:cxn>
              <a:cxn ang="0">
                <a:pos x="connsiteX37994" y="connsiteY37994"/>
              </a:cxn>
              <a:cxn ang="0">
                <a:pos x="connsiteX37995" y="connsiteY37995"/>
              </a:cxn>
              <a:cxn ang="0">
                <a:pos x="connsiteX37996" y="connsiteY37996"/>
              </a:cxn>
              <a:cxn ang="0">
                <a:pos x="connsiteX37997" y="connsiteY37997"/>
              </a:cxn>
              <a:cxn ang="0">
                <a:pos x="connsiteX37998" y="connsiteY37998"/>
              </a:cxn>
              <a:cxn ang="0">
                <a:pos x="connsiteX37999" y="connsiteY37999"/>
              </a:cxn>
              <a:cxn ang="0">
                <a:pos x="connsiteX38000" y="connsiteY38000"/>
              </a:cxn>
              <a:cxn ang="0">
                <a:pos x="connsiteX38001" y="connsiteY38001"/>
              </a:cxn>
              <a:cxn ang="0">
                <a:pos x="connsiteX38002" y="connsiteY38002"/>
              </a:cxn>
              <a:cxn ang="0">
                <a:pos x="connsiteX38003" y="connsiteY38003"/>
              </a:cxn>
              <a:cxn ang="0">
                <a:pos x="connsiteX38004" y="connsiteY38004"/>
              </a:cxn>
              <a:cxn ang="0">
                <a:pos x="connsiteX38005" y="connsiteY38005"/>
              </a:cxn>
              <a:cxn ang="0">
                <a:pos x="connsiteX38006" y="connsiteY38006"/>
              </a:cxn>
              <a:cxn ang="0">
                <a:pos x="connsiteX38007" y="connsiteY38007"/>
              </a:cxn>
              <a:cxn ang="0">
                <a:pos x="connsiteX38008" y="connsiteY38008"/>
              </a:cxn>
              <a:cxn ang="0">
                <a:pos x="connsiteX38009" y="connsiteY38009"/>
              </a:cxn>
              <a:cxn ang="0">
                <a:pos x="connsiteX38010" y="connsiteY38010"/>
              </a:cxn>
              <a:cxn ang="0">
                <a:pos x="connsiteX38011" y="connsiteY38011"/>
              </a:cxn>
              <a:cxn ang="0">
                <a:pos x="connsiteX38012" y="connsiteY38012"/>
              </a:cxn>
              <a:cxn ang="0">
                <a:pos x="connsiteX38013" y="connsiteY38013"/>
              </a:cxn>
              <a:cxn ang="0">
                <a:pos x="connsiteX38014" y="connsiteY38014"/>
              </a:cxn>
              <a:cxn ang="0">
                <a:pos x="connsiteX38015" y="connsiteY38015"/>
              </a:cxn>
              <a:cxn ang="0">
                <a:pos x="connsiteX38016" y="connsiteY38016"/>
              </a:cxn>
              <a:cxn ang="0">
                <a:pos x="connsiteX38017" y="connsiteY38017"/>
              </a:cxn>
              <a:cxn ang="0">
                <a:pos x="connsiteX38018" y="connsiteY38018"/>
              </a:cxn>
              <a:cxn ang="0">
                <a:pos x="connsiteX38019" y="connsiteY38019"/>
              </a:cxn>
              <a:cxn ang="0">
                <a:pos x="connsiteX38020" y="connsiteY38020"/>
              </a:cxn>
              <a:cxn ang="0">
                <a:pos x="connsiteX38021" y="connsiteY38021"/>
              </a:cxn>
              <a:cxn ang="0">
                <a:pos x="connsiteX38022" y="connsiteY38022"/>
              </a:cxn>
              <a:cxn ang="0">
                <a:pos x="connsiteX38023" y="connsiteY38023"/>
              </a:cxn>
              <a:cxn ang="0">
                <a:pos x="connsiteX38024" y="connsiteY38024"/>
              </a:cxn>
              <a:cxn ang="0">
                <a:pos x="connsiteX38025" y="connsiteY38025"/>
              </a:cxn>
              <a:cxn ang="0">
                <a:pos x="connsiteX38026" y="connsiteY38026"/>
              </a:cxn>
              <a:cxn ang="0">
                <a:pos x="connsiteX38027" y="connsiteY38027"/>
              </a:cxn>
              <a:cxn ang="0">
                <a:pos x="connsiteX38028" y="connsiteY38028"/>
              </a:cxn>
              <a:cxn ang="0">
                <a:pos x="connsiteX38029" y="connsiteY38029"/>
              </a:cxn>
              <a:cxn ang="0">
                <a:pos x="connsiteX38030" y="connsiteY38030"/>
              </a:cxn>
              <a:cxn ang="0">
                <a:pos x="connsiteX38031" y="connsiteY38031"/>
              </a:cxn>
              <a:cxn ang="0">
                <a:pos x="connsiteX38032" y="connsiteY38032"/>
              </a:cxn>
              <a:cxn ang="0">
                <a:pos x="connsiteX38033" y="connsiteY38033"/>
              </a:cxn>
              <a:cxn ang="0">
                <a:pos x="connsiteX38034" y="connsiteY38034"/>
              </a:cxn>
              <a:cxn ang="0">
                <a:pos x="connsiteX38035" y="connsiteY38035"/>
              </a:cxn>
              <a:cxn ang="0">
                <a:pos x="connsiteX38036" y="connsiteY38036"/>
              </a:cxn>
              <a:cxn ang="0">
                <a:pos x="connsiteX38037" y="connsiteY38037"/>
              </a:cxn>
              <a:cxn ang="0">
                <a:pos x="connsiteX38038" y="connsiteY38038"/>
              </a:cxn>
              <a:cxn ang="0">
                <a:pos x="connsiteX38039" y="connsiteY38039"/>
              </a:cxn>
              <a:cxn ang="0">
                <a:pos x="connsiteX38040" y="connsiteY38040"/>
              </a:cxn>
              <a:cxn ang="0">
                <a:pos x="connsiteX38041" y="connsiteY38041"/>
              </a:cxn>
              <a:cxn ang="0">
                <a:pos x="connsiteX38042" y="connsiteY38042"/>
              </a:cxn>
              <a:cxn ang="0">
                <a:pos x="connsiteX38043" y="connsiteY38043"/>
              </a:cxn>
              <a:cxn ang="0">
                <a:pos x="connsiteX38044" y="connsiteY38044"/>
              </a:cxn>
              <a:cxn ang="0">
                <a:pos x="connsiteX38045" y="connsiteY38045"/>
              </a:cxn>
              <a:cxn ang="0">
                <a:pos x="connsiteX38046" y="connsiteY38046"/>
              </a:cxn>
              <a:cxn ang="0">
                <a:pos x="connsiteX38047" y="connsiteY38047"/>
              </a:cxn>
              <a:cxn ang="0">
                <a:pos x="connsiteX38048" y="connsiteY38048"/>
              </a:cxn>
              <a:cxn ang="0">
                <a:pos x="connsiteX38049" y="connsiteY38049"/>
              </a:cxn>
              <a:cxn ang="0">
                <a:pos x="connsiteX38050" y="connsiteY38050"/>
              </a:cxn>
              <a:cxn ang="0">
                <a:pos x="connsiteX38051" y="connsiteY38051"/>
              </a:cxn>
              <a:cxn ang="0">
                <a:pos x="connsiteX38052" y="connsiteY38052"/>
              </a:cxn>
              <a:cxn ang="0">
                <a:pos x="connsiteX38053" y="connsiteY38053"/>
              </a:cxn>
              <a:cxn ang="0">
                <a:pos x="connsiteX38054" y="connsiteY38054"/>
              </a:cxn>
              <a:cxn ang="0">
                <a:pos x="connsiteX38055" y="connsiteY38055"/>
              </a:cxn>
              <a:cxn ang="0">
                <a:pos x="connsiteX38056" y="connsiteY38056"/>
              </a:cxn>
              <a:cxn ang="0">
                <a:pos x="connsiteX38057" y="connsiteY38057"/>
              </a:cxn>
              <a:cxn ang="0">
                <a:pos x="connsiteX38058" y="connsiteY38058"/>
              </a:cxn>
              <a:cxn ang="0">
                <a:pos x="connsiteX38059" y="connsiteY38059"/>
              </a:cxn>
              <a:cxn ang="0">
                <a:pos x="connsiteX38060" y="connsiteY38060"/>
              </a:cxn>
              <a:cxn ang="0">
                <a:pos x="connsiteX38061" y="connsiteY38061"/>
              </a:cxn>
              <a:cxn ang="0">
                <a:pos x="connsiteX38062" y="connsiteY38062"/>
              </a:cxn>
              <a:cxn ang="0">
                <a:pos x="connsiteX38063" y="connsiteY38063"/>
              </a:cxn>
              <a:cxn ang="0">
                <a:pos x="connsiteX38064" y="connsiteY38064"/>
              </a:cxn>
              <a:cxn ang="0">
                <a:pos x="connsiteX38065" y="connsiteY38065"/>
              </a:cxn>
              <a:cxn ang="0">
                <a:pos x="connsiteX38066" y="connsiteY38066"/>
              </a:cxn>
              <a:cxn ang="0">
                <a:pos x="connsiteX38067" y="connsiteY38067"/>
              </a:cxn>
              <a:cxn ang="0">
                <a:pos x="connsiteX38068" y="connsiteY38068"/>
              </a:cxn>
              <a:cxn ang="0">
                <a:pos x="connsiteX38069" y="connsiteY38069"/>
              </a:cxn>
              <a:cxn ang="0">
                <a:pos x="connsiteX38070" y="connsiteY38070"/>
              </a:cxn>
              <a:cxn ang="0">
                <a:pos x="connsiteX38071" y="connsiteY38071"/>
              </a:cxn>
              <a:cxn ang="0">
                <a:pos x="connsiteX38072" y="connsiteY38072"/>
              </a:cxn>
              <a:cxn ang="0">
                <a:pos x="connsiteX38073" y="connsiteY38073"/>
              </a:cxn>
              <a:cxn ang="0">
                <a:pos x="connsiteX38074" y="connsiteY38074"/>
              </a:cxn>
              <a:cxn ang="0">
                <a:pos x="connsiteX38075" y="connsiteY38075"/>
              </a:cxn>
              <a:cxn ang="0">
                <a:pos x="connsiteX38076" y="connsiteY38076"/>
              </a:cxn>
              <a:cxn ang="0">
                <a:pos x="connsiteX38077" y="connsiteY38077"/>
              </a:cxn>
              <a:cxn ang="0">
                <a:pos x="connsiteX38078" y="connsiteY38078"/>
              </a:cxn>
              <a:cxn ang="0">
                <a:pos x="connsiteX38079" y="connsiteY38079"/>
              </a:cxn>
              <a:cxn ang="0">
                <a:pos x="connsiteX38080" y="connsiteY38080"/>
              </a:cxn>
              <a:cxn ang="0">
                <a:pos x="connsiteX38081" y="connsiteY38081"/>
              </a:cxn>
              <a:cxn ang="0">
                <a:pos x="connsiteX38082" y="connsiteY38082"/>
              </a:cxn>
              <a:cxn ang="0">
                <a:pos x="connsiteX38083" y="connsiteY38083"/>
              </a:cxn>
              <a:cxn ang="0">
                <a:pos x="connsiteX38084" y="connsiteY38084"/>
              </a:cxn>
              <a:cxn ang="0">
                <a:pos x="connsiteX38085" y="connsiteY38085"/>
              </a:cxn>
              <a:cxn ang="0">
                <a:pos x="connsiteX38086" y="connsiteY38086"/>
              </a:cxn>
              <a:cxn ang="0">
                <a:pos x="connsiteX38087" y="connsiteY38087"/>
              </a:cxn>
              <a:cxn ang="0">
                <a:pos x="connsiteX38088" y="connsiteY38088"/>
              </a:cxn>
              <a:cxn ang="0">
                <a:pos x="connsiteX38089" y="connsiteY38089"/>
              </a:cxn>
              <a:cxn ang="0">
                <a:pos x="connsiteX38090" y="connsiteY38090"/>
              </a:cxn>
              <a:cxn ang="0">
                <a:pos x="connsiteX38091" y="connsiteY38091"/>
              </a:cxn>
              <a:cxn ang="0">
                <a:pos x="connsiteX38092" y="connsiteY38092"/>
              </a:cxn>
              <a:cxn ang="0">
                <a:pos x="connsiteX38093" y="connsiteY38093"/>
              </a:cxn>
              <a:cxn ang="0">
                <a:pos x="connsiteX38094" y="connsiteY38094"/>
              </a:cxn>
              <a:cxn ang="0">
                <a:pos x="connsiteX38095" y="connsiteY38095"/>
              </a:cxn>
              <a:cxn ang="0">
                <a:pos x="connsiteX38096" y="connsiteY38096"/>
              </a:cxn>
              <a:cxn ang="0">
                <a:pos x="connsiteX38097" y="connsiteY38097"/>
              </a:cxn>
              <a:cxn ang="0">
                <a:pos x="connsiteX38098" y="connsiteY38098"/>
              </a:cxn>
              <a:cxn ang="0">
                <a:pos x="connsiteX38099" y="connsiteY38099"/>
              </a:cxn>
              <a:cxn ang="0">
                <a:pos x="connsiteX38100" y="connsiteY38100"/>
              </a:cxn>
              <a:cxn ang="0">
                <a:pos x="connsiteX38101" y="connsiteY38101"/>
              </a:cxn>
              <a:cxn ang="0">
                <a:pos x="connsiteX38102" y="connsiteY38102"/>
              </a:cxn>
              <a:cxn ang="0">
                <a:pos x="connsiteX38103" y="connsiteY38103"/>
              </a:cxn>
              <a:cxn ang="0">
                <a:pos x="connsiteX38104" y="connsiteY38104"/>
              </a:cxn>
              <a:cxn ang="0">
                <a:pos x="connsiteX38105" y="connsiteY38105"/>
              </a:cxn>
              <a:cxn ang="0">
                <a:pos x="connsiteX38106" y="connsiteY38106"/>
              </a:cxn>
              <a:cxn ang="0">
                <a:pos x="connsiteX38107" y="connsiteY38107"/>
              </a:cxn>
              <a:cxn ang="0">
                <a:pos x="connsiteX38108" y="connsiteY38108"/>
              </a:cxn>
              <a:cxn ang="0">
                <a:pos x="connsiteX38109" y="connsiteY38109"/>
              </a:cxn>
              <a:cxn ang="0">
                <a:pos x="connsiteX38110" y="connsiteY38110"/>
              </a:cxn>
              <a:cxn ang="0">
                <a:pos x="connsiteX38111" y="connsiteY38111"/>
              </a:cxn>
              <a:cxn ang="0">
                <a:pos x="connsiteX38112" y="connsiteY38112"/>
              </a:cxn>
              <a:cxn ang="0">
                <a:pos x="connsiteX38113" y="connsiteY38113"/>
              </a:cxn>
              <a:cxn ang="0">
                <a:pos x="connsiteX38114" y="connsiteY38114"/>
              </a:cxn>
              <a:cxn ang="0">
                <a:pos x="connsiteX38115" y="connsiteY38115"/>
              </a:cxn>
              <a:cxn ang="0">
                <a:pos x="connsiteX38116" y="connsiteY38116"/>
              </a:cxn>
              <a:cxn ang="0">
                <a:pos x="connsiteX38117" y="connsiteY38117"/>
              </a:cxn>
              <a:cxn ang="0">
                <a:pos x="connsiteX38118" y="connsiteY38118"/>
              </a:cxn>
              <a:cxn ang="0">
                <a:pos x="connsiteX38119" y="connsiteY38119"/>
              </a:cxn>
              <a:cxn ang="0">
                <a:pos x="connsiteX38120" y="connsiteY38120"/>
              </a:cxn>
              <a:cxn ang="0">
                <a:pos x="connsiteX38121" y="connsiteY38121"/>
              </a:cxn>
              <a:cxn ang="0">
                <a:pos x="connsiteX38122" y="connsiteY38122"/>
              </a:cxn>
              <a:cxn ang="0">
                <a:pos x="connsiteX38123" y="connsiteY38123"/>
              </a:cxn>
              <a:cxn ang="0">
                <a:pos x="connsiteX38124" y="connsiteY38124"/>
              </a:cxn>
              <a:cxn ang="0">
                <a:pos x="connsiteX38125" y="connsiteY38125"/>
              </a:cxn>
              <a:cxn ang="0">
                <a:pos x="connsiteX38126" y="connsiteY38126"/>
              </a:cxn>
              <a:cxn ang="0">
                <a:pos x="connsiteX38127" y="connsiteY38127"/>
              </a:cxn>
              <a:cxn ang="0">
                <a:pos x="connsiteX38128" y="connsiteY38128"/>
              </a:cxn>
              <a:cxn ang="0">
                <a:pos x="connsiteX38129" y="connsiteY38129"/>
              </a:cxn>
              <a:cxn ang="0">
                <a:pos x="connsiteX38130" y="connsiteY38130"/>
              </a:cxn>
              <a:cxn ang="0">
                <a:pos x="connsiteX38131" y="connsiteY38131"/>
              </a:cxn>
              <a:cxn ang="0">
                <a:pos x="connsiteX38132" y="connsiteY38132"/>
              </a:cxn>
              <a:cxn ang="0">
                <a:pos x="connsiteX38133" y="connsiteY38133"/>
              </a:cxn>
              <a:cxn ang="0">
                <a:pos x="connsiteX38134" y="connsiteY38134"/>
              </a:cxn>
              <a:cxn ang="0">
                <a:pos x="connsiteX38135" y="connsiteY38135"/>
              </a:cxn>
              <a:cxn ang="0">
                <a:pos x="connsiteX38136" y="connsiteY38136"/>
              </a:cxn>
              <a:cxn ang="0">
                <a:pos x="connsiteX38137" y="connsiteY38137"/>
              </a:cxn>
              <a:cxn ang="0">
                <a:pos x="connsiteX38138" y="connsiteY38138"/>
              </a:cxn>
              <a:cxn ang="0">
                <a:pos x="connsiteX38139" y="connsiteY38139"/>
              </a:cxn>
              <a:cxn ang="0">
                <a:pos x="connsiteX38140" y="connsiteY38140"/>
              </a:cxn>
              <a:cxn ang="0">
                <a:pos x="connsiteX38141" y="connsiteY38141"/>
              </a:cxn>
              <a:cxn ang="0">
                <a:pos x="connsiteX38142" y="connsiteY38142"/>
              </a:cxn>
              <a:cxn ang="0">
                <a:pos x="connsiteX38143" y="connsiteY38143"/>
              </a:cxn>
              <a:cxn ang="0">
                <a:pos x="connsiteX38144" y="connsiteY38144"/>
              </a:cxn>
              <a:cxn ang="0">
                <a:pos x="connsiteX38145" y="connsiteY38145"/>
              </a:cxn>
              <a:cxn ang="0">
                <a:pos x="connsiteX38146" y="connsiteY38146"/>
              </a:cxn>
              <a:cxn ang="0">
                <a:pos x="connsiteX38147" y="connsiteY38147"/>
              </a:cxn>
              <a:cxn ang="0">
                <a:pos x="connsiteX38148" y="connsiteY38148"/>
              </a:cxn>
              <a:cxn ang="0">
                <a:pos x="connsiteX38149" y="connsiteY38149"/>
              </a:cxn>
              <a:cxn ang="0">
                <a:pos x="connsiteX38150" y="connsiteY38150"/>
              </a:cxn>
              <a:cxn ang="0">
                <a:pos x="connsiteX38151" y="connsiteY38151"/>
              </a:cxn>
              <a:cxn ang="0">
                <a:pos x="connsiteX38152" y="connsiteY38152"/>
              </a:cxn>
              <a:cxn ang="0">
                <a:pos x="connsiteX38153" y="connsiteY38153"/>
              </a:cxn>
              <a:cxn ang="0">
                <a:pos x="connsiteX38154" y="connsiteY38154"/>
              </a:cxn>
              <a:cxn ang="0">
                <a:pos x="connsiteX38155" y="connsiteY38155"/>
              </a:cxn>
              <a:cxn ang="0">
                <a:pos x="connsiteX38156" y="connsiteY38156"/>
              </a:cxn>
              <a:cxn ang="0">
                <a:pos x="connsiteX38157" y="connsiteY38157"/>
              </a:cxn>
              <a:cxn ang="0">
                <a:pos x="connsiteX38158" y="connsiteY38158"/>
              </a:cxn>
              <a:cxn ang="0">
                <a:pos x="connsiteX38159" y="connsiteY38159"/>
              </a:cxn>
              <a:cxn ang="0">
                <a:pos x="connsiteX38160" y="connsiteY38160"/>
              </a:cxn>
              <a:cxn ang="0">
                <a:pos x="connsiteX38161" y="connsiteY38161"/>
              </a:cxn>
              <a:cxn ang="0">
                <a:pos x="connsiteX38162" y="connsiteY38162"/>
              </a:cxn>
              <a:cxn ang="0">
                <a:pos x="connsiteX38163" y="connsiteY38163"/>
              </a:cxn>
              <a:cxn ang="0">
                <a:pos x="connsiteX38164" y="connsiteY38164"/>
              </a:cxn>
              <a:cxn ang="0">
                <a:pos x="connsiteX38165" y="connsiteY38165"/>
              </a:cxn>
              <a:cxn ang="0">
                <a:pos x="connsiteX38166" y="connsiteY38166"/>
              </a:cxn>
              <a:cxn ang="0">
                <a:pos x="connsiteX38167" y="connsiteY38167"/>
              </a:cxn>
              <a:cxn ang="0">
                <a:pos x="connsiteX38168" y="connsiteY38168"/>
              </a:cxn>
              <a:cxn ang="0">
                <a:pos x="connsiteX38169" y="connsiteY38169"/>
              </a:cxn>
              <a:cxn ang="0">
                <a:pos x="connsiteX38170" y="connsiteY38170"/>
              </a:cxn>
              <a:cxn ang="0">
                <a:pos x="connsiteX38171" y="connsiteY38171"/>
              </a:cxn>
              <a:cxn ang="0">
                <a:pos x="connsiteX38172" y="connsiteY38172"/>
              </a:cxn>
              <a:cxn ang="0">
                <a:pos x="connsiteX38173" y="connsiteY38173"/>
              </a:cxn>
              <a:cxn ang="0">
                <a:pos x="connsiteX38174" y="connsiteY38174"/>
              </a:cxn>
              <a:cxn ang="0">
                <a:pos x="connsiteX38175" y="connsiteY38175"/>
              </a:cxn>
              <a:cxn ang="0">
                <a:pos x="connsiteX38176" y="connsiteY38176"/>
              </a:cxn>
              <a:cxn ang="0">
                <a:pos x="connsiteX38177" y="connsiteY38177"/>
              </a:cxn>
              <a:cxn ang="0">
                <a:pos x="connsiteX38178" y="connsiteY38178"/>
              </a:cxn>
              <a:cxn ang="0">
                <a:pos x="connsiteX38179" y="connsiteY38179"/>
              </a:cxn>
              <a:cxn ang="0">
                <a:pos x="connsiteX38180" y="connsiteY38180"/>
              </a:cxn>
              <a:cxn ang="0">
                <a:pos x="connsiteX38181" y="connsiteY38181"/>
              </a:cxn>
              <a:cxn ang="0">
                <a:pos x="connsiteX38182" y="connsiteY38182"/>
              </a:cxn>
              <a:cxn ang="0">
                <a:pos x="connsiteX38183" y="connsiteY38183"/>
              </a:cxn>
              <a:cxn ang="0">
                <a:pos x="connsiteX38184" y="connsiteY38184"/>
              </a:cxn>
              <a:cxn ang="0">
                <a:pos x="connsiteX38185" y="connsiteY38185"/>
              </a:cxn>
              <a:cxn ang="0">
                <a:pos x="connsiteX38186" y="connsiteY38186"/>
              </a:cxn>
              <a:cxn ang="0">
                <a:pos x="connsiteX38187" y="connsiteY38187"/>
              </a:cxn>
              <a:cxn ang="0">
                <a:pos x="connsiteX38188" y="connsiteY38188"/>
              </a:cxn>
              <a:cxn ang="0">
                <a:pos x="connsiteX38189" y="connsiteY38189"/>
              </a:cxn>
              <a:cxn ang="0">
                <a:pos x="connsiteX38190" y="connsiteY38190"/>
              </a:cxn>
              <a:cxn ang="0">
                <a:pos x="connsiteX38191" y="connsiteY38191"/>
              </a:cxn>
              <a:cxn ang="0">
                <a:pos x="connsiteX38192" y="connsiteY38192"/>
              </a:cxn>
              <a:cxn ang="0">
                <a:pos x="connsiteX38193" y="connsiteY38193"/>
              </a:cxn>
              <a:cxn ang="0">
                <a:pos x="connsiteX38194" y="connsiteY38194"/>
              </a:cxn>
              <a:cxn ang="0">
                <a:pos x="connsiteX38195" y="connsiteY38195"/>
              </a:cxn>
              <a:cxn ang="0">
                <a:pos x="connsiteX38196" y="connsiteY38196"/>
              </a:cxn>
              <a:cxn ang="0">
                <a:pos x="connsiteX38197" y="connsiteY38197"/>
              </a:cxn>
              <a:cxn ang="0">
                <a:pos x="connsiteX38198" y="connsiteY38198"/>
              </a:cxn>
              <a:cxn ang="0">
                <a:pos x="connsiteX38199" y="connsiteY38199"/>
              </a:cxn>
              <a:cxn ang="0">
                <a:pos x="connsiteX38200" y="connsiteY38200"/>
              </a:cxn>
              <a:cxn ang="0">
                <a:pos x="connsiteX38201" y="connsiteY38201"/>
              </a:cxn>
              <a:cxn ang="0">
                <a:pos x="connsiteX38202" y="connsiteY38202"/>
              </a:cxn>
              <a:cxn ang="0">
                <a:pos x="connsiteX38203" y="connsiteY38203"/>
              </a:cxn>
              <a:cxn ang="0">
                <a:pos x="connsiteX38204" y="connsiteY38204"/>
              </a:cxn>
              <a:cxn ang="0">
                <a:pos x="connsiteX38205" y="connsiteY38205"/>
              </a:cxn>
              <a:cxn ang="0">
                <a:pos x="connsiteX38206" y="connsiteY38206"/>
              </a:cxn>
              <a:cxn ang="0">
                <a:pos x="connsiteX38207" y="connsiteY38207"/>
              </a:cxn>
              <a:cxn ang="0">
                <a:pos x="connsiteX38208" y="connsiteY38208"/>
              </a:cxn>
              <a:cxn ang="0">
                <a:pos x="connsiteX38209" y="connsiteY38209"/>
              </a:cxn>
              <a:cxn ang="0">
                <a:pos x="connsiteX38210" y="connsiteY38210"/>
              </a:cxn>
              <a:cxn ang="0">
                <a:pos x="connsiteX38211" y="connsiteY38211"/>
              </a:cxn>
              <a:cxn ang="0">
                <a:pos x="connsiteX38212" y="connsiteY38212"/>
              </a:cxn>
              <a:cxn ang="0">
                <a:pos x="connsiteX38213" y="connsiteY38213"/>
              </a:cxn>
              <a:cxn ang="0">
                <a:pos x="connsiteX38214" y="connsiteY38214"/>
              </a:cxn>
              <a:cxn ang="0">
                <a:pos x="connsiteX38215" y="connsiteY38215"/>
              </a:cxn>
              <a:cxn ang="0">
                <a:pos x="connsiteX38216" y="connsiteY38216"/>
              </a:cxn>
              <a:cxn ang="0">
                <a:pos x="connsiteX38217" y="connsiteY38217"/>
              </a:cxn>
              <a:cxn ang="0">
                <a:pos x="connsiteX38218" y="connsiteY38218"/>
              </a:cxn>
              <a:cxn ang="0">
                <a:pos x="connsiteX38219" y="connsiteY38219"/>
              </a:cxn>
              <a:cxn ang="0">
                <a:pos x="connsiteX38220" y="connsiteY38220"/>
              </a:cxn>
              <a:cxn ang="0">
                <a:pos x="connsiteX38221" y="connsiteY38221"/>
              </a:cxn>
              <a:cxn ang="0">
                <a:pos x="connsiteX38222" y="connsiteY38222"/>
              </a:cxn>
              <a:cxn ang="0">
                <a:pos x="connsiteX38223" y="connsiteY38223"/>
              </a:cxn>
              <a:cxn ang="0">
                <a:pos x="connsiteX38224" y="connsiteY38224"/>
              </a:cxn>
              <a:cxn ang="0">
                <a:pos x="connsiteX38225" y="connsiteY38225"/>
              </a:cxn>
              <a:cxn ang="0">
                <a:pos x="connsiteX38226" y="connsiteY38226"/>
              </a:cxn>
              <a:cxn ang="0">
                <a:pos x="connsiteX38227" y="connsiteY38227"/>
              </a:cxn>
              <a:cxn ang="0">
                <a:pos x="connsiteX38228" y="connsiteY38228"/>
              </a:cxn>
              <a:cxn ang="0">
                <a:pos x="connsiteX38229" y="connsiteY38229"/>
              </a:cxn>
              <a:cxn ang="0">
                <a:pos x="connsiteX38230" y="connsiteY38230"/>
              </a:cxn>
              <a:cxn ang="0">
                <a:pos x="connsiteX38231" y="connsiteY38231"/>
              </a:cxn>
              <a:cxn ang="0">
                <a:pos x="connsiteX38232" y="connsiteY38232"/>
              </a:cxn>
              <a:cxn ang="0">
                <a:pos x="connsiteX38233" y="connsiteY38233"/>
              </a:cxn>
              <a:cxn ang="0">
                <a:pos x="connsiteX38234" y="connsiteY38234"/>
              </a:cxn>
              <a:cxn ang="0">
                <a:pos x="connsiteX38235" y="connsiteY38235"/>
              </a:cxn>
              <a:cxn ang="0">
                <a:pos x="connsiteX38236" y="connsiteY38236"/>
              </a:cxn>
              <a:cxn ang="0">
                <a:pos x="connsiteX38237" y="connsiteY38237"/>
              </a:cxn>
              <a:cxn ang="0">
                <a:pos x="connsiteX38238" y="connsiteY38238"/>
              </a:cxn>
              <a:cxn ang="0">
                <a:pos x="connsiteX38239" y="connsiteY38239"/>
              </a:cxn>
              <a:cxn ang="0">
                <a:pos x="connsiteX38240" y="connsiteY38240"/>
              </a:cxn>
              <a:cxn ang="0">
                <a:pos x="connsiteX38241" y="connsiteY38241"/>
              </a:cxn>
              <a:cxn ang="0">
                <a:pos x="connsiteX38242" y="connsiteY38242"/>
              </a:cxn>
              <a:cxn ang="0">
                <a:pos x="connsiteX38243" y="connsiteY38243"/>
              </a:cxn>
              <a:cxn ang="0">
                <a:pos x="connsiteX38244" y="connsiteY38244"/>
              </a:cxn>
              <a:cxn ang="0">
                <a:pos x="connsiteX38245" y="connsiteY38245"/>
              </a:cxn>
              <a:cxn ang="0">
                <a:pos x="connsiteX38246" y="connsiteY38246"/>
              </a:cxn>
              <a:cxn ang="0">
                <a:pos x="connsiteX38247" y="connsiteY38247"/>
              </a:cxn>
              <a:cxn ang="0">
                <a:pos x="connsiteX38248" y="connsiteY38248"/>
              </a:cxn>
              <a:cxn ang="0">
                <a:pos x="connsiteX38249" y="connsiteY38249"/>
              </a:cxn>
              <a:cxn ang="0">
                <a:pos x="connsiteX38250" y="connsiteY38250"/>
              </a:cxn>
              <a:cxn ang="0">
                <a:pos x="connsiteX38251" y="connsiteY38251"/>
              </a:cxn>
              <a:cxn ang="0">
                <a:pos x="connsiteX38252" y="connsiteY38252"/>
              </a:cxn>
              <a:cxn ang="0">
                <a:pos x="connsiteX38253" y="connsiteY38253"/>
              </a:cxn>
              <a:cxn ang="0">
                <a:pos x="connsiteX38254" y="connsiteY38254"/>
              </a:cxn>
              <a:cxn ang="0">
                <a:pos x="connsiteX38255" y="connsiteY38255"/>
              </a:cxn>
              <a:cxn ang="0">
                <a:pos x="connsiteX38256" y="connsiteY38256"/>
              </a:cxn>
              <a:cxn ang="0">
                <a:pos x="connsiteX38257" y="connsiteY38257"/>
              </a:cxn>
              <a:cxn ang="0">
                <a:pos x="connsiteX38258" y="connsiteY38258"/>
              </a:cxn>
              <a:cxn ang="0">
                <a:pos x="connsiteX38259" y="connsiteY38259"/>
              </a:cxn>
              <a:cxn ang="0">
                <a:pos x="connsiteX38260" y="connsiteY38260"/>
              </a:cxn>
              <a:cxn ang="0">
                <a:pos x="connsiteX38261" y="connsiteY38261"/>
              </a:cxn>
              <a:cxn ang="0">
                <a:pos x="connsiteX38262" y="connsiteY38262"/>
              </a:cxn>
              <a:cxn ang="0">
                <a:pos x="connsiteX38263" y="connsiteY38263"/>
              </a:cxn>
              <a:cxn ang="0">
                <a:pos x="connsiteX38264" y="connsiteY38264"/>
              </a:cxn>
              <a:cxn ang="0">
                <a:pos x="connsiteX38265" y="connsiteY38265"/>
              </a:cxn>
              <a:cxn ang="0">
                <a:pos x="connsiteX38266" y="connsiteY38266"/>
              </a:cxn>
              <a:cxn ang="0">
                <a:pos x="connsiteX38267" y="connsiteY38267"/>
              </a:cxn>
              <a:cxn ang="0">
                <a:pos x="connsiteX38268" y="connsiteY38268"/>
              </a:cxn>
              <a:cxn ang="0">
                <a:pos x="connsiteX38269" y="connsiteY38269"/>
              </a:cxn>
              <a:cxn ang="0">
                <a:pos x="connsiteX38270" y="connsiteY38270"/>
              </a:cxn>
              <a:cxn ang="0">
                <a:pos x="connsiteX38271" y="connsiteY38271"/>
              </a:cxn>
              <a:cxn ang="0">
                <a:pos x="connsiteX38272" y="connsiteY38272"/>
              </a:cxn>
              <a:cxn ang="0">
                <a:pos x="connsiteX38273" y="connsiteY38273"/>
              </a:cxn>
              <a:cxn ang="0">
                <a:pos x="connsiteX38274" y="connsiteY38274"/>
              </a:cxn>
              <a:cxn ang="0">
                <a:pos x="connsiteX38275" y="connsiteY38275"/>
              </a:cxn>
              <a:cxn ang="0">
                <a:pos x="connsiteX38276" y="connsiteY38276"/>
              </a:cxn>
              <a:cxn ang="0">
                <a:pos x="connsiteX38277" y="connsiteY38277"/>
              </a:cxn>
              <a:cxn ang="0">
                <a:pos x="connsiteX38278" y="connsiteY38278"/>
              </a:cxn>
              <a:cxn ang="0">
                <a:pos x="connsiteX38279" y="connsiteY38279"/>
              </a:cxn>
              <a:cxn ang="0">
                <a:pos x="connsiteX38280" y="connsiteY38280"/>
              </a:cxn>
              <a:cxn ang="0">
                <a:pos x="connsiteX38281" y="connsiteY38281"/>
              </a:cxn>
              <a:cxn ang="0">
                <a:pos x="connsiteX38282" y="connsiteY38282"/>
              </a:cxn>
              <a:cxn ang="0">
                <a:pos x="connsiteX38283" y="connsiteY38283"/>
              </a:cxn>
              <a:cxn ang="0">
                <a:pos x="connsiteX38284" y="connsiteY38284"/>
              </a:cxn>
              <a:cxn ang="0">
                <a:pos x="connsiteX38285" y="connsiteY38285"/>
              </a:cxn>
              <a:cxn ang="0">
                <a:pos x="connsiteX38286" y="connsiteY38286"/>
              </a:cxn>
              <a:cxn ang="0">
                <a:pos x="connsiteX38287" y="connsiteY38287"/>
              </a:cxn>
              <a:cxn ang="0">
                <a:pos x="connsiteX38288" y="connsiteY38288"/>
              </a:cxn>
              <a:cxn ang="0">
                <a:pos x="connsiteX38289" y="connsiteY38289"/>
              </a:cxn>
              <a:cxn ang="0">
                <a:pos x="connsiteX38290" y="connsiteY38290"/>
              </a:cxn>
              <a:cxn ang="0">
                <a:pos x="connsiteX38291" y="connsiteY38291"/>
              </a:cxn>
              <a:cxn ang="0">
                <a:pos x="connsiteX38292" y="connsiteY38292"/>
              </a:cxn>
              <a:cxn ang="0">
                <a:pos x="connsiteX38293" y="connsiteY38293"/>
              </a:cxn>
              <a:cxn ang="0">
                <a:pos x="connsiteX38294" y="connsiteY38294"/>
              </a:cxn>
              <a:cxn ang="0">
                <a:pos x="connsiteX38295" y="connsiteY38295"/>
              </a:cxn>
              <a:cxn ang="0">
                <a:pos x="connsiteX38296" y="connsiteY38296"/>
              </a:cxn>
              <a:cxn ang="0">
                <a:pos x="connsiteX38297" y="connsiteY38297"/>
              </a:cxn>
              <a:cxn ang="0">
                <a:pos x="connsiteX38298" y="connsiteY38298"/>
              </a:cxn>
              <a:cxn ang="0">
                <a:pos x="connsiteX38299" y="connsiteY38299"/>
              </a:cxn>
              <a:cxn ang="0">
                <a:pos x="connsiteX38300" y="connsiteY38300"/>
              </a:cxn>
              <a:cxn ang="0">
                <a:pos x="connsiteX38301" y="connsiteY38301"/>
              </a:cxn>
              <a:cxn ang="0">
                <a:pos x="connsiteX38302" y="connsiteY38302"/>
              </a:cxn>
              <a:cxn ang="0">
                <a:pos x="connsiteX38303" y="connsiteY38303"/>
              </a:cxn>
              <a:cxn ang="0">
                <a:pos x="connsiteX38304" y="connsiteY38304"/>
              </a:cxn>
              <a:cxn ang="0">
                <a:pos x="connsiteX38305" y="connsiteY38305"/>
              </a:cxn>
              <a:cxn ang="0">
                <a:pos x="connsiteX38306" y="connsiteY38306"/>
              </a:cxn>
              <a:cxn ang="0">
                <a:pos x="connsiteX38307" y="connsiteY38307"/>
              </a:cxn>
              <a:cxn ang="0">
                <a:pos x="connsiteX38308" y="connsiteY38308"/>
              </a:cxn>
              <a:cxn ang="0">
                <a:pos x="connsiteX38309" y="connsiteY38309"/>
              </a:cxn>
              <a:cxn ang="0">
                <a:pos x="connsiteX38310" y="connsiteY38310"/>
              </a:cxn>
              <a:cxn ang="0">
                <a:pos x="connsiteX38311" y="connsiteY38311"/>
              </a:cxn>
              <a:cxn ang="0">
                <a:pos x="connsiteX38312" y="connsiteY38312"/>
              </a:cxn>
              <a:cxn ang="0">
                <a:pos x="connsiteX38313" y="connsiteY38313"/>
              </a:cxn>
              <a:cxn ang="0">
                <a:pos x="connsiteX38314" y="connsiteY38314"/>
              </a:cxn>
              <a:cxn ang="0">
                <a:pos x="connsiteX38315" y="connsiteY38315"/>
              </a:cxn>
              <a:cxn ang="0">
                <a:pos x="connsiteX38316" y="connsiteY38316"/>
              </a:cxn>
              <a:cxn ang="0">
                <a:pos x="connsiteX38317" y="connsiteY38317"/>
              </a:cxn>
              <a:cxn ang="0">
                <a:pos x="connsiteX38318" y="connsiteY38318"/>
              </a:cxn>
              <a:cxn ang="0">
                <a:pos x="connsiteX38319" y="connsiteY38319"/>
              </a:cxn>
              <a:cxn ang="0">
                <a:pos x="connsiteX38320" y="connsiteY38320"/>
              </a:cxn>
              <a:cxn ang="0">
                <a:pos x="connsiteX38321" y="connsiteY38321"/>
              </a:cxn>
              <a:cxn ang="0">
                <a:pos x="connsiteX38322" y="connsiteY38322"/>
              </a:cxn>
              <a:cxn ang="0">
                <a:pos x="connsiteX38323" y="connsiteY38323"/>
              </a:cxn>
              <a:cxn ang="0">
                <a:pos x="connsiteX38324" y="connsiteY38324"/>
              </a:cxn>
              <a:cxn ang="0">
                <a:pos x="connsiteX38325" y="connsiteY38325"/>
              </a:cxn>
              <a:cxn ang="0">
                <a:pos x="connsiteX38326" y="connsiteY38326"/>
              </a:cxn>
              <a:cxn ang="0">
                <a:pos x="connsiteX38327" y="connsiteY38327"/>
              </a:cxn>
              <a:cxn ang="0">
                <a:pos x="connsiteX38328" y="connsiteY38328"/>
              </a:cxn>
              <a:cxn ang="0">
                <a:pos x="connsiteX38329" y="connsiteY38329"/>
              </a:cxn>
              <a:cxn ang="0">
                <a:pos x="connsiteX38330" y="connsiteY38330"/>
              </a:cxn>
              <a:cxn ang="0">
                <a:pos x="connsiteX38331" y="connsiteY38331"/>
              </a:cxn>
              <a:cxn ang="0">
                <a:pos x="connsiteX38332" y="connsiteY38332"/>
              </a:cxn>
              <a:cxn ang="0">
                <a:pos x="connsiteX38333" y="connsiteY38333"/>
              </a:cxn>
              <a:cxn ang="0">
                <a:pos x="connsiteX38334" y="connsiteY38334"/>
              </a:cxn>
              <a:cxn ang="0">
                <a:pos x="connsiteX38335" y="connsiteY38335"/>
              </a:cxn>
              <a:cxn ang="0">
                <a:pos x="connsiteX38336" y="connsiteY38336"/>
              </a:cxn>
              <a:cxn ang="0">
                <a:pos x="connsiteX38337" y="connsiteY38337"/>
              </a:cxn>
              <a:cxn ang="0">
                <a:pos x="connsiteX38338" y="connsiteY38338"/>
              </a:cxn>
              <a:cxn ang="0">
                <a:pos x="connsiteX38339" y="connsiteY38339"/>
              </a:cxn>
              <a:cxn ang="0">
                <a:pos x="connsiteX38340" y="connsiteY38340"/>
              </a:cxn>
              <a:cxn ang="0">
                <a:pos x="connsiteX38341" y="connsiteY38341"/>
              </a:cxn>
              <a:cxn ang="0">
                <a:pos x="connsiteX38342" y="connsiteY38342"/>
              </a:cxn>
              <a:cxn ang="0">
                <a:pos x="connsiteX38343" y="connsiteY38343"/>
              </a:cxn>
              <a:cxn ang="0">
                <a:pos x="connsiteX38344" y="connsiteY38344"/>
              </a:cxn>
              <a:cxn ang="0">
                <a:pos x="connsiteX38345" y="connsiteY38345"/>
              </a:cxn>
              <a:cxn ang="0">
                <a:pos x="connsiteX38346" y="connsiteY38346"/>
              </a:cxn>
              <a:cxn ang="0">
                <a:pos x="connsiteX38347" y="connsiteY38347"/>
              </a:cxn>
              <a:cxn ang="0">
                <a:pos x="connsiteX38348" y="connsiteY38348"/>
              </a:cxn>
              <a:cxn ang="0">
                <a:pos x="connsiteX38349" y="connsiteY38349"/>
              </a:cxn>
              <a:cxn ang="0">
                <a:pos x="connsiteX38350" y="connsiteY38350"/>
              </a:cxn>
              <a:cxn ang="0">
                <a:pos x="connsiteX38351" y="connsiteY38351"/>
              </a:cxn>
              <a:cxn ang="0">
                <a:pos x="connsiteX38352" y="connsiteY38352"/>
              </a:cxn>
              <a:cxn ang="0">
                <a:pos x="connsiteX38353" y="connsiteY38353"/>
              </a:cxn>
              <a:cxn ang="0">
                <a:pos x="connsiteX38354" y="connsiteY38354"/>
              </a:cxn>
              <a:cxn ang="0">
                <a:pos x="connsiteX38355" y="connsiteY38355"/>
              </a:cxn>
              <a:cxn ang="0">
                <a:pos x="connsiteX38356" y="connsiteY38356"/>
              </a:cxn>
              <a:cxn ang="0">
                <a:pos x="connsiteX38357" y="connsiteY38357"/>
              </a:cxn>
              <a:cxn ang="0">
                <a:pos x="connsiteX38358" y="connsiteY38358"/>
              </a:cxn>
              <a:cxn ang="0">
                <a:pos x="connsiteX38359" y="connsiteY38359"/>
              </a:cxn>
              <a:cxn ang="0">
                <a:pos x="connsiteX38360" y="connsiteY38360"/>
              </a:cxn>
              <a:cxn ang="0">
                <a:pos x="connsiteX38361" y="connsiteY38361"/>
              </a:cxn>
              <a:cxn ang="0">
                <a:pos x="connsiteX38362" y="connsiteY38362"/>
              </a:cxn>
              <a:cxn ang="0">
                <a:pos x="connsiteX38363" y="connsiteY38363"/>
              </a:cxn>
              <a:cxn ang="0">
                <a:pos x="connsiteX38364" y="connsiteY38364"/>
              </a:cxn>
              <a:cxn ang="0">
                <a:pos x="connsiteX38365" y="connsiteY38365"/>
              </a:cxn>
              <a:cxn ang="0">
                <a:pos x="connsiteX38366" y="connsiteY38366"/>
              </a:cxn>
              <a:cxn ang="0">
                <a:pos x="connsiteX38367" y="connsiteY38367"/>
              </a:cxn>
              <a:cxn ang="0">
                <a:pos x="connsiteX38368" y="connsiteY38368"/>
              </a:cxn>
              <a:cxn ang="0">
                <a:pos x="connsiteX38369" y="connsiteY38369"/>
              </a:cxn>
              <a:cxn ang="0">
                <a:pos x="connsiteX38370" y="connsiteY38370"/>
              </a:cxn>
              <a:cxn ang="0">
                <a:pos x="connsiteX38371" y="connsiteY38371"/>
              </a:cxn>
              <a:cxn ang="0">
                <a:pos x="connsiteX38372" y="connsiteY38372"/>
              </a:cxn>
              <a:cxn ang="0">
                <a:pos x="connsiteX38373" y="connsiteY38373"/>
              </a:cxn>
              <a:cxn ang="0">
                <a:pos x="connsiteX38374" y="connsiteY38374"/>
              </a:cxn>
              <a:cxn ang="0">
                <a:pos x="connsiteX38375" y="connsiteY38375"/>
              </a:cxn>
              <a:cxn ang="0">
                <a:pos x="connsiteX38376" y="connsiteY38376"/>
              </a:cxn>
              <a:cxn ang="0">
                <a:pos x="connsiteX38377" y="connsiteY38377"/>
              </a:cxn>
              <a:cxn ang="0">
                <a:pos x="connsiteX38378" y="connsiteY38378"/>
              </a:cxn>
              <a:cxn ang="0">
                <a:pos x="connsiteX38379" y="connsiteY38379"/>
              </a:cxn>
              <a:cxn ang="0">
                <a:pos x="connsiteX38380" y="connsiteY38380"/>
              </a:cxn>
              <a:cxn ang="0">
                <a:pos x="connsiteX38381" y="connsiteY38381"/>
              </a:cxn>
              <a:cxn ang="0">
                <a:pos x="connsiteX38382" y="connsiteY38382"/>
              </a:cxn>
              <a:cxn ang="0">
                <a:pos x="connsiteX38383" y="connsiteY38383"/>
              </a:cxn>
              <a:cxn ang="0">
                <a:pos x="connsiteX38384" y="connsiteY38384"/>
              </a:cxn>
              <a:cxn ang="0">
                <a:pos x="connsiteX38385" y="connsiteY38385"/>
              </a:cxn>
              <a:cxn ang="0">
                <a:pos x="connsiteX38386" y="connsiteY38386"/>
              </a:cxn>
              <a:cxn ang="0">
                <a:pos x="connsiteX38387" y="connsiteY38387"/>
              </a:cxn>
              <a:cxn ang="0">
                <a:pos x="connsiteX38388" y="connsiteY38388"/>
              </a:cxn>
              <a:cxn ang="0">
                <a:pos x="connsiteX38389" y="connsiteY38389"/>
              </a:cxn>
              <a:cxn ang="0">
                <a:pos x="connsiteX38390" y="connsiteY38390"/>
              </a:cxn>
              <a:cxn ang="0">
                <a:pos x="connsiteX38391" y="connsiteY38391"/>
              </a:cxn>
              <a:cxn ang="0">
                <a:pos x="connsiteX38392" y="connsiteY38392"/>
              </a:cxn>
              <a:cxn ang="0">
                <a:pos x="connsiteX38393" y="connsiteY38393"/>
              </a:cxn>
              <a:cxn ang="0">
                <a:pos x="connsiteX38394" y="connsiteY38394"/>
              </a:cxn>
              <a:cxn ang="0">
                <a:pos x="connsiteX38395" y="connsiteY38395"/>
              </a:cxn>
              <a:cxn ang="0">
                <a:pos x="connsiteX38396" y="connsiteY38396"/>
              </a:cxn>
              <a:cxn ang="0">
                <a:pos x="connsiteX38397" y="connsiteY38397"/>
              </a:cxn>
              <a:cxn ang="0">
                <a:pos x="connsiteX38398" y="connsiteY38398"/>
              </a:cxn>
              <a:cxn ang="0">
                <a:pos x="connsiteX38399" y="connsiteY38399"/>
              </a:cxn>
              <a:cxn ang="0">
                <a:pos x="connsiteX38400" y="connsiteY38400"/>
              </a:cxn>
              <a:cxn ang="0">
                <a:pos x="connsiteX38401" y="connsiteY38401"/>
              </a:cxn>
              <a:cxn ang="0">
                <a:pos x="connsiteX38402" y="connsiteY38402"/>
              </a:cxn>
              <a:cxn ang="0">
                <a:pos x="connsiteX38403" y="connsiteY38403"/>
              </a:cxn>
              <a:cxn ang="0">
                <a:pos x="connsiteX38404" y="connsiteY38404"/>
              </a:cxn>
              <a:cxn ang="0">
                <a:pos x="connsiteX38405" y="connsiteY38405"/>
              </a:cxn>
              <a:cxn ang="0">
                <a:pos x="connsiteX38406" y="connsiteY38406"/>
              </a:cxn>
              <a:cxn ang="0">
                <a:pos x="connsiteX38407" y="connsiteY38407"/>
              </a:cxn>
              <a:cxn ang="0">
                <a:pos x="connsiteX38408" y="connsiteY38408"/>
              </a:cxn>
              <a:cxn ang="0">
                <a:pos x="connsiteX38409" y="connsiteY38409"/>
              </a:cxn>
              <a:cxn ang="0">
                <a:pos x="connsiteX38410" y="connsiteY38410"/>
              </a:cxn>
              <a:cxn ang="0">
                <a:pos x="connsiteX38411" y="connsiteY38411"/>
              </a:cxn>
              <a:cxn ang="0">
                <a:pos x="connsiteX38412" y="connsiteY38412"/>
              </a:cxn>
              <a:cxn ang="0">
                <a:pos x="connsiteX38413" y="connsiteY38413"/>
              </a:cxn>
              <a:cxn ang="0">
                <a:pos x="connsiteX38414" y="connsiteY38414"/>
              </a:cxn>
              <a:cxn ang="0">
                <a:pos x="connsiteX38415" y="connsiteY38415"/>
              </a:cxn>
              <a:cxn ang="0">
                <a:pos x="connsiteX38416" y="connsiteY38416"/>
              </a:cxn>
              <a:cxn ang="0">
                <a:pos x="connsiteX38417" y="connsiteY38417"/>
              </a:cxn>
              <a:cxn ang="0">
                <a:pos x="connsiteX38418" y="connsiteY38418"/>
              </a:cxn>
              <a:cxn ang="0">
                <a:pos x="connsiteX38419" y="connsiteY38419"/>
              </a:cxn>
              <a:cxn ang="0">
                <a:pos x="connsiteX38420" y="connsiteY38420"/>
              </a:cxn>
              <a:cxn ang="0">
                <a:pos x="connsiteX38421" y="connsiteY38421"/>
              </a:cxn>
              <a:cxn ang="0">
                <a:pos x="connsiteX38422" y="connsiteY38422"/>
              </a:cxn>
              <a:cxn ang="0">
                <a:pos x="connsiteX38423" y="connsiteY38423"/>
              </a:cxn>
              <a:cxn ang="0">
                <a:pos x="connsiteX38424" y="connsiteY38424"/>
              </a:cxn>
              <a:cxn ang="0">
                <a:pos x="connsiteX38425" y="connsiteY38425"/>
              </a:cxn>
              <a:cxn ang="0">
                <a:pos x="connsiteX38426" y="connsiteY38426"/>
              </a:cxn>
              <a:cxn ang="0">
                <a:pos x="connsiteX38427" y="connsiteY38427"/>
              </a:cxn>
              <a:cxn ang="0">
                <a:pos x="connsiteX38428" y="connsiteY38428"/>
              </a:cxn>
              <a:cxn ang="0">
                <a:pos x="connsiteX38429" y="connsiteY38429"/>
              </a:cxn>
              <a:cxn ang="0">
                <a:pos x="connsiteX38430" y="connsiteY38430"/>
              </a:cxn>
              <a:cxn ang="0">
                <a:pos x="connsiteX38431" y="connsiteY38431"/>
              </a:cxn>
              <a:cxn ang="0">
                <a:pos x="connsiteX38432" y="connsiteY38432"/>
              </a:cxn>
              <a:cxn ang="0">
                <a:pos x="connsiteX38433" y="connsiteY38433"/>
              </a:cxn>
              <a:cxn ang="0">
                <a:pos x="connsiteX38434" y="connsiteY38434"/>
              </a:cxn>
              <a:cxn ang="0">
                <a:pos x="connsiteX38435" y="connsiteY38435"/>
              </a:cxn>
              <a:cxn ang="0">
                <a:pos x="connsiteX38436" y="connsiteY38436"/>
              </a:cxn>
              <a:cxn ang="0">
                <a:pos x="connsiteX38437" y="connsiteY38437"/>
              </a:cxn>
              <a:cxn ang="0">
                <a:pos x="connsiteX38438" y="connsiteY38438"/>
              </a:cxn>
              <a:cxn ang="0">
                <a:pos x="connsiteX38439" y="connsiteY38439"/>
              </a:cxn>
              <a:cxn ang="0">
                <a:pos x="connsiteX38440" y="connsiteY38440"/>
              </a:cxn>
              <a:cxn ang="0">
                <a:pos x="connsiteX38441" y="connsiteY38441"/>
              </a:cxn>
              <a:cxn ang="0">
                <a:pos x="connsiteX38442" y="connsiteY38442"/>
              </a:cxn>
              <a:cxn ang="0">
                <a:pos x="connsiteX38443" y="connsiteY38443"/>
              </a:cxn>
              <a:cxn ang="0">
                <a:pos x="connsiteX38444" y="connsiteY38444"/>
              </a:cxn>
              <a:cxn ang="0">
                <a:pos x="connsiteX38445" y="connsiteY38445"/>
              </a:cxn>
              <a:cxn ang="0">
                <a:pos x="connsiteX38446" y="connsiteY38446"/>
              </a:cxn>
              <a:cxn ang="0">
                <a:pos x="connsiteX38447" y="connsiteY38447"/>
              </a:cxn>
              <a:cxn ang="0">
                <a:pos x="connsiteX38448" y="connsiteY38448"/>
              </a:cxn>
              <a:cxn ang="0">
                <a:pos x="connsiteX38449" y="connsiteY38449"/>
              </a:cxn>
              <a:cxn ang="0">
                <a:pos x="connsiteX38450" y="connsiteY38450"/>
              </a:cxn>
              <a:cxn ang="0">
                <a:pos x="connsiteX38451" y="connsiteY38451"/>
              </a:cxn>
              <a:cxn ang="0">
                <a:pos x="connsiteX38452" y="connsiteY38452"/>
              </a:cxn>
              <a:cxn ang="0">
                <a:pos x="connsiteX38453" y="connsiteY38453"/>
              </a:cxn>
              <a:cxn ang="0">
                <a:pos x="connsiteX38454" y="connsiteY38454"/>
              </a:cxn>
              <a:cxn ang="0">
                <a:pos x="connsiteX38455" y="connsiteY38455"/>
              </a:cxn>
              <a:cxn ang="0">
                <a:pos x="connsiteX38456" y="connsiteY38456"/>
              </a:cxn>
              <a:cxn ang="0">
                <a:pos x="connsiteX38457" y="connsiteY38457"/>
              </a:cxn>
              <a:cxn ang="0">
                <a:pos x="connsiteX38458" y="connsiteY38458"/>
              </a:cxn>
              <a:cxn ang="0">
                <a:pos x="connsiteX38459" y="connsiteY38459"/>
              </a:cxn>
              <a:cxn ang="0">
                <a:pos x="connsiteX38460" y="connsiteY38460"/>
              </a:cxn>
              <a:cxn ang="0">
                <a:pos x="connsiteX38461" y="connsiteY38461"/>
              </a:cxn>
              <a:cxn ang="0">
                <a:pos x="connsiteX38462" y="connsiteY38462"/>
              </a:cxn>
              <a:cxn ang="0">
                <a:pos x="connsiteX38463" y="connsiteY38463"/>
              </a:cxn>
              <a:cxn ang="0">
                <a:pos x="connsiteX38464" y="connsiteY38464"/>
              </a:cxn>
              <a:cxn ang="0">
                <a:pos x="connsiteX38465" y="connsiteY38465"/>
              </a:cxn>
              <a:cxn ang="0">
                <a:pos x="connsiteX38466" y="connsiteY38466"/>
              </a:cxn>
              <a:cxn ang="0">
                <a:pos x="connsiteX38467" y="connsiteY38467"/>
              </a:cxn>
              <a:cxn ang="0">
                <a:pos x="connsiteX38468" y="connsiteY38468"/>
              </a:cxn>
              <a:cxn ang="0">
                <a:pos x="connsiteX38469" y="connsiteY38469"/>
              </a:cxn>
              <a:cxn ang="0">
                <a:pos x="connsiteX38470" y="connsiteY38470"/>
              </a:cxn>
              <a:cxn ang="0">
                <a:pos x="connsiteX38471" y="connsiteY38471"/>
              </a:cxn>
              <a:cxn ang="0">
                <a:pos x="connsiteX38472" y="connsiteY38472"/>
              </a:cxn>
              <a:cxn ang="0">
                <a:pos x="connsiteX38473" y="connsiteY38473"/>
              </a:cxn>
              <a:cxn ang="0">
                <a:pos x="connsiteX38474" y="connsiteY38474"/>
              </a:cxn>
              <a:cxn ang="0">
                <a:pos x="connsiteX38475" y="connsiteY38475"/>
              </a:cxn>
              <a:cxn ang="0">
                <a:pos x="connsiteX38476" y="connsiteY38476"/>
              </a:cxn>
              <a:cxn ang="0">
                <a:pos x="connsiteX38477" y="connsiteY38477"/>
              </a:cxn>
              <a:cxn ang="0">
                <a:pos x="connsiteX38478" y="connsiteY38478"/>
              </a:cxn>
              <a:cxn ang="0">
                <a:pos x="connsiteX38479" y="connsiteY38479"/>
              </a:cxn>
              <a:cxn ang="0">
                <a:pos x="connsiteX38480" y="connsiteY38480"/>
              </a:cxn>
              <a:cxn ang="0">
                <a:pos x="connsiteX38481" y="connsiteY38481"/>
              </a:cxn>
              <a:cxn ang="0">
                <a:pos x="connsiteX38482" y="connsiteY38482"/>
              </a:cxn>
              <a:cxn ang="0">
                <a:pos x="connsiteX38483" y="connsiteY38483"/>
              </a:cxn>
              <a:cxn ang="0">
                <a:pos x="connsiteX38484" y="connsiteY38484"/>
              </a:cxn>
              <a:cxn ang="0">
                <a:pos x="connsiteX38485" y="connsiteY38485"/>
              </a:cxn>
              <a:cxn ang="0">
                <a:pos x="connsiteX38486" y="connsiteY38486"/>
              </a:cxn>
              <a:cxn ang="0">
                <a:pos x="connsiteX38487" y="connsiteY38487"/>
              </a:cxn>
              <a:cxn ang="0">
                <a:pos x="connsiteX38488" y="connsiteY38488"/>
              </a:cxn>
              <a:cxn ang="0">
                <a:pos x="connsiteX38489" y="connsiteY38489"/>
              </a:cxn>
              <a:cxn ang="0">
                <a:pos x="connsiteX38490" y="connsiteY38490"/>
              </a:cxn>
              <a:cxn ang="0">
                <a:pos x="connsiteX38491" y="connsiteY38491"/>
              </a:cxn>
              <a:cxn ang="0">
                <a:pos x="connsiteX38492" y="connsiteY38492"/>
              </a:cxn>
              <a:cxn ang="0">
                <a:pos x="connsiteX38493" y="connsiteY38493"/>
              </a:cxn>
              <a:cxn ang="0">
                <a:pos x="connsiteX38494" y="connsiteY38494"/>
              </a:cxn>
              <a:cxn ang="0">
                <a:pos x="connsiteX38495" y="connsiteY38495"/>
              </a:cxn>
              <a:cxn ang="0">
                <a:pos x="connsiteX38496" y="connsiteY38496"/>
              </a:cxn>
              <a:cxn ang="0">
                <a:pos x="connsiteX38497" y="connsiteY38497"/>
              </a:cxn>
              <a:cxn ang="0">
                <a:pos x="connsiteX38498" y="connsiteY38498"/>
              </a:cxn>
              <a:cxn ang="0">
                <a:pos x="connsiteX38499" y="connsiteY38499"/>
              </a:cxn>
              <a:cxn ang="0">
                <a:pos x="connsiteX38500" y="connsiteY38500"/>
              </a:cxn>
              <a:cxn ang="0">
                <a:pos x="connsiteX38501" y="connsiteY38501"/>
              </a:cxn>
              <a:cxn ang="0">
                <a:pos x="connsiteX38502" y="connsiteY38502"/>
              </a:cxn>
              <a:cxn ang="0">
                <a:pos x="connsiteX38503" y="connsiteY38503"/>
              </a:cxn>
              <a:cxn ang="0">
                <a:pos x="connsiteX38504" y="connsiteY38504"/>
              </a:cxn>
              <a:cxn ang="0">
                <a:pos x="connsiteX38505" y="connsiteY38505"/>
              </a:cxn>
              <a:cxn ang="0">
                <a:pos x="connsiteX38506" y="connsiteY38506"/>
              </a:cxn>
              <a:cxn ang="0">
                <a:pos x="connsiteX38507" y="connsiteY38507"/>
              </a:cxn>
              <a:cxn ang="0">
                <a:pos x="connsiteX38508" y="connsiteY38508"/>
              </a:cxn>
              <a:cxn ang="0">
                <a:pos x="connsiteX38509" y="connsiteY38509"/>
              </a:cxn>
              <a:cxn ang="0">
                <a:pos x="connsiteX38510" y="connsiteY38510"/>
              </a:cxn>
              <a:cxn ang="0">
                <a:pos x="connsiteX38511" y="connsiteY38511"/>
              </a:cxn>
              <a:cxn ang="0">
                <a:pos x="connsiteX38512" y="connsiteY38512"/>
              </a:cxn>
              <a:cxn ang="0">
                <a:pos x="connsiteX38513" y="connsiteY38513"/>
              </a:cxn>
              <a:cxn ang="0">
                <a:pos x="connsiteX38514" y="connsiteY38514"/>
              </a:cxn>
              <a:cxn ang="0">
                <a:pos x="connsiteX38515" y="connsiteY38515"/>
              </a:cxn>
              <a:cxn ang="0">
                <a:pos x="connsiteX38516" y="connsiteY38516"/>
              </a:cxn>
              <a:cxn ang="0">
                <a:pos x="connsiteX38517" y="connsiteY38517"/>
              </a:cxn>
              <a:cxn ang="0">
                <a:pos x="connsiteX38518" y="connsiteY38518"/>
              </a:cxn>
              <a:cxn ang="0">
                <a:pos x="connsiteX38519" y="connsiteY38519"/>
              </a:cxn>
              <a:cxn ang="0">
                <a:pos x="connsiteX38520" y="connsiteY38520"/>
              </a:cxn>
              <a:cxn ang="0">
                <a:pos x="connsiteX38521" y="connsiteY38521"/>
              </a:cxn>
              <a:cxn ang="0">
                <a:pos x="connsiteX38522" y="connsiteY38522"/>
              </a:cxn>
              <a:cxn ang="0">
                <a:pos x="connsiteX38523" y="connsiteY38523"/>
              </a:cxn>
              <a:cxn ang="0">
                <a:pos x="connsiteX38524" y="connsiteY38524"/>
              </a:cxn>
              <a:cxn ang="0">
                <a:pos x="connsiteX38525" y="connsiteY38525"/>
              </a:cxn>
              <a:cxn ang="0">
                <a:pos x="connsiteX38526" y="connsiteY38526"/>
              </a:cxn>
              <a:cxn ang="0">
                <a:pos x="connsiteX38527" y="connsiteY38527"/>
              </a:cxn>
              <a:cxn ang="0">
                <a:pos x="connsiteX38528" y="connsiteY38528"/>
              </a:cxn>
              <a:cxn ang="0">
                <a:pos x="connsiteX38529" y="connsiteY38529"/>
              </a:cxn>
              <a:cxn ang="0">
                <a:pos x="connsiteX38530" y="connsiteY38530"/>
              </a:cxn>
              <a:cxn ang="0">
                <a:pos x="connsiteX38531" y="connsiteY38531"/>
              </a:cxn>
              <a:cxn ang="0">
                <a:pos x="connsiteX38532" y="connsiteY38532"/>
              </a:cxn>
              <a:cxn ang="0">
                <a:pos x="connsiteX38533" y="connsiteY38533"/>
              </a:cxn>
              <a:cxn ang="0">
                <a:pos x="connsiteX38534" y="connsiteY38534"/>
              </a:cxn>
              <a:cxn ang="0">
                <a:pos x="connsiteX38535" y="connsiteY38535"/>
              </a:cxn>
              <a:cxn ang="0">
                <a:pos x="connsiteX38536" y="connsiteY38536"/>
              </a:cxn>
              <a:cxn ang="0">
                <a:pos x="connsiteX38537" y="connsiteY38537"/>
              </a:cxn>
              <a:cxn ang="0">
                <a:pos x="connsiteX38538" y="connsiteY38538"/>
              </a:cxn>
              <a:cxn ang="0">
                <a:pos x="connsiteX38539" y="connsiteY38539"/>
              </a:cxn>
              <a:cxn ang="0">
                <a:pos x="connsiteX38540" y="connsiteY38540"/>
              </a:cxn>
              <a:cxn ang="0">
                <a:pos x="connsiteX38541" y="connsiteY38541"/>
              </a:cxn>
              <a:cxn ang="0">
                <a:pos x="connsiteX38542" y="connsiteY38542"/>
              </a:cxn>
              <a:cxn ang="0">
                <a:pos x="connsiteX38543" y="connsiteY38543"/>
              </a:cxn>
              <a:cxn ang="0">
                <a:pos x="connsiteX38544" y="connsiteY38544"/>
              </a:cxn>
              <a:cxn ang="0">
                <a:pos x="connsiteX38545" y="connsiteY38545"/>
              </a:cxn>
              <a:cxn ang="0">
                <a:pos x="connsiteX38546" y="connsiteY38546"/>
              </a:cxn>
              <a:cxn ang="0">
                <a:pos x="connsiteX38547" y="connsiteY38547"/>
              </a:cxn>
              <a:cxn ang="0">
                <a:pos x="connsiteX38548" y="connsiteY38548"/>
              </a:cxn>
              <a:cxn ang="0">
                <a:pos x="connsiteX38549" y="connsiteY38549"/>
              </a:cxn>
              <a:cxn ang="0">
                <a:pos x="connsiteX38550" y="connsiteY38550"/>
              </a:cxn>
              <a:cxn ang="0">
                <a:pos x="connsiteX38551" y="connsiteY38551"/>
              </a:cxn>
              <a:cxn ang="0">
                <a:pos x="connsiteX38552" y="connsiteY38552"/>
              </a:cxn>
              <a:cxn ang="0">
                <a:pos x="connsiteX38553" y="connsiteY38553"/>
              </a:cxn>
              <a:cxn ang="0">
                <a:pos x="connsiteX38554" y="connsiteY38554"/>
              </a:cxn>
              <a:cxn ang="0">
                <a:pos x="connsiteX38555" y="connsiteY38555"/>
              </a:cxn>
              <a:cxn ang="0">
                <a:pos x="connsiteX38556" y="connsiteY38556"/>
              </a:cxn>
              <a:cxn ang="0">
                <a:pos x="connsiteX38557" y="connsiteY38557"/>
              </a:cxn>
              <a:cxn ang="0">
                <a:pos x="connsiteX38558" y="connsiteY38558"/>
              </a:cxn>
              <a:cxn ang="0">
                <a:pos x="connsiteX38559" y="connsiteY38559"/>
              </a:cxn>
              <a:cxn ang="0">
                <a:pos x="connsiteX38560" y="connsiteY38560"/>
              </a:cxn>
              <a:cxn ang="0">
                <a:pos x="connsiteX38561" y="connsiteY38561"/>
              </a:cxn>
              <a:cxn ang="0">
                <a:pos x="connsiteX38562" y="connsiteY38562"/>
              </a:cxn>
              <a:cxn ang="0">
                <a:pos x="connsiteX38563" y="connsiteY38563"/>
              </a:cxn>
              <a:cxn ang="0">
                <a:pos x="connsiteX38564" y="connsiteY38564"/>
              </a:cxn>
              <a:cxn ang="0">
                <a:pos x="connsiteX38565" y="connsiteY38565"/>
              </a:cxn>
              <a:cxn ang="0">
                <a:pos x="connsiteX38566" y="connsiteY38566"/>
              </a:cxn>
              <a:cxn ang="0">
                <a:pos x="connsiteX38567" y="connsiteY38567"/>
              </a:cxn>
              <a:cxn ang="0">
                <a:pos x="connsiteX38568" y="connsiteY38568"/>
              </a:cxn>
              <a:cxn ang="0">
                <a:pos x="connsiteX38569" y="connsiteY38569"/>
              </a:cxn>
              <a:cxn ang="0">
                <a:pos x="connsiteX38570" y="connsiteY38570"/>
              </a:cxn>
              <a:cxn ang="0">
                <a:pos x="connsiteX38571" y="connsiteY38571"/>
              </a:cxn>
              <a:cxn ang="0">
                <a:pos x="connsiteX38572" y="connsiteY38572"/>
              </a:cxn>
              <a:cxn ang="0">
                <a:pos x="connsiteX38573" y="connsiteY38573"/>
              </a:cxn>
              <a:cxn ang="0">
                <a:pos x="connsiteX38574" y="connsiteY38574"/>
              </a:cxn>
              <a:cxn ang="0">
                <a:pos x="connsiteX38575" y="connsiteY38575"/>
              </a:cxn>
              <a:cxn ang="0">
                <a:pos x="connsiteX38576" y="connsiteY38576"/>
              </a:cxn>
              <a:cxn ang="0">
                <a:pos x="connsiteX38577" y="connsiteY38577"/>
              </a:cxn>
              <a:cxn ang="0">
                <a:pos x="connsiteX38578" y="connsiteY38578"/>
              </a:cxn>
              <a:cxn ang="0">
                <a:pos x="connsiteX38579" y="connsiteY38579"/>
              </a:cxn>
              <a:cxn ang="0">
                <a:pos x="connsiteX38580" y="connsiteY38580"/>
              </a:cxn>
              <a:cxn ang="0">
                <a:pos x="connsiteX38581" y="connsiteY38581"/>
              </a:cxn>
              <a:cxn ang="0">
                <a:pos x="connsiteX38582" y="connsiteY38582"/>
              </a:cxn>
              <a:cxn ang="0">
                <a:pos x="connsiteX38583" y="connsiteY38583"/>
              </a:cxn>
              <a:cxn ang="0">
                <a:pos x="connsiteX38584" y="connsiteY38584"/>
              </a:cxn>
              <a:cxn ang="0">
                <a:pos x="connsiteX38585" y="connsiteY38585"/>
              </a:cxn>
              <a:cxn ang="0">
                <a:pos x="connsiteX38586" y="connsiteY38586"/>
              </a:cxn>
              <a:cxn ang="0">
                <a:pos x="connsiteX38587" y="connsiteY38587"/>
              </a:cxn>
              <a:cxn ang="0">
                <a:pos x="connsiteX38588" y="connsiteY38588"/>
              </a:cxn>
              <a:cxn ang="0">
                <a:pos x="connsiteX38589" y="connsiteY38589"/>
              </a:cxn>
              <a:cxn ang="0">
                <a:pos x="connsiteX38590" y="connsiteY38590"/>
              </a:cxn>
              <a:cxn ang="0">
                <a:pos x="connsiteX38591" y="connsiteY38591"/>
              </a:cxn>
              <a:cxn ang="0">
                <a:pos x="connsiteX38592" y="connsiteY38592"/>
              </a:cxn>
              <a:cxn ang="0">
                <a:pos x="connsiteX38593" y="connsiteY38593"/>
              </a:cxn>
              <a:cxn ang="0">
                <a:pos x="connsiteX38594" y="connsiteY38594"/>
              </a:cxn>
              <a:cxn ang="0">
                <a:pos x="connsiteX38595" y="connsiteY38595"/>
              </a:cxn>
              <a:cxn ang="0">
                <a:pos x="connsiteX38596" y="connsiteY38596"/>
              </a:cxn>
              <a:cxn ang="0">
                <a:pos x="connsiteX38597" y="connsiteY38597"/>
              </a:cxn>
              <a:cxn ang="0">
                <a:pos x="connsiteX38598" y="connsiteY38598"/>
              </a:cxn>
              <a:cxn ang="0">
                <a:pos x="connsiteX38599" y="connsiteY38599"/>
              </a:cxn>
              <a:cxn ang="0">
                <a:pos x="connsiteX38600" y="connsiteY38600"/>
              </a:cxn>
              <a:cxn ang="0">
                <a:pos x="connsiteX38601" y="connsiteY38601"/>
              </a:cxn>
              <a:cxn ang="0">
                <a:pos x="connsiteX38602" y="connsiteY38602"/>
              </a:cxn>
              <a:cxn ang="0">
                <a:pos x="connsiteX38603" y="connsiteY38603"/>
              </a:cxn>
              <a:cxn ang="0">
                <a:pos x="connsiteX38604" y="connsiteY38604"/>
              </a:cxn>
              <a:cxn ang="0">
                <a:pos x="connsiteX38605" y="connsiteY38605"/>
              </a:cxn>
              <a:cxn ang="0">
                <a:pos x="connsiteX38606" y="connsiteY38606"/>
              </a:cxn>
              <a:cxn ang="0">
                <a:pos x="connsiteX38607" y="connsiteY38607"/>
              </a:cxn>
              <a:cxn ang="0">
                <a:pos x="connsiteX38608" y="connsiteY38608"/>
              </a:cxn>
              <a:cxn ang="0">
                <a:pos x="connsiteX38609" y="connsiteY38609"/>
              </a:cxn>
              <a:cxn ang="0">
                <a:pos x="connsiteX38610" y="connsiteY38610"/>
              </a:cxn>
              <a:cxn ang="0">
                <a:pos x="connsiteX38611" y="connsiteY38611"/>
              </a:cxn>
              <a:cxn ang="0">
                <a:pos x="connsiteX38612" y="connsiteY38612"/>
              </a:cxn>
              <a:cxn ang="0">
                <a:pos x="connsiteX38613" y="connsiteY38613"/>
              </a:cxn>
              <a:cxn ang="0">
                <a:pos x="connsiteX38614" y="connsiteY38614"/>
              </a:cxn>
              <a:cxn ang="0">
                <a:pos x="connsiteX38615" y="connsiteY38615"/>
              </a:cxn>
              <a:cxn ang="0">
                <a:pos x="connsiteX38616" y="connsiteY38616"/>
              </a:cxn>
              <a:cxn ang="0">
                <a:pos x="connsiteX38617" y="connsiteY38617"/>
              </a:cxn>
              <a:cxn ang="0">
                <a:pos x="connsiteX38618" y="connsiteY38618"/>
              </a:cxn>
              <a:cxn ang="0">
                <a:pos x="connsiteX38619" y="connsiteY38619"/>
              </a:cxn>
              <a:cxn ang="0">
                <a:pos x="connsiteX38620" y="connsiteY38620"/>
              </a:cxn>
              <a:cxn ang="0">
                <a:pos x="connsiteX38621" y="connsiteY38621"/>
              </a:cxn>
              <a:cxn ang="0">
                <a:pos x="connsiteX38622" y="connsiteY38622"/>
              </a:cxn>
              <a:cxn ang="0">
                <a:pos x="connsiteX38623" y="connsiteY38623"/>
              </a:cxn>
              <a:cxn ang="0">
                <a:pos x="connsiteX38624" y="connsiteY38624"/>
              </a:cxn>
              <a:cxn ang="0">
                <a:pos x="connsiteX38625" y="connsiteY38625"/>
              </a:cxn>
              <a:cxn ang="0">
                <a:pos x="connsiteX38626" y="connsiteY38626"/>
              </a:cxn>
              <a:cxn ang="0">
                <a:pos x="connsiteX38627" y="connsiteY38627"/>
              </a:cxn>
              <a:cxn ang="0">
                <a:pos x="connsiteX38628" y="connsiteY38628"/>
              </a:cxn>
              <a:cxn ang="0">
                <a:pos x="connsiteX38629" y="connsiteY38629"/>
              </a:cxn>
              <a:cxn ang="0">
                <a:pos x="connsiteX38630" y="connsiteY38630"/>
              </a:cxn>
              <a:cxn ang="0">
                <a:pos x="connsiteX38631" y="connsiteY38631"/>
              </a:cxn>
              <a:cxn ang="0">
                <a:pos x="connsiteX38632" y="connsiteY38632"/>
              </a:cxn>
              <a:cxn ang="0">
                <a:pos x="connsiteX38633" y="connsiteY38633"/>
              </a:cxn>
              <a:cxn ang="0">
                <a:pos x="connsiteX38634" y="connsiteY38634"/>
              </a:cxn>
              <a:cxn ang="0">
                <a:pos x="connsiteX38635" y="connsiteY38635"/>
              </a:cxn>
              <a:cxn ang="0">
                <a:pos x="connsiteX38636" y="connsiteY38636"/>
              </a:cxn>
              <a:cxn ang="0">
                <a:pos x="connsiteX38637" y="connsiteY38637"/>
              </a:cxn>
              <a:cxn ang="0">
                <a:pos x="connsiteX38638" y="connsiteY38638"/>
              </a:cxn>
              <a:cxn ang="0">
                <a:pos x="connsiteX38639" y="connsiteY38639"/>
              </a:cxn>
              <a:cxn ang="0">
                <a:pos x="connsiteX38640" y="connsiteY38640"/>
              </a:cxn>
              <a:cxn ang="0">
                <a:pos x="connsiteX38641" y="connsiteY38641"/>
              </a:cxn>
              <a:cxn ang="0">
                <a:pos x="connsiteX38642" y="connsiteY38642"/>
              </a:cxn>
              <a:cxn ang="0">
                <a:pos x="connsiteX38643" y="connsiteY38643"/>
              </a:cxn>
              <a:cxn ang="0">
                <a:pos x="connsiteX38644" y="connsiteY38644"/>
              </a:cxn>
              <a:cxn ang="0">
                <a:pos x="connsiteX38645" y="connsiteY38645"/>
              </a:cxn>
              <a:cxn ang="0">
                <a:pos x="connsiteX38646" y="connsiteY38646"/>
              </a:cxn>
              <a:cxn ang="0">
                <a:pos x="connsiteX38647" y="connsiteY38647"/>
              </a:cxn>
              <a:cxn ang="0">
                <a:pos x="connsiteX38648" y="connsiteY38648"/>
              </a:cxn>
              <a:cxn ang="0">
                <a:pos x="connsiteX38649" y="connsiteY38649"/>
              </a:cxn>
              <a:cxn ang="0">
                <a:pos x="connsiteX38650" y="connsiteY38650"/>
              </a:cxn>
              <a:cxn ang="0">
                <a:pos x="connsiteX38651" y="connsiteY38651"/>
              </a:cxn>
              <a:cxn ang="0">
                <a:pos x="connsiteX38652" y="connsiteY38652"/>
              </a:cxn>
              <a:cxn ang="0">
                <a:pos x="connsiteX38653" y="connsiteY38653"/>
              </a:cxn>
              <a:cxn ang="0">
                <a:pos x="connsiteX38654" y="connsiteY38654"/>
              </a:cxn>
              <a:cxn ang="0">
                <a:pos x="connsiteX38655" y="connsiteY38655"/>
              </a:cxn>
              <a:cxn ang="0">
                <a:pos x="connsiteX38656" y="connsiteY38656"/>
              </a:cxn>
              <a:cxn ang="0">
                <a:pos x="connsiteX38657" y="connsiteY38657"/>
              </a:cxn>
              <a:cxn ang="0">
                <a:pos x="connsiteX38658" y="connsiteY38658"/>
              </a:cxn>
              <a:cxn ang="0">
                <a:pos x="connsiteX38659" y="connsiteY38659"/>
              </a:cxn>
              <a:cxn ang="0">
                <a:pos x="connsiteX38660" y="connsiteY38660"/>
              </a:cxn>
              <a:cxn ang="0">
                <a:pos x="connsiteX38661" y="connsiteY38661"/>
              </a:cxn>
              <a:cxn ang="0">
                <a:pos x="connsiteX38662" y="connsiteY38662"/>
              </a:cxn>
              <a:cxn ang="0">
                <a:pos x="connsiteX38663" y="connsiteY38663"/>
              </a:cxn>
              <a:cxn ang="0">
                <a:pos x="connsiteX38664" y="connsiteY38664"/>
              </a:cxn>
              <a:cxn ang="0">
                <a:pos x="connsiteX38665" y="connsiteY38665"/>
              </a:cxn>
              <a:cxn ang="0">
                <a:pos x="connsiteX38666" y="connsiteY38666"/>
              </a:cxn>
              <a:cxn ang="0">
                <a:pos x="connsiteX38667" y="connsiteY38667"/>
              </a:cxn>
              <a:cxn ang="0">
                <a:pos x="connsiteX38668" y="connsiteY38668"/>
              </a:cxn>
              <a:cxn ang="0">
                <a:pos x="connsiteX38669" y="connsiteY38669"/>
              </a:cxn>
              <a:cxn ang="0">
                <a:pos x="connsiteX38670" y="connsiteY38670"/>
              </a:cxn>
              <a:cxn ang="0">
                <a:pos x="connsiteX38671" y="connsiteY38671"/>
              </a:cxn>
              <a:cxn ang="0">
                <a:pos x="connsiteX38672" y="connsiteY38672"/>
              </a:cxn>
              <a:cxn ang="0">
                <a:pos x="connsiteX38673" y="connsiteY38673"/>
              </a:cxn>
              <a:cxn ang="0">
                <a:pos x="connsiteX38674" y="connsiteY38674"/>
              </a:cxn>
              <a:cxn ang="0">
                <a:pos x="connsiteX38675" y="connsiteY38675"/>
              </a:cxn>
              <a:cxn ang="0">
                <a:pos x="connsiteX38676" y="connsiteY38676"/>
              </a:cxn>
              <a:cxn ang="0">
                <a:pos x="connsiteX38677" y="connsiteY38677"/>
              </a:cxn>
              <a:cxn ang="0">
                <a:pos x="connsiteX38678" y="connsiteY38678"/>
              </a:cxn>
              <a:cxn ang="0">
                <a:pos x="connsiteX38679" y="connsiteY38679"/>
              </a:cxn>
              <a:cxn ang="0">
                <a:pos x="connsiteX38680" y="connsiteY38680"/>
              </a:cxn>
              <a:cxn ang="0">
                <a:pos x="connsiteX38681" y="connsiteY38681"/>
              </a:cxn>
              <a:cxn ang="0">
                <a:pos x="connsiteX38682" y="connsiteY38682"/>
              </a:cxn>
              <a:cxn ang="0">
                <a:pos x="connsiteX38683" y="connsiteY38683"/>
              </a:cxn>
              <a:cxn ang="0">
                <a:pos x="connsiteX38684" y="connsiteY38684"/>
              </a:cxn>
              <a:cxn ang="0">
                <a:pos x="connsiteX38685" y="connsiteY38685"/>
              </a:cxn>
              <a:cxn ang="0">
                <a:pos x="connsiteX38686" y="connsiteY38686"/>
              </a:cxn>
              <a:cxn ang="0">
                <a:pos x="connsiteX38687" y="connsiteY38687"/>
              </a:cxn>
              <a:cxn ang="0">
                <a:pos x="connsiteX38688" y="connsiteY38688"/>
              </a:cxn>
              <a:cxn ang="0">
                <a:pos x="connsiteX38689" y="connsiteY38689"/>
              </a:cxn>
              <a:cxn ang="0">
                <a:pos x="connsiteX38690" y="connsiteY38690"/>
              </a:cxn>
              <a:cxn ang="0">
                <a:pos x="connsiteX38691" y="connsiteY38691"/>
              </a:cxn>
              <a:cxn ang="0">
                <a:pos x="connsiteX38692" y="connsiteY38692"/>
              </a:cxn>
              <a:cxn ang="0">
                <a:pos x="connsiteX38693" y="connsiteY38693"/>
              </a:cxn>
              <a:cxn ang="0">
                <a:pos x="connsiteX38694" y="connsiteY38694"/>
              </a:cxn>
              <a:cxn ang="0">
                <a:pos x="connsiteX38695" y="connsiteY38695"/>
              </a:cxn>
              <a:cxn ang="0">
                <a:pos x="connsiteX38696" y="connsiteY38696"/>
              </a:cxn>
              <a:cxn ang="0">
                <a:pos x="connsiteX38697" y="connsiteY38697"/>
              </a:cxn>
              <a:cxn ang="0">
                <a:pos x="connsiteX38698" y="connsiteY38698"/>
              </a:cxn>
              <a:cxn ang="0">
                <a:pos x="connsiteX38699" y="connsiteY38699"/>
              </a:cxn>
              <a:cxn ang="0">
                <a:pos x="connsiteX38700" y="connsiteY38700"/>
              </a:cxn>
              <a:cxn ang="0">
                <a:pos x="connsiteX38701" y="connsiteY38701"/>
              </a:cxn>
              <a:cxn ang="0">
                <a:pos x="connsiteX38702" y="connsiteY38702"/>
              </a:cxn>
              <a:cxn ang="0">
                <a:pos x="connsiteX38703" y="connsiteY38703"/>
              </a:cxn>
              <a:cxn ang="0">
                <a:pos x="connsiteX38704" y="connsiteY38704"/>
              </a:cxn>
              <a:cxn ang="0">
                <a:pos x="connsiteX38705" y="connsiteY38705"/>
              </a:cxn>
              <a:cxn ang="0">
                <a:pos x="connsiteX38706" y="connsiteY38706"/>
              </a:cxn>
              <a:cxn ang="0">
                <a:pos x="connsiteX38707" y="connsiteY38707"/>
              </a:cxn>
              <a:cxn ang="0">
                <a:pos x="connsiteX38708" y="connsiteY38708"/>
              </a:cxn>
              <a:cxn ang="0">
                <a:pos x="connsiteX38709" y="connsiteY38709"/>
              </a:cxn>
              <a:cxn ang="0">
                <a:pos x="connsiteX38710" y="connsiteY38710"/>
              </a:cxn>
              <a:cxn ang="0">
                <a:pos x="connsiteX38711" y="connsiteY38711"/>
              </a:cxn>
              <a:cxn ang="0">
                <a:pos x="connsiteX38712" y="connsiteY38712"/>
              </a:cxn>
              <a:cxn ang="0">
                <a:pos x="connsiteX38713" y="connsiteY38713"/>
              </a:cxn>
              <a:cxn ang="0">
                <a:pos x="connsiteX38714" y="connsiteY38714"/>
              </a:cxn>
              <a:cxn ang="0">
                <a:pos x="connsiteX38715" y="connsiteY38715"/>
              </a:cxn>
              <a:cxn ang="0">
                <a:pos x="connsiteX38716" y="connsiteY38716"/>
              </a:cxn>
              <a:cxn ang="0">
                <a:pos x="connsiteX38717" y="connsiteY38717"/>
              </a:cxn>
              <a:cxn ang="0">
                <a:pos x="connsiteX38718" y="connsiteY38718"/>
              </a:cxn>
              <a:cxn ang="0">
                <a:pos x="connsiteX38719" y="connsiteY38719"/>
              </a:cxn>
              <a:cxn ang="0">
                <a:pos x="connsiteX38720" y="connsiteY38720"/>
              </a:cxn>
              <a:cxn ang="0">
                <a:pos x="connsiteX38721" y="connsiteY38721"/>
              </a:cxn>
              <a:cxn ang="0">
                <a:pos x="connsiteX38722" y="connsiteY38722"/>
              </a:cxn>
              <a:cxn ang="0">
                <a:pos x="connsiteX38723" y="connsiteY38723"/>
              </a:cxn>
              <a:cxn ang="0">
                <a:pos x="connsiteX38724" y="connsiteY38724"/>
              </a:cxn>
              <a:cxn ang="0">
                <a:pos x="connsiteX38725" y="connsiteY38725"/>
              </a:cxn>
              <a:cxn ang="0">
                <a:pos x="connsiteX38726" y="connsiteY38726"/>
              </a:cxn>
              <a:cxn ang="0">
                <a:pos x="connsiteX38727" y="connsiteY38727"/>
              </a:cxn>
              <a:cxn ang="0">
                <a:pos x="connsiteX38728" y="connsiteY38728"/>
              </a:cxn>
              <a:cxn ang="0">
                <a:pos x="connsiteX38729" y="connsiteY38729"/>
              </a:cxn>
              <a:cxn ang="0">
                <a:pos x="connsiteX38730" y="connsiteY38730"/>
              </a:cxn>
              <a:cxn ang="0">
                <a:pos x="connsiteX38731" y="connsiteY38731"/>
              </a:cxn>
              <a:cxn ang="0">
                <a:pos x="connsiteX38732" y="connsiteY38732"/>
              </a:cxn>
              <a:cxn ang="0">
                <a:pos x="connsiteX38733" y="connsiteY38733"/>
              </a:cxn>
              <a:cxn ang="0">
                <a:pos x="connsiteX38734" y="connsiteY38734"/>
              </a:cxn>
              <a:cxn ang="0">
                <a:pos x="connsiteX38735" y="connsiteY38735"/>
              </a:cxn>
              <a:cxn ang="0">
                <a:pos x="connsiteX38736" y="connsiteY38736"/>
              </a:cxn>
              <a:cxn ang="0">
                <a:pos x="connsiteX38737" y="connsiteY38737"/>
              </a:cxn>
              <a:cxn ang="0">
                <a:pos x="connsiteX38738" y="connsiteY38738"/>
              </a:cxn>
              <a:cxn ang="0">
                <a:pos x="connsiteX38739" y="connsiteY38739"/>
              </a:cxn>
              <a:cxn ang="0">
                <a:pos x="connsiteX38740" y="connsiteY38740"/>
              </a:cxn>
              <a:cxn ang="0">
                <a:pos x="connsiteX38741" y="connsiteY38741"/>
              </a:cxn>
              <a:cxn ang="0">
                <a:pos x="connsiteX38742" y="connsiteY38742"/>
              </a:cxn>
              <a:cxn ang="0">
                <a:pos x="connsiteX38743" y="connsiteY38743"/>
              </a:cxn>
              <a:cxn ang="0">
                <a:pos x="connsiteX38744" y="connsiteY38744"/>
              </a:cxn>
              <a:cxn ang="0">
                <a:pos x="connsiteX38745" y="connsiteY38745"/>
              </a:cxn>
              <a:cxn ang="0">
                <a:pos x="connsiteX38746" y="connsiteY38746"/>
              </a:cxn>
              <a:cxn ang="0">
                <a:pos x="connsiteX38747" y="connsiteY38747"/>
              </a:cxn>
              <a:cxn ang="0">
                <a:pos x="connsiteX38748" y="connsiteY38748"/>
              </a:cxn>
              <a:cxn ang="0">
                <a:pos x="connsiteX38749" y="connsiteY38749"/>
              </a:cxn>
              <a:cxn ang="0">
                <a:pos x="connsiteX38750" y="connsiteY38750"/>
              </a:cxn>
              <a:cxn ang="0">
                <a:pos x="connsiteX38751" y="connsiteY38751"/>
              </a:cxn>
              <a:cxn ang="0">
                <a:pos x="connsiteX38752" y="connsiteY38752"/>
              </a:cxn>
              <a:cxn ang="0">
                <a:pos x="connsiteX38753" y="connsiteY38753"/>
              </a:cxn>
              <a:cxn ang="0">
                <a:pos x="connsiteX38754" y="connsiteY38754"/>
              </a:cxn>
              <a:cxn ang="0">
                <a:pos x="connsiteX38755" y="connsiteY38755"/>
              </a:cxn>
              <a:cxn ang="0">
                <a:pos x="connsiteX38756" y="connsiteY38756"/>
              </a:cxn>
              <a:cxn ang="0">
                <a:pos x="connsiteX38757" y="connsiteY38757"/>
              </a:cxn>
              <a:cxn ang="0">
                <a:pos x="connsiteX38758" y="connsiteY38758"/>
              </a:cxn>
              <a:cxn ang="0">
                <a:pos x="connsiteX38759" y="connsiteY38759"/>
              </a:cxn>
              <a:cxn ang="0">
                <a:pos x="connsiteX38760" y="connsiteY38760"/>
              </a:cxn>
              <a:cxn ang="0">
                <a:pos x="connsiteX38761" y="connsiteY38761"/>
              </a:cxn>
              <a:cxn ang="0">
                <a:pos x="connsiteX38762" y="connsiteY38762"/>
              </a:cxn>
              <a:cxn ang="0">
                <a:pos x="connsiteX38763" y="connsiteY38763"/>
              </a:cxn>
              <a:cxn ang="0">
                <a:pos x="connsiteX38764" y="connsiteY38764"/>
              </a:cxn>
              <a:cxn ang="0">
                <a:pos x="connsiteX38765" y="connsiteY38765"/>
              </a:cxn>
              <a:cxn ang="0">
                <a:pos x="connsiteX38766" y="connsiteY38766"/>
              </a:cxn>
              <a:cxn ang="0">
                <a:pos x="connsiteX38767" y="connsiteY38767"/>
              </a:cxn>
              <a:cxn ang="0">
                <a:pos x="connsiteX38768" y="connsiteY38768"/>
              </a:cxn>
              <a:cxn ang="0">
                <a:pos x="connsiteX38769" y="connsiteY38769"/>
              </a:cxn>
              <a:cxn ang="0">
                <a:pos x="connsiteX38770" y="connsiteY38770"/>
              </a:cxn>
              <a:cxn ang="0">
                <a:pos x="connsiteX38771" y="connsiteY38771"/>
              </a:cxn>
              <a:cxn ang="0">
                <a:pos x="connsiteX38772" y="connsiteY38772"/>
              </a:cxn>
              <a:cxn ang="0">
                <a:pos x="connsiteX38773" y="connsiteY38773"/>
              </a:cxn>
              <a:cxn ang="0">
                <a:pos x="connsiteX38774" y="connsiteY38774"/>
              </a:cxn>
              <a:cxn ang="0">
                <a:pos x="connsiteX38775" y="connsiteY38775"/>
              </a:cxn>
              <a:cxn ang="0">
                <a:pos x="connsiteX38776" y="connsiteY38776"/>
              </a:cxn>
              <a:cxn ang="0">
                <a:pos x="connsiteX38777" y="connsiteY38777"/>
              </a:cxn>
              <a:cxn ang="0">
                <a:pos x="connsiteX38778" y="connsiteY38778"/>
              </a:cxn>
              <a:cxn ang="0">
                <a:pos x="connsiteX38779" y="connsiteY38779"/>
              </a:cxn>
              <a:cxn ang="0">
                <a:pos x="connsiteX38780" y="connsiteY38780"/>
              </a:cxn>
              <a:cxn ang="0">
                <a:pos x="connsiteX38781" y="connsiteY38781"/>
              </a:cxn>
              <a:cxn ang="0">
                <a:pos x="connsiteX38782" y="connsiteY38782"/>
              </a:cxn>
              <a:cxn ang="0">
                <a:pos x="connsiteX38783" y="connsiteY38783"/>
              </a:cxn>
              <a:cxn ang="0">
                <a:pos x="connsiteX38784" y="connsiteY38784"/>
              </a:cxn>
              <a:cxn ang="0">
                <a:pos x="connsiteX38785" y="connsiteY38785"/>
              </a:cxn>
              <a:cxn ang="0">
                <a:pos x="connsiteX38786" y="connsiteY38786"/>
              </a:cxn>
              <a:cxn ang="0">
                <a:pos x="connsiteX38787" y="connsiteY38787"/>
              </a:cxn>
              <a:cxn ang="0">
                <a:pos x="connsiteX38788" y="connsiteY38788"/>
              </a:cxn>
              <a:cxn ang="0">
                <a:pos x="connsiteX38789" y="connsiteY38789"/>
              </a:cxn>
              <a:cxn ang="0">
                <a:pos x="connsiteX38790" y="connsiteY38790"/>
              </a:cxn>
              <a:cxn ang="0">
                <a:pos x="connsiteX38791" y="connsiteY38791"/>
              </a:cxn>
              <a:cxn ang="0">
                <a:pos x="connsiteX38792" y="connsiteY38792"/>
              </a:cxn>
              <a:cxn ang="0">
                <a:pos x="connsiteX38793" y="connsiteY38793"/>
              </a:cxn>
              <a:cxn ang="0">
                <a:pos x="connsiteX38794" y="connsiteY38794"/>
              </a:cxn>
              <a:cxn ang="0">
                <a:pos x="connsiteX38795" y="connsiteY38795"/>
              </a:cxn>
              <a:cxn ang="0">
                <a:pos x="connsiteX38796" y="connsiteY38796"/>
              </a:cxn>
              <a:cxn ang="0">
                <a:pos x="connsiteX38797" y="connsiteY38797"/>
              </a:cxn>
              <a:cxn ang="0">
                <a:pos x="connsiteX38798" y="connsiteY38798"/>
              </a:cxn>
              <a:cxn ang="0">
                <a:pos x="connsiteX38799" y="connsiteY38799"/>
              </a:cxn>
              <a:cxn ang="0">
                <a:pos x="connsiteX38800" y="connsiteY38800"/>
              </a:cxn>
              <a:cxn ang="0">
                <a:pos x="connsiteX38801" y="connsiteY38801"/>
              </a:cxn>
              <a:cxn ang="0">
                <a:pos x="connsiteX38802" y="connsiteY38802"/>
              </a:cxn>
              <a:cxn ang="0">
                <a:pos x="connsiteX38803" y="connsiteY38803"/>
              </a:cxn>
              <a:cxn ang="0">
                <a:pos x="connsiteX38804" y="connsiteY38804"/>
              </a:cxn>
              <a:cxn ang="0">
                <a:pos x="connsiteX38805" y="connsiteY38805"/>
              </a:cxn>
              <a:cxn ang="0">
                <a:pos x="connsiteX38806" y="connsiteY38806"/>
              </a:cxn>
              <a:cxn ang="0">
                <a:pos x="connsiteX38807" y="connsiteY38807"/>
              </a:cxn>
              <a:cxn ang="0">
                <a:pos x="connsiteX38808" y="connsiteY38808"/>
              </a:cxn>
              <a:cxn ang="0">
                <a:pos x="connsiteX38809" y="connsiteY38809"/>
              </a:cxn>
              <a:cxn ang="0">
                <a:pos x="connsiteX38810" y="connsiteY38810"/>
              </a:cxn>
              <a:cxn ang="0">
                <a:pos x="connsiteX38811" y="connsiteY38811"/>
              </a:cxn>
              <a:cxn ang="0">
                <a:pos x="connsiteX38812" y="connsiteY38812"/>
              </a:cxn>
              <a:cxn ang="0">
                <a:pos x="connsiteX38813" y="connsiteY38813"/>
              </a:cxn>
              <a:cxn ang="0">
                <a:pos x="connsiteX38814" y="connsiteY38814"/>
              </a:cxn>
              <a:cxn ang="0">
                <a:pos x="connsiteX38815" y="connsiteY38815"/>
              </a:cxn>
              <a:cxn ang="0">
                <a:pos x="connsiteX38816" y="connsiteY38816"/>
              </a:cxn>
              <a:cxn ang="0">
                <a:pos x="connsiteX38817" y="connsiteY38817"/>
              </a:cxn>
              <a:cxn ang="0">
                <a:pos x="connsiteX38818" y="connsiteY38818"/>
              </a:cxn>
              <a:cxn ang="0">
                <a:pos x="connsiteX38819" y="connsiteY38819"/>
              </a:cxn>
              <a:cxn ang="0">
                <a:pos x="connsiteX38820" y="connsiteY38820"/>
              </a:cxn>
              <a:cxn ang="0">
                <a:pos x="connsiteX38821" y="connsiteY38821"/>
              </a:cxn>
              <a:cxn ang="0">
                <a:pos x="connsiteX38822" y="connsiteY38822"/>
              </a:cxn>
              <a:cxn ang="0">
                <a:pos x="connsiteX38823" y="connsiteY38823"/>
              </a:cxn>
              <a:cxn ang="0">
                <a:pos x="connsiteX38824" y="connsiteY38824"/>
              </a:cxn>
              <a:cxn ang="0">
                <a:pos x="connsiteX38825" y="connsiteY38825"/>
              </a:cxn>
              <a:cxn ang="0">
                <a:pos x="connsiteX38826" y="connsiteY38826"/>
              </a:cxn>
              <a:cxn ang="0">
                <a:pos x="connsiteX38827" y="connsiteY38827"/>
              </a:cxn>
              <a:cxn ang="0">
                <a:pos x="connsiteX38828" y="connsiteY38828"/>
              </a:cxn>
              <a:cxn ang="0">
                <a:pos x="connsiteX38829" y="connsiteY38829"/>
              </a:cxn>
              <a:cxn ang="0">
                <a:pos x="connsiteX38830" y="connsiteY38830"/>
              </a:cxn>
              <a:cxn ang="0">
                <a:pos x="connsiteX38831" y="connsiteY38831"/>
              </a:cxn>
              <a:cxn ang="0">
                <a:pos x="connsiteX38832" y="connsiteY38832"/>
              </a:cxn>
              <a:cxn ang="0">
                <a:pos x="connsiteX38833" y="connsiteY38833"/>
              </a:cxn>
              <a:cxn ang="0">
                <a:pos x="connsiteX38834" y="connsiteY38834"/>
              </a:cxn>
              <a:cxn ang="0">
                <a:pos x="connsiteX38835" y="connsiteY38835"/>
              </a:cxn>
              <a:cxn ang="0">
                <a:pos x="connsiteX38836" y="connsiteY38836"/>
              </a:cxn>
              <a:cxn ang="0">
                <a:pos x="connsiteX38837" y="connsiteY38837"/>
              </a:cxn>
              <a:cxn ang="0">
                <a:pos x="connsiteX38838" y="connsiteY38838"/>
              </a:cxn>
              <a:cxn ang="0">
                <a:pos x="connsiteX38839" y="connsiteY38839"/>
              </a:cxn>
              <a:cxn ang="0">
                <a:pos x="connsiteX38840" y="connsiteY38840"/>
              </a:cxn>
              <a:cxn ang="0">
                <a:pos x="connsiteX38841" y="connsiteY38841"/>
              </a:cxn>
              <a:cxn ang="0">
                <a:pos x="connsiteX38842" y="connsiteY38842"/>
              </a:cxn>
              <a:cxn ang="0">
                <a:pos x="connsiteX38843" y="connsiteY38843"/>
              </a:cxn>
              <a:cxn ang="0">
                <a:pos x="connsiteX38844" y="connsiteY38844"/>
              </a:cxn>
              <a:cxn ang="0">
                <a:pos x="connsiteX38845" y="connsiteY38845"/>
              </a:cxn>
              <a:cxn ang="0">
                <a:pos x="connsiteX38846" y="connsiteY38846"/>
              </a:cxn>
              <a:cxn ang="0">
                <a:pos x="connsiteX38847" y="connsiteY38847"/>
              </a:cxn>
              <a:cxn ang="0">
                <a:pos x="connsiteX38848" y="connsiteY38848"/>
              </a:cxn>
              <a:cxn ang="0">
                <a:pos x="connsiteX38849" y="connsiteY38849"/>
              </a:cxn>
              <a:cxn ang="0">
                <a:pos x="connsiteX38850" y="connsiteY38850"/>
              </a:cxn>
              <a:cxn ang="0">
                <a:pos x="connsiteX38851" y="connsiteY38851"/>
              </a:cxn>
              <a:cxn ang="0">
                <a:pos x="connsiteX38852" y="connsiteY38852"/>
              </a:cxn>
              <a:cxn ang="0">
                <a:pos x="connsiteX38853" y="connsiteY38853"/>
              </a:cxn>
              <a:cxn ang="0">
                <a:pos x="connsiteX38854" y="connsiteY38854"/>
              </a:cxn>
              <a:cxn ang="0">
                <a:pos x="connsiteX38855" y="connsiteY38855"/>
              </a:cxn>
              <a:cxn ang="0">
                <a:pos x="connsiteX38856" y="connsiteY38856"/>
              </a:cxn>
              <a:cxn ang="0">
                <a:pos x="connsiteX38857" y="connsiteY38857"/>
              </a:cxn>
              <a:cxn ang="0">
                <a:pos x="connsiteX38858" y="connsiteY38858"/>
              </a:cxn>
              <a:cxn ang="0">
                <a:pos x="connsiteX38859" y="connsiteY38859"/>
              </a:cxn>
              <a:cxn ang="0">
                <a:pos x="connsiteX38860" y="connsiteY38860"/>
              </a:cxn>
              <a:cxn ang="0">
                <a:pos x="connsiteX38861" y="connsiteY38861"/>
              </a:cxn>
              <a:cxn ang="0">
                <a:pos x="connsiteX38862" y="connsiteY38862"/>
              </a:cxn>
              <a:cxn ang="0">
                <a:pos x="connsiteX38863" y="connsiteY38863"/>
              </a:cxn>
              <a:cxn ang="0">
                <a:pos x="connsiteX38864" y="connsiteY38864"/>
              </a:cxn>
              <a:cxn ang="0">
                <a:pos x="connsiteX38865" y="connsiteY38865"/>
              </a:cxn>
              <a:cxn ang="0">
                <a:pos x="connsiteX38866" y="connsiteY38866"/>
              </a:cxn>
              <a:cxn ang="0">
                <a:pos x="connsiteX38867" y="connsiteY38867"/>
              </a:cxn>
              <a:cxn ang="0">
                <a:pos x="connsiteX38868" y="connsiteY38868"/>
              </a:cxn>
              <a:cxn ang="0">
                <a:pos x="connsiteX38869" y="connsiteY38869"/>
              </a:cxn>
              <a:cxn ang="0">
                <a:pos x="connsiteX38870" y="connsiteY38870"/>
              </a:cxn>
              <a:cxn ang="0">
                <a:pos x="connsiteX38871" y="connsiteY38871"/>
              </a:cxn>
              <a:cxn ang="0">
                <a:pos x="connsiteX38872" y="connsiteY38872"/>
              </a:cxn>
              <a:cxn ang="0">
                <a:pos x="connsiteX38873" y="connsiteY38873"/>
              </a:cxn>
              <a:cxn ang="0">
                <a:pos x="connsiteX38874" y="connsiteY38874"/>
              </a:cxn>
              <a:cxn ang="0">
                <a:pos x="connsiteX38875" y="connsiteY38875"/>
              </a:cxn>
              <a:cxn ang="0">
                <a:pos x="connsiteX38876" y="connsiteY38876"/>
              </a:cxn>
              <a:cxn ang="0">
                <a:pos x="connsiteX38877" y="connsiteY38877"/>
              </a:cxn>
              <a:cxn ang="0">
                <a:pos x="connsiteX38878" y="connsiteY38878"/>
              </a:cxn>
              <a:cxn ang="0">
                <a:pos x="connsiteX38879" y="connsiteY38879"/>
              </a:cxn>
              <a:cxn ang="0">
                <a:pos x="connsiteX38880" y="connsiteY38880"/>
              </a:cxn>
              <a:cxn ang="0">
                <a:pos x="connsiteX38881" y="connsiteY38881"/>
              </a:cxn>
              <a:cxn ang="0">
                <a:pos x="connsiteX38882" y="connsiteY38882"/>
              </a:cxn>
              <a:cxn ang="0">
                <a:pos x="connsiteX38883" y="connsiteY38883"/>
              </a:cxn>
              <a:cxn ang="0">
                <a:pos x="connsiteX38884" y="connsiteY38884"/>
              </a:cxn>
              <a:cxn ang="0">
                <a:pos x="connsiteX38885" y="connsiteY38885"/>
              </a:cxn>
              <a:cxn ang="0">
                <a:pos x="connsiteX38886" y="connsiteY38886"/>
              </a:cxn>
              <a:cxn ang="0">
                <a:pos x="connsiteX38887" y="connsiteY38887"/>
              </a:cxn>
              <a:cxn ang="0">
                <a:pos x="connsiteX38888" y="connsiteY38888"/>
              </a:cxn>
              <a:cxn ang="0">
                <a:pos x="connsiteX38889" y="connsiteY38889"/>
              </a:cxn>
              <a:cxn ang="0">
                <a:pos x="connsiteX38890" y="connsiteY38890"/>
              </a:cxn>
              <a:cxn ang="0">
                <a:pos x="connsiteX38891" y="connsiteY38891"/>
              </a:cxn>
              <a:cxn ang="0">
                <a:pos x="connsiteX38892" y="connsiteY38892"/>
              </a:cxn>
              <a:cxn ang="0">
                <a:pos x="connsiteX38893" y="connsiteY38893"/>
              </a:cxn>
              <a:cxn ang="0">
                <a:pos x="connsiteX38894" y="connsiteY38894"/>
              </a:cxn>
              <a:cxn ang="0">
                <a:pos x="connsiteX38895" y="connsiteY38895"/>
              </a:cxn>
              <a:cxn ang="0">
                <a:pos x="connsiteX38896" y="connsiteY38896"/>
              </a:cxn>
              <a:cxn ang="0">
                <a:pos x="connsiteX38897" y="connsiteY38897"/>
              </a:cxn>
              <a:cxn ang="0">
                <a:pos x="connsiteX38898" y="connsiteY38898"/>
              </a:cxn>
              <a:cxn ang="0">
                <a:pos x="connsiteX38899" y="connsiteY38899"/>
              </a:cxn>
              <a:cxn ang="0">
                <a:pos x="connsiteX38900" y="connsiteY38900"/>
              </a:cxn>
              <a:cxn ang="0">
                <a:pos x="connsiteX38901" y="connsiteY38901"/>
              </a:cxn>
              <a:cxn ang="0">
                <a:pos x="connsiteX38902" y="connsiteY38902"/>
              </a:cxn>
              <a:cxn ang="0">
                <a:pos x="connsiteX38903" y="connsiteY38903"/>
              </a:cxn>
              <a:cxn ang="0">
                <a:pos x="connsiteX38904" y="connsiteY38904"/>
              </a:cxn>
              <a:cxn ang="0">
                <a:pos x="connsiteX38905" y="connsiteY38905"/>
              </a:cxn>
              <a:cxn ang="0">
                <a:pos x="connsiteX38906" y="connsiteY38906"/>
              </a:cxn>
              <a:cxn ang="0">
                <a:pos x="connsiteX38907" y="connsiteY38907"/>
              </a:cxn>
              <a:cxn ang="0">
                <a:pos x="connsiteX38908" y="connsiteY38908"/>
              </a:cxn>
              <a:cxn ang="0">
                <a:pos x="connsiteX38909" y="connsiteY38909"/>
              </a:cxn>
              <a:cxn ang="0">
                <a:pos x="connsiteX38910" y="connsiteY38910"/>
              </a:cxn>
              <a:cxn ang="0">
                <a:pos x="connsiteX38911" y="connsiteY38911"/>
              </a:cxn>
              <a:cxn ang="0">
                <a:pos x="connsiteX38912" y="connsiteY38912"/>
              </a:cxn>
              <a:cxn ang="0">
                <a:pos x="connsiteX38913" y="connsiteY38913"/>
              </a:cxn>
              <a:cxn ang="0">
                <a:pos x="connsiteX38914" y="connsiteY38914"/>
              </a:cxn>
              <a:cxn ang="0">
                <a:pos x="connsiteX38915" y="connsiteY38915"/>
              </a:cxn>
              <a:cxn ang="0">
                <a:pos x="connsiteX38916" y="connsiteY38916"/>
              </a:cxn>
              <a:cxn ang="0">
                <a:pos x="connsiteX38917" y="connsiteY38917"/>
              </a:cxn>
              <a:cxn ang="0">
                <a:pos x="connsiteX38918" y="connsiteY38918"/>
              </a:cxn>
              <a:cxn ang="0">
                <a:pos x="connsiteX38919" y="connsiteY38919"/>
              </a:cxn>
              <a:cxn ang="0">
                <a:pos x="connsiteX38920" y="connsiteY38920"/>
              </a:cxn>
              <a:cxn ang="0">
                <a:pos x="connsiteX38921" y="connsiteY38921"/>
              </a:cxn>
              <a:cxn ang="0">
                <a:pos x="connsiteX38922" y="connsiteY38922"/>
              </a:cxn>
              <a:cxn ang="0">
                <a:pos x="connsiteX38923" y="connsiteY38923"/>
              </a:cxn>
              <a:cxn ang="0">
                <a:pos x="connsiteX38924" y="connsiteY38924"/>
              </a:cxn>
              <a:cxn ang="0">
                <a:pos x="connsiteX38925" y="connsiteY38925"/>
              </a:cxn>
              <a:cxn ang="0">
                <a:pos x="connsiteX38926" y="connsiteY38926"/>
              </a:cxn>
              <a:cxn ang="0">
                <a:pos x="connsiteX38927" y="connsiteY38927"/>
              </a:cxn>
              <a:cxn ang="0">
                <a:pos x="connsiteX38928" y="connsiteY38928"/>
              </a:cxn>
              <a:cxn ang="0">
                <a:pos x="connsiteX38929" y="connsiteY38929"/>
              </a:cxn>
              <a:cxn ang="0">
                <a:pos x="connsiteX38930" y="connsiteY38930"/>
              </a:cxn>
              <a:cxn ang="0">
                <a:pos x="connsiteX38931" y="connsiteY38931"/>
              </a:cxn>
              <a:cxn ang="0">
                <a:pos x="connsiteX38932" y="connsiteY38932"/>
              </a:cxn>
              <a:cxn ang="0">
                <a:pos x="connsiteX38933" y="connsiteY38933"/>
              </a:cxn>
              <a:cxn ang="0">
                <a:pos x="connsiteX38934" y="connsiteY38934"/>
              </a:cxn>
              <a:cxn ang="0">
                <a:pos x="connsiteX38935" y="connsiteY38935"/>
              </a:cxn>
              <a:cxn ang="0">
                <a:pos x="connsiteX38936" y="connsiteY38936"/>
              </a:cxn>
              <a:cxn ang="0">
                <a:pos x="connsiteX38937" y="connsiteY38937"/>
              </a:cxn>
              <a:cxn ang="0">
                <a:pos x="connsiteX38938" y="connsiteY38938"/>
              </a:cxn>
              <a:cxn ang="0">
                <a:pos x="connsiteX38939" y="connsiteY38939"/>
              </a:cxn>
              <a:cxn ang="0">
                <a:pos x="connsiteX38940" y="connsiteY38940"/>
              </a:cxn>
              <a:cxn ang="0">
                <a:pos x="connsiteX38941" y="connsiteY38941"/>
              </a:cxn>
              <a:cxn ang="0">
                <a:pos x="connsiteX38942" y="connsiteY38942"/>
              </a:cxn>
              <a:cxn ang="0">
                <a:pos x="connsiteX38943" y="connsiteY38943"/>
              </a:cxn>
              <a:cxn ang="0">
                <a:pos x="connsiteX38944" y="connsiteY38944"/>
              </a:cxn>
              <a:cxn ang="0">
                <a:pos x="connsiteX38945" y="connsiteY38945"/>
              </a:cxn>
              <a:cxn ang="0">
                <a:pos x="connsiteX38946" y="connsiteY38946"/>
              </a:cxn>
              <a:cxn ang="0">
                <a:pos x="connsiteX38947" y="connsiteY38947"/>
              </a:cxn>
              <a:cxn ang="0">
                <a:pos x="connsiteX38948" y="connsiteY38948"/>
              </a:cxn>
              <a:cxn ang="0">
                <a:pos x="connsiteX38949" y="connsiteY38949"/>
              </a:cxn>
              <a:cxn ang="0">
                <a:pos x="connsiteX38950" y="connsiteY38950"/>
              </a:cxn>
              <a:cxn ang="0">
                <a:pos x="connsiteX38951" y="connsiteY38951"/>
              </a:cxn>
              <a:cxn ang="0">
                <a:pos x="connsiteX38952" y="connsiteY38952"/>
              </a:cxn>
              <a:cxn ang="0">
                <a:pos x="connsiteX38953" y="connsiteY38953"/>
              </a:cxn>
              <a:cxn ang="0">
                <a:pos x="connsiteX38954" y="connsiteY38954"/>
              </a:cxn>
              <a:cxn ang="0">
                <a:pos x="connsiteX38955" y="connsiteY38955"/>
              </a:cxn>
              <a:cxn ang="0">
                <a:pos x="connsiteX38956" y="connsiteY38956"/>
              </a:cxn>
              <a:cxn ang="0">
                <a:pos x="connsiteX38957" y="connsiteY38957"/>
              </a:cxn>
              <a:cxn ang="0">
                <a:pos x="connsiteX38958" y="connsiteY38958"/>
              </a:cxn>
              <a:cxn ang="0">
                <a:pos x="connsiteX38959" y="connsiteY38959"/>
              </a:cxn>
              <a:cxn ang="0">
                <a:pos x="connsiteX38960" y="connsiteY38960"/>
              </a:cxn>
              <a:cxn ang="0">
                <a:pos x="connsiteX38961" y="connsiteY38961"/>
              </a:cxn>
              <a:cxn ang="0">
                <a:pos x="connsiteX38962" y="connsiteY38962"/>
              </a:cxn>
              <a:cxn ang="0">
                <a:pos x="connsiteX38963" y="connsiteY38963"/>
              </a:cxn>
              <a:cxn ang="0">
                <a:pos x="connsiteX38964" y="connsiteY38964"/>
              </a:cxn>
              <a:cxn ang="0">
                <a:pos x="connsiteX38965" y="connsiteY38965"/>
              </a:cxn>
              <a:cxn ang="0">
                <a:pos x="connsiteX38966" y="connsiteY38966"/>
              </a:cxn>
              <a:cxn ang="0">
                <a:pos x="connsiteX38967" y="connsiteY38967"/>
              </a:cxn>
              <a:cxn ang="0">
                <a:pos x="connsiteX38968" y="connsiteY38968"/>
              </a:cxn>
              <a:cxn ang="0">
                <a:pos x="connsiteX38969" y="connsiteY38969"/>
              </a:cxn>
              <a:cxn ang="0">
                <a:pos x="connsiteX38970" y="connsiteY38970"/>
              </a:cxn>
              <a:cxn ang="0">
                <a:pos x="connsiteX38971" y="connsiteY38971"/>
              </a:cxn>
              <a:cxn ang="0">
                <a:pos x="connsiteX38972" y="connsiteY38972"/>
              </a:cxn>
              <a:cxn ang="0">
                <a:pos x="connsiteX38973" y="connsiteY38973"/>
              </a:cxn>
              <a:cxn ang="0">
                <a:pos x="connsiteX38974" y="connsiteY38974"/>
              </a:cxn>
              <a:cxn ang="0">
                <a:pos x="connsiteX38975" y="connsiteY38975"/>
              </a:cxn>
              <a:cxn ang="0">
                <a:pos x="connsiteX38976" y="connsiteY38976"/>
              </a:cxn>
              <a:cxn ang="0">
                <a:pos x="connsiteX38977" y="connsiteY38977"/>
              </a:cxn>
              <a:cxn ang="0">
                <a:pos x="connsiteX38978" y="connsiteY38978"/>
              </a:cxn>
              <a:cxn ang="0">
                <a:pos x="connsiteX38979" y="connsiteY38979"/>
              </a:cxn>
              <a:cxn ang="0">
                <a:pos x="connsiteX38980" y="connsiteY38980"/>
              </a:cxn>
              <a:cxn ang="0">
                <a:pos x="connsiteX38981" y="connsiteY38981"/>
              </a:cxn>
              <a:cxn ang="0">
                <a:pos x="connsiteX38982" y="connsiteY38982"/>
              </a:cxn>
              <a:cxn ang="0">
                <a:pos x="connsiteX38983" y="connsiteY38983"/>
              </a:cxn>
              <a:cxn ang="0">
                <a:pos x="connsiteX38984" y="connsiteY38984"/>
              </a:cxn>
              <a:cxn ang="0">
                <a:pos x="connsiteX38985" y="connsiteY38985"/>
              </a:cxn>
              <a:cxn ang="0">
                <a:pos x="connsiteX38986" y="connsiteY38986"/>
              </a:cxn>
              <a:cxn ang="0">
                <a:pos x="connsiteX38987" y="connsiteY38987"/>
              </a:cxn>
              <a:cxn ang="0">
                <a:pos x="connsiteX38988" y="connsiteY38988"/>
              </a:cxn>
              <a:cxn ang="0">
                <a:pos x="connsiteX38989" y="connsiteY38989"/>
              </a:cxn>
              <a:cxn ang="0">
                <a:pos x="connsiteX38990" y="connsiteY38990"/>
              </a:cxn>
              <a:cxn ang="0">
                <a:pos x="connsiteX38991" y="connsiteY38991"/>
              </a:cxn>
              <a:cxn ang="0">
                <a:pos x="connsiteX38992" y="connsiteY38992"/>
              </a:cxn>
              <a:cxn ang="0">
                <a:pos x="connsiteX38993" y="connsiteY38993"/>
              </a:cxn>
              <a:cxn ang="0">
                <a:pos x="connsiteX38994" y="connsiteY38994"/>
              </a:cxn>
              <a:cxn ang="0">
                <a:pos x="connsiteX38995" y="connsiteY38995"/>
              </a:cxn>
              <a:cxn ang="0">
                <a:pos x="connsiteX38996" y="connsiteY38996"/>
              </a:cxn>
              <a:cxn ang="0">
                <a:pos x="connsiteX38997" y="connsiteY38997"/>
              </a:cxn>
              <a:cxn ang="0">
                <a:pos x="connsiteX38998" y="connsiteY38998"/>
              </a:cxn>
              <a:cxn ang="0">
                <a:pos x="connsiteX38999" y="connsiteY38999"/>
              </a:cxn>
              <a:cxn ang="0">
                <a:pos x="connsiteX39000" y="connsiteY39000"/>
              </a:cxn>
              <a:cxn ang="0">
                <a:pos x="connsiteX39001" y="connsiteY39001"/>
              </a:cxn>
              <a:cxn ang="0">
                <a:pos x="connsiteX39002" y="connsiteY39002"/>
              </a:cxn>
              <a:cxn ang="0">
                <a:pos x="connsiteX39003" y="connsiteY39003"/>
              </a:cxn>
              <a:cxn ang="0">
                <a:pos x="connsiteX39004" y="connsiteY39004"/>
              </a:cxn>
              <a:cxn ang="0">
                <a:pos x="connsiteX39005" y="connsiteY39005"/>
              </a:cxn>
              <a:cxn ang="0">
                <a:pos x="connsiteX39006" y="connsiteY39006"/>
              </a:cxn>
              <a:cxn ang="0">
                <a:pos x="connsiteX39007" y="connsiteY39007"/>
              </a:cxn>
              <a:cxn ang="0">
                <a:pos x="connsiteX39008" y="connsiteY39008"/>
              </a:cxn>
              <a:cxn ang="0">
                <a:pos x="connsiteX39009" y="connsiteY39009"/>
              </a:cxn>
              <a:cxn ang="0">
                <a:pos x="connsiteX39010" y="connsiteY39010"/>
              </a:cxn>
              <a:cxn ang="0">
                <a:pos x="connsiteX39011" y="connsiteY39011"/>
              </a:cxn>
              <a:cxn ang="0">
                <a:pos x="connsiteX39012" y="connsiteY39012"/>
              </a:cxn>
              <a:cxn ang="0">
                <a:pos x="connsiteX39013" y="connsiteY39013"/>
              </a:cxn>
              <a:cxn ang="0">
                <a:pos x="connsiteX39014" y="connsiteY39014"/>
              </a:cxn>
              <a:cxn ang="0">
                <a:pos x="connsiteX39015" y="connsiteY39015"/>
              </a:cxn>
              <a:cxn ang="0">
                <a:pos x="connsiteX39016" y="connsiteY39016"/>
              </a:cxn>
              <a:cxn ang="0">
                <a:pos x="connsiteX39017" y="connsiteY39017"/>
              </a:cxn>
              <a:cxn ang="0">
                <a:pos x="connsiteX39018" y="connsiteY39018"/>
              </a:cxn>
              <a:cxn ang="0">
                <a:pos x="connsiteX39019" y="connsiteY39019"/>
              </a:cxn>
              <a:cxn ang="0">
                <a:pos x="connsiteX39020" y="connsiteY39020"/>
              </a:cxn>
              <a:cxn ang="0">
                <a:pos x="connsiteX39021" y="connsiteY39021"/>
              </a:cxn>
              <a:cxn ang="0">
                <a:pos x="connsiteX39022" y="connsiteY39022"/>
              </a:cxn>
              <a:cxn ang="0">
                <a:pos x="connsiteX39023" y="connsiteY39023"/>
              </a:cxn>
              <a:cxn ang="0">
                <a:pos x="connsiteX39024" y="connsiteY39024"/>
              </a:cxn>
              <a:cxn ang="0">
                <a:pos x="connsiteX39025" y="connsiteY39025"/>
              </a:cxn>
              <a:cxn ang="0">
                <a:pos x="connsiteX39026" y="connsiteY39026"/>
              </a:cxn>
              <a:cxn ang="0">
                <a:pos x="connsiteX39027" y="connsiteY39027"/>
              </a:cxn>
              <a:cxn ang="0">
                <a:pos x="connsiteX39028" y="connsiteY39028"/>
              </a:cxn>
              <a:cxn ang="0">
                <a:pos x="connsiteX39029" y="connsiteY39029"/>
              </a:cxn>
              <a:cxn ang="0">
                <a:pos x="connsiteX39030" y="connsiteY39030"/>
              </a:cxn>
              <a:cxn ang="0">
                <a:pos x="connsiteX39031" y="connsiteY39031"/>
              </a:cxn>
              <a:cxn ang="0">
                <a:pos x="connsiteX39032" y="connsiteY39032"/>
              </a:cxn>
              <a:cxn ang="0">
                <a:pos x="connsiteX39033" y="connsiteY39033"/>
              </a:cxn>
              <a:cxn ang="0">
                <a:pos x="connsiteX39034" y="connsiteY39034"/>
              </a:cxn>
              <a:cxn ang="0">
                <a:pos x="connsiteX39035" y="connsiteY39035"/>
              </a:cxn>
              <a:cxn ang="0">
                <a:pos x="connsiteX39036" y="connsiteY39036"/>
              </a:cxn>
              <a:cxn ang="0">
                <a:pos x="connsiteX39037" y="connsiteY39037"/>
              </a:cxn>
              <a:cxn ang="0">
                <a:pos x="connsiteX39038" y="connsiteY39038"/>
              </a:cxn>
              <a:cxn ang="0">
                <a:pos x="connsiteX39039" y="connsiteY39039"/>
              </a:cxn>
              <a:cxn ang="0">
                <a:pos x="connsiteX39040" y="connsiteY39040"/>
              </a:cxn>
              <a:cxn ang="0">
                <a:pos x="connsiteX39041" y="connsiteY39041"/>
              </a:cxn>
              <a:cxn ang="0">
                <a:pos x="connsiteX39042" y="connsiteY39042"/>
              </a:cxn>
              <a:cxn ang="0">
                <a:pos x="connsiteX39043" y="connsiteY39043"/>
              </a:cxn>
              <a:cxn ang="0">
                <a:pos x="connsiteX39044" y="connsiteY39044"/>
              </a:cxn>
              <a:cxn ang="0">
                <a:pos x="connsiteX39045" y="connsiteY39045"/>
              </a:cxn>
              <a:cxn ang="0">
                <a:pos x="connsiteX39046" y="connsiteY39046"/>
              </a:cxn>
              <a:cxn ang="0">
                <a:pos x="connsiteX39047" y="connsiteY39047"/>
              </a:cxn>
              <a:cxn ang="0">
                <a:pos x="connsiteX39048" y="connsiteY39048"/>
              </a:cxn>
              <a:cxn ang="0">
                <a:pos x="connsiteX39049" y="connsiteY39049"/>
              </a:cxn>
              <a:cxn ang="0">
                <a:pos x="connsiteX39050" y="connsiteY39050"/>
              </a:cxn>
              <a:cxn ang="0">
                <a:pos x="connsiteX39051" y="connsiteY39051"/>
              </a:cxn>
              <a:cxn ang="0">
                <a:pos x="connsiteX39052" y="connsiteY39052"/>
              </a:cxn>
              <a:cxn ang="0">
                <a:pos x="connsiteX39053" y="connsiteY39053"/>
              </a:cxn>
              <a:cxn ang="0">
                <a:pos x="connsiteX39054" y="connsiteY39054"/>
              </a:cxn>
              <a:cxn ang="0">
                <a:pos x="connsiteX39055" y="connsiteY39055"/>
              </a:cxn>
              <a:cxn ang="0">
                <a:pos x="connsiteX39056" y="connsiteY39056"/>
              </a:cxn>
              <a:cxn ang="0">
                <a:pos x="connsiteX39057" y="connsiteY39057"/>
              </a:cxn>
              <a:cxn ang="0">
                <a:pos x="connsiteX39058" y="connsiteY39058"/>
              </a:cxn>
              <a:cxn ang="0">
                <a:pos x="connsiteX39059" y="connsiteY39059"/>
              </a:cxn>
              <a:cxn ang="0">
                <a:pos x="connsiteX39060" y="connsiteY39060"/>
              </a:cxn>
              <a:cxn ang="0">
                <a:pos x="connsiteX39061" y="connsiteY39061"/>
              </a:cxn>
              <a:cxn ang="0">
                <a:pos x="connsiteX39062" y="connsiteY39062"/>
              </a:cxn>
              <a:cxn ang="0">
                <a:pos x="connsiteX39063" y="connsiteY39063"/>
              </a:cxn>
              <a:cxn ang="0">
                <a:pos x="connsiteX39064" y="connsiteY39064"/>
              </a:cxn>
              <a:cxn ang="0">
                <a:pos x="connsiteX39065" y="connsiteY39065"/>
              </a:cxn>
              <a:cxn ang="0">
                <a:pos x="connsiteX39066" y="connsiteY39066"/>
              </a:cxn>
              <a:cxn ang="0">
                <a:pos x="connsiteX39067" y="connsiteY39067"/>
              </a:cxn>
              <a:cxn ang="0">
                <a:pos x="connsiteX39068" y="connsiteY39068"/>
              </a:cxn>
              <a:cxn ang="0">
                <a:pos x="connsiteX39069" y="connsiteY39069"/>
              </a:cxn>
              <a:cxn ang="0">
                <a:pos x="connsiteX39070" y="connsiteY39070"/>
              </a:cxn>
              <a:cxn ang="0">
                <a:pos x="connsiteX39071" y="connsiteY39071"/>
              </a:cxn>
              <a:cxn ang="0">
                <a:pos x="connsiteX39072" y="connsiteY39072"/>
              </a:cxn>
              <a:cxn ang="0">
                <a:pos x="connsiteX39073" y="connsiteY39073"/>
              </a:cxn>
              <a:cxn ang="0">
                <a:pos x="connsiteX39074" y="connsiteY39074"/>
              </a:cxn>
              <a:cxn ang="0">
                <a:pos x="connsiteX39075" y="connsiteY39075"/>
              </a:cxn>
              <a:cxn ang="0">
                <a:pos x="connsiteX39076" y="connsiteY39076"/>
              </a:cxn>
              <a:cxn ang="0">
                <a:pos x="connsiteX39077" y="connsiteY39077"/>
              </a:cxn>
              <a:cxn ang="0">
                <a:pos x="connsiteX39078" y="connsiteY39078"/>
              </a:cxn>
              <a:cxn ang="0">
                <a:pos x="connsiteX39079" y="connsiteY39079"/>
              </a:cxn>
              <a:cxn ang="0">
                <a:pos x="connsiteX39080" y="connsiteY39080"/>
              </a:cxn>
              <a:cxn ang="0">
                <a:pos x="connsiteX39081" y="connsiteY39081"/>
              </a:cxn>
              <a:cxn ang="0">
                <a:pos x="connsiteX39082" y="connsiteY39082"/>
              </a:cxn>
              <a:cxn ang="0">
                <a:pos x="connsiteX39083" y="connsiteY39083"/>
              </a:cxn>
              <a:cxn ang="0">
                <a:pos x="connsiteX39084" y="connsiteY39084"/>
              </a:cxn>
              <a:cxn ang="0">
                <a:pos x="connsiteX39085" y="connsiteY39085"/>
              </a:cxn>
              <a:cxn ang="0">
                <a:pos x="connsiteX39086" y="connsiteY39086"/>
              </a:cxn>
              <a:cxn ang="0">
                <a:pos x="connsiteX39087" y="connsiteY39087"/>
              </a:cxn>
              <a:cxn ang="0">
                <a:pos x="connsiteX39088" y="connsiteY39088"/>
              </a:cxn>
              <a:cxn ang="0">
                <a:pos x="connsiteX39089" y="connsiteY39089"/>
              </a:cxn>
              <a:cxn ang="0">
                <a:pos x="connsiteX39090" y="connsiteY39090"/>
              </a:cxn>
              <a:cxn ang="0">
                <a:pos x="connsiteX39091" y="connsiteY39091"/>
              </a:cxn>
              <a:cxn ang="0">
                <a:pos x="connsiteX39092" y="connsiteY39092"/>
              </a:cxn>
              <a:cxn ang="0">
                <a:pos x="connsiteX39093" y="connsiteY39093"/>
              </a:cxn>
              <a:cxn ang="0">
                <a:pos x="connsiteX39094" y="connsiteY39094"/>
              </a:cxn>
              <a:cxn ang="0">
                <a:pos x="connsiteX39095" y="connsiteY39095"/>
              </a:cxn>
              <a:cxn ang="0">
                <a:pos x="connsiteX39096" y="connsiteY39096"/>
              </a:cxn>
              <a:cxn ang="0">
                <a:pos x="connsiteX39097" y="connsiteY39097"/>
              </a:cxn>
              <a:cxn ang="0">
                <a:pos x="connsiteX39098" y="connsiteY39098"/>
              </a:cxn>
              <a:cxn ang="0">
                <a:pos x="connsiteX39099" y="connsiteY39099"/>
              </a:cxn>
              <a:cxn ang="0">
                <a:pos x="connsiteX39100" y="connsiteY39100"/>
              </a:cxn>
              <a:cxn ang="0">
                <a:pos x="connsiteX39101" y="connsiteY39101"/>
              </a:cxn>
              <a:cxn ang="0">
                <a:pos x="connsiteX39102" y="connsiteY39102"/>
              </a:cxn>
              <a:cxn ang="0">
                <a:pos x="connsiteX39103" y="connsiteY39103"/>
              </a:cxn>
              <a:cxn ang="0">
                <a:pos x="connsiteX39104" y="connsiteY39104"/>
              </a:cxn>
              <a:cxn ang="0">
                <a:pos x="connsiteX39105" y="connsiteY39105"/>
              </a:cxn>
              <a:cxn ang="0">
                <a:pos x="connsiteX39106" y="connsiteY39106"/>
              </a:cxn>
              <a:cxn ang="0">
                <a:pos x="connsiteX39107" y="connsiteY39107"/>
              </a:cxn>
              <a:cxn ang="0">
                <a:pos x="connsiteX39108" y="connsiteY39108"/>
              </a:cxn>
              <a:cxn ang="0">
                <a:pos x="connsiteX39109" y="connsiteY39109"/>
              </a:cxn>
              <a:cxn ang="0">
                <a:pos x="connsiteX39110" y="connsiteY39110"/>
              </a:cxn>
              <a:cxn ang="0">
                <a:pos x="connsiteX39111" y="connsiteY39111"/>
              </a:cxn>
              <a:cxn ang="0">
                <a:pos x="connsiteX39112" y="connsiteY39112"/>
              </a:cxn>
              <a:cxn ang="0">
                <a:pos x="connsiteX39113" y="connsiteY39113"/>
              </a:cxn>
              <a:cxn ang="0">
                <a:pos x="connsiteX39114" y="connsiteY39114"/>
              </a:cxn>
              <a:cxn ang="0">
                <a:pos x="connsiteX39115" y="connsiteY39115"/>
              </a:cxn>
              <a:cxn ang="0">
                <a:pos x="connsiteX39116" y="connsiteY39116"/>
              </a:cxn>
              <a:cxn ang="0">
                <a:pos x="connsiteX39117" y="connsiteY39117"/>
              </a:cxn>
              <a:cxn ang="0">
                <a:pos x="connsiteX39118" y="connsiteY39118"/>
              </a:cxn>
              <a:cxn ang="0">
                <a:pos x="connsiteX39119" y="connsiteY39119"/>
              </a:cxn>
              <a:cxn ang="0">
                <a:pos x="connsiteX39120" y="connsiteY39120"/>
              </a:cxn>
              <a:cxn ang="0">
                <a:pos x="connsiteX39121" y="connsiteY39121"/>
              </a:cxn>
              <a:cxn ang="0">
                <a:pos x="connsiteX39122" y="connsiteY39122"/>
              </a:cxn>
              <a:cxn ang="0">
                <a:pos x="connsiteX39123" y="connsiteY39123"/>
              </a:cxn>
              <a:cxn ang="0">
                <a:pos x="connsiteX39124" y="connsiteY39124"/>
              </a:cxn>
              <a:cxn ang="0">
                <a:pos x="connsiteX39125" y="connsiteY39125"/>
              </a:cxn>
              <a:cxn ang="0">
                <a:pos x="connsiteX39126" y="connsiteY39126"/>
              </a:cxn>
              <a:cxn ang="0">
                <a:pos x="connsiteX39127" y="connsiteY39127"/>
              </a:cxn>
              <a:cxn ang="0">
                <a:pos x="connsiteX39128" y="connsiteY39128"/>
              </a:cxn>
              <a:cxn ang="0">
                <a:pos x="connsiteX39129" y="connsiteY39129"/>
              </a:cxn>
              <a:cxn ang="0">
                <a:pos x="connsiteX39130" y="connsiteY39130"/>
              </a:cxn>
              <a:cxn ang="0">
                <a:pos x="connsiteX39131" y="connsiteY39131"/>
              </a:cxn>
              <a:cxn ang="0">
                <a:pos x="connsiteX39132" y="connsiteY39132"/>
              </a:cxn>
              <a:cxn ang="0">
                <a:pos x="connsiteX39133" y="connsiteY39133"/>
              </a:cxn>
              <a:cxn ang="0">
                <a:pos x="connsiteX39134" y="connsiteY39134"/>
              </a:cxn>
              <a:cxn ang="0">
                <a:pos x="connsiteX39135" y="connsiteY39135"/>
              </a:cxn>
              <a:cxn ang="0">
                <a:pos x="connsiteX39136" y="connsiteY39136"/>
              </a:cxn>
              <a:cxn ang="0">
                <a:pos x="connsiteX39137" y="connsiteY39137"/>
              </a:cxn>
              <a:cxn ang="0">
                <a:pos x="connsiteX39138" y="connsiteY39138"/>
              </a:cxn>
              <a:cxn ang="0">
                <a:pos x="connsiteX39139" y="connsiteY39139"/>
              </a:cxn>
              <a:cxn ang="0">
                <a:pos x="connsiteX39140" y="connsiteY39140"/>
              </a:cxn>
              <a:cxn ang="0">
                <a:pos x="connsiteX39141" y="connsiteY39141"/>
              </a:cxn>
              <a:cxn ang="0">
                <a:pos x="connsiteX39142" y="connsiteY39142"/>
              </a:cxn>
              <a:cxn ang="0">
                <a:pos x="connsiteX39143" y="connsiteY39143"/>
              </a:cxn>
              <a:cxn ang="0">
                <a:pos x="connsiteX39144" y="connsiteY39144"/>
              </a:cxn>
              <a:cxn ang="0">
                <a:pos x="connsiteX39145" y="connsiteY39145"/>
              </a:cxn>
              <a:cxn ang="0">
                <a:pos x="connsiteX39146" y="connsiteY39146"/>
              </a:cxn>
              <a:cxn ang="0">
                <a:pos x="connsiteX39147" y="connsiteY39147"/>
              </a:cxn>
              <a:cxn ang="0">
                <a:pos x="connsiteX39148" y="connsiteY39148"/>
              </a:cxn>
              <a:cxn ang="0">
                <a:pos x="connsiteX39149" y="connsiteY39149"/>
              </a:cxn>
              <a:cxn ang="0">
                <a:pos x="connsiteX39150" y="connsiteY39150"/>
              </a:cxn>
              <a:cxn ang="0">
                <a:pos x="connsiteX39151" y="connsiteY39151"/>
              </a:cxn>
              <a:cxn ang="0">
                <a:pos x="connsiteX39152" y="connsiteY39152"/>
              </a:cxn>
              <a:cxn ang="0">
                <a:pos x="connsiteX39153" y="connsiteY39153"/>
              </a:cxn>
              <a:cxn ang="0">
                <a:pos x="connsiteX39154" y="connsiteY39154"/>
              </a:cxn>
              <a:cxn ang="0">
                <a:pos x="connsiteX39155" y="connsiteY39155"/>
              </a:cxn>
              <a:cxn ang="0">
                <a:pos x="connsiteX39156" y="connsiteY39156"/>
              </a:cxn>
              <a:cxn ang="0">
                <a:pos x="connsiteX39157" y="connsiteY39157"/>
              </a:cxn>
              <a:cxn ang="0">
                <a:pos x="connsiteX39158" y="connsiteY39158"/>
              </a:cxn>
              <a:cxn ang="0">
                <a:pos x="connsiteX39159" y="connsiteY39159"/>
              </a:cxn>
              <a:cxn ang="0">
                <a:pos x="connsiteX39160" y="connsiteY39160"/>
              </a:cxn>
              <a:cxn ang="0">
                <a:pos x="connsiteX39161" y="connsiteY39161"/>
              </a:cxn>
              <a:cxn ang="0">
                <a:pos x="connsiteX39162" y="connsiteY39162"/>
              </a:cxn>
              <a:cxn ang="0">
                <a:pos x="connsiteX39163" y="connsiteY39163"/>
              </a:cxn>
              <a:cxn ang="0">
                <a:pos x="connsiteX39164" y="connsiteY39164"/>
              </a:cxn>
              <a:cxn ang="0">
                <a:pos x="connsiteX39165" y="connsiteY39165"/>
              </a:cxn>
              <a:cxn ang="0">
                <a:pos x="connsiteX39166" y="connsiteY39166"/>
              </a:cxn>
              <a:cxn ang="0">
                <a:pos x="connsiteX39167" y="connsiteY39167"/>
              </a:cxn>
              <a:cxn ang="0">
                <a:pos x="connsiteX39168" y="connsiteY39168"/>
              </a:cxn>
              <a:cxn ang="0">
                <a:pos x="connsiteX39169" y="connsiteY39169"/>
              </a:cxn>
              <a:cxn ang="0">
                <a:pos x="connsiteX39170" y="connsiteY39170"/>
              </a:cxn>
              <a:cxn ang="0">
                <a:pos x="connsiteX39171" y="connsiteY39171"/>
              </a:cxn>
              <a:cxn ang="0">
                <a:pos x="connsiteX39172" y="connsiteY39172"/>
              </a:cxn>
              <a:cxn ang="0">
                <a:pos x="connsiteX39173" y="connsiteY39173"/>
              </a:cxn>
              <a:cxn ang="0">
                <a:pos x="connsiteX39174" y="connsiteY39174"/>
              </a:cxn>
              <a:cxn ang="0">
                <a:pos x="connsiteX39175" y="connsiteY39175"/>
              </a:cxn>
              <a:cxn ang="0">
                <a:pos x="connsiteX39176" y="connsiteY39176"/>
              </a:cxn>
              <a:cxn ang="0">
                <a:pos x="connsiteX39177" y="connsiteY39177"/>
              </a:cxn>
              <a:cxn ang="0">
                <a:pos x="connsiteX39178" y="connsiteY39178"/>
              </a:cxn>
              <a:cxn ang="0">
                <a:pos x="connsiteX39179" y="connsiteY39179"/>
              </a:cxn>
              <a:cxn ang="0">
                <a:pos x="connsiteX39180" y="connsiteY39180"/>
              </a:cxn>
              <a:cxn ang="0">
                <a:pos x="connsiteX39181" y="connsiteY39181"/>
              </a:cxn>
              <a:cxn ang="0">
                <a:pos x="connsiteX39182" y="connsiteY39182"/>
              </a:cxn>
              <a:cxn ang="0">
                <a:pos x="connsiteX39183" y="connsiteY39183"/>
              </a:cxn>
              <a:cxn ang="0">
                <a:pos x="connsiteX39184" y="connsiteY39184"/>
              </a:cxn>
              <a:cxn ang="0">
                <a:pos x="connsiteX39185" y="connsiteY39185"/>
              </a:cxn>
              <a:cxn ang="0">
                <a:pos x="connsiteX39186" y="connsiteY39186"/>
              </a:cxn>
              <a:cxn ang="0">
                <a:pos x="connsiteX39187" y="connsiteY39187"/>
              </a:cxn>
              <a:cxn ang="0">
                <a:pos x="connsiteX39188" y="connsiteY39188"/>
              </a:cxn>
              <a:cxn ang="0">
                <a:pos x="connsiteX39189" y="connsiteY39189"/>
              </a:cxn>
              <a:cxn ang="0">
                <a:pos x="connsiteX39190" y="connsiteY39190"/>
              </a:cxn>
              <a:cxn ang="0">
                <a:pos x="connsiteX39191" y="connsiteY39191"/>
              </a:cxn>
              <a:cxn ang="0">
                <a:pos x="connsiteX39192" y="connsiteY39192"/>
              </a:cxn>
              <a:cxn ang="0">
                <a:pos x="connsiteX39193" y="connsiteY39193"/>
              </a:cxn>
              <a:cxn ang="0">
                <a:pos x="connsiteX39194" y="connsiteY39194"/>
              </a:cxn>
              <a:cxn ang="0">
                <a:pos x="connsiteX39195" y="connsiteY39195"/>
              </a:cxn>
              <a:cxn ang="0">
                <a:pos x="connsiteX39196" y="connsiteY39196"/>
              </a:cxn>
              <a:cxn ang="0">
                <a:pos x="connsiteX39197" y="connsiteY39197"/>
              </a:cxn>
              <a:cxn ang="0">
                <a:pos x="connsiteX39198" y="connsiteY39198"/>
              </a:cxn>
              <a:cxn ang="0">
                <a:pos x="connsiteX39199" y="connsiteY39199"/>
              </a:cxn>
              <a:cxn ang="0">
                <a:pos x="connsiteX39200" y="connsiteY39200"/>
              </a:cxn>
              <a:cxn ang="0">
                <a:pos x="connsiteX39201" y="connsiteY39201"/>
              </a:cxn>
              <a:cxn ang="0">
                <a:pos x="connsiteX39202" y="connsiteY39202"/>
              </a:cxn>
              <a:cxn ang="0">
                <a:pos x="connsiteX39203" y="connsiteY39203"/>
              </a:cxn>
              <a:cxn ang="0">
                <a:pos x="connsiteX39204" y="connsiteY39204"/>
              </a:cxn>
              <a:cxn ang="0">
                <a:pos x="connsiteX39205" y="connsiteY39205"/>
              </a:cxn>
              <a:cxn ang="0">
                <a:pos x="connsiteX39206" y="connsiteY39206"/>
              </a:cxn>
              <a:cxn ang="0">
                <a:pos x="connsiteX39207" y="connsiteY39207"/>
              </a:cxn>
              <a:cxn ang="0">
                <a:pos x="connsiteX39208" y="connsiteY39208"/>
              </a:cxn>
              <a:cxn ang="0">
                <a:pos x="connsiteX39209" y="connsiteY39209"/>
              </a:cxn>
              <a:cxn ang="0">
                <a:pos x="connsiteX39210" y="connsiteY39210"/>
              </a:cxn>
              <a:cxn ang="0">
                <a:pos x="connsiteX39211" y="connsiteY39211"/>
              </a:cxn>
              <a:cxn ang="0">
                <a:pos x="connsiteX39212" y="connsiteY39212"/>
              </a:cxn>
              <a:cxn ang="0">
                <a:pos x="connsiteX39213" y="connsiteY39213"/>
              </a:cxn>
              <a:cxn ang="0">
                <a:pos x="connsiteX39214" y="connsiteY39214"/>
              </a:cxn>
              <a:cxn ang="0">
                <a:pos x="connsiteX39215" y="connsiteY39215"/>
              </a:cxn>
              <a:cxn ang="0">
                <a:pos x="connsiteX39216" y="connsiteY39216"/>
              </a:cxn>
              <a:cxn ang="0">
                <a:pos x="connsiteX39217" y="connsiteY39217"/>
              </a:cxn>
              <a:cxn ang="0">
                <a:pos x="connsiteX39218" y="connsiteY39218"/>
              </a:cxn>
              <a:cxn ang="0">
                <a:pos x="connsiteX39219" y="connsiteY39219"/>
              </a:cxn>
              <a:cxn ang="0">
                <a:pos x="connsiteX39220" y="connsiteY39220"/>
              </a:cxn>
              <a:cxn ang="0">
                <a:pos x="connsiteX39221" y="connsiteY39221"/>
              </a:cxn>
              <a:cxn ang="0">
                <a:pos x="connsiteX39222" y="connsiteY39222"/>
              </a:cxn>
              <a:cxn ang="0">
                <a:pos x="connsiteX39223" y="connsiteY39223"/>
              </a:cxn>
              <a:cxn ang="0">
                <a:pos x="connsiteX39224" y="connsiteY39224"/>
              </a:cxn>
              <a:cxn ang="0">
                <a:pos x="connsiteX39225" y="connsiteY39225"/>
              </a:cxn>
              <a:cxn ang="0">
                <a:pos x="connsiteX39226" y="connsiteY39226"/>
              </a:cxn>
              <a:cxn ang="0">
                <a:pos x="connsiteX39227" y="connsiteY39227"/>
              </a:cxn>
              <a:cxn ang="0">
                <a:pos x="connsiteX39228" y="connsiteY39228"/>
              </a:cxn>
              <a:cxn ang="0">
                <a:pos x="connsiteX39229" y="connsiteY39229"/>
              </a:cxn>
              <a:cxn ang="0">
                <a:pos x="connsiteX39230" y="connsiteY39230"/>
              </a:cxn>
              <a:cxn ang="0">
                <a:pos x="connsiteX39231" y="connsiteY39231"/>
              </a:cxn>
              <a:cxn ang="0">
                <a:pos x="connsiteX39232" y="connsiteY39232"/>
              </a:cxn>
              <a:cxn ang="0">
                <a:pos x="connsiteX39233" y="connsiteY39233"/>
              </a:cxn>
              <a:cxn ang="0">
                <a:pos x="connsiteX39234" y="connsiteY39234"/>
              </a:cxn>
              <a:cxn ang="0">
                <a:pos x="connsiteX39235" y="connsiteY39235"/>
              </a:cxn>
              <a:cxn ang="0">
                <a:pos x="connsiteX39236" y="connsiteY39236"/>
              </a:cxn>
              <a:cxn ang="0">
                <a:pos x="connsiteX39237" y="connsiteY39237"/>
              </a:cxn>
              <a:cxn ang="0">
                <a:pos x="connsiteX39238" y="connsiteY39238"/>
              </a:cxn>
              <a:cxn ang="0">
                <a:pos x="connsiteX39239" y="connsiteY39239"/>
              </a:cxn>
              <a:cxn ang="0">
                <a:pos x="connsiteX39240" y="connsiteY39240"/>
              </a:cxn>
              <a:cxn ang="0">
                <a:pos x="connsiteX39241" y="connsiteY39241"/>
              </a:cxn>
              <a:cxn ang="0">
                <a:pos x="connsiteX39242" y="connsiteY39242"/>
              </a:cxn>
              <a:cxn ang="0">
                <a:pos x="connsiteX39243" y="connsiteY39243"/>
              </a:cxn>
              <a:cxn ang="0">
                <a:pos x="connsiteX39244" y="connsiteY39244"/>
              </a:cxn>
              <a:cxn ang="0">
                <a:pos x="connsiteX39245" y="connsiteY39245"/>
              </a:cxn>
              <a:cxn ang="0">
                <a:pos x="connsiteX39246" y="connsiteY39246"/>
              </a:cxn>
              <a:cxn ang="0">
                <a:pos x="connsiteX39247" y="connsiteY39247"/>
              </a:cxn>
              <a:cxn ang="0">
                <a:pos x="connsiteX39248" y="connsiteY39248"/>
              </a:cxn>
              <a:cxn ang="0">
                <a:pos x="connsiteX39249" y="connsiteY39249"/>
              </a:cxn>
              <a:cxn ang="0">
                <a:pos x="connsiteX39250" y="connsiteY39250"/>
              </a:cxn>
              <a:cxn ang="0">
                <a:pos x="connsiteX39251" y="connsiteY39251"/>
              </a:cxn>
              <a:cxn ang="0">
                <a:pos x="connsiteX39252" y="connsiteY39252"/>
              </a:cxn>
              <a:cxn ang="0">
                <a:pos x="connsiteX39253" y="connsiteY39253"/>
              </a:cxn>
              <a:cxn ang="0">
                <a:pos x="connsiteX39254" y="connsiteY39254"/>
              </a:cxn>
              <a:cxn ang="0">
                <a:pos x="connsiteX39255" y="connsiteY39255"/>
              </a:cxn>
              <a:cxn ang="0">
                <a:pos x="connsiteX39256" y="connsiteY39256"/>
              </a:cxn>
              <a:cxn ang="0">
                <a:pos x="connsiteX39257" y="connsiteY39257"/>
              </a:cxn>
              <a:cxn ang="0">
                <a:pos x="connsiteX39258" y="connsiteY39258"/>
              </a:cxn>
              <a:cxn ang="0">
                <a:pos x="connsiteX39259" y="connsiteY39259"/>
              </a:cxn>
              <a:cxn ang="0">
                <a:pos x="connsiteX39260" y="connsiteY39260"/>
              </a:cxn>
              <a:cxn ang="0">
                <a:pos x="connsiteX39261" y="connsiteY39261"/>
              </a:cxn>
              <a:cxn ang="0">
                <a:pos x="connsiteX39262" y="connsiteY39262"/>
              </a:cxn>
              <a:cxn ang="0">
                <a:pos x="connsiteX39263" y="connsiteY39263"/>
              </a:cxn>
              <a:cxn ang="0">
                <a:pos x="connsiteX39264" y="connsiteY39264"/>
              </a:cxn>
              <a:cxn ang="0">
                <a:pos x="connsiteX39265" y="connsiteY39265"/>
              </a:cxn>
              <a:cxn ang="0">
                <a:pos x="connsiteX39266" y="connsiteY39266"/>
              </a:cxn>
              <a:cxn ang="0">
                <a:pos x="connsiteX39267" y="connsiteY39267"/>
              </a:cxn>
              <a:cxn ang="0">
                <a:pos x="connsiteX39268" y="connsiteY39268"/>
              </a:cxn>
              <a:cxn ang="0">
                <a:pos x="connsiteX39269" y="connsiteY39269"/>
              </a:cxn>
              <a:cxn ang="0">
                <a:pos x="connsiteX39270" y="connsiteY39270"/>
              </a:cxn>
              <a:cxn ang="0">
                <a:pos x="connsiteX39271" y="connsiteY39271"/>
              </a:cxn>
              <a:cxn ang="0">
                <a:pos x="connsiteX39272" y="connsiteY39272"/>
              </a:cxn>
              <a:cxn ang="0">
                <a:pos x="connsiteX39273" y="connsiteY39273"/>
              </a:cxn>
              <a:cxn ang="0">
                <a:pos x="connsiteX39274" y="connsiteY39274"/>
              </a:cxn>
              <a:cxn ang="0">
                <a:pos x="connsiteX39275" y="connsiteY39275"/>
              </a:cxn>
              <a:cxn ang="0">
                <a:pos x="connsiteX39276" y="connsiteY39276"/>
              </a:cxn>
              <a:cxn ang="0">
                <a:pos x="connsiteX39277" y="connsiteY39277"/>
              </a:cxn>
              <a:cxn ang="0">
                <a:pos x="connsiteX39278" y="connsiteY39278"/>
              </a:cxn>
              <a:cxn ang="0">
                <a:pos x="connsiteX39279" y="connsiteY39279"/>
              </a:cxn>
              <a:cxn ang="0">
                <a:pos x="connsiteX39280" y="connsiteY39280"/>
              </a:cxn>
              <a:cxn ang="0">
                <a:pos x="connsiteX39281" y="connsiteY39281"/>
              </a:cxn>
              <a:cxn ang="0">
                <a:pos x="connsiteX39282" y="connsiteY39282"/>
              </a:cxn>
              <a:cxn ang="0">
                <a:pos x="connsiteX39283" y="connsiteY39283"/>
              </a:cxn>
              <a:cxn ang="0">
                <a:pos x="connsiteX39284" y="connsiteY39284"/>
              </a:cxn>
              <a:cxn ang="0">
                <a:pos x="connsiteX39285" y="connsiteY39285"/>
              </a:cxn>
              <a:cxn ang="0">
                <a:pos x="connsiteX39286" y="connsiteY39286"/>
              </a:cxn>
              <a:cxn ang="0">
                <a:pos x="connsiteX39287" y="connsiteY39287"/>
              </a:cxn>
              <a:cxn ang="0">
                <a:pos x="connsiteX39288" y="connsiteY39288"/>
              </a:cxn>
              <a:cxn ang="0">
                <a:pos x="connsiteX39289" y="connsiteY39289"/>
              </a:cxn>
              <a:cxn ang="0">
                <a:pos x="connsiteX39290" y="connsiteY39290"/>
              </a:cxn>
              <a:cxn ang="0">
                <a:pos x="connsiteX39291" y="connsiteY39291"/>
              </a:cxn>
              <a:cxn ang="0">
                <a:pos x="connsiteX39292" y="connsiteY39292"/>
              </a:cxn>
              <a:cxn ang="0">
                <a:pos x="connsiteX39293" y="connsiteY39293"/>
              </a:cxn>
              <a:cxn ang="0">
                <a:pos x="connsiteX39294" y="connsiteY39294"/>
              </a:cxn>
              <a:cxn ang="0">
                <a:pos x="connsiteX39295" y="connsiteY39295"/>
              </a:cxn>
              <a:cxn ang="0">
                <a:pos x="connsiteX39296" y="connsiteY39296"/>
              </a:cxn>
              <a:cxn ang="0">
                <a:pos x="connsiteX39297" y="connsiteY39297"/>
              </a:cxn>
              <a:cxn ang="0">
                <a:pos x="connsiteX39298" y="connsiteY39298"/>
              </a:cxn>
              <a:cxn ang="0">
                <a:pos x="connsiteX39299" y="connsiteY39299"/>
              </a:cxn>
              <a:cxn ang="0">
                <a:pos x="connsiteX39300" y="connsiteY39300"/>
              </a:cxn>
              <a:cxn ang="0">
                <a:pos x="connsiteX39301" y="connsiteY39301"/>
              </a:cxn>
              <a:cxn ang="0">
                <a:pos x="connsiteX39302" y="connsiteY39302"/>
              </a:cxn>
              <a:cxn ang="0">
                <a:pos x="connsiteX39303" y="connsiteY39303"/>
              </a:cxn>
              <a:cxn ang="0">
                <a:pos x="connsiteX39304" y="connsiteY39304"/>
              </a:cxn>
              <a:cxn ang="0">
                <a:pos x="connsiteX39305" y="connsiteY39305"/>
              </a:cxn>
              <a:cxn ang="0">
                <a:pos x="connsiteX39306" y="connsiteY39306"/>
              </a:cxn>
              <a:cxn ang="0">
                <a:pos x="connsiteX39307" y="connsiteY39307"/>
              </a:cxn>
              <a:cxn ang="0">
                <a:pos x="connsiteX39308" y="connsiteY39308"/>
              </a:cxn>
              <a:cxn ang="0">
                <a:pos x="connsiteX39309" y="connsiteY39309"/>
              </a:cxn>
              <a:cxn ang="0">
                <a:pos x="connsiteX39310" y="connsiteY39310"/>
              </a:cxn>
              <a:cxn ang="0">
                <a:pos x="connsiteX39311" y="connsiteY39311"/>
              </a:cxn>
              <a:cxn ang="0">
                <a:pos x="connsiteX39312" y="connsiteY39312"/>
              </a:cxn>
              <a:cxn ang="0">
                <a:pos x="connsiteX39313" y="connsiteY39313"/>
              </a:cxn>
              <a:cxn ang="0">
                <a:pos x="connsiteX39314" y="connsiteY39314"/>
              </a:cxn>
              <a:cxn ang="0">
                <a:pos x="connsiteX39315" y="connsiteY39315"/>
              </a:cxn>
              <a:cxn ang="0">
                <a:pos x="connsiteX39316" y="connsiteY39316"/>
              </a:cxn>
              <a:cxn ang="0">
                <a:pos x="connsiteX39317" y="connsiteY39317"/>
              </a:cxn>
              <a:cxn ang="0">
                <a:pos x="connsiteX39318" y="connsiteY39318"/>
              </a:cxn>
              <a:cxn ang="0">
                <a:pos x="connsiteX39319" y="connsiteY39319"/>
              </a:cxn>
              <a:cxn ang="0">
                <a:pos x="connsiteX39320" y="connsiteY39320"/>
              </a:cxn>
              <a:cxn ang="0">
                <a:pos x="connsiteX39321" y="connsiteY39321"/>
              </a:cxn>
              <a:cxn ang="0">
                <a:pos x="connsiteX39322" y="connsiteY39322"/>
              </a:cxn>
              <a:cxn ang="0">
                <a:pos x="connsiteX39323" y="connsiteY39323"/>
              </a:cxn>
              <a:cxn ang="0">
                <a:pos x="connsiteX39324" y="connsiteY39324"/>
              </a:cxn>
              <a:cxn ang="0">
                <a:pos x="connsiteX39325" y="connsiteY39325"/>
              </a:cxn>
              <a:cxn ang="0">
                <a:pos x="connsiteX39326" y="connsiteY39326"/>
              </a:cxn>
              <a:cxn ang="0">
                <a:pos x="connsiteX39327" y="connsiteY39327"/>
              </a:cxn>
              <a:cxn ang="0">
                <a:pos x="connsiteX39328" y="connsiteY39328"/>
              </a:cxn>
              <a:cxn ang="0">
                <a:pos x="connsiteX39329" y="connsiteY39329"/>
              </a:cxn>
              <a:cxn ang="0">
                <a:pos x="connsiteX39330" y="connsiteY39330"/>
              </a:cxn>
              <a:cxn ang="0">
                <a:pos x="connsiteX39331" y="connsiteY39331"/>
              </a:cxn>
              <a:cxn ang="0">
                <a:pos x="connsiteX39332" y="connsiteY39332"/>
              </a:cxn>
              <a:cxn ang="0">
                <a:pos x="connsiteX39333" y="connsiteY39333"/>
              </a:cxn>
              <a:cxn ang="0">
                <a:pos x="connsiteX39334" y="connsiteY39334"/>
              </a:cxn>
              <a:cxn ang="0">
                <a:pos x="connsiteX39335" y="connsiteY39335"/>
              </a:cxn>
              <a:cxn ang="0">
                <a:pos x="connsiteX39336" y="connsiteY39336"/>
              </a:cxn>
              <a:cxn ang="0">
                <a:pos x="connsiteX39337" y="connsiteY39337"/>
              </a:cxn>
              <a:cxn ang="0">
                <a:pos x="connsiteX39338" y="connsiteY39338"/>
              </a:cxn>
              <a:cxn ang="0">
                <a:pos x="connsiteX39339" y="connsiteY39339"/>
              </a:cxn>
              <a:cxn ang="0">
                <a:pos x="connsiteX39340" y="connsiteY39340"/>
              </a:cxn>
              <a:cxn ang="0">
                <a:pos x="connsiteX39341" y="connsiteY39341"/>
              </a:cxn>
              <a:cxn ang="0">
                <a:pos x="connsiteX39342" y="connsiteY39342"/>
              </a:cxn>
              <a:cxn ang="0">
                <a:pos x="connsiteX39343" y="connsiteY39343"/>
              </a:cxn>
              <a:cxn ang="0">
                <a:pos x="connsiteX39344" y="connsiteY39344"/>
              </a:cxn>
              <a:cxn ang="0">
                <a:pos x="connsiteX39345" y="connsiteY39345"/>
              </a:cxn>
              <a:cxn ang="0">
                <a:pos x="connsiteX39346" y="connsiteY39346"/>
              </a:cxn>
              <a:cxn ang="0">
                <a:pos x="connsiteX39347" y="connsiteY39347"/>
              </a:cxn>
              <a:cxn ang="0">
                <a:pos x="connsiteX39348" y="connsiteY39348"/>
              </a:cxn>
              <a:cxn ang="0">
                <a:pos x="connsiteX39349" y="connsiteY39349"/>
              </a:cxn>
              <a:cxn ang="0">
                <a:pos x="connsiteX39350" y="connsiteY39350"/>
              </a:cxn>
              <a:cxn ang="0">
                <a:pos x="connsiteX39351" y="connsiteY39351"/>
              </a:cxn>
              <a:cxn ang="0">
                <a:pos x="connsiteX39352" y="connsiteY39352"/>
              </a:cxn>
              <a:cxn ang="0">
                <a:pos x="connsiteX39353" y="connsiteY39353"/>
              </a:cxn>
              <a:cxn ang="0">
                <a:pos x="connsiteX39354" y="connsiteY39354"/>
              </a:cxn>
              <a:cxn ang="0">
                <a:pos x="connsiteX39355" y="connsiteY39355"/>
              </a:cxn>
              <a:cxn ang="0">
                <a:pos x="connsiteX39356" y="connsiteY39356"/>
              </a:cxn>
              <a:cxn ang="0">
                <a:pos x="connsiteX39357" y="connsiteY39357"/>
              </a:cxn>
              <a:cxn ang="0">
                <a:pos x="connsiteX39358" y="connsiteY39358"/>
              </a:cxn>
              <a:cxn ang="0">
                <a:pos x="connsiteX39359" y="connsiteY39359"/>
              </a:cxn>
              <a:cxn ang="0">
                <a:pos x="connsiteX39360" y="connsiteY39360"/>
              </a:cxn>
              <a:cxn ang="0">
                <a:pos x="connsiteX39361" y="connsiteY39361"/>
              </a:cxn>
              <a:cxn ang="0">
                <a:pos x="connsiteX39362" y="connsiteY39362"/>
              </a:cxn>
              <a:cxn ang="0">
                <a:pos x="connsiteX39363" y="connsiteY39363"/>
              </a:cxn>
              <a:cxn ang="0">
                <a:pos x="connsiteX39364" y="connsiteY39364"/>
              </a:cxn>
              <a:cxn ang="0">
                <a:pos x="connsiteX39365" y="connsiteY39365"/>
              </a:cxn>
              <a:cxn ang="0">
                <a:pos x="connsiteX39366" y="connsiteY39366"/>
              </a:cxn>
              <a:cxn ang="0">
                <a:pos x="connsiteX39367" y="connsiteY39367"/>
              </a:cxn>
              <a:cxn ang="0">
                <a:pos x="connsiteX39368" y="connsiteY39368"/>
              </a:cxn>
              <a:cxn ang="0">
                <a:pos x="connsiteX39369" y="connsiteY39369"/>
              </a:cxn>
              <a:cxn ang="0">
                <a:pos x="connsiteX39370" y="connsiteY39370"/>
              </a:cxn>
              <a:cxn ang="0">
                <a:pos x="connsiteX39371" y="connsiteY39371"/>
              </a:cxn>
              <a:cxn ang="0">
                <a:pos x="connsiteX39372" y="connsiteY39372"/>
              </a:cxn>
              <a:cxn ang="0">
                <a:pos x="connsiteX39373" y="connsiteY39373"/>
              </a:cxn>
              <a:cxn ang="0">
                <a:pos x="connsiteX39374" y="connsiteY39374"/>
              </a:cxn>
              <a:cxn ang="0">
                <a:pos x="connsiteX39375" y="connsiteY39375"/>
              </a:cxn>
              <a:cxn ang="0">
                <a:pos x="connsiteX39376" y="connsiteY39376"/>
              </a:cxn>
              <a:cxn ang="0">
                <a:pos x="connsiteX39377" y="connsiteY39377"/>
              </a:cxn>
              <a:cxn ang="0">
                <a:pos x="connsiteX39378" y="connsiteY39378"/>
              </a:cxn>
              <a:cxn ang="0">
                <a:pos x="connsiteX39379" y="connsiteY39379"/>
              </a:cxn>
              <a:cxn ang="0">
                <a:pos x="connsiteX39380" y="connsiteY39380"/>
              </a:cxn>
              <a:cxn ang="0">
                <a:pos x="connsiteX39381" y="connsiteY39381"/>
              </a:cxn>
              <a:cxn ang="0">
                <a:pos x="connsiteX39382" y="connsiteY39382"/>
              </a:cxn>
              <a:cxn ang="0">
                <a:pos x="connsiteX39383" y="connsiteY39383"/>
              </a:cxn>
              <a:cxn ang="0">
                <a:pos x="connsiteX39384" y="connsiteY39384"/>
              </a:cxn>
              <a:cxn ang="0">
                <a:pos x="connsiteX39385" y="connsiteY39385"/>
              </a:cxn>
              <a:cxn ang="0">
                <a:pos x="connsiteX39386" y="connsiteY39386"/>
              </a:cxn>
              <a:cxn ang="0">
                <a:pos x="connsiteX39387" y="connsiteY39387"/>
              </a:cxn>
              <a:cxn ang="0">
                <a:pos x="connsiteX39388" y="connsiteY39388"/>
              </a:cxn>
              <a:cxn ang="0">
                <a:pos x="connsiteX39389" y="connsiteY39389"/>
              </a:cxn>
              <a:cxn ang="0">
                <a:pos x="connsiteX39390" y="connsiteY39390"/>
              </a:cxn>
              <a:cxn ang="0">
                <a:pos x="connsiteX39391" y="connsiteY39391"/>
              </a:cxn>
              <a:cxn ang="0">
                <a:pos x="connsiteX39392" y="connsiteY39392"/>
              </a:cxn>
              <a:cxn ang="0">
                <a:pos x="connsiteX39393" y="connsiteY39393"/>
              </a:cxn>
              <a:cxn ang="0">
                <a:pos x="connsiteX39394" y="connsiteY39394"/>
              </a:cxn>
              <a:cxn ang="0">
                <a:pos x="connsiteX39395" y="connsiteY39395"/>
              </a:cxn>
              <a:cxn ang="0">
                <a:pos x="connsiteX39396" y="connsiteY39396"/>
              </a:cxn>
              <a:cxn ang="0">
                <a:pos x="connsiteX39397" y="connsiteY39397"/>
              </a:cxn>
              <a:cxn ang="0">
                <a:pos x="connsiteX39398" y="connsiteY39398"/>
              </a:cxn>
              <a:cxn ang="0">
                <a:pos x="connsiteX39399" y="connsiteY39399"/>
              </a:cxn>
              <a:cxn ang="0">
                <a:pos x="connsiteX39400" y="connsiteY39400"/>
              </a:cxn>
              <a:cxn ang="0">
                <a:pos x="connsiteX39401" y="connsiteY39401"/>
              </a:cxn>
              <a:cxn ang="0">
                <a:pos x="connsiteX39402" y="connsiteY39402"/>
              </a:cxn>
              <a:cxn ang="0">
                <a:pos x="connsiteX39403" y="connsiteY39403"/>
              </a:cxn>
              <a:cxn ang="0">
                <a:pos x="connsiteX39404" y="connsiteY39404"/>
              </a:cxn>
              <a:cxn ang="0">
                <a:pos x="connsiteX39405" y="connsiteY39405"/>
              </a:cxn>
              <a:cxn ang="0">
                <a:pos x="connsiteX39406" y="connsiteY39406"/>
              </a:cxn>
              <a:cxn ang="0">
                <a:pos x="connsiteX39407" y="connsiteY39407"/>
              </a:cxn>
              <a:cxn ang="0">
                <a:pos x="connsiteX39408" y="connsiteY39408"/>
              </a:cxn>
              <a:cxn ang="0">
                <a:pos x="connsiteX39409" y="connsiteY39409"/>
              </a:cxn>
              <a:cxn ang="0">
                <a:pos x="connsiteX39410" y="connsiteY39410"/>
              </a:cxn>
              <a:cxn ang="0">
                <a:pos x="connsiteX39411" y="connsiteY39411"/>
              </a:cxn>
              <a:cxn ang="0">
                <a:pos x="connsiteX39412" y="connsiteY39412"/>
              </a:cxn>
              <a:cxn ang="0">
                <a:pos x="connsiteX39413" y="connsiteY39413"/>
              </a:cxn>
              <a:cxn ang="0">
                <a:pos x="connsiteX39414" y="connsiteY39414"/>
              </a:cxn>
              <a:cxn ang="0">
                <a:pos x="connsiteX39415" y="connsiteY39415"/>
              </a:cxn>
              <a:cxn ang="0">
                <a:pos x="connsiteX39416" y="connsiteY39416"/>
              </a:cxn>
              <a:cxn ang="0">
                <a:pos x="connsiteX39417" y="connsiteY39417"/>
              </a:cxn>
              <a:cxn ang="0">
                <a:pos x="connsiteX39418" y="connsiteY39418"/>
              </a:cxn>
              <a:cxn ang="0">
                <a:pos x="connsiteX39419" y="connsiteY39419"/>
              </a:cxn>
              <a:cxn ang="0">
                <a:pos x="connsiteX39420" y="connsiteY39420"/>
              </a:cxn>
              <a:cxn ang="0">
                <a:pos x="connsiteX39421" y="connsiteY39421"/>
              </a:cxn>
              <a:cxn ang="0">
                <a:pos x="connsiteX39422" y="connsiteY39422"/>
              </a:cxn>
              <a:cxn ang="0">
                <a:pos x="connsiteX39423" y="connsiteY39423"/>
              </a:cxn>
              <a:cxn ang="0">
                <a:pos x="connsiteX39424" y="connsiteY39424"/>
              </a:cxn>
              <a:cxn ang="0">
                <a:pos x="connsiteX39425" y="connsiteY39425"/>
              </a:cxn>
              <a:cxn ang="0">
                <a:pos x="connsiteX39426" y="connsiteY39426"/>
              </a:cxn>
              <a:cxn ang="0">
                <a:pos x="connsiteX39427" y="connsiteY39427"/>
              </a:cxn>
              <a:cxn ang="0">
                <a:pos x="connsiteX39428" y="connsiteY39428"/>
              </a:cxn>
              <a:cxn ang="0">
                <a:pos x="connsiteX39429" y="connsiteY39429"/>
              </a:cxn>
              <a:cxn ang="0">
                <a:pos x="connsiteX39430" y="connsiteY39430"/>
              </a:cxn>
              <a:cxn ang="0">
                <a:pos x="connsiteX39431" y="connsiteY39431"/>
              </a:cxn>
              <a:cxn ang="0">
                <a:pos x="connsiteX39432" y="connsiteY39432"/>
              </a:cxn>
              <a:cxn ang="0">
                <a:pos x="connsiteX39433" y="connsiteY39433"/>
              </a:cxn>
              <a:cxn ang="0">
                <a:pos x="connsiteX39434" y="connsiteY39434"/>
              </a:cxn>
              <a:cxn ang="0">
                <a:pos x="connsiteX39435" y="connsiteY39435"/>
              </a:cxn>
              <a:cxn ang="0">
                <a:pos x="connsiteX39436" y="connsiteY39436"/>
              </a:cxn>
              <a:cxn ang="0">
                <a:pos x="connsiteX39437" y="connsiteY39437"/>
              </a:cxn>
              <a:cxn ang="0">
                <a:pos x="connsiteX39438" y="connsiteY39438"/>
              </a:cxn>
              <a:cxn ang="0">
                <a:pos x="connsiteX39439" y="connsiteY39439"/>
              </a:cxn>
              <a:cxn ang="0">
                <a:pos x="connsiteX39440" y="connsiteY39440"/>
              </a:cxn>
              <a:cxn ang="0">
                <a:pos x="connsiteX39441" y="connsiteY39441"/>
              </a:cxn>
              <a:cxn ang="0">
                <a:pos x="connsiteX39442" y="connsiteY39442"/>
              </a:cxn>
              <a:cxn ang="0">
                <a:pos x="connsiteX39443" y="connsiteY39443"/>
              </a:cxn>
              <a:cxn ang="0">
                <a:pos x="connsiteX39444" y="connsiteY39444"/>
              </a:cxn>
              <a:cxn ang="0">
                <a:pos x="connsiteX39445" y="connsiteY39445"/>
              </a:cxn>
              <a:cxn ang="0">
                <a:pos x="connsiteX39446" y="connsiteY39446"/>
              </a:cxn>
              <a:cxn ang="0">
                <a:pos x="connsiteX39447" y="connsiteY39447"/>
              </a:cxn>
              <a:cxn ang="0">
                <a:pos x="connsiteX39448" y="connsiteY39448"/>
              </a:cxn>
              <a:cxn ang="0">
                <a:pos x="connsiteX39449" y="connsiteY39449"/>
              </a:cxn>
              <a:cxn ang="0">
                <a:pos x="connsiteX39450" y="connsiteY39450"/>
              </a:cxn>
              <a:cxn ang="0">
                <a:pos x="connsiteX39451" y="connsiteY39451"/>
              </a:cxn>
              <a:cxn ang="0">
                <a:pos x="connsiteX39452" y="connsiteY39452"/>
              </a:cxn>
              <a:cxn ang="0">
                <a:pos x="connsiteX39453" y="connsiteY39453"/>
              </a:cxn>
              <a:cxn ang="0">
                <a:pos x="connsiteX39454" y="connsiteY39454"/>
              </a:cxn>
              <a:cxn ang="0">
                <a:pos x="connsiteX39455" y="connsiteY39455"/>
              </a:cxn>
              <a:cxn ang="0">
                <a:pos x="connsiteX39456" y="connsiteY39456"/>
              </a:cxn>
              <a:cxn ang="0">
                <a:pos x="connsiteX39457" y="connsiteY39457"/>
              </a:cxn>
              <a:cxn ang="0">
                <a:pos x="connsiteX39458" y="connsiteY39458"/>
              </a:cxn>
              <a:cxn ang="0">
                <a:pos x="connsiteX39459" y="connsiteY39459"/>
              </a:cxn>
              <a:cxn ang="0">
                <a:pos x="connsiteX39460" y="connsiteY39460"/>
              </a:cxn>
              <a:cxn ang="0">
                <a:pos x="connsiteX39461" y="connsiteY39461"/>
              </a:cxn>
              <a:cxn ang="0">
                <a:pos x="connsiteX39462" y="connsiteY39462"/>
              </a:cxn>
              <a:cxn ang="0">
                <a:pos x="connsiteX39463" y="connsiteY39463"/>
              </a:cxn>
              <a:cxn ang="0">
                <a:pos x="connsiteX39464" y="connsiteY39464"/>
              </a:cxn>
              <a:cxn ang="0">
                <a:pos x="connsiteX39465" y="connsiteY39465"/>
              </a:cxn>
              <a:cxn ang="0">
                <a:pos x="connsiteX39466" y="connsiteY39466"/>
              </a:cxn>
              <a:cxn ang="0">
                <a:pos x="connsiteX39467" y="connsiteY39467"/>
              </a:cxn>
              <a:cxn ang="0">
                <a:pos x="connsiteX39468" y="connsiteY39468"/>
              </a:cxn>
              <a:cxn ang="0">
                <a:pos x="connsiteX39469" y="connsiteY39469"/>
              </a:cxn>
              <a:cxn ang="0">
                <a:pos x="connsiteX39470" y="connsiteY39470"/>
              </a:cxn>
              <a:cxn ang="0">
                <a:pos x="connsiteX39471" y="connsiteY39471"/>
              </a:cxn>
              <a:cxn ang="0">
                <a:pos x="connsiteX39472" y="connsiteY39472"/>
              </a:cxn>
              <a:cxn ang="0">
                <a:pos x="connsiteX39473" y="connsiteY39473"/>
              </a:cxn>
              <a:cxn ang="0">
                <a:pos x="connsiteX39474" y="connsiteY39474"/>
              </a:cxn>
              <a:cxn ang="0">
                <a:pos x="connsiteX39475" y="connsiteY39475"/>
              </a:cxn>
              <a:cxn ang="0">
                <a:pos x="connsiteX39476" y="connsiteY39476"/>
              </a:cxn>
              <a:cxn ang="0">
                <a:pos x="connsiteX39477" y="connsiteY39477"/>
              </a:cxn>
              <a:cxn ang="0">
                <a:pos x="connsiteX39478" y="connsiteY39478"/>
              </a:cxn>
              <a:cxn ang="0">
                <a:pos x="connsiteX39479" y="connsiteY39479"/>
              </a:cxn>
              <a:cxn ang="0">
                <a:pos x="connsiteX39480" y="connsiteY39480"/>
              </a:cxn>
              <a:cxn ang="0">
                <a:pos x="connsiteX39481" y="connsiteY39481"/>
              </a:cxn>
              <a:cxn ang="0">
                <a:pos x="connsiteX39482" y="connsiteY39482"/>
              </a:cxn>
              <a:cxn ang="0">
                <a:pos x="connsiteX39483" y="connsiteY39483"/>
              </a:cxn>
              <a:cxn ang="0">
                <a:pos x="connsiteX39484" y="connsiteY39484"/>
              </a:cxn>
              <a:cxn ang="0">
                <a:pos x="connsiteX39485" y="connsiteY39485"/>
              </a:cxn>
              <a:cxn ang="0">
                <a:pos x="connsiteX39486" y="connsiteY39486"/>
              </a:cxn>
              <a:cxn ang="0">
                <a:pos x="connsiteX39487" y="connsiteY39487"/>
              </a:cxn>
              <a:cxn ang="0">
                <a:pos x="connsiteX39488" y="connsiteY39488"/>
              </a:cxn>
              <a:cxn ang="0">
                <a:pos x="connsiteX39489" y="connsiteY39489"/>
              </a:cxn>
              <a:cxn ang="0">
                <a:pos x="connsiteX39490" y="connsiteY39490"/>
              </a:cxn>
              <a:cxn ang="0">
                <a:pos x="connsiteX39491" y="connsiteY39491"/>
              </a:cxn>
              <a:cxn ang="0">
                <a:pos x="connsiteX39492" y="connsiteY39492"/>
              </a:cxn>
              <a:cxn ang="0">
                <a:pos x="connsiteX39493" y="connsiteY39493"/>
              </a:cxn>
              <a:cxn ang="0">
                <a:pos x="connsiteX39494" y="connsiteY39494"/>
              </a:cxn>
              <a:cxn ang="0">
                <a:pos x="connsiteX39495" y="connsiteY39495"/>
              </a:cxn>
              <a:cxn ang="0">
                <a:pos x="connsiteX39496" y="connsiteY39496"/>
              </a:cxn>
              <a:cxn ang="0">
                <a:pos x="connsiteX39497" y="connsiteY39497"/>
              </a:cxn>
              <a:cxn ang="0">
                <a:pos x="connsiteX39498" y="connsiteY39498"/>
              </a:cxn>
              <a:cxn ang="0">
                <a:pos x="connsiteX39499" y="connsiteY39499"/>
              </a:cxn>
              <a:cxn ang="0">
                <a:pos x="connsiteX39500" y="connsiteY39500"/>
              </a:cxn>
              <a:cxn ang="0">
                <a:pos x="connsiteX39501" y="connsiteY39501"/>
              </a:cxn>
              <a:cxn ang="0">
                <a:pos x="connsiteX39502" y="connsiteY39502"/>
              </a:cxn>
              <a:cxn ang="0">
                <a:pos x="connsiteX39503" y="connsiteY39503"/>
              </a:cxn>
              <a:cxn ang="0">
                <a:pos x="connsiteX39504" y="connsiteY39504"/>
              </a:cxn>
              <a:cxn ang="0">
                <a:pos x="connsiteX39505" y="connsiteY39505"/>
              </a:cxn>
              <a:cxn ang="0">
                <a:pos x="connsiteX39506" y="connsiteY39506"/>
              </a:cxn>
              <a:cxn ang="0">
                <a:pos x="connsiteX39507" y="connsiteY39507"/>
              </a:cxn>
              <a:cxn ang="0">
                <a:pos x="connsiteX39508" y="connsiteY39508"/>
              </a:cxn>
              <a:cxn ang="0">
                <a:pos x="connsiteX39509" y="connsiteY39509"/>
              </a:cxn>
              <a:cxn ang="0">
                <a:pos x="connsiteX39510" y="connsiteY39510"/>
              </a:cxn>
              <a:cxn ang="0">
                <a:pos x="connsiteX39511" y="connsiteY39511"/>
              </a:cxn>
              <a:cxn ang="0">
                <a:pos x="connsiteX39512" y="connsiteY39512"/>
              </a:cxn>
              <a:cxn ang="0">
                <a:pos x="connsiteX39513" y="connsiteY39513"/>
              </a:cxn>
              <a:cxn ang="0">
                <a:pos x="connsiteX39514" y="connsiteY39514"/>
              </a:cxn>
              <a:cxn ang="0">
                <a:pos x="connsiteX39515" y="connsiteY39515"/>
              </a:cxn>
              <a:cxn ang="0">
                <a:pos x="connsiteX39516" y="connsiteY39516"/>
              </a:cxn>
              <a:cxn ang="0">
                <a:pos x="connsiteX39517" y="connsiteY39517"/>
              </a:cxn>
              <a:cxn ang="0">
                <a:pos x="connsiteX39518" y="connsiteY39518"/>
              </a:cxn>
              <a:cxn ang="0">
                <a:pos x="connsiteX39519" y="connsiteY39519"/>
              </a:cxn>
              <a:cxn ang="0">
                <a:pos x="connsiteX39520" y="connsiteY39520"/>
              </a:cxn>
              <a:cxn ang="0">
                <a:pos x="connsiteX39521" y="connsiteY39521"/>
              </a:cxn>
              <a:cxn ang="0">
                <a:pos x="connsiteX39522" y="connsiteY39522"/>
              </a:cxn>
              <a:cxn ang="0">
                <a:pos x="connsiteX39523" y="connsiteY39523"/>
              </a:cxn>
              <a:cxn ang="0">
                <a:pos x="connsiteX39524" y="connsiteY39524"/>
              </a:cxn>
              <a:cxn ang="0">
                <a:pos x="connsiteX39525" y="connsiteY39525"/>
              </a:cxn>
              <a:cxn ang="0">
                <a:pos x="connsiteX39526" y="connsiteY39526"/>
              </a:cxn>
              <a:cxn ang="0">
                <a:pos x="connsiteX39527" y="connsiteY39527"/>
              </a:cxn>
              <a:cxn ang="0">
                <a:pos x="connsiteX39528" y="connsiteY39528"/>
              </a:cxn>
              <a:cxn ang="0">
                <a:pos x="connsiteX39529" y="connsiteY39529"/>
              </a:cxn>
              <a:cxn ang="0">
                <a:pos x="connsiteX39530" y="connsiteY39530"/>
              </a:cxn>
              <a:cxn ang="0">
                <a:pos x="connsiteX39531" y="connsiteY39531"/>
              </a:cxn>
              <a:cxn ang="0">
                <a:pos x="connsiteX39532" y="connsiteY39532"/>
              </a:cxn>
              <a:cxn ang="0">
                <a:pos x="connsiteX39533" y="connsiteY39533"/>
              </a:cxn>
              <a:cxn ang="0">
                <a:pos x="connsiteX39534" y="connsiteY39534"/>
              </a:cxn>
              <a:cxn ang="0">
                <a:pos x="connsiteX39535" y="connsiteY39535"/>
              </a:cxn>
              <a:cxn ang="0">
                <a:pos x="connsiteX39536" y="connsiteY39536"/>
              </a:cxn>
              <a:cxn ang="0">
                <a:pos x="connsiteX39537" y="connsiteY39537"/>
              </a:cxn>
              <a:cxn ang="0">
                <a:pos x="connsiteX39538" y="connsiteY39538"/>
              </a:cxn>
              <a:cxn ang="0">
                <a:pos x="connsiteX39539" y="connsiteY39539"/>
              </a:cxn>
              <a:cxn ang="0">
                <a:pos x="connsiteX39540" y="connsiteY39540"/>
              </a:cxn>
              <a:cxn ang="0">
                <a:pos x="connsiteX39541" y="connsiteY39541"/>
              </a:cxn>
              <a:cxn ang="0">
                <a:pos x="connsiteX39542" y="connsiteY39542"/>
              </a:cxn>
              <a:cxn ang="0">
                <a:pos x="connsiteX39543" y="connsiteY39543"/>
              </a:cxn>
              <a:cxn ang="0">
                <a:pos x="connsiteX39544" y="connsiteY39544"/>
              </a:cxn>
              <a:cxn ang="0">
                <a:pos x="connsiteX39545" y="connsiteY39545"/>
              </a:cxn>
              <a:cxn ang="0">
                <a:pos x="connsiteX39546" y="connsiteY39546"/>
              </a:cxn>
              <a:cxn ang="0">
                <a:pos x="connsiteX39547" y="connsiteY39547"/>
              </a:cxn>
              <a:cxn ang="0">
                <a:pos x="connsiteX39548" y="connsiteY39548"/>
              </a:cxn>
              <a:cxn ang="0">
                <a:pos x="connsiteX39549" y="connsiteY39549"/>
              </a:cxn>
              <a:cxn ang="0">
                <a:pos x="connsiteX39550" y="connsiteY39550"/>
              </a:cxn>
              <a:cxn ang="0">
                <a:pos x="connsiteX39551" y="connsiteY39551"/>
              </a:cxn>
              <a:cxn ang="0">
                <a:pos x="connsiteX39552" y="connsiteY39552"/>
              </a:cxn>
              <a:cxn ang="0">
                <a:pos x="connsiteX39553" y="connsiteY39553"/>
              </a:cxn>
              <a:cxn ang="0">
                <a:pos x="connsiteX39554" y="connsiteY39554"/>
              </a:cxn>
              <a:cxn ang="0">
                <a:pos x="connsiteX39555" y="connsiteY39555"/>
              </a:cxn>
              <a:cxn ang="0">
                <a:pos x="connsiteX39556" y="connsiteY39556"/>
              </a:cxn>
              <a:cxn ang="0">
                <a:pos x="connsiteX39557" y="connsiteY39557"/>
              </a:cxn>
              <a:cxn ang="0">
                <a:pos x="connsiteX39558" y="connsiteY39558"/>
              </a:cxn>
              <a:cxn ang="0">
                <a:pos x="connsiteX39559" y="connsiteY39559"/>
              </a:cxn>
              <a:cxn ang="0">
                <a:pos x="connsiteX39560" y="connsiteY39560"/>
              </a:cxn>
              <a:cxn ang="0">
                <a:pos x="connsiteX39561" y="connsiteY39561"/>
              </a:cxn>
              <a:cxn ang="0">
                <a:pos x="connsiteX39562" y="connsiteY39562"/>
              </a:cxn>
              <a:cxn ang="0">
                <a:pos x="connsiteX39563" y="connsiteY39563"/>
              </a:cxn>
              <a:cxn ang="0">
                <a:pos x="connsiteX39564" y="connsiteY39564"/>
              </a:cxn>
              <a:cxn ang="0">
                <a:pos x="connsiteX39565" y="connsiteY39565"/>
              </a:cxn>
              <a:cxn ang="0">
                <a:pos x="connsiteX39566" y="connsiteY39566"/>
              </a:cxn>
              <a:cxn ang="0">
                <a:pos x="connsiteX39567" y="connsiteY39567"/>
              </a:cxn>
              <a:cxn ang="0">
                <a:pos x="connsiteX39568" y="connsiteY39568"/>
              </a:cxn>
              <a:cxn ang="0">
                <a:pos x="connsiteX39569" y="connsiteY39569"/>
              </a:cxn>
              <a:cxn ang="0">
                <a:pos x="connsiteX39570" y="connsiteY39570"/>
              </a:cxn>
              <a:cxn ang="0">
                <a:pos x="connsiteX39571" y="connsiteY39571"/>
              </a:cxn>
              <a:cxn ang="0">
                <a:pos x="connsiteX39572" y="connsiteY39572"/>
              </a:cxn>
              <a:cxn ang="0">
                <a:pos x="connsiteX39573" y="connsiteY39573"/>
              </a:cxn>
              <a:cxn ang="0">
                <a:pos x="connsiteX39574" y="connsiteY39574"/>
              </a:cxn>
              <a:cxn ang="0">
                <a:pos x="connsiteX39575" y="connsiteY39575"/>
              </a:cxn>
              <a:cxn ang="0">
                <a:pos x="connsiteX39576" y="connsiteY39576"/>
              </a:cxn>
              <a:cxn ang="0">
                <a:pos x="connsiteX39577" y="connsiteY39577"/>
              </a:cxn>
              <a:cxn ang="0">
                <a:pos x="connsiteX39578" y="connsiteY39578"/>
              </a:cxn>
              <a:cxn ang="0">
                <a:pos x="connsiteX39579" y="connsiteY39579"/>
              </a:cxn>
              <a:cxn ang="0">
                <a:pos x="connsiteX39580" y="connsiteY39580"/>
              </a:cxn>
              <a:cxn ang="0">
                <a:pos x="connsiteX39581" y="connsiteY39581"/>
              </a:cxn>
              <a:cxn ang="0">
                <a:pos x="connsiteX39582" y="connsiteY39582"/>
              </a:cxn>
              <a:cxn ang="0">
                <a:pos x="connsiteX39583" y="connsiteY39583"/>
              </a:cxn>
              <a:cxn ang="0">
                <a:pos x="connsiteX39584" y="connsiteY39584"/>
              </a:cxn>
              <a:cxn ang="0">
                <a:pos x="connsiteX39585" y="connsiteY39585"/>
              </a:cxn>
              <a:cxn ang="0">
                <a:pos x="connsiteX39586" y="connsiteY39586"/>
              </a:cxn>
              <a:cxn ang="0">
                <a:pos x="connsiteX39587" y="connsiteY39587"/>
              </a:cxn>
              <a:cxn ang="0">
                <a:pos x="connsiteX39588" y="connsiteY39588"/>
              </a:cxn>
              <a:cxn ang="0">
                <a:pos x="connsiteX39589" y="connsiteY39589"/>
              </a:cxn>
              <a:cxn ang="0">
                <a:pos x="connsiteX39590" y="connsiteY39590"/>
              </a:cxn>
              <a:cxn ang="0">
                <a:pos x="connsiteX39591" y="connsiteY39591"/>
              </a:cxn>
              <a:cxn ang="0">
                <a:pos x="connsiteX39592" y="connsiteY39592"/>
              </a:cxn>
              <a:cxn ang="0">
                <a:pos x="connsiteX39593" y="connsiteY39593"/>
              </a:cxn>
              <a:cxn ang="0">
                <a:pos x="connsiteX39594" y="connsiteY39594"/>
              </a:cxn>
              <a:cxn ang="0">
                <a:pos x="connsiteX39595" y="connsiteY39595"/>
              </a:cxn>
              <a:cxn ang="0">
                <a:pos x="connsiteX39596" y="connsiteY39596"/>
              </a:cxn>
              <a:cxn ang="0">
                <a:pos x="connsiteX39597" y="connsiteY39597"/>
              </a:cxn>
              <a:cxn ang="0">
                <a:pos x="connsiteX39598" y="connsiteY39598"/>
              </a:cxn>
              <a:cxn ang="0">
                <a:pos x="connsiteX39599" y="connsiteY39599"/>
              </a:cxn>
              <a:cxn ang="0">
                <a:pos x="connsiteX39600" y="connsiteY39600"/>
              </a:cxn>
              <a:cxn ang="0">
                <a:pos x="connsiteX39601" y="connsiteY39601"/>
              </a:cxn>
              <a:cxn ang="0">
                <a:pos x="connsiteX39602" y="connsiteY39602"/>
              </a:cxn>
              <a:cxn ang="0">
                <a:pos x="connsiteX39603" y="connsiteY39603"/>
              </a:cxn>
              <a:cxn ang="0">
                <a:pos x="connsiteX39604" y="connsiteY39604"/>
              </a:cxn>
              <a:cxn ang="0">
                <a:pos x="connsiteX39605" y="connsiteY39605"/>
              </a:cxn>
              <a:cxn ang="0">
                <a:pos x="connsiteX39606" y="connsiteY39606"/>
              </a:cxn>
              <a:cxn ang="0">
                <a:pos x="connsiteX39607" y="connsiteY39607"/>
              </a:cxn>
              <a:cxn ang="0">
                <a:pos x="connsiteX39608" y="connsiteY39608"/>
              </a:cxn>
              <a:cxn ang="0">
                <a:pos x="connsiteX39609" y="connsiteY39609"/>
              </a:cxn>
              <a:cxn ang="0">
                <a:pos x="connsiteX39610" y="connsiteY39610"/>
              </a:cxn>
              <a:cxn ang="0">
                <a:pos x="connsiteX39611" y="connsiteY39611"/>
              </a:cxn>
              <a:cxn ang="0">
                <a:pos x="connsiteX39612" y="connsiteY39612"/>
              </a:cxn>
              <a:cxn ang="0">
                <a:pos x="connsiteX39613" y="connsiteY39613"/>
              </a:cxn>
              <a:cxn ang="0">
                <a:pos x="connsiteX39614" y="connsiteY39614"/>
              </a:cxn>
              <a:cxn ang="0">
                <a:pos x="connsiteX39615" y="connsiteY39615"/>
              </a:cxn>
              <a:cxn ang="0">
                <a:pos x="connsiteX39616" y="connsiteY39616"/>
              </a:cxn>
              <a:cxn ang="0">
                <a:pos x="connsiteX39617" y="connsiteY39617"/>
              </a:cxn>
              <a:cxn ang="0">
                <a:pos x="connsiteX39618" y="connsiteY39618"/>
              </a:cxn>
              <a:cxn ang="0">
                <a:pos x="connsiteX39619" y="connsiteY39619"/>
              </a:cxn>
              <a:cxn ang="0">
                <a:pos x="connsiteX39620" y="connsiteY39620"/>
              </a:cxn>
              <a:cxn ang="0">
                <a:pos x="connsiteX39621" y="connsiteY39621"/>
              </a:cxn>
              <a:cxn ang="0">
                <a:pos x="connsiteX39622" y="connsiteY39622"/>
              </a:cxn>
              <a:cxn ang="0">
                <a:pos x="connsiteX39623" y="connsiteY39623"/>
              </a:cxn>
              <a:cxn ang="0">
                <a:pos x="connsiteX39624" y="connsiteY39624"/>
              </a:cxn>
              <a:cxn ang="0">
                <a:pos x="connsiteX39625" y="connsiteY39625"/>
              </a:cxn>
              <a:cxn ang="0">
                <a:pos x="connsiteX39626" y="connsiteY39626"/>
              </a:cxn>
              <a:cxn ang="0">
                <a:pos x="connsiteX39627" y="connsiteY39627"/>
              </a:cxn>
              <a:cxn ang="0">
                <a:pos x="connsiteX39628" y="connsiteY39628"/>
              </a:cxn>
              <a:cxn ang="0">
                <a:pos x="connsiteX39629" y="connsiteY39629"/>
              </a:cxn>
              <a:cxn ang="0">
                <a:pos x="connsiteX39630" y="connsiteY39630"/>
              </a:cxn>
              <a:cxn ang="0">
                <a:pos x="connsiteX39631" y="connsiteY39631"/>
              </a:cxn>
              <a:cxn ang="0">
                <a:pos x="connsiteX39632" y="connsiteY39632"/>
              </a:cxn>
              <a:cxn ang="0">
                <a:pos x="connsiteX39633" y="connsiteY39633"/>
              </a:cxn>
              <a:cxn ang="0">
                <a:pos x="connsiteX39634" y="connsiteY39634"/>
              </a:cxn>
              <a:cxn ang="0">
                <a:pos x="connsiteX39635" y="connsiteY39635"/>
              </a:cxn>
              <a:cxn ang="0">
                <a:pos x="connsiteX39636" y="connsiteY39636"/>
              </a:cxn>
              <a:cxn ang="0">
                <a:pos x="connsiteX39637" y="connsiteY39637"/>
              </a:cxn>
              <a:cxn ang="0">
                <a:pos x="connsiteX39638" y="connsiteY39638"/>
              </a:cxn>
              <a:cxn ang="0">
                <a:pos x="connsiteX39639" y="connsiteY39639"/>
              </a:cxn>
              <a:cxn ang="0">
                <a:pos x="connsiteX39640" y="connsiteY39640"/>
              </a:cxn>
              <a:cxn ang="0">
                <a:pos x="connsiteX39641" y="connsiteY39641"/>
              </a:cxn>
              <a:cxn ang="0">
                <a:pos x="connsiteX39642" y="connsiteY39642"/>
              </a:cxn>
              <a:cxn ang="0">
                <a:pos x="connsiteX39643" y="connsiteY39643"/>
              </a:cxn>
              <a:cxn ang="0">
                <a:pos x="connsiteX39644" y="connsiteY39644"/>
              </a:cxn>
              <a:cxn ang="0">
                <a:pos x="connsiteX39645" y="connsiteY39645"/>
              </a:cxn>
              <a:cxn ang="0">
                <a:pos x="connsiteX39646" y="connsiteY39646"/>
              </a:cxn>
              <a:cxn ang="0">
                <a:pos x="connsiteX39647" y="connsiteY39647"/>
              </a:cxn>
              <a:cxn ang="0">
                <a:pos x="connsiteX39648" y="connsiteY39648"/>
              </a:cxn>
              <a:cxn ang="0">
                <a:pos x="connsiteX39649" y="connsiteY39649"/>
              </a:cxn>
              <a:cxn ang="0">
                <a:pos x="connsiteX39650" y="connsiteY39650"/>
              </a:cxn>
              <a:cxn ang="0">
                <a:pos x="connsiteX39651" y="connsiteY39651"/>
              </a:cxn>
              <a:cxn ang="0">
                <a:pos x="connsiteX39652" y="connsiteY39652"/>
              </a:cxn>
              <a:cxn ang="0">
                <a:pos x="connsiteX39653" y="connsiteY39653"/>
              </a:cxn>
              <a:cxn ang="0">
                <a:pos x="connsiteX39654" y="connsiteY39654"/>
              </a:cxn>
              <a:cxn ang="0">
                <a:pos x="connsiteX39655" y="connsiteY39655"/>
              </a:cxn>
              <a:cxn ang="0">
                <a:pos x="connsiteX39656" y="connsiteY39656"/>
              </a:cxn>
              <a:cxn ang="0">
                <a:pos x="connsiteX39657" y="connsiteY39657"/>
              </a:cxn>
              <a:cxn ang="0">
                <a:pos x="connsiteX39658" y="connsiteY39658"/>
              </a:cxn>
              <a:cxn ang="0">
                <a:pos x="connsiteX39659" y="connsiteY39659"/>
              </a:cxn>
              <a:cxn ang="0">
                <a:pos x="connsiteX39660" y="connsiteY39660"/>
              </a:cxn>
              <a:cxn ang="0">
                <a:pos x="connsiteX39661" y="connsiteY39661"/>
              </a:cxn>
              <a:cxn ang="0">
                <a:pos x="connsiteX39662" y="connsiteY39662"/>
              </a:cxn>
              <a:cxn ang="0">
                <a:pos x="connsiteX39663" y="connsiteY39663"/>
              </a:cxn>
              <a:cxn ang="0">
                <a:pos x="connsiteX39664" y="connsiteY39664"/>
              </a:cxn>
              <a:cxn ang="0">
                <a:pos x="connsiteX39665" y="connsiteY39665"/>
              </a:cxn>
              <a:cxn ang="0">
                <a:pos x="connsiteX39666" y="connsiteY39666"/>
              </a:cxn>
              <a:cxn ang="0">
                <a:pos x="connsiteX39667" y="connsiteY39667"/>
              </a:cxn>
              <a:cxn ang="0">
                <a:pos x="connsiteX39668" y="connsiteY39668"/>
              </a:cxn>
              <a:cxn ang="0">
                <a:pos x="connsiteX39669" y="connsiteY39669"/>
              </a:cxn>
              <a:cxn ang="0">
                <a:pos x="connsiteX39670" y="connsiteY39670"/>
              </a:cxn>
              <a:cxn ang="0">
                <a:pos x="connsiteX39671" y="connsiteY39671"/>
              </a:cxn>
              <a:cxn ang="0">
                <a:pos x="connsiteX39672" y="connsiteY39672"/>
              </a:cxn>
              <a:cxn ang="0">
                <a:pos x="connsiteX39673" y="connsiteY39673"/>
              </a:cxn>
              <a:cxn ang="0">
                <a:pos x="connsiteX39674" y="connsiteY39674"/>
              </a:cxn>
              <a:cxn ang="0">
                <a:pos x="connsiteX39675" y="connsiteY39675"/>
              </a:cxn>
              <a:cxn ang="0">
                <a:pos x="connsiteX39676" y="connsiteY39676"/>
              </a:cxn>
              <a:cxn ang="0">
                <a:pos x="connsiteX39677" y="connsiteY39677"/>
              </a:cxn>
              <a:cxn ang="0">
                <a:pos x="connsiteX39678" y="connsiteY39678"/>
              </a:cxn>
              <a:cxn ang="0">
                <a:pos x="connsiteX39679" y="connsiteY39679"/>
              </a:cxn>
              <a:cxn ang="0">
                <a:pos x="connsiteX39680" y="connsiteY39680"/>
              </a:cxn>
              <a:cxn ang="0">
                <a:pos x="connsiteX39681" y="connsiteY39681"/>
              </a:cxn>
              <a:cxn ang="0">
                <a:pos x="connsiteX39682" y="connsiteY39682"/>
              </a:cxn>
              <a:cxn ang="0">
                <a:pos x="connsiteX39683" y="connsiteY39683"/>
              </a:cxn>
              <a:cxn ang="0">
                <a:pos x="connsiteX39684" y="connsiteY39684"/>
              </a:cxn>
              <a:cxn ang="0">
                <a:pos x="connsiteX39685" y="connsiteY39685"/>
              </a:cxn>
              <a:cxn ang="0">
                <a:pos x="connsiteX39686" y="connsiteY39686"/>
              </a:cxn>
              <a:cxn ang="0">
                <a:pos x="connsiteX39687" y="connsiteY39687"/>
              </a:cxn>
              <a:cxn ang="0">
                <a:pos x="connsiteX39688" y="connsiteY39688"/>
              </a:cxn>
              <a:cxn ang="0">
                <a:pos x="connsiteX39689" y="connsiteY39689"/>
              </a:cxn>
              <a:cxn ang="0">
                <a:pos x="connsiteX39690" y="connsiteY39690"/>
              </a:cxn>
              <a:cxn ang="0">
                <a:pos x="connsiteX39691" y="connsiteY39691"/>
              </a:cxn>
              <a:cxn ang="0">
                <a:pos x="connsiteX39692" y="connsiteY39692"/>
              </a:cxn>
              <a:cxn ang="0">
                <a:pos x="connsiteX39693" y="connsiteY39693"/>
              </a:cxn>
              <a:cxn ang="0">
                <a:pos x="connsiteX39694" y="connsiteY39694"/>
              </a:cxn>
              <a:cxn ang="0">
                <a:pos x="connsiteX39695" y="connsiteY39695"/>
              </a:cxn>
              <a:cxn ang="0">
                <a:pos x="connsiteX39696" y="connsiteY39696"/>
              </a:cxn>
              <a:cxn ang="0">
                <a:pos x="connsiteX39697" y="connsiteY39697"/>
              </a:cxn>
              <a:cxn ang="0">
                <a:pos x="connsiteX39698" y="connsiteY39698"/>
              </a:cxn>
              <a:cxn ang="0">
                <a:pos x="connsiteX39699" y="connsiteY39699"/>
              </a:cxn>
              <a:cxn ang="0">
                <a:pos x="connsiteX39700" y="connsiteY39700"/>
              </a:cxn>
              <a:cxn ang="0">
                <a:pos x="connsiteX39701" y="connsiteY39701"/>
              </a:cxn>
              <a:cxn ang="0">
                <a:pos x="connsiteX39702" y="connsiteY39702"/>
              </a:cxn>
              <a:cxn ang="0">
                <a:pos x="connsiteX39703" y="connsiteY39703"/>
              </a:cxn>
              <a:cxn ang="0">
                <a:pos x="connsiteX39704" y="connsiteY39704"/>
              </a:cxn>
              <a:cxn ang="0">
                <a:pos x="connsiteX39705" y="connsiteY39705"/>
              </a:cxn>
              <a:cxn ang="0">
                <a:pos x="connsiteX39706" y="connsiteY39706"/>
              </a:cxn>
              <a:cxn ang="0">
                <a:pos x="connsiteX39707" y="connsiteY39707"/>
              </a:cxn>
              <a:cxn ang="0">
                <a:pos x="connsiteX39708" y="connsiteY39708"/>
              </a:cxn>
              <a:cxn ang="0">
                <a:pos x="connsiteX39709" y="connsiteY39709"/>
              </a:cxn>
              <a:cxn ang="0">
                <a:pos x="connsiteX39710" y="connsiteY39710"/>
              </a:cxn>
              <a:cxn ang="0">
                <a:pos x="connsiteX39711" y="connsiteY39711"/>
              </a:cxn>
              <a:cxn ang="0">
                <a:pos x="connsiteX39712" y="connsiteY39712"/>
              </a:cxn>
              <a:cxn ang="0">
                <a:pos x="connsiteX39713" y="connsiteY39713"/>
              </a:cxn>
              <a:cxn ang="0">
                <a:pos x="connsiteX39714" y="connsiteY39714"/>
              </a:cxn>
              <a:cxn ang="0">
                <a:pos x="connsiteX39715" y="connsiteY39715"/>
              </a:cxn>
              <a:cxn ang="0">
                <a:pos x="connsiteX39716" y="connsiteY39716"/>
              </a:cxn>
              <a:cxn ang="0">
                <a:pos x="connsiteX39717" y="connsiteY39717"/>
              </a:cxn>
              <a:cxn ang="0">
                <a:pos x="connsiteX39718" y="connsiteY39718"/>
              </a:cxn>
              <a:cxn ang="0">
                <a:pos x="connsiteX39719" y="connsiteY39719"/>
              </a:cxn>
              <a:cxn ang="0">
                <a:pos x="connsiteX39720" y="connsiteY39720"/>
              </a:cxn>
              <a:cxn ang="0">
                <a:pos x="connsiteX39721" y="connsiteY39721"/>
              </a:cxn>
              <a:cxn ang="0">
                <a:pos x="connsiteX39722" y="connsiteY39722"/>
              </a:cxn>
              <a:cxn ang="0">
                <a:pos x="connsiteX39723" y="connsiteY39723"/>
              </a:cxn>
              <a:cxn ang="0">
                <a:pos x="connsiteX39724" y="connsiteY39724"/>
              </a:cxn>
              <a:cxn ang="0">
                <a:pos x="connsiteX39725" y="connsiteY39725"/>
              </a:cxn>
              <a:cxn ang="0">
                <a:pos x="connsiteX39726" y="connsiteY39726"/>
              </a:cxn>
              <a:cxn ang="0">
                <a:pos x="connsiteX39727" y="connsiteY39727"/>
              </a:cxn>
              <a:cxn ang="0">
                <a:pos x="connsiteX39728" y="connsiteY39728"/>
              </a:cxn>
              <a:cxn ang="0">
                <a:pos x="connsiteX39729" y="connsiteY39729"/>
              </a:cxn>
              <a:cxn ang="0">
                <a:pos x="connsiteX39730" y="connsiteY39730"/>
              </a:cxn>
              <a:cxn ang="0">
                <a:pos x="connsiteX39731" y="connsiteY39731"/>
              </a:cxn>
              <a:cxn ang="0">
                <a:pos x="connsiteX39732" y="connsiteY39732"/>
              </a:cxn>
              <a:cxn ang="0">
                <a:pos x="connsiteX39733" y="connsiteY39733"/>
              </a:cxn>
              <a:cxn ang="0">
                <a:pos x="connsiteX39734" y="connsiteY39734"/>
              </a:cxn>
              <a:cxn ang="0">
                <a:pos x="connsiteX39735" y="connsiteY39735"/>
              </a:cxn>
              <a:cxn ang="0">
                <a:pos x="connsiteX39736" y="connsiteY39736"/>
              </a:cxn>
              <a:cxn ang="0">
                <a:pos x="connsiteX39737" y="connsiteY39737"/>
              </a:cxn>
              <a:cxn ang="0">
                <a:pos x="connsiteX39738" y="connsiteY39738"/>
              </a:cxn>
              <a:cxn ang="0">
                <a:pos x="connsiteX39739" y="connsiteY39739"/>
              </a:cxn>
              <a:cxn ang="0">
                <a:pos x="connsiteX39740" y="connsiteY39740"/>
              </a:cxn>
              <a:cxn ang="0">
                <a:pos x="connsiteX39741" y="connsiteY39741"/>
              </a:cxn>
              <a:cxn ang="0">
                <a:pos x="connsiteX39742" y="connsiteY39742"/>
              </a:cxn>
              <a:cxn ang="0">
                <a:pos x="connsiteX39743" y="connsiteY39743"/>
              </a:cxn>
              <a:cxn ang="0">
                <a:pos x="connsiteX39744" y="connsiteY39744"/>
              </a:cxn>
              <a:cxn ang="0">
                <a:pos x="connsiteX39745" y="connsiteY39745"/>
              </a:cxn>
              <a:cxn ang="0">
                <a:pos x="connsiteX39746" y="connsiteY39746"/>
              </a:cxn>
              <a:cxn ang="0">
                <a:pos x="connsiteX39747" y="connsiteY39747"/>
              </a:cxn>
              <a:cxn ang="0">
                <a:pos x="connsiteX39748" y="connsiteY39748"/>
              </a:cxn>
              <a:cxn ang="0">
                <a:pos x="connsiteX39749" y="connsiteY39749"/>
              </a:cxn>
              <a:cxn ang="0">
                <a:pos x="connsiteX39750" y="connsiteY39750"/>
              </a:cxn>
              <a:cxn ang="0">
                <a:pos x="connsiteX39751" y="connsiteY39751"/>
              </a:cxn>
              <a:cxn ang="0">
                <a:pos x="connsiteX39752" y="connsiteY39752"/>
              </a:cxn>
              <a:cxn ang="0">
                <a:pos x="connsiteX39753" y="connsiteY39753"/>
              </a:cxn>
              <a:cxn ang="0">
                <a:pos x="connsiteX39754" y="connsiteY39754"/>
              </a:cxn>
              <a:cxn ang="0">
                <a:pos x="connsiteX39755" y="connsiteY39755"/>
              </a:cxn>
              <a:cxn ang="0">
                <a:pos x="connsiteX39756" y="connsiteY39756"/>
              </a:cxn>
              <a:cxn ang="0">
                <a:pos x="connsiteX39757" y="connsiteY39757"/>
              </a:cxn>
              <a:cxn ang="0">
                <a:pos x="connsiteX39758" y="connsiteY39758"/>
              </a:cxn>
              <a:cxn ang="0">
                <a:pos x="connsiteX39759" y="connsiteY39759"/>
              </a:cxn>
              <a:cxn ang="0">
                <a:pos x="connsiteX39760" y="connsiteY39760"/>
              </a:cxn>
              <a:cxn ang="0">
                <a:pos x="connsiteX39761" y="connsiteY39761"/>
              </a:cxn>
              <a:cxn ang="0">
                <a:pos x="connsiteX39762" y="connsiteY39762"/>
              </a:cxn>
              <a:cxn ang="0">
                <a:pos x="connsiteX39763" y="connsiteY39763"/>
              </a:cxn>
              <a:cxn ang="0">
                <a:pos x="connsiteX39764" y="connsiteY39764"/>
              </a:cxn>
              <a:cxn ang="0">
                <a:pos x="connsiteX39765" y="connsiteY39765"/>
              </a:cxn>
              <a:cxn ang="0">
                <a:pos x="connsiteX39766" y="connsiteY39766"/>
              </a:cxn>
              <a:cxn ang="0">
                <a:pos x="connsiteX39767" y="connsiteY39767"/>
              </a:cxn>
              <a:cxn ang="0">
                <a:pos x="connsiteX39768" y="connsiteY39768"/>
              </a:cxn>
              <a:cxn ang="0">
                <a:pos x="connsiteX39769" y="connsiteY39769"/>
              </a:cxn>
              <a:cxn ang="0">
                <a:pos x="connsiteX39770" y="connsiteY39770"/>
              </a:cxn>
              <a:cxn ang="0">
                <a:pos x="connsiteX39771" y="connsiteY39771"/>
              </a:cxn>
              <a:cxn ang="0">
                <a:pos x="connsiteX39772" y="connsiteY39772"/>
              </a:cxn>
              <a:cxn ang="0">
                <a:pos x="connsiteX39773" y="connsiteY39773"/>
              </a:cxn>
              <a:cxn ang="0">
                <a:pos x="connsiteX39774" y="connsiteY39774"/>
              </a:cxn>
              <a:cxn ang="0">
                <a:pos x="connsiteX39775" y="connsiteY39775"/>
              </a:cxn>
              <a:cxn ang="0">
                <a:pos x="connsiteX39776" y="connsiteY39776"/>
              </a:cxn>
              <a:cxn ang="0">
                <a:pos x="connsiteX39777" y="connsiteY39777"/>
              </a:cxn>
              <a:cxn ang="0">
                <a:pos x="connsiteX39778" y="connsiteY39778"/>
              </a:cxn>
              <a:cxn ang="0">
                <a:pos x="connsiteX39779" y="connsiteY39779"/>
              </a:cxn>
              <a:cxn ang="0">
                <a:pos x="connsiteX39780" y="connsiteY39780"/>
              </a:cxn>
              <a:cxn ang="0">
                <a:pos x="connsiteX39781" y="connsiteY39781"/>
              </a:cxn>
              <a:cxn ang="0">
                <a:pos x="connsiteX39782" y="connsiteY39782"/>
              </a:cxn>
              <a:cxn ang="0">
                <a:pos x="connsiteX39783" y="connsiteY39783"/>
              </a:cxn>
              <a:cxn ang="0">
                <a:pos x="connsiteX39784" y="connsiteY39784"/>
              </a:cxn>
              <a:cxn ang="0">
                <a:pos x="connsiteX39785" y="connsiteY39785"/>
              </a:cxn>
              <a:cxn ang="0">
                <a:pos x="connsiteX39786" y="connsiteY39786"/>
              </a:cxn>
              <a:cxn ang="0">
                <a:pos x="connsiteX39787" y="connsiteY39787"/>
              </a:cxn>
              <a:cxn ang="0">
                <a:pos x="connsiteX39788" y="connsiteY39788"/>
              </a:cxn>
              <a:cxn ang="0">
                <a:pos x="connsiteX39789" y="connsiteY39789"/>
              </a:cxn>
              <a:cxn ang="0">
                <a:pos x="connsiteX39790" y="connsiteY39790"/>
              </a:cxn>
              <a:cxn ang="0">
                <a:pos x="connsiteX39791" y="connsiteY39791"/>
              </a:cxn>
              <a:cxn ang="0">
                <a:pos x="connsiteX39792" y="connsiteY39792"/>
              </a:cxn>
              <a:cxn ang="0">
                <a:pos x="connsiteX39793" y="connsiteY39793"/>
              </a:cxn>
              <a:cxn ang="0">
                <a:pos x="connsiteX39794" y="connsiteY39794"/>
              </a:cxn>
              <a:cxn ang="0">
                <a:pos x="connsiteX39795" y="connsiteY39795"/>
              </a:cxn>
              <a:cxn ang="0">
                <a:pos x="connsiteX39796" y="connsiteY39796"/>
              </a:cxn>
              <a:cxn ang="0">
                <a:pos x="connsiteX39797" y="connsiteY39797"/>
              </a:cxn>
              <a:cxn ang="0">
                <a:pos x="connsiteX39798" y="connsiteY39798"/>
              </a:cxn>
              <a:cxn ang="0">
                <a:pos x="connsiteX39799" y="connsiteY39799"/>
              </a:cxn>
              <a:cxn ang="0">
                <a:pos x="connsiteX39800" y="connsiteY39800"/>
              </a:cxn>
              <a:cxn ang="0">
                <a:pos x="connsiteX39801" y="connsiteY39801"/>
              </a:cxn>
              <a:cxn ang="0">
                <a:pos x="connsiteX39802" y="connsiteY39802"/>
              </a:cxn>
              <a:cxn ang="0">
                <a:pos x="connsiteX39803" y="connsiteY39803"/>
              </a:cxn>
              <a:cxn ang="0">
                <a:pos x="connsiteX39804" y="connsiteY39804"/>
              </a:cxn>
              <a:cxn ang="0">
                <a:pos x="connsiteX39805" y="connsiteY39805"/>
              </a:cxn>
              <a:cxn ang="0">
                <a:pos x="connsiteX39806" y="connsiteY39806"/>
              </a:cxn>
              <a:cxn ang="0">
                <a:pos x="connsiteX39807" y="connsiteY39807"/>
              </a:cxn>
              <a:cxn ang="0">
                <a:pos x="connsiteX39808" y="connsiteY39808"/>
              </a:cxn>
              <a:cxn ang="0">
                <a:pos x="connsiteX39809" y="connsiteY39809"/>
              </a:cxn>
              <a:cxn ang="0">
                <a:pos x="connsiteX39810" y="connsiteY39810"/>
              </a:cxn>
              <a:cxn ang="0">
                <a:pos x="connsiteX39811" y="connsiteY39811"/>
              </a:cxn>
              <a:cxn ang="0">
                <a:pos x="connsiteX39812" y="connsiteY39812"/>
              </a:cxn>
              <a:cxn ang="0">
                <a:pos x="connsiteX39813" y="connsiteY39813"/>
              </a:cxn>
              <a:cxn ang="0">
                <a:pos x="connsiteX39814" y="connsiteY39814"/>
              </a:cxn>
              <a:cxn ang="0">
                <a:pos x="connsiteX39815" y="connsiteY39815"/>
              </a:cxn>
              <a:cxn ang="0">
                <a:pos x="connsiteX39816" y="connsiteY39816"/>
              </a:cxn>
              <a:cxn ang="0">
                <a:pos x="connsiteX39817" y="connsiteY39817"/>
              </a:cxn>
              <a:cxn ang="0">
                <a:pos x="connsiteX39818" y="connsiteY39818"/>
              </a:cxn>
              <a:cxn ang="0">
                <a:pos x="connsiteX39819" y="connsiteY39819"/>
              </a:cxn>
              <a:cxn ang="0">
                <a:pos x="connsiteX39820" y="connsiteY39820"/>
              </a:cxn>
              <a:cxn ang="0">
                <a:pos x="connsiteX39821" y="connsiteY39821"/>
              </a:cxn>
              <a:cxn ang="0">
                <a:pos x="connsiteX39822" y="connsiteY39822"/>
              </a:cxn>
              <a:cxn ang="0">
                <a:pos x="connsiteX39823" y="connsiteY39823"/>
              </a:cxn>
              <a:cxn ang="0">
                <a:pos x="connsiteX39824" y="connsiteY39824"/>
              </a:cxn>
              <a:cxn ang="0">
                <a:pos x="connsiteX39825" y="connsiteY39825"/>
              </a:cxn>
              <a:cxn ang="0">
                <a:pos x="connsiteX39826" y="connsiteY39826"/>
              </a:cxn>
              <a:cxn ang="0">
                <a:pos x="connsiteX39827" y="connsiteY39827"/>
              </a:cxn>
              <a:cxn ang="0">
                <a:pos x="connsiteX39828" y="connsiteY39828"/>
              </a:cxn>
              <a:cxn ang="0">
                <a:pos x="connsiteX39829" y="connsiteY39829"/>
              </a:cxn>
              <a:cxn ang="0">
                <a:pos x="connsiteX39830" y="connsiteY39830"/>
              </a:cxn>
              <a:cxn ang="0">
                <a:pos x="connsiteX39831" y="connsiteY39831"/>
              </a:cxn>
              <a:cxn ang="0">
                <a:pos x="connsiteX39832" y="connsiteY39832"/>
              </a:cxn>
              <a:cxn ang="0">
                <a:pos x="connsiteX39833" y="connsiteY39833"/>
              </a:cxn>
              <a:cxn ang="0">
                <a:pos x="connsiteX39834" y="connsiteY39834"/>
              </a:cxn>
              <a:cxn ang="0">
                <a:pos x="connsiteX39835" y="connsiteY39835"/>
              </a:cxn>
              <a:cxn ang="0">
                <a:pos x="connsiteX39836" y="connsiteY39836"/>
              </a:cxn>
              <a:cxn ang="0">
                <a:pos x="connsiteX39837" y="connsiteY39837"/>
              </a:cxn>
              <a:cxn ang="0">
                <a:pos x="connsiteX39838" y="connsiteY39838"/>
              </a:cxn>
              <a:cxn ang="0">
                <a:pos x="connsiteX39839" y="connsiteY39839"/>
              </a:cxn>
              <a:cxn ang="0">
                <a:pos x="connsiteX39840" y="connsiteY39840"/>
              </a:cxn>
              <a:cxn ang="0">
                <a:pos x="connsiteX39841" y="connsiteY39841"/>
              </a:cxn>
              <a:cxn ang="0">
                <a:pos x="connsiteX39842" y="connsiteY39842"/>
              </a:cxn>
              <a:cxn ang="0">
                <a:pos x="connsiteX39843" y="connsiteY39843"/>
              </a:cxn>
              <a:cxn ang="0">
                <a:pos x="connsiteX39844" y="connsiteY39844"/>
              </a:cxn>
              <a:cxn ang="0">
                <a:pos x="connsiteX39845" y="connsiteY39845"/>
              </a:cxn>
              <a:cxn ang="0">
                <a:pos x="connsiteX39846" y="connsiteY39846"/>
              </a:cxn>
              <a:cxn ang="0">
                <a:pos x="connsiteX39847" y="connsiteY39847"/>
              </a:cxn>
              <a:cxn ang="0">
                <a:pos x="connsiteX39848" y="connsiteY39848"/>
              </a:cxn>
              <a:cxn ang="0">
                <a:pos x="connsiteX39849" y="connsiteY39849"/>
              </a:cxn>
              <a:cxn ang="0">
                <a:pos x="connsiteX39850" y="connsiteY39850"/>
              </a:cxn>
              <a:cxn ang="0">
                <a:pos x="connsiteX39851" y="connsiteY39851"/>
              </a:cxn>
              <a:cxn ang="0">
                <a:pos x="connsiteX39852" y="connsiteY39852"/>
              </a:cxn>
              <a:cxn ang="0">
                <a:pos x="connsiteX39853" y="connsiteY39853"/>
              </a:cxn>
              <a:cxn ang="0">
                <a:pos x="connsiteX39854" y="connsiteY39854"/>
              </a:cxn>
              <a:cxn ang="0">
                <a:pos x="connsiteX39855" y="connsiteY39855"/>
              </a:cxn>
              <a:cxn ang="0">
                <a:pos x="connsiteX39856" y="connsiteY39856"/>
              </a:cxn>
              <a:cxn ang="0">
                <a:pos x="connsiteX39857" y="connsiteY39857"/>
              </a:cxn>
              <a:cxn ang="0">
                <a:pos x="connsiteX39858" y="connsiteY39858"/>
              </a:cxn>
              <a:cxn ang="0">
                <a:pos x="connsiteX39859" y="connsiteY39859"/>
              </a:cxn>
              <a:cxn ang="0">
                <a:pos x="connsiteX39860" y="connsiteY39860"/>
              </a:cxn>
              <a:cxn ang="0">
                <a:pos x="connsiteX39861" y="connsiteY39861"/>
              </a:cxn>
              <a:cxn ang="0">
                <a:pos x="connsiteX39862" y="connsiteY39862"/>
              </a:cxn>
              <a:cxn ang="0">
                <a:pos x="connsiteX39863" y="connsiteY39863"/>
              </a:cxn>
              <a:cxn ang="0">
                <a:pos x="connsiteX39864" y="connsiteY39864"/>
              </a:cxn>
              <a:cxn ang="0">
                <a:pos x="connsiteX39865" y="connsiteY39865"/>
              </a:cxn>
              <a:cxn ang="0">
                <a:pos x="connsiteX39866" y="connsiteY39866"/>
              </a:cxn>
              <a:cxn ang="0">
                <a:pos x="connsiteX39867" y="connsiteY39867"/>
              </a:cxn>
              <a:cxn ang="0">
                <a:pos x="connsiteX39868" y="connsiteY39868"/>
              </a:cxn>
              <a:cxn ang="0">
                <a:pos x="connsiteX39869" y="connsiteY39869"/>
              </a:cxn>
              <a:cxn ang="0">
                <a:pos x="connsiteX39870" y="connsiteY39870"/>
              </a:cxn>
              <a:cxn ang="0">
                <a:pos x="connsiteX39871" y="connsiteY39871"/>
              </a:cxn>
              <a:cxn ang="0">
                <a:pos x="connsiteX39872" y="connsiteY39872"/>
              </a:cxn>
              <a:cxn ang="0">
                <a:pos x="connsiteX39873" y="connsiteY39873"/>
              </a:cxn>
              <a:cxn ang="0">
                <a:pos x="connsiteX39874" y="connsiteY39874"/>
              </a:cxn>
              <a:cxn ang="0">
                <a:pos x="connsiteX39875" y="connsiteY39875"/>
              </a:cxn>
              <a:cxn ang="0">
                <a:pos x="connsiteX39876" y="connsiteY39876"/>
              </a:cxn>
              <a:cxn ang="0">
                <a:pos x="connsiteX39877" y="connsiteY39877"/>
              </a:cxn>
              <a:cxn ang="0">
                <a:pos x="connsiteX39878" y="connsiteY39878"/>
              </a:cxn>
              <a:cxn ang="0">
                <a:pos x="connsiteX39879" y="connsiteY39879"/>
              </a:cxn>
              <a:cxn ang="0">
                <a:pos x="connsiteX39880" y="connsiteY39880"/>
              </a:cxn>
              <a:cxn ang="0">
                <a:pos x="connsiteX39881" y="connsiteY39881"/>
              </a:cxn>
              <a:cxn ang="0">
                <a:pos x="connsiteX39882" y="connsiteY39882"/>
              </a:cxn>
              <a:cxn ang="0">
                <a:pos x="connsiteX39883" y="connsiteY39883"/>
              </a:cxn>
              <a:cxn ang="0">
                <a:pos x="connsiteX39884" y="connsiteY39884"/>
              </a:cxn>
              <a:cxn ang="0">
                <a:pos x="connsiteX39885" y="connsiteY39885"/>
              </a:cxn>
              <a:cxn ang="0">
                <a:pos x="connsiteX39886" y="connsiteY39886"/>
              </a:cxn>
              <a:cxn ang="0">
                <a:pos x="connsiteX39887" y="connsiteY39887"/>
              </a:cxn>
              <a:cxn ang="0">
                <a:pos x="connsiteX39888" y="connsiteY39888"/>
              </a:cxn>
              <a:cxn ang="0">
                <a:pos x="connsiteX39889" y="connsiteY39889"/>
              </a:cxn>
              <a:cxn ang="0">
                <a:pos x="connsiteX39890" y="connsiteY39890"/>
              </a:cxn>
              <a:cxn ang="0">
                <a:pos x="connsiteX39891" y="connsiteY39891"/>
              </a:cxn>
              <a:cxn ang="0">
                <a:pos x="connsiteX39892" y="connsiteY39892"/>
              </a:cxn>
              <a:cxn ang="0">
                <a:pos x="connsiteX39893" y="connsiteY39893"/>
              </a:cxn>
              <a:cxn ang="0">
                <a:pos x="connsiteX39894" y="connsiteY39894"/>
              </a:cxn>
              <a:cxn ang="0">
                <a:pos x="connsiteX39895" y="connsiteY39895"/>
              </a:cxn>
              <a:cxn ang="0">
                <a:pos x="connsiteX39896" y="connsiteY39896"/>
              </a:cxn>
              <a:cxn ang="0">
                <a:pos x="connsiteX39897" y="connsiteY39897"/>
              </a:cxn>
              <a:cxn ang="0">
                <a:pos x="connsiteX39898" y="connsiteY39898"/>
              </a:cxn>
              <a:cxn ang="0">
                <a:pos x="connsiteX39899" y="connsiteY39899"/>
              </a:cxn>
              <a:cxn ang="0">
                <a:pos x="connsiteX39900" y="connsiteY39900"/>
              </a:cxn>
              <a:cxn ang="0">
                <a:pos x="connsiteX39901" y="connsiteY39901"/>
              </a:cxn>
              <a:cxn ang="0">
                <a:pos x="connsiteX39902" y="connsiteY39902"/>
              </a:cxn>
              <a:cxn ang="0">
                <a:pos x="connsiteX39903" y="connsiteY39903"/>
              </a:cxn>
              <a:cxn ang="0">
                <a:pos x="connsiteX39904" y="connsiteY39904"/>
              </a:cxn>
              <a:cxn ang="0">
                <a:pos x="connsiteX39905" y="connsiteY39905"/>
              </a:cxn>
              <a:cxn ang="0">
                <a:pos x="connsiteX39906" y="connsiteY39906"/>
              </a:cxn>
              <a:cxn ang="0">
                <a:pos x="connsiteX39907" y="connsiteY39907"/>
              </a:cxn>
              <a:cxn ang="0">
                <a:pos x="connsiteX39908" y="connsiteY39908"/>
              </a:cxn>
              <a:cxn ang="0">
                <a:pos x="connsiteX39909" y="connsiteY39909"/>
              </a:cxn>
              <a:cxn ang="0">
                <a:pos x="connsiteX39910" y="connsiteY39910"/>
              </a:cxn>
              <a:cxn ang="0">
                <a:pos x="connsiteX39911" y="connsiteY39911"/>
              </a:cxn>
              <a:cxn ang="0">
                <a:pos x="connsiteX39912" y="connsiteY39912"/>
              </a:cxn>
              <a:cxn ang="0">
                <a:pos x="connsiteX39913" y="connsiteY39913"/>
              </a:cxn>
              <a:cxn ang="0">
                <a:pos x="connsiteX39914" y="connsiteY39914"/>
              </a:cxn>
              <a:cxn ang="0">
                <a:pos x="connsiteX39915" y="connsiteY39915"/>
              </a:cxn>
              <a:cxn ang="0">
                <a:pos x="connsiteX39916" y="connsiteY39916"/>
              </a:cxn>
              <a:cxn ang="0">
                <a:pos x="connsiteX39917" y="connsiteY39917"/>
              </a:cxn>
              <a:cxn ang="0">
                <a:pos x="connsiteX39918" y="connsiteY39918"/>
              </a:cxn>
              <a:cxn ang="0">
                <a:pos x="connsiteX39919" y="connsiteY39919"/>
              </a:cxn>
              <a:cxn ang="0">
                <a:pos x="connsiteX39920" y="connsiteY39920"/>
              </a:cxn>
              <a:cxn ang="0">
                <a:pos x="connsiteX39921" y="connsiteY39921"/>
              </a:cxn>
              <a:cxn ang="0">
                <a:pos x="connsiteX39922" y="connsiteY39922"/>
              </a:cxn>
              <a:cxn ang="0">
                <a:pos x="connsiteX39923" y="connsiteY39923"/>
              </a:cxn>
              <a:cxn ang="0">
                <a:pos x="connsiteX39924" y="connsiteY39924"/>
              </a:cxn>
              <a:cxn ang="0">
                <a:pos x="connsiteX39925" y="connsiteY39925"/>
              </a:cxn>
              <a:cxn ang="0">
                <a:pos x="connsiteX39926" y="connsiteY39926"/>
              </a:cxn>
              <a:cxn ang="0">
                <a:pos x="connsiteX39927" y="connsiteY39927"/>
              </a:cxn>
              <a:cxn ang="0">
                <a:pos x="connsiteX39928" y="connsiteY39928"/>
              </a:cxn>
              <a:cxn ang="0">
                <a:pos x="connsiteX39929" y="connsiteY39929"/>
              </a:cxn>
              <a:cxn ang="0">
                <a:pos x="connsiteX39930" y="connsiteY39930"/>
              </a:cxn>
              <a:cxn ang="0">
                <a:pos x="connsiteX39931" y="connsiteY39931"/>
              </a:cxn>
              <a:cxn ang="0">
                <a:pos x="connsiteX39932" y="connsiteY39932"/>
              </a:cxn>
              <a:cxn ang="0">
                <a:pos x="connsiteX39933" y="connsiteY39933"/>
              </a:cxn>
              <a:cxn ang="0">
                <a:pos x="connsiteX39934" y="connsiteY39934"/>
              </a:cxn>
              <a:cxn ang="0">
                <a:pos x="connsiteX39935" y="connsiteY39935"/>
              </a:cxn>
              <a:cxn ang="0">
                <a:pos x="connsiteX39936" y="connsiteY39936"/>
              </a:cxn>
              <a:cxn ang="0">
                <a:pos x="connsiteX39937" y="connsiteY39937"/>
              </a:cxn>
              <a:cxn ang="0">
                <a:pos x="connsiteX39938" y="connsiteY39938"/>
              </a:cxn>
              <a:cxn ang="0">
                <a:pos x="connsiteX39939" y="connsiteY39939"/>
              </a:cxn>
              <a:cxn ang="0">
                <a:pos x="connsiteX39940" y="connsiteY39940"/>
              </a:cxn>
              <a:cxn ang="0">
                <a:pos x="connsiteX39941" y="connsiteY39941"/>
              </a:cxn>
              <a:cxn ang="0">
                <a:pos x="connsiteX39942" y="connsiteY39942"/>
              </a:cxn>
              <a:cxn ang="0">
                <a:pos x="connsiteX39943" y="connsiteY39943"/>
              </a:cxn>
              <a:cxn ang="0">
                <a:pos x="connsiteX39944" y="connsiteY39944"/>
              </a:cxn>
              <a:cxn ang="0">
                <a:pos x="connsiteX39945" y="connsiteY39945"/>
              </a:cxn>
              <a:cxn ang="0">
                <a:pos x="connsiteX39946" y="connsiteY39946"/>
              </a:cxn>
              <a:cxn ang="0">
                <a:pos x="connsiteX39947" y="connsiteY39947"/>
              </a:cxn>
              <a:cxn ang="0">
                <a:pos x="connsiteX39948" y="connsiteY39948"/>
              </a:cxn>
              <a:cxn ang="0">
                <a:pos x="connsiteX39949" y="connsiteY39949"/>
              </a:cxn>
              <a:cxn ang="0">
                <a:pos x="connsiteX39950" y="connsiteY39950"/>
              </a:cxn>
              <a:cxn ang="0">
                <a:pos x="connsiteX39951" y="connsiteY39951"/>
              </a:cxn>
              <a:cxn ang="0">
                <a:pos x="connsiteX39952" y="connsiteY39952"/>
              </a:cxn>
              <a:cxn ang="0">
                <a:pos x="connsiteX39953" y="connsiteY39953"/>
              </a:cxn>
              <a:cxn ang="0">
                <a:pos x="connsiteX39954" y="connsiteY39954"/>
              </a:cxn>
              <a:cxn ang="0">
                <a:pos x="connsiteX39955" y="connsiteY39955"/>
              </a:cxn>
              <a:cxn ang="0">
                <a:pos x="connsiteX39956" y="connsiteY39956"/>
              </a:cxn>
              <a:cxn ang="0">
                <a:pos x="connsiteX39957" y="connsiteY39957"/>
              </a:cxn>
              <a:cxn ang="0">
                <a:pos x="connsiteX39958" y="connsiteY39958"/>
              </a:cxn>
              <a:cxn ang="0">
                <a:pos x="connsiteX39959" y="connsiteY39959"/>
              </a:cxn>
              <a:cxn ang="0">
                <a:pos x="connsiteX39960" y="connsiteY39960"/>
              </a:cxn>
              <a:cxn ang="0">
                <a:pos x="connsiteX39961" y="connsiteY39961"/>
              </a:cxn>
              <a:cxn ang="0">
                <a:pos x="connsiteX39962" y="connsiteY39962"/>
              </a:cxn>
              <a:cxn ang="0">
                <a:pos x="connsiteX39963" y="connsiteY39963"/>
              </a:cxn>
              <a:cxn ang="0">
                <a:pos x="connsiteX39964" y="connsiteY39964"/>
              </a:cxn>
              <a:cxn ang="0">
                <a:pos x="connsiteX39965" y="connsiteY39965"/>
              </a:cxn>
              <a:cxn ang="0">
                <a:pos x="connsiteX39966" y="connsiteY39966"/>
              </a:cxn>
              <a:cxn ang="0">
                <a:pos x="connsiteX39967" y="connsiteY39967"/>
              </a:cxn>
              <a:cxn ang="0">
                <a:pos x="connsiteX39968" y="connsiteY39968"/>
              </a:cxn>
              <a:cxn ang="0">
                <a:pos x="connsiteX39969" y="connsiteY39969"/>
              </a:cxn>
              <a:cxn ang="0">
                <a:pos x="connsiteX39970" y="connsiteY39970"/>
              </a:cxn>
              <a:cxn ang="0">
                <a:pos x="connsiteX39971" y="connsiteY39971"/>
              </a:cxn>
              <a:cxn ang="0">
                <a:pos x="connsiteX39972" y="connsiteY39972"/>
              </a:cxn>
              <a:cxn ang="0">
                <a:pos x="connsiteX39973" y="connsiteY39973"/>
              </a:cxn>
              <a:cxn ang="0">
                <a:pos x="connsiteX39974" y="connsiteY39974"/>
              </a:cxn>
              <a:cxn ang="0">
                <a:pos x="connsiteX39975" y="connsiteY39975"/>
              </a:cxn>
              <a:cxn ang="0">
                <a:pos x="connsiteX39976" y="connsiteY39976"/>
              </a:cxn>
              <a:cxn ang="0">
                <a:pos x="connsiteX39977" y="connsiteY39977"/>
              </a:cxn>
              <a:cxn ang="0">
                <a:pos x="connsiteX39978" y="connsiteY39978"/>
              </a:cxn>
              <a:cxn ang="0">
                <a:pos x="connsiteX39979" y="connsiteY39979"/>
              </a:cxn>
              <a:cxn ang="0">
                <a:pos x="connsiteX39980" y="connsiteY39980"/>
              </a:cxn>
              <a:cxn ang="0">
                <a:pos x="connsiteX39981" y="connsiteY39981"/>
              </a:cxn>
              <a:cxn ang="0">
                <a:pos x="connsiteX39982" y="connsiteY39982"/>
              </a:cxn>
              <a:cxn ang="0">
                <a:pos x="connsiteX39983" y="connsiteY39983"/>
              </a:cxn>
              <a:cxn ang="0">
                <a:pos x="connsiteX39984" y="connsiteY39984"/>
              </a:cxn>
              <a:cxn ang="0">
                <a:pos x="connsiteX39985" y="connsiteY39985"/>
              </a:cxn>
              <a:cxn ang="0">
                <a:pos x="connsiteX39986" y="connsiteY39986"/>
              </a:cxn>
              <a:cxn ang="0">
                <a:pos x="connsiteX39987" y="connsiteY39987"/>
              </a:cxn>
              <a:cxn ang="0">
                <a:pos x="connsiteX39988" y="connsiteY39988"/>
              </a:cxn>
              <a:cxn ang="0">
                <a:pos x="connsiteX39989" y="connsiteY39989"/>
              </a:cxn>
              <a:cxn ang="0">
                <a:pos x="connsiteX39990" y="connsiteY39990"/>
              </a:cxn>
              <a:cxn ang="0">
                <a:pos x="connsiteX39991" y="connsiteY39991"/>
              </a:cxn>
              <a:cxn ang="0">
                <a:pos x="connsiteX39992" y="connsiteY39992"/>
              </a:cxn>
              <a:cxn ang="0">
                <a:pos x="connsiteX39993" y="connsiteY39993"/>
              </a:cxn>
              <a:cxn ang="0">
                <a:pos x="connsiteX39994" y="connsiteY39994"/>
              </a:cxn>
              <a:cxn ang="0">
                <a:pos x="connsiteX39995" y="connsiteY39995"/>
              </a:cxn>
              <a:cxn ang="0">
                <a:pos x="connsiteX39996" y="connsiteY39996"/>
              </a:cxn>
              <a:cxn ang="0">
                <a:pos x="connsiteX39997" y="connsiteY39997"/>
              </a:cxn>
              <a:cxn ang="0">
                <a:pos x="connsiteX39998" y="connsiteY39998"/>
              </a:cxn>
              <a:cxn ang="0">
                <a:pos x="connsiteX39999" y="connsiteY39999"/>
              </a:cxn>
              <a:cxn ang="0">
                <a:pos x="connsiteX40000" y="connsiteY40000"/>
              </a:cxn>
              <a:cxn ang="0">
                <a:pos x="connsiteX40001" y="connsiteY40001"/>
              </a:cxn>
              <a:cxn ang="0">
                <a:pos x="connsiteX40002" y="connsiteY40002"/>
              </a:cxn>
              <a:cxn ang="0">
                <a:pos x="connsiteX40003" y="connsiteY40003"/>
              </a:cxn>
              <a:cxn ang="0">
                <a:pos x="connsiteX40004" y="connsiteY40004"/>
              </a:cxn>
              <a:cxn ang="0">
                <a:pos x="connsiteX40005" y="connsiteY40005"/>
              </a:cxn>
              <a:cxn ang="0">
                <a:pos x="connsiteX40006" y="connsiteY40006"/>
              </a:cxn>
              <a:cxn ang="0">
                <a:pos x="connsiteX40007" y="connsiteY40007"/>
              </a:cxn>
              <a:cxn ang="0">
                <a:pos x="connsiteX40008" y="connsiteY40008"/>
              </a:cxn>
              <a:cxn ang="0">
                <a:pos x="connsiteX40009" y="connsiteY40009"/>
              </a:cxn>
              <a:cxn ang="0">
                <a:pos x="connsiteX40010" y="connsiteY40010"/>
              </a:cxn>
              <a:cxn ang="0">
                <a:pos x="connsiteX40011" y="connsiteY40011"/>
              </a:cxn>
              <a:cxn ang="0">
                <a:pos x="connsiteX40012" y="connsiteY40012"/>
              </a:cxn>
              <a:cxn ang="0">
                <a:pos x="connsiteX40013" y="connsiteY40013"/>
              </a:cxn>
              <a:cxn ang="0">
                <a:pos x="connsiteX40014" y="connsiteY40014"/>
              </a:cxn>
              <a:cxn ang="0">
                <a:pos x="connsiteX40015" y="connsiteY40015"/>
              </a:cxn>
              <a:cxn ang="0">
                <a:pos x="connsiteX40016" y="connsiteY40016"/>
              </a:cxn>
              <a:cxn ang="0">
                <a:pos x="connsiteX40017" y="connsiteY40017"/>
              </a:cxn>
              <a:cxn ang="0">
                <a:pos x="connsiteX40018" y="connsiteY40018"/>
              </a:cxn>
              <a:cxn ang="0">
                <a:pos x="connsiteX40019" y="connsiteY40019"/>
              </a:cxn>
              <a:cxn ang="0">
                <a:pos x="connsiteX40020" y="connsiteY40020"/>
              </a:cxn>
              <a:cxn ang="0">
                <a:pos x="connsiteX40021" y="connsiteY40021"/>
              </a:cxn>
              <a:cxn ang="0">
                <a:pos x="connsiteX40022" y="connsiteY40022"/>
              </a:cxn>
              <a:cxn ang="0">
                <a:pos x="connsiteX40023" y="connsiteY40023"/>
              </a:cxn>
              <a:cxn ang="0">
                <a:pos x="connsiteX40024" y="connsiteY40024"/>
              </a:cxn>
              <a:cxn ang="0">
                <a:pos x="connsiteX40025" y="connsiteY40025"/>
              </a:cxn>
              <a:cxn ang="0">
                <a:pos x="connsiteX40026" y="connsiteY40026"/>
              </a:cxn>
              <a:cxn ang="0">
                <a:pos x="connsiteX40027" y="connsiteY40027"/>
              </a:cxn>
              <a:cxn ang="0">
                <a:pos x="connsiteX40028" y="connsiteY40028"/>
              </a:cxn>
              <a:cxn ang="0">
                <a:pos x="connsiteX40029" y="connsiteY40029"/>
              </a:cxn>
              <a:cxn ang="0">
                <a:pos x="connsiteX40030" y="connsiteY40030"/>
              </a:cxn>
              <a:cxn ang="0">
                <a:pos x="connsiteX40031" y="connsiteY40031"/>
              </a:cxn>
              <a:cxn ang="0">
                <a:pos x="connsiteX40032" y="connsiteY40032"/>
              </a:cxn>
              <a:cxn ang="0">
                <a:pos x="connsiteX40033" y="connsiteY40033"/>
              </a:cxn>
              <a:cxn ang="0">
                <a:pos x="connsiteX40034" y="connsiteY40034"/>
              </a:cxn>
              <a:cxn ang="0">
                <a:pos x="connsiteX40035" y="connsiteY40035"/>
              </a:cxn>
              <a:cxn ang="0">
                <a:pos x="connsiteX40036" y="connsiteY40036"/>
              </a:cxn>
              <a:cxn ang="0">
                <a:pos x="connsiteX40037" y="connsiteY40037"/>
              </a:cxn>
              <a:cxn ang="0">
                <a:pos x="connsiteX40038" y="connsiteY40038"/>
              </a:cxn>
              <a:cxn ang="0">
                <a:pos x="connsiteX40039" y="connsiteY40039"/>
              </a:cxn>
              <a:cxn ang="0">
                <a:pos x="connsiteX40040" y="connsiteY40040"/>
              </a:cxn>
              <a:cxn ang="0">
                <a:pos x="connsiteX40041" y="connsiteY40041"/>
              </a:cxn>
              <a:cxn ang="0">
                <a:pos x="connsiteX40042" y="connsiteY40042"/>
              </a:cxn>
              <a:cxn ang="0">
                <a:pos x="connsiteX40043" y="connsiteY40043"/>
              </a:cxn>
              <a:cxn ang="0">
                <a:pos x="connsiteX40044" y="connsiteY40044"/>
              </a:cxn>
              <a:cxn ang="0">
                <a:pos x="connsiteX40045" y="connsiteY40045"/>
              </a:cxn>
              <a:cxn ang="0">
                <a:pos x="connsiteX40046" y="connsiteY40046"/>
              </a:cxn>
              <a:cxn ang="0">
                <a:pos x="connsiteX40047" y="connsiteY40047"/>
              </a:cxn>
              <a:cxn ang="0">
                <a:pos x="connsiteX40048" y="connsiteY40048"/>
              </a:cxn>
              <a:cxn ang="0">
                <a:pos x="connsiteX40049" y="connsiteY40049"/>
              </a:cxn>
              <a:cxn ang="0">
                <a:pos x="connsiteX40050" y="connsiteY40050"/>
              </a:cxn>
              <a:cxn ang="0">
                <a:pos x="connsiteX40051" y="connsiteY40051"/>
              </a:cxn>
              <a:cxn ang="0">
                <a:pos x="connsiteX40052" y="connsiteY40052"/>
              </a:cxn>
              <a:cxn ang="0">
                <a:pos x="connsiteX40053" y="connsiteY40053"/>
              </a:cxn>
              <a:cxn ang="0">
                <a:pos x="connsiteX40054" y="connsiteY40054"/>
              </a:cxn>
              <a:cxn ang="0">
                <a:pos x="connsiteX40055" y="connsiteY40055"/>
              </a:cxn>
              <a:cxn ang="0">
                <a:pos x="connsiteX40056" y="connsiteY40056"/>
              </a:cxn>
              <a:cxn ang="0">
                <a:pos x="connsiteX40057" y="connsiteY40057"/>
              </a:cxn>
              <a:cxn ang="0">
                <a:pos x="connsiteX40058" y="connsiteY40058"/>
              </a:cxn>
              <a:cxn ang="0">
                <a:pos x="connsiteX40059" y="connsiteY40059"/>
              </a:cxn>
              <a:cxn ang="0">
                <a:pos x="connsiteX40060" y="connsiteY40060"/>
              </a:cxn>
              <a:cxn ang="0">
                <a:pos x="connsiteX40061" y="connsiteY40061"/>
              </a:cxn>
              <a:cxn ang="0">
                <a:pos x="connsiteX40062" y="connsiteY40062"/>
              </a:cxn>
              <a:cxn ang="0">
                <a:pos x="connsiteX40063" y="connsiteY40063"/>
              </a:cxn>
              <a:cxn ang="0">
                <a:pos x="connsiteX40064" y="connsiteY40064"/>
              </a:cxn>
              <a:cxn ang="0">
                <a:pos x="connsiteX40065" y="connsiteY40065"/>
              </a:cxn>
              <a:cxn ang="0">
                <a:pos x="connsiteX40066" y="connsiteY40066"/>
              </a:cxn>
              <a:cxn ang="0">
                <a:pos x="connsiteX40067" y="connsiteY40067"/>
              </a:cxn>
              <a:cxn ang="0">
                <a:pos x="connsiteX40068" y="connsiteY40068"/>
              </a:cxn>
              <a:cxn ang="0">
                <a:pos x="connsiteX40069" y="connsiteY40069"/>
              </a:cxn>
              <a:cxn ang="0">
                <a:pos x="connsiteX40070" y="connsiteY40070"/>
              </a:cxn>
              <a:cxn ang="0">
                <a:pos x="connsiteX40071" y="connsiteY40071"/>
              </a:cxn>
              <a:cxn ang="0">
                <a:pos x="connsiteX40072" y="connsiteY40072"/>
              </a:cxn>
              <a:cxn ang="0">
                <a:pos x="connsiteX40073" y="connsiteY40073"/>
              </a:cxn>
              <a:cxn ang="0">
                <a:pos x="connsiteX40074" y="connsiteY40074"/>
              </a:cxn>
              <a:cxn ang="0">
                <a:pos x="connsiteX40075" y="connsiteY40075"/>
              </a:cxn>
              <a:cxn ang="0">
                <a:pos x="connsiteX40076" y="connsiteY40076"/>
              </a:cxn>
              <a:cxn ang="0">
                <a:pos x="connsiteX40077" y="connsiteY40077"/>
              </a:cxn>
              <a:cxn ang="0">
                <a:pos x="connsiteX40078" y="connsiteY40078"/>
              </a:cxn>
              <a:cxn ang="0">
                <a:pos x="connsiteX40079" y="connsiteY40079"/>
              </a:cxn>
              <a:cxn ang="0">
                <a:pos x="connsiteX40080" y="connsiteY40080"/>
              </a:cxn>
              <a:cxn ang="0">
                <a:pos x="connsiteX40081" y="connsiteY40081"/>
              </a:cxn>
              <a:cxn ang="0">
                <a:pos x="connsiteX40082" y="connsiteY40082"/>
              </a:cxn>
              <a:cxn ang="0">
                <a:pos x="connsiteX40083" y="connsiteY40083"/>
              </a:cxn>
              <a:cxn ang="0">
                <a:pos x="connsiteX40084" y="connsiteY40084"/>
              </a:cxn>
              <a:cxn ang="0">
                <a:pos x="connsiteX40085" y="connsiteY40085"/>
              </a:cxn>
              <a:cxn ang="0">
                <a:pos x="connsiteX40086" y="connsiteY40086"/>
              </a:cxn>
              <a:cxn ang="0">
                <a:pos x="connsiteX40087" y="connsiteY40087"/>
              </a:cxn>
              <a:cxn ang="0">
                <a:pos x="connsiteX40088" y="connsiteY40088"/>
              </a:cxn>
              <a:cxn ang="0">
                <a:pos x="connsiteX40089" y="connsiteY40089"/>
              </a:cxn>
              <a:cxn ang="0">
                <a:pos x="connsiteX40090" y="connsiteY40090"/>
              </a:cxn>
              <a:cxn ang="0">
                <a:pos x="connsiteX40091" y="connsiteY40091"/>
              </a:cxn>
              <a:cxn ang="0">
                <a:pos x="connsiteX40092" y="connsiteY40092"/>
              </a:cxn>
              <a:cxn ang="0">
                <a:pos x="connsiteX40093" y="connsiteY40093"/>
              </a:cxn>
              <a:cxn ang="0">
                <a:pos x="connsiteX40094" y="connsiteY40094"/>
              </a:cxn>
              <a:cxn ang="0">
                <a:pos x="connsiteX40095" y="connsiteY40095"/>
              </a:cxn>
              <a:cxn ang="0">
                <a:pos x="connsiteX40096" y="connsiteY40096"/>
              </a:cxn>
              <a:cxn ang="0">
                <a:pos x="connsiteX40097" y="connsiteY40097"/>
              </a:cxn>
              <a:cxn ang="0">
                <a:pos x="connsiteX40098" y="connsiteY40098"/>
              </a:cxn>
              <a:cxn ang="0">
                <a:pos x="connsiteX40099" y="connsiteY40099"/>
              </a:cxn>
              <a:cxn ang="0">
                <a:pos x="connsiteX40100" y="connsiteY40100"/>
              </a:cxn>
              <a:cxn ang="0">
                <a:pos x="connsiteX40101" y="connsiteY40101"/>
              </a:cxn>
              <a:cxn ang="0">
                <a:pos x="connsiteX40102" y="connsiteY40102"/>
              </a:cxn>
              <a:cxn ang="0">
                <a:pos x="connsiteX40103" y="connsiteY40103"/>
              </a:cxn>
              <a:cxn ang="0">
                <a:pos x="connsiteX40104" y="connsiteY40104"/>
              </a:cxn>
              <a:cxn ang="0">
                <a:pos x="connsiteX40105" y="connsiteY40105"/>
              </a:cxn>
              <a:cxn ang="0">
                <a:pos x="connsiteX40106" y="connsiteY40106"/>
              </a:cxn>
              <a:cxn ang="0">
                <a:pos x="connsiteX40107" y="connsiteY40107"/>
              </a:cxn>
              <a:cxn ang="0">
                <a:pos x="connsiteX40108" y="connsiteY40108"/>
              </a:cxn>
              <a:cxn ang="0">
                <a:pos x="connsiteX40109" y="connsiteY40109"/>
              </a:cxn>
              <a:cxn ang="0">
                <a:pos x="connsiteX40110" y="connsiteY40110"/>
              </a:cxn>
              <a:cxn ang="0">
                <a:pos x="connsiteX40111" y="connsiteY40111"/>
              </a:cxn>
              <a:cxn ang="0">
                <a:pos x="connsiteX40112" y="connsiteY40112"/>
              </a:cxn>
              <a:cxn ang="0">
                <a:pos x="connsiteX40113" y="connsiteY40113"/>
              </a:cxn>
              <a:cxn ang="0">
                <a:pos x="connsiteX40114" y="connsiteY40114"/>
              </a:cxn>
              <a:cxn ang="0">
                <a:pos x="connsiteX40115" y="connsiteY40115"/>
              </a:cxn>
              <a:cxn ang="0">
                <a:pos x="connsiteX40116" y="connsiteY40116"/>
              </a:cxn>
              <a:cxn ang="0">
                <a:pos x="connsiteX40117" y="connsiteY40117"/>
              </a:cxn>
              <a:cxn ang="0">
                <a:pos x="connsiteX40118" y="connsiteY40118"/>
              </a:cxn>
              <a:cxn ang="0">
                <a:pos x="connsiteX40119" y="connsiteY40119"/>
              </a:cxn>
              <a:cxn ang="0">
                <a:pos x="connsiteX40120" y="connsiteY40120"/>
              </a:cxn>
              <a:cxn ang="0">
                <a:pos x="connsiteX40121" y="connsiteY40121"/>
              </a:cxn>
              <a:cxn ang="0">
                <a:pos x="connsiteX40122" y="connsiteY40122"/>
              </a:cxn>
              <a:cxn ang="0">
                <a:pos x="connsiteX40123" y="connsiteY40123"/>
              </a:cxn>
              <a:cxn ang="0">
                <a:pos x="connsiteX40124" y="connsiteY40124"/>
              </a:cxn>
              <a:cxn ang="0">
                <a:pos x="connsiteX40125" y="connsiteY40125"/>
              </a:cxn>
              <a:cxn ang="0">
                <a:pos x="connsiteX40126" y="connsiteY40126"/>
              </a:cxn>
              <a:cxn ang="0">
                <a:pos x="connsiteX40127" y="connsiteY40127"/>
              </a:cxn>
              <a:cxn ang="0">
                <a:pos x="connsiteX40128" y="connsiteY40128"/>
              </a:cxn>
              <a:cxn ang="0">
                <a:pos x="connsiteX40129" y="connsiteY40129"/>
              </a:cxn>
              <a:cxn ang="0">
                <a:pos x="connsiteX40130" y="connsiteY40130"/>
              </a:cxn>
              <a:cxn ang="0">
                <a:pos x="connsiteX40131" y="connsiteY40131"/>
              </a:cxn>
              <a:cxn ang="0">
                <a:pos x="connsiteX40132" y="connsiteY40132"/>
              </a:cxn>
              <a:cxn ang="0">
                <a:pos x="connsiteX40133" y="connsiteY40133"/>
              </a:cxn>
              <a:cxn ang="0">
                <a:pos x="connsiteX40134" y="connsiteY40134"/>
              </a:cxn>
              <a:cxn ang="0">
                <a:pos x="connsiteX40135" y="connsiteY40135"/>
              </a:cxn>
              <a:cxn ang="0">
                <a:pos x="connsiteX40136" y="connsiteY40136"/>
              </a:cxn>
              <a:cxn ang="0">
                <a:pos x="connsiteX40137" y="connsiteY40137"/>
              </a:cxn>
              <a:cxn ang="0">
                <a:pos x="connsiteX40138" y="connsiteY40138"/>
              </a:cxn>
              <a:cxn ang="0">
                <a:pos x="connsiteX40139" y="connsiteY40139"/>
              </a:cxn>
              <a:cxn ang="0">
                <a:pos x="connsiteX40140" y="connsiteY40140"/>
              </a:cxn>
              <a:cxn ang="0">
                <a:pos x="connsiteX40141" y="connsiteY40141"/>
              </a:cxn>
              <a:cxn ang="0">
                <a:pos x="connsiteX40142" y="connsiteY40142"/>
              </a:cxn>
              <a:cxn ang="0">
                <a:pos x="connsiteX40143" y="connsiteY40143"/>
              </a:cxn>
              <a:cxn ang="0">
                <a:pos x="connsiteX40144" y="connsiteY40144"/>
              </a:cxn>
              <a:cxn ang="0">
                <a:pos x="connsiteX40145" y="connsiteY40145"/>
              </a:cxn>
              <a:cxn ang="0">
                <a:pos x="connsiteX40146" y="connsiteY40146"/>
              </a:cxn>
              <a:cxn ang="0">
                <a:pos x="connsiteX40147" y="connsiteY40147"/>
              </a:cxn>
              <a:cxn ang="0">
                <a:pos x="connsiteX40148" y="connsiteY40148"/>
              </a:cxn>
              <a:cxn ang="0">
                <a:pos x="connsiteX40149" y="connsiteY40149"/>
              </a:cxn>
              <a:cxn ang="0">
                <a:pos x="connsiteX40150" y="connsiteY40150"/>
              </a:cxn>
              <a:cxn ang="0">
                <a:pos x="connsiteX40151" y="connsiteY40151"/>
              </a:cxn>
              <a:cxn ang="0">
                <a:pos x="connsiteX40152" y="connsiteY40152"/>
              </a:cxn>
              <a:cxn ang="0">
                <a:pos x="connsiteX40153" y="connsiteY40153"/>
              </a:cxn>
              <a:cxn ang="0">
                <a:pos x="connsiteX40154" y="connsiteY40154"/>
              </a:cxn>
              <a:cxn ang="0">
                <a:pos x="connsiteX40155" y="connsiteY40155"/>
              </a:cxn>
              <a:cxn ang="0">
                <a:pos x="connsiteX40156" y="connsiteY40156"/>
              </a:cxn>
              <a:cxn ang="0">
                <a:pos x="connsiteX40157" y="connsiteY40157"/>
              </a:cxn>
              <a:cxn ang="0">
                <a:pos x="connsiteX40158" y="connsiteY40158"/>
              </a:cxn>
              <a:cxn ang="0">
                <a:pos x="connsiteX40159" y="connsiteY40159"/>
              </a:cxn>
              <a:cxn ang="0">
                <a:pos x="connsiteX40160" y="connsiteY40160"/>
              </a:cxn>
              <a:cxn ang="0">
                <a:pos x="connsiteX40161" y="connsiteY40161"/>
              </a:cxn>
              <a:cxn ang="0">
                <a:pos x="connsiteX40162" y="connsiteY40162"/>
              </a:cxn>
              <a:cxn ang="0">
                <a:pos x="connsiteX40163" y="connsiteY40163"/>
              </a:cxn>
              <a:cxn ang="0">
                <a:pos x="connsiteX40164" y="connsiteY40164"/>
              </a:cxn>
              <a:cxn ang="0">
                <a:pos x="connsiteX40165" y="connsiteY40165"/>
              </a:cxn>
              <a:cxn ang="0">
                <a:pos x="connsiteX40166" y="connsiteY40166"/>
              </a:cxn>
              <a:cxn ang="0">
                <a:pos x="connsiteX40167" y="connsiteY40167"/>
              </a:cxn>
              <a:cxn ang="0">
                <a:pos x="connsiteX40168" y="connsiteY40168"/>
              </a:cxn>
              <a:cxn ang="0">
                <a:pos x="connsiteX40169" y="connsiteY40169"/>
              </a:cxn>
              <a:cxn ang="0">
                <a:pos x="connsiteX40170" y="connsiteY40170"/>
              </a:cxn>
              <a:cxn ang="0">
                <a:pos x="connsiteX40171" y="connsiteY40171"/>
              </a:cxn>
              <a:cxn ang="0">
                <a:pos x="connsiteX40172" y="connsiteY40172"/>
              </a:cxn>
              <a:cxn ang="0">
                <a:pos x="connsiteX40173" y="connsiteY40173"/>
              </a:cxn>
              <a:cxn ang="0">
                <a:pos x="connsiteX40174" y="connsiteY40174"/>
              </a:cxn>
              <a:cxn ang="0">
                <a:pos x="connsiteX40175" y="connsiteY40175"/>
              </a:cxn>
              <a:cxn ang="0">
                <a:pos x="connsiteX40176" y="connsiteY40176"/>
              </a:cxn>
              <a:cxn ang="0">
                <a:pos x="connsiteX40177" y="connsiteY40177"/>
              </a:cxn>
              <a:cxn ang="0">
                <a:pos x="connsiteX40178" y="connsiteY40178"/>
              </a:cxn>
              <a:cxn ang="0">
                <a:pos x="connsiteX40179" y="connsiteY40179"/>
              </a:cxn>
              <a:cxn ang="0">
                <a:pos x="connsiteX40180" y="connsiteY40180"/>
              </a:cxn>
              <a:cxn ang="0">
                <a:pos x="connsiteX40181" y="connsiteY40181"/>
              </a:cxn>
              <a:cxn ang="0">
                <a:pos x="connsiteX40182" y="connsiteY40182"/>
              </a:cxn>
              <a:cxn ang="0">
                <a:pos x="connsiteX40183" y="connsiteY40183"/>
              </a:cxn>
              <a:cxn ang="0">
                <a:pos x="connsiteX40184" y="connsiteY40184"/>
              </a:cxn>
              <a:cxn ang="0">
                <a:pos x="connsiteX40185" y="connsiteY40185"/>
              </a:cxn>
              <a:cxn ang="0">
                <a:pos x="connsiteX40186" y="connsiteY40186"/>
              </a:cxn>
              <a:cxn ang="0">
                <a:pos x="connsiteX40187" y="connsiteY40187"/>
              </a:cxn>
              <a:cxn ang="0">
                <a:pos x="connsiteX40188" y="connsiteY40188"/>
              </a:cxn>
              <a:cxn ang="0">
                <a:pos x="connsiteX40189" y="connsiteY40189"/>
              </a:cxn>
              <a:cxn ang="0">
                <a:pos x="connsiteX40190" y="connsiteY40190"/>
              </a:cxn>
              <a:cxn ang="0">
                <a:pos x="connsiteX40191" y="connsiteY40191"/>
              </a:cxn>
              <a:cxn ang="0">
                <a:pos x="connsiteX40192" y="connsiteY40192"/>
              </a:cxn>
              <a:cxn ang="0">
                <a:pos x="connsiteX40193" y="connsiteY40193"/>
              </a:cxn>
              <a:cxn ang="0">
                <a:pos x="connsiteX40194" y="connsiteY40194"/>
              </a:cxn>
              <a:cxn ang="0">
                <a:pos x="connsiteX40195" y="connsiteY40195"/>
              </a:cxn>
              <a:cxn ang="0">
                <a:pos x="connsiteX40196" y="connsiteY40196"/>
              </a:cxn>
              <a:cxn ang="0">
                <a:pos x="connsiteX40197" y="connsiteY40197"/>
              </a:cxn>
              <a:cxn ang="0">
                <a:pos x="connsiteX40198" y="connsiteY40198"/>
              </a:cxn>
              <a:cxn ang="0">
                <a:pos x="connsiteX40199" y="connsiteY40199"/>
              </a:cxn>
              <a:cxn ang="0">
                <a:pos x="connsiteX40200" y="connsiteY40200"/>
              </a:cxn>
              <a:cxn ang="0">
                <a:pos x="connsiteX40201" y="connsiteY40201"/>
              </a:cxn>
              <a:cxn ang="0">
                <a:pos x="connsiteX40202" y="connsiteY40202"/>
              </a:cxn>
              <a:cxn ang="0">
                <a:pos x="connsiteX40203" y="connsiteY40203"/>
              </a:cxn>
              <a:cxn ang="0">
                <a:pos x="connsiteX40204" y="connsiteY40204"/>
              </a:cxn>
              <a:cxn ang="0">
                <a:pos x="connsiteX40205" y="connsiteY40205"/>
              </a:cxn>
              <a:cxn ang="0">
                <a:pos x="connsiteX40206" y="connsiteY40206"/>
              </a:cxn>
              <a:cxn ang="0">
                <a:pos x="connsiteX40207" y="connsiteY40207"/>
              </a:cxn>
              <a:cxn ang="0">
                <a:pos x="connsiteX40208" y="connsiteY40208"/>
              </a:cxn>
              <a:cxn ang="0">
                <a:pos x="connsiteX40209" y="connsiteY40209"/>
              </a:cxn>
              <a:cxn ang="0">
                <a:pos x="connsiteX40210" y="connsiteY40210"/>
              </a:cxn>
              <a:cxn ang="0">
                <a:pos x="connsiteX40211" y="connsiteY40211"/>
              </a:cxn>
              <a:cxn ang="0">
                <a:pos x="connsiteX40212" y="connsiteY40212"/>
              </a:cxn>
              <a:cxn ang="0">
                <a:pos x="connsiteX40213" y="connsiteY40213"/>
              </a:cxn>
              <a:cxn ang="0">
                <a:pos x="connsiteX40214" y="connsiteY40214"/>
              </a:cxn>
              <a:cxn ang="0">
                <a:pos x="connsiteX40215" y="connsiteY40215"/>
              </a:cxn>
              <a:cxn ang="0">
                <a:pos x="connsiteX40216" y="connsiteY40216"/>
              </a:cxn>
              <a:cxn ang="0">
                <a:pos x="connsiteX40217" y="connsiteY40217"/>
              </a:cxn>
              <a:cxn ang="0">
                <a:pos x="connsiteX40218" y="connsiteY40218"/>
              </a:cxn>
              <a:cxn ang="0">
                <a:pos x="connsiteX40219" y="connsiteY40219"/>
              </a:cxn>
              <a:cxn ang="0">
                <a:pos x="connsiteX40220" y="connsiteY40220"/>
              </a:cxn>
              <a:cxn ang="0">
                <a:pos x="connsiteX40221" y="connsiteY40221"/>
              </a:cxn>
              <a:cxn ang="0">
                <a:pos x="connsiteX40222" y="connsiteY40222"/>
              </a:cxn>
              <a:cxn ang="0">
                <a:pos x="connsiteX40223" y="connsiteY40223"/>
              </a:cxn>
              <a:cxn ang="0">
                <a:pos x="connsiteX40224" y="connsiteY40224"/>
              </a:cxn>
              <a:cxn ang="0">
                <a:pos x="connsiteX40225" y="connsiteY40225"/>
              </a:cxn>
              <a:cxn ang="0">
                <a:pos x="connsiteX40226" y="connsiteY40226"/>
              </a:cxn>
              <a:cxn ang="0">
                <a:pos x="connsiteX40227" y="connsiteY40227"/>
              </a:cxn>
              <a:cxn ang="0">
                <a:pos x="connsiteX40228" y="connsiteY40228"/>
              </a:cxn>
              <a:cxn ang="0">
                <a:pos x="connsiteX40229" y="connsiteY40229"/>
              </a:cxn>
              <a:cxn ang="0">
                <a:pos x="connsiteX40230" y="connsiteY40230"/>
              </a:cxn>
              <a:cxn ang="0">
                <a:pos x="connsiteX40231" y="connsiteY40231"/>
              </a:cxn>
              <a:cxn ang="0">
                <a:pos x="connsiteX40232" y="connsiteY40232"/>
              </a:cxn>
              <a:cxn ang="0">
                <a:pos x="connsiteX40233" y="connsiteY40233"/>
              </a:cxn>
              <a:cxn ang="0">
                <a:pos x="connsiteX40234" y="connsiteY40234"/>
              </a:cxn>
              <a:cxn ang="0">
                <a:pos x="connsiteX40235" y="connsiteY40235"/>
              </a:cxn>
              <a:cxn ang="0">
                <a:pos x="connsiteX40236" y="connsiteY40236"/>
              </a:cxn>
              <a:cxn ang="0">
                <a:pos x="connsiteX40237" y="connsiteY40237"/>
              </a:cxn>
              <a:cxn ang="0">
                <a:pos x="connsiteX40238" y="connsiteY40238"/>
              </a:cxn>
              <a:cxn ang="0">
                <a:pos x="connsiteX40239" y="connsiteY40239"/>
              </a:cxn>
              <a:cxn ang="0">
                <a:pos x="connsiteX40240" y="connsiteY40240"/>
              </a:cxn>
              <a:cxn ang="0">
                <a:pos x="connsiteX40241" y="connsiteY40241"/>
              </a:cxn>
              <a:cxn ang="0">
                <a:pos x="connsiteX40242" y="connsiteY40242"/>
              </a:cxn>
              <a:cxn ang="0">
                <a:pos x="connsiteX40243" y="connsiteY40243"/>
              </a:cxn>
              <a:cxn ang="0">
                <a:pos x="connsiteX40244" y="connsiteY40244"/>
              </a:cxn>
              <a:cxn ang="0">
                <a:pos x="connsiteX40245" y="connsiteY40245"/>
              </a:cxn>
              <a:cxn ang="0">
                <a:pos x="connsiteX40246" y="connsiteY40246"/>
              </a:cxn>
              <a:cxn ang="0">
                <a:pos x="connsiteX40247" y="connsiteY40247"/>
              </a:cxn>
              <a:cxn ang="0">
                <a:pos x="connsiteX40248" y="connsiteY40248"/>
              </a:cxn>
              <a:cxn ang="0">
                <a:pos x="connsiteX40249" y="connsiteY40249"/>
              </a:cxn>
              <a:cxn ang="0">
                <a:pos x="connsiteX40250" y="connsiteY40250"/>
              </a:cxn>
              <a:cxn ang="0">
                <a:pos x="connsiteX40251" y="connsiteY40251"/>
              </a:cxn>
              <a:cxn ang="0">
                <a:pos x="connsiteX40252" y="connsiteY40252"/>
              </a:cxn>
              <a:cxn ang="0">
                <a:pos x="connsiteX40253" y="connsiteY40253"/>
              </a:cxn>
              <a:cxn ang="0">
                <a:pos x="connsiteX40254" y="connsiteY40254"/>
              </a:cxn>
              <a:cxn ang="0">
                <a:pos x="connsiteX40255" y="connsiteY40255"/>
              </a:cxn>
              <a:cxn ang="0">
                <a:pos x="connsiteX40256" y="connsiteY40256"/>
              </a:cxn>
              <a:cxn ang="0">
                <a:pos x="connsiteX40257" y="connsiteY40257"/>
              </a:cxn>
              <a:cxn ang="0">
                <a:pos x="connsiteX40258" y="connsiteY40258"/>
              </a:cxn>
              <a:cxn ang="0">
                <a:pos x="connsiteX40259" y="connsiteY40259"/>
              </a:cxn>
              <a:cxn ang="0">
                <a:pos x="connsiteX40260" y="connsiteY40260"/>
              </a:cxn>
              <a:cxn ang="0">
                <a:pos x="connsiteX40261" y="connsiteY40261"/>
              </a:cxn>
              <a:cxn ang="0">
                <a:pos x="connsiteX40262" y="connsiteY40262"/>
              </a:cxn>
              <a:cxn ang="0">
                <a:pos x="connsiteX40263" y="connsiteY40263"/>
              </a:cxn>
              <a:cxn ang="0">
                <a:pos x="connsiteX40264" y="connsiteY40264"/>
              </a:cxn>
              <a:cxn ang="0">
                <a:pos x="connsiteX40265" y="connsiteY40265"/>
              </a:cxn>
              <a:cxn ang="0">
                <a:pos x="connsiteX40266" y="connsiteY40266"/>
              </a:cxn>
              <a:cxn ang="0">
                <a:pos x="connsiteX40267" y="connsiteY40267"/>
              </a:cxn>
              <a:cxn ang="0">
                <a:pos x="connsiteX40268" y="connsiteY40268"/>
              </a:cxn>
              <a:cxn ang="0">
                <a:pos x="connsiteX40269" y="connsiteY40269"/>
              </a:cxn>
              <a:cxn ang="0">
                <a:pos x="connsiteX40270" y="connsiteY40270"/>
              </a:cxn>
              <a:cxn ang="0">
                <a:pos x="connsiteX40271" y="connsiteY40271"/>
              </a:cxn>
              <a:cxn ang="0">
                <a:pos x="connsiteX40272" y="connsiteY40272"/>
              </a:cxn>
              <a:cxn ang="0">
                <a:pos x="connsiteX40273" y="connsiteY40273"/>
              </a:cxn>
              <a:cxn ang="0">
                <a:pos x="connsiteX40274" y="connsiteY40274"/>
              </a:cxn>
              <a:cxn ang="0">
                <a:pos x="connsiteX40275" y="connsiteY40275"/>
              </a:cxn>
              <a:cxn ang="0">
                <a:pos x="connsiteX40276" y="connsiteY40276"/>
              </a:cxn>
              <a:cxn ang="0">
                <a:pos x="connsiteX40277" y="connsiteY40277"/>
              </a:cxn>
              <a:cxn ang="0">
                <a:pos x="connsiteX40278" y="connsiteY40278"/>
              </a:cxn>
              <a:cxn ang="0">
                <a:pos x="connsiteX40279" y="connsiteY40279"/>
              </a:cxn>
              <a:cxn ang="0">
                <a:pos x="connsiteX40280" y="connsiteY40280"/>
              </a:cxn>
              <a:cxn ang="0">
                <a:pos x="connsiteX40281" y="connsiteY40281"/>
              </a:cxn>
              <a:cxn ang="0">
                <a:pos x="connsiteX40282" y="connsiteY40282"/>
              </a:cxn>
              <a:cxn ang="0">
                <a:pos x="connsiteX40283" y="connsiteY40283"/>
              </a:cxn>
              <a:cxn ang="0">
                <a:pos x="connsiteX40284" y="connsiteY40284"/>
              </a:cxn>
              <a:cxn ang="0">
                <a:pos x="connsiteX40285" y="connsiteY40285"/>
              </a:cxn>
              <a:cxn ang="0">
                <a:pos x="connsiteX40286" y="connsiteY40286"/>
              </a:cxn>
              <a:cxn ang="0">
                <a:pos x="connsiteX40287" y="connsiteY40287"/>
              </a:cxn>
              <a:cxn ang="0">
                <a:pos x="connsiteX40288" y="connsiteY40288"/>
              </a:cxn>
              <a:cxn ang="0">
                <a:pos x="connsiteX40289" y="connsiteY40289"/>
              </a:cxn>
              <a:cxn ang="0">
                <a:pos x="connsiteX40290" y="connsiteY40290"/>
              </a:cxn>
              <a:cxn ang="0">
                <a:pos x="connsiteX40291" y="connsiteY40291"/>
              </a:cxn>
              <a:cxn ang="0">
                <a:pos x="connsiteX40292" y="connsiteY40292"/>
              </a:cxn>
              <a:cxn ang="0">
                <a:pos x="connsiteX40293" y="connsiteY40293"/>
              </a:cxn>
              <a:cxn ang="0">
                <a:pos x="connsiteX40294" y="connsiteY40294"/>
              </a:cxn>
              <a:cxn ang="0">
                <a:pos x="connsiteX40295" y="connsiteY40295"/>
              </a:cxn>
              <a:cxn ang="0">
                <a:pos x="connsiteX40296" y="connsiteY40296"/>
              </a:cxn>
              <a:cxn ang="0">
                <a:pos x="connsiteX40297" y="connsiteY40297"/>
              </a:cxn>
              <a:cxn ang="0">
                <a:pos x="connsiteX40298" y="connsiteY40298"/>
              </a:cxn>
              <a:cxn ang="0">
                <a:pos x="connsiteX40299" y="connsiteY40299"/>
              </a:cxn>
              <a:cxn ang="0">
                <a:pos x="connsiteX40300" y="connsiteY40300"/>
              </a:cxn>
              <a:cxn ang="0">
                <a:pos x="connsiteX40301" y="connsiteY40301"/>
              </a:cxn>
              <a:cxn ang="0">
                <a:pos x="connsiteX40302" y="connsiteY40302"/>
              </a:cxn>
              <a:cxn ang="0">
                <a:pos x="connsiteX40303" y="connsiteY40303"/>
              </a:cxn>
              <a:cxn ang="0">
                <a:pos x="connsiteX40304" y="connsiteY40304"/>
              </a:cxn>
              <a:cxn ang="0">
                <a:pos x="connsiteX40305" y="connsiteY40305"/>
              </a:cxn>
              <a:cxn ang="0">
                <a:pos x="connsiteX40306" y="connsiteY40306"/>
              </a:cxn>
              <a:cxn ang="0">
                <a:pos x="connsiteX40307" y="connsiteY40307"/>
              </a:cxn>
              <a:cxn ang="0">
                <a:pos x="connsiteX40308" y="connsiteY40308"/>
              </a:cxn>
              <a:cxn ang="0">
                <a:pos x="connsiteX40309" y="connsiteY40309"/>
              </a:cxn>
              <a:cxn ang="0">
                <a:pos x="connsiteX40310" y="connsiteY40310"/>
              </a:cxn>
              <a:cxn ang="0">
                <a:pos x="connsiteX40311" y="connsiteY40311"/>
              </a:cxn>
              <a:cxn ang="0">
                <a:pos x="connsiteX40312" y="connsiteY40312"/>
              </a:cxn>
              <a:cxn ang="0">
                <a:pos x="connsiteX40313" y="connsiteY40313"/>
              </a:cxn>
              <a:cxn ang="0">
                <a:pos x="connsiteX40314" y="connsiteY40314"/>
              </a:cxn>
              <a:cxn ang="0">
                <a:pos x="connsiteX40315" y="connsiteY40315"/>
              </a:cxn>
              <a:cxn ang="0">
                <a:pos x="connsiteX40316" y="connsiteY40316"/>
              </a:cxn>
              <a:cxn ang="0">
                <a:pos x="connsiteX40317" y="connsiteY40317"/>
              </a:cxn>
              <a:cxn ang="0">
                <a:pos x="connsiteX40318" y="connsiteY40318"/>
              </a:cxn>
              <a:cxn ang="0">
                <a:pos x="connsiteX40319" y="connsiteY40319"/>
              </a:cxn>
              <a:cxn ang="0">
                <a:pos x="connsiteX40320" y="connsiteY40320"/>
              </a:cxn>
              <a:cxn ang="0">
                <a:pos x="connsiteX40321" y="connsiteY40321"/>
              </a:cxn>
              <a:cxn ang="0">
                <a:pos x="connsiteX40322" y="connsiteY40322"/>
              </a:cxn>
              <a:cxn ang="0">
                <a:pos x="connsiteX40323" y="connsiteY40323"/>
              </a:cxn>
              <a:cxn ang="0">
                <a:pos x="connsiteX40324" y="connsiteY40324"/>
              </a:cxn>
              <a:cxn ang="0">
                <a:pos x="connsiteX40325" y="connsiteY40325"/>
              </a:cxn>
              <a:cxn ang="0">
                <a:pos x="connsiteX40326" y="connsiteY40326"/>
              </a:cxn>
              <a:cxn ang="0">
                <a:pos x="connsiteX40327" y="connsiteY40327"/>
              </a:cxn>
              <a:cxn ang="0">
                <a:pos x="connsiteX40328" y="connsiteY40328"/>
              </a:cxn>
              <a:cxn ang="0">
                <a:pos x="connsiteX40329" y="connsiteY40329"/>
              </a:cxn>
              <a:cxn ang="0">
                <a:pos x="connsiteX40330" y="connsiteY40330"/>
              </a:cxn>
              <a:cxn ang="0">
                <a:pos x="connsiteX40331" y="connsiteY40331"/>
              </a:cxn>
              <a:cxn ang="0">
                <a:pos x="connsiteX40332" y="connsiteY40332"/>
              </a:cxn>
              <a:cxn ang="0">
                <a:pos x="connsiteX40333" y="connsiteY40333"/>
              </a:cxn>
              <a:cxn ang="0">
                <a:pos x="connsiteX40334" y="connsiteY40334"/>
              </a:cxn>
              <a:cxn ang="0">
                <a:pos x="connsiteX40335" y="connsiteY40335"/>
              </a:cxn>
              <a:cxn ang="0">
                <a:pos x="connsiteX40336" y="connsiteY40336"/>
              </a:cxn>
              <a:cxn ang="0">
                <a:pos x="connsiteX40337" y="connsiteY40337"/>
              </a:cxn>
              <a:cxn ang="0">
                <a:pos x="connsiteX40338" y="connsiteY40338"/>
              </a:cxn>
              <a:cxn ang="0">
                <a:pos x="connsiteX40339" y="connsiteY40339"/>
              </a:cxn>
              <a:cxn ang="0">
                <a:pos x="connsiteX40340" y="connsiteY40340"/>
              </a:cxn>
              <a:cxn ang="0">
                <a:pos x="connsiteX40341" y="connsiteY40341"/>
              </a:cxn>
              <a:cxn ang="0">
                <a:pos x="connsiteX40342" y="connsiteY40342"/>
              </a:cxn>
              <a:cxn ang="0">
                <a:pos x="connsiteX40343" y="connsiteY40343"/>
              </a:cxn>
              <a:cxn ang="0">
                <a:pos x="connsiteX40344" y="connsiteY40344"/>
              </a:cxn>
              <a:cxn ang="0">
                <a:pos x="connsiteX40345" y="connsiteY40345"/>
              </a:cxn>
              <a:cxn ang="0">
                <a:pos x="connsiteX40346" y="connsiteY40346"/>
              </a:cxn>
              <a:cxn ang="0">
                <a:pos x="connsiteX40347" y="connsiteY40347"/>
              </a:cxn>
              <a:cxn ang="0">
                <a:pos x="connsiteX40348" y="connsiteY40348"/>
              </a:cxn>
              <a:cxn ang="0">
                <a:pos x="connsiteX40349" y="connsiteY40349"/>
              </a:cxn>
              <a:cxn ang="0">
                <a:pos x="connsiteX40350" y="connsiteY40350"/>
              </a:cxn>
              <a:cxn ang="0">
                <a:pos x="connsiteX40351" y="connsiteY40351"/>
              </a:cxn>
              <a:cxn ang="0">
                <a:pos x="connsiteX40352" y="connsiteY40352"/>
              </a:cxn>
              <a:cxn ang="0">
                <a:pos x="connsiteX40353" y="connsiteY40353"/>
              </a:cxn>
              <a:cxn ang="0">
                <a:pos x="connsiteX40354" y="connsiteY40354"/>
              </a:cxn>
              <a:cxn ang="0">
                <a:pos x="connsiteX40355" y="connsiteY40355"/>
              </a:cxn>
              <a:cxn ang="0">
                <a:pos x="connsiteX40356" y="connsiteY40356"/>
              </a:cxn>
              <a:cxn ang="0">
                <a:pos x="connsiteX40357" y="connsiteY40357"/>
              </a:cxn>
              <a:cxn ang="0">
                <a:pos x="connsiteX40358" y="connsiteY40358"/>
              </a:cxn>
              <a:cxn ang="0">
                <a:pos x="connsiteX40359" y="connsiteY40359"/>
              </a:cxn>
              <a:cxn ang="0">
                <a:pos x="connsiteX40360" y="connsiteY40360"/>
              </a:cxn>
              <a:cxn ang="0">
                <a:pos x="connsiteX40361" y="connsiteY40361"/>
              </a:cxn>
              <a:cxn ang="0">
                <a:pos x="connsiteX40362" y="connsiteY40362"/>
              </a:cxn>
              <a:cxn ang="0">
                <a:pos x="connsiteX40363" y="connsiteY40363"/>
              </a:cxn>
              <a:cxn ang="0">
                <a:pos x="connsiteX40364" y="connsiteY40364"/>
              </a:cxn>
              <a:cxn ang="0">
                <a:pos x="connsiteX40365" y="connsiteY40365"/>
              </a:cxn>
              <a:cxn ang="0">
                <a:pos x="connsiteX40366" y="connsiteY40366"/>
              </a:cxn>
              <a:cxn ang="0">
                <a:pos x="connsiteX40367" y="connsiteY40367"/>
              </a:cxn>
              <a:cxn ang="0">
                <a:pos x="connsiteX40368" y="connsiteY40368"/>
              </a:cxn>
              <a:cxn ang="0">
                <a:pos x="connsiteX40369" y="connsiteY40369"/>
              </a:cxn>
              <a:cxn ang="0">
                <a:pos x="connsiteX40370" y="connsiteY40370"/>
              </a:cxn>
              <a:cxn ang="0">
                <a:pos x="connsiteX40371" y="connsiteY40371"/>
              </a:cxn>
              <a:cxn ang="0">
                <a:pos x="connsiteX40372" y="connsiteY40372"/>
              </a:cxn>
              <a:cxn ang="0">
                <a:pos x="connsiteX40373" y="connsiteY40373"/>
              </a:cxn>
              <a:cxn ang="0">
                <a:pos x="connsiteX40374" y="connsiteY40374"/>
              </a:cxn>
              <a:cxn ang="0">
                <a:pos x="connsiteX40375" y="connsiteY40375"/>
              </a:cxn>
              <a:cxn ang="0">
                <a:pos x="connsiteX40376" y="connsiteY40376"/>
              </a:cxn>
              <a:cxn ang="0">
                <a:pos x="connsiteX40377" y="connsiteY40377"/>
              </a:cxn>
              <a:cxn ang="0">
                <a:pos x="connsiteX40378" y="connsiteY40378"/>
              </a:cxn>
              <a:cxn ang="0">
                <a:pos x="connsiteX40379" y="connsiteY40379"/>
              </a:cxn>
              <a:cxn ang="0">
                <a:pos x="connsiteX40380" y="connsiteY40380"/>
              </a:cxn>
              <a:cxn ang="0">
                <a:pos x="connsiteX40381" y="connsiteY40381"/>
              </a:cxn>
              <a:cxn ang="0">
                <a:pos x="connsiteX40382" y="connsiteY40382"/>
              </a:cxn>
              <a:cxn ang="0">
                <a:pos x="connsiteX40383" y="connsiteY40383"/>
              </a:cxn>
              <a:cxn ang="0">
                <a:pos x="connsiteX40384" y="connsiteY40384"/>
              </a:cxn>
              <a:cxn ang="0">
                <a:pos x="connsiteX40385" y="connsiteY40385"/>
              </a:cxn>
              <a:cxn ang="0">
                <a:pos x="connsiteX40386" y="connsiteY40386"/>
              </a:cxn>
              <a:cxn ang="0">
                <a:pos x="connsiteX40387" y="connsiteY40387"/>
              </a:cxn>
              <a:cxn ang="0">
                <a:pos x="connsiteX40388" y="connsiteY40388"/>
              </a:cxn>
              <a:cxn ang="0">
                <a:pos x="connsiteX40389" y="connsiteY40389"/>
              </a:cxn>
              <a:cxn ang="0">
                <a:pos x="connsiteX40390" y="connsiteY40390"/>
              </a:cxn>
              <a:cxn ang="0">
                <a:pos x="connsiteX40391" y="connsiteY40391"/>
              </a:cxn>
              <a:cxn ang="0">
                <a:pos x="connsiteX40392" y="connsiteY40392"/>
              </a:cxn>
              <a:cxn ang="0">
                <a:pos x="connsiteX40393" y="connsiteY40393"/>
              </a:cxn>
              <a:cxn ang="0">
                <a:pos x="connsiteX40394" y="connsiteY40394"/>
              </a:cxn>
              <a:cxn ang="0">
                <a:pos x="connsiteX40395" y="connsiteY40395"/>
              </a:cxn>
              <a:cxn ang="0">
                <a:pos x="connsiteX40396" y="connsiteY40396"/>
              </a:cxn>
              <a:cxn ang="0">
                <a:pos x="connsiteX40397" y="connsiteY40397"/>
              </a:cxn>
              <a:cxn ang="0">
                <a:pos x="connsiteX40398" y="connsiteY40398"/>
              </a:cxn>
              <a:cxn ang="0">
                <a:pos x="connsiteX40399" y="connsiteY40399"/>
              </a:cxn>
              <a:cxn ang="0">
                <a:pos x="connsiteX40400" y="connsiteY40400"/>
              </a:cxn>
              <a:cxn ang="0">
                <a:pos x="connsiteX40401" y="connsiteY40401"/>
              </a:cxn>
              <a:cxn ang="0">
                <a:pos x="connsiteX40402" y="connsiteY40402"/>
              </a:cxn>
              <a:cxn ang="0">
                <a:pos x="connsiteX40403" y="connsiteY40403"/>
              </a:cxn>
              <a:cxn ang="0">
                <a:pos x="connsiteX40404" y="connsiteY40404"/>
              </a:cxn>
              <a:cxn ang="0">
                <a:pos x="connsiteX40405" y="connsiteY40405"/>
              </a:cxn>
              <a:cxn ang="0">
                <a:pos x="connsiteX40406" y="connsiteY40406"/>
              </a:cxn>
              <a:cxn ang="0">
                <a:pos x="connsiteX40407" y="connsiteY40407"/>
              </a:cxn>
              <a:cxn ang="0">
                <a:pos x="connsiteX40408" y="connsiteY40408"/>
              </a:cxn>
              <a:cxn ang="0">
                <a:pos x="connsiteX40409" y="connsiteY40409"/>
              </a:cxn>
              <a:cxn ang="0">
                <a:pos x="connsiteX40410" y="connsiteY40410"/>
              </a:cxn>
              <a:cxn ang="0">
                <a:pos x="connsiteX40411" y="connsiteY40411"/>
              </a:cxn>
              <a:cxn ang="0">
                <a:pos x="connsiteX40412" y="connsiteY40412"/>
              </a:cxn>
              <a:cxn ang="0">
                <a:pos x="connsiteX40413" y="connsiteY40413"/>
              </a:cxn>
              <a:cxn ang="0">
                <a:pos x="connsiteX40414" y="connsiteY40414"/>
              </a:cxn>
              <a:cxn ang="0">
                <a:pos x="connsiteX40415" y="connsiteY40415"/>
              </a:cxn>
              <a:cxn ang="0">
                <a:pos x="connsiteX40416" y="connsiteY40416"/>
              </a:cxn>
              <a:cxn ang="0">
                <a:pos x="connsiteX40417" y="connsiteY40417"/>
              </a:cxn>
              <a:cxn ang="0">
                <a:pos x="connsiteX40418" y="connsiteY40418"/>
              </a:cxn>
              <a:cxn ang="0">
                <a:pos x="connsiteX40419" y="connsiteY40419"/>
              </a:cxn>
              <a:cxn ang="0">
                <a:pos x="connsiteX40420" y="connsiteY40420"/>
              </a:cxn>
              <a:cxn ang="0">
                <a:pos x="connsiteX40421" y="connsiteY40421"/>
              </a:cxn>
              <a:cxn ang="0">
                <a:pos x="connsiteX40422" y="connsiteY40422"/>
              </a:cxn>
              <a:cxn ang="0">
                <a:pos x="connsiteX40423" y="connsiteY40423"/>
              </a:cxn>
              <a:cxn ang="0">
                <a:pos x="connsiteX40424" y="connsiteY40424"/>
              </a:cxn>
              <a:cxn ang="0">
                <a:pos x="connsiteX40425" y="connsiteY40425"/>
              </a:cxn>
              <a:cxn ang="0">
                <a:pos x="connsiteX40426" y="connsiteY40426"/>
              </a:cxn>
              <a:cxn ang="0">
                <a:pos x="connsiteX40427" y="connsiteY40427"/>
              </a:cxn>
              <a:cxn ang="0">
                <a:pos x="connsiteX40428" y="connsiteY40428"/>
              </a:cxn>
              <a:cxn ang="0">
                <a:pos x="connsiteX40429" y="connsiteY40429"/>
              </a:cxn>
              <a:cxn ang="0">
                <a:pos x="connsiteX40430" y="connsiteY40430"/>
              </a:cxn>
              <a:cxn ang="0">
                <a:pos x="connsiteX40431" y="connsiteY40431"/>
              </a:cxn>
              <a:cxn ang="0">
                <a:pos x="connsiteX40432" y="connsiteY40432"/>
              </a:cxn>
              <a:cxn ang="0">
                <a:pos x="connsiteX40433" y="connsiteY40433"/>
              </a:cxn>
              <a:cxn ang="0">
                <a:pos x="connsiteX40434" y="connsiteY40434"/>
              </a:cxn>
              <a:cxn ang="0">
                <a:pos x="connsiteX40435" y="connsiteY40435"/>
              </a:cxn>
              <a:cxn ang="0">
                <a:pos x="connsiteX40436" y="connsiteY40436"/>
              </a:cxn>
              <a:cxn ang="0">
                <a:pos x="connsiteX40437" y="connsiteY40437"/>
              </a:cxn>
              <a:cxn ang="0">
                <a:pos x="connsiteX40438" y="connsiteY40438"/>
              </a:cxn>
              <a:cxn ang="0">
                <a:pos x="connsiteX40439" y="connsiteY40439"/>
              </a:cxn>
              <a:cxn ang="0">
                <a:pos x="connsiteX40440" y="connsiteY40440"/>
              </a:cxn>
              <a:cxn ang="0">
                <a:pos x="connsiteX40441" y="connsiteY40441"/>
              </a:cxn>
              <a:cxn ang="0">
                <a:pos x="connsiteX40442" y="connsiteY40442"/>
              </a:cxn>
              <a:cxn ang="0">
                <a:pos x="connsiteX40443" y="connsiteY40443"/>
              </a:cxn>
              <a:cxn ang="0">
                <a:pos x="connsiteX40444" y="connsiteY40444"/>
              </a:cxn>
              <a:cxn ang="0">
                <a:pos x="connsiteX40445" y="connsiteY40445"/>
              </a:cxn>
              <a:cxn ang="0">
                <a:pos x="connsiteX40446" y="connsiteY40446"/>
              </a:cxn>
              <a:cxn ang="0">
                <a:pos x="connsiteX40447" y="connsiteY40447"/>
              </a:cxn>
              <a:cxn ang="0">
                <a:pos x="connsiteX40448" y="connsiteY40448"/>
              </a:cxn>
              <a:cxn ang="0">
                <a:pos x="connsiteX40449" y="connsiteY40449"/>
              </a:cxn>
              <a:cxn ang="0">
                <a:pos x="connsiteX40450" y="connsiteY40450"/>
              </a:cxn>
              <a:cxn ang="0">
                <a:pos x="connsiteX40451" y="connsiteY40451"/>
              </a:cxn>
              <a:cxn ang="0">
                <a:pos x="connsiteX40452" y="connsiteY40452"/>
              </a:cxn>
              <a:cxn ang="0">
                <a:pos x="connsiteX40453" y="connsiteY40453"/>
              </a:cxn>
              <a:cxn ang="0">
                <a:pos x="connsiteX40454" y="connsiteY40454"/>
              </a:cxn>
              <a:cxn ang="0">
                <a:pos x="connsiteX40455" y="connsiteY40455"/>
              </a:cxn>
              <a:cxn ang="0">
                <a:pos x="connsiteX40456" y="connsiteY40456"/>
              </a:cxn>
              <a:cxn ang="0">
                <a:pos x="connsiteX40457" y="connsiteY40457"/>
              </a:cxn>
              <a:cxn ang="0">
                <a:pos x="connsiteX40458" y="connsiteY40458"/>
              </a:cxn>
              <a:cxn ang="0">
                <a:pos x="connsiteX40459" y="connsiteY40459"/>
              </a:cxn>
              <a:cxn ang="0">
                <a:pos x="connsiteX40460" y="connsiteY40460"/>
              </a:cxn>
              <a:cxn ang="0">
                <a:pos x="connsiteX40461" y="connsiteY40461"/>
              </a:cxn>
              <a:cxn ang="0">
                <a:pos x="connsiteX40462" y="connsiteY40462"/>
              </a:cxn>
              <a:cxn ang="0">
                <a:pos x="connsiteX40463" y="connsiteY40463"/>
              </a:cxn>
              <a:cxn ang="0">
                <a:pos x="connsiteX40464" y="connsiteY40464"/>
              </a:cxn>
              <a:cxn ang="0">
                <a:pos x="connsiteX40465" y="connsiteY40465"/>
              </a:cxn>
              <a:cxn ang="0">
                <a:pos x="connsiteX40466" y="connsiteY40466"/>
              </a:cxn>
              <a:cxn ang="0">
                <a:pos x="connsiteX40467" y="connsiteY40467"/>
              </a:cxn>
              <a:cxn ang="0">
                <a:pos x="connsiteX40468" y="connsiteY40468"/>
              </a:cxn>
              <a:cxn ang="0">
                <a:pos x="connsiteX40469" y="connsiteY40469"/>
              </a:cxn>
              <a:cxn ang="0">
                <a:pos x="connsiteX40470" y="connsiteY40470"/>
              </a:cxn>
              <a:cxn ang="0">
                <a:pos x="connsiteX40471" y="connsiteY40471"/>
              </a:cxn>
              <a:cxn ang="0">
                <a:pos x="connsiteX40472" y="connsiteY40472"/>
              </a:cxn>
              <a:cxn ang="0">
                <a:pos x="connsiteX40473" y="connsiteY40473"/>
              </a:cxn>
              <a:cxn ang="0">
                <a:pos x="connsiteX40474" y="connsiteY40474"/>
              </a:cxn>
              <a:cxn ang="0">
                <a:pos x="connsiteX40475" y="connsiteY40475"/>
              </a:cxn>
              <a:cxn ang="0">
                <a:pos x="connsiteX40476" y="connsiteY40476"/>
              </a:cxn>
              <a:cxn ang="0">
                <a:pos x="connsiteX40477" y="connsiteY40477"/>
              </a:cxn>
              <a:cxn ang="0">
                <a:pos x="connsiteX40478" y="connsiteY40478"/>
              </a:cxn>
              <a:cxn ang="0">
                <a:pos x="connsiteX40479" y="connsiteY40479"/>
              </a:cxn>
              <a:cxn ang="0">
                <a:pos x="connsiteX40480" y="connsiteY40480"/>
              </a:cxn>
              <a:cxn ang="0">
                <a:pos x="connsiteX40481" y="connsiteY40481"/>
              </a:cxn>
              <a:cxn ang="0">
                <a:pos x="connsiteX40482" y="connsiteY40482"/>
              </a:cxn>
              <a:cxn ang="0">
                <a:pos x="connsiteX40483" y="connsiteY40483"/>
              </a:cxn>
              <a:cxn ang="0">
                <a:pos x="connsiteX40484" y="connsiteY40484"/>
              </a:cxn>
              <a:cxn ang="0">
                <a:pos x="connsiteX40485" y="connsiteY40485"/>
              </a:cxn>
              <a:cxn ang="0">
                <a:pos x="connsiteX40486" y="connsiteY40486"/>
              </a:cxn>
              <a:cxn ang="0">
                <a:pos x="connsiteX40487" y="connsiteY40487"/>
              </a:cxn>
              <a:cxn ang="0">
                <a:pos x="connsiteX40488" y="connsiteY40488"/>
              </a:cxn>
              <a:cxn ang="0">
                <a:pos x="connsiteX40489" y="connsiteY40489"/>
              </a:cxn>
              <a:cxn ang="0">
                <a:pos x="connsiteX40490" y="connsiteY40490"/>
              </a:cxn>
              <a:cxn ang="0">
                <a:pos x="connsiteX40491" y="connsiteY40491"/>
              </a:cxn>
              <a:cxn ang="0">
                <a:pos x="connsiteX40492" y="connsiteY40492"/>
              </a:cxn>
              <a:cxn ang="0">
                <a:pos x="connsiteX40493" y="connsiteY40493"/>
              </a:cxn>
              <a:cxn ang="0">
                <a:pos x="connsiteX40494" y="connsiteY40494"/>
              </a:cxn>
              <a:cxn ang="0">
                <a:pos x="connsiteX40495" y="connsiteY40495"/>
              </a:cxn>
              <a:cxn ang="0">
                <a:pos x="connsiteX40496" y="connsiteY40496"/>
              </a:cxn>
              <a:cxn ang="0">
                <a:pos x="connsiteX40497" y="connsiteY40497"/>
              </a:cxn>
              <a:cxn ang="0">
                <a:pos x="connsiteX40498" y="connsiteY40498"/>
              </a:cxn>
              <a:cxn ang="0">
                <a:pos x="connsiteX40499" y="connsiteY40499"/>
              </a:cxn>
              <a:cxn ang="0">
                <a:pos x="connsiteX40500" y="connsiteY40500"/>
              </a:cxn>
              <a:cxn ang="0">
                <a:pos x="connsiteX40501" y="connsiteY40501"/>
              </a:cxn>
              <a:cxn ang="0">
                <a:pos x="connsiteX40502" y="connsiteY40502"/>
              </a:cxn>
              <a:cxn ang="0">
                <a:pos x="connsiteX40503" y="connsiteY40503"/>
              </a:cxn>
              <a:cxn ang="0">
                <a:pos x="connsiteX40504" y="connsiteY40504"/>
              </a:cxn>
              <a:cxn ang="0">
                <a:pos x="connsiteX40505" y="connsiteY40505"/>
              </a:cxn>
              <a:cxn ang="0">
                <a:pos x="connsiteX40506" y="connsiteY40506"/>
              </a:cxn>
              <a:cxn ang="0">
                <a:pos x="connsiteX40507" y="connsiteY40507"/>
              </a:cxn>
              <a:cxn ang="0">
                <a:pos x="connsiteX40508" y="connsiteY40508"/>
              </a:cxn>
              <a:cxn ang="0">
                <a:pos x="connsiteX40509" y="connsiteY40509"/>
              </a:cxn>
              <a:cxn ang="0">
                <a:pos x="connsiteX40510" y="connsiteY40510"/>
              </a:cxn>
              <a:cxn ang="0">
                <a:pos x="connsiteX40511" y="connsiteY40511"/>
              </a:cxn>
              <a:cxn ang="0">
                <a:pos x="connsiteX40512" y="connsiteY40512"/>
              </a:cxn>
              <a:cxn ang="0">
                <a:pos x="connsiteX40513" y="connsiteY40513"/>
              </a:cxn>
              <a:cxn ang="0">
                <a:pos x="connsiteX40514" y="connsiteY40514"/>
              </a:cxn>
              <a:cxn ang="0">
                <a:pos x="connsiteX40515" y="connsiteY40515"/>
              </a:cxn>
              <a:cxn ang="0">
                <a:pos x="connsiteX40516" y="connsiteY40516"/>
              </a:cxn>
              <a:cxn ang="0">
                <a:pos x="connsiteX40517" y="connsiteY40517"/>
              </a:cxn>
              <a:cxn ang="0">
                <a:pos x="connsiteX40518" y="connsiteY40518"/>
              </a:cxn>
              <a:cxn ang="0">
                <a:pos x="connsiteX40519" y="connsiteY40519"/>
              </a:cxn>
              <a:cxn ang="0">
                <a:pos x="connsiteX40520" y="connsiteY40520"/>
              </a:cxn>
              <a:cxn ang="0">
                <a:pos x="connsiteX40521" y="connsiteY40521"/>
              </a:cxn>
              <a:cxn ang="0">
                <a:pos x="connsiteX40522" y="connsiteY40522"/>
              </a:cxn>
              <a:cxn ang="0">
                <a:pos x="connsiteX40523" y="connsiteY40523"/>
              </a:cxn>
              <a:cxn ang="0">
                <a:pos x="connsiteX40524" y="connsiteY40524"/>
              </a:cxn>
              <a:cxn ang="0">
                <a:pos x="connsiteX40525" y="connsiteY40525"/>
              </a:cxn>
              <a:cxn ang="0">
                <a:pos x="connsiteX40526" y="connsiteY40526"/>
              </a:cxn>
              <a:cxn ang="0">
                <a:pos x="connsiteX40527" y="connsiteY40527"/>
              </a:cxn>
              <a:cxn ang="0">
                <a:pos x="connsiteX40528" y="connsiteY40528"/>
              </a:cxn>
              <a:cxn ang="0">
                <a:pos x="connsiteX40529" y="connsiteY40529"/>
              </a:cxn>
              <a:cxn ang="0">
                <a:pos x="connsiteX40530" y="connsiteY40530"/>
              </a:cxn>
              <a:cxn ang="0">
                <a:pos x="connsiteX40531" y="connsiteY40531"/>
              </a:cxn>
              <a:cxn ang="0">
                <a:pos x="connsiteX40532" y="connsiteY40532"/>
              </a:cxn>
              <a:cxn ang="0">
                <a:pos x="connsiteX40533" y="connsiteY40533"/>
              </a:cxn>
              <a:cxn ang="0">
                <a:pos x="connsiteX40534" y="connsiteY40534"/>
              </a:cxn>
              <a:cxn ang="0">
                <a:pos x="connsiteX40535" y="connsiteY40535"/>
              </a:cxn>
              <a:cxn ang="0">
                <a:pos x="connsiteX40536" y="connsiteY40536"/>
              </a:cxn>
              <a:cxn ang="0">
                <a:pos x="connsiteX40537" y="connsiteY40537"/>
              </a:cxn>
              <a:cxn ang="0">
                <a:pos x="connsiteX40538" y="connsiteY40538"/>
              </a:cxn>
              <a:cxn ang="0">
                <a:pos x="connsiteX40539" y="connsiteY40539"/>
              </a:cxn>
              <a:cxn ang="0">
                <a:pos x="connsiteX40540" y="connsiteY40540"/>
              </a:cxn>
              <a:cxn ang="0">
                <a:pos x="connsiteX40541" y="connsiteY40541"/>
              </a:cxn>
              <a:cxn ang="0">
                <a:pos x="connsiteX40542" y="connsiteY40542"/>
              </a:cxn>
              <a:cxn ang="0">
                <a:pos x="connsiteX40543" y="connsiteY40543"/>
              </a:cxn>
              <a:cxn ang="0">
                <a:pos x="connsiteX40544" y="connsiteY40544"/>
              </a:cxn>
              <a:cxn ang="0">
                <a:pos x="connsiteX40545" y="connsiteY40545"/>
              </a:cxn>
              <a:cxn ang="0">
                <a:pos x="connsiteX40546" y="connsiteY40546"/>
              </a:cxn>
              <a:cxn ang="0">
                <a:pos x="connsiteX40547" y="connsiteY40547"/>
              </a:cxn>
              <a:cxn ang="0">
                <a:pos x="connsiteX40548" y="connsiteY40548"/>
              </a:cxn>
              <a:cxn ang="0">
                <a:pos x="connsiteX40549" y="connsiteY40549"/>
              </a:cxn>
              <a:cxn ang="0">
                <a:pos x="connsiteX40550" y="connsiteY40550"/>
              </a:cxn>
              <a:cxn ang="0">
                <a:pos x="connsiteX40551" y="connsiteY40551"/>
              </a:cxn>
              <a:cxn ang="0">
                <a:pos x="connsiteX40552" y="connsiteY40552"/>
              </a:cxn>
              <a:cxn ang="0">
                <a:pos x="connsiteX40553" y="connsiteY40553"/>
              </a:cxn>
              <a:cxn ang="0">
                <a:pos x="connsiteX40554" y="connsiteY40554"/>
              </a:cxn>
              <a:cxn ang="0">
                <a:pos x="connsiteX40555" y="connsiteY40555"/>
              </a:cxn>
              <a:cxn ang="0">
                <a:pos x="connsiteX40556" y="connsiteY40556"/>
              </a:cxn>
              <a:cxn ang="0">
                <a:pos x="connsiteX40557" y="connsiteY40557"/>
              </a:cxn>
              <a:cxn ang="0">
                <a:pos x="connsiteX40558" y="connsiteY40558"/>
              </a:cxn>
              <a:cxn ang="0">
                <a:pos x="connsiteX40559" y="connsiteY40559"/>
              </a:cxn>
              <a:cxn ang="0">
                <a:pos x="connsiteX40560" y="connsiteY40560"/>
              </a:cxn>
              <a:cxn ang="0">
                <a:pos x="connsiteX40561" y="connsiteY40561"/>
              </a:cxn>
              <a:cxn ang="0">
                <a:pos x="connsiteX40562" y="connsiteY40562"/>
              </a:cxn>
              <a:cxn ang="0">
                <a:pos x="connsiteX40563" y="connsiteY40563"/>
              </a:cxn>
              <a:cxn ang="0">
                <a:pos x="connsiteX40564" y="connsiteY40564"/>
              </a:cxn>
              <a:cxn ang="0">
                <a:pos x="connsiteX40565" y="connsiteY40565"/>
              </a:cxn>
              <a:cxn ang="0">
                <a:pos x="connsiteX40566" y="connsiteY40566"/>
              </a:cxn>
              <a:cxn ang="0">
                <a:pos x="connsiteX40567" y="connsiteY40567"/>
              </a:cxn>
              <a:cxn ang="0">
                <a:pos x="connsiteX40568" y="connsiteY40568"/>
              </a:cxn>
              <a:cxn ang="0">
                <a:pos x="connsiteX40569" y="connsiteY40569"/>
              </a:cxn>
              <a:cxn ang="0">
                <a:pos x="connsiteX40570" y="connsiteY40570"/>
              </a:cxn>
              <a:cxn ang="0">
                <a:pos x="connsiteX40571" y="connsiteY40571"/>
              </a:cxn>
              <a:cxn ang="0">
                <a:pos x="connsiteX40572" y="connsiteY40572"/>
              </a:cxn>
              <a:cxn ang="0">
                <a:pos x="connsiteX40573" y="connsiteY40573"/>
              </a:cxn>
              <a:cxn ang="0">
                <a:pos x="connsiteX40574" y="connsiteY40574"/>
              </a:cxn>
              <a:cxn ang="0">
                <a:pos x="connsiteX40575" y="connsiteY40575"/>
              </a:cxn>
              <a:cxn ang="0">
                <a:pos x="connsiteX40576" y="connsiteY40576"/>
              </a:cxn>
              <a:cxn ang="0">
                <a:pos x="connsiteX40577" y="connsiteY40577"/>
              </a:cxn>
              <a:cxn ang="0">
                <a:pos x="connsiteX40578" y="connsiteY40578"/>
              </a:cxn>
              <a:cxn ang="0">
                <a:pos x="connsiteX40579" y="connsiteY40579"/>
              </a:cxn>
              <a:cxn ang="0">
                <a:pos x="connsiteX40580" y="connsiteY40580"/>
              </a:cxn>
              <a:cxn ang="0">
                <a:pos x="connsiteX40581" y="connsiteY40581"/>
              </a:cxn>
              <a:cxn ang="0">
                <a:pos x="connsiteX40582" y="connsiteY40582"/>
              </a:cxn>
              <a:cxn ang="0">
                <a:pos x="connsiteX40583" y="connsiteY40583"/>
              </a:cxn>
              <a:cxn ang="0">
                <a:pos x="connsiteX40584" y="connsiteY40584"/>
              </a:cxn>
              <a:cxn ang="0">
                <a:pos x="connsiteX40585" y="connsiteY40585"/>
              </a:cxn>
              <a:cxn ang="0">
                <a:pos x="connsiteX40586" y="connsiteY40586"/>
              </a:cxn>
              <a:cxn ang="0">
                <a:pos x="connsiteX40587" y="connsiteY40587"/>
              </a:cxn>
              <a:cxn ang="0">
                <a:pos x="connsiteX40588" y="connsiteY40588"/>
              </a:cxn>
              <a:cxn ang="0">
                <a:pos x="connsiteX40589" y="connsiteY40589"/>
              </a:cxn>
              <a:cxn ang="0">
                <a:pos x="connsiteX40590" y="connsiteY40590"/>
              </a:cxn>
              <a:cxn ang="0">
                <a:pos x="connsiteX40591" y="connsiteY40591"/>
              </a:cxn>
              <a:cxn ang="0">
                <a:pos x="connsiteX40592" y="connsiteY40592"/>
              </a:cxn>
              <a:cxn ang="0">
                <a:pos x="connsiteX40593" y="connsiteY40593"/>
              </a:cxn>
              <a:cxn ang="0">
                <a:pos x="connsiteX40594" y="connsiteY40594"/>
              </a:cxn>
              <a:cxn ang="0">
                <a:pos x="connsiteX40595" y="connsiteY40595"/>
              </a:cxn>
              <a:cxn ang="0">
                <a:pos x="connsiteX40596" y="connsiteY40596"/>
              </a:cxn>
              <a:cxn ang="0">
                <a:pos x="connsiteX40597" y="connsiteY40597"/>
              </a:cxn>
              <a:cxn ang="0">
                <a:pos x="connsiteX40598" y="connsiteY40598"/>
              </a:cxn>
              <a:cxn ang="0">
                <a:pos x="connsiteX40599" y="connsiteY40599"/>
              </a:cxn>
              <a:cxn ang="0">
                <a:pos x="connsiteX40600" y="connsiteY40600"/>
              </a:cxn>
              <a:cxn ang="0">
                <a:pos x="connsiteX40601" y="connsiteY40601"/>
              </a:cxn>
              <a:cxn ang="0">
                <a:pos x="connsiteX40602" y="connsiteY40602"/>
              </a:cxn>
              <a:cxn ang="0">
                <a:pos x="connsiteX40603" y="connsiteY40603"/>
              </a:cxn>
              <a:cxn ang="0">
                <a:pos x="connsiteX40604" y="connsiteY40604"/>
              </a:cxn>
              <a:cxn ang="0">
                <a:pos x="connsiteX40605" y="connsiteY40605"/>
              </a:cxn>
              <a:cxn ang="0">
                <a:pos x="connsiteX40606" y="connsiteY40606"/>
              </a:cxn>
              <a:cxn ang="0">
                <a:pos x="connsiteX40607" y="connsiteY40607"/>
              </a:cxn>
              <a:cxn ang="0">
                <a:pos x="connsiteX40608" y="connsiteY40608"/>
              </a:cxn>
              <a:cxn ang="0">
                <a:pos x="connsiteX40609" y="connsiteY40609"/>
              </a:cxn>
              <a:cxn ang="0">
                <a:pos x="connsiteX40610" y="connsiteY40610"/>
              </a:cxn>
              <a:cxn ang="0">
                <a:pos x="connsiteX40611" y="connsiteY40611"/>
              </a:cxn>
              <a:cxn ang="0">
                <a:pos x="connsiteX40612" y="connsiteY40612"/>
              </a:cxn>
              <a:cxn ang="0">
                <a:pos x="connsiteX40613" y="connsiteY40613"/>
              </a:cxn>
              <a:cxn ang="0">
                <a:pos x="connsiteX40614" y="connsiteY40614"/>
              </a:cxn>
              <a:cxn ang="0">
                <a:pos x="connsiteX40615" y="connsiteY40615"/>
              </a:cxn>
              <a:cxn ang="0">
                <a:pos x="connsiteX40616" y="connsiteY40616"/>
              </a:cxn>
              <a:cxn ang="0">
                <a:pos x="connsiteX40617" y="connsiteY40617"/>
              </a:cxn>
              <a:cxn ang="0">
                <a:pos x="connsiteX40618" y="connsiteY40618"/>
              </a:cxn>
              <a:cxn ang="0">
                <a:pos x="connsiteX40619" y="connsiteY40619"/>
              </a:cxn>
              <a:cxn ang="0">
                <a:pos x="connsiteX40620" y="connsiteY40620"/>
              </a:cxn>
              <a:cxn ang="0">
                <a:pos x="connsiteX40621" y="connsiteY40621"/>
              </a:cxn>
              <a:cxn ang="0">
                <a:pos x="connsiteX40622" y="connsiteY40622"/>
              </a:cxn>
              <a:cxn ang="0">
                <a:pos x="connsiteX40623" y="connsiteY40623"/>
              </a:cxn>
              <a:cxn ang="0">
                <a:pos x="connsiteX40624" y="connsiteY40624"/>
              </a:cxn>
              <a:cxn ang="0">
                <a:pos x="connsiteX40625" y="connsiteY40625"/>
              </a:cxn>
              <a:cxn ang="0">
                <a:pos x="connsiteX40626" y="connsiteY40626"/>
              </a:cxn>
              <a:cxn ang="0">
                <a:pos x="connsiteX40627" y="connsiteY40627"/>
              </a:cxn>
              <a:cxn ang="0">
                <a:pos x="connsiteX40628" y="connsiteY40628"/>
              </a:cxn>
              <a:cxn ang="0">
                <a:pos x="connsiteX40629" y="connsiteY40629"/>
              </a:cxn>
              <a:cxn ang="0">
                <a:pos x="connsiteX40630" y="connsiteY40630"/>
              </a:cxn>
              <a:cxn ang="0">
                <a:pos x="connsiteX40631" y="connsiteY40631"/>
              </a:cxn>
              <a:cxn ang="0">
                <a:pos x="connsiteX40632" y="connsiteY40632"/>
              </a:cxn>
              <a:cxn ang="0">
                <a:pos x="connsiteX40633" y="connsiteY40633"/>
              </a:cxn>
              <a:cxn ang="0">
                <a:pos x="connsiteX40634" y="connsiteY40634"/>
              </a:cxn>
              <a:cxn ang="0">
                <a:pos x="connsiteX40635" y="connsiteY40635"/>
              </a:cxn>
              <a:cxn ang="0">
                <a:pos x="connsiteX40636" y="connsiteY40636"/>
              </a:cxn>
              <a:cxn ang="0">
                <a:pos x="connsiteX40637" y="connsiteY40637"/>
              </a:cxn>
              <a:cxn ang="0">
                <a:pos x="connsiteX40638" y="connsiteY40638"/>
              </a:cxn>
              <a:cxn ang="0">
                <a:pos x="connsiteX40639" y="connsiteY40639"/>
              </a:cxn>
              <a:cxn ang="0">
                <a:pos x="connsiteX40640" y="connsiteY40640"/>
              </a:cxn>
              <a:cxn ang="0">
                <a:pos x="connsiteX40641" y="connsiteY40641"/>
              </a:cxn>
              <a:cxn ang="0">
                <a:pos x="connsiteX40642" y="connsiteY40642"/>
              </a:cxn>
              <a:cxn ang="0">
                <a:pos x="connsiteX40643" y="connsiteY40643"/>
              </a:cxn>
              <a:cxn ang="0">
                <a:pos x="connsiteX40644" y="connsiteY40644"/>
              </a:cxn>
              <a:cxn ang="0">
                <a:pos x="connsiteX40645" y="connsiteY40645"/>
              </a:cxn>
              <a:cxn ang="0">
                <a:pos x="connsiteX40646" y="connsiteY40646"/>
              </a:cxn>
              <a:cxn ang="0">
                <a:pos x="connsiteX40647" y="connsiteY40647"/>
              </a:cxn>
              <a:cxn ang="0">
                <a:pos x="connsiteX40648" y="connsiteY40648"/>
              </a:cxn>
              <a:cxn ang="0">
                <a:pos x="connsiteX40649" y="connsiteY40649"/>
              </a:cxn>
              <a:cxn ang="0">
                <a:pos x="connsiteX40650" y="connsiteY40650"/>
              </a:cxn>
              <a:cxn ang="0">
                <a:pos x="connsiteX40651" y="connsiteY40651"/>
              </a:cxn>
              <a:cxn ang="0">
                <a:pos x="connsiteX40652" y="connsiteY40652"/>
              </a:cxn>
              <a:cxn ang="0">
                <a:pos x="connsiteX40653" y="connsiteY40653"/>
              </a:cxn>
              <a:cxn ang="0">
                <a:pos x="connsiteX40654" y="connsiteY40654"/>
              </a:cxn>
              <a:cxn ang="0">
                <a:pos x="connsiteX40655" y="connsiteY40655"/>
              </a:cxn>
              <a:cxn ang="0">
                <a:pos x="connsiteX40656" y="connsiteY40656"/>
              </a:cxn>
              <a:cxn ang="0">
                <a:pos x="connsiteX40657" y="connsiteY40657"/>
              </a:cxn>
              <a:cxn ang="0">
                <a:pos x="connsiteX40658" y="connsiteY40658"/>
              </a:cxn>
              <a:cxn ang="0">
                <a:pos x="connsiteX40659" y="connsiteY40659"/>
              </a:cxn>
              <a:cxn ang="0">
                <a:pos x="connsiteX40660" y="connsiteY40660"/>
              </a:cxn>
              <a:cxn ang="0">
                <a:pos x="connsiteX40661" y="connsiteY40661"/>
              </a:cxn>
              <a:cxn ang="0">
                <a:pos x="connsiteX40662" y="connsiteY40662"/>
              </a:cxn>
              <a:cxn ang="0">
                <a:pos x="connsiteX40663" y="connsiteY40663"/>
              </a:cxn>
              <a:cxn ang="0">
                <a:pos x="connsiteX40664" y="connsiteY40664"/>
              </a:cxn>
              <a:cxn ang="0">
                <a:pos x="connsiteX40665" y="connsiteY40665"/>
              </a:cxn>
              <a:cxn ang="0">
                <a:pos x="connsiteX40666" y="connsiteY40666"/>
              </a:cxn>
              <a:cxn ang="0">
                <a:pos x="connsiteX40667" y="connsiteY40667"/>
              </a:cxn>
              <a:cxn ang="0">
                <a:pos x="connsiteX40668" y="connsiteY40668"/>
              </a:cxn>
              <a:cxn ang="0">
                <a:pos x="connsiteX40669" y="connsiteY40669"/>
              </a:cxn>
              <a:cxn ang="0">
                <a:pos x="connsiteX40670" y="connsiteY40670"/>
              </a:cxn>
              <a:cxn ang="0">
                <a:pos x="connsiteX40671" y="connsiteY40671"/>
              </a:cxn>
              <a:cxn ang="0">
                <a:pos x="connsiteX40672" y="connsiteY40672"/>
              </a:cxn>
              <a:cxn ang="0">
                <a:pos x="connsiteX40673" y="connsiteY40673"/>
              </a:cxn>
              <a:cxn ang="0">
                <a:pos x="connsiteX40674" y="connsiteY40674"/>
              </a:cxn>
              <a:cxn ang="0">
                <a:pos x="connsiteX40675" y="connsiteY40675"/>
              </a:cxn>
              <a:cxn ang="0">
                <a:pos x="connsiteX40676" y="connsiteY40676"/>
              </a:cxn>
              <a:cxn ang="0">
                <a:pos x="connsiteX40677" y="connsiteY40677"/>
              </a:cxn>
              <a:cxn ang="0">
                <a:pos x="connsiteX40678" y="connsiteY40678"/>
              </a:cxn>
              <a:cxn ang="0">
                <a:pos x="connsiteX40679" y="connsiteY40679"/>
              </a:cxn>
              <a:cxn ang="0">
                <a:pos x="connsiteX40680" y="connsiteY40680"/>
              </a:cxn>
              <a:cxn ang="0">
                <a:pos x="connsiteX40681" y="connsiteY40681"/>
              </a:cxn>
              <a:cxn ang="0">
                <a:pos x="connsiteX40682" y="connsiteY40682"/>
              </a:cxn>
              <a:cxn ang="0">
                <a:pos x="connsiteX40683" y="connsiteY40683"/>
              </a:cxn>
              <a:cxn ang="0">
                <a:pos x="connsiteX40684" y="connsiteY40684"/>
              </a:cxn>
              <a:cxn ang="0">
                <a:pos x="connsiteX40685" y="connsiteY40685"/>
              </a:cxn>
              <a:cxn ang="0">
                <a:pos x="connsiteX40686" y="connsiteY40686"/>
              </a:cxn>
              <a:cxn ang="0">
                <a:pos x="connsiteX40687" y="connsiteY40687"/>
              </a:cxn>
              <a:cxn ang="0">
                <a:pos x="connsiteX40688" y="connsiteY40688"/>
              </a:cxn>
              <a:cxn ang="0">
                <a:pos x="connsiteX40689" y="connsiteY40689"/>
              </a:cxn>
              <a:cxn ang="0">
                <a:pos x="connsiteX40690" y="connsiteY40690"/>
              </a:cxn>
              <a:cxn ang="0">
                <a:pos x="connsiteX40691" y="connsiteY40691"/>
              </a:cxn>
              <a:cxn ang="0">
                <a:pos x="connsiteX40692" y="connsiteY40692"/>
              </a:cxn>
              <a:cxn ang="0">
                <a:pos x="connsiteX40693" y="connsiteY40693"/>
              </a:cxn>
              <a:cxn ang="0">
                <a:pos x="connsiteX40694" y="connsiteY40694"/>
              </a:cxn>
              <a:cxn ang="0">
                <a:pos x="connsiteX40695" y="connsiteY40695"/>
              </a:cxn>
              <a:cxn ang="0">
                <a:pos x="connsiteX40696" y="connsiteY40696"/>
              </a:cxn>
              <a:cxn ang="0">
                <a:pos x="connsiteX40697" y="connsiteY40697"/>
              </a:cxn>
              <a:cxn ang="0">
                <a:pos x="connsiteX40698" y="connsiteY40698"/>
              </a:cxn>
              <a:cxn ang="0">
                <a:pos x="connsiteX40699" y="connsiteY40699"/>
              </a:cxn>
              <a:cxn ang="0">
                <a:pos x="connsiteX40700" y="connsiteY40700"/>
              </a:cxn>
              <a:cxn ang="0">
                <a:pos x="connsiteX40701" y="connsiteY40701"/>
              </a:cxn>
              <a:cxn ang="0">
                <a:pos x="connsiteX40702" y="connsiteY40702"/>
              </a:cxn>
              <a:cxn ang="0">
                <a:pos x="connsiteX40703" y="connsiteY40703"/>
              </a:cxn>
              <a:cxn ang="0">
                <a:pos x="connsiteX40704" y="connsiteY40704"/>
              </a:cxn>
              <a:cxn ang="0">
                <a:pos x="connsiteX40705" y="connsiteY40705"/>
              </a:cxn>
              <a:cxn ang="0">
                <a:pos x="connsiteX40706" y="connsiteY40706"/>
              </a:cxn>
              <a:cxn ang="0">
                <a:pos x="connsiteX40707" y="connsiteY40707"/>
              </a:cxn>
              <a:cxn ang="0">
                <a:pos x="connsiteX40708" y="connsiteY40708"/>
              </a:cxn>
              <a:cxn ang="0">
                <a:pos x="connsiteX40709" y="connsiteY40709"/>
              </a:cxn>
              <a:cxn ang="0">
                <a:pos x="connsiteX40710" y="connsiteY40710"/>
              </a:cxn>
              <a:cxn ang="0">
                <a:pos x="connsiteX40711" y="connsiteY40711"/>
              </a:cxn>
              <a:cxn ang="0">
                <a:pos x="connsiteX40712" y="connsiteY40712"/>
              </a:cxn>
              <a:cxn ang="0">
                <a:pos x="connsiteX40713" y="connsiteY40713"/>
              </a:cxn>
              <a:cxn ang="0">
                <a:pos x="connsiteX40714" y="connsiteY40714"/>
              </a:cxn>
              <a:cxn ang="0">
                <a:pos x="connsiteX40715" y="connsiteY40715"/>
              </a:cxn>
              <a:cxn ang="0">
                <a:pos x="connsiteX40716" y="connsiteY40716"/>
              </a:cxn>
              <a:cxn ang="0">
                <a:pos x="connsiteX40717" y="connsiteY40717"/>
              </a:cxn>
              <a:cxn ang="0">
                <a:pos x="connsiteX40718" y="connsiteY40718"/>
              </a:cxn>
              <a:cxn ang="0">
                <a:pos x="connsiteX40719" y="connsiteY40719"/>
              </a:cxn>
              <a:cxn ang="0">
                <a:pos x="connsiteX40720" y="connsiteY40720"/>
              </a:cxn>
              <a:cxn ang="0">
                <a:pos x="connsiteX40721" y="connsiteY40721"/>
              </a:cxn>
              <a:cxn ang="0">
                <a:pos x="connsiteX40722" y="connsiteY40722"/>
              </a:cxn>
              <a:cxn ang="0">
                <a:pos x="connsiteX40723" y="connsiteY40723"/>
              </a:cxn>
              <a:cxn ang="0">
                <a:pos x="connsiteX40724" y="connsiteY40724"/>
              </a:cxn>
              <a:cxn ang="0">
                <a:pos x="connsiteX40725" y="connsiteY40725"/>
              </a:cxn>
              <a:cxn ang="0">
                <a:pos x="connsiteX40726" y="connsiteY40726"/>
              </a:cxn>
              <a:cxn ang="0">
                <a:pos x="connsiteX40727" y="connsiteY40727"/>
              </a:cxn>
              <a:cxn ang="0">
                <a:pos x="connsiteX40728" y="connsiteY40728"/>
              </a:cxn>
              <a:cxn ang="0">
                <a:pos x="connsiteX40729" y="connsiteY40729"/>
              </a:cxn>
              <a:cxn ang="0">
                <a:pos x="connsiteX40730" y="connsiteY40730"/>
              </a:cxn>
              <a:cxn ang="0">
                <a:pos x="connsiteX40731" y="connsiteY40731"/>
              </a:cxn>
              <a:cxn ang="0">
                <a:pos x="connsiteX40732" y="connsiteY40732"/>
              </a:cxn>
              <a:cxn ang="0">
                <a:pos x="connsiteX40733" y="connsiteY40733"/>
              </a:cxn>
              <a:cxn ang="0">
                <a:pos x="connsiteX40734" y="connsiteY40734"/>
              </a:cxn>
              <a:cxn ang="0">
                <a:pos x="connsiteX40735" y="connsiteY40735"/>
              </a:cxn>
              <a:cxn ang="0">
                <a:pos x="connsiteX40736" y="connsiteY40736"/>
              </a:cxn>
              <a:cxn ang="0">
                <a:pos x="connsiteX40737" y="connsiteY40737"/>
              </a:cxn>
              <a:cxn ang="0">
                <a:pos x="connsiteX40738" y="connsiteY40738"/>
              </a:cxn>
              <a:cxn ang="0">
                <a:pos x="connsiteX40739" y="connsiteY40739"/>
              </a:cxn>
              <a:cxn ang="0">
                <a:pos x="connsiteX40740" y="connsiteY40740"/>
              </a:cxn>
              <a:cxn ang="0">
                <a:pos x="connsiteX40741" y="connsiteY40741"/>
              </a:cxn>
              <a:cxn ang="0">
                <a:pos x="connsiteX40742" y="connsiteY40742"/>
              </a:cxn>
              <a:cxn ang="0">
                <a:pos x="connsiteX40743" y="connsiteY40743"/>
              </a:cxn>
              <a:cxn ang="0">
                <a:pos x="connsiteX40744" y="connsiteY40744"/>
              </a:cxn>
              <a:cxn ang="0">
                <a:pos x="connsiteX40745" y="connsiteY40745"/>
              </a:cxn>
              <a:cxn ang="0">
                <a:pos x="connsiteX40746" y="connsiteY40746"/>
              </a:cxn>
              <a:cxn ang="0">
                <a:pos x="connsiteX40747" y="connsiteY40747"/>
              </a:cxn>
              <a:cxn ang="0">
                <a:pos x="connsiteX40748" y="connsiteY40748"/>
              </a:cxn>
              <a:cxn ang="0">
                <a:pos x="connsiteX40749" y="connsiteY40749"/>
              </a:cxn>
              <a:cxn ang="0">
                <a:pos x="connsiteX40750" y="connsiteY40750"/>
              </a:cxn>
              <a:cxn ang="0">
                <a:pos x="connsiteX40751" y="connsiteY40751"/>
              </a:cxn>
              <a:cxn ang="0">
                <a:pos x="connsiteX40752" y="connsiteY40752"/>
              </a:cxn>
              <a:cxn ang="0">
                <a:pos x="connsiteX40753" y="connsiteY40753"/>
              </a:cxn>
              <a:cxn ang="0">
                <a:pos x="connsiteX40754" y="connsiteY40754"/>
              </a:cxn>
              <a:cxn ang="0">
                <a:pos x="connsiteX40755" y="connsiteY40755"/>
              </a:cxn>
              <a:cxn ang="0">
                <a:pos x="connsiteX40756" y="connsiteY40756"/>
              </a:cxn>
              <a:cxn ang="0">
                <a:pos x="connsiteX40757" y="connsiteY40757"/>
              </a:cxn>
              <a:cxn ang="0">
                <a:pos x="connsiteX40758" y="connsiteY40758"/>
              </a:cxn>
              <a:cxn ang="0">
                <a:pos x="connsiteX40759" y="connsiteY40759"/>
              </a:cxn>
              <a:cxn ang="0">
                <a:pos x="connsiteX40760" y="connsiteY40760"/>
              </a:cxn>
              <a:cxn ang="0">
                <a:pos x="connsiteX40761" y="connsiteY40761"/>
              </a:cxn>
              <a:cxn ang="0">
                <a:pos x="connsiteX40762" y="connsiteY40762"/>
              </a:cxn>
              <a:cxn ang="0">
                <a:pos x="connsiteX40763" y="connsiteY40763"/>
              </a:cxn>
              <a:cxn ang="0">
                <a:pos x="connsiteX40764" y="connsiteY40764"/>
              </a:cxn>
              <a:cxn ang="0">
                <a:pos x="connsiteX40765" y="connsiteY40765"/>
              </a:cxn>
              <a:cxn ang="0">
                <a:pos x="connsiteX40766" y="connsiteY40766"/>
              </a:cxn>
              <a:cxn ang="0">
                <a:pos x="connsiteX40767" y="connsiteY40767"/>
              </a:cxn>
              <a:cxn ang="0">
                <a:pos x="connsiteX40768" y="connsiteY40768"/>
              </a:cxn>
              <a:cxn ang="0">
                <a:pos x="connsiteX40769" y="connsiteY40769"/>
              </a:cxn>
              <a:cxn ang="0">
                <a:pos x="connsiteX40770" y="connsiteY40770"/>
              </a:cxn>
              <a:cxn ang="0">
                <a:pos x="connsiteX40771" y="connsiteY40771"/>
              </a:cxn>
              <a:cxn ang="0">
                <a:pos x="connsiteX40772" y="connsiteY40772"/>
              </a:cxn>
              <a:cxn ang="0">
                <a:pos x="connsiteX40773" y="connsiteY40773"/>
              </a:cxn>
              <a:cxn ang="0">
                <a:pos x="connsiteX40774" y="connsiteY40774"/>
              </a:cxn>
              <a:cxn ang="0">
                <a:pos x="connsiteX40775" y="connsiteY40775"/>
              </a:cxn>
              <a:cxn ang="0">
                <a:pos x="connsiteX40776" y="connsiteY40776"/>
              </a:cxn>
              <a:cxn ang="0">
                <a:pos x="connsiteX40777" y="connsiteY40777"/>
              </a:cxn>
              <a:cxn ang="0">
                <a:pos x="connsiteX40778" y="connsiteY40778"/>
              </a:cxn>
              <a:cxn ang="0">
                <a:pos x="connsiteX40779" y="connsiteY40779"/>
              </a:cxn>
              <a:cxn ang="0">
                <a:pos x="connsiteX40780" y="connsiteY40780"/>
              </a:cxn>
              <a:cxn ang="0">
                <a:pos x="connsiteX40781" y="connsiteY40781"/>
              </a:cxn>
              <a:cxn ang="0">
                <a:pos x="connsiteX40782" y="connsiteY40782"/>
              </a:cxn>
              <a:cxn ang="0">
                <a:pos x="connsiteX40783" y="connsiteY40783"/>
              </a:cxn>
              <a:cxn ang="0">
                <a:pos x="connsiteX40784" y="connsiteY40784"/>
              </a:cxn>
              <a:cxn ang="0">
                <a:pos x="connsiteX40785" y="connsiteY40785"/>
              </a:cxn>
              <a:cxn ang="0">
                <a:pos x="connsiteX40786" y="connsiteY40786"/>
              </a:cxn>
              <a:cxn ang="0">
                <a:pos x="connsiteX40787" y="connsiteY40787"/>
              </a:cxn>
              <a:cxn ang="0">
                <a:pos x="connsiteX40788" y="connsiteY40788"/>
              </a:cxn>
              <a:cxn ang="0">
                <a:pos x="connsiteX40789" y="connsiteY40789"/>
              </a:cxn>
              <a:cxn ang="0">
                <a:pos x="connsiteX40790" y="connsiteY40790"/>
              </a:cxn>
              <a:cxn ang="0">
                <a:pos x="connsiteX40791" y="connsiteY40791"/>
              </a:cxn>
              <a:cxn ang="0">
                <a:pos x="connsiteX40792" y="connsiteY40792"/>
              </a:cxn>
              <a:cxn ang="0">
                <a:pos x="connsiteX40793" y="connsiteY40793"/>
              </a:cxn>
              <a:cxn ang="0">
                <a:pos x="connsiteX40794" y="connsiteY40794"/>
              </a:cxn>
              <a:cxn ang="0">
                <a:pos x="connsiteX40795" y="connsiteY40795"/>
              </a:cxn>
              <a:cxn ang="0">
                <a:pos x="connsiteX40796" y="connsiteY40796"/>
              </a:cxn>
              <a:cxn ang="0">
                <a:pos x="connsiteX40797" y="connsiteY40797"/>
              </a:cxn>
              <a:cxn ang="0">
                <a:pos x="connsiteX40798" y="connsiteY40798"/>
              </a:cxn>
              <a:cxn ang="0">
                <a:pos x="connsiteX40799" y="connsiteY40799"/>
              </a:cxn>
              <a:cxn ang="0">
                <a:pos x="connsiteX40800" y="connsiteY40800"/>
              </a:cxn>
              <a:cxn ang="0">
                <a:pos x="connsiteX40801" y="connsiteY40801"/>
              </a:cxn>
              <a:cxn ang="0">
                <a:pos x="connsiteX40802" y="connsiteY40802"/>
              </a:cxn>
              <a:cxn ang="0">
                <a:pos x="connsiteX40803" y="connsiteY40803"/>
              </a:cxn>
              <a:cxn ang="0">
                <a:pos x="connsiteX40804" y="connsiteY40804"/>
              </a:cxn>
              <a:cxn ang="0">
                <a:pos x="connsiteX40805" y="connsiteY40805"/>
              </a:cxn>
              <a:cxn ang="0">
                <a:pos x="connsiteX40806" y="connsiteY40806"/>
              </a:cxn>
              <a:cxn ang="0">
                <a:pos x="connsiteX40807" y="connsiteY40807"/>
              </a:cxn>
              <a:cxn ang="0">
                <a:pos x="connsiteX40808" y="connsiteY40808"/>
              </a:cxn>
              <a:cxn ang="0">
                <a:pos x="connsiteX40809" y="connsiteY40809"/>
              </a:cxn>
              <a:cxn ang="0">
                <a:pos x="connsiteX40810" y="connsiteY40810"/>
              </a:cxn>
              <a:cxn ang="0">
                <a:pos x="connsiteX40811" y="connsiteY40811"/>
              </a:cxn>
              <a:cxn ang="0">
                <a:pos x="connsiteX40812" y="connsiteY40812"/>
              </a:cxn>
              <a:cxn ang="0">
                <a:pos x="connsiteX40813" y="connsiteY40813"/>
              </a:cxn>
              <a:cxn ang="0">
                <a:pos x="connsiteX40814" y="connsiteY40814"/>
              </a:cxn>
              <a:cxn ang="0">
                <a:pos x="connsiteX40815" y="connsiteY40815"/>
              </a:cxn>
              <a:cxn ang="0">
                <a:pos x="connsiteX40816" y="connsiteY40816"/>
              </a:cxn>
              <a:cxn ang="0">
                <a:pos x="connsiteX40817" y="connsiteY40817"/>
              </a:cxn>
              <a:cxn ang="0">
                <a:pos x="connsiteX40818" y="connsiteY40818"/>
              </a:cxn>
              <a:cxn ang="0">
                <a:pos x="connsiteX40819" y="connsiteY40819"/>
              </a:cxn>
              <a:cxn ang="0">
                <a:pos x="connsiteX40820" y="connsiteY40820"/>
              </a:cxn>
              <a:cxn ang="0">
                <a:pos x="connsiteX40821" y="connsiteY40821"/>
              </a:cxn>
              <a:cxn ang="0">
                <a:pos x="connsiteX40822" y="connsiteY40822"/>
              </a:cxn>
              <a:cxn ang="0">
                <a:pos x="connsiteX40823" y="connsiteY40823"/>
              </a:cxn>
              <a:cxn ang="0">
                <a:pos x="connsiteX40824" y="connsiteY40824"/>
              </a:cxn>
              <a:cxn ang="0">
                <a:pos x="connsiteX40825" y="connsiteY40825"/>
              </a:cxn>
              <a:cxn ang="0">
                <a:pos x="connsiteX40826" y="connsiteY40826"/>
              </a:cxn>
              <a:cxn ang="0">
                <a:pos x="connsiteX40827" y="connsiteY40827"/>
              </a:cxn>
              <a:cxn ang="0">
                <a:pos x="connsiteX40828" y="connsiteY40828"/>
              </a:cxn>
              <a:cxn ang="0">
                <a:pos x="connsiteX40829" y="connsiteY40829"/>
              </a:cxn>
              <a:cxn ang="0">
                <a:pos x="connsiteX40830" y="connsiteY40830"/>
              </a:cxn>
              <a:cxn ang="0">
                <a:pos x="connsiteX40831" y="connsiteY40831"/>
              </a:cxn>
              <a:cxn ang="0">
                <a:pos x="connsiteX40832" y="connsiteY40832"/>
              </a:cxn>
              <a:cxn ang="0">
                <a:pos x="connsiteX40833" y="connsiteY40833"/>
              </a:cxn>
              <a:cxn ang="0">
                <a:pos x="connsiteX40834" y="connsiteY40834"/>
              </a:cxn>
              <a:cxn ang="0">
                <a:pos x="connsiteX40835" y="connsiteY40835"/>
              </a:cxn>
              <a:cxn ang="0">
                <a:pos x="connsiteX40836" y="connsiteY40836"/>
              </a:cxn>
              <a:cxn ang="0">
                <a:pos x="connsiteX40837" y="connsiteY40837"/>
              </a:cxn>
              <a:cxn ang="0">
                <a:pos x="connsiteX40838" y="connsiteY40838"/>
              </a:cxn>
              <a:cxn ang="0">
                <a:pos x="connsiteX40839" y="connsiteY40839"/>
              </a:cxn>
              <a:cxn ang="0">
                <a:pos x="connsiteX40840" y="connsiteY40840"/>
              </a:cxn>
              <a:cxn ang="0">
                <a:pos x="connsiteX40841" y="connsiteY40841"/>
              </a:cxn>
              <a:cxn ang="0">
                <a:pos x="connsiteX40842" y="connsiteY40842"/>
              </a:cxn>
              <a:cxn ang="0">
                <a:pos x="connsiteX40843" y="connsiteY40843"/>
              </a:cxn>
              <a:cxn ang="0">
                <a:pos x="connsiteX40844" y="connsiteY40844"/>
              </a:cxn>
              <a:cxn ang="0">
                <a:pos x="connsiteX40845" y="connsiteY40845"/>
              </a:cxn>
              <a:cxn ang="0">
                <a:pos x="connsiteX40846" y="connsiteY40846"/>
              </a:cxn>
              <a:cxn ang="0">
                <a:pos x="connsiteX40847" y="connsiteY40847"/>
              </a:cxn>
              <a:cxn ang="0">
                <a:pos x="connsiteX40848" y="connsiteY40848"/>
              </a:cxn>
              <a:cxn ang="0">
                <a:pos x="connsiteX40849" y="connsiteY40849"/>
              </a:cxn>
              <a:cxn ang="0">
                <a:pos x="connsiteX40850" y="connsiteY40850"/>
              </a:cxn>
              <a:cxn ang="0">
                <a:pos x="connsiteX40851" y="connsiteY40851"/>
              </a:cxn>
              <a:cxn ang="0">
                <a:pos x="connsiteX40852" y="connsiteY40852"/>
              </a:cxn>
              <a:cxn ang="0">
                <a:pos x="connsiteX40853" y="connsiteY40853"/>
              </a:cxn>
              <a:cxn ang="0">
                <a:pos x="connsiteX40854" y="connsiteY40854"/>
              </a:cxn>
              <a:cxn ang="0">
                <a:pos x="connsiteX40855" y="connsiteY40855"/>
              </a:cxn>
              <a:cxn ang="0">
                <a:pos x="connsiteX40856" y="connsiteY40856"/>
              </a:cxn>
              <a:cxn ang="0">
                <a:pos x="connsiteX40857" y="connsiteY40857"/>
              </a:cxn>
              <a:cxn ang="0">
                <a:pos x="connsiteX40858" y="connsiteY40858"/>
              </a:cxn>
              <a:cxn ang="0">
                <a:pos x="connsiteX40859" y="connsiteY40859"/>
              </a:cxn>
              <a:cxn ang="0">
                <a:pos x="connsiteX40860" y="connsiteY40860"/>
              </a:cxn>
              <a:cxn ang="0">
                <a:pos x="connsiteX40861" y="connsiteY40861"/>
              </a:cxn>
              <a:cxn ang="0">
                <a:pos x="connsiteX40862" y="connsiteY40862"/>
              </a:cxn>
              <a:cxn ang="0">
                <a:pos x="connsiteX40863" y="connsiteY40863"/>
              </a:cxn>
              <a:cxn ang="0">
                <a:pos x="connsiteX40864" y="connsiteY40864"/>
              </a:cxn>
              <a:cxn ang="0">
                <a:pos x="connsiteX40865" y="connsiteY40865"/>
              </a:cxn>
              <a:cxn ang="0">
                <a:pos x="connsiteX40866" y="connsiteY40866"/>
              </a:cxn>
              <a:cxn ang="0">
                <a:pos x="connsiteX40867" y="connsiteY40867"/>
              </a:cxn>
              <a:cxn ang="0">
                <a:pos x="connsiteX40868" y="connsiteY40868"/>
              </a:cxn>
              <a:cxn ang="0">
                <a:pos x="connsiteX40869" y="connsiteY40869"/>
              </a:cxn>
              <a:cxn ang="0">
                <a:pos x="connsiteX40870" y="connsiteY40870"/>
              </a:cxn>
              <a:cxn ang="0">
                <a:pos x="connsiteX40871" y="connsiteY40871"/>
              </a:cxn>
              <a:cxn ang="0">
                <a:pos x="connsiteX40872" y="connsiteY40872"/>
              </a:cxn>
              <a:cxn ang="0">
                <a:pos x="connsiteX40873" y="connsiteY40873"/>
              </a:cxn>
              <a:cxn ang="0">
                <a:pos x="connsiteX40874" y="connsiteY40874"/>
              </a:cxn>
              <a:cxn ang="0">
                <a:pos x="connsiteX40875" y="connsiteY40875"/>
              </a:cxn>
              <a:cxn ang="0">
                <a:pos x="connsiteX40876" y="connsiteY40876"/>
              </a:cxn>
              <a:cxn ang="0">
                <a:pos x="connsiteX40877" y="connsiteY40877"/>
              </a:cxn>
              <a:cxn ang="0">
                <a:pos x="connsiteX40878" y="connsiteY40878"/>
              </a:cxn>
              <a:cxn ang="0">
                <a:pos x="connsiteX40879" y="connsiteY40879"/>
              </a:cxn>
              <a:cxn ang="0">
                <a:pos x="connsiteX40880" y="connsiteY40880"/>
              </a:cxn>
              <a:cxn ang="0">
                <a:pos x="connsiteX40881" y="connsiteY40881"/>
              </a:cxn>
              <a:cxn ang="0">
                <a:pos x="connsiteX40882" y="connsiteY40882"/>
              </a:cxn>
              <a:cxn ang="0">
                <a:pos x="connsiteX40883" y="connsiteY40883"/>
              </a:cxn>
              <a:cxn ang="0">
                <a:pos x="connsiteX40884" y="connsiteY40884"/>
              </a:cxn>
              <a:cxn ang="0">
                <a:pos x="connsiteX40885" y="connsiteY40885"/>
              </a:cxn>
              <a:cxn ang="0">
                <a:pos x="connsiteX40886" y="connsiteY40886"/>
              </a:cxn>
              <a:cxn ang="0">
                <a:pos x="connsiteX40887" y="connsiteY40887"/>
              </a:cxn>
              <a:cxn ang="0">
                <a:pos x="connsiteX40888" y="connsiteY40888"/>
              </a:cxn>
              <a:cxn ang="0">
                <a:pos x="connsiteX40889" y="connsiteY40889"/>
              </a:cxn>
              <a:cxn ang="0">
                <a:pos x="connsiteX40890" y="connsiteY40890"/>
              </a:cxn>
              <a:cxn ang="0">
                <a:pos x="connsiteX40891" y="connsiteY40891"/>
              </a:cxn>
              <a:cxn ang="0">
                <a:pos x="connsiteX40892" y="connsiteY40892"/>
              </a:cxn>
              <a:cxn ang="0">
                <a:pos x="connsiteX40893" y="connsiteY40893"/>
              </a:cxn>
              <a:cxn ang="0">
                <a:pos x="connsiteX40894" y="connsiteY40894"/>
              </a:cxn>
              <a:cxn ang="0">
                <a:pos x="connsiteX40895" y="connsiteY40895"/>
              </a:cxn>
              <a:cxn ang="0">
                <a:pos x="connsiteX40896" y="connsiteY40896"/>
              </a:cxn>
              <a:cxn ang="0">
                <a:pos x="connsiteX40897" y="connsiteY40897"/>
              </a:cxn>
              <a:cxn ang="0">
                <a:pos x="connsiteX40898" y="connsiteY40898"/>
              </a:cxn>
              <a:cxn ang="0">
                <a:pos x="connsiteX40899" y="connsiteY40899"/>
              </a:cxn>
              <a:cxn ang="0">
                <a:pos x="connsiteX40900" y="connsiteY40900"/>
              </a:cxn>
              <a:cxn ang="0">
                <a:pos x="connsiteX40901" y="connsiteY40901"/>
              </a:cxn>
              <a:cxn ang="0">
                <a:pos x="connsiteX40902" y="connsiteY40902"/>
              </a:cxn>
              <a:cxn ang="0">
                <a:pos x="connsiteX40903" y="connsiteY40903"/>
              </a:cxn>
              <a:cxn ang="0">
                <a:pos x="connsiteX40904" y="connsiteY40904"/>
              </a:cxn>
              <a:cxn ang="0">
                <a:pos x="connsiteX40905" y="connsiteY40905"/>
              </a:cxn>
              <a:cxn ang="0">
                <a:pos x="connsiteX40906" y="connsiteY40906"/>
              </a:cxn>
              <a:cxn ang="0">
                <a:pos x="connsiteX40907" y="connsiteY40907"/>
              </a:cxn>
              <a:cxn ang="0">
                <a:pos x="connsiteX40908" y="connsiteY40908"/>
              </a:cxn>
              <a:cxn ang="0">
                <a:pos x="connsiteX40909" y="connsiteY40909"/>
              </a:cxn>
              <a:cxn ang="0">
                <a:pos x="connsiteX40910" y="connsiteY40910"/>
              </a:cxn>
              <a:cxn ang="0">
                <a:pos x="connsiteX40911" y="connsiteY40911"/>
              </a:cxn>
              <a:cxn ang="0">
                <a:pos x="connsiteX40912" y="connsiteY40912"/>
              </a:cxn>
              <a:cxn ang="0">
                <a:pos x="connsiteX40913" y="connsiteY40913"/>
              </a:cxn>
              <a:cxn ang="0">
                <a:pos x="connsiteX40914" y="connsiteY40914"/>
              </a:cxn>
              <a:cxn ang="0">
                <a:pos x="connsiteX40915" y="connsiteY40915"/>
              </a:cxn>
              <a:cxn ang="0">
                <a:pos x="connsiteX40916" y="connsiteY40916"/>
              </a:cxn>
              <a:cxn ang="0">
                <a:pos x="connsiteX40917" y="connsiteY40917"/>
              </a:cxn>
              <a:cxn ang="0">
                <a:pos x="connsiteX40918" y="connsiteY40918"/>
              </a:cxn>
              <a:cxn ang="0">
                <a:pos x="connsiteX40919" y="connsiteY40919"/>
              </a:cxn>
              <a:cxn ang="0">
                <a:pos x="connsiteX40920" y="connsiteY40920"/>
              </a:cxn>
              <a:cxn ang="0">
                <a:pos x="connsiteX40921" y="connsiteY40921"/>
              </a:cxn>
              <a:cxn ang="0">
                <a:pos x="connsiteX40922" y="connsiteY40922"/>
              </a:cxn>
              <a:cxn ang="0">
                <a:pos x="connsiteX40923" y="connsiteY40923"/>
              </a:cxn>
              <a:cxn ang="0">
                <a:pos x="connsiteX40924" y="connsiteY40924"/>
              </a:cxn>
              <a:cxn ang="0">
                <a:pos x="connsiteX40925" y="connsiteY40925"/>
              </a:cxn>
              <a:cxn ang="0">
                <a:pos x="connsiteX40926" y="connsiteY40926"/>
              </a:cxn>
              <a:cxn ang="0">
                <a:pos x="connsiteX40927" y="connsiteY40927"/>
              </a:cxn>
              <a:cxn ang="0">
                <a:pos x="connsiteX40928" y="connsiteY40928"/>
              </a:cxn>
              <a:cxn ang="0">
                <a:pos x="connsiteX40929" y="connsiteY40929"/>
              </a:cxn>
              <a:cxn ang="0">
                <a:pos x="connsiteX40930" y="connsiteY40930"/>
              </a:cxn>
              <a:cxn ang="0">
                <a:pos x="connsiteX40931" y="connsiteY40931"/>
              </a:cxn>
              <a:cxn ang="0">
                <a:pos x="connsiteX40932" y="connsiteY40932"/>
              </a:cxn>
              <a:cxn ang="0">
                <a:pos x="connsiteX40933" y="connsiteY40933"/>
              </a:cxn>
              <a:cxn ang="0">
                <a:pos x="connsiteX40934" y="connsiteY40934"/>
              </a:cxn>
              <a:cxn ang="0">
                <a:pos x="connsiteX40935" y="connsiteY40935"/>
              </a:cxn>
              <a:cxn ang="0">
                <a:pos x="connsiteX40936" y="connsiteY40936"/>
              </a:cxn>
              <a:cxn ang="0">
                <a:pos x="connsiteX40937" y="connsiteY40937"/>
              </a:cxn>
              <a:cxn ang="0">
                <a:pos x="connsiteX40938" y="connsiteY40938"/>
              </a:cxn>
              <a:cxn ang="0">
                <a:pos x="connsiteX40939" y="connsiteY40939"/>
              </a:cxn>
              <a:cxn ang="0">
                <a:pos x="connsiteX40940" y="connsiteY40940"/>
              </a:cxn>
              <a:cxn ang="0">
                <a:pos x="connsiteX40941" y="connsiteY40941"/>
              </a:cxn>
              <a:cxn ang="0">
                <a:pos x="connsiteX40942" y="connsiteY40942"/>
              </a:cxn>
              <a:cxn ang="0">
                <a:pos x="connsiteX40943" y="connsiteY40943"/>
              </a:cxn>
              <a:cxn ang="0">
                <a:pos x="connsiteX40944" y="connsiteY40944"/>
              </a:cxn>
              <a:cxn ang="0">
                <a:pos x="connsiteX40945" y="connsiteY40945"/>
              </a:cxn>
              <a:cxn ang="0">
                <a:pos x="connsiteX40946" y="connsiteY40946"/>
              </a:cxn>
              <a:cxn ang="0">
                <a:pos x="connsiteX40947" y="connsiteY40947"/>
              </a:cxn>
              <a:cxn ang="0">
                <a:pos x="connsiteX40948" y="connsiteY40948"/>
              </a:cxn>
              <a:cxn ang="0">
                <a:pos x="connsiteX40949" y="connsiteY40949"/>
              </a:cxn>
              <a:cxn ang="0">
                <a:pos x="connsiteX40950" y="connsiteY40950"/>
              </a:cxn>
              <a:cxn ang="0">
                <a:pos x="connsiteX40951" y="connsiteY40951"/>
              </a:cxn>
              <a:cxn ang="0">
                <a:pos x="connsiteX40952" y="connsiteY40952"/>
              </a:cxn>
              <a:cxn ang="0">
                <a:pos x="connsiteX40953" y="connsiteY40953"/>
              </a:cxn>
              <a:cxn ang="0">
                <a:pos x="connsiteX40954" y="connsiteY40954"/>
              </a:cxn>
              <a:cxn ang="0">
                <a:pos x="connsiteX40955" y="connsiteY40955"/>
              </a:cxn>
              <a:cxn ang="0">
                <a:pos x="connsiteX40956" y="connsiteY40956"/>
              </a:cxn>
              <a:cxn ang="0">
                <a:pos x="connsiteX40957" y="connsiteY40957"/>
              </a:cxn>
              <a:cxn ang="0">
                <a:pos x="connsiteX40958" y="connsiteY40958"/>
              </a:cxn>
              <a:cxn ang="0">
                <a:pos x="connsiteX40959" y="connsiteY40959"/>
              </a:cxn>
              <a:cxn ang="0">
                <a:pos x="connsiteX40960" y="connsiteY40960"/>
              </a:cxn>
              <a:cxn ang="0">
                <a:pos x="connsiteX40961" y="connsiteY40961"/>
              </a:cxn>
              <a:cxn ang="0">
                <a:pos x="connsiteX40962" y="connsiteY40962"/>
              </a:cxn>
              <a:cxn ang="0">
                <a:pos x="connsiteX40963" y="connsiteY40963"/>
              </a:cxn>
              <a:cxn ang="0">
                <a:pos x="connsiteX40964" y="connsiteY40964"/>
              </a:cxn>
              <a:cxn ang="0">
                <a:pos x="connsiteX40965" y="connsiteY40965"/>
              </a:cxn>
              <a:cxn ang="0">
                <a:pos x="connsiteX40966" y="connsiteY40966"/>
              </a:cxn>
              <a:cxn ang="0">
                <a:pos x="connsiteX40967" y="connsiteY40967"/>
              </a:cxn>
              <a:cxn ang="0">
                <a:pos x="connsiteX40968" y="connsiteY40968"/>
              </a:cxn>
              <a:cxn ang="0">
                <a:pos x="connsiteX40969" y="connsiteY40969"/>
              </a:cxn>
              <a:cxn ang="0">
                <a:pos x="connsiteX40970" y="connsiteY40970"/>
              </a:cxn>
              <a:cxn ang="0">
                <a:pos x="connsiteX40971" y="connsiteY40971"/>
              </a:cxn>
              <a:cxn ang="0">
                <a:pos x="connsiteX40972" y="connsiteY40972"/>
              </a:cxn>
              <a:cxn ang="0">
                <a:pos x="connsiteX40973" y="connsiteY40973"/>
              </a:cxn>
              <a:cxn ang="0">
                <a:pos x="connsiteX40974" y="connsiteY40974"/>
              </a:cxn>
              <a:cxn ang="0">
                <a:pos x="connsiteX40975" y="connsiteY40975"/>
              </a:cxn>
              <a:cxn ang="0">
                <a:pos x="connsiteX40976" y="connsiteY40976"/>
              </a:cxn>
              <a:cxn ang="0">
                <a:pos x="connsiteX40977" y="connsiteY40977"/>
              </a:cxn>
              <a:cxn ang="0">
                <a:pos x="connsiteX40978" y="connsiteY40978"/>
              </a:cxn>
              <a:cxn ang="0">
                <a:pos x="connsiteX40979" y="connsiteY40979"/>
              </a:cxn>
              <a:cxn ang="0">
                <a:pos x="connsiteX40980" y="connsiteY40980"/>
              </a:cxn>
              <a:cxn ang="0">
                <a:pos x="connsiteX40981" y="connsiteY40981"/>
              </a:cxn>
              <a:cxn ang="0">
                <a:pos x="connsiteX40982" y="connsiteY40982"/>
              </a:cxn>
              <a:cxn ang="0">
                <a:pos x="connsiteX40983" y="connsiteY40983"/>
              </a:cxn>
              <a:cxn ang="0">
                <a:pos x="connsiteX40984" y="connsiteY40984"/>
              </a:cxn>
              <a:cxn ang="0">
                <a:pos x="connsiteX40985" y="connsiteY40985"/>
              </a:cxn>
              <a:cxn ang="0">
                <a:pos x="connsiteX40986" y="connsiteY40986"/>
              </a:cxn>
              <a:cxn ang="0">
                <a:pos x="connsiteX40987" y="connsiteY40987"/>
              </a:cxn>
              <a:cxn ang="0">
                <a:pos x="connsiteX40988" y="connsiteY40988"/>
              </a:cxn>
              <a:cxn ang="0">
                <a:pos x="connsiteX40989" y="connsiteY40989"/>
              </a:cxn>
              <a:cxn ang="0">
                <a:pos x="connsiteX40990" y="connsiteY40990"/>
              </a:cxn>
              <a:cxn ang="0">
                <a:pos x="connsiteX40991" y="connsiteY40991"/>
              </a:cxn>
              <a:cxn ang="0">
                <a:pos x="connsiteX40992" y="connsiteY40992"/>
              </a:cxn>
              <a:cxn ang="0">
                <a:pos x="connsiteX40993" y="connsiteY40993"/>
              </a:cxn>
              <a:cxn ang="0">
                <a:pos x="connsiteX40994" y="connsiteY40994"/>
              </a:cxn>
              <a:cxn ang="0">
                <a:pos x="connsiteX40995" y="connsiteY40995"/>
              </a:cxn>
              <a:cxn ang="0">
                <a:pos x="connsiteX40996" y="connsiteY40996"/>
              </a:cxn>
              <a:cxn ang="0">
                <a:pos x="connsiteX40997" y="connsiteY40997"/>
              </a:cxn>
              <a:cxn ang="0">
                <a:pos x="connsiteX40998" y="connsiteY40998"/>
              </a:cxn>
              <a:cxn ang="0">
                <a:pos x="connsiteX40999" y="connsiteY40999"/>
              </a:cxn>
              <a:cxn ang="0">
                <a:pos x="connsiteX41000" y="connsiteY41000"/>
              </a:cxn>
              <a:cxn ang="0">
                <a:pos x="connsiteX41001" y="connsiteY41001"/>
              </a:cxn>
              <a:cxn ang="0">
                <a:pos x="connsiteX41002" y="connsiteY41002"/>
              </a:cxn>
              <a:cxn ang="0">
                <a:pos x="connsiteX41003" y="connsiteY41003"/>
              </a:cxn>
              <a:cxn ang="0">
                <a:pos x="connsiteX41004" y="connsiteY41004"/>
              </a:cxn>
              <a:cxn ang="0">
                <a:pos x="connsiteX41005" y="connsiteY41005"/>
              </a:cxn>
              <a:cxn ang="0">
                <a:pos x="connsiteX41006" y="connsiteY41006"/>
              </a:cxn>
              <a:cxn ang="0">
                <a:pos x="connsiteX41007" y="connsiteY41007"/>
              </a:cxn>
              <a:cxn ang="0">
                <a:pos x="connsiteX41008" y="connsiteY41008"/>
              </a:cxn>
              <a:cxn ang="0">
                <a:pos x="connsiteX41009" y="connsiteY41009"/>
              </a:cxn>
              <a:cxn ang="0">
                <a:pos x="connsiteX41010" y="connsiteY41010"/>
              </a:cxn>
              <a:cxn ang="0">
                <a:pos x="connsiteX41011" y="connsiteY41011"/>
              </a:cxn>
              <a:cxn ang="0">
                <a:pos x="connsiteX41012" y="connsiteY41012"/>
              </a:cxn>
              <a:cxn ang="0">
                <a:pos x="connsiteX41013" y="connsiteY41013"/>
              </a:cxn>
              <a:cxn ang="0">
                <a:pos x="connsiteX41014" y="connsiteY41014"/>
              </a:cxn>
              <a:cxn ang="0">
                <a:pos x="connsiteX41015" y="connsiteY41015"/>
              </a:cxn>
              <a:cxn ang="0">
                <a:pos x="connsiteX41016" y="connsiteY41016"/>
              </a:cxn>
              <a:cxn ang="0">
                <a:pos x="connsiteX41017" y="connsiteY41017"/>
              </a:cxn>
              <a:cxn ang="0">
                <a:pos x="connsiteX41018" y="connsiteY41018"/>
              </a:cxn>
              <a:cxn ang="0">
                <a:pos x="connsiteX41019" y="connsiteY41019"/>
              </a:cxn>
              <a:cxn ang="0">
                <a:pos x="connsiteX41020" y="connsiteY41020"/>
              </a:cxn>
              <a:cxn ang="0">
                <a:pos x="connsiteX41021" y="connsiteY41021"/>
              </a:cxn>
              <a:cxn ang="0">
                <a:pos x="connsiteX41022" y="connsiteY41022"/>
              </a:cxn>
              <a:cxn ang="0">
                <a:pos x="connsiteX41023" y="connsiteY41023"/>
              </a:cxn>
              <a:cxn ang="0">
                <a:pos x="connsiteX41024" y="connsiteY41024"/>
              </a:cxn>
              <a:cxn ang="0">
                <a:pos x="connsiteX41025" y="connsiteY41025"/>
              </a:cxn>
              <a:cxn ang="0">
                <a:pos x="connsiteX41026" y="connsiteY41026"/>
              </a:cxn>
              <a:cxn ang="0">
                <a:pos x="connsiteX41027" y="connsiteY41027"/>
              </a:cxn>
              <a:cxn ang="0">
                <a:pos x="connsiteX41028" y="connsiteY41028"/>
              </a:cxn>
              <a:cxn ang="0">
                <a:pos x="connsiteX41029" y="connsiteY41029"/>
              </a:cxn>
              <a:cxn ang="0">
                <a:pos x="connsiteX41030" y="connsiteY41030"/>
              </a:cxn>
              <a:cxn ang="0">
                <a:pos x="connsiteX41031" y="connsiteY41031"/>
              </a:cxn>
              <a:cxn ang="0">
                <a:pos x="connsiteX41032" y="connsiteY41032"/>
              </a:cxn>
              <a:cxn ang="0">
                <a:pos x="connsiteX41033" y="connsiteY41033"/>
              </a:cxn>
              <a:cxn ang="0">
                <a:pos x="connsiteX41034" y="connsiteY41034"/>
              </a:cxn>
              <a:cxn ang="0">
                <a:pos x="connsiteX41035" y="connsiteY41035"/>
              </a:cxn>
              <a:cxn ang="0">
                <a:pos x="connsiteX41036" y="connsiteY41036"/>
              </a:cxn>
              <a:cxn ang="0">
                <a:pos x="connsiteX41037" y="connsiteY41037"/>
              </a:cxn>
              <a:cxn ang="0">
                <a:pos x="connsiteX41038" y="connsiteY41038"/>
              </a:cxn>
              <a:cxn ang="0">
                <a:pos x="connsiteX41039" y="connsiteY41039"/>
              </a:cxn>
              <a:cxn ang="0">
                <a:pos x="connsiteX41040" y="connsiteY41040"/>
              </a:cxn>
              <a:cxn ang="0">
                <a:pos x="connsiteX41041" y="connsiteY41041"/>
              </a:cxn>
              <a:cxn ang="0">
                <a:pos x="connsiteX41042" y="connsiteY41042"/>
              </a:cxn>
              <a:cxn ang="0">
                <a:pos x="connsiteX41043" y="connsiteY41043"/>
              </a:cxn>
              <a:cxn ang="0">
                <a:pos x="connsiteX41044" y="connsiteY41044"/>
              </a:cxn>
              <a:cxn ang="0">
                <a:pos x="connsiteX41045" y="connsiteY41045"/>
              </a:cxn>
              <a:cxn ang="0">
                <a:pos x="connsiteX41046" y="connsiteY41046"/>
              </a:cxn>
              <a:cxn ang="0">
                <a:pos x="connsiteX41047" y="connsiteY41047"/>
              </a:cxn>
              <a:cxn ang="0">
                <a:pos x="connsiteX41048" y="connsiteY41048"/>
              </a:cxn>
              <a:cxn ang="0">
                <a:pos x="connsiteX41049" y="connsiteY41049"/>
              </a:cxn>
              <a:cxn ang="0">
                <a:pos x="connsiteX41050" y="connsiteY41050"/>
              </a:cxn>
              <a:cxn ang="0">
                <a:pos x="connsiteX41051" y="connsiteY41051"/>
              </a:cxn>
              <a:cxn ang="0">
                <a:pos x="connsiteX41052" y="connsiteY41052"/>
              </a:cxn>
              <a:cxn ang="0">
                <a:pos x="connsiteX41053" y="connsiteY41053"/>
              </a:cxn>
              <a:cxn ang="0">
                <a:pos x="connsiteX41054" y="connsiteY41054"/>
              </a:cxn>
              <a:cxn ang="0">
                <a:pos x="connsiteX41055" y="connsiteY41055"/>
              </a:cxn>
              <a:cxn ang="0">
                <a:pos x="connsiteX41056" y="connsiteY41056"/>
              </a:cxn>
              <a:cxn ang="0">
                <a:pos x="connsiteX41057" y="connsiteY41057"/>
              </a:cxn>
              <a:cxn ang="0">
                <a:pos x="connsiteX41058" y="connsiteY41058"/>
              </a:cxn>
              <a:cxn ang="0">
                <a:pos x="connsiteX41059" y="connsiteY41059"/>
              </a:cxn>
              <a:cxn ang="0">
                <a:pos x="connsiteX41060" y="connsiteY41060"/>
              </a:cxn>
              <a:cxn ang="0">
                <a:pos x="connsiteX41061" y="connsiteY41061"/>
              </a:cxn>
              <a:cxn ang="0">
                <a:pos x="connsiteX41062" y="connsiteY41062"/>
              </a:cxn>
              <a:cxn ang="0">
                <a:pos x="connsiteX41063" y="connsiteY41063"/>
              </a:cxn>
              <a:cxn ang="0">
                <a:pos x="connsiteX41064" y="connsiteY41064"/>
              </a:cxn>
              <a:cxn ang="0">
                <a:pos x="connsiteX41065" y="connsiteY41065"/>
              </a:cxn>
              <a:cxn ang="0">
                <a:pos x="connsiteX41066" y="connsiteY41066"/>
              </a:cxn>
              <a:cxn ang="0">
                <a:pos x="connsiteX41067" y="connsiteY41067"/>
              </a:cxn>
              <a:cxn ang="0">
                <a:pos x="connsiteX41068" y="connsiteY41068"/>
              </a:cxn>
              <a:cxn ang="0">
                <a:pos x="connsiteX41069" y="connsiteY41069"/>
              </a:cxn>
              <a:cxn ang="0">
                <a:pos x="connsiteX41070" y="connsiteY41070"/>
              </a:cxn>
              <a:cxn ang="0">
                <a:pos x="connsiteX41071" y="connsiteY41071"/>
              </a:cxn>
              <a:cxn ang="0">
                <a:pos x="connsiteX41072" y="connsiteY41072"/>
              </a:cxn>
              <a:cxn ang="0">
                <a:pos x="connsiteX41073" y="connsiteY41073"/>
              </a:cxn>
              <a:cxn ang="0">
                <a:pos x="connsiteX41074" y="connsiteY41074"/>
              </a:cxn>
              <a:cxn ang="0">
                <a:pos x="connsiteX41075" y="connsiteY41075"/>
              </a:cxn>
              <a:cxn ang="0">
                <a:pos x="connsiteX41076" y="connsiteY41076"/>
              </a:cxn>
              <a:cxn ang="0">
                <a:pos x="connsiteX41077" y="connsiteY41077"/>
              </a:cxn>
              <a:cxn ang="0">
                <a:pos x="connsiteX41078" y="connsiteY41078"/>
              </a:cxn>
              <a:cxn ang="0">
                <a:pos x="connsiteX41079" y="connsiteY41079"/>
              </a:cxn>
              <a:cxn ang="0">
                <a:pos x="connsiteX41080" y="connsiteY41080"/>
              </a:cxn>
              <a:cxn ang="0">
                <a:pos x="connsiteX41081" y="connsiteY41081"/>
              </a:cxn>
              <a:cxn ang="0">
                <a:pos x="connsiteX41082" y="connsiteY41082"/>
              </a:cxn>
              <a:cxn ang="0">
                <a:pos x="connsiteX41083" y="connsiteY41083"/>
              </a:cxn>
              <a:cxn ang="0">
                <a:pos x="connsiteX41084" y="connsiteY41084"/>
              </a:cxn>
              <a:cxn ang="0">
                <a:pos x="connsiteX41085" y="connsiteY41085"/>
              </a:cxn>
              <a:cxn ang="0">
                <a:pos x="connsiteX41086" y="connsiteY41086"/>
              </a:cxn>
              <a:cxn ang="0">
                <a:pos x="connsiteX41087" y="connsiteY41087"/>
              </a:cxn>
              <a:cxn ang="0">
                <a:pos x="connsiteX41088" y="connsiteY41088"/>
              </a:cxn>
              <a:cxn ang="0">
                <a:pos x="connsiteX41089" y="connsiteY41089"/>
              </a:cxn>
              <a:cxn ang="0">
                <a:pos x="connsiteX41090" y="connsiteY41090"/>
              </a:cxn>
              <a:cxn ang="0">
                <a:pos x="connsiteX41091" y="connsiteY41091"/>
              </a:cxn>
              <a:cxn ang="0">
                <a:pos x="connsiteX41092" y="connsiteY41092"/>
              </a:cxn>
              <a:cxn ang="0">
                <a:pos x="connsiteX41093" y="connsiteY41093"/>
              </a:cxn>
              <a:cxn ang="0">
                <a:pos x="connsiteX41094" y="connsiteY41094"/>
              </a:cxn>
              <a:cxn ang="0">
                <a:pos x="connsiteX41095" y="connsiteY41095"/>
              </a:cxn>
              <a:cxn ang="0">
                <a:pos x="connsiteX41096" y="connsiteY41096"/>
              </a:cxn>
              <a:cxn ang="0">
                <a:pos x="connsiteX41097" y="connsiteY41097"/>
              </a:cxn>
              <a:cxn ang="0">
                <a:pos x="connsiteX41098" y="connsiteY41098"/>
              </a:cxn>
              <a:cxn ang="0">
                <a:pos x="connsiteX41099" y="connsiteY41099"/>
              </a:cxn>
              <a:cxn ang="0">
                <a:pos x="connsiteX41100" y="connsiteY41100"/>
              </a:cxn>
              <a:cxn ang="0">
                <a:pos x="connsiteX41101" y="connsiteY41101"/>
              </a:cxn>
              <a:cxn ang="0">
                <a:pos x="connsiteX41102" y="connsiteY41102"/>
              </a:cxn>
              <a:cxn ang="0">
                <a:pos x="connsiteX41103" y="connsiteY41103"/>
              </a:cxn>
              <a:cxn ang="0">
                <a:pos x="connsiteX41104" y="connsiteY41104"/>
              </a:cxn>
              <a:cxn ang="0">
                <a:pos x="connsiteX41105" y="connsiteY41105"/>
              </a:cxn>
              <a:cxn ang="0">
                <a:pos x="connsiteX41106" y="connsiteY41106"/>
              </a:cxn>
              <a:cxn ang="0">
                <a:pos x="connsiteX41107" y="connsiteY41107"/>
              </a:cxn>
              <a:cxn ang="0">
                <a:pos x="connsiteX41108" y="connsiteY41108"/>
              </a:cxn>
              <a:cxn ang="0">
                <a:pos x="connsiteX41109" y="connsiteY41109"/>
              </a:cxn>
              <a:cxn ang="0">
                <a:pos x="connsiteX41110" y="connsiteY41110"/>
              </a:cxn>
              <a:cxn ang="0">
                <a:pos x="connsiteX41111" y="connsiteY41111"/>
              </a:cxn>
              <a:cxn ang="0">
                <a:pos x="connsiteX41112" y="connsiteY41112"/>
              </a:cxn>
              <a:cxn ang="0">
                <a:pos x="connsiteX41113" y="connsiteY41113"/>
              </a:cxn>
              <a:cxn ang="0">
                <a:pos x="connsiteX41114" y="connsiteY41114"/>
              </a:cxn>
              <a:cxn ang="0">
                <a:pos x="connsiteX41115" y="connsiteY41115"/>
              </a:cxn>
              <a:cxn ang="0">
                <a:pos x="connsiteX41116" y="connsiteY41116"/>
              </a:cxn>
              <a:cxn ang="0">
                <a:pos x="connsiteX41117" y="connsiteY41117"/>
              </a:cxn>
              <a:cxn ang="0">
                <a:pos x="connsiteX41118" y="connsiteY41118"/>
              </a:cxn>
              <a:cxn ang="0">
                <a:pos x="connsiteX41119" y="connsiteY41119"/>
              </a:cxn>
              <a:cxn ang="0">
                <a:pos x="connsiteX41120" y="connsiteY41120"/>
              </a:cxn>
              <a:cxn ang="0">
                <a:pos x="connsiteX41121" y="connsiteY41121"/>
              </a:cxn>
              <a:cxn ang="0">
                <a:pos x="connsiteX41122" y="connsiteY41122"/>
              </a:cxn>
              <a:cxn ang="0">
                <a:pos x="connsiteX41123" y="connsiteY41123"/>
              </a:cxn>
              <a:cxn ang="0">
                <a:pos x="connsiteX41124" y="connsiteY41124"/>
              </a:cxn>
              <a:cxn ang="0">
                <a:pos x="connsiteX41125" y="connsiteY41125"/>
              </a:cxn>
              <a:cxn ang="0">
                <a:pos x="connsiteX41126" y="connsiteY41126"/>
              </a:cxn>
              <a:cxn ang="0">
                <a:pos x="connsiteX41127" y="connsiteY41127"/>
              </a:cxn>
              <a:cxn ang="0">
                <a:pos x="connsiteX41128" y="connsiteY41128"/>
              </a:cxn>
              <a:cxn ang="0">
                <a:pos x="connsiteX41129" y="connsiteY41129"/>
              </a:cxn>
              <a:cxn ang="0">
                <a:pos x="connsiteX41130" y="connsiteY41130"/>
              </a:cxn>
              <a:cxn ang="0">
                <a:pos x="connsiteX41131" y="connsiteY41131"/>
              </a:cxn>
              <a:cxn ang="0">
                <a:pos x="connsiteX41132" y="connsiteY41132"/>
              </a:cxn>
              <a:cxn ang="0">
                <a:pos x="connsiteX41133" y="connsiteY41133"/>
              </a:cxn>
              <a:cxn ang="0">
                <a:pos x="connsiteX41134" y="connsiteY41134"/>
              </a:cxn>
              <a:cxn ang="0">
                <a:pos x="connsiteX41135" y="connsiteY41135"/>
              </a:cxn>
              <a:cxn ang="0">
                <a:pos x="connsiteX41136" y="connsiteY41136"/>
              </a:cxn>
              <a:cxn ang="0">
                <a:pos x="connsiteX41137" y="connsiteY41137"/>
              </a:cxn>
              <a:cxn ang="0">
                <a:pos x="connsiteX41138" y="connsiteY41138"/>
              </a:cxn>
              <a:cxn ang="0">
                <a:pos x="connsiteX41139" y="connsiteY41139"/>
              </a:cxn>
              <a:cxn ang="0">
                <a:pos x="connsiteX41140" y="connsiteY41140"/>
              </a:cxn>
              <a:cxn ang="0">
                <a:pos x="connsiteX41141" y="connsiteY41141"/>
              </a:cxn>
              <a:cxn ang="0">
                <a:pos x="connsiteX41142" y="connsiteY41142"/>
              </a:cxn>
              <a:cxn ang="0">
                <a:pos x="connsiteX41143" y="connsiteY41143"/>
              </a:cxn>
              <a:cxn ang="0">
                <a:pos x="connsiteX41144" y="connsiteY41144"/>
              </a:cxn>
              <a:cxn ang="0">
                <a:pos x="connsiteX41145" y="connsiteY41145"/>
              </a:cxn>
              <a:cxn ang="0">
                <a:pos x="connsiteX41146" y="connsiteY41146"/>
              </a:cxn>
              <a:cxn ang="0">
                <a:pos x="connsiteX41147" y="connsiteY41147"/>
              </a:cxn>
              <a:cxn ang="0">
                <a:pos x="connsiteX41148" y="connsiteY41148"/>
              </a:cxn>
              <a:cxn ang="0">
                <a:pos x="connsiteX41149" y="connsiteY41149"/>
              </a:cxn>
              <a:cxn ang="0">
                <a:pos x="connsiteX41150" y="connsiteY41150"/>
              </a:cxn>
              <a:cxn ang="0">
                <a:pos x="connsiteX41151" y="connsiteY41151"/>
              </a:cxn>
              <a:cxn ang="0">
                <a:pos x="connsiteX41152" y="connsiteY41152"/>
              </a:cxn>
              <a:cxn ang="0">
                <a:pos x="connsiteX41153" y="connsiteY41153"/>
              </a:cxn>
              <a:cxn ang="0">
                <a:pos x="connsiteX41154" y="connsiteY41154"/>
              </a:cxn>
              <a:cxn ang="0">
                <a:pos x="connsiteX41155" y="connsiteY41155"/>
              </a:cxn>
              <a:cxn ang="0">
                <a:pos x="connsiteX41156" y="connsiteY41156"/>
              </a:cxn>
              <a:cxn ang="0">
                <a:pos x="connsiteX41157" y="connsiteY41157"/>
              </a:cxn>
              <a:cxn ang="0">
                <a:pos x="connsiteX41158" y="connsiteY41158"/>
              </a:cxn>
              <a:cxn ang="0">
                <a:pos x="connsiteX41159" y="connsiteY41159"/>
              </a:cxn>
              <a:cxn ang="0">
                <a:pos x="connsiteX41160" y="connsiteY41160"/>
              </a:cxn>
              <a:cxn ang="0">
                <a:pos x="connsiteX41161" y="connsiteY41161"/>
              </a:cxn>
              <a:cxn ang="0">
                <a:pos x="connsiteX41162" y="connsiteY41162"/>
              </a:cxn>
              <a:cxn ang="0">
                <a:pos x="connsiteX41163" y="connsiteY41163"/>
              </a:cxn>
              <a:cxn ang="0">
                <a:pos x="connsiteX41164" y="connsiteY41164"/>
              </a:cxn>
              <a:cxn ang="0">
                <a:pos x="connsiteX41165" y="connsiteY41165"/>
              </a:cxn>
              <a:cxn ang="0">
                <a:pos x="connsiteX41166" y="connsiteY41166"/>
              </a:cxn>
              <a:cxn ang="0">
                <a:pos x="connsiteX41167" y="connsiteY41167"/>
              </a:cxn>
              <a:cxn ang="0">
                <a:pos x="connsiteX41168" y="connsiteY41168"/>
              </a:cxn>
              <a:cxn ang="0">
                <a:pos x="connsiteX41169" y="connsiteY41169"/>
              </a:cxn>
              <a:cxn ang="0">
                <a:pos x="connsiteX41170" y="connsiteY41170"/>
              </a:cxn>
              <a:cxn ang="0">
                <a:pos x="connsiteX41171" y="connsiteY41171"/>
              </a:cxn>
              <a:cxn ang="0">
                <a:pos x="connsiteX41172" y="connsiteY41172"/>
              </a:cxn>
              <a:cxn ang="0">
                <a:pos x="connsiteX41173" y="connsiteY41173"/>
              </a:cxn>
              <a:cxn ang="0">
                <a:pos x="connsiteX41174" y="connsiteY41174"/>
              </a:cxn>
              <a:cxn ang="0">
                <a:pos x="connsiteX41175" y="connsiteY41175"/>
              </a:cxn>
              <a:cxn ang="0">
                <a:pos x="connsiteX41176" y="connsiteY41176"/>
              </a:cxn>
              <a:cxn ang="0">
                <a:pos x="connsiteX41177" y="connsiteY41177"/>
              </a:cxn>
              <a:cxn ang="0">
                <a:pos x="connsiteX41178" y="connsiteY41178"/>
              </a:cxn>
              <a:cxn ang="0">
                <a:pos x="connsiteX41179" y="connsiteY41179"/>
              </a:cxn>
              <a:cxn ang="0">
                <a:pos x="connsiteX41180" y="connsiteY41180"/>
              </a:cxn>
              <a:cxn ang="0">
                <a:pos x="connsiteX41181" y="connsiteY41181"/>
              </a:cxn>
              <a:cxn ang="0">
                <a:pos x="connsiteX41182" y="connsiteY41182"/>
              </a:cxn>
              <a:cxn ang="0">
                <a:pos x="connsiteX41183" y="connsiteY41183"/>
              </a:cxn>
              <a:cxn ang="0">
                <a:pos x="connsiteX41184" y="connsiteY41184"/>
              </a:cxn>
              <a:cxn ang="0">
                <a:pos x="connsiteX41185" y="connsiteY41185"/>
              </a:cxn>
              <a:cxn ang="0">
                <a:pos x="connsiteX41186" y="connsiteY41186"/>
              </a:cxn>
              <a:cxn ang="0">
                <a:pos x="connsiteX41187" y="connsiteY41187"/>
              </a:cxn>
              <a:cxn ang="0">
                <a:pos x="connsiteX41188" y="connsiteY41188"/>
              </a:cxn>
              <a:cxn ang="0">
                <a:pos x="connsiteX41189" y="connsiteY41189"/>
              </a:cxn>
              <a:cxn ang="0">
                <a:pos x="connsiteX41190" y="connsiteY41190"/>
              </a:cxn>
              <a:cxn ang="0">
                <a:pos x="connsiteX41191" y="connsiteY41191"/>
              </a:cxn>
              <a:cxn ang="0">
                <a:pos x="connsiteX41192" y="connsiteY41192"/>
              </a:cxn>
              <a:cxn ang="0">
                <a:pos x="connsiteX41193" y="connsiteY41193"/>
              </a:cxn>
              <a:cxn ang="0">
                <a:pos x="connsiteX41194" y="connsiteY41194"/>
              </a:cxn>
              <a:cxn ang="0">
                <a:pos x="connsiteX41195" y="connsiteY41195"/>
              </a:cxn>
              <a:cxn ang="0">
                <a:pos x="connsiteX41196" y="connsiteY41196"/>
              </a:cxn>
              <a:cxn ang="0">
                <a:pos x="connsiteX41197" y="connsiteY41197"/>
              </a:cxn>
              <a:cxn ang="0">
                <a:pos x="connsiteX41198" y="connsiteY41198"/>
              </a:cxn>
              <a:cxn ang="0">
                <a:pos x="connsiteX41199" y="connsiteY41199"/>
              </a:cxn>
              <a:cxn ang="0">
                <a:pos x="connsiteX41200" y="connsiteY41200"/>
              </a:cxn>
              <a:cxn ang="0">
                <a:pos x="connsiteX41201" y="connsiteY41201"/>
              </a:cxn>
              <a:cxn ang="0">
                <a:pos x="connsiteX41202" y="connsiteY41202"/>
              </a:cxn>
              <a:cxn ang="0">
                <a:pos x="connsiteX41203" y="connsiteY41203"/>
              </a:cxn>
              <a:cxn ang="0">
                <a:pos x="connsiteX41204" y="connsiteY41204"/>
              </a:cxn>
              <a:cxn ang="0">
                <a:pos x="connsiteX41205" y="connsiteY41205"/>
              </a:cxn>
              <a:cxn ang="0">
                <a:pos x="connsiteX41206" y="connsiteY41206"/>
              </a:cxn>
              <a:cxn ang="0">
                <a:pos x="connsiteX41207" y="connsiteY41207"/>
              </a:cxn>
              <a:cxn ang="0">
                <a:pos x="connsiteX41208" y="connsiteY41208"/>
              </a:cxn>
              <a:cxn ang="0">
                <a:pos x="connsiteX41209" y="connsiteY41209"/>
              </a:cxn>
              <a:cxn ang="0">
                <a:pos x="connsiteX41210" y="connsiteY41210"/>
              </a:cxn>
              <a:cxn ang="0">
                <a:pos x="connsiteX41211" y="connsiteY41211"/>
              </a:cxn>
              <a:cxn ang="0">
                <a:pos x="connsiteX41212" y="connsiteY41212"/>
              </a:cxn>
              <a:cxn ang="0">
                <a:pos x="connsiteX41213" y="connsiteY41213"/>
              </a:cxn>
              <a:cxn ang="0">
                <a:pos x="connsiteX41214" y="connsiteY41214"/>
              </a:cxn>
              <a:cxn ang="0">
                <a:pos x="connsiteX41215" y="connsiteY41215"/>
              </a:cxn>
              <a:cxn ang="0">
                <a:pos x="connsiteX41216" y="connsiteY41216"/>
              </a:cxn>
              <a:cxn ang="0">
                <a:pos x="connsiteX41217" y="connsiteY41217"/>
              </a:cxn>
              <a:cxn ang="0">
                <a:pos x="connsiteX41218" y="connsiteY41218"/>
              </a:cxn>
              <a:cxn ang="0">
                <a:pos x="connsiteX41219" y="connsiteY41219"/>
              </a:cxn>
              <a:cxn ang="0">
                <a:pos x="connsiteX41220" y="connsiteY41220"/>
              </a:cxn>
              <a:cxn ang="0">
                <a:pos x="connsiteX41221" y="connsiteY41221"/>
              </a:cxn>
              <a:cxn ang="0">
                <a:pos x="connsiteX41222" y="connsiteY41222"/>
              </a:cxn>
              <a:cxn ang="0">
                <a:pos x="connsiteX41223" y="connsiteY41223"/>
              </a:cxn>
              <a:cxn ang="0">
                <a:pos x="connsiteX41224" y="connsiteY41224"/>
              </a:cxn>
              <a:cxn ang="0">
                <a:pos x="connsiteX41225" y="connsiteY41225"/>
              </a:cxn>
              <a:cxn ang="0">
                <a:pos x="connsiteX41226" y="connsiteY41226"/>
              </a:cxn>
              <a:cxn ang="0">
                <a:pos x="connsiteX41227" y="connsiteY41227"/>
              </a:cxn>
              <a:cxn ang="0">
                <a:pos x="connsiteX41228" y="connsiteY41228"/>
              </a:cxn>
              <a:cxn ang="0">
                <a:pos x="connsiteX41229" y="connsiteY41229"/>
              </a:cxn>
              <a:cxn ang="0">
                <a:pos x="connsiteX41230" y="connsiteY41230"/>
              </a:cxn>
              <a:cxn ang="0">
                <a:pos x="connsiteX41231" y="connsiteY41231"/>
              </a:cxn>
              <a:cxn ang="0">
                <a:pos x="connsiteX41232" y="connsiteY41232"/>
              </a:cxn>
              <a:cxn ang="0">
                <a:pos x="connsiteX41233" y="connsiteY41233"/>
              </a:cxn>
              <a:cxn ang="0">
                <a:pos x="connsiteX41234" y="connsiteY41234"/>
              </a:cxn>
              <a:cxn ang="0">
                <a:pos x="connsiteX41235" y="connsiteY41235"/>
              </a:cxn>
              <a:cxn ang="0">
                <a:pos x="connsiteX41236" y="connsiteY41236"/>
              </a:cxn>
              <a:cxn ang="0">
                <a:pos x="connsiteX41237" y="connsiteY41237"/>
              </a:cxn>
              <a:cxn ang="0">
                <a:pos x="connsiteX41238" y="connsiteY41238"/>
              </a:cxn>
              <a:cxn ang="0">
                <a:pos x="connsiteX41239" y="connsiteY41239"/>
              </a:cxn>
              <a:cxn ang="0">
                <a:pos x="connsiteX41240" y="connsiteY41240"/>
              </a:cxn>
              <a:cxn ang="0">
                <a:pos x="connsiteX41241" y="connsiteY41241"/>
              </a:cxn>
              <a:cxn ang="0">
                <a:pos x="connsiteX41242" y="connsiteY41242"/>
              </a:cxn>
              <a:cxn ang="0">
                <a:pos x="connsiteX41243" y="connsiteY41243"/>
              </a:cxn>
              <a:cxn ang="0">
                <a:pos x="connsiteX41244" y="connsiteY41244"/>
              </a:cxn>
              <a:cxn ang="0">
                <a:pos x="connsiteX41245" y="connsiteY41245"/>
              </a:cxn>
              <a:cxn ang="0">
                <a:pos x="connsiteX41246" y="connsiteY41246"/>
              </a:cxn>
              <a:cxn ang="0">
                <a:pos x="connsiteX41247" y="connsiteY41247"/>
              </a:cxn>
              <a:cxn ang="0">
                <a:pos x="connsiteX41248" y="connsiteY41248"/>
              </a:cxn>
              <a:cxn ang="0">
                <a:pos x="connsiteX41249" y="connsiteY41249"/>
              </a:cxn>
              <a:cxn ang="0">
                <a:pos x="connsiteX41250" y="connsiteY41250"/>
              </a:cxn>
              <a:cxn ang="0">
                <a:pos x="connsiteX41251" y="connsiteY41251"/>
              </a:cxn>
              <a:cxn ang="0">
                <a:pos x="connsiteX41252" y="connsiteY41252"/>
              </a:cxn>
              <a:cxn ang="0">
                <a:pos x="connsiteX41253" y="connsiteY41253"/>
              </a:cxn>
              <a:cxn ang="0">
                <a:pos x="connsiteX41254" y="connsiteY41254"/>
              </a:cxn>
              <a:cxn ang="0">
                <a:pos x="connsiteX41255" y="connsiteY41255"/>
              </a:cxn>
              <a:cxn ang="0">
                <a:pos x="connsiteX41256" y="connsiteY41256"/>
              </a:cxn>
              <a:cxn ang="0">
                <a:pos x="connsiteX41257" y="connsiteY41257"/>
              </a:cxn>
              <a:cxn ang="0">
                <a:pos x="connsiteX41258" y="connsiteY41258"/>
              </a:cxn>
              <a:cxn ang="0">
                <a:pos x="connsiteX41259" y="connsiteY41259"/>
              </a:cxn>
              <a:cxn ang="0">
                <a:pos x="connsiteX41260" y="connsiteY41260"/>
              </a:cxn>
              <a:cxn ang="0">
                <a:pos x="connsiteX41261" y="connsiteY41261"/>
              </a:cxn>
              <a:cxn ang="0">
                <a:pos x="connsiteX41262" y="connsiteY41262"/>
              </a:cxn>
              <a:cxn ang="0">
                <a:pos x="connsiteX41263" y="connsiteY41263"/>
              </a:cxn>
              <a:cxn ang="0">
                <a:pos x="connsiteX41264" y="connsiteY41264"/>
              </a:cxn>
              <a:cxn ang="0">
                <a:pos x="connsiteX41265" y="connsiteY41265"/>
              </a:cxn>
              <a:cxn ang="0">
                <a:pos x="connsiteX41266" y="connsiteY41266"/>
              </a:cxn>
              <a:cxn ang="0">
                <a:pos x="connsiteX41267" y="connsiteY41267"/>
              </a:cxn>
              <a:cxn ang="0">
                <a:pos x="connsiteX41268" y="connsiteY41268"/>
              </a:cxn>
              <a:cxn ang="0">
                <a:pos x="connsiteX41269" y="connsiteY41269"/>
              </a:cxn>
              <a:cxn ang="0">
                <a:pos x="connsiteX41270" y="connsiteY41270"/>
              </a:cxn>
              <a:cxn ang="0">
                <a:pos x="connsiteX41271" y="connsiteY41271"/>
              </a:cxn>
              <a:cxn ang="0">
                <a:pos x="connsiteX41272" y="connsiteY41272"/>
              </a:cxn>
              <a:cxn ang="0">
                <a:pos x="connsiteX41273" y="connsiteY41273"/>
              </a:cxn>
              <a:cxn ang="0">
                <a:pos x="connsiteX41274" y="connsiteY41274"/>
              </a:cxn>
              <a:cxn ang="0">
                <a:pos x="connsiteX41275" y="connsiteY41275"/>
              </a:cxn>
              <a:cxn ang="0">
                <a:pos x="connsiteX41276" y="connsiteY41276"/>
              </a:cxn>
              <a:cxn ang="0">
                <a:pos x="connsiteX41277" y="connsiteY41277"/>
              </a:cxn>
              <a:cxn ang="0">
                <a:pos x="connsiteX41278" y="connsiteY41278"/>
              </a:cxn>
              <a:cxn ang="0">
                <a:pos x="connsiteX41279" y="connsiteY41279"/>
              </a:cxn>
              <a:cxn ang="0">
                <a:pos x="connsiteX41280" y="connsiteY41280"/>
              </a:cxn>
              <a:cxn ang="0">
                <a:pos x="connsiteX41281" y="connsiteY41281"/>
              </a:cxn>
              <a:cxn ang="0">
                <a:pos x="connsiteX41282" y="connsiteY41282"/>
              </a:cxn>
              <a:cxn ang="0">
                <a:pos x="connsiteX41283" y="connsiteY41283"/>
              </a:cxn>
              <a:cxn ang="0">
                <a:pos x="connsiteX41284" y="connsiteY41284"/>
              </a:cxn>
              <a:cxn ang="0">
                <a:pos x="connsiteX41285" y="connsiteY41285"/>
              </a:cxn>
              <a:cxn ang="0">
                <a:pos x="connsiteX41286" y="connsiteY41286"/>
              </a:cxn>
              <a:cxn ang="0">
                <a:pos x="connsiteX41287" y="connsiteY41287"/>
              </a:cxn>
              <a:cxn ang="0">
                <a:pos x="connsiteX41288" y="connsiteY41288"/>
              </a:cxn>
              <a:cxn ang="0">
                <a:pos x="connsiteX41289" y="connsiteY41289"/>
              </a:cxn>
              <a:cxn ang="0">
                <a:pos x="connsiteX41290" y="connsiteY41290"/>
              </a:cxn>
              <a:cxn ang="0">
                <a:pos x="connsiteX41291" y="connsiteY41291"/>
              </a:cxn>
              <a:cxn ang="0">
                <a:pos x="connsiteX41292" y="connsiteY41292"/>
              </a:cxn>
              <a:cxn ang="0">
                <a:pos x="connsiteX41293" y="connsiteY41293"/>
              </a:cxn>
              <a:cxn ang="0">
                <a:pos x="connsiteX41294" y="connsiteY41294"/>
              </a:cxn>
              <a:cxn ang="0">
                <a:pos x="connsiteX41295" y="connsiteY41295"/>
              </a:cxn>
              <a:cxn ang="0">
                <a:pos x="connsiteX41296" y="connsiteY41296"/>
              </a:cxn>
              <a:cxn ang="0">
                <a:pos x="connsiteX41297" y="connsiteY41297"/>
              </a:cxn>
              <a:cxn ang="0">
                <a:pos x="connsiteX41298" y="connsiteY41298"/>
              </a:cxn>
              <a:cxn ang="0">
                <a:pos x="connsiteX41299" y="connsiteY41299"/>
              </a:cxn>
              <a:cxn ang="0">
                <a:pos x="connsiteX41300" y="connsiteY41300"/>
              </a:cxn>
              <a:cxn ang="0">
                <a:pos x="connsiteX41301" y="connsiteY41301"/>
              </a:cxn>
              <a:cxn ang="0">
                <a:pos x="connsiteX41302" y="connsiteY41302"/>
              </a:cxn>
              <a:cxn ang="0">
                <a:pos x="connsiteX41303" y="connsiteY41303"/>
              </a:cxn>
              <a:cxn ang="0">
                <a:pos x="connsiteX41304" y="connsiteY41304"/>
              </a:cxn>
              <a:cxn ang="0">
                <a:pos x="connsiteX41305" y="connsiteY41305"/>
              </a:cxn>
              <a:cxn ang="0">
                <a:pos x="connsiteX41306" y="connsiteY41306"/>
              </a:cxn>
              <a:cxn ang="0">
                <a:pos x="connsiteX41307" y="connsiteY41307"/>
              </a:cxn>
              <a:cxn ang="0">
                <a:pos x="connsiteX41308" y="connsiteY41308"/>
              </a:cxn>
              <a:cxn ang="0">
                <a:pos x="connsiteX41309" y="connsiteY41309"/>
              </a:cxn>
              <a:cxn ang="0">
                <a:pos x="connsiteX41310" y="connsiteY41310"/>
              </a:cxn>
              <a:cxn ang="0">
                <a:pos x="connsiteX41311" y="connsiteY41311"/>
              </a:cxn>
              <a:cxn ang="0">
                <a:pos x="connsiteX41312" y="connsiteY41312"/>
              </a:cxn>
              <a:cxn ang="0">
                <a:pos x="connsiteX41313" y="connsiteY41313"/>
              </a:cxn>
              <a:cxn ang="0">
                <a:pos x="connsiteX41314" y="connsiteY41314"/>
              </a:cxn>
              <a:cxn ang="0">
                <a:pos x="connsiteX41315" y="connsiteY41315"/>
              </a:cxn>
              <a:cxn ang="0">
                <a:pos x="connsiteX41316" y="connsiteY41316"/>
              </a:cxn>
              <a:cxn ang="0">
                <a:pos x="connsiteX41317" y="connsiteY41317"/>
              </a:cxn>
              <a:cxn ang="0">
                <a:pos x="connsiteX41318" y="connsiteY41318"/>
              </a:cxn>
              <a:cxn ang="0">
                <a:pos x="connsiteX41319" y="connsiteY41319"/>
              </a:cxn>
              <a:cxn ang="0">
                <a:pos x="connsiteX41320" y="connsiteY41320"/>
              </a:cxn>
              <a:cxn ang="0">
                <a:pos x="connsiteX41321" y="connsiteY41321"/>
              </a:cxn>
              <a:cxn ang="0">
                <a:pos x="connsiteX41322" y="connsiteY41322"/>
              </a:cxn>
              <a:cxn ang="0">
                <a:pos x="connsiteX41323" y="connsiteY41323"/>
              </a:cxn>
              <a:cxn ang="0">
                <a:pos x="connsiteX41324" y="connsiteY41324"/>
              </a:cxn>
              <a:cxn ang="0">
                <a:pos x="connsiteX41325" y="connsiteY41325"/>
              </a:cxn>
              <a:cxn ang="0">
                <a:pos x="connsiteX41326" y="connsiteY41326"/>
              </a:cxn>
              <a:cxn ang="0">
                <a:pos x="connsiteX41327" y="connsiteY41327"/>
              </a:cxn>
              <a:cxn ang="0">
                <a:pos x="connsiteX41328" y="connsiteY41328"/>
              </a:cxn>
              <a:cxn ang="0">
                <a:pos x="connsiteX41329" y="connsiteY41329"/>
              </a:cxn>
              <a:cxn ang="0">
                <a:pos x="connsiteX41330" y="connsiteY41330"/>
              </a:cxn>
              <a:cxn ang="0">
                <a:pos x="connsiteX41331" y="connsiteY41331"/>
              </a:cxn>
              <a:cxn ang="0">
                <a:pos x="connsiteX41332" y="connsiteY41332"/>
              </a:cxn>
              <a:cxn ang="0">
                <a:pos x="connsiteX41333" y="connsiteY41333"/>
              </a:cxn>
              <a:cxn ang="0">
                <a:pos x="connsiteX41334" y="connsiteY41334"/>
              </a:cxn>
              <a:cxn ang="0">
                <a:pos x="connsiteX41335" y="connsiteY41335"/>
              </a:cxn>
              <a:cxn ang="0">
                <a:pos x="connsiteX41336" y="connsiteY41336"/>
              </a:cxn>
              <a:cxn ang="0">
                <a:pos x="connsiteX41337" y="connsiteY41337"/>
              </a:cxn>
              <a:cxn ang="0">
                <a:pos x="connsiteX41338" y="connsiteY41338"/>
              </a:cxn>
              <a:cxn ang="0">
                <a:pos x="connsiteX41339" y="connsiteY41339"/>
              </a:cxn>
              <a:cxn ang="0">
                <a:pos x="connsiteX41340" y="connsiteY41340"/>
              </a:cxn>
              <a:cxn ang="0">
                <a:pos x="connsiteX41341" y="connsiteY41341"/>
              </a:cxn>
              <a:cxn ang="0">
                <a:pos x="connsiteX41342" y="connsiteY41342"/>
              </a:cxn>
              <a:cxn ang="0">
                <a:pos x="connsiteX41343" y="connsiteY41343"/>
              </a:cxn>
              <a:cxn ang="0">
                <a:pos x="connsiteX41344" y="connsiteY41344"/>
              </a:cxn>
              <a:cxn ang="0">
                <a:pos x="connsiteX41345" y="connsiteY41345"/>
              </a:cxn>
              <a:cxn ang="0">
                <a:pos x="connsiteX41346" y="connsiteY41346"/>
              </a:cxn>
              <a:cxn ang="0">
                <a:pos x="connsiteX41347" y="connsiteY41347"/>
              </a:cxn>
              <a:cxn ang="0">
                <a:pos x="connsiteX41348" y="connsiteY41348"/>
              </a:cxn>
              <a:cxn ang="0">
                <a:pos x="connsiteX41349" y="connsiteY41349"/>
              </a:cxn>
              <a:cxn ang="0">
                <a:pos x="connsiteX41350" y="connsiteY41350"/>
              </a:cxn>
              <a:cxn ang="0">
                <a:pos x="connsiteX41351" y="connsiteY41351"/>
              </a:cxn>
              <a:cxn ang="0">
                <a:pos x="connsiteX41352" y="connsiteY41352"/>
              </a:cxn>
              <a:cxn ang="0">
                <a:pos x="connsiteX41353" y="connsiteY41353"/>
              </a:cxn>
              <a:cxn ang="0">
                <a:pos x="connsiteX41354" y="connsiteY41354"/>
              </a:cxn>
              <a:cxn ang="0">
                <a:pos x="connsiteX41355" y="connsiteY41355"/>
              </a:cxn>
              <a:cxn ang="0">
                <a:pos x="connsiteX41356" y="connsiteY41356"/>
              </a:cxn>
              <a:cxn ang="0">
                <a:pos x="connsiteX41357" y="connsiteY41357"/>
              </a:cxn>
              <a:cxn ang="0">
                <a:pos x="connsiteX41358" y="connsiteY41358"/>
              </a:cxn>
              <a:cxn ang="0">
                <a:pos x="connsiteX41359" y="connsiteY41359"/>
              </a:cxn>
              <a:cxn ang="0">
                <a:pos x="connsiteX41360" y="connsiteY41360"/>
              </a:cxn>
              <a:cxn ang="0">
                <a:pos x="connsiteX41361" y="connsiteY41361"/>
              </a:cxn>
              <a:cxn ang="0">
                <a:pos x="connsiteX41362" y="connsiteY41362"/>
              </a:cxn>
              <a:cxn ang="0">
                <a:pos x="connsiteX41363" y="connsiteY41363"/>
              </a:cxn>
              <a:cxn ang="0">
                <a:pos x="connsiteX41364" y="connsiteY41364"/>
              </a:cxn>
              <a:cxn ang="0">
                <a:pos x="connsiteX41365" y="connsiteY41365"/>
              </a:cxn>
              <a:cxn ang="0">
                <a:pos x="connsiteX41366" y="connsiteY41366"/>
              </a:cxn>
              <a:cxn ang="0">
                <a:pos x="connsiteX41367" y="connsiteY41367"/>
              </a:cxn>
              <a:cxn ang="0">
                <a:pos x="connsiteX41368" y="connsiteY41368"/>
              </a:cxn>
              <a:cxn ang="0">
                <a:pos x="connsiteX41369" y="connsiteY41369"/>
              </a:cxn>
              <a:cxn ang="0">
                <a:pos x="connsiteX41370" y="connsiteY41370"/>
              </a:cxn>
              <a:cxn ang="0">
                <a:pos x="connsiteX41371" y="connsiteY41371"/>
              </a:cxn>
              <a:cxn ang="0">
                <a:pos x="connsiteX41372" y="connsiteY41372"/>
              </a:cxn>
              <a:cxn ang="0">
                <a:pos x="connsiteX41373" y="connsiteY41373"/>
              </a:cxn>
              <a:cxn ang="0">
                <a:pos x="connsiteX41374" y="connsiteY41374"/>
              </a:cxn>
              <a:cxn ang="0">
                <a:pos x="connsiteX41375" y="connsiteY41375"/>
              </a:cxn>
              <a:cxn ang="0">
                <a:pos x="connsiteX41376" y="connsiteY41376"/>
              </a:cxn>
              <a:cxn ang="0">
                <a:pos x="connsiteX41377" y="connsiteY41377"/>
              </a:cxn>
              <a:cxn ang="0">
                <a:pos x="connsiteX41378" y="connsiteY41378"/>
              </a:cxn>
              <a:cxn ang="0">
                <a:pos x="connsiteX41379" y="connsiteY41379"/>
              </a:cxn>
              <a:cxn ang="0">
                <a:pos x="connsiteX41380" y="connsiteY41380"/>
              </a:cxn>
              <a:cxn ang="0">
                <a:pos x="connsiteX41381" y="connsiteY41381"/>
              </a:cxn>
              <a:cxn ang="0">
                <a:pos x="connsiteX41382" y="connsiteY41382"/>
              </a:cxn>
              <a:cxn ang="0">
                <a:pos x="connsiteX41383" y="connsiteY41383"/>
              </a:cxn>
              <a:cxn ang="0">
                <a:pos x="connsiteX41384" y="connsiteY41384"/>
              </a:cxn>
              <a:cxn ang="0">
                <a:pos x="connsiteX41385" y="connsiteY41385"/>
              </a:cxn>
              <a:cxn ang="0">
                <a:pos x="connsiteX41386" y="connsiteY41386"/>
              </a:cxn>
              <a:cxn ang="0">
                <a:pos x="connsiteX41387" y="connsiteY41387"/>
              </a:cxn>
              <a:cxn ang="0">
                <a:pos x="connsiteX41388" y="connsiteY41388"/>
              </a:cxn>
              <a:cxn ang="0">
                <a:pos x="connsiteX41389" y="connsiteY41389"/>
              </a:cxn>
              <a:cxn ang="0">
                <a:pos x="connsiteX41390" y="connsiteY41390"/>
              </a:cxn>
              <a:cxn ang="0">
                <a:pos x="connsiteX41391" y="connsiteY41391"/>
              </a:cxn>
              <a:cxn ang="0">
                <a:pos x="connsiteX41392" y="connsiteY41392"/>
              </a:cxn>
              <a:cxn ang="0">
                <a:pos x="connsiteX41393" y="connsiteY41393"/>
              </a:cxn>
              <a:cxn ang="0">
                <a:pos x="connsiteX41394" y="connsiteY41394"/>
              </a:cxn>
              <a:cxn ang="0">
                <a:pos x="connsiteX41395" y="connsiteY41395"/>
              </a:cxn>
              <a:cxn ang="0">
                <a:pos x="connsiteX41396" y="connsiteY41396"/>
              </a:cxn>
              <a:cxn ang="0">
                <a:pos x="connsiteX41397" y="connsiteY41397"/>
              </a:cxn>
              <a:cxn ang="0">
                <a:pos x="connsiteX41398" y="connsiteY41398"/>
              </a:cxn>
              <a:cxn ang="0">
                <a:pos x="connsiteX41399" y="connsiteY41399"/>
              </a:cxn>
              <a:cxn ang="0">
                <a:pos x="connsiteX41400" y="connsiteY41400"/>
              </a:cxn>
              <a:cxn ang="0">
                <a:pos x="connsiteX41401" y="connsiteY41401"/>
              </a:cxn>
              <a:cxn ang="0">
                <a:pos x="connsiteX41402" y="connsiteY41402"/>
              </a:cxn>
              <a:cxn ang="0">
                <a:pos x="connsiteX41403" y="connsiteY41403"/>
              </a:cxn>
              <a:cxn ang="0">
                <a:pos x="connsiteX41404" y="connsiteY41404"/>
              </a:cxn>
              <a:cxn ang="0">
                <a:pos x="connsiteX41405" y="connsiteY41405"/>
              </a:cxn>
              <a:cxn ang="0">
                <a:pos x="connsiteX41406" y="connsiteY41406"/>
              </a:cxn>
              <a:cxn ang="0">
                <a:pos x="connsiteX41407" y="connsiteY41407"/>
              </a:cxn>
              <a:cxn ang="0">
                <a:pos x="connsiteX41408" y="connsiteY41408"/>
              </a:cxn>
              <a:cxn ang="0">
                <a:pos x="connsiteX41409" y="connsiteY41409"/>
              </a:cxn>
              <a:cxn ang="0">
                <a:pos x="connsiteX41410" y="connsiteY41410"/>
              </a:cxn>
              <a:cxn ang="0">
                <a:pos x="connsiteX41411" y="connsiteY41411"/>
              </a:cxn>
              <a:cxn ang="0">
                <a:pos x="connsiteX41412" y="connsiteY41412"/>
              </a:cxn>
              <a:cxn ang="0">
                <a:pos x="connsiteX41413" y="connsiteY41413"/>
              </a:cxn>
              <a:cxn ang="0">
                <a:pos x="connsiteX41414" y="connsiteY41414"/>
              </a:cxn>
              <a:cxn ang="0">
                <a:pos x="connsiteX41415" y="connsiteY41415"/>
              </a:cxn>
              <a:cxn ang="0">
                <a:pos x="connsiteX41416" y="connsiteY41416"/>
              </a:cxn>
              <a:cxn ang="0">
                <a:pos x="connsiteX41417" y="connsiteY41417"/>
              </a:cxn>
              <a:cxn ang="0">
                <a:pos x="connsiteX41418" y="connsiteY41418"/>
              </a:cxn>
              <a:cxn ang="0">
                <a:pos x="connsiteX41419" y="connsiteY41419"/>
              </a:cxn>
              <a:cxn ang="0">
                <a:pos x="connsiteX41420" y="connsiteY41420"/>
              </a:cxn>
              <a:cxn ang="0">
                <a:pos x="connsiteX41421" y="connsiteY41421"/>
              </a:cxn>
              <a:cxn ang="0">
                <a:pos x="connsiteX41422" y="connsiteY41422"/>
              </a:cxn>
              <a:cxn ang="0">
                <a:pos x="connsiteX41423" y="connsiteY41423"/>
              </a:cxn>
              <a:cxn ang="0">
                <a:pos x="connsiteX41424" y="connsiteY41424"/>
              </a:cxn>
              <a:cxn ang="0">
                <a:pos x="connsiteX41425" y="connsiteY41425"/>
              </a:cxn>
              <a:cxn ang="0">
                <a:pos x="connsiteX41426" y="connsiteY41426"/>
              </a:cxn>
              <a:cxn ang="0">
                <a:pos x="connsiteX41427" y="connsiteY41427"/>
              </a:cxn>
              <a:cxn ang="0">
                <a:pos x="connsiteX41428" y="connsiteY41428"/>
              </a:cxn>
              <a:cxn ang="0">
                <a:pos x="connsiteX41429" y="connsiteY41429"/>
              </a:cxn>
              <a:cxn ang="0">
                <a:pos x="connsiteX41430" y="connsiteY41430"/>
              </a:cxn>
              <a:cxn ang="0">
                <a:pos x="connsiteX41431" y="connsiteY41431"/>
              </a:cxn>
              <a:cxn ang="0">
                <a:pos x="connsiteX41432" y="connsiteY41432"/>
              </a:cxn>
              <a:cxn ang="0">
                <a:pos x="connsiteX41433" y="connsiteY41433"/>
              </a:cxn>
              <a:cxn ang="0">
                <a:pos x="connsiteX41434" y="connsiteY41434"/>
              </a:cxn>
              <a:cxn ang="0">
                <a:pos x="connsiteX41435" y="connsiteY41435"/>
              </a:cxn>
              <a:cxn ang="0">
                <a:pos x="connsiteX41436" y="connsiteY41436"/>
              </a:cxn>
              <a:cxn ang="0">
                <a:pos x="connsiteX41437" y="connsiteY41437"/>
              </a:cxn>
              <a:cxn ang="0">
                <a:pos x="connsiteX41438" y="connsiteY41438"/>
              </a:cxn>
              <a:cxn ang="0">
                <a:pos x="connsiteX41439" y="connsiteY41439"/>
              </a:cxn>
              <a:cxn ang="0">
                <a:pos x="connsiteX41440" y="connsiteY41440"/>
              </a:cxn>
              <a:cxn ang="0">
                <a:pos x="connsiteX41441" y="connsiteY41441"/>
              </a:cxn>
              <a:cxn ang="0">
                <a:pos x="connsiteX41442" y="connsiteY41442"/>
              </a:cxn>
              <a:cxn ang="0">
                <a:pos x="connsiteX41443" y="connsiteY41443"/>
              </a:cxn>
              <a:cxn ang="0">
                <a:pos x="connsiteX41444" y="connsiteY41444"/>
              </a:cxn>
              <a:cxn ang="0">
                <a:pos x="connsiteX41445" y="connsiteY41445"/>
              </a:cxn>
              <a:cxn ang="0">
                <a:pos x="connsiteX41446" y="connsiteY41446"/>
              </a:cxn>
              <a:cxn ang="0">
                <a:pos x="connsiteX41447" y="connsiteY41447"/>
              </a:cxn>
              <a:cxn ang="0">
                <a:pos x="connsiteX41448" y="connsiteY41448"/>
              </a:cxn>
              <a:cxn ang="0">
                <a:pos x="connsiteX41449" y="connsiteY41449"/>
              </a:cxn>
              <a:cxn ang="0">
                <a:pos x="connsiteX41450" y="connsiteY41450"/>
              </a:cxn>
              <a:cxn ang="0">
                <a:pos x="connsiteX41451" y="connsiteY41451"/>
              </a:cxn>
              <a:cxn ang="0">
                <a:pos x="connsiteX41452" y="connsiteY41452"/>
              </a:cxn>
              <a:cxn ang="0">
                <a:pos x="connsiteX41453" y="connsiteY41453"/>
              </a:cxn>
              <a:cxn ang="0">
                <a:pos x="connsiteX41454" y="connsiteY41454"/>
              </a:cxn>
              <a:cxn ang="0">
                <a:pos x="connsiteX41455" y="connsiteY41455"/>
              </a:cxn>
              <a:cxn ang="0">
                <a:pos x="connsiteX41456" y="connsiteY41456"/>
              </a:cxn>
              <a:cxn ang="0">
                <a:pos x="connsiteX41457" y="connsiteY41457"/>
              </a:cxn>
              <a:cxn ang="0">
                <a:pos x="connsiteX41458" y="connsiteY41458"/>
              </a:cxn>
              <a:cxn ang="0">
                <a:pos x="connsiteX41459" y="connsiteY41459"/>
              </a:cxn>
              <a:cxn ang="0">
                <a:pos x="connsiteX41460" y="connsiteY41460"/>
              </a:cxn>
              <a:cxn ang="0">
                <a:pos x="connsiteX41461" y="connsiteY41461"/>
              </a:cxn>
              <a:cxn ang="0">
                <a:pos x="connsiteX41462" y="connsiteY41462"/>
              </a:cxn>
              <a:cxn ang="0">
                <a:pos x="connsiteX41463" y="connsiteY41463"/>
              </a:cxn>
              <a:cxn ang="0">
                <a:pos x="connsiteX41464" y="connsiteY41464"/>
              </a:cxn>
              <a:cxn ang="0">
                <a:pos x="connsiteX41465" y="connsiteY41465"/>
              </a:cxn>
              <a:cxn ang="0">
                <a:pos x="connsiteX41466" y="connsiteY41466"/>
              </a:cxn>
              <a:cxn ang="0">
                <a:pos x="connsiteX41467" y="connsiteY41467"/>
              </a:cxn>
              <a:cxn ang="0">
                <a:pos x="connsiteX41468" y="connsiteY41468"/>
              </a:cxn>
              <a:cxn ang="0">
                <a:pos x="connsiteX41469" y="connsiteY41469"/>
              </a:cxn>
              <a:cxn ang="0">
                <a:pos x="connsiteX41470" y="connsiteY41470"/>
              </a:cxn>
              <a:cxn ang="0">
                <a:pos x="connsiteX41471" y="connsiteY41471"/>
              </a:cxn>
              <a:cxn ang="0">
                <a:pos x="connsiteX41472" y="connsiteY41472"/>
              </a:cxn>
              <a:cxn ang="0">
                <a:pos x="connsiteX41473" y="connsiteY41473"/>
              </a:cxn>
              <a:cxn ang="0">
                <a:pos x="connsiteX41474" y="connsiteY41474"/>
              </a:cxn>
              <a:cxn ang="0">
                <a:pos x="connsiteX41475" y="connsiteY41475"/>
              </a:cxn>
              <a:cxn ang="0">
                <a:pos x="connsiteX41476" y="connsiteY41476"/>
              </a:cxn>
              <a:cxn ang="0">
                <a:pos x="connsiteX41477" y="connsiteY41477"/>
              </a:cxn>
              <a:cxn ang="0">
                <a:pos x="connsiteX41478" y="connsiteY41478"/>
              </a:cxn>
              <a:cxn ang="0">
                <a:pos x="connsiteX41479" y="connsiteY41479"/>
              </a:cxn>
              <a:cxn ang="0">
                <a:pos x="connsiteX41480" y="connsiteY41480"/>
              </a:cxn>
              <a:cxn ang="0">
                <a:pos x="connsiteX41481" y="connsiteY41481"/>
              </a:cxn>
              <a:cxn ang="0">
                <a:pos x="connsiteX41482" y="connsiteY41482"/>
              </a:cxn>
              <a:cxn ang="0">
                <a:pos x="connsiteX41483" y="connsiteY41483"/>
              </a:cxn>
              <a:cxn ang="0">
                <a:pos x="connsiteX41484" y="connsiteY41484"/>
              </a:cxn>
              <a:cxn ang="0">
                <a:pos x="connsiteX41485" y="connsiteY41485"/>
              </a:cxn>
              <a:cxn ang="0">
                <a:pos x="connsiteX41486" y="connsiteY41486"/>
              </a:cxn>
              <a:cxn ang="0">
                <a:pos x="connsiteX41487" y="connsiteY41487"/>
              </a:cxn>
              <a:cxn ang="0">
                <a:pos x="connsiteX41488" y="connsiteY41488"/>
              </a:cxn>
              <a:cxn ang="0">
                <a:pos x="connsiteX41489" y="connsiteY41489"/>
              </a:cxn>
              <a:cxn ang="0">
                <a:pos x="connsiteX41490" y="connsiteY41490"/>
              </a:cxn>
              <a:cxn ang="0">
                <a:pos x="connsiteX41491" y="connsiteY41491"/>
              </a:cxn>
              <a:cxn ang="0">
                <a:pos x="connsiteX41492" y="connsiteY41492"/>
              </a:cxn>
              <a:cxn ang="0">
                <a:pos x="connsiteX41493" y="connsiteY41493"/>
              </a:cxn>
              <a:cxn ang="0">
                <a:pos x="connsiteX41494" y="connsiteY41494"/>
              </a:cxn>
              <a:cxn ang="0">
                <a:pos x="connsiteX41495" y="connsiteY41495"/>
              </a:cxn>
              <a:cxn ang="0">
                <a:pos x="connsiteX41496" y="connsiteY41496"/>
              </a:cxn>
              <a:cxn ang="0">
                <a:pos x="connsiteX41497" y="connsiteY41497"/>
              </a:cxn>
              <a:cxn ang="0">
                <a:pos x="connsiteX41498" y="connsiteY41498"/>
              </a:cxn>
              <a:cxn ang="0">
                <a:pos x="connsiteX41499" y="connsiteY41499"/>
              </a:cxn>
              <a:cxn ang="0">
                <a:pos x="connsiteX41500" y="connsiteY41500"/>
              </a:cxn>
              <a:cxn ang="0">
                <a:pos x="connsiteX41501" y="connsiteY41501"/>
              </a:cxn>
              <a:cxn ang="0">
                <a:pos x="connsiteX41502" y="connsiteY41502"/>
              </a:cxn>
              <a:cxn ang="0">
                <a:pos x="connsiteX41503" y="connsiteY41503"/>
              </a:cxn>
              <a:cxn ang="0">
                <a:pos x="connsiteX41504" y="connsiteY41504"/>
              </a:cxn>
              <a:cxn ang="0">
                <a:pos x="connsiteX41505" y="connsiteY41505"/>
              </a:cxn>
              <a:cxn ang="0">
                <a:pos x="connsiteX41506" y="connsiteY41506"/>
              </a:cxn>
              <a:cxn ang="0">
                <a:pos x="connsiteX41507" y="connsiteY41507"/>
              </a:cxn>
              <a:cxn ang="0">
                <a:pos x="connsiteX41508" y="connsiteY41508"/>
              </a:cxn>
              <a:cxn ang="0">
                <a:pos x="connsiteX41509" y="connsiteY41509"/>
              </a:cxn>
              <a:cxn ang="0">
                <a:pos x="connsiteX41510" y="connsiteY41510"/>
              </a:cxn>
              <a:cxn ang="0">
                <a:pos x="connsiteX41511" y="connsiteY41511"/>
              </a:cxn>
              <a:cxn ang="0">
                <a:pos x="connsiteX41512" y="connsiteY41512"/>
              </a:cxn>
              <a:cxn ang="0">
                <a:pos x="connsiteX41513" y="connsiteY41513"/>
              </a:cxn>
              <a:cxn ang="0">
                <a:pos x="connsiteX41514" y="connsiteY41514"/>
              </a:cxn>
              <a:cxn ang="0">
                <a:pos x="connsiteX41515" y="connsiteY41515"/>
              </a:cxn>
              <a:cxn ang="0">
                <a:pos x="connsiteX41516" y="connsiteY41516"/>
              </a:cxn>
              <a:cxn ang="0">
                <a:pos x="connsiteX41517" y="connsiteY41517"/>
              </a:cxn>
              <a:cxn ang="0">
                <a:pos x="connsiteX41518" y="connsiteY41518"/>
              </a:cxn>
              <a:cxn ang="0">
                <a:pos x="connsiteX41519" y="connsiteY41519"/>
              </a:cxn>
              <a:cxn ang="0">
                <a:pos x="connsiteX41520" y="connsiteY41520"/>
              </a:cxn>
              <a:cxn ang="0">
                <a:pos x="connsiteX41521" y="connsiteY41521"/>
              </a:cxn>
              <a:cxn ang="0">
                <a:pos x="connsiteX41522" y="connsiteY41522"/>
              </a:cxn>
              <a:cxn ang="0">
                <a:pos x="connsiteX41523" y="connsiteY41523"/>
              </a:cxn>
              <a:cxn ang="0">
                <a:pos x="connsiteX41524" y="connsiteY41524"/>
              </a:cxn>
              <a:cxn ang="0">
                <a:pos x="connsiteX41525" y="connsiteY41525"/>
              </a:cxn>
              <a:cxn ang="0">
                <a:pos x="connsiteX41526" y="connsiteY41526"/>
              </a:cxn>
              <a:cxn ang="0">
                <a:pos x="connsiteX41527" y="connsiteY41527"/>
              </a:cxn>
              <a:cxn ang="0">
                <a:pos x="connsiteX41528" y="connsiteY41528"/>
              </a:cxn>
              <a:cxn ang="0">
                <a:pos x="connsiteX41529" y="connsiteY41529"/>
              </a:cxn>
              <a:cxn ang="0">
                <a:pos x="connsiteX41530" y="connsiteY41530"/>
              </a:cxn>
              <a:cxn ang="0">
                <a:pos x="connsiteX41531" y="connsiteY41531"/>
              </a:cxn>
              <a:cxn ang="0">
                <a:pos x="connsiteX41532" y="connsiteY41532"/>
              </a:cxn>
              <a:cxn ang="0">
                <a:pos x="connsiteX41533" y="connsiteY41533"/>
              </a:cxn>
              <a:cxn ang="0">
                <a:pos x="connsiteX41534" y="connsiteY41534"/>
              </a:cxn>
              <a:cxn ang="0">
                <a:pos x="connsiteX41535" y="connsiteY41535"/>
              </a:cxn>
              <a:cxn ang="0">
                <a:pos x="connsiteX41536" y="connsiteY41536"/>
              </a:cxn>
              <a:cxn ang="0">
                <a:pos x="connsiteX41537" y="connsiteY41537"/>
              </a:cxn>
              <a:cxn ang="0">
                <a:pos x="connsiteX41538" y="connsiteY41538"/>
              </a:cxn>
              <a:cxn ang="0">
                <a:pos x="connsiteX41539" y="connsiteY41539"/>
              </a:cxn>
              <a:cxn ang="0">
                <a:pos x="connsiteX41540" y="connsiteY41540"/>
              </a:cxn>
              <a:cxn ang="0">
                <a:pos x="connsiteX41541" y="connsiteY41541"/>
              </a:cxn>
              <a:cxn ang="0">
                <a:pos x="connsiteX41542" y="connsiteY41542"/>
              </a:cxn>
              <a:cxn ang="0">
                <a:pos x="connsiteX41543" y="connsiteY41543"/>
              </a:cxn>
              <a:cxn ang="0">
                <a:pos x="connsiteX41544" y="connsiteY41544"/>
              </a:cxn>
              <a:cxn ang="0">
                <a:pos x="connsiteX41545" y="connsiteY41545"/>
              </a:cxn>
              <a:cxn ang="0">
                <a:pos x="connsiteX41546" y="connsiteY41546"/>
              </a:cxn>
              <a:cxn ang="0">
                <a:pos x="connsiteX41547" y="connsiteY41547"/>
              </a:cxn>
              <a:cxn ang="0">
                <a:pos x="connsiteX41548" y="connsiteY41548"/>
              </a:cxn>
              <a:cxn ang="0">
                <a:pos x="connsiteX41549" y="connsiteY41549"/>
              </a:cxn>
              <a:cxn ang="0">
                <a:pos x="connsiteX41550" y="connsiteY41550"/>
              </a:cxn>
              <a:cxn ang="0">
                <a:pos x="connsiteX41551" y="connsiteY41551"/>
              </a:cxn>
              <a:cxn ang="0">
                <a:pos x="connsiteX41552" y="connsiteY41552"/>
              </a:cxn>
              <a:cxn ang="0">
                <a:pos x="connsiteX41553" y="connsiteY41553"/>
              </a:cxn>
              <a:cxn ang="0">
                <a:pos x="connsiteX41554" y="connsiteY41554"/>
              </a:cxn>
              <a:cxn ang="0">
                <a:pos x="connsiteX41555" y="connsiteY41555"/>
              </a:cxn>
              <a:cxn ang="0">
                <a:pos x="connsiteX41556" y="connsiteY41556"/>
              </a:cxn>
              <a:cxn ang="0">
                <a:pos x="connsiteX41557" y="connsiteY41557"/>
              </a:cxn>
              <a:cxn ang="0">
                <a:pos x="connsiteX41558" y="connsiteY41558"/>
              </a:cxn>
              <a:cxn ang="0">
                <a:pos x="connsiteX41559" y="connsiteY41559"/>
              </a:cxn>
              <a:cxn ang="0">
                <a:pos x="connsiteX41560" y="connsiteY41560"/>
              </a:cxn>
              <a:cxn ang="0">
                <a:pos x="connsiteX41561" y="connsiteY41561"/>
              </a:cxn>
              <a:cxn ang="0">
                <a:pos x="connsiteX41562" y="connsiteY41562"/>
              </a:cxn>
              <a:cxn ang="0">
                <a:pos x="connsiteX41563" y="connsiteY41563"/>
              </a:cxn>
              <a:cxn ang="0">
                <a:pos x="connsiteX41564" y="connsiteY41564"/>
              </a:cxn>
              <a:cxn ang="0">
                <a:pos x="connsiteX41565" y="connsiteY41565"/>
              </a:cxn>
              <a:cxn ang="0">
                <a:pos x="connsiteX41566" y="connsiteY41566"/>
              </a:cxn>
              <a:cxn ang="0">
                <a:pos x="connsiteX41567" y="connsiteY41567"/>
              </a:cxn>
              <a:cxn ang="0">
                <a:pos x="connsiteX41568" y="connsiteY41568"/>
              </a:cxn>
              <a:cxn ang="0">
                <a:pos x="connsiteX41569" y="connsiteY41569"/>
              </a:cxn>
              <a:cxn ang="0">
                <a:pos x="connsiteX41570" y="connsiteY41570"/>
              </a:cxn>
              <a:cxn ang="0">
                <a:pos x="connsiteX41571" y="connsiteY41571"/>
              </a:cxn>
              <a:cxn ang="0">
                <a:pos x="connsiteX41572" y="connsiteY41572"/>
              </a:cxn>
              <a:cxn ang="0">
                <a:pos x="connsiteX41573" y="connsiteY41573"/>
              </a:cxn>
              <a:cxn ang="0">
                <a:pos x="connsiteX41574" y="connsiteY41574"/>
              </a:cxn>
              <a:cxn ang="0">
                <a:pos x="connsiteX41575" y="connsiteY41575"/>
              </a:cxn>
              <a:cxn ang="0">
                <a:pos x="connsiteX41576" y="connsiteY41576"/>
              </a:cxn>
              <a:cxn ang="0">
                <a:pos x="connsiteX41577" y="connsiteY41577"/>
              </a:cxn>
              <a:cxn ang="0">
                <a:pos x="connsiteX41578" y="connsiteY41578"/>
              </a:cxn>
              <a:cxn ang="0">
                <a:pos x="connsiteX41579" y="connsiteY41579"/>
              </a:cxn>
              <a:cxn ang="0">
                <a:pos x="connsiteX41580" y="connsiteY41580"/>
              </a:cxn>
              <a:cxn ang="0">
                <a:pos x="connsiteX41581" y="connsiteY41581"/>
              </a:cxn>
              <a:cxn ang="0">
                <a:pos x="connsiteX41582" y="connsiteY41582"/>
              </a:cxn>
              <a:cxn ang="0">
                <a:pos x="connsiteX41583" y="connsiteY41583"/>
              </a:cxn>
              <a:cxn ang="0">
                <a:pos x="connsiteX41584" y="connsiteY41584"/>
              </a:cxn>
              <a:cxn ang="0">
                <a:pos x="connsiteX41585" y="connsiteY41585"/>
              </a:cxn>
              <a:cxn ang="0">
                <a:pos x="connsiteX41586" y="connsiteY41586"/>
              </a:cxn>
              <a:cxn ang="0">
                <a:pos x="connsiteX41587" y="connsiteY41587"/>
              </a:cxn>
              <a:cxn ang="0">
                <a:pos x="connsiteX41588" y="connsiteY41588"/>
              </a:cxn>
              <a:cxn ang="0">
                <a:pos x="connsiteX41589" y="connsiteY41589"/>
              </a:cxn>
              <a:cxn ang="0">
                <a:pos x="connsiteX41590" y="connsiteY41590"/>
              </a:cxn>
              <a:cxn ang="0">
                <a:pos x="connsiteX41591" y="connsiteY41591"/>
              </a:cxn>
              <a:cxn ang="0">
                <a:pos x="connsiteX41592" y="connsiteY41592"/>
              </a:cxn>
              <a:cxn ang="0">
                <a:pos x="connsiteX41593" y="connsiteY41593"/>
              </a:cxn>
              <a:cxn ang="0">
                <a:pos x="connsiteX41594" y="connsiteY41594"/>
              </a:cxn>
              <a:cxn ang="0">
                <a:pos x="connsiteX41595" y="connsiteY41595"/>
              </a:cxn>
              <a:cxn ang="0">
                <a:pos x="connsiteX41596" y="connsiteY41596"/>
              </a:cxn>
              <a:cxn ang="0">
                <a:pos x="connsiteX41597" y="connsiteY41597"/>
              </a:cxn>
              <a:cxn ang="0">
                <a:pos x="connsiteX41598" y="connsiteY41598"/>
              </a:cxn>
              <a:cxn ang="0">
                <a:pos x="connsiteX41599" y="connsiteY41599"/>
              </a:cxn>
              <a:cxn ang="0">
                <a:pos x="connsiteX41600" y="connsiteY41600"/>
              </a:cxn>
              <a:cxn ang="0">
                <a:pos x="connsiteX41601" y="connsiteY41601"/>
              </a:cxn>
              <a:cxn ang="0">
                <a:pos x="connsiteX41602" y="connsiteY41602"/>
              </a:cxn>
              <a:cxn ang="0">
                <a:pos x="connsiteX41603" y="connsiteY41603"/>
              </a:cxn>
              <a:cxn ang="0">
                <a:pos x="connsiteX41604" y="connsiteY41604"/>
              </a:cxn>
              <a:cxn ang="0">
                <a:pos x="connsiteX41605" y="connsiteY41605"/>
              </a:cxn>
              <a:cxn ang="0">
                <a:pos x="connsiteX41606" y="connsiteY41606"/>
              </a:cxn>
              <a:cxn ang="0">
                <a:pos x="connsiteX41607" y="connsiteY41607"/>
              </a:cxn>
              <a:cxn ang="0">
                <a:pos x="connsiteX41608" y="connsiteY41608"/>
              </a:cxn>
              <a:cxn ang="0">
                <a:pos x="connsiteX41609" y="connsiteY41609"/>
              </a:cxn>
              <a:cxn ang="0">
                <a:pos x="connsiteX41610" y="connsiteY41610"/>
              </a:cxn>
              <a:cxn ang="0">
                <a:pos x="connsiteX41611" y="connsiteY41611"/>
              </a:cxn>
              <a:cxn ang="0">
                <a:pos x="connsiteX41612" y="connsiteY41612"/>
              </a:cxn>
              <a:cxn ang="0">
                <a:pos x="connsiteX41613" y="connsiteY41613"/>
              </a:cxn>
              <a:cxn ang="0">
                <a:pos x="connsiteX41614" y="connsiteY41614"/>
              </a:cxn>
              <a:cxn ang="0">
                <a:pos x="connsiteX41615" y="connsiteY41615"/>
              </a:cxn>
              <a:cxn ang="0">
                <a:pos x="connsiteX41616" y="connsiteY41616"/>
              </a:cxn>
              <a:cxn ang="0">
                <a:pos x="connsiteX41617" y="connsiteY41617"/>
              </a:cxn>
              <a:cxn ang="0">
                <a:pos x="connsiteX41618" y="connsiteY41618"/>
              </a:cxn>
              <a:cxn ang="0">
                <a:pos x="connsiteX41619" y="connsiteY41619"/>
              </a:cxn>
              <a:cxn ang="0">
                <a:pos x="connsiteX41620" y="connsiteY41620"/>
              </a:cxn>
              <a:cxn ang="0">
                <a:pos x="connsiteX41621" y="connsiteY41621"/>
              </a:cxn>
              <a:cxn ang="0">
                <a:pos x="connsiteX41622" y="connsiteY41622"/>
              </a:cxn>
              <a:cxn ang="0">
                <a:pos x="connsiteX41623" y="connsiteY41623"/>
              </a:cxn>
              <a:cxn ang="0">
                <a:pos x="connsiteX41624" y="connsiteY41624"/>
              </a:cxn>
              <a:cxn ang="0">
                <a:pos x="connsiteX41625" y="connsiteY41625"/>
              </a:cxn>
              <a:cxn ang="0">
                <a:pos x="connsiteX41626" y="connsiteY41626"/>
              </a:cxn>
              <a:cxn ang="0">
                <a:pos x="connsiteX41627" y="connsiteY41627"/>
              </a:cxn>
              <a:cxn ang="0">
                <a:pos x="connsiteX41628" y="connsiteY41628"/>
              </a:cxn>
              <a:cxn ang="0">
                <a:pos x="connsiteX41629" y="connsiteY41629"/>
              </a:cxn>
              <a:cxn ang="0">
                <a:pos x="connsiteX41630" y="connsiteY41630"/>
              </a:cxn>
              <a:cxn ang="0">
                <a:pos x="connsiteX41631" y="connsiteY41631"/>
              </a:cxn>
              <a:cxn ang="0">
                <a:pos x="connsiteX41632" y="connsiteY41632"/>
              </a:cxn>
              <a:cxn ang="0">
                <a:pos x="connsiteX41633" y="connsiteY41633"/>
              </a:cxn>
              <a:cxn ang="0">
                <a:pos x="connsiteX41634" y="connsiteY41634"/>
              </a:cxn>
              <a:cxn ang="0">
                <a:pos x="connsiteX41635" y="connsiteY41635"/>
              </a:cxn>
              <a:cxn ang="0">
                <a:pos x="connsiteX41636" y="connsiteY41636"/>
              </a:cxn>
              <a:cxn ang="0">
                <a:pos x="connsiteX41637" y="connsiteY41637"/>
              </a:cxn>
              <a:cxn ang="0">
                <a:pos x="connsiteX41638" y="connsiteY41638"/>
              </a:cxn>
              <a:cxn ang="0">
                <a:pos x="connsiteX41639" y="connsiteY41639"/>
              </a:cxn>
              <a:cxn ang="0">
                <a:pos x="connsiteX41640" y="connsiteY41640"/>
              </a:cxn>
              <a:cxn ang="0">
                <a:pos x="connsiteX41641" y="connsiteY41641"/>
              </a:cxn>
              <a:cxn ang="0">
                <a:pos x="connsiteX41642" y="connsiteY41642"/>
              </a:cxn>
              <a:cxn ang="0">
                <a:pos x="connsiteX41643" y="connsiteY41643"/>
              </a:cxn>
              <a:cxn ang="0">
                <a:pos x="connsiteX41644" y="connsiteY41644"/>
              </a:cxn>
              <a:cxn ang="0">
                <a:pos x="connsiteX41645" y="connsiteY41645"/>
              </a:cxn>
              <a:cxn ang="0">
                <a:pos x="connsiteX41646" y="connsiteY41646"/>
              </a:cxn>
              <a:cxn ang="0">
                <a:pos x="connsiteX41647" y="connsiteY41647"/>
              </a:cxn>
              <a:cxn ang="0">
                <a:pos x="connsiteX41648" y="connsiteY41648"/>
              </a:cxn>
              <a:cxn ang="0">
                <a:pos x="connsiteX41649" y="connsiteY41649"/>
              </a:cxn>
              <a:cxn ang="0">
                <a:pos x="connsiteX41650" y="connsiteY41650"/>
              </a:cxn>
              <a:cxn ang="0">
                <a:pos x="connsiteX41651" y="connsiteY41651"/>
              </a:cxn>
              <a:cxn ang="0">
                <a:pos x="connsiteX41652" y="connsiteY41652"/>
              </a:cxn>
              <a:cxn ang="0">
                <a:pos x="connsiteX41653" y="connsiteY41653"/>
              </a:cxn>
              <a:cxn ang="0">
                <a:pos x="connsiteX41654" y="connsiteY41654"/>
              </a:cxn>
              <a:cxn ang="0">
                <a:pos x="connsiteX41655" y="connsiteY41655"/>
              </a:cxn>
              <a:cxn ang="0">
                <a:pos x="connsiteX41656" y="connsiteY41656"/>
              </a:cxn>
              <a:cxn ang="0">
                <a:pos x="connsiteX41657" y="connsiteY41657"/>
              </a:cxn>
              <a:cxn ang="0">
                <a:pos x="connsiteX41658" y="connsiteY41658"/>
              </a:cxn>
              <a:cxn ang="0">
                <a:pos x="connsiteX41659" y="connsiteY41659"/>
              </a:cxn>
              <a:cxn ang="0">
                <a:pos x="connsiteX41660" y="connsiteY41660"/>
              </a:cxn>
              <a:cxn ang="0">
                <a:pos x="connsiteX41661" y="connsiteY41661"/>
              </a:cxn>
              <a:cxn ang="0">
                <a:pos x="connsiteX41662" y="connsiteY41662"/>
              </a:cxn>
              <a:cxn ang="0">
                <a:pos x="connsiteX41663" y="connsiteY41663"/>
              </a:cxn>
              <a:cxn ang="0">
                <a:pos x="connsiteX41664" y="connsiteY41664"/>
              </a:cxn>
              <a:cxn ang="0">
                <a:pos x="connsiteX41665" y="connsiteY41665"/>
              </a:cxn>
              <a:cxn ang="0">
                <a:pos x="connsiteX41666" y="connsiteY41666"/>
              </a:cxn>
              <a:cxn ang="0">
                <a:pos x="connsiteX41667" y="connsiteY41667"/>
              </a:cxn>
              <a:cxn ang="0">
                <a:pos x="connsiteX41668" y="connsiteY41668"/>
              </a:cxn>
              <a:cxn ang="0">
                <a:pos x="connsiteX41669" y="connsiteY41669"/>
              </a:cxn>
              <a:cxn ang="0">
                <a:pos x="connsiteX41670" y="connsiteY41670"/>
              </a:cxn>
              <a:cxn ang="0">
                <a:pos x="connsiteX41671" y="connsiteY41671"/>
              </a:cxn>
              <a:cxn ang="0">
                <a:pos x="connsiteX41672" y="connsiteY41672"/>
              </a:cxn>
              <a:cxn ang="0">
                <a:pos x="connsiteX41673" y="connsiteY41673"/>
              </a:cxn>
              <a:cxn ang="0">
                <a:pos x="connsiteX41674" y="connsiteY41674"/>
              </a:cxn>
              <a:cxn ang="0">
                <a:pos x="connsiteX41675" y="connsiteY41675"/>
              </a:cxn>
              <a:cxn ang="0">
                <a:pos x="connsiteX41676" y="connsiteY41676"/>
              </a:cxn>
              <a:cxn ang="0">
                <a:pos x="connsiteX41677" y="connsiteY41677"/>
              </a:cxn>
              <a:cxn ang="0">
                <a:pos x="connsiteX41678" y="connsiteY41678"/>
              </a:cxn>
              <a:cxn ang="0">
                <a:pos x="connsiteX41679" y="connsiteY41679"/>
              </a:cxn>
              <a:cxn ang="0">
                <a:pos x="connsiteX41680" y="connsiteY41680"/>
              </a:cxn>
              <a:cxn ang="0">
                <a:pos x="connsiteX41681" y="connsiteY41681"/>
              </a:cxn>
              <a:cxn ang="0">
                <a:pos x="connsiteX41682" y="connsiteY41682"/>
              </a:cxn>
              <a:cxn ang="0">
                <a:pos x="connsiteX41683" y="connsiteY41683"/>
              </a:cxn>
              <a:cxn ang="0">
                <a:pos x="connsiteX41684" y="connsiteY41684"/>
              </a:cxn>
              <a:cxn ang="0">
                <a:pos x="connsiteX41685" y="connsiteY41685"/>
              </a:cxn>
              <a:cxn ang="0">
                <a:pos x="connsiteX41686" y="connsiteY41686"/>
              </a:cxn>
              <a:cxn ang="0">
                <a:pos x="connsiteX41687" y="connsiteY41687"/>
              </a:cxn>
              <a:cxn ang="0">
                <a:pos x="connsiteX41688" y="connsiteY41688"/>
              </a:cxn>
              <a:cxn ang="0">
                <a:pos x="connsiteX41689" y="connsiteY41689"/>
              </a:cxn>
              <a:cxn ang="0">
                <a:pos x="connsiteX41690" y="connsiteY41690"/>
              </a:cxn>
              <a:cxn ang="0">
                <a:pos x="connsiteX41691" y="connsiteY41691"/>
              </a:cxn>
              <a:cxn ang="0">
                <a:pos x="connsiteX41692" y="connsiteY41692"/>
              </a:cxn>
              <a:cxn ang="0">
                <a:pos x="connsiteX41693" y="connsiteY41693"/>
              </a:cxn>
              <a:cxn ang="0">
                <a:pos x="connsiteX41694" y="connsiteY41694"/>
              </a:cxn>
              <a:cxn ang="0">
                <a:pos x="connsiteX41695" y="connsiteY41695"/>
              </a:cxn>
              <a:cxn ang="0">
                <a:pos x="connsiteX41696" y="connsiteY41696"/>
              </a:cxn>
              <a:cxn ang="0">
                <a:pos x="connsiteX41697" y="connsiteY41697"/>
              </a:cxn>
              <a:cxn ang="0">
                <a:pos x="connsiteX41698" y="connsiteY41698"/>
              </a:cxn>
              <a:cxn ang="0">
                <a:pos x="connsiteX41699" y="connsiteY41699"/>
              </a:cxn>
              <a:cxn ang="0">
                <a:pos x="connsiteX41700" y="connsiteY41700"/>
              </a:cxn>
              <a:cxn ang="0">
                <a:pos x="connsiteX41701" y="connsiteY41701"/>
              </a:cxn>
              <a:cxn ang="0">
                <a:pos x="connsiteX41702" y="connsiteY41702"/>
              </a:cxn>
              <a:cxn ang="0">
                <a:pos x="connsiteX41703" y="connsiteY41703"/>
              </a:cxn>
              <a:cxn ang="0">
                <a:pos x="connsiteX41704" y="connsiteY41704"/>
              </a:cxn>
              <a:cxn ang="0">
                <a:pos x="connsiteX41705" y="connsiteY41705"/>
              </a:cxn>
              <a:cxn ang="0">
                <a:pos x="connsiteX41706" y="connsiteY41706"/>
              </a:cxn>
              <a:cxn ang="0">
                <a:pos x="connsiteX41707" y="connsiteY41707"/>
              </a:cxn>
              <a:cxn ang="0">
                <a:pos x="connsiteX41708" y="connsiteY41708"/>
              </a:cxn>
              <a:cxn ang="0">
                <a:pos x="connsiteX41709" y="connsiteY41709"/>
              </a:cxn>
              <a:cxn ang="0">
                <a:pos x="connsiteX41710" y="connsiteY41710"/>
              </a:cxn>
              <a:cxn ang="0">
                <a:pos x="connsiteX41711" y="connsiteY41711"/>
              </a:cxn>
              <a:cxn ang="0">
                <a:pos x="connsiteX41712" y="connsiteY41712"/>
              </a:cxn>
              <a:cxn ang="0">
                <a:pos x="connsiteX41713" y="connsiteY41713"/>
              </a:cxn>
              <a:cxn ang="0">
                <a:pos x="connsiteX41714" y="connsiteY41714"/>
              </a:cxn>
              <a:cxn ang="0">
                <a:pos x="connsiteX41715" y="connsiteY41715"/>
              </a:cxn>
              <a:cxn ang="0">
                <a:pos x="connsiteX41716" y="connsiteY41716"/>
              </a:cxn>
              <a:cxn ang="0">
                <a:pos x="connsiteX41717" y="connsiteY41717"/>
              </a:cxn>
              <a:cxn ang="0">
                <a:pos x="connsiteX41718" y="connsiteY41718"/>
              </a:cxn>
              <a:cxn ang="0">
                <a:pos x="connsiteX41719" y="connsiteY41719"/>
              </a:cxn>
              <a:cxn ang="0">
                <a:pos x="connsiteX41720" y="connsiteY41720"/>
              </a:cxn>
              <a:cxn ang="0">
                <a:pos x="connsiteX41721" y="connsiteY41721"/>
              </a:cxn>
              <a:cxn ang="0">
                <a:pos x="connsiteX41722" y="connsiteY41722"/>
              </a:cxn>
              <a:cxn ang="0">
                <a:pos x="connsiteX41723" y="connsiteY41723"/>
              </a:cxn>
              <a:cxn ang="0">
                <a:pos x="connsiteX41724" y="connsiteY41724"/>
              </a:cxn>
              <a:cxn ang="0">
                <a:pos x="connsiteX41725" y="connsiteY41725"/>
              </a:cxn>
              <a:cxn ang="0">
                <a:pos x="connsiteX41726" y="connsiteY41726"/>
              </a:cxn>
              <a:cxn ang="0">
                <a:pos x="connsiteX41727" y="connsiteY41727"/>
              </a:cxn>
              <a:cxn ang="0">
                <a:pos x="connsiteX41728" y="connsiteY41728"/>
              </a:cxn>
              <a:cxn ang="0">
                <a:pos x="connsiteX41729" y="connsiteY41729"/>
              </a:cxn>
              <a:cxn ang="0">
                <a:pos x="connsiteX41730" y="connsiteY41730"/>
              </a:cxn>
              <a:cxn ang="0">
                <a:pos x="connsiteX41731" y="connsiteY41731"/>
              </a:cxn>
              <a:cxn ang="0">
                <a:pos x="connsiteX41732" y="connsiteY41732"/>
              </a:cxn>
              <a:cxn ang="0">
                <a:pos x="connsiteX41733" y="connsiteY41733"/>
              </a:cxn>
              <a:cxn ang="0">
                <a:pos x="connsiteX41734" y="connsiteY41734"/>
              </a:cxn>
              <a:cxn ang="0">
                <a:pos x="connsiteX41735" y="connsiteY41735"/>
              </a:cxn>
              <a:cxn ang="0">
                <a:pos x="connsiteX41736" y="connsiteY41736"/>
              </a:cxn>
              <a:cxn ang="0">
                <a:pos x="connsiteX41737" y="connsiteY41737"/>
              </a:cxn>
              <a:cxn ang="0">
                <a:pos x="connsiteX41738" y="connsiteY41738"/>
              </a:cxn>
              <a:cxn ang="0">
                <a:pos x="connsiteX41739" y="connsiteY41739"/>
              </a:cxn>
              <a:cxn ang="0">
                <a:pos x="connsiteX41740" y="connsiteY41740"/>
              </a:cxn>
              <a:cxn ang="0">
                <a:pos x="connsiteX41741" y="connsiteY41741"/>
              </a:cxn>
              <a:cxn ang="0">
                <a:pos x="connsiteX41742" y="connsiteY41742"/>
              </a:cxn>
              <a:cxn ang="0">
                <a:pos x="connsiteX41743" y="connsiteY41743"/>
              </a:cxn>
              <a:cxn ang="0">
                <a:pos x="connsiteX41744" y="connsiteY41744"/>
              </a:cxn>
              <a:cxn ang="0">
                <a:pos x="connsiteX41745" y="connsiteY41745"/>
              </a:cxn>
              <a:cxn ang="0">
                <a:pos x="connsiteX41746" y="connsiteY41746"/>
              </a:cxn>
              <a:cxn ang="0">
                <a:pos x="connsiteX41747" y="connsiteY41747"/>
              </a:cxn>
              <a:cxn ang="0">
                <a:pos x="connsiteX41748" y="connsiteY41748"/>
              </a:cxn>
              <a:cxn ang="0">
                <a:pos x="connsiteX41749" y="connsiteY41749"/>
              </a:cxn>
              <a:cxn ang="0">
                <a:pos x="connsiteX41750" y="connsiteY41750"/>
              </a:cxn>
              <a:cxn ang="0">
                <a:pos x="connsiteX41751" y="connsiteY41751"/>
              </a:cxn>
              <a:cxn ang="0">
                <a:pos x="connsiteX41752" y="connsiteY41752"/>
              </a:cxn>
              <a:cxn ang="0">
                <a:pos x="connsiteX41753" y="connsiteY41753"/>
              </a:cxn>
              <a:cxn ang="0">
                <a:pos x="connsiteX41754" y="connsiteY41754"/>
              </a:cxn>
              <a:cxn ang="0">
                <a:pos x="connsiteX41755" y="connsiteY41755"/>
              </a:cxn>
              <a:cxn ang="0">
                <a:pos x="connsiteX41756" y="connsiteY41756"/>
              </a:cxn>
              <a:cxn ang="0">
                <a:pos x="connsiteX41757" y="connsiteY41757"/>
              </a:cxn>
              <a:cxn ang="0">
                <a:pos x="connsiteX41758" y="connsiteY41758"/>
              </a:cxn>
              <a:cxn ang="0">
                <a:pos x="connsiteX41759" y="connsiteY41759"/>
              </a:cxn>
              <a:cxn ang="0">
                <a:pos x="connsiteX41760" y="connsiteY41760"/>
              </a:cxn>
              <a:cxn ang="0">
                <a:pos x="connsiteX41761" y="connsiteY41761"/>
              </a:cxn>
              <a:cxn ang="0">
                <a:pos x="connsiteX41762" y="connsiteY41762"/>
              </a:cxn>
              <a:cxn ang="0">
                <a:pos x="connsiteX41763" y="connsiteY41763"/>
              </a:cxn>
              <a:cxn ang="0">
                <a:pos x="connsiteX41764" y="connsiteY41764"/>
              </a:cxn>
              <a:cxn ang="0">
                <a:pos x="connsiteX41765" y="connsiteY41765"/>
              </a:cxn>
              <a:cxn ang="0">
                <a:pos x="connsiteX41766" y="connsiteY41766"/>
              </a:cxn>
              <a:cxn ang="0">
                <a:pos x="connsiteX41767" y="connsiteY41767"/>
              </a:cxn>
              <a:cxn ang="0">
                <a:pos x="connsiteX41768" y="connsiteY41768"/>
              </a:cxn>
              <a:cxn ang="0">
                <a:pos x="connsiteX41769" y="connsiteY41769"/>
              </a:cxn>
              <a:cxn ang="0">
                <a:pos x="connsiteX41770" y="connsiteY41770"/>
              </a:cxn>
              <a:cxn ang="0">
                <a:pos x="connsiteX41771" y="connsiteY41771"/>
              </a:cxn>
              <a:cxn ang="0">
                <a:pos x="connsiteX41772" y="connsiteY41772"/>
              </a:cxn>
              <a:cxn ang="0">
                <a:pos x="connsiteX41773" y="connsiteY41773"/>
              </a:cxn>
              <a:cxn ang="0">
                <a:pos x="connsiteX41774" y="connsiteY41774"/>
              </a:cxn>
              <a:cxn ang="0">
                <a:pos x="connsiteX41775" y="connsiteY41775"/>
              </a:cxn>
              <a:cxn ang="0">
                <a:pos x="connsiteX41776" y="connsiteY41776"/>
              </a:cxn>
              <a:cxn ang="0">
                <a:pos x="connsiteX41777" y="connsiteY41777"/>
              </a:cxn>
              <a:cxn ang="0">
                <a:pos x="connsiteX41778" y="connsiteY41778"/>
              </a:cxn>
              <a:cxn ang="0">
                <a:pos x="connsiteX41779" y="connsiteY41779"/>
              </a:cxn>
              <a:cxn ang="0">
                <a:pos x="connsiteX41780" y="connsiteY41780"/>
              </a:cxn>
              <a:cxn ang="0">
                <a:pos x="connsiteX41781" y="connsiteY41781"/>
              </a:cxn>
              <a:cxn ang="0">
                <a:pos x="connsiteX41782" y="connsiteY41782"/>
              </a:cxn>
              <a:cxn ang="0">
                <a:pos x="connsiteX41783" y="connsiteY41783"/>
              </a:cxn>
              <a:cxn ang="0">
                <a:pos x="connsiteX41784" y="connsiteY41784"/>
              </a:cxn>
              <a:cxn ang="0">
                <a:pos x="connsiteX41785" y="connsiteY41785"/>
              </a:cxn>
              <a:cxn ang="0">
                <a:pos x="connsiteX41786" y="connsiteY41786"/>
              </a:cxn>
              <a:cxn ang="0">
                <a:pos x="connsiteX41787" y="connsiteY41787"/>
              </a:cxn>
              <a:cxn ang="0">
                <a:pos x="connsiteX41788" y="connsiteY41788"/>
              </a:cxn>
              <a:cxn ang="0">
                <a:pos x="connsiteX41789" y="connsiteY41789"/>
              </a:cxn>
              <a:cxn ang="0">
                <a:pos x="connsiteX41790" y="connsiteY41790"/>
              </a:cxn>
              <a:cxn ang="0">
                <a:pos x="connsiteX41791" y="connsiteY41791"/>
              </a:cxn>
              <a:cxn ang="0">
                <a:pos x="connsiteX41792" y="connsiteY41792"/>
              </a:cxn>
              <a:cxn ang="0">
                <a:pos x="connsiteX41793" y="connsiteY41793"/>
              </a:cxn>
              <a:cxn ang="0">
                <a:pos x="connsiteX41794" y="connsiteY41794"/>
              </a:cxn>
              <a:cxn ang="0">
                <a:pos x="connsiteX41795" y="connsiteY41795"/>
              </a:cxn>
              <a:cxn ang="0">
                <a:pos x="connsiteX41796" y="connsiteY41796"/>
              </a:cxn>
              <a:cxn ang="0">
                <a:pos x="connsiteX41797" y="connsiteY41797"/>
              </a:cxn>
              <a:cxn ang="0">
                <a:pos x="connsiteX41798" y="connsiteY41798"/>
              </a:cxn>
              <a:cxn ang="0">
                <a:pos x="connsiteX41799" y="connsiteY41799"/>
              </a:cxn>
              <a:cxn ang="0">
                <a:pos x="connsiteX41800" y="connsiteY41800"/>
              </a:cxn>
              <a:cxn ang="0">
                <a:pos x="connsiteX41801" y="connsiteY41801"/>
              </a:cxn>
              <a:cxn ang="0">
                <a:pos x="connsiteX41802" y="connsiteY41802"/>
              </a:cxn>
              <a:cxn ang="0">
                <a:pos x="connsiteX41803" y="connsiteY41803"/>
              </a:cxn>
              <a:cxn ang="0">
                <a:pos x="connsiteX41804" y="connsiteY41804"/>
              </a:cxn>
              <a:cxn ang="0">
                <a:pos x="connsiteX41805" y="connsiteY41805"/>
              </a:cxn>
              <a:cxn ang="0">
                <a:pos x="connsiteX41806" y="connsiteY41806"/>
              </a:cxn>
              <a:cxn ang="0">
                <a:pos x="connsiteX41807" y="connsiteY41807"/>
              </a:cxn>
              <a:cxn ang="0">
                <a:pos x="connsiteX41808" y="connsiteY41808"/>
              </a:cxn>
              <a:cxn ang="0">
                <a:pos x="connsiteX41809" y="connsiteY41809"/>
              </a:cxn>
              <a:cxn ang="0">
                <a:pos x="connsiteX41810" y="connsiteY41810"/>
              </a:cxn>
              <a:cxn ang="0">
                <a:pos x="connsiteX41811" y="connsiteY41811"/>
              </a:cxn>
              <a:cxn ang="0">
                <a:pos x="connsiteX41812" y="connsiteY41812"/>
              </a:cxn>
              <a:cxn ang="0">
                <a:pos x="connsiteX41813" y="connsiteY41813"/>
              </a:cxn>
              <a:cxn ang="0">
                <a:pos x="connsiteX41814" y="connsiteY41814"/>
              </a:cxn>
              <a:cxn ang="0">
                <a:pos x="connsiteX41815" y="connsiteY41815"/>
              </a:cxn>
              <a:cxn ang="0">
                <a:pos x="connsiteX41816" y="connsiteY41816"/>
              </a:cxn>
              <a:cxn ang="0">
                <a:pos x="connsiteX41817" y="connsiteY41817"/>
              </a:cxn>
              <a:cxn ang="0">
                <a:pos x="connsiteX41818" y="connsiteY41818"/>
              </a:cxn>
              <a:cxn ang="0">
                <a:pos x="connsiteX41819" y="connsiteY41819"/>
              </a:cxn>
              <a:cxn ang="0">
                <a:pos x="connsiteX41820" y="connsiteY41820"/>
              </a:cxn>
              <a:cxn ang="0">
                <a:pos x="connsiteX41821" y="connsiteY41821"/>
              </a:cxn>
              <a:cxn ang="0">
                <a:pos x="connsiteX41822" y="connsiteY41822"/>
              </a:cxn>
              <a:cxn ang="0">
                <a:pos x="connsiteX41823" y="connsiteY41823"/>
              </a:cxn>
              <a:cxn ang="0">
                <a:pos x="connsiteX41824" y="connsiteY41824"/>
              </a:cxn>
              <a:cxn ang="0">
                <a:pos x="connsiteX41825" y="connsiteY41825"/>
              </a:cxn>
              <a:cxn ang="0">
                <a:pos x="connsiteX41826" y="connsiteY41826"/>
              </a:cxn>
              <a:cxn ang="0">
                <a:pos x="connsiteX41827" y="connsiteY41827"/>
              </a:cxn>
              <a:cxn ang="0">
                <a:pos x="connsiteX41828" y="connsiteY41828"/>
              </a:cxn>
              <a:cxn ang="0">
                <a:pos x="connsiteX41829" y="connsiteY41829"/>
              </a:cxn>
              <a:cxn ang="0">
                <a:pos x="connsiteX41830" y="connsiteY41830"/>
              </a:cxn>
              <a:cxn ang="0">
                <a:pos x="connsiteX41831" y="connsiteY41831"/>
              </a:cxn>
              <a:cxn ang="0">
                <a:pos x="connsiteX41832" y="connsiteY41832"/>
              </a:cxn>
              <a:cxn ang="0">
                <a:pos x="connsiteX41833" y="connsiteY41833"/>
              </a:cxn>
              <a:cxn ang="0">
                <a:pos x="connsiteX41834" y="connsiteY41834"/>
              </a:cxn>
              <a:cxn ang="0">
                <a:pos x="connsiteX41835" y="connsiteY41835"/>
              </a:cxn>
              <a:cxn ang="0">
                <a:pos x="connsiteX41836" y="connsiteY41836"/>
              </a:cxn>
              <a:cxn ang="0">
                <a:pos x="connsiteX41837" y="connsiteY41837"/>
              </a:cxn>
              <a:cxn ang="0">
                <a:pos x="connsiteX41838" y="connsiteY41838"/>
              </a:cxn>
              <a:cxn ang="0">
                <a:pos x="connsiteX41839" y="connsiteY41839"/>
              </a:cxn>
              <a:cxn ang="0">
                <a:pos x="connsiteX41840" y="connsiteY41840"/>
              </a:cxn>
              <a:cxn ang="0">
                <a:pos x="connsiteX41841" y="connsiteY41841"/>
              </a:cxn>
              <a:cxn ang="0">
                <a:pos x="connsiteX41842" y="connsiteY41842"/>
              </a:cxn>
              <a:cxn ang="0">
                <a:pos x="connsiteX41843" y="connsiteY41843"/>
              </a:cxn>
              <a:cxn ang="0">
                <a:pos x="connsiteX41844" y="connsiteY41844"/>
              </a:cxn>
              <a:cxn ang="0">
                <a:pos x="connsiteX41845" y="connsiteY41845"/>
              </a:cxn>
              <a:cxn ang="0">
                <a:pos x="connsiteX41846" y="connsiteY41846"/>
              </a:cxn>
              <a:cxn ang="0">
                <a:pos x="connsiteX41847" y="connsiteY41847"/>
              </a:cxn>
              <a:cxn ang="0">
                <a:pos x="connsiteX41848" y="connsiteY41848"/>
              </a:cxn>
              <a:cxn ang="0">
                <a:pos x="connsiteX41849" y="connsiteY41849"/>
              </a:cxn>
              <a:cxn ang="0">
                <a:pos x="connsiteX41850" y="connsiteY41850"/>
              </a:cxn>
              <a:cxn ang="0">
                <a:pos x="connsiteX41851" y="connsiteY41851"/>
              </a:cxn>
              <a:cxn ang="0">
                <a:pos x="connsiteX41852" y="connsiteY41852"/>
              </a:cxn>
              <a:cxn ang="0">
                <a:pos x="connsiteX41853" y="connsiteY41853"/>
              </a:cxn>
              <a:cxn ang="0">
                <a:pos x="connsiteX41854" y="connsiteY41854"/>
              </a:cxn>
              <a:cxn ang="0">
                <a:pos x="connsiteX41855" y="connsiteY41855"/>
              </a:cxn>
              <a:cxn ang="0">
                <a:pos x="connsiteX41856" y="connsiteY41856"/>
              </a:cxn>
              <a:cxn ang="0">
                <a:pos x="connsiteX41857" y="connsiteY41857"/>
              </a:cxn>
              <a:cxn ang="0">
                <a:pos x="connsiteX41858" y="connsiteY41858"/>
              </a:cxn>
              <a:cxn ang="0">
                <a:pos x="connsiteX41859" y="connsiteY41859"/>
              </a:cxn>
              <a:cxn ang="0">
                <a:pos x="connsiteX41860" y="connsiteY41860"/>
              </a:cxn>
              <a:cxn ang="0">
                <a:pos x="connsiteX41861" y="connsiteY41861"/>
              </a:cxn>
              <a:cxn ang="0">
                <a:pos x="connsiteX41862" y="connsiteY41862"/>
              </a:cxn>
              <a:cxn ang="0">
                <a:pos x="connsiteX41863" y="connsiteY41863"/>
              </a:cxn>
              <a:cxn ang="0">
                <a:pos x="connsiteX41864" y="connsiteY41864"/>
              </a:cxn>
              <a:cxn ang="0">
                <a:pos x="connsiteX41865" y="connsiteY41865"/>
              </a:cxn>
              <a:cxn ang="0">
                <a:pos x="connsiteX41866" y="connsiteY41866"/>
              </a:cxn>
              <a:cxn ang="0">
                <a:pos x="connsiteX41867" y="connsiteY41867"/>
              </a:cxn>
              <a:cxn ang="0">
                <a:pos x="connsiteX41868" y="connsiteY41868"/>
              </a:cxn>
              <a:cxn ang="0">
                <a:pos x="connsiteX41869" y="connsiteY41869"/>
              </a:cxn>
              <a:cxn ang="0">
                <a:pos x="connsiteX41870" y="connsiteY41870"/>
              </a:cxn>
              <a:cxn ang="0">
                <a:pos x="connsiteX41871" y="connsiteY41871"/>
              </a:cxn>
              <a:cxn ang="0">
                <a:pos x="connsiteX41872" y="connsiteY41872"/>
              </a:cxn>
              <a:cxn ang="0">
                <a:pos x="connsiteX41873" y="connsiteY41873"/>
              </a:cxn>
              <a:cxn ang="0">
                <a:pos x="connsiteX41874" y="connsiteY41874"/>
              </a:cxn>
              <a:cxn ang="0">
                <a:pos x="connsiteX41875" y="connsiteY41875"/>
              </a:cxn>
              <a:cxn ang="0">
                <a:pos x="connsiteX41876" y="connsiteY41876"/>
              </a:cxn>
              <a:cxn ang="0">
                <a:pos x="connsiteX41877" y="connsiteY41877"/>
              </a:cxn>
              <a:cxn ang="0">
                <a:pos x="connsiteX41878" y="connsiteY41878"/>
              </a:cxn>
              <a:cxn ang="0">
                <a:pos x="connsiteX41879" y="connsiteY41879"/>
              </a:cxn>
              <a:cxn ang="0">
                <a:pos x="connsiteX41880" y="connsiteY41880"/>
              </a:cxn>
              <a:cxn ang="0">
                <a:pos x="connsiteX41881" y="connsiteY41881"/>
              </a:cxn>
              <a:cxn ang="0">
                <a:pos x="connsiteX41882" y="connsiteY41882"/>
              </a:cxn>
              <a:cxn ang="0">
                <a:pos x="connsiteX41883" y="connsiteY41883"/>
              </a:cxn>
              <a:cxn ang="0">
                <a:pos x="connsiteX41884" y="connsiteY41884"/>
              </a:cxn>
              <a:cxn ang="0">
                <a:pos x="connsiteX41885" y="connsiteY41885"/>
              </a:cxn>
              <a:cxn ang="0">
                <a:pos x="connsiteX41886" y="connsiteY41886"/>
              </a:cxn>
              <a:cxn ang="0">
                <a:pos x="connsiteX41887" y="connsiteY41887"/>
              </a:cxn>
              <a:cxn ang="0">
                <a:pos x="connsiteX41888" y="connsiteY41888"/>
              </a:cxn>
              <a:cxn ang="0">
                <a:pos x="connsiteX41889" y="connsiteY41889"/>
              </a:cxn>
              <a:cxn ang="0">
                <a:pos x="connsiteX41890" y="connsiteY41890"/>
              </a:cxn>
              <a:cxn ang="0">
                <a:pos x="connsiteX41891" y="connsiteY41891"/>
              </a:cxn>
              <a:cxn ang="0">
                <a:pos x="connsiteX41892" y="connsiteY41892"/>
              </a:cxn>
              <a:cxn ang="0">
                <a:pos x="connsiteX41893" y="connsiteY41893"/>
              </a:cxn>
              <a:cxn ang="0">
                <a:pos x="connsiteX41894" y="connsiteY41894"/>
              </a:cxn>
              <a:cxn ang="0">
                <a:pos x="connsiteX41895" y="connsiteY41895"/>
              </a:cxn>
              <a:cxn ang="0">
                <a:pos x="connsiteX41896" y="connsiteY41896"/>
              </a:cxn>
              <a:cxn ang="0">
                <a:pos x="connsiteX41897" y="connsiteY41897"/>
              </a:cxn>
              <a:cxn ang="0">
                <a:pos x="connsiteX41898" y="connsiteY41898"/>
              </a:cxn>
              <a:cxn ang="0">
                <a:pos x="connsiteX41899" y="connsiteY41899"/>
              </a:cxn>
              <a:cxn ang="0">
                <a:pos x="connsiteX41900" y="connsiteY41900"/>
              </a:cxn>
              <a:cxn ang="0">
                <a:pos x="connsiteX41901" y="connsiteY41901"/>
              </a:cxn>
              <a:cxn ang="0">
                <a:pos x="connsiteX41902" y="connsiteY41902"/>
              </a:cxn>
              <a:cxn ang="0">
                <a:pos x="connsiteX41903" y="connsiteY41903"/>
              </a:cxn>
              <a:cxn ang="0">
                <a:pos x="connsiteX41904" y="connsiteY41904"/>
              </a:cxn>
              <a:cxn ang="0">
                <a:pos x="connsiteX41905" y="connsiteY41905"/>
              </a:cxn>
              <a:cxn ang="0">
                <a:pos x="connsiteX41906" y="connsiteY41906"/>
              </a:cxn>
              <a:cxn ang="0">
                <a:pos x="connsiteX41907" y="connsiteY41907"/>
              </a:cxn>
              <a:cxn ang="0">
                <a:pos x="connsiteX41908" y="connsiteY41908"/>
              </a:cxn>
              <a:cxn ang="0">
                <a:pos x="connsiteX41909" y="connsiteY41909"/>
              </a:cxn>
              <a:cxn ang="0">
                <a:pos x="connsiteX41910" y="connsiteY41910"/>
              </a:cxn>
              <a:cxn ang="0">
                <a:pos x="connsiteX41911" y="connsiteY41911"/>
              </a:cxn>
              <a:cxn ang="0">
                <a:pos x="connsiteX41912" y="connsiteY41912"/>
              </a:cxn>
              <a:cxn ang="0">
                <a:pos x="connsiteX41913" y="connsiteY41913"/>
              </a:cxn>
              <a:cxn ang="0">
                <a:pos x="connsiteX41914" y="connsiteY41914"/>
              </a:cxn>
              <a:cxn ang="0">
                <a:pos x="connsiteX41915" y="connsiteY41915"/>
              </a:cxn>
              <a:cxn ang="0">
                <a:pos x="connsiteX41916" y="connsiteY41916"/>
              </a:cxn>
              <a:cxn ang="0">
                <a:pos x="connsiteX41917" y="connsiteY41917"/>
              </a:cxn>
              <a:cxn ang="0">
                <a:pos x="connsiteX41918" y="connsiteY41918"/>
              </a:cxn>
              <a:cxn ang="0">
                <a:pos x="connsiteX41919" y="connsiteY41919"/>
              </a:cxn>
              <a:cxn ang="0">
                <a:pos x="connsiteX41920" y="connsiteY41920"/>
              </a:cxn>
              <a:cxn ang="0">
                <a:pos x="connsiteX41921" y="connsiteY41921"/>
              </a:cxn>
              <a:cxn ang="0">
                <a:pos x="connsiteX41922" y="connsiteY41922"/>
              </a:cxn>
              <a:cxn ang="0">
                <a:pos x="connsiteX41923" y="connsiteY41923"/>
              </a:cxn>
              <a:cxn ang="0">
                <a:pos x="connsiteX41924" y="connsiteY41924"/>
              </a:cxn>
              <a:cxn ang="0">
                <a:pos x="connsiteX41925" y="connsiteY41925"/>
              </a:cxn>
              <a:cxn ang="0">
                <a:pos x="connsiteX41926" y="connsiteY41926"/>
              </a:cxn>
              <a:cxn ang="0">
                <a:pos x="connsiteX41927" y="connsiteY41927"/>
              </a:cxn>
              <a:cxn ang="0">
                <a:pos x="connsiteX41928" y="connsiteY41928"/>
              </a:cxn>
              <a:cxn ang="0">
                <a:pos x="connsiteX41929" y="connsiteY41929"/>
              </a:cxn>
              <a:cxn ang="0">
                <a:pos x="connsiteX41930" y="connsiteY41930"/>
              </a:cxn>
              <a:cxn ang="0">
                <a:pos x="connsiteX41931" y="connsiteY41931"/>
              </a:cxn>
              <a:cxn ang="0">
                <a:pos x="connsiteX41932" y="connsiteY41932"/>
              </a:cxn>
              <a:cxn ang="0">
                <a:pos x="connsiteX41933" y="connsiteY41933"/>
              </a:cxn>
              <a:cxn ang="0">
                <a:pos x="connsiteX41934" y="connsiteY41934"/>
              </a:cxn>
              <a:cxn ang="0">
                <a:pos x="connsiteX41935" y="connsiteY41935"/>
              </a:cxn>
              <a:cxn ang="0">
                <a:pos x="connsiteX41936" y="connsiteY41936"/>
              </a:cxn>
              <a:cxn ang="0">
                <a:pos x="connsiteX41937" y="connsiteY41937"/>
              </a:cxn>
              <a:cxn ang="0">
                <a:pos x="connsiteX41938" y="connsiteY41938"/>
              </a:cxn>
              <a:cxn ang="0">
                <a:pos x="connsiteX41939" y="connsiteY41939"/>
              </a:cxn>
              <a:cxn ang="0">
                <a:pos x="connsiteX41940" y="connsiteY41940"/>
              </a:cxn>
              <a:cxn ang="0">
                <a:pos x="connsiteX41941" y="connsiteY41941"/>
              </a:cxn>
              <a:cxn ang="0">
                <a:pos x="connsiteX41942" y="connsiteY41942"/>
              </a:cxn>
              <a:cxn ang="0">
                <a:pos x="connsiteX41943" y="connsiteY41943"/>
              </a:cxn>
              <a:cxn ang="0">
                <a:pos x="connsiteX41944" y="connsiteY41944"/>
              </a:cxn>
              <a:cxn ang="0">
                <a:pos x="connsiteX41945" y="connsiteY41945"/>
              </a:cxn>
              <a:cxn ang="0">
                <a:pos x="connsiteX41946" y="connsiteY41946"/>
              </a:cxn>
              <a:cxn ang="0">
                <a:pos x="connsiteX41947" y="connsiteY41947"/>
              </a:cxn>
              <a:cxn ang="0">
                <a:pos x="connsiteX41948" y="connsiteY41948"/>
              </a:cxn>
              <a:cxn ang="0">
                <a:pos x="connsiteX41949" y="connsiteY41949"/>
              </a:cxn>
              <a:cxn ang="0">
                <a:pos x="connsiteX41950" y="connsiteY41950"/>
              </a:cxn>
              <a:cxn ang="0">
                <a:pos x="connsiteX41951" y="connsiteY41951"/>
              </a:cxn>
              <a:cxn ang="0">
                <a:pos x="connsiteX41952" y="connsiteY41952"/>
              </a:cxn>
              <a:cxn ang="0">
                <a:pos x="connsiteX41953" y="connsiteY41953"/>
              </a:cxn>
              <a:cxn ang="0">
                <a:pos x="connsiteX41954" y="connsiteY41954"/>
              </a:cxn>
              <a:cxn ang="0">
                <a:pos x="connsiteX41955" y="connsiteY41955"/>
              </a:cxn>
              <a:cxn ang="0">
                <a:pos x="connsiteX41956" y="connsiteY41956"/>
              </a:cxn>
              <a:cxn ang="0">
                <a:pos x="connsiteX41957" y="connsiteY41957"/>
              </a:cxn>
              <a:cxn ang="0">
                <a:pos x="connsiteX41958" y="connsiteY41958"/>
              </a:cxn>
              <a:cxn ang="0">
                <a:pos x="connsiteX41959" y="connsiteY41959"/>
              </a:cxn>
              <a:cxn ang="0">
                <a:pos x="connsiteX41960" y="connsiteY41960"/>
              </a:cxn>
              <a:cxn ang="0">
                <a:pos x="connsiteX41961" y="connsiteY41961"/>
              </a:cxn>
              <a:cxn ang="0">
                <a:pos x="connsiteX41962" y="connsiteY41962"/>
              </a:cxn>
              <a:cxn ang="0">
                <a:pos x="connsiteX41963" y="connsiteY41963"/>
              </a:cxn>
              <a:cxn ang="0">
                <a:pos x="connsiteX41964" y="connsiteY41964"/>
              </a:cxn>
              <a:cxn ang="0">
                <a:pos x="connsiteX41965" y="connsiteY41965"/>
              </a:cxn>
              <a:cxn ang="0">
                <a:pos x="connsiteX41966" y="connsiteY41966"/>
              </a:cxn>
              <a:cxn ang="0">
                <a:pos x="connsiteX41967" y="connsiteY41967"/>
              </a:cxn>
              <a:cxn ang="0">
                <a:pos x="connsiteX41968" y="connsiteY41968"/>
              </a:cxn>
              <a:cxn ang="0">
                <a:pos x="connsiteX41969" y="connsiteY41969"/>
              </a:cxn>
              <a:cxn ang="0">
                <a:pos x="connsiteX41970" y="connsiteY41970"/>
              </a:cxn>
              <a:cxn ang="0">
                <a:pos x="connsiteX41971" y="connsiteY41971"/>
              </a:cxn>
              <a:cxn ang="0">
                <a:pos x="connsiteX41972" y="connsiteY41972"/>
              </a:cxn>
              <a:cxn ang="0">
                <a:pos x="connsiteX41973" y="connsiteY41973"/>
              </a:cxn>
              <a:cxn ang="0">
                <a:pos x="connsiteX41974" y="connsiteY41974"/>
              </a:cxn>
              <a:cxn ang="0">
                <a:pos x="connsiteX41975" y="connsiteY41975"/>
              </a:cxn>
              <a:cxn ang="0">
                <a:pos x="connsiteX41976" y="connsiteY41976"/>
              </a:cxn>
              <a:cxn ang="0">
                <a:pos x="connsiteX41977" y="connsiteY41977"/>
              </a:cxn>
              <a:cxn ang="0">
                <a:pos x="connsiteX41978" y="connsiteY41978"/>
              </a:cxn>
              <a:cxn ang="0">
                <a:pos x="connsiteX41979" y="connsiteY41979"/>
              </a:cxn>
              <a:cxn ang="0">
                <a:pos x="connsiteX41980" y="connsiteY41980"/>
              </a:cxn>
              <a:cxn ang="0">
                <a:pos x="connsiteX41981" y="connsiteY41981"/>
              </a:cxn>
              <a:cxn ang="0">
                <a:pos x="connsiteX41982" y="connsiteY41982"/>
              </a:cxn>
              <a:cxn ang="0">
                <a:pos x="connsiteX41983" y="connsiteY41983"/>
              </a:cxn>
              <a:cxn ang="0">
                <a:pos x="connsiteX41984" y="connsiteY41984"/>
              </a:cxn>
              <a:cxn ang="0">
                <a:pos x="connsiteX41985" y="connsiteY41985"/>
              </a:cxn>
              <a:cxn ang="0">
                <a:pos x="connsiteX41986" y="connsiteY41986"/>
              </a:cxn>
              <a:cxn ang="0">
                <a:pos x="connsiteX41987" y="connsiteY41987"/>
              </a:cxn>
              <a:cxn ang="0">
                <a:pos x="connsiteX41988" y="connsiteY41988"/>
              </a:cxn>
              <a:cxn ang="0">
                <a:pos x="connsiteX41989" y="connsiteY41989"/>
              </a:cxn>
              <a:cxn ang="0">
                <a:pos x="connsiteX41990" y="connsiteY41990"/>
              </a:cxn>
              <a:cxn ang="0">
                <a:pos x="connsiteX41991" y="connsiteY41991"/>
              </a:cxn>
              <a:cxn ang="0">
                <a:pos x="connsiteX41992" y="connsiteY41992"/>
              </a:cxn>
              <a:cxn ang="0">
                <a:pos x="connsiteX41993" y="connsiteY41993"/>
              </a:cxn>
              <a:cxn ang="0">
                <a:pos x="connsiteX41994" y="connsiteY41994"/>
              </a:cxn>
              <a:cxn ang="0">
                <a:pos x="connsiteX41995" y="connsiteY41995"/>
              </a:cxn>
              <a:cxn ang="0">
                <a:pos x="connsiteX41996" y="connsiteY41996"/>
              </a:cxn>
              <a:cxn ang="0">
                <a:pos x="connsiteX41997" y="connsiteY41997"/>
              </a:cxn>
              <a:cxn ang="0">
                <a:pos x="connsiteX41998" y="connsiteY41998"/>
              </a:cxn>
              <a:cxn ang="0">
                <a:pos x="connsiteX41999" y="connsiteY41999"/>
              </a:cxn>
              <a:cxn ang="0">
                <a:pos x="connsiteX42000" y="connsiteY42000"/>
              </a:cxn>
              <a:cxn ang="0">
                <a:pos x="connsiteX42001" y="connsiteY42001"/>
              </a:cxn>
              <a:cxn ang="0">
                <a:pos x="connsiteX42002" y="connsiteY42002"/>
              </a:cxn>
              <a:cxn ang="0">
                <a:pos x="connsiteX42003" y="connsiteY42003"/>
              </a:cxn>
              <a:cxn ang="0">
                <a:pos x="connsiteX42004" y="connsiteY42004"/>
              </a:cxn>
              <a:cxn ang="0">
                <a:pos x="connsiteX42005" y="connsiteY42005"/>
              </a:cxn>
              <a:cxn ang="0">
                <a:pos x="connsiteX42006" y="connsiteY42006"/>
              </a:cxn>
              <a:cxn ang="0">
                <a:pos x="connsiteX42007" y="connsiteY42007"/>
              </a:cxn>
              <a:cxn ang="0">
                <a:pos x="connsiteX42008" y="connsiteY42008"/>
              </a:cxn>
              <a:cxn ang="0">
                <a:pos x="connsiteX42009" y="connsiteY42009"/>
              </a:cxn>
              <a:cxn ang="0">
                <a:pos x="connsiteX42010" y="connsiteY42010"/>
              </a:cxn>
              <a:cxn ang="0">
                <a:pos x="connsiteX42011" y="connsiteY42011"/>
              </a:cxn>
              <a:cxn ang="0">
                <a:pos x="connsiteX42012" y="connsiteY42012"/>
              </a:cxn>
              <a:cxn ang="0">
                <a:pos x="connsiteX42013" y="connsiteY42013"/>
              </a:cxn>
              <a:cxn ang="0">
                <a:pos x="connsiteX42014" y="connsiteY42014"/>
              </a:cxn>
              <a:cxn ang="0">
                <a:pos x="connsiteX42015" y="connsiteY42015"/>
              </a:cxn>
              <a:cxn ang="0">
                <a:pos x="connsiteX42016" y="connsiteY42016"/>
              </a:cxn>
              <a:cxn ang="0">
                <a:pos x="connsiteX42017" y="connsiteY42017"/>
              </a:cxn>
              <a:cxn ang="0">
                <a:pos x="connsiteX42018" y="connsiteY42018"/>
              </a:cxn>
              <a:cxn ang="0">
                <a:pos x="connsiteX42019" y="connsiteY42019"/>
              </a:cxn>
              <a:cxn ang="0">
                <a:pos x="connsiteX42020" y="connsiteY42020"/>
              </a:cxn>
              <a:cxn ang="0">
                <a:pos x="connsiteX42021" y="connsiteY42021"/>
              </a:cxn>
              <a:cxn ang="0">
                <a:pos x="connsiteX42022" y="connsiteY42022"/>
              </a:cxn>
              <a:cxn ang="0">
                <a:pos x="connsiteX42023" y="connsiteY42023"/>
              </a:cxn>
              <a:cxn ang="0">
                <a:pos x="connsiteX42024" y="connsiteY42024"/>
              </a:cxn>
              <a:cxn ang="0">
                <a:pos x="connsiteX42025" y="connsiteY42025"/>
              </a:cxn>
              <a:cxn ang="0">
                <a:pos x="connsiteX42026" y="connsiteY42026"/>
              </a:cxn>
              <a:cxn ang="0">
                <a:pos x="connsiteX42027" y="connsiteY42027"/>
              </a:cxn>
              <a:cxn ang="0">
                <a:pos x="connsiteX42028" y="connsiteY42028"/>
              </a:cxn>
              <a:cxn ang="0">
                <a:pos x="connsiteX42029" y="connsiteY42029"/>
              </a:cxn>
              <a:cxn ang="0">
                <a:pos x="connsiteX42030" y="connsiteY42030"/>
              </a:cxn>
              <a:cxn ang="0">
                <a:pos x="connsiteX42031" y="connsiteY42031"/>
              </a:cxn>
              <a:cxn ang="0">
                <a:pos x="connsiteX42032" y="connsiteY42032"/>
              </a:cxn>
              <a:cxn ang="0">
                <a:pos x="connsiteX42033" y="connsiteY42033"/>
              </a:cxn>
              <a:cxn ang="0">
                <a:pos x="connsiteX42034" y="connsiteY42034"/>
              </a:cxn>
              <a:cxn ang="0">
                <a:pos x="connsiteX42035" y="connsiteY42035"/>
              </a:cxn>
              <a:cxn ang="0">
                <a:pos x="connsiteX42036" y="connsiteY42036"/>
              </a:cxn>
              <a:cxn ang="0">
                <a:pos x="connsiteX42037" y="connsiteY42037"/>
              </a:cxn>
              <a:cxn ang="0">
                <a:pos x="connsiteX42038" y="connsiteY42038"/>
              </a:cxn>
              <a:cxn ang="0">
                <a:pos x="connsiteX42039" y="connsiteY42039"/>
              </a:cxn>
              <a:cxn ang="0">
                <a:pos x="connsiteX42040" y="connsiteY42040"/>
              </a:cxn>
              <a:cxn ang="0">
                <a:pos x="connsiteX42041" y="connsiteY42041"/>
              </a:cxn>
              <a:cxn ang="0">
                <a:pos x="connsiteX42042" y="connsiteY42042"/>
              </a:cxn>
              <a:cxn ang="0">
                <a:pos x="connsiteX42043" y="connsiteY42043"/>
              </a:cxn>
              <a:cxn ang="0">
                <a:pos x="connsiteX42044" y="connsiteY42044"/>
              </a:cxn>
              <a:cxn ang="0">
                <a:pos x="connsiteX42045" y="connsiteY42045"/>
              </a:cxn>
              <a:cxn ang="0">
                <a:pos x="connsiteX42046" y="connsiteY42046"/>
              </a:cxn>
              <a:cxn ang="0">
                <a:pos x="connsiteX42047" y="connsiteY42047"/>
              </a:cxn>
              <a:cxn ang="0">
                <a:pos x="connsiteX42048" y="connsiteY42048"/>
              </a:cxn>
              <a:cxn ang="0">
                <a:pos x="connsiteX42049" y="connsiteY42049"/>
              </a:cxn>
              <a:cxn ang="0">
                <a:pos x="connsiteX42050" y="connsiteY42050"/>
              </a:cxn>
              <a:cxn ang="0">
                <a:pos x="connsiteX42051" y="connsiteY42051"/>
              </a:cxn>
              <a:cxn ang="0">
                <a:pos x="connsiteX42052" y="connsiteY42052"/>
              </a:cxn>
              <a:cxn ang="0">
                <a:pos x="connsiteX42053" y="connsiteY42053"/>
              </a:cxn>
              <a:cxn ang="0">
                <a:pos x="connsiteX42054" y="connsiteY42054"/>
              </a:cxn>
              <a:cxn ang="0">
                <a:pos x="connsiteX42055" y="connsiteY42055"/>
              </a:cxn>
              <a:cxn ang="0">
                <a:pos x="connsiteX42056" y="connsiteY42056"/>
              </a:cxn>
              <a:cxn ang="0">
                <a:pos x="connsiteX42057" y="connsiteY42057"/>
              </a:cxn>
              <a:cxn ang="0">
                <a:pos x="connsiteX42058" y="connsiteY42058"/>
              </a:cxn>
              <a:cxn ang="0">
                <a:pos x="connsiteX42059" y="connsiteY42059"/>
              </a:cxn>
              <a:cxn ang="0">
                <a:pos x="connsiteX42060" y="connsiteY42060"/>
              </a:cxn>
              <a:cxn ang="0">
                <a:pos x="connsiteX42061" y="connsiteY42061"/>
              </a:cxn>
              <a:cxn ang="0">
                <a:pos x="connsiteX42062" y="connsiteY42062"/>
              </a:cxn>
              <a:cxn ang="0">
                <a:pos x="connsiteX42063" y="connsiteY42063"/>
              </a:cxn>
              <a:cxn ang="0">
                <a:pos x="connsiteX42064" y="connsiteY42064"/>
              </a:cxn>
              <a:cxn ang="0">
                <a:pos x="connsiteX42065" y="connsiteY42065"/>
              </a:cxn>
              <a:cxn ang="0">
                <a:pos x="connsiteX42066" y="connsiteY42066"/>
              </a:cxn>
              <a:cxn ang="0">
                <a:pos x="connsiteX42067" y="connsiteY42067"/>
              </a:cxn>
              <a:cxn ang="0">
                <a:pos x="connsiteX42068" y="connsiteY42068"/>
              </a:cxn>
              <a:cxn ang="0">
                <a:pos x="connsiteX42069" y="connsiteY42069"/>
              </a:cxn>
              <a:cxn ang="0">
                <a:pos x="connsiteX42070" y="connsiteY42070"/>
              </a:cxn>
              <a:cxn ang="0">
                <a:pos x="connsiteX42071" y="connsiteY42071"/>
              </a:cxn>
              <a:cxn ang="0">
                <a:pos x="connsiteX42072" y="connsiteY42072"/>
              </a:cxn>
              <a:cxn ang="0">
                <a:pos x="connsiteX42073" y="connsiteY42073"/>
              </a:cxn>
              <a:cxn ang="0">
                <a:pos x="connsiteX42074" y="connsiteY42074"/>
              </a:cxn>
              <a:cxn ang="0">
                <a:pos x="connsiteX42075" y="connsiteY42075"/>
              </a:cxn>
              <a:cxn ang="0">
                <a:pos x="connsiteX42076" y="connsiteY42076"/>
              </a:cxn>
              <a:cxn ang="0">
                <a:pos x="connsiteX42077" y="connsiteY42077"/>
              </a:cxn>
              <a:cxn ang="0">
                <a:pos x="connsiteX42078" y="connsiteY42078"/>
              </a:cxn>
              <a:cxn ang="0">
                <a:pos x="connsiteX42079" y="connsiteY42079"/>
              </a:cxn>
              <a:cxn ang="0">
                <a:pos x="connsiteX42080" y="connsiteY42080"/>
              </a:cxn>
              <a:cxn ang="0">
                <a:pos x="connsiteX42081" y="connsiteY42081"/>
              </a:cxn>
              <a:cxn ang="0">
                <a:pos x="connsiteX42082" y="connsiteY42082"/>
              </a:cxn>
              <a:cxn ang="0">
                <a:pos x="connsiteX42083" y="connsiteY42083"/>
              </a:cxn>
              <a:cxn ang="0">
                <a:pos x="connsiteX42084" y="connsiteY42084"/>
              </a:cxn>
              <a:cxn ang="0">
                <a:pos x="connsiteX42085" y="connsiteY42085"/>
              </a:cxn>
              <a:cxn ang="0">
                <a:pos x="connsiteX42086" y="connsiteY42086"/>
              </a:cxn>
              <a:cxn ang="0">
                <a:pos x="connsiteX42087" y="connsiteY42087"/>
              </a:cxn>
              <a:cxn ang="0">
                <a:pos x="connsiteX42088" y="connsiteY42088"/>
              </a:cxn>
              <a:cxn ang="0">
                <a:pos x="connsiteX42089" y="connsiteY42089"/>
              </a:cxn>
              <a:cxn ang="0">
                <a:pos x="connsiteX42090" y="connsiteY42090"/>
              </a:cxn>
              <a:cxn ang="0">
                <a:pos x="connsiteX42091" y="connsiteY42091"/>
              </a:cxn>
              <a:cxn ang="0">
                <a:pos x="connsiteX42092" y="connsiteY42092"/>
              </a:cxn>
              <a:cxn ang="0">
                <a:pos x="connsiteX42093" y="connsiteY42093"/>
              </a:cxn>
              <a:cxn ang="0">
                <a:pos x="connsiteX42094" y="connsiteY42094"/>
              </a:cxn>
              <a:cxn ang="0">
                <a:pos x="connsiteX42095" y="connsiteY42095"/>
              </a:cxn>
              <a:cxn ang="0">
                <a:pos x="connsiteX42096" y="connsiteY42096"/>
              </a:cxn>
              <a:cxn ang="0">
                <a:pos x="connsiteX42097" y="connsiteY42097"/>
              </a:cxn>
              <a:cxn ang="0">
                <a:pos x="connsiteX42098" y="connsiteY42098"/>
              </a:cxn>
              <a:cxn ang="0">
                <a:pos x="connsiteX42099" y="connsiteY42099"/>
              </a:cxn>
              <a:cxn ang="0">
                <a:pos x="connsiteX42100" y="connsiteY42100"/>
              </a:cxn>
              <a:cxn ang="0">
                <a:pos x="connsiteX42101" y="connsiteY42101"/>
              </a:cxn>
              <a:cxn ang="0">
                <a:pos x="connsiteX42102" y="connsiteY42102"/>
              </a:cxn>
              <a:cxn ang="0">
                <a:pos x="connsiteX42103" y="connsiteY42103"/>
              </a:cxn>
              <a:cxn ang="0">
                <a:pos x="connsiteX42104" y="connsiteY42104"/>
              </a:cxn>
              <a:cxn ang="0">
                <a:pos x="connsiteX42105" y="connsiteY42105"/>
              </a:cxn>
              <a:cxn ang="0">
                <a:pos x="connsiteX42106" y="connsiteY42106"/>
              </a:cxn>
              <a:cxn ang="0">
                <a:pos x="connsiteX42107" y="connsiteY42107"/>
              </a:cxn>
              <a:cxn ang="0">
                <a:pos x="connsiteX42108" y="connsiteY42108"/>
              </a:cxn>
              <a:cxn ang="0">
                <a:pos x="connsiteX42109" y="connsiteY42109"/>
              </a:cxn>
              <a:cxn ang="0">
                <a:pos x="connsiteX42110" y="connsiteY42110"/>
              </a:cxn>
              <a:cxn ang="0">
                <a:pos x="connsiteX42111" y="connsiteY42111"/>
              </a:cxn>
              <a:cxn ang="0">
                <a:pos x="connsiteX42112" y="connsiteY42112"/>
              </a:cxn>
              <a:cxn ang="0">
                <a:pos x="connsiteX42113" y="connsiteY42113"/>
              </a:cxn>
              <a:cxn ang="0">
                <a:pos x="connsiteX42114" y="connsiteY42114"/>
              </a:cxn>
              <a:cxn ang="0">
                <a:pos x="connsiteX42115" y="connsiteY42115"/>
              </a:cxn>
              <a:cxn ang="0">
                <a:pos x="connsiteX42116" y="connsiteY42116"/>
              </a:cxn>
              <a:cxn ang="0">
                <a:pos x="connsiteX42117" y="connsiteY42117"/>
              </a:cxn>
              <a:cxn ang="0">
                <a:pos x="connsiteX42118" y="connsiteY42118"/>
              </a:cxn>
              <a:cxn ang="0">
                <a:pos x="connsiteX42119" y="connsiteY42119"/>
              </a:cxn>
              <a:cxn ang="0">
                <a:pos x="connsiteX42120" y="connsiteY42120"/>
              </a:cxn>
              <a:cxn ang="0">
                <a:pos x="connsiteX42121" y="connsiteY42121"/>
              </a:cxn>
              <a:cxn ang="0">
                <a:pos x="connsiteX42122" y="connsiteY42122"/>
              </a:cxn>
              <a:cxn ang="0">
                <a:pos x="connsiteX42123" y="connsiteY42123"/>
              </a:cxn>
              <a:cxn ang="0">
                <a:pos x="connsiteX42124" y="connsiteY42124"/>
              </a:cxn>
              <a:cxn ang="0">
                <a:pos x="connsiteX42125" y="connsiteY42125"/>
              </a:cxn>
              <a:cxn ang="0">
                <a:pos x="connsiteX42126" y="connsiteY42126"/>
              </a:cxn>
              <a:cxn ang="0">
                <a:pos x="connsiteX42127" y="connsiteY42127"/>
              </a:cxn>
              <a:cxn ang="0">
                <a:pos x="connsiteX42128" y="connsiteY42128"/>
              </a:cxn>
              <a:cxn ang="0">
                <a:pos x="connsiteX42129" y="connsiteY42129"/>
              </a:cxn>
              <a:cxn ang="0">
                <a:pos x="connsiteX42130" y="connsiteY42130"/>
              </a:cxn>
              <a:cxn ang="0">
                <a:pos x="connsiteX42131" y="connsiteY42131"/>
              </a:cxn>
              <a:cxn ang="0">
                <a:pos x="connsiteX42132" y="connsiteY42132"/>
              </a:cxn>
              <a:cxn ang="0">
                <a:pos x="connsiteX42133" y="connsiteY42133"/>
              </a:cxn>
              <a:cxn ang="0">
                <a:pos x="connsiteX42134" y="connsiteY42134"/>
              </a:cxn>
              <a:cxn ang="0">
                <a:pos x="connsiteX42135" y="connsiteY42135"/>
              </a:cxn>
              <a:cxn ang="0">
                <a:pos x="connsiteX42136" y="connsiteY42136"/>
              </a:cxn>
              <a:cxn ang="0">
                <a:pos x="connsiteX42137" y="connsiteY42137"/>
              </a:cxn>
              <a:cxn ang="0">
                <a:pos x="connsiteX42138" y="connsiteY42138"/>
              </a:cxn>
              <a:cxn ang="0">
                <a:pos x="connsiteX42139" y="connsiteY42139"/>
              </a:cxn>
              <a:cxn ang="0">
                <a:pos x="connsiteX42140" y="connsiteY42140"/>
              </a:cxn>
              <a:cxn ang="0">
                <a:pos x="connsiteX42141" y="connsiteY42141"/>
              </a:cxn>
              <a:cxn ang="0">
                <a:pos x="connsiteX42142" y="connsiteY42142"/>
              </a:cxn>
              <a:cxn ang="0">
                <a:pos x="connsiteX42143" y="connsiteY42143"/>
              </a:cxn>
              <a:cxn ang="0">
                <a:pos x="connsiteX42144" y="connsiteY42144"/>
              </a:cxn>
              <a:cxn ang="0">
                <a:pos x="connsiteX42145" y="connsiteY42145"/>
              </a:cxn>
              <a:cxn ang="0">
                <a:pos x="connsiteX42146" y="connsiteY42146"/>
              </a:cxn>
              <a:cxn ang="0">
                <a:pos x="connsiteX42147" y="connsiteY42147"/>
              </a:cxn>
              <a:cxn ang="0">
                <a:pos x="connsiteX42148" y="connsiteY42148"/>
              </a:cxn>
              <a:cxn ang="0">
                <a:pos x="connsiteX42149" y="connsiteY42149"/>
              </a:cxn>
              <a:cxn ang="0">
                <a:pos x="connsiteX42150" y="connsiteY42150"/>
              </a:cxn>
              <a:cxn ang="0">
                <a:pos x="connsiteX42151" y="connsiteY42151"/>
              </a:cxn>
              <a:cxn ang="0">
                <a:pos x="connsiteX42152" y="connsiteY42152"/>
              </a:cxn>
              <a:cxn ang="0">
                <a:pos x="connsiteX42153" y="connsiteY42153"/>
              </a:cxn>
              <a:cxn ang="0">
                <a:pos x="connsiteX42154" y="connsiteY42154"/>
              </a:cxn>
              <a:cxn ang="0">
                <a:pos x="connsiteX42155" y="connsiteY42155"/>
              </a:cxn>
              <a:cxn ang="0">
                <a:pos x="connsiteX42156" y="connsiteY42156"/>
              </a:cxn>
              <a:cxn ang="0">
                <a:pos x="connsiteX42157" y="connsiteY42157"/>
              </a:cxn>
              <a:cxn ang="0">
                <a:pos x="connsiteX42158" y="connsiteY42158"/>
              </a:cxn>
              <a:cxn ang="0">
                <a:pos x="connsiteX42159" y="connsiteY42159"/>
              </a:cxn>
              <a:cxn ang="0">
                <a:pos x="connsiteX42160" y="connsiteY42160"/>
              </a:cxn>
              <a:cxn ang="0">
                <a:pos x="connsiteX42161" y="connsiteY42161"/>
              </a:cxn>
              <a:cxn ang="0">
                <a:pos x="connsiteX42162" y="connsiteY42162"/>
              </a:cxn>
              <a:cxn ang="0">
                <a:pos x="connsiteX42163" y="connsiteY42163"/>
              </a:cxn>
              <a:cxn ang="0">
                <a:pos x="connsiteX42164" y="connsiteY42164"/>
              </a:cxn>
              <a:cxn ang="0">
                <a:pos x="connsiteX42165" y="connsiteY42165"/>
              </a:cxn>
              <a:cxn ang="0">
                <a:pos x="connsiteX42166" y="connsiteY42166"/>
              </a:cxn>
              <a:cxn ang="0">
                <a:pos x="connsiteX42167" y="connsiteY42167"/>
              </a:cxn>
              <a:cxn ang="0">
                <a:pos x="connsiteX42168" y="connsiteY42168"/>
              </a:cxn>
              <a:cxn ang="0">
                <a:pos x="connsiteX42169" y="connsiteY42169"/>
              </a:cxn>
              <a:cxn ang="0">
                <a:pos x="connsiteX42170" y="connsiteY42170"/>
              </a:cxn>
              <a:cxn ang="0">
                <a:pos x="connsiteX42171" y="connsiteY42171"/>
              </a:cxn>
              <a:cxn ang="0">
                <a:pos x="connsiteX42172" y="connsiteY42172"/>
              </a:cxn>
              <a:cxn ang="0">
                <a:pos x="connsiteX42173" y="connsiteY42173"/>
              </a:cxn>
              <a:cxn ang="0">
                <a:pos x="connsiteX42174" y="connsiteY42174"/>
              </a:cxn>
              <a:cxn ang="0">
                <a:pos x="connsiteX42175" y="connsiteY42175"/>
              </a:cxn>
              <a:cxn ang="0">
                <a:pos x="connsiteX42176" y="connsiteY42176"/>
              </a:cxn>
              <a:cxn ang="0">
                <a:pos x="connsiteX42177" y="connsiteY42177"/>
              </a:cxn>
              <a:cxn ang="0">
                <a:pos x="connsiteX42178" y="connsiteY42178"/>
              </a:cxn>
              <a:cxn ang="0">
                <a:pos x="connsiteX42179" y="connsiteY42179"/>
              </a:cxn>
              <a:cxn ang="0">
                <a:pos x="connsiteX42180" y="connsiteY42180"/>
              </a:cxn>
              <a:cxn ang="0">
                <a:pos x="connsiteX42181" y="connsiteY42181"/>
              </a:cxn>
              <a:cxn ang="0">
                <a:pos x="connsiteX42182" y="connsiteY42182"/>
              </a:cxn>
              <a:cxn ang="0">
                <a:pos x="connsiteX42183" y="connsiteY42183"/>
              </a:cxn>
              <a:cxn ang="0">
                <a:pos x="connsiteX42184" y="connsiteY42184"/>
              </a:cxn>
              <a:cxn ang="0">
                <a:pos x="connsiteX42185" y="connsiteY42185"/>
              </a:cxn>
              <a:cxn ang="0">
                <a:pos x="connsiteX42186" y="connsiteY42186"/>
              </a:cxn>
              <a:cxn ang="0">
                <a:pos x="connsiteX42187" y="connsiteY42187"/>
              </a:cxn>
              <a:cxn ang="0">
                <a:pos x="connsiteX42188" y="connsiteY42188"/>
              </a:cxn>
              <a:cxn ang="0">
                <a:pos x="connsiteX42189" y="connsiteY42189"/>
              </a:cxn>
              <a:cxn ang="0">
                <a:pos x="connsiteX42190" y="connsiteY42190"/>
              </a:cxn>
              <a:cxn ang="0">
                <a:pos x="connsiteX42191" y="connsiteY42191"/>
              </a:cxn>
              <a:cxn ang="0">
                <a:pos x="connsiteX42192" y="connsiteY42192"/>
              </a:cxn>
              <a:cxn ang="0">
                <a:pos x="connsiteX42193" y="connsiteY42193"/>
              </a:cxn>
              <a:cxn ang="0">
                <a:pos x="connsiteX42194" y="connsiteY42194"/>
              </a:cxn>
              <a:cxn ang="0">
                <a:pos x="connsiteX42195" y="connsiteY42195"/>
              </a:cxn>
              <a:cxn ang="0">
                <a:pos x="connsiteX42196" y="connsiteY42196"/>
              </a:cxn>
              <a:cxn ang="0">
                <a:pos x="connsiteX42197" y="connsiteY42197"/>
              </a:cxn>
              <a:cxn ang="0">
                <a:pos x="connsiteX42198" y="connsiteY42198"/>
              </a:cxn>
              <a:cxn ang="0">
                <a:pos x="connsiteX42199" y="connsiteY42199"/>
              </a:cxn>
              <a:cxn ang="0">
                <a:pos x="connsiteX42200" y="connsiteY42200"/>
              </a:cxn>
              <a:cxn ang="0">
                <a:pos x="connsiteX42201" y="connsiteY42201"/>
              </a:cxn>
              <a:cxn ang="0">
                <a:pos x="connsiteX42202" y="connsiteY42202"/>
              </a:cxn>
              <a:cxn ang="0">
                <a:pos x="connsiteX42203" y="connsiteY42203"/>
              </a:cxn>
              <a:cxn ang="0">
                <a:pos x="connsiteX42204" y="connsiteY42204"/>
              </a:cxn>
              <a:cxn ang="0">
                <a:pos x="connsiteX42205" y="connsiteY42205"/>
              </a:cxn>
              <a:cxn ang="0">
                <a:pos x="connsiteX42206" y="connsiteY42206"/>
              </a:cxn>
              <a:cxn ang="0">
                <a:pos x="connsiteX42207" y="connsiteY42207"/>
              </a:cxn>
              <a:cxn ang="0">
                <a:pos x="connsiteX42208" y="connsiteY42208"/>
              </a:cxn>
              <a:cxn ang="0">
                <a:pos x="connsiteX42209" y="connsiteY42209"/>
              </a:cxn>
              <a:cxn ang="0">
                <a:pos x="connsiteX42210" y="connsiteY42210"/>
              </a:cxn>
              <a:cxn ang="0">
                <a:pos x="connsiteX42211" y="connsiteY42211"/>
              </a:cxn>
              <a:cxn ang="0">
                <a:pos x="connsiteX42212" y="connsiteY42212"/>
              </a:cxn>
              <a:cxn ang="0">
                <a:pos x="connsiteX42213" y="connsiteY42213"/>
              </a:cxn>
              <a:cxn ang="0">
                <a:pos x="connsiteX42214" y="connsiteY42214"/>
              </a:cxn>
              <a:cxn ang="0">
                <a:pos x="connsiteX42215" y="connsiteY42215"/>
              </a:cxn>
              <a:cxn ang="0">
                <a:pos x="connsiteX42216" y="connsiteY42216"/>
              </a:cxn>
              <a:cxn ang="0">
                <a:pos x="connsiteX42217" y="connsiteY42217"/>
              </a:cxn>
              <a:cxn ang="0">
                <a:pos x="connsiteX42218" y="connsiteY42218"/>
              </a:cxn>
              <a:cxn ang="0">
                <a:pos x="connsiteX42219" y="connsiteY42219"/>
              </a:cxn>
              <a:cxn ang="0">
                <a:pos x="connsiteX42220" y="connsiteY42220"/>
              </a:cxn>
              <a:cxn ang="0">
                <a:pos x="connsiteX42221" y="connsiteY42221"/>
              </a:cxn>
              <a:cxn ang="0">
                <a:pos x="connsiteX42222" y="connsiteY42222"/>
              </a:cxn>
              <a:cxn ang="0">
                <a:pos x="connsiteX42223" y="connsiteY42223"/>
              </a:cxn>
              <a:cxn ang="0">
                <a:pos x="connsiteX42224" y="connsiteY42224"/>
              </a:cxn>
              <a:cxn ang="0">
                <a:pos x="connsiteX42225" y="connsiteY42225"/>
              </a:cxn>
              <a:cxn ang="0">
                <a:pos x="connsiteX42226" y="connsiteY42226"/>
              </a:cxn>
              <a:cxn ang="0">
                <a:pos x="connsiteX42227" y="connsiteY42227"/>
              </a:cxn>
              <a:cxn ang="0">
                <a:pos x="connsiteX42228" y="connsiteY42228"/>
              </a:cxn>
              <a:cxn ang="0">
                <a:pos x="connsiteX42229" y="connsiteY42229"/>
              </a:cxn>
              <a:cxn ang="0">
                <a:pos x="connsiteX42230" y="connsiteY42230"/>
              </a:cxn>
              <a:cxn ang="0">
                <a:pos x="connsiteX42231" y="connsiteY42231"/>
              </a:cxn>
              <a:cxn ang="0">
                <a:pos x="connsiteX42232" y="connsiteY42232"/>
              </a:cxn>
              <a:cxn ang="0">
                <a:pos x="connsiteX42233" y="connsiteY42233"/>
              </a:cxn>
              <a:cxn ang="0">
                <a:pos x="connsiteX42234" y="connsiteY42234"/>
              </a:cxn>
              <a:cxn ang="0">
                <a:pos x="connsiteX42235" y="connsiteY42235"/>
              </a:cxn>
              <a:cxn ang="0">
                <a:pos x="connsiteX42236" y="connsiteY42236"/>
              </a:cxn>
              <a:cxn ang="0">
                <a:pos x="connsiteX42237" y="connsiteY42237"/>
              </a:cxn>
              <a:cxn ang="0">
                <a:pos x="connsiteX42238" y="connsiteY42238"/>
              </a:cxn>
              <a:cxn ang="0">
                <a:pos x="connsiteX42239" y="connsiteY42239"/>
              </a:cxn>
              <a:cxn ang="0">
                <a:pos x="connsiteX42240" y="connsiteY42240"/>
              </a:cxn>
              <a:cxn ang="0">
                <a:pos x="connsiteX42241" y="connsiteY42241"/>
              </a:cxn>
              <a:cxn ang="0">
                <a:pos x="connsiteX42242" y="connsiteY42242"/>
              </a:cxn>
              <a:cxn ang="0">
                <a:pos x="connsiteX42243" y="connsiteY42243"/>
              </a:cxn>
              <a:cxn ang="0">
                <a:pos x="connsiteX42244" y="connsiteY42244"/>
              </a:cxn>
              <a:cxn ang="0">
                <a:pos x="connsiteX42245" y="connsiteY42245"/>
              </a:cxn>
              <a:cxn ang="0">
                <a:pos x="connsiteX42246" y="connsiteY42246"/>
              </a:cxn>
              <a:cxn ang="0">
                <a:pos x="connsiteX42247" y="connsiteY42247"/>
              </a:cxn>
              <a:cxn ang="0">
                <a:pos x="connsiteX42248" y="connsiteY42248"/>
              </a:cxn>
              <a:cxn ang="0">
                <a:pos x="connsiteX42249" y="connsiteY42249"/>
              </a:cxn>
              <a:cxn ang="0">
                <a:pos x="connsiteX42250" y="connsiteY42250"/>
              </a:cxn>
              <a:cxn ang="0">
                <a:pos x="connsiteX42251" y="connsiteY42251"/>
              </a:cxn>
              <a:cxn ang="0">
                <a:pos x="connsiteX42252" y="connsiteY42252"/>
              </a:cxn>
              <a:cxn ang="0">
                <a:pos x="connsiteX42253" y="connsiteY42253"/>
              </a:cxn>
              <a:cxn ang="0">
                <a:pos x="connsiteX42254" y="connsiteY42254"/>
              </a:cxn>
              <a:cxn ang="0">
                <a:pos x="connsiteX42255" y="connsiteY42255"/>
              </a:cxn>
              <a:cxn ang="0">
                <a:pos x="connsiteX42256" y="connsiteY42256"/>
              </a:cxn>
              <a:cxn ang="0">
                <a:pos x="connsiteX42257" y="connsiteY42257"/>
              </a:cxn>
              <a:cxn ang="0">
                <a:pos x="connsiteX42258" y="connsiteY42258"/>
              </a:cxn>
              <a:cxn ang="0">
                <a:pos x="connsiteX42259" y="connsiteY42259"/>
              </a:cxn>
              <a:cxn ang="0">
                <a:pos x="connsiteX42260" y="connsiteY42260"/>
              </a:cxn>
              <a:cxn ang="0">
                <a:pos x="connsiteX42261" y="connsiteY42261"/>
              </a:cxn>
              <a:cxn ang="0">
                <a:pos x="connsiteX42262" y="connsiteY42262"/>
              </a:cxn>
              <a:cxn ang="0">
                <a:pos x="connsiteX42263" y="connsiteY42263"/>
              </a:cxn>
              <a:cxn ang="0">
                <a:pos x="connsiteX42264" y="connsiteY42264"/>
              </a:cxn>
              <a:cxn ang="0">
                <a:pos x="connsiteX42265" y="connsiteY42265"/>
              </a:cxn>
              <a:cxn ang="0">
                <a:pos x="connsiteX42266" y="connsiteY42266"/>
              </a:cxn>
              <a:cxn ang="0">
                <a:pos x="connsiteX42267" y="connsiteY42267"/>
              </a:cxn>
              <a:cxn ang="0">
                <a:pos x="connsiteX42268" y="connsiteY42268"/>
              </a:cxn>
              <a:cxn ang="0">
                <a:pos x="connsiteX42269" y="connsiteY42269"/>
              </a:cxn>
              <a:cxn ang="0">
                <a:pos x="connsiteX42270" y="connsiteY42270"/>
              </a:cxn>
              <a:cxn ang="0">
                <a:pos x="connsiteX42271" y="connsiteY42271"/>
              </a:cxn>
              <a:cxn ang="0">
                <a:pos x="connsiteX42272" y="connsiteY42272"/>
              </a:cxn>
              <a:cxn ang="0">
                <a:pos x="connsiteX42273" y="connsiteY42273"/>
              </a:cxn>
              <a:cxn ang="0">
                <a:pos x="connsiteX42274" y="connsiteY42274"/>
              </a:cxn>
              <a:cxn ang="0">
                <a:pos x="connsiteX42275" y="connsiteY42275"/>
              </a:cxn>
              <a:cxn ang="0">
                <a:pos x="connsiteX42276" y="connsiteY42276"/>
              </a:cxn>
              <a:cxn ang="0">
                <a:pos x="connsiteX42277" y="connsiteY42277"/>
              </a:cxn>
              <a:cxn ang="0">
                <a:pos x="connsiteX42278" y="connsiteY42278"/>
              </a:cxn>
              <a:cxn ang="0">
                <a:pos x="connsiteX42279" y="connsiteY42279"/>
              </a:cxn>
              <a:cxn ang="0">
                <a:pos x="connsiteX42280" y="connsiteY42280"/>
              </a:cxn>
              <a:cxn ang="0">
                <a:pos x="connsiteX42281" y="connsiteY42281"/>
              </a:cxn>
              <a:cxn ang="0">
                <a:pos x="connsiteX42282" y="connsiteY42282"/>
              </a:cxn>
              <a:cxn ang="0">
                <a:pos x="connsiteX42283" y="connsiteY42283"/>
              </a:cxn>
              <a:cxn ang="0">
                <a:pos x="connsiteX42284" y="connsiteY42284"/>
              </a:cxn>
              <a:cxn ang="0">
                <a:pos x="connsiteX42285" y="connsiteY42285"/>
              </a:cxn>
              <a:cxn ang="0">
                <a:pos x="connsiteX42286" y="connsiteY42286"/>
              </a:cxn>
              <a:cxn ang="0">
                <a:pos x="connsiteX42287" y="connsiteY42287"/>
              </a:cxn>
              <a:cxn ang="0">
                <a:pos x="connsiteX42288" y="connsiteY42288"/>
              </a:cxn>
              <a:cxn ang="0">
                <a:pos x="connsiteX42289" y="connsiteY42289"/>
              </a:cxn>
              <a:cxn ang="0">
                <a:pos x="connsiteX42290" y="connsiteY42290"/>
              </a:cxn>
              <a:cxn ang="0">
                <a:pos x="connsiteX42291" y="connsiteY42291"/>
              </a:cxn>
              <a:cxn ang="0">
                <a:pos x="connsiteX42292" y="connsiteY42292"/>
              </a:cxn>
              <a:cxn ang="0">
                <a:pos x="connsiteX42293" y="connsiteY42293"/>
              </a:cxn>
              <a:cxn ang="0">
                <a:pos x="connsiteX42294" y="connsiteY42294"/>
              </a:cxn>
              <a:cxn ang="0">
                <a:pos x="connsiteX42295" y="connsiteY42295"/>
              </a:cxn>
              <a:cxn ang="0">
                <a:pos x="connsiteX42296" y="connsiteY42296"/>
              </a:cxn>
              <a:cxn ang="0">
                <a:pos x="connsiteX42297" y="connsiteY42297"/>
              </a:cxn>
              <a:cxn ang="0">
                <a:pos x="connsiteX42298" y="connsiteY42298"/>
              </a:cxn>
              <a:cxn ang="0">
                <a:pos x="connsiteX42299" y="connsiteY42299"/>
              </a:cxn>
              <a:cxn ang="0">
                <a:pos x="connsiteX42300" y="connsiteY42300"/>
              </a:cxn>
              <a:cxn ang="0">
                <a:pos x="connsiteX42301" y="connsiteY42301"/>
              </a:cxn>
              <a:cxn ang="0">
                <a:pos x="connsiteX42302" y="connsiteY42302"/>
              </a:cxn>
              <a:cxn ang="0">
                <a:pos x="connsiteX42303" y="connsiteY42303"/>
              </a:cxn>
              <a:cxn ang="0">
                <a:pos x="connsiteX42304" y="connsiteY42304"/>
              </a:cxn>
              <a:cxn ang="0">
                <a:pos x="connsiteX42305" y="connsiteY42305"/>
              </a:cxn>
              <a:cxn ang="0">
                <a:pos x="connsiteX42306" y="connsiteY42306"/>
              </a:cxn>
              <a:cxn ang="0">
                <a:pos x="connsiteX42307" y="connsiteY42307"/>
              </a:cxn>
              <a:cxn ang="0">
                <a:pos x="connsiteX42308" y="connsiteY42308"/>
              </a:cxn>
              <a:cxn ang="0">
                <a:pos x="connsiteX42309" y="connsiteY42309"/>
              </a:cxn>
              <a:cxn ang="0">
                <a:pos x="connsiteX42310" y="connsiteY42310"/>
              </a:cxn>
              <a:cxn ang="0">
                <a:pos x="connsiteX42311" y="connsiteY42311"/>
              </a:cxn>
              <a:cxn ang="0">
                <a:pos x="connsiteX42312" y="connsiteY42312"/>
              </a:cxn>
              <a:cxn ang="0">
                <a:pos x="connsiteX42313" y="connsiteY42313"/>
              </a:cxn>
              <a:cxn ang="0">
                <a:pos x="connsiteX42314" y="connsiteY42314"/>
              </a:cxn>
              <a:cxn ang="0">
                <a:pos x="connsiteX42315" y="connsiteY42315"/>
              </a:cxn>
              <a:cxn ang="0">
                <a:pos x="connsiteX42316" y="connsiteY42316"/>
              </a:cxn>
              <a:cxn ang="0">
                <a:pos x="connsiteX42317" y="connsiteY42317"/>
              </a:cxn>
              <a:cxn ang="0">
                <a:pos x="connsiteX42318" y="connsiteY42318"/>
              </a:cxn>
              <a:cxn ang="0">
                <a:pos x="connsiteX42319" y="connsiteY42319"/>
              </a:cxn>
              <a:cxn ang="0">
                <a:pos x="connsiteX42320" y="connsiteY42320"/>
              </a:cxn>
              <a:cxn ang="0">
                <a:pos x="connsiteX42321" y="connsiteY42321"/>
              </a:cxn>
              <a:cxn ang="0">
                <a:pos x="connsiteX42322" y="connsiteY42322"/>
              </a:cxn>
              <a:cxn ang="0">
                <a:pos x="connsiteX42323" y="connsiteY42323"/>
              </a:cxn>
              <a:cxn ang="0">
                <a:pos x="connsiteX42324" y="connsiteY42324"/>
              </a:cxn>
              <a:cxn ang="0">
                <a:pos x="connsiteX42325" y="connsiteY42325"/>
              </a:cxn>
              <a:cxn ang="0">
                <a:pos x="connsiteX42326" y="connsiteY42326"/>
              </a:cxn>
              <a:cxn ang="0">
                <a:pos x="connsiteX42327" y="connsiteY42327"/>
              </a:cxn>
              <a:cxn ang="0">
                <a:pos x="connsiteX42328" y="connsiteY42328"/>
              </a:cxn>
              <a:cxn ang="0">
                <a:pos x="connsiteX42329" y="connsiteY42329"/>
              </a:cxn>
              <a:cxn ang="0">
                <a:pos x="connsiteX42330" y="connsiteY42330"/>
              </a:cxn>
              <a:cxn ang="0">
                <a:pos x="connsiteX42331" y="connsiteY42331"/>
              </a:cxn>
              <a:cxn ang="0">
                <a:pos x="connsiteX42332" y="connsiteY42332"/>
              </a:cxn>
              <a:cxn ang="0">
                <a:pos x="connsiteX42333" y="connsiteY42333"/>
              </a:cxn>
              <a:cxn ang="0">
                <a:pos x="connsiteX42334" y="connsiteY42334"/>
              </a:cxn>
              <a:cxn ang="0">
                <a:pos x="connsiteX42335" y="connsiteY42335"/>
              </a:cxn>
              <a:cxn ang="0">
                <a:pos x="connsiteX42336" y="connsiteY42336"/>
              </a:cxn>
              <a:cxn ang="0">
                <a:pos x="connsiteX42337" y="connsiteY42337"/>
              </a:cxn>
              <a:cxn ang="0">
                <a:pos x="connsiteX42338" y="connsiteY42338"/>
              </a:cxn>
              <a:cxn ang="0">
                <a:pos x="connsiteX42339" y="connsiteY42339"/>
              </a:cxn>
              <a:cxn ang="0">
                <a:pos x="connsiteX42340" y="connsiteY42340"/>
              </a:cxn>
              <a:cxn ang="0">
                <a:pos x="connsiteX42341" y="connsiteY42341"/>
              </a:cxn>
              <a:cxn ang="0">
                <a:pos x="connsiteX42342" y="connsiteY42342"/>
              </a:cxn>
              <a:cxn ang="0">
                <a:pos x="connsiteX42343" y="connsiteY42343"/>
              </a:cxn>
              <a:cxn ang="0">
                <a:pos x="connsiteX42344" y="connsiteY42344"/>
              </a:cxn>
              <a:cxn ang="0">
                <a:pos x="connsiteX42345" y="connsiteY42345"/>
              </a:cxn>
              <a:cxn ang="0">
                <a:pos x="connsiteX42346" y="connsiteY42346"/>
              </a:cxn>
              <a:cxn ang="0">
                <a:pos x="connsiteX42347" y="connsiteY42347"/>
              </a:cxn>
              <a:cxn ang="0">
                <a:pos x="connsiteX42348" y="connsiteY42348"/>
              </a:cxn>
              <a:cxn ang="0">
                <a:pos x="connsiteX42349" y="connsiteY42349"/>
              </a:cxn>
              <a:cxn ang="0">
                <a:pos x="connsiteX42350" y="connsiteY42350"/>
              </a:cxn>
              <a:cxn ang="0">
                <a:pos x="connsiteX42351" y="connsiteY42351"/>
              </a:cxn>
              <a:cxn ang="0">
                <a:pos x="connsiteX42352" y="connsiteY42352"/>
              </a:cxn>
              <a:cxn ang="0">
                <a:pos x="connsiteX42353" y="connsiteY42353"/>
              </a:cxn>
              <a:cxn ang="0">
                <a:pos x="connsiteX42354" y="connsiteY42354"/>
              </a:cxn>
              <a:cxn ang="0">
                <a:pos x="connsiteX42355" y="connsiteY42355"/>
              </a:cxn>
              <a:cxn ang="0">
                <a:pos x="connsiteX42356" y="connsiteY42356"/>
              </a:cxn>
              <a:cxn ang="0">
                <a:pos x="connsiteX42357" y="connsiteY42357"/>
              </a:cxn>
              <a:cxn ang="0">
                <a:pos x="connsiteX42358" y="connsiteY42358"/>
              </a:cxn>
              <a:cxn ang="0">
                <a:pos x="connsiteX42359" y="connsiteY42359"/>
              </a:cxn>
              <a:cxn ang="0">
                <a:pos x="connsiteX42360" y="connsiteY42360"/>
              </a:cxn>
              <a:cxn ang="0">
                <a:pos x="connsiteX42361" y="connsiteY42361"/>
              </a:cxn>
              <a:cxn ang="0">
                <a:pos x="connsiteX42362" y="connsiteY42362"/>
              </a:cxn>
              <a:cxn ang="0">
                <a:pos x="connsiteX42363" y="connsiteY42363"/>
              </a:cxn>
              <a:cxn ang="0">
                <a:pos x="connsiteX42364" y="connsiteY42364"/>
              </a:cxn>
              <a:cxn ang="0">
                <a:pos x="connsiteX42365" y="connsiteY42365"/>
              </a:cxn>
              <a:cxn ang="0">
                <a:pos x="connsiteX42366" y="connsiteY42366"/>
              </a:cxn>
              <a:cxn ang="0">
                <a:pos x="connsiteX42367" y="connsiteY42367"/>
              </a:cxn>
              <a:cxn ang="0">
                <a:pos x="connsiteX42368" y="connsiteY42368"/>
              </a:cxn>
              <a:cxn ang="0">
                <a:pos x="connsiteX42369" y="connsiteY42369"/>
              </a:cxn>
              <a:cxn ang="0">
                <a:pos x="connsiteX42370" y="connsiteY42370"/>
              </a:cxn>
              <a:cxn ang="0">
                <a:pos x="connsiteX42371" y="connsiteY42371"/>
              </a:cxn>
              <a:cxn ang="0">
                <a:pos x="connsiteX42372" y="connsiteY42372"/>
              </a:cxn>
              <a:cxn ang="0">
                <a:pos x="connsiteX42373" y="connsiteY42373"/>
              </a:cxn>
              <a:cxn ang="0">
                <a:pos x="connsiteX42374" y="connsiteY42374"/>
              </a:cxn>
              <a:cxn ang="0">
                <a:pos x="connsiteX42375" y="connsiteY42375"/>
              </a:cxn>
              <a:cxn ang="0">
                <a:pos x="connsiteX42376" y="connsiteY42376"/>
              </a:cxn>
              <a:cxn ang="0">
                <a:pos x="connsiteX42377" y="connsiteY42377"/>
              </a:cxn>
              <a:cxn ang="0">
                <a:pos x="connsiteX42378" y="connsiteY42378"/>
              </a:cxn>
              <a:cxn ang="0">
                <a:pos x="connsiteX42379" y="connsiteY42379"/>
              </a:cxn>
              <a:cxn ang="0">
                <a:pos x="connsiteX42380" y="connsiteY42380"/>
              </a:cxn>
              <a:cxn ang="0">
                <a:pos x="connsiteX42381" y="connsiteY42381"/>
              </a:cxn>
              <a:cxn ang="0">
                <a:pos x="connsiteX42382" y="connsiteY42382"/>
              </a:cxn>
              <a:cxn ang="0">
                <a:pos x="connsiteX42383" y="connsiteY42383"/>
              </a:cxn>
              <a:cxn ang="0">
                <a:pos x="connsiteX42384" y="connsiteY42384"/>
              </a:cxn>
              <a:cxn ang="0">
                <a:pos x="connsiteX42385" y="connsiteY42385"/>
              </a:cxn>
              <a:cxn ang="0">
                <a:pos x="connsiteX42386" y="connsiteY42386"/>
              </a:cxn>
              <a:cxn ang="0">
                <a:pos x="connsiteX42387" y="connsiteY42387"/>
              </a:cxn>
              <a:cxn ang="0">
                <a:pos x="connsiteX42388" y="connsiteY42388"/>
              </a:cxn>
              <a:cxn ang="0">
                <a:pos x="connsiteX42389" y="connsiteY42389"/>
              </a:cxn>
              <a:cxn ang="0">
                <a:pos x="connsiteX42390" y="connsiteY42390"/>
              </a:cxn>
              <a:cxn ang="0">
                <a:pos x="connsiteX42391" y="connsiteY42391"/>
              </a:cxn>
              <a:cxn ang="0">
                <a:pos x="connsiteX42392" y="connsiteY42392"/>
              </a:cxn>
              <a:cxn ang="0">
                <a:pos x="connsiteX42393" y="connsiteY42393"/>
              </a:cxn>
              <a:cxn ang="0">
                <a:pos x="connsiteX42394" y="connsiteY42394"/>
              </a:cxn>
              <a:cxn ang="0">
                <a:pos x="connsiteX42395" y="connsiteY42395"/>
              </a:cxn>
              <a:cxn ang="0">
                <a:pos x="connsiteX42396" y="connsiteY42396"/>
              </a:cxn>
              <a:cxn ang="0">
                <a:pos x="connsiteX42397" y="connsiteY42397"/>
              </a:cxn>
              <a:cxn ang="0">
                <a:pos x="connsiteX42398" y="connsiteY42398"/>
              </a:cxn>
              <a:cxn ang="0">
                <a:pos x="connsiteX42399" y="connsiteY42399"/>
              </a:cxn>
              <a:cxn ang="0">
                <a:pos x="connsiteX42400" y="connsiteY42400"/>
              </a:cxn>
              <a:cxn ang="0">
                <a:pos x="connsiteX42401" y="connsiteY42401"/>
              </a:cxn>
              <a:cxn ang="0">
                <a:pos x="connsiteX42402" y="connsiteY42402"/>
              </a:cxn>
              <a:cxn ang="0">
                <a:pos x="connsiteX42403" y="connsiteY42403"/>
              </a:cxn>
              <a:cxn ang="0">
                <a:pos x="connsiteX42404" y="connsiteY42404"/>
              </a:cxn>
              <a:cxn ang="0">
                <a:pos x="connsiteX42405" y="connsiteY42405"/>
              </a:cxn>
              <a:cxn ang="0">
                <a:pos x="connsiteX42406" y="connsiteY42406"/>
              </a:cxn>
              <a:cxn ang="0">
                <a:pos x="connsiteX42407" y="connsiteY42407"/>
              </a:cxn>
              <a:cxn ang="0">
                <a:pos x="connsiteX42408" y="connsiteY42408"/>
              </a:cxn>
              <a:cxn ang="0">
                <a:pos x="connsiteX42409" y="connsiteY42409"/>
              </a:cxn>
              <a:cxn ang="0">
                <a:pos x="connsiteX42410" y="connsiteY42410"/>
              </a:cxn>
              <a:cxn ang="0">
                <a:pos x="connsiteX42411" y="connsiteY42411"/>
              </a:cxn>
              <a:cxn ang="0">
                <a:pos x="connsiteX42412" y="connsiteY42412"/>
              </a:cxn>
              <a:cxn ang="0">
                <a:pos x="connsiteX42413" y="connsiteY42413"/>
              </a:cxn>
              <a:cxn ang="0">
                <a:pos x="connsiteX42414" y="connsiteY42414"/>
              </a:cxn>
              <a:cxn ang="0">
                <a:pos x="connsiteX42415" y="connsiteY42415"/>
              </a:cxn>
              <a:cxn ang="0">
                <a:pos x="connsiteX42416" y="connsiteY42416"/>
              </a:cxn>
              <a:cxn ang="0">
                <a:pos x="connsiteX42417" y="connsiteY42417"/>
              </a:cxn>
              <a:cxn ang="0">
                <a:pos x="connsiteX42418" y="connsiteY42418"/>
              </a:cxn>
              <a:cxn ang="0">
                <a:pos x="connsiteX42419" y="connsiteY42419"/>
              </a:cxn>
              <a:cxn ang="0">
                <a:pos x="connsiteX42420" y="connsiteY42420"/>
              </a:cxn>
              <a:cxn ang="0">
                <a:pos x="connsiteX42421" y="connsiteY42421"/>
              </a:cxn>
              <a:cxn ang="0">
                <a:pos x="connsiteX42422" y="connsiteY42422"/>
              </a:cxn>
              <a:cxn ang="0">
                <a:pos x="connsiteX42423" y="connsiteY42423"/>
              </a:cxn>
              <a:cxn ang="0">
                <a:pos x="connsiteX42424" y="connsiteY42424"/>
              </a:cxn>
              <a:cxn ang="0">
                <a:pos x="connsiteX42425" y="connsiteY42425"/>
              </a:cxn>
              <a:cxn ang="0">
                <a:pos x="connsiteX42426" y="connsiteY42426"/>
              </a:cxn>
              <a:cxn ang="0">
                <a:pos x="connsiteX42427" y="connsiteY42427"/>
              </a:cxn>
              <a:cxn ang="0">
                <a:pos x="connsiteX42428" y="connsiteY42428"/>
              </a:cxn>
              <a:cxn ang="0">
                <a:pos x="connsiteX42429" y="connsiteY42429"/>
              </a:cxn>
              <a:cxn ang="0">
                <a:pos x="connsiteX42430" y="connsiteY42430"/>
              </a:cxn>
              <a:cxn ang="0">
                <a:pos x="connsiteX42431" y="connsiteY42431"/>
              </a:cxn>
              <a:cxn ang="0">
                <a:pos x="connsiteX42432" y="connsiteY42432"/>
              </a:cxn>
              <a:cxn ang="0">
                <a:pos x="connsiteX42433" y="connsiteY42433"/>
              </a:cxn>
              <a:cxn ang="0">
                <a:pos x="connsiteX42434" y="connsiteY42434"/>
              </a:cxn>
              <a:cxn ang="0">
                <a:pos x="connsiteX42435" y="connsiteY42435"/>
              </a:cxn>
              <a:cxn ang="0">
                <a:pos x="connsiteX42436" y="connsiteY42436"/>
              </a:cxn>
              <a:cxn ang="0">
                <a:pos x="connsiteX42437" y="connsiteY42437"/>
              </a:cxn>
              <a:cxn ang="0">
                <a:pos x="connsiteX42438" y="connsiteY42438"/>
              </a:cxn>
              <a:cxn ang="0">
                <a:pos x="connsiteX42439" y="connsiteY42439"/>
              </a:cxn>
              <a:cxn ang="0">
                <a:pos x="connsiteX42440" y="connsiteY42440"/>
              </a:cxn>
              <a:cxn ang="0">
                <a:pos x="connsiteX42441" y="connsiteY42441"/>
              </a:cxn>
              <a:cxn ang="0">
                <a:pos x="connsiteX42442" y="connsiteY42442"/>
              </a:cxn>
              <a:cxn ang="0">
                <a:pos x="connsiteX42443" y="connsiteY42443"/>
              </a:cxn>
              <a:cxn ang="0">
                <a:pos x="connsiteX42444" y="connsiteY42444"/>
              </a:cxn>
              <a:cxn ang="0">
                <a:pos x="connsiteX42445" y="connsiteY42445"/>
              </a:cxn>
              <a:cxn ang="0">
                <a:pos x="connsiteX42446" y="connsiteY42446"/>
              </a:cxn>
              <a:cxn ang="0">
                <a:pos x="connsiteX42447" y="connsiteY42447"/>
              </a:cxn>
              <a:cxn ang="0">
                <a:pos x="connsiteX42448" y="connsiteY42448"/>
              </a:cxn>
              <a:cxn ang="0">
                <a:pos x="connsiteX42449" y="connsiteY42449"/>
              </a:cxn>
              <a:cxn ang="0">
                <a:pos x="connsiteX42450" y="connsiteY42450"/>
              </a:cxn>
              <a:cxn ang="0">
                <a:pos x="connsiteX42451" y="connsiteY42451"/>
              </a:cxn>
              <a:cxn ang="0">
                <a:pos x="connsiteX42452" y="connsiteY42452"/>
              </a:cxn>
              <a:cxn ang="0">
                <a:pos x="connsiteX42453" y="connsiteY42453"/>
              </a:cxn>
              <a:cxn ang="0">
                <a:pos x="connsiteX42454" y="connsiteY42454"/>
              </a:cxn>
              <a:cxn ang="0">
                <a:pos x="connsiteX42455" y="connsiteY42455"/>
              </a:cxn>
              <a:cxn ang="0">
                <a:pos x="connsiteX42456" y="connsiteY42456"/>
              </a:cxn>
              <a:cxn ang="0">
                <a:pos x="connsiteX42457" y="connsiteY42457"/>
              </a:cxn>
              <a:cxn ang="0">
                <a:pos x="connsiteX42458" y="connsiteY42458"/>
              </a:cxn>
              <a:cxn ang="0">
                <a:pos x="connsiteX42459" y="connsiteY42459"/>
              </a:cxn>
              <a:cxn ang="0">
                <a:pos x="connsiteX42460" y="connsiteY42460"/>
              </a:cxn>
              <a:cxn ang="0">
                <a:pos x="connsiteX42461" y="connsiteY42461"/>
              </a:cxn>
              <a:cxn ang="0">
                <a:pos x="connsiteX42462" y="connsiteY42462"/>
              </a:cxn>
              <a:cxn ang="0">
                <a:pos x="connsiteX42463" y="connsiteY42463"/>
              </a:cxn>
              <a:cxn ang="0">
                <a:pos x="connsiteX42464" y="connsiteY42464"/>
              </a:cxn>
              <a:cxn ang="0">
                <a:pos x="connsiteX42465" y="connsiteY42465"/>
              </a:cxn>
              <a:cxn ang="0">
                <a:pos x="connsiteX42466" y="connsiteY42466"/>
              </a:cxn>
              <a:cxn ang="0">
                <a:pos x="connsiteX42467" y="connsiteY42467"/>
              </a:cxn>
              <a:cxn ang="0">
                <a:pos x="connsiteX42468" y="connsiteY42468"/>
              </a:cxn>
              <a:cxn ang="0">
                <a:pos x="connsiteX42469" y="connsiteY42469"/>
              </a:cxn>
              <a:cxn ang="0">
                <a:pos x="connsiteX42470" y="connsiteY42470"/>
              </a:cxn>
              <a:cxn ang="0">
                <a:pos x="connsiteX42471" y="connsiteY42471"/>
              </a:cxn>
              <a:cxn ang="0">
                <a:pos x="connsiteX42472" y="connsiteY42472"/>
              </a:cxn>
              <a:cxn ang="0">
                <a:pos x="connsiteX42473" y="connsiteY42473"/>
              </a:cxn>
              <a:cxn ang="0">
                <a:pos x="connsiteX42474" y="connsiteY42474"/>
              </a:cxn>
              <a:cxn ang="0">
                <a:pos x="connsiteX42475" y="connsiteY42475"/>
              </a:cxn>
              <a:cxn ang="0">
                <a:pos x="connsiteX42476" y="connsiteY42476"/>
              </a:cxn>
              <a:cxn ang="0">
                <a:pos x="connsiteX42477" y="connsiteY42477"/>
              </a:cxn>
              <a:cxn ang="0">
                <a:pos x="connsiteX42478" y="connsiteY42478"/>
              </a:cxn>
              <a:cxn ang="0">
                <a:pos x="connsiteX42479" y="connsiteY42479"/>
              </a:cxn>
              <a:cxn ang="0">
                <a:pos x="connsiteX42480" y="connsiteY42480"/>
              </a:cxn>
              <a:cxn ang="0">
                <a:pos x="connsiteX42481" y="connsiteY42481"/>
              </a:cxn>
              <a:cxn ang="0">
                <a:pos x="connsiteX42482" y="connsiteY42482"/>
              </a:cxn>
              <a:cxn ang="0">
                <a:pos x="connsiteX42483" y="connsiteY42483"/>
              </a:cxn>
              <a:cxn ang="0">
                <a:pos x="connsiteX42484" y="connsiteY42484"/>
              </a:cxn>
              <a:cxn ang="0">
                <a:pos x="connsiteX42485" y="connsiteY42485"/>
              </a:cxn>
              <a:cxn ang="0">
                <a:pos x="connsiteX42486" y="connsiteY42486"/>
              </a:cxn>
              <a:cxn ang="0">
                <a:pos x="connsiteX42487" y="connsiteY42487"/>
              </a:cxn>
              <a:cxn ang="0">
                <a:pos x="connsiteX42488" y="connsiteY42488"/>
              </a:cxn>
              <a:cxn ang="0">
                <a:pos x="connsiteX42489" y="connsiteY42489"/>
              </a:cxn>
              <a:cxn ang="0">
                <a:pos x="connsiteX42490" y="connsiteY42490"/>
              </a:cxn>
              <a:cxn ang="0">
                <a:pos x="connsiteX42491" y="connsiteY42491"/>
              </a:cxn>
              <a:cxn ang="0">
                <a:pos x="connsiteX42492" y="connsiteY42492"/>
              </a:cxn>
              <a:cxn ang="0">
                <a:pos x="connsiteX42493" y="connsiteY42493"/>
              </a:cxn>
              <a:cxn ang="0">
                <a:pos x="connsiteX42494" y="connsiteY42494"/>
              </a:cxn>
              <a:cxn ang="0">
                <a:pos x="connsiteX42495" y="connsiteY42495"/>
              </a:cxn>
              <a:cxn ang="0">
                <a:pos x="connsiteX42496" y="connsiteY42496"/>
              </a:cxn>
              <a:cxn ang="0">
                <a:pos x="connsiteX42497" y="connsiteY42497"/>
              </a:cxn>
              <a:cxn ang="0">
                <a:pos x="connsiteX42498" y="connsiteY42498"/>
              </a:cxn>
              <a:cxn ang="0">
                <a:pos x="connsiteX42499" y="connsiteY42499"/>
              </a:cxn>
              <a:cxn ang="0">
                <a:pos x="connsiteX42500" y="connsiteY42500"/>
              </a:cxn>
              <a:cxn ang="0">
                <a:pos x="connsiteX42501" y="connsiteY42501"/>
              </a:cxn>
              <a:cxn ang="0">
                <a:pos x="connsiteX42502" y="connsiteY42502"/>
              </a:cxn>
              <a:cxn ang="0">
                <a:pos x="connsiteX42503" y="connsiteY42503"/>
              </a:cxn>
              <a:cxn ang="0">
                <a:pos x="connsiteX42504" y="connsiteY42504"/>
              </a:cxn>
              <a:cxn ang="0">
                <a:pos x="connsiteX42505" y="connsiteY42505"/>
              </a:cxn>
              <a:cxn ang="0">
                <a:pos x="connsiteX42506" y="connsiteY42506"/>
              </a:cxn>
              <a:cxn ang="0">
                <a:pos x="connsiteX42507" y="connsiteY42507"/>
              </a:cxn>
              <a:cxn ang="0">
                <a:pos x="connsiteX42508" y="connsiteY42508"/>
              </a:cxn>
              <a:cxn ang="0">
                <a:pos x="connsiteX42509" y="connsiteY42509"/>
              </a:cxn>
              <a:cxn ang="0">
                <a:pos x="connsiteX42510" y="connsiteY42510"/>
              </a:cxn>
              <a:cxn ang="0">
                <a:pos x="connsiteX42511" y="connsiteY42511"/>
              </a:cxn>
              <a:cxn ang="0">
                <a:pos x="connsiteX42512" y="connsiteY42512"/>
              </a:cxn>
              <a:cxn ang="0">
                <a:pos x="connsiteX42513" y="connsiteY42513"/>
              </a:cxn>
              <a:cxn ang="0">
                <a:pos x="connsiteX42514" y="connsiteY42514"/>
              </a:cxn>
              <a:cxn ang="0">
                <a:pos x="connsiteX42515" y="connsiteY42515"/>
              </a:cxn>
              <a:cxn ang="0">
                <a:pos x="connsiteX42516" y="connsiteY42516"/>
              </a:cxn>
              <a:cxn ang="0">
                <a:pos x="connsiteX42517" y="connsiteY42517"/>
              </a:cxn>
              <a:cxn ang="0">
                <a:pos x="connsiteX42518" y="connsiteY42518"/>
              </a:cxn>
              <a:cxn ang="0">
                <a:pos x="connsiteX42519" y="connsiteY42519"/>
              </a:cxn>
              <a:cxn ang="0">
                <a:pos x="connsiteX42520" y="connsiteY42520"/>
              </a:cxn>
              <a:cxn ang="0">
                <a:pos x="connsiteX42521" y="connsiteY42521"/>
              </a:cxn>
              <a:cxn ang="0">
                <a:pos x="connsiteX42522" y="connsiteY42522"/>
              </a:cxn>
              <a:cxn ang="0">
                <a:pos x="connsiteX42523" y="connsiteY42523"/>
              </a:cxn>
              <a:cxn ang="0">
                <a:pos x="connsiteX42524" y="connsiteY42524"/>
              </a:cxn>
              <a:cxn ang="0">
                <a:pos x="connsiteX42525" y="connsiteY42525"/>
              </a:cxn>
              <a:cxn ang="0">
                <a:pos x="connsiteX42526" y="connsiteY42526"/>
              </a:cxn>
              <a:cxn ang="0">
                <a:pos x="connsiteX42527" y="connsiteY42527"/>
              </a:cxn>
              <a:cxn ang="0">
                <a:pos x="connsiteX42528" y="connsiteY42528"/>
              </a:cxn>
              <a:cxn ang="0">
                <a:pos x="connsiteX42529" y="connsiteY42529"/>
              </a:cxn>
              <a:cxn ang="0">
                <a:pos x="connsiteX42530" y="connsiteY42530"/>
              </a:cxn>
              <a:cxn ang="0">
                <a:pos x="connsiteX42531" y="connsiteY42531"/>
              </a:cxn>
              <a:cxn ang="0">
                <a:pos x="connsiteX42532" y="connsiteY42532"/>
              </a:cxn>
              <a:cxn ang="0">
                <a:pos x="connsiteX42533" y="connsiteY42533"/>
              </a:cxn>
              <a:cxn ang="0">
                <a:pos x="connsiteX42534" y="connsiteY42534"/>
              </a:cxn>
              <a:cxn ang="0">
                <a:pos x="connsiteX42535" y="connsiteY42535"/>
              </a:cxn>
              <a:cxn ang="0">
                <a:pos x="connsiteX42536" y="connsiteY42536"/>
              </a:cxn>
              <a:cxn ang="0">
                <a:pos x="connsiteX42537" y="connsiteY42537"/>
              </a:cxn>
              <a:cxn ang="0">
                <a:pos x="connsiteX42538" y="connsiteY42538"/>
              </a:cxn>
              <a:cxn ang="0">
                <a:pos x="connsiteX42539" y="connsiteY42539"/>
              </a:cxn>
              <a:cxn ang="0">
                <a:pos x="connsiteX42540" y="connsiteY42540"/>
              </a:cxn>
              <a:cxn ang="0">
                <a:pos x="connsiteX42541" y="connsiteY42541"/>
              </a:cxn>
              <a:cxn ang="0">
                <a:pos x="connsiteX42542" y="connsiteY42542"/>
              </a:cxn>
              <a:cxn ang="0">
                <a:pos x="connsiteX42543" y="connsiteY42543"/>
              </a:cxn>
              <a:cxn ang="0">
                <a:pos x="connsiteX42544" y="connsiteY42544"/>
              </a:cxn>
              <a:cxn ang="0">
                <a:pos x="connsiteX42545" y="connsiteY42545"/>
              </a:cxn>
              <a:cxn ang="0">
                <a:pos x="connsiteX42546" y="connsiteY42546"/>
              </a:cxn>
              <a:cxn ang="0">
                <a:pos x="connsiteX42547" y="connsiteY42547"/>
              </a:cxn>
              <a:cxn ang="0">
                <a:pos x="connsiteX42548" y="connsiteY42548"/>
              </a:cxn>
              <a:cxn ang="0">
                <a:pos x="connsiteX42549" y="connsiteY42549"/>
              </a:cxn>
              <a:cxn ang="0">
                <a:pos x="connsiteX42550" y="connsiteY42550"/>
              </a:cxn>
              <a:cxn ang="0">
                <a:pos x="connsiteX42551" y="connsiteY42551"/>
              </a:cxn>
              <a:cxn ang="0">
                <a:pos x="connsiteX42552" y="connsiteY42552"/>
              </a:cxn>
              <a:cxn ang="0">
                <a:pos x="connsiteX42553" y="connsiteY42553"/>
              </a:cxn>
              <a:cxn ang="0">
                <a:pos x="connsiteX42554" y="connsiteY42554"/>
              </a:cxn>
              <a:cxn ang="0">
                <a:pos x="connsiteX42555" y="connsiteY42555"/>
              </a:cxn>
              <a:cxn ang="0">
                <a:pos x="connsiteX42556" y="connsiteY42556"/>
              </a:cxn>
              <a:cxn ang="0">
                <a:pos x="connsiteX42557" y="connsiteY42557"/>
              </a:cxn>
              <a:cxn ang="0">
                <a:pos x="connsiteX42558" y="connsiteY42558"/>
              </a:cxn>
              <a:cxn ang="0">
                <a:pos x="connsiteX42559" y="connsiteY42559"/>
              </a:cxn>
              <a:cxn ang="0">
                <a:pos x="connsiteX42560" y="connsiteY42560"/>
              </a:cxn>
              <a:cxn ang="0">
                <a:pos x="connsiteX42561" y="connsiteY42561"/>
              </a:cxn>
              <a:cxn ang="0">
                <a:pos x="connsiteX42562" y="connsiteY42562"/>
              </a:cxn>
              <a:cxn ang="0">
                <a:pos x="connsiteX42563" y="connsiteY42563"/>
              </a:cxn>
              <a:cxn ang="0">
                <a:pos x="connsiteX42564" y="connsiteY42564"/>
              </a:cxn>
              <a:cxn ang="0">
                <a:pos x="connsiteX42565" y="connsiteY42565"/>
              </a:cxn>
              <a:cxn ang="0">
                <a:pos x="connsiteX42566" y="connsiteY42566"/>
              </a:cxn>
              <a:cxn ang="0">
                <a:pos x="connsiteX42567" y="connsiteY42567"/>
              </a:cxn>
              <a:cxn ang="0">
                <a:pos x="connsiteX42568" y="connsiteY42568"/>
              </a:cxn>
              <a:cxn ang="0">
                <a:pos x="connsiteX42569" y="connsiteY42569"/>
              </a:cxn>
              <a:cxn ang="0">
                <a:pos x="connsiteX42570" y="connsiteY42570"/>
              </a:cxn>
              <a:cxn ang="0">
                <a:pos x="connsiteX42571" y="connsiteY42571"/>
              </a:cxn>
              <a:cxn ang="0">
                <a:pos x="connsiteX42572" y="connsiteY42572"/>
              </a:cxn>
              <a:cxn ang="0">
                <a:pos x="connsiteX42573" y="connsiteY42573"/>
              </a:cxn>
              <a:cxn ang="0">
                <a:pos x="connsiteX42574" y="connsiteY42574"/>
              </a:cxn>
              <a:cxn ang="0">
                <a:pos x="connsiteX42575" y="connsiteY42575"/>
              </a:cxn>
              <a:cxn ang="0">
                <a:pos x="connsiteX42576" y="connsiteY42576"/>
              </a:cxn>
              <a:cxn ang="0">
                <a:pos x="connsiteX42577" y="connsiteY42577"/>
              </a:cxn>
              <a:cxn ang="0">
                <a:pos x="connsiteX42578" y="connsiteY42578"/>
              </a:cxn>
              <a:cxn ang="0">
                <a:pos x="connsiteX42579" y="connsiteY42579"/>
              </a:cxn>
              <a:cxn ang="0">
                <a:pos x="connsiteX42580" y="connsiteY42580"/>
              </a:cxn>
              <a:cxn ang="0">
                <a:pos x="connsiteX42581" y="connsiteY42581"/>
              </a:cxn>
              <a:cxn ang="0">
                <a:pos x="connsiteX42582" y="connsiteY42582"/>
              </a:cxn>
              <a:cxn ang="0">
                <a:pos x="connsiteX42583" y="connsiteY42583"/>
              </a:cxn>
              <a:cxn ang="0">
                <a:pos x="connsiteX42584" y="connsiteY42584"/>
              </a:cxn>
              <a:cxn ang="0">
                <a:pos x="connsiteX42585" y="connsiteY42585"/>
              </a:cxn>
              <a:cxn ang="0">
                <a:pos x="connsiteX42586" y="connsiteY42586"/>
              </a:cxn>
              <a:cxn ang="0">
                <a:pos x="connsiteX42587" y="connsiteY42587"/>
              </a:cxn>
              <a:cxn ang="0">
                <a:pos x="connsiteX42588" y="connsiteY42588"/>
              </a:cxn>
              <a:cxn ang="0">
                <a:pos x="connsiteX42589" y="connsiteY42589"/>
              </a:cxn>
              <a:cxn ang="0">
                <a:pos x="connsiteX42590" y="connsiteY42590"/>
              </a:cxn>
              <a:cxn ang="0">
                <a:pos x="connsiteX42591" y="connsiteY42591"/>
              </a:cxn>
              <a:cxn ang="0">
                <a:pos x="connsiteX42592" y="connsiteY42592"/>
              </a:cxn>
              <a:cxn ang="0">
                <a:pos x="connsiteX42593" y="connsiteY42593"/>
              </a:cxn>
              <a:cxn ang="0">
                <a:pos x="connsiteX42594" y="connsiteY42594"/>
              </a:cxn>
              <a:cxn ang="0">
                <a:pos x="connsiteX42595" y="connsiteY42595"/>
              </a:cxn>
              <a:cxn ang="0">
                <a:pos x="connsiteX42596" y="connsiteY42596"/>
              </a:cxn>
              <a:cxn ang="0">
                <a:pos x="connsiteX42597" y="connsiteY42597"/>
              </a:cxn>
              <a:cxn ang="0">
                <a:pos x="connsiteX42598" y="connsiteY42598"/>
              </a:cxn>
              <a:cxn ang="0">
                <a:pos x="connsiteX42599" y="connsiteY42599"/>
              </a:cxn>
              <a:cxn ang="0">
                <a:pos x="connsiteX42600" y="connsiteY42600"/>
              </a:cxn>
              <a:cxn ang="0">
                <a:pos x="connsiteX42601" y="connsiteY42601"/>
              </a:cxn>
              <a:cxn ang="0">
                <a:pos x="connsiteX42602" y="connsiteY42602"/>
              </a:cxn>
              <a:cxn ang="0">
                <a:pos x="connsiteX42603" y="connsiteY42603"/>
              </a:cxn>
              <a:cxn ang="0">
                <a:pos x="connsiteX42604" y="connsiteY42604"/>
              </a:cxn>
              <a:cxn ang="0">
                <a:pos x="connsiteX42605" y="connsiteY42605"/>
              </a:cxn>
              <a:cxn ang="0">
                <a:pos x="connsiteX42606" y="connsiteY42606"/>
              </a:cxn>
              <a:cxn ang="0">
                <a:pos x="connsiteX42607" y="connsiteY42607"/>
              </a:cxn>
              <a:cxn ang="0">
                <a:pos x="connsiteX42608" y="connsiteY42608"/>
              </a:cxn>
              <a:cxn ang="0">
                <a:pos x="connsiteX42609" y="connsiteY42609"/>
              </a:cxn>
              <a:cxn ang="0">
                <a:pos x="connsiteX42610" y="connsiteY42610"/>
              </a:cxn>
              <a:cxn ang="0">
                <a:pos x="connsiteX42611" y="connsiteY42611"/>
              </a:cxn>
              <a:cxn ang="0">
                <a:pos x="connsiteX42612" y="connsiteY42612"/>
              </a:cxn>
              <a:cxn ang="0">
                <a:pos x="connsiteX42613" y="connsiteY42613"/>
              </a:cxn>
              <a:cxn ang="0">
                <a:pos x="connsiteX42614" y="connsiteY42614"/>
              </a:cxn>
              <a:cxn ang="0">
                <a:pos x="connsiteX42615" y="connsiteY42615"/>
              </a:cxn>
              <a:cxn ang="0">
                <a:pos x="connsiteX42616" y="connsiteY42616"/>
              </a:cxn>
              <a:cxn ang="0">
                <a:pos x="connsiteX42617" y="connsiteY42617"/>
              </a:cxn>
              <a:cxn ang="0">
                <a:pos x="connsiteX42618" y="connsiteY42618"/>
              </a:cxn>
              <a:cxn ang="0">
                <a:pos x="connsiteX42619" y="connsiteY42619"/>
              </a:cxn>
              <a:cxn ang="0">
                <a:pos x="connsiteX42620" y="connsiteY42620"/>
              </a:cxn>
              <a:cxn ang="0">
                <a:pos x="connsiteX42621" y="connsiteY42621"/>
              </a:cxn>
              <a:cxn ang="0">
                <a:pos x="connsiteX42622" y="connsiteY42622"/>
              </a:cxn>
              <a:cxn ang="0">
                <a:pos x="connsiteX42623" y="connsiteY42623"/>
              </a:cxn>
              <a:cxn ang="0">
                <a:pos x="connsiteX42624" y="connsiteY42624"/>
              </a:cxn>
              <a:cxn ang="0">
                <a:pos x="connsiteX42625" y="connsiteY42625"/>
              </a:cxn>
              <a:cxn ang="0">
                <a:pos x="connsiteX42626" y="connsiteY42626"/>
              </a:cxn>
              <a:cxn ang="0">
                <a:pos x="connsiteX42627" y="connsiteY42627"/>
              </a:cxn>
              <a:cxn ang="0">
                <a:pos x="connsiteX42628" y="connsiteY42628"/>
              </a:cxn>
              <a:cxn ang="0">
                <a:pos x="connsiteX42629" y="connsiteY42629"/>
              </a:cxn>
              <a:cxn ang="0">
                <a:pos x="connsiteX42630" y="connsiteY42630"/>
              </a:cxn>
              <a:cxn ang="0">
                <a:pos x="connsiteX42631" y="connsiteY42631"/>
              </a:cxn>
              <a:cxn ang="0">
                <a:pos x="connsiteX42632" y="connsiteY42632"/>
              </a:cxn>
              <a:cxn ang="0">
                <a:pos x="connsiteX42633" y="connsiteY42633"/>
              </a:cxn>
              <a:cxn ang="0">
                <a:pos x="connsiteX42634" y="connsiteY42634"/>
              </a:cxn>
              <a:cxn ang="0">
                <a:pos x="connsiteX42635" y="connsiteY42635"/>
              </a:cxn>
              <a:cxn ang="0">
                <a:pos x="connsiteX42636" y="connsiteY42636"/>
              </a:cxn>
              <a:cxn ang="0">
                <a:pos x="connsiteX42637" y="connsiteY42637"/>
              </a:cxn>
              <a:cxn ang="0">
                <a:pos x="connsiteX42638" y="connsiteY42638"/>
              </a:cxn>
              <a:cxn ang="0">
                <a:pos x="connsiteX42639" y="connsiteY42639"/>
              </a:cxn>
              <a:cxn ang="0">
                <a:pos x="connsiteX42640" y="connsiteY42640"/>
              </a:cxn>
              <a:cxn ang="0">
                <a:pos x="connsiteX42641" y="connsiteY42641"/>
              </a:cxn>
              <a:cxn ang="0">
                <a:pos x="connsiteX42642" y="connsiteY42642"/>
              </a:cxn>
              <a:cxn ang="0">
                <a:pos x="connsiteX42643" y="connsiteY42643"/>
              </a:cxn>
              <a:cxn ang="0">
                <a:pos x="connsiteX42644" y="connsiteY42644"/>
              </a:cxn>
              <a:cxn ang="0">
                <a:pos x="connsiteX42645" y="connsiteY42645"/>
              </a:cxn>
              <a:cxn ang="0">
                <a:pos x="connsiteX42646" y="connsiteY42646"/>
              </a:cxn>
              <a:cxn ang="0">
                <a:pos x="connsiteX42647" y="connsiteY42647"/>
              </a:cxn>
              <a:cxn ang="0">
                <a:pos x="connsiteX42648" y="connsiteY42648"/>
              </a:cxn>
              <a:cxn ang="0">
                <a:pos x="connsiteX42649" y="connsiteY42649"/>
              </a:cxn>
              <a:cxn ang="0">
                <a:pos x="connsiteX42650" y="connsiteY42650"/>
              </a:cxn>
              <a:cxn ang="0">
                <a:pos x="connsiteX42651" y="connsiteY42651"/>
              </a:cxn>
              <a:cxn ang="0">
                <a:pos x="connsiteX42652" y="connsiteY42652"/>
              </a:cxn>
              <a:cxn ang="0">
                <a:pos x="connsiteX42653" y="connsiteY42653"/>
              </a:cxn>
              <a:cxn ang="0">
                <a:pos x="connsiteX42654" y="connsiteY42654"/>
              </a:cxn>
              <a:cxn ang="0">
                <a:pos x="connsiteX42655" y="connsiteY42655"/>
              </a:cxn>
              <a:cxn ang="0">
                <a:pos x="connsiteX42656" y="connsiteY42656"/>
              </a:cxn>
              <a:cxn ang="0">
                <a:pos x="connsiteX42657" y="connsiteY42657"/>
              </a:cxn>
              <a:cxn ang="0">
                <a:pos x="connsiteX42658" y="connsiteY42658"/>
              </a:cxn>
              <a:cxn ang="0">
                <a:pos x="connsiteX42659" y="connsiteY42659"/>
              </a:cxn>
              <a:cxn ang="0">
                <a:pos x="connsiteX42660" y="connsiteY42660"/>
              </a:cxn>
              <a:cxn ang="0">
                <a:pos x="connsiteX42661" y="connsiteY42661"/>
              </a:cxn>
              <a:cxn ang="0">
                <a:pos x="connsiteX42662" y="connsiteY42662"/>
              </a:cxn>
              <a:cxn ang="0">
                <a:pos x="connsiteX42663" y="connsiteY42663"/>
              </a:cxn>
              <a:cxn ang="0">
                <a:pos x="connsiteX42664" y="connsiteY42664"/>
              </a:cxn>
              <a:cxn ang="0">
                <a:pos x="connsiteX42665" y="connsiteY42665"/>
              </a:cxn>
              <a:cxn ang="0">
                <a:pos x="connsiteX42666" y="connsiteY42666"/>
              </a:cxn>
              <a:cxn ang="0">
                <a:pos x="connsiteX42667" y="connsiteY42667"/>
              </a:cxn>
              <a:cxn ang="0">
                <a:pos x="connsiteX42668" y="connsiteY42668"/>
              </a:cxn>
              <a:cxn ang="0">
                <a:pos x="connsiteX42669" y="connsiteY42669"/>
              </a:cxn>
              <a:cxn ang="0">
                <a:pos x="connsiteX42670" y="connsiteY42670"/>
              </a:cxn>
              <a:cxn ang="0">
                <a:pos x="connsiteX42671" y="connsiteY42671"/>
              </a:cxn>
              <a:cxn ang="0">
                <a:pos x="connsiteX42672" y="connsiteY42672"/>
              </a:cxn>
              <a:cxn ang="0">
                <a:pos x="connsiteX42673" y="connsiteY42673"/>
              </a:cxn>
              <a:cxn ang="0">
                <a:pos x="connsiteX42674" y="connsiteY42674"/>
              </a:cxn>
              <a:cxn ang="0">
                <a:pos x="connsiteX42675" y="connsiteY42675"/>
              </a:cxn>
              <a:cxn ang="0">
                <a:pos x="connsiteX42676" y="connsiteY42676"/>
              </a:cxn>
              <a:cxn ang="0">
                <a:pos x="connsiteX42677" y="connsiteY42677"/>
              </a:cxn>
              <a:cxn ang="0">
                <a:pos x="connsiteX42678" y="connsiteY42678"/>
              </a:cxn>
              <a:cxn ang="0">
                <a:pos x="connsiteX42679" y="connsiteY42679"/>
              </a:cxn>
              <a:cxn ang="0">
                <a:pos x="connsiteX42680" y="connsiteY42680"/>
              </a:cxn>
              <a:cxn ang="0">
                <a:pos x="connsiteX42681" y="connsiteY42681"/>
              </a:cxn>
              <a:cxn ang="0">
                <a:pos x="connsiteX42682" y="connsiteY42682"/>
              </a:cxn>
              <a:cxn ang="0">
                <a:pos x="connsiteX42683" y="connsiteY42683"/>
              </a:cxn>
              <a:cxn ang="0">
                <a:pos x="connsiteX42684" y="connsiteY42684"/>
              </a:cxn>
              <a:cxn ang="0">
                <a:pos x="connsiteX42685" y="connsiteY42685"/>
              </a:cxn>
              <a:cxn ang="0">
                <a:pos x="connsiteX42686" y="connsiteY42686"/>
              </a:cxn>
              <a:cxn ang="0">
                <a:pos x="connsiteX42687" y="connsiteY42687"/>
              </a:cxn>
              <a:cxn ang="0">
                <a:pos x="connsiteX42688" y="connsiteY42688"/>
              </a:cxn>
              <a:cxn ang="0">
                <a:pos x="connsiteX42689" y="connsiteY42689"/>
              </a:cxn>
              <a:cxn ang="0">
                <a:pos x="connsiteX42690" y="connsiteY42690"/>
              </a:cxn>
              <a:cxn ang="0">
                <a:pos x="connsiteX42691" y="connsiteY42691"/>
              </a:cxn>
              <a:cxn ang="0">
                <a:pos x="connsiteX42692" y="connsiteY42692"/>
              </a:cxn>
              <a:cxn ang="0">
                <a:pos x="connsiteX42693" y="connsiteY42693"/>
              </a:cxn>
              <a:cxn ang="0">
                <a:pos x="connsiteX42694" y="connsiteY42694"/>
              </a:cxn>
              <a:cxn ang="0">
                <a:pos x="connsiteX42695" y="connsiteY42695"/>
              </a:cxn>
              <a:cxn ang="0">
                <a:pos x="connsiteX42696" y="connsiteY42696"/>
              </a:cxn>
              <a:cxn ang="0">
                <a:pos x="connsiteX42697" y="connsiteY42697"/>
              </a:cxn>
              <a:cxn ang="0">
                <a:pos x="connsiteX42698" y="connsiteY42698"/>
              </a:cxn>
              <a:cxn ang="0">
                <a:pos x="connsiteX42699" y="connsiteY42699"/>
              </a:cxn>
              <a:cxn ang="0">
                <a:pos x="connsiteX42700" y="connsiteY42700"/>
              </a:cxn>
              <a:cxn ang="0">
                <a:pos x="connsiteX42701" y="connsiteY42701"/>
              </a:cxn>
              <a:cxn ang="0">
                <a:pos x="connsiteX42702" y="connsiteY42702"/>
              </a:cxn>
              <a:cxn ang="0">
                <a:pos x="connsiteX42703" y="connsiteY42703"/>
              </a:cxn>
              <a:cxn ang="0">
                <a:pos x="connsiteX42704" y="connsiteY42704"/>
              </a:cxn>
              <a:cxn ang="0">
                <a:pos x="connsiteX42705" y="connsiteY42705"/>
              </a:cxn>
              <a:cxn ang="0">
                <a:pos x="connsiteX42706" y="connsiteY42706"/>
              </a:cxn>
              <a:cxn ang="0">
                <a:pos x="connsiteX42707" y="connsiteY42707"/>
              </a:cxn>
              <a:cxn ang="0">
                <a:pos x="connsiteX42708" y="connsiteY42708"/>
              </a:cxn>
              <a:cxn ang="0">
                <a:pos x="connsiteX42709" y="connsiteY42709"/>
              </a:cxn>
              <a:cxn ang="0">
                <a:pos x="connsiteX42710" y="connsiteY42710"/>
              </a:cxn>
              <a:cxn ang="0">
                <a:pos x="connsiteX42711" y="connsiteY42711"/>
              </a:cxn>
              <a:cxn ang="0">
                <a:pos x="connsiteX42712" y="connsiteY42712"/>
              </a:cxn>
              <a:cxn ang="0">
                <a:pos x="connsiteX42713" y="connsiteY42713"/>
              </a:cxn>
              <a:cxn ang="0">
                <a:pos x="connsiteX42714" y="connsiteY42714"/>
              </a:cxn>
              <a:cxn ang="0">
                <a:pos x="connsiteX42715" y="connsiteY42715"/>
              </a:cxn>
              <a:cxn ang="0">
                <a:pos x="connsiteX42716" y="connsiteY42716"/>
              </a:cxn>
              <a:cxn ang="0">
                <a:pos x="connsiteX42717" y="connsiteY42717"/>
              </a:cxn>
              <a:cxn ang="0">
                <a:pos x="connsiteX42718" y="connsiteY42718"/>
              </a:cxn>
              <a:cxn ang="0">
                <a:pos x="connsiteX42719" y="connsiteY42719"/>
              </a:cxn>
              <a:cxn ang="0">
                <a:pos x="connsiteX42720" y="connsiteY42720"/>
              </a:cxn>
              <a:cxn ang="0">
                <a:pos x="connsiteX42721" y="connsiteY42721"/>
              </a:cxn>
              <a:cxn ang="0">
                <a:pos x="connsiteX42722" y="connsiteY42722"/>
              </a:cxn>
              <a:cxn ang="0">
                <a:pos x="connsiteX42723" y="connsiteY42723"/>
              </a:cxn>
              <a:cxn ang="0">
                <a:pos x="connsiteX42724" y="connsiteY42724"/>
              </a:cxn>
              <a:cxn ang="0">
                <a:pos x="connsiteX42725" y="connsiteY42725"/>
              </a:cxn>
              <a:cxn ang="0">
                <a:pos x="connsiteX42726" y="connsiteY42726"/>
              </a:cxn>
              <a:cxn ang="0">
                <a:pos x="connsiteX42727" y="connsiteY42727"/>
              </a:cxn>
              <a:cxn ang="0">
                <a:pos x="connsiteX42728" y="connsiteY42728"/>
              </a:cxn>
              <a:cxn ang="0">
                <a:pos x="connsiteX42729" y="connsiteY42729"/>
              </a:cxn>
              <a:cxn ang="0">
                <a:pos x="connsiteX42730" y="connsiteY42730"/>
              </a:cxn>
              <a:cxn ang="0">
                <a:pos x="connsiteX42731" y="connsiteY42731"/>
              </a:cxn>
              <a:cxn ang="0">
                <a:pos x="connsiteX42732" y="connsiteY42732"/>
              </a:cxn>
              <a:cxn ang="0">
                <a:pos x="connsiteX42733" y="connsiteY42733"/>
              </a:cxn>
              <a:cxn ang="0">
                <a:pos x="connsiteX42734" y="connsiteY42734"/>
              </a:cxn>
              <a:cxn ang="0">
                <a:pos x="connsiteX42735" y="connsiteY42735"/>
              </a:cxn>
              <a:cxn ang="0">
                <a:pos x="connsiteX42736" y="connsiteY42736"/>
              </a:cxn>
              <a:cxn ang="0">
                <a:pos x="connsiteX42737" y="connsiteY42737"/>
              </a:cxn>
              <a:cxn ang="0">
                <a:pos x="connsiteX42738" y="connsiteY42738"/>
              </a:cxn>
              <a:cxn ang="0">
                <a:pos x="connsiteX42739" y="connsiteY42739"/>
              </a:cxn>
              <a:cxn ang="0">
                <a:pos x="connsiteX42740" y="connsiteY42740"/>
              </a:cxn>
              <a:cxn ang="0">
                <a:pos x="connsiteX42741" y="connsiteY42741"/>
              </a:cxn>
              <a:cxn ang="0">
                <a:pos x="connsiteX42742" y="connsiteY42742"/>
              </a:cxn>
              <a:cxn ang="0">
                <a:pos x="connsiteX42743" y="connsiteY42743"/>
              </a:cxn>
              <a:cxn ang="0">
                <a:pos x="connsiteX42744" y="connsiteY42744"/>
              </a:cxn>
              <a:cxn ang="0">
                <a:pos x="connsiteX42745" y="connsiteY42745"/>
              </a:cxn>
              <a:cxn ang="0">
                <a:pos x="connsiteX42746" y="connsiteY42746"/>
              </a:cxn>
              <a:cxn ang="0">
                <a:pos x="connsiteX42747" y="connsiteY42747"/>
              </a:cxn>
              <a:cxn ang="0">
                <a:pos x="connsiteX42748" y="connsiteY42748"/>
              </a:cxn>
              <a:cxn ang="0">
                <a:pos x="connsiteX42749" y="connsiteY42749"/>
              </a:cxn>
              <a:cxn ang="0">
                <a:pos x="connsiteX42750" y="connsiteY42750"/>
              </a:cxn>
              <a:cxn ang="0">
                <a:pos x="connsiteX42751" y="connsiteY42751"/>
              </a:cxn>
              <a:cxn ang="0">
                <a:pos x="connsiteX42752" y="connsiteY42752"/>
              </a:cxn>
              <a:cxn ang="0">
                <a:pos x="connsiteX42753" y="connsiteY42753"/>
              </a:cxn>
              <a:cxn ang="0">
                <a:pos x="connsiteX42754" y="connsiteY42754"/>
              </a:cxn>
              <a:cxn ang="0">
                <a:pos x="connsiteX42755" y="connsiteY42755"/>
              </a:cxn>
              <a:cxn ang="0">
                <a:pos x="connsiteX42756" y="connsiteY42756"/>
              </a:cxn>
              <a:cxn ang="0">
                <a:pos x="connsiteX42757" y="connsiteY42757"/>
              </a:cxn>
              <a:cxn ang="0">
                <a:pos x="connsiteX42758" y="connsiteY42758"/>
              </a:cxn>
              <a:cxn ang="0">
                <a:pos x="connsiteX42759" y="connsiteY42759"/>
              </a:cxn>
              <a:cxn ang="0">
                <a:pos x="connsiteX42760" y="connsiteY42760"/>
              </a:cxn>
              <a:cxn ang="0">
                <a:pos x="connsiteX42761" y="connsiteY42761"/>
              </a:cxn>
              <a:cxn ang="0">
                <a:pos x="connsiteX42762" y="connsiteY42762"/>
              </a:cxn>
              <a:cxn ang="0">
                <a:pos x="connsiteX42763" y="connsiteY42763"/>
              </a:cxn>
              <a:cxn ang="0">
                <a:pos x="connsiteX42764" y="connsiteY42764"/>
              </a:cxn>
              <a:cxn ang="0">
                <a:pos x="connsiteX42765" y="connsiteY42765"/>
              </a:cxn>
              <a:cxn ang="0">
                <a:pos x="connsiteX42766" y="connsiteY42766"/>
              </a:cxn>
              <a:cxn ang="0">
                <a:pos x="connsiteX42767" y="connsiteY42767"/>
              </a:cxn>
              <a:cxn ang="0">
                <a:pos x="connsiteX42768" y="connsiteY42768"/>
              </a:cxn>
              <a:cxn ang="0">
                <a:pos x="connsiteX42769" y="connsiteY42769"/>
              </a:cxn>
              <a:cxn ang="0">
                <a:pos x="connsiteX42770" y="connsiteY42770"/>
              </a:cxn>
              <a:cxn ang="0">
                <a:pos x="connsiteX42771" y="connsiteY42771"/>
              </a:cxn>
              <a:cxn ang="0">
                <a:pos x="connsiteX42772" y="connsiteY42772"/>
              </a:cxn>
              <a:cxn ang="0">
                <a:pos x="connsiteX42773" y="connsiteY42773"/>
              </a:cxn>
              <a:cxn ang="0">
                <a:pos x="connsiteX42774" y="connsiteY42774"/>
              </a:cxn>
              <a:cxn ang="0">
                <a:pos x="connsiteX42775" y="connsiteY42775"/>
              </a:cxn>
              <a:cxn ang="0">
                <a:pos x="connsiteX42776" y="connsiteY42776"/>
              </a:cxn>
              <a:cxn ang="0">
                <a:pos x="connsiteX42777" y="connsiteY42777"/>
              </a:cxn>
              <a:cxn ang="0">
                <a:pos x="connsiteX42778" y="connsiteY42778"/>
              </a:cxn>
              <a:cxn ang="0">
                <a:pos x="connsiteX42779" y="connsiteY42779"/>
              </a:cxn>
              <a:cxn ang="0">
                <a:pos x="connsiteX42780" y="connsiteY42780"/>
              </a:cxn>
              <a:cxn ang="0">
                <a:pos x="connsiteX42781" y="connsiteY42781"/>
              </a:cxn>
              <a:cxn ang="0">
                <a:pos x="connsiteX42782" y="connsiteY42782"/>
              </a:cxn>
              <a:cxn ang="0">
                <a:pos x="connsiteX42783" y="connsiteY42783"/>
              </a:cxn>
              <a:cxn ang="0">
                <a:pos x="connsiteX42784" y="connsiteY42784"/>
              </a:cxn>
              <a:cxn ang="0">
                <a:pos x="connsiteX42785" y="connsiteY42785"/>
              </a:cxn>
              <a:cxn ang="0">
                <a:pos x="connsiteX42786" y="connsiteY42786"/>
              </a:cxn>
              <a:cxn ang="0">
                <a:pos x="connsiteX42787" y="connsiteY42787"/>
              </a:cxn>
              <a:cxn ang="0">
                <a:pos x="connsiteX42788" y="connsiteY42788"/>
              </a:cxn>
              <a:cxn ang="0">
                <a:pos x="connsiteX42789" y="connsiteY42789"/>
              </a:cxn>
              <a:cxn ang="0">
                <a:pos x="connsiteX42790" y="connsiteY42790"/>
              </a:cxn>
              <a:cxn ang="0">
                <a:pos x="connsiteX42791" y="connsiteY42791"/>
              </a:cxn>
              <a:cxn ang="0">
                <a:pos x="connsiteX42792" y="connsiteY42792"/>
              </a:cxn>
              <a:cxn ang="0">
                <a:pos x="connsiteX42793" y="connsiteY42793"/>
              </a:cxn>
              <a:cxn ang="0">
                <a:pos x="connsiteX42794" y="connsiteY42794"/>
              </a:cxn>
              <a:cxn ang="0">
                <a:pos x="connsiteX42795" y="connsiteY42795"/>
              </a:cxn>
              <a:cxn ang="0">
                <a:pos x="connsiteX42796" y="connsiteY42796"/>
              </a:cxn>
              <a:cxn ang="0">
                <a:pos x="connsiteX42797" y="connsiteY42797"/>
              </a:cxn>
              <a:cxn ang="0">
                <a:pos x="connsiteX42798" y="connsiteY42798"/>
              </a:cxn>
              <a:cxn ang="0">
                <a:pos x="connsiteX42799" y="connsiteY42799"/>
              </a:cxn>
              <a:cxn ang="0">
                <a:pos x="connsiteX42800" y="connsiteY42800"/>
              </a:cxn>
              <a:cxn ang="0">
                <a:pos x="connsiteX42801" y="connsiteY42801"/>
              </a:cxn>
              <a:cxn ang="0">
                <a:pos x="connsiteX42802" y="connsiteY42802"/>
              </a:cxn>
              <a:cxn ang="0">
                <a:pos x="connsiteX42803" y="connsiteY42803"/>
              </a:cxn>
              <a:cxn ang="0">
                <a:pos x="connsiteX42804" y="connsiteY42804"/>
              </a:cxn>
              <a:cxn ang="0">
                <a:pos x="connsiteX42805" y="connsiteY42805"/>
              </a:cxn>
              <a:cxn ang="0">
                <a:pos x="connsiteX42806" y="connsiteY42806"/>
              </a:cxn>
              <a:cxn ang="0">
                <a:pos x="connsiteX42807" y="connsiteY42807"/>
              </a:cxn>
              <a:cxn ang="0">
                <a:pos x="connsiteX42808" y="connsiteY42808"/>
              </a:cxn>
              <a:cxn ang="0">
                <a:pos x="connsiteX42809" y="connsiteY42809"/>
              </a:cxn>
              <a:cxn ang="0">
                <a:pos x="connsiteX42810" y="connsiteY42810"/>
              </a:cxn>
              <a:cxn ang="0">
                <a:pos x="connsiteX42811" y="connsiteY42811"/>
              </a:cxn>
              <a:cxn ang="0">
                <a:pos x="connsiteX42812" y="connsiteY42812"/>
              </a:cxn>
              <a:cxn ang="0">
                <a:pos x="connsiteX42813" y="connsiteY42813"/>
              </a:cxn>
              <a:cxn ang="0">
                <a:pos x="connsiteX42814" y="connsiteY42814"/>
              </a:cxn>
              <a:cxn ang="0">
                <a:pos x="connsiteX42815" y="connsiteY42815"/>
              </a:cxn>
              <a:cxn ang="0">
                <a:pos x="connsiteX42816" y="connsiteY42816"/>
              </a:cxn>
              <a:cxn ang="0">
                <a:pos x="connsiteX42817" y="connsiteY42817"/>
              </a:cxn>
              <a:cxn ang="0">
                <a:pos x="connsiteX42818" y="connsiteY42818"/>
              </a:cxn>
              <a:cxn ang="0">
                <a:pos x="connsiteX42819" y="connsiteY42819"/>
              </a:cxn>
              <a:cxn ang="0">
                <a:pos x="connsiteX42820" y="connsiteY42820"/>
              </a:cxn>
              <a:cxn ang="0">
                <a:pos x="connsiteX42821" y="connsiteY42821"/>
              </a:cxn>
              <a:cxn ang="0">
                <a:pos x="connsiteX42822" y="connsiteY42822"/>
              </a:cxn>
              <a:cxn ang="0">
                <a:pos x="connsiteX42823" y="connsiteY42823"/>
              </a:cxn>
              <a:cxn ang="0">
                <a:pos x="connsiteX42824" y="connsiteY42824"/>
              </a:cxn>
              <a:cxn ang="0">
                <a:pos x="connsiteX42825" y="connsiteY42825"/>
              </a:cxn>
              <a:cxn ang="0">
                <a:pos x="connsiteX42826" y="connsiteY42826"/>
              </a:cxn>
              <a:cxn ang="0">
                <a:pos x="connsiteX42827" y="connsiteY42827"/>
              </a:cxn>
              <a:cxn ang="0">
                <a:pos x="connsiteX42828" y="connsiteY42828"/>
              </a:cxn>
              <a:cxn ang="0">
                <a:pos x="connsiteX42829" y="connsiteY42829"/>
              </a:cxn>
              <a:cxn ang="0">
                <a:pos x="connsiteX42830" y="connsiteY42830"/>
              </a:cxn>
              <a:cxn ang="0">
                <a:pos x="connsiteX42831" y="connsiteY42831"/>
              </a:cxn>
              <a:cxn ang="0">
                <a:pos x="connsiteX42832" y="connsiteY42832"/>
              </a:cxn>
              <a:cxn ang="0">
                <a:pos x="connsiteX42833" y="connsiteY42833"/>
              </a:cxn>
              <a:cxn ang="0">
                <a:pos x="connsiteX42834" y="connsiteY42834"/>
              </a:cxn>
              <a:cxn ang="0">
                <a:pos x="connsiteX42835" y="connsiteY42835"/>
              </a:cxn>
              <a:cxn ang="0">
                <a:pos x="connsiteX42836" y="connsiteY42836"/>
              </a:cxn>
              <a:cxn ang="0">
                <a:pos x="connsiteX42837" y="connsiteY42837"/>
              </a:cxn>
              <a:cxn ang="0">
                <a:pos x="connsiteX42838" y="connsiteY42838"/>
              </a:cxn>
              <a:cxn ang="0">
                <a:pos x="connsiteX42839" y="connsiteY42839"/>
              </a:cxn>
              <a:cxn ang="0">
                <a:pos x="connsiteX42840" y="connsiteY42840"/>
              </a:cxn>
              <a:cxn ang="0">
                <a:pos x="connsiteX42841" y="connsiteY42841"/>
              </a:cxn>
              <a:cxn ang="0">
                <a:pos x="connsiteX42842" y="connsiteY42842"/>
              </a:cxn>
              <a:cxn ang="0">
                <a:pos x="connsiteX42843" y="connsiteY42843"/>
              </a:cxn>
              <a:cxn ang="0">
                <a:pos x="connsiteX42844" y="connsiteY42844"/>
              </a:cxn>
              <a:cxn ang="0">
                <a:pos x="connsiteX42845" y="connsiteY42845"/>
              </a:cxn>
              <a:cxn ang="0">
                <a:pos x="connsiteX42846" y="connsiteY42846"/>
              </a:cxn>
              <a:cxn ang="0">
                <a:pos x="connsiteX42847" y="connsiteY42847"/>
              </a:cxn>
              <a:cxn ang="0">
                <a:pos x="connsiteX42848" y="connsiteY42848"/>
              </a:cxn>
              <a:cxn ang="0">
                <a:pos x="connsiteX42849" y="connsiteY42849"/>
              </a:cxn>
              <a:cxn ang="0">
                <a:pos x="connsiteX42850" y="connsiteY42850"/>
              </a:cxn>
              <a:cxn ang="0">
                <a:pos x="connsiteX42851" y="connsiteY42851"/>
              </a:cxn>
              <a:cxn ang="0">
                <a:pos x="connsiteX42852" y="connsiteY42852"/>
              </a:cxn>
              <a:cxn ang="0">
                <a:pos x="connsiteX42853" y="connsiteY42853"/>
              </a:cxn>
              <a:cxn ang="0">
                <a:pos x="connsiteX42854" y="connsiteY42854"/>
              </a:cxn>
              <a:cxn ang="0">
                <a:pos x="connsiteX42855" y="connsiteY42855"/>
              </a:cxn>
              <a:cxn ang="0">
                <a:pos x="connsiteX42856" y="connsiteY42856"/>
              </a:cxn>
              <a:cxn ang="0">
                <a:pos x="connsiteX42857" y="connsiteY42857"/>
              </a:cxn>
              <a:cxn ang="0">
                <a:pos x="connsiteX42858" y="connsiteY42858"/>
              </a:cxn>
              <a:cxn ang="0">
                <a:pos x="connsiteX42859" y="connsiteY42859"/>
              </a:cxn>
              <a:cxn ang="0">
                <a:pos x="connsiteX42860" y="connsiteY42860"/>
              </a:cxn>
              <a:cxn ang="0">
                <a:pos x="connsiteX42861" y="connsiteY42861"/>
              </a:cxn>
              <a:cxn ang="0">
                <a:pos x="connsiteX42862" y="connsiteY42862"/>
              </a:cxn>
              <a:cxn ang="0">
                <a:pos x="connsiteX42863" y="connsiteY42863"/>
              </a:cxn>
              <a:cxn ang="0">
                <a:pos x="connsiteX42864" y="connsiteY42864"/>
              </a:cxn>
              <a:cxn ang="0">
                <a:pos x="connsiteX42865" y="connsiteY42865"/>
              </a:cxn>
              <a:cxn ang="0">
                <a:pos x="connsiteX42866" y="connsiteY42866"/>
              </a:cxn>
              <a:cxn ang="0">
                <a:pos x="connsiteX42867" y="connsiteY42867"/>
              </a:cxn>
              <a:cxn ang="0">
                <a:pos x="connsiteX42868" y="connsiteY42868"/>
              </a:cxn>
              <a:cxn ang="0">
                <a:pos x="connsiteX42869" y="connsiteY42869"/>
              </a:cxn>
              <a:cxn ang="0">
                <a:pos x="connsiteX42870" y="connsiteY42870"/>
              </a:cxn>
              <a:cxn ang="0">
                <a:pos x="connsiteX42871" y="connsiteY42871"/>
              </a:cxn>
              <a:cxn ang="0">
                <a:pos x="connsiteX42872" y="connsiteY42872"/>
              </a:cxn>
              <a:cxn ang="0">
                <a:pos x="connsiteX42873" y="connsiteY42873"/>
              </a:cxn>
              <a:cxn ang="0">
                <a:pos x="connsiteX42874" y="connsiteY42874"/>
              </a:cxn>
              <a:cxn ang="0">
                <a:pos x="connsiteX42875" y="connsiteY42875"/>
              </a:cxn>
              <a:cxn ang="0">
                <a:pos x="connsiteX42876" y="connsiteY42876"/>
              </a:cxn>
              <a:cxn ang="0">
                <a:pos x="connsiteX42877" y="connsiteY42877"/>
              </a:cxn>
              <a:cxn ang="0">
                <a:pos x="connsiteX42878" y="connsiteY42878"/>
              </a:cxn>
              <a:cxn ang="0">
                <a:pos x="connsiteX42879" y="connsiteY42879"/>
              </a:cxn>
              <a:cxn ang="0">
                <a:pos x="connsiteX42880" y="connsiteY42880"/>
              </a:cxn>
              <a:cxn ang="0">
                <a:pos x="connsiteX42881" y="connsiteY42881"/>
              </a:cxn>
              <a:cxn ang="0">
                <a:pos x="connsiteX42882" y="connsiteY42882"/>
              </a:cxn>
              <a:cxn ang="0">
                <a:pos x="connsiteX42883" y="connsiteY42883"/>
              </a:cxn>
              <a:cxn ang="0">
                <a:pos x="connsiteX42884" y="connsiteY42884"/>
              </a:cxn>
              <a:cxn ang="0">
                <a:pos x="connsiteX42885" y="connsiteY42885"/>
              </a:cxn>
              <a:cxn ang="0">
                <a:pos x="connsiteX42886" y="connsiteY42886"/>
              </a:cxn>
              <a:cxn ang="0">
                <a:pos x="connsiteX42887" y="connsiteY42887"/>
              </a:cxn>
              <a:cxn ang="0">
                <a:pos x="connsiteX42888" y="connsiteY42888"/>
              </a:cxn>
              <a:cxn ang="0">
                <a:pos x="connsiteX42889" y="connsiteY42889"/>
              </a:cxn>
              <a:cxn ang="0">
                <a:pos x="connsiteX42890" y="connsiteY42890"/>
              </a:cxn>
              <a:cxn ang="0">
                <a:pos x="connsiteX42891" y="connsiteY42891"/>
              </a:cxn>
              <a:cxn ang="0">
                <a:pos x="connsiteX42892" y="connsiteY42892"/>
              </a:cxn>
              <a:cxn ang="0">
                <a:pos x="connsiteX42893" y="connsiteY42893"/>
              </a:cxn>
              <a:cxn ang="0">
                <a:pos x="connsiteX42894" y="connsiteY42894"/>
              </a:cxn>
              <a:cxn ang="0">
                <a:pos x="connsiteX42895" y="connsiteY42895"/>
              </a:cxn>
              <a:cxn ang="0">
                <a:pos x="connsiteX42896" y="connsiteY42896"/>
              </a:cxn>
              <a:cxn ang="0">
                <a:pos x="connsiteX42897" y="connsiteY42897"/>
              </a:cxn>
              <a:cxn ang="0">
                <a:pos x="connsiteX42898" y="connsiteY42898"/>
              </a:cxn>
              <a:cxn ang="0">
                <a:pos x="connsiteX42899" y="connsiteY42899"/>
              </a:cxn>
              <a:cxn ang="0">
                <a:pos x="connsiteX42900" y="connsiteY42900"/>
              </a:cxn>
              <a:cxn ang="0">
                <a:pos x="connsiteX42901" y="connsiteY42901"/>
              </a:cxn>
              <a:cxn ang="0">
                <a:pos x="connsiteX42902" y="connsiteY42902"/>
              </a:cxn>
              <a:cxn ang="0">
                <a:pos x="connsiteX42903" y="connsiteY42903"/>
              </a:cxn>
              <a:cxn ang="0">
                <a:pos x="connsiteX42904" y="connsiteY42904"/>
              </a:cxn>
              <a:cxn ang="0">
                <a:pos x="connsiteX42905" y="connsiteY42905"/>
              </a:cxn>
              <a:cxn ang="0">
                <a:pos x="connsiteX42906" y="connsiteY42906"/>
              </a:cxn>
              <a:cxn ang="0">
                <a:pos x="connsiteX42907" y="connsiteY42907"/>
              </a:cxn>
              <a:cxn ang="0">
                <a:pos x="connsiteX42908" y="connsiteY42908"/>
              </a:cxn>
              <a:cxn ang="0">
                <a:pos x="connsiteX42909" y="connsiteY42909"/>
              </a:cxn>
              <a:cxn ang="0">
                <a:pos x="connsiteX42910" y="connsiteY42910"/>
              </a:cxn>
              <a:cxn ang="0">
                <a:pos x="connsiteX42911" y="connsiteY42911"/>
              </a:cxn>
              <a:cxn ang="0">
                <a:pos x="connsiteX42912" y="connsiteY42912"/>
              </a:cxn>
              <a:cxn ang="0">
                <a:pos x="connsiteX42913" y="connsiteY42913"/>
              </a:cxn>
              <a:cxn ang="0">
                <a:pos x="connsiteX42914" y="connsiteY42914"/>
              </a:cxn>
              <a:cxn ang="0">
                <a:pos x="connsiteX42915" y="connsiteY42915"/>
              </a:cxn>
              <a:cxn ang="0">
                <a:pos x="connsiteX42916" y="connsiteY42916"/>
              </a:cxn>
              <a:cxn ang="0">
                <a:pos x="connsiteX42917" y="connsiteY42917"/>
              </a:cxn>
              <a:cxn ang="0">
                <a:pos x="connsiteX42918" y="connsiteY42918"/>
              </a:cxn>
              <a:cxn ang="0">
                <a:pos x="connsiteX42919" y="connsiteY42919"/>
              </a:cxn>
              <a:cxn ang="0">
                <a:pos x="connsiteX42920" y="connsiteY42920"/>
              </a:cxn>
              <a:cxn ang="0">
                <a:pos x="connsiteX42921" y="connsiteY42921"/>
              </a:cxn>
              <a:cxn ang="0">
                <a:pos x="connsiteX42922" y="connsiteY42922"/>
              </a:cxn>
              <a:cxn ang="0">
                <a:pos x="connsiteX42923" y="connsiteY42923"/>
              </a:cxn>
              <a:cxn ang="0">
                <a:pos x="connsiteX42924" y="connsiteY42924"/>
              </a:cxn>
              <a:cxn ang="0">
                <a:pos x="connsiteX42925" y="connsiteY42925"/>
              </a:cxn>
              <a:cxn ang="0">
                <a:pos x="connsiteX42926" y="connsiteY42926"/>
              </a:cxn>
              <a:cxn ang="0">
                <a:pos x="connsiteX42927" y="connsiteY42927"/>
              </a:cxn>
              <a:cxn ang="0">
                <a:pos x="connsiteX42928" y="connsiteY42928"/>
              </a:cxn>
              <a:cxn ang="0">
                <a:pos x="connsiteX42929" y="connsiteY42929"/>
              </a:cxn>
              <a:cxn ang="0">
                <a:pos x="connsiteX42930" y="connsiteY42930"/>
              </a:cxn>
              <a:cxn ang="0">
                <a:pos x="connsiteX42931" y="connsiteY42931"/>
              </a:cxn>
              <a:cxn ang="0">
                <a:pos x="connsiteX42932" y="connsiteY42932"/>
              </a:cxn>
              <a:cxn ang="0">
                <a:pos x="connsiteX42933" y="connsiteY42933"/>
              </a:cxn>
              <a:cxn ang="0">
                <a:pos x="connsiteX42934" y="connsiteY42934"/>
              </a:cxn>
              <a:cxn ang="0">
                <a:pos x="connsiteX42935" y="connsiteY42935"/>
              </a:cxn>
              <a:cxn ang="0">
                <a:pos x="connsiteX42936" y="connsiteY42936"/>
              </a:cxn>
              <a:cxn ang="0">
                <a:pos x="connsiteX42937" y="connsiteY42937"/>
              </a:cxn>
              <a:cxn ang="0">
                <a:pos x="connsiteX42938" y="connsiteY42938"/>
              </a:cxn>
              <a:cxn ang="0">
                <a:pos x="connsiteX42939" y="connsiteY42939"/>
              </a:cxn>
              <a:cxn ang="0">
                <a:pos x="connsiteX42940" y="connsiteY42940"/>
              </a:cxn>
              <a:cxn ang="0">
                <a:pos x="connsiteX42941" y="connsiteY42941"/>
              </a:cxn>
              <a:cxn ang="0">
                <a:pos x="connsiteX42942" y="connsiteY42942"/>
              </a:cxn>
              <a:cxn ang="0">
                <a:pos x="connsiteX42943" y="connsiteY42943"/>
              </a:cxn>
              <a:cxn ang="0">
                <a:pos x="connsiteX42944" y="connsiteY42944"/>
              </a:cxn>
              <a:cxn ang="0">
                <a:pos x="connsiteX42945" y="connsiteY42945"/>
              </a:cxn>
              <a:cxn ang="0">
                <a:pos x="connsiteX42946" y="connsiteY42946"/>
              </a:cxn>
              <a:cxn ang="0">
                <a:pos x="connsiteX42947" y="connsiteY42947"/>
              </a:cxn>
              <a:cxn ang="0">
                <a:pos x="connsiteX42948" y="connsiteY42948"/>
              </a:cxn>
              <a:cxn ang="0">
                <a:pos x="connsiteX42949" y="connsiteY42949"/>
              </a:cxn>
              <a:cxn ang="0">
                <a:pos x="connsiteX42950" y="connsiteY42950"/>
              </a:cxn>
              <a:cxn ang="0">
                <a:pos x="connsiteX42951" y="connsiteY42951"/>
              </a:cxn>
              <a:cxn ang="0">
                <a:pos x="connsiteX42952" y="connsiteY42952"/>
              </a:cxn>
              <a:cxn ang="0">
                <a:pos x="connsiteX42953" y="connsiteY42953"/>
              </a:cxn>
              <a:cxn ang="0">
                <a:pos x="connsiteX42954" y="connsiteY42954"/>
              </a:cxn>
              <a:cxn ang="0">
                <a:pos x="connsiteX42955" y="connsiteY42955"/>
              </a:cxn>
              <a:cxn ang="0">
                <a:pos x="connsiteX42956" y="connsiteY42956"/>
              </a:cxn>
              <a:cxn ang="0">
                <a:pos x="connsiteX42957" y="connsiteY42957"/>
              </a:cxn>
              <a:cxn ang="0">
                <a:pos x="connsiteX42958" y="connsiteY42958"/>
              </a:cxn>
              <a:cxn ang="0">
                <a:pos x="connsiteX42959" y="connsiteY42959"/>
              </a:cxn>
              <a:cxn ang="0">
                <a:pos x="connsiteX42960" y="connsiteY42960"/>
              </a:cxn>
              <a:cxn ang="0">
                <a:pos x="connsiteX42961" y="connsiteY42961"/>
              </a:cxn>
              <a:cxn ang="0">
                <a:pos x="connsiteX42962" y="connsiteY42962"/>
              </a:cxn>
              <a:cxn ang="0">
                <a:pos x="connsiteX42963" y="connsiteY42963"/>
              </a:cxn>
              <a:cxn ang="0">
                <a:pos x="connsiteX42964" y="connsiteY42964"/>
              </a:cxn>
              <a:cxn ang="0">
                <a:pos x="connsiteX42965" y="connsiteY42965"/>
              </a:cxn>
              <a:cxn ang="0">
                <a:pos x="connsiteX42966" y="connsiteY42966"/>
              </a:cxn>
              <a:cxn ang="0">
                <a:pos x="connsiteX42967" y="connsiteY42967"/>
              </a:cxn>
              <a:cxn ang="0">
                <a:pos x="connsiteX42968" y="connsiteY42968"/>
              </a:cxn>
              <a:cxn ang="0">
                <a:pos x="connsiteX42969" y="connsiteY42969"/>
              </a:cxn>
              <a:cxn ang="0">
                <a:pos x="connsiteX42970" y="connsiteY42970"/>
              </a:cxn>
              <a:cxn ang="0">
                <a:pos x="connsiteX42971" y="connsiteY42971"/>
              </a:cxn>
              <a:cxn ang="0">
                <a:pos x="connsiteX42972" y="connsiteY42972"/>
              </a:cxn>
              <a:cxn ang="0">
                <a:pos x="connsiteX42973" y="connsiteY42973"/>
              </a:cxn>
              <a:cxn ang="0">
                <a:pos x="connsiteX42974" y="connsiteY42974"/>
              </a:cxn>
              <a:cxn ang="0">
                <a:pos x="connsiteX42975" y="connsiteY42975"/>
              </a:cxn>
              <a:cxn ang="0">
                <a:pos x="connsiteX42976" y="connsiteY42976"/>
              </a:cxn>
              <a:cxn ang="0">
                <a:pos x="connsiteX42977" y="connsiteY42977"/>
              </a:cxn>
              <a:cxn ang="0">
                <a:pos x="connsiteX42978" y="connsiteY42978"/>
              </a:cxn>
              <a:cxn ang="0">
                <a:pos x="connsiteX42979" y="connsiteY42979"/>
              </a:cxn>
              <a:cxn ang="0">
                <a:pos x="connsiteX42980" y="connsiteY42980"/>
              </a:cxn>
              <a:cxn ang="0">
                <a:pos x="connsiteX42981" y="connsiteY42981"/>
              </a:cxn>
              <a:cxn ang="0">
                <a:pos x="connsiteX42982" y="connsiteY42982"/>
              </a:cxn>
              <a:cxn ang="0">
                <a:pos x="connsiteX42983" y="connsiteY42983"/>
              </a:cxn>
              <a:cxn ang="0">
                <a:pos x="connsiteX42984" y="connsiteY42984"/>
              </a:cxn>
              <a:cxn ang="0">
                <a:pos x="connsiteX42985" y="connsiteY42985"/>
              </a:cxn>
              <a:cxn ang="0">
                <a:pos x="connsiteX42986" y="connsiteY42986"/>
              </a:cxn>
              <a:cxn ang="0">
                <a:pos x="connsiteX42987" y="connsiteY42987"/>
              </a:cxn>
              <a:cxn ang="0">
                <a:pos x="connsiteX42988" y="connsiteY42988"/>
              </a:cxn>
              <a:cxn ang="0">
                <a:pos x="connsiteX42989" y="connsiteY42989"/>
              </a:cxn>
              <a:cxn ang="0">
                <a:pos x="connsiteX42990" y="connsiteY42990"/>
              </a:cxn>
              <a:cxn ang="0">
                <a:pos x="connsiteX42991" y="connsiteY42991"/>
              </a:cxn>
              <a:cxn ang="0">
                <a:pos x="connsiteX42992" y="connsiteY42992"/>
              </a:cxn>
              <a:cxn ang="0">
                <a:pos x="connsiteX42993" y="connsiteY42993"/>
              </a:cxn>
              <a:cxn ang="0">
                <a:pos x="connsiteX42994" y="connsiteY42994"/>
              </a:cxn>
              <a:cxn ang="0">
                <a:pos x="connsiteX42995" y="connsiteY42995"/>
              </a:cxn>
              <a:cxn ang="0">
                <a:pos x="connsiteX42996" y="connsiteY42996"/>
              </a:cxn>
              <a:cxn ang="0">
                <a:pos x="connsiteX42997" y="connsiteY42997"/>
              </a:cxn>
              <a:cxn ang="0">
                <a:pos x="connsiteX42998" y="connsiteY42998"/>
              </a:cxn>
              <a:cxn ang="0">
                <a:pos x="connsiteX42999" y="connsiteY42999"/>
              </a:cxn>
              <a:cxn ang="0">
                <a:pos x="connsiteX43000" y="connsiteY43000"/>
              </a:cxn>
              <a:cxn ang="0">
                <a:pos x="connsiteX43001" y="connsiteY43001"/>
              </a:cxn>
              <a:cxn ang="0">
                <a:pos x="connsiteX43002" y="connsiteY43002"/>
              </a:cxn>
              <a:cxn ang="0">
                <a:pos x="connsiteX43003" y="connsiteY43003"/>
              </a:cxn>
              <a:cxn ang="0">
                <a:pos x="connsiteX43004" y="connsiteY43004"/>
              </a:cxn>
              <a:cxn ang="0">
                <a:pos x="connsiteX43005" y="connsiteY43005"/>
              </a:cxn>
              <a:cxn ang="0">
                <a:pos x="connsiteX43006" y="connsiteY43006"/>
              </a:cxn>
              <a:cxn ang="0">
                <a:pos x="connsiteX43007" y="connsiteY43007"/>
              </a:cxn>
              <a:cxn ang="0">
                <a:pos x="connsiteX43008" y="connsiteY43008"/>
              </a:cxn>
              <a:cxn ang="0">
                <a:pos x="connsiteX43009" y="connsiteY43009"/>
              </a:cxn>
              <a:cxn ang="0">
                <a:pos x="connsiteX43010" y="connsiteY43010"/>
              </a:cxn>
              <a:cxn ang="0">
                <a:pos x="connsiteX43011" y="connsiteY43011"/>
              </a:cxn>
              <a:cxn ang="0">
                <a:pos x="connsiteX43012" y="connsiteY43012"/>
              </a:cxn>
              <a:cxn ang="0">
                <a:pos x="connsiteX43013" y="connsiteY43013"/>
              </a:cxn>
              <a:cxn ang="0">
                <a:pos x="connsiteX43014" y="connsiteY43014"/>
              </a:cxn>
              <a:cxn ang="0">
                <a:pos x="connsiteX43015" y="connsiteY43015"/>
              </a:cxn>
              <a:cxn ang="0">
                <a:pos x="connsiteX43016" y="connsiteY43016"/>
              </a:cxn>
              <a:cxn ang="0">
                <a:pos x="connsiteX43017" y="connsiteY43017"/>
              </a:cxn>
              <a:cxn ang="0">
                <a:pos x="connsiteX43018" y="connsiteY43018"/>
              </a:cxn>
              <a:cxn ang="0">
                <a:pos x="connsiteX43019" y="connsiteY43019"/>
              </a:cxn>
              <a:cxn ang="0">
                <a:pos x="connsiteX43020" y="connsiteY43020"/>
              </a:cxn>
              <a:cxn ang="0">
                <a:pos x="connsiteX43021" y="connsiteY43021"/>
              </a:cxn>
              <a:cxn ang="0">
                <a:pos x="connsiteX43022" y="connsiteY43022"/>
              </a:cxn>
              <a:cxn ang="0">
                <a:pos x="connsiteX43023" y="connsiteY43023"/>
              </a:cxn>
              <a:cxn ang="0">
                <a:pos x="connsiteX43024" y="connsiteY43024"/>
              </a:cxn>
              <a:cxn ang="0">
                <a:pos x="connsiteX43025" y="connsiteY43025"/>
              </a:cxn>
              <a:cxn ang="0">
                <a:pos x="connsiteX43026" y="connsiteY43026"/>
              </a:cxn>
              <a:cxn ang="0">
                <a:pos x="connsiteX43027" y="connsiteY43027"/>
              </a:cxn>
              <a:cxn ang="0">
                <a:pos x="connsiteX43028" y="connsiteY43028"/>
              </a:cxn>
              <a:cxn ang="0">
                <a:pos x="connsiteX43029" y="connsiteY43029"/>
              </a:cxn>
              <a:cxn ang="0">
                <a:pos x="connsiteX43030" y="connsiteY43030"/>
              </a:cxn>
              <a:cxn ang="0">
                <a:pos x="connsiteX43031" y="connsiteY43031"/>
              </a:cxn>
              <a:cxn ang="0">
                <a:pos x="connsiteX43032" y="connsiteY43032"/>
              </a:cxn>
              <a:cxn ang="0">
                <a:pos x="connsiteX43033" y="connsiteY43033"/>
              </a:cxn>
              <a:cxn ang="0">
                <a:pos x="connsiteX43034" y="connsiteY43034"/>
              </a:cxn>
              <a:cxn ang="0">
                <a:pos x="connsiteX43035" y="connsiteY43035"/>
              </a:cxn>
              <a:cxn ang="0">
                <a:pos x="connsiteX43036" y="connsiteY43036"/>
              </a:cxn>
              <a:cxn ang="0">
                <a:pos x="connsiteX43037" y="connsiteY43037"/>
              </a:cxn>
              <a:cxn ang="0">
                <a:pos x="connsiteX43038" y="connsiteY43038"/>
              </a:cxn>
              <a:cxn ang="0">
                <a:pos x="connsiteX43039" y="connsiteY43039"/>
              </a:cxn>
              <a:cxn ang="0">
                <a:pos x="connsiteX43040" y="connsiteY43040"/>
              </a:cxn>
              <a:cxn ang="0">
                <a:pos x="connsiteX43041" y="connsiteY43041"/>
              </a:cxn>
              <a:cxn ang="0">
                <a:pos x="connsiteX43042" y="connsiteY43042"/>
              </a:cxn>
              <a:cxn ang="0">
                <a:pos x="connsiteX43043" y="connsiteY43043"/>
              </a:cxn>
              <a:cxn ang="0">
                <a:pos x="connsiteX43044" y="connsiteY43044"/>
              </a:cxn>
              <a:cxn ang="0">
                <a:pos x="connsiteX43045" y="connsiteY43045"/>
              </a:cxn>
              <a:cxn ang="0">
                <a:pos x="connsiteX43046" y="connsiteY43046"/>
              </a:cxn>
              <a:cxn ang="0">
                <a:pos x="connsiteX43047" y="connsiteY43047"/>
              </a:cxn>
              <a:cxn ang="0">
                <a:pos x="connsiteX43048" y="connsiteY43048"/>
              </a:cxn>
              <a:cxn ang="0">
                <a:pos x="connsiteX43049" y="connsiteY43049"/>
              </a:cxn>
              <a:cxn ang="0">
                <a:pos x="connsiteX43050" y="connsiteY43050"/>
              </a:cxn>
              <a:cxn ang="0">
                <a:pos x="connsiteX43051" y="connsiteY43051"/>
              </a:cxn>
              <a:cxn ang="0">
                <a:pos x="connsiteX43052" y="connsiteY43052"/>
              </a:cxn>
              <a:cxn ang="0">
                <a:pos x="connsiteX43053" y="connsiteY43053"/>
              </a:cxn>
              <a:cxn ang="0">
                <a:pos x="connsiteX43054" y="connsiteY43054"/>
              </a:cxn>
              <a:cxn ang="0">
                <a:pos x="connsiteX43055" y="connsiteY43055"/>
              </a:cxn>
              <a:cxn ang="0">
                <a:pos x="connsiteX43056" y="connsiteY43056"/>
              </a:cxn>
              <a:cxn ang="0">
                <a:pos x="connsiteX43057" y="connsiteY43057"/>
              </a:cxn>
              <a:cxn ang="0">
                <a:pos x="connsiteX43058" y="connsiteY43058"/>
              </a:cxn>
              <a:cxn ang="0">
                <a:pos x="connsiteX43059" y="connsiteY43059"/>
              </a:cxn>
              <a:cxn ang="0">
                <a:pos x="connsiteX43060" y="connsiteY43060"/>
              </a:cxn>
              <a:cxn ang="0">
                <a:pos x="connsiteX43061" y="connsiteY43061"/>
              </a:cxn>
              <a:cxn ang="0">
                <a:pos x="connsiteX43062" y="connsiteY43062"/>
              </a:cxn>
              <a:cxn ang="0">
                <a:pos x="connsiteX43063" y="connsiteY43063"/>
              </a:cxn>
              <a:cxn ang="0">
                <a:pos x="connsiteX43064" y="connsiteY43064"/>
              </a:cxn>
              <a:cxn ang="0">
                <a:pos x="connsiteX43065" y="connsiteY43065"/>
              </a:cxn>
              <a:cxn ang="0">
                <a:pos x="connsiteX43066" y="connsiteY43066"/>
              </a:cxn>
              <a:cxn ang="0">
                <a:pos x="connsiteX43067" y="connsiteY43067"/>
              </a:cxn>
              <a:cxn ang="0">
                <a:pos x="connsiteX43068" y="connsiteY43068"/>
              </a:cxn>
              <a:cxn ang="0">
                <a:pos x="connsiteX43069" y="connsiteY43069"/>
              </a:cxn>
              <a:cxn ang="0">
                <a:pos x="connsiteX43070" y="connsiteY43070"/>
              </a:cxn>
              <a:cxn ang="0">
                <a:pos x="connsiteX43071" y="connsiteY43071"/>
              </a:cxn>
              <a:cxn ang="0">
                <a:pos x="connsiteX43072" y="connsiteY43072"/>
              </a:cxn>
              <a:cxn ang="0">
                <a:pos x="connsiteX43073" y="connsiteY43073"/>
              </a:cxn>
              <a:cxn ang="0">
                <a:pos x="connsiteX43074" y="connsiteY43074"/>
              </a:cxn>
              <a:cxn ang="0">
                <a:pos x="connsiteX43075" y="connsiteY43075"/>
              </a:cxn>
              <a:cxn ang="0">
                <a:pos x="connsiteX43076" y="connsiteY43076"/>
              </a:cxn>
              <a:cxn ang="0">
                <a:pos x="connsiteX43077" y="connsiteY43077"/>
              </a:cxn>
              <a:cxn ang="0">
                <a:pos x="connsiteX43078" y="connsiteY43078"/>
              </a:cxn>
              <a:cxn ang="0">
                <a:pos x="connsiteX43079" y="connsiteY43079"/>
              </a:cxn>
              <a:cxn ang="0">
                <a:pos x="connsiteX43080" y="connsiteY43080"/>
              </a:cxn>
              <a:cxn ang="0">
                <a:pos x="connsiteX43081" y="connsiteY43081"/>
              </a:cxn>
              <a:cxn ang="0">
                <a:pos x="connsiteX43082" y="connsiteY43082"/>
              </a:cxn>
              <a:cxn ang="0">
                <a:pos x="connsiteX43083" y="connsiteY43083"/>
              </a:cxn>
              <a:cxn ang="0">
                <a:pos x="connsiteX43084" y="connsiteY43084"/>
              </a:cxn>
              <a:cxn ang="0">
                <a:pos x="connsiteX43085" y="connsiteY43085"/>
              </a:cxn>
              <a:cxn ang="0">
                <a:pos x="connsiteX43086" y="connsiteY43086"/>
              </a:cxn>
              <a:cxn ang="0">
                <a:pos x="connsiteX43087" y="connsiteY43087"/>
              </a:cxn>
              <a:cxn ang="0">
                <a:pos x="connsiteX43088" y="connsiteY43088"/>
              </a:cxn>
              <a:cxn ang="0">
                <a:pos x="connsiteX43089" y="connsiteY43089"/>
              </a:cxn>
              <a:cxn ang="0">
                <a:pos x="connsiteX43090" y="connsiteY43090"/>
              </a:cxn>
              <a:cxn ang="0">
                <a:pos x="connsiteX43091" y="connsiteY43091"/>
              </a:cxn>
              <a:cxn ang="0">
                <a:pos x="connsiteX43092" y="connsiteY43092"/>
              </a:cxn>
              <a:cxn ang="0">
                <a:pos x="connsiteX43093" y="connsiteY43093"/>
              </a:cxn>
              <a:cxn ang="0">
                <a:pos x="connsiteX43094" y="connsiteY43094"/>
              </a:cxn>
              <a:cxn ang="0">
                <a:pos x="connsiteX43095" y="connsiteY43095"/>
              </a:cxn>
              <a:cxn ang="0">
                <a:pos x="connsiteX43096" y="connsiteY43096"/>
              </a:cxn>
              <a:cxn ang="0">
                <a:pos x="connsiteX43097" y="connsiteY43097"/>
              </a:cxn>
              <a:cxn ang="0">
                <a:pos x="connsiteX43098" y="connsiteY43098"/>
              </a:cxn>
              <a:cxn ang="0">
                <a:pos x="connsiteX43099" y="connsiteY43099"/>
              </a:cxn>
              <a:cxn ang="0">
                <a:pos x="connsiteX43100" y="connsiteY43100"/>
              </a:cxn>
              <a:cxn ang="0">
                <a:pos x="connsiteX43101" y="connsiteY43101"/>
              </a:cxn>
              <a:cxn ang="0">
                <a:pos x="connsiteX43102" y="connsiteY43102"/>
              </a:cxn>
              <a:cxn ang="0">
                <a:pos x="connsiteX43103" y="connsiteY43103"/>
              </a:cxn>
              <a:cxn ang="0">
                <a:pos x="connsiteX43104" y="connsiteY43104"/>
              </a:cxn>
              <a:cxn ang="0">
                <a:pos x="connsiteX43105" y="connsiteY43105"/>
              </a:cxn>
              <a:cxn ang="0">
                <a:pos x="connsiteX43106" y="connsiteY43106"/>
              </a:cxn>
              <a:cxn ang="0">
                <a:pos x="connsiteX43107" y="connsiteY43107"/>
              </a:cxn>
              <a:cxn ang="0">
                <a:pos x="connsiteX43108" y="connsiteY43108"/>
              </a:cxn>
              <a:cxn ang="0">
                <a:pos x="connsiteX43109" y="connsiteY43109"/>
              </a:cxn>
              <a:cxn ang="0">
                <a:pos x="connsiteX43110" y="connsiteY43110"/>
              </a:cxn>
              <a:cxn ang="0">
                <a:pos x="connsiteX43111" y="connsiteY43111"/>
              </a:cxn>
              <a:cxn ang="0">
                <a:pos x="connsiteX43112" y="connsiteY43112"/>
              </a:cxn>
              <a:cxn ang="0">
                <a:pos x="connsiteX43113" y="connsiteY43113"/>
              </a:cxn>
              <a:cxn ang="0">
                <a:pos x="connsiteX43114" y="connsiteY43114"/>
              </a:cxn>
              <a:cxn ang="0">
                <a:pos x="connsiteX43115" y="connsiteY43115"/>
              </a:cxn>
              <a:cxn ang="0">
                <a:pos x="connsiteX43116" y="connsiteY43116"/>
              </a:cxn>
              <a:cxn ang="0">
                <a:pos x="connsiteX43117" y="connsiteY43117"/>
              </a:cxn>
              <a:cxn ang="0">
                <a:pos x="connsiteX43118" y="connsiteY43118"/>
              </a:cxn>
              <a:cxn ang="0">
                <a:pos x="connsiteX43119" y="connsiteY43119"/>
              </a:cxn>
              <a:cxn ang="0">
                <a:pos x="connsiteX43120" y="connsiteY43120"/>
              </a:cxn>
              <a:cxn ang="0">
                <a:pos x="connsiteX43121" y="connsiteY43121"/>
              </a:cxn>
              <a:cxn ang="0">
                <a:pos x="connsiteX43122" y="connsiteY43122"/>
              </a:cxn>
              <a:cxn ang="0">
                <a:pos x="connsiteX43123" y="connsiteY43123"/>
              </a:cxn>
              <a:cxn ang="0">
                <a:pos x="connsiteX43124" y="connsiteY43124"/>
              </a:cxn>
              <a:cxn ang="0">
                <a:pos x="connsiteX43125" y="connsiteY43125"/>
              </a:cxn>
              <a:cxn ang="0">
                <a:pos x="connsiteX43126" y="connsiteY43126"/>
              </a:cxn>
              <a:cxn ang="0">
                <a:pos x="connsiteX43127" y="connsiteY43127"/>
              </a:cxn>
              <a:cxn ang="0">
                <a:pos x="connsiteX43128" y="connsiteY43128"/>
              </a:cxn>
              <a:cxn ang="0">
                <a:pos x="connsiteX43129" y="connsiteY43129"/>
              </a:cxn>
              <a:cxn ang="0">
                <a:pos x="connsiteX43130" y="connsiteY43130"/>
              </a:cxn>
              <a:cxn ang="0">
                <a:pos x="connsiteX43131" y="connsiteY43131"/>
              </a:cxn>
              <a:cxn ang="0">
                <a:pos x="connsiteX43132" y="connsiteY43132"/>
              </a:cxn>
              <a:cxn ang="0">
                <a:pos x="connsiteX43133" y="connsiteY43133"/>
              </a:cxn>
              <a:cxn ang="0">
                <a:pos x="connsiteX43134" y="connsiteY43134"/>
              </a:cxn>
              <a:cxn ang="0">
                <a:pos x="connsiteX43135" y="connsiteY43135"/>
              </a:cxn>
              <a:cxn ang="0">
                <a:pos x="connsiteX43136" y="connsiteY43136"/>
              </a:cxn>
              <a:cxn ang="0">
                <a:pos x="connsiteX43137" y="connsiteY43137"/>
              </a:cxn>
              <a:cxn ang="0">
                <a:pos x="connsiteX43138" y="connsiteY43138"/>
              </a:cxn>
              <a:cxn ang="0">
                <a:pos x="connsiteX43139" y="connsiteY43139"/>
              </a:cxn>
              <a:cxn ang="0">
                <a:pos x="connsiteX43140" y="connsiteY43140"/>
              </a:cxn>
              <a:cxn ang="0">
                <a:pos x="connsiteX43141" y="connsiteY43141"/>
              </a:cxn>
              <a:cxn ang="0">
                <a:pos x="connsiteX43142" y="connsiteY43142"/>
              </a:cxn>
              <a:cxn ang="0">
                <a:pos x="connsiteX43143" y="connsiteY43143"/>
              </a:cxn>
              <a:cxn ang="0">
                <a:pos x="connsiteX43144" y="connsiteY43144"/>
              </a:cxn>
              <a:cxn ang="0">
                <a:pos x="connsiteX43145" y="connsiteY43145"/>
              </a:cxn>
              <a:cxn ang="0">
                <a:pos x="connsiteX43146" y="connsiteY43146"/>
              </a:cxn>
              <a:cxn ang="0">
                <a:pos x="connsiteX43147" y="connsiteY43147"/>
              </a:cxn>
              <a:cxn ang="0">
                <a:pos x="connsiteX43148" y="connsiteY43148"/>
              </a:cxn>
              <a:cxn ang="0">
                <a:pos x="connsiteX43149" y="connsiteY43149"/>
              </a:cxn>
              <a:cxn ang="0">
                <a:pos x="connsiteX43150" y="connsiteY43150"/>
              </a:cxn>
              <a:cxn ang="0">
                <a:pos x="connsiteX43151" y="connsiteY43151"/>
              </a:cxn>
              <a:cxn ang="0">
                <a:pos x="connsiteX43152" y="connsiteY43152"/>
              </a:cxn>
              <a:cxn ang="0">
                <a:pos x="connsiteX43153" y="connsiteY43153"/>
              </a:cxn>
              <a:cxn ang="0">
                <a:pos x="connsiteX43154" y="connsiteY43154"/>
              </a:cxn>
              <a:cxn ang="0">
                <a:pos x="connsiteX43155" y="connsiteY43155"/>
              </a:cxn>
              <a:cxn ang="0">
                <a:pos x="connsiteX43156" y="connsiteY43156"/>
              </a:cxn>
              <a:cxn ang="0">
                <a:pos x="connsiteX43157" y="connsiteY43157"/>
              </a:cxn>
              <a:cxn ang="0">
                <a:pos x="connsiteX43158" y="connsiteY43158"/>
              </a:cxn>
              <a:cxn ang="0">
                <a:pos x="connsiteX43159" y="connsiteY43159"/>
              </a:cxn>
              <a:cxn ang="0">
                <a:pos x="connsiteX43160" y="connsiteY43160"/>
              </a:cxn>
              <a:cxn ang="0">
                <a:pos x="connsiteX43161" y="connsiteY43161"/>
              </a:cxn>
              <a:cxn ang="0">
                <a:pos x="connsiteX43162" y="connsiteY43162"/>
              </a:cxn>
              <a:cxn ang="0">
                <a:pos x="connsiteX43163" y="connsiteY43163"/>
              </a:cxn>
              <a:cxn ang="0">
                <a:pos x="connsiteX43164" y="connsiteY43164"/>
              </a:cxn>
              <a:cxn ang="0">
                <a:pos x="connsiteX43165" y="connsiteY43165"/>
              </a:cxn>
              <a:cxn ang="0">
                <a:pos x="connsiteX43166" y="connsiteY43166"/>
              </a:cxn>
              <a:cxn ang="0">
                <a:pos x="connsiteX43167" y="connsiteY43167"/>
              </a:cxn>
              <a:cxn ang="0">
                <a:pos x="connsiteX43168" y="connsiteY43168"/>
              </a:cxn>
              <a:cxn ang="0">
                <a:pos x="connsiteX43169" y="connsiteY43169"/>
              </a:cxn>
              <a:cxn ang="0">
                <a:pos x="connsiteX43170" y="connsiteY43170"/>
              </a:cxn>
              <a:cxn ang="0">
                <a:pos x="connsiteX43171" y="connsiteY43171"/>
              </a:cxn>
              <a:cxn ang="0">
                <a:pos x="connsiteX43172" y="connsiteY43172"/>
              </a:cxn>
              <a:cxn ang="0">
                <a:pos x="connsiteX43173" y="connsiteY43173"/>
              </a:cxn>
              <a:cxn ang="0">
                <a:pos x="connsiteX43174" y="connsiteY43174"/>
              </a:cxn>
              <a:cxn ang="0">
                <a:pos x="connsiteX43175" y="connsiteY43175"/>
              </a:cxn>
              <a:cxn ang="0">
                <a:pos x="connsiteX43176" y="connsiteY43176"/>
              </a:cxn>
              <a:cxn ang="0">
                <a:pos x="connsiteX43177" y="connsiteY43177"/>
              </a:cxn>
              <a:cxn ang="0">
                <a:pos x="connsiteX43178" y="connsiteY43178"/>
              </a:cxn>
              <a:cxn ang="0">
                <a:pos x="connsiteX43179" y="connsiteY43179"/>
              </a:cxn>
              <a:cxn ang="0">
                <a:pos x="connsiteX43180" y="connsiteY43180"/>
              </a:cxn>
              <a:cxn ang="0">
                <a:pos x="connsiteX43181" y="connsiteY43181"/>
              </a:cxn>
              <a:cxn ang="0">
                <a:pos x="connsiteX43182" y="connsiteY43182"/>
              </a:cxn>
              <a:cxn ang="0">
                <a:pos x="connsiteX43183" y="connsiteY43183"/>
              </a:cxn>
              <a:cxn ang="0">
                <a:pos x="connsiteX43184" y="connsiteY43184"/>
              </a:cxn>
              <a:cxn ang="0">
                <a:pos x="connsiteX43185" y="connsiteY43185"/>
              </a:cxn>
              <a:cxn ang="0">
                <a:pos x="connsiteX43186" y="connsiteY43186"/>
              </a:cxn>
              <a:cxn ang="0">
                <a:pos x="connsiteX43187" y="connsiteY43187"/>
              </a:cxn>
              <a:cxn ang="0">
                <a:pos x="connsiteX43188" y="connsiteY43188"/>
              </a:cxn>
              <a:cxn ang="0">
                <a:pos x="connsiteX43189" y="connsiteY43189"/>
              </a:cxn>
              <a:cxn ang="0">
                <a:pos x="connsiteX43190" y="connsiteY43190"/>
              </a:cxn>
              <a:cxn ang="0">
                <a:pos x="connsiteX43191" y="connsiteY43191"/>
              </a:cxn>
              <a:cxn ang="0">
                <a:pos x="connsiteX43192" y="connsiteY43192"/>
              </a:cxn>
              <a:cxn ang="0">
                <a:pos x="connsiteX43193" y="connsiteY43193"/>
              </a:cxn>
              <a:cxn ang="0">
                <a:pos x="connsiteX43194" y="connsiteY43194"/>
              </a:cxn>
              <a:cxn ang="0">
                <a:pos x="connsiteX43195" y="connsiteY43195"/>
              </a:cxn>
              <a:cxn ang="0">
                <a:pos x="connsiteX43196" y="connsiteY43196"/>
              </a:cxn>
              <a:cxn ang="0">
                <a:pos x="connsiteX43197" y="connsiteY43197"/>
              </a:cxn>
              <a:cxn ang="0">
                <a:pos x="connsiteX43198" y="connsiteY43198"/>
              </a:cxn>
              <a:cxn ang="0">
                <a:pos x="connsiteX43199" y="connsiteY43199"/>
              </a:cxn>
              <a:cxn ang="0">
                <a:pos x="connsiteX43200" y="connsiteY43200"/>
              </a:cxn>
              <a:cxn ang="0">
                <a:pos x="connsiteX43201" y="connsiteY43201"/>
              </a:cxn>
              <a:cxn ang="0">
                <a:pos x="connsiteX43202" y="connsiteY43202"/>
              </a:cxn>
              <a:cxn ang="0">
                <a:pos x="connsiteX43203" y="connsiteY43203"/>
              </a:cxn>
              <a:cxn ang="0">
                <a:pos x="connsiteX43204" y="connsiteY43204"/>
              </a:cxn>
              <a:cxn ang="0">
                <a:pos x="connsiteX43205" y="connsiteY43205"/>
              </a:cxn>
              <a:cxn ang="0">
                <a:pos x="connsiteX43206" y="connsiteY43206"/>
              </a:cxn>
              <a:cxn ang="0">
                <a:pos x="connsiteX43207" y="connsiteY43207"/>
              </a:cxn>
              <a:cxn ang="0">
                <a:pos x="connsiteX43208" y="connsiteY43208"/>
              </a:cxn>
              <a:cxn ang="0">
                <a:pos x="connsiteX43209" y="connsiteY43209"/>
              </a:cxn>
              <a:cxn ang="0">
                <a:pos x="connsiteX43210" y="connsiteY43210"/>
              </a:cxn>
              <a:cxn ang="0">
                <a:pos x="connsiteX43211" y="connsiteY43211"/>
              </a:cxn>
              <a:cxn ang="0">
                <a:pos x="connsiteX43212" y="connsiteY43212"/>
              </a:cxn>
              <a:cxn ang="0">
                <a:pos x="connsiteX43213" y="connsiteY43213"/>
              </a:cxn>
              <a:cxn ang="0">
                <a:pos x="connsiteX43214" y="connsiteY43214"/>
              </a:cxn>
              <a:cxn ang="0">
                <a:pos x="connsiteX43215" y="connsiteY43215"/>
              </a:cxn>
              <a:cxn ang="0">
                <a:pos x="connsiteX43216" y="connsiteY43216"/>
              </a:cxn>
              <a:cxn ang="0">
                <a:pos x="connsiteX43217" y="connsiteY43217"/>
              </a:cxn>
              <a:cxn ang="0">
                <a:pos x="connsiteX43218" y="connsiteY43218"/>
              </a:cxn>
              <a:cxn ang="0">
                <a:pos x="connsiteX43219" y="connsiteY43219"/>
              </a:cxn>
              <a:cxn ang="0">
                <a:pos x="connsiteX43220" y="connsiteY43220"/>
              </a:cxn>
              <a:cxn ang="0">
                <a:pos x="connsiteX43221" y="connsiteY43221"/>
              </a:cxn>
              <a:cxn ang="0">
                <a:pos x="connsiteX43222" y="connsiteY43222"/>
              </a:cxn>
              <a:cxn ang="0">
                <a:pos x="connsiteX43223" y="connsiteY43223"/>
              </a:cxn>
              <a:cxn ang="0">
                <a:pos x="connsiteX43224" y="connsiteY43224"/>
              </a:cxn>
              <a:cxn ang="0">
                <a:pos x="connsiteX43225" y="connsiteY43225"/>
              </a:cxn>
              <a:cxn ang="0">
                <a:pos x="connsiteX43226" y="connsiteY43226"/>
              </a:cxn>
              <a:cxn ang="0">
                <a:pos x="connsiteX43227" y="connsiteY43227"/>
              </a:cxn>
              <a:cxn ang="0">
                <a:pos x="connsiteX43228" y="connsiteY43228"/>
              </a:cxn>
              <a:cxn ang="0">
                <a:pos x="connsiteX43229" y="connsiteY43229"/>
              </a:cxn>
              <a:cxn ang="0">
                <a:pos x="connsiteX43230" y="connsiteY43230"/>
              </a:cxn>
              <a:cxn ang="0">
                <a:pos x="connsiteX43231" y="connsiteY43231"/>
              </a:cxn>
              <a:cxn ang="0">
                <a:pos x="connsiteX43232" y="connsiteY43232"/>
              </a:cxn>
              <a:cxn ang="0">
                <a:pos x="connsiteX43233" y="connsiteY43233"/>
              </a:cxn>
              <a:cxn ang="0">
                <a:pos x="connsiteX43234" y="connsiteY43234"/>
              </a:cxn>
              <a:cxn ang="0">
                <a:pos x="connsiteX43235" y="connsiteY43235"/>
              </a:cxn>
              <a:cxn ang="0">
                <a:pos x="connsiteX43236" y="connsiteY43236"/>
              </a:cxn>
              <a:cxn ang="0">
                <a:pos x="connsiteX43237" y="connsiteY43237"/>
              </a:cxn>
              <a:cxn ang="0">
                <a:pos x="connsiteX43238" y="connsiteY43238"/>
              </a:cxn>
              <a:cxn ang="0">
                <a:pos x="connsiteX43239" y="connsiteY43239"/>
              </a:cxn>
              <a:cxn ang="0">
                <a:pos x="connsiteX43240" y="connsiteY43240"/>
              </a:cxn>
              <a:cxn ang="0">
                <a:pos x="connsiteX43241" y="connsiteY43241"/>
              </a:cxn>
              <a:cxn ang="0">
                <a:pos x="connsiteX43242" y="connsiteY43242"/>
              </a:cxn>
              <a:cxn ang="0">
                <a:pos x="connsiteX43243" y="connsiteY43243"/>
              </a:cxn>
              <a:cxn ang="0">
                <a:pos x="connsiteX43244" y="connsiteY43244"/>
              </a:cxn>
              <a:cxn ang="0">
                <a:pos x="connsiteX43245" y="connsiteY43245"/>
              </a:cxn>
              <a:cxn ang="0">
                <a:pos x="connsiteX43246" y="connsiteY43246"/>
              </a:cxn>
              <a:cxn ang="0">
                <a:pos x="connsiteX43247" y="connsiteY43247"/>
              </a:cxn>
              <a:cxn ang="0">
                <a:pos x="connsiteX43248" y="connsiteY43248"/>
              </a:cxn>
              <a:cxn ang="0">
                <a:pos x="connsiteX43249" y="connsiteY43249"/>
              </a:cxn>
              <a:cxn ang="0">
                <a:pos x="connsiteX43250" y="connsiteY43250"/>
              </a:cxn>
              <a:cxn ang="0">
                <a:pos x="connsiteX43251" y="connsiteY43251"/>
              </a:cxn>
              <a:cxn ang="0">
                <a:pos x="connsiteX43252" y="connsiteY43252"/>
              </a:cxn>
              <a:cxn ang="0">
                <a:pos x="connsiteX43253" y="connsiteY43253"/>
              </a:cxn>
              <a:cxn ang="0">
                <a:pos x="connsiteX43254" y="connsiteY43254"/>
              </a:cxn>
              <a:cxn ang="0">
                <a:pos x="connsiteX43255" y="connsiteY43255"/>
              </a:cxn>
              <a:cxn ang="0">
                <a:pos x="connsiteX43256" y="connsiteY43256"/>
              </a:cxn>
              <a:cxn ang="0">
                <a:pos x="connsiteX43257" y="connsiteY43257"/>
              </a:cxn>
              <a:cxn ang="0">
                <a:pos x="connsiteX43258" y="connsiteY43258"/>
              </a:cxn>
              <a:cxn ang="0">
                <a:pos x="connsiteX43259" y="connsiteY43259"/>
              </a:cxn>
              <a:cxn ang="0">
                <a:pos x="connsiteX43260" y="connsiteY43260"/>
              </a:cxn>
              <a:cxn ang="0">
                <a:pos x="connsiteX43261" y="connsiteY43261"/>
              </a:cxn>
              <a:cxn ang="0">
                <a:pos x="connsiteX43262" y="connsiteY43262"/>
              </a:cxn>
              <a:cxn ang="0">
                <a:pos x="connsiteX43263" y="connsiteY43263"/>
              </a:cxn>
              <a:cxn ang="0">
                <a:pos x="connsiteX43264" y="connsiteY43264"/>
              </a:cxn>
              <a:cxn ang="0">
                <a:pos x="connsiteX43265" y="connsiteY43265"/>
              </a:cxn>
              <a:cxn ang="0">
                <a:pos x="connsiteX43266" y="connsiteY43266"/>
              </a:cxn>
              <a:cxn ang="0">
                <a:pos x="connsiteX43267" y="connsiteY43267"/>
              </a:cxn>
              <a:cxn ang="0">
                <a:pos x="connsiteX43268" y="connsiteY43268"/>
              </a:cxn>
              <a:cxn ang="0">
                <a:pos x="connsiteX43269" y="connsiteY43269"/>
              </a:cxn>
              <a:cxn ang="0">
                <a:pos x="connsiteX43270" y="connsiteY43270"/>
              </a:cxn>
              <a:cxn ang="0">
                <a:pos x="connsiteX43271" y="connsiteY43271"/>
              </a:cxn>
              <a:cxn ang="0">
                <a:pos x="connsiteX43272" y="connsiteY43272"/>
              </a:cxn>
              <a:cxn ang="0">
                <a:pos x="connsiteX43273" y="connsiteY43273"/>
              </a:cxn>
              <a:cxn ang="0">
                <a:pos x="connsiteX43274" y="connsiteY43274"/>
              </a:cxn>
              <a:cxn ang="0">
                <a:pos x="connsiteX43275" y="connsiteY43275"/>
              </a:cxn>
              <a:cxn ang="0">
                <a:pos x="connsiteX43276" y="connsiteY43276"/>
              </a:cxn>
              <a:cxn ang="0">
                <a:pos x="connsiteX43277" y="connsiteY43277"/>
              </a:cxn>
              <a:cxn ang="0">
                <a:pos x="connsiteX43278" y="connsiteY43278"/>
              </a:cxn>
              <a:cxn ang="0">
                <a:pos x="connsiteX43279" y="connsiteY43279"/>
              </a:cxn>
              <a:cxn ang="0">
                <a:pos x="connsiteX43280" y="connsiteY43280"/>
              </a:cxn>
              <a:cxn ang="0">
                <a:pos x="connsiteX43281" y="connsiteY43281"/>
              </a:cxn>
              <a:cxn ang="0">
                <a:pos x="connsiteX43282" y="connsiteY43282"/>
              </a:cxn>
              <a:cxn ang="0">
                <a:pos x="connsiteX43283" y="connsiteY43283"/>
              </a:cxn>
              <a:cxn ang="0">
                <a:pos x="connsiteX43284" y="connsiteY43284"/>
              </a:cxn>
              <a:cxn ang="0">
                <a:pos x="connsiteX43285" y="connsiteY43285"/>
              </a:cxn>
              <a:cxn ang="0">
                <a:pos x="connsiteX43286" y="connsiteY43286"/>
              </a:cxn>
              <a:cxn ang="0">
                <a:pos x="connsiteX43287" y="connsiteY43287"/>
              </a:cxn>
              <a:cxn ang="0">
                <a:pos x="connsiteX43288" y="connsiteY43288"/>
              </a:cxn>
              <a:cxn ang="0">
                <a:pos x="connsiteX43289" y="connsiteY43289"/>
              </a:cxn>
              <a:cxn ang="0">
                <a:pos x="connsiteX43290" y="connsiteY43290"/>
              </a:cxn>
              <a:cxn ang="0">
                <a:pos x="connsiteX43291" y="connsiteY43291"/>
              </a:cxn>
              <a:cxn ang="0">
                <a:pos x="connsiteX43292" y="connsiteY43292"/>
              </a:cxn>
              <a:cxn ang="0">
                <a:pos x="connsiteX43293" y="connsiteY43293"/>
              </a:cxn>
              <a:cxn ang="0">
                <a:pos x="connsiteX43294" y="connsiteY43294"/>
              </a:cxn>
              <a:cxn ang="0">
                <a:pos x="connsiteX43295" y="connsiteY43295"/>
              </a:cxn>
              <a:cxn ang="0">
                <a:pos x="connsiteX43296" y="connsiteY43296"/>
              </a:cxn>
              <a:cxn ang="0">
                <a:pos x="connsiteX43297" y="connsiteY43297"/>
              </a:cxn>
              <a:cxn ang="0">
                <a:pos x="connsiteX43298" y="connsiteY43298"/>
              </a:cxn>
              <a:cxn ang="0">
                <a:pos x="connsiteX43299" y="connsiteY43299"/>
              </a:cxn>
              <a:cxn ang="0">
                <a:pos x="connsiteX43300" y="connsiteY43300"/>
              </a:cxn>
              <a:cxn ang="0">
                <a:pos x="connsiteX43301" y="connsiteY43301"/>
              </a:cxn>
              <a:cxn ang="0">
                <a:pos x="connsiteX43302" y="connsiteY43302"/>
              </a:cxn>
              <a:cxn ang="0">
                <a:pos x="connsiteX43303" y="connsiteY43303"/>
              </a:cxn>
              <a:cxn ang="0">
                <a:pos x="connsiteX43304" y="connsiteY43304"/>
              </a:cxn>
              <a:cxn ang="0">
                <a:pos x="connsiteX43305" y="connsiteY43305"/>
              </a:cxn>
              <a:cxn ang="0">
                <a:pos x="connsiteX43306" y="connsiteY43306"/>
              </a:cxn>
              <a:cxn ang="0">
                <a:pos x="connsiteX43307" y="connsiteY43307"/>
              </a:cxn>
              <a:cxn ang="0">
                <a:pos x="connsiteX43308" y="connsiteY43308"/>
              </a:cxn>
              <a:cxn ang="0">
                <a:pos x="connsiteX43309" y="connsiteY43309"/>
              </a:cxn>
              <a:cxn ang="0">
                <a:pos x="connsiteX43310" y="connsiteY43310"/>
              </a:cxn>
              <a:cxn ang="0">
                <a:pos x="connsiteX43311" y="connsiteY43311"/>
              </a:cxn>
              <a:cxn ang="0">
                <a:pos x="connsiteX43312" y="connsiteY43312"/>
              </a:cxn>
              <a:cxn ang="0">
                <a:pos x="connsiteX43313" y="connsiteY43313"/>
              </a:cxn>
              <a:cxn ang="0">
                <a:pos x="connsiteX43314" y="connsiteY43314"/>
              </a:cxn>
              <a:cxn ang="0">
                <a:pos x="connsiteX43315" y="connsiteY43315"/>
              </a:cxn>
              <a:cxn ang="0">
                <a:pos x="connsiteX43316" y="connsiteY43316"/>
              </a:cxn>
              <a:cxn ang="0">
                <a:pos x="connsiteX43317" y="connsiteY43317"/>
              </a:cxn>
              <a:cxn ang="0">
                <a:pos x="connsiteX43318" y="connsiteY43318"/>
              </a:cxn>
              <a:cxn ang="0">
                <a:pos x="connsiteX43319" y="connsiteY43319"/>
              </a:cxn>
              <a:cxn ang="0">
                <a:pos x="connsiteX43320" y="connsiteY43320"/>
              </a:cxn>
              <a:cxn ang="0">
                <a:pos x="connsiteX43321" y="connsiteY43321"/>
              </a:cxn>
              <a:cxn ang="0">
                <a:pos x="connsiteX43322" y="connsiteY43322"/>
              </a:cxn>
              <a:cxn ang="0">
                <a:pos x="connsiteX43323" y="connsiteY43323"/>
              </a:cxn>
              <a:cxn ang="0">
                <a:pos x="connsiteX43324" y="connsiteY43324"/>
              </a:cxn>
              <a:cxn ang="0">
                <a:pos x="connsiteX43325" y="connsiteY43325"/>
              </a:cxn>
              <a:cxn ang="0">
                <a:pos x="connsiteX43326" y="connsiteY43326"/>
              </a:cxn>
              <a:cxn ang="0">
                <a:pos x="connsiteX43327" y="connsiteY43327"/>
              </a:cxn>
              <a:cxn ang="0">
                <a:pos x="connsiteX43328" y="connsiteY43328"/>
              </a:cxn>
              <a:cxn ang="0">
                <a:pos x="connsiteX43329" y="connsiteY43329"/>
              </a:cxn>
              <a:cxn ang="0">
                <a:pos x="connsiteX43330" y="connsiteY43330"/>
              </a:cxn>
              <a:cxn ang="0">
                <a:pos x="connsiteX43331" y="connsiteY43331"/>
              </a:cxn>
              <a:cxn ang="0">
                <a:pos x="connsiteX43332" y="connsiteY43332"/>
              </a:cxn>
              <a:cxn ang="0">
                <a:pos x="connsiteX43333" y="connsiteY43333"/>
              </a:cxn>
              <a:cxn ang="0">
                <a:pos x="connsiteX43334" y="connsiteY43334"/>
              </a:cxn>
              <a:cxn ang="0">
                <a:pos x="connsiteX43335" y="connsiteY43335"/>
              </a:cxn>
              <a:cxn ang="0">
                <a:pos x="connsiteX43336" y="connsiteY43336"/>
              </a:cxn>
              <a:cxn ang="0">
                <a:pos x="connsiteX43337" y="connsiteY43337"/>
              </a:cxn>
              <a:cxn ang="0">
                <a:pos x="connsiteX43338" y="connsiteY43338"/>
              </a:cxn>
              <a:cxn ang="0">
                <a:pos x="connsiteX43339" y="connsiteY43339"/>
              </a:cxn>
              <a:cxn ang="0">
                <a:pos x="connsiteX43340" y="connsiteY43340"/>
              </a:cxn>
              <a:cxn ang="0">
                <a:pos x="connsiteX43341" y="connsiteY43341"/>
              </a:cxn>
              <a:cxn ang="0">
                <a:pos x="connsiteX43342" y="connsiteY43342"/>
              </a:cxn>
              <a:cxn ang="0">
                <a:pos x="connsiteX43343" y="connsiteY43343"/>
              </a:cxn>
              <a:cxn ang="0">
                <a:pos x="connsiteX43344" y="connsiteY43344"/>
              </a:cxn>
              <a:cxn ang="0">
                <a:pos x="connsiteX43345" y="connsiteY43345"/>
              </a:cxn>
              <a:cxn ang="0">
                <a:pos x="connsiteX43346" y="connsiteY43346"/>
              </a:cxn>
              <a:cxn ang="0">
                <a:pos x="connsiteX43347" y="connsiteY43347"/>
              </a:cxn>
              <a:cxn ang="0">
                <a:pos x="connsiteX43348" y="connsiteY43348"/>
              </a:cxn>
              <a:cxn ang="0">
                <a:pos x="connsiteX43349" y="connsiteY43349"/>
              </a:cxn>
              <a:cxn ang="0">
                <a:pos x="connsiteX43350" y="connsiteY43350"/>
              </a:cxn>
              <a:cxn ang="0">
                <a:pos x="connsiteX43351" y="connsiteY43351"/>
              </a:cxn>
              <a:cxn ang="0">
                <a:pos x="connsiteX43352" y="connsiteY43352"/>
              </a:cxn>
              <a:cxn ang="0">
                <a:pos x="connsiteX43353" y="connsiteY43353"/>
              </a:cxn>
              <a:cxn ang="0">
                <a:pos x="connsiteX43354" y="connsiteY43354"/>
              </a:cxn>
              <a:cxn ang="0">
                <a:pos x="connsiteX43355" y="connsiteY43355"/>
              </a:cxn>
              <a:cxn ang="0">
                <a:pos x="connsiteX43356" y="connsiteY43356"/>
              </a:cxn>
              <a:cxn ang="0">
                <a:pos x="connsiteX43357" y="connsiteY43357"/>
              </a:cxn>
              <a:cxn ang="0">
                <a:pos x="connsiteX43358" y="connsiteY43358"/>
              </a:cxn>
              <a:cxn ang="0">
                <a:pos x="connsiteX43359" y="connsiteY43359"/>
              </a:cxn>
              <a:cxn ang="0">
                <a:pos x="connsiteX43360" y="connsiteY43360"/>
              </a:cxn>
              <a:cxn ang="0">
                <a:pos x="connsiteX43361" y="connsiteY43361"/>
              </a:cxn>
              <a:cxn ang="0">
                <a:pos x="connsiteX43362" y="connsiteY43362"/>
              </a:cxn>
              <a:cxn ang="0">
                <a:pos x="connsiteX43363" y="connsiteY43363"/>
              </a:cxn>
              <a:cxn ang="0">
                <a:pos x="connsiteX43364" y="connsiteY43364"/>
              </a:cxn>
              <a:cxn ang="0">
                <a:pos x="connsiteX43365" y="connsiteY43365"/>
              </a:cxn>
              <a:cxn ang="0">
                <a:pos x="connsiteX43366" y="connsiteY43366"/>
              </a:cxn>
              <a:cxn ang="0">
                <a:pos x="connsiteX43367" y="connsiteY43367"/>
              </a:cxn>
              <a:cxn ang="0">
                <a:pos x="connsiteX43368" y="connsiteY43368"/>
              </a:cxn>
              <a:cxn ang="0">
                <a:pos x="connsiteX43369" y="connsiteY43369"/>
              </a:cxn>
              <a:cxn ang="0">
                <a:pos x="connsiteX43370" y="connsiteY43370"/>
              </a:cxn>
              <a:cxn ang="0">
                <a:pos x="connsiteX43371" y="connsiteY43371"/>
              </a:cxn>
              <a:cxn ang="0">
                <a:pos x="connsiteX43372" y="connsiteY43372"/>
              </a:cxn>
              <a:cxn ang="0">
                <a:pos x="connsiteX43373" y="connsiteY43373"/>
              </a:cxn>
              <a:cxn ang="0">
                <a:pos x="connsiteX43374" y="connsiteY43374"/>
              </a:cxn>
              <a:cxn ang="0">
                <a:pos x="connsiteX43375" y="connsiteY43375"/>
              </a:cxn>
              <a:cxn ang="0">
                <a:pos x="connsiteX43376" y="connsiteY43376"/>
              </a:cxn>
              <a:cxn ang="0">
                <a:pos x="connsiteX43377" y="connsiteY43377"/>
              </a:cxn>
              <a:cxn ang="0">
                <a:pos x="connsiteX43378" y="connsiteY43378"/>
              </a:cxn>
              <a:cxn ang="0">
                <a:pos x="connsiteX43379" y="connsiteY43379"/>
              </a:cxn>
              <a:cxn ang="0">
                <a:pos x="connsiteX43380" y="connsiteY43380"/>
              </a:cxn>
              <a:cxn ang="0">
                <a:pos x="connsiteX43381" y="connsiteY43381"/>
              </a:cxn>
              <a:cxn ang="0">
                <a:pos x="connsiteX43382" y="connsiteY43382"/>
              </a:cxn>
              <a:cxn ang="0">
                <a:pos x="connsiteX43383" y="connsiteY43383"/>
              </a:cxn>
              <a:cxn ang="0">
                <a:pos x="connsiteX43384" y="connsiteY43384"/>
              </a:cxn>
              <a:cxn ang="0">
                <a:pos x="connsiteX43385" y="connsiteY43385"/>
              </a:cxn>
              <a:cxn ang="0">
                <a:pos x="connsiteX43386" y="connsiteY43386"/>
              </a:cxn>
              <a:cxn ang="0">
                <a:pos x="connsiteX43387" y="connsiteY43387"/>
              </a:cxn>
              <a:cxn ang="0">
                <a:pos x="connsiteX43388" y="connsiteY43388"/>
              </a:cxn>
              <a:cxn ang="0">
                <a:pos x="connsiteX43389" y="connsiteY43389"/>
              </a:cxn>
              <a:cxn ang="0">
                <a:pos x="connsiteX43390" y="connsiteY43390"/>
              </a:cxn>
              <a:cxn ang="0">
                <a:pos x="connsiteX43391" y="connsiteY43391"/>
              </a:cxn>
              <a:cxn ang="0">
                <a:pos x="connsiteX43392" y="connsiteY43392"/>
              </a:cxn>
              <a:cxn ang="0">
                <a:pos x="connsiteX43393" y="connsiteY43393"/>
              </a:cxn>
              <a:cxn ang="0">
                <a:pos x="connsiteX43394" y="connsiteY43394"/>
              </a:cxn>
              <a:cxn ang="0">
                <a:pos x="connsiteX43395" y="connsiteY43395"/>
              </a:cxn>
              <a:cxn ang="0">
                <a:pos x="connsiteX43396" y="connsiteY43396"/>
              </a:cxn>
              <a:cxn ang="0">
                <a:pos x="connsiteX43397" y="connsiteY43397"/>
              </a:cxn>
              <a:cxn ang="0">
                <a:pos x="connsiteX43398" y="connsiteY43398"/>
              </a:cxn>
              <a:cxn ang="0">
                <a:pos x="connsiteX43399" y="connsiteY43399"/>
              </a:cxn>
              <a:cxn ang="0">
                <a:pos x="connsiteX43400" y="connsiteY43400"/>
              </a:cxn>
              <a:cxn ang="0">
                <a:pos x="connsiteX43401" y="connsiteY43401"/>
              </a:cxn>
              <a:cxn ang="0">
                <a:pos x="connsiteX43402" y="connsiteY43402"/>
              </a:cxn>
              <a:cxn ang="0">
                <a:pos x="connsiteX43403" y="connsiteY43403"/>
              </a:cxn>
              <a:cxn ang="0">
                <a:pos x="connsiteX43404" y="connsiteY43404"/>
              </a:cxn>
              <a:cxn ang="0">
                <a:pos x="connsiteX43405" y="connsiteY43405"/>
              </a:cxn>
              <a:cxn ang="0">
                <a:pos x="connsiteX43406" y="connsiteY43406"/>
              </a:cxn>
              <a:cxn ang="0">
                <a:pos x="connsiteX43407" y="connsiteY43407"/>
              </a:cxn>
              <a:cxn ang="0">
                <a:pos x="connsiteX43408" y="connsiteY43408"/>
              </a:cxn>
              <a:cxn ang="0">
                <a:pos x="connsiteX43409" y="connsiteY43409"/>
              </a:cxn>
              <a:cxn ang="0">
                <a:pos x="connsiteX43410" y="connsiteY43410"/>
              </a:cxn>
              <a:cxn ang="0">
                <a:pos x="connsiteX43411" y="connsiteY43411"/>
              </a:cxn>
              <a:cxn ang="0">
                <a:pos x="connsiteX43412" y="connsiteY43412"/>
              </a:cxn>
              <a:cxn ang="0">
                <a:pos x="connsiteX43413" y="connsiteY43413"/>
              </a:cxn>
              <a:cxn ang="0">
                <a:pos x="connsiteX43414" y="connsiteY43414"/>
              </a:cxn>
              <a:cxn ang="0">
                <a:pos x="connsiteX43415" y="connsiteY43415"/>
              </a:cxn>
              <a:cxn ang="0">
                <a:pos x="connsiteX43416" y="connsiteY43416"/>
              </a:cxn>
              <a:cxn ang="0">
                <a:pos x="connsiteX43417" y="connsiteY43417"/>
              </a:cxn>
              <a:cxn ang="0">
                <a:pos x="connsiteX43418" y="connsiteY43418"/>
              </a:cxn>
              <a:cxn ang="0">
                <a:pos x="connsiteX43419" y="connsiteY43419"/>
              </a:cxn>
              <a:cxn ang="0">
                <a:pos x="connsiteX43420" y="connsiteY43420"/>
              </a:cxn>
              <a:cxn ang="0">
                <a:pos x="connsiteX43421" y="connsiteY43421"/>
              </a:cxn>
              <a:cxn ang="0">
                <a:pos x="connsiteX43422" y="connsiteY43422"/>
              </a:cxn>
              <a:cxn ang="0">
                <a:pos x="connsiteX43423" y="connsiteY43423"/>
              </a:cxn>
              <a:cxn ang="0">
                <a:pos x="connsiteX43424" y="connsiteY43424"/>
              </a:cxn>
              <a:cxn ang="0">
                <a:pos x="connsiteX43425" y="connsiteY43425"/>
              </a:cxn>
              <a:cxn ang="0">
                <a:pos x="connsiteX43426" y="connsiteY43426"/>
              </a:cxn>
              <a:cxn ang="0">
                <a:pos x="connsiteX43427" y="connsiteY43427"/>
              </a:cxn>
              <a:cxn ang="0">
                <a:pos x="connsiteX43428" y="connsiteY43428"/>
              </a:cxn>
              <a:cxn ang="0">
                <a:pos x="connsiteX43429" y="connsiteY43429"/>
              </a:cxn>
              <a:cxn ang="0">
                <a:pos x="connsiteX43430" y="connsiteY43430"/>
              </a:cxn>
              <a:cxn ang="0">
                <a:pos x="connsiteX43431" y="connsiteY43431"/>
              </a:cxn>
              <a:cxn ang="0">
                <a:pos x="connsiteX43432" y="connsiteY43432"/>
              </a:cxn>
              <a:cxn ang="0">
                <a:pos x="connsiteX43433" y="connsiteY43433"/>
              </a:cxn>
              <a:cxn ang="0">
                <a:pos x="connsiteX43434" y="connsiteY43434"/>
              </a:cxn>
              <a:cxn ang="0">
                <a:pos x="connsiteX43435" y="connsiteY43435"/>
              </a:cxn>
              <a:cxn ang="0">
                <a:pos x="connsiteX43436" y="connsiteY43436"/>
              </a:cxn>
              <a:cxn ang="0">
                <a:pos x="connsiteX43437" y="connsiteY43437"/>
              </a:cxn>
              <a:cxn ang="0">
                <a:pos x="connsiteX43438" y="connsiteY43438"/>
              </a:cxn>
              <a:cxn ang="0">
                <a:pos x="connsiteX43439" y="connsiteY43439"/>
              </a:cxn>
              <a:cxn ang="0">
                <a:pos x="connsiteX43440" y="connsiteY43440"/>
              </a:cxn>
              <a:cxn ang="0">
                <a:pos x="connsiteX43441" y="connsiteY43441"/>
              </a:cxn>
              <a:cxn ang="0">
                <a:pos x="connsiteX43442" y="connsiteY43442"/>
              </a:cxn>
              <a:cxn ang="0">
                <a:pos x="connsiteX43443" y="connsiteY43443"/>
              </a:cxn>
              <a:cxn ang="0">
                <a:pos x="connsiteX43444" y="connsiteY43444"/>
              </a:cxn>
              <a:cxn ang="0">
                <a:pos x="connsiteX43445" y="connsiteY43445"/>
              </a:cxn>
              <a:cxn ang="0">
                <a:pos x="connsiteX43446" y="connsiteY43446"/>
              </a:cxn>
              <a:cxn ang="0">
                <a:pos x="connsiteX43447" y="connsiteY43447"/>
              </a:cxn>
              <a:cxn ang="0">
                <a:pos x="connsiteX43448" y="connsiteY43448"/>
              </a:cxn>
              <a:cxn ang="0">
                <a:pos x="connsiteX43449" y="connsiteY43449"/>
              </a:cxn>
              <a:cxn ang="0">
                <a:pos x="connsiteX43450" y="connsiteY43450"/>
              </a:cxn>
              <a:cxn ang="0">
                <a:pos x="connsiteX43451" y="connsiteY43451"/>
              </a:cxn>
              <a:cxn ang="0">
                <a:pos x="connsiteX43452" y="connsiteY43452"/>
              </a:cxn>
              <a:cxn ang="0">
                <a:pos x="connsiteX43453" y="connsiteY43453"/>
              </a:cxn>
              <a:cxn ang="0">
                <a:pos x="connsiteX43454" y="connsiteY43454"/>
              </a:cxn>
              <a:cxn ang="0">
                <a:pos x="connsiteX43455" y="connsiteY43455"/>
              </a:cxn>
              <a:cxn ang="0">
                <a:pos x="connsiteX43456" y="connsiteY43456"/>
              </a:cxn>
              <a:cxn ang="0">
                <a:pos x="connsiteX43457" y="connsiteY43457"/>
              </a:cxn>
              <a:cxn ang="0">
                <a:pos x="connsiteX43458" y="connsiteY43458"/>
              </a:cxn>
              <a:cxn ang="0">
                <a:pos x="connsiteX43459" y="connsiteY43459"/>
              </a:cxn>
              <a:cxn ang="0">
                <a:pos x="connsiteX43460" y="connsiteY43460"/>
              </a:cxn>
              <a:cxn ang="0">
                <a:pos x="connsiteX43461" y="connsiteY43461"/>
              </a:cxn>
              <a:cxn ang="0">
                <a:pos x="connsiteX43462" y="connsiteY43462"/>
              </a:cxn>
              <a:cxn ang="0">
                <a:pos x="connsiteX43463" y="connsiteY43463"/>
              </a:cxn>
              <a:cxn ang="0">
                <a:pos x="connsiteX43464" y="connsiteY43464"/>
              </a:cxn>
              <a:cxn ang="0">
                <a:pos x="connsiteX43465" y="connsiteY43465"/>
              </a:cxn>
              <a:cxn ang="0">
                <a:pos x="connsiteX43466" y="connsiteY43466"/>
              </a:cxn>
              <a:cxn ang="0">
                <a:pos x="connsiteX43467" y="connsiteY43467"/>
              </a:cxn>
              <a:cxn ang="0">
                <a:pos x="connsiteX43468" y="connsiteY43468"/>
              </a:cxn>
              <a:cxn ang="0">
                <a:pos x="connsiteX43469" y="connsiteY43469"/>
              </a:cxn>
              <a:cxn ang="0">
                <a:pos x="connsiteX43470" y="connsiteY43470"/>
              </a:cxn>
              <a:cxn ang="0">
                <a:pos x="connsiteX43471" y="connsiteY43471"/>
              </a:cxn>
              <a:cxn ang="0">
                <a:pos x="connsiteX43472" y="connsiteY43472"/>
              </a:cxn>
              <a:cxn ang="0">
                <a:pos x="connsiteX43473" y="connsiteY43473"/>
              </a:cxn>
              <a:cxn ang="0">
                <a:pos x="connsiteX43474" y="connsiteY43474"/>
              </a:cxn>
              <a:cxn ang="0">
                <a:pos x="connsiteX43475" y="connsiteY43475"/>
              </a:cxn>
              <a:cxn ang="0">
                <a:pos x="connsiteX43476" y="connsiteY43476"/>
              </a:cxn>
              <a:cxn ang="0">
                <a:pos x="connsiteX43477" y="connsiteY43477"/>
              </a:cxn>
              <a:cxn ang="0">
                <a:pos x="connsiteX43478" y="connsiteY43478"/>
              </a:cxn>
              <a:cxn ang="0">
                <a:pos x="connsiteX43479" y="connsiteY43479"/>
              </a:cxn>
              <a:cxn ang="0">
                <a:pos x="connsiteX43480" y="connsiteY43480"/>
              </a:cxn>
              <a:cxn ang="0">
                <a:pos x="connsiteX43481" y="connsiteY43481"/>
              </a:cxn>
              <a:cxn ang="0">
                <a:pos x="connsiteX43482" y="connsiteY43482"/>
              </a:cxn>
              <a:cxn ang="0">
                <a:pos x="connsiteX43483" y="connsiteY43483"/>
              </a:cxn>
              <a:cxn ang="0">
                <a:pos x="connsiteX43484" y="connsiteY43484"/>
              </a:cxn>
              <a:cxn ang="0">
                <a:pos x="connsiteX43485" y="connsiteY43485"/>
              </a:cxn>
              <a:cxn ang="0">
                <a:pos x="connsiteX43486" y="connsiteY43486"/>
              </a:cxn>
              <a:cxn ang="0">
                <a:pos x="connsiteX43487" y="connsiteY43487"/>
              </a:cxn>
              <a:cxn ang="0">
                <a:pos x="connsiteX43488" y="connsiteY43488"/>
              </a:cxn>
              <a:cxn ang="0">
                <a:pos x="connsiteX43489" y="connsiteY43489"/>
              </a:cxn>
              <a:cxn ang="0">
                <a:pos x="connsiteX43490" y="connsiteY43490"/>
              </a:cxn>
              <a:cxn ang="0">
                <a:pos x="connsiteX43491" y="connsiteY43491"/>
              </a:cxn>
              <a:cxn ang="0">
                <a:pos x="connsiteX43492" y="connsiteY43492"/>
              </a:cxn>
              <a:cxn ang="0">
                <a:pos x="connsiteX43493" y="connsiteY43493"/>
              </a:cxn>
              <a:cxn ang="0">
                <a:pos x="connsiteX43494" y="connsiteY43494"/>
              </a:cxn>
              <a:cxn ang="0">
                <a:pos x="connsiteX43495" y="connsiteY43495"/>
              </a:cxn>
              <a:cxn ang="0">
                <a:pos x="connsiteX43496" y="connsiteY43496"/>
              </a:cxn>
              <a:cxn ang="0">
                <a:pos x="connsiteX43497" y="connsiteY43497"/>
              </a:cxn>
              <a:cxn ang="0">
                <a:pos x="connsiteX43498" y="connsiteY43498"/>
              </a:cxn>
              <a:cxn ang="0">
                <a:pos x="connsiteX43499" y="connsiteY43499"/>
              </a:cxn>
              <a:cxn ang="0">
                <a:pos x="connsiteX43500" y="connsiteY43500"/>
              </a:cxn>
              <a:cxn ang="0">
                <a:pos x="connsiteX43501" y="connsiteY43501"/>
              </a:cxn>
              <a:cxn ang="0">
                <a:pos x="connsiteX43502" y="connsiteY43502"/>
              </a:cxn>
              <a:cxn ang="0">
                <a:pos x="connsiteX43503" y="connsiteY43503"/>
              </a:cxn>
              <a:cxn ang="0">
                <a:pos x="connsiteX43504" y="connsiteY43504"/>
              </a:cxn>
              <a:cxn ang="0">
                <a:pos x="connsiteX43505" y="connsiteY43505"/>
              </a:cxn>
              <a:cxn ang="0">
                <a:pos x="connsiteX43506" y="connsiteY43506"/>
              </a:cxn>
              <a:cxn ang="0">
                <a:pos x="connsiteX43507" y="connsiteY43507"/>
              </a:cxn>
              <a:cxn ang="0">
                <a:pos x="connsiteX43508" y="connsiteY43508"/>
              </a:cxn>
              <a:cxn ang="0">
                <a:pos x="connsiteX43509" y="connsiteY43509"/>
              </a:cxn>
              <a:cxn ang="0">
                <a:pos x="connsiteX43510" y="connsiteY43510"/>
              </a:cxn>
              <a:cxn ang="0">
                <a:pos x="connsiteX43511" y="connsiteY43511"/>
              </a:cxn>
              <a:cxn ang="0">
                <a:pos x="connsiteX43512" y="connsiteY43512"/>
              </a:cxn>
              <a:cxn ang="0">
                <a:pos x="connsiteX43513" y="connsiteY43513"/>
              </a:cxn>
              <a:cxn ang="0">
                <a:pos x="connsiteX43514" y="connsiteY43514"/>
              </a:cxn>
              <a:cxn ang="0">
                <a:pos x="connsiteX43515" y="connsiteY43515"/>
              </a:cxn>
              <a:cxn ang="0">
                <a:pos x="connsiteX43516" y="connsiteY43516"/>
              </a:cxn>
              <a:cxn ang="0">
                <a:pos x="connsiteX43517" y="connsiteY43517"/>
              </a:cxn>
              <a:cxn ang="0">
                <a:pos x="connsiteX43518" y="connsiteY43518"/>
              </a:cxn>
              <a:cxn ang="0">
                <a:pos x="connsiteX43519" y="connsiteY43519"/>
              </a:cxn>
              <a:cxn ang="0">
                <a:pos x="connsiteX43520" y="connsiteY43520"/>
              </a:cxn>
              <a:cxn ang="0">
                <a:pos x="connsiteX43521" y="connsiteY43521"/>
              </a:cxn>
              <a:cxn ang="0">
                <a:pos x="connsiteX43522" y="connsiteY43522"/>
              </a:cxn>
              <a:cxn ang="0">
                <a:pos x="connsiteX43523" y="connsiteY43523"/>
              </a:cxn>
              <a:cxn ang="0">
                <a:pos x="connsiteX43524" y="connsiteY43524"/>
              </a:cxn>
              <a:cxn ang="0">
                <a:pos x="connsiteX43525" y="connsiteY43525"/>
              </a:cxn>
              <a:cxn ang="0">
                <a:pos x="connsiteX43526" y="connsiteY43526"/>
              </a:cxn>
              <a:cxn ang="0">
                <a:pos x="connsiteX43527" y="connsiteY43527"/>
              </a:cxn>
              <a:cxn ang="0">
                <a:pos x="connsiteX43528" y="connsiteY43528"/>
              </a:cxn>
              <a:cxn ang="0">
                <a:pos x="connsiteX43529" y="connsiteY43529"/>
              </a:cxn>
              <a:cxn ang="0">
                <a:pos x="connsiteX43530" y="connsiteY43530"/>
              </a:cxn>
              <a:cxn ang="0">
                <a:pos x="connsiteX43531" y="connsiteY43531"/>
              </a:cxn>
              <a:cxn ang="0">
                <a:pos x="connsiteX43532" y="connsiteY43532"/>
              </a:cxn>
              <a:cxn ang="0">
                <a:pos x="connsiteX43533" y="connsiteY43533"/>
              </a:cxn>
              <a:cxn ang="0">
                <a:pos x="connsiteX43534" y="connsiteY43534"/>
              </a:cxn>
              <a:cxn ang="0">
                <a:pos x="connsiteX43535" y="connsiteY43535"/>
              </a:cxn>
              <a:cxn ang="0">
                <a:pos x="connsiteX43536" y="connsiteY43536"/>
              </a:cxn>
              <a:cxn ang="0">
                <a:pos x="connsiteX43537" y="connsiteY43537"/>
              </a:cxn>
              <a:cxn ang="0">
                <a:pos x="connsiteX43538" y="connsiteY43538"/>
              </a:cxn>
              <a:cxn ang="0">
                <a:pos x="connsiteX43539" y="connsiteY43539"/>
              </a:cxn>
              <a:cxn ang="0">
                <a:pos x="connsiteX43540" y="connsiteY43540"/>
              </a:cxn>
              <a:cxn ang="0">
                <a:pos x="connsiteX43541" y="connsiteY43541"/>
              </a:cxn>
              <a:cxn ang="0">
                <a:pos x="connsiteX43542" y="connsiteY43542"/>
              </a:cxn>
              <a:cxn ang="0">
                <a:pos x="connsiteX43543" y="connsiteY43543"/>
              </a:cxn>
              <a:cxn ang="0">
                <a:pos x="connsiteX43544" y="connsiteY43544"/>
              </a:cxn>
              <a:cxn ang="0">
                <a:pos x="connsiteX43545" y="connsiteY43545"/>
              </a:cxn>
              <a:cxn ang="0">
                <a:pos x="connsiteX43546" y="connsiteY43546"/>
              </a:cxn>
              <a:cxn ang="0">
                <a:pos x="connsiteX43547" y="connsiteY43547"/>
              </a:cxn>
              <a:cxn ang="0">
                <a:pos x="connsiteX43548" y="connsiteY43548"/>
              </a:cxn>
              <a:cxn ang="0">
                <a:pos x="connsiteX43549" y="connsiteY43549"/>
              </a:cxn>
              <a:cxn ang="0">
                <a:pos x="connsiteX43550" y="connsiteY43550"/>
              </a:cxn>
              <a:cxn ang="0">
                <a:pos x="connsiteX43551" y="connsiteY43551"/>
              </a:cxn>
              <a:cxn ang="0">
                <a:pos x="connsiteX43552" y="connsiteY43552"/>
              </a:cxn>
              <a:cxn ang="0">
                <a:pos x="connsiteX43553" y="connsiteY43553"/>
              </a:cxn>
              <a:cxn ang="0">
                <a:pos x="connsiteX43554" y="connsiteY43554"/>
              </a:cxn>
              <a:cxn ang="0">
                <a:pos x="connsiteX43555" y="connsiteY43555"/>
              </a:cxn>
              <a:cxn ang="0">
                <a:pos x="connsiteX43556" y="connsiteY43556"/>
              </a:cxn>
              <a:cxn ang="0">
                <a:pos x="connsiteX43557" y="connsiteY43557"/>
              </a:cxn>
              <a:cxn ang="0">
                <a:pos x="connsiteX43558" y="connsiteY43558"/>
              </a:cxn>
              <a:cxn ang="0">
                <a:pos x="connsiteX43559" y="connsiteY43559"/>
              </a:cxn>
              <a:cxn ang="0">
                <a:pos x="connsiteX43560" y="connsiteY43560"/>
              </a:cxn>
              <a:cxn ang="0">
                <a:pos x="connsiteX43561" y="connsiteY43561"/>
              </a:cxn>
              <a:cxn ang="0">
                <a:pos x="connsiteX43562" y="connsiteY43562"/>
              </a:cxn>
              <a:cxn ang="0">
                <a:pos x="connsiteX43563" y="connsiteY43563"/>
              </a:cxn>
              <a:cxn ang="0">
                <a:pos x="connsiteX43564" y="connsiteY43564"/>
              </a:cxn>
              <a:cxn ang="0">
                <a:pos x="connsiteX43565" y="connsiteY43565"/>
              </a:cxn>
              <a:cxn ang="0">
                <a:pos x="connsiteX43566" y="connsiteY43566"/>
              </a:cxn>
              <a:cxn ang="0">
                <a:pos x="connsiteX43567" y="connsiteY43567"/>
              </a:cxn>
              <a:cxn ang="0">
                <a:pos x="connsiteX43568" y="connsiteY43568"/>
              </a:cxn>
              <a:cxn ang="0">
                <a:pos x="connsiteX43569" y="connsiteY43569"/>
              </a:cxn>
              <a:cxn ang="0">
                <a:pos x="connsiteX43570" y="connsiteY43570"/>
              </a:cxn>
              <a:cxn ang="0">
                <a:pos x="connsiteX43571" y="connsiteY43571"/>
              </a:cxn>
              <a:cxn ang="0">
                <a:pos x="connsiteX43572" y="connsiteY43572"/>
              </a:cxn>
              <a:cxn ang="0">
                <a:pos x="connsiteX43573" y="connsiteY43573"/>
              </a:cxn>
              <a:cxn ang="0">
                <a:pos x="connsiteX43574" y="connsiteY43574"/>
              </a:cxn>
              <a:cxn ang="0">
                <a:pos x="connsiteX43575" y="connsiteY43575"/>
              </a:cxn>
              <a:cxn ang="0">
                <a:pos x="connsiteX43576" y="connsiteY43576"/>
              </a:cxn>
              <a:cxn ang="0">
                <a:pos x="connsiteX43577" y="connsiteY43577"/>
              </a:cxn>
              <a:cxn ang="0">
                <a:pos x="connsiteX43578" y="connsiteY43578"/>
              </a:cxn>
              <a:cxn ang="0">
                <a:pos x="connsiteX43579" y="connsiteY43579"/>
              </a:cxn>
              <a:cxn ang="0">
                <a:pos x="connsiteX43580" y="connsiteY43580"/>
              </a:cxn>
              <a:cxn ang="0">
                <a:pos x="connsiteX43581" y="connsiteY43581"/>
              </a:cxn>
              <a:cxn ang="0">
                <a:pos x="connsiteX43582" y="connsiteY43582"/>
              </a:cxn>
              <a:cxn ang="0">
                <a:pos x="connsiteX43583" y="connsiteY43583"/>
              </a:cxn>
              <a:cxn ang="0">
                <a:pos x="connsiteX43584" y="connsiteY43584"/>
              </a:cxn>
              <a:cxn ang="0">
                <a:pos x="connsiteX43585" y="connsiteY43585"/>
              </a:cxn>
              <a:cxn ang="0">
                <a:pos x="connsiteX43586" y="connsiteY43586"/>
              </a:cxn>
              <a:cxn ang="0">
                <a:pos x="connsiteX43587" y="connsiteY43587"/>
              </a:cxn>
              <a:cxn ang="0">
                <a:pos x="connsiteX43588" y="connsiteY43588"/>
              </a:cxn>
              <a:cxn ang="0">
                <a:pos x="connsiteX43589" y="connsiteY43589"/>
              </a:cxn>
              <a:cxn ang="0">
                <a:pos x="connsiteX43590" y="connsiteY43590"/>
              </a:cxn>
              <a:cxn ang="0">
                <a:pos x="connsiteX43591" y="connsiteY43591"/>
              </a:cxn>
              <a:cxn ang="0">
                <a:pos x="connsiteX43592" y="connsiteY43592"/>
              </a:cxn>
              <a:cxn ang="0">
                <a:pos x="connsiteX43593" y="connsiteY43593"/>
              </a:cxn>
              <a:cxn ang="0">
                <a:pos x="connsiteX43594" y="connsiteY43594"/>
              </a:cxn>
              <a:cxn ang="0">
                <a:pos x="connsiteX43595" y="connsiteY43595"/>
              </a:cxn>
              <a:cxn ang="0">
                <a:pos x="connsiteX43596" y="connsiteY43596"/>
              </a:cxn>
              <a:cxn ang="0">
                <a:pos x="connsiteX43597" y="connsiteY43597"/>
              </a:cxn>
              <a:cxn ang="0">
                <a:pos x="connsiteX43598" y="connsiteY43598"/>
              </a:cxn>
              <a:cxn ang="0">
                <a:pos x="connsiteX43599" y="connsiteY43599"/>
              </a:cxn>
              <a:cxn ang="0">
                <a:pos x="connsiteX43600" y="connsiteY43600"/>
              </a:cxn>
              <a:cxn ang="0">
                <a:pos x="connsiteX43601" y="connsiteY43601"/>
              </a:cxn>
              <a:cxn ang="0">
                <a:pos x="connsiteX43602" y="connsiteY43602"/>
              </a:cxn>
              <a:cxn ang="0">
                <a:pos x="connsiteX43603" y="connsiteY43603"/>
              </a:cxn>
              <a:cxn ang="0">
                <a:pos x="connsiteX43604" y="connsiteY43604"/>
              </a:cxn>
              <a:cxn ang="0">
                <a:pos x="connsiteX43605" y="connsiteY43605"/>
              </a:cxn>
              <a:cxn ang="0">
                <a:pos x="connsiteX43606" y="connsiteY43606"/>
              </a:cxn>
              <a:cxn ang="0">
                <a:pos x="connsiteX43607" y="connsiteY43607"/>
              </a:cxn>
              <a:cxn ang="0">
                <a:pos x="connsiteX43608" y="connsiteY43608"/>
              </a:cxn>
              <a:cxn ang="0">
                <a:pos x="connsiteX43609" y="connsiteY43609"/>
              </a:cxn>
              <a:cxn ang="0">
                <a:pos x="connsiteX43610" y="connsiteY43610"/>
              </a:cxn>
              <a:cxn ang="0">
                <a:pos x="connsiteX43611" y="connsiteY43611"/>
              </a:cxn>
              <a:cxn ang="0">
                <a:pos x="connsiteX43612" y="connsiteY43612"/>
              </a:cxn>
              <a:cxn ang="0">
                <a:pos x="connsiteX43613" y="connsiteY43613"/>
              </a:cxn>
              <a:cxn ang="0">
                <a:pos x="connsiteX43614" y="connsiteY43614"/>
              </a:cxn>
              <a:cxn ang="0">
                <a:pos x="connsiteX43615" y="connsiteY43615"/>
              </a:cxn>
              <a:cxn ang="0">
                <a:pos x="connsiteX43616" y="connsiteY43616"/>
              </a:cxn>
              <a:cxn ang="0">
                <a:pos x="connsiteX43617" y="connsiteY43617"/>
              </a:cxn>
              <a:cxn ang="0">
                <a:pos x="connsiteX43618" y="connsiteY43618"/>
              </a:cxn>
              <a:cxn ang="0">
                <a:pos x="connsiteX43619" y="connsiteY43619"/>
              </a:cxn>
              <a:cxn ang="0">
                <a:pos x="connsiteX43620" y="connsiteY43620"/>
              </a:cxn>
              <a:cxn ang="0">
                <a:pos x="connsiteX43621" y="connsiteY43621"/>
              </a:cxn>
              <a:cxn ang="0">
                <a:pos x="connsiteX43622" y="connsiteY43622"/>
              </a:cxn>
              <a:cxn ang="0">
                <a:pos x="connsiteX43623" y="connsiteY43623"/>
              </a:cxn>
              <a:cxn ang="0">
                <a:pos x="connsiteX43624" y="connsiteY43624"/>
              </a:cxn>
              <a:cxn ang="0">
                <a:pos x="connsiteX43625" y="connsiteY43625"/>
              </a:cxn>
              <a:cxn ang="0">
                <a:pos x="connsiteX43626" y="connsiteY43626"/>
              </a:cxn>
              <a:cxn ang="0">
                <a:pos x="connsiteX43627" y="connsiteY43627"/>
              </a:cxn>
              <a:cxn ang="0">
                <a:pos x="connsiteX43628" y="connsiteY43628"/>
              </a:cxn>
              <a:cxn ang="0">
                <a:pos x="connsiteX43629" y="connsiteY43629"/>
              </a:cxn>
              <a:cxn ang="0">
                <a:pos x="connsiteX43630" y="connsiteY43630"/>
              </a:cxn>
              <a:cxn ang="0">
                <a:pos x="connsiteX43631" y="connsiteY43631"/>
              </a:cxn>
              <a:cxn ang="0">
                <a:pos x="connsiteX43632" y="connsiteY43632"/>
              </a:cxn>
              <a:cxn ang="0">
                <a:pos x="connsiteX43633" y="connsiteY43633"/>
              </a:cxn>
              <a:cxn ang="0">
                <a:pos x="connsiteX43634" y="connsiteY43634"/>
              </a:cxn>
              <a:cxn ang="0">
                <a:pos x="connsiteX43635" y="connsiteY43635"/>
              </a:cxn>
              <a:cxn ang="0">
                <a:pos x="connsiteX43636" y="connsiteY43636"/>
              </a:cxn>
              <a:cxn ang="0">
                <a:pos x="connsiteX43637" y="connsiteY43637"/>
              </a:cxn>
              <a:cxn ang="0">
                <a:pos x="connsiteX43638" y="connsiteY43638"/>
              </a:cxn>
              <a:cxn ang="0">
                <a:pos x="connsiteX43639" y="connsiteY43639"/>
              </a:cxn>
              <a:cxn ang="0">
                <a:pos x="connsiteX43640" y="connsiteY43640"/>
              </a:cxn>
              <a:cxn ang="0">
                <a:pos x="connsiteX43641" y="connsiteY43641"/>
              </a:cxn>
              <a:cxn ang="0">
                <a:pos x="connsiteX43642" y="connsiteY43642"/>
              </a:cxn>
              <a:cxn ang="0">
                <a:pos x="connsiteX43643" y="connsiteY43643"/>
              </a:cxn>
              <a:cxn ang="0">
                <a:pos x="connsiteX43644" y="connsiteY43644"/>
              </a:cxn>
              <a:cxn ang="0">
                <a:pos x="connsiteX43645" y="connsiteY43645"/>
              </a:cxn>
              <a:cxn ang="0">
                <a:pos x="connsiteX43646" y="connsiteY43646"/>
              </a:cxn>
              <a:cxn ang="0">
                <a:pos x="connsiteX43647" y="connsiteY43647"/>
              </a:cxn>
              <a:cxn ang="0">
                <a:pos x="connsiteX43648" y="connsiteY43648"/>
              </a:cxn>
              <a:cxn ang="0">
                <a:pos x="connsiteX43649" y="connsiteY43649"/>
              </a:cxn>
              <a:cxn ang="0">
                <a:pos x="connsiteX43650" y="connsiteY43650"/>
              </a:cxn>
              <a:cxn ang="0">
                <a:pos x="connsiteX43651" y="connsiteY43651"/>
              </a:cxn>
              <a:cxn ang="0">
                <a:pos x="connsiteX43652" y="connsiteY43652"/>
              </a:cxn>
              <a:cxn ang="0">
                <a:pos x="connsiteX43653" y="connsiteY43653"/>
              </a:cxn>
              <a:cxn ang="0">
                <a:pos x="connsiteX43654" y="connsiteY43654"/>
              </a:cxn>
              <a:cxn ang="0">
                <a:pos x="connsiteX43655" y="connsiteY43655"/>
              </a:cxn>
              <a:cxn ang="0">
                <a:pos x="connsiteX43656" y="connsiteY43656"/>
              </a:cxn>
              <a:cxn ang="0">
                <a:pos x="connsiteX43657" y="connsiteY43657"/>
              </a:cxn>
              <a:cxn ang="0">
                <a:pos x="connsiteX43658" y="connsiteY43658"/>
              </a:cxn>
              <a:cxn ang="0">
                <a:pos x="connsiteX43659" y="connsiteY43659"/>
              </a:cxn>
              <a:cxn ang="0">
                <a:pos x="connsiteX43660" y="connsiteY43660"/>
              </a:cxn>
              <a:cxn ang="0">
                <a:pos x="connsiteX43661" y="connsiteY43661"/>
              </a:cxn>
              <a:cxn ang="0">
                <a:pos x="connsiteX43662" y="connsiteY43662"/>
              </a:cxn>
              <a:cxn ang="0">
                <a:pos x="connsiteX43663" y="connsiteY43663"/>
              </a:cxn>
              <a:cxn ang="0">
                <a:pos x="connsiteX43664" y="connsiteY43664"/>
              </a:cxn>
              <a:cxn ang="0">
                <a:pos x="connsiteX43665" y="connsiteY43665"/>
              </a:cxn>
              <a:cxn ang="0">
                <a:pos x="connsiteX43666" y="connsiteY43666"/>
              </a:cxn>
              <a:cxn ang="0">
                <a:pos x="connsiteX43667" y="connsiteY43667"/>
              </a:cxn>
              <a:cxn ang="0">
                <a:pos x="connsiteX43668" y="connsiteY43668"/>
              </a:cxn>
              <a:cxn ang="0">
                <a:pos x="connsiteX43669" y="connsiteY43669"/>
              </a:cxn>
              <a:cxn ang="0">
                <a:pos x="connsiteX43670" y="connsiteY43670"/>
              </a:cxn>
              <a:cxn ang="0">
                <a:pos x="connsiteX43671" y="connsiteY43671"/>
              </a:cxn>
              <a:cxn ang="0">
                <a:pos x="connsiteX43672" y="connsiteY43672"/>
              </a:cxn>
              <a:cxn ang="0">
                <a:pos x="connsiteX43673" y="connsiteY43673"/>
              </a:cxn>
              <a:cxn ang="0">
                <a:pos x="connsiteX43674" y="connsiteY43674"/>
              </a:cxn>
              <a:cxn ang="0">
                <a:pos x="connsiteX43675" y="connsiteY43675"/>
              </a:cxn>
              <a:cxn ang="0">
                <a:pos x="connsiteX43676" y="connsiteY43676"/>
              </a:cxn>
              <a:cxn ang="0">
                <a:pos x="connsiteX43677" y="connsiteY43677"/>
              </a:cxn>
              <a:cxn ang="0">
                <a:pos x="connsiteX43678" y="connsiteY43678"/>
              </a:cxn>
              <a:cxn ang="0">
                <a:pos x="connsiteX43679" y="connsiteY43679"/>
              </a:cxn>
              <a:cxn ang="0">
                <a:pos x="connsiteX43680" y="connsiteY43680"/>
              </a:cxn>
              <a:cxn ang="0">
                <a:pos x="connsiteX43681" y="connsiteY43681"/>
              </a:cxn>
              <a:cxn ang="0">
                <a:pos x="connsiteX43682" y="connsiteY43682"/>
              </a:cxn>
              <a:cxn ang="0">
                <a:pos x="connsiteX43683" y="connsiteY43683"/>
              </a:cxn>
              <a:cxn ang="0">
                <a:pos x="connsiteX43684" y="connsiteY43684"/>
              </a:cxn>
              <a:cxn ang="0">
                <a:pos x="connsiteX43685" y="connsiteY43685"/>
              </a:cxn>
              <a:cxn ang="0">
                <a:pos x="connsiteX43686" y="connsiteY43686"/>
              </a:cxn>
              <a:cxn ang="0">
                <a:pos x="connsiteX43687" y="connsiteY43687"/>
              </a:cxn>
              <a:cxn ang="0">
                <a:pos x="connsiteX43688" y="connsiteY43688"/>
              </a:cxn>
              <a:cxn ang="0">
                <a:pos x="connsiteX43689" y="connsiteY43689"/>
              </a:cxn>
              <a:cxn ang="0">
                <a:pos x="connsiteX43690" y="connsiteY43690"/>
              </a:cxn>
              <a:cxn ang="0">
                <a:pos x="connsiteX43691" y="connsiteY43691"/>
              </a:cxn>
              <a:cxn ang="0">
                <a:pos x="connsiteX43692" y="connsiteY43692"/>
              </a:cxn>
              <a:cxn ang="0">
                <a:pos x="connsiteX43693" y="connsiteY43693"/>
              </a:cxn>
              <a:cxn ang="0">
                <a:pos x="connsiteX43694" y="connsiteY43694"/>
              </a:cxn>
              <a:cxn ang="0">
                <a:pos x="connsiteX43695" y="connsiteY43695"/>
              </a:cxn>
              <a:cxn ang="0">
                <a:pos x="connsiteX43696" y="connsiteY43696"/>
              </a:cxn>
              <a:cxn ang="0">
                <a:pos x="connsiteX43697" y="connsiteY43697"/>
              </a:cxn>
              <a:cxn ang="0">
                <a:pos x="connsiteX43698" y="connsiteY43698"/>
              </a:cxn>
              <a:cxn ang="0">
                <a:pos x="connsiteX43699" y="connsiteY43699"/>
              </a:cxn>
              <a:cxn ang="0">
                <a:pos x="connsiteX43700" y="connsiteY43700"/>
              </a:cxn>
              <a:cxn ang="0">
                <a:pos x="connsiteX43701" y="connsiteY43701"/>
              </a:cxn>
              <a:cxn ang="0">
                <a:pos x="connsiteX43702" y="connsiteY43702"/>
              </a:cxn>
              <a:cxn ang="0">
                <a:pos x="connsiteX43703" y="connsiteY43703"/>
              </a:cxn>
              <a:cxn ang="0">
                <a:pos x="connsiteX43704" y="connsiteY43704"/>
              </a:cxn>
              <a:cxn ang="0">
                <a:pos x="connsiteX43705" y="connsiteY43705"/>
              </a:cxn>
              <a:cxn ang="0">
                <a:pos x="connsiteX43706" y="connsiteY43706"/>
              </a:cxn>
              <a:cxn ang="0">
                <a:pos x="connsiteX43707" y="connsiteY43707"/>
              </a:cxn>
              <a:cxn ang="0">
                <a:pos x="connsiteX43708" y="connsiteY43708"/>
              </a:cxn>
              <a:cxn ang="0">
                <a:pos x="connsiteX43709" y="connsiteY43709"/>
              </a:cxn>
              <a:cxn ang="0">
                <a:pos x="connsiteX43710" y="connsiteY43710"/>
              </a:cxn>
              <a:cxn ang="0">
                <a:pos x="connsiteX43711" y="connsiteY43711"/>
              </a:cxn>
              <a:cxn ang="0">
                <a:pos x="connsiteX43712" y="connsiteY43712"/>
              </a:cxn>
              <a:cxn ang="0">
                <a:pos x="connsiteX43713" y="connsiteY43713"/>
              </a:cxn>
              <a:cxn ang="0">
                <a:pos x="connsiteX43714" y="connsiteY43714"/>
              </a:cxn>
              <a:cxn ang="0">
                <a:pos x="connsiteX43715" y="connsiteY43715"/>
              </a:cxn>
              <a:cxn ang="0">
                <a:pos x="connsiteX43716" y="connsiteY43716"/>
              </a:cxn>
              <a:cxn ang="0">
                <a:pos x="connsiteX43717" y="connsiteY43717"/>
              </a:cxn>
              <a:cxn ang="0">
                <a:pos x="connsiteX43718" y="connsiteY43718"/>
              </a:cxn>
              <a:cxn ang="0">
                <a:pos x="connsiteX43719" y="connsiteY43719"/>
              </a:cxn>
              <a:cxn ang="0">
                <a:pos x="connsiteX43720" y="connsiteY43720"/>
              </a:cxn>
              <a:cxn ang="0">
                <a:pos x="connsiteX43721" y="connsiteY43721"/>
              </a:cxn>
              <a:cxn ang="0">
                <a:pos x="connsiteX43722" y="connsiteY43722"/>
              </a:cxn>
              <a:cxn ang="0">
                <a:pos x="connsiteX43723" y="connsiteY43723"/>
              </a:cxn>
              <a:cxn ang="0">
                <a:pos x="connsiteX43724" y="connsiteY43724"/>
              </a:cxn>
              <a:cxn ang="0">
                <a:pos x="connsiteX43725" y="connsiteY43725"/>
              </a:cxn>
              <a:cxn ang="0">
                <a:pos x="connsiteX43726" y="connsiteY43726"/>
              </a:cxn>
              <a:cxn ang="0">
                <a:pos x="connsiteX43727" y="connsiteY43727"/>
              </a:cxn>
              <a:cxn ang="0">
                <a:pos x="connsiteX43728" y="connsiteY43728"/>
              </a:cxn>
              <a:cxn ang="0">
                <a:pos x="connsiteX43729" y="connsiteY43729"/>
              </a:cxn>
              <a:cxn ang="0">
                <a:pos x="connsiteX43730" y="connsiteY43730"/>
              </a:cxn>
              <a:cxn ang="0">
                <a:pos x="connsiteX43731" y="connsiteY43731"/>
              </a:cxn>
              <a:cxn ang="0">
                <a:pos x="connsiteX43732" y="connsiteY43732"/>
              </a:cxn>
              <a:cxn ang="0">
                <a:pos x="connsiteX43733" y="connsiteY43733"/>
              </a:cxn>
              <a:cxn ang="0">
                <a:pos x="connsiteX43734" y="connsiteY43734"/>
              </a:cxn>
              <a:cxn ang="0">
                <a:pos x="connsiteX43735" y="connsiteY43735"/>
              </a:cxn>
              <a:cxn ang="0">
                <a:pos x="connsiteX43736" y="connsiteY43736"/>
              </a:cxn>
              <a:cxn ang="0">
                <a:pos x="connsiteX43737" y="connsiteY43737"/>
              </a:cxn>
              <a:cxn ang="0">
                <a:pos x="connsiteX43738" y="connsiteY43738"/>
              </a:cxn>
              <a:cxn ang="0">
                <a:pos x="connsiteX43739" y="connsiteY43739"/>
              </a:cxn>
              <a:cxn ang="0">
                <a:pos x="connsiteX43740" y="connsiteY43740"/>
              </a:cxn>
              <a:cxn ang="0">
                <a:pos x="connsiteX43741" y="connsiteY43741"/>
              </a:cxn>
              <a:cxn ang="0">
                <a:pos x="connsiteX43742" y="connsiteY43742"/>
              </a:cxn>
              <a:cxn ang="0">
                <a:pos x="connsiteX43743" y="connsiteY43743"/>
              </a:cxn>
              <a:cxn ang="0">
                <a:pos x="connsiteX43744" y="connsiteY43744"/>
              </a:cxn>
              <a:cxn ang="0">
                <a:pos x="connsiteX43745" y="connsiteY43745"/>
              </a:cxn>
              <a:cxn ang="0">
                <a:pos x="connsiteX43746" y="connsiteY43746"/>
              </a:cxn>
              <a:cxn ang="0">
                <a:pos x="connsiteX43747" y="connsiteY43747"/>
              </a:cxn>
              <a:cxn ang="0">
                <a:pos x="connsiteX43748" y="connsiteY43748"/>
              </a:cxn>
              <a:cxn ang="0">
                <a:pos x="connsiteX43749" y="connsiteY43749"/>
              </a:cxn>
              <a:cxn ang="0">
                <a:pos x="connsiteX43750" y="connsiteY43750"/>
              </a:cxn>
              <a:cxn ang="0">
                <a:pos x="connsiteX43751" y="connsiteY43751"/>
              </a:cxn>
              <a:cxn ang="0">
                <a:pos x="connsiteX43752" y="connsiteY43752"/>
              </a:cxn>
              <a:cxn ang="0">
                <a:pos x="connsiteX43753" y="connsiteY43753"/>
              </a:cxn>
              <a:cxn ang="0">
                <a:pos x="connsiteX43754" y="connsiteY43754"/>
              </a:cxn>
              <a:cxn ang="0">
                <a:pos x="connsiteX43755" y="connsiteY43755"/>
              </a:cxn>
              <a:cxn ang="0">
                <a:pos x="connsiteX43756" y="connsiteY43756"/>
              </a:cxn>
              <a:cxn ang="0">
                <a:pos x="connsiteX43757" y="connsiteY43757"/>
              </a:cxn>
              <a:cxn ang="0">
                <a:pos x="connsiteX43758" y="connsiteY43758"/>
              </a:cxn>
              <a:cxn ang="0">
                <a:pos x="connsiteX43759" y="connsiteY43759"/>
              </a:cxn>
              <a:cxn ang="0">
                <a:pos x="connsiteX43760" y="connsiteY43760"/>
              </a:cxn>
              <a:cxn ang="0">
                <a:pos x="connsiteX43761" y="connsiteY43761"/>
              </a:cxn>
              <a:cxn ang="0">
                <a:pos x="connsiteX43762" y="connsiteY43762"/>
              </a:cxn>
              <a:cxn ang="0">
                <a:pos x="connsiteX43763" y="connsiteY43763"/>
              </a:cxn>
              <a:cxn ang="0">
                <a:pos x="connsiteX43764" y="connsiteY43764"/>
              </a:cxn>
              <a:cxn ang="0">
                <a:pos x="connsiteX43765" y="connsiteY43765"/>
              </a:cxn>
              <a:cxn ang="0">
                <a:pos x="connsiteX43766" y="connsiteY43766"/>
              </a:cxn>
              <a:cxn ang="0">
                <a:pos x="connsiteX43767" y="connsiteY43767"/>
              </a:cxn>
              <a:cxn ang="0">
                <a:pos x="connsiteX43768" y="connsiteY43768"/>
              </a:cxn>
              <a:cxn ang="0">
                <a:pos x="connsiteX43769" y="connsiteY43769"/>
              </a:cxn>
              <a:cxn ang="0">
                <a:pos x="connsiteX43770" y="connsiteY43770"/>
              </a:cxn>
              <a:cxn ang="0">
                <a:pos x="connsiteX43771" y="connsiteY43771"/>
              </a:cxn>
              <a:cxn ang="0">
                <a:pos x="connsiteX43772" y="connsiteY43772"/>
              </a:cxn>
              <a:cxn ang="0">
                <a:pos x="connsiteX43773" y="connsiteY43773"/>
              </a:cxn>
              <a:cxn ang="0">
                <a:pos x="connsiteX43774" y="connsiteY43774"/>
              </a:cxn>
              <a:cxn ang="0">
                <a:pos x="connsiteX43775" y="connsiteY43775"/>
              </a:cxn>
              <a:cxn ang="0">
                <a:pos x="connsiteX43776" y="connsiteY43776"/>
              </a:cxn>
              <a:cxn ang="0">
                <a:pos x="connsiteX43777" y="connsiteY43777"/>
              </a:cxn>
              <a:cxn ang="0">
                <a:pos x="connsiteX43778" y="connsiteY43778"/>
              </a:cxn>
              <a:cxn ang="0">
                <a:pos x="connsiteX43779" y="connsiteY43779"/>
              </a:cxn>
              <a:cxn ang="0">
                <a:pos x="connsiteX43780" y="connsiteY43780"/>
              </a:cxn>
              <a:cxn ang="0">
                <a:pos x="connsiteX43781" y="connsiteY43781"/>
              </a:cxn>
              <a:cxn ang="0">
                <a:pos x="connsiteX43782" y="connsiteY43782"/>
              </a:cxn>
              <a:cxn ang="0">
                <a:pos x="connsiteX43783" y="connsiteY43783"/>
              </a:cxn>
              <a:cxn ang="0">
                <a:pos x="connsiteX43784" y="connsiteY43784"/>
              </a:cxn>
              <a:cxn ang="0">
                <a:pos x="connsiteX43785" y="connsiteY43785"/>
              </a:cxn>
              <a:cxn ang="0">
                <a:pos x="connsiteX43786" y="connsiteY43786"/>
              </a:cxn>
              <a:cxn ang="0">
                <a:pos x="connsiteX43787" y="connsiteY43787"/>
              </a:cxn>
              <a:cxn ang="0">
                <a:pos x="connsiteX43788" y="connsiteY43788"/>
              </a:cxn>
              <a:cxn ang="0">
                <a:pos x="connsiteX43789" y="connsiteY43789"/>
              </a:cxn>
              <a:cxn ang="0">
                <a:pos x="connsiteX43790" y="connsiteY43790"/>
              </a:cxn>
              <a:cxn ang="0">
                <a:pos x="connsiteX43791" y="connsiteY43791"/>
              </a:cxn>
              <a:cxn ang="0">
                <a:pos x="connsiteX43792" y="connsiteY43792"/>
              </a:cxn>
              <a:cxn ang="0">
                <a:pos x="connsiteX43793" y="connsiteY43793"/>
              </a:cxn>
              <a:cxn ang="0">
                <a:pos x="connsiteX43794" y="connsiteY43794"/>
              </a:cxn>
              <a:cxn ang="0">
                <a:pos x="connsiteX43795" y="connsiteY43795"/>
              </a:cxn>
              <a:cxn ang="0">
                <a:pos x="connsiteX43796" y="connsiteY43796"/>
              </a:cxn>
              <a:cxn ang="0">
                <a:pos x="connsiteX43797" y="connsiteY43797"/>
              </a:cxn>
              <a:cxn ang="0">
                <a:pos x="connsiteX43798" y="connsiteY43798"/>
              </a:cxn>
              <a:cxn ang="0">
                <a:pos x="connsiteX43799" y="connsiteY43799"/>
              </a:cxn>
              <a:cxn ang="0">
                <a:pos x="connsiteX43800" y="connsiteY43800"/>
              </a:cxn>
              <a:cxn ang="0">
                <a:pos x="connsiteX43801" y="connsiteY43801"/>
              </a:cxn>
              <a:cxn ang="0">
                <a:pos x="connsiteX43802" y="connsiteY43802"/>
              </a:cxn>
              <a:cxn ang="0">
                <a:pos x="connsiteX43803" y="connsiteY43803"/>
              </a:cxn>
              <a:cxn ang="0">
                <a:pos x="connsiteX43804" y="connsiteY43804"/>
              </a:cxn>
              <a:cxn ang="0">
                <a:pos x="connsiteX43805" y="connsiteY43805"/>
              </a:cxn>
              <a:cxn ang="0">
                <a:pos x="connsiteX43806" y="connsiteY43806"/>
              </a:cxn>
              <a:cxn ang="0">
                <a:pos x="connsiteX43807" y="connsiteY43807"/>
              </a:cxn>
              <a:cxn ang="0">
                <a:pos x="connsiteX43808" y="connsiteY43808"/>
              </a:cxn>
              <a:cxn ang="0">
                <a:pos x="connsiteX43809" y="connsiteY43809"/>
              </a:cxn>
              <a:cxn ang="0">
                <a:pos x="connsiteX43810" y="connsiteY43810"/>
              </a:cxn>
              <a:cxn ang="0">
                <a:pos x="connsiteX43811" y="connsiteY43811"/>
              </a:cxn>
              <a:cxn ang="0">
                <a:pos x="connsiteX43812" y="connsiteY43812"/>
              </a:cxn>
              <a:cxn ang="0">
                <a:pos x="connsiteX43813" y="connsiteY43813"/>
              </a:cxn>
              <a:cxn ang="0">
                <a:pos x="connsiteX43814" y="connsiteY43814"/>
              </a:cxn>
              <a:cxn ang="0">
                <a:pos x="connsiteX43815" y="connsiteY43815"/>
              </a:cxn>
              <a:cxn ang="0">
                <a:pos x="connsiteX43816" y="connsiteY43816"/>
              </a:cxn>
              <a:cxn ang="0">
                <a:pos x="connsiteX43817" y="connsiteY43817"/>
              </a:cxn>
              <a:cxn ang="0">
                <a:pos x="connsiteX43818" y="connsiteY43818"/>
              </a:cxn>
              <a:cxn ang="0">
                <a:pos x="connsiteX43819" y="connsiteY43819"/>
              </a:cxn>
              <a:cxn ang="0">
                <a:pos x="connsiteX43820" y="connsiteY43820"/>
              </a:cxn>
              <a:cxn ang="0">
                <a:pos x="connsiteX43821" y="connsiteY43821"/>
              </a:cxn>
              <a:cxn ang="0">
                <a:pos x="connsiteX43822" y="connsiteY43822"/>
              </a:cxn>
              <a:cxn ang="0">
                <a:pos x="connsiteX43823" y="connsiteY43823"/>
              </a:cxn>
              <a:cxn ang="0">
                <a:pos x="connsiteX43824" y="connsiteY43824"/>
              </a:cxn>
              <a:cxn ang="0">
                <a:pos x="connsiteX43825" y="connsiteY43825"/>
              </a:cxn>
              <a:cxn ang="0">
                <a:pos x="connsiteX43826" y="connsiteY43826"/>
              </a:cxn>
              <a:cxn ang="0">
                <a:pos x="connsiteX43827" y="connsiteY43827"/>
              </a:cxn>
              <a:cxn ang="0">
                <a:pos x="connsiteX43828" y="connsiteY43828"/>
              </a:cxn>
              <a:cxn ang="0">
                <a:pos x="connsiteX43829" y="connsiteY43829"/>
              </a:cxn>
              <a:cxn ang="0">
                <a:pos x="connsiteX43830" y="connsiteY43830"/>
              </a:cxn>
              <a:cxn ang="0">
                <a:pos x="connsiteX43831" y="connsiteY43831"/>
              </a:cxn>
              <a:cxn ang="0">
                <a:pos x="connsiteX43832" y="connsiteY43832"/>
              </a:cxn>
              <a:cxn ang="0">
                <a:pos x="connsiteX43833" y="connsiteY43833"/>
              </a:cxn>
              <a:cxn ang="0">
                <a:pos x="connsiteX43834" y="connsiteY43834"/>
              </a:cxn>
              <a:cxn ang="0">
                <a:pos x="connsiteX43835" y="connsiteY43835"/>
              </a:cxn>
              <a:cxn ang="0">
                <a:pos x="connsiteX43836" y="connsiteY43836"/>
              </a:cxn>
              <a:cxn ang="0">
                <a:pos x="connsiteX43837" y="connsiteY43837"/>
              </a:cxn>
              <a:cxn ang="0">
                <a:pos x="connsiteX43838" y="connsiteY43838"/>
              </a:cxn>
              <a:cxn ang="0">
                <a:pos x="connsiteX43839" y="connsiteY43839"/>
              </a:cxn>
              <a:cxn ang="0">
                <a:pos x="connsiteX43840" y="connsiteY43840"/>
              </a:cxn>
              <a:cxn ang="0">
                <a:pos x="connsiteX43841" y="connsiteY43841"/>
              </a:cxn>
              <a:cxn ang="0">
                <a:pos x="connsiteX43842" y="connsiteY43842"/>
              </a:cxn>
              <a:cxn ang="0">
                <a:pos x="connsiteX43843" y="connsiteY43843"/>
              </a:cxn>
              <a:cxn ang="0">
                <a:pos x="connsiteX43844" y="connsiteY43844"/>
              </a:cxn>
              <a:cxn ang="0">
                <a:pos x="connsiteX43845" y="connsiteY43845"/>
              </a:cxn>
              <a:cxn ang="0">
                <a:pos x="connsiteX43846" y="connsiteY43846"/>
              </a:cxn>
              <a:cxn ang="0">
                <a:pos x="connsiteX43847" y="connsiteY43847"/>
              </a:cxn>
              <a:cxn ang="0">
                <a:pos x="connsiteX43848" y="connsiteY43848"/>
              </a:cxn>
              <a:cxn ang="0">
                <a:pos x="connsiteX43849" y="connsiteY43849"/>
              </a:cxn>
              <a:cxn ang="0">
                <a:pos x="connsiteX43850" y="connsiteY43850"/>
              </a:cxn>
              <a:cxn ang="0">
                <a:pos x="connsiteX43851" y="connsiteY43851"/>
              </a:cxn>
              <a:cxn ang="0">
                <a:pos x="connsiteX43852" y="connsiteY43852"/>
              </a:cxn>
              <a:cxn ang="0">
                <a:pos x="connsiteX43853" y="connsiteY43853"/>
              </a:cxn>
              <a:cxn ang="0">
                <a:pos x="connsiteX43854" y="connsiteY43854"/>
              </a:cxn>
              <a:cxn ang="0">
                <a:pos x="connsiteX43855" y="connsiteY43855"/>
              </a:cxn>
              <a:cxn ang="0">
                <a:pos x="connsiteX43856" y="connsiteY43856"/>
              </a:cxn>
              <a:cxn ang="0">
                <a:pos x="connsiteX43857" y="connsiteY43857"/>
              </a:cxn>
              <a:cxn ang="0">
                <a:pos x="connsiteX43858" y="connsiteY43858"/>
              </a:cxn>
              <a:cxn ang="0">
                <a:pos x="connsiteX43859" y="connsiteY43859"/>
              </a:cxn>
              <a:cxn ang="0">
                <a:pos x="connsiteX43860" y="connsiteY43860"/>
              </a:cxn>
              <a:cxn ang="0">
                <a:pos x="connsiteX43861" y="connsiteY43861"/>
              </a:cxn>
              <a:cxn ang="0">
                <a:pos x="connsiteX43862" y="connsiteY43862"/>
              </a:cxn>
              <a:cxn ang="0">
                <a:pos x="connsiteX43863" y="connsiteY43863"/>
              </a:cxn>
              <a:cxn ang="0">
                <a:pos x="connsiteX43864" y="connsiteY43864"/>
              </a:cxn>
              <a:cxn ang="0">
                <a:pos x="connsiteX43865" y="connsiteY43865"/>
              </a:cxn>
              <a:cxn ang="0">
                <a:pos x="connsiteX43866" y="connsiteY43866"/>
              </a:cxn>
              <a:cxn ang="0">
                <a:pos x="connsiteX43867" y="connsiteY43867"/>
              </a:cxn>
              <a:cxn ang="0">
                <a:pos x="connsiteX43868" y="connsiteY43868"/>
              </a:cxn>
              <a:cxn ang="0">
                <a:pos x="connsiteX43869" y="connsiteY43869"/>
              </a:cxn>
              <a:cxn ang="0">
                <a:pos x="connsiteX43870" y="connsiteY43870"/>
              </a:cxn>
              <a:cxn ang="0">
                <a:pos x="connsiteX43871" y="connsiteY43871"/>
              </a:cxn>
              <a:cxn ang="0">
                <a:pos x="connsiteX43872" y="connsiteY43872"/>
              </a:cxn>
              <a:cxn ang="0">
                <a:pos x="connsiteX43873" y="connsiteY43873"/>
              </a:cxn>
              <a:cxn ang="0">
                <a:pos x="connsiteX43874" y="connsiteY43874"/>
              </a:cxn>
              <a:cxn ang="0">
                <a:pos x="connsiteX43875" y="connsiteY43875"/>
              </a:cxn>
              <a:cxn ang="0">
                <a:pos x="connsiteX43876" y="connsiteY43876"/>
              </a:cxn>
              <a:cxn ang="0">
                <a:pos x="connsiteX43877" y="connsiteY43877"/>
              </a:cxn>
              <a:cxn ang="0">
                <a:pos x="connsiteX43878" y="connsiteY43878"/>
              </a:cxn>
              <a:cxn ang="0">
                <a:pos x="connsiteX43879" y="connsiteY43879"/>
              </a:cxn>
              <a:cxn ang="0">
                <a:pos x="connsiteX43880" y="connsiteY43880"/>
              </a:cxn>
              <a:cxn ang="0">
                <a:pos x="connsiteX43881" y="connsiteY43881"/>
              </a:cxn>
              <a:cxn ang="0">
                <a:pos x="connsiteX43882" y="connsiteY43882"/>
              </a:cxn>
              <a:cxn ang="0">
                <a:pos x="connsiteX43883" y="connsiteY43883"/>
              </a:cxn>
              <a:cxn ang="0">
                <a:pos x="connsiteX43884" y="connsiteY43884"/>
              </a:cxn>
              <a:cxn ang="0">
                <a:pos x="connsiteX43885" y="connsiteY43885"/>
              </a:cxn>
              <a:cxn ang="0">
                <a:pos x="connsiteX43886" y="connsiteY43886"/>
              </a:cxn>
              <a:cxn ang="0">
                <a:pos x="connsiteX43887" y="connsiteY43887"/>
              </a:cxn>
              <a:cxn ang="0">
                <a:pos x="connsiteX43888" y="connsiteY43888"/>
              </a:cxn>
              <a:cxn ang="0">
                <a:pos x="connsiteX43889" y="connsiteY43889"/>
              </a:cxn>
              <a:cxn ang="0">
                <a:pos x="connsiteX43890" y="connsiteY43890"/>
              </a:cxn>
              <a:cxn ang="0">
                <a:pos x="connsiteX43891" y="connsiteY43891"/>
              </a:cxn>
              <a:cxn ang="0">
                <a:pos x="connsiteX43892" y="connsiteY43892"/>
              </a:cxn>
              <a:cxn ang="0">
                <a:pos x="connsiteX43893" y="connsiteY43893"/>
              </a:cxn>
              <a:cxn ang="0">
                <a:pos x="connsiteX43894" y="connsiteY43894"/>
              </a:cxn>
              <a:cxn ang="0">
                <a:pos x="connsiteX43895" y="connsiteY43895"/>
              </a:cxn>
              <a:cxn ang="0">
                <a:pos x="connsiteX43896" y="connsiteY43896"/>
              </a:cxn>
              <a:cxn ang="0">
                <a:pos x="connsiteX43897" y="connsiteY43897"/>
              </a:cxn>
              <a:cxn ang="0">
                <a:pos x="connsiteX43898" y="connsiteY43898"/>
              </a:cxn>
              <a:cxn ang="0">
                <a:pos x="connsiteX43899" y="connsiteY43899"/>
              </a:cxn>
              <a:cxn ang="0">
                <a:pos x="connsiteX43900" y="connsiteY43900"/>
              </a:cxn>
              <a:cxn ang="0">
                <a:pos x="connsiteX43901" y="connsiteY43901"/>
              </a:cxn>
              <a:cxn ang="0">
                <a:pos x="connsiteX43902" y="connsiteY43902"/>
              </a:cxn>
              <a:cxn ang="0">
                <a:pos x="connsiteX43903" y="connsiteY43903"/>
              </a:cxn>
              <a:cxn ang="0">
                <a:pos x="connsiteX43904" y="connsiteY43904"/>
              </a:cxn>
              <a:cxn ang="0">
                <a:pos x="connsiteX43905" y="connsiteY43905"/>
              </a:cxn>
              <a:cxn ang="0">
                <a:pos x="connsiteX43906" y="connsiteY43906"/>
              </a:cxn>
              <a:cxn ang="0">
                <a:pos x="connsiteX43907" y="connsiteY43907"/>
              </a:cxn>
              <a:cxn ang="0">
                <a:pos x="connsiteX43908" y="connsiteY43908"/>
              </a:cxn>
              <a:cxn ang="0">
                <a:pos x="connsiteX43909" y="connsiteY43909"/>
              </a:cxn>
              <a:cxn ang="0">
                <a:pos x="connsiteX43910" y="connsiteY43910"/>
              </a:cxn>
              <a:cxn ang="0">
                <a:pos x="connsiteX43911" y="connsiteY43911"/>
              </a:cxn>
              <a:cxn ang="0">
                <a:pos x="connsiteX43912" y="connsiteY43912"/>
              </a:cxn>
              <a:cxn ang="0">
                <a:pos x="connsiteX43913" y="connsiteY43913"/>
              </a:cxn>
              <a:cxn ang="0">
                <a:pos x="connsiteX43914" y="connsiteY43914"/>
              </a:cxn>
              <a:cxn ang="0">
                <a:pos x="connsiteX43915" y="connsiteY43915"/>
              </a:cxn>
              <a:cxn ang="0">
                <a:pos x="connsiteX43916" y="connsiteY43916"/>
              </a:cxn>
              <a:cxn ang="0">
                <a:pos x="connsiteX43917" y="connsiteY43917"/>
              </a:cxn>
              <a:cxn ang="0">
                <a:pos x="connsiteX43918" y="connsiteY43918"/>
              </a:cxn>
              <a:cxn ang="0">
                <a:pos x="connsiteX43919" y="connsiteY43919"/>
              </a:cxn>
              <a:cxn ang="0">
                <a:pos x="connsiteX43920" y="connsiteY43920"/>
              </a:cxn>
              <a:cxn ang="0">
                <a:pos x="connsiteX43921" y="connsiteY43921"/>
              </a:cxn>
              <a:cxn ang="0">
                <a:pos x="connsiteX43922" y="connsiteY43922"/>
              </a:cxn>
              <a:cxn ang="0">
                <a:pos x="connsiteX43923" y="connsiteY43923"/>
              </a:cxn>
              <a:cxn ang="0">
                <a:pos x="connsiteX43924" y="connsiteY43924"/>
              </a:cxn>
              <a:cxn ang="0">
                <a:pos x="connsiteX43925" y="connsiteY43925"/>
              </a:cxn>
              <a:cxn ang="0">
                <a:pos x="connsiteX43926" y="connsiteY43926"/>
              </a:cxn>
              <a:cxn ang="0">
                <a:pos x="connsiteX43927" y="connsiteY43927"/>
              </a:cxn>
              <a:cxn ang="0">
                <a:pos x="connsiteX43928" y="connsiteY43928"/>
              </a:cxn>
              <a:cxn ang="0">
                <a:pos x="connsiteX43929" y="connsiteY43929"/>
              </a:cxn>
              <a:cxn ang="0">
                <a:pos x="connsiteX43930" y="connsiteY43930"/>
              </a:cxn>
              <a:cxn ang="0">
                <a:pos x="connsiteX43931" y="connsiteY43931"/>
              </a:cxn>
              <a:cxn ang="0">
                <a:pos x="connsiteX43932" y="connsiteY43932"/>
              </a:cxn>
              <a:cxn ang="0">
                <a:pos x="connsiteX43933" y="connsiteY43933"/>
              </a:cxn>
              <a:cxn ang="0">
                <a:pos x="connsiteX43934" y="connsiteY43934"/>
              </a:cxn>
              <a:cxn ang="0">
                <a:pos x="connsiteX43935" y="connsiteY43935"/>
              </a:cxn>
              <a:cxn ang="0">
                <a:pos x="connsiteX43936" y="connsiteY43936"/>
              </a:cxn>
              <a:cxn ang="0">
                <a:pos x="connsiteX43937" y="connsiteY43937"/>
              </a:cxn>
              <a:cxn ang="0">
                <a:pos x="connsiteX43938" y="connsiteY43938"/>
              </a:cxn>
              <a:cxn ang="0">
                <a:pos x="connsiteX43939" y="connsiteY43939"/>
              </a:cxn>
              <a:cxn ang="0">
                <a:pos x="connsiteX43940" y="connsiteY43940"/>
              </a:cxn>
              <a:cxn ang="0">
                <a:pos x="connsiteX43941" y="connsiteY43941"/>
              </a:cxn>
              <a:cxn ang="0">
                <a:pos x="connsiteX43942" y="connsiteY43942"/>
              </a:cxn>
              <a:cxn ang="0">
                <a:pos x="connsiteX43943" y="connsiteY43943"/>
              </a:cxn>
              <a:cxn ang="0">
                <a:pos x="connsiteX43944" y="connsiteY43944"/>
              </a:cxn>
              <a:cxn ang="0">
                <a:pos x="connsiteX43945" y="connsiteY43945"/>
              </a:cxn>
              <a:cxn ang="0">
                <a:pos x="connsiteX43946" y="connsiteY43946"/>
              </a:cxn>
              <a:cxn ang="0">
                <a:pos x="connsiteX43947" y="connsiteY43947"/>
              </a:cxn>
              <a:cxn ang="0">
                <a:pos x="connsiteX43948" y="connsiteY43948"/>
              </a:cxn>
              <a:cxn ang="0">
                <a:pos x="connsiteX43949" y="connsiteY43949"/>
              </a:cxn>
              <a:cxn ang="0">
                <a:pos x="connsiteX43950" y="connsiteY43950"/>
              </a:cxn>
              <a:cxn ang="0">
                <a:pos x="connsiteX43951" y="connsiteY43951"/>
              </a:cxn>
              <a:cxn ang="0">
                <a:pos x="connsiteX43952" y="connsiteY43952"/>
              </a:cxn>
              <a:cxn ang="0">
                <a:pos x="connsiteX43953" y="connsiteY43953"/>
              </a:cxn>
              <a:cxn ang="0">
                <a:pos x="connsiteX43954" y="connsiteY43954"/>
              </a:cxn>
              <a:cxn ang="0">
                <a:pos x="connsiteX43955" y="connsiteY43955"/>
              </a:cxn>
              <a:cxn ang="0">
                <a:pos x="connsiteX43956" y="connsiteY43956"/>
              </a:cxn>
              <a:cxn ang="0">
                <a:pos x="connsiteX43957" y="connsiteY43957"/>
              </a:cxn>
              <a:cxn ang="0">
                <a:pos x="connsiteX43958" y="connsiteY43958"/>
              </a:cxn>
              <a:cxn ang="0">
                <a:pos x="connsiteX43959" y="connsiteY43959"/>
              </a:cxn>
              <a:cxn ang="0">
                <a:pos x="connsiteX43960" y="connsiteY43960"/>
              </a:cxn>
              <a:cxn ang="0">
                <a:pos x="connsiteX43961" y="connsiteY43961"/>
              </a:cxn>
              <a:cxn ang="0">
                <a:pos x="connsiteX43962" y="connsiteY43962"/>
              </a:cxn>
              <a:cxn ang="0">
                <a:pos x="connsiteX43963" y="connsiteY43963"/>
              </a:cxn>
              <a:cxn ang="0">
                <a:pos x="connsiteX43964" y="connsiteY43964"/>
              </a:cxn>
              <a:cxn ang="0">
                <a:pos x="connsiteX43965" y="connsiteY43965"/>
              </a:cxn>
              <a:cxn ang="0">
                <a:pos x="connsiteX43966" y="connsiteY43966"/>
              </a:cxn>
              <a:cxn ang="0">
                <a:pos x="connsiteX43967" y="connsiteY43967"/>
              </a:cxn>
              <a:cxn ang="0">
                <a:pos x="connsiteX43968" y="connsiteY43968"/>
              </a:cxn>
              <a:cxn ang="0">
                <a:pos x="connsiteX43969" y="connsiteY43969"/>
              </a:cxn>
              <a:cxn ang="0">
                <a:pos x="connsiteX43970" y="connsiteY43970"/>
              </a:cxn>
              <a:cxn ang="0">
                <a:pos x="connsiteX43971" y="connsiteY43971"/>
              </a:cxn>
              <a:cxn ang="0">
                <a:pos x="connsiteX43972" y="connsiteY43972"/>
              </a:cxn>
              <a:cxn ang="0">
                <a:pos x="connsiteX43973" y="connsiteY43973"/>
              </a:cxn>
              <a:cxn ang="0">
                <a:pos x="connsiteX43974" y="connsiteY43974"/>
              </a:cxn>
              <a:cxn ang="0">
                <a:pos x="connsiteX43975" y="connsiteY43975"/>
              </a:cxn>
              <a:cxn ang="0">
                <a:pos x="connsiteX43976" y="connsiteY43976"/>
              </a:cxn>
              <a:cxn ang="0">
                <a:pos x="connsiteX43977" y="connsiteY43977"/>
              </a:cxn>
              <a:cxn ang="0">
                <a:pos x="connsiteX43978" y="connsiteY43978"/>
              </a:cxn>
              <a:cxn ang="0">
                <a:pos x="connsiteX43979" y="connsiteY43979"/>
              </a:cxn>
              <a:cxn ang="0">
                <a:pos x="connsiteX43980" y="connsiteY43980"/>
              </a:cxn>
              <a:cxn ang="0">
                <a:pos x="connsiteX43981" y="connsiteY43981"/>
              </a:cxn>
              <a:cxn ang="0">
                <a:pos x="connsiteX43982" y="connsiteY43982"/>
              </a:cxn>
              <a:cxn ang="0">
                <a:pos x="connsiteX43983" y="connsiteY43983"/>
              </a:cxn>
              <a:cxn ang="0">
                <a:pos x="connsiteX43984" y="connsiteY43984"/>
              </a:cxn>
              <a:cxn ang="0">
                <a:pos x="connsiteX43985" y="connsiteY43985"/>
              </a:cxn>
              <a:cxn ang="0">
                <a:pos x="connsiteX43986" y="connsiteY43986"/>
              </a:cxn>
              <a:cxn ang="0">
                <a:pos x="connsiteX43987" y="connsiteY43987"/>
              </a:cxn>
              <a:cxn ang="0">
                <a:pos x="connsiteX43988" y="connsiteY43988"/>
              </a:cxn>
              <a:cxn ang="0">
                <a:pos x="connsiteX43989" y="connsiteY43989"/>
              </a:cxn>
              <a:cxn ang="0">
                <a:pos x="connsiteX43990" y="connsiteY43990"/>
              </a:cxn>
              <a:cxn ang="0">
                <a:pos x="connsiteX43991" y="connsiteY43991"/>
              </a:cxn>
              <a:cxn ang="0">
                <a:pos x="connsiteX43992" y="connsiteY43992"/>
              </a:cxn>
              <a:cxn ang="0">
                <a:pos x="connsiteX43993" y="connsiteY43993"/>
              </a:cxn>
              <a:cxn ang="0">
                <a:pos x="connsiteX43994" y="connsiteY43994"/>
              </a:cxn>
              <a:cxn ang="0">
                <a:pos x="connsiteX43995" y="connsiteY43995"/>
              </a:cxn>
              <a:cxn ang="0">
                <a:pos x="connsiteX43996" y="connsiteY43996"/>
              </a:cxn>
              <a:cxn ang="0">
                <a:pos x="connsiteX43997" y="connsiteY43997"/>
              </a:cxn>
              <a:cxn ang="0">
                <a:pos x="connsiteX43998" y="connsiteY43998"/>
              </a:cxn>
              <a:cxn ang="0">
                <a:pos x="connsiteX43999" y="connsiteY43999"/>
              </a:cxn>
              <a:cxn ang="0">
                <a:pos x="connsiteX44000" y="connsiteY44000"/>
              </a:cxn>
              <a:cxn ang="0">
                <a:pos x="connsiteX44001" y="connsiteY44001"/>
              </a:cxn>
              <a:cxn ang="0">
                <a:pos x="connsiteX44002" y="connsiteY44002"/>
              </a:cxn>
              <a:cxn ang="0">
                <a:pos x="connsiteX44003" y="connsiteY44003"/>
              </a:cxn>
              <a:cxn ang="0">
                <a:pos x="connsiteX44004" y="connsiteY44004"/>
              </a:cxn>
              <a:cxn ang="0">
                <a:pos x="connsiteX44005" y="connsiteY44005"/>
              </a:cxn>
              <a:cxn ang="0">
                <a:pos x="connsiteX44006" y="connsiteY44006"/>
              </a:cxn>
              <a:cxn ang="0">
                <a:pos x="connsiteX44007" y="connsiteY44007"/>
              </a:cxn>
              <a:cxn ang="0">
                <a:pos x="connsiteX44008" y="connsiteY44008"/>
              </a:cxn>
              <a:cxn ang="0">
                <a:pos x="connsiteX44009" y="connsiteY44009"/>
              </a:cxn>
              <a:cxn ang="0">
                <a:pos x="connsiteX44010" y="connsiteY44010"/>
              </a:cxn>
              <a:cxn ang="0">
                <a:pos x="connsiteX44011" y="connsiteY44011"/>
              </a:cxn>
              <a:cxn ang="0">
                <a:pos x="connsiteX44012" y="connsiteY44012"/>
              </a:cxn>
              <a:cxn ang="0">
                <a:pos x="connsiteX44013" y="connsiteY44013"/>
              </a:cxn>
              <a:cxn ang="0">
                <a:pos x="connsiteX44014" y="connsiteY44014"/>
              </a:cxn>
              <a:cxn ang="0">
                <a:pos x="connsiteX44015" y="connsiteY44015"/>
              </a:cxn>
              <a:cxn ang="0">
                <a:pos x="connsiteX44016" y="connsiteY44016"/>
              </a:cxn>
              <a:cxn ang="0">
                <a:pos x="connsiteX44017" y="connsiteY44017"/>
              </a:cxn>
              <a:cxn ang="0">
                <a:pos x="connsiteX44018" y="connsiteY44018"/>
              </a:cxn>
              <a:cxn ang="0">
                <a:pos x="connsiteX44019" y="connsiteY44019"/>
              </a:cxn>
              <a:cxn ang="0">
                <a:pos x="connsiteX44020" y="connsiteY44020"/>
              </a:cxn>
              <a:cxn ang="0">
                <a:pos x="connsiteX44021" y="connsiteY44021"/>
              </a:cxn>
              <a:cxn ang="0">
                <a:pos x="connsiteX44022" y="connsiteY44022"/>
              </a:cxn>
              <a:cxn ang="0">
                <a:pos x="connsiteX44023" y="connsiteY44023"/>
              </a:cxn>
              <a:cxn ang="0">
                <a:pos x="connsiteX44024" y="connsiteY44024"/>
              </a:cxn>
              <a:cxn ang="0">
                <a:pos x="connsiteX44025" y="connsiteY44025"/>
              </a:cxn>
              <a:cxn ang="0">
                <a:pos x="connsiteX44026" y="connsiteY44026"/>
              </a:cxn>
              <a:cxn ang="0">
                <a:pos x="connsiteX44027" y="connsiteY44027"/>
              </a:cxn>
              <a:cxn ang="0">
                <a:pos x="connsiteX44028" y="connsiteY44028"/>
              </a:cxn>
              <a:cxn ang="0">
                <a:pos x="connsiteX44029" y="connsiteY44029"/>
              </a:cxn>
              <a:cxn ang="0">
                <a:pos x="connsiteX44030" y="connsiteY44030"/>
              </a:cxn>
              <a:cxn ang="0">
                <a:pos x="connsiteX44031" y="connsiteY44031"/>
              </a:cxn>
              <a:cxn ang="0">
                <a:pos x="connsiteX44032" y="connsiteY44032"/>
              </a:cxn>
              <a:cxn ang="0">
                <a:pos x="connsiteX44033" y="connsiteY44033"/>
              </a:cxn>
              <a:cxn ang="0">
                <a:pos x="connsiteX44034" y="connsiteY44034"/>
              </a:cxn>
              <a:cxn ang="0">
                <a:pos x="connsiteX44035" y="connsiteY44035"/>
              </a:cxn>
              <a:cxn ang="0">
                <a:pos x="connsiteX44036" y="connsiteY44036"/>
              </a:cxn>
              <a:cxn ang="0">
                <a:pos x="connsiteX44037" y="connsiteY44037"/>
              </a:cxn>
              <a:cxn ang="0">
                <a:pos x="connsiteX44038" y="connsiteY44038"/>
              </a:cxn>
              <a:cxn ang="0">
                <a:pos x="connsiteX44039" y="connsiteY44039"/>
              </a:cxn>
              <a:cxn ang="0">
                <a:pos x="connsiteX44040" y="connsiteY44040"/>
              </a:cxn>
              <a:cxn ang="0">
                <a:pos x="connsiteX44041" y="connsiteY44041"/>
              </a:cxn>
              <a:cxn ang="0">
                <a:pos x="connsiteX44042" y="connsiteY44042"/>
              </a:cxn>
              <a:cxn ang="0">
                <a:pos x="connsiteX44043" y="connsiteY44043"/>
              </a:cxn>
              <a:cxn ang="0">
                <a:pos x="connsiteX44044" y="connsiteY44044"/>
              </a:cxn>
              <a:cxn ang="0">
                <a:pos x="connsiteX44045" y="connsiteY44045"/>
              </a:cxn>
              <a:cxn ang="0">
                <a:pos x="connsiteX44046" y="connsiteY44046"/>
              </a:cxn>
              <a:cxn ang="0">
                <a:pos x="connsiteX44047" y="connsiteY44047"/>
              </a:cxn>
              <a:cxn ang="0">
                <a:pos x="connsiteX44048" y="connsiteY44048"/>
              </a:cxn>
              <a:cxn ang="0">
                <a:pos x="connsiteX44049" y="connsiteY44049"/>
              </a:cxn>
              <a:cxn ang="0">
                <a:pos x="connsiteX44050" y="connsiteY44050"/>
              </a:cxn>
              <a:cxn ang="0">
                <a:pos x="connsiteX44051" y="connsiteY44051"/>
              </a:cxn>
              <a:cxn ang="0">
                <a:pos x="connsiteX44052" y="connsiteY44052"/>
              </a:cxn>
              <a:cxn ang="0">
                <a:pos x="connsiteX44053" y="connsiteY44053"/>
              </a:cxn>
              <a:cxn ang="0">
                <a:pos x="connsiteX44054" y="connsiteY44054"/>
              </a:cxn>
              <a:cxn ang="0">
                <a:pos x="connsiteX44055" y="connsiteY44055"/>
              </a:cxn>
              <a:cxn ang="0">
                <a:pos x="connsiteX44056" y="connsiteY44056"/>
              </a:cxn>
              <a:cxn ang="0">
                <a:pos x="connsiteX44057" y="connsiteY44057"/>
              </a:cxn>
              <a:cxn ang="0">
                <a:pos x="connsiteX44058" y="connsiteY44058"/>
              </a:cxn>
              <a:cxn ang="0">
                <a:pos x="connsiteX44059" y="connsiteY44059"/>
              </a:cxn>
              <a:cxn ang="0">
                <a:pos x="connsiteX44060" y="connsiteY44060"/>
              </a:cxn>
              <a:cxn ang="0">
                <a:pos x="connsiteX44061" y="connsiteY44061"/>
              </a:cxn>
              <a:cxn ang="0">
                <a:pos x="connsiteX44062" y="connsiteY44062"/>
              </a:cxn>
              <a:cxn ang="0">
                <a:pos x="connsiteX44063" y="connsiteY44063"/>
              </a:cxn>
              <a:cxn ang="0">
                <a:pos x="connsiteX44064" y="connsiteY44064"/>
              </a:cxn>
              <a:cxn ang="0">
                <a:pos x="connsiteX44065" y="connsiteY44065"/>
              </a:cxn>
              <a:cxn ang="0">
                <a:pos x="connsiteX44066" y="connsiteY44066"/>
              </a:cxn>
              <a:cxn ang="0">
                <a:pos x="connsiteX44067" y="connsiteY44067"/>
              </a:cxn>
              <a:cxn ang="0">
                <a:pos x="connsiteX44068" y="connsiteY44068"/>
              </a:cxn>
              <a:cxn ang="0">
                <a:pos x="connsiteX44069" y="connsiteY44069"/>
              </a:cxn>
              <a:cxn ang="0">
                <a:pos x="connsiteX44070" y="connsiteY44070"/>
              </a:cxn>
              <a:cxn ang="0">
                <a:pos x="connsiteX44071" y="connsiteY44071"/>
              </a:cxn>
              <a:cxn ang="0">
                <a:pos x="connsiteX44072" y="connsiteY44072"/>
              </a:cxn>
              <a:cxn ang="0">
                <a:pos x="connsiteX44073" y="connsiteY44073"/>
              </a:cxn>
              <a:cxn ang="0">
                <a:pos x="connsiteX44074" y="connsiteY44074"/>
              </a:cxn>
              <a:cxn ang="0">
                <a:pos x="connsiteX44075" y="connsiteY44075"/>
              </a:cxn>
              <a:cxn ang="0">
                <a:pos x="connsiteX44076" y="connsiteY44076"/>
              </a:cxn>
              <a:cxn ang="0">
                <a:pos x="connsiteX44077" y="connsiteY44077"/>
              </a:cxn>
              <a:cxn ang="0">
                <a:pos x="connsiteX44078" y="connsiteY44078"/>
              </a:cxn>
              <a:cxn ang="0">
                <a:pos x="connsiteX44079" y="connsiteY44079"/>
              </a:cxn>
              <a:cxn ang="0">
                <a:pos x="connsiteX44080" y="connsiteY44080"/>
              </a:cxn>
              <a:cxn ang="0">
                <a:pos x="connsiteX44081" y="connsiteY44081"/>
              </a:cxn>
              <a:cxn ang="0">
                <a:pos x="connsiteX44082" y="connsiteY44082"/>
              </a:cxn>
              <a:cxn ang="0">
                <a:pos x="connsiteX44083" y="connsiteY44083"/>
              </a:cxn>
              <a:cxn ang="0">
                <a:pos x="connsiteX44084" y="connsiteY44084"/>
              </a:cxn>
              <a:cxn ang="0">
                <a:pos x="connsiteX44085" y="connsiteY44085"/>
              </a:cxn>
              <a:cxn ang="0">
                <a:pos x="connsiteX44086" y="connsiteY44086"/>
              </a:cxn>
              <a:cxn ang="0">
                <a:pos x="connsiteX44087" y="connsiteY44087"/>
              </a:cxn>
              <a:cxn ang="0">
                <a:pos x="connsiteX44088" y="connsiteY44088"/>
              </a:cxn>
              <a:cxn ang="0">
                <a:pos x="connsiteX44089" y="connsiteY44089"/>
              </a:cxn>
              <a:cxn ang="0">
                <a:pos x="connsiteX44090" y="connsiteY44090"/>
              </a:cxn>
              <a:cxn ang="0">
                <a:pos x="connsiteX44091" y="connsiteY44091"/>
              </a:cxn>
              <a:cxn ang="0">
                <a:pos x="connsiteX44092" y="connsiteY44092"/>
              </a:cxn>
              <a:cxn ang="0">
                <a:pos x="connsiteX44093" y="connsiteY44093"/>
              </a:cxn>
              <a:cxn ang="0">
                <a:pos x="connsiteX44094" y="connsiteY44094"/>
              </a:cxn>
              <a:cxn ang="0">
                <a:pos x="connsiteX44095" y="connsiteY44095"/>
              </a:cxn>
              <a:cxn ang="0">
                <a:pos x="connsiteX44096" y="connsiteY44096"/>
              </a:cxn>
              <a:cxn ang="0">
                <a:pos x="connsiteX44097" y="connsiteY44097"/>
              </a:cxn>
              <a:cxn ang="0">
                <a:pos x="connsiteX44098" y="connsiteY44098"/>
              </a:cxn>
              <a:cxn ang="0">
                <a:pos x="connsiteX44099" y="connsiteY44099"/>
              </a:cxn>
              <a:cxn ang="0">
                <a:pos x="connsiteX44100" y="connsiteY44100"/>
              </a:cxn>
              <a:cxn ang="0">
                <a:pos x="connsiteX44101" y="connsiteY44101"/>
              </a:cxn>
              <a:cxn ang="0">
                <a:pos x="connsiteX44102" y="connsiteY44102"/>
              </a:cxn>
              <a:cxn ang="0">
                <a:pos x="connsiteX44103" y="connsiteY44103"/>
              </a:cxn>
              <a:cxn ang="0">
                <a:pos x="connsiteX44104" y="connsiteY44104"/>
              </a:cxn>
              <a:cxn ang="0">
                <a:pos x="connsiteX44105" y="connsiteY44105"/>
              </a:cxn>
              <a:cxn ang="0">
                <a:pos x="connsiteX44106" y="connsiteY44106"/>
              </a:cxn>
              <a:cxn ang="0">
                <a:pos x="connsiteX44107" y="connsiteY44107"/>
              </a:cxn>
              <a:cxn ang="0">
                <a:pos x="connsiteX44108" y="connsiteY44108"/>
              </a:cxn>
              <a:cxn ang="0">
                <a:pos x="connsiteX44109" y="connsiteY44109"/>
              </a:cxn>
              <a:cxn ang="0">
                <a:pos x="connsiteX44110" y="connsiteY44110"/>
              </a:cxn>
              <a:cxn ang="0">
                <a:pos x="connsiteX44111" y="connsiteY44111"/>
              </a:cxn>
              <a:cxn ang="0">
                <a:pos x="connsiteX44112" y="connsiteY44112"/>
              </a:cxn>
              <a:cxn ang="0">
                <a:pos x="connsiteX44113" y="connsiteY44113"/>
              </a:cxn>
              <a:cxn ang="0">
                <a:pos x="connsiteX44114" y="connsiteY44114"/>
              </a:cxn>
              <a:cxn ang="0">
                <a:pos x="connsiteX44115" y="connsiteY44115"/>
              </a:cxn>
              <a:cxn ang="0">
                <a:pos x="connsiteX44116" y="connsiteY44116"/>
              </a:cxn>
              <a:cxn ang="0">
                <a:pos x="connsiteX44117" y="connsiteY44117"/>
              </a:cxn>
              <a:cxn ang="0">
                <a:pos x="connsiteX44118" y="connsiteY44118"/>
              </a:cxn>
              <a:cxn ang="0">
                <a:pos x="connsiteX44119" y="connsiteY44119"/>
              </a:cxn>
              <a:cxn ang="0">
                <a:pos x="connsiteX44120" y="connsiteY44120"/>
              </a:cxn>
              <a:cxn ang="0">
                <a:pos x="connsiteX44121" y="connsiteY44121"/>
              </a:cxn>
              <a:cxn ang="0">
                <a:pos x="connsiteX44122" y="connsiteY44122"/>
              </a:cxn>
              <a:cxn ang="0">
                <a:pos x="connsiteX44123" y="connsiteY44123"/>
              </a:cxn>
              <a:cxn ang="0">
                <a:pos x="connsiteX44124" y="connsiteY44124"/>
              </a:cxn>
              <a:cxn ang="0">
                <a:pos x="connsiteX44125" y="connsiteY44125"/>
              </a:cxn>
              <a:cxn ang="0">
                <a:pos x="connsiteX44126" y="connsiteY44126"/>
              </a:cxn>
              <a:cxn ang="0">
                <a:pos x="connsiteX44127" y="connsiteY44127"/>
              </a:cxn>
              <a:cxn ang="0">
                <a:pos x="connsiteX44128" y="connsiteY44128"/>
              </a:cxn>
              <a:cxn ang="0">
                <a:pos x="connsiteX44129" y="connsiteY44129"/>
              </a:cxn>
              <a:cxn ang="0">
                <a:pos x="connsiteX44130" y="connsiteY44130"/>
              </a:cxn>
              <a:cxn ang="0">
                <a:pos x="connsiteX44131" y="connsiteY44131"/>
              </a:cxn>
              <a:cxn ang="0">
                <a:pos x="connsiteX44132" y="connsiteY44132"/>
              </a:cxn>
              <a:cxn ang="0">
                <a:pos x="connsiteX44133" y="connsiteY44133"/>
              </a:cxn>
              <a:cxn ang="0">
                <a:pos x="connsiteX44134" y="connsiteY44134"/>
              </a:cxn>
              <a:cxn ang="0">
                <a:pos x="connsiteX44135" y="connsiteY44135"/>
              </a:cxn>
              <a:cxn ang="0">
                <a:pos x="connsiteX44136" y="connsiteY44136"/>
              </a:cxn>
              <a:cxn ang="0">
                <a:pos x="connsiteX44137" y="connsiteY44137"/>
              </a:cxn>
              <a:cxn ang="0">
                <a:pos x="connsiteX44138" y="connsiteY44138"/>
              </a:cxn>
              <a:cxn ang="0">
                <a:pos x="connsiteX44139" y="connsiteY44139"/>
              </a:cxn>
              <a:cxn ang="0">
                <a:pos x="connsiteX44140" y="connsiteY44140"/>
              </a:cxn>
              <a:cxn ang="0">
                <a:pos x="connsiteX44141" y="connsiteY44141"/>
              </a:cxn>
              <a:cxn ang="0">
                <a:pos x="connsiteX44142" y="connsiteY44142"/>
              </a:cxn>
              <a:cxn ang="0">
                <a:pos x="connsiteX44143" y="connsiteY44143"/>
              </a:cxn>
              <a:cxn ang="0">
                <a:pos x="connsiteX44144" y="connsiteY44144"/>
              </a:cxn>
              <a:cxn ang="0">
                <a:pos x="connsiteX44145" y="connsiteY44145"/>
              </a:cxn>
              <a:cxn ang="0">
                <a:pos x="connsiteX44146" y="connsiteY44146"/>
              </a:cxn>
              <a:cxn ang="0">
                <a:pos x="connsiteX44147" y="connsiteY44147"/>
              </a:cxn>
              <a:cxn ang="0">
                <a:pos x="connsiteX44148" y="connsiteY44148"/>
              </a:cxn>
              <a:cxn ang="0">
                <a:pos x="connsiteX44149" y="connsiteY44149"/>
              </a:cxn>
              <a:cxn ang="0">
                <a:pos x="connsiteX44150" y="connsiteY44150"/>
              </a:cxn>
              <a:cxn ang="0">
                <a:pos x="connsiteX44151" y="connsiteY44151"/>
              </a:cxn>
              <a:cxn ang="0">
                <a:pos x="connsiteX44152" y="connsiteY44152"/>
              </a:cxn>
              <a:cxn ang="0">
                <a:pos x="connsiteX44153" y="connsiteY44153"/>
              </a:cxn>
              <a:cxn ang="0">
                <a:pos x="connsiteX44154" y="connsiteY44154"/>
              </a:cxn>
              <a:cxn ang="0">
                <a:pos x="connsiteX44155" y="connsiteY44155"/>
              </a:cxn>
              <a:cxn ang="0">
                <a:pos x="connsiteX44156" y="connsiteY44156"/>
              </a:cxn>
              <a:cxn ang="0">
                <a:pos x="connsiteX44157" y="connsiteY44157"/>
              </a:cxn>
              <a:cxn ang="0">
                <a:pos x="connsiteX44158" y="connsiteY44158"/>
              </a:cxn>
              <a:cxn ang="0">
                <a:pos x="connsiteX44159" y="connsiteY44159"/>
              </a:cxn>
              <a:cxn ang="0">
                <a:pos x="connsiteX44160" y="connsiteY44160"/>
              </a:cxn>
              <a:cxn ang="0">
                <a:pos x="connsiteX44161" y="connsiteY44161"/>
              </a:cxn>
              <a:cxn ang="0">
                <a:pos x="connsiteX44162" y="connsiteY44162"/>
              </a:cxn>
              <a:cxn ang="0">
                <a:pos x="connsiteX44163" y="connsiteY44163"/>
              </a:cxn>
              <a:cxn ang="0">
                <a:pos x="connsiteX44164" y="connsiteY44164"/>
              </a:cxn>
              <a:cxn ang="0">
                <a:pos x="connsiteX44165" y="connsiteY44165"/>
              </a:cxn>
              <a:cxn ang="0">
                <a:pos x="connsiteX44166" y="connsiteY44166"/>
              </a:cxn>
              <a:cxn ang="0">
                <a:pos x="connsiteX44167" y="connsiteY44167"/>
              </a:cxn>
              <a:cxn ang="0">
                <a:pos x="connsiteX44168" y="connsiteY44168"/>
              </a:cxn>
              <a:cxn ang="0">
                <a:pos x="connsiteX44169" y="connsiteY44169"/>
              </a:cxn>
              <a:cxn ang="0">
                <a:pos x="connsiteX44170" y="connsiteY44170"/>
              </a:cxn>
              <a:cxn ang="0">
                <a:pos x="connsiteX44171" y="connsiteY44171"/>
              </a:cxn>
              <a:cxn ang="0">
                <a:pos x="connsiteX44172" y="connsiteY44172"/>
              </a:cxn>
              <a:cxn ang="0">
                <a:pos x="connsiteX44173" y="connsiteY44173"/>
              </a:cxn>
              <a:cxn ang="0">
                <a:pos x="connsiteX44174" y="connsiteY44174"/>
              </a:cxn>
              <a:cxn ang="0">
                <a:pos x="connsiteX44175" y="connsiteY44175"/>
              </a:cxn>
              <a:cxn ang="0">
                <a:pos x="connsiteX44176" y="connsiteY44176"/>
              </a:cxn>
              <a:cxn ang="0">
                <a:pos x="connsiteX44177" y="connsiteY44177"/>
              </a:cxn>
              <a:cxn ang="0">
                <a:pos x="connsiteX44178" y="connsiteY44178"/>
              </a:cxn>
              <a:cxn ang="0">
                <a:pos x="connsiteX44179" y="connsiteY44179"/>
              </a:cxn>
              <a:cxn ang="0">
                <a:pos x="connsiteX44180" y="connsiteY44180"/>
              </a:cxn>
              <a:cxn ang="0">
                <a:pos x="connsiteX44181" y="connsiteY44181"/>
              </a:cxn>
              <a:cxn ang="0">
                <a:pos x="connsiteX44182" y="connsiteY44182"/>
              </a:cxn>
              <a:cxn ang="0">
                <a:pos x="connsiteX44183" y="connsiteY44183"/>
              </a:cxn>
              <a:cxn ang="0">
                <a:pos x="connsiteX44184" y="connsiteY44184"/>
              </a:cxn>
              <a:cxn ang="0">
                <a:pos x="connsiteX44185" y="connsiteY44185"/>
              </a:cxn>
              <a:cxn ang="0">
                <a:pos x="connsiteX44186" y="connsiteY44186"/>
              </a:cxn>
              <a:cxn ang="0">
                <a:pos x="connsiteX44187" y="connsiteY44187"/>
              </a:cxn>
              <a:cxn ang="0">
                <a:pos x="connsiteX44188" y="connsiteY44188"/>
              </a:cxn>
              <a:cxn ang="0">
                <a:pos x="connsiteX44189" y="connsiteY44189"/>
              </a:cxn>
              <a:cxn ang="0">
                <a:pos x="connsiteX44190" y="connsiteY44190"/>
              </a:cxn>
              <a:cxn ang="0">
                <a:pos x="connsiteX44191" y="connsiteY44191"/>
              </a:cxn>
              <a:cxn ang="0">
                <a:pos x="connsiteX44192" y="connsiteY44192"/>
              </a:cxn>
              <a:cxn ang="0">
                <a:pos x="connsiteX44193" y="connsiteY44193"/>
              </a:cxn>
              <a:cxn ang="0">
                <a:pos x="connsiteX44194" y="connsiteY44194"/>
              </a:cxn>
              <a:cxn ang="0">
                <a:pos x="connsiteX44195" y="connsiteY44195"/>
              </a:cxn>
              <a:cxn ang="0">
                <a:pos x="connsiteX44196" y="connsiteY44196"/>
              </a:cxn>
              <a:cxn ang="0">
                <a:pos x="connsiteX44197" y="connsiteY44197"/>
              </a:cxn>
              <a:cxn ang="0">
                <a:pos x="connsiteX44198" y="connsiteY44198"/>
              </a:cxn>
              <a:cxn ang="0">
                <a:pos x="connsiteX44199" y="connsiteY44199"/>
              </a:cxn>
              <a:cxn ang="0">
                <a:pos x="connsiteX44200" y="connsiteY44200"/>
              </a:cxn>
              <a:cxn ang="0">
                <a:pos x="connsiteX44201" y="connsiteY44201"/>
              </a:cxn>
              <a:cxn ang="0">
                <a:pos x="connsiteX44202" y="connsiteY44202"/>
              </a:cxn>
              <a:cxn ang="0">
                <a:pos x="connsiteX44203" y="connsiteY44203"/>
              </a:cxn>
              <a:cxn ang="0">
                <a:pos x="connsiteX44204" y="connsiteY44204"/>
              </a:cxn>
              <a:cxn ang="0">
                <a:pos x="connsiteX44205" y="connsiteY44205"/>
              </a:cxn>
              <a:cxn ang="0">
                <a:pos x="connsiteX44206" y="connsiteY44206"/>
              </a:cxn>
              <a:cxn ang="0">
                <a:pos x="connsiteX44207" y="connsiteY44207"/>
              </a:cxn>
              <a:cxn ang="0">
                <a:pos x="connsiteX44208" y="connsiteY44208"/>
              </a:cxn>
              <a:cxn ang="0">
                <a:pos x="connsiteX44209" y="connsiteY44209"/>
              </a:cxn>
              <a:cxn ang="0">
                <a:pos x="connsiteX44210" y="connsiteY44210"/>
              </a:cxn>
              <a:cxn ang="0">
                <a:pos x="connsiteX44211" y="connsiteY44211"/>
              </a:cxn>
              <a:cxn ang="0">
                <a:pos x="connsiteX44212" y="connsiteY44212"/>
              </a:cxn>
              <a:cxn ang="0">
                <a:pos x="connsiteX44213" y="connsiteY44213"/>
              </a:cxn>
              <a:cxn ang="0">
                <a:pos x="connsiteX44214" y="connsiteY44214"/>
              </a:cxn>
              <a:cxn ang="0">
                <a:pos x="connsiteX44215" y="connsiteY44215"/>
              </a:cxn>
              <a:cxn ang="0">
                <a:pos x="connsiteX44216" y="connsiteY44216"/>
              </a:cxn>
              <a:cxn ang="0">
                <a:pos x="connsiteX44217" y="connsiteY44217"/>
              </a:cxn>
              <a:cxn ang="0">
                <a:pos x="connsiteX44218" y="connsiteY44218"/>
              </a:cxn>
              <a:cxn ang="0">
                <a:pos x="connsiteX44219" y="connsiteY44219"/>
              </a:cxn>
              <a:cxn ang="0">
                <a:pos x="connsiteX44220" y="connsiteY44220"/>
              </a:cxn>
              <a:cxn ang="0">
                <a:pos x="connsiteX44221" y="connsiteY44221"/>
              </a:cxn>
              <a:cxn ang="0">
                <a:pos x="connsiteX44222" y="connsiteY44222"/>
              </a:cxn>
              <a:cxn ang="0">
                <a:pos x="connsiteX44223" y="connsiteY44223"/>
              </a:cxn>
              <a:cxn ang="0">
                <a:pos x="connsiteX44224" y="connsiteY44224"/>
              </a:cxn>
              <a:cxn ang="0">
                <a:pos x="connsiteX44225" y="connsiteY44225"/>
              </a:cxn>
              <a:cxn ang="0">
                <a:pos x="connsiteX44226" y="connsiteY44226"/>
              </a:cxn>
              <a:cxn ang="0">
                <a:pos x="connsiteX44227" y="connsiteY44227"/>
              </a:cxn>
              <a:cxn ang="0">
                <a:pos x="connsiteX44228" y="connsiteY44228"/>
              </a:cxn>
              <a:cxn ang="0">
                <a:pos x="connsiteX44229" y="connsiteY44229"/>
              </a:cxn>
              <a:cxn ang="0">
                <a:pos x="connsiteX44230" y="connsiteY44230"/>
              </a:cxn>
              <a:cxn ang="0">
                <a:pos x="connsiteX44231" y="connsiteY44231"/>
              </a:cxn>
              <a:cxn ang="0">
                <a:pos x="connsiteX44232" y="connsiteY44232"/>
              </a:cxn>
              <a:cxn ang="0">
                <a:pos x="connsiteX44233" y="connsiteY44233"/>
              </a:cxn>
              <a:cxn ang="0">
                <a:pos x="connsiteX44234" y="connsiteY44234"/>
              </a:cxn>
              <a:cxn ang="0">
                <a:pos x="connsiteX44235" y="connsiteY44235"/>
              </a:cxn>
              <a:cxn ang="0">
                <a:pos x="connsiteX44236" y="connsiteY44236"/>
              </a:cxn>
              <a:cxn ang="0">
                <a:pos x="connsiteX44237" y="connsiteY44237"/>
              </a:cxn>
              <a:cxn ang="0">
                <a:pos x="connsiteX44238" y="connsiteY44238"/>
              </a:cxn>
              <a:cxn ang="0">
                <a:pos x="connsiteX44239" y="connsiteY44239"/>
              </a:cxn>
              <a:cxn ang="0">
                <a:pos x="connsiteX44240" y="connsiteY44240"/>
              </a:cxn>
              <a:cxn ang="0">
                <a:pos x="connsiteX44241" y="connsiteY44241"/>
              </a:cxn>
              <a:cxn ang="0">
                <a:pos x="connsiteX44242" y="connsiteY44242"/>
              </a:cxn>
              <a:cxn ang="0">
                <a:pos x="connsiteX44243" y="connsiteY44243"/>
              </a:cxn>
              <a:cxn ang="0">
                <a:pos x="connsiteX44244" y="connsiteY44244"/>
              </a:cxn>
              <a:cxn ang="0">
                <a:pos x="connsiteX44245" y="connsiteY44245"/>
              </a:cxn>
              <a:cxn ang="0">
                <a:pos x="connsiteX44246" y="connsiteY44246"/>
              </a:cxn>
              <a:cxn ang="0">
                <a:pos x="connsiteX44247" y="connsiteY44247"/>
              </a:cxn>
              <a:cxn ang="0">
                <a:pos x="connsiteX44248" y="connsiteY44248"/>
              </a:cxn>
              <a:cxn ang="0">
                <a:pos x="connsiteX44249" y="connsiteY44249"/>
              </a:cxn>
              <a:cxn ang="0">
                <a:pos x="connsiteX44250" y="connsiteY44250"/>
              </a:cxn>
              <a:cxn ang="0">
                <a:pos x="connsiteX44251" y="connsiteY44251"/>
              </a:cxn>
              <a:cxn ang="0">
                <a:pos x="connsiteX44252" y="connsiteY44252"/>
              </a:cxn>
              <a:cxn ang="0">
                <a:pos x="connsiteX44253" y="connsiteY44253"/>
              </a:cxn>
              <a:cxn ang="0">
                <a:pos x="connsiteX44254" y="connsiteY44254"/>
              </a:cxn>
              <a:cxn ang="0">
                <a:pos x="connsiteX44255" y="connsiteY44255"/>
              </a:cxn>
              <a:cxn ang="0">
                <a:pos x="connsiteX44256" y="connsiteY44256"/>
              </a:cxn>
              <a:cxn ang="0">
                <a:pos x="connsiteX44257" y="connsiteY44257"/>
              </a:cxn>
              <a:cxn ang="0">
                <a:pos x="connsiteX44258" y="connsiteY44258"/>
              </a:cxn>
              <a:cxn ang="0">
                <a:pos x="connsiteX44259" y="connsiteY44259"/>
              </a:cxn>
              <a:cxn ang="0">
                <a:pos x="connsiteX44260" y="connsiteY44260"/>
              </a:cxn>
              <a:cxn ang="0">
                <a:pos x="connsiteX44261" y="connsiteY44261"/>
              </a:cxn>
              <a:cxn ang="0">
                <a:pos x="connsiteX44262" y="connsiteY44262"/>
              </a:cxn>
              <a:cxn ang="0">
                <a:pos x="connsiteX44263" y="connsiteY44263"/>
              </a:cxn>
              <a:cxn ang="0">
                <a:pos x="connsiteX44264" y="connsiteY44264"/>
              </a:cxn>
              <a:cxn ang="0">
                <a:pos x="connsiteX44265" y="connsiteY44265"/>
              </a:cxn>
              <a:cxn ang="0">
                <a:pos x="connsiteX44266" y="connsiteY44266"/>
              </a:cxn>
              <a:cxn ang="0">
                <a:pos x="connsiteX44267" y="connsiteY44267"/>
              </a:cxn>
              <a:cxn ang="0">
                <a:pos x="connsiteX44268" y="connsiteY44268"/>
              </a:cxn>
              <a:cxn ang="0">
                <a:pos x="connsiteX44269" y="connsiteY44269"/>
              </a:cxn>
              <a:cxn ang="0">
                <a:pos x="connsiteX44270" y="connsiteY44270"/>
              </a:cxn>
              <a:cxn ang="0">
                <a:pos x="connsiteX44271" y="connsiteY44271"/>
              </a:cxn>
              <a:cxn ang="0">
                <a:pos x="connsiteX44272" y="connsiteY44272"/>
              </a:cxn>
              <a:cxn ang="0">
                <a:pos x="connsiteX44273" y="connsiteY44273"/>
              </a:cxn>
              <a:cxn ang="0">
                <a:pos x="connsiteX44274" y="connsiteY44274"/>
              </a:cxn>
              <a:cxn ang="0">
                <a:pos x="connsiteX44275" y="connsiteY44275"/>
              </a:cxn>
              <a:cxn ang="0">
                <a:pos x="connsiteX44276" y="connsiteY44276"/>
              </a:cxn>
              <a:cxn ang="0">
                <a:pos x="connsiteX44277" y="connsiteY44277"/>
              </a:cxn>
              <a:cxn ang="0">
                <a:pos x="connsiteX44278" y="connsiteY44278"/>
              </a:cxn>
              <a:cxn ang="0">
                <a:pos x="connsiteX44279" y="connsiteY44279"/>
              </a:cxn>
              <a:cxn ang="0">
                <a:pos x="connsiteX44280" y="connsiteY44280"/>
              </a:cxn>
              <a:cxn ang="0">
                <a:pos x="connsiteX44281" y="connsiteY44281"/>
              </a:cxn>
              <a:cxn ang="0">
                <a:pos x="connsiteX44282" y="connsiteY44282"/>
              </a:cxn>
              <a:cxn ang="0">
                <a:pos x="connsiteX44283" y="connsiteY44283"/>
              </a:cxn>
              <a:cxn ang="0">
                <a:pos x="connsiteX44284" y="connsiteY44284"/>
              </a:cxn>
              <a:cxn ang="0">
                <a:pos x="connsiteX44285" y="connsiteY44285"/>
              </a:cxn>
              <a:cxn ang="0">
                <a:pos x="connsiteX44286" y="connsiteY44286"/>
              </a:cxn>
              <a:cxn ang="0">
                <a:pos x="connsiteX44287" y="connsiteY44287"/>
              </a:cxn>
              <a:cxn ang="0">
                <a:pos x="connsiteX44288" y="connsiteY44288"/>
              </a:cxn>
              <a:cxn ang="0">
                <a:pos x="connsiteX44289" y="connsiteY44289"/>
              </a:cxn>
              <a:cxn ang="0">
                <a:pos x="connsiteX44290" y="connsiteY44290"/>
              </a:cxn>
              <a:cxn ang="0">
                <a:pos x="connsiteX44291" y="connsiteY44291"/>
              </a:cxn>
              <a:cxn ang="0">
                <a:pos x="connsiteX44292" y="connsiteY44292"/>
              </a:cxn>
              <a:cxn ang="0">
                <a:pos x="connsiteX44293" y="connsiteY44293"/>
              </a:cxn>
              <a:cxn ang="0">
                <a:pos x="connsiteX44294" y="connsiteY44294"/>
              </a:cxn>
              <a:cxn ang="0">
                <a:pos x="connsiteX44295" y="connsiteY44295"/>
              </a:cxn>
              <a:cxn ang="0">
                <a:pos x="connsiteX44296" y="connsiteY44296"/>
              </a:cxn>
              <a:cxn ang="0">
                <a:pos x="connsiteX44297" y="connsiteY44297"/>
              </a:cxn>
              <a:cxn ang="0">
                <a:pos x="connsiteX44298" y="connsiteY44298"/>
              </a:cxn>
              <a:cxn ang="0">
                <a:pos x="connsiteX44299" y="connsiteY44299"/>
              </a:cxn>
              <a:cxn ang="0">
                <a:pos x="connsiteX44300" y="connsiteY44300"/>
              </a:cxn>
              <a:cxn ang="0">
                <a:pos x="connsiteX44301" y="connsiteY44301"/>
              </a:cxn>
              <a:cxn ang="0">
                <a:pos x="connsiteX44302" y="connsiteY44302"/>
              </a:cxn>
              <a:cxn ang="0">
                <a:pos x="connsiteX44303" y="connsiteY44303"/>
              </a:cxn>
              <a:cxn ang="0">
                <a:pos x="connsiteX44304" y="connsiteY44304"/>
              </a:cxn>
              <a:cxn ang="0">
                <a:pos x="connsiteX44305" y="connsiteY44305"/>
              </a:cxn>
              <a:cxn ang="0">
                <a:pos x="connsiteX44306" y="connsiteY44306"/>
              </a:cxn>
              <a:cxn ang="0">
                <a:pos x="connsiteX44307" y="connsiteY44307"/>
              </a:cxn>
              <a:cxn ang="0">
                <a:pos x="connsiteX44308" y="connsiteY44308"/>
              </a:cxn>
              <a:cxn ang="0">
                <a:pos x="connsiteX44309" y="connsiteY44309"/>
              </a:cxn>
              <a:cxn ang="0">
                <a:pos x="connsiteX44310" y="connsiteY44310"/>
              </a:cxn>
              <a:cxn ang="0">
                <a:pos x="connsiteX44311" y="connsiteY44311"/>
              </a:cxn>
              <a:cxn ang="0">
                <a:pos x="connsiteX44312" y="connsiteY44312"/>
              </a:cxn>
              <a:cxn ang="0">
                <a:pos x="connsiteX44313" y="connsiteY44313"/>
              </a:cxn>
              <a:cxn ang="0">
                <a:pos x="connsiteX44314" y="connsiteY44314"/>
              </a:cxn>
              <a:cxn ang="0">
                <a:pos x="connsiteX44315" y="connsiteY44315"/>
              </a:cxn>
              <a:cxn ang="0">
                <a:pos x="connsiteX44316" y="connsiteY44316"/>
              </a:cxn>
              <a:cxn ang="0">
                <a:pos x="connsiteX44317" y="connsiteY44317"/>
              </a:cxn>
              <a:cxn ang="0">
                <a:pos x="connsiteX44318" y="connsiteY44318"/>
              </a:cxn>
              <a:cxn ang="0">
                <a:pos x="connsiteX44319" y="connsiteY44319"/>
              </a:cxn>
              <a:cxn ang="0">
                <a:pos x="connsiteX44320" y="connsiteY44320"/>
              </a:cxn>
              <a:cxn ang="0">
                <a:pos x="connsiteX44321" y="connsiteY44321"/>
              </a:cxn>
              <a:cxn ang="0">
                <a:pos x="connsiteX44322" y="connsiteY44322"/>
              </a:cxn>
              <a:cxn ang="0">
                <a:pos x="connsiteX44323" y="connsiteY44323"/>
              </a:cxn>
              <a:cxn ang="0">
                <a:pos x="connsiteX44324" y="connsiteY44324"/>
              </a:cxn>
              <a:cxn ang="0">
                <a:pos x="connsiteX44325" y="connsiteY44325"/>
              </a:cxn>
              <a:cxn ang="0">
                <a:pos x="connsiteX44326" y="connsiteY44326"/>
              </a:cxn>
              <a:cxn ang="0">
                <a:pos x="connsiteX44327" y="connsiteY44327"/>
              </a:cxn>
              <a:cxn ang="0">
                <a:pos x="connsiteX44328" y="connsiteY44328"/>
              </a:cxn>
              <a:cxn ang="0">
                <a:pos x="connsiteX44329" y="connsiteY44329"/>
              </a:cxn>
              <a:cxn ang="0">
                <a:pos x="connsiteX44330" y="connsiteY44330"/>
              </a:cxn>
              <a:cxn ang="0">
                <a:pos x="connsiteX44331" y="connsiteY44331"/>
              </a:cxn>
              <a:cxn ang="0">
                <a:pos x="connsiteX44332" y="connsiteY44332"/>
              </a:cxn>
              <a:cxn ang="0">
                <a:pos x="connsiteX44333" y="connsiteY44333"/>
              </a:cxn>
              <a:cxn ang="0">
                <a:pos x="connsiteX44334" y="connsiteY44334"/>
              </a:cxn>
              <a:cxn ang="0">
                <a:pos x="connsiteX44335" y="connsiteY44335"/>
              </a:cxn>
              <a:cxn ang="0">
                <a:pos x="connsiteX44336" y="connsiteY44336"/>
              </a:cxn>
              <a:cxn ang="0">
                <a:pos x="connsiteX44337" y="connsiteY44337"/>
              </a:cxn>
              <a:cxn ang="0">
                <a:pos x="connsiteX44338" y="connsiteY44338"/>
              </a:cxn>
              <a:cxn ang="0">
                <a:pos x="connsiteX44339" y="connsiteY44339"/>
              </a:cxn>
              <a:cxn ang="0">
                <a:pos x="connsiteX44340" y="connsiteY44340"/>
              </a:cxn>
              <a:cxn ang="0">
                <a:pos x="connsiteX44341" y="connsiteY44341"/>
              </a:cxn>
              <a:cxn ang="0">
                <a:pos x="connsiteX44342" y="connsiteY44342"/>
              </a:cxn>
              <a:cxn ang="0">
                <a:pos x="connsiteX44343" y="connsiteY44343"/>
              </a:cxn>
              <a:cxn ang="0">
                <a:pos x="connsiteX44344" y="connsiteY44344"/>
              </a:cxn>
              <a:cxn ang="0">
                <a:pos x="connsiteX44345" y="connsiteY44345"/>
              </a:cxn>
              <a:cxn ang="0">
                <a:pos x="connsiteX44346" y="connsiteY44346"/>
              </a:cxn>
              <a:cxn ang="0">
                <a:pos x="connsiteX44347" y="connsiteY44347"/>
              </a:cxn>
              <a:cxn ang="0">
                <a:pos x="connsiteX44348" y="connsiteY44348"/>
              </a:cxn>
              <a:cxn ang="0">
                <a:pos x="connsiteX44349" y="connsiteY44349"/>
              </a:cxn>
              <a:cxn ang="0">
                <a:pos x="connsiteX44350" y="connsiteY44350"/>
              </a:cxn>
              <a:cxn ang="0">
                <a:pos x="connsiteX44351" y="connsiteY44351"/>
              </a:cxn>
              <a:cxn ang="0">
                <a:pos x="connsiteX44352" y="connsiteY44352"/>
              </a:cxn>
              <a:cxn ang="0">
                <a:pos x="connsiteX44353" y="connsiteY44353"/>
              </a:cxn>
              <a:cxn ang="0">
                <a:pos x="connsiteX44354" y="connsiteY44354"/>
              </a:cxn>
              <a:cxn ang="0">
                <a:pos x="connsiteX44355" y="connsiteY44355"/>
              </a:cxn>
              <a:cxn ang="0">
                <a:pos x="connsiteX44356" y="connsiteY44356"/>
              </a:cxn>
              <a:cxn ang="0">
                <a:pos x="connsiteX44357" y="connsiteY44357"/>
              </a:cxn>
              <a:cxn ang="0">
                <a:pos x="connsiteX44358" y="connsiteY44358"/>
              </a:cxn>
              <a:cxn ang="0">
                <a:pos x="connsiteX44359" y="connsiteY44359"/>
              </a:cxn>
              <a:cxn ang="0">
                <a:pos x="connsiteX44360" y="connsiteY44360"/>
              </a:cxn>
              <a:cxn ang="0">
                <a:pos x="connsiteX44361" y="connsiteY44361"/>
              </a:cxn>
              <a:cxn ang="0">
                <a:pos x="connsiteX44362" y="connsiteY44362"/>
              </a:cxn>
              <a:cxn ang="0">
                <a:pos x="connsiteX44363" y="connsiteY44363"/>
              </a:cxn>
              <a:cxn ang="0">
                <a:pos x="connsiteX44364" y="connsiteY44364"/>
              </a:cxn>
              <a:cxn ang="0">
                <a:pos x="connsiteX44365" y="connsiteY44365"/>
              </a:cxn>
              <a:cxn ang="0">
                <a:pos x="connsiteX44366" y="connsiteY44366"/>
              </a:cxn>
              <a:cxn ang="0">
                <a:pos x="connsiteX44367" y="connsiteY44367"/>
              </a:cxn>
              <a:cxn ang="0">
                <a:pos x="connsiteX44368" y="connsiteY44368"/>
              </a:cxn>
              <a:cxn ang="0">
                <a:pos x="connsiteX44369" y="connsiteY44369"/>
              </a:cxn>
              <a:cxn ang="0">
                <a:pos x="connsiteX44370" y="connsiteY44370"/>
              </a:cxn>
              <a:cxn ang="0">
                <a:pos x="connsiteX44371" y="connsiteY44371"/>
              </a:cxn>
              <a:cxn ang="0">
                <a:pos x="connsiteX44372" y="connsiteY44372"/>
              </a:cxn>
              <a:cxn ang="0">
                <a:pos x="connsiteX44373" y="connsiteY44373"/>
              </a:cxn>
              <a:cxn ang="0">
                <a:pos x="connsiteX44374" y="connsiteY44374"/>
              </a:cxn>
              <a:cxn ang="0">
                <a:pos x="connsiteX44375" y="connsiteY44375"/>
              </a:cxn>
              <a:cxn ang="0">
                <a:pos x="connsiteX44376" y="connsiteY44376"/>
              </a:cxn>
              <a:cxn ang="0">
                <a:pos x="connsiteX44377" y="connsiteY44377"/>
              </a:cxn>
              <a:cxn ang="0">
                <a:pos x="connsiteX44378" y="connsiteY44378"/>
              </a:cxn>
              <a:cxn ang="0">
                <a:pos x="connsiteX44379" y="connsiteY44379"/>
              </a:cxn>
              <a:cxn ang="0">
                <a:pos x="connsiteX44380" y="connsiteY44380"/>
              </a:cxn>
              <a:cxn ang="0">
                <a:pos x="connsiteX44381" y="connsiteY44381"/>
              </a:cxn>
              <a:cxn ang="0">
                <a:pos x="connsiteX44382" y="connsiteY44382"/>
              </a:cxn>
              <a:cxn ang="0">
                <a:pos x="connsiteX44383" y="connsiteY44383"/>
              </a:cxn>
              <a:cxn ang="0">
                <a:pos x="connsiteX44384" y="connsiteY44384"/>
              </a:cxn>
              <a:cxn ang="0">
                <a:pos x="connsiteX44385" y="connsiteY44385"/>
              </a:cxn>
              <a:cxn ang="0">
                <a:pos x="connsiteX44386" y="connsiteY44386"/>
              </a:cxn>
              <a:cxn ang="0">
                <a:pos x="connsiteX44387" y="connsiteY44387"/>
              </a:cxn>
              <a:cxn ang="0">
                <a:pos x="connsiteX44388" y="connsiteY44388"/>
              </a:cxn>
              <a:cxn ang="0">
                <a:pos x="connsiteX44389" y="connsiteY44389"/>
              </a:cxn>
              <a:cxn ang="0">
                <a:pos x="connsiteX44390" y="connsiteY44390"/>
              </a:cxn>
              <a:cxn ang="0">
                <a:pos x="connsiteX44391" y="connsiteY44391"/>
              </a:cxn>
              <a:cxn ang="0">
                <a:pos x="connsiteX44392" y="connsiteY44392"/>
              </a:cxn>
              <a:cxn ang="0">
                <a:pos x="connsiteX44393" y="connsiteY44393"/>
              </a:cxn>
              <a:cxn ang="0">
                <a:pos x="connsiteX44394" y="connsiteY44394"/>
              </a:cxn>
              <a:cxn ang="0">
                <a:pos x="connsiteX44395" y="connsiteY44395"/>
              </a:cxn>
              <a:cxn ang="0">
                <a:pos x="connsiteX44396" y="connsiteY44396"/>
              </a:cxn>
              <a:cxn ang="0">
                <a:pos x="connsiteX44397" y="connsiteY44397"/>
              </a:cxn>
              <a:cxn ang="0">
                <a:pos x="connsiteX44398" y="connsiteY44398"/>
              </a:cxn>
              <a:cxn ang="0">
                <a:pos x="connsiteX44399" y="connsiteY44399"/>
              </a:cxn>
              <a:cxn ang="0">
                <a:pos x="connsiteX44400" y="connsiteY44400"/>
              </a:cxn>
              <a:cxn ang="0">
                <a:pos x="connsiteX44401" y="connsiteY44401"/>
              </a:cxn>
              <a:cxn ang="0">
                <a:pos x="connsiteX44402" y="connsiteY44402"/>
              </a:cxn>
              <a:cxn ang="0">
                <a:pos x="connsiteX44403" y="connsiteY44403"/>
              </a:cxn>
              <a:cxn ang="0">
                <a:pos x="connsiteX44404" y="connsiteY44404"/>
              </a:cxn>
              <a:cxn ang="0">
                <a:pos x="connsiteX44405" y="connsiteY44405"/>
              </a:cxn>
              <a:cxn ang="0">
                <a:pos x="connsiteX44406" y="connsiteY44406"/>
              </a:cxn>
              <a:cxn ang="0">
                <a:pos x="connsiteX44407" y="connsiteY44407"/>
              </a:cxn>
              <a:cxn ang="0">
                <a:pos x="connsiteX44408" y="connsiteY44408"/>
              </a:cxn>
              <a:cxn ang="0">
                <a:pos x="connsiteX44409" y="connsiteY44409"/>
              </a:cxn>
              <a:cxn ang="0">
                <a:pos x="connsiteX44410" y="connsiteY44410"/>
              </a:cxn>
              <a:cxn ang="0">
                <a:pos x="connsiteX44411" y="connsiteY44411"/>
              </a:cxn>
              <a:cxn ang="0">
                <a:pos x="connsiteX44412" y="connsiteY44412"/>
              </a:cxn>
              <a:cxn ang="0">
                <a:pos x="connsiteX44413" y="connsiteY44413"/>
              </a:cxn>
              <a:cxn ang="0">
                <a:pos x="connsiteX44414" y="connsiteY44414"/>
              </a:cxn>
              <a:cxn ang="0">
                <a:pos x="connsiteX44415" y="connsiteY44415"/>
              </a:cxn>
              <a:cxn ang="0">
                <a:pos x="connsiteX44416" y="connsiteY44416"/>
              </a:cxn>
              <a:cxn ang="0">
                <a:pos x="connsiteX44417" y="connsiteY44417"/>
              </a:cxn>
              <a:cxn ang="0">
                <a:pos x="connsiteX44418" y="connsiteY44418"/>
              </a:cxn>
              <a:cxn ang="0">
                <a:pos x="connsiteX44419" y="connsiteY44419"/>
              </a:cxn>
              <a:cxn ang="0">
                <a:pos x="connsiteX44420" y="connsiteY44420"/>
              </a:cxn>
              <a:cxn ang="0">
                <a:pos x="connsiteX44421" y="connsiteY44421"/>
              </a:cxn>
              <a:cxn ang="0">
                <a:pos x="connsiteX44422" y="connsiteY44422"/>
              </a:cxn>
              <a:cxn ang="0">
                <a:pos x="connsiteX44423" y="connsiteY44423"/>
              </a:cxn>
              <a:cxn ang="0">
                <a:pos x="connsiteX44424" y="connsiteY44424"/>
              </a:cxn>
              <a:cxn ang="0">
                <a:pos x="connsiteX44425" y="connsiteY44425"/>
              </a:cxn>
              <a:cxn ang="0">
                <a:pos x="connsiteX44426" y="connsiteY44426"/>
              </a:cxn>
              <a:cxn ang="0">
                <a:pos x="connsiteX44427" y="connsiteY44427"/>
              </a:cxn>
              <a:cxn ang="0">
                <a:pos x="connsiteX44428" y="connsiteY44428"/>
              </a:cxn>
              <a:cxn ang="0">
                <a:pos x="connsiteX44429" y="connsiteY44429"/>
              </a:cxn>
              <a:cxn ang="0">
                <a:pos x="connsiteX44430" y="connsiteY44430"/>
              </a:cxn>
              <a:cxn ang="0">
                <a:pos x="connsiteX44431" y="connsiteY44431"/>
              </a:cxn>
              <a:cxn ang="0">
                <a:pos x="connsiteX44432" y="connsiteY44432"/>
              </a:cxn>
              <a:cxn ang="0">
                <a:pos x="connsiteX44433" y="connsiteY44433"/>
              </a:cxn>
              <a:cxn ang="0">
                <a:pos x="connsiteX44434" y="connsiteY44434"/>
              </a:cxn>
              <a:cxn ang="0">
                <a:pos x="connsiteX44435" y="connsiteY44435"/>
              </a:cxn>
              <a:cxn ang="0">
                <a:pos x="connsiteX44436" y="connsiteY44436"/>
              </a:cxn>
              <a:cxn ang="0">
                <a:pos x="connsiteX44437" y="connsiteY44437"/>
              </a:cxn>
              <a:cxn ang="0">
                <a:pos x="connsiteX44438" y="connsiteY44438"/>
              </a:cxn>
              <a:cxn ang="0">
                <a:pos x="connsiteX44439" y="connsiteY44439"/>
              </a:cxn>
              <a:cxn ang="0">
                <a:pos x="connsiteX44440" y="connsiteY44440"/>
              </a:cxn>
              <a:cxn ang="0">
                <a:pos x="connsiteX44441" y="connsiteY44441"/>
              </a:cxn>
              <a:cxn ang="0">
                <a:pos x="connsiteX44442" y="connsiteY44442"/>
              </a:cxn>
              <a:cxn ang="0">
                <a:pos x="connsiteX44443" y="connsiteY44443"/>
              </a:cxn>
              <a:cxn ang="0">
                <a:pos x="connsiteX44444" y="connsiteY44444"/>
              </a:cxn>
              <a:cxn ang="0">
                <a:pos x="connsiteX44445" y="connsiteY44445"/>
              </a:cxn>
              <a:cxn ang="0">
                <a:pos x="connsiteX44446" y="connsiteY44446"/>
              </a:cxn>
              <a:cxn ang="0">
                <a:pos x="connsiteX44447" y="connsiteY44447"/>
              </a:cxn>
              <a:cxn ang="0">
                <a:pos x="connsiteX44448" y="connsiteY44448"/>
              </a:cxn>
              <a:cxn ang="0">
                <a:pos x="connsiteX44449" y="connsiteY44449"/>
              </a:cxn>
              <a:cxn ang="0">
                <a:pos x="connsiteX44450" y="connsiteY44450"/>
              </a:cxn>
              <a:cxn ang="0">
                <a:pos x="connsiteX44451" y="connsiteY44451"/>
              </a:cxn>
              <a:cxn ang="0">
                <a:pos x="connsiteX44452" y="connsiteY44452"/>
              </a:cxn>
              <a:cxn ang="0">
                <a:pos x="connsiteX44453" y="connsiteY44453"/>
              </a:cxn>
              <a:cxn ang="0">
                <a:pos x="connsiteX44454" y="connsiteY44454"/>
              </a:cxn>
              <a:cxn ang="0">
                <a:pos x="connsiteX44455" y="connsiteY44455"/>
              </a:cxn>
              <a:cxn ang="0">
                <a:pos x="connsiteX44456" y="connsiteY44456"/>
              </a:cxn>
              <a:cxn ang="0">
                <a:pos x="connsiteX44457" y="connsiteY44457"/>
              </a:cxn>
              <a:cxn ang="0">
                <a:pos x="connsiteX44458" y="connsiteY44458"/>
              </a:cxn>
              <a:cxn ang="0">
                <a:pos x="connsiteX44459" y="connsiteY44459"/>
              </a:cxn>
              <a:cxn ang="0">
                <a:pos x="connsiteX44460" y="connsiteY44460"/>
              </a:cxn>
              <a:cxn ang="0">
                <a:pos x="connsiteX44461" y="connsiteY44461"/>
              </a:cxn>
              <a:cxn ang="0">
                <a:pos x="connsiteX44462" y="connsiteY44462"/>
              </a:cxn>
              <a:cxn ang="0">
                <a:pos x="connsiteX44463" y="connsiteY44463"/>
              </a:cxn>
              <a:cxn ang="0">
                <a:pos x="connsiteX44464" y="connsiteY44464"/>
              </a:cxn>
              <a:cxn ang="0">
                <a:pos x="connsiteX44465" y="connsiteY44465"/>
              </a:cxn>
              <a:cxn ang="0">
                <a:pos x="connsiteX44466" y="connsiteY44466"/>
              </a:cxn>
              <a:cxn ang="0">
                <a:pos x="connsiteX44467" y="connsiteY44467"/>
              </a:cxn>
              <a:cxn ang="0">
                <a:pos x="connsiteX44468" y="connsiteY44468"/>
              </a:cxn>
              <a:cxn ang="0">
                <a:pos x="connsiteX44469" y="connsiteY44469"/>
              </a:cxn>
              <a:cxn ang="0">
                <a:pos x="connsiteX44470" y="connsiteY44470"/>
              </a:cxn>
              <a:cxn ang="0">
                <a:pos x="connsiteX44471" y="connsiteY44471"/>
              </a:cxn>
              <a:cxn ang="0">
                <a:pos x="connsiteX44472" y="connsiteY44472"/>
              </a:cxn>
              <a:cxn ang="0">
                <a:pos x="connsiteX44473" y="connsiteY44473"/>
              </a:cxn>
              <a:cxn ang="0">
                <a:pos x="connsiteX44474" y="connsiteY44474"/>
              </a:cxn>
              <a:cxn ang="0">
                <a:pos x="connsiteX44475" y="connsiteY44475"/>
              </a:cxn>
              <a:cxn ang="0">
                <a:pos x="connsiteX44476" y="connsiteY44476"/>
              </a:cxn>
              <a:cxn ang="0">
                <a:pos x="connsiteX44477" y="connsiteY44477"/>
              </a:cxn>
              <a:cxn ang="0">
                <a:pos x="connsiteX44478" y="connsiteY44478"/>
              </a:cxn>
              <a:cxn ang="0">
                <a:pos x="connsiteX44479" y="connsiteY44479"/>
              </a:cxn>
              <a:cxn ang="0">
                <a:pos x="connsiteX44480" y="connsiteY44480"/>
              </a:cxn>
              <a:cxn ang="0">
                <a:pos x="connsiteX44481" y="connsiteY44481"/>
              </a:cxn>
              <a:cxn ang="0">
                <a:pos x="connsiteX44482" y="connsiteY44482"/>
              </a:cxn>
              <a:cxn ang="0">
                <a:pos x="connsiteX44483" y="connsiteY44483"/>
              </a:cxn>
              <a:cxn ang="0">
                <a:pos x="connsiteX44484" y="connsiteY44484"/>
              </a:cxn>
              <a:cxn ang="0">
                <a:pos x="connsiteX44485" y="connsiteY44485"/>
              </a:cxn>
              <a:cxn ang="0">
                <a:pos x="connsiteX44486" y="connsiteY44486"/>
              </a:cxn>
              <a:cxn ang="0">
                <a:pos x="connsiteX44487" y="connsiteY44487"/>
              </a:cxn>
              <a:cxn ang="0">
                <a:pos x="connsiteX44488" y="connsiteY44488"/>
              </a:cxn>
              <a:cxn ang="0">
                <a:pos x="connsiteX44489" y="connsiteY44489"/>
              </a:cxn>
              <a:cxn ang="0">
                <a:pos x="connsiteX44490" y="connsiteY44490"/>
              </a:cxn>
              <a:cxn ang="0">
                <a:pos x="connsiteX44491" y="connsiteY44491"/>
              </a:cxn>
              <a:cxn ang="0">
                <a:pos x="connsiteX44492" y="connsiteY44492"/>
              </a:cxn>
              <a:cxn ang="0">
                <a:pos x="connsiteX44493" y="connsiteY44493"/>
              </a:cxn>
              <a:cxn ang="0">
                <a:pos x="connsiteX44494" y="connsiteY44494"/>
              </a:cxn>
              <a:cxn ang="0">
                <a:pos x="connsiteX44495" y="connsiteY44495"/>
              </a:cxn>
              <a:cxn ang="0">
                <a:pos x="connsiteX44496" y="connsiteY44496"/>
              </a:cxn>
              <a:cxn ang="0">
                <a:pos x="connsiteX44497" y="connsiteY44497"/>
              </a:cxn>
              <a:cxn ang="0">
                <a:pos x="connsiteX44498" y="connsiteY44498"/>
              </a:cxn>
              <a:cxn ang="0">
                <a:pos x="connsiteX44499" y="connsiteY44499"/>
              </a:cxn>
              <a:cxn ang="0">
                <a:pos x="connsiteX44500" y="connsiteY44500"/>
              </a:cxn>
              <a:cxn ang="0">
                <a:pos x="connsiteX44501" y="connsiteY44501"/>
              </a:cxn>
              <a:cxn ang="0">
                <a:pos x="connsiteX44502" y="connsiteY44502"/>
              </a:cxn>
              <a:cxn ang="0">
                <a:pos x="connsiteX44503" y="connsiteY44503"/>
              </a:cxn>
              <a:cxn ang="0">
                <a:pos x="connsiteX44504" y="connsiteY44504"/>
              </a:cxn>
              <a:cxn ang="0">
                <a:pos x="connsiteX44505" y="connsiteY44505"/>
              </a:cxn>
              <a:cxn ang="0">
                <a:pos x="connsiteX44506" y="connsiteY44506"/>
              </a:cxn>
              <a:cxn ang="0">
                <a:pos x="connsiteX44507" y="connsiteY44507"/>
              </a:cxn>
              <a:cxn ang="0">
                <a:pos x="connsiteX44508" y="connsiteY44508"/>
              </a:cxn>
              <a:cxn ang="0">
                <a:pos x="connsiteX44509" y="connsiteY44509"/>
              </a:cxn>
              <a:cxn ang="0">
                <a:pos x="connsiteX44510" y="connsiteY44510"/>
              </a:cxn>
              <a:cxn ang="0">
                <a:pos x="connsiteX44511" y="connsiteY44511"/>
              </a:cxn>
              <a:cxn ang="0">
                <a:pos x="connsiteX44512" y="connsiteY44512"/>
              </a:cxn>
              <a:cxn ang="0">
                <a:pos x="connsiteX44513" y="connsiteY44513"/>
              </a:cxn>
              <a:cxn ang="0">
                <a:pos x="connsiteX44514" y="connsiteY44514"/>
              </a:cxn>
              <a:cxn ang="0">
                <a:pos x="connsiteX44515" y="connsiteY44515"/>
              </a:cxn>
              <a:cxn ang="0">
                <a:pos x="connsiteX44516" y="connsiteY44516"/>
              </a:cxn>
              <a:cxn ang="0">
                <a:pos x="connsiteX44517" y="connsiteY44517"/>
              </a:cxn>
              <a:cxn ang="0">
                <a:pos x="connsiteX44518" y="connsiteY44518"/>
              </a:cxn>
              <a:cxn ang="0">
                <a:pos x="connsiteX44519" y="connsiteY44519"/>
              </a:cxn>
              <a:cxn ang="0">
                <a:pos x="connsiteX44520" y="connsiteY44520"/>
              </a:cxn>
              <a:cxn ang="0">
                <a:pos x="connsiteX44521" y="connsiteY44521"/>
              </a:cxn>
              <a:cxn ang="0">
                <a:pos x="connsiteX44522" y="connsiteY44522"/>
              </a:cxn>
              <a:cxn ang="0">
                <a:pos x="connsiteX44523" y="connsiteY44523"/>
              </a:cxn>
              <a:cxn ang="0">
                <a:pos x="connsiteX44524" y="connsiteY44524"/>
              </a:cxn>
              <a:cxn ang="0">
                <a:pos x="connsiteX44525" y="connsiteY44525"/>
              </a:cxn>
              <a:cxn ang="0">
                <a:pos x="connsiteX44526" y="connsiteY44526"/>
              </a:cxn>
              <a:cxn ang="0">
                <a:pos x="connsiteX44527" y="connsiteY44527"/>
              </a:cxn>
              <a:cxn ang="0">
                <a:pos x="connsiteX44528" y="connsiteY44528"/>
              </a:cxn>
              <a:cxn ang="0">
                <a:pos x="connsiteX44529" y="connsiteY44529"/>
              </a:cxn>
              <a:cxn ang="0">
                <a:pos x="connsiteX44530" y="connsiteY44530"/>
              </a:cxn>
              <a:cxn ang="0">
                <a:pos x="connsiteX44531" y="connsiteY44531"/>
              </a:cxn>
              <a:cxn ang="0">
                <a:pos x="connsiteX44532" y="connsiteY44532"/>
              </a:cxn>
              <a:cxn ang="0">
                <a:pos x="connsiteX44533" y="connsiteY44533"/>
              </a:cxn>
              <a:cxn ang="0">
                <a:pos x="connsiteX44534" y="connsiteY44534"/>
              </a:cxn>
              <a:cxn ang="0">
                <a:pos x="connsiteX44535" y="connsiteY44535"/>
              </a:cxn>
              <a:cxn ang="0">
                <a:pos x="connsiteX44536" y="connsiteY44536"/>
              </a:cxn>
              <a:cxn ang="0">
                <a:pos x="connsiteX44537" y="connsiteY44537"/>
              </a:cxn>
              <a:cxn ang="0">
                <a:pos x="connsiteX44538" y="connsiteY44538"/>
              </a:cxn>
              <a:cxn ang="0">
                <a:pos x="connsiteX44539" y="connsiteY44539"/>
              </a:cxn>
              <a:cxn ang="0">
                <a:pos x="connsiteX44540" y="connsiteY44540"/>
              </a:cxn>
              <a:cxn ang="0">
                <a:pos x="connsiteX44541" y="connsiteY44541"/>
              </a:cxn>
              <a:cxn ang="0">
                <a:pos x="connsiteX44542" y="connsiteY44542"/>
              </a:cxn>
              <a:cxn ang="0">
                <a:pos x="connsiteX44543" y="connsiteY44543"/>
              </a:cxn>
              <a:cxn ang="0">
                <a:pos x="connsiteX44544" y="connsiteY44544"/>
              </a:cxn>
              <a:cxn ang="0">
                <a:pos x="connsiteX44545" y="connsiteY44545"/>
              </a:cxn>
              <a:cxn ang="0">
                <a:pos x="connsiteX44546" y="connsiteY44546"/>
              </a:cxn>
              <a:cxn ang="0">
                <a:pos x="connsiteX44547" y="connsiteY44547"/>
              </a:cxn>
              <a:cxn ang="0">
                <a:pos x="connsiteX44548" y="connsiteY44548"/>
              </a:cxn>
              <a:cxn ang="0">
                <a:pos x="connsiteX44549" y="connsiteY44549"/>
              </a:cxn>
              <a:cxn ang="0">
                <a:pos x="connsiteX44550" y="connsiteY44550"/>
              </a:cxn>
              <a:cxn ang="0">
                <a:pos x="connsiteX44551" y="connsiteY44551"/>
              </a:cxn>
              <a:cxn ang="0">
                <a:pos x="connsiteX44552" y="connsiteY44552"/>
              </a:cxn>
              <a:cxn ang="0">
                <a:pos x="connsiteX44553" y="connsiteY44553"/>
              </a:cxn>
              <a:cxn ang="0">
                <a:pos x="connsiteX44554" y="connsiteY44554"/>
              </a:cxn>
              <a:cxn ang="0">
                <a:pos x="connsiteX44555" y="connsiteY44555"/>
              </a:cxn>
              <a:cxn ang="0">
                <a:pos x="connsiteX44556" y="connsiteY44556"/>
              </a:cxn>
              <a:cxn ang="0">
                <a:pos x="connsiteX44557" y="connsiteY44557"/>
              </a:cxn>
              <a:cxn ang="0">
                <a:pos x="connsiteX44558" y="connsiteY44558"/>
              </a:cxn>
              <a:cxn ang="0">
                <a:pos x="connsiteX44559" y="connsiteY44559"/>
              </a:cxn>
              <a:cxn ang="0">
                <a:pos x="connsiteX44560" y="connsiteY44560"/>
              </a:cxn>
              <a:cxn ang="0">
                <a:pos x="connsiteX44561" y="connsiteY44561"/>
              </a:cxn>
              <a:cxn ang="0">
                <a:pos x="connsiteX44562" y="connsiteY44562"/>
              </a:cxn>
              <a:cxn ang="0">
                <a:pos x="connsiteX44563" y="connsiteY44563"/>
              </a:cxn>
              <a:cxn ang="0">
                <a:pos x="connsiteX44564" y="connsiteY44564"/>
              </a:cxn>
              <a:cxn ang="0">
                <a:pos x="connsiteX44565" y="connsiteY44565"/>
              </a:cxn>
              <a:cxn ang="0">
                <a:pos x="connsiteX44566" y="connsiteY44566"/>
              </a:cxn>
              <a:cxn ang="0">
                <a:pos x="connsiteX44567" y="connsiteY44567"/>
              </a:cxn>
              <a:cxn ang="0">
                <a:pos x="connsiteX44568" y="connsiteY44568"/>
              </a:cxn>
              <a:cxn ang="0">
                <a:pos x="connsiteX44569" y="connsiteY44569"/>
              </a:cxn>
              <a:cxn ang="0">
                <a:pos x="connsiteX44570" y="connsiteY44570"/>
              </a:cxn>
              <a:cxn ang="0">
                <a:pos x="connsiteX44571" y="connsiteY44571"/>
              </a:cxn>
              <a:cxn ang="0">
                <a:pos x="connsiteX44572" y="connsiteY44572"/>
              </a:cxn>
              <a:cxn ang="0">
                <a:pos x="connsiteX44573" y="connsiteY44573"/>
              </a:cxn>
              <a:cxn ang="0">
                <a:pos x="connsiteX44574" y="connsiteY44574"/>
              </a:cxn>
              <a:cxn ang="0">
                <a:pos x="connsiteX44575" y="connsiteY44575"/>
              </a:cxn>
              <a:cxn ang="0">
                <a:pos x="connsiteX44576" y="connsiteY44576"/>
              </a:cxn>
              <a:cxn ang="0">
                <a:pos x="connsiteX44577" y="connsiteY44577"/>
              </a:cxn>
              <a:cxn ang="0">
                <a:pos x="connsiteX44578" y="connsiteY44578"/>
              </a:cxn>
              <a:cxn ang="0">
                <a:pos x="connsiteX44579" y="connsiteY44579"/>
              </a:cxn>
              <a:cxn ang="0">
                <a:pos x="connsiteX44580" y="connsiteY44580"/>
              </a:cxn>
              <a:cxn ang="0">
                <a:pos x="connsiteX44581" y="connsiteY44581"/>
              </a:cxn>
              <a:cxn ang="0">
                <a:pos x="connsiteX44582" y="connsiteY44582"/>
              </a:cxn>
              <a:cxn ang="0">
                <a:pos x="connsiteX44583" y="connsiteY44583"/>
              </a:cxn>
              <a:cxn ang="0">
                <a:pos x="connsiteX44584" y="connsiteY44584"/>
              </a:cxn>
              <a:cxn ang="0">
                <a:pos x="connsiteX44585" y="connsiteY44585"/>
              </a:cxn>
              <a:cxn ang="0">
                <a:pos x="connsiteX44586" y="connsiteY44586"/>
              </a:cxn>
              <a:cxn ang="0">
                <a:pos x="connsiteX44587" y="connsiteY44587"/>
              </a:cxn>
              <a:cxn ang="0">
                <a:pos x="connsiteX44588" y="connsiteY44588"/>
              </a:cxn>
              <a:cxn ang="0">
                <a:pos x="connsiteX44589" y="connsiteY44589"/>
              </a:cxn>
              <a:cxn ang="0">
                <a:pos x="connsiteX44590" y="connsiteY44590"/>
              </a:cxn>
              <a:cxn ang="0">
                <a:pos x="connsiteX44591" y="connsiteY44591"/>
              </a:cxn>
              <a:cxn ang="0">
                <a:pos x="connsiteX44592" y="connsiteY44592"/>
              </a:cxn>
              <a:cxn ang="0">
                <a:pos x="connsiteX44593" y="connsiteY44593"/>
              </a:cxn>
              <a:cxn ang="0">
                <a:pos x="connsiteX44594" y="connsiteY44594"/>
              </a:cxn>
              <a:cxn ang="0">
                <a:pos x="connsiteX44595" y="connsiteY44595"/>
              </a:cxn>
              <a:cxn ang="0">
                <a:pos x="connsiteX44596" y="connsiteY44596"/>
              </a:cxn>
              <a:cxn ang="0">
                <a:pos x="connsiteX44597" y="connsiteY44597"/>
              </a:cxn>
              <a:cxn ang="0">
                <a:pos x="connsiteX44598" y="connsiteY44598"/>
              </a:cxn>
              <a:cxn ang="0">
                <a:pos x="connsiteX44599" y="connsiteY44599"/>
              </a:cxn>
              <a:cxn ang="0">
                <a:pos x="connsiteX44600" y="connsiteY44600"/>
              </a:cxn>
              <a:cxn ang="0">
                <a:pos x="connsiteX44601" y="connsiteY44601"/>
              </a:cxn>
              <a:cxn ang="0">
                <a:pos x="connsiteX44602" y="connsiteY44602"/>
              </a:cxn>
              <a:cxn ang="0">
                <a:pos x="connsiteX44603" y="connsiteY44603"/>
              </a:cxn>
              <a:cxn ang="0">
                <a:pos x="connsiteX44604" y="connsiteY44604"/>
              </a:cxn>
              <a:cxn ang="0">
                <a:pos x="connsiteX44605" y="connsiteY44605"/>
              </a:cxn>
              <a:cxn ang="0">
                <a:pos x="connsiteX44606" y="connsiteY44606"/>
              </a:cxn>
              <a:cxn ang="0">
                <a:pos x="connsiteX44607" y="connsiteY44607"/>
              </a:cxn>
              <a:cxn ang="0">
                <a:pos x="connsiteX44608" y="connsiteY44608"/>
              </a:cxn>
              <a:cxn ang="0">
                <a:pos x="connsiteX44609" y="connsiteY44609"/>
              </a:cxn>
              <a:cxn ang="0">
                <a:pos x="connsiteX44610" y="connsiteY44610"/>
              </a:cxn>
              <a:cxn ang="0">
                <a:pos x="connsiteX44611" y="connsiteY44611"/>
              </a:cxn>
              <a:cxn ang="0">
                <a:pos x="connsiteX44612" y="connsiteY44612"/>
              </a:cxn>
              <a:cxn ang="0">
                <a:pos x="connsiteX44613" y="connsiteY44613"/>
              </a:cxn>
              <a:cxn ang="0">
                <a:pos x="connsiteX44614" y="connsiteY44614"/>
              </a:cxn>
              <a:cxn ang="0">
                <a:pos x="connsiteX44615" y="connsiteY44615"/>
              </a:cxn>
              <a:cxn ang="0">
                <a:pos x="connsiteX44616" y="connsiteY44616"/>
              </a:cxn>
              <a:cxn ang="0">
                <a:pos x="connsiteX44617" y="connsiteY44617"/>
              </a:cxn>
              <a:cxn ang="0">
                <a:pos x="connsiteX44618" y="connsiteY44618"/>
              </a:cxn>
              <a:cxn ang="0">
                <a:pos x="connsiteX44619" y="connsiteY44619"/>
              </a:cxn>
              <a:cxn ang="0">
                <a:pos x="connsiteX44620" y="connsiteY44620"/>
              </a:cxn>
              <a:cxn ang="0">
                <a:pos x="connsiteX44621" y="connsiteY44621"/>
              </a:cxn>
              <a:cxn ang="0">
                <a:pos x="connsiteX44622" y="connsiteY44622"/>
              </a:cxn>
              <a:cxn ang="0">
                <a:pos x="connsiteX44623" y="connsiteY44623"/>
              </a:cxn>
              <a:cxn ang="0">
                <a:pos x="connsiteX44624" y="connsiteY44624"/>
              </a:cxn>
              <a:cxn ang="0">
                <a:pos x="connsiteX44625" y="connsiteY44625"/>
              </a:cxn>
              <a:cxn ang="0">
                <a:pos x="connsiteX44626" y="connsiteY44626"/>
              </a:cxn>
              <a:cxn ang="0">
                <a:pos x="connsiteX44627" y="connsiteY44627"/>
              </a:cxn>
              <a:cxn ang="0">
                <a:pos x="connsiteX44628" y="connsiteY44628"/>
              </a:cxn>
              <a:cxn ang="0">
                <a:pos x="connsiteX44629" y="connsiteY44629"/>
              </a:cxn>
              <a:cxn ang="0">
                <a:pos x="connsiteX44630" y="connsiteY44630"/>
              </a:cxn>
              <a:cxn ang="0">
                <a:pos x="connsiteX44631" y="connsiteY44631"/>
              </a:cxn>
              <a:cxn ang="0">
                <a:pos x="connsiteX44632" y="connsiteY44632"/>
              </a:cxn>
              <a:cxn ang="0">
                <a:pos x="connsiteX44633" y="connsiteY44633"/>
              </a:cxn>
              <a:cxn ang="0">
                <a:pos x="connsiteX44634" y="connsiteY44634"/>
              </a:cxn>
              <a:cxn ang="0">
                <a:pos x="connsiteX44635" y="connsiteY44635"/>
              </a:cxn>
              <a:cxn ang="0">
                <a:pos x="connsiteX44636" y="connsiteY44636"/>
              </a:cxn>
              <a:cxn ang="0">
                <a:pos x="connsiteX44637" y="connsiteY44637"/>
              </a:cxn>
              <a:cxn ang="0">
                <a:pos x="connsiteX44638" y="connsiteY44638"/>
              </a:cxn>
              <a:cxn ang="0">
                <a:pos x="connsiteX44639" y="connsiteY44639"/>
              </a:cxn>
              <a:cxn ang="0">
                <a:pos x="connsiteX44640" y="connsiteY44640"/>
              </a:cxn>
              <a:cxn ang="0">
                <a:pos x="connsiteX44641" y="connsiteY44641"/>
              </a:cxn>
              <a:cxn ang="0">
                <a:pos x="connsiteX44642" y="connsiteY44642"/>
              </a:cxn>
              <a:cxn ang="0">
                <a:pos x="connsiteX44643" y="connsiteY44643"/>
              </a:cxn>
              <a:cxn ang="0">
                <a:pos x="connsiteX44644" y="connsiteY44644"/>
              </a:cxn>
              <a:cxn ang="0">
                <a:pos x="connsiteX44645" y="connsiteY44645"/>
              </a:cxn>
              <a:cxn ang="0">
                <a:pos x="connsiteX44646" y="connsiteY44646"/>
              </a:cxn>
              <a:cxn ang="0">
                <a:pos x="connsiteX44647" y="connsiteY44647"/>
              </a:cxn>
              <a:cxn ang="0">
                <a:pos x="connsiteX44648" y="connsiteY44648"/>
              </a:cxn>
              <a:cxn ang="0">
                <a:pos x="connsiteX44649" y="connsiteY44649"/>
              </a:cxn>
              <a:cxn ang="0">
                <a:pos x="connsiteX44650" y="connsiteY44650"/>
              </a:cxn>
              <a:cxn ang="0">
                <a:pos x="connsiteX44651" y="connsiteY44651"/>
              </a:cxn>
              <a:cxn ang="0">
                <a:pos x="connsiteX44652" y="connsiteY44652"/>
              </a:cxn>
              <a:cxn ang="0">
                <a:pos x="connsiteX44653" y="connsiteY44653"/>
              </a:cxn>
              <a:cxn ang="0">
                <a:pos x="connsiteX44654" y="connsiteY44654"/>
              </a:cxn>
              <a:cxn ang="0">
                <a:pos x="connsiteX44655" y="connsiteY44655"/>
              </a:cxn>
              <a:cxn ang="0">
                <a:pos x="connsiteX44656" y="connsiteY44656"/>
              </a:cxn>
              <a:cxn ang="0">
                <a:pos x="connsiteX44657" y="connsiteY44657"/>
              </a:cxn>
              <a:cxn ang="0">
                <a:pos x="connsiteX44658" y="connsiteY44658"/>
              </a:cxn>
              <a:cxn ang="0">
                <a:pos x="connsiteX44659" y="connsiteY44659"/>
              </a:cxn>
              <a:cxn ang="0">
                <a:pos x="connsiteX44660" y="connsiteY44660"/>
              </a:cxn>
              <a:cxn ang="0">
                <a:pos x="connsiteX44661" y="connsiteY44661"/>
              </a:cxn>
              <a:cxn ang="0">
                <a:pos x="connsiteX44662" y="connsiteY44662"/>
              </a:cxn>
              <a:cxn ang="0">
                <a:pos x="connsiteX44663" y="connsiteY44663"/>
              </a:cxn>
              <a:cxn ang="0">
                <a:pos x="connsiteX44664" y="connsiteY44664"/>
              </a:cxn>
              <a:cxn ang="0">
                <a:pos x="connsiteX44665" y="connsiteY44665"/>
              </a:cxn>
              <a:cxn ang="0">
                <a:pos x="connsiteX44666" y="connsiteY44666"/>
              </a:cxn>
              <a:cxn ang="0">
                <a:pos x="connsiteX44667" y="connsiteY44667"/>
              </a:cxn>
              <a:cxn ang="0">
                <a:pos x="connsiteX44668" y="connsiteY44668"/>
              </a:cxn>
              <a:cxn ang="0">
                <a:pos x="connsiteX44669" y="connsiteY44669"/>
              </a:cxn>
              <a:cxn ang="0">
                <a:pos x="connsiteX44670" y="connsiteY44670"/>
              </a:cxn>
              <a:cxn ang="0">
                <a:pos x="connsiteX44671" y="connsiteY44671"/>
              </a:cxn>
              <a:cxn ang="0">
                <a:pos x="connsiteX44672" y="connsiteY44672"/>
              </a:cxn>
              <a:cxn ang="0">
                <a:pos x="connsiteX44673" y="connsiteY44673"/>
              </a:cxn>
              <a:cxn ang="0">
                <a:pos x="connsiteX44674" y="connsiteY44674"/>
              </a:cxn>
              <a:cxn ang="0">
                <a:pos x="connsiteX44675" y="connsiteY44675"/>
              </a:cxn>
              <a:cxn ang="0">
                <a:pos x="connsiteX44676" y="connsiteY44676"/>
              </a:cxn>
              <a:cxn ang="0">
                <a:pos x="connsiteX44677" y="connsiteY44677"/>
              </a:cxn>
              <a:cxn ang="0">
                <a:pos x="connsiteX44678" y="connsiteY44678"/>
              </a:cxn>
              <a:cxn ang="0">
                <a:pos x="connsiteX44679" y="connsiteY44679"/>
              </a:cxn>
              <a:cxn ang="0">
                <a:pos x="connsiteX44680" y="connsiteY44680"/>
              </a:cxn>
              <a:cxn ang="0">
                <a:pos x="connsiteX44681" y="connsiteY44681"/>
              </a:cxn>
              <a:cxn ang="0">
                <a:pos x="connsiteX44682" y="connsiteY44682"/>
              </a:cxn>
              <a:cxn ang="0">
                <a:pos x="connsiteX44683" y="connsiteY44683"/>
              </a:cxn>
              <a:cxn ang="0">
                <a:pos x="connsiteX44684" y="connsiteY44684"/>
              </a:cxn>
              <a:cxn ang="0">
                <a:pos x="connsiteX44685" y="connsiteY44685"/>
              </a:cxn>
              <a:cxn ang="0">
                <a:pos x="connsiteX44686" y="connsiteY44686"/>
              </a:cxn>
              <a:cxn ang="0">
                <a:pos x="connsiteX44687" y="connsiteY44687"/>
              </a:cxn>
              <a:cxn ang="0">
                <a:pos x="connsiteX44688" y="connsiteY44688"/>
              </a:cxn>
              <a:cxn ang="0">
                <a:pos x="connsiteX44689" y="connsiteY44689"/>
              </a:cxn>
              <a:cxn ang="0">
                <a:pos x="connsiteX44690" y="connsiteY44690"/>
              </a:cxn>
              <a:cxn ang="0">
                <a:pos x="connsiteX44691" y="connsiteY44691"/>
              </a:cxn>
              <a:cxn ang="0">
                <a:pos x="connsiteX44692" y="connsiteY44692"/>
              </a:cxn>
              <a:cxn ang="0">
                <a:pos x="connsiteX44693" y="connsiteY44693"/>
              </a:cxn>
              <a:cxn ang="0">
                <a:pos x="connsiteX44694" y="connsiteY44694"/>
              </a:cxn>
              <a:cxn ang="0">
                <a:pos x="connsiteX44695" y="connsiteY44695"/>
              </a:cxn>
              <a:cxn ang="0">
                <a:pos x="connsiteX44696" y="connsiteY44696"/>
              </a:cxn>
              <a:cxn ang="0">
                <a:pos x="connsiteX44697" y="connsiteY44697"/>
              </a:cxn>
              <a:cxn ang="0">
                <a:pos x="connsiteX44698" y="connsiteY44698"/>
              </a:cxn>
              <a:cxn ang="0">
                <a:pos x="connsiteX44699" y="connsiteY44699"/>
              </a:cxn>
              <a:cxn ang="0">
                <a:pos x="connsiteX44700" y="connsiteY44700"/>
              </a:cxn>
              <a:cxn ang="0">
                <a:pos x="connsiteX44701" y="connsiteY44701"/>
              </a:cxn>
              <a:cxn ang="0">
                <a:pos x="connsiteX44702" y="connsiteY44702"/>
              </a:cxn>
              <a:cxn ang="0">
                <a:pos x="connsiteX44703" y="connsiteY44703"/>
              </a:cxn>
              <a:cxn ang="0">
                <a:pos x="connsiteX44704" y="connsiteY44704"/>
              </a:cxn>
              <a:cxn ang="0">
                <a:pos x="connsiteX44705" y="connsiteY44705"/>
              </a:cxn>
              <a:cxn ang="0">
                <a:pos x="connsiteX44706" y="connsiteY44706"/>
              </a:cxn>
              <a:cxn ang="0">
                <a:pos x="connsiteX44707" y="connsiteY44707"/>
              </a:cxn>
              <a:cxn ang="0">
                <a:pos x="connsiteX44708" y="connsiteY44708"/>
              </a:cxn>
              <a:cxn ang="0">
                <a:pos x="connsiteX44709" y="connsiteY44709"/>
              </a:cxn>
              <a:cxn ang="0">
                <a:pos x="connsiteX44710" y="connsiteY44710"/>
              </a:cxn>
              <a:cxn ang="0">
                <a:pos x="connsiteX44711" y="connsiteY44711"/>
              </a:cxn>
              <a:cxn ang="0">
                <a:pos x="connsiteX44712" y="connsiteY44712"/>
              </a:cxn>
              <a:cxn ang="0">
                <a:pos x="connsiteX44713" y="connsiteY44713"/>
              </a:cxn>
              <a:cxn ang="0">
                <a:pos x="connsiteX44714" y="connsiteY44714"/>
              </a:cxn>
              <a:cxn ang="0">
                <a:pos x="connsiteX44715" y="connsiteY44715"/>
              </a:cxn>
              <a:cxn ang="0">
                <a:pos x="connsiteX44716" y="connsiteY44716"/>
              </a:cxn>
              <a:cxn ang="0">
                <a:pos x="connsiteX44717" y="connsiteY44717"/>
              </a:cxn>
              <a:cxn ang="0">
                <a:pos x="connsiteX44718" y="connsiteY44718"/>
              </a:cxn>
              <a:cxn ang="0">
                <a:pos x="connsiteX44719" y="connsiteY44719"/>
              </a:cxn>
              <a:cxn ang="0">
                <a:pos x="connsiteX44720" y="connsiteY44720"/>
              </a:cxn>
              <a:cxn ang="0">
                <a:pos x="connsiteX44721" y="connsiteY44721"/>
              </a:cxn>
              <a:cxn ang="0">
                <a:pos x="connsiteX44722" y="connsiteY44722"/>
              </a:cxn>
              <a:cxn ang="0">
                <a:pos x="connsiteX44723" y="connsiteY44723"/>
              </a:cxn>
              <a:cxn ang="0">
                <a:pos x="connsiteX44724" y="connsiteY44724"/>
              </a:cxn>
              <a:cxn ang="0">
                <a:pos x="connsiteX44725" y="connsiteY44725"/>
              </a:cxn>
              <a:cxn ang="0">
                <a:pos x="connsiteX44726" y="connsiteY44726"/>
              </a:cxn>
              <a:cxn ang="0">
                <a:pos x="connsiteX44727" y="connsiteY44727"/>
              </a:cxn>
              <a:cxn ang="0">
                <a:pos x="connsiteX44728" y="connsiteY44728"/>
              </a:cxn>
              <a:cxn ang="0">
                <a:pos x="connsiteX44729" y="connsiteY44729"/>
              </a:cxn>
              <a:cxn ang="0">
                <a:pos x="connsiteX44730" y="connsiteY44730"/>
              </a:cxn>
              <a:cxn ang="0">
                <a:pos x="connsiteX44731" y="connsiteY44731"/>
              </a:cxn>
              <a:cxn ang="0">
                <a:pos x="connsiteX44732" y="connsiteY44732"/>
              </a:cxn>
              <a:cxn ang="0">
                <a:pos x="connsiteX44733" y="connsiteY44733"/>
              </a:cxn>
              <a:cxn ang="0">
                <a:pos x="connsiteX44734" y="connsiteY44734"/>
              </a:cxn>
              <a:cxn ang="0">
                <a:pos x="connsiteX44735" y="connsiteY44735"/>
              </a:cxn>
              <a:cxn ang="0">
                <a:pos x="connsiteX44736" y="connsiteY44736"/>
              </a:cxn>
              <a:cxn ang="0">
                <a:pos x="connsiteX44737" y="connsiteY44737"/>
              </a:cxn>
              <a:cxn ang="0">
                <a:pos x="connsiteX44738" y="connsiteY44738"/>
              </a:cxn>
              <a:cxn ang="0">
                <a:pos x="connsiteX44739" y="connsiteY44739"/>
              </a:cxn>
              <a:cxn ang="0">
                <a:pos x="connsiteX44740" y="connsiteY44740"/>
              </a:cxn>
              <a:cxn ang="0">
                <a:pos x="connsiteX44741" y="connsiteY44741"/>
              </a:cxn>
              <a:cxn ang="0">
                <a:pos x="connsiteX44742" y="connsiteY44742"/>
              </a:cxn>
              <a:cxn ang="0">
                <a:pos x="connsiteX44743" y="connsiteY44743"/>
              </a:cxn>
              <a:cxn ang="0">
                <a:pos x="connsiteX44744" y="connsiteY44744"/>
              </a:cxn>
              <a:cxn ang="0">
                <a:pos x="connsiteX44745" y="connsiteY44745"/>
              </a:cxn>
              <a:cxn ang="0">
                <a:pos x="connsiteX44746" y="connsiteY44746"/>
              </a:cxn>
              <a:cxn ang="0">
                <a:pos x="connsiteX44747" y="connsiteY44747"/>
              </a:cxn>
              <a:cxn ang="0">
                <a:pos x="connsiteX44748" y="connsiteY44748"/>
              </a:cxn>
              <a:cxn ang="0">
                <a:pos x="connsiteX44749" y="connsiteY44749"/>
              </a:cxn>
              <a:cxn ang="0">
                <a:pos x="connsiteX44750" y="connsiteY44750"/>
              </a:cxn>
              <a:cxn ang="0">
                <a:pos x="connsiteX44751" y="connsiteY44751"/>
              </a:cxn>
              <a:cxn ang="0">
                <a:pos x="connsiteX44752" y="connsiteY44752"/>
              </a:cxn>
              <a:cxn ang="0">
                <a:pos x="connsiteX44753" y="connsiteY44753"/>
              </a:cxn>
              <a:cxn ang="0">
                <a:pos x="connsiteX44754" y="connsiteY44754"/>
              </a:cxn>
              <a:cxn ang="0">
                <a:pos x="connsiteX44755" y="connsiteY44755"/>
              </a:cxn>
              <a:cxn ang="0">
                <a:pos x="connsiteX44756" y="connsiteY44756"/>
              </a:cxn>
              <a:cxn ang="0">
                <a:pos x="connsiteX44757" y="connsiteY44757"/>
              </a:cxn>
              <a:cxn ang="0">
                <a:pos x="connsiteX44758" y="connsiteY44758"/>
              </a:cxn>
              <a:cxn ang="0">
                <a:pos x="connsiteX44759" y="connsiteY44759"/>
              </a:cxn>
              <a:cxn ang="0">
                <a:pos x="connsiteX44760" y="connsiteY44760"/>
              </a:cxn>
              <a:cxn ang="0">
                <a:pos x="connsiteX44761" y="connsiteY44761"/>
              </a:cxn>
              <a:cxn ang="0">
                <a:pos x="connsiteX44762" y="connsiteY44762"/>
              </a:cxn>
              <a:cxn ang="0">
                <a:pos x="connsiteX44763" y="connsiteY44763"/>
              </a:cxn>
              <a:cxn ang="0">
                <a:pos x="connsiteX44764" y="connsiteY44764"/>
              </a:cxn>
              <a:cxn ang="0">
                <a:pos x="connsiteX44765" y="connsiteY44765"/>
              </a:cxn>
              <a:cxn ang="0">
                <a:pos x="connsiteX44766" y="connsiteY44766"/>
              </a:cxn>
              <a:cxn ang="0">
                <a:pos x="connsiteX44767" y="connsiteY44767"/>
              </a:cxn>
              <a:cxn ang="0">
                <a:pos x="connsiteX44768" y="connsiteY44768"/>
              </a:cxn>
              <a:cxn ang="0">
                <a:pos x="connsiteX44769" y="connsiteY44769"/>
              </a:cxn>
              <a:cxn ang="0">
                <a:pos x="connsiteX44770" y="connsiteY44770"/>
              </a:cxn>
              <a:cxn ang="0">
                <a:pos x="connsiteX44771" y="connsiteY44771"/>
              </a:cxn>
              <a:cxn ang="0">
                <a:pos x="connsiteX44772" y="connsiteY44772"/>
              </a:cxn>
              <a:cxn ang="0">
                <a:pos x="connsiteX44773" y="connsiteY44773"/>
              </a:cxn>
              <a:cxn ang="0">
                <a:pos x="connsiteX44774" y="connsiteY44774"/>
              </a:cxn>
              <a:cxn ang="0">
                <a:pos x="connsiteX44775" y="connsiteY44775"/>
              </a:cxn>
              <a:cxn ang="0">
                <a:pos x="connsiteX44776" y="connsiteY44776"/>
              </a:cxn>
              <a:cxn ang="0">
                <a:pos x="connsiteX44777" y="connsiteY44777"/>
              </a:cxn>
              <a:cxn ang="0">
                <a:pos x="connsiteX44778" y="connsiteY44778"/>
              </a:cxn>
              <a:cxn ang="0">
                <a:pos x="connsiteX44779" y="connsiteY44779"/>
              </a:cxn>
              <a:cxn ang="0">
                <a:pos x="connsiteX44780" y="connsiteY44780"/>
              </a:cxn>
              <a:cxn ang="0">
                <a:pos x="connsiteX44781" y="connsiteY44781"/>
              </a:cxn>
              <a:cxn ang="0">
                <a:pos x="connsiteX44782" y="connsiteY44782"/>
              </a:cxn>
              <a:cxn ang="0">
                <a:pos x="connsiteX44783" y="connsiteY44783"/>
              </a:cxn>
              <a:cxn ang="0">
                <a:pos x="connsiteX44784" y="connsiteY44784"/>
              </a:cxn>
              <a:cxn ang="0">
                <a:pos x="connsiteX44785" y="connsiteY44785"/>
              </a:cxn>
              <a:cxn ang="0">
                <a:pos x="connsiteX44786" y="connsiteY44786"/>
              </a:cxn>
              <a:cxn ang="0">
                <a:pos x="connsiteX44787" y="connsiteY44787"/>
              </a:cxn>
              <a:cxn ang="0">
                <a:pos x="connsiteX44788" y="connsiteY44788"/>
              </a:cxn>
              <a:cxn ang="0">
                <a:pos x="connsiteX44789" y="connsiteY44789"/>
              </a:cxn>
              <a:cxn ang="0">
                <a:pos x="connsiteX44790" y="connsiteY44790"/>
              </a:cxn>
              <a:cxn ang="0">
                <a:pos x="connsiteX44791" y="connsiteY44791"/>
              </a:cxn>
              <a:cxn ang="0">
                <a:pos x="connsiteX44792" y="connsiteY44792"/>
              </a:cxn>
              <a:cxn ang="0">
                <a:pos x="connsiteX44793" y="connsiteY44793"/>
              </a:cxn>
              <a:cxn ang="0">
                <a:pos x="connsiteX44794" y="connsiteY44794"/>
              </a:cxn>
              <a:cxn ang="0">
                <a:pos x="connsiteX44795" y="connsiteY44795"/>
              </a:cxn>
              <a:cxn ang="0">
                <a:pos x="connsiteX44796" y="connsiteY44796"/>
              </a:cxn>
              <a:cxn ang="0">
                <a:pos x="connsiteX44797" y="connsiteY44797"/>
              </a:cxn>
              <a:cxn ang="0">
                <a:pos x="connsiteX44798" y="connsiteY44798"/>
              </a:cxn>
              <a:cxn ang="0">
                <a:pos x="connsiteX44799" y="connsiteY44799"/>
              </a:cxn>
              <a:cxn ang="0">
                <a:pos x="connsiteX44800" y="connsiteY44800"/>
              </a:cxn>
              <a:cxn ang="0">
                <a:pos x="connsiteX44801" y="connsiteY44801"/>
              </a:cxn>
              <a:cxn ang="0">
                <a:pos x="connsiteX44802" y="connsiteY44802"/>
              </a:cxn>
              <a:cxn ang="0">
                <a:pos x="connsiteX44803" y="connsiteY44803"/>
              </a:cxn>
              <a:cxn ang="0">
                <a:pos x="connsiteX44804" y="connsiteY44804"/>
              </a:cxn>
              <a:cxn ang="0">
                <a:pos x="connsiteX44805" y="connsiteY44805"/>
              </a:cxn>
              <a:cxn ang="0">
                <a:pos x="connsiteX44806" y="connsiteY44806"/>
              </a:cxn>
              <a:cxn ang="0">
                <a:pos x="connsiteX44807" y="connsiteY44807"/>
              </a:cxn>
              <a:cxn ang="0">
                <a:pos x="connsiteX44808" y="connsiteY44808"/>
              </a:cxn>
              <a:cxn ang="0">
                <a:pos x="connsiteX44809" y="connsiteY44809"/>
              </a:cxn>
              <a:cxn ang="0">
                <a:pos x="connsiteX44810" y="connsiteY44810"/>
              </a:cxn>
              <a:cxn ang="0">
                <a:pos x="connsiteX44811" y="connsiteY44811"/>
              </a:cxn>
              <a:cxn ang="0">
                <a:pos x="connsiteX44812" y="connsiteY44812"/>
              </a:cxn>
              <a:cxn ang="0">
                <a:pos x="connsiteX44813" y="connsiteY44813"/>
              </a:cxn>
              <a:cxn ang="0">
                <a:pos x="connsiteX44814" y="connsiteY44814"/>
              </a:cxn>
              <a:cxn ang="0">
                <a:pos x="connsiteX44815" y="connsiteY44815"/>
              </a:cxn>
              <a:cxn ang="0">
                <a:pos x="connsiteX44816" y="connsiteY44816"/>
              </a:cxn>
              <a:cxn ang="0">
                <a:pos x="connsiteX44817" y="connsiteY44817"/>
              </a:cxn>
              <a:cxn ang="0">
                <a:pos x="connsiteX44818" y="connsiteY44818"/>
              </a:cxn>
              <a:cxn ang="0">
                <a:pos x="connsiteX44819" y="connsiteY44819"/>
              </a:cxn>
              <a:cxn ang="0">
                <a:pos x="connsiteX44820" y="connsiteY44820"/>
              </a:cxn>
              <a:cxn ang="0">
                <a:pos x="connsiteX44821" y="connsiteY44821"/>
              </a:cxn>
              <a:cxn ang="0">
                <a:pos x="connsiteX44822" y="connsiteY44822"/>
              </a:cxn>
              <a:cxn ang="0">
                <a:pos x="connsiteX44823" y="connsiteY44823"/>
              </a:cxn>
              <a:cxn ang="0">
                <a:pos x="connsiteX44824" y="connsiteY44824"/>
              </a:cxn>
              <a:cxn ang="0">
                <a:pos x="connsiteX44825" y="connsiteY44825"/>
              </a:cxn>
              <a:cxn ang="0">
                <a:pos x="connsiteX44826" y="connsiteY44826"/>
              </a:cxn>
              <a:cxn ang="0">
                <a:pos x="connsiteX44827" y="connsiteY44827"/>
              </a:cxn>
              <a:cxn ang="0">
                <a:pos x="connsiteX44828" y="connsiteY44828"/>
              </a:cxn>
              <a:cxn ang="0">
                <a:pos x="connsiteX44829" y="connsiteY44829"/>
              </a:cxn>
              <a:cxn ang="0">
                <a:pos x="connsiteX44830" y="connsiteY44830"/>
              </a:cxn>
              <a:cxn ang="0">
                <a:pos x="connsiteX44831" y="connsiteY44831"/>
              </a:cxn>
              <a:cxn ang="0">
                <a:pos x="connsiteX44832" y="connsiteY44832"/>
              </a:cxn>
              <a:cxn ang="0">
                <a:pos x="connsiteX44833" y="connsiteY44833"/>
              </a:cxn>
              <a:cxn ang="0">
                <a:pos x="connsiteX44834" y="connsiteY44834"/>
              </a:cxn>
              <a:cxn ang="0">
                <a:pos x="connsiteX44835" y="connsiteY44835"/>
              </a:cxn>
              <a:cxn ang="0">
                <a:pos x="connsiteX44836" y="connsiteY44836"/>
              </a:cxn>
              <a:cxn ang="0">
                <a:pos x="connsiteX44837" y="connsiteY44837"/>
              </a:cxn>
              <a:cxn ang="0">
                <a:pos x="connsiteX44838" y="connsiteY44838"/>
              </a:cxn>
              <a:cxn ang="0">
                <a:pos x="connsiteX44839" y="connsiteY44839"/>
              </a:cxn>
              <a:cxn ang="0">
                <a:pos x="connsiteX44840" y="connsiteY44840"/>
              </a:cxn>
              <a:cxn ang="0">
                <a:pos x="connsiteX44841" y="connsiteY44841"/>
              </a:cxn>
              <a:cxn ang="0">
                <a:pos x="connsiteX44842" y="connsiteY44842"/>
              </a:cxn>
              <a:cxn ang="0">
                <a:pos x="connsiteX44843" y="connsiteY44843"/>
              </a:cxn>
              <a:cxn ang="0">
                <a:pos x="connsiteX44844" y="connsiteY44844"/>
              </a:cxn>
              <a:cxn ang="0">
                <a:pos x="connsiteX44845" y="connsiteY44845"/>
              </a:cxn>
              <a:cxn ang="0">
                <a:pos x="connsiteX44846" y="connsiteY44846"/>
              </a:cxn>
              <a:cxn ang="0">
                <a:pos x="connsiteX44847" y="connsiteY44847"/>
              </a:cxn>
              <a:cxn ang="0">
                <a:pos x="connsiteX44848" y="connsiteY44848"/>
              </a:cxn>
              <a:cxn ang="0">
                <a:pos x="connsiteX44849" y="connsiteY44849"/>
              </a:cxn>
              <a:cxn ang="0">
                <a:pos x="connsiteX44850" y="connsiteY44850"/>
              </a:cxn>
              <a:cxn ang="0">
                <a:pos x="connsiteX44851" y="connsiteY44851"/>
              </a:cxn>
              <a:cxn ang="0">
                <a:pos x="connsiteX44852" y="connsiteY44852"/>
              </a:cxn>
              <a:cxn ang="0">
                <a:pos x="connsiteX44853" y="connsiteY44853"/>
              </a:cxn>
              <a:cxn ang="0">
                <a:pos x="connsiteX44854" y="connsiteY44854"/>
              </a:cxn>
              <a:cxn ang="0">
                <a:pos x="connsiteX44855" y="connsiteY44855"/>
              </a:cxn>
              <a:cxn ang="0">
                <a:pos x="connsiteX44856" y="connsiteY44856"/>
              </a:cxn>
              <a:cxn ang="0">
                <a:pos x="connsiteX44857" y="connsiteY44857"/>
              </a:cxn>
              <a:cxn ang="0">
                <a:pos x="connsiteX44858" y="connsiteY44858"/>
              </a:cxn>
              <a:cxn ang="0">
                <a:pos x="connsiteX44859" y="connsiteY44859"/>
              </a:cxn>
              <a:cxn ang="0">
                <a:pos x="connsiteX44860" y="connsiteY44860"/>
              </a:cxn>
              <a:cxn ang="0">
                <a:pos x="connsiteX44861" y="connsiteY44861"/>
              </a:cxn>
              <a:cxn ang="0">
                <a:pos x="connsiteX44862" y="connsiteY44862"/>
              </a:cxn>
              <a:cxn ang="0">
                <a:pos x="connsiteX44863" y="connsiteY44863"/>
              </a:cxn>
              <a:cxn ang="0">
                <a:pos x="connsiteX44864" y="connsiteY44864"/>
              </a:cxn>
              <a:cxn ang="0">
                <a:pos x="connsiteX44865" y="connsiteY44865"/>
              </a:cxn>
              <a:cxn ang="0">
                <a:pos x="connsiteX44866" y="connsiteY44866"/>
              </a:cxn>
              <a:cxn ang="0">
                <a:pos x="connsiteX44867" y="connsiteY44867"/>
              </a:cxn>
              <a:cxn ang="0">
                <a:pos x="connsiteX44868" y="connsiteY44868"/>
              </a:cxn>
              <a:cxn ang="0">
                <a:pos x="connsiteX44869" y="connsiteY44869"/>
              </a:cxn>
              <a:cxn ang="0">
                <a:pos x="connsiteX44870" y="connsiteY44870"/>
              </a:cxn>
              <a:cxn ang="0">
                <a:pos x="connsiteX44871" y="connsiteY44871"/>
              </a:cxn>
              <a:cxn ang="0">
                <a:pos x="connsiteX44872" y="connsiteY44872"/>
              </a:cxn>
              <a:cxn ang="0">
                <a:pos x="connsiteX44873" y="connsiteY44873"/>
              </a:cxn>
              <a:cxn ang="0">
                <a:pos x="connsiteX44874" y="connsiteY44874"/>
              </a:cxn>
              <a:cxn ang="0">
                <a:pos x="connsiteX44875" y="connsiteY44875"/>
              </a:cxn>
              <a:cxn ang="0">
                <a:pos x="connsiteX44876" y="connsiteY44876"/>
              </a:cxn>
              <a:cxn ang="0">
                <a:pos x="connsiteX44877" y="connsiteY44877"/>
              </a:cxn>
              <a:cxn ang="0">
                <a:pos x="connsiteX44878" y="connsiteY44878"/>
              </a:cxn>
              <a:cxn ang="0">
                <a:pos x="connsiteX44879" y="connsiteY44879"/>
              </a:cxn>
              <a:cxn ang="0">
                <a:pos x="connsiteX44880" y="connsiteY44880"/>
              </a:cxn>
              <a:cxn ang="0">
                <a:pos x="connsiteX44881" y="connsiteY44881"/>
              </a:cxn>
              <a:cxn ang="0">
                <a:pos x="connsiteX44882" y="connsiteY44882"/>
              </a:cxn>
              <a:cxn ang="0">
                <a:pos x="connsiteX44883" y="connsiteY44883"/>
              </a:cxn>
              <a:cxn ang="0">
                <a:pos x="connsiteX44884" y="connsiteY44884"/>
              </a:cxn>
              <a:cxn ang="0">
                <a:pos x="connsiteX44885" y="connsiteY44885"/>
              </a:cxn>
              <a:cxn ang="0">
                <a:pos x="connsiteX44886" y="connsiteY44886"/>
              </a:cxn>
              <a:cxn ang="0">
                <a:pos x="connsiteX44887" y="connsiteY44887"/>
              </a:cxn>
              <a:cxn ang="0">
                <a:pos x="connsiteX44888" y="connsiteY44888"/>
              </a:cxn>
              <a:cxn ang="0">
                <a:pos x="connsiteX44889" y="connsiteY44889"/>
              </a:cxn>
              <a:cxn ang="0">
                <a:pos x="connsiteX44890" y="connsiteY44890"/>
              </a:cxn>
              <a:cxn ang="0">
                <a:pos x="connsiteX44891" y="connsiteY44891"/>
              </a:cxn>
              <a:cxn ang="0">
                <a:pos x="connsiteX44892" y="connsiteY44892"/>
              </a:cxn>
              <a:cxn ang="0">
                <a:pos x="connsiteX44893" y="connsiteY44893"/>
              </a:cxn>
              <a:cxn ang="0">
                <a:pos x="connsiteX44894" y="connsiteY44894"/>
              </a:cxn>
              <a:cxn ang="0">
                <a:pos x="connsiteX44895" y="connsiteY44895"/>
              </a:cxn>
              <a:cxn ang="0">
                <a:pos x="connsiteX44896" y="connsiteY44896"/>
              </a:cxn>
              <a:cxn ang="0">
                <a:pos x="connsiteX44897" y="connsiteY44897"/>
              </a:cxn>
              <a:cxn ang="0">
                <a:pos x="connsiteX44898" y="connsiteY44898"/>
              </a:cxn>
              <a:cxn ang="0">
                <a:pos x="connsiteX44899" y="connsiteY44899"/>
              </a:cxn>
              <a:cxn ang="0">
                <a:pos x="connsiteX44900" y="connsiteY44900"/>
              </a:cxn>
              <a:cxn ang="0">
                <a:pos x="connsiteX44901" y="connsiteY44901"/>
              </a:cxn>
              <a:cxn ang="0">
                <a:pos x="connsiteX44902" y="connsiteY44902"/>
              </a:cxn>
              <a:cxn ang="0">
                <a:pos x="connsiteX44903" y="connsiteY44903"/>
              </a:cxn>
              <a:cxn ang="0">
                <a:pos x="connsiteX44904" y="connsiteY44904"/>
              </a:cxn>
              <a:cxn ang="0">
                <a:pos x="connsiteX44905" y="connsiteY44905"/>
              </a:cxn>
              <a:cxn ang="0">
                <a:pos x="connsiteX44906" y="connsiteY44906"/>
              </a:cxn>
              <a:cxn ang="0">
                <a:pos x="connsiteX44907" y="connsiteY44907"/>
              </a:cxn>
              <a:cxn ang="0">
                <a:pos x="connsiteX44908" y="connsiteY44908"/>
              </a:cxn>
              <a:cxn ang="0">
                <a:pos x="connsiteX44909" y="connsiteY44909"/>
              </a:cxn>
              <a:cxn ang="0">
                <a:pos x="connsiteX44910" y="connsiteY44910"/>
              </a:cxn>
              <a:cxn ang="0">
                <a:pos x="connsiteX44911" y="connsiteY44911"/>
              </a:cxn>
              <a:cxn ang="0">
                <a:pos x="connsiteX44912" y="connsiteY44912"/>
              </a:cxn>
              <a:cxn ang="0">
                <a:pos x="connsiteX44913" y="connsiteY44913"/>
              </a:cxn>
              <a:cxn ang="0">
                <a:pos x="connsiteX44914" y="connsiteY44914"/>
              </a:cxn>
              <a:cxn ang="0">
                <a:pos x="connsiteX44915" y="connsiteY44915"/>
              </a:cxn>
              <a:cxn ang="0">
                <a:pos x="connsiteX44916" y="connsiteY44916"/>
              </a:cxn>
              <a:cxn ang="0">
                <a:pos x="connsiteX44917" y="connsiteY44917"/>
              </a:cxn>
              <a:cxn ang="0">
                <a:pos x="connsiteX44918" y="connsiteY44918"/>
              </a:cxn>
              <a:cxn ang="0">
                <a:pos x="connsiteX44919" y="connsiteY44919"/>
              </a:cxn>
              <a:cxn ang="0">
                <a:pos x="connsiteX44920" y="connsiteY44920"/>
              </a:cxn>
              <a:cxn ang="0">
                <a:pos x="connsiteX44921" y="connsiteY44921"/>
              </a:cxn>
              <a:cxn ang="0">
                <a:pos x="connsiteX44922" y="connsiteY44922"/>
              </a:cxn>
              <a:cxn ang="0">
                <a:pos x="connsiteX44923" y="connsiteY44923"/>
              </a:cxn>
              <a:cxn ang="0">
                <a:pos x="connsiteX44924" y="connsiteY44924"/>
              </a:cxn>
              <a:cxn ang="0">
                <a:pos x="connsiteX44925" y="connsiteY44925"/>
              </a:cxn>
              <a:cxn ang="0">
                <a:pos x="connsiteX44926" y="connsiteY44926"/>
              </a:cxn>
              <a:cxn ang="0">
                <a:pos x="connsiteX44927" y="connsiteY44927"/>
              </a:cxn>
              <a:cxn ang="0">
                <a:pos x="connsiteX44928" y="connsiteY44928"/>
              </a:cxn>
              <a:cxn ang="0">
                <a:pos x="connsiteX44929" y="connsiteY44929"/>
              </a:cxn>
              <a:cxn ang="0">
                <a:pos x="connsiteX44930" y="connsiteY44930"/>
              </a:cxn>
              <a:cxn ang="0">
                <a:pos x="connsiteX44931" y="connsiteY44931"/>
              </a:cxn>
              <a:cxn ang="0">
                <a:pos x="connsiteX44932" y="connsiteY44932"/>
              </a:cxn>
              <a:cxn ang="0">
                <a:pos x="connsiteX44933" y="connsiteY44933"/>
              </a:cxn>
              <a:cxn ang="0">
                <a:pos x="connsiteX44934" y="connsiteY44934"/>
              </a:cxn>
              <a:cxn ang="0">
                <a:pos x="connsiteX44935" y="connsiteY44935"/>
              </a:cxn>
              <a:cxn ang="0">
                <a:pos x="connsiteX44936" y="connsiteY44936"/>
              </a:cxn>
              <a:cxn ang="0">
                <a:pos x="connsiteX44937" y="connsiteY44937"/>
              </a:cxn>
              <a:cxn ang="0">
                <a:pos x="connsiteX44938" y="connsiteY44938"/>
              </a:cxn>
              <a:cxn ang="0">
                <a:pos x="connsiteX44939" y="connsiteY44939"/>
              </a:cxn>
              <a:cxn ang="0">
                <a:pos x="connsiteX44940" y="connsiteY44940"/>
              </a:cxn>
              <a:cxn ang="0">
                <a:pos x="connsiteX44941" y="connsiteY44941"/>
              </a:cxn>
              <a:cxn ang="0">
                <a:pos x="connsiteX44942" y="connsiteY44942"/>
              </a:cxn>
              <a:cxn ang="0">
                <a:pos x="connsiteX44943" y="connsiteY44943"/>
              </a:cxn>
              <a:cxn ang="0">
                <a:pos x="connsiteX44944" y="connsiteY44944"/>
              </a:cxn>
              <a:cxn ang="0">
                <a:pos x="connsiteX44945" y="connsiteY44945"/>
              </a:cxn>
              <a:cxn ang="0">
                <a:pos x="connsiteX44946" y="connsiteY44946"/>
              </a:cxn>
              <a:cxn ang="0">
                <a:pos x="connsiteX44947" y="connsiteY44947"/>
              </a:cxn>
              <a:cxn ang="0">
                <a:pos x="connsiteX44948" y="connsiteY44948"/>
              </a:cxn>
              <a:cxn ang="0">
                <a:pos x="connsiteX44949" y="connsiteY44949"/>
              </a:cxn>
              <a:cxn ang="0">
                <a:pos x="connsiteX44950" y="connsiteY44950"/>
              </a:cxn>
              <a:cxn ang="0">
                <a:pos x="connsiteX44951" y="connsiteY44951"/>
              </a:cxn>
              <a:cxn ang="0">
                <a:pos x="connsiteX44952" y="connsiteY44952"/>
              </a:cxn>
              <a:cxn ang="0">
                <a:pos x="connsiteX44953" y="connsiteY44953"/>
              </a:cxn>
              <a:cxn ang="0">
                <a:pos x="connsiteX44954" y="connsiteY44954"/>
              </a:cxn>
              <a:cxn ang="0">
                <a:pos x="connsiteX44955" y="connsiteY44955"/>
              </a:cxn>
              <a:cxn ang="0">
                <a:pos x="connsiteX44956" y="connsiteY44956"/>
              </a:cxn>
              <a:cxn ang="0">
                <a:pos x="connsiteX44957" y="connsiteY44957"/>
              </a:cxn>
              <a:cxn ang="0">
                <a:pos x="connsiteX44958" y="connsiteY44958"/>
              </a:cxn>
              <a:cxn ang="0">
                <a:pos x="connsiteX44959" y="connsiteY44959"/>
              </a:cxn>
              <a:cxn ang="0">
                <a:pos x="connsiteX44960" y="connsiteY44960"/>
              </a:cxn>
              <a:cxn ang="0">
                <a:pos x="connsiteX44961" y="connsiteY44961"/>
              </a:cxn>
              <a:cxn ang="0">
                <a:pos x="connsiteX44962" y="connsiteY44962"/>
              </a:cxn>
              <a:cxn ang="0">
                <a:pos x="connsiteX44963" y="connsiteY44963"/>
              </a:cxn>
              <a:cxn ang="0">
                <a:pos x="connsiteX44964" y="connsiteY44964"/>
              </a:cxn>
              <a:cxn ang="0">
                <a:pos x="connsiteX44965" y="connsiteY44965"/>
              </a:cxn>
              <a:cxn ang="0">
                <a:pos x="connsiteX44966" y="connsiteY44966"/>
              </a:cxn>
              <a:cxn ang="0">
                <a:pos x="connsiteX44967" y="connsiteY44967"/>
              </a:cxn>
              <a:cxn ang="0">
                <a:pos x="connsiteX44968" y="connsiteY44968"/>
              </a:cxn>
              <a:cxn ang="0">
                <a:pos x="connsiteX44969" y="connsiteY44969"/>
              </a:cxn>
              <a:cxn ang="0">
                <a:pos x="connsiteX44970" y="connsiteY44970"/>
              </a:cxn>
              <a:cxn ang="0">
                <a:pos x="connsiteX44971" y="connsiteY44971"/>
              </a:cxn>
              <a:cxn ang="0">
                <a:pos x="connsiteX44972" y="connsiteY44972"/>
              </a:cxn>
              <a:cxn ang="0">
                <a:pos x="connsiteX44973" y="connsiteY44973"/>
              </a:cxn>
              <a:cxn ang="0">
                <a:pos x="connsiteX44974" y="connsiteY44974"/>
              </a:cxn>
              <a:cxn ang="0">
                <a:pos x="connsiteX44975" y="connsiteY44975"/>
              </a:cxn>
              <a:cxn ang="0">
                <a:pos x="connsiteX44976" y="connsiteY44976"/>
              </a:cxn>
              <a:cxn ang="0">
                <a:pos x="connsiteX44977" y="connsiteY44977"/>
              </a:cxn>
              <a:cxn ang="0">
                <a:pos x="connsiteX44978" y="connsiteY44978"/>
              </a:cxn>
              <a:cxn ang="0">
                <a:pos x="connsiteX44979" y="connsiteY44979"/>
              </a:cxn>
              <a:cxn ang="0">
                <a:pos x="connsiteX44980" y="connsiteY44980"/>
              </a:cxn>
              <a:cxn ang="0">
                <a:pos x="connsiteX44981" y="connsiteY44981"/>
              </a:cxn>
              <a:cxn ang="0">
                <a:pos x="connsiteX44982" y="connsiteY44982"/>
              </a:cxn>
              <a:cxn ang="0">
                <a:pos x="connsiteX44983" y="connsiteY44983"/>
              </a:cxn>
              <a:cxn ang="0">
                <a:pos x="connsiteX44984" y="connsiteY44984"/>
              </a:cxn>
              <a:cxn ang="0">
                <a:pos x="connsiteX44985" y="connsiteY44985"/>
              </a:cxn>
              <a:cxn ang="0">
                <a:pos x="connsiteX44986" y="connsiteY44986"/>
              </a:cxn>
              <a:cxn ang="0">
                <a:pos x="connsiteX44987" y="connsiteY44987"/>
              </a:cxn>
              <a:cxn ang="0">
                <a:pos x="connsiteX44988" y="connsiteY44988"/>
              </a:cxn>
              <a:cxn ang="0">
                <a:pos x="connsiteX44989" y="connsiteY44989"/>
              </a:cxn>
              <a:cxn ang="0">
                <a:pos x="connsiteX44990" y="connsiteY44990"/>
              </a:cxn>
              <a:cxn ang="0">
                <a:pos x="connsiteX44991" y="connsiteY44991"/>
              </a:cxn>
              <a:cxn ang="0">
                <a:pos x="connsiteX44992" y="connsiteY44992"/>
              </a:cxn>
              <a:cxn ang="0">
                <a:pos x="connsiteX44993" y="connsiteY44993"/>
              </a:cxn>
              <a:cxn ang="0">
                <a:pos x="connsiteX44994" y="connsiteY44994"/>
              </a:cxn>
              <a:cxn ang="0">
                <a:pos x="connsiteX44995" y="connsiteY44995"/>
              </a:cxn>
              <a:cxn ang="0">
                <a:pos x="connsiteX44996" y="connsiteY44996"/>
              </a:cxn>
              <a:cxn ang="0">
                <a:pos x="connsiteX44997" y="connsiteY44997"/>
              </a:cxn>
              <a:cxn ang="0">
                <a:pos x="connsiteX44998" y="connsiteY44998"/>
              </a:cxn>
              <a:cxn ang="0">
                <a:pos x="connsiteX44999" y="connsiteY44999"/>
              </a:cxn>
              <a:cxn ang="0">
                <a:pos x="connsiteX45000" y="connsiteY45000"/>
              </a:cxn>
              <a:cxn ang="0">
                <a:pos x="connsiteX45001" y="connsiteY45001"/>
              </a:cxn>
              <a:cxn ang="0">
                <a:pos x="connsiteX45002" y="connsiteY45002"/>
              </a:cxn>
              <a:cxn ang="0">
                <a:pos x="connsiteX45003" y="connsiteY45003"/>
              </a:cxn>
              <a:cxn ang="0">
                <a:pos x="connsiteX45004" y="connsiteY45004"/>
              </a:cxn>
              <a:cxn ang="0">
                <a:pos x="connsiteX45005" y="connsiteY45005"/>
              </a:cxn>
              <a:cxn ang="0">
                <a:pos x="connsiteX45006" y="connsiteY45006"/>
              </a:cxn>
              <a:cxn ang="0">
                <a:pos x="connsiteX45007" y="connsiteY45007"/>
              </a:cxn>
              <a:cxn ang="0">
                <a:pos x="connsiteX45008" y="connsiteY45008"/>
              </a:cxn>
              <a:cxn ang="0">
                <a:pos x="connsiteX45009" y="connsiteY45009"/>
              </a:cxn>
              <a:cxn ang="0">
                <a:pos x="connsiteX45010" y="connsiteY45010"/>
              </a:cxn>
              <a:cxn ang="0">
                <a:pos x="connsiteX45011" y="connsiteY45011"/>
              </a:cxn>
              <a:cxn ang="0">
                <a:pos x="connsiteX45012" y="connsiteY45012"/>
              </a:cxn>
              <a:cxn ang="0">
                <a:pos x="connsiteX45013" y="connsiteY45013"/>
              </a:cxn>
              <a:cxn ang="0">
                <a:pos x="connsiteX45014" y="connsiteY45014"/>
              </a:cxn>
              <a:cxn ang="0">
                <a:pos x="connsiteX45015" y="connsiteY45015"/>
              </a:cxn>
              <a:cxn ang="0">
                <a:pos x="connsiteX45016" y="connsiteY45016"/>
              </a:cxn>
              <a:cxn ang="0">
                <a:pos x="connsiteX45017" y="connsiteY45017"/>
              </a:cxn>
              <a:cxn ang="0">
                <a:pos x="connsiteX45018" y="connsiteY45018"/>
              </a:cxn>
              <a:cxn ang="0">
                <a:pos x="connsiteX45019" y="connsiteY45019"/>
              </a:cxn>
              <a:cxn ang="0">
                <a:pos x="connsiteX45020" y="connsiteY45020"/>
              </a:cxn>
              <a:cxn ang="0">
                <a:pos x="connsiteX45021" y="connsiteY45021"/>
              </a:cxn>
              <a:cxn ang="0">
                <a:pos x="connsiteX45022" y="connsiteY45022"/>
              </a:cxn>
              <a:cxn ang="0">
                <a:pos x="connsiteX45023" y="connsiteY45023"/>
              </a:cxn>
              <a:cxn ang="0">
                <a:pos x="connsiteX45024" y="connsiteY45024"/>
              </a:cxn>
              <a:cxn ang="0">
                <a:pos x="connsiteX45025" y="connsiteY45025"/>
              </a:cxn>
              <a:cxn ang="0">
                <a:pos x="connsiteX45026" y="connsiteY45026"/>
              </a:cxn>
              <a:cxn ang="0">
                <a:pos x="connsiteX45027" y="connsiteY45027"/>
              </a:cxn>
              <a:cxn ang="0">
                <a:pos x="connsiteX45028" y="connsiteY45028"/>
              </a:cxn>
              <a:cxn ang="0">
                <a:pos x="connsiteX45029" y="connsiteY45029"/>
              </a:cxn>
              <a:cxn ang="0">
                <a:pos x="connsiteX45030" y="connsiteY45030"/>
              </a:cxn>
              <a:cxn ang="0">
                <a:pos x="connsiteX45031" y="connsiteY45031"/>
              </a:cxn>
              <a:cxn ang="0">
                <a:pos x="connsiteX45032" y="connsiteY45032"/>
              </a:cxn>
              <a:cxn ang="0">
                <a:pos x="connsiteX45033" y="connsiteY45033"/>
              </a:cxn>
              <a:cxn ang="0">
                <a:pos x="connsiteX45034" y="connsiteY45034"/>
              </a:cxn>
              <a:cxn ang="0">
                <a:pos x="connsiteX45035" y="connsiteY45035"/>
              </a:cxn>
              <a:cxn ang="0">
                <a:pos x="connsiteX45036" y="connsiteY45036"/>
              </a:cxn>
              <a:cxn ang="0">
                <a:pos x="connsiteX45037" y="connsiteY45037"/>
              </a:cxn>
              <a:cxn ang="0">
                <a:pos x="connsiteX45038" y="connsiteY45038"/>
              </a:cxn>
              <a:cxn ang="0">
                <a:pos x="connsiteX45039" y="connsiteY45039"/>
              </a:cxn>
              <a:cxn ang="0">
                <a:pos x="connsiteX45040" y="connsiteY45040"/>
              </a:cxn>
              <a:cxn ang="0">
                <a:pos x="connsiteX45041" y="connsiteY45041"/>
              </a:cxn>
              <a:cxn ang="0">
                <a:pos x="connsiteX45042" y="connsiteY45042"/>
              </a:cxn>
              <a:cxn ang="0">
                <a:pos x="connsiteX45043" y="connsiteY45043"/>
              </a:cxn>
              <a:cxn ang="0">
                <a:pos x="connsiteX45044" y="connsiteY45044"/>
              </a:cxn>
              <a:cxn ang="0">
                <a:pos x="connsiteX45045" y="connsiteY45045"/>
              </a:cxn>
              <a:cxn ang="0">
                <a:pos x="connsiteX45046" y="connsiteY45046"/>
              </a:cxn>
              <a:cxn ang="0">
                <a:pos x="connsiteX45047" y="connsiteY45047"/>
              </a:cxn>
              <a:cxn ang="0">
                <a:pos x="connsiteX45048" y="connsiteY45048"/>
              </a:cxn>
              <a:cxn ang="0">
                <a:pos x="connsiteX45049" y="connsiteY45049"/>
              </a:cxn>
              <a:cxn ang="0">
                <a:pos x="connsiteX45050" y="connsiteY45050"/>
              </a:cxn>
              <a:cxn ang="0">
                <a:pos x="connsiteX45051" y="connsiteY45051"/>
              </a:cxn>
              <a:cxn ang="0">
                <a:pos x="connsiteX45052" y="connsiteY45052"/>
              </a:cxn>
              <a:cxn ang="0">
                <a:pos x="connsiteX45053" y="connsiteY45053"/>
              </a:cxn>
              <a:cxn ang="0">
                <a:pos x="connsiteX45054" y="connsiteY45054"/>
              </a:cxn>
              <a:cxn ang="0">
                <a:pos x="connsiteX45055" y="connsiteY45055"/>
              </a:cxn>
              <a:cxn ang="0">
                <a:pos x="connsiteX45056" y="connsiteY45056"/>
              </a:cxn>
              <a:cxn ang="0">
                <a:pos x="connsiteX45057" y="connsiteY45057"/>
              </a:cxn>
              <a:cxn ang="0">
                <a:pos x="connsiteX45058" y="connsiteY45058"/>
              </a:cxn>
              <a:cxn ang="0">
                <a:pos x="connsiteX45059" y="connsiteY45059"/>
              </a:cxn>
              <a:cxn ang="0">
                <a:pos x="connsiteX45060" y="connsiteY45060"/>
              </a:cxn>
              <a:cxn ang="0">
                <a:pos x="connsiteX45061" y="connsiteY45061"/>
              </a:cxn>
              <a:cxn ang="0">
                <a:pos x="connsiteX45062" y="connsiteY45062"/>
              </a:cxn>
              <a:cxn ang="0">
                <a:pos x="connsiteX45063" y="connsiteY45063"/>
              </a:cxn>
              <a:cxn ang="0">
                <a:pos x="connsiteX45064" y="connsiteY45064"/>
              </a:cxn>
              <a:cxn ang="0">
                <a:pos x="connsiteX45065" y="connsiteY45065"/>
              </a:cxn>
              <a:cxn ang="0">
                <a:pos x="connsiteX45066" y="connsiteY45066"/>
              </a:cxn>
              <a:cxn ang="0">
                <a:pos x="connsiteX45067" y="connsiteY45067"/>
              </a:cxn>
              <a:cxn ang="0">
                <a:pos x="connsiteX45068" y="connsiteY45068"/>
              </a:cxn>
              <a:cxn ang="0">
                <a:pos x="connsiteX45069" y="connsiteY45069"/>
              </a:cxn>
              <a:cxn ang="0">
                <a:pos x="connsiteX45070" y="connsiteY45070"/>
              </a:cxn>
              <a:cxn ang="0">
                <a:pos x="connsiteX45071" y="connsiteY45071"/>
              </a:cxn>
              <a:cxn ang="0">
                <a:pos x="connsiteX45072" y="connsiteY45072"/>
              </a:cxn>
              <a:cxn ang="0">
                <a:pos x="connsiteX45073" y="connsiteY45073"/>
              </a:cxn>
              <a:cxn ang="0">
                <a:pos x="connsiteX45074" y="connsiteY45074"/>
              </a:cxn>
              <a:cxn ang="0">
                <a:pos x="connsiteX45075" y="connsiteY45075"/>
              </a:cxn>
              <a:cxn ang="0">
                <a:pos x="connsiteX45076" y="connsiteY45076"/>
              </a:cxn>
              <a:cxn ang="0">
                <a:pos x="connsiteX45077" y="connsiteY45077"/>
              </a:cxn>
              <a:cxn ang="0">
                <a:pos x="connsiteX45078" y="connsiteY45078"/>
              </a:cxn>
              <a:cxn ang="0">
                <a:pos x="connsiteX45079" y="connsiteY45079"/>
              </a:cxn>
              <a:cxn ang="0">
                <a:pos x="connsiteX45080" y="connsiteY45080"/>
              </a:cxn>
              <a:cxn ang="0">
                <a:pos x="connsiteX45081" y="connsiteY45081"/>
              </a:cxn>
              <a:cxn ang="0">
                <a:pos x="connsiteX45082" y="connsiteY45082"/>
              </a:cxn>
              <a:cxn ang="0">
                <a:pos x="connsiteX45083" y="connsiteY45083"/>
              </a:cxn>
              <a:cxn ang="0">
                <a:pos x="connsiteX45084" y="connsiteY45084"/>
              </a:cxn>
              <a:cxn ang="0">
                <a:pos x="connsiteX45085" y="connsiteY45085"/>
              </a:cxn>
              <a:cxn ang="0">
                <a:pos x="connsiteX45086" y="connsiteY45086"/>
              </a:cxn>
              <a:cxn ang="0">
                <a:pos x="connsiteX45087" y="connsiteY45087"/>
              </a:cxn>
              <a:cxn ang="0">
                <a:pos x="connsiteX45088" y="connsiteY45088"/>
              </a:cxn>
              <a:cxn ang="0">
                <a:pos x="connsiteX45089" y="connsiteY45089"/>
              </a:cxn>
              <a:cxn ang="0">
                <a:pos x="connsiteX45090" y="connsiteY45090"/>
              </a:cxn>
              <a:cxn ang="0">
                <a:pos x="connsiteX45091" y="connsiteY45091"/>
              </a:cxn>
              <a:cxn ang="0">
                <a:pos x="connsiteX45092" y="connsiteY45092"/>
              </a:cxn>
              <a:cxn ang="0">
                <a:pos x="connsiteX45093" y="connsiteY45093"/>
              </a:cxn>
              <a:cxn ang="0">
                <a:pos x="connsiteX45094" y="connsiteY45094"/>
              </a:cxn>
              <a:cxn ang="0">
                <a:pos x="connsiteX45095" y="connsiteY45095"/>
              </a:cxn>
              <a:cxn ang="0">
                <a:pos x="connsiteX45096" y="connsiteY45096"/>
              </a:cxn>
              <a:cxn ang="0">
                <a:pos x="connsiteX45097" y="connsiteY45097"/>
              </a:cxn>
              <a:cxn ang="0">
                <a:pos x="connsiteX45098" y="connsiteY45098"/>
              </a:cxn>
              <a:cxn ang="0">
                <a:pos x="connsiteX45099" y="connsiteY45099"/>
              </a:cxn>
              <a:cxn ang="0">
                <a:pos x="connsiteX45100" y="connsiteY45100"/>
              </a:cxn>
              <a:cxn ang="0">
                <a:pos x="connsiteX45101" y="connsiteY45101"/>
              </a:cxn>
              <a:cxn ang="0">
                <a:pos x="connsiteX45102" y="connsiteY45102"/>
              </a:cxn>
              <a:cxn ang="0">
                <a:pos x="connsiteX45103" y="connsiteY45103"/>
              </a:cxn>
              <a:cxn ang="0">
                <a:pos x="connsiteX45104" y="connsiteY45104"/>
              </a:cxn>
              <a:cxn ang="0">
                <a:pos x="connsiteX45105" y="connsiteY45105"/>
              </a:cxn>
              <a:cxn ang="0">
                <a:pos x="connsiteX45106" y="connsiteY45106"/>
              </a:cxn>
              <a:cxn ang="0">
                <a:pos x="connsiteX45107" y="connsiteY45107"/>
              </a:cxn>
              <a:cxn ang="0">
                <a:pos x="connsiteX45108" y="connsiteY45108"/>
              </a:cxn>
              <a:cxn ang="0">
                <a:pos x="connsiteX45109" y="connsiteY45109"/>
              </a:cxn>
              <a:cxn ang="0">
                <a:pos x="connsiteX45110" y="connsiteY45110"/>
              </a:cxn>
              <a:cxn ang="0">
                <a:pos x="connsiteX45111" y="connsiteY45111"/>
              </a:cxn>
              <a:cxn ang="0">
                <a:pos x="connsiteX45112" y="connsiteY45112"/>
              </a:cxn>
              <a:cxn ang="0">
                <a:pos x="connsiteX45113" y="connsiteY45113"/>
              </a:cxn>
              <a:cxn ang="0">
                <a:pos x="connsiteX45114" y="connsiteY45114"/>
              </a:cxn>
              <a:cxn ang="0">
                <a:pos x="connsiteX45115" y="connsiteY45115"/>
              </a:cxn>
              <a:cxn ang="0">
                <a:pos x="connsiteX45116" y="connsiteY45116"/>
              </a:cxn>
              <a:cxn ang="0">
                <a:pos x="connsiteX45117" y="connsiteY45117"/>
              </a:cxn>
              <a:cxn ang="0">
                <a:pos x="connsiteX45118" y="connsiteY45118"/>
              </a:cxn>
              <a:cxn ang="0">
                <a:pos x="connsiteX45119" y="connsiteY45119"/>
              </a:cxn>
              <a:cxn ang="0">
                <a:pos x="connsiteX45120" y="connsiteY45120"/>
              </a:cxn>
              <a:cxn ang="0">
                <a:pos x="connsiteX45121" y="connsiteY45121"/>
              </a:cxn>
              <a:cxn ang="0">
                <a:pos x="connsiteX45122" y="connsiteY45122"/>
              </a:cxn>
              <a:cxn ang="0">
                <a:pos x="connsiteX45123" y="connsiteY45123"/>
              </a:cxn>
              <a:cxn ang="0">
                <a:pos x="connsiteX45124" y="connsiteY45124"/>
              </a:cxn>
              <a:cxn ang="0">
                <a:pos x="connsiteX45125" y="connsiteY45125"/>
              </a:cxn>
              <a:cxn ang="0">
                <a:pos x="connsiteX45126" y="connsiteY45126"/>
              </a:cxn>
              <a:cxn ang="0">
                <a:pos x="connsiteX45127" y="connsiteY45127"/>
              </a:cxn>
              <a:cxn ang="0">
                <a:pos x="connsiteX45128" y="connsiteY45128"/>
              </a:cxn>
              <a:cxn ang="0">
                <a:pos x="connsiteX45129" y="connsiteY45129"/>
              </a:cxn>
              <a:cxn ang="0">
                <a:pos x="connsiteX45130" y="connsiteY45130"/>
              </a:cxn>
              <a:cxn ang="0">
                <a:pos x="connsiteX45131" y="connsiteY45131"/>
              </a:cxn>
              <a:cxn ang="0">
                <a:pos x="connsiteX45132" y="connsiteY45132"/>
              </a:cxn>
              <a:cxn ang="0">
                <a:pos x="connsiteX45133" y="connsiteY45133"/>
              </a:cxn>
              <a:cxn ang="0">
                <a:pos x="connsiteX45134" y="connsiteY45134"/>
              </a:cxn>
              <a:cxn ang="0">
                <a:pos x="connsiteX45135" y="connsiteY45135"/>
              </a:cxn>
              <a:cxn ang="0">
                <a:pos x="connsiteX45136" y="connsiteY45136"/>
              </a:cxn>
              <a:cxn ang="0">
                <a:pos x="connsiteX45137" y="connsiteY45137"/>
              </a:cxn>
              <a:cxn ang="0">
                <a:pos x="connsiteX45138" y="connsiteY45138"/>
              </a:cxn>
              <a:cxn ang="0">
                <a:pos x="connsiteX45139" y="connsiteY45139"/>
              </a:cxn>
              <a:cxn ang="0">
                <a:pos x="connsiteX45140" y="connsiteY45140"/>
              </a:cxn>
              <a:cxn ang="0">
                <a:pos x="connsiteX45141" y="connsiteY45141"/>
              </a:cxn>
              <a:cxn ang="0">
                <a:pos x="connsiteX45142" y="connsiteY45142"/>
              </a:cxn>
              <a:cxn ang="0">
                <a:pos x="connsiteX45143" y="connsiteY45143"/>
              </a:cxn>
              <a:cxn ang="0">
                <a:pos x="connsiteX45144" y="connsiteY45144"/>
              </a:cxn>
              <a:cxn ang="0">
                <a:pos x="connsiteX45145" y="connsiteY45145"/>
              </a:cxn>
              <a:cxn ang="0">
                <a:pos x="connsiteX45146" y="connsiteY45146"/>
              </a:cxn>
              <a:cxn ang="0">
                <a:pos x="connsiteX45147" y="connsiteY45147"/>
              </a:cxn>
              <a:cxn ang="0">
                <a:pos x="connsiteX45148" y="connsiteY45148"/>
              </a:cxn>
              <a:cxn ang="0">
                <a:pos x="connsiteX45149" y="connsiteY45149"/>
              </a:cxn>
              <a:cxn ang="0">
                <a:pos x="connsiteX45150" y="connsiteY45150"/>
              </a:cxn>
              <a:cxn ang="0">
                <a:pos x="connsiteX45151" y="connsiteY45151"/>
              </a:cxn>
              <a:cxn ang="0">
                <a:pos x="connsiteX45152" y="connsiteY45152"/>
              </a:cxn>
              <a:cxn ang="0">
                <a:pos x="connsiteX45153" y="connsiteY45153"/>
              </a:cxn>
              <a:cxn ang="0">
                <a:pos x="connsiteX45154" y="connsiteY45154"/>
              </a:cxn>
              <a:cxn ang="0">
                <a:pos x="connsiteX45155" y="connsiteY45155"/>
              </a:cxn>
              <a:cxn ang="0">
                <a:pos x="connsiteX45156" y="connsiteY45156"/>
              </a:cxn>
              <a:cxn ang="0">
                <a:pos x="connsiteX45157" y="connsiteY45157"/>
              </a:cxn>
              <a:cxn ang="0">
                <a:pos x="connsiteX45158" y="connsiteY45158"/>
              </a:cxn>
              <a:cxn ang="0">
                <a:pos x="connsiteX45159" y="connsiteY45159"/>
              </a:cxn>
              <a:cxn ang="0">
                <a:pos x="connsiteX45160" y="connsiteY45160"/>
              </a:cxn>
              <a:cxn ang="0">
                <a:pos x="connsiteX45161" y="connsiteY45161"/>
              </a:cxn>
              <a:cxn ang="0">
                <a:pos x="connsiteX45162" y="connsiteY45162"/>
              </a:cxn>
              <a:cxn ang="0">
                <a:pos x="connsiteX45163" y="connsiteY45163"/>
              </a:cxn>
              <a:cxn ang="0">
                <a:pos x="connsiteX45164" y="connsiteY45164"/>
              </a:cxn>
              <a:cxn ang="0">
                <a:pos x="connsiteX45165" y="connsiteY45165"/>
              </a:cxn>
              <a:cxn ang="0">
                <a:pos x="connsiteX45166" y="connsiteY45166"/>
              </a:cxn>
              <a:cxn ang="0">
                <a:pos x="connsiteX45167" y="connsiteY45167"/>
              </a:cxn>
              <a:cxn ang="0">
                <a:pos x="connsiteX45168" y="connsiteY45168"/>
              </a:cxn>
              <a:cxn ang="0">
                <a:pos x="connsiteX45169" y="connsiteY45169"/>
              </a:cxn>
              <a:cxn ang="0">
                <a:pos x="connsiteX45170" y="connsiteY45170"/>
              </a:cxn>
              <a:cxn ang="0">
                <a:pos x="connsiteX45171" y="connsiteY45171"/>
              </a:cxn>
              <a:cxn ang="0">
                <a:pos x="connsiteX45172" y="connsiteY45172"/>
              </a:cxn>
              <a:cxn ang="0">
                <a:pos x="connsiteX45173" y="connsiteY45173"/>
              </a:cxn>
              <a:cxn ang="0">
                <a:pos x="connsiteX45174" y="connsiteY45174"/>
              </a:cxn>
              <a:cxn ang="0">
                <a:pos x="connsiteX45175" y="connsiteY45175"/>
              </a:cxn>
              <a:cxn ang="0">
                <a:pos x="connsiteX45176" y="connsiteY45176"/>
              </a:cxn>
              <a:cxn ang="0">
                <a:pos x="connsiteX45177" y="connsiteY45177"/>
              </a:cxn>
              <a:cxn ang="0">
                <a:pos x="connsiteX45178" y="connsiteY45178"/>
              </a:cxn>
              <a:cxn ang="0">
                <a:pos x="connsiteX45179" y="connsiteY45179"/>
              </a:cxn>
              <a:cxn ang="0">
                <a:pos x="connsiteX45180" y="connsiteY45180"/>
              </a:cxn>
              <a:cxn ang="0">
                <a:pos x="connsiteX45181" y="connsiteY45181"/>
              </a:cxn>
              <a:cxn ang="0">
                <a:pos x="connsiteX45182" y="connsiteY45182"/>
              </a:cxn>
              <a:cxn ang="0">
                <a:pos x="connsiteX45183" y="connsiteY45183"/>
              </a:cxn>
              <a:cxn ang="0">
                <a:pos x="connsiteX45184" y="connsiteY45184"/>
              </a:cxn>
              <a:cxn ang="0">
                <a:pos x="connsiteX45185" y="connsiteY45185"/>
              </a:cxn>
              <a:cxn ang="0">
                <a:pos x="connsiteX45186" y="connsiteY45186"/>
              </a:cxn>
              <a:cxn ang="0">
                <a:pos x="connsiteX45187" y="connsiteY45187"/>
              </a:cxn>
              <a:cxn ang="0">
                <a:pos x="connsiteX45188" y="connsiteY45188"/>
              </a:cxn>
              <a:cxn ang="0">
                <a:pos x="connsiteX45189" y="connsiteY45189"/>
              </a:cxn>
              <a:cxn ang="0">
                <a:pos x="connsiteX45190" y="connsiteY45190"/>
              </a:cxn>
              <a:cxn ang="0">
                <a:pos x="connsiteX45191" y="connsiteY45191"/>
              </a:cxn>
              <a:cxn ang="0">
                <a:pos x="connsiteX45192" y="connsiteY45192"/>
              </a:cxn>
              <a:cxn ang="0">
                <a:pos x="connsiteX45193" y="connsiteY45193"/>
              </a:cxn>
              <a:cxn ang="0">
                <a:pos x="connsiteX45194" y="connsiteY45194"/>
              </a:cxn>
              <a:cxn ang="0">
                <a:pos x="connsiteX45195" y="connsiteY45195"/>
              </a:cxn>
              <a:cxn ang="0">
                <a:pos x="connsiteX45196" y="connsiteY45196"/>
              </a:cxn>
              <a:cxn ang="0">
                <a:pos x="connsiteX45197" y="connsiteY45197"/>
              </a:cxn>
              <a:cxn ang="0">
                <a:pos x="connsiteX45198" y="connsiteY45198"/>
              </a:cxn>
              <a:cxn ang="0">
                <a:pos x="connsiteX45199" y="connsiteY45199"/>
              </a:cxn>
              <a:cxn ang="0">
                <a:pos x="connsiteX45200" y="connsiteY45200"/>
              </a:cxn>
              <a:cxn ang="0">
                <a:pos x="connsiteX45201" y="connsiteY45201"/>
              </a:cxn>
              <a:cxn ang="0">
                <a:pos x="connsiteX45202" y="connsiteY45202"/>
              </a:cxn>
              <a:cxn ang="0">
                <a:pos x="connsiteX45203" y="connsiteY45203"/>
              </a:cxn>
              <a:cxn ang="0">
                <a:pos x="connsiteX45204" y="connsiteY45204"/>
              </a:cxn>
              <a:cxn ang="0">
                <a:pos x="connsiteX45205" y="connsiteY45205"/>
              </a:cxn>
              <a:cxn ang="0">
                <a:pos x="connsiteX45206" y="connsiteY45206"/>
              </a:cxn>
              <a:cxn ang="0">
                <a:pos x="connsiteX45207" y="connsiteY45207"/>
              </a:cxn>
              <a:cxn ang="0">
                <a:pos x="connsiteX45208" y="connsiteY45208"/>
              </a:cxn>
              <a:cxn ang="0">
                <a:pos x="connsiteX45209" y="connsiteY45209"/>
              </a:cxn>
              <a:cxn ang="0">
                <a:pos x="connsiteX45210" y="connsiteY45210"/>
              </a:cxn>
              <a:cxn ang="0">
                <a:pos x="connsiteX45211" y="connsiteY45211"/>
              </a:cxn>
              <a:cxn ang="0">
                <a:pos x="connsiteX45212" y="connsiteY45212"/>
              </a:cxn>
              <a:cxn ang="0">
                <a:pos x="connsiteX45213" y="connsiteY45213"/>
              </a:cxn>
              <a:cxn ang="0">
                <a:pos x="connsiteX45214" y="connsiteY45214"/>
              </a:cxn>
              <a:cxn ang="0">
                <a:pos x="connsiteX45215" y="connsiteY45215"/>
              </a:cxn>
              <a:cxn ang="0">
                <a:pos x="connsiteX45216" y="connsiteY45216"/>
              </a:cxn>
              <a:cxn ang="0">
                <a:pos x="connsiteX45217" y="connsiteY45217"/>
              </a:cxn>
              <a:cxn ang="0">
                <a:pos x="connsiteX45218" y="connsiteY45218"/>
              </a:cxn>
              <a:cxn ang="0">
                <a:pos x="connsiteX45219" y="connsiteY45219"/>
              </a:cxn>
              <a:cxn ang="0">
                <a:pos x="connsiteX45220" y="connsiteY45220"/>
              </a:cxn>
              <a:cxn ang="0">
                <a:pos x="connsiteX45221" y="connsiteY45221"/>
              </a:cxn>
              <a:cxn ang="0">
                <a:pos x="connsiteX45222" y="connsiteY45222"/>
              </a:cxn>
              <a:cxn ang="0">
                <a:pos x="connsiteX45223" y="connsiteY45223"/>
              </a:cxn>
              <a:cxn ang="0">
                <a:pos x="connsiteX45224" y="connsiteY45224"/>
              </a:cxn>
              <a:cxn ang="0">
                <a:pos x="connsiteX45225" y="connsiteY45225"/>
              </a:cxn>
              <a:cxn ang="0">
                <a:pos x="connsiteX45226" y="connsiteY45226"/>
              </a:cxn>
              <a:cxn ang="0">
                <a:pos x="connsiteX45227" y="connsiteY45227"/>
              </a:cxn>
              <a:cxn ang="0">
                <a:pos x="connsiteX45228" y="connsiteY45228"/>
              </a:cxn>
              <a:cxn ang="0">
                <a:pos x="connsiteX45229" y="connsiteY45229"/>
              </a:cxn>
              <a:cxn ang="0">
                <a:pos x="connsiteX45230" y="connsiteY45230"/>
              </a:cxn>
              <a:cxn ang="0">
                <a:pos x="connsiteX45231" y="connsiteY45231"/>
              </a:cxn>
              <a:cxn ang="0">
                <a:pos x="connsiteX45232" y="connsiteY45232"/>
              </a:cxn>
              <a:cxn ang="0">
                <a:pos x="connsiteX45233" y="connsiteY45233"/>
              </a:cxn>
              <a:cxn ang="0">
                <a:pos x="connsiteX45234" y="connsiteY45234"/>
              </a:cxn>
              <a:cxn ang="0">
                <a:pos x="connsiteX45235" y="connsiteY45235"/>
              </a:cxn>
              <a:cxn ang="0">
                <a:pos x="connsiteX45236" y="connsiteY45236"/>
              </a:cxn>
              <a:cxn ang="0">
                <a:pos x="connsiteX45237" y="connsiteY45237"/>
              </a:cxn>
              <a:cxn ang="0">
                <a:pos x="connsiteX45238" y="connsiteY45238"/>
              </a:cxn>
              <a:cxn ang="0">
                <a:pos x="connsiteX45239" y="connsiteY45239"/>
              </a:cxn>
              <a:cxn ang="0">
                <a:pos x="connsiteX45240" y="connsiteY45240"/>
              </a:cxn>
              <a:cxn ang="0">
                <a:pos x="connsiteX45241" y="connsiteY45241"/>
              </a:cxn>
              <a:cxn ang="0">
                <a:pos x="connsiteX45242" y="connsiteY45242"/>
              </a:cxn>
              <a:cxn ang="0">
                <a:pos x="connsiteX45243" y="connsiteY45243"/>
              </a:cxn>
              <a:cxn ang="0">
                <a:pos x="connsiteX45244" y="connsiteY45244"/>
              </a:cxn>
              <a:cxn ang="0">
                <a:pos x="connsiteX45245" y="connsiteY45245"/>
              </a:cxn>
              <a:cxn ang="0">
                <a:pos x="connsiteX45246" y="connsiteY45246"/>
              </a:cxn>
              <a:cxn ang="0">
                <a:pos x="connsiteX45247" y="connsiteY45247"/>
              </a:cxn>
              <a:cxn ang="0">
                <a:pos x="connsiteX45248" y="connsiteY45248"/>
              </a:cxn>
              <a:cxn ang="0">
                <a:pos x="connsiteX45249" y="connsiteY45249"/>
              </a:cxn>
              <a:cxn ang="0">
                <a:pos x="connsiteX45250" y="connsiteY45250"/>
              </a:cxn>
              <a:cxn ang="0">
                <a:pos x="connsiteX45251" y="connsiteY45251"/>
              </a:cxn>
              <a:cxn ang="0">
                <a:pos x="connsiteX45252" y="connsiteY45252"/>
              </a:cxn>
              <a:cxn ang="0">
                <a:pos x="connsiteX45253" y="connsiteY45253"/>
              </a:cxn>
              <a:cxn ang="0">
                <a:pos x="connsiteX45254" y="connsiteY45254"/>
              </a:cxn>
              <a:cxn ang="0">
                <a:pos x="connsiteX45255" y="connsiteY45255"/>
              </a:cxn>
              <a:cxn ang="0">
                <a:pos x="connsiteX45256" y="connsiteY45256"/>
              </a:cxn>
              <a:cxn ang="0">
                <a:pos x="connsiteX45257" y="connsiteY45257"/>
              </a:cxn>
              <a:cxn ang="0">
                <a:pos x="connsiteX45258" y="connsiteY45258"/>
              </a:cxn>
              <a:cxn ang="0">
                <a:pos x="connsiteX45259" y="connsiteY45259"/>
              </a:cxn>
              <a:cxn ang="0">
                <a:pos x="connsiteX45260" y="connsiteY45260"/>
              </a:cxn>
              <a:cxn ang="0">
                <a:pos x="connsiteX45261" y="connsiteY45261"/>
              </a:cxn>
              <a:cxn ang="0">
                <a:pos x="connsiteX45262" y="connsiteY45262"/>
              </a:cxn>
              <a:cxn ang="0">
                <a:pos x="connsiteX45263" y="connsiteY45263"/>
              </a:cxn>
              <a:cxn ang="0">
                <a:pos x="connsiteX45264" y="connsiteY45264"/>
              </a:cxn>
              <a:cxn ang="0">
                <a:pos x="connsiteX45265" y="connsiteY45265"/>
              </a:cxn>
              <a:cxn ang="0">
                <a:pos x="connsiteX45266" y="connsiteY45266"/>
              </a:cxn>
              <a:cxn ang="0">
                <a:pos x="connsiteX45267" y="connsiteY45267"/>
              </a:cxn>
              <a:cxn ang="0">
                <a:pos x="connsiteX45268" y="connsiteY45268"/>
              </a:cxn>
              <a:cxn ang="0">
                <a:pos x="connsiteX45269" y="connsiteY45269"/>
              </a:cxn>
              <a:cxn ang="0">
                <a:pos x="connsiteX45270" y="connsiteY45270"/>
              </a:cxn>
              <a:cxn ang="0">
                <a:pos x="connsiteX45271" y="connsiteY45271"/>
              </a:cxn>
              <a:cxn ang="0">
                <a:pos x="connsiteX45272" y="connsiteY45272"/>
              </a:cxn>
              <a:cxn ang="0">
                <a:pos x="connsiteX45273" y="connsiteY45273"/>
              </a:cxn>
              <a:cxn ang="0">
                <a:pos x="connsiteX45274" y="connsiteY45274"/>
              </a:cxn>
              <a:cxn ang="0">
                <a:pos x="connsiteX45275" y="connsiteY45275"/>
              </a:cxn>
              <a:cxn ang="0">
                <a:pos x="connsiteX45276" y="connsiteY45276"/>
              </a:cxn>
              <a:cxn ang="0">
                <a:pos x="connsiteX45277" y="connsiteY45277"/>
              </a:cxn>
              <a:cxn ang="0">
                <a:pos x="connsiteX45278" y="connsiteY45278"/>
              </a:cxn>
              <a:cxn ang="0">
                <a:pos x="connsiteX45279" y="connsiteY45279"/>
              </a:cxn>
              <a:cxn ang="0">
                <a:pos x="connsiteX45280" y="connsiteY45280"/>
              </a:cxn>
              <a:cxn ang="0">
                <a:pos x="connsiteX45281" y="connsiteY45281"/>
              </a:cxn>
              <a:cxn ang="0">
                <a:pos x="connsiteX45282" y="connsiteY45282"/>
              </a:cxn>
              <a:cxn ang="0">
                <a:pos x="connsiteX45283" y="connsiteY45283"/>
              </a:cxn>
              <a:cxn ang="0">
                <a:pos x="connsiteX45284" y="connsiteY45284"/>
              </a:cxn>
              <a:cxn ang="0">
                <a:pos x="connsiteX45285" y="connsiteY45285"/>
              </a:cxn>
              <a:cxn ang="0">
                <a:pos x="connsiteX45286" y="connsiteY45286"/>
              </a:cxn>
              <a:cxn ang="0">
                <a:pos x="connsiteX45287" y="connsiteY45287"/>
              </a:cxn>
              <a:cxn ang="0">
                <a:pos x="connsiteX45288" y="connsiteY45288"/>
              </a:cxn>
              <a:cxn ang="0">
                <a:pos x="connsiteX45289" y="connsiteY45289"/>
              </a:cxn>
              <a:cxn ang="0">
                <a:pos x="connsiteX45290" y="connsiteY45290"/>
              </a:cxn>
              <a:cxn ang="0">
                <a:pos x="connsiteX45291" y="connsiteY45291"/>
              </a:cxn>
              <a:cxn ang="0">
                <a:pos x="connsiteX45292" y="connsiteY45292"/>
              </a:cxn>
              <a:cxn ang="0">
                <a:pos x="connsiteX45293" y="connsiteY45293"/>
              </a:cxn>
              <a:cxn ang="0">
                <a:pos x="connsiteX45294" y="connsiteY45294"/>
              </a:cxn>
              <a:cxn ang="0">
                <a:pos x="connsiteX45295" y="connsiteY45295"/>
              </a:cxn>
              <a:cxn ang="0">
                <a:pos x="connsiteX45296" y="connsiteY45296"/>
              </a:cxn>
              <a:cxn ang="0">
                <a:pos x="connsiteX45297" y="connsiteY45297"/>
              </a:cxn>
              <a:cxn ang="0">
                <a:pos x="connsiteX45298" y="connsiteY45298"/>
              </a:cxn>
              <a:cxn ang="0">
                <a:pos x="connsiteX45299" y="connsiteY45299"/>
              </a:cxn>
              <a:cxn ang="0">
                <a:pos x="connsiteX45300" y="connsiteY45300"/>
              </a:cxn>
              <a:cxn ang="0">
                <a:pos x="connsiteX45301" y="connsiteY45301"/>
              </a:cxn>
              <a:cxn ang="0">
                <a:pos x="connsiteX45302" y="connsiteY45302"/>
              </a:cxn>
              <a:cxn ang="0">
                <a:pos x="connsiteX45303" y="connsiteY45303"/>
              </a:cxn>
              <a:cxn ang="0">
                <a:pos x="connsiteX45304" y="connsiteY45304"/>
              </a:cxn>
              <a:cxn ang="0">
                <a:pos x="connsiteX45305" y="connsiteY45305"/>
              </a:cxn>
              <a:cxn ang="0">
                <a:pos x="connsiteX45306" y="connsiteY45306"/>
              </a:cxn>
              <a:cxn ang="0">
                <a:pos x="connsiteX45307" y="connsiteY45307"/>
              </a:cxn>
              <a:cxn ang="0">
                <a:pos x="connsiteX45308" y="connsiteY45308"/>
              </a:cxn>
              <a:cxn ang="0">
                <a:pos x="connsiteX45309" y="connsiteY45309"/>
              </a:cxn>
              <a:cxn ang="0">
                <a:pos x="connsiteX45310" y="connsiteY45310"/>
              </a:cxn>
              <a:cxn ang="0">
                <a:pos x="connsiteX45311" y="connsiteY45311"/>
              </a:cxn>
              <a:cxn ang="0">
                <a:pos x="connsiteX45312" y="connsiteY45312"/>
              </a:cxn>
              <a:cxn ang="0">
                <a:pos x="connsiteX45313" y="connsiteY45313"/>
              </a:cxn>
              <a:cxn ang="0">
                <a:pos x="connsiteX45314" y="connsiteY45314"/>
              </a:cxn>
              <a:cxn ang="0">
                <a:pos x="connsiteX45315" y="connsiteY45315"/>
              </a:cxn>
              <a:cxn ang="0">
                <a:pos x="connsiteX45316" y="connsiteY45316"/>
              </a:cxn>
              <a:cxn ang="0">
                <a:pos x="connsiteX45317" y="connsiteY45317"/>
              </a:cxn>
              <a:cxn ang="0">
                <a:pos x="connsiteX45318" y="connsiteY45318"/>
              </a:cxn>
              <a:cxn ang="0">
                <a:pos x="connsiteX45319" y="connsiteY45319"/>
              </a:cxn>
              <a:cxn ang="0">
                <a:pos x="connsiteX45320" y="connsiteY45320"/>
              </a:cxn>
              <a:cxn ang="0">
                <a:pos x="connsiteX45321" y="connsiteY45321"/>
              </a:cxn>
              <a:cxn ang="0">
                <a:pos x="connsiteX45322" y="connsiteY45322"/>
              </a:cxn>
              <a:cxn ang="0">
                <a:pos x="connsiteX45323" y="connsiteY45323"/>
              </a:cxn>
              <a:cxn ang="0">
                <a:pos x="connsiteX45324" y="connsiteY45324"/>
              </a:cxn>
              <a:cxn ang="0">
                <a:pos x="connsiteX45325" y="connsiteY45325"/>
              </a:cxn>
              <a:cxn ang="0">
                <a:pos x="connsiteX45326" y="connsiteY45326"/>
              </a:cxn>
              <a:cxn ang="0">
                <a:pos x="connsiteX45327" y="connsiteY45327"/>
              </a:cxn>
              <a:cxn ang="0">
                <a:pos x="connsiteX45328" y="connsiteY45328"/>
              </a:cxn>
              <a:cxn ang="0">
                <a:pos x="connsiteX45329" y="connsiteY45329"/>
              </a:cxn>
              <a:cxn ang="0">
                <a:pos x="connsiteX45330" y="connsiteY45330"/>
              </a:cxn>
              <a:cxn ang="0">
                <a:pos x="connsiteX45331" y="connsiteY45331"/>
              </a:cxn>
              <a:cxn ang="0">
                <a:pos x="connsiteX45332" y="connsiteY45332"/>
              </a:cxn>
              <a:cxn ang="0">
                <a:pos x="connsiteX45333" y="connsiteY45333"/>
              </a:cxn>
              <a:cxn ang="0">
                <a:pos x="connsiteX45334" y="connsiteY45334"/>
              </a:cxn>
              <a:cxn ang="0">
                <a:pos x="connsiteX45335" y="connsiteY45335"/>
              </a:cxn>
              <a:cxn ang="0">
                <a:pos x="connsiteX45336" y="connsiteY45336"/>
              </a:cxn>
              <a:cxn ang="0">
                <a:pos x="connsiteX45337" y="connsiteY45337"/>
              </a:cxn>
              <a:cxn ang="0">
                <a:pos x="connsiteX45338" y="connsiteY45338"/>
              </a:cxn>
              <a:cxn ang="0">
                <a:pos x="connsiteX45339" y="connsiteY45339"/>
              </a:cxn>
              <a:cxn ang="0">
                <a:pos x="connsiteX45340" y="connsiteY45340"/>
              </a:cxn>
              <a:cxn ang="0">
                <a:pos x="connsiteX45341" y="connsiteY45341"/>
              </a:cxn>
              <a:cxn ang="0">
                <a:pos x="connsiteX45342" y="connsiteY45342"/>
              </a:cxn>
              <a:cxn ang="0">
                <a:pos x="connsiteX45343" y="connsiteY45343"/>
              </a:cxn>
              <a:cxn ang="0">
                <a:pos x="connsiteX45344" y="connsiteY45344"/>
              </a:cxn>
              <a:cxn ang="0">
                <a:pos x="connsiteX45345" y="connsiteY45345"/>
              </a:cxn>
              <a:cxn ang="0">
                <a:pos x="connsiteX45346" y="connsiteY45346"/>
              </a:cxn>
              <a:cxn ang="0">
                <a:pos x="connsiteX45347" y="connsiteY45347"/>
              </a:cxn>
              <a:cxn ang="0">
                <a:pos x="connsiteX45348" y="connsiteY45348"/>
              </a:cxn>
              <a:cxn ang="0">
                <a:pos x="connsiteX45349" y="connsiteY45349"/>
              </a:cxn>
              <a:cxn ang="0">
                <a:pos x="connsiteX45350" y="connsiteY45350"/>
              </a:cxn>
              <a:cxn ang="0">
                <a:pos x="connsiteX45351" y="connsiteY45351"/>
              </a:cxn>
              <a:cxn ang="0">
                <a:pos x="connsiteX45352" y="connsiteY45352"/>
              </a:cxn>
              <a:cxn ang="0">
                <a:pos x="connsiteX45353" y="connsiteY45353"/>
              </a:cxn>
              <a:cxn ang="0">
                <a:pos x="connsiteX45354" y="connsiteY45354"/>
              </a:cxn>
              <a:cxn ang="0">
                <a:pos x="connsiteX45355" y="connsiteY45355"/>
              </a:cxn>
              <a:cxn ang="0">
                <a:pos x="connsiteX45356" y="connsiteY45356"/>
              </a:cxn>
              <a:cxn ang="0">
                <a:pos x="connsiteX45357" y="connsiteY45357"/>
              </a:cxn>
              <a:cxn ang="0">
                <a:pos x="connsiteX45358" y="connsiteY45358"/>
              </a:cxn>
              <a:cxn ang="0">
                <a:pos x="connsiteX45359" y="connsiteY45359"/>
              </a:cxn>
              <a:cxn ang="0">
                <a:pos x="connsiteX45360" y="connsiteY45360"/>
              </a:cxn>
              <a:cxn ang="0">
                <a:pos x="connsiteX45361" y="connsiteY45361"/>
              </a:cxn>
              <a:cxn ang="0">
                <a:pos x="connsiteX45362" y="connsiteY45362"/>
              </a:cxn>
              <a:cxn ang="0">
                <a:pos x="connsiteX45363" y="connsiteY45363"/>
              </a:cxn>
              <a:cxn ang="0">
                <a:pos x="connsiteX45364" y="connsiteY45364"/>
              </a:cxn>
              <a:cxn ang="0">
                <a:pos x="connsiteX45365" y="connsiteY45365"/>
              </a:cxn>
              <a:cxn ang="0">
                <a:pos x="connsiteX45366" y="connsiteY45366"/>
              </a:cxn>
              <a:cxn ang="0">
                <a:pos x="connsiteX45367" y="connsiteY45367"/>
              </a:cxn>
              <a:cxn ang="0">
                <a:pos x="connsiteX45368" y="connsiteY45368"/>
              </a:cxn>
              <a:cxn ang="0">
                <a:pos x="connsiteX45369" y="connsiteY45369"/>
              </a:cxn>
              <a:cxn ang="0">
                <a:pos x="connsiteX45370" y="connsiteY45370"/>
              </a:cxn>
              <a:cxn ang="0">
                <a:pos x="connsiteX45371" y="connsiteY45371"/>
              </a:cxn>
              <a:cxn ang="0">
                <a:pos x="connsiteX45372" y="connsiteY45372"/>
              </a:cxn>
              <a:cxn ang="0">
                <a:pos x="connsiteX45373" y="connsiteY45373"/>
              </a:cxn>
              <a:cxn ang="0">
                <a:pos x="connsiteX45374" y="connsiteY45374"/>
              </a:cxn>
              <a:cxn ang="0">
                <a:pos x="connsiteX45375" y="connsiteY45375"/>
              </a:cxn>
              <a:cxn ang="0">
                <a:pos x="connsiteX45376" y="connsiteY45376"/>
              </a:cxn>
              <a:cxn ang="0">
                <a:pos x="connsiteX45377" y="connsiteY45377"/>
              </a:cxn>
              <a:cxn ang="0">
                <a:pos x="connsiteX45378" y="connsiteY45378"/>
              </a:cxn>
              <a:cxn ang="0">
                <a:pos x="connsiteX45379" y="connsiteY45379"/>
              </a:cxn>
              <a:cxn ang="0">
                <a:pos x="connsiteX45380" y="connsiteY45380"/>
              </a:cxn>
              <a:cxn ang="0">
                <a:pos x="connsiteX45381" y="connsiteY45381"/>
              </a:cxn>
              <a:cxn ang="0">
                <a:pos x="connsiteX45382" y="connsiteY45382"/>
              </a:cxn>
              <a:cxn ang="0">
                <a:pos x="connsiteX45383" y="connsiteY45383"/>
              </a:cxn>
              <a:cxn ang="0">
                <a:pos x="connsiteX45384" y="connsiteY45384"/>
              </a:cxn>
              <a:cxn ang="0">
                <a:pos x="connsiteX45385" y="connsiteY45385"/>
              </a:cxn>
              <a:cxn ang="0">
                <a:pos x="connsiteX45386" y="connsiteY45386"/>
              </a:cxn>
              <a:cxn ang="0">
                <a:pos x="connsiteX45387" y="connsiteY45387"/>
              </a:cxn>
              <a:cxn ang="0">
                <a:pos x="connsiteX45388" y="connsiteY45388"/>
              </a:cxn>
              <a:cxn ang="0">
                <a:pos x="connsiteX45389" y="connsiteY45389"/>
              </a:cxn>
              <a:cxn ang="0">
                <a:pos x="connsiteX45390" y="connsiteY45390"/>
              </a:cxn>
              <a:cxn ang="0">
                <a:pos x="connsiteX45391" y="connsiteY45391"/>
              </a:cxn>
              <a:cxn ang="0">
                <a:pos x="connsiteX45392" y="connsiteY45392"/>
              </a:cxn>
              <a:cxn ang="0">
                <a:pos x="connsiteX45393" y="connsiteY45393"/>
              </a:cxn>
              <a:cxn ang="0">
                <a:pos x="connsiteX45394" y="connsiteY45394"/>
              </a:cxn>
              <a:cxn ang="0">
                <a:pos x="connsiteX45395" y="connsiteY45395"/>
              </a:cxn>
              <a:cxn ang="0">
                <a:pos x="connsiteX45396" y="connsiteY45396"/>
              </a:cxn>
              <a:cxn ang="0">
                <a:pos x="connsiteX45397" y="connsiteY45397"/>
              </a:cxn>
              <a:cxn ang="0">
                <a:pos x="connsiteX45398" y="connsiteY45398"/>
              </a:cxn>
              <a:cxn ang="0">
                <a:pos x="connsiteX45399" y="connsiteY45399"/>
              </a:cxn>
              <a:cxn ang="0">
                <a:pos x="connsiteX45400" y="connsiteY45400"/>
              </a:cxn>
              <a:cxn ang="0">
                <a:pos x="connsiteX45401" y="connsiteY45401"/>
              </a:cxn>
              <a:cxn ang="0">
                <a:pos x="connsiteX45402" y="connsiteY45402"/>
              </a:cxn>
              <a:cxn ang="0">
                <a:pos x="connsiteX45403" y="connsiteY45403"/>
              </a:cxn>
              <a:cxn ang="0">
                <a:pos x="connsiteX45404" y="connsiteY45404"/>
              </a:cxn>
              <a:cxn ang="0">
                <a:pos x="connsiteX45405" y="connsiteY45405"/>
              </a:cxn>
              <a:cxn ang="0">
                <a:pos x="connsiteX45406" y="connsiteY45406"/>
              </a:cxn>
              <a:cxn ang="0">
                <a:pos x="connsiteX45407" y="connsiteY45407"/>
              </a:cxn>
              <a:cxn ang="0">
                <a:pos x="connsiteX45408" y="connsiteY45408"/>
              </a:cxn>
              <a:cxn ang="0">
                <a:pos x="connsiteX45409" y="connsiteY45409"/>
              </a:cxn>
              <a:cxn ang="0">
                <a:pos x="connsiteX45410" y="connsiteY45410"/>
              </a:cxn>
              <a:cxn ang="0">
                <a:pos x="connsiteX45411" y="connsiteY45411"/>
              </a:cxn>
              <a:cxn ang="0">
                <a:pos x="connsiteX45412" y="connsiteY45412"/>
              </a:cxn>
              <a:cxn ang="0">
                <a:pos x="connsiteX45413" y="connsiteY45413"/>
              </a:cxn>
              <a:cxn ang="0">
                <a:pos x="connsiteX45414" y="connsiteY45414"/>
              </a:cxn>
              <a:cxn ang="0">
                <a:pos x="connsiteX45415" y="connsiteY45415"/>
              </a:cxn>
              <a:cxn ang="0">
                <a:pos x="connsiteX45416" y="connsiteY45416"/>
              </a:cxn>
              <a:cxn ang="0">
                <a:pos x="connsiteX45417" y="connsiteY45417"/>
              </a:cxn>
              <a:cxn ang="0">
                <a:pos x="connsiteX45418" y="connsiteY45418"/>
              </a:cxn>
              <a:cxn ang="0">
                <a:pos x="connsiteX45419" y="connsiteY45419"/>
              </a:cxn>
              <a:cxn ang="0">
                <a:pos x="connsiteX45420" y="connsiteY45420"/>
              </a:cxn>
              <a:cxn ang="0">
                <a:pos x="connsiteX45421" y="connsiteY45421"/>
              </a:cxn>
              <a:cxn ang="0">
                <a:pos x="connsiteX45422" y="connsiteY45422"/>
              </a:cxn>
              <a:cxn ang="0">
                <a:pos x="connsiteX45423" y="connsiteY45423"/>
              </a:cxn>
              <a:cxn ang="0">
                <a:pos x="connsiteX45424" y="connsiteY45424"/>
              </a:cxn>
              <a:cxn ang="0">
                <a:pos x="connsiteX45425" y="connsiteY45425"/>
              </a:cxn>
              <a:cxn ang="0">
                <a:pos x="connsiteX45426" y="connsiteY45426"/>
              </a:cxn>
              <a:cxn ang="0">
                <a:pos x="connsiteX45427" y="connsiteY45427"/>
              </a:cxn>
              <a:cxn ang="0">
                <a:pos x="connsiteX45428" y="connsiteY45428"/>
              </a:cxn>
              <a:cxn ang="0">
                <a:pos x="connsiteX45429" y="connsiteY45429"/>
              </a:cxn>
              <a:cxn ang="0">
                <a:pos x="connsiteX45430" y="connsiteY45430"/>
              </a:cxn>
              <a:cxn ang="0">
                <a:pos x="connsiteX45431" y="connsiteY45431"/>
              </a:cxn>
              <a:cxn ang="0">
                <a:pos x="connsiteX45432" y="connsiteY45432"/>
              </a:cxn>
              <a:cxn ang="0">
                <a:pos x="connsiteX45433" y="connsiteY45433"/>
              </a:cxn>
              <a:cxn ang="0">
                <a:pos x="connsiteX45434" y="connsiteY45434"/>
              </a:cxn>
              <a:cxn ang="0">
                <a:pos x="connsiteX45435" y="connsiteY45435"/>
              </a:cxn>
              <a:cxn ang="0">
                <a:pos x="connsiteX45436" y="connsiteY45436"/>
              </a:cxn>
              <a:cxn ang="0">
                <a:pos x="connsiteX45437" y="connsiteY45437"/>
              </a:cxn>
              <a:cxn ang="0">
                <a:pos x="connsiteX45438" y="connsiteY45438"/>
              </a:cxn>
              <a:cxn ang="0">
                <a:pos x="connsiteX45439" y="connsiteY45439"/>
              </a:cxn>
              <a:cxn ang="0">
                <a:pos x="connsiteX45440" y="connsiteY45440"/>
              </a:cxn>
              <a:cxn ang="0">
                <a:pos x="connsiteX45441" y="connsiteY45441"/>
              </a:cxn>
              <a:cxn ang="0">
                <a:pos x="connsiteX45442" y="connsiteY45442"/>
              </a:cxn>
              <a:cxn ang="0">
                <a:pos x="connsiteX45443" y="connsiteY45443"/>
              </a:cxn>
              <a:cxn ang="0">
                <a:pos x="connsiteX45444" y="connsiteY45444"/>
              </a:cxn>
              <a:cxn ang="0">
                <a:pos x="connsiteX45445" y="connsiteY45445"/>
              </a:cxn>
              <a:cxn ang="0">
                <a:pos x="connsiteX45446" y="connsiteY45446"/>
              </a:cxn>
              <a:cxn ang="0">
                <a:pos x="connsiteX45447" y="connsiteY45447"/>
              </a:cxn>
              <a:cxn ang="0">
                <a:pos x="connsiteX45448" y="connsiteY45448"/>
              </a:cxn>
              <a:cxn ang="0">
                <a:pos x="connsiteX45449" y="connsiteY45449"/>
              </a:cxn>
              <a:cxn ang="0">
                <a:pos x="connsiteX45450" y="connsiteY45450"/>
              </a:cxn>
              <a:cxn ang="0">
                <a:pos x="connsiteX45451" y="connsiteY45451"/>
              </a:cxn>
              <a:cxn ang="0">
                <a:pos x="connsiteX45452" y="connsiteY45452"/>
              </a:cxn>
              <a:cxn ang="0">
                <a:pos x="connsiteX45453" y="connsiteY45453"/>
              </a:cxn>
              <a:cxn ang="0">
                <a:pos x="connsiteX45454" y="connsiteY45454"/>
              </a:cxn>
              <a:cxn ang="0">
                <a:pos x="connsiteX45455" y="connsiteY45455"/>
              </a:cxn>
              <a:cxn ang="0">
                <a:pos x="connsiteX45456" y="connsiteY45456"/>
              </a:cxn>
              <a:cxn ang="0">
                <a:pos x="connsiteX45457" y="connsiteY45457"/>
              </a:cxn>
              <a:cxn ang="0">
                <a:pos x="connsiteX45458" y="connsiteY45458"/>
              </a:cxn>
              <a:cxn ang="0">
                <a:pos x="connsiteX45459" y="connsiteY45459"/>
              </a:cxn>
              <a:cxn ang="0">
                <a:pos x="connsiteX45460" y="connsiteY45460"/>
              </a:cxn>
              <a:cxn ang="0">
                <a:pos x="connsiteX45461" y="connsiteY45461"/>
              </a:cxn>
              <a:cxn ang="0">
                <a:pos x="connsiteX45462" y="connsiteY45462"/>
              </a:cxn>
              <a:cxn ang="0">
                <a:pos x="connsiteX45463" y="connsiteY45463"/>
              </a:cxn>
              <a:cxn ang="0">
                <a:pos x="connsiteX45464" y="connsiteY45464"/>
              </a:cxn>
              <a:cxn ang="0">
                <a:pos x="connsiteX45465" y="connsiteY45465"/>
              </a:cxn>
              <a:cxn ang="0">
                <a:pos x="connsiteX45466" y="connsiteY45466"/>
              </a:cxn>
              <a:cxn ang="0">
                <a:pos x="connsiteX45467" y="connsiteY45467"/>
              </a:cxn>
              <a:cxn ang="0">
                <a:pos x="connsiteX45468" y="connsiteY45468"/>
              </a:cxn>
              <a:cxn ang="0">
                <a:pos x="connsiteX45469" y="connsiteY45469"/>
              </a:cxn>
              <a:cxn ang="0">
                <a:pos x="connsiteX45470" y="connsiteY45470"/>
              </a:cxn>
              <a:cxn ang="0">
                <a:pos x="connsiteX45471" y="connsiteY45471"/>
              </a:cxn>
              <a:cxn ang="0">
                <a:pos x="connsiteX45472" y="connsiteY45472"/>
              </a:cxn>
              <a:cxn ang="0">
                <a:pos x="connsiteX45473" y="connsiteY45473"/>
              </a:cxn>
              <a:cxn ang="0">
                <a:pos x="connsiteX45474" y="connsiteY45474"/>
              </a:cxn>
              <a:cxn ang="0">
                <a:pos x="connsiteX45475" y="connsiteY45475"/>
              </a:cxn>
              <a:cxn ang="0">
                <a:pos x="connsiteX45476" y="connsiteY45476"/>
              </a:cxn>
              <a:cxn ang="0">
                <a:pos x="connsiteX45477" y="connsiteY45477"/>
              </a:cxn>
              <a:cxn ang="0">
                <a:pos x="connsiteX45478" y="connsiteY45478"/>
              </a:cxn>
              <a:cxn ang="0">
                <a:pos x="connsiteX45479" y="connsiteY45479"/>
              </a:cxn>
              <a:cxn ang="0">
                <a:pos x="connsiteX45480" y="connsiteY45480"/>
              </a:cxn>
              <a:cxn ang="0">
                <a:pos x="connsiteX45481" y="connsiteY45481"/>
              </a:cxn>
              <a:cxn ang="0">
                <a:pos x="connsiteX45482" y="connsiteY45482"/>
              </a:cxn>
              <a:cxn ang="0">
                <a:pos x="connsiteX45483" y="connsiteY45483"/>
              </a:cxn>
              <a:cxn ang="0">
                <a:pos x="connsiteX45484" y="connsiteY45484"/>
              </a:cxn>
              <a:cxn ang="0">
                <a:pos x="connsiteX45485" y="connsiteY45485"/>
              </a:cxn>
              <a:cxn ang="0">
                <a:pos x="connsiteX45486" y="connsiteY45486"/>
              </a:cxn>
              <a:cxn ang="0">
                <a:pos x="connsiteX45487" y="connsiteY45487"/>
              </a:cxn>
              <a:cxn ang="0">
                <a:pos x="connsiteX45488" y="connsiteY45488"/>
              </a:cxn>
              <a:cxn ang="0">
                <a:pos x="connsiteX45489" y="connsiteY45489"/>
              </a:cxn>
              <a:cxn ang="0">
                <a:pos x="connsiteX45490" y="connsiteY45490"/>
              </a:cxn>
              <a:cxn ang="0">
                <a:pos x="connsiteX45491" y="connsiteY45491"/>
              </a:cxn>
              <a:cxn ang="0">
                <a:pos x="connsiteX45492" y="connsiteY45492"/>
              </a:cxn>
              <a:cxn ang="0">
                <a:pos x="connsiteX45493" y="connsiteY45493"/>
              </a:cxn>
              <a:cxn ang="0">
                <a:pos x="connsiteX45494" y="connsiteY45494"/>
              </a:cxn>
              <a:cxn ang="0">
                <a:pos x="connsiteX45495" y="connsiteY45495"/>
              </a:cxn>
              <a:cxn ang="0">
                <a:pos x="connsiteX45496" y="connsiteY45496"/>
              </a:cxn>
              <a:cxn ang="0">
                <a:pos x="connsiteX45497" y="connsiteY45497"/>
              </a:cxn>
              <a:cxn ang="0">
                <a:pos x="connsiteX45498" y="connsiteY45498"/>
              </a:cxn>
              <a:cxn ang="0">
                <a:pos x="connsiteX45499" y="connsiteY45499"/>
              </a:cxn>
              <a:cxn ang="0">
                <a:pos x="connsiteX45500" y="connsiteY45500"/>
              </a:cxn>
              <a:cxn ang="0">
                <a:pos x="connsiteX45501" y="connsiteY45501"/>
              </a:cxn>
              <a:cxn ang="0">
                <a:pos x="connsiteX45502" y="connsiteY45502"/>
              </a:cxn>
              <a:cxn ang="0">
                <a:pos x="connsiteX45503" y="connsiteY45503"/>
              </a:cxn>
              <a:cxn ang="0">
                <a:pos x="connsiteX45504" y="connsiteY45504"/>
              </a:cxn>
              <a:cxn ang="0">
                <a:pos x="connsiteX45505" y="connsiteY45505"/>
              </a:cxn>
              <a:cxn ang="0">
                <a:pos x="connsiteX45506" y="connsiteY45506"/>
              </a:cxn>
              <a:cxn ang="0">
                <a:pos x="connsiteX45507" y="connsiteY45507"/>
              </a:cxn>
              <a:cxn ang="0">
                <a:pos x="connsiteX45508" y="connsiteY45508"/>
              </a:cxn>
              <a:cxn ang="0">
                <a:pos x="connsiteX45509" y="connsiteY45509"/>
              </a:cxn>
              <a:cxn ang="0">
                <a:pos x="connsiteX45510" y="connsiteY45510"/>
              </a:cxn>
              <a:cxn ang="0">
                <a:pos x="connsiteX45511" y="connsiteY45511"/>
              </a:cxn>
              <a:cxn ang="0">
                <a:pos x="connsiteX45512" y="connsiteY45512"/>
              </a:cxn>
              <a:cxn ang="0">
                <a:pos x="connsiteX45513" y="connsiteY45513"/>
              </a:cxn>
              <a:cxn ang="0">
                <a:pos x="connsiteX45514" y="connsiteY45514"/>
              </a:cxn>
              <a:cxn ang="0">
                <a:pos x="connsiteX45515" y="connsiteY45515"/>
              </a:cxn>
              <a:cxn ang="0">
                <a:pos x="connsiteX45516" y="connsiteY45516"/>
              </a:cxn>
              <a:cxn ang="0">
                <a:pos x="connsiteX45517" y="connsiteY45517"/>
              </a:cxn>
              <a:cxn ang="0">
                <a:pos x="connsiteX45518" y="connsiteY45518"/>
              </a:cxn>
              <a:cxn ang="0">
                <a:pos x="connsiteX45519" y="connsiteY45519"/>
              </a:cxn>
              <a:cxn ang="0">
                <a:pos x="connsiteX45520" y="connsiteY45520"/>
              </a:cxn>
              <a:cxn ang="0">
                <a:pos x="connsiteX45521" y="connsiteY45521"/>
              </a:cxn>
              <a:cxn ang="0">
                <a:pos x="connsiteX45522" y="connsiteY45522"/>
              </a:cxn>
              <a:cxn ang="0">
                <a:pos x="connsiteX45523" y="connsiteY45523"/>
              </a:cxn>
              <a:cxn ang="0">
                <a:pos x="connsiteX45524" y="connsiteY45524"/>
              </a:cxn>
              <a:cxn ang="0">
                <a:pos x="connsiteX45525" y="connsiteY45525"/>
              </a:cxn>
              <a:cxn ang="0">
                <a:pos x="connsiteX45526" y="connsiteY45526"/>
              </a:cxn>
              <a:cxn ang="0">
                <a:pos x="connsiteX45527" y="connsiteY45527"/>
              </a:cxn>
              <a:cxn ang="0">
                <a:pos x="connsiteX45528" y="connsiteY45528"/>
              </a:cxn>
              <a:cxn ang="0">
                <a:pos x="connsiteX45529" y="connsiteY45529"/>
              </a:cxn>
              <a:cxn ang="0">
                <a:pos x="connsiteX45530" y="connsiteY45530"/>
              </a:cxn>
              <a:cxn ang="0">
                <a:pos x="connsiteX45531" y="connsiteY45531"/>
              </a:cxn>
              <a:cxn ang="0">
                <a:pos x="connsiteX45532" y="connsiteY45532"/>
              </a:cxn>
              <a:cxn ang="0">
                <a:pos x="connsiteX45533" y="connsiteY45533"/>
              </a:cxn>
              <a:cxn ang="0">
                <a:pos x="connsiteX45534" y="connsiteY45534"/>
              </a:cxn>
              <a:cxn ang="0">
                <a:pos x="connsiteX45535" y="connsiteY45535"/>
              </a:cxn>
              <a:cxn ang="0">
                <a:pos x="connsiteX45536" y="connsiteY45536"/>
              </a:cxn>
              <a:cxn ang="0">
                <a:pos x="connsiteX45537" y="connsiteY45537"/>
              </a:cxn>
              <a:cxn ang="0">
                <a:pos x="connsiteX45538" y="connsiteY45538"/>
              </a:cxn>
              <a:cxn ang="0">
                <a:pos x="connsiteX45539" y="connsiteY45539"/>
              </a:cxn>
              <a:cxn ang="0">
                <a:pos x="connsiteX45540" y="connsiteY45540"/>
              </a:cxn>
              <a:cxn ang="0">
                <a:pos x="connsiteX45541" y="connsiteY45541"/>
              </a:cxn>
              <a:cxn ang="0">
                <a:pos x="connsiteX45542" y="connsiteY45542"/>
              </a:cxn>
              <a:cxn ang="0">
                <a:pos x="connsiteX45543" y="connsiteY45543"/>
              </a:cxn>
              <a:cxn ang="0">
                <a:pos x="connsiteX45544" y="connsiteY45544"/>
              </a:cxn>
              <a:cxn ang="0">
                <a:pos x="connsiteX45545" y="connsiteY45545"/>
              </a:cxn>
              <a:cxn ang="0">
                <a:pos x="connsiteX45546" y="connsiteY45546"/>
              </a:cxn>
              <a:cxn ang="0">
                <a:pos x="connsiteX45547" y="connsiteY45547"/>
              </a:cxn>
              <a:cxn ang="0">
                <a:pos x="connsiteX45548" y="connsiteY45548"/>
              </a:cxn>
              <a:cxn ang="0">
                <a:pos x="connsiteX45549" y="connsiteY45549"/>
              </a:cxn>
              <a:cxn ang="0">
                <a:pos x="connsiteX45550" y="connsiteY45550"/>
              </a:cxn>
              <a:cxn ang="0">
                <a:pos x="connsiteX45551" y="connsiteY45551"/>
              </a:cxn>
              <a:cxn ang="0">
                <a:pos x="connsiteX45552" y="connsiteY45552"/>
              </a:cxn>
              <a:cxn ang="0">
                <a:pos x="connsiteX45553" y="connsiteY45553"/>
              </a:cxn>
              <a:cxn ang="0">
                <a:pos x="connsiteX45554" y="connsiteY45554"/>
              </a:cxn>
              <a:cxn ang="0">
                <a:pos x="connsiteX45555" y="connsiteY45555"/>
              </a:cxn>
              <a:cxn ang="0">
                <a:pos x="connsiteX45556" y="connsiteY45556"/>
              </a:cxn>
              <a:cxn ang="0">
                <a:pos x="connsiteX45557" y="connsiteY45557"/>
              </a:cxn>
              <a:cxn ang="0">
                <a:pos x="connsiteX45558" y="connsiteY45558"/>
              </a:cxn>
              <a:cxn ang="0">
                <a:pos x="connsiteX45559" y="connsiteY45559"/>
              </a:cxn>
              <a:cxn ang="0">
                <a:pos x="connsiteX45560" y="connsiteY45560"/>
              </a:cxn>
              <a:cxn ang="0">
                <a:pos x="connsiteX45561" y="connsiteY45561"/>
              </a:cxn>
              <a:cxn ang="0">
                <a:pos x="connsiteX45562" y="connsiteY45562"/>
              </a:cxn>
              <a:cxn ang="0">
                <a:pos x="connsiteX45563" y="connsiteY45563"/>
              </a:cxn>
              <a:cxn ang="0">
                <a:pos x="connsiteX45564" y="connsiteY45564"/>
              </a:cxn>
              <a:cxn ang="0">
                <a:pos x="connsiteX45565" y="connsiteY45565"/>
              </a:cxn>
              <a:cxn ang="0">
                <a:pos x="connsiteX45566" y="connsiteY45566"/>
              </a:cxn>
              <a:cxn ang="0">
                <a:pos x="connsiteX45567" y="connsiteY45567"/>
              </a:cxn>
              <a:cxn ang="0">
                <a:pos x="connsiteX45568" y="connsiteY45568"/>
              </a:cxn>
              <a:cxn ang="0">
                <a:pos x="connsiteX45569" y="connsiteY45569"/>
              </a:cxn>
              <a:cxn ang="0">
                <a:pos x="connsiteX45570" y="connsiteY45570"/>
              </a:cxn>
              <a:cxn ang="0">
                <a:pos x="connsiteX45571" y="connsiteY45571"/>
              </a:cxn>
              <a:cxn ang="0">
                <a:pos x="connsiteX45572" y="connsiteY45572"/>
              </a:cxn>
              <a:cxn ang="0">
                <a:pos x="connsiteX45573" y="connsiteY45573"/>
              </a:cxn>
              <a:cxn ang="0">
                <a:pos x="connsiteX45574" y="connsiteY45574"/>
              </a:cxn>
              <a:cxn ang="0">
                <a:pos x="connsiteX45575" y="connsiteY45575"/>
              </a:cxn>
              <a:cxn ang="0">
                <a:pos x="connsiteX45576" y="connsiteY45576"/>
              </a:cxn>
              <a:cxn ang="0">
                <a:pos x="connsiteX45577" y="connsiteY45577"/>
              </a:cxn>
              <a:cxn ang="0">
                <a:pos x="connsiteX45578" y="connsiteY45578"/>
              </a:cxn>
              <a:cxn ang="0">
                <a:pos x="connsiteX45579" y="connsiteY45579"/>
              </a:cxn>
              <a:cxn ang="0">
                <a:pos x="connsiteX45580" y="connsiteY45580"/>
              </a:cxn>
              <a:cxn ang="0">
                <a:pos x="connsiteX45581" y="connsiteY45581"/>
              </a:cxn>
              <a:cxn ang="0">
                <a:pos x="connsiteX45582" y="connsiteY45582"/>
              </a:cxn>
              <a:cxn ang="0">
                <a:pos x="connsiteX45583" y="connsiteY45583"/>
              </a:cxn>
              <a:cxn ang="0">
                <a:pos x="connsiteX45584" y="connsiteY45584"/>
              </a:cxn>
              <a:cxn ang="0">
                <a:pos x="connsiteX45585" y="connsiteY45585"/>
              </a:cxn>
              <a:cxn ang="0">
                <a:pos x="connsiteX45586" y="connsiteY45586"/>
              </a:cxn>
              <a:cxn ang="0">
                <a:pos x="connsiteX45587" y="connsiteY45587"/>
              </a:cxn>
              <a:cxn ang="0">
                <a:pos x="connsiteX45588" y="connsiteY45588"/>
              </a:cxn>
              <a:cxn ang="0">
                <a:pos x="connsiteX45589" y="connsiteY45589"/>
              </a:cxn>
              <a:cxn ang="0">
                <a:pos x="connsiteX45590" y="connsiteY45590"/>
              </a:cxn>
              <a:cxn ang="0">
                <a:pos x="connsiteX45591" y="connsiteY45591"/>
              </a:cxn>
              <a:cxn ang="0">
                <a:pos x="connsiteX45592" y="connsiteY45592"/>
              </a:cxn>
              <a:cxn ang="0">
                <a:pos x="connsiteX45593" y="connsiteY45593"/>
              </a:cxn>
              <a:cxn ang="0">
                <a:pos x="connsiteX45594" y="connsiteY45594"/>
              </a:cxn>
              <a:cxn ang="0">
                <a:pos x="connsiteX45595" y="connsiteY45595"/>
              </a:cxn>
              <a:cxn ang="0">
                <a:pos x="connsiteX45596" y="connsiteY45596"/>
              </a:cxn>
              <a:cxn ang="0">
                <a:pos x="connsiteX45597" y="connsiteY45597"/>
              </a:cxn>
              <a:cxn ang="0">
                <a:pos x="connsiteX45598" y="connsiteY45598"/>
              </a:cxn>
              <a:cxn ang="0">
                <a:pos x="connsiteX45599" y="connsiteY45599"/>
              </a:cxn>
              <a:cxn ang="0">
                <a:pos x="connsiteX45600" y="connsiteY45600"/>
              </a:cxn>
              <a:cxn ang="0">
                <a:pos x="connsiteX45601" y="connsiteY45601"/>
              </a:cxn>
              <a:cxn ang="0">
                <a:pos x="connsiteX45602" y="connsiteY45602"/>
              </a:cxn>
              <a:cxn ang="0">
                <a:pos x="connsiteX45603" y="connsiteY45603"/>
              </a:cxn>
              <a:cxn ang="0">
                <a:pos x="connsiteX45604" y="connsiteY45604"/>
              </a:cxn>
              <a:cxn ang="0">
                <a:pos x="connsiteX45605" y="connsiteY45605"/>
              </a:cxn>
              <a:cxn ang="0">
                <a:pos x="connsiteX45606" y="connsiteY45606"/>
              </a:cxn>
              <a:cxn ang="0">
                <a:pos x="connsiteX45607" y="connsiteY45607"/>
              </a:cxn>
              <a:cxn ang="0">
                <a:pos x="connsiteX45608" y="connsiteY45608"/>
              </a:cxn>
              <a:cxn ang="0">
                <a:pos x="connsiteX45609" y="connsiteY45609"/>
              </a:cxn>
              <a:cxn ang="0">
                <a:pos x="connsiteX45610" y="connsiteY45610"/>
              </a:cxn>
              <a:cxn ang="0">
                <a:pos x="connsiteX45611" y="connsiteY45611"/>
              </a:cxn>
              <a:cxn ang="0">
                <a:pos x="connsiteX45612" y="connsiteY45612"/>
              </a:cxn>
              <a:cxn ang="0">
                <a:pos x="connsiteX45613" y="connsiteY45613"/>
              </a:cxn>
              <a:cxn ang="0">
                <a:pos x="connsiteX45614" y="connsiteY45614"/>
              </a:cxn>
              <a:cxn ang="0">
                <a:pos x="connsiteX45615" y="connsiteY45615"/>
              </a:cxn>
              <a:cxn ang="0">
                <a:pos x="connsiteX45616" y="connsiteY45616"/>
              </a:cxn>
              <a:cxn ang="0">
                <a:pos x="connsiteX45617" y="connsiteY45617"/>
              </a:cxn>
              <a:cxn ang="0">
                <a:pos x="connsiteX45618" y="connsiteY45618"/>
              </a:cxn>
              <a:cxn ang="0">
                <a:pos x="connsiteX45619" y="connsiteY45619"/>
              </a:cxn>
              <a:cxn ang="0">
                <a:pos x="connsiteX45620" y="connsiteY45620"/>
              </a:cxn>
              <a:cxn ang="0">
                <a:pos x="connsiteX45621" y="connsiteY45621"/>
              </a:cxn>
              <a:cxn ang="0">
                <a:pos x="connsiteX45622" y="connsiteY45622"/>
              </a:cxn>
              <a:cxn ang="0">
                <a:pos x="connsiteX45623" y="connsiteY45623"/>
              </a:cxn>
              <a:cxn ang="0">
                <a:pos x="connsiteX45624" y="connsiteY45624"/>
              </a:cxn>
              <a:cxn ang="0">
                <a:pos x="connsiteX45625" y="connsiteY45625"/>
              </a:cxn>
              <a:cxn ang="0">
                <a:pos x="connsiteX45626" y="connsiteY45626"/>
              </a:cxn>
              <a:cxn ang="0">
                <a:pos x="connsiteX45627" y="connsiteY45627"/>
              </a:cxn>
              <a:cxn ang="0">
                <a:pos x="connsiteX45628" y="connsiteY45628"/>
              </a:cxn>
              <a:cxn ang="0">
                <a:pos x="connsiteX45629" y="connsiteY45629"/>
              </a:cxn>
              <a:cxn ang="0">
                <a:pos x="connsiteX45630" y="connsiteY45630"/>
              </a:cxn>
              <a:cxn ang="0">
                <a:pos x="connsiteX45631" y="connsiteY45631"/>
              </a:cxn>
              <a:cxn ang="0">
                <a:pos x="connsiteX45632" y="connsiteY45632"/>
              </a:cxn>
              <a:cxn ang="0">
                <a:pos x="connsiteX45633" y="connsiteY45633"/>
              </a:cxn>
              <a:cxn ang="0">
                <a:pos x="connsiteX45634" y="connsiteY45634"/>
              </a:cxn>
              <a:cxn ang="0">
                <a:pos x="connsiteX45635" y="connsiteY45635"/>
              </a:cxn>
              <a:cxn ang="0">
                <a:pos x="connsiteX45636" y="connsiteY45636"/>
              </a:cxn>
              <a:cxn ang="0">
                <a:pos x="connsiteX45637" y="connsiteY45637"/>
              </a:cxn>
              <a:cxn ang="0">
                <a:pos x="connsiteX45638" y="connsiteY45638"/>
              </a:cxn>
              <a:cxn ang="0">
                <a:pos x="connsiteX45639" y="connsiteY45639"/>
              </a:cxn>
              <a:cxn ang="0">
                <a:pos x="connsiteX45640" y="connsiteY45640"/>
              </a:cxn>
              <a:cxn ang="0">
                <a:pos x="connsiteX45641" y="connsiteY45641"/>
              </a:cxn>
              <a:cxn ang="0">
                <a:pos x="connsiteX45642" y="connsiteY45642"/>
              </a:cxn>
              <a:cxn ang="0">
                <a:pos x="connsiteX45643" y="connsiteY45643"/>
              </a:cxn>
              <a:cxn ang="0">
                <a:pos x="connsiteX45644" y="connsiteY45644"/>
              </a:cxn>
              <a:cxn ang="0">
                <a:pos x="connsiteX45645" y="connsiteY45645"/>
              </a:cxn>
              <a:cxn ang="0">
                <a:pos x="connsiteX45646" y="connsiteY45646"/>
              </a:cxn>
              <a:cxn ang="0">
                <a:pos x="connsiteX45647" y="connsiteY45647"/>
              </a:cxn>
              <a:cxn ang="0">
                <a:pos x="connsiteX45648" y="connsiteY45648"/>
              </a:cxn>
              <a:cxn ang="0">
                <a:pos x="connsiteX45649" y="connsiteY45649"/>
              </a:cxn>
              <a:cxn ang="0">
                <a:pos x="connsiteX45650" y="connsiteY45650"/>
              </a:cxn>
              <a:cxn ang="0">
                <a:pos x="connsiteX45651" y="connsiteY45651"/>
              </a:cxn>
              <a:cxn ang="0">
                <a:pos x="connsiteX45652" y="connsiteY45652"/>
              </a:cxn>
              <a:cxn ang="0">
                <a:pos x="connsiteX45653" y="connsiteY45653"/>
              </a:cxn>
              <a:cxn ang="0">
                <a:pos x="connsiteX45654" y="connsiteY45654"/>
              </a:cxn>
              <a:cxn ang="0">
                <a:pos x="connsiteX45655" y="connsiteY45655"/>
              </a:cxn>
              <a:cxn ang="0">
                <a:pos x="connsiteX45656" y="connsiteY45656"/>
              </a:cxn>
              <a:cxn ang="0">
                <a:pos x="connsiteX45657" y="connsiteY45657"/>
              </a:cxn>
              <a:cxn ang="0">
                <a:pos x="connsiteX45658" y="connsiteY45658"/>
              </a:cxn>
              <a:cxn ang="0">
                <a:pos x="connsiteX45659" y="connsiteY45659"/>
              </a:cxn>
              <a:cxn ang="0">
                <a:pos x="connsiteX45660" y="connsiteY45660"/>
              </a:cxn>
              <a:cxn ang="0">
                <a:pos x="connsiteX45661" y="connsiteY45661"/>
              </a:cxn>
              <a:cxn ang="0">
                <a:pos x="connsiteX45662" y="connsiteY45662"/>
              </a:cxn>
              <a:cxn ang="0">
                <a:pos x="connsiteX45663" y="connsiteY45663"/>
              </a:cxn>
              <a:cxn ang="0">
                <a:pos x="connsiteX45664" y="connsiteY45664"/>
              </a:cxn>
              <a:cxn ang="0">
                <a:pos x="connsiteX45665" y="connsiteY45665"/>
              </a:cxn>
              <a:cxn ang="0">
                <a:pos x="connsiteX45666" y="connsiteY45666"/>
              </a:cxn>
              <a:cxn ang="0">
                <a:pos x="connsiteX45667" y="connsiteY45667"/>
              </a:cxn>
              <a:cxn ang="0">
                <a:pos x="connsiteX45668" y="connsiteY45668"/>
              </a:cxn>
              <a:cxn ang="0">
                <a:pos x="connsiteX45669" y="connsiteY45669"/>
              </a:cxn>
              <a:cxn ang="0">
                <a:pos x="connsiteX45670" y="connsiteY45670"/>
              </a:cxn>
              <a:cxn ang="0">
                <a:pos x="connsiteX45671" y="connsiteY45671"/>
              </a:cxn>
              <a:cxn ang="0">
                <a:pos x="connsiteX45672" y="connsiteY45672"/>
              </a:cxn>
              <a:cxn ang="0">
                <a:pos x="connsiteX45673" y="connsiteY45673"/>
              </a:cxn>
              <a:cxn ang="0">
                <a:pos x="connsiteX45674" y="connsiteY45674"/>
              </a:cxn>
              <a:cxn ang="0">
                <a:pos x="connsiteX45675" y="connsiteY45675"/>
              </a:cxn>
              <a:cxn ang="0">
                <a:pos x="connsiteX45676" y="connsiteY45676"/>
              </a:cxn>
              <a:cxn ang="0">
                <a:pos x="connsiteX45677" y="connsiteY45677"/>
              </a:cxn>
              <a:cxn ang="0">
                <a:pos x="connsiteX45678" y="connsiteY45678"/>
              </a:cxn>
              <a:cxn ang="0">
                <a:pos x="connsiteX45679" y="connsiteY45679"/>
              </a:cxn>
              <a:cxn ang="0">
                <a:pos x="connsiteX45680" y="connsiteY45680"/>
              </a:cxn>
              <a:cxn ang="0">
                <a:pos x="connsiteX45681" y="connsiteY45681"/>
              </a:cxn>
              <a:cxn ang="0">
                <a:pos x="connsiteX45682" y="connsiteY45682"/>
              </a:cxn>
              <a:cxn ang="0">
                <a:pos x="connsiteX45683" y="connsiteY45683"/>
              </a:cxn>
              <a:cxn ang="0">
                <a:pos x="connsiteX45684" y="connsiteY45684"/>
              </a:cxn>
              <a:cxn ang="0">
                <a:pos x="connsiteX45685" y="connsiteY45685"/>
              </a:cxn>
              <a:cxn ang="0">
                <a:pos x="connsiteX45686" y="connsiteY45686"/>
              </a:cxn>
              <a:cxn ang="0">
                <a:pos x="connsiteX45687" y="connsiteY45687"/>
              </a:cxn>
              <a:cxn ang="0">
                <a:pos x="connsiteX45688" y="connsiteY45688"/>
              </a:cxn>
              <a:cxn ang="0">
                <a:pos x="connsiteX45689" y="connsiteY45689"/>
              </a:cxn>
              <a:cxn ang="0">
                <a:pos x="connsiteX45690" y="connsiteY45690"/>
              </a:cxn>
              <a:cxn ang="0">
                <a:pos x="connsiteX45691" y="connsiteY45691"/>
              </a:cxn>
              <a:cxn ang="0">
                <a:pos x="connsiteX45692" y="connsiteY45692"/>
              </a:cxn>
              <a:cxn ang="0">
                <a:pos x="connsiteX45693" y="connsiteY45693"/>
              </a:cxn>
              <a:cxn ang="0">
                <a:pos x="connsiteX45694" y="connsiteY45694"/>
              </a:cxn>
              <a:cxn ang="0">
                <a:pos x="connsiteX45695" y="connsiteY45695"/>
              </a:cxn>
              <a:cxn ang="0">
                <a:pos x="connsiteX45696" y="connsiteY45696"/>
              </a:cxn>
              <a:cxn ang="0">
                <a:pos x="connsiteX45697" y="connsiteY45697"/>
              </a:cxn>
              <a:cxn ang="0">
                <a:pos x="connsiteX45698" y="connsiteY45698"/>
              </a:cxn>
              <a:cxn ang="0">
                <a:pos x="connsiteX45699" y="connsiteY45699"/>
              </a:cxn>
              <a:cxn ang="0">
                <a:pos x="connsiteX45700" y="connsiteY45700"/>
              </a:cxn>
              <a:cxn ang="0">
                <a:pos x="connsiteX45701" y="connsiteY45701"/>
              </a:cxn>
              <a:cxn ang="0">
                <a:pos x="connsiteX45702" y="connsiteY45702"/>
              </a:cxn>
              <a:cxn ang="0">
                <a:pos x="connsiteX45703" y="connsiteY45703"/>
              </a:cxn>
              <a:cxn ang="0">
                <a:pos x="connsiteX45704" y="connsiteY45704"/>
              </a:cxn>
              <a:cxn ang="0">
                <a:pos x="connsiteX45705" y="connsiteY45705"/>
              </a:cxn>
              <a:cxn ang="0">
                <a:pos x="connsiteX45706" y="connsiteY45706"/>
              </a:cxn>
              <a:cxn ang="0">
                <a:pos x="connsiteX45707" y="connsiteY45707"/>
              </a:cxn>
              <a:cxn ang="0">
                <a:pos x="connsiteX45708" y="connsiteY45708"/>
              </a:cxn>
              <a:cxn ang="0">
                <a:pos x="connsiteX45709" y="connsiteY45709"/>
              </a:cxn>
              <a:cxn ang="0">
                <a:pos x="connsiteX45710" y="connsiteY45710"/>
              </a:cxn>
              <a:cxn ang="0">
                <a:pos x="connsiteX45711" y="connsiteY45711"/>
              </a:cxn>
              <a:cxn ang="0">
                <a:pos x="connsiteX45712" y="connsiteY45712"/>
              </a:cxn>
              <a:cxn ang="0">
                <a:pos x="connsiteX45713" y="connsiteY45713"/>
              </a:cxn>
              <a:cxn ang="0">
                <a:pos x="connsiteX45714" y="connsiteY45714"/>
              </a:cxn>
              <a:cxn ang="0">
                <a:pos x="connsiteX45715" y="connsiteY45715"/>
              </a:cxn>
              <a:cxn ang="0">
                <a:pos x="connsiteX45716" y="connsiteY45716"/>
              </a:cxn>
              <a:cxn ang="0">
                <a:pos x="connsiteX45717" y="connsiteY45717"/>
              </a:cxn>
              <a:cxn ang="0">
                <a:pos x="connsiteX45718" y="connsiteY45718"/>
              </a:cxn>
              <a:cxn ang="0">
                <a:pos x="connsiteX45719" y="connsiteY45719"/>
              </a:cxn>
              <a:cxn ang="0">
                <a:pos x="connsiteX45720" y="connsiteY45720"/>
              </a:cxn>
              <a:cxn ang="0">
                <a:pos x="connsiteX45721" y="connsiteY45721"/>
              </a:cxn>
              <a:cxn ang="0">
                <a:pos x="connsiteX45722" y="connsiteY45722"/>
              </a:cxn>
              <a:cxn ang="0">
                <a:pos x="connsiteX45723" y="connsiteY45723"/>
              </a:cxn>
              <a:cxn ang="0">
                <a:pos x="connsiteX45724" y="connsiteY45724"/>
              </a:cxn>
              <a:cxn ang="0">
                <a:pos x="connsiteX45725" y="connsiteY45725"/>
              </a:cxn>
              <a:cxn ang="0">
                <a:pos x="connsiteX45726" y="connsiteY45726"/>
              </a:cxn>
              <a:cxn ang="0">
                <a:pos x="connsiteX45727" y="connsiteY45727"/>
              </a:cxn>
              <a:cxn ang="0">
                <a:pos x="connsiteX45728" y="connsiteY45728"/>
              </a:cxn>
              <a:cxn ang="0">
                <a:pos x="connsiteX45729" y="connsiteY45729"/>
              </a:cxn>
              <a:cxn ang="0">
                <a:pos x="connsiteX45730" y="connsiteY45730"/>
              </a:cxn>
              <a:cxn ang="0">
                <a:pos x="connsiteX45731" y="connsiteY45731"/>
              </a:cxn>
              <a:cxn ang="0">
                <a:pos x="connsiteX45732" y="connsiteY45732"/>
              </a:cxn>
              <a:cxn ang="0">
                <a:pos x="connsiteX45733" y="connsiteY45733"/>
              </a:cxn>
              <a:cxn ang="0">
                <a:pos x="connsiteX45734" y="connsiteY45734"/>
              </a:cxn>
              <a:cxn ang="0">
                <a:pos x="connsiteX45735" y="connsiteY45735"/>
              </a:cxn>
              <a:cxn ang="0">
                <a:pos x="connsiteX45736" y="connsiteY45736"/>
              </a:cxn>
              <a:cxn ang="0">
                <a:pos x="connsiteX45737" y="connsiteY45737"/>
              </a:cxn>
              <a:cxn ang="0">
                <a:pos x="connsiteX45738" y="connsiteY45738"/>
              </a:cxn>
              <a:cxn ang="0">
                <a:pos x="connsiteX45739" y="connsiteY45739"/>
              </a:cxn>
              <a:cxn ang="0">
                <a:pos x="connsiteX45740" y="connsiteY45740"/>
              </a:cxn>
              <a:cxn ang="0">
                <a:pos x="connsiteX45741" y="connsiteY45741"/>
              </a:cxn>
              <a:cxn ang="0">
                <a:pos x="connsiteX45742" y="connsiteY45742"/>
              </a:cxn>
              <a:cxn ang="0">
                <a:pos x="connsiteX45743" y="connsiteY45743"/>
              </a:cxn>
              <a:cxn ang="0">
                <a:pos x="connsiteX45744" y="connsiteY45744"/>
              </a:cxn>
              <a:cxn ang="0">
                <a:pos x="connsiteX45745" y="connsiteY45745"/>
              </a:cxn>
              <a:cxn ang="0">
                <a:pos x="connsiteX45746" y="connsiteY45746"/>
              </a:cxn>
              <a:cxn ang="0">
                <a:pos x="connsiteX45747" y="connsiteY45747"/>
              </a:cxn>
              <a:cxn ang="0">
                <a:pos x="connsiteX45748" y="connsiteY45748"/>
              </a:cxn>
              <a:cxn ang="0">
                <a:pos x="connsiteX45749" y="connsiteY45749"/>
              </a:cxn>
              <a:cxn ang="0">
                <a:pos x="connsiteX45750" y="connsiteY45750"/>
              </a:cxn>
              <a:cxn ang="0">
                <a:pos x="connsiteX45751" y="connsiteY45751"/>
              </a:cxn>
              <a:cxn ang="0">
                <a:pos x="connsiteX45752" y="connsiteY45752"/>
              </a:cxn>
              <a:cxn ang="0">
                <a:pos x="connsiteX45753" y="connsiteY45753"/>
              </a:cxn>
              <a:cxn ang="0">
                <a:pos x="connsiteX45754" y="connsiteY45754"/>
              </a:cxn>
              <a:cxn ang="0">
                <a:pos x="connsiteX45755" y="connsiteY45755"/>
              </a:cxn>
              <a:cxn ang="0">
                <a:pos x="connsiteX45756" y="connsiteY45756"/>
              </a:cxn>
              <a:cxn ang="0">
                <a:pos x="connsiteX45757" y="connsiteY45757"/>
              </a:cxn>
              <a:cxn ang="0">
                <a:pos x="connsiteX45758" y="connsiteY45758"/>
              </a:cxn>
              <a:cxn ang="0">
                <a:pos x="connsiteX45759" y="connsiteY45759"/>
              </a:cxn>
              <a:cxn ang="0">
                <a:pos x="connsiteX45760" y="connsiteY45760"/>
              </a:cxn>
              <a:cxn ang="0">
                <a:pos x="connsiteX45761" y="connsiteY45761"/>
              </a:cxn>
              <a:cxn ang="0">
                <a:pos x="connsiteX45762" y="connsiteY45762"/>
              </a:cxn>
              <a:cxn ang="0">
                <a:pos x="connsiteX45763" y="connsiteY45763"/>
              </a:cxn>
              <a:cxn ang="0">
                <a:pos x="connsiteX45764" y="connsiteY45764"/>
              </a:cxn>
              <a:cxn ang="0">
                <a:pos x="connsiteX45765" y="connsiteY45765"/>
              </a:cxn>
              <a:cxn ang="0">
                <a:pos x="connsiteX45766" y="connsiteY45766"/>
              </a:cxn>
              <a:cxn ang="0">
                <a:pos x="connsiteX45767" y="connsiteY45767"/>
              </a:cxn>
              <a:cxn ang="0">
                <a:pos x="connsiteX45768" y="connsiteY45768"/>
              </a:cxn>
              <a:cxn ang="0">
                <a:pos x="connsiteX45769" y="connsiteY45769"/>
              </a:cxn>
              <a:cxn ang="0">
                <a:pos x="connsiteX45770" y="connsiteY45770"/>
              </a:cxn>
              <a:cxn ang="0">
                <a:pos x="connsiteX45771" y="connsiteY45771"/>
              </a:cxn>
              <a:cxn ang="0">
                <a:pos x="connsiteX45772" y="connsiteY45772"/>
              </a:cxn>
              <a:cxn ang="0">
                <a:pos x="connsiteX45773" y="connsiteY45773"/>
              </a:cxn>
              <a:cxn ang="0">
                <a:pos x="connsiteX45774" y="connsiteY45774"/>
              </a:cxn>
              <a:cxn ang="0">
                <a:pos x="connsiteX45775" y="connsiteY45775"/>
              </a:cxn>
              <a:cxn ang="0">
                <a:pos x="connsiteX45776" y="connsiteY45776"/>
              </a:cxn>
              <a:cxn ang="0">
                <a:pos x="connsiteX45777" y="connsiteY45777"/>
              </a:cxn>
              <a:cxn ang="0">
                <a:pos x="connsiteX45778" y="connsiteY45778"/>
              </a:cxn>
              <a:cxn ang="0">
                <a:pos x="connsiteX45779" y="connsiteY45779"/>
              </a:cxn>
              <a:cxn ang="0">
                <a:pos x="connsiteX45780" y="connsiteY45780"/>
              </a:cxn>
              <a:cxn ang="0">
                <a:pos x="connsiteX45781" y="connsiteY45781"/>
              </a:cxn>
              <a:cxn ang="0">
                <a:pos x="connsiteX45782" y="connsiteY45782"/>
              </a:cxn>
              <a:cxn ang="0">
                <a:pos x="connsiteX45783" y="connsiteY45783"/>
              </a:cxn>
              <a:cxn ang="0">
                <a:pos x="connsiteX45784" y="connsiteY45784"/>
              </a:cxn>
              <a:cxn ang="0">
                <a:pos x="connsiteX45785" y="connsiteY45785"/>
              </a:cxn>
              <a:cxn ang="0">
                <a:pos x="connsiteX45786" y="connsiteY45786"/>
              </a:cxn>
              <a:cxn ang="0">
                <a:pos x="connsiteX45787" y="connsiteY45787"/>
              </a:cxn>
              <a:cxn ang="0">
                <a:pos x="connsiteX45788" y="connsiteY45788"/>
              </a:cxn>
              <a:cxn ang="0">
                <a:pos x="connsiteX45789" y="connsiteY45789"/>
              </a:cxn>
              <a:cxn ang="0">
                <a:pos x="connsiteX45790" y="connsiteY45790"/>
              </a:cxn>
              <a:cxn ang="0">
                <a:pos x="connsiteX45791" y="connsiteY45791"/>
              </a:cxn>
              <a:cxn ang="0">
                <a:pos x="connsiteX45792" y="connsiteY45792"/>
              </a:cxn>
              <a:cxn ang="0">
                <a:pos x="connsiteX45793" y="connsiteY45793"/>
              </a:cxn>
              <a:cxn ang="0">
                <a:pos x="connsiteX45794" y="connsiteY45794"/>
              </a:cxn>
              <a:cxn ang="0">
                <a:pos x="connsiteX45795" y="connsiteY45795"/>
              </a:cxn>
              <a:cxn ang="0">
                <a:pos x="connsiteX45796" y="connsiteY45796"/>
              </a:cxn>
              <a:cxn ang="0">
                <a:pos x="connsiteX45797" y="connsiteY45797"/>
              </a:cxn>
              <a:cxn ang="0">
                <a:pos x="connsiteX45798" y="connsiteY45798"/>
              </a:cxn>
              <a:cxn ang="0">
                <a:pos x="connsiteX45799" y="connsiteY45799"/>
              </a:cxn>
              <a:cxn ang="0">
                <a:pos x="connsiteX45800" y="connsiteY45800"/>
              </a:cxn>
              <a:cxn ang="0">
                <a:pos x="connsiteX45801" y="connsiteY45801"/>
              </a:cxn>
              <a:cxn ang="0">
                <a:pos x="connsiteX45802" y="connsiteY45802"/>
              </a:cxn>
              <a:cxn ang="0">
                <a:pos x="connsiteX45803" y="connsiteY45803"/>
              </a:cxn>
              <a:cxn ang="0">
                <a:pos x="connsiteX45804" y="connsiteY45804"/>
              </a:cxn>
              <a:cxn ang="0">
                <a:pos x="connsiteX45805" y="connsiteY45805"/>
              </a:cxn>
              <a:cxn ang="0">
                <a:pos x="connsiteX45806" y="connsiteY45806"/>
              </a:cxn>
              <a:cxn ang="0">
                <a:pos x="connsiteX45807" y="connsiteY45807"/>
              </a:cxn>
              <a:cxn ang="0">
                <a:pos x="connsiteX45808" y="connsiteY45808"/>
              </a:cxn>
              <a:cxn ang="0">
                <a:pos x="connsiteX45809" y="connsiteY45809"/>
              </a:cxn>
              <a:cxn ang="0">
                <a:pos x="connsiteX45810" y="connsiteY45810"/>
              </a:cxn>
              <a:cxn ang="0">
                <a:pos x="connsiteX45811" y="connsiteY45811"/>
              </a:cxn>
              <a:cxn ang="0">
                <a:pos x="connsiteX45812" y="connsiteY45812"/>
              </a:cxn>
              <a:cxn ang="0">
                <a:pos x="connsiteX45813" y="connsiteY45813"/>
              </a:cxn>
              <a:cxn ang="0">
                <a:pos x="connsiteX45814" y="connsiteY45814"/>
              </a:cxn>
              <a:cxn ang="0">
                <a:pos x="connsiteX45815" y="connsiteY45815"/>
              </a:cxn>
              <a:cxn ang="0">
                <a:pos x="connsiteX45816" y="connsiteY45816"/>
              </a:cxn>
              <a:cxn ang="0">
                <a:pos x="connsiteX45817" y="connsiteY45817"/>
              </a:cxn>
              <a:cxn ang="0">
                <a:pos x="connsiteX45818" y="connsiteY45818"/>
              </a:cxn>
              <a:cxn ang="0">
                <a:pos x="connsiteX45819" y="connsiteY45819"/>
              </a:cxn>
              <a:cxn ang="0">
                <a:pos x="connsiteX45820" y="connsiteY45820"/>
              </a:cxn>
              <a:cxn ang="0">
                <a:pos x="connsiteX45821" y="connsiteY45821"/>
              </a:cxn>
              <a:cxn ang="0">
                <a:pos x="connsiteX45822" y="connsiteY45822"/>
              </a:cxn>
              <a:cxn ang="0">
                <a:pos x="connsiteX45823" y="connsiteY45823"/>
              </a:cxn>
              <a:cxn ang="0">
                <a:pos x="connsiteX45824" y="connsiteY45824"/>
              </a:cxn>
              <a:cxn ang="0">
                <a:pos x="connsiteX45825" y="connsiteY45825"/>
              </a:cxn>
              <a:cxn ang="0">
                <a:pos x="connsiteX45826" y="connsiteY45826"/>
              </a:cxn>
              <a:cxn ang="0">
                <a:pos x="connsiteX45827" y="connsiteY45827"/>
              </a:cxn>
              <a:cxn ang="0">
                <a:pos x="connsiteX45828" y="connsiteY45828"/>
              </a:cxn>
              <a:cxn ang="0">
                <a:pos x="connsiteX45829" y="connsiteY45829"/>
              </a:cxn>
              <a:cxn ang="0">
                <a:pos x="connsiteX45830" y="connsiteY45830"/>
              </a:cxn>
              <a:cxn ang="0">
                <a:pos x="connsiteX45831" y="connsiteY45831"/>
              </a:cxn>
              <a:cxn ang="0">
                <a:pos x="connsiteX45832" y="connsiteY45832"/>
              </a:cxn>
              <a:cxn ang="0">
                <a:pos x="connsiteX45833" y="connsiteY45833"/>
              </a:cxn>
              <a:cxn ang="0">
                <a:pos x="connsiteX45834" y="connsiteY45834"/>
              </a:cxn>
              <a:cxn ang="0">
                <a:pos x="connsiteX45835" y="connsiteY45835"/>
              </a:cxn>
              <a:cxn ang="0">
                <a:pos x="connsiteX45836" y="connsiteY45836"/>
              </a:cxn>
              <a:cxn ang="0">
                <a:pos x="connsiteX45837" y="connsiteY45837"/>
              </a:cxn>
              <a:cxn ang="0">
                <a:pos x="connsiteX45838" y="connsiteY45838"/>
              </a:cxn>
              <a:cxn ang="0">
                <a:pos x="connsiteX45839" y="connsiteY45839"/>
              </a:cxn>
              <a:cxn ang="0">
                <a:pos x="connsiteX45840" y="connsiteY45840"/>
              </a:cxn>
              <a:cxn ang="0">
                <a:pos x="connsiteX45841" y="connsiteY45841"/>
              </a:cxn>
              <a:cxn ang="0">
                <a:pos x="connsiteX45842" y="connsiteY45842"/>
              </a:cxn>
              <a:cxn ang="0">
                <a:pos x="connsiteX45843" y="connsiteY45843"/>
              </a:cxn>
              <a:cxn ang="0">
                <a:pos x="connsiteX45844" y="connsiteY45844"/>
              </a:cxn>
              <a:cxn ang="0">
                <a:pos x="connsiteX45845" y="connsiteY45845"/>
              </a:cxn>
              <a:cxn ang="0">
                <a:pos x="connsiteX45846" y="connsiteY45846"/>
              </a:cxn>
              <a:cxn ang="0">
                <a:pos x="connsiteX45847" y="connsiteY45847"/>
              </a:cxn>
              <a:cxn ang="0">
                <a:pos x="connsiteX45848" y="connsiteY45848"/>
              </a:cxn>
              <a:cxn ang="0">
                <a:pos x="connsiteX45849" y="connsiteY45849"/>
              </a:cxn>
              <a:cxn ang="0">
                <a:pos x="connsiteX45850" y="connsiteY45850"/>
              </a:cxn>
              <a:cxn ang="0">
                <a:pos x="connsiteX45851" y="connsiteY45851"/>
              </a:cxn>
              <a:cxn ang="0">
                <a:pos x="connsiteX45852" y="connsiteY45852"/>
              </a:cxn>
              <a:cxn ang="0">
                <a:pos x="connsiteX45853" y="connsiteY45853"/>
              </a:cxn>
              <a:cxn ang="0">
                <a:pos x="connsiteX45854" y="connsiteY45854"/>
              </a:cxn>
              <a:cxn ang="0">
                <a:pos x="connsiteX45855" y="connsiteY45855"/>
              </a:cxn>
              <a:cxn ang="0">
                <a:pos x="connsiteX45856" y="connsiteY45856"/>
              </a:cxn>
              <a:cxn ang="0">
                <a:pos x="connsiteX45857" y="connsiteY45857"/>
              </a:cxn>
              <a:cxn ang="0">
                <a:pos x="connsiteX45858" y="connsiteY45858"/>
              </a:cxn>
              <a:cxn ang="0">
                <a:pos x="connsiteX45859" y="connsiteY45859"/>
              </a:cxn>
              <a:cxn ang="0">
                <a:pos x="connsiteX45860" y="connsiteY45860"/>
              </a:cxn>
              <a:cxn ang="0">
                <a:pos x="connsiteX45861" y="connsiteY45861"/>
              </a:cxn>
              <a:cxn ang="0">
                <a:pos x="connsiteX45862" y="connsiteY45862"/>
              </a:cxn>
              <a:cxn ang="0">
                <a:pos x="connsiteX45863" y="connsiteY45863"/>
              </a:cxn>
              <a:cxn ang="0">
                <a:pos x="connsiteX45864" y="connsiteY45864"/>
              </a:cxn>
              <a:cxn ang="0">
                <a:pos x="connsiteX45865" y="connsiteY45865"/>
              </a:cxn>
              <a:cxn ang="0">
                <a:pos x="connsiteX45866" y="connsiteY45866"/>
              </a:cxn>
              <a:cxn ang="0">
                <a:pos x="connsiteX45867" y="connsiteY45867"/>
              </a:cxn>
              <a:cxn ang="0">
                <a:pos x="connsiteX45868" y="connsiteY45868"/>
              </a:cxn>
              <a:cxn ang="0">
                <a:pos x="connsiteX45869" y="connsiteY45869"/>
              </a:cxn>
              <a:cxn ang="0">
                <a:pos x="connsiteX45870" y="connsiteY45870"/>
              </a:cxn>
              <a:cxn ang="0">
                <a:pos x="connsiteX45871" y="connsiteY45871"/>
              </a:cxn>
              <a:cxn ang="0">
                <a:pos x="connsiteX45872" y="connsiteY45872"/>
              </a:cxn>
              <a:cxn ang="0">
                <a:pos x="connsiteX45873" y="connsiteY45873"/>
              </a:cxn>
              <a:cxn ang="0">
                <a:pos x="connsiteX45874" y="connsiteY45874"/>
              </a:cxn>
              <a:cxn ang="0">
                <a:pos x="connsiteX45875" y="connsiteY45875"/>
              </a:cxn>
              <a:cxn ang="0">
                <a:pos x="connsiteX45876" y="connsiteY45876"/>
              </a:cxn>
              <a:cxn ang="0">
                <a:pos x="connsiteX45877" y="connsiteY45877"/>
              </a:cxn>
              <a:cxn ang="0">
                <a:pos x="connsiteX45878" y="connsiteY45878"/>
              </a:cxn>
              <a:cxn ang="0">
                <a:pos x="connsiteX45879" y="connsiteY45879"/>
              </a:cxn>
              <a:cxn ang="0">
                <a:pos x="connsiteX45880" y="connsiteY45880"/>
              </a:cxn>
              <a:cxn ang="0">
                <a:pos x="connsiteX45881" y="connsiteY45881"/>
              </a:cxn>
              <a:cxn ang="0">
                <a:pos x="connsiteX45882" y="connsiteY45882"/>
              </a:cxn>
              <a:cxn ang="0">
                <a:pos x="connsiteX45883" y="connsiteY45883"/>
              </a:cxn>
              <a:cxn ang="0">
                <a:pos x="connsiteX45884" y="connsiteY45884"/>
              </a:cxn>
              <a:cxn ang="0">
                <a:pos x="connsiteX45885" y="connsiteY45885"/>
              </a:cxn>
              <a:cxn ang="0">
                <a:pos x="connsiteX45886" y="connsiteY45886"/>
              </a:cxn>
              <a:cxn ang="0">
                <a:pos x="connsiteX45887" y="connsiteY45887"/>
              </a:cxn>
              <a:cxn ang="0">
                <a:pos x="connsiteX45888" y="connsiteY45888"/>
              </a:cxn>
              <a:cxn ang="0">
                <a:pos x="connsiteX45889" y="connsiteY45889"/>
              </a:cxn>
              <a:cxn ang="0">
                <a:pos x="connsiteX45890" y="connsiteY45890"/>
              </a:cxn>
              <a:cxn ang="0">
                <a:pos x="connsiteX45891" y="connsiteY45891"/>
              </a:cxn>
              <a:cxn ang="0">
                <a:pos x="connsiteX45892" y="connsiteY45892"/>
              </a:cxn>
              <a:cxn ang="0">
                <a:pos x="connsiteX45893" y="connsiteY45893"/>
              </a:cxn>
              <a:cxn ang="0">
                <a:pos x="connsiteX45894" y="connsiteY45894"/>
              </a:cxn>
              <a:cxn ang="0">
                <a:pos x="connsiteX45895" y="connsiteY45895"/>
              </a:cxn>
              <a:cxn ang="0">
                <a:pos x="connsiteX45896" y="connsiteY45896"/>
              </a:cxn>
              <a:cxn ang="0">
                <a:pos x="connsiteX45897" y="connsiteY45897"/>
              </a:cxn>
              <a:cxn ang="0">
                <a:pos x="connsiteX45898" y="connsiteY45898"/>
              </a:cxn>
              <a:cxn ang="0">
                <a:pos x="connsiteX45899" y="connsiteY45899"/>
              </a:cxn>
              <a:cxn ang="0">
                <a:pos x="connsiteX45900" y="connsiteY45900"/>
              </a:cxn>
              <a:cxn ang="0">
                <a:pos x="connsiteX45901" y="connsiteY45901"/>
              </a:cxn>
              <a:cxn ang="0">
                <a:pos x="connsiteX45902" y="connsiteY45902"/>
              </a:cxn>
              <a:cxn ang="0">
                <a:pos x="connsiteX45903" y="connsiteY45903"/>
              </a:cxn>
              <a:cxn ang="0">
                <a:pos x="connsiteX45904" y="connsiteY45904"/>
              </a:cxn>
              <a:cxn ang="0">
                <a:pos x="connsiteX45905" y="connsiteY45905"/>
              </a:cxn>
              <a:cxn ang="0">
                <a:pos x="connsiteX45906" y="connsiteY45906"/>
              </a:cxn>
              <a:cxn ang="0">
                <a:pos x="connsiteX45907" y="connsiteY45907"/>
              </a:cxn>
              <a:cxn ang="0">
                <a:pos x="connsiteX45908" y="connsiteY45908"/>
              </a:cxn>
              <a:cxn ang="0">
                <a:pos x="connsiteX45909" y="connsiteY45909"/>
              </a:cxn>
              <a:cxn ang="0">
                <a:pos x="connsiteX45910" y="connsiteY45910"/>
              </a:cxn>
              <a:cxn ang="0">
                <a:pos x="connsiteX45911" y="connsiteY45911"/>
              </a:cxn>
              <a:cxn ang="0">
                <a:pos x="connsiteX45912" y="connsiteY45912"/>
              </a:cxn>
              <a:cxn ang="0">
                <a:pos x="connsiteX45913" y="connsiteY45913"/>
              </a:cxn>
              <a:cxn ang="0">
                <a:pos x="connsiteX45914" y="connsiteY45914"/>
              </a:cxn>
              <a:cxn ang="0">
                <a:pos x="connsiteX45915" y="connsiteY45915"/>
              </a:cxn>
              <a:cxn ang="0">
                <a:pos x="connsiteX45916" y="connsiteY45916"/>
              </a:cxn>
              <a:cxn ang="0">
                <a:pos x="connsiteX45917" y="connsiteY45917"/>
              </a:cxn>
              <a:cxn ang="0">
                <a:pos x="connsiteX45918" y="connsiteY45918"/>
              </a:cxn>
              <a:cxn ang="0">
                <a:pos x="connsiteX45919" y="connsiteY45919"/>
              </a:cxn>
              <a:cxn ang="0">
                <a:pos x="connsiteX45920" y="connsiteY45920"/>
              </a:cxn>
              <a:cxn ang="0">
                <a:pos x="connsiteX45921" y="connsiteY45921"/>
              </a:cxn>
              <a:cxn ang="0">
                <a:pos x="connsiteX45922" y="connsiteY45922"/>
              </a:cxn>
              <a:cxn ang="0">
                <a:pos x="connsiteX45923" y="connsiteY45923"/>
              </a:cxn>
              <a:cxn ang="0">
                <a:pos x="connsiteX45924" y="connsiteY45924"/>
              </a:cxn>
              <a:cxn ang="0">
                <a:pos x="connsiteX45925" y="connsiteY45925"/>
              </a:cxn>
              <a:cxn ang="0">
                <a:pos x="connsiteX45926" y="connsiteY45926"/>
              </a:cxn>
              <a:cxn ang="0">
                <a:pos x="connsiteX45927" y="connsiteY45927"/>
              </a:cxn>
              <a:cxn ang="0">
                <a:pos x="connsiteX45928" y="connsiteY45928"/>
              </a:cxn>
              <a:cxn ang="0">
                <a:pos x="connsiteX45929" y="connsiteY45929"/>
              </a:cxn>
              <a:cxn ang="0">
                <a:pos x="connsiteX45930" y="connsiteY45930"/>
              </a:cxn>
              <a:cxn ang="0">
                <a:pos x="connsiteX45931" y="connsiteY45931"/>
              </a:cxn>
              <a:cxn ang="0">
                <a:pos x="connsiteX45932" y="connsiteY45932"/>
              </a:cxn>
              <a:cxn ang="0">
                <a:pos x="connsiteX45933" y="connsiteY45933"/>
              </a:cxn>
              <a:cxn ang="0">
                <a:pos x="connsiteX45934" y="connsiteY45934"/>
              </a:cxn>
              <a:cxn ang="0">
                <a:pos x="connsiteX45935" y="connsiteY45935"/>
              </a:cxn>
              <a:cxn ang="0">
                <a:pos x="connsiteX45936" y="connsiteY45936"/>
              </a:cxn>
              <a:cxn ang="0">
                <a:pos x="connsiteX45937" y="connsiteY45937"/>
              </a:cxn>
              <a:cxn ang="0">
                <a:pos x="connsiteX45938" y="connsiteY45938"/>
              </a:cxn>
              <a:cxn ang="0">
                <a:pos x="connsiteX45939" y="connsiteY45939"/>
              </a:cxn>
              <a:cxn ang="0">
                <a:pos x="connsiteX45940" y="connsiteY45940"/>
              </a:cxn>
              <a:cxn ang="0">
                <a:pos x="connsiteX45941" y="connsiteY45941"/>
              </a:cxn>
              <a:cxn ang="0">
                <a:pos x="connsiteX45942" y="connsiteY45942"/>
              </a:cxn>
              <a:cxn ang="0">
                <a:pos x="connsiteX45943" y="connsiteY45943"/>
              </a:cxn>
              <a:cxn ang="0">
                <a:pos x="connsiteX45944" y="connsiteY45944"/>
              </a:cxn>
              <a:cxn ang="0">
                <a:pos x="connsiteX45945" y="connsiteY45945"/>
              </a:cxn>
              <a:cxn ang="0">
                <a:pos x="connsiteX45946" y="connsiteY45946"/>
              </a:cxn>
              <a:cxn ang="0">
                <a:pos x="connsiteX45947" y="connsiteY45947"/>
              </a:cxn>
              <a:cxn ang="0">
                <a:pos x="connsiteX45948" y="connsiteY45948"/>
              </a:cxn>
              <a:cxn ang="0">
                <a:pos x="connsiteX45949" y="connsiteY45949"/>
              </a:cxn>
              <a:cxn ang="0">
                <a:pos x="connsiteX45950" y="connsiteY45950"/>
              </a:cxn>
              <a:cxn ang="0">
                <a:pos x="connsiteX45951" y="connsiteY45951"/>
              </a:cxn>
              <a:cxn ang="0">
                <a:pos x="connsiteX45952" y="connsiteY45952"/>
              </a:cxn>
              <a:cxn ang="0">
                <a:pos x="connsiteX45953" y="connsiteY45953"/>
              </a:cxn>
              <a:cxn ang="0">
                <a:pos x="connsiteX45954" y="connsiteY45954"/>
              </a:cxn>
              <a:cxn ang="0">
                <a:pos x="connsiteX45955" y="connsiteY45955"/>
              </a:cxn>
              <a:cxn ang="0">
                <a:pos x="connsiteX45956" y="connsiteY45956"/>
              </a:cxn>
              <a:cxn ang="0">
                <a:pos x="connsiteX45957" y="connsiteY45957"/>
              </a:cxn>
              <a:cxn ang="0">
                <a:pos x="connsiteX45958" y="connsiteY45958"/>
              </a:cxn>
              <a:cxn ang="0">
                <a:pos x="connsiteX45959" y="connsiteY45959"/>
              </a:cxn>
              <a:cxn ang="0">
                <a:pos x="connsiteX45960" y="connsiteY45960"/>
              </a:cxn>
              <a:cxn ang="0">
                <a:pos x="connsiteX45961" y="connsiteY45961"/>
              </a:cxn>
              <a:cxn ang="0">
                <a:pos x="connsiteX45962" y="connsiteY45962"/>
              </a:cxn>
              <a:cxn ang="0">
                <a:pos x="connsiteX45963" y="connsiteY45963"/>
              </a:cxn>
              <a:cxn ang="0">
                <a:pos x="connsiteX45964" y="connsiteY45964"/>
              </a:cxn>
              <a:cxn ang="0">
                <a:pos x="connsiteX45965" y="connsiteY45965"/>
              </a:cxn>
              <a:cxn ang="0">
                <a:pos x="connsiteX45966" y="connsiteY45966"/>
              </a:cxn>
              <a:cxn ang="0">
                <a:pos x="connsiteX45967" y="connsiteY45967"/>
              </a:cxn>
              <a:cxn ang="0">
                <a:pos x="connsiteX45968" y="connsiteY45968"/>
              </a:cxn>
              <a:cxn ang="0">
                <a:pos x="connsiteX45969" y="connsiteY45969"/>
              </a:cxn>
              <a:cxn ang="0">
                <a:pos x="connsiteX45970" y="connsiteY45970"/>
              </a:cxn>
              <a:cxn ang="0">
                <a:pos x="connsiteX45971" y="connsiteY45971"/>
              </a:cxn>
              <a:cxn ang="0">
                <a:pos x="connsiteX45972" y="connsiteY45972"/>
              </a:cxn>
              <a:cxn ang="0">
                <a:pos x="connsiteX45973" y="connsiteY45973"/>
              </a:cxn>
              <a:cxn ang="0">
                <a:pos x="connsiteX45974" y="connsiteY45974"/>
              </a:cxn>
              <a:cxn ang="0">
                <a:pos x="connsiteX45975" y="connsiteY45975"/>
              </a:cxn>
              <a:cxn ang="0">
                <a:pos x="connsiteX45976" y="connsiteY45976"/>
              </a:cxn>
              <a:cxn ang="0">
                <a:pos x="connsiteX45977" y="connsiteY45977"/>
              </a:cxn>
              <a:cxn ang="0">
                <a:pos x="connsiteX45978" y="connsiteY45978"/>
              </a:cxn>
              <a:cxn ang="0">
                <a:pos x="connsiteX45979" y="connsiteY45979"/>
              </a:cxn>
              <a:cxn ang="0">
                <a:pos x="connsiteX45980" y="connsiteY45980"/>
              </a:cxn>
              <a:cxn ang="0">
                <a:pos x="connsiteX45981" y="connsiteY45981"/>
              </a:cxn>
              <a:cxn ang="0">
                <a:pos x="connsiteX45982" y="connsiteY45982"/>
              </a:cxn>
              <a:cxn ang="0">
                <a:pos x="connsiteX45983" y="connsiteY45983"/>
              </a:cxn>
              <a:cxn ang="0">
                <a:pos x="connsiteX45984" y="connsiteY45984"/>
              </a:cxn>
              <a:cxn ang="0">
                <a:pos x="connsiteX45985" y="connsiteY45985"/>
              </a:cxn>
              <a:cxn ang="0">
                <a:pos x="connsiteX45986" y="connsiteY45986"/>
              </a:cxn>
              <a:cxn ang="0">
                <a:pos x="connsiteX45987" y="connsiteY45987"/>
              </a:cxn>
              <a:cxn ang="0">
                <a:pos x="connsiteX45988" y="connsiteY45988"/>
              </a:cxn>
              <a:cxn ang="0">
                <a:pos x="connsiteX45989" y="connsiteY45989"/>
              </a:cxn>
              <a:cxn ang="0">
                <a:pos x="connsiteX45990" y="connsiteY45990"/>
              </a:cxn>
              <a:cxn ang="0">
                <a:pos x="connsiteX45991" y="connsiteY45991"/>
              </a:cxn>
              <a:cxn ang="0">
                <a:pos x="connsiteX45992" y="connsiteY45992"/>
              </a:cxn>
              <a:cxn ang="0">
                <a:pos x="connsiteX45993" y="connsiteY45993"/>
              </a:cxn>
              <a:cxn ang="0">
                <a:pos x="connsiteX45994" y="connsiteY45994"/>
              </a:cxn>
              <a:cxn ang="0">
                <a:pos x="connsiteX45995" y="connsiteY45995"/>
              </a:cxn>
              <a:cxn ang="0">
                <a:pos x="connsiteX45996" y="connsiteY45996"/>
              </a:cxn>
              <a:cxn ang="0">
                <a:pos x="connsiteX45997" y="connsiteY45997"/>
              </a:cxn>
              <a:cxn ang="0">
                <a:pos x="connsiteX45998" y="connsiteY45998"/>
              </a:cxn>
              <a:cxn ang="0">
                <a:pos x="connsiteX45999" y="connsiteY45999"/>
              </a:cxn>
              <a:cxn ang="0">
                <a:pos x="connsiteX46000" y="connsiteY46000"/>
              </a:cxn>
              <a:cxn ang="0">
                <a:pos x="connsiteX46001" y="connsiteY46001"/>
              </a:cxn>
              <a:cxn ang="0">
                <a:pos x="connsiteX46002" y="connsiteY46002"/>
              </a:cxn>
              <a:cxn ang="0">
                <a:pos x="connsiteX46003" y="connsiteY46003"/>
              </a:cxn>
              <a:cxn ang="0">
                <a:pos x="connsiteX46004" y="connsiteY46004"/>
              </a:cxn>
              <a:cxn ang="0">
                <a:pos x="connsiteX46005" y="connsiteY46005"/>
              </a:cxn>
              <a:cxn ang="0">
                <a:pos x="connsiteX46006" y="connsiteY46006"/>
              </a:cxn>
              <a:cxn ang="0">
                <a:pos x="connsiteX46007" y="connsiteY46007"/>
              </a:cxn>
              <a:cxn ang="0">
                <a:pos x="connsiteX46008" y="connsiteY46008"/>
              </a:cxn>
              <a:cxn ang="0">
                <a:pos x="connsiteX46009" y="connsiteY46009"/>
              </a:cxn>
              <a:cxn ang="0">
                <a:pos x="connsiteX46010" y="connsiteY46010"/>
              </a:cxn>
              <a:cxn ang="0">
                <a:pos x="connsiteX46011" y="connsiteY46011"/>
              </a:cxn>
              <a:cxn ang="0">
                <a:pos x="connsiteX46012" y="connsiteY46012"/>
              </a:cxn>
              <a:cxn ang="0">
                <a:pos x="connsiteX46013" y="connsiteY46013"/>
              </a:cxn>
              <a:cxn ang="0">
                <a:pos x="connsiteX46014" y="connsiteY46014"/>
              </a:cxn>
              <a:cxn ang="0">
                <a:pos x="connsiteX46015" y="connsiteY46015"/>
              </a:cxn>
              <a:cxn ang="0">
                <a:pos x="connsiteX46016" y="connsiteY46016"/>
              </a:cxn>
              <a:cxn ang="0">
                <a:pos x="connsiteX46017" y="connsiteY46017"/>
              </a:cxn>
              <a:cxn ang="0">
                <a:pos x="connsiteX46018" y="connsiteY46018"/>
              </a:cxn>
              <a:cxn ang="0">
                <a:pos x="connsiteX46019" y="connsiteY46019"/>
              </a:cxn>
              <a:cxn ang="0">
                <a:pos x="connsiteX46020" y="connsiteY46020"/>
              </a:cxn>
              <a:cxn ang="0">
                <a:pos x="connsiteX46021" y="connsiteY46021"/>
              </a:cxn>
              <a:cxn ang="0">
                <a:pos x="connsiteX46022" y="connsiteY46022"/>
              </a:cxn>
              <a:cxn ang="0">
                <a:pos x="connsiteX46023" y="connsiteY46023"/>
              </a:cxn>
              <a:cxn ang="0">
                <a:pos x="connsiteX46024" y="connsiteY46024"/>
              </a:cxn>
              <a:cxn ang="0">
                <a:pos x="connsiteX46025" y="connsiteY46025"/>
              </a:cxn>
              <a:cxn ang="0">
                <a:pos x="connsiteX46026" y="connsiteY46026"/>
              </a:cxn>
              <a:cxn ang="0">
                <a:pos x="connsiteX46027" y="connsiteY46027"/>
              </a:cxn>
              <a:cxn ang="0">
                <a:pos x="connsiteX46028" y="connsiteY46028"/>
              </a:cxn>
              <a:cxn ang="0">
                <a:pos x="connsiteX46029" y="connsiteY46029"/>
              </a:cxn>
              <a:cxn ang="0">
                <a:pos x="connsiteX46030" y="connsiteY46030"/>
              </a:cxn>
              <a:cxn ang="0">
                <a:pos x="connsiteX46031" y="connsiteY46031"/>
              </a:cxn>
              <a:cxn ang="0">
                <a:pos x="connsiteX46032" y="connsiteY46032"/>
              </a:cxn>
              <a:cxn ang="0">
                <a:pos x="connsiteX46033" y="connsiteY46033"/>
              </a:cxn>
              <a:cxn ang="0">
                <a:pos x="connsiteX46034" y="connsiteY46034"/>
              </a:cxn>
              <a:cxn ang="0">
                <a:pos x="connsiteX46035" y="connsiteY46035"/>
              </a:cxn>
              <a:cxn ang="0">
                <a:pos x="connsiteX46036" y="connsiteY46036"/>
              </a:cxn>
              <a:cxn ang="0">
                <a:pos x="connsiteX46037" y="connsiteY46037"/>
              </a:cxn>
              <a:cxn ang="0">
                <a:pos x="connsiteX46038" y="connsiteY46038"/>
              </a:cxn>
              <a:cxn ang="0">
                <a:pos x="connsiteX46039" y="connsiteY46039"/>
              </a:cxn>
              <a:cxn ang="0">
                <a:pos x="connsiteX46040" y="connsiteY46040"/>
              </a:cxn>
              <a:cxn ang="0">
                <a:pos x="connsiteX46041" y="connsiteY46041"/>
              </a:cxn>
              <a:cxn ang="0">
                <a:pos x="connsiteX46042" y="connsiteY46042"/>
              </a:cxn>
              <a:cxn ang="0">
                <a:pos x="connsiteX46043" y="connsiteY46043"/>
              </a:cxn>
              <a:cxn ang="0">
                <a:pos x="connsiteX46044" y="connsiteY46044"/>
              </a:cxn>
              <a:cxn ang="0">
                <a:pos x="connsiteX46045" y="connsiteY46045"/>
              </a:cxn>
              <a:cxn ang="0">
                <a:pos x="connsiteX46046" y="connsiteY46046"/>
              </a:cxn>
              <a:cxn ang="0">
                <a:pos x="connsiteX46047" y="connsiteY46047"/>
              </a:cxn>
              <a:cxn ang="0">
                <a:pos x="connsiteX46048" y="connsiteY46048"/>
              </a:cxn>
              <a:cxn ang="0">
                <a:pos x="connsiteX46049" y="connsiteY46049"/>
              </a:cxn>
              <a:cxn ang="0">
                <a:pos x="connsiteX46050" y="connsiteY46050"/>
              </a:cxn>
              <a:cxn ang="0">
                <a:pos x="connsiteX46051" y="connsiteY46051"/>
              </a:cxn>
              <a:cxn ang="0">
                <a:pos x="connsiteX46052" y="connsiteY46052"/>
              </a:cxn>
              <a:cxn ang="0">
                <a:pos x="connsiteX46053" y="connsiteY46053"/>
              </a:cxn>
              <a:cxn ang="0">
                <a:pos x="connsiteX46054" y="connsiteY46054"/>
              </a:cxn>
              <a:cxn ang="0">
                <a:pos x="connsiteX46055" y="connsiteY46055"/>
              </a:cxn>
              <a:cxn ang="0">
                <a:pos x="connsiteX46056" y="connsiteY46056"/>
              </a:cxn>
              <a:cxn ang="0">
                <a:pos x="connsiteX46057" y="connsiteY46057"/>
              </a:cxn>
              <a:cxn ang="0">
                <a:pos x="connsiteX46058" y="connsiteY46058"/>
              </a:cxn>
              <a:cxn ang="0">
                <a:pos x="connsiteX46059" y="connsiteY46059"/>
              </a:cxn>
              <a:cxn ang="0">
                <a:pos x="connsiteX46060" y="connsiteY46060"/>
              </a:cxn>
              <a:cxn ang="0">
                <a:pos x="connsiteX46061" y="connsiteY46061"/>
              </a:cxn>
              <a:cxn ang="0">
                <a:pos x="connsiteX46062" y="connsiteY46062"/>
              </a:cxn>
              <a:cxn ang="0">
                <a:pos x="connsiteX46063" y="connsiteY46063"/>
              </a:cxn>
              <a:cxn ang="0">
                <a:pos x="connsiteX46064" y="connsiteY46064"/>
              </a:cxn>
              <a:cxn ang="0">
                <a:pos x="connsiteX46065" y="connsiteY46065"/>
              </a:cxn>
              <a:cxn ang="0">
                <a:pos x="connsiteX46066" y="connsiteY46066"/>
              </a:cxn>
              <a:cxn ang="0">
                <a:pos x="connsiteX46067" y="connsiteY46067"/>
              </a:cxn>
              <a:cxn ang="0">
                <a:pos x="connsiteX46068" y="connsiteY46068"/>
              </a:cxn>
              <a:cxn ang="0">
                <a:pos x="connsiteX46069" y="connsiteY46069"/>
              </a:cxn>
              <a:cxn ang="0">
                <a:pos x="connsiteX46070" y="connsiteY46070"/>
              </a:cxn>
              <a:cxn ang="0">
                <a:pos x="connsiteX46071" y="connsiteY46071"/>
              </a:cxn>
              <a:cxn ang="0">
                <a:pos x="connsiteX46072" y="connsiteY46072"/>
              </a:cxn>
              <a:cxn ang="0">
                <a:pos x="connsiteX46073" y="connsiteY46073"/>
              </a:cxn>
              <a:cxn ang="0">
                <a:pos x="connsiteX46074" y="connsiteY46074"/>
              </a:cxn>
              <a:cxn ang="0">
                <a:pos x="connsiteX46075" y="connsiteY46075"/>
              </a:cxn>
              <a:cxn ang="0">
                <a:pos x="connsiteX46076" y="connsiteY46076"/>
              </a:cxn>
              <a:cxn ang="0">
                <a:pos x="connsiteX46077" y="connsiteY46077"/>
              </a:cxn>
              <a:cxn ang="0">
                <a:pos x="connsiteX46078" y="connsiteY46078"/>
              </a:cxn>
              <a:cxn ang="0">
                <a:pos x="connsiteX46079" y="connsiteY46079"/>
              </a:cxn>
              <a:cxn ang="0">
                <a:pos x="connsiteX46080" y="connsiteY46080"/>
              </a:cxn>
              <a:cxn ang="0">
                <a:pos x="connsiteX46081" y="connsiteY46081"/>
              </a:cxn>
              <a:cxn ang="0">
                <a:pos x="connsiteX46082" y="connsiteY46082"/>
              </a:cxn>
              <a:cxn ang="0">
                <a:pos x="connsiteX46083" y="connsiteY46083"/>
              </a:cxn>
              <a:cxn ang="0">
                <a:pos x="connsiteX46084" y="connsiteY46084"/>
              </a:cxn>
              <a:cxn ang="0">
                <a:pos x="connsiteX46085" y="connsiteY46085"/>
              </a:cxn>
              <a:cxn ang="0">
                <a:pos x="connsiteX46086" y="connsiteY46086"/>
              </a:cxn>
              <a:cxn ang="0">
                <a:pos x="connsiteX46087" y="connsiteY46087"/>
              </a:cxn>
              <a:cxn ang="0">
                <a:pos x="connsiteX46088" y="connsiteY46088"/>
              </a:cxn>
              <a:cxn ang="0">
                <a:pos x="connsiteX46089" y="connsiteY46089"/>
              </a:cxn>
              <a:cxn ang="0">
                <a:pos x="connsiteX46090" y="connsiteY46090"/>
              </a:cxn>
              <a:cxn ang="0">
                <a:pos x="connsiteX46091" y="connsiteY46091"/>
              </a:cxn>
              <a:cxn ang="0">
                <a:pos x="connsiteX46092" y="connsiteY46092"/>
              </a:cxn>
              <a:cxn ang="0">
                <a:pos x="connsiteX46093" y="connsiteY46093"/>
              </a:cxn>
              <a:cxn ang="0">
                <a:pos x="connsiteX46094" y="connsiteY46094"/>
              </a:cxn>
              <a:cxn ang="0">
                <a:pos x="connsiteX46095" y="connsiteY46095"/>
              </a:cxn>
              <a:cxn ang="0">
                <a:pos x="connsiteX46096" y="connsiteY46096"/>
              </a:cxn>
              <a:cxn ang="0">
                <a:pos x="connsiteX46097" y="connsiteY46097"/>
              </a:cxn>
              <a:cxn ang="0">
                <a:pos x="connsiteX46098" y="connsiteY46098"/>
              </a:cxn>
              <a:cxn ang="0">
                <a:pos x="connsiteX46099" y="connsiteY46099"/>
              </a:cxn>
              <a:cxn ang="0">
                <a:pos x="connsiteX46100" y="connsiteY46100"/>
              </a:cxn>
              <a:cxn ang="0">
                <a:pos x="connsiteX46101" y="connsiteY46101"/>
              </a:cxn>
              <a:cxn ang="0">
                <a:pos x="connsiteX46102" y="connsiteY46102"/>
              </a:cxn>
              <a:cxn ang="0">
                <a:pos x="connsiteX46103" y="connsiteY46103"/>
              </a:cxn>
              <a:cxn ang="0">
                <a:pos x="connsiteX46104" y="connsiteY46104"/>
              </a:cxn>
              <a:cxn ang="0">
                <a:pos x="connsiteX46105" y="connsiteY46105"/>
              </a:cxn>
              <a:cxn ang="0">
                <a:pos x="connsiteX46106" y="connsiteY46106"/>
              </a:cxn>
              <a:cxn ang="0">
                <a:pos x="connsiteX46107" y="connsiteY46107"/>
              </a:cxn>
              <a:cxn ang="0">
                <a:pos x="connsiteX46108" y="connsiteY46108"/>
              </a:cxn>
              <a:cxn ang="0">
                <a:pos x="connsiteX46109" y="connsiteY46109"/>
              </a:cxn>
              <a:cxn ang="0">
                <a:pos x="connsiteX46110" y="connsiteY46110"/>
              </a:cxn>
              <a:cxn ang="0">
                <a:pos x="connsiteX46111" y="connsiteY46111"/>
              </a:cxn>
              <a:cxn ang="0">
                <a:pos x="connsiteX46112" y="connsiteY46112"/>
              </a:cxn>
              <a:cxn ang="0">
                <a:pos x="connsiteX46113" y="connsiteY46113"/>
              </a:cxn>
              <a:cxn ang="0">
                <a:pos x="connsiteX46114" y="connsiteY46114"/>
              </a:cxn>
              <a:cxn ang="0">
                <a:pos x="connsiteX46115" y="connsiteY46115"/>
              </a:cxn>
              <a:cxn ang="0">
                <a:pos x="connsiteX46116" y="connsiteY46116"/>
              </a:cxn>
              <a:cxn ang="0">
                <a:pos x="connsiteX46117" y="connsiteY46117"/>
              </a:cxn>
              <a:cxn ang="0">
                <a:pos x="connsiteX46118" y="connsiteY46118"/>
              </a:cxn>
              <a:cxn ang="0">
                <a:pos x="connsiteX46119" y="connsiteY46119"/>
              </a:cxn>
              <a:cxn ang="0">
                <a:pos x="connsiteX46120" y="connsiteY46120"/>
              </a:cxn>
              <a:cxn ang="0">
                <a:pos x="connsiteX46121" y="connsiteY46121"/>
              </a:cxn>
              <a:cxn ang="0">
                <a:pos x="connsiteX46122" y="connsiteY46122"/>
              </a:cxn>
              <a:cxn ang="0">
                <a:pos x="connsiteX46123" y="connsiteY46123"/>
              </a:cxn>
              <a:cxn ang="0">
                <a:pos x="connsiteX46124" y="connsiteY46124"/>
              </a:cxn>
              <a:cxn ang="0">
                <a:pos x="connsiteX46125" y="connsiteY46125"/>
              </a:cxn>
              <a:cxn ang="0">
                <a:pos x="connsiteX46126" y="connsiteY46126"/>
              </a:cxn>
              <a:cxn ang="0">
                <a:pos x="connsiteX46127" y="connsiteY46127"/>
              </a:cxn>
              <a:cxn ang="0">
                <a:pos x="connsiteX46128" y="connsiteY46128"/>
              </a:cxn>
              <a:cxn ang="0">
                <a:pos x="connsiteX46129" y="connsiteY46129"/>
              </a:cxn>
              <a:cxn ang="0">
                <a:pos x="connsiteX46130" y="connsiteY46130"/>
              </a:cxn>
              <a:cxn ang="0">
                <a:pos x="connsiteX46131" y="connsiteY46131"/>
              </a:cxn>
              <a:cxn ang="0">
                <a:pos x="connsiteX46132" y="connsiteY46132"/>
              </a:cxn>
              <a:cxn ang="0">
                <a:pos x="connsiteX46133" y="connsiteY46133"/>
              </a:cxn>
              <a:cxn ang="0">
                <a:pos x="connsiteX46134" y="connsiteY46134"/>
              </a:cxn>
              <a:cxn ang="0">
                <a:pos x="connsiteX46135" y="connsiteY46135"/>
              </a:cxn>
              <a:cxn ang="0">
                <a:pos x="connsiteX46136" y="connsiteY46136"/>
              </a:cxn>
              <a:cxn ang="0">
                <a:pos x="connsiteX46137" y="connsiteY46137"/>
              </a:cxn>
              <a:cxn ang="0">
                <a:pos x="connsiteX46138" y="connsiteY46138"/>
              </a:cxn>
              <a:cxn ang="0">
                <a:pos x="connsiteX46139" y="connsiteY46139"/>
              </a:cxn>
              <a:cxn ang="0">
                <a:pos x="connsiteX46140" y="connsiteY46140"/>
              </a:cxn>
              <a:cxn ang="0">
                <a:pos x="connsiteX46141" y="connsiteY46141"/>
              </a:cxn>
              <a:cxn ang="0">
                <a:pos x="connsiteX46142" y="connsiteY46142"/>
              </a:cxn>
              <a:cxn ang="0">
                <a:pos x="connsiteX46143" y="connsiteY46143"/>
              </a:cxn>
              <a:cxn ang="0">
                <a:pos x="connsiteX46144" y="connsiteY46144"/>
              </a:cxn>
              <a:cxn ang="0">
                <a:pos x="connsiteX46145" y="connsiteY46145"/>
              </a:cxn>
              <a:cxn ang="0">
                <a:pos x="connsiteX46146" y="connsiteY46146"/>
              </a:cxn>
              <a:cxn ang="0">
                <a:pos x="connsiteX46147" y="connsiteY46147"/>
              </a:cxn>
              <a:cxn ang="0">
                <a:pos x="connsiteX46148" y="connsiteY46148"/>
              </a:cxn>
              <a:cxn ang="0">
                <a:pos x="connsiteX46149" y="connsiteY46149"/>
              </a:cxn>
              <a:cxn ang="0">
                <a:pos x="connsiteX46150" y="connsiteY46150"/>
              </a:cxn>
              <a:cxn ang="0">
                <a:pos x="connsiteX46151" y="connsiteY46151"/>
              </a:cxn>
              <a:cxn ang="0">
                <a:pos x="connsiteX46152" y="connsiteY46152"/>
              </a:cxn>
              <a:cxn ang="0">
                <a:pos x="connsiteX46153" y="connsiteY46153"/>
              </a:cxn>
              <a:cxn ang="0">
                <a:pos x="connsiteX46154" y="connsiteY46154"/>
              </a:cxn>
              <a:cxn ang="0">
                <a:pos x="connsiteX46155" y="connsiteY46155"/>
              </a:cxn>
              <a:cxn ang="0">
                <a:pos x="connsiteX46156" y="connsiteY46156"/>
              </a:cxn>
              <a:cxn ang="0">
                <a:pos x="connsiteX46157" y="connsiteY46157"/>
              </a:cxn>
              <a:cxn ang="0">
                <a:pos x="connsiteX46158" y="connsiteY46158"/>
              </a:cxn>
              <a:cxn ang="0">
                <a:pos x="connsiteX46159" y="connsiteY46159"/>
              </a:cxn>
              <a:cxn ang="0">
                <a:pos x="connsiteX46160" y="connsiteY46160"/>
              </a:cxn>
              <a:cxn ang="0">
                <a:pos x="connsiteX46161" y="connsiteY46161"/>
              </a:cxn>
              <a:cxn ang="0">
                <a:pos x="connsiteX46162" y="connsiteY46162"/>
              </a:cxn>
              <a:cxn ang="0">
                <a:pos x="connsiteX46163" y="connsiteY46163"/>
              </a:cxn>
              <a:cxn ang="0">
                <a:pos x="connsiteX46164" y="connsiteY46164"/>
              </a:cxn>
              <a:cxn ang="0">
                <a:pos x="connsiteX46165" y="connsiteY46165"/>
              </a:cxn>
              <a:cxn ang="0">
                <a:pos x="connsiteX46166" y="connsiteY46166"/>
              </a:cxn>
              <a:cxn ang="0">
                <a:pos x="connsiteX46167" y="connsiteY46167"/>
              </a:cxn>
              <a:cxn ang="0">
                <a:pos x="connsiteX46168" y="connsiteY46168"/>
              </a:cxn>
              <a:cxn ang="0">
                <a:pos x="connsiteX46169" y="connsiteY46169"/>
              </a:cxn>
              <a:cxn ang="0">
                <a:pos x="connsiteX46170" y="connsiteY46170"/>
              </a:cxn>
              <a:cxn ang="0">
                <a:pos x="connsiteX46171" y="connsiteY46171"/>
              </a:cxn>
              <a:cxn ang="0">
                <a:pos x="connsiteX46172" y="connsiteY46172"/>
              </a:cxn>
              <a:cxn ang="0">
                <a:pos x="connsiteX46173" y="connsiteY46173"/>
              </a:cxn>
              <a:cxn ang="0">
                <a:pos x="connsiteX46174" y="connsiteY46174"/>
              </a:cxn>
              <a:cxn ang="0">
                <a:pos x="connsiteX46175" y="connsiteY46175"/>
              </a:cxn>
              <a:cxn ang="0">
                <a:pos x="connsiteX46176" y="connsiteY46176"/>
              </a:cxn>
              <a:cxn ang="0">
                <a:pos x="connsiteX46177" y="connsiteY46177"/>
              </a:cxn>
              <a:cxn ang="0">
                <a:pos x="connsiteX46178" y="connsiteY46178"/>
              </a:cxn>
              <a:cxn ang="0">
                <a:pos x="connsiteX46179" y="connsiteY46179"/>
              </a:cxn>
              <a:cxn ang="0">
                <a:pos x="connsiteX46180" y="connsiteY46180"/>
              </a:cxn>
              <a:cxn ang="0">
                <a:pos x="connsiteX46181" y="connsiteY46181"/>
              </a:cxn>
              <a:cxn ang="0">
                <a:pos x="connsiteX46182" y="connsiteY46182"/>
              </a:cxn>
              <a:cxn ang="0">
                <a:pos x="connsiteX46183" y="connsiteY46183"/>
              </a:cxn>
              <a:cxn ang="0">
                <a:pos x="connsiteX46184" y="connsiteY46184"/>
              </a:cxn>
              <a:cxn ang="0">
                <a:pos x="connsiteX46185" y="connsiteY46185"/>
              </a:cxn>
              <a:cxn ang="0">
                <a:pos x="connsiteX46186" y="connsiteY46186"/>
              </a:cxn>
              <a:cxn ang="0">
                <a:pos x="connsiteX46187" y="connsiteY46187"/>
              </a:cxn>
              <a:cxn ang="0">
                <a:pos x="connsiteX46188" y="connsiteY46188"/>
              </a:cxn>
              <a:cxn ang="0">
                <a:pos x="connsiteX46189" y="connsiteY46189"/>
              </a:cxn>
              <a:cxn ang="0">
                <a:pos x="connsiteX46190" y="connsiteY46190"/>
              </a:cxn>
              <a:cxn ang="0">
                <a:pos x="connsiteX46191" y="connsiteY46191"/>
              </a:cxn>
              <a:cxn ang="0">
                <a:pos x="connsiteX46192" y="connsiteY46192"/>
              </a:cxn>
              <a:cxn ang="0">
                <a:pos x="connsiteX46193" y="connsiteY46193"/>
              </a:cxn>
              <a:cxn ang="0">
                <a:pos x="connsiteX46194" y="connsiteY46194"/>
              </a:cxn>
              <a:cxn ang="0">
                <a:pos x="connsiteX46195" y="connsiteY46195"/>
              </a:cxn>
              <a:cxn ang="0">
                <a:pos x="connsiteX46196" y="connsiteY46196"/>
              </a:cxn>
              <a:cxn ang="0">
                <a:pos x="connsiteX46197" y="connsiteY46197"/>
              </a:cxn>
              <a:cxn ang="0">
                <a:pos x="connsiteX46198" y="connsiteY46198"/>
              </a:cxn>
              <a:cxn ang="0">
                <a:pos x="connsiteX46199" y="connsiteY46199"/>
              </a:cxn>
              <a:cxn ang="0">
                <a:pos x="connsiteX46200" y="connsiteY46200"/>
              </a:cxn>
              <a:cxn ang="0">
                <a:pos x="connsiteX46201" y="connsiteY46201"/>
              </a:cxn>
              <a:cxn ang="0">
                <a:pos x="connsiteX46202" y="connsiteY46202"/>
              </a:cxn>
              <a:cxn ang="0">
                <a:pos x="connsiteX46203" y="connsiteY46203"/>
              </a:cxn>
              <a:cxn ang="0">
                <a:pos x="connsiteX46204" y="connsiteY46204"/>
              </a:cxn>
              <a:cxn ang="0">
                <a:pos x="connsiteX46205" y="connsiteY46205"/>
              </a:cxn>
              <a:cxn ang="0">
                <a:pos x="connsiteX46206" y="connsiteY46206"/>
              </a:cxn>
              <a:cxn ang="0">
                <a:pos x="connsiteX46207" y="connsiteY46207"/>
              </a:cxn>
              <a:cxn ang="0">
                <a:pos x="connsiteX46208" y="connsiteY46208"/>
              </a:cxn>
              <a:cxn ang="0">
                <a:pos x="connsiteX46209" y="connsiteY46209"/>
              </a:cxn>
              <a:cxn ang="0">
                <a:pos x="connsiteX46210" y="connsiteY46210"/>
              </a:cxn>
              <a:cxn ang="0">
                <a:pos x="connsiteX46211" y="connsiteY46211"/>
              </a:cxn>
              <a:cxn ang="0">
                <a:pos x="connsiteX46212" y="connsiteY46212"/>
              </a:cxn>
              <a:cxn ang="0">
                <a:pos x="connsiteX46213" y="connsiteY46213"/>
              </a:cxn>
              <a:cxn ang="0">
                <a:pos x="connsiteX46214" y="connsiteY46214"/>
              </a:cxn>
              <a:cxn ang="0">
                <a:pos x="connsiteX46215" y="connsiteY46215"/>
              </a:cxn>
              <a:cxn ang="0">
                <a:pos x="connsiteX46216" y="connsiteY46216"/>
              </a:cxn>
              <a:cxn ang="0">
                <a:pos x="connsiteX46217" y="connsiteY46217"/>
              </a:cxn>
              <a:cxn ang="0">
                <a:pos x="connsiteX46218" y="connsiteY46218"/>
              </a:cxn>
              <a:cxn ang="0">
                <a:pos x="connsiteX46219" y="connsiteY46219"/>
              </a:cxn>
              <a:cxn ang="0">
                <a:pos x="connsiteX46220" y="connsiteY46220"/>
              </a:cxn>
              <a:cxn ang="0">
                <a:pos x="connsiteX46221" y="connsiteY46221"/>
              </a:cxn>
              <a:cxn ang="0">
                <a:pos x="connsiteX46222" y="connsiteY46222"/>
              </a:cxn>
              <a:cxn ang="0">
                <a:pos x="connsiteX46223" y="connsiteY46223"/>
              </a:cxn>
              <a:cxn ang="0">
                <a:pos x="connsiteX46224" y="connsiteY46224"/>
              </a:cxn>
              <a:cxn ang="0">
                <a:pos x="connsiteX46225" y="connsiteY46225"/>
              </a:cxn>
              <a:cxn ang="0">
                <a:pos x="connsiteX46226" y="connsiteY46226"/>
              </a:cxn>
              <a:cxn ang="0">
                <a:pos x="connsiteX46227" y="connsiteY46227"/>
              </a:cxn>
              <a:cxn ang="0">
                <a:pos x="connsiteX46228" y="connsiteY46228"/>
              </a:cxn>
              <a:cxn ang="0">
                <a:pos x="connsiteX46229" y="connsiteY46229"/>
              </a:cxn>
              <a:cxn ang="0">
                <a:pos x="connsiteX46230" y="connsiteY46230"/>
              </a:cxn>
              <a:cxn ang="0">
                <a:pos x="connsiteX46231" y="connsiteY46231"/>
              </a:cxn>
              <a:cxn ang="0">
                <a:pos x="connsiteX46232" y="connsiteY46232"/>
              </a:cxn>
              <a:cxn ang="0">
                <a:pos x="connsiteX46233" y="connsiteY46233"/>
              </a:cxn>
              <a:cxn ang="0">
                <a:pos x="connsiteX46234" y="connsiteY46234"/>
              </a:cxn>
              <a:cxn ang="0">
                <a:pos x="connsiteX46235" y="connsiteY46235"/>
              </a:cxn>
              <a:cxn ang="0">
                <a:pos x="connsiteX46236" y="connsiteY46236"/>
              </a:cxn>
              <a:cxn ang="0">
                <a:pos x="connsiteX46237" y="connsiteY46237"/>
              </a:cxn>
              <a:cxn ang="0">
                <a:pos x="connsiteX46238" y="connsiteY46238"/>
              </a:cxn>
              <a:cxn ang="0">
                <a:pos x="connsiteX46239" y="connsiteY46239"/>
              </a:cxn>
              <a:cxn ang="0">
                <a:pos x="connsiteX46240" y="connsiteY46240"/>
              </a:cxn>
              <a:cxn ang="0">
                <a:pos x="connsiteX46241" y="connsiteY46241"/>
              </a:cxn>
              <a:cxn ang="0">
                <a:pos x="connsiteX46242" y="connsiteY46242"/>
              </a:cxn>
              <a:cxn ang="0">
                <a:pos x="connsiteX46243" y="connsiteY46243"/>
              </a:cxn>
              <a:cxn ang="0">
                <a:pos x="connsiteX46244" y="connsiteY46244"/>
              </a:cxn>
              <a:cxn ang="0">
                <a:pos x="connsiteX46245" y="connsiteY46245"/>
              </a:cxn>
              <a:cxn ang="0">
                <a:pos x="connsiteX46246" y="connsiteY46246"/>
              </a:cxn>
              <a:cxn ang="0">
                <a:pos x="connsiteX46247" y="connsiteY46247"/>
              </a:cxn>
              <a:cxn ang="0">
                <a:pos x="connsiteX46248" y="connsiteY46248"/>
              </a:cxn>
              <a:cxn ang="0">
                <a:pos x="connsiteX46249" y="connsiteY46249"/>
              </a:cxn>
              <a:cxn ang="0">
                <a:pos x="connsiteX46250" y="connsiteY46250"/>
              </a:cxn>
              <a:cxn ang="0">
                <a:pos x="connsiteX46251" y="connsiteY46251"/>
              </a:cxn>
              <a:cxn ang="0">
                <a:pos x="connsiteX46252" y="connsiteY46252"/>
              </a:cxn>
              <a:cxn ang="0">
                <a:pos x="connsiteX46253" y="connsiteY46253"/>
              </a:cxn>
              <a:cxn ang="0">
                <a:pos x="connsiteX46254" y="connsiteY46254"/>
              </a:cxn>
              <a:cxn ang="0">
                <a:pos x="connsiteX46255" y="connsiteY46255"/>
              </a:cxn>
              <a:cxn ang="0">
                <a:pos x="connsiteX46256" y="connsiteY46256"/>
              </a:cxn>
              <a:cxn ang="0">
                <a:pos x="connsiteX46257" y="connsiteY46257"/>
              </a:cxn>
              <a:cxn ang="0">
                <a:pos x="connsiteX46258" y="connsiteY46258"/>
              </a:cxn>
              <a:cxn ang="0">
                <a:pos x="connsiteX46259" y="connsiteY46259"/>
              </a:cxn>
              <a:cxn ang="0">
                <a:pos x="connsiteX46260" y="connsiteY46260"/>
              </a:cxn>
              <a:cxn ang="0">
                <a:pos x="connsiteX46261" y="connsiteY46261"/>
              </a:cxn>
              <a:cxn ang="0">
                <a:pos x="connsiteX46262" y="connsiteY46262"/>
              </a:cxn>
              <a:cxn ang="0">
                <a:pos x="connsiteX46263" y="connsiteY46263"/>
              </a:cxn>
              <a:cxn ang="0">
                <a:pos x="connsiteX46264" y="connsiteY46264"/>
              </a:cxn>
              <a:cxn ang="0">
                <a:pos x="connsiteX46265" y="connsiteY46265"/>
              </a:cxn>
              <a:cxn ang="0">
                <a:pos x="connsiteX46266" y="connsiteY46266"/>
              </a:cxn>
              <a:cxn ang="0">
                <a:pos x="connsiteX46267" y="connsiteY46267"/>
              </a:cxn>
              <a:cxn ang="0">
                <a:pos x="connsiteX46268" y="connsiteY46268"/>
              </a:cxn>
              <a:cxn ang="0">
                <a:pos x="connsiteX46269" y="connsiteY46269"/>
              </a:cxn>
              <a:cxn ang="0">
                <a:pos x="connsiteX46270" y="connsiteY46270"/>
              </a:cxn>
              <a:cxn ang="0">
                <a:pos x="connsiteX46271" y="connsiteY46271"/>
              </a:cxn>
              <a:cxn ang="0">
                <a:pos x="connsiteX46272" y="connsiteY46272"/>
              </a:cxn>
              <a:cxn ang="0">
                <a:pos x="connsiteX46273" y="connsiteY46273"/>
              </a:cxn>
              <a:cxn ang="0">
                <a:pos x="connsiteX46274" y="connsiteY46274"/>
              </a:cxn>
              <a:cxn ang="0">
                <a:pos x="connsiteX46275" y="connsiteY46275"/>
              </a:cxn>
              <a:cxn ang="0">
                <a:pos x="connsiteX46276" y="connsiteY46276"/>
              </a:cxn>
              <a:cxn ang="0">
                <a:pos x="connsiteX46277" y="connsiteY46277"/>
              </a:cxn>
              <a:cxn ang="0">
                <a:pos x="connsiteX46278" y="connsiteY46278"/>
              </a:cxn>
              <a:cxn ang="0">
                <a:pos x="connsiteX46279" y="connsiteY46279"/>
              </a:cxn>
              <a:cxn ang="0">
                <a:pos x="connsiteX46280" y="connsiteY46280"/>
              </a:cxn>
              <a:cxn ang="0">
                <a:pos x="connsiteX46281" y="connsiteY46281"/>
              </a:cxn>
              <a:cxn ang="0">
                <a:pos x="connsiteX46282" y="connsiteY46282"/>
              </a:cxn>
              <a:cxn ang="0">
                <a:pos x="connsiteX46283" y="connsiteY46283"/>
              </a:cxn>
              <a:cxn ang="0">
                <a:pos x="connsiteX46284" y="connsiteY46284"/>
              </a:cxn>
              <a:cxn ang="0">
                <a:pos x="connsiteX46285" y="connsiteY46285"/>
              </a:cxn>
              <a:cxn ang="0">
                <a:pos x="connsiteX46286" y="connsiteY46286"/>
              </a:cxn>
              <a:cxn ang="0">
                <a:pos x="connsiteX46287" y="connsiteY46287"/>
              </a:cxn>
              <a:cxn ang="0">
                <a:pos x="connsiteX46288" y="connsiteY46288"/>
              </a:cxn>
              <a:cxn ang="0">
                <a:pos x="connsiteX46289" y="connsiteY46289"/>
              </a:cxn>
              <a:cxn ang="0">
                <a:pos x="connsiteX46290" y="connsiteY46290"/>
              </a:cxn>
              <a:cxn ang="0">
                <a:pos x="connsiteX46291" y="connsiteY46291"/>
              </a:cxn>
              <a:cxn ang="0">
                <a:pos x="connsiteX46292" y="connsiteY46292"/>
              </a:cxn>
              <a:cxn ang="0">
                <a:pos x="connsiteX46293" y="connsiteY46293"/>
              </a:cxn>
              <a:cxn ang="0">
                <a:pos x="connsiteX46294" y="connsiteY46294"/>
              </a:cxn>
              <a:cxn ang="0">
                <a:pos x="connsiteX46295" y="connsiteY46295"/>
              </a:cxn>
              <a:cxn ang="0">
                <a:pos x="connsiteX46296" y="connsiteY46296"/>
              </a:cxn>
              <a:cxn ang="0">
                <a:pos x="connsiteX46297" y="connsiteY46297"/>
              </a:cxn>
              <a:cxn ang="0">
                <a:pos x="connsiteX46298" y="connsiteY46298"/>
              </a:cxn>
              <a:cxn ang="0">
                <a:pos x="connsiteX46299" y="connsiteY46299"/>
              </a:cxn>
              <a:cxn ang="0">
                <a:pos x="connsiteX46300" y="connsiteY46300"/>
              </a:cxn>
              <a:cxn ang="0">
                <a:pos x="connsiteX46301" y="connsiteY46301"/>
              </a:cxn>
              <a:cxn ang="0">
                <a:pos x="connsiteX46302" y="connsiteY46302"/>
              </a:cxn>
              <a:cxn ang="0">
                <a:pos x="connsiteX46303" y="connsiteY46303"/>
              </a:cxn>
              <a:cxn ang="0">
                <a:pos x="connsiteX46304" y="connsiteY46304"/>
              </a:cxn>
              <a:cxn ang="0">
                <a:pos x="connsiteX46305" y="connsiteY46305"/>
              </a:cxn>
              <a:cxn ang="0">
                <a:pos x="connsiteX46306" y="connsiteY46306"/>
              </a:cxn>
              <a:cxn ang="0">
                <a:pos x="connsiteX46307" y="connsiteY46307"/>
              </a:cxn>
              <a:cxn ang="0">
                <a:pos x="connsiteX46308" y="connsiteY46308"/>
              </a:cxn>
              <a:cxn ang="0">
                <a:pos x="connsiteX46309" y="connsiteY46309"/>
              </a:cxn>
              <a:cxn ang="0">
                <a:pos x="connsiteX46310" y="connsiteY46310"/>
              </a:cxn>
              <a:cxn ang="0">
                <a:pos x="connsiteX46311" y="connsiteY46311"/>
              </a:cxn>
              <a:cxn ang="0">
                <a:pos x="connsiteX46312" y="connsiteY46312"/>
              </a:cxn>
              <a:cxn ang="0">
                <a:pos x="connsiteX46313" y="connsiteY46313"/>
              </a:cxn>
              <a:cxn ang="0">
                <a:pos x="connsiteX46314" y="connsiteY46314"/>
              </a:cxn>
              <a:cxn ang="0">
                <a:pos x="connsiteX46315" y="connsiteY46315"/>
              </a:cxn>
              <a:cxn ang="0">
                <a:pos x="connsiteX46316" y="connsiteY46316"/>
              </a:cxn>
              <a:cxn ang="0">
                <a:pos x="connsiteX46317" y="connsiteY46317"/>
              </a:cxn>
              <a:cxn ang="0">
                <a:pos x="connsiteX46318" y="connsiteY46318"/>
              </a:cxn>
              <a:cxn ang="0">
                <a:pos x="connsiteX46319" y="connsiteY46319"/>
              </a:cxn>
              <a:cxn ang="0">
                <a:pos x="connsiteX46320" y="connsiteY46320"/>
              </a:cxn>
              <a:cxn ang="0">
                <a:pos x="connsiteX46321" y="connsiteY46321"/>
              </a:cxn>
              <a:cxn ang="0">
                <a:pos x="connsiteX46322" y="connsiteY46322"/>
              </a:cxn>
              <a:cxn ang="0">
                <a:pos x="connsiteX46323" y="connsiteY46323"/>
              </a:cxn>
              <a:cxn ang="0">
                <a:pos x="connsiteX46324" y="connsiteY46324"/>
              </a:cxn>
              <a:cxn ang="0">
                <a:pos x="connsiteX46325" y="connsiteY46325"/>
              </a:cxn>
              <a:cxn ang="0">
                <a:pos x="connsiteX46326" y="connsiteY46326"/>
              </a:cxn>
              <a:cxn ang="0">
                <a:pos x="connsiteX46327" y="connsiteY46327"/>
              </a:cxn>
              <a:cxn ang="0">
                <a:pos x="connsiteX46328" y="connsiteY46328"/>
              </a:cxn>
              <a:cxn ang="0">
                <a:pos x="connsiteX46329" y="connsiteY46329"/>
              </a:cxn>
              <a:cxn ang="0">
                <a:pos x="connsiteX46330" y="connsiteY46330"/>
              </a:cxn>
              <a:cxn ang="0">
                <a:pos x="connsiteX46331" y="connsiteY46331"/>
              </a:cxn>
              <a:cxn ang="0">
                <a:pos x="connsiteX46332" y="connsiteY46332"/>
              </a:cxn>
              <a:cxn ang="0">
                <a:pos x="connsiteX46333" y="connsiteY46333"/>
              </a:cxn>
              <a:cxn ang="0">
                <a:pos x="connsiteX46334" y="connsiteY46334"/>
              </a:cxn>
              <a:cxn ang="0">
                <a:pos x="connsiteX46335" y="connsiteY46335"/>
              </a:cxn>
              <a:cxn ang="0">
                <a:pos x="connsiteX46336" y="connsiteY46336"/>
              </a:cxn>
              <a:cxn ang="0">
                <a:pos x="connsiteX46337" y="connsiteY46337"/>
              </a:cxn>
              <a:cxn ang="0">
                <a:pos x="connsiteX46338" y="connsiteY46338"/>
              </a:cxn>
              <a:cxn ang="0">
                <a:pos x="connsiteX46339" y="connsiteY46339"/>
              </a:cxn>
              <a:cxn ang="0">
                <a:pos x="connsiteX46340" y="connsiteY46340"/>
              </a:cxn>
              <a:cxn ang="0">
                <a:pos x="connsiteX46341" y="connsiteY46341"/>
              </a:cxn>
              <a:cxn ang="0">
                <a:pos x="connsiteX46342" y="connsiteY46342"/>
              </a:cxn>
              <a:cxn ang="0">
                <a:pos x="connsiteX46343" y="connsiteY46343"/>
              </a:cxn>
              <a:cxn ang="0">
                <a:pos x="connsiteX46344" y="connsiteY46344"/>
              </a:cxn>
              <a:cxn ang="0">
                <a:pos x="connsiteX46345" y="connsiteY46345"/>
              </a:cxn>
              <a:cxn ang="0">
                <a:pos x="connsiteX46346" y="connsiteY46346"/>
              </a:cxn>
              <a:cxn ang="0">
                <a:pos x="connsiteX46347" y="connsiteY46347"/>
              </a:cxn>
              <a:cxn ang="0">
                <a:pos x="connsiteX46348" y="connsiteY46348"/>
              </a:cxn>
              <a:cxn ang="0">
                <a:pos x="connsiteX46349" y="connsiteY46349"/>
              </a:cxn>
              <a:cxn ang="0">
                <a:pos x="connsiteX46350" y="connsiteY46350"/>
              </a:cxn>
              <a:cxn ang="0">
                <a:pos x="connsiteX46351" y="connsiteY46351"/>
              </a:cxn>
              <a:cxn ang="0">
                <a:pos x="connsiteX46352" y="connsiteY46352"/>
              </a:cxn>
              <a:cxn ang="0">
                <a:pos x="connsiteX46353" y="connsiteY46353"/>
              </a:cxn>
              <a:cxn ang="0">
                <a:pos x="connsiteX46354" y="connsiteY46354"/>
              </a:cxn>
              <a:cxn ang="0">
                <a:pos x="connsiteX46355" y="connsiteY46355"/>
              </a:cxn>
              <a:cxn ang="0">
                <a:pos x="connsiteX46356" y="connsiteY46356"/>
              </a:cxn>
              <a:cxn ang="0">
                <a:pos x="connsiteX46357" y="connsiteY46357"/>
              </a:cxn>
              <a:cxn ang="0">
                <a:pos x="connsiteX46358" y="connsiteY46358"/>
              </a:cxn>
              <a:cxn ang="0">
                <a:pos x="connsiteX46359" y="connsiteY46359"/>
              </a:cxn>
              <a:cxn ang="0">
                <a:pos x="connsiteX46360" y="connsiteY46360"/>
              </a:cxn>
              <a:cxn ang="0">
                <a:pos x="connsiteX46361" y="connsiteY46361"/>
              </a:cxn>
              <a:cxn ang="0">
                <a:pos x="connsiteX46362" y="connsiteY46362"/>
              </a:cxn>
              <a:cxn ang="0">
                <a:pos x="connsiteX46363" y="connsiteY46363"/>
              </a:cxn>
              <a:cxn ang="0">
                <a:pos x="connsiteX46364" y="connsiteY46364"/>
              </a:cxn>
              <a:cxn ang="0">
                <a:pos x="connsiteX46365" y="connsiteY46365"/>
              </a:cxn>
              <a:cxn ang="0">
                <a:pos x="connsiteX46366" y="connsiteY46366"/>
              </a:cxn>
              <a:cxn ang="0">
                <a:pos x="connsiteX46367" y="connsiteY46367"/>
              </a:cxn>
              <a:cxn ang="0">
                <a:pos x="connsiteX46368" y="connsiteY46368"/>
              </a:cxn>
              <a:cxn ang="0">
                <a:pos x="connsiteX46369" y="connsiteY46369"/>
              </a:cxn>
              <a:cxn ang="0">
                <a:pos x="connsiteX46370" y="connsiteY46370"/>
              </a:cxn>
              <a:cxn ang="0">
                <a:pos x="connsiteX46371" y="connsiteY46371"/>
              </a:cxn>
              <a:cxn ang="0">
                <a:pos x="connsiteX46372" y="connsiteY46372"/>
              </a:cxn>
              <a:cxn ang="0">
                <a:pos x="connsiteX46373" y="connsiteY46373"/>
              </a:cxn>
              <a:cxn ang="0">
                <a:pos x="connsiteX46374" y="connsiteY46374"/>
              </a:cxn>
              <a:cxn ang="0">
                <a:pos x="connsiteX46375" y="connsiteY46375"/>
              </a:cxn>
              <a:cxn ang="0">
                <a:pos x="connsiteX46376" y="connsiteY46376"/>
              </a:cxn>
              <a:cxn ang="0">
                <a:pos x="connsiteX46377" y="connsiteY46377"/>
              </a:cxn>
              <a:cxn ang="0">
                <a:pos x="connsiteX46378" y="connsiteY46378"/>
              </a:cxn>
              <a:cxn ang="0">
                <a:pos x="connsiteX46379" y="connsiteY46379"/>
              </a:cxn>
              <a:cxn ang="0">
                <a:pos x="connsiteX46380" y="connsiteY46380"/>
              </a:cxn>
              <a:cxn ang="0">
                <a:pos x="connsiteX46381" y="connsiteY46381"/>
              </a:cxn>
              <a:cxn ang="0">
                <a:pos x="connsiteX46382" y="connsiteY46382"/>
              </a:cxn>
              <a:cxn ang="0">
                <a:pos x="connsiteX46383" y="connsiteY46383"/>
              </a:cxn>
              <a:cxn ang="0">
                <a:pos x="connsiteX46384" y="connsiteY46384"/>
              </a:cxn>
              <a:cxn ang="0">
                <a:pos x="connsiteX46385" y="connsiteY46385"/>
              </a:cxn>
              <a:cxn ang="0">
                <a:pos x="connsiteX46386" y="connsiteY46386"/>
              </a:cxn>
              <a:cxn ang="0">
                <a:pos x="connsiteX46387" y="connsiteY46387"/>
              </a:cxn>
              <a:cxn ang="0">
                <a:pos x="connsiteX46388" y="connsiteY46388"/>
              </a:cxn>
              <a:cxn ang="0">
                <a:pos x="connsiteX46389" y="connsiteY46389"/>
              </a:cxn>
              <a:cxn ang="0">
                <a:pos x="connsiteX46390" y="connsiteY46390"/>
              </a:cxn>
              <a:cxn ang="0">
                <a:pos x="connsiteX46391" y="connsiteY46391"/>
              </a:cxn>
              <a:cxn ang="0">
                <a:pos x="connsiteX46392" y="connsiteY46392"/>
              </a:cxn>
              <a:cxn ang="0">
                <a:pos x="connsiteX46393" y="connsiteY46393"/>
              </a:cxn>
              <a:cxn ang="0">
                <a:pos x="connsiteX46394" y="connsiteY46394"/>
              </a:cxn>
              <a:cxn ang="0">
                <a:pos x="connsiteX46395" y="connsiteY46395"/>
              </a:cxn>
              <a:cxn ang="0">
                <a:pos x="connsiteX46396" y="connsiteY46396"/>
              </a:cxn>
              <a:cxn ang="0">
                <a:pos x="connsiteX46397" y="connsiteY46397"/>
              </a:cxn>
              <a:cxn ang="0">
                <a:pos x="connsiteX46398" y="connsiteY46398"/>
              </a:cxn>
              <a:cxn ang="0">
                <a:pos x="connsiteX46399" y="connsiteY46399"/>
              </a:cxn>
              <a:cxn ang="0">
                <a:pos x="connsiteX46400" y="connsiteY46400"/>
              </a:cxn>
              <a:cxn ang="0">
                <a:pos x="connsiteX46401" y="connsiteY46401"/>
              </a:cxn>
              <a:cxn ang="0">
                <a:pos x="connsiteX46402" y="connsiteY46402"/>
              </a:cxn>
              <a:cxn ang="0">
                <a:pos x="connsiteX46403" y="connsiteY46403"/>
              </a:cxn>
              <a:cxn ang="0">
                <a:pos x="connsiteX46404" y="connsiteY46404"/>
              </a:cxn>
              <a:cxn ang="0">
                <a:pos x="connsiteX46405" y="connsiteY46405"/>
              </a:cxn>
              <a:cxn ang="0">
                <a:pos x="connsiteX46406" y="connsiteY46406"/>
              </a:cxn>
              <a:cxn ang="0">
                <a:pos x="connsiteX46407" y="connsiteY46407"/>
              </a:cxn>
              <a:cxn ang="0">
                <a:pos x="connsiteX46408" y="connsiteY46408"/>
              </a:cxn>
              <a:cxn ang="0">
                <a:pos x="connsiteX46409" y="connsiteY46409"/>
              </a:cxn>
              <a:cxn ang="0">
                <a:pos x="connsiteX46410" y="connsiteY46410"/>
              </a:cxn>
              <a:cxn ang="0">
                <a:pos x="connsiteX46411" y="connsiteY46411"/>
              </a:cxn>
              <a:cxn ang="0">
                <a:pos x="connsiteX46412" y="connsiteY46412"/>
              </a:cxn>
              <a:cxn ang="0">
                <a:pos x="connsiteX46413" y="connsiteY46413"/>
              </a:cxn>
              <a:cxn ang="0">
                <a:pos x="connsiteX46414" y="connsiteY46414"/>
              </a:cxn>
              <a:cxn ang="0">
                <a:pos x="connsiteX46415" y="connsiteY46415"/>
              </a:cxn>
              <a:cxn ang="0">
                <a:pos x="connsiteX46416" y="connsiteY46416"/>
              </a:cxn>
              <a:cxn ang="0">
                <a:pos x="connsiteX46417" y="connsiteY46417"/>
              </a:cxn>
              <a:cxn ang="0">
                <a:pos x="connsiteX46418" y="connsiteY46418"/>
              </a:cxn>
              <a:cxn ang="0">
                <a:pos x="connsiteX46419" y="connsiteY46419"/>
              </a:cxn>
              <a:cxn ang="0">
                <a:pos x="connsiteX46420" y="connsiteY46420"/>
              </a:cxn>
              <a:cxn ang="0">
                <a:pos x="connsiteX46421" y="connsiteY46421"/>
              </a:cxn>
              <a:cxn ang="0">
                <a:pos x="connsiteX46422" y="connsiteY46422"/>
              </a:cxn>
              <a:cxn ang="0">
                <a:pos x="connsiteX46423" y="connsiteY46423"/>
              </a:cxn>
              <a:cxn ang="0">
                <a:pos x="connsiteX46424" y="connsiteY46424"/>
              </a:cxn>
              <a:cxn ang="0">
                <a:pos x="connsiteX46425" y="connsiteY46425"/>
              </a:cxn>
              <a:cxn ang="0">
                <a:pos x="connsiteX46426" y="connsiteY46426"/>
              </a:cxn>
              <a:cxn ang="0">
                <a:pos x="connsiteX46427" y="connsiteY46427"/>
              </a:cxn>
              <a:cxn ang="0">
                <a:pos x="connsiteX46428" y="connsiteY46428"/>
              </a:cxn>
              <a:cxn ang="0">
                <a:pos x="connsiteX46429" y="connsiteY46429"/>
              </a:cxn>
              <a:cxn ang="0">
                <a:pos x="connsiteX46430" y="connsiteY46430"/>
              </a:cxn>
              <a:cxn ang="0">
                <a:pos x="connsiteX46431" y="connsiteY46431"/>
              </a:cxn>
              <a:cxn ang="0">
                <a:pos x="connsiteX46432" y="connsiteY46432"/>
              </a:cxn>
              <a:cxn ang="0">
                <a:pos x="connsiteX46433" y="connsiteY46433"/>
              </a:cxn>
              <a:cxn ang="0">
                <a:pos x="connsiteX46434" y="connsiteY46434"/>
              </a:cxn>
              <a:cxn ang="0">
                <a:pos x="connsiteX46435" y="connsiteY46435"/>
              </a:cxn>
              <a:cxn ang="0">
                <a:pos x="connsiteX46436" y="connsiteY46436"/>
              </a:cxn>
              <a:cxn ang="0">
                <a:pos x="connsiteX46437" y="connsiteY46437"/>
              </a:cxn>
              <a:cxn ang="0">
                <a:pos x="connsiteX46438" y="connsiteY46438"/>
              </a:cxn>
              <a:cxn ang="0">
                <a:pos x="connsiteX46439" y="connsiteY46439"/>
              </a:cxn>
              <a:cxn ang="0">
                <a:pos x="connsiteX46440" y="connsiteY46440"/>
              </a:cxn>
              <a:cxn ang="0">
                <a:pos x="connsiteX46441" y="connsiteY46441"/>
              </a:cxn>
              <a:cxn ang="0">
                <a:pos x="connsiteX46442" y="connsiteY46442"/>
              </a:cxn>
              <a:cxn ang="0">
                <a:pos x="connsiteX46443" y="connsiteY46443"/>
              </a:cxn>
              <a:cxn ang="0">
                <a:pos x="connsiteX46444" y="connsiteY46444"/>
              </a:cxn>
              <a:cxn ang="0">
                <a:pos x="connsiteX46445" y="connsiteY46445"/>
              </a:cxn>
              <a:cxn ang="0">
                <a:pos x="connsiteX46446" y="connsiteY46446"/>
              </a:cxn>
              <a:cxn ang="0">
                <a:pos x="connsiteX46447" y="connsiteY46447"/>
              </a:cxn>
              <a:cxn ang="0">
                <a:pos x="connsiteX46448" y="connsiteY46448"/>
              </a:cxn>
              <a:cxn ang="0">
                <a:pos x="connsiteX46449" y="connsiteY46449"/>
              </a:cxn>
              <a:cxn ang="0">
                <a:pos x="connsiteX46450" y="connsiteY46450"/>
              </a:cxn>
              <a:cxn ang="0">
                <a:pos x="connsiteX46451" y="connsiteY46451"/>
              </a:cxn>
              <a:cxn ang="0">
                <a:pos x="connsiteX46452" y="connsiteY46452"/>
              </a:cxn>
              <a:cxn ang="0">
                <a:pos x="connsiteX46453" y="connsiteY46453"/>
              </a:cxn>
              <a:cxn ang="0">
                <a:pos x="connsiteX46454" y="connsiteY46454"/>
              </a:cxn>
              <a:cxn ang="0">
                <a:pos x="connsiteX46455" y="connsiteY46455"/>
              </a:cxn>
              <a:cxn ang="0">
                <a:pos x="connsiteX46456" y="connsiteY46456"/>
              </a:cxn>
              <a:cxn ang="0">
                <a:pos x="connsiteX46457" y="connsiteY46457"/>
              </a:cxn>
              <a:cxn ang="0">
                <a:pos x="connsiteX46458" y="connsiteY46458"/>
              </a:cxn>
              <a:cxn ang="0">
                <a:pos x="connsiteX46459" y="connsiteY46459"/>
              </a:cxn>
              <a:cxn ang="0">
                <a:pos x="connsiteX46460" y="connsiteY46460"/>
              </a:cxn>
              <a:cxn ang="0">
                <a:pos x="connsiteX46461" y="connsiteY46461"/>
              </a:cxn>
              <a:cxn ang="0">
                <a:pos x="connsiteX46462" y="connsiteY46462"/>
              </a:cxn>
              <a:cxn ang="0">
                <a:pos x="connsiteX46463" y="connsiteY46463"/>
              </a:cxn>
              <a:cxn ang="0">
                <a:pos x="connsiteX46464" y="connsiteY46464"/>
              </a:cxn>
              <a:cxn ang="0">
                <a:pos x="connsiteX46465" y="connsiteY46465"/>
              </a:cxn>
              <a:cxn ang="0">
                <a:pos x="connsiteX46466" y="connsiteY46466"/>
              </a:cxn>
              <a:cxn ang="0">
                <a:pos x="connsiteX46467" y="connsiteY46467"/>
              </a:cxn>
              <a:cxn ang="0">
                <a:pos x="connsiteX46468" y="connsiteY46468"/>
              </a:cxn>
              <a:cxn ang="0">
                <a:pos x="connsiteX46469" y="connsiteY46469"/>
              </a:cxn>
              <a:cxn ang="0">
                <a:pos x="connsiteX46470" y="connsiteY46470"/>
              </a:cxn>
              <a:cxn ang="0">
                <a:pos x="connsiteX46471" y="connsiteY46471"/>
              </a:cxn>
              <a:cxn ang="0">
                <a:pos x="connsiteX46472" y="connsiteY46472"/>
              </a:cxn>
              <a:cxn ang="0">
                <a:pos x="connsiteX46473" y="connsiteY46473"/>
              </a:cxn>
              <a:cxn ang="0">
                <a:pos x="connsiteX46474" y="connsiteY46474"/>
              </a:cxn>
              <a:cxn ang="0">
                <a:pos x="connsiteX46475" y="connsiteY46475"/>
              </a:cxn>
              <a:cxn ang="0">
                <a:pos x="connsiteX46476" y="connsiteY46476"/>
              </a:cxn>
              <a:cxn ang="0">
                <a:pos x="connsiteX46477" y="connsiteY46477"/>
              </a:cxn>
              <a:cxn ang="0">
                <a:pos x="connsiteX46478" y="connsiteY46478"/>
              </a:cxn>
              <a:cxn ang="0">
                <a:pos x="connsiteX46479" y="connsiteY46479"/>
              </a:cxn>
              <a:cxn ang="0">
                <a:pos x="connsiteX46480" y="connsiteY46480"/>
              </a:cxn>
              <a:cxn ang="0">
                <a:pos x="connsiteX46481" y="connsiteY46481"/>
              </a:cxn>
              <a:cxn ang="0">
                <a:pos x="connsiteX46482" y="connsiteY46482"/>
              </a:cxn>
              <a:cxn ang="0">
                <a:pos x="connsiteX46483" y="connsiteY46483"/>
              </a:cxn>
              <a:cxn ang="0">
                <a:pos x="connsiteX46484" y="connsiteY46484"/>
              </a:cxn>
              <a:cxn ang="0">
                <a:pos x="connsiteX46485" y="connsiteY46485"/>
              </a:cxn>
              <a:cxn ang="0">
                <a:pos x="connsiteX46486" y="connsiteY46486"/>
              </a:cxn>
              <a:cxn ang="0">
                <a:pos x="connsiteX46487" y="connsiteY46487"/>
              </a:cxn>
              <a:cxn ang="0">
                <a:pos x="connsiteX46488" y="connsiteY46488"/>
              </a:cxn>
              <a:cxn ang="0">
                <a:pos x="connsiteX46489" y="connsiteY46489"/>
              </a:cxn>
              <a:cxn ang="0">
                <a:pos x="connsiteX46490" y="connsiteY46490"/>
              </a:cxn>
              <a:cxn ang="0">
                <a:pos x="connsiteX46491" y="connsiteY46491"/>
              </a:cxn>
              <a:cxn ang="0">
                <a:pos x="connsiteX46492" y="connsiteY46492"/>
              </a:cxn>
              <a:cxn ang="0">
                <a:pos x="connsiteX46493" y="connsiteY46493"/>
              </a:cxn>
              <a:cxn ang="0">
                <a:pos x="connsiteX46494" y="connsiteY46494"/>
              </a:cxn>
              <a:cxn ang="0">
                <a:pos x="connsiteX46495" y="connsiteY46495"/>
              </a:cxn>
              <a:cxn ang="0">
                <a:pos x="connsiteX46496" y="connsiteY46496"/>
              </a:cxn>
              <a:cxn ang="0">
                <a:pos x="connsiteX46497" y="connsiteY46497"/>
              </a:cxn>
              <a:cxn ang="0">
                <a:pos x="connsiteX46498" y="connsiteY46498"/>
              </a:cxn>
              <a:cxn ang="0">
                <a:pos x="connsiteX46499" y="connsiteY46499"/>
              </a:cxn>
              <a:cxn ang="0">
                <a:pos x="connsiteX46500" y="connsiteY46500"/>
              </a:cxn>
              <a:cxn ang="0">
                <a:pos x="connsiteX46501" y="connsiteY46501"/>
              </a:cxn>
              <a:cxn ang="0">
                <a:pos x="connsiteX46502" y="connsiteY46502"/>
              </a:cxn>
              <a:cxn ang="0">
                <a:pos x="connsiteX46503" y="connsiteY46503"/>
              </a:cxn>
              <a:cxn ang="0">
                <a:pos x="connsiteX46504" y="connsiteY46504"/>
              </a:cxn>
              <a:cxn ang="0">
                <a:pos x="connsiteX46505" y="connsiteY46505"/>
              </a:cxn>
              <a:cxn ang="0">
                <a:pos x="connsiteX46506" y="connsiteY46506"/>
              </a:cxn>
              <a:cxn ang="0">
                <a:pos x="connsiteX46507" y="connsiteY46507"/>
              </a:cxn>
              <a:cxn ang="0">
                <a:pos x="connsiteX46508" y="connsiteY46508"/>
              </a:cxn>
              <a:cxn ang="0">
                <a:pos x="connsiteX46509" y="connsiteY46509"/>
              </a:cxn>
              <a:cxn ang="0">
                <a:pos x="connsiteX46510" y="connsiteY46510"/>
              </a:cxn>
              <a:cxn ang="0">
                <a:pos x="connsiteX46511" y="connsiteY46511"/>
              </a:cxn>
              <a:cxn ang="0">
                <a:pos x="connsiteX46512" y="connsiteY46512"/>
              </a:cxn>
              <a:cxn ang="0">
                <a:pos x="connsiteX46513" y="connsiteY46513"/>
              </a:cxn>
              <a:cxn ang="0">
                <a:pos x="connsiteX46514" y="connsiteY46514"/>
              </a:cxn>
              <a:cxn ang="0">
                <a:pos x="connsiteX46515" y="connsiteY46515"/>
              </a:cxn>
              <a:cxn ang="0">
                <a:pos x="connsiteX46516" y="connsiteY46516"/>
              </a:cxn>
              <a:cxn ang="0">
                <a:pos x="connsiteX46517" y="connsiteY46517"/>
              </a:cxn>
              <a:cxn ang="0">
                <a:pos x="connsiteX46518" y="connsiteY46518"/>
              </a:cxn>
              <a:cxn ang="0">
                <a:pos x="connsiteX46519" y="connsiteY46519"/>
              </a:cxn>
              <a:cxn ang="0">
                <a:pos x="connsiteX46520" y="connsiteY46520"/>
              </a:cxn>
              <a:cxn ang="0">
                <a:pos x="connsiteX46521" y="connsiteY46521"/>
              </a:cxn>
              <a:cxn ang="0">
                <a:pos x="connsiteX46522" y="connsiteY46522"/>
              </a:cxn>
              <a:cxn ang="0">
                <a:pos x="connsiteX46523" y="connsiteY46523"/>
              </a:cxn>
              <a:cxn ang="0">
                <a:pos x="connsiteX46524" y="connsiteY46524"/>
              </a:cxn>
              <a:cxn ang="0">
                <a:pos x="connsiteX46525" y="connsiteY46525"/>
              </a:cxn>
              <a:cxn ang="0">
                <a:pos x="connsiteX46526" y="connsiteY46526"/>
              </a:cxn>
              <a:cxn ang="0">
                <a:pos x="connsiteX46527" y="connsiteY46527"/>
              </a:cxn>
              <a:cxn ang="0">
                <a:pos x="connsiteX46528" y="connsiteY46528"/>
              </a:cxn>
              <a:cxn ang="0">
                <a:pos x="connsiteX46529" y="connsiteY46529"/>
              </a:cxn>
              <a:cxn ang="0">
                <a:pos x="connsiteX46530" y="connsiteY46530"/>
              </a:cxn>
              <a:cxn ang="0">
                <a:pos x="connsiteX46531" y="connsiteY46531"/>
              </a:cxn>
              <a:cxn ang="0">
                <a:pos x="connsiteX46532" y="connsiteY46532"/>
              </a:cxn>
              <a:cxn ang="0">
                <a:pos x="connsiteX46533" y="connsiteY46533"/>
              </a:cxn>
              <a:cxn ang="0">
                <a:pos x="connsiteX46534" y="connsiteY46534"/>
              </a:cxn>
              <a:cxn ang="0">
                <a:pos x="connsiteX46535" y="connsiteY46535"/>
              </a:cxn>
              <a:cxn ang="0">
                <a:pos x="connsiteX46536" y="connsiteY46536"/>
              </a:cxn>
              <a:cxn ang="0">
                <a:pos x="connsiteX46537" y="connsiteY46537"/>
              </a:cxn>
              <a:cxn ang="0">
                <a:pos x="connsiteX46538" y="connsiteY46538"/>
              </a:cxn>
              <a:cxn ang="0">
                <a:pos x="connsiteX46539" y="connsiteY46539"/>
              </a:cxn>
              <a:cxn ang="0">
                <a:pos x="connsiteX46540" y="connsiteY46540"/>
              </a:cxn>
              <a:cxn ang="0">
                <a:pos x="connsiteX46541" y="connsiteY46541"/>
              </a:cxn>
              <a:cxn ang="0">
                <a:pos x="connsiteX46542" y="connsiteY46542"/>
              </a:cxn>
              <a:cxn ang="0">
                <a:pos x="connsiteX46543" y="connsiteY46543"/>
              </a:cxn>
              <a:cxn ang="0">
                <a:pos x="connsiteX46544" y="connsiteY46544"/>
              </a:cxn>
              <a:cxn ang="0">
                <a:pos x="connsiteX46545" y="connsiteY46545"/>
              </a:cxn>
              <a:cxn ang="0">
                <a:pos x="connsiteX46546" y="connsiteY46546"/>
              </a:cxn>
              <a:cxn ang="0">
                <a:pos x="connsiteX46547" y="connsiteY46547"/>
              </a:cxn>
              <a:cxn ang="0">
                <a:pos x="connsiteX46548" y="connsiteY46548"/>
              </a:cxn>
              <a:cxn ang="0">
                <a:pos x="connsiteX46549" y="connsiteY46549"/>
              </a:cxn>
              <a:cxn ang="0">
                <a:pos x="connsiteX46550" y="connsiteY46550"/>
              </a:cxn>
              <a:cxn ang="0">
                <a:pos x="connsiteX46551" y="connsiteY46551"/>
              </a:cxn>
              <a:cxn ang="0">
                <a:pos x="connsiteX46552" y="connsiteY46552"/>
              </a:cxn>
              <a:cxn ang="0">
                <a:pos x="connsiteX46553" y="connsiteY46553"/>
              </a:cxn>
              <a:cxn ang="0">
                <a:pos x="connsiteX46554" y="connsiteY46554"/>
              </a:cxn>
              <a:cxn ang="0">
                <a:pos x="connsiteX46555" y="connsiteY46555"/>
              </a:cxn>
              <a:cxn ang="0">
                <a:pos x="connsiteX46556" y="connsiteY46556"/>
              </a:cxn>
              <a:cxn ang="0">
                <a:pos x="connsiteX46557" y="connsiteY46557"/>
              </a:cxn>
              <a:cxn ang="0">
                <a:pos x="connsiteX46558" y="connsiteY46558"/>
              </a:cxn>
              <a:cxn ang="0">
                <a:pos x="connsiteX46559" y="connsiteY46559"/>
              </a:cxn>
              <a:cxn ang="0">
                <a:pos x="connsiteX46560" y="connsiteY46560"/>
              </a:cxn>
              <a:cxn ang="0">
                <a:pos x="connsiteX46561" y="connsiteY46561"/>
              </a:cxn>
              <a:cxn ang="0">
                <a:pos x="connsiteX46562" y="connsiteY46562"/>
              </a:cxn>
              <a:cxn ang="0">
                <a:pos x="connsiteX46563" y="connsiteY46563"/>
              </a:cxn>
              <a:cxn ang="0">
                <a:pos x="connsiteX46564" y="connsiteY46564"/>
              </a:cxn>
              <a:cxn ang="0">
                <a:pos x="connsiteX46565" y="connsiteY46565"/>
              </a:cxn>
              <a:cxn ang="0">
                <a:pos x="connsiteX46566" y="connsiteY46566"/>
              </a:cxn>
              <a:cxn ang="0">
                <a:pos x="connsiteX46567" y="connsiteY46567"/>
              </a:cxn>
              <a:cxn ang="0">
                <a:pos x="connsiteX46568" y="connsiteY46568"/>
              </a:cxn>
              <a:cxn ang="0">
                <a:pos x="connsiteX46569" y="connsiteY46569"/>
              </a:cxn>
              <a:cxn ang="0">
                <a:pos x="connsiteX46570" y="connsiteY46570"/>
              </a:cxn>
              <a:cxn ang="0">
                <a:pos x="connsiteX46571" y="connsiteY46571"/>
              </a:cxn>
              <a:cxn ang="0">
                <a:pos x="connsiteX46572" y="connsiteY46572"/>
              </a:cxn>
              <a:cxn ang="0">
                <a:pos x="connsiteX46573" y="connsiteY46573"/>
              </a:cxn>
              <a:cxn ang="0">
                <a:pos x="connsiteX46574" y="connsiteY46574"/>
              </a:cxn>
              <a:cxn ang="0">
                <a:pos x="connsiteX46575" y="connsiteY46575"/>
              </a:cxn>
              <a:cxn ang="0">
                <a:pos x="connsiteX46576" y="connsiteY46576"/>
              </a:cxn>
              <a:cxn ang="0">
                <a:pos x="connsiteX46577" y="connsiteY46577"/>
              </a:cxn>
              <a:cxn ang="0">
                <a:pos x="connsiteX46578" y="connsiteY46578"/>
              </a:cxn>
              <a:cxn ang="0">
                <a:pos x="connsiteX46579" y="connsiteY46579"/>
              </a:cxn>
              <a:cxn ang="0">
                <a:pos x="connsiteX46580" y="connsiteY46580"/>
              </a:cxn>
              <a:cxn ang="0">
                <a:pos x="connsiteX46581" y="connsiteY46581"/>
              </a:cxn>
              <a:cxn ang="0">
                <a:pos x="connsiteX46582" y="connsiteY46582"/>
              </a:cxn>
              <a:cxn ang="0">
                <a:pos x="connsiteX46583" y="connsiteY46583"/>
              </a:cxn>
              <a:cxn ang="0">
                <a:pos x="connsiteX46584" y="connsiteY46584"/>
              </a:cxn>
              <a:cxn ang="0">
                <a:pos x="connsiteX46585" y="connsiteY46585"/>
              </a:cxn>
              <a:cxn ang="0">
                <a:pos x="connsiteX46586" y="connsiteY46586"/>
              </a:cxn>
              <a:cxn ang="0">
                <a:pos x="connsiteX46587" y="connsiteY46587"/>
              </a:cxn>
              <a:cxn ang="0">
                <a:pos x="connsiteX46588" y="connsiteY46588"/>
              </a:cxn>
              <a:cxn ang="0">
                <a:pos x="connsiteX46589" y="connsiteY46589"/>
              </a:cxn>
              <a:cxn ang="0">
                <a:pos x="connsiteX46590" y="connsiteY46590"/>
              </a:cxn>
              <a:cxn ang="0">
                <a:pos x="connsiteX46591" y="connsiteY46591"/>
              </a:cxn>
              <a:cxn ang="0">
                <a:pos x="connsiteX46592" y="connsiteY46592"/>
              </a:cxn>
              <a:cxn ang="0">
                <a:pos x="connsiteX46593" y="connsiteY46593"/>
              </a:cxn>
              <a:cxn ang="0">
                <a:pos x="connsiteX46594" y="connsiteY46594"/>
              </a:cxn>
              <a:cxn ang="0">
                <a:pos x="connsiteX46595" y="connsiteY46595"/>
              </a:cxn>
              <a:cxn ang="0">
                <a:pos x="connsiteX46596" y="connsiteY46596"/>
              </a:cxn>
              <a:cxn ang="0">
                <a:pos x="connsiteX46597" y="connsiteY46597"/>
              </a:cxn>
              <a:cxn ang="0">
                <a:pos x="connsiteX46598" y="connsiteY46598"/>
              </a:cxn>
              <a:cxn ang="0">
                <a:pos x="connsiteX46599" y="connsiteY46599"/>
              </a:cxn>
              <a:cxn ang="0">
                <a:pos x="connsiteX46600" y="connsiteY46600"/>
              </a:cxn>
              <a:cxn ang="0">
                <a:pos x="connsiteX46601" y="connsiteY46601"/>
              </a:cxn>
              <a:cxn ang="0">
                <a:pos x="connsiteX46602" y="connsiteY46602"/>
              </a:cxn>
              <a:cxn ang="0">
                <a:pos x="connsiteX46603" y="connsiteY46603"/>
              </a:cxn>
              <a:cxn ang="0">
                <a:pos x="connsiteX46604" y="connsiteY46604"/>
              </a:cxn>
              <a:cxn ang="0">
                <a:pos x="connsiteX46605" y="connsiteY46605"/>
              </a:cxn>
              <a:cxn ang="0">
                <a:pos x="connsiteX46606" y="connsiteY46606"/>
              </a:cxn>
              <a:cxn ang="0">
                <a:pos x="connsiteX46607" y="connsiteY46607"/>
              </a:cxn>
              <a:cxn ang="0">
                <a:pos x="connsiteX46608" y="connsiteY46608"/>
              </a:cxn>
              <a:cxn ang="0">
                <a:pos x="connsiteX46609" y="connsiteY46609"/>
              </a:cxn>
              <a:cxn ang="0">
                <a:pos x="connsiteX46610" y="connsiteY46610"/>
              </a:cxn>
              <a:cxn ang="0">
                <a:pos x="connsiteX46611" y="connsiteY46611"/>
              </a:cxn>
              <a:cxn ang="0">
                <a:pos x="connsiteX46612" y="connsiteY46612"/>
              </a:cxn>
              <a:cxn ang="0">
                <a:pos x="connsiteX46613" y="connsiteY46613"/>
              </a:cxn>
              <a:cxn ang="0">
                <a:pos x="connsiteX46614" y="connsiteY46614"/>
              </a:cxn>
              <a:cxn ang="0">
                <a:pos x="connsiteX46615" y="connsiteY46615"/>
              </a:cxn>
              <a:cxn ang="0">
                <a:pos x="connsiteX46616" y="connsiteY46616"/>
              </a:cxn>
              <a:cxn ang="0">
                <a:pos x="connsiteX46617" y="connsiteY46617"/>
              </a:cxn>
              <a:cxn ang="0">
                <a:pos x="connsiteX46618" y="connsiteY46618"/>
              </a:cxn>
              <a:cxn ang="0">
                <a:pos x="connsiteX46619" y="connsiteY46619"/>
              </a:cxn>
              <a:cxn ang="0">
                <a:pos x="connsiteX46620" y="connsiteY46620"/>
              </a:cxn>
              <a:cxn ang="0">
                <a:pos x="connsiteX46621" y="connsiteY46621"/>
              </a:cxn>
              <a:cxn ang="0">
                <a:pos x="connsiteX46622" y="connsiteY46622"/>
              </a:cxn>
              <a:cxn ang="0">
                <a:pos x="connsiteX46623" y="connsiteY46623"/>
              </a:cxn>
              <a:cxn ang="0">
                <a:pos x="connsiteX46624" y="connsiteY46624"/>
              </a:cxn>
              <a:cxn ang="0">
                <a:pos x="connsiteX46625" y="connsiteY46625"/>
              </a:cxn>
              <a:cxn ang="0">
                <a:pos x="connsiteX46626" y="connsiteY46626"/>
              </a:cxn>
              <a:cxn ang="0">
                <a:pos x="connsiteX46627" y="connsiteY46627"/>
              </a:cxn>
              <a:cxn ang="0">
                <a:pos x="connsiteX46628" y="connsiteY46628"/>
              </a:cxn>
              <a:cxn ang="0">
                <a:pos x="connsiteX46629" y="connsiteY46629"/>
              </a:cxn>
              <a:cxn ang="0">
                <a:pos x="connsiteX46630" y="connsiteY46630"/>
              </a:cxn>
              <a:cxn ang="0">
                <a:pos x="connsiteX46631" y="connsiteY46631"/>
              </a:cxn>
              <a:cxn ang="0">
                <a:pos x="connsiteX46632" y="connsiteY46632"/>
              </a:cxn>
              <a:cxn ang="0">
                <a:pos x="connsiteX46633" y="connsiteY46633"/>
              </a:cxn>
              <a:cxn ang="0">
                <a:pos x="connsiteX46634" y="connsiteY46634"/>
              </a:cxn>
              <a:cxn ang="0">
                <a:pos x="connsiteX46635" y="connsiteY46635"/>
              </a:cxn>
              <a:cxn ang="0">
                <a:pos x="connsiteX46636" y="connsiteY46636"/>
              </a:cxn>
              <a:cxn ang="0">
                <a:pos x="connsiteX46637" y="connsiteY46637"/>
              </a:cxn>
              <a:cxn ang="0">
                <a:pos x="connsiteX46638" y="connsiteY46638"/>
              </a:cxn>
              <a:cxn ang="0">
                <a:pos x="connsiteX46639" y="connsiteY46639"/>
              </a:cxn>
              <a:cxn ang="0">
                <a:pos x="connsiteX46640" y="connsiteY46640"/>
              </a:cxn>
              <a:cxn ang="0">
                <a:pos x="connsiteX46641" y="connsiteY46641"/>
              </a:cxn>
              <a:cxn ang="0">
                <a:pos x="connsiteX46642" y="connsiteY46642"/>
              </a:cxn>
              <a:cxn ang="0">
                <a:pos x="connsiteX46643" y="connsiteY46643"/>
              </a:cxn>
              <a:cxn ang="0">
                <a:pos x="connsiteX46644" y="connsiteY46644"/>
              </a:cxn>
              <a:cxn ang="0">
                <a:pos x="connsiteX46645" y="connsiteY46645"/>
              </a:cxn>
              <a:cxn ang="0">
                <a:pos x="connsiteX46646" y="connsiteY46646"/>
              </a:cxn>
              <a:cxn ang="0">
                <a:pos x="connsiteX46647" y="connsiteY46647"/>
              </a:cxn>
              <a:cxn ang="0">
                <a:pos x="connsiteX46648" y="connsiteY46648"/>
              </a:cxn>
              <a:cxn ang="0">
                <a:pos x="connsiteX46649" y="connsiteY46649"/>
              </a:cxn>
              <a:cxn ang="0">
                <a:pos x="connsiteX46650" y="connsiteY46650"/>
              </a:cxn>
              <a:cxn ang="0">
                <a:pos x="connsiteX46651" y="connsiteY46651"/>
              </a:cxn>
              <a:cxn ang="0">
                <a:pos x="connsiteX46652" y="connsiteY46652"/>
              </a:cxn>
              <a:cxn ang="0">
                <a:pos x="connsiteX46653" y="connsiteY46653"/>
              </a:cxn>
              <a:cxn ang="0">
                <a:pos x="connsiteX46654" y="connsiteY46654"/>
              </a:cxn>
              <a:cxn ang="0">
                <a:pos x="connsiteX46655" y="connsiteY46655"/>
              </a:cxn>
              <a:cxn ang="0">
                <a:pos x="connsiteX46656" y="connsiteY46656"/>
              </a:cxn>
              <a:cxn ang="0">
                <a:pos x="connsiteX46657" y="connsiteY46657"/>
              </a:cxn>
              <a:cxn ang="0">
                <a:pos x="connsiteX46658" y="connsiteY46658"/>
              </a:cxn>
              <a:cxn ang="0">
                <a:pos x="connsiteX46659" y="connsiteY46659"/>
              </a:cxn>
              <a:cxn ang="0">
                <a:pos x="connsiteX46660" y="connsiteY46660"/>
              </a:cxn>
              <a:cxn ang="0">
                <a:pos x="connsiteX46661" y="connsiteY46661"/>
              </a:cxn>
              <a:cxn ang="0">
                <a:pos x="connsiteX46662" y="connsiteY46662"/>
              </a:cxn>
              <a:cxn ang="0">
                <a:pos x="connsiteX46663" y="connsiteY46663"/>
              </a:cxn>
              <a:cxn ang="0">
                <a:pos x="connsiteX46664" y="connsiteY46664"/>
              </a:cxn>
              <a:cxn ang="0">
                <a:pos x="connsiteX46665" y="connsiteY46665"/>
              </a:cxn>
              <a:cxn ang="0">
                <a:pos x="connsiteX46666" y="connsiteY46666"/>
              </a:cxn>
              <a:cxn ang="0">
                <a:pos x="connsiteX46667" y="connsiteY46667"/>
              </a:cxn>
              <a:cxn ang="0">
                <a:pos x="connsiteX46668" y="connsiteY46668"/>
              </a:cxn>
              <a:cxn ang="0">
                <a:pos x="connsiteX46669" y="connsiteY46669"/>
              </a:cxn>
              <a:cxn ang="0">
                <a:pos x="connsiteX46670" y="connsiteY46670"/>
              </a:cxn>
              <a:cxn ang="0">
                <a:pos x="connsiteX46671" y="connsiteY46671"/>
              </a:cxn>
              <a:cxn ang="0">
                <a:pos x="connsiteX46672" y="connsiteY46672"/>
              </a:cxn>
              <a:cxn ang="0">
                <a:pos x="connsiteX46673" y="connsiteY46673"/>
              </a:cxn>
              <a:cxn ang="0">
                <a:pos x="connsiteX46674" y="connsiteY46674"/>
              </a:cxn>
              <a:cxn ang="0">
                <a:pos x="connsiteX46675" y="connsiteY46675"/>
              </a:cxn>
              <a:cxn ang="0">
                <a:pos x="connsiteX46676" y="connsiteY46676"/>
              </a:cxn>
              <a:cxn ang="0">
                <a:pos x="connsiteX46677" y="connsiteY46677"/>
              </a:cxn>
              <a:cxn ang="0">
                <a:pos x="connsiteX46678" y="connsiteY46678"/>
              </a:cxn>
              <a:cxn ang="0">
                <a:pos x="connsiteX46679" y="connsiteY46679"/>
              </a:cxn>
              <a:cxn ang="0">
                <a:pos x="connsiteX46680" y="connsiteY46680"/>
              </a:cxn>
              <a:cxn ang="0">
                <a:pos x="connsiteX46681" y="connsiteY46681"/>
              </a:cxn>
              <a:cxn ang="0">
                <a:pos x="connsiteX46682" y="connsiteY46682"/>
              </a:cxn>
              <a:cxn ang="0">
                <a:pos x="connsiteX46683" y="connsiteY46683"/>
              </a:cxn>
              <a:cxn ang="0">
                <a:pos x="connsiteX46684" y="connsiteY46684"/>
              </a:cxn>
              <a:cxn ang="0">
                <a:pos x="connsiteX46685" y="connsiteY46685"/>
              </a:cxn>
              <a:cxn ang="0">
                <a:pos x="connsiteX46686" y="connsiteY46686"/>
              </a:cxn>
              <a:cxn ang="0">
                <a:pos x="connsiteX46687" y="connsiteY46687"/>
              </a:cxn>
              <a:cxn ang="0">
                <a:pos x="connsiteX46688" y="connsiteY46688"/>
              </a:cxn>
              <a:cxn ang="0">
                <a:pos x="connsiteX46689" y="connsiteY46689"/>
              </a:cxn>
              <a:cxn ang="0">
                <a:pos x="connsiteX46690" y="connsiteY46690"/>
              </a:cxn>
              <a:cxn ang="0">
                <a:pos x="connsiteX46691" y="connsiteY46691"/>
              </a:cxn>
              <a:cxn ang="0">
                <a:pos x="connsiteX46692" y="connsiteY46692"/>
              </a:cxn>
              <a:cxn ang="0">
                <a:pos x="connsiteX46693" y="connsiteY46693"/>
              </a:cxn>
              <a:cxn ang="0">
                <a:pos x="connsiteX46694" y="connsiteY46694"/>
              </a:cxn>
              <a:cxn ang="0">
                <a:pos x="connsiteX46695" y="connsiteY46695"/>
              </a:cxn>
              <a:cxn ang="0">
                <a:pos x="connsiteX46696" y="connsiteY46696"/>
              </a:cxn>
              <a:cxn ang="0">
                <a:pos x="connsiteX46697" y="connsiteY46697"/>
              </a:cxn>
              <a:cxn ang="0">
                <a:pos x="connsiteX46698" y="connsiteY46698"/>
              </a:cxn>
              <a:cxn ang="0">
                <a:pos x="connsiteX46699" y="connsiteY46699"/>
              </a:cxn>
              <a:cxn ang="0">
                <a:pos x="connsiteX46700" y="connsiteY46700"/>
              </a:cxn>
              <a:cxn ang="0">
                <a:pos x="connsiteX46701" y="connsiteY46701"/>
              </a:cxn>
              <a:cxn ang="0">
                <a:pos x="connsiteX46702" y="connsiteY46702"/>
              </a:cxn>
              <a:cxn ang="0">
                <a:pos x="connsiteX46703" y="connsiteY46703"/>
              </a:cxn>
              <a:cxn ang="0">
                <a:pos x="connsiteX46704" y="connsiteY46704"/>
              </a:cxn>
              <a:cxn ang="0">
                <a:pos x="connsiteX46705" y="connsiteY46705"/>
              </a:cxn>
              <a:cxn ang="0">
                <a:pos x="connsiteX46706" y="connsiteY46706"/>
              </a:cxn>
              <a:cxn ang="0">
                <a:pos x="connsiteX46707" y="connsiteY46707"/>
              </a:cxn>
              <a:cxn ang="0">
                <a:pos x="connsiteX46708" y="connsiteY46708"/>
              </a:cxn>
              <a:cxn ang="0">
                <a:pos x="connsiteX46709" y="connsiteY46709"/>
              </a:cxn>
              <a:cxn ang="0">
                <a:pos x="connsiteX46710" y="connsiteY46710"/>
              </a:cxn>
              <a:cxn ang="0">
                <a:pos x="connsiteX46711" y="connsiteY46711"/>
              </a:cxn>
              <a:cxn ang="0">
                <a:pos x="connsiteX46712" y="connsiteY46712"/>
              </a:cxn>
              <a:cxn ang="0">
                <a:pos x="connsiteX46713" y="connsiteY46713"/>
              </a:cxn>
              <a:cxn ang="0">
                <a:pos x="connsiteX46714" y="connsiteY46714"/>
              </a:cxn>
              <a:cxn ang="0">
                <a:pos x="connsiteX46715" y="connsiteY46715"/>
              </a:cxn>
              <a:cxn ang="0">
                <a:pos x="connsiteX46716" y="connsiteY46716"/>
              </a:cxn>
              <a:cxn ang="0">
                <a:pos x="connsiteX46717" y="connsiteY46717"/>
              </a:cxn>
              <a:cxn ang="0">
                <a:pos x="connsiteX46718" y="connsiteY46718"/>
              </a:cxn>
              <a:cxn ang="0">
                <a:pos x="connsiteX46719" y="connsiteY46719"/>
              </a:cxn>
              <a:cxn ang="0">
                <a:pos x="connsiteX46720" y="connsiteY46720"/>
              </a:cxn>
              <a:cxn ang="0">
                <a:pos x="connsiteX46721" y="connsiteY46721"/>
              </a:cxn>
              <a:cxn ang="0">
                <a:pos x="connsiteX46722" y="connsiteY46722"/>
              </a:cxn>
              <a:cxn ang="0">
                <a:pos x="connsiteX46723" y="connsiteY46723"/>
              </a:cxn>
              <a:cxn ang="0">
                <a:pos x="connsiteX46724" y="connsiteY46724"/>
              </a:cxn>
              <a:cxn ang="0">
                <a:pos x="connsiteX46725" y="connsiteY46725"/>
              </a:cxn>
              <a:cxn ang="0">
                <a:pos x="connsiteX46726" y="connsiteY46726"/>
              </a:cxn>
              <a:cxn ang="0">
                <a:pos x="connsiteX46727" y="connsiteY46727"/>
              </a:cxn>
              <a:cxn ang="0">
                <a:pos x="connsiteX46728" y="connsiteY46728"/>
              </a:cxn>
              <a:cxn ang="0">
                <a:pos x="connsiteX46729" y="connsiteY46729"/>
              </a:cxn>
              <a:cxn ang="0">
                <a:pos x="connsiteX46730" y="connsiteY46730"/>
              </a:cxn>
              <a:cxn ang="0">
                <a:pos x="connsiteX46731" y="connsiteY46731"/>
              </a:cxn>
              <a:cxn ang="0">
                <a:pos x="connsiteX46732" y="connsiteY46732"/>
              </a:cxn>
              <a:cxn ang="0">
                <a:pos x="connsiteX46733" y="connsiteY46733"/>
              </a:cxn>
              <a:cxn ang="0">
                <a:pos x="connsiteX46734" y="connsiteY46734"/>
              </a:cxn>
              <a:cxn ang="0">
                <a:pos x="connsiteX46735" y="connsiteY46735"/>
              </a:cxn>
              <a:cxn ang="0">
                <a:pos x="connsiteX46736" y="connsiteY46736"/>
              </a:cxn>
              <a:cxn ang="0">
                <a:pos x="connsiteX46737" y="connsiteY46737"/>
              </a:cxn>
              <a:cxn ang="0">
                <a:pos x="connsiteX46738" y="connsiteY46738"/>
              </a:cxn>
              <a:cxn ang="0">
                <a:pos x="connsiteX46739" y="connsiteY46739"/>
              </a:cxn>
              <a:cxn ang="0">
                <a:pos x="connsiteX46740" y="connsiteY46740"/>
              </a:cxn>
              <a:cxn ang="0">
                <a:pos x="connsiteX46741" y="connsiteY46741"/>
              </a:cxn>
              <a:cxn ang="0">
                <a:pos x="connsiteX46742" y="connsiteY46742"/>
              </a:cxn>
              <a:cxn ang="0">
                <a:pos x="connsiteX46743" y="connsiteY46743"/>
              </a:cxn>
              <a:cxn ang="0">
                <a:pos x="connsiteX46744" y="connsiteY46744"/>
              </a:cxn>
              <a:cxn ang="0">
                <a:pos x="connsiteX46745" y="connsiteY46745"/>
              </a:cxn>
              <a:cxn ang="0">
                <a:pos x="connsiteX46746" y="connsiteY46746"/>
              </a:cxn>
              <a:cxn ang="0">
                <a:pos x="connsiteX46747" y="connsiteY46747"/>
              </a:cxn>
              <a:cxn ang="0">
                <a:pos x="connsiteX46748" y="connsiteY46748"/>
              </a:cxn>
              <a:cxn ang="0">
                <a:pos x="connsiteX46749" y="connsiteY46749"/>
              </a:cxn>
              <a:cxn ang="0">
                <a:pos x="connsiteX46750" y="connsiteY46750"/>
              </a:cxn>
              <a:cxn ang="0">
                <a:pos x="connsiteX46751" y="connsiteY46751"/>
              </a:cxn>
              <a:cxn ang="0">
                <a:pos x="connsiteX46752" y="connsiteY46752"/>
              </a:cxn>
              <a:cxn ang="0">
                <a:pos x="connsiteX46753" y="connsiteY46753"/>
              </a:cxn>
              <a:cxn ang="0">
                <a:pos x="connsiteX46754" y="connsiteY46754"/>
              </a:cxn>
              <a:cxn ang="0">
                <a:pos x="connsiteX46755" y="connsiteY46755"/>
              </a:cxn>
              <a:cxn ang="0">
                <a:pos x="connsiteX46756" y="connsiteY46756"/>
              </a:cxn>
              <a:cxn ang="0">
                <a:pos x="connsiteX46757" y="connsiteY46757"/>
              </a:cxn>
              <a:cxn ang="0">
                <a:pos x="connsiteX46758" y="connsiteY46758"/>
              </a:cxn>
              <a:cxn ang="0">
                <a:pos x="connsiteX46759" y="connsiteY46759"/>
              </a:cxn>
              <a:cxn ang="0">
                <a:pos x="connsiteX46760" y="connsiteY46760"/>
              </a:cxn>
              <a:cxn ang="0">
                <a:pos x="connsiteX46761" y="connsiteY46761"/>
              </a:cxn>
              <a:cxn ang="0">
                <a:pos x="connsiteX46762" y="connsiteY46762"/>
              </a:cxn>
              <a:cxn ang="0">
                <a:pos x="connsiteX46763" y="connsiteY46763"/>
              </a:cxn>
              <a:cxn ang="0">
                <a:pos x="connsiteX46764" y="connsiteY46764"/>
              </a:cxn>
              <a:cxn ang="0">
                <a:pos x="connsiteX46765" y="connsiteY46765"/>
              </a:cxn>
              <a:cxn ang="0">
                <a:pos x="connsiteX46766" y="connsiteY46766"/>
              </a:cxn>
              <a:cxn ang="0">
                <a:pos x="connsiteX46767" y="connsiteY46767"/>
              </a:cxn>
              <a:cxn ang="0">
                <a:pos x="connsiteX46768" y="connsiteY46768"/>
              </a:cxn>
              <a:cxn ang="0">
                <a:pos x="connsiteX46769" y="connsiteY46769"/>
              </a:cxn>
              <a:cxn ang="0">
                <a:pos x="connsiteX46770" y="connsiteY46770"/>
              </a:cxn>
              <a:cxn ang="0">
                <a:pos x="connsiteX46771" y="connsiteY46771"/>
              </a:cxn>
              <a:cxn ang="0">
                <a:pos x="connsiteX46772" y="connsiteY46772"/>
              </a:cxn>
              <a:cxn ang="0">
                <a:pos x="connsiteX46773" y="connsiteY46773"/>
              </a:cxn>
              <a:cxn ang="0">
                <a:pos x="connsiteX46774" y="connsiteY46774"/>
              </a:cxn>
              <a:cxn ang="0">
                <a:pos x="connsiteX46775" y="connsiteY46775"/>
              </a:cxn>
              <a:cxn ang="0">
                <a:pos x="connsiteX46776" y="connsiteY46776"/>
              </a:cxn>
              <a:cxn ang="0">
                <a:pos x="connsiteX46777" y="connsiteY46777"/>
              </a:cxn>
              <a:cxn ang="0">
                <a:pos x="connsiteX46778" y="connsiteY46778"/>
              </a:cxn>
              <a:cxn ang="0">
                <a:pos x="connsiteX46779" y="connsiteY46779"/>
              </a:cxn>
              <a:cxn ang="0">
                <a:pos x="connsiteX46780" y="connsiteY46780"/>
              </a:cxn>
              <a:cxn ang="0">
                <a:pos x="connsiteX46781" y="connsiteY46781"/>
              </a:cxn>
              <a:cxn ang="0">
                <a:pos x="connsiteX46782" y="connsiteY46782"/>
              </a:cxn>
              <a:cxn ang="0">
                <a:pos x="connsiteX46783" y="connsiteY46783"/>
              </a:cxn>
              <a:cxn ang="0">
                <a:pos x="connsiteX46784" y="connsiteY46784"/>
              </a:cxn>
              <a:cxn ang="0">
                <a:pos x="connsiteX46785" y="connsiteY46785"/>
              </a:cxn>
              <a:cxn ang="0">
                <a:pos x="connsiteX46786" y="connsiteY46786"/>
              </a:cxn>
              <a:cxn ang="0">
                <a:pos x="connsiteX46787" y="connsiteY46787"/>
              </a:cxn>
              <a:cxn ang="0">
                <a:pos x="connsiteX46788" y="connsiteY46788"/>
              </a:cxn>
              <a:cxn ang="0">
                <a:pos x="connsiteX46789" y="connsiteY46789"/>
              </a:cxn>
              <a:cxn ang="0">
                <a:pos x="connsiteX46790" y="connsiteY46790"/>
              </a:cxn>
              <a:cxn ang="0">
                <a:pos x="connsiteX46791" y="connsiteY46791"/>
              </a:cxn>
              <a:cxn ang="0">
                <a:pos x="connsiteX46792" y="connsiteY46792"/>
              </a:cxn>
              <a:cxn ang="0">
                <a:pos x="connsiteX46793" y="connsiteY46793"/>
              </a:cxn>
              <a:cxn ang="0">
                <a:pos x="connsiteX46794" y="connsiteY46794"/>
              </a:cxn>
              <a:cxn ang="0">
                <a:pos x="connsiteX46795" y="connsiteY46795"/>
              </a:cxn>
              <a:cxn ang="0">
                <a:pos x="connsiteX46796" y="connsiteY46796"/>
              </a:cxn>
              <a:cxn ang="0">
                <a:pos x="connsiteX46797" y="connsiteY46797"/>
              </a:cxn>
              <a:cxn ang="0">
                <a:pos x="connsiteX46798" y="connsiteY46798"/>
              </a:cxn>
              <a:cxn ang="0">
                <a:pos x="connsiteX46799" y="connsiteY46799"/>
              </a:cxn>
              <a:cxn ang="0">
                <a:pos x="connsiteX46800" y="connsiteY46800"/>
              </a:cxn>
              <a:cxn ang="0">
                <a:pos x="connsiteX46801" y="connsiteY46801"/>
              </a:cxn>
              <a:cxn ang="0">
                <a:pos x="connsiteX46802" y="connsiteY46802"/>
              </a:cxn>
              <a:cxn ang="0">
                <a:pos x="connsiteX46803" y="connsiteY46803"/>
              </a:cxn>
              <a:cxn ang="0">
                <a:pos x="connsiteX46804" y="connsiteY46804"/>
              </a:cxn>
              <a:cxn ang="0">
                <a:pos x="connsiteX46805" y="connsiteY46805"/>
              </a:cxn>
              <a:cxn ang="0">
                <a:pos x="connsiteX46806" y="connsiteY46806"/>
              </a:cxn>
              <a:cxn ang="0">
                <a:pos x="connsiteX46807" y="connsiteY46807"/>
              </a:cxn>
              <a:cxn ang="0">
                <a:pos x="connsiteX46808" y="connsiteY46808"/>
              </a:cxn>
              <a:cxn ang="0">
                <a:pos x="connsiteX46809" y="connsiteY46809"/>
              </a:cxn>
              <a:cxn ang="0">
                <a:pos x="connsiteX46810" y="connsiteY46810"/>
              </a:cxn>
              <a:cxn ang="0">
                <a:pos x="connsiteX46811" y="connsiteY46811"/>
              </a:cxn>
              <a:cxn ang="0">
                <a:pos x="connsiteX46812" y="connsiteY46812"/>
              </a:cxn>
              <a:cxn ang="0">
                <a:pos x="connsiteX46813" y="connsiteY46813"/>
              </a:cxn>
              <a:cxn ang="0">
                <a:pos x="connsiteX46814" y="connsiteY46814"/>
              </a:cxn>
              <a:cxn ang="0">
                <a:pos x="connsiteX46815" y="connsiteY46815"/>
              </a:cxn>
              <a:cxn ang="0">
                <a:pos x="connsiteX46816" y="connsiteY46816"/>
              </a:cxn>
              <a:cxn ang="0">
                <a:pos x="connsiteX46817" y="connsiteY46817"/>
              </a:cxn>
              <a:cxn ang="0">
                <a:pos x="connsiteX46818" y="connsiteY46818"/>
              </a:cxn>
              <a:cxn ang="0">
                <a:pos x="connsiteX46819" y="connsiteY46819"/>
              </a:cxn>
              <a:cxn ang="0">
                <a:pos x="connsiteX46820" y="connsiteY46820"/>
              </a:cxn>
              <a:cxn ang="0">
                <a:pos x="connsiteX46821" y="connsiteY46821"/>
              </a:cxn>
              <a:cxn ang="0">
                <a:pos x="connsiteX46822" y="connsiteY46822"/>
              </a:cxn>
              <a:cxn ang="0">
                <a:pos x="connsiteX46823" y="connsiteY46823"/>
              </a:cxn>
              <a:cxn ang="0">
                <a:pos x="connsiteX46824" y="connsiteY46824"/>
              </a:cxn>
              <a:cxn ang="0">
                <a:pos x="connsiteX46825" y="connsiteY46825"/>
              </a:cxn>
              <a:cxn ang="0">
                <a:pos x="connsiteX46826" y="connsiteY46826"/>
              </a:cxn>
              <a:cxn ang="0">
                <a:pos x="connsiteX46827" y="connsiteY46827"/>
              </a:cxn>
              <a:cxn ang="0">
                <a:pos x="connsiteX46828" y="connsiteY46828"/>
              </a:cxn>
              <a:cxn ang="0">
                <a:pos x="connsiteX46829" y="connsiteY46829"/>
              </a:cxn>
              <a:cxn ang="0">
                <a:pos x="connsiteX46830" y="connsiteY46830"/>
              </a:cxn>
              <a:cxn ang="0">
                <a:pos x="connsiteX46831" y="connsiteY46831"/>
              </a:cxn>
              <a:cxn ang="0">
                <a:pos x="connsiteX46832" y="connsiteY46832"/>
              </a:cxn>
              <a:cxn ang="0">
                <a:pos x="connsiteX46833" y="connsiteY46833"/>
              </a:cxn>
              <a:cxn ang="0">
                <a:pos x="connsiteX46834" y="connsiteY46834"/>
              </a:cxn>
              <a:cxn ang="0">
                <a:pos x="connsiteX46835" y="connsiteY46835"/>
              </a:cxn>
              <a:cxn ang="0">
                <a:pos x="connsiteX46836" y="connsiteY46836"/>
              </a:cxn>
              <a:cxn ang="0">
                <a:pos x="connsiteX46837" y="connsiteY46837"/>
              </a:cxn>
              <a:cxn ang="0">
                <a:pos x="connsiteX46838" y="connsiteY46838"/>
              </a:cxn>
              <a:cxn ang="0">
                <a:pos x="connsiteX46839" y="connsiteY46839"/>
              </a:cxn>
              <a:cxn ang="0">
                <a:pos x="connsiteX46840" y="connsiteY46840"/>
              </a:cxn>
              <a:cxn ang="0">
                <a:pos x="connsiteX46841" y="connsiteY46841"/>
              </a:cxn>
              <a:cxn ang="0">
                <a:pos x="connsiteX46842" y="connsiteY46842"/>
              </a:cxn>
              <a:cxn ang="0">
                <a:pos x="connsiteX46843" y="connsiteY46843"/>
              </a:cxn>
              <a:cxn ang="0">
                <a:pos x="connsiteX46844" y="connsiteY46844"/>
              </a:cxn>
              <a:cxn ang="0">
                <a:pos x="connsiteX46845" y="connsiteY46845"/>
              </a:cxn>
              <a:cxn ang="0">
                <a:pos x="connsiteX46846" y="connsiteY46846"/>
              </a:cxn>
              <a:cxn ang="0">
                <a:pos x="connsiteX46847" y="connsiteY46847"/>
              </a:cxn>
              <a:cxn ang="0">
                <a:pos x="connsiteX46848" y="connsiteY46848"/>
              </a:cxn>
              <a:cxn ang="0">
                <a:pos x="connsiteX46849" y="connsiteY46849"/>
              </a:cxn>
              <a:cxn ang="0">
                <a:pos x="connsiteX46850" y="connsiteY46850"/>
              </a:cxn>
              <a:cxn ang="0">
                <a:pos x="connsiteX46851" y="connsiteY46851"/>
              </a:cxn>
              <a:cxn ang="0">
                <a:pos x="connsiteX46852" y="connsiteY46852"/>
              </a:cxn>
              <a:cxn ang="0">
                <a:pos x="connsiteX46853" y="connsiteY46853"/>
              </a:cxn>
              <a:cxn ang="0">
                <a:pos x="connsiteX46854" y="connsiteY46854"/>
              </a:cxn>
              <a:cxn ang="0">
                <a:pos x="connsiteX46855" y="connsiteY46855"/>
              </a:cxn>
              <a:cxn ang="0">
                <a:pos x="connsiteX46856" y="connsiteY46856"/>
              </a:cxn>
              <a:cxn ang="0">
                <a:pos x="connsiteX46857" y="connsiteY46857"/>
              </a:cxn>
              <a:cxn ang="0">
                <a:pos x="connsiteX46858" y="connsiteY46858"/>
              </a:cxn>
              <a:cxn ang="0">
                <a:pos x="connsiteX46859" y="connsiteY46859"/>
              </a:cxn>
              <a:cxn ang="0">
                <a:pos x="connsiteX46860" y="connsiteY46860"/>
              </a:cxn>
              <a:cxn ang="0">
                <a:pos x="connsiteX46861" y="connsiteY46861"/>
              </a:cxn>
              <a:cxn ang="0">
                <a:pos x="connsiteX46862" y="connsiteY46862"/>
              </a:cxn>
              <a:cxn ang="0">
                <a:pos x="connsiteX46863" y="connsiteY46863"/>
              </a:cxn>
              <a:cxn ang="0">
                <a:pos x="connsiteX46864" y="connsiteY46864"/>
              </a:cxn>
              <a:cxn ang="0">
                <a:pos x="connsiteX46865" y="connsiteY46865"/>
              </a:cxn>
              <a:cxn ang="0">
                <a:pos x="connsiteX46866" y="connsiteY46866"/>
              </a:cxn>
              <a:cxn ang="0">
                <a:pos x="connsiteX46867" y="connsiteY46867"/>
              </a:cxn>
              <a:cxn ang="0">
                <a:pos x="connsiteX46868" y="connsiteY46868"/>
              </a:cxn>
              <a:cxn ang="0">
                <a:pos x="connsiteX46869" y="connsiteY46869"/>
              </a:cxn>
              <a:cxn ang="0">
                <a:pos x="connsiteX46870" y="connsiteY46870"/>
              </a:cxn>
              <a:cxn ang="0">
                <a:pos x="connsiteX46871" y="connsiteY46871"/>
              </a:cxn>
              <a:cxn ang="0">
                <a:pos x="connsiteX46872" y="connsiteY46872"/>
              </a:cxn>
              <a:cxn ang="0">
                <a:pos x="connsiteX46873" y="connsiteY46873"/>
              </a:cxn>
              <a:cxn ang="0">
                <a:pos x="connsiteX46874" y="connsiteY46874"/>
              </a:cxn>
              <a:cxn ang="0">
                <a:pos x="connsiteX46875" y="connsiteY46875"/>
              </a:cxn>
              <a:cxn ang="0">
                <a:pos x="connsiteX46876" y="connsiteY46876"/>
              </a:cxn>
              <a:cxn ang="0">
                <a:pos x="connsiteX46877" y="connsiteY46877"/>
              </a:cxn>
              <a:cxn ang="0">
                <a:pos x="connsiteX46878" y="connsiteY46878"/>
              </a:cxn>
              <a:cxn ang="0">
                <a:pos x="connsiteX46879" y="connsiteY46879"/>
              </a:cxn>
              <a:cxn ang="0">
                <a:pos x="connsiteX46880" y="connsiteY46880"/>
              </a:cxn>
              <a:cxn ang="0">
                <a:pos x="connsiteX46881" y="connsiteY46881"/>
              </a:cxn>
              <a:cxn ang="0">
                <a:pos x="connsiteX46882" y="connsiteY46882"/>
              </a:cxn>
              <a:cxn ang="0">
                <a:pos x="connsiteX46883" y="connsiteY46883"/>
              </a:cxn>
              <a:cxn ang="0">
                <a:pos x="connsiteX46884" y="connsiteY46884"/>
              </a:cxn>
              <a:cxn ang="0">
                <a:pos x="connsiteX46885" y="connsiteY46885"/>
              </a:cxn>
              <a:cxn ang="0">
                <a:pos x="connsiteX46886" y="connsiteY46886"/>
              </a:cxn>
              <a:cxn ang="0">
                <a:pos x="connsiteX46887" y="connsiteY46887"/>
              </a:cxn>
              <a:cxn ang="0">
                <a:pos x="connsiteX46888" y="connsiteY46888"/>
              </a:cxn>
              <a:cxn ang="0">
                <a:pos x="connsiteX46889" y="connsiteY46889"/>
              </a:cxn>
              <a:cxn ang="0">
                <a:pos x="connsiteX46890" y="connsiteY46890"/>
              </a:cxn>
              <a:cxn ang="0">
                <a:pos x="connsiteX46891" y="connsiteY46891"/>
              </a:cxn>
              <a:cxn ang="0">
                <a:pos x="connsiteX46892" y="connsiteY46892"/>
              </a:cxn>
              <a:cxn ang="0">
                <a:pos x="connsiteX46893" y="connsiteY46893"/>
              </a:cxn>
              <a:cxn ang="0">
                <a:pos x="connsiteX46894" y="connsiteY46894"/>
              </a:cxn>
              <a:cxn ang="0">
                <a:pos x="connsiteX46895" y="connsiteY46895"/>
              </a:cxn>
              <a:cxn ang="0">
                <a:pos x="connsiteX46896" y="connsiteY46896"/>
              </a:cxn>
              <a:cxn ang="0">
                <a:pos x="connsiteX46897" y="connsiteY46897"/>
              </a:cxn>
              <a:cxn ang="0">
                <a:pos x="connsiteX46898" y="connsiteY46898"/>
              </a:cxn>
              <a:cxn ang="0">
                <a:pos x="connsiteX46899" y="connsiteY46899"/>
              </a:cxn>
              <a:cxn ang="0">
                <a:pos x="connsiteX46900" y="connsiteY46900"/>
              </a:cxn>
              <a:cxn ang="0">
                <a:pos x="connsiteX46901" y="connsiteY46901"/>
              </a:cxn>
              <a:cxn ang="0">
                <a:pos x="connsiteX46902" y="connsiteY46902"/>
              </a:cxn>
              <a:cxn ang="0">
                <a:pos x="connsiteX46903" y="connsiteY46903"/>
              </a:cxn>
              <a:cxn ang="0">
                <a:pos x="connsiteX46904" y="connsiteY46904"/>
              </a:cxn>
              <a:cxn ang="0">
                <a:pos x="connsiteX46905" y="connsiteY46905"/>
              </a:cxn>
              <a:cxn ang="0">
                <a:pos x="connsiteX46906" y="connsiteY46906"/>
              </a:cxn>
              <a:cxn ang="0">
                <a:pos x="connsiteX46907" y="connsiteY46907"/>
              </a:cxn>
              <a:cxn ang="0">
                <a:pos x="connsiteX46908" y="connsiteY46908"/>
              </a:cxn>
              <a:cxn ang="0">
                <a:pos x="connsiteX46909" y="connsiteY46909"/>
              </a:cxn>
              <a:cxn ang="0">
                <a:pos x="connsiteX46910" y="connsiteY46910"/>
              </a:cxn>
              <a:cxn ang="0">
                <a:pos x="connsiteX46911" y="connsiteY46911"/>
              </a:cxn>
              <a:cxn ang="0">
                <a:pos x="connsiteX46912" y="connsiteY46912"/>
              </a:cxn>
              <a:cxn ang="0">
                <a:pos x="connsiteX46913" y="connsiteY46913"/>
              </a:cxn>
              <a:cxn ang="0">
                <a:pos x="connsiteX46914" y="connsiteY46914"/>
              </a:cxn>
              <a:cxn ang="0">
                <a:pos x="connsiteX46915" y="connsiteY46915"/>
              </a:cxn>
              <a:cxn ang="0">
                <a:pos x="connsiteX46916" y="connsiteY46916"/>
              </a:cxn>
              <a:cxn ang="0">
                <a:pos x="connsiteX46917" y="connsiteY46917"/>
              </a:cxn>
              <a:cxn ang="0">
                <a:pos x="connsiteX46918" y="connsiteY46918"/>
              </a:cxn>
              <a:cxn ang="0">
                <a:pos x="connsiteX46919" y="connsiteY46919"/>
              </a:cxn>
              <a:cxn ang="0">
                <a:pos x="connsiteX46920" y="connsiteY46920"/>
              </a:cxn>
              <a:cxn ang="0">
                <a:pos x="connsiteX46921" y="connsiteY46921"/>
              </a:cxn>
              <a:cxn ang="0">
                <a:pos x="connsiteX46922" y="connsiteY46922"/>
              </a:cxn>
              <a:cxn ang="0">
                <a:pos x="connsiteX46923" y="connsiteY46923"/>
              </a:cxn>
              <a:cxn ang="0">
                <a:pos x="connsiteX46924" y="connsiteY46924"/>
              </a:cxn>
              <a:cxn ang="0">
                <a:pos x="connsiteX46925" y="connsiteY46925"/>
              </a:cxn>
              <a:cxn ang="0">
                <a:pos x="connsiteX46926" y="connsiteY46926"/>
              </a:cxn>
              <a:cxn ang="0">
                <a:pos x="connsiteX46927" y="connsiteY46927"/>
              </a:cxn>
              <a:cxn ang="0">
                <a:pos x="connsiteX46928" y="connsiteY46928"/>
              </a:cxn>
              <a:cxn ang="0">
                <a:pos x="connsiteX46929" y="connsiteY46929"/>
              </a:cxn>
              <a:cxn ang="0">
                <a:pos x="connsiteX46930" y="connsiteY46930"/>
              </a:cxn>
              <a:cxn ang="0">
                <a:pos x="connsiteX46931" y="connsiteY46931"/>
              </a:cxn>
              <a:cxn ang="0">
                <a:pos x="connsiteX46932" y="connsiteY46932"/>
              </a:cxn>
              <a:cxn ang="0">
                <a:pos x="connsiteX46933" y="connsiteY46933"/>
              </a:cxn>
              <a:cxn ang="0">
                <a:pos x="connsiteX46934" y="connsiteY46934"/>
              </a:cxn>
              <a:cxn ang="0">
                <a:pos x="connsiteX46935" y="connsiteY46935"/>
              </a:cxn>
              <a:cxn ang="0">
                <a:pos x="connsiteX46936" y="connsiteY46936"/>
              </a:cxn>
              <a:cxn ang="0">
                <a:pos x="connsiteX46937" y="connsiteY46937"/>
              </a:cxn>
              <a:cxn ang="0">
                <a:pos x="connsiteX46938" y="connsiteY46938"/>
              </a:cxn>
              <a:cxn ang="0">
                <a:pos x="connsiteX46939" y="connsiteY46939"/>
              </a:cxn>
              <a:cxn ang="0">
                <a:pos x="connsiteX46940" y="connsiteY46940"/>
              </a:cxn>
              <a:cxn ang="0">
                <a:pos x="connsiteX46941" y="connsiteY46941"/>
              </a:cxn>
              <a:cxn ang="0">
                <a:pos x="connsiteX46942" y="connsiteY46942"/>
              </a:cxn>
              <a:cxn ang="0">
                <a:pos x="connsiteX46943" y="connsiteY46943"/>
              </a:cxn>
              <a:cxn ang="0">
                <a:pos x="connsiteX46944" y="connsiteY46944"/>
              </a:cxn>
              <a:cxn ang="0">
                <a:pos x="connsiteX46945" y="connsiteY46945"/>
              </a:cxn>
              <a:cxn ang="0">
                <a:pos x="connsiteX46946" y="connsiteY46946"/>
              </a:cxn>
              <a:cxn ang="0">
                <a:pos x="connsiteX46947" y="connsiteY46947"/>
              </a:cxn>
              <a:cxn ang="0">
                <a:pos x="connsiteX46948" y="connsiteY46948"/>
              </a:cxn>
              <a:cxn ang="0">
                <a:pos x="connsiteX46949" y="connsiteY46949"/>
              </a:cxn>
              <a:cxn ang="0">
                <a:pos x="connsiteX46950" y="connsiteY46950"/>
              </a:cxn>
              <a:cxn ang="0">
                <a:pos x="connsiteX46951" y="connsiteY46951"/>
              </a:cxn>
              <a:cxn ang="0">
                <a:pos x="connsiteX46952" y="connsiteY46952"/>
              </a:cxn>
              <a:cxn ang="0">
                <a:pos x="connsiteX46953" y="connsiteY46953"/>
              </a:cxn>
              <a:cxn ang="0">
                <a:pos x="connsiteX46954" y="connsiteY46954"/>
              </a:cxn>
              <a:cxn ang="0">
                <a:pos x="connsiteX46955" y="connsiteY46955"/>
              </a:cxn>
              <a:cxn ang="0">
                <a:pos x="connsiteX46956" y="connsiteY46956"/>
              </a:cxn>
              <a:cxn ang="0">
                <a:pos x="connsiteX46957" y="connsiteY46957"/>
              </a:cxn>
              <a:cxn ang="0">
                <a:pos x="connsiteX46958" y="connsiteY46958"/>
              </a:cxn>
              <a:cxn ang="0">
                <a:pos x="connsiteX46959" y="connsiteY46959"/>
              </a:cxn>
              <a:cxn ang="0">
                <a:pos x="connsiteX46960" y="connsiteY46960"/>
              </a:cxn>
              <a:cxn ang="0">
                <a:pos x="connsiteX46961" y="connsiteY46961"/>
              </a:cxn>
              <a:cxn ang="0">
                <a:pos x="connsiteX46962" y="connsiteY46962"/>
              </a:cxn>
              <a:cxn ang="0">
                <a:pos x="connsiteX46963" y="connsiteY46963"/>
              </a:cxn>
              <a:cxn ang="0">
                <a:pos x="connsiteX46964" y="connsiteY46964"/>
              </a:cxn>
              <a:cxn ang="0">
                <a:pos x="connsiteX46965" y="connsiteY46965"/>
              </a:cxn>
              <a:cxn ang="0">
                <a:pos x="connsiteX46966" y="connsiteY46966"/>
              </a:cxn>
              <a:cxn ang="0">
                <a:pos x="connsiteX46967" y="connsiteY46967"/>
              </a:cxn>
              <a:cxn ang="0">
                <a:pos x="connsiteX46968" y="connsiteY46968"/>
              </a:cxn>
              <a:cxn ang="0">
                <a:pos x="connsiteX46969" y="connsiteY46969"/>
              </a:cxn>
              <a:cxn ang="0">
                <a:pos x="connsiteX46970" y="connsiteY46970"/>
              </a:cxn>
              <a:cxn ang="0">
                <a:pos x="connsiteX46971" y="connsiteY46971"/>
              </a:cxn>
              <a:cxn ang="0">
                <a:pos x="connsiteX46972" y="connsiteY46972"/>
              </a:cxn>
              <a:cxn ang="0">
                <a:pos x="connsiteX46973" y="connsiteY46973"/>
              </a:cxn>
              <a:cxn ang="0">
                <a:pos x="connsiteX46974" y="connsiteY46974"/>
              </a:cxn>
              <a:cxn ang="0">
                <a:pos x="connsiteX46975" y="connsiteY46975"/>
              </a:cxn>
              <a:cxn ang="0">
                <a:pos x="connsiteX46976" y="connsiteY46976"/>
              </a:cxn>
              <a:cxn ang="0">
                <a:pos x="connsiteX46977" y="connsiteY46977"/>
              </a:cxn>
              <a:cxn ang="0">
                <a:pos x="connsiteX46978" y="connsiteY46978"/>
              </a:cxn>
              <a:cxn ang="0">
                <a:pos x="connsiteX46979" y="connsiteY46979"/>
              </a:cxn>
              <a:cxn ang="0">
                <a:pos x="connsiteX46980" y="connsiteY46980"/>
              </a:cxn>
              <a:cxn ang="0">
                <a:pos x="connsiteX46981" y="connsiteY46981"/>
              </a:cxn>
              <a:cxn ang="0">
                <a:pos x="connsiteX46982" y="connsiteY46982"/>
              </a:cxn>
              <a:cxn ang="0">
                <a:pos x="connsiteX46983" y="connsiteY46983"/>
              </a:cxn>
              <a:cxn ang="0">
                <a:pos x="connsiteX46984" y="connsiteY46984"/>
              </a:cxn>
              <a:cxn ang="0">
                <a:pos x="connsiteX46985" y="connsiteY46985"/>
              </a:cxn>
              <a:cxn ang="0">
                <a:pos x="connsiteX46986" y="connsiteY46986"/>
              </a:cxn>
              <a:cxn ang="0">
                <a:pos x="connsiteX46987" y="connsiteY46987"/>
              </a:cxn>
              <a:cxn ang="0">
                <a:pos x="connsiteX46988" y="connsiteY46988"/>
              </a:cxn>
              <a:cxn ang="0">
                <a:pos x="connsiteX46989" y="connsiteY46989"/>
              </a:cxn>
              <a:cxn ang="0">
                <a:pos x="connsiteX46990" y="connsiteY46990"/>
              </a:cxn>
              <a:cxn ang="0">
                <a:pos x="connsiteX46991" y="connsiteY46991"/>
              </a:cxn>
              <a:cxn ang="0">
                <a:pos x="connsiteX46992" y="connsiteY46992"/>
              </a:cxn>
              <a:cxn ang="0">
                <a:pos x="connsiteX46993" y="connsiteY46993"/>
              </a:cxn>
              <a:cxn ang="0">
                <a:pos x="connsiteX46994" y="connsiteY46994"/>
              </a:cxn>
              <a:cxn ang="0">
                <a:pos x="connsiteX46995" y="connsiteY46995"/>
              </a:cxn>
              <a:cxn ang="0">
                <a:pos x="connsiteX46996" y="connsiteY46996"/>
              </a:cxn>
              <a:cxn ang="0">
                <a:pos x="connsiteX46997" y="connsiteY46997"/>
              </a:cxn>
              <a:cxn ang="0">
                <a:pos x="connsiteX46998" y="connsiteY46998"/>
              </a:cxn>
              <a:cxn ang="0">
                <a:pos x="connsiteX46999" y="connsiteY46999"/>
              </a:cxn>
              <a:cxn ang="0">
                <a:pos x="connsiteX47000" y="connsiteY47000"/>
              </a:cxn>
              <a:cxn ang="0">
                <a:pos x="connsiteX47001" y="connsiteY47001"/>
              </a:cxn>
              <a:cxn ang="0">
                <a:pos x="connsiteX47002" y="connsiteY47002"/>
              </a:cxn>
              <a:cxn ang="0">
                <a:pos x="connsiteX47003" y="connsiteY47003"/>
              </a:cxn>
              <a:cxn ang="0">
                <a:pos x="connsiteX47004" y="connsiteY47004"/>
              </a:cxn>
              <a:cxn ang="0">
                <a:pos x="connsiteX47005" y="connsiteY47005"/>
              </a:cxn>
              <a:cxn ang="0">
                <a:pos x="connsiteX47006" y="connsiteY47006"/>
              </a:cxn>
              <a:cxn ang="0">
                <a:pos x="connsiteX47007" y="connsiteY47007"/>
              </a:cxn>
              <a:cxn ang="0">
                <a:pos x="connsiteX47008" y="connsiteY47008"/>
              </a:cxn>
              <a:cxn ang="0">
                <a:pos x="connsiteX47009" y="connsiteY47009"/>
              </a:cxn>
              <a:cxn ang="0">
                <a:pos x="connsiteX47010" y="connsiteY47010"/>
              </a:cxn>
              <a:cxn ang="0">
                <a:pos x="connsiteX47011" y="connsiteY47011"/>
              </a:cxn>
              <a:cxn ang="0">
                <a:pos x="connsiteX47012" y="connsiteY47012"/>
              </a:cxn>
              <a:cxn ang="0">
                <a:pos x="connsiteX47013" y="connsiteY47013"/>
              </a:cxn>
              <a:cxn ang="0">
                <a:pos x="connsiteX47014" y="connsiteY47014"/>
              </a:cxn>
              <a:cxn ang="0">
                <a:pos x="connsiteX47015" y="connsiteY47015"/>
              </a:cxn>
              <a:cxn ang="0">
                <a:pos x="connsiteX47016" y="connsiteY47016"/>
              </a:cxn>
              <a:cxn ang="0">
                <a:pos x="connsiteX47017" y="connsiteY47017"/>
              </a:cxn>
              <a:cxn ang="0">
                <a:pos x="connsiteX47018" y="connsiteY47018"/>
              </a:cxn>
              <a:cxn ang="0">
                <a:pos x="connsiteX47019" y="connsiteY47019"/>
              </a:cxn>
              <a:cxn ang="0">
                <a:pos x="connsiteX47020" y="connsiteY47020"/>
              </a:cxn>
              <a:cxn ang="0">
                <a:pos x="connsiteX47021" y="connsiteY47021"/>
              </a:cxn>
              <a:cxn ang="0">
                <a:pos x="connsiteX47022" y="connsiteY47022"/>
              </a:cxn>
              <a:cxn ang="0">
                <a:pos x="connsiteX47023" y="connsiteY47023"/>
              </a:cxn>
              <a:cxn ang="0">
                <a:pos x="connsiteX47024" y="connsiteY47024"/>
              </a:cxn>
              <a:cxn ang="0">
                <a:pos x="connsiteX47025" y="connsiteY47025"/>
              </a:cxn>
              <a:cxn ang="0">
                <a:pos x="connsiteX47026" y="connsiteY47026"/>
              </a:cxn>
              <a:cxn ang="0">
                <a:pos x="connsiteX47027" y="connsiteY47027"/>
              </a:cxn>
              <a:cxn ang="0">
                <a:pos x="connsiteX47028" y="connsiteY47028"/>
              </a:cxn>
              <a:cxn ang="0">
                <a:pos x="connsiteX47029" y="connsiteY47029"/>
              </a:cxn>
              <a:cxn ang="0">
                <a:pos x="connsiteX47030" y="connsiteY47030"/>
              </a:cxn>
              <a:cxn ang="0">
                <a:pos x="connsiteX47031" y="connsiteY47031"/>
              </a:cxn>
              <a:cxn ang="0">
                <a:pos x="connsiteX47032" y="connsiteY47032"/>
              </a:cxn>
              <a:cxn ang="0">
                <a:pos x="connsiteX47033" y="connsiteY47033"/>
              </a:cxn>
              <a:cxn ang="0">
                <a:pos x="connsiteX47034" y="connsiteY47034"/>
              </a:cxn>
              <a:cxn ang="0">
                <a:pos x="connsiteX47035" y="connsiteY47035"/>
              </a:cxn>
              <a:cxn ang="0">
                <a:pos x="connsiteX47036" y="connsiteY47036"/>
              </a:cxn>
              <a:cxn ang="0">
                <a:pos x="connsiteX47037" y="connsiteY47037"/>
              </a:cxn>
              <a:cxn ang="0">
                <a:pos x="connsiteX47038" y="connsiteY47038"/>
              </a:cxn>
              <a:cxn ang="0">
                <a:pos x="connsiteX47039" y="connsiteY47039"/>
              </a:cxn>
              <a:cxn ang="0">
                <a:pos x="connsiteX47040" y="connsiteY47040"/>
              </a:cxn>
              <a:cxn ang="0">
                <a:pos x="connsiteX47041" y="connsiteY47041"/>
              </a:cxn>
              <a:cxn ang="0">
                <a:pos x="connsiteX47042" y="connsiteY47042"/>
              </a:cxn>
              <a:cxn ang="0">
                <a:pos x="connsiteX47043" y="connsiteY47043"/>
              </a:cxn>
              <a:cxn ang="0">
                <a:pos x="connsiteX47044" y="connsiteY47044"/>
              </a:cxn>
              <a:cxn ang="0">
                <a:pos x="connsiteX47045" y="connsiteY47045"/>
              </a:cxn>
              <a:cxn ang="0">
                <a:pos x="connsiteX47046" y="connsiteY47046"/>
              </a:cxn>
              <a:cxn ang="0">
                <a:pos x="connsiteX47047" y="connsiteY47047"/>
              </a:cxn>
              <a:cxn ang="0">
                <a:pos x="connsiteX47048" y="connsiteY47048"/>
              </a:cxn>
              <a:cxn ang="0">
                <a:pos x="connsiteX47049" y="connsiteY47049"/>
              </a:cxn>
              <a:cxn ang="0">
                <a:pos x="connsiteX47050" y="connsiteY47050"/>
              </a:cxn>
              <a:cxn ang="0">
                <a:pos x="connsiteX47051" y="connsiteY47051"/>
              </a:cxn>
              <a:cxn ang="0">
                <a:pos x="connsiteX47052" y="connsiteY47052"/>
              </a:cxn>
              <a:cxn ang="0">
                <a:pos x="connsiteX47053" y="connsiteY47053"/>
              </a:cxn>
              <a:cxn ang="0">
                <a:pos x="connsiteX47054" y="connsiteY47054"/>
              </a:cxn>
              <a:cxn ang="0">
                <a:pos x="connsiteX47055" y="connsiteY47055"/>
              </a:cxn>
              <a:cxn ang="0">
                <a:pos x="connsiteX47056" y="connsiteY47056"/>
              </a:cxn>
              <a:cxn ang="0">
                <a:pos x="connsiteX47057" y="connsiteY47057"/>
              </a:cxn>
              <a:cxn ang="0">
                <a:pos x="connsiteX47058" y="connsiteY47058"/>
              </a:cxn>
              <a:cxn ang="0">
                <a:pos x="connsiteX47059" y="connsiteY47059"/>
              </a:cxn>
              <a:cxn ang="0">
                <a:pos x="connsiteX47060" y="connsiteY47060"/>
              </a:cxn>
              <a:cxn ang="0">
                <a:pos x="connsiteX47061" y="connsiteY47061"/>
              </a:cxn>
              <a:cxn ang="0">
                <a:pos x="connsiteX47062" y="connsiteY47062"/>
              </a:cxn>
              <a:cxn ang="0">
                <a:pos x="connsiteX47063" y="connsiteY47063"/>
              </a:cxn>
              <a:cxn ang="0">
                <a:pos x="connsiteX47064" y="connsiteY47064"/>
              </a:cxn>
              <a:cxn ang="0">
                <a:pos x="connsiteX47065" y="connsiteY47065"/>
              </a:cxn>
              <a:cxn ang="0">
                <a:pos x="connsiteX47066" y="connsiteY47066"/>
              </a:cxn>
              <a:cxn ang="0">
                <a:pos x="connsiteX47067" y="connsiteY47067"/>
              </a:cxn>
              <a:cxn ang="0">
                <a:pos x="connsiteX47068" y="connsiteY47068"/>
              </a:cxn>
              <a:cxn ang="0">
                <a:pos x="connsiteX47069" y="connsiteY47069"/>
              </a:cxn>
              <a:cxn ang="0">
                <a:pos x="connsiteX47070" y="connsiteY47070"/>
              </a:cxn>
              <a:cxn ang="0">
                <a:pos x="connsiteX47071" y="connsiteY47071"/>
              </a:cxn>
              <a:cxn ang="0">
                <a:pos x="connsiteX47072" y="connsiteY47072"/>
              </a:cxn>
              <a:cxn ang="0">
                <a:pos x="connsiteX47073" y="connsiteY47073"/>
              </a:cxn>
              <a:cxn ang="0">
                <a:pos x="connsiteX47074" y="connsiteY47074"/>
              </a:cxn>
              <a:cxn ang="0">
                <a:pos x="connsiteX47075" y="connsiteY47075"/>
              </a:cxn>
              <a:cxn ang="0">
                <a:pos x="connsiteX47076" y="connsiteY47076"/>
              </a:cxn>
              <a:cxn ang="0">
                <a:pos x="connsiteX47077" y="connsiteY47077"/>
              </a:cxn>
              <a:cxn ang="0">
                <a:pos x="connsiteX47078" y="connsiteY47078"/>
              </a:cxn>
              <a:cxn ang="0">
                <a:pos x="connsiteX47079" y="connsiteY47079"/>
              </a:cxn>
              <a:cxn ang="0">
                <a:pos x="connsiteX47080" y="connsiteY47080"/>
              </a:cxn>
              <a:cxn ang="0">
                <a:pos x="connsiteX47081" y="connsiteY47081"/>
              </a:cxn>
              <a:cxn ang="0">
                <a:pos x="connsiteX47082" y="connsiteY47082"/>
              </a:cxn>
              <a:cxn ang="0">
                <a:pos x="connsiteX47083" y="connsiteY47083"/>
              </a:cxn>
              <a:cxn ang="0">
                <a:pos x="connsiteX47084" y="connsiteY47084"/>
              </a:cxn>
              <a:cxn ang="0">
                <a:pos x="connsiteX47085" y="connsiteY47085"/>
              </a:cxn>
              <a:cxn ang="0">
                <a:pos x="connsiteX47086" y="connsiteY47086"/>
              </a:cxn>
              <a:cxn ang="0">
                <a:pos x="connsiteX47087" y="connsiteY47087"/>
              </a:cxn>
              <a:cxn ang="0">
                <a:pos x="connsiteX47088" y="connsiteY47088"/>
              </a:cxn>
              <a:cxn ang="0">
                <a:pos x="connsiteX47089" y="connsiteY47089"/>
              </a:cxn>
              <a:cxn ang="0">
                <a:pos x="connsiteX47090" y="connsiteY47090"/>
              </a:cxn>
              <a:cxn ang="0">
                <a:pos x="connsiteX47091" y="connsiteY47091"/>
              </a:cxn>
              <a:cxn ang="0">
                <a:pos x="connsiteX47092" y="connsiteY47092"/>
              </a:cxn>
              <a:cxn ang="0">
                <a:pos x="connsiteX47093" y="connsiteY47093"/>
              </a:cxn>
              <a:cxn ang="0">
                <a:pos x="connsiteX47094" y="connsiteY47094"/>
              </a:cxn>
              <a:cxn ang="0">
                <a:pos x="connsiteX47095" y="connsiteY47095"/>
              </a:cxn>
              <a:cxn ang="0">
                <a:pos x="connsiteX47096" y="connsiteY47096"/>
              </a:cxn>
              <a:cxn ang="0">
                <a:pos x="connsiteX47097" y="connsiteY47097"/>
              </a:cxn>
              <a:cxn ang="0">
                <a:pos x="connsiteX47098" y="connsiteY47098"/>
              </a:cxn>
              <a:cxn ang="0">
                <a:pos x="connsiteX47099" y="connsiteY47099"/>
              </a:cxn>
              <a:cxn ang="0">
                <a:pos x="connsiteX47100" y="connsiteY47100"/>
              </a:cxn>
              <a:cxn ang="0">
                <a:pos x="connsiteX47101" y="connsiteY47101"/>
              </a:cxn>
              <a:cxn ang="0">
                <a:pos x="connsiteX47102" y="connsiteY47102"/>
              </a:cxn>
              <a:cxn ang="0">
                <a:pos x="connsiteX47103" y="connsiteY47103"/>
              </a:cxn>
              <a:cxn ang="0">
                <a:pos x="connsiteX47104" y="connsiteY47104"/>
              </a:cxn>
              <a:cxn ang="0">
                <a:pos x="connsiteX47105" y="connsiteY47105"/>
              </a:cxn>
              <a:cxn ang="0">
                <a:pos x="connsiteX47106" y="connsiteY47106"/>
              </a:cxn>
              <a:cxn ang="0">
                <a:pos x="connsiteX47107" y="connsiteY47107"/>
              </a:cxn>
              <a:cxn ang="0">
                <a:pos x="connsiteX47108" y="connsiteY47108"/>
              </a:cxn>
              <a:cxn ang="0">
                <a:pos x="connsiteX47109" y="connsiteY47109"/>
              </a:cxn>
              <a:cxn ang="0">
                <a:pos x="connsiteX47110" y="connsiteY47110"/>
              </a:cxn>
              <a:cxn ang="0">
                <a:pos x="connsiteX47111" y="connsiteY47111"/>
              </a:cxn>
              <a:cxn ang="0">
                <a:pos x="connsiteX47112" y="connsiteY47112"/>
              </a:cxn>
              <a:cxn ang="0">
                <a:pos x="connsiteX47113" y="connsiteY47113"/>
              </a:cxn>
              <a:cxn ang="0">
                <a:pos x="connsiteX47114" y="connsiteY47114"/>
              </a:cxn>
              <a:cxn ang="0">
                <a:pos x="connsiteX47115" y="connsiteY47115"/>
              </a:cxn>
              <a:cxn ang="0">
                <a:pos x="connsiteX47116" y="connsiteY47116"/>
              </a:cxn>
              <a:cxn ang="0">
                <a:pos x="connsiteX47117" y="connsiteY47117"/>
              </a:cxn>
              <a:cxn ang="0">
                <a:pos x="connsiteX47118" y="connsiteY47118"/>
              </a:cxn>
              <a:cxn ang="0">
                <a:pos x="connsiteX47119" y="connsiteY47119"/>
              </a:cxn>
              <a:cxn ang="0">
                <a:pos x="connsiteX47120" y="connsiteY47120"/>
              </a:cxn>
              <a:cxn ang="0">
                <a:pos x="connsiteX47121" y="connsiteY47121"/>
              </a:cxn>
              <a:cxn ang="0">
                <a:pos x="connsiteX47122" y="connsiteY47122"/>
              </a:cxn>
              <a:cxn ang="0">
                <a:pos x="connsiteX47123" y="connsiteY47123"/>
              </a:cxn>
              <a:cxn ang="0">
                <a:pos x="connsiteX47124" y="connsiteY47124"/>
              </a:cxn>
              <a:cxn ang="0">
                <a:pos x="connsiteX47125" y="connsiteY47125"/>
              </a:cxn>
              <a:cxn ang="0">
                <a:pos x="connsiteX47126" y="connsiteY47126"/>
              </a:cxn>
              <a:cxn ang="0">
                <a:pos x="connsiteX47127" y="connsiteY47127"/>
              </a:cxn>
              <a:cxn ang="0">
                <a:pos x="connsiteX47128" y="connsiteY47128"/>
              </a:cxn>
              <a:cxn ang="0">
                <a:pos x="connsiteX47129" y="connsiteY47129"/>
              </a:cxn>
              <a:cxn ang="0">
                <a:pos x="connsiteX47130" y="connsiteY47130"/>
              </a:cxn>
              <a:cxn ang="0">
                <a:pos x="connsiteX47131" y="connsiteY47131"/>
              </a:cxn>
              <a:cxn ang="0">
                <a:pos x="connsiteX47132" y="connsiteY47132"/>
              </a:cxn>
              <a:cxn ang="0">
                <a:pos x="connsiteX47133" y="connsiteY47133"/>
              </a:cxn>
              <a:cxn ang="0">
                <a:pos x="connsiteX47134" y="connsiteY47134"/>
              </a:cxn>
              <a:cxn ang="0">
                <a:pos x="connsiteX47135" y="connsiteY47135"/>
              </a:cxn>
              <a:cxn ang="0">
                <a:pos x="connsiteX47136" y="connsiteY47136"/>
              </a:cxn>
              <a:cxn ang="0">
                <a:pos x="connsiteX47137" y="connsiteY47137"/>
              </a:cxn>
              <a:cxn ang="0">
                <a:pos x="connsiteX47138" y="connsiteY47138"/>
              </a:cxn>
              <a:cxn ang="0">
                <a:pos x="connsiteX47139" y="connsiteY47139"/>
              </a:cxn>
              <a:cxn ang="0">
                <a:pos x="connsiteX47140" y="connsiteY47140"/>
              </a:cxn>
              <a:cxn ang="0">
                <a:pos x="connsiteX47141" y="connsiteY47141"/>
              </a:cxn>
              <a:cxn ang="0">
                <a:pos x="connsiteX47142" y="connsiteY47142"/>
              </a:cxn>
              <a:cxn ang="0">
                <a:pos x="connsiteX47143" y="connsiteY47143"/>
              </a:cxn>
              <a:cxn ang="0">
                <a:pos x="connsiteX47144" y="connsiteY47144"/>
              </a:cxn>
              <a:cxn ang="0">
                <a:pos x="connsiteX47145" y="connsiteY47145"/>
              </a:cxn>
              <a:cxn ang="0">
                <a:pos x="connsiteX47146" y="connsiteY47146"/>
              </a:cxn>
              <a:cxn ang="0">
                <a:pos x="connsiteX47147" y="connsiteY47147"/>
              </a:cxn>
              <a:cxn ang="0">
                <a:pos x="connsiteX47148" y="connsiteY47148"/>
              </a:cxn>
              <a:cxn ang="0">
                <a:pos x="connsiteX47149" y="connsiteY47149"/>
              </a:cxn>
              <a:cxn ang="0">
                <a:pos x="connsiteX47150" y="connsiteY47150"/>
              </a:cxn>
              <a:cxn ang="0">
                <a:pos x="connsiteX47151" y="connsiteY47151"/>
              </a:cxn>
              <a:cxn ang="0">
                <a:pos x="connsiteX47152" y="connsiteY47152"/>
              </a:cxn>
              <a:cxn ang="0">
                <a:pos x="connsiteX47153" y="connsiteY47153"/>
              </a:cxn>
              <a:cxn ang="0">
                <a:pos x="connsiteX47154" y="connsiteY47154"/>
              </a:cxn>
              <a:cxn ang="0">
                <a:pos x="connsiteX47155" y="connsiteY47155"/>
              </a:cxn>
              <a:cxn ang="0">
                <a:pos x="connsiteX47156" y="connsiteY47156"/>
              </a:cxn>
              <a:cxn ang="0">
                <a:pos x="connsiteX47157" y="connsiteY47157"/>
              </a:cxn>
              <a:cxn ang="0">
                <a:pos x="connsiteX47158" y="connsiteY47158"/>
              </a:cxn>
              <a:cxn ang="0">
                <a:pos x="connsiteX47159" y="connsiteY47159"/>
              </a:cxn>
              <a:cxn ang="0">
                <a:pos x="connsiteX47160" y="connsiteY47160"/>
              </a:cxn>
              <a:cxn ang="0">
                <a:pos x="connsiteX47161" y="connsiteY47161"/>
              </a:cxn>
              <a:cxn ang="0">
                <a:pos x="connsiteX47162" y="connsiteY47162"/>
              </a:cxn>
              <a:cxn ang="0">
                <a:pos x="connsiteX47163" y="connsiteY47163"/>
              </a:cxn>
              <a:cxn ang="0">
                <a:pos x="connsiteX47164" y="connsiteY47164"/>
              </a:cxn>
              <a:cxn ang="0">
                <a:pos x="connsiteX47165" y="connsiteY47165"/>
              </a:cxn>
              <a:cxn ang="0">
                <a:pos x="connsiteX47166" y="connsiteY47166"/>
              </a:cxn>
              <a:cxn ang="0">
                <a:pos x="connsiteX47167" y="connsiteY47167"/>
              </a:cxn>
              <a:cxn ang="0">
                <a:pos x="connsiteX47168" y="connsiteY47168"/>
              </a:cxn>
              <a:cxn ang="0">
                <a:pos x="connsiteX47169" y="connsiteY47169"/>
              </a:cxn>
              <a:cxn ang="0">
                <a:pos x="connsiteX47170" y="connsiteY47170"/>
              </a:cxn>
              <a:cxn ang="0">
                <a:pos x="connsiteX47171" y="connsiteY47171"/>
              </a:cxn>
              <a:cxn ang="0">
                <a:pos x="connsiteX47172" y="connsiteY47172"/>
              </a:cxn>
              <a:cxn ang="0">
                <a:pos x="connsiteX47173" y="connsiteY47173"/>
              </a:cxn>
              <a:cxn ang="0">
                <a:pos x="connsiteX47174" y="connsiteY47174"/>
              </a:cxn>
              <a:cxn ang="0">
                <a:pos x="connsiteX47175" y="connsiteY47175"/>
              </a:cxn>
              <a:cxn ang="0">
                <a:pos x="connsiteX47176" y="connsiteY47176"/>
              </a:cxn>
              <a:cxn ang="0">
                <a:pos x="connsiteX47177" y="connsiteY47177"/>
              </a:cxn>
              <a:cxn ang="0">
                <a:pos x="connsiteX47178" y="connsiteY47178"/>
              </a:cxn>
              <a:cxn ang="0">
                <a:pos x="connsiteX47179" y="connsiteY47179"/>
              </a:cxn>
              <a:cxn ang="0">
                <a:pos x="connsiteX47180" y="connsiteY47180"/>
              </a:cxn>
              <a:cxn ang="0">
                <a:pos x="connsiteX47181" y="connsiteY47181"/>
              </a:cxn>
              <a:cxn ang="0">
                <a:pos x="connsiteX47182" y="connsiteY47182"/>
              </a:cxn>
              <a:cxn ang="0">
                <a:pos x="connsiteX47183" y="connsiteY47183"/>
              </a:cxn>
              <a:cxn ang="0">
                <a:pos x="connsiteX47184" y="connsiteY47184"/>
              </a:cxn>
              <a:cxn ang="0">
                <a:pos x="connsiteX47185" y="connsiteY47185"/>
              </a:cxn>
              <a:cxn ang="0">
                <a:pos x="connsiteX47186" y="connsiteY47186"/>
              </a:cxn>
              <a:cxn ang="0">
                <a:pos x="connsiteX47187" y="connsiteY47187"/>
              </a:cxn>
              <a:cxn ang="0">
                <a:pos x="connsiteX47188" y="connsiteY47188"/>
              </a:cxn>
              <a:cxn ang="0">
                <a:pos x="connsiteX47189" y="connsiteY47189"/>
              </a:cxn>
              <a:cxn ang="0">
                <a:pos x="connsiteX47190" y="connsiteY47190"/>
              </a:cxn>
              <a:cxn ang="0">
                <a:pos x="connsiteX47191" y="connsiteY47191"/>
              </a:cxn>
              <a:cxn ang="0">
                <a:pos x="connsiteX47192" y="connsiteY47192"/>
              </a:cxn>
              <a:cxn ang="0">
                <a:pos x="connsiteX47193" y="connsiteY47193"/>
              </a:cxn>
              <a:cxn ang="0">
                <a:pos x="connsiteX47194" y="connsiteY47194"/>
              </a:cxn>
              <a:cxn ang="0">
                <a:pos x="connsiteX47195" y="connsiteY47195"/>
              </a:cxn>
              <a:cxn ang="0">
                <a:pos x="connsiteX47196" y="connsiteY47196"/>
              </a:cxn>
              <a:cxn ang="0">
                <a:pos x="connsiteX47197" y="connsiteY47197"/>
              </a:cxn>
              <a:cxn ang="0">
                <a:pos x="connsiteX47198" y="connsiteY47198"/>
              </a:cxn>
              <a:cxn ang="0">
                <a:pos x="connsiteX47199" y="connsiteY47199"/>
              </a:cxn>
              <a:cxn ang="0">
                <a:pos x="connsiteX47200" y="connsiteY47200"/>
              </a:cxn>
              <a:cxn ang="0">
                <a:pos x="connsiteX47201" y="connsiteY47201"/>
              </a:cxn>
              <a:cxn ang="0">
                <a:pos x="connsiteX47202" y="connsiteY47202"/>
              </a:cxn>
              <a:cxn ang="0">
                <a:pos x="connsiteX47203" y="connsiteY47203"/>
              </a:cxn>
              <a:cxn ang="0">
                <a:pos x="connsiteX47204" y="connsiteY47204"/>
              </a:cxn>
              <a:cxn ang="0">
                <a:pos x="connsiteX47205" y="connsiteY47205"/>
              </a:cxn>
              <a:cxn ang="0">
                <a:pos x="connsiteX47206" y="connsiteY47206"/>
              </a:cxn>
              <a:cxn ang="0">
                <a:pos x="connsiteX47207" y="connsiteY47207"/>
              </a:cxn>
              <a:cxn ang="0">
                <a:pos x="connsiteX47208" y="connsiteY47208"/>
              </a:cxn>
              <a:cxn ang="0">
                <a:pos x="connsiteX47209" y="connsiteY47209"/>
              </a:cxn>
              <a:cxn ang="0">
                <a:pos x="connsiteX47210" y="connsiteY47210"/>
              </a:cxn>
              <a:cxn ang="0">
                <a:pos x="connsiteX47211" y="connsiteY47211"/>
              </a:cxn>
              <a:cxn ang="0">
                <a:pos x="connsiteX47212" y="connsiteY47212"/>
              </a:cxn>
              <a:cxn ang="0">
                <a:pos x="connsiteX47213" y="connsiteY47213"/>
              </a:cxn>
              <a:cxn ang="0">
                <a:pos x="connsiteX47214" y="connsiteY47214"/>
              </a:cxn>
              <a:cxn ang="0">
                <a:pos x="connsiteX47215" y="connsiteY47215"/>
              </a:cxn>
              <a:cxn ang="0">
                <a:pos x="connsiteX47216" y="connsiteY47216"/>
              </a:cxn>
              <a:cxn ang="0">
                <a:pos x="connsiteX47217" y="connsiteY47217"/>
              </a:cxn>
              <a:cxn ang="0">
                <a:pos x="connsiteX47218" y="connsiteY47218"/>
              </a:cxn>
              <a:cxn ang="0">
                <a:pos x="connsiteX47219" y="connsiteY47219"/>
              </a:cxn>
              <a:cxn ang="0">
                <a:pos x="connsiteX47220" y="connsiteY47220"/>
              </a:cxn>
              <a:cxn ang="0">
                <a:pos x="connsiteX47221" y="connsiteY47221"/>
              </a:cxn>
              <a:cxn ang="0">
                <a:pos x="connsiteX47222" y="connsiteY47222"/>
              </a:cxn>
              <a:cxn ang="0">
                <a:pos x="connsiteX47223" y="connsiteY47223"/>
              </a:cxn>
              <a:cxn ang="0">
                <a:pos x="connsiteX47224" y="connsiteY47224"/>
              </a:cxn>
              <a:cxn ang="0">
                <a:pos x="connsiteX47225" y="connsiteY47225"/>
              </a:cxn>
              <a:cxn ang="0">
                <a:pos x="connsiteX47226" y="connsiteY47226"/>
              </a:cxn>
              <a:cxn ang="0">
                <a:pos x="connsiteX47227" y="connsiteY47227"/>
              </a:cxn>
              <a:cxn ang="0">
                <a:pos x="connsiteX47228" y="connsiteY47228"/>
              </a:cxn>
              <a:cxn ang="0">
                <a:pos x="connsiteX47229" y="connsiteY47229"/>
              </a:cxn>
              <a:cxn ang="0">
                <a:pos x="connsiteX47230" y="connsiteY47230"/>
              </a:cxn>
              <a:cxn ang="0">
                <a:pos x="connsiteX47231" y="connsiteY47231"/>
              </a:cxn>
              <a:cxn ang="0">
                <a:pos x="connsiteX47232" y="connsiteY47232"/>
              </a:cxn>
              <a:cxn ang="0">
                <a:pos x="connsiteX47233" y="connsiteY47233"/>
              </a:cxn>
              <a:cxn ang="0">
                <a:pos x="connsiteX47234" y="connsiteY47234"/>
              </a:cxn>
              <a:cxn ang="0">
                <a:pos x="connsiteX47235" y="connsiteY47235"/>
              </a:cxn>
              <a:cxn ang="0">
                <a:pos x="connsiteX47236" y="connsiteY47236"/>
              </a:cxn>
              <a:cxn ang="0">
                <a:pos x="connsiteX47237" y="connsiteY47237"/>
              </a:cxn>
              <a:cxn ang="0">
                <a:pos x="connsiteX47238" y="connsiteY47238"/>
              </a:cxn>
              <a:cxn ang="0">
                <a:pos x="connsiteX47239" y="connsiteY47239"/>
              </a:cxn>
              <a:cxn ang="0">
                <a:pos x="connsiteX47240" y="connsiteY47240"/>
              </a:cxn>
              <a:cxn ang="0">
                <a:pos x="connsiteX47241" y="connsiteY47241"/>
              </a:cxn>
              <a:cxn ang="0">
                <a:pos x="connsiteX47242" y="connsiteY47242"/>
              </a:cxn>
              <a:cxn ang="0">
                <a:pos x="connsiteX47243" y="connsiteY47243"/>
              </a:cxn>
              <a:cxn ang="0">
                <a:pos x="connsiteX47244" y="connsiteY47244"/>
              </a:cxn>
              <a:cxn ang="0">
                <a:pos x="connsiteX47245" y="connsiteY47245"/>
              </a:cxn>
              <a:cxn ang="0">
                <a:pos x="connsiteX47246" y="connsiteY47246"/>
              </a:cxn>
              <a:cxn ang="0">
                <a:pos x="connsiteX47247" y="connsiteY47247"/>
              </a:cxn>
              <a:cxn ang="0">
                <a:pos x="connsiteX47248" y="connsiteY47248"/>
              </a:cxn>
              <a:cxn ang="0">
                <a:pos x="connsiteX47249" y="connsiteY47249"/>
              </a:cxn>
              <a:cxn ang="0">
                <a:pos x="connsiteX47250" y="connsiteY47250"/>
              </a:cxn>
              <a:cxn ang="0">
                <a:pos x="connsiteX47251" y="connsiteY47251"/>
              </a:cxn>
              <a:cxn ang="0">
                <a:pos x="connsiteX47252" y="connsiteY47252"/>
              </a:cxn>
              <a:cxn ang="0">
                <a:pos x="connsiteX47253" y="connsiteY47253"/>
              </a:cxn>
              <a:cxn ang="0">
                <a:pos x="connsiteX47254" y="connsiteY47254"/>
              </a:cxn>
              <a:cxn ang="0">
                <a:pos x="connsiteX47255" y="connsiteY47255"/>
              </a:cxn>
              <a:cxn ang="0">
                <a:pos x="connsiteX47256" y="connsiteY47256"/>
              </a:cxn>
              <a:cxn ang="0">
                <a:pos x="connsiteX47257" y="connsiteY47257"/>
              </a:cxn>
              <a:cxn ang="0">
                <a:pos x="connsiteX47258" y="connsiteY47258"/>
              </a:cxn>
              <a:cxn ang="0">
                <a:pos x="connsiteX47259" y="connsiteY47259"/>
              </a:cxn>
              <a:cxn ang="0">
                <a:pos x="connsiteX47260" y="connsiteY47260"/>
              </a:cxn>
              <a:cxn ang="0">
                <a:pos x="connsiteX47261" y="connsiteY47261"/>
              </a:cxn>
              <a:cxn ang="0">
                <a:pos x="connsiteX47262" y="connsiteY47262"/>
              </a:cxn>
              <a:cxn ang="0">
                <a:pos x="connsiteX47263" y="connsiteY47263"/>
              </a:cxn>
              <a:cxn ang="0">
                <a:pos x="connsiteX47264" y="connsiteY47264"/>
              </a:cxn>
              <a:cxn ang="0">
                <a:pos x="connsiteX47265" y="connsiteY47265"/>
              </a:cxn>
              <a:cxn ang="0">
                <a:pos x="connsiteX47266" y="connsiteY47266"/>
              </a:cxn>
              <a:cxn ang="0">
                <a:pos x="connsiteX47267" y="connsiteY47267"/>
              </a:cxn>
              <a:cxn ang="0">
                <a:pos x="connsiteX47268" y="connsiteY47268"/>
              </a:cxn>
              <a:cxn ang="0">
                <a:pos x="connsiteX47269" y="connsiteY47269"/>
              </a:cxn>
              <a:cxn ang="0">
                <a:pos x="connsiteX47270" y="connsiteY47270"/>
              </a:cxn>
              <a:cxn ang="0">
                <a:pos x="connsiteX47271" y="connsiteY47271"/>
              </a:cxn>
              <a:cxn ang="0">
                <a:pos x="connsiteX47272" y="connsiteY47272"/>
              </a:cxn>
              <a:cxn ang="0">
                <a:pos x="connsiteX47273" y="connsiteY47273"/>
              </a:cxn>
              <a:cxn ang="0">
                <a:pos x="connsiteX47274" y="connsiteY47274"/>
              </a:cxn>
              <a:cxn ang="0">
                <a:pos x="connsiteX47275" y="connsiteY47275"/>
              </a:cxn>
              <a:cxn ang="0">
                <a:pos x="connsiteX47276" y="connsiteY47276"/>
              </a:cxn>
              <a:cxn ang="0">
                <a:pos x="connsiteX47277" y="connsiteY47277"/>
              </a:cxn>
              <a:cxn ang="0">
                <a:pos x="connsiteX47278" y="connsiteY47278"/>
              </a:cxn>
              <a:cxn ang="0">
                <a:pos x="connsiteX47279" y="connsiteY47279"/>
              </a:cxn>
              <a:cxn ang="0">
                <a:pos x="connsiteX47280" y="connsiteY47280"/>
              </a:cxn>
              <a:cxn ang="0">
                <a:pos x="connsiteX47281" y="connsiteY47281"/>
              </a:cxn>
              <a:cxn ang="0">
                <a:pos x="connsiteX47282" y="connsiteY47282"/>
              </a:cxn>
              <a:cxn ang="0">
                <a:pos x="connsiteX47283" y="connsiteY47283"/>
              </a:cxn>
              <a:cxn ang="0">
                <a:pos x="connsiteX47284" y="connsiteY47284"/>
              </a:cxn>
              <a:cxn ang="0">
                <a:pos x="connsiteX47285" y="connsiteY47285"/>
              </a:cxn>
              <a:cxn ang="0">
                <a:pos x="connsiteX47286" y="connsiteY47286"/>
              </a:cxn>
              <a:cxn ang="0">
                <a:pos x="connsiteX47287" y="connsiteY47287"/>
              </a:cxn>
              <a:cxn ang="0">
                <a:pos x="connsiteX47288" y="connsiteY47288"/>
              </a:cxn>
              <a:cxn ang="0">
                <a:pos x="connsiteX47289" y="connsiteY47289"/>
              </a:cxn>
              <a:cxn ang="0">
                <a:pos x="connsiteX47290" y="connsiteY47290"/>
              </a:cxn>
              <a:cxn ang="0">
                <a:pos x="connsiteX47291" y="connsiteY47291"/>
              </a:cxn>
              <a:cxn ang="0">
                <a:pos x="connsiteX47292" y="connsiteY47292"/>
              </a:cxn>
              <a:cxn ang="0">
                <a:pos x="connsiteX47293" y="connsiteY47293"/>
              </a:cxn>
              <a:cxn ang="0">
                <a:pos x="connsiteX47294" y="connsiteY47294"/>
              </a:cxn>
              <a:cxn ang="0">
                <a:pos x="connsiteX47295" y="connsiteY47295"/>
              </a:cxn>
              <a:cxn ang="0">
                <a:pos x="connsiteX47296" y="connsiteY47296"/>
              </a:cxn>
              <a:cxn ang="0">
                <a:pos x="connsiteX47297" y="connsiteY47297"/>
              </a:cxn>
              <a:cxn ang="0">
                <a:pos x="connsiteX47298" y="connsiteY47298"/>
              </a:cxn>
              <a:cxn ang="0">
                <a:pos x="connsiteX47299" y="connsiteY47299"/>
              </a:cxn>
              <a:cxn ang="0">
                <a:pos x="connsiteX47300" y="connsiteY47300"/>
              </a:cxn>
              <a:cxn ang="0">
                <a:pos x="connsiteX47301" y="connsiteY47301"/>
              </a:cxn>
              <a:cxn ang="0">
                <a:pos x="connsiteX47302" y="connsiteY47302"/>
              </a:cxn>
              <a:cxn ang="0">
                <a:pos x="connsiteX47303" y="connsiteY47303"/>
              </a:cxn>
              <a:cxn ang="0">
                <a:pos x="connsiteX47304" y="connsiteY47304"/>
              </a:cxn>
              <a:cxn ang="0">
                <a:pos x="connsiteX47305" y="connsiteY47305"/>
              </a:cxn>
              <a:cxn ang="0">
                <a:pos x="connsiteX47306" y="connsiteY47306"/>
              </a:cxn>
              <a:cxn ang="0">
                <a:pos x="connsiteX47307" y="connsiteY47307"/>
              </a:cxn>
              <a:cxn ang="0">
                <a:pos x="connsiteX47308" y="connsiteY47308"/>
              </a:cxn>
              <a:cxn ang="0">
                <a:pos x="connsiteX47309" y="connsiteY47309"/>
              </a:cxn>
              <a:cxn ang="0">
                <a:pos x="connsiteX47310" y="connsiteY47310"/>
              </a:cxn>
              <a:cxn ang="0">
                <a:pos x="connsiteX47311" y="connsiteY47311"/>
              </a:cxn>
              <a:cxn ang="0">
                <a:pos x="connsiteX47312" y="connsiteY47312"/>
              </a:cxn>
              <a:cxn ang="0">
                <a:pos x="connsiteX47313" y="connsiteY47313"/>
              </a:cxn>
              <a:cxn ang="0">
                <a:pos x="connsiteX47314" y="connsiteY47314"/>
              </a:cxn>
              <a:cxn ang="0">
                <a:pos x="connsiteX47315" y="connsiteY47315"/>
              </a:cxn>
              <a:cxn ang="0">
                <a:pos x="connsiteX47316" y="connsiteY47316"/>
              </a:cxn>
              <a:cxn ang="0">
                <a:pos x="connsiteX47317" y="connsiteY47317"/>
              </a:cxn>
              <a:cxn ang="0">
                <a:pos x="connsiteX47318" y="connsiteY47318"/>
              </a:cxn>
              <a:cxn ang="0">
                <a:pos x="connsiteX47319" y="connsiteY47319"/>
              </a:cxn>
              <a:cxn ang="0">
                <a:pos x="connsiteX47320" y="connsiteY47320"/>
              </a:cxn>
              <a:cxn ang="0">
                <a:pos x="connsiteX47321" y="connsiteY47321"/>
              </a:cxn>
              <a:cxn ang="0">
                <a:pos x="connsiteX47322" y="connsiteY47322"/>
              </a:cxn>
              <a:cxn ang="0">
                <a:pos x="connsiteX47323" y="connsiteY47323"/>
              </a:cxn>
              <a:cxn ang="0">
                <a:pos x="connsiteX47324" y="connsiteY47324"/>
              </a:cxn>
              <a:cxn ang="0">
                <a:pos x="connsiteX47325" y="connsiteY47325"/>
              </a:cxn>
              <a:cxn ang="0">
                <a:pos x="connsiteX47326" y="connsiteY47326"/>
              </a:cxn>
              <a:cxn ang="0">
                <a:pos x="connsiteX47327" y="connsiteY47327"/>
              </a:cxn>
              <a:cxn ang="0">
                <a:pos x="connsiteX47328" y="connsiteY47328"/>
              </a:cxn>
              <a:cxn ang="0">
                <a:pos x="connsiteX47329" y="connsiteY47329"/>
              </a:cxn>
              <a:cxn ang="0">
                <a:pos x="connsiteX47330" y="connsiteY47330"/>
              </a:cxn>
              <a:cxn ang="0">
                <a:pos x="connsiteX47331" y="connsiteY47331"/>
              </a:cxn>
              <a:cxn ang="0">
                <a:pos x="connsiteX47332" y="connsiteY47332"/>
              </a:cxn>
              <a:cxn ang="0">
                <a:pos x="connsiteX47333" y="connsiteY47333"/>
              </a:cxn>
              <a:cxn ang="0">
                <a:pos x="connsiteX47334" y="connsiteY47334"/>
              </a:cxn>
              <a:cxn ang="0">
                <a:pos x="connsiteX47335" y="connsiteY47335"/>
              </a:cxn>
              <a:cxn ang="0">
                <a:pos x="connsiteX47336" y="connsiteY47336"/>
              </a:cxn>
              <a:cxn ang="0">
                <a:pos x="connsiteX47337" y="connsiteY47337"/>
              </a:cxn>
              <a:cxn ang="0">
                <a:pos x="connsiteX47338" y="connsiteY47338"/>
              </a:cxn>
              <a:cxn ang="0">
                <a:pos x="connsiteX47339" y="connsiteY47339"/>
              </a:cxn>
              <a:cxn ang="0">
                <a:pos x="connsiteX47340" y="connsiteY47340"/>
              </a:cxn>
              <a:cxn ang="0">
                <a:pos x="connsiteX47341" y="connsiteY47341"/>
              </a:cxn>
              <a:cxn ang="0">
                <a:pos x="connsiteX47342" y="connsiteY47342"/>
              </a:cxn>
              <a:cxn ang="0">
                <a:pos x="connsiteX47343" y="connsiteY47343"/>
              </a:cxn>
              <a:cxn ang="0">
                <a:pos x="connsiteX47344" y="connsiteY47344"/>
              </a:cxn>
              <a:cxn ang="0">
                <a:pos x="connsiteX47345" y="connsiteY47345"/>
              </a:cxn>
              <a:cxn ang="0">
                <a:pos x="connsiteX47346" y="connsiteY47346"/>
              </a:cxn>
              <a:cxn ang="0">
                <a:pos x="connsiteX47347" y="connsiteY47347"/>
              </a:cxn>
              <a:cxn ang="0">
                <a:pos x="connsiteX47348" y="connsiteY47348"/>
              </a:cxn>
              <a:cxn ang="0">
                <a:pos x="connsiteX47349" y="connsiteY47349"/>
              </a:cxn>
              <a:cxn ang="0">
                <a:pos x="connsiteX47350" y="connsiteY47350"/>
              </a:cxn>
              <a:cxn ang="0">
                <a:pos x="connsiteX47351" y="connsiteY47351"/>
              </a:cxn>
              <a:cxn ang="0">
                <a:pos x="connsiteX47352" y="connsiteY47352"/>
              </a:cxn>
              <a:cxn ang="0">
                <a:pos x="connsiteX47353" y="connsiteY47353"/>
              </a:cxn>
              <a:cxn ang="0">
                <a:pos x="connsiteX47354" y="connsiteY47354"/>
              </a:cxn>
              <a:cxn ang="0">
                <a:pos x="connsiteX47355" y="connsiteY47355"/>
              </a:cxn>
              <a:cxn ang="0">
                <a:pos x="connsiteX47356" y="connsiteY47356"/>
              </a:cxn>
              <a:cxn ang="0">
                <a:pos x="connsiteX47357" y="connsiteY47357"/>
              </a:cxn>
              <a:cxn ang="0">
                <a:pos x="connsiteX47358" y="connsiteY47358"/>
              </a:cxn>
              <a:cxn ang="0">
                <a:pos x="connsiteX47359" y="connsiteY47359"/>
              </a:cxn>
              <a:cxn ang="0">
                <a:pos x="connsiteX47360" y="connsiteY47360"/>
              </a:cxn>
              <a:cxn ang="0">
                <a:pos x="connsiteX47361" y="connsiteY47361"/>
              </a:cxn>
              <a:cxn ang="0">
                <a:pos x="connsiteX47362" y="connsiteY47362"/>
              </a:cxn>
              <a:cxn ang="0">
                <a:pos x="connsiteX47363" y="connsiteY47363"/>
              </a:cxn>
              <a:cxn ang="0">
                <a:pos x="connsiteX47364" y="connsiteY47364"/>
              </a:cxn>
              <a:cxn ang="0">
                <a:pos x="connsiteX47365" y="connsiteY47365"/>
              </a:cxn>
              <a:cxn ang="0">
                <a:pos x="connsiteX47366" y="connsiteY47366"/>
              </a:cxn>
              <a:cxn ang="0">
                <a:pos x="connsiteX47367" y="connsiteY47367"/>
              </a:cxn>
              <a:cxn ang="0">
                <a:pos x="connsiteX47368" y="connsiteY47368"/>
              </a:cxn>
              <a:cxn ang="0">
                <a:pos x="connsiteX47369" y="connsiteY47369"/>
              </a:cxn>
              <a:cxn ang="0">
                <a:pos x="connsiteX47370" y="connsiteY47370"/>
              </a:cxn>
              <a:cxn ang="0">
                <a:pos x="connsiteX47371" y="connsiteY47371"/>
              </a:cxn>
              <a:cxn ang="0">
                <a:pos x="connsiteX47372" y="connsiteY47372"/>
              </a:cxn>
              <a:cxn ang="0">
                <a:pos x="connsiteX47373" y="connsiteY47373"/>
              </a:cxn>
              <a:cxn ang="0">
                <a:pos x="connsiteX47374" y="connsiteY47374"/>
              </a:cxn>
              <a:cxn ang="0">
                <a:pos x="connsiteX47375" y="connsiteY47375"/>
              </a:cxn>
              <a:cxn ang="0">
                <a:pos x="connsiteX47376" y="connsiteY47376"/>
              </a:cxn>
              <a:cxn ang="0">
                <a:pos x="connsiteX47377" y="connsiteY47377"/>
              </a:cxn>
              <a:cxn ang="0">
                <a:pos x="connsiteX47378" y="connsiteY47378"/>
              </a:cxn>
              <a:cxn ang="0">
                <a:pos x="connsiteX47379" y="connsiteY47379"/>
              </a:cxn>
              <a:cxn ang="0">
                <a:pos x="connsiteX47380" y="connsiteY47380"/>
              </a:cxn>
              <a:cxn ang="0">
                <a:pos x="connsiteX47381" y="connsiteY47381"/>
              </a:cxn>
              <a:cxn ang="0">
                <a:pos x="connsiteX47382" y="connsiteY47382"/>
              </a:cxn>
              <a:cxn ang="0">
                <a:pos x="connsiteX47383" y="connsiteY47383"/>
              </a:cxn>
              <a:cxn ang="0">
                <a:pos x="connsiteX47384" y="connsiteY47384"/>
              </a:cxn>
              <a:cxn ang="0">
                <a:pos x="connsiteX47385" y="connsiteY47385"/>
              </a:cxn>
              <a:cxn ang="0">
                <a:pos x="connsiteX47386" y="connsiteY47386"/>
              </a:cxn>
              <a:cxn ang="0">
                <a:pos x="connsiteX47387" y="connsiteY47387"/>
              </a:cxn>
              <a:cxn ang="0">
                <a:pos x="connsiteX47388" y="connsiteY47388"/>
              </a:cxn>
              <a:cxn ang="0">
                <a:pos x="connsiteX47389" y="connsiteY47389"/>
              </a:cxn>
              <a:cxn ang="0">
                <a:pos x="connsiteX47390" y="connsiteY47390"/>
              </a:cxn>
              <a:cxn ang="0">
                <a:pos x="connsiteX47391" y="connsiteY47391"/>
              </a:cxn>
              <a:cxn ang="0">
                <a:pos x="connsiteX47392" y="connsiteY47392"/>
              </a:cxn>
              <a:cxn ang="0">
                <a:pos x="connsiteX47393" y="connsiteY47393"/>
              </a:cxn>
              <a:cxn ang="0">
                <a:pos x="connsiteX47394" y="connsiteY47394"/>
              </a:cxn>
              <a:cxn ang="0">
                <a:pos x="connsiteX47395" y="connsiteY47395"/>
              </a:cxn>
              <a:cxn ang="0">
                <a:pos x="connsiteX47396" y="connsiteY47396"/>
              </a:cxn>
              <a:cxn ang="0">
                <a:pos x="connsiteX47397" y="connsiteY47397"/>
              </a:cxn>
              <a:cxn ang="0">
                <a:pos x="connsiteX47398" y="connsiteY47398"/>
              </a:cxn>
              <a:cxn ang="0">
                <a:pos x="connsiteX47399" y="connsiteY47399"/>
              </a:cxn>
              <a:cxn ang="0">
                <a:pos x="connsiteX47400" y="connsiteY47400"/>
              </a:cxn>
              <a:cxn ang="0">
                <a:pos x="connsiteX47401" y="connsiteY47401"/>
              </a:cxn>
              <a:cxn ang="0">
                <a:pos x="connsiteX47402" y="connsiteY47402"/>
              </a:cxn>
              <a:cxn ang="0">
                <a:pos x="connsiteX47403" y="connsiteY47403"/>
              </a:cxn>
              <a:cxn ang="0">
                <a:pos x="connsiteX47404" y="connsiteY47404"/>
              </a:cxn>
              <a:cxn ang="0">
                <a:pos x="connsiteX47405" y="connsiteY47405"/>
              </a:cxn>
              <a:cxn ang="0">
                <a:pos x="connsiteX47406" y="connsiteY47406"/>
              </a:cxn>
              <a:cxn ang="0">
                <a:pos x="connsiteX47407" y="connsiteY47407"/>
              </a:cxn>
              <a:cxn ang="0">
                <a:pos x="connsiteX47408" y="connsiteY47408"/>
              </a:cxn>
              <a:cxn ang="0">
                <a:pos x="connsiteX47409" y="connsiteY47409"/>
              </a:cxn>
              <a:cxn ang="0">
                <a:pos x="connsiteX47410" y="connsiteY47410"/>
              </a:cxn>
              <a:cxn ang="0">
                <a:pos x="connsiteX47411" y="connsiteY47411"/>
              </a:cxn>
              <a:cxn ang="0">
                <a:pos x="connsiteX47412" y="connsiteY47412"/>
              </a:cxn>
              <a:cxn ang="0">
                <a:pos x="connsiteX47413" y="connsiteY47413"/>
              </a:cxn>
              <a:cxn ang="0">
                <a:pos x="connsiteX47414" y="connsiteY47414"/>
              </a:cxn>
              <a:cxn ang="0">
                <a:pos x="connsiteX47415" y="connsiteY47415"/>
              </a:cxn>
              <a:cxn ang="0">
                <a:pos x="connsiteX47416" y="connsiteY47416"/>
              </a:cxn>
              <a:cxn ang="0">
                <a:pos x="connsiteX47417" y="connsiteY47417"/>
              </a:cxn>
              <a:cxn ang="0">
                <a:pos x="connsiteX47418" y="connsiteY47418"/>
              </a:cxn>
              <a:cxn ang="0">
                <a:pos x="connsiteX47419" y="connsiteY47419"/>
              </a:cxn>
              <a:cxn ang="0">
                <a:pos x="connsiteX47420" y="connsiteY47420"/>
              </a:cxn>
              <a:cxn ang="0">
                <a:pos x="connsiteX47421" y="connsiteY47421"/>
              </a:cxn>
              <a:cxn ang="0">
                <a:pos x="connsiteX47422" y="connsiteY47422"/>
              </a:cxn>
              <a:cxn ang="0">
                <a:pos x="connsiteX47423" y="connsiteY47423"/>
              </a:cxn>
              <a:cxn ang="0">
                <a:pos x="connsiteX47424" y="connsiteY47424"/>
              </a:cxn>
              <a:cxn ang="0">
                <a:pos x="connsiteX47425" y="connsiteY47425"/>
              </a:cxn>
              <a:cxn ang="0">
                <a:pos x="connsiteX47426" y="connsiteY47426"/>
              </a:cxn>
              <a:cxn ang="0">
                <a:pos x="connsiteX47427" y="connsiteY47427"/>
              </a:cxn>
              <a:cxn ang="0">
                <a:pos x="connsiteX47428" y="connsiteY47428"/>
              </a:cxn>
              <a:cxn ang="0">
                <a:pos x="connsiteX47429" y="connsiteY47429"/>
              </a:cxn>
              <a:cxn ang="0">
                <a:pos x="connsiteX47430" y="connsiteY47430"/>
              </a:cxn>
              <a:cxn ang="0">
                <a:pos x="connsiteX47431" y="connsiteY47431"/>
              </a:cxn>
              <a:cxn ang="0">
                <a:pos x="connsiteX47432" y="connsiteY47432"/>
              </a:cxn>
              <a:cxn ang="0">
                <a:pos x="connsiteX47433" y="connsiteY47433"/>
              </a:cxn>
              <a:cxn ang="0">
                <a:pos x="connsiteX47434" y="connsiteY47434"/>
              </a:cxn>
              <a:cxn ang="0">
                <a:pos x="connsiteX47435" y="connsiteY47435"/>
              </a:cxn>
              <a:cxn ang="0">
                <a:pos x="connsiteX47436" y="connsiteY47436"/>
              </a:cxn>
              <a:cxn ang="0">
                <a:pos x="connsiteX47437" y="connsiteY47437"/>
              </a:cxn>
              <a:cxn ang="0">
                <a:pos x="connsiteX47438" y="connsiteY47438"/>
              </a:cxn>
              <a:cxn ang="0">
                <a:pos x="connsiteX47439" y="connsiteY47439"/>
              </a:cxn>
              <a:cxn ang="0">
                <a:pos x="connsiteX47440" y="connsiteY47440"/>
              </a:cxn>
              <a:cxn ang="0">
                <a:pos x="connsiteX47441" y="connsiteY47441"/>
              </a:cxn>
              <a:cxn ang="0">
                <a:pos x="connsiteX47442" y="connsiteY47442"/>
              </a:cxn>
              <a:cxn ang="0">
                <a:pos x="connsiteX47443" y="connsiteY47443"/>
              </a:cxn>
              <a:cxn ang="0">
                <a:pos x="connsiteX47444" y="connsiteY47444"/>
              </a:cxn>
              <a:cxn ang="0">
                <a:pos x="connsiteX47445" y="connsiteY47445"/>
              </a:cxn>
              <a:cxn ang="0">
                <a:pos x="connsiteX47446" y="connsiteY47446"/>
              </a:cxn>
              <a:cxn ang="0">
                <a:pos x="connsiteX47447" y="connsiteY47447"/>
              </a:cxn>
              <a:cxn ang="0">
                <a:pos x="connsiteX47448" y="connsiteY47448"/>
              </a:cxn>
              <a:cxn ang="0">
                <a:pos x="connsiteX47449" y="connsiteY47449"/>
              </a:cxn>
              <a:cxn ang="0">
                <a:pos x="connsiteX47450" y="connsiteY47450"/>
              </a:cxn>
              <a:cxn ang="0">
                <a:pos x="connsiteX47451" y="connsiteY47451"/>
              </a:cxn>
              <a:cxn ang="0">
                <a:pos x="connsiteX47452" y="connsiteY47452"/>
              </a:cxn>
              <a:cxn ang="0">
                <a:pos x="connsiteX47453" y="connsiteY47453"/>
              </a:cxn>
              <a:cxn ang="0">
                <a:pos x="connsiteX47454" y="connsiteY47454"/>
              </a:cxn>
              <a:cxn ang="0">
                <a:pos x="connsiteX47455" y="connsiteY47455"/>
              </a:cxn>
              <a:cxn ang="0">
                <a:pos x="connsiteX47456" y="connsiteY47456"/>
              </a:cxn>
              <a:cxn ang="0">
                <a:pos x="connsiteX47457" y="connsiteY47457"/>
              </a:cxn>
              <a:cxn ang="0">
                <a:pos x="connsiteX47458" y="connsiteY47458"/>
              </a:cxn>
              <a:cxn ang="0">
                <a:pos x="connsiteX47459" y="connsiteY47459"/>
              </a:cxn>
              <a:cxn ang="0">
                <a:pos x="connsiteX47460" y="connsiteY47460"/>
              </a:cxn>
              <a:cxn ang="0">
                <a:pos x="connsiteX47461" y="connsiteY47461"/>
              </a:cxn>
              <a:cxn ang="0">
                <a:pos x="connsiteX47462" y="connsiteY47462"/>
              </a:cxn>
              <a:cxn ang="0">
                <a:pos x="connsiteX47463" y="connsiteY47463"/>
              </a:cxn>
              <a:cxn ang="0">
                <a:pos x="connsiteX47464" y="connsiteY47464"/>
              </a:cxn>
              <a:cxn ang="0">
                <a:pos x="connsiteX47465" y="connsiteY47465"/>
              </a:cxn>
              <a:cxn ang="0">
                <a:pos x="connsiteX47466" y="connsiteY47466"/>
              </a:cxn>
              <a:cxn ang="0">
                <a:pos x="connsiteX47467" y="connsiteY47467"/>
              </a:cxn>
              <a:cxn ang="0">
                <a:pos x="connsiteX47468" y="connsiteY47468"/>
              </a:cxn>
              <a:cxn ang="0">
                <a:pos x="connsiteX47469" y="connsiteY47469"/>
              </a:cxn>
              <a:cxn ang="0">
                <a:pos x="connsiteX47470" y="connsiteY47470"/>
              </a:cxn>
              <a:cxn ang="0">
                <a:pos x="connsiteX47471" y="connsiteY47471"/>
              </a:cxn>
              <a:cxn ang="0">
                <a:pos x="connsiteX47472" y="connsiteY47472"/>
              </a:cxn>
              <a:cxn ang="0">
                <a:pos x="connsiteX47473" y="connsiteY47473"/>
              </a:cxn>
              <a:cxn ang="0">
                <a:pos x="connsiteX47474" y="connsiteY47474"/>
              </a:cxn>
              <a:cxn ang="0">
                <a:pos x="connsiteX47475" y="connsiteY47475"/>
              </a:cxn>
              <a:cxn ang="0">
                <a:pos x="connsiteX47476" y="connsiteY47476"/>
              </a:cxn>
              <a:cxn ang="0">
                <a:pos x="connsiteX47477" y="connsiteY47477"/>
              </a:cxn>
              <a:cxn ang="0">
                <a:pos x="connsiteX47478" y="connsiteY47478"/>
              </a:cxn>
              <a:cxn ang="0">
                <a:pos x="connsiteX47479" y="connsiteY47479"/>
              </a:cxn>
              <a:cxn ang="0">
                <a:pos x="connsiteX47480" y="connsiteY47480"/>
              </a:cxn>
              <a:cxn ang="0">
                <a:pos x="connsiteX47481" y="connsiteY47481"/>
              </a:cxn>
              <a:cxn ang="0">
                <a:pos x="connsiteX47482" y="connsiteY47482"/>
              </a:cxn>
              <a:cxn ang="0">
                <a:pos x="connsiteX47483" y="connsiteY47483"/>
              </a:cxn>
              <a:cxn ang="0">
                <a:pos x="connsiteX47484" y="connsiteY47484"/>
              </a:cxn>
              <a:cxn ang="0">
                <a:pos x="connsiteX47485" y="connsiteY47485"/>
              </a:cxn>
              <a:cxn ang="0">
                <a:pos x="connsiteX47486" y="connsiteY47486"/>
              </a:cxn>
              <a:cxn ang="0">
                <a:pos x="connsiteX47487" y="connsiteY47487"/>
              </a:cxn>
              <a:cxn ang="0">
                <a:pos x="connsiteX47488" y="connsiteY47488"/>
              </a:cxn>
              <a:cxn ang="0">
                <a:pos x="connsiteX47489" y="connsiteY47489"/>
              </a:cxn>
              <a:cxn ang="0">
                <a:pos x="connsiteX47490" y="connsiteY47490"/>
              </a:cxn>
              <a:cxn ang="0">
                <a:pos x="connsiteX47491" y="connsiteY47491"/>
              </a:cxn>
              <a:cxn ang="0">
                <a:pos x="connsiteX47492" y="connsiteY47492"/>
              </a:cxn>
              <a:cxn ang="0">
                <a:pos x="connsiteX47493" y="connsiteY47493"/>
              </a:cxn>
              <a:cxn ang="0">
                <a:pos x="connsiteX47494" y="connsiteY47494"/>
              </a:cxn>
              <a:cxn ang="0">
                <a:pos x="connsiteX47495" y="connsiteY47495"/>
              </a:cxn>
              <a:cxn ang="0">
                <a:pos x="connsiteX47496" y="connsiteY47496"/>
              </a:cxn>
              <a:cxn ang="0">
                <a:pos x="connsiteX47497" y="connsiteY47497"/>
              </a:cxn>
              <a:cxn ang="0">
                <a:pos x="connsiteX47498" y="connsiteY47498"/>
              </a:cxn>
              <a:cxn ang="0">
                <a:pos x="connsiteX47499" y="connsiteY47499"/>
              </a:cxn>
              <a:cxn ang="0">
                <a:pos x="connsiteX47500" y="connsiteY47500"/>
              </a:cxn>
              <a:cxn ang="0">
                <a:pos x="connsiteX47501" y="connsiteY47501"/>
              </a:cxn>
              <a:cxn ang="0">
                <a:pos x="connsiteX47502" y="connsiteY47502"/>
              </a:cxn>
              <a:cxn ang="0">
                <a:pos x="connsiteX47503" y="connsiteY47503"/>
              </a:cxn>
              <a:cxn ang="0">
                <a:pos x="connsiteX47504" y="connsiteY47504"/>
              </a:cxn>
              <a:cxn ang="0">
                <a:pos x="connsiteX47505" y="connsiteY47505"/>
              </a:cxn>
              <a:cxn ang="0">
                <a:pos x="connsiteX47506" y="connsiteY47506"/>
              </a:cxn>
              <a:cxn ang="0">
                <a:pos x="connsiteX47507" y="connsiteY47507"/>
              </a:cxn>
              <a:cxn ang="0">
                <a:pos x="connsiteX47508" y="connsiteY47508"/>
              </a:cxn>
              <a:cxn ang="0">
                <a:pos x="connsiteX47509" y="connsiteY47509"/>
              </a:cxn>
              <a:cxn ang="0">
                <a:pos x="connsiteX47510" y="connsiteY47510"/>
              </a:cxn>
              <a:cxn ang="0">
                <a:pos x="connsiteX47511" y="connsiteY47511"/>
              </a:cxn>
              <a:cxn ang="0">
                <a:pos x="connsiteX47512" y="connsiteY47512"/>
              </a:cxn>
              <a:cxn ang="0">
                <a:pos x="connsiteX47513" y="connsiteY47513"/>
              </a:cxn>
              <a:cxn ang="0">
                <a:pos x="connsiteX47514" y="connsiteY47514"/>
              </a:cxn>
              <a:cxn ang="0">
                <a:pos x="connsiteX47515" y="connsiteY47515"/>
              </a:cxn>
              <a:cxn ang="0">
                <a:pos x="connsiteX47516" y="connsiteY47516"/>
              </a:cxn>
              <a:cxn ang="0">
                <a:pos x="connsiteX47517" y="connsiteY47517"/>
              </a:cxn>
              <a:cxn ang="0">
                <a:pos x="connsiteX47518" y="connsiteY47518"/>
              </a:cxn>
              <a:cxn ang="0">
                <a:pos x="connsiteX47519" y="connsiteY47519"/>
              </a:cxn>
              <a:cxn ang="0">
                <a:pos x="connsiteX47520" y="connsiteY47520"/>
              </a:cxn>
              <a:cxn ang="0">
                <a:pos x="connsiteX47521" y="connsiteY47521"/>
              </a:cxn>
              <a:cxn ang="0">
                <a:pos x="connsiteX47522" y="connsiteY47522"/>
              </a:cxn>
              <a:cxn ang="0">
                <a:pos x="connsiteX47523" y="connsiteY47523"/>
              </a:cxn>
              <a:cxn ang="0">
                <a:pos x="connsiteX47524" y="connsiteY47524"/>
              </a:cxn>
              <a:cxn ang="0">
                <a:pos x="connsiteX47525" y="connsiteY47525"/>
              </a:cxn>
              <a:cxn ang="0">
                <a:pos x="connsiteX47526" y="connsiteY47526"/>
              </a:cxn>
              <a:cxn ang="0">
                <a:pos x="connsiteX47527" y="connsiteY47527"/>
              </a:cxn>
              <a:cxn ang="0">
                <a:pos x="connsiteX47528" y="connsiteY47528"/>
              </a:cxn>
              <a:cxn ang="0">
                <a:pos x="connsiteX47529" y="connsiteY47529"/>
              </a:cxn>
              <a:cxn ang="0">
                <a:pos x="connsiteX47530" y="connsiteY47530"/>
              </a:cxn>
              <a:cxn ang="0">
                <a:pos x="connsiteX47531" y="connsiteY47531"/>
              </a:cxn>
              <a:cxn ang="0">
                <a:pos x="connsiteX47532" y="connsiteY47532"/>
              </a:cxn>
              <a:cxn ang="0">
                <a:pos x="connsiteX47533" y="connsiteY47533"/>
              </a:cxn>
              <a:cxn ang="0">
                <a:pos x="connsiteX47534" y="connsiteY47534"/>
              </a:cxn>
              <a:cxn ang="0">
                <a:pos x="connsiteX47535" y="connsiteY47535"/>
              </a:cxn>
              <a:cxn ang="0">
                <a:pos x="connsiteX47536" y="connsiteY47536"/>
              </a:cxn>
              <a:cxn ang="0">
                <a:pos x="connsiteX47537" y="connsiteY47537"/>
              </a:cxn>
              <a:cxn ang="0">
                <a:pos x="connsiteX47538" y="connsiteY47538"/>
              </a:cxn>
              <a:cxn ang="0">
                <a:pos x="connsiteX47539" y="connsiteY47539"/>
              </a:cxn>
              <a:cxn ang="0">
                <a:pos x="connsiteX47540" y="connsiteY47540"/>
              </a:cxn>
              <a:cxn ang="0">
                <a:pos x="connsiteX47541" y="connsiteY47541"/>
              </a:cxn>
              <a:cxn ang="0">
                <a:pos x="connsiteX47542" y="connsiteY47542"/>
              </a:cxn>
              <a:cxn ang="0">
                <a:pos x="connsiteX47543" y="connsiteY47543"/>
              </a:cxn>
              <a:cxn ang="0">
                <a:pos x="connsiteX47544" y="connsiteY47544"/>
              </a:cxn>
              <a:cxn ang="0">
                <a:pos x="connsiteX47545" y="connsiteY47545"/>
              </a:cxn>
              <a:cxn ang="0">
                <a:pos x="connsiteX47546" y="connsiteY47546"/>
              </a:cxn>
              <a:cxn ang="0">
                <a:pos x="connsiteX47547" y="connsiteY47547"/>
              </a:cxn>
              <a:cxn ang="0">
                <a:pos x="connsiteX47548" y="connsiteY47548"/>
              </a:cxn>
              <a:cxn ang="0">
                <a:pos x="connsiteX47549" y="connsiteY47549"/>
              </a:cxn>
              <a:cxn ang="0">
                <a:pos x="connsiteX47550" y="connsiteY47550"/>
              </a:cxn>
              <a:cxn ang="0">
                <a:pos x="connsiteX47551" y="connsiteY47551"/>
              </a:cxn>
              <a:cxn ang="0">
                <a:pos x="connsiteX47552" y="connsiteY47552"/>
              </a:cxn>
              <a:cxn ang="0">
                <a:pos x="connsiteX47553" y="connsiteY47553"/>
              </a:cxn>
              <a:cxn ang="0">
                <a:pos x="connsiteX47554" y="connsiteY47554"/>
              </a:cxn>
              <a:cxn ang="0">
                <a:pos x="connsiteX47555" y="connsiteY47555"/>
              </a:cxn>
              <a:cxn ang="0">
                <a:pos x="connsiteX47556" y="connsiteY47556"/>
              </a:cxn>
              <a:cxn ang="0">
                <a:pos x="connsiteX47557" y="connsiteY47557"/>
              </a:cxn>
              <a:cxn ang="0">
                <a:pos x="connsiteX47558" y="connsiteY47558"/>
              </a:cxn>
              <a:cxn ang="0">
                <a:pos x="connsiteX47559" y="connsiteY47559"/>
              </a:cxn>
              <a:cxn ang="0">
                <a:pos x="connsiteX47560" y="connsiteY47560"/>
              </a:cxn>
              <a:cxn ang="0">
                <a:pos x="connsiteX47561" y="connsiteY47561"/>
              </a:cxn>
              <a:cxn ang="0">
                <a:pos x="connsiteX47562" y="connsiteY47562"/>
              </a:cxn>
              <a:cxn ang="0">
                <a:pos x="connsiteX47563" y="connsiteY47563"/>
              </a:cxn>
              <a:cxn ang="0">
                <a:pos x="connsiteX47564" y="connsiteY47564"/>
              </a:cxn>
              <a:cxn ang="0">
                <a:pos x="connsiteX47565" y="connsiteY47565"/>
              </a:cxn>
              <a:cxn ang="0">
                <a:pos x="connsiteX47566" y="connsiteY47566"/>
              </a:cxn>
              <a:cxn ang="0">
                <a:pos x="connsiteX47567" y="connsiteY47567"/>
              </a:cxn>
              <a:cxn ang="0">
                <a:pos x="connsiteX47568" y="connsiteY47568"/>
              </a:cxn>
              <a:cxn ang="0">
                <a:pos x="connsiteX47569" y="connsiteY47569"/>
              </a:cxn>
              <a:cxn ang="0">
                <a:pos x="connsiteX47570" y="connsiteY47570"/>
              </a:cxn>
              <a:cxn ang="0">
                <a:pos x="connsiteX47571" y="connsiteY47571"/>
              </a:cxn>
              <a:cxn ang="0">
                <a:pos x="connsiteX47572" y="connsiteY47572"/>
              </a:cxn>
              <a:cxn ang="0">
                <a:pos x="connsiteX47573" y="connsiteY47573"/>
              </a:cxn>
              <a:cxn ang="0">
                <a:pos x="connsiteX47574" y="connsiteY47574"/>
              </a:cxn>
              <a:cxn ang="0">
                <a:pos x="connsiteX47575" y="connsiteY47575"/>
              </a:cxn>
              <a:cxn ang="0">
                <a:pos x="connsiteX47576" y="connsiteY47576"/>
              </a:cxn>
              <a:cxn ang="0">
                <a:pos x="connsiteX47577" y="connsiteY47577"/>
              </a:cxn>
              <a:cxn ang="0">
                <a:pos x="connsiteX47578" y="connsiteY47578"/>
              </a:cxn>
              <a:cxn ang="0">
                <a:pos x="connsiteX47579" y="connsiteY47579"/>
              </a:cxn>
              <a:cxn ang="0">
                <a:pos x="connsiteX47580" y="connsiteY47580"/>
              </a:cxn>
              <a:cxn ang="0">
                <a:pos x="connsiteX47581" y="connsiteY47581"/>
              </a:cxn>
              <a:cxn ang="0">
                <a:pos x="connsiteX47582" y="connsiteY47582"/>
              </a:cxn>
              <a:cxn ang="0">
                <a:pos x="connsiteX47583" y="connsiteY47583"/>
              </a:cxn>
              <a:cxn ang="0">
                <a:pos x="connsiteX47584" y="connsiteY47584"/>
              </a:cxn>
              <a:cxn ang="0">
                <a:pos x="connsiteX47585" y="connsiteY47585"/>
              </a:cxn>
              <a:cxn ang="0">
                <a:pos x="connsiteX47586" y="connsiteY47586"/>
              </a:cxn>
              <a:cxn ang="0">
                <a:pos x="connsiteX47587" y="connsiteY47587"/>
              </a:cxn>
              <a:cxn ang="0">
                <a:pos x="connsiteX47588" y="connsiteY47588"/>
              </a:cxn>
              <a:cxn ang="0">
                <a:pos x="connsiteX47589" y="connsiteY47589"/>
              </a:cxn>
              <a:cxn ang="0">
                <a:pos x="connsiteX47590" y="connsiteY47590"/>
              </a:cxn>
              <a:cxn ang="0">
                <a:pos x="connsiteX47591" y="connsiteY47591"/>
              </a:cxn>
              <a:cxn ang="0">
                <a:pos x="connsiteX47592" y="connsiteY47592"/>
              </a:cxn>
              <a:cxn ang="0">
                <a:pos x="connsiteX47593" y="connsiteY47593"/>
              </a:cxn>
              <a:cxn ang="0">
                <a:pos x="connsiteX47594" y="connsiteY47594"/>
              </a:cxn>
              <a:cxn ang="0">
                <a:pos x="connsiteX47595" y="connsiteY47595"/>
              </a:cxn>
              <a:cxn ang="0">
                <a:pos x="connsiteX47596" y="connsiteY47596"/>
              </a:cxn>
              <a:cxn ang="0">
                <a:pos x="connsiteX47597" y="connsiteY47597"/>
              </a:cxn>
              <a:cxn ang="0">
                <a:pos x="connsiteX47598" y="connsiteY47598"/>
              </a:cxn>
              <a:cxn ang="0">
                <a:pos x="connsiteX47599" y="connsiteY47599"/>
              </a:cxn>
              <a:cxn ang="0">
                <a:pos x="connsiteX47600" y="connsiteY47600"/>
              </a:cxn>
              <a:cxn ang="0">
                <a:pos x="connsiteX47601" y="connsiteY47601"/>
              </a:cxn>
              <a:cxn ang="0">
                <a:pos x="connsiteX47602" y="connsiteY47602"/>
              </a:cxn>
              <a:cxn ang="0">
                <a:pos x="connsiteX47603" y="connsiteY47603"/>
              </a:cxn>
              <a:cxn ang="0">
                <a:pos x="connsiteX47604" y="connsiteY47604"/>
              </a:cxn>
              <a:cxn ang="0">
                <a:pos x="connsiteX47605" y="connsiteY47605"/>
              </a:cxn>
              <a:cxn ang="0">
                <a:pos x="connsiteX47606" y="connsiteY47606"/>
              </a:cxn>
              <a:cxn ang="0">
                <a:pos x="connsiteX47607" y="connsiteY47607"/>
              </a:cxn>
              <a:cxn ang="0">
                <a:pos x="connsiteX47608" y="connsiteY47608"/>
              </a:cxn>
              <a:cxn ang="0">
                <a:pos x="connsiteX47609" y="connsiteY47609"/>
              </a:cxn>
              <a:cxn ang="0">
                <a:pos x="connsiteX47610" y="connsiteY47610"/>
              </a:cxn>
              <a:cxn ang="0">
                <a:pos x="connsiteX47611" y="connsiteY47611"/>
              </a:cxn>
              <a:cxn ang="0">
                <a:pos x="connsiteX47612" y="connsiteY47612"/>
              </a:cxn>
              <a:cxn ang="0">
                <a:pos x="connsiteX47613" y="connsiteY47613"/>
              </a:cxn>
              <a:cxn ang="0">
                <a:pos x="connsiteX47614" y="connsiteY47614"/>
              </a:cxn>
              <a:cxn ang="0">
                <a:pos x="connsiteX47615" y="connsiteY47615"/>
              </a:cxn>
              <a:cxn ang="0">
                <a:pos x="connsiteX47616" y="connsiteY47616"/>
              </a:cxn>
              <a:cxn ang="0">
                <a:pos x="connsiteX47617" y="connsiteY47617"/>
              </a:cxn>
              <a:cxn ang="0">
                <a:pos x="connsiteX47618" y="connsiteY47618"/>
              </a:cxn>
              <a:cxn ang="0">
                <a:pos x="connsiteX47619" y="connsiteY47619"/>
              </a:cxn>
              <a:cxn ang="0">
                <a:pos x="connsiteX47620" y="connsiteY47620"/>
              </a:cxn>
              <a:cxn ang="0">
                <a:pos x="connsiteX47621" y="connsiteY47621"/>
              </a:cxn>
              <a:cxn ang="0">
                <a:pos x="connsiteX47622" y="connsiteY47622"/>
              </a:cxn>
              <a:cxn ang="0">
                <a:pos x="connsiteX47623" y="connsiteY47623"/>
              </a:cxn>
              <a:cxn ang="0">
                <a:pos x="connsiteX47624" y="connsiteY47624"/>
              </a:cxn>
              <a:cxn ang="0">
                <a:pos x="connsiteX47625" y="connsiteY47625"/>
              </a:cxn>
              <a:cxn ang="0">
                <a:pos x="connsiteX47626" y="connsiteY47626"/>
              </a:cxn>
              <a:cxn ang="0">
                <a:pos x="connsiteX47627" y="connsiteY47627"/>
              </a:cxn>
              <a:cxn ang="0">
                <a:pos x="connsiteX47628" y="connsiteY47628"/>
              </a:cxn>
              <a:cxn ang="0">
                <a:pos x="connsiteX47629" y="connsiteY47629"/>
              </a:cxn>
              <a:cxn ang="0">
                <a:pos x="connsiteX47630" y="connsiteY47630"/>
              </a:cxn>
              <a:cxn ang="0">
                <a:pos x="connsiteX47631" y="connsiteY47631"/>
              </a:cxn>
              <a:cxn ang="0">
                <a:pos x="connsiteX47632" y="connsiteY47632"/>
              </a:cxn>
              <a:cxn ang="0">
                <a:pos x="connsiteX47633" y="connsiteY47633"/>
              </a:cxn>
              <a:cxn ang="0">
                <a:pos x="connsiteX47634" y="connsiteY47634"/>
              </a:cxn>
              <a:cxn ang="0">
                <a:pos x="connsiteX47635" y="connsiteY47635"/>
              </a:cxn>
              <a:cxn ang="0">
                <a:pos x="connsiteX47636" y="connsiteY47636"/>
              </a:cxn>
              <a:cxn ang="0">
                <a:pos x="connsiteX47637" y="connsiteY47637"/>
              </a:cxn>
              <a:cxn ang="0">
                <a:pos x="connsiteX47638" y="connsiteY47638"/>
              </a:cxn>
              <a:cxn ang="0">
                <a:pos x="connsiteX47639" y="connsiteY47639"/>
              </a:cxn>
              <a:cxn ang="0">
                <a:pos x="connsiteX47640" y="connsiteY47640"/>
              </a:cxn>
              <a:cxn ang="0">
                <a:pos x="connsiteX47641" y="connsiteY47641"/>
              </a:cxn>
              <a:cxn ang="0">
                <a:pos x="connsiteX47642" y="connsiteY47642"/>
              </a:cxn>
              <a:cxn ang="0">
                <a:pos x="connsiteX47643" y="connsiteY47643"/>
              </a:cxn>
              <a:cxn ang="0">
                <a:pos x="connsiteX47644" y="connsiteY47644"/>
              </a:cxn>
              <a:cxn ang="0">
                <a:pos x="connsiteX47645" y="connsiteY47645"/>
              </a:cxn>
              <a:cxn ang="0">
                <a:pos x="connsiteX47646" y="connsiteY47646"/>
              </a:cxn>
              <a:cxn ang="0">
                <a:pos x="connsiteX47647" y="connsiteY47647"/>
              </a:cxn>
              <a:cxn ang="0">
                <a:pos x="connsiteX47648" y="connsiteY47648"/>
              </a:cxn>
              <a:cxn ang="0">
                <a:pos x="connsiteX47649" y="connsiteY47649"/>
              </a:cxn>
              <a:cxn ang="0">
                <a:pos x="connsiteX47650" y="connsiteY47650"/>
              </a:cxn>
              <a:cxn ang="0">
                <a:pos x="connsiteX47651" y="connsiteY47651"/>
              </a:cxn>
              <a:cxn ang="0">
                <a:pos x="connsiteX47652" y="connsiteY47652"/>
              </a:cxn>
              <a:cxn ang="0">
                <a:pos x="connsiteX47653" y="connsiteY47653"/>
              </a:cxn>
              <a:cxn ang="0">
                <a:pos x="connsiteX47654" y="connsiteY47654"/>
              </a:cxn>
              <a:cxn ang="0">
                <a:pos x="connsiteX47655" y="connsiteY47655"/>
              </a:cxn>
              <a:cxn ang="0">
                <a:pos x="connsiteX47656" y="connsiteY47656"/>
              </a:cxn>
              <a:cxn ang="0">
                <a:pos x="connsiteX47657" y="connsiteY47657"/>
              </a:cxn>
              <a:cxn ang="0">
                <a:pos x="connsiteX47658" y="connsiteY47658"/>
              </a:cxn>
              <a:cxn ang="0">
                <a:pos x="connsiteX47659" y="connsiteY47659"/>
              </a:cxn>
              <a:cxn ang="0">
                <a:pos x="connsiteX47660" y="connsiteY47660"/>
              </a:cxn>
              <a:cxn ang="0">
                <a:pos x="connsiteX47661" y="connsiteY47661"/>
              </a:cxn>
              <a:cxn ang="0">
                <a:pos x="connsiteX47662" y="connsiteY47662"/>
              </a:cxn>
              <a:cxn ang="0">
                <a:pos x="connsiteX47663" y="connsiteY47663"/>
              </a:cxn>
              <a:cxn ang="0">
                <a:pos x="connsiteX47664" y="connsiteY47664"/>
              </a:cxn>
              <a:cxn ang="0">
                <a:pos x="connsiteX47665" y="connsiteY47665"/>
              </a:cxn>
              <a:cxn ang="0">
                <a:pos x="connsiteX47666" y="connsiteY47666"/>
              </a:cxn>
              <a:cxn ang="0">
                <a:pos x="connsiteX47667" y="connsiteY47667"/>
              </a:cxn>
              <a:cxn ang="0">
                <a:pos x="connsiteX47668" y="connsiteY47668"/>
              </a:cxn>
              <a:cxn ang="0">
                <a:pos x="connsiteX47669" y="connsiteY47669"/>
              </a:cxn>
              <a:cxn ang="0">
                <a:pos x="connsiteX47670" y="connsiteY47670"/>
              </a:cxn>
              <a:cxn ang="0">
                <a:pos x="connsiteX47671" y="connsiteY47671"/>
              </a:cxn>
              <a:cxn ang="0">
                <a:pos x="connsiteX47672" y="connsiteY47672"/>
              </a:cxn>
              <a:cxn ang="0">
                <a:pos x="connsiteX47673" y="connsiteY47673"/>
              </a:cxn>
              <a:cxn ang="0">
                <a:pos x="connsiteX47674" y="connsiteY47674"/>
              </a:cxn>
              <a:cxn ang="0">
                <a:pos x="connsiteX47675" y="connsiteY47675"/>
              </a:cxn>
              <a:cxn ang="0">
                <a:pos x="connsiteX47676" y="connsiteY47676"/>
              </a:cxn>
              <a:cxn ang="0">
                <a:pos x="connsiteX47677" y="connsiteY47677"/>
              </a:cxn>
              <a:cxn ang="0">
                <a:pos x="connsiteX47678" y="connsiteY47678"/>
              </a:cxn>
              <a:cxn ang="0">
                <a:pos x="connsiteX47679" y="connsiteY47679"/>
              </a:cxn>
              <a:cxn ang="0">
                <a:pos x="connsiteX47680" y="connsiteY47680"/>
              </a:cxn>
              <a:cxn ang="0">
                <a:pos x="connsiteX47681" y="connsiteY47681"/>
              </a:cxn>
              <a:cxn ang="0">
                <a:pos x="connsiteX47682" y="connsiteY47682"/>
              </a:cxn>
              <a:cxn ang="0">
                <a:pos x="connsiteX47683" y="connsiteY47683"/>
              </a:cxn>
              <a:cxn ang="0">
                <a:pos x="connsiteX47684" y="connsiteY47684"/>
              </a:cxn>
              <a:cxn ang="0">
                <a:pos x="connsiteX47685" y="connsiteY47685"/>
              </a:cxn>
              <a:cxn ang="0">
                <a:pos x="connsiteX47686" y="connsiteY47686"/>
              </a:cxn>
              <a:cxn ang="0">
                <a:pos x="connsiteX47687" y="connsiteY47687"/>
              </a:cxn>
              <a:cxn ang="0">
                <a:pos x="connsiteX47688" y="connsiteY47688"/>
              </a:cxn>
              <a:cxn ang="0">
                <a:pos x="connsiteX47689" y="connsiteY47689"/>
              </a:cxn>
              <a:cxn ang="0">
                <a:pos x="connsiteX47690" y="connsiteY47690"/>
              </a:cxn>
              <a:cxn ang="0">
                <a:pos x="connsiteX47691" y="connsiteY47691"/>
              </a:cxn>
              <a:cxn ang="0">
                <a:pos x="connsiteX47692" y="connsiteY47692"/>
              </a:cxn>
              <a:cxn ang="0">
                <a:pos x="connsiteX47693" y="connsiteY47693"/>
              </a:cxn>
              <a:cxn ang="0">
                <a:pos x="connsiteX47694" y="connsiteY47694"/>
              </a:cxn>
              <a:cxn ang="0">
                <a:pos x="connsiteX47695" y="connsiteY47695"/>
              </a:cxn>
              <a:cxn ang="0">
                <a:pos x="connsiteX47696" y="connsiteY47696"/>
              </a:cxn>
              <a:cxn ang="0">
                <a:pos x="connsiteX47697" y="connsiteY47697"/>
              </a:cxn>
              <a:cxn ang="0">
                <a:pos x="connsiteX47698" y="connsiteY47698"/>
              </a:cxn>
              <a:cxn ang="0">
                <a:pos x="connsiteX47699" y="connsiteY47699"/>
              </a:cxn>
              <a:cxn ang="0">
                <a:pos x="connsiteX47700" y="connsiteY47700"/>
              </a:cxn>
              <a:cxn ang="0">
                <a:pos x="connsiteX47701" y="connsiteY47701"/>
              </a:cxn>
              <a:cxn ang="0">
                <a:pos x="connsiteX47702" y="connsiteY47702"/>
              </a:cxn>
              <a:cxn ang="0">
                <a:pos x="connsiteX47703" y="connsiteY47703"/>
              </a:cxn>
              <a:cxn ang="0">
                <a:pos x="connsiteX47704" y="connsiteY47704"/>
              </a:cxn>
              <a:cxn ang="0">
                <a:pos x="connsiteX47705" y="connsiteY47705"/>
              </a:cxn>
              <a:cxn ang="0">
                <a:pos x="connsiteX47706" y="connsiteY47706"/>
              </a:cxn>
              <a:cxn ang="0">
                <a:pos x="connsiteX47707" y="connsiteY47707"/>
              </a:cxn>
              <a:cxn ang="0">
                <a:pos x="connsiteX47708" y="connsiteY47708"/>
              </a:cxn>
              <a:cxn ang="0">
                <a:pos x="connsiteX47709" y="connsiteY47709"/>
              </a:cxn>
              <a:cxn ang="0">
                <a:pos x="connsiteX47710" y="connsiteY47710"/>
              </a:cxn>
              <a:cxn ang="0">
                <a:pos x="connsiteX47711" y="connsiteY47711"/>
              </a:cxn>
              <a:cxn ang="0">
                <a:pos x="connsiteX47712" y="connsiteY47712"/>
              </a:cxn>
              <a:cxn ang="0">
                <a:pos x="connsiteX47713" y="connsiteY47713"/>
              </a:cxn>
              <a:cxn ang="0">
                <a:pos x="connsiteX47714" y="connsiteY47714"/>
              </a:cxn>
              <a:cxn ang="0">
                <a:pos x="connsiteX47715" y="connsiteY47715"/>
              </a:cxn>
              <a:cxn ang="0">
                <a:pos x="connsiteX47716" y="connsiteY47716"/>
              </a:cxn>
              <a:cxn ang="0">
                <a:pos x="connsiteX47717" y="connsiteY47717"/>
              </a:cxn>
              <a:cxn ang="0">
                <a:pos x="connsiteX47718" y="connsiteY47718"/>
              </a:cxn>
              <a:cxn ang="0">
                <a:pos x="connsiteX47719" y="connsiteY47719"/>
              </a:cxn>
              <a:cxn ang="0">
                <a:pos x="connsiteX47720" y="connsiteY47720"/>
              </a:cxn>
              <a:cxn ang="0">
                <a:pos x="connsiteX47721" y="connsiteY47721"/>
              </a:cxn>
              <a:cxn ang="0">
                <a:pos x="connsiteX47722" y="connsiteY47722"/>
              </a:cxn>
              <a:cxn ang="0">
                <a:pos x="connsiteX47723" y="connsiteY47723"/>
              </a:cxn>
              <a:cxn ang="0">
                <a:pos x="connsiteX47724" y="connsiteY47724"/>
              </a:cxn>
              <a:cxn ang="0">
                <a:pos x="connsiteX47725" y="connsiteY47725"/>
              </a:cxn>
              <a:cxn ang="0">
                <a:pos x="connsiteX47726" y="connsiteY47726"/>
              </a:cxn>
              <a:cxn ang="0">
                <a:pos x="connsiteX47727" y="connsiteY47727"/>
              </a:cxn>
              <a:cxn ang="0">
                <a:pos x="connsiteX47728" y="connsiteY47728"/>
              </a:cxn>
              <a:cxn ang="0">
                <a:pos x="connsiteX47729" y="connsiteY47729"/>
              </a:cxn>
              <a:cxn ang="0">
                <a:pos x="connsiteX47730" y="connsiteY47730"/>
              </a:cxn>
              <a:cxn ang="0">
                <a:pos x="connsiteX47731" y="connsiteY47731"/>
              </a:cxn>
              <a:cxn ang="0">
                <a:pos x="connsiteX47732" y="connsiteY47732"/>
              </a:cxn>
              <a:cxn ang="0">
                <a:pos x="connsiteX47733" y="connsiteY47733"/>
              </a:cxn>
              <a:cxn ang="0">
                <a:pos x="connsiteX47734" y="connsiteY47734"/>
              </a:cxn>
              <a:cxn ang="0">
                <a:pos x="connsiteX47735" y="connsiteY47735"/>
              </a:cxn>
              <a:cxn ang="0">
                <a:pos x="connsiteX47736" y="connsiteY47736"/>
              </a:cxn>
              <a:cxn ang="0">
                <a:pos x="connsiteX47737" y="connsiteY47737"/>
              </a:cxn>
              <a:cxn ang="0">
                <a:pos x="connsiteX47738" y="connsiteY47738"/>
              </a:cxn>
              <a:cxn ang="0">
                <a:pos x="connsiteX47739" y="connsiteY47739"/>
              </a:cxn>
              <a:cxn ang="0">
                <a:pos x="connsiteX47740" y="connsiteY47740"/>
              </a:cxn>
              <a:cxn ang="0">
                <a:pos x="connsiteX47741" y="connsiteY47741"/>
              </a:cxn>
              <a:cxn ang="0">
                <a:pos x="connsiteX47742" y="connsiteY47742"/>
              </a:cxn>
              <a:cxn ang="0">
                <a:pos x="connsiteX47743" y="connsiteY47743"/>
              </a:cxn>
              <a:cxn ang="0">
                <a:pos x="connsiteX47744" y="connsiteY47744"/>
              </a:cxn>
              <a:cxn ang="0">
                <a:pos x="connsiteX47745" y="connsiteY47745"/>
              </a:cxn>
              <a:cxn ang="0">
                <a:pos x="connsiteX47746" y="connsiteY47746"/>
              </a:cxn>
              <a:cxn ang="0">
                <a:pos x="connsiteX47747" y="connsiteY47747"/>
              </a:cxn>
              <a:cxn ang="0">
                <a:pos x="connsiteX47748" y="connsiteY47748"/>
              </a:cxn>
              <a:cxn ang="0">
                <a:pos x="connsiteX47749" y="connsiteY47749"/>
              </a:cxn>
              <a:cxn ang="0">
                <a:pos x="connsiteX47750" y="connsiteY47750"/>
              </a:cxn>
              <a:cxn ang="0">
                <a:pos x="connsiteX47751" y="connsiteY47751"/>
              </a:cxn>
              <a:cxn ang="0">
                <a:pos x="connsiteX47752" y="connsiteY47752"/>
              </a:cxn>
              <a:cxn ang="0">
                <a:pos x="connsiteX47753" y="connsiteY47753"/>
              </a:cxn>
              <a:cxn ang="0">
                <a:pos x="connsiteX47754" y="connsiteY47754"/>
              </a:cxn>
              <a:cxn ang="0">
                <a:pos x="connsiteX47755" y="connsiteY47755"/>
              </a:cxn>
              <a:cxn ang="0">
                <a:pos x="connsiteX47756" y="connsiteY47756"/>
              </a:cxn>
              <a:cxn ang="0">
                <a:pos x="connsiteX47757" y="connsiteY47757"/>
              </a:cxn>
              <a:cxn ang="0">
                <a:pos x="connsiteX47758" y="connsiteY47758"/>
              </a:cxn>
              <a:cxn ang="0">
                <a:pos x="connsiteX47759" y="connsiteY47759"/>
              </a:cxn>
              <a:cxn ang="0">
                <a:pos x="connsiteX47760" y="connsiteY47760"/>
              </a:cxn>
              <a:cxn ang="0">
                <a:pos x="connsiteX47761" y="connsiteY47761"/>
              </a:cxn>
              <a:cxn ang="0">
                <a:pos x="connsiteX47762" y="connsiteY47762"/>
              </a:cxn>
              <a:cxn ang="0">
                <a:pos x="connsiteX47763" y="connsiteY47763"/>
              </a:cxn>
              <a:cxn ang="0">
                <a:pos x="connsiteX47764" y="connsiteY47764"/>
              </a:cxn>
              <a:cxn ang="0">
                <a:pos x="connsiteX47765" y="connsiteY47765"/>
              </a:cxn>
              <a:cxn ang="0">
                <a:pos x="connsiteX47766" y="connsiteY47766"/>
              </a:cxn>
              <a:cxn ang="0">
                <a:pos x="connsiteX47767" y="connsiteY47767"/>
              </a:cxn>
              <a:cxn ang="0">
                <a:pos x="connsiteX47768" y="connsiteY47768"/>
              </a:cxn>
              <a:cxn ang="0">
                <a:pos x="connsiteX47769" y="connsiteY47769"/>
              </a:cxn>
              <a:cxn ang="0">
                <a:pos x="connsiteX47770" y="connsiteY47770"/>
              </a:cxn>
              <a:cxn ang="0">
                <a:pos x="connsiteX47771" y="connsiteY47771"/>
              </a:cxn>
              <a:cxn ang="0">
                <a:pos x="connsiteX47772" y="connsiteY47772"/>
              </a:cxn>
              <a:cxn ang="0">
                <a:pos x="connsiteX47773" y="connsiteY47773"/>
              </a:cxn>
              <a:cxn ang="0">
                <a:pos x="connsiteX47774" y="connsiteY47774"/>
              </a:cxn>
              <a:cxn ang="0">
                <a:pos x="connsiteX47775" y="connsiteY47775"/>
              </a:cxn>
              <a:cxn ang="0">
                <a:pos x="connsiteX47776" y="connsiteY47776"/>
              </a:cxn>
              <a:cxn ang="0">
                <a:pos x="connsiteX47777" y="connsiteY47777"/>
              </a:cxn>
              <a:cxn ang="0">
                <a:pos x="connsiteX47778" y="connsiteY47778"/>
              </a:cxn>
              <a:cxn ang="0">
                <a:pos x="connsiteX47779" y="connsiteY47779"/>
              </a:cxn>
              <a:cxn ang="0">
                <a:pos x="connsiteX47780" y="connsiteY47780"/>
              </a:cxn>
              <a:cxn ang="0">
                <a:pos x="connsiteX47781" y="connsiteY47781"/>
              </a:cxn>
              <a:cxn ang="0">
                <a:pos x="connsiteX47782" y="connsiteY47782"/>
              </a:cxn>
              <a:cxn ang="0">
                <a:pos x="connsiteX47783" y="connsiteY47783"/>
              </a:cxn>
              <a:cxn ang="0">
                <a:pos x="connsiteX47784" y="connsiteY47784"/>
              </a:cxn>
              <a:cxn ang="0">
                <a:pos x="connsiteX47785" y="connsiteY47785"/>
              </a:cxn>
              <a:cxn ang="0">
                <a:pos x="connsiteX47786" y="connsiteY47786"/>
              </a:cxn>
              <a:cxn ang="0">
                <a:pos x="connsiteX47787" y="connsiteY47787"/>
              </a:cxn>
              <a:cxn ang="0">
                <a:pos x="connsiteX47788" y="connsiteY47788"/>
              </a:cxn>
              <a:cxn ang="0">
                <a:pos x="connsiteX47789" y="connsiteY47789"/>
              </a:cxn>
              <a:cxn ang="0">
                <a:pos x="connsiteX47790" y="connsiteY47790"/>
              </a:cxn>
              <a:cxn ang="0">
                <a:pos x="connsiteX47791" y="connsiteY47791"/>
              </a:cxn>
              <a:cxn ang="0">
                <a:pos x="connsiteX47792" y="connsiteY47792"/>
              </a:cxn>
              <a:cxn ang="0">
                <a:pos x="connsiteX47793" y="connsiteY47793"/>
              </a:cxn>
              <a:cxn ang="0">
                <a:pos x="connsiteX47794" y="connsiteY47794"/>
              </a:cxn>
              <a:cxn ang="0">
                <a:pos x="connsiteX47795" y="connsiteY47795"/>
              </a:cxn>
              <a:cxn ang="0">
                <a:pos x="connsiteX47796" y="connsiteY47796"/>
              </a:cxn>
              <a:cxn ang="0">
                <a:pos x="connsiteX47797" y="connsiteY47797"/>
              </a:cxn>
              <a:cxn ang="0">
                <a:pos x="connsiteX47798" y="connsiteY47798"/>
              </a:cxn>
              <a:cxn ang="0">
                <a:pos x="connsiteX47799" y="connsiteY47799"/>
              </a:cxn>
              <a:cxn ang="0">
                <a:pos x="connsiteX47800" y="connsiteY47800"/>
              </a:cxn>
              <a:cxn ang="0">
                <a:pos x="connsiteX47801" y="connsiteY47801"/>
              </a:cxn>
              <a:cxn ang="0">
                <a:pos x="connsiteX47802" y="connsiteY47802"/>
              </a:cxn>
              <a:cxn ang="0">
                <a:pos x="connsiteX47803" y="connsiteY47803"/>
              </a:cxn>
              <a:cxn ang="0">
                <a:pos x="connsiteX47804" y="connsiteY47804"/>
              </a:cxn>
              <a:cxn ang="0">
                <a:pos x="connsiteX47805" y="connsiteY47805"/>
              </a:cxn>
              <a:cxn ang="0">
                <a:pos x="connsiteX47806" y="connsiteY47806"/>
              </a:cxn>
              <a:cxn ang="0">
                <a:pos x="connsiteX47807" y="connsiteY47807"/>
              </a:cxn>
              <a:cxn ang="0">
                <a:pos x="connsiteX47808" y="connsiteY47808"/>
              </a:cxn>
              <a:cxn ang="0">
                <a:pos x="connsiteX47809" y="connsiteY47809"/>
              </a:cxn>
              <a:cxn ang="0">
                <a:pos x="connsiteX47810" y="connsiteY47810"/>
              </a:cxn>
              <a:cxn ang="0">
                <a:pos x="connsiteX47811" y="connsiteY47811"/>
              </a:cxn>
              <a:cxn ang="0">
                <a:pos x="connsiteX47812" y="connsiteY47812"/>
              </a:cxn>
              <a:cxn ang="0">
                <a:pos x="connsiteX47813" y="connsiteY47813"/>
              </a:cxn>
              <a:cxn ang="0">
                <a:pos x="connsiteX47814" y="connsiteY47814"/>
              </a:cxn>
              <a:cxn ang="0">
                <a:pos x="connsiteX47815" y="connsiteY47815"/>
              </a:cxn>
              <a:cxn ang="0">
                <a:pos x="connsiteX47816" y="connsiteY47816"/>
              </a:cxn>
              <a:cxn ang="0">
                <a:pos x="connsiteX47817" y="connsiteY47817"/>
              </a:cxn>
              <a:cxn ang="0">
                <a:pos x="connsiteX47818" y="connsiteY47818"/>
              </a:cxn>
              <a:cxn ang="0">
                <a:pos x="connsiteX47819" y="connsiteY47819"/>
              </a:cxn>
              <a:cxn ang="0">
                <a:pos x="connsiteX47820" y="connsiteY47820"/>
              </a:cxn>
              <a:cxn ang="0">
                <a:pos x="connsiteX47821" y="connsiteY47821"/>
              </a:cxn>
              <a:cxn ang="0">
                <a:pos x="connsiteX47822" y="connsiteY47822"/>
              </a:cxn>
              <a:cxn ang="0">
                <a:pos x="connsiteX47823" y="connsiteY47823"/>
              </a:cxn>
              <a:cxn ang="0">
                <a:pos x="connsiteX47824" y="connsiteY47824"/>
              </a:cxn>
              <a:cxn ang="0">
                <a:pos x="connsiteX47825" y="connsiteY47825"/>
              </a:cxn>
              <a:cxn ang="0">
                <a:pos x="connsiteX47826" y="connsiteY47826"/>
              </a:cxn>
              <a:cxn ang="0">
                <a:pos x="connsiteX47827" y="connsiteY47827"/>
              </a:cxn>
              <a:cxn ang="0">
                <a:pos x="connsiteX47828" y="connsiteY47828"/>
              </a:cxn>
              <a:cxn ang="0">
                <a:pos x="connsiteX47829" y="connsiteY47829"/>
              </a:cxn>
              <a:cxn ang="0">
                <a:pos x="connsiteX47830" y="connsiteY47830"/>
              </a:cxn>
              <a:cxn ang="0">
                <a:pos x="connsiteX47831" y="connsiteY47831"/>
              </a:cxn>
              <a:cxn ang="0">
                <a:pos x="connsiteX47832" y="connsiteY47832"/>
              </a:cxn>
              <a:cxn ang="0">
                <a:pos x="connsiteX47833" y="connsiteY47833"/>
              </a:cxn>
              <a:cxn ang="0">
                <a:pos x="connsiteX47834" y="connsiteY47834"/>
              </a:cxn>
              <a:cxn ang="0">
                <a:pos x="connsiteX47835" y="connsiteY47835"/>
              </a:cxn>
              <a:cxn ang="0">
                <a:pos x="connsiteX47836" y="connsiteY47836"/>
              </a:cxn>
              <a:cxn ang="0">
                <a:pos x="connsiteX47837" y="connsiteY47837"/>
              </a:cxn>
              <a:cxn ang="0">
                <a:pos x="connsiteX47838" y="connsiteY47838"/>
              </a:cxn>
              <a:cxn ang="0">
                <a:pos x="connsiteX47839" y="connsiteY47839"/>
              </a:cxn>
              <a:cxn ang="0">
                <a:pos x="connsiteX47840" y="connsiteY47840"/>
              </a:cxn>
              <a:cxn ang="0">
                <a:pos x="connsiteX47841" y="connsiteY47841"/>
              </a:cxn>
              <a:cxn ang="0">
                <a:pos x="connsiteX47842" y="connsiteY47842"/>
              </a:cxn>
              <a:cxn ang="0">
                <a:pos x="connsiteX47843" y="connsiteY47843"/>
              </a:cxn>
              <a:cxn ang="0">
                <a:pos x="connsiteX47844" y="connsiteY47844"/>
              </a:cxn>
              <a:cxn ang="0">
                <a:pos x="connsiteX47845" y="connsiteY47845"/>
              </a:cxn>
              <a:cxn ang="0">
                <a:pos x="connsiteX47846" y="connsiteY47846"/>
              </a:cxn>
              <a:cxn ang="0">
                <a:pos x="connsiteX47847" y="connsiteY47847"/>
              </a:cxn>
              <a:cxn ang="0">
                <a:pos x="connsiteX47848" y="connsiteY47848"/>
              </a:cxn>
              <a:cxn ang="0">
                <a:pos x="connsiteX47849" y="connsiteY47849"/>
              </a:cxn>
              <a:cxn ang="0">
                <a:pos x="connsiteX47850" y="connsiteY47850"/>
              </a:cxn>
              <a:cxn ang="0">
                <a:pos x="connsiteX47851" y="connsiteY47851"/>
              </a:cxn>
              <a:cxn ang="0">
                <a:pos x="connsiteX47852" y="connsiteY47852"/>
              </a:cxn>
              <a:cxn ang="0">
                <a:pos x="connsiteX47853" y="connsiteY47853"/>
              </a:cxn>
              <a:cxn ang="0">
                <a:pos x="connsiteX47854" y="connsiteY47854"/>
              </a:cxn>
              <a:cxn ang="0">
                <a:pos x="connsiteX47855" y="connsiteY47855"/>
              </a:cxn>
              <a:cxn ang="0">
                <a:pos x="connsiteX47856" y="connsiteY47856"/>
              </a:cxn>
              <a:cxn ang="0">
                <a:pos x="connsiteX47857" y="connsiteY47857"/>
              </a:cxn>
              <a:cxn ang="0">
                <a:pos x="connsiteX47858" y="connsiteY47858"/>
              </a:cxn>
              <a:cxn ang="0">
                <a:pos x="connsiteX47859" y="connsiteY47859"/>
              </a:cxn>
              <a:cxn ang="0">
                <a:pos x="connsiteX47860" y="connsiteY47860"/>
              </a:cxn>
              <a:cxn ang="0">
                <a:pos x="connsiteX47861" y="connsiteY47861"/>
              </a:cxn>
              <a:cxn ang="0">
                <a:pos x="connsiteX47862" y="connsiteY47862"/>
              </a:cxn>
              <a:cxn ang="0">
                <a:pos x="connsiteX47863" y="connsiteY47863"/>
              </a:cxn>
              <a:cxn ang="0">
                <a:pos x="connsiteX47864" y="connsiteY47864"/>
              </a:cxn>
              <a:cxn ang="0">
                <a:pos x="connsiteX47865" y="connsiteY47865"/>
              </a:cxn>
              <a:cxn ang="0">
                <a:pos x="connsiteX47866" y="connsiteY47866"/>
              </a:cxn>
              <a:cxn ang="0">
                <a:pos x="connsiteX47867" y="connsiteY47867"/>
              </a:cxn>
              <a:cxn ang="0">
                <a:pos x="connsiteX47868" y="connsiteY47868"/>
              </a:cxn>
              <a:cxn ang="0">
                <a:pos x="connsiteX47869" y="connsiteY47869"/>
              </a:cxn>
              <a:cxn ang="0">
                <a:pos x="connsiteX47870" y="connsiteY47870"/>
              </a:cxn>
              <a:cxn ang="0">
                <a:pos x="connsiteX47871" y="connsiteY47871"/>
              </a:cxn>
              <a:cxn ang="0">
                <a:pos x="connsiteX47872" y="connsiteY47872"/>
              </a:cxn>
              <a:cxn ang="0">
                <a:pos x="connsiteX47873" y="connsiteY47873"/>
              </a:cxn>
              <a:cxn ang="0">
                <a:pos x="connsiteX47874" y="connsiteY47874"/>
              </a:cxn>
              <a:cxn ang="0">
                <a:pos x="connsiteX47875" y="connsiteY47875"/>
              </a:cxn>
              <a:cxn ang="0">
                <a:pos x="connsiteX47876" y="connsiteY47876"/>
              </a:cxn>
              <a:cxn ang="0">
                <a:pos x="connsiteX47877" y="connsiteY47877"/>
              </a:cxn>
              <a:cxn ang="0">
                <a:pos x="connsiteX47878" y="connsiteY47878"/>
              </a:cxn>
              <a:cxn ang="0">
                <a:pos x="connsiteX47879" y="connsiteY47879"/>
              </a:cxn>
              <a:cxn ang="0">
                <a:pos x="connsiteX47880" y="connsiteY47880"/>
              </a:cxn>
              <a:cxn ang="0">
                <a:pos x="connsiteX47881" y="connsiteY47881"/>
              </a:cxn>
              <a:cxn ang="0">
                <a:pos x="connsiteX47882" y="connsiteY47882"/>
              </a:cxn>
              <a:cxn ang="0">
                <a:pos x="connsiteX47883" y="connsiteY47883"/>
              </a:cxn>
              <a:cxn ang="0">
                <a:pos x="connsiteX47884" y="connsiteY47884"/>
              </a:cxn>
              <a:cxn ang="0">
                <a:pos x="connsiteX47885" y="connsiteY47885"/>
              </a:cxn>
              <a:cxn ang="0">
                <a:pos x="connsiteX47886" y="connsiteY47886"/>
              </a:cxn>
              <a:cxn ang="0">
                <a:pos x="connsiteX47887" y="connsiteY47887"/>
              </a:cxn>
              <a:cxn ang="0">
                <a:pos x="connsiteX47888" y="connsiteY47888"/>
              </a:cxn>
              <a:cxn ang="0">
                <a:pos x="connsiteX47889" y="connsiteY47889"/>
              </a:cxn>
              <a:cxn ang="0">
                <a:pos x="connsiteX47890" y="connsiteY47890"/>
              </a:cxn>
              <a:cxn ang="0">
                <a:pos x="connsiteX47891" y="connsiteY47891"/>
              </a:cxn>
              <a:cxn ang="0">
                <a:pos x="connsiteX47892" y="connsiteY47892"/>
              </a:cxn>
              <a:cxn ang="0">
                <a:pos x="connsiteX47893" y="connsiteY47893"/>
              </a:cxn>
              <a:cxn ang="0">
                <a:pos x="connsiteX47894" y="connsiteY47894"/>
              </a:cxn>
              <a:cxn ang="0">
                <a:pos x="connsiteX47895" y="connsiteY47895"/>
              </a:cxn>
              <a:cxn ang="0">
                <a:pos x="connsiteX47896" y="connsiteY47896"/>
              </a:cxn>
              <a:cxn ang="0">
                <a:pos x="connsiteX47897" y="connsiteY47897"/>
              </a:cxn>
              <a:cxn ang="0">
                <a:pos x="connsiteX47898" y="connsiteY47898"/>
              </a:cxn>
              <a:cxn ang="0">
                <a:pos x="connsiteX47899" y="connsiteY47899"/>
              </a:cxn>
              <a:cxn ang="0">
                <a:pos x="connsiteX47900" y="connsiteY47900"/>
              </a:cxn>
              <a:cxn ang="0">
                <a:pos x="connsiteX47901" y="connsiteY47901"/>
              </a:cxn>
              <a:cxn ang="0">
                <a:pos x="connsiteX47902" y="connsiteY47902"/>
              </a:cxn>
              <a:cxn ang="0">
                <a:pos x="connsiteX47903" y="connsiteY47903"/>
              </a:cxn>
              <a:cxn ang="0">
                <a:pos x="connsiteX47904" y="connsiteY47904"/>
              </a:cxn>
              <a:cxn ang="0">
                <a:pos x="connsiteX47905" y="connsiteY47905"/>
              </a:cxn>
              <a:cxn ang="0">
                <a:pos x="connsiteX47906" y="connsiteY47906"/>
              </a:cxn>
              <a:cxn ang="0">
                <a:pos x="connsiteX47907" y="connsiteY47907"/>
              </a:cxn>
              <a:cxn ang="0">
                <a:pos x="connsiteX47908" y="connsiteY47908"/>
              </a:cxn>
              <a:cxn ang="0">
                <a:pos x="connsiteX47909" y="connsiteY47909"/>
              </a:cxn>
              <a:cxn ang="0">
                <a:pos x="connsiteX47910" y="connsiteY47910"/>
              </a:cxn>
              <a:cxn ang="0">
                <a:pos x="connsiteX47911" y="connsiteY47911"/>
              </a:cxn>
              <a:cxn ang="0">
                <a:pos x="connsiteX47912" y="connsiteY47912"/>
              </a:cxn>
              <a:cxn ang="0">
                <a:pos x="connsiteX47913" y="connsiteY47913"/>
              </a:cxn>
              <a:cxn ang="0">
                <a:pos x="connsiteX47914" y="connsiteY47914"/>
              </a:cxn>
              <a:cxn ang="0">
                <a:pos x="connsiteX47915" y="connsiteY47915"/>
              </a:cxn>
              <a:cxn ang="0">
                <a:pos x="connsiteX47916" y="connsiteY47916"/>
              </a:cxn>
              <a:cxn ang="0">
                <a:pos x="connsiteX47917" y="connsiteY47917"/>
              </a:cxn>
              <a:cxn ang="0">
                <a:pos x="connsiteX47918" y="connsiteY47918"/>
              </a:cxn>
              <a:cxn ang="0">
                <a:pos x="connsiteX47919" y="connsiteY47919"/>
              </a:cxn>
              <a:cxn ang="0">
                <a:pos x="connsiteX47920" y="connsiteY47920"/>
              </a:cxn>
              <a:cxn ang="0">
                <a:pos x="connsiteX47921" y="connsiteY47921"/>
              </a:cxn>
              <a:cxn ang="0">
                <a:pos x="connsiteX47922" y="connsiteY47922"/>
              </a:cxn>
              <a:cxn ang="0">
                <a:pos x="connsiteX47923" y="connsiteY47923"/>
              </a:cxn>
              <a:cxn ang="0">
                <a:pos x="connsiteX47924" y="connsiteY47924"/>
              </a:cxn>
              <a:cxn ang="0">
                <a:pos x="connsiteX47925" y="connsiteY47925"/>
              </a:cxn>
              <a:cxn ang="0">
                <a:pos x="connsiteX47926" y="connsiteY47926"/>
              </a:cxn>
              <a:cxn ang="0">
                <a:pos x="connsiteX47927" y="connsiteY47927"/>
              </a:cxn>
              <a:cxn ang="0">
                <a:pos x="connsiteX47928" y="connsiteY47928"/>
              </a:cxn>
              <a:cxn ang="0">
                <a:pos x="connsiteX47929" y="connsiteY47929"/>
              </a:cxn>
              <a:cxn ang="0">
                <a:pos x="connsiteX47930" y="connsiteY47930"/>
              </a:cxn>
              <a:cxn ang="0">
                <a:pos x="connsiteX47931" y="connsiteY47931"/>
              </a:cxn>
              <a:cxn ang="0">
                <a:pos x="connsiteX47932" y="connsiteY47932"/>
              </a:cxn>
              <a:cxn ang="0">
                <a:pos x="connsiteX47933" y="connsiteY47933"/>
              </a:cxn>
              <a:cxn ang="0">
                <a:pos x="connsiteX47934" y="connsiteY47934"/>
              </a:cxn>
              <a:cxn ang="0">
                <a:pos x="connsiteX47935" y="connsiteY47935"/>
              </a:cxn>
              <a:cxn ang="0">
                <a:pos x="connsiteX47936" y="connsiteY47936"/>
              </a:cxn>
              <a:cxn ang="0">
                <a:pos x="connsiteX47937" y="connsiteY47937"/>
              </a:cxn>
              <a:cxn ang="0">
                <a:pos x="connsiteX47938" y="connsiteY47938"/>
              </a:cxn>
              <a:cxn ang="0">
                <a:pos x="connsiteX47939" y="connsiteY47939"/>
              </a:cxn>
              <a:cxn ang="0">
                <a:pos x="connsiteX47940" y="connsiteY47940"/>
              </a:cxn>
              <a:cxn ang="0">
                <a:pos x="connsiteX47941" y="connsiteY47941"/>
              </a:cxn>
              <a:cxn ang="0">
                <a:pos x="connsiteX47942" y="connsiteY47942"/>
              </a:cxn>
              <a:cxn ang="0">
                <a:pos x="connsiteX47943" y="connsiteY47943"/>
              </a:cxn>
              <a:cxn ang="0">
                <a:pos x="connsiteX47944" y="connsiteY47944"/>
              </a:cxn>
              <a:cxn ang="0">
                <a:pos x="connsiteX47945" y="connsiteY47945"/>
              </a:cxn>
              <a:cxn ang="0">
                <a:pos x="connsiteX47946" y="connsiteY47946"/>
              </a:cxn>
              <a:cxn ang="0">
                <a:pos x="connsiteX47947" y="connsiteY47947"/>
              </a:cxn>
              <a:cxn ang="0">
                <a:pos x="connsiteX47948" y="connsiteY47948"/>
              </a:cxn>
              <a:cxn ang="0">
                <a:pos x="connsiteX47949" y="connsiteY47949"/>
              </a:cxn>
              <a:cxn ang="0">
                <a:pos x="connsiteX47950" y="connsiteY47950"/>
              </a:cxn>
              <a:cxn ang="0">
                <a:pos x="connsiteX47951" y="connsiteY47951"/>
              </a:cxn>
              <a:cxn ang="0">
                <a:pos x="connsiteX47952" y="connsiteY47952"/>
              </a:cxn>
              <a:cxn ang="0">
                <a:pos x="connsiteX47953" y="connsiteY47953"/>
              </a:cxn>
              <a:cxn ang="0">
                <a:pos x="connsiteX47954" y="connsiteY47954"/>
              </a:cxn>
              <a:cxn ang="0">
                <a:pos x="connsiteX47955" y="connsiteY47955"/>
              </a:cxn>
              <a:cxn ang="0">
                <a:pos x="connsiteX47956" y="connsiteY47956"/>
              </a:cxn>
              <a:cxn ang="0">
                <a:pos x="connsiteX47957" y="connsiteY47957"/>
              </a:cxn>
              <a:cxn ang="0">
                <a:pos x="connsiteX47958" y="connsiteY47958"/>
              </a:cxn>
              <a:cxn ang="0">
                <a:pos x="connsiteX47959" y="connsiteY47959"/>
              </a:cxn>
              <a:cxn ang="0">
                <a:pos x="connsiteX47960" y="connsiteY47960"/>
              </a:cxn>
              <a:cxn ang="0">
                <a:pos x="connsiteX47961" y="connsiteY47961"/>
              </a:cxn>
              <a:cxn ang="0">
                <a:pos x="connsiteX47962" y="connsiteY47962"/>
              </a:cxn>
              <a:cxn ang="0">
                <a:pos x="connsiteX47963" y="connsiteY47963"/>
              </a:cxn>
              <a:cxn ang="0">
                <a:pos x="connsiteX47964" y="connsiteY47964"/>
              </a:cxn>
              <a:cxn ang="0">
                <a:pos x="connsiteX47965" y="connsiteY47965"/>
              </a:cxn>
              <a:cxn ang="0">
                <a:pos x="connsiteX47966" y="connsiteY47966"/>
              </a:cxn>
              <a:cxn ang="0">
                <a:pos x="connsiteX47967" y="connsiteY47967"/>
              </a:cxn>
              <a:cxn ang="0">
                <a:pos x="connsiteX47968" y="connsiteY47968"/>
              </a:cxn>
              <a:cxn ang="0">
                <a:pos x="connsiteX47969" y="connsiteY47969"/>
              </a:cxn>
              <a:cxn ang="0">
                <a:pos x="connsiteX47970" y="connsiteY47970"/>
              </a:cxn>
              <a:cxn ang="0">
                <a:pos x="connsiteX47971" y="connsiteY47971"/>
              </a:cxn>
              <a:cxn ang="0">
                <a:pos x="connsiteX47972" y="connsiteY47972"/>
              </a:cxn>
              <a:cxn ang="0">
                <a:pos x="connsiteX47973" y="connsiteY47973"/>
              </a:cxn>
              <a:cxn ang="0">
                <a:pos x="connsiteX47974" y="connsiteY47974"/>
              </a:cxn>
              <a:cxn ang="0">
                <a:pos x="connsiteX47975" y="connsiteY47975"/>
              </a:cxn>
              <a:cxn ang="0">
                <a:pos x="connsiteX47976" y="connsiteY47976"/>
              </a:cxn>
              <a:cxn ang="0">
                <a:pos x="connsiteX47977" y="connsiteY47977"/>
              </a:cxn>
              <a:cxn ang="0">
                <a:pos x="connsiteX47978" y="connsiteY47978"/>
              </a:cxn>
              <a:cxn ang="0">
                <a:pos x="connsiteX47979" y="connsiteY47979"/>
              </a:cxn>
              <a:cxn ang="0">
                <a:pos x="connsiteX47980" y="connsiteY47980"/>
              </a:cxn>
              <a:cxn ang="0">
                <a:pos x="connsiteX47981" y="connsiteY47981"/>
              </a:cxn>
              <a:cxn ang="0">
                <a:pos x="connsiteX47982" y="connsiteY47982"/>
              </a:cxn>
              <a:cxn ang="0">
                <a:pos x="connsiteX47983" y="connsiteY47983"/>
              </a:cxn>
              <a:cxn ang="0">
                <a:pos x="connsiteX47984" y="connsiteY47984"/>
              </a:cxn>
              <a:cxn ang="0">
                <a:pos x="connsiteX47985" y="connsiteY47985"/>
              </a:cxn>
              <a:cxn ang="0">
                <a:pos x="connsiteX47986" y="connsiteY47986"/>
              </a:cxn>
              <a:cxn ang="0">
                <a:pos x="connsiteX47987" y="connsiteY47987"/>
              </a:cxn>
              <a:cxn ang="0">
                <a:pos x="connsiteX47988" y="connsiteY47988"/>
              </a:cxn>
              <a:cxn ang="0">
                <a:pos x="connsiteX47989" y="connsiteY47989"/>
              </a:cxn>
              <a:cxn ang="0">
                <a:pos x="connsiteX47990" y="connsiteY47990"/>
              </a:cxn>
              <a:cxn ang="0">
                <a:pos x="connsiteX47991" y="connsiteY47991"/>
              </a:cxn>
              <a:cxn ang="0">
                <a:pos x="connsiteX47992" y="connsiteY47992"/>
              </a:cxn>
              <a:cxn ang="0">
                <a:pos x="connsiteX47993" y="connsiteY47993"/>
              </a:cxn>
              <a:cxn ang="0">
                <a:pos x="connsiteX47994" y="connsiteY47994"/>
              </a:cxn>
              <a:cxn ang="0">
                <a:pos x="connsiteX47995" y="connsiteY47995"/>
              </a:cxn>
              <a:cxn ang="0">
                <a:pos x="connsiteX47996" y="connsiteY47996"/>
              </a:cxn>
              <a:cxn ang="0">
                <a:pos x="connsiteX47997" y="connsiteY47997"/>
              </a:cxn>
              <a:cxn ang="0">
                <a:pos x="connsiteX47998" y="connsiteY47998"/>
              </a:cxn>
              <a:cxn ang="0">
                <a:pos x="connsiteX47999" y="connsiteY47999"/>
              </a:cxn>
              <a:cxn ang="0">
                <a:pos x="connsiteX48000" y="connsiteY48000"/>
              </a:cxn>
              <a:cxn ang="0">
                <a:pos x="connsiteX48001" y="connsiteY48001"/>
              </a:cxn>
              <a:cxn ang="0">
                <a:pos x="connsiteX48002" y="connsiteY48002"/>
              </a:cxn>
              <a:cxn ang="0">
                <a:pos x="connsiteX48003" y="connsiteY48003"/>
              </a:cxn>
              <a:cxn ang="0">
                <a:pos x="connsiteX48004" y="connsiteY48004"/>
              </a:cxn>
              <a:cxn ang="0">
                <a:pos x="connsiteX48005" y="connsiteY48005"/>
              </a:cxn>
              <a:cxn ang="0">
                <a:pos x="connsiteX48006" y="connsiteY48006"/>
              </a:cxn>
              <a:cxn ang="0">
                <a:pos x="connsiteX48007" y="connsiteY48007"/>
              </a:cxn>
              <a:cxn ang="0">
                <a:pos x="connsiteX48008" y="connsiteY48008"/>
              </a:cxn>
              <a:cxn ang="0">
                <a:pos x="connsiteX48009" y="connsiteY48009"/>
              </a:cxn>
              <a:cxn ang="0">
                <a:pos x="connsiteX48010" y="connsiteY48010"/>
              </a:cxn>
              <a:cxn ang="0">
                <a:pos x="connsiteX48011" y="connsiteY48011"/>
              </a:cxn>
              <a:cxn ang="0">
                <a:pos x="connsiteX48012" y="connsiteY48012"/>
              </a:cxn>
              <a:cxn ang="0">
                <a:pos x="connsiteX48013" y="connsiteY48013"/>
              </a:cxn>
              <a:cxn ang="0">
                <a:pos x="connsiteX48014" y="connsiteY48014"/>
              </a:cxn>
              <a:cxn ang="0">
                <a:pos x="connsiteX48015" y="connsiteY48015"/>
              </a:cxn>
              <a:cxn ang="0">
                <a:pos x="connsiteX48016" y="connsiteY48016"/>
              </a:cxn>
              <a:cxn ang="0">
                <a:pos x="connsiteX48017" y="connsiteY48017"/>
              </a:cxn>
              <a:cxn ang="0">
                <a:pos x="connsiteX48018" y="connsiteY48018"/>
              </a:cxn>
              <a:cxn ang="0">
                <a:pos x="connsiteX48019" y="connsiteY48019"/>
              </a:cxn>
              <a:cxn ang="0">
                <a:pos x="connsiteX48020" y="connsiteY48020"/>
              </a:cxn>
              <a:cxn ang="0">
                <a:pos x="connsiteX48021" y="connsiteY48021"/>
              </a:cxn>
              <a:cxn ang="0">
                <a:pos x="connsiteX48022" y="connsiteY48022"/>
              </a:cxn>
              <a:cxn ang="0">
                <a:pos x="connsiteX48023" y="connsiteY48023"/>
              </a:cxn>
              <a:cxn ang="0">
                <a:pos x="connsiteX48024" y="connsiteY48024"/>
              </a:cxn>
              <a:cxn ang="0">
                <a:pos x="connsiteX48025" y="connsiteY48025"/>
              </a:cxn>
              <a:cxn ang="0">
                <a:pos x="connsiteX48026" y="connsiteY48026"/>
              </a:cxn>
              <a:cxn ang="0">
                <a:pos x="connsiteX48027" y="connsiteY48027"/>
              </a:cxn>
              <a:cxn ang="0">
                <a:pos x="connsiteX48028" y="connsiteY48028"/>
              </a:cxn>
              <a:cxn ang="0">
                <a:pos x="connsiteX48029" y="connsiteY48029"/>
              </a:cxn>
              <a:cxn ang="0">
                <a:pos x="connsiteX48030" y="connsiteY48030"/>
              </a:cxn>
              <a:cxn ang="0">
                <a:pos x="connsiteX48031" y="connsiteY48031"/>
              </a:cxn>
              <a:cxn ang="0">
                <a:pos x="connsiteX48032" y="connsiteY48032"/>
              </a:cxn>
              <a:cxn ang="0">
                <a:pos x="connsiteX48033" y="connsiteY48033"/>
              </a:cxn>
              <a:cxn ang="0">
                <a:pos x="connsiteX48034" y="connsiteY48034"/>
              </a:cxn>
              <a:cxn ang="0">
                <a:pos x="connsiteX48035" y="connsiteY48035"/>
              </a:cxn>
              <a:cxn ang="0">
                <a:pos x="connsiteX48036" y="connsiteY48036"/>
              </a:cxn>
              <a:cxn ang="0">
                <a:pos x="connsiteX48037" y="connsiteY48037"/>
              </a:cxn>
              <a:cxn ang="0">
                <a:pos x="connsiteX48038" y="connsiteY48038"/>
              </a:cxn>
              <a:cxn ang="0">
                <a:pos x="connsiteX48039" y="connsiteY48039"/>
              </a:cxn>
              <a:cxn ang="0">
                <a:pos x="connsiteX48040" y="connsiteY48040"/>
              </a:cxn>
              <a:cxn ang="0">
                <a:pos x="connsiteX48041" y="connsiteY48041"/>
              </a:cxn>
              <a:cxn ang="0">
                <a:pos x="connsiteX48042" y="connsiteY48042"/>
              </a:cxn>
              <a:cxn ang="0">
                <a:pos x="connsiteX48043" y="connsiteY48043"/>
              </a:cxn>
              <a:cxn ang="0">
                <a:pos x="connsiteX48044" y="connsiteY48044"/>
              </a:cxn>
              <a:cxn ang="0">
                <a:pos x="connsiteX48045" y="connsiteY48045"/>
              </a:cxn>
              <a:cxn ang="0">
                <a:pos x="connsiteX48046" y="connsiteY48046"/>
              </a:cxn>
              <a:cxn ang="0">
                <a:pos x="connsiteX48047" y="connsiteY48047"/>
              </a:cxn>
              <a:cxn ang="0">
                <a:pos x="connsiteX48048" y="connsiteY48048"/>
              </a:cxn>
              <a:cxn ang="0">
                <a:pos x="connsiteX48049" y="connsiteY48049"/>
              </a:cxn>
              <a:cxn ang="0">
                <a:pos x="connsiteX48050" y="connsiteY48050"/>
              </a:cxn>
              <a:cxn ang="0">
                <a:pos x="connsiteX48051" y="connsiteY48051"/>
              </a:cxn>
              <a:cxn ang="0">
                <a:pos x="connsiteX48052" y="connsiteY48052"/>
              </a:cxn>
              <a:cxn ang="0">
                <a:pos x="connsiteX48053" y="connsiteY48053"/>
              </a:cxn>
              <a:cxn ang="0">
                <a:pos x="connsiteX48054" y="connsiteY48054"/>
              </a:cxn>
              <a:cxn ang="0">
                <a:pos x="connsiteX48055" y="connsiteY48055"/>
              </a:cxn>
              <a:cxn ang="0">
                <a:pos x="connsiteX48056" y="connsiteY48056"/>
              </a:cxn>
              <a:cxn ang="0">
                <a:pos x="connsiteX48057" y="connsiteY48057"/>
              </a:cxn>
              <a:cxn ang="0">
                <a:pos x="connsiteX48058" y="connsiteY48058"/>
              </a:cxn>
              <a:cxn ang="0">
                <a:pos x="connsiteX48059" y="connsiteY48059"/>
              </a:cxn>
              <a:cxn ang="0">
                <a:pos x="connsiteX48060" y="connsiteY48060"/>
              </a:cxn>
              <a:cxn ang="0">
                <a:pos x="connsiteX48061" y="connsiteY48061"/>
              </a:cxn>
              <a:cxn ang="0">
                <a:pos x="connsiteX48062" y="connsiteY48062"/>
              </a:cxn>
              <a:cxn ang="0">
                <a:pos x="connsiteX48063" y="connsiteY48063"/>
              </a:cxn>
              <a:cxn ang="0">
                <a:pos x="connsiteX48064" y="connsiteY48064"/>
              </a:cxn>
              <a:cxn ang="0">
                <a:pos x="connsiteX48065" y="connsiteY48065"/>
              </a:cxn>
              <a:cxn ang="0">
                <a:pos x="connsiteX48066" y="connsiteY48066"/>
              </a:cxn>
              <a:cxn ang="0">
                <a:pos x="connsiteX48067" y="connsiteY48067"/>
              </a:cxn>
              <a:cxn ang="0">
                <a:pos x="connsiteX48068" y="connsiteY48068"/>
              </a:cxn>
              <a:cxn ang="0">
                <a:pos x="connsiteX48069" y="connsiteY48069"/>
              </a:cxn>
              <a:cxn ang="0">
                <a:pos x="connsiteX48070" y="connsiteY48070"/>
              </a:cxn>
              <a:cxn ang="0">
                <a:pos x="connsiteX48071" y="connsiteY48071"/>
              </a:cxn>
              <a:cxn ang="0">
                <a:pos x="connsiteX48072" y="connsiteY48072"/>
              </a:cxn>
              <a:cxn ang="0">
                <a:pos x="connsiteX48073" y="connsiteY48073"/>
              </a:cxn>
              <a:cxn ang="0">
                <a:pos x="connsiteX48074" y="connsiteY48074"/>
              </a:cxn>
              <a:cxn ang="0">
                <a:pos x="connsiteX48075" y="connsiteY48075"/>
              </a:cxn>
              <a:cxn ang="0">
                <a:pos x="connsiteX48076" y="connsiteY48076"/>
              </a:cxn>
              <a:cxn ang="0">
                <a:pos x="connsiteX48077" y="connsiteY48077"/>
              </a:cxn>
              <a:cxn ang="0">
                <a:pos x="connsiteX48078" y="connsiteY48078"/>
              </a:cxn>
              <a:cxn ang="0">
                <a:pos x="connsiteX48079" y="connsiteY48079"/>
              </a:cxn>
              <a:cxn ang="0">
                <a:pos x="connsiteX48080" y="connsiteY48080"/>
              </a:cxn>
              <a:cxn ang="0">
                <a:pos x="connsiteX48081" y="connsiteY48081"/>
              </a:cxn>
              <a:cxn ang="0">
                <a:pos x="connsiteX48082" y="connsiteY48082"/>
              </a:cxn>
              <a:cxn ang="0">
                <a:pos x="connsiteX48083" y="connsiteY48083"/>
              </a:cxn>
              <a:cxn ang="0">
                <a:pos x="connsiteX48084" y="connsiteY48084"/>
              </a:cxn>
              <a:cxn ang="0">
                <a:pos x="connsiteX48085" y="connsiteY48085"/>
              </a:cxn>
              <a:cxn ang="0">
                <a:pos x="connsiteX48086" y="connsiteY48086"/>
              </a:cxn>
              <a:cxn ang="0">
                <a:pos x="connsiteX48087" y="connsiteY48087"/>
              </a:cxn>
              <a:cxn ang="0">
                <a:pos x="connsiteX48088" y="connsiteY48088"/>
              </a:cxn>
              <a:cxn ang="0">
                <a:pos x="connsiteX48089" y="connsiteY48089"/>
              </a:cxn>
              <a:cxn ang="0">
                <a:pos x="connsiteX48090" y="connsiteY48090"/>
              </a:cxn>
              <a:cxn ang="0">
                <a:pos x="connsiteX48091" y="connsiteY48091"/>
              </a:cxn>
              <a:cxn ang="0">
                <a:pos x="connsiteX48092" y="connsiteY48092"/>
              </a:cxn>
              <a:cxn ang="0">
                <a:pos x="connsiteX48093" y="connsiteY48093"/>
              </a:cxn>
              <a:cxn ang="0">
                <a:pos x="connsiteX48094" y="connsiteY48094"/>
              </a:cxn>
              <a:cxn ang="0">
                <a:pos x="connsiteX48095" y="connsiteY48095"/>
              </a:cxn>
              <a:cxn ang="0">
                <a:pos x="connsiteX48096" y="connsiteY48096"/>
              </a:cxn>
              <a:cxn ang="0">
                <a:pos x="connsiteX48097" y="connsiteY48097"/>
              </a:cxn>
              <a:cxn ang="0">
                <a:pos x="connsiteX48098" y="connsiteY48098"/>
              </a:cxn>
              <a:cxn ang="0">
                <a:pos x="connsiteX48099" y="connsiteY48099"/>
              </a:cxn>
              <a:cxn ang="0">
                <a:pos x="connsiteX48100" y="connsiteY48100"/>
              </a:cxn>
              <a:cxn ang="0">
                <a:pos x="connsiteX48101" y="connsiteY48101"/>
              </a:cxn>
              <a:cxn ang="0">
                <a:pos x="connsiteX48102" y="connsiteY48102"/>
              </a:cxn>
              <a:cxn ang="0">
                <a:pos x="connsiteX48103" y="connsiteY48103"/>
              </a:cxn>
              <a:cxn ang="0">
                <a:pos x="connsiteX48104" y="connsiteY48104"/>
              </a:cxn>
              <a:cxn ang="0">
                <a:pos x="connsiteX48105" y="connsiteY48105"/>
              </a:cxn>
              <a:cxn ang="0">
                <a:pos x="connsiteX48106" y="connsiteY48106"/>
              </a:cxn>
              <a:cxn ang="0">
                <a:pos x="connsiteX48107" y="connsiteY48107"/>
              </a:cxn>
              <a:cxn ang="0">
                <a:pos x="connsiteX48108" y="connsiteY48108"/>
              </a:cxn>
              <a:cxn ang="0">
                <a:pos x="connsiteX48109" y="connsiteY48109"/>
              </a:cxn>
              <a:cxn ang="0">
                <a:pos x="connsiteX48110" y="connsiteY48110"/>
              </a:cxn>
              <a:cxn ang="0">
                <a:pos x="connsiteX48111" y="connsiteY48111"/>
              </a:cxn>
              <a:cxn ang="0">
                <a:pos x="connsiteX48112" y="connsiteY48112"/>
              </a:cxn>
              <a:cxn ang="0">
                <a:pos x="connsiteX48113" y="connsiteY48113"/>
              </a:cxn>
              <a:cxn ang="0">
                <a:pos x="connsiteX48114" y="connsiteY48114"/>
              </a:cxn>
              <a:cxn ang="0">
                <a:pos x="connsiteX48115" y="connsiteY48115"/>
              </a:cxn>
              <a:cxn ang="0">
                <a:pos x="connsiteX48116" y="connsiteY48116"/>
              </a:cxn>
              <a:cxn ang="0">
                <a:pos x="connsiteX48117" y="connsiteY48117"/>
              </a:cxn>
              <a:cxn ang="0">
                <a:pos x="connsiteX48118" y="connsiteY48118"/>
              </a:cxn>
              <a:cxn ang="0">
                <a:pos x="connsiteX48119" y="connsiteY48119"/>
              </a:cxn>
              <a:cxn ang="0">
                <a:pos x="connsiteX48120" y="connsiteY48120"/>
              </a:cxn>
              <a:cxn ang="0">
                <a:pos x="connsiteX48121" y="connsiteY48121"/>
              </a:cxn>
              <a:cxn ang="0">
                <a:pos x="connsiteX48122" y="connsiteY48122"/>
              </a:cxn>
              <a:cxn ang="0">
                <a:pos x="connsiteX48123" y="connsiteY48123"/>
              </a:cxn>
              <a:cxn ang="0">
                <a:pos x="connsiteX48124" y="connsiteY48124"/>
              </a:cxn>
              <a:cxn ang="0">
                <a:pos x="connsiteX48125" y="connsiteY48125"/>
              </a:cxn>
              <a:cxn ang="0">
                <a:pos x="connsiteX48126" y="connsiteY48126"/>
              </a:cxn>
              <a:cxn ang="0">
                <a:pos x="connsiteX48127" y="connsiteY48127"/>
              </a:cxn>
              <a:cxn ang="0">
                <a:pos x="connsiteX48128" y="connsiteY48128"/>
              </a:cxn>
              <a:cxn ang="0">
                <a:pos x="connsiteX48129" y="connsiteY48129"/>
              </a:cxn>
              <a:cxn ang="0">
                <a:pos x="connsiteX48130" y="connsiteY48130"/>
              </a:cxn>
              <a:cxn ang="0">
                <a:pos x="connsiteX48131" y="connsiteY48131"/>
              </a:cxn>
              <a:cxn ang="0">
                <a:pos x="connsiteX48132" y="connsiteY48132"/>
              </a:cxn>
              <a:cxn ang="0">
                <a:pos x="connsiteX48133" y="connsiteY48133"/>
              </a:cxn>
              <a:cxn ang="0">
                <a:pos x="connsiteX48134" y="connsiteY48134"/>
              </a:cxn>
              <a:cxn ang="0">
                <a:pos x="connsiteX48135" y="connsiteY48135"/>
              </a:cxn>
              <a:cxn ang="0">
                <a:pos x="connsiteX48136" y="connsiteY48136"/>
              </a:cxn>
              <a:cxn ang="0">
                <a:pos x="connsiteX48137" y="connsiteY48137"/>
              </a:cxn>
              <a:cxn ang="0">
                <a:pos x="connsiteX48138" y="connsiteY48138"/>
              </a:cxn>
              <a:cxn ang="0">
                <a:pos x="connsiteX48139" y="connsiteY48139"/>
              </a:cxn>
              <a:cxn ang="0">
                <a:pos x="connsiteX48140" y="connsiteY48140"/>
              </a:cxn>
              <a:cxn ang="0">
                <a:pos x="connsiteX48141" y="connsiteY48141"/>
              </a:cxn>
              <a:cxn ang="0">
                <a:pos x="connsiteX48142" y="connsiteY48142"/>
              </a:cxn>
              <a:cxn ang="0">
                <a:pos x="connsiteX48143" y="connsiteY48143"/>
              </a:cxn>
              <a:cxn ang="0">
                <a:pos x="connsiteX48144" y="connsiteY48144"/>
              </a:cxn>
              <a:cxn ang="0">
                <a:pos x="connsiteX48145" y="connsiteY48145"/>
              </a:cxn>
              <a:cxn ang="0">
                <a:pos x="connsiteX48146" y="connsiteY48146"/>
              </a:cxn>
              <a:cxn ang="0">
                <a:pos x="connsiteX48147" y="connsiteY48147"/>
              </a:cxn>
              <a:cxn ang="0">
                <a:pos x="connsiteX48148" y="connsiteY48148"/>
              </a:cxn>
              <a:cxn ang="0">
                <a:pos x="connsiteX48149" y="connsiteY48149"/>
              </a:cxn>
              <a:cxn ang="0">
                <a:pos x="connsiteX48150" y="connsiteY48150"/>
              </a:cxn>
              <a:cxn ang="0">
                <a:pos x="connsiteX48151" y="connsiteY48151"/>
              </a:cxn>
              <a:cxn ang="0">
                <a:pos x="connsiteX48152" y="connsiteY48152"/>
              </a:cxn>
              <a:cxn ang="0">
                <a:pos x="connsiteX48153" y="connsiteY48153"/>
              </a:cxn>
              <a:cxn ang="0">
                <a:pos x="connsiteX48154" y="connsiteY48154"/>
              </a:cxn>
              <a:cxn ang="0">
                <a:pos x="connsiteX48155" y="connsiteY48155"/>
              </a:cxn>
              <a:cxn ang="0">
                <a:pos x="connsiteX48156" y="connsiteY48156"/>
              </a:cxn>
              <a:cxn ang="0">
                <a:pos x="connsiteX48157" y="connsiteY48157"/>
              </a:cxn>
              <a:cxn ang="0">
                <a:pos x="connsiteX48158" y="connsiteY48158"/>
              </a:cxn>
              <a:cxn ang="0">
                <a:pos x="connsiteX48159" y="connsiteY48159"/>
              </a:cxn>
              <a:cxn ang="0">
                <a:pos x="connsiteX48160" y="connsiteY48160"/>
              </a:cxn>
              <a:cxn ang="0">
                <a:pos x="connsiteX48161" y="connsiteY48161"/>
              </a:cxn>
              <a:cxn ang="0">
                <a:pos x="connsiteX48162" y="connsiteY48162"/>
              </a:cxn>
              <a:cxn ang="0">
                <a:pos x="connsiteX48163" y="connsiteY48163"/>
              </a:cxn>
              <a:cxn ang="0">
                <a:pos x="connsiteX48164" y="connsiteY48164"/>
              </a:cxn>
              <a:cxn ang="0">
                <a:pos x="connsiteX48165" y="connsiteY48165"/>
              </a:cxn>
              <a:cxn ang="0">
                <a:pos x="connsiteX48166" y="connsiteY48166"/>
              </a:cxn>
              <a:cxn ang="0">
                <a:pos x="connsiteX48167" y="connsiteY48167"/>
              </a:cxn>
              <a:cxn ang="0">
                <a:pos x="connsiteX48168" y="connsiteY48168"/>
              </a:cxn>
              <a:cxn ang="0">
                <a:pos x="connsiteX48169" y="connsiteY48169"/>
              </a:cxn>
              <a:cxn ang="0">
                <a:pos x="connsiteX48170" y="connsiteY48170"/>
              </a:cxn>
              <a:cxn ang="0">
                <a:pos x="connsiteX48171" y="connsiteY48171"/>
              </a:cxn>
              <a:cxn ang="0">
                <a:pos x="connsiteX48172" y="connsiteY48172"/>
              </a:cxn>
              <a:cxn ang="0">
                <a:pos x="connsiteX48173" y="connsiteY48173"/>
              </a:cxn>
              <a:cxn ang="0">
                <a:pos x="connsiteX48174" y="connsiteY48174"/>
              </a:cxn>
              <a:cxn ang="0">
                <a:pos x="connsiteX48175" y="connsiteY48175"/>
              </a:cxn>
              <a:cxn ang="0">
                <a:pos x="connsiteX48176" y="connsiteY48176"/>
              </a:cxn>
              <a:cxn ang="0">
                <a:pos x="connsiteX48177" y="connsiteY48177"/>
              </a:cxn>
              <a:cxn ang="0">
                <a:pos x="connsiteX48178" y="connsiteY48178"/>
              </a:cxn>
              <a:cxn ang="0">
                <a:pos x="connsiteX48179" y="connsiteY48179"/>
              </a:cxn>
              <a:cxn ang="0">
                <a:pos x="connsiteX48180" y="connsiteY48180"/>
              </a:cxn>
              <a:cxn ang="0">
                <a:pos x="connsiteX48181" y="connsiteY48181"/>
              </a:cxn>
              <a:cxn ang="0">
                <a:pos x="connsiteX48182" y="connsiteY48182"/>
              </a:cxn>
              <a:cxn ang="0">
                <a:pos x="connsiteX48183" y="connsiteY48183"/>
              </a:cxn>
              <a:cxn ang="0">
                <a:pos x="connsiteX48184" y="connsiteY48184"/>
              </a:cxn>
              <a:cxn ang="0">
                <a:pos x="connsiteX48185" y="connsiteY48185"/>
              </a:cxn>
              <a:cxn ang="0">
                <a:pos x="connsiteX48186" y="connsiteY48186"/>
              </a:cxn>
              <a:cxn ang="0">
                <a:pos x="connsiteX48187" y="connsiteY48187"/>
              </a:cxn>
              <a:cxn ang="0">
                <a:pos x="connsiteX48188" y="connsiteY48188"/>
              </a:cxn>
              <a:cxn ang="0">
                <a:pos x="connsiteX48189" y="connsiteY48189"/>
              </a:cxn>
              <a:cxn ang="0">
                <a:pos x="connsiteX48190" y="connsiteY48190"/>
              </a:cxn>
              <a:cxn ang="0">
                <a:pos x="connsiteX48191" y="connsiteY48191"/>
              </a:cxn>
              <a:cxn ang="0">
                <a:pos x="connsiteX48192" y="connsiteY48192"/>
              </a:cxn>
              <a:cxn ang="0">
                <a:pos x="connsiteX48193" y="connsiteY48193"/>
              </a:cxn>
              <a:cxn ang="0">
                <a:pos x="connsiteX48194" y="connsiteY48194"/>
              </a:cxn>
              <a:cxn ang="0">
                <a:pos x="connsiteX48195" y="connsiteY48195"/>
              </a:cxn>
              <a:cxn ang="0">
                <a:pos x="connsiteX48196" y="connsiteY48196"/>
              </a:cxn>
              <a:cxn ang="0">
                <a:pos x="connsiteX48197" y="connsiteY48197"/>
              </a:cxn>
              <a:cxn ang="0">
                <a:pos x="connsiteX48198" y="connsiteY48198"/>
              </a:cxn>
              <a:cxn ang="0">
                <a:pos x="connsiteX48199" y="connsiteY48199"/>
              </a:cxn>
              <a:cxn ang="0">
                <a:pos x="connsiteX48200" y="connsiteY48200"/>
              </a:cxn>
              <a:cxn ang="0">
                <a:pos x="connsiteX48201" y="connsiteY48201"/>
              </a:cxn>
              <a:cxn ang="0">
                <a:pos x="connsiteX48202" y="connsiteY48202"/>
              </a:cxn>
              <a:cxn ang="0">
                <a:pos x="connsiteX48203" y="connsiteY48203"/>
              </a:cxn>
              <a:cxn ang="0">
                <a:pos x="connsiteX48204" y="connsiteY48204"/>
              </a:cxn>
              <a:cxn ang="0">
                <a:pos x="connsiteX48205" y="connsiteY48205"/>
              </a:cxn>
              <a:cxn ang="0">
                <a:pos x="connsiteX48206" y="connsiteY48206"/>
              </a:cxn>
              <a:cxn ang="0">
                <a:pos x="connsiteX48207" y="connsiteY48207"/>
              </a:cxn>
              <a:cxn ang="0">
                <a:pos x="connsiteX48208" y="connsiteY48208"/>
              </a:cxn>
              <a:cxn ang="0">
                <a:pos x="connsiteX48209" y="connsiteY48209"/>
              </a:cxn>
              <a:cxn ang="0">
                <a:pos x="connsiteX48210" y="connsiteY48210"/>
              </a:cxn>
              <a:cxn ang="0">
                <a:pos x="connsiteX48211" y="connsiteY48211"/>
              </a:cxn>
              <a:cxn ang="0">
                <a:pos x="connsiteX48212" y="connsiteY48212"/>
              </a:cxn>
              <a:cxn ang="0">
                <a:pos x="connsiteX48213" y="connsiteY48213"/>
              </a:cxn>
              <a:cxn ang="0">
                <a:pos x="connsiteX48214" y="connsiteY48214"/>
              </a:cxn>
              <a:cxn ang="0">
                <a:pos x="connsiteX48215" y="connsiteY48215"/>
              </a:cxn>
              <a:cxn ang="0">
                <a:pos x="connsiteX48216" y="connsiteY48216"/>
              </a:cxn>
              <a:cxn ang="0">
                <a:pos x="connsiteX48217" y="connsiteY48217"/>
              </a:cxn>
              <a:cxn ang="0">
                <a:pos x="connsiteX48218" y="connsiteY48218"/>
              </a:cxn>
              <a:cxn ang="0">
                <a:pos x="connsiteX48219" y="connsiteY48219"/>
              </a:cxn>
              <a:cxn ang="0">
                <a:pos x="connsiteX48220" y="connsiteY48220"/>
              </a:cxn>
              <a:cxn ang="0">
                <a:pos x="connsiteX48221" y="connsiteY48221"/>
              </a:cxn>
              <a:cxn ang="0">
                <a:pos x="connsiteX48222" y="connsiteY48222"/>
              </a:cxn>
              <a:cxn ang="0">
                <a:pos x="connsiteX48223" y="connsiteY48223"/>
              </a:cxn>
              <a:cxn ang="0">
                <a:pos x="connsiteX48224" y="connsiteY48224"/>
              </a:cxn>
              <a:cxn ang="0">
                <a:pos x="connsiteX48225" y="connsiteY48225"/>
              </a:cxn>
              <a:cxn ang="0">
                <a:pos x="connsiteX48226" y="connsiteY48226"/>
              </a:cxn>
              <a:cxn ang="0">
                <a:pos x="connsiteX48227" y="connsiteY48227"/>
              </a:cxn>
              <a:cxn ang="0">
                <a:pos x="connsiteX48228" y="connsiteY48228"/>
              </a:cxn>
              <a:cxn ang="0">
                <a:pos x="connsiteX48229" y="connsiteY48229"/>
              </a:cxn>
              <a:cxn ang="0">
                <a:pos x="connsiteX48230" y="connsiteY48230"/>
              </a:cxn>
              <a:cxn ang="0">
                <a:pos x="connsiteX48231" y="connsiteY48231"/>
              </a:cxn>
              <a:cxn ang="0">
                <a:pos x="connsiteX48232" y="connsiteY48232"/>
              </a:cxn>
              <a:cxn ang="0">
                <a:pos x="connsiteX48233" y="connsiteY48233"/>
              </a:cxn>
              <a:cxn ang="0">
                <a:pos x="connsiteX48234" y="connsiteY48234"/>
              </a:cxn>
              <a:cxn ang="0">
                <a:pos x="connsiteX48235" y="connsiteY48235"/>
              </a:cxn>
              <a:cxn ang="0">
                <a:pos x="connsiteX48236" y="connsiteY48236"/>
              </a:cxn>
              <a:cxn ang="0">
                <a:pos x="connsiteX48237" y="connsiteY48237"/>
              </a:cxn>
              <a:cxn ang="0">
                <a:pos x="connsiteX48238" y="connsiteY48238"/>
              </a:cxn>
              <a:cxn ang="0">
                <a:pos x="connsiteX48239" y="connsiteY48239"/>
              </a:cxn>
              <a:cxn ang="0">
                <a:pos x="connsiteX48240" y="connsiteY48240"/>
              </a:cxn>
              <a:cxn ang="0">
                <a:pos x="connsiteX48241" y="connsiteY48241"/>
              </a:cxn>
              <a:cxn ang="0">
                <a:pos x="connsiteX48242" y="connsiteY48242"/>
              </a:cxn>
              <a:cxn ang="0">
                <a:pos x="connsiteX48243" y="connsiteY48243"/>
              </a:cxn>
              <a:cxn ang="0">
                <a:pos x="connsiteX48244" y="connsiteY48244"/>
              </a:cxn>
              <a:cxn ang="0">
                <a:pos x="connsiteX48245" y="connsiteY48245"/>
              </a:cxn>
              <a:cxn ang="0">
                <a:pos x="connsiteX48246" y="connsiteY48246"/>
              </a:cxn>
              <a:cxn ang="0">
                <a:pos x="connsiteX48247" y="connsiteY48247"/>
              </a:cxn>
              <a:cxn ang="0">
                <a:pos x="connsiteX48248" y="connsiteY48248"/>
              </a:cxn>
              <a:cxn ang="0">
                <a:pos x="connsiteX48249" y="connsiteY48249"/>
              </a:cxn>
              <a:cxn ang="0">
                <a:pos x="connsiteX48250" y="connsiteY48250"/>
              </a:cxn>
              <a:cxn ang="0">
                <a:pos x="connsiteX48251" y="connsiteY48251"/>
              </a:cxn>
              <a:cxn ang="0">
                <a:pos x="connsiteX48252" y="connsiteY48252"/>
              </a:cxn>
              <a:cxn ang="0">
                <a:pos x="connsiteX48253" y="connsiteY48253"/>
              </a:cxn>
              <a:cxn ang="0">
                <a:pos x="connsiteX48254" y="connsiteY48254"/>
              </a:cxn>
              <a:cxn ang="0">
                <a:pos x="connsiteX48255" y="connsiteY48255"/>
              </a:cxn>
              <a:cxn ang="0">
                <a:pos x="connsiteX48256" y="connsiteY48256"/>
              </a:cxn>
              <a:cxn ang="0">
                <a:pos x="connsiteX48257" y="connsiteY48257"/>
              </a:cxn>
              <a:cxn ang="0">
                <a:pos x="connsiteX48258" y="connsiteY48258"/>
              </a:cxn>
              <a:cxn ang="0">
                <a:pos x="connsiteX48259" y="connsiteY48259"/>
              </a:cxn>
              <a:cxn ang="0">
                <a:pos x="connsiteX48260" y="connsiteY48260"/>
              </a:cxn>
              <a:cxn ang="0">
                <a:pos x="connsiteX48261" y="connsiteY48261"/>
              </a:cxn>
              <a:cxn ang="0">
                <a:pos x="connsiteX48262" y="connsiteY48262"/>
              </a:cxn>
              <a:cxn ang="0">
                <a:pos x="connsiteX48263" y="connsiteY48263"/>
              </a:cxn>
              <a:cxn ang="0">
                <a:pos x="connsiteX48264" y="connsiteY48264"/>
              </a:cxn>
              <a:cxn ang="0">
                <a:pos x="connsiteX48265" y="connsiteY48265"/>
              </a:cxn>
              <a:cxn ang="0">
                <a:pos x="connsiteX48266" y="connsiteY48266"/>
              </a:cxn>
              <a:cxn ang="0">
                <a:pos x="connsiteX48267" y="connsiteY48267"/>
              </a:cxn>
              <a:cxn ang="0">
                <a:pos x="connsiteX48268" y="connsiteY48268"/>
              </a:cxn>
              <a:cxn ang="0">
                <a:pos x="connsiteX48269" y="connsiteY48269"/>
              </a:cxn>
              <a:cxn ang="0">
                <a:pos x="connsiteX48270" y="connsiteY48270"/>
              </a:cxn>
              <a:cxn ang="0">
                <a:pos x="connsiteX48271" y="connsiteY48271"/>
              </a:cxn>
              <a:cxn ang="0">
                <a:pos x="connsiteX48272" y="connsiteY48272"/>
              </a:cxn>
              <a:cxn ang="0">
                <a:pos x="connsiteX48273" y="connsiteY48273"/>
              </a:cxn>
              <a:cxn ang="0">
                <a:pos x="connsiteX48274" y="connsiteY48274"/>
              </a:cxn>
              <a:cxn ang="0">
                <a:pos x="connsiteX48275" y="connsiteY48275"/>
              </a:cxn>
              <a:cxn ang="0">
                <a:pos x="connsiteX48276" y="connsiteY48276"/>
              </a:cxn>
              <a:cxn ang="0">
                <a:pos x="connsiteX48277" y="connsiteY48277"/>
              </a:cxn>
              <a:cxn ang="0">
                <a:pos x="connsiteX48278" y="connsiteY48278"/>
              </a:cxn>
              <a:cxn ang="0">
                <a:pos x="connsiteX48279" y="connsiteY48279"/>
              </a:cxn>
              <a:cxn ang="0">
                <a:pos x="connsiteX48280" y="connsiteY48280"/>
              </a:cxn>
              <a:cxn ang="0">
                <a:pos x="connsiteX48281" y="connsiteY48281"/>
              </a:cxn>
              <a:cxn ang="0">
                <a:pos x="connsiteX48282" y="connsiteY48282"/>
              </a:cxn>
              <a:cxn ang="0">
                <a:pos x="connsiteX48283" y="connsiteY48283"/>
              </a:cxn>
              <a:cxn ang="0">
                <a:pos x="connsiteX48284" y="connsiteY48284"/>
              </a:cxn>
              <a:cxn ang="0">
                <a:pos x="connsiteX48285" y="connsiteY48285"/>
              </a:cxn>
              <a:cxn ang="0">
                <a:pos x="connsiteX48286" y="connsiteY48286"/>
              </a:cxn>
              <a:cxn ang="0">
                <a:pos x="connsiteX48287" y="connsiteY48287"/>
              </a:cxn>
              <a:cxn ang="0">
                <a:pos x="connsiteX48288" y="connsiteY48288"/>
              </a:cxn>
              <a:cxn ang="0">
                <a:pos x="connsiteX48289" y="connsiteY48289"/>
              </a:cxn>
              <a:cxn ang="0">
                <a:pos x="connsiteX48290" y="connsiteY48290"/>
              </a:cxn>
              <a:cxn ang="0">
                <a:pos x="connsiteX48291" y="connsiteY48291"/>
              </a:cxn>
              <a:cxn ang="0">
                <a:pos x="connsiteX48292" y="connsiteY48292"/>
              </a:cxn>
              <a:cxn ang="0">
                <a:pos x="connsiteX48293" y="connsiteY48293"/>
              </a:cxn>
              <a:cxn ang="0">
                <a:pos x="connsiteX48294" y="connsiteY48294"/>
              </a:cxn>
              <a:cxn ang="0">
                <a:pos x="connsiteX48295" y="connsiteY48295"/>
              </a:cxn>
              <a:cxn ang="0">
                <a:pos x="connsiteX48296" y="connsiteY48296"/>
              </a:cxn>
              <a:cxn ang="0">
                <a:pos x="connsiteX48297" y="connsiteY48297"/>
              </a:cxn>
              <a:cxn ang="0">
                <a:pos x="connsiteX48298" y="connsiteY48298"/>
              </a:cxn>
              <a:cxn ang="0">
                <a:pos x="connsiteX48299" y="connsiteY48299"/>
              </a:cxn>
              <a:cxn ang="0">
                <a:pos x="connsiteX48300" y="connsiteY48300"/>
              </a:cxn>
              <a:cxn ang="0">
                <a:pos x="connsiteX48301" y="connsiteY48301"/>
              </a:cxn>
              <a:cxn ang="0">
                <a:pos x="connsiteX48302" y="connsiteY48302"/>
              </a:cxn>
              <a:cxn ang="0">
                <a:pos x="connsiteX48303" y="connsiteY48303"/>
              </a:cxn>
              <a:cxn ang="0">
                <a:pos x="connsiteX48304" y="connsiteY48304"/>
              </a:cxn>
              <a:cxn ang="0">
                <a:pos x="connsiteX48305" y="connsiteY48305"/>
              </a:cxn>
              <a:cxn ang="0">
                <a:pos x="connsiteX48306" y="connsiteY48306"/>
              </a:cxn>
              <a:cxn ang="0">
                <a:pos x="connsiteX48307" y="connsiteY48307"/>
              </a:cxn>
              <a:cxn ang="0">
                <a:pos x="connsiteX48308" y="connsiteY48308"/>
              </a:cxn>
              <a:cxn ang="0">
                <a:pos x="connsiteX48309" y="connsiteY48309"/>
              </a:cxn>
              <a:cxn ang="0">
                <a:pos x="connsiteX48310" y="connsiteY48310"/>
              </a:cxn>
              <a:cxn ang="0">
                <a:pos x="connsiteX48311" y="connsiteY48311"/>
              </a:cxn>
              <a:cxn ang="0">
                <a:pos x="connsiteX48312" y="connsiteY48312"/>
              </a:cxn>
              <a:cxn ang="0">
                <a:pos x="connsiteX48313" y="connsiteY48313"/>
              </a:cxn>
              <a:cxn ang="0">
                <a:pos x="connsiteX48314" y="connsiteY48314"/>
              </a:cxn>
              <a:cxn ang="0">
                <a:pos x="connsiteX48315" y="connsiteY48315"/>
              </a:cxn>
              <a:cxn ang="0">
                <a:pos x="connsiteX48316" y="connsiteY48316"/>
              </a:cxn>
              <a:cxn ang="0">
                <a:pos x="connsiteX48317" y="connsiteY48317"/>
              </a:cxn>
              <a:cxn ang="0">
                <a:pos x="connsiteX48318" y="connsiteY48318"/>
              </a:cxn>
              <a:cxn ang="0">
                <a:pos x="connsiteX48319" y="connsiteY48319"/>
              </a:cxn>
              <a:cxn ang="0">
                <a:pos x="connsiteX48320" y="connsiteY48320"/>
              </a:cxn>
              <a:cxn ang="0">
                <a:pos x="connsiteX48321" y="connsiteY48321"/>
              </a:cxn>
              <a:cxn ang="0">
                <a:pos x="connsiteX48322" y="connsiteY48322"/>
              </a:cxn>
              <a:cxn ang="0">
                <a:pos x="connsiteX48323" y="connsiteY48323"/>
              </a:cxn>
              <a:cxn ang="0">
                <a:pos x="connsiteX48324" y="connsiteY48324"/>
              </a:cxn>
              <a:cxn ang="0">
                <a:pos x="connsiteX48325" y="connsiteY48325"/>
              </a:cxn>
              <a:cxn ang="0">
                <a:pos x="connsiteX48326" y="connsiteY48326"/>
              </a:cxn>
              <a:cxn ang="0">
                <a:pos x="connsiteX48327" y="connsiteY48327"/>
              </a:cxn>
              <a:cxn ang="0">
                <a:pos x="connsiteX48328" y="connsiteY48328"/>
              </a:cxn>
              <a:cxn ang="0">
                <a:pos x="connsiteX48329" y="connsiteY48329"/>
              </a:cxn>
              <a:cxn ang="0">
                <a:pos x="connsiteX48330" y="connsiteY48330"/>
              </a:cxn>
              <a:cxn ang="0">
                <a:pos x="connsiteX48331" y="connsiteY48331"/>
              </a:cxn>
              <a:cxn ang="0">
                <a:pos x="connsiteX48332" y="connsiteY48332"/>
              </a:cxn>
              <a:cxn ang="0">
                <a:pos x="connsiteX48333" y="connsiteY48333"/>
              </a:cxn>
              <a:cxn ang="0">
                <a:pos x="connsiteX48334" y="connsiteY48334"/>
              </a:cxn>
              <a:cxn ang="0">
                <a:pos x="connsiteX48335" y="connsiteY48335"/>
              </a:cxn>
              <a:cxn ang="0">
                <a:pos x="connsiteX48336" y="connsiteY48336"/>
              </a:cxn>
              <a:cxn ang="0">
                <a:pos x="connsiteX48337" y="connsiteY48337"/>
              </a:cxn>
              <a:cxn ang="0">
                <a:pos x="connsiteX48338" y="connsiteY48338"/>
              </a:cxn>
              <a:cxn ang="0">
                <a:pos x="connsiteX48339" y="connsiteY48339"/>
              </a:cxn>
              <a:cxn ang="0">
                <a:pos x="connsiteX48340" y="connsiteY48340"/>
              </a:cxn>
              <a:cxn ang="0">
                <a:pos x="connsiteX48341" y="connsiteY48341"/>
              </a:cxn>
              <a:cxn ang="0">
                <a:pos x="connsiteX48342" y="connsiteY48342"/>
              </a:cxn>
              <a:cxn ang="0">
                <a:pos x="connsiteX48343" y="connsiteY48343"/>
              </a:cxn>
              <a:cxn ang="0">
                <a:pos x="connsiteX48344" y="connsiteY48344"/>
              </a:cxn>
              <a:cxn ang="0">
                <a:pos x="connsiteX48345" y="connsiteY48345"/>
              </a:cxn>
              <a:cxn ang="0">
                <a:pos x="connsiteX48346" y="connsiteY48346"/>
              </a:cxn>
              <a:cxn ang="0">
                <a:pos x="connsiteX48347" y="connsiteY48347"/>
              </a:cxn>
              <a:cxn ang="0">
                <a:pos x="connsiteX48348" y="connsiteY48348"/>
              </a:cxn>
              <a:cxn ang="0">
                <a:pos x="connsiteX48349" y="connsiteY48349"/>
              </a:cxn>
              <a:cxn ang="0">
                <a:pos x="connsiteX48350" y="connsiteY48350"/>
              </a:cxn>
              <a:cxn ang="0">
                <a:pos x="connsiteX48351" y="connsiteY48351"/>
              </a:cxn>
              <a:cxn ang="0">
                <a:pos x="connsiteX48352" y="connsiteY48352"/>
              </a:cxn>
              <a:cxn ang="0">
                <a:pos x="connsiteX48353" y="connsiteY48353"/>
              </a:cxn>
              <a:cxn ang="0">
                <a:pos x="connsiteX48354" y="connsiteY48354"/>
              </a:cxn>
              <a:cxn ang="0">
                <a:pos x="connsiteX48355" y="connsiteY48355"/>
              </a:cxn>
              <a:cxn ang="0">
                <a:pos x="connsiteX48356" y="connsiteY48356"/>
              </a:cxn>
              <a:cxn ang="0">
                <a:pos x="connsiteX48357" y="connsiteY48357"/>
              </a:cxn>
              <a:cxn ang="0">
                <a:pos x="connsiteX48358" y="connsiteY48358"/>
              </a:cxn>
              <a:cxn ang="0">
                <a:pos x="connsiteX48359" y="connsiteY48359"/>
              </a:cxn>
              <a:cxn ang="0">
                <a:pos x="connsiteX48360" y="connsiteY48360"/>
              </a:cxn>
              <a:cxn ang="0">
                <a:pos x="connsiteX48361" y="connsiteY48361"/>
              </a:cxn>
              <a:cxn ang="0">
                <a:pos x="connsiteX48362" y="connsiteY48362"/>
              </a:cxn>
              <a:cxn ang="0">
                <a:pos x="connsiteX48363" y="connsiteY48363"/>
              </a:cxn>
              <a:cxn ang="0">
                <a:pos x="connsiteX48364" y="connsiteY48364"/>
              </a:cxn>
              <a:cxn ang="0">
                <a:pos x="connsiteX48365" y="connsiteY48365"/>
              </a:cxn>
              <a:cxn ang="0">
                <a:pos x="connsiteX48366" y="connsiteY48366"/>
              </a:cxn>
              <a:cxn ang="0">
                <a:pos x="connsiteX48367" y="connsiteY48367"/>
              </a:cxn>
              <a:cxn ang="0">
                <a:pos x="connsiteX48368" y="connsiteY48368"/>
              </a:cxn>
              <a:cxn ang="0">
                <a:pos x="connsiteX48369" y="connsiteY48369"/>
              </a:cxn>
              <a:cxn ang="0">
                <a:pos x="connsiteX48370" y="connsiteY48370"/>
              </a:cxn>
              <a:cxn ang="0">
                <a:pos x="connsiteX48371" y="connsiteY48371"/>
              </a:cxn>
              <a:cxn ang="0">
                <a:pos x="connsiteX48372" y="connsiteY48372"/>
              </a:cxn>
              <a:cxn ang="0">
                <a:pos x="connsiteX48373" y="connsiteY48373"/>
              </a:cxn>
              <a:cxn ang="0">
                <a:pos x="connsiteX48374" y="connsiteY48374"/>
              </a:cxn>
              <a:cxn ang="0">
                <a:pos x="connsiteX48375" y="connsiteY48375"/>
              </a:cxn>
              <a:cxn ang="0">
                <a:pos x="connsiteX48376" y="connsiteY48376"/>
              </a:cxn>
              <a:cxn ang="0">
                <a:pos x="connsiteX48377" y="connsiteY48377"/>
              </a:cxn>
              <a:cxn ang="0">
                <a:pos x="connsiteX48378" y="connsiteY48378"/>
              </a:cxn>
              <a:cxn ang="0">
                <a:pos x="connsiteX48379" y="connsiteY48379"/>
              </a:cxn>
              <a:cxn ang="0">
                <a:pos x="connsiteX48380" y="connsiteY48380"/>
              </a:cxn>
              <a:cxn ang="0">
                <a:pos x="connsiteX48381" y="connsiteY48381"/>
              </a:cxn>
              <a:cxn ang="0">
                <a:pos x="connsiteX48382" y="connsiteY48382"/>
              </a:cxn>
              <a:cxn ang="0">
                <a:pos x="connsiteX48383" y="connsiteY48383"/>
              </a:cxn>
              <a:cxn ang="0">
                <a:pos x="connsiteX48384" y="connsiteY48384"/>
              </a:cxn>
              <a:cxn ang="0">
                <a:pos x="connsiteX48385" y="connsiteY48385"/>
              </a:cxn>
              <a:cxn ang="0">
                <a:pos x="connsiteX48386" y="connsiteY48386"/>
              </a:cxn>
              <a:cxn ang="0">
                <a:pos x="connsiteX48387" y="connsiteY48387"/>
              </a:cxn>
              <a:cxn ang="0">
                <a:pos x="connsiteX48388" y="connsiteY48388"/>
              </a:cxn>
              <a:cxn ang="0">
                <a:pos x="connsiteX48389" y="connsiteY48389"/>
              </a:cxn>
              <a:cxn ang="0">
                <a:pos x="connsiteX48390" y="connsiteY48390"/>
              </a:cxn>
              <a:cxn ang="0">
                <a:pos x="connsiteX48391" y="connsiteY48391"/>
              </a:cxn>
              <a:cxn ang="0">
                <a:pos x="connsiteX48392" y="connsiteY48392"/>
              </a:cxn>
              <a:cxn ang="0">
                <a:pos x="connsiteX48393" y="connsiteY48393"/>
              </a:cxn>
              <a:cxn ang="0">
                <a:pos x="connsiteX48394" y="connsiteY48394"/>
              </a:cxn>
              <a:cxn ang="0">
                <a:pos x="connsiteX48395" y="connsiteY48395"/>
              </a:cxn>
              <a:cxn ang="0">
                <a:pos x="connsiteX48396" y="connsiteY48396"/>
              </a:cxn>
              <a:cxn ang="0">
                <a:pos x="connsiteX48397" y="connsiteY48397"/>
              </a:cxn>
              <a:cxn ang="0">
                <a:pos x="connsiteX48398" y="connsiteY48398"/>
              </a:cxn>
              <a:cxn ang="0">
                <a:pos x="connsiteX48399" y="connsiteY48399"/>
              </a:cxn>
              <a:cxn ang="0">
                <a:pos x="connsiteX48400" y="connsiteY48400"/>
              </a:cxn>
              <a:cxn ang="0">
                <a:pos x="connsiteX48401" y="connsiteY48401"/>
              </a:cxn>
              <a:cxn ang="0">
                <a:pos x="connsiteX48402" y="connsiteY48402"/>
              </a:cxn>
              <a:cxn ang="0">
                <a:pos x="connsiteX48403" y="connsiteY48403"/>
              </a:cxn>
              <a:cxn ang="0">
                <a:pos x="connsiteX48404" y="connsiteY48404"/>
              </a:cxn>
              <a:cxn ang="0">
                <a:pos x="connsiteX48405" y="connsiteY48405"/>
              </a:cxn>
              <a:cxn ang="0">
                <a:pos x="connsiteX48406" y="connsiteY48406"/>
              </a:cxn>
              <a:cxn ang="0">
                <a:pos x="connsiteX48407" y="connsiteY48407"/>
              </a:cxn>
              <a:cxn ang="0">
                <a:pos x="connsiteX48408" y="connsiteY48408"/>
              </a:cxn>
              <a:cxn ang="0">
                <a:pos x="connsiteX48409" y="connsiteY48409"/>
              </a:cxn>
              <a:cxn ang="0">
                <a:pos x="connsiteX48410" y="connsiteY48410"/>
              </a:cxn>
              <a:cxn ang="0">
                <a:pos x="connsiteX48411" y="connsiteY48411"/>
              </a:cxn>
              <a:cxn ang="0">
                <a:pos x="connsiteX48412" y="connsiteY48412"/>
              </a:cxn>
              <a:cxn ang="0">
                <a:pos x="connsiteX48413" y="connsiteY48413"/>
              </a:cxn>
              <a:cxn ang="0">
                <a:pos x="connsiteX48414" y="connsiteY48414"/>
              </a:cxn>
              <a:cxn ang="0">
                <a:pos x="connsiteX48415" y="connsiteY48415"/>
              </a:cxn>
              <a:cxn ang="0">
                <a:pos x="connsiteX48416" y="connsiteY48416"/>
              </a:cxn>
              <a:cxn ang="0">
                <a:pos x="connsiteX48417" y="connsiteY48417"/>
              </a:cxn>
              <a:cxn ang="0">
                <a:pos x="connsiteX48418" y="connsiteY48418"/>
              </a:cxn>
              <a:cxn ang="0">
                <a:pos x="connsiteX48419" y="connsiteY48419"/>
              </a:cxn>
              <a:cxn ang="0">
                <a:pos x="connsiteX48420" y="connsiteY48420"/>
              </a:cxn>
              <a:cxn ang="0">
                <a:pos x="connsiteX48421" y="connsiteY48421"/>
              </a:cxn>
              <a:cxn ang="0">
                <a:pos x="connsiteX48422" y="connsiteY48422"/>
              </a:cxn>
              <a:cxn ang="0">
                <a:pos x="connsiteX48423" y="connsiteY48423"/>
              </a:cxn>
              <a:cxn ang="0">
                <a:pos x="connsiteX48424" y="connsiteY48424"/>
              </a:cxn>
              <a:cxn ang="0">
                <a:pos x="connsiteX48425" y="connsiteY48425"/>
              </a:cxn>
              <a:cxn ang="0">
                <a:pos x="connsiteX48426" y="connsiteY48426"/>
              </a:cxn>
              <a:cxn ang="0">
                <a:pos x="connsiteX48427" y="connsiteY48427"/>
              </a:cxn>
              <a:cxn ang="0">
                <a:pos x="connsiteX48428" y="connsiteY48428"/>
              </a:cxn>
              <a:cxn ang="0">
                <a:pos x="connsiteX48429" y="connsiteY48429"/>
              </a:cxn>
              <a:cxn ang="0">
                <a:pos x="connsiteX48430" y="connsiteY48430"/>
              </a:cxn>
              <a:cxn ang="0">
                <a:pos x="connsiteX48431" y="connsiteY48431"/>
              </a:cxn>
              <a:cxn ang="0">
                <a:pos x="connsiteX48432" y="connsiteY48432"/>
              </a:cxn>
              <a:cxn ang="0">
                <a:pos x="connsiteX48433" y="connsiteY48433"/>
              </a:cxn>
              <a:cxn ang="0">
                <a:pos x="connsiteX48434" y="connsiteY48434"/>
              </a:cxn>
              <a:cxn ang="0">
                <a:pos x="connsiteX48435" y="connsiteY48435"/>
              </a:cxn>
              <a:cxn ang="0">
                <a:pos x="connsiteX48436" y="connsiteY48436"/>
              </a:cxn>
              <a:cxn ang="0">
                <a:pos x="connsiteX48437" y="connsiteY48437"/>
              </a:cxn>
              <a:cxn ang="0">
                <a:pos x="connsiteX48438" y="connsiteY48438"/>
              </a:cxn>
              <a:cxn ang="0">
                <a:pos x="connsiteX48439" y="connsiteY48439"/>
              </a:cxn>
              <a:cxn ang="0">
                <a:pos x="connsiteX48440" y="connsiteY48440"/>
              </a:cxn>
              <a:cxn ang="0">
                <a:pos x="connsiteX48441" y="connsiteY48441"/>
              </a:cxn>
              <a:cxn ang="0">
                <a:pos x="connsiteX48442" y="connsiteY48442"/>
              </a:cxn>
              <a:cxn ang="0">
                <a:pos x="connsiteX48443" y="connsiteY48443"/>
              </a:cxn>
              <a:cxn ang="0">
                <a:pos x="connsiteX48444" y="connsiteY48444"/>
              </a:cxn>
              <a:cxn ang="0">
                <a:pos x="connsiteX48445" y="connsiteY48445"/>
              </a:cxn>
              <a:cxn ang="0">
                <a:pos x="connsiteX48446" y="connsiteY48446"/>
              </a:cxn>
              <a:cxn ang="0">
                <a:pos x="connsiteX48447" y="connsiteY48447"/>
              </a:cxn>
              <a:cxn ang="0">
                <a:pos x="connsiteX48448" y="connsiteY48448"/>
              </a:cxn>
              <a:cxn ang="0">
                <a:pos x="connsiteX48449" y="connsiteY48449"/>
              </a:cxn>
              <a:cxn ang="0">
                <a:pos x="connsiteX48450" y="connsiteY48450"/>
              </a:cxn>
              <a:cxn ang="0">
                <a:pos x="connsiteX48451" y="connsiteY48451"/>
              </a:cxn>
              <a:cxn ang="0">
                <a:pos x="connsiteX48452" y="connsiteY48452"/>
              </a:cxn>
              <a:cxn ang="0">
                <a:pos x="connsiteX48453" y="connsiteY48453"/>
              </a:cxn>
              <a:cxn ang="0">
                <a:pos x="connsiteX48454" y="connsiteY48454"/>
              </a:cxn>
              <a:cxn ang="0">
                <a:pos x="connsiteX48455" y="connsiteY48455"/>
              </a:cxn>
              <a:cxn ang="0">
                <a:pos x="connsiteX48456" y="connsiteY48456"/>
              </a:cxn>
              <a:cxn ang="0">
                <a:pos x="connsiteX48457" y="connsiteY48457"/>
              </a:cxn>
              <a:cxn ang="0">
                <a:pos x="connsiteX48458" y="connsiteY48458"/>
              </a:cxn>
              <a:cxn ang="0">
                <a:pos x="connsiteX48459" y="connsiteY48459"/>
              </a:cxn>
              <a:cxn ang="0">
                <a:pos x="connsiteX48460" y="connsiteY48460"/>
              </a:cxn>
              <a:cxn ang="0">
                <a:pos x="connsiteX48461" y="connsiteY48461"/>
              </a:cxn>
              <a:cxn ang="0">
                <a:pos x="connsiteX48462" y="connsiteY48462"/>
              </a:cxn>
              <a:cxn ang="0">
                <a:pos x="connsiteX48463" y="connsiteY48463"/>
              </a:cxn>
              <a:cxn ang="0">
                <a:pos x="connsiteX48464" y="connsiteY48464"/>
              </a:cxn>
              <a:cxn ang="0">
                <a:pos x="connsiteX48465" y="connsiteY48465"/>
              </a:cxn>
              <a:cxn ang="0">
                <a:pos x="connsiteX48466" y="connsiteY48466"/>
              </a:cxn>
              <a:cxn ang="0">
                <a:pos x="connsiteX48467" y="connsiteY48467"/>
              </a:cxn>
              <a:cxn ang="0">
                <a:pos x="connsiteX48468" y="connsiteY48468"/>
              </a:cxn>
              <a:cxn ang="0">
                <a:pos x="connsiteX48469" y="connsiteY48469"/>
              </a:cxn>
              <a:cxn ang="0">
                <a:pos x="connsiteX48470" y="connsiteY48470"/>
              </a:cxn>
              <a:cxn ang="0">
                <a:pos x="connsiteX48471" y="connsiteY48471"/>
              </a:cxn>
              <a:cxn ang="0">
                <a:pos x="connsiteX48472" y="connsiteY48472"/>
              </a:cxn>
              <a:cxn ang="0">
                <a:pos x="connsiteX48473" y="connsiteY48473"/>
              </a:cxn>
              <a:cxn ang="0">
                <a:pos x="connsiteX48474" y="connsiteY48474"/>
              </a:cxn>
              <a:cxn ang="0">
                <a:pos x="connsiteX48475" y="connsiteY48475"/>
              </a:cxn>
              <a:cxn ang="0">
                <a:pos x="connsiteX48476" y="connsiteY48476"/>
              </a:cxn>
              <a:cxn ang="0">
                <a:pos x="connsiteX48477" y="connsiteY48477"/>
              </a:cxn>
              <a:cxn ang="0">
                <a:pos x="connsiteX48478" y="connsiteY48478"/>
              </a:cxn>
              <a:cxn ang="0">
                <a:pos x="connsiteX48479" y="connsiteY48479"/>
              </a:cxn>
              <a:cxn ang="0">
                <a:pos x="connsiteX48480" y="connsiteY48480"/>
              </a:cxn>
              <a:cxn ang="0">
                <a:pos x="connsiteX48481" y="connsiteY48481"/>
              </a:cxn>
              <a:cxn ang="0">
                <a:pos x="connsiteX48482" y="connsiteY48482"/>
              </a:cxn>
              <a:cxn ang="0">
                <a:pos x="connsiteX48483" y="connsiteY48483"/>
              </a:cxn>
              <a:cxn ang="0">
                <a:pos x="connsiteX48484" y="connsiteY48484"/>
              </a:cxn>
              <a:cxn ang="0">
                <a:pos x="connsiteX48485" y="connsiteY48485"/>
              </a:cxn>
              <a:cxn ang="0">
                <a:pos x="connsiteX48486" y="connsiteY48486"/>
              </a:cxn>
              <a:cxn ang="0">
                <a:pos x="connsiteX48487" y="connsiteY48487"/>
              </a:cxn>
              <a:cxn ang="0">
                <a:pos x="connsiteX48488" y="connsiteY48488"/>
              </a:cxn>
              <a:cxn ang="0">
                <a:pos x="connsiteX48489" y="connsiteY48489"/>
              </a:cxn>
              <a:cxn ang="0">
                <a:pos x="connsiteX48490" y="connsiteY48490"/>
              </a:cxn>
              <a:cxn ang="0">
                <a:pos x="connsiteX48491" y="connsiteY48491"/>
              </a:cxn>
              <a:cxn ang="0">
                <a:pos x="connsiteX48492" y="connsiteY48492"/>
              </a:cxn>
              <a:cxn ang="0">
                <a:pos x="connsiteX48493" y="connsiteY48493"/>
              </a:cxn>
              <a:cxn ang="0">
                <a:pos x="connsiteX48494" y="connsiteY48494"/>
              </a:cxn>
              <a:cxn ang="0">
                <a:pos x="connsiteX48495" y="connsiteY48495"/>
              </a:cxn>
              <a:cxn ang="0">
                <a:pos x="connsiteX48496" y="connsiteY48496"/>
              </a:cxn>
              <a:cxn ang="0">
                <a:pos x="connsiteX48497" y="connsiteY48497"/>
              </a:cxn>
              <a:cxn ang="0">
                <a:pos x="connsiteX48498" y="connsiteY48498"/>
              </a:cxn>
              <a:cxn ang="0">
                <a:pos x="connsiteX48499" y="connsiteY48499"/>
              </a:cxn>
              <a:cxn ang="0">
                <a:pos x="connsiteX48500" y="connsiteY48500"/>
              </a:cxn>
              <a:cxn ang="0">
                <a:pos x="connsiteX48501" y="connsiteY48501"/>
              </a:cxn>
              <a:cxn ang="0">
                <a:pos x="connsiteX48502" y="connsiteY48502"/>
              </a:cxn>
              <a:cxn ang="0">
                <a:pos x="connsiteX48503" y="connsiteY48503"/>
              </a:cxn>
              <a:cxn ang="0">
                <a:pos x="connsiteX48504" y="connsiteY48504"/>
              </a:cxn>
              <a:cxn ang="0">
                <a:pos x="connsiteX48505" y="connsiteY48505"/>
              </a:cxn>
              <a:cxn ang="0">
                <a:pos x="connsiteX48506" y="connsiteY48506"/>
              </a:cxn>
              <a:cxn ang="0">
                <a:pos x="connsiteX48507" y="connsiteY48507"/>
              </a:cxn>
              <a:cxn ang="0">
                <a:pos x="connsiteX48508" y="connsiteY48508"/>
              </a:cxn>
              <a:cxn ang="0">
                <a:pos x="connsiteX48509" y="connsiteY48509"/>
              </a:cxn>
              <a:cxn ang="0">
                <a:pos x="connsiteX48510" y="connsiteY48510"/>
              </a:cxn>
              <a:cxn ang="0">
                <a:pos x="connsiteX48511" y="connsiteY48511"/>
              </a:cxn>
              <a:cxn ang="0">
                <a:pos x="connsiteX48512" y="connsiteY48512"/>
              </a:cxn>
              <a:cxn ang="0">
                <a:pos x="connsiteX48513" y="connsiteY48513"/>
              </a:cxn>
              <a:cxn ang="0">
                <a:pos x="connsiteX48514" y="connsiteY48514"/>
              </a:cxn>
              <a:cxn ang="0">
                <a:pos x="connsiteX48515" y="connsiteY48515"/>
              </a:cxn>
              <a:cxn ang="0">
                <a:pos x="connsiteX48516" y="connsiteY48516"/>
              </a:cxn>
              <a:cxn ang="0">
                <a:pos x="connsiteX48517" y="connsiteY48517"/>
              </a:cxn>
              <a:cxn ang="0">
                <a:pos x="connsiteX48518" y="connsiteY48518"/>
              </a:cxn>
              <a:cxn ang="0">
                <a:pos x="connsiteX48519" y="connsiteY48519"/>
              </a:cxn>
              <a:cxn ang="0">
                <a:pos x="connsiteX48520" y="connsiteY48520"/>
              </a:cxn>
              <a:cxn ang="0">
                <a:pos x="connsiteX48521" y="connsiteY48521"/>
              </a:cxn>
              <a:cxn ang="0">
                <a:pos x="connsiteX48522" y="connsiteY48522"/>
              </a:cxn>
              <a:cxn ang="0">
                <a:pos x="connsiteX48523" y="connsiteY48523"/>
              </a:cxn>
              <a:cxn ang="0">
                <a:pos x="connsiteX48524" y="connsiteY48524"/>
              </a:cxn>
              <a:cxn ang="0">
                <a:pos x="connsiteX48525" y="connsiteY48525"/>
              </a:cxn>
              <a:cxn ang="0">
                <a:pos x="connsiteX48526" y="connsiteY48526"/>
              </a:cxn>
              <a:cxn ang="0">
                <a:pos x="connsiteX48527" y="connsiteY48527"/>
              </a:cxn>
              <a:cxn ang="0">
                <a:pos x="connsiteX48528" y="connsiteY48528"/>
              </a:cxn>
              <a:cxn ang="0">
                <a:pos x="connsiteX48529" y="connsiteY48529"/>
              </a:cxn>
              <a:cxn ang="0">
                <a:pos x="connsiteX48530" y="connsiteY48530"/>
              </a:cxn>
              <a:cxn ang="0">
                <a:pos x="connsiteX48531" y="connsiteY48531"/>
              </a:cxn>
              <a:cxn ang="0">
                <a:pos x="connsiteX48532" y="connsiteY48532"/>
              </a:cxn>
              <a:cxn ang="0">
                <a:pos x="connsiteX48533" y="connsiteY48533"/>
              </a:cxn>
              <a:cxn ang="0">
                <a:pos x="connsiteX48534" y="connsiteY48534"/>
              </a:cxn>
              <a:cxn ang="0">
                <a:pos x="connsiteX48535" y="connsiteY48535"/>
              </a:cxn>
              <a:cxn ang="0">
                <a:pos x="connsiteX48536" y="connsiteY48536"/>
              </a:cxn>
              <a:cxn ang="0">
                <a:pos x="connsiteX48537" y="connsiteY48537"/>
              </a:cxn>
              <a:cxn ang="0">
                <a:pos x="connsiteX48538" y="connsiteY48538"/>
              </a:cxn>
              <a:cxn ang="0">
                <a:pos x="connsiteX48539" y="connsiteY48539"/>
              </a:cxn>
              <a:cxn ang="0">
                <a:pos x="connsiteX48540" y="connsiteY48540"/>
              </a:cxn>
              <a:cxn ang="0">
                <a:pos x="connsiteX48541" y="connsiteY48541"/>
              </a:cxn>
              <a:cxn ang="0">
                <a:pos x="connsiteX48542" y="connsiteY48542"/>
              </a:cxn>
              <a:cxn ang="0">
                <a:pos x="connsiteX48543" y="connsiteY48543"/>
              </a:cxn>
              <a:cxn ang="0">
                <a:pos x="connsiteX48544" y="connsiteY48544"/>
              </a:cxn>
              <a:cxn ang="0">
                <a:pos x="connsiteX48545" y="connsiteY48545"/>
              </a:cxn>
              <a:cxn ang="0">
                <a:pos x="connsiteX48546" y="connsiteY48546"/>
              </a:cxn>
              <a:cxn ang="0">
                <a:pos x="connsiteX48547" y="connsiteY48547"/>
              </a:cxn>
              <a:cxn ang="0">
                <a:pos x="connsiteX48548" y="connsiteY48548"/>
              </a:cxn>
              <a:cxn ang="0">
                <a:pos x="connsiteX48549" y="connsiteY48549"/>
              </a:cxn>
              <a:cxn ang="0">
                <a:pos x="connsiteX48550" y="connsiteY48550"/>
              </a:cxn>
              <a:cxn ang="0">
                <a:pos x="connsiteX48551" y="connsiteY48551"/>
              </a:cxn>
              <a:cxn ang="0">
                <a:pos x="connsiteX48552" y="connsiteY48552"/>
              </a:cxn>
              <a:cxn ang="0">
                <a:pos x="connsiteX48553" y="connsiteY48553"/>
              </a:cxn>
              <a:cxn ang="0">
                <a:pos x="connsiteX48554" y="connsiteY48554"/>
              </a:cxn>
              <a:cxn ang="0">
                <a:pos x="connsiteX48555" y="connsiteY48555"/>
              </a:cxn>
              <a:cxn ang="0">
                <a:pos x="connsiteX48556" y="connsiteY48556"/>
              </a:cxn>
              <a:cxn ang="0">
                <a:pos x="connsiteX48557" y="connsiteY48557"/>
              </a:cxn>
              <a:cxn ang="0">
                <a:pos x="connsiteX48558" y="connsiteY48558"/>
              </a:cxn>
              <a:cxn ang="0">
                <a:pos x="connsiteX48559" y="connsiteY48559"/>
              </a:cxn>
              <a:cxn ang="0">
                <a:pos x="connsiteX48560" y="connsiteY48560"/>
              </a:cxn>
              <a:cxn ang="0">
                <a:pos x="connsiteX48561" y="connsiteY48561"/>
              </a:cxn>
              <a:cxn ang="0">
                <a:pos x="connsiteX48562" y="connsiteY48562"/>
              </a:cxn>
              <a:cxn ang="0">
                <a:pos x="connsiteX48563" y="connsiteY48563"/>
              </a:cxn>
              <a:cxn ang="0">
                <a:pos x="connsiteX48564" y="connsiteY48564"/>
              </a:cxn>
              <a:cxn ang="0">
                <a:pos x="connsiteX48565" y="connsiteY48565"/>
              </a:cxn>
              <a:cxn ang="0">
                <a:pos x="connsiteX48566" y="connsiteY48566"/>
              </a:cxn>
              <a:cxn ang="0">
                <a:pos x="connsiteX48567" y="connsiteY48567"/>
              </a:cxn>
              <a:cxn ang="0">
                <a:pos x="connsiteX48568" y="connsiteY48568"/>
              </a:cxn>
              <a:cxn ang="0">
                <a:pos x="connsiteX48569" y="connsiteY48569"/>
              </a:cxn>
              <a:cxn ang="0">
                <a:pos x="connsiteX48570" y="connsiteY48570"/>
              </a:cxn>
              <a:cxn ang="0">
                <a:pos x="connsiteX48571" y="connsiteY48571"/>
              </a:cxn>
              <a:cxn ang="0">
                <a:pos x="connsiteX48572" y="connsiteY48572"/>
              </a:cxn>
              <a:cxn ang="0">
                <a:pos x="connsiteX48573" y="connsiteY48573"/>
              </a:cxn>
              <a:cxn ang="0">
                <a:pos x="connsiteX48574" y="connsiteY48574"/>
              </a:cxn>
              <a:cxn ang="0">
                <a:pos x="connsiteX48575" y="connsiteY48575"/>
              </a:cxn>
              <a:cxn ang="0">
                <a:pos x="connsiteX48576" y="connsiteY48576"/>
              </a:cxn>
              <a:cxn ang="0">
                <a:pos x="connsiteX48577" y="connsiteY48577"/>
              </a:cxn>
              <a:cxn ang="0">
                <a:pos x="connsiteX48578" y="connsiteY48578"/>
              </a:cxn>
              <a:cxn ang="0">
                <a:pos x="connsiteX48579" y="connsiteY48579"/>
              </a:cxn>
              <a:cxn ang="0">
                <a:pos x="connsiteX48580" y="connsiteY48580"/>
              </a:cxn>
              <a:cxn ang="0">
                <a:pos x="connsiteX48581" y="connsiteY48581"/>
              </a:cxn>
              <a:cxn ang="0">
                <a:pos x="connsiteX48582" y="connsiteY48582"/>
              </a:cxn>
              <a:cxn ang="0">
                <a:pos x="connsiteX48583" y="connsiteY48583"/>
              </a:cxn>
              <a:cxn ang="0">
                <a:pos x="connsiteX48584" y="connsiteY48584"/>
              </a:cxn>
              <a:cxn ang="0">
                <a:pos x="connsiteX48585" y="connsiteY48585"/>
              </a:cxn>
              <a:cxn ang="0">
                <a:pos x="connsiteX48586" y="connsiteY48586"/>
              </a:cxn>
              <a:cxn ang="0">
                <a:pos x="connsiteX48587" y="connsiteY48587"/>
              </a:cxn>
              <a:cxn ang="0">
                <a:pos x="connsiteX48588" y="connsiteY48588"/>
              </a:cxn>
              <a:cxn ang="0">
                <a:pos x="connsiteX48589" y="connsiteY48589"/>
              </a:cxn>
              <a:cxn ang="0">
                <a:pos x="connsiteX48590" y="connsiteY48590"/>
              </a:cxn>
              <a:cxn ang="0">
                <a:pos x="connsiteX48591" y="connsiteY48591"/>
              </a:cxn>
              <a:cxn ang="0">
                <a:pos x="connsiteX48592" y="connsiteY48592"/>
              </a:cxn>
              <a:cxn ang="0">
                <a:pos x="connsiteX48593" y="connsiteY48593"/>
              </a:cxn>
              <a:cxn ang="0">
                <a:pos x="connsiteX48594" y="connsiteY48594"/>
              </a:cxn>
              <a:cxn ang="0">
                <a:pos x="connsiteX48595" y="connsiteY48595"/>
              </a:cxn>
              <a:cxn ang="0">
                <a:pos x="connsiteX48596" y="connsiteY48596"/>
              </a:cxn>
              <a:cxn ang="0">
                <a:pos x="connsiteX48597" y="connsiteY48597"/>
              </a:cxn>
              <a:cxn ang="0">
                <a:pos x="connsiteX48598" y="connsiteY48598"/>
              </a:cxn>
              <a:cxn ang="0">
                <a:pos x="connsiteX48599" y="connsiteY48599"/>
              </a:cxn>
              <a:cxn ang="0">
                <a:pos x="connsiteX48600" y="connsiteY48600"/>
              </a:cxn>
              <a:cxn ang="0">
                <a:pos x="connsiteX48601" y="connsiteY48601"/>
              </a:cxn>
              <a:cxn ang="0">
                <a:pos x="connsiteX48602" y="connsiteY48602"/>
              </a:cxn>
              <a:cxn ang="0">
                <a:pos x="connsiteX48603" y="connsiteY48603"/>
              </a:cxn>
              <a:cxn ang="0">
                <a:pos x="connsiteX48604" y="connsiteY48604"/>
              </a:cxn>
              <a:cxn ang="0">
                <a:pos x="connsiteX48605" y="connsiteY48605"/>
              </a:cxn>
              <a:cxn ang="0">
                <a:pos x="connsiteX48606" y="connsiteY48606"/>
              </a:cxn>
              <a:cxn ang="0">
                <a:pos x="connsiteX48607" y="connsiteY48607"/>
              </a:cxn>
              <a:cxn ang="0">
                <a:pos x="connsiteX48608" y="connsiteY48608"/>
              </a:cxn>
              <a:cxn ang="0">
                <a:pos x="connsiteX48609" y="connsiteY48609"/>
              </a:cxn>
              <a:cxn ang="0">
                <a:pos x="connsiteX48610" y="connsiteY48610"/>
              </a:cxn>
              <a:cxn ang="0">
                <a:pos x="connsiteX48611" y="connsiteY48611"/>
              </a:cxn>
              <a:cxn ang="0">
                <a:pos x="connsiteX48612" y="connsiteY48612"/>
              </a:cxn>
              <a:cxn ang="0">
                <a:pos x="connsiteX48613" y="connsiteY48613"/>
              </a:cxn>
              <a:cxn ang="0">
                <a:pos x="connsiteX48614" y="connsiteY48614"/>
              </a:cxn>
              <a:cxn ang="0">
                <a:pos x="connsiteX48615" y="connsiteY48615"/>
              </a:cxn>
              <a:cxn ang="0">
                <a:pos x="connsiteX48616" y="connsiteY48616"/>
              </a:cxn>
              <a:cxn ang="0">
                <a:pos x="connsiteX48617" y="connsiteY48617"/>
              </a:cxn>
              <a:cxn ang="0">
                <a:pos x="connsiteX48618" y="connsiteY48618"/>
              </a:cxn>
              <a:cxn ang="0">
                <a:pos x="connsiteX48619" y="connsiteY48619"/>
              </a:cxn>
              <a:cxn ang="0">
                <a:pos x="connsiteX48620" y="connsiteY48620"/>
              </a:cxn>
              <a:cxn ang="0">
                <a:pos x="connsiteX48621" y="connsiteY48621"/>
              </a:cxn>
              <a:cxn ang="0">
                <a:pos x="connsiteX48622" y="connsiteY48622"/>
              </a:cxn>
              <a:cxn ang="0">
                <a:pos x="connsiteX48623" y="connsiteY48623"/>
              </a:cxn>
              <a:cxn ang="0">
                <a:pos x="connsiteX48624" y="connsiteY48624"/>
              </a:cxn>
              <a:cxn ang="0">
                <a:pos x="connsiteX48625" y="connsiteY48625"/>
              </a:cxn>
              <a:cxn ang="0">
                <a:pos x="connsiteX48626" y="connsiteY48626"/>
              </a:cxn>
              <a:cxn ang="0">
                <a:pos x="connsiteX48627" y="connsiteY48627"/>
              </a:cxn>
              <a:cxn ang="0">
                <a:pos x="connsiteX48628" y="connsiteY48628"/>
              </a:cxn>
              <a:cxn ang="0">
                <a:pos x="connsiteX48629" y="connsiteY48629"/>
              </a:cxn>
              <a:cxn ang="0">
                <a:pos x="connsiteX48630" y="connsiteY48630"/>
              </a:cxn>
              <a:cxn ang="0">
                <a:pos x="connsiteX48631" y="connsiteY48631"/>
              </a:cxn>
              <a:cxn ang="0">
                <a:pos x="connsiteX48632" y="connsiteY48632"/>
              </a:cxn>
              <a:cxn ang="0">
                <a:pos x="connsiteX48633" y="connsiteY48633"/>
              </a:cxn>
              <a:cxn ang="0">
                <a:pos x="connsiteX48634" y="connsiteY48634"/>
              </a:cxn>
              <a:cxn ang="0">
                <a:pos x="connsiteX48635" y="connsiteY48635"/>
              </a:cxn>
              <a:cxn ang="0">
                <a:pos x="connsiteX48636" y="connsiteY48636"/>
              </a:cxn>
              <a:cxn ang="0">
                <a:pos x="connsiteX48637" y="connsiteY48637"/>
              </a:cxn>
              <a:cxn ang="0">
                <a:pos x="connsiteX48638" y="connsiteY48638"/>
              </a:cxn>
              <a:cxn ang="0">
                <a:pos x="connsiteX48639" y="connsiteY48639"/>
              </a:cxn>
              <a:cxn ang="0">
                <a:pos x="connsiteX48640" y="connsiteY48640"/>
              </a:cxn>
              <a:cxn ang="0">
                <a:pos x="connsiteX48641" y="connsiteY48641"/>
              </a:cxn>
              <a:cxn ang="0">
                <a:pos x="connsiteX48642" y="connsiteY48642"/>
              </a:cxn>
              <a:cxn ang="0">
                <a:pos x="connsiteX48643" y="connsiteY48643"/>
              </a:cxn>
              <a:cxn ang="0">
                <a:pos x="connsiteX48644" y="connsiteY48644"/>
              </a:cxn>
              <a:cxn ang="0">
                <a:pos x="connsiteX48645" y="connsiteY48645"/>
              </a:cxn>
              <a:cxn ang="0">
                <a:pos x="connsiteX48646" y="connsiteY48646"/>
              </a:cxn>
              <a:cxn ang="0">
                <a:pos x="connsiteX48647" y="connsiteY48647"/>
              </a:cxn>
              <a:cxn ang="0">
                <a:pos x="connsiteX48648" y="connsiteY48648"/>
              </a:cxn>
              <a:cxn ang="0">
                <a:pos x="connsiteX48649" y="connsiteY48649"/>
              </a:cxn>
              <a:cxn ang="0">
                <a:pos x="connsiteX48650" y="connsiteY48650"/>
              </a:cxn>
              <a:cxn ang="0">
                <a:pos x="connsiteX48651" y="connsiteY48651"/>
              </a:cxn>
              <a:cxn ang="0">
                <a:pos x="connsiteX48652" y="connsiteY48652"/>
              </a:cxn>
              <a:cxn ang="0">
                <a:pos x="connsiteX48653" y="connsiteY48653"/>
              </a:cxn>
              <a:cxn ang="0">
                <a:pos x="connsiteX48654" y="connsiteY48654"/>
              </a:cxn>
              <a:cxn ang="0">
                <a:pos x="connsiteX48655" y="connsiteY48655"/>
              </a:cxn>
              <a:cxn ang="0">
                <a:pos x="connsiteX48656" y="connsiteY48656"/>
              </a:cxn>
              <a:cxn ang="0">
                <a:pos x="connsiteX48657" y="connsiteY48657"/>
              </a:cxn>
              <a:cxn ang="0">
                <a:pos x="connsiteX48658" y="connsiteY48658"/>
              </a:cxn>
              <a:cxn ang="0">
                <a:pos x="connsiteX48659" y="connsiteY48659"/>
              </a:cxn>
              <a:cxn ang="0">
                <a:pos x="connsiteX48660" y="connsiteY48660"/>
              </a:cxn>
              <a:cxn ang="0">
                <a:pos x="connsiteX48661" y="connsiteY48661"/>
              </a:cxn>
              <a:cxn ang="0">
                <a:pos x="connsiteX48662" y="connsiteY48662"/>
              </a:cxn>
              <a:cxn ang="0">
                <a:pos x="connsiteX48663" y="connsiteY48663"/>
              </a:cxn>
              <a:cxn ang="0">
                <a:pos x="connsiteX48664" y="connsiteY48664"/>
              </a:cxn>
              <a:cxn ang="0">
                <a:pos x="connsiteX48665" y="connsiteY48665"/>
              </a:cxn>
              <a:cxn ang="0">
                <a:pos x="connsiteX48666" y="connsiteY48666"/>
              </a:cxn>
              <a:cxn ang="0">
                <a:pos x="connsiteX48667" y="connsiteY48667"/>
              </a:cxn>
              <a:cxn ang="0">
                <a:pos x="connsiteX48668" y="connsiteY48668"/>
              </a:cxn>
              <a:cxn ang="0">
                <a:pos x="connsiteX48669" y="connsiteY48669"/>
              </a:cxn>
              <a:cxn ang="0">
                <a:pos x="connsiteX48670" y="connsiteY48670"/>
              </a:cxn>
              <a:cxn ang="0">
                <a:pos x="connsiteX48671" y="connsiteY48671"/>
              </a:cxn>
              <a:cxn ang="0">
                <a:pos x="connsiteX48672" y="connsiteY48672"/>
              </a:cxn>
              <a:cxn ang="0">
                <a:pos x="connsiteX48673" y="connsiteY48673"/>
              </a:cxn>
              <a:cxn ang="0">
                <a:pos x="connsiteX48674" y="connsiteY48674"/>
              </a:cxn>
              <a:cxn ang="0">
                <a:pos x="connsiteX48675" y="connsiteY48675"/>
              </a:cxn>
              <a:cxn ang="0">
                <a:pos x="connsiteX48676" y="connsiteY48676"/>
              </a:cxn>
              <a:cxn ang="0">
                <a:pos x="connsiteX48677" y="connsiteY48677"/>
              </a:cxn>
              <a:cxn ang="0">
                <a:pos x="connsiteX48678" y="connsiteY48678"/>
              </a:cxn>
              <a:cxn ang="0">
                <a:pos x="connsiteX48679" y="connsiteY48679"/>
              </a:cxn>
              <a:cxn ang="0">
                <a:pos x="connsiteX48680" y="connsiteY48680"/>
              </a:cxn>
              <a:cxn ang="0">
                <a:pos x="connsiteX48681" y="connsiteY48681"/>
              </a:cxn>
              <a:cxn ang="0">
                <a:pos x="connsiteX48682" y="connsiteY48682"/>
              </a:cxn>
              <a:cxn ang="0">
                <a:pos x="connsiteX48683" y="connsiteY48683"/>
              </a:cxn>
              <a:cxn ang="0">
                <a:pos x="connsiteX48684" y="connsiteY48684"/>
              </a:cxn>
              <a:cxn ang="0">
                <a:pos x="connsiteX48685" y="connsiteY48685"/>
              </a:cxn>
              <a:cxn ang="0">
                <a:pos x="connsiteX48686" y="connsiteY48686"/>
              </a:cxn>
              <a:cxn ang="0">
                <a:pos x="connsiteX48687" y="connsiteY48687"/>
              </a:cxn>
              <a:cxn ang="0">
                <a:pos x="connsiteX48688" y="connsiteY48688"/>
              </a:cxn>
              <a:cxn ang="0">
                <a:pos x="connsiteX48689" y="connsiteY48689"/>
              </a:cxn>
              <a:cxn ang="0">
                <a:pos x="connsiteX48690" y="connsiteY48690"/>
              </a:cxn>
              <a:cxn ang="0">
                <a:pos x="connsiteX48691" y="connsiteY48691"/>
              </a:cxn>
              <a:cxn ang="0">
                <a:pos x="connsiteX48692" y="connsiteY48692"/>
              </a:cxn>
              <a:cxn ang="0">
                <a:pos x="connsiteX48693" y="connsiteY48693"/>
              </a:cxn>
              <a:cxn ang="0">
                <a:pos x="connsiteX48694" y="connsiteY48694"/>
              </a:cxn>
              <a:cxn ang="0">
                <a:pos x="connsiteX48695" y="connsiteY48695"/>
              </a:cxn>
              <a:cxn ang="0">
                <a:pos x="connsiteX48696" y="connsiteY48696"/>
              </a:cxn>
              <a:cxn ang="0">
                <a:pos x="connsiteX48697" y="connsiteY48697"/>
              </a:cxn>
              <a:cxn ang="0">
                <a:pos x="connsiteX48698" y="connsiteY48698"/>
              </a:cxn>
              <a:cxn ang="0">
                <a:pos x="connsiteX48699" y="connsiteY48699"/>
              </a:cxn>
              <a:cxn ang="0">
                <a:pos x="connsiteX48700" y="connsiteY48700"/>
              </a:cxn>
              <a:cxn ang="0">
                <a:pos x="connsiteX48701" y="connsiteY48701"/>
              </a:cxn>
              <a:cxn ang="0">
                <a:pos x="connsiteX48702" y="connsiteY48702"/>
              </a:cxn>
              <a:cxn ang="0">
                <a:pos x="connsiteX48703" y="connsiteY48703"/>
              </a:cxn>
              <a:cxn ang="0">
                <a:pos x="connsiteX48704" y="connsiteY48704"/>
              </a:cxn>
              <a:cxn ang="0">
                <a:pos x="connsiteX48705" y="connsiteY48705"/>
              </a:cxn>
              <a:cxn ang="0">
                <a:pos x="connsiteX48706" y="connsiteY48706"/>
              </a:cxn>
              <a:cxn ang="0">
                <a:pos x="connsiteX48707" y="connsiteY48707"/>
              </a:cxn>
              <a:cxn ang="0">
                <a:pos x="connsiteX48708" y="connsiteY48708"/>
              </a:cxn>
              <a:cxn ang="0">
                <a:pos x="connsiteX48709" y="connsiteY48709"/>
              </a:cxn>
              <a:cxn ang="0">
                <a:pos x="connsiteX48710" y="connsiteY48710"/>
              </a:cxn>
              <a:cxn ang="0">
                <a:pos x="connsiteX48711" y="connsiteY48711"/>
              </a:cxn>
              <a:cxn ang="0">
                <a:pos x="connsiteX48712" y="connsiteY48712"/>
              </a:cxn>
              <a:cxn ang="0">
                <a:pos x="connsiteX48713" y="connsiteY48713"/>
              </a:cxn>
              <a:cxn ang="0">
                <a:pos x="connsiteX48714" y="connsiteY48714"/>
              </a:cxn>
              <a:cxn ang="0">
                <a:pos x="connsiteX48715" y="connsiteY48715"/>
              </a:cxn>
              <a:cxn ang="0">
                <a:pos x="connsiteX48716" y="connsiteY48716"/>
              </a:cxn>
              <a:cxn ang="0">
                <a:pos x="connsiteX48717" y="connsiteY48717"/>
              </a:cxn>
              <a:cxn ang="0">
                <a:pos x="connsiteX48718" y="connsiteY48718"/>
              </a:cxn>
              <a:cxn ang="0">
                <a:pos x="connsiteX48719" y="connsiteY48719"/>
              </a:cxn>
              <a:cxn ang="0">
                <a:pos x="connsiteX48720" y="connsiteY48720"/>
              </a:cxn>
              <a:cxn ang="0">
                <a:pos x="connsiteX48721" y="connsiteY48721"/>
              </a:cxn>
              <a:cxn ang="0">
                <a:pos x="connsiteX48722" y="connsiteY48722"/>
              </a:cxn>
              <a:cxn ang="0">
                <a:pos x="connsiteX48723" y="connsiteY48723"/>
              </a:cxn>
              <a:cxn ang="0">
                <a:pos x="connsiteX48724" y="connsiteY48724"/>
              </a:cxn>
              <a:cxn ang="0">
                <a:pos x="connsiteX48725" y="connsiteY48725"/>
              </a:cxn>
              <a:cxn ang="0">
                <a:pos x="connsiteX48726" y="connsiteY48726"/>
              </a:cxn>
              <a:cxn ang="0">
                <a:pos x="connsiteX48727" y="connsiteY48727"/>
              </a:cxn>
              <a:cxn ang="0">
                <a:pos x="connsiteX48728" y="connsiteY48728"/>
              </a:cxn>
              <a:cxn ang="0">
                <a:pos x="connsiteX48729" y="connsiteY48729"/>
              </a:cxn>
              <a:cxn ang="0">
                <a:pos x="connsiteX48730" y="connsiteY48730"/>
              </a:cxn>
              <a:cxn ang="0">
                <a:pos x="connsiteX48731" y="connsiteY48731"/>
              </a:cxn>
              <a:cxn ang="0">
                <a:pos x="connsiteX48732" y="connsiteY48732"/>
              </a:cxn>
              <a:cxn ang="0">
                <a:pos x="connsiteX48733" y="connsiteY48733"/>
              </a:cxn>
              <a:cxn ang="0">
                <a:pos x="connsiteX48734" y="connsiteY48734"/>
              </a:cxn>
              <a:cxn ang="0">
                <a:pos x="connsiteX48735" y="connsiteY48735"/>
              </a:cxn>
              <a:cxn ang="0">
                <a:pos x="connsiteX48736" y="connsiteY48736"/>
              </a:cxn>
              <a:cxn ang="0">
                <a:pos x="connsiteX48737" y="connsiteY48737"/>
              </a:cxn>
              <a:cxn ang="0">
                <a:pos x="connsiteX48738" y="connsiteY48738"/>
              </a:cxn>
              <a:cxn ang="0">
                <a:pos x="connsiteX48739" y="connsiteY48739"/>
              </a:cxn>
              <a:cxn ang="0">
                <a:pos x="connsiteX48740" y="connsiteY48740"/>
              </a:cxn>
              <a:cxn ang="0">
                <a:pos x="connsiteX48741" y="connsiteY48741"/>
              </a:cxn>
              <a:cxn ang="0">
                <a:pos x="connsiteX48742" y="connsiteY48742"/>
              </a:cxn>
              <a:cxn ang="0">
                <a:pos x="connsiteX48743" y="connsiteY48743"/>
              </a:cxn>
              <a:cxn ang="0">
                <a:pos x="connsiteX48744" y="connsiteY48744"/>
              </a:cxn>
              <a:cxn ang="0">
                <a:pos x="connsiteX48745" y="connsiteY48745"/>
              </a:cxn>
              <a:cxn ang="0">
                <a:pos x="connsiteX48746" y="connsiteY48746"/>
              </a:cxn>
              <a:cxn ang="0">
                <a:pos x="connsiteX48747" y="connsiteY48747"/>
              </a:cxn>
              <a:cxn ang="0">
                <a:pos x="connsiteX48748" y="connsiteY48748"/>
              </a:cxn>
              <a:cxn ang="0">
                <a:pos x="connsiteX48749" y="connsiteY48749"/>
              </a:cxn>
              <a:cxn ang="0">
                <a:pos x="connsiteX48750" y="connsiteY48750"/>
              </a:cxn>
              <a:cxn ang="0">
                <a:pos x="connsiteX48751" y="connsiteY48751"/>
              </a:cxn>
              <a:cxn ang="0">
                <a:pos x="connsiteX48752" y="connsiteY48752"/>
              </a:cxn>
              <a:cxn ang="0">
                <a:pos x="connsiteX48753" y="connsiteY48753"/>
              </a:cxn>
              <a:cxn ang="0">
                <a:pos x="connsiteX48754" y="connsiteY48754"/>
              </a:cxn>
              <a:cxn ang="0">
                <a:pos x="connsiteX48755" y="connsiteY48755"/>
              </a:cxn>
              <a:cxn ang="0">
                <a:pos x="connsiteX48756" y="connsiteY48756"/>
              </a:cxn>
              <a:cxn ang="0">
                <a:pos x="connsiteX48757" y="connsiteY48757"/>
              </a:cxn>
              <a:cxn ang="0">
                <a:pos x="connsiteX48758" y="connsiteY48758"/>
              </a:cxn>
              <a:cxn ang="0">
                <a:pos x="connsiteX48759" y="connsiteY48759"/>
              </a:cxn>
              <a:cxn ang="0">
                <a:pos x="connsiteX48760" y="connsiteY48760"/>
              </a:cxn>
              <a:cxn ang="0">
                <a:pos x="connsiteX48761" y="connsiteY48761"/>
              </a:cxn>
              <a:cxn ang="0">
                <a:pos x="connsiteX48762" y="connsiteY48762"/>
              </a:cxn>
              <a:cxn ang="0">
                <a:pos x="connsiteX48763" y="connsiteY48763"/>
              </a:cxn>
              <a:cxn ang="0">
                <a:pos x="connsiteX48764" y="connsiteY48764"/>
              </a:cxn>
              <a:cxn ang="0">
                <a:pos x="connsiteX48765" y="connsiteY48765"/>
              </a:cxn>
              <a:cxn ang="0">
                <a:pos x="connsiteX48766" y="connsiteY48766"/>
              </a:cxn>
              <a:cxn ang="0">
                <a:pos x="connsiteX48767" y="connsiteY48767"/>
              </a:cxn>
              <a:cxn ang="0">
                <a:pos x="connsiteX48768" y="connsiteY48768"/>
              </a:cxn>
              <a:cxn ang="0">
                <a:pos x="connsiteX48769" y="connsiteY48769"/>
              </a:cxn>
              <a:cxn ang="0">
                <a:pos x="connsiteX48770" y="connsiteY48770"/>
              </a:cxn>
              <a:cxn ang="0">
                <a:pos x="connsiteX48771" y="connsiteY48771"/>
              </a:cxn>
              <a:cxn ang="0">
                <a:pos x="connsiteX48772" y="connsiteY48772"/>
              </a:cxn>
              <a:cxn ang="0">
                <a:pos x="connsiteX48773" y="connsiteY48773"/>
              </a:cxn>
              <a:cxn ang="0">
                <a:pos x="connsiteX48774" y="connsiteY48774"/>
              </a:cxn>
              <a:cxn ang="0">
                <a:pos x="connsiteX48775" y="connsiteY48775"/>
              </a:cxn>
              <a:cxn ang="0">
                <a:pos x="connsiteX48776" y="connsiteY48776"/>
              </a:cxn>
              <a:cxn ang="0">
                <a:pos x="connsiteX48777" y="connsiteY48777"/>
              </a:cxn>
              <a:cxn ang="0">
                <a:pos x="connsiteX48778" y="connsiteY48778"/>
              </a:cxn>
              <a:cxn ang="0">
                <a:pos x="connsiteX48779" y="connsiteY48779"/>
              </a:cxn>
              <a:cxn ang="0">
                <a:pos x="connsiteX48780" y="connsiteY48780"/>
              </a:cxn>
              <a:cxn ang="0">
                <a:pos x="connsiteX48781" y="connsiteY48781"/>
              </a:cxn>
              <a:cxn ang="0">
                <a:pos x="connsiteX48782" y="connsiteY48782"/>
              </a:cxn>
              <a:cxn ang="0">
                <a:pos x="connsiteX48783" y="connsiteY48783"/>
              </a:cxn>
              <a:cxn ang="0">
                <a:pos x="connsiteX48784" y="connsiteY48784"/>
              </a:cxn>
              <a:cxn ang="0">
                <a:pos x="connsiteX48785" y="connsiteY48785"/>
              </a:cxn>
              <a:cxn ang="0">
                <a:pos x="connsiteX48786" y="connsiteY48786"/>
              </a:cxn>
              <a:cxn ang="0">
                <a:pos x="connsiteX48787" y="connsiteY48787"/>
              </a:cxn>
              <a:cxn ang="0">
                <a:pos x="connsiteX48788" y="connsiteY48788"/>
              </a:cxn>
              <a:cxn ang="0">
                <a:pos x="connsiteX48789" y="connsiteY48789"/>
              </a:cxn>
              <a:cxn ang="0">
                <a:pos x="connsiteX48790" y="connsiteY48790"/>
              </a:cxn>
              <a:cxn ang="0">
                <a:pos x="connsiteX48791" y="connsiteY48791"/>
              </a:cxn>
              <a:cxn ang="0">
                <a:pos x="connsiteX48792" y="connsiteY48792"/>
              </a:cxn>
              <a:cxn ang="0">
                <a:pos x="connsiteX48793" y="connsiteY48793"/>
              </a:cxn>
              <a:cxn ang="0">
                <a:pos x="connsiteX48794" y="connsiteY48794"/>
              </a:cxn>
              <a:cxn ang="0">
                <a:pos x="connsiteX48795" y="connsiteY48795"/>
              </a:cxn>
              <a:cxn ang="0">
                <a:pos x="connsiteX48796" y="connsiteY48796"/>
              </a:cxn>
              <a:cxn ang="0">
                <a:pos x="connsiteX48797" y="connsiteY48797"/>
              </a:cxn>
              <a:cxn ang="0">
                <a:pos x="connsiteX48798" y="connsiteY48798"/>
              </a:cxn>
              <a:cxn ang="0">
                <a:pos x="connsiteX48799" y="connsiteY48799"/>
              </a:cxn>
              <a:cxn ang="0">
                <a:pos x="connsiteX48800" y="connsiteY48800"/>
              </a:cxn>
              <a:cxn ang="0">
                <a:pos x="connsiteX48801" y="connsiteY48801"/>
              </a:cxn>
              <a:cxn ang="0">
                <a:pos x="connsiteX48802" y="connsiteY48802"/>
              </a:cxn>
              <a:cxn ang="0">
                <a:pos x="connsiteX48803" y="connsiteY48803"/>
              </a:cxn>
              <a:cxn ang="0">
                <a:pos x="connsiteX48804" y="connsiteY48804"/>
              </a:cxn>
              <a:cxn ang="0">
                <a:pos x="connsiteX48805" y="connsiteY48805"/>
              </a:cxn>
              <a:cxn ang="0">
                <a:pos x="connsiteX48806" y="connsiteY48806"/>
              </a:cxn>
              <a:cxn ang="0">
                <a:pos x="connsiteX48807" y="connsiteY48807"/>
              </a:cxn>
              <a:cxn ang="0">
                <a:pos x="connsiteX48808" y="connsiteY48808"/>
              </a:cxn>
              <a:cxn ang="0">
                <a:pos x="connsiteX48809" y="connsiteY48809"/>
              </a:cxn>
              <a:cxn ang="0">
                <a:pos x="connsiteX48810" y="connsiteY48810"/>
              </a:cxn>
              <a:cxn ang="0">
                <a:pos x="connsiteX48811" y="connsiteY48811"/>
              </a:cxn>
              <a:cxn ang="0">
                <a:pos x="connsiteX48812" y="connsiteY48812"/>
              </a:cxn>
              <a:cxn ang="0">
                <a:pos x="connsiteX48813" y="connsiteY48813"/>
              </a:cxn>
              <a:cxn ang="0">
                <a:pos x="connsiteX48814" y="connsiteY48814"/>
              </a:cxn>
              <a:cxn ang="0">
                <a:pos x="connsiteX48815" y="connsiteY48815"/>
              </a:cxn>
              <a:cxn ang="0">
                <a:pos x="connsiteX48816" y="connsiteY48816"/>
              </a:cxn>
              <a:cxn ang="0">
                <a:pos x="connsiteX48817" y="connsiteY48817"/>
              </a:cxn>
              <a:cxn ang="0">
                <a:pos x="connsiteX48818" y="connsiteY48818"/>
              </a:cxn>
              <a:cxn ang="0">
                <a:pos x="connsiteX48819" y="connsiteY48819"/>
              </a:cxn>
              <a:cxn ang="0">
                <a:pos x="connsiteX48820" y="connsiteY48820"/>
              </a:cxn>
              <a:cxn ang="0">
                <a:pos x="connsiteX48821" y="connsiteY48821"/>
              </a:cxn>
              <a:cxn ang="0">
                <a:pos x="connsiteX48822" y="connsiteY48822"/>
              </a:cxn>
              <a:cxn ang="0">
                <a:pos x="connsiteX48823" y="connsiteY48823"/>
              </a:cxn>
              <a:cxn ang="0">
                <a:pos x="connsiteX48824" y="connsiteY48824"/>
              </a:cxn>
              <a:cxn ang="0">
                <a:pos x="connsiteX48825" y="connsiteY48825"/>
              </a:cxn>
              <a:cxn ang="0">
                <a:pos x="connsiteX48826" y="connsiteY48826"/>
              </a:cxn>
              <a:cxn ang="0">
                <a:pos x="connsiteX48827" y="connsiteY48827"/>
              </a:cxn>
              <a:cxn ang="0">
                <a:pos x="connsiteX48828" y="connsiteY48828"/>
              </a:cxn>
              <a:cxn ang="0">
                <a:pos x="connsiteX48829" y="connsiteY48829"/>
              </a:cxn>
              <a:cxn ang="0">
                <a:pos x="connsiteX48830" y="connsiteY48830"/>
              </a:cxn>
              <a:cxn ang="0">
                <a:pos x="connsiteX48831" y="connsiteY48831"/>
              </a:cxn>
              <a:cxn ang="0">
                <a:pos x="connsiteX48832" y="connsiteY48832"/>
              </a:cxn>
              <a:cxn ang="0">
                <a:pos x="connsiteX48833" y="connsiteY48833"/>
              </a:cxn>
              <a:cxn ang="0">
                <a:pos x="connsiteX48834" y="connsiteY48834"/>
              </a:cxn>
              <a:cxn ang="0">
                <a:pos x="connsiteX48835" y="connsiteY48835"/>
              </a:cxn>
              <a:cxn ang="0">
                <a:pos x="connsiteX48836" y="connsiteY48836"/>
              </a:cxn>
              <a:cxn ang="0">
                <a:pos x="connsiteX48837" y="connsiteY48837"/>
              </a:cxn>
              <a:cxn ang="0">
                <a:pos x="connsiteX48838" y="connsiteY48838"/>
              </a:cxn>
              <a:cxn ang="0">
                <a:pos x="connsiteX48839" y="connsiteY48839"/>
              </a:cxn>
              <a:cxn ang="0">
                <a:pos x="connsiteX48840" y="connsiteY48840"/>
              </a:cxn>
              <a:cxn ang="0">
                <a:pos x="connsiteX48841" y="connsiteY48841"/>
              </a:cxn>
              <a:cxn ang="0">
                <a:pos x="connsiteX48842" y="connsiteY48842"/>
              </a:cxn>
              <a:cxn ang="0">
                <a:pos x="connsiteX48843" y="connsiteY48843"/>
              </a:cxn>
              <a:cxn ang="0">
                <a:pos x="connsiteX48844" y="connsiteY48844"/>
              </a:cxn>
              <a:cxn ang="0">
                <a:pos x="connsiteX48845" y="connsiteY48845"/>
              </a:cxn>
              <a:cxn ang="0">
                <a:pos x="connsiteX48846" y="connsiteY48846"/>
              </a:cxn>
              <a:cxn ang="0">
                <a:pos x="connsiteX48847" y="connsiteY48847"/>
              </a:cxn>
              <a:cxn ang="0">
                <a:pos x="connsiteX48848" y="connsiteY48848"/>
              </a:cxn>
              <a:cxn ang="0">
                <a:pos x="connsiteX48849" y="connsiteY48849"/>
              </a:cxn>
              <a:cxn ang="0">
                <a:pos x="connsiteX48850" y="connsiteY48850"/>
              </a:cxn>
              <a:cxn ang="0">
                <a:pos x="connsiteX48851" y="connsiteY48851"/>
              </a:cxn>
              <a:cxn ang="0">
                <a:pos x="connsiteX48852" y="connsiteY48852"/>
              </a:cxn>
              <a:cxn ang="0">
                <a:pos x="connsiteX48853" y="connsiteY48853"/>
              </a:cxn>
              <a:cxn ang="0">
                <a:pos x="connsiteX48854" y="connsiteY48854"/>
              </a:cxn>
              <a:cxn ang="0">
                <a:pos x="connsiteX48855" y="connsiteY48855"/>
              </a:cxn>
              <a:cxn ang="0">
                <a:pos x="connsiteX48856" y="connsiteY48856"/>
              </a:cxn>
              <a:cxn ang="0">
                <a:pos x="connsiteX48857" y="connsiteY48857"/>
              </a:cxn>
              <a:cxn ang="0">
                <a:pos x="connsiteX48858" y="connsiteY48858"/>
              </a:cxn>
              <a:cxn ang="0">
                <a:pos x="connsiteX48859" y="connsiteY48859"/>
              </a:cxn>
              <a:cxn ang="0">
                <a:pos x="connsiteX48860" y="connsiteY48860"/>
              </a:cxn>
              <a:cxn ang="0">
                <a:pos x="connsiteX48861" y="connsiteY48861"/>
              </a:cxn>
              <a:cxn ang="0">
                <a:pos x="connsiteX48862" y="connsiteY48862"/>
              </a:cxn>
              <a:cxn ang="0">
                <a:pos x="connsiteX48863" y="connsiteY48863"/>
              </a:cxn>
              <a:cxn ang="0">
                <a:pos x="connsiteX48864" y="connsiteY48864"/>
              </a:cxn>
              <a:cxn ang="0">
                <a:pos x="connsiteX48865" y="connsiteY48865"/>
              </a:cxn>
              <a:cxn ang="0">
                <a:pos x="connsiteX48866" y="connsiteY48866"/>
              </a:cxn>
              <a:cxn ang="0">
                <a:pos x="connsiteX48867" y="connsiteY48867"/>
              </a:cxn>
              <a:cxn ang="0">
                <a:pos x="connsiteX48868" y="connsiteY48868"/>
              </a:cxn>
              <a:cxn ang="0">
                <a:pos x="connsiteX48869" y="connsiteY48869"/>
              </a:cxn>
              <a:cxn ang="0">
                <a:pos x="connsiteX48870" y="connsiteY48870"/>
              </a:cxn>
              <a:cxn ang="0">
                <a:pos x="connsiteX48871" y="connsiteY48871"/>
              </a:cxn>
              <a:cxn ang="0">
                <a:pos x="connsiteX48872" y="connsiteY48872"/>
              </a:cxn>
              <a:cxn ang="0">
                <a:pos x="connsiteX48873" y="connsiteY48873"/>
              </a:cxn>
              <a:cxn ang="0">
                <a:pos x="connsiteX48874" y="connsiteY48874"/>
              </a:cxn>
              <a:cxn ang="0">
                <a:pos x="connsiteX48875" y="connsiteY48875"/>
              </a:cxn>
              <a:cxn ang="0">
                <a:pos x="connsiteX48876" y="connsiteY48876"/>
              </a:cxn>
              <a:cxn ang="0">
                <a:pos x="connsiteX48877" y="connsiteY48877"/>
              </a:cxn>
              <a:cxn ang="0">
                <a:pos x="connsiteX48878" y="connsiteY48878"/>
              </a:cxn>
              <a:cxn ang="0">
                <a:pos x="connsiteX48879" y="connsiteY48879"/>
              </a:cxn>
              <a:cxn ang="0">
                <a:pos x="connsiteX48880" y="connsiteY48880"/>
              </a:cxn>
              <a:cxn ang="0">
                <a:pos x="connsiteX48881" y="connsiteY48881"/>
              </a:cxn>
              <a:cxn ang="0">
                <a:pos x="connsiteX48882" y="connsiteY48882"/>
              </a:cxn>
              <a:cxn ang="0">
                <a:pos x="connsiteX48883" y="connsiteY48883"/>
              </a:cxn>
              <a:cxn ang="0">
                <a:pos x="connsiteX48884" y="connsiteY48884"/>
              </a:cxn>
              <a:cxn ang="0">
                <a:pos x="connsiteX48885" y="connsiteY48885"/>
              </a:cxn>
              <a:cxn ang="0">
                <a:pos x="connsiteX48886" y="connsiteY48886"/>
              </a:cxn>
              <a:cxn ang="0">
                <a:pos x="connsiteX48887" y="connsiteY48887"/>
              </a:cxn>
              <a:cxn ang="0">
                <a:pos x="connsiteX48888" y="connsiteY48888"/>
              </a:cxn>
              <a:cxn ang="0">
                <a:pos x="connsiteX48889" y="connsiteY48889"/>
              </a:cxn>
              <a:cxn ang="0">
                <a:pos x="connsiteX48890" y="connsiteY48890"/>
              </a:cxn>
              <a:cxn ang="0">
                <a:pos x="connsiteX48891" y="connsiteY48891"/>
              </a:cxn>
              <a:cxn ang="0">
                <a:pos x="connsiteX48892" y="connsiteY48892"/>
              </a:cxn>
              <a:cxn ang="0">
                <a:pos x="connsiteX48893" y="connsiteY48893"/>
              </a:cxn>
              <a:cxn ang="0">
                <a:pos x="connsiteX48894" y="connsiteY48894"/>
              </a:cxn>
              <a:cxn ang="0">
                <a:pos x="connsiteX48895" y="connsiteY48895"/>
              </a:cxn>
              <a:cxn ang="0">
                <a:pos x="connsiteX48896" y="connsiteY48896"/>
              </a:cxn>
              <a:cxn ang="0">
                <a:pos x="connsiteX48897" y="connsiteY48897"/>
              </a:cxn>
              <a:cxn ang="0">
                <a:pos x="connsiteX48898" y="connsiteY48898"/>
              </a:cxn>
              <a:cxn ang="0">
                <a:pos x="connsiteX48899" y="connsiteY48899"/>
              </a:cxn>
              <a:cxn ang="0">
                <a:pos x="connsiteX48900" y="connsiteY48900"/>
              </a:cxn>
              <a:cxn ang="0">
                <a:pos x="connsiteX48901" y="connsiteY48901"/>
              </a:cxn>
              <a:cxn ang="0">
                <a:pos x="connsiteX48902" y="connsiteY48902"/>
              </a:cxn>
              <a:cxn ang="0">
                <a:pos x="connsiteX48903" y="connsiteY48903"/>
              </a:cxn>
              <a:cxn ang="0">
                <a:pos x="connsiteX48904" y="connsiteY48904"/>
              </a:cxn>
              <a:cxn ang="0">
                <a:pos x="connsiteX48905" y="connsiteY48905"/>
              </a:cxn>
              <a:cxn ang="0">
                <a:pos x="connsiteX48906" y="connsiteY48906"/>
              </a:cxn>
              <a:cxn ang="0">
                <a:pos x="connsiteX48907" y="connsiteY48907"/>
              </a:cxn>
              <a:cxn ang="0">
                <a:pos x="connsiteX48908" y="connsiteY48908"/>
              </a:cxn>
              <a:cxn ang="0">
                <a:pos x="connsiteX48909" y="connsiteY48909"/>
              </a:cxn>
              <a:cxn ang="0">
                <a:pos x="connsiteX48910" y="connsiteY48910"/>
              </a:cxn>
              <a:cxn ang="0">
                <a:pos x="connsiteX48911" y="connsiteY48911"/>
              </a:cxn>
              <a:cxn ang="0">
                <a:pos x="connsiteX48912" y="connsiteY48912"/>
              </a:cxn>
              <a:cxn ang="0">
                <a:pos x="connsiteX48913" y="connsiteY48913"/>
              </a:cxn>
              <a:cxn ang="0">
                <a:pos x="connsiteX48914" y="connsiteY48914"/>
              </a:cxn>
              <a:cxn ang="0">
                <a:pos x="connsiteX48915" y="connsiteY48915"/>
              </a:cxn>
              <a:cxn ang="0">
                <a:pos x="connsiteX48916" y="connsiteY48916"/>
              </a:cxn>
              <a:cxn ang="0">
                <a:pos x="connsiteX48917" y="connsiteY48917"/>
              </a:cxn>
              <a:cxn ang="0">
                <a:pos x="connsiteX48918" y="connsiteY48918"/>
              </a:cxn>
              <a:cxn ang="0">
                <a:pos x="connsiteX48919" y="connsiteY48919"/>
              </a:cxn>
              <a:cxn ang="0">
                <a:pos x="connsiteX48920" y="connsiteY48920"/>
              </a:cxn>
              <a:cxn ang="0">
                <a:pos x="connsiteX48921" y="connsiteY48921"/>
              </a:cxn>
              <a:cxn ang="0">
                <a:pos x="connsiteX48922" y="connsiteY48922"/>
              </a:cxn>
              <a:cxn ang="0">
                <a:pos x="connsiteX48923" y="connsiteY48923"/>
              </a:cxn>
              <a:cxn ang="0">
                <a:pos x="connsiteX48924" y="connsiteY48924"/>
              </a:cxn>
              <a:cxn ang="0">
                <a:pos x="connsiteX48925" y="connsiteY48925"/>
              </a:cxn>
              <a:cxn ang="0">
                <a:pos x="connsiteX48926" y="connsiteY48926"/>
              </a:cxn>
              <a:cxn ang="0">
                <a:pos x="connsiteX48927" y="connsiteY48927"/>
              </a:cxn>
              <a:cxn ang="0">
                <a:pos x="connsiteX48928" y="connsiteY48928"/>
              </a:cxn>
              <a:cxn ang="0">
                <a:pos x="connsiteX48929" y="connsiteY48929"/>
              </a:cxn>
              <a:cxn ang="0">
                <a:pos x="connsiteX48930" y="connsiteY48930"/>
              </a:cxn>
              <a:cxn ang="0">
                <a:pos x="connsiteX48931" y="connsiteY48931"/>
              </a:cxn>
              <a:cxn ang="0">
                <a:pos x="connsiteX48932" y="connsiteY48932"/>
              </a:cxn>
              <a:cxn ang="0">
                <a:pos x="connsiteX48933" y="connsiteY48933"/>
              </a:cxn>
              <a:cxn ang="0">
                <a:pos x="connsiteX48934" y="connsiteY48934"/>
              </a:cxn>
              <a:cxn ang="0">
                <a:pos x="connsiteX48935" y="connsiteY48935"/>
              </a:cxn>
              <a:cxn ang="0">
                <a:pos x="connsiteX48936" y="connsiteY48936"/>
              </a:cxn>
              <a:cxn ang="0">
                <a:pos x="connsiteX48937" y="connsiteY48937"/>
              </a:cxn>
              <a:cxn ang="0">
                <a:pos x="connsiteX48938" y="connsiteY48938"/>
              </a:cxn>
              <a:cxn ang="0">
                <a:pos x="connsiteX48939" y="connsiteY48939"/>
              </a:cxn>
              <a:cxn ang="0">
                <a:pos x="connsiteX48940" y="connsiteY48940"/>
              </a:cxn>
              <a:cxn ang="0">
                <a:pos x="connsiteX48941" y="connsiteY48941"/>
              </a:cxn>
              <a:cxn ang="0">
                <a:pos x="connsiteX48942" y="connsiteY48942"/>
              </a:cxn>
              <a:cxn ang="0">
                <a:pos x="connsiteX48943" y="connsiteY48943"/>
              </a:cxn>
              <a:cxn ang="0">
                <a:pos x="connsiteX48944" y="connsiteY48944"/>
              </a:cxn>
              <a:cxn ang="0">
                <a:pos x="connsiteX48945" y="connsiteY48945"/>
              </a:cxn>
              <a:cxn ang="0">
                <a:pos x="connsiteX48946" y="connsiteY48946"/>
              </a:cxn>
              <a:cxn ang="0">
                <a:pos x="connsiteX48947" y="connsiteY48947"/>
              </a:cxn>
              <a:cxn ang="0">
                <a:pos x="connsiteX48948" y="connsiteY48948"/>
              </a:cxn>
              <a:cxn ang="0">
                <a:pos x="connsiteX48949" y="connsiteY48949"/>
              </a:cxn>
              <a:cxn ang="0">
                <a:pos x="connsiteX48950" y="connsiteY48950"/>
              </a:cxn>
              <a:cxn ang="0">
                <a:pos x="connsiteX48951" y="connsiteY48951"/>
              </a:cxn>
              <a:cxn ang="0">
                <a:pos x="connsiteX48952" y="connsiteY48952"/>
              </a:cxn>
              <a:cxn ang="0">
                <a:pos x="connsiteX48953" y="connsiteY48953"/>
              </a:cxn>
              <a:cxn ang="0">
                <a:pos x="connsiteX48954" y="connsiteY48954"/>
              </a:cxn>
              <a:cxn ang="0">
                <a:pos x="connsiteX48955" y="connsiteY48955"/>
              </a:cxn>
              <a:cxn ang="0">
                <a:pos x="connsiteX48956" y="connsiteY48956"/>
              </a:cxn>
              <a:cxn ang="0">
                <a:pos x="connsiteX48957" y="connsiteY48957"/>
              </a:cxn>
              <a:cxn ang="0">
                <a:pos x="connsiteX48958" y="connsiteY48958"/>
              </a:cxn>
              <a:cxn ang="0">
                <a:pos x="connsiteX48959" y="connsiteY48959"/>
              </a:cxn>
              <a:cxn ang="0">
                <a:pos x="connsiteX48960" y="connsiteY48960"/>
              </a:cxn>
              <a:cxn ang="0">
                <a:pos x="connsiteX48961" y="connsiteY48961"/>
              </a:cxn>
              <a:cxn ang="0">
                <a:pos x="connsiteX48962" y="connsiteY48962"/>
              </a:cxn>
              <a:cxn ang="0">
                <a:pos x="connsiteX48963" y="connsiteY48963"/>
              </a:cxn>
              <a:cxn ang="0">
                <a:pos x="connsiteX48964" y="connsiteY48964"/>
              </a:cxn>
              <a:cxn ang="0">
                <a:pos x="connsiteX48965" y="connsiteY48965"/>
              </a:cxn>
              <a:cxn ang="0">
                <a:pos x="connsiteX48966" y="connsiteY48966"/>
              </a:cxn>
              <a:cxn ang="0">
                <a:pos x="connsiteX48967" y="connsiteY48967"/>
              </a:cxn>
              <a:cxn ang="0">
                <a:pos x="connsiteX48968" y="connsiteY48968"/>
              </a:cxn>
              <a:cxn ang="0">
                <a:pos x="connsiteX48969" y="connsiteY48969"/>
              </a:cxn>
              <a:cxn ang="0">
                <a:pos x="connsiteX48970" y="connsiteY48970"/>
              </a:cxn>
              <a:cxn ang="0">
                <a:pos x="connsiteX48971" y="connsiteY48971"/>
              </a:cxn>
              <a:cxn ang="0">
                <a:pos x="connsiteX48972" y="connsiteY48972"/>
              </a:cxn>
              <a:cxn ang="0">
                <a:pos x="connsiteX48973" y="connsiteY48973"/>
              </a:cxn>
              <a:cxn ang="0">
                <a:pos x="connsiteX48974" y="connsiteY48974"/>
              </a:cxn>
              <a:cxn ang="0">
                <a:pos x="connsiteX48975" y="connsiteY48975"/>
              </a:cxn>
              <a:cxn ang="0">
                <a:pos x="connsiteX48976" y="connsiteY48976"/>
              </a:cxn>
              <a:cxn ang="0">
                <a:pos x="connsiteX48977" y="connsiteY48977"/>
              </a:cxn>
              <a:cxn ang="0">
                <a:pos x="connsiteX48978" y="connsiteY48978"/>
              </a:cxn>
              <a:cxn ang="0">
                <a:pos x="connsiteX48979" y="connsiteY48979"/>
              </a:cxn>
              <a:cxn ang="0">
                <a:pos x="connsiteX48980" y="connsiteY48980"/>
              </a:cxn>
              <a:cxn ang="0">
                <a:pos x="connsiteX48981" y="connsiteY48981"/>
              </a:cxn>
              <a:cxn ang="0">
                <a:pos x="connsiteX48982" y="connsiteY48982"/>
              </a:cxn>
              <a:cxn ang="0">
                <a:pos x="connsiteX48983" y="connsiteY48983"/>
              </a:cxn>
              <a:cxn ang="0">
                <a:pos x="connsiteX48984" y="connsiteY48984"/>
              </a:cxn>
              <a:cxn ang="0">
                <a:pos x="connsiteX48985" y="connsiteY48985"/>
              </a:cxn>
              <a:cxn ang="0">
                <a:pos x="connsiteX48986" y="connsiteY48986"/>
              </a:cxn>
              <a:cxn ang="0">
                <a:pos x="connsiteX48987" y="connsiteY48987"/>
              </a:cxn>
              <a:cxn ang="0">
                <a:pos x="connsiteX48988" y="connsiteY48988"/>
              </a:cxn>
              <a:cxn ang="0">
                <a:pos x="connsiteX48989" y="connsiteY48989"/>
              </a:cxn>
              <a:cxn ang="0">
                <a:pos x="connsiteX48990" y="connsiteY48990"/>
              </a:cxn>
              <a:cxn ang="0">
                <a:pos x="connsiteX48991" y="connsiteY48991"/>
              </a:cxn>
              <a:cxn ang="0">
                <a:pos x="connsiteX48992" y="connsiteY48992"/>
              </a:cxn>
              <a:cxn ang="0">
                <a:pos x="connsiteX48993" y="connsiteY48993"/>
              </a:cxn>
              <a:cxn ang="0">
                <a:pos x="connsiteX48994" y="connsiteY48994"/>
              </a:cxn>
              <a:cxn ang="0">
                <a:pos x="connsiteX48995" y="connsiteY48995"/>
              </a:cxn>
              <a:cxn ang="0">
                <a:pos x="connsiteX48996" y="connsiteY48996"/>
              </a:cxn>
              <a:cxn ang="0">
                <a:pos x="connsiteX48997" y="connsiteY48997"/>
              </a:cxn>
              <a:cxn ang="0">
                <a:pos x="connsiteX48998" y="connsiteY48998"/>
              </a:cxn>
              <a:cxn ang="0">
                <a:pos x="connsiteX48999" y="connsiteY48999"/>
              </a:cxn>
              <a:cxn ang="0">
                <a:pos x="connsiteX49000" y="connsiteY49000"/>
              </a:cxn>
              <a:cxn ang="0">
                <a:pos x="connsiteX49001" y="connsiteY49001"/>
              </a:cxn>
              <a:cxn ang="0">
                <a:pos x="connsiteX49002" y="connsiteY49002"/>
              </a:cxn>
              <a:cxn ang="0">
                <a:pos x="connsiteX49003" y="connsiteY49003"/>
              </a:cxn>
              <a:cxn ang="0">
                <a:pos x="connsiteX49004" y="connsiteY49004"/>
              </a:cxn>
              <a:cxn ang="0">
                <a:pos x="connsiteX49005" y="connsiteY49005"/>
              </a:cxn>
              <a:cxn ang="0">
                <a:pos x="connsiteX49006" y="connsiteY49006"/>
              </a:cxn>
              <a:cxn ang="0">
                <a:pos x="connsiteX49007" y="connsiteY49007"/>
              </a:cxn>
              <a:cxn ang="0">
                <a:pos x="connsiteX49008" y="connsiteY49008"/>
              </a:cxn>
              <a:cxn ang="0">
                <a:pos x="connsiteX49009" y="connsiteY49009"/>
              </a:cxn>
              <a:cxn ang="0">
                <a:pos x="connsiteX49010" y="connsiteY49010"/>
              </a:cxn>
              <a:cxn ang="0">
                <a:pos x="connsiteX49011" y="connsiteY49011"/>
              </a:cxn>
              <a:cxn ang="0">
                <a:pos x="connsiteX49012" y="connsiteY49012"/>
              </a:cxn>
              <a:cxn ang="0">
                <a:pos x="connsiteX49013" y="connsiteY49013"/>
              </a:cxn>
              <a:cxn ang="0">
                <a:pos x="connsiteX49014" y="connsiteY49014"/>
              </a:cxn>
              <a:cxn ang="0">
                <a:pos x="connsiteX49015" y="connsiteY49015"/>
              </a:cxn>
              <a:cxn ang="0">
                <a:pos x="connsiteX49016" y="connsiteY49016"/>
              </a:cxn>
              <a:cxn ang="0">
                <a:pos x="connsiteX49017" y="connsiteY49017"/>
              </a:cxn>
              <a:cxn ang="0">
                <a:pos x="connsiteX49018" y="connsiteY49018"/>
              </a:cxn>
              <a:cxn ang="0">
                <a:pos x="connsiteX49019" y="connsiteY49019"/>
              </a:cxn>
              <a:cxn ang="0">
                <a:pos x="connsiteX49020" y="connsiteY49020"/>
              </a:cxn>
              <a:cxn ang="0">
                <a:pos x="connsiteX49021" y="connsiteY49021"/>
              </a:cxn>
              <a:cxn ang="0">
                <a:pos x="connsiteX49022" y="connsiteY49022"/>
              </a:cxn>
              <a:cxn ang="0">
                <a:pos x="connsiteX49023" y="connsiteY49023"/>
              </a:cxn>
              <a:cxn ang="0">
                <a:pos x="connsiteX49024" y="connsiteY49024"/>
              </a:cxn>
              <a:cxn ang="0">
                <a:pos x="connsiteX49025" y="connsiteY49025"/>
              </a:cxn>
              <a:cxn ang="0">
                <a:pos x="connsiteX49026" y="connsiteY49026"/>
              </a:cxn>
              <a:cxn ang="0">
                <a:pos x="connsiteX49027" y="connsiteY49027"/>
              </a:cxn>
              <a:cxn ang="0">
                <a:pos x="connsiteX49028" y="connsiteY49028"/>
              </a:cxn>
              <a:cxn ang="0">
                <a:pos x="connsiteX49029" y="connsiteY49029"/>
              </a:cxn>
              <a:cxn ang="0">
                <a:pos x="connsiteX49030" y="connsiteY49030"/>
              </a:cxn>
              <a:cxn ang="0">
                <a:pos x="connsiteX49031" y="connsiteY49031"/>
              </a:cxn>
              <a:cxn ang="0">
                <a:pos x="connsiteX49032" y="connsiteY49032"/>
              </a:cxn>
              <a:cxn ang="0">
                <a:pos x="connsiteX49033" y="connsiteY49033"/>
              </a:cxn>
              <a:cxn ang="0">
                <a:pos x="connsiteX49034" y="connsiteY49034"/>
              </a:cxn>
              <a:cxn ang="0">
                <a:pos x="connsiteX49035" y="connsiteY49035"/>
              </a:cxn>
              <a:cxn ang="0">
                <a:pos x="connsiteX49036" y="connsiteY49036"/>
              </a:cxn>
              <a:cxn ang="0">
                <a:pos x="connsiteX49037" y="connsiteY49037"/>
              </a:cxn>
              <a:cxn ang="0">
                <a:pos x="connsiteX49038" y="connsiteY49038"/>
              </a:cxn>
              <a:cxn ang="0">
                <a:pos x="connsiteX49039" y="connsiteY49039"/>
              </a:cxn>
              <a:cxn ang="0">
                <a:pos x="connsiteX49040" y="connsiteY49040"/>
              </a:cxn>
              <a:cxn ang="0">
                <a:pos x="connsiteX49041" y="connsiteY49041"/>
              </a:cxn>
              <a:cxn ang="0">
                <a:pos x="connsiteX49042" y="connsiteY49042"/>
              </a:cxn>
              <a:cxn ang="0">
                <a:pos x="connsiteX49043" y="connsiteY49043"/>
              </a:cxn>
              <a:cxn ang="0">
                <a:pos x="connsiteX49044" y="connsiteY49044"/>
              </a:cxn>
              <a:cxn ang="0">
                <a:pos x="connsiteX49045" y="connsiteY49045"/>
              </a:cxn>
              <a:cxn ang="0">
                <a:pos x="connsiteX49046" y="connsiteY49046"/>
              </a:cxn>
              <a:cxn ang="0">
                <a:pos x="connsiteX49047" y="connsiteY49047"/>
              </a:cxn>
              <a:cxn ang="0">
                <a:pos x="connsiteX49048" y="connsiteY49048"/>
              </a:cxn>
              <a:cxn ang="0">
                <a:pos x="connsiteX49049" y="connsiteY49049"/>
              </a:cxn>
              <a:cxn ang="0">
                <a:pos x="connsiteX49050" y="connsiteY49050"/>
              </a:cxn>
              <a:cxn ang="0">
                <a:pos x="connsiteX49051" y="connsiteY49051"/>
              </a:cxn>
              <a:cxn ang="0">
                <a:pos x="connsiteX49052" y="connsiteY49052"/>
              </a:cxn>
              <a:cxn ang="0">
                <a:pos x="connsiteX49053" y="connsiteY49053"/>
              </a:cxn>
              <a:cxn ang="0">
                <a:pos x="connsiteX49054" y="connsiteY49054"/>
              </a:cxn>
              <a:cxn ang="0">
                <a:pos x="connsiteX49055" y="connsiteY49055"/>
              </a:cxn>
              <a:cxn ang="0">
                <a:pos x="connsiteX49056" y="connsiteY49056"/>
              </a:cxn>
              <a:cxn ang="0">
                <a:pos x="connsiteX49057" y="connsiteY49057"/>
              </a:cxn>
              <a:cxn ang="0">
                <a:pos x="connsiteX49058" y="connsiteY49058"/>
              </a:cxn>
              <a:cxn ang="0">
                <a:pos x="connsiteX49059" y="connsiteY49059"/>
              </a:cxn>
              <a:cxn ang="0">
                <a:pos x="connsiteX49060" y="connsiteY49060"/>
              </a:cxn>
              <a:cxn ang="0">
                <a:pos x="connsiteX49061" y="connsiteY49061"/>
              </a:cxn>
              <a:cxn ang="0">
                <a:pos x="connsiteX49062" y="connsiteY49062"/>
              </a:cxn>
              <a:cxn ang="0">
                <a:pos x="connsiteX49063" y="connsiteY49063"/>
              </a:cxn>
              <a:cxn ang="0">
                <a:pos x="connsiteX49064" y="connsiteY49064"/>
              </a:cxn>
              <a:cxn ang="0">
                <a:pos x="connsiteX49065" y="connsiteY49065"/>
              </a:cxn>
              <a:cxn ang="0">
                <a:pos x="connsiteX49066" y="connsiteY49066"/>
              </a:cxn>
              <a:cxn ang="0">
                <a:pos x="connsiteX49067" y="connsiteY49067"/>
              </a:cxn>
              <a:cxn ang="0">
                <a:pos x="connsiteX49068" y="connsiteY49068"/>
              </a:cxn>
              <a:cxn ang="0">
                <a:pos x="connsiteX49069" y="connsiteY49069"/>
              </a:cxn>
              <a:cxn ang="0">
                <a:pos x="connsiteX49070" y="connsiteY49070"/>
              </a:cxn>
              <a:cxn ang="0">
                <a:pos x="connsiteX49071" y="connsiteY49071"/>
              </a:cxn>
              <a:cxn ang="0">
                <a:pos x="connsiteX49072" y="connsiteY49072"/>
              </a:cxn>
              <a:cxn ang="0">
                <a:pos x="connsiteX49073" y="connsiteY49073"/>
              </a:cxn>
              <a:cxn ang="0">
                <a:pos x="connsiteX49074" y="connsiteY49074"/>
              </a:cxn>
              <a:cxn ang="0">
                <a:pos x="connsiteX49075" y="connsiteY49075"/>
              </a:cxn>
              <a:cxn ang="0">
                <a:pos x="connsiteX49076" y="connsiteY49076"/>
              </a:cxn>
              <a:cxn ang="0">
                <a:pos x="connsiteX49077" y="connsiteY49077"/>
              </a:cxn>
              <a:cxn ang="0">
                <a:pos x="connsiteX49078" y="connsiteY49078"/>
              </a:cxn>
              <a:cxn ang="0">
                <a:pos x="connsiteX49079" y="connsiteY49079"/>
              </a:cxn>
              <a:cxn ang="0">
                <a:pos x="connsiteX49080" y="connsiteY49080"/>
              </a:cxn>
              <a:cxn ang="0">
                <a:pos x="connsiteX49081" y="connsiteY49081"/>
              </a:cxn>
              <a:cxn ang="0">
                <a:pos x="connsiteX49082" y="connsiteY49082"/>
              </a:cxn>
              <a:cxn ang="0">
                <a:pos x="connsiteX49083" y="connsiteY49083"/>
              </a:cxn>
              <a:cxn ang="0">
                <a:pos x="connsiteX49084" y="connsiteY49084"/>
              </a:cxn>
              <a:cxn ang="0">
                <a:pos x="connsiteX49085" y="connsiteY49085"/>
              </a:cxn>
              <a:cxn ang="0">
                <a:pos x="connsiteX49086" y="connsiteY49086"/>
              </a:cxn>
              <a:cxn ang="0">
                <a:pos x="connsiteX49087" y="connsiteY49087"/>
              </a:cxn>
              <a:cxn ang="0">
                <a:pos x="connsiteX49088" y="connsiteY49088"/>
              </a:cxn>
              <a:cxn ang="0">
                <a:pos x="connsiteX49089" y="connsiteY49089"/>
              </a:cxn>
              <a:cxn ang="0">
                <a:pos x="connsiteX49090" y="connsiteY49090"/>
              </a:cxn>
              <a:cxn ang="0">
                <a:pos x="connsiteX49091" y="connsiteY49091"/>
              </a:cxn>
              <a:cxn ang="0">
                <a:pos x="connsiteX49092" y="connsiteY49092"/>
              </a:cxn>
              <a:cxn ang="0">
                <a:pos x="connsiteX49093" y="connsiteY49093"/>
              </a:cxn>
              <a:cxn ang="0">
                <a:pos x="connsiteX49094" y="connsiteY49094"/>
              </a:cxn>
              <a:cxn ang="0">
                <a:pos x="connsiteX49095" y="connsiteY49095"/>
              </a:cxn>
              <a:cxn ang="0">
                <a:pos x="connsiteX49096" y="connsiteY49096"/>
              </a:cxn>
              <a:cxn ang="0">
                <a:pos x="connsiteX49097" y="connsiteY49097"/>
              </a:cxn>
              <a:cxn ang="0">
                <a:pos x="connsiteX49098" y="connsiteY49098"/>
              </a:cxn>
              <a:cxn ang="0">
                <a:pos x="connsiteX49099" y="connsiteY49099"/>
              </a:cxn>
              <a:cxn ang="0">
                <a:pos x="connsiteX49100" y="connsiteY49100"/>
              </a:cxn>
              <a:cxn ang="0">
                <a:pos x="connsiteX49101" y="connsiteY49101"/>
              </a:cxn>
              <a:cxn ang="0">
                <a:pos x="connsiteX49102" y="connsiteY49102"/>
              </a:cxn>
              <a:cxn ang="0">
                <a:pos x="connsiteX49103" y="connsiteY49103"/>
              </a:cxn>
              <a:cxn ang="0">
                <a:pos x="connsiteX49104" y="connsiteY49104"/>
              </a:cxn>
              <a:cxn ang="0">
                <a:pos x="connsiteX49105" y="connsiteY49105"/>
              </a:cxn>
              <a:cxn ang="0">
                <a:pos x="connsiteX49106" y="connsiteY49106"/>
              </a:cxn>
              <a:cxn ang="0">
                <a:pos x="connsiteX49107" y="connsiteY49107"/>
              </a:cxn>
              <a:cxn ang="0">
                <a:pos x="connsiteX49108" y="connsiteY49108"/>
              </a:cxn>
              <a:cxn ang="0">
                <a:pos x="connsiteX49109" y="connsiteY49109"/>
              </a:cxn>
              <a:cxn ang="0">
                <a:pos x="connsiteX49110" y="connsiteY49110"/>
              </a:cxn>
              <a:cxn ang="0">
                <a:pos x="connsiteX49111" y="connsiteY49111"/>
              </a:cxn>
              <a:cxn ang="0">
                <a:pos x="connsiteX49112" y="connsiteY49112"/>
              </a:cxn>
              <a:cxn ang="0">
                <a:pos x="connsiteX49113" y="connsiteY49113"/>
              </a:cxn>
              <a:cxn ang="0">
                <a:pos x="connsiteX49114" y="connsiteY49114"/>
              </a:cxn>
              <a:cxn ang="0">
                <a:pos x="connsiteX49115" y="connsiteY49115"/>
              </a:cxn>
              <a:cxn ang="0">
                <a:pos x="connsiteX49116" y="connsiteY49116"/>
              </a:cxn>
              <a:cxn ang="0">
                <a:pos x="connsiteX49117" y="connsiteY49117"/>
              </a:cxn>
              <a:cxn ang="0">
                <a:pos x="connsiteX49118" y="connsiteY49118"/>
              </a:cxn>
              <a:cxn ang="0">
                <a:pos x="connsiteX49119" y="connsiteY49119"/>
              </a:cxn>
              <a:cxn ang="0">
                <a:pos x="connsiteX49120" y="connsiteY49120"/>
              </a:cxn>
              <a:cxn ang="0">
                <a:pos x="connsiteX49121" y="connsiteY49121"/>
              </a:cxn>
              <a:cxn ang="0">
                <a:pos x="connsiteX49122" y="connsiteY49122"/>
              </a:cxn>
              <a:cxn ang="0">
                <a:pos x="connsiteX49123" y="connsiteY49123"/>
              </a:cxn>
              <a:cxn ang="0">
                <a:pos x="connsiteX49124" y="connsiteY49124"/>
              </a:cxn>
              <a:cxn ang="0">
                <a:pos x="connsiteX49125" y="connsiteY49125"/>
              </a:cxn>
              <a:cxn ang="0">
                <a:pos x="connsiteX49126" y="connsiteY49126"/>
              </a:cxn>
              <a:cxn ang="0">
                <a:pos x="connsiteX49127" y="connsiteY49127"/>
              </a:cxn>
              <a:cxn ang="0">
                <a:pos x="connsiteX49128" y="connsiteY49128"/>
              </a:cxn>
              <a:cxn ang="0">
                <a:pos x="connsiteX49129" y="connsiteY49129"/>
              </a:cxn>
              <a:cxn ang="0">
                <a:pos x="connsiteX49130" y="connsiteY49130"/>
              </a:cxn>
              <a:cxn ang="0">
                <a:pos x="connsiteX49131" y="connsiteY49131"/>
              </a:cxn>
              <a:cxn ang="0">
                <a:pos x="connsiteX49132" y="connsiteY49132"/>
              </a:cxn>
              <a:cxn ang="0">
                <a:pos x="connsiteX49133" y="connsiteY49133"/>
              </a:cxn>
              <a:cxn ang="0">
                <a:pos x="connsiteX49134" y="connsiteY49134"/>
              </a:cxn>
              <a:cxn ang="0">
                <a:pos x="connsiteX49135" y="connsiteY49135"/>
              </a:cxn>
              <a:cxn ang="0">
                <a:pos x="connsiteX49136" y="connsiteY49136"/>
              </a:cxn>
              <a:cxn ang="0">
                <a:pos x="connsiteX49137" y="connsiteY49137"/>
              </a:cxn>
              <a:cxn ang="0">
                <a:pos x="connsiteX49138" y="connsiteY49138"/>
              </a:cxn>
              <a:cxn ang="0">
                <a:pos x="connsiteX49139" y="connsiteY49139"/>
              </a:cxn>
              <a:cxn ang="0">
                <a:pos x="connsiteX49140" y="connsiteY49140"/>
              </a:cxn>
              <a:cxn ang="0">
                <a:pos x="connsiteX49141" y="connsiteY49141"/>
              </a:cxn>
              <a:cxn ang="0">
                <a:pos x="connsiteX49142" y="connsiteY49142"/>
              </a:cxn>
              <a:cxn ang="0">
                <a:pos x="connsiteX49143" y="connsiteY49143"/>
              </a:cxn>
              <a:cxn ang="0">
                <a:pos x="connsiteX49144" y="connsiteY49144"/>
              </a:cxn>
              <a:cxn ang="0">
                <a:pos x="connsiteX49145" y="connsiteY49145"/>
              </a:cxn>
              <a:cxn ang="0">
                <a:pos x="connsiteX49146" y="connsiteY49146"/>
              </a:cxn>
              <a:cxn ang="0">
                <a:pos x="connsiteX49147" y="connsiteY49147"/>
              </a:cxn>
              <a:cxn ang="0">
                <a:pos x="connsiteX49148" y="connsiteY49148"/>
              </a:cxn>
              <a:cxn ang="0">
                <a:pos x="connsiteX49149" y="connsiteY49149"/>
              </a:cxn>
              <a:cxn ang="0">
                <a:pos x="connsiteX49150" y="connsiteY49150"/>
              </a:cxn>
              <a:cxn ang="0">
                <a:pos x="connsiteX49151" y="connsiteY49151"/>
              </a:cxn>
              <a:cxn ang="0">
                <a:pos x="connsiteX49152" y="connsiteY49152"/>
              </a:cxn>
              <a:cxn ang="0">
                <a:pos x="connsiteX49153" y="connsiteY49153"/>
              </a:cxn>
              <a:cxn ang="0">
                <a:pos x="connsiteX49154" y="connsiteY49154"/>
              </a:cxn>
              <a:cxn ang="0">
                <a:pos x="connsiteX49155" y="connsiteY49155"/>
              </a:cxn>
              <a:cxn ang="0">
                <a:pos x="connsiteX49156" y="connsiteY49156"/>
              </a:cxn>
              <a:cxn ang="0">
                <a:pos x="connsiteX49157" y="connsiteY49157"/>
              </a:cxn>
              <a:cxn ang="0">
                <a:pos x="connsiteX49158" y="connsiteY49158"/>
              </a:cxn>
              <a:cxn ang="0">
                <a:pos x="connsiteX49159" y="connsiteY49159"/>
              </a:cxn>
              <a:cxn ang="0">
                <a:pos x="connsiteX49160" y="connsiteY49160"/>
              </a:cxn>
              <a:cxn ang="0">
                <a:pos x="connsiteX49161" y="connsiteY49161"/>
              </a:cxn>
              <a:cxn ang="0">
                <a:pos x="connsiteX49162" y="connsiteY49162"/>
              </a:cxn>
              <a:cxn ang="0">
                <a:pos x="connsiteX49163" y="connsiteY49163"/>
              </a:cxn>
              <a:cxn ang="0">
                <a:pos x="connsiteX49164" y="connsiteY49164"/>
              </a:cxn>
              <a:cxn ang="0">
                <a:pos x="connsiteX49165" y="connsiteY49165"/>
              </a:cxn>
              <a:cxn ang="0">
                <a:pos x="connsiteX49166" y="connsiteY49166"/>
              </a:cxn>
              <a:cxn ang="0">
                <a:pos x="connsiteX49167" y="connsiteY49167"/>
              </a:cxn>
              <a:cxn ang="0">
                <a:pos x="connsiteX49168" y="connsiteY49168"/>
              </a:cxn>
              <a:cxn ang="0">
                <a:pos x="connsiteX49169" y="connsiteY49169"/>
              </a:cxn>
              <a:cxn ang="0">
                <a:pos x="connsiteX49170" y="connsiteY49170"/>
              </a:cxn>
              <a:cxn ang="0">
                <a:pos x="connsiteX49171" y="connsiteY49171"/>
              </a:cxn>
              <a:cxn ang="0">
                <a:pos x="connsiteX49172" y="connsiteY49172"/>
              </a:cxn>
              <a:cxn ang="0">
                <a:pos x="connsiteX49173" y="connsiteY49173"/>
              </a:cxn>
              <a:cxn ang="0">
                <a:pos x="connsiteX49174" y="connsiteY49174"/>
              </a:cxn>
              <a:cxn ang="0">
                <a:pos x="connsiteX49175" y="connsiteY49175"/>
              </a:cxn>
              <a:cxn ang="0">
                <a:pos x="connsiteX49176" y="connsiteY49176"/>
              </a:cxn>
              <a:cxn ang="0">
                <a:pos x="connsiteX49177" y="connsiteY49177"/>
              </a:cxn>
              <a:cxn ang="0">
                <a:pos x="connsiteX49178" y="connsiteY49178"/>
              </a:cxn>
              <a:cxn ang="0">
                <a:pos x="connsiteX49179" y="connsiteY49179"/>
              </a:cxn>
              <a:cxn ang="0">
                <a:pos x="connsiteX49180" y="connsiteY49180"/>
              </a:cxn>
              <a:cxn ang="0">
                <a:pos x="connsiteX49181" y="connsiteY49181"/>
              </a:cxn>
              <a:cxn ang="0">
                <a:pos x="connsiteX49182" y="connsiteY49182"/>
              </a:cxn>
              <a:cxn ang="0">
                <a:pos x="connsiteX49183" y="connsiteY49183"/>
              </a:cxn>
              <a:cxn ang="0">
                <a:pos x="connsiteX49184" y="connsiteY49184"/>
              </a:cxn>
              <a:cxn ang="0">
                <a:pos x="connsiteX49185" y="connsiteY49185"/>
              </a:cxn>
              <a:cxn ang="0">
                <a:pos x="connsiteX49186" y="connsiteY49186"/>
              </a:cxn>
              <a:cxn ang="0">
                <a:pos x="connsiteX49187" y="connsiteY49187"/>
              </a:cxn>
              <a:cxn ang="0">
                <a:pos x="connsiteX49188" y="connsiteY49188"/>
              </a:cxn>
              <a:cxn ang="0">
                <a:pos x="connsiteX49189" y="connsiteY49189"/>
              </a:cxn>
              <a:cxn ang="0">
                <a:pos x="connsiteX49190" y="connsiteY49190"/>
              </a:cxn>
              <a:cxn ang="0">
                <a:pos x="connsiteX49191" y="connsiteY49191"/>
              </a:cxn>
              <a:cxn ang="0">
                <a:pos x="connsiteX49192" y="connsiteY49192"/>
              </a:cxn>
              <a:cxn ang="0">
                <a:pos x="connsiteX49193" y="connsiteY49193"/>
              </a:cxn>
              <a:cxn ang="0">
                <a:pos x="connsiteX49194" y="connsiteY49194"/>
              </a:cxn>
              <a:cxn ang="0">
                <a:pos x="connsiteX49195" y="connsiteY49195"/>
              </a:cxn>
              <a:cxn ang="0">
                <a:pos x="connsiteX49196" y="connsiteY49196"/>
              </a:cxn>
              <a:cxn ang="0">
                <a:pos x="connsiteX49197" y="connsiteY49197"/>
              </a:cxn>
              <a:cxn ang="0">
                <a:pos x="connsiteX49198" y="connsiteY49198"/>
              </a:cxn>
              <a:cxn ang="0">
                <a:pos x="connsiteX49199" y="connsiteY49199"/>
              </a:cxn>
              <a:cxn ang="0">
                <a:pos x="connsiteX49200" y="connsiteY49200"/>
              </a:cxn>
              <a:cxn ang="0">
                <a:pos x="connsiteX49201" y="connsiteY49201"/>
              </a:cxn>
              <a:cxn ang="0">
                <a:pos x="connsiteX49202" y="connsiteY49202"/>
              </a:cxn>
              <a:cxn ang="0">
                <a:pos x="connsiteX49203" y="connsiteY49203"/>
              </a:cxn>
              <a:cxn ang="0">
                <a:pos x="connsiteX49204" y="connsiteY49204"/>
              </a:cxn>
              <a:cxn ang="0">
                <a:pos x="connsiteX49205" y="connsiteY49205"/>
              </a:cxn>
              <a:cxn ang="0">
                <a:pos x="connsiteX49206" y="connsiteY49206"/>
              </a:cxn>
              <a:cxn ang="0">
                <a:pos x="connsiteX49207" y="connsiteY49207"/>
              </a:cxn>
              <a:cxn ang="0">
                <a:pos x="connsiteX49208" y="connsiteY49208"/>
              </a:cxn>
              <a:cxn ang="0">
                <a:pos x="connsiteX49209" y="connsiteY49209"/>
              </a:cxn>
              <a:cxn ang="0">
                <a:pos x="connsiteX49210" y="connsiteY49210"/>
              </a:cxn>
              <a:cxn ang="0">
                <a:pos x="connsiteX49211" y="connsiteY49211"/>
              </a:cxn>
              <a:cxn ang="0">
                <a:pos x="connsiteX49212" y="connsiteY49212"/>
              </a:cxn>
              <a:cxn ang="0">
                <a:pos x="connsiteX49213" y="connsiteY49213"/>
              </a:cxn>
              <a:cxn ang="0">
                <a:pos x="connsiteX49214" y="connsiteY49214"/>
              </a:cxn>
              <a:cxn ang="0">
                <a:pos x="connsiteX49215" y="connsiteY49215"/>
              </a:cxn>
              <a:cxn ang="0">
                <a:pos x="connsiteX49216" y="connsiteY49216"/>
              </a:cxn>
              <a:cxn ang="0">
                <a:pos x="connsiteX49217" y="connsiteY49217"/>
              </a:cxn>
              <a:cxn ang="0">
                <a:pos x="connsiteX49218" y="connsiteY49218"/>
              </a:cxn>
              <a:cxn ang="0">
                <a:pos x="connsiteX49219" y="connsiteY49219"/>
              </a:cxn>
              <a:cxn ang="0">
                <a:pos x="connsiteX49220" y="connsiteY49220"/>
              </a:cxn>
              <a:cxn ang="0">
                <a:pos x="connsiteX49221" y="connsiteY49221"/>
              </a:cxn>
              <a:cxn ang="0">
                <a:pos x="connsiteX49222" y="connsiteY49222"/>
              </a:cxn>
              <a:cxn ang="0">
                <a:pos x="connsiteX49223" y="connsiteY49223"/>
              </a:cxn>
              <a:cxn ang="0">
                <a:pos x="connsiteX49224" y="connsiteY49224"/>
              </a:cxn>
              <a:cxn ang="0">
                <a:pos x="connsiteX49225" y="connsiteY49225"/>
              </a:cxn>
              <a:cxn ang="0">
                <a:pos x="connsiteX49226" y="connsiteY49226"/>
              </a:cxn>
              <a:cxn ang="0">
                <a:pos x="connsiteX49227" y="connsiteY49227"/>
              </a:cxn>
              <a:cxn ang="0">
                <a:pos x="connsiteX49228" y="connsiteY49228"/>
              </a:cxn>
              <a:cxn ang="0">
                <a:pos x="connsiteX49229" y="connsiteY49229"/>
              </a:cxn>
              <a:cxn ang="0">
                <a:pos x="connsiteX49230" y="connsiteY49230"/>
              </a:cxn>
              <a:cxn ang="0">
                <a:pos x="connsiteX49231" y="connsiteY49231"/>
              </a:cxn>
              <a:cxn ang="0">
                <a:pos x="connsiteX49232" y="connsiteY49232"/>
              </a:cxn>
              <a:cxn ang="0">
                <a:pos x="connsiteX49233" y="connsiteY49233"/>
              </a:cxn>
              <a:cxn ang="0">
                <a:pos x="connsiteX49234" y="connsiteY49234"/>
              </a:cxn>
              <a:cxn ang="0">
                <a:pos x="connsiteX49235" y="connsiteY49235"/>
              </a:cxn>
              <a:cxn ang="0">
                <a:pos x="connsiteX49236" y="connsiteY49236"/>
              </a:cxn>
              <a:cxn ang="0">
                <a:pos x="connsiteX49237" y="connsiteY49237"/>
              </a:cxn>
              <a:cxn ang="0">
                <a:pos x="connsiteX49238" y="connsiteY49238"/>
              </a:cxn>
              <a:cxn ang="0">
                <a:pos x="connsiteX49239" y="connsiteY49239"/>
              </a:cxn>
              <a:cxn ang="0">
                <a:pos x="connsiteX49240" y="connsiteY49240"/>
              </a:cxn>
              <a:cxn ang="0">
                <a:pos x="connsiteX49241" y="connsiteY49241"/>
              </a:cxn>
              <a:cxn ang="0">
                <a:pos x="connsiteX49242" y="connsiteY49242"/>
              </a:cxn>
              <a:cxn ang="0">
                <a:pos x="connsiteX49243" y="connsiteY49243"/>
              </a:cxn>
              <a:cxn ang="0">
                <a:pos x="connsiteX49244" y="connsiteY49244"/>
              </a:cxn>
              <a:cxn ang="0">
                <a:pos x="connsiteX49245" y="connsiteY49245"/>
              </a:cxn>
              <a:cxn ang="0">
                <a:pos x="connsiteX49246" y="connsiteY49246"/>
              </a:cxn>
              <a:cxn ang="0">
                <a:pos x="connsiteX49247" y="connsiteY49247"/>
              </a:cxn>
              <a:cxn ang="0">
                <a:pos x="connsiteX49248" y="connsiteY49248"/>
              </a:cxn>
              <a:cxn ang="0">
                <a:pos x="connsiteX49249" y="connsiteY49249"/>
              </a:cxn>
              <a:cxn ang="0">
                <a:pos x="connsiteX49250" y="connsiteY49250"/>
              </a:cxn>
              <a:cxn ang="0">
                <a:pos x="connsiteX49251" y="connsiteY49251"/>
              </a:cxn>
              <a:cxn ang="0">
                <a:pos x="connsiteX49252" y="connsiteY49252"/>
              </a:cxn>
              <a:cxn ang="0">
                <a:pos x="connsiteX49253" y="connsiteY49253"/>
              </a:cxn>
              <a:cxn ang="0">
                <a:pos x="connsiteX49254" y="connsiteY49254"/>
              </a:cxn>
              <a:cxn ang="0">
                <a:pos x="connsiteX49255" y="connsiteY49255"/>
              </a:cxn>
              <a:cxn ang="0">
                <a:pos x="connsiteX49256" y="connsiteY49256"/>
              </a:cxn>
              <a:cxn ang="0">
                <a:pos x="connsiteX49257" y="connsiteY49257"/>
              </a:cxn>
              <a:cxn ang="0">
                <a:pos x="connsiteX49258" y="connsiteY49258"/>
              </a:cxn>
              <a:cxn ang="0">
                <a:pos x="connsiteX49259" y="connsiteY49259"/>
              </a:cxn>
              <a:cxn ang="0">
                <a:pos x="connsiteX49260" y="connsiteY49260"/>
              </a:cxn>
              <a:cxn ang="0">
                <a:pos x="connsiteX49261" y="connsiteY49261"/>
              </a:cxn>
              <a:cxn ang="0">
                <a:pos x="connsiteX49262" y="connsiteY49262"/>
              </a:cxn>
              <a:cxn ang="0">
                <a:pos x="connsiteX49263" y="connsiteY49263"/>
              </a:cxn>
              <a:cxn ang="0">
                <a:pos x="connsiteX49264" y="connsiteY49264"/>
              </a:cxn>
              <a:cxn ang="0">
                <a:pos x="connsiteX49265" y="connsiteY49265"/>
              </a:cxn>
              <a:cxn ang="0">
                <a:pos x="connsiteX49266" y="connsiteY49266"/>
              </a:cxn>
              <a:cxn ang="0">
                <a:pos x="connsiteX49267" y="connsiteY49267"/>
              </a:cxn>
              <a:cxn ang="0">
                <a:pos x="connsiteX49268" y="connsiteY49268"/>
              </a:cxn>
              <a:cxn ang="0">
                <a:pos x="connsiteX49269" y="connsiteY49269"/>
              </a:cxn>
              <a:cxn ang="0">
                <a:pos x="connsiteX49270" y="connsiteY49270"/>
              </a:cxn>
              <a:cxn ang="0">
                <a:pos x="connsiteX49271" y="connsiteY49271"/>
              </a:cxn>
              <a:cxn ang="0">
                <a:pos x="connsiteX49272" y="connsiteY49272"/>
              </a:cxn>
              <a:cxn ang="0">
                <a:pos x="connsiteX49273" y="connsiteY49273"/>
              </a:cxn>
              <a:cxn ang="0">
                <a:pos x="connsiteX49274" y="connsiteY49274"/>
              </a:cxn>
              <a:cxn ang="0">
                <a:pos x="connsiteX49275" y="connsiteY49275"/>
              </a:cxn>
              <a:cxn ang="0">
                <a:pos x="connsiteX49276" y="connsiteY49276"/>
              </a:cxn>
              <a:cxn ang="0">
                <a:pos x="connsiteX49277" y="connsiteY49277"/>
              </a:cxn>
              <a:cxn ang="0">
                <a:pos x="connsiteX49278" y="connsiteY49278"/>
              </a:cxn>
              <a:cxn ang="0">
                <a:pos x="connsiteX49279" y="connsiteY49279"/>
              </a:cxn>
              <a:cxn ang="0">
                <a:pos x="connsiteX49280" y="connsiteY49280"/>
              </a:cxn>
              <a:cxn ang="0">
                <a:pos x="connsiteX49281" y="connsiteY49281"/>
              </a:cxn>
              <a:cxn ang="0">
                <a:pos x="connsiteX49282" y="connsiteY49282"/>
              </a:cxn>
              <a:cxn ang="0">
                <a:pos x="connsiteX49283" y="connsiteY49283"/>
              </a:cxn>
              <a:cxn ang="0">
                <a:pos x="connsiteX49284" y="connsiteY49284"/>
              </a:cxn>
              <a:cxn ang="0">
                <a:pos x="connsiteX49285" y="connsiteY49285"/>
              </a:cxn>
              <a:cxn ang="0">
                <a:pos x="connsiteX49286" y="connsiteY49286"/>
              </a:cxn>
              <a:cxn ang="0">
                <a:pos x="connsiteX49287" y="connsiteY49287"/>
              </a:cxn>
              <a:cxn ang="0">
                <a:pos x="connsiteX49288" y="connsiteY49288"/>
              </a:cxn>
              <a:cxn ang="0">
                <a:pos x="connsiteX49289" y="connsiteY49289"/>
              </a:cxn>
              <a:cxn ang="0">
                <a:pos x="connsiteX49290" y="connsiteY49290"/>
              </a:cxn>
              <a:cxn ang="0">
                <a:pos x="connsiteX49291" y="connsiteY49291"/>
              </a:cxn>
              <a:cxn ang="0">
                <a:pos x="connsiteX49292" y="connsiteY49292"/>
              </a:cxn>
              <a:cxn ang="0">
                <a:pos x="connsiteX49293" y="connsiteY49293"/>
              </a:cxn>
              <a:cxn ang="0">
                <a:pos x="connsiteX49294" y="connsiteY49294"/>
              </a:cxn>
              <a:cxn ang="0">
                <a:pos x="connsiteX49295" y="connsiteY49295"/>
              </a:cxn>
              <a:cxn ang="0">
                <a:pos x="connsiteX49296" y="connsiteY49296"/>
              </a:cxn>
              <a:cxn ang="0">
                <a:pos x="connsiteX49297" y="connsiteY49297"/>
              </a:cxn>
              <a:cxn ang="0">
                <a:pos x="connsiteX49298" y="connsiteY49298"/>
              </a:cxn>
              <a:cxn ang="0">
                <a:pos x="connsiteX49299" y="connsiteY49299"/>
              </a:cxn>
              <a:cxn ang="0">
                <a:pos x="connsiteX49300" y="connsiteY49300"/>
              </a:cxn>
              <a:cxn ang="0">
                <a:pos x="connsiteX49301" y="connsiteY49301"/>
              </a:cxn>
              <a:cxn ang="0">
                <a:pos x="connsiteX49302" y="connsiteY49302"/>
              </a:cxn>
              <a:cxn ang="0">
                <a:pos x="connsiteX49303" y="connsiteY49303"/>
              </a:cxn>
              <a:cxn ang="0">
                <a:pos x="connsiteX49304" y="connsiteY49304"/>
              </a:cxn>
              <a:cxn ang="0">
                <a:pos x="connsiteX49305" y="connsiteY49305"/>
              </a:cxn>
              <a:cxn ang="0">
                <a:pos x="connsiteX49306" y="connsiteY49306"/>
              </a:cxn>
              <a:cxn ang="0">
                <a:pos x="connsiteX49307" y="connsiteY49307"/>
              </a:cxn>
              <a:cxn ang="0">
                <a:pos x="connsiteX49308" y="connsiteY49308"/>
              </a:cxn>
              <a:cxn ang="0">
                <a:pos x="connsiteX49309" y="connsiteY49309"/>
              </a:cxn>
              <a:cxn ang="0">
                <a:pos x="connsiteX49310" y="connsiteY49310"/>
              </a:cxn>
              <a:cxn ang="0">
                <a:pos x="connsiteX49311" y="connsiteY49311"/>
              </a:cxn>
              <a:cxn ang="0">
                <a:pos x="connsiteX49312" y="connsiteY49312"/>
              </a:cxn>
              <a:cxn ang="0">
                <a:pos x="connsiteX49313" y="connsiteY49313"/>
              </a:cxn>
              <a:cxn ang="0">
                <a:pos x="connsiteX49314" y="connsiteY49314"/>
              </a:cxn>
              <a:cxn ang="0">
                <a:pos x="connsiteX49315" y="connsiteY49315"/>
              </a:cxn>
              <a:cxn ang="0">
                <a:pos x="connsiteX49316" y="connsiteY49316"/>
              </a:cxn>
              <a:cxn ang="0">
                <a:pos x="connsiteX49317" y="connsiteY49317"/>
              </a:cxn>
              <a:cxn ang="0">
                <a:pos x="connsiteX49318" y="connsiteY49318"/>
              </a:cxn>
              <a:cxn ang="0">
                <a:pos x="connsiteX49319" y="connsiteY49319"/>
              </a:cxn>
              <a:cxn ang="0">
                <a:pos x="connsiteX49320" y="connsiteY49320"/>
              </a:cxn>
              <a:cxn ang="0">
                <a:pos x="connsiteX49321" y="connsiteY49321"/>
              </a:cxn>
              <a:cxn ang="0">
                <a:pos x="connsiteX49322" y="connsiteY49322"/>
              </a:cxn>
              <a:cxn ang="0">
                <a:pos x="connsiteX49323" y="connsiteY49323"/>
              </a:cxn>
              <a:cxn ang="0">
                <a:pos x="connsiteX49324" y="connsiteY49324"/>
              </a:cxn>
              <a:cxn ang="0">
                <a:pos x="connsiteX49325" y="connsiteY49325"/>
              </a:cxn>
              <a:cxn ang="0">
                <a:pos x="connsiteX49326" y="connsiteY49326"/>
              </a:cxn>
              <a:cxn ang="0">
                <a:pos x="connsiteX49327" y="connsiteY49327"/>
              </a:cxn>
              <a:cxn ang="0">
                <a:pos x="connsiteX49328" y="connsiteY49328"/>
              </a:cxn>
              <a:cxn ang="0">
                <a:pos x="connsiteX49329" y="connsiteY49329"/>
              </a:cxn>
              <a:cxn ang="0">
                <a:pos x="connsiteX49330" y="connsiteY49330"/>
              </a:cxn>
              <a:cxn ang="0">
                <a:pos x="connsiteX49331" y="connsiteY49331"/>
              </a:cxn>
              <a:cxn ang="0">
                <a:pos x="connsiteX49332" y="connsiteY49332"/>
              </a:cxn>
              <a:cxn ang="0">
                <a:pos x="connsiteX49333" y="connsiteY49333"/>
              </a:cxn>
              <a:cxn ang="0">
                <a:pos x="connsiteX49334" y="connsiteY49334"/>
              </a:cxn>
              <a:cxn ang="0">
                <a:pos x="connsiteX49335" y="connsiteY49335"/>
              </a:cxn>
              <a:cxn ang="0">
                <a:pos x="connsiteX49336" y="connsiteY49336"/>
              </a:cxn>
              <a:cxn ang="0">
                <a:pos x="connsiteX49337" y="connsiteY49337"/>
              </a:cxn>
              <a:cxn ang="0">
                <a:pos x="connsiteX49338" y="connsiteY49338"/>
              </a:cxn>
              <a:cxn ang="0">
                <a:pos x="connsiteX49339" y="connsiteY49339"/>
              </a:cxn>
              <a:cxn ang="0">
                <a:pos x="connsiteX49340" y="connsiteY49340"/>
              </a:cxn>
              <a:cxn ang="0">
                <a:pos x="connsiteX49341" y="connsiteY49341"/>
              </a:cxn>
              <a:cxn ang="0">
                <a:pos x="connsiteX49342" y="connsiteY49342"/>
              </a:cxn>
              <a:cxn ang="0">
                <a:pos x="connsiteX49343" y="connsiteY49343"/>
              </a:cxn>
              <a:cxn ang="0">
                <a:pos x="connsiteX49344" y="connsiteY49344"/>
              </a:cxn>
              <a:cxn ang="0">
                <a:pos x="connsiteX49345" y="connsiteY49345"/>
              </a:cxn>
              <a:cxn ang="0">
                <a:pos x="connsiteX49346" y="connsiteY49346"/>
              </a:cxn>
              <a:cxn ang="0">
                <a:pos x="connsiteX49347" y="connsiteY49347"/>
              </a:cxn>
              <a:cxn ang="0">
                <a:pos x="connsiteX49348" y="connsiteY49348"/>
              </a:cxn>
              <a:cxn ang="0">
                <a:pos x="connsiteX49349" y="connsiteY49349"/>
              </a:cxn>
              <a:cxn ang="0">
                <a:pos x="connsiteX49350" y="connsiteY49350"/>
              </a:cxn>
              <a:cxn ang="0">
                <a:pos x="connsiteX49351" y="connsiteY49351"/>
              </a:cxn>
              <a:cxn ang="0">
                <a:pos x="connsiteX49352" y="connsiteY49352"/>
              </a:cxn>
              <a:cxn ang="0">
                <a:pos x="connsiteX49353" y="connsiteY49353"/>
              </a:cxn>
              <a:cxn ang="0">
                <a:pos x="connsiteX49354" y="connsiteY49354"/>
              </a:cxn>
              <a:cxn ang="0">
                <a:pos x="connsiteX49355" y="connsiteY49355"/>
              </a:cxn>
              <a:cxn ang="0">
                <a:pos x="connsiteX49356" y="connsiteY49356"/>
              </a:cxn>
              <a:cxn ang="0">
                <a:pos x="connsiteX49357" y="connsiteY49357"/>
              </a:cxn>
              <a:cxn ang="0">
                <a:pos x="connsiteX49358" y="connsiteY49358"/>
              </a:cxn>
              <a:cxn ang="0">
                <a:pos x="connsiteX49359" y="connsiteY49359"/>
              </a:cxn>
              <a:cxn ang="0">
                <a:pos x="connsiteX49360" y="connsiteY49360"/>
              </a:cxn>
              <a:cxn ang="0">
                <a:pos x="connsiteX49361" y="connsiteY49361"/>
              </a:cxn>
              <a:cxn ang="0">
                <a:pos x="connsiteX49362" y="connsiteY49362"/>
              </a:cxn>
              <a:cxn ang="0">
                <a:pos x="connsiteX49363" y="connsiteY49363"/>
              </a:cxn>
              <a:cxn ang="0">
                <a:pos x="connsiteX49364" y="connsiteY49364"/>
              </a:cxn>
              <a:cxn ang="0">
                <a:pos x="connsiteX49365" y="connsiteY49365"/>
              </a:cxn>
              <a:cxn ang="0">
                <a:pos x="connsiteX49366" y="connsiteY49366"/>
              </a:cxn>
              <a:cxn ang="0">
                <a:pos x="connsiteX49367" y="connsiteY49367"/>
              </a:cxn>
              <a:cxn ang="0">
                <a:pos x="connsiteX49368" y="connsiteY49368"/>
              </a:cxn>
              <a:cxn ang="0">
                <a:pos x="connsiteX49369" y="connsiteY49369"/>
              </a:cxn>
              <a:cxn ang="0">
                <a:pos x="connsiteX49370" y="connsiteY49370"/>
              </a:cxn>
              <a:cxn ang="0">
                <a:pos x="connsiteX49371" y="connsiteY49371"/>
              </a:cxn>
              <a:cxn ang="0">
                <a:pos x="connsiteX49372" y="connsiteY49372"/>
              </a:cxn>
              <a:cxn ang="0">
                <a:pos x="connsiteX49373" y="connsiteY49373"/>
              </a:cxn>
              <a:cxn ang="0">
                <a:pos x="connsiteX49374" y="connsiteY49374"/>
              </a:cxn>
              <a:cxn ang="0">
                <a:pos x="connsiteX49375" y="connsiteY49375"/>
              </a:cxn>
              <a:cxn ang="0">
                <a:pos x="connsiteX49376" y="connsiteY49376"/>
              </a:cxn>
              <a:cxn ang="0">
                <a:pos x="connsiteX49377" y="connsiteY49377"/>
              </a:cxn>
              <a:cxn ang="0">
                <a:pos x="connsiteX49378" y="connsiteY49378"/>
              </a:cxn>
              <a:cxn ang="0">
                <a:pos x="connsiteX49379" y="connsiteY49379"/>
              </a:cxn>
              <a:cxn ang="0">
                <a:pos x="connsiteX49380" y="connsiteY49380"/>
              </a:cxn>
              <a:cxn ang="0">
                <a:pos x="connsiteX49381" y="connsiteY49381"/>
              </a:cxn>
              <a:cxn ang="0">
                <a:pos x="connsiteX49382" y="connsiteY49382"/>
              </a:cxn>
              <a:cxn ang="0">
                <a:pos x="connsiteX49383" y="connsiteY49383"/>
              </a:cxn>
              <a:cxn ang="0">
                <a:pos x="connsiteX49384" y="connsiteY49384"/>
              </a:cxn>
              <a:cxn ang="0">
                <a:pos x="connsiteX49385" y="connsiteY49385"/>
              </a:cxn>
              <a:cxn ang="0">
                <a:pos x="connsiteX49386" y="connsiteY49386"/>
              </a:cxn>
              <a:cxn ang="0">
                <a:pos x="connsiteX49387" y="connsiteY49387"/>
              </a:cxn>
              <a:cxn ang="0">
                <a:pos x="connsiteX49388" y="connsiteY49388"/>
              </a:cxn>
              <a:cxn ang="0">
                <a:pos x="connsiteX49389" y="connsiteY49389"/>
              </a:cxn>
              <a:cxn ang="0">
                <a:pos x="connsiteX49390" y="connsiteY49390"/>
              </a:cxn>
              <a:cxn ang="0">
                <a:pos x="connsiteX49391" y="connsiteY49391"/>
              </a:cxn>
              <a:cxn ang="0">
                <a:pos x="connsiteX49392" y="connsiteY49392"/>
              </a:cxn>
              <a:cxn ang="0">
                <a:pos x="connsiteX49393" y="connsiteY49393"/>
              </a:cxn>
              <a:cxn ang="0">
                <a:pos x="connsiteX49394" y="connsiteY49394"/>
              </a:cxn>
              <a:cxn ang="0">
                <a:pos x="connsiteX49395" y="connsiteY49395"/>
              </a:cxn>
              <a:cxn ang="0">
                <a:pos x="connsiteX49396" y="connsiteY49396"/>
              </a:cxn>
              <a:cxn ang="0">
                <a:pos x="connsiteX49397" y="connsiteY49397"/>
              </a:cxn>
              <a:cxn ang="0">
                <a:pos x="connsiteX49398" y="connsiteY49398"/>
              </a:cxn>
              <a:cxn ang="0">
                <a:pos x="connsiteX49399" y="connsiteY49399"/>
              </a:cxn>
              <a:cxn ang="0">
                <a:pos x="connsiteX49400" y="connsiteY49400"/>
              </a:cxn>
              <a:cxn ang="0">
                <a:pos x="connsiteX49401" y="connsiteY49401"/>
              </a:cxn>
              <a:cxn ang="0">
                <a:pos x="connsiteX49402" y="connsiteY49402"/>
              </a:cxn>
              <a:cxn ang="0">
                <a:pos x="connsiteX49403" y="connsiteY49403"/>
              </a:cxn>
              <a:cxn ang="0">
                <a:pos x="connsiteX49404" y="connsiteY49404"/>
              </a:cxn>
              <a:cxn ang="0">
                <a:pos x="connsiteX49405" y="connsiteY49405"/>
              </a:cxn>
              <a:cxn ang="0">
                <a:pos x="connsiteX49406" y="connsiteY49406"/>
              </a:cxn>
              <a:cxn ang="0">
                <a:pos x="connsiteX49407" y="connsiteY49407"/>
              </a:cxn>
              <a:cxn ang="0">
                <a:pos x="connsiteX49408" y="connsiteY49408"/>
              </a:cxn>
              <a:cxn ang="0">
                <a:pos x="connsiteX49409" y="connsiteY49409"/>
              </a:cxn>
              <a:cxn ang="0">
                <a:pos x="connsiteX49410" y="connsiteY49410"/>
              </a:cxn>
              <a:cxn ang="0">
                <a:pos x="connsiteX49411" y="connsiteY49411"/>
              </a:cxn>
              <a:cxn ang="0">
                <a:pos x="connsiteX49412" y="connsiteY49412"/>
              </a:cxn>
              <a:cxn ang="0">
                <a:pos x="connsiteX49413" y="connsiteY49413"/>
              </a:cxn>
              <a:cxn ang="0">
                <a:pos x="connsiteX49414" y="connsiteY49414"/>
              </a:cxn>
              <a:cxn ang="0">
                <a:pos x="connsiteX49415" y="connsiteY49415"/>
              </a:cxn>
              <a:cxn ang="0">
                <a:pos x="connsiteX49416" y="connsiteY49416"/>
              </a:cxn>
              <a:cxn ang="0">
                <a:pos x="connsiteX49417" y="connsiteY49417"/>
              </a:cxn>
              <a:cxn ang="0">
                <a:pos x="connsiteX49418" y="connsiteY49418"/>
              </a:cxn>
              <a:cxn ang="0">
                <a:pos x="connsiteX49419" y="connsiteY49419"/>
              </a:cxn>
              <a:cxn ang="0">
                <a:pos x="connsiteX49420" y="connsiteY49420"/>
              </a:cxn>
              <a:cxn ang="0">
                <a:pos x="connsiteX49421" y="connsiteY49421"/>
              </a:cxn>
              <a:cxn ang="0">
                <a:pos x="connsiteX49422" y="connsiteY49422"/>
              </a:cxn>
              <a:cxn ang="0">
                <a:pos x="connsiteX49423" y="connsiteY49423"/>
              </a:cxn>
              <a:cxn ang="0">
                <a:pos x="connsiteX49424" y="connsiteY49424"/>
              </a:cxn>
              <a:cxn ang="0">
                <a:pos x="connsiteX49425" y="connsiteY49425"/>
              </a:cxn>
              <a:cxn ang="0">
                <a:pos x="connsiteX49426" y="connsiteY49426"/>
              </a:cxn>
              <a:cxn ang="0">
                <a:pos x="connsiteX49427" y="connsiteY49427"/>
              </a:cxn>
              <a:cxn ang="0">
                <a:pos x="connsiteX49428" y="connsiteY49428"/>
              </a:cxn>
              <a:cxn ang="0">
                <a:pos x="connsiteX49429" y="connsiteY49429"/>
              </a:cxn>
              <a:cxn ang="0">
                <a:pos x="connsiteX49430" y="connsiteY49430"/>
              </a:cxn>
              <a:cxn ang="0">
                <a:pos x="connsiteX49431" y="connsiteY49431"/>
              </a:cxn>
              <a:cxn ang="0">
                <a:pos x="connsiteX49432" y="connsiteY49432"/>
              </a:cxn>
              <a:cxn ang="0">
                <a:pos x="connsiteX49433" y="connsiteY49433"/>
              </a:cxn>
              <a:cxn ang="0">
                <a:pos x="connsiteX49434" y="connsiteY49434"/>
              </a:cxn>
              <a:cxn ang="0">
                <a:pos x="connsiteX49435" y="connsiteY49435"/>
              </a:cxn>
              <a:cxn ang="0">
                <a:pos x="connsiteX49436" y="connsiteY49436"/>
              </a:cxn>
              <a:cxn ang="0">
                <a:pos x="connsiteX49437" y="connsiteY49437"/>
              </a:cxn>
              <a:cxn ang="0">
                <a:pos x="connsiteX49438" y="connsiteY49438"/>
              </a:cxn>
              <a:cxn ang="0">
                <a:pos x="connsiteX49439" y="connsiteY49439"/>
              </a:cxn>
              <a:cxn ang="0">
                <a:pos x="connsiteX49440" y="connsiteY49440"/>
              </a:cxn>
              <a:cxn ang="0">
                <a:pos x="connsiteX49441" y="connsiteY49441"/>
              </a:cxn>
              <a:cxn ang="0">
                <a:pos x="connsiteX49442" y="connsiteY49442"/>
              </a:cxn>
              <a:cxn ang="0">
                <a:pos x="connsiteX49443" y="connsiteY49443"/>
              </a:cxn>
              <a:cxn ang="0">
                <a:pos x="connsiteX49444" y="connsiteY49444"/>
              </a:cxn>
              <a:cxn ang="0">
                <a:pos x="connsiteX49445" y="connsiteY49445"/>
              </a:cxn>
              <a:cxn ang="0">
                <a:pos x="connsiteX49446" y="connsiteY49446"/>
              </a:cxn>
              <a:cxn ang="0">
                <a:pos x="connsiteX49447" y="connsiteY49447"/>
              </a:cxn>
              <a:cxn ang="0">
                <a:pos x="connsiteX49448" y="connsiteY49448"/>
              </a:cxn>
              <a:cxn ang="0">
                <a:pos x="connsiteX49449" y="connsiteY49449"/>
              </a:cxn>
              <a:cxn ang="0">
                <a:pos x="connsiteX49450" y="connsiteY49450"/>
              </a:cxn>
              <a:cxn ang="0">
                <a:pos x="connsiteX49451" y="connsiteY49451"/>
              </a:cxn>
              <a:cxn ang="0">
                <a:pos x="connsiteX49452" y="connsiteY49452"/>
              </a:cxn>
              <a:cxn ang="0">
                <a:pos x="connsiteX49453" y="connsiteY49453"/>
              </a:cxn>
              <a:cxn ang="0">
                <a:pos x="connsiteX49454" y="connsiteY49454"/>
              </a:cxn>
              <a:cxn ang="0">
                <a:pos x="connsiteX49455" y="connsiteY49455"/>
              </a:cxn>
              <a:cxn ang="0">
                <a:pos x="connsiteX49456" y="connsiteY49456"/>
              </a:cxn>
              <a:cxn ang="0">
                <a:pos x="connsiteX49457" y="connsiteY49457"/>
              </a:cxn>
              <a:cxn ang="0">
                <a:pos x="connsiteX49458" y="connsiteY49458"/>
              </a:cxn>
              <a:cxn ang="0">
                <a:pos x="connsiteX49459" y="connsiteY49459"/>
              </a:cxn>
              <a:cxn ang="0">
                <a:pos x="connsiteX49460" y="connsiteY49460"/>
              </a:cxn>
              <a:cxn ang="0">
                <a:pos x="connsiteX49461" y="connsiteY49461"/>
              </a:cxn>
              <a:cxn ang="0">
                <a:pos x="connsiteX49462" y="connsiteY49462"/>
              </a:cxn>
              <a:cxn ang="0">
                <a:pos x="connsiteX49463" y="connsiteY49463"/>
              </a:cxn>
              <a:cxn ang="0">
                <a:pos x="connsiteX49464" y="connsiteY49464"/>
              </a:cxn>
              <a:cxn ang="0">
                <a:pos x="connsiteX49465" y="connsiteY49465"/>
              </a:cxn>
              <a:cxn ang="0">
                <a:pos x="connsiteX49466" y="connsiteY49466"/>
              </a:cxn>
              <a:cxn ang="0">
                <a:pos x="connsiteX49467" y="connsiteY49467"/>
              </a:cxn>
              <a:cxn ang="0">
                <a:pos x="connsiteX49468" y="connsiteY49468"/>
              </a:cxn>
              <a:cxn ang="0">
                <a:pos x="connsiteX49469" y="connsiteY49469"/>
              </a:cxn>
              <a:cxn ang="0">
                <a:pos x="connsiteX49470" y="connsiteY49470"/>
              </a:cxn>
              <a:cxn ang="0">
                <a:pos x="connsiteX49471" y="connsiteY49471"/>
              </a:cxn>
              <a:cxn ang="0">
                <a:pos x="connsiteX49472" y="connsiteY49472"/>
              </a:cxn>
              <a:cxn ang="0">
                <a:pos x="connsiteX49473" y="connsiteY49473"/>
              </a:cxn>
              <a:cxn ang="0">
                <a:pos x="connsiteX49474" y="connsiteY49474"/>
              </a:cxn>
              <a:cxn ang="0">
                <a:pos x="connsiteX49475" y="connsiteY49475"/>
              </a:cxn>
              <a:cxn ang="0">
                <a:pos x="connsiteX49476" y="connsiteY49476"/>
              </a:cxn>
              <a:cxn ang="0">
                <a:pos x="connsiteX49477" y="connsiteY49477"/>
              </a:cxn>
              <a:cxn ang="0">
                <a:pos x="connsiteX49478" y="connsiteY49478"/>
              </a:cxn>
              <a:cxn ang="0">
                <a:pos x="connsiteX49479" y="connsiteY49479"/>
              </a:cxn>
              <a:cxn ang="0">
                <a:pos x="connsiteX49480" y="connsiteY49480"/>
              </a:cxn>
              <a:cxn ang="0">
                <a:pos x="connsiteX49481" y="connsiteY49481"/>
              </a:cxn>
              <a:cxn ang="0">
                <a:pos x="connsiteX49482" y="connsiteY49482"/>
              </a:cxn>
              <a:cxn ang="0">
                <a:pos x="connsiteX49483" y="connsiteY49483"/>
              </a:cxn>
              <a:cxn ang="0">
                <a:pos x="connsiteX49484" y="connsiteY49484"/>
              </a:cxn>
              <a:cxn ang="0">
                <a:pos x="connsiteX49485" y="connsiteY49485"/>
              </a:cxn>
              <a:cxn ang="0">
                <a:pos x="connsiteX49486" y="connsiteY49486"/>
              </a:cxn>
              <a:cxn ang="0">
                <a:pos x="connsiteX49487" y="connsiteY49487"/>
              </a:cxn>
              <a:cxn ang="0">
                <a:pos x="connsiteX49488" y="connsiteY49488"/>
              </a:cxn>
              <a:cxn ang="0">
                <a:pos x="connsiteX49489" y="connsiteY49489"/>
              </a:cxn>
              <a:cxn ang="0">
                <a:pos x="connsiteX49490" y="connsiteY49490"/>
              </a:cxn>
              <a:cxn ang="0">
                <a:pos x="connsiteX49491" y="connsiteY49491"/>
              </a:cxn>
              <a:cxn ang="0">
                <a:pos x="connsiteX49492" y="connsiteY49492"/>
              </a:cxn>
              <a:cxn ang="0">
                <a:pos x="connsiteX49493" y="connsiteY49493"/>
              </a:cxn>
              <a:cxn ang="0">
                <a:pos x="connsiteX49494" y="connsiteY49494"/>
              </a:cxn>
              <a:cxn ang="0">
                <a:pos x="connsiteX49495" y="connsiteY49495"/>
              </a:cxn>
              <a:cxn ang="0">
                <a:pos x="connsiteX49496" y="connsiteY49496"/>
              </a:cxn>
              <a:cxn ang="0">
                <a:pos x="connsiteX49497" y="connsiteY49497"/>
              </a:cxn>
              <a:cxn ang="0">
                <a:pos x="connsiteX49498" y="connsiteY49498"/>
              </a:cxn>
              <a:cxn ang="0">
                <a:pos x="connsiteX49499" y="connsiteY49499"/>
              </a:cxn>
              <a:cxn ang="0">
                <a:pos x="connsiteX49500" y="connsiteY49500"/>
              </a:cxn>
              <a:cxn ang="0">
                <a:pos x="connsiteX49501" y="connsiteY49501"/>
              </a:cxn>
              <a:cxn ang="0">
                <a:pos x="connsiteX49502" y="connsiteY49502"/>
              </a:cxn>
              <a:cxn ang="0">
                <a:pos x="connsiteX49503" y="connsiteY49503"/>
              </a:cxn>
              <a:cxn ang="0">
                <a:pos x="connsiteX49504" y="connsiteY49504"/>
              </a:cxn>
              <a:cxn ang="0">
                <a:pos x="connsiteX49505" y="connsiteY49505"/>
              </a:cxn>
              <a:cxn ang="0">
                <a:pos x="connsiteX49506" y="connsiteY49506"/>
              </a:cxn>
              <a:cxn ang="0">
                <a:pos x="connsiteX49507" y="connsiteY49507"/>
              </a:cxn>
              <a:cxn ang="0">
                <a:pos x="connsiteX49508" y="connsiteY49508"/>
              </a:cxn>
              <a:cxn ang="0">
                <a:pos x="connsiteX49509" y="connsiteY49509"/>
              </a:cxn>
              <a:cxn ang="0">
                <a:pos x="connsiteX49510" y="connsiteY49510"/>
              </a:cxn>
              <a:cxn ang="0">
                <a:pos x="connsiteX49511" y="connsiteY49511"/>
              </a:cxn>
              <a:cxn ang="0">
                <a:pos x="connsiteX49512" y="connsiteY49512"/>
              </a:cxn>
              <a:cxn ang="0">
                <a:pos x="connsiteX49513" y="connsiteY49513"/>
              </a:cxn>
              <a:cxn ang="0">
                <a:pos x="connsiteX49514" y="connsiteY49514"/>
              </a:cxn>
              <a:cxn ang="0">
                <a:pos x="connsiteX49515" y="connsiteY49515"/>
              </a:cxn>
              <a:cxn ang="0">
                <a:pos x="connsiteX49516" y="connsiteY49516"/>
              </a:cxn>
              <a:cxn ang="0">
                <a:pos x="connsiteX49517" y="connsiteY49517"/>
              </a:cxn>
              <a:cxn ang="0">
                <a:pos x="connsiteX49518" y="connsiteY49518"/>
              </a:cxn>
              <a:cxn ang="0">
                <a:pos x="connsiteX49519" y="connsiteY49519"/>
              </a:cxn>
              <a:cxn ang="0">
                <a:pos x="connsiteX49520" y="connsiteY49520"/>
              </a:cxn>
              <a:cxn ang="0">
                <a:pos x="connsiteX49521" y="connsiteY49521"/>
              </a:cxn>
              <a:cxn ang="0">
                <a:pos x="connsiteX49522" y="connsiteY49522"/>
              </a:cxn>
              <a:cxn ang="0">
                <a:pos x="connsiteX49523" y="connsiteY49523"/>
              </a:cxn>
              <a:cxn ang="0">
                <a:pos x="connsiteX49524" y="connsiteY49524"/>
              </a:cxn>
              <a:cxn ang="0">
                <a:pos x="connsiteX49525" y="connsiteY49525"/>
              </a:cxn>
              <a:cxn ang="0">
                <a:pos x="connsiteX49526" y="connsiteY49526"/>
              </a:cxn>
              <a:cxn ang="0">
                <a:pos x="connsiteX49527" y="connsiteY49527"/>
              </a:cxn>
              <a:cxn ang="0">
                <a:pos x="connsiteX49528" y="connsiteY49528"/>
              </a:cxn>
              <a:cxn ang="0">
                <a:pos x="connsiteX49529" y="connsiteY49529"/>
              </a:cxn>
              <a:cxn ang="0">
                <a:pos x="connsiteX49530" y="connsiteY49530"/>
              </a:cxn>
              <a:cxn ang="0">
                <a:pos x="connsiteX49531" y="connsiteY49531"/>
              </a:cxn>
              <a:cxn ang="0">
                <a:pos x="connsiteX49532" y="connsiteY49532"/>
              </a:cxn>
              <a:cxn ang="0">
                <a:pos x="connsiteX49533" y="connsiteY49533"/>
              </a:cxn>
              <a:cxn ang="0">
                <a:pos x="connsiteX49534" y="connsiteY49534"/>
              </a:cxn>
              <a:cxn ang="0">
                <a:pos x="connsiteX49535" y="connsiteY49535"/>
              </a:cxn>
              <a:cxn ang="0">
                <a:pos x="connsiteX49536" y="connsiteY49536"/>
              </a:cxn>
              <a:cxn ang="0">
                <a:pos x="connsiteX49537" y="connsiteY49537"/>
              </a:cxn>
              <a:cxn ang="0">
                <a:pos x="connsiteX49538" y="connsiteY49538"/>
              </a:cxn>
              <a:cxn ang="0">
                <a:pos x="connsiteX49539" y="connsiteY49539"/>
              </a:cxn>
              <a:cxn ang="0">
                <a:pos x="connsiteX49540" y="connsiteY49540"/>
              </a:cxn>
              <a:cxn ang="0">
                <a:pos x="connsiteX49541" y="connsiteY49541"/>
              </a:cxn>
              <a:cxn ang="0">
                <a:pos x="connsiteX49542" y="connsiteY49542"/>
              </a:cxn>
              <a:cxn ang="0">
                <a:pos x="connsiteX49543" y="connsiteY49543"/>
              </a:cxn>
              <a:cxn ang="0">
                <a:pos x="connsiteX49544" y="connsiteY49544"/>
              </a:cxn>
              <a:cxn ang="0">
                <a:pos x="connsiteX49545" y="connsiteY49545"/>
              </a:cxn>
              <a:cxn ang="0">
                <a:pos x="connsiteX49546" y="connsiteY49546"/>
              </a:cxn>
              <a:cxn ang="0">
                <a:pos x="connsiteX49547" y="connsiteY49547"/>
              </a:cxn>
              <a:cxn ang="0">
                <a:pos x="connsiteX49548" y="connsiteY49548"/>
              </a:cxn>
              <a:cxn ang="0">
                <a:pos x="connsiteX49549" y="connsiteY49549"/>
              </a:cxn>
              <a:cxn ang="0">
                <a:pos x="connsiteX49550" y="connsiteY49550"/>
              </a:cxn>
              <a:cxn ang="0">
                <a:pos x="connsiteX49551" y="connsiteY49551"/>
              </a:cxn>
              <a:cxn ang="0">
                <a:pos x="connsiteX49552" y="connsiteY49552"/>
              </a:cxn>
              <a:cxn ang="0">
                <a:pos x="connsiteX49553" y="connsiteY49553"/>
              </a:cxn>
              <a:cxn ang="0">
                <a:pos x="connsiteX49554" y="connsiteY49554"/>
              </a:cxn>
              <a:cxn ang="0">
                <a:pos x="connsiteX49555" y="connsiteY49555"/>
              </a:cxn>
              <a:cxn ang="0">
                <a:pos x="connsiteX49556" y="connsiteY49556"/>
              </a:cxn>
              <a:cxn ang="0">
                <a:pos x="connsiteX49557" y="connsiteY49557"/>
              </a:cxn>
              <a:cxn ang="0">
                <a:pos x="connsiteX49558" y="connsiteY49558"/>
              </a:cxn>
              <a:cxn ang="0">
                <a:pos x="connsiteX49559" y="connsiteY49559"/>
              </a:cxn>
              <a:cxn ang="0">
                <a:pos x="connsiteX49560" y="connsiteY49560"/>
              </a:cxn>
              <a:cxn ang="0">
                <a:pos x="connsiteX49561" y="connsiteY49561"/>
              </a:cxn>
              <a:cxn ang="0">
                <a:pos x="connsiteX49562" y="connsiteY49562"/>
              </a:cxn>
              <a:cxn ang="0">
                <a:pos x="connsiteX49563" y="connsiteY49563"/>
              </a:cxn>
              <a:cxn ang="0">
                <a:pos x="connsiteX49564" y="connsiteY49564"/>
              </a:cxn>
              <a:cxn ang="0">
                <a:pos x="connsiteX49565" y="connsiteY49565"/>
              </a:cxn>
              <a:cxn ang="0">
                <a:pos x="connsiteX49566" y="connsiteY49566"/>
              </a:cxn>
              <a:cxn ang="0">
                <a:pos x="connsiteX49567" y="connsiteY49567"/>
              </a:cxn>
              <a:cxn ang="0">
                <a:pos x="connsiteX49568" y="connsiteY49568"/>
              </a:cxn>
              <a:cxn ang="0">
                <a:pos x="connsiteX49569" y="connsiteY49569"/>
              </a:cxn>
              <a:cxn ang="0">
                <a:pos x="connsiteX49570" y="connsiteY49570"/>
              </a:cxn>
              <a:cxn ang="0">
                <a:pos x="connsiteX49571" y="connsiteY49571"/>
              </a:cxn>
              <a:cxn ang="0">
                <a:pos x="connsiteX49572" y="connsiteY49572"/>
              </a:cxn>
              <a:cxn ang="0">
                <a:pos x="connsiteX49573" y="connsiteY49573"/>
              </a:cxn>
              <a:cxn ang="0">
                <a:pos x="connsiteX49574" y="connsiteY49574"/>
              </a:cxn>
              <a:cxn ang="0">
                <a:pos x="connsiteX49575" y="connsiteY49575"/>
              </a:cxn>
              <a:cxn ang="0">
                <a:pos x="connsiteX49576" y="connsiteY49576"/>
              </a:cxn>
              <a:cxn ang="0">
                <a:pos x="connsiteX49577" y="connsiteY49577"/>
              </a:cxn>
              <a:cxn ang="0">
                <a:pos x="connsiteX49578" y="connsiteY49578"/>
              </a:cxn>
              <a:cxn ang="0">
                <a:pos x="connsiteX49579" y="connsiteY49579"/>
              </a:cxn>
              <a:cxn ang="0">
                <a:pos x="connsiteX49580" y="connsiteY49580"/>
              </a:cxn>
              <a:cxn ang="0">
                <a:pos x="connsiteX49581" y="connsiteY49581"/>
              </a:cxn>
              <a:cxn ang="0">
                <a:pos x="connsiteX49582" y="connsiteY49582"/>
              </a:cxn>
              <a:cxn ang="0">
                <a:pos x="connsiteX49583" y="connsiteY49583"/>
              </a:cxn>
              <a:cxn ang="0">
                <a:pos x="connsiteX49584" y="connsiteY49584"/>
              </a:cxn>
              <a:cxn ang="0">
                <a:pos x="connsiteX49585" y="connsiteY49585"/>
              </a:cxn>
              <a:cxn ang="0">
                <a:pos x="connsiteX49586" y="connsiteY49586"/>
              </a:cxn>
              <a:cxn ang="0">
                <a:pos x="connsiteX49587" y="connsiteY49587"/>
              </a:cxn>
              <a:cxn ang="0">
                <a:pos x="connsiteX49588" y="connsiteY49588"/>
              </a:cxn>
              <a:cxn ang="0">
                <a:pos x="connsiteX49589" y="connsiteY49589"/>
              </a:cxn>
              <a:cxn ang="0">
                <a:pos x="connsiteX49590" y="connsiteY49590"/>
              </a:cxn>
              <a:cxn ang="0">
                <a:pos x="connsiteX49591" y="connsiteY49591"/>
              </a:cxn>
              <a:cxn ang="0">
                <a:pos x="connsiteX49592" y="connsiteY49592"/>
              </a:cxn>
              <a:cxn ang="0">
                <a:pos x="connsiteX49593" y="connsiteY49593"/>
              </a:cxn>
              <a:cxn ang="0">
                <a:pos x="connsiteX49594" y="connsiteY49594"/>
              </a:cxn>
              <a:cxn ang="0">
                <a:pos x="connsiteX49595" y="connsiteY49595"/>
              </a:cxn>
              <a:cxn ang="0">
                <a:pos x="connsiteX49596" y="connsiteY49596"/>
              </a:cxn>
              <a:cxn ang="0">
                <a:pos x="connsiteX49597" y="connsiteY49597"/>
              </a:cxn>
              <a:cxn ang="0">
                <a:pos x="connsiteX49598" y="connsiteY49598"/>
              </a:cxn>
              <a:cxn ang="0">
                <a:pos x="connsiteX49599" y="connsiteY49599"/>
              </a:cxn>
              <a:cxn ang="0">
                <a:pos x="connsiteX49600" y="connsiteY49600"/>
              </a:cxn>
              <a:cxn ang="0">
                <a:pos x="connsiteX49601" y="connsiteY49601"/>
              </a:cxn>
              <a:cxn ang="0">
                <a:pos x="connsiteX49602" y="connsiteY49602"/>
              </a:cxn>
              <a:cxn ang="0">
                <a:pos x="connsiteX49603" y="connsiteY49603"/>
              </a:cxn>
              <a:cxn ang="0">
                <a:pos x="connsiteX49604" y="connsiteY49604"/>
              </a:cxn>
              <a:cxn ang="0">
                <a:pos x="connsiteX49605" y="connsiteY49605"/>
              </a:cxn>
              <a:cxn ang="0">
                <a:pos x="connsiteX49606" y="connsiteY49606"/>
              </a:cxn>
              <a:cxn ang="0">
                <a:pos x="connsiteX49607" y="connsiteY49607"/>
              </a:cxn>
              <a:cxn ang="0">
                <a:pos x="connsiteX49608" y="connsiteY49608"/>
              </a:cxn>
              <a:cxn ang="0">
                <a:pos x="connsiteX49609" y="connsiteY49609"/>
              </a:cxn>
              <a:cxn ang="0">
                <a:pos x="connsiteX49610" y="connsiteY49610"/>
              </a:cxn>
              <a:cxn ang="0">
                <a:pos x="connsiteX49611" y="connsiteY49611"/>
              </a:cxn>
              <a:cxn ang="0">
                <a:pos x="connsiteX49612" y="connsiteY49612"/>
              </a:cxn>
              <a:cxn ang="0">
                <a:pos x="connsiteX49613" y="connsiteY49613"/>
              </a:cxn>
              <a:cxn ang="0">
                <a:pos x="connsiteX49614" y="connsiteY49614"/>
              </a:cxn>
              <a:cxn ang="0">
                <a:pos x="connsiteX49615" y="connsiteY49615"/>
              </a:cxn>
              <a:cxn ang="0">
                <a:pos x="connsiteX49616" y="connsiteY49616"/>
              </a:cxn>
              <a:cxn ang="0">
                <a:pos x="connsiteX49617" y="connsiteY49617"/>
              </a:cxn>
              <a:cxn ang="0">
                <a:pos x="connsiteX49618" y="connsiteY49618"/>
              </a:cxn>
              <a:cxn ang="0">
                <a:pos x="connsiteX49619" y="connsiteY49619"/>
              </a:cxn>
              <a:cxn ang="0">
                <a:pos x="connsiteX49620" y="connsiteY49620"/>
              </a:cxn>
              <a:cxn ang="0">
                <a:pos x="connsiteX49621" y="connsiteY49621"/>
              </a:cxn>
              <a:cxn ang="0">
                <a:pos x="connsiteX49622" y="connsiteY49622"/>
              </a:cxn>
              <a:cxn ang="0">
                <a:pos x="connsiteX49623" y="connsiteY49623"/>
              </a:cxn>
              <a:cxn ang="0">
                <a:pos x="connsiteX49624" y="connsiteY49624"/>
              </a:cxn>
              <a:cxn ang="0">
                <a:pos x="connsiteX49625" y="connsiteY49625"/>
              </a:cxn>
              <a:cxn ang="0">
                <a:pos x="connsiteX49626" y="connsiteY49626"/>
              </a:cxn>
              <a:cxn ang="0">
                <a:pos x="connsiteX49627" y="connsiteY49627"/>
              </a:cxn>
              <a:cxn ang="0">
                <a:pos x="connsiteX49628" y="connsiteY49628"/>
              </a:cxn>
              <a:cxn ang="0">
                <a:pos x="connsiteX49629" y="connsiteY49629"/>
              </a:cxn>
              <a:cxn ang="0">
                <a:pos x="connsiteX49630" y="connsiteY49630"/>
              </a:cxn>
              <a:cxn ang="0">
                <a:pos x="connsiteX49631" y="connsiteY49631"/>
              </a:cxn>
              <a:cxn ang="0">
                <a:pos x="connsiteX49632" y="connsiteY49632"/>
              </a:cxn>
              <a:cxn ang="0">
                <a:pos x="connsiteX49633" y="connsiteY49633"/>
              </a:cxn>
              <a:cxn ang="0">
                <a:pos x="connsiteX49634" y="connsiteY49634"/>
              </a:cxn>
              <a:cxn ang="0">
                <a:pos x="connsiteX49635" y="connsiteY49635"/>
              </a:cxn>
              <a:cxn ang="0">
                <a:pos x="connsiteX49636" y="connsiteY49636"/>
              </a:cxn>
              <a:cxn ang="0">
                <a:pos x="connsiteX49637" y="connsiteY49637"/>
              </a:cxn>
              <a:cxn ang="0">
                <a:pos x="connsiteX49638" y="connsiteY49638"/>
              </a:cxn>
              <a:cxn ang="0">
                <a:pos x="connsiteX49639" y="connsiteY49639"/>
              </a:cxn>
              <a:cxn ang="0">
                <a:pos x="connsiteX49640" y="connsiteY49640"/>
              </a:cxn>
              <a:cxn ang="0">
                <a:pos x="connsiteX49641" y="connsiteY49641"/>
              </a:cxn>
              <a:cxn ang="0">
                <a:pos x="connsiteX49642" y="connsiteY49642"/>
              </a:cxn>
              <a:cxn ang="0">
                <a:pos x="connsiteX49643" y="connsiteY49643"/>
              </a:cxn>
              <a:cxn ang="0">
                <a:pos x="connsiteX49644" y="connsiteY49644"/>
              </a:cxn>
              <a:cxn ang="0">
                <a:pos x="connsiteX49645" y="connsiteY49645"/>
              </a:cxn>
              <a:cxn ang="0">
                <a:pos x="connsiteX49646" y="connsiteY49646"/>
              </a:cxn>
              <a:cxn ang="0">
                <a:pos x="connsiteX49647" y="connsiteY49647"/>
              </a:cxn>
              <a:cxn ang="0">
                <a:pos x="connsiteX49648" y="connsiteY49648"/>
              </a:cxn>
              <a:cxn ang="0">
                <a:pos x="connsiteX49649" y="connsiteY49649"/>
              </a:cxn>
              <a:cxn ang="0">
                <a:pos x="connsiteX49650" y="connsiteY49650"/>
              </a:cxn>
              <a:cxn ang="0">
                <a:pos x="connsiteX49651" y="connsiteY49651"/>
              </a:cxn>
              <a:cxn ang="0">
                <a:pos x="connsiteX49652" y="connsiteY49652"/>
              </a:cxn>
              <a:cxn ang="0">
                <a:pos x="connsiteX49653" y="connsiteY49653"/>
              </a:cxn>
              <a:cxn ang="0">
                <a:pos x="connsiteX49654" y="connsiteY49654"/>
              </a:cxn>
              <a:cxn ang="0">
                <a:pos x="connsiteX49655" y="connsiteY49655"/>
              </a:cxn>
              <a:cxn ang="0">
                <a:pos x="connsiteX49656" y="connsiteY49656"/>
              </a:cxn>
              <a:cxn ang="0">
                <a:pos x="connsiteX49657" y="connsiteY49657"/>
              </a:cxn>
              <a:cxn ang="0">
                <a:pos x="connsiteX49658" y="connsiteY49658"/>
              </a:cxn>
              <a:cxn ang="0">
                <a:pos x="connsiteX49659" y="connsiteY49659"/>
              </a:cxn>
              <a:cxn ang="0">
                <a:pos x="connsiteX49660" y="connsiteY49660"/>
              </a:cxn>
              <a:cxn ang="0">
                <a:pos x="connsiteX49661" y="connsiteY49661"/>
              </a:cxn>
              <a:cxn ang="0">
                <a:pos x="connsiteX49662" y="connsiteY49662"/>
              </a:cxn>
              <a:cxn ang="0">
                <a:pos x="connsiteX49663" y="connsiteY49663"/>
              </a:cxn>
              <a:cxn ang="0">
                <a:pos x="connsiteX49664" y="connsiteY49664"/>
              </a:cxn>
              <a:cxn ang="0">
                <a:pos x="connsiteX49665" y="connsiteY49665"/>
              </a:cxn>
              <a:cxn ang="0">
                <a:pos x="connsiteX49666" y="connsiteY49666"/>
              </a:cxn>
              <a:cxn ang="0">
                <a:pos x="connsiteX49667" y="connsiteY49667"/>
              </a:cxn>
              <a:cxn ang="0">
                <a:pos x="connsiteX49668" y="connsiteY49668"/>
              </a:cxn>
              <a:cxn ang="0">
                <a:pos x="connsiteX49669" y="connsiteY49669"/>
              </a:cxn>
              <a:cxn ang="0">
                <a:pos x="connsiteX49670" y="connsiteY49670"/>
              </a:cxn>
              <a:cxn ang="0">
                <a:pos x="connsiteX49671" y="connsiteY49671"/>
              </a:cxn>
              <a:cxn ang="0">
                <a:pos x="connsiteX49672" y="connsiteY49672"/>
              </a:cxn>
              <a:cxn ang="0">
                <a:pos x="connsiteX49673" y="connsiteY49673"/>
              </a:cxn>
              <a:cxn ang="0">
                <a:pos x="connsiteX49674" y="connsiteY49674"/>
              </a:cxn>
              <a:cxn ang="0">
                <a:pos x="connsiteX49675" y="connsiteY49675"/>
              </a:cxn>
              <a:cxn ang="0">
                <a:pos x="connsiteX49676" y="connsiteY49676"/>
              </a:cxn>
              <a:cxn ang="0">
                <a:pos x="connsiteX49677" y="connsiteY49677"/>
              </a:cxn>
              <a:cxn ang="0">
                <a:pos x="connsiteX49678" y="connsiteY49678"/>
              </a:cxn>
              <a:cxn ang="0">
                <a:pos x="connsiteX49679" y="connsiteY49679"/>
              </a:cxn>
              <a:cxn ang="0">
                <a:pos x="connsiteX49680" y="connsiteY49680"/>
              </a:cxn>
              <a:cxn ang="0">
                <a:pos x="connsiteX49681" y="connsiteY49681"/>
              </a:cxn>
              <a:cxn ang="0">
                <a:pos x="connsiteX49682" y="connsiteY49682"/>
              </a:cxn>
              <a:cxn ang="0">
                <a:pos x="connsiteX49683" y="connsiteY49683"/>
              </a:cxn>
              <a:cxn ang="0">
                <a:pos x="connsiteX49684" y="connsiteY49684"/>
              </a:cxn>
              <a:cxn ang="0">
                <a:pos x="connsiteX49685" y="connsiteY49685"/>
              </a:cxn>
              <a:cxn ang="0">
                <a:pos x="connsiteX49686" y="connsiteY49686"/>
              </a:cxn>
              <a:cxn ang="0">
                <a:pos x="connsiteX49687" y="connsiteY49687"/>
              </a:cxn>
              <a:cxn ang="0">
                <a:pos x="connsiteX49688" y="connsiteY49688"/>
              </a:cxn>
              <a:cxn ang="0">
                <a:pos x="connsiteX49689" y="connsiteY49689"/>
              </a:cxn>
              <a:cxn ang="0">
                <a:pos x="connsiteX49690" y="connsiteY49690"/>
              </a:cxn>
              <a:cxn ang="0">
                <a:pos x="connsiteX49691" y="connsiteY49691"/>
              </a:cxn>
              <a:cxn ang="0">
                <a:pos x="connsiteX49692" y="connsiteY49692"/>
              </a:cxn>
              <a:cxn ang="0">
                <a:pos x="connsiteX49693" y="connsiteY49693"/>
              </a:cxn>
              <a:cxn ang="0">
                <a:pos x="connsiteX49694" y="connsiteY49694"/>
              </a:cxn>
              <a:cxn ang="0">
                <a:pos x="connsiteX49695" y="connsiteY49695"/>
              </a:cxn>
              <a:cxn ang="0">
                <a:pos x="connsiteX49696" y="connsiteY49696"/>
              </a:cxn>
              <a:cxn ang="0">
                <a:pos x="connsiteX49697" y="connsiteY49697"/>
              </a:cxn>
              <a:cxn ang="0">
                <a:pos x="connsiteX49698" y="connsiteY49698"/>
              </a:cxn>
              <a:cxn ang="0">
                <a:pos x="connsiteX49699" y="connsiteY49699"/>
              </a:cxn>
              <a:cxn ang="0">
                <a:pos x="connsiteX49700" y="connsiteY49700"/>
              </a:cxn>
              <a:cxn ang="0">
                <a:pos x="connsiteX49701" y="connsiteY49701"/>
              </a:cxn>
              <a:cxn ang="0">
                <a:pos x="connsiteX49702" y="connsiteY49702"/>
              </a:cxn>
              <a:cxn ang="0">
                <a:pos x="connsiteX49703" y="connsiteY49703"/>
              </a:cxn>
              <a:cxn ang="0">
                <a:pos x="connsiteX49704" y="connsiteY49704"/>
              </a:cxn>
              <a:cxn ang="0">
                <a:pos x="connsiteX49705" y="connsiteY49705"/>
              </a:cxn>
              <a:cxn ang="0">
                <a:pos x="connsiteX49706" y="connsiteY49706"/>
              </a:cxn>
              <a:cxn ang="0">
                <a:pos x="connsiteX49707" y="connsiteY49707"/>
              </a:cxn>
              <a:cxn ang="0">
                <a:pos x="connsiteX49708" y="connsiteY49708"/>
              </a:cxn>
              <a:cxn ang="0">
                <a:pos x="connsiteX49709" y="connsiteY49709"/>
              </a:cxn>
              <a:cxn ang="0">
                <a:pos x="connsiteX49710" y="connsiteY49710"/>
              </a:cxn>
              <a:cxn ang="0">
                <a:pos x="connsiteX49711" y="connsiteY49711"/>
              </a:cxn>
              <a:cxn ang="0">
                <a:pos x="connsiteX49712" y="connsiteY49712"/>
              </a:cxn>
              <a:cxn ang="0">
                <a:pos x="connsiteX49713" y="connsiteY49713"/>
              </a:cxn>
              <a:cxn ang="0">
                <a:pos x="connsiteX49714" y="connsiteY49714"/>
              </a:cxn>
              <a:cxn ang="0">
                <a:pos x="connsiteX49715" y="connsiteY49715"/>
              </a:cxn>
              <a:cxn ang="0">
                <a:pos x="connsiteX49716" y="connsiteY49716"/>
              </a:cxn>
              <a:cxn ang="0">
                <a:pos x="connsiteX49717" y="connsiteY49717"/>
              </a:cxn>
              <a:cxn ang="0">
                <a:pos x="connsiteX49718" y="connsiteY49718"/>
              </a:cxn>
              <a:cxn ang="0">
                <a:pos x="connsiteX49719" y="connsiteY49719"/>
              </a:cxn>
              <a:cxn ang="0">
                <a:pos x="connsiteX49720" y="connsiteY49720"/>
              </a:cxn>
              <a:cxn ang="0">
                <a:pos x="connsiteX49721" y="connsiteY49721"/>
              </a:cxn>
              <a:cxn ang="0">
                <a:pos x="connsiteX49722" y="connsiteY49722"/>
              </a:cxn>
              <a:cxn ang="0">
                <a:pos x="connsiteX49723" y="connsiteY49723"/>
              </a:cxn>
              <a:cxn ang="0">
                <a:pos x="connsiteX49724" y="connsiteY49724"/>
              </a:cxn>
              <a:cxn ang="0">
                <a:pos x="connsiteX49725" y="connsiteY49725"/>
              </a:cxn>
              <a:cxn ang="0">
                <a:pos x="connsiteX49726" y="connsiteY49726"/>
              </a:cxn>
              <a:cxn ang="0">
                <a:pos x="connsiteX49727" y="connsiteY49727"/>
              </a:cxn>
              <a:cxn ang="0">
                <a:pos x="connsiteX49728" y="connsiteY49728"/>
              </a:cxn>
              <a:cxn ang="0">
                <a:pos x="connsiteX49729" y="connsiteY49729"/>
              </a:cxn>
              <a:cxn ang="0">
                <a:pos x="connsiteX49730" y="connsiteY49730"/>
              </a:cxn>
              <a:cxn ang="0">
                <a:pos x="connsiteX49731" y="connsiteY49731"/>
              </a:cxn>
              <a:cxn ang="0">
                <a:pos x="connsiteX49732" y="connsiteY49732"/>
              </a:cxn>
              <a:cxn ang="0">
                <a:pos x="connsiteX49733" y="connsiteY49733"/>
              </a:cxn>
              <a:cxn ang="0">
                <a:pos x="connsiteX49734" y="connsiteY49734"/>
              </a:cxn>
              <a:cxn ang="0">
                <a:pos x="connsiteX49735" y="connsiteY49735"/>
              </a:cxn>
              <a:cxn ang="0">
                <a:pos x="connsiteX49736" y="connsiteY49736"/>
              </a:cxn>
              <a:cxn ang="0">
                <a:pos x="connsiteX49737" y="connsiteY49737"/>
              </a:cxn>
              <a:cxn ang="0">
                <a:pos x="connsiteX49738" y="connsiteY49738"/>
              </a:cxn>
              <a:cxn ang="0">
                <a:pos x="connsiteX49739" y="connsiteY49739"/>
              </a:cxn>
              <a:cxn ang="0">
                <a:pos x="connsiteX49740" y="connsiteY49740"/>
              </a:cxn>
              <a:cxn ang="0">
                <a:pos x="connsiteX49741" y="connsiteY49741"/>
              </a:cxn>
              <a:cxn ang="0">
                <a:pos x="connsiteX49742" y="connsiteY49742"/>
              </a:cxn>
              <a:cxn ang="0">
                <a:pos x="connsiteX49743" y="connsiteY49743"/>
              </a:cxn>
              <a:cxn ang="0">
                <a:pos x="connsiteX49744" y="connsiteY49744"/>
              </a:cxn>
              <a:cxn ang="0">
                <a:pos x="connsiteX49745" y="connsiteY49745"/>
              </a:cxn>
              <a:cxn ang="0">
                <a:pos x="connsiteX49746" y="connsiteY49746"/>
              </a:cxn>
              <a:cxn ang="0">
                <a:pos x="connsiteX49747" y="connsiteY49747"/>
              </a:cxn>
              <a:cxn ang="0">
                <a:pos x="connsiteX49748" y="connsiteY49748"/>
              </a:cxn>
              <a:cxn ang="0">
                <a:pos x="connsiteX49749" y="connsiteY49749"/>
              </a:cxn>
              <a:cxn ang="0">
                <a:pos x="connsiteX49750" y="connsiteY49750"/>
              </a:cxn>
              <a:cxn ang="0">
                <a:pos x="connsiteX49751" y="connsiteY49751"/>
              </a:cxn>
              <a:cxn ang="0">
                <a:pos x="connsiteX49752" y="connsiteY49752"/>
              </a:cxn>
              <a:cxn ang="0">
                <a:pos x="connsiteX49753" y="connsiteY49753"/>
              </a:cxn>
              <a:cxn ang="0">
                <a:pos x="connsiteX49754" y="connsiteY49754"/>
              </a:cxn>
              <a:cxn ang="0">
                <a:pos x="connsiteX49755" y="connsiteY49755"/>
              </a:cxn>
              <a:cxn ang="0">
                <a:pos x="connsiteX49756" y="connsiteY49756"/>
              </a:cxn>
              <a:cxn ang="0">
                <a:pos x="connsiteX49757" y="connsiteY49757"/>
              </a:cxn>
              <a:cxn ang="0">
                <a:pos x="connsiteX49758" y="connsiteY49758"/>
              </a:cxn>
              <a:cxn ang="0">
                <a:pos x="connsiteX49759" y="connsiteY49759"/>
              </a:cxn>
              <a:cxn ang="0">
                <a:pos x="connsiteX49760" y="connsiteY49760"/>
              </a:cxn>
              <a:cxn ang="0">
                <a:pos x="connsiteX49761" y="connsiteY49761"/>
              </a:cxn>
              <a:cxn ang="0">
                <a:pos x="connsiteX49762" y="connsiteY49762"/>
              </a:cxn>
              <a:cxn ang="0">
                <a:pos x="connsiteX49763" y="connsiteY49763"/>
              </a:cxn>
              <a:cxn ang="0">
                <a:pos x="connsiteX49764" y="connsiteY49764"/>
              </a:cxn>
              <a:cxn ang="0">
                <a:pos x="connsiteX49765" y="connsiteY49765"/>
              </a:cxn>
              <a:cxn ang="0">
                <a:pos x="connsiteX49766" y="connsiteY49766"/>
              </a:cxn>
              <a:cxn ang="0">
                <a:pos x="connsiteX49767" y="connsiteY49767"/>
              </a:cxn>
              <a:cxn ang="0">
                <a:pos x="connsiteX49768" y="connsiteY49768"/>
              </a:cxn>
              <a:cxn ang="0">
                <a:pos x="connsiteX49769" y="connsiteY49769"/>
              </a:cxn>
              <a:cxn ang="0">
                <a:pos x="connsiteX49770" y="connsiteY49770"/>
              </a:cxn>
              <a:cxn ang="0">
                <a:pos x="connsiteX49771" y="connsiteY49771"/>
              </a:cxn>
              <a:cxn ang="0">
                <a:pos x="connsiteX49772" y="connsiteY49772"/>
              </a:cxn>
              <a:cxn ang="0">
                <a:pos x="connsiteX49773" y="connsiteY49773"/>
              </a:cxn>
              <a:cxn ang="0">
                <a:pos x="connsiteX49774" y="connsiteY49774"/>
              </a:cxn>
              <a:cxn ang="0">
                <a:pos x="connsiteX49775" y="connsiteY49775"/>
              </a:cxn>
              <a:cxn ang="0">
                <a:pos x="connsiteX49776" y="connsiteY49776"/>
              </a:cxn>
              <a:cxn ang="0">
                <a:pos x="connsiteX49777" y="connsiteY49777"/>
              </a:cxn>
              <a:cxn ang="0">
                <a:pos x="connsiteX49778" y="connsiteY49778"/>
              </a:cxn>
              <a:cxn ang="0">
                <a:pos x="connsiteX49779" y="connsiteY49779"/>
              </a:cxn>
              <a:cxn ang="0">
                <a:pos x="connsiteX49780" y="connsiteY49780"/>
              </a:cxn>
              <a:cxn ang="0">
                <a:pos x="connsiteX49781" y="connsiteY49781"/>
              </a:cxn>
              <a:cxn ang="0">
                <a:pos x="connsiteX49782" y="connsiteY49782"/>
              </a:cxn>
              <a:cxn ang="0">
                <a:pos x="connsiteX49783" y="connsiteY49783"/>
              </a:cxn>
              <a:cxn ang="0">
                <a:pos x="connsiteX49784" y="connsiteY49784"/>
              </a:cxn>
              <a:cxn ang="0">
                <a:pos x="connsiteX49785" y="connsiteY49785"/>
              </a:cxn>
              <a:cxn ang="0">
                <a:pos x="connsiteX49786" y="connsiteY49786"/>
              </a:cxn>
              <a:cxn ang="0">
                <a:pos x="connsiteX49787" y="connsiteY49787"/>
              </a:cxn>
              <a:cxn ang="0">
                <a:pos x="connsiteX49788" y="connsiteY49788"/>
              </a:cxn>
              <a:cxn ang="0">
                <a:pos x="connsiteX49789" y="connsiteY49789"/>
              </a:cxn>
              <a:cxn ang="0">
                <a:pos x="connsiteX49790" y="connsiteY49790"/>
              </a:cxn>
              <a:cxn ang="0">
                <a:pos x="connsiteX49791" y="connsiteY49791"/>
              </a:cxn>
              <a:cxn ang="0">
                <a:pos x="connsiteX49792" y="connsiteY49792"/>
              </a:cxn>
              <a:cxn ang="0">
                <a:pos x="connsiteX49793" y="connsiteY49793"/>
              </a:cxn>
              <a:cxn ang="0">
                <a:pos x="connsiteX49794" y="connsiteY49794"/>
              </a:cxn>
              <a:cxn ang="0">
                <a:pos x="connsiteX49795" y="connsiteY49795"/>
              </a:cxn>
              <a:cxn ang="0">
                <a:pos x="connsiteX49796" y="connsiteY49796"/>
              </a:cxn>
              <a:cxn ang="0">
                <a:pos x="connsiteX49797" y="connsiteY49797"/>
              </a:cxn>
              <a:cxn ang="0">
                <a:pos x="connsiteX49798" y="connsiteY49798"/>
              </a:cxn>
              <a:cxn ang="0">
                <a:pos x="connsiteX49799" y="connsiteY49799"/>
              </a:cxn>
              <a:cxn ang="0">
                <a:pos x="connsiteX49800" y="connsiteY49800"/>
              </a:cxn>
              <a:cxn ang="0">
                <a:pos x="connsiteX49801" y="connsiteY49801"/>
              </a:cxn>
              <a:cxn ang="0">
                <a:pos x="connsiteX49802" y="connsiteY49802"/>
              </a:cxn>
              <a:cxn ang="0">
                <a:pos x="connsiteX49803" y="connsiteY49803"/>
              </a:cxn>
              <a:cxn ang="0">
                <a:pos x="connsiteX49804" y="connsiteY49804"/>
              </a:cxn>
              <a:cxn ang="0">
                <a:pos x="connsiteX49805" y="connsiteY49805"/>
              </a:cxn>
              <a:cxn ang="0">
                <a:pos x="connsiteX49806" y="connsiteY49806"/>
              </a:cxn>
              <a:cxn ang="0">
                <a:pos x="connsiteX49807" y="connsiteY49807"/>
              </a:cxn>
              <a:cxn ang="0">
                <a:pos x="connsiteX49808" y="connsiteY49808"/>
              </a:cxn>
              <a:cxn ang="0">
                <a:pos x="connsiteX49809" y="connsiteY49809"/>
              </a:cxn>
              <a:cxn ang="0">
                <a:pos x="connsiteX49810" y="connsiteY49810"/>
              </a:cxn>
              <a:cxn ang="0">
                <a:pos x="connsiteX49811" y="connsiteY49811"/>
              </a:cxn>
              <a:cxn ang="0">
                <a:pos x="connsiteX49812" y="connsiteY49812"/>
              </a:cxn>
              <a:cxn ang="0">
                <a:pos x="connsiteX49813" y="connsiteY49813"/>
              </a:cxn>
              <a:cxn ang="0">
                <a:pos x="connsiteX49814" y="connsiteY49814"/>
              </a:cxn>
              <a:cxn ang="0">
                <a:pos x="connsiteX49815" y="connsiteY49815"/>
              </a:cxn>
              <a:cxn ang="0">
                <a:pos x="connsiteX49816" y="connsiteY49816"/>
              </a:cxn>
              <a:cxn ang="0">
                <a:pos x="connsiteX49817" y="connsiteY49817"/>
              </a:cxn>
              <a:cxn ang="0">
                <a:pos x="connsiteX49818" y="connsiteY49818"/>
              </a:cxn>
              <a:cxn ang="0">
                <a:pos x="connsiteX49819" y="connsiteY49819"/>
              </a:cxn>
              <a:cxn ang="0">
                <a:pos x="connsiteX49820" y="connsiteY49820"/>
              </a:cxn>
              <a:cxn ang="0">
                <a:pos x="connsiteX49821" y="connsiteY49821"/>
              </a:cxn>
              <a:cxn ang="0">
                <a:pos x="connsiteX49822" y="connsiteY49822"/>
              </a:cxn>
              <a:cxn ang="0">
                <a:pos x="connsiteX49823" y="connsiteY49823"/>
              </a:cxn>
              <a:cxn ang="0">
                <a:pos x="connsiteX49824" y="connsiteY49824"/>
              </a:cxn>
              <a:cxn ang="0">
                <a:pos x="connsiteX49825" y="connsiteY49825"/>
              </a:cxn>
              <a:cxn ang="0">
                <a:pos x="connsiteX49826" y="connsiteY49826"/>
              </a:cxn>
              <a:cxn ang="0">
                <a:pos x="connsiteX49827" y="connsiteY49827"/>
              </a:cxn>
              <a:cxn ang="0">
                <a:pos x="connsiteX49828" y="connsiteY49828"/>
              </a:cxn>
              <a:cxn ang="0">
                <a:pos x="connsiteX49829" y="connsiteY49829"/>
              </a:cxn>
              <a:cxn ang="0">
                <a:pos x="connsiteX49830" y="connsiteY49830"/>
              </a:cxn>
              <a:cxn ang="0">
                <a:pos x="connsiteX49831" y="connsiteY49831"/>
              </a:cxn>
              <a:cxn ang="0">
                <a:pos x="connsiteX49832" y="connsiteY49832"/>
              </a:cxn>
              <a:cxn ang="0">
                <a:pos x="connsiteX49833" y="connsiteY49833"/>
              </a:cxn>
              <a:cxn ang="0">
                <a:pos x="connsiteX49834" y="connsiteY49834"/>
              </a:cxn>
              <a:cxn ang="0">
                <a:pos x="connsiteX49835" y="connsiteY49835"/>
              </a:cxn>
              <a:cxn ang="0">
                <a:pos x="connsiteX49836" y="connsiteY49836"/>
              </a:cxn>
              <a:cxn ang="0">
                <a:pos x="connsiteX49837" y="connsiteY49837"/>
              </a:cxn>
              <a:cxn ang="0">
                <a:pos x="connsiteX49838" y="connsiteY49838"/>
              </a:cxn>
              <a:cxn ang="0">
                <a:pos x="connsiteX49839" y="connsiteY49839"/>
              </a:cxn>
              <a:cxn ang="0">
                <a:pos x="connsiteX49840" y="connsiteY49840"/>
              </a:cxn>
              <a:cxn ang="0">
                <a:pos x="connsiteX49841" y="connsiteY49841"/>
              </a:cxn>
              <a:cxn ang="0">
                <a:pos x="connsiteX49842" y="connsiteY49842"/>
              </a:cxn>
              <a:cxn ang="0">
                <a:pos x="connsiteX49843" y="connsiteY49843"/>
              </a:cxn>
              <a:cxn ang="0">
                <a:pos x="connsiteX49844" y="connsiteY49844"/>
              </a:cxn>
              <a:cxn ang="0">
                <a:pos x="connsiteX49845" y="connsiteY49845"/>
              </a:cxn>
              <a:cxn ang="0">
                <a:pos x="connsiteX49846" y="connsiteY49846"/>
              </a:cxn>
              <a:cxn ang="0">
                <a:pos x="connsiteX49847" y="connsiteY49847"/>
              </a:cxn>
              <a:cxn ang="0">
                <a:pos x="connsiteX49848" y="connsiteY49848"/>
              </a:cxn>
              <a:cxn ang="0">
                <a:pos x="connsiteX49849" y="connsiteY49849"/>
              </a:cxn>
              <a:cxn ang="0">
                <a:pos x="connsiteX49850" y="connsiteY49850"/>
              </a:cxn>
              <a:cxn ang="0">
                <a:pos x="connsiteX49851" y="connsiteY49851"/>
              </a:cxn>
              <a:cxn ang="0">
                <a:pos x="connsiteX49852" y="connsiteY49852"/>
              </a:cxn>
              <a:cxn ang="0">
                <a:pos x="connsiteX49853" y="connsiteY49853"/>
              </a:cxn>
              <a:cxn ang="0">
                <a:pos x="connsiteX49854" y="connsiteY49854"/>
              </a:cxn>
              <a:cxn ang="0">
                <a:pos x="connsiteX49855" y="connsiteY49855"/>
              </a:cxn>
              <a:cxn ang="0">
                <a:pos x="connsiteX49856" y="connsiteY49856"/>
              </a:cxn>
              <a:cxn ang="0">
                <a:pos x="connsiteX49857" y="connsiteY49857"/>
              </a:cxn>
              <a:cxn ang="0">
                <a:pos x="connsiteX49858" y="connsiteY49858"/>
              </a:cxn>
              <a:cxn ang="0">
                <a:pos x="connsiteX49859" y="connsiteY49859"/>
              </a:cxn>
              <a:cxn ang="0">
                <a:pos x="connsiteX49860" y="connsiteY49860"/>
              </a:cxn>
              <a:cxn ang="0">
                <a:pos x="connsiteX49861" y="connsiteY49861"/>
              </a:cxn>
              <a:cxn ang="0">
                <a:pos x="connsiteX49862" y="connsiteY49862"/>
              </a:cxn>
              <a:cxn ang="0">
                <a:pos x="connsiteX49863" y="connsiteY49863"/>
              </a:cxn>
              <a:cxn ang="0">
                <a:pos x="connsiteX49864" y="connsiteY49864"/>
              </a:cxn>
              <a:cxn ang="0">
                <a:pos x="connsiteX49865" y="connsiteY49865"/>
              </a:cxn>
              <a:cxn ang="0">
                <a:pos x="connsiteX49866" y="connsiteY49866"/>
              </a:cxn>
              <a:cxn ang="0">
                <a:pos x="connsiteX49867" y="connsiteY49867"/>
              </a:cxn>
              <a:cxn ang="0">
                <a:pos x="connsiteX49868" y="connsiteY49868"/>
              </a:cxn>
              <a:cxn ang="0">
                <a:pos x="connsiteX49869" y="connsiteY49869"/>
              </a:cxn>
              <a:cxn ang="0">
                <a:pos x="connsiteX49870" y="connsiteY49870"/>
              </a:cxn>
              <a:cxn ang="0">
                <a:pos x="connsiteX49871" y="connsiteY49871"/>
              </a:cxn>
              <a:cxn ang="0">
                <a:pos x="connsiteX49872" y="connsiteY49872"/>
              </a:cxn>
              <a:cxn ang="0">
                <a:pos x="connsiteX49873" y="connsiteY49873"/>
              </a:cxn>
              <a:cxn ang="0">
                <a:pos x="connsiteX49874" y="connsiteY49874"/>
              </a:cxn>
              <a:cxn ang="0">
                <a:pos x="connsiteX49875" y="connsiteY49875"/>
              </a:cxn>
              <a:cxn ang="0">
                <a:pos x="connsiteX49876" y="connsiteY49876"/>
              </a:cxn>
              <a:cxn ang="0">
                <a:pos x="connsiteX49877" y="connsiteY49877"/>
              </a:cxn>
              <a:cxn ang="0">
                <a:pos x="connsiteX49878" y="connsiteY49878"/>
              </a:cxn>
              <a:cxn ang="0">
                <a:pos x="connsiteX49879" y="connsiteY49879"/>
              </a:cxn>
              <a:cxn ang="0">
                <a:pos x="connsiteX49880" y="connsiteY49880"/>
              </a:cxn>
              <a:cxn ang="0">
                <a:pos x="connsiteX49881" y="connsiteY49881"/>
              </a:cxn>
              <a:cxn ang="0">
                <a:pos x="connsiteX49882" y="connsiteY49882"/>
              </a:cxn>
              <a:cxn ang="0">
                <a:pos x="connsiteX49883" y="connsiteY49883"/>
              </a:cxn>
              <a:cxn ang="0">
                <a:pos x="connsiteX49884" y="connsiteY49884"/>
              </a:cxn>
              <a:cxn ang="0">
                <a:pos x="connsiteX49885" y="connsiteY49885"/>
              </a:cxn>
              <a:cxn ang="0">
                <a:pos x="connsiteX49886" y="connsiteY49886"/>
              </a:cxn>
              <a:cxn ang="0">
                <a:pos x="connsiteX49887" y="connsiteY49887"/>
              </a:cxn>
              <a:cxn ang="0">
                <a:pos x="connsiteX49888" y="connsiteY49888"/>
              </a:cxn>
              <a:cxn ang="0">
                <a:pos x="connsiteX49889" y="connsiteY49889"/>
              </a:cxn>
              <a:cxn ang="0">
                <a:pos x="connsiteX49890" y="connsiteY49890"/>
              </a:cxn>
              <a:cxn ang="0">
                <a:pos x="connsiteX49891" y="connsiteY49891"/>
              </a:cxn>
              <a:cxn ang="0">
                <a:pos x="connsiteX49892" y="connsiteY49892"/>
              </a:cxn>
              <a:cxn ang="0">
                <a:pos x="connsiteX49893" y="connsiteY49893"/>
              </a:cxn>
              <a:cxn ang="0">
                <a:pos x="connsiteX49894" y="connsiteY49894"/>
              </a:cxn>
              <a:cxn ang="0">
                <a:pos x="connsiteX49895" y="connsiteY49895"/>
              </a:cxn>
              <a:cxn ang="0">
                <a:pos x="connsiteX49896" y="connsiteY49896"/>
              </a:cxn>
              <a:cxn ang="0">
                <a:pos x="connsiteX49897" y="connsiteY49897"/>
              </a:cxn>
              <a:cxn ang="0">
                <a:pos x="connsiteX49898" y="connsiteY49898"/>
              </a:cxn>
              <a:cxn ang="0">
                <a:pos x="connsiteX49899" y="connsiteY49899"/>
              </a:cxn>
              <a:cxn ang="0">
                <a:pos x="connsiteX49900" y="connsiteY49900"/>
              </a:cxn>
              <a:cxn ang="0">
                <a:pos x="connsiteX49901" y="connsiteY49901"/>
              </a:cxn>
              <a:cxn ang="0">
                <a:pos x="connsiteX49902" y="connsiteY49902"/>
              </a:cxn>
              <a:cxn ang="0">
                <a:pos x="connsiteX49903" y="connsiteY49903"/>
              </a:cxn>
              <a:cxn ang="0">
                <a:pos x="connsiteX49904" y="connsiteY49904"/>
              </a:cxn>
              <a:cxn ang="0">
                <a:pos x="connsiteX49905" y="connsiteY49905"/>
              </a:cxn>
              <a:cxn ang="0">
                <a:pos x="connsiteX49906" y="connsiteY49906"/>
              </a:cxn>
              <a:cxn ang="0">
                <a:pos x="connsiteX49907" y="connsiteY49907"/>
              </a:cxn>
              <a:cxn ang="0">
                <a:pos x="connsiteX49908" y="connsiteY49908"/>
              </a:cxn>
              <a:cxn ang="0">
                <a:pos x="connsiteX49909" y="connsiteY49909"/>
              </a:cxn>
              <a:cxn ang="0">
                <a:pos x="connsiteX49910" y="connsiteY49910"/>
              </a:cxn>
              <a:cxn ang="0">
                <a:pos x="connsiteX49911" y="connsiteY49911"/>
              </a:cxn>
              <a:cxn ang="0">
                <a:pos x="connsiteX49912" y="connsiteY49912"/>
              </a:cxn>
              <a:cxn ang="0">
                <a:pos x="connsiteX49913" y="connsiteY49913"/>
              </a:cxn>
              <a:cxn ang="0">
                <a:pos x="connsiteX49914" y="connsiteY49914"/>
              </a:cxn>
              <a:cxn ang="0">
                <a:pos x="connsiteX49915" y="connsiteY49915"/>
              </a:cxn>
              <a:cxn ang="0">
                <a:pos x="connsiteX49916" y="connsiteY49916"/>
              </a:cxn>
              <a:cxn ang="0">
                <a:pos x="connsiteX49917" y="connsiteY49917"/>
              </a:cxn>
              <a:cxn ang="0">
                <a:pos x="connsiteX49918" y="connsiteY49918"/>
              </a:cxn>
              <a:cxn ang="0">
                <a:pos x="connsiteX49919" y="connsiteY49919"/>
              </a:cxn>
              <a:cxn ang="0">
                <a:pos x="connsiteX49920" y="connsiteY49920"/>
              </a:cxn>
              <a:cxn ang="0">
                <a:pos x="connsiteX49921" y="connsiteY49921"/>
              </a:cxn>
              <a:cxn ang="0">
                <a:pos x="connsiteX49922" y="connsiteY49922"/>
              </a:cxn>
              <a:cxn ang="0">
                <a:pos x="connsiteX49923" y="connsiteY49923"/>
              </a:cxn>
              <a:cxn ang="0">
                <a:pos x="connsiteX49924" y="connsiteY49924"/>
              </a:cxn>
              <a:cxn ang="0">
                <a:pos x="connsiteX49925" y="connsiteY49925"/>
              </a:cxn>
              <a:cxn ang="0">
                <a:pos x="connsiteX49926" y="connsiteY49926"/>
              </a:cxn>
              <a:cxn ang="0">
                <a:pos x="connsiteX49927" y="connsiteY49927"/>
              </a:cxn>
              <a:cxn ang="0">
                <a:pos x="connsiteX49928" y="connsiteY49928"/>
              </a:cxn>
              <a:cxn ang="0">
                <a:pos x="connsiteX49929" y="connsiteY49929"/>
              </a:cxn>
              <a:cxn ang="0">
                <a:pos x="connsiteX49930" y="connsiteY49930"/>
              </a:cxn>
              <a:cxn ang="0">
                <a:pos x="connsiteX49931" y="connsiteY49931"/>
              </a:cxn>
              <a:cxn ang="0">
                <a:pos x="connsiteX49932" y="connsiteY49932"/>
              </a:cxn>
              <a:cxn ang="0">
                <a:pos x="connsiteX49933" y="connsiteY49933"/>
              </a:cxn>
              <a:cxn ang="0">
                <a:pos x="connsiteX49934" y="connsiteY49934"/>
              </a:cxn>
              <a:cxn ang="0">
                <a:pos x="connsiteX49935" y="connsiteY49935"/>
              </a:cxn>
              <a:cxn ang="0">
                <a:pos x="connsiteX49936" y="connsiteY49936"/>
              </a:cxn>
              <a:cxn ang="0">
                <a:pos x="connsiteX49937" y="connsiteY49937"/>
              </a:cxn>
              <a:cxn ang="0">
                <a:pos x="connsiteX49938" y="connsiteY49938"/>
              </a:cxn>
              <a:cxn ang="0">
                <a:pos x="connsiteX49939" y="connsiteY49939"/>
              </a:cxn>
              <a:cxn ang="0">
                <a:pos x="connsiteX49940" y="connsiteY49940"/>
              </a:cxn>
              <a:cxn ang="0">
                <a:pos x="connsiteX49941" y="connsiteY49941"/>
              </a:cxn>
              <a:cxn ang="0">
                <a:pos x="connsiteX49942" y="connsiteY49942"/>
              </a:cxn>
              <a:cxn ang="0">
                <a:pos x="connsiteX49943" y="connsiteY49943"/>
              </a:cxn>
              <a:cxn ang="0">
                <a:pos x="connsiteX49944" y="connsiteY49944"/>
              </a:cxn>
              <a:cxn ang="0">
                <a:pos x="connsiteX49945" y="connsiteY49945"/>
              </a:cxn>
              <a:cxn ang="0">
                <a:pos x="connsiteX49946" y="connsiteY49946"/>
              </a:cxn>
              <a:cxn ang="0">
                <a:pos x="connsiteX49947" y="connsiteY49947"/>
              </a:cxn>
              <a:cxn ang="0">
                <a:pos x="connsiteX49948" y="connsiteY49948"/>
              </a:cxn>
              <a:cxn ang="0">
                <a:pos x="connsiteX49949" y="connsiteY49949"/>
              </a:cxn>
              <a:cxn ang="0">
                <a:pos x="connsiteX49950" y="connsiteY49950"/>
              </a:cxn>
              <a:cxn ang="0">
                <a:pos x="connsiteX49951" y="connsiteY49951"/>
              </a:cxn>
              <a:cxn ang="0">
                <a:pos x="connsiteX49952" y="connsiteY49952"/>
              </a:cxn>
              <a:cxn ang="0">
                <a:pos x="connsiteX49953" y="connsiteY49953"/>
              </a:cxn>
              <a:cxn ang="0">
                <a:pos x="connsiteX49954" y="connsiteY49954"/>
              </a:cxn>
              <a:cxn ang="0">
                <a:pos x="connsiteX49955" y="connsiteY49955"/>
              </a:cxn>
              <a:cxn ang="0">
                <a:pos x="connsiteX49956" y="connsiteY49956"/>
              </a:cxn>
              <a:cxn ang="0">
                <a:pos x="connsiteX49957" y="connsiteY49957"/>
              </a:cxn>
              <a:cxn ang="0">
                <a:pos x="connsiteX49958" y="connsiteY49958"/>
              </a:cxn>
              <a:cxn ang="0">
                <a:pos x="connsiteX49959" y="connsiteY49959"/>
              </a:cxn>
              <a:cxn ang="0">
                <a:pos x="connsiteX49960" y="connsiteY49960"/>
              </a:cxn>
              <a:cxn ang="0">
                <a:pos x="connsiteX49961" y="connsiteY49961"/>
              </a:cxn>
              <a:cxn ang="0">
                <a:pos x="connsiteX49962" y="connsiteY49962"/>
              </a:cxn>
              <a:cxn ang="0">
                <a:pos x="connsiteX49963" y="connsiteY49963"/>
              </a:cxn>
              <a:cxn ang="0">
                <a:pos x="connsiteX49964" y="connsiteY49964"/>
              </a:cxn>
              <a:cxn ang="0">
                <a:pos x="connsiteX49965" y="connsiteY49965"/>
              </a:cxn>
              <a:cxn ang="0">
                <a:pos x="connsiteX49966" y="connsiteY49966"/>
              </a:cxn>
              <a:cxn ang="0">
                <a:pos x="connsiteX49967" y="connsiteY49967"/>
              </a:cxn>
              <a:cxn ang="0">
                <a:pos x="connsiteX49968" y="connsiteY49968"/>
              </a:cxn>
              <a:cxn ang="0">
                <a:pos x="connsiteX49969" y="connsiteY49969"/>
              </a:cxn>
              <a:cxn ang="0">
                <a:pos x="connsiteX49970" y="connsiteY49970"/>
              </a:cxn>
              <a:cxn ang="0">
                <a:pos x="connsiteX49971" y="connsiteY49971"/>
              </a:cxn>
              <a:cxn ang="0">
                <a:pos x="connsiteX49972" y="connsiteY49972"/>
              </a:cxn>
              <a:cxn ang="0">
                <a:pos x="connsiteX49973" y="connsiteY49973"/>
              </a:cxn>
              <a:cxn ang="0">
                <a:pos x="connsiteX49974" y="connsiteY49974"/>
              </a:cxn>
              <a:cxn ang="0">
                <a:pos x="connsiteX49975" y="connsiteY49975"/>
              </a:cxn>
              <a:cxn ang="0">
                <a:pos x="connsiteX49976" y="connsiteY49976"/>
              </a:cxn>
              <a:cxn ang="0">
                <a:pos x="connsiteX49977" y="connsiteY49977"/>
              </a:cxn>
              <a:cxn ang="0">
                <a:pos x="connsiteX49978" y="connsiteY49978"/>
              </a:cxn>
              <a:cxn ang="0">
                <a:pos x="connsiteX49979" y="connsiteY49979"/>
              </a:cxn>
              <a:cxn ang="0">
                <a:pos x="connsiteX49980" y="connsiteY49980"/>
              </a:cxn>
              <a:cxn ang="0">
                <a:pos x="connsiteX49981" y="connsiteY49981"/>
              </a:cxn>
              <a:cxn ang="0">
                <a:pos x="connsiteX49982" y="connsiteY49982"/>
              </a:cxn>
              <a:cxn ang="0">
                <a:pos x="connsiteX49983" y="connsiteY49983"/>
              </a:cxn>
              <a:cxn ang="0">
                <a:pos x="connsiteX49984" y="connsiteY49984"/>
              </a:cxn>
              <a:cxn ang="0">
                <a:pos x="connsiteX49985" y="connsiteY49985"/>
              </a:cxn>
              <a:cxn ang="0">
                <a:pos x="connsiteX49986" y="connsiteY49986"/>
              </a:cxn>
              <a:cxn ang="0">
                <a:pos x="connsiteX49987" y="connsiteY49987"/>
              </a:cxn>
              <a:cxn ang="0">
                <a:pos x="connsiteX49988" y="connsiteY49988"/>
              </a:cxn>
              <a:cxn ang="0">
                <a:pos x="connsiteX49989" y="connsiteY49989"/>
              </a:cxn>
              <a:cxn ang="0">
                <a:pos x="connsiteX49990" y="connsiteY49990"/>
              </a:cxn>
              <a:cxn ang="0">
                <a:pos x="connsiteX49991" y="connsiteY49991"/>
              </a:cxn>
              <a:cxn ang="0">
                <a:pos x="connsiteX49992" y="connsiteY49992"/>
              </a:cxn>
              <a:cxn ang="0">
                <a:pos x="connsiteX49993" y="connsiteY49993"/>
              </a:cxn>
              <a:cxn ang="0">
                <a:pos x="connsiteX49994" y="connsiteY49994"/>
              </a:cxn>
              <a:cxn ang="0">
                <a:pos x="connsiteX49995" y="connsiteY49995"/>
              </a:cxn>
              <a:cxn ang="0">
                <a:pos x="connsiteX49996" y="connsiteY49996"/>
              </a:cxn>
              <a:cxn ang="0">
                <a:pos x="connsiteX49997" y="connsiteY49997"/>
              </a:cxn>
              <a:cxn ang="0">
                <a:pos x="connsiteX49998" y="connsiteY49998"/>
              </a:cxn>
              <a:cxn ang="0">
                <a:pos x="connsiteX49999" y="connsiteY49999"/>
              </a:cxn>
              <a:cxn ang="0">
                <a:pos x="connsiteX50000" y="connsiteY50000"/>
              </a:cxn>
              <a:cxn ang="0">
                <a:pos x="connsiteX50001" y="connsiteY50001"/>
              </a:cxn>
              <a:cxn ang="0">
                <a:pos x="connsiteX50002" y="connsiteY50002"/>
              </a:cxn>
              <a:cxn ang="0">
                <a:pos x="connsiteX50003" y="connsiteY50003"/>
              </a:cxn>
              <a:cxn ang="0">
                <a:pos x="connsiteX50004" y="connsiteY50004"/>
              </a:cxn>
              <a:cxn ang="0">
                <a:pos x="connsiteX50005" y="connsiteY50005"/>
              </a:cxn>
              <a:cxn ang="0">
                <a:pos x="connsiteX50006" y="connsiteY50006"/>
              </a:cxn>
              <a:cxn ang="0">
                <a:pos x="connsiteX50007" y="connsiteY50007"/>
              </a:cxn>
              <a:cxn ang="0">
                <a:pos x="connsiteX50008" y="connsiteY50008"/>
              </a:cxn>
              <a:cxn ang="0">
                <a:pos x="connsiteX50009" y="connsiteY50009"/>
              </a:cxn>
              <a:cxn ang="0">
                <a:pos x="connsiteX50010" y="connsiteY50010"/>
              </a:cxn>
              <a:cxn ang="0">
                <a:pos x="connsiteX50011" y="connsiteY50011"/>
              </a:cxn>
              <a:cxn ang="0">
                <a:pos x="connsiteX50012" y="connsiteY50012"/>
              </a:cxn>
              <a:cxn ang="0">
                <a:pos x="connsiteX50013" y="connsiteY50013"/>
              </a:cxn>
              <a:cxn ang="0">
                <a:pos x="connsiteX50014" y="connsiteY50014"/>
              </a:cxn>
              <a:cxn ang="0">
                <a:pos x="connsiteX50015" y="connsiteY50015"/>
              </a:cxn>
              <a:cxn ang="0">
                <a:pos x="connsiteX50016" y="connsiteY50016"/>
              </a:cxn>
              <a:cxn ang="0">
                <a:pos x="connsiteX50017" y="connsiteY50017"/>
              </a:cxn>
              <a:cxn ang="0">
                <a:pos x="connsiteX50018" y="connsiteY50018"/>
              </a:cxn>
              <a:cxn ang="0">
                <a:pos x="connsiteX50019" y="connsiteY50019"/>
              </a:cxn>
              <a:cxn ang="0">
                <a:pos x="connsiteX50020" y="connsiteY50020"/>
              </a:cxn>
              <a:cxn ang="0">
                <a:pos x="connsiteX50021" y="connsiteY50021"/>
              </a:cxn>
              <a:cxn ang="0">
                <a:pos x="connsiteX50022" y="connsiteY50022"/>
              </a:cxn>
              <a:cxn ang="0">
                <a:pos x="connsiteX50023" y="connsiteY50023"/>
              </a:cxn>
              <a:cxn ang="0">
                <a:pos x="connsiteX50024" y="connsiteY50024"/>
              </a:cxn>
              <a:cxn ang="0">
                <a:pos x="connsiteX50025" y="connsiteY50025"/>
              </a:cxn>
              <a:cxn ang="0">
                <a:pos x="connsiteX50026" y="connsiteY50026"/>
              </a:cxn>
              <a:cxn ang="0">
                <a:pos x="connsiteX50027" y="connsiteY50027"/>
              </a:cxn>
              <a:cxn ang="0">
                <a:pos x="connsiteX50028" y="connsiteY50028"/>
              </a:cxn>
              <a:cxn ang="0">
                <a:pos x="connsiteX50029" y="connsiteY50029"/>
              </a:cxn>
              <a:cxn ang="0">
                <a:pos x="connsiteX50030" y="connsiteY50030"/>
              </a:cxn>
              <a:cxn ang="0">
                <a:pos x="connsiteX50031" y="connsiteY50031"/>
              </a:cxn>
              <a:cxn ang="0">
                <a:pos x="connsiteX50032" y="connsiteY50032"/>
              </a:cxn>
              <a:cxn ang="0">
                <a:pos x="connsiteX50033" y="connsiteY50033"/>
              </a:cxn>
              <a:cxn ang="0">
                <a:pos x="connsiteX50034" y="connsiteY50034"/>
              </a:cxn>
              <a:cxn ang="0">
                <a:pos x="connsiteX50035" y="connsiteY50035"/>
              </a:cxn>
              <a:cxn ang="0">
                <a:pos x="connsiteX50036" y="connsiteY50036"/>
              </a:cxn>
              <a:cxn ang="0">
                <a:pos x="connsiteX50037" y="connsiteY50037"/>
              </a:cxn>
              <a:cxn ang="0">
                <a:pos x="connsiteX50038" y="connsiteY50038"/>
              </a:cxn>
              <a:cxn ang="0">
                <a:pos x="connsiteX50039" y="connsiteY50039"/>
              </a:cxn>
              <a:cxn ang="0">
                <a:pos x="connsiteX50040" y="connsiteY50040"/>
              </a:cxn>
              <a:cxn ang="0">
                <a:pos x="connsiteX50041" y="connsiteY50041"/>
              </a:cxn>
              <a:cxn ang="0">
                <a:pos x="connsiteX50042" y="connsiteY50042"/>
              </a:cxn>
              <a:cxn ang="0">
                <a:pos x="connsiteX50043" y="connsiteY50043"/>
              </a:cxn>
              <a:cxn ang="0">
                <a:pos x="connsiteX50044" y="connsiteY50044"/>
              </a:cxn>
              <a:cxn ang="0">
                <a:pos x="connsiteX50045" y="connsiteY50045"/>
              </a:cxn>
              <a:cxn ang="0">
                <a:pos x="connsiteX50046" y="connsiteY50046"/>
              </a:cxn>
              <a:cxn ang="0">
                <a:pos x="connsiteX50047" y="connsiteY50047"/>
              </a:cxn>
              <a:cxn ang="0">
                <a:pos x="connsiteX50048" y="connsiteY50048"/>
              </a:cxn>
              <a:cxn ang="0">
                <a:pos x="connsiteX50049" y="connsiteY50049"/>
              </a:cxn>
              <a:cxn ang="0">
                <a:pos x="connsiteX50050" y="connsiteY50050"/>
              </a:cxn>
              <a:cxn ang="0">
                <a:pos x="connsiteX50051" y="connsiteY50051"/>
              </a:cxn>
              <a:cxn ang="0">
                <a:pos x="connsiteX50052" y="connsiteY50052"/>
              </a:cxn>
              <a:cxn ang="0">
                <a:pos x="connsiteX50053" y="connsiteY50053"/>
              </a:cxn>
              <a:cxn ang="0">
                <a:pos x="connsiteX50054" y="connsiteY50054"/>
              </a:cxn>
              <a:cxn ang="0">
                <a:pos x="connsiteX50055" y="connsiteY50055"/>
              </a:cxn>
              <a:cxn ang="0">
                <a:pos x="connsiteX50056" y="connsiteY50056"/>
              </a:cxn>
              <a:cxn ang="0">
                <a:pos x="connsiteX50057" y="connsiteY50057"/>
              </a:cxn>
              <a:cxn ang="0">
                <a:pos x="connsiteX50058" y="connsiteY50058"/>
              </a:cxn>
              <a:cxn ang="0">
                <a:pos x="connsiteX50059" y="connsiteY50059"/>
              </a:cxn>
              <a:cxn ang="0">
                <a:pos x="connsiteX50060" y="connsiteY50060"/>
              </a:cxn>
              <a:cxn ang="0">
                <a:pos x="connsiteX50061" y="connsiteY50061"/>
              </a:cxn>
              <a:cxn ang="0">
                <a:pos x="connsiteX50062" y="connsiteY50062"/>
              </a:cxn>
              <a:cxn ang="0">
                <a:pos x="connsiteX50063" y="connsiteY50063"/>
              </a:cxn>
              <a:cxn ang="0">
                <a:pos x="connsiteX50064" y="connsiteY50064"/>
              </a:cxn>
              <a:cxn ang="0">
                <a:pos x="connsiteX50065" y="connsiteY50065"/>
              </a:cxn>
              <a:cxn ang="0">
                <a:pos x="connsiteX50066" y="connsiteY50066"/>
              </a:cxn>
              <a:cxn ang="0">
                <a:pos x="connsiteX50067" y="connsiteY50067"/>
              </a:cxn>
              <a:cxn ang="0">
                <a:pos x="connsiteX50068" y="connsiteY50068"/>
              </a:cxn>
              <a:cxn ang="0">
                <a:pos x="connsiteX50069" y="connsiteY50069"/>
              </a:cxn>
              <a:cxn ang="0">
                <a:pos x="connsiteX50070" y="connsiteY50070"/>
              </a:cxn>
              <a:cxn ang="0">
                <a:pos x="connsiteX50071" y="connsiteY50071"/>
              </a:cxn>
              <a:cxn ang="0">
                <a:pos x="connsiteX50072" y="connsiteY50072"/>
              </a:cxn>
              <a:cxn ang="0">
                <a:pos x="connsiteX50073" y="connsiteY50073"/>
              </a:cxn>
              <a:cxn ang="0">
                <a:pos x="connsiteX50074" y="connsiteY50074"/>
              </a:cxn>
              <a:cxn ang="0">
                <a:pos x="connsiteX50075" y="connsiteY50075"/>
              </a:cxn>
              <a:cxn ang="0">
                <a:pos x="connsiteX50076" y="connsiteY50076"/>
              </a:cxn>
              <a:cxn ang="0">
                <a:pos x="connsiteX50077" y="connsiteY50077"/>
              </a:cxn>
              <a:cxn ang="0">
                <a:pos x="connsiteX50078" y="connsiteY50078"/>
              </a:cxn>
              <a:cxn ang="0">
                <a:pos x="connsiteX50079" y="connsiteY50079"/>
              </a:cxn>
              <a:cxn ang="0">
                <a:pos x="connsiteX50080" y="connsiteY50080"/>
              </a:cxn>
              <a:cxn ang="0">
                <a:pos x="connsiteX50081" y="connsiteY50081"/>
              </a:cxn>
              <a:cxn ang="0">
                <a:pos x="connsiteX50082" y="connsiteY50082"/>
              </a:cxn>
              <a:cxn ang="0">
                <a:pos x="connsiteX50083" y="connsiteY50083"/>
              </a:cxn>
              <a:cxn ang="0">
                <a:pos x="connsiteX50084" y="connsiteY50084"/>
              </a:cxn>
              <a:cxn ang="0">
                <a:pos x="connsiteX50085" y="connsiteY50085"/>
              </a:cxn>
              <a:cxn ang="0">
                <a:pos x="connsiteX50086" y="connsiteY50086"/>
              </a:cxn>
              <a:cxn ang="0">
                <a:pos x="connsiteX50087" y="connsiteY50087"/>
              </a:cxn>
              <a:cxn ang="0">
                <a:pos x="connsiteX50088" y="connsiteY50088"/>
              </a:cxn>
              <a:cxn ang="0">
                <a:pos x="connsiteX50089" y="connsiteY50089"/>
              </a:cxn>
              <a:cxn ang="0">
                <a:pos x="connsiteX50090" y="connsiteY50090"/>
              </a:cxn>
              <a:cxn ang="0">
                <a:pos x="connsiteX50091" y="connsiteY50091"/>
              </a:cxn>
              <a:cxn ang="0">
                <a:pos x="connsiteX50092" y="connsiteY50092"/>
              </a:cxn>
              <a:cxn ang="0">
                <a:pos x="connsiteX50093" y="connsiteY50093"/>
              </a:cxn>
              <a:cxn ang="0">
                <a:pos x="connsiteX50094" y="connsiteY50094"/>
              </a:cxn>
              <a:cxn ang="0">
                <a:pos x="connsiteX50095" y="connsiteY50095"/>
              </a:cxn>
              <a:cxn ang="0">
                <a:pos x="connsiteX50096" y="connsiteY50096"/>
              </a:cxn>
              <a:cxn ang="0">
                <a:pos x="connsiteX50097" y="connsiteY50097"/>
              </a:cxn>
              <a:cxn ang="0">
                <a:pos x="connsiteX50098" y="connsiteY50098"/>
              </a:cxn>
              <a:cxn ang="0">
                <a:pos x="connsiteX50099" y="connsiteY50099"/>
              </a:cxn>
              <a:cxn ang="0">
                <a:pos x="connsiteX50100" y="connsiteY50100"/>
              </a:cxn>
              <a:cxn ang="0">
                <a:pos x="connsiteX50101" y="connsiteY50101"/>
              </a:cxn>
              <a:cxn ang="0">
                <a:pos x="connsiteX50102" y="connsiteY50102"/>
              </a:cxn>
              <a:cxn ang="0">
                <a:pos x="connsiteX50103" y="connsiteY50103"/>
              </a:cxn>
              <a:cxn ang="0">
                <a:pos x="connsiteX50104" y="connsiteY50104"/>
              </a:cxn>
              <a:cxn ang="0">
                <a:pos x="connsiteX50105" y="connsiteY50105"/>
              </a:cxn>
              <a:cxn ang="0">
                <a:pos x="connsiteX50106" y="connsiteY50106"/>
              </a:cxn>
              <a:cxn ang="0">
                <a:pos x="connsiteX50107" y="connsiteY50107"/>
              </a:cxn>
              <a:cxn ang="0">
                <a:pos x="connsiteX50108" y="connsiteY50108"/>
              </a:cxn>
              <a:cxn ang="0">
                <a:pos x="connsiteX50109" y="connsiteY50109"/>
              </a:cxn>
              <a:cxn ang="0">
                <a:pos x="connsiteX50110" y="connsiteY50110"/>
              </a:cxn>
              <a:cxn ang="0">
                <a:pos x="connsiteX50111" y="connsiteY50111"/>
              </a:cxn>
              <a:cxn ang="0">
                <a:pos x="connsiteX50112" y="connsiteY50112"/>
              </a:cxn>
              <a:cxn ang="0">
                <a:pos x="connsiteX50113" y="connsiteY50113"/>
              </a:cxn>
              <a:cxn ang="0">
                <a:pos x="connsiteX50114" y="connsiteY50114"/>
              </a:cxn>
              <a:cxn ang="0">
                <a:pos x="connsiteX50115" y="connsiteY50115"/>
              </a:cxn>
              <a:cxn ang="0">
                <a:pos x="connsiteX50116" y="connsiteY50116"/>
              </a:cxn>
              <a:cxn ang="0">
                <a:pos x="connsiteX50117" y="connsiteY50117"/>
              </a:cxn>
              <a:cxn ang="0">
                <a:pos x="connsiteX50118" y="connsiteY50118"/>
              </a:cxn>
              <a:cxn ang="0">
                <a:pos x="connsiteX50119" y="connsiteY50119"/>
              </a:cxn>
              <a:cxn ang="0">
                <a:pos x="connsiteX50120" y="connsiteY50120"/>
              </a:cxn>
              <a:cxn ang="0">
                <a:pos x="connsiteX50121" y="connsiteY50121"/>
              </a:cxn>
              <a:cxn ang="0">
                <a:pos x="connsiteX50122" y="connsiteY50122"/>
              </a:cxn>
              <a:cxn ang="0">
                <a:pos x="connsiteX50123" y="connsiteY50123"/>
              </a:cxn>
              <a:cxn ang="0">
                <a:pos x="connsiteX50124" y="connsiteY50124"/>
              </a:cxn>
              <a:cxn ang="0">
                <a:pos x="connsiteX50125" y="connsiteY50125"/>
              </a:cxn>
              <a:cxn ang="0">
                <a:pos x="connsiteX50126" y="connsiteY50126"/>
              </a:cxn>
              <a:cxn ang="0">
                <a:pos x="connsiteX50127" y="connsiteY50127"/>
              </a:cxn>
              <a:cxn ang="0">
                <a:pos x="connsiteX50128" y="connsiteY50128"/>
              </a:cxn>
              <a:cxn ang="0">
                <a:pos x="connsiteX50129" y="connsiteY50129"/>
              </a:cxn>
              <a:cxn ang="0">
                <a:pos x="connsiteX50130" y="connsiteY50130"/>
              </a:cxn>
              <a:cxn ang="0">
                <a:pos x="connsiteX50131" y="connsiteY50131"/>
              </a:cxn>
              <a:cxn ang="0">
                <a:pos x="connsiteX50132" y="connsiteY50132"/>
              </a:cxn>
              <a:cxn ang="0">
                <a:pos x="connsiteX50133" y="connsiteY50133"/>
              </a:cxn>
              <a:cxn ang="0">
                <a:pos x="connsiteX50134" y="connsiteY50134"/>
              </a:cxn>
              <a:cxn ang="0">
                <a:pos x="connsiteX50135" y="connsiteY50135"/>
              </a:cxn>
              <a:cxn ang="0">
                <a:pos x="connsiteX50136" y="connsiteY50136"/>
              </a:cxn>
              <a:cxn ang="0">
                <a:pos x="connsiteX50137" y="connsiteY50137"/>
              </a:cxn>
              <a:cxn ang="0">
                <a:pos x="connsiteX50138" y="connsiteY50138"/>
              </a:cxn>
              <a:cxn ang="0">
                <a:pos x="connsiteX50139" y="connsiteY50139"/>
              </a:cxn>
              <a:cxn ang="0">
                <a:pos x="connsiteX50140" y="connsiteY50140"/>
              </a:cxn>
              <a:cxn ang="0">
                <a:pos x="connsiteX50141" y="connsiteY50141"/>
              </a:cxn>
              <a:cxn ang="0">
                <a:pos x="connsiteX50142" y="connsiteY50142"/>
              </a:cxn>
              <a:cxn ang="0">
                <a:pos x="connsiteX50143" y="connsiteY50143"/>
              </a:cxn>
              <a:cxn ang="0">
                <a:pos x="connsiteX50144" y="connsiteY50144"/>
              </a:cxn>
              <a:cxn ang="0">
                <a:pos x="connsiteX50145" y="connsiteY50145"/>
              </a:cxn>
              <a:cxn ang="0">
                <a:pos x="connsiteX50146" y="connsiteY50146"/>
              </a:cxn>
              <a:cxn ang="0">
                <a:pos x="connsiteX50147" y="connsiteY50147"/>
              </a:cxn>
              <a:cxn ang="0">
                <a:pos x="connsiteX50148" y="connsiteY50148"/>
              </a:cxn>
              <a:cxn ang="0">
                <a:pos x="connsiteX50149" y="connsiteY50149"/>
              </a:cxn>
              <a:cxn ang="0">
                <a:pos x="connsiteX50150" y="connsiteY50150"/>
              </a:cxn>
              <a:cxn ang="0">
                <a:pos x="connsiteX50151" y="connsiteY50151"/>
              </a:cxn>
              <a:cxn ang="0">
                <a:pos x="connsiteX50152" y="connsiteY50152"/>
              </a:cxn>
              <a:cxn ang="0">
                <a:pos x="connsiteX50153" y="connsiteY50153"/>
              </a:cxn>
              <a:cxn ang="0">
                <a:pos x="connsiteX50154" y="connsiteY50154"/>
              </a:cxn>
              <a:cxn ang="0">
                <a:pos x="connsiteX50155" y="connsiteY50155"/>
              </a:cxn>
              <a:cxn ang="0">
                <a:pos x="connsiteX50156" y="connsiteY50156"/>
              </a:cxn>
              <a:cxn ang="0">
                <a:pos x="connsiteX50157" y="connsiteY50157"/>
              </a:cxn>
              <a:cxn ang="0">
                <a:pos x="connsiteX50158" y="connsiteY50158"/>
              </a:cxn>
              <a:cxn ang="0">
                <a:pos x="connsiteX50159" y="connsiteY50159"/>
              </a:cxn>
              <a:cxn ang="0">
                <a:pos x="connsiteX50160" y="connsiteY50160"/>
              </a:cxn>
              <a:cxn ang="0">
                <a:pos x="connsiteX50161" y="connsiteY50161"/>
              </a:cxn>
              <a:cxn ang="0">
                <a:pos x="connsiteX50162" y="connsiteY50162"/>
              </a:cxn>
              <a:cxn ang="0">
                <a:pos x="connsiteX50163" y="connsiteY50163"/>
              </a:cxn>
              <a:cxn ang="0">
                <a:pos x="connsiteX50164" y="connsiteY50164"/>
              </a:cxn>
              <a:cxn ang="0">
                <a:pos x="connsiteX50165" y="connsiteY50165"/>
              </a:cxn>
              <a:cxn ang="0">
                <a:pos x="connsiteX50166" y="connsiteY50166"/>
              </a:cxn>
              <a:cxn ang="0">
                <a:pos x="connsiteX50167" y="connsiteY50167"/>
              </a:cxn>
              <a:cxn ang="0">
                <a:pos x="connsiteX50168" y="connsiteY50168"/>
              </a:cxn>
              <a:cxn ang="0">
                <a:pos x="connsiteX50169" y="connsiteY50169"/>
              </a:cxn>
              <a:cxn ang="0">
                <a:pos x="connsiteX50170" y="connsiteY50170"/>
              </a:cxn>
              <a:cxn ang="0">
                <a:pos x="connsiteX50171" y="connsiteY50171"/>
              </a:cxn>
              <a:cxn ang="0">
                <a:pos x="connsiteX50172" y="connsiteY50172"/>
              </a:cxn>
              <a:cxn ang="0">
                <a:pos x="connsiteX50173" y="connsiteY50173"/>
              </a:cxn>
              <a:cxn ang="0">
                <a:pos x="connsiteX50174" y="connsiteY50174"/>
              </a:cxn>
              <a:cxn ang="0">
                <a:pos x="connsiteX50175" y="connsiteY50175"/>
              </a:cxn>
              <a:cxn ang="0">
                <a:pos x="connsiteX50176" y="connsiteY50176"/>
              </a:cxn>
              <a:cxn ang="0">
                <a:pos x="connsiteX50177" y="connsiteY50177"/>
              </a:cxn>
              <a:cxn ang="0">
                <a:pos x="connsiteX50178" y="connsiteY50178"/>
              </a:cxn>
              <a:cxn ang="0">
                <a:pos x="connsiteX50179" y="connsiteY50179"/>
              </a:cxn>
              <a:cxn ang="0">
                <a:pos x="connsiteX50180" y="connsiteY50180"/>
              </a:cxn>
              <a:cxn ang="0">
                <a:pos x="connsiteX50181" y="connsiteY50181"/>
              </a:cxn>
              <a:cxn ang="0">
                <a:pos x="connsiteX50182" y="connsiteY50182"/>
              </a:cxn>
              <a:cxn ang="0">
                <a:pos x="connsiteX50183" y="connsiteY50183"/>
              </a:cxn>
              <a:cxn ang="0">
                <a:pos x="connsiteX50184" y="connsiteY50184"/>
              </a:cxn>
              <a:cxn ang="0">
                <a:pos x="connsiteX50185" y="connsiteY50185"/>
              </a:cxn>
              <a:cxn ang="0">
                <a:pos x="connsiteX50186" y="connsiteY50186"/>
              </a:cxn>
              <a:cxn ang="0">
                <a:pos x="connsiteX50187" y="connsiteY50187"/>
              </a:cxn>
              <a:cxn ang="0">
                <a:pos x="connsiteX50188" y="connsiteY50188"/>
              </a:cxn>
              <a:cxn ang="0">
                <a:pos x="connsiteX50189" y="connsiteY50189"/>
              </a:cxn>
              <a:cxn ang="0">
                <a:pos x="connsiteX50190" y="connsiteY50190"/>
              </a:cxn>
              <a:cxn ang="0">
                <a:pos x="connsiteX50191" y="connsiteY50191"/>
              </a:cxn>
              <a:cxn ang="0">
                <a:pos x="connsiteX50192" y="connsiteY50192"/>
              </a:cxn>
              <a:cxn ang="0">
                <a:pos x="connsiteX50193" y="connsiteY50193"/>
              </a:cxn>
              <a:cxn ang="0">
                <a:pos x="connsiteX50194" y="connsiteY50194"/>
              </a:cxn>
              <a:cxn ang="0">
                <a:pos x="connsiteX50195" y="connsiteY50195"/>
              </a:cxn>
              <a:cxn ang="0">
                <a:pos x="connsiteX50196" y="connsiteY50196"/>
              </a:cxn>
              <a:cxn ang="0">
                <a:pos x="connsiteX50197" y="connsiteY50197"/>
              </a:cxn>
              <a:cxn ang="0">
                <a:pos x="connsiteX50198" y="connsiteY50198"/>
              </a:cxn>
              <a:cxn ang="0">
                <a:pos x="connsiteX50199" y="connsiteY50199"/>
              </a:cxn>
              <a:cxn ang="0">
                <a:pos x="connsiteX50200" y="connsiteY50200"/>
              </a:cxn>
              <a:cxn ang="0">
                <a:pos x="connsiteX50201" y="connsiteY50201"/>
              </a:cxn>
              <a:cxn ang="0">
                <a:pos x="connsiteX50202" y="connsiteY50202"/>
              </a:cxn>
              <a:cxn ang="0">
                <a:pos x="connsiteX50203" y="connsiteY50203"/>
              </a:cxn>
              <a:cxn ang="0">
                <a:pos x="connsiteX50204" y="connsiteY50204"/>
              </a:cxn>
              <a:cxn ang="0">
                <a:pos x="connsiteX50205" y="connsiteY50205"/>
              </a:cxn>
              <a:cxn ang="0">
                <a:pos x="connsiteX50206" y="connsiteY50206"/>
              </a:cxn>
              <a:cxn ang="0">
                <a:pos x="connsiteX50207" y="connsiteY50207"/>
              </a:cxn>
              <a:cxn ang="0">
                <a:pos x="connsiteX50208" y="connsiteY50208"/>
              </a:cxn>
              <a:cxn ang="0">
                <a:pos x="connsiteX50209" y="connsiteY50209"/>
              </a:cxn>
              <a:cxn ang="0">
                <a:pos x="connsiteX50210" y="connsiteY50210"/>
              </a:cxn>
              <a:cxn ang="0">
                <a:pos x="connsiteX50211" y="connsiteY50211"/>
              </a:cxn>
              <a:cxn ang="0">
                <a:pos x="connsiteX50212" y="connsiteY50212"/>
              </a:cxn>
              <a:cxn ang="0">
                <a:pos x="connsiteX50213" y="connsiteY50213"/>
              </a:cxn>
              <a:cxn ang="0">
                <a:pos x="connsiteX50214" y="connsiteY50214"/>
              </a:cxn>
              <a:cxn ang="0">
                <a:pos x="connsiteX50215" y="connsiteY50215"/>
              </a:cxn>
              <a:cxn ang="0">
                <a:pos x="connsiteX50216" y="connsiteY50216"/>
              </a:cxn>
              <a:cxn ang="0">
                <a:pos x="connsiteX50217" y="connsiteY50217"/>
              </a:cxn>
              <a:cxn ang="0">
                <a:pos x="connsiteX50218" y="connsiteY50218"/>
              </a:cxn>
              <a:cxn ang="0">
                <a:pos x="connsiteX50219" y="connsiteY50219"/>
              </a:cxn>
              <a:cxn ang="0">
                <a:pos x="connsiteX50220" y="connsiteY50220"/>
              </a:cxn>
              <a:cxn ang="0">
                <a:pos x="connsiteX50221" y="connsiteY50221"/>
              </a:cxn>
              <a:cxn ang="0">
                <a:pos x="connsiteX50222" y="connsiteY50222"/>
              </a:cxn>
              <a:cxn ang="0">
                <a:pos x="connsiteX50223" y="connsiteY50223"/>
              </a:cxn>
              <a:cxn ang="0">
                <a:pos x="connsiteX50224" y="connsiteY50224"/>
              </a:cxn>
              <a:cxn ang="0">
                <a:pos x="connsiteX50225" y="connsiteY50225"/>
              </a:cxn>
              <a:cxn ang="0">
                <a:pos x="connsiteX50226" y="connsiteY50226"/>
              </a:cxn>
              <a:cxn ang="0">
                <a:pos x="connsiteX50227" y="connsiteY50227"/>
              </a:cxn>
              <a:cxn ang="0">
                <a:pos x="connsiteX50228" y="connsiteY50228"/>
              </a:cxn>
              <a:cxn ang="0">
                <a:pos x="connsiteX50229" y="connsiteY50229"/>
              </a:cxn>
              <a:cxn ang="0">
                <a:pos x="connsiteX50230" y="connsiteY50230"/>
              </a:cxn>
              <a:cxn ang="0">
                <a:pos x="connsiteX50231" y="connsiteY50231"/>
              </a:cxn>
              <a:cxn ang="0">
                <a:pos x="connsiteX50232" y="connsiteY50232"/>
              </a:cxn>
              <a:cxn ang="0">
                <a:pos x="connsiteX50233" y="connsiteY50233"/>
              </a:cxn>
              <a:cxn ang="0">
                <a:pos x="connsiteX50234" y="connsiteY50234"/>
              </a:cxn>
              <a:cxn ang="0">
                <a:pos x="connsiteX50235" y="connsiteY50235"/>
              </a:cxn>
              <a:cxn ang="0">
                <a:pos x="connsiteX50236" y="connsiteY50236"/>
              </a:cxn>
              <a:cxn ang="0">
                <a:pos x="connsiteX50237" y="connsiteY50237"/>
              </a:cxn>
              <a:cxn ang="0">
                <a:pos x="connsiteX50238" y="connsiteY50238"/>
              </a:cxn>
              <a:cxn ang="0">
                <a:pos x="connsiteX50239" y="connsiteY50239"/>
              </a:cxn>
              <a:cxn ang="0">
                <a:pos x="connsiteX50240" y="connsiteY50240"/>
              </a:cxn>
              <a:cxn ang="0">
                <a:pos x="connsiteX50241" y="connsiteY50241"/>
              </a:cxn>
              <a:cxn ang="0">
                <a:pos x="connsiteX50242" y="connsiteY50242"/>
              </a:cxn>
              <a:cxn ang="0">
                <a:pos x="connsiteX50243" y="connsiteY50243"/>
              </a:cxn>
              <a:cxn ang="0">
                <a:pos x="connsiteX50244" y="connsiteY50244"/>
              </a:cxn>
              <a:cxn ang="0">
                <a:pos x="connsiteX50245" y="connsiteY50245"/>
              </a:cxn>
              <a:cxn ang="0">
                <a:pos x="connsiteX50246" y="connsiteY50246"/>
              </a:cxn>
              <a:cxn ang="0">
                <a:pos x="connsiteX50247" y="connsiteY50247"/>
              </a:cxn>
              <a:cxn ang="0">
                <a:pos x="connsiteX50248" y="connsiteY50248"/>
              </a:cxn>
              <a:cxn ang="0">
                <a:pos x="connsiteX50249" y="connsiteY50249"/>
              </a:cxn>
              <a:cxn ang="0">
                <a:pos x="connsiteX50250" y="connsiteY50250"/>
              </a:cxn>
              <a:cxn ang="0">
                <a:pos x="connsiteX50251" y="connsiteY50251"/>
              </a:cxn>
              <a:cxn ang="0">
                <a:pos x="connsiteX50252" y="connsiteY50252"/>
              </a:cxn>
              <a:cxn ang="0">
                <a:pos x="connsiteX50253" y="connsiteY50253"/>
              </a:cxn>
              <a:cxn ang="0">
                <a:pos x="connsiteX50254" y="connsiteY50254"/>
              </a:cxn>
              <a:cxn ang="0">
                <a:pos x="connsiteX50255" y="connsiteY50255"/>
              </a:cxn>
              <a:cxn ang="0">
                <a:pos x="connsiteX50256" y="connsiteY50256"/>
              </a:cxn>
              <a:cxn ang="0">
                <a:pos x="connsiteX50257" y="connsiteY50257"/>
              </a:cxn>
              <a:cxn ang="0">
                <a:pos x="connsiteX50258" y="connsiteY50258"/>
              </a:cxn>
              <a:cxn ang="0">
                <a:pos x="connsiteX50259" y="connsiteY50259"/>
              </a:cxn>
              <a:cxn ang="0">
                <a:pos x="connsiteX50260" y="connsiteY50260"/>
              </a:cxn>
              <a:cxn ang="0">
                <a:pos x="connsiteX50261" y="connsiteY50261"/>
              </a:cxn>
              <a:cxn ang="0">
                <a:pos x="connsiteX50262" y="connsiteY50262"/>
              </a:cxn>
              <a:cxn ang="0">
                <a:pos x="connsiteX50263" y="connsiteY50263"/>
              </a:cxn>
              <a:cxn ang="0">
                <a:pos x="connsiteX50264" y="connsiteY50264"/>
              </a:cxn>
              <a:cxn ang="0">
                <a:pos x="connsiteX50265" y="connsiteY50265"/>
              </a:cxn>
              <a:cxn ang="0">
                <a:pos x="connsiteX50266" y="connsiteY50266"/>
              </a:cxn>
              <a:cxn ang="0">
                <a:pos x="connsiteX50267" y="connsiteY50267"/>
              </a:cxn>
              <a:cxn ang="0">
                <a:pos x="connsiteX50268" y="connsiteY50268"/>
              </a:cxn>
              <a:cxn ang="0">
                <a:pos x="connsiteX50269" y="connsiteY50269"/>
              </a:cxn>
              <a:cxn ang="0">
                <a:pos x="connsiteX50270" y="connsiteY50270"/>
              </a:cxn>
              <a:cxn ang="0">
                <a:pos x="connsiteX50271" y="connsiteY50271"/>
              </a:cxn>
              <a:cxn ang="0">
                <a:pos x="connsiteX50272" y="connsiteY50272"/>
              </a:cxn>
              <a:cxn ang="0">
                <a:pos x="connsiteX50273" y="connsiteY50273"/>
              </a:cxn>
              <a:cxn ang="0">
                <a:pos x="connsiteX50274" y="connsiteY50274"/>
              </a:cxn>
              <a:cxn ang="0">
                <a:pos x="connsiteX50275" y="connsiteY50275"/>
              </a:cxn>
              <a:cxn ang="0">
                <a:pos x="connsiteX50276" y="connsiteY50276"/>
              </a:cxn>
              <a:cxn ang="0">
                <a:pos x="connsiteX50277" y="connsiteY50277"/>
              </a:cxn>
              <a:cxn ang="0">
                <a:pos x="connsiteX50278" y="connsiteY50278"/>
              </a:cxn>
              <a:cxn ang="0">
                <a:pos x="connsiteX50279" y="connsiteY50279"/>
              </a:cxn>
              <a:cxn ang="0">
                <a:pos x="connsiteX50280" y="connsiteY50280"/>
              </a:cxn>
              <a:cxn ang="0">
                <a:pos x="connsiteX50281" y="connsiteY50281"/>
              </a:cxn>
              <a:cxn ang="0">
                <a:pos x="connsiteX50282" y="connsiteY50282"/>
              </a:cxn>
              <a:cxn ang="0">
                <a:pos x="connsiteX50283" y="connsiteY50283"/>
              </a:cxn>
              <a:cxn ang="0">
                <a:pos x="connsiteX50284" y="connsiteY50284"/>
              </a:cxn>
              <a:cxn ang="0">
                <a:pos x="connsiteX50285" y="connsiteY50285"/>
              </a:cxn>
              <a:cxn ang="0">
                <a:pos x="connsiteX50286" y="connsiteY50286"/>
              </a:cxn>
              <a:cxn ang="0">
                <a:pos x="connsiteX50287" y="connsiteY50287"/>
              </a:cxn>
              <a:cxn ang="0">
                <a:pos x="connsiteX50288" y="connsiteY50288"/>
              </a:cxn>
              <a:cxn ang="0">
                <a:pos x="connsiteX50289" y="connsiteY50289"/>
              </a:cxn>
              <a:cxn ang="0">
                <a:pos x="connsiteX50290" y="connsiteY50290"/>
              </a:cxn>
              <a:cxn ang="0">
                <a:pos x="connsiteX50291" y="connsiteY50291"/>
              </a:cxn>
              <a:cxn ang="0">
                <a:pos x="connsiteX50292" y="connsiteY50292"/>
              </a:cxn>
              <a:cxn ang="0">
                <a:pos x="connsiteX50293" y="connsiteY50293"/>
              </a:cxn>
              <a:cxn ang="0">
                <a:pos x="connsiteX50294" y="connsiteY50294"/>
              </a:cxn>
              <a:cxn ang="0">
                <a:pos x="connsiteX50295" y="connsiteY50295"/>
              </a:cxn>
              <a:cxn ang="0">
                <a:pos x="connsiteX50296" y="connsiteY50296"/>
              </a:cxn>
              <a:cxn ang="0">
                <a:pos x="connsiteX50297" y="connsiteY50297"/>
              </a:cxn>
              <a:cxn ang="0">
                <a:pos x="connsiteX50298" y="connsiteY50298"/>
              </a:cxn>
              <a:cxn ang="0">
                <a:pos x="connsiteX50299" y="connsiteY50299"/>
              </a:cxn>
              <a:cxn ang="0">
                <a:pos x="connsiteX50300" y="connsiteY50300"/>
              </a:cxn>
              <a:cxn ang="0">
                <a:pos x="connsiteX50301" y="connsiteY50301"/>
              </a:cxn>
              <a:cxn ang="0">
                <a:pos x="connsiteX50302" y="connsiteY50302"/>
              </a:cxn>
              <a:cxn ang="0">
                <a:pos x="connsiteX50303" y="connsiteY50303"/>
              </a:cxn>
              <a:cxn ang="0">
                <a:pos x="connsiteX50304" y="connsiteY50304"/>
              </a:cxn>
              <a:cxn ang="0">
                <a:pos x="connsiteX50305" y="connsiteY50305"/>
              </a:cxn>
              <a:cxn ang="0">
                <a:pos x="connsiteX50306" y="connsiteY50306"/>
              </a:cxn>
              <a:cxn ang="0">
                <a:pos x="connsiteX50307" y="connsiteY50307"/>
              </a:cxn>
              <a:cxn ang="0">
                <a:pos x="connsiteX50308" y="connsiteY50308"/>
              </a:cxn>
              <a:cxn ang="0">
                <a:pos x="connsiteX50309" y="connsiteY50309"/>
              </a:cxn>
              <a:cxn ang="0">
                <a:pos x="connsiteX50310" y="connsiteY50310"/>
              </a:cxn>
              <a:cxn ang="0">
                <a:pos x="connsiteX50311" y="connsiteY50311"/>
              </a:cxn>
              <a:cxn ang="0">
                <a:pos x="connsiteX50312" y="connsiteY50312"/>
              </a:cxn>
              <a:cxn ang="0">
                <a:pos x="connsiteX50313" y="connsiteY50313"/>
              </a:cxn>
              <a:cxn ang="0">
                <a:pos x="connsiteX50314" y="connsiteY50314"/>
              </a:cxn>
              <a:cxn ang="0">
                <a:pos x="connsiteX50315" y="connsiteY50315"/>
              </a:cxn>
              <a:cxn ang="0">
                <a:pos x="connsiteX50316" y="connsiteY50316"/>
              </a:cxn>
              <a:cxn ang="0">
                <a:pos x="connsiteX50317" y="connsiteY50317"/>
              </a:cxn>
              <a:cxn ang="0">
                <a:pos x="connsiteX50318" y="connsiteY50318"/>
              </a:cxn>
              <a:cxn ang="0">
                <a:pos x="connsiteX50319" y="connsiteY50319"/>
              </a:cxn>
              <a:cxn ang="0">
                <a:pos x="connsiteX50320" y="connsiteY50320"/>
              </a:cxn>
              <a:cxn ang="0">
                <a:pos x="connsiteX50321" y="connsiteY50321"/>
              </a:cxn>
              <a:cxn ang="0">
                <a:pos x="connsiteX50322" y="connsiteY50322"/>
              </a:cxn>
              <a:cxn ang="0">
                <a:pos x="connsiteX50323" y="connsiteY50323"/>
              </a:cxn>
              <a:cxn ang="0">
                <a:pos x="connsiteX50324" y="connsiteY50324"/>
              </a:cxn>
              <a:cxn ang="0">
                <a:pos x="connsiteX50325" y="connsiteY50325"/>
              </a:cxn>
              <a:cxn ang="0">
                <a:pos x="connsiteX50326" y="connsiteY50326"/>
              </a:cxn>
              <a:cxn ang="0">
                <a:pos x="connsiteX50327" y="connsiteY50327"/>
              </a:cxn>
              <a:cxn ang="0">
                <a:pos x="connsiteX50328" y="connsiteY50328"/>
              </a:cxn>
              <a:cxn ang="0">
                <a:pos x="connsiteX50329" y="connsiteY50329"/>
              </a:cxn>
              <a:cxn ang="0">
                <a:pos x="connsiteX50330" y="connsiteY50330"/>
              </a:cxn>
              <a:cxn ang="0">
                <a:pos x="connsiteX50331" y="connsiteY50331"/>
              </a:cxn>
              <a:cxn ang="0">
                <a:pos x="connsiteX50332" y="connsiteY50332"/>
              </a:cxn>
              <a:cxn ang="0">
                <a:pos x="connsiteX50333" y="connsiteY50333"/>
              </a:cxn>
              <a:cxn ang="0">
                <a:pos x="connsiteX50334" y="connsiteY50334"/>
              </a:cxn>
              <a:cxn ang="0">
                <a:pos x="connsiteX50335" y="connsiteY50335"/>
              </a:cxn>
              <a:cxn ang="0">
                <a:pos x="connsiteX50336" y="connsiteY50336"/>
              </a:cxn>
              <a:cxn ang="0">
                <a:pos x="connsiteX50337" y="connsiteY50337"/>
              </a:cxn>
              <a:cxn ang="0">
                <a:pos x="connsiteX50338" y="connsiteY50338"/>
              </a:cxn>
              <a:cxn ang="0">
                <a:pos x="connsiteX50339" y="connsiteY50339"/>
              </a:cxn>
              <a:cxn ang="0">
                <a:pos x="connsiteX50340" y="connsiteY50340"/>
              </a:cxn>
              <a:cxn ang="0">
                <a:pos x="connsiteX50341" y="connsiteY50341"/>
              </a:cxn>
              <a:cxn ang="0">
                <a:pos x="connsiteX50342" y="connsiteY50342"/>
              </a:cxn>
              <a:cxn ang="0">
                <a:pos x="connsiteX50343" y="connsiteY50343"/>
              </a:cxn>
              <a:cxn ang="0">
                <a:pos x="connsiteX50344" y="connsiteY50344"/>
              </a:cxn>
              <a:cxn ang="0">
                <a:pos x="connsiteX50345" y="connsiteY50345"/>
              </a:cxn>
              <a:cxn ang="0">
                <a:pos x="connsiteX50346" y="connsiteY50346"/>
              </a:cxn>
              <a:cxn ang="0">
                <a:pos x="connsiteX50347" y="connsiteY50347"/>
              </a:cxn>
              <a:cxn ang="0">
                <a:pos x="connsiteX50348" y="connsiteY50348"/>
              </a:cxn>
              <a:cxn ang="0">
                <a:pos x="connsiteX50349" y="connsiteY50349"/>
              </a:cxn>
              <a:cxn ang="0">
                <a:pos x="connsiteX50350" y="connsiteY50350"/>
              </a:cxn>
              <a:cxn ang="0">
                <a:pos x="connsiteX50351" y="connsiteY50351"/>
              </a:cxn>
              <a:cxn ang="0">
                <a:pos x="connsiteX50352" y="connsiteY50352"/>
              </a:cxn>
              <a:cxn ang="0">
                <a:pos x="connsiteX50353" y="connsiteY50353"/>
              </a:cxn>
              <a:cxn ang="0">
                <a:pos x="connsiteX50354" y="connsiteY50354"/>
              </a:cxn>
              <a:cxn ang="0">
                <a:pos x="connsiteX50355" y="connsiteY50355"/>
              </a:cxn>
              <a:cxn ang="0">
                <a:pos x="connsiteX50356" y="connsiteY50356"/>
              </a:cxn>
              <a:cxn ang="0">
                <a:pos x="connsiteX50357" y="connsiteY50357"/>
              </a:cxn>
              <a:cxn ang="0">
                <a:pos x="connsiteX50358" y="connsiteY50358"/>
              </a:cxn>
              <a:cxn ang="0">
                <a:pos x="connsiteX50359" y="connsiteY50359"/>
              </a:cxn>
              <a:cxn ang="0">
                <a:pos x="connsiteX50360" y="connsiteY50360"/>
              </a:cxn>
              <a:cxn ang="0">
                <a:pos x="connsiteX50361" y="connsiteY50361"/>
              </a:cxn>
              <a:cxn ang="0">
                <a:pos x="connsiteX50362" y="connsiteY50362"/>
              </a:cxn>
              <a:cxn ang="0">
                <a:pos x="connsiteX50363" y="connsiteY50363"/>
              </a:cxn>
              <a:cxn ang="0">
                <a:pos x="connsiteX50364" y="connsiteY50364"/>
              </a:cxn>
              <a:cxn ang="0">
                <a:pos x="connsiteX50365" y="connsiteY50365"/>
              </a:cxn>
              <a:cxn ang="0">
                <a:pos x="connsiteX50366" y="connsiteY50366"/>
              </a:cxn>
              <a:cxn ang="0">
                <a:pos x="connsiteX50367" y="connsiteY50367"/>
              </a:cxn>
              <a:cxn ang="0">
                <a:pos x="connsiteX50368" y="connsiteY50368"/>
              </a:cxn>
              <a:cxn ang="0">
                <a:pos x="connsiteX50369" y="connsiteY50369"/>
              </a:cxn>
              <a:cxn ang="0">
                <a:pos x="connsiteX50370" y="connsiteY50370"/>
              </a:cxn>
              <a:cxn ang="0">
                <a:pos x="connsiteX50371" y="connsiteY50371"/>
              </a:cxn>
              <a:cxn ang="0">
                <a:pos x="connsiteX50372" y="connsiteY50372"/>
              </a:cxn>
              <a:cxn ang="0">
                <a:pos x="connsiteX50373" y="connsiteY50373"/>
              </a:cxn>
              <a:cxn ang="0">
                <a:pos x="connsiteX50374" y="connsiteY50374"/>
              </a:cxn>
              <a:cxn ang="0">
                <a:pos x="connsiteX50375" y="connsiteY50375"/>
              </a:cxn>
              <a:cxn ang="0">
                <a:pos x="connsiteX50376" y="connsiteY50376"/>
              </a:cxn>
              <a:cxn ang="0">
                <a:pos x="connsiteX50377" y="connsiteY50377"/>
              </a:cxn>
              <a:cxn ang="0">
                <a:pos x="connsiteX50378" y="connsiteY50378"/>
              </a:cxn>
              <a:cxn ang="0">
                <a:pos x="connsiteX50379" y="connsiteY50379"/>
              </a:cxn>
              <a:cxn ang="0">
                <a:pos x="connsiteX50380" y="connsiteY50380"/>
              </a:cxn>
              <a:cxn ang="0">
                <a:pos x="connsiteX50381" y="connsiteY50381"/>
              </a:cxn>
              <a:cxn ang="0">
                <a:pos x="connsiteX50382" y="connsiteY50382"/>
              </a:cxn>
              <a:cxn ang="0">
                <a:pos x="connsiteX50383" y="connsiteY50383"/>
              </a:cxn>
              <a:cxn ang="0">
                <a:pos x="connsiteX50384" y="connsiteY50384"/>
              </a:cxn>
              <a:cxn ang="0">
                <a:pos x="connsiteX50385" y="connsiteY50385"/>
              </a:cxn>
              <a:cxn ang="0">
                <a:pos x="connsiteX50386" y="connsiteY50386"/>
              </a:cxn>
              <a:cxn ang="0">
                <a:pos x="connsiteX50387" y="connsiteY50387"/>
              </a:cxn>
              <a:cxn ang="0">
                <a:pos x="connsiteX50388" y="connsiteY50388"/>
              </a:cxn>
              <a:cxn ang="0">
                <a:pos x="connsiteX50389" y="connsiteY50389"/>
              </a:cxn>
              <a:cxn ang="0">
                <a:pos x="connsiteX50390" y="connsiteY50390"/>
              </a:cxn>
              <a:cxn ang="0">
                <a:pos x="connsiteX50391" y="connsiteY50391"/>
              </a:cxn>
              <a:cxn ang="0">
                <a:pos x="connsiteX50392" y="connsiteY50392"/>
              </a:cxn>
              <a:cxn ang="0">
                <a:pos x="connsiteX50393" y="connsiteY50393"/>
              </a:cxn>
              <a:cxn ang="0">
                <a:pos x="connsiteX50394" y="connsiteY50394"/>
              </a:cxn>
              <a:cxn ang="0">
                <a:pos x="connsiteX50395" y="connsiteY50395"/>
              </a:cxn>
              <a:cxn ang="0">
                <a:pos x="connsiteX50396" y="connsiteY50396"/>
              </a:cxn>
              <a:cxn ang="0">
                <a:pos x="connsiteX50397" y="connsiteY50397"/>
              </a:cxn>
              <a:cxn ang="0">
                <a:pos x="connsiteX50398" y="connsiteY50398"/>
              </a:cxn>
              <a:cxn ang="0">
                <a:pos x="connsiteX50399" y="connsiteY50399"/>
              </a:cxn>
              <a:cxn ang="0">
                <a:pos x="connsiteX50400" y="connsiteY50400"/>
              </a:cxn>
              <a:cxn ang="0">
                <a:pos x="connsiteX50401" y="connsiteY50401"/>
              </a:cxn>
              <a:cxn ang="0">
                <a:pos x="connsiteX50402" y="connsiteY50402"/>
              </a:cxn>
              <a:cxn ang="0">
                <a:pos x="connsiteX50403" y="connsiteY50403"/>
              </a:cxn>
              <a:cxn ang="0">
                <a:pos x="connsiteX50404" y="connsiteY50404"/>
              </a:cxn>
              <a:cxn ang="0">
                <a:pos x="connsiteX50405" y="connsiteY50405"/>
              </a:cxn>
              <a:cxn ang="0">
                <a:pos x="connsiteX50406" y="connsiteY50406"/>
              </a:cxn>
              <a:cxn ang="0">
                <a:pos x="connsiteX50407" y="connsiteY50407"/>
              </a:cxn>
              <a:cxn ang="0">
                <a:pos x="connsiteX50408" y="connsiteY50408"/>
              </a:cxn>
              <a:cxn ang="0">
                <a:pos x="connsiteX50409" y="connsiteY50409"/>
              </a:cxn>
              <a:cxn ang="0">
                <a:pos x="connsiteX50410" y="connsiteY50410"/>
              </a:cxn>
              <a:cxn ang="0">
                <a:pos x="connsiteX50411" y="connsiteY50411"/>
              </a:cxn>
              <a:cxn ang="0">
                <a:pos x="connsiteX50412" y="connsiteY50412"/>
              </a:cxn>
              <a:cxn ang="0">
                <a:pos x="connsiteX50413" y="connsiteY50413"/>
              </a:cxn>
              <a:cxn ang="0">
                <a:pos x="connsiteX50414" y="connsiteY50414"/>
              </a:cxn>
              <a:cxn ang="0">
                <a:pos x="connsiteX50415" y="connsiteY50415"/>
              </a:cxn>
              <a:cxn ang="0">
                <a:pos x="connsiteX50416" y="connsiteY50416"/>
              </a:cxn>
              <a:cxn ang="0">
                <a:pos x="connsiteX50417" y="connsiteY50417"/>
              </a:cxn>
              <a:cxn ang="0">
                <a:pos x="connsiteX50418" y="connsiteY50418"/>
              </a:cxn>
              <a:cxn ang="0">
                <a:pos x="connsiteX50419" y="connsiteY50419"/>
              </a:cxn>
              <a:cxn ang="0">
                <a:pos x="connsiteX50420" y="connsiteY50420"/>
              </a:cxn>
              <a:cxn ang="0">
                <a:pos x="connsiteX50421" y="connsiteY50421"/>
              </a:cxn>
              <a:cxn ang="0">
                <a:pos x="connsiteX50422" y="connsiteY50422"/>
              </a:cxn>
              <a:cxn ang="0">
                <a:pos x="connsiteX50423" y="connsiteY50423"/>
              </a:cxn>
              <a:cxn ang="0">
                <a:pos x="connsiteX50424" y="connsiteY50424"/>
              </a:cxn>
              <a:cxn ang="0">
                <a:pos x="connsiteX50425" y="connsiteY50425"/>
              </a:cxn>
              <a:cxn ang="0">
                <a:pos x="connsiteX50426" y="connsiteY50426"/>
              </a:cxn>
              <a:cxn ang="0">
                <a:pos x="connsiteX50427" y="connsiteY50427"/>
              </a:cxn>
              <a:cxn ang="0">
                <a:pos x="connsiteX50428" y="connsiteY50428"/>
              </a:cxn>
              <a:cxn ang="0">
                <a:pos x="connsiteX50429" y="connsiteY50429"/>
              </a:cxn>
              <a:cxn ang="0">
                <a:pos x="connsiteX50430" y="connsiteY50430"/>
              </a:cxn>
              <a:cxn ang="0">
                <a:pos x="connsiteX50431" y="connsiteY50431"/>
              </a:cxn>
              <a:cxn ang="0">
                <a:pos x="connsiteX50432" y="connsiteY50432"/>
              </a:cxn>
              <a:cxn ang="0">
                <a:pos x="connsiteX50433" y="connsiteY50433"/>
              </a:cxn>
              <a:cxn ang="0">
                <a:pos x="connsiteX50434" y="connsiteY50434"/>
              </a:cxn>
              <a:cxn ang="0">
                <a:pos x="connsiteX50435" y="connsiteY50435"/>
              </a:cxn>
              <a:cxn ang="0">
                <a:pos x="connsiteX50436" y="connsiteY50436"/>
              </a:cxn>
              <a:cxn ang="0">
                <a:pos x="connsiteX50437" y="connsiteY50437"/>
              </a:cxn>
              <a:cxn ang="0">
                <a:pos x="connsiteX50438" y="connsiteY50438"/>
              </a:cxn>
              <a:cxn ang="0">
                <a:pos x="connsiteX50439" y="connsiteY50439"/>
              </a:cxn>
              <a:cxn ang="0">
                <a:pos x="connsiteX50440" y="connsiteY50440"/>
              </a:cxn>
              <a:cxn ang="0">
                <a:pos x="connsiteX50441" y="connsiteY50441"/>
              </a:cxn>
              <a:cxn ang="0">
                <a:pos x="connsiteX50442" y="connsiteY50442"/>
              </a:cxn>
              <a:cxn ang="0">
                <a:pos x="connsiteX50443" y="connsiteY50443"/>
              </a:cxn>
              <a:cxn ang="0">
                <a:pos x="connsiteX50444" y="connsiteY50444"/>
              </a:cxn>
              <a:cxn ang="0">
                <a:pos x="connsiteX50445" y="connsiteY50445"/>
              </a:cxn>
              <a:cxn ang="0">
                <a:pos x="connsiteX50446" y="connsiteY50446"/>
              </a:cxn>
              <a:cxn ang="0">
                <a:pos x="connsiteX50447" y="connsiteY50447"/>
              </a:cxn>
              <a:cxn ang="0">
                <a:pos x="connsiteX50448" y="connsiteY50448"/>
              </a:cxn>
              <a:cxn ang="0">
                <a:pos x="connsiteX50449" y="connsiteY50449"/>
              </a:cxn>
              <a:cxn ang="0">
                <a:pos x="connsiteX50450" y="connsiteY50450"/>
              </a:cxn>
              <a:cxn ang="0">
                <a:pos x="connsiteX50451" y="connsiteY50451"/>
              </a:cxn>
              <a:cxn ang="0">
                <a:pos x="connsiteX50452" y="connsiteY50452"/>
              </a:cxn>
              <a:cxn ang="0">
                <a:pos x="connsiteX50453" y="connsiteY50453"/>
              </a:cxn>
              <a:cxn ang="0">
                <a:pos x="connsiteX50454" y="connsiteY50454"/>
              </a:cxn>
              <a:cxn ang="0">
                <a:pos x="connsiteX50455" y="connsiteY50455"/>
              </a:cxn>
              <a:cxn ang="0">
                <a:pos x="connsiteX50456" y="connsiteY50456"/>
              </a:cxn>
              <a:cxn ang="0">
                <a:pos x="connsiteX50457" y="connsiteY50457"/>
              </a:cxn>
              <a:cxn ang="0">
                <a:pos x="connsiteX50458" y="connsiteY50458"/>
              </a:cxn>
              <a:cxn ang="0">
                <a:pos x="connsiteX50459" y="connsiteY50459"/>
              </a:cxn>
              <a:cxn ang="0">
                <a:pos x="connsiteX50460" y="connsiteY50460"/>
              </a:cxn>
              <a:cxn ang="0">
                <a:pos x="connsiteX50461" y="connsiteY50461"/>
              </a:cxn>
              <a:cxn ang="0">
                <a:pos x="connsiteX50462" y="connsiteY50462"/>
              </a:cxn>
              <a:cxn ang="0">
                <a:pos x="connsiteX50463" y="connsiteY50463"/>
              </a:cxn>
              <a:cxn ang="0">
                <a:pos x="connsiteX50464" y="connsiteY50464"/>
              </a:cxn>
              <a:cxn ang="0">
                <a:pos x="connsiteX50465" y="connsiteY50465"/>
              </a:cxn>
              <a:cxn ang="0">
                <a:pos x="connsiteX50466" y="connsiteY50466"/>
              </a:cxn>
              <a:cxn ang="0">
                <a:pos x="connsiteX50467" y="connsiteY50467"/>
              </a:cxn>
              <a:cxn ang="0">
                <a:pos x="connsiteX50468" y="connsiteY50468"/>
              </a:cxn>
              <a:cxn ang="0">
                <a:pos x="connsiteX50469" y="connsiteY50469"/>
              </a:cxn>
              <a:cxn ang="0">
                <a:pos x="connsiteX50470" y="connsiteY50470"/>
              </a:cxn>
              <a:cxn ang="0">
                <a:pos x="connsiteX50471" y="connsiteY50471"/>
              </a:cxn>
              <a:cxn ang="0">
                <a:pos x="connsiteX50472" y="connsiteY50472"/>
              </a:cxn>
              <a:cxn ang="0">
                <a:pos x="connsiteX50473" y="connsiteY50473"/>
              </a:cxn>
              <a:cxn ang="0">
                <a:pos x="connsiteX50474" y="connsiteY50474"/>
              </a:cxn>
              <a:cxn ang="0">
                <a:pos x="connsiteX50475" y="connsiteY50475"/>
              </a:cxn>
              <a:cxn ang="0">
                <a:pos x="connsiteX50476" y="connsiteY50476"/>
              </a:cxn>
              <a:cxn ang="0">
                <a:pos x="connsiteX50477" y="connsiteY50477"/>
              </a:cxn>
              <a:cxn ang="0">
                <a:pos x="connsiteX50478" y="connsiteY50478"/>
              </a:cxn>
              <a:cxn ang="0">
                <a:pos x="connsiteX50479" y="connsiteY50479"/>
              </a:cxn>
              <a:cxn ang="0">
                <a:pos x="connsiteX50480" y="connsiteY50480"/>
              </a:cxn>
              <a:cxn ang="0">
                <a:pos x="connsiteX50481" y="connsiteY50481"/>
              </a:cxn>
              <a:cxn ang="0">
                <a:pos x="connsiteX50482" y="connsiteY50482"/>
              </a:cxn>
              <a:cxn ang="0">
                <a:pos x="connsiteX50483" y="connsiteY50483"/>
              </a:cxn>
              <a:cxn ang="0">
                <a:pos x="connsiteX50484" y="connsiteY50484"/>
              </a:cxn>
              <a:cxn ang="0">
                <a:pos x="connsiteX50485" y="connsiteY50485"/>
              </a:cxn>
              <a:cxn ang="0">
                <a:pos x="connsiteX50486" y="connsiteY50486"/>
              </a:cxn>
              <a:cxn ang="0">
                <a:pos x="connsiteX50487" y="connsiteY50487"/>
              </a:cxn>
              <a:cxn ang="0">
                <a:pos x="connsiteX50488" y="connsiteY50488"/>
              </a:cxn>
              <a:cxn ang="0">
                <a:pos x="connsiteX50489" y="connsiteY50489"/>
              </a:cxn>
              <a:cxn ang="0">
                <a:pos x="connsiteX50490" y="connsiteY50490"/>
              </a:cxn>
              <a:cxn ang="0">
                <a:pos x="connsiteX50491" y="connsiteY50491"/>
              </a:cxn>
              <a:cxn ang="0">
                <a:pos x="connsiteX50492" y="connsiteY50492"/>
              </a:cxn>
              <a:cxn ang="0">
                <a:pos x="connsiteX50493" y="connsiteY50493"/>
              </a:cxn>
              <a:cxn ang="0">
                <a:pos x="connsiteX50494" y="connsiteY50494"/>
              </a:cxn>
              <a:cxn ang="0">
                <a:pos x="connsiteX50495" y="connsiteY50495"/>
              </a:cxn>
              <a:cxn ang="0">
                <a:pos x="connsiteX50496" y="connsiteY50496"/>
              </a:cxn>
              <a:cxn ang="0">
                <a:pos x="connsiteX50497" y="connsiteY50497"/>
              </a:cxn>
              <a:cxn ang="0">
                <a:pos x="connsiteX50498" y="connsiteY50498"/>
              </a:cxn>
              <a:cxn ang="0">
                <a:pos x="connsiteX50499" y="connsiteY50499"/>
              </a:cxn>
              <a:cxn ang="0">
                <a:pos x="connsiteX50500" y="connsiteY50500"/>
              </a:cxn>
              <a:cxn ang="0">
                <a:pos x="connsiteX50501" y="connsiteY50501"/>
              </a:cxn>
              <a:cxn ang="0">
                <a:pos x="connsiteX50502" y="connsiteY50502"/>
              </a:cxn>
              <a:cxn ang="0">
                <a:pos x="connsiteX50503" y="connsiteY50503"/>
              </a:cxn>
              <a:cxn ang="0">
                <a:pos x="connsiteX50504" y="connsiteY50504"/>
              </a:cxn>
              <a:cxn ang="0">
                <a:pos x="connsiteX50505" y="connsiteY50505"/>
              </a:cxn>
              <a:cxn ang="0">
                <a:pos x="connsiteX50506" y="connsiteY50506"/>
              </a:cxn>
              <a:cxn ang="0">
                <a:pos x="connsiteX50507" y="connsiteY50507"/>
              </a:cxn>
              <a:cxn ang="0">
                <a:pos x="connsiteX50508" y="connsiteY50508"/>
              </a:cxn>
              <a:cxn ang="0">
                <a:pos x="connsiteX50509" y="connsiteY50509"/>
              </a:cxn>
              <a:cxn ang="0">
                <a:pos x="connsiteX50510" y="connsiteY50510"/>
              </a:cxn>
              <a:cxn ang="0">
                <a:pos x="connsiteX50511" y="connsiteY50511"/>
              </a:cxn>
              <a:cxn ang="0">
                <a:pos x="connsiteX50512" y="connsiteY50512"/>
              </a:cxn>
              <a:cxn ang="0">
                <a:pos x="connsiteX50513" y="connsiteY50513"/>
              </a:cxn>
              <a:cxn ang="0">
                <a:pos x="connsiteX50514" y="connsiteY50514"/>
              </a:cxn>
              <a:cxn ang="0">
                <a:pos x="connsiteX50515" y="connsiteY50515"/>
              </a:cxn>
              <a:cxn ang="0">
                <a:pos x="connsiteX50516" y="connsiteY50516"/>
              </a:cxn>
              <a:cxn ang="0">
                <a:pos x="connsiteX50517" y="connsiteY50517"/>
              </a:cxn>
              <a:cxn ang="0">
                <a:pos x="connsiteX50518" y="connsiteY50518"/>
              </a:cxn>
              <a:cxn ang="0">
                <a:pos x="connsiteX50519" y="connsiteY50519"/>
              </a:cxn>
              <a:cxn ang="0">
                <a:pos x="connsiteX50520" y="connsiteY50520"/>
              </a:cxn>
              <a:cxn ang="0">
                <a:pos x="connsiteX50521" y="connsiteY50521"/>
              </a:cxn>
              <a:cxn ang="0">
                <a:pos x="connsiteX50522" y="connsiteY50522"/>
              </a:cxn>
              <a:cxn ang="0">
                <a:pos x="connsiteX50523" y="connsiteY50523"/>
              </a:cxn>
              <a:cxn ang="0">
                <a:pos x="connsiteX50524" y="connsiteY50524"/>
              </a:cxn>
              <a:cxn ang="0">
                <a:pos x="connsiteX50525" y="connsiteY50525"/>
              </a:cxn>
              <a:cxn ang="0">
                <a:pos x="connsiteX50526" y="connsiteY50526"/>
              </a:cxn>
              <a:cxn ang="0">
                <a:pos x="connsiteX50527" y="connsiteY50527"/>
              </a:cxn>
              <a:cxn ang="0">
                <a:pos x="connsiteX50528" y="connsiteY50528"/>
              </a:cxn>
              <a:cxn ang="0">
                <a:pos x="connsiteX50529" y="connsiteY50529"/>
              </a:cxn>
              <a:cxn ang="0">
                <a:pos x="connsiteX50530" y="connsiteY50530"/>
              </a:cxn>
              <a:cxn ang="0">
                <a:pos x="connsiteX50531" y="connsiteY50531"/>
              </a:cxn>
              <a:cxn ang="0">
                <a:pos x="connsiteX50532" y="connsiteY50532"/>
              </a:cxn>
              <a:cxn ang="0">
                <a:pos x="connsiteX50533" y="connsiteY50533"/>
              </a:cxn>
              <a:cxn ang="0">
                <a:pos x="connsiteX50534" y="connsiteY50534"/>
              </a:cxn>
              <a:cxn ang="0">
                <a:pos x="connsiteX50535" y="connsiteY50535"/>
              </a:cxn>
              <a:cxn ang="0">
                <a:pos x="connsiteX50536" y="connsiteY50536"/>
              </a:cxn>
              <a:cxn ang="0">
                <a:pos x="connsiteX50537" y="connsiteY50537"/>
              </a:cxn>
              <a:cxn ang="0">
                <a:pos x="connsiteX50538" y="connsiteY50538"/>
              </a:cxn>
              <a:cxn ang="0">
                <a:pos x="connsiteX50539" y="connsiteY50539"/>
              </a:cxn>
              <a:cxn ang="0">
                <a:pos x="connsiteX50540" y="connsiteY50540"/>
              </a:cxn>
              <a:cxn ang="0">
                <a:pos x="connsiteX50541" y="connsiteY50541"/>
              </a:cxn>
              <a:cxn ang="0">
                <a:pos x="connsiteX50542" y="connsiteY50542"/>
              </a:cxn>
              <a:cxn ang="0">
                <a:pos x="connsiteX50543" y="connsiteY50543"/>
              </a:cxn>
              <a:cxn ang="0">
                <a:pos x="connsiteX50544" y="connsiteY50544"/>
              </a:cxn>
              <a:cxn ang="0">
                <a:pos x="connsiteX50545" y="connsiteY50545"/>
              </a:cxn>
              <a:cxn ang="0">
                <a:pos x="connsiteX50546" y="connsiteY50546"/>
              </a:cxn>
              <a:cxn ang="0">
                <a:pos x="connsiteX50547" y="connsiteY50547"/>
              </a:cxn>
              <a:cxn ang="0">
                <a:pos x="connsiteX50548" y="connsiteY50548"/>
              </a:cxn>
              <a:cxn ang="0">
                <a:pos x="connsiteX50549" y="connsiteY50549"/>
              </a:cxn>
              <a:cxn ang="0">
                <a:pos x="connsiteX50550" y="connsiteY50550"/>
              </a:cxn>
              <a:cxn ang="0">
                <a:pos x="connsiteX50551" y="connsiteY50551"/>
              </a:cxn>
              <a:cxn ang="0">
                <a:pos x="connsiteX50552" y="connsiteY50552"/>
              </a:cxn>
              <a:cxn ang="0">
                <a:pos x="connsiteX50553" y="connsiteY50553"/>
              </a:cxn>
              <a:cxn ang="0">
                <a:pos x="connsiteX50554" y="connsiteY50554"/>
              </a:cxn>
              <a:cxn ang="0">
                <a:pos x="connsiteX50555" y="connsiteY50555"/>
              </a:cxn>
              <a:cxn ang="0">
                <a:pos x="connsiteX50556" y="connsiteY50556"/>
              </a:cxn>
              <a:cxn ang="0">
                <a:pos x="connsiteX50557" y="connsiteY50557"/>
              </a:cxn>
              <a:cxn ang="0">
                <a:pos x="connsiteX50558" y="connsiteY50558"/>
              </a:cxn>
              <a:cxn ang="0">
                <a:pos x="connsiteX50559" y="connsiteY50559"/>
              </a:cxn>
              <a:cxn ang="0">
                <a:pos x="connsiteX50560" y="connsiteY50560"/>
              </a:cxn>
              <a:cxn ang="0">
                <a:pos x="connsiteX50561" y="connsiteY50561"/>
              </a:cxn>
              <a:cxn ang="0">
                <a:pos x="connsiteX50562" y="connsiteY50562"/>
              </a:cxn>
              <a:cxn ang="0">
                <a:pos x="connsiteX50563" y="connsiteY50563"/>
              </a:cxn>
              <a:cxn ang="0">
                <a:pos x="connsiteX50564" y="connsiteY50564"/>
              </a:cxn>
              <a:cxn ang="0">
                <a:pos x="connsiteX50565" y="connsiteY50565"/>
              </a:cxn>
              <a:cxn ang="0">
                <a:pos x="connsiteX50566" y="connsiteY50566"/>
              </a:cxn>
              <a:cxn ang="0">
                <a:pos x="connsiteX50567" y="connsiteY50567"/>
              </a:cxn>
              <a:cxn ang="0">
                <a:pos x="connsiteX50568" y="connsiteY50568"/>
              </a:cxn>
              <a:cxn ang="0">
                <a:pos x="connsiteX50569" y="connsiteY50569"/>
              </a:cxn>
              <a:cxn ang="0">
                <a:pos x="connsiteX50570" y="connsiteY50570"/>
              </a:cxn>
              <a:cxn ang="0">
                <a:pos x="connsiteX50571" y="connsiteY50571"/>
              </a:cxn>
              <a:cxn ang="0">
                <a:pos x="connsiteX50572" y="connsiteY50572"/>
              </a:cxn>
              <a:cxn ang="0">
                <a:pos x="connsiteX50573" y="connsiteY50573"/>
              </a:cxn>
              <a:cxn ang="0">
                <a:pos x="connsiteX50574" y="connsiteY50574"/>
              </a:cxn>
              <a:cxn ang="0">
                <a:pos x="connsiteX50575" y="connsiteY50575"/>
              </a:cxn>
              <a:cxn ang="0">
                <a:pos x="connsiteX50576" y="connsiteY50576"/>
              </a:cxn>
              <a:cxn ang="0">
                <a:pos x="connsiteX50577" y="connsiteY50577"/>
              </a:cxn>
              <a:cxn ang="0">
                <a:pos x="connsiteX50578" y="connsiteY50578"/>
              </a:cxn>
              <a:cxn ang="0">
                <a:pos x="connsiteX50579" y="connsiteY50579"/>
              </a:cxn>
              <a:cxn ang="0">
                <a:pos x="connsiteX50580" y="connsiteY50580"/>
              </a:cxn>
              <a:cxn ang="0">
                <a:pos x="connsiteX50581" y="connsiteY50581"/>
              </a:cxn>
              <a:cxn ang="0">
                <a:pos x="connsiteX50582" y="connsiteY50582"/>
              </a:cxn>
              <a:cxn ang="0">
                <a:pos x="connsiteX50583" y="connsiteY50583"/>
              </a:cxn>
              <a:cxn ang="0">
                <a:pos x="connsiteX50584" y="connsiteY50584"/>
              </a:cxn>
              <a:cxn ang="0">
                <a:pos x="connsiteX50585" y="connsiteY50585"/>
              </a:cxn>
              <a:cxn ang="0">
                <a:pos x="connsiteX50586" y="connsiteY50586"/>
              </a:cxn>
              <a:cxn ang="0">
                <a:pos x="connsiteX50587" y="connsiteY50587"/>
              </a:cxn>
              <a:cxn ang="0">
                <a:pos x="connsiteX50588" y="connsiteY50588"/>
              </a:cxn>
              <a:cxn ang="0">
                <a:pos x="connsiteX50589" y="connsiteY50589"/>
              </a:cxn>
              <a:cxn ang="0">
                <a:pos x="connsiteX50590" y="connsiteY50590"/>
              </a:cxn>
              <a:cxn ang="0">
                <a:pos x="connsiteX50591" y="connsiteY50591"/>
              </a:cxn>
              <a:cxn ang="0">
                <a:pos x="connsiteX50592" y="connsiteY50592"/>
              </a:cxn>
              <a:cxn ang="0">
                <a:pos x="connsiteX50593" y="connsiteY50593"/>
              </a:cxn>
              <a:cxn ang="0">
                <a:pos x="connsiteX50594" y="connsiteY50594"/>
              </a:cxn>
              <a:cxn ang="0">
                <a:pos x="connsiteX50595" y="connsiteY50595"/>
              </a:cxn>
              <a:cxn ang="0">
                <a:pos x="connsiteX50596" y="connsiteY50596"/>
              </a:cxn>
              <a:cxn ang="0">
                <a:pos x="connsiteX50597" y="connsiteY50597"/>
              </a:cxn>
              <a:cxn ang="0">
                <a:pos x="connsiteX50598" y="connsiteY50598"/>
              </a:cxn>
              <a:cxn ang="0">
                <a:pos x="connsiteX50599" y="connsiteY50599"/>
              </a:cxn>
              <a:cxn ang="0">
                <a:pos x="connsiteX50600" y="connsiteY50600"/>
              </a:cxn>
              <a:cxn ang="0">
                <a:pos x="connsiteX50601" y="connsiteY50601"/>
              </a:cxn>
              <a:cxn ang="0">
                <a:pos x="connsiteX50602" y="connsiteY50602"/>
              </a:cxn>
              <a:cxn ang="0">
                <a:pos x="connsiteX50603" y="connsiteY50603"/>
              </a:cxn>
              <a:cxn ang="0">
                <a:pos x="connsiteX50604" y="connsiteY50604"/>
              </a:cxn>
              <a:cxn ang="0">
                <a:pos x="connsiteX50605" y="connsiteY50605"/>
              </a:cxn>
              <a:cxn ang="0">
                <a:pos x="connsiteX50606" y="connsiteY50606"/>
              </a:cxn>
              <a:cxn ang="0">
                <a:pos x="connsiteX50607" y="connsiteY50607"/>
              </a:cxn>
              <a:cxn ang="0">
                <a:pos x="connsiteX50608" y="connsiteY50608"/>
              </a:cxn>
              <a:cxn ang="0">
                <a:pos x="connsiteX50609" y="connsiteY50609"/>
              </a:cxn>
              <a:cxn ang="0">
                <a:pos x="connsiteX50610" y="connsiteY50610"/>
              </a:cxn>
              <a:cxn ang="0">
                <a:pos x="connsiteX50611" y="connsiteY50611"/>
              </a:cxn>
              <a:cxn ang="0">
                <a:pos x="connsiteX50612" y="connsiteY50612"/>
              </a:cxn>
              <a:cxn ang="0">
                <a:pos x="connsiteX50613" y="connsiteY50613"/>
              </a:cxn>
              <a:cxn ang="0">
                <a:pos x="connsiteX50614" y="connsiteY50614"/>
              </a:cxn>
              <a:cxn ang="0">
                <a:pos x="connsiteX50615" y="connsiteY50615"/>
              </a:cxn>
              <a:cxn ang="0">
                <a:pos x="connsiteX50616" y="connsiteY50616"/>
              </a:cxn>
              <a:cxn ang="0">
                <a:pos x="connsiteX50617" y="connsiteY50617"/>
              </a:cxn>
              <a:cxn ang="0">
                <a:pos x="connsiteX50618" y="connsiteY50618"/>
              </a:cxn>
              <a:cxn ang="0">
                <a:pos x="connsiteX50619" y="connsiteY50619"/>
              </a:cxn>
              <a:cxn ang="0">
                <a:pos x="connsiteX50620" y="connsiteY50620"/>
              </a:cxn>
              <a:cxn ang="0">
                <a:pos x="connsiteX50621" y="connsiteY50621"/>
              </a:cxn>
              <a:cxn ang="0">
                <a:pos x="connsiteX50622" y="connsiteY50622"/>
              </a:cxn>
              <a:cxn ang="0">
                <a:pos x="connsiteX50623" y="connsiteY50623"/>
              </a:cxn>
              <a:cxn ang="0">
                <a:pos x="connsiteX50624" y="connsiteY50624"/>
              </a:cxn>
              <a:cxn ang="0">
                <a:pos x="connsiteX50625" y="connsiteY50625"/>
              </a:cxn>
              <a:cxn ang="0">
                <a:pos x="connsiteX50626" y="connsiteY50626"/>
              </a:cxn>
              <a:cxn ang="0">
                <a:pos x="connsiteX50627" y="connsiteY50627"/>
              </a:cxn>
              <a:cxn ang="0">
                <a:pos x="connsiteX50628" y="connsiteY50628"/>
              </a:cxn>
              <a:cxn ang="0">
                <a:pos x="connsiteX50629" y="connsiteY50629"/>
              </a:cxn>
              <a:cxn ang="0">
                <a:pos x="connsiteX50630" y="connsiteY50630"/>
              </a:cxn>
              <a:cxn ang="0">
                <a:pos x="connsiteX50631" y="connsiteY50631"/>
              </a:cxn>
              <a:cxn ang="0">
                <a:pos x="connsiteX50632" y="connsiteY50632"/>
              </a:cxn>
              <a:cxn ang="0">
                <a:pos x="connsiteX50633" y="connsiteY50633"/>
              </a:cxn>
              <a:cxn ang="0">
                <a:pos x="connsiteX50634" y="connsiteY50634"/>
              </a:cxn>
              <a:cxn ang="0">
                <a:pos x="connsiteX50635" y="connsiteY50635"/>
              </a:cxn>
              <a:cxn ang="0">
                <a:pos x="connsiteX50636" y="connsiteY50636"/>
              </a:cxn>
              <a:cxn ang="0">
                <a:pos x="connsiteX50637" y="connsiteY50637"/>
              </a:cxn>
              <a:cxn ang="0">
                <a:pos x="connsiteX50638" y="connsiteY50638"/>
              </a:cxn>
              <a:cxn ang="0">
                <a:pos x="connsiteX50639" y="connsiteY50639"/>
              </a:cxn>
              <a:cxn ang="0">
                <a:pos x="connsiteX50640" y="connsiteY50640"/>
              </a:cxn>
              <a:cxn ang="0">
                <a:pos x="connsiteX50641" y="connsiteY50641"/>
              </a:cxn>
              <a:cxn ang="0">
                <a:pos x="connsiteX50642" y="connsiteY50642"/>
              </a:cxn>
              <a:cxn ang="0">
                <a:pos x="connsiteX50643" y="connsiteY50643"/>
              </a:cxn>
              <a:cxn ang="0">
                <a:pos x="connsiteX50644" y="connsiteY50644"/>
              </a:cxn>
              <a:cxn ang="0">
                <a:pos x="connsiteX50645" y="connsiteY50645"/>
              </a:cxn>
              <a:cxn ang="0">
                <a:pos x="connsiteX50646" y="connsiteY50646"/>
              </a:cxn>
              <a:cxn ang="0">
                <a:pos x="connsiteX50647" y="connsiteY50647"/>
              </a:cxn>
              <a:cxn ang="0">
                <a:pos x="connsiteX50648" y="connsiteY50648"/>
              </a:cxn>
              <a:cxn ang="0">
                <a:pos x="connsiteX50649" y="connsiteY50649"/>
              </a:cxn>
              <a:cxn ang="0">
                <a:pos x="connsiteX50650" y="connsiteY50650"/>
              </a:cxn>
              <a:cxn ang="0">
                <a:pos x="connsiteX50651" y="connsiteY50651"/>
              </a:cxn>
              <a:cxn ang="0">
                <a:pos x="connsiteX50652" y="connsiteY50652"/>
              </a:cxn>
              <a:cxn ang="0">
                <a:pos x="connsiteX50653" y="connsiteY50653"/>
              </a:cxn>
              <a:cxn ang="0">
                <a:pos x="connsiteX50654" y="connsiteY50654"/>
              </a:cxn>
              <a:cxn ang="0">
                <a:pos x="connsiteX50655" y="connsiteY50655"/>
              </a:cxn>
              <a:cxn ang="0">
                <a:pos x="connsiteX50656" y="connsiteY50656"/>
              </a:cxn>
              <a:cxn ang="0">
                <a:pos x="connsiteX50657" y="connsiteY50657"/>
              </a:cxn>
              <a:cxn ang="0">
                <a:pos x="connsiteX50658" y="connsiteY50658"/>
              </a:cxn>
              <a:cxn ang="0">
                <a:pos x="connsiteX50659" y="connsiteY50659"/>
              </a:cxn>
              <a:cxn ang="0">
                <a:pos x="connsiteX50660" y="connsiteY50660"/>
              </a:cxn>
              <a:cxn ang="0">
                <a:pos x="connsiteX50661" y="connsiteY50661"/>
              </a:cxn>
              <a:cxn ang="0">
                <a:pos x="connsiteX50662" y="connsiteY50662"/>
              </a:cxn>
              <a:cxn ang="0">
                <a:pos x="connsiteX50663" y="connsiteY50663"/>
              </a:cxn>
              <a:cxn ang="0">
                <a:pos x="connsiteX50664" y="connsiteY50664"/>
              </a:cxn>
              <a:cxn ang="0">
                <a:pos x="connsiteX50665" y="connsiteY50665"/>
              </a:cxn>
              <a:cxn ang="0">
                <a:pos x="connsiteX50666" y="connsiteY50666"/>
              </a:cxn>
              <a:cxn ang="0">
                <a:pos x="connsiteX50667" y="connsiteY50667"/>
              </a:cxn>
              <a:cxn ang="0">
                <a:pos x="connsiteX50668" y="connsiteY50668"/>
              </a:cxn>
              <a:cxn ang="0">
                <a:pos x="connsiteX50669" y="connsiteY50669"/>
              </a:cxn>
              <a:cxn ang="0">
                <a:pos x="connsiteX50670" y="connsiteY50670"/>
              </a:cxn>
              <a:cxn ang="0">
                <a:pos x="connsiteX50671" y="connsiteY50671"/>
              </a:cxn>
              <a:cxn ang="0">
                <a:pos x="connsiteX50672" y="connsiteY50672"/>
              </a:cxn>
              <a:cxn ang="0">
                <a:pos x="connsiteX50673" y="connsiteY50673"/>
              </a:cxn>
              <a:cxn ang="0">
                <a:pos x="connsiteX50674" y="connsiteY50674"/>
              </a:cxn>
              <a:cxn ang="0">
                <a:pos x="connsiteX50675" y="connsiteY50675"/>
              </a:cxn>
              <a:cxn ang="0">
                <a:pos x="connsiteX50676" y="connsiteY50676"/>
              </a:cxn>
              <a:cxn ang="0">
                <a:pos x="connsiteX50677" y="connsiteY50677"/>
              </a:cxn>
              <a:cxn ang="0">
                <a:pos x="connsiteX50678" y="connsiteY50678"/>
              </a:cxn>
              <a:cxn ang="0">
                <a:pos x="connsiteX50679" y="connsiteY50679"/>
              </a:cxn>
              <a:cxn ang="0">
                <a:pos x="connsiteX50680" y="connsiteY50680"/>
              </a:cxn>
              <a:cxn ang="0">
                <a:pos x="connsiteX50681" y="connsiteY50681"/>
              </a:cxn>
              <a:cxn ang="0">
                <a:pos x="connsiteX50682" y="connsiteY50682"/>
              </a:cxn>
              <a:cxn ang="0">
                <a:pos x="connsiteX50683" y="connsiteY50683"/>
              </a:cxn>
              <a:cxn ang="0">
                <a:pos x="connsiteX50684" y="connsiteY50684"/>
              </a:cxn>
              <a:cxn ang="0">
                <a:pos x="connsiteX50685" y="connsiteY50685"/>
              </a:cxn>
              <a:cxn ang="0">
                <a:pos x="connsiteX50686" y="connsiteY50686"/>
              </a:cxn>
              <a:cxn ang="0">
                <a:pos x="connsiteX50687" y="connsiteY50687"/>
              </a:cxn>
              <a:cxn ang="0">
                <a:pos x="connsiteX50688" y="connsiteY50688"/>
              </a:cxn>
              <a:cxn ang="0">
                <a:pos x="connsiteX50689" y="connsiteY50689"/>
              </a:cxn>
              <a:cxn ang="0">
                <a:pos x="connsiteX50690" y="connsiteY50690"/>
              </a:cxn>
              <a:cxn ang="0">
                <a:pos x="connsiteX50691" y="connsiteY50691"/>
              </a:cxn>
              <a:cxn ang="0">
                <a:pos x="connsiteX50692" y="connsiteY50692"/>
              </a:cxn>
              <a:cxn ang="0">
                <a:pos x="connsiteX50693" y="connsiteY50693"/>
              </a:cxn>
              <a:cxn ang="0">
                <a:pos x="connsiteX50694" y="connsiteY50694"/>
              </a:cxn>
              <a:cxn ang="0">
                <a:pos x="connsiteX50695" y="connsiteY50695"/>
              </a:cxn>
              <a:cxn ang="0">
                <a:pos x="connsiteX50696" y="connsiteY50696"/>
              </a:cxn>
              <a:cxn ang="0">
                <a:pos x="connsiteX50697" y="connsiteY50697"/>
              </a:cxn>
              <a:cxn ang="0">
                <a:pos x="connsiteX50698" y="connsiteY50698"/>
              </a:cxn>
              <a:cxn ang="0">
                <a:pos x="connsiteX50699" y="connsiteY50699"/>
              </a:cxn>
              <a:cxn ang="0">
                <a:pos x="connsiteX50700" y="connsiteY50700"/>
              </a:cxn>
              <a:cxn ang="0">
                <a:pos x="connsiteX50701" y="connsiteY50701"/>
              </a:cxn>
              <a:cxn ang="0">
                <a:pos x="connsiteX50702" y="connsiteY50702"/>
              </a:cxn>
              <a:cxn ang="0">
                <a:pos x="connsiteX50703" y="connsiteY50703"/>
              </a:cxn>
              <a:cxn ang="0">
                <a:pos x="connsiteX50704" y="connsiteY50704"/>
              </a:cxn>
              <a:cxn ang="0">
                <a:pos x="connsiteX50705" y="connsiteY50705"/>
              </a:cxn>
              <a:cxn ang="0">
                <a:pos x="connsiteX50706" y="connsiteY50706"/>
              </a:cxn>
              <a:cxn ang="0">
                <a:pos x="connsiteX50707" y="connsiteY50707"/>
              </a:cxn>
              <a:cxn ang="0">
                <a:pos x="connsiteX50708" y="connsiteY50708"/>
              </a:cxn>
              <a:cxn ang="0">
                <a:pos x="connsiteX50709" y="connsiteY50709"/>
              </a:cxn>
              <a:cxn ang="0">
                <a:pos x="connsiteX50710" y="connsiteY50710"/>
              </a:cxn>
              <a:cxn ang="0">
                <a:pos x="connsiteX50711" y="connsiteY50711"/>
              </a:cxn>
              <a:cxn ang="0">
                <a:pos x="connsiteX50712" y="connsiteY50712"/>
              </a:cxn>
              <a:cxn ang="0">
                <a:pos x="connsiteX50713" y="connsiteY50713"/>
              </a:cxn>
              <a:cxn ang="0">
                <a:pos x="connsiteX50714" y="connsiteY50714"/>
              </a:cxn>
              <a:cxn ang="0">
                <a:pos x="connsiteX50715" y="connsiteY50715"/>
              </a:cxn>
              <a:cxn ang="0">
                <a:pos x="connsiteX50716" y="connsiteY50716"/>
              </a:cxn>
              <a:cxn ang="0">
                <a:pos x="connsiteX50717" y="connsiteY50717"/>
              </a:cxn>
              <a:cxn ang="0">
                <a:pos x="connsiteX50718" y="connsiteY50718"/>
              </a:cxn>
              <a:cxn ang="0">
                <a:pos x="connsiteX50719" y="connsiteY50719"/>
              </a:cxn>
              <a:cxn ang="0">
                <a:pos x="connsiteX50720" y="connsiteY50720"/>
              </a:cxn>
              <a:cxn ang="0">
                <a:pos x="connsiteX50721" y="connsiteY50721"/>
              </a:cxn>
              <a:cxn ang="0">
                <a:pos x="connsiteX50722" y="connsiteY50722"/>
              </a:cxn>
              <a:cxn ang="0">
                <a:pos x="connsiteX50723" y="connsiteY50723"/>
              </a:cxn>
              <a:cxn ang="0">
                <a:pos x="connsiteX50724" y="connsiteY50724"/>
              </a:cxn>
              <a:cxn ang="0">
                <a:pos x="connsiteX50725" y="connsiteY50725"/>
              </a:cxn>
              <a:cxn ang="0">
                <a:pos x="connsiteX50726" y="connsiteY50726"/>
              </a:cxn>
              <a:cxn ang="0">
                <a:pos x="connsiteX50727" y="connsiteY50727"/>
              </a:cxn>
              <a:cxn ang="0">
                <a:pos x="connsiteX50728" y="connsiteY50728"/>
              </a:cxn>
              <a:cxn ang="0">
                <a:pos x="connsiteX50729" y="connsiteY50729"/>
              </a:cxn>
              <a:cxn ang="0">
                <a:pos x="connsiteX50730" y="connsiteY50730"/>
              </a:cxn>
              <a:cxn ang="0">
                <a:pos x="connsiteX50731" y="connsiteY50731"/>
              </a:cxn>
              <a:cxn ang="0">
                <a:pos x="connsiteX50732" y="connsiteY50732"/>
              </a:cxn>
              <a:cxn ang="0">
                <a:pos x="connsiteX50733" y="connsiteY50733"/>
              </a:cxn>
              <a:cxn ang="0">
                <a:pos x="connsiteX50734" y="connsiteY50734"/>
              </a:cxn>
              <a:cxn ang="0">
                <a:pos x="connsiteX50735" y="connsiteY50735"/>
              </a:cxn>
              <a:cxn ang="0">
                <a:pos x="connsiteX50736" y="connsiteY50736"/>
              </a:cxn>
              <a:cxn ang="0">
                <a:pos x="connsiteX50737" y="connsiteY50737"/>
              </a:cxn>
              <a:cxn ang="0">
                <a:pos x="connsiteX50738" y="connsiteY50738"/>
              </a:cxn>
              <a:cxn ang="0">
                <a:pos x="connsiteX50739" y="connsiteY50739"/>
              </a:cxn>
              <a:cxn ang="0">
                <a:pos x="connsiteX50740" y="connsiteY50740"/>
              </a:cxn>
              <a:cxn ang="0">
                <a:pos x="connsiteX50741" y="connsiteY50741"/>
              </a:cxn>
              <a:cxn ang="0">
                <a:pos x="connsiteX50742" y="connsiteY50742"/>
              </a:cxn>
              <a:cxn ang="0">
                <a:pos x="connsiteX50743" y="connsiteY50743"/>
              </a:cxn>
              <a:cxn ang="0">
                <a:pos x="connsiteX50744" y="connsiteY50744"/>
              </a:cxn>
              <a:cxn ang="0">
                <a:pos x="connsiteX50745" y="connsiteY50745"/>
              </a:cxn>
              <a:cxn ang="0">
                <a:pos x="connsiteX50746" y="connsiteY50746"/>
              </a:cxn>
              <a:cxn ang="0">
                <a:pos x="connsiteX50747" y="connsiteY50747"/>
              </a:cxn>
              <a:cxn ang="0">
                <a:pos x="connsiteX50748" y="connsiteY50748"/>
              </a:cxn>
              <a:cxn ang="0">
                <a:pos x="connsiteX50749" y="connsiteY50749"/>
              </a:cxn>
              <a:cxn ang="0">
                <a:pos x="connsiteX50750" y="connsiteY50750"/>
              </a:cxn>
              <a:cxn ang="0">
                <a:pos x="connsiteX50751" y="connsiteY50751"/>
              </a:cxn>
              <a:cxn ang="0">
                <a:pos x="connsiteX50752" y="connsiteY50752"/>
              </a:cxn>
              <a:cxn ang="0">
                <a:pos x="connsiteX50753" y="connsiteY50753"/>
              </a:cxn>
              <a:cxn ang="0">
                <a:pos x="connsiteX50754" y="connsiteY50754"/>
              </a:cxn>
              <a:cxn ang="0">
                <a:pos x="connsiteX50755" y="connsiteY50755"/>
              </a:cxn>
              <a:cxn ang="0">
                <a:pos x="connsiteX50756" y="connsiteY50756"/>
              </a:cxn>
              <a:cxn ang="0">
                <a:pos x="connsiteX50757" y="connsiteY50757"/>
              </a:cxn>
              <a:cxn ang="0">
                <a:pos x="connsiteX50758" y="connsiteY50758"/>
              </a:cxn>
              <a:cxn ang="0">
                <a:pos x="connsiteX50759" y="connsiteY50759"/>
              </a:cxn>
              <a:cxn ang="0">
                <a:pos x="connsiteX50760" y="connsiteY50760"/>
              </a:cxn>
              <a:cxn ang="0">
                <a:pos x="connsiteX50761" y="connsiteY50761"/>
              </a:cxn>
              <a:cxn ang="0">
                <a:pos x="connsiteX50762" y="connsiteY50762"/>
              </a:cxn>
              <a:cxn ang="0">
                <a:pos x="connsiteX50763" y="connsiteY50763"/>
              </a:cxn>
              <a:cxn ang="0">
                <a:pos x="connsiteX50764" y="connsiteY50764"/>
              </a:cxn>
              <a:cxn ang="0">
                <a:pos x="connsiteX50765" y="connsiteY50765"/>
              </a:cxn>
              <a:cxn ang="0">
                <a:pos x="connsiteX50766" y="connsiteY50766"/>
              </a:cxn>
              <a:cxn ang="0">
                <a:pos x="connsiteX50767" y="connsiteY50767"/>
              </a:cxn>
              <a:cxn ang="0">
                <a:pos x="connsiteX50768" y="connsiteY50768"/>
              </a:cxn>
              <a:cxn ang="0">
                <a:pos x="connsiteX50769" y="connsiteY50769"/>
              </a:cxn>
              <a:cxn ang="0">
                <a:pos x="connsiteX50770" y="connsiteY50770"/>
              </a:cxn>
              <a:cxn ang="0">
                <a:pos x="connsiteX50771" y="connsiteY50771"/>
              </a:cxn>
              <a:cxn ang="0">
                <a:pos x="connsiteX50772" y="connsiteY50772"/>
              </a:cxn>
              <a:cxn ang="0">
                <a:pos x="connsiteX50773" y="connsiteY50773"/>
              </a:cxn>
              <a:cxn ang="0">
                <a:pos x="connsiteX50774" y="connsiteY50774"/>
              </a:cxn>
              <a:cxn ang="0">
                <a:pos x="connsiteX50775" y="connsiteY50775"/>
              </a:cxn>
              <a:cxn ang="0">
                <a:pos x="connsiteX50776" y="connsiteY50776"/>
              </a:cxn>
              <a:cxn ang="0">
                <a:pos x="connsiteX50777" y="connsiteY50777"/>
              </a:cxn>
              <a:cxn ang="0">
                <a:pos x="connsiteX50778" y="connsiteY50778"/>
              </a:cxn>
              <a:cxn ang="0">
                <a:pos x="connsiteX50779" y="connsiteY50779"/>
              </a:cxn>
              <a:cxn ang="0">
                <a:pos x="connsiteX50780" y="connsiteY50780"/>
              </a:cxn>
              <a:cxn ang="0">
                <a:pos x="connsiteX50781" y="connsiteY50781"/>
              </a:cxn>
              <a:cxn ang="0">
                <a:pos x="connsiteX50782" y="connsiteY50782"/>
              </a:cxn>
              <a:cxn ang="0">
                <a:pos x="connsiteX50783" y="connsiteY50783"/>
              </a:cxn>
              <a:cxn ang="0">
                <a:pos x="connsiteX50784" y="connsiteY50784"/>
              </a:cxn>
              <a:cxn ang="0">
                <a:pos x="connsiteX50785" y="connsiteY50785"/>
              </a:cxn>
              <a:cxn ang="0">
                <a:pos x="connsiteX50786" y="connsiteY50786"/>
              </a:cxn>
              <a:cxn ang="0">
                <a:pos x="connsiteX50787" y="connsiteY50787"/>
              </a:cxn>
              <a:cxn ang="0">
                <a:pos x="connsiteX50788" y="connsiteY50788"/>
              </a:cxn>
              <a:cxn ang="0">
                <a:pos x="connsiteX50789" y="connsiteY50789"/>
              </a:cxn>
              <a:cxn ang="0">
                <a:pos x="connsiteX50790" y="connsiteY50790"/>
              </a:cxn>
              <a:cxn ang="0">
                <a:pos x="connsiteX50791" y="connsiteY50791"/>
              </a:cxn>
              <a:cxn ang="0">
                <a:pos x="connsiteX50792" y="connsiteY50792"/>
              </a:cxn>
              <a:cxn ang="0">
                <a:pos x="connsiteX50793" y="connsiteY50793"/>
              </a:cxn>
              <a:cxn ang="0">
                <a:pos x="connsiteX50794" y="connsiteY50794"/>
              </a:cxn>
              <a:cxn ang="0">
                <a:pos x="connsiteX50795" y="connsiteY50795"/>
              </a:cxn>
              <a:cxn ang="0">
                <a:pos x="connsiteX50796" y="connsiteY50796"/>
              </a:cxn>
              <a:cxn ang="0">
                <a:pos x="connsiteX50797" y="connsiteY50797"/>
              </a:cxn>
              <a:cxn ang="0">
                <a:pos x="connsiteX50798" y="connsiteY50798"/>
              </a:cxn>
              <a:cxn ang="0">
                <a:pos x="connsiteX50799" y="connsiteY50799"/>
              </a:cxn>
              <a:cxn ang="0">
                <a:pos x="connsiteX50800" y="connsiteY50800"/>
              </a:cxn>
              <a:cxn ang="0">
                <a:pos x="connsiteX50801" y="connsiteY50801"/>
              </a:cxn>
              <a:cxn ang="0">
                <a:pos x="connsiteX50802" y="connsiteY50802"/>
              </a:cxn>
              <a:cxn ang="0">
                <a:pos x="connsiteX50803" y="connsiteY50803"/>
              </a:cxn>
              <a:cxn ang="0">
                <a:pos x="connsiteX50804" y="connsiteY50804"/>
              </a:cxn>
              <a:cxn ang="0">
                <a:pos x="connsiteX50805" y="connsiteY50805"/>
              </a:cxn>
              <a:cxn ang="0">
                <a:pos x="connsiteX50806" y="connsiteY50806"/>
              </a:cxn>
              <a:cxn ang="0">
                <a:pos x="connsiteX50807" y="connsiteY50807"/>
              </a:cxn>
              <a:cxn ang="0">
                <a:pos x="connsiteX50808" y="connsiteY50808"/>
              </a:cxn>
              <a:cxn ang="0">
                <a:pos x="connsiteX50809" y="connsiteY50809"/>
              </a:cxn>
              <a:cxn ang="0">
                <a:pos x="connsiteX50810" y="connsiteY50810"/>
              </a:cxn>
              <a:cxn ang="0">
                <a:pos x="connsiteX50811" y="connsiteY50811"/>
              </a:cxn>
              <a:cxn ang="0">
                <a:pos x="connsiteX50812" y="connsiteY50812"/>
              </a:cxn>
              <a:cxn ang="0">
                <a:pos x="connsiteX50813" y="connsiteY50813"/>
              </a:cxn>
              <a:cxn ang="0">
                <a:pos x="connsiteX50814" y="connsiteY50814"/>
              </a:cxn>
              <a:cxn ang="0">
                <a:pos x="connsiteX50815" y="connsiteY50815"/>
              </a:cxn>
              <a:cxn ang="0">
                <a:pos x="connsiteX50816" y="connsiteY50816"/>
              </a:cxn>
              <a:cxn ang="0">
                <a:pos x="connsiteX50817" y="connsiteY50817"/>
              </a:cxn>
              <a:cxn ang="0">
                <a:pos x="connsiteX50818" y="connsiteY50818"/>
              </a:cxn>
              <a:cxn ang="0">
                <a:pos x="connsiteX50819" y="connsiteY50819"/>
              </a:cxn>
              <a:cxn ang="0">
                <a:pos x="connsiteX50820" y="connsiteY50820"/>
              </a:cxn>
              <a:cxn ang="0">
                <a:pos x="connsiteX50821" y="connsiteY50821"/>
              </a:cxn>
              <a:cxn ang="0">
                <a:pos x="connsiteX50822" y="connsiteY50822"/>
              </a:cxn>
              <a:cxn ang="0">
                <a:pos x="connsiteX50823" y="connsiteY50823"/>
              </a:cxn>
              <a:cxn ang="0">
                <a:pos x="connsiteX50824" y="connsiteY50824"/>
              </a:cxn>
              <a:cxn ang="0">
                <a:pos x="connsiteX50825" y="connsiteY50825"/>
              </a:cxn>
              <a:cxn ang="0">
                <a:pos x="connsiteX50826" y="connsiteY50826"/>
              </a:cxn>
              <a:cxn ang="0">
                <a:pos x="connsiteX50827" y="connsiteY50827"/>
              </a:cxn>
              <a:cxn ang="0">
                <a:pos x="connsiteX50828" y="connsiteY50828"/>
              </a:cxn>
              <a:cxn ang="0">
                <a:pos x="connsiteX50829" y="connsiteY50829"/>
              </a:cxn>
              <a:cxn ang="0">
                <a:pos x="connsiteX50830" y="connsiteY50830"/>
              </a:cxn>
              <a:cxn ang="0">
                <a:pos x="connsiteX50831" y="connsiteY50831"/>
              </a:cxn>
              <a:cxn ang="0">
                <a:pos x="connsiteX50832" y="connsiteY50832"/>
              </a:cxn>
              <a:cxn ang="0">
                <a:pos x="connsiteX50833" y="connsiteY50833"/>
              </a:cxn>
              <a:cxn ang="0">
                <a:pos x="connsiteX50834" y="connsiteY50834"/>
              </a:cxn>
              <a:cxn ang="0">
                <a:pos x="connsiteX50835" y="connsiteY50835"/>
              </a:cxn>
              <a:cxn ang="0">
                <a:pos x="connsiteX50836" y="connsiteY50836"/>
              </a:cxn>
              <a:cxn ang="0">
                <a:pos x="connsiteX50837" y="connsiteY50837"/>
              </a:cxn>
              <a:cxn ang="0">
                <a:pos x="connsiteX50838" y="connsiteY50838"/>
              </a:cxn>
              <a:cxn ang="0">
                <a:pos x="connsiteX50839" y="connsiteY50839"/>
              </a:cxn>
              <a:cxn ang="0">
                <a:pos x="connsiteX50840" y="connsiteY50840"/>
              </a:cxn>
              <a:cxn ang="0">
                <a:pos x="connsiteX50841" y="connsiteY50841"/>
              </a:cxn>
              <a:cxn ang="0">
                <a:pos x="connsiteX50842" y="connsiteY50842"/>
              </a:cxn>
              <a:cxn ang="0">
                <a:pos x="connsiteX50843" y="connsiteY50843"/>
              </a:cxn>
              <a:cxn ang="0">
                <a:pos x="connsiteX50844" y="connsiteY50844"/>
              </a:cxn>
              <a:cxn ang="0">
                <a:pos x="connsiteX50845" y="connsiteY50845"/>
              </a:cxn>
              <a:cxn ang="0">
                <a:pos x="connsiteX50846" y="connsiteY50846"/>
              </a:cxn>
              <a:cxn ang="0">
                <a:pos x="connsiteX50847" y="connsiteY50847"/>
              </a:cxn>
              <a:cxn ang="0">
                <a:pos x="connsiteX50848" y="connsiteY50848"/>
              </a:cxn>
              <a:cxn ang="0">
                <a:pos x="connsiteX50849" y="connsiteY50849"/>
              </a:cxn>
              <a:cxn ang="0">
                <a:pos x="connsiteX50850" y="connsiteY50850"/>
              </a:cxn>
              <a:cxn ang="0">
                <a:pos x="connsiteX50851" y="connsiteY50851"/>
              </a:cxn>
              <a:cxn ang="0">
                <a:pos x="connsiteX50852" y="connsiteY50852"/>
              </a:cxn>
              <a:cxn ang="0">
                <a:pos x="connsiteX50853" y="connsiteY50853"/>
              </a:cxn>
              <a:cxn ang="0">
                <a:pos x="connsiteX50854" y="connsiteY50854"/>
              </a:cxn>
              <a:cxn ang="0">
                <a:pos x="connsiteX50855" y="connsiteY50855"/>
              </a:cxn>
              <a:cxn ang="0">
                <a:pos x="connsiteX50856" y="connsiteY50856"/>
              </a:cxn>
              <a:cxn ang="0">
                <a:pos x="connsiteX50857" y="connsiteY50857"/>
              </a:cxn>
              <a:cxn ang="0">
                <a:pos x="connsiteX50858" y="connsiteY50858"/>
              </a:cxn>
              <a:cxn ang="0">
                <a:pos x="connsiteX50859" y="connsiteY50859"/>
              </a:cxn>
              <a:cxn ang="0">
                <a:pos x="connsiteX50860" y="connsiteY50860"/>
              </a:cxn>
              <a:cxn ang="0">
                <a:pos x="connsiteX50861" y="connsiteY50861"/>
              </a:cxn>
              <a:cxn ang="0">
                <a:pos x="connsiteX50862" y="connsiteY50862"/>
              </a:cxn>
              <a:cxn ang="0">
                <a:pos x="connsiteX50863" y="connsiteY50863"/>
              </a:cxn>
              <a:cxn ang="0">
                <a:pos x="connsiteX50864" y="connsiteY50864"/>
              </a:cxn>
              <a:cxn ang="0">
                <a:pos x="connsiteX50865" y="connsiteY50865"/>
              </a:cxn>
              <a:cxn ang="0">
                <a:pos x="connsiteX50866" y="connsiteY50866"/>
              </a:cxn>
              <a:cxn ang="0">
                <a:pos x="connsiteX50867" y="connsiteY50867"/>
              </a:cxn>
              <a:cxn ang="0">
                <a:pos x="connsiteX50868" y="connsiteY50868"/>
              </a:cxn>
              <a:cxn ang="0">
                <a:pos x="connsiteX50869" y="connsiteY50869"/>
              </a:cxn>
              <a:cxn ang="0">
                <a:pos x="connsiteX50870" y="connsiteY50870"/>
              </a:cxn>
              <a:cxn ang="0">
                <a:pos x="connsiteX50871" y="connsiteY50871"/>
              </a:cxn>
              <a:cxn ang="0">
                <a:pos x="connsiteX50872" y="connsiteY50872"/>
              </a:cxn>
              <a:cxn ang="0">
                <a:pos x="connsiteX50873" y="connsiteY50873"/>
              </a:cxn>
              <a:cxn ang="0">
                <a:pos x="connsiteX50874" y="connsiteY50874"/>
              </a:cxn>
              <a:cxn ang="0">
                <a:pos x="connsiteX50875" y="connsiteY50875"/>
              </a:cxn>
              <a:cxn ang="0">
                <a:pos x="connsiteX50876" y="connsiteY50876"/>
              </a:cxn>
              <a:cxn ang="0">
                <a:pos x="connsiteX50877" y="connsiteY50877"/>
              </a:cxn>
              <a:cxn ang="0">
                <a:pos x="connsiteX50878" y="connsiteY50878"/>
              </a:cxn>
              <a:cxn ang="0">
                <a:pos x="connsiteX50879" y="connsiteY50879"/>
              </a:cxn>
              <a:cxn ang="0">
                <a:pos x="connsiteX50880" y="connsiteY50880"/>
              </a:cxn>
              <a:cxn ang="0">
                <a:pos x="connsiteX50881" y="connsiteY50881"/>
              </a:cxn>
              <a:cxn ang="0">
                <a:pos x="connsiteX50882" y="connsiteY50882"/>
              </a:cxn>
              <a:cxn ang="0">
                <a:pos x="connsiteX50883" y="connsiteY50883"/>
              </a:cxn>
              <a:cxn ang="0">
                <a:pos x="connsiteX50884" y="connsiteY50884"/>
              </a:cxn>
              <a:cxn ang="0">
                <a:pos x="connsiteX50885" y="connsiteY50885"/>
              </a:cxn>
              <a:cxn ang="0">
                <a:pos x="connsiteX50886" y="connsiteY50886"/>
              </a:cxn>
              <a:cxn ang="0">
                <a:pos x="connsiteX50887" y="connsiteY50887"/>
              </a:cxn>
              <a:cxn ang="0">
                <a:pos x="connsiteX50888" y="connsiteY50888"/>
              </a:cxn>
              <a:cxn ang="0">
                <a:pos x="connsiteX50889" y="connsiteY50889"/>
              </a:cxn>
              <a:cxn ang="0">
                <a:pos x="connsiteX50890" y="connsiteY50890"/>
              </a:cxn>
              <a:cxn ang="0">
                <a:pos x="connsiteX50891" y="connsiteY50891"/>
              </a:cxn>
              <a:cxn ang="0">
                <a:pos x="connsiteX50892" y="connsiteY50892"/>
              </a:cxn>
              <a:cxn ang="0">
                <a:pos x="connsiteX50893" y="connsiteY50893"/>
              </a:cxn>
              <a:cxn ang="0">
                <a:pos x="connsiteX50894" y="connsiteY50894"/>
              </a:cxn>
              <a:cxn ang="0">
                <a:pos x="connsiteX50895" y="connsiteY50895"/>
              </a:cxn>
              <a:cxn ang="0">
                <a:pos x="connsiteX50896" y="connsiteY50896"/>
              </a:cxn>
              <a:cxn ang="0">
                <a:pos x="connsiteX50897" y="connsiteY50897"/>
              </a:cxn>
              <a:cxn ang="0">
                <a:pos x="connsiteX50898" y="connsiteY50898"/>
              </a:cxn>
              <a:cxn ang="0">
                <a:pos x="connsiteX50899" y="connsiteY50899"/>
              </a:cxn>
              <a:cxn ang="0">
                <a:pos x="connsiteX50900" y="connsiteY50900"/>
              </a:cxn>
              <a:cxn ang="0">
                <a:pos x="connsiteX50901" y="connsiteY50901"/>
              </a:cxn>
              <a:cxn ang="0">
                <a:pos x="connsiteX50902" y="connsiteY50902"/>
              </a:cxn>
              <a:cxn ang="0">
                <a:pos x="connsiteX50903" y="connsiteY50903"/>
              </a:cxn>
              <a:cxn ang="0">
                <a:pos x="connsiteX50904" y="connsiteY50904"/>
              </a:cxn>
              <a:cxn ang="0">
                <a:pos x="connsiteX50905" y="connsiteY50905"/>
              </a:cxn>
              <a:cxn ang="0">
                <a:pos x="connsiteX50906" y="connsiteY50906"/>
              </a:cxn>
              <a:cxn ang="0">
                <a:pos x="connsiteX50907" y="connsiteY50907"/>
              </a:cxn>
              <a:cxn ang="0">
                <a:pos x="connsiteX50908" y="connsiteY50908"/>
              </a:cxn>
              <a:cxn ang="0">
                <a:pos x="connsiteX50909" y="connsiteY50909"/>
              </a:cxn>
              <a:cxn ang="0">
                <a:pos x="connsiteX50910" y="connsiteY50910"/>
              </a:cxn>
              <a:cxn ang="0">
                <a:pos x="connsiteX50911" y="connsiteY50911"/>
              </a:cxn>
              <a:cxn ang="0">
                <a:pos x="connsiteX50912" y="connsiteY50912"/>
              </a:cxn>
              <a:cxn ang="0">
                <a:pos x="connsiteX50913" y="connsiteY50913"/>
              </a:cxn>
              <a:cxn ang="0">
                <a:pos x="connsiteX50914" y="connsiteY50914"/>
              </a:cxn>
              <a:cxn ang="0">
                <a:pos x="connsiteX50915" y="connsiteY50915"/>
              </a:cxn>
              <a:cxn ang="0">
                <a:pos x="connsiteX50916" y="connsiteY50916"/>
              </a:cxn>
              <a:cxn ang="0">
                <a:pos x="connsiteX50917" y="connsiteY50917"/>
              </a:cxn>
              <a:cxn ang="0">
                <a:pos x="connsiteX50918" y="connsiteY50918"/>
              </a:cxn>
              <a:cxn ang="0">
                <a:pos x="connsiteX50919" y="connsiteY50919"/>
              </a:cxn>
              <a:cxn ang="0">
                <a:pos x="connsiteX50920" y="connsiteY50920"/>
              </a:cxn>
              <a:cxn ang="0">
                <a:pos x="connsiteX50921" y="connsiteY50921"/>
              </a:cxn>
              <a:cxn ang="0">
                <a:pos x="connsiteX50922" y="connsiteY50922"/>
              </a:cxn>
              <a:cxn ang="0">
                <a:pos x="connsiteX50923" y="connsiteY50923"/>
              </a:cxn>
              <a:cxn ang="0">
                <a:pos x="connsiteX50924" y="connsiteY50924"/>
              </a:cxn>
              <a:cxn ang="0">
                <a:pos x="connsiteX50925" y="connsiteY50925"/>
              </a:cxn>
              <a:cxn ang="0">
                <a:pos x="connsiteX50926" y="connsiteY50926"/>
              </a:cxn>
              <a:cxn ang="0">
                <a:pos x="connsiteX50927" y="connsiteY50927"/>
              </a:cxn>
              <a:cxn ang="0">
                <a:pos x="connsiteX50928" y="connsiteY50928"/>
              </a:cxn>
              <a:cxn ang="0">
                <a:pos x="connsiteX50929" y="connsiteY50929"/>
              </a:cxn>
              <a:cxn ang="0">
                <a:pos x="connsiteX50930" y="connsiteY50930"/>
              </a:cxn>
              <a:cxn ang="0">
                <a:pos x="connsiteX50931" y="connsiteY50931"/>
              </a:cxn>
              <a:cxn ang="0">
                <a:pos x="connsiteX50932" y="connsiteY50932"/>
              </a:cxn>
              <a:cxn ang="0">
                <a:pos x="connsiteX50933" y="connsiteY50933"/>
              </a:cxn>
              <a:cxn ang="0">
                <a:pos x="connsiteX50934" y="connsiteY50934"/>
              </a:cxn>
              <a:cxn ang="0">
                <a:pos x="connsiteX50935" y="connsiteY50935"/>
              </a:cxn>
              <a:cxn ang="0">
                <a:pos x="connsiteX50936" y="connsiteY50936"/>
              </a:cxn>
              <a:cxn ang="0">
                <a:pos x="connsiteX50937" y="connsiteY50937"/>
              </a:cxn>
              <a:cxn ang="0">
                <a:pos x="connsiteX50938" y="connsiteY50938"/>
              </a:cxn>
              <a:cxn ang="0">
                <a:pos x="connsiteX50939" y="connsiteY50939"/>
              </a:cxn>
              <a:cxn ang="0">
                <a:pos x="connsiteX50940" y="connsiteY50940"/>
              </a:cxn>
              <a:cxn ang="0">
                <a:pos x="connsiteX50941" y="connsiteY50941"/>
              </a:cxn>
              <a:cxn ang="0">
                <a:pos x="connsiteX50942" y="connsiteY50942"/>
              </a:cxn>
              <a:cxn ang="0">
                <a:pos x="connsiteX50943" y="connsiteY50943"/>
              </a:cxn>
              <a:cxn ang="0">
                <a:pos x="connsiteX50944" y="connsiteY50944"/>
              </a:cxn>
              <a:cxn ang="0">
                <a:pos x="connsiteX50945" y="connsiteY50945"/>
              </a:cxn>
              <a:cxn ang="0">
                <a:pos x="connsiteX50946" y="connsiteY50946"/>
              </a:cxn>
              <a:cxn ang="0">
                <a:pos x="connsiteX50947" y="connsiteY50947"/>
              </a:cxn>
              <a:cxn ang="0">
                <a:pos x="connsiteX50948" y="connsiteY50948"/>
              </a:cxn>
              <a:cxn ang="0">
                <a:pos x="connsiteX50949" y="connsiteY50949"/>
              </a:cxn>
              <a:cxn ang="0">
                <a:pos x="connsiteX50950" y="connsiteY50950"/>
              </a:cxn>
              <a:cxn ang="0">
                <a:pos x="connsiteX50951" y="connsiteY50951"/>
              </a:cxn>
              <a:cxn ang="0">
                <a:pos x="connsiteX50952" y="connsiteY50952"/>
              </a:cxn>
              <a:cxn ang="0">
                <a:pos x="connsiteX50953" y="connsiteY50953"/>
              </a:cxn>
              <a:cxn ang="0">
                <a:pos x="connsiteX50954" y="connsiteY50954"/>
              </a:cxn>
              <a:cxn ang="0">
                <a:pos x="connsiteX50955" y="connsiteY50955"/>
              </a:cxn>
              <a:cxn ang="0">
                <a:pos x="connsiteX50956" y="connsiteY50956"/>
              </a:cxn>
              <a:cxn ang="0">
                <a:pos x="connsiteX50957" y="connsiteY50957"/>
              </a:cxn>
              <a:cxn ang="0">
                <a:pos x="connsiteX50958" y="connsiteY50958"/>
              </a:cxn>
              <a:cxn ang="0">
                <a:pos x="connsiteX50959" y="connsiteY50959"/>
              </a:cxn>
              <a:cxn ang="0">
                <a:pos x="connsiteX50960" y="connsiteY50960"/>
              </a:cxn>
              <a:cxn ang="0">
                <a:pos x="connsiteX50961" y="connsiteY50961"/>
              </a:cxn>
              <a:cxn ang="0">
                <a:pos x="connsiteX50962" y="connsiteY50962"/>
              </a:cxn>
              <a:cxn ang="0">
                <a:pos x="connsiteX50963" y="connsiteY50963"/>
              </a:cxn>
              <a:cxn ang="0">
                <a:pos x="connsiteX50964" y="connsiteY50964"/>
              </a:cxn>
              <a:cxn ang="0">
                <a:pos x="connsiteX50965" y="connsiteY50965"/>
              </a:cxn>
              <a:cxn ang="0">
                <a:pos x="connsiteX50966" y="connsiteY50966"/>
              </a:cxn>
              <a:cxn ang="0">
                <a:pos x="connsiteX50967" y="connsiteY50967"/>
              </a:cxn>
              <a:cxn ang="0">
                <a:pos x="connsiteX50968" y="connsiteY50968"/>
              </a:cxn>
              <a:cxn ang="0">
                <a:pos x="connsiteX50969" y="connsiteY50969"/>
              </a:cxn>
              <a:cxn ang="0">
                <a:pos x="connsiteX50970" y="connsiteY50970"/>
              </a:cxn>
              <a:cxn ang="0">
                <a:pos x="connsiteX50971" y="connsiteY50971"/>
              </a:cxn>
              <a:cxn ang="0">
                <a:pos x="connsiteX50972" y="connsiteY50972"/>
              </a:cxn>
              <a:cxn ang="0">
                <a:pos x="connsiteX50973" y="connsiteY50973"/>
              </a:cxn>
              <a:cxn ang="0">
                <a:pos x="connsiteX50974" y="connsiteY50974"/>
              </a:cxn>
              <a:cxn ang="0">
                <a:pos x="connsiteX50975" y="connsiteY50975"/>
              </a:cxn>
              <a:cxn ang="0">
                <a:pos x="connsiteX50976" y="connsiteY50976"/>
              </a:cxn>
              <a:cxn ang="0">
                <a:pos x="connsiteX50977" y="connsiteY50977"/>
              </a:cxn>
              <a:cxn ang="0">
                <a:pos x="connsiteX50978" y="connsiteY50978"/>
              </a:cxn>
              <a:cxn ang="0">
                <a:pos x="connsiteX50979" y="connsiteY50979"/>
              </a:cxn>
              <a:cxn ang="0">
                <a:pos x="connsiteX50980" y="connsiteY50980"/>
              </a:cxn>
              <a:cxn ang="0">
                <a:pos x="connsiteX50981" y="connsiteY50981"/>
              </a:cxn>
              <a:cxn ang="0">
                <a:pos x="connsiteX50982" y="connsiteY50982"/>
              </a:cxn>
              <a:cxn ang="0">
                <a:pos x="connsiteX50983" y="connsiteY50983"/>
              </a:cxn>
              <a:cxn ang="0">
                <a:pos x="connsiteX50984" y="connsiteY50984"/>
              </a:cxn>
              <a:cxn ang="0">
                <a:pos x="connsiteX50985" y="connsiteY50985"/>
              </a:cxn>
              <a:cxn ang="0">
                <a:pos x="connsiteX50986" y="connsiteY50986"/>
              </a:cxn>
              <a:cxn ang="0">
                <a:pos x="connsiteX50987" y="connsiteY50987"/>
              </a:cxn>
              <a:cxn ang="0">
                <a:pos x="connsiteX50988" y="connsiteY50988"/>
              </a:cxn>
              <a:cxn ang="0">
                <a:pos x="connsiteX50989" y="connsiteY50989"/>
              </a:cxn>
              <a:cxn ang="0">
                <a:pos x="connsiteX50990" y="connsiteY50990"/>
              </a:cxn>
              <a:cxn ang="0">
                <a:pos x="connsiteX50991" y="connsiteY50991"/>
              </a:cxn>
              <a:cxn ang="0">
                <a:pos x="connsiteX50992" y="connsiteY50992"/>
              </a:cxn>
              <a:cxn ang="0">
                <a:pos x="connsiteX50993" y="connsiteY50993"/>
              </a:cxn>
              <a:cxn ang="0">
                <a:pos x="connsiteX50994" y="connsiteY50994"/>
              </a:cxn>
              <a:cxn ang="0">
                <a:pos x="connsiteX50995" y="connsiteY50995"/>
              </a:cxn>
              <a:cxn ang="0">
                <a:pos x="connsiteX50996" y="connsiteY50996"/>
              </a:cxn>
              <a:cxn ang="0">
                <a:pos x="connsiteX50997" y="connsiteY50997"/>
              </a:cxn>
              <a:cxn ang="0">
                <a:pos x="connsiteX50998" y="connsiteY50998"/>
              </a:cxn>
              <a:cxn ang="0">
                <a:pos x="connsiteX50999" y="connsiteY50999"/>
              </a:cxn>
              <a:cxn ang="0">
                <a:pos x="connsiteX51000" y="connsiteY51000"/>
              </a:cxn>
              <a:cxn ang="0">
                <a:pos x="connsiteX51001" y="connsiteY51001"/>
              </a:cxn>
              <a:cxn ang="0">
                <a:pos x="connsiteX51002" y="connsiteY51002"/>
              </a:cxn>
              <a:cxn ang="0">
                <a:pos x="connsiteX51003" y="connsiteY51003"/>
              </a:cxn>
              <a:cxn ang="0">
                <a:pos x="connsiteX51004" y="connsiteY51004"/>
              </a:cxn>
              <a:cxn ang="0">
                <a:pos x="connsiteX51005" y="connsiteY51005"/>
              </a:cxn>
              <a:cxn ang="0">
                <a:pos x="connsiteX51006" y="connsiteY51006"/>
              </a:cxn>
              <a:cxn ang="0">
                <a:pos x="connsiteX51007" y="connsiteY51007"/>
              </a:cxn>
              <a:cxn ang="0">
                <a:pos x="connsiteX51008" y="connsiteY51008"/>
              </a:cxn>
              <a:cxn ang="0">
                <a:pos x="connsiteX51009" y="connsiteY51009"/>
              </a:cxn>
              <a:cxn ang="0">
                <a:pos x="connsiteX51010" y="connsiteY51010"/>
              </a:cxn>
              <a:cxn ang="0">
                <a:pos x="connsiteX51011" y="connsiteY51011"/>
              </a:cxn>
              <a:cxn ang="0">
                <a:pos x="connsiteX51012" y="connsiteY51012"/>
              </a:cxn>
              <a:cxn ang="0">
                <a:pos x="connsiteX51013" y="connsiteY51013"/>
              </a:cxn>
              <a:cxn ang="0">
                <a:pos x="connsiteX51014" y="connsiteY51014"/>
              </a:cxn>
              <a:cxn ang="0">
                <a:pos x="connsiteX51015" y="connsiteY51015"/>
              </a:cxn>
              <a:cxn ang="0">
                <a:pos x="connsiteX51016" y="connsiteY51016"/>
              </a:cxn>
              <a:cxn ang="0">
                <a:pos x="connsiteX51017" y="connsiteY51017"/>
              </a:cxn>
              <a:cxn ang="0">
                <a:pos x="connsiteX51018" y="connsiteY51018"/>
              </a:cxn>
              <a:cxn ang="0">
                <a:pos x="connsiteX51019" y="connsiteY51019"/>
              </a:cxn>
              <a:cxn ang="0">
                <a:pos x="connsiteX51020" y="connsiteY51020"/>
              </a:cxn>
              <a:cxn ang="0">
                <a:pos x="connsiteX51021" y="connsiteY51021"/>
              </a:cxn>
              <a:cxn ang="0">
                <a:pos x="connsiteX51022" y="connsiteY51022"/>
              </a:cxn>
              <a:cxn ang="0">
                <a:pos x="connsiteX51023" y="connsiteY51023"/>
              </a:cxn>
              <a:cxn ang="0">
                <a:pos x="connsiteX51024" y="connsiteY51024"/>
              </a:cxn>
              <a:cxn ang="0">
                <a:pos x="connsiteX51025" y="connsiteY51025"/>
              </a:cxn>
              <a:cxn ang="0">
                <a:pos x="connsiteX51026" y="connsiteY51026"/>
              </a:cxn>
              <a:cxn ang="0">
                <a:pos x="connsiteX51027" y="connsiteY51027"/>
              </a:cxn>
              <a:cxn ang="0">
                <a:pos x="connsiteX51028" y="connsiteY51028"/>
              </a:cxn>
              <a:cxn ang="0">
                <a:pos x="connsiteX51029" y="connsiteY51029"/>
              </a:cxn>
              <a:cxn ang="0">
                <a:pos x="connsiteX51030" y="connsiteY51030"/>
              </a:cxn>
              <a:cxn ang="0">
                <a:pos x="connsiteX51031" y="connsiteY51031"/>
              </a:cxn>
              <a:cxn ang="0">
                <a:pos x="connsiteX51032" y="connsiteY51032"/>
              </a:cxn>
              <a:cxn ang="0">
                <a:pos x="connsiteX51033" y="connsiteY51033"/>
              </a:cxn>
              <a:cxn ang="0">
                <a:pos x="connsiteX51034" y="connsiteY51034"/>
              </a:cxn>
              <a:cxn ang="0">
                <a:pos x="connsiteX51035" y="connsiteY51035"/>
              </a:cxn>
              <a:cxn ang="0">
                <a:pos x="connsiteX51036" y="connsiteY51036"/>
              </a:cxn>
              <a:cxn ang="0">
                <a:pos x="connsiteX51037" y="connsiteY51037"/>
              </a:cxn>
              <a:cxn ang="0">
                <a:pos x="connsiteX51038" y="connsiteY51038"/>
              </a:cxn>
              <a:cxn ang="0">
                <a:pos x="connsiteX51039" y="connsiteY51039"/>
              </a:cxn>
              <a:cxn ang="0">
                <a:pos x="connsiteX51040" y="connsiteY51040"/>
              </a:cxn>
              <a:cxn ang="0">
                <a:pos x="connsiteX51041" y="connsiteY51041"/>
              </a:cxn>
              <a:cxn ang="0">
                <a:pos x="connsiteX51042" y="connsiteY51042"/>
              </a:cxn>
              <a:cxn ang="0">
                <a:pos x="connsiteX51043" y="connsiteY51043"/>
              </a:cxn>
              <a:cxn ang="0">
                <a:pos x="connsiteX51044" y="connsiteY51044"/>
              </a:cxn>
              <a:cxn ang="0">
                <a:pos x="connsiteX51045" y="connsiteY51045"/>
              </a:cxn>
              <a:cxn ang="0">
                <a:pos x="connsiteX51046" y="connsiteY51046"/>
              </a:cxn>
              <a:cxn ang="0">
                <a:pos x="connsiteX51047" y="connsiteY51047"/>
              </a:cxn>
              <a:cxn ang="0">
                <a:pos x="connsiteX51048" y="connsiteY51048"/>
              </a:cxn>
              <a:cxn ang="0">
                <a:pos x="connsiteX51049" y="connsiteY51049"/>
              </a:cxn>
              <a:cxn ang="0">
                <a:pos x="connsiteX51050" y="connsiteY51050"/>
              </a:cxn>
              <a:cxn ang="0">
                <a:pos x="connsiteX51051" y="connsiteY51051"/>
              </a:cxn>
              <a:cxn ang="0">
                <a:pos x="connsiteX51052" y="connsiteY51052"/>
              </a:cxn>
              <a:cxn ang="0">
                <a:pos x="connsiteX51053" y="connsiteY51053"/>
              </a:cxn>
              <a:cxn ang="0">
                <a:pos x="connsiteX51054" y="connsiteY51054"/>
              </a:cxn>
              <a:cxn ang="0">
                <a:pos x="connsiteX51055" y="connsiteY51055"/>
              </a:cxn>
              <a:cxn ang="0">
                <a:pos x="connsiteX51056" y="connsiteY51056"/>
              </a:cxn>
              <a:cxn ang="0">
                <a:pos x="connsiteX51057" y="connsiteY51057"/>
              </a:cxn>
              <a:cxn ang="0">
                <a:pos x="connsiteX51058" y="connsiteY51058"/>
              </a:cxn>
              <a:cxn ang="0">
                <a:pos x="connsiteX51059" y="connsiteY51059"/>
              </a:cxn>
              <a:cxn ang="0">
                <a:pos x="connsiteX51060" y="connsiteY51060"/>
              </a:cxn>
              <a:cxn ang="0">
                <a:pos x="connsiteX51061" y="connsiteY51061"/>
              </a:cxn>
              <a:cxn ang="0">
                <a:pos x="connsiteX51062" y="connsiteY51062"/>
              </a:cxn>
              <a:cxn ang="0">
                <a:pos x="connsiteX51063" y="connsiteY51063"/>
              </a:cxn>
              <a:cxn ang="0">
                <a:pos x="connsiteX51064" y="connsiteY51064"/>
              </a:cxn>
              <a:cxn ang="0">
                <a:pos x="connsiteX51065" y="connsiteY51065"/>
              </a:cxn>
              <a:cxn ang="0">
                <a:pos x="connsiteX51066" y="connsiteY51066"/>
              </a:cxn>
              <a:cxn ang="0">
                <a:pos x="connsiteX51067" y="connsiteY51067"/>
              </a:cxn>
              <a:cxn ang="0">
                <a:pos x="connsiteX51068" y="connsiteY51068"/>
              </a:cxn>
              <a:cxn ang="0">
                <a:pos x="connsiteX51069" y="connsiteY51069"/>
              </a:cxn>
              <a:cxn ang="0">
                <a:pos x="connsiteX51070" y="connsiteY51070"/>
              </a:cxn>
              <a:cxn ang="0">
                <a:pos x="connsiteX51071" y="connsiteY51071"/>
              </a:cxn>
              <a:cxn ang="0">
                <a:pos x="connsiteX51072" y="connsiteY51072"/>
              </a:cxn>
              <a:cxn ang="0">
                <a:pos x="connsiteX51073" y="connsiteY51073"/>
              </a:cxn>
              <a:cxn ang="0">
                <a:pos x="connsiteX51074" y="connsiteY51074"/>
              </a:cxn>
              <a:cxn ang="0">
                <a:pos x="connsiteX51075" y="connsiteY51075"/>
              </a:cxn>
              <a:cxn ang="0">
                <a:pos x="connsiteX51076" y="connsiteY51076"/>
              </a:cxn>
              <a:cxn ang="0">
                <a:pos x="connsiteX51077" y="connsiteY51077"/>
              </a:cxn>
              <a:cxn ang="0">
                <a:pos x="connsiteX51078" y="connsiteY51078"/>
              </a:cxn>
              <a:cxn ang="0">
                <a:pos x="connsiteX51079" y="connsiteY51079"/>
              </a:cxn>
              <a:cxn ang="0">
                <a:pos x="connsiteX51080" y="connsiteY51080"/>
              </a:cxn>
              <a:cxn ang="0">
                <a:pos x="connsiteX51081" y="connsiteY51081"/>
              </a:cxn>
              <a:cxn ang="0">
                <a:pos x="connsiteX51082" y="connsiteY51082"/>
              </a:cxn>
              <a:cxn ang="0">
                <a:pos x="connsiteX51083" y="connsiteY51083"/>
              </a:cxn>
              <a:cxn ang="0">
                <a:pos x="connsiteX51084" y="connsiteY51084"/>
              </a:cxn>
              <a:cxn ang="0">
                <a:pos x="connsiteX51085" y="connsiteY51085"/>
              </a:cxn>
              <a:cxn ang="0">
                <a:pos x="connsiteX51086" y="connsiteY51086"/>
              </a:cxn>
              <a:cxn ang="0">
                <a:pos x="connsiteX51087" y="connsiteY51087"/>
              </a:cxn>
              <a:cxn ang="0">
                <a:pos x="connsiteX51088" y="connsiteY51088"/>
              </a:cxn>
              <a:cxn ang="0">
                <a:pos x="connsiteX51089" y="connsiteY51089"/>
              </a:cxn>
              <a:cxn ang="0">
                <a:pos x="connsiteX51090" y="connsiteY51090"/>
              </a:cxn>
              <a:cxn ang="0">
                <a:pos x="connsiteX51091" y="connsiteY51091"/>
              </a:cxn>
              <a:cxn ang="0">
                <a:pos x="connsiteX51092" y="connsiteY51092"/>
              </a:cxn>
              <a:cxn ang="0">
                <a:pos x="connsiteX51093" y="connsiteY51093"/>
              </a:cxn>
              <a:cxn ang="0">
                <a:pos x="connsiteX51094" y="connsiteY51094"/>
              </a:cxn>
              <a:cxn ang="0">
                <a:pos x="connsiteX51095" y="connsiteY51095"/>
              </a:cxn>
              <a:cxn ang="0">
                <a:pos x="connsiteX51096" y="connsiteY51096"/>
              </a:cxn>
              <a:cxn ang="0">
                <a:pos x="connsiteX51097" y="connsiteY51097"/>
              </a:cxn>
              <a:cxn ang="0">
                <a:pos x="connsiteX51098" y="connsiteY51098"/>
              </a:cxn>
              <a:cxn ang="0">
                <a:pos x="connsiteX51099" y="connsiteY51099"/>
              </a:cxn>
              <a:cxn ang="0">
                <a:pos x="connsiteX51100" y="connsiteY51100"/>
              </a:cxn>
              <a:cxn ang="0">
                <a:pos x="connsiteX51101" y="connsiteY51101"/>
              </a:cxn>
              <a:cxn ang="0">
                <a:pos x="connsiteX51102" y="connsiteY51102"/>
              </a:cxn>
              <a:cxn ang="0">
                <a:pos x="connsiteX51103" y="connsiteY51103"/>
              </a:cxn>
              <a:cxn ang="0">
                <a:pos x="connsiteX51104" y="connsiteY51104"/>
              </a:cxn>
              <a:cxn ang="0">
                <a:pos x="connsiteX51105" y="connsiteY51105"/>
              </a:cxn>
              <a:cxn ang="0">
                <a:pos x="connsiteX51106" y="connsiteY51106"/>
              </a:cxn>
              <a:cxn ang="0">
                <a:pos x="connsiteX51107" y="connsiteY51107"/>
              </a:cxn>
              <a:cxn ang="0">
                <a:pos x="connsiteX51108" y="connsiteY51108"/>
              </a:cxn>
              <a:cxn ang="0">
                <a:pos x="connsiteX51109" y="connsiteY51109"/>
              </a:cxn>
              <a:cxn ang="0">
                <a:pos x="connsiteX51110" y="connsiteY51110"/>
              </a:cxn>
              <a:cxn ang="0">
                <a:pos x="connsiteX51111" y="connsiteY51111"/>
              </a:cxn>
              <a:cxn ang="0">
                <a:pos x="connsiteX51112" y="connsiteY51112"/>
              </a:cxn>
              <a:cxn ang="0">
                <a:pos x="connsiteX51113" y="connsiteY51113"/>
              </a:cxn>
              <a:cxn ang="0">
                <a:pos x="connsiteX51114" y="connsiteY51114"/>
              </a:cxn>
              <a:cxn ang="0">
                <a:pos x="connsiteX51115" y="connsiteY51115"/>
              </a:cxn>
              <a:cxn ang="0">
                <a:pos x="connsiteX51116" y="connsiteY51116"/>
              </a:cxn>
              <a:cxn ang="0">
                <a:pos x="connsiteX51117" y="connsiteY51117"/>
              </a:cxn>
              <a:cxn ang="0">
                <a:pos x="connsiteX51118" y="connsiteY51118"/>
              </a:cxn>
              <a:cxn ang="0">
                <a:pos x="connsiteX51119" y="connsiteY51119"/>
              </a:cxn>
              <a:cxn ang="0">
                <a:pos x="connsiteX51120" y="connsiteY51120"/>
              </a:cxn>
              <a:cxn ang="0">
                <a:pos x="connsiteX51121" y="connsiteY51121"/>
              </a:cxn>
              <a:cxn ang="0">
                <a:pos x="connsiteX51122" y="connsiteY51122"/>
              </a:cxn>
              <a:cxn ang="0">
                <a:pos x="connsiteX51123" y="connsiteY51123"/>
              </a:cxn>
              <a:cxn ang="0">
                <a:pos x="connsiteX51124" y="connsiteY51124"/>
              </a:cxn>
              <a:cxn ang="0">
                <a:pos x="connsiteX51125" y="connsiteY51125"/>
              </a:cxn>
              <a:cxn ang="0">
                <a:pos x="connsiteX51126" y="connsiteY51126"/>
              </a:cxn>
              <a:cxn ang="0">
                <a:pos x="connsiteX51127" y="connsiteY51127"/>
              </a:cxn>
              <a:cxn ang="0">
                <a:pos x="connsiteX51128" y="connsiteY51128"/>
              </a:cxn>
              <a:cxn ang="0">
                <a:pos x="connsiteX51129" y="connsiteY51129"/>
              </a:cxn>
              <a:cxn ang="0">
                <a:pos x="connsiteX51130" y="connsiteY51130"/>
              </a:cxn>
              <a:cxn ang="0">
                <a:pos x="connsiteX51131" y="connsiteY51131"/>
              </a:cxn>
              <a:cxn ang="0">
                <a:pos x="connsiteX51132" y="connsiteY51132"/>
              </a:cxn>
              <a:cxn ang="0">
                <a:pos x="connsiteX51133" y="connsiteY51133"/>
              </a:cxn>
              <a:cxn ang="0">
                <a:pos x="connsiteX51134" y="connsiteY51134"/>
              </a:cxn>
              <a:cxn ang="0">
                <a:pos x="connsiteX51135" y="connsiteY51135"/>
              </a:cxn>
              <a:cxn ang="0">
                <a:pos x="connsiteX51136" y="connsiteY51136"/>
              </a:cxn>
              <a:cxn ang="0">
                <a:pos x="connsiteX51137" y="connsiteY51137"/>
              </a:cxn>
              <a:cxn ang="0">
                <a:pos x="connsiteX51138" y="connsiteY51138"/>
              </a:cxn>
              <a:cxn ang="0">
                <a:pos x="connsiteX51139" y="connsiteY51139"/>
              </a:cxn>
              <a:cxn ang="0">
                <a:pos x="connsiteX51140" y="connsiteY51140"/>
              </a:cxn>
              <a:cxn ang="0">
                <a:pos x="connsiteX51141" y="connsiteY51141"/>
              </a:cxn>
              <a:cxn ang="0">
                <a:pos x="connsiteX51142" y="connsiteY51142"/>
              </a:cxn>
              <a:cxn ang="0">
                <a:pos x="connsiteX51143" y="connsiteY51143"/>
              </a:cxn>
              <a:cxn ang="0">
                <a:pos x="connsiteX51144" y="connsiteY51144"/>
              </a:cxn>
              <a:cxn ang="0">
                <a:pos x="connsiteX51145" y="connsiteY51145"/>
              </a:cxn>
              <a:cxn ang="0">
                <a:pos x="connsiteX51146" y="connsiteY51146"/>
              </a:cxn>
              <a:cxn ang="0">
                <a:pos x="connsiteX51147" y="connsiteY51147"/>
              </a:cxn>
              <a:cxn ang="0">
                <a:pos x="connsiteX51148" y="connsiteY51148"/>
              </a:cxn>
              <a:cxn ang="0">
                <a:pos x="connsiteX51149" y="connsiteY51149"/>
              </a:cxn>
              <a:cxn ang="0">
                <a:pos x="connsiteX51150" y="connsiteY51150"/>
              </a:cxn>
              <a:cxn ang="0">
                <a:pos x="connsiteX51151" y="connsiteY51151"/>
              </a:cxn>
              <a:cxn ang="0">
                <a:pos x="connsiteX51152" y="connsiteY51152"/>
              </a:cxn>
              <a:cxn ang="0">
                <a:pos x="connsiteX51153" y="connsiteY51153"/>
              </a:cxn>
              <a:cxn ang="0">
                <a:pos x="connsiteX51154" y="connsiteY51154"/>
              </a:cxn>
              <a:cxn ang="0">
                <a:pos x="connsiteX51155" y="connsiteY51155"/>
              </a:cxn>
              <a:cxn ang="0">
                <a:pos x="connsiteX51156" y="connsiteY51156"/>
              </a:cxn>
              <a:cxn ang="0">
                <a:pos x="connsiteX51157" y="connsiteY51157"/>
              </a:cxn>
              <a:cxn ang="0">
                <a:pos x="connsiteX51158" y="connsiteY51158"/>
              </a:cxn>
              <a:cxn ang="0">
                <a:pos x="connsiteX51159" y="connsiteY51159"/>
              </a:cxn>
              <a:cxn ang="0">
                <a:pos x="connsiteX51160" y="connsiteY51160"/>
              </a:cxn>
              <a:cxn ang="0">
                <a:pos x="connsiteX51161" y="connsiteY51161"/>
              </a:cxn>
              <a:cxn ang="0">
                <a:pos x="connsiteX51162" y="connsiteY51162"/>
              </a:cxn>
              <a:cxn ang="0">
                <a:pos x="connsiteX51163" y="connsiteY51163"/>
              </a:cxn>
              <a:cxn ang="0">
                <a:pos x="connsiteX51164" y="connsiteY51164"/>
              </a:cxn>
              <a:cxn ang="0">
                <a:pos x="connsiteX51165" y="connsiteY51165"/>
              </a:cxn>
              <a:cxn ang="0">
                <a:pos x="connsiteX51166" y="connsiteY51166"/>
              </a:cxn>
              <a:cxn ang="0">
                <a:pos x="connsiteX51167" y="connsiteY51167"/>
              </a:cxn>
              <a:cxn ang="0">
                <a:pos x="connsiteX51168" y="connsiteY51168"/>
              </a:cxn>
              <a:cxn ang="0">
                <a:pos x="connsiteX51169" y="connsiteY51169"/>
              </a:cxn>
              <a:cxn ang="0">
                <a:pos x="connsiteX51170" y="connsiteY51170"/>
              </a:cxn>
              <a:cxn ang="0">
                <a:pos x="connsiteX51171" y="connsiteY51171"/>
              </a:cxn>
              <a:cxn ang="0">
                <a:pos x="connsiteX51172" y="connsiteY51172"/>
              </a:cxn>
              <a:cxn ang="0">
                <a:pos x="connsiteX51173" y="connsiteY51173"/>
              </a:cxn>
              <a:cxn ang="0">
                <a:pos x="connsiteX51174" y="connsiteY51174"/>
              </a:cxn>
              <a:cxn ang="0">
                <a:pos x="connsiteX51175" y="connsiteY51175"/>
              </a:cxn>
              <a:cxn ang="0">
                <a:pos x="connsiteX51176" y="connsiteY51176"/>
              </a:cxn>
              <a:cxn ang="0">
                <a:pos x="connsiteX51177" y="connsiteY51177"/>
              </a:cxn>
              <a:cxn ang="0">
                <a:pos x="connsiteX51178" y="connsiteY51178"/>
              </a:cxn>
              <a:cxn ang="0">
                <a:pos x="connsiteX51179" y="connsiteY51179"/>
              </a:cxn>
              <a:cxn ang="0">
                <a:pos x="connsiteX51180" y="connsiteY51180"/>
              </a:cxn>
              <a:cxn ang="0">
                <a:pos x="connsiteX51181" y="connsiteY51181"/>
              </a:cxn>
              <a:cxn ang="0">
                <a:pos x="connsiteX51182" y="connsiteY51182"/>
              </a:cxn>
              <a:cxn ang="0">
                <a:pos x="connsiteX51183" y="connsiteY51183"/>
              </a:cxn>
              <a:cxn ang="0">
                <a:pos x="connsiteX51184" y="connsiteY51184"/>
              </a:cxn>
              <a:cxn ang="0">
                <a:pos x="connsiteX51185" y="connsiteY51185"/>
              </a:cxn>
              <a:cxn ang="0">
                <a:pos x="connsiteX51186" y="connsiteY51186"/>
              </a:cxn>
              <a:cxn ang="0">
                <a:pos x="connsiteX51187" y="connsiteY51187"/>
              </a:cxn>
              <a:cxn ang="0">
                <a:pos x="connsiteX51188" y="connsiteY51188"/>
              </a:cxn>
              <a:cxn ang="0">
                <a:pos x="connsiteX51189" y="connsiteY51189"/>
              </a:cxn>
              <a:cxn ang="0">
                <a:pos x="connsiteX51190" y="connsiteY51190"/>
              </a:cxn>
              <a:cxn ang="0">
                <a:pos x="connsiteX51191" y="connsiteY51191"/>
              </a:cxn>
              <a:cxn ang="0">
                <a:pos x="connsiteX51192" y="connsiteY51192"/>
              </a:cxn>
              <a:cxn ang="0">
                <a:pos x="connsiteX51193" y="connsiteY51193"/>
              </a:cxn>
              <a:cxn ang="0">
                <a:pos x="connsiteX51194" y="connsiteY51194"/>
              </a:cxn>
              <a:cxn ang="0">
                <a:pos x="connsiteX51195" y="connsiteY51195"/>
              </a:cxn>
              <a:cxn ang="0">
                <a:pos x="connsiteX51196" y="connsiteY51196"/>
              </a:cxn>
              <a:cxn ang="0">
                <a:pos x="connsiteX51197" y="connsiteY51197"/>
              </a:cxn>
              <a:cxn ang="0">
                <a:pos x="connsiteX51198" y="connsiteY51198"/>
              </a:cxn>
              <a:cxn ang="0">
                <a:pos x="connsiteX51199" y="connsiteY51199"/>
              </a:cxn>
              <a:cxn ang="0">
                <a:pos x="connsiteX51200" y="connsiteY51200"/>
              </a:cxn>
              <a:cxn ang="0">
                <a:pos x="connsiteX51201" y="connsiteY51201"/>
              </a:cxn>
              <a:cxn ang="0">
                <a:pos x="connsiteX51202" y="connsiteY51202"/>
              </a:cxn>
              <a:cxn ang="0">
                <a:pos x="connsiteX51203" y="connsiteY51203"/>
              </a:cxn>
              <a:cxn ang="0">
                <a:pos x="connsiteX51204" y="connsiteY51204"/>
              </a:cxn>
              <a:cxn ang="0">
                <a:pos x="connsiteX51205" y="connsiteY51205"/>
              </a:cxn>
              <a:cxn ang="0">
                <a:pos x="connsiteX51206" y="connsiteY51206"/>
              </a:cxn>
              <a:cxn ang="0">
                <a:pos x="connsiteX51207" y="connsiteY51207"/>
              </a:cxn>
              <a:cxn ang="0">
                <a:pos x="connsiteX51208" y="connsiteY51208"/>
              </a:cxn>
              <a:cxn ang="0">
                <a:pos x="connsiteX51209" y="connsiteY51209"/>
              </a:cxn>
              <a:cxn ang="0">
                <a:pos x="connsiteX51210" y="connsiteY51210"/>
              </a:cxn>
              <a:cxn ang="0">
                <a:pos x="connsiteX51211" y="connsiteY51211"/>
              </a:cxn>
              <a:cxn ang="0">
                <a:pos x="connsiteX51212" y="connsiteY51212"/>
              </a:cxn>
              <a:cxn ang="0">
                <a:pos x="connsiteX51213" y="connsiteY51213"/>
              </a:cxn>
              <a:cxn ang="0">
                <a:pos x="connsiteX51214" y="connsiteY51214"/>
              </a:cxn>
              <a:cxn ang="0">
                <a:pos x="connsiteX51215" y="connsiteY51215"/>
              </a:cxn>
              <a:cxn ang="0">
                <a:pos x="connsiteX51216" y="connsiteY51216"/>
              </a:cxn>
              <a:cxn ang="0">
                <a:pos x="connsiteX51217" y="connsiteY51217"/>
              </a:cxn>
              <a:cxn ang="0">
                <a:pos x="connsiteX51218" y="connsiteY51218"/>
              </a:cxn>
              <a:cxn ang="0">
                <a:pos x="connsiteX51219" y="connsiteY51219"/>
              </a:cxn>
              <a:cxn ang="0">
                <a:pos x="connsiteX51220" y="connsiteY51220"/>
              </a:cxn>
              <a:cxn ang="0">
                <a:pos x="connsiteX51221" y="connsiteY51221"/>
              </a:cxn>
              <a:cxn ang="0">
                <a:pos x="connsiteX51222" y="connsiteY51222"/>
              </a:cxn>
              <a:cxn ang="0">
                <a:pos x="connsiteX51223" y="connsiteY51223"/>
              </a:cxn>
              <a:cxn ang="0">
                <a:pos x="connsiteX51224" y="connsiteY51224"/>
              </a:cxn>
              <a:cxn ang="0">
                <a:pos x="connsiteX51225" y="connsiteY51225"/>
              </a:cxn>
              <a:cxn ang="0">
                <a:pos x="connsiteX51226" y="connsiteY51226"/>
              </a:cxn>
              <a:cxn ang="0">
                <a:pos x="connsiteX51227" y="connsiteY51227"/>
              </a:cxn>
              <a:cxn ang="0">
                <a:pos x="connsiteX51228" y="connsiteY51228"/>
              </a:cxn>
              <a:cxn ang="0">
                <a:pos x="connsiteX51229" y="connsiteY51229"/>
              </a:cxn>
              <a:cxn ang="0">
                <a:pos x="connsiteX51230" y="connsiteY51230"/>
              </a:cxn>
              <a:cxn ang="0">
                <a:pos x="connsiteX51231" y="connsiteY51231"/>
              </a:cxn>
              <a:cxn ang="0">
                <a:pos x="connsiteX51232" y="connsiteY51232"/>
              </a:cxn>
              <a:cxn ang="0">
                <a:pos x="connsiteX51233" y="connsiteY51233"/>
              </a:cxn>
              <a:cxn ang="0">
                <a:pos x="connsiteX51234" y="connsiteY51234"/>
              </a:cxn>
              <a:cxn ang="0">
                <a:pos x="connsiteX51235" y="connsiteY51235"/>
              </a:cxn>
              <a:cxn ang="0">
                <a:pos x="connsiteX51236" y="connsiteY51236"/>
              </a:cxn>
              <a:cxn ang="0">
                <a:pos x="connsiteX51237" y="connsiteY51237"/>
              </a:cxn>
              <a:cxn ang="0">
                <a:pos x="connsiteX51238" y="connsiteY51238"/>
              </a:cxn>
              <a:cxn ang="0">
                <a:pos x="connsiteX51239" y="connsiteY51239"/>
              </a:cxn>
              <a:cxn ang="0">
                <a:pos x="connsiteX51240" y="connsiteY51240"/>
              </a:cxn>
              <a:cxn ang="0">
                <a:pos x="connsiteX51241" y="connsiteY51241"/>
              </a:cxn>
              <a:cxn ang="0">
                <a:pos x="connsiteX51242" y="connsiteY51242"/>
              </a:cxn>
              <a:cxn ang="0">
                <a:pos x="connsiteX51243" y="connsiteY51243"/>
              </a:cxn>
              <a:cxn ang="0">
                <a:pos x="connsiteX51244" y="connsiteY51244"/>
              </a:cxn>
              <a:cxn ang="0">
                <a:pos x="connsiteX51245" y="connsiteY51245"/>
              </a:cxn>
              <a:cxn ang="0">
                <a:pos x="connsiteX51246" y="connsiteY51246"/>
              </a:cxn>
              <a:cxn ang="0">
                <a:pos x="connsiteX51247" y="connsiteY51247"/>
              </a:cxn>
              <a:cxn ang="0">
                <a:pos x="connsiteX51248" y="connsiteY51248"/>
              </a:cxn>
              <a:cxn ang="0">
                <a:pos x="connsiteX51249" y="connsiteY51249"/>
              </a:cxn>
              <a:cxn ang="0">
                <a:pos x="connsiteX51250" y="connsiteY51250"/>
              </a:cxn>
              <a:cxn ang="0">
                <a:pos x="connsiteX51251" y="connsiteY51251"/>
              </a:cxn>
              <a:cxn ang="0">
                <a:pos x="connsiteX51252" y="connsiteY51252"/>
              </a:cxn>
              <a:cxn ang="0">
                <a:pos x="connsiteX51253" y="connsiteY51253"/>
              </a:cxn>
              <a:cxn ang="0">
                <a:pos x="connsiteX51254" y="connsiteY51254"/>
              </a:cxn>
              <a:cxn ang="0">
                <a:pos x="connsiteX51255" y="connsiteY51255"/>
              </a:cxn>
              <a:cxn ang="0">
                <a:pos x="connsiteX51256" y="connsiteY51256"/>
              </a:cxn>
              <a:cxn ang="0">
                <a:pos x="connsiteX51257" y="connsiteY51257"/>
              </a:cxn>
              <a:cxn ang="0">
                <a:pos x="connsiteX51258" y="connsiteY51258"/>
              </a:cxn>
              <a:cxn ang="0">
                <a:pos x="connsiteX51259" y="connsiteY51259"/>
              </a:cxn>
              <a:cxn ang="0">
                <a:pos x="connsiteX51260" y="connsiteY51260"/>
              </a:cxn>
              <a:cxn ang="0">
                <a:pos x="connsiteX51261" y="connsiteY51261"/>
              </a:cxn>
              <a:cxn ang="0">
                <a:pos x="connsiteX51262" y="connsiteY51262"/>
              </a:cxn>
              <a:cxn ang="0">
                <a:pos x="connsiteX51263" y="connsiteY51263"/>
              </a:cxn>
              <a:cxn ang="0">
                <a:pos x="connsiteX51264" y="connsiteY51264"/>
              </a:cxn>
              <a:cxn ang="0">
                <a:pos x="connsiteX51265" y="connsiteY51265"/>
              </a:cxn>
              <a:cxn ang="0">
                <a:pos x="connsiteX51266" y="connsiteY51266"/>
              </a:cxn>
              <a:cxn ang="0">
                <a:pos x="connsiteX51267" y="connsiteY51267"/>
              </a:cxn>
              <a:cxn ang="0">
                <a:pos x="connsiteX51268" y="connsiteY51268"/>
              </a:cxn>
              <a:cxn ang="0">
                <a:pos x="connsiteX51269" y="connsiteY51269"/>
              </a:cxn>
              <a:cxn ang="0">
                <a:pos x="connsiteX51270" y="connsiteY51270"/>
              </a:cxn>
              <a:cxn ang="0">
                <a:pos x="connsiteX51271" y="connsiteY51271"/>
              </a:cxn>
              <a:cxn ang="0">
                <a:pos x="connsiteX51272" y="connsiteY51272"/>
              </a:cxn>
              <a:cxn ang="0">
                <a:pos x="connsiteX51273" y="connsiteY51273"/>
              </a:cxn>
              <a:cxn ang="0">
                <a:pos x="connsiteX51274" y="connsiteY51274"/>
              </a:cxn>
              <a:cxn ang="0">
                <a:pos x="connsiteX51275" y="connsiteY51275"/>
              </a:cxn>
              <a:cxn ang="0">
                <a:pos x="connsiteX51276" y="connsiteY51276"/>
              </a:cxn>
              <a:cxn ang="0">
                <a:pos x="connsiteX51277" y="connsiteY51277"/>
              </a:cxn>
              <a:cxn ang="0">
                <a:pos x="connsiteX51278" y="connsiteY51278"/>
              </a:cxn>
              <a:cxn ang="0">
                <a:pos x="connsiteX51279" y="connsiteY51279"/>
              </a:cxn>
              <a:cxn ang="0">
                <a:pos x="connsiteX51280" y="connsiteY51280"/>
              </a:cxn>
              <a:cxn ang="0">
                <a:pos x="connsiteX51281" y="connsiteY51281"/>
              </a:cxn>
              <a:cxn ang="0">
                <a:pos x="connsiteX51282" y="connsiteY51282"/>
              </a:cxn>
              <a:cxn ang="0">
                <a:pos x="connsiteX51283" y="connsiteY51283"/>
              </a:cxn>
              <a:cxn ang="0">
                <a:pos x="connsiteX51284" y="connsiteY51284"/>
              </a:cxn>
              <a:cxn ang="0">
                <a:pos x="connsiteX51285" y="connsiteY51285"/>
              </a:cxn>
              <a:cxn ang="0">
                <a:pos x="connsiteX51286" y="connsiteY51286"/>
              </a:cxn>
              <a:cxn ang="0">
                <a:pos x="connsiteX51287" y="connsiteY51287"/>
              </a:cxn>
              <a:cxn ang="0">
                <a:pos x="connsiteX51288" y="connsiteY51288"/>
              </a:cxn>
              <a:cxn ang="0">
                <a:pos x="connsiteX51289" y="connsiteY51289"/>
              </a:cxn>
              <a:cxn ang="0">
                <a:pos x="connsiteX51290" y="connsiteY51290"/>
              </a:cxn>
              <a:cxn ang="0">
                <a:pos x="connsiteX51291" y="connsiteY51291"/>
              </a:cxn>
              <a:cxn ang="0">
                <a:pos x="connsiteX51292" y="connsiteY51292"/>
              </a:cxn>
              <a:cxn ang="0">
                <a:pos x="connsiteX51293" y="connsiteY51293"/>
              </a:cxn>
              <a:cxn ang="0">
                <a:pos x="connsiteX51294" y="connsiteY51294"/>
              </a:cxn>
              <a:cxn ang="0">
                <a:pos x="connsiteX51295" y="connsiteY51295"/>
              </a:cxn>
              <a:cxn ang="0">
                <a:pos x="connsiteX51296" y="connsiteY51296"/>
              </a:cxn>
              <a:cxn ang="0">
                <a:pos x="connsiteX51297" y="connsiteY51297"/>
              </a:cxn>
              <a:cxn ang="0">
                <a:pos x="connsiteX51298" y="connsiteY51298"/>
              </a:cxn>
              <a:cxn ang="0">
                <a:pos x="connsiteX51299" y="connsiteY51299"/>
              </a:cxn>
              <a:cxn ang="0">
                <a:pos x="connsiteX51300" y="connsiteY51300"/>
              </a:cxn>
              <a:cxn ang="0">
                <a:pos x="connsiteX51301" y="connsiteY51301"/>
              </a:cxn>
              <a:cxn ang="0">
                <a:pos x="connsiteX51302" y="connsiteY51302"/>
              </a:cxn>
              <a:cxn ang="0">
                <a:pos x="connsiteX51303" y="connsiteY51303"/>
              </a:cxn>
              <a:cxn ang="0">
                <a:pos x="connsiteX51304" y="connsiteY51304"/>
              </a:cxn>
              <a:cxn ang="0">
                <a:pos x="connsiteX51305" y="connsiteY51305"/>
              </a:cxn>
              <a:cxn ang="0">
                <a:pos x="connsiteX51306" y="connsiteY51306"/>
              </a:cxn>
              <a:cxn ang="0">
                <a:pos x="connsiteX51307" y="connsiteY51307"/>
              </a:cxn>
              <a:cxn ang="0">
                <a:pos x="connsiteX51308" y="connsiteY51308"/>
              </a:cxn>
              <a:cxn ang="0">
                <a:pos x="connsiteX51309" y="connsiteY51309"/>
              </a:cxn>
              <a:cxn ang="0">
                <a:pos x="connsiteX51310" y="connsiteY51310"/>
              </a:cxn>
              <a:cxn ang="0">
                <a:pos x="connsiteX51311" y="connsiteY51311"/>
              </a:cxn>
              <a:cxn ang="0">
                <a:pos x="connsiteX51312" y="connsiteY51312"/>
              </a:cxn>
              <a:cxn ang="0">
                <a:pos x="connsiteX51313" y="connsiteY51313"/>
              </a:cxn>
              <a:cxn ang="0">
                <a:pos x="connsiteX51314" y="connsiteY51314"/>
              </a:cxn>
              <a:cxn ang="0">
                <a:pos x="connsiteX51315" y="connsiteY51315"/>
              </a:cxn>
              <a:cxn ang="0">
                <a:pos x="connsiteX51316" y="connsiteY51316"/>
              </a:cxn>
              <a:cxn ang="0">
                <a:pos x="connsiteX51317" y="connsiteY51317"/>
              </a:cxn>
              <a:cxn ang="0">
                <a:pos x="connsiteX51318" y="connsiteY51318"/>
              </a:cxn>
              <a:cxn ang="0">
                <a:pos x="connsiteX51319" y="connsiteY51319"/>
              </a:cxn>
              <a:cxn ang="0">
                <a:pos x="connsiteX51320" y="connsiteY51320"/>
              </a:cxn>
              <a:cxn ang="0">
                <a:pos x="connsiteX51321" y="connsiteY51321"/>
              </a:cxn>
              <a:cxn ang="0">
                <a:pos x="connsiteX51322" y="connsiteY51322"/>
              </a:cxn>
              <a:cxn ang="0">
                <a:pos x="connsiteX51323" y="connsiteY51323"/>
              </a:cxn>
              <a:cxn ang="0">
                <a:pos x="connsiteX51324" y="connsiteY51324"/>
              </a:cxn>
              <a:cxn ang="0">
                <a:pos x="connsiteX51325" y="connsiteY51325"/>
              </a:cxn>
              <a:cxn ang="0">
                <a:pos x="connsiteX51326" y="connsiteY51326"/>
              </a:cxn>
              <a:cxn ang="0">
                <a:pos x="connsiteX51327" y="connsiteY51327"/>
              </a:cxn>
              <a:cxn ang="0">
                <a:pos x="connsiteX51328" y="connsiteY51328"/>
              </a:cxn>
              <a:cxn ang="0">
                <a:pos x="connsiteX51329" y="connsiteY51329"/>
              </a:cxn>
              <a:cxn ang="0">
                <a:pos x="connsiteX51330" y="connsiteY51330"/>
              </a:cxn>
              <a:cxn ang="0">
                <a:pos x="connsiteX51331" y="connsiteY51331"/>
              </a:cxn>
              <a:cxn ang="0">
                <a:pos x="connsiteX51332" y="connsiteY51332"/>
              </a:cxn>
              <a:cxn ang="0">
                <a:pos x="connsiteX51333" y="connsiteY51333"/>
              </a:cxn>
              <a:cxn ang="0">
                <a:pos x="connsiteX51334" y="connsiteY51334"/>
              </a:cxn>
              <a:cxn ang="0">
                <a:pos x="connsiteX51335" y="connsiteY51335"/>
              </a:cxn>
              <a:cxn ang="0">
                <a:pos x="connsiteX51336" y="connsiteY51336"/>
              </a:cxn>
              <a:cxn ang="0">
                <a:pos x="connsiteX51337" y="connsiteY51337"/>
              </a:cxn>
              <a:cxn ang="0">
                <a:pos x="connsiteX51338" y="connsiteY51338"/>
              </a:cxn>
              <a:cxn ang="0">
                <a:pos x="connsiteX51339" y="connsiteY51339"/>
              </a:cxn>
              <a:cxn ang="0">
                <a:pos x="connsiteX51340" y="connsiteY51340"/>
              </a:cxn>
              <a:cxn ang="0">
                <a:pos x="connsiteX51341" y="connsiteY51341"/>
              </a:cxn>
              <a:cxn ang="0">
                <a:pos x="connsiteX51342" y="connsiteY51342"/>
              </a:cxn>
              <a:cxn ang="0">
                <a:pos x="connsiteX51343" y="connsiteY51343"/>
              </a:cxn>
              <a:cxn ang="0">
                <a:pos x="connsiteX51344" y="connsiteY51344"/>
              </a:cxn>
              <a:cxn ang="0">
                <a:pos x="connsiteX51345" y="connsiteY51345"/>
              </a:cxn>
              <a:cxn ang="0">
                <a:pos x="connsiteX51346" y="connsiteY51346"/>
              </a:cxn>
              <a:cxn ang="0">
                <a:pos x="connsiteX51347" y="connsiteY51347"/>
              </a:cxn>
              <a:cxn ang="0">
                <a:pos x="connsiteX51348" y="connsiteY51348"/>
              </a:cxn>
              <a:cxn ang="0">
                <a:pos x="connsiteX51349" y="connsiteY51349"/>
              </a:cxn>
              <a:cxn ang="0">
                <a:pos x="connsiteX51350" y="connsiteY51350"/>
              </a:cxn>
              <a:cxn ang="0">
                <a:pos x="connsiteX51351" y="connsiteY51351"/>
              </a:cxn>
              <a:cxn ang="0">
                <a:pos x="connsiteX51352" y="connsiteY51352"/>
              </a:cxn>
              <a:cxn ang="0">
                <a:pos x="connsiteX51353" y="connsiteY51353"/>
              </a:cxn>
              <a:cxn ang="0">
                <a:pos x="connsiteX51354" y="connsiteY51354"/>
              </a:cxn>
              <a:cxn ang="0">
                <a:pos x="connsiteX51355" y="connsiteY51355"/>
              </a:cxn>
              <a:cxn ang="0">
                <a:pos x="connsiteX51356" y="connsiteY51356"/>
              </a:cxn>
              <a:cxn ang="0">
                <a:pos x="connsiteX51357" y="connsiteY51357"/>
              </a:cxn>
              <a:cxn ang="0">
                <a:pos x="connsiteX51358" y="connsiteY51358"/>
              </a:cxn>
              <a:cxn ang="0">
                <a:pos x="connsiteX51359" y="connsiteY51359"/>
              </a:cxn>
              <a:cxn ang="0">
                <a:pos x="connsiteX51360" y="connsiteY51360"/>
              </a:cxn>
              <a:cxn ang="0">
                <a:pos x="connsiteX51361" y="connsiteY51361"/>
              </a:cxn>
              <a:cxn ang="0">
                <a:pos x="connsiteX51362" y="connsiteY51362"/>
              </a:cxn>
              <a:cxn ang="0">
                <a:pos x="connsiteX51363" y="connsiteY51363"/>
              </a:cxn>
              <a:cxn ang="0">
                <a:pos x="connsiteX51364" y="connsiteY51364"/>
              </a:cxn>
              <a:cxn ang="0">
                <a:pos x="connsiteX51365" y="connsiteY51365"/>
              </a:cxn>
              <a:cxn ang="0">
                <a:pos x="connsiteX51366" y="connsiteY51366"/>
              </a:cxn>
              <a:cxn ang="0">
                <a:pos x="connsiteX51367" y="connsiteY51367"/>
              </a:cxn>
              <a:cxn ang="0">
                <a:pos x="connsiteX51368" y="connsiteY51368"/>
              </a:cxn>
              <a:cxn ang="0">
                <a:pos x="connsiteX51369" y="connsiteY51369"/>
              </a:cxn>
              <a:cxn ang="0">
                <a:pos x="connsiteX51370" y="connsiteY51370"/>
              </a:cxn>
              <a:cxn ang="0">
                <a:pos x="connsiteX51371" y="connsiteY51371"/>
              </a:cxn>
              <a:cxn ang="0">
                <a:pos x="connsiteX51372" y="connsiteY51372"/>
              </a:cxn>
              <a:cxn ang="0">
                <a:pos x="connsiteX51373" y="connsiteY51373"/>
              </a:cxn>
              <a:cxn ang="0">
                <a:pos x="connsiteX51374" y="connsiteY51374"/>
              </a:cxn>
              <a:cxn ang="0">
                <a:pos x="connsiteX51375" y="connsiteY51375"/>
              </a:cxn>
              <a:cxn ang="0">
                <a:pos x="connsiteX51376" y="connsiteY51376"/>
              </a:cxn>
              <a:cxn ang="0">
                <a:pos x="connsiteX51377" y="connsiteY51377"/>
              </a:cxn>
              <a:cxn ang="0">
                <a:pos x="connsiteX51378" y="connsiteY51378"/>
              </a:cxn>
              <a:cxn ang="0">
                <a:pos x="connsiteX51379" y="connsiteY51379"/>
              </a:cxn>
              <a:cxn ang="0">
                <a:pos x="connsiteX51380" y="connsiteY51380"/>
              </a:cxn>
              <a:cxn ang="0">
                <a:pos x="connsiteX51381" y="connsiteY51381"/>
              </a:cxn>
              <a:cxn ang="0">
                <a:pos x="connsiteX51382" y="connsiteY51382"/>
              </a:cxn>
              <a:cxn ang="0">
                <a:pos x="connsiteX51383" y="connsiteY51383"/>
              </a:cxn>
              <a:cxn ang="0">
                <a:pos x="connsiteX51384" y="connsiteY51384"/>
              </a:cxn>
              <a:cxn ang="0">
                <a:pos x="connsiteX51385" y="connsiteY51385"/>
              </a:cxn>
              <a:cxn ang="0">
                <a:pos x="connsiteX51386" y="connsiteY51386"/>
              </a:cxn>
              <a:cxn ang="0">
                <a:pos x="connsiteX51387" y="connsiteY51387"/>
              </a:cxn>
              <a:cxn ang="0">
                <a:pos x="connsiteX51388" y="connsiteY51388"/>
              </a:cxn>
              <a:cxn ang="0">
                <a:pos x="connsiteX51389" y="connsiteY51389"/>
              </a:cxn>
              <a:cxn ang="0">
                <a:pos x="connsiteX51390" y="connsiteY51390"/>
              </a:cxn>
              <a:cxn ang="0">
                <a:pos x="connsiteX51391" y="connsiteY51391"/>
              </a:cxn>
              <a:cxn ang="0">
                <a:pos x="connsiteX51392" y="connsiteY51392"/>
              </a:cxn>
              <a:cxn ang="0">
                <a:pos x="connsiteX51393" y="connsiteY51393"/>
              </a:cxn>
              <a:cxn ang="0">
                <a:pos x="connsiteX51394" y="connsiteY51394"/>
              </a:cxn>
              <a:cxn ang="0">
                <a:pos x="connsiteX51395" y="connsiteY51395"/>
              </a:cxn>
              <a:cxn ang="0">
                <a:pos x="connsiteX51396" y="connsiteY51396"/>
              </a:cxn>
              <a:cxn ang="0">
                <a:pos x="connsiteX51397" y="connsiteY51397"/>
              </a:cxn>
              <a:cxn ang="0">
                <a:pos x="connsiteX51398" y="connsiteY51398"/>
              </a:cxn>
              <a:cxn ang="0">
                <a:pos x="connsiteX51399" y="connsiteY51399"/>
              </a:cxn>
              <a:cxn ang="0">
                <a:pos x="connsiteX51400" y="connsiteY51400"/>
              </a:cxn>
              <a:cxn ang="0">
                <a:pos x="connsiteX51401" y="connsiteY51401"/>
              </a:cxn>
              <a:cxn ang="0">
                <a:pos x="connsiteX51402" y="connsiteY51402"/>
              </a:cxn>
              <a:cxn ang="0">
                <a:pos x="connsiteX51403" y="connsiteY51403"/>
              </a:cxn>
              <a:cxn ang="0">
                <a:pos x="connsiteX51404" y="connsiteY51404"/>
              </a:cxn>
              <a:cxn ang="0">
                <a:pos x="connsiteX51405" y="connsiteY51405"/>
              </a:cxn>
              <a:cxn ang="0">
                <a:pos x="connsiteX51406" y="connsiteY51406"/>
              </a:cxn>
              <a:cxn ang="0">
                <a:pos x="connsiteX51407" y="connsiteY51407"/>
              </a:cxn>
              <a:cxn ang="0">
                <a:pos x="connsiteX51408" y="connsiteY51408"/>
              </a:cxn>
              <a:cxn ang="0">
                <a:pos x="connsiteX51409" y="connsiteY51409"/>
              </a:cxn>
              <a:cxn ang="0">
                <a:pos x="connsiteX51410" y="connsiteY51410"/>
              </a:cxn>
              <a:cxn ang="0">
                <a:pos x="connsiteX51411" y="connsiteY51411"/>
              </a:cxn>
              <a:cxn ang="0">
                <a:pos x="connsiteX51412" y="connsiteY51412"/>
              </a:cxn>
              <a:cxn ang="0">
                <a:pos x="connsiteX51413" y="connsiteY51413"/>
              </a:cxn>
              <a:cxn ang="0">
                <a:pos x="connsiteX51414" y="connsiteY51414"/>
              </a:cxn>
              <a:cxn ang="0">
                <a:pos x="connsiteX51415" y="connsiteY51415"/>
              </a:cxn>
              <a:cxn ang="0">
                <a:pos x="connsiteX51416" y="connsiteY51416"/>
              </a:cxn>
              <a:cxn ang="0">
                <a:pos x="connsiteX51417" y="connsiteY51417"/>
              </a:cxn>
              <a:cxn ang="0">
                <a:pos x="connsiteX51418" y="connsiteY51418"/>
              </a:cxn>
              <a:cxn ang="0">
                <a:pos x="connsiteX51419" y="connsiteY51419"/>
              </a:cxn>
              <a:cxn ang="0">
                <a:pos x="connsiteX51420" y="connsiteY51420"/>
              </a:cxn>
              <a:cxn ang="0">
                <a:pos x="connsiteX51421" y="connsiteY51421"/>
              </a:cxn>
              <a:cxn ang="0">
                <a:pos x="connsiteX51422" y="connsiteY51422"/>
              </a:cxn>
              <a:cxn ang="0">
                <a:pos x="connsiteX51423" y="connsiteY51423"/>
              </a:cxn>
              <a:cxn ang="0">
                <a:pos x="connsiteX51424" y="connsiteY51424"/>
              </a:cxn>
              <a:cxn ang="0">
                <a:pos x="connsiteX51425" y="connsiteY51425"/>
              </a:cxn>
              <a:cxn ang="0">
                <a:pos x="connsiteX51426" y="connsiteY51426"/>
              </a:cxn>
              <a:cxn ang="0">
                <a:pos x="connsiteX51427" y="connsiteY51427"/>
              </a:cxn>
              <a:cxn ang="0">
                <a:pos x="connsiteX51428" y="connsiteY51428"/>
              </a:cxn>
              <a:cxn ang="0">
                <a:pos x="connsiteX51429" y="connsiteY51429"/>
              </a:cxn>
              <a:cxn ang="0">
                <a:pos x="connsiteX51430" y="connsiteY51430"/>
              </a:cxn>
              <a:cxn ang="0">
                <a:pos x="connsiteX51431" y="connsiteY51431"/>
              </a:cxn>
              <a:cxn ang="0">
                <a:pos x="connsiteX51432" y="connsiteY51432"/>
              </a:cxn>
              <a:cxn ang="0">
                <a:pos x="connsiteX51433" y="connsiteY51433"/>
              </a:cxn>
              <a:cxn ang="0">
                <a:pos x="connsiteX51434" y="connsiteY51434"/>
              </a:cxn>
              <a:cxn ang="0">
                <a:pos x="connsiteX51435" y="connsiteY51435"/>
              </a:cxn>
              <a:cxn ang="0">
                <a:pos x="connsiteX51436" y="connsiteY51436"/>
              </a:cxn>
              <a:cxn ang="0">
                <a:pos x="connsiteX51437" y="connsiteY51437"/>
              </a:cxn>
              <a:cxn ang="0">
                <a:pos x="connsiteX51438" y="connsiteY51438"/>
              </a:cxn>
              <a:cxn ang="0">
                <a:pos x="connsiteX51439" y="connsiteY51439"/>
              </a:cxn>
              <a:cxn ang="0">
                <a:pos x="connsiteX51440" y="connsiteY51440"/>
              </a:cxn>
              <a:cxn ang="0">
                <a:pos x="connsiteX51441" y="connsiteY51441"/>
              </a:cxn>
              <a:cxn ang="0">
                <a:pos x="connsiteX51442" y="connsiteY51442"/>
              </a:cxn>
              <a:cxn ang="0">
                <a:pos x="connsiteX51443" y="connsiteY51443"/>
              </a:cxn>
              <a:cxn ang="0">
                <a:pos x="connsiteX51444" y="connsiteY51444"/>
              </a:cxn>
              <a:cxn ang="0">
                <a:pos x="connsiteX51445" y="connsiteY51445"/>
              </a:cxn>
              <a:cxn ang="0">
                <a:pos x="connsiteX51446" y="connsiteY51446"/>
              </a:cxn>
              <a:cxn ang="0">
                <a:pos x="connsiteX51447" y="connsiteY51447"/>
              </a:cxn>
              <a:cxn ang="0">
                <a:pos x="connsiteX51448" y="connsiteY51448"/>
              </a:cxn>
              <a:cxn ang="0">
                <a:pos x="connsiteX51449" y="connsiteY51449"/>
              </a:cxn>
              <a:cxn ang="0">
                <a:pos x="connsiteX51450" y="connsiteY51450"/>
              </a:cxn>
              <a:cxn ang="0">
                <a:pos x="connsiteX51451" y="connsiteY51451"/>
              </a:cxn>
              <a:cxn ang="0">
                <a:pos x="connsiteX51452" y="connsiteY51452"/>
              </a:cxn>
              <a:cxn ang="0">
                <a:pos x="connsiteX51453" y="connsiteY51453"/>
              </a:cxn>
              <a:cxn ang="0">
                <a:pos x="connsiteX51454" y="connsiteY51454"/>
              </a:cxn>
              <a:cxn ang="0">
                <a:pos x="connsiteX51455" y="connsiteY51455"/>
              </a:cxn>
              <a:cxn ang="0">
                <a:pos x="connsiteX51456" y="connsiteY51456"/>
              </a:cxn>
              <a:cxn ang="0">
                <a:pos x="connsiteX51457" y="connsiteY51457"/>
              </a:cxn>
              <a:cxn ang="0">
                <a:pos x="connsiteX51458" y="connsiteY51458"/>
              </a:cxn>
              <a:cxn ang="0">
                <a:pos x="connsiteX51459" y="connsiteY51459"/>
              </a:cxn>
              <a:cxn ang="0">
                <a:pos x="connsiteX51460" y="connsiteY51460"/>
              </a:cxn>
              <a:cxn ang="0">
                <a:pos x="connsiteX51461" y="connsiteY51461"/>
              </a:cxn>
              <a:cxn ang="0">
                <a:pos x="connsiteX51462" y="connsiteY51462"/>
              </a:cxn>
              <a:cxn ang="0">
                <a:pos x="connsiteX51463" y="connsiteY51463"/>
              </a:cxn>
              <a:cxn ang="0">
                <a:pos x="connsiteX51464" y="connsiteY51464"/>
              </a:cxn>
              <a:cxn ang="0">
                <a:pos x="connsiteX51465" y="connsiteY51465"/>
              </a:cxn>
              <a:cxn ang="0">
                <a:pos x="connsiteX51466" y="connsiteY51466"/>
              </a:cxn>
              <a:cxn ang="0">
                <a:pos x="connsiteX51467" y="connsiteY51467"/>
              </a:cxn>
              <a:cxn ang="0">
                <a:pos x="connsiteX51468" y="connsiteY51468"/>
              </a:cxn>
              <a:cxn ang="0">
                <a:pos x="connsiteX51469" y="connsiteY51469"/>
              </a:cxn>
              <a:cxn ang="0">
                <a:pos x="connsiteX51470" y="connsiteY51470"/>
              </a:cxn>
              <a:cxn ang="0">
                <a:pos x="connsiteX51471" y="connsiteY51471"/>
              </a:cxn>
              <a:cxn ang="0">
                <a:pos x="connsiteX51472" y="connsiteY51472"/>
              </a:cxn>
              <a:cxn ang="0">
                <a:pos x="connsiteX51473" y="connsiteY51473"/>
              </a:cxn>
              <a:cxn ang="0">
                <a:pos x="connsiteX51474" y="connsiteY51474"/>
              </a:cxn>
              <a:cxn ang="0">
                <a:pos x="connsiteX51475" y="connsiteY51475"/>
              </a:cxn>
              <a:cxn ang="0">
                <a:pos x="connsiteX51476" y="connsiteY51476"/>
              </a:cxn>
              <a:cxn ang="0">
                <a:pos x="connsiteX51477" y="connsiteY51477"/>
              </a:cxn>
              <a:cxn ang="0">
                <a:pos x="connsiteX51478" y="connsiteY51478"/>
              </a:cxn>
              <a:cxn ang="0">
                <a:pos x="connsiteX51479" y="connsiteY51479"/>
              </a:cxn>
              <a:cxn ang="0">
                <a:pos x="connsiteX51480" y="connsiteY51480"/>
              </a:cxn>
              <a:cxn ang="0">
                <a:pos x="connsiteX51481" y="connsiteY51481"/>
              </a:cxn>
              <a:cxn ang="0">
                <a:pos x="connsiteX51482" y="connsiteY51482"/>
              </a:cxn>
              <a:cxn ang="0">
                <a:pos x="connsiteX51483" y="connsiteY51483"/>
              </a:cxn>
              <a:cxn ang="0">
                <a:pos x="connsiteX51484" y="connsiteY51484"/>
              </a:cxn>
              <a:cxn ang="0">
                <a:pos x="connsiteX51485" y="connsiteY51485"/>
              </a:cxn>
              <a:cxn ang="0">
                <a:pos x="connsiteX51486" y="connsiteY51486"/>
              </a:cxn>
              <a:cxn ang="0">
                <a:pos x="connsiteX51487" y="connsiteY51487"/>
              </a:cxn>
              <a:cxn ang="0">
                <a:pos x="connsiteX51488" y="connsiteY51488"/>
              </a:cxn>
              <a:cxn ang="0">
                <a:pos x="connsiteX51489" y="connsiteY51489"/>
              </a:cxn>
              <a:cxn ang="0">
                <a:pos x="connsiteX51490" y="connsiteY51490"/>
              </a:cxn>
              <a:cxn ang="0">
                <a:pos x="connsiteX51491" y="connsiteY51491"/>
              </a:cxn>
              <a:cxn ang="0">
                <a:pos x="connsiteX51492" y="connsiteY51492"/>
              </a:cxn>
              <a:cxn ang="0">
                <a:pos x="connsiteX51493" y="connsiteY51493"/>
              </a:cxn>
              <a:cxn ang="0">
                <a:pos x="connsiteX51494" y="connsiteY51494"/>
              </a:cxn>
              <a:cxn ang="0">
                <a:pos x="connsiteX51495" y="connsiteY51495"/>
              </a:cxn>
              <a:cxn ang="0">
                <a:pos x="connsiteX51496" y="connsiteY51496"/>
              </a:cxn>
              <a:cxn ang="0">
                <a:pos x="connsiteX51497" y="connsiteY51497"/>
              </a:cxn>
              <a:cxn ang="0">
                <a:pos x="connsiteX51498" y="connsiteY51498"/>
              </a:cxn>
              <a:cxn ang="0">
                <a:pos x="connsiteX51499" y="connsiteY51499"/>
              </a:cxn>
              <a:cxn ang="0">
                <a:pos x="connsiteX51500" y="connsiteY51500"/>
              </a:cxn>
              <a:cxn ang="0">
                <a:pos x="connsiteX51501" y="connsiteY51501"/>
              </a:cxn>
              <a:cxn ang="0">
                <a:pos x="connsiteX51502" y="connsiteY51502"/>
              </a:cxn>
              <a:cxn ang="0">
                <a:pos x="connsiteX51503" y="connsiteY51503"/>
              </a:cxn>
              <a:cxn ang="0">
                <a:pos x="connsiteX51504" y="connsiteY51504"/>
              </a:cxn>
              <a:cxn ang="0">
                <a:pos x="connsiteX51505" y="connsiteY51505"/>
              </a:cxn>
              <a:cxn ang="0">
                <a:pos x="connsiteX51506" y="connsiteY51506"/>
              </a:cxn>
              <a:cxn ang="0">
                <a:pos x="connsiteX51507" y="connsiteY51507"/>
              </a:cxn>
              <a:cxn ang="0">
                <a:pos x="connsiteX51508" y="connsiteY51508"/>
              </a:cxn>
              <a:cxn ang="0">
                <a:pos x="connsiteX51509" y="connsiteY51509"/>
              </a:cxn>
              <a:cxn ang="0">
                <a:pos x="connsiteX51510" y="connsiteY51510"/>
              </a:cxn>
              <a:cxn ang="0">
                <a:pos x="connsiteX51511" y="connsiteY51511"/>
              </a:cxn>
              <a:cxn ang="0">
                <a:pos x="connsiteX51512" y="connsiteY51512"/>
              </a:cxn>
              <a:cxn ang="0">
                <a:pos x="connsiteX51513" y="connsiteY51513"/>
              </a:cxn>
              <a:cxn ang="0">
                <a:pos x="connsiteX51514" y="connsiteY51514"/>
              </a:cxn>
              <a:cxn ang="0">
                <a:pos x="connsiteX51515" y="connsiteY51515"/>
              </a:cxn>
              <a:cxn ang="0">
                <a:pos x="connsiteX51516" y="connsiteY51516"/>
              </a:cxn>
              <a:cxn ang="0">
                <a:pos x="connsiteX51517" y="connsiteY51517"/>
              </a:cxn>
              <a:cxn ang="0">
                <a:pos x="connsiteX51518" y="connsiteY51518"/>
              </a:cxn>
              <a:cxn ang="0">
                <a:pos x="connsiteX51519" y="connsiteY51519"/>
              </a:cxn>
              <a:cxn ang="0">
                <a:pos x="connsiteX51520" y="connsiteY51520"/>
              </a:cxn>
              <a:cxn ang="0">
                <a:pos x="connsiteX51521" y="connsiteY51521"/>
              </a:cxn>
              <a:cxn ang="0">
                <a:pos x="connsiteX51522" y="connsiteY51522"/>
              </a:cxn>
              <a:cxn ang="0">
                <a:pos x="connsiteX51523" y="connsiteY51523"/>
              </a:cxn>
              <a:cxn ang="0">
                <a:pos x="connsiteX51524" y="connsiteY51524"/>
              </a:cxn>
              <a:cxn ang="0">
                <a:pos x="connsiteX51525" y="connsiteY51525"/>
              </a:cxn>
              <a:cxn ang="0">
                <a:pos x="connsiteX51526" y="connsiteY51526"/>
              </a:cxn>
              <a:cxn ang="0">
                <a:pos x="connsiteX51527" y="connsiteY51527"/>
              </a:cxn>
              <a:cxn ang="0">
                <a:pos x="connsiteX51528" y="connsiteY51528"/>
              </a:cxn>
              <a:cxn ang="0">
                <a:pos x="connsiteX51529" y="connsiteY51529"/>
              </a:cxn>
              <a:cxn ang="0">
                <a:pos x="connsiteX51530" y="connsiteY51530"/>
              </a:cxn>
              <a:cxn ang="0">
                <a:pos x="connsiteX51531" y="connsiteY51531"/>
              </a:cxn>
              <a:cxn ang="0">
                <a:pos x="connsiteX51532" y="connsiteY51532"/>
              </a:cxn>
              <a:cxn ang="0">
                <a:pos x="connsiteX51533" y="connsiteY51533"/>
              </a:cxn>
              <a:cxn ang="0">
                <a:pos x="connsiteX51534" y="connsiteY51534"/>
              </a:cxn>
              <a:cxn ang="0">
                <a:pos x="connsiteX51535" y="connsiteY51535"/>
              </a:cxn>
              <a:cxn ang="0">
                <a:pos x="connsiteX51536" y="connsiteY51536"/>
              </a:cxn>
              <a:cxn ang="0">
                <a:pos x="connsiteX51537" y="connsiteY51537"/>
              </a:cxn>
              <a:cxn ang="0">
                <a:pos x="connsiteX51538" y="connsiteY51538"/>
              </a:cxn>
              <a:cxn ang="0">
                <a:pos x="connsiteX51539" y="connsiteY51539"/>
              </a:cxn>
              <a:cxn ang="0">
                <a:pos x="connsiteX51540" y="connsiteY51540"/>
              </a:cxn>
              <a:cxn ang="0">
                <a:pos x="connsiteX51541" y="connsiteY51541"/>
              </a:cxn>
              <a:cxn ang="0">
                <a:pos x="connsiteX51542" y="connsiteY51542"/>
              </a:cxn>
              <a:cxn ang="0">
                <a:pos x="connsiteX51543" y="connsiteY51543"/>
              </a:cxn>
              <a:cxn ang="0">
                <a:pos x="connsiteX51544" y="connsiteY51544"/>
              </a:cxn>
              <a:cxn ang="0">
                <a:pos x="connsiteX51545" y="connsiteY51545"/>
              </a:cxn>
              <a:cxn ang="0">
                <a:pos x="connsiteX51546" y="connsiteY51546"/>
              </a:cxn>
              <a:cxn ang="0">
                <a:pos x="connsiteX51547" y="connsiteY51547"/>
              </a:cxn>
              <a:cxn ang="0">
                <a:pos x="connsiteX51548" y="connsiteY51548"/>
              </a:cxn>
              <a:cxn ang="0">
                <a:pos x="connsiteX51549" y="connsiteY51549"/>
              </a:cxn>
              <a:cxn ang="0">
                <a:pos x="connsiteX51550" y="connsiteY51550"/>
              </a:cxn>
              <a:cxn ang="0">
                <a:pos x="connsiteX51551" y="connsiteY51551"/>
              </a:cxn>
              <a:cxn ang="0">
                <a:pos x="connsiteX51552" y="connsiteY51552"/>
              </a:cxn>
              <a:cxn ang="0">
                <a:pos x="connsiteX51553" y="connsiteY51553"/>
              </a:cxn>
              <a:cxn ang="0">
                <a:pos x="connsiteX51554" y="connsiteY51554"/>
              </a:cxn>
              <a:cxn ang="0">
                <a:pos x="connsiteX51555" y="connsiteY51555"/>
              </a:cxn>
              <a:cxn ang="0">
                <a:pos x="connsiteX51556" y="connsiteY51556"/>
              </a:cxn>
              <a:cxn ang="0">
                <a:pos x="connsiteX51557" y="connsiteY51557"/>
              </a:cxn>
              <a:cxn ang="0">
                <a:pos x="connsiteX51558" y="connsiteY51558"/>
              </a:cxn>
              <a:cxn ang="0">
                <a:pos x="connsiteX51559" y="connsiteY51559"/>
              </a:cxn>
              <a:cxn ang="0">
                <a:pos x="connsiteX51560" y="connsiteY51560"/>
              </a:cxn>
              <a:cxn ang="0">
                <a:pos x="connsiteX51561" y="connsiteY51561"/>
              </a:cxn>
              <a:cxn ang="0">
                <a:pos x="connsiteX51562" y="connsiteY51562"/>
              </a:cxn>
              <a:cxn ang="0">
                <a:pos x="connsiteX51563" y="connsiteY51563"/>
              </a:cxn>
              <a:cxn ang="0">
                <a:pos x="connsiteX51564" y="connsiteY51564"/>
              </a:cxn>
              <a:cxn ang="0">
                <a:pos x="connsiteX51565" y="connsiteY51565"/>
              </a:cxn>
              <a:cxn ang="0">
                <a:pos x="connsiteX51566" y="connsiteY51566"/>
              </a:cxn>
              <a:cxn ang="0">
                <a:pos x="connsiteX51567" y="connsiteY51567"/>
              </a:cxn>
              <a:cxn ang="0">
                <a:pos x="connsiteX51568" y="connsiteY51568"/>
              </a:cxn>
              <a:cxn ang="0">
                <a:pos x="connsiteX51569" y="connsiteY51569"/>
              </a:cxn>
              <a:cxn ang="0">
                <a:pos x="connsiteX51570" y="connsiteY51570"/>
              </a:cxn>
              <a:cxn ang="0">
                <a:pos x="connsiteX51571" y="connsiteY51571"/>
              </a:cxn>
              <a:cxn ang="0">
                <a:pos x="connsiteX51572" y="connsiteY51572"/>
              </a:cxn>
              <a:cxn ang="0">
                <a:pos x="connsiteX51573" y="connsiteY51573"/>
              </a:cxn>
              <a:cxn ang="0">
                <a:pos x="connsiteX51574" y="connsiteY51574"/>
              </a:cxn>
              <a:cxn ang="0">
                <a:pos x="connsiteX51575" y="connsiteY51575"/>
              </a:cxn>
              <a:cxn ang="0">
                <a:pos x="connsiteX51576" y="connsiteY51576"/>
              </a:cxn>
              <a:cxn ang="0">
                <a:pos x="connsiteX51577" y="connsiteY51577"/>
              </a:cxn>
              <a:cxn ang="0">
                <a:pos x="connsiteX51578" y="connsiteY51578"/>
              </a:cxn>
              <a:cxn ang="0">
                <a:pos x="connsiteX51579" y="connsiteY51579"/>
              </a:cxn>
              <a:cxn ang="0">
                <a:pos x="connsiteX51580" y="connsiteY51580"/>
              </a:cxn>
              <a:cxn ang="0">
                <a:pos x="connsiteX51581" y="connsiteY51581"/>
              </a:cxn>
              <a:cxn ang="0">
                <a:pos x="connsiteX51582" y="connsiteY51582"/>
              </a:cxn>
              <a:cxn ang="0">
                <a:pos x="connsiteX51583" y="connsiteY51583"/>
              </a:cxn>
              <a:cxn ang="0">
                <a:pos x="connsiteX51584" y="connsiteY51584"/>
              </a:cxn>
              <a:cxn ang="0">
                <a:pos x="connsiteX51585" y="connsiteY51585"/>
              </a:cxn>
              <a:cxn ang="0">
                <a:pos x="connsiteX51586" y="connsiteY51586"/>
              </a:cxn>
              <a:cxn ang="0">
                <a:pos x="connsiteX51587" y="connsiteY51587"/>
              </a:cxn>
              <a:cxn ang="0">
                <a:pos x="connsiteX51588" y="connsiteY51588"/>
              </a:cxn>
              <a:cxn ang="0">
                <a:pos x="connsiteX51589" y="connsiteY51589"/>
              </a:cxn>
              <a:cxn ang="0">
                <a:pos x="connsiteX51590" y="connsiteY51590"/>
              </a:cxn>
              <a:cxn ang="0">
                <a:pos x="connsiteX51591" y="connsiteY51591"/>
              </a:cxn>
              <a:cxn ang="0">
                <a:pos x="connsiteX51592" y="connsiteY51592"/>
              </a:cxn>
              <a:cxn ang="0">
                <a:pos x="connsiteX51593" y="connsiteY51593"/>
              </a:cxn>
              <a:cxn ang="0">
                <a:pos x="connsiteX51594" y="connsiteY51594"/>
              </a:cxn>
              <a:cxn ang="0">
                <a:pos x="connsiteX51595" y="connsiteY51595"/>
              </a:cxn>
              <a:cxn ang="0">
                <a:pos x="connsiteX51596" y="connsiteY51596"/>
              </a:cxn>
              <a:cxn ang="0">
                <a:pos x="connsiteX51597" y="connsiteY51597"/>
              </a:cxn>
              <a:cxn ang="0">
                <a:pos x="connsiteX51598" y="connsiteY51598"/>
              </a:cxn>
              <a:cxn ang="0">
                <a:pos x="connsiteX51599" y="connsiteY51599"/>
              </a:cxn>
              <a:cxn ang="0">
                <a:pos x="connsiteX51600" y="connsiteY51600"/>
              </a:cxn>
              <a:cxn ang="0">
                <a:pos x="connsiteX51601" y="connsiteY51601"/>
              </a:cxn>
              <a:cxn ang="0">
                <a:pos x="connsiteX51602" y="connsiteY51602"/>
              </a:cxn>
              <a:cxn ang="0">
                <a:pos x="connsiteX51603" y="connsiteY51603"/>
              </a:cxn>
              <a:cxn ang="0">
                <a:pos x="connsiteX51604" y="connsiteY51604"/>
              </a:cxn>
              <a:cxn ang="0">
                <a:pos x="connsiteX51605" y="connsiteY51605"/>
              </a:cxn>
              <a:cxn ang="0">
                <a:pos x="connsiteX51606" y="connsiteY51606"/>
              </a:cxn>
              <a:cxn ang="0">
                <a:pos x="connsiteX51607" y="connsiteY51607"/>
              </a:cxn>
              <a:cxn ang="0">
                <a:pos x="connsiteX51608" y="connsiteY51608"/>
              </a:cxn>
              <a:cxn ang="0">
                <a:pos x="connsiteX51609" y="connsiteY51609"/>
              </a:cxn>
              <a:cxn ang="0">
                <a:pos x="connsiteX51610" y="connsiteY51610"/>
              </a:cxn>
              <a:cxn ang="0">
                <a:pos x="connsiteX51611" y="connsiteY51611"/>
              </a:cxn>
              <a:cxn ang="0">
                <a:pos x="connsiteX51612" y="connsiteY51612"/>
              </a:cxn>
              <a:cxn ang="0">
                <a:pos x="connsiteX51613" y="connsiteY51613"/>
              </a:cxn>
              <a:cxn ang="0">
                <a:pos x="connsiteX51614" y="connsiteY51614"/>
              </a:cxn>
              <a:cxn ang="0">
                <a:pos x="connsiteX51615" y="connsiteY51615"/>
              </a:cxn>
              <a:cxn ang="0">
                <a:pos x="connsiteX51616" y="connsiteY51616"/>
              </a:cxn>
              <a:cxn ang="0">
                <a:pos x="connsiteX51617" y="connsiteY51617"/>
              </a:cxn>
              <a:cxn ang="0">
                <a:pos x="connsiteX51618" y="connsiteY51618"/>
              </a:cxn>
              <a:cxn ang="0">
                <a:pos x="connsiteX51619" y="connsiteY51619"/>
              </a:cxn>
              <a:cxn ang="0">
                <a:pos x="connsiteX51620" y="connsiteY51620"/>
              </a:cxn>
              <a:cxn ang="0">
                <a:pos x="connsiteX51621" y="connsiteY51621"/>
              </a:cxn>
              <a:cxn ang="0">
                <a:pos x="connsiteX51622" y="connsiteY51622"/>
              </a:cxn>
              <a:cxn ang="0">
                <a:pos x="connsiteX51623" y="connsiteY51623"/>
              </a:cxn>
              <a:cxn ang="0">
                <a:pos x="connsiteX51624" y="connsiteY51624"/>
              </a:cxn>
              <a:cxn ang="0">
                <a:pos x="connsiteX51625" y="connsiteY51625"/>
              </a:cxn>
              <a:cxn ang="0">
                <a:pos x="connsiteX51626" y="connsiteY51626"/>
              </a:cxn>
              <a:cxn ang="0">
                <a:pos x="connsiteX51627" y="connsiteY51627"/>
              </a:cxn>
              <a:cxn ang="0">
                <a:pos x="connsiteX51628" y="connsiteY51628"/>
              </a:cxn>
              <a:cxn ang="0">
                <a:pos x="connsiteX51629" y="connsiteY51629"/>
              </a:cxn>
              <a:cxn ang="0">
                <a:pos x="connsiteX51630" y="connsiteY51630"/>
              </a:cxn>
              <a:cxn ang="0">
                <a:pos x="connsiteX51631" y="connsiteY51631"/>
              </a:cxn>
              <a:cxn ang="0">
                <a:pos x="connsiteX51632" y="connsiteY51632"/>
              </a:cxn>
              <a:cxn ang="0">
                <a:pos x="connsiteX51633" y="connsiteY51633"/>
              </a:cxn>
              <a:cxn ang="0">
                <a:pos x="connsiteX51634" y="connsiteY51634"/>
              </a:cxn>
              <a:cxn ang="0">
                <a:pos x="connsiteX51635" y="connsiteY51635"/>
              </a:cxn>
              <a:cxn ang="0">
                <a:pos x="connsiteX51636" y="connsiteY51636"/>
              </a:cxn>
              <a:cxn ang="0">
                <a:pos x="connsiteX51637" y="connsiteY51637"/>
              </a:cxn>
              <a:cxn ang="0">
                <a:pos x="connsiteX51638" y="connsiteY51638"/>
              </a:cxn>
              <a:cxn ang="0">
                <a:pos x="connsiteX51639" y="connsiteY51639"/>
              </a:cxn>
              <a:cxn ang="0">
                <a:pos x="connsiteX51640" y="connsiteY51640"/>
              </a:cxn>
              <a:cxn ang="0">
                <a:pos x="connsiteX51641" y="connsiteY51641"/>
              </a:cxn>
              <a:cxn ang="0">
                <a:pos x="connsiteX51642" y="connsiteY51642"/>
              </a:cxn>
              <a:cxn ang="0">
                <a:pos x="connsiteX51643" y="connsiteY51643"/>
              </a:cxn>
              <a:cxn ang="0">
                <a:pos x="connsiteX51644" y="connsiteY51644"/>
              </a:cxn>
              <a:cxn ang="0">
                <a:pos x="connsiteX51645" y="connsiteY51645"/>
              </a:cxn>
              <a:cxn ang="0">
                <a:pos x="connsiteX51646" y="connsiteY51646"/>
              </a:cxn>
              <a:cxn ang="0">
                <a:pos x="connsiteX51647" y="connsiteY51647"/>
              </a:cxn>
              <a:cxn ang="0">
                <a:pos x="connsiteX51648" y="connsiteY51648"/>
              </a:cxn>
              <a:cxn ang="0">
                <a:pos x="connsiteX51649" y="connsiteY51649"/>
              </a:cxn>
              <a:cxn ang="0">
                <a:pos x="connsiteX51650" y="connsiteY51650"/>
              </a:cxn>
              <a:cxn ang="0">
                <a:pos x="connsiteX51651" y="connsiteY51651"/>
              </a:cxn>
              <a:cxn ang="0">
                <a:pos x="connsiteX51652" y="connsiteY51652"/>
              </a:cxn>
              <a:cxn ang="0">
                <a:pos x="connsiteX51653" y="connsiteY51653"/>
              </a:cxn>
              <a:cxn ang="0">
                <a:pos x="connsiteX51654" y="connsiteY51654"/>
              </a:cxn>
              <a:cxn ang="0">
                <a:pos x="connsiteX51655" y="connsiteY51655"/>
              </a:cxn>
              <a:cxn ang="0">
                <a:pos x="connsiteX51656" y="connsiteY51656"/>
              </a:cxn>
              <a:cxn ang="0">
                <a:pos x="connsiteX51657" y="connsiteY51657"/>
              </a:cxn>
              <a:cxn ang="0">
                <a:pos x="connsiteX51658" y="connsiteY51658"/>
              </a:cxn>
              <a:cxn ang="0">
                <a:pos x="connsiteX51659" y="connsiteY51659"/>
              </a:cxn>
              <a:cxn ang="0">
                <a:pos x="connsiteX51660" y="connsiteY51660"/>
              </a:cxn>
              <a:cxn ang="0">
                <a:pos x="connsiteX51661" y="connsiteY51661"/>
              </a:cxn>
              <a:cxn ang="0">
                <a:pos x="connsiteX51662" y="connsiteY51662"/>
              </a:cxn>
              <a:cxn ang="0">
                <a:pos x="connsiteX51663" y="connsiteY51663"/>
              </a:cxn>
              <a:cxn ang="0">
                <a:pos x="connsiteX51664" y="connsiteY51664"/>
              </a:cxn>
              <a:cxn ang="0">
                <a:pos x="connsiteX51665" y="connsiteY51665"/>
              </a:cxn>
              <a:cxn ang="0">
                <a:pos x="connsiteX51666" y="connsiteY51666"/>
              </a:cxn>
              <a:cxn ang="0">
                <a:pos x="connsiteX51667" y="connsiteY51667"/>
              </a:cxn>
              <a:cxn ang="0">
                <a:pos x="connsiteX51668" y="connsiteY51668"/>
              </a:cxn>
              <a:cxn ang="0">
                <a:pos x="connsiteX51669" y="connsiteY51669"/>
              </a:cxn>
              <a:cxn ang="0">
                <a:pos x="connsiteX51670" y="connsiteY51670"/>
              </a:cxn>
              <a:cxn ang="0">
                <a:pos x="connsiteX51671" y="connsiteY51671"/>
              </a:cxn>
              <a:cxn ang="0">
                <a:pos x="connsiteX51672" y="connsiteY51672"/>
              </a:cxn>
              <a:cxn ang="0">
                <a:pos x="connsiteX51673" y="connsiteY51673"/>
              </a:cxn>
              <a:cxn ang="0">
                <a:pos x="connsiteX51674" y="connsiteY51674"/>
              </a:cxn>
              <a:cxn ang="0">
                <a:pos x="connsiteX51675" y="connsiteY51675"/>
              </a:cxn>
              <a:cxn ang="0">
                <a:pos x="connsiteX51676" y="connsiteY51676"/>
              </a:cxn>
              <a:cxn ang="0">
                <a:pos x="connsiteX51677" y="connsiteY51677"/>
              </a:cxn>
              <a:cxn ang="0">
                <a:pos x="connsiteX51678" y="connsiteY51678"/>
              </a:cxn>
              <a:cxn ang="0">
                <a:pos x="connsiteX51679" y="connsiteY51679"/>
              </a:cxn>
              <a:cxn ang="0">
                <a:pos x="connsiteX51680" y="connsiteY51680"/>
              </a:cxn>
              <a:cxn ang="0">
                <a:pos x="connsiteX51681" y="connsiteY51681"/>
              </a:cxn>
              <a:cxn ang="0">
                <a:pos x="connsiteX51682" y="connsiteY51682"/>
              </a:cxn>
              <a:cxn ang="0">
                <a:pos x="connsiteX51683" y="connsiteY51683"/>
              </a:cxn>
              <a:cxn ang="0">
                <a:pos x="connsiteX51684" y="connsiteY51684"/>
              </a:cxn>
              <a:cxn ang="0">
                <a:pos x="connsiteX51685" y="connsiteY51685"/>
              </a:cxn>
              <a:cxn ang="0">
                <a:pos x="connsiteX51686" y="connsiteY51686"/>
              </a:cxn>
              <a:cxn ang="0">
                <a:pos x="connsiteX51687" y="connsiteY51687"/>
              </a:cxn>
              <a:cxn ang="0">
                <a:pos x="connsiteX51688" y="connsiteY51688"/>
              </a:cxn>
              <a:cxn ang="0">
                <a:pos x="connsiteX51689" y="connsiteY51689"/>
              </a:cxn>
              <a:cxn ang="0">
                <a:pos x="connsiteX51690" y="connsiteY51690"/>
              </a:cxn>
              <a:cxn ang="0">
                <a:pos x="connsiteX51691" y="connsiteY51691"/>
              </a:cxn>
              <a:cxn ang="0">
                <a:pos x="connsiteX51692" y="connsiteY51692"/>
              </a:cxn>
              <a:cxn ang="0">
                <a:pos x="connsiteX51693" y="connsiteY51693"/>
              </a:cxn>
              <a:cxn ang="0">
                <a:pos x="connsiteX51694" y="connsiteY51694"/>
              </a:cxn>
              <a:cxn ang="0">
                <a:pos x="connsiteX51695" y="connsiteY51695"/>
              </a:cxn>
              <a:cxn ang="0">
                <a:pos x="connsiteX51696" y="connsiteY51696"/>
              </a:cxn>
              <a:cxn ang="0">
                <a:pos x="connsiteX51697" y="connsiteY51697"/>
              </a:cxn>
              <a:cxn ang="0">
                <a:pos x="connsiteX51698" y="connsiteY51698"/>
              </a:cxn>
              <a:cxn ang="0">
                <a:pos x="connsiteX51699" y="connsiteY51699"/>
              </a:cxn>
              <a:cxn ang="0">
                <a:pos x="connsiteX51700" y="connsiteY51700"/>
              </a:cxn>
              <a:cxn ang="0">
                <a:pos x="connsiteX51701" y="connsiteY51701"/>
              </a:cxn>
              <a:cxn ang="0">
                <a:pos x="connsiteX51702" y="connsiteY51702"/>
              </a:cxn>
              <a:cxn ang="0">
                <a:pos x="connsiteX51703" y="connsiteY51703"/>
              </a:cxn>
              <a:cxn ang="0">
                <a:pos x="connsiteX51704" y="connsiteY51704"/>
              </a:cxn>
              <a:cxn ang="0">
                <a:pos x="connsiteX51705" y="connsiteY51705"/>
              </a:cxn>
              <a:cxn ang="0">
                <a:pos x="connsiteX51706" y="connsiteY51706"/>
              </a:cxn>
              <a:cxn ang="0">
                <a:pos x="connsiteX51707" y="connsiteY51707"/>
              </a:cxn>
              <a:cxn ang="0">
                <a:pos x="connsiteX51708" y="connsiteY51708"/>
              </a:cxn>
              <a:cxn ang="0">
                <a:pos x="connsiteX51709" y="connsiteY51709"/>
              </a:cxn>
              <a:cxn ang="0">
                <a:pos x="connsiteX51710" y="connsiteY51710"/>
              </a:cxn>
              <a:cxn ang="0">
                <a:pos x="connsiteX51711" y="connsiteY51711"/>
              </a:cxn>
              <a:cxn ang="0">
                <a:pos x="connsiteX51712" y="connsiteY51712"/>
              </a:cxn>
              <a:cxn ang="0">
                <a:pos x="connsiteX51713" y="connsiteY51713"/>
              </a:cxn>
              <a:cxn ang="0">
                <a:pos x="connsiteX51714" y="connsiteY51714"/>
              </a:cxn>
              <a:cxn ang="0">
                <a:pos x="connsiteX51715" y="connsiteY51715"/>
              </a:cxn>
              <a:cxn ang="0">
                <a:pos x="connsiteX51716" y="connsiteY51716"/>
              </a:cxn>
              <a:cxn ang="0">
                <a:pos x="connsiteX51717" y="connsiteY51717"/>
              </a:cxn>
              <a:cxn ang="0">
                <a:pos x="connsiteX51718" y="connsiteY51718"/>
              </a:cxn>
              <a:cxn ang="0">
                <a:pos x="connsiteX51719" y="connsiteY51719"/>
              </a:cxn>
              <a:cxn ang="0">
                <a:pos x="connsiteX51720" y="connsiteY51720"/>
              </a:cxn>
              <a:cxn ang="0">
                <a:pos x="connsiteX51721" y="connsiteY51721"/>
              </a:cxn>
              <a:cxn ang="0">
                <a:pos x="connsiteX51722" y="connsiteY51722"/>
              </a:cxn>
              <a:cxn ang="0">
                <a:pos x="connsiteX51723" y="connsiteY51723"/>
              </a:cxn>
              <a:cxn ang="0">
                <a:pos x="connsiteX51724" y="connsiteY51724"/>
              </a:cxn>
              <a:cxn ang="0">
                <a:pos x="connsiteX51725" y="connsiteY51725"/>
              </a:cxn>
              <a:cxn ang="0">
                <a:pos x="connsiteX51726" y="connsiteY51726"/>
              </a:cxn>
              <a:cxn ang="0">
                <a:pos x="connsiteX51727" y="connsiteY51727"/>
              </a:cxn>
              <a:cxn ang="0">
                <a:pos x="connsiteX51728" y="connsiteY51728"/>
              </a:cxn>
              <a:cxn ang="0">
                <a:pos x="connsiteX51729" y="connsiteY51729"/>
              </a:cxn>
              <a:cxn ang="0">
                <a:pos x="connsiteX51730" y="connsiteY51730"/>
              </a:cxn>
              <a:cxn ang="0">
                <a:pos x="connsiteX51731" y="connsiteY51731"/>
              </a:cxn>
              <a:cxn ang="0">
                <a:pos x="connsiteX51732" y="connsiteY51732"/>
              </a:cxn>
              <a:cxn ang="0">
                <a:pos x="connsiteX51733" y="connsiteY51733"/>
              </a:cxn>
              <a:cxn ang="0">
                <a:pos x="connsiteX51734" y="connsiteY51734"/>
              </a:cxn>
              <a:cxn ang="0">
                <a:pos x="connsiteX51735" y="connsiteY51735"/>
              </a:cxn>
              <a:cxn ang="0">
                <a:pos x="connsiteX51736" y="connsiteY51736"/>
              </a:cxn>
              <a:cxn ang="0">
                <a:pos x="connsiteX51737" y="connsiteY51737"/>
              </a:cxn>
              <a:cxn ang="0">
                <a:pos x="connsiteX51738" y="connsiteY51738"/>
              </a:cxn>
              <a:cxn ang="0">
                <a:pos x="connsiteX51739" y="connsiteY51739"/>
              </a:cxn>
              <a:cxn ang="0">
                <a:pos x="connsiteX51740" y="connsiteY51740"/>
              </a:cxn>
              <a:cxn ang="0">
                <a:pos x="connsiteX51741" y="connsiteY51741"/>
              </a:cxn>
              <a:cxn ang="0">
                <a:pos x="connsiteX51742" y="connsiteY51742"/>
              </a:cxn>
              <a:cxn ang="0">
                <a:pos x="connsiteX51743" y="connsiteY51743"/>
              </a:cxn>
              <a:cxn ang="0">
                <a:pos x="connsiteX51744" y="connsiteY51744"/>
              </a:cxn>
              <a:cxn ang="0">
                <a:pos x="connsiteX51745" y="connsiteY51745"/>
              </a:cxn>
              <a:cxn ang="0">
                <a:pos x="connsiteX51746" y="connsiteY51746"/>
              </a:cxn>
              <a:cxn ang="0">
                <a:pos x="connsiteX51747" y="connsiteY51747"/>
              </a:cxn>
              <a:cxn ang="0">
                <a:pos x="connsiteX51748" y="connsiteY51748"/>
              </a:cxn>
              <a:cxn ang="0">
                <a:pos x="connsiteX51749" y="connsiteY51749"/>
              </a:cxn>
              <a:cxn ang="0">
                <a:pos x="connsiteX51750" y="connsiteY51750"/>
              </a:cxn>
              <a:cxn ang="0">
                <a:pos x="connsiteX51751" y="connsiteY51751"/>
              </a:cxn>
              <a:cxn ang="0">
                <a:pos x="connsiteX51752" y="connsiteY51752"/>
              </a:cxn>
              <a:cxn ang="0">
                <a:pos x="connsiteX51753" y="connsiteY51753"/>
              </a:cxn>
              <a:cxn ang="0">
                <a:pos x="connsiteX51754" y="connsiteY51754"/>
              </a:cxn>
              <a:cxn ang="0">
                <a:pos x="connsiteX51755" y="connsiteY51755"/>
              </a:cxn>
              <a:cxn ang="0">
                <a:pos x="connsiteX51756" y="connsiteY51756"/>
              </a:cxn>
              <a:cxn ang="0">
                <a:pos x="connsiteX51757" y="connsiteY51757"/>
              </a:cxn>
              <a:cxn ang="0">
                <a:pos x="connsiteX51758" y="connsiteY51758"/>
              </a:cxn>
              <a:cxn ang="0">
                <a:pos x="connsiteX51759" y="connsiteY51759"/>
              </a:cxn>
              <a:cxn ang="0">
                <a:pos x="connsiteX51760" y="connsiteY51760"/>
              </a:cxn>
              <a:cxn ang="0">
                <a:pos x="connsiteX51761" y="connsiteY51761"/>
              </a:cxn>
              <a:cxn ang="0">
                <a:pos x="connsiteX51762" y="connsiteY51762"/>
              </a:cxn>
              <a:cxn ang="0">
                <a:pos x="connsiteX51763" y="connsiteY51763"/>
              </a:cxn>
              <a:cxn ang="0">
                <a:pos x="connsiteX51764" y="connsiteY51764"/>
              </a:cxn>
              <a:cxn ang="0">
                <a:pos x="connsiteX51765" y="connsiteY51765"/>
              </a:cxn>
              <a:cxn ang="0">
                <a:pos x="connsiteX51766" y="connsiteY51766"/>
              </a:cxn>
              <a:cxn ang="0">
                <a:pos x="connsiteX51767" y="connsiteY51767"/>
              </a:cxn>
              <a:cxn ang="0">
                <a:pos x="connsiteX51768" y="connsiteY51768"/>
              </a:cxn>
              <a:cxn ang="0">
                <a:pos x="connsiteX51769" y="connsiteY51769"/>
              </a:cxn>
              <a:cxn ang="0">
                <a:pos x="connsiteX51770" y="connsiteY51770"/>
              </a:cxn>
              <a:cxn ang="0">
                <a:pos x="connsiteX51771" y="connsiteY51771"/>
              </a:cxn>
              <a:cxn ang="0">
                <a:pos x="connsiteX51772" y="connsiteY51772"/>
              </a:cxn>
              <a:cxn ang="0">
                <a:pos x="connsiteX51773" y="connsiteY51773"/>
              </a:cxn>
              <a:cxn ang="0">
                <a:pos x="connsiteX51774" y="connsiteY51774"/>
              </a:cxn>
              <a:cxn ang="0">
                <a:pos x="connsiteX51775" y="connsiteY51775"/>
              </a:cxn>
              <a:cxn ang="0">
                <a:pos x="connsiteX51776" y="connsiteY51776"/>
              </a:cxn>
              <a:cxn ang="0">
                <a:pos x="connsiteX51777" y="connsiteY51777"/>
              </a:cxn>
              <a:cxn ang="0">
                <a:pos x="connsiteX51778" y="connsiteY51778"/>
              </a:cxn>
              <a:cxn ang="0">
                <a:pos x="connsiteX51779" y="connsiteY51779"/>
              </a:cxn>
              <a:cxn ang="0">
                <a:pos x="connsiteX51780" y="connsiteY51780"/>
              </a:cxn>
              <a:cxn ang="0">
                <a:pos x="connsiteX51781" y="connsiteY51781"/>
              </a:cxn>
              <a:cxn ang="0">
                <a:pos x="connsiteX51782" y="connsiteY51782"/>
              </a:cxn>
              <a:cxn ang="0">
                <a:pos x="connsiteX51783" y="connsiteY51783"/>
              </a:cxn>
              <a:cxn ang="0">
                <a:pos x="connsiteX51784" y="connsiteY51784"/>
              </a:cxn>
              <a:cxn ang="0">
                <a:pos x="connsiteX51785" y="connsiteY51785"/>
              </a:cxn>
              <a:cxn ang="0">
                <a:pos x="connsiteX51786" y="connsiteY51786"/>
              </a:cxn>
              <a:cxn ang="0">
                <a:pos x="connsiteX51787" y="connsiteY51787"/>
              </a:cxn>
              <a:cxn ang="0">
                <a:pos x="connsiteX51788" y="connsiteY51788"/>
              </a:cxn>
              <a:cxn ang="0">
                <a:pos x="connsiteX51789" y="connsiteY51789"/>
              </a:cxn>
              <a:cxn ang="0">
                <a:pos x="connsiteX51790" y="connsiteY51790"/>
              </a:cxn>
              <a:cxn ang="0">
                <a:pos x="connsiteX51791" y="connsiteY51791"/>
              </a:cxn>
              <a:cxn ang="0">
                <a:pos x="connsiteX51792" y="connsiteY51792"/>
              </a:cxn>
              <a:cxn ang="0">
                <a:pos x="connsiteX51793" y="connsiteY51793"/>
              </a:cxn>
              <a:cxn ang="0">
                <a:pos x="connsiteX51794" y="connsiteY51794"/>
              </a:cxn>
              <a:cxn ang="0">
                <a:pos x="connsiteX51795" y="connsiteY51795"/>
              </a:cxn>
              <a:cxn ang="0">
                <a:pos x="connsiteX51796" y="connsiteY51796"/>
              </a:cxn>
              <a:cxn ang="0">
                <a:pos x="connsiteX51797" y="connsiteY51797"/>
              </a:cxn>
              <a:cxn ang="0">
                <a:pos x="connsiteX51798" y="connsiteY51798"/>
              </a:cxn>
              <a:cxn ang="0">
                <a:pos x="connsiteX51799" y="connsiteY51799"/>
              </a:cxn>
              <a:cxn ang="0">
                <a:pos x="connsiteX51800" y="connsiteY51800"/>
              </a:cxn>
              <a:cxn ang="0">
                <a:pos x="connsiteX51801" y="connsiteY51801"/>
              </a:cxn>
              <a:cxn ang="0">
                <a:pos x="connsiteX51802" y="connsiteY51802"/>
              </a:cxn>
              <a:cxn ang="0">
                <a:pos x="connsiteX51803" y="connsiteY51803"/>
              </a:cxn>
              <a:cxn ang="0">
                <a:pos x="connsiteX51804" y="connsiteY51804"/>
              </a:cxn>
              <a:cxn ang="0">
                <a:pos x="connsiteX51805" y="connsiteY51805"/>
              </a:cxn>
              <a:cxn ang="0">
                <a:pos x="connsiteX51806" y="connsiteY51806"/>
              </a:cxn>
              <a:cxn ang="0">
                <a:pos x="connsiteX51807" y="connsiteY51807"/>
              </a:cxn>
              <a:cxn ang="0">
                <a:pos x="connsiteX51808" y="connsiteY51808"/>
              </a:cxn>
              <a:cxn ang="0">
                <a:pos x="connsiteX51809" y="connsiteY51809"/>
              </a:cxn>
              <a:cxn ang="0">
                <a:pos x="connsiteX51810" y="connsiteY51810"/>
              </a:cxn>
              <a:cxn ang="0">
                <a:pos x="connsiteX51811" y="connsiteY51811"/>
              </a:cxn>
              <a:cxn ang="0">
                <a:pos x="connsiteX51812" y="connsiteY51812"/>
              </a:cxn>
              <a:cxn ang="0">
                <a:pos x="connsiteX51813" y="connsiteY51813"/>
              </a:cxn>
              <a:cxn ang="0">
                <a:pos x="connsiteX51814" y="connsiteY51814"/>
              </a:cxn>
              <a:cxn ang="0">
                <a:pos x="connsiteX51815" y="connsiteY51815"/>
              </a:cxn>
              <a:cxn ang="0">
                <a:pos x="connsiteX51816" y="connsiteY51816"/>
              </a:cxn>
              <a:cxn ang="0">
                <a:pos x="connsiteX51817" y="connsiteY51817"/>
              </a:cxn>
              <a:cxn ang="0">
                <a:pos x="connsiteX51818" y="connsiteY51818"/>
              </a:cxn>
              <a:cxn ang="0">
                <a:pos x="connsiteX51819" y="connsiteY51819"/>
              </a:cxn>
              <a:cxn ang="0">
                <a:pos x="connsiteX51820" y="connsiteY51820"/>
              </a:cxn>
              <a:cxn ang="0">
                <a:pos x="connsiteX51821" y="connsiteY51821"/>
              </a:cxn>
              <a:cxn ang="0">
                <a:pos x="connsiteX51822" y="connsiteY51822"/>
              </a:cxn>
              <a:cxn ang="0">
                <a:pos x="connsiteX51823" y="connsiteY51823"/>
              </a:cxn>
              <a:cxn ang="0">
                <a:pos x="connsiteX51824" y="connsiteY51824"/>
              </a:cxn>
              <a:cxn ang="0">
                <a:pos x="connsiteX51825" y="connsiteY51825"/>
              </a:cxn>
              <a:cxn ang="0">
                <a:pos x="connsiteX51826" y="connsiteY51826"/>
              </a:cxn>
              <a:cxn ang="0">
                <a:pos x="connsiteX51827" y="connsiteY51827"/>
              </a:cxn>
              <a:cxn ang="0">
                <a:pos x="connsiteX51828" y="connsiteY51828"/>
              </a:cxn>
              <a:cxn ang="0">
                <a:pos x="connsiteX51829" y="connsiteY51829"/>
              </a:cxn>
              <a:cxn ang="0">
                <a:pos x="connsiteX51830" y="connsiteY51830"/>
              </a:cxn>
              <a:cxn ang="0">
                <a:pos x="connsiteX51831" y="connsiteY51831"/>
              </a:cxn>
              <a:cxn ang="0">
                <a:pos x="connsiteX51832" y="connsiteY51832"/>
              </a:cxn>
              <a:cxn ang="0">
                <a:pos x="connsiteX51833" y="connsiteY51833"/>
              </a:cxn>
              <a:cxn ang="0">
                <a:pos x="connsiteX51834" y="connsiteY51834"/>
              </a:cxn>
              <a:cxn ang="0">
                <a:pos x="connsiteX51835" y="connsiteY51835"/>
              </a:cxn>
              <a:cxn ang="0">
                <a:pos x="connsiteX51836" y="connsiteY51836"/>
              </a:cxn>
              <a:cxn ang="0">
                <a:pos x="connsiteX51837" y="connsiteY51837"/>
              </a:cxn>
              <a:cxn ang="0">
                <a:pos x="connsiteX51838" y="connsiteY51838"/>
              </a:cxn>
              <a:cxn ang="0">
                <a:pos x="connsiteX51839" y="connsiteY51839"/>
              </a:cxn>
              <a:cxn ang="0">
                <a:pos x="connsiteX51840" y="connsiteY51840"/>
              </a:cxn>
              <a:cxn ang="0">
                <a:pos x="connsiteX51841" y="connsiteY51841"/>
              </a:cxn>
              <a:cxn ang="0">
                <a:pos x="connsiteX51842" y="connsiteY51842"/>
              </a:cxn>
              <a:cxn ang="0">
                <a:pos x="connsiteX51843" y="connsiteY51843"/>
              </a:cxn>
              <a:cxn ang="0">
                <a:pos x="connsiteX51844" y="connsiteY51844"/>
              </a:cxn>
              <a:cxn ang="0">
                <a:pos x="connsiteX51845" y="connsiteY51845"/>
              </a:cxn>
              <a:cxn ang="0">
                <a:pos x="connsiteX51846" y="connsiteY51846"/>
              </a:cxn>
              <a:cxn ang="0">
                <a:pos x="connsiteX51847" y="connsiteY51847"/>
              </a:cxn>
              <a:cxn ang="0">
                <a:pos x="connsiteX51848" y="connsiteY51848"/>
              </a:cxn>
              <a:cxn ang="0">
                <a:pos x="connsiteX51849" y="connsiteY51849"/>
              </a:cxn>
              <a:cxn ang="0">
                <a:pos x="connsiteX51850" y="connsiteY51850"/>
              </a:cxn>
              <a:cxn ang="0">
                <a:pos x="connsiteX51851" y="connsiteY51851"/>
              </a:cxn>
              <a:cxn ang="0">
                <a:pos x="connsiteX51852" y="connsiteY51852"/>
              </a:cxn>
              <a:cxn ang="0">
                <a:pos x="connsiteX51853" y="connsiteY51853"/>
              </a:cxn>
              <a:cxn ang="0">
                <a:pos x="connsiteX51854" y="connsiteY51854"/>
              </a:cxn>
              <a:cxn ang="0">
                <a:pos x="connsiteX51855" y="connsiteY51855"/>
              </a:cxn>
              <a:cxn ang="0">
                <a:pos x="connsiteX51856" y="connsiteY51856"/>
              </a:cxn>
              <a:cxn ang="0">
                <a:pos x="connsiteX51857" y="connsiteY51857"/>
              </a:cxn>
              <a:cxn ang="0">
                <a:pos x="connsiteX51858" y="connsiteY51858"/>
              </a:cxn>
              <a:cxn ang="0">
                <a:pos x="connsiteX51859" y="connsiteY51859"/>
              </a:cxn>
              <a:cxn ang="0">
                <a:pos x="connsiteX51860" y="connsiteY51860"/>
              </a:cxn>
              <a:cxn ang="0">
                <a:pos x="connsiteX51861" y="connsiteY51861"/>
              </a:cxn>
              <a:cxn ang="0">
                <a:pos x="connsiteX51862" y="connsiteY51862"/>
              </a:cxn>
              <a:cxn ang="0">
                <a:pos x="connsiteX51863" y="connsiteY51863"/>
              </a:cxn>
              <a:cxn ang="0">
                <a:pos x="connsiteX51864" y="connsiteY51864"/>
              </a:cxn>
              <a:cxn ang="0">
                <a:pos x="connsiteX51865" y="connsiteY51865"/>
              </a:cxn>
              <a:cxn ang="0">
                <a:pos x="connsiteX51866" y="connsiteY51866"/>
              </a:cxn>
              <a:cxn ang="0">
                <a:pos x="connsiteX51867" y="connsiteY51867"/>
              </a:cxn>
              <a:cxn ang="0">
                <a:pos x="connsiteX51868" y="connsiteY51868"/>
              </a:cxn>
              <a:cxn ang="0">
                <a:pos x="connsiteX51869" y="connsiteY51869"/>
              </a:cxn>
              <a:cxn ang="0">
                <a:pos x="connsiteX51870" y="connsiteY51870"/>
              </a:cxn>
              <a:cxn ang="0">
                <a:pos x="connsiteX51871" y="connsiteY51871"/>
              </a:cxn>
              <a:cxn ang="0">
                <a:pos x="connsiteX51872" y="connsiteY51872"/>
              </a:cxn>
              <a:cxn ang="0">
                <a:pos x="connsiteX51873" y="connsiteY51873"/>
              </a:cxn>
              <a:cxn ang="0">
                <a:pos x="connsiteX51874" y="connsiteY51874"/>
              </a:cxn>
              <a:cxn ang="0">
                <a:pos x="connsiteX51875" y="connsiteY51875"/>
              </a:cxn>
              <a:cxn ang="0">
                <a:pos x="connsiteX51876" y="connsiteY51876"/>
              </a:cxn>
              <a:cxn ang="0">
                <a:pos x="connsiteX51877" y="connsiteY51877"/>
              </a:cxn>
              <a:cxn ang="0">
                <a:pos x="connsiteX51878" y="connsiteY51878"/>
              </a:cxn>
              <a:cxn ang="0">
                <a:pos x="connsiteX51879" y="connsiteY51879"/>
              </a:cxn>
              <a:cxn ang="0">
                <a:pos x="connsiteX51880" y="connsiteY51880"/>
              </a:cxn>
              <a:cxn ang="0">
                <a:pos x="connsiteX51881" y="connsiteY51881"/>
              </a:cxn>
              <a:cxn ang="0">
                <a:pos x="connsiteX51882" y="connsiteY51882"/>
              </a:cxn>
              <a:cxn ang="0">
                <a:pos x="connsiteX51883" y="connsiteY51883"/>
              </a:cxn>
              <a:cxn ang="0">
                <a:pos x="connsiteX51884" y="connsiteY51884"/>
              </a:cxn>
              <a:cxn ang="0">
                <a:pos x="connsiteX51885" y="connsiteY51885"/>
              </a:cxn>
              <a:cxn ang="0">
                <a:pos x="connsiteX51886" y="connsiteY51886"/>
              </a:cxn>
              <a:cxn ang="0">
                <a:pos x="connsiteX51887" y="connsiteY51887"/>
              </a:cxn>
              <a:cxn ang="0">
                <a:pos x="connsiteX51888" y="connsiteY51888"/>
              </a:cxn>
              <a:cxn ang="0">
                <a:pos x="connsiteX51889" y="connsiteY51889"/>
              </a:cxn>
              <a:cxn ang="0">
                <a:pos x="connsiteX51890" y="connsiteY51890"/>
              </a:cxn>
              <a:cxn ang="0">
                <a:pos x="connsiteX51891" y="connsiteY51891"/>
              </a:cxn>
              <a:cxn ang="0">
                <a:pos x="connsiteX51892" y="connsiteY51892"/>
              </a:cxn>
              <a:cxn ang="0">
                <a:pos x="connsiteX51893" y="connsiteY51893"/>
              </a:cxn>
              <a:cxn ang="0">
                <a:pos x="connsiteX51894" y="connsiteY51894"/>
              </a:cxn>
              <a:cxn ang="0">
                <a:pos x="connsiteX51895" y="connsiteY51895"/>
              </a:cxn>
              <a:cxn ang="0">
                <a:pos x="connsiteX51896" y="connsiteY51896"/>
              </a:cxn>
              <a:cxn ang="0">
                <a:pos x="connsiteX51897" y="connsiteY51897"/>
              </a:cxn>
              <a:cxn ang="0">
                <a:pos x="connsiteX51898" y="connsiteY51898"/>
              </a:cxn>
              <a:cxn ang="0">
                <a:pos x="connsiteX51899" y="connsiteY51899"/>
              </a:cxn>
              <a:cxn ang="0">
                <a:pos x="connsiteX51900" y="connsiteY51900"/>
              </a:cxn>
              <a:cxn ang="0">
                <a:pos x="connsiteX51901" y="connsiteY51901"/>
              </a:cxn>
              <a:cxn ang="0">
                <a:pos x="connsiteX51902" y="connsiteY51902"/>
              </a:cxn>
              <a:cxn ang="0">
                <a:pos x="connsiteX51903" y="connsiteY51903"/>
              </a:cxn>
              <a:cxn ang="0">
                <a:pos x="connsiteX51904" y="connsiteY51904"/>
              </a:cxn>
              <a:cxn ang="0">
                <a:pos x="connsiteX51905" y="connsiteY51905"/>
              </a:cxn>
              <a:cxn ang="0">
                <a:pos x="connsiteX51906" y="connsiteY51906"/>
              </a:cxn>
              <a:cxn ang="0">
                <a:pos x="connsiteX51907" y="connsiteY51907"/>
              </a:cxn>
              <a:cxn ang="0">
                <a:pos x="connsiteX51908" y="connsiteY51908"/>
              </a:cxn>
              <a:cxn ang="0">
                <a:pos x="connsiteX51909" y="connsiteY51909"/>
              </a:cxn>
              <a:cxn ang="0">
                <a:pos x="connsiteX51910" y="connsiteY51910"/>
              </a:cxn>
              <a:cxn ang="0">
                <a:pos x="connsiteX51911" y="connsiteY51911"/>
              </a:cxn>
              <a:cxn ang="0">
                <a:pos x="connsiteX51912" y="connsiteY51912"/>
              </a:cxn>
              <a:cxn ang="0">
                <a:pos x="connsiteX51913" y="connsiteY51913"/>
              </a:cxn>
              <a:cxn ang="0">
                <a:pos x="connsiteX51914" y="connsiteY51914"/>
              </a:cxn>
              <a:cxn ang="0">
                <a:pos x="connsiteX51915" y="connsiteY51915"/>
              </a:cxn>
              <a:cxn ang="0">
                <a:pos x="connsiteX51916" y="connsiteY51916"/>
              </a:cxn>
              <a:cxn ang="0">
                <a:pos x="connsiteX51917" y="connsiteY51917"/>
              </a:cxn>
              <a:cxn ang="0">
                <a:pos x="connsiteX51918" y="connsiteY51918"/>
              </a:cxn>
              <a:cxn ang="0">
                <a:pos x="connsiteX51919" y="connsiteY51919"/>
              </a:cxn>
              <a:cxn ang="0">
                <a:pos x="connsiteX51920" y="connsiteY51920"/>
              </a:cxn>
              <a:cxn ang="0">
                <a:pos x="connsiteX51921" y="connsiteY51921"/>
              </a:cxn>
              <a:cxn ang="0">
                <a:pos x="connsiteX51922" y="connsiteY51922"/>
              </a:cxn>
              <a:cxn ang="0">
                <a:pos x="connsiteX51923" y="connsiteY51923"/>
              </a:cxn>
              <a:cxn ang="0">
                <a:pos x="connsiteX51924" y="connsiteY51924"/>
              </a:cxn>
              <a:cxn ang="0">
                <a:pos x="connsiteX51925" y="connsiteY51925"/>
              </a:cxn>
              <a:cxn ang="0">
                <a:pos x="connsiteX51926" y="connsiteY51926"/>
              </a:cxn>
              <a:cxn ang="0">
                <a:pos x="connsiteX51927" y="connsiteY51927"/>
              </a:cxn>
              <a:cxn ang="0">
                <a:pos x="connsiteX51928" y="connsiteY51928"/>
              </a:cxn>
              <a:cxn ang="0">
                <a:pos x="connsiteX51929" y="connsiteY51929"/>
              </a:cxn>
              <a:cxn ang="0">
                <a:pos x="connsiteX51930" y="connsiteY51930"/>
              </a:cxn>
              <a:cxn ang="0">
                <a:pos x="connsiteX51931" y="connsiteY51931"/>
              </a:cxn>
              <a:cxn ang="0">
                <a:pos x="connsiteX51932" y="connsiteY51932"/>
              </a:cxn>
              <a:cxn ang="0">
                <a:pos x="connsiteX51933" y="connsiteY51933"/>
              </a:cxn>
              <a:cxn ang="0">
                <a:pos x="connsiteX51934" y="connsiteY51934"/>
              </a:cxn>
              <a:cxn ang="0">
                <a:pos x="connsiteX51935" y="connsiteY51935"/>
              </a:cxn>
              <a:cxn ang="0">
                <a:pos x="connsiteX51936" y="connsiteY51936"/>
              </a:cxn>
              <a:cxn ang="0">
                <a:pos x="connsiteX51937" y="connsiteY51937"/>
              </a:cxn>
              <a:cxn ang="0">
                <a:pos x="connsiteX51938" y="connsiteY51938"/>
              </a:cxn>
              <a:cxn ang="0">
                <a:pos x="connsiteX51939" y="connsiteY51939"/>
              </a:cxn>
              <a:cxn ang="0">
                <a:pos x="connsiteX51940" y="connsiteY51940"/>
              </a:cxn>
              <a:cxn ang="0">
                <a:pos x="connsiteX51941" y="connsiteY51941"/>
              </a:cxn>
              <a:cxn ang="0">
                <a:pos x="connsiteX51942" y="connsiteY51942"/>
              </a:cxn>
              <a:cxn ang="0">
                <a:pos x="connsiteX51943" y="connsiteY51943"/>
              </a:cxn>
              <a:cxn ang="0">
                <a:pos x="connsiteX51944" y="connsiteY51944"/>
              </a:cxn>
              <a:cxn ang="0">
                <a:pos x="connsiteX51945" y="connsiteY51945"/>
              </a:cxn>
              <a:cxn ang="0">
                <a:pos x="connsiteX51946" y="connsiteY51946"/>
              </a:cxn>
              <a:cxn ang="0">
                <a:pos x="connsiteX51947" y="connsiteY51947"/>
              </a:cxn>
              <a:cxn ang="0">
                <a:pos x="connsiteX51948" y="connsiteY51948"/>
              </a:cxn>
              <a:cxn ang="0">
                <a:pos x="connsiteX51949" y="connsiteY51949"/>
              </a:cxn>
              <a:cxn ang="0">
                <a:pos x="connsiteX51950" y="connsiteY51950"/>
              </a:cxn>
              <a:cxn ang="0">
                <a:pos x="connsiteX51951" y="connsiteY51951"/>
              </a:cxn>
              <a:cxn ang="0">
                <a:pos x="connsiteX51952" y="connsiteY51952"/>
              </a:cxn>
              <a:cxn ang="0">
                <a:pos x="connsiteX51953" y="connsiteY51953"/>
              </a:cxn>
              <a:cxn ang="0">
                <a:pos x="connsiteX51954" y="connsiteY51954"/>
              </a:cxn>
              <a:cxn ang="0">
                <a:pos x="connsiteX51955" y="connsiteY51955"/>
              </a:cxn>
              <a:cxn ang="0">
                <a:pos x="connsiteX51956" y="connsiteY51956"/>
              </a:cxn>
              <a:cxn ang="0">
                <a:pos x="connsiteX51957" y="connsiteY51957"/>
              </a:cxn>
              <a:cxn ang="0">
                <a:pos x="connsiteX51958" y="connsiteY51958"/>
              </a:cxn>
              <a:cxn ang="0">
                <a:pos x="connsiteX51959" y="connsiteY51959"/>
              </a:cxn>
              <a:cxn ang="0">
                <a:pos x="connsiteX51960" y="connsiteY51960"/>
              </a:cxn>
              <a:cxn ang="0">
                <a:pos x="connsiteX51961" y="connsiteY51961"/>
              </a:cxn>
              <a:cxn ang="0">
                <a:pos x="connsiteX51962" y="connsiteY51962"/>
              </a:cxn>
              <a:cxn ang="0">
                <a:pos x="connsiteX51963" y="connsiteY51963"/>
              </a:cxn>
              <a:cxn ang="0">
                <a:pos x="connsiteX51964" y="connsiteY51964"/>
              </a:cxn>
              <a:cxn ang="0">
                <a:pos x="connsiteX51965" y="connsiteY51965"/>
              </a:cxn>
              <a:cxn ang="0">
                <a:pos x="connsiteX51966" y="connsiteY51966"/>
              </a:cxn>
              <a:cxn ang="0">
                <a:pos x="connsiteX51967" y="connsiteY51967"/>
              </a:cxn>
              <a:cxn ang="0">
                <a:pos x="connsiteX51968" y="connsiteY51968"/>
              </a:cxn>
              <a:cxn ang="0">
                <a:pos x="connsiteX51969" y="connsiteY51969"/>
              </a:cxn>
              <a:cxn ang="0">
                <a:pos x="connsiteX51970" y="connsiteY51970"/>
              </a:cxn>
              <a:cxn ang="0">
                <a:pos x="connsiteX51971" y="connsiteY51971"/>
              </a:cxn>
              <a:cxn ang="0">
                <a:pos x="connsiteX51972" y="connsiteY51972"/>
              </a:cxn>
              <a:cxn ang="0">
                <a:pos x="connsiteX51973" y="connsiteY51973"/>
              </a:cxn>
              <a:cxn ang="0">
                <a:pos x="connsiteX51974" y="connsiteY51974"/>
              </a:cxn>
              <a:cxn ang="0">
                <a:pos x="connsiteX51975" y="connsiteY51975"/>
              </a:cxn>
              <a:cxn ang="0">
                <a:pos x="connsiteX51976" y="connsiteY51976"/>
              </a:cxn>
              <a:cxn ang="0">
                <a:pos x="connsiteX51977" y="connsiteY51977"/>
              </a:cxn>
              <a:cxn ang="0">
                <a:pos x="connsiteX51978" y="connsiteY51978"/>
              </a:cxn>
              <a:cxn ang="0">
                <a:pos x="connsiteX51979" y="connsiteY51979"/>
              </a:cxn>
              <a:cxn ang="0">
                <a:pos x="connsiteX51980" y="connsiteY51980"/>
              </a:cxn>
              <a:cxn ang="0">
                <a:pos x="connsiteX51981" y="connsiteY51981"/>
              </a:cxn>
              <a:cxn ang="0">
                <a:pos x="connsiteX51982" y="connsiteY51982"/>
              </a:cxn>
              <a:cxn ang="0">
                <a:pos x="connsiteX51983" y="connsiteY51983"/>
              </a:cxn>
              <a:cxn ang="0">
                <a:pos x="connsiteX51984" y="connsiteY51984"/>
              </a:cxn>
              <a:cxn ang="0">
                <a:pos x="connsiteX51985" y="connsiteY51985"/>
              </a:cxn>
              <a:cxn ang="0">
                <a:pos x="connsiteX51986" y="connsiteY51986"/>
              </a:cxn>
              <a:cxn ang="0">
                <a:pos x="connsiteX51987" y="connsiteY51987"/>
              </a:cxn>
              <a:cxn ang="0">
                <a:pos x="connsiteX51988" y="connsiteY51988"/>
              </a:cxn>
              <a:cxn ang="0">
                <a:pos x="connsiteX51989" y="connsiteY51989"/>
              </a:cxn>
              <a:cxn ang="0">
                <a:pos x="connsiteX51990" y="connsiteY51990"/>
              </a:cxn>
              <a:cxn ang="0">
                <a:pos x="connsiteX51991" y="connsiteY51991"/>
              </a:cxn>
              <a:cxn ang="0">
                <a:pos x="connsiteX51992" y="connsiteY51992"/>
              </a:cxn>
              <a:cxn ang="0">
                <a:pos x="connsiteX51993" y="connsiteY51993"/>
              </a:cxn>
              <a:cxn ang="0">
                <a:pos x="connsiteX51994" y="connsiteY51994"/>
              </a:cxn>
              <a:cxn ang="0">
                <a:pos x="connsiteX51995" y="connsiteY51995"/>
              </a:cxn>
              <a:cxn ang="0">
                <a:pos x="connsiteX51996" y="connsiteY51996"/>
              </a:cxn>
              <a:cxn ang="0">
                <a:pos x="connsiteX51997" y="connsiteY51997"/>
              </a:cxn>
              <a:cxn ang="0">
                <a:pos x="connsiteX51998" y="connsiteY51998"/>
              </a:cxn>
              <a:cxn ang="0">
                <a:pos x="connsiteX51999" y="connsiteY51999"/>
              </a:cxn>
              <a:cxn ang="0">
                <a:pos x="connsiteX52000" y="connsiteY52000"/>
              </a:cxn>
              <a:cxn ang="0">
                <a:pos x="connsiteX52001" y="connsiteY52001"/>
              </a:cxn>
              <a:cxn ang="0">
                <a:pos x="connsiteX52002" y="connsiteY52002"/>
              </a:cxn>
              <a:cxn ang="0">
                <a:pos x="connsiteX52003" y="connsiteY52003"/>
              </a:cxn>
              <a:cxn ang="0">
                <a:pos x="connsiteX52004" y="connsiteY52004"/>
              </a:cxn>
              <a:cxn ang="0">
                <a:pos x="connsiteX52005" y="connsiteY52005"/>
              </a:cxn>
              <a:cxn ang="0">
                <a:pos x="connsiteX52006" y="connsiteY52006"/>
              </a:cxn>
              <a:cxn ang="0">
                <a:pos x="connsiteX52007" y="connsiteY52007"/>
              </a:cxn>
              <a:cxn ang="0">
                <a:pos x="connsiteX52008" y="connsiteY52008"/>
              </a:cxn>
              <a:cxn ang="0">
                <a:pos x="connsiteX52009" y="connsiteY52009"/>
              </a:cxn>
              <a:cxn ang="0">
                <a:pos x="connsiteX52010" y="connsiteY52010"/>
              </a:cxn>
              <a:cxn ang="0">
                <a:pos x="connsiteX52011" y="connsiteY52011"/>
              </a:cxn>
              <a:cxn ang="0">
                <a:pos x="connsiteX52012" y="connsiteY52012"/>
              </a:cxn>
              <a:cxn ang="0">
                <a:pos x="connsiteX52013" y="connsiteY52013"/>
              </a:cxn>
              <a:cxn ang="0">
                <a:pos x="connsiteX52014" y="connsiteY52014"/>
              </a:cxn>
              <a:cxn ang="0">
                <a:pos x="connsiteX52015" y="connsiteY52015"/>
              </a:cxn>
              <a:cxn ang="0">
                <a:pos x="connsiteX52016" y="connsiteY52016"/>
              </a:cxn>
              <a:cxn ang="0">
                <a:pos x="connsiteX52017" y="connsiteY52017"/>
              </a:cxn>
              <a:cxn ang="0">
                <a:pos x="connsiteX52018" y="connsiteY52018"/>
              </a:cxn>
              <a:cxn ang="0">
                <a:pos x="connsiteX52019" y="connsiteY52019"/>
              </a:cxn>
              <a:cxn ang="0">
                <a:pos x="connsiteX52020" y="connsiteY52020"/>
              </a:cxn>
              <a:cxn ang="0">
                <a:pos x="connsiteX52021" y="connsiteY52021"/>
              </a:cxn>
              <a:cxn ang="0">
                <a:pos x="connsiteX52022" y="connsiteY52022"/>
              </a:cxn>
              <a:cxn ang="0">
                <a:pos x="connsiteX52023" y="connsiteY52023"/>
              </a:cxn>
              <a:cxn ang="0">
                <a:pos x="connsiteX52024" y="connsiteY52024"/>
              </a:cxn>
              <a:cxn ang="0">
                <a:pos x="connsiteX52025" y="connsiteY52025"/>
              </a:cxn>
              <a:cxn ang="0">
                <a:pos x="connsiteX52026" y="connsiteY52026"/>
              </a:cxn>
              <a:cxn ang="0">
                <a:pos x="connsiteX52027" y="connsiteY52027"/>
              </a:cxn>
              <a:cxn ang="0">
                <a:pos x="connsiteX52028" y="connsiteY52028"/>
              </a:cxn>
              <a:cxn ang="0">
                <a:pos x="connsiteX52029" y="connsiteY52029"/>
              </a:cxn>
              <a:cxn ang="0">
                <a:pos x="connsiteX52030" y="connsiteY52030"/>
              </a:cxn>
              <a:cxn ang="0">
                <a:pos x="connsiteX52031" y="connsiteY52031"/>
              </a:cxn>
              <a:cxn ang="0">
                <a:pos x="connsiteX52032" y="connsiteY52032"/>
              </a:cxn>
              <a:cxn ang="0">
                <a:pos x="connsiteX52033" y="connsiteY52033"/>
              </a:cxn>
              <a:cxn ang="0">
                <a:pos x="connsiteX52034" y="connsiteY52034"/>
              </a:cxn>
              <a:cxn ang="0">
                <a:pos x="connsiteX52035" y="connsiteY52035"/>
              </a:cxn>
              <a:cxn ang="0">
                <a:pos x="connsiteX52036" y="connsiteY52036"/>
              </a:cxn>
              <a:cxn ang="0">
                <a:pos x="connsiteX52037" y="connsiteY52037"/>
              </a:cxn>
              <a:cxn ang="0">
                <a:pos x="connsiteX52038" y="connsiteY52038"/>
              </a:cxn>
              <a:cxn ang="0">
                <a:pos x="connsiteX52039" y="connsiteY52039"/>
              </a:cxn>
              <a:cxn ang="0">
                <a:pos x="connsiteX52040" y="connsiteY52040"/>
              </a:cxn>
              <a:cxn ang="0">
                <a:pos x="connsiteX52041" y="connsiteY52041"/>
              </a:cxn>
              <a:cxn ang="0">
                <a:pos x="connsiteX52042" y="connsiteY52042"/>
              </a:cxn>
              <a:cxn ang="0">
                <a:pos x="connsiteX52043" y="connsiteY52043"/>
              </a:cxn>
              <a:cxn ang="0">
                <a:pos x="connsiteX52044" y="connsiteY52044"/>
              </a:cxn>
              <a:cxn ang="0">
                <a:pos x="connsiteX52045" y="connsiteY52045"/>
              </a:cxn>
              <a:cxn ang="0">
                <a:pos x="connsiteX52046" y="connsiteY52046"/>
              </a:cxn>
              <a:cxn ang="0">
                <a:pos x="connsiteX52047" y="connsiteY52047"/>
              </a:cxn>
              <a:cxn ang="0">
                <a:pos x="connsiteX52048" y="connsiteY52048"/>
              </a:cxn>
              <a:cxn ang="0">
                <a:pos x="connsiteX52049" y="connsiteY52049"/>
              </a:cxn>
              <a:cxn ang="0">
                <a:pos x="connsiteX52050" y="connsiteY52050"/>
              </a:cxn>
              <a:cxn ang="0">
                <a:pos x="connsiteX52051" y="connsiteY52051"/>
              </a:cxn>
              <a:cxn ang="0">
                <a:pos x="connsiteX52052" y="connsiteY52052"/>
              </a:cxn>
              <a:cxn ang="0">
                <a:pos x="connsiteX52053" y="connsiteY52053"/>
              </a:cxn>
              <a:cxn ang="0">
                <a:pos x="connsiteX52054" y="connsiteY52054"/>
              </a:cxn>
              <a:cxn ang="0">
                <a:pos x="connsiteX52055" y="connsiteY52055"/>
              </a:cxn>
              <a:cxn ang="0">
                <a:pos x="connsiteX52056" y="connsiteY52056"/>
              </a:cxn>
              <a:cxn ang="0">
                <a:pos x="connsiteX52057" y="connsiteY52057"/>
              </a:cxn>
              <a:cxn ang="0">
                <a:pos x="connsiteX52058" y="connsiteY52058"/>
              </a:cxn>
              <a:cxn ang="0">
                <a:pos x="connsiteX52059" y="connsiteY52059"/>
              </a:cxn>
              <a:cxn ang="0">
                <a:pos x="connsiteX52060" y="connsiteY52060"/>
              </a:cxn>
              <a:cxn ang="0">
                <a:pos x="connsiteX52061" y="connsiteY52061"/>
              </a:cxn>
              <a:cxn ang="0">
                <a:pos x="connsiteX52062" y="connsiteY52062"/>
              </a:cxn>
              <a:cxn ang="0">
                <a:pos x="connsiteX52063" y="connsiteY52063"/>
              </a:cxn>
              <a:cxn ang="0">
                <a:pos x="connsiteX52064" y="connsiteY52064"/>
              </a:cxn>
              <a:cxn ang="0">
                <a:pos x="connsiteX52065" y="connsiteY52065"/>
              </a:cxn>
              <a:cxn ang="0">
                <a:pos x="connsiteX52066" y="connsiteY52066"/>
              </a:cxn>
              <a:cxn ang="0">
                <a:pos x="connsiteX52067" y="connsiteY52067"/>
              </a:cxn>
              <a:cxn ang="0">
                <a:pos x="connsiteX52068" y="connsiteY52068"/>
              </a:cxn>
              <a:cxn ang="0">
                <a:pos x="connsiteX52069" y="connsiteY52069"/>
              </a:cxn>
              <a:cxn ang="0">
                <a:pos x="connsiteX52070" y="connsiteY52070"/>
              </a:cxn>
              <a:cxn ang="0">
                <a:pos x="connsiteX52071" y="connsiteY52071"/>
              </a:cxn>
              <a:cxn ang="0">
                <a:pos x="connsiteX52072" y="connsiteY52072"/>
              </a:cxn>
              <a:cxn ang="0">
                <a:pos x="connsiteX52073" y="connsiteY52073"/>
              </a:cxn>
              <a:cxn ang="0">
                <a:pos x="connsiteX52074" y="connsiteY52074"/>
              </a:cxn>
              <a:cxn ang="0">
                <a:pos x="connsiteX52075" y="connsiteY52075"/>
              </a:cxn>
              <a:cxn ang="0">
                <a:pos x="connsiteX52076" y="connsiteY52076"/>
              </a:cxn>
              <a:cxn ang="0">
                <a:pos x="connsiteX52077" y="connsiteY52077"/>
              </a:cxn>
              <a:cxn ang="0">
                <a:pos x="connsiteX52078" y="connsiteY52078"/>
              </a:cxn>
              <a:cxn ang="0">
                <a:pos x="connsiteX52079" y="connsiteY52079"/>
              </a:cxn>
              <a:cxn ang="0">
                <a:pos x="connsiteX52080" y="connsiteY52080"/>
              </a:cxn>
              <a:cxn ang="0">
                <a:pos x="connsiteX52081" y="connsiteY52081"/>
              </a:cxn>
              <a:cxn ang="0">
                <a:pos x="connsiteX52082" y="connsiteY52082"/>
              </a:cxn>
              <a:cxn ang="0">
                <a:pos x="connsiteX52083" y="connsiteY52083"/>
              </a:cxn>
              <a:cxn ang="0">
                <a:pos x="connsiteX52084" y="connsiteY52084"/>
              </a:cxn>
              <a:cxn ang="0">
                <a:pos x="connsiteX52085" y="connsiteY52085"/>
              </a:cxn>
              <a:cxn ang="0">
                <a:pos x="connsiteX52086" y="connsiteY52086"/>
              </a:cxn>
              <a:cxn ang="0">
                <a:pos x="connsiteX52087" y="connsiteY52087"/>
              </a:cxn>
              <a:cxn ang="0">
                <a:pos x="connsiteX52088" y="connsiteY52088"/>
              </a:cxn>
              <a:cxn ang="0">
                <a:pos x="connsiteX52089" y="connsiteY52089"/>
              </a:cxn>
              <a:cxn ang="0">
                <a:pos x="connsiteX52090" y="connsiteY52090"/>
              </a:cxn>
              <a:cxn ang="0">
                <a:pos x="connsiteX52091" y="connsiteY52091"/>
              </a:cxn>
              <a:cxn ang="0">
                <a:pos x="connsiteX52092" y="connsiteY52092"/>
              </a:cxn>
              <a:cxn ang="0">
                <a:pos x="connsiteX52093" y="connsiteY52093"/>
              </a:cxn>
              <a:cxn ang="0">
                <a:pos x="connsiteX52094" y="connsiteY52094"/>
              </a:cxn>
              <a:cxn ang="0">
                <a:pos x="connsiteX52095" y="connsiteY52095"/>
              </a:cxn>
              <a:cxn ang="0">
                <a:pos x="connsiteX52096" y="connsiteY52096"/>
              </a:cxn>
              <a:cxn ang="0">
                <a:pos x="connsiteX52097" y="connsiteY52097"/>
              </a:cxn>
              <a:cxn ang="0">
                <a:pos x="connsiteX52098" y="connsiteY52098"/>
              </a:cxn>
              <a:cxn ang="0">
                <a:pos x="connsiteX52099" y="connsiteY52099"/>
              </a:cxn>
              <a:cxn ang="0">
                <a:pos x="connsiteX52100" y="connsiteY52100"/>
              </a:cxn>
              <a:cxn ang="0">
                <a:pos x="connsiteX52101" y="connsiteY52101"/>
              </a:cxn>
              <a:cxn ang="0">
                <a:pos x="connsiteX52102" y="connsiteY52102"/>
              </a:cxn>
              <a:cxn ang="0">
                <a:pos x="connsiteX52103" y="connsiteY52103"/>
              </a:cxn>
              <a:cxn ang="0">
                <a:pos x="connsiteX52104" y="connsiteY52104"/>
              </a:cxn>
              <a:cxn ang="0">
                <a:pos x="connsiteX52105" y="connsiteY52105"/>
              </a:cxn>
              <a:cxn ang="0">
                <a:pos x="connsiteX52106" y="connsiteY52106"/>
              </a:cxn>
              <a:cxn ang="0">
                <a:pos x="connsiteX52107" y="connsiteY52107"/>
              </a:cxn>
              <a:cxn ang="0">
                <a:pos x="connsiteX52108" y="connsiteY52108"/>
              </a:cxn>
              <a:cxn ang="0">
                <a:pos x="connsiteX52109" y="connsiteY52109"/>
              </a:cxn>
              <a:cxn ang="0">
                <a:pos x="connsiteX52110" y="connsiteY52110"/>
              </a:cxn>
              <a:cxn ang="0">
                <a:pos x="connsiteX52111" y="connsiteY52111"/>
              </a:cxn>
              <a:cxn ang="0">
                <a:pos x="connsiteX52112" y="connsiteY52112"/>
              </a:cxn>
              <a:cxn ang="0">
                <a:pos x="connsiteX52113" y="connsiteY52113"/>
              </a:cxn>
              <a:cxn ang="0">
                <a:pos x="connsiteX52114" y="connsiteY52114"/>
              </a:cxn>
              <a:cxn ang="0">
                <a:pos x="connsiteX52115" y="connsiteY52115"/>
              </a:cxn>
              <a:cxn ang="0">
                <a:pos x="connsiteX52116" y="connsiteY52116"/>
              </a:cxn>
              <a:cxn ang="0">
                <a:pos x="connsiteX52117" y="connsiteY52117"/>
              </a:cxn>
              <a:cxn ang="0">
                <a:pos x="connsiteX52118" y="connsiteY52118"/>
              </a:cxn>
              <a:cxn ang="0">
                <a:pos x="connsiteX52119" y="connsiteY52119"/>
              </a:cxn>
              <a:cxn ang="0">
                <a:pos x="connsiteX52120" y="connsiteY52120"/>
              </a:cxn>
              <a:cxn ang="0">
                <a:pos x="connsiteX52121" y="connsiteY52121"/>
              </a:cxn>
              <a:cxn ang="0">
                <a:pos x="connsiteX52122" y="connsiteY52122"/>
              </a:cxn>
              <a:cxn ang="0">
                <a:pos x="connsiteX52123" y="connsiteY52123"/>
              </a:cxn>
              <a:cxn ang="0">
                <a:pos x="connsiteX52124" y="connsiteY52124"/>
              </a:cxn>
              <a:cxn ang="0">
                <a:pos x="connsiteX52125" y="connsiteY52125"/>
              </a:cxn>
              <a:cxn ang="0">
                <a:pos x="connsiteX52126" y="connsiteY52126"/>
              </a:cxn>
              <a:cxn ang="0">
                <a:pos x="connsiteX52127" y="connsiteY52127"/>
              </a:cxn>
              <a:cxn ang="0">
                <a:pos x="connsiteX52128" y="connsiteY52128"/>
              </a:cxn>
              <a:cxn ang="0">
                <a:pos x="connsiteX52129" y="connsiteY52129"/>
              </a:cxn>
              <a:cxn ang="0">
                <a:pos x="connsiteX52130" y="connsiteY52130"/>
              </a:cxn>
              <a:cxn ang="0">
                <a:pos x="connsiteX52131" y="connsiteY52131"/>
              </a:cxn>
              <a:cxn ang="0">
                <a:pos x="connsiteX52132" y="connsiteY52132"/>
              </a:cxn>
              <a:cxn ang="0">
                <a:pos x="connsiteX52133" y="connsiteY52133"/>
              </a:cxn>
              <a:cxn ang="0">
                <a:pos x="connsiteX52134" y="connsiteY52134"/>
              </a:cxn>
              <a:cxn ang="0">
                <a:pos x="connsiteX52135" y="connsiteY52135"/>
              </a:cxn>
              <a:cxn ang="0">
                <a:pos x="connsiteX52136" y="connsiteY52136"/>
              </a:cxn>
              <a:cxn ang="0">
                <a:pos x="connsiteX52137" y="connsiteY52137"/>
              </a:cxn>
              <a:cxn ang="0">
                <a:pos x="connsiteX52138" y="connsiteY52138"/>
              </a:cxn>
              <a:cxn ang="0">
                <a:pos x="connsiteX52139" y="connsiteY52139"/>
              </a:cxn>
              <a:cxn ang="0">
                <a:pos x="connsiteX52140" y="connsiteY52140"/>
              </a:cxn>
              <a:cxn ang="0">
                <a:pos x="connsiteX52141" y="connsiteY52141"/>
              </a:cxn>
              <a:cxn ang="0">
                <a:pos x="connsiteX52142" y="connsiteY52142"/>
              </a:cxn>
              <a:cxn ang="0">
                <a:pos x="connsiteX52143" y="connsiteY52143"/>
              </a:cxn>
              <a:cxn ang="0">
                <a:pos x="connsiteX52144" y="connsiteY52144"/>
              </a:cxn>
              <a:cxn ang="0">
                <a:pos x="connsiteX52145" y="connsiteY52145"/>
              </a:cxn>
              <a:cxn ang="0">
                <a:pos x="connsiteX52146" y="connsiteY52146"/>
              </a:cxn>
              <a:cxn ang="0">
                <a:pos x="connsiteX52147" y="connsiteY52147"/>
              </a:cxn>
              <a:cxn ang="0">
                <a:pos x="connsiteX52148" y="connsiteY52148"/>
              </a:cxn>
              <a:cxn ang="0">
                <a:pos x="connsiteX52149" y="connsiteY52149"/>
              </a:cxn>
              <a:cxn ang="0">
                <a:pos x="connsiteX52150" y="connsiteY52150"/>
              </a:cxn>
              <a:cxn ang="0">
                <a:pos x="connsiteX52151" y="connsiteY52151"/>
              </a:cxn>
              <a:cxn ang="0">
                <a:pos x="connsiteX52152" y="connsiteY52152"/>
              </a:cxn>
              <a:cxn ang="0">
                <a:pos x="connsiteX52153" y="connsiteY52153"/>
              </a:cxn>
              <a:cxn ang="0">
                <a:pos x="connsiteX52154" y="connsiteY52154"/>
              </a:cxn>
              <a:cxn ang="0">
                <a:pos x="connsiteX52155" y="connsiteY52155"/>
              </a:cxn>
              <a:cxn ang="0">
                <a:pos x="connsiteX52156" y="connsiteY52156"/>
              </a:cxn>
              <a:cxn ang="0">
                <a:pos x="connsiteX52157" y="connsiteY52157"/>
              </a:cxn>
              <a:cxn ang="0">
                <a:pos x="connsiteX52158" y="connsiteY52158"/>
              </a:cxn>
              <a:cxn ang="0">
                <a:pos x="connsiteX52159" y="connsiteY52159"/>
              </a:cxn>
              <a:cxn ang="0">
                <a:pos x="connsiteX52160" y="connsiteY52160"/>
              </a:cxn>
              <a:cxn ang="0">
                <a:pos x="connsiteX52161" y="connsiteY52161"/>
              </a:cxn>
              <a:cxn ang="0">
                <a:pos x="connsiteX52162" y="connsiteY52162"/>
              </a:cxn>
              <a:cxn ang="0">
                <a:pos x="connsiteX52163" y="connsiteY52163"/>
              </a:cxn>
              <a:cxn ang="0">
                <a:pos x="connsiteX52164" y="connsiteY52164"/>
              </a:cxn>
              <a:cxn ang="0">
                <a:pos x="connsiteX52165" y="connsiteY52165"/>
              </a:cxn>
              <a:cxn ang="0">
                <a:pos x="connsiteX52166" y="connsiteY52166"/>
              </a:cxn>
              <a:cxn ang="0">
                <a:pos x="connsiteX52167" y="connsiteY52167"/>
              </a:cxn>
              <a:cxn ang="0">
                <a:pos x="connsiteX52168" y="connsiteY52168"/>
              </a:cxn>
              <a:cxn ang="0">
                <a:pos x="connsiteX52169" y="connsiteY52169"/>
              </a:cxn>
              <a:cxn ang="0">
                <a:pos x="connsiteX52170" y="connsiteY52170"/>
              </a:cxn>
              <a:cxn ang="0">
                <a:pos x="connsiteX52171" y="connsiteY52171"/>
              </a:cxn>
              <a:cxn ang="0">
                <a:pos x="connsiteX52172" y="connsiteY52172"/>
              </a:cxn>
              <a:cxn ang="0">
                <a:pos x="connsiteX52173" y="connsiteY52173"/>
              </a:cxn>
              <a:cxn ang="0">
                <a:pos x="connsiteX52174" y="connsiteY52174"/>
              </a:cxn>
              <a:cxn ang="0">
                <a:pos x="connsiteX52175" y="connsiteY52175"/>
              </a:cxn>
              <a:cxn ang="0">
                <a:pos x="connsiteX52176" y="connsiteY52176"/>
              </a:cxn>
              <a:cxn ang="0">
                <a:pos x="connsiteX52177" y="connsiteY52177"/>
              </a:cxn>
              <a:cxn ang="0">
                <a:pos x="connsiteX52178" y="connsiteY52178"/>
              </a:cxn>
              <a:cxn ang="0">
                <a:pos x="connsiteX52179" y="connsiteY52179"/>
              </a:cxn>
              <a:cxn ang="0">
                <a:pos x="connsiteX52180" y="connsiteY52180"/>
              </a:cxn>
              <a:cxn ang="0">
                <a:pos x="connsiteX52181" y="connsiteY52181"/>
              </a:cxn>
              <a:cxn ang="0">
                <a:pos x="connsiteX52182" y="connsiteY52182"/>
              </a:cxn>
              <a:cxn ang="0">
                <a:pos x="connsiteX52183" y="connsiteY52183"/>
              </a:cxn>
              <a:cxn ang="0">
                <a:pos x="connsiteX52184" y="connsiteY52184"/>
              </a:cxn>
              <a:cxn ang="0">
                <a:pos x="connsiteX52185" y="connsiteY52185"/>
              </a:cxn>
              <a:cxn ang="0">
                <a:pos x="connsiteX52186" y="connsiteY52186"/>
              </a:cxn>
              <a:cxn ang="0">
                <a:pos x="connsiteX52187" y="connsiteY52187"/>
              </a:cxn>
              <a:cxn ang="0">
                <a:pos x="connsiteX52188" y="connsiteY52188"/>
              </a:cxn>
              <a:cxn ang="0">
                <a:pos x="connsiteX52189" y="connsiteY52189"/>
              </a:cxn>
              <a:cxn ang="0">
                <a:pos x="connsiteX52190" y="connsiteY52190"/>
              </a:cxn>
              <a:cxn ang="0">
                <a:pos x="connsiteX52191" y="connsiteY52191"/>
              </a:cxn>
              <a:cxn ang="0">
                <a:pos x="connsiteX52192" y="connsiteY52192"/>
              </a:cxn>
              <a:cxn ang="0">
                <a:pos x="connsiteX52193" y="connsiteY52193"/>
              </a:cxn>
              <a:cxn ang="0">
                <a:pos x="connsiteX52194" y="connsiteY52194"/>
              </a:cxn>
              <a:cxn ang="0">
                <a:pos x="connsiteX52195" y="connsiteY52195"/>
              </a:cxn>
              <a:cxn ang="0">
                <a:pos x="connsiteX52196" y="connsiteY52196"/>
              </a:cxn>
              <a:cxn ang="0">
                <a:pos x="connsiteX52197" y="connsiteY52197"/>
              </a:cxn>
              <a:cxn ang="0">
                <a:pos x="connsiteX52198" y="connsiteY52198"/>
              </a:cxn>
              <a:cxn ang="0">
                <a:pos x="connsiteX52199" y="connsiteY52199"/>
              </a:cxn>
              <a:cxn ang="0">
                <a:pos x="connsiteX52200" y="connsiteY52200"/>
              </a:cxn>
              <a:cxn ang="0">
                <a:pos x="connsiteX52201" y="connsiteY52201"/>
              </a:cxn>
              <a:cxn ang="0">
                <a:pos x="connsiteX52202" y="connsiteY52202"/>
              </a:cxn>
              <a:cxn ang="0">
                <a:pos x="connsiteX52203" y="connsiteY52203"/>
              </a:cxn>
              <a:cxn ang="0">
                <a:pos x="connsiteX52204" y="connsiteY52204"/>
              </a:cxn>
              <a:cxn ang="0">
                <a:pos x="connsiteX52205" y="connsiteY52205"/>
              </a:cxn>
              <a:cxn ang="0">
                <a:pos x="connsiteX52206" y="connsiteY52206"/>
              </a:cxn>
              <a:cxn ang="0">
                <a:pos x="connsiteX52207" y="connsiteY52207"/>
              </a:cxn>
              <a:cxn ang="0">
                <a:pos x="connsiteX52208" y="connsiteY52208"/>
              </a:cxn>
              <a:cxn ang="0">
                <a:pos x="connsiteX52209" y="connsiteY52209"/>
              </a:cxn>
              <a:cxn ang="0">
                <a:pos x="connsiteX52210" y="connsiteY52210"/>
              </a:cxn>
              <a:cxn ang="0">
                <a:pos x="connsiteX52211" y="connsiteY52211"/>
              </a:cxn>
              <a:cxn ang="0">
                <a:pos x="connsiteX52212" y="connsiteY52212"/>
              </a:cxn>
              <a:cxn ang="0">
                <a:pos x="connsiteX52213" y="connsiteY52213"/>
              </a:cxn>
              <a:cxn ang="0">
                <a:pos x="connsiteX52214" y="connsiteY52214"/>
              </a:cxn>
              <a:cxn ang="0">
                <a:pos x="connsiteX52215" y="connsiteY52215"/>
              </a:cxn>
              <a:cxn ang="0">
                <a:pos x="connsiteX52216" y="connsiteY52216"/>
              </a:cxn>
              <a:cxn ang="0">
                <a:pos x="connsiteX52217" y="connsiteY52217"/>
              </a:cxn>
              <a:cxn ang="0">
                <a:pos x="connsiteX52218" y="connsiteY52218"/>
              </a:cxn>
              <a:cxn ang="0">
                <a:pos x="connsiteX52219" y="connsiteY52219"/>
              </a:cxn>
              <a:cxn ang="0">
                <a:pos x="connsiteX52220" y="connsiteY52220"/>
              </a:cxn>
              <a:cxn ang="0">
                <a:pos x="connsiteX52221" y="connsiteY52221"/>
              </a:cxn>
              <a:cxn ang="0">
                <a:pos x="connsiteX52222" y="connsiteY52222"/>
              </a:cxn>
              <a:cxn ang="0">
                <a:pos x="connsiteX52223" y="connsiteY52223"/>
              </a:cxn>
              <a:cxn ang="0">
                <a:pos x="connsiteX52224" y="connsiteY52224"/>
              </a:cxn>
              <a:cxn ang="0">
                <a:pos x="connsiteX52225" y="connsiteY52225"/>
              </a:cxn>
              <a:cxn ang="0">
                <a:pos x="connsiteX52226" y="connsiteY52226"/>
              </a:cxn>
              <a:cxn ang="0">
                <a:pos x="connsiteX52227" y="connsiteY52227"/>
              </a:cxn>
              <a:cxn ang="0">
                <a:pos x="connsiteX52228" y="connsiteY52228"/>
              </a:cxn>
              <a:cxn ang="0">
                <a:pos x="connsiteX52229" y="connsiteY52229"/>
              </a:cxn>
              <a:cxn ang="0">
                <a:pos x="connsiteX52230" y="connsiteY52230"/>
              </a:cxn>
              <a:cxn ang="0">
                <a:pos x="connsiteX52231" y="connsiteY52231"/>
              </a:cxn>
              <a:cxn ang="0">
                <a:pos x="connsiteX52232" y="connsiteY52232"/>
              </a:cxn>
              <a:cxn ang="0">
                <a:pos x="connsiteX52233" y="connsiteY52233"/>
              </a:cxn>
              <a:cxn ang="0">
                <a:pos x="connsiteX52234" y="connsiteY52234"/>
              </a:cxn>
              <a:cxn ang="0">
                <a:pos x="connsiteX52235" y="connsiteY52235"/>
              </a:cxn>
              <a:cxn ang="0">
                <a:pos x="connsiteX52236" y="connsiteY52236"/>
              </a:cxn>
              <a:cxn ang="0">
                <a:pos x="connsiteX52237" y="connsiteY52237"/>
              </a:cxn>
              <a:cxn ang="0">
                <a:pos x="connsiteX52238" y="connsiteY52238"/>
              </a:cxn>
              <a:cxn ang="0">
                <a:pos x="connsiteX52239" y="connsiteY52239"/>
              </a:cxn>
              <a:cxn ang="0">
                <a:pos x="connsiteX52240" y="connsiteY52240"/>
              </a:cxn>
              <a:cxn ang="0">
                <a:pos x="connsiteX52241" y="connsiteY52241"/>
              </a:cxn>
              <a:cxn ang="0">
                <a:pos x="connsiteX52242" y="connsiteY52242"/>
              </a:cxn>
              <a:cxn ang="0">
                <a:pos x="connsiteX52243" y="connsiteY52243"/>
              </a:cxn>
              <a:cxn ang="0">
                <a:pos x="connsiteX52244" y="connsiteY52244"/>
              </a:cxn>
              <a:cxn ang="0">
                <a:pos x="connsiteX52245" y="connsiteY52245"/>
              </a:cxn>
              <a:cxn ang="0">
                <a:pos x="connsiteX52246" y="connsiteY52246"/>
              </a:cxn>
              <a:cxn ang="0">
                <a:pos x="connsiteX52247" y="connsiteY52247"/>
              </a:cxn>
              <a:cxn ang="0">
                <a:pos x="connsiteX52248" y="connsiteY52248"/>
              </a:cxn>
              <a:cxn ang="0">
                <a:pos x="connsiteX52249" y="connsiteY52249"/>
              </a:cxn>
              <a:cxn ang="0">
                <a:pos x="connsiteX52250" y="connsiteY52250"/>
              </a:cxn>
              <a:cxn ang="0">
                <a:pos x="connsiteX52251" y="connsiteY52251"/>
              </a:cxn>
              <a:cxn ang="0">
                <a:pos x="connsiteX52252" y="connsiteY52252"/>
              </a:cxn>
              <a:cxn ang="0">
                <a:pos x="connsiteX52253" y="connsiteY52253"/>
              </a:cxn>
              <a:cxn ang="0">
                <a:pos x="connsiteX52254" y="connsiteY52254"/>
              </a:cxn>
              <a:cxn ang="0">
                <a:pos x="connsiteX52255" y="connsiteY52255"/>
              </a:cxn>
              <a:cxn ang="0">
                <a:pos x="connsiteX52256" y="connsiteY52256"/>
              </a:cxn>
              <a:cxn ang="0">
                <a:pos x="connsiteX52257" y="connsiteY52257"/>
              </a:cxn>
              <a:cxn ang="0">
                <a:pos x="connsiteX52258" y="connsiteY52258"/>
              </a:cxn>
              <a:cxn ang="0">
                <a:pos x="connsiteX52259" y="connsiteY52259"/>
              </a:cxn>
              <a:cxn ang="0">
                <a:pos x="connsiteX52260" y="connsiteY52260"/>
              </a:cxn>
              <a:cxn ang="0">
                <a:pos x="connsiteX52261" y="connsiteY52261"/>
              </a:cxn>
              <a:cxn ang="0">
                <a:pos x="connsiteX52262" y="connsiteY52262"/>
              </a:cxn>
              <a:cxn ang="0">
                <a:pos x="connsiteX52263" y="connsiteY52263"/>
              </a:cxn>
              <a:cxn ang="0">
                <a:pos x="connsiteX52264" y="connsiteY52264"/>
              </a:cxn>
              <a:cxn ang="0">
                <a:pos x="connsiteX52265" y="connsiteY52265"/>
              </a:cxn>
              <a:cxn ang="0">
                <a:pos x="connsiteX52266" y="connsiteY52266"/>
              </a:cxn>
              <a:cxn ang="0">
                <a:pos x="connsiteX52267" y="connsiteY52267"/>
              </a:cxn>
              <a:cxn ang="0">
                <a:pos x="connsiteX52268" y="connsiteY52268"/>
              </a:cxn>
              <a:cxn ang="0">
                <a:pos x="connsiteX52269" y="connsiteY52269"/>
              </a:cxn>
              <a:cxn ang="0">
                <a:pos x="connsiteX52270" y="connsiteY52270"/>
              </a:cxn>
              <a:cxn ang="0">
                <a:pos x="connsiteX52271" y="connsiteY52271"/>
              </a:cxn>
              <a:cxn ang="0">
                <a:pos x="connsiteX52272" y="connsiteY52272"/>
              </a:cxn>
              <a:cxn ang="0">
                <a:pos x="connsiteX52273" y="connsiteY52273"/>
              </a:cxn>
              <a:cxn ang="0">
                <a:pos x="connsiteX52274" y="connsiteY52274"/>
              </a:cxn>
              <a:cxn ang="0">
                <a:pos x="connsiteX52275" y="connsiteY52275"/>
              </a:cxn>
              <a:cxn ang="0">
                <a:pos x="connsiteX52276" y="connsiteY52276"/>
              </a:cxn>
              <a:cxn ang="0">
                <a:pos x="connsiteX52277" y="connsiteY52277"/>
              </a:cxn>
              <a:cxn ang="0">
                <a:pos x="connsiteX52278" y="connsiteY52278"/>
              </a:cxn>
              <a:cxn ang="0">
                <a:pos x="connsiteX52279" y="connsiteY52279"/>
              </a:cxn>
              <a:cxn ang="0">
                <a:pos x="connsiteX52280" y="connsiteY52280"/>
              </a:cxn>
              <a:cxn ang="0">
                <a:pos x="connsiteX52281" y="connsiteY52281"/>
              </a:cxn>
              <a:cxn ang="0">
                <a:pos x="connsiteX52282" y="connsiteY52282"/>
              </a:cxn>
              <a:cxn ang="0">
                <a:pos x="connsiteX52283" y="connsiteY52283"/>
              </a:cxn>
              <a:cxn ang="0">
                <a:pos x="connsiteX52284" y="connsiteY52284"/>
              </a:cxn>
              <a:cxn ang="0">
                <a:pos x="connsiteX52285" y="connsiteY52285"/>
              </a:cxn>
              <a:cxn ang="0">
                <a:pos x="connsiteX52286" y="connsiteY52286"/>
              </a:cxn>
              <a:cxn ang="0">
                <a:pos x="connsiteX52287" y="connsiteY52287"/>
              </a:cxn>
              <a:cxn ang="0">
                <a:pos x="connsiteX52288" y="connsiteY52288"/>
              </a:cxn>
              <a:cxn ang="0">
                <a:pos x="connsiteX52289" y="connsiteY52289"/>
              </a:cxn>
              <a:cxn ang="0">
                <a:pos x="connsiteX52290" y="connsiteY52290"/>
              </a:cxn>
              <a:cxn ang="0">
                <a:pos x="connsiteX52291" y="connsiteY52291"/>
              </a:cxn>
              <a:cxn ang="0">
                <a:pos x="connsiteX52292" y="connsiteY52292"/>
              </a:cxn>
              <a:cxn ang="0">
                <a:pos x="connsiteX52293" y="connsiteY52293"/>
              </a:cxn>
              <a:cxn ang="0">
                <a:pos x="connsiteX52294" y="connsiteY52294"/>
              </a:cxn>
              <a:cxn ang="0">
                <a:pos x="connsiteX52295" y="connsiteY52295"/>
              </a:cxn>
              <a:cxn ang="0">
                <a:pos x="connsiteX52296" y="connsiteY52296"/>
              </a:cxn>
              <a:cxn ang="0">
                <a:pos x="connsiteX52297" y="connsiteY52297"/>
              </a:cxn>
              <a:cxn ang="0">
                <a:pos x="connsiteX52298" y="connsiteY52298"/>
              </a:cxn>
              <a:cxn ang="0">
                <a:pos x="connsiteX52299" y="connsiteY52299"/>
              </a:cxn>
              <a:cxn ang="0">
                <a:pos x="connsiteX52300" y="connsiteY52300"/>
              </a:cxn>
              <a:cxn ang="0">
                <a:pos x="connsiteX52301" y="connsiteY52301"/>
              </a:cxn>
              <a:cxn ang="0">
                <a:pos x="connsiteX52302" y="connsiteY52302"/>
              </a:cxn>
              <a:cxn ang="0">
                <a:pos x="connsiteX52303" y="connsiteY52303"/>
              </a:cxn>
              <a:cxn ang="0">
                <a:pos x="connsiteX52304" y="connsiteY52304"/>
              </a:cxn>
              <a:cxn ang="0">
                <a:pos x="connsiteX52305" y="connsiteY52305"/>
              </a:cxn>
              <a:cxn ang="0">
                <a:pos x="connsiteX52306" y="connsiteY52306"/>
              </a:cxn>
              <a:cxn ang="0">
                <a:pos x="connsiteX52307" y="connsiteY52307"/>
              </a:cxn>
              <a:cxn ang="0">
                <a:pos x="connsiteX52308" y="connsiteY52308"/>
              </a:cxn>
              <a:cxn ang="0">
                <a:pos x="connsiteX52309" y="connsiteY52309"/>
              </a:cxn>
              <a:cxn ang="0">
                <a:pos x="connsiteX52310" y="connsiteY52310"/>
              </a:cxn>
              <a:cxn ang="0">
                <a:pos x="connsiteX52311" y="connsiteY52311"/>
              </a:cxn>
              <a:cxn ang="0">
                <a:pos x="connsiteX52312" y="connsiteY52312"/>
              </a:cxn>
              <a:cxn ang="0">
                <a:pos x="connsiteX52313" y="connsiteY52313"/>
              </a:cxn>
              <a:cxn ang="0">
                <a:pos x="connsiteX52314" y="connsiteY52314"/>
              </a:cxn>
              <a:cxn ang="0">
                <a:pos x="connsiteX52315" y="connsiteY52315"/>
              </a:cxn>
              <a:cxn ang="0">
                <a:pos x="connsiteX52316" y="connsiteY52316"/>
              </a:cxn>
              <a:cxn ang="0">
                <a:pos x="connsiteX52317" y="connsiteY52317"/>
              </a:cxn>
              <a:cxn ang="0">
                <a:pos x="connsiteX52318" y="connsiteY52318"/>
              </a:cxn>
              <a:cxn ang="0">
                <a:pos x="connsiteX52319" y="connsiteY52319"/>
              </a:cxn>
              <a:cxn ang="0">
                <a:pos x="connsiteX52320" y="connsiteY52320"/>
              </a:cxn>
              <a:cxn ang="0">
                <a:pos x="connsiteX52321" y="connsiteY52321"/>
              </a:cxn>
              <a:cxn ang="0">
                <a:pos x="connsiteX52322" y="connsiteY52322"/>
              </a:cxn>
              <a:cxn ang="0">
                <a:pos x="connsiteX52323" y="connsiteY52323"/>
              </a:cxn>
              <a:cxn ang="0">
                <a:pos x="connsiteX52324" y="connsiteY52324"/>
              </a:cxn>
              <a:cxn ang="0">
                <a:pos x="connsiteX52325" y="connsiteY52325"/>
              </a:cxn>
              <a:cxn ang="0">
                <a:pos x="connsiteX52326" y="connsiteY52326"/>
              </a:cxn>
              <a:cxn ang="0">
                <a:pos x="connsiteX52327" y="connsiteY52327"/>
              </a:cxn>
              <a:cxn ang="0">
                <a:pos x="connsiteX52328" y="connsiteY52328"/>
              </a:cxn>
              <a:cxn ang="0">
                <a:pos x="connsiteX52329" y="connsiteY52329"/>
              </a:cxn>
              <a:cxn ang="0">
                <a:pos x="connsiteX52330" y="connsiteY52330"/>
              </a:cxn>
              <a:cxn ang="0">
                <a:pos x="connsiteX52331" y="connsiteY52331"/>
              </a:cxn>
              <a:cxn ang="0">
                <a:pos x="connsiteX52332" y="connsiteY52332"/>
              </a:cxn>
              <a:cxn ang="0">
                <a:pos x="connsiteX52333" y="connsiteY52333"/>
              </a:cxn>
              <a:cxn ang="0">
                <a:pos x="connsiteX52334" y="connsiteY52334"/>
              </a:cxn>
              <a:cxn ang="0">
                <a:pos x="connsiteX52335" y="connsiteY52335"/>
              </a:cxn>
              <a:cxn ang="0">
                <a:pos x="connsiteX52336" y="connsiteY52336"/>
              </a:cxn>
              <a:cxn ang="0">
                <a:pos x="connsiteX52337" y="connsiteY52337"/>
              </a:cxn>
              <a:cxn ang="0">
                <a:pos x="connsiteX52338" y="connsiteY52338"/>
              </a:cxn>
              <a:cxn ang="0">
                <a:pos x="connsiteX52339" y="connsiteY52339"/>
              </a:cxn>
              <a:cxn ang="0">
                <a:pos x="connsiteX52340" y="connsiteY52340"/>
              </a:cxn>
              <a:cxn ang="0">
                <a:pos x="connsiteX52341" y="connsiteY52341"/>
              </a:cxn>
              <a:cxn ang="0">
                <a:pos x="connsiteX52342" y="connsiteY52342"/>
              </a:cxn>
              <a:cxn ang="0">
                <a:pos x="connsiteX52343" y="connsiteY52343"/>
              </a:cxn>
              <a:cxn ang="0">
                <a:pos x="connsiteX52344" y="connsiteY52344"/>
              </a:cxn>
              <a:cxn ang="0">
                <a:pos x="connsiteX52345" y="connsiteY52345"/>
              </a:cxn>
              <a:cxn ang="0">
                <a:pos x="connsiteX52346" y="connsiteY52346"/>
              </a:cxn>
              <a:cxn ang="0">
                <a:pos x="connsiteX52347" y="connsiteY52347"/>
              </a:cxn>
              <a:cxn ang="0">
                <a:pos x="connsiteX52348" y="connsiteY52348"/>
              </a:cxn>
              <a:cxn ang="0">
                <a:pos x="connsiteX52349" y="connsiteY52349"/>
              </a:cxn>
              <a:cxn ang="0">
                <a:pos x="connsiteX52350" y="connsiteY52350"/>
              </a:cxn>
              <a:cxn ang="0">
                <a:pos x="connsiteX52351" y="connsiteY52351"/>
              </a:cxn>
              <a:cxn ang="0">
                <a:pos x="connsiteX52352" y="connsiteY52352"/>
              </a:cxn>
              <a:cxn ang="0">
                <a:pos x="connsiteX52353" y="connsiteY52353"/>
              </a:cxn>
              <a:cxn ang="0">
                <a:pos x="connsiteX52354" y="connsiteY52354"/>
              </a:cxn>
              <a:cxn ang="0">
                <a:pos x="connsiteX52355" y="connsiteY52355"/>
              </a:cxn>
              <a:cxn ang="0">
                <a:pos x="connsiteX52356" y="connsiteY52356"/>
              </a:cxn>
              <a:cxn ang="0">
                <a:pos x="connsiteX52357" y="connsiteY52357"/>
              </a:cxn>
              <a:cxn ang="0">
                <a:pos x="connsiteX52358" y="connsiteY52358"/>
              </a:cxn>
              <a:cxn ang="0">
                <a:pos x="connsiteX52359" y="connsiteY52359"/>
              </a:cxn>
              <a:cxn ang="0">
                <a:pos x="connsiteX52360" y="connsiteY52360"/>
              </a:cxn>
              <a:cxn ang="0">
                <a:pos x="connsiteX52361" y="connsiteY52361"/>
              </a:cxn>
              <a:cxn ang="0">
                <a:pos x="connsiteX52362" y="connsiteY52362"/>
              </a:cxn>
              <a:cxn ang="0">
                <a:pos x="connsiteX52363" y="connsiteY52363"/>
              </a:cxn>
              <a:cxn ang="0">
                <a:pos x="connsiteX52364" y="connsiteY52364"/>
              </a:cxn>
              <a:cxn ang="0">
                <a:pos x="connsiteX52365" y="connsiteY52365"/>
              </a:cxn>
              <a:cxn ang="0">
                <a:pos x="connsiteX52366" y="connsiteY52366"/>
              </a:cxn>
              <a:cxn ang="0">
                <a:pos x="connsiteX52367" y="connsiteY52367"/>
              </a:cxn>
              <a:cxn ang="0">
                <a:pos x="connsiteX52368" y="connsiteY52368"/>
              </a:cxn>
              <a:cxn ang="0">
                <a:pos x="connsiteX52369" y="connsiteY52369"/>
              </a:cxn>
              <a:cxn ang="0">
                <a:pos x="connsiteX52370" y="connsiteY52370"/>
              </a:cxn>
              <a:cxn ang="0">
                <a:pos x="connsiteX52371" y="connsiteY52371"/>
              </a:cxn>
              <a:cxn ang="0">
                <a:pos x="connsiteX52372" y="connsiteY52372"/>
              </a:cxn>
              <a:cxn ang="0">
                <a:pos x="connsiteX52373" y="connsiteY52373"/>
              </a:cxn>
              <a:cxn ang="0">
                <a:pos x="connsiteX52374" y="connsiteY52374"/>
              </a:cxn>
              <a:cxn ang="0">
                <a:pos x="connsiteX52375" y="connsiteY52375"/>
              </a:cxn>
              <a:cxn ang="0">
                <a:pos x="connsiteX52376" y="connsiteY52376"/>
              </a:cxn>
              <a:cxn ang="0">
                <a:pos x="connsiteX52377" y="connsiteY52377"/>
              </a:cxn>
              <a:cxn ang="0">
                <a:pos x="connsiteX52378" y="connsiteY52378"/>
              </a:cxn>
              <a:cxn ang="0">
                <a:pos x="connsiteX52379" y="connsiteY52379"/>
              </a:cxn>
              <a:cxn ang="0">
                <a:pos x="connsiteX52380" y="connsiteY52380"/>
              </a:cxn>
              <a:cxn ang="0">
                <a:pos x="connsiteX52381" y="connsiteY52381"/>
              </a:cxn>
              <a:cxn ang="0">
                <a:pos x="connsiteX52382" y="connsiteY52382"/>
              </a:cxn>
              <a:cxn ang="0">
                <a:pos x="connsiteX52383" y="connsiteY52383"/>
              </a:cxn>
              <a:cxn ang="0">
                <a:pos x="connsiteX52384" y="connsiteY52384"/>
              </a:cxn>
              <a:cxn ang="0">
                <a:pos x="connsiteX52385" y="connsiteY52385"/>
              </a:cxn>
              <a:cxn ang="0">
                <a:pos x="connsiteX52386" y="connsiteY52386"/>
              </a:cxn>
              <a:cxn ang="0">
                <a:pos x="connsiteX52387" y="connsiteY52387"/>
              </a:cxn>
              <a:cxn ang="0">
                <a:pos x="connsiteX52388" y="connsiteY52388"/>
              </a:cxn>
              <a:cxn ang="0">
                <a:pos x="connsiteX52389" y="connsiteY52389"/>
              </a:cxn>
              <a:cxn ang="0">
                <a:pos x="connsiteX52390" y="connsiteY52390"/>
              </a:cxn>
              <a:cxn ang="0">
                <a:pos x="connsiteX52391" y="connsiteY52391"/>
              </a:cxn>
              <a:cxn ang="0">
                <a:pos x="connsiteX52392" y="connsiteY52392"/>
              </a:cxn>
              <a:cxn ang="0">
                <a:pos x="connsiteX52393" y="connsiteY52393"/>
              </a:cxn>
              <a:cxn ang="0">
                <a:pos x="connsiteX52394" y="connsiteY52394"/>
              </a:cxn>
              <a:cxn ang="0">
                <a:pos x="connsiteX52395" y="connsiteY52395"/>
              </a:cxn>
              <a:cxn ang="0">
                <a:pos x="connsiteX52396" y="connsiteY52396"/>
              </a:cxn>
              <a:cxn ang="0">
                <a:pos x="connsiteX52397" y="connsiteY52397"/>
              </a:cxn>
              <a:cxn ang="0">
                <a:pos x="connsiteX52398" y="connsiteY52398"/>
              </a:cxn>
              <a:cxn ang="0">
                <a:pos x="connsiteX52399" y="connsiteY52399"/>
              </a:cxn>
              <a:cxn ang="0">
                <a:pos x="connsiteX52400" y="connsiteY52400"/>
              </a:cxn>
              <a:cxn ang="0">
                <a:pos x="connsiteX52401" y="connsiteY52401"/>
              </a:cxn>
              <a:cxn ang="0">
                <a:pos x="connsiteX52402" y="connsiteY52402"/>
              </a:cxn>
              <a:cxn ang="0">
                <a:pos x="connsiteX52403" y="connsiteY52403"/>
              </a:cxn>
              <a:cxn ang="0">
                <a:pos x="connsiteX52404" y="connsiteY52404"/>
              </a:cxn>
              <a:cxn ang="0">
                <a:pos x="connsiteX52405" y="connsiteY52405"/>
              </a:cxn>
              <a:cxn ang="0">
                <a:pos x="connsiteX52406" y="connsiteY52406"/>
              </a:cxn>
              <a:cxn ang="0">
                <a:pos x="connsiteX52407" y="connsiteY52407"/>
              </a:cxn>
              <a:cxn ang="0">
                <a:pos x="connsiteX52408" y="connsiteY52408"/>
              </a:cxn>
              <a:cxn ang="0">
                <a:pos x="connsiteX52409" y="connsiteY52409"/>
              </a:cxn>
              <a:cxn ang="0">
                <a:pos x="connsiteX52410" y="connsiteY52410"/>
              </a:cxn>
              <a:cxn ang="0">
                <a:pos x="connsiteX52411" y="connsiteY52411"/>
              </a:cxn>
              <a:cxn ang="0">
                <a:pos x="connsiteX52412" y="connsiteY52412"/>
              </a:cxn>
              <a:cxn ang="0">
                <a:pos x="connsiteX52413" y="connsiteY52413"/>
              </a:cxn>
              <a:cxn ang="0">
                <a:pos x="connsiteX52414" y="connsiteY52414"/>
              </a:cxn>
              <a:cxn ang="0">
                <a:pos x="connsiteX52415" y="connsiteY52415"/>
              </a:cxn>
              <a:cxn ang="0">
                <a:pos x="connsiteX52416" y="connsiteY52416"/>
              </a:cxn>
              <a:cxn ang="0">
                <a:pos x="connsiteX52417" y="connsiteY52417"/>
              </a:cxn>
              <a:cxn ang="0">
                <a:pos x="connsiteX52418" y="connsiteY52418"/>
              </a:cxn>
              <a:cxn ang="0">
                <a:pos x="connsiteX52419" y="connsiteY52419"/>
              </a:cxn>
              <a:cxn ang="0">
                <a:pos x="connsiteX52420" y="connsiteY52420"/>
              </a:cxn>
              <a:cxn ang="0">
                <a:pos x="connsiteX52421" y="connsiteY52421"/>
              </a:cxn>
              <a:cxn ang="0">
                <a:pos x="connsiteX52422" y="connsiteY52422"/>
              </a:cxn>
              <a:cxn ang="0">
                <a:pos x="connsiteX52423" y="connsiteY52423"/>
              </a:cxn>
              <a:cxn ang="0">
                <a:pos x="connsiteX52424" y="connsiteY52424"/>
              </a:cxn>
              <a:cxn ang="0">
                <a:pos x="connsiteX52425" y="connsiteY52425"/>
              </a:cxn>
              <a:cxn ang="0">
                <a:pos x="connsiteX52426" y="connsiteY52426"/>
              </a:cxn>
              <a:cxn ang="0">
                <a:pos x="connsiteX52427" y="connsiteY52427"/>
              </a:cxn>
              <a:cxn ang="0">
                <a:pos x="connsiteX52428" y="connsiteY52428"/>
              </a:cxn>
              <a:cxn ang="0">
                <a:pos x="connsiteX52429" y="connsiteY52429"/>
              </a:cxn>
              <a:cxn ang="0">
                <a:pos x="connsiteX52430" y="connsiteY52430"/>
              </a:cxn>
              <a:cxn ang="0">
                <a:pos x="connsiteX52431" y="connsiteY52431"/>
              </a:cxn>
              <a:cxn ang="0">
                <a:pos x="connsiteX52432" y="connsiteY52432"/>
              </a:cxn>
              <a:cxn ang="0">
                <a:pos x="connsiteX52433" y="connsiteY52433"/>
              </a:cxn>
              <a:cxn ang="0">
                <a:pos x="connsiteX52434" y="connsiteY52434"/>
              </a:cxn>
              <a:cxn ang="0">
                <a:pos x="connsiteX52435" y="connsiteY52435"/>
              </a:cxn>
              <a:cxn ang="0">
                <a:pos x="connsiteX52436" y="connsiteY52436"/>
              </a:cxn>
              <a:cxn ang="0">
                <a:pos x="connsiteX52437" y="connsiteY52437"/>
              </a:cxn>
              <a:cxn ang="0">
                <a:pos x="connsiteX52438" y="connsiteY52438"/>
              </a:cxn>
              <a:cxn ang="0">
                <a:pos x="connsiteX52439" y="connsiteY52439"/>
              </a:cxn>
              <a:cxn ang="0">
                <a:pos x="connsiteX52440" y="connsiteY52440"/>
              </a:cxn>
              <a:cxn ang="0">
                <a:pos x="connsiteX52441" y="connsiteY52441"/>
              </a:cxn>
              <a:cxn ang="0">
                <a:pos x="connsiteX52442" y="connsiteY52442"/>
              </a:cxn>
              <a:cxn ang="0">
                <a:pos x="connsiteX52443" y="connsiteY52443"/>
              </a:cxn>
              <a:cxn ang="0">
                <a:pos x="connsiteX52444" y="connsiteY52444"/>
              </a:cxn>
              <a:cxn ang="0">
                <a:pos x="connsiteX52445" y="connsiteY52445"/>
              </a:cxn>
              <a:cxn ang="0">
                <a:pos x="connsiteX52446" y="connsiteY52446"/>
              </a:cxn>
              <a:cxn ang="0">
                <a:pos x="connsiteX52447" y="connsiteY52447"/>
              </a:cxn>
              <a:cxn ang="0">
                <a:pos x="connsiteX52448" y="connsiteY52448"/>
              </a:cxn>
              <a:cxn ang="0">
                <a:pos x="connsiteX52449" y="connsiteY52449"/>
              </a:cxn>
              <a:cxn ang="0">
                <a:pos x="connsiteX52450" y="connsiteY52450"/>
              </a:cxn>
              <a:cxn ang="0">
                <a:pos x="connsiteX52451" y="connsiteY52451"/>
              </a:cxn>
              <a:cxn ang="0">
                <a:pos x="connsiteX52452" y="connsiteY52452"/>
              </a:cxn>
              <a:cxn ang="0">
                <a:pos x="connsiteX52453" y="connsiteY52453"/>
              </a:cxn>
              <a:cxn ang="0">
                <a:pos x="connsiteX52454" y="connsiteY52454"/>
              </a:cxn>
              <a:cxn ang="0">
                <a:pos x="connsiteX52455" y="connsiteY52455"/>
              </a:cxn>
              <a:cxn ang="0">
                <a:pos x="connsiteX52456" y="connsiteY52456"/>
              </a:cxn>
              <a:cxn ang="0">
                <a:pos x="connsiteX52457" y="connsiteY52457"/>
              </a:cxn>
              <a:cxn ang="0">
                <a:pos x="connsiteX52458" y="connsiteY52458"/>
              </a:cxn>
              <a:cxn ang="0">
                <a:pos x="connsiteX52459" y="connsiteY52459"/>
              </a:cxn>
              <a:cxn ang="0">
                <a:pos x="connsiteX52460" y="connsiteY52460"/>
              </a:cxn>
              <a:cxn ang="0">
                <a:pos x="connsiteX52461" y="connsiteY52461"/>
              </a:cxn>
              <a:cxn ang="0">
                <a:pos x="connsiteX52462" y="connsiteY52462"/>
              </a:cxn>
              <a:cxn ang="0">
                <a:pos x="connsiteX52463" y="connsiteY52463"/>
              </a:cxn>
              <a:cxn ang="0">
                <a:pos x="connsiteX52464" y="connsiteY52464"/>
              </a:cxn>
              <a:cxn ang="0">
                <a:pos x="connsiteX52465" y="connsiteY52465"/>
              </a:cxn>
              <a:cxn ang="0">
                <a:pos x="connsiteX52466" y="connsiteY52466"/>
              </a:cxn>
              <a:cxn ang="0">
                <a:pos x="connsiteX52467" y="connsiteY52467"/>
              </a:cxn>
              <a:cxn ang="0">
                <a:pos x="connsiteX52468" y="connsiteY52468"/>
              </a:cxn>
              <a:cxn ang="0">
                <a:pos x="connsiteX52469" y="connsiteY52469"/>
              </a:cxn>
              <a:cxn ang="0">
                <a:pos x="connsiteX52470" y="connsiteY52470"/>
              </a:cxn>
              <a:cxn ang="0">
                <a:pos x="connsiteX52471" y="connsiteY52471"/>
              </a:cxn>
              <a:cxn ang="0">
                <a:pos x="connsiteX52472" y="connsiteY52472"/>
              </a:cxn>
              <a:cxn ang="0">
                <a:pos x="connsiteX52473" y="connsiteY52473"/>
              </a:cxn>
              <a:cxn ang="0">
                <a:pos x="connsiteX52474" y="connsiteY52474"/>
              </a:cxn>
              <a:cxn ang="0">
                <a:pos x="connsiteX52475" y="connsiteY52475"/>
              </a:cxn>
              <a:cxn ang="0">
                <a:pos x="connsiteX52476" y="connsiteY52476"/>
              </a:cxn>
              <a:cxn ang="0">
                <a:pos x="connsiteX52477" y="connsiteY52477"/>
              </a:cxn>
              <a:cxn ang="0">
                <a:pos x="connsiteX52478" y="connsiteY52478"/>
              </a:cxn>
              <a:cxn ang="0">
                <a:pos x="connsiteX52479" y="connsiteY52479"/>
              </a:cxn>
              <a:cxn ang="0">
                <a:pos x="connsiteX52480" y="connsiteY52480"/>
              </a:cxn>
              <a:cxn ang="0">
                <a:pos x="connsiteX52481" y="connsiteY52481"/>
              </a:cxn>
              <a:cxn ang="0">
                <a:pos x="connsiteX52482" y="connsiteY52482"/>
              </a:cxn>
              <a:cxn ang="0">
                <a:pos x="connsiteX52483" y="connsiteY52483"/>
              </a:cxn>
              <a:cxn ang="0">
                <a:pos x="connsiteX52484" y="connsiteY52484"/>
              </a:cxn>
              <a:cxn ang="0">
                <a:pos x="connsiteX52485" y="connsiteY52485"/>
              </a:cxn>
              <a:cxn ang="0">
                <a:pos x="connsiteX52486" y="connsiteY52486"/>
              </a:cxn>
              <a:cxn ang="0">
                <a:pos x="connsiteX52487" y="connsiteY52487"/>
              </a:cxn>
              <a:cxn ang="0">
                <a:pos x="connsiteX52488" y="connsiteY52488"/>
              </a:cxn>
              <a:cxn ang="0">
                <a:pos x="connsiteX52489" y="connsiteY52489"/>
              </a:cxn>
              <a:cxn ang="0">
                <a:pos x="connsiteX52490" y="connsiteY52490"/>
              </a:cxn>
              <a:cxn ang="0">
                <a:pos x="connsiteX52491" y="connsiteY52491"/>
              </a:cxn>
              <a:cxn ang="0">
                <a:pos x="connsiteX52492" y="connsiteY52492"/>
              </a:cxn>
              <a:cxn ang="0">
                <a:pos x="connsiteX52493" y="connsiteY52493"/>
              </a:cxn>
              <a:cxn ang="0">
                <a:pos x="connsiteX52494" y="connsiteY52494"/>
              </a:cxn>
              <a:cxn ang="0">
                <a:pos x="connsiteX52495" y="connsiteY52495"/>
              </a:cxn>
              <a:cxn ang="0">
                <a:pos x="connsiteX52496" y="connsiteY52496"/>
              </a:cxn>
              <a:cxn ang="0">
                <a:pos x="connsiteX52497" y="connsiteY52497"/>
              </a:cxn>
              <a:cxn ang="0">
                <a:pos x="connsiteX52498" y="connsiteY52498"/>
              </a:cxn>
              <a:cxn ang="0">
                <a:pos x="connsiteX52499" y="connsiteY52499"/>
              </a:cxn>
              <a:cxn ang="0">
                <a:pos x="connsiteX52500" y="connsiteY52500"/>
              </a:cxn>
              <a:cxn ang="0">
                <a:pos x="connsiteX52501" y="connsiteY52501"/>
              </a:cxn>
              <a:cxn ang="0">
                <a:pos x="connsiteX52502" y="connsiteY52502"/>
              </a:cxn>
              <a:cxn ang="0">
                <a:pos x="connsiteX52503" y="connsiteY52503"/>
              </a:cxn>
              <a:cxn ang="0">
                <a:pos x="connsiteX52504" y="connsiteY52504"/>
              </a:cxn>
              <a:cxn ang="0">
                <a:pos x="connsiteX52505" y="connsiteY52505"/>
              </a:cxn>
              <a:cxn ang="0">
                <a:pos x="connsiteX52506" y="connsiteY52506"/>
              </a:cxn>
              <a:cxn ang="0">
                <a:pos x="connsiteX52507" y="connsiteY52507"/>
              </a:cxn>
              <a:cxn ang="0">
                <a:pos x="connsiteX52508" y="connsiteY52508"/>
              </a:cxn>
              <a:cxn ang="0">
                <a:pos x="connsiteX52509" y="connsiteY52509"/>
              </a:cxn>
              <a:cxn ang="0">
                <a:pos x="connsiteX52510" y="connsiteY52510"/>
              </a:cxn>
              <a:cxn ang="0">
                <a:pos x="connsiteX52511" y="connsiteY52511"/>
              </a:cxn>
              <a:cxn ang="0">
                <a:pos x="connsiteX52512" y="connsiteY52512"/>
              </a:cxn>
              <a:cxn ang="0">
                <a:pos x="connsiteX52513" y="connsiteY52513"/>
              </a:cxn>
              <a:cxn ang="0">
                <a:pos x="connsiteX52514" y="connsiteY52514"/>
              </a:cxn>
              <a:cxn ang="0">
                <a:pos x="connsiteX52515" y="connsiteY52515"/>
              </a:cxn>
              <a:cxn ang="0">
                <a:pos x="connsiteX52516" y="connsiteY52516"/>
              </a:cxn>
              <a:cxn ang="0">
                <a:pos x="connsiteX52517" y="connsiteY52517"/>
              </a:cxn>
              <a:cxn ang="0">
                <a:pos x="connsiteX52518" y="connsiteY52518"/>
              </a:cxn>
              <a:cxn ang="0">
                <a:pos x="connsiteX52519" y="connsiteY52519"/>
              </a:cxn>
              <a:cxn ang="0">
                <a:pos x="connsiteX52520" y="connsiteY52520"/>
              </a:cxn>
              <a:cxn ang="0">
                <a:pos x="connsiteX52521" y="connsiteY52521"/>
              </a:cxn>
              <a:cxn ang="0">
                <a:pos x="connsiteX52522" y="connsiteY52522"/>
              </a:cxn>
              <a:cxn ang="0">
                <a:pos x="connsiteX52523" y="connsiteY52523"/>
              </a:cxn>
              <a:cxn ang="0">
                <a:pos x="connsiteX52524" y="connsiteY52524"/>
              </a:cxn>
              <a:cxn ang="0">
                <a:pos x="connsiteX52525" y="connsiteY52525"/>
              </a:cxn>
              <a:cxn ang="0">
                <a:pos x="connsiteX52526" y="connsiteY52526"/>
              </a:cxn>
              <a:cxn ang="0">
                <a:pos x="connsiteX52527" y="connsiteY52527"/>
              </a:cxn>
              <a:cxn ang="0">
                <a:pos x="connsiteX52528" y="connsiteY52528"/>
              </a:cxn>
              <a:cxn ang="0">
                <a:pos x="connsiteX52529" y="connsiteY52529"/>
              </a:cxn>
              <a:cxn ang="0">
                <a:pos x="connsiteX52530" y="connsiteY52530"/>
              </a:cxn>
              <a:cxn ang="0">
                <a:pos x="connsiteX52531" y="connsiteY52531"/>
              </a:cxn>
              <a:cxn ang="0">
                <a:pos x="connsiteX52532" y="connsiteY52532"/>
              </a:cxn>
              <a:cxn ang="0">
                <a:pos x="connsiteX52533" y="connsiteY52533"/>
              </a:cxn>
              <a:cxn ang="0">
                <a:pos x="connsiteX52534" y="connsiteY52534"/>
              </a:cxn>
              <a:cxn ang="0">
                <a:pos x="connsiteX52535" y="connsiteY52535"/>
              </a:cxn>
              <a:cxn ang="0">
                <a:pos x="connsiteX52536" y="connsiteY52536"/>
              </a:cxn>
              <a:cxn ang="0">
                <a:pos x="connsiteX52537" y="connsiteY52537"/>
              </a:cxn>
              <a:cxn ang="0">
                <a:pos x="connsiteX52538" y="connsiteY52538"/>
              </a:cxn>
              <a:cxn ang="0">
                <a:pos x="connsiteX52539" y="connsiteY52539"/>
              </a:cxn>
              <a:cxn ang="0">
                <a:pos x="connsiteX52540" y="connsiteY52540"/>
              </a:cxn>
              <a:cxn ang="0">
                <a:pos x="connsiteX52541" y="connsiteY52541"/>
              </a:cxn>
              <a:cxn ang="0">
                <a:pos x="connsiteX52542" y="connsiteY52542"/>
              </a:cxn>
              <a:cxn ang="0">
                <a:pos x="connsiteX52543" y="connsiteY52543"/>
              </a:cxn>
              <a:cxn ang="0">
                <a:pos x="connsiteX52544" y="connsiteY52544"/>
              </a:cxn>
              <a:cxn ang="0">
                <a:pos x="connsiteX52545" y="connsiteY52545"/>
              </a:cxn>
              <a:cxn ang="0">
                <a:pos x="connsiteX52546" y="connsiteY52546"/>
              </a:cxn>
              <a:cxn ang="0">
                <a:pos x="connsiteX52547" y="connsiteY52547"/>
              </a:cxn>
              <a:cxn ang="0">
                <a:pos x="connsiteX52548" y="connsiteY52548"/>
              </a:cxn>
              <a:cxn ang="0">
                <a:pos x="connsiteX52549" y="connsiteY52549"/>
              </a:cxn>
              <a:cxn ang="0">
                <a:pos x="connsiteX52550" y="connsiteY52550"/>
              </a:cxn>
              <a:cxn ang="0">
                <a:pos x="connsiteX52551" y="connsiteY52551"/>
              </a:cxn>
              <a:cxn ang="0">
                <a:pos x="connsiteX52552" y="connsiteY52552"/>
              </a:cxn>
              <a:cxn ang="0">
                <a:pos x="connsiteX52553" y="connsiteY52553"/>
              </a:cxn>
              <a:cxn ang="0">
                <a:pos x="connsiteX52554" y="connsiteY52554"/>
              </a:cxn>
              <a:cxn ang="0">
                <a:pos x="connsiteX52555" y="connsiteY52555"/>
              </a:cxn>
              <a:cxn ang="0">
                <a:pos x="connsiteX52556" y="connsiteY52556"/>
              </a:cxn>
              <a:cxn ang="0">
                <a:pos x="connsiteX52557" y="connsiteY52557"/>
              </a:cxn>
              <a:cxn ang="0">
                <a:pos x="connsiteX52558" y="connsiteY52558"/>
              </a:cxn>
              <a:cxn ang="0">
                <a:pos x="connsiteX52559" y="connsiteY52559"/>
              </a:cxn>
              <a:cxn ang="0">
                <a:pos x="connsiteX52560" y="connsiteY52560"/>
              </a:cxn>
              <a:cxn ang="0">
                <a:pos x="connsiteX52561" y="connsiteY52561"/>
              </a:cxn>
              <a:cxn ang="0">
                <a:pos x="connsiteX52562" y="connsiteY52562"/>
              </a:cxn>
              <a:cxn ang="0">
                <a:pos x="connsiteX52563" y="connsiteY52563"/>
              </a:cxn>
              <a:cxn ang="0">
                <a:pos x="connsiteX52564" y="connsiteY52564"/>
              </a:cxn>
              <a:cxn ang="0">
                <a:pos x="connsiteX52565" y="connsiteY52565"/>
              </a:cxn>
              <a:cxn ang="0">
                <a:pos x="connsiteX52566" y="connsiteY52566"/>
              </a:cxn>
              <a:cxn ang="0">
                <a:pos x="connsiteX52567" y="connsiteY52567"/>
              </a:cxn>
              <a:cxn ang="0">
                <a:pos x="connsiteX52568" y="connsiteY52568"/>
              </a:cxn>
              <a:cxn ang="0">
                <a:pos x="connsiteX52569" y="connsiteY52569"/>
              </a:cxn>
              <a:cxn ang="0">
                <a:pos x="connsiteX52570" y="connsiteY52570"/>
              </a:cxn>
              <a:cxn ang="0">
                <a:pos x="connsiteX52571" y="connsiteY52571"/>
              </a:cxn>
              <a:cxn ang="0">
                <a:pos x="connsiteX52572" y="connsiteY52572"/>
              </a:cxn>
              <a:cxn ang="0">
                <a:pos x="connsiteX52573" y="connsiteY52573"/>
              </a:cxn>
              <a:cxn ang="0">
                <a:pos x="connsiteX52574" y="connsiteY52574"/>
              </a:cxn>
              <a:cxn ang="0">
                <a:pos x="connsiteX52575" y="connsiteY52575"/>
              </a:cxn>
              <a:cxn ang="0">
                <a:pos x="connsiteX52576" y="connsiteY52576"/>
              </a:cxn>
              <a:cxn ang="0">
                <a:pos x="connsiteX52577" y="connsiteY52577"/>
              </a:cxn>
              <a:cxn ang="0">
                <a:pos x="connsiteX52578" y="connsiteY52578"/>
              </a:cxn>
              <a:cxn ang="0">
                <a:pos x="connsiteX52579" y="connsiteY52579"/>
              </a:cxn>
              <a:cxn ang="0">
                <a:pos x="connsiteX52580" y="connsiteY52580"/>
              </a:cxn>
              <a:cxn ang="0">
                <a:pos x="connsiteX52581" y="connsiteY52581"/>
              </a:cxn>
              <a:cxn ang="0">
                <a:pos x="connsiteX52582" y="connsiteY52582"/>
              </a:cxn>
              <a:cxn ang="0">
                <a:pos x="connsiteX52583" y="connsiteY52583"/>
              </a:cxn>
              <a:cxn ang="0">
                <a:pos x="connsiteX52584" y="connsiteY52584"/>
              </a:cxn>
              <a:cxn ang="0">
                <a:pos x="connsiteX52585" y="connsiteY52585"/>
              </a:cxn>
              <a:cxn ang="0">
                <a:pos x="connsiteX52586" y="connsiteY52586"/>
              </a:cxn>
              <a:cxn ang="0">
                <a:pos x="connsiteX52587" y="connsiteY52587"/>
              </a:cxn>
              <a:cxn ang="0">
                <a:pos x="connsiteX52588" y="connsiteY52588"/>
              </a:cxn>
              <a:cxn ang="0">
                <a:pos x="connsiteX52589" y="connsiteY52589"/>
              </a:cxn>
              <a:cxn ang="0">
                <a:pos x="connsiteX52590" y="connsiteY52590"/>
              </a:cxn>
              <a:cxn ang="0">
                <a:pos x="connsiteX52591" y="connsiteY52591"/>
              </a:cxn>
              <a:cxn ang="0">
                <a:pos x="connsiteX52592" y="connsiteY52592"/>
              </a:cxn>
              <a:cxn ang="0">
                <a:pos x="connsiteX52593" y="connsiteY52593"/>
              </a:cxn>
              <a:cxn ang="0">
                <a:pos x="connsiteX52594" y="connsiteY52594"/>
              </a:cxn>
              <a:cxn ang="0">
                <a:pos x="connsiteX52595" y="connsiteY52595"/>
              </a:cxn>
              <a:cxn ang="0">
                <a:pos x="connsiteX52596" y="connsiteY52596"/>
              </a:cxn>
              <a:cxn ang="0">
                <a:pos x="connsiteX52597" y="connsiteY52597"/>
              </a:cxn>
              <a:cxn ang="0">
                <a:pos x="connsiteX52598" y="connsiteY52598"/>
              </a:cxn>
              <a:cxn ang="0">
                <a:pos x="connsiteX52599" y="connsiteY52599"/>
              </a:cxn>
              <a:cxn ang="0">
                <a:pos x="connsiteX52600" y="connsiteY52600"/>
              </a:cxn>
              <a:cxn ang="0">
                <a:pos x="connsiteX52601" y="connsiteY52601"/>
              </a:cxn>
              <a:cxn ang="0">
                <a:pos x="connsiteX52602" y="connsiteY52602"/>
              </a:cxn>
              <a:cxn ang="0">
                <a:pos x="connsiteX52603" y="connsiteY52603"/>
              </a:cxn>
              <a:cxn ang="0">
                <a:pos x="connsiteX52604" y="connsiteY52604"/>
              </a:cxn>
              <a:cxn ang="0">
                <a:pos x="connsiteX52605" y="connsiteY52605"/>
              </a:cxn>
              <a:cxn ang="0">
                <a:pos x="connsiteX52606" y="connsiteY52606"/>
              </a:cxn>
              <a:cxn ang="0">
                <a:pos x="connsiteX52607" y="connsiteY52607"/>
              </a:cxn>
              <a:cxn ang="0">
                <a:pos x="connsiteX52608" y="connsiteY52608"/>
              </a:cxn>
              <a:cxn ang="0">
                <a:pos x="connsiteX52609" y="connsiteY52609"/>
              </a:cxn>
              <a:cxn ang="0">
                <a:pos x="connsiteX52610" y="connsiteY52610"/>
              </a:cxn>
              <a:cxn ang="0">
                <a:pos x="connsiteX52611" y="connsiteY52611"/>
              </a:cxn>
              <a:cxn ang="0">
                <a:pos x="connsiteX52612" y="connsiteY52612"/>
              </a:cxn>
              <a:cxn ang="0">
                <a:pos x="connsiteX52613" y="connsiteY52613"/>
              </a:cxn>
              <a:cxn ang="0">
                <a:pos x="connsiteX52614" y="connsiteY52614"/>
              </a:cxn>
              <a:cxn ang="0">
                <a:pos x="connsiteX52615" y="connsiteY52615"/>
              </a:cxn>
              <a:cxn ang="0">
                <a:pos x="connsiteX52616" y="connsiteY52616"/>
              </a:cxn>
              <a:cxn ang="0">
                <a:pos x="connsiteX52617" y="connsiteY52617"/>
              </a:cxn>
              <a:cxn ang="0">
                <a:pos x="connsiteX52618" y="connsiteY52618"/>
              </a:cxn>
              <a:cxn ang="0">
                <a:pos x="connsiteX52619" y="connsiteY52619"/>
              </a:cxn>
              <a:cxn ang="0">
                <a:pos x="connsiteX52620" y="connsiteY52620"/>
              </a:cxn>
              <a:cxn ang="0">
                <a:pos x="connsiteX52621" y="connsiteY52621"/>
              </a:cxn>
              <a:cxn ang="0">
                <a:pos x="connsiteX52622" y="connsiteY52622"/>
              </a:cxn>
              <a:cxn ang="0">
                <a:pos x="connsiteX52623" y="connsiteY52623"/>
              </a:cxn>
              <a:cxn ang="0">
                <a:pos x="connsiteX52624" y="connsiteY52624"/>
              </a:cxn>
              <a:cxn ang="0">
                <a:pos x="connsiteX52625" y="connsiteY52625"/>
              </a:cxn>
              <a:cxn ang="0">
                <a:pos x="connsiteX52626" y="connsiteY52626"/>
              </a:cxn>
              <a:cxn ang="0">
                <a:pos x="connsiteX52627" y="connsiteY52627"/>
              </a:cxn>
              <a:cxn ang="0">
                <a:pos x="connsiteX52628" y="connsiteY52628"/>
              </a:cxn>
              <a:cxn ang="0">
                <a:pos x="connsiteX52629" y="connsiteY52629"/>
              </a:cxn>
              <a:cxn ang="0">
                <a:pos x="connsiteX52630" y="connsiteY52630"/>
              </a:cxn>
              <a:cxn ang="0">
                <a:pos x="connsiteX52631" y="connsiteY52631"/>
              </a:cxn>
              <a:cxn ang="0">
                <a:pos x="connsiteX52632" y="connsiteY52632"/>
              </a:cxn>
              <a:cxn ang="0">
                <a:pos x="connsiteX52633" y="connsiteY52633"/>
              </a:cxn>
              <a:cxn ang="0">
                <a:pos x="connsiteX52634" y="connsiteY52634"/>
              </a:cxn>
              <a:cxn ang="0">
                <a:pos x="connsiteX52635" y="connsiteY52635"/>
              </a:cxn>
              <a:cxn ang="0">
                <a:pos x="connsiteX52636" y="connsiteY52636"/>
              </a:cxn>
              <a:cxn ang="0">
                <a:pos x="connsiteX52637" y="connsiteY52637"/>
              </a:cxn>
              <a:cxn ang="0">
                <a:pos x="connsiteX52638" y="connsiteY52638"/>
              </a:cxn>
              <a:cxn ang="0">
                <a:pos x="connsiteX52639" y="connsiteY52639"/>
              </a:cxn>
              <a:cxn ang="0">
                <a:pos x="connsiteX52640" y="connsiteY52640"/>
              </a:cxn>
              <a:cxn ang="0">
                <a:pos x="connsiteX52641" y="connsiteY52641"/>
              </a:cxn>
              <a:cxn ang="0">
                <a:pos x="connsiteX52642" y="connsiteY52642"/>
              </a:cxn>
              <a:cxn ang="0">
                <a:pos x="connsiteX52643" y="connsiteY52643"/>
              </a:cxn>
              <a:cxn ang="0">
                <a:pos x="connsiteX52644" y="connsiteY52644"/>
              </a:cxn>
              <a:cxn ang="0">
                <a:pos x="connsiteX52645" y="connsiteY52645"/>
              </a:cxn>
              <a:cxn ang="0">
                <a:pos x="connsiteX52646" y="connsiteY52646"/>
              </a:cxn>
              <a:cxn ang="0">
                <a:pos x="connsiteX52647" y="connsiteY52647"/>
              </a:cxn>
              <a:cxn ang="0">
                <a:pos x="connsiteX52648" y="connsiteY52648"/>
              </a:cxn>
              <a:cxn ang="0">
                <a:pos x="connsiteX52649" y="connsiteY52649"/>
              </a:cxn>
              <a:cxn ang="0">
                <a:pos x="connsiteX52650" y="connsiteY52650"/>
              </a:cxn>
              <a:cxn ang="0">
                <a:pos x="connsiteX52651" y="connsiteY52651"/>
              </a:cxn>
              <a:cxn ang="0">
                <a:pos x="connsiteX52652" y="connsiteY52652"/>
              </a:cxn>
              <a:cxn ang="0">
                <a:pos x="connsiteX52653" y="connsiteY52653"/>
              </a:cxn>
              <a:cxn ang="0">
                <a:pos x="connsiteX52654" y="connsiteY52654"/>
              </a:cxn>
              <a:cxn ang="0">
                <a:pos x="connsiteX52655" y="connsiteY52655"/>
              </a:cxn>
              <a:cxn ang="0">
                <a:pos x="connsiteX52656" y="connsiteY52656"/>
              </a:cxn>
              <a:cxn ang="0">
                <a:pos x="connsiteX52657" y="connsiteY52657"/>
              </a:cxn>
              <a:cxn ang="0">
                <a:pos x="connsiteX52658" y="connsiteY52658"/>
              </a:cxn>
              <a:cxn ang="0">
                <a:pos x="connsiteX52659" y="connsiteY52659"/>
              </a:cxn>
              <a:cxn ang="0">
                <a:pos x="connsiteX52660" y="connsiteY52660"/>
              </a:cxn>
              <a:cxn ang="0">
                <a:pos x="connsiteX52661" y="connsiteY52661"/>
              </a:cxn>
              <a:cxn ang="0">
                <a:pos x="connsiteX52662" y="connsiteY52662"/>
              </a:cxn>
              <a:cxn ang="0">
                <a:pos x="connsiteX52663" y="connsiteY52663"/>
              </a:cxn>
              <a:cxn ang="0">
                <a:pos x="connsiteX52664" y="connsiteY52664"/>
              </a:cxn>
              <a:cxn ang="0">
                <a:pos x="connsiteX52665" y="connsiteY52665"/>
              </a:cxn>
              <a:cxn ang="0">
                <a:pos x="connsiteX52666" y="connsiteY52666"/>
              </a:cxn>
              <a:cxn ang="0">
                <a:pos x="connsiteX52667" y="connsiteY52667"/>
              </a:cxn>
              <a:cxn ang="0">
                <a:pos x="connsiteX52668" y="connsiteY52668"/>
              </a:cxn>
              <a:cxn ang="0">
                <a:pos x="connsiteX52669" y="connsiteY52669"/>
              </a:cxn>
              <a:cxn ang="0">
                <a:pos x="connsiteX52670" y="connsiteY52670"/>
              </a:cxn>
              <a:cxn ang="0">
                <a:pos x="connsiteX52671" y="connsiteY52671"/>
              </a:cxn>
              <a:cxn ang="0">
                <a:pos x="connsiteX52672" y="connsiteY52672"/>
              </a:cxn>
              <a:cxn ang="0">
                <a:pos x="connsiteX52673" y="connsiteY52673"/>
              </a:cxn>
              <a:cxn ang="0">
                <a:pos x="connsiteX52674" y="connsiteY52674"/>
              </a:cxn>
              <a:cxn ang="0">
                <a:pos x="connsiteX52675" y="connsiteY52675"/>
              </a:cxn>
              <a:cxn ang="0">
                <a:pos x="connsiteX52676" y="connsiteY52676"/>
              </a:cxn>
              <a:cxn ang="0">
                <a:pos x="connsiteX52677" y="connsiteY52677"/>
              </a:cxn>
              <a:cxn ang="0">
                <a:pos x="connsiteX52678" y="connsiteY52678"/>
              </a:cxn>
              <a:cxn ang="0">
                <a:pos x="connsiteX52679" y="connsiteY52679"/>
              </a:cxn>
              <a:cxn ang="0">
                <a:pos x="connsiteX52680" y="connsiteY52680"/>
              </a:cxn>
              <a:cxn ang="0">
                <a:pos x="connsiteX52681" y="connsiteY52681"/>
              </a:cxn>
              <a:cxn ang="0">
                <a:pos x="connsiteX52682" y="connsiteY52682"/>
              </a:cxn>
              <a:cxn ang="0">
                <a:pos x="connsiteX52683" y="connsiteY52683"/>
              </a:cxn>
              <a:cxn ang="0">
                <a:pos x="connsiteX52684" y="connsiteY52684"/>
              </a:cxn>
              <a:cxn ang="0">
                <a:pos x="connsiteX52685" y="connsiteY52685"/>
              </a:cxn>
              <a:cxn ang="0">
                <a:pos x="connsiteX52686" y="connsiteY52686"/>
              </a:cxn>
              <a:cxn ang="0">
                <a:pos x="connsiteX52687" y="connsiteY52687"/>
              </a:cxn>
              <a:cxn ang="0">
                <a:pos x="connsiteX52688" y="connsiteY52688"/>
              </a:cxn>
              <a:cxn ang="0">
                <a:pos x="connsiteX52689" y="connsiteY52689"/>
              </a:cxn>
              <a:cxn ang="0">
                <a:pos x="connsiteX52690" y="connsiteY52690"/>
              </a:cxn>
              <a:cxn ang="0">
                <a:pos x="connsiteX52691" y="connsiteY52691"/>
              </a:cxn>
              <a:cxn ang="0">
                <a:pos x="connsiteX52692" y="connsiteY52692"/>
              </a:cxn>
              <a:cxn ang="0">
                <a:pos x="connsiteX52693" y="connsiteY52693"/>
              </a:cxn>
              <a:cxn ang="0">
                <a:pos x="connsiteX52694" y="connsiteY52694"/>
              </a:cxn>
              <a:cxn ang="0">
                <a:pos x="connsiteX52695" y="connsiteY52695"/>
              </a:cxn>
              <a:cxn ang="0">
                <a:pos x="connsiteX52696" y="connsiteY52696"/>
              </a:cxn>
              <a:cxn ang="0">
                <a:pos x="connsiteX52697" y="connsiteY52697"/>
              </a:cxn>
              <a:cxn ang="0">
                <a:pos x="connsiteX52698" y="connsiteY52698"/>
              </a:cxn>
              <a:cxn ang="0">
                <a:pos x="connsiteX52699" y="connsiteY52699"/>
              </a:cxn>
              <a:cxn ang="0">
                <a:pos x="connsiteX52700" y="connsiteY52700"/>
              </a:cxn>
              <a:cxn ang="0">
                <a:pos x="connsiteX52701" y="connsiteY52701"/>
              </a:cxn>
              <a:cxn ang="0">
                <a:pos x="connsiteX52702" y="connsiteY52702"/>
              </a:cxn>
              <a:cxn ang="0">
                <a:pos x="connsiteX52703" y="connsiteY52703"/>
              </a:cxn>
              <a:cxn ang="0">
                <a:pos x="connsiteX52704" y="connsiteY52704"/>
              </a:cxn>
              <a:cxn ang="0">
                <a:pos x="connsiteX52705" y="connsiteY52705"/>
              </a:cxn>
              <a:cxn ang="0">
                <a:pos x="connsiteX52706" y="connsiteY52706"/>
              </a:cxn>
              <a:cxn ang="0">
                <a:pos x="connsiteX52707" y="connsiteY52707"/>
              </a:cxn>
              <a:cxn ang="0">
                <a:pos x="connsiteX52708" y="connsiteY52708"/>
              </a:cxn>
              <a:cxn ang="0">
                <a:pos x="connsiteX52709" y="connsiteY52709"/>
              </a:cxn>
              <a:cxn ang="0">
                <a:pos x="connsiteX52710" y="connsiteY52710"/>
              </a:cxn>
              <a:cxn ang="0">
                <a:pos x="connsiteX52711" y="connsiteY52711"/>
              </a:cxn>
              <a:cxn ang="0">
                <a:pos x="connsiteX52712" y="connsiteY52712"/>
              </a:cxn>
              <a:cxn ang="0">
                <a:pos x="connsiteX52713" y="connsiteY52713"/>
              </a:cxn>
              <a:cxn ang="0">
                <a:pos x="connsiteX52714" y="connsiteY52714"/>
              </a:cxn>
              <a:cxn ang="0">
                <a:pos x="connsiteX52715" y="connsiteY52715"/>
              </a:cxn>
              <a:cxn ang="0">
                <a:pos x="connsiteX52716" y="connsiteY52716"/>
              </a:cxn>
              <a:cxn ang="0">
                <a:pos x="connsiteX52717" y="connsiteY52717"/>
              </a:cxn>
              <a:cxn ang="0">
                <a:pos x="connsiteX52718" y="connsiteY52718"/>
              </a:cxn>
              <a:cxn ang="0">
                <a:pos x="connsiteX52719" y="connsiteY52719"/>
              </a:cxn>
              <a:cxn ang="0">
                <a:pos x="connsiteX52720" y="connsiteY52720"/>
              </a:cxn>
              <a:cxn ang="0">
                <a:pos x="connsiteX52721" y="connsiteY52721"/>
              </a:cxn>
              <a:cxn ang="0">
                <a:pos x="connsiteX52722" y="connsiteY52722"/>
              </a:cxn>
              <a:cxn ang="0">
                <a:pos x="connsiteX52723" y="connsiteY52723"/>
              </a:cxn>
              <a:cxn ang="0">
                <a:pos x="connsiteX52724" y="connsiteY52724"/>
              </a:cxn>
              <a:cxn ang="0">
                <a:pos x="connsiteX52725" y="connsiteY52725"/>
              </a:cxn>
              <a:cxn ang="0">
                <a:pos x="connsiteX52726" y="connsiteY52726"/>
              </a:cxn>
              <a:cxn ang="0">
                <a:pos x="connsiteX52727" y="connsiteY52727"/>
              </a:cxn>
              <a:cxn ang="0">
                <a:pos x="connsiteX52728" y="connsiteY52728"/>
              </a:cxn>
              <a:cxn ang="0">
                <a:pos x="connsiteX52729" y="connsiteY52729"/>
              </a:cxn>
              <a:cxn ang="0">
                <a:pos x="connsiteX52730" y="connsiteY52730"/>
              </a:cxn>
              <a:cxn ang="0">
                <a:pos x="connsiteX52731" y="connsiteY52731"/>
              </a:cxn>
              <a:cxn ang="0">
                <a:pos x="connsiteX52732" y="connsiteY52732"/>
              </a:cxn>
              <a:cxn ang="0">
                <a:pos x="connsiteX52733" y="connsiteY52733"/>
              </a:cxn>
              <a:cxn ang="0">
                <a:pos x="connsiteX52734" y="connsiteY52734"/>
              </a:cxn>
              <a:cxn ang="0">
                <a:pos x="connsiteX52735" y="connsiteY52735"/>
              </a:cxn>
              <a:cxn ang="0">
                <a:pos x="connsiteX52736" y="connsiteY52736"/>
              </a:cxn>
              <a:cxn ang="0">
                <a:pos x="connsiteX52737" y="connsiteY52737"/>
              </a:cxn>
              <a:cxn ang="0">
                <a:pos x="connsiteX52738" y="connsiteY52738"/>
              </a:cxn>
              <a:cxn ang="0">
                <a:pos x="connsiteX52739" y="connsiteY52739"/>
              </a:cxn>
              <a:cxn ang="0">
                <a:pos x="connsiteX52740" y="connsiteY52740"/>
              </a:cxn>
              <a:cxn ang="0">
                <a:pos x="connsiteX52741" y="connsiteY52741"/>
              </a:cxn>
              <a:cxn ang="0">
                <a:pos x="connsiteX52742" y="connsiteY52742"/>
              </a:cxn>
              <a:cxn ang="0">
                <a:pos x="connsiteX52743" y="connsiteY52743"/>
              </a:cxn>
              <a:cxn ang="0">
                <a:pos x="connsiteX52744" y="connsiteY52744"/>
              </a:cxn>
              <a:cxn ang="0">
                <a:pos x="connsiteX52745" y="connsiteY52745"/>
              </a:cxn>
              <a:cxn ang="0">
                <a:pos x="connsiteX52746" y="connsiteY52746"/>
              </a:cxn>
              <a:cxn ang="0">
                <a:pos x="connsiteX52747" y="connsiteY52747"/>
              </a:cxn>
              <a:cxn ang="0">
                <a:pos x="connsiteX52748" y="connsiteY52748"/>
              </a:cxn>
              <a:cxn ang="0">
                <a:pos x="connsiteX52749" y="connsiteY52749"/>
              </a:cxn>
              <a:cxn ang="0">
                <a:pos x="connsiteX52750" y="connsiteY52750"/>
              </a:cxn>
              <a:cxn ang="0">
                <a:pos x="connsiteX52751" y="connsiteY52751"/>
              </a:cxn>
              <a:cxn ang="0">
                <a:pos x="connsiteX52752" y="connsiteY52752"/>
              </a:cxn>
              <a:cxn ang="0">
                <a:pos x="connsiteX52753" y="connsiteY52753"/>
              </a:cxn>
              <a:cxn ang="0">
                <a:pos x="connsiteX52754" y="connsiteY52754"/>
              </a:cxn>
              <a:cxn ang="0">
                <a:pos x="connsiteX52755" y="connsiteY52755"/>
              </a:cxn>
              <a:cxn ang="0">
                <a:pos x="connsiteX52756" y="connsiteY52756"/>
              </a:cxn>
              <a:cxn ang="0">
                <a:pos x="connsiteX52757" y="connsiteY52757"/>
              </a:cxn>
              <a:cxn ang="0">
                <a:pos x="connsiteX52758" y="connsiteY52758"/>
              </a:cxn>
              <a:cxn ang="0">
                <a:pos x="connsiteX52759" y="connsiteY52759"/>
              </a:cxn>
              <a:cxn ang="0">
                <a:pos x="connsiteX52760" y="connsiteY52760"/>
              </a:cxn>
              <a:cxn ang="0">
                <a:pos x="connsiteX52761" y="connsiteY52761"/>
              </a:cxn>
              <a:cxn ang="0">
                <a:pos x="connsiteX52762" y="connsiteY52762"/>
              </a:cxn>
              <a:cxn ang="0">
                <a:pos x="connsiteX52763" y="connsiteY52763"/>
              </a:cxn>
              <a:cxn ang="0">
                <a:pos x="connsiteX52764" y="connsiteY52764"/>
              </a:cxn>
              <a:cxn ang="0">
                <a:pos x="connsiteX52765" y="connsiteY52765"/>
              </a:cxn>
              <a:cxn ang="0">
                <a:pos x="connsiteX52766" y="connsiteY52766"/>
              </a:cxn>
              <a:cxn ang="0">
                <a:pos x="connsiteX52767" y="connsiteY52767"/>
              </a:cxn>
              <a:cxn ang="0">
                <a:pos x="connsiteX52768" y="connsiteY52768"/>
              </a:cxn>
              <a:cxn ang="0">
                <a:pos x="connsiteX52769" y="connsiteY52769"/>
              </a:cxn>
              <a:cxn ang="0">
                <a:pos x="connsiteX52770" y="connsiteY52770"/>
              </a:cxn>
              <a:cxn ang="0">
                <a:pos x="connsiteX52771" y="connsiteY52771"/>
              </a:cxn>
              <a:cxn ang="0">
                <a:pos x="connsiteX52772" y="connsiteY52772"/>
              </a:cxn>
              <a:cxn ang="0">
                <a:pos x="connsiteX52773" y="connsiteY52773"/>
              </a:cxn>
              <a:cxn ang="0">
                <a:pos x="connsiteX52774" y="connsiteY52774"/>
              </a:cxn>
              <a:cxn ang="0">
                <a:pos x="connsiteX52775" y="connsiteY52775"/>
              </a:cxn>
              <a:cxn ang="0">
                <a:pos x="connsiteX52776" y="connsiteY52776"/>
              </a:cxn>
              <a:cxn ang="0">
                <a:pos x="connsiteX52777" y="connsiteY52777"/>
              </a:cxn>
              <a:cxn ang="0">
                <a:pos x="connsiteX52778" y="connsiteY52778"/>
              </a:cxn>
              <a:cxn ang="0">
                <a:pos x="connsiteX52779" y="connsiteY52779"/>
              </a:cxn>
              <a:cxn ang="0">
                <a:pos x="connsiteX52780" y="connsiteY52780"/>
              </a:cxn>
              <a:cxn ang="0">
                <a:pos x="connsiteX52781" y="connsiteY52781"/>
              </a:cxn>
              <a:cxn ang="0">
                <a:pos x="connsiteX52782" y="connsiteY52782"/>
              </a:cxn>
              <a:cxn ang="0">
                <a:pos x="connsiteX52783" y="connsiteY52783"/>
              </a:cxn>
              <a:cxn ang="0">
                <a:pos x="connsiteX52784" y="connsiteY52784"/>
              </a:cxn>
              <a:cxn ang="0">
                <a:pos x="connsiteX52785" y="connsiteY52785"/>
              </a:cxn>
              <a:cxn ang="0">
                <a:pos x="connsiteX52786" y="connsiteY52786"/>
              </a:cxn>
              <a:cxn ang="0">
                <a:pos x="connsiteX52787" y="connsiteY52787"/>
              </a:cxn>
              <a:cxn ang="0">
                <a:pos x="connsiteX52788" y="connsiteY52788"/>
              </a:cxn>
              <a:cxn ang="0">
                <a:pos x="connsiteX52789" y="connsiteY52789"/>
              </a:cxn>
              <a:cxn ang="0">
                <a:pos x="connsiteX52790" y="connsiteY52790"/>
              </a:cxn>
              <a:cxn ang="0">
                <a:pos x="connsiteX52791" y="connsiteY52791"/>
              </a:cxn>
              <a:cxn ang="0">
                <a:pos x="connsiteX52792" y="connsiteY52792"/>
              </a:cxn>
              <a:cxn ang="0">
                <a:pos x="connsiteX52793" y="connsiteY52793"/>
              </a:cxn>
              <a:cxn ang="0">
                <a:pos x="connsiteX52794" y="connsiteY52794"/>
              </a:cxn>
              <a:cxn ang="0">
                <a:pos x="connsiteX52795" y="connsiteY52795"/>
              </a:cxn>
              <a:cxn ang="0">
                <a:pos x="connsiteX52796" y="connsiteY52796"/>
              </a:cxn>
              <a:cxn ang="0">
                <a:pos x="connsiteX52797" y="connsiteY52797"/>
              </a:cxn>
              <a:cxn ang="0">
                <a:pos x="connsiteX52798" y="connsiteY52798"/>
              </a:cxn>
              <a:cxn ang="0">
                <a:pos x="connsiteX52799" y="connsiteY52799"/>
              </a:cxn>
              <a:cxn ang="0">
                <a:pos x="connsiteX52800" y="connsiteY52800"/>
              </a:cxn>
              <a:cxn ang="0">
                <a:pos x="connsiteX52801" y="connsiteY52801"/>
              </a:cxn>
              <a:cxn ang="0">
                <a:pos x="connsiteX52802" y="connsiteY52802"/>
              </a:cxn>
              <a:cxn ang="0">
                <a:pos x="connsiteX52803" y="connsiteY52803"/>
              </a:cxn>
              <a:cxn ang="0">
                <a:pos x="connsiteX52804" y="connsiteY52804"/>
              </a:cxn>
              <a:cxn ang="0">
                <a:pos x="connsiteX52805" y="connsiteY52805"/>
              </a:cxn>
              <a:cxn ang="0">
                <a:pos x="connsiteX52806" y="connsiteY52806"/>
              </a:cxn>
              <a:cxn ang="0">
                <a:pos x="connsiteX52807" y="connsiteY52807"/>
              </a:cxn>
              <a:cxn ang="0">
                <a:pos x="connsiteX52808" y="connsiteY52808"/>
              </a:cxn>
              <a:cxn ang="0">
                <a:pos x="connsiteX52809" y="connsiteY52809"/>
              </a:cxn>
              <a:cxn ang="0">
                <a:pos x="connsiteX52810" y="connsiteY52810"/>
              </a:cxn>
              <a:cxn ang="0">
                <a:pos x="connsiteX52811" y="connsiteY52811"/>
              </a:cxn>
              <a:cxn ang="0">
                <a:pos x="connsiteX52812" y="connsiteY52812"/>
              </a:cxn>
              <a:cxn ang="0">
                <a:pos x="connsiteX52813" y="connsiteY52813"/>
              </a:cxn>
              <a:cxn ang="0">
                <a:pos x="connsiteX52814" y="connsiteY52814"/>
              </a:cxn>
              <a:cxn ang="0">
                <a:pos x="connsiteX52815" y="connsiteY52815"/>
              </a:cxn>
              <a:cxn ang="0">
                <a:pos x="connsiteX52816" y="connsiteY52816"/>
              </a:cxn>
              <a:cxn ang="0">
                <a:pos x="connsiteX52817" y="connsiteY52817"/>
              </a:cxn>
              <a:cxn ang="0">
                <a:pos x="connsiteX52818" y="connsiteY52818"/>
              </a:cxn>
              <a:cxn ang="0">
                <a:pos x="connsiteX52819" y="connsiteY52819"/>
              </a:cxn>
              <a:cxn ang="0">
                <a:pos x="connsiteX52820" y="connsiteY52820"/>
              </a:cxn>
              <a:cxn ang="0">
                <a:pos x="connsiteX52821" y="connsiteY52821"/>
              </a:cxn>
              <a:cxn ang="0">
                <a:pos x="connsiteX52822" y="connsiteY52822"/>
              </a:cxn>
              <a:cxn ang="0">
                <a:pos x="connsiteX52823" y="connsiteY52823"/>
              </a:cxn>
              <a:cxn ang="0">
                <a:pos x="connsiteX52824" y="connsiteY52824"/>
              </a:cxn>
              <a:cxn ang="0">
                <a:pos x="connsiteX52825" y="connsiteY52825"/>
              </a:cxn>
              <a:cxn ang="0">
                <a:pos x="connsiteX52826" y="connsiteY52826"/>
              </a:cxn>
              <a:cxn ang="0">
                <a:pos x="connsiteX52827" y="connsiteY52827"/>
              </a:cxn>
              <a:cxn ang="0">
                <a:pos x="connsiteX52828" y="connsiteY52828"/>
              </a:cxn>
              <a:cxn ang="0">
                <a:pos x="connsiteX52829" y="connsiteY52829"/>
              </a:cxn>
              <a:cxn ang="0">
                <a:pos x="connsiteX52830" y="connsiteY52830"/>
              </a:cxn>
              <a:cxn ang="0">
                <a:pos x="connsiteX52831" y="connsiteY52831"/>
              </a:cxn>
              <a:cxn ang="0">
                <a:pos x="connsiteX52832" y="connsiteY52832"/>
              </a:cxn>
              <a:cxn ang="0">
                <a:pos x="connsiteX52833" y="connsiteY52833"/>
              </a:cxn>
              <a:cxn ang="0">
                <a:pos x="connsiteX52834" y="connsiteY52834"/>
              </a:cxn>
              <a:cxn ang="0">
                <a:pos x="connsiteX52835" y="connsiteY52835"/>
              </a:cxn>
              <a:cxn ang="0">
                <a:pos x="connsiteX52836" y="connsiteY52836"/>
              </a:cxn>
              <a:cxn ang="0">
                <a:pos x="connsiteX52837" y="connsiteY52837"/>
              </a:cxn>
              <a:cxn ang="0">
                <a:pos x="connsiteX52838" y="connsiteY52838"/>
              </a:cxn>
              <a:cxn ang="0">
                <a:pos x="connsiteX52839" y="connsiteY52839"/>
              </a:cxn>
              <a:cxn ang="0">
                <a:pos x="connsiteX52840" y="connsiteY52840"/>
              </a:cxn>
              <a:cxn ang="0">
                <a:pos x="connsiteX52841" y="connsiteY52841"/>
              </a:cxn>
              <a:cxn ang="0">
                <a:pos x="connsiteX52842" y="connsiteY52842"/>
              </a:cxn>
              <a:cxn ang="0">
                <a:pos x="connsiteX52843" y="connsiteY52843"/>
              </a:cxn>
              <a:cxn ang="0">
                <a:pos x="connsiteX52844" y="connsiteY52844"/>
              </a:cxn>
              <a:cxn ang="0">
                <a:pos x="connsiteX52845" y="connsiteY52845"/>
              </a:cxn>
              <a:cxn ang="0">
                <a:pos x="connsiteX52846" y="connsiteY52846"/>
              </a:cxn>
              <a:cxn ang="0">
                <a:pos x="connsiteX52847" y="connsiteY52847"/>
              </a:cxn>
              <a:cxn ang="0">
                <a:pos x="connsiteX52848" y="connsiteY52848"/>
              </a:cxn>
              <a:cxn ang="0">
                <a:pos x="connsiteX52849" y="connsiteY52849"/>
              </a:cxn>
              <a:cxn ang="0">
                <a:pos x="connsiteX52850" y="connsiteY52850"/>
              </a:cxn>
              <a:cxn ang="0">
                <a:pos x="connsiteX52851" y="connsiteY52851"/>
              </a:cxn>
              <a:cxn ang="0">
                <a:pos x="connsiteX52852" y="connsiteY52852"/>
              </a:cxn>
              <a:cxn ang="0">
                <a:pos x="connsiteX52853" y="connsiteY52853"/>
              </a:cxn>
              <a:cxn ang="0">
                <a:pos x="connsiteX52854" y="connsiteY52854"/>
              </a:cxn>
              <a:cxn ang="0">
                <a:pos x="connsiteX52855" y="connsiteY52855"/>
              </a:cxn>
              <a:cxn ang="0">
                <a:pos x="connsiteX52856" y="connsiteY52856"/>
              </a:cxn>
              <a:cxn ang="0">
                <a:pos x="connsiteX52857" y="connsiteY52857"/>
              </a:cxn>
              <a:cxn ang="0">
                <a:pos x="connsiteX52858" y="connsiteY52858"/>
              </a:cxn>
              <a:cxn ang="0">
                <a:pos x="connsiteX52859" y="connsiteY52859"/>
              </a:cxn>
              <a:cxn ang="0">
                <a:pos x="connsiteX52860" y="connsiteY52860"/>
              </a:cxn>
              <a:cxn ang="0">
                <a:pos x="connsiteX52861" y="connsiteY52861"/>
              </a:cxn>
              <a:cxn ang="0">
                <a:pos x="connsiteX52862" y="connsiteY52862"/>
              </a:cxn>
              <a:cxn ang="0">
                <a:pos x="connsiteX52863" y="connsiteY52863"/>
              </a:cxn>
              <a:cxn ang="0">
                <a:pos x="connsiteX52864" y="connsiteY52864"/>
              </a:cxn>
              <a:cxn ang="0">
                <a:pos x="connsiteX52865" y="connsiteY52865"/>
              </a:cxn>
              <a:cxn ang="0">
                <a:pos x="connsiteX52866" y="connsiteY52866"/>
              </a:cxn>
              <a:cxn ang="0">
                <a:pos x="connsiteX52867" y="connsiteY52867"/>
              </a:cxn>
              <a:cxn ang="0">
                <a:pos x="connsiteX52868" y="connsiteY52868"/>
              </a:cxn>
              <a:cxn ang="0">
                <a:pos x="connsiteX52869" y="connsiteY52869"/>
              </a:cxn>
              <a:cxn ang="0">
                <a:pos x="connsiteX52870" y="connsiteY52870"/>
              </a:cxn>
              <a:cxn ang="0">
                <a:pos x="connsiteX52871" y="connsiteY52871"/>
              </a:cxn>
              <a:cxn ang="0">
                <a:pos x="connsiteX52872" y="connsiteY52872"/>
              </a:cxn>
              <a:cxn ang="0">
                <a:pos x="connsiteX52873" y="connsiteY52873"/>
              </a:cxn>
              <a:cxn ang="0">
                <a:pos x="connsiteX52874" y="connsiteY52874"/>
              </a:cxn>
              <a:cxn ang="0">
                <a:pos x="connsiteX52875" y="connsiteY52875"/>
              </a:cxn>
              <a:cxn ang="0">
                <a:pos x="connsiteX52876" y="connsiteY52876"/>
              </a:cxn>
              <a:cxn ang="0">
                <a:pos x="connsiteX52877" y="connsiteY52877"/>
              </a:cxn>
              <a:cxn ang="0">
                <a:pos x="connsiteX52878" y="connsiteY52878"/>
              </a:cxn>
              <a:cxn ang="0">
                <a:pos x="connsiteX52879" y="connsiteY52879"/>
              </a:cxn>
              <a:cxn ang="0">
                <a:pos x="connsiteX52880" y="connsiteY52880"/>
              </a:cxn>
              <a:cxn ang="0">
                <a:pos x="connsiteX52881" y="connsiteY52881"/>
              </a:cxn>
              <a:cxn ang="0">
                <a:pos x="connsiteX52882" y="connsiteY52882"/>
              </a:cxn>
              <a:cxn ang="0">
                <a:pos x="connsiteX52883" y="connsiteY52883"/>
              </a:cxn>
              <a:cxn ang="0">
                <a:pos x="connsiteX52884" y="connsiteY52884"/>
              </a:cxn>
              <a:cxn ang="0">
                <a:pos x="connsiteX52885" y="connsiteY52885"/>
              </a:cxn>
              <a:cxn ang="0">
                <a:pos x="connsiteX52886" y="connsiteY52886"/>
              </a:cxn>
              <a:cxn ang="0">
                <a:pos x="connsiteX52887" y="connsiteY52887"/>
              </a:cxn>
              <a:cxn ang="0">
                <a:pos x="connsiteX52888" y="connsiteY52888"/>
              </a:cxn>
              <a:cxn ang="0">
                <a:pos x="connsiteX52889" y="connsiteY52889"/>
              </a:cxn>
              <a:cxn ang="0">
                <a:pos x="connsiteX52890" y="connsiteY52890"/>
              </a:cxn>
              <a:cxn ang="0">
                <a:pos x="connsiteX52891" y="connsiteY52891"/>
              </a:cxn>
              <a:cxn ang="0">
                <a:pos x="connsiteX52892" y="connsiteY52892"/>
              </a:cxn>
              <a:cxn ang="0">
                <a:pos x="connsiteX52893" y="connsiteY52893"/>
              </a:cxn>
              <a:cxn ang="0">
                <a:pos x="connsiteX52894" y="connsiteY52894"/>
              </a:cxn>
              <a:cxn ang="0">
                <a:pos x="connsiteX52895" y="connsiteY52895"/>
              </a:cxn>
              <a:cxn ang="0">
                <a:pos x="connsiteX52896" y="connsiteY52896"/>
              </a:cxn>
              <a:cxn ang="0">
                <a:pos x="connsiteX52897" y="connsiteY52897"/>
              </a:cxn>
              <a:cxn ang="0">
                <a:pos x="connsiteX52898" y="connsiteY52898"/>
              </a:cxn>
              <a:cxn ang="0">
                <a:pos x="connsiteX52899" y="connsiteY52899"/>
              </a:cxn>
              <a:cxn ang="0">
                <a:pos x="connsiteX52900" y="connsiteY52900"/>
              </a:cxn>
              <a:cxn ang="0">
                <a:pos x="connsiteX52901" y="connsiteY52901"/>
              </a:cxn>
              <a:cxn ang="0">
                <a:pos x="connsiteX52902" y="connsiteY52902"/>
              </a:cxn>
              <a:cxn ang="0">
                <a:pos x="connsiteX52903" y="connsiteY52903"/>
              </a:cxn>
              <a:cxn ang="0">
                <a:pos x="connsiteX52904" y="connsiteY52904"/>
              </a:cxn>
              <a:cxn ang="0">
                <a:pos x="connsiteX52905" y="connsiteY52905"/>
              </a:cxn>
              <a:cxn ang="0">
                <a:pos x="connsiteX52906" y="connsiteY52906"/>
              </a:cxn>
              <a:cxn ang="0">
                <a:pos x="connsiteX52907" y="connsiteY52907"/>
              </a:cxn>
              <a:cxn ang="0">
                <a:pos x="connsiteX52908" y="connsiteY52908"/>
              </a:cxn>
              <a:cxn ang="0">
                <a:pos x="connsiteX52909" y="connsiteY52909"/>
              </a:cxn>
              <a:cxn ang="0">
                <a:pos x="connsiteX52910" y="connsiteY52910"/>
              </a:cxn>
              <a:cxn ang="0">
                <a:pos x="connsiteX52911" y="connsiteY52911"/>
              </a:cxn>
              <a:cxn ang="0">
                <a:pos x="connsiteX52912" y="connsiteY52912"/>
              </a:cxn>
              <a:cxn ang="0">
                <a:pos x="connsiteX52913" y="connsiteY52913"/>
              </a:cxn>
              <a:cxn ang="0">
                <a:pos x="connsiteX52914" y="connsiteY52914"/>
              </a:cxn>
              <a:cxn ang="0">
                <a:pos x="connsiteX52915" y="connsiteY52915"/>
              </a:cxn>
              <a:cxn ang="0">
                <a:pos x="connsiteX52916" y="connsiteY52916"/>
              </a:cxn>
              <a:cxn ang="0">
                <a:pos x="connsiteX52917" y="connsiteY52917"/>
              </a:cxn>
              <a:cxn ang="0">
                <a:pos x="connsiteX52918" y="connsiteY52918"/>
              </a:cxn>
              <a:cxn ang="0">
                <a:pos x="connsiteX52919" y="connsiteY52919"/>
              </a:cxn>
              <a:cxn ang="0">
                <a:pos x="connsiteX52920" y="connsiteY52920"/>
              </a:cxn>
              <a:cxn ang="0">
                <a:pos x="connsiteX52921" y="connsiteY52921"/>
              </a:cxn>
              <a:cxn ang="0">
                <a:pos x="connsiteX52922" y="connsiteY52922"/>
              </a:cxn>
              <a:cxn ang="0">
                <a:pos x="connsiteX52923" y="connsiteY52923"/>
              </a:cxn>
              <a:cxn ang="0">
                <a:pos x="connsiteX52924" y="connsiteY52924"/>
              </a:cxn>
              <a:cxn ang="0">
                <a:pos x="connsiteX52925" y="connsiteY52925"/>
              </a:cxn>
              <a:cxn ang="0">
                <a:pos x="connsiteX52926" y="connsiteY52926"/>
              </a:cxn>
              <a:cxn ang="0">
                <a:pos x="connsiteX52927" y="connsiteY52927"/>
              </a:cxn>
              <a:cxn ang="0">
                <a:pos x="connsiteX52928" y="connsiteY52928"/>
              </a:cxn>
              <a:cxn ang="0">
                <a:pos x="connsiteX52929" y="connsiteY52929"/>
              </a:cxn>
              <a:cxn ang="0">
                <a:pos x="connsiteX52930" y="connsiteY52930"/>
              </a:cxn>
              <a:cxn ang="0">
                <a:pos x="connsiteX52931" y="connsiteY52931"/>
              </a:cxn>
              <a:cxn ang="0">
                <a:pos x="connsiteX52932" y="connsiteY52932"/>
              </a:cxn>
              <a:cxn ang="0">
                <a:pos x="connsiteX52933" y="connsiteY52933"/>
              </a:cxn>
              <a:cxn ang="0">
                <a:pos x="connsiteX52934" y="connsiteY52934"/>
              </a:cxn>
              <a:cxn ang="0">
                <a:pos x="connsiteX52935" y="connsiteY52935"/>
              </a:cxn>
              <a:cxn ang="0">
                <a:pos x="connsiteX52936" y="connsiteY52936"/>
              </a:cxn>
              <a:cxn ang="0">
                <a:pos x="connsiteX52937" y="connsiteY52937"/>
              </a:cxn>
              <a:cxn ang="0">
                <a:pos x="connsiteX52938" y="connsiteY52938"/>
              </a:cxn>
              <a:cxn ang="0">
                <a:pos x="connsiteX52939" y="connsiteY52939"/>
              </a:cxn>
              <a:cxn ang="0">
                <a:pos x="connsiteX52940" y="connsiteY52940"/>
              </a:cxn>
              <a:cxn ang="0">
                <a:pos x="connsiteX52941" y="connsiteY52941"/>
              </a:cxn>
              <a:cxn ang="0">
                <a:pos x="connsiteX52942" y="connsiteY52942"/>
              </a:cxn>
              <a:cxn ang="0">
                <a:pos x="connsiteX52943" y="connsiteY52943"/>
              </a:cxn>
              <a:cxn ang="0">
                <a:pos x="connsiteX52944" y="connsiteY52944"/>
              </a:cxn>
              <a:cxn ang="0">
                <a:pos x="connsiteX52945" y="connsiteY52945"/>
              </a:cxn>
              <a:cxn ang="0">
                <a:pos x="connsiteX52946" y="connsiteY52946"/>
              </a:cxn>
              <a:cxn ang="0">
                <a:pos x="connsiteX52947" y="connsiteY52947"/>
              </a:cxn>
              <a:cxn ang="0">
                <a:pos x="connsiteX52948" y="connsiteY52948"/>
              </a:cxn>
              <a:cxn ang="0">
                <a:pos x="connsiteX52949" y="connsiteY52949"/>
              </a:cxn>
              <a:cxn ang="0">
                <a:pos x="connsiteX52950" y="connsiteY52950"/>
              </a:cxn>
              <a:cxn ang="0">
                <a:pos x="connsiteX52951" y="connsiteY52951"/>
              </a:cxn>
              <a:cxn ang="0">
                <a:pos x="connsiteX52952" y="connsiteY52952"/>
              </a:cxn>
              <a:cxn ang="0">
                <a:pos x="connsiteX52953" y="connsiteY52953"/>
              </a:cxn>
              <a:cxn ang="0">
                <a:pos x="connsiteX52954" y="connsiteY52954"/>
              </a:cxn>
              <a:cxn ang="0">
                <a:pos x="connsiteX52955" y="connsiteY52955"/>
              </a:cxn>
              <a:cxn ang="0">
                <a:pos x="connsiteX52956" y="connsiteY52956"/>
              </a:cxn>
              <a:cxn ang="0">
                <a:pos x="connsiteX52957" y="connsiteY52957"/>
              </a:cxn>
              <a:cxn ang="0">
                <a:pos x="connsiteX52958" y="connsiteY52958"/>
              </a:cxn>
              <a:cxn ang="0">
                <a:pos x="connsiteX52959" y="connsiteY52959"/>
              </a:cxn>
              <a:cxn ang="0">
                <a:pos x="connsiteX52960" y="connsiteY52960"/>
              </a:cxn>
              <a:cxn ang="0">
                <a:pos x="connsiteX52961" y="connsiteY52961"/>
              </a:cxn>
              <a:cxn ang="0">
                <a:pos x="connsiteX52962" y="connsiteY52962"/>
              </a:cxn>
              <a:cxn ang="0">
                <a:pos x="connsiteX52963" y="connsiteY52963"/>
              </a:cxn>
              <a:cxn ang="0">
                <a:pos x="connsiteX52964" y="connsiteY52964"/>
              </a:cxn>
              <a:cxn ang="0">
                <a:pos x="connsiteX52965" y="connsiteY52965"/>
              </a:cxn>
              <a:cxn ang="0">
                <a:pos x="connsiteX52966" y="connsiteY52966"/>
              </a:cxn>
              <a:cxn ang="0">
                <a:pos x="connsiteX52967" y="connsiteY52967"/>
              </a:cxn>
              <a:cxn ang="0">
                <a:pos x="connsiteX52968" y="connsiteY52968"/>
              </a:cxn>
              <a:cxn ang="0">
                <a:pos x="connsiteX52969" y="connsiteY52969"/>
              </a:cxn>
              <a:cxn ang="0">
                <a:pos x="connsiteX52970" y="connsiteY52970"/>
              </a:cxn>
              <a:cxn ang="0">
                <a:pos x="connsiteX52971" y="connsiteY52971"/>
              </a:cxn>
              <a:cxn ang="0">
                <a:pos x="connsiteX52972" y="connsiteY52972"/>
              </a:cxn>
              <a:cxn ang="0">
                <a:pos x="connsiteX52973" y="connsiteY52973"/>
              </a:cxn>
              <a:cxn ang="0">
                <a:pos x="connsiteX52974" y="connsiteY52974"/>
              </a:cxn>
              <a:cxn ang="0">
                <a:pos x="connsiteX52975" y="connsiteY52975"/>
              </a:cxn>
              <a:cxn ang="0">
                <a:pos x="connsiteX52976" y="connsiteY52976"/>
              </a:cxn>
              <a:cxn ang="0">
                <a:pos x="connsiteX52977" y="connsiteY52977"/>
              </a:cxn>
              <a:cxn ang="0">
                <a:pos x="connsiteX52978" y="connsiteY52978"/>
              </a:cxn>
              <a:cxn ang="0">
                <a:pos x="connsiteX52979" y="connsiteY52979"/>
              </a:cxn>
              <a:cxn ang="0">
                <a:pos x="connsiteX52980" y="connsiteY52980"/>
              </a:cxn>
              <a:cxn ang="0">
                <a:pos x="connsiteX52981" y="connsiteY52981"/>
              </a:cxn>
              <a:cxn ang="0">
                <a:pos x="connsiteX52982" y="connsiteY52982"/>
              </a:cxn>
              <a:cxn ang="0">
                <a:pos x="connsiteX52983" y="connsiteY52983"/>
              </a:cxn>
              <a:cxn ang="0">
                <a:pos x="connsiteX52984" y="connsiteY52984"/>
              </a:cxn>
              <a:cxn ang="0">
                <a:pos x="connsiteX52985" y="connsiteY52985"/>
              </a:cxn>
              <a:cxn ang="0">
                <a:pos x="connsiteX52986" y="connsiteY52986"/>
              </a:cxn>
              <a:cxn ang="0">
                <a:pos x="connsiteX52987" y="connsiteY52987"/>
              </a:cxn>
              <a:cxn ang="0">
                <a:pos x="connsiteX52988" y="connsiteY52988"/>
              </a:cxn>
              <a:cxn ang="0">
                <a:pos x="connsiteX52989" y="connsiteY52989"/>
              </a:cxn>
              <a:cxn ang="0">
                <a:pos x="connsiteX52990" y="connsiteY52990"/>
              </a:cxn>
              <a:cxn ang="0">
                <a:pos x="connsiteX52991" y="connsiteY52991"/>
              </a:cxn>
              <a:cxn ang="0">
                <a:pos x="connsiteX52992" y="connsiteY52992"/>
              </a:cxn>
              <a:cxn ang="0">
                <a:pos x="connsiteX52993" y="connsiteY52993"/>
              </a:cxn>
              <a:cxn ang="0">
                <a:pos x="connsiteX52994" y="connsiteY52994"/>
              </a:cxn>
              <a:cxn ang="0">
                <a:pos x="connsiteX52995" y="connsiteY52995"/>
              </a:cxn>
              <a:cxn ang="0">
                <a:pos x="connsiteX52996" y="connsiteY52996"/>
              </a:cxn>
              <a:cxn ang="0">
                <a:pos x="connsiteX52997" y="connsiteY52997"/>
              </a:cxn>
              <a:cxn ang="0">
                <a:pos x="connsiteX52998" y="connsiteY52998"/>
              </a:cxn>
              <a:cxn ang="0">
                <a:pos x="connsiteX52999" y="connsiteY52999"/>
              </a:cxn>
              <a:cxn ang="0">
                <a:pos x="connsiteX53000" y="connsiteY53000"/>
              </a:cxn>
              <a:cxn ang="0">
                <a:pos x="connsiteX53001" y="connsiteY53001"/>
              </a:cxn>
              <a:cxn ang="0">
                <a:pos x="connsiteX53002" y="connsiteY53002"/>
              </a:cxn>
              <a:cxn ang="0">
                <a:pos x="connsiteX53003" y="connsiteY53003"/>
              </a:cxn>
              <a:cxn ang="0">
                <a:pos x="connsiteX53004" y="connsiteY53004"/>
              </a:cxn>
              <a:cxn ang="0">
                <a:pos x="connsiteX53005" y="connsiteY53005"/>
              </a:cxn>
              <a:cxn ang="0">
                <a:pos x="connsiteX53006" y="connsiteY53006"/>
              </a:cxn>
              <a:cxn ang="0">
                <a:pos x="connsiteX53007" y="connsiteY53007"/>
              </a:cxn>
              <a:cxn ang="0">
                <a:pos x="connsiteX53008" y="connsiteY53008"/>
              </a:cxn>
              <a:cxn ang="0">
                <a:pos x="connsiteX53009" y="connsiteY53009"/>
              </a:cxn>
              <a:cxn ang="0">
                <a:pos x="connsiteX53010" y="connsiteY53010"/>
              </a:cxn>
              <a:cxn ang="0">
                <a:pos x="connsiteX53011" y="connsiteY53011"/>
              </a:cxn>
              <a:cxn ang="0">
                <a:pos x="connsiteX53012" y="connsiteY53012"/>
              </a:cxn>
              <a:cxn ang="0">
                <a:pos x="connsiteX53013" y="connsiteY53013"/>
              </a:cxn>
              <a:cxn ang="0">
                <a:pos x="connsiteX53014" y="connsiteY53014"/>
              </a:cxn>
              <a:cxn ang="0">
                <a:pos x="connsiteX53015" y="connsiteY53015"/>
              </a:cxn>
              <a:cxn ang="0">
                <a:pos x="connsiteX53016" y="connsiteY53016"/>
              </a:cxn>
              <a:cxn ang="0">
                <a:pos x="connsiteX53017" y="connsiteY53017"/>
              </a:cxn>
              <a:cxn ang="0">
                <a:pos x="connsiteX53018" y="connsiteY53018"/>
              </a:cxn>
              <a:cxn ang="0">
                <a:pos x="connsiteX53019" y="connsiteY53019"/>
              </a:cxn>
              <a:cxn ang="0">
                <a:pos x="connsiteX53020" y="connsiteY53020"/>
              </a:cxn>
              <a:cxn ang="0">
                <a:pos x="connsiteX53021" y="connsiteY53021"/>
              </a:cxn>
              <a:cxn ang="0">
                <a:pos x="connsiteX53022" y="connsiteY53022"/>
              </a:cxn>
              <a:cxn ang="0">
                <a:pos x="connsiteX53023" y="connsiteY53023"/>
              </a:cxn>
              <a:cxn ang="0">
                <a:pos x="connsiteX53024" y="connsiteY53024"/>
              </a:cxn>
              <a:cxn ang="0">
                <a:pos x="connsiteX53025" y="connsiteY53025"/>
              </a:cxn>
              <a:cxn ang="0">
                <a:pos x="connsiteX53026" y="connsiteY53026"/>
              </a:cxn>
              <a:cxn ang="0">
                <a:pos x="connsiteX53027" y="connsiteY53027"/>
              </a:cxn>
              <a:cxn ang="0">
                <a:pos x="connsiteX53028" y="connsiteY53028"/>
              </a:cxn>
              <a:cxn ang="0">
                <a:pos x="connsiteX53029" y="connsiteY53029"/>
              </a:cxn>
              <a:cxn ang="0">
                <a:pos x="connsiteX53030" y="connsiteY53030"/>
              </a:cxn>
              <a:cxn ang="0">
                <a:pos x="connsiteX53031" y="connsiteY53031"/>
              </a:cxn>
              <a:cxn ang="0">
                <a:pos x="connsiteX53032" y="connsiteY53032"/>
              </a:cxn>
              <a:cxn ang="0">
                <a:pos x="connsiteX53033" y="connsiteY53033"/>
              </a:cxn>
              <a:cxn ang="0">
                <a:pos x="connsiteX53034" y="connsiteY53034"/>
              </a:cxn>
              <a:cxn ang="0">
                <a:pos x="connsiteX53035" y="connsiteY53035"/>
              </a:cxn>
              <a:cxn ang="0">
                <a:pos x="connsiteX53036" y="connsiteY53036"/>
              </a:cxn>
              <a:cxn ang="0">
                <a:pos x="connsiteX53037" y="connsiteY53037"/>
              </a:cxn>
              <a:cxn ang="0">
                <a:pos x="connsiteX53038" y="connsiteY53038"/>
              </a:cxn>
              <a:cxn ang="0">
                <a:pos x="connsiteX53039" y="connsiteY53039"/>
              </a:cxn>
              <a:cxn ang="0">
                <a:pos x="connsiteX53040" y="connsiteY53040"/>
              </a:cxn>
              <a:cxn ang="0">
                <a:pos x="connsiteX53041" y="connsiteY53041"/>
              </a:cxn>
              <a:cxn ang="0">
                <a:pos x="connsiteX53042" y="connsiteY53042"/>
              </a:cxn>
              <a:cxn ang="0">
                <a:pos x="connsiteX53043" y="connsiteY53043"/>
              </a:cxn>
              <a:cxn ang="0">
                <a:pos x="connsiteX53044" y="connsiteY53044"/>
              </a:cxn>
              <a:cxn ang="0">
                <a:pos x="connsiteX53045" y="connsiteY53045"/>
              </a:cxn>
              <a:cxn ang="0">
                <a:pos x="connsiteX53046" y="connsiteY53046"/>
              </a:cxn>
              <a:cxn ang="0">
                <a:pos x="connsiteX53047" y="connsiteY53047"/>
              </a:cxn>
              <a:cxn ang="0">
                <a:pos x="connsiteX53048" y="connsiteY53048"/>
              </a:cxn>
              <a:cxn ang="0">
                <a:pos x="connsiteX53049" y="connsiteY53049"/>
              </a:cxn>
              <a:cxn ang="0">
                <a:pos x="connsiteX53050" y="connsiteY53050"/>
              </a:cxn>
              <a:cxn ang="0">
                <a:pos x="connsiteX53051" y="connsiteY53051"/>
              </a:cxn>
              <a:cxn ang="0">
                <a:pos x="connsiteX53052" y="connsiteY53052"/>
              </a:cxn>
              <a:cxn ang="0">
                <a:pos x="connsiteX53053" y="connsiteY53053"/>
              </a:cxn>
              <a:cxn ang="0">
                <a:pos x="connsiteX53054" y="connsiteY53054"/>
              </a:cxn>
              <a:cxn ang="0">
                <a:pos x="connsiteX53055" y="connsiteY53055"/>
              </a:cxn>
              <a:cxn ang="0">
                <a:pos x="connsiteX53056" y="connsiteY53056"/>
              </a:cxn>
              <a:cxn ang="0">
                <a:pos x="connsiteX53057" y="connsiteY53057"/>
              </a:cxn>
              <a:cxn ang="0">
                <a:pos x="connsiteX53058" y="connsiteY53058"/>
              </a:cxn>
              <a:cxn ang="0">
                <a:pos x="connsiteX53059" y="connsiteY53059"/>
              </a:cxn>
              <a:cxn ang="0">
                <a:pos x="connsiteX53060" y="connsiteY53060"/>
              </a:cxn>
              <a:cxn ang="0">
                <a:pos x="connsiteX53061" y="connsiteY53061"/>
              </a:cxn>
              <a:cxn ang="0">
                <a:pos x="connsiteX53062" y="connsiteY53062"/>
              </a:cxn>
              <a:cxn ang="0">
                <a:pos x="connsiteX53063" y="connsiteY53063"/>
              </a:cxn>
              <a:cxn ang="0">
                <a:pos x="connsiteX53064" y="connsiteY53064"/>
              </a:cxn>
              <a:cxn ang="0">
                <a:pos x="connsiteX53065" y="connsiteY53065"/>
              </a:cxn>
              <a:cxn ang="0">
                <a:pos x="connsiteX53066" y="connsiteY53066"/>
              </a:cxn>
              <a:cxn ang="0">
                <a:pos x="connsiteX53067" y="connsiteY53067"/>
              </a:cxn>
              <a:cxn ang="0">
                <a:pos x="connsiteX53068" y="connsiteY53068"/>
              </a:cxn>
              <a:cxn ang="0">
                <a:pos x="connsiteX53069" y="connsiteY53069"/>
              </a:cxn>
              <a:cxn ang="0">
                <a:pos x="connsiteX53070" y="connsiteY53070"/>
              </a:cxn>
              <a:cxn ang="0">
                <a:pos x="connsiteX53071" y="connsiteY53071"/>
              </a:cxn>
              <a:cxn ang="0">
                <a:pos x="connsiteX53072" y="connsiteY53072"/>
              </a:cxn>
              <a:cxn ang="0">
                <a:pos x="connsiteX53073" y="connsiteY53073"/>
              </a:cxn>
              <a:cxn ang="0">
                <a:pos x="connsiteX53074" y="connsiteY53074"/>
              </a:cxn>
              <a:cxn ang="0">
                <a:pos x="connsiteX53075" y="connsiteY53075"/>
              </a:cxn>
              <a:cxn ang="0">
                <a:pos x="connsiteX53076" y="connsiteY53076"/>
              </a:cxn>
              <a:cxn ang="0">
                <a:pos x="connsiteX53077" y="connsiteY53077"/>
              </a:cxn>
              <a:cxn ang="0">
                <a:pos x="connsiteX53078" y="connsiteY53078"/>
              </a:cxn>
              <a:cxn ang="0">
                <a:pos x="connsiteX53079" y="connsiteY53079"/>
              </a:cxn>
              <a:cxn ang="0">
                <a:pos x="connsiteX53080" y="connsiteY53080"/>
              </a:cxn>
              <a:cxn ang="0">
                <a:pos x="connsiteX53081" y="connsiteY53081"/>
              </a:cxn>
              <a:cxn ang="0">
                <a:pos x="connsiteX53082" y="connsiteY53082"/>
              </a:cxn>
              <a:cxn ang="0">
                <a:pos x="connsiteX53083" y="connsiteY53083"/>
              </a:cxn>
              <a:cxn ang="0">
                <a:pos x="connsiteX53084" y="connsiteY53084"/>
              </a:cxn>
              <a:cxn ang="0">
                <a:pos x="connsiteX53085" y="connsiteY53085"/>
              </a:cxn>
              <a:cxn ang="0">
                <a:pos x="connsiteX53086" y="connsiteY53086"/>
              </a:cxn>
              <a:cxn ang="0">
                <a:pos x="connsiteX53087" y="connsiteY53087"/>
              </a:cxn>
              <a:cxn ang="0">
                <a:pos x="connsiteX53088" y="connsiteY53088"/>
              </a:cxn>
              <a:cxn ang="0">
                <a:pos x="connsiteX53089" y="connsiteY53089"/>
              </a:cxn>
              <a:cxn ang="0">
                <a:pos x="connsiteX53090" y="connsiteY53090"/>
              </a:cxn>
              <a:cxn ang="0">
                <a:pos x="connsiteX53091" y="connsiteY53091"/>
              </a:cxn>
              <a:cxn ang="0">
                <a:pos x="connsiteX53092" y="connsiteY53092"/>
              </a:cxn>
              <a:cxn ang="0">
                <a:pos x="connsiteX53093" y="connsiteY53093"/>
              </a:cxn>
              <a:cxn ang="0">
                <a:pos x="connsiteX53094" y="connsiteY53094"/>
              </a:cxn>
              <a:cxn ang="0">
                <a:pos x="connsiteX53095" y="connsiteY53095"/>
              </a:cxn>
              <a:cxn ang="0">
                <a:pos x="connsiteX53096" y="connsiteY53096"/>
              </a:cxn>
              <a:cxn ang="0">
                <a:pos x="connsiteX53097" y="connsiteY53097"/>
              </a:cxn>
              <a:cxn ang="0">
                <a:pos x="connsiteX53098" y="connsiteY53098"/>
              </a:cxn>
              <a:cxn ang="0">
                <a:pos x="connsiteX53099" y="connsiteY53099"/>
              </a:cxn>
              <a:cxn ang="0">
                <a:pos x="connsiteX53100" y="connsiteY53100"/>
              </a:cxn>
              <a:cxn ang="0">
                <a:pos x="connsiteX53101" y="connsiteY53101"/>
              </a:cxn>
              <a:cxn ang="0">
                <a:pos x="connsiteX53102" y="connsiteY53102"/>
              </a:cxn>
              <a:cxn ang="0">
                <a:pos x="connsiteX53103" y="connsiteY53103"/>
              </a:cxn>
              <a:cxn ang="0">
                <a:pos x="connsiteX53104" y="connsiteY53104"/>
              </a:cxn>
              <a:cxn ang="0">
                <a:pos x="connsiteX53105" y="connsiteY53105"/>
              </a:cxn>
              <a:cxn ang="0">
                <a:pos x="connsiteX53106" y="connsiteY53106"/>
              </a:cxn>
              <a:cxn ang="0">
                <a:pos x="connsiteX53107" y="connsiteY53107"/>
              </a:cxn>
              <a:cxn ang="0">
                <a:pos x="connsiteX53108" y="connsiteY53108"/>
              </a:cxn>
              <a:cxn ang="0">
                <a:pos x="connsiteX53109" y="connsiteY53109"/>
              </a:cxn>
              <a:cxn ang="0">
                <a:pos x="connsiteX53110" y="connsiteY53110"/>
              </a:cxn>
              <a:cxn ang="0">
                <a:pos x="connsiteX53111" y="connsiteY53111"/>
              </a:cxn>
              <a:cxn ang="0">
                <a:pos x="connsiteX53112" y="connsiteY53112"/>
              </a:cxn>
              <a:cxn ang="0">
                <a:pos x="connsiteX53113" y="connsiteY53113"/>
              </a:cxn>
              <a:cxn ang="0">
                <a:pos x="connsiteX53114" y="connsiteY53114"/>
              </a:cxn>
              <a:cxn ang="0">
                <a:pos x="connsiteX53115" y="connsiteY53115"/>
              </a:cxn>
              <a:cxn ang="0">
                <a:pos x="connsiteX53116" y="connsiteY53116"/>
              </a:cxn>
              <a:cxn ang="0">
                <a:pos x="connsiteX53117" y="connsiteY53117"/>
              </a:cxn>
              <a:cxn ang="0">
                <a:pos x="connsiteX53118" y="connsiteY53118"/>
              </a:cxn>
              <a:cxn ang="0">
                <a:pos x="connsiteX53119" y="connsiteY53119"/>
              </a:cxn>
              <a:cxn ang="0">
                <a:pos x="connsiteX53120" y="connsiteY53120"/>
              </a:cxn>
              <a:cxn ang="0">
                <a:pos x="connsiteX53121" y="connsiteY53121"/>
              </a:cxn>
              <a:cxn ang="0">
                <a:pos x="connsiteX53122" y="connsiteY53122"/>
              </a:cxn>
              <a:cxn ang="0">
                <a:pos x="connsiteX53123" y="connsiteY53123"/>
              </a:cxn>
              <a:cxn ang="0">
                <a:pos x="connsiteX53124" y="connsiteY53124"/>
              </a:cxn>
              <a:cxn ang="0">
                <a:pos x="connsiteX53125" y="connsiteY53125"/>
              </a:cxn>
              <a:cxn ang="0">
                <a:pos x="connsiteX53126" y="connsiteY53126"/>
              </a:cxn>
              <a:cxn ang="0">
                <a:pos x="connsiteX53127" y="connsiteY53127"/>
              </a:cxn>
              <a:cxn ang="0">
                <a:pos x="connsiteX53128" y="connsiteY53128"/>
              </a:cxn>
              <a:cxn ang="0">
                <a:pos x="connsiteX53129" y="connsiteY53129"/>
              </a:cxn>
              <a:cxn ang="0">
                <a:pos x="connsiteX53130" y="connsiteY53130"/>
              </a:cxn>
              <a:cxn ang="0">
                <a:pos x="connsiteX53131" y="connsiteY53131"/>
              </a:cxn>
              <a:cxn ang="0">
                <a:pos x="connsiteX53132" y="connsiteY53132"/>
              </a:cxn>
              <a:cxn ang="0">
                <a:pos x="connsiteX53133" y="connsiteY53133"/>
              </a:cxn>
              <a:cxn ang="0">
                <a:pos x="connsiteX53134" y="connsiteY53134"/>
              </a:cxn>
              <a:cxn ang="0">
                <a:pos x="connsiteX53135" y="connsiteY53135"/>
              </a:cxn>
              <a:cxn ang="0">
                <a:pos x="connsiteX53136" y="connsiteY53136"/>
              </a:cxn>
              <a:cxn ang="0">
                <a:pos x="connsiteX53137" y="connsiteY53137"/>
              </a:cxn>
              <a:cxn ang="0">
                <a:pos x="connsiteX53138" y="connsiteY53138"/>
              </a:cxn>
              <a:cxn ang="0">
                <a:pos x="connsiteX53139" y="connsiteY53139"/>
              </a:cxn>
              <a:cxn ang="0">
                <a:pos x="connsiteX53140" y="connsiteY53140"/>
              </a:cxn>
              <a:cxn ang="0">
                <a:pos x="connsiteX53141" y="connsiteY53141"/>
              </a:cxn>
              <a:cxn ang="0">
                <a:pos x="connsiteX53142" y="connsiteY53142"/>
              </a:cxn>
              <a:cxn ang="0">
                <a:pos x="connsiteX53143" y="connsiteY53143"/>
              </a:cxn>
              <a:cxn ang="0">
                <a:pos x="connsiteX53144" y="connsiteY53144"/>
              </a:cxn>
              <a:cxn ang="0">
                <a:pos x="connsiteX53145" y="connsiteY53145"/>
              </a:cxn>
              <a:cxn ang="0">
                <a:pos x="connsiteX53146" y="connsiteY53146"/>
              </a:cxn>
              <a:cxn ang="0">
                <a:pos x="connsiteX53147" y="connsiteY53147"/>
              </a:cxn>
              <a:cxn ang="0">
                <a:pos x="connsiteX53148" y="connsiteY53148"/>
              </a:cxn>
              <a:cxn ang="0">
                <a:pos x="connsiteX53149" y="connsiteY53149"/>
              </a:cxn>
              <a:cxn ang="0">
                <a:pos x="connsiteX53150" y="connsiteY53150"/>
              </a:cxn>
              <a:cxn ang="0">
                <a:pos x="connsiteX53151" y="connsiteY53151"/>
              </a:cxn>
              <a:cxn ang="0">
                <a:pos x="connsiteX53152" y="connsiteY53152"/>
              </a:cxn>
              <a:cxn ang="0">
                <a:pos x="connsiteX53153" y="connsiteY53153"/>
              </a:cxn>
              <a:cxn ang="0">
                <a:pos x="connsiteX53154" y="connsiteY53154"/>
              </a:cxn>
              <a:cxn ang="0">
                <a:pos x="connsiteX53155" y="connsiteY53155"/>
              </a:cxn>
              <a:cxn ang="0">
                <a:pos x="connsiteX53156" y="connsiteY53156"/>
              </a:cxn>
              <a:cxn ang="0">
                <a:pos x="connsiteX53157" y="connsiteY53157"/>
              </a:cxn>
              <a:cxn ang="0">
                <a:pos x="connsiteX53158" y="connsiteY53158"/>
              </a:cxn>
              <a:cxn ang="0">
                <a:pos x="connsiteX53159" y="connsiteY53159"/>
              </a:cxn>
              <a:cxn ang="0">
                <a:pos x="connsiteX53160" y="connsiteY53160"/>
              </a:cxn>
              <a:cxn ang="0">
                <a:pos x="connsiteX53161" y="connsiteY53161"/>
              </a:cxn>
              <a:cxn ang="0">
                <a:pos x="connsiteX53162" y="connsiteY53162"/>
              </a:cxn>
              <a:cxn ang="0">
                <a:pos x="connsiteX53163" y="connsiteY53163"/>
              </a:cxn>
              <a:cxn ang="0">
                <a:pos x="connsiteX53164" y="connsiteY53164"/>
              </a:cxn>
              <a:cxn ang="0">
                <a:pos x="connsiteX53165" y="connsiteY53165"/>
              </a:cxn>
              <a:cxn ang="0">
                <a:pos x="connsiteX53166" y="connsiteY53166"/>
              </a:cxn>
              <a:cxn ang="0">
                <a:pos x="connsiteX53167" y="connsiteY53167"/>
              </a:cxn>
              <a:cxn ang="0">
                <a:pos x="connsiteX53168" y="connsiteY53168"/>
              </a:cxn>
              <a:cxn ang="0">
                <a:pos x="connsiteX53169" y="connsiteY53169"/>
              </a:cxn>
              <a:cxn ang="0">
                <a:pos x="connsiteX53170" y="connsiteY53170"/>
              </a:cxn>
              <a:cxn ang="0">
                <a:pos x="connsiteX53171" y="connsiteY53171"/>
              </a:cxn>
              <a:cxn ang="0">
                <a:pos x="connsiteX53172" y="connsiteY53172"/>
              </a:cxn>
              <a:cxn ang="0">
                <a:pos x="connsiteX53173" y="connsiteY53173"/>
              </a:cxn>
              <a:cxn ang="0">
                <a:pos x="connsiteX53174" y="connsiteY53174"/>
              </a:cxn>
              <a:cxn ang="0">
                <a:pos x="connsiteX53175" y="connsiteY53175"/>
              </a:cxn>
              <a:cxn ang="0">
                <a:pos x="connsiteX53176" y="connsiteY53176"/>
              </a:cxn>
              <a:cxn ang="0">
                <a:pos x="connsiteX53177" y="connsiteY53177"/>
              </a:cxn>
              <a:cxn ang="0">
                <a:pos x="connsiteX53178" y="connsiteY53178"/>
              </a:cxn>
              <a:cxn ang="0">
                <a:pos x="connsiteX53179" y="connsiteY53179"/>
              </a:cxn>
              <a:cxn ang="0">
                <a:pos x="connsiteX53180" y="connsiteY53180"/>
              </a:cxn>
              <a:cxn ang="0">
                <a:pos x="connsiteX53181" y="connsiteY53181"/>
              </a:cxn>
              <a:cxn ang="0">
                <a:pos x="connsiteX53182" y="connsiteY53182"/>
              </a:cxn>
              <a:cxn ang="0">
                <a:pos x="connsiteX53183" y="connsiteY53183"/>
              </a:cxn>
              <a:cxn ang="0">
                <a:pos x="connsiteX53184" y="connsiteY53184"/>
              </a:cxn>
              <a:cxn ang="0">
                <a:pos x="connsiteX53185" y="connsiteY53185"/>
              </a:cxn>
              <a:cxn ang="0">
                <a:pos x="connsiteX53186" y="connsiteY53186"/>
              </a:cxn>
              <a:cxn ang="0">
                <a:pos x="connsiteX53187" y="connsiteY53187"/>
              </a:cxn>
              <a:cxn ang="0">
                <a:pos x="connsiteX53188" y="connsiteY53188"/>
              </a:cxn>
              <a:cxn ang="0">
                <a:pos x="connsiteX53189" y="connsiteY53189"/>
              </a:cxn>
              <a:cxn ang="0">
                <a:pos x="connsiteX53190" y="connsiteY53190"/>
              </a:cxn>
              <a:cxn ang="0">
                <a:pos x="connsiteX53191" y="connsiteY53191"/>
              </a:cxn>
              <a:cxn ang="0">
                <a:pos x="connsiteX53192" y="connsiteY53192"/>
              </a:cxn>
              <a:cxn ang="0">
                <a:pos x="connsiteX53193" y="connsiteY53193"/>
              </a:cxn>
              <a:cxn ang="0">
                <a:pos x="connsiteX53194" y="connsiteY53194"/>
              </a:cxn>
              <a:cxn ang="0">
                <a:pos x="connsiteX53195" y="connsiteY53195"/>
              </a:cxn>
              <a:cxn ang="0">
                <a:pos x="connsiteX53196" y="connsiteY53196"/>
              </a:cxn>
              <a:cxn ang="0">
                <a:pos x="connsiteX53197" y="connsiteY53197"/>
              </a:cxn>
              <a:cxn ang="0">
                <a:pos x="connsiteX53198" y="connsiteY53198"/>
              </a:cxn>
              <a:cxn ang="0">
                <a:pos x="connsiteX53199" y="connsiteY53199"/>
              </a:cxn>
              <a:cxn ang="0">
                <a:pos x="connsiteX53200" y="connsiteY53200"/>
              </a:cxn>
              <a:cxn ang="0">
                <a:pos x="connsiteX53201" y="connsiteY53201"/>
              </a:cxn>
              <a:cxn ang="0">
                <a:pos x="connsiteX53202" y="connsiteY53202"/>
              </a:cxn>
              <a:cxn ang="0">
                <a:pos x="connsiteX53203" y="connsiteY53203"/>
              </a:cxn>
              <a:cxn ang="0">
                <a:pos x="connsiteX53204" y="connsiteY53204"/>
              </a:cxn>
              <a:cxn ang="0">
                <a:pos x="connsiteX53205" y="connsiteY53205"/>
              </a:cxn>
              <a:cxn ang="0">
                <a:pos x="connsiteX53206" y="connsiteY53206"/>
              </a:cxn>
              <a:cxn ang="0">
                <a:pos x="connsiteX53207" y="connsiteY53207"/>
              </a:cxn>
              <a:cxn ang="0">
                <a:pos x="connsiteX53208" y="connsiteY53208"/>
              </a:cxn>
              <a:cxn ang="0">
                <a:pos x="connsiteX53209" y="connsiteY53209"/>
              </a:cxn>
              <a:cxn ang="0">
                <a:pos x="connsiteX53210" y="connsiteY53210"/>
              </a:cxn>
              <a:cxn ang="0">
                <a:pos x="connsiteX53211" y="connsiteY53211"/>
              </a:cxn>
              <a:cxn ang="0">
                <a:pos x="connsiteX53212" y="connsiteY53212"/>
              </a:cxn>
              <a:cxn ang="0">
                <a:pos x="connsiteX53213" y="connsiteY53213"/>
              </a:cxn>
              <a:cxn ang="0">
                <a:pos x="connsiteX53214" y="connsiteY53214"/>
              </a:cxn>
              <a:cxn ang="0">
                <a:pos x="connsiteX53215" y="connsiteY53215"/>
              </a:cxn>
              <a:cxn ang="0">
                <a:pos x="connsiteX53216" y="connsiteY53216"/>
              </a:cxn>
              <a:cxn ang="0">
                <a:pos x="connsiteX53217" y="connsiteY53217"/>
              </a:cxn>
              <a:cxn ang="0">
                <a:pos x="connsiteX53218" y="connsiteY53218"/>
              </a:cxn>
              <a:cxn ang="0">
                <a:pos x="connsiteX53219" y="connsiteY53219"/>
              </a:cxn>
              <a:cxn ang="0">
                <a:pos x="connsiteX53220" y="connsiteY53220"/>
              </a:cxn>
              <a:cxn ang="0">
                <a:pos x="connsiteX53221" y="connsiteY53221"/>
              </a:cxn>
              <a:cxn ang="0">
                <a:pos x="connsiteX53222" y="connsiteY53222"/>
              </a:cxn>
              <a:cxn ang="0">
                <a:pos x="connsiteX53223" y="connsiteY53223"/>
              </a:cxn>
              <a:cxn ang="0">
                <a:pos x="connsiteX53224" y="connsiteY53224"/>
              </a:cxn>
              <a:cxn ang="0">
                <a:pos x="connsiteX53225" y="connsiteY53225"/>
              </a:cxn>
              <a:cxn ang="0">
                <a:pos x="connsiteX53226" y="connsiteY53226"/>
              </a:cxn>
              <a:cxn ang="0">
                <a:pos x="connsiteX53227" y="connsiteY53227"/>
              </a:cxn>
              <a:cxn ang="0">
                <a:pos x="connsiteX53228" y="connsiteY53228"/>
              </a:cxn>
              <a:cxn ang="0">
                <a:pos x="connsiteX53229" y="connsiteY53229"/>
              </a:cxn>
              <a:cxn ang="0">
                <a:pos x="connsiteX53230" y="connsiteY53230"/>
              </a:cxn>
              <a:cxn ang="0">
                <a:pos x="connsiteX53231" y="connsiteY53231"/>
              </a:cxn>
              <a:cxn ang="0">
                <a:pos x="connsiteX53232" y="connsiteY53232"/>
              </a:cxn>
              <a:cxn ang="0">
                <a:pos x="connsiteX53233" y="connsiteY53233"/>
              </a:cxn>
              <a:cxn ang="0">
                <a:pos x="connsiteX53234" y="connsiteY53234"/>
              </a:cxn>
              <a:cxn ang="0">
                <a:pos x="connsiteX53235" y="connsiteY53235"/>
              </a:cxn>
              <a:cxn ang="0">
                <a:pos x="connsiteX53236" y="connsiteY53236"/>
              </a:cxn>
              <a:cxn ang="0">
                <a:pos x="connsiteX53237" y="connsiteY53237"/>
              </a:cxn>
              <a:cxn ang="0">
                <a:pos x="connsiteX53238" y="connsiteY53238"/>
              </a:cxn>
              <a:cxn ang="0">
                <a:pos x="connsiteX53239" y="connsiteY53239"/>
              </a:cxn>
              <a:cxn ang="0">
                <a:pos x="connsiteX53240" y="connsiteY53240"/>
              </a:cxn>
              <a:cxn ang="0">
                <a:pos x="connsiteX53241" y="connsiteY53241"/>
              </a:cxn>
              <a:cxn ang="0">
                <a:pos x="connsiteX53242" y="connsiteY53242"/>
              </a:cxn>
              <a:cxn ang="0">
                <a:pos x="connsiteX53243" y="connsiteY53243"/>
              </a:cxn>
              <a:cxn ang="0">
                <a:pos x="connsiteX53244" y="connsiteY53244"/>
              </a:cxn>
              <a:cxn ang="0">
                <a:pos x="connsiteX53245" y="connsiteY53245"/>
              </a:cxn>
              <a:cxn ang="0">
                <a:pos x="connsiteX53246" y="connsiteY53246"/>
              </a:cxn>
              <a:cxn ang="0">
                <a:pos x="connsiteX53247" y="connsiteY53247"/>
              </a:cxn>
              <a:cxn ang="0">
                <a:pos x="connsiteX53248" y="connsiteY53248"/>
              </a:cxn>
              <a:cxn ang="0">
                <a:pos x="connsiteX53249" y="connsiteY53249"/>
              </a:cxn>
              <a:cxn ang="0">
                <a:pos x="connsiteX53250" y="connsiteY53250"/>
              </a:cxn>
              <a:cxn ang="0">
                <a:pos x="connsiteX53251" y="connsiteY53251"/>
              </a:cxn>
              <a:cxn ang="0">
                <a:pos x="connsiteX53252" y="connsiteY53252"/>
              </a:cxn>
              <a:cxn ang="0">
                <a:pos x="connsiteX53253" y="connsiteY53253"/>
              </a:cxn>
              <a:cxn ang="0">
                <a:pos x="connsiteX53254" y="connsiteY53254"/>
              </a:cxn>
              <a:cxn ang="0">
                <a:pos x="connsiteX53255" y="connsiteY53255"/>
              </a:cxn>
              <a:cxn ang="0">
                <a:pos x="connsiteX53256" y="connsiteY53256"/>
              </a:cxn>
              <a:cxn ang="0">
                <a:pos x="connsiteX53257" y="connsiteY53257"/>
              </a:cxn>
              <a:cxn ang="0">
                <a:pos x="connsiteX53258" y="connsiteY53258"/>
              </a:cxn>
              <a:cxn ang="0">
                <a:pos x="connsiteX53259" y="connsiteY53259"/>
              </a:cxn>
              <a:cxn ang="0">
                <a:pos x="connsiteX53260" y="connsiteY53260"/>
              </a:cxn>
              <a:cxn ang="0">
                <a:pos x="connsiteX53261" y="connsiteY53261"/>
              </a:cxn>
              <a:cxn ang="0">
                <a:pos x="connsiteX53262" y="connsiteY53262"/>
              </a:cxn>
              <a:cxn ang="0">
                <a:pos x="connsiteX53263" y="connsiteY53263"/>
              </a:cxn>
              <a:cxn ang="0">
                <a:pos x="connsiteX53264" y="connsiteY53264"/>
              </a:cxn>
              <a:cxn ang="0">
                <a:pos x="connsiteX53265" y="connsiteY53265"/>
              </a:cxn>
              <a:cxn ang="0">
                <a:pos x="connsiteX53266" y="connsiteY53266"/>
              </a:cxn>
              <a:cxn ang="0">
                <a:pos x="connsiteX53267" y="connsiteY53267"/>
              </a:cxn>
              <a:cxn ang="0">
                <a:pos x="connsiteX53268" y="connsiteY53268"/>
              </a:cxn>
              <a:cxn ang="0">
                <a:pos x="connsiteX53269" y="connsiteY53269"/>
              </a:cxn>
              <a:cxn ang="0">
                <a:pos x="connsiteX53270" y="connsiteY53270"/>
              </a:cxn>
              <a:cxn ang="0">
                <a:pos x="connsiteX53271" y="connsiteY53271"/>
              </a:cxn>
              <a:cxn ang="0">
                <a:pos x="connsiteX53272" y="connsiteY53272"/>
              </a:cxn>
              <a:cxn ang="0">
                <a:pos x="connsiteX53273" y="connsiteY53273"/>
              </a:cxn>
              <a:cxn ang="0">
                <a:pos x="connsiteX53274" y="connsiteY53274"/>
              </a:cxn>
              <a:cxn ang="0">
                <a:pos x="connsiteX53275" y="connsiteY53275"/>
              </a:cxn>
              <a:cxn ang="0">
                <a:pos x="connsiteX53276" y="connsiteY53276"/>
              </a:cxn>
              <a:cxn ang="0">
                <a:pos x="connsiteX53277" y="connsiteY53277"/>
              </a:cxn>
              <a:cxn ang="0">
                <a:pos x="connsiteX53278" y="connsiteY53278"/>
              </a:cxn>
              <a:cxn ang="0">
                <a:pos x="connsiteX53279" y="connsiteY53279"/>
              </a:cxn>
              <a:cxn ang="0">
                <a:pos x="connsiteX53280" y="connsiteY53280"/>
              </a:cxn>
              <a:cxn ang="0">
                <a:pos x="connsiteX53281" y="connsiteY53281"/>
              </a:cxn>
              <a:cxn ang="0">
                <a:pos x="connsiteX53282" y="connsiteY53282"/>
              </a:cxn>
              <a:cxn ang="0">
                <a:pos x="connsiteX53283" y="connsiteY53283"/>
              </a:cxn>
              <a:cxn ang="0">
                <a:pos x="connsiteX53284" y="connsiteY53284"/>
              </a:cxn>
              <a:cxn ang="0">
                <a:pos x="connsiteX53285" y="connsiteY53285"/>
              </a:cxn>
              <a:cxn ang="0">
                <a:pos x="connsiteX53286" y="connsiteY53286"/>
              </a:cxn>
              <a:cxn ang="0">
                <a:pos x="connsiteX53287" y="connsiteY53287"/>
              </a:cxn>
              <a:cxn ang="0">
                <a:pos x="connsiteX53288" y="connsiteY53288"/>
              </a:cxn>
              <a:cxn ang="0">
                <a:pos x="connsiteX53289" y="connsiteY53289"/>
              </a:cxn>
              <a:cxn ang="0">
                <a:pos x="connsiteX53290" y="connsiteY53290"/>
              </a:cxn>
              <a:cxn ang="0">
                <a:pos x="connsiteX53291" y="connsiteY53291"/>
              </a:cxn>
              <a:cxn ang="0">
                <a:pos x="connsiteX53292" y="connsiteY53292"/>
              </a:cxn>
              <a:cxn ang="0">
                <a:pos x="connsiteX53293" y="connsiteY53293"/>
              </a:cxn>
              <a:cxn ang="0">
                <a:pos x="connsiteX53294" y="connsiteY53294"/>
              </a:cxn>
              <a:cxn ang="0">
                <a:pos x="connsiteX53295" y="connsiteY53295"/>
              </a:cxn>
              <a:cxn ang="0">
                <a:pos x="connsiteX53296" y="connsiteY53296"/>
              </a:cxn>
              <a:cxn ang="0">
                <a:pos x="connsiteX53297" y="connsiteY53297"/>
              </a:cxn>
              <a:cxn ang="0">
                <a:pos x="connsiteX53298" y="connsiteY53298"/>
              </a:cxn>
              <a:cxn ang="0">
                <a:pos x="connsiteX53299" y="connsiteY53299"/>
              </a:cxn>
              <a:cxn ang="0">
                <a:pos x="connsiteX53300" y="connsiteY53300"/>
              </a:cxn>
              <a:cxn ang="0">
                <a:pos x="connsiteX53301" y="connsiteY53301"/>
              </a:cxn>
              <a:cxn ang="0">
                <a:pos x="connsiteX53302" y="connsiteY53302"/>
              </a:cxn>
              <a:cxn ang="0">
                <a:pos x="connsiteX53303" y="connsiteY53303"/>
              </a:cxn>
              <a:cxn ang="0">
                <a:pos x="connsiteX53304" y="connsiteY53304"/>
              </a:cxn>
              <a:cxn ang="0">
                <a:pos x="connsiteX53305" y="connsiteY53305"/>
              </a:cxn>
              <a:cxn ang="0">
                <a:pos x="connsiteX53306" y="connsiteY53306"/>
              </a:cxn>
              <a:cxn ang="0">
                <a:pos x="connsiteX53307" y="connsiteY53307"/>
              </a:cxn>
              <a:cxn ang="0">
                <a:pos x="connsiteX53308" y="connsiteY53308"/>
              </a:cxn>
              <a:cxn ang="0">
                <a:pos x="connsiteX53309" y="connsiteY53309"/>
              </a:cxn>
              <a:cxn ang="0">
                <a:pos x="connsiteX53310" y="connsiteY53310"/>
              </a:cxn>
              <a:cxn ang="0">
                <a:pos x="connsiteX53311" y="connsiteY53311"/>
              </a:cxn>
              <a:cxn ang="0">
                <a:pos x="connsiteX53312" y="connsiteY53312"/>
              </a:cxn>
              <a:cxn ang="0">
                <a:pos x="connsiteX53313" y="connsiteY53313"/>
              </a:cxn>
              <a:cxn ang="0">
                <a:pos x="connsiteX53314" y="connsiteY53314"/>
              </a:cxn>
              <a:cxn ang="0">
                <a:pos x="connsiteX53315" y="connsiteY53315"/>
              </a:cxn>
              <a:cxn ang="0">
                <a:pos x="connsiteX53316" y="connsiteY53316"/>
              </a:cxn>
              <a:cxn ang="0">
                <a:pos x="connsiteX53317" y="connsiteY53317"/>
              </a:cxn>
              <a:cxn ang="0">
                <a:pos x="connsiteX53318" y="connsiteY53318"/>
              </a:cxn>
              <a:cxn ang="0">
                <a:pos x="connsiteX53319" y="connsiteY53319"/>
              </a:cxn>
              <a:cxn ang="0">
                <a:pos x="connsiteX53320" y="connsiteY53320"/>
              </a:cxn>
              <a:cxn ang="0">
                <a:pos x="connsiteX53321" y="connsiteY53321"/>
              </a:cxn>
              <a:cxn ang="0">
                <a:pos x="connsiteX53322" y="connsiteY53322"/>
              </a:cxn>
              <a:cxn ang="0">
                <a:pos x="connsiteX53323" y="connsiteY53323"/>
              </a:cxn>
              <a:cxn ang="0">
                <a:pos x="connsiteX53324" y="connsiteY53324"/>
              </a:cxn>
              <a:cxn ang="0">
                <a:pos x="connsiteX53325" y="connsiteY53325"/>
              </a:cxn>
              <a:cxn ang="0">
                <a:pos x="connsiteX53326" y="connsiteY53326"/>
              </a:cxn>
              <a:cxn ang="0">
                <a:pos x="connsiteX53327" y="connsiteY53327"/>
              </a:cxn>
              <a:cxn ang="0">
                <a:pos x="connsiteX53328" y="connsiteY53328"/>
              </a:cxn>
              <a:cxn ang="0">
                <a:pos x="connsiteX53329" y="connsiteY53329"/>
              </a:cxn>
              <a:cxn ang="0">
                <a:pos x="connsiteX53330" y="connsiteY53330"/>
              </a:cxn>
              <a:cxn ang="0">
                <a:pos x="connsiteX53331" y="connsiteY53331"/>
              </a:cxn>
              <a:cxn ang="0">
                <a:pos x="connsiteX53332" y="connsiteY53332"/>
              </a:cxn>
              <a:cxn ang="0">
                <a:pos x="connsiteX53333" y="connsiteY53333"/>
              </a:cxn>
              <a:cxn ang="0">
                <a:pos x="connsiteX53334" y="connsiteY53334"/>
              </a:cxn>
              <a:cxn ang="0">
                <a:pos x="connsiteX53335" y="connsiteY53335"/>
              </a:cxn>
              <a:cxn ang="0">
                <a:pos x="connsiteX53336" y="connsiteY53336"/>
              </a:cxn>
              <a:cxn ang="0">
                <a:pos x="connsiteX53337" y="connsiteY53337"/>
              </a:cxn>
              <a:cxn ang="0">
                <a:pos x="connsiteX53338" y="connsiteY53338"/>
              </a:cxn>
              <a:cxn ang="0">
                <a:pos x="connsiteX53339" y="connsiteY53339"/>
              </a:cxn>
              <a:cxn ang="0">
                <a:pos x="connsiteX53340" y="connsiteY53340"/>
              </a:cxn>
              <a:cxn ang="0">
                <a:pos x="connsiteX53341" y="connsiteY53341"/>
              </a:cxn>
              <a:cxn ang="0">
                <a:pos x="connsiteX53342" y="connsiteY53342"/>
              </a:cxn>
              <a:cxn ang="0">
                <a:pos x="connsiteX53343" y="connsiteY53343"/>
              </a:cxn>
              <a:cxn ang="0">
                <a:pos x="connsiteX53344" y="connsiteY53344"/>
              </a:cxn>
              <a:cxn ang="0">
                <a:pos x="connsiteX53345" y="connsiteY53345"/>
              </a:cxn>
              <a:cxn ang="0">
                <a:pos x="connsiteX53346" y="connsiteY53346"/>
              </a:cxn>
              <a:cxn ang="0">
                <a:pos x="connsiteX53347" y="connsiteY53347"/>
              </a:cxn>
              <a:cxn ang="0">
                <a:pos x="connsiteX53348" y="connsiteY53348"/>
              </a:cxn>
              <a:cxn ang="0">
                <a:pos x="connsiteX53349" y="connsiteY53349"/>
              </a:cxn>
              <a:cxn ang="0">
                <a:pos x="connsiteX53350" y="connsiteY53350"/>
              </a:cxn>
              <a:cxn ang="0">
                <a:pos x="connsiteX53351" y="connsiteY53351"/>
              </a:cxn>
              <a:cxn ang="0">
                <a:pos x="connsiteX53352" y="connsiteY53352"/>
              </a:cxn>
              <a:cxn ang="0">
                <a:pos x="connsiteX53353" y="connsiteY53353"/>
              </a:cxn>
              <a:cxn ang="0">
                <a:pos x="connsiteX53354" y="connsiteY53354"/>
              </a:cxn>
              <a:cxn ang="0">
                <a:pos x="connsiteX53355" y="connsiteY53355"/>
              </a:cxn>
              <a:cxn ang="0">
                <a:pos x="connsiteX53356" y="connsiteY53356"/>
              </a:cxn>
              <a:cxn ang="0">
                <a:pos x="connsiteX53357" y="connsiteY53357"/>
              </a:cxn>
              <a:cxn ang="0">
                <a:pos x="connsiteX53358" y="connsiteY53358"/>
              </a:cxn>
              <a:cxn ang="0">
                <a:pos x="connsiteX53359" y="connsiteY53359"/>
              </a:cxn>
              <a:cxn ang="0">
                <a:pos x="connsiteX53360" y="connsiteY53360"/>
              </a:cxn>
              <a:cxn ang="0">
                <a:pos x="connsiteX53361" y="connsiteY53361"/>
              </a:cxn>
              <a:cxn ang="0">
                <a:pos x="connsiteX53362" y="connsiteY53362"/>
              </a:cxn>
              <a:cxn ang="0">
                <a:pos x="connsiteX53363" y="connsiteY53363"/>
              </a:cxn>
              <a:cxn ang="0">
                <a:pos x="connsiteX53364" y="connsiteY53364"/>
              </a:cxn>
              <a:cxn ang="0">
                <a:pos x="connsiteX53365" y="connsiteY53365"/>
              </a:cxn>
              <a:cxn ang="0">
                <a:pos x="connsiteX53366" y="connsiteY53366"/>
              </a:cxn>
              <a:cxn ang="0">
                <a:pos x="connsiteX53367" y="connsiteY53367"/>
              </a:cxn>
              <a:cxn ang="0">
                <a:pos x="connsiteX53368" y="connsiteY53368"/>
              </a:cxn>
              <a:cxn ang="0">
                <a:pos x="connsiteX53369" y="connsiteY53369"/>
              </a:cxn>
              <a:cxn ang="0">
                <a:pos x="connsiteX53370" y="connsiteY53370"/>
              </a:cxn>
              <a:cxn ang="0">
                <a:pos x="connsiteX53371" y="connsiteY53371"/>
              </a:cxn>
              <a:cxn ang="0">
                <a:pos x="connsiteX53372" y="connsiteY53372"/>
              </a:cxn>
              <a:cxn ang="0">
                <a:pos x="connsiteX53373" y="connsiteY53373"/>
              </a:cxn>
              <a:cxn ang="0">
                <a:pos x="connsiteX53374" y="connsiteY53374"/>
              </a:cxn>
              <a:cxn ang="0">
                <a:pos x="connsiteX53375" y="connsiteY53375"/>
              </a:cxn>
              <a:cxn ang="0">
                <a:pos x="connsiteX53376" y="connsiteY53376"/>
              </a:cxn>
              <a:cxn ang="0">
                <a:pos x="connsiteX53377" y="connsiteY53377"/>
              </a:cxn>
              <a:cxn ang="0">
                <a:pos x="connsiteX53378" y="connsiteY53378"/>
              </a:cxn>
              <a:cxn ang="0">
                <a:pos x="connsiteX53379" y="connsiteY53379"/>
              </a:cxn>
              <a:cxn ang="0">
                <a:pos x="connsiteX53380" y="connsiteY53380"/>
              </a:cxn>
              <a:cxn ang="0">
                <a:pos x="connsiteX53381" y="connsiteY53381"/>
              </a:cxn>
              <a:cxn ang="0">
                <a:pos x="connsiteX53382" y="connsiteY53382"/>
              </a:cxn>
              <a:cxn ang="0">
                <a:pos x="connsiteX53383" y="connsiteY53383"/>
              </a:cxn>
              <a:cxn ang="0">
                <a:pos x="connsiteX53384" y="connsiteY53384"/>
              </a:cxn>
              <a:cxn ang="0">
                <a:pos x="connsiteX53385" y="connsiteY53385"/>
              </a:cxn>
              <a:cxn ang="0">
                <a:pos x="connsiteX53386" y="connsiteY53386"/>
              </a:cxn>
              <a:cxn ang="0">
                <a:pos x="connsiteX53387" y="connsiteY53387"/>
              </a:cxn>
              <a:cxn ang="0">
                <a:pos x="connsiteX53388" y="connsiteY53388"/>
              </a:cxn>
              <a:cxn ang="0">
                <a:pos x="connsiteX53389" y="connsiteY53389"/>
              </a:cxn>
              <a:cxn ang="0">
                <a:pos x="connsiteX53390" y="connsiteY53390"/>
              </a:cxn>
              <a:cxn ang="0">
                <a:pos x="connsiteX53391" y="connsiteY53391"/>
              </a:cxn>
              <a:cxn ang="0">
                <a:pos x="connsiteX53392" y="connsiteY53392"/>
              </a:cxn>
              <a:cxn ang="0">
                <a:pos x="connsiteX53393" y="connsiteY53393"/>
              </a:cxn>
              <a:cxn ang="0">
                <a:pos x="connsiteX53394" y="connsiteY53394"/>
              </a:cxn>
              <a:cxn ang="0">
                <a:pos x="connsiteX53395" y="connsiteY53395"/>
              </a:cxn>
              <a:cxn ang="0">
                <a:pos x="connsiteX53396" y="connsiteY53396"/>
              </a:cxn>
              <a:cxn ang="0">
                <a:pos x="connsiteX53397" y="connsiteY53397"/>
              </a:cxn>
              <a:cxn ang="0">
                <a:pos x="connsiteX53398" y="connsiteY53398"/>
              </a:cxn>
              <a:cxn ang="0">
                <a:pos x="connsiteX53399" y="connsiteY53399"/>
              </a:cxn>
              <a:cxn ang="0">
                <a:pos x="connsiteX53400" y="connsiteY53400"/>
              </a:cxn>
              <a:cxn ang="0">
                <a:pos x="connsiteX53401" y="connsiteY53401"/>
              </a:cxn>
              <a:cxn ang="0">
                <a:pos x="connsiteX53402" y="connsiteY53402"/>
              </a:cxn>
              <a:cxn ang="0">
                <a:pos x="connsiteX53403" y="connsiteY53403"/>
              </a:cxn>
              <a:cxn ang="0">
                <a:pos x="connsiteX53404" y="connsiteY53404"/>
              </a:cxn>
              <a:cxn ang="0">
                <a:pos x="connsiteX53405" y="connsiteY53405"/>
              </a:cxn>
              <a:cxn ang="0">
                <a:pos x="connsiteX53406" y="connsiteY53406"/>
              </a:cxn>
              <a:cxn ang="0">
                <a:pos x="connsiteX53407" y="connsiteY53407"/>
              </a:cxn>
              <a:cxn ang="0">
                <a:pos x="connsiteX53408" y="connsiteY53408"/>
              </a:cxn>
              <a:cxn ang="0">
                <a:pos x="connsiteX53409" y="connsiteY53409"/>
              </a:cxn>
              <a:cxn ang="0">
                <a:pos x="connsiteX53410" y="connsiteY53410"/>
              </a:cxn>
              <a:cxn ang="0">
                <a:pos x="connsiteX53411" y="connsiteY53411"/>
              </a:cxn>
              <a:cxn ang="0">
                <a:pos x="connsiteX53412" y="connsiteY53412"/>
              </a:cxn>
              <a:cxn ang="0">
                <a:pos x="connsiteX53413" y="connsiteY53413"/>
              </a:cxn>
              <a:cxn ang="0">
                <a:pos x="connsiteX53414" y="connsiteY53414"/>
              </a:cxn>
              <a:cxn ang="0">
                <a:pos x="connsiteX53415" y="connsiteY53415"/>
              </a:cxn>
              <a:cxn ang="0">
                <a:pos x="connsiteX53416" y="connsiteY53416"/>
              </a:cxn>
              <a:cxn ang="0">
                <a:pos x="connsiteX53417" y="connsiteY53417"/>
              </a:cxn>
              <a:cxn ang="0">
                <a:pos x="connsiteX53418" y="connsiteY53418"/>
              </a:cxn>
              <a:cxn ang="0">
                <a:pos x="connsiteX53419" y="connsiteY53419"/>
              </a:cxn>
              <a:cxn ang="0">
                <a:pos x="connsiteX53420" y="connsiteY53420"/>
              </a:cxn>
              <a:cxn ang="0">
                <a:pos x="connsiteX53421" y="connsiteY53421"/>
              </a:cxn>
              <a:cxn ang="0">
                <a:pos x="connsiteX53422" y="connsiteY53422"/>
              </a:cxn>
              <a:cxn ang="0">
                <a:pos x="connsiteX53423" y="connsiteY53423"/>
              </a:cxn>
              <a:cxn ang="0">
                <a:pos x="connsiteX53424" y="connsiteY53424"/>
              </a:cxn>
              <a:cxn ang="0">
                <a:pos x="connsiteX53425" y="connsiteY53425"/>
              </a:cxn>
              <a:cxn ang="0">
                <a:pos x="connsiteX53426" y="connsiteY53426"/>
              </a:cxn>
              <a:cxn ang="0">
                <a:pos x="connsiteX53427" y="connsiteY53427"/>
              </a:cxn>
              <a:cxn ang="0">
                <a:pos x="connsiteX53428" y="connsiteY53428"/>
              </a:cxn>
              <a:cxn ang="0">
                <a:pos x="connsiteX53429" y="connsiteY53429"/>
              </a:cxn>
              <a:cxn ang="0">
                <a:pos x="connsiteX53430" y="connsiteY53430"/>
              </a:cxn>
              <a:cxn ang="0">
                <a:pos x="connsiteX53431" y="connsiteY53431"/>
              </a:cxn>
              <a:cxn ang="0">
                <a:pos x="connsiteX53432" y="connsiteY53432"/>
              </a:cxn>
              <a:cxn ang="0">
                <a:pos x="connsiteX53433" y="connsiteY53433"/>
              </a:cxn>
              <a:cxn ang="0">
                <a:pos x="connsiteX53434" y="connsiteY53434"/>
              </a:cxn>
              <a:cxn ang="0">
                <a:pos x="connsiteX53435" y="connsiteY53435"/>
              </a:cxn>
              <a:cxn ang="0">
                <a:pos x="connsiteX53436" y="connsiteY53436"/>
              </a:cxn>
              <a:cxn ang="0">
                <a:pos x="connsiteX53437" y="connsiteY53437"/>
              </a:cxn>
              <a:cxn ang="0">
                <a:pos x="connsiteX53438" y="connsiteY53438"/>
              </a:cxn>
              <a:cxn ang="0">
                <a:pos x="connsiteX53439" y="connsiteY53439"/>
              </a:cxn>
              <a:cxn ang="0">
                <a:pos x="connsiteX53440" y="connsiteY53440"/>
              </a:cxn>
              <a:cxn ang="0">
                <a:pos x="connsiteX53441" y="connsiteY53441"/>
              </a:cxn>
              <a:cxn ang="0">
                <a:pos x="connsiteX53442" y="connsiteY53442"/>
              </a:cxn>
              <a:cxn ang="0">
                <a:pos x="connsiteX53443" y="connsiteY53443"/>
              </a:cxn>
              <a:cxn ang="0">
                <a:pos x="connsiteX53444" y="connsiteY53444"/>
              </a:cxn>
              <a:cxn ang="0">
                <a:pos x="connsiteX53445" y="connsiteY53445"/>
              </a:cxn>
              <a:cxn ang="0">
                <a:pos x="connsiteX53446" y="connsiteY53446"/>
              </a:cxn>
              <a:cxn ang="0">
                <a:pos x="connsiteX53447" y="connsiteY53447"/>
              </a:cxn>
              <a:cxn ang="0">
                <a:pos x="connsiteX53448" y="connsiteY53448"/>
              </a:cxn>
              <a:cxn ang="0">
                <a:pos x="connsiteX53449" y="connsiteY53449"/>
              </a:cxn>
              <a:cxn ang="0">
                <a:pos x="connsiteX53450" y="connsiteY53450"/>
              </a:cxn>
              <a:cxn ang="0">
                <a:pos x="connsiteX53451" y="connsiteY53451"/>
              </a:cxn>
              <a:cxn ang="0">
                <a:pos x="connsiteX53452" y="connsiteY53452"/>
              </a:cxn>
              <a:cxn ang="0">
                <a:pos x="connsiteX53453" y="connsiteY53453"/>
              </a:cxn>
              <a:cxn ang="0">
                <a:pos x="connsiteX53454" y="connsiteY53454"/>
              </a:cxn>
              <a:cxn ang="0">
                <a:pos x="connsiteX53455" y="connsiteY53455"/>
              </a:cxn>
              <a:cxn ang="0">
                <a:pos x="connsiteX53456" y="connsiteY53456"/>
              </a:cxn>
              <a:cxn ang="0">
                <a:pos x="connsiteX53457" y="connsiteY53457"/>
              </a:cxn>
              <a:cxn ang="0">
                <a:pos x="connsiteX53458" y="connsiteY53458"/>
              </a:cxn>
              <a:cxn ang="0">
                <a:pos x="connsiteX53459" y="connsiteY53459"/>
              </a:cxn>
              <a:cxn ang="0">
                <a:pos x="connsiteX53460" y="connsiteY53460"/>
              </a:cxn>
              <a:cxn ang="0">
                <a:pos x="connsiteX53461" y="connsiteY53461"/>
              </a:cxn>
              <a:cxn ang="0">
                <a:pos x="connsiteX53462" y="connsiteY53462"/>
              </a:cxn>
              <a:cxn ang="0">
                <a:pos x="connsiteX53463" y="connsiteY53463"/>
              </a:cxn>
              <a:cxn ang="0">
                <a:pos x="connsiteX53464" y="connsiteY53464"/>
              </a:cxn>
              <a:cxn ang="0">
                <a:pos x="connsiteX53465" y="connsiteY53465"/>
              </a:cxn>
              <a:cxn ang="0">
                <a:pos x="connsiteX53466" y="connsiteY53466"/>
              </a:cxn>
              <a:cxn ang="0">
                <a:pos x="connsiteX53467" y="connsiteY53467"/>
              </a:cxn>
              <a:cxn ang="0">
                <a:pos x="connsiteX53468" y="connsiteY53468"/>
              </a:cxn>
              <a:cxn ang="0">
                <a:pos x="connsiteX53469" y="connsiteY53469"/>
              </a:cxn>
              <a:cxn ang="0">
                <a:pos x="connsiteX53470" y="connsiteY53470"/>
              </a:cxn>
              <a:cxn ang="0">
                <a:pos x="connsiteX53471" y="connsiteY53471"/>
              </a:cxn>
              <a:cxn ang="0">
                <a:pos x="connsiteX53472" y="connsiteY53472"/>
              </a:cxn>
              <a:cxn ang="0">
                <a:pos x="connsiteX53473" y="connsiteY53473"/>
              </a:cxn>
              <a:cxn ang="0">
                <a:pos x="connsiteX53474" y="connsiteY53474"/>
              </a:cxn>
              <a:cxn ang="0">
                <a:pos x="connsiteX53475" y="connsiteY53475"/>
              </a:cxn>
              <a:cxn ang="0">
                <a:pos x="connsiteX53476" y="connsiteY53476"/>
              </a:cxn>
              <a:cxn ang="0">
                <a:pos x="connsiteX53477" y="connsiteY53477"/>
              </a:cxn>
              <a:cxn ang="0">
                <a:pos x="connsiteX53478" y="connsiteY53478"/>
              </a:cxn>
              <a:cxn ang="0">
                <a:pos x="connsiteX53479" y="connsiteY53479"/>
              </a:cxn>
              <a:cxn ang="0">
                <a:pos x="connsiteX53480" y="connsiteY53480"/>
              </a:cxn>
              <a:cxn ang="0">
                <a:pos x="connsiteX53481" y="connsiteY53481"/>
              </a:cxn>
              <a:cxn ang="0">
                <a:pos x="connsiteX53482" y="connsiteY53482"/>
              </a:cxn>
              <a:cxn ang="0">
                <a:pos x="connsiteX53483" y="connsiteY53483"/>
              </a:cxn>
              <a:cxn ang="0">
                <a:pos x="connsiteX53484" y="connsiteY53484"/>
              </a:cxn>
              <a:cxn ang="0">
                <a:pos x="connsiteX53485" y="connsiteY53485"/>
              </a:cxn>
              <a:cxn ang="0">
                <a:pos x="connsiteX53486" y="connsiteY53486"/>
              </a:cxn>
              <a:cxn ang="0">
                <a:pos x="connsiteX53487" y="connsiteY53487"/>
              </a:cxn>
              <a:cxn ang="0">
                <a:pos x="connsiteX53488" y="connsiteY53488"/>
              </a:cxn>
              <a:cxn ang="0">
                <a:pos x="connsiteX53489" y="connsiteY53489"/>
              </a:cxn>
              <a:cxn ang="0">
                <a:pos x="connsiteX53490" y="connsiteY53490"/>
              </a:cxn>
              <a:cxn ang="0">
                <a:pos x="connsiteX53491" y="connsiteY53491"/>
              </a:cxn>
              <a:cxn ang="0">
                <a:pos x="connsiteX53492" y="connsiteY53492"/>
              </a:cxn>
              <a:cxn ang="0">
                <a:pos x="connsiteX53493" y="connsiteY53493"/>
              </a:cxn>
              <a:cxn ang="0">
                <a:pos x="connsiteX53494" y="connsiteY53494"/>
              </a:cxn>
              <a:cxn ang="0">
                <a:pos x="connsiteX53495" y="connsiteY53495"/>
              </a:cxn>
              <a:cxn ang="0">
                <a:pos x="connsiteX53496" y="connsiteY53496"/>
              </a:cxn>
              <a:cxn ang="0">
                <a:pos x="connsiteX53497" y="connsiteY53497"/>
              </a:cxn>
              <a:cxn ang="0">
                <a:pos x="connsiteX53498" y="connsiteY53498"/>
              </a:cxn>
              <a:cxn ang="0">
                <a:pos x="connsiteX53499" y="connsiteY53499"/>
              </a:cxn>
              <a:cxn ang="0">
                <a:pos x="connsiteX53500" y="connsiteY53500"/>
              </a:cxn>
              <a:cxn ang="0">
                <a:pos x="connsiteX53501" y="connsiteY53501"/>
              </a:cxn>
              <a:cxn ang="0">
                <a:pos x="connsiteX53502" y="connsiteY53502"/>
              </a:cxn>
              <a:cxn ang="0">
                <a:pos x="connsiteX53503" y="connsiteY53503"/>
              </a:cxn>
              <a:cxn ang="0">
                <a:pos x="connsiteX53504" y="connsiteY53504"/>
              </a:cxn>
              <a:cxn ang="0">
                <a:pos x="connsiteX53505" y="connsiteY53505"/>
              </a:cxn>
              <a:cxn ang="0">
                <a:pos x="connsiteX53506" y="connsiteY53506"/>
              </a:cxn>
              <a:cxn ang="0">
                <a:pos x="connsiteX53507" y="connsiteY53507"/>
              </a:cxn>
              <a:cxn ang="0">
                <a:pos x="connsiteX53508" y="connsiteY53508"/>
              </a:cxn>
              <a:cxn ang="0">
                <a:pos x="connsiteX53509" y="connsiteY53509"/>
              </a:cxn>
              <a:cxn ang="0">
                <a:pos x="connsiteX53510" y="connsiteY53510"/>
              </a:cxn>
              <a:cxn ang="0">
                <a:pos x="connsiteX53511" y="connsiteY53511"/>
              </a:cxn>
              <a:cxn ang="0">
                <a:pos x="connsiteX53512" y="connsiteY53512"/>
              </a:cxn>
              <a:cxn ang="0">
                <a:pos x="connsiteX53513" y="connsiteY53513"/>
              </a:cxn>
              <a:cxn ang="0">
                <a:pos x="connsiteX53514" y="connsiteY53514"/>
              </a:cxn>
              <a:cxn ang="0">
                <a:pos x="connsiteX53515" y="connsiteY53515"/>
              </a:cxn>
              <a:cxn ang="0">
                <a:pos x="connsiteX53516" y="connsiteY53516"/>
              </a:cxn>
              <a:cxn ang="0">
                <a:pos x="connsiteX53517" y="connsiteY53517"/>
              </a:cxn>
              <a:cxn ang="0">
                <a:pos x="connsiteX53518" y="connsiteY53518"/>
              </a:cxn>
              <a:cxn ang="0">
                <a:pos x="connsiteX53519" y="connsiteY53519"/>
              </a:cxn>
              <a:cxn ang="0">
                <a:pos x="connsiteX53520" y="connsiteY53520"/>
              </a:cxn>
              <a:cxn ang="0">
                <a:pos x="connsiteX53521" y="connsiteY53521"/>
              </a:cxn>
              <a:cxn ang="0">
                <a:pos x="connsiteX53522" y="connsiteY53522"/>
              </a:cxn>
              <a:cxn ang="0">
                <a:pos x="connsiteX53523" y="connsiteY53523"/>
              </a:cxn>
              <a:cxn ang="0">
                <a:pos x="connsiteX53524" y="connsiteY53524"/>
              </a:cxn>
              <a:cxn ang="0">
                <a:pos x="connsiteX53525" y="connsiteY53525"/>
              </a:cxn>
              <a:cxn ang="0">
                <a:pos x="connsiteX53526" y="connsiteY53526"/>
              </a:cxn>
              <a:cxn ang="0">
                <a:pos x="connsiteX53527" y="connsiteY53527"/>
              </a:cxn>
              <a:cxn ang="0">
                <a:pos x="connsiteX53528" y="connsiteY53528"/>
              </a:cxn>
              <a:cxn ang="0">
                <a:pos x="connsiteX53529" y="connsiteY53529"/>
              </a:cxn>
              <a:cxn ang="0">
                <a:pos x="connsiteX53530" y="connsiteY53530"/>
              </a:cxn>
              <a:cxn ang="0">
                <a:pos x="connsiteX53531" y="connsiteY53531"/>
              </a:cxn>
              <a:cxn ang="0">
                <a:pos x="connsiteX53532" y="connsiteY53532"/>
              </a:cxn>
              <a:cxn ang="0">
                <a:pos x="connsiteX53533" y="connsiteY53533"/>
              </a:cxn>
              <a:cxn ang="0">
                <a:pos x="connsiteX53534" y="connsiteY53534"/>
              </a:cxn>
              <a:cxn ang="0">
                <a:pos x="connsiteX53535" y="connsiteY53535"/>
              </a:cxn>
              <a:cxn ang="0">
                <a:pos x="connsiteX53536" y="connsiteY53536"/>
              </a:cxn>
              <a:cxn ang="0">
                <a:pos x="connsiteX53537" y="connsiteY53537"/>
              </a:cxn>
              <a:cxn ang="0">
                <a:pos x="connsiteX53538" y="connsiteY53538"/>
              </a:cxn>
              <a:cxn ang="0">
                <a:pos x="connsiteX53539" y="connsiteY53539"/>
              </a:cxn>
              <a:cxn ang="0">
                <a:pos x="connsiteX53540" y="connsiteY53540"/>
              </a:cxn>
              <a:cxn ang="0">
                <a:pos x="connsiteX53541" y="connsiteY53541"/>
              </a:cxn>
              <a:cxn ang="0">
                <a:pos x="connsiteX53542" y="connsiteY53542"/>
              </a:cxn>
              <a:cxn ang="0">
                <a:pos x="connsiteX53543" y="connsiteY53543"/>
              </a:cxn>
              <a:cxn ang="0">
                <a:pos x="connsiteX53544" y="connsiteY53544"/>
              </a:cxn>
              <a:cxn ang="0">
                <a:pos x="connsiteX53545" y="connsiteY53545"/>
              </a:cxn>
              <a:cxn ang="0">
                <a:pos x="connsiteX53546" y="connsiteY53546"/>
              </a:cxn>
              <a:cxn ang="0">
                <a:pos x="connsiteX53547" y="connsiteY53547"/>
              </a:cxn>
              <a:cxn ang="0">
                <a:pos x="connsiteX53548" y="connsiteY53548"/>
              </a:cxn>
              <a:cxn ang="0">
                <a:pos x="connsiteX53549" y="connsiteY53549"/>
              </a:cxn>
              <a:cxn ang="0">
                <a:pos x="connsiteX53550" y="connsiteY53550"/>
              </a:cxn>
              <a:cxn ang="0">
                <a:pos x="connsiteX53551" y="connsiteY53551"/>
              </a:cxn>
              <a:cxn ang="0">
                <a:pos x="connsiteX53552" y="connsiteY53552"/>
              </a:cxn>
              <a:cxn ang="0">
                <a:pos x="connsiteX53553" y="connsiteY53553"/>
              </a:cxn>
              <a:cxn ang="0">
                <a:pos x="connsiteX53554" y="connsiteY53554"/>
              </a:cxn>
              <a:cxn ang="0">
                <a:pos x="connsiteX53555" y="connsiteY53555"/>
              </a:cxn>
              <a:cxn ang="0">
                <a:pos x="connsiteX53556" y="connsiteY53556"/>
              </a:cxn>
              <a:cxn ang="0">
                <a:pos x="connsiteX53557" y="connsiteY53557"/>
              </a:cxn>
              <a:cxn ang="0">
                <a:pos x="connsiteX53558" y="connsiteY53558"/>
              </a:cxn>
              <a:cxn ang="0">
                <a:pos x="connsiteX53559" y="connsiteY53559"/>
              </a:cxn>
              <a:cxn ang="0">
                <a:pos x="connsiteX53560" y="connsiteY53560"/>
              </a:cxn>
              <a:cxn ang="0">
                <a:pos x="connsiteX53561" y="connsiteY53561"/>
              </a:cxn>
              <a:cxn ang="0">
                <a:pos x="connsiteX53562" y="connsiteY53562"/>
              </a:cxn>
              <a:cxn ang="0">
                <a:pos x="connsiteX53563" y="connsiteY53563"/>
              </a:cxn>
              <a:cxn ang="0">
                <a:pos x="connsiteX53564" y="connsiteY53564"/>
              </a:cxn>
              <a:cxn ang="0">
                <a:pos x="connsiteX53565" y="connsiteY53565"/>
              </a:cxn>
              <a:cxn ang="0">
                <a:pos x="connsiteX53566" y="connsiteY53566"/>
              </a:cxn>
              <a:cxn ang="0">
                <a:pos x="connsiteX53567" y="connsiteY53567"/>
              </a:cxn>
              <a:cxn ang="0">
                <a:pos x="connsiteX53568" y="connsiteY53568"/>
              </a:cxn>
              <a:cxn ang="0">
                <a:pos x="connsiteX53569" y="connsiteY53569"/>
              </a:cxn>
              <a:cxn ang="0">
                <a:pos x="connsiteX53570" y="connsiteY53570"/>
              </a:cxn>
              <a:cxn ang="0">
                <a:pos x="connsiteX53571" y="connsiteY53571"/>
              </a:cxn>
              <a:cxn ang="0">
                <a:pos x="connsiteX53572" y="connsiteY53572"/>
              </a:cxn>
              <a:cxn ang="0">
                <a:pos x="connsiteX53573" y="connsiteY53573"/>
              </a:cxn>
              <a:cxn ang="0">
                <a:pos x="connsiteX53574" y="connsiteY53574"/>
              </a:cxn>
              <a:cxn ang="0">
                <a:pos x="connsiteX53575" y="connsiteY53575"/>
              </a:cxn>
              <a:cxn ang="0">
                <a:pos x="connsiteX53576" y="connsiteY53576"/>
              </a:cxn>
              <a:cxn ang="0">
                <a:pos x="connsiteX53577" y="connsiteY53577"/>
              </a:cxn>
              <a:cxn ang="0">
                <a:pos x="connsiteX53578" y="connsiteY53578"/>
              </a:cxn>
              <a:cxn ang="0">
                <a:pos x="connsiteX53579" y="connsiteY53579"/>
              </a:cxn>
              <a:cxn ang="0">
                <a:pos x="connsiteX53580" y="connsiteY53580"/>
              </a:cxn>
              <a:cxn ang="0">
                <a:pos x="connsiteX53581" y="connsiteY53581"/>
              </a:cxn>
              <a:cxn ang="0">
                <a:pos x="connsiteX53582" y="connsiteY53582"/>
              </a:cxn>
              <a:cxn ang="0">
                <a:pos x="connsiteX53583" y="connsiteY53583"/>
              </a:cxn>
              <a:cxn ang="0">
                <a:pos x="connsiteX53584" y="connsiteY53584"/>
              </a:cxn>
              <a:cxn ang="0">
                <a:pos x="connsiteX53585" y="connsiteY53585"/>
              </a:cxn>
              <a:cxn ang="0">
                <a:pos x="connsiteX53586" y="connsiteY53586"/>
              </a:cxn>
              <a:cxn ang="0">
                <a:pos x="connsiteX53587" y="connsiteY53587"/>
              </a:cxn>
              <a:cxn ang="0">
                <a:pos x="connsiteX53588" y="connsiteY53588"/>
              </a:cxn>
              <a:cxn ang="0">
                <a:pos x="connsiteX53589" y="connsiteY53589"/>
              </a:cxn>
              <a:cxn ang="0">
                <a:pos x="connsiteX53590" y="connsiteY53590"/>
              </a:cxn>
              <a:cxn ang="0">
                <a:pos x="connsiteX53591" y="connsiteY53591"/>
              </a:cxn>
              <a:cxn ang="0">
                <a:pos x="connsiteX53592" y="connsiteY53592"/>
              </a:cxn>
              <a:cxn ang="0">
                <a:pos x="connsiteX53593" y="connsiteY53593"/>
              </a:cxn>
              <a:cxn ang="0">
                <a:pos x="connsiteX53594" y="connsiteY53594"/>
              </a:cxn>
              <a:cxn ang="0">
                <a:pos x="connsiteX53595" y="connsiteY53595"/>
              </a:cxn>
              <a:cxn ang="0">
                <a:pos x="connsiteX53596" y="connsiteY53596"/>
              </a:cxn>
              <a:cxn ang="0">
                <a:pos x="connsiteX53597" y="connsiteY53597"/>
              </a:cxn>
              <a:cxn ang="0">
                <a:pos x="connsiteX53598" y="connsiteY53598"/>
              </a:cxn>
              <a:cxn ang="0">
                <a:pos x="connsiteX53599" y="connsiteY53599"/>
              </a:cxn>
              <a:cxn ang="0">
                <a:pos x="connsiteX53600" y="connsiteY53600"/>
              </a:cxn>
              <a:cxn ang="0">
                <a:pos x="connsiteX53601" y="connsiteY53601"/>
              </a:cxn>
              <a:cxn ang="0">
                <a:pos x="connsiteX53602" y="connsiteY53602"/>
              </a:cxn>
              <a:cxn ang="0">
                <a:pos x="connsiteX53603" y="connsiteY53603"/>
              </a:cxn>
              <a:cxn ang="0">
                <a:pos x="connsiteX53604" y="connsiteY53604"/>
              </a:cxn>
              <a:cxn ang="0">
                <a:pos x="connsiteX53605" y="connsiteY53605"/>
              </a:cxn>
              <a:cxn ang="0">
                <a:pos x="connsiteX53606" y="connsiteY53606"/>
              </a:cxn>
              <a:cxn ang="0">
                <a:pos x="connsiteX53607" y="connsiteY53607"/>
              </a:cxn>
              <a:cxn ang="0">
                <a:pos x="connsiteX53608" y="connsiteY53608"/>
              </a:cxn>
              <a:cxn ang="0">
                <a:pos x="connsiteX53609" y="connsiteY53609"/>
              </a:cxn>
              <a:cxn ang="0">
                <a:pos x="connsiteX53610" y="connsiteY53610"/>
              </a:cxn>
              <a:cxn ang="0">
                <a:pos x="connsiteX53611" y="connsiteY53611"/>
              </a:cxn>
              <a:cxn ang="0">
                <a:pos x="connsiteX53612" y="connsiteY53612"/>
              </a:cxn>
              <a:cxn ang="0">
                <a:pos x="connsiteX53613" y="connsiteY53613"/>
              </a:cxn>
              <a:cxn ang="0">
                <a:pos x="connsiteX53614" y="connsiteY53614"/>
              </a:cxn>
              <a:cxn ang="0">
                <a:pos x="connsiteX53615" y="connsiteY53615"/>
              </a:cxn>
              <a:cxn ang="0">
                <a:pos x="connsiteX53616" y="connsiteY53616"/>
              </a:cxn>
              <a:cxn ang="0">
                <a:pos x="connsiteX53617" y="connsiteY53617"/>
              </a:cxn>
              <a:cxn ang="0">
                <a:pos x="connsiteX53618" y="connsiteY53618"/>
              </a:cxn>
              <a:cxn ang="0">
                <a:pos x="connsiteX53619" y="connsiteY53619"/>
              </a:cxn>
              <a:cxn ang="0">
                <a:pos x="connsiteX53620" y="connsiteY53620"/>
              </a:cxn>
              <a:cxn ang="0">
                <a:pos x="connsiteX53621" y="connsiteY53621"/>
              </a:cxn>
              <a:cxn ang="0">
                <a:pos x="connsiteX53622" y="connsiteY53622"/>
              </a:cxn>
              <a:cxn ang="0">
                <a:pos x="connsiteX53623" y="connsiteY53623"/>
              </a:cxn>
              <a:cxn ang="0">
                <a:pos x="connsiteX53624" y="connsiteY53624"/>
              </a:cxn>
              <a:cxn ang="0">
                <a:pos x="connsiteX53625" y="connsiteY53625"/>
              </a:cxn>
              <a:cxn ang="0">
                <a:pos x="connsiteX53626" y="connsiteY53626"/>
              </a:cxn>
              <a:cxn ang="0">
                <a:pos x="connsiteX53627" y="connsiteY53627"/>
              </a:cxn>
              <a:cxn ang="0">
                <a:pos x="connsiteX53628" y="connsiteY53628"/>
              </a:cxn>
              <a:cxn ang="0">
                <a:pos x="connsiteX53629" y="connsiteY53629"/>
              </a:cxn>
              <a:cxn ang="0">
                <a:pos x="connsiteX53630" y="connsiteY53630"/>
              </a:cxn>
              <a:cxn ang="0">
                <a:pos x="connsiteX53631" y="connsiteY53631"/>
              </a:cxn>
              <a:cxn ang="0">
                <a:pos x="connsiteX53632" y="connsiteY53632"/>
              </a:cxn>
              <a:cxn ang="0">
                <a:pos x="connsiteX53633" y="connsiteY53633"/>
              </a:cxn>
              <a:cxn ang="0">
                <a:pos x="connsiteX53634" y="connsiteY53634"/>
              </a:cxn>
              <a:cxn ang="0">
                <a:pos x="connsiteX53635" y="connsiteY53635"/>
              </a:cxn>
              <a:cxn ang="0">
                <a:pos x="connsiteX53636" y="connsiteY53636"/>
              </a:cxn>
              <a:cxn ang="0">
                <a:pos x="connsiteX53637" y="connsiteY53637"/>
              </a:cxn>
              <a:cxn ang="0">
                <a:pos x="connsiteX53638" y="connsiteY53638"/>
              </a:cxn>
              <a:cxn ang="0">
                <a:pos x="connsiteX53639" y="connsiteY53639"/>
              </a:cxn>
              <a:cxn ang="0">
                <a:pos x="connsiteX53640" y="connsiteY53640"/>
              </a:cxn>
              <a:cxn ang="0">
                <a:pos x="connsiteX53641" y="connsiteY53641"/>
              </a:cxn>
              <a:cxn ang="0">
                <a:pos x="connsiteX53642" y="connsiteY53642"/>
              </a:cxn>
              <a:cxn ang="0">
                <a:pos x="connsiteX53643" y="connsiteY53643"/>
              </a:cxn>
              <a:cxn ang="0">
                <a:pos x="connsiteX53644" y="connsiteY53644"/>
              </a:cxn>
              <a:cxn ang="0">
                <a:pos x="connsiteX53645" y="connsiteY53645"/>
              </a:cxn>
              <a:cxn ang="0">
                <a:pos x="connsiteX53646" y="connsiteY53646"/>
              </a:cxn>
              <a:cxn ang="0">
                <a:pos x="connsiteX53647" y="connsiteY53647"/>
              </a:cxn>
              <a:cxn ang="0">
                <a:pos x="connsiteX53648" y="connsiteY53648"/>
              </a:cxn>
              <a:cxn ang="0">
                <a:pos x="connsiteX53649" y="connsiteY53649"/>
              </a:cxn>
              <a:cxn ang="0">
                <a:pos x="connsiteX53650" y="connsiteY53650"/>
              </a:cxn>
              <a:cxn ang="0">
                <a:pos x="connsiteX53651" y="connsiteY53651"/>
              </a:cxn>
              <a:cxn ang="0">
                <a:pos x="connsiteX53652" y="connsiteY53652"/>
              </a:cxn>
              <a:cxn ang="0">
                <a:pos x="connsiteX53653" y="connsiteY53653"/>
              </a:cxn>
              <a:cxn ang="0">
                <a:pos x="connsiteX53654" y="connsiteY53654"/>
              </a:cxn>
              <a:cxn ang="0">
                <a:pos x="connsiteX53655" y="connsiteY53655"/>
              </a:cxn>
              <a:cxn ang="0">
                <a:pos x="connsiteX53656" y="connsiteY53656"/>
              </a:cxn>
              <a:cxn ang="0">
                <a:pos x="connsiteX53657" y="connsiteY53657"/>
              </a:cxn>
              <a:cxn ang="0">
                <a:pos x="connsiteX53658" y="connsiteY53658"/>
              </a:cxn>
              <a:cxn ang="0">
                <a:pos x="connsiteX53659" y="connsiteY53659"/>
              </a:cxn>
              <a:cxn ang="0">
                <a:pos x="connsiteX53660" y="connsiteY53660"/>
              </a:cxn>
              <a:cxn ang="0">
                <a:pos x="connsiteX53661" y="connsiteY53661"/>
              </a:cxn>
              <a:cxn ang="0">
                <a:pos x="connsiteX53662" y="connsiteY53662"/>
              </a:cxn>
              <a:cxn ang="0">
                <a:pos x="connsiteX53663" y="connsiteY53663"/>
              </a:cxn>
              <a:cxn ang="0">
                <a:pos x="connsiteX53664" y="connsiteY53664"/>
              </a:cxn>
              <a:cxn ang="0">
                <a:pos x="connsiteX53665" y="connsiteY53665"/>
              </a:cxn>
              <a:cxn ang="0">
                <a:pos x="connsiteX53666" y="connsiteY53666"/>
              </a:cxn>
              <a:cxn ang="0">
                <a:pos x="connsiteX53667" y="connsiteY53667"/>
              </a:cxn>
              <a:cxn ang="0">
                <a:pos x="connsiteX53668" y="connsiteY53668"/>
              </a:cxn>
              <a:cxn ang="0">
                <a:pos x="connsiteX53669" y="connsiteY53669"/>
              </a:cxn>
              <a:cxn ang="0">
                <a:pos x="connsiteX53670" y="connsiteY53670"/>
              </a:cxn>
              <a:cxn ang="0">
                <a:pos x="connsiteX53671" y="connsiteY53671"/>
              </a:cxn>
              <a:cxn ang="0">
                <a:pos x="connsiteX53672" y="connsiteY53672"/>
              </a:cxn>
              <a:cxn ang="0">
                <a:pos x="connsiteX53673" y="connsiteY53673"/>
              </a:cxn>
              <a:cxn ang="0">
                <a:pos x="connsiteX53674" y="connsiteY53674"/>
              </a:cxn>
              <a:cxn ang="0">
                <a:pos x="connsiteX53675" y="connsiteY53675"/>
              </a:cxn>
              <a:cxn ang="0">
                <a:pos x="connsiteX53676" y="connsiteY53676"/>
              </a:cxn>
              <a:cxn ang="0">
                <a:pos x="connsiteX53677" y="connsiteY53677"/>
              </a:cxn>
              <a:cxn ang="0">
                <a:pos x="connsiteX53678" y="connsiteY53678"/>
              </a:cxn>
              <a:cxn ang="0">
                <a:pos x="connsiteX53679" y="connsiteY53679"/>
              </a:cxn>
              <a:cxn ang="0">
                <a:pos x="connsiteX53680" y="connsiteY53680"/>
              </a:cxn>
              <a:cxn ang="0">
                <a:pos x="connsiteX53681" y="connsiteY53681"/>
              </a:cxn>
              <a:cxn ang="0">
                <a:pos x="connsiteX53682" y="connsiteY53682"/>
              </a:cxn>
              <a:cxn ang="0">
                <a:pos x="connsiteX53683" y="connsiteY53683"/>
              </a:cxn>
              <a:cxn ang="0">
                <a:pos x="connsiteX53684" y="connsiteY53684"/>
              </a:cxn>
              <a:cxn ang="0">
                <a:pos x="connsiteX53685" y="connsiteY53685"/>
              </a:cxn>
              <a:cxn ang="0">
                <a:pos x="connsiteX53686" y="connsiteY53686"/>
              </a:cxn>
              <a:cxn ang="0">
                <a:pos x="connsiteX53687" y="connsiteY53687"/>
              </a:cxn>
              <a:cxn ang="0">
                <a:pos x="connsiteX53688" y="connsiteY53688"/>
              </a:cxn>
              <a:cxn ang="0">
                <a:pos x="connsiteX53689" y="connsiteY53689"/>
              </a:cxn>
              <a:cxn ang="0">
                <a:pos x="connsiteX53690" y="connsiteY53690"/>
              </a:cxn>
              <a:cxn ang="0">
                <a:pos x="connsiteX53691" y="connsiteY53691"/>
              </a:cxn>
              <a:cxn ang="0">
                <a:pos x="connsiteX53692" y="connsiteY53692"/>
              </a:cxn>
              <a:cxn ang="0">
                <a:pos x="connsiteX53693" y="connsiteY53693"/>
              </a:cxn>
              <a:cxn ang="0">
                <a:pos x="connsiteX53694" y="connsiteY53694"/>
              </a:cxn>
              <a:cxn ang="0">
                <a:pos x="connsiteX53695" y="connsiteY53695"/>
              </a:cxn>
              <a:cxn ang="0">
                <a:pos x="connsiteX53696" y="connsiteY53696"/>
              </a:cxn>
              <a:cxn ang="0">
                <a:pos x="connsiteX53697" y="connsiteY53697"/>
              </a:cxn>
              <a:cxn ang="0">
                <a:pos x="connsiteX53698" y="connsiteY53698"/>
              </a:cxn>
              <a:cxn ang="0">
                <a:pos x="connsiteX53699" y="connsiteY53699"/>
              </a:cxn>
              <a:cxn ang="0">
                <a:pos x="connsiteX53700" y="connsiteY53700"/>
              </a:cxn>
              <a:cxn ang="0">
                <a:pos x="connsiteX53701" y="connsiteY53701"/>
              </a:cxn>
              <a:cxn ang="0">
                <a:pos x="connsiteX53702" y="connsiteY53702"/>
              </a:cxn>
              <a:cxn ang="0">
                <a:pos x="connsiteX53703" y="connsiteY53703"/>
              </a:cxn>
              <a:cxn ang="0">
                <a:pos x="connsiteX53704" y="connsiteY53704"/>
              </a:cxn>
              <a:cxn ang="0">
                <a:pos x="connsiteX53705" y="connsiteY53705"/>
              </a:cxn>
              <a:cxn ang="0">
                <a:pos x="connsiteX53706" y="connsiteY53706"/>
              </a:cxn>
              <a:cxn ang="0">
                <a:pos x="connsiteX53707" y="connsiteY53707"/>
              </a:cxn>
              <a:cxn ang="0">
                <a:pos x="connsiteX53708" y="connsiteY53708"/>
              </a:cxn>
              <a:cxn ang="0">
                <a:pos x="connsiteX53709" y="connsiteY53709"/>
              </a:cxn>
              <a:cxn ang="0">
                <a:pos x="connsiteX53710" y="connsiteY53710"/>
              </a:cxn>
              <a:cxn ang="0">
                <a:pos x="connsiteX53711" y="connsiteY53711"/>
              </a:cxn>
              <a:cxn ang="0">
                <a:pos x="connsiteX53712" y="connsiteY53712"/>
              </a:cxn>
              <a:cxn ang="0">
                <a:pos x="connsiteX53713" y="connsiteY53713"/>
              </a:cxn>
              <a:cxn ang="0">
                <a:pos x="connsiteX53714" y="connsiteY53714"/>
              </a:cxn>
              <a:cxn ang="0">
                <a:pos x="connsiteX53715" y="connsiteY53715"/>
              </a:cxn>
              <a:cxn ang="0">
                <a:pos x="connsiteX53716" y="connsiteY53716"/>
              </a:cxn>
              <a:cxn ang="0">
                <a:pos x="connsiteX53717" y="connsiteY53717"/>
              </a:cxn>
              <a:cxn ang="0">
                <a:pos x="connsiteX53718" y="connsiteY53718"/>
              </a:cxn>
              <a:cxn ang="0">
                <a:pos x="connsiteX53719" y="connsiteY53719"/>
              </a:cxn>
              <a:cxn ang="0">
                <a:pos x="connsiteX53720" y="connsiteY53720"/>
              </a:cxn>
              <a:cxn ang="0">
                <a:pos x="connsiteX53721" y="connsiteY53721"/>
              </a:cxn>
              <a:cxn ang="0">
                <a:pos x="connsiteX53722" y="connsiteY53722"/>
              </a:cxn>
              <a:cxn ang="0">
                <a:pos x="connsiteX53723" y="connsiteY53723"/>
              </a:cxn>
              <a:cxn ang="0">
                <a:pos x="connsiteX53724" y="connsiteY53724"/>
              </a:cxn>
              <a:cxn ang="0">
                <a:pos x="connsiteX53725" y="connsiteY53725"/>
              </a:cxn>
              <a:cxn ang="0">
                <a:pos x="connsiteX53726" y="connsiteY53726"/>
              </a:cxn>
              <a:cxn ang="0">
                <a:pos x="connsiteX53727" y="connsiteY53727"/>
              </a:cxn>
              <a:cxn ang="0">
                <a:pos x="connsiteX53728" y="connsiteY53728"/>
              </a:cxn>
              <a:cxn ang="0">
                <a:pos x="connsiteX53729" y="connsiteY53729"/>
              </a:cxn>
              <a:cxn ang="0">
                <a:pos x="connsiteX53730" y="connsiteY53730"/>
              </a:cxn>
              <a:cxn ang="0">
                <a:pos x="connsiteX53731" y="connsiteY53731"/>
              </a:cxn>
              <a:cxn ang="0">
                <a:pos x="connsiteX53732" y="connsiteY53732"/>
              </a:cxn>
              <a:cxn ang="0">
                <a:pos x="connsiteX53733" y="connsiteY53733"/>
              </a:cxn>
              <a:cxn ang="0">
                <a:pos x="connsiteX53734" y="connsiteY53734"/>
              </a:cxn>
              <a:cxn ang="0">
                <a:pos x="connsiteX53735" y="connsiteY53735"/>
              </a:cxn>
              <a:cxn ang="0">
                <a:pos x="connsiteX53736" y="connsiteY53736"/>
              </a:cxn>
              <a:cxn ang="0">
                <a:pos x="connsiteX53737" y="connsiteY53737"/>
              </a:cxn>
              <a:cxn ang="0">
                <a:pos x="connsiteX53738" y="connsiteY53738"/>
              </a:cxn>
              <a:cxn ang="0">
                <a:pos x="connsiteX53739" y="connsiteY53739"/>
              </a:cxn>
              <a:cxn ang="0">
                <a:pos x="connsiteX53740" y="connsiteY53740"/>
              </a:cxn>
              <a:cxn ang="0">
                <a:pos x="connsiteX53741" y="connsiteY53741"/>
              </a:cxn>
              <a:cxn ang="0">
                <a:pos x="connsiteX53742" y="connsiteY53742"/>
              </a:cxn>
              <a:cxn ang="0">
                <a:pos x="connsiteX53743" y="connsiteY53743"/>
              </a:cxn>
              <a:cxn ang="0">
                <a:pos x="connsiteX53744" y="connsiteY53744"/>
              </a:cxn>
              <a:cxn ang="0">
                <a:pos x="connsiteX53745" y="connsiteY53745"/>
              </a:cxn>
              <a:cxn ang="0">
                <a:pos x="connsiteX53746" y="connsiteY53746"/>
              </a:cxn>
              <a:cxn ang="0">
                <a:pos x="connsiteX53747" y="connsiteY53747"/>
              </a:cxn>
              <a:cxn ang="0">
                <a:pos x="connsiteX53748" y="connsiteY53748"/>
              </a:cxn>
              <a:cxn ang="0">
                <a:pos x="connsiteX53749" y="connsiteY53749"/>
              </a:cxn>
              <a:cxn ang="0">
                <a:pos x="connsiteX53750" y="connsiteY53750"/>
              </a:cxn>
              <a:cxn ang="0">
                <a:pos x="connsiteX53751" y="connsiteY53751"/>
              </a:cxn>
              <a:cxn ang="0">
                <a:pos x="connsiteX53752" y="connsiteY53752"/>
              </a:cxn>
              <a:cxn ang="0">
                <a:pos x="connsiteX53753" y="connsiteY53753"/>
              </a:cxn>
              <a:cxn ang="0">
                <a:pos x="connsiteX53754" y="connsiteY53754"/>
              </a:cxn>
              <a:cxn ang="0">
                <a:pos x="connsiteX53755" y="connsiteY53755"/>
              </a:cxn>
              <a:cxn ang="0">
                <a:pos x="connsiteX53756" y="connsiteY53756"/>
              </a:cxn>
              <a:cxn ang="0">
                <a:pos x="connsiteX53757" y="connsiteY53757"/>
              </a:cxn>
              <a:cxn ang="0">
                <a:pos x="connsiteX53758" y="connsiteY53758"/>
              </a:cxn>
              <a:cxn ang="0">
                <a:pos x="connsiteX53759" y="connsiteY53759"/>
              </a:cxn>
              <a:cxn ang="0">
                <a:pos x="connsiteX53760" y="connsiteY53760"/>
              </a:cxn>
              <a:cxn ang="0">
                <a:pos x="connsiteX53761" y="connsiteY53761"/>
              </a:cxn>
              <a:cxn ang="0">
                <a:pos x="connsiteX53762" y="connsiteY53762"/>
              </a:cxn>
              <a:cxn ang="0">
                <a:pos x="connsiteX53763" y="connsiteY53763"/>
              </a:cxn>
              <a:cxn ang="0">
                <a:pos x="connsiteX53764" y="connsiteY53764"/>
              </a:cxn>
              <a:cxn ang="0">
                <a:pos x="connsiteX53765" y="connsiteY53765"/>
              </a:cxn>
              <a:cxn ang="0">
                <a:pos x="connsiteX53766" y="connsiteY53766"/>
              </a:cxn>
              <a:cxn ang="0">
                <a:pos x="connsiteX53767" y="connsiteY53767"/>
              </a:cxn>
              <a:cxn ang="0">
                <a:pos x="connsiteX53768" y="connsiteY53768"/>
              </a:cxn>
              <a:cxn ang="0">
                <a:pos x="connsiteX53769" y="connsiteY53769"/>
              </a:cxn>
              <a:cxn ang="0">
                <a:pos x="connsiteX53770" y="connsiteY53770"/>
              </a:cxn>
              <a:cxn ang="0">
                <a:pos x="connsiteX53771" y="connsiteY53771"/>
              </a:cxn>
              <a:cxn ang="0">
                <a:pos x="connsiteX53772" y="connsiteY53772"/>
              </a:cxn>
              <a:cxn ang="0">
                <a:pos x="connsiteX53773" y="connsiteY53773"/>
              </a:cxn>
              <a:cxn ang="0">
                <a:pos x="connsiteX53774" y="connsiteY53774"/>
              </a:cxn>
              <a:cxn ang="0">
                <a:pos x="connsiteX53775" y="connsiteY53775"/>
              </a:cxn>
              <a:cxn ang="0">
                <a:pos x="connsiteX53776" y="connsiteY53776"/>
              </a:cxn>
              <a:cxn ang="0">
                <a:pos x="connsiteX53777" y="connsiteY53777"/>
              </a:cxn>
              <a:cxn ang="0">
                <a:pos x="connsiteX53778" y="connsiteY53778"/>
              </a:cxn>
              <a:cxn ang="0">
                <a:pos x="connsiteX53779" y="connsiteY53779"/>
              </a:cxn>
              <a:cxn ang="0">
                <a:pos x="connsiteX53780" y="connsiteY53780"/>
              </a:cxn>
              <a:cxn ang="0">
                <a:pos x="connsiteX53781" y="connsiteY53781"/>
              </a:cxn>
              <a:cxn ang="0">
                <a:pos x="connsiteX53782" y="connsiteY53782"/>
              </a:cxn>
              <a:cxn ang="0">
                <a:pos x="connsiteX53783" y="connsiteY53783"/>
              </a:cxn>
              <a:cxn ang="0">
                <a:pos x="connsiteX53784" y="connsiteY53784"/>
              </a:cxn>
              <a:cxn ang="0">
                <a:pos x="connsiteX53785" y="connsiteY53785"/>
              </a:cxn>
              <a:cxn ang="0">
                <a:pos x="connsiteX53786" y="connsiteY53786"/>
              </a:cxn>
              <a:cxn ang="0">
                <a:pos x="connsiteX53787" y="connsiteY53787"/>
              </a:cxn>
              <a:cxn ang="0">
                <a:pos x="connsiteX53788" y="connsiteY53788"/>
              </a:cxn>
              <a:cxn ang="0">
                <a:pos x="connsiteX53789" y="connsiteY53789"/>
              </a:cxn>
              <a:cxn ang="0">
                <a:pos x="connsiteX53790" y="connsiteY53790"/>
              </a:cxn>
              <a:cxn ang="0">
                <a:pos x="connsiteX53791" y="connsiteY53791"/>
              </a:cxn>
              <a:cxn ang="0">
                <a:pos x="connsiteX53792" y="connsiteY53792"/>
              </a:cxn>
              <a:cxn ang="0">
                <a:pos x="connsiteX53793" y="connsiteY53793"/>
              </a:cxn>
              <a:cxn ang="0">
                <a:pos x="connsiteX53794" y="connsiteY53794"/>
              </a:cxn>
              <a:cxn ang="0">
                <a:pos x="connsiteX53795" y="connsiteY53795"/>
              </a:cxn>
              <a:cxn ang="0">
                <a:pos x="connsiteX53796" y="connsiteY53796"/>
              </a:cxn>
              <a:cxn ang="0">
                <a:pos x="connsiteX53797" y="connsiteY53797"/>
              </a:cxn>
              <a:cxn ang="0">
                <a:pos x="connsiteX53798" y="connsiteY53798"/>
              </a:cxn>
              <a:cxn ang="0">
                <a:pos x="connsiteX53799" y="connsiteY53799"/>
              </a:cxn>
              <a:cxn ang="0">
                <a:pos x="connsiteX53800" y="connsiteY53800"/>
              </a:cxn>
              <a:cxn ang="0">
                <a:pos x="connsiteX53801" y="connsiteY53801"/>
              </a:cxn>
              <a:cxn ang="0">
                <a:pos x="connsiteX53802" y="connsiteY53802"/>
              </a:cxn>
              <a:cxn ang="0">
                <a:pos x="connsiteX53803" y="connsiteY53803"/>
              </a:cxn>
              <a:cxn ang="0">
                <a:pos x="connsiteX53804" y="connsiteY53804"/>
              </a:cxn>
              <a:cxn ang="0">
                <a:pos x="connsiteX53805" y="connsiteY53805"/>
              </a:cxn>
              <a:cxn ang="0">
                <a:pos x="connsiteX53806" y="connsiteY53806"/>
              </a:cxn>
              <a:cxn ang="0">
                <a:pos x="connsiteX53807" y="connsiteY53807"/>
              </a:cxn>
              <a:cxn ang="0">
                <a:pos x="connsiteX53808" y="connsiteY53808"/>
              </a:cxn>
              <a:cxn ang="0">
                <a:pos x="connsiteX53809" y="connsiteY53809"/>
              </a:cxn>
              <a:cxn ang="0">
                <a:pos x="connsiteX53810" y="connsiteY53810"/>
              </a:cxn>
              <a:cxn ang="0">
                <a:pos x="connsiteX53811" y="connsiteY53811"/>
              </a:cxn>
              <a:cxn ang="0">
                <a:pos x="connsiteX53812" y="connsiteY53812"/>
              </a:cxn>
              <a:cxn ang="0">
                <a:pos x="connsiteX53813" y="connsiteY53813"/>
              </a:cxn>
              <a:cxn ang="0">
                <a:pos x="connsiteX53814" y="connsiteY53814"/>
              </a:cxn>
              <a:cxn ang="0">
                <a:pos x="connsiteX53815" y="connsiteY53815"/>
              </a:cxn>
              <a:cxn ang="0">
                <a:pos x="connsiteX53816" y="connsiteY53816"/>
              </a:cxn>
              <a:cxn ang="0">
                <a:pos x="connsiteX53817" y="connsiteY53817"/>
              </a:cxn>
              <a:cxn ang="0">
                <a:pos x="connsiteX53818" y="connsiteY53818"/>
              </a:cxn>
              <a:cxn ang="0">
                <a:pos x="connsiteX53819" y="connsiteY53819"/>
              </a:cxn>
              <a:cxn ang="0">
                <a:pos x="connsiteX53820" y="connsiteY53820"/>
              </a:cxn>
              <a:cxn ang="0">
                <a:pos x="connsiteX53821" y="connsiteY53821"/>
              </a:cxn>
              <a:cxn ang="0">
                <a:pos x="connsiteX53822" y="connsiteY53822"/>
              </a:cxn>
              <a:cxn ang="0">
                <a:pos x="connsiteX53823" y="connsiteY53823"/>
              </a:cxn>
              <a:cxn ang="0">
                <a:pos x="connsiteX53824" y="connsiteY53824"/>
              </a:cxn>
              <a:cxn ang="0">
                <a:pos x="connsiteX53825" y="connsiteY53825"/>
              </a:cxn>
              <a:cxn ang="0">
                <a:pos x="connsiteX53826" y="connsiteY53826"/>
              </a:cxn>
              <a:cxn ang="0">
                <a:pos x="connsiteX53827" y="connsiteY53827"/>
              </a:cxn>
              <a:cxn ang="0">
                <a:pos x="connsiteX53828" y="connsiteY53828"/>
              </a:cxn>
              <a:cxn ang="0">
                <a:pos x="connsiteX53829" y="connsiteY53829"/>
              </a:cxn>
              <a:cxn ang="0">
                <a:pos x="connsiteX53830" y="connsiteY53830"/>
              </a:cxn>
              <a:cxn ang="0">
                <a:pos x="connsiteX53831" y="connsiteY53831"/>
              </a:cxn>
              <a:cxn ang="0">
                <a:pos x="connsiteX53832" y="connsiteY53832"/>
              </a:cxn>
              <a:cxn ang="0">
                <a:pos x="connsiteX53833" y="connsiteY53833"/>
              </a:cxn>
              <a:cxn ang="0">
                <a:pos x="connsiteX53834" y="connsiteY53834"/>
              </a:cxn>
              <a:cxn ang="0">
                <a:pos x="connsiteX53835" y="connsiteY53835"/>
              </a:cxn>
              <a:cxn ang="0">
                <a:pos x="connsiteX53836" y="connsiteY53836"/>
              </a:cxn>
              <a:cxn ang="0">
                <a:pos x="connsiteX53837" y="connsiteY53837"/>
              </a:cxn>
              <a:cxn ang="0">
                <a:pos x="connsiteX53838" y="connsiteY53838"/>
              </a:cxn>
              <a:cxn ang="0">
                <a:pos x="connsiteX53839" y="connsiteY53839"/>
              </a:cxn>
              <a:cxn ang="0">
                <a:pos x="connsiteX53840" y="connsiteY53840"/>
              </a:cxn>
              <a:cxn ang="0">
                <a:pos x="connsiteX53841" y="connsiteY53841"/>
              </a:cxn>
              <a:cxn ang="0">
                <a:pos x="connsiteX53842" y="connsiteY53842"/>
              </a:cxn>
              <a:cxn ang="0">
                <a:pos x="connsiteX53843" y="connsiteY53843"/>
              </a:cxn>
              <a:cxn ang="0">
                <a:pos x="connsiteX53844" y="connsiteY53844"/>
              </a:cxn>
              <a:cxn ang="0">
                <a:pos x="connsiteX53845" y="connsiteY53845"/>
              </a:cxn>
              <a:cxn ang="0">
                <a:pos x="connsiteX53846" y="connsiteY53846"/>
              </a:cxn>
              <a:cxn ang="0">
                <a:pos x="connsiteX53847" y="connsiteY53847"/>
              </a:cxn>
              <a:cxn ang="0">
                <a:pos x="connsiteX53848" y="connsiteY53848"/>
              </a:cxn>
              <a:cxn ang="0">
                <a:pos x="connsiteX53849" y="connsiteY53849"/>
              </a:cxn>
              <a:cxn ang="0">
                <a:pos x="connsiteX53850" y="connsiteY53850"/>
              </a:cxn>
              <a:cxn ang="0">
                <a:pos x="connsiteX53851" y="connsiteY53851"/>
              </a:cxn>
              <a:cxn ang="0">
                <a:pos x="connsiteX53852" y="connsiteY53852"/>
              </a:cxn>
              <a:cxn ang="0">
                <a:pos x="connsiteX53853" y="connsiteY53853"/>
              </a:cxn>
              <a:cxn ang="0">
                <a:pos x="connsiteX53854" y="connsiteY53854"/>
              </a:cxn>
              <a:cxn ang="0">
                <a:pos x="connsiteX53855" y="connsiteY53855"/>
              </a:cxn>
              <a:cxn ang="0">
                <a:pos x="connsiteX53856" y="connsiteY53856"/>
              </a:cxn>
              <a:cxn ang="0">
                <a:pos x="connsiteX53857" y="connsiteY53857"/>
              </a:cxn>
              <a:cxn ang="0">
                <a:pos x="connsiteX53858" y="connsiteY53858"/>
              </a:cxn>
              <a:cxn ang="0">
                <a:pos x="connsiteX53859" y="connsiteY53859"/>
              </a:cxn>
              <a:cxn ang="0">
                <a:pos x="connsiteX53860" y="connsiteY53860"/>
              </a:cxn>
              <a:cxn ang="0">
                <a:pos x="connsiteX53861" y="connsiteY53861"/>
              </a:cxn>
              <a:cxn ang="0">
                <a:pos x="connsiteX53862" y="connsiteY53862"/>
              </a:cxn>
              <a:cxn ang="0">
                <a:pos x="connsiteX53863" y="connsiteY53863"/>
              </a:cxn>
              <a:cxn ang="0">
                <a:pos x="connsiteX53864" y="connsiteY53864"/>
              </a:cxn>
              <a:cxn ang="0">
                <a:pos x="connsiteX53865" y="connsiteY53865"/>
              </a:cxn>
              <a:cxn ang="0">
                <a:pos x="connsiteX53866" y="connsiteY53866"/>
              </a:cxn>
              <a:cxn ang="0">
                <a:pos x="connsiteX53867" y="connsiteY53867"/>
              </a:cxn>
              <a:cxn ang="0">
                <a:pos x="connsiteX53868" y="connsiteY53868"/>
              </a:cxn>
              <a:cxn ang="0">
                <a:pos x="connsiteX53869" y="connsiteY53869"/>
              </a:cxn>
              <a:cxn ang="0">
                <a:pos x="connsiteX53870" y="connsiteY53870"/>
              </a:cxn>
              <a:cxn ang="0">
                <a:pos x="connsiteX53871" y="connsiteY53871"/>
              </a:cxn>
              <a:cxn ang="0">
                <a:pos x="connsiteX53872" y="connsiteY53872"/>
              </a:cxn>
              <a:cxn ang="0">
                <a:pos x="connsiteX53873" y="connsiteY53873"/>
              </a:cxn>
              <a:cxn ang="0">
                <a:pos x="connsiteX53874" y="connsiteY53874"/>
              </a:cxn>
              <a:cxn ang="0">
                <a:pos x="connsiteX53875" y="connsiteY53875"/>
              </a:cxn>
              <a:cxn ang="0">
                <a:pos x="connsiteX53876" y="connsiteY53876"/>
              </a:cxn>
              <a:cxn ang="0">
                <a:pos x="connsiteX53877" y="connsiteY53877"/>
              </a:cxn>
              <a:cxn ang="0">
                <a:pos x="connsiteX53878" y="connsiteY53878"/>
              </a:cxn>
              <a:cxn ang="0">
                <a:pos x="connsiteX53879" y="connsiteY53879"/>
              </a:cxn>
              <a:cxn ang="0">
                <a:pos x="connsiteX53880" y="connsiteY53880"/>
              </a:cxn>
              <a:cxn ang="0">
                <a:pos x="connsiteX53881" y="connsiteY53881"/>
              </a:cxn>
              <a:cxn ang="0">
                <a:pos x="connsiteX53882" y="connsiteY53882"/>
              </a:cxn>
              <a:cxn ang="0">
                <a:pos x="connsiteX53883" y="connsiteY53883"/>
              </a:cxn>
              <a:cxn ang="0">
                <a:pos x="connsiteX53884" y="connsiteY53884"/>
              </a:cxn>
              <a:cxn ang="0">
                <a:pos x="connsiteX53885" y="connsiteY53885"/>
              </a:cxn>
              <a:cxn ang="0">
                <a:pos x="connsiteX53886" y="connsiteY53886"/>
              </a:cxn>
              <a:cxn ang="0">
                <a:pos x="connsiteX53887" y="connsiteY53887"/>
              </a:cxn>
              <a:cxn ang="0">
                <a:pos x="connsiteX53888" y="connsiteY53888"/>
              </a:cxn>
              <a:cxn ang="0">
                <a:pos x="connsiteX53889" y="connsiteY53889"/>
              </a:cxn>
              <a:cxn ang="0">
                <a:pos x="connsiteX53890" y="connsiteY53890"/>
              </a:cxn>
              <a:cxn ang="0">
                <a:pos x="connsiteX53891" y="connsiteY53891"/>
              </a:cxn>
              <a:cxn ang="0">
                <a:pos x="connsiteX53892" y="connsiteY53892"/>
              </a:cxn>
              <a:cxn ang="0">
                <a:pos x="connsiteX53893" y="connsiteY53893"/>
              </a:cxn>
              <a:cxn ang="0">
                <a:pos x="connsiteX53894" y="connsiteY53894"/>
              </a:cxn>
              <a:cxn ang="0">
                <a:pos x="connsiteX53895" y="connsiteY53895"/>
              </a:cxn>
              <a:cxn ang="0">
                <a:pos x="connsiteX53896" y="connsiteY53896"/>
              </a:cxn>
              <a:cxn ang="0">
                <a:pos x="connsiteX53897" y="connsiteY53897"/>
              </a:cxn>
              <a:cxn ang="0">
                <a:pos x="connsiteX53898" y="connsiteY53898"/>
              </a:cxn>
              <a:cxn ang="0">
                <a:pos x="connsiteX53899" y="connsiteY53899"/>
              </a:cxn>
              <a:cxn ang="0">
                <a:pos x="connsiteX53900" y="connsiteY53900"/>
              </a:cxn>
              <a:cxn ang="0">
                <a:pos x="connsiteX53901" y="connsiteY53901"/>
              </a:cxn>
              <a:cxn ang="0">
                <a:pos x="connsiteX53902" y="connsiteY53902"/>
              </a:cxn>
              <a:cxn ang="0">
                <a:pos x="connsiteX53903" y="connsiteY53903"/>
              </a:cxn>
              <a:cxn ang="0">
                <a:pos x="connsiteX53904" y="connsiteY53904"/>
              </a:cxn>
              <a:cxn ang="0">
                <a:pos x="connsiteX53905" y="connsiteY53905"/>
              </a:cxn>
              <a:cxn ang="0">
                <a:pos x="connsiteX53906" y="connsiteY53906"/>
              </a:cxn>
              <a:cxn ang="0">
                <a:pos x="connsiteX53907" y="connsiteY53907"/>
              </a:cxn>
              <a:cxn ang="0">
                <a:pos x="connsiteX53908" y="connsiteY53908"/>
              </a:cxn>
              <a:cxn ang="0">
                <a:pos x="connsiteX53909" y="connsiteY53909"/>
              </a:cxn>
              <a:cxn ang="0">
                <a:pos x="connsiteX53910" y="connsiteY53910"/>
              </a:cxn>
              <a:cxn ang="0">
                <a:pos x="connsiteX53911" y="connsiteY53911"/>
              </a:cxn>
              <a:cxn ang="0">
                <a:pos x="connsiteX53912" y="connsiteY53912"/>
              </a:cxn>
              <a:cxn ang="0">
                <a:pos x="connsiteX53913" y="connsiteY53913"/>
              </a:cxn>
              <a:cxn ang="0">
                <a:pos x="connsiteX53914" y="connsiteY53914"/>
              </a:cxn>
              <a:cxn ang="0">
                <a:pos x="connsiteX53915" y="connsiteY53915"/>
              </a:cxn>
              <a:cxn ang="0">
                <a:pos x="connsiteX53916" y="connsiteY53916"/>
              </a:cxn>
              <a:cxn ang="0">
                <a:pos x="connsiteX53917" y="connsiteY53917"/>
              </a:cxn>
              <a:cxn ang="0">
                <a:pos x="connsiteX53918" y="connsiteY53918"/>
              </a:cxn>
              <a:cxn ang="0">
                <a:pos x="connsiteX53919" y="connsiteY53919"/>
              </a:cxn>
              <a:cxn ang="0">
                <a:pos x="connsiteX53920" y="connsiteY53920"/>
              </a:cxn>
              <a:cxn ang="0">
                <a:pos x="connsiteX53921" y="connsiteY53921"/>
              </a:cxn>
              <a:cxn ang="0">
                <a:pos x="connsiteX53922" y="connsiteY53922"/>
              </a:cxn>
              <a:cxn ang="0">
                <a:pos x="connsiteX53923" y="connsiteY53923"/>
              </a:cxn>
              <a:cxn ang="0">
                <a:pos x="connsiteX53924" y="connsiteY53924"/>
              </a:cxn>
              <a:cxn ang="0">
                <a:pos x="connsiteX53925" y="connsiteY53925"/>
              </a:cxn>
              <a:cxn ang="0">
                <a:pos x="connsiteX53926" y="connsiteY53926"/>
              </a:cxn>
              <a:cxn ang="0">
                <a:pos x="connsiteX53927" y="connsiteY53927"/>
              </a:cxn>
              <a:cxn ang="0">
                <a:pos x="connsiteX53928" y="connsiteY53928"/>
              </a:cxn>
              <a:cxn ang="0">
                <a:pos x="connsiteX53929" y="connsiteY53929"/>
              </a:cxn>
              <a:cxn ang="0">
                <a:pos x="connsiteX53930" y="connsiteY53930"/>
              </a:cxn>
              <a:cxn ang="0">
                <a:pos x="connsiteX53931" y="connsiteY53931"/>
              </a:cxn>
              <a:cxn ang="0">
                <a:pos x="connsiteX53932" y="connsiteY53932"/>
              </a:cxn>
              <a:cxn ang="0">
                <a:pos x="connsiteX53933" y="connsiteY53933"/>
              </a:cxn>
              <a:cxn ang="0">
                <a:pos x="connsiteX53934" y="connsiteY53934"/>
              </a:cxn>
              <a:cxn ang="0">
                <a:pos x="connsiteX53935" y="connsiteY53935"/>
              </a:cxn>
              <a:cxn ang="0">
                <a:pos x="connsiteX53936" y="connsiteY53936"/>
              </a:cxn>
              <a:cxn ang="0">
                <a:pos x="connsiteX53937" y="connsiteY53937"/>
              </a:cxn>
              <a:cxn ang="0">
                <a:pos x="connsiteX53938" y="connsiteY53938"/>
              </a:cxn>
              <a:cxn ang="0">
                <a:pos x="connsiteX53939" y="connsiteY53939"/>
              </a:cxn>
              <a:cxn ang="0">
                <a:pos x="connsiteX53940" y="connsiteY53940"/>
              </a:cxn>
              <a:cxn ang="0">
                <a:pos x="connsiteX53941" y="connsiteY53941"/>
              </a:cxn>
              <a:cxn ang="0">
                <a:pos x="connsiteX53942" y="connsiteY53942"/>
              </a:cxn>
              <a:cxn ang="0">
                <a:pos x="connsiteX53943" y="connsiteY53943"/>
              </a:cxn>
              <a:cxn ang="0">
                <a:pos x="connsiteX53944" y="connsiteY53944"/>
              </a:cxn>
              <a:cxn ang="0">
                <a:pos x="connsiteX53945" y="connsiteY53945"/>
              </a:cxn>
              <a:cxn ang="0">
                <a:pos x="connsiteX53946" y="connsiteY53946"/>
              </a:cxn>
              <a:cxn ang="0">
                <a:pos x="connsiteX53947" y="connsiteY53947"/>
              </a:cxn>
              <a:cxn ang="0">
                <a:pos x="connsiteX53948" y="connsiteY53948"/>
              </a:cxn>
              <a:cxn ang="0">
                <a:pos x="connsiteX53949" y="connsiteY53949"/>
              </a:cxn>
              <a:cxn ang="0">
                <a:pos x="connsiteX53950" y="connsiteY53950"/>
              </a:cxn>
              <a:cxn ang="0">
                <a:pos x="connsiteX53951" y="connsiteY53951"/>
              </a:cxn>
              <a:cxn ang="0">
                <a:pos x="connsiteX53952" y="connsiteY53952"/>
              </a:cxn>
              <a:cxn ang="0">
                <a:pos x="connsiteX53953" y="connsiteY53953"/>
              </a:cxn>
              <a:cxn ang="0">
                <a:pos x="connsiteX53954" y="connsiteY53954"/>
              </a:cxn>
              <a:cxn ang="0">
                <a:pos x="connsiteX53955" y="connsiteY53955"/>
              </a:cxn>
              <a:cxn ang="0">
                <a:pos x="connsiteX53956" y="connsiteY53956"/>
              </a:cxn>
              <a:cxn ang="0">
                <a:pos x="connsiteX53957" y="connsiteY53957"/>
              </a:cxn>
              <a:cxn ang="0">
                <a:pos x="connsiteX53958" y="connsiteY53958"/>
              </a:cxn>
              <a:cxn ang="0">
                <a:pos x="connsiteX53959" y="connsiteY53959"/>
              </a:cxn>
              <a:cxn ang="0">
                <a:pos x="connsiteX53960" y="connsiteY53960"/>
              </a:cxn>
              <a:cxn ang="0">
                <a:pos x="connsiteX53961" y="connsiteY53961"/>
              </a:cxn>
              <a:cxn ang="0">
                <a:pos x="connsiteX53962" y="connsiteY53962"/>
              </a:cxn>
              <a:cxn ang="0">
                <a:pos x="connsiteX53963" y="connsiteY53963"/>
              </a:cxn>
              <a:cxn ang="0">
                <a:pos x="connsiteX53964" y="connsiteY53964"/>
              </a:cxn>
              <a:cxn ang="0">
                <a:pos x="connsiteX53965" y="connsiteY53965"/>
              </a:cxn>
              <a:cxn ang="0">
                <a:pos x="connsiteX53966" y="connsiteY53966"/>
              </a:cxn>
              <a:cxn ang="0">
                <a:pos x="connsiteX53967" y="connsiteY53967"/>
              </a:cxn>
              <a:cxn ang="0">
                <a:pos x="connsiteX53968" y="connsiteY53968"/>
              </a:cxn>
              <a:cxn ang="0">
                <a:pos x="connsiteX53969" y="connsiteY53969"/>
              </a:cxn>
              <a:cxn ang="0">
                <a:pos x="connsiteX53970" y="connsiteY53970"/>
              </a:cxn>
              <a:cxn ang="0">
                <a:pos x="connsiteX53971" y="connsiteY53971"/>
              </a:cxn>
              <a:cxn ang="0">
                <a:pos x="connsiteX53972" y="connsiteY53972"/>
              </a:cxn>
              <a:cxn ang="0">
                <a:pos x="connsiteX53973" y="connsiteY53973"/>
              </a:cxn>
              <a:cxn ang="0">
                <a:pos x="connsiteX53974" y="connsiteY53974"/>
              </a:cxn>
              <a:cxn ang="0">
                <a:pos x="connsiteX53975" y="connsiteY53975"/>
              </a:cxn>
              <a:cxn ang="0">
                <a:pos x="connsiteX53976" y="connsiteY53976"/>
              </a:cxn>
              <a:cxn ang="0">
                <a:pos x="connsiteX53977" y="connsiteY53977"/>
              </a:cxn>
              <a:cxn ang="0">
                <a:pos x="connsiteX53978" y="connsiteY53978"/>
              </a:cxn>
              <a:cxn ang="0">
                <a:pos x="connsiteX53979" y="connsiteY53979"/>
              </a:cxn>
              <a:cxn ang="0">
                <a:pos x="connsiteX53980" y="connsiteY53980"/>
              </a:cxn>
              <a:cxn ang="0">
                <a:pos x="connsiteX53981" y="connsiteY53981"/>
              </a:cxn>
              <a:cxn ang="0">
                <a:pos x="connsiteX53982" y="connsiteY53982"/>
              </a:cxn>
              <a:cxn ang="0">
                <a:pos x="connsiteX53983" y="connsiteY53983"/>
              </a:cxn>
              <a:cxn ang="0">
                <a:pos x="connsiteX53984" y="connsiteY53984"/>
              </a:cxn>
              <a:cxn ang="0">
                <a:pos x="connsiteX53985" y="connsiteY53985"/>
              </a:cxn>
              <a:cxn ang="0">
                <a:pos x="connsiteX53986" y="connsiteY53986"/>
              </a:cxn>
              <a:cxn ang="0">
                <a:pos x="connsiteX53987" y="connsiteY53987"/>
              </a:cxn>
              <a:cxn ang="0">
                <a:pos x="connsiteX53988" y="connsiteY53988"/>
              </a:cxn>
              <a:cxn ang="0">
                <a:pos x="connsiteX53989" y="connsiteY53989"/>
              </a:cxn>
              <a:cxn ang="0">
                <a:pos x="connsiteX53990" y="connsiteY53990"/>
              </a:cxn>
              <a:cxn ang="0">
                <a:pos x="connsiteX53991" y="connsiteY53991"/>
              </a:cxn>
              <a:cxn ang="0">
                <a:pos x="connsiteX53992" y="connsiteY53992"/>
              </a:cxn>
              <a:cxn ang="0">
                <a:pos x="connsiteX53993" y="connsiteY53993"/>
              </a:cxn>
              <a:cxn ang="0">
                <a:pos x="connsiteX53994" y="connsiteY53994"/>
              </a:cxn>
              <a:cxn ang="0">
                <a:pos x="connsiteX53995" y="connsiteY53995"/>
              </a:cxn>
              <a:cxn ang="0">
                <a:pos x="connsiteX53996" y="connsiteY53996"/>
              </a:cxn>
              <a:cxn ang="0">
                <a:pos x="connsiteX53997" y="connsiteY53997"/>
              </a:cxn>
              <a:cxn ang="0">
                <a:pos x="connsiteX53998" y="connsiteY53998"/>
              </a:cxn>
              <a:cxn ang="0">
                <a:pos x="connsiteX53999" y="connsiteY53999"/>
              </a:cxn>
              <a:cxn ang="0">
                <a:pos x="connsiteX54000" y="connsiteY54000"/>
              </a:cxn>
              <a:cxn ang="0">
                <a:pos x="connsiteX54001" y="connsiteY54001"/>
              </a:cxn>
              <a:cxn ang="0">
                <a:pos x="connsiteX54002" y="connsiteY54002"/>
              </a:cxn>
              <a:cxn ang="0">
                <a:pos x="connsiteX54003" y="connsiteY54003"/>
              </a:cxn>
              <a:cxn ang="0">
                <a:pos x="connsiteX54004" y="connsiteY54004"/>
              </a:cxn>
              <a:cxn ang="0">
                <a:pos x="connsiteX54005" y="connsiteY54005"/>
              </a:cxn>
              <a:cxn ang="0">
                <a:pos x="connsiteX54006" y="connsiteY54006"/>
              </a:cxn>
              <a:cxn ang="0">
                <a:pos x="connsiteX54007" y="connsiteY54007"/>
              </a:cxn>
              <a:cxn ang="0">
                <a:pos x="connsiteX54008" y="connsiteY54008"/>
              </a:cxn>
              <a:cxn ang="0">
                <a:pos x="connsiteX54009" y="connsiteY54009"/>
              </a:cxn>
              <a:cxn ang="0">
                <a:pos x="connsiteX54010" y="connsiteY54010"/>
              </a:cxn>
              <a:cxn ang="0">
                <a:pos x="connsiteX54011" y="connsiteY54011"/>
              </a:cxn>
              <a:cxn ang="0">
                <a:pos x="connsiteX54012" y="connsiteY54012"/>
              </a:cxn>
              <a:cxn ang="0">
                <a:pos x="connsiteX54013" y="connsiteY54013"/>
              </a:cxn>
              <a:cxn ang="0">
                <a:pos x="connsiteX54014" y="connsiteY54014"/>
              </a:cxn>
              <a:cxn ang="0">
                <a:pos x="connsiteX54015" y="connsiteY54015"/>
              </a:cxn>
              <a:cxn ang="0">
                <a:pos x="connsiteX54016" y="connsiteY54016"/>
              </a:cxn>
              <a:cxn ang="0">
                <a:pos x="connsiteX54017" y="connsiteY54017"/>
              </a:cxn>
              <a:cxn ang="0">
                <a:pos x="connsiteX54018" y="connsiteY54018"/>
              </a:cxn>
              <a:cxn ang="0">
                <a:pos x="connsiteX54019" y="connsiteY54019"/>
              </a:cxn>
              <a:cxn ang="0">
                <a:pos x="connsiteX54020" y="connsiteY54020"/>
              </a:cxn>
              <a:cxn ang="0">
                <a:pos x="connsiteX54021" y="connsiteY54021"/>
              </a:cxn>
              <a:cxn ang="0">
                <a:pos x="connsiteX54022" y="connsiteY54022"/>
              </a:cxn>
              <a:cxn ang="0">
                <a:pos x="connsiteX54023" y="connsiteY54023"/>
              </a:cxn>
              <a:cxn ang="0">
                <a:pos x="connsiteX54024" y="connsiteY54024"/>
              </a:cxn>
              <a:cxn ang="0">
                <a:pos x="connsiteX54025" y="connsiteY54025"/>
              </a:cxn>
              <a:cxn ang="0">
                <a:pos x="connsiteX54026" y="connsiteY54026"/>
              </a:cxn>
              <a:cxn ang="0">
                <a:pos x="connsiteX54027" y="connsiteY54027"/>
              </a:cxn>
              <a:cxn ang="0">
                <a:pos x="connsiteX54028" y="connsiteY54028"/>
              </a:cxn>
              <a:cxn ang="0">
                <a:pos x="connsiteX54029" y="connsiteY54029"/>
              </a:cxn>
              <a:cxn ang="0">
                <a:pos x="connsiteX54030" y="connsiteY54030"/>
              </a:cxn>
              <a:cxn ang="0">
                <a:pos x="connsiteX54031" y="connsiteY54031"/>
              </a:cxn>
              <a:cxn ang="0">
                <a:pos x="connsiteX54032" y="connsiteY54032"/>
              </a:cxn>
              <a:cxn ang="0">
                <a:pos x="connsiteX54033" y="connsiteY54033"/>
              </a:cxn>
              <a:cxn ang="0">
                <a:pos x="connsiteX54034" y="connsiteY54034"/>
              </a:cxn>
              <a:cxn ang="0">
                <a:pos x="connsiteX54035" y="connsiteY54035"/>
              </a:cxn>
              <a:cxn ang="0">
                <a:pos x="connsiteX54036" y="connsiteY54036"/>
              </a:cxn>
              <a:cxn ang="0">
                <a:pos x="connsiteX54037" y="connsiteY54037"/>
              </a:cxn>
              <a:cxn ang="0">
                <a:pos x="connsiteX54038" y="connsiteY54038"/>
              </a:cxn>
              <a:cxn ang="0">
                <a:pos x="connsiteX54039" y="connsiteY54039"/>
              </a:cxn>
              <a:cxn ang="0">
                <a:pos x="connsiteX54040" y="connsiteY54040"/>
              </a:cxn>
              <a:cxn ang="0">
                <a:pos x="connsiteX54041" y="connsiteY54041"/>
              </a:cxn>
              <a:cxn ang="0">
                <a:pos x="connsiteX54042" y="connsiteY54042"/>
              </a:cxn>
              <a:cxn ang="0">
                <a:pos x="connsiteX54043" y="connsiteY54043"/>
              </a:cxn>
              <a:cxn ang="0">
                <a:pos x="connsiteX54044" y="connsiteY54044"/>
              </a:cxn>
              <a:cxn ang="0">
                <a:pos x="connsiteX54045" y="connsiteY54045"/>
              </a:cxn>
              <a:cxn ang="0">
                <a:pos x="connsiteX54046" y="connsiteY54046"/>
              </a:cxn>
              <a:cxn ang="0">
                <a:pos x="connsiteX54047" y="connsiteY54047"/>
              </a:cxn>
              <a:cxn ang="0">
                <a:pos x="connsiteX54048" y="connsiteY54048"/>
              </a:cxn>
              <a:cxn ang="0">
                <a:pos x="connsiteX54049" y="connsiteY54049"/>
              </a:cxn>
              <a:cxn ang="0">
                <a:pos x="connsiteX54050" y="connsiteY54050"/>
              </a:cxn>
              <a:cxn ang="0">
                <a:pos x="connsiteX54051" y="connsiteY54051"/>
              </a:cxn>
              <a:cxn ang="0">
                <a:pos x="connsiteX54052" y="connsiteY54052"/>
              </a:cxn>
              <a:cxn ang="0">
                <a:pos x="connsiteX54053" y="connsiteY54053"/>
              </a:cxn>
              <a:cxn ang="0">
                <a:pos x="connsiteX54054" y="connsiteY54054"/>
              </a:cxn>
              <a:cxn ang="0">
                <a:pos x="connsiteX54055" y="connsiteY54055"/>
              </a:cxn>
              <a:cxn ang="0">
                <a:pos x="connsiteX54056" y="connsiteY54056"/>
              </a:cxn>
              <a:cxn ang="0">
                <a:pos x="connsiteX54057" y="connsiteY54057"/>
              </a:cxn>
              <a:cxn ang="0">
                <a:pos x="connsiteX54058" y="connsiteY54058"/>
              </a:cxn>
              <a:cxn ang="0">
                <a:pos x="connsiteX54059" y="connsiteY54059"/>
              </a:cxn>
              <a:cxn ang="0">
                <a:pos x="connsiteX54060" y="connsiteY54060"/>
              </a:cxn>
              <a:cxn ang="0">
                <a:pos x="connsiteX54061" y="connsiteY54061"/>
              </a:cxn>
              <a:cxn ang="0">
                <a:pos x="connsiteX54062" y="connsiteY54062"/>
              </a:cxn>
              <a:cxn ang="0">
                <a:pos x="connsiteX54063" y="connsiteY54063"/>
              </a:cxn>
              <a:cxn ang="0">
                <a:pos x="connsiteX54064" y="connsiteY54064"/>
              </a:cxn>
              <a:cxn ang="0">
                <a:pos x="connsiteX54065" y="connsiteY54065"/>
              </a:cxn>
              <a:cxn ang="0">
                <a:pos x="connsiteX54066" y="connsiteY54066"/>
              </a:cxn>
              <a:cxn ang="0">
                <a:pos x="connsiteX54067" y="connsiteY54067"/>
              </a:cxn>
              <a:cxn ang="0">
                <a:pos x="connsiteX54068" y="connsiteY54068"/>
              </a:cxn>
              <a:cxn ang="0">
                <a:pos x="connsiteX54069" y="connsiteY54069"/>
              </a:cxn>
              <a:cxn ang="0">
                <a:pos x="connsiteX54070" y="connsiteY54070"/>
              </a:cxn>
              <a:cxn ang="0">
                <a:pos x="connsiteX54071" y="connsiteY54071"/>
              </a:cxn>
              <a:cxn ang="0">
                <a:pos x="connsiteX54072" y="connsiteY54072"/>
              </a:cxn>
              <a:cxn ang="0">
                <a:pos x="connsiteX54073" y="connsiteY54073"/>
              </a:cxn>
              <a:cxn ang="0">
                <a:pos x="connsiteX54074" y="connsiteY54074"/>
              </a:cxn>
              <a:cxn ang="0">
                <a:pos x="connsiteX54075" y="connsiteY54075"/>
              </a:cxn>
              <a:cxn ang="0">
                <a:pos x="connsiteX54076" y="connsiteY54076"/>
              </a:cxn>
              <a:cxn ang="0">
                <a:pos x="connsiteX54077" y="connsiteY54077"/>
              </a:cxn>
              <a:cxn ang="0">
                <a:pos x="connsiteX54078" y="connsiteY54078"/>
              </a:cxn>
              <a:cxn ang="0">
                <a:pos x="connsiteX54079" y="connsiteY54079"/>
              </a:cxn>
              <a:cxn ang="0">
                <a:pos x="connsiteX54080" y="connsiteY54080"/>
              </a:cxn>
              <a:cxn ang="0">
                <a:pos x="connsiteX54081" y="connsiteY54081"/>
              </a:cxn>
              <a:cxn ang="0">
                <a:pos x="connsiteX54082" y="connsiteY54082"/>
              </a:cxn>
              <a:cxn ang="0">
                <a:pos x="connsiteX54083" y="connsiteY54083"/>
              </a:cxn>
              <a:cxn ang="0">
                <a:pos x="connsiteX54084" y="connsiteY54084"/>
              </a:cxn>
              <a:cxn ang="0">
                <a:pos x="connsiteX54085" y="connsiteY54085"/>
              </a:cxn>
              <a:cxn ang="0">
                <a:pos x="connsiteX54086" y="connsiteY54086"/>
              </a:cxn>
              <a:cxn ang="0">
                <a:pos x="connsiteX54087" y="connsiteY54087"/>
              </a:cxn>
              <a:cxn ang="0">
                <a:pos x="connsiteX54088" y="connsiteY54088"/>
              </a:cxn>
              <a:cxn ang="0">
                <a:pos x="connsiteX54089" y="connsiteY54089"/>
              </a:cxn>
              <a:cxn ang="0">
                <a:pos x="connsiteX54090" y="connsiteY54090"/>
              </a:cxn>
              <a:cxn ang="0">
                <a:pos x="connsiteX54091" y="connsiteY54091"/>
              </a:cxn>
              <a:cxn ang="0">
                <a:pos x="connsiteX54092" y="connsiteY54092"/>
              </a:cxn>
              <a:cxn ang="0">
                <a:pos x="connsiteX54093" y="connsiteY54093"/>
              </a:cxn>
              <a:cxn ang="0">
                <a:pos x="connsiteX54094" y="connsiteY54094"/>
              </a:cxn>
              <a:cxn ang="0">
                <a:pos x="connsiteX54095" y="connsiteY54095"/>
              </a:cxn>
              <a:cxn ang="0">
                <a:pos x="connsiteX54096" y="connsiteY54096"/>
              </a:cxn>
              <a:cxn ang="0">
                <a:pos x="connsiteX54097" y="connsiteY54097"/>
              </a:cxn>
              <a:cxn ang="0">
                <a:pos x="connsiteX54098" y="connsiteY54098"/>
              </a:cxn>
              <a:cxn ang="0">
                <a:pos x="connsiteX54099" y="connsiteY54099"/>
              </a:cxn>
              <a:cxn ang="0">
                <a:pos x="connsiteX54100" y="connsiteY54100"/>
              </a:cxn>
              <a:cxn ang="0">
                <a:pos x="connsiteX54101" y="connsiteY54101"/>
              </a:cxn>
              <a:cxn ang="0">
                <a:pos x="connsiteX54102" y="connsiteY54102"/>
              </a:cxn>
              <a:cxn ang="0">
                <a:pos x="connsiteX54103" y="connsiteY54103"/>
              </a:cxn>
              <a:cxn ang="0">
                <a:pos x="connsiteX54104" y="connsiteY54104"/>
              </a:cxn>
              <a:cxn ang="0">
                <a:pos x="connsiteX54105" y="connsiteY54105"/>
              </a:cxn>
              <a:cxn ang="0">
                <a:pos x="connsiteX54106" y="connsiteY54106"/>
              </a:cxn>
              <a:cxn ang="0">
                <a:pos x="connsiteX54107" y="connsiteY54107"/>
              </a:cxn>
              <a:cxn ang="0">
                <a:pos x="connsiteX54108" y="connsiteY54108"/>
              </a:cxn>
              <a:cxn ang="0">
                <a:pos x="connsiteX54109" y="connsiteY54109"/>
              </a:cxn>
              <a:cxn ang="0">
                <a:pos x="connsiteX54110" y="connsiteY54110"/>
              </a:cxn>
              <a:cxn ang="0">
                <a:pos x="connsiteX54111" y="connsiteY54111"/>
              </a:cxn>
              <a:cxn ang="0">
                <a:pos x="connsiteX54112" y="connsiteY54112"/>
              </a:cxn>
              <a:cxn ang="0">
                <a:pos x="connsiteX54113" y="connsiteY54113"/>
              </a:cxn>
              <a:cxn ang="0">
                <a:pos x="connsiteX54114" y="connsiteY54114"/>
              </a:cxn>
              <a:cxn ang="0">
                <a:pos x="connsiteX54115" y="connsiteY54115"/>
              </a:cxn>
              <a:cxn ang="0">
                <a:pos x="connsiteX54116" y="connsiteY54116"/>
              </a:cxn>
              <a:cxn ang="0">
                <a:pos x="connsiteX54117" y="connsiteY54117"/>
              </a:cxn>
              <a:cxn ang="0">
                <a:pos x="connsiteX54118" y="connsiteY54118"/>
              </a:cxn>
              <a:cxn ang="0">
                <a:pos x="connsiteX54119" y="connsiteY54119"/>
              </a:cxn>
              <a:cxn ang="0">
                <a:pos x="connsiteX54120" y="connsiteY54120"/>
              </a:cxn>
              <a:cxn ang="0">
                <a:pos x="connsiteX54121" y="connsiteY54121"/>
              </a:cxn>
              <a:cxn ang="0">
                <a:pos x="connsiteX54122" y="connsiteY54122"/>
              </a:cxn>
              <a:cxn ang="0">
                <a:pos x="connsiteX54123" y="connsiteY54123"/>
              </a:cxn>
              <a:cxn ang="0">
                <a:pos x="connsiteX54124" y="connsiteY54124"/>
              </a:cxn>
              <a:cxn ang="0">
                <a:pos x="connsiteX54125" y="connsiteY54125"/>
              </a:cxn>
              <a:cxn ang="0">
                <a:pos x="connsiteX54126" y="connsiteY54126"/>
              </a:cxn>
              <a:cxn ang="0">
                <a:pos x="connsiteX54127" y="connsiteY54127"/>
              </a:cxn>
              <a:cxn ang="0">
                <a:pos x="connsiteX54128" y="connsiteY54128"/>
              </a:cxn>
              <a:cxn ang="0">
                <a:pos x="connsiteX54129" y="connsiteY54129"/>
              </a:cxn>
              <a:cxn ang="0">
                <a:pos x="connsiteX54130" y="connsiteY54130"/>
              </a:cxn>
              <a:cxn ang="0">
                <a:pos x="connsiteX54131" y="connsiteY54131"/>
              </a:cxn>
              <a:cxn ang="0">
                <a:pos x="connsiteX54132" y="connsiteY54132"/>
              </a:cxn>
              <a:cxn ang="0">
                <a:pos x="connsiteX54133" y="connsiteY54133"/>
              </a:cxn>
              <a:cxn ang="0">
                <a:pos x="connsiteX54134" y="connsiteY54134"/>
              </a:cxn>
              <a:cxn ang="0">
                <a:pos x="connsiteX54135" y="connsiteY54135"/>
              </a:cxn>
              <a:cxn ang="0">
                <a:pos x="connsiteX54136" y="connsiteY54136"/>
              </a:cxn>
              <a:cxn ang="0">
                <a:pos x="connsiteX54137" y="connsiteY54137"/>
              </a:cxn>
              <a:cxn ang="0">
                <a:pos x="connsiteX54138" y="connsiteY54138"/>
              </a:cxn>
              <a:cxn ang="0">
                <a:pos x="connsiteX54139" y="connsiteY54139"/>
              </a:cxn>
              <a:cxn ang="0">
                <a:pos x="connsiteX54140" y="connsiteY54140"/>
              </a:cxn>
              <a:cxn ang="0">
                <a:pos x="connsiteX54141" y="connsiteY54141"/>
              </a:cxn>
              <a:cxn ang="0">
                <a:pos x="connsiteX54142" y="connsiteY54142"/>
              </a:cxn>
              <a:cxn ang="0">
                <a:pos x="connsiteX54143" y="connsiteY54143"/>
              </a:cxn>
              <a:cxn ang="0">
                <a:pos x="connsiteX54144" y="connsiteY54144"/>
              </a:cxn>
              <a:cxn ang="0">
                <a:pos x="connsiteX54145" y="connsiteY54145"/>
              </a:cxn>
              <a:cxn ang="0">
                <a:pos x="connsiteX54146" y="connsiteY54146"/>
              </a:cxn>
              <a:cxn ang="0">
                <a:pos x="connsiteX54147" y="connsiteY54147"/>
              </a:cxn>
              <a:cxn ang="0">
                <a:pos x="connsiteX54148" y="connsiteY54148"/>
              </a:cxn>
              <a:cxn ang="0">
                <a:pos x="connsiteX54149" y="connsiteY54149"/>
              </a:cxn>
              <a:cxn ang="0">
                <a:pos x="connsiteX54150" y="connsiteY54150"/>
              </a:cxn>
              <a:cxn ang="0">
                <a:pos x="connsiteX54151" y="connsiteY54151"/>
              </a:cxn>
              <a:cxn ang="0">
                <a:pos x="connsiteX54152" y="connsiteY54152"/>
              </a:cxn>
              <a:cxn ang="0">
                <a:pos x="connsiteX54153" y="connsiteY54153"/>
              </a:cxn>
              <a:cxn ang="0">
                <a:pos x="connsiteX54154" y="connsiteY54154"/>
              </a:cxn>
              <a:cxn ang="0">
                <a:pos x="connsiteX54155" y="connsiteY54155"/>
              </a:cxn>
              <a:cxn ang="0">
                <a:pos x="connsiteX54156" y="connsiteY54156"/>
              </a:cxn>
              <a:cxn ang="0">
                <a:pos x="connsiteX54157" y="connsiteY54157"/>
              </a:cxn>
              <a:cxn ang="0">
                <a:pos x="connsiteX54158" y="connsiteY54158"/>
              </a:cxn>
              <a:cxn ang="0">
                <a:pos x="connsiteX54159" y="connsiteY54159"/>
              </a:cxn>
              <a:cxn ang="0">
                <a:pos x="connsiteX54160" y="connsiteY54160"/>
              </a:cxn>
              <a:cxn ang="0">
                <a:pos x="connsiteX54161" y="connsiteY54161"/>
              </a:cxn>
              <a:cxn ang="0">
                <a:pos x="connsiteX54162" y="connsiteY54162"/>
              </a:cxn>
              <a:cxn ang="0">
                <a:pos x="connsiteX54163" y="connsiteY54163"/>
              </a:cxn>
              <a:cxn ang="0">
                <a:pos x="connsiteX54164" y="connsiteY54164"/>
              </a:cxn>
              <a:cxn ang="0">
                <a:pos x="connsiteX54165" y="connsiteY54165"/>
              </a:cxn>
              <a:cxn ang="0">
                <a:pos x="connsiteX54166" y="connsiteY54166"/>
              </a:cxn>
              <a:cxn ang="0">
                <a:pos x="connsiteX54167" y="connsiteY54167"/>
              </a:cxn>
              <a:cxn ang="0">
                <a:pos x="connsiteX54168" y="connsiteY54168"/>
              </a:cxn>
              <a:cxn ang="0">
                <a:pos x="connsiteX54169" y="connsiteY54169"/>
              </a:cxn>
              <a:cxn ang="0">
                <a:pos x="connsiteX54170" y="connsiteY54170"/>
              </a:cxn>
              <a:cxn ang="0">
                <a:pos x="connsiteX54171" y="connsiteY54171"/>
              </a:cxn>
              <a:cxn ang="0">
                <a:pos x="connsiteX54172" y="connsiteY54172"/>
              </a:cxn>
              <a:cxn ang="0">
                <a:pos x="connsiteX54173" y="connsiteY54173"/>
              </a:cxn>
              <a:cxn ang="0">
                <a:pos x="connsiteX54174" y="connsiteY54174"/>
              </a:cxn>
              <a:cxn ang="0">
                <a:pos x="connsiteX54175" y="connsiteY54175"/>
              </a:cxn>
              <a:cxn ang="0">
                <a:pos x="connsiteX54176" y="connsiteY54176"/>
              </a:cxn>
              <a:cxn ang="0">
                <a:pos x="connsiteX54177" y="connsiteY54177"/>
              </a:cxn>
              <a:cxn ang="0">
                <a:pos x="connsiteX54178" y="connsiteY54178"/>
              </a:cxn>
              <a:cxn ang="0">
                <a:pos x="connsiteX54179" y="connsiteY54179"/>
              </a:cxn>
              <a:cxn ang="0">
                <a:pos x="connsiteX54180" y="connsiteY54180"/>
              </a:cxn>
              <a:cxn ang="0">
                <a:pos x="connsiteX54181" y="connsiteY54181"/>
              </a:cxn>
              <a:cxn ang="0">
                <a:pos x="connsiteX54182" y="connsiteY54182"/>
              </a:cxn>
              <a:cxn ang="0">
                <a:pos x="connsiteX54183" y="connsiteY54183"/>
              </a:cxn>
              <a:cxn ang="0">
                <a:pos x="connsiteX54184" y="connsiteY54184"/>
              </a:cxn>
              <a:cxn ang="0">
                <a:pos x="connsiteX54185" y="connsiteY54185"/>
              </a:cxn>
              <a:cxn ang="0">
                <a:pos x="connsiteX54186" y="connsiteY54186"/>
              </a:cxn>
              <a:cxn ang="0">
                <a:pos x="connsiteX54187" y="connsiteY54187"/>
              </a:cxn>
              <a:cxn ang="0">
                <a:pos x="connsiteX54188" y="connsiteY54188"/>
              </a:cxn>
              <a:cxn ang="0">
                <a:pos x="connsiteX54189" y="connsiteY54189"/>
              </a:cxn>
              <a:cxn ang="0">
                <a:pos x="connsiteX54190" y="connsiteY54190"/>
              </a:cxn>
              <a:cxn ang="0">
                <a:pos x="connsiteX54191" y="connsiteY54191"/>
              </a:cxn>
              <a:cxn ang="0">
                <a:pos x="connsiteX54192" y="connsiteY54192"/>
              </a:cxn>
              <a:cxn ang="0">
                <a:pos x="connsiteX54193" y="connsiteY54193"/>
              </a:cxn>
              <a:cxn ang="0">
                <a:pos x="connsiteX54194" y="connsiteY54194"/>
              </a:cxn>
              <a:cxn ang="0">
                <a:pos x="connsiteX54195" y="connsiteY54195"/>
              </a:cxn>
              <a:cxn ang="0">
                <a:pos x="connsiteX54196" y="connsiteY54196"/>
              </a:cxn>
              <a:cxn ang="0">
                <a:pos x="connsiteX54197" y="connsiteY54197"/>
              </a:cxn>
              <a:cxn ang="0">
                <a:pos x="connsiteX54198" y="connsiteY54198"/>
              </a:cxn>
              <a:cxn ang="0">
                <a:pos x="connsiteX54199" y="connsiteY54199"/>
              </a:cxn>
              <a:cxn ang="0">
                <a:pos x="connsiteX54200" y="connsiteY54200"/>
              </a:cxn>
              <a:cxn ang="0">
                <a:pos x="connsiteX54201" y="connsiteY54201"/>
              </a:cxn>
              <a:cxn ang="0">
                <a:pos x="connsiteX54202" y="connsiteY54202"/>
              </a:cxn>
              <a:cxn ang="0">
                <a:pos x="connsiteX54203" y="connsiteY54203"/>
              </a:cxn>
              <a:cxn ang="0">
                <a:pos x="connsiteX54204" y="connsiteY54204"/>
              </a:cxn>
              <a:cxn ang="0">
                <a:pos x="connsiteX54205" y="connsiteY54205"/>
              </a:cxn>
              <a:cxn ang="0">
                <a:pos x="connsiteX54206" y="connsiteY54206"/>
              </a:cxn>
              <a:cxn ang="0">
                <a:pos x="connsiteX54207" y="connsiteY54207"/>
              </a:cxn>
              <a:cxn ang="0">
                <a:pos x="connsiteX54208" y="connsiteY54208"/>
              </a:cxn>
              <a:cxn ang="0">
                <a:pos x="connsiteX54209" y="connsiteY54209"/>
              </a:cxn>
              <a:cxn ang="0">
                <a:pos x="connsiteX54210" y="connsiteY54210"/>
              </a:cxn>
              <a:cxn ang="0">
                <a:pos x="connsiteX54211" y="connsiteY54211"/>
              </a:cxn>
              <a:cxn ang="0">
                <a:pos x="connsiteX54212" y="connsiteY54212"/>
              </a:cxn>
              <a:cxn ang="0">
                <a:pos x="connsiteX54213" y="connsiteY54213"/>
              </a:cxn>
              <a:cxn ang="0">
                <a:pos x="connsiteX54214" y="connsiteY54214"/>
              </a:cxn>
              <a:cxn ang="0">
                <a:pos x="connsiteX54215" y="connsiteY54215"/>
              </a:cxn>
              <a:cxn ang="0">
                <a:pos x="connsiteX54216" y="connsiteY54216"/>
              </a:cxn>
              <a:cxn ang="0">
                <a:pos x="connsiteX54217" y="connsiteY54217"/>
              </a:cxn>
              <a:cxn ang="0">
                <a:pos x="connsiteX54218" y="connsiteY54218"/>
              </a:cxn>
              <a:cxn ang="0">
                <a:pos x="connsiteX54219" y="connsiteY54219"/>
              </a:cxn>
              <a:cxn ang="0">
                <a:pos x="connsiteX54220" y="connsiteY54220"/>
              </a:cxn>
              <a:cxn ang="0">
                <a:pos x="connsiteX54221" y="connsiteY54221"/>
              </a:cxn>
              <a:cxn ang="0">
                <a:pos x="connsiteX54222" y="connsiteY54222"/>
              </a:cxn>
              <a:cxn ang="0">
                <a:pos x="connsiteX54223" y="connsiteY54223"/>
              </a:cxn>
              <a:cxn ang="0">
                <a:pos x="connsiteX54224" y="connsiteY54224"/>
              </a:cxn>
              <a:cxn ang="0">
                <a:pos x="connsiteX54225" y="connsiteY54225"/>
              </a:cxn>
              <a:cxn ang="0">
                <a:pos x="connsiteX54226" y="connsiteY54226"/>
              </a:cxn>
              <a:cxn ang="0">
                <a:pos x="connsiteX54227" y="connsiteY54227"/>
              </a:cxn>
              <a:cxn ang="0">
                <a:pos x="connsiteX54228" y="connsiteY54228"/>
              </a:cxn>
              <a:cxn ang="0">
                <a:pos x="connsiteX54229" y="connsiteY54229"/>
              </a:cxn>
              <a:cxn ang="0">
                <a:pos x="connsiteX54230" y="connsiteY54230"/>
              </a:cxn>
              <a:cxn ang="0">
                <a:pos x="connsiteX54231" y="connsiteY54231"/>
              </a:cxn>
              <a:cxn ang="0">
                <a:pos x="connsiteX54232" y="connsiteY54232"/>
              </a:cxn>
              <a:cxn ang="0">
                <a:pos x="connsiteX54233" y="connsiteY54233"/>
              </a:cxn>
              <a:cxn ang="0">
                <a:pos x="connsiteX54234" y="connsiteY54234"/>
              </a:cxn>
              <a:cxn ang="0">
                <a:pos x="connsiteX54235" y="connsiteY54235"/>
              </a:cxn>
              <a:cxn ang="0">
                <a:pos x="connsiteX54236" y="connsiteY54236"/>
              </a:cxn>
              <a:cxn ang="0">
                <a:pos x="connsiteX54237" y="connsiteY54237"/>
              </a:cxn>
              <a:cxn ang="0">
                <a:pos x="connsiteX54238" y="connsiteY54238"/>
              </a:cxn>
              <a:cxn ang="0">
                <a:pos x="connsiteX54239" y="connsiteY54239"/>
              </a:cxn>
              <a:cxn ang="0">
                <a:pos x="connsiteX54240" y="connsiteY54240"/>
              </a:cxn>
              <a:cxn ang="0">
                <a:pos x="connsiteX54241" y="connsiteY54241"/>
              </a:cxn>
              <a:cxn ang="0">
                <a:pos x="connsiteX54242" y="connsiteY54242"/>
              </a:cxn>
              <a:cxn ang="0">
                <a:pos x="connsiteX54243" y="connsiteY54243"/>
              </a:cxn>
              <a:cxn ang="0">
                <a:pos x="connsiteX54244" y="connsiteY54244"/>
              </a:cxn>
              <a:cxn ang="0">
                <a:pos x="connsiteX54245" y="connsiteY54245"/>
              </a:cxn>
              <a:cxn ang="0">
                <a:pos x="connsiteX54246" y="connsiteY54246"/>
              </a:cxn>
              <a:cxn ang="0">
                <a:pos x="connsiteX54247" y="connsiteY54247"/>
              </a:cxn>
              <a:cxn ang="0">
                <a:pos x="connsiteX54248" y="connsiteY54248"/>
              </a:cxn>
              <a:cxn ang="0">
                <a:pos x="connsiteX54249" y="connsiteY54249"/>
              </a:cxn>
              <a:cxn ang="0">
                <a:pos x="connsiteX54250" y="connsiteY54250"/>
              </a:cxn>
              <a:cxn ang="0">
                <a:pos x="connsiteX54251" y="connsiteY54251"/>
              </a:cxn>
              <a:cxn ang="0">
                <a:pos x="connsiteX54252" y="connsiteY54252"/>
              </a:cxn>
              <a:cxn ang="0">
                <a:pos x="connsiteX54253" y="connsiteY54253"/>
              </a:cxn>
              <a:cxn ang="0">
                <a:pos x="connsiteX54254" y="connsiteY54254"/>
              </a:cxn>
              <a:cxn ang="0">
                <a:pos x="connsiteX54255" y="connsiteY54255"/>
              </a:cxn>
              <a:cxn ang="0">
                <a:pos x="connsiteX54256" y="connsiteY54256"/>
              </a:cxn>
              <a:cxn ang="0">
                <a:pos x="connsiteX54257" y="connsiteY54257"/>
              </a:cxn>
              <a:cxn ang="0">
                <a:pos x="connsiteX54258" y="connsiteY54258"/>
              </a:cxn>
              <a:cxn ang="0">
                <a:pos x="connsiteX54259" y="connsiteY54259"/>
              </a:cxn>
              <a:cxn ang="0">
                <a:pos x="connsiteX54260" y="connsiteY54260"/>
              </a:cxn>
              <a:cxn ang="0">
                <a:pos x="connsiteX54261" y="connsiteY54261"/>
              </a:cxn>
              <a:cxn ang="0">
                <a:pos x="connsiteX54262" y="connsiteY54262"/>
              </a:cxn>
              <a:cxn ang="0">
                <a:pos x="connsiteX54263" y="connsiteY54263"/>
              </a:cxn>
              <a:cxn ang="0">
                <a:pos x="connsiteX54264" y="connsiteY54264"/>
              </a:cxn>
              <a:cxn ang="0">
                <a:pos x="connsiteX54265" y="connsiteY54265"/>
              </a:cxn>
              <a:cxn ang="0">
                <a:pos x="connsiteX54266" y="connsiteY54266"/>
              </a:cxn>
              <a:cxn ang="0">
                <a:pos x="connsiteX54267" y="connsiteY54267"/>
              </a:cxn>
              <a:cxn ang="0">
                <a:pos x="connsiteX54268" y="connsiteY54268"/>
              </a:cxn>
              <a:cxn ang="0">
                <a:pos x="connsiteX54269" y="connsiteY54269"/>
              </a:cxn>
              <a:cxn ang="0">
                <a:pos x="connsiteX54270" y="connsiteY54270"/>
              </a:cxn>
              <a:cxn ang="0">
                <a:pos x="connsiteX54271" y="connsiteY54271"/>
              </a:cxn>
              <a:cxn ang="0">
                <a:pos x="connsiteX54272" y="connsiteY54272"/>
              </a:cxn>
              <a:cxn ang="0">
                <a:pos x="connsiteX54273" y="connsiteY54273"/>
              </a:cxn>
              <a:cxn ang="0">
                <a:pos x="connsiteX54274" y="connsiteY54274"/>
              </a:cxn>
              <a:cxn ang="0">
                <a:pos x="connsiteX54275" y="connsiteY54275"/>
              </a:cxn>
              <a:cxn ang="0">
                <a:pos x="connsiteX54276" y="connsiteY54276"/>
              </a:cxn>
              <a:cxn ang="0">
                <a:pos x="connsiteX54277" y="connsiteY54277"/>
              </a:cxn>
              <a:cxn ang="0">
                <a:pos x="connsiteX54278" y="connsiteY54278"/>
              </a:cxn>
              <a:cxn ang="0">
                <a:pos x="connsiteX54279" y="connsiteY54279"/>
              </a:cxn>
              <a:cxn ang="0">
                <a:pos x="connsiteX54280" y="connsiteY54280"/>
              </a:cxn>
              <a:cxn ang="0">
                <a:pos x="connsiteX54281" y="connsiteY54281"/>
              </a:cxn>
              <a:cxn ang="0">
                <a:pos x="connsiteX54282" y="connsiteY54282"/>
              </a:cxn>
              <a:cxn ang="0">
                <a:pos x="connsiteX54283" y="connsiteY54283"/>
              </a:cxn>
              <a:cxn ang="0">
                <a:pos x="connsiteX54284" y="connsiteY54284"/>
              </a:cxn>
              <a:cxn ang="0">
                <a:pos x="connsiteX54285" y="connsiteY54285"/>
              </a:cxn>
              <a:cxn ang="0">
                <a:pos x="connsiteX54286" y="connsiteY54286"/>
              </a:cxn>
              <a:cxn ang="0">
                <a:pos x="connsiteX54287" y="connsiteY54287"/>
              </a:cxn>
              <a:cxn ang="0">
                <a:pos x="connsiteX54288" y="connsiteY54288"/>
              </a:cxn>
              <a:cxn ang="0">
                <a:pos x="connsiteX54289" y="connsiteY54289"/>
              </a:cxn>
              <a:cxn ang="0">
                <a:pos x="connsiteX54290" y="connsiteY54290"/>
              </a:cxn>
              <a:cxn ang="0">
                <a:pos x="connsiteX54291" y="connsiteY54291"/>
              </a:cxn>
              <a:cxn ang="0">
                <a:pos x="connsiteX54292" y="connsiteY54292"/>
              </a:cxn>
              <a:cxn ang="0">
                <a:pos x="connsiteX54293" y="connsiteY54293"/>
              </a:cxn>
              <a:cxn ang="0">
                <a:pos x="connsiteX54294" y="connsiteY54294"/>
              </a:cxn>
              <a:cxn ang="0">
                <a:pos x="connsiteX54295" y="connsiteY54295"/>
              </a:cxn>
              <a:cxn ang="0">
                <a:pos x="connsiteX54296" y="connsiteY54296"/>
              </a:cxn>
              <a:cxn ang="0">
                <a:pos x="connsiteX54297" y="connsiteY54297"/>
              </a:cxn>
              <a:cxn ang="0">
                <a:pos x="connsiteX54298" y="connsiteY54298"/>
              </a:cxn>
              <a:cxn ang="0">
                <a:pos x="connsiteX54299" y="connsiteY54299"/>
              </a:cxn>
              <a:cxn ang="0">
                <a:pos x="connsiteX54300" y="connsiteY54300"/>
              </a:cxn>
              <a:cxn ang="0">
                <a:pos x="connsiteX54301" y="connsiteY54301"/>
              </a:cxn>
              <a:cxn ang="0">
                <a:pos x="connsiteX54302" y="connsiteY54302"/>
              </a:cxn>
              <a:cxn ang="0">
                <a:pos x="connsiteX54303" y="connsiteY54303"/>
              </a:cxn>
              <a:cxn ang="0">
                <a:pos x="connsiteX54304" y="connsiteY54304"/>
              </a:cxn>
              <a:cxn ang="0">
                <a:pos x="connsiteX54305" y="connsiteY54305"/>
              </a:cxn>
              <a:cxn ang="0">
                <a:pos x="connsiteX54306" y="connsiteY54306"/>
              </a:cxn>
              <a:cxn ang="0">
                <a:pos x="connsiteX54307" y="connsiteY54307"/>
              </a:cxn>
              <a:cxn ang="0">
                <a:pos x="connsiteX54308" y="connsiteY54308"/>
              </a:cxn>
              <a:cxn ang="0">
                <a:pos x="connsiteX54309" y="connsiteY54309"/>
              </a:cxn>
              <a:cxn ang="0">
                <a:pos x="connsiteX54310" y="connsiteY54310"/>
              </a:cxn>
              <a:cxn ang="0">
                <a:pos x="connsiteX54311" y="connsiteY54311"/>
              </a:cxn>
              <a:cxn ang="0">
                <a:pos x="connsiteX54312" y="connsiteY54312"/>
              </a:cxn>
              <a:cxn ang="0">
                <a:pos x="connsiteX54313" y="connsiteY54313"/>
              </a:cxn>
              <a:cxn ang="0">
                <a:pos x="connsiteX54314" y="connsiteY54314"/>
              </a:cxn>
              <a:cxn ang="0">
                <a:pos x="connsiteX54315" y="connsiteY54315"/>
              </a:cxn>
              <a:cxn ang="0">
                <a:pos x="connsiteX54316" y="connsiteY54316"/>
              </a:cxn>
              <a:cxn ang="0">
                <a:pos x="connsiteX54317" y="connsiteY54317"/>
              </a:cxn>
              <a:cxn ang="0">
                <a:pos x="connsiteX54318" y="connsiteY54318"/>
              </a:cxn>
              <a:cxn ang="0">
                <a:pos x="connsiteX54319" y="connsiteY54319"/>
              </a:cxn>
              <a:cxn ang="0">
                <a:pos x="connsiteX54320" y="connsiteY54320"/>
              </a:cxn>
              <a:cxn ang="0">
                <a:pos x="connsiteX54321" y="connsiteY54321"/>
              </a:cxn>
              <a:cxn ang="0">
                <a:pos x="connsiteX54322" y="connsiteY54322"/>
              </a:cxn>
              <a:cxn ang="0">
                <a:pos x="connsiteX54323" y="connsiteY54323"/>
              </a:cxn>
              <a:cxn ang="0">
                <a:pos x="connsiteX54324" y="connsiteY54324"/>
              </a:cxn>
              <a:cxn ang="0">
                <a:pos x="connsiteX54325" y="connsiteY54325"/>
              </a:cxn>
              <a:cxn ang="0">
                <a:pos x="connsiteX54326" y="connsiteY54326"/>
              </a:cxn>
              <a:cxn ang="0">
                <a:pos x="connsiteX54327" y="connsiteY54327"/>
              </a:cxn>
              <a:cxn ang="0">
                <a:pos x="connsiteX54328" y="connsiteY54328"/>
              </a:cxn>
              <a:cxn ang="0">
                <a:pos x="connsiteX54329" y="connsiteY54329"/>
              </a:cxn>
              <a:cxn ang="0">
                <a:pos x="connsiteX54330" y="connsiteY54330"/>
              </a:cxn>
              <a:cxn ang="0">
                <a:pos x="connsiteX54331" y="connsiteY54331"/>
              </a:cxn>
              <a:cxn ang="0">
                <a:pos x="connsiteX54332" y="connsiteY54332"/>
              </a:cxn>
              <a:cxn ang="0">
                <a:pos x="connsiteX54333" y="connsiteY54333"/>
              </a:cxn>
              <a:cxn ang="0">
                <a:pos x="connsiteX54334" y="connsiteY54334"/>
              </a:cxn>
              <a:cxn ang="0">
                <a:pos x="connsiteX54335" y="connsiteY54335"/>
              </a:cxn>
              <a:cxn ang="0">
                <a:pos x="connsiteX54336" y="connsiteY54336"/>
              </a:cxn>
              <a:cxn ang="0">
                <a:pos x="connsiteX54337" y="connsiteY54337"/>
              </a:cxn>
              <a:cxn ang="0">
                <a:pos x="connsiteX54338" y="connsiteY54338"/>
              </a:cxn>
              <a:cxn ang="0">
                <a:pos x="connsiteX54339" y="connsiteY54339"/>
              </a:cxn>
              <a:cxn ang="0">
                <a:pos x="connsiteX54340" y="connsiteY54340"/>
              </a:cxn>
              <a:cxn ang="0">
                <a:pos x="connsiteX54341" y="connsiteY54341"/>
              </a:cxn>
              <a:cxn ang="0">
                <a:pos x="connsiteX54342" y="connsiteY54342"/>
              </a:cxn>
              <a:cxn ang="0">
                <a:pos x="connsiteX54343" y="connsiteY54343"/>
              </a:cxn>
              <a:cxn ang="0">
                <a:pos x="connsiteX54344" y="connsiteY54344"/>
              </a:cxn>
              <a:cxn ang="0">
                <a:pos x="connsiteX54345" y="connsiteY54345"/>
              </a:cxn>
              <a:cxn ang="0">
                <a:pos x="connsiteX54346" y="connsiteY54346"/>
              </a:cxn>
              <a:cxn ang="0">
                <a:pos x="connsiteX54347" y="connsiteY54347"/>
              </a:cxn>
              <a:cxn ang="0">
                <a:pos x="connsiteX54348" y="connsiteY54348"/>
              </a:cxn>
              <a:cxn ang="0">
                <a:pos x="connsiteX54349" y="connsiteY54349"/>
              </a:cxn>
              <a:cxn ang="0">
                <a:pos x="connsiteX54350" y="connsiteY54350"/>
              </a:cxn>
              <a:cxn ang="0">
                <a:pos x="connsiteX54351" y="connsiteY54351"/>
              </a:cxn>
              <a:cxn ang="0">
                <a:pos x="connsiteX54352" y="connsiteY54352"/>
              </a:cxn>
              <a:cxn ang="0">
                <a:pos x="connsiteX54353" y="connsiteY54353"/>
              </a:cxn>
              <a:cxn ang="0">
                <a:pos x="connsiteX54354" y="connsiteY54354"/>
              </a:cxn>
              <a:cxn ang="0">
                <a:pos x="connsiteX54355" y="connsiteY54355"/>
              </a:cxn>
              <a:cxn ang="0">
                <a:pos x="connsiteX54356" y="connsiteY54356"/>
              </a:cxn>
              <a:cxn ang="0">
                <a:pos x="connsiteX54357" y="connsiteY54357"/>
              </a:cxn>
              <a:cxn ang="0">
                <a:pos x="connsiteX54358" y="connsiteY54358"/>
              </a:cxn>
              <a:cxn ang="0">
                <a:pos x="connsiteX54359" y="connsiteY54359"/>
              </a:cxn>
              <a:cxn ang="0">
                <a:pos x="connsiteX54360" y="connsiteY54360"/>
              </a:cxn>
              <a:cxn ang="0">
                <a:pos x="connsiteX54361" y="connsiteY54361"/>
              </a:cxn>
              <a:cxn ang="0">
                <a:pos x="connsiteX54362" y="connsiteY54362"/>
              </a:cxn>
              <a:cxn ang="0">
                <a:pos x="connsiteX54363" y="connsiteY54363"/>
              </a:cxn>
              <a:cxn ang="0">
                <a:pos x="connsiteX54364" y="connsiteY54364"/>
              </a:cxn>
              <a:cxn ang="0">
                <a:pos x="connsiteX54365" y="connsiteY54365"/>
              </a:cxn>
              <a:cxn ang="0">
                <a:pos x="connsiteX54366" y="connsiteY54366"/>
              </a:cxn>
              <a:cxn ang="0">
                <a:pos x="connsiteX54367" y="connsiteY54367"/>
              </a:cxn>
              <a:cxn ang="0">
                <a:pos x="connsiteX54368" y="connsiteY54368"/>
              </a:cxn>
              <a:cxn ang="0">
                <a:pos x="connsiteX54369" y="connsiteY54369"/>
              </a:cxn>
              <a:cxn ang="0">
                <a:pos x="connsiteX54370" y="connsiteY54370"/>
              </a:cxn>
              <a:cxn ang="0">
                <a:pos x="connsiteX54371" y="connsiteY54371"/>
              </a:cxn>
              <a:cxn ang="0">
                <a:pos x="connsiteX54372" y="connsiteY54372"/>
              </a:cxn>
              <a:cxn ang="0">
                <a:pos x="connsiteX54373" y="connsiteY54373"/>
              </a:cxn>
              <a:cxn ang="0">
                <a:pos x="connsiteX54374" y="connsiteY54374"/>
              </a:cxn>
              <a:cxn ang="0">
                <a:pos x="connsiteX54375" y="connsiteY54375"/>
              </a:cxn>
              <a:cxn ang="0">
                <a:pos x="connsiteX54376" y="connsiteY54376"/>
              </a:cxn>
              <a:cxn ang="0">
                <a:pos x="connsiteX54377" y="connsiteY54377"/>
              </a:cxn>
              <a:cxn ang="0">
                <a:pos x="connsiteX54378" y="connsiteY54378"/>
              </a:cxn>
              <a:cxn ang="0">
                <a:pos x="connsiteX54379" y="connsiteY54379"/>
              </a:cxn>
              <a:cxn ang="0">
                <a:pos x="connsiteX54380" y="connsiteY54380"/>
              </a:cxn>
              <a:cxn ang="0">
                <a:pos x="connsiteX54381" y="connsiteY54381"/>
              </a:cxn>
              <a:cxn ang="0">
                <a:pos x="connsiteX54382" y="connsiteY54382"/>
              </a:cxn>
              <a:cxn ang="0">
                <a:pos x="connsiteX54383" y="connsiteY54383"/>
              </a:cxn>
              <a:cxn ang="0">
                <a:pos x="connsiteX54384" y="connsiteY54384"/>
              </a:cxn>
              <a:cxn ang="0">
                <a:pos x="connsiteX54385" y="connsiteY54385"/>
              </a:cxn>
              <a:cxn ang="0">
                <a:pos x="connsiteX54386" y="connsiteY54386"/>
              </a:cxn>
              <a:cxn ang="0">
                <a:pos x="connsiteX54387" y="connsiteY54387"/>
              </a:cxn>
              <a:cxn ang="0">
                <a:pos x="connsiteX54388" y="connsiteY54388"/>
              </a:cxn>
              <a:cxn ang="0">
                <a:pos x="connsiteX54389" y="connsiteY54389"/>
              </a:cxn>
              <a:cxn ang="0">
                <a:pos x="connsiteX54390" y="connsiteY54390"/>
              </a:cxn>
              <a:cxn ang="0">
                <a:pos x="connsiteX54391" y="connsiteY54391"/>
              </a:cxn>
              <a:cxn ang="0">
                <a:pos x="connsiteX54392" y="connsiteY54392"/>
              </a:cxn>
              <a:cxn ang="0">
                <a:pos x="connsiteX54393" y="connsiteY54393"/>
              </a:cxn>
              <a:cxn ang="0">
                <a:pos x="connsiteX54394" y="connsiteY54394"/>
              </a:cxn>
              <a:cxn ang="0">
                <a:pos x="connsiteX54395" y="connsiteY54395"/>
              </a:cxn>
              <a:cxn ang="0">
                <a:pos x="connsiteX54396" y="connsiteY54396"/>
              </a:cxn>
              <a:cxn ang="0">
                <a:pos x="connsiteX54397" y="connsiteY54397"/>
              </a:cxn>
              <a:cxn ang="0">
                <a:pos x="connsiteX54398" y="connsiteY54398"/>
              </a:cxn>
              <a:cxn ang="0">
                <a:pos x="connsiteX54399" y="connsiteY54399"/>
              </a:cxn>
              <a:cxn ang="0">
                <a:pos x="connsiteX54400" y="connsiteY54400"/>
              </a:cxn>
              <a:cxn ang="0">
                <a:pos x="connsiteX54401" y="connsiteY54401"/>
              </a:cxn>
              <a:cxn ang="0">
                <a:pos x="connsiteX54402" y="connsiteY54402"/>
              </a:cxn>
              <a:cxn ang="0">
                <a:pos x="connsiteX54403" y="connsiteY54403"/>
              </a:cxn>
              <a:cxn ang="0">
                <a:pos x="connsiteX54404" y="connsiteY54404"/>
              </a:cxn>
              <a:cxn ang="0">
                <a:pos x="connsiteX54405" y="connsiteY54405"/>
              </a:cxn>
              <a:cxn ang="0">
                <a:pos x="connsiteX54406" y="connsiteY54406"/>
              </a:cxn>
              <a:cxn ang="0">
                <a:pos x="connsiteX54407" y="connsiteY54407"/>
              </a:cxn>
              <a:cxn ang="0">
                <a:pos x="connsiteX54408" y="connsiteY54408"/>
              </a:cxn>
              <a:cxn ang="0">
                <a:pos x="connsiteX54409" y="connsiteY54409"/>
              </a:cxn>
              <a:cxn ang="0">
                <a:pos x="connsiteX54410" y="connsiteY54410"/>
              </a:cxn>
              <a:cxn ang="0">
                <a:pos x="connsiteX54411" y="connsiteY54411"/>
              </a:cxn>
              <a:cxn ang="0">
                <a:pos x="connsiteX54412" y="connsiteY54412"/>
              </a:cxn>
              <a:cxn ang="0">
                <a:pos x="connsiteX54413" y="connsiteY54413"/>
              </a:cxn>
              <a:cxn ang="0">
                <a:pos x="connsiteX54414" y="connsiteY54414"/>
              </a:cxn>
              <a:cxn ang="0">
                <a:pos x="connsiteX54415" y="connsiteY54415"/>
              </a:cxn>
              <a:cxn ang="0">
                <a:pos x="connsiteX54416" y="connsiteY54416"/>
              </a:cxn>
              <a:cxn ang="0">
                <a:pos x="connsiteX54417" y="connsiteY54417"/>
              </a:cxn>
              <a:cxn ang="0">
                <a:pos x="connsiteX54418" y="connsiteY54418"/>
              </a:cxn>
              <a:cxn ang="0">
                <a:pos x="connsiteX54419" y="connsiteY54419"/>
              </a:cxn>
              <a:cxn ang="0">
                <a:pos x="connsiteX54420" y="connsiteY54420"/>
              </a:cxn>
              <a:cxn ang="0">
                <a:pos x="connsiteX54421" y="connsiteY54421"/>
              </a:cxn>
              <a:cxn ang="0">
                <a:pos x="connsiteX54422" y="connsiteY54422"/>
              </a:cxn>
              <a:cxn ang="0">
                <a:pos x="connsiteX54423" y="connsiteY54423"/>
              </a:cxn>
              <a:cxn ang="0">
                <a:pos x="connsiteX54424" y="connsiteY54424"/>
              </a:cxn>
              <a:cxn ang="0">
                <a:pos x="connsiteX54425" y="connsiteY54425"/>
              </a:cxn>
              <a:cxn ang="0">
                <a:pos x="connsiteX54426" y="connsiteY54426"/>
              </a:cxn>
              <a:cxn ang="0">
                <a:pos x="connsiteX54427" y="connsiteY54427"/>
              </a:cxn>
              <a:cxn ang="0">
                <a:pos x="connsiteX54428" y="connsiteY54428"/>
              </a:cxn>
              <a:cxn ang="0">
                <a:pos x="connsiteX54429" y="connsiteY54429"/>
              </a:cxn>
              <a:cxn ang="0">
                <a:pos x="connsiteX54430" y="connsiteY54430"/>
              </a:cxn>
              <a:cxn ang="0">
                <a:pos x="connsiteX54431" y="connsiteY54431"/>
              </a:cxn>
              <a:cxn ang="0">
                <a:pos x="connsiteX54432" y="connsiteY54432"/>
              </a:cxn>
              <a:cxn ang="0">
                <a:pos x="connsiteX54433" y="connsiteY54433"/>
              </a:cxn>
              <a:cxn ang="0">
                <a:pos x="connsiteX54434" y="connsiteY54434"/>
              </a:cxn>
              <a:cxn ang="0">
                <a:pos x="connsiteX54435" y="connsiteY54435"/>
              </a:cxn>
              <a:cxn ang="0">
                <a:pos x="connsiteX54436" y="connsiteY54436"/>
              </a:cxn>
              <a:cxn ang="0">
                <a:pos x="connsiteX54437" y="connsiteY54437"/>
              </a:cxn>
              <a:cxn ang="0">
                <a:pos x="connsiteX54438" y="connsiteY54438"/>
              </a:cxn>
              <a:cxn ang="0">
                <a:pos x="connsiteX54439" y="connsiteY54439"/>
              </a:cxn>
              <a:cxn ang="0">
                <a:pos x="connsiteX54440" y="connsiteY54440"/>
              </a:cxn>
              <a:cxn ang="0">
                <a:pos x="connsiteX54441" y="connsiteY54441"/>
              </a:cxn>
              <a:cxn ang="0">
                <a:pos x="connsiteX54442" y="connsiteY54442"/>
              </a:cxn>
              <a:cxn ang="0">
                <a:pos x="connsiteX54443" y="connsiteY54443"/>
              </a:cxn>
              <a:cxn ang="0">
                <a:pos x="connsiteX54444" y="connsiteY54444"/>
              </a:cxn>
              <a:cxn ang="0">
                <a:pos x="connsiteX54445" y="connsiteY54445"/>
              </a:cxn>
              <a:cxn ang="0">
                <a:pos x="connsiteX54446" y="connsiteY54446"/>
              </a:cxn>
              <a:cxn ang="0">
                <a:pos x="connsiteX54447" y="connsiteY54447"/>
              </a:cxn>
              <a:cxn ang="0">
                <a:pos x="connsiteX54448" y="connsiteY54448"/>
              </a:cxn>
              <a:cxn ang="0">
                <a:pos x="connsiteX54449" y="connsiteY54449"/>
              </a:cxn>
              <a:cxn ang="0">
                <a:pos x="connsiteX54450" y="connsiteY54450"/>
              </a:cxn>
              <a:cxn ang="0">
                <a:pos x="connsiteX54451" y="connsiteY54451"/>
              </a:cxn>
              <a:cxn ang="0">
                <a:pos x="connsiteX54452" y="connsiteY54452"/>
              </a:cxn>
              <a:cxn ang="0">
                <a:pos x="connsiteX54453" y="connsiteY54453"/>
              </a:cxn>
              <a:cxn ang="0">
                <a:pos x="connsiteX54454" y="connsiteY54454"/>
              </a:cxn>
              <a:cxn ang="0">
                <a:pos x="connsiteX54455" y="connsiteY54455"/>
              </a:cxn>
              <a:cxn ang="0">
                <a:pos x="connsiteX54456" y="connsiteY54456"/>
              </a:cxn>
              <a:cxn ang="0">
                <a:pos x="connsiteX54457" y="connsiteY54457"/>
              </a:cxn>
              <a:cxn ang="0">
                <a:pos x="connsiteX54458" y="connsiteY54458"/>
              </a:cxn>
              <a:cxn ang="0">
                <a:pos x="connsiteX54459" y="connsiteY54459"/>
              </a:cxn>
              <a:cxn ang="0">
                <a:pos x="connsiteX54460" y="connsiteY54460"/>
              </a:cxn>
              <a:cxn ang="0">
                <a:pos x="connsiteX54461" y="connsiteY54461"/>
              </a:cxn>
              <a:cxn ang="0">
                <a:pos x="connsiteX54462" y="connsiteY54462"/>
              </a:cxn>
              <a:cxn ang="0">
                <a:pos x="connsiteX54463" y="connsiteY54463"/>
              </a:cxn>
              <a:cxn ang="0">
                <a:pos x="connsiteX54464" y="connsiteY54464"/>
              </a:cxn>
              <a:cxn ang="0">
                <a:pos x="connsiteX54465" y="connsiteY54465"/>
              </a:cxn>
              <a:cxn ang="0">
                <a:pos x="connsiteX54466" y="connsiteY54466"/>
              </a:cxn>
              <a:cxn ang="0">
                <a:pos x="connsiteX54467" y="connsiteY54467"/>
              </a:cxn>
              <a:cxn ang="0">
                <a:pos x="connsiteX54468" y="connsiteY54468"/>
              </a:cxn>
              <a:cxn ang="0">
                <a:pos x="connsiteX54469" y="connsiteY54469"/>
              </a:cxn>
              <a:cxn ang="0">
                <a:pos x="connsiteX54470" y="connsiteY54470"/>
              </a:cxn>
              <a:cxn ang="0">
                <a:pos x="connsiteX54471" y="connsiteY54471"/>
              </a:cxn>
              <a:cxn ang="0">
                <a:pos x="connsiteX54472" y="connsiteY54472"/>
              </a:cxn>
              <a:cxn ang="0">
                <a:pos x="connsiteX54473" y="connsiteY54473"/>
              </a:cxn>
              <a:cxn ang="0">
                <a:pos x="connsiteX54474" y="connsiteY54474"/>
              </a:cxn>
              <a:cxn ang="0">
                <a:pos x="connsiteX54475" y="connsiteY54475"/>
              </a:cxn>
              <a:cxn ang="0">
                <a:pos x="connsiteX54476" y="connsiteY54476"/>
              </a:cxn>
              <a:cxn ang="0">
                <a:pos x="connsiteX54477" y="connsiteY54477"/>
              </a:cxn>
              <a:cxn ang="0">
                <a:pos x="connsiteX54478" y="connsiteY54478"/>
              </a:cxn>
              <a:cxn ang="0">
                <a:pos x="connsiteX54479" y="connsiteY54479"/>
              </a:cxn>
              <a:cxn ang="0">
                <a:pos x="connsiteX54480" y="connsiteY54480"/>
              </a:cxn>
              <a:cxn ang="0">
                <a:pos x="connsiteX54481" y="connsiteY54481"/>
              </a:cxn>
              <a:cxn ang="0">
                <a:pos x="connsiteX54482" y="connsiteY54482"/>
              </a:cxn>
              <a:cxn ang="0">
                <a:pos x="connsiteX54483" y="connsiteY54483"/>
              </a:cxn>
              <a:cxn ang="0">
                <a:pos x="connsiteX54484" y="connsiteY54484"/>
              </a:cxn>
              <a:cxn ang="0">
                <a:pos x="connsiteX54485" y="connsiteY54485"/>
              </a:cxn>
              <a:cxn ang="0">
                <a:pos x="connsiteX54486" y="connsiteY54486"/>
              </a:cxn>
              <a:cxn ang="0">
                <a:pos x="connsiteX54487" y="connsiteY54487"/>
              </a:cxn>
              <a:cxn ang="0">
                <a:pos x="connsiteX54488" y="connsiteY54488"/>
              </a:cxn>
              <a:cxn ang="0">
                <a:pos x="connsiteX54489" y="connsiteY54489"/>
              </a:cxn>
              <a:cxn ang="0">
                <a:pos x="connsiteX54490" y="connsiteY54490"/>
              </a:cxn>
              <a:cxn ang="0">
                <a:pos x="connsiteX54491" y="connsiteY54491"/>
              </a:cxn>
              <a:cxn ang="0">
                <a:pos x="connsiteX54492" y="connsiteY54492"/>
              </a:cxn>
              <a:cxn ang="0">
                <a:pos x="connsiteX54493" y="connsiteY54493"/>
              </a:cxn>
              <a:cxn ang="0">
                <a:pos x="connsiteX54494" y="connsiteY54494"/>
              </a:cxn>
              <a:cxn ang="0">
                <a:pos x="connsiteX54495" y="connsiteY54495"/>
              </a:cxn>
              <a:cxn ang="0">
                <a:pos x="connsiteX54496" y="connsiteY54496"/>
              </a:cxn>
              <a:cxn ang="0">
                <a:pos x="connsiteX54497" y="connsiteY54497"/>
              </a:cxn>
              <a:cxn ang="0">
                <a:pos x="connsiteX54498" y="connsiteY54498"/>
              </a:cxn>
              <a:cxn ang="0">
                <a:pos x="connsiteX54499" y="connsiteY54499"/>
              </a:cxn>
              <a:cxn ang="0">
                <a:pos x="connsiteX54500" y="connsiteY54500"/>
              </a:cxn>
              <a:cxn ang="0">
                <a:pos x="connsiteX54501" y="connsiteY54501"/>
              </a:cxn>
              <a:cxn ang="0">
                <a:pos x="connsiteX54502" y="connsiteY54502"/>
              </a:cxn>
              <a:cxn ang="0">
                <a:pos x="connsiteX54503" y="connsiteY54503"/>
              </a:cxn>
              <a:cxn ang="0">
                <a:pos x="connsiteX54504" y="connsiteY54504"/>
              </a:cxn>
              <a:cxn ang="0">
                <a:pos x="connsiteX54505" y="connsiteY54505"/>
              </a:cxn>
              <a:cxn ang="0">
                <a:pos x="connsiteX54506" y="connsiteY54506"/>
              </a:cxn>
              <a:cxn ang="0">
                <a:pos x="connsiteX54507" y="connsiteY54507"/>
              </a:cxn>
              <a:cxn ang="0">
                <a:pos x="connsiteX54508" y="connsiteY54508"/>
              </a:cxn>
              <a:cxn ang="0">
                <a:pos x="connsiteX54509" y="connsiteY54509"/>
              </a:cxn>
              <a:cxn ang="0">
                <a:pos x="connsiteX54510" y="connsiteY54510"/>
              </a:cxn>
              <a:cxn ang="0">
                <a:pos x="connsiteX54511" y="connsiteY54511"/>
              </a:cxn>
              <a:cxn ang="0">
                <a:pos x="connsiteX54512" y="connsiteY54512"/>
              </a:cxn>
              <a:cxn ang="0">
                <a:pos x="connsiteX54513" y="connsiteY54513"/>
              </a:cxn>
              <a:cxn ang="0">
                <a:pos x="connsiteX54514" y="connsiteY54514"/>
              </a:cxn>
              <a:cxn ang="0">
                <a:pos x="connsiteX54515" y="connsiteY54515"/>
              </a:cxn>
              <a:cxn ang="0">
                <a:pos x="connsiteX54516" y="connsiteY54516"/>
              </a:cxn>
              <a:cxn ang="0">
                <a:pos x="connsiteX54517" y="connsiteY54517"/>
              </a:cxn>
              <a:cxn ang="0">
                <a:pos x="connsiteX54518" y="connsiteY54518"/>
              </a:cxn>
              <a:cxn ang="0">
                <a:pos x="connsiteX54519" y="connsiteY54519"/>
              </a:cxn>
              <a:cxn ang="0">
                <a:pos x="connsiteX54520" y="connsiteY54520"/>
              </a:cxn>
              <a:cxn ang="0">
                <a:pos x="connsiteX54521" y="connsiteY54521"/>
              </a:cxn>
              <a:cxn ang="0">
                <a:pos x="connsiteX54522" y="connsiteY54522"/>
              </a:cxn>
              <a:cxn ang="0">
                <a:pos x="connsiteX54523" y="connsiteY54523"/>
              </a:cxn>
              <a:cxn ang="0">
                <a:pos x="connsiteX54524" y="connsiteY54524"/>
              </a:cxn>
              <a:cxn ang="0">
                <a:pos x="connsiteX54525" y="connsiteY54525"/>
              </a:cxn>
              <a:cxn ang="0">
                <a:pos x="connsiteX54526" y="connsiteY54526"/>
              </a:cxn>
              <a:cxn ang="0">
                <a:pos x="connsiteX54527" y="connsiteY54527"/>
              </a:cxn>
              <a:cxn ang="0">
                <a:pos x="connsiteX54528" y="connsiteY54528"/>
              </a:cxn>
              <a:cxn ang="0">
                <a:pos x="connsiteX54529" y="connsiteY54529"/>
              </a:cxn>
              <a:cxn ang="0">
                <a:pos x="connsiteX54530" y="connsiteY54530"/>
              </a:cxn>
              <a:cxn ang="0">
                <a:pos x="connsiteX54531" y="connsiteY54531"/>
              </a:cxn>
              <a:cxn ang="0">
                <a:pos x="connsiteX54532" y="connsiteY54532"/>
              </a:cxn>
              <a:cxn ang="0">
                <a:pos x="connsiteX54533" y="connsiteY54533"/>
              </a:cxn>
              <a:cxn ang="0">
                <a:pos x="connsiteX54534" y="connsiteY54534"/>
              </a:cxn>
              <a:cxn ang="0">
                <a:pos x="connsiteX54535" y="connsiteY54535"/>
              </a:cxn>
              <a:cxn ang="0">
                <a:pos x="connsiteX54536" y="connsiteY54536"/>
              </a:cxn>
              <a:cxn ang="0">
                <a:pos x="connsiteX54537" y="connsiteY54537"/>
              </a:cxn>
              <a:cxn ang="0">
                <a:pos x="connsiteX54538" y="connsiteY54538"/>
              </a:cxn>
              <a:cxn ang="0">
                <a:pos x="connsiteX54539" y="connsiteY54539"/>
              </a:cxn>
              <a:cxn ang="0">
                <a:pos x="connsiteX54540" y="connsiteY54540"/>
              </a:cxn>
              <a:cxn ang="0">
                <a:pos x="connsiteX54541" y="connsiteY54541"/>
              </a:cxn>
              <a:cxn ang="0">
                <a:pos x="connsiteX54542" y="connsiteY54542"/>
              </a:cxn>
              <a:cxn ang="0">
                <a:pos x="connsiteX54543" y="connsiteY54543"/>
              </a:cxn>
              <a:cxn ang="0">
                <a:pos x="connsiteX54544" y="connsiteY54544"/>
              </a:cxn>
              <a:cxn ang="0">
                <a:pos x="connsiteX54545" y="connsiteY54545"/>
              </a:cxn>
              <a:cxn ang="0">
                <a:pos x="connsiteX54546" y="connsiteY54546"/>
              </a:cxn>
              <a:cxn ang="0">
                <a:pos x="connsiteX54547" y="connsiteY54547"/>
              </a:cxn>
              <a:cxn ang="0">
                <a:pos x="connsiteX54548" y="connsiteY54548"/>
              </a:cxn>
              <a:cxn ang="0">
                <a:pos x="connsiteX54549" y="connsiteY54549"/>
              </a:cxn>
              <a:cxn ang="0">
                <a:pos x="connsiteX54550" y="connsiteY54550"/>
              </a:cxn>
              <a:cxn ang="0">
                <a:pos x="connsiteX54551" y="connsiteY54551"/>
              </a:cxn>
              <a:cxn ang="0">
                <a:pos x="connsiteX54552" y="connsiteY54552"/>
              </a:cxn>
              <a:cxn ang="0">
                <a:pos x="connsiteX54553" y="connsiteY54553"/>
              </a:cxn>
              <a:cxn ang="0">
                <a:pos x="connsiteX54554" y="connsiteY54554"/>
              </a:cxn>
              <a:cxn ang="0">
                <a:pos x="connsiteX54555" y="connsiteY54555"/>
              </a:cxn>
              <a:cxn ang="0">
                <a:pos x="connsiteX54556" y="connsiteY54556"/>
              </a:cxn>
              <a:cxn ang="0">
                <a:pos x="connsiteX54557" y="connsiteY54557"/>
              </a:cxn>
              <a:cxn ang="0">
                <a:pos x="connsiteX54558" y="connsiteY54558"/>
              </a:cxn>
              <a:cxn ang="0">
                <a:pos x="connsiteX54559" y="connsiteY54559"/>
              </a:cxn>
              <a:cxn ang="0">
                <a:pos x="connsiteX54560" y="connsiteY54560"/>
              </a:cxn>
              <a:cxn ang="0">
                <a:pos x="connsiteX54561" y="connsiteY54561"/>
              </a:cxn>
              <a:cxn ang="0">
                <a:pos x="connsiteX54562" y="connsiteY54562"/>
              </a:cxn>
              <a:cxn ang="0">
                <a:pos x="connsiteX54563" y="connsiteY54563"/>
              </a:cxn>
              <a:cxn ang="0">
                <a:pos x="connsiteX54564" y="connsiteY54564"/>
              </a:cxn>
              <a:cxn ang="0">
                <a:pos x="connsiteX54565" y="connsiteY54565"/>
              </a:cxn>
              <a:cxn ang="0">
                <a:pos x="connsiteX54566" y="connsiteY54566"/>
              </a:cxn>
              <a:cxn ang="0">
                <a:pos x="connsiteX54567" y="connsiteY54567"/>
              </a:cxn>
              <a:cxn ang="0">
                <a:pos x="connsiteX54568" y="connsiteY54568"/>
              </a:cxn>
              <a:cxn ang="0">
                <a:pos x="connsiteX54569" y="connsiteY54569"/>
              </a:cxn>
              <a:cxn ang="0">
                <a:pos x="connsiteX54570" y="connsiteY54570"/>
              </a:cxn>
              <a:cxn ang="0">
                <a:pos x="connsiteX54571" y="connsiteY54571"/>
              </a:cxn>
              <a:cxn ang="0">
                <a:pos x="connsiteX54572" y="connsiteY54572"/>
              </a:cxn>
              <a:cxn ang="0">
                <a:pos x="connsiteX54573" y="connsiteY54573"/>
              </a:cxn>
              <a:cxn ang="0">
                <a:pos x="connsiteX54574" y="connsiteY54574"/>
              </a:cxn>
              <a:cxn ang="0">
                <a:pos x="connsiteX54575" y="connsiteY54575"/>
              </a:cxn>
              <a:cxn ang="0">
                <a:pos x="connsiteX54576" y="connsiteY54576"/>
              </a:cxn>
              <a:cxn ang="0">
                <a:pos x="connsiteX54577" y="connsiteY54577"/>
              </a:cxn>
              <a:cxn ang="0">
                <a:pos x="connsiteX54578" y="connsiteY54578"/>
              </a:cxn>
              <a:cxn ang="0">
                <a:pos x="connsiteX54579" y="connsiteY54579"/>
              </a:cxn>
              <a:cxn ang="0">
                <a:pos x="connsiteX54580" y="connsiteY54580"/>
              </a:cxn>
              <a:cxn ang="0">
                <a:pos x="connsiteX54581" y="connsiteY54581"/>
              </a:cxn>
              <a:cxn ang="0">
                <a:pos x="connsiteX54582" y="connsiteY54582"/>
              </a:cxn>
              <a:cxn ang="0">
                <a:pos x="connsiteX54583" y="connsiteY54583"/>
              </a:cxn>
              <a:cxn ang="0">
                <a:pos x="connsiteX54584" y="connsiteY54584"/>
              </a:cxn>
              <a:cxn ang="0">
                <a:pos x="connsiteX54585" y="connsiteY54585"/>
              </a:cxn>
              <a:cxn ang="0">
                <a:pos x="connsiteX54586" y="connsiteY54586"/>
              </a:cxn>
              <a:cxn ang="0">
                <a:pos x="connsiteX54587" y="connsiteY54587"/>
              </a:cxn>
              <a:cxn ang="0">
                <a:pos x="connsiteX54588" y="connsiteY54588"/>
              </a:cxn>
              <a:cxn ang="0">
                <a:pos x="connsiteX54589" y="connsiteY54589"/>
              </a:cxn>
              <a:cxn ang="0">
                <a:pos x="connsiteX54590" y="connsiteY54590"/>
              </a:cxn>
              <a:cxn ang="0">
                <a:pos x="connsiteX54591" y="connsiteY54591"/>
              </a:cxn>
              <a:cxn ang="0">
                <a:pos x="connsiteX54592" y="connsiteY54592"/>
              </a:cxn>
              <a:cxn ang="0">
                <a:pos x="connsiteX54593" y="connsiteY54593"/>
              </a:cxn>
              <a:cxn ang="0">
                <a:pos x="connsiteX54594" y="connsiteY54594"/>
              </a:cxn>
              <a:cxn ang="0">
                <a:pos x="connsiteX54595" y="connsiteY54595"/>
              </a:cxn>
              <a:cxn ang="0">
                <a:pos x="connsiteX54596" y="connsiteY54596"/>
              </a:cxn>
              <a:cxn ang="0">
                <a:pos x="connsiteX54597" y="connsiteY54597"/>
              </a:cxn>
              <a:cxn ang="0">
                <a:pos x="connsiteX54598" y="connsiteY54598"/>
              </a:cxn>
              <a:cxn ang="0">
                <a:pos x="connsiteX54599" y="connsiteY54599"/>
              </a:cxn>
              <a:cxn ang="0">
                <a:pos x="connsiteX54600" y="connsiteY54600"/>
              </a:cxn>
              <a:cxn ang="0">
                <a:pos x="connsiteX54601" y="connsiteY54601"/>
              </a:cxn>
              <a:cxn ang="0">
                <a:pos x="connsiteX54602" y="connsiteY54602"/>
              </a:cxn>
              <a:cxn ang="0">
                <a:pos x="connsiteX54603" y="connsiteY54603"/>
              </a:cxn>
              <a:cxn ang="0">
                <a:pos x="connsiteX54604" y="connsiteY54604"/>
              </a:cxn>
              <a:cxn ang="0">
                <a:pos x="connsiteX54605" y="connsiteY54605"/>
              </a:cxn>
              <a:cxn ang="0">
                <a:pos x="connsiteX54606" y="connsiteY54606"/>
              </a:cxn>
              <a:cxn ang="0">
                <a:pos x="connsiteX54607" y="connsiteY54607"/>
              </a:cxn>
              <a:cxn ang="0">
                <a:pos x="connsiteX54608" y="connsiteY54608"/>
              </a:cxn>
              <a:cxn ang="0">
                <a:pos x="connsiteX54609" y="connsiteY54609"/>
              </a:cxn>
              <a:cxn ang="0">
                <a:pos x="connsiteX54610" y="connsiteY54610"/>
              </a:cxn>
              <a:cxn ang="0">
                <a:pos x="connsiteX54611" y="connsiteY54611"/>
              </a:cxn>
              <a:cxn ang="0">
                <a:pos x="connsiteX54612" y="connsiteY54612"/>
              </a:cxn>
              <a:cxn ang="0">
                <a:pos x="connsiteX54613" y="connsiteY54613"/>
              </a:cxn>
              <a:cxn ang="0">
                <a:pos x="connsiteX54614" y="connsiteY54614"/>
              </a:cxn>
              <a:cxn ang="0">
                <a:pos x="connsiteX54615" y="connsiteY54615"/>
              </a:cxn>
              <a:cxn ang="0">
                <a:pos x="connsiteX54616" y="connsiteY54616"/>
              </a:cxn>
              <a:cxn ang="0">
                <a:pos x="connsiteX54617" y="connsiteY54617"/>
              </a:cxn>
              <a:cxn ang="0">
                <a:pos x="connsiteX54618" y="connsiteY54618"/>
              </a:cxn>
              <a:cxn ang="0">
                <a:pos x="connsiteX54619" y="connsiteY54619"/>
              </a:cxn>
              <a:cxn ang="0">
                <a:pos x="connsiteX54620" y="connsiteY54620"/>
              </a:cxn>
              <a:cxn ang="0">
                <a:pos x="connsiteX54621" y="connsiteY54621"/>
              </a:cxn>
              <a:cxn ang="0">
                <a:pos x="connsiteX54622" y="connsiteY54622"/>
              </a:cxn>
              <a:cxn ang="0">
                <a:pos x="connsiteX54623" y="connsiteY54623"/>
              </a:cxn>
              <a:cxn ang="0">
                <a:pos x="connsiteX54624" y="connsiteY54624"/>
              </a:cxn>
              <a:cxn ang="0">
                <a:pos x="connsiteX54625" y="connsiteY54625"/>
              </a:cxn>
              <a:cxn ang="0">
                <a:pos x="connsiteX54626" y="connsiteY54626"/>
              </a:cxn>
              <a:cxn ang="0">
                <a:pos x="connsiteX54627" y="connsiteY54627"/>
              </a:cxn>
              <a:cxn ang="0">
                <a:pos x="connsiteX54628" y="connsiteY54628"/>
              </a:cxn>
              <a:cxn ang="0">
                <a:pos x="connsiteX54629" y="connsiteY54629"/>
              </a:cxn>
              <a:cxn ang="0">
                <a:pos x="connsiteX54630" y="connsiteY54630"/>
              </a:cxn>
              <a:cxn ang="0">
                <a:pos x="connsiteX54631" y="connsiteY54631"/>
              </a:cxn>
              <a:cxn ang="0">
                <a:pos x="connsiteX54632" y="connsiteY54632"/>
              </a:cxn>
              <a:cxn ang="0">
                <a:pos x="connsiteX54633" y="connsiteY54633"/>
              </a:cxn>
              <a:cxn ang="0">
                <a:pos x="connsiteX54634" y="connsiteY54634"/>
              </a:cxn>
              <a:cxn ang="0">
                <a:pos x="connsiteX54635" y="connsiteY54635"/>
              </a:cxn>
              <a:cxn ang="0">
                <a:pos x="connsiteX54636" y="connsiteY54636"/>
              </a:cxn>
              <a:cxn ang="0">
                <a:pos x="connsiteX54637" y="connsiteY54637"/>
              </a:cxn>
              <a:cxn ang="0">
                <a:pos x="connsiteX54638" y="connsiteY54638"/>
              </a:cxn>
              <a:cxn ang="0">
                <a:pos x="connsiteX54639" y="connsiteY54639"/>
              </a:cxn>
              <a:cxn ang="0">
                <a:pos x="connsiteX54640" y="connsiteY54640"/>
              </a:cxn>
              <a:cxn ang="0">
                <a:pos x="connsiteX54641" y="connsiteY54641"/>
              </a:cxn>
              <a:cxn ang="0">
                <a:pos x="connsiteX54642" y="connsiteY54642"/>
              </a:cxn>
              <a:cxn ang="0">
                <a:pos x="connsiteX54643" y="connsiteY54643"/>
              </a:cxn>
              <a:cxn ang="0">
                <a:pos x="connsiteX54644" y="connsiteY54644"/>
              </a:cxn>
              <a:cxn ang="0">
                <a:pos x="connsiteX54645" y="connsiteY54645"/>
              </a:cxn>
              <a:cxn ang="0">
                <a:pos x="connsiteX54646" y="connsiteY54646"/>
              </a:cxn>
              <a:cxn ang="0">
                <a:pos x="connsiteX54647" y="connsiteY54647"/>
              </a:cxn>
              <a:cxn ang="0">
                <a:pos x="connsiteX54648" y="connsiteY54648"/>
              </a:cxn>
              <a:cxn ang="0">
                <a:pos x="connsiteX54649" y="connsiteY54649"/>
              </a:cxn>
              <a:cxn ang="0">
                <a:pos x="connsiteX54650" y="connsiteY54650"/>
              </a:cxn>
              <a:cxn ang="0">
                <a:pos x="connsiteX54651" y="connsiteY54651"/>
              </a:cxn>
              <a:cxn ang="0">
                <a:pos x="connsiteX54652" y="connsiteY54652"/>
              </a:cxn>
              <a:cxn ang="0">
                <a:pos x="connsiteX54653" y="connsiteY54653"/>
              </a:cxn>
              <a:cxn ang="0">
                <a:pos x="connsiteX54654" y="connsiteY54654"/>
              </a:cxn>
              <a:cxn ang="0">
                <a:pos x="connsiteX54655" y="connsiteY54655"/>
              </a:cxn>
              <a:cxn ang="0">
                <a:pos x="connsiteX54656" y="connsiteY54656"/>
              </a:cxn>
              <a:cxn ang="0">
                <a:pos x="connsiteX54657" y="connsiteY54657"/>
              </a:cxn>
              <a:cxn ang="0">
                <a:pos x="connsiteX54658" y="connsiteY54658"/>
              </a:cxn>
              <a:cxn ang="0">
                <a:pos x="connsiteX54659" y="connsiteY54659"/>
              </a:cxn>
              <a:cxn ang="0">
                <a:pos x="connsiteX54660" y="connsiteY54660"/>
              </a:cxn>
              <a:cxn ang="0">
                <a:pos x="connsiteX54661" y="connsiteY54661"/>
              </a:cxn>
              <a:cxn ang="0">
                <a:pos x="connsiteX54662" y="connsiteY54662"/>
              </a:cxn>
              <a:cxn ang="0">
                <a:pos x="connsiteX54663" y="connsiteY54663"/>
              </a:cxn>
              <a:cxn ang="0">
                <a:pos x="connsiteX54664" y="connsiteY54664"/>
              </a:cxn>
              <a:cxn ang="0">
                <a:pos x="connsiteX54665" y="connsiteY54665"/>
              </a:cxn>
              <a:cxn ang="0">
                <a:pos x="connsiteX54666" y="connsiteY54666"/>
              </a:cxn>
              <a:cxn ang="0">
                <a:pos x="connsiteX54667" y="connsiteY54667"/>
              </a:cxn>
              <a:cxn ang="0">
                <a:pos x="connsiteX54668" y="connsiteY54668"/>
              </a:cxn>
              <a:cxn ang="0">
                <a:pos x="connsiteX54669" y="connsiteY54669"/>
              </a:cxn>
              <a:cxn ang="0">
                <a:pos x="connsiteX54670" y="connsiteY54670"/>
              </a:cxn>
              <a:cxn ang="0">
                <a:pos x="connsiteX54671" y="connsiteY54671"/>
              </a:cxn>
              <a:cxn ang="0">
                <a:pos x="connsiteX54672" y="connsiteY54672"/>
              </a:cxn>
              <a:cxn ang="0">
                <a:pos x="connsiteX54673" y="connsiteY54673"/>
              </a:cxn>
              <a:cxn ang="0">
                <a:pos x="connsiteX54674" y="connsiteY54674"/>
              </a:cxn>
              <a:cxn ang="0">
                <a:pos x="connsiteX54675" y="connsiteY54675"/>
              </a:cxn>
              <a:cxn ang="0">
                <a:pos x="connsiteX54676" y="connsiteY54676"/>
              </a:cxn>
              <a:cxn ang="0">
                <a:pos x="connsiteX54677" y="connsiteY54677"/>
              </a:cxn>
              <a:cxn ang="0">
                <a:pos x="connsiteX54678" y="connsiteY54678"/>
              </a:cxn>
              <a:cxn ang="0">
                <a:pos x="connsiteX54679" y="connsiteY54679"/>
              </a:cxn>
              <a:cxn ang="0">
                <a:pos x="connsiteX54680" y="connsiteY54680"/>
              </a:cxn>
              <a:cxn ang="0">
                <a:pos x="connsiteX54681" y="connsiteY54681"/>
              </a:cxn>
              <a:cxn ang="0">
                <a:pos x="connsiteX54682" y="connsiteY54682"/>
              </a:cxn>
              <a:cxn ang="0">
                <a:pos x="connsiteX54683" y="connsiteY54683"/>
              </a:cxn>
              <a:cxn ang="0">
                <a:pos x="connsiteX54684" y="connsiteY54684"/>
              </a:cxn>
              <a:cxn ang="0">
                <a:pos x="connsiteX54685" y="connsiteY54685"/>
              </a:cxn>
              <a:cxn ang="0">
                <a:pos x="connsiteX54686" y="connsiteY54686"/>
              </a:cxn>
              <a:cxn ang="0">
                <a:pos x="connsiteX54687" y="connsiteY54687"/>
              </a:cxn>
              <a:cxn ang="0">
                <a:pos x="connsiteX54688" y="connsiteY54688"/>
              </a:cxn>
              <a:cxn ang="0">
                <a:pos x="connsiteX54689" y="connsiteY54689"/>
              </a:cxn>
              <a:cxn ang="0">
                <a:pos x="connsiteX54690" y="connsiteY54690"/>
              </a:cxn>
              <a:cxn ang="0">
                <a:pos x="connsiteX54691" y="connsiteY54691"/>
              </a:cxn>
              <a:cxn ang="0">
                <a:pos x="connsiteX54692" y="connsiteY54692"/>
              </a:cxn>
              <a:cxn ang="0">
                <a:pos x="connsiteX54693" y="connsiteY54693"/>
              </a:cxn>
              <a:cxn ang="0">
                <a:pos x="connsiteX54694" y="connsiteY54694"/>
              </a:cxn>
              <a:cxn ang="0">
                <a:pos x="connsiteX54695" y="connsiteY54695"/>
              </a:cxn>
              <a:cxn ang="0">
                <a:pos x="connsiteX54696" y="connsiteY54696"/>
              </a:cxn>
              <a:cxn ang="0">
                <a:pos x="connsiteX54697" y="connsiteY54697"/>
              </a:cxn>
              <a:cxn ang="0">
                <a:pos x="connsiteX54698" y="connsiteY54698"/>
              </a:cxn>
              <a:cxn ang="0">
                <a:pos x="connsiteX54699" y="connsiteY54699"/>
              </a:cxn>
              <a:cxn ang="0">
                <a:pos x="connsiteX54700" y="connsiteY54700"/>
              </a:cxn>
              <a:cxn ang="0">
                <a:pos x="connsiteX54701" y="connsiteY54701"/>
              </a:cxn>
              <a:cxn ang="0">
                <a:pos x="connsiteX54702" y="connsiteY54702"/>
              </a:cxn>
              <a:cxn ang="0">
                <a:pos x="connsiteX54703" y="connsiteY54703"/>
              </a:cxn>
              <a:cxn ang="0">
                <a:pos x="connsiteX54704" y="connsiteY54704"/>
              </a:cxn>
              <a:cxn ang="0">
                <a:pos x="connsiteX54705" y="connsiteY54705"/>
              </a:cxn>
              <a:cxn ang="0">
                <a:pos x="connsiteX54706" y="connsiteY54706"/>
              </a:cxn>
              <a:cxn ang="0">
                <a:pos x="connsiteX54707" y="connsiteY54707"/>
              </a:cxn>
              <a:cxn ang="0">
                <a:pos x="connsiteX54708" y="connsiteY54708"/>
              </a:cxn>
              <a:cxn ang="0">
                <a:pos x="connsiteX54709" y="connsiteY54709"/>
              </a:cxn>
              <a:cxn ang="0">
                <a:pos x="connsiteX54710" y="connsiteY54710"/>
              </a:cxn>
              <a:cxn ang="0">
                <a:pos x="connsiteX54711" y="connsiteY54711"/>
              </a:cxn>
              <a:cxn ang="0">
                <a:pos x="connsiteX54712" y="connsiteY54712"/>
              </a:cxn>
              <a:cxn ang="0">
                <a:pos x="connsiteX54713" y="connsiteY54713"/>
              </a:cxn>
              <a:cxn ang="0">
                <a:pos x="connsiteX54714" y="connsiteY54714"/>
              </a:cxn>
              <a:cxn ang="0">
                <a:pos x="connsiteX54715" y="connsiteY54715"/>
              </a:cxn>
              <a:cxn ang="0">
                <a:pos x="connsiteX54716" y="connsiteY54716"/>
              </a:cxn>
              <a:cxn ang="0">
                <a:pos x="connsiteX54717" y="connsiteY54717"/>
              </a:cxn>
              <a:cxn ang="0">
                <a:pos x="connsiteX54718" y="connsiteY54718"/>
              </a:cxn>
              <a:cxn ang="0">
                <a:pos x="connsiteX54719" y="connsiteY54719"/>
              </a:cxn>
              <a:cxn ang="0">
                <a:pos x="connsiteX54720" y="connsiteY54720"/>
              </a:cxn>
              <a:cxn ang="0">
                <a:pos x="connsiteX54721" y="connsiteY54721"/>
              </a:cxn>
              <a:cxn ang="0">
                <a:pos x="connsiteX54722" y="connsiteY54722"/>
              </a:cxn>
              <a:cxn ang="0">
                <a:pos x="connsiteX54723" y="connsiteY54723"/>
              </a:cxn>
              <a:cxn ang="0">
                <a:pos x="connsiteX54724" y="connsiteY54724"/>
              </a:cxn>
              <a:cxn ang="0">
                <a:pos x="connsiteX54725" y="connsiteY54725"/>
              </a:cxn>
              <a:cxn ang="0">
                <a:pos x="connsiteX54726" y="connsiteY54726"/>
              </a:cxn>
              <a:cxn ang="0">
                <a:pos x="connsiteX54727" y="connsiteY54727"/>
              </a:cxn>
              <a:cxn ang="0">
                <a:pos x="connsiteX54728" y="connsiteY54728"/>
              </a:cxn>
              <a:cxn ang="0">
                <a:pos x="connsiteX54729" y="connsiteY54729"/>
              </a:cxn>
              <a:cxn ang="0">
                <a:pos x="connsiteX54730" y="connsiteY54730"/>
              </a:cxn>
              <a:cxn ang="0">
                <a:pos x="connsiteX54731" y="connsiteY54731"/>
              </a:cxn>
              <a:cxn ang="0">
                <a:pos x="connsiteX54732" y="connsiteY54732"/>
              </a:cxn>
              <a:cxn ang="0">
                <a:pos x="connsiteX54733" y="connsiteY54733"/>
              </a:cxn>
              <a:cxn ang="0">
                <a:pos x="connsiteX54734" y="connsiteY54734"/>
              </a:cxn>
              <a:cxn ang="0">
                <a:pos x="connsiteX54735" y="connsiteY54735"/>
              </a:cxn>
              <a:cxn ang="0">
                <a:pos x="connsiteX54736" y="connsiteY54736"/>
              </a:cxn>
              <a:cxn ang="0">
                <a:pos x="connsiteX54737" y="connsiteY54737"/>
              </a:cxn>
              <a:cxn ang="0">
                <a:pos x="connsiteX54738" y="connsiteY54738"/>
              </a:cxn>
              <a:cxn ang="0">
                <a:pos x="connsiteX54739" y="connsiteY54739"/>
              </a:cxn>
              <a:cxn ang="0">
                <a:pos x="connsiteX54740" y="connsiteY54740"/>
              </a:cxn>
              <a:cxn ang="0">
                <a:pos x="connsiteX54741" y="connsiteY54741"/>
              </a:cxn>
              <a:cxn ang="0">
                <a:pos x="connsiteX54742" y="connsiteY54742"/>
              </a:cxn>
              <a:cxn ang="0">
                <a:pos x="connsiteX54743" y="connsiteY54743"/>
              </a:cxn>
              <a:cxn ang="0">
                <a:pos x="connsiteX54744" y="connsiteY54744"/>
              </a:cxn>
              <a:cxn ang="0">
                <a:pos x="connsiteX54745" y="connsiteY54745"/>
              </a:cxn>
              <a:cxn ang="0">
                <a:pos x="connsiteX54746" y="connsiteY54746"/>
              </a:cxn>
              <a:cxn ang="0">
                <a:pos x="connsiteX54747" y="connsiteY54747"/>
              </a:cxn>
              <a:cxn ang="0">
                <a:pos x="connsiteX54748" y="connsiteY54748"/>
              </a:cxn>
              <a:cxn ang="0">
                <a:pos x="connsiteX54749" y="connsiteY54749"/>
              </a:cxn>
              <a:cxn ang="0">
                <a:pos x="connsiteX54750" y="connsiteY54750"/>
              </a:cxn>
              <a:cxn ang="0">
                <a:pos x="connsiteX54751" y="connsiteY54751"/>
              </a:cxn>
              <a:cxn ang="0">
                <a:pos x="connsiteX54752" y="connsiteY54752"/>
              </a:cxn>
              <a:cxn ang="0">
                <a:pos x="connsiteX54753" y="connsiteY54753"/>
              </a:cxn>
              <a:cxn ang="0">
                <a:pos x="connsiteX54754" y="connsiteY54754"/>
              </a:cxn>
              <a:cxn ang="0">
                <a:pos x="connsiteX54755" y="connsiteY54755"/>
              </a:cxn>
              <a:cxn ang="0">
                <a:pos x="connsiteX54756" y="connsiteY54756"/>
              </a:cxn>
              <a:cxn ang="0">
                <a:pos x="connsiteX54757" y="connsiteY54757"/>
              </a:cxn>
              <a:cxn ang="0">
                <a:pos x="connsiteX54758" y="connsiteY54758"/>
              </a:cxn>
              <a:cxn ang="0">
                <a:pos x="connsiteX54759" y="connsiteY54759"/>
              </a:cxn>
              <a:cxn ang="0">
                <a:pos x="connsiteX54760" y="connsiteY54760"/>
              </a:cxn>
              <a:cxn ang="0">
                <a:pos x="connsiteX54761" y="connsiteY54761"/>
              </a:cxn>
              <a:cxn ang="0">
                <a:pos x="connsiteX54762" y="connsiteY54762"/>
              </a:cxn>
              <a:cxn ang="0">
                <a:pos x="connsiteX54763" y="connsiteY54763"/>
              </a:cxn>
              <a:cxn ang="0">
                <a:pos x="connsiteX54764" y="connsiteY54764"/>
              </a:cxn>
              <a:cxn ang="0">
                <a:pos x="connsiteX54765" y="connsiteY54765"/>
              </a:cxn>
              <a:cxn ang="0">
                <a:pos x="connsiteX54766" y="connsiteY54766"/>
              </a:cxn>
              <a:cxn ang="0">
                <a:pos x="connsiteX54767" y="connsiteY54767"/>
              </a:cxn>
              <a:cxn ang="0">
                <a:pos x="connsiteX54768" y="connsiteY54768"/>
              </a:cxn>
              <a:cxn ang="0">
                <a:pos x="connsiteX54769" y="connsiteY54769"/>
              </a:cxn>
              <a:cxn ang="0">
                <a:pos x="connsiteX54770" y="connsiteY54770"/>
              </a:cxn>
              <a:cxn ang="0">
                <a:pos x="connsiteX54771" y="connsiteY54771"/>
              </a:cxn>
              <a:cxn ang="0">
                <a:pos x="connsiteX54772" y="connsiteY54772"/>
              </a:cxn>
              <a:cxn ang="0">
                <a:pos x="connsiteX54773" y="connsiteY54773"/>
              </a:cxn>
              <a:cxn ang="0">
                <a:pos x="connsiteX54774" y="connsiteY54774"/>
              </a:cxn>
              <a:cxn ang="0">
                <a:pos x="connsiteX54775" y="connsiteY54775"/>
              </a:cxn>
              <a:cxn ang="0">
                <a:pos x="connsiteX54776" y="connsiteY54776"/>
              </a:cxn>
              <a:cxn ang="0">
                <a:pos x="connsiteX54777" y="connsiteY54777"/>
              </a:cxn>
              <a:cxn ang="0">
                <a:pos x="connsiteX54778" y="connsiteY54778"/>
              </a:cxn>
              <a:cxn ang="0">
                <a:pos x="connsiteX54779" y="connsiteY54779"/>
              </a:cxn>
              <a:cxn ang="0">
                <a:pos x="connsiteX54780" y="connsiteY54780"/>
              </a:cxn>
              <a:cxn ang="0">
                <a:pos x="connsiteX54781" y="connsiteY54781"/>
              </a:cxn>
              <a:cxn ang="0">
                <a:pos x="connsiteX54782" y="connsiteY54782"/>
              </a:cxn>
              <a:cxn ang="0">
                <a:pos x="connsiteX54783" y="connsiteY54783"/>
              </a:cxn>
              <a:cxn ang="0">
                <a:pos x="connsiteX54784" y="connsiteY54784"/>
              </a:cxn>
              <a:cxn ang="0">
                <a:pos x="connsiteX54785" y="connsiteY54785"/>
              </a:cxn>
              <a:cxn ang="0">
                <a:pos x="connsiteX54786" y="connsiteY54786"/>
              </a:cxn>
              <a:cxn ang="0">
                <a:pos x="connsiteX54787" y="connsiteY54787"/>
              </a:cxn>
              <a:cxn ang="0">
                <a:pos x="connsiteX54788" y="connsiteY54788"/>
              </a:cxn>
              <a:cxn ang="0">
                <a:pos x="connsiteX54789" y="connsiteY54789"/>
              </a:cxn>
              <a:cxn ang="0">
                <a:pos x="connsiteX54790" y="connsiteY54790"/>
              </a:cxn>
              <a:cxn ang="0">
                <a:pos x="connsiteX54791" y="connsiteY54791"/>
              </a:cxn>
              <a:cxn ang="0">
                <a:pos x="connsiteX54792" y="connsiteY54792"/>
              </a:cxn>
              <a:cxn ang="0">
                <a:pos x="connsiteX54793" y="connsiteY54793"/>
              </a:cxn>
              <a:cxn ang="0">
                <a:pos x="connsiteX54794" y="connsiteY54794"/>
              </a:cxn>
              <a:cxn ang="0">
                <a:pos x="connsiteX54795" y="connsiteY54795"/>
              </a:cxn>
              <a:cxn ang="0">
                <a:pos x="connsiteX54796" y="connsiteY54796"/>
              </a:cxn>
              <a:cxn ang="0">
                <a:pos x="connsiteX54797" y="connsiteY54797"/>
              </a:cxn>
              <a:cxn ang="0">
                <a:pos x="connsiteX54798" y="connsiteY54798"/>
              </a:cxn>
              <a:cxn ang="0">
                <a:pos x="connsiteX54799" y="connsiteY54799"/>
              </a:cxn>
              <a:cxn ang="0">
                <a:pos x="connsiteX54800" y="connsiteY54800"/>
              </a:cxn>
              <a:cxn ang="0">
                <a:pos x="connsiteX54801" y="connsiteY54801"/>
              </a:cxn>
              <a:cxn ang="0">
                <a:pos x="connsiteX54802" y="connsiteY54802"/>
              </a:cxn>
              <a:cxn ang="0">
                <a:pos x="connsiteX54803" y="connsiteY54803"/>
              </a:cxn>
              <a:cxn ang="0">
                <a:pos x="connsiteX54804" y="connsiteY54804"/>
              </a:cxn>
              <a:cxn ang="0">
                <a:pos x="connsiteX54805" y="connsiteY54805"/>
              </a:cxn>
              <a:cxn ang="0">
                <a:pos x="connsiteX54806" y="connsiteY54806"/>
              </a:cxn>
              <a:cxn ang="0">
                <a:pos x="connsiteX54807" y="connsiteY54807"/>
              </a:cxn>
              <a:cxn ang="0">
                <a:pos x="connsiteX54808" y="connsiteY54808"/>
              </a:cxn>
              <a:cxn ang="0">
                <a:pos x="connsiteX54809" y="connsiteY54809"/>
              </a:cxn>
              <a:cxn ang="0">
                <a:pos x="connsiteX54810" y="connsiteY54810"/>
              </a:cxn>
              <a:cxn ang="0">
                <a:pos x="connsiteX54811" y="connsiteY54811"/>
              </a:cxn>
              <a:cxn ang="0">
                <a:pos x="connsiteX54812" y="connsiteY54812"/>
              </a:cxn>
              <a:cxn ang="0">
                <a:pos x="connsiteX54813" y="connsiteY54813"/>
              </a:cxn>
              <a:cxn ang="0">
                <a:pos x="connsiteX54814" y="connsiteY54814"/>
              </a:cxn>
              <a:cxn ang="0">
                <a:pos x="connsiteX54815" y="connsiteY54815"/>
              </a:cxn>
              <a:cxn ang="0">
                <a:pos x="connsiteX54816" y="connsiteY54816"/>
              </a:cxn>
              <a:cxn ang="0">
                <a:pos x="connsiteX54817" y="connsiteY54817"/>
              </a:cxn>
              <a:cxn ang="0">
                <a:pos x="connsiteX54818" y="connsiteY54818"/>
              </a:cxn>
              <a:cxn ang="0">
                <a:pos x="connsiteX54819" y="connsiteY54819"/>
              </a:cxn>
              <a:cxn ang="0">
                <a:pos x="connsiteX54820" y="connsiteY54820"/>
              </a:cxn>
              <a:cxn ang="0">
                <a:pos x="connsiteX54821" y="connsiteY54821"/>
              </a:cxn>
              <a:cxn ang="0">
                <a:pos x="connsiteX54822" y="connsiteY54822"/>
              </a:cxn>
              <a:cxn ang="0">
                <a:pos x="connsiteX54823" y="connsiteY54823"/>
              </a:cxn>
              <a:cxn ang="0">
                <a:pos x="connsiteX54824" y="connsiteY54824"/>
              </a:cxn>
              <a:cxn ang="0">
                <a:pos x="connsiteX54825" y="connsiteY54825"/>
              </a:cxn>
              <a:cxn ang="0">
                <a:pos x="connsiteX54826" y="connsiteY54826"/>
              </a:cxn>
              <a:cxn ang="0">
                <a:pos x="connsiteX54827" y="connsiteY54827"/>
              </a:cxn>
              <a:cxn ang="0">
                <a:pos x="connsiteX54828" y="connsiteY54828"/>
              </a:cxn>
              <a:cxn ang="0">
                <a:pos x="connsiteX54829" y="connsiteY54829"/>
              </a:cxn>
              <a:cxn ang="0">
                <a:pos x="connsiteX54830" y="connsiteY54830"/>
              </a:cxn>
              <a:cxn ang="0">
                <a:pos x="connsiteX54831" y="connsiteY54831"/>
              </a:cxn>
              <a:cxn ang="0">
                <a:pos x="connsiteX54832" y="connsiteY54832"/>
              </a:cxn>
              <a:cxn ang="0">
                <a:pos x="connsiteX54833" y="connsiteY54833"/>
              </a:cxn>
              <a:cxn ang="0">
                <a:pos x="connsiteX54834" y="connsiteY54834"/>
              </a:cxn>
              <a:cxn ang="0">
                <a:pos x="connsiteX54835" y="connsiteY54835"/>
              </a:cxn>
              <a:cxn ang="0">
                <a:pos x="connsiteX54836" y="connsiteY54836"/>
              </a:cxn>
              <a:cxn ang="0">
                <a:pos x="connsiteX54837" y="connsiteY54837"/>
              </a:cxn>
              <a:cxn ang="0">
                <a:pos x="connsiteX54838" y="connsiteY54838"/>
              </a:cxn>
              <a:cxn ang="0">
                <a:pos x="connsiteX54839" y="connsiteY54839"/>
              </a:cxn>
              <a:cxn ang="0">
                <a:pos x="connsiteX54840" y="connsiteY54840"/>
              </a:cxn>
              <a:cxn ang="0">
                <a:pos x="connsiteX54841" y="connsiteY54841"/>
              </a:cxn>
              <a:cxn ang="0">
                <a:pos x="connsiteX54842" y="connsiteY54842"/>
              </a:cxn>
              <a:cxn ang="0">
                <a:pos x="connsiteX54843" y="connsiteY54843"/>
              </a:cxn>
              <a:cxn ang="0">
                <a:pos x="connsiteX54844" y="connsiteY54844"/>
              </a:cxn>
              <a:cxn ang="0">
                <a:pos x="connsiteX54845" y="connsiteY54845"/>
              </a:cxn>
              <a:cxn ang="0">
                <a:pos x="connsiteX54846" y="connsiteY54846"/>
              </a:cxn>
              <a:cxn ang="0">
                <a:pos x="connsiteX54847" y="connsiteY54847"/>
              </a:cxn>
              <a:cxn ang="0">
                <a:pos x="connsiteX54848" y="connsiteY54848"/>
              </a:cxn>
              <a:cxn ang="0">
                <a:pos x="connsiteX54849" y="connsiteY54849"/>
              </a:cxn>
              <a:cxn ang="0">
                <a:pos x="connsiteX54850" y="connsiteY54850"/>
              </a:cxn>
              <a:cxn ang="0">
                <a:pos x="connsiteX54851" y="connsiteY54851"/>
              </a:cxn>
              <a:cxn ang="0">
                <a:pos x="connsiteX54852" y="connsiteY54852"/>
              </a:cxn>
              <a:cxn ang="0">
                <a:pos x="connsiteX54853" y="connsiteY54853"/>
              </a:cxn>
              <a:cxn ang="0">
                <a:pos x="connsiteX54854" y="connsiteY54854"/>
              </a:cxn>
              <a:cxn ang="0">
                <a:pos x="connsiteX54855" y="connsiteY54855"/>
              </a:cxn>
              <a:cxn ang="0">
                <a:pos x="connsiteX54856" y="connsiteY54856"/>
              </a:cxn>
              <a:cxn ang="0">
                <a:pos x="connsiteX54857" y="connsiteY54857"/>
              </a:cxn>
              <a:cxn ang="0">
                <a:pos x="connsiteX54858" y="connsiteY54858"/>
              </a:cxn>
              <a:cxn ang="0">
                <a:pos x="connsiteX54859" y="connsiteY54859"/>
              </a:cxn>
              <a:cxn ang="0">
                <a:pos x="connsiteX54860" y="connsiteY54860"/>
              </a:cxn>
              <a:cxn ang="0">
                <a:pos x="connsiteX54861" y="connsiteY54861"/>
              </a:cxn>
              <a:cxn ang="0">
                <a:pos x="connsiteX54862" y="connsiteY54862"/>
              </a:cxn>
              <a:cxn ang="0">
                <a:pos x="connsiteX54863" y="connsiteY54863"/>
              </a:cxn>
              <a:cxn ang="0">
                <a:pos x="connsiteX54864" y="connsiteY54864"/>
              </a:cxn>
              <a:cxn ang="0">
                <a:pos x="connsiteX54865" y="connsiteY54865"/>
              </a:cxn>
              <a:cxn ang="0">
                <a:pos x="connsiteX54866" y="connsiteY54866"/>
              </a:cxn>
              <a:cxn ang="0">
                <a:pos x="connsiteX54867" y="connsiteY54867"/>
              </a:cxn>
              <a:cxn ang="0">
                <a:pos x="connsiteX54868" y="connsiteY54868"/>
              </a:cxn>
              <a:cxn ang="0">
                <a:pos x="connsiteX54869" y="connsiteY54869"/>
              </a:cxn>
              <a:cxn ang="0">
                <a:pos x="connsiteX54870" y="connsiteY54870"/>
              </a:cxn>
              <a:cxn ang="0">
                <a:pos x="connsiteX54871" y="connsiteY54871"/>
              </a:cxn>
              <a:cxn ang="0">
                <a:pos x="connsiteX54872" y="connsiteY54872"/>
              </a:cxn>
              <a:cxn ang="0">
                <a:pos x="connsiteX54873" y="connsiteY54873"/>
              </a:cxn>
              <a:cxn ang="0">
                <a:pos x="connsiteX54874" y="connsiteY54874"/>
              </a:cxn>
              <a:cxn ang="0">
                <a:pos x="connsiteX54875" y="connsiteY54875"/>
              </a:cxn>
              <a:cxn ang="0">
                <a:pos x="connsiteX54876" y="connsiteY54876"/>
              </a:cxn>
              <a:cxn ang="0">
                <a:pos x="connsiteX54877" y="connsiteY54877"/>
              </a:cxn>
              <a:cxn ang="0">
                <a:pos x="connsiteX54878" y="connsiteY54878"/>
              </a:cxn>
              <a:cxn ang="0">
                <a:pos x="connsiteX54879" y="connsiteY54879"/>
              </a:cxn>
              <a:cxn ang="0">
                <a:pos x="connsiteX54880" y="connsiteY54880"/>
              </a:cxn>
              <a:cxn ang="0">
                <a:pos x="connsiteX54881" y="connsiteY54881"/>
              </a:cxn>
              <a:cxn ang="0">
                <a:pos x="connsiteX54882" y="connsiteY54882"/>
              </a:cxn>
              <a:cxn ang="0">
                <a:pos x="connsiteX54883" y="connsiteY54883"/>
              </a:cxn>
              <a:cxn ang="0">
                <a:pos x="connsiteX54884" y="connsiteY54884"/>
              </a:cxn>
              <a:cxn ang="0">
                <a:pos x="connsiteX54885" y="connsiteY54885"/>
              </a:cxn>
              <a:cxn ang="0">
                <a:pos x="connsiteX54886" y="connsiteY54886"/>
              </a:cxn>
              <a:cxn ang="0">
                <a:pos x="connsiteX54887" y="connsiteY54887"/>
              </a:cxn>
              <a:cxn ang="0">
                <a:pos x="connsiteX54888" y="connsiteY54888"/>
              </a:cxn>
              <a:cxn ang="0">
                <a:pos x="connsiteX54889" y="connsiteY54889"/>
              </a:cxn>
              <a:cxn ang="0">
                <a:pos x="connsiteX54890" y="connsiteY54890"/>
              </a:cxn>
              <a:cxn ang="0">
                <a:pos x="connsiteX54891" y="connsiteY54891"/>
              </a:cxn>
              <a:cxn ang="0">
                <a:pos x="connsiteX54892" y="connsiteY54892"/>
              </a:cxn>
              <a:cxn ang="0">
                <a:pos x="connsiteX54893" y="connsiteY54893"/>
              </a:cxn>
              <a:cxn ang="0">
                <a:pos x="connsiteX54894" y="connsiteY54894"/>
              </a:cxn>
              <a:cxn ang="0">
                <a:pos x="connsiteX54895" y="connsiteY54895"/>
              </a:cxn>
              <a:cxn ang="0">
                <a:pos x="connsiteX54896" y="connsiteY54896"/>
              </a:cxn>
              <a:cxn ang="0">
                <a:pos x="connsiteX54897" y="connsiteY54897"/>
              </a:cxn>
              <a:cxn ang="0">
                <a:pos x="connsiteX54898" y="connsiteY54898"/>
              </a:cxn>
              <a:cxn ang="0">
                <a:pos x="connsiteX54899" y="connsiteY54899"/>
              </a:cxn>
              <a:cxn ang="0">
                <a:pos x="connsiteX54900" y="connsiteY54900"/>
              </a:cxn>
              <a:cxn ang="0">
                <a:pos x="connsiteX54901" y="connsiteY54901"/>
              </a:cxn>
              <a:cxn ang="0">
                <a:pos x="connsiteX54902" y="connsiteY54902"/>
              </a:cxn>
              <a:cxn ang="0">
                <a:pos x="connsiteX54903" y="connsiteY54903"/>
              </a:cxn>
              <a:cxn ang="0">
                <a:pos x="connsiteX54904" y="connsiteY54904"/>
              </a:cxn>
              <a:cxn ang="0">
                <a:pos x="connsiteX54905" y="connsiteY54905"/>
              </a:cxn>
              <a:cxn ang="0">
                <a:pos x="connsiteX54906" y="connsiteY54906"/>
              </a:cxn>
              <a:cxn ang="0">
                <a:pos x="connsiteX54907" y="connsiteY54907"/>
              </a:cxn>
              <a:cxn ang="0">
                <a:pos x="connsiteX54908" y="connsiteY54908"/>
              </a:cxn>
              <a:cxn ang="0">
                <a:pos x="connsiteX54909" y="connsiteY54909"/>
              </a:cxn>
              <a:cxn ang="0">
                <a:pos x="connsiteX54910" y="connsiteY54910"/>
              </a:cxn>
              <a:cxn ang="0">
                <a:pos x="connsiteX54911" y="connsiteY54911"/>
              </a:cxn>
              <a:cxn ang="0">
                <a:pos x="connsiteX54912" y="connsiteY54912"/>
              </a:cxn>
              <a:cxn ang="0">
                <a:pos x="connsiteX54913" y="connsiteY54913"/>
              </a:cxn>
              <a:cxn ang="0">
                <a:pos x="connsiteX54914" y="connsiteY54914"/>
              </a:cxn>
              <a:cxn ang="0">
                <a:pos x="connsiteX54915" y="connsiteY54915"/>
              </a:cxn>
              <a:cxn ang="0">
                <a:pos x="connsiteX54916" y="connsiteY54916"/>
              </a:cxn>
              <a:cxn ang="0">
                <a:pos x="connsiteX54917" y="connsiteY54917"/>
              </a:cxn>
              <a:cxn ang="0">
                <a:pos x="connsiteX54918" y="connsiteY54918"/>
              </a:cxn>
              <a:cxn ang="0">
                <a:pos x="connsiteX54919" y="connsiteY54919"/>
              </a:cxn>
              <a:cxn ang="0">
                <a:pos x="connsiteX54920" y="connsiteY54920"/>
              </a:cxn>
              <a:cxn ang="0">
                <a:pos x="connsiteX54921" y="connsiteY54921"/>
              </a:cxn>
              <a:cxn ang="0">
                <a:pos x="connsiteX54922" y="connsiteY54922"/>
              </a:cxn>
              <a:cxn ang="0">
                <a:pos x="connsiteX54923" y="connsiteY54923"/>
              </a:cxn>
              <a:cxn ang="0">
                <a:pos x="connsiteX54924" y="connsiteY54924"/>
              </a:cxn>
              <a:cxn ang="0">
                <a:pos x="connsiteX54925" y="connsiteY54925"/>
              </a:cxn>
              <a:cxn ang="0">
                <a:pos x="connsiteX54926" y="connsiteY54926"/>
              </a:cxn>
              <a:cxn ang="0">
                <a:pos x="connsiteX54927" y="connsiteY54927"/>
              </a:cxn>
              <a:cxn ang="0">
                <a:pos x="connsiteX54928" y="connsiteY54928"/>
              </a:cxn>
              <a:cxn ang="0">
                <a:pos x="connsiteX54929" y="connsiteY54929"/>
              </a:cxn>
              <a:cxn ang="0">
                <a:pos x="connsiteX54930" y="connsiteY54930"/>
              </a:cxn>
              <a:cxn ang="0">
                <a:pos x="connsiteX54931" y="connsiteY54931"/>
              </a:cxn>
              <a:cxn ang="0">
                <a:pos x="connsiteX54932" y="connsiteY54932"/>
              </a:cxn>
              <a:cxn ang="0">
                <a:pos x="connsiteX54933" y="connsiteY54933"/>
              </a:cxn>
              <a:cxn ang="0">
                <a:pos x="connsiteX54934" y="connsiteY54934"/>
              </a:cxn>
              <a:cxn ang="0">
                <a:pos x="connsiteX54935" y="connsiteY54935"/>
              </a:cxn>
              <a:cxn ang="0">
                <a:pos x="connsiteX54936" y="connsiteY54936"/>
              </a:cxn>
              <a:cxn ang="0">
                <a:pos x="connsiteX54937" y="connsiteY54937"/>
              </a:cxn>
              <a:cxn ang="0">
                <a:pos x="connsiteX54938" y="connsiteY54938"/>
              </a:cxn>
              <a:cxn ang="0">
                <a:pos x="connsiteX54939" y="connsiteY54939"/>
              </a:cxn>
              <a:cxn ang="0">
                <a:pos x="connsiteX54940" y="connsiteY54940"/>
              </a:cxn>
              <a:cxn ang="0">
                <a:pos x="connsiteX54941" y="connsiteY54941"/>
              </a:cxn>
              <a:cxn ang="0">
                <a:pos x="connsiteX54942" y="connsiteY54942"/>
              </a:cxn>
              <a:cxn ang="0">
                <a:pos x="connsiteX54943" y="connsiteY54943"/>
              </a:cxn>
              <a:cxn ang="0">
                <a:pos x="connsiteX54944" y="connsiteY54944"/>
              </a:cxn>
              <a:cxn ang="0">
                <a:pos x="connsiteX54945" y="connsiteY54945"/>
              </a:cxn>
              <a:cxn ang="0">
                <a:pos x="connsiteX54946" y="connsiteY54946"/>
              </a:cxn>
              <a:cxn ang="0">
                <a:pos x="connsiteX54947" y="connsiteY54947"/>
              </a:cxn>
              <a:cxn ang="0">
                <a:pos x="connsiteX54948" y="connsiteY54948"/>
              </a:cxn>
              <a:cxn ang="0">
                <a:pos x="connsiteX54949" y="connsiteY54949"/>
              </a:cxn>
              <a:cxn ang="0">
                <a:pos x="connsiteX54950" y="connsiteY54950"/>
              </a:cxn>
              <a:cxn ang="0">
                <a:pos x="connsiteX54951" y="connsiteY54951"/>
              </a:cxn>
              <a:cxn ang="0">
                <a:pos x="connsiteX54952" y="connsiteY54952"/>
              </a:cxn>
              <a:cxn ang="0">
                <a:pos x="connsiteX54953" y="connsiteY54953"/>
              </a:cxn>
              <a:cxn ang="0">
                <a:pos x="connsiteX54954" y="connsiteY54954"/>
              </a:cxn>
              <a:cxn ang="0">
                <a:pos x="connsiteX54955" y="connsiteY54955"/>
              </a:cxn>
              <a:cxn ang="0">
                <a:pos x="connsiteX54956" y="connsiteY54956"/>
              </a:cxn>
              <a:cxn ang="0">
                <a:pos x="connsiteX54957" y="connsiteY54957"/>
              </a:cxn>
              <a:cxn ang="0">
                <a:pos x="connsiteX54958" y="connsiteY54958"/>
              </a:cxn>
              <a:cxn ang="0">
                <a:pos x="connsiteX54959" y="connsiteY54959"/>
              </a:cxn>
              <a:cxn ang="0">
                <a:pos x="connsiteX54960" y="connsiteY54960"/>
              </a:cxn>
              <a:cxn ang="0">
                <a:pos x="connsiteX54961" y="connsiteY54961"/>
              </a:cxn>
              <a:cxn ang="0">
                <a:pos x="connsiteX54962" y="connsiteY54962"/>
              </a:cxn>
              <a:cxn ang="0">
                <a:pos x="connsiteX54963" y="connsiteY54963"/>
              </a:cxn>
              <a:cxn ang="0">
                <a:pos x="connsiteX54964" y="connsiteY54964"/>
              </a:cxn>
              <a:cxn ang="0">
                <a:pos x="connsiteX54965" y="connsiteY54965"/>
              </a:cxn>
              <a:cxn ang="0">
                <a:pos x="connsiteX54966" y="connsiteY54966"/>
              </a:cxn>
              <a:cxn ang="0">
                <a:pos x="connsiteX54967" y="connsiteY54967"/>
              </a:cxn>
              <a:cxn ang="0">
                <a:pos x="connsiteX54968" y="connsiteY54968"/>
              </a:cxn>
              <a:cxn ang="0">
                <a:pos x="connsiteX54969" y="connsiteY54969"/>
              </a:cxn>
              <a:cxn ang="0">
                <a:pos x="connsiteX54970" y="connsiteY54970"/>
              </a:cxn>
              <a:cxn ang="0">
                <a:pos x="connsiteX54971" y="connsiteY54971"/>
              </a:cxn>
              <a:cxn ang="0">
                <a:pos x="connsiteX54972" y="connsiteY54972"/>
              </a:cxn>
              <a:cxn ang="0">
                <a:pos x="connsiteX54973" y="connsiteY54973"/>
              </a:cxn>
              <a:cxn ang="0">
                <a:pos x="connsiteX54974" y="connsiteY54974"/>
              </a:cxn>
              <a:cxn ang="0">
                <a:pos x="connsiteX54975" y="connsiteY54975"/>
              </a:cxn>
              <a:cxn ang="0">
                <a:pos x="connsiteX54976" y="connsiteY54976"/>
              </a:cxn>
              <a:cxn ang="0">
                <a:pos x="connsiteX54977" y="connsiteY54977"/>
              </a:cxn>
              <a:cxn ang="0">
                <a:pos x="connsiteX54978" y="connsiteY54978"/>
              </a:cxn>
              <a:cxn ang="0">
                <a:pos x="connsiteX54979" y="connsiteY54979"/>
              </a:cxn>
              <a:cxn ang="0">
                <a:pos x="connsiteX54980" y="connsiteY54980"/>
              </a:cxn>
              <a:cxn ang="0">
                <a:pos x="connsiteX54981" y="connsiteY54981"/>
              </a:cxn>
              <a:cxn ang="0">
                <a:pos x="connsiteX54982" y="connsiteY54982"/>
              </a:cxn>
              <a:cxn ang="0">
                <a:pos x="connsiteX54983" y="connsiteY54983"/>
              </a:cxn>
              <a:cxn ang="0">
                <a:pos x="connsiteX54984" y="connsiteY54984"/>
              </a:cxn>
              <a:cxn ang="0">
                <a:pos x="connsiteX54985" y="connsiteY54985"/>
              </a:cxn>
              <a:cxn ang="0">
                <a:pos x="connsiteX54986" y="connsiteY54986"/>
              </a:cxn>
              <a:cxn ang="0">
                <a:pos x="connsiteX54987" y="connsiteY54987"/>
              </a:cxn>
              <a:cxn ang="0">
                <a:pos x="connsiteX54988" y="connsiteY54988"/>
              </a:cxn>
              <a:cxn ang="0">
                <a:pos x="connsiteX54989" y="connsiteY54989"/>
              </a:cxn>
              <a:cxn ang="0">
                <a:pos x="connsiteX54990" y="connsiteY54990"/>
              </a:cxn>
              <a:cxn ang="0">
                <a:pos x="connsiteX54991" y="connsiteY54991"/>
              </a:cxn>
              <a:cxn ang="0">
                <a:pos x="connsiteX54992" y="connsiteY54992"/>
              </a:cxn>
              <a:cxn ang="0">
                <a:pos x="connsiteX54993" y="connsiteY54993"/>
              </a:cxn>
              <a:cxn ang="0">
                <a:pos x="connsiteX54994" y="connsiteY54994"/>
              </a:cxn>
              <a:cxn ang="0">
                <a:pos x="connsiteX54995" y="connsiteY54995"/>
              </a:cxn>
              <a:cxn ang="0">
                <a:pos x="connsiteX54996" y="connsiteY54996"/>
              </a:cxn>
              <a:cxn ang="0">
                <a:pos x="connsiteX54997" y="connsiteY54997"/>
              </a:cxn>
              <a:cxn ang="0">
                <a:pos x="connsiteX54998" y="connsiteY54998"/>
              </a:cxn>
              <a:cxn ang="0">
                <a:pos x="connsiteX54999" y="connsiteY54999"/>
              </a:cxn>
              <a:cxn ang="0">
                <a:pos x="connsiteX55000" y="connsiteY55000"/>
              </a:cxn>
              <a:cxn ang="0">
                <a:pos x="connsiteX55001" y="connsiteY55001"/>
              </a:cxn>
              <a:cxn ang="0">
                <a:pos x="connsiteX55002" y="connsiteY55002"/>
              </a:cxn>
              <a:cxn ang="0">
                <a:pos x="connsiteX55003" y="connsiteY55003"/>
              </a:cxn>
              <a:cxn ang="0">
                <a:pos x="connsiteX55004" y="connsiteY55004"/>
              </a:cxn>
              <a:cxn ang="0">
                <a:pos x="connsiteX55005" y="connsiteY55005"/>
              </a:cxn>
              <a:cxn ang="0">
                <a:pos x="connsiteX55006" y="connsiteY55006"/>
              </a:cxn>
              <a:cxn ang="0">
                <a:pos x="connsiteX55007" y="connsiteY55007"/>
              </a:cxn>
              <a:cxn ang="0">
                <a:pos x="connsiteX55008" y="connsiteY55008"/>
              </a:cxn>
              <a:cxn ang="0">
                <a:pos x="connsiteX55009" y="connsiteY55009"/>
              </a:cxn>
              <a:cxn ang="0">
                <a:pos x="connsiteX55010" y="connsiteY55010"/>
              </a:cxn>
              <a:cxn ang="0">
                <a:pos x="connsiteX55011" y="connsiteY55011"/>
              </a:cxn>
              <a:cxn ang="0">
                <a:pos x="connsiteX55012" y="connsiteY55012"/>
              </a:cxn>
              <a:cxn ang="0">
                <a:pos x="connsiteX55013" y="connsiteY55013"/>
              </a:cxn>
              <a:cxn ang="0">
                <a:pos x="connsiteX55014" y="connsiteY55014"/>
              </a:cxn>
              <a:cxn ang="0">
                <a:pos x="connsiteX55015" y="connsiteY55015"/>
              </a:cxn>
              <a:cxn ang="0">
                <a:pos x="connsiteX55016" y="connsiteY55016"/>
              </a:cxn>
              <a:cxn ang="0">
                <a:pos x="connsiteX55017" y="connsiteY55017"/>
              </a:cxn>
              <a:cxn ang="0">
                <a:pos x="connsiteX55018" y="connsiteY55018"/>
              </a:cxn>
              <a:cxn ang="0">
                <a:pos x="connsiteX55019" y="connsiteY55019"/>
              </a:cxn>
              <a:cxn ang="0">
                <a:pos x="connsiteX55020" y="connsiteY55020"/>
              </a:cxn>
              <a:cxn ang="0">
                <a:pos x="connsiteX55021" y="connsiteY55021"/>
              </a:cxn>
              <a:cxn ang="0">
                <a:pos x="connsiteX55022" y="connsiteY55022"/>
              </a:cxn>
              <a:cxn ang="0">
                <a:pos x="connsiteX55023" y="connsiteY55023"/>
              </a:cxn>
              <a:cxn ang="0">
                <a:pos x="connsiteX55024" y="connsiteY55024"/>
              </a:cxn>
              <a:cxn ang="0">
                <a:pos x="connsiteX55025" y="connsiteY55025"/>
              </a:cxn>
              <a:cxn ang="0">
                <a:pos x="connsiteX55026" y="connsiteY55026"/>
              </a:cxn>
              <a:cxn ang="0">
                <a:pos x="connsiteX55027" y="connsiteY55027"/>
              </a:cxn>
              <a:cxn ang="0">
                <a:pos x="connsiteX55028" y="connsiteY55028"/>
              </a:cxn>
              <a:cxn ang="0">
                <a:pos x="connsiteX55029" y="connsiteY55029"/>
              </a:cxn>
              <a:cxn ang="0">
                <a:pos x="connsiteX55030" y="connsiteY55030"/>
              </a:cxn>
              <a:cxn ang="0">
                <a:pos x="connsiteX55031" y="connsiteY55031"/>
              </a:cxn>
              <a:cxn ang="0">
                <a:pos x="connsiteX55032" y="connsiteY55032"/>
              </a:cxn>
              <a:cxn ang="0">
                <a:pos x="connsiteX55033" y="connsiteY55033"/>
              </a:cxn>
              <a:cxn ang="0">
                <a:pos x="connsiteX55034" y="connsiteY55034"/>
              </a:cxn>
              <a:cxn ang="0">
                <a:pos x="connsiteX55035" y="connsiteY55035"/>
              </a:cxn>
              <a:cxn ang="0">
                <a:pos x="connsiteX55036" y="connsiteY55036"/>
              </a:cxn>
              <a:cxn ang="0">
                <a:pos x="connsiteX55037" y="connsiteY55037"/>
              </a:cxn>
              <a:cxn ang="0">
                <a:pos x="connsiteX55038" y="connsiteY55038"/>
              </a:cxn>
              <a:cxn ang="0">
                <a:pos x="connsiteX55039" y="connsiteY55039"/>
              </a:cxn>
              <a:cxn ang="0">
                <a:pos x="connsiteX55040" y="connsiteY55040"/>
              </a:cxn>
              <a:cxn ang="0">
                <a:pos x="connsiteX55041" y="connsiteY55041"/>
              </a:cxn>
              <a:cxn ang="0">
                <a:pos x="connsiteX55042" y="connsiteY55042"/>
              </a:cxn>
              <a:cxn ang="0">
                <a:pos x="connsiteX55043" y="connsiteY55043"/>
              </a:cxn>
              <a:cxn ang="0">
                <a:pos x="connsiteX55044" y="connsiteY55044"/>
              </a:cxn>
              <a:cxn ang="0">
                <a:pos x="connsiteX55045" y="connsiteY55045"/>
              </a:cxn>
              <a:cxn ang="0">
                <a:pos x="connsiteX55046" y="connsiteY55046"/>
              </a:cxn>
              <a:cxn ang="0">
                <a:pos x="connsiteX55047" y="connsiteY55047"/>
              </a:cxn>
              <a:cxn ang="0">
                <a:pos x="connsiteX55048" y="connsiteY55048"/>
              </a:cxn>
              <a:cxn ang="0">
                <a:pos x="connsiteX55049" y="connsiteY55049"/>
              </a:cxn>
              <a:cxn ang="0">
                <a:pos x="connsiteX55050" y="connsiteY55050"/>
              </a:cxn>
              <a:cxn ang="0">
                <a:pos x="connsiteX55051" y="connsiteY55051"/>
              </a:cxn>
              <a:cxn ang="0">
                <a:pos x="connsiteX55052" y="connsiteY55052"/>
              </a:cxn>
              <a:cxn ang="0">
                <a:pos x="connsiteX55053" y="connsiteY55053"/>
              </a:cxn>
              <a:cxn ang="0">
                <a:pos x="connsiteX55054" y="connsiteY55054"/>
              </a:cxn>
              <a:cxn ang="0">
                <a:pos x="connsiteX55055" y="connsiteY55055"/>
              </a:cxn>
              <a:cxn ang="0">
                <a:pos x="connsiteX55056" y="connsiteY55056"/>
              </a:cxn>
              <a:cxn ang="0">
                <a:pos x="connsiteX55057" y="connsiteY55057"/>
              </a:cxn>
              <a:cxn ang="0">
                <a:pos x="connsiteX55058" y="connsiteY55058"/>
              </a:cxn>
              <a:cxn ang="0">
                <a:pos x="connsiteX55059" y="connsiteY55059"/>
              </a:cxn>
              <a:cxn ang="0">
                <a:pos x="connsiteX55060" y="connsiteY55060"/>
              </a:cxn>
              <a:cxn ang="0">
                <a:pos x="connsiteX55061" y="connsiteY55061"/>
              </a:cxn>
              <a:cxn ang="0">
                <a:pos x="connsiteX55062" y="connsiteY55062"/>
              </a:cxn>
              <a:cxn ang="0">
                <a:pos x="connsiteX55063" y="connsiteY55063"/>
              </a:cxn>
              <a:cxn ang="0">
                <a:pos x="connsiteX55064" y="connsiteY55064"/>
              </a:cxn>
              <a:cxn ang="0">
                <a:pos x="connsiteX55065" y="connsiteY55065"/>
              </a:cxn>
              <a:cxn ang="0">
                <a:pos x="connsiteX55066" y="connsiteY55066"/>
              </a:cxn>
              <a:cxn ang="0">
                <a:pos x="connsiteX55067" y="connsiteY55067"/>
              </a:cxn>
              <a:cxn ang="0">
                <a:pos x="connsiteX55068" y="connsiteY55068"/>
              </a:cxn>
              <a:cxn ang="0">
                <a:pos x="connsiteX55069" y="connsiteY55069"/>
              </a:cxn>
              <a:cxn ang="0">
                <a:pos x="connsiteX55070" y="connsiteY55070"/>
              </a:cxn>
              <a:cxn ang="0">
                <a:pos x="connsiteX55071" y="connsiteY55071"/>
              </a:cxn>
              <a:cxn ang="0">
                <a:pos x="connsiteX55072" y="connsiteY55072"/>
              </a:cxn>
              <a:cxn ang="0">
                <a:pos x="connsiteX55073" y="connsiteY55073"/>
              </a:cxn>
              <a:cxn ang="0">
                <a:pos x="connsiteX55074" y="connsiteY55074"/>
              </a:cxn>
              <a:cxn ang="0">
                <a:pos x="connsiteX55075" y="connsiteY55075"/>
              </a:cxn>
              <a:cxn ang="0">
                <a:pos x="connsiteX55076" y="connsiteY55076"/>
              </a:cxn>
              <a:cxn ang="0">
                <a:pos x="connsiteX55077" y="connsiteY55077"/>
              </a:cxn>
              <a:cxn ang="0">
                <a:pos x="connsiteX55078" y="connsiteY55078"/>
              </a:cxn>
              <a:cxn ang="0">
                <a:pos x="connsiteX55079" y="connsiteY55079"/>
              </a:cxn>
              <a:cxn ang="0">
                <a:pos x="connsiteX55080" y="connsiteY55080"/>
              </a:cxn>
              <a:cxn ang="0">
                <a:pos x="connsiteX55081" y="connsiteY55081"/>
              </a:cxn>
              <a:cxn ang="0">
                <a:pos x="connsiteX55082" y="connsiteY55082"/>
              </a:cxn>
              <a:cxn ang="0">
                <a:pos x="connsiteX55083" y="connsiteY55083"/>
              </a:cxn>
              <a:cxn ang="0">
                <a:pos x="connsiteX55084" y="connsiteY55084"/>
              </a:cxn>
              <a:cxn ang="0">
                <a:pos x="connsiteX55085" y="connsiteY55085"/>
              </a:cxn>
              <a:cxn ang="0">
                <a:pos x="connsiteX55086" y="connsiteY55086"/>
              </a:cxn>
              <a:cxn ang="0">
                <a:pos x="connsiteX55087" y="connsiteY55087"/>
              </a:cxn>
              <a:cxn ang="0">
                <a:pos x="connsiteX55088" y="connsiteY55088"/>
              </a:cxn>
              <a:cxn ang="0">
                <a:pos x="connsiteX55089" y="connsiteY55089"/>
              </a:cxn>
              <a:cxn ang="0">
                <a:pos x="connsiteX55090" y="connsiteY55090"/>
              </a:cxn>
              <a:cxn ang="0">
                <a:pos x="connsiteX55091" y="connsiteY55091"/>
              </a:cxn>
              <a:cxn ang="0">
                <a:pos x="connsiteX55092" y="connsiteY55092"/>
              </a:cxn>
              <a:cxn ang="0">
                <a:pos x="connsiteX55093" y="connsiteY55093"/>
              </a:cxn>
              <a:cxn ang="0">
                <a:pos x="connsiteX55094" y="connsiteY55094"/>
              </a:cxn>
              <a:cxn ang="0">
                <a:pos x="connsiteX55095" y="connsiteY55095"/>
              </a:cxn>
              <a:cxn ang="0">
                <a:pos x="connsiteX55096" y="connsiteY55096"/>
              </a:cxn>
              <a:cxn ang="0">
                <a:pos x="connsiteX55097" y="connsiteY55097"/>
              </a:cxn>
              <a:cxn ang="0">
                <a:pos x="connsiteX55098" y="connsiteY55098"/>
              </a:cxn>
              <a:cxn ang="0">
                <a:pos x="connsiteX55099" y="connsiteY55099"/>
              </a:cxn>
              <a:cxn ang="0">
                <a:pos x="connsiteX55100" y="connsiteY55100"/>
              </a:cxn>
              <a:cxn ang="0">
                <a:pos x="connsiteX55101" y="connsiteY55101"/>
              </a:cxn>
              <a:cxn ang="0">
                <a:pos x="connsiteX55102" y="connsiteY55102"/>
              </a:cxn>
              <a:cxn ang="0">
                <a:pos x="connsiteX55103" y="connsiteY55103"/>
              </a:cxn>
              <a:cxn ang="0">
                <a:pos x="connsiteX55104" y="connsiteY55104"/>
              </a:cxn>
              <a:cxn ang="0">
                <a:pos x="connsiteX55105" y="connsiteY55105"/>
              </a:cxn>
              <a:cxn ang="0">
                <a:pos x="connsiteX55106" y="connsiteY55106"/>
              </a:cxn>
              <a:cxn ang="0">
                <a:pos x="connsiteX55107" y="connsiteY55107"/>
              </a:cxn>
              <a:cxn ang="0">
                <a:pos x="connsiteX55108" y="connsiteY55108"/>
              </a:cxn>
              <a:cxn ang="0">
                <a:pos x="connsiteX55109" y="connsiteY55109"/>
              </a:cxn>
              <a:cxn ang="0">
                <a:pos x="connsiteX55110" y="connsiteY55110"/>
              </a:cxn>
              <a:cxn ang="0">
                <a:pos x="connsiteX55111" y="connsiteY55111"/>
              </a:cxn>
              <a:cxn ang="0">
                <a:pos x="connsiteX55112" y="connsiteY55112"/>
              </a:cxn>
              <a:cxn ang="0">
                <a:pos x="connsiteX55113" y="connsiteY55113"/>
              </a:cxn>
              <a:cxn ang="0">
                <a:pos x="connsiteX55114" y="connsiteY55114"/>
              </a:cxn>
              <a:cxn ang="0">
                <a:pos x="connsiteX55115" y="connsiteY55115"/>
              </a:cxn>
              <a:cxn ang="0">
                <a:pos x="connsiteX55116" y="connsiteY55116"/>
              </a:cxn>
              <a:cxn ang="0">
                <a:pos x="connsiteX55117" y="connsiteY55117"/>
              </a:cxn>
              <a:cxn ang="0">
                <a:pos x="connsiteX55118" y="connsiteY55118"/>
              </a:cxn>
              <a:cxn ang="0">
                <a:pos x="connsiteX55119" y="connsiteY55119"/>
              </a:cxn>
              <a:cxn ang="0">
                <a:pos x="connsiteX55120" y="connsiteY55120"/>
              </a:cxn>
              <a:cxn ang="0">
                <a:pos x="connsiteX55121" y="connsiteY55121"/>
              </a:cxn>
              <a:cxn ang="0">
                <a:pos x="connsiteX55122" y="connsiteY55122"/>
              </a:cxn>
              <a:cxn ang="0">
                <a:pos x="connsiteX55123" y="connsiteY55123"/>
              </a:cxn>
              <a:cxn ang="0">
                <a:pos x="connsiteX55124" y="connsiteY55124"/>
              </a:cxn>
              <a:cxn ang="0">
                <a:pos x="connsiteX55125" y="connsiteY55125"/>
              </a:cxn>
              <a:cxn ang="0">
                <a:pos x="connsiteX55126" y="connsiteY55126"/>
              </a:cxn>
              <a:cxn ang="0">
                <a:pos x="connsiteX55127" y="connsiteY55127"/>
              </a:cxn>
              <a:cxn ang="0">
                <a:pos x="connsiteX55128" y="connsiteY55128"/>
              </a:cxn>
              <a:cxn ang="0">
                <a:pos x="connsiteX55129" y="connsiteY55129"/>
              </a:cxn>
              <a:cxn ang="0">
                <a:pos x="connsiteX55130" y="connsiteY55130"/>
              </a:cxn>
              <a:cxn ang="0">
                <a:pos x="connsiteX55131" y="connsiteY55131"/>
              </a:cxn>
              <a:cxn ang="0">
                <a:pos x="connsiteX55132" y="connsiteY55132"/>
              </a:cxn>
              <a:cxn ang="0">
                <a:pos x="connsiteX55133" y="connsiteY55133"/>
              </a:cxn>
              <a:cxn ang="0">
                <a:pos x="connsiteX55134" y="connsiteY55134"/>
              </a:cxn>
              <a:cxn ang="0">
                <a:pos x="connsiteX55135" y="connsiteY55135"/>
              </a:cxn>
              <a:cxn ang="0">
                <a:pos x="connsiteX55136" y="connsiteY55136"/>
              </a:cxn>
              <a:cxn ang="0">
                <a:pos x="connsiteX55137" y="connsiteY55137"/>
              </a:cxn>
              <a:cxn ang="0">
                <a:pos x="connsiteX55138" y="connsiteY55138"/>
              </a:cxn>
              <a:cxn ang="0">
                <a:pos x="connsiteX55139" y="connsiteY55139"/>
              </a:cxn>
              <a:cxn ang="0">
                <a:pos x="connsiteX55140" y="connsiteY55140"/>
              </a:cxn>
              <a:cxn ang="0">
                <a:pos x="connsiteX55141" y="connsiteY55141"/>
              </a:cxn>
              <a:cxn ang="0">
                <a:pos x="connsiteX55142" y="connsiteY55142"/>
              </a:cxn>
              <a:cxn ang="0">
                <a:pos x="connsiteX55143" y="connsiteY55143"/>
              </a:cxn>
              <a:cxn ang="0">
                <a:pos x="connsiteX55144" y="connsiteY55144"/>
              </a:cxn>
              <a:cxn ang="0">
                <a:pos x="connsiteX55145" y="connsiteY55145"/>
              </a:cxn>
              <a:cxn ang="0">
                <a:pos x="connsiteX55146" y="connsiteY55146"/>
              </a:cxn>
              <a:cxn ang="0">
                <a:pos x="connsiteX55147" y="connsiteY55147"/>
              </a:cxn>
              <a:cxn ang="0">
                <a:pos x="connsiteX55148" y="connsiteY55148"/>
              </a:cxn>
              <a:cxn ang="0">
                <a:pos x="connsiteX55149" y="connsiteY55149"/>
              </a:cxn>
              <a:cxn ang="0">
                <a:pos x="connsiteX55150" y="connsiteY55150"/>
              </a:cxn>
              <a:cxn ang="0">
                <a:pos x="connsiteX55151" y="connsiteY55151"/>
              </a:cxn>
              <a:cxn ang="0">
                <a:pos x="connsiteX55152" y="connsiteY55152"/>
              </a:cxn>
              <a:cxn ang="0">
                <a:pos x="connsiteX55153" y="connsiteY55153"/>
              </a:cxn>
              <a:cxn ang="0">
                <a:pos x="connsiteX55154" y="connsiteY55154"/>
              </a:cxn>
              <a:cxn ang="0">
                <a:pos x="connsiteX55155" y="connsiteY55155"/>
              </a:cxn>
              <a:cxn ang="0">
                <a:pos x="connsiteX55156" y="connsiteY55156"/>
              </a:cxn>
              <a:cxn ang="0">
                <a:pos x="connsiteX55157" y="connsiteY55157"/>
              </a:cxn>
              <a:cxn ang="0">
                <a:pos x="connsiteX55158" y="connsiteY55158"/>
              </a:cxn>
              <a:cxn ang="0">
                <a:pos x="connsiteX55159" y="connsiteY55159"/>
              </a:cxn>
              <a:cxn ang="0">
                <a:pos x="connsiteX55160" y="connsiteY55160"/>
              </a:cxn>
              <a:cxn ang="0">
                <a:pos x="connsiteX55161" y="connsiteY55161"/>
              </a:cxn>
              <a:cxn ang="0">
                <a:pos x="connsiteX55162" y="connsiteY55162"/>
              </a:cxn>
              <a:cxn ang="0">
                <a:pos x="connsiteX55163" y="connsiteY55163"/>
              </a:cxn>
              <a:cxn ang="0">
                <a:pos x="connsiteX55164" y="connsiteY55164"/>
              </a:cxn>
              <a:cxn ang="0">
                <a:pos x="connsiteX55165" y="connsiteY55165"/>
              </a:cxn>
              <a:cxn ang="0">
                <a:pos x="connsiteX55166" y="connsiteY55166"/>
              </a:cxn>
              <a:cxn ang="0">
                <a:pos x="connsiteX55167" y="connsiteY55167"/>
              </a:cxn>
              <a:cxn ang="0">
                <a:pos x="connsiteX55168" y="connsiteY55168"/>
              </a:cxn>
              <a:cxn ang="0">
                <a:pos x="connsiteX55169" y="connsiteY55169"/>
              </a:cxn>
              <a:cxn ang="0">
                <a:pos x="connsiteX55170" y="connsiteY55170"/>
              </a:cxn>
              <a:cxn ang="0">
                <a:pos x="connsiteX55171" y="connsiteY55171"/>
              </a:cxn>
              <a:cxn ang="0">
                <a:pos x="connsiteX55172" y="connsiteY55172"/>
              </a:cxn>
              <a:cxn ang="0">
                <a:pos x="connsiteX55173" y="connsiteY55173"/>
              </a:cxn>
              <a:cxn ang="0">
                <a:pos x="connsiteX55174" y="connsiteY55174"/>
              </a:cxn>
              <a:cxn ang="0">
                <a:pos x="connsiteX55175" y="connsiteY55175"/>
              </a:cxn>
              <a:cxn ang="0">
                <a:pos x="connsiteX55176" y="connsiteY55176"/>
              </a:cxn>
              <a:cxn ang="0">
                <a:pos x="connsiteX55177" y="connsiteY55177"/>
              </a:cxn>
              <a:cxn ang="0">
                <a:pos x="connsiteX55178" y="connsiteY55178"/>
              </a:cxn>
              <a:cxn ang="0">
                <a:pos x="connsiteX55179" y="connsiteY55179"/>
              </a:cxn>
              <a:cxn ang="0">
                <a:pos x="connsiteX55180" y="connsiteY55180"/>
              </a:cxn>
              <a:cxn ang="0">
                <a:pos x="connsiteX55181" y="connsiteY55181"/>
              </a:cxn>
              <a:cxn ang="0">
                <a:pos x="connsiteX55182" y="connsiteY55182"/>
              </a:cxn>
              <a:cxn ang="0">
                <a:pos x="connsiteX55183" y="connsiteY55183"/>
              </a:cxn>
              <a:cxn ang="0">
                <a:pos x="connsiteX55184" y="connsiteY55184"/>
              </a:cxn>
              <a:cxn ang="0">
                <a:pos x="connsiteX55185" y="connsiteY55185"/>
              </a:cxn>
              <a:cxn ang="0">
                <a:pos x="connsiteX55186" y="connsiteY55186"/>
              </a:cxn>
              <a:cxn ang="0">
                <a:pos x="connsiteX55187" y="connsiteY55187"/>
              </a:cxn>
              <a:cxn ang="0">
                <a:pos x="connsiteX55188" y="connsiteY55188"/>
              </a:cxn>
              <a:cxn ang="0">
                <a:pos x="connsiteX55189" y="connsiteY55189"/>
              </a:cxn>
              <a:cxn ang="0">
                <a:pos x="connsiteX55190" y="connsiteY55190"/>
              </a:cxn>
              <a:cxn ang="0">
                <a:pos x="connsiteX55191" y="connsiteY55191"/>
              </a:cxn>
              <a:cxn ang="0">
                <a:pos x="connsiteX55192" y="connsiteY55192"/>
              </a:cxn>
              <a:cxn ang="0">
                <a:pos x="connsiteX55193" y="connsiteY55193"/>
              </a:cxn>
              <a:cxn ang="0">
                <a:pos x="connsiteX55194" y="connsiteY55194"/>
              </a:cxn>
              <a:cxn ang="0">
                <a:pos x="connsiteX55195" y="connsiteY55195"/>
              </a:cxn>
              <a:cxn ang="0">
                <a:pos x="connsiteX55196" y="connsiteY55196"/>
              </a:cxn>
              <a:cxn ang="0">
                <a:pos x="connsiteX55197" y="connsiteY55197"/>
              </a:cxn>
              <a:cxn ang="0">
                <a:pos x="connsiteX55198" y="connsiteY55198"/>
              </a:cxn>
              <a:cxn ang="0">
                <a:pos x="connsiteX55199" y="connsiteY55199"/>
              </a:cxn>
              <a:cxn ang="0">
                <a:pos x="connsiteX55200" y="connsiteY55200"/>
              </a:cxn>
              <a:cxn ang="0">
                <a:pos x="connsiteX55201" y="connsiteY55201"/>
              </a:cxn>
              <a:cxn ang="0">
                <a:pos x="connsiteX55202" y="connsiteY55202"/>
              </a:cxn>
              <a:cxn ang="0">
                <a:pos x="connsiteX55203" y="connsiteY55203"/>
              </a:cxn>
              <a:cxn ang="0">
                <a:pos x="connsiteX55204" y="connsiteY55204"/>
              </a:cxn>
              <a:cxn ang="0">
                <a:pos x="connsiteX55205" y="connsiteY55205"/>
              </a:cxn>
              <a:cxn ang="0">
                <a:pos x="connsiteX55206" y="connsiteY55206"/>
              </a:cxn>
              <a:cxn ang="0">
                <a:pos x="connsiteX55207" y="connsiteY55207"/>
              </a:cxn>
              <a:cxn ang="0">
                <a:pos x="connsiteX55208" y="connsiteY55208"/>
              </a:cxn>
              <a:cxn ang="0">
                <a:pos x="connsiteX55209" y="connsiteY55209"/>
              </a:cxn>
              <a:cxn ang="0">
                <a:pos x="connsiteX55210" y="connsiteY55210"/>
              </a:cxn>
              <a:cxn ang="0">
                <a:pos x="connsiteX55211" y="connsiteY55211"/>
              </a:cxn>
              <a:cxn ang="0">
                <a:pos x="connsiteX55212" y="connsiteY55212"/>
              </a:cxn>
              <a:cxn ang="0">
                <a:pos x="connsiteX55213" y="connsiteY55213"/>
              </a:cxn>
              <a:cxn ang="0">
                <a:pos x="connsiteX55214" y="connsiteY55214"/>
              </a:cxn>
              <a:cxn ang="0">
                <a:pos x="connsiteX55215" y="connsiteY55215"/>
              </a:cxn>
              <a:cxn ang="0">
                <a:pos x="connsiteX55216" y="connsiteY55216"/>
              </a:cxn>
              <a:cxn ang="0">
                <a:pos x="connsiteX55217" y="connsiteY55217"/>
              </a:cxn>
              <a:cxn ang="0">
                <a:pos x="connsiteX55218" y="connsiteY55218"/>
              </a:cxn>
              <a:cxn ang="0">
                <a:pos x="connsiteX55219" y="connsiteY55219"/>
              </a:cxn>
              <a:cxn ang="0">
                <a:pos x="connsiteX55220" y="connsiteY55220"/>
              </a:cxn>
              <a:cxn ang="0">
                <a:pos x="connsiteX55221" y="connsiteY55221"/>
              </a:cxn>
              <a:cxn ang="0">
                <a:pos x="connsiteX55222" y="connsiteY55222"/>
              </a:cxn>
              <a:cxn ang="0">
                <a:pos x="connsiteX55223" y="connsiteY55223"/>
              </a:cxn>
              <a:cxn ang="0">
                <a:pos x="connsiteX55224" y="connsiteY55224"/>
              </a:cxn>
              <a:cxn ang="0">
                <a:pos x="connsiteX55225" y="connsiteY55225"/>
              </a:cxn>
              <a:cxn ang="0">
                <a:pos x="connsiteX55226" y="connsiteY55226"/>
              </a:cxn>
              <a:cxn ang="0">
                <a:pos x="connsiteX55227" y="connsiteY55227"/>
              </a:cxn>
              <a:cxn ang="0">
                <a:pos x="connsiteX55228" y="connsiteY55228"/>
              </a:cxn>
              <a:cxn ang="0">
                <a:pos x="connsiteX55229" y="connsiteY55229"/>
              </a:cxn>
              <a:cxn ang="0">
                <a:pos x="connsiteX55230" y="connsiteY55230"/>
              </a:cxn>
              <a:cxn ang="0">
                <a:pos x="connsiteX55231" y="connsiteY55231"/>
              </a:cxn>
              <a:cxn ang="0">
                <a:pos x="connsiteX55232" y="connsiteY55232"/>
              </a:cxn>
              <a:cxn ang="0">
                <a:pos x="connsiteX55233" y="connsiteY55233"/>
              </a:cxn>
              <a:cxn ang="0">
                <a:pos x="connsiteX55234" y="connsiteY55234"/>
              </a:cxn>
              <a:cxn ang="0">
                <a:pos x="connsiteX55235" y="connsiteY55235"/>
              </a:cxn>
              <a:cxn ang="0">
                <a:pos x="connsiteX55236" y="connsiteY55236"/>
              </a:cxn>
              <a:cxn ang="0">
                <a:pos x="connsiteX55237" y="connsiteY55237"/>
              </a:cxn>
              <a:cxn ang="0">
                <a:pos x="connsiteX55238" y="connsiteY55238"/>
              </a:cxn>
              <a:cxn ang="0">
                <a:pos x="connsiteX55239" y="connsiteY55239"/>
              </a:cxn>
              <a:cxn ang="0">
                <a:pos x="connsiteX55240" y="connsiteY55240"/>
              </a:cxn>
              <a:cxn ang="0">
                <a:pos x="connsiteX55241" y="connsiteY55241"/>
              </a:cxn>
              <a:cxn ang="0">
                <a:pos x="connsiteX55242" y="connsiteY55242"/>
              </a:cxn>
              <a:cxn ang="0">
                <a:pos x="connsiteX55243" y="connsiteY55243"/>
              </a:cxn>
              <a:cxn ang="0">
                <a:pos x="connsiteX55244" y="connsiteY55244"/>
              </a:cxn>
              <a:cxn ang="0">
                <a:pos x="connsiteX55245" y="connsiteY55245"/>
              </a:cxn>
              <a:cxn ang="0">
                <a:pos x="connsiteX55246" y="connsiteY55246"/>
              </a:cxn>
              <a:cxn ang="0">
                <a:pos x="connsiteX55247" y="connsiteY55247"/>
              </a:cxn>
              <a:cxn ang="0">
                <a:pos x="connsiteX55248" y="connsiteY55248"/>
              </a:cxn>
              <a:cxn ang="0">
                <a:pos x="connsiteX55249" y="connsiteY55249"/>
              </a:cxn>
              <a:cxn ang="0">
                <a:pos x="connsiteX55250" y="connsiteY55250"/>
              </a:cxn>
              <a:cxn ang="0">
                <a:pos x="connsiteX55251" y="connsiteY55251"/>
              </a:cxn>
              <a:cxn ang="0">
                <a:pos x="connsiteX55252" y="connsiteY55252"/>
              </a:cxn>
              <a:cxn ang="0">
                <a:pos x="connsiteX55253" y="connsiteY55253"/>
              </a:cxn>
              <a:cxn ang="0">
                <a:pos x="connsiteX55254" y="connsiteY55254"/>
              </a:cxn>
              <a:cxn ang="0">
                <a:pos x="connsiteX55255" y="connsiteY55255"/>
              </a:cxn>
              <a:cxn ang="0">
                <a:pos x="connsiteX55256" y="connsiteY55256"/>
              </a:cxn>
              <a:cxn ang="0">
                <a:pos x="connsiteX55257" y="connsiteY55257"/>
              </a:cxn>
              <a:cxn ang="0">
                <a:pos x="connsiteX55258" y="connsiteY55258"/>
              </a:cxn>
              <a:cxn ang="0">
                <a:pos x="connsiteX55259" y="connsiteY55259"/>
              </a:cxn>
              <a:cxn ang="0">
                <a:pos x="connsiteX55260" y="connsiteY55260"/>
              </a:cxn>
              <a:cxn ang="0">
                <a:pos x="connsiteX55261" y="connsiteY55261"/>
              </a:cxn>
              <a:cxn ang="0">
                <a:pos x="connsiteX55262" y="connsiteY55262"/>
              </a:cxn>
              <a:cxn ang="0">
                <a:pos x="connsiteX55263" y="connsiteY55263"/>
              </a:cxn>
              <a:cxn ang="0">
                <a:pos x="connsiteX55264" y="connsiteY55264"/>
              </a:cxn>
              <a:cxn ang="0">
                <a:pos x="connsiteX55265" y="connsiteY55265"/>
              </a:cxn>
              <a:cxn ang="0">
                <a:pos x="connsiteX55266" y="connsiteY55266"/>
              </a:cxn>
              <a:cxn ang="0">
                <a:pos x="connsiteX55267" y="connsiteY55267"/>
              </a:cxn>
              <a:cxn ang="0">
                <a:pos x="connsiteX55268" y="connsiteY55268"/>
              </a:cxn>
              <a:cxn ang="0">
                <a:pos x="connsiteX55269" y="connsiteY55269"/>
              </a:cxn>
              <a:cxn ang="0">
                <a:pos x="connsiteX55270" y="connsiteY55270"/>
              </a:cxn>
              <a:cxn ang="0">
                <a:pos x="connsiteX55271" y="connsiteY55271"/>
              </a:cxn>
              <a:cxn ang="0">
                <a:pos x="connsiteX55272" y="connsiteY55272"/>
              </a:cxn>
              <a:cxn ang="0">
                <a:pos x="connsiteX55273" y="connsiteY55273"/>
              </a:cxn>
              <a:cxn ang="0">
                <a:pos x="connsiteX55274" y="connsiteY55274"/>
              </a:cxn>
              <a:cxn ang="0">
                <a:pos x="connsiteX55275" y="connsiteY55275"/>
              </a:cxn>
              <a:cxn ang="0">
                <a:pos x="connsiteX55276" y="connsiteY55276"/>
              </a:cxn>
              <a:cxn ang="0">
                <a:pos x="connsiteX55277" y="connsiteY55277"/>
              </a:cxn>
              <a:cxn ang="0">
                <a:pos x="connsiteX55278" y="connsiteY55278"/>
              </a:cxn>
              <a:cxn ang="0">
                <a:pos x="connsiteX55279" y="connsiteY55279"/>
              </a:cxn>
              <a:cxn ang="0">
                <a:pos x="connsiteX55280" y="connsiteY55280"/>
              </a:cxn>
              <a:cxn ang="0">
                <a:pos x="connsiteX55281" y="connsiteY55281"/>
              </a:cxn>
              <a:cxn ang="0">
                <a:pos x="connsiteX55282" y="connsiteY55282"/>
              </a:cxn>
              <a:cxn ang="0">
                <a:pos x="connsiteX55283" y="connsiteY55283"/>
              </a:cxn>
              <a:cxn ang="0">
                <a:pos x="connsiteX55284" y="connsiteY55284"/>
              </a:cxn>
              <a:cxn ang="0">
                <a:pos x="connsiteX55285" y="connsiteY55285"/>
              </a:cxn>
              <a:cxn ang="0">
                <a:pos x="connsiteX55286" y="connsiteY55286"/>
              </a:cxn>
              <a:cxn ang="0">
                <a:pos x="connsiteX55287" y="connsiteY55287"/>
              </a:cxn>
              <a:cxn ang="0">
                <a:pos x="connsiteX55288" y="connsiteY55288"/>
              </a:cxn>
              <a:cxn ang="0">
                <a:pos x="connsiteX55289" y="connsiteY55289"/>
              </a:cxn>
              <a:cxn ang="0">
                <a:pos x="connsiteX55290" y="connsiteY55290"/>
              </a:cxn>
              <a:cxn ang="0">
                <a:pos x="connsiteX55291" y="connsiteY55291"/>
              </a:cxn>
              <a:cxn ang="0">
                <a:pos x="connsiteX55292" y="connsiteY55292"/>
              </a:cxn>
              <a:cxn ang="0">
                <a:pos x="connsiteX55293" y="connsiteY55293"/>
              </a:cxn>
              <a:cxn ang="0">
                <a:pos x="connsiteX55294" y="connsiteY55294"/>
              </a:cxn>
              <a:cxn ang="0">
                <a:pos x="connsiteX55295" y="connsiteY55295"/>
              </a:cxn>
              <a:cxn ang="0">
                <a:pos x="connsiteX55296" y="connsiteY55296"/>
              </a:cxn>
              <a:cxn ang="0">
                <a:pos x="connsiteX55297" y="connsiteY55297"/>
              </a:cxn>
              <a:cxn ang="0">
                <a:pos x="connsiteX55298" y="connsiteY55298"/>
              </a:cxn>
              <a:cxn ang="0">
                <a:pos x="connsiteX55299" y="connsiteY55299"/>
              </a:cxn>
              <a:cxn ang="0">
                <a:pos x="connsiteX55300" y="connsiteY55300"/>
              </a:cxn>
              <a:cxn ang="0">
                <a:pos x="connsiteX55301" y="connsiteY55301"/>
              </a:cxn>
              <a:cxn ang="0">
                <a:pos x="connsiteX55302" y="connsiteY55302"/>
              </a:cxn>
              <a:cxn ang="0">
                <a:pos x="connsiteX55303" y="connsiteY55303"/>
              </a:cxn>
              <a:cxn ang="0">
                <a:pos x="connsiteX55304" y="connsiteY55304"/>
              </a:cxn>
              <a:cxn ang="0">
                <a:pos x="connsiteX55305" y="connsiteY55305"/>
              </a:cxn>
              <a:cxn ang="0">
                <a:pos x="connsiteX55306" y="connsiteY55306"/>
              </a:cxn>
              <a:cxn ang="0">
                <a:pos x="connsiteX55307" y="connsiteY55307"/>
              </a:cxn>
              <a:cxn ang="0">
                <a:pos x="connsiteX55308" y="connsiteY55308"/>
              </a:cxn>
              <a:cxn ang="0">
                <a:pos x="connsiteX55309" y="connsiteY55309"/>
              </a:cxn>
              <a:cxn ang="0">
                <a:pos x="connsiteX55310" y="connsiteY55310"/>
              </a:cxn>
              <a:cxn ang="0">
                <a:pos x="connsiteX55311" y="connsiteY55311"/>
              </a:cxn>
              <a:cxn ang="0">
                <a:pos x="connsiteX55312" y="connsiteY55312"/>
              </a:cxn>
              <a:cxn ang="0">
                <a:pos x="connsiteX55313" y="connsiteY55313"/>
              </a:cxn>
              <a:cxn ang="0">
                <a:pos x="connsiteX55314" y="connsiteY55314"/>
              </a:cxn>
              <a:cxn ang="0">
                <a:pos x="connsiteX55315" y="connsiteY55315"/>
              </a:cxn>
              <a:cxn ang="0">
                <a:pos x="connsiteX55316" y="connsiteY55316"/>
              </a:cxn>
              <a:cxn ang="0">
                <a:pos x="connsiteX55317" y="connsiteY55317"/>
              </a:cxn>
              <a:cxn ang="0">
                <a:pos x="connsiteX55318" y="connsiteY55318"/>
              </a:cxn>
              <a:cxn ang="0">
                <a:pos x="connsiteX55319" y="connsiteY55319"/>
              </a:cxn>
              <a:cxn ang="0">
                <a:pos x="connsiteX55320" y="connsiteY55320"/>
              </a:cxn>
              <a:cxn ang="0">
                <a:pos x="connsiteX55321" y="connsiteY55321"/>
              </a:cxn>
              <a:cxn ang="0">
                <a:pos x="connsiteX55322" y="connsiteY55322"/>
              </a:cxn>
              <a:cxn ang="0">
                <a:pos x="connsiteX55323" y="connsiteY55323"/>
              </a:cxn>
              <a:cxn ang="0">
                <a:pos x="connsiteX55324" y="connsiteY55324"/>
              </a:cxn>
              <a:cxn ang="0">
                <a:pos x="connsiteX55325" y="connsiteY55325"/>
              </a:cxn>
              <a:cxn ang="0">
                <a:pos x="connsiteX55326" y="connsiteY55326"/>
              </a:cxn>
              <a:cxn ang="0">
                <a:pos x="connsiteX55327" y="connsiteY55327"/>
              </a:cxn>
              <a:cxn ang="0">
                <a:pos x="connsiteX55328" y="connsiteY55328"/>
              </a:cxn>
              <a:cxn ang="0">
                <a:pos x="connsiteX55329" y="connsiteY55329"/>
              </a:cxn>
              <a:cxn ang="0">
                <a:pos x="connsiteX55330" y="connsiteY55330"/>
              </a:cxn>
              <a:cxn ang="0">
                <a:pos x="connsiteX55331" y="connsiteY55331"/>
              </a:cxn>
              <a:cxn ang="0">
                <a:pos x="connsiteX55332" y="connsiteY55332"/>
              </a:cxn>
              <a:cxn ang="0">
                <a:pos x="connsiteX55333" y="connsiteY55333"/>
              </a:cxn>
              <a:cxn ang="0">
                <a:pos x="connsiteX55334" y="connsiteY55334"/>
              </a:cxn>
              <a:cxn ang="0">
                <a:pos x="connsiteX55335" y="connsiteY55335"/>
              </a:cxn>
              <a:cxn ang="0">
                <a:pos x="connsiteX55336" y="connsiteY55336"/>
              </a:cxn>
              <a:cxn ang="0">
                <a:pos x="connsiteX55337" y="connsiteY55337"/>
              </a:cxn>
              <a:cxn ang="0">
                <a:pos x="connsiteX55338" y="connsiteY55338"/>
              </a:cxn>
              <a:cxn ang="0">
                <a:pos x="connsiteX55339" y="connsiteY55339"/>
              </a:cxn>
              <a:cxn ang="0">
                <a:pos x="connsiteX55340" y="connsiteY55340"/>
              </a:cxn>
              <a:cxn ang="0">
                <a:pos x="connsiteX55341" y="connsiteY55341"/>
              </a:cxn>
              <a:cxn ang="0">
                <a:pos x="connsiteX55342" y="connsiteY55342"/>
              </a:cxn>
              <a:cxn ang="0">
                <a:pos x="connsiteX55343" y="connsiteY55343"/>
              </a:cxn>
              <a:cxn ang="0">
                <a:pos x="connsiteX55344" y="connsiteY55344"/>
              </a:cxn>
              <a:cxn ang="0">
                <a:pos x="connsiteX55345" y="connsiteY55345"/>
              </a:cxn>
              <a:cxn ang="0">
                <a:pos x="connsiteX55346" y="connsiteY55346"/>
              </a:cxn>
              <a:cxn ang="0">
                <a:pos x="connsiteX55347" y="connsiteY55347"/>
              </a:cxn>
              <a:cxn ang="0">
                <a:pos x="connsiteX55348" y="connsiteY55348"/>
              </a:cxn>
              <a:cxn ang="0">
                <a:pos x="connsiteX55349" y="connsiteY55349"/>
              </a:cxn>
              <a:cxn ang="0">
                <a:pos x="connsiteX55350" y="connsiteY55350"/>
              </a:cxn>
              <a:cxn ang="0">
                <a:pos x="connsiteX55351" y="connsiteY55351"/>
              </a:cxn>
              <a:cxn ang="0">
                <a:pos x="connsiteX55352" y="connsiteY55352"/>
              </a:cxn>
              <a:cxn ang="0">
                <a:pos x="connsiteX55353" y="connsiteY55353"/>
              </a:cxn>
              <a:cxn ang="0">
                <a:pos x="connsiteX55354" y="connsiteY55354"/>
              </a:cxn>
              <a:cxn ang="0">
                <a:pos x="connsiteX55355" y="connsiteY55355"/>
              </a:cxn>
              <a:cxn ang="0">
                <a:pos x="connsiteX55356" y="connsiteY55356"/>
              </a:cxn>
              <a:cxn ang="0">
                <a:pos x="connsiteX55357" y="connsiteY55357"/>
              </a:cxn>
              <a:cxn ang="0">
                <a:pos x="connsiteX55358" y="connsiteY55358"/>
              </a:cxn>
              <a:cxn ang="0">
                <a:pos x="connsiteX55359" y="connsiteY55359"/>
              </a:cxn>
              <a:cxn ang="0">
                <a:pos x="connsiteX55360" y="connsiteY55360"/>
              </a:cxn>
              <a:cxn ang="0">
                <a:pos x="connsiteX55361" y="connsiteY55361"/>
              </a:cxn>
              <a:cxn ang="0">
                <a:pos x="connsiteX55362" y="connsiteY55362"/>
              </a:cxn>
              <a:cxn ang="0">
                <a:pos x="connsiteX55363" y="connsiteY55363"/>
              </a:cxn>
              <a:cxn ang="0">
                <a:pos x="connsiteX55364" y="connsiteY55364"/>
              </a:cxn>
              <a:cxn ang="0">
                <a:pos x="connsiteX55365" y="connsiteY55365"/>
              </a:cxn>
              <a:cxn ang="0">
                <a:pos x="connsiteX55366" y="connsiteY55366"/>
              </a:cxn>
              <a:cxn ang="0">
                <a:pos x="connsiteX55367" y="connsiteY55367"/>
              </a:cxn>
              <a:cxn ang="0">
                <a:pos x="connsiteX55368" y="connsiteY55368"/>
              </a:cxn>
              <a:cxn ang="0">
                <a:pos x="connsiteX55369" y="connsiteY55369"/>
              </a:cxn>
              <a:cxn ang="0">
                <a:pos x="connsiteX55370" y="connsiteY55370"/>
              </a:cxn>
              <a:cxn ang="0">
                <a:pos x="connsiteX55371" y="connsiteY55371"/>
              </a:cxn>
              <a:cxn ang="0">
                <a:pos x="connsiteX55372" y="connsiteY55372"/>
              </a:cxn>
              <a:cxn ang="0">
                <a:pos x="connsiteX55373" y="connsiteY55373"/>
              </a:cxn>
              <a:cxn ang="0">
                <a:pos x="connsiteX55374" y="connsiteY55374"/>
              </a:cxn>
              <a:cxn ang="0">
                <a:pos x="connsiteX55375" y="connsiteY55375"/>
              </a:cxn>
              <a:cxn ang="0">
                <a:pos x="connsiteX55376" y="connsiteY55376"/>
              </a:cxn>
              <a:cxn ang="0">
                <a:pos x="connsiteX55377" y="connsiteY55377"/>
              </a:cxn>
              <a:cxn ang="0">
                <a:pos x="connsiteX55378" y="connsiteY55378"/>
              </a:cxn>
              <a:cxn ang="0">
                <a:pos x="connsiteX55379" y="connsiteY55379"/>
              </a:cxn>
              <a:cxn ang="0">
                <a:pos x="connsiteX55380" y="connsiteY55380"/>
              </a:cxn>
              <a:cxn ang="0">
                <a:pos x="connsiteX55381" y="connsiteY55381"/>
              </a:cxn>
              <a:cxn ang="0">
                <a:pos x="connsiteX55382" y="connsiteY55382"/>
              </a:cxn>
              <a:cxn ang="0">
                <a:pos x="connsiteX55383" y="connsiteY55383"/>
              </a:cxn>
              <a:cxn ang="0">
                <a:pos x="connsiteX55384" y="connsiteY55384"/>
              </a:cxn>
              <a:cxn ang="0">
                <a:pos x="connsiteX55385" y="connsiteY55385"/>
              </a:cxn>
              <a:cxn ang="0">
                <a:pos x="connsiteX55386" y="connsiteY55386"/>
              </a:cxn>
              <a:cxn ang="0">
                <a:pos x="connsiteX55387" y="connsiteY55387"/>
              </a:cxn>
              <a:cxn ang="0">
                <a:pos x="connsiteX55388" y="connsiteY55388"/>
              </a:cxn>
              <a:cxn ang="0">
                <a:pos x="connsiteX55389" y="connsiteY55389"/>
              </a:cxn>
              <a:cxn ang="0">
                <a:pos x="connsiteX55390" y="connsiteY55390"/>
              </a:cxn>
              <a:cxn ang="0">
                <a:pos x="connsiteX55391" y="connsiteY55391"/>
              </a:cxn>
              <a:cxn ang="0">
                <a:pos x="connsiteX55392" y="connsiteY55392"/>
              </a:cxn>
              <a:cxn ang="0">
                <a:pos x="connsiteX55393" y="connsiteY55393"/>
              </a:cxn>
              <a:cxn ang="0">
                <a:pos x="connsiteX55394" y="connsiteY55394"/>
              </a:cxn>
              <a:cxn ang="0">
                <a:pos x="connsiteX55395" y="connsiteY55395"/>
              </a:cxn>
              <a:cxn ang="0">
                <a:pos x="connsiteX55396" y="connsiteY55396"/>
              </a:cxn>
              <a:cxn ang="0">
                <a:pos x="connsiteX55397" y="connsiteY55397"/>
              </a:cxn>
              <a:cxn ang="0">
                <a:pos x="connsiteX55398" y="connsiteY55398"/>
              </a:cxn>
              <a:cxn ang="0">
                <a:pos x="connsiteX55399" y="connsiteY55399"/>
              </a:cxn>
              <a:cxn ang="0">
                <a:pos x="connsiteX55400" y="connsiteY55400"/>
              </a:cxn>
              <a:cxn ang="0">
                <a:pos x="connsiteX55401" y="connsiteY55401"/>
              </a:cxn>
              <a:cxn ang="0">
                <a:pos x="connsiteX55402" y="connsiteY55402"/>
              </a:cxn>
              <a:cxn ang="0">
                <a:pos x="connsiteX55403" y="connsiteY55403"/>
              </a:cxn>
              <a:cxn ang="0">
                <a:pos x="connsiteX55404" y="connsiteY55404"/>
              </a:cxn>
              <a:cxn ang="0">
                <a:pos x="connsiteX55405" y="connsiteY55405"/>
              </a:cxn>
              <a:cxn ang="0">
                <a:pos x="connsiteX55406" y="connsiteY55406"/>
              </a:cxn>
              <a:cxn ang="0">
                <a:pos x="connsiteX55407" y="connsiteY55407"/>
              </a:cxn>
              <a:cxn ang="0">
                <a:pos x="connsiteX55408" y="connsiteY55408"/>
              </a:cxn>
              <a:cxn ang="0">
                <a:pos x="connsiteX55409" y="connsiteY55409"/>
              </a:cxn>
              <a:cxn ang="0">
                <a:pos x="connsiteX55410" y="connsiteY55410"/>
              </a:cxn>
              <a:cxn ang="0">
                <a:pos x="connsiteX55411" y="connsiteY55411"/>
              </a:cxn>
              <a:cxn ang="0">
                <a:pos x="connsiteX55412" y="connsiteY55412"/>
              </a:cxn>
              <a:cxn ang="0">
                <a:pos x="connsiteX55413" y="connsiteY55413"/>
              </a:cxn>
              <a:cxn ang="0">
                <a:pos x="connsiteX55414" y="connsiteY55414"/>
              </a:cxn>
              <a:cxn ang="0">
                <a:pos x="connsiteX55415" y="connsiteY55415"/>
              </a:cxn>
              <a:cxn ang="0">
                <a:pos x="connsiteX55416" y="connsiteY55416"/>
              </a:cxn>
              <a:cxn ang="0">
                <a:pos x="connsiteX55417" y="connsiteY55417"/>
              </a:cxn>
              <a:cxn ang="0">
                <a:pos x="connsiteX55418" y="connsiteY55418"/>
              </a:cxn>
              <a:cxn ang="0">
                <a:pos x="connsiteX55419" y="connsiteY55419"/>
              </a:cxn>
              <a:cxn ang="0">
                <a:pos x="connsiteX55420" y="connsiteY55420"/>
              </a:cxn>
              <a:cxn ang="0">
                <a:pos x="connsiteX55421" y="connsiteY55421"/>
              </a:cxn>
              <a:cxn ang="0">
                <a:pos x="connsiteX55422" y="connsiteY55422"/>
              </a:cxn>
              <a:cxn ang="0">
                <a:pos x="connsiteX55423" y="connsiteY55423"/>
              </a:cxn>
              <a:cxn ang="0">
                <a:pos x="connsiteX55424" y="connsiteY55424"/>
              </a:cxn>
              <a:cxn ang="0">
                <a:pos x="connsiteX55425" y="connsiteY55425"/>
              </a:cxn>
              <a:cxn ang="0">
                <a:pos x="connsiteX55426" y="connsiteY55426"/>
              </a:cxn>
              <a:cxn ang="0">
                <a:pos x="connsiteX55427" y="connsiteY55427"/>
              </a:cxn>
              <a:cxn ang="0">
                <a:pos x="connsiteX55428" y="connsiteY55428"/>
              </a:cxn>
              <a:cxn ang="0">
                <a:pos x="connsiteX55429" y="connsiteY55429"/>
              </a:cxn>
              <a:cxn ang="0">
                <a:pos x="connsiteX55430" y="connsiteY55430"/>
              </a:cxn>
              <a:cxn ang="0">
                <a:pos x="connsiteX55431" y="connsiteY55431"/>
              </a:cxn>
              <a:cxn ang="0">
                <a:pos x="connsiteX55432" y="connsiteY55432"/>
              </a:cxn>
              <a:cxn ang="0">
                <a:pos x="connsiteX55433" y="connsiteY55433"/>
              </a:cxn>
              <a:cxn ang="0">
                <a:pos x="connsiteX55434" y="connsiteY55434"/>
              </a:cxn>
              <a:cxn ang="0">
                <a:pos x="connsiteX55435" y="connsiteY55435"/>
              </a:cxn>
              <a:cxn ang="0">
                <a:pos x="connsiteX55436" y="connsiteY55436"/>
              </a:cxn>
              <a:cxn ang="0">
                <a:pos x="connsiteX55437" y="connsiteY55437"/>
              </a:cxn>
              <a:cxn ang="0">
                <a:pos x="connsiteX55438" y="connsiteY55438"/>
              </a:cxn>
              <a:cxn ang="0">
                <a:pos x="connsiteX55439" y="connsiteY55439"/>
              </a:cxn>
              <a:cxn ang="0">
                <a:pos x="connsiteX55440" y="connsiteY55440"/>
              </a:cxn>
              <a:cxn ang="0">
                <a:pos x="connsiteX55441" y="connsiteY55441"/>
              </a:cxn>
              <a:cxn ang="0">
                <a:pos x="connsiteX55442" y="connsiteY55442"/>
              </a:cxn>
              <a:cxn ang="0">
                <a:pos x="connsiteX55443" y="connsiteY55443"/>
              </a:cxn>
              <a:cxn ang="0">
                <a:pos x="connsiteX55444" y="connsiteY55444"/>
              </a:cxn>
              <a:cxn ang="0">
                <a:pos x="connsiteX55445" y="connsiteY55445"/>
              </a:cxn>
              <a:cxn ang="0">
                <a:pos x="connsiteX55446" y="connsiteY55446"/>
              </a:cxn>
              <a:cxn ang="0">
                <a:pos x="connsiteX55447" y="connsiteY55447"/>
              </a:cxn>
              <a:cxn ang="0">
                <a:pos x="connsiteX55448" y="connsiteY55448"/>
              </a:cxn>
              <a:cxn ang="0">
                <a:pos x="connsiteX55449" y="connsiteY55449"/>
              </a:cxn>
              <a:cxn ang="0">
                <a:pos x="connsiteX55450" y="connsiteY55450"/>
              </a:cxn>
              <a:cxn ang="0">
                <a:pos x="connsiteX55451" y="connsiteY55451"/>
              </a:cxn>
              <a:cxn ang="0">
                <a:pos x="connsiteX55452" y="connsiteY55452"/>
              </a:cxn>
              <a:cxn ang="0">
                <a:pos x="connsiteX55453" y="connsiteY55453"/>
              </a:cxn>
              <a:cxn ang="0">
                <a:pos x="connsiteX55454" y="connsiteY55454"/>
              </a:cxn>
              <a:cxn ang="0">
                <a:pos x="connsiteX55455" y="connsiteY55455"/>
              </a:cxn>
              <a:cxn ang="0">
                <a:pos x="connsiteX55456" y="connsiteY55456"/>
              </a:cxn>
              <a:cxn ang="0">
                <a:pos x="connsiteX55457" y="connsiteY55457"/>
              </a:cxn>
              <a:cxn ang="0">
                <a:pos x="connsiteX55458" y="connsiteY55458"/>
              </a:cxn>
              <a:cxn ang="0">
                <a:pos x="connsiteX55459" y="connsiteY55459"/>
              </a:cxn>
              <a:cxn ang="0">
                <a:pos x="connsiteX55460" y="connsiteY55460"/>
              </a:cxn>
              <a:cxn ang="0">
                <a:pos x="connsiteX55461" y="connsiteY55461"/>
              </a:cxn>
              <a:cxn ang="0">
                <a:pos x="connsiteX55462" y="connsiteY55462"/>
              </a:cxn>
              <a:cxn ang="0">
                <a:pos x="connsiteX55463" y="connsiteY55463"/>
              </a:cxn>
              <a:cxn ang="0">
                <a:pos x="connsiteX55464" y="connsiteY55464"/>
              </a:cxn>
              <a:cxn ang="0">
                <a:pos x="connsiteX55465" y="connsiteY55465"/>
              </a:cxn>
              <a:cxn ang="0">
                <a:pos x="connsiteX55466" y="connsiteY55466"/>
              </a:cxn>
              <a:cxn ang="0">
                <a:pos x="connsiteX55467" y="connsiteY55467"/>
              </a:cxn>
              <a:cxn ang="0">
                <a:pos x="connsiteX55468" y="connsiteY55468"/>
              </a:cxn>
              <a:cxn ang="0">
                <a:pos x="connsiteX55469" y="connsiteY55469"/>
              </a:cxn>
              <a:cxn ang="0">
                <a:pos x="connsiteX55470" y="connsiteY55470"/>
              </a:cxn>
              <a:cxn ang="0">
                <a:pos x="connsiteX55471" y="connsiteY55471"/>
              </a:cxn>
              <a:cxn ang="0">
                <a:pos x="connsiteX55472" y="connsiteY55472"/>
              </a:cxn>
              <a:cxn ang="0">
                <a:pos x="connsiteX55473" y="connsiteY55473"/>
              </a:cxn>
              <a:cxn ang="0">
                <a:pos x="connsiteX55474" y="connsiteY55474"/>
              </a:cxn>
              <a:cxn ang="0">
                <a:pos x="connsiteX55475" y="connsiteY55475"/>
              </a:cxn>
              <a:cxn ang="0">
                <a:pos x="connsiteX55476" y="connsiteY55476"/>
              </a:cxn>
              <a:cxn ang="0">
                <a:pos x="connsiteX55477" y="connsiteY55477"/>
              </a:cxn>
              <a:cxn ang="0">
                <a:pos x="connsiteX55478" y="connsiteY55478"/>
              </a:cxn>
              <a:cxn ang="0">
                <a:pos x="connsiteX55479" y="connsiteY55479"/>
              </a:cxn>
              <a:cxn ang="0">
                <a:pos x="connsiteX55480" y="connsiteY55480"/>
              </a:cxn>
              <a:cxn ang="0">
                <a:pos x="connsiteX55481" y="connsiteY55481"/>
              </a:cxn>
              <a:cxn ang="0">
                <a:pos x="connsiteX55482" y="connsiteY55482"/>
              </a:cxn>
              <a:cxn ang="0">
                <a:pos x="connsiteX55483" y="connsiteY55483"/>
              </a:cxn>
              <a:cxn ang="0">
                <a:pos x="connsiteX55484" y="connsiteY55484"/>
              </a:cxn>
              <a:cxn ang="0">
                <a:pos x="connsiteX55485" y="connsiteY55485"/>
              </a:cxn>
              <a:cxn ang="0">
                <a:pos x="connsiteX55486" y="connsiteY55486"/>
              </a:cxn>
              <a:cxn ang="0">
                <a:pos x="connsiteX55487" y="connsiteY55487"/>
              </a:cxn>
              <a:cxn ang="0">
                <a:pos x="connsiteX55488" y="connsiteY55488"/>
              </a:cxn>
              <a:cxn ang="0">
                <a:pos x="connsiteX55489" y="connsiteY55489"/>
              </a:cxn>
              <a:cxn ang="0">
                <a:pos x="connsiteX55490" y="connsiteY55490"/>
              </a:cxn>
              <a:cxn ang="0">
                <a:pos x="connsiteX55491" y="connsiteY55491"/>
              </a:cxn>
              <a:cxn ang="0">
                <a:pos x="connsiteX55492" y="connsiteY55492"/>
              </a:cxn>
              <a:cxn ang="0">
                <a:pos x="connsiteX55493" y="connsiteY55493"/>
              </a:cxn>
              <a:cxn ang="0">
                <a:pos x="connsiteX55494" y="connsiteY55494"/>
              </a:cxn>
              <a:cxn ang="0">
                <a:pos x="connsiteX55495" y="connsiteY55495"/>
              </a:cxn>
              <a:cxn ang="0">
                <a:pos x="connsiteX55496" y="connsiteY55496"/>
              </a:cxn>
              <a:cxn ang="0">
                <a:pos x="connsiteX55497" y="connsiteY55497"/>
              </a:cxn>
              <a:cxn ang="0">
                <a:pos x="connsiteX55498" y="connsiteY55498"/>
              </a:cxn>
              <a:cxn ang="0">
                <a:pos x="connsiteX55499" y="connsiteY55499"/>
              </a:cxn>
              <a:cxn ang="0">
                <a:pos x="connsiteX55500" y="connsiteY55500"/>
              </a:cxn>
              <a:cxn ang="0">
                <a:pos x="connsiteX55501" y="connsiteY55501"/>
              </a:cxn>
              <a:cxn ang="0">
                <a:pos x="connsiteX55502" y="connsiteY55502"/>
              </a:cxn>
              <a:cxn ang="0">
                <a:pos x="connsiteX55503" y="connsiteY55503"/>
              </a:cxn>
              <a:cxn ang="0">
                <a:pos x="connsiteX55504" y="connsiteY55504"/>
              </a:cxn>
              <a:cxn ang="0">
                <a:pos x="connsiteX55505" y="connsiteY55505"/>
              </a:cxn>
              <a:cxn ang="0">
                <a:pos x="connsiteX55506" y="connsiteY55506"/>
              </a:cxn>
              <a:cxn ang="0">
                <a:pos x="connsiteX55507" y="connsiteY55507"/>
              </a:cxn>
              <a:cxn ang="0">
                <a:pos x="connsiteX55508" y="connsiteY55508"/>
              </a:cxn>
              <a:cxn ang="0">
                <a:pos x="connsiteX55509" y="connsiteY55509"/>
              </a:cxn>
              <a:cxn ang="0">
                <a:pos x="connsiteX55510" y="connsiteY55510"/>
              </a:cxn>
              <a:cxn ang="0">
                <a:pos x="connsiteX55511" y="connsiteY55511"/>
              </a:cxn>
              <a:cxn ang="0">
                <a:pos x="connsiteX55512" y="connsiteY55512"/>
              </a:cxn>
              <a:cxn ang="0">
                <a:pos x="connsiteX55513" y="connsiteY55513"/>
              </a:cxn>
              <a:cxn ang="0">
                <a:pos x="connsiteX55514" y="connsiteY55514"/>
              </a:cxn>
              <a:cxn ang="0">
                <a:pos x="connsiteX55515" y="connsiteY55515"/>
              </a:cxn>
              <a:cxn ang="0">
                <a:pos x="connsiteX55516" y="connsiteY55516"/>
              </a:cxn>
              <a:cxn ang="0">
                <a:pos x="connsiteX55517" y="connsiteY55517"/>
              </a:cxn>
              <a:cxn ang="0">
                <a:pos x="connsiteX55518" y="connsiteY55518"/>
              </a:cxn>
              <a:cxn ang="0">
                <a:pos x="connsiteX55519" y="connsiteY55519"/>
              </a:cxn>
              <a:cxn ang="0">
                <a:pos x="connsiteX55520" y="connsiteY55520"/>
              </a:cxn>
              <a:cxn ang="0">
                <a:pos x="connsiteX55521" y="connsiteY55521"/>
              </a:cxn>
              <a:cxn ang="0">
                <a:pos x="connsiteX55522" y="connsiteY55522"/>
              </a:cxn>
              <a:cxn ang="0">
                <a:pos x="connsiteX55523" y="connsiteY55523"/>
              </a:cxn>
              <a:cxn ang="0">
                <a:pos x="connsiteX55524" y="connsiteY55524"/>
              </a:cxn>
              <a:cxn ang="0">
                <a:pos x="connsiteX55525" y="connsiteY55525"/>
              </a:cxn>
              <a:cxn ang="0">
                <a:pos x="connsiteX55526" y="connsiteY55526"/>
              </a:cxn>
              <a:cxn ang="0">
                <a:pos x="connsiteX55527" y="connsiteY55527"/>
              </a:cxn>
              <a:cxn ang="0">
                <a:pos x="connsiteX55528" y="connsiteY55528"/>
              </a:cxn>
              <a:cxn ang="0">
                <a:pos x="connsiteX55529" y="connsiteY55529"/>
              </a:cxn>
              <a:cxn ang="0">
                <a:pos x="connsiteX55530" y="connsiteY55530"/>
              </a:cxn>
              <a:cxn ang="0">
                <a:pos x="connsiteX55531" y="connsiteY55531"/>
              </a:cxn>
              <a:cxn ang="0">
                <a:pos x="connsiteX55532" y="connsiteY55532"/>
              </a:cxn>
              <a:cxn ang="0">
                <a:pos x="connsiteX55533" y="connsiteY55533"/>
              </a:cxn>
              <a:cxn ang="0">
                <a:pos x="connsiteX55534" y="connsiteY55534"/>
              </a:cxn>
              <a:cxn ang="0">
                <a:pos x="connsiteX55535" y="connsiteY55535"/>
              </a:cxn>
              <a:cxn ang="0">
                <a:pos x="connsiteX55536" y="connsiteY55536"/>
              </a:cxn>
              <a:cxn ang="0">
                <a:pos x="connsiteX55537" y="connsiteY55537"/>
              </a:cxn>
              <a:cxn ang="0">
                <a:pos x="connsiteX55538" y="connsiteY55538"/>
              </a:cxn>
              <a:cxn ang="0">
                <a:pos x="connsiteX55539" y="connsiteY55539"/>
              </a:cxn>
              <a:cxn ang="0">
                <a:pos x="connsiteX55540" y="connsiteY55540"/>
              </a:cxn>
              <a:cxn ang="0">
                <a:pos x="connsiteX55541" y="connsiteY55541"/>
              </a:cxn>
              <a:cxn ang="0">
                <a:pos x="connsiteX55542" y="connsiteY55542"/>
              </a:cxn>
              <a:cxn ang="0">
                <a:pos x="connsiteX55543" y="connsiteY55543"/>
              </a:cxn>
              <a:cxn ang="0">
                <a:pos x="connsiteX55544" y="connsiteY55544"/>
              </a:cxn>
              <a:cxn ang="0">
                <a:pos x="connsiteX55545" y="connsiteY55545"/>
              </a:cxn>
              <a:cxn ang="0">
                <a:pos x="connsiteX55546" y="connsiteY55546"/>
              </a:cxn>
              <a:cxn ang="0">
                <a:pos x="connsiteX55547" y="connsiteY55547"/>
              </a:cxn>
              <a:cxn ang="0">
                <a:pos x="connsiteX55548" y="connsiteY55548"/>
              </a:cxn>
              <a:cxn ang="0">
                <a:pos x="connsiteX55549" y="connsiteY55549"/>
              </a:cxn>
              <a:cxn ang="0">
                <a:pos x="connsiteX55550" y="connsiteY55550"/>
              </a:cxn>
              <a:cxn ang="0">
                <a:pos x="connsiteX55551" y="connsiteY55551"/>
              </a:cxn>
              <a:cxn ang="0">
                <a:pos x="connsiteX55552" y="connsiteY55552"/>
              </a:cxn>
              <a:cxn ang="0">
                <a:pos x="connsiteX55553" y="connsiteY55553"/>
              </a:cxn>
              <a:cxn ang="0">
                <a:pos x="connsiteX55554" y="connsiteY55554"/>
              </a:cxn>
              <a:cxn ang="0">
                <a:pos x="connsiteX55555" y="connsiteY55555"/>
              </a:cxn>
              <a:cxn ang="0">
                <a:pos x="connsiteX55556" y="connsiteY55556"/>
              </a:cxn>
              <a:cxn ang="0">
                <a:pos x="connsiteX55557" y="connsiteY55557"/>
              </a:cxn>
              <a:cxn ang="0">
                <a:pos x="connsiteX55558" y="connsiteY55558"/>
              </a:cxn>
              <a:cxn ang="0">
                <a:pos x="connsiteX55559" y="connsiteY55559"/>
              </a:cxn>
              <a:cxn ang="0">
                <a:pos x="connsiteX55560" y="connsiteY55560"/>
              </a:cxn>
              <a:cxn ang="0">
                <a:pos x="connsiteX55561" y="connsiteY55561"/>
              </a:cxn>
              <a:cxn ang="0">
                <a:pos x="connsiteX55562" y="connsiteY55562"/>
              </a:cxn>
              <a:cxn ang="0">
                <a:pos x="connsiteX55563" y="connsiteY55563"/>
              </a:cxn>
              <a:cxn ang="0">
                <a:pos x="connsiteX55564" y="connsiteY55564"/>
              </a:cxn>
              <a:cxn ang="0">
                <a:pos x="connsiteX55565" y="connsiteY55565"/>
              </a:cxn>
              <a:cxn ang="0">
                <a:pos x="connsiteX55566" y="connsiteY55566"/>
              </a:cxn>
              <a:cxn ang="0">
                <a:pos x="connsiteX55567" y="connsiteY55567"/>
              </a:cxn>
              <a:cxn ang="0">
                <a:pos x="connsiteX55568" y="connsiteY55568"/>
              </a:cxn>
              <a:cxn ang="0">
                <a:pos x="connsiteX55569" y="connsiteY55569"/>
              </a:cxn>
              <a:cxn ang="0">
                <a:pos x="connsiteX55570" y="connsiteY55570"/>
              </a:cxn>
              <a:cxn ang="0">
                <a:pos x="connsiteX55571" y="connsiteY55571"/>
              </a:cxn>
              <a:cxn ang="0">
                <a:pos x="connsiteX55572" y="connsiteY55572"/>
              </a:cxn>
              <a:cxn ang="0">
                <a:pos x="connsiteX55573" y="connsiteY55573"/>
              </a:cxn>
              <a:cxn ang="0">
                <a:pos x="connsiteX55574" y="connsiteY55574"/>
              </a:cxn>
              <a:cxn ang="0">
                <a:pos x="connsiteX55575" y="connsiteY55575"/>
              </a:cxn>
              <a:cxn ang="0">
                <a:pos x="connsiteX55576" y="connsiteY55576"/>
              </a:cxn>
              <a:cxn ang="0">
                <a:pos x="connsiteX55577" y="connsiteY55577"/>
              </a:cxn>
              <a:cxn ang="0">
                <a:pos x="connsiteX55578" y="connsiteY55578"/>
              </a:cxn>
              <a:cxn ang="0">
                <a:pos x="connsiteX55579" y="connsiteY55579"/>
              </a:cxn>
              <a:cxn ang="0">
                <a:pos x="connsiteX55580" y="connsiteY55580"/>
              </a:cxn>
              <a:cxn ang="0">
                <a:pos x="connsiteX55581" y="connsiteY55581"/>
              </a:cxn>
              <a:cxn ang="0">
                <a:pos x="connsiteX55582" y="connsiteY55582"/>
              </a:cxn>
              <a:cxn ang="0">
                <a:pos x="connsiteX55583" y="connsiteY55583"/>
              </a:cxn>
              <a:cxn ang="0">
                <a:pos x="connsiteX55584" y="connsiteY55584"/>
              </a:cxn>
              <a:cxn ang="0">
                <a:pos x="connsiteX55585" y="connsiteY55585"/>
              </a:cxn>
              <a:cxn ang="0">
                <a:pos x="connsiteX55586" y="connsiteY55586"/>
              </a:cxn>
              <a:cxn ang="0">
                <a:pos x="connsiteX55587" y="connsiteY55587"/>
              </a:cxn>
              <a:cxn ang="0">
                <a:pos x="connsiteX55588" y="connsiteY55588"/>
              </a:cxn>
              <a:cxn ang="0">
                <a:pos x="connsiteX55589" y="connsiteY55589"/>
              </a:cxn>
              <a:cxn ang="0">
                <a:pos x="connsiteX55590" y="connsiteY55590"/>
              </a:cxn>
              <a:cxn ang="0">
                <a:pos x="connsiteX55591" y="connsiteY55591"/>
              </a:cxn>
              <a:cxn ang="0">
                <a:pos x="connsiteX55592" y="connsiteY55592"/>
              </a:cxn>
              <a:cxn ang="0">
                <a:pos x="connsiteX55593" y="connsiteY55593"/>
              </a:cxn>
              <a:cxn ang="0">
                <a:pos x="connsiteX55594" y="connsiteY55594"/>
              </a:cxn>
              <a:cxn ang="0">
                <a:pos x="connsiteX55595" y="connsiteY55595"/>
              </a:cxn>
              <a:cxn ang="0">
                <a:pos x="connsiteX55596" y="connsiteY55596"/>
              </a:cxn>
              <a:cxn ang="0">
                <a:pos x="connsiteX55597" y="connsiteY55597"/>
              </a:cxn>
              <a:cxn ang="0">
                <a:pos x="connsiteX55598" y="connsiteY55598"/>
              </a:cxn>
              <a:cxn ang="0">
                <a:pos x="connsiteX55599" y="connsiteY55599"/>
              </a:cxn>
              <a:cxn ang="0">
                <a:pos x="connsiteX55600" y="connsiteY55600"/>
              </a:cxn>
              <a:cxn ang="0">
                <a:pos x="connsiteX55601" y="connsiteY55601"/>
              </a:cxn>
              <a:cxn ang="0">
                <a:pos x="connsiteX55602" y="connsiteY55602"/>
              </a:cxn>
              <a:cxn ang="0">
                <a:pos x="connsiteX55603" y="connsiteY55603"/>
              </a:cxn>
              <a:cxn ang="0">
                <a:pos x="connsiteX55604" y="connsiteY55604"/>
              </a:cxn>
              <a:cxn ang="0">
                <a:pos x="connsiteX55605" y="connsiteY55605"/>
              </a:cxn>
              <a:cxn ang="0">
                <a:pos x="connsiteX55606" y="connsiteY55606"/>
              </a:cxn>
              <a:cxn ang="0">
                <a:pos x="connsiteX55607" y="connsiteY55607"/>
              </a:cxn>
              <a:cxn ang="0">
                <a:pos x="connsiteX55608" y="connsiteY55608"/>
              </a:cxn>
              <a:cxn ang="0">
                <a:pos x="connsiteX55609" y="connsiteY55609"/>
              </a:cxn>
              <a:cxn ang="0">
                <a:pos x="connsiteX55610" y="connsiteY55610"/>
              </a:cxn>
              <a:cxn ang="0">
                <a:pos x="connsiteX55611" y="connsiteY55611"/>
              </a:cxn>
              <a:cxn ang="0">
                <a:pos x="connsiteX55612" y="connsiteY55612"/>
              </a:cxn>
              <a:cxn ang="0">
                <a:pos x="connsiteX55613" y="connsiteY55613"/>
              </a:cxn>
              <a:cxn ang="0">
                <a:pos x="connsiteX55614" y="connsiteY55614"/>
              </a:cxn>
              <a:cxn ang="0">
                <a:pos x="connsiteX55615" y="connsiteY55615"/>
              </a:cxn>
              <a:cxn ang="0">
                <a:pos x="connsiteX55616" y="connsiteY55616"/>
              </a:cxn>
              <a:cxn ang="0">
                <a:pos x="connsiteX55617" y="connsiteY55617"/>
              </a:cxn>
              <a:cxn ang="0">
                <a:pos x="connsiteX55618" y="connsiteY55618"/>
              </a:cxn>
              <a:cxn ang="0">
                <a:pos x="connsiteX55619" y="connsiteY55619"/>
              </a:cxn>
              <a:cxn ang="0">
                <a:pos x="connsiteX55620" y="connsiteY55620"/>
              </a:cxn>
              <a:cxn ang="0">
                <a:pos x="connsiteX55621" y="connsiteY55621"/>
              </a:cxn>
              <a:cxn ang="0">
                <a:pos x="connsiteX55622" y="connsiteY55622"/>
              </a:cxn>
              <a:cxn ang="0">
                <a:pos x="connsiteX55623" y="connsiteY55623"/>
              </a:cxn>
              <a:cxn ang="0">
                <a:pos x="connsiteX55624" y="connsiteY55624"/>
              </a:cxn>
              <a:cxn ang="0">
                <a:pos x="connsiteX55625" y="connsiteY55625"/>
              </a:cxn>
              <a:cxn ang="0">
                <a:pos x="connsiteX55626" y="connsiteY55626"/>
              </a:cxn>
              <a:cxn ang="0">
                <a:pos x="connsiteX55627" y="connsiteY55627"/>
              </a:cxn>
              <a:cxn ang="0">
                <a:pos x="connsiteX55628" y="connsiteY55628"/>
              </a:cxn>
              <a:cxn ang="0">
                <a:pos x="connsiteX55629" y="connsiteY55629"/>
              </a:cxn>
              <a:cxn ang="0">
                <a:pos x="connsiteX55630" y="connsiteY55630"/>
              </a:cxn>
              <a:cxn ang="0">
                <a:pos x="connsiteX55631" y="connsiteY55631"/>
              </a:cxn>
              <a:cxn ang="0">
                <a:pos x="connsiteX55632" y="connsiteY55632"/>
              </a:cxn>
              <a:cxn ang="0">
                <a:pos x="connsiteX55633" y="connsiteY55633"/>
              </a:cxn>
              <a:cxn ang="0">
                <a:pos x="connsiteX55634" y="connsiteY55634"/>
              </a:cxn>
              <a:cxn ang="0">
                <a:pos x="connsiteX55635" y="connsiteY55635"/>
              </a:cxn>
              <a:cxn ang="0">
                <a:pos x="connsiteX55636" y="connsiteY55636"/>
              </a:cxn>
              <a:cxn ang="0">
                <a:pos x="connsiteX55637" y="connsiteY55637"/>
              </a:cxn>
              <a:cxn ang="0">
                <a:pos x="connsiteX55638" y="connsiteY55638"/>
              </a:cxn>
              <a:cxn ang="0">
                <a:pos x="connsiteX55639" y="connsiteY55639"/>
              </a:cxn>
              <a:cxn ang="0">
                <a:pos x="connsiteX55640" y="connsiteY55640"/>
              </a:cxn>
              <a:cxn ang="0">
                <a:pos x="connsiteX55641" y="connsiteY55641"/>
              </a:cxn>
              <a:cxn ang="0">
                <a:pos x="connsiteX55642" y="connsiteY55642"/>
              </a:cxn>
              <a:cxn ang="0">
                <a:pos x="connsiteX55643" y="connsiteY55643"/>
              </a:cxn>
              <a:cxn ang="0">
                <a:pos x="connsiteX55644" y="connsiteY55644"/>
              </a:cxn>
              <a:cxn ang="0">
                <a:pos x="connsiteX55645" y="connsiteY55645"/>
              </a:cxn>
              <a:cxn ang="0">
                <a:pos x="connsiteX55646" y="connsiteY55646"/>
              </a:cxn>
              <a:cxn ang="0">
                <a:pos x="connsiteX55647" y="connsiteY55647"/>
              </a:cxn>
              <a:cxn ang="0">
                <a:pos x="connsiteX55648" y="connsiteY55648"/>
              </a:cxn>
              <a:cxn ang="0">
                <a:pos x="connsiteX55649" y="connsiteY55649"/>
              </a:cxn>
              <a:cxn ang="0">
                <a:pos x="connsiteX55650" y="connsiteY55650"/>
              </a:cxn>
              <a:cxn ang="0">
                <a:pos x="connsiteX55651" y="connsiteY55651"/>
              </a:cxn>
              <a:cxn ang="0">
                <a:pos x="connsiteX55652" y="connsiteY55652"/>
              </a:cxn>
              <a:cxn ang="0">
                <a:pos x="connsiteX55653" y="connsiteY55653"/>
              </a:cxn>
              <a:cxn ang="0">
                <a:pos x="connsiteX55654" y="connsiteY55654"/>
              </a:cxn>
              <a:cxn ang="0">
                <a:pos x="connsiteX55655" y="connsiteY55655"/>
              </a:cxn>
              <a:cxn ang="0">
                <a:pos x="connsiteX55656" y="connsiteY55656"/>
              </a:cxn>
              <a:cxn ang="0">
                <a:pos x="connsiteX55657" y="connsiteY55657"/>
              </a:cxn>
              <a:cxn ang="0">
                <a:pos x="connsiteX55658" y="connsiteY55658"/>
              </a:cxn>
              <a:cxn ang="0">
                <a:pos x="connsiteX55659" y="connsiteY55659"/>
              </a:cxn>
              <a:cxn ang="0">
                <a:pos x="connsiteX55660" y="connsiteY55660"/>
              </a:cxn>
              <a:cxn ang="0">
                <a:pos x="connsiteX55661" y="connsiteY55661"/>
              </a:cxn>
              <a:cxn ang="0">
                <a:pos x="connsiteX55662" y="connsiteY55662"/>
              </a:cxn>
              <a:cxn ang="0">
                <a:pos x="connsiteX55663" y="connsiteY55663"/>
              </a:cxn>
              <a:cxn ang="0">
                <a:pos x="connsiteX55664" y="connsiteY55664"/>
              </a:cxn>
              <a:cxn ang="0">
                <a:pos x="connsiteX55665" y="connsiteY55665"/>
              </a:cxn>
              <a:cxn ang="0">
                <a:pos x="connsiteX55666" y="connsiteY55666"/>
              </a:cxn>
              <a:cxn ang="0">
                <a:pos x="connsiteX55667" y="connsiteY55667"/>
              </a:cxn>
              <a:cxn ang="0">
                <a:pos x="connsiteX55668" y="connsiteY55668"/>
              </a:cxn>
              <a:cxn ang="0">
                <a:pos x="connsiteX55669" y="connsiteY55669"/>
              </a:cxn>
              <a:cxn ang="0">
                <a:pos x="connsiteX55670" y="connsiteY55670"/>
              </a:cxn>
              <a:cxn ang="0">
                <a:pos x="connsiteX55671" y="connsiteY55671"/>
              </a:cxn>
              <a:cxn ang="0">
                <a:pos x="connsiteX55672" y="connsiteY55672"/>
              </a:cxn>
              <a:cxn ang="0">
                <a:pos x="connsiteX55673" y="connsiteY55673"/>
              </a:cxn>
              <a:cxn ang="0">
                <a:pos x="connsiteX55674" y="connsiteY55674"/>
              </a:cxn>
              <a:cxn ang="0">
                <a:pos x="connsiteX55675" y="connsiteY55675"/>
              </a:cxn>
              <a:cxn ang="0">
                <a:pos x="connsiteX55676" y="connsiteY55676"/>
              </a:cxn>
              <a:cxn ang="0">
                <a:pos x="connsiteX55677" y="connsiteY55677"/>
              </a:cxn>
              <a:cxn ang="0">
                <a:pos x="connsiteX55678" y="connsiteY55678"/>
              </a:cxn>
              <a:cxn ang="0">
                <a:pos x="connsiteX55679" y="connsiteY55679"/>
              </a:cxn>
              <a:cxn ang="0">
                <a:pos x="connsiteX55680" y="connsiteY55680"/>
              </a:cxn>
              <a:cxn ang="0">
                <a:pos x="connsiteX55681" y="connsiteY55681"/>
              </a:cxn>
              <a:cxn ang="0">
                <a:pos x="connsiteX55682" y="connsiteY55682"/>
              </a:cxn>
              <a:cxn ang="0">
                <a:pos x="connsiteX55683" y="connsiteY55683"/>
              </a:cxn>
              <a:cxn ang="0">
                <a:pos x="connsiteX55684" y="connsiteY55684"/>
              </a:cxn>
              <a:cxn ang="0">
                <a:pos x="connsiteX55685" y="connsiteY55685"/>
              </a:cxn>
              <a:cxn ang="0">
                <a:pos x="connsiteX55686" y="connsiteY55686"/>
              </a:cxn>
              <a:cxn ang="0">
                <a:pos x="connsiteX55687" y="connsiteY55687"/>
              </a:cxn>
              <a:cxn ang="0">
                <a:pos x="connsiteX55688" y="connsiteY55688"/>
              </a:cxn>
              <a:cxn ang="0">
                <a:pos x="connsiteX55689" y="connsiteY55689"/>
              </a:cxn>
              <a:cxn ang="0">
                <a:pos x="connsiteX55690" y="connsiteY55690"/>
              </a:cxn>
              <a:cxn ang="0">
                <a:pos x="connsiteX55691" y="connsiteY55691"/>
              </a:cxn>
              <a:cxn ang="0">
                <a:pos x="connsiteX55692" y="connsiteY55692"/>
              </a:cxn>
              <a:cxn ang="0">
                <a:pos x="connsiteX55693" y="connsiteY55693"/>
              </a:cxn>
              <a:cxn ang="0">
                <a:pos x="connsiteX55694" y="connsiteY55694"/>
              </a:cxn>
              <a:cxn ang="0">
                <a:pos x="connsiteX55695" y="connsiteY55695"/>
              </a:cxn>
              <a:cxn ang="0">
                <a:pos x="connsiteX55696" y="connsiteY55696"/>
              </a:cxn>
              <a:cxn ang="0">
                <a:pos x="connsiteX55697" y="connsiteY55697"/>
              </a:cxn>
              <a:cxn ang="0">
                <a:pos x="connsiteX55698" y="connsiteY55698"/>
              </a:cxn>
              <a:cxn ang="0">
                <a:pos x="connsiteX55699" y="connsiteY55699"/>
              </a:cxn>
              <a:cxn ang="0">
                <a:pos x="connsiteX55700" y="connsiteY55700"/>
              </a:cxn>
              <a:cxn ang="0">
                <a:pos x="connsiteX55701" y="connsiteY55701"/>
              </a:cxn>
              <a:cxn ang="0">
                <a:pos x="connsiteX55702" y="connsiteY55702"/>
              </a:cxn>
              <a:cxn ang="0">
                <a:pos x="connsiteX55703" y="connsiteY55703"/>
              </a:cxn>
              <a:cxn ang="0">
                <a:pos x="connsiteX55704" y="connsiteY55704"/>
              </a:cxn>
              <a:cxn ang="0">
                <a:pos x="connsiteX55705" y="connsiteY55705"/>
              </a:cxn>
              <a:cxn ang="0">
                <a:pos x="connsiteX55706" y="connsiteY55706"/>
              </a:cxn>
              <a:cxn ang="0">
                <a:pos x="connsiteX55707" y="connsiteY55707"/>
              </a:cxn>
              <a:cxn ang="0">
                <a:pos x="connsiteX55708" y="connsiteY55708"/>
              </a:cxn>
              <a:cxn ang="0">
                <a:pos x="connsiteX55709" y="connsiteY55709"/>
              </a:cxn>
              <a:cxn ang="0">
                <a:pos x="connsiteX55710" y="connsiteY55710"/>
              </a:cxn>
              <a:cxn ang="0">
                <a:pos x="connsiteX55711" y="connsiteY55711"/>
              </a:cxn>
              <a:cxn ang="0">
                <a:pos x="connsiteX55712" y="connsiteY55712"/>
              </a:cxn>
              <a:cxn ang="0">
                <a:pos x="connsiteX55713" y="connsiteY55713"/>
              </a:cxn>
              <a:cxn ang="0">
                <a:pos x="connsiteX55714" y="connsiteY55714"/>
              </a:cxn>
              <a:cxn ang="0">
                <a:pos x="connsiteX55715" y="connsiteY55715"/>
              </a:cxn>
              <a:cxn ang="0">
                <a:pos x="connsiteX55716" y="connsiteY55716"/>
              </a:cxn>
              <a:cxn ang="0">
                <a:pos x="connsiteX55717" y="connsiteY55717"/>
              </a:cxn>
              <a:cxn ang="0">
                <a:pos x="connsiteX55718" y="connsiteY55718"/>
              </a:cxn>
              <a:cxn ang="0">
                <a:pos x="connsiteX55719" y="connsiteY55719"/>
              </a:cxn>
              <a:cxn ang="0">
                <a:pos x="connsiteX55720" y="connsiteY55720"/>
              </a:cxn>
              <a:cxn ang="0">
                <a:pos x="connsiteX55721" y="connsiteY55721"/>
              </a:cxn>
              <a:cxn ang="0">
                <a:pos x="connsiteX55722" y="connsiteY55722"/>
              </a:cxn>
              <a:cxn ang="0">
                <a:pos x="connsiteX55723" y="connsiteY55723"/>
              </a:cxn>
              <a:cxn ang="0">
                <a:pos x="connsiteX55724" y="connsiteY55724"/>
              </a:cxn>
              <a:cxn ang="0">
                <a:pos x="connsiteX55725" y="connsiteY55725"/>
              </a:cxn>
              <a:cxn ang="0">
                <a:pos x="connsiteX55726" y="connsiteY55726"/>
              </a:cxn>
              <a:cxn ang="0">
                <a:pos x="connsiteX55727" y="connsiteY55727"/>
              </a:cxn>
              <a:cxn ang="0">
                <a:pos x="connsiteX55728" y="connsiteY55728"/>
              </a:cxn>
              <a:cxn ang="0">
                <a:pos x="connsiteX55729" y="connsiteY55729"/>
              </a:cxn>
              <a:cxn ang="0">
                <a:pos x="connsiteX55730" y="connsiteY55730"/>
              </a:cxn>
              <a:cxn ang="0">
                <a:pos x="connsiteX55731" y="connsiteY55731"/>
              </a:cxn>
              <a:cxn ang="0">
                <a:pos x="connsiteX55732" y="connsiteY55732"/>
              </a:cxn>
              <a:cxn ang="0">
                <a:pos x="connsiteX55733" y="connsiteY55733"/>
              </a:cxn>
              <a:cxn ang="0">
                <a:pos x="connsiteX55734" y="connsiteY55734"/>
              </a:cxn>
              <a:cxn ang="0">
                <a:pos x="connsiteX55735" y="connsiteY55735"/>
              </a:cxn>
              <a:cxn ang="0">
                <a:pos x="connsiteX55736" y="connsiteY55736"/>
              </a:cxn>
              <a:cxn ang="0">
                <a:pos x="connsiteX55737" y="connsiteY55737"/>
              </a:cxn>
              <a:cxn ang="0">
                <a:pos x="connsiteX55738" y="connsiteY55738"/>
              </a:cxn>
              <a:cxn ang="0">
                <a:pos x="connsiteX55739" y="connsiteY55739"/>
              </a:cxn>
              <a:cxn ang="0">
                <a:pos x="connsiteX55740" y="connsiteY55740"/>
              </a:cxn>
              <a:cxn ang="0">
                <a:pos x="connsiteX55741" y="connsiteY55741"/>
              </a:cxn>
              <a:cxn ang="0">
                <a:pos x="connsiteX55742" y="connsiteY55742"/>
              </a:cxn>
              <a:cxn ang="0">
                <a:pos x="connsiteX55743" y="connsiteY55743"/>
              </a:cxn>
              <a:cxn ang="0">
                <a:pos x="connsiteX55744" y="connsiteY55744"/>
              </a:cxn>
              <a:cxn ang="0">
                <a:pos x="connsiteX55745" y="connsiteY55745"/>
              </a:cxn>
              <a:cxn ang="0">
                <a:pos x="connsiteX55746" y="connsiteY55746"/>
              </a:cxn>
              <a:cxn ang="0">
                <a:pos x="connsiteX55747" y="connsiteY55747"/>
              </a:cxn>
              <a:cxn ang="0">
                <a:pos x="connsiteX55748" y="connsiteY55748"/>
              </a:cxn>
              <a:cxn ang="0">
                <a:pos x="connsiteX55749" y="connsiteY55749"/>
              </a:cxn>
              <a:cxn ang="0">
                <a:pos x="connsiteX55750" y="connsiteY55750"/>
              </a:cxn>
              <a:cxn ang="0">
                <a:pos x="connsiteX55751" y="connsiteY55751"/>
              </a:cxn>
              <a:cxn ang="0">
                <a:pos x="connsiteX55752" y="connsiteY55752"/>
              </a:cxn>
              <a:cxn ang="0">
                <a:pos x="connsiteX55753" y="connsiteY55753"/>
              </a:cxn>
              <a:cxn ang="0">
                <a:pos x="connsiteX55754" y="connsiteY55754"/>
              </a:cxn>
              <a:cxn ang="0">
                <a:pos x="connsiteX55755" y="connsiteY55755"/>
              </a:cxn>
              <a:cxn ang="0">
                <a:pos x="connsiteX55756" y="connsiteY55756"/>
              </a:cxn>
              <a:cxn ang="0">
                <a:pos x="connsiteX55757" y="connsiteY55757"/>
              </a:cxn>
              <a:cxn ang="0">
                <a:pos x="connsiteX55758" y="connsiteY55758"/>
              </a:cxn>
              <a:cxn ang="0">
                <a:pos x="connsiteX55759" y="connsiteY55759"/>
              </a:cxn>
              <a:cxn ang="0">
                <a:pos x="connsiteX55760" y="connsiteY55760"/>
              </a:cxn>
              <a:cxn ang="0">
                <a:pos x="connsiteX55761" y="connsiteY55761"/>
              </a:cxn>
              <a:cxn ang="0">
                <a:pos x="connsiteX55762" y="connsiteY55762"/>
              </a:cxn>
              <a:cxn ang="0">
                <a:pos x="connsiteX55763" y="connsiteY55763"/>
              </a:cxn>
              <a:cxn ang="0">
                <a:pos x="connsiteX55764" y="connsiteY55764"/>
              </a:cxn>
              <a:cxn ang="0">
                <a:pos x="connsiteX55765" y="connsiteY55765"/>
              </a:cxn>
              <a:cxn ang="0">
                <a:pos x="connsiteX55766" y="connsiteY55766"/>
              </a:cxn>
              <a:cxn ang="0">
                <a:pos x="connsiteX55767" y="connsiteY55767"/>
              </a:cxn>
              <a:cxn ang="0">
                <a:pos x="connsiteX55768" y="connsiteY55768"/>
              </a:cxn>
              <a:cxn ang="0">
                <a:pos x="connsiteX55769" y="connsiteY55769"/>
              </a:cxn>
              <a:cxn ang="0">
                <a:pos x="connsiteX55770" y="connsiteY55770"/>
              </a:cxn>
              <a:cxn ang="0">
                <a:pos x="connsiteX55771" y="connsiteY55771"/>
              </a:cxn>
              <a:cxn ang="0">
                <a:pos x="connsiteX55772" y="connsiteY55772"/>
              </a:cxn>
              <a:cxn ang="0">
                <a:pos x="connsiteX55773" y="connsiteY55773"/>
              </a:cxn>
              <a:cxn ang="0">
                <a:pos x="connsiteX55774" y="connsiteY55774"/>
              </a:cxn>
              <a:cxn ang="0">
                <a:pos x="connsiteX55775" y="connsiteY55775"/>
              </a:cxn>
              <a:cxn ang="0">
                <a:pos x="connsiteX55776" y="connsiteY55776"/>
              </a:cxn>
              <a:cxn ang="0">
                <a:pos x="connsiteX55777" y="connsiteY55777"/>
              </a:cxn>
              <a:cxn ang="0">
                <a:pos x="connsiteX55778" y="connsiteY55778"/>
              </a:cxn>
              <a:cxn ang="0">
                <a:pos x="connsiteX55779" y="connsiteY55779"/>
              </a:cxn>
              <a:cxn ang="0">
                <a:pos x="connsiteX55780" y="connsiteY55780"/>
              </a:cxn>
              <a:cxn ang="0">
                <a:pos x="connsiteX55781" y="connsiteY55781"/>
              </a:cxn>
              <a:cxn ang="0">
                <a:pos x="connsiteX55782" y="connsiteY55782"/>
              </a:cxn>
              <a:cxn ang="0">
                <a:pos x="connsiteX55783" y="connsiteY55783"/>
              </a:cxn>
              <a:cxn ang="0">
                <a:pos x="connsiteX55784" y="connsiteY55784"/>
              </a:cxn>
              <a:cxn ang="0">
                <a:pos x="connsiteX55785" y="connsiteY55785"/>
              </a:cxn>
              <a:cxn ang="0">
                <a:pos x="connsiteX55786" y="connsiteY55786"/>
              </a:cxn>
              <a:cxn ang="0">
                <a:pos x="connsiteX55787" y="connsiteY55787"/>
              </a:cxn>
              <a:cxn ang="0">
                <a:pos x="connsiteX55788" y="connsiteY55788"/>
              </a:cxn>
              <a:cxn ang="0">
                <a:pos x="connsiteX55789" y="connsiteY55789"/>
              </a:cxn>
              <a:cxn ang="0">
                <a:pos x="connsiteX55790" y="connsiteY55790"/>
              </a:cxn>
              <a:cxn ang="0">
                <a:pos x="connsiteX55791" y="connsiteY55791"/>
              </a:cxn>
              <a:cxn ang="0">
                <a:pos x="connsiteX55792" y="connsiteY55792"/>
              </a:cxn>
              <a:cxn ang="0">
                <a:pos x="connsiteX55793" y="connsiteY55793"/>
              </a:cxn>
              <a:cxn ang="0">
                <a:pos x="connsiteX55794" y="connsiteY55794"/>
              </a:cxn>
              <a:cxn ang="0">
                <a:pos x="connsiteX55795" y="connsiteY55795"/>
              </a:cxn>
              <a:cxn ang="0">
                <a:pos x="connsiteX55796" y="connsiteY55796"/>
              </a:cxn>
              <a:cxn ang="0">
                <a:pos x="connsiteX55797" y="connsiteY55797"/>
              </a:cxn>
              <a:cxn ang="0">
                <a:pos x="connsiteX55798" y="connsiteY55798"/>
              </a:cxn>
              <a:cxn ang="0">
                <a:pos x="connsiteX55799" y="connsiteY55799"/>
              </a:cxn>
              <a:cxn ang="0">
                <a:pos x="connsiteX55800" y="connsiteY55800"/>
              </a:cxn>
              <a:cxn ang="0">
                <a:pos x="connsiteX55801" y="connsiteY55801"/>
              </a:cxn>
              <a:cxn ang="0">
                <a:pos x="connsiteX55802" y="connsiteY55802"/>
              </a:cxn>
              <a:cxn ang="0">
                <a:pos x="connsiteX55803" y="connsiteY55803"/>
              </a:cxn>
              <a:cxn ang="0">
                <a:pos x="connsiteX55804" y="connsiteY55804"/>
              </a:cxn>
              <a:cxn ang="0">
                <a:pos x="connsiteX55805" y="connsiteY55805"/>
              </a:cxn>
              <a:cxn ang="0">
                <a:pos x="connsiteX55806" y="connsiteY55806"/>
              </a:cxn>
              <a:cxn ang="0">
                <a:pos x="connsiteX55807" y="connsiteY55807"/>
              </a:cxn>
              <a:cxn ang="0">
                <a:pos x="connsiteX55808" y="connsiteY55808"/>
              </a:cxn>
              <a:cxn ang="0">
                <a:pos x="connsiteX55809" y="connsiteY55809"/>
              </a:cxn>
              <a:cxn ang="0">
                <a:pos x="connsiteX55810" y="connsiteY55810"/>
              </a:cxn>
              <a:cxn ang="0">
                <a:pos x="connsiteX55811" y="connsiteY55811"/>
              </a:cxn>
              <a:cxn ang="0">
                <a:pos x="connsiteX55812" y="connsiteY55812"/>
              </a:cxn>
              <a:cxn ang="0">
                <a:pos x="connsiteX55813" y="connsiteY55813"/>
              </a:cxn>
              <a:cxn ang="0">
                <a:pos x="connsiteX55814" y="connsiteY55814"/>
              </a:cxn>
              <a:cxn ang="0">
                <a:pos x="connsiteX55815" y="connsiteY55815"/>
              </a:cxn>
              <a:cxn ang="0">
                <a:pos x="connsiteX55816" y="connsiteY55816"/>
              </a:cxn>
              <a:cxn ang="0">
                <a:pos x="connsiteX55817" y="connsiteY55817"/>
              </a:cxn>
              <a:cxn ang="0">
                <a:pos x="connsiteX55818" y="connsiteY55818"/>
              </a:cxn>
              <a:cxn ang="0">
                <a:pos x="connsiteX55819" y="connsiteY55819"/>
              </a:cxn>
              <a:cxn ang="0">
                <a:pos x="connsiteX55820" y="connsiteY55820"/>
              </a:cxn>
              <a:cxn ang="0">
                <a:pos x="connsiteX55821" y="connsiteY55821"/>
              </a:cxn>
              <a:cxn ang="0">
                <a:pos x="connsiteX55822" y="connsiteY55822"/>
              </a:cxn>
              <a:cxn ang="0">
                <a:pos x="connsiteX55823" y="connsiteY55823"/>
              </a:cxn>
              <a:cxn ang="0">
                <a:pos x="connsiteX55824" y="connsiteY55824"/>
              </a:cxn>
              <a:cxn ang="0">
                <a:pos x="connsiteX55825" y="connsiteY55825"/>
              </a:cxn>
              <a:cxn ang="0">
                <a:pos x="connsiteX55826" y="connsiteY55826"/>
              </a:cxn>
              <a:cxn ang="0">
                <a:pos x="connsiteX55827" y="connsiteY55827"/>
              </a:cxn>
              <a:cxn ang="0">
                <a:pos x="connsiteX55828" y="connsiteY55828"/>
              </a:cxn>
              <a:cxn ang="0">
                <a:pos x="connsiteX55829" y="connsiteY55829"/>
              </a:cxn>
              <a:cxn ang="0">
                <a:pos x="connsiteX55830" y="connsiteY55830"/>
              </a:cxn>
              <a:cxn ang="0">
                <a:pos x="connsiteX55831" y="connsiteY55831"/>
              </a:cxn>
              <a:cxn ang="0">
                <a:pos x="connsiteX55832" y="connsiteY55832"/>
              </a:cxn>
              <a:cxn ang="0">
                <a:pos x="connsiteX55833" y="connsiteY55833"/>
              </a:cxn>
              <a:cxn ang="0">
                <a:pos x="connsiteX55834" y="connsiteY55834"/>
              </a:cxn>
              <a:cxn ang="0">
                <a:pos x="connsiteX55835" y="connsiteY55835"/>
              </a:cxn>
              <a:cxn ang="0">
                <a:pos x="connsiteX55836" y="connsiteY55836"/>
              </a:cxn>
              <a:cxn ang="0">
                <a:pos x="connsiteX55837" y="connsiteY55837"/>
              </a:cxn>
              <a:cxn ang="0">
                <a:pos x="connsiteX55838" y="connsiteY55838"/>
              </a:cxn>
              <a:cxn ang="0">
                <a:pos x="connsiteX55839" y="connsiteY55839"/>
              </a:cxn>
              <a:cxn ang="0">
                <a:pos x="connsiteX55840" y="connsiteY55840"/>
              </a:cxn>
              <a:cxn ang="0">
                <a:pos x="connsiteX55841" y="connsiteY55841"/>
              </a:cxn>
              <a:cxn ang="0">
                <a:pos x="connsiteX55842" y="connsiteY55842"/>
              </a:cxn>
              <a:cxn ang="0">
                <a:pos x="connsiteX55843" y="connsiteY55843"/>
              </a:cxn>
              <a:cxn ang="0">
                <a:pos x="connsiteX55844" y="connsiteY55844"/>
              </a:cxn>
              <a:cxn ang="0">
                <a:pos x="connsiteX55845" y="connsiteY55845"/>
              </a:cxn>
              <a:cxn ang="0">
                <a:pos x="connsiteX55846" y="connsiteY55846"/>
              </a:cxn>
              <a:cxn ang="0">
                <a:pos x="connsiteX55847" y="connsiteY55847"/>
              </a:cxn>
              <a:cxn ang="0">
                <a:pos x="connsiteX55848" y="connsiteY55848"/>
              </a:cxn>
              <a:cxn ang="0">
                <a:pos x="connsiteX55849" y="connsiteY55849"/>
              </a:cxn>
              <a:cxn ang="0">
                <a:pos x="connsiteX55850" y="connsiteY55850"/>
              </a:cxn>
              <a:cxn ang="0">
                <a:pos x="connsiteX55851" y="connsiteY55851"/>
              </a:cxn>
              <a:cxn ang="0">
                <a:pos x="connsiteX55852" y="connsiteY55852"/>
              </a:cxn>
              <a:cxn ang="0">
                <a:pos x="connsiteX55853" y="connsiteY55853"/>
              </a:cxn>
              <a:cxn ang="0">
                <a:pos x="connsiteX55854" y="connsiteY55854"/>
              </a:cxn>
              <a:cxn ang="0">
                <a:pos x="connsiteX55855" y="connsiteY55855"/>
              </a:cxn>
              <a:cxn ang="0">
                <a:pos x="connsiteX55856" y="connsiteY55856"/>
              </a:cxn>
              <a:cxn ang="0">
                <a:pos x="connsiteX55857" y="connsiteY55857"/>
              </a:cxn>
              <a:cxn ang="0">
                <a:pos x="connsiteX55858" y="connsiteY55858"/>
              </a:cxn>
              <a:cxn ang="0">
                <a:pos x="connsiteX55859" y="connsiteY55859"/>
              </a:cxn>
              <a:cxn ang="0">
                <a:pos x="connsiteX55860" y="connsiteY55860"/>
              </a:cxn>
              <a:cxn ang="0">
                <a:pos x="connsiteX55861" y="connsiteY55861"/>
              </a:cxn>
              <a:cxn ang="0">
                <a:pos x="connsiteX55862" y="connsiteY55862"/>
              </a:cxn>
              <a:cxn ang="0">
                <a:pos x="connsiteX55863" y="connsiteY55863"/>
              </a:cxn>
              <a:cxn ang="0">
                <a:pos x="connsiteX55864" y="connsiteY55864"/>
              </a:cxn>
              <a:cxn ang="0">
                <a:pos x="connsiteX55865" y="connsiteY55865"/>
              </a:cxn>
              <a:cxn ang="0">
                <a:pos x="connsiteX55866" y="connsiteY55866"/>
              </a:cxn>
              <a:cxn ang="0">
                <a:pos x="connsiteX55867" y="connsiteY55867"/>
              </a:cxn>
              <a:cxn ang="0">
                <a:pos x="connsiteX55868" y="connsiteY55868"/>
              </a:cxn>
              <a:cxn ang="0">
                <a:pos x="connsiteX55869" y="connsiteY55869"/>
              </a:cxn>
              <a:cxn ang="0">
                <a:pos x="connsiteX55870" y="connsiteY55870"/>
              </a:cxn>
              <a:cxn ang="0">
                <a:pos x="connsiteX55871" y="connsiteY55871"/>
              </a:cxn>
              <a:cxn ang="0">
                <a:pos x="connsiteX55872" y="connsiteY55872"/>
              </a:cxn>
              <a:cxn ang="0">
                <a:pos x="connsiteX55873" y="connsiteY55873"/>
              </a:cxn>
              <a:cxn ang="0">
                <a:pos x="connsiteX55874" y="connsiteY55874"/>
              </a:cxn>
              <a:cxn ang="0">
                <a:pos x="connsiteX55875" y="connsiteY55875"/>
              </a:cxn>
              <a:cxn ang="0">
                <a:pos x="connsiteX55876" y="connsiteY55876"/>
              </a:cxn>
              <a:cxn ang="0">
                <a:pos x="connsiteX55877" y="connsiteY55877"/>
              </a:cxn>
              <a:cxn ang="0">
                <a:pos x="connsiteX55878" y="connsiteY55878"/>
              </a:cxn>
              <a:cxn ang="0">
                <a:pos x="connsiteX55879" y="connsiteY55879"/>
              </a:cxn>
              <a:cxn ang="0">
                <a:pos x="connsiteX55880" y="connsiteY55880"/>
              </a:cxn>
              <a:cxn ang="0">
                <a:pos x="connsiteX55881" y="connsiteY55881"/>
              </a:cxn>
              <a:cxn ang="0">
                <a:pos x="connsiteX55882" y="connsiteY55882"/>
              </a:cxn>
              <a:cxn ang="0">
                <a:pos x="connsiteX55883" y="connsiteY55883"/>
              </a:cxn>
              <a:cxn ang="0">
                <a:pos x="connsiteX55884" y="connsiteY55884"/>
              </a:cxn>
              <a:cxn ang="0">
                <a:pos x="connsiteX55885" y="connsiteY55885"/>
              </a:cxn>
              <a:cxn ang="0">
                <a:pos x="connsiteX55886" y="connsiteY55886"/>
              </a:cxn>
              <a:cxn ang="0">
                <a:pos x="connsiteX55887" y="connsiteY55887"/>
              </a:cxn>
              <a:cxn ang="0">
                <a:pos x="connsiteX55888" y="connsiteY55888"/>
              </a:cxn>
              <a:cxn ang="0">
                <a:pos x="connsiteX55889" y="connsiteY55889"/>
              </a:cxn>
              <a:cxn ang="0">
                <a:pos x="connsiteX55890" y="connsiteY55890"/>
              </a:cxn>
              <a:cxn ang="0">
                <a:pos x="connsiteX55891" y="connsiteY55891"/>
              </a:cxn>
              <a:cxn ang="0">
                <a:pos x="connsiteX55892" y="connsiteY55892"/>
              </a:cxn>
              <a:cxn ang="0">
                <a:pos x="connsiteX55893" y="connsiteY55893"/>
              </a:cxn>
              <a:cxn ang="0">
                <a:pos x="connsiteX55894" y="connsiteY55894"/>
              </a:cxn>
              <a:cxn ang="0">
                <a:pos x="connsiteX55895" y="connsiteY55895"/>
              </a:cxn>
              <a:cxn ang="0">
                <a:pos x="connsiteX55896" y="connsiteY55896"/>
              </a:cxn>
              <a:cxn ang="0">
                <a:pos x="connsiteX55897" y="connsiteY55897"/>
              </a:cxn>
              <a:cxn ang="0">
                <a:pos x="connsiteX55898" y="connsiteY55898"/>
              </a:cxn>
              <a:cxn ang="0">
                <a:pos x="connsiteX55899" y="connsiteY55899"/>
              </a:cxn>
              <a:cxn ang="0">
                <a:pos x="connsiteX55900" y="connsiteY55900"/>
              </a:cxn>
              <a:cxn ang="0">
                <a:pos x="connsiteX55901" y="connsiteY55901"/>
              </a:cxn>
              <a:cxn ang="0">
                <a:pos x="connsiteX55902" y="connsiteY55902"/>
              </a:cxn>
              <a:cxn ang="0">
                <a:pos x="connsiteX55903" y="connsiteY55903"/>
              </a:cxn>
              <a:cxn ang="0">
                <a:pos x="connsiteX55904" y="connsiteY55904"/>
              </a:cxn>
              <a:cxn ang="0">
                <a:pos x="connsiteX55905" y="connsiteY55905"/>
              </a:cxn>
              <a:cxn ang="0">
                <a:pos x="connsiteX55906" y="connsiteY55906"/>
              </a:cxn>
              <a:cxn ang="0">
                <a:pos x="connsiteX55907" y="connsiteY55907"/>
              </a:cxn>
              <a:cxn ang="0">
                <a:pos x="connsiteX55908" y="connsiteY55908"/>
              </a:cxn>
              <a:cxn ang="0">
                <a:pos x="connsiteX55909" y="connsiteY55909"/>
              </a:cxn>
              <a:cxn ang="0">
                <a:pos x="connsiteX55910" y="connsiteY55910"/>
              </a:cxn>
              <a:cxn ang="0">
                <a:pos x="connsiteX55911" y="connsiteY55911"/>
              </a:cxn>
              <a:cxn ang="0">
                <a:pos x="connsiteX55912" y="connsiteY55912"/>
              </a:cxn>
              <a:cxn ang="0">
                <a:pos x="connsiteX55913" y="connsiteY55913"/>
              </a:cxn>
              <a:cxn ang="0">
                <a:pos x="connsiteX55914" y="connsiteY55914"/>
              </a:cxn>
              <a:cxn ang="0">
                <a:pos x="connsiteX55915" y="connsiteY55915"/>
              </a:cxn>
              <a:cxn ang="0">
                <a:pos x="connsiteX55916" y="connsiteY55916"/>
              </a:cxn>
              <a:cxn ang="0">
                <a:pos x="connsiteX55917" y="connsiteY55917"/>
              </a:cxn>
              <a:cxn ang="0">
                <a:pos x="connsiteX55918" y="connsiteY55918"/>
              </a:cxn>
              <a:cxn ang="0">
                <a:pos x="connsiteX55919" y="connsiteY55919"/>
              </a:cxn>
              <a:cxn ang="0">
                <a:pos x="connsiteX55920" y="connsiteY55920"/>
              </a:cxn>
              <a:cxn ang="0">
                <a:pos x="connsiteX55921" y="connsiteY55921"/>
              </a:cxn>
              <a:cxn ang="0">
                <a:pos x="connsiteX55922" y="connsiteY55922"/>
              </a:cxn>
              <a:cxn ang="0">
                <a:pos x="connsiteX55923" y="connsiteY55923"/>
              </a:cxn>
              <a:cxn ang="0">
                <a:pos x="connsiteX55924" y="connsiteY55924"/>
              </a:cxn>
              <a:cxn ang="0">
                <a:pos x="connsiteX55925" y="connsiteY55925"/>
              </a:cxn>
              <a:cxn ang="0">
                <a:pos x="connsiteX55926" y="connsiteY55926"/>
              </a:cxn>
              <a:cxn ang="0">
                <a:pos x="connsiteX55927" y="connsiteY55927"/>
              </a:cxn>
              <a:cxn ang="0">
                <a:pos x="connsiteX55928" y="connsiteY55928"/>
              </a:cxn>
              <a:cxn ang="0">
                <a:pos x="connsiteX55929" y="connsiteY55929"/>
              </a:cxn>
              <a:cxn ang="0">
                <a:pos x="connsiteX55930" y="connsiteY55930"/>
              </a:cxn>
              <a:cxn ang="0">
                <a:pos x="connsiteX55931" y="connsiteY55931"/>
              </a:cxn>
              <a:cxn ang="0">
                <a:pos x="connsiteX55932" y="connsiteY55932"/>
              </a:cxn>
              <a:cxn ang="0">
                <a:pos x="connsiteX55933" y="connsiteY55933"/>
              </a:cxn>
              <a:cxn ang="0">
                <a:pos x="connsiteX55934" y="connsiteY55934"/>
              </a:cxn>
              <a:cxn ang="0">
                <a:pos x="connsiteX55935" y="connsiteY55935"/>
              </a:cxn>
              <a:cxn ang="0">
                <a:pos x="connsiteX55936" y="connsiteY55936"/>
              </a:cxn>
              <a:cxn ang="0">
                <a:pos x="connsiteX55937" y="connsiteY55937"/>
              </a:cxn>
              <a:cxn ang="0">
                <a:pos x="connsiteX55938" y="connsiteY55938"/>
              </a:cxn>
              <a:cxn ang="0">
                <a:pos x="connsiteX55939" y="connsiteY55939"/>
              </a:cxn>
              <a:cxn ang="0">
                <a:pos x="connsiteX55940" y="connsiteY55940"/>
              </a:cxn>
              <a:cxn ang="0">
                <a:pos x="connsiteX55941" y="connsiteY55941"/>
              </a:cxn>
              <a:cxn ang="0">
                <a:pos x="connsiteX55942" y="connsiteY55942"/>
              </a:cxn>
              <a:cxn ang="0">
                <a:pos x="connsiteX55943" y="connsiteY55943"/>
              </a:cxn>
              <a:cxn ang="0">
                <a:pos x="connsiteX55944" y="connsiteY55944"/>
              </a:cxn>
              <a:cxn ang="0">
                <a:pos x="connsiteX55945" y="connsiteY55945"/>
              </a:cxn>
              <a:cxn ang="0">
                <a:pos x="connsiteX55946" y="connsiteY55946"/>
              </a:cxn>
              <a:cxn ang="0">
                <a:pos x="connsiteX55947" y="connsiteY55947"/>
              </a:cxn>
              <a:cxn ang="0">
                <a:pos x="connsiteX55948" y="connsiteY55948"/>
              </a:cxn>
              <a:cxn ang="0">
                <a:pos x="connsiteX55949" y="connsiteY55949"/>
              </a:cxn>
              <a:cxn ang="0">
                <a:pos x="connsiteX55950" y="connsiteY55950"/>
              </a:cxn>
              <a:cxn ang="0">
                <a:pos x="connsiteX55951" y="connsiteY55951"/>
              </a:cxn>
              <a:cxn ang="0">
                <a:pos x="connsiteX55952" y="connsiteY55952"/>
              </a:cxn>
              <a:cxn ang="0">
                <a:pos x="connsiteX55953" y="connsiteY55953"/>
              </a:cxn>
              <a:cxn ang="0">
                <a:pos x="connsiteX55954" y="connsiteY55954"/>
              </a:cxn>
              <a:cxn ang="0">
                <a:pos x="connsiteX55955" y="connsiteY55955"/>
              </a:cxn>
              <a:cxn ang="0">
                <a:pos x="connsiteX55956" y="connsiteY55956"/>
              </a:cxn>
              <a:cxn ang="0">
                <a:pos x="connsiteX55957" y="connsiteY55957"/>
              </a:cxn>
              <a:cxn ang="0">
                <a:pos x="connsiteX55958" y="connsiteY55958"/>
              </a:cxn>
              <a:cxn ang="0">
                <a:pos x="connsiteX55959" y="connsiteY55959"/>
              </a:cxn>
              <a:cxn ang="0">
                <a:pos x="connsiteX55960" y="connsiteY55960"/>
              </a:cxn>
              <a:cxn ang="0">
                <a:pos x="connsiteX55961" y="connsiteY55961"/>
              </a:cxn>
              <a:cxn ang="0">
                <a:pos x="connsiteX55962" y="connsiteY55962"/>
              </a:cxn>
              <a:cxn ang="0">
                <a:pos x="connsiteX55963" y="connsiteY55963"/>
              </a:cxn>
              <a:cxn ang="0">
                <a:pos x="connsiteX55964" y="connsiteY55964"/>
              </a:cxn>
              <a:cxn ang="0">
                <a:pos x="connsiteX55965" y="connsiteY55965"/>
              </a:cxn>
              <a:cxn ang="0">
                <a:pos x="connsiteX55966" y="connsiteY55966"/>
              </a:cxn>
              <a:cxn ang="0">
                <a:pos x="connsiteX55967" y="connsiteY55967"/>
              </a:cxn>
              <a:cxn ang="0">
                <a:pos x="connsiteX55968" y="connsiteY55968"/>
              </a:cxn>
              <a:cxn ang="0">
                <a:pos x="connsiteX55969" y="connsiteY55969"/>
              </a:cxn>
              <a:cxn ang="0">
                <a:pos x="connsiteX55970" y="connsiteY55970"/>
              </a:cxn>
              <a:cxn ang="0">
                <a:pos x="connsiteX55971" y="connsiteY55971"/>
              </a:cxn>
              <a:cxn ang="0">
                <a:pos x="connsiteX55972" y="connsiteY55972"/>
              </a:cxn>
              <a:cxn ang="0">
                <a:pos x="connsiteX55973" y="connsiteY55973"/>
              </a:cxn>
              <a:cxn ang="0">
                <a:pos x="connsiteX55974" y="connsiteY55974"/>
              </a:cxn>
              <a:cxn ang="0">
                <a:pos x="connsiteX55975" y="connsiteY55975"/>
              </a:cxn>
              <a:cxn ang="0">
                <a:pos x="connsiteX55976" y="connsiteY55976"/>
              </a:cxn>
              <a:cxn ang="0">
                <a:pos x="connsiteX55977" y="connsiteY55977"/>
              </a:cxn>
              <a:cxn ang="0">
                <a:pos x="connsiteX55978" y="connsiteY55978"/>
              </a:cxn>
              <a:cxn ang="0">
                <a:pos x="connsiteX55979" y="connsiteY55979"/>
              </a:cxn>
              <a:cxn ang="0">
                <a:pos x="connsiteX55980" y="connsiteY55980"/>
              </a:cxn>
              <a:cxn ang="0">
                <a:pos x="connsiteX55981" y="connsiteY55981"/>
              </a:cxn>
              <a:cxn ang="0">
                <a:pos x="connsiteX55982" y="connsiteY55982"/>
              </a:cxn>
              <a:cxn ang="0">
                <a:pos x="connsiteX55983" y="connsiteY55983"/>
              </a:cxn>
              <a:cxn ang="0">
                <a:pos x="connsiteX55984" y="connsiteY55984"/>
              </a:cxn>
              <a:cxn ang="0">
                <a:pos x="connsiteX55985" y="connsiteY55985"/>
              </a:cxn>
              <a:cxn ang="0">
                <a:pos x="connsiteX55986" y="connsiteY55986"/>
              </a:cxn>
              <a:cxn ang="0">
                <a:pos x="connsiteX55987" y="connsiteY55987"/>
              </a:cxn>
              <a:cxn ang="0">
                <a:pos x="connsiteX55988" y="connsiteY55988"/>
              </a:cxn>
              <a:cxn ang="0">
                <a:pos x="connsiteX55989" y="connsiteY55989"/>
              </a:cxn>
              <a:cxn ang="0">
                <a:pos x="connsiteX55990" y="connsiteY55990"/>
              </a:cxn>
              <a:cxn ang="0">
                <a:pos x="connsiteX55991" y="connsiteY55991"/>
              </a:cxn>
              <a:cxn ang="0">
                <a:pos x="connsiteX55992" y="connsiteY55992"/>
              </a:cxn>
              <a:cxn ang="0">
                <a:pos x="connsiteX55993" y="connsiteY55993"/>
              </a:cxn>
              <a:cxn ang="0">
                <a:pos x="connsiteX55994" y="connsiteY55994"/>
              </a:cxn>
              <a:cxn ang="0">
                <a:pos x="connsiteX55995" y="connsiteY55995"/>
              </a:cxn>
              <a:cxn ang="0">
                <a:pos x="connsiteX55996" y="connsiteY55996"/>
              </a:cxn>
              <a:cxn ang="0">
                <a:pos x="connsiteX55997" y="connsiteY55997"/>
              </a:cxn>
              <a:cxn ang="0">
                <a:pos x="connsiteX55998" y="connsiteY55998"/>
              </a:cxn>
              <a:cxn ang="0">
                <a:pos x="connsiteX55999" y="connsiteY55999"/>
              </a:cxn>
              <a:cxn ang="0">
                <a:pos x="connsiteX56000" y="connsiteY56000"/>
              </a:cxn>
              <a:cxn ang="0">
                <a:pos x="connsiteX56001" y="connsiteY56001"/>
              </a:cxn>
              <a:cxn ang="0">
                <a:pos x="connsiteX56002" y="connsiteY56002"/>
              </a:cxn>
              <a:cxn ang="0">
                <a:pos x="connsiteX56003" y="connsiteY56003"/>
              </a:cxn>
              <a:cxn ang="0">
                <a:pos x="connsiteX56004" y="connsiteY56004"/>
              </a:cxn>
              <a:cxn ang="0">
                <a:pos x="connsiteX56005" y="connsiteY56005"/>
              </a:cxn>
              <a:cxn ang="0">
                <a:pos x="connsiteX56006" y="connsiteY56006"/>
              </a:cxn>
              <a:cxn ang="0">
                <a:pos x="connsiteX56007" y="connsiteY56007"/>
              </a:cxn>
              <a:cxn ang="0">
                <a:pos x="connsiteX56008" y="connsiteY56008"/>
              </a:cxn>
              <a:cxn ang="0">
                <a:pos x="connsiteX56009" y="connsiteY56009"/>
              </a:cxn>
              <a:cxn ang="0">
                <a:pos x="connsiteX56010" y="connsiteY56010"/>
              </a:cxn>
              <a:cxn ang="0">
                <a:pos x="connsiteX56011" y="connsiteY56011"/>
              </a:cxn>
              <a:cxn ang="0">
                <a:pos x="connsiteX56012" y="connsiteY56012"/>
              </a:cxn>
              <a:cxn ang="0">
                <a:pos x="connsiteX56013" y="connsiteY56013"/>
              </a:cxn>
              <a:cxn ang="0">
                <a:pos x="connsiteX56014" y="connsiteY56014"/>
              </a:cxn>
              <a:cxn ang="0">
                <a:pos x="connsiteX56015" y="connsiteY56015"/>
              </a:cxn>
              <a:cxn ang="0">
                <a:pos x="connsiteX56016" y="connsiteY56016"/>
              </a:cxn>
              <a:cxn ang="0">
                <a:pos x="connsiteX56017" y="connsiteY56017"/>
              </a:cxn>
              <a:cxn ang="0">
                <a:pos x="connsiteX56018" y="connsiteY56018"/>
              </a:cxn>
              <a:cxn ang="0">
                <a:pos x="connsiteX56019" y="connsiteY56019"/>
              </a:cxn>
              <a:cxn ang="0">
                <a:pos x="connsiteX56020" y="connsiteY56020"/>
              </a:cxn>
              <a:cxn ang="0">
                <a:pos x="connsiteX56021" y="connsiteY56021"/>
              </a:cxn>
              <a:cxn ang="0">
                <a:pos x="connsiteX56022" y="connsiteY56022"/>
              </a:cxn>
              <a:cxn ang="0">
                <a:pos x="connsiteX56023" y="connsiteY56023"/>
              </a:cxn>
              <a:cxn ang="0">
                <a:pos x="connsiteX56024" y="connsiteY56024"/>
              </a:cxn>
              <a:cxn ang="0">
                <a:pos x="connsiteX56025" y="connsiteY56025"/>
              </a:cxn>
              <a:cxn ang="0">
                <a:pos x="connsiteX56026" y="connsiteY56026"/>
              </a:cxn>
              <a:cxn ang="0">
                <a:pos x="connsiteX56027" y="connsiteY56027"/>
              </a:cxn>
              <a:cxn ang="0">
                <a:pos x="connsiteX56028" y="connsiteY56028"/>
              </a:cxn>
              <a:cxn ang="0">
                <a:pos x="connsiteX56029" y="connsiteY56029"/>
              </a:cxn>
              <a:cxn ang="0">
                <a:pos x="connsiteX56030" y="connsiteY56030"/>
              </a:cxn>
              <a:cxn ang="0">
                <a:pos x="connsiteX56031" y="connsiteY56031"/>
              </a:cxn>
              <a:cxn ang="0">
                <a:pos x="connsiteX56032" y="connsiteY56032"/>
              </a:cxn>
              <a:cxn ang="0">
                <a:pos x="connsiteX56033" y="connsiteY56033"/>
              </a:cxn>
              <a:cxn ang="0">
                <a:pos x="connsiteX56034" y="connsiteY56034"/>
              </a:cxn>
              <a:cxn ang="0">
                <a:pos x="connsiteX56035" y="connsiteY56035"/>
              </a:cxn>
              <a:cxn ang="0">
                <a:pos x="connsiteX56036" y="connsiteY56036"/>
              </a:cxn>
              <a:cxn ang="0">
                <a:pos x="connsiteX56037" y="connsiteY56037"/>
              </a:cxn>
              <a:cxn ang="0">
                <a:pos x="connsiteX56038" y="connsiteY56038"/>
              </a:cxn>
              <a:cxn ang="0">
                <a:pos x="connsiteX56039" y="connsiteY56039"/>
              </a:cxn>
              <a:cxn ang="0">
                <a:pos x="connsiteX56040" y="connsiteY56040"/>
              </a:cxn>
              <a:cxn ang="0">
                <a:pos x="connsiteX56041" y="connsiteY56041"/>
              </a:cxn>
              <a:cxn ang="0">
                <a:pos x="connsiteX56042" y="connsiteY56042"/>
              </a:cxn>
              <a:cxn ang="0">
                <a:pos x="connsiteX56043" y="connsiteY56043"/>
              </a:cxn>
              <a:cxn ang="0">
                <a:pos x="connsiteX56044" y="connsiteY56044"/>
              </a:cxn>
              <a:cxn ang="0">
                <a:pos x="connsiteX56045" y="connsiteY56045"/>
              </a:cxn>
              <a:cxn ang="0">
                <a:pos x="connsiteX56046" y="connsiteY56046"/>
              </a:cxn>
              <a:cxn ang="0">
                <a:pos x="connsiteX56047" y="connsiteY56047"/>
              </a:cxn>
              <a:cxn ang="0">
                <a:pos x="connsiteX56048" y="connsiteY56048"/>
              </a:cxn>
              <a:cxn ang="0">
                <a:pos x="connsiteX56049" y="connsiteY56049"/>
              </a:cxn>
              <a:cxn ang="0">
                <a:pos x="connsiteX56050" y="connsiteY56050"/>
              </a:cxn>
              <a:cxn ang="0">
                <a:pos x="connsiteX56051" y="connsiteY56051"/>
              </a:cxn>
              <a:cxn ang="0">
                <a:pos x="connsiteX56052" y="connsiteY56052"/>
              </a:cxn>
              <a:cxn ang="0">
                <a:pos x="connsiteX56053" y="connsiteY56053"/>
              </a:cxn>
              <a:cxn ang="0">
                <a:pos x="connsiteX56054" y="connsiteY56054"/>
              </a:cxn>
              <a:cxn ang="0">
                <a:pos x="connsiteX56055" y="connsiteY56055"/>
              </a:cxn>
              <a:cxn ang="0">
                <a:pos x="connsiteX56056" y="connsiteY56056"/>
              </a:cxn>
              <a:cxn ang="0">
                <a:pos x="connsiteX56057" y="connsiteY56057"/>
              </a:cxn>
              <a:cxn ang="0">
                <a:pos x="connsiteX56058" y="connsiteY56058"/>
              </a:cxn>
              <a:cxn ang="0">
                <a:pos x="connsiteX56059" y="connsiteY56059"/>
              </a:cxn>
              <a:cxn ang="0">
                <a:pos x="connsiteX56060" y="connsiteY56060"/>
              </a:cxn>
              <a:cxn ang="0">
                <a:pos x="connsiteX56061" y="connsiteY56061"/>
              </a:cxn>
              <a:cxn ang="0">
                <a:pos x="connsiteX56062" y="connsiteY56062"/>
              </a:cxn>
              <a:cxn ang="0">
                <a:pos x="connsiteX56063" y="connsiteY56063"/>
              </a:cxn>
              <a:cxn ang="0">
                <a:pos x="connsiteX56064" y="connsiteY56064"/>
              </a:cxn>
              <a:cxn ang="0">
                <a:pos x="connsiteX56065" y="connsiteY56065"/>
              </a:cxn>
              <a:cxn ang="0">
                <a:pos x="connsiteX56066" y="connsiteY56066"/>
              </a:cxn>
              <a:cxn ang="0">
                <a:pos x="connsiteX56067" y="connsiteY56067"/>
              </a:cxn>
              <a:cxn ang="0">
                <a:pos x="connsiteX56068" y="connsiteY56068"/>
              </a:cxn>
              <a:cxn ang="0">
                <a:pos x="connsiteX56069" y="connsiteY56069"/>
              </a:cxn>
              <a:cxn ang="0">
                <a:pos x="connsiteX56070" y="connsiteY56070"/>
              </a:cxn>
              <a:cxn ang="0">
                <a:pos x="connsiteX56071" y="connsiteY56071"/>
              </a:cxn>
              <a:cxn ang="0">
                <a:pos x="connsiteX56072" y="connsiteY56072"/>
              </a:cxn>
              <a:cxn ang="0">
                <a:pos x="connsiteX56073" y="connsiteY56073"/>
              </a:cxn>
              <a:cxn ang="0">
                <a:pos x="connsiteX56074" y="connsiteY56074"/>
              </a:cxn>
              <a:cxn ang="0">
                <a:pos x="connsiteX56075" y="connsiteY56075"/>
              </a:cxn>
              <a:cxn ang="0">
                <a:pos x="connsiteX56076" y="connsiteY56076"/>
              </a:cxn>
              <a:cxn ang="0">
                <a:pos x="connsiteX56077" y="connsiteY56077"/>
              </a:cxn>
              <a:cxn ang="0">
                <a:pos x="connsiteX56078" y="connsiteY56078"/>
              </a:cxn>
              <a:cxn ang="0">
                <a:pos x="connsiteX56079" y="connsiteY56079"/>
              </a:cxn>
              <a:cxn ang="0">
                <a:pos x="connsiteX56080" y="connsiteY56080"/>
              </a:cxn>
              <a:cxn ang="0">
                <a:pos x="connsiteX56081" y="connsiteY56081"/>
              </a:cxn>
              <a:cxn ang="0">
                <a:pos x="connsiteX56082" y="connsiteY56082"/>
              </a:cxn>
              <a:cxn ang="0">
                <a:pos x="connsiteX56083" y="connsiteY56083"/>
              </a:cxn>
              <a:cxn ang="0">
                <a:pos x="connsiteX56084" y="connsiteY56084"/>
              </a:cxn>
              <a:cxn ang="0">
                <a:pos x="connsiteX56085" y="connsiteY56085"/>
              </a:cxn>
              <a:cxn ang="0">
                <a:pos x="connsiteX56086" y="connsiteY56086"/>
              </a:cxn>
              <a:cxn ang="0">
                <a:pos x="connsiteX56087" y="connsiteY56087"/>
              </a:cxn>
              <a:cxn ang="0">
                <a:pos x="connsiteX56088" y="connsiteY56088"/>
              </a:cxn>
              <a:cxn ang="0">
                <a:pos x="connsiteX56089" y="connsiteY56089"/>
              </a:cxn>
              <a:cxn ang="0">
                <a:pos x="connsiteX56090" y="connsiteY56090"/>
              </a:cxn>
              <a:cxn ang="0">
                <a:pos x="connsiteX56091" y="connsiteY56091"/>
              </a:cxn>
              <a:cxn ang="0">
                <a:pos x="connsiteX56092" y="connsiteY56092"/>
              </a:cxn>
              <a:cxn ang="0">
                <a:pos x="connsiteX56093" y="connsiteY56093"/>
              </a:cxn>
              <a:cxn ang="0">
                <a:pos x="connsiteX56094" y="connsiteY56094"/>
              </a:cxn>
              <a:cxn ang="0">
                <a:pos x="connsiteX56095" y="connsiteY56095"/>
              </a:cxn>
              <a:cxn ang="0">
                <a:pos x="connsiteX56096" y="connsiteY56096"/>
              </a:cxn>
              <a:cxn ang="0">
                <a:pos x="connsiteX56097" y="connsiteY56097"/>
              </a:cxn>
              <a:cxn ang="0">
                <a:pos x="connsiteX56098" y="connsiteY56098"/>
              </a:cxn>
              <a:cxn ang="0">
                <a:pos x="connsiteX56099" y="connsiteY56099"/>
              </a:cxn>
              <a:cxn ang="0">
                <a:pos x="connsiteX56100" y="connsiteY56100"/>
              </a:cxn>
              <a:cxn ang="0">
                <a:pos x="connsiteX56101" y="connsiteY56101"/>
              </a:cxn>
              <a:cxn ang="0">
                <a:pos x="connsiteX56102" y="connsiteY56102"/>
              </a:cxn>
              <a:cxn ang="0">
                <a:pos x="connsiteX56103" y="connsiteY56103"/>
              </a:cxn>
              <a:cxn ang="0">
                <a:pos x="connsiteX56104" y="connsiteY56104"/>
              </a:cxn>
              <a:cxn ang="0">
                <a:pos x="connsiteX56105" y="connsiteY56105"/>
              </a:cxn>
              <a:cxn ang="0">
                <a:pos x="connsiteX56106" y="connsiteY56106"/>
              </a:cxn>
              <a:cxn ang="0">
                <a:pos x="connsiteX56107" y="connsiteY56107"/>
              </a:cxn>
              <a:cxn ang="0">
                <a:pos x="connsiteX56108" y="connsiteY56108"/>
              </a:cxn>
              <a:cxn ang="0">
                <a:pos x="connsiteX56109" y="connsiteY56109"/>
              </a:cxn>
              <a:cxn ang="0">
                <a:pos x="connsiteX56110" y="connsiteY56110"/>
              </a:cxn>
              <a:cxn ang="0">
                <a:pos x="connsiteX56111" y="connsiteY56111"/>
              </a:cxn>
              <a:cxn ang="0">
                <a:pos x="connsiteX56112" y="connsiteY56112"/>
              </a:cxn>
              <a:cxn ang="0">
                <a:pos x="connsiteX56113" y="connsiteY56113"/>
              </a:cxn>
              <a:cxn ang="0">
                <a:pos x="connsiteX56114" y="connsiteY56114"/>
              </a:cxn>
              <a:cxn ang="0">
                <a:pos x="connsiteX56115" y="connsiteY56115"/>
              </a:cxn>
              <a:cxn ang="0">
                <a:pos x="connsiteX56116" y="connsiteY56116"/>
              </a:cxn>
              <a:cxn ang="0">
                <a:pos x="connsiteX56117" y="connsiteY56117"/>
              </a:cxn>
              <a:cxn ang="0">
                <a:pos x="connsiteX56118" y="connsiteY56118"/>
              </a:cxn>
              <a:cxn ang="0">
                <a:pos x="connsiteX56119" y="connsiteY56119"/>
              </a:cxn>
              <a:cxn ang="0">
                <a:pos x="connsiteX56120" y="connsiteY56120"/>
              </a:cxn>
              <a:cxn ang="0">
                <a:pos x="connsiteX56121" y="connsiteY56121"/>
              </a:cxn>
              <a:cxn ang="0">
                <a:pos x="connsiteX56122" y="connsiteY56122"/>
              </a:cxn>
              <a:cxn ang="0">
                <a:pos x="connsiteX56123" y="connsiteY56123"/>
              </a:cxn>
              <a:cxn ang="0">
                <a:pos x="connsiteX56124" y="connsiteY56124"/>
              </a:cxn>
              <a:cxn ang="0">
                <a:pos x="connsiteX56125" y="connsiteY56125"/>
              </a:cxn>
              <a:cxn ang="0">
                <a:pos x="connsiteX56126" y="connsiteY56126"/>
              </a:cxn>
              <a:cxn ang="0">
                <a:pos x="connsiteX56127" y="connsiteY56127"/>
              </a:cxn>
              <a:cxn ang="0">
                <a:pos x="connsiteX56128" y="connsiteY56128"/>
              </a:cxn>
              <a:cxn ang="0">
                <a:pos x="connsiteX56129" y="connsiteY56129"/>
              </a:cxn>
              <a:cxn ang="0">
                <a:pos x="connsiteX56130" y="connsiteY56130"/>
              </a:cxn>
              <a:cxn ang="0">
                <a:pos x="connsiteX56131" y="connsiteY56131"/>
              </a:cxn>
              <a:cxn ang="0">
                <a:pos x="connsiteX56132" y="connsiteY56132"/>
              </a:cxn>
              <a:cxn ang="0">
                <a:pos x="connsiteX56133" y="connsiteY56133"/>
              </a:cxn>
              <a:cxn ang="0">
                <a:pos x="connsiteX56134" y="connsiteY56134"/>
              </a:cxn>
              <a:cxn ang="0">
                <a:pos x="connsiteX56135" y="connsiteY56135"/>
              </a:cxn>
              <a:cxn ang="0">
                <a:pos x="connsiteX56136" y="connsiteY56136"/>
              </a:cxn>
              <a:cxn ang="0">
                <a:pos x="connsiteX56137" y="connsiteY56137"/>
              </a:cxn>
              <a:cxn ang="0">
                <a:pos x="connsiteX56138" y="connsiteY56138"/>
              </a:cxn>
              <a:cxn ang="0">
                <a:pos x="connsiteX56139" y="connsiteY56139"/>
              </a:cxn>
              <a:cxn ang="0">
                <a:pos x="connsiteX56140" y="connsiteY56140"/>
              </a:cxn>
              <a:cxn ang="0">
                <a:pos x="connsiteX56141" y="connsiteY56141"/>
              </a:cxn>
              <a:cxn ang="0">
                <a:pos x="connsiteX56142" y="connsiteY56142"/>
              </a:cxn>
              <a:cxn ang="0">
                <a:pos x="connsiteX56143" y="connsiteY56143"/>
              </a:cxn>
              <a:cxn ang="0">
                <a:pos x="connsiteX56144" y="connsiteY56144"/>
              </a:cxn>
              <a:cxn ang="0">
                <a:pos x="connsiteX56145" y="connsiteY56145"/>
              </a:cxn>
              <a:cxn ang="0">
                <a:pos x="connsiteX56146" y="connsiteY56146"/>
              </a:cxn>
              <a:cxn ang="0">
                <a:pos x="connsiteX56147" y="connsiteY56147"/>
              </a:cxn>
              <a:cxn ang="0">
                <a:pos x="connsiteX56148" y="connsiteY56148"/>
              </a:cxn>
              <a:cxn ang="0">
                <a:pos x="connsiteX56149" y="connsiteY56149"/>
              </a:cxn>
              <a:cxn ang="0">
                <a:pos x="connsiteX56150" y="connsiteY56150"/>
              </a:cxn>
              <a:cxn ang="0">
                <a:pos x="connsiteX56151" y="connsiteY56151"/>
              </a:cxn>
              <a:cxn ang="0">
                <a:pos x="connsiteX56152" y="connsiteY56152"/>
              </a:cxn>
              <a:cxn ang="0">
                <a:pos x="connsiteX56153" y="connsiteY56153"/>
              </a:cxn>
              <a:cxn ang="0">
                <a:pos x="connsiteX56154" y="connsiteY56154"/>
              </a:cxn>
              <a:cxn ang="0">
                <a:pos x="connsiteX56155" y="connsiteY56155"/>
              </a:cxn>
              <a:cxn ang="0">
                <a:pos x="connsiteX56156" y="connsiteY56156"/>
              </a:cxn>
              <a:cxn ang="0">
                <a:pos x="connsiteX56157" y="connsiteY56157"/>
              </a:cxn>
              <a:cxn ang="0">
                <a:pos x="connsiteX56158" y="connsiteY56158"/>
              </a:cxn>
              <a:cxn ang="0">
                <a:pos x="connsiteX56159" y="connsiteY56159"/>
              </a:cxn>
              <a:cxn ang="0">
                <a:pos x="connsiteX56160" y="connsiteY56160"/>
              </a:cxn>
              <a:cxn ang="0">
                <a:pos x="connsiteX56161" y="connsiteY56161"/>
              </a:cxn>
              <a:cxn ang="0">
                <a:pos x="connsiteX56162" y="connsiteY56162"/>
              </a:cxn>
              <a:cxn ang="0">
                <a:pos x="connsiteX56163" y="connsiteY56163"/>
              </a:cxn>
              <a:cxn ang="0">
                <a:pos x="connsiteX56164" y="connsiteY56164"/>
              </a:cxn>
              <a:cxn ang="0">
                <a:pos x="connsiteX56165" y="connsiteY56165"/>
              </a:cxn>
              <a:cxn ang="0">
                <a:pos x="connsiteX56166" y="connsiteY56166"/>
              </a:cxn>
              <a:cxn ang="0">
                <a:pos x="connsiteX56167" y="connsiteY56167"/>
              </a:cxn>
              <a:cxn ang="0">
                <a:pos x="connsiteX56168" y="connsiteY56168"/>
              </a:cxn>
              <a:cxn ang="0">
                <a:pos x="connsiteX56169" y="connsiteY56169"/>
              </a:cxn>
              <a:cxn ang="0">
                <a:pos x="connsiteX56170" y="connsiteY56170"/>
              </a:cxn>
              <a:cxn ang="0">
                <a:pos x="connsiteX56171" y="connsiteY56171"/>
              </a:cxn>
              <a:cxn ang="0">
                <a:pos x="connsiteX56172" y="connsiteY56172"/>
              </a:cxn>
              <a:cxn ang="0">
                <a:pos x="connsiteX56173" y="connsiteY56173"/>
              </a:cxn>
              <a:cxn ang="0">
                <a:pos x="connsiteX56174" y="connsiteY56174"/>
              </a:cxn>
              <a:cxn ang="0">
                <a:pos x="connsiteX56175" y="connsiteY56175"/>
              </a:cxn>
              <a:cxn ang="0">
                <a:pos x="connsiteX56176" y="connsiteY56176"/>
              </a:cxn>
              <a:cxn ang="0">
                <a:pos x="connsiteX56177" y="connsiteY56177"/>
              </a:cxn>
              <a:cxn ang="0">
                <a:pos x="connsiteX56178" y="connsiteY56178"/>
              </a:cxn>
              <a:cxn ang="0">
                <a:pos x="connsiteX56179" y="connsiteY56179"/>
              </a:cxn>
              <a:cxn ang="0">
                <a:pos x="connsiteX56180" y="connsiteY56180"/>
              </a:cxn>
              <a:cxn ang="0">
                <a:pos x="connsiteX56181" y="connsiteY56181"/>
              </a:cxn>
              <a:cxn ang="0">
                <a:pos x="connsiteX56182" y="connsiteY56182"/>
              </a:cxn>
              <a:cxn ang="0">
                <a:pos x="connsiteX56183" y="connsiteY56183"/>
              </a:cxn>
              <a:cxn ang="0">
                <a:pos x="connsiteX56184" y="connsiteY56184"/>
              </a:cxn>
              <a:cxn ang="0">
                <a:pos x="connsiteX56185" y="connsiteY56185"/>
              </a:cxn>
              <a:cxn ang="0">
                <a:pos x="connsiteX56186" y="connsiteY56186"/>
              </a:cxn>
              <a:cxn ang="0">
                <a:pos x="connsiteX56187" y="connsiteY56187"/>
              </a:cxn>
              <a:cxn ang="0">
                <a:pos x="connsiteX56188" y="connsiteY56188"/>
              </a:cxn>
              <a:cxn ang="0">
                <a:pos x="connsiteX56189" y="connsiteY56189"/>
              </a:cxn>
              <a:cxn ang="0">
                <a:pos x="connsiteX56190" y="connsiteY56190"/>
              </a:cxn>
              <a:cxn ang="0">
                <a:pos x="connsiteX56191" y="connsiteY56191"/>
              </a:cxn>
              <a:cxn ang="0">
                <a:pos x="connsiteX56192" y="connsiteY56192"/>
              </a:cxn>
              <a:cxn ang="0">
                <a:pos x="connsiteX56193" y="connsiteY56193"/>
              </a:cxn>
              <a:cxn ang="0">
                <a:pos x="connsiteX56194" y="connsiteY56194"/>
              </a:cxn>
              <a:cxn ang="0">
                <a:pos x="connsiteX56195" y="connsiteY56195"/>
              </a:cxn>
              <a:cxn ang="0">
                <a:pos x="connsiteX56196" y="connsiteY56196"/>
              </a:cxn>
              <a:cxn ang="0">
                <a:pos x="connsiteX56197" y="connsiteY56197"/>
              </a:cxn>
              <a:cxn ang="0">
                <a:pos x="connsiteX56198" y="connsiteY56198"/>
              </a:cxn>
              <a:cxn ang="0">
                <a:pos x="connsiteX56199" y="connsiteY56199"/>
              </a:cxn>
              <a:cxn ang="0">
                <a:pos x="connsiteX56200" y="connsiteY56200"/>
              </a:cxn>
              <a:cxn ang="0">
                <a:pos x="connsiteX56201" y="connsiteY56201"/>
              </a:cxn>
              <a:cxn ang="0">
                <a:pos x="connsiteX56202" y="connsiteY56202"/>
              </a:cxn>
              <a:cxn ang="0">
                <a:pos x="connsiteX56203" y="connsiteY56203"/>
              </a:cxn>
              <a:cxn ang="0">
                <a:pos x="connsiteX56204" y="connsiteY56204"/>
              </a:cxn>
              <a:cxn ang="0">
                <a:pos x="connsiteX56205" y="connsiteY56205"/>
              </a:cxn>
              <a:cxn ang="0">
                <a:pos x="connsiteX56206" y="connsiteY56206"/>
              </a:cxn>
              <a:cxn ang="0">
                <a:pos x="connsiteX56207" y="connsiteY56207"/>
              </a:cxn>
              <a:cxn ang="0">
                <a:pos x="connsiteX56208" y="connsiteY56208"/>
              </a:cxn>
              <a:cxn ang="0">
                <a:pos x="connsiteX56209" y="connsiteY56209"/>
              </a:cxn>
              <a:cxn ang="0">
                <a:pos x="connsiteX56210" y="connsiteY56210"/>
              </a:cxn>
              <a:cxn ang="0">
                <a:pos x="connsiteX56211" y="connsiteY56211"/>
              </a:cxn>
              <a:cxn ang="0">
                <a:pos x="connsiteX56212" y="connsiteY56212"/>
              </a:cxn>
              <a:cxn ang="0">
                <a:pos x="connsiteX56213" y="connsiteY56213"/>
              </a:cxn>
              <a:cxn ang="0">
                <a:pos x="connsiteX56214" y="connsiteY56214"/>
              </a:cxn>
              <a:cxn ang="0">
                <a:pos x="connsiteX56215" y="connsiteY56215"/>
              </a:cxn>
              <a:cxn ang="0">
                <a:pos x="connsiteX56216" y="connsiteY56216"/>
              </a:cxn>
              <a:cxn ang="0">
                <a:pos x="connsiteX56217" y="connsiteY56217"/>
              </a:cxn>
              <a:cxn ang="0">
                <a:pos x="connsiteX56218" y="connsiteY56218"/>
              </a:cxn>
              <a:cxn ang="0">
                <a:pos x="connsiteX56219" y="connsiteY56219"/>
              </a:cxn>
              <a:cxn ang="0">
                <a:pos x="connsiteX56220" y="connsiteY56220"/>
              </a:cxn>
              <a:cxn ang="0">
                <a:pos x="connsiteX56221" y="connsiteY56221"/>
              </a:cxn>
              <a:cxn ang="0">
                <a:pos x="connsiteX56222" y="connsiteY56222"/>
              </a:cxn>
              <a:cxn ang="0">
                <a:pos x="connsiteX56223" y="connsiteY56223"/>
              </a:cxn>
              <a:cxn ang="0">
                <a:pos x="connsiteX56224" y="connsiteY56224"/>
              </a:cxn>
              <a:cxn ang="0">
                <a:pos x="connsiteX56225" y="connsiteY56225"/>
              </a:cxn>
              <a:cxn ang="0">
                <a:pos x="connsiteX56226" y="connsiteY56226"/>
              </a:cxn>
              <a:cxn ang="0">
                <a:pos x="connsiteX56227" y="connsiteY56227"/>
              </a:cxn>
              <a:cxn ang="0">
                <a:pos x="connsiteX56228" y="connsiteY56228"/>
              </a:cxn>
              <a:cxn ang="0">
                <a:pos x="connsiteX56229" y="connsiteY56229"/>
              </a:cxn>
              <a:cxn ang="0">
                <a:pos x="connsiteX56230" y="connsiteY56230"/>
              </a:cxn>
              <a:cxn ang="0">
                <a:pos x="connsiteX56231" y="connsiteY56231"/>
              </a:cxn>
              <a:cxn ang="0">
                <a:pos x="connsiteX56232" y="connsiteY56232"/>
              </a:cxn>
              <a:cxn ang="0">
                <a:pos x="connsiteX56233" y="connsiteY56233"/>
              </a:cxn>
              <a:cxn ang="0">
                <a:pos x="connsiteX56234" y="connsiteY56234"/>
              </a:cxn>
              <a:cxn ang="0">
                <a:pos x="connsiteX56235" y="connsiteY56235"/>
              </a:cxn>
              <a:cxn ang="0">
                <a:pos x="connsiteX56236" y="connsiteY56236"/>
              </a:cxn>
              <a:cxn ang="0">
                <a:pos x="connsiteX56237" y="connsiteY56237"/>
              </a:cxn>
              <a:cxn ang="0">
                <a:pos x="connsiteX56238" y="connsiteY56238"/>
              </a:cxn>
              <a:cxn ang="0">
                <a:pos x="connsiteX56239" y="connsiteY56239"/>
              </a:cxn>
              <a:cxn ang="0">
                <a:pos x="connsiteX56240" y="connsiteY56240"/>
              </a:cxn>
              <a:cxn ang="0">
                <a:pos x="connsiteX56241" y="connsiteY56241"/>
              </a:cxn>
              <a:cxn ang="0">
                <a:pos x="connsiteX56242" y="connsiteY56242"/>
              </a:cxn>
              <a:cxn ang="0">
                <a:pos x="connsiteX56243" y="connsiteY56243"/>
              </a:cxn>
              <a:cxn ang="0">
                <a:pos x="connsiteX56244" y="connsiteY56244"/>
              </a:cxn>
              <a:cxn ang="0">
                <a:pos x="connsiteX56245" y="connsiteY56245"/>
              </a:cxn>
              <a:cxn ang="0">
                <a:pos x="connsiteX56246" y="connsiteY56246"/>
              </a:cxn>
              <a:cxn ang="0">
                <a:pos x="connsiteX56247" y="connsiteY56247"/>
              </a:cxn>
              <a:cxn ang="0">
                <a:pos x="connsiteX56248" y="connsiteY56248"/>
              </a:cxn>
              <a:cxn ang="0">
                <a:pos x="connsiteX56249" y="connsiteY56249"/>
              </a:cxn>
              <a:cxn ang="0">
                <a:pos x="connsiteX56250" y="connsiteY56250"/>
              </a:cxn>
              <a:cxn ang="0">
                <a:pos x="connsiteX56251" y="connsiteY56251"/>
              </a:cxn>
              <a:cxn ang="0">
                <a:pos x="connsiteX56252" y="connsiteY56252"/>
              </a:cxn>
              <a:cxn ang="0">
                <a:pos x="connsiteX56253" y="connsiteY56253"/>
              </a:cxn>
              <a:cxn ang="0">
                <a:pos x="connsiteX56254" y="connsiteY56254"/>
              </a:cxn>
              <a:cxn ang="0">
                <a:pos x="connsiteX56255" y="connsiteY56255"/>
              </a:cxn>
              <a:cxn ang="0">
                <a:pos x="connsiteX56256" y="connsiteY56256"/>
              </a:cxn>
              <a:cxn ang="0">
                <a:pos x="connsiteX56257" y="connsiteY56257"/>
              </a:cxn>
              <a:cxn ang="0">
                <a:pos x="connsiteX56258" y="connsiteY56258"/>
              </a:cxn>
              <a:cxn ang="0">
                <a:pos x="connsiteX56259" y="connsiteY56259"/>
              </a:cxn>
              <a:cxn ang="0">
                <a:pos x="connsiteX56260" y="connsiteY56260"/>
              </a:cxn>
              <a:cxn ang="0">
                <a:pos x="connsiteX56261" y="connsiteY56261"/>
              </a:cxn>
              <a:cxn ang="0">
                <a:pos x="connsiteX56262" y="connsiteY56262"/>
              </a:cxn>
              <a:cxn ang="0">
                <a:pos x="connsiteX56263" y="connsiteY56263"/>
              </a:cxn>
              <a:cxn ang="0">
                <a:pos x="connsiteX56264" y="connsiteY56264"/>
              </a:cxn>
              <a:cxn ang="0">
                <a:pos x="connsiteX56265" y="connsiteY56265"/>
              </a:cxn>
              <a:cxn ang="0">
                <a:pos x="connsiteX56266" y="connsiteY56266"/>
              </a:cxn>
              <a:cxn ang="0">
                <a:pos x="connsiteX56267" y="connsiteY56267"/>
              </a:cxn>
              <a:cxn ang="0">
                <a:pos x="connsiteX56268" y="connsiteY56268"/>
              </a:cxn>
              <a:cxn ang="0">
                <a:pos x="connsiteX56269" y="connsiteY56269"/>
              </a:cxn>
              <a:cxn ang="0">
                <a:pos x="connsiteX56270" y="connsiteY56270"/>
              </a:cxn>
              <a:cxn ang="0">
                <a:pos x="connsiteX56271" y="connsiteY56271"/>
              </a:cxn>
              <a:cxn ang="0">
                <a:pos x="connsiteX56272" y="connsiteY56272"/>
              </a:cxn>
              <a:cxn ang="0">
                <a:pos x="connsiteX56273" y="connsiteY56273"/>
              </a:cxn>
              <a:cxn ang="0">
                <a:pos x="connsiteX56274" y="connsiteY56274"/>
              </a:cxn>
              <a:cxn ang="0">
                <a:pos x="connsiteX56275" y="connsiteY56275"/>
              </a:cxn>
              <a:cxn ang="0">
                <a:pos x="connsiteX56276" y="connsiteY56276"/>
              </a:cxn>
              <a:cxn ang="0">
                <a:pos x="connsiteX56277" y="connsiteY56277"/>
              </a:cxn>
              <a:cxn ang="0">
                <a:pos x="connsiteX56278" y="connsiteY56278"/>
              </a:cxn>
              <a:cxn ang="0">
                <a:pos x="connsiteX56279" y="connsiteY56279"/>
              </a:cxn>
              <a:cxn ang="0">
                <a:pos x="connsiteX56280" y="connsiteY56280"/>
              </a:cxn>
              <a:cxn ang="0">
                <a:pos x="connsiteX56281" y="connsiteY56281"/>
              </a:cxn>
              <a:cxn ang="0">
                <a:pos x="connsiteX56282" y="connsiteY56282"/>
              </a:cxn>
              <a:cxn ang="0">
                <a:pos x="connsiteX56283" y="connsiteY56283"/>
              </a:cxn>
              <a:cxn ang="0">
                <a:pos x="connsiteX56284" y="connsiteY56284"/>
              </a:cxn>
              <a:cxn ang="0">
                <a:pos x="connsiteX56285" y="connsiteY56285"/>
              </a:cxn>
              <a:cxn ang="0">
                <a:pos x="connsiteX56286" y="connsiteY56286"/>
              </a:cxn>
              <a:cxn ang="0">
                <a:pos x="connsiteX56287" y="connsiteY56287"/>
              </a:cxn>
              <a:cxn ang="0">
                <a:pos x="connsiteX56288" y="connsiteY56288"/>
              </a:cxn>
              <a:cxn ang="0">
                <a:pos x="connsiteX56289" y="connsiteY56289"/>
              </a:cxn>
              <a:cxn ang="0">
                <a:pos x="connsiteX56290" y="connsiteY56290"/>
              </a:cxn>
              <a:cxn ang="0">
                <a:pos x="connsiteX56291" y="connsiteY56291"/>
              </a:cxn>
              <a:cxn ang="0">
                <a:pos x="connsiteX56292" y="connsiteY56292"/>
              </a:cxn>
              <a:cxn ang="0">
                <a:pos x="connsiteX56293" y="connsiteY56293"/>
              </a:cxn>
              <a:cxn ang="0">
                <a:pos x="connsiteX56294" y="connsiteY56294"/>
              </a:cxn>
              <a:cxn ang="0">
                <a:pos x="connsiteX56295" y="connsiteY56295"/>
              </a:cxn>
              <a:cxn ang="0">
                <a:pos x="connsiteX56296" y="connsiteY56296"/>
              </a:cxn>
              <a:cxn ang="0">
                <a:pos x="connsiteX56297" y="connsiteY56297"/>
              </a:cxn>
              <a:cxn ang="0">
                <a:pos x="connsiteX56298" y="connsiteY56298"/>
              </a:cxn>
              <a:cxn ang="0">
                <a:pos x="connsiteX56299" y="connsiteY56299"/>
              </a:cxn>
              <a:cxn ang="0">
                <a:pos x="connsiteX56300" y="connsiteY56300"/>
              </a:cxn>
              <a:cxn ang="0">
                <a:pos x="connsiteX56301" y="connsiteY56301"/>
              </a:cxn>
              <a:cxn ang="0">
                <a:pos x="connsiteX56302" y="connsiteY56302"/>
              </a:cxn>
              <a:cxn ang="0">
                <a:pos x="connsiteX56303" y="connsiteY56303"/>
              </a:cxn>
              <a:cxn ang="0">
                <a:pos x="connsiteX56304" y="connsiteY56304"/>
              </a:cxn>
              <a:cxn ang="0">
                <a:pos x="connsiteX56305" y="connsiteY56305"/>
              </a:cxn>
              <a:cxn ang="0">
                <a:pos x="connsiteX56306" y="connsiteY56306"/>
              </a:cxn>
              <a:cxn ang="0">
                <a:pos x="connsiteX56307" y="connsiteY56307"/>
              </a:cxn>
              <a:cxn ang="0">
                <a:pos x="connsiteX56308" y="connsiteY56308"/>
              </a:cxn>
              <a:cxn ang="0">
                <a:pos x="connsiteX56309" y="connsiteY56309"/>
              </a:cxn>
              <a:cxn ang="0">
                <a:pos x="connsiteX56310" y="connsiteY56310"/>
              </a:cxn>
              <a:cxn ang="0">
                <a:pos x="connsiteX56311" y="connsiteY56311"/>
              </a:cxn>
              <a:cxn ang="0">
                <a:pos x="connsiteX56312" y="connsiteY56312"/>
              </a:cxn>
              <a:cxn ang="0">
                <a:pos x="connsiteX56313" y="connsiteY56313"/>
              </a:cxn>
              <a:cxn ang="0">
                <a:pos x="connsiteX56314" y="connsiteY56314"/>
              </a:cxn>
              <a:cxn ang="0">
                <a:pos x="connsiteX56315" y="connsiteY56315"/>
              </a:cxn>
              <a:cxn ang="0">
                <a:pos x="connsiteX56316" y="connsiteY56316"/>
              </a:cxn>
              <a:cxn ang="0">
                <a:pos x="connsiteX56317" y="connsiteY56317"/>
              </a:cxn>
              <a:cxn ang="0">
                <a:pos x="connsiteX56318" y="connsiteY56318"/>
              </a:cxn>
              <a:cxn ang="0">
                <a:pos x="connsiteX56319" y="connsiteY56319"/>
              </a:cxn>
              <a:cxn ang="0">
                <a:pos x="connsiteX56320" y="connsiteY56320"/>
              </a:cxn>
              <a:cxn ang="0">
                <a:pos x="connsiteX56321" y="connsiteY56321"/>
              </a:cxn>
              <a:cxn ang="0">
                <a:pos x="connsiteX56322" y="connsiteY56322"/>
              </a:cxn>
              <a:cxn ang="0">
                <a:pos x="connsiteX56323" y="connsiteY56323"/>
              </a:cxn>
              <a:cxn ang="0">
                <a:pos x="connsiteX56324" y="connsiteY56324"/>
              </a:cxn>
              <a:cxn ang="0">
                <a:pos x="connsiteX56325" y="connsiteY56325"/>
              </a:cxn>
              <a:cxn ang="0">
                <a:pos x="connsiteX56326" y="connsiteY56326"/>
              </a:cxn>
              <a:cxn ang="0">
                <a:pos x="connsiteX56327" y="connsiteY56327"/>
              </a:cxn>
              <a:cxn ang="0">
                <a:pos x="connsiteX56328" y="connsiteY56328"/>
              </a:cxn>
              <a:cxn ang="0">
                <a:pos x="connsiteX56329" y="connsiteY56329"/>
              </a:cxn>
              <a:cxn ang="0">
                <a:pos x="connsiteX56330" y="connsiteY56330"/>
              </a:cxn>
              <a:cxn ang="0">
                <a:pos x="connsiteX56331" y="connsiteY56331"/>
              </a:cxn>
              <a:cxn ang="0">
                <a:pos x="connsiteX56332" y="connsiteY56332"/>
              </a:cxn>
              <a:cxn ang="0">
                <a:pos x="connsiteX56333" y="connsiteY56333"/>
              </a:cxn>
              <a:cxn ang="0">
                <a:pos x="connsiteX56334" y="connsiteY56334"/>
              </a:cxn>
              <a:cxn ang="0">
                <a:pos x="connsiteX56335" y="connsiteY56335"/>
              </a:cxn>
              <a:cxn ang="0">
                <a:pos x="connsiteX56336" y="connsiteY56336"/>
              </a:cxn>
              <a:cxn ang="0">
                <a:pos x="connsiteX56337" y="connsiteY56337"/>
              </a:cxn>
              <a:cxn ang="0">
                <a:pos x="connsiteX56338" y="connsiteY56338"/>
              </a:cxn>
              <a:cxn ang="0">
                <a:pos x="connsiteX56339" y="connsiteY56339"/>
              </a:cxn>
              <a:cxn ang="0">
                <a:pos x="connsiteX56340" y="connsiteY56340"/>
              </a:cxn>
              <a:cxn ang="0">
                <a:pos x="connsiteX56341" y="connsiteY56341"/>
              </a:cxn>
              <a:cxn ang="0">
                <a:pos x="connsiteX56342" y="connsiteY56342"/>
              </a:cxn>
              <a:cxn ang="0">
                <a:pos x="connsiteX56343" y="connsiteY56343"/>
              </a:cxn>
              <a:cxn ang="0">
                <a:pos x="connsiteX56344" y="connsiteY56344"/>
              </a:cxn>
              <a:cxn ang="0">
                <a:pos x="connsiteX56345" y="connsiteY56345"/>
              </a:cxn>
              <a:cxn ang="0">
                <a:pos x="connsiteX56346" y="connsiteY56346"/>
              </a:cxn>
              <a:cxn ang="0">
                <a:pos x="connsiteX56347" y="connsiteY56347"/>
              </a:cxn>
              <a:cxn ang="0">
                <a:pos x="connsiteX56348" y="connsiteY56348"/>
              </a:cxn>
              <a:cxn ang="0">
                <a:pos x="connsiteX56349" y="connsiteY56349"/>
              </a:cxn>
              <a:cxn ang="0">
                <a:pos x="connsiteX56350" y="connsiteY56350"/>
              </a:cxn>
              <a:cxn ang="0">
                <a:pos x="connsiteX56351" y="connsiteY56351"/>
              </a:cxn>
              <a:cxn ang="0">
                <a:pos x="connsiteX56352" y="connsiteY56352"/>
              </a:cxn>
              <a:cxn ang="0">
                <a:pos x="connsiteX56353" y="connsiteY56353"/>
              </a:cxn>
              <a:cxn ang="0">
                <a:pos x="connsiteX56354" y="connsiteY56354"/>
              </a:cxn>
              <a:cxn ang="0">
                <a:pos x="connsiteX56355" y="connsiteY56355"/>
              </a:cxn>
              <a:cxn ang="0">
                <a:pos x="connsiteX56356" y="connsiteY56356"/>
              </a:cxn>
              <a:cxn ang="0">
                <a:pos x="connsiteX56357" y="connsiteY56357"/>
              </a:cxn>
              <a:cxn ang="0">
                <a:pos x="connsiteX56358" y="connsiteY56358"/>
              </a:cxn>
              <a:cxn ang="0">
                <a:pos x="connsiteX56359" y="connsiteY56359"/>
              </a:cxn>
              <a:cxn ang="0">
                <a:pos x="connsiteX56360" y="connsiteY56360"/>
              </a:cxn>
              <a:cxn ang="0">
                <a:pos x="connsiteX56361" y="connsiteY56361"/>
              </a:cxn>
              <a:cxn ang="0">
                <a:pos x="connsiteX56362" y="connsiteY56362"/>
              </a:cxn>
              <a:cxn ang="0">
                <a:pos x="connsiteX56363" y="connsiteY56363"/>
              </a:cxn>
              <a:cxn ang="0">
                <a:pos x="connsiteX56364" y="connsiteY56364"/>
              </a:cxn>
              <a:cxn ang="0">
                <a:pos x="connsiteX56365" y="connsiteY56365"/>
              </a:cxn>
              <a:cxn ang="0">
                <a:pos x="connsiteX56366" y="connsiteY56366"/>
              </a:cxn>
              <a:cxn ang="0">
                <a:pos x="connsiteX56367" y="connsiteY56367"/>
              </a:cxn>
              <a:cxn ang="0">
                <a:pos x="connsiteX56368" y="connsiteY56368"/>
              </a:cxn>
              <a:cxn ang="0">
                <a:pos x="connsiteX56369" y="connsiteY56369"/>
              </a:cxn>
              <a:cxn ang="0">
                <a:pos x="connsiteX56370" y="connsiteY56370"/>
              </a:cxn>
              <a:cxn ang="0">
                <a:pos x="connsiteX56371" y="connsiteY56371"/>
              </a:cxn>
              <a:cxn ang="0">
                <a:pos x="connsiteX56372" y="connsiteY56372"/>
              </a:cxn>
              <a:cxn ang="0">
                <a:pos x="connsiteX56373" y="connsiteY56373"/>
              </a:cxn>
              <a:cxn ang="0">
                <a:pos x="connsiteX56374" y="connsiteY56374"/>
              </a:cxn>
              <a:cxn ang="0">
                <a:pos x="connsiteX56375" y="connsiteY56375"/>
              </a:cxn>
              <a:cxn ang="0">
                <a:pos x="connsiteX56376" y="connsiteY56376"/>
              </a:cxn>
              <a:cxn ang="0">
                <a:pos x="connsiteX56377" y="connsiteY56377"/>
              </a:cxn>
              <a:cxn ang="0">
                <a:pos x="connsiteX56378" y="connsiteY56378"/>
              </a:cxn>
              <a:cxn ang="0">
                <a:pos x="connsiteX56379" y="connsiteY56379"/>
              </a:cxn>
              <a:cxn ang="0">
                <a:pos x="connsiteX56380" y="connsiteY56380"/>
              </a:cxn>
              <a:cxn ang="0">
                <a:pos x="connsiteX56381" y="connsiteY56381"/>
              </a:cxn>
              <a:cxn ang="0">
                <a:pos x="connsiteX56382" y="connsiteY56382"/>
              </a:cxn>
              <a:cxn ang="0">
                <a:pos x="connsiteX56383" y="connsiteY56383"/>
              </a:cxn>
              <a:cxn ang="0">
                <a:pos x="connsiteX56384" y="connsiteY56384"/>
              </a:cxn>
              <a:cxn ang="0">
                <a:pos x="connsiteX56385" y="connsiteY56385"/>
              </a:cxn>
              <a:cxn ang="0">
                <a:pos x="connsiteX56386" y="connsiteY56386"/>
              </a:cxn>
              <a:cxn ang="0">
                <a:pos x="connsiteX56387" y="connsiteY56387"/>
              </a:cxn>
              <a:cxn ang="0">
                <a:pos x="connsiteX56388" y="connsiteY56388"/>
              </a:cxn>
              <a:cxn ang="0">
                <a:pos x="connsiteX56389" y="connsiteY56389"/>
              </a:cxn>
              <a:cxn ang="0">
                <a:pos x="connsiteX56390" y="connsiteY56390"/>
              </a:cxn>
              <a:cxn ang="0">
                <a:pos x="connsiteX56391" y="connsiteY56391"/>
              </a:cxn>
              <a:cxn ang="0">
                <a:pos x="connsiteX56392" y="connsiteY56392"/>
              </a:cxn>
              <a:cxn ang="0">
                <a:pos x="connsiteX56393" y="connsiteY56393"/>
              </a:cxn>
              <a:cxn ang="0">
                <a:pos x="connsiteX56394" y="connsiteY56394"/>
              </a:cxn>
              <a:cxn ang="0">
                <a:pos x="connsiteX56395" y="connsiteY56395"/>
              </a:cxn>
              <a:cxn ang="0">
                <a:pos x="connsiteX56396" y="connsiteY56396"/>
              </a:cxn>
              <a:cxn ang="0">
                <a:pos x="connsiteX56397" y="connsiteY56397"/>
              </a:cxn>
              <a:cxn ang="0">
                <a:pos x="connsiteX56398" y="connsiteY56398"/>
              </a:cxn>
              <a:cxn ang="0">
                <a:pos x="connsiteX56399" y="connsiteY56399"/>
              </a:cxn>
              <a:cxn ang="0">
                <a:pos x="connsiteX56400" y="connsiteY56400"/>
              </a:cxn>
              <a:cxn ang="0">
                <a:pos x="connsiteX56401" y="connsiteY56401"/>
              </a:cxn>
              <a:cxn ang="0">
                <a:pos x="connsiteX56402" y="connsiteY56402"/>
              </a:cxn>
              <a:cxn ang="0">
                <a:pos x="connsiteX56403" y="connsiteY56403"/>
              </a:cxn>
              <a:cxn ang="0">
                <a:pos x="connsiteX56404" y="connsiteY56404"/>
              </a:cxn>
              <a:cxn ang="0">
                <a:pos x="connsiteX56405" y="connsiteY56405"/>
              </a:cxn>
              <a:cxn ang="0">
                <a:pos x="connsiteX56406" y="connsiteY56406"/>
              </a:cxn>
              <a:cxn ang="0">
                <a:pos x="connsiteX56407" y="connsiteY56407"/>
              </a:cxn>
              <a:cxn ang="0">
                <a:pos x="connsiteX56408" y="connsiteY56408"/>
              </a:cxn>
              <a:cxn ang="0">
                <a:pos x="connsiteX56409" y="connsiteY56409"/>
              </a:cxn>
              <a:cxn ang="0">
                <a:pos x="connsiteX56410" y="connsiteY56410"/>
              </a:cxn>
              <a:cxn ang="0">
                <a:pos x="connsiteX56411" y="connsiteY56411"/>
              </a:cxn>
              <a:cxn ang="0">
                <a:pos x="connsiteX56412" y="connsiteY56412"/>
              </a:cxn>
              <a:cxn ang="0">
                <a:pos x="connsiteX56413" y="connsiteY56413"/>
              </a:cxn>
              <a:cxn ang="0">
                <a:pos x="connsiteX56414" y="connsiteY56414"/>
              </a:cxn>
              <a:cxn ang="0">
                <a:pos x="connsiteX56415" y="connsiteY56415"/>
              </a:cxn>
              <a:cxn ang="0">
                <a:pos x="connsiteX56416" y="connsiteY56416"/>
              </a:cxn>
              <a:cxn ang="0">
                <a:pos x="connsiteX56417" y="connsiteY56417"/>
              </a:cxn>
              <a:cxn ang="0">
                <a:pos x="connsiteX56418" y="connsiteY56418"/>
              </a:cxn>
              <a:cxn ang="0">
                <a:pos x="connsiteX56419" y="connsiteY56419"/>
              </a:cxn>
              <a:cxn ang="0">
                <a:pos x="connsiteX56420" y="connsiteY56420"/>
              </a:cxn>
              <a:cxn ang="0">
                <a:pos x="connsiteX56421" y="connsiteY56421"/>
              </a:cxn>
              <a:cxn ang="0">
                <a:pos x="connsiteX56422" y="connsiteY56422"/>
              </a:cxn>
              <a:cxn ang="0">
                <a:pos x="connsiteX56423" y="connsiteY56423"/>
              </a:cxn>
              <a:cxn ang="0">
                <a:pos x="connsiteX56424" y="connsiteY56424"/>
              </a:cxn>
              <a:cxn ang="0">
                <a:pos x="connsiteX56425" y="connsiteY56425"/>
              </a:cxn>
              <a:cxn ang="0">
                <a:pos x="connsiteX56426" y="connsiteY56426"/>
              </a:cxn>
              <a:cxn ang="0">
                <a:pos x="connsiteX56427" y="connsiteY56427"/>
              </a:cxn>
              <a:cxn ang="0">
                <a:pos x="connsiteX56428" y="connsiteY56428"/>
              </a:cxn>
              <a:cxn ang="0">
                <a:pos x="connsiteX56429" y="connsiteY56429"/>
              </a:cxn>
              <a:cxn ang="0">
                <a:pos x="connsiteX56430" y="connsiteY56430"/>
              </a:cxn>
              <a:cxn ang="0">
                <a:pos x="connsiteX56431" y="connsiteY56431"/>
              </a:cxn>
              <a:cxn ang="0">
                <a:pos x="connsiteX56432" y="connsiteY56432"/>
              </a:cxn>
              <a:cxn ang="0">
                <a:pos x="connsiteX56433" y="connsiteY56433"/>
              </a:cxn>
              <a:cxn ang="0">
                <a:pos x="connsiteX56434" y="connsiteY56434"/>
              </a:cxn>
              <a:cxn ang="0">
                <a:pos x="connsiteX56435" y="connsiteY56435"/>
              </a:cxn>
              <a:cxn ang="0">
                <a:pos x="connsiteX56436" y="connsiteY56436"/>
              </a:cxn>
              <a:cxn ang="0">
                <a:pos x="connsiteX56437" y="connsiteY56437"/>
              </a:cxn>
              <a:cxn ang="0">
                <a:pos x="connsiteX56438" y="connsiteY56438"/>
              </a:cxn>
              <a:cxn ang="0">
                <a:pos x="connsiteX56439" y="connsiteY56439"/>
              </a:cxn>
              <a:cxn ang="0">
                <a:pos x="connsiteX56440" y="connsiteY56440"/>
              </a:cxn>
              <a:cxn ang="0">
                <a:pos x="connsiteX56441" y="connsiteY56441"/>
              </a:cxn>
              <a:cxn ang="0">
                <a:pos x="connsiteX56442" y="connsiteY56442"/>
              </a:cxn>
              <a:cxn ang="0">
                <a:pos x="connsiteX56443" y="connsiteY56443"/>
              </a:cxn>
              <a:cxn ang="0">
                <a:pos x="connsiteX56444" y="connsiteY56444"/>
              </a:cxn>
              <a:cxn ang="0">
                <a:pos x="connsiteX56445" y="connsiteY56445"/>
              </a:cxn>
              <a:cxn ang="0">
                <a:pos x="connsiteX56446" y="connsiteY56446"/>
              </a:cxn>
              <a:cxn ang="0">
                <a:pos x="connsiteX56447" y="connsiteY56447"/>
              </a:cxn>
              <a:cxn ang="0">
                <a:pos x="connsiteX56448" y="connsiteY56448"/>
              </a:cxn>
              <a:cxn ang="0">
                <a:pos x="connsiteX56449" y="connsiteY56449"/>
              </a:cxn>
              <a:cxn ang="0">
                <a:pos x="connsiteX56450" y="connsiteY56450"/>
              </a:cxn>
              <a:cxn ang="0">
                <a:pos x="connsiteX56451" y="connsiteY56451"/>
              </a:cxn>
              <a:cxn ang="0">
                <a:pos x="connsiteX56452" y="connsiteY56452"/>
              </a:cxn>
              <a:cxn ang="0">
                <a:pos x="connsiteX56453" y="connsiteY56453"/>
              </a:cxn>
              <a:cxn ang="0">
                <a:pos x="connsiteX56454" y="connsiteY56454"/>
              </a:cxn>
              <a:cxn ang="0">
                <a:pos x="connsiteX56455" y="connsiteY56455"/>
              </a:cxn>
              <a:cxn ang="0">
                <a:pos x="connsiteX56456" y="connsiteY56456"/>
              </a:cxn>
              <a:cxn ang="0">
                <a:pos x="connsiteX56457" y="connsiteY56457"/>
              </a:cxn>
              <a:cxn ang="0">
                <a:pos x="connsiteX56458" y="connsiteY56458"/>
              </a:cxn>
              <a:cxn ang="0">
                <a:pos x="connsiteX56459" y="connsiteY56459"/>
              </a:cxn>
              <a:cxn ang="0">
                <a:pos x="connsiteX56460" y="connsiteY56460"/>
              </a:cxn>
              <a:cxn ang="0">
                <a:pos x="connsiteX56461" y="connsiteY56461"/>
              </a:cxn>
              <a:cxn ang="0">
                <a:pos x="connsiteX56462" y="connsiteY56462"/>
              </a:cxn>
              <a:cxn ang="0">
                <a:pos x="connsiteX56463" y="connsiteY56463"/>
              </a:cxn>
              <a:cxn ang="0">
                <a:pos x="connsiteX56464" y="connsiteY56464"/>
              </a:cxn>
              <a:cxn ang="0">
                <a:pos x="connsiteX56465" y="connsiteY56465"/>
              </a:cxn>
              <a:cxn ang="0">
                <a:pos x="connsiteX56466" y="connsiteY56466"/>
              </a:cxn>
              <a:cxn ang="0">
                <a:pos x="connsiteX56467" y="connsiteY56467"/>
              </a:cxn>
              <a:cxn ang="0">
                <a:pos x="connsiteX56468" y="connsiteY56468"/>
              </a:cxn>
              <a:cxn ang="0">
                <a:pos x="connsiteX56469" y="connsiteY56469"/>
              </a:cxn>
              <a:cxn ang="0">
                <a:pos x="connsiteX56470" y="connsiteY56470"/>
              </a:cxn>
              <a:cxn ang="0">
                <a:pos x="connsiteX56471" y="connsiteY56471"/>
              </a:cxn>
              <a:cxn ang="0">
                <a:pos x="connsiteX56472" y="connsiteY56472"/>
              </a:cxn>
              <a:cxn ang="0">
                <a:pos x="connsiteX56473" y="connsiteY56473"/>
              </a:cxn>
              <a:cxn ang="0">
                <a:pos x="connsiteX56474" y="connsiteY56474"/>
              </a:cxn>
              <a:cxn ang="0">
                <a:pos x="connsiteX56475" y="connsiteY56475"/>
              </a:cxn>
              <a:cxn ang="0">
                <a:pos x="connsiteX56476" y="connsiteY56476"/>
              </a:cxn>
              <a:cxn ang="0">
                <a:pos x="connsiteX56477" y="connsiteY56477"/>
              </a:cxn>
              <a:cxn ang="0">
                <a:pos x="connsiteX56478" y="connsiteY56478"/>
              </a:cxn>
              <a:cxn ang="0">
                <a:pos x="connsiteX56479" y="connsiteY56479"/>
              </a:cxn>
              <a:cxn ang="0">
                <a:pos x="connsiteX56480" y="connsiteY56480"/>
              </a:cxn>
              <a:cxn ang="0">
                <a:pos x="connsiteX56481" y="connsiteY56481"/>
              </a:cxn>
              <a:cxn ang="0">
                <a:pos x="connsiteX56482" y="connsiteY56482"/>
              </a:cxn>
              <a:cxn ang="0">
                <a:pos x="connsiteX56483" y="connsiteY56483"/>
              </a:cxn>
              <a:cxn ang="0">
                <a:pos x="connsiteX56484" y="connsiteY56484"/>
              </a:cxn>
              <a:cxn ang="0">
                <a:pos x="connsiteX56485" y="connsiteY56485"/>
              </a:cxn>
              <a:cxn ang="0">
                <a:pos x="connsiteX56486" y="connsiteY56486"/>
              </a:cxn>
              <a:cxn ang="0">
                <a:pos x="connsiteX56487" y="connsiteY56487"/>
              </a:cxn>
              <a:cxn ang="0">
                <a:pos x="connsiteX56488" y="connsiteY56488"/>
              </a:cxn>
              <a:cxn ang="0">
                <a:pos x="connsiteX56489" y="connsiteY56489"/>
              </a:cxn>
              <a:cxn ang="0">
                <a:pos x="connsiteX56490" y="connsiteY56490"/>
              </a:cxn>
              <a:cxn ang="0">
                <a:pos x="connsiteX56491" y="connsiteY56491"/>
              </a:cxn>
              <a:cxn ang="0">
                <a:pos x="connsiteX56492" y="connsiteY56492"/>
              </a:cxn>
              <a:cxn ang="0">
                <a:pos x="connsiteX56493" y="connsiteY56493"/>
              </a:cxn>
              <a:cxn ang="0">
                <a:pos x="connsiteX56494" y="connsiteY56494"/>
              </a:cxn>
              <a:cxn ang="0">
                <a:pos x="connsiteX56495" y="connsiteY56495"/>
              </a:cxn>
              <a:cxn ang="0">
                <a:pos x="connsiteX56496" y="connsiteY56496"/>
              </a:cxn>
              <a:cxn ang="0">
                <a:pos x="connsiteX56497" y="connsiteY56497"/>
              </a:cxn>
              <a:cxn ang="0">
                <a:pos x="connsiteX56498" y="connsiteY56498"/>
              </a:cxn>
              <a:cxn ang="0">
                <a:pos x="connsiteX56499" y="connsiteY56499"/>
              </a:cxn>
              <a:cxn ang="0">
                <a:pos x="connsiteX56500" y="connsiteY56500"/>
              </a:cxn>
              <a:cxn ang="0">
                <a:pos x="connsiteX56501" y="connsiteY56501"/>
              </a:cxn>
              <a:cxn ang="0">
                <a:pos x="connsiteX56502" y="connsiteY56502"/>
              </a:cxn>
              <a:cxn ang="0">
                <a:pos x="connsiteX56503" y="connsiteY56503"/>
              </a:cxn>
              <a:cxn ang="0">
                <a:pos x="connsiteX56504" y="connsiteY56504"/>
              </a:cxn>
              <a:cxn ang="0">
                <a:pos x="connsiteX56505" y="connsiteY56505"/>
              </a:cxn>
              <a:cxn ang="0">
                <a:pos x="connsiteX56506" y="connsiteY56506"/>
              </a:cxn>
              <a:cxn ang="0">
                <a:pos x="connsiteX56507" y="connsiteY56507"/>
              </a:cxn>
              <a:cxn ang="0">
                <a:pos x="connsiteX56508" y="connsiteY56508"/>
              </a:cxn>
              <a:cxn ang="0">
                <a:pos x="connsiteX56509" y="connsiteY56509"/>
              </a:cxn>
              <a:cxn ang="0">
                <a:pos x="connsiteX56510" y="connsiteY56510"/>
              </a:cxn>
              <a:cxn ang="0">
                <a:pos x="connsiteX56511" y="connsiteY56511"/>
              </a:cxn>
              <a:cxn ang="0">
                <a:pos x="connsiteX56512" y="connsiteY56512"/>
              </a:cxn>
              <a:cxn ang="0">
                <a:pos x="connsiteX56513" y="connsiteY56513"/>
              </a:cxn>
              <a:cxn ang="0">
                <a:pos x="connsiteX56514" y="connsiteY56514"/>
              </a:cxn>
              <a:cxn ang="0">
                <a:pos x="connsiteX56515" y="connsiteY56515"/>
              </a:cxn>
              <a:cxn ang="0">
                <a:pos x="connsiteX56516" y="connsiteY56516"/>
              </a:cxn>
              <a:cxn ang="0">
                <a:pos x="connsiteX56517" y="connsiteY56517"/>
              </a:cxn>
              <a:cxn ang="0">
                <a:pos x="connsiteX56518" y="connsiteY56518"/>
              </a:cxn>
              <a:cxn ang="0">
                <a:pos x="connsiteX56519" y="connsiteY56519"/>
              </a:cxn>
              <a:cxn ang="0">
                <a:pos x="connsiteX56520" y="connsiteY56520"/>
              </a:cxn>
              <a:cxn ang="0">
                <a:pos x="connsiteX56521" y="connsiteY56521"/>
              </a:cxn>
              <a:cxn ang="0">
                <a:pos x="connsiteX56522" y="connsiteY56522"/>
              </a:cxn>
              <a:cxn ang="0">
                <a:pos x="connsiteX56523" y="connsiteY56523"/>
              </a:cxn>
              <a:cxn ang="0">
                <a:pos x="connsiteX56524" y="connsiteY56524"/>
              </a:cxn>
              <a:cxn ang="0">
                <a:pos x="connsiteX56525" y="connsiteY56525"/>
              </a:cxn>
              <a:cxn ang="0">
                <a:pos x="connsiteX56526" y="connsiteY56526"/>
              </a:cxn>
              <a:cxn ang="0">
                <a:pos x="connsiteX56527" y="connsiteY56527"/>
              </a:cxn>
              <a:cxn ang="0">
                <a:pos x="connsiteX56528" y="connsiteY56528"/>
              </a:cxn>
              <a:cxn ang="0">
                <a:pos x="connsiteX56529" y="connsiteY56529"/>
              </a:cxn>
              <a:cxn ang="0">
                <a:pos x="connsiteX56530" y="connsiteY56530"/>
              </a:cxn>
              <a:cxn ang="0">
                <a:pos x="connsiteX56531" y="connsiteY56531"/>
              </a:cxn>
              <a:cxn ang="0">
                <a:pos x="connsiteX56532" y="connsiteY56532"/>
              </a:cxn>
              <a:cxn ang="0">
                <a:pos x="connsiteX56533" y="connsiteY56533"/>
              </a:cxn>
              <a:cxn ang="0">
                <a:pos x="connsiteX56534" y="connsiteY56534"/>
              </a:cxn>
              <a:cxn ang="0">
                <a:pos x="connsiteX56535" y="connsiteY56535"/>
              </a:cxn>
              <a:cxn ang="0">
                <a:pos x="connsiteX56536" y="connsiteY56536"/>
              </a:cxn>
              <a:cxn ang="0">
                <a:pos x="connsiteX56537" y="connsiteY56537"/>
              </a:cxn>
              <a:cxn ang="0">
                <a:pos x="connsiteX56538" y="connsiteY56538"/>
              </a:cxn>
              <a:cxn ang="0">
                <a:pos x="connsiteX56539" y="connsiteY56539"/>
              </a:cxn>
              <a:cxn ang="0">
                <a:pos x="connsiteX56540" y="connsiteY56540"/>
              </a:cxn>
              <a:cxn ang="0">
                <a:pos x="connsiteX56541" y="connsiteY56541"/>
              </a:cxn>
              <a:cxn ang="0">
                <a:pos x="connsiteX56542" y="connsiteY56542"/>
              </a:cxn>
              <a:cxn ang="0">
                <a:pos x="connsiteX56543" y="connsiteY56543"/>
              </a:cxn>
              <a:cxn ang="0">
                <a:pos x="connsiteX56544" y="connsiteY56544"/>
              </a:cxn>
              <a:cxn ang="0">
                <a:pos x="connsiteX56545" y="connsiteY56545"/>
              </a:cxn>
              <a:cxn ang="0">
                <a:pos x="connsiteX56546" y="connsiteY56546"/>
              </a:cxn>
              <a:cxn ang="0">
                <a:pos x="connsiteX56547" y="connsiteY56547"/>
              </a:cxn>
              <a:cxn ang="0">
                <a:pos x="connsiteX56548" y="connsiteY56548"/>
              </a:cxn>
              <a:cxn ang="0">
                <a:pos x="connsiteX56549" y="connsiteY56549"/>
              </a:cxn>
              <a:cxn ang="0">
                <a:pos x="connsiteX56550" y="connsiteY56550"/>
              </a:cxn>
              <a:cxn ang="0">
                <a:pos x="connsiteX56551" y="connsiteY56551"/>
              </a:cxn>
              <a:cxn ang="0">
                <a:pos x="connsiteX56552" y="connsiteY56552"/>
              </a:cxn>
              <a:cxn ang="0">
                <a:pos x="connsiteX56553" y="connsiteY56553"/>
              </a:cxn>
              <a:cxn ang="0">
                <a:pos x="connsiteX56554" y="connsiteY56554"/>
              </a:cxn>
              <a:cxn ang="0">
                <a:pos x="connsiteX56555" y="connsiteY56555"/>
              </a:cxn>
              <a:cxn ang="0">
                <a:pos x="connsiteX56556" y="connsiteY56556"/>
              </a:cxn>
              <a:cxn ang="0">
                <a:pos x="connsiteX56557" y="connsiteY56557"/>
              </a:cxn>
              <a:cxn ang="0">
                <a:pos x="connsiteX56558" y="connsiteY56558"/>
              </a:cxn>
              <a:cxn ang="0">
                <a:pos x="connsiteX56559" y="connsiteY56559"/>
              </a:cxn>
              <a:cxn ang="0">
                <a:pos x="connsiteX56560" y="connsiteY56560"/>
              </a:cxn>
              <a:cxn ang="0">
                <a:pos x="connsiteX56561" y="connsiteY56561"/>
              </a:cxn>
              <a:cxn ang="0">
                <a:pos x="connsiteX56562" y="connsiteY56562"/>
              </a:cxn>
              <a:cxn ang="0">
                <a:pos x="connsiteX56563" y="connsiteY56563"/>
              </a:cxn>
              <a:cxn ang="0">
                <a:pos x="connsiteX56564" y="connsiteY56564"/>
              </a:cxn>
              <a:cxn ang="0">
                <a:pos x="connsiteX56565" y="connsiteY56565"/>
              </a:cxn>
              <a:cxn ang="0">
                <a:pos x="connsiteX56566" y="connsiteY56566"/>
              </a:cxn>
              <a:cxn ang="0">
                <a:pos x="connsiteX56567" y="connsiteY56567"/>
              </a:cxn>
              <a:cxn ang="0">
                <a:pos x="connsiteX56568" y="connsiteY56568"/>
              </a:cxn>
              <a:cxn ang="0">
                <a:pos x="connsiteX56569" y="connsiteY56569"/>
              </a:cxn>
              <a:cxn ang="0">
                <a:pos x="connsiteX56570" y="connsiteY56570"/>
              </a:cxn>
              <a:cxn ang="0">
                <a:pos x="connsiteX56571" y="connsiteY56571"/>
              </a:cxn>
              <a:cxn ang="0">
                <a:pos x="connsiteX56572" y="connsiteY56572"/>
              </a:cxn>
              <a:cxn ang="0">
                <a:pos x="connsiteX56573" y="connsiteY56573"/>
              </a:cxn>
              <a:cxn ang="0">
                <a:pos x="connsiteX56574" y="connsiteY56574"/>
              </a:cxn>
              <a:cxn ang="0">
                <a:pos x="connsiteX56575" y="connsiteY56575"/>
              </a:cxn>
              <a:cxn ang="0">
                <a:pos x="connsiteX56576" y="connsiteY56576"/>
              </a:cxn>
              <a:cxn ang="0">
                <a:pos x="connsiteX56577" y="connsiteY56577"/>
              </a:cxn>
              <a:cxn ang="0">
                <a:pos x="connsiteX56578" y="connsiteY56578"/>
              </a:cxn>
              <a:cxn ang="0">
                <a:pos x="connsiteX56579" y="connsiteY56579"/>
              </a:cxn>
              <a:cxn ang="0">
                <a:pos x="connsiteX56580" y="connsiteY56580"/>
              </a:cxn>
              <a:cxn ang="0">
                <a:pos x="connsiteX56581" y="connsiteY56581"/>
              </a:cxn>
              <a:cxn ang="0">
                <a:pos x="connsiteX56582" y="connsiteY56582"/>
              </a:cxn>
              <a:cxn ang="0">
                <a:pos x="connsiteX56583" y="connsiteY56583"/>
              </a:cxn>
              <a:cxn ang="0">
                <a:pos x="connsiteX56584" y="connsiteY56584"/>
              </a:cxn>
              <a:cxn ang="0">
                <a:pos x="connsiteX56585" y="connsiteY56585"/>
              </a:cxn>
              <a:cxn ang="0">
                <a:pos x="connsiteX56586" y="connsiteY56586"/>
              </a:cxn>
              <a:cxn ang="0">
                <a:pos x="connsiteX56587" y="connsiteY56587"/>
              </a:cxn>
              <a:cxn ang="0">
                <a:pos x="connsiteX56588" y="connsiteY56588"/>
              </a:cxn>
              <a:cxn ang="0">
                <a:pos x="connsiteX56589" y="connsiteY56589"/>
              </a:cxn>
              <a:cxn ang="0">
                <a:pos x="connsiteX56590" y="connsiteY56590"/>
              </a:cxn>
              <a:cxn ang="0">
                <a:pos x="connsiteX56591" y="connsiteY56591"/>
              </a:cxn>
              <a:cxn ang="0">
                <a:pos x="connsiteX56592" y="connsiteY56592"/>
              </a:cxn>
              <a:cxn ang="0">
                <a:pos x="connsiteX56593" y="connsiteY56593"/>
              </a:cxn>
              <a:cxn ang="0">
                <a:pos x="connsiteX56594" y="connsiteY56594"/>
              </a:cxn>
              <a:cxn ang="0">
                <a:pos x="connsiteX56595" y="connsiteY56595"/>
              </a:cxn>
              <a:cxn ang="0">
                <a:pos x="connsiteX56596" y="connsiteY56596"/>
              </a:cxn>
              <a:cxn ang="0">
                <a:pos x="connsiteX56597" y="connsiteY56597"/>
              </a:cxn>
              <a:cxn ang="0">
                <a:pos x="connsiteX56598" y="connsiteY56598"/>
              </a:cxn>
              <a:cxn ang="0">
                <a:pos x="connsiteX56599" y="connsiteY56599"/>
              </a:cxn>
              <a:cxn ang="0">
                <a:pos x="connsiteX56600" y="connsiteY56600"/>
              </a:cxn>
              <a:cxn ang="0">
                <a:pos x="connsiteX56601" y="connsiteY56601"/>
              </a:cxn>
              <a:cxn ang="0">
                <a:pos x="connsiteX56602" y="connsiteY56602"/>
              </a:cxn>
              <a:cxn ang="0">
                <a:pos x="connsiteX56603" y="connsiteY56603"/>
              </a:cxn>
              <a:cxn ang="0">
                <a:pos x="connsiteX56604" y="connsiteY56604"/>
              </a:cxn>
              <a:cxn ang="0">
                <a:pos x="connsiteX56605" y="connsiteY56605"/>
              </a:cxn>
              <a:cxn ang="0">
                <a:pos x="connsiteX56606" y="connsiteY56606"/>
              </a:cxn>
              <a:cxn ang="0">
                <a:pos x="connsiteX56607" y="connsiteY56607"/>
              </a:cxn>
              <a:cxn ang="0">
                <a:pos x="connsiteX56608" y="connsiteY56608"/>
              </a:cxn>
              <a:cxn ang="0">
                <a:pos x="connsiteX56609" y="connsiteY56609"/>
              </a:cxn>
              <a:cxn ang="0">
                <a:pos x="connsiteX56610" y="connsiteY56610"/>
              </a:cxn>
              <a:cxn ang="0">
                <a:pos x="connsiteX56611" y="connsiteY56611"/>
              </a:cxn>
              <a:cxn ang="0">
                <a:pos x="connsiteX56612" y="connsiteY56612"/>
              </a:cxn>
              <a:cxn ang="0">
                <a:pos x="connsiteX56613" y="connsiteY56613"/>
              </a:cxn>
              <a:cxn ang="0">
                <a:pos x="connsiteX56614" y="connsiteY56614"/>
              </a:cxn>
              <a:cxn ang="0">
                <a:pos x="connsiteX56615" y="connsiteY56615"/>
              </a:cxn>
              <a:cxn ang="0">
                <a:pos x="connsiteX56616" y="connsiteY56616"/>
              </a:cxn>
              <a:cxn ang="0">
                <a:pos x="connsiteX56617" y="connsiteY56617"/>
              </a:cxn>
              <a:cxn ang="0">
                <a:pos x="connsiteX56618" y="connsiteY56618"/>
              </a:cxn>
              <a:cxn ang="0">
                <a:pos x="connsiteX56619" y="connsiteY56619"/>
              </a:cxn>
              <a:cxn ang="0">
                <a:pos x="connsiteX56620" y="connsiteY56620"/>
              </a:cxn>
              <a:cxn ang="0">
                <a:pos x="connsiteX56621" y="connsiteY56621"/>
              </a:cxn>
              <a:cxn ang="0">
                <a:pos x="connsiteX56622" y="connsiteY56622"/>
              </a:cxn>
              <a:cxn ang="0">
                <a:pos x="connsiteX56623" y="connsiteY56623"/>
              </a:cxn>
              <a:cxn ang="0">
                <a:pos x="connsiteX56624" y="connsiteY56624"/>
              </a:cxn>
              <a:cxn ang="0">
                <a:pos x="connsiteX56625" y="connsiteY56625"/>
              </a:cxn>
              <a:cxn ang="0">
                <a:pos x="connsiteX56626" y="connsiteY56626"/>
              </a:cxn>
              <a:cxn ang="0">
                <a:pos x="connsiteX56627" y="connsiteY56627"/>
              </a:cxn>
              <a:cxn ang="0">
                <a:pos x="connsiteX56628" y="connsiteY56628"/>
              </a:cxn>
              <a:cxn ang="0">
                <a:pos x="connsiteX56629" y="connsiteY56629"/>
              </a:cxn>
              <a:cxn ang="0">
                <a:pos x="connsiteX56630" y="connsiteY56630"/>
              </a:cxn>
              <a:cxn ang="0">
                <a:pos x="connsiteX56631" y="connsiteY56631"/>
              </a:cxn>
              <a:cxn ang="0">
                <a:pos x="connsiteX56632" y="connsiteY56632"/>
              </a:cxn>
              <a:cxn ang="0">
                <a:pos x="connsiteX56633" y="connsiteY56633"/>
              </a:cxn>
              <a:cxn ang="0">
                <a:pos x="connsiteX56634" y="connsiteY56634"/>
              </a:cxn>
              <a:cxn ang="0">
                <a:pos x="connsiteX56635" y="connsiteY56635"/>
              </a:cxn>
              <a:cxn ang="0">
                <a:pos x="connsiteX56636" y="connsiteY56636"/>
              </a:cxn>
              <a:cxn ang="0">
                <a:pos x="connsiteX56637" y="connsiteY56637"/>
              </a:cxn>
              <a:cxn ang="0">
                <a:pos x="connsiteX56638" y="connsiteY56638"/>
              </a:cxn>
              <a:cxn ang="0">
                <a:pos x="connsiteX56639" y="connsiteY56639"/>
              </a:cxn>
              <a:cxn ang="0">
                <a:pos x="connsiteX56640" y="connsiteY56640"/>
              </a:cxn>
              <a:cxn ang="0">
                <a:pos x="connsiteX56641" y="connsiteY56641"/>
              </a:cxn>
              <a:cxn ang="0">
                <a:pos x="connsiteX56642" y="connsiteY56642"/>
              </a:cxn>
              <a:cxn ang="0">
                <a:pos x="connsiteX56643" y="connsiteY56643"/>
              </a:cxn>
              <a:cxn ang="0">
                <a:pos x="connsiteX56644" y="connsiteY56644"/>
              </a:cxn>
              <a:cxn ang="0">
                <a:pos x="connsiteX56645" y="connsiteY56645"/>
              </a:cxn>
              <a:cxn ang="0">
                <a:pos x="connsiteX56646" y="connsiteY56646"/>
              </a:cxn>
              <a:cxn ang="0">
                <a:pos x="connsiteX56647" y="connsiteY56647"/>
              </a:cxn>
              <a:cxn ang="0">
                <a:pos x="connsiteX56648" y="connsiteY56648"/>
              </a:cxn>
              <a:cxn ang="0">
                <a:pos x="connsiteX56649" y="connsiteY56649"/>
              </a:cxn>
              <a:cxn ang="0">
                <a:pos x="connsiteX56650" y="connsiteY56650"/>
              </a:cxn>
              <a:cxn ang="0">
                <a:pos x="connsiteX56651" y="connsiteY56651"/>
              </a:cxn>
              <a:cxn ang="0">
                <a:pos x="connsiteX56652" y="connsiteY56652"/>
              </a:cxn>
              <a:cxn ang="0">
                <a:pos x="connsiteX56653" y="connsiteY56653"/>
              </a:cxn>
              <a:cxn ang="0">
                <a:pos x="connsiteX56654" y="connsiteY56654"/>
              </a:cxn>
              <a:cxn ang="0">
                <a:pos x="connsiteX56655" y="connsiteY56655"/>
              </a:cxn>
              <a:cxn ang="0">
                <a:pos x="connsiteX56656" y="connsiteY56656"/>
              </a:cxn>
              <a:cxn ang="0">
                <a:pos x="connsiteX56657" y="connsiteY56657"/>
              </a:cxn>
              <a:cxn ang="0">
                <a:pos x="connsiteX56658" y="connsiteY56658"/>
              </a:cxn>
              <a:cxn ang="0">
                <a:pos x="connsiteX56659" y="connsiteY56659"/>
              </a:cxn>
              <a:cxn ang="0">
                <a:pos x="connsiteX56660" y="connsiteY56660"/>
              </a:cxn>
              <a:cxn ang="0">
                <a:pos x="connsiteX56661" y="connsiteY56661"/>
              </a:cxn>
              <a:cxn ang="0">
                <a:pos x="connsiteX56662" y="connsiteY56662"/>
              </a:cxn>
              <a:cxn ang="0">
                <a:pos x="connsiteX56663" y="connsiteY56663"/>
              </a:cxn>
              <a:cxn ang="0">
                <a:pos x="connsiteX56664" y="connsiteY56664"/>
              </a:cxn>
              <a:cxn ang="0">
                <a:pos x="connsiteX56665" y="connsiteY56665"/>
              </a:cxn>
              <a:cxn ang="0">
                <a:pos x="connsiteX56666" y="connsiteY56666"/>
              </a:cxn>
              <a:cxn ang="0">
                <a:pos x="connsiteX56667" y="connsiteY56667"/>
              </a:cxn>
              <a:cxn ang="0">
                <a:pos x="connsiteX56668" y="connsiteY56668"/>
              </a:cxn>
              <a:cxn ang="0">
                <a:pos x="connsiteX56669" y="connsiteY56669"/>
              </a:cxn>
              <a:cxn ang="0">
                <a:pos x="connsiteX56670" y="connsiteY56670"/>
              </a:cxn>
              <a:cxn ang="0">
                <a:pos x="connsiteX56671" y="connsiteY56671"/>
              </a:cxn>
              <a:cxn ang="0">
                <a:pos x="connsiteX56672" y="connsiteY56672"/>
              </a:cxn>
              <a:cxn ang="0">
                <a:pos x="connsiteX56673" y="connsiteY56673"/>
              </a:cxn>
              <a:cxn ang="0">
                <a:pos x="connsiteX56674" y="connsiteY56674"/>
              </a:cxn>
              <a:cxn ang="0">
                <a:pos x="connsiteX56675" y="connsiteY56675"/>
              </a:cxn>
              <a:cxn ang="0">
                <a:pos x="connsiteX56676" y="connsiteY56676"/>
              </a:cxn>
              <a:cxn ang="0">
                <a:pos x="connsiteX56677" y="connsiteY56677"/>
              </a:cxn>
              <a:cxn ang="0">
                <a:pos x="connsiteX56678" y="connsiteY56678"/>
              </a:cxn>
              <a:cxn ang="0">
                <a:pos x="connsiteX56679" y="connsiteY56679"/>
              </a:cxn>
              <a:cxn ang="0">
                <a:pos x="connsiteX56680" y="connsiteY56680"/>
              </a:cxn>
              <a:cxn ang="0">
                <a:pos x="connsiteX56681" y="connsiteY56681"/>
              </a:cxn>
              <a:cxn ang="0">
                <a:pos x="connsiteX56682" y="connsiteY56682"/>
              </a:cxn>
              <a:cxn ang="0">
                <a:pos x="connsiteX56683" y="connsiteY56683"/>
              </a:cxn>
              <a:cxn ang="0">
                <a:pos x="connsiteX56684" y="connsiteY56684"/>
              </a:cxn>
              <a:cxn ang="0">
                <a:pos x="connsiteX56685" y="connsiteY56685"/>
              </a:cxn>
              <a:cxn ang="0">
                <a:pos x="connsiteX56686" y="connsiteY56686"/>
              </a:cxn>
              <a:cxn ang="0">
                <a:pos x="connsiteX56687" y="connsiteY56687"/>
              </a:cxn>
              <a:cxn ang="0">
                <a:pos x="connsiteX56688" y="connsiteY56688"/>
              </a:cxn>
              <a:cxn ang="0">
                <a:pos x="connsiteX56689" y="connsiteY56689"/>
              </a:cxn>
              <a:cxn ang="0">
                <a:pos x="connsiteX56690" y="connsiteY56690"/>
              </a:cxn>
              <a:cxn ang="0">
                <a:pos x="connsiteX56691" y="connsiteY56691"/>
              </a:cxn>
              <a:cxn ang="0">
                <a:pos x="connsiteX56692" y="connsiteY56692"/>
              </a:cxn>
              <a:cxn ang="0">
                <a:pos x="connsiteX56693" y="connsiteY56693"/>
              </a:cxn>
              <a:cxn ang="0">
                <a:pos x="connsiteX56694" y="connsiteY56694"/>
              </a:cxn>
              <a:cxn ang="0">
                <a:pos x="connsiteX56695" y="connsiteY56695"/>
              </a:cxn>
              <a:cxn ang="0">
                <a:pos x="connsiteX56696" y="connsiteY56696"/>
              </a:cxn>
              <a:cxn ang="0">
                <a:pos x="connsiteX56697" y="connsiteY56697"/>
              </a:cxn>
              <a:cxn ang="0">
                <a:pos x="connsiteX56698" y="connsiteY56698"/>
              </a:cxn>
              <a:cxn ang="0">
                <a:pos x="connsiteX56699" y="connsiteY56699"/>
              </a:cxn>
              <a:cxn ang="0">
                <a:pos x="connsiteX56700" y="connsiteY56700"/>
              </a:cxn>
              <a:cxn ang="0">
                <a:pos x="connsiteX56701" y="connsiteY56701"/>
              </a:cxn>
              <a:cxn ang="0">
                <a:pos x="connsiteX56702" y="connsiteY56702"/>
              </a:cxn>
              <a:cxn ang="0">
                <a:pos x="connsiteX56703" y="connsiteY56703"/>
              </a:cxn>
              <a:cxn ang="0">
                <a:pos x="connsiteX56704" y="connsiteY56704"/>
              </a:cxn>
              <a:cxn ang="0">
                <a:pos x="connsiteX56705" y="connsiteY56705"/>
              </a:cxn>
              <a:cxn ang="0">
                <a:pos x="connsiteX56706" y="connsiteY56706"/>
              </a:cxn>
              <a:cxn ang="0">
                <a:pos x="connsiteX56707" y="connsiteY56707"/>
              </a:cxn>
              <a:cxn ang="0">
                <a:pos x="connsiteX56708" y="connsiteY56708"/>
              </a:cxn>
              <a:cxn ang="0">
                <a:pos x="connsiteX56709" y="connsiteY56709"/>
              </a:cxn>
              <a:cxn ang="0">
                <a:pos x="connsiteX56710" y="connsiteY56710"/>
              </a:cxn>
              <a:cxn ang="0">
                <a:pos x="connsiteX56711" y="connsiteY56711"/>
              </a:cxn>
              <a:cxn ang="0">
                <a:pos x="connsiteX56712" y="connsiteY56712"/>
              </a:cxn>
              <a:cxn ang="0">
                <a:pos x="connsiteX56713" y="connsiteY56713"/>
              </a:cxn>
              <a:cxn ang="0">
                <a:pos x="connsiteX56714" y="connsiteY56714"/>
              </a:cxn>
              <a:cxn ang="0">
                <a:pos x="connsiteX56715" y="connsiteY56715"/>
              </a:cxn>
              <a:cxn ang="0">
                <a:pos x="connsiteX56716" y="connsiteY56716"/>
              </a:cxn>
              <a:cxn ang="0">
                <a:pos x="connsiteX56717" y="connsiteY56717"/>
              </a:cxn>
              <a:cxn ang="0">
                <a:pos x="connsiteX56718" y="connsiteY56718"/>
              </a:cxn>
              <a:cxn ang="0">
                <a:pos x="connsiteX56719" y="connsiteY56719"/>
              </a:cxn>
              <a:cxn ang="0">
                <a:pos x="connsiteX56720" y="connsiteY56720"/>
              </a:cxn>
              <a:cxn ang="0">
                <a:pos x="connsiteX56721" y="connsiteY56721"/>
              </a:cxn>
              <a:cxn ang="0">
                <a:pos x="connsiteX56722" y="connsiteY56722"/>
              </a:cxn>
              <a:cxn ang="0">
                <a:pos x="connsiteX56723" y="connsiteY56723"/>
              </a:cxn>
              <a:cxn ang="0">
                <a:pos x="connsiteX56724" y="connsiteY56724"/>
              </a:cxn>
              <a:cxn ang="0">
                <a:pos x="connsiteX56725" y="connsiteY56725"/>
              </a:cxn>
              <a:cxn ang="0">
                <a:pos x="connsiteX56726" y="connsiteY56726"/>
              </a:cxn>
              <a:cxn ang="0">
                <a:pos x="connsiteX56727" y="connsiteY56727"/>
              </a:cxn>
              <a:cxn ang="0">
                <a:pos x="connsiteX56728" y="connsiteY56728"/>
              </a:cxn>
              <a:cxn ang="0">
                <a:pos x="connsiteX56729" y="connsiteY56729"/>
              </a:cxn>
              <a:cxn ang="0">
                <a:pos x="connsiteX56730" y="connsiteY56730"/>
              </a:cxn>
              <a:cxn ang="0">
                <a:pos x="connsiteX56731" y="connsiteY56731"/>
              </a:cxn>
              <a:cxn ang="0">
                <a:pos x="connsiteX56732" y="connsiteY56732"/>
              </a:cxn>
              <a:cxn ang="0">
                <a:pos x="connsiteX56733" y="connsiteY56733"/>
              </a:cxn>
              <a:cxn ang="0">
                <a:pos x="connsiteX56734" y="connsiteY56734"/>
              </a:cxn>
              <a:cxn ang="0">
                <a:pos x="connsiteX56735" y="connsiteY56735"/>
              </a:cxn>
              <a:cxn ang="0">
                <a:pos x="connsiteX56736" y="connsiteY56736"/>
              </a:cxn>
              <a:cxn ang="0">
                <a:pos x="connsiteX56737" y="connsiteY56737"/>
              </a:cxn>
              <a:cxn ang="0">
                <a:pos x="connsiteX56738" y="connsiteY56738"/>
              </a:cxn>
              <a:cxn ang="0">
                <a:pos x="connsiteX56739" y="connsiteY56739"/>
              </a:cxn>
              <a:cxn ang="0">
                <a:pos x="connsiteX56740" y="connsiteY56740"/>
              </a:cxn>
              <a:cxn ang="0">
                <a:pos x="connsiteX56741" y="connsiteY56741"/>
              </a:cxn>
              <a:cxn ang="0">
                <a:pos x="connsiteX56742" y="connsiteY56742"/>
              </a:cxn>
              <a:cxn ang="0">
                <a:pos x="connsiteX56743" y="connsiteY56743"/>
              </a:cxn>
              <a:cxn ang="0">
                <a:pos x="connsiteX56744" y="connsiteY56744"/>
              </a:cxn>
              <a:cxn ang="0">
                <a:pos x="connsiteX56745" y="connsiteY56745"/>
              </a:cxn>
              <a:cxn ang="0">
                <a:pos x="connsiteX56746" y="connsiteY56746"/>
              </a:cxn>
              <a:cxn ang="0">
                <a:pos x="connsiteX56747" y="connsiteY56747"/>
              </a:cxn>
              <a:cxn ang="0">
                <a:pos x="connsiteX56748" y="connsiteY56748"/>
              </a:cxn>
              <a:cxn ang="0">
                <a:pos x="connsiteX56749" y="connsiteY56749"/>
              </a:cxn>
              <a:cxn ang="0">
                <a:pos x="connsiteX56750" y="connsiteY56750"/>
              </a:cxn>
              <a:cxn ang="0">
                <a:pos x="connsiteX56751" y="connsiteY56751"/>
              </a:cxn>
              <a:cxn ang="0">
                <a:pos x="connsiteX56752" y="connsiteY56752"/>
              </a:cxn>
              <a:cxn ang="0">
                <a:pos x="connsiteX56753" y="connsiteY56753"/>
              </a:cxn>
              <a:cxn ang="0">
                <a:pos x="connsiteX56754" y="connsiteY56754"/>
              </a:cxn>
              <a:cxn ang="0">
                <a:pos x="connsiteX56755" y="connsiteY56755"/>
              </a:cxn>
              <a:cxn ang="0">
                <a:pos x="connsiteX56756" y="connsiteY56756"/>
              </a:cxn>
              <a:cxn ang="0">
                <a:pos x="connsiteX56757" y="connsiteY56757"/>
              </a:cxn>
              <a:cxn ang="0">
                <a:pos x="connsiteX56758" y="connsiteY56758"/>
              </a:cxn>
              <a:cxn ang="0">
                <a:pos x="connsiteX56759" y="connsiteY56759"/>
              </a:cxn>
              <a:cxn ang="0">
                <a:pos x="connsiteX56760" y="connsiteY56760"/>
              </a:cxn>
              <a:cxn ang="0">
                <a:pos x="connsiteX56761" y="connsiteY56761"/>
              </a:cxn>
              <a:cxn ang="0">
                <a:pos x="connsiteX56762" y="connsiteY56762"/>
              </a:cxn>
              <a:cxn ang="0">
                <a:pos x="connsiteX56763" y="connsiteY56763"/>
              </a:cxn>
              <a:cxn ang="0">
                <a:pos x="connsiteX56764" y="connsiteY56764"/>
              </a:cxn>
              <a:cxn ang="0">
                <a:pos x="connsiteX56765" y="connsiteY56765"/>
              </a:cxn>
              <a:cxn ang="0">
                <a:pos x="connsiteX56766" y="connsiteY56766"/>
              </a:cxn>
              <a:cxn ang="0">
                <a:pos x="connsiteX56767" y="connsiteY56767"/>
              </a:cxn>
              <a:cxn ang="0">
                <a:pos x="connsiteX56768" y="connsiteY56768"/>
              </a:cxn>
              <a:cxn ang="0">
                <a:pos x="connsiteX56769" y="connsiteY56769"/>
              </a:cxn>
              <a:cxn ang="0">
                <a:pos x="connsiteX56770" y="connsiteY56770"/>
              </a:cxn>
              <a:cxn ang="0">
                <a:pos x="connsiteX56771" y="connsiteY56771"/>
              </a:cxn>
              <a:cxn ang="0">
                <a:pos x="connsiteX56772" y="connsiteY56772"/>
              </a:cxn>
              <a:cxn ang="0">
                <a:pos x="connsiteX56773" y="connsiteY56773"/>
              </a:cxn>
              <a:cxn ang="0">
                <a:pos x="connsiteX56774" y="connsiteY56774"/>
              </a:cxn>
              <a:cxn ang="0">
                <a:pos x="connsiteX56775" y="connsiteY56775"/>
              </a:cxn>
              <a:cxn ang="0">
                <a:pos x="connsiteX56776" y="connsiteY56776"/>
              </a:cxn>
              <a:cxn ang="0">
                <a:pos x="connsiteX56777" y="connsiteY56777"/>
              </a:cxn>
              <a:cxn ang="0">
                <a:pos x="connsiteX56778" y="connsiteY56778"/>
              </a:cxn>
              <a:cxn ang="0">
                <a:pos x="connsiteX56779" y="connsiteY56779"/>
              </a:cxn>
              <a:cxn ang="0">
                <a:pos x="connsiteX56780" y="connsiteY56780"/>
              </a:cxn>
              <a:cxn ang="0">
                <a:pos x="connsiteX56781" y="connsiteY56781"/>
              </a:cxn>
              <a:cxn ang="0">
                <a:pos x="connsiteX56782" y="connsiteY56782"/>
              </a:cxn>
              <a:cxn ang="0">
                <a:pos x="connsiteX56783" y="connsiteY56783"/>
              </a:cxn>
              <a:cxn ang="0">
                <a:pos x="connsiteX56784" y="connsiteY56784"/>
              </a:cxn>
              <a:cxn ang="0">
                <a:pos x="connsiteX56785" y="connsiteY56785"/>
              </a:cxn>
              <a:cxn ang="0">
                <a:pos x="connsiteX56786" y="connsiteY56786"/>
              </a:cxn>
              <a:cxn ang="0">
                <a:pos x="connsiteX56787" y="connsiteY56787"/>
              </a:cxn>
              <a:cxn ang="0">
                <a:pos x="connsiteX56788" y="connsiteY56788"/>
              </a:cxn>
              <a:cxn ang="0">
                <a:pos x="connsiteX56789" y="connsiteY56789"/>
              </a:cxn>
              <a:cxn ang="0">
                <a:pos x="connsiteX56790" y="connsiteY56790"/>
              </a:cxn>
              <a:cxn ang="0">
                <a:pos x="connsiteX56791" y="connsiteY56791"/>
              </a:cxn>
              <a:cxn ang="0">
                <a:pos x="connsiteX56792" y="connsiteY56792"/>
              </a:cxn>
              <a:cxn ang="0">
                <a:pos x="connsiteX56793" y="connsiteY56793"/>
              </a:cxn>
              <a:cxn ang="0">
                <a:pos x="connsiteX56794" y="connsiteY56794"/>
              </a:cxn>
              <a:cxn ang="0">
                <a:pos x="connsiteX56795" y="connsiteY56795"/>
              </a:cxn>
              <a:cxn ang="0">
                <a:pos x="connsiteX56796" y="connsiteY56796"/>
              </a:cxn>
              <a:cxn ang="0">
                <a:pos x="connsiteX56797" y="connsiteY56797"/>
              </a:cxn>
              <a:cxn ang="0">
                <a:pos x="connsiteX56798" y="connsiteY56798"/>
              </a:cxn>
              <a:cxn ang="0">
                <a:pos x="connsiteX56799" y="connsiteY56799"/>
              </a:cxn>
              <a:cxn ang="0">
                <a:pos x="connsiteX56800" y="connsiteY56800"/>
              </a:cxn>
              <a:cxn ang="0">
                <a:pos x="connsiteX56801" y="connsiteY56801"/>
              </a:cxn>
              <a:cxn ang="0">
                <a:pos x="connsiteX56802" y="connsiteY56802"/>
              </a:cxn>
              <a:cxn ang="0">
                <a:pos x="connsiteX56803" y="connsiteY56803"/>
              </a:cxn>
              <a:cxn ang="0">
                <a:pos x="connsiteX56804" y="connsiteY56804"/>
              </a:cxn>
              <a:cxn ang="0">
                <a:pos x="connsiteX56805" y="connsiteY56805"/>
              </a:cxn>
              <a:cxn ang="0">
                <a:pos x="connsiteX56806" y="connsiteY56806"/>
              </a:cxn>
              <a:cxn ang="0">
                <a:pos x="connsiteX56807" y="connsiteY56807"/>
              </a:cxn>
              <a:cxn ang="0">
                <a:pos x="connsiteX56808" y="connsiteY56808"/>
              </a:cxn>
              <a:cxn ang="0">
                <a:pos x="connsiteX56809" y="connsiteY56809"/>
              </a:cxn>
              <a:cxn ang="0">
                <a:pos x="connsiteX56810" y="connsiteY56810"/>
              </a:cxn>
              <a:cxn ang="0">
                <a:pos x="connsiteX56811" y="connsiteY56811"/>
              </a:cxn>
              <a:cxn ang="0">
                <a:pos x="connsiteX56812" y="connsiteY56812"/>
              </a:cxn>
              <a:cxn ang="0">
                <a:pos x="connsiteX56813" y="connsiteY56813"/>
              </a:cxn>
              <a:cxn ang="0">
                <a:pos x="connsiteX56814" y="connsiteY56814"/>
              </a:cxn>
              <a:cxn ang="0">
                <a:pos x="connsiteX56815" y="connsiteY56815"/>
              </a:cxn>
              <a:cxn ang="0">
                <a:pos x="connsiteX56816" y="connsiteY56816"/>
              </a:cxn>
              <a:cxn ang="0">
                <a:pos x="connsiteX56817" y="connsiteY56817"/>
              </a:cxn>
              <a:cxn ang="0">
                <a:pos x="connsiteX56818" y="connsiteY56818"/>
              </a:cxn>
              <a:cxn ang="0">
                <a:pos x="connsiteX56819" y="connsiteY56819"/>
              </a:cxn>
              <a:cxn ang="0">
                <a:pos x="connsiteX56820" y="connsiteY56820"/>
              </a:cxn>
              <a:cxn ang="0">
                <a:pos x="connsiteX56821" y="connsiteY56821"/>
              </a:cxn>
              <a:cxn ang="0">
                <a:pos x="connsiteX56822" y="connsiteY56822"/>
              </a:cxn>
              <a:cxn ang="0">
                <a:pos x="connsiteX56823" y="connsiteY56823"/>
              </a:cxn>
              <a:cxn ang="0">
                <a:pos x="connsiteX56824" y="connsiteY56824"/>
              </a:cxn>
              <a:cxn ang="0">
                <a:pos x="connsiteX56825" y="connsiteY56825"/>
              </a:cxn>
              <a:cxn ang="0">
                <a:pos x="connsiteX56826" y="connsiteY56826"/>
              </a:cxn>
              <a:cxn ang="0">
                <a:pos x="connsiteX56827" y="connsiteY56827"/>
              </a:cxn>
              <a:cxn ang="0">
                <a:pos x="connsiteX56828" y="connsiteY56828"/>
              </a:cxn>
              <a:cxn ang="0">
                <a:pos x="connsiteX56829" y="connsiteY56829"/>
              </a:cxn>
              <a:cxn ang="0">
                <a:pos x="connsiteX56830" y="connsiteY56830"/>
              </a:cxn>
              <a:cxn ang="0">
                <a:pos x="connsiteX56831" y="connsiteY56831"/>
              </a:cxn>
              <a:cxn ang="0">
                <a:pos x="connsiteX56832" y="connsiteY56832"/>
              </a:cxn>
              <a:cxn ang="0">
                <a:pos x="connsiteX56833" y="connsiteY56833"/>
              </a:cxn>
              <a:cxn ang="0">
                <a:pos x="connsiteX56834" y="connsiteY56834"/>
              </a:cxn>
              <a:cxn ang="0">
                <a:pos x="connsiteX56835" y="connsiteY56835"/>
              </a:cxn>
              <a:cxn ang="0">
                <a:pos x="connsiteX56836" y="connsiteY56836"/>
              </a:cxn>
              <a:cxn ang="0">
                <a:pos x="connsiteX56837" y="connsiteY56837"/>
              </a:cxn>
              <a:cxn ang="0">
                <a:pos x="connsiteX56838" y="connsiteY56838"/>
              </a:cxn>
              <a:cxn ang="0">
                <a:pos x="connsiteX56839" y="connsiteY56839"/>
              </a:cxn>
              <a:cxn ang="0">
                <a:pos x="connsiteX56840" y="connsiteY56840"/>
              </a:cxn>
              <a:cxn ang="0">
                <a:pos x="connsiteX56841" y="connsiteY56841"/>
              </a:cxn>
              <a:cxn ang="0">
                <a:pos x="connsiteX56842" y="connsiteY56842"/>
              </a:cxn>
              <a:cxn ang="0">
                <a:pos x="connsiteX56843" y="connsiteY56843"/>
              </a:cxn>
              <a:cxn ang="0">
                <a:pos x="connsiteX56844" y="connsiteY56844"/>
              </a:cxn>
              <a:cxn ang="0">
                <a:pos x="connsiteX56845" y="connsiteY56845"/>
              </a:cxn>
              <a:cxn ang="0">
                <a:pos x="connsiteX56846" y="connsiteY56846"/>
              </a:cxn>
              <a:cxn ang="0">
                <a:pos x="connsiteX56847" y="connsiteY56847"/>
              </a:cxn>
              <a:cxn ang="0">
                <a:pos x="connsiteX56848" y="connsiteY56848"/>
              </a:cxn>
              <a:cxn ang="0">
                <a:pos x="connsiteX56849" y="connsiteY56849"/>
              </a:cxn>
              <a:cxn ang="0">
                <a:pos x="connsiteX56850" y="connsiteY56850"/>
              </a:cxn>
              <a:cxn ang="0">
                <a:pos x="connsiteX56851" y="connsiteY56851"/>
              </a:cxn>
              <a:cxn ang="0">
                <a:pos x="connsiteX56852" y="connsiteY56852"/>
              </a:cxn>
              <a:cxn ang="0">
                <a:pos x="connsiteX56853" y="connsiteY56853"/>
              </a:cxn>
              <a:cxn ang="0">
                <a:pos x="connsiteX56854" y="connsiteY56854"/>
              </a:cxn>
              <a:cxn ang="0">
                <a:pos x="connsiteX56855" y="connsiteY56855"/>
              </a:cxn>
              <a:cxn ang="0">
                <a:pos x="connsiteX56856" y="connsiteY56856"/>
              </a:cxn>
              <a:cxn ang="0">
                <a:pos x="connsiteX56857" y="connsiteY56857"/>
              </a:cxn>
              <a:cxn ang="0">
                <a:pos x="connsiteX56858" y="connsiteY56858"/>
              </a:cxn>
              <a:cxn ang="0">
                <a:pos x="connsiteX56859" y="connsiteY56859"/>
              </a:cxn>
              <a:cxn ang="0">
                <a:pos x="connsiteX56860" y="connsiteY56860"/>
              </a:cxn>
              <a:cxn ang="0">
                <a:pos x="connsiteX56861" y="connsiteY56861"/>
              </a:cxn>
              <a:cxn ang="0">
                <a:pos x="connsiteX56862" y="connsiteY56862"/>
              </a:cxn>
              <a:cxn ang="0">
                <a:pos x="connsiteX56863" y="connsiteY56863"/>
              </a:cxn>
              <a:cxn ang="0">
                <a:pos x="connsiteX56864" y="connsiteY56864"/>
              </a:cxn>
              <a:cxn ang="0">
                <a:pos x="connsiteX56865" y="connsiteY56865"/>
              </a:cxn>
              <a:cxn ang="0">
                <a:pos x="connsiteX56866" y="connsiteY56866"/>
              </a:cxn>
              <a:cxn ang="0">
                <a:pos x="connsiteX56867" y="connsiteY56867"/>
              </a:cxn>
              <a:cxn ang="0">
                <a:pos x="connsiteX56868" y="connsiteY56868"/>
              </a:cxn>
              <a:cxn ang="0">
                <a:pos x="connsiteX56869" y="connsiteY56869"/>
              </a:cxn>
              <a:cxn ang="0">
                <a:pos x="connsiteX56870" y="connsiteY56870"/>
              </a:cxn>
              <a:cxn ang="0">
                <a:pos x="connsiteX56871" y="connsiteY56871"/>
              </a:cxn>
              <a:cxn ang="0">
                <a:pos x="connsiteX56872" y="connsiteY56872"/>
              </a:cxn>
              <a:cxn ang="0">
                <a:pos x="connsiteX56873" y="connsiteY56873"/>
              </a:cxn>
              <a:cxn ang="0">
                <a:pos x="connsiteX56874" y="connsiteY56874"/>
              </a:cxn>
              <a:cxn ang="0">
                <a:pos x="connsiteX56875" y="connsiteY56875"/>
              </a:cxn>
              <a:cxn ang="0">
                <a:pos x="connsiteX56876" y="connsiteY56876"/>
              </a:cxn>
              <a:cxn ang="0">
                <a:pos x="connsiteX56877" y="connsiteY56877"/>
              </a:cxn>
              <a:cxn ang="0">
                <a:pos x="connsiteX56878" y="connsiteY56878"/>
              </a:cxn>
              <a:cxn ang="0">
                <a:pos x="connsiteX56879" y="connsiteY56879"/>
              </a:cxn>
              <a:cxn ang="0">
                <a:pos x="connsiteX56880" y="connsiteY56880"/>
              </a:cxn>
              <a:cxn ang="0">
                <a:pos x="connsiteX56881" y="connsiteY56881"/>
              </a:cxn>
              <a:cxn ang="0">
                <a:pos x="connsiteX56882" y="connsiteY56882"/>
              </a:cxn>
              <a:cxn ang="0">
                <a:pos x="connsiteX56883" y="connsiteY56883"/>
              </a:cxn>
              <a:cxn ang="0">
                <a:pos x="connsiteX56884" y="connsiteY56884"/>
              </a:cxn>
              <a:cxn ang="0">
                <a:pos x="connsiteX56885" y="connsiteY56885"/>
              </a:cxn>
              <a:cxn ang="0">
                <a:pos x="connsiteX56886" y="connsiteY56886"/>
              </a:cxn>
              <a:cxn ang="0">
                <a:pos x="connsiteX56887" y="connsiteY56887"/>
              </a:cxn>
              <a:cxn ang="0">
                <a:pos x="connsiteX56888" y="connsiteY56888"/>
              </a:cxn>
              <a:cxn ang="0">
                <a:pos x="connsiteX56889" y="connsiteY56889"/>
              </a:cxn>
              <a:cxn ang="0">
                <a:pos x="connsiteX56890" y="connsiteY56890"/>
              </a:cxn>
              <a:cxn ang="0">
                <a:pos x="connsiteX56891" y="connsiteY56891"/>
              </a:cxn>
              <a:cxn ang="0">
                <a:pos x="connsiteX56892" y="connsiteY56892"/>
              </a:cxn>
              <a:cxn ang="0">
                <a:pos x="connsiteX56893" y="connsiteY56893"/>
              </a:cxn>
              <a:cxn ang="0">
                <a:pos x="connsiteX56894" y="connsiteY56894"/>
              </a:cxn>
              <a:cxn ang="0">
                <a:pos x="connsiteX56895" y="connsiteY56895"/>
              </a:cxn>
              <a:cxn ang="0">
                <a:pos x="connsiteX56896" y="connsiteY56896"/>
              </a:cxn>
              <a:cxn ang="0">
                <a:pos x="connsiteX56897" y="connsiteY56897"/>
              </a:cxn>
              <a:cxn ang="0">
                <a:pos x="connsiteX56898" y="connsiteY56898"/>
              </a:cxn>
              <a:cxn ang="0">
                <a:pos x="connsiteX56899" y="connsiteY56899"/>
              </a:cxn>
              <a:cxn ang="0">
                <a:pos x="connsiteX56900" y="connsiteY56900"/>
              </a:cxn>
              <a:cxn ang="0">
                <a:pos x="connsiteX56901" y="connsiteY56901"/>
              </a:cxn>
              <a:cxn ang="0">
                <a:pos x="connsiteX56902" y="connsiteY56902"/>
              </a:cxn>
              <a:cxn ang="0">
                <a:pos x="connsiteX56903" y="connsiteY56903"/>
              </a:cxn>
              <a:cxn ang="0">
                <a:pos x="connsiteX56904" y="connsiteY56904"/>
              </a:cxn>
              <a:cxn ang="0">
                <a:pos x="connsiteX56905" y="connsiteY56905"/>
              </a:cxn>
              <a:cxn ang="0">
                <a:pos x="connsiteX56906" y="connsiteY56906"/>
              </a:cxn>
              <a:cxn ang="0">
                <a:pos x="connsiteX56907" y="connsiteY56907"/>
              </a:cxn>
              <a:cxn ang="0">
                <a:pos x="connsiteX56908" y="connsiteY56908"/>
              </a:cxn>
              <a:cxn ang="0">
                <a:pos x="connsiteX56909" y="connsiteY56909"/>
              </a:cxn>
              <a:cxn ang="0">
                <a:pos x="connsiteX56910" y="connsiteY56910"/>
              </a:cxn>
              <a:cxn ang="0">
                <a:pos x="connsiteX56911" y="connsiteY56911"/>
              </a:cxn>
              <a:cxn ang="0">
                <a:pos x="connsiteX56912" y="connsiteY56912"/>
              </a:cxn>
              <a:cxn ang="0">
                <a:pos x="connsiteX56913" y="connsiteY56913"/>
              </a:cxn>
              <a:cxn ang="0">
                <a:pos x="connsiteX56914" y="connsiteY56914"/>
              </a:cxn>
              <a:cxn ang="0">
                <a:pos x="connsiteX56915" y="connsiteY56915"/>
              </a:cxn>
              <a:cxn ang="0">
                <a:pos x="connsiteX56916" y="connsiteY56916"/>
              </a:cxn>
              <a:cxn ang="0">
                <a:pos x="connsiteX56917" y="connsiteY56917"/>
              </a:cxn>
              <a:cxn ang="0">
                <a:pos x="connsiteX56918" y="connsiteY56918"/>
              </a:cxn>
              <a:cxn ang="0">
                <a:pos x="connsiteX56919" y="connsiteY56919"/>
              </a:cxn>
              <a:cxn ang="0">
                <a:pos x="connsiteX56920" y="connsiteY56920"/>
              </a:cxn>
              <a:cxn ang="0">
                <a:pos x="connsiteX56921" y="connsiteY56921"/>
              </a:cxn>
              <a:cxn ang="0">
                <a:pos x="connsiteX56922" y="connsiteY56922"/>
              </a:cxn>
              <a:cxn ang="0">
                <a:pos x="connsiteX56923" y="connsiteY56923"/>
              </a:cxn>
              <a:cxn ang="0">
                <a:pos x="connsiteX56924" y="connsiteY56924"/>
              </a:cxn>
              <a:cxn ang="0">
                <a:pos x="connsiteX56925" y="connsiteY56925"/>
              </a:cxn>
              <a:cxn ang="0">
                <a:pos x="connsiteX56926" y="connsiteY56926"/>
              </a:cxn>
              <a:cxn ang="0">
                <a:pos x="connsiteX56927" y="connsiteY56927"/>
              </a:cxn>
              <a:cxn ang="0">
                <a:pos x="connsiteX56928" y="connsiteY56928"/>
              </a:cxn>
              <a:cxn ang="0">
                <a:pos x="connsiteX56929" y="connsiteY56929"/>
              </a:cxn>
              <a:cxn ang="0">
                <a:pos x="connsiteX56930" y="connsiteY56930"/>
              </a:cxn>
              <a:cxn ang="0">
                <a:pos x="connsiteX56931" y="connsiteY56931"/>
              </a:cxn>
              <a:cxn ang="0">
                <a:pos x="connsiteX56932" y="connsiteY56932"/>
              </a:cxn>
              <a:cxn ang="0">
                <a:pos x="connsiteX56933" y="connsiteY56933"/>
              </a:cxn>
              <a:cxn ang="0">
                <a:pos x="connsiteX56934" y="connsiteY56934"/>
              </a:cxn>
              <a:cxn ang="0">
                <a:pos x="connsiteX56935" y="connsiteY56935"/>
              </a:cxn>
              <a:cxn ang="0">
                <a:pos x="connsiteX56936" y="connsiteY56936"/>
              </a:cxn>
              <a:cxn ang="0">
                <a:pos x="connsiteX56937" y="connsiteY56937"/>
              </a:cxn>
              <a:cxn ang="0">
                <a:pos x="connsiteX56938" y="connsiteY56938"/>
              </a:cxn>
              <a:cxn ang="0">
                <a:pos x="connsiteX56939" y="connsiteY56939"/>
              </a:cxn>
              <a:cxn ang="0">
                <a:pos x="connsiteX56940" y="connsiteY56940"/>
              </a:cxn>
              <a:cxn ang="0">
                <a:pos x="connsiteX56941" y="connsiteY56941"/>
              </a:cxn>
              <a:cxn ang="0">
                <a:pos x="connsiteX56942" y="connsiteY56942"/>
              </a:cxn>
              <a:cxn ang="0">
                <a:pos x="connsiteX56943" y="connsiteY56943"/>
              </a:cxn>
              <a:cxn ang="0">
                <a:pos x="connsiteX56944" y="connsiteY56944"/>
              </a:cxn>
              <a:cxn ang="0">
                <a:pos x="connsiteX56945" y="connsiteY56945"/>
              </a:cxn>
              <a:cxn ang="0">
                <a:pos x="connsiteX56946" y="connsiteY56946"/>
              </a:cxn>
              <a:cxn ang="0">
                <a:pos x="connsiteX56947" y="connsiteY56947"/>
              </a:cxn>
              <a:cxn ang="0">
                <a:pos x="connsiteX56948" y="connsiteY56948"/>
              </a:cxn>
              <a:cxn ang="0">
                <a:pos x="connsiteX56949" y="connsiteY56949"/>
              </a:cxn>
              <a:cxn ang="0">
                <a:pos x="connsiteX56950" y="connsiteY56950"/>
              </a:cxn>
              <a:cxn ang="0">
                <a:pos x="connsiteX56951" y="connsiteY56951"/>
              </a:cxn>
              <a:cxn ang="0">
                <a:pos x="connsiteX56952" y="connsiteY56952"/>
              </a:cxn>
              <a:cxn ang="0">
                <a:pos x="connsiteX56953" y="connsiteY56953"/>
              </a:cxn>
              <a:cxn ang="0">
                <a:pos x="connsiteX56954" y="connsiteY56954"/>
              </a:cxn>
              <a:cxn ang="0">
                <a:pos x="connsiteX56955" y="connsiteY56955"/>
              </a:cxn>
              <a:cxn ang="0">
                <a:pos x="connsiteX56956" y="connsiteY56956"/>
              </a:cxn>
              <a:cxn ang="0">
                <a:pos x="connsiteX56957" y="connsiteY56957"/>
              </a:cxn>
              <a:cxn ang="0">
                <a:pos x="connsiteX56958" y="connsiteY56958"/>
              </a:cxn>
              <a:cxn ang="0">
                <a:pos x="connsiteX56959" y="connsiteY56959"/>
              </a:cxn>
              <a:cxn ang="0">
                <a:pos x="connsiteX56960" y="connsiteY56960"/>
              </a:cxn>
              <a:cxn ang="0">
                <a:pos x="connsiteX56961" y="connsiteY56961"/>
              </a:cxn>
              <a:cxn ang="0">
                <a:pos x="connsiteX56962" y="connsiteY56962"/>
              </a:cxn>
              <a:cxn ang="0">
                <a:pos x="connsiteX56963" y="connsiteY56963"/>
              </a:cxn>
              <a:cxn ang="0">
                <a:pos x="connsiteX56964" y="connsiteY56964"/>
              </a:cxn>
              <a:cxn ang="0">
                <a:pos x="connsiteX56965" y="connsiteY56965"/>
              </a:cxn>
              <a:cxn ang="0">
                <a:pos x="connsiteX56966" y="connsiteY56966"/>
              </a:cxn>
              <a:cxn ang="0">
                <a:pos x="connsiteX56967" y="connsiteY56967"/>
              </a:cxn>
              <a:cxn ang="0">
                <a:pos x="connsiteX56968" y="connsiteY56968"/>
              </a:cxn>
              <a:cxn ang="0">
                <a:pos x="connsiteX56969" y="connsiteY56969"/>
              </a:cxn>
              <a:cxn ang="0">
                <a:pos x="connsiteX56970" y="connsiteY56970"/>
              </a:cxn>
              <a:cxn ang="0">
                <a:pos x="connsiteX56971" y="connsiteY56971"/>
              </a:cxn>
              <a:cxn ang="0">
                <a:pos x="connsiteX56972" y="connsiteY56972"/>
              </a:cxn>
              <a:cxn ang="0">
                <a:pos x="connsiteX56973" y="connsiteY56973"/>
              </a:cxn>
              <a:cxn ang="0">
                <a:pos x="connsiteX56974" y="connsiteY56974"/>
              </a:cxn>
              <a:cxn ang="0">
                <a:pos x="connsiteX56975" y="connsiteY56975"/>
              </a:cxn>
              <a:cxn ang="0">
                <a:pos x="connsiteX56976" y="connsiteY56976"/>
              </a:cxn>
              <a:cxn ang="0">
                <a:pos x="connsiteX56977" y="connsiteY56977"/>
              </a:cxn>
              <a:cxn ang="0">
                <a:pos x="connsiteX56978" y="connsiteY56978"/>
              </a:cxn>
              <a:cxn ang="0">
                <a:pos x="connsiteX56979" y="connsiteY56979"/>
              </a:cxn>
              <a:cxn ang="0">
                <a:pos x="connsiteX56980" y="connsiteY56980"/>
              </a:cxn>
              <a:cxn ang="0">
                <a:pos x="connsiteX56981" y="connsiteY56981"/>
              </a:cxn>
              <a:cxn ang="0">
                <a:pos x="connsiteX56982" y="connsiteY56982"/>
              </a:cxn>
              <a:cxn ang="0">
                <a:pos x="connsiteX56983" y="connsiteY56983"/>
              </a:cxn>
              <a:cxn ang="0">
                <a:pos x="connsiteX56984" y="connsiteY56984"/>
              </a:cxn>
              <a:cxn ang="0">
                <a:pos x="connsiteX56985" y="connsiteY56985"/>
              </a:cxn>
              <a:cxn ang="0">
                <a:pos x="connsiteX56986" y="connsiteY56986"/>
              </a:cxn>
              <a:cxn ang="0">
                <a:pos x="connsiteX56987" y="connsiteY56987"/>
              </a:cxn>
              <a:cxn ang="0">
                <a:pos x="connsiteX56988" y="connsiteY56988"/>
              </a:cxn>
              <a:cxn ang="0">
                <a:pos x="connsiteX56989" y="connsiteY56989"/>
              </a:cxn>
              <a:cxn ang="0">
                <a:pos x="connsiteX56990" y="connsiteY56990"/>
              </a:cxn>
              <a:cxn ang="0">
                <a:pos x="connsiteX56991" y="connsiteY56991"/>
              </a:cxn>
              <a:cxn ang="0">
                <a:pos x="connsiteX56992" y="connsiteY56992"/>
              </a:cxn>
              <a:cxn ang="0">
                <a:pos x="connsiteX56993" y="connsiteY56993"/>
              </a:cxn>
              <a:cxn ang="0">
                <a:pos x="connsiteX56994" y="connsiteY56994"/>
              </a:cxn>
              <a:cxn ang="0">
                <a:pos x="connsiteX56995" y="connsiteY56995"/>
              </a:cxn>
              <a:cxn ang="0">
                <a:pos x="connsiteX56996" y="connsiteY56996"/>
              </a:cxn>
              <a:cxn ang="0">
                <a:pos x="connsiteX56997" y="connsiteY56997"/>
              </a:cxn>
              <a:cxn ang="0">
                <a:pos x="connsiteX56998" y="connsiteY56998"/>
              </a:cxn>
              <a:cxn ang="0">
                <a:pos x="connsiteX56999" y="connsiteY56999"/>
              </a:cxn>
              <a:cxn ang="0">
                <a:pos x="connsiteX57000" y="connsiteY57000"/>
              </a:cxn>
              <a:cxn ang="0">
                <a:pos x="connsiteX57001" y="connsiteY57001"/>
              </a:cxn>
              <a:cxn ang="0">
                <a:pos x="connsiteX57002" y="connsiteY57002"/>
              </a:cxn>
              <a:cxn ang="0">
                <a:pos x="connsiteX57003" y="connsiteY57003"/>
              </a:cxn>
              <a:cxn ang="0">
                <a:pos x="connsiteX57004" y="connsiteY57004"/>
              </a:cxn>
              <a:cxn ang="0">
                <a:pos x="connsiteX57005" y="connsiteY57005"/>
              </a:cxn>
              <a:cxn ang="0">
                <a:pos x="connsiteX57006" y="connsiteY57006"/>
              </a:cxn>
              <a:cxn ang="0">
                <a:pos x="connsiteX57007" y="connsiteY57007"/>
              </a:cxn>
              <a:cxn ang="0">
                <a:pos x="connsiteX57008" y="connsiteY57008"/>
              </a:cxn>
              <a:cxn ang="0">
                <a:pos x="connsiteX57009" y="connsiteY57009"/>
              </a:cxn>
              <a:cxn ang="0">
                <a:pos x="connsiteX57010" y="connsiteY57010"/>
              </a:cxn>
              <a:cxn ang="0">
                <a:pos x="connsiteX57011" y="connsiteY57011"/>
              </a:cxn>
              <a:cxn ang="0">
                <a:pos x="connsiteX57012" y="connsiteY57012"/>
              </a:cxn>
              <a:cxn ang="0">
                <a:pos x="connsiteX57013" y="connsiteY57013"/>
              </a:cxn>
              <a:cxn ang="0">
                <a:pos x="connsiteX57014" y="connsiteY57014"/>
              </a:cxn>
              <a:cxn ang="0">
                <a:pos x="connsiteX57015" y="connsiteY57015"/>
              </a:cxn>
              <a:cxn ang="0">
                <a:pos x="connsiteX57016" y="connsiteY57016"/>
              </a:cxn>
              <a:cxn ang="0">
                <a:pos x="connsiteX57017" y="connsiteY57017"/>
              </a:cxn>
              <a:cxn ang="0">
                <a:pos x="connsiteX57018" y="connsiteY57018"/>
              </a:cxn>
              <a:cxn ang="0">
                <a:pos x="connsiteX57019" y="connsiteY57019"/>
              </a:cxn>
              <a:cxn ang="0">
                <a:pos x="connsiteX57020" y="connsiteY57020"/>
              </a:cxn>
              <a:cxn ang="0">
                <a:pos x="connsiteX57021" y="connsiteY57021"/>
              </a:cxn>
              <a:cxn ang="0">
                <a:pos x="connsiteX57022" y="connsiteY57022"/>
              </a:cxn>
              <a:cxn ang="0">
                <a:pos x="connsiteX57023" y="connsiteY57023"/>
              </a:cxn>
              <a:cxn ang="0">
                <a:pos x="connsiteX57024" y="connsiteY57024"/>
              </a:cxn>
              <a:cxn ang="0">
                <a:pos x="connsiteX57025" y="connsiteY57025"/>
              </a:cxn>
              <a:cxn ang="0">
                <a:pos x="connsiteX57026" y="connsiteY57026"/>
              </a:cxn>
              <a:cxn ang="0">
                <a:pos x="connsiteX57027" y="connsiteY57027"/>
              </a:cxn>
              <a:cxn ang="0">
                <a:pos x="connsiteX57028" y="connsiteY57028"/>
              </a:cxn>
              <a:cxn ang="0">
                <a:pos x="connsiteX57029" y="connsiteY57029"/>
              </a:cxn>
              <a:cxn ang="0">
                <a:pos x="connsiteX57030" y="connsiteY57030"/>
              </a:cxn>
              <a:cxn ang="0">
                <a:pos x="connsiteX57031" y="connsiteY57031"/>
              </a:cxn>
              <a:cxn ang="0">
                <a:pos x="connsiteX57032" y="connsiteY57032"/>
              </a:cxn>
              <a:cxn ang="0">
                <a:pos x="connsiteX57033" y="connsiteY57033"/>
              </a:cxn>
              <a:cxn ang="0">
                <a:pos x="connsiteX57034" y="connsiteY57034"/>
              </a:cxn>
              <a:cxn ang="0">
                <a:pos x="connsiteX57035" y="connsiteY57035"/>
              </a:cxn>
              <a:cxn ang="0">
                <a:pos x="connsiteX57036" y="connsiteY57036"/>
              </a:cxn>
              <a:cxn ang="0">
                <a:pos x="connsiteX57037" y="connsiteY57037"/>
              </a:cxn>
              <a:cxn ang="0">
                <a:pos x="connsiteX57038" y="connsiteY57038"/>
              </a:cxn>
              <a:cxn ang="0">
                <a:pos x="connsiteX57039" y="connsiteY57039"/>
              </a:cxn>
              <a:cxn ang="0">
                <a:pos x="connsiteX57040" y="connsiteY57040"/>
              </a:cxn>
              <a:cxn ang="0">
                <a:pos x="connsiteX57041" y="connsiteY57041"/>
              </a:cxn>
              <a:cxn ang="0">
                <a:pos x="connsiteX57042" y="connsiteY57042"/>
              </a:cxn>
              <a:cxn ang="0">
                <a:pos x="connsiteX57043" y="connsiteY57043"/>
              </a:cxn>
              <a:cxn ang="0">
                <a:pos x="connsiteX57044" y="connsiteY57044"/>
              </a:cxn>
              <a:cxn ang="0">
                <a:pos x="connsiteX57045" y="connsiteY57045"/>
              </a:cxn>
              <a:cxn ang="0">
                <a:pos x="connsiteX57046" y="connsiteY57046"/>
              </a:cxn>
              <a:cxn ang="0">
                <a:pos x="connsiteX57047" y="connsiteY57047"/>
              </a:cxn>
              <a:cxn ang="0">
                <a:pos x="connsiteX57048" y="connsiteY57048"/>
              </a:cxn>
              <a:cxn ang="0">
                <a:pos x="connsiteX57049" y="connsiteY57049"/>
              </a:cxn>
              <a:cxn ang="0">
                <a:pos x="connsiteX57050" y="connsiteY57050"/>
              </a:cxn>
              <a:cxn ang="0">
                <a:pos x="connsiteX57051" y="connsiteY57051"/>
              </a:cxn>
              <a:cxn ang="0">
                <a:pos x="connsiteX57052" y="connsiteY57052"/>
              </a:cxn>
              <a:cxn ang="0">
                <a:pos x="connsiteX57053" y="connsiteY57053"/>
              </a:cxn>
              <a:cxn ang="0">
                <a:pos x="connsiteX57054" y="connsiteY57054"/>
              </a:cxn>
              <a:cxn ang="0">
                <a:pos x="connsiteX57055" y="connsiteY57055"/>
              </a:cxn>
              <a:cxn ang="0">
                <a:pos x="connsiteX57056" y="connsiteY57056"/>
              </a:cxn>
              <a:cxn ang="0">
                <a:pos x="connsiteX57057" y="connsiteY57057"/>
              </a:cxn>
              <a:cxn ang="0">
                <a:pos x="connsiteX57058" y="connsiteY57058"/>
              </a:cxn>
              <a:cxn ang="0">
                <a:pos x="connsiteX57059" y="connsiteY57059"/>
              </a:cxn>
              <a:cxn ang="0">
                <a:pos x="connsiteX57060" y="connsiteY57060"/>
              </a:cxn>
              <a:cxn ang="0">
                <a:pos x="connsiteX57061" y="connsiteY57061"/>
              </a:cxn>
              <a:cxn ang="0">
                <a:pos x="connsiteX57062" y="connsiteY57062"/>
              </a:cxn>
              <a:cxn ang="0">
                <a:pos x="connsiteX57063" y="connsiteY57063"/>
              </a:cxn>
              <a:cxn ang="0">
                <a:pos x="connsiteX57064" y="connsiteY57064"/>
              </a:cxn>
              <a:cxn ang="0">
                <a:pos x="connsiteX57065" y="connsiteY57065"/>
              </a:cxn>
              <a:cxn ang="0">
                <a:pos x="connsiteX57066" y="connsiteY57066"/>
              </a:cxn>
              <a:cxn ang="0">
                <a:pos x="connsiteX57067" y="connsiteY57067"/>
              </a:cxn>
              <a:cxn ang="0">
                <a:pos x="connsiteX57068" y="connsiteY57068"/>
              </a:cxn>
              <a:cxn ang="0">
                <a:pos x="connsiteX57069" y="connsiteY57069"/>
              </a:cxn>
              <a:cxn ang="0">
                <a:pos x="connsiteX57070" y="connsiteY57070"/>
              </a:cxn>
              <a:cxn ang="0">
                <a:pos x="connsiteX57071" y="connsiteY57071"/>
              </a:cxn>
              <a:cxn ang="0">
                <a:pos x="connsiteX57072" y="connsiteY57072"/>
              </a:cxn>
              <a:cxn ang="0">
                <a:pos x="connsiteX57073" y="connsiteY57073"/>
              </a:cxn>
              <a:cxn ang="0">
                <a:pos x="connsiteX57074" y="connsiteY57074"/>
              </a:cxn>
              <a:cxn ang="0">
                <a:pos x="connsiteX57075" y="connsiteY57075"/>
              </a:cxn>
              <a:cxn ang="0">
                <a:pos x="connsiteX57076" y="connsiteY57076"/>
              </a:cxn>
              <a:cxn ang="0">
                <a:pos x="connsiteX57077" y="connsiteY57077"/>
              </a:cxn>
              <a:cxn ang="0">
                <a:pos x="connsiteX57078" y="connsiteY57078"/>
              </a:cxn>
              <a:cxn ang="0">
                <a:pos x="connsiteX57079" y="connsiteY57079"/>
              </a:cxn>
              <a:cxn ang="0">
                <a:pos x="connsiteX57080" y="connsiteY57080"/>
              </a:cxn>
              <a:cxn ang="0">
                <a:pos x="connsiteX57081" y="connsiteY57081"/>
              </a:cxn>
              <a:cxn ang="0">
                <a:pos x="connsiteX57082" y="connsiteY57082"/>
              </a:cxn>
              <a:cxn ang="0">
                <a:pos x="connsiteX57083" y="connsiteY57083"/>
              </a:cxn>
              <a:cxn ang="0">
                <a:pos x="connsiteX57084" y="connsiteY57084"/>
              </a:cxn>
              <a:cxn ang="0">
                <a:pos x="connsiteX57085" y="connsiteY57085"/>
              </a:cxn>
              <a:cxn ang="0">
                <a:pos x="connsiteX57086" y="connsiteY57086"/>
              </a:cxn>
              <a:cxn ang="0">
                <a:pos x="connsiteX57087" y="connsiteY57087"/>
              </a:cxn>
              <a:cxn ang="0">
                <a:pos x="connsiteX57088" y="connsiteY57088"/>
              </a:cxn>
              <a:cxn ang="0">
                <a:pos x="connsiteX57089" y="connsiteY57089"/>
              </a:cxn>
              <a:cxn ang="0">
                <a:pos x="connsiteX57090" y="connsiteY57090"/>
              </a:cxn>
              <a:cxn ang="0">
                <a:pos x="connsiteX57091" y="connsiteY57091"/>
              </a:cxn>
              <a:cxn ang="0">
                <a:pos x="connsiteX57092" y="connsiteY57092"/>
              </a:cxn>
              <a:cxn ang="0">
                <a:pos x="connsiteX57093" y="connsiteY57093"/>
              </a:cxn>
              <a:cxn ang="0">
                <a:pos x="connsiteX57094" y="connsiteY57094"/>
              </a:cxn>
              <a:cxn ang="0">
                <a:pos x="connsiteX57095" y="connsiteY57095"/>
              </a:cxn>
              <a:cxn ang="0">
                <a:pos x="connsiteX57096" y="connsiteY57096"/>
              </a:cxn>
              <a:cxn ang="0">
                <a:pos x="connsiteX57097" y="connsiteY57097"/>
              </a:cxn>
              <a:cxn ang="0">
                <a:pos x="connsiteX57098" y="connsiteY57098"/>
              </a:cxn>
              <a:cxn ang="0">
                <a:pos x="connsiteX57099" y="connsiteY57099"/>
              </a:cxn>
              <a:cxn ang="0">
                <a:pos x="connsiteX57100" y="connsiteY57100"/>
              </a:cxn>
              <a:cxn ang="0">
                <a:pos x="connsiteX57101" y="connsiteY57101"/>
              </a:cxn>
              <a:cxn ang="0">
                <a:pos x="connsiteX57102" y="connsiteY57102"/>
              </a:cxn>
              <a:cxn ang="0">
                <a:pos x="connsiteX57103" y="connsiteY57103"/>
              </a:cxn>
              <a:cxn ang="0">
                <a:pos x="connsiteX57104" y="connsiteY57104"/>
              </a:cxn>
              <a:cxn ang="0">
                <a:pos x="connsiteX57105" y="connsiteY57105"/>
              </a:cxn>
              <a:cxn ang="0">
                <a:pos x="connsiteX57106" y="connsiteY57106"/>
              </a:cxn>
              <a:cxn ang="0">
                <a:pos x="connsiteX57107" y="connsiteY57107"/>
              </a:cxn>
              <a:cxn ang="0">
                <a:pos x="connsiteX57108" y="connsiteY57108"/>
              </a:cxn>
              <a:cxn ang="0">
                <a:pos x="connsiteX57109" y="connsiteY57109"/>
              </a:cxn>
              <a:cxn ang="0">
                <a:pos x="connsiteX57110" y="connsiteY57110"/>
              </a:cxn>
              <a:cxn ang="0">
                <a:pos x="connsiteX57111" y="connsiteY57111"/>
              </a:cxn>
              <a:cxn ang="0">
                <a:pos x="connsiteX57112" y="connsiteY57112"/>
              </a:cxn>
              <a:cxn ang="0">
                <a:pos x="connsiteX57113" y="connsiteY57113"/>
              </a:cxn>
              <a:cxn ang="0">
                <a:pos x="connsiteX57114" y="connsiteY57114"/>
              </a:cxn>
              <a:cxn ang="0">
                <a:pos x="connsiteX57115" y="connsiteY57115"/>
              </a:cxn>
              <a:cxn ang="0">
                <a:pos x="connsiteX57116" y="connsiteY57116"/>
              </a:cxn>
              <a:cxn ang="0">
                <a:pos x="connsiteX57117" y="connsiteY57117"/>
              </a:cxn>
              <a:cxn ang="0">
                <a:pos x="connsiteX57118" y="connsiteY57118"/>
              </a:cxn>
              <a:cxn ang="0">
                <a:pos x="connsiteX57119" y="connsiteY57119"/>
              </a:cxn>
              <a:cxn ang="0">
                <a:pos x="connsiteX57120" y="connsiteY57120"/>
              </a:cxn>
              <a:cxn ang="0">
                <a:pos x="connsiteX57121" y="connsiteY57121"/>
              </a:cxn>
              <a:cxn ang="0">
                <a:pos x="connsiteX57122" y="connsiteY57122"/>
              </a:cxn>
              <a:cxn ang="0">
                <a:pos x="connsiteX57123" y="connsiteY57123"/>
              </a:cxn>
              <a:cxn ang="0">
                <a:pos x="connsiteX57124" y="connsiteY57124"/>
              </a:cxn>
              <a:cxn ang="0">
                <a:pos x="connsiteX57125" y="connsiteY57125"/>
              </a:cxn>
              <a:cxn ang="0">
                <a:pos x="connsiteX57126" y="connsiteY57126"/>
              </a:cxn>
              <a:cxn ang="0">
                <a:pos x="connsiteX57127" y="connsiteY57127"/>
              </a:cxn>
              <a:cxn ang="0">
                <a:pos x="connsiteX57128" y="connsiteY57128"/>
              </a:cxn>
              <a:cxn ang="0">
                <a:pos x="connsiteX57129" y="connsiteY57129"/>
              </a:cxn>
              <a:cxn ang="0">
                <a:pos x="connsiteX57130" y="connsiteY57130"/>
              </a:cxn>
              <a:cxn ang="0">
                <a:pos x="connsiteX57131" y="connsiteY57131"/>
              </a:cxn>
              <a:cxn ang="0">
                <a:pos x="connsiteX57132" y="connsiteY57132"/>
              </a:cxn>
              <a:cxn ang="0">
                <a:pos x="connsiteX57133" y="connsiteY57133"/>
              </a:cxn>
              <a:cxn ang="0">
                <a:pos x="connsiteX57134" y="connsiteY57134"/>
              </a:cxn>
              <a:cxn ang="0">
                <a:pos x="connsiteX57135" y="connsiteY57135"/>
              </a:cxn>
              <a:cxn ang="0">
                <a:pos x="connsiteX57136" y="connsiteY57136"/>
              </a:cxn>
              <a:cxn ang="0">
                <a:pos x="connsiteX57137" y="connsiteY57137"/>
              </a:cxn>
              <a:cxn ang="0">
                <a:pos x="connsiteX57138" y="connsiteY57138"/>
              </a:cxn>
              <a:cxn ang="0">
                <a:pos x="connsiteX57139" y="connsiteY57139"/>
              </a:cxn>
              <a:cxn ang="0">
                <a:pos x="connsiteX57140" y="connsiteY57140"/>
              </a:cxn>
              <a:cxn ang="0">
                <a:pos x="connsiteX57141" y="connsiteY57141"/>
              </a:cxn>
              <a:cxn ang="0">
                <a:pos x="connsiteX57142" y="connsiteY57142"/>
              </a:cxn>
              <a:cxn ang="0">
                <a:pos x="connsiteX57143" y="connsiteY57143"/>
              </a:cxn>
              <a:cxn ang="0">
                <a:pos x="connsiteX57144" y="connsiteY57144"/>
              </a:cxn>
              <a:cxn ang="0">
                <a:pos x="connsiteX57145" y="connsiteY57145"/>
              </a:cxn>
              <a:cxn ang="0">
                <a:pos x="connsiteX57146" y="connsiteY57146"/>
              </a:cxn>
              <a:cxn ang="0">
                <a:pos x="connsiteX57147" y="connsiteY57147"/>
              </a:cxn>
              <a:cxn ang="0">
                <a:pos x="connsiteX57148" y="connsiteY57148"/>
              </a:cxn>
              <a:cxn ang="0">
                <a:pos x="connsiteX57149" y="connsiteY57149"/>
              </a:cxn>
              <a:cxn ang="0">
                <a:pos x="connsiteX57150" y="connsiteY57150"/>
              </a:cxn>
              <a:cxn ang="0">
                <a:pos x="connsiteX57151" y="connsiteY57151"/>
              </a:cxn>
              <a:cxn ang="0">
                <a:pos x="connsiteX57152" y="connsiteY57152"/>
              </a:cxn>
              <a:cxn ang="0">
                <a:pos x="connsiteX57153" y="connsiteY57153"/>
              </a:cxn>
              <a:cxn ang="0">
                <a:pos x="connsiteX57154" y="connsiteY57154"/>
              </a:cxn>
              <a:cxn ang="0">
                <a:pos x="connsiteX57155" y="connsiteY57155"/>
              </a:cxn>
              <a:cxn ang="0">
                <a:pos x="connsiteX57156" y="connsiteY57156"/>
              </a:cxn>
              <a:cxn ang="0">
                <a:pos x="connsiteX57157" y="connsiteY57157"/>
              </a:cxn>
              <a:cxn ang="0">
                <a:pos x="connsiteX57158" y="connsiteY57158"/>
              </a:cxn>
              <a:cxn ang="0">
                <a:pos x="connsiteX57159" y="connsiteY57159"/>
              </a:cxn>
              <a:cxn ang="0">
                <a:pos x="connsiteX57160" y="connsiteY57160"/>
              </a:cxn>
              <a:cxn ang="0">
                <a:pos x="connsiteX57161" y="connsiteY57161"/>
              </a:cxn>
              <a:cxn ang="0">
                <a:pos x="connsiteX57162" y="connsiteY57162"/>
              </a:cxn>
              <a:cxn ang="0">
                <a:pos x="connsiteX57163" y="connsiteY57163"/>
              </a:cxn>
              <a:cxn ang="0">
                <a:pos x="connsiteX57164" y="connsiteY57164"/>
              </a:cxn>
              <a:cxn ang="0">
                <a:pos x="connsiteX57165" y="connsiteY57165"/>
              </a:cxn>
              <a:cxn ang="0">
                <a:pos x="connsiteX57166" y="connsiteY57166"/>
              </a:cxn>
              <a:cxn ang="0">
                <a:pos x="connsiteX57167" y="connsiteY57167"/>
              </a:cxn>
              <a:cxn ang="0">
                <a:pos x="connsiteX57168" y="connsiteY57168"/>
              </a:cxn>
              <a:cxn ang="0">
                <a:pos x="connsiteX57169" y="connsiteY57169"/>
              </a:cxn>
              <a:cxn ang="0">
                <a:pos x="connsiteX57170" y="connsiteY57170"/>
              </a:cxn>
              <a:cxn ang="0">
                <a:pos x="connsiteX57171" y="connsiteY57171"/>
              </a:cxn>
              <a:cxn ang="0">
                <a:pos x="connsiteX57172" y="connsiteY57172"/>
              </a:cxn>
              <a:cxn ang="0">
                <a:pos x="connsiteX57173" y="connsiteY57173"/>
              </a:cxn>
              <a:cxn ang="0">
                <a:pos x="connsiteX57174" y="connsiteY57174"/>
              </a:cxn>
              <a:cxn ang="0">
                <a:pos x="connsiteX57175" y="connsiteY57175"/>
              </a:cxn>
              <a:cxn ang="0">
                <a:pos x="connsiteX57176" y="connsiteY57176"/>
              </a:cxn>
              <a:cxn ang="0">
                <a:pos x="connsiteX57177" y="connsiteY57177"/>
              </a:cxn>
              <a:cxn ang="0">
                <a:pos x="connsiteX57178" y="connsiteY57178"/>
              </a:cxn>
              <a:cxn ang="0">
                <a:pos x="connsiteX57179" y="connsiteY57179"/>
              </a:cxn>
              <a:cxn ang="0">
                <a:pos x="connsiteX57180" y="connsiteY57180"/>
              </a:cxn>
              <a:cxn ang="0">
                <a:pos x="connsiteX57181" y="connsiteY57181"/>
              </a:cxn>
              <a:cxn ang="0">
                <a:pos x="connsiteX57182" y="connsiteY57182"/>
              </a:cxn>
              <a:cxn ang="0">
                <a:pos x="connsiteX57183" y="connsiteY57183"/>
              </a:cxn>
              <a:cxn ang="0">
                <a:pos x="connsiteX57184" y="connsiteY57184"/>
              </a:cxn>
              <a:cxn ang="0">
                <a:pos x="connsiteX57185" y="connsiteY57185"/>
              </a:cxn>
              <a:cxn ang="0">
                <a:pos x="connsiteX57186" y="connsiteY57186"/>
              </a:cxn>
              <a:cxn ang="0">
                <a:pos x="connsiteX57187" y="connsiteY57187"/>
              </a:cxn>
              <a:cxn ang="0">
                <a:pos x="connsiteX57188" y="connsiteY57188"/>
              </a:cxn>
              <a:cxn ang="0">
                <a:pos x="connsiteX57189" y="connsiteY57189"/>
              </a:cxn>
              <a:cxn ang="0">
                <a:pos x="connsiteX57190" y="connsiteY57190"/>
              </a:cxn>
              <a:cxn ang="0">
                <a:pos x="connsiteX57191" y="connsiteY57191"/>
              </a:cxn>
              <a:cxn ang="0">
                <a:pos x="connsiteX57192" y="connsiteY57192"/>
              </a:cxn>
              <a:cxn ang="0">
                <a:pos x="connsiteX57193" y="connsiteY57193"/>
              </a:cxn>
              <a:cxn ang="0">
                <a:pos x="connsiteX57194" y="connsiteY57194"/>
              </a:cxn>
              <a:cxn ang="0">
                <a:pos x="connsiteX57195" y="connsiteY57195"/>
              </a:cxn>
              <a:cxn ang="0">
                <a:pos x="connsiteX57196" y="connsiteY57196"/>
              </a:cxn>
              <a:cxn ang="0">
                <a:pos x="connsiteX57197" y="connsiteY57197"/>
              </a:cxn>
              <a:cxn ang="0">
                <a:pos x="connsiteX57198" y="connsiteY57198"/>
              </a:cxn>
              <a:cxn ang="0">
                <a:pos x="connsiteX57199" y="connsiteY57199"/>
              </a:cxn>
              <a:cxn ang="0">
                <a:pos x="connsiteX57200" y="connsiteY57200"/>
              </a:cxn>
              <a:cxn ang="0">
                <a:pos x="connsiteX57201" y="connsiteY57201"/>
              </a:cxn>
              <a:cxn ang="0">
                <a:pos x="connsiteX57202" y="connsiteY57202"/>
              </a:cxn>
              <a:cxn ang="0">
                <a:pos x="connsiteX57203" y="connsiteY57203"/>
              </a:cxn>
              <a:cxn ang="0">
                <a:pos x="connsiteX57204" y="connsiteY57204"/>
              </a:cxn>
              <a:cxn ang="0">
                <a:pos x="connsiteX57205" y="connsiteY57205"/>
              </a:cxn>
              <a:cxn ang="0">
                <a:pos x="connsiteX57206" y="connsiteY57206"/>
              </a:cxn>
              <a:cxn ang="0">
                <a:pos x="connsiteX57207" y="connsiteY57207"/>
              </a:cxn>
              <a:cxn ang="0">
                <a:pos x="connsiteX57208" y="connsiteY57208"/>
              </a:cxn>
              <a:cxn ang="0">
                <a:pos x="connsiteX57209" y="connsiteY57209"/>
              </a:cxn>
              <a:cxn ang="0">
                <a:pos x="connsiteX57210" y="connsiteY57210"/>
              </a:cxn>
              <a:cxn ang="0">
                <a:pos x="connsiteX57211" y="connsiteY57211"/>
              </a:cxn>
              <a:cxn ang="0">
                <a:pos x="connsiteX57212" y="connsiteY57212"/>
              </a:cxn>
              <a:cxn ang="0">
                <a:pos x="connsiteX57213" y="connsiteY57213"/>
              </a:cxn>
              <a:cxn ang="0">
                <a:pos x="connsiteX57214" y="connsiteY57214"/>
              </a:cxn>
              <a:cxn ang="0">
                <a:pos x="connsiteX57215" y="connsiteY57215"/>
              </a:cxn>
              <a:cxn ang="0">
                <a:pos x="connsiteX57216" y="connsiteY57216"/>
              </a:cxn>
              <a:cxn ang="0">
                <a:pos x="connsiteX57217" y="connsiteY57217"/>
              </a:cxn>
              <a:cxn ang="0">
                <a:pos x="connsiteX57218" y="connsiteY57218"/>
              </a:cxn>
              <a:cxn ang="0">
                <a:pos x="connsiteX57219" y="connsiteY57219"/>
              </a:cxn>
              <a:cxn ang="0">
                <a:pos x="connsiteX57220" y="connsiteY57220"/>
              </a:cxn>
              <a:cxn ang="0">
                <a:pos x="connsiteX57221" y="connsiteY57221"/>
              </a:cxn>
              <a:cxn ang="0">
                <a:pos x="connsiteX57222" y="connsiteY57222"/>
              </a:cxn>
              <a:cxn ang="0">
                <a:pos x="connsiteX57223" y="connsiteY57223"/>
              </a:cxn>
              <a:cxn ang="0">
                <a:pos x="connsiteX57224" y="connsiteY57224"/>
              </a:cxn>
              <a:cxn ang="0">
                <a:pos x="connsiteX57225" y="connsiteY57225"/>
              </a:cxn>
              <a:cxn ang="0">
                <a:pos x="connsiteX57226" y="connsiteY57226"/>
              </a:cxn>
              <a:cxn ang="0">
                <a:pos x="connsiteX57227" y="connsiteY57227"/>
              </a:cxn>
              <a:cxn ang="0">
                <a:pos x="connsiteX57228" y="connsiteY57228"/>
              </a:cxn>
              <a:cxn ang="0">
                <a:pos x="connsiteX57229" y="connsiteY57229"/>
              </a:cxn>
              <a:cxn ang="0">
                <a:pos x="connsiteX57230" y="connsiteY57230"/>
              </a:cxn>
              <a:cxn ang="0">
                <a:pos x="connsiteX57231" y="connsiteY57231"/>
              </a:cxn>
              <a:cxn ang="0">
                <a:pos x="connsiteX57232" y="connsiteY57232"/>
              </a:cxn>
              <a:cxn ang="0">
                <a:pos x="connsiteX57233" y="connsiteY57233"/>
              </a:cxn>
              <a:cxn ang="0">
                <a:pos x="connsiteX57234" y="connsiteY57234"/>
              </a:cxn>
              <a:cxn ang="0">
                <a:pos x="connsiteX57235" y="connsiteY57235"/>
              </a:cxn>
              <a:cxn ang="0">
                <a:pos x="connsiteX57236" y="connsiteY57236"/>
              </a:cxn>
              <a:cxn ang="0">
                <a:pos x="connsiteX57237" y="connsiteY57237"/>
              </a:cxn>
              <a:cxn ang="0">
                <a:pos x="connsiteX57238" y="connsiteY57238"/>
              </a:cxn>
              <a:cxn ang="0">
                <a:pos x="connsiteX57239" y="connsiteY57239"/>
              </a:cxn>
              <a:cxn ang="0">
                <a:pos x="connsiteX57240" y="connsiteY57240"/>
              </a:cxn>
              <a:cxn ang="0">
                <a:pos x="connsiteX57241" y="connsiteY57241"/>
              </a:cxn>
              <a:cxn ang="0">
                <a:pos x="connsiteX57242" y="connsiteY57242"/>
              </a:cxn>
              <a:cxn ang="0">
                <a:pos x="connsiteX57243" y="connsiteY57243"/>
              </a:cxn>
              <a:cxn ang="0">
                <a:pos x="connsiteX57244" y="connsiteY57244"/>
              </a:cxn>
              <a:cxn ang="0">
                <a:pos x="connsiteX57245" y="connsiteY57245"/>
              </a:cxn>
              <a:cxn ang="0">
                <a:pos x="connsiteX57246" y="connsiteY57246"/>
              </a:cxn>
              <a:cxn ang="0">
                <a:pos x="connsiteX57247" y="connsiteY57247"/>
              </a:cxn>
              <a:cxn ang="0">
                <a:pos x="connsiteX57248" y="connsiteY57248"/>
              </a:cxn>
              <a:cxn ang="0">
                <a:pos x="connsiteX57249" y="connsiteY57249"/>
              </a:cxn>
              <a:cxn ang="0">
                <a:pos x="connsiteX57250" y="connsiteY57250"/>
              </a:cxn>
              <a:cxn ang="0">
                <a:pos x="connsiteX57251" y="connsiteY57251"/>
              </a:cxn>
              <a:cxn ang="0">
                <a:pos x="connsiteX57252" y="connsiteY57252"/>
              </a:cxn>
              <a:cxn ang="0">
                <a:pos x="connsiteX57253" y="connsiteY57253"/>
              </a:cxn>
              <a:cxn ang="0">
                <a:pos x="connsiteX57254" y="connsiteY57254"/>
              </a:cxn>
              <a:cxn ang="0">
                <a:pos x="connsiteX57255" y="connsiteY57255"/>
              </a:cxn>
              <a:cxn ang="0">
                <a:pos x="connsiteX57256" y="connsiteY57256"/>
              </a:cxn>
              <a:cxn ang="0">
                <a:pos x="connsiteX57257" y="connsiteY57257"/>
              </a:cxn>
              <a:cxn ang="0">
                <a:pos x="connsiteX57258" y="connsiteY57258"/>
              </a:cxn>
              <a:cxn ang="0">
                <a:pos x="connsiteX57259" y="connsiteY57259"/>
              </a:cxn>
              <a:cxn ang="0">
                <a:pos x="connsiteX57260" y="connsiteY57260"/>
              </a:cxn>
              <a:cxn ang="0">
                <a:pos x="connsiteX57261" y="connsiteY57261"/>
              </a:cxn>
              <a:cxn ang="0">
                <a:pos x="connsiteX57262" y="connsiteY57262"/>
              </a:cxn>
              <a:cxn ang="0">
                <a:pos x="connsiteX57263" y="connsiteY57263"/>
              </a:cxn>
              <a:cxn ang="0">
                <a:pos x="connsiteX57264" y="connsiteY57264"/>
              </a:cxn>
              <a:cxn ang="0">
                <a:pos x="connsiteX57265" y="connsiteY57265"/>
              </a:cxn>
              <a:cxn ang="0">
                <a:pos x="connsiteX57266" y="connsiteY57266"/>
              </a:cxn>
              <a:cxn ang="0">
                <a:pos x="connsiteX57267" y="connsiteY57267"/>
              </a:cxn>
              <a:cxn ang="0">
                <a:pos x="connsiteX57268" y="connsiteY57268"/>
              </a:cxn>
              <a:cxn ang="0">
                <a:pos x="connsiteX57269" y="connsiteY57269"/>
              </a:cxn>
              <a:cxn ang="0">
                <a:pos x="connsiteX57270" y="connsiteY57270"/>
              </a:cxn>
              <a:cxn ang="0">
                <a:pos x="connsiteX57271" y="connsiteY57271"/>
              </a:cxn>
              <a:cxn ang="0">
                <a:pos x="connsiteX57272" y="connsiteY57272"/>
              </a:cxn>
              <a:cxn ang="0">
                <a:pos x="connsiteX57273" y="connsiteY57273"/>
              </a:cxn>
              <a:cxn ang="0">
                <a:pos x="connsiteX57274" y="connsiteY57274"/>
              </a:cxn>
              <a:cxn ang="0">
                <a:pos x="connsiteX57275" y="connsiteY57275"/>
              </a:cxn>
              <a:cxn ang="0">
                <a:pos x="connsiteX57276" y="connsiteY57276"/>
              </a:cxn>
              <a:cxn ang="0">
                <a:pos x="connsiteX57277" y="connsiteY57277"/>
              </a:cxn>
              <a:cxn ang="0">
                <a:pos x="connsiteX57278" y="connsiteY57278"/>
              </a:cxn>
              <a:cxn ang="0">
                <a:pos x="connsiteX57279" y="connsiteY57279"/>
              </a:cxn>
              <a:cxn ang="0">
                <a:pos x="connsiteX57280" y="connsiteY57280"/>
              </a:cxn>
              <a:cxn ang="0">
                <a:pos x="connsiteX57281" y="connsiteY57281"/>
              </a:cxn>
              <a:cxn ang="0">
                <a:pos x="connsiteX57282" y="connsiteY57282"/>
              </a:cxn>
              <a:cxn ang="0">
                <a:pos x="connsiteX57283" y="connsiteY57283"/>
              </a:cxn>
              <a:cxn ang="0">
                <a:pos x="connsiteX57284" y="connsiteY57284"/>
              </a:cxn>
              <a:cxn ang="0">
                <a:pos x="connsiteX57285" y="connsiteY57285"/>
              </a:cxn>
              <a:cxn ang="0">
                <a:pos x="connsiteX57286" y="connsiteY57286"/>
              </a:cxn>
              <a:cxn ang="0">
                <a:pos x="connsiteX57287" y="connsiteY57287"/>
              </a:cxn>
              <a:cxn ang="0">
                <a:pos x="connsiteX57288" y="connsiteY57288"/>
              </a:cxn>
              <a:cxn ang="0">
                <a:pos x="connsiteX57289" y="connsiteY57289"/>
              </a:cxn>
              <a:cxn ang="0">
                <a:pos x="connsiteX57290" y="connsiteY57290"/>
              </a:cxn>
              <a:cxn ang="0">
                <a:pos x="connsiteX57291" y="connsiteY57291"/>
              </a:cxn>
              <a:cxn ang="0">
                <a:pos x="connsiteX57292" y="connsiteY57292"/>
              </a:cxn>
              <a:cxn ang="0">
                <a:pos x="connsiteX57293" y="connsiteY57293"/>
              </a:cxn>
              <a:cxn ang="0">
                <a:pos x="connsiteX57294" y="connsiteY57294"/>
              </a:cxn>
              <a:cxn ang="0">
                <a:pos x="connsiteX57295" y="connsiteY57295"/>
              </a:cxn>
              <a:cxn ang="0">
                <a:pos x="connsiteX57296" y="connsiteY57296"/>
              </a:cxn>
              <a:cxn ang="0">
                <a:pos x="connsiteX57297" y="connsiteY57297"/>
              </a:cxn>
              <a:cxn ang="0">
                <a:pos x="connsiteX57298" y="connsiteY57298"/>
              </a:cxn>
              <a:cxn ang="0">
                <a:pos x="connsiteX57299" y="connsiteY57299"/>
              </a:cxn>
              <a:cxn ang="0">
                <a:pos x="connsiteX57300" y="connsiteY57300"/>
              </a:cxn>
              <a:cxn ang="0">
                <a:pos x="connsiteX57301" y="connsiteY57301"/>
              </a:cxn>
              <a:cxn ang="0">
                <a:pos x="connsiteX57302" y="connsiteY57302"/>
              </a:cxn>
              <a:cxn ang="0">
                <a:pos x="connsiteX57303" y="connsiteY57303"/>
              </a:cxn>
              <a:cxn ang="0">
                <a:pos x="connsiteX57304" y="connsiteY57304"/>
              </a:cxn>
              <a:cxn ang="0">
                <a:pos x="connsiteX57305" y="connsiteY57305"/>
              </a:cxn>
              <a:cxn ang="0">
                <a:pos x="connsiteX57306" y="connsiteY57306"/>
              </a:cxn>
              <a:cxn ang="0">
                <a:pos x="connsiteX57307" y="connsiteY57307"/>
              </a:cxn>
              <a:cxn ang="0">
                <a:pos x="connsiteX57308" y="connsiteY57308"/>
              </a:cxn>
              <a:cxn ang="0">
                <a:pos x="connsiteX57309" y="connsiteY57309"/>
              </a:cxn>
              <a:cxn ang="0">
                <a:pos x="connsiteX57310" y="connsiteY57310"/>
              </a:cxn>
              <a:cxn ang="0">
                <a:pos x="connsiteX57311" y="connsiteY57311"/>
              </a:cxn>
              <a:cxn ang="0">
                <a:pos x="connsiteX57312" y="connsiteY57312"/>
              </a:cxn>
              <a:cxn ang="0">
                <a:pos x="connsiteX57313" y="connsiteY57313"/>
              </a:cxn>
              <a:cxn ang="0">
                <a:pos x="connsiteX57314" y="connsiteY57314"/>
              </a:cxn>
              <a:cxn ang="0">
                <a:pos x="connsiteX57315" y="connsiteY57315"/>
              </a:cxn>
              <a:cxn ang="0">
                <a:pos x="connsiteX57316" y="connsiteY57316"/>
              </a:cxn>
              <a:cxn ang="0">
                <a:pos x="connsiteX57317" y="connsiteY57317"/>
              </a:cxn>
              <a:cxn ang="0">
                <a:pos x="connsiteX57318" y="connsiteY57318"/>
              </a:cxn>
              <a:cxn ang="0">
                <a:pos x="connsiteX57319" y="connsiteY57319"/>
              </a:cxn>
              <a:cxn ang="0">
                <a:pos x="connsiteX57320" y="connsiteY57320"/>
              </a:cxn>
              <a:cxn ang="0">
                <a:pos x="connsiteX57321" y="connsiteY57321"/>
              </a:cxn>
              <a:cxn ang="0">
                <a:pos x="connsiteX57322" y="connsiteY57322"/>
              </a:cxn>
              <a:cxn ang="0">
                <a:pos x="connsiteX57323" y="connsiteY57323"/>
              </a:cxn>
              <a:cxn ang="0">
                <a:pos x="connsiteX57324" y="connsiteY57324"/>
              </a:cxn>
              <a:cxn ang="0">
                <a:pos x="connsiteX57325" y="connsiteY57325"/>
              </a:cxn>
              <a:cxn ang="0">
                <a:pos x="connsiteX57326" y="connsiteY57326"/>
              </a:cxn>
              <a:cxn ang="0">
                <a:pos x="connsiteX57327" y="connsiteY57327"/>
              </a:cxn>
              <a:cxn ang="0">
                <a:pos x="connsiteX57328" y="connsiteY57328"/>
              </a:cxn>
              <a:cxn ang="0">
                <a:pos x="connsiteX57329" y="connsiteY57329"/>
              </a:cxn>
              <a:cxn ang="0">
                <a:pos x="connsiteX57330" y="connsiteY57330"/>
              </a:cxn>
              <a:cxn ang="0">
                <a:pos x="connsiteX57331" y="connsiteY57331"/>
              </a:cxn>
              <a:cxn ang="0">
                <a:pos x="connsiteX57332" y="connsiteY57332"/>
              </a:cxn>
              <a:cxn ang="0">
                <a:pos x="connsiteX57333" y="connsiteY57333"/>
              </a:cxn>
              <a:cxn ang="0">
                <a:pos x="connsiteX57334" y="connsiteY57334"/>
              </a:cxn>
              <a:cxn ang="0">
                <a:pos x="connsiteX57335" y="connsiteY57335"/>
              </a:cxn>
              <a:cxn ang="0">
                <a:pos x="connsiteX57336" y="connsiteY57336"/>
              </a:cxn>
              <a:cxn ang="0">
                <a:pos x="connsiteX57337" y="connsiteY57337"/>
              </a:cxn>
              <a:cxn ang="0">
                <a:pos x="connsiteX57338" y="connsiteY57338"/>
              </a:cxn>
              <a:cxn ang="0">
                <a:pos x="connsiteX57339" y="connsiteY57339"/>
              </a:cxn>
              <a:cxn ang="0">
                <a:pos x="connsiteX57340" y="connsiteY57340"/>
              </a:cxn>
              <a:cxn ang="0">
                <a:pos x="connsiteX57341" y="connsiteY57341"/>
              </a:cxn>
              <a:cxn ang="0">
                <a:pos x="connsiteX57342" y="connsiteY57342"/>
              </a:cxn>
              <a:cxn ang="0">
                <a:pos x="connsiteX57343" y="connsiteY57343"/>
              </a:cxn>
              <a:cxn ang="0">
                <a:pos x="connsiteX57344" y="connsiteY57344"/>
              </a:cxn>
              <a:cxn ang="0">
                <a:pos x="connsiteX57345" y="connsiteY57345"/>
              </a:cxn>
              <a:cxn ang="0">
                <a:pos x="connsiteX57346" y="connsiteY57346"/>
              </a:cxn>
              <a:cxn ang="0">
                <a:pos x="connsiteX57347" y="connsiteY57347"/>
              </a:cxn>
              <a:cxn ang="0">
                <a:pos x="connsiteX57348" y="connsiteY57348"/>
              </a:cxn>
              <a:cxn ang="0">
                <a:pos x="connsiteX57349" y="connsiteY57349"/>
              </a:cxn>
              <a:cxn ang="0">
                <a:pos x="connsiteX57350" y="connsiteY57350"/>
              </a:cxn>
              <a:cxn ang="0">
                <a:pos x="connsiteX57351" y="connsiteY57351"/>
              </a:cxn>
              <a:cxn ang="0">
                <a:pos x="connsiteX57352" y="connsiteY57352"/>
              </a:cxn>
              <a:cxn ang="0">
                <a:pos x="connsiteX57353" y="connsiteY57353"/>
              </a:cxn>
              <a:cxn ang="0">
                <a:pos x="connsiteX57354" y="connsiteY57354"/>
              </a:cxn>
              <a:cxn ang="0">
                <a:pos x="connsiteX57355" y="connsiteY57355"/>
              </a:cxn>
              <a:cxn ang="0">
                <a:pos x="connsiteX57356" y="connsiteY57356"/>
              </a:cxn>
              <a:cxn ang="0">
                <a:pos x="connsiteX57357" y="connsiteY57357"/>
              </a:cxn>
              <a:cxn ang="0">
                <a:pos x="connsiteX57358" y="connsiteY57358"/>
              </a:cxn>
              <a:cxn ang="0">
                <a:pos x="connsiteX57359" y="connsiteY57359"/>
              </a:cxn>
              <a:cxn ang="0">
                <a:pos x="connsiteX57360" y="connsiteY57360"/>
              </a:cxn>
              <a:cxn ang="0">
                <a:pos x="connsiteX57361" y="connsiteY57361"/>
              </a:cxn>
              <a:cxn ang="0">
                <a:pos x="connsiteX57362" y="connsiteY57362"/>
              </a:cxn>
              <a:cxn ang="0">
                <a:pos x="connsiteX57363" y="connsiteY57363"/>
              </a:cxn>
              <a:cxn ang="0">
                <a:pos x="connsiteX57364" y="connsiteY57364"/>
              </a:cxn>
              <a:cxn ang="0">
                <a:pos x="connsiteX57365" y="connsiteY57365"/>
              </a:cxn>
              <a:cxn ang="0">
                <a:pos x="connsiteX57366" y="connsiteY57366"/>
              </a:cxn>
              <a:cxn ang="0">
                <a:pos x="connsiteX57367" y="connsiteY57367"/>
              </a:cxn>
              <a:cxn ang="0">
                <a:pos x="connsiteX57368" y="connsiteY57368"/>
              </a:cxn>
              <a:cxn ang="0">
                <a:pos x="connsiteX57369" y="connsiteY57369"/>
              </a:cxn>
              <a:cxn ang="0">
                <a:pos x="connsiteX57370" y="connsiteY57370"/>
              </a:cxn>
              <a:cxn ang="0">
                <a:pos x="connsiteX57371" y="connsiteY57371"/>
              </a:cxn>
              <a:cxn ang="0">
                <a:pos x="connsiteX57372" y="connsiteY57372"/>
              </a:cxn>
              <a:cxn ang="0">
                <a:pos x="connsiteX57373" y="connsiteY57373"/>
              </a:cxn>
              <a:cxn ang="0">
                <a:pos x="connsiteX57374" y="connsiteY57374"/>
              </a:cxn>
              <a:cxn ang="0">
                <a:pos x="connsiteX57375" y="connsiteY57375"/>
              </a:cxn>
              <a:cxn ang="0">
                <a:pos x="connsiteX57376" y="connsiteY57376"/>
              </a:cxn>
              <a:cxn ang="0">
                <a:pos x="connsiteX57377" y="connsiteY57377"/>
              </a:cxn>
              <a:cxn ang="0">
                <a:pos x="connsiteX57378" y="connsiteY57378"/>
              </a:cxn>
              <a:cxn ang="0">
                <a:pos x="connsiteX57379" y="connsiteY57379"/>
              </a:cxn>
              <a:cxn ang="0">
                <a:pos x="connsiteX57380" y="connsiteY57380"/>
              </a:cxn>
              <a:cxn ang="0">
                <a:pos x="connsiteX57381" y="connsiteY57381"/>
              </a:cxn>
              <a:cxn ang="0">
                <a:pos x="connsiteX57382" y="connsiteY57382"/>
              </a:cxn>
              <a:cxn ang="0">
                <a:pos x="connsiteX57383" y="connsiteY57383"/>
              </a:cxn>
              <a:cxn ang="0">
                <a:pos x="connsiteX57384" y="connsiteY57384"/>
              </a:cxn>
              <a:cxn ang="0">
                <a:pos x="connsiteX57385" y="connsiteY57385"/>
              </a:cxn>
              <a:cxn ang="0">
                <a:pos x="connsiteX57386" y="connsiteY57386"/>
              </a:cxn>
              <a:cxn ang="0">
                <a:pos x="connsiteX57387" y="connsiteY57387"/>
              </a:cxn>
              <a:cxn ang="0">
                <a:pos x="connsiteX57388" y="connsiteY57388"/>
              </a:cxn>
              <a:cxn ang="0">
                <a:pos x="connsiteX57389" y="connsiteY57389"/>
              </a:cxn>
              <a:cxn ang="0">
                <a:pos x="connsiteX57390" y="connsiteY57390"/>
              </a:cxn>
              <a:cxn ang="0">
                <a:pos x="connsiteX57391" y="connsiteY57391"/>
              </a:cxn>
              <a:cxn ang="0">
                <a:pos x="connsiteX57392" y="connsiteY57392"/>
              </a:cxn>
              <a:cxn ang="0">
                <a:pos x="connsiteX57393" y="connsiteY57393"/>
              </a:cxn>
              <a:cxn ang="0">
                <a:pos x="connsiteX57394" y="connsiteY57394"/>
              </a:cxn>
              <a:cxn ang="0">
                <a:pos x="connsiteX57395" y="connsiteY57395"/>
              </a:cxn>
              <a:cxn ang="0">
                <a:pos x="connsiteX57396" y="connsiteY57396"/>
              </a:cxn>
              <a:cxn ang="0">
                <a:pos x="connsiteX57397" y="connsiteY57397"/>
              </a:cxn>
              <a:cxn ang="0">
                <a:pos x="connsiteX57398" y="connsiteY57398"/>
              </a:cxn>
              <a:cxn ang="0">
                <a:pos x="connsiteX57399" y="connsiteY57399"/>
              </a:cxn>
              <a:cxn ang="0">
                <a:pos x="connsiteX57400" y="connsiteY57400"/>
              </a:cxn>
              <a:cxn ang="0">
                <a:pos x="connsiteX57401" y="connsiteY57401"/>
              </a:cxn>
              <a:cxn ang="0">
                <a:pos x="connsiteX57402" y="connsiteY57402"/>
              </a:cxn>
              <a:cxn ang="0">
                <a:pos x="connsiteX57403" y="connsiteY57403"/>
              </a:cxn>
              <a:cxn ang="0">
                <a:pos x="connsiteX57404" y="connsiteY57404"/>
              </a:cxn>
              <a:cxn ang="0">
                <a:pos x="connsiteX57405" y="connsiteY57405"/>
              </a:cxn>
              <a:cxn ang="0">
                <a:pos x="connsiteX57406" y="connsiteY57406"/>
              </a:cxn>
              <a:cxn ang="0">
                <a:pos x="connsiteX57407" y="connsiteY57407"/>
              </a:cxn>
              <a:cxn ang="0">
                <a:pos x="connsiteX57408" y="connsiteY57408"/>
              </a:cxn>
              <a:cxn ang="0">
                <a:pos x="connsiteX57409" y="connsiteY57409"/>
              </a:cxn>
              <a:cxn ang="0">
                <a:pos x="connsiteX57410" y="connsiteY57410"/>
              </a:cxn>
              <a:cxn ang="0">
                <a:pos x="connsiteX57411" y="connsiteY57411"/>
              </a:cxn>
              <a:cxn ang="0">
                <a:pos x="connsiteX57412" y="connsiteY57412"/>
              </a:cxn>
              <a:cxn ang="0">
                <a:pos x="connsiteX57413" y="connsiteY57413"/>
              </a:cxn>
              <a:cxn ang="0">
                <a:pos x="connsiteX57414" y="connsiteY57414"/>
              </a:cxn>
              <a:cxn ang="0">
                <a:pos x="connsiteX57415" y="connsiteY57415"/>
              </a:cxn>
              <a:cxn ang="0">
                <a:pos x="connsiteX57416" y="connsiteY57416"/>
              </a:cxn>
              <a:cxn ang="0">
                <a:pos x="connsiteX57417" y="connsiteY57417"/>
              </a:cxn>
              <a:cxn ang="0">
                <a:pos x="connsiteX57418" y="connsiteY57418"/>
              </a:cxn>
              <a:cxn ang="0">
                <a:pos x="connsiteX57419" y="connsiteY57419"/>
              </a:cxn>
              <a:cxn ang="0">
                <a:pos x="connsiteX57420" y="connsiteY57420"/>
              </a:cxn>
              <a:cxn ang="0">
                <a:pos x="connsiteX57421" y="connsiteY57421"/>
              </a:cxn>
              <a:cxn ang="0">
                <a:pos x="connsiteX57422" y="connsiteY57422"/>
              </a:cxn>
              <a:cxn ang="0">
                <a:pos x="connsiteX57423" y="connsiteY57423"/>
              </a:cxn>
              <a:cxn ang="0">
                <a:pos x="connsiteX57424" y="connsiteY57424"/>
              </a:cxn>
              <a:cxn ang="0">
                <a:pos x="connsiteX57425" y="connsiteY57425"/>
              </a:cxn>
              <a:cxn ang="0">
                <a:pos x="connsiteX57426" y="connsiteY57426"/>
              </a:cxn>
              <a:cxn ang="0">
                <a:pos x="connsiteX57427" y="connsiteY57427"/>
              </a:cxn>
              <a:cxn ang="0">
                <a:pos x="connsiteX57428" y="connsiteY57428"/>
              </a:cxn>
              <a:cxn ang="0">
                <a:pos x="connsiteX57429" y="connsiteY57429"/>
              </a:cxn>
              <a:cxn ang="0">
                <a:pos x="connsiteX57430" y="connsiteY57430"/>
              </a:cxn>
              <a:cxn ang="0">
                <a:pos x="connsiteX57431" y="connsiteY57431"/>
              </a:cxn>
              <a:cxn ang="0">
                <a:pos x="connsiteX57432" y="connsiteY57432"/>
              </a:cxn>
              <a:cxn ang="0">
                <a:pos x="connsiteX57433" y="connsiteY57433"/>
              </a:cxn>
              <a:cxn ang="0">
                <a:pos x="connsiteX57434" y="connsiteY57434"/>
              </a:cxn>
              <a:cxn ang="0">
                <a:pos x="connsiteX57435" y="connsiteY57435"/>
              </a:cxn>
              <a:cxn ang="0">
                <a:pos x="connsiteX57436" y="connsiteY57436"/>
              </a:cxn>
              <a:cxn ang="0">
                <a:pos x="connsiteX57437" y="connsiteY57437"/>
              </a:cxn>
              <a:cxn ang="0">
                <a:pos x="connsiteX57438" y="connsiteY57438"/>
              </a:cxn>
              <a:cxn ang="0">
                <a:pos x="connsiteX57439" y="connsiteY57439"/>
              </a:cxn>
              <a:cxn ang="0">
                <a:pos x="connsiteX57440" y="connsiteY57440"/>
              </a:cxn>
              <a:cxn ang="0">
                <a:pos x="connsiteX57441" y="connsiteY57441"/>
              </a:cxn>
              <a:cxn ang="0">
                <a:pos x="connsiteX57442" y="connsiteY57442"/>
              </a:cxn>
              <a:cxn ang="0">
                <a:pos x="connsiteX57443" y="connsiteY57443"/>
              </a:cxn>
              <a:cxn ang="0">
                <a:pos x="connsiteX57444" y="connsiteY57444"/>
              </a:cxn>
              <a:cxn ang="0">
                <a:pos x="connsiteX57445" y="connsiteY57445"/>
              </a:cxn>
              <a:cxn ang="0">
                <a:pos x="connsiteX57446" y="connsiteY57446"/>
              </a:cxn>
              <a:cxn ang="0">
                <a:pos x="connsiteX57447" y="connsiteY57447"/>
              </a:cxn>
              <a:cxn ang="0">
                <a:pos x="connsiteX57448" y="connsiteY57448"/>
              </a:cxn>
              <a:cxn ang="0">
                <a:pos x="connsiteX57449" y="connsiteY57449"/>
              </a:cxn>
              <a:cxn ang="0">
                <a:pos x="connsiteX57450" y="connsiteY57450"/>
              </a:cxn>
              <a:cxn ang="0">
                <a:pos x="connsiteX57451" y="connsiteY57451"/>
              </a:cxn>
              <a:cxn ang="0">
                <a:pos x="connsiteX57452" y="connsiteY57452"/>
              </a:cxn>
              <a:cxn ang="0">
                <a:pos x="connsiteX57453" y="connsiteY57453"/>
              </a:cxn>
              <a:cxn ang="0">
                <a:pos x="connsiteX57454" y="connsiteY57454"/>
              </a:cxn>
              <a:cxn ang="0">
                <a:pos x="connsiteX57455" y="connsiteY57455"/>
              </a:cxn>
              <a:cxn ang="0">
                <a:pos x="connsiteX57456" y="connsiteY57456"/>
              </a:cxn>
              <a:cxn ang="0">
                <a:pos x="connsiteX57457" y="connsiteY57457"/>
              </a:cxn>
              <a:cxn ang="0">
                <a:pos x="connsiteX57458" y="connsiteY57458"/>
              </a:cxn>
              <a:cxn ang="0">
                <a:pos x="connsiteX57459" y="connsiteY57459"/>
              </a:cxn>
              <a:cxn ang="0">
                <a:pos x="connsiteX57460" y="connsiteY57460"/>
              </a:cxn>
              <a:cxn ang="0">
                <a:pos x="connsiteX57461" y="connsiteY57461"/>
              </a:cxn>
              <a:cxn ang="0">
                <a:pos x="connsiteX57462" y="connsiteY57462"/>
              </a:cxn>
              <a:cxn ang="0">
                <a:pos x="connsiteX57463" y="connsiteY57463"/>
              </a:cxn>
              <a:cxn ang="0">
                <a:pos x="connsiteX57464" y="connsiteY57464"/>
              </a:cxn>
              <a:cxn ang="0">
                <a:pos x="connsiteX57465" y="connsiteY57465"/>
              </a:cxn>
              <a:cxn ang="0">
                <a:pos x="connsiteX57466" y="connsiteY57466"/>
              </a:cxn>
              <a:cxn ang="0">
                <a:pos x="connsiteX57467" y="connsiteY57467"/>
              </a:cxn>
              <a:cxn ang="0">
                <a:pos x="connsiteX57468" y="connsiteY57468"/>
              </a:cxn>
              <a:cxn ang="0">
                <a:pos x="connsiteX57469" y="connsiteY57469"/>
              </a:cxn>
              <a:cxn ang="0">
                <a:pos x="connsiteX57470" y="connsiteY57470"/>
              </a:cxn>
              <a:cxn ang="0">
                <a:pos x="connsiteX57471" y="connsiteY57471"/>
              </a:cxn>
              <a:cxn ang="0">
                <a:pos x="connsiteX57472" y="connsiteY57472"/>
              </a:cxn>
              <a:cxn ang="0">
                <a:pos x="connsiteX57473" y="connsiteY57473"/>
              </a:cxn>
              <a:cxn ang="0">
                <a:pos x="connsiteX57474" y="connsiteY57474"/>
              </a:cxn>
              <a:cxn ang="0">
                <a:pos x="connsiteX57475" y="connsiteY57475"/>
              </a:cxn>
              <a:cxn ang="0">
                <a:pos x="connsiteX57476" y="connsiteY57476"/>
              </a:cxn>
              <a:cxn ang="0">
                <a:pos x="connsiteX57477" y="connsiteY57477"/>
              </a:cxn>
              <a:cxn ang="0">
                <a:pos x="connsiteX57478" y="connsiteY57478"/>
              </a:cxn>
              <a:cxn ang="0">
                <a:pos x="connsiteX57479" y="connsiteY57479"/>
              </a:cxn>
              <a:cxn ang="0">
                <a:pos x="connsiteX57480" y="connsiteY57480"/>
              </a:cxn>
              <a:cxn ang="0">
                <a:pos x="connsiteX57481" y="connsiteY57481"/>
              </a:cxn>
              <a:cxn ang="0">
                <a:pos x="connsiteX57482" y="connsiteY57482"/>
              </a:cxn>
              <a:cxn ang="0">
                <a:pos x="connsiteX57483" y="connsiteY57483"/>
              </a:cxn>
              <a:cxn ang="0">
                <a:pos x="connsiteX57484" y="connsiteY57484"/>
              </a:cxn>
              <a:cxn ang="0">
                <a:pos x="connsiteX57485" y="connsiteY57485"/>
              </a:cxn>
              <a:cxn ang="0">
                <a:pos x="connsiteX57486" y="connsiteY57486"/>
              </a:cxn>
              <a:cxn ang="0">
                <a:pos x="connsiteX57487" y="connsiteY57487"/>
              </a:cxn>
              <a:cxn ang="0">
                <a:pos x="connsiteX57488" y="connsiteY57488"/>
              </a:cxn>
              <a:cxn ang="0">
                <a:pos x="connsiteX57489" y="connsiteY57489"/>
              </a:cxn>
              <a:cxn ang="0">
                <a:pos x="connsiteX57490" y="connsiteY57490"/>
              </a:cxn>
              <a:cxn ang="0">
                <a:pos x="connsiteX57491" y="connsiteY57491"/>
              </a:cxn>
              <a:cxn ang="0">
                <a:pos x="connsiteX57492" y="connsiteY57492"/>
              </a:cxn>
              <a:cxn ang="0">
                <a:pos x="connsiteX57493" y="connsiteY57493"/>
              </a:cxn>
              <a:cxn ang="0">
                <a:pos x="connsiteX57494" y="connsiteY57494"/>
              </a:cxn>
              <a:cxn ang="0">
                <a:pos x="connsiteX57495" y="connsiteY57495"/>
              </a:cxn>
              <a:cxn ang="0">
                <a:pos x="connsiteX57496" y="connsiteY57496"/>
              </a:cxn>
              <a:cxn ang="0">
                <a:pos x="connsiteX57497" y="connsiteY57497"/>
              </a:cxn>
              <a:cxn ang="0">
                <a:pos x="connsiteX57498" y="connsiteY57498"/>
              </a:cxn>
              <a:cxn ang="0">
                <a:pos x="connsiteX57499" y="connsiteY57499"/>
              </a:cxn>
              <a:cxn ang="0">
                <a:pos x="connsiteX57500" y="connsiteY57500"/>
              </a:cxn>
              <a:cxn ang="0">
                <a:pos x="connsiteX57501" y="connsiteY57501"/>
              </a:cxn>
              <a:cxn ang="0">
                <a:pos x="connsiteX57502" y="connsiteY57502"/>
              </a:cxn>
              <a:cxn ang="0">
                <a:pos x="connsiteX57503" y="connsiteY57503"/>
              </a:cxn>
              <a:cxn ang="0">
                <a:pos x="connsiteX57504" y="connsiteY57504"/>
              </a:cxn>
              <a:cxn ang="0">
                <a:pos x="connsiteX57505" y="connsiteY57505"/>
              </a:cxn>
              <a:cxn ang="0">
                <a:pos x="connsiteX57506" y="connsiteY57506"/>
              </a:cxn>
              <a:cxn ang="0">
                <a:pos x="connsiteX57507" y="connsiteY57507"/>
              </a:cxn>
              <a:cxn ang="0">
                <a:pos x="connsiteX57508" y="connsiteY57508"/>
              </a:cxn>
              <a:cxn ang="0">
                <a:pos x="connsiteX57509" y="connsiteY57509"/>
              </a:cxn>
              <a:cxn ang="0">
                <a:pos x="connsiteX57510" y="connsiteY57510"/>
              </a:cxn>
              <a:cxn ang="0">
                <a:pos x="connsiteX57511" y="connsiteY57511"/>
              </a:cxn>
              <a:cxn ang="0">
                <a:pos x="connsiteX57512" y="connsiteY57512"/>
              </a:cxn>
              <a:cxn ang="0">
                <a:pos x="connsiteX57513" y="connsiteY57513"/>
              </a:cxn>
              <a:cxn ang="0">
                <a:pos x="connsiteX57514" y="connsiteY57514"/>
              </a:cxn>
              <a:cxn ang="0">
                <a:pos x="connsiteX57515" y="connsiteY57515"/>
              </a:cxn>
              <a:cxn ang="0">
                <a:pos x="connsiteX57516" y="connsiteY57516"/>
              </a:cxn>
              <a:cxn ang="0">
                <a:pos x="connsiteX57517" y="connsiteY57517"/>
              </a:cxn>
              <a:cxn ang="0">
                <a:pos x="connsiteX57518" y="connsiteY57518"/>
              </a:cxn>
              <a:cxn ang="0">
                <a:pos x="connsiteX57519" y="connsiteY57519"/>
              </a:cxn>
              <a:cxn ang="0">
                <a:pos x="connsiteX57520" y="connsiteY57520"/>
              </a:cxn>
              <a:cxn ang="0">
                <a:pos x="connsiteX57521" y="connsiteY57521"/>
              </a:cxn>
              <a:cxn ang="0">
                <a:pos x="connsiteX57522" y="connsiteY57522"/>
              </a:cxn>
              <a:cxn ang="0">
                <a:pos x="connsiteX57523" y="connsiteY57523"/>
              </a:cxn>
              <a:cxn ang="0">
                <a:pos x="connsiteX57524" y="connsiteY57524"/>
              </a:cxn>
              <a:cxn ang="0">
                <a:pos x="connsiteX57525" y="connsiteY57525"/>
              </a:cxn>
              <a:cxn ang="0">
                <a:pos x="connsiteX57526" y="connsiteY57526"/>
              </a:cxn>
              <a:cxn ang="0">
                <a:pos x="connsiteX57527" y="connsiteY57527"/>
              </a:cxn>
              <a:cxn ang="0">
                <a:pos x="connsiteX57528" y="connsiteY57528"/>
              </a:cxn>
              <a:cxn ang="0">
                <a:pos x="connsiteX57529" y="connsiteY57529"/>
              </a:cxn>
              <a:cxn ang="0">
                <a:pos x="connsiteX57530" y="connsiteY57530"/>
              </a:cxn>
              <a:cxn ang="0">
                <a:pos x="connsiteX57531" y="connsiteY57531"/>
              </a:cxn>
              <a:cxn ang="0">
                <a:pos x="connsiteX57532" y="connsiteY57532"/>
              </a:cxn>
              <a:cxn ang="0">
                <a:pos x="connsiteX57533" y="connsiteY57533"/>
              </a:cxn>
              <a:cxn ang="0">
                <a:pos x="connsiteX57534" y="connsiteY57534"/>
              </a:cxn>
              <a:cxn ang="0">
                <a:pos x="connsiteX57535" y="connsiteY57535"/>
              </a:cxn>
              <a:cxn ang="0">
                <a:pos x="connsiteX57536" y="connsiteY57536"/>
              </a:cxn>
              <a:cxn ang="0">
                <a:pos x="connsiteX57537" y="connsiteY57537"/>
              </a:cxn>
              <a:cxn ang="0">
                <a:pos x="connsiteX57538" y="connsiteY57538"/>
              </a:cxn>
              <a:cxn ang="0">
                <a:pos x="connsiteX57539" y="connsiteY57539"/>
              </a:cxn>
              <a:cxn ang="0">
                <a:pos x="connsiteX57540" y="connsiteY57540"/>
              </a:cxn>
              <a:cxn ang="0">
                <a:pos x="connsiteX57541" y="connsiteY57541"/>
              </a:cxn>
              <a:cxn ang="0">
                <a:pos x="connsiteX57542" y="connsiteY57542"/>
              </a:cxn>
              <a:cxn ang="0">
                <a:pos x="connsiteX57543" y="connsiteY57543"/>
              </a:cxn>
              <a:cxn ang="0">
                <a:pos x="connsiteX57544" y="connsiteY57544"/>
              </a:cxn>
              <a:cxn ang="0">
                <a:pos x="connsiteX57545" y="connsiteY57545"/>
              </a:cxn>
              <a:cxn ang="0">
                <a:pos x="connsiteX57546" y="connsiteY57546"/>
              </a:cxn>
              <a:cxn ang="0">
                <a:pos x="connsiteX57547" y="connsiteY57547"/>
              </a:cxn>
              <a:cxn ang="0">
                <a:pos x="connsiteX57548" y="connsiteY57548"/>
              </a:cxn>
              <a:cxn ang="0">
                <a:pos x="connsiteX57549" y="connsiteY57549"/>
              </a:cxn>
              <a:cxn ang="0">
                <a:pos x="connsiteX57550" y="connsiteY57550"/>
              </a:cxn>
              <a:cxn ang="0">
                <a:pos x="connsiteX57551" y="connsiteY57551"/>
              </a:cxn>
              <a:cxn ang="0">
                <a:pos x="connsiteX57552" y="connsiteY57552"/>
              </a:cxn>
              <a:cxn ang="0">
                <a:pos x="connsiteX57553" y="connsiteY57553"/>
              </a:cxn>
              <a:cxn ang="0">
                <a:pos x="connsiteX57554" y="connsiteY57554"/>
              </a:cxn>
              <a:cxn ang="0">
                <a:pos x="connsiteX57555" y="connsiteY57555"/>
              </a:cxn>
              <a:cxn ang="0">
                <a:pos x="connsiteX57556" y="connsiteY57556"/>
              </a:cxn>
              <a:cxn ang="0">
                <a:pos x="connsiteX57557" y="connsiteY57557"/>
              </a:cxn>
              <a:cxn ang="0">
                <a:pos x="connsiteX57558" y="connsiteY57558"/>
              </a:cxn>
              <a:cxn ang="0">
                <a:pos x="connsiteX57559" y="connsiteY57559"/>
              </a:cxn>
              <a:cxn ang="0">
                <a:pos x="connsiteX57560" y="connsiteY57560"/>
              </a:cxn>
              <a:cxn ang="0">
                <a:pos x="connsiteX57561" y="connsiteY57561"/>
              </a:cxn>
              <a:cxn ang="0">
                <a:pos x="connsiteX57562" y="connsiteY57562"/>
              </a:cxn>
              <a:cxn ang="0">
                <a:pos x="connsiteX57563" y="connsiteY57563"/>
              </a:cxn>
              <a:cxn ang="0">
                <a:pos x="connsiteX57564" y="connsiteY57564"/>
              </a:cxn>
              <a:cxn ang="0">
                <a:pos x="connsiteX57565" y="connsiteY57565"/>
              </a:cxn>
              <a:cxn ang="0">
                <a:pos x="connsiteX57566" y="connsiteY57566"/>
              </a:cxn>
              <a:cxn ang="0">
                <a:pos x="connsiteX57567" y="connsiteY57567"/>
              </a:cxn>
              <a:cxn ang="0">
                <a:pos x="connsiteX57568" y="connsiteY57568"/>
              </a:cxn>
              <a:cxn ang="0">
                <a:pos x="connsiteX57569" y="connsiteY57569"/>
              </a:cxn>
              <a:cxn ang="0">
                <a:pos x="connsiteX57570" y="connsiteY57570"/>
              </a:cxn>
              <a:cxn ang="0">
                <a:pos x="connsiteX57571" y="connsiteY57571"/>
              </a:cxn>
              <a:cxn ang="0">
                <a:pos x="connsiteX57572" y="connsiteY57572"/>
              </a:cxn>
              <a:cxn ang="0">
                <a:pos x="connsiteX57573" y="connsiteY57573"/>
              </a:cxn>
              <a:cxn ang="0">
                <a:pos x="connsiteX57574" y="connsiteY57574"/>
              </a:cxn>
              <a:cxn ang="0">
                <a:pos x="connsiteX57575" y="connsiteY57575"/>
              </a:cxn>
              <a:cxn ang="0">
                <a:pos x="connsiteX57576" y="connsiteY57576"/>
              </a:cxn>
              <a:cxn ang="0">
                <a:pos x="connsiteX57577" y="connsiteY57577"/>
              </a:cxn>
              <a:cxn ang="0">
                <a:pos x="connsiteX57578" y="connsiteY57578"/>
              </a:cxn>
              <a:cxn ang="0">
                <a:pos x="connsiteX57579" y="connsiteY57579"/>
              </a:cxn>
              <a:cxn ang="0">
                <a:pos x="connsiteX57580" y="connsiteY57580"/>
              </a:cxn>
              <a:cxn ang="0">
                <a:pos x="connsiteX57581" y="connsiteY57581"/>
              </a:cxn>
              <a:cxn ang="0">
                <a:pos x="connsiteX57582" y="connsiteY57582"/>
              </a:cxn>
              <a:cxn ang="0">
                <a:pos x="connsiteX57583" y="connsiteY57583"/>
              </a:cxn>
              <a:cxn ang="0">
                <a:pos x="connsiteX57584" y="connsiteY57584"/>
              </a:cxn>
              <a:cxn ang="0">
                <a:pos x="connsiteX57585" y="connsiteY57585"/>
              </a:cxn>
              <a:cxn ang="0">
                <a:pos x="connsiteX57586" y="connsiteY57586"/>
              </a:cxn>
              <a:cxn ang="0">
                <a:pos x="connsiteX57587" y="connsiteY57587"/>
              </a:cxn>
              <a:cxn ang="0">
                <a:pos x="connsiteX57588" y="connsiteY57588"/>
              </a:cxn>
              <a:cxn ang="0">
                <a:pos x="connsiteX57589" y="connsiteY57589"/>
              </a:cxn>
              <a:cxn ang="0">
                <a:pos x="connsiteX57590" y="connsiteY57590"/>
              </a:cxn>
              <a:cxn ang="0">
                <a:pos x="connsiteX57591" y="connsiteY57591"/>
              </a:cxn>
              <a:cxn ang="0">
                <a:pos x="connsiteX57592" y="connsiteY57592"/>
              </a:cxn>
              <a:cxn ang="0">
                <a:pos x="connsiteX57593" y="connsiteY57593"/>
              </a:cxn>
              <a:cxn ang="0">
                <a:pos x="connsiteX57594" y="connsiteY57594"/>
              </a:cxn>
              <a:cxn ang="0">
                <a:pos x="connsiteX57595" y="connsiteY57595"/>
              </a:cxn>
              <a:cxn ang="0">
                <a:pos x="connsiteX57596" y="connsiteY57596"/>
              </a:cxn>
              <a:cxn ang="0">
                <a:pos x="connsiteX57597" y="connsiteY57597"/>
              </a:cxn>
              <a:cxn ang="0">
                <a:pos x="connsiteX57598" y="connsiteY57598"/>
              </a:cxn>
              <a:cxn ang="0">
                <a:pos x="connsiteX57599" y="connsiteY57599"/>
              </a:cxn>
              <a:cxn ang="0">
                <a:pos x="connsiteX57600" y="connsiteY57600"/>
              </a:cxn>
              <a:cxn ang="0">
                <a:pos x="connsiteX57601" y="connsiteY57601"/>
              </a:cxn>
              <a:cxn ang="0">
                <a:pos x="connsiteX57602" y="connsiteY57602"/>
              </a:cxn>
              <a:cxn ang="0">
                <a:pos x="connsiteX57603" y="connsiteY57603"/>
              </a:cxn>
              <a:cxn ang="0">
                <a:pos x="connsiteX57604" y="connsiteY57604"/>
              </a:cxn>
              <a:cxn ang="0">
                <a:pos x="connsiteX57605" y="connsiteY57605"/>
              </a:cxn>
              <a:cxn ang="0">
                <a:pos x="connsiteX57606" y="connsiteY57606"/>
              </a:cxn>
              <a:cxn ang="0">
                <a:pos x="connsiteX57607" y="connsiteY57607"/>
              </a:cxn>
              <a:cxn ang="0">
                <a:pos x="connsiteX57608" y="connsiteY57608"/>
              </a:cxn>
              <a:cxn ang="0">
                <a:pos x="connsiteX57609" y="connsiteY57609"/>
              </a:cxn>
              <a:cxn ang="0">
                <a:pos x="connsiteX57610" y="connsiteY57610"/>
              </a:cxn>
              <a:cxn ang="0">
                <a:pos x="connsiteX57611" y="connsiteY57611"/>
              </a:cxn>
              <a:cxn ang="0">
                <a:pos x="connsiteX57612" y="connsiteY57612"/>
              </a:cxn>
              <a:cxn ang="0">
                <a:pos x="connsiteX57613" y="connsiteY57613"/>
              </a:cxn>
              <a:cxn ang="0">
                <a:pos x="connsiteX57614" y="connsiteY57614"/>
              </a:cxn>
              <a:cxn ang="0">
                <a:pos x="connsiteX57615" y="connsiteY57615"/>
              </a:cxn>
              <a:cxn ang="0">
                <a:pos x="connsiteX57616" y="connsiteY57616"/>
              </a:cxn>
              <a:cxn ang="0">
                <a:pos x="connsiteX57617" y="connsiteY57617"/>
              </a:cxn>
              <a:cxn ang="0">
                <a:pos x="connsiteX57618" y="connsiteY57618"/>
              </a:cxn>
              <a:cxn ang="0">
                <a:pos x="connsiteX57619" y="connsiteY57619"/>
              </a:cxn>
              <a:cxn ang="0">
                <a:pos x="connsiteX57620" y="connsiteY57620"/>
              </a:cxn>
              <a:cxn ang="0">
                <a:pos x="connsiteX57621" y="connsiteY57621"/>
              </a:cxn>
              <a:cxn ang="0">
                <a:pos x="connsiteX57622" y="connsiteY57622"/>
              </a:cxn>
              <a:cxn ang="0">
                <a:pos x="connsiteX57623" y="connsiteY57623"/>
              </a:cxn>
              <a:cxn ang="0">
                <a:pos x="connsiteX57624" y="connsiteY57624"/>
              </a:cxn>
              <a:cxn ang="0">
                <a:pos x="connsiteX57625" y="connsiteY57625"/>
              </a:cxn>
              <a:cxn ang="0">
                <a:pos x="connsiteX57626" y="connsiteY57626"/>
              </a:cxn>
              <a:cxn ang="0">
                <a:pos x="connsiteX57627" y="connsiteY57627"/>
              </a:cxn>
              <a:cxn ang="0">
                <a:pos x="connsiteX57628" y="connsiteY57628"/>
              </a:cxn>
              <a:cxn ang="0">
                <a:pos x="connsiteX57629" y="connsiteY57629"/>
              </a:cxn>
              <a:cxn ang="0">
                <a:pos x="connsiteX57630" y="connsiteY57630"/>
              </a:cxn>
              <a:cxn ang="0">
                <a:pos x="connsiteX57631" y="connsiteY57631"/>
              </a:cxn>
              <a:cxn ang="0">
                <a:pos x="connsiteX57632" y="connsiteY57632"/>
              </a:cxn>
              <a:cxn ang="0">
                <a:pos x="connsiteX57633" y="connsiteY57633"/>
              </a:cxn>
              <a:cxn ang="0">
                <a:pos x="connsiteX57634" y="connsiteY57634"/>
              </a:cxn>
              <a:cxn ang="0">
                <a:pos x="connsiteX57635" y="connsiteY57635"/>
              </a:cxn>
              <a:cxn ang="0">
                <a:pos x="connsiteX57636" y="connsiteY57636"/>
              </a:cxn>
              <a:cxn ang="0">
                <a:pos x="connsiteX57637" y="connsiteY57637"/>
              </a:cxn>
              <a:cxn ang="0">
                <a:pos x="connsiteX57638" y="connsiteY57638"/>
              </a:cxn>
              <a:cxn ang="0">
                <a:pos x="connsiteX57639" y="connsiteY57639"/>
              </a:cxn>
              <a:cxn ang="0">
                <a:pos x="connsiteX57640" y="connsiteY57640"/>
              </a:cxn>
              <a:cxn ang="0">
                <a:pos x="connsiteX57641" y="connsiteY57641"/>
              </a:cxn>
              <a:cxn ang="0">
                <a:pos x="connsiteX57642" y="connsiteY57642"/>
              </a:cxn>
              <a:cxn ang="0">
                <a:pos x="connsiteX57643" y="connsiteY57643"/>
              </a:cxn>
              <a:cxn ang="0">
                <a:pos x="connsiteX57644" y="connsiteY57644"/>
              </a:cxn>
              <a:cxn ang="0">
                <a:pos x="connsiteX57645" y="connsiteY57645"/>
              </a:cxn>
              <a:cxn ang="0">
                <a:pos x="connsiteX57646" y="connsiteY57646"/>
              </a:cxn>
              <a:cxn ang="0">
                <a:pos x="connsiteX57647" y="connsiteY57647"/>
              </a:cxn>
              <a:cxn ang="0">
                <a:pos x="connsiteX57648" y="connsiteY57648"/>
              </a:cxn>
              <a:cxn ang="0">
                <a:pos x="connsiteX57649" y="connsiteY57649"/>
              </a:cxn>
              <a:cxn ang="0">
                <a:pos x="connsiteX57650" y="connsiteY57650"/>
              </a:cxn>
              <a:cxn ang="0">
                <a:pos x="connsiteX57651" y="connsiteY57651"/>
              </a:cxn>
              <a:cxn ang="0">
                <a:pos x="connsiteX57652" y="connsiteY57652"/>
              </a:cxn>
              <a:cxn ang="0">
                <a:pos x="connsiteX57653" y="connsiteY57653"/>
              </a:cxn>
              <a:cxn ang="0">
                <a:pos x="connsiteX57654" y="connsiteY57654"/>
              </a:cxn>
              <a:cxn ang="0">
                <a:pos x="connsiteX57655" y="connsiteY57655"/>
              </a:cxn>
              <a:cxn ang="0">
                <a:pos x="connsiteX57656" y="connsiteY57656"/>
              </a:cxn>
              <a:cxn ang="0">
                <a:pos x="connsiteX57657" y="connsiteY57657"/>
              </a:cxn>
              <a:cxn ang="0">
                <a:pos x="connsiteX57658" y="connsiteY57658"/>
              </a:cxn>
              <a:cxn ang="0">
                <a:pos x="connsiteX57659" y="connsiteY57659"/>
              </a:cxn>
              <a:cxn ang="0">
                <a:pos x="connsiteX57660" y="connsiteY57660"/>
              </a:cxn>
              <a:cxn ang="0">
                <a:pos x="connsiteX57661" y="connsiteY57661"/>
              </a:cxn>
              <a:cxn ang="0">
                <a:pos x="connsiteX57662" y="connsiteY57662"/>
              </a:cxn>
              <a:cxn ang="0">
                <a:pos x="connsiteX57663" y="connsiteY57663"/>
              </a:cxn>
              <a:cxn ang="0">
                <a:pos x="connsiteX57664" y="connsiteY57664"/>
              </a:cxn>
              <a:cxn ang="0">
                <a:pos x="connsiteX57665" y="connsiteY57665"/>
              </a:cxn>
              <a:cxn ang="0">
                <a:pos x="connsiteX57666" y="connsiteY57666"/>
              </a:cxn>
              <a:cxn ang="0">
                <a:pos x="connsiteX57667" y="connsiteY57667"/>
              </a:cxn>
              <a:cxn ang="0">
                <a:pos x="connsiteX57668" y="connsiteY57668"/>
              </a:cxn>
              <a:cxn ang="0">
                <a:pos x="connsiteX57669" y="connsiteY57669"/>
              </a:cxn>
              <a:cxn ang="0">
                <a:pos x="connsiteX57670" y="connsiteY57670"/>
              </a:cxn>
              <a:cxn ang="0">
                <a:pos x="connsiteX57671" y="connsiteY57671"/>
              </a:cxn>
              <a:cxn ang="0">
                <a:pos x="connsiteX57672" y="connsiteY57672"/>
              </a:cxn>
              <a:cxn ang="0">
                <a:pos x="connsiteX57673" y="connsiteY57673"/>
              </a:cxn>
              <a:cxn ang="0">
                <a:pos x="connsiteX57674" y="connsiteY57674"/>
              </a:cxn>
              <a:cxn ang="0">
                <a:pos x="connsiteX57675" y="connsiteY57675"/>
              </a:cxn>
              <a:cxn ang="0">
                <a:pos x="connsiteX57676" y="connsiteY57676"/>
              </a:cxn>
              <a:cxn ang="0">
                <a:pos x="connsiteX57677" y="connsiteY57677"/>
              </a:cxn>
              <a:cxn ang="0">
                <a:pos x="connsiteX57678" y="connsiteY57678"/>
              </a:cxn>
              <a:cxn ang="0">
                <a:pos x="connsiteX57679" y="connsiteY57679"/>
              </a:cxn>
              <a:cxn ang="0">
                <a:pos x="connsiteX57680" y="connsiteY57680"/>
              </a:cxn>
              <a:cxn ang="0">
                <a:pos x="connsiteX57681" y="connsiteY57681"/>
              </a:cxn>
              <a:cxn ang="0">
                <a:pos x="connsiteX57682" y="connsiteY57682"/>
              </a:cxn>
              <a:cxn ang="0">
                <a:pos x="connsiteX57683" y="connsiteY57683"/>
              </a:cxn>
              <a:cxn ang="0">
                <a:pos x="connsiteX57684" y="connsiteY57684"/>
              </a:cxn>
              <a:cxn ang="0">
                <a:pos x="connsiteX57685" y="connsiteY57685"/>
              </a:cxn>
              <a:cxn ang="0">
                <a:pos x="connsiteX57686" y="connsiteY57686"/>
              </a:cxn>
              <a:cxn ang="0">
                <a:pos x="connsiteX57687" y="connsiteY57687"/>
              </a:cxn>
              <a:cxn ang="0">
                <a:pos x="connsiteX57688" y="connsiteY57688"/>
              </a:cxn>
              <a:cxn ang="0">
                <a:pos x="connsiteX57689" y="connsiteY57689"/>
              </a:cxn>
              <a:cxn ang="0">
                <a:pos x="connsiteX57690" y="connsiteY57690"/>
              </a:cxn>
              <a:cxn ang="0">
                <a:pos x="connsiteX57691" y="connsiteY57691"/>
              </a:cxn>
              <a:cxn ang="0">
                <a:pos x="connsiteX57692" y="connsiteY57692"/>
              </a:cxn>
              <a:cxn ang="0">
                <a:pos x="connsiteX57693" y="connsiteY57693"/>
              </a:cxn>
              <a:cxn ang="0">
                <a:pos x="connsiteX57694" y="connsiteY57694"/>
              </a:cxn>
              <a:cxn ang="0">
                <a:pos x="connsiteX57695" y="connsiteY57695"/>
              </a:cxn>
              <a:cxn ang="0">
                <a:pos x="connsiteX57696" y="connsiteY57696"/>
              </a:cxn>
              <a:cxn ang="0">
                <a:pos x="connsiteX57697" y="connsiteY57697"/>
              </a:cxn>
              <a:cxn ang="0">
                <a:pos x="connsiteX57698" y="connsiteY57698"/>
              </a:cxn>
              <a:cxn ang="0">
                <a:pos x="connsiteX57699" y="connsiteY57699"/>
              </a:cxn>
              <a:cxn ang="0">
                <a:pos x="connsiteX57700" y="connsiteY57700"/>
              </a:cxn>
              <a:cxn ang="0">
                <a:pos x="connsiteX57701" y="connsiteY57701"/>
              </a:cxn>
              <a:cxn ang="0">
                <a:pos x="connsiteX57702" y="connsiteY57702"/>
              </a:cxn>
              <a:cxn ang="0">
                <a:pos x="connsiteX57703" y="connsiteY57703"/>
              </a:cxn>
              <a:cxn ang="0">
                <a:pos x="connsiteX57704" y="connsiteY57704"/>
              </a:cxn>
              <a:cxn ang="0">
                <a:pos x="connsiteX57705" y="connsiteY57705"/>
              </a:cxn>
              <a:cxn ang="0">
                <a:pos x="connsiteX57706" y="connsiteY57706"/>
              </a:cxn>
              <a:cxn ang="0">
                <a:pos x="connsiteX57707" y="connsiteY57707"/>
              </a:cxn>
              <a:cxn ang="0">
                <a:pos x="connsiteX57708" y="connsiteY57708"/>
              </a:cxn>
              <a:cxn ang="0">
                <a:pos x="connsiteX57709" y="connsiteY57709"/>
              </a:cxn>
              <a:cxn ang="0">
                <a:pos x="connsiteX57710" y="connsiteY57710"/>
              </a:cxn>
              <a:cxn ang="0">
                <a:pos x="connsiteX57711" y="connsiteY57711"/>
              </a:cxn>
              <a:cxn ang="0">
                <a:pos x="connsiteX57712" y="connsiteY57712"/>
              </a:cxn>
              <a:cxn ang="0">
                <a:pos x="connsiteX57713" y="connsiteY57713"/>
              </a:cxn>
              <a:cxn ang="0">
                <a:pos x="connsiteX57714" y="connsiteY57714"/>
              </a:cxn>
              <a:cxn ang="0">
                <a:pos x="connsiteX57715" y="connsiteY57715"/>
              </a:cxn>
              <a:cxn ang="0">
                <a:pos x="connsiteX57716" y="connsiteY57716"/>
              </a:cxn>
              <a:cxn ang="0">
                <a:pos x="connsiteX57717" y="connsiteY57717"/>
              </a:cxn>
              <a:cxn ang="0">
                <a:pos x="connsiteX57718" y="connsiteY57718"/>
              </a:cxn>
              <a:cxn ang="0">
                <a:pos x="connsiteX57719" y="connsiteY57719"/>
              </a:cxn>
              <a:cxn ang="0">
                <a:pos x="connsiteX57720" y="connsiteY57720"/>
              </a:cxn>
              <a:cxn ang="0">
                <a:pos x="connsiteX57721" y="connsiteY57721"/>
              </a:cxn>
              <a:cxn ang="0">
                <a:pos x="connsiteX57722" y="connsiteY57722"/>
              </a:cxn>
              <a:cxn ang="0">
                <a:pos x="connsiteX57723" y="connsiteY57723"/>
              </a:cxn>
              <a:cxn ang="0">
                <a:pos x="connsiteX57724" y="connsiteY57724"/>
              </a:cxn>
              <a:cxn ang="0">
                <a:pos x="connsiteX57725" y="connsiteY57725"/>
              </a:cxn>
              <a:cxn ang="0">
                <a:pos x="connsiteX57726" y="connsiteY57726"/>
              </a:cxn>
              <a:cxn ang="0">
                <a:pos x="connsiteX57727" y="connsiteY57727"/>
              </a:cxn>
              <a:cxn ang="0">
                <a:pos x="connsiteX57728" y="connsiteY57728"/>
              </a:cxn>
              <a:cxn ang="0">
                <a:pos x="connsiteX57729" y="connsiteY57729"/>
              </a:cxn>
              <a:cxn ang="0">
                <a:pos x="connsiteX57730" y="connsiteY57730"/>
              </a:cxn>
              <a:cxn ang="0">
                <a:pos x="connsiteX57731" y="connsiteY57731"/>
              </a:cxn>
              <a:cxn ang="0">
                <a:pos x="connsiteX57732" y="connsiteY57732"/>
              </a:cxn>
              <a:cxn ang="0">
                <a:pos x="connsiteX57733" y="connsiteY57733"/>
              </a:cxn>
              <a:cxn ang="0">
                <a:pos x="connsiteX57734" y="connsiteY57734"/>
              </a:cxn>
              <a:cxn ang="0">
                <a:pos x="connsiteX57735" y="connsiteY57735"/>
              </a:cxn>
              <a:cxn ang="0">
                <a:pos x="connsiteX57736" y="connsiteY57736"/>
              </a:cxn>
              <a:cxn ang="0">
                <a:pos x="connsiteX57737" y="connsiteY57737"/>
              </a:cxn>
              <a:cxn ang="0">
                <a:pos x="connsiteX57738" y="connsiteY57738"/>
              </a:cxn>
              <a:cxn ang="0">
                <a:pos x="connsiteX57739" y="connsiteY57739"/>
              </a:cxn>
              <a:cxn ang="0">
                <a:pos x="connsiteX57740" y="connsiteY57740"/>
              </a:cxn>
              <a:cxn ang="0">
                <a:pos x="connsiteX57741" y="connsiteY57741"/>
              </a:cxn>
              <a:cxn ang="0">
                <a:pos x="connsiteX57742" y="connsiteY57742"/>
              </a:cxn>
              <a:cxn ang="0">
                <a:pos x="connsiteX57743" y="connsiteY57743"/>
              </a:cxn>
              <a:cxn ang="0">
                <a:pos x="connsiteX57744" y="connsiteY57744"/>
              </a:cxn>
              <a:cxn ang="0">
                <a:pos x="connsiteX57745" y="connsiteY57745"/>
              </a:cxn>
              <a:cxn ang="0">
                <a:pos x="connsiteX57746" y="connsiteY57746"/>
              </a:cxn>
              <a:cxn ang="0">
                <a:pos x="connsiteX57747" y="connsiteY57747"/>
              </a:cxn>
              <a:cxn ang="0">
                <a:pos x="connsiteX57748" y="connsiteY57748"/>
              </a:cxn>
              <a:cxn ang="0">
                <a:pos x="connsiteX57749" y="connsiteY57749"/>
              </a:cxn>
              <a:cxn ang="0">
                <a:pos x="connsiteX57750" y="connsiteY57750"/>
              </a:cxn>
              <a:cxn ang="0">
                <a:pos x="connsiteX57751" y="connsiteY57751"/>
              </a:cxn>
              <a:cxn ang="0">
                <a:pos x="connsiteX57752" y="connsiteY57752"/>
              </a:cxn>
              <a:cxn ang="0">
                <a:pos x="connsiteX57753" y="connsiteY57753"/>
              </a:cxn>
              <a:cxn ang="0">
                <a:pos x="connsiteX57754" y="connsiteY57754"/>
              </a:cxn>
              <a:cxn ang="0">
                <a:pos x="connsiteX57755" y="connsiteY57755"/>
              </a:cxn>
              <a:cxn ang="0">
                <a:pos x="connsiteX57756" y="connsiteY57756"/>
              </a:cxn>
              <a:cxn ang="0">
                <a:pos x="connsiteX57757" y="connsiteY57757"/>
              </a:cxn>
              <a:cxn ang="0">
                <a:pos x="connsiteX57758" y="connsiteY57758"/>
              </a:cxn>
              <a:cxn ang="0">
                <a:pos x="connsiteX57759" y="connsiteY57759"/>
              </a:cxn>
              <a:cxn ang="0">
                <a:pos x="connsiteX57760" y="connsiteY57760"/>
              </a:cxn>
              <a:cxn ang="0">
                <a:pos x="connsiteX57761" y="connsiteY57761"/>
              </a:cxn>
              <a:cxn ang="0">
                <a:pos x="connsiteX57762" y="connsiteY57762"/>
              </a:cxn>
              <a:cxn ang="0">
                <a:pos x="connsiteX57763" y="connsiteY57763"/>
              </a:cxn>
              <a:cxn ang="0">
                <a:pos x="connsiteX57764" y="connsiteY57764"/>
              </a:cxn>
              <a:cxn ang="0">
                <a:pos x="connsiteX57765" y="connsiteY57765"/>
              </a:cxn>
              <a:cxn ang="0">
                <a:pos x="connsiteX57766" y="connsiteY57766"/>
              </a:cxn>
              <a:cxn ang="0">
                <a:pos x="connsiteX57767" y="connsiteY57767"/>
              </a:cxn>
              <a:cxn ang="0">
                <a:pos x="connsiteX57768" y="connsiteY57768"/>
              </a:cxn>
              <a:cxn ang="0">
                <a:pos x="connsiteX57769" y="connsiteY57769"/>
              </a:cxn>
              <a:cxn ang="0">
                <a:pos x="connsiteX57770" y="connsiteY57770"/>
              </a:cxn>
              <a:cxn ang="0">
                <a:pos x="connsiteX57771" y="connsiteY57771"/>
              </a:cxn>
              <a:cxn ang="0">
                <a:pos x="connsiteX57772" y="connsiteY57772"/>
              </a:cxn>
              <a:cxn ang="0">
                <a:pos x="connsiteX57773" y="connsiteY57773"/>
              </a:cxn>
              <a:cxn ang="0">
                <a:pos x="connsiteX57774" y="connsiteY57774"/>
              </a:cxn>
              <a:cxn ang="0">
                <a:pos x="connsiteX57775" y="connsiteY57775"/>
              </a:cxn>
              <a:cxn ang="0">
                <a:pos x="connsiteX57776" y="connsiteY57776"/>
              </a:cxn>
              <a:cxn ang="0">
                <a:pos x="connsiteX57777" y="connsiteY57777"/>
              </a:cxn>
              <a:cxn ang="0">
                <a:pos x="connsiteX57778" y="connsiteY57778"/>
              </a:cxn>
              <a:cxn ang="0">
                <a:pos x="connsiteX57779" y="connsiteY57779"/>
              </a:cxn>
              <a:cxn ang="0">
                <a:pos x="connsiteX57780" y="connsiteY57780"/>
              </a:cxn>
              <a:cxn ang="0">
                <a:pos x="connsiteX57781" y="connsiteY57781"/>
              </a:cxn>
              <a:cxn ang="0">
                <a:pos x="connsiteX57782" y="connsiteY57782"/>
              </a:cxn>
              <a:cxn ang="0">
                <a:pos x="connsiteX57783" y="connsiteY57783"/>
              </a:cxn>
              <a:cxn ang="0">
                <a:pos x="connsiteX57784" y="connsiteY57784"/>
              </a:cxn>
              <a:cxn ang="0">
                <a:pos x="connsiteX57785" y="connsiteY57785"/>
              </a:cxn>
              <a:cxn ang="0">
                <a:pos x="connsiteX57786" y="connsiteY57786"/>
              </a:cxn>
              <a:cxn ang="0">
                <a:pos x="connsiteX57787" y="connsiteY57787"/>
              </a:cxn>
              <a:cxn ang="0">
                <a:pos x="connsiteX57788" y="connsiteY57788"/>
              </a:cxn>
              <a:cxn ang="0">
                <a:pos x="connsiteX57789" y="connsiteY57789"/>
              </a:cxn>
              <a:cxn ang="0">
                <a:pos x="connsiteX57790" y="connsiteY57790"/>
              </a:cxn>
              <a:cxn ang="0">
                <a:pos x="connsiteX57791" y="connsiteY57791"/>
              </a:cxn>
              <a:cxn ang="0">
                <a:pos x="connsiteX57792" y="connsiteY57792"/>
              </a:cxn>
              <a:cxn ang="0">
                <a:pos x="connsiteX57793" y="connsiteY57793"/>
              </a:cxn>
              <a:cxn ang="0">
                <a:pos x="connsiteX57794" y="connsiteY57794"/>
              </a:cxn>
              <a:cxn ang="0">
                <a:pos x="connsiteX57795" y="connsiteY57795"/>
              </a:cxn>
              <a:cxn ang="0">
                <a:pos x="connsiteX57796" y="connsiteY57796"/>
              </a:cxn>
              <a:cxn ang="0">
                <a:pos x="connsiteX57797" y="connsiteY57797"/>
              </a:cxn>
              <a:cxn ang="0">
                <a:pos x="connsiteX57798" y="connsiteY57798"/>
              </a:cxn>
              <a:cxn ang="0">
                <a:pos x="connsiteX57799" y="connsiteY57799"/>
              </a:cxn>
              <a:cxn ang="0">
                <a:pos x="connsiteX57800" y="connsiteY57800"/>
              </a:cxn>
              <a:cxn ang="0">
                <a:pos x="connsiteX57801" y="connsiteY57801"/>
              </a:cxn>
              <a:cxn ang="0">
                <a:pos x="connsiteX57802" y="connsiteY57802"/>
              </a:cxn>
              <a:cxn ang="0">
                <a:pos x="connsiteX57803" y="connsiteY57803"/>
              </a:cxn>
              <a:cxn ang="0">
                <a:pos x="connsiteX57804" y="connsiteY57804"/>
              </a:cxn>
              <a:cxn ang="0">
                <a:pos x="connsiteX57805" y="connsiteY57805"/>
              </a:cxn>
              <a:cxn ang="0">
                <a:pos x="connsiteX57806" y="connsiteY57806"/>
              </a:cxn>
              <a:cxn ang="0">
                <a:pos x="connsiteX57807" y="connsiteY57807"/>
              </a:cxn>
              <a:cxn ang="0">
                <a:pos x="connsiteX57808" y="connsiteY57808"/>
              </a:cxn>
              <a:cxn ang="0">
                <a:pos x="connsiteX57809" y="connsiteY57809"/>
              </a:cxn>
              <a:cxn ang="0">
                <a:pos x="connsiteX57810" y="connsiteY57810"/>
              </a:cxn>
              <a:cxn ang="0">
                <a:pos x="connsiteX57811" y="connsiteY57811"/>
              </a:cxn>
              <a:cxn ang="0">
                <a:pos x="connsiteX57812" y="connsiteY57812"/>
              </a:cxn>
              <a:cxn ang="0">
                <a:pos x="connsiteX57813" y="connsiteY57813"/>
              </a:cxn>
              <a:cxn ang="0">
                <a:pos x="connsiteX57814" y="connsiteY57814"/>
              </a:cxn>
              <a:cxn ang="0">
                <a:pos x="connsiteX57815" y="connsiteY57815"/>
              </a:cxn>
              <a:cxn ang="0">
                <a:pos x="connsiteX57816" y="connsiteY57816"/>
              </a:cxn>
              <a:cxn ang="0">
                <a:pos x="connsiteX57817" y="connsiteY57817"/>
              </a:cxn>
              <a:cxn ang="0">
                <a:pos x="connsiteX57818" y="connsiteY57818"/>
              </a:cxn>
              <a:cxn ang="0">
                <a:pos x="connsiteX57819" y="connsiteY57819"/>
              </a:cxn>
              <a:cxn ang="0">
                <a:pos x="connsiteX57820" y="connsiteY57820"/>
              </a:cxn>
              <a:cxn ang="0">
                <a:pos x="connsiteX57821" y="connsiteY57821"/>
              </a:cxn>
              <a:cxn ang="0">
                <a:pos x="connsiteX57822" y="connsiteY57822"/>
              </a:cxn>
              <a:cxn ang="0">
                <a:pos x="connsiteX57823" y="connsiteY57823"/>
              </a:cxn>
              <a:cxn ang="0">
                <a:pos x="connsiteX57824" y="connsiteY57824"/>
              </a:cxn>
              <a:cxn ang="0">
                <a:pos x="connsiteX57825" y="connsiteY57825"/>
              </a:cxn>
              <a:cxn ang="0">
                <a:pos x="connsiteX57826" y="connsiteY57826"/>
              </a:cxn>
              <a:cxn ang="0">
                <a:pos x="connsiteX57827" y="connsiteY57827"/>
              </a:cxn>
              <a:cxn ang="0">
                <a:pos x="connsiteX57828" y="connsiteY57828"/>
              </a:cxn>
              <a:cxn ang="0">
                <a:pos x="connsiteX57829" y="connsiteY57829"/>
              </a:cxn>
              <a:cxn ang="0">
                <a:pos x="connsiteX57830" y="connsiteY57830"/>
              </a:cxn>
              <a:cxn ang="0">
                <a:pos x="connsiteX57831" y="connsiteY57831"/>
              </a:cxn>
              <a:cxn ang="0">
                <a:pos x="connsiteX57832" y="connsiteY57832"/>
              </a:cxn>
              <a:cxn ang="0">
                <a:pos x="connsiteX57833" y="connsiteY57833"/>
              </a:cxn>
              <a:cxn ang="0">
                <a:pos x="connsiteX57834" y="connsiteY57834"/>
              </a:cxn>
              <a:cxn ang="0">
                <a:pos x="connsiteX57835" y="connsiteY57835"/>
              </a:cxn>
              <a:cxn ang="0">
                <a:pos x="connsiteX57836" y="connsiteY57836"/>
              </a:cxn>
              <a:cxn ang="0">
                <a:pos x="connsiteX57837" y="connsiteY57837"/>
              </a:cxn>
              <a:cxn ang="0">
                <a:pos x="connsiteX57838" y="connsiteY57838"/>
              </a:cxn>
              <a:cxn ang="0">
                <a:pos x="connsiteX57839" y="connsiteY57839"/>
              </a:cxn>
              <a:cxn ang="0">
                <a:pos x="connsiteX57840" y="connsiteY57840"/>
              </a:cxn>
              <a:cxn ang="0">
                <a:pos x="connsiteX57841" y="connsiteY57841"/>
              </a:cxn>
              <a:cxn ang="0">
                <a:pos x="connsiteX57842" y="connsiteY57842"/>
              </a:cxn>
              <a:cxn ang="0">
                <a:pos x="connsiteX57843" y="connsiteY57843"/>
              </a:cxn>
              <a:cxn ang="0">
                <a:pos x="connsiteX57844" y="connsiteY57844"/>
              </a:cxn>
              <a:cxn ang="0">
                <a:pos x="connsiteX57845" y="connsiteY57845"/>
              </a:cxn>
              <a:cxn ang="0">
                <a:pos x="connsiteX57846" y="connsiteY57846"/>
              </a:cxn>
              <a:cxn ang="0">
                <a:pos x="connsiteX57847" y="connsiteY57847"/>
              </a:cxn>
              <a:cxn ang="0">
                <a:pos x="connsiteX57848" y="connsiteY57848"/>
              </a:cxn>
              <a:cxn ang="0">
                <a:pos x="connsiteX57849" y="connsiteY57849"/>
              </a:cxn>
              <a:cxn ang="0">
                <a:pos x="connsiteX57850" y="connsiteY57850"/>
              </a:cxn>
              <a:cxn ang="0">
                <a:pos x="connsiteX57851" y="connsiteY57851"/>
              </a:cxn>
              <a:cxn ang="0">
                <a:pos x="connsiteX57852" y="connsiteY57852"/>
              </a:cxn>
              <a:cxn ang="0">
                <a:pos x="connsiteX57853" y="connsiteY57853"/>
              </a:cxn>
              <a:cxn ang="0">
                <a:pos x="connsiteX57854" y="connsiteY57854"/>
              </a:cxn>
              <a:cxn ang="0">
                <a:pos x="connsiteX57855" y="connsiteY57855"/>
              </a:cxn>
              <a:cxn ang="0">
                <a:pos x="connsiteX57856" y="connsiteY57856"/>
              </a:cxn>
              <a:cxn ang="0">
                <a:pos x="connsiteX57857" y="connsiteY57857"/>
              </a:cxn>
              <a:cxn ang="0">
                <a:pos x="connsiteX57858" y="connsiteY57858"/>
              </a:cxn>
              <a:cxn ang="0">
                <a:pos x="connsiteX57859" y="connsiteY57859"/>
              </a:cxn>
              <a:cxn ang="0">
                <a:pos x="connsiteX57860" y="connsiteY57860"/>
              </a:cxn>
              <a:cxn ang="0">
                <a:pos x="connsiteX57861" y="connsiteY57861"/>
              </a:cxn>
              <a:cxn ang="0">
                <a:pos x="connsiteX57862" y="connsiteY57862"/>
              </a:cxn>
              <a:cxn ang="0">
                <a:pos x="connsiteX57863" y="connsiteY57863"/>
              </a:cxn>
              <a:cxn ang="0">
                <a:pos x="connsiteX57864" y="connsiteY57864"/>
              </a:cxn>
              <a:cxn ang="0">
                <a:pos x="connsiteX57865" y="connsiteY57865"/>
              </a:cxn>
              <a:cxn ang="0">
                <a:pos x="connsiteX57866" y="connsiteY57866"/>
              </a:cxn>
              <a:cxn ang="0">
                <a:pos x="connsiteX57867" y="connsiteY57867"/>
              </a:cxn>
              <a:cxn ang="0">
                <a:pos x="connsiteX57868" y="connsiteY57868"/>
              </a:cxn>
              <a:cxn ang="0">
                <a:pos x="connsiteX57869" y="connsiteY57869"/>
              </a:cxn>
              <a:cxn ang="0">
                <a:pos x="connsiteX57870" y="connsiteY57870"/>
              </a:cxn>
              <a:cxn ang="0">
                <a:pos x="connsiteX57871" y="connsiteY57871"/>
              </a:cxn>
              <a:cxn ang="0">
                <a:pos x="connsiteX57872" y="connsiteY57872"/>
              </a:cxn>
              <a:cxn ang="0">
                <a:pos x="connsiteX57873" y="connsiteY57873"/>
              </a:cxn>
              <a:cxn ang="0">
                <a:pos x="connsiteX57874" y="connsiteY57874"/>
              </a:cxn>
              <a:cxn ang="0">
                <a:pos x="connsiteX57875" y="connsiteY57875"/>
              </a:cxn>
              <a:cxn ang="0">
                <a:pos x="connsiteX57876" y="connsiteY57876"/>
              </a:cxn>
              <a:cxn ang="0">
                <a:pos x="connsiteX57877" y="connsiteY57877"/>
              </a:cxn>
              <a:cxn ang="0">
                <a:pos x="connsiteX57878" y="connsiteY57878"/>
              </a:cxn>
              <a:cxn ang="0">
                <a:pos x="connsiteX57879" y="connsiteY57879"/>
              </a:cxn>
              <a:cxn ang="0">
                <a:pos x="connsiteX57880" y="connsiteY57880"/>
              </a:cxn>
              <a:cxn ang="0">
                <a:pos x="connsiteX57881" y="connsiteY57881"/>
              </a:cxn>
              <a:cxn ang="0">
                <a:pos x="connsiteX57882" y="connsiteY57882"/>
              </a:cxn>
              <a:cxn ang="0">
                <a:pos x="connsiteX57883" y="connsiteY57883"/>
              </a:cxn>
              <a:cxn ang="0">
                <a:pos x="connsiteX57884" y="connsiteY57884"/>
              </a:cxn>
              <a:cxn ang="0">
                <a:pos x="connsiteX57885" y="connsiteY57885"/>
              </a:cxn>
              <a:cxn ang="0">
                <a:pos x="connsiteX57886" y="connsiteY57886"/>
              </a:cxn>
              <a:cxn ang="0">
                <a:pos x="connsiteX57887" y="connsiteY57887"/>
              </a:cxn>
              <a:cxn ang="0">
                <a:pos x="connsiteX57888" y="connsiteY57888"/>
              </a:cxn>
              <a:cxn ang="0">
                <a:pos x="connsiteX57889" y="connsiteY57889"/>
              </a:cxn>
              <a:cxn ang="0">
                <a:pos x="connsiteX57890" y="connsiteY57890"/>
              </a:cxn>
              <a:cxn ang="0">
                <a:pos x="connsiteX57891" y="connsiteY57891"/>
              </a:cxn>
              <a:cxn ang="0">
                <a:pos x="connsiteX57892" y="connsiteY57892"/>
              </a:cxn>
              <a:cxn ang="0">
                <a:pos x="connsiteX57893" y="connsiteY57893"/>
              </a:cxn>
              <a:cxn ang="0">
                <a:pos x="connsiteX57894" y="connsiteY57894"/>
              </a:cxn>
              <a:cxn ang="0">
                <a:pos x="connsiteX57895" y="connsiteY57895"/>
              </a:cxn>
              <a:cxn ang="0">
                <a:pos x="connsiteX57896" y="connsiteY57896"/>
              </a:cxn>
              <a:cxn ang="0">
                <a:pos x="connsiteX57897" y="connsiteY57897"/>
              </a:cxn>
              <a:cxn ang="0">
                <a:pos x="connsiteX57898" y="connsiteY57898"/>
              </a:cxn>
              <a:cxn ang="0">
                <a:pos x="connsiteX57899" y="connsiteY57899"/>
              </a:cxn>
              <a:cxn ang="0">
                <a:pos x="connsiteX57900" y="connsiteY57900"/>
              </a:cxn>
              <a:cxn ang="0">
                <a:pos x="connsiteX57901" y="connsiteY57901"/>
              </a:cxn>
              <a:cxn ang="0">
                <a:pos x="connsiteX57902" y="connsiteY57902"/>
              </a:cxn>
              <a:cxn ang="0">
                <a:pos x="connsiteX57903" y="connsiteY57903"/>
              </a:cxn>
              <a:cxn ang="0">
                <a:pos x="connsiteX57904" y="connsiteY57904"/>
              </a:cxn>
              <a:cxn ang="0">
                <a:pos x="connsiteX57905" y="connsiteY57905"/>
              </a:cxn>
              <a:cxn ang="0">
                <a:pos x="connsiteX57906" y="connsiteY57906"/>
              </a:cxn>
              <a:cxn ang="0">
                <a:pos x="connsiteX57907" y="connsiteY57907"/>
              </a:cxn>
              <a:cxn ang="0">
                <a:pos x="connsiteX57908" y="connsiteY57908"/>
              </a:cxn>
              <a:cxn ang="0">
                <a:pos x="connsiteX57909" y="connsiteY57909"/>
              </a:cxn>
              <a:cxn ang="0">
                <a:pos x="connsiteX57910" y="connsiteY57910"/>
              </a:cxn>
              <a:cxn ang="0">
                <a:pos x="connsiteX57911" y="connsiteY57911"/>
              </a:cxn>
              <a:cxn ang="0">
                <a:pos x="connsiteX57912" y="connsiteY57912"/>
              </a:cxn>
              <a:cxn ang="0">
                <a:pos x="connsiteX57913" y="connsiteY57913"/>
              </a:cxn>
              <a:cxn ang="0">
                <a:pos x="connsiteX57914" y="connsiteY57914"/>
              </a:cxn>
              <a:cxn ang="0">
                <a:pos x="connsiteX57915" y="connsiteY57915"/>
              </a:cxn>
              <a:cxn ang="0">
                <a:pos x="connsiteX57916" y="connsiteY57916"/>
              </a:cxn>
              <a:cxn ang="0">
                <a:pos x="connsiteX57917" y="connsiteY57917"/>
              </a:cxn>
              <a:cxn ang="0">
                <a:pos x="connsiteX57918" y="connsiteY57918"/>
              </a:cxn>
              <a:cxn ang="0">
                <a:pos x="connsiteX57919" y="connsiteY57919"/>
              </a:cxn>
              <a:cxn ang="0">
                <a:pos x="connsiteX57920" y="connsiteY57920"/>
              </a:cxn>
              <a:cxn ang="0">
                <a:pos x="connsiteX57921" y="connsiteY57921"/>
              </a:cxn>
              <a:cxn ang="0">
                <a:pos x="connsiteX57922" y="connsiteY57922"/>
              </a:cxn>
              <a:cxn ang="0">
                <a:pos x="connsiteX57923" y="connsiteY57923"/>
              </a:cxn>
              <a:cxn ang="0">
                <a:pos x="connsiteX57924" y="connsiteY57924"/>
              </a:cxn>
              <a:cxn ang="0">
                <a:pos x="connsiteX57925" y="connsiteY57925"/>
              </a:cxn>
              <a:cxn ang="0">
                <a:pos x="connsiteX57926" y="connsiteY57926"/>
              </a:cxn>
              <a:cxn ang="0">
                <a:pos x="connsiteX57927" y="connsiteY57927"/>
              </a:cxn>
              <a:cxn ang="0">
                <a:pos x="connsiteX57928" y="connsiteY57928"/>
              </a:cxn>
              <a:cxn ang="0">
                <a:pos x="connsiteX57929" y="connsiteY57929"/>
              </a:cxn>
              <a:cxn ang="0">
                <a:pos x="connsiteX57930" y="connsiteY57930"/>
              </a:cxn>
              <a:cxn ang="0">
                <a:pos x="connsiteX57931" y="connsiteY57931"/>
              </a:cxn>
              <a:cxn ang="0">
                <a:pos x="connsiteX57932" y="connsiteY57932"/>
              </a:cxn>
              <a:cxn ang="0">
                <a:pos x="connsiteX57933" y="connsiteY57933"/>
              </a:cxn>
              <a:cxn ang="0">
                <a:pos x="connsiteX57934" y="connsiteY57934"/>
              </a:cxn>
              <a:cxn ang="0">
                <a:pos x="connsiteX57935" y="connsiteY57935"/>
              </a:cxn>
              <a:cxn ang="0">
                <a:pos x="connsiteX57936" y="connsiteY57936"/>
              </a:cxn>
              <a:cxn ang="0">
                <a:pos x="connsiteX57937" y="connsiteY57937"/>
              </a:cxn>
              <a:cxn ang="0">
                <a:pos x="connsiteX57938" y="connsiteY57938"/>
              </a:cxn>
              <a:cxn ang="0">
                <a:pos x="connsiteX57939" y="connsiteY57939"/>
              </a:cxn>
              <a:cxn ang="0">
                <a:pos x="connsiteX57940" y="connsiteY57940"/>
              </a:cxn>
              <a:cxn ang="0">
                <a:pos x="connsiteX57941" y="connsiteY57941"/>
              </a:cxn>
              <a:cxn ang="0">
                <a:pos x="connsiteX57942" y="connsiteY57942"/>
              </a:cxn>
              <a:cxn ang="0">
                <a:pos x="connsiteX57943" y="connsiteY57943"/>
              </a:cxn>
              <a:cxn ang="0">
                <a:pos x="connsiteX57944" y="connsiteY57944"/>
              </a:cxn>
              <a:cxn ang="0">
                <a:pos x="connsiteX57945" y="connsiteY57945"/>
              </a:cxn>
              <a:cxn ang="0">
                <a:pos x="connsiteX57946" y="connsiteY57946"/>
              </a:cxn>
              <a:cxn ang="0">
                <a:pos x="connsiteX57947" y="connsiteY57947"/>
              </a:cxn>
              <a:cxn ang="0">
                <a:pos x="connsiteX57948" y="connsiteY57948"/>
              </a:cxn>
              <a:cxn ang="0">
                <a:pos x="connsiteX57949" y="connsiteY57949"/>
              </a:cxn>
              <a:cxn ang="0">
                <a:pos x="connsiteX57950" y="connsiteY57950"/>
              </a:cxn>
              <a:cxn ang="0">
                <a:pos x="connsiteX57951" y="connsiteY57951"/>
              </a:cxn>
              <a:cxn ang="0">
                <a:pos x="connsiteX57952" y="connsiteY57952"/>
              </a:cxn>
              <a:cxn ang="0">
                <a:pos x="connsiteX57953" y="connsiteY57953"/>
              </a:cxn>
              <a:cxn ang="0">
                <a:pos x="connsiteX57954" y="connsiteY57954"/>
              </a:cxn>
              <a:cxn ang="0">
                <a:pos x="connsiteX57955" y="connsiteY57955"/>
              </a:cxn>
              <a:cxn ang="0">
                <a:pos x="connsiteX57956" y="connsiteY57956"/>
              </a:cxn>
              <a:cxn ang="0">
                <a:pos x="connsiteX57957" y="connsiteY57957"/>
              </a:cxn>
              <a:cxn ang="0">
                <a:pos x="connsiteX57958" y="connsiteY57958"/>
              </a:cxn>
              <a:cxn ang="0">
                <a:pos x="connsiteX57959" y="connsiteY57959"/>
              </a:cxn>
              <a:cxn ang="0">
                <a:pos x="connsiteX57960" y="connsiteY57960"/>
              </a:cxn>
              <a:cxn ang="0">
                <a:pos x="connsiteX57961" y="connsiteY57961"/>
              </a:cxn>
              <a:cxn ang="0">
                <a:pos x="connsiteX57962" y="connsiteY57962"/>
              </a:cxn>
              <a:cxn ang="0">
                <a:pos x="connsiteX57963" y="connsiteY57963"/>
              </a:cxn>
              <a:cxn ang="0">
                <a:pos x="connsiteX57964" y="connsiteY57964"/>
              </a:cxn>
              <a:cxn ang="0">
                <a:pos x="connsiteX57965" y="connsiteY57965"/>
              </a:cxn>
              <a:cxn ang="0">
                <a:pos x="connsiteX57966" y="connsiteY57966"/>
              </a:cxn>
              <a:cxn ang="0">
                <a:pos x="connsiteX57967" y="connsiteY57967"/>
              </a:cxn>
              <a:cxn ang="0">
                <a:pos x="connsiteX57968" y="connsiteY57968"/>
              </a:cxn>
              <a:cxn ang="0">
                <a:pos x="connsiteX57969" y="connsiteY57969"/>
              </a:cxn>
              <a:cxn ang="0">
                <a:pos x="connsiteX57970" y="connsiteY57970"/>
              </a:cxn>
              <a:cxn ang="0">
                <a:pos x="connsiteX57971" y="connsiteY57971"/>
              </a:cxn>
              <a:cxn ang="0">
                <a:pos x="connsiteX57972" y="connsiteY57972"/>
              </a:cxn>
              <a:cxn ang="0">
                <a:pos x="connsiteX57973" y="connsiteY57973"/>
              </a:cxn>
              <a:cxn ang="0">
                <a:pos x="connsiteX57974" y="connsiteY57974"/>
              </a:cxn>
              <a:cxn ang="0">
                <a:pos x="connsiteX57975" y="connsiteY57975"/>
              </a:cxn>
              <a:cxn ang="0">
                <a:pos x="connsiteX57976" y="connsiteY57976"/>
              </a:cxn>
              <a:cxn ang="0">
                <a:pos x="connsiteX57977" y="connsiteY57977"/>
              </a:cxn>
              <a:cxn ang="0">
                <a:pos x="connsiteX57978" y="connsiteY57978"/>
              </a:cxn>
              <a:cxn ang="0">
                <a:pos x="connsiteX57979" y="connsiteY57979"/>
              </a:cxn>
              <a:cxn ang="0">
                <a:pos x="connsiteX57980" y="connsiteY57980"/>
              </a:cxn>
              <a:cxn ang="0">
                <a:pos x="connsiteX57981" y="connsiteY57981"/>
              </a:cxn>
              <a:cxn ang="0">
                <a:pos x="connsiteX57982" y="connsiteY57982"/>
              </a:cxn>
              <a:cxn ang="0">
                <a:pos x="connsiteX57983" y="connsiteY57983"/>
              </a:cxn>
              <a:cxn ang="0">
                <a:pos x="connsiteX57984" y="connsiteY57984"/>
              </a:cxn>
              <a:cxn ang="0">
                <a:pos x="connsiteX57985" y="connsiteY57985"/>
              </a:cxn>
              <a:cxn ang="0">
                <a:pos x="connsiteX57986" y="connsiteY57986"/>
              </a:cxn>
              <a:cxn ang="0">
                <a:pos x="connsiteX57987" y="connsiteY57987"/>
              </a:cxn>
              <a:cxn ang="0">
                <a:pos x="connsiteX57988" y="connsiteY57988"/>
              </a:cxn>
              <a:cxn ang="0">
                <a:pos x="connsiteX57989" y="connsiteY57989"/>
              </a:cxn>
              <a:cxn ang="0">
                <a:pos x="connsiteX57990" y="connsiteY57990"/>
              </a:cxn>
              <a:cxn ang="0">
                <a:pos x="connsiteX57991" y="connsiteY57991"/>
              </a:cxn>
              <a:cxn ang="0">
                <a:pos x="connsiteX57992" y="connsiteY57992"/>
              </a:cxn>
              <a:cxn ang="0">
                <a:pos x="connsiteX57993" y="connsiteY57993"/>
              </a:cxn>
              <a:cxn ang="0">
                <a:pos x="connsiteX57994" y="connsiteY57994"/>
              </a:cxn>
              <a:cxn ang="0">
                <a:pos x="connsiteX57995" y="connsiteY57995"/>
              </a:cxn>
              <a:cxn ang="0">
                <a:pos x="connsiteX57996" y="connsiteY57996"/>
              </a:cxn>
              <a:cxn ang="0">
                <a:pos x="connsiteX57997" y="connsiteY57997"/>
              </a:cxn>
              <a:cxn ang="0">
                <a:pos x="connsiteX57998" y="connsiteY57998"/>
              </a:cxn>
              <a:cxn ang="0">
                <a:pos x="connsiteX57999" y="connsiteY57999"/>
              </a:cxn>
              <a:cxn ang="0">
                <a:pos x="connsiteX58000" y="connsiteY58000"/>
              </a:cxn>
              <a:cxn ang="0">
                <a:pos x="connsiteX58001" y="connsiteY58001"/>
              </a:cxn>
              <a:cxn ang="0">
                <a:pos x="connsiteX58002" y="connsiteY58002"/>
              </a:cxn>
              <a:cxn ang="0">
                <a:pos x="connsiteX58003" y="connsiteY58003"/>
              </a:cxn>
              <a:cxn ang="0">
                <a:pos x="connsiteX58004" y="connsiteY58004"/>
              </a:cxn>
              <a:cxn ang="0">
                <a:pos x="connsiteX58005" y="connsiteY58005"/>
              </a:cxn>
              <a:cxn ang="0">
                <a:pos x="connsiteX58006" y="connsiteY58006"/>
              </a:cxn>
              <a:cxn ang="0">
                <a:pos x="connsiteX58007" y="connsiteY58007"/>
              </a:cxn>
              <a:cxn ang="0">
                <a:pos x="connsiteX58008" y="connsiteY58008"/>
              </a:cxn>
              <a:cxn ang="0">
                <a:pos x="connsiteX58009" y="connsiteY58009"/>
              </a:cxn>
              <a:cxn ang="0">
                <a:pos x="connsiteX58010" y="connsiteY58010"/>
              </a:cxn>
              <a:cxn ang="0">
                <a:pos x="connsiteX58011" y="connsiteY58011"/>
              </a:cxn>
              <a:cxn ang="0">
                <a:pos x="connsiteX58012" y="connsiteY58012"/>
              </a:cxn>
              <a:cxn ang="0">
                <a:pos x="connsiteX58013" y="connsiteY58013"/>
              </a:cxn>
              <a:cxn ang="0">
                <a:pos x="connsiteX58014" y="connsiteY58014"/>
              </a:cxn>
              <a:cxn ang="0">
                <a:pos x="connsiteX58015" y="connsiteY58015"/>
              </a:cxn>
              <a:cxn ang="0">
                <a:pos x="connsiteX58016" y="connsiteY58016"/>
              </a:cxn>
              <a:cxn ang="0">
                <a:pos x="connsiteX58017" y="connsiteY58017"/>
              </a:cxn>
              <a:cxn ang="0">
                <a:pos x="connsiteX58018" y="connsiteY58018"/>
              </a:cxn>
              <a:cxn ang="0">
                <a:pos x="connsiteX58019" y="connsiteY58019"/>
              </a:cxn>
              <a:cxn ang="0">
                <a:pos x="connsiteX58020" y="connsiteY58020"/>
              </a:cxn>
              <a:cxn ang="0">
                <a:pos x="connsiteX58021" y="connsiteY58021"/>
              </a:cxn>
              <a:cxn ang="0">
                <a:pos x="connsiteX58022" y="connsiteY58022"/>
              </a:cxn>
              <a:cxn ang="0">
                <a:pos x="connsiteX58023" y="connsiteY58023"/>
              </a:cxn>
              <a:cxn ang="0">
                <a:pos x="connsiteX58024" y="connsiteY58024"/>
              </a:cxn>
              <a:cxn ang="0">
                <a:pos x="connsiteX58025" y="connsiteY58025"/>
              </a:cxn>
              <a:cxn ang="0">
                <a:pos x="connsiteX58026" y="connsiteY58026"/>
              </a:cxn>
              <a:cxn ang="0">
                <a:pos x="connsiteX58027" y="connsiteY58027"/>
              </a:cxn>
              <a:cxn ang="0">
                <a:pos x="connsiteX58028" y="connsiteY58028"/>
              </a:cxn>
              <a:cxn ang="0">
                <a:pos x="connsiteX58029" y="connsiteY58029"/>
              </a:cxn>
              <a:cxn ang="0">
                <a:pos x="connsiteX58030" y="connsiteY58030"/>
              </a:cxn>
              <a:cxn ang="0">
                <a:pos x="connsiteX58031" y="connsiteY58031"/>
              </a:cxn>
              <a:cxn ang="0">
                <a:pos x="connsiteX58032" y="connsiteY58032"/>
              </a:cxn>
              <a:cxn ang="0">
                <a:pos x="connsiteX58033" y="connsiteY58033"/>
              </a:cxn>
              <a:cxn ang="0">
                <a:pos x="connsiteX58034" y="connsiteY58034"/>
              </a:cxn>
              <a:cxn ang="0">
                <a:pos x="connsiteX58035" y="connsiteY58035"/>
              </a:cxn>
              <a:cxn ang="0">
                <a:pos x="connsiteX58036" y="connsiteY58036"/>
              </a:cxn>
              <a:cxn ang="0">
                <a:pos x="connsiteX58037" y="connsiteY58037"/>
              </a:cxn>
              <a:cxn ang="0">
                <a:pos x="connsiteX58038" y="connsiteY58038"/>
              </a:cxn>
              <a:cxn ang="0">
                <a:pos x="connsiteX58039" y="connsiteY58039"/>
              </a:cxn>
              <a:cxn ang="0">
                <a:pos x="connsiteX58040" y="connsiteY58040"/>
              </a:cxn>
              <a:cxn ang="0">
                <a:pos x="connsiteX58041" y="connsiteY58041"/>
              </a:cxn>
              <a:cxn ang="0">
                <a:pos x="connsiteX58042" y="connsiteY58042"/>
              </a:cxn>
              <a:cxn ang="0">
                <a:pos x="connsiteX58043" y="connsiteY58043"/>
              </a:cxn>
              <a:cxn ang="0">
                <a:pos x="connsiteX58044" y="connsiteY58044"/>
              </a:cxn>
              <a:cxn ang="0">
                <a:pos x="connsiteX58045" y="connsiteY58045"/>
              </a:cxn>
              <a:cxn ang="0">
                <a:pos x="connsiteX58046" y="connsiteY58046"/>
              </a:cxn>
              <a:cxn ang="0">
                <a:pos x="connsiteX58047" y="connsiteY58047"/>
              </a:cxn>
              <a:cxn ang="0">
                <a:pos x="connsiteX58048" y="connsiteY58048"/>
              </a:cxn>
              <a:cxn ang="0">
                <a:pos x="connsiteX58049" y="connsiteY58049"/>
              </a:cxn>
              <a:cxn ang="0">
                <a:pos x="connsiteX58050" y="connsiteY58050"/>
              </a:cxn>
              <a:cxn ang="0">
                <a:pos x="connsiteX58051" y="connsiteY58051"/>
              </a:cxn>
              <a:cxn ang="0">
                <a:pos x="connsiteX58052" y="connsiteY58052"/>
              </a:cxn>
              <a:cxn ang="0">
                <a:pos x="connsiteX58053" y="connsiteY58053"/>
              </a:cxn>
              <a:cxn ang="0">
                <a:pos x="connsiteX58054" y="connsiteY58054"/>
              </a:cxn>
              <a:cxn ang="0">
                <a:pos x="connsiteX58055" y="connsiteY58055"/>
              </a:cxn>
              <a:cxn ang="0">
                <a:pos x="connsiteX58056" y="connsiteY58056"/>
              </a:cxn>
              <a:cxn ang="0">
                <a:pos x="connsiteX58057" y="connsiteY58057"/>
              </a:cxn>
              <a:cxn ang="0">
                <a:pos x="connsiteX58058" y="connsiteY58058"/>
              </a:cxn>
              <a:cxn ang="0">
                <a:pos x="connsiteX58059" y="connsiteY58059"/>
              </a:cxn>
              <a:cxn ang="0">
                <a:pos x="connsiteX58060" y="connsiteY58060"/>
              </a:cxn>
              <a:cxn ang="0">
                <a:pos x="connsiteX58061" y="connsiteY58061"/>
              </a:cxn>
              <a:cxn ang="0">
                <a:pos x="connsiteX58062" y="connsiteY58062"/>
              </a:cxn>
              <a:cxn ang="0">
                <a:pos x="connsiteX58063" y="connsiteY58063"/>
              </a:cxn>
              <a:cxn ang="0">
                <a:pos x="connsiteX58064" y="connsiteY58064"/>
              </a:cxn>
              <a:cxn ang="0">
                <a:pos x="connsiteX58065" y="connsiteY58065"/>
              </a:cxn>
              <a:cxn ang="0">
                <a:pos x="connsiteX58066" y="connsiteY58066"/>
              </a:cxn>
              <a:cxn ang="0">
                <a:pos x="connsiteX58067" y="connsiteY58067"/>
              </a:cxn>
              <a:cxn ang="0">
                <a:pos x="connsiteX58068" y="connsiteY58068"/>
              </a:cxn>
              <a:cxn ang="0">
                <a:pos x="connsiteX58069" y="connsiteY58069"/>
              </a:cxn>
              <a:cxn ang="0">
                <a:pos x="connsiteX58070" y="connsiteY58070"/>
              </a:cxn>
              <a:cxn ang="0">
                <a:pos x="connsiteX58071" y="connsiteY58071"/>
              </a:cxn>
              <a:cxn ang="0">
                <a:pos x="connsiteX58072" y="connsiteY58072"/>
              </a:cxn>
              <a:cxn ang="0">
                <a:pos x="connsiteX58073" y="connsiteY58073"/>
              </a:cxn>
              <a:cxn ang="0">
                <a:pos x="connsiteX58074" y="connsiteY58074"/>
              </a:cxn>
              <a:cxn ang="0">
                <a:pos x="connsiteX58075" y="connsiteY58075"/>
              </a:cxn>
              <a:cxn ang="0">
                <a:pos x="connsiteX58076" y="connsiteY58076"/>
              </a:cxn>
              <a:cxn ang="0">
                <a:pos x="connsiteX58077" y="connsiteY58077"/>
              </a:cxn>
              <a:cxn ang="0">
                <a:pos x="connsiteX58078" y="connsiteY58078"/>
              </a:cxn>
              <a:cxn ang="0">
                <a:pos x="connsiteX58079" y="connsiteY58079"/>
              </a:cxn>
              <a:cxn ang="0">
                <a:pos x="connsiteX58080" y="connsiteY58080"/>
              </a:cxn>
              <a:cxn ang="0">
                <a:pos x="connsiteX58081" y="connsiteY58081"/>
              </a:cxn>
              <a:cxn ang="0">
                <a:pos x="connsiteX58082" y="connsiteY58082"/>
              </a:cxn>
              <a:cxn ang="0">
                <a:pos x="connsiteX58083" y="connsiteY58083"/>
              </a:cxn>
              <a:cxn ang="0">
                <a:pos x="connsiteX58084" y="connsiteY58084"/>
              </a:cxn>
              <a:cxn ang="0">
                <a:pos x="connsiteX58085" y="connsiteY58085"/>
              </a:cxn>
              <a:cxn ang="0">
                <a:pos x="connsiteX58086" y="connsiteY58086"/>
              </a:cxn>
              <a:cxn ang="0">
                <a:pos x="connsiteX58087" y="connsiteY58087"/>
              </a:cxn>
              <a:cxn ang="0">
                <a:pos x="connsiteX58088" y="connsiteY58088"/>
              </a:cxn>
              <a:cxn ang="0">
                <a:pos x="connsiteX58089" y="connsiteY58089"/>
              </a:cxn>
              <a:cxn ang="0">
                <a:pos x="connsiteX58090" y="connsiteY58090"/>
              </a:cxn>
              <a:cxn ang="0">
                <a:pos x="connsiteX58091" y="connsiteY58091"/>
              </a:cxn>
              <a:cxn ang="0">
                <a:pos x="connsiteX58092" y="connsiteY58092"/>
              </a:cxn>
              <a:cxn ang="0">
                <a:pos x="connsiteX58093" y="connsiteY58093"/>
              </a:cxn>
              <a:cxn ang="0">
                <a:pos x="connsiteX58094" y="connsiteY58094"/>
              </a:cxn>
              <a:cxn ang="0">
                <a:pos x="connsiteX58095" y="connsiteY58095"/>
              </a:cxn>
              <a:cxn ang="0">
                <a:pos x="connsiteX58096" y="connsiteY58096"/>
              </a:cxn>
              <a:cxn ang="0">
                <a:pos x="connsiteX58097" y="connsiteY58097"/>
              </a:cxn>
              <a:cxn ang="0">
                <a:pos x="connsiteX58098" y="connsiteY58098"/>
              </a:cxn>
              <a:cxn ang="0">
                <a:pos x="connsiteX58099" y="connsiteY58099"/>
              </a:cxn>
              <a:cxn ang="0">
                <a:pos x="connsiteX58100" y="connsiteY58100"/>
              </a:cxn>
              <a:cxn ang="0">
                <a:pos x="connsiteX58101" y="connsiteY58101"/>
              </a:cxn>
              <a:cxn ang="0">
                <a:pos x="connsiteX58102" y="connsiteY58102"/>
              </a:cxn>
              <a:cxn ang="0">
                <a:pos x="connsiteX58103" y="connsiteY58103"/>
              </a:cxn>
              <a:cxn ang="0">
                <a:pos x="connsiteX58104" y="connsiteY58104"/>
              </a:cxn>
              <a:cxn ang="0">
                <a:pos x="connsiteX58105" y="connsiteY58105"/>
              </a:cxn>
              <a:cxn ang="0">
                <a:pos x="connsiteX58106" y="connsiteY58106"/>
              </a:cxn>
              <a:cxn ang="0">
                <a:pos x="connsiteX58107" y="connsiteY58107"/>
              </a:cxn>
              <a:cxn ang="0">
                <a:pos x="connsiteX58108" y="connsiteY58108"/>
              </a:cxn>
              <a:cxn ang="0">
                <a:pos x="connsiteX58109" y="connsiteY58109"/>
              </a:cxn>
              <a:cxn ang="0">
                <a:pos x="connsiteX58110" y="connsiteY58110"/>
              </a:cxn>
              <a:cxn ang="0">
                <a:pos x="connsiteX58111" y="connsiteY58111"/>
              </a:cxn>
              <a:cxn ang="0">
                <a:pos x="connsiteX58112" y="connsiteY58112"/>
              </a:cxn>
              <a:cxn ang="0">
                <a:pos x="connsiteX58113" y="connsiteY58113"/>
              </a:cxn>
              <a:cxn ang="0">
                <a:pos x="connsiteX58114" y="connsiteY58114"/>
              </a:cxn>
              <a:cxn ang="0">
                <a:pos x="connsiteX58115" y="connsiteY58115"/>
              </a:cxn>
              <a:cxn ang="0">
                <a:pos x="connsiteX58116" y="connsiteY58116"/>
              </a:cxn>
              <a:cxn ang="0">
                <a:pos x="connsiteX58117" y="connsiteY58117"/>
              </a:cxn>
              <a:cxn ang="0">
                <a:pos x="connsiteX58118" y="connsiteY58118"/>
              </a:cxn>
              <a:cxn ang="0">
                <a:pos x="connsiteX58119" y="connsiteY58119"/>
              </a:cxn>
              <a:cxn ang="0">
                <a:pos x="connsiteX58120" y="connsiteY58120"/>
              </a:cxn>
              <a:cxn ang="0">
                <a:pos x="connsiteX58121" y="connsiteY58121"/>
              </a:cxn>
              <a:cxn ang="0">
                <a:pos x="connsiteX58122" y="connsiteY58122"/>
              </a:cxn>
              <a:cxn ang="0">
                <a:pos x="connsiteX58123" y="connsiteY58123"/>
              </a:cxn>
              <a:cxn ang="0">
                <a:pos x="connsiteX58124" y="connsiteY58124"/>
              </a:cxn>
              <a:cxn ang="0">
                <a:pos x="connsiteX58125" y="connsiteY58125"/>
              </a:cxn>
              <a:cxn ang="0">
                <a:pos x="connsiteX58126" y="connsiteY58126"/>
              </a:cxn>
              <a:cxn ang="0">
                <a:pos x="connsiteX58127" y="connsiteY58127"/>
              </a:cxn>
              <a:cxn ang="0">
                <a:pos x="connsiteX58128" y="connsiteY58128"/>
              </a:cxn>
              <a:cxn ang="0">
                <a:pos x="connsiteX58129" y="connsiteY58129"/>
              </a:cxn>
              <a:cxn ang="0">
                <a:pos x="connsiteX58130" y="connsiteY58130"/>
              </a:cxn>
              <a:cxn ang="0">
                <a:pos x="connsiteX58131" y="connsiteY58131"/>
              </a:cxn>
              <a:cxn ang="0">
                <a:pos x="connsiteX58132" y="connsiteY58132"/>
              </a:cxn>
              <a:cxn ang="0">
                <a:pos x="connsiteX58133" y="connsiteY58133"/>
              </a:cxn>
              <a:cxn ang="0">
                <a:pos x="connsiteX58134" y="connsiteY58134"/>
              </a:cxn>
              <a:cxn ang="0">
                <a:pos x="connsiteX58135" y="connsiteY58135"/>
              </a:cxn>
              <a:cxn ang="0">
                <a:pos x="connsiteX58136" y="connsiteY58136"/>
              </a:cxn>
              <a:cxn ang="0">
                <a:pos x="connsiteX58137" y="connsiteY58137"/>
              </a:cxn>
              <a:cxn ang="0">
                <a:pos x="connsiteX58138" y="connsiteY58138"/>
              </a:cxn>
              <a:cxn ang="0">
                <a:pos x="connsiteX58139" y="connsiteY58139"/>
              </a:cxn>
              <a:cxn ang="0">
                <a:pos x="connsiteX58140" y="connsiteY58140"/>
              </a:cxn>
              <a:cxn ang="0">
                <a:pos x="connsiteX58141" y="connsiteY58141"/>
              </a:cxn>
              <a:cxn ang="0">
                <a:pos x="connsiteX58142" y="connsiteY58142"/>
              </a:cxn>
              <a:cxn ang="0">
                <a:pos x="connsiteX58143" y="connsiteY58143"/>
              </a:cxn>
              <a:cxn ang="0">
                <a:pos x="connsiteX58144" y="connsiteY58144"/>
              </a:cxn>
              <a:cxn ang="0">
                <a:pos x="connsiteX58145" y="connsiteY58145"/>
              </a:cxn>
              <a:cxn ang="0">
                <a:pos x="connsiteX58146" y="connsiteY58146"/>
              </a:cxn>
              <a:cxn ang="0">
                <a:pos x="connsiteX58147" y="connsiteY58147"/>
              </a:cxn>
              <a:cxn ang="0">
                <a:pos x="connsiteX58148" y="connsiteY58148"/>
              </a:cxn>
              <a:cxn ang="0">
                <a:pos x="connsiteX58149" y="connsiteY58149"/>
              </a:cxn>
              <a:cxn ang="0">
                <a:pos x="connsiteX58150" y="connsiteY58150"/>
              </a:cxn>
              <a:cxn ang="0">
                <a:pos x="connsiteX58151" y="connsiteY58151"/>
              </a:cxn>
              <a:cxn ang="0">
                <a:pos x="connsiteX58152" y="connsiteY58152"/>
              </a:cxn>
              <a:cxn ang="0">
                <a:pos x="connsiteX58153" y="connsiteY58153"/>
              </a:cxn>
              <a:cxn ang="0">
                <a:pos x="connsiteX58154" y="connsiteY58154"/>
              </a:cxn>
              <a:cxn ang="0">
                <a:pos x="connsiteX58155" y="connsiteY58155"/>
              </a:cxn>
              <a:cxn ang="0">
                <a:pos x="connsiteX58156" y="connsiteY58156"/>
              </a:cxn>
              <a:cxn ang="0">
                <a:pos x="connsiteX58157" y="connsiteY58157"/>
              </a:cxn>
              <a:cxn ang="0">
                <a:pos x="connsiteX58158" y="connsiteY58158"/>
              </a:cxn>
              <a:cxn ang="0">
                <a:pos x="connsiteX58159" y="connsiteY58159"/>
              </a:cxn>
              <a:cxn ang="0">
                <a:pos x="connsiteX58160" y="connsiteY58160"/>
              </a:cxn>
              <a:cxn ang="0">
                <a:pos x="connsiteX58161" y="connsiteY58161"/>
              </a:cxn>
              <a:cxn ang="0">
                <a:pos x="connsiteX58162" y="connsiteY58162"/>
              </a:cxn>
              <a:cxn ang="0">
                <a:pos x="connsiteX58163" y="connsiteY58163"/>
              </a:cxn>
              <a:cxn ang="0">
                <a:pos x="connsiteX58164" y="connsiteY58164"/>
              </a:cxn>
              <a:cxn ang="0">
                <a:pos x="connsiteX58165" y="connsiteY58165"/>
              </a:cxn>
              <a:cxn ang="0">
                <a:pos x="connsiteX58166" y="connsiteY58166"/>
              </a:cxn>
              <a:cxn ang="0">
                <a:pos x="connsiteX58167" y="connsiteY58167"/>
              </a:cxn>
              <a:cxn ang="0">
                <a:pos x="connsiteX58168" y="connsiteY58168"/>
              </a:cxn>
              <a:cxn ang="0">
                <a:pos x="connsiteX58169" y="connsiteY58169"/>
              </a:cxn>
              <a:cxn ang="0">
                <a:pos x="connsiteX58170" y="connsiteY58170"/>
              </a:cxn>
              <a:cxn ang="0">
                <a:pos x="connsiteX58171" y="connsiteY58171"/>
              </a:cxn>
              <a:cxn ang="0">
                <a:pos x="connsiteX58172" y="connsiteY58172"/>
              </a:cxn>
              <a:cxn ang="0">
                <a:pos x="connsiteX58173" y="connsiteY58173"/>
              </a:cxn>
              <a:cxn ang="0">
                <a:pos x="connsiteX58174" y="connsiteY58174"/>
              </a:cxn>
              <a:cxn ang="0">
                <a:pos x="connsiteX58175" y="connsiteY58175"/>
              </a:cxn>
              <a:cxn ang="0">
                <a:pos x="connsiteX58176" y="connsiteY58176"/>
              </a:cxn>
              <a:cxn ang="0">
                <a:pos x="connsiteX58177" y="connsiteY58177"/>
              </a:cxn>
              <a:cxn ang="0">
                <a:pos x="connsiteX58178" y="connsiteY58178"/>
              </a:cxn>
              <a:cxn ang="0">
                <a:pos x="connsiteX58179" y="connsiteY58179"/>
              </a:cxn>
              <a:cxn ang="0">
                <a:pos x="connsiteX58180" y="connsiteY58180"/>
              </a:cxn>
              <a:cxn ang="0">
                <a:pos x="connsiteX58181" y="connsiteY58181"/>
              </a:cxn>
              <a:cxn ang="0">
                <a:pos x="connsiteX58182" y="connsiteY58182"/>
              </a:cxn>
              <a:cxn ang="0">
                <a:pos x="connsiteX58183" y="connsiteY58183"/>
              </a:cxn>
              <a:cxn ang="0">
                <a:pos x="connsiteX58184" y="connsiteY58184"/>
              </a:cxn>
              <a:cxn ang="0">
                <a:pos x="connsiteX58185" y="connsiteY58185"/>
              </a:cxn>
              <a:cxn ang="0">
                <a:pos x="connsiteX58186" y="connsiteY58186"/>
              </a:cxn>
              <a:cxn ang="0">
                <a:pos x="connsiteX58187" y="connsiteY58187"/>
              </a:cxn>
              <a:cxn ang="0">
                <a:pos x="connsiteX58188" y="connsiteY58188"/>
              </a:cxn>
              <a:cxn ang="0">
                <a:pos x="connsiteX58189" y="connsiteY58189"/>
              </a:cxn>
              <a:cxn ang="0">
                <a:pos x="connsiteX58190" y="connsiteY58190"/>
              </a:cxn>
              <a:cxn ang="0">
                <a:pos x="connsiteX58191" y="connsiteY58191"/>
              </a:cxn>
              <a:cxn ang="0">
                <a:pos x="connsiteX58192" y="connsiteY58192"/>
              </a:cxn>
              <a:cxn ang="0">
                <a:pos x="connsiteX58193" y="connsiteY58193"/>
              </a:cxn>
              <a:cxn ang="0">
                <a:pos x="connsiteX58194" y="connsiteY58194"/>
              </a:cxn>
              <a:cxn ang="0">
                <a:pos x="connsiteX58195" y="connsiteY58195"/>
              </a:cxn>
              <a:cxn ang="0">
                <a:pos x="connsiteX58196" y="connsiteY58196"/>
              </a:cxn>
              <a:cxn ang="0">
                <a:pos x="connsiteX58197" y="connsiteY58197"/>
              </a:cxn>
              <a:cxn ang="0">
                <a:pos x="connsiteX58198" y="connsiteY58198"/>
              </a:cxn>
              <a:cxn ang="0">
                <a:pos x="connsiteX58199" y="connsiteY58199"/>
              </a:cxn>
              <a:cxn ang="0">
                <a:pos x="connsiteX58200" y="connsiteY58200"/>
              </a:cxn>
              <a:cxn ang="0">
                <a:pos x="connsiteX58201" y="connsiteY58201"/>
              </a:cxn>
              <a:cxn ang="0">
                <a:pos x="connsiteX58202" y="connsiteY58202"/>
              </a:cxn>
              <a:cxn ang="0">
                <a:pos x="connsiteX58203" y="connsiteY58203"/>
              </a:cxn>
              <a:cxn ang="0">
                <a:pos x="connsiteX58204" y="connsiteY58204"/>
              </a:cxn>
              <a:cxn ang="0">
                <a:pos x="connsiteX58205" y="connsiteY58205"/>
              </a:cxn>
              <a:cxn ang="0">
                <a:pos x="connsiteX58206" y="connsiteY58206"/>
              </a:cxn>
              <a:cxn ang="0">
                <a:pos x="connsiteX58207" y="connsiteY58207"/>
              </a:cxn>
              <a:cxn ang="0">
                <a:pos x="connsiteX58208" y="connsiteY58208"/>
              </a:cxn>
              <a:cxn ang="0">
                <a:pos x="connsiteX58209" y="connsiteY58209"/>
              </a:cxn>
              <a:cxn ang="0">
                <a:pos x="connsiteX58210" y="connsiteY58210"/>
              </a:cxn>
              <a:cxn ang="0">
                <a:pos x="connsiteX58211" y="connsiteY58211"/>
              </a:cxn>
              <a:cxn ang="0">
                <a:pos x="connsiteX58212" y="connsiteY58212"/>
              </a:cxn>
              <a:cxn ang="0">
                <a:pos x="connsiteX58213" y="connsiteY58213"/>
              </a:cxn>
              <a:cxn ang="0">
                <a:pos x="connsiteX58214" y="connsiteY58214"/>
              </a:cxn>
              <a:cxn ang="0">
                <a:pos x="connsiteX58215" y="connsiteY58215"/>
              </a:cxn>
              <a:cxn ang="0">
                <a:pos x="connsiteX58216" y="connsiteY58216"/>
              </a:cxn>
              <a:cxn ang="0">
                <a:pos x="connsiteX58217" y="connsiteY58217"/>
              </a:cxn>
              <a:cxn ang="0">
                <a:pos x="connsiteX58218" y="connsiteY58218"/>
              </a:cxn>
              <a:cxn ang="0">
                <a:pos x="connsiteX58219" y="connsiteY58219"/>
              </a:cxn>
              <a:cxn ang="0">
                <a:pos x="connsiteX58220" y="connsiteY58220"/>
              </a:cxn>
              <a:cxn ang="0">
                <a:pos x="connsiteX58221" y="connsiteY58221"/>
              </a:cxn>
              <a:cxn ang="0">
                <a:pos x="connsiteX58222" y="connsiteY58222"/>
              </a:cxn>
              <a:cxn ang="0">
                <a:pos x="connsiteX58223" y="connsiteY58223"/>
              </a:cxn>
              <a:cxn ang="0">
                <a:pos x="connsiteX58224" y="connsiteY58224"/>
              </a:cxn>
              <a:cxn ang="0">
                <a:pos x="connsiteX58225" y="connsiteY58225"/>
              </a:cxn>
              <a:cxn ang="0">
                <a:pos x="connsiteX58226" y="connsiteY58226"/>
              </a:cxn>
              <a:cxn ang="0">
                <a:pos x="connsiteX58227" y="connsiteY58227"/>
              </a:cxn>
              <a:cxn ang="0">
                <a:pos x="connsiteX58228" y="connsiteY58228"/>
              </a:cxn>
              <a:cxn ang="0">
                <a:pos x="connsiteX58229" y="connsiteY58229"/>
              </a:cxn>
              <a:cxn ang="0">
                <a:pos x="connsiteX58230" y="connsiteY58230"/>
              </a:cxn>
              <a:cxn ang="0">
                <a:pos x="connsiteX58231" y="connsiteY58231"/>
              </a:cxn>
              <a:cxn ang="0">
                <a:pos x="connsiteX58232" y="connsiteY58232"/>
              </a:cxn>
              <a:cxn ang="0">
                <a:pos x="connsiteX58233" y="connsiteY58233"/>
              </a:cxn>
              <a:cxn ang="0">
                <a:pos x="connsiteX58234" y="connsiteY58234"/>
              </a:cxn>
              <a:cxn ang="0">
                <a:pos x="connsiteX58235" y="connsiteY58235"/>
              </a:cxn>
              <a:cxn ang="0">
                <a:pos x="connsiteX58236" y="connsiteY58236"/>
              </a:cxn>
              <a:cxn ang="0">
                <a:pos x="connsiteX58237" y="connsiteY58237"/>
              </a:cxn>
              <a:cxn ang="0">
                <a:pos x="connsiteX58238" y="connsiteY58238"/>
              </a:cxn>
              <a:cxn ang="0">
                <a:pos x="connsiteX58239" y="connsiteY58239"/>
              </a:cxn>
              <a:cxn ang="0">
                <a:pos x="connsiteX58240" y="connsiteY58240"/>
              </a:cxn>
              <a:cxn ang="0">
                <a:pos x="connsiteX58241" y="connsiteY58241"/>
              </a:cxn>
              <a:cxn ang="0">
                <a:pos x="connsiteX58242" y="connsiteY58242"/>
              </a:cxn>
              <a:cxn ang="0">
                <a:pos x="connsiteX58243" y="connsiteY58243"/>
              </a:cxn>
              <a:cxn ang="0">
                <a:pos x="connsiteX58244" y="connsiteY58244"/>
              </a:cxn>
              <a:cxn ang="0">
                <a:pos x="connsiteX58245" y="connsiteY58245"/>
              </a:cxn>
              <a:cxn ang="0">
                <a:pos x="connsiteX58246" y="connsiteY58246"/>
              </a:cxn>
              <a:cxn ang="0">
                <a:pos x="connsiteX58247" y="connsiteY58247"/>
              </a:cxn>
              <a:cxn ang="0">
                <a:pos x="connsiteX58248" y="connsiteY58248"/>
              </a:cxn>
              <a:cxn ang="0">
                <a:pos x="connsiteX58249" y="connsiteY58249"/>
              </a:cxn>
              <a:cxn ang="0">
                <a:pos x="connsiteX58250" y="connsiteY58250"/>
              </a:cxn>
              <a:cxn ang="0">
                <a:pos x="connsiteX58251" y="connsiteY58251"/>
              </a:cxn>
              <a:cxn ang="0">
                <a:pos x="connsiteX58252" y="connsiteY58252"/>
              </a:cxn>
              <a:cxn ang="0">
                <a:pos x="connsiteX58253" y="connsiteY58253"/>
              </a:cxn>
              <a:cxn ang="0">
                <a:pos x="connsiteX58254" y="connsiteY58254"/>
              </a:cxn>
              <a:cxn ang="0">
                <a:pos x="connsiteX58255" y="connsiteY58255"/>
              </a:cxn>
              <a:cxn ang="0">
                <a:pos x="connsiteX58256" y="connsiteY58256"/>
              </a:cxn>
              <a:cxn ang="0">
                <a:pos x="connsiteX58257" y="connsiteY58257"/>
              </a:cxn>
              <a:cxn ang="0">
                <a:pos x="connsiteX58258" y="connsiteY58258"/>
              </a:cxn>
              <a:cxn ang="0">
                <a:pos x="connsiteX58259" y="connsiteY58259"/>
              </a:cxn>
              <a:cxn ang="0">
                <a:pos x="connsiteX58260" y="connsiteY58260"/>
              </a:cxn>
              <a:cxn ang="0">
                <a:pos x="connsiteX58261" y="connsiteY58261"/>
              </a:cxn>
              <a:cxn ang="0">
                <a:pos x="connsiteX58262" y="connsiteY58262"/>
              </a:cxn>
              <a:cxn ang="0">
                <a:pos x="connsiteX58263" y="connsiteY58263"/>
              </a:cxn>
              <a:cxn ang="0">
                <a:pos x="connsiteX58264" y="connsiteY58264"/>
              </a:cxn>
              <a:cxn ang="0">
                <a:pos x="connsiteX58265" y="connsiteY58265"/>
              </a:cxn>
              <a:cxn ang="0">
                <a:pos x="connsiteX58266" y="connsiteY58266"/>
              </a:cxn>
              <a:cxn ang="0">
                <a:pos x="connsiteX58267" y="connsiteY58267"/>
              </a:cxn>
              <a:cxn ang="0">
                <a:pos x="connsiteX58268" y="connsiteY58268"/>
              </a:cxn>
              <a:cxn ang="0">
                <a:pos x="connsiteX58269" y="connsiteY58269"/>
              </a:cxn>
              <a:cxn ang="0">
                <a:pos x="connsiteX58270" y="connsiteY58270"/>
              </a:cxn>
              <a:cxn ang="0">
                <a:pos x="connsiteX58271" y="connsiteY58271"/>
              </a:cxn>
              <a:cxn ang="0">
                <a:pos x="connsiteX58272" y="connsiteY58272"/>
              </a:cxn>
              <a:cxn ang="0">
                <a:pos x="connsiteX58273" y="connsiteY58273"/>
              </a:cxn>
              <a:cxn ang="0">
                <a:pos x="connsiteX58274" y="connsiteY58274"/>
              </a:cxn>
              <a:cxn ang="0">
                <a:pos x="connsiteX58275" y="connsiteY58275"/>
              </a:cxn>
              <a:cxn ang="0">
                <a:pos x="connsiteX58276" y="connsiteY58276"/>
              </a:cxn>
              <a:cxn ang="0">
                <a:pos x="connsiteX58277" y="connsiteY58277"/>
              </a:cxn>
              <a:cxn ang="0">
                <a:pos x="connsiteX58278" y="connsiteY58278"/>
              </a:cxn>
              <a:cxn ang="0">
                <a:pos x="connsiteX58279" y="connsiteY58279"/>
              </a:cxn>
              <a:cxn ang="0">
                <a:pos x="connsiteX58280" y="connsiteY58280"/>
              </a:cxn>
              <a:cxn ang="0">
                <a:pos x="connsiteX58281" y="connsiteY58281"/>
              </a:cxn>
              <a:cxn ang="0">
                <a:pos x="connsiteX58282" y="connsiteY58282"/>
              </a:cxn>
              <a:cxn ang="0">
                <a:pos x="connsiteX58283" y="connsiteY58283"/>
              </a:cxn>
              <a:cxn ang="0">
                <a:pos x="connsiteX58284" y="connsiteY58284"/>
              </a:cxn>
              <a:cxn ang="0">
                <a:pos x="connsiteX58285" y="connsiteY58285"/>
              </a:cxn>
              <a:cxn ang="0">
                <a:pos x="connsiteX58286" y="connsiteY58286"/>
              </a:cxn>
              <a:cxn ang="0">
                <a:pos x="connsiteX58287" y="connsiteY58287"/>
              </a:cxn>
              <a:cxn ang="0">
                <a:pos x="connsiteX58288" y="connsiteY58288"/>
              </a:cxn>
              <a:cxn ang="0">
                <a:pos x="connsiteX58289" y="connsiteY58289"/>
              </a:cxn>
              <a:cxn ang="0">
                <a:pos x="connsiteX58290" y="connsiteY58290"/>
              </a:cxn>
              <a:cxn ang="0">
                <a:pos x="connsiteX58291" y="connsiteY58291"/>
              </a:cxn>
              <a:cxn ang="0">
                <a:pos x="connsiteX58292" y="connsiteY58292"/>
              </a:cxn>
              <a:cxn ang="0">
                <a:pos x="connsiteX58293" y="connsiteY58293"/>
              </a:cxn>
              <a:cxn ang="0">
                <a:pos x="connsiteX58294" y="connsiteY58294"/>
              </a:cxn>
              <a:cxn ang="0">
                <a:pos x="connsiteX58295" y="connsiteY58295"/>
              </a:cxn>
              <a:cxn ang="0">
                <a:pos x="connsiteX58296" y="connsiteY58296"/>
              </a:cxn>
              <a:cxn ang="0">
                <a:pos x="connsiteX58297" y="connsiteY58297"/>
              </a:cxn>
              <a:cxn ang="0">
                <a:pos x="connsiteX58298" y="connsiteY58298"/>
              </a:cxn>
              <a:cxn ang="0">
                <a:pos x="connsiteX58299" y="connsiteY58299"/>
              </a:cxn>
              <a:cxn ang="0">
                <a:pos x="connsiteX58300" y="connsiteY58300"/>
              </a:cxn>
              <a:cxn ang="0">
                <a:pos x="connsiteX58301" y="connsiteY58301"/>
              </a:cxn>
              <a:cxn ang="0">
                <a:pos x="connsiteX58302" y="connsiteY58302"/>
              </a:cxn>
              <a:cxn ang="0">
                <a:pos x="connsiteX58303" y="connsiteY58303"/>
              </a:cxn>
              <a:cxn ang="0">
                <a:pos x="connsiteX58304" y="connsiteY58304"/>
              </a:cxn>
              <a:cxn ang="0">
                <a:pos x="connsiteX58305" y="connsiteY58305"/>
              </a:cxn>
              <a:cxn ang="0">
                <a:pos x="connsiteX58306" y="connsiteY58306"/>
              </a:cxn>
              <a:cxn ang="0">
                <a:pos x="connsiteX58307" y="connsiteY58307"/>
              </a:cxn>
              <a:cxn ang="0">
                <a:pos x="connsiteX58308" y="connsiteY58308"/>
              </a:cxn>
              <a:cxn ang="0">
                <a:pos x="connsiteX58309" y="connsiteY58309"/>
              </a:cxn>
              <a:cxn ang="0">
                <a:pos x="connsiteX58310" y="connsiteY58310"/>
              </a:cxn>
              <a:cxn ang="0">
                <a:pos x="connsiteX58311" y="connsiteY58311"/>
              </a:cxn>
              <a:cxn ang="0">
                <a:pos x="connsiteX58312" y="connsiteY58312"/>
              </a:cxn>
              <a:cxn ang="0">
                <a:pos x="connsiteX58313" y="connsiteY58313"/>
              </a:cxn>
              <a:cxn ang="0">
                <a:pos x="connsiteX58314" y="connsiteY58314"/>
              </a:cxn>
              <a:cxn ang="0">
                <a:pos x="connsiteX58315" y="connsiteY58315"/>
              </a:cxn>
              <a:cxn ang="0">
                <a:pos x="connsiteX58316" y="connsiteY58316"/>
              </a:cxn>
              <a:cxn ang="0">
                <a:pos x="connsiteX58317" y="connsiteY58317"/>
              </a:cxn>
              <a:cxn ang="0">
                <a:pos x="connsiteX58318" y="connsiteY58318"/>
              </a:cxn>
              <a:cxn ang="0">
                <a:pos x="connsiteX58319" y="connsiteY58319"/>
              </a:cxn>
              <a:cxn ang="0">
                <a:pos x="connsiteX58320" y="connsiteY58320"/>
              </a:cxn>
              <a:cxn ang="0">
                <a:pos x="connsiteX58321" y="connsiteY58321"/>
              </a:cxn>
              <a:cxn ang="0">
                <a:pos x="connsiteX58322" y="connsiteY58322"/>
              </a:cxn>
              <a:cxn ang="0">
                <a:pos x="connsiteX58323" y="connsiteY58323"/>
              </a:cxn>
              <a:cxn ang="0">
                <a:pos x="connsiteX58324" y="connsiteY58324"/>
              </a:cxn>
              <a:cxn ang="0">
                <a:pos x="connsiteX58325" y="connsiteY58325"/>
              </a:cxn>
              <a:cxn ang="0">
                <a:pos x="connsiteX58326" y="connsiteY58326"/>
              </a:cxn>
              <a:cxn ang="0">
                <a:pos x="connsiteX58327" y="connsiteY58327"/>
              </a:cxn>
              <a:cxn ang="0">
                <a:pos x="connsiteX58328" y="connsiteY58328"/>
              </a:cxn>
              <a:cxn ang="0">
                <a:pos x="connsiteX58329" y="connsiteY58329"/>
              </a:cxn>
              <a:cxn ang="0">
                <a:pos x="connsiteX58330" y="connsiteY58330"/>
              </a:cxn>
              <a:cxn ang="0">
                <a:pos x="connsiteX58331" y="connsiteY58331"/>
              </a:cxn>
              <a:cxn ang="0">
                <a:pos x="connsiteX58332" y="connsiteY58332"/>
              </a:cxn>
              <a:cxn ang="0">
                <a:pos x="connsiteX58333" y="connsiteY58333"/>
              </a:cxn>
              <a:cxn ang="0">
                <a:pos x="connsiteX58334" y="connsiteY58334"/>
              </a:cxn>
              <a:cxn ang="0">
                <a:pos x="connsiteX58335" y="connsiteY58335"/>
              </a:cxn>
              <a:cxn ang="0">
                <a:pos x="connsiteX58336" y="connsiteY58336"/>
              </a:cxn>
              <a:cxn ang="0">
                <a:pos x="connsiteX58337" y="connsiteY58337"/>
              </a:cxn>
              <a:cxn ang="0">
                <a:pos x="connsiteX58338" y="connsiteY58338"/>
              </a:cxn>
              <a:cxn ang="0">
                <a:pos x="connsiteX58339" y="connsiteY58339"/>
              </a:cxn>
              <a:cxn ang="0">
                <a:pos x="connsiteX58340" y="connsiteY58340"/>
              </a:cxn>
              <a:cxn ang="0">
                <a:pos x="connsiteX58341" y="connsiteY58341"/>
              </a:cxn>
              <a:cxn ang="0">
                <a:pos x="connsiteX58342" y="connsiteY58342"/>
              </a:cxn>
              <a:cxn ang="0">
                <a:pos x="connsiteX58343" y="connsiteY58343"/>
              </a:cxn>
              <a:cxn ang="0">
                <a:pos x="connsiteX58344" y="connsiteY58344"/>
              </a:cxn>
              <a:cxn ang="0">
                <a:pos x="connsiteX58345" y="connsiteY58345"/>
              </a:cxn>
              <a:cxn ang="0">
                <a:pos x="connsiteX58346" y="connsiteY58346"/>
              </a:cxn>
              <a:cxn ang="0">
                <a:pos x="connsiteX58347" y="connsiteY58347"/>
              </a:cxn>
              <a:cxn ang="0">
                <a:pos x="connsiteX58348" y="connsiteY58348"/>
              </a:cxn>
              <a:cxn ang="0">
                <a:pos x="connsiteX58349" y="connsiteY58349"/>
              </a:cxn>
              <a:cxn ang="0">
                <a:pos x="connsiteX58350" y="connsiteY58350"/>
              </a:cxn>
              <a:cxn ang="0">
                <a:pos x="connsiteX58351" y="connsiteY58351"/>
              </a:cxn>
              <a:cxn ang="0">
                <a:pos x="connsiteX58352" y="connsiteY58352"/>
              </a:cxn>
              <a:cxn ang="0">
                <a:pos x="connsiteX58353" y="connsiteY58353"/>
              </a:cxn>
              <a:cxn ang="0">
                <a:pos x="connsiteX58354" y="connsiteY58354"/>
              </a:cxn>
              <a:cxn ang="0">
                <a:pos x="connsiteX58355" y="connsiteY58355"/>
              </a:cxn>
              <a:cxn ang="0">
                <a:pos x="connsiteX58356" y="connsiteY58356"/>
              </a:cxn>
              <a:cxn ang="0">
                <a:pos x="connsiteX58357" y="connsiteY58357"/>
              </a:cxn>
              <a:cxn ang="0">
                <a:pos x="connsiteX58358" y="connsiteY58358"/>
              </a:cxn>
              <a:cxn ang="0">
                <a:pos x="connsiteX58359" y="connsiteY58359"/>
              </a:cxn>
              <a:cxn ang="0">
                <a:pos x="connsiteX58360" y="connsiteY58360"/>
              </a:cxn>
              <a:cxn ang="0">
                <a:pos x="connsiteX58361" y="connsiteY58361"/>
              </a:cxn>
              <a:cxn ang="0">
                <a:pos x="connsiteX58362" y="connsiteY58362"/>
              </a:cxn>
              <a:cxn ang="0">
                <a:pos x="connsiteX58363" y="connsiteY58363"/>
              </a:cxn>
              <a:cxn ang="0">
                <a:pos x="connsiteX58364" y="connsiteY58364"/>
              </a:cxn>
              <a:cxn ang="0">
                <a:pos x="connsiteX58365" y="connsiteY58365"/>
              </a:cxn>
              <a:cxn ang="0">
                <a:pos x="connsiteX58366" y="connsiteY58366"/>
              </a:cxn>
              <a:cxn ang="0">
                <a:pos x="connsiteX58367" y="connsiteY58367"/>
              </a:cxn>
              <a:cxn ang="0">
                <a:pos x="connsiteX58368" y="connsiteY58368"/>
              </a:cxn>
              <a:cxn ang="0">
                <a:pos x="connsiteX58369" y="connsiteY58369"/>
              </a:cxn>
              <a:cxn ang="0">
                <a:pos x="connsiteX58370" y="connsiteY58370"/>
              </a:cxn>
              <a:cxn ang="0">
                <a:pos x="connsiteX58371" y="connsiteY58371"/>
              </a:cxn>
              <a:cxn ang="0">
                <a:pos x="connsiteX58372" y="connsiteY58372"/>
              </a:cxn>
              <a:cxn ang="0">
                <a:pos x="connsiteX58373" y="connsiteY58373"/>
              </a:cxn>
              <a:cxn ang="0">
                <a:pos x="connsiteX58374" y="connsiteY58374"/>
              </a:cxn>
              <a:cxn ang="0">
                <a:pos x="connsiteX58375" y="connsiteY58375"/>
              </a:cxn>
              <a:cxn ang="0">
                <a:pos x="connsiteX58376" y="connsiteY58376"/>
              </a:cxn>
              <a:cxn ang="0">
                <a:pos x="connsiteX58377" y="connsiteY58377"/>
              </a:cxn>
              <a:cxn ang="0">
                <a:pos x="connsiteX58378" y="connsiteY58378"/>
              </a:cxn>
              <a:cxn ang="0">
                <a:pos x="connsiteX58379" y="connsiteY58379"/>
              </a:cxn>
              <a:cxn ang="0">
                <a:pos x="connsiteX58380" y="connsiteY58380"/>
              </a:cxn>
              <a:cxn ang="0">
                <a:pos x="connsiteX58381" y="connsiteY58381"/>
              </a:cxn>
              <a:cxn ang="0">
                <a:pos x="connsiteX58382" y="connsiteY58382"/>
              </a:cxn>
              <a:cxn ang="0">
                <a:pos x="connsiteX58383" y="connsiteY58383"/>
              </a:cxn>
              <a:cxn ang="0">
                <a:pos x="connsiteX58384" y="connsiteY58384"/>
              </a:cxn>
              <a:cxn ang="0">
                <a:pos x="connsiteX58385" y="connsiteY58385"/>
              </a:cxn>
              <a:cxn ang="0">
                <a:pos x="connsiteX58386" y="connsiteY58386"/>
              </a:cxn>
              <a:cxn ang="0">
                <a:pos x="connsiteX58387" y="connsiteY58387"/>
              </a:cxn>
              <a:cxn ang="0">
                <a:pos x="connsiteX58388" y="connsiteY58388"/>
              </a:cxn>
              <a:cxn ang="0">
                <a:pos x="connsiteX58389" y="connsiteY58389"/>
              </a:cxn>
              <a:cxn ang="0">
                <a:pos x="connsiteX58390" y="connsiteY58390"/>
              </a:cxn>
              <a:cxn ang="0">
                <a:pos x="connsiteX58391" y="connsiteY58391"/>
              </a:cxn>
              <a:cxn ang="0">
                <a:pos x="connsiteX58392" y="connsiteY58392"/>
              </a:cxn>
              <a:cxn ang="0">
                <a:pos x="connsiteX58393" y="connsiteY58393"/>
              </a:cxn>
              <a:cxn ang="0">
                <a:pos x="connsiteX58394" y="connsiteY58394"/>
              </a:cxn>
              <a:cxn ang="0">
                <a:pos x="connsiteX58395" y="connsiteY58395"/>
              </a:cxn>
              <a:cxn ang="0">
                <a:pos x="connsiteX58396" y="connsiteY58396"/>
              </a:cxn>
              <a:cxn ang="0">
                <a:pos x="connsiteX58397" y="connsiteY58397"/>
              </a:cxn>
              <a:cxn ang="0">
                <a:pos x="connsiteX58398" y="connsiteY58398"/>
              </a:cxn>
              <a:cxn ang="0">
                <a:pos x="connsiteX58399" y="connsiteY58399"/>
              </a:cxn>
              <a:cxn ang="0">
                <a:pos x="connsiteX58400" y="connsiteY58400"/>
              </a:cxn>
              <a:cxn ang="0">
                <a:pos x="connsiteX58401" y="connsiteY58401"/>
              </a:cxn>
              <a:cxn ang="0">
                <a:pos x="connsiteX58402" y="connsiteY58402"/>
              </a:cxn>
              <a:cxn ang="0">
                <a:pos x="connsiteX58403" y="connsiteY58403"/>
              </a:cxn>
              <a:cxn ang="0">
                <a:pos x="connsiteX58404" y="connsiteY58404"/>
              </a:cxn>
              <a:cxn ang="0">
                <a:pos x="connsiteX58405" y="connsiteY58405"/>
              </a:cxn>
              <a:cxn ang="0">
                <a:pos x="connsiteX58406" y="connsiteY58406"/>
              </a:cxn>
              <a:cxn ang="0">
                <a:pos x="connsiteX58407" y="connsiteY58407"/>
              </a:cxn>
              <a:cxn ang="0">
                <a:pos x="connsiteX58408" y="connsiteY58408"/>
              </a:cxn>
              <a:cxn ang="0">
                <a:pos x="connsiteX58409" y="connsiteY58409"/>
              </a:cxn>
              <a:cxn ang="0">
                <a:pos x="connsiteX58410" y="connsiteY58410"/>
              </a:cxn>
              <a:cxn ang="0">
                <a:pos x="connsiteX58411" y="connsiteY58411"/>
              </a:cxn>
              <a:cxn ang="0">
                <a:pos x="connsiteX58412" y="connsiteY58412"/>
              </a:cxn>
              <a:cxn ang="0">
                <a:pos x="connsiteX58413" y="connsiteY58413"/>
              </a:cxn>
              <a:cxn ang="0">
                <a:pos x="connsiteX58414" y="connsiteY58414"/>
              </a:cxn>
              <a:cxn ang="0">
                <a:pos x="connsiteX58415" y="connsiteY58415"/>
              </a:cxn>
              <a:cxn ang="0">
                <a:pos x="connsiteX58416" y="connsiteY58416"/>
              </a:cxn>
              <a:cxn ang="0">
                <a:pos x="connsiteX58417" y="connsiteY58417"/>
              </a:cxn>
              <a:cxn ang="0">
                <a:pos x="connsiteX58418" y="connsiteY58418"/>
              </a:cxn>
              <a:cxn ang="0">
                <a:pos x="connsiteX58419" y="connsiteY58419"/>
              </a:cxn>
              <a:cxn ang="0">
                <a:pos x="connsiteX58420" y="connsiteY58420"/>
              </a:cxn>
              <a:cxn ang="0">
                <a:pos x="connsiteX58421" y="connsiteY58421"/>
              </a:cxn>
              <a:cxn ang="0">
                <a:pos x="connsiteX58422" y="connsiteY58422"/>
              </a:cxn>
              <a:cxn ang="0">
                <a:pos x="connsiteX58423" y="connsiteY58423"/>
              </a:cxn>
              <a:cxn ang="0">
                <a:pos x="connsiteX58424" y="connsiteY58424"/>
              </a:cxn>
              <a:cxn ang="0">
                <a:pos x="connsiteX58425" y="connsiteY58425"/>
              </a:cxn>
              <a:cxn ang="0">
                <a:pos x="connsiteX58426" y="connsiteY58426"/>
              </a:cxn>
              <a:cxn ang="0">
                <a:pos x="connsiteX58427" y="connsiteY58427"/>
              </a:cxn>
              <a:cxn ang="0">
                <a:pos x="connsiteX58428" y="connsiteY58428"/>
              </a:cxn>
              <a:cxn ang="0">
                <a:pos x="connsiteX58429" y="connsiteY58429"/>
              </a:cxn>
              <a:cxn ang="0">
                <a:pos x="connsiteX58430" y="connsiteY58430"/>
              </a:cxn>
              <a:cxn ang="0">
                <a:pos x="connsiteX58431" y="connsiteY58431"/>
              </a:cxn>
              <a:cxn ang="0">
                <a:pos x="connsiteX58432" y="connsiteY58432"/>
              </a:cxn>
              <a:cxn ang="0">
                <a:pos x="connsiteX58433" y="connsiteY58433"/>
              </a:cxn>
              <a:cxn ang="0">
                <a:pos x="connsiteX58434" y="connsiteY58434"/>
              </a:cxn>
              <a:cxn ang="0">
                <a:pos x="connsiteX58435" y="connsiteY58435"/>
              </a:cxn>
              <a:cxn ang="0">
                <a:pos x="connsiteX58436" y="connsiteY58436"/>
              </a:cxn>
              <a:cxn ang="0">
                <a:pos x="connsiteX58437" y="connsiteY58437"/>
              </a:cxn>
              <a:cxn ang="0">
                <a:pos x="connsiteX58438" y="connsiteY58438"/>
              </a:cxn>
              <a:cxn ang="0">
                <a:pos x="connsiteX58439" y="connsiteY58439"/>
              </a:cxn>
              <a:cxn ang="0">
                <a:pos x="connsiteX58440" y="connsiteY58440"/>
              </a:cxn>
              <a:cxn ang="0">
                <a:pos x="connsiteX58441" y="connsiteY58441"/>
              </a:cxn>
              <a:cxn ang="0">
                <a:pos x="connsiteX58442" y="connsiteY58442"/>
              </a:cxn>
              <a:cxn ang="0">
                <a:pos x="connsiteX58443" y="connsiteY58443"/>
              </a:cxn>
              <a:cxn ang="0">
                <a:pos x="connsiteX58444" y="connsiteY58444"/>
              </a:cxn>
              <a:cxn ang="0">
                <a:pos x="connsiteX58445" y="connsiteY58445"/>
              </a:cxn>
              <a:cxn ang="0">
                <a:pos x="connsiteX58446" y="connsiteY58446"/>
              </a:cxn>
              <a:cxn ang="0">
                <a:pos x="connsiteX58447" y="connsiteY58447"/>
              </a:cxn>
              <a:cxn ang="0">
                <a:pos x="connsiteX58448" y="connsiteY58448"/>
              </a:cxn>
              <a:cxn ang="0">
                <a:pos x="connsiteX58449" y="connsiteY58449"/>
              </a:cxn>
              <a:cxn ang="0">
                <a:pos x="connsiteX58450" y="connsiteY58450"/>
              </a:cxn>
              <a:cxn ang="0">
                <a:pos x="connsiteX58451" y="connsiteY58451"/>
              </a:cxn>
              <a:cxn ang="0">
                <a:pos x="connsiteX58452" y="connsiteY58452"/>
              </a:cxn>
              <a:cxn ang="0">
                <a:pos x="connsiteX58453" y="connsiteY58453"/>
              </a:cxn>
              <a:cxn ang="0">
                <a:pos x="connsiteX58454" y="connsiteY58454"/>
              </a:cxn>
              <a:cxn ang="0">
                <a:pos x="connsiteX58455" y="connsiteY58455"/>
              </a:cxn>
              <a:cxn ang="0">
                <a:pos x="connsiteX58456" y="connsiteY58456"/>
              </a:cxn>
              <a:cxn ang="0">
                <a:pos x="connsiteX58457" y="connsiteY58457"/>
              </a:cxn>
              <a:cxn ang="0">
                <a:pos x="connsiteX58458" y="connsiteY58458"/>
              </a:cxn>
              <a:cxn ang="0">
                <a:pos x="connsiteX58459" y="connsiteY58459"/>
              </a:cxn>
              <a:cxn ang="0">
                <a:pos x="connsiteX58460" y="connsiteY58460"/>
              </a:cxn>
              <a:cxn ang="0">
                <a:pos x="connsiteX58461" y="connsiteY58461"/>
              </a:cxn>
              <a:cxn ang="0">
                <a:pos x="connsiteX58462" y="connsiteY58462"/>
              </a:cxn>
              <a:cxn ang="0">
                <a:pos x="connsiteX58463" y="connsiteY58463"/>
              </a:cxn>
              <a:cxn ang="0">
                <a:pos x="connsiteX58464" y="connsiteY58464"/>
              </a:cxn>
              <a:cxn ang="0">
                <a:pos x="connsiteX58465" y="connsiteY58465"/>
              </a:cxn>
              <a:cxn ang="0">
                <a:pos x="connsiteX58466" y="connsiteY58466"/>
              </a:cxn>
              <a:cxn ang="0">
                <a:pos x="connsiteX58467" y="connsiteY58467"/>
              </a:cxn>
              <a:cxn ang="0">
                <a:pos x="connsiteX58468" y="connsiteY58468"/>
              </a:cxn>
              <a:cxn ang="0">
                <a:pos x="connsiteX58469" y="connsiteY58469"/>
              </a:cxn>
              <a:cxn ang="0">
                <a:pos x="connsiteX58470" y="connsiteY58470"/>
              </a:cxn>
              <a:cxn ang="0">
                <a:pos x="connsiteX58471" y="connsiteY58471"/>
              </a:cxn>
              <a:cxn ang="0">
                <a:pos x="connsiteX58472" y="connsiteY58472"/>
              </a:cxn>
              <a:cxn ang="0">
                <a:pos x="connsiteX58473" y="connsiteY58473"/>
              </a:cxn>
              <a:cxn ang="0">
                <a:pos x="connsiteX58474" y="connsiteY58474"/>
              </a:cxn>
              <a:cxn ang="0">
                <a:pos x="connsiteX58475" y="connsiteY58475"/>
              </a:cxn>
              <a:cxn ang="0">
                <a:pos x="connsiteX58476" y="connsiteY58476"/>
              </a:cxn>
              <a:cxn ang="0">
                <a:pos x="connsiteX58477" y="connsiteY58477"/>
              </a:cxn>
              <a:cxn ang="0">
                <a:pos x="connsiteX58478" y="connsiteY58478"/>
              </a:cxn>
              <a:cxn ang="0">
                <a:pos x="connsiteX58479" y="connsiteY58479"/>
              </a:cxn>
              <a:cxn ang="0">
                <a:pos x="connsiteX58480" y="connsiteY58480"/>
              </a:cxn>
              <a:cxn ang="0">
                <a:pos x="connsiteX58481" y="connsiteY58481"/>
              </a:cxn>
              <a:cxn ang="0">
                <a:pos x="connsiteX58482" y="connsiteY58482"/>
              </a:cxn>
              <a:cxn ang="0">
                <a:pos x="connsiteX58483" y="connsiteY58483"/>
              </a:cxn>
              <a:cxn ang="0">
                <a:pos x="connsiteX58484" y="connsiteY58484"/>
              </a:cxn>
              <a:cxn ang="0">
                <a:pos x="connsiteX58485" y="connsiteY58485"/>
              </a:cxn>
              <a:cxn ang="0">
                <a:pos x="connsiteX58486" y="connsiteY58486"/>
              </a:cxn>
              <a:cxn ang="0">
                <a:pos x="connsiteX58487" y="connsiteY58487"/>
              </a:cxn>
              <a:cxn ang="0">
                <a:pos x="connsiteX58488" y="connsiteY58488"/>
              </a:cxn>
              <a:cxn ang="0">
                <a:pos x="connsiteX58489" y="connsiteY58489"/>
              </a:cxn>
              <a:cxn ang="0">
                <a:pos x="connsiteX58490" y="connsiteY58490"/>
              </a:cxn>
              <a:cxn ang="0">
                <a:pos x="connsiteX58491" y="connsiteY58491"/>
              </a:cxn>
              <a:cxn ang="0">
                <a:pos x="connsiteX58492" y="connsiteY58492"/>
              </a:cxn>
              <a:cxn ang="0">
                <a:pos x="connsiteX58493" y="connsiteY58493"/>
              </a:cxn>
              <a:cxn ang="0">
                <a:pos x="connsiteX58494" y="connsiteY58494"/>
              </a:cxn>
              <a:cxn ang="0">
                <a:pos x="connsiteX58495" y="connsiteY58495"/>
              </a:cxn>
              <a:cxn ang="0">
                <a:pos x="connsiteX58496" y="connsiteY58496"/>
              </a:cxn>
              <a:cxn ang="0">
                <a:pos x="connsiteX58497" y="connsiteY58497"/>
              </a:cxn>
              <a:cxn ang="0">
                <a:pos x="connsiteX58498" y="connsiteY58498"/>
              </a:cxn>
              <a:cxn ang="0">
                <a:pos x="connsiteX58499" y="connsiteY58499"/>
              </a:cxn>
              <a:cxn ang="0">
                <a:pos x="connsiteX58500" y="connsiteY58500"/>
              </a:cxn>
              <a:cxn ang="0">
                <a:pos x="connsiteX58501" y="connsiteY58501"/>
              </a:cxn>
              <a:cxn ang="0">
                <a:pos x="connsiteX58502" y="connsiteY58502"/>
              </a:cxn>
              <a:cxn ang="0">
                <a:pos x="connsiteX58503" y="connsiteY58503"/>
              </a:cxn>
              <a:cxn ang="0">
                <a:pos x="connsiteX58504" y="connsiteY58504"/>
              </a:cxn>
              <a:cxn ang="0">
                <a:pos x="connsiteX58505" y="connsiteY58505"/>
              </a:cxn>
              <a:cxn ang="0">
                <a:pos x="connsiteX58506" y="connsiteY58506"/>
              </a:cxn>
              <a:cxn ang="0">
                <a:pos x="connsiteX58507" y="connsiteY58507"/>
              </a:cxn>
              <a:cxn ang="0">
                <a:pos x="connsiteX58508" y="connsiteY58508"/>
              </a:cxn>
              <a:cxn ang="0">
                <a:pos x="connsiteX58509" y="connsiteY58509"/>
              </a:cxn>
              <a:cxn ang="0">
                <a:pos x="connsiteX58510" y="connsiteY58510"/>
              </a:cxn>
              <a:cxn ang="0">
                <a:pos x="connsiteX58511" y="connsiteY58511"/>
              </a:cxn>
              <a:cxn ang="0">
                <a:pos x="connsiteX58512" y="connsiteY58512"/>
              </a:cxn>
              <a:cxn ang="0">
                <a:pos x="connsiteX58513" y="connsiteY58513"/>
              </a:cxn>
              <a:cxn ang="0">
                <a:pos x="connsiteX58514" y="connsiteY58514"/>
              </a:cxn>
              <a:cxn ang="0">
                <a:pos x="connsiteX58515" y="connsiteY58515"/>
              </a:cxn>
              <a:cxn ang="0">
                <a:pos x="connsiteX58516" y="connsiteY58516"/>
              </a:cxn>
              <a:cxn ang="0">
                <a:pos x="connsiteX58517" y="connsiteY58517"/>
              </a:cxn>
              <a:cxn ang="0">
                <a:pos x="connsiteX58518" y="connsiteY58518"/>
              </a:cxn>
              <a:cxn ang="0">
                <a:pos x="connsiteX58519" y="connsiteY58519"/>
              </a:cxn>
              <a:cxn ang="0">
                <a:pos x="connsiteX58520" y="connsiteY58520"/>
              </a:cxn>
              <a:cxn ang="0">
                <a:pos x="connsiteX58521" y="connsiteY58521"/>
              </a:cxn>
              <a:cxn ang="0">
                <a:pos x="connsiteX58522" y="connsiteY58522"/>
              </a:cxn>
              <a:cxn ang="0">
                <a:pos x="connsiteX58523" y="connsiteY58523"/>
              </a:cxn>
              <a:cxn ang="0">
                <a:pos x="connsiteX58524" y="connsiteY58524"/>
              </a:cxn>
              <a:cxn ang="0">
                <a:pos x="connsiteX58525" y="connsiteY58525"/>
              </a:cxn>
              <a:cxn ang="0">
                <a:pos x="connsiteX58526" y="connsiteY58526"/>
              </a:cxn>
              <a:cxn ang="0">
                <a:pos x="connsiteX58527" y="connsiteY58527"/>
              </a:cxn>
              <a:cxn ang="0">
                <a:pos x="connsiteX58528" y="connsiteY58528"/>
              </a:cxn>
              <a:cxn ang="0">
                <a:pos x="connsiteX58529" y="connsiteY58529"/>
              </a:cxn>
              <a:cxn ang="0">
                <a:pos x="connsiteX58530" y="connsiteY58530"/>
              </a:cxn>
              <a:cxn ang="0">
                <a:pos x="connsiteX58531" y="connsiteY58531"/>
              </a:cxn>
              <a:cxn ang="0">
                <a:pos x="connsiteX58532" y="connsiteY58532"/>
              </a:cxn>
              <a:cxn ang="0">
                <a:pos x="connsiteX58533" y="connsiteY58533"/>
              </a:cxn>
              <a:cxn ang="0">
                <a:pos x="connsiteX58534" y="connsiteY58534"/>
              </a:cxn>
              <a:cxn ang="0">
                <a:pos x="connsiteX58535" y="connsiteY58535"/>
              </a:cxn>
              <a:cxn ang="0">
                <a:pos x="connsiteX58536" y="connsiteY58536"/>
              </a:cxn>
              <a:cxn ang="0">
                <a:pos x="connsiteX58537" y="connsiteY58537"/>
              </a:cxn>
              <a:cxn ang="0">
                <a:pos x="connsiteX58538" y="connsiteY58538"/>
              </a:cxn>
              <a:cxn ang="0">
                <a:pos x="connsiteX58539" y="connsiteY58539"/>
              </a:cxn>
              <a:cxn ang="0">
                <a:pos x="connsiteX58540" y="connsiteY58540"/>
              </a:cxn>
              <a:cxn ang="0">
                <a:pos x="connsiteX58541" y="connsiteY58541"/>
              </a:cxn>
              <a:cxn ang="0">
                <a:pos x="connsiteX58542" y="connsiteY58542"/>
              </a:cxn>
              <a:cxn ang="0">
                <a:pos x="connsiteX58543" y="connsiteY58543"/>
              </a:cxn>
              <a:cxn ang="0">
                <a:pos x="connsiteX58544" y="connsiteY58544"/>
              </a:cxn>
              <a:cxn ang="0">
                <a:pos x="connsiteX58545" y="connsiteY58545"/>
              </a:cxn>
              <a:cxn ang="0">
                <a:pos x="connsiteX58546" y="connsiteY58546"/>
              </a:cxn>
              <a:cxn ang="0">
                <a:pos x="connsiteX58547" y="connsiteY58547"/>
              </a:cxn>
              <a:cxn ang="0">
                <a:pos x="connsiteX58548" y="connsiteY58548"/>
              </a:cxn>
              <a:cxn ang="0">
                <a:pos x="connsiteX58549" y="connsiteY58549"/>
              </a:cxn>
              <a:cxn ang="0">
                <a:pos x="connsiteX58550" y="connsiteY58550"/>
              </a:cxn>
              <a:cxn ang="0">
                <a:pos x="connsiteX58551" y="connsiteY58551"/>
              </a:cxn>
              <a:cxn ang="0">
                <a:pos x="connsiteX58552" y="connsiteY58552"/>
              </a:cxn>
              <a:cxn ang="0">
                <a:pos x="connsiteX58553" y="connsiteY58553"/>
              </a:cxn>
              <a:cxn ang="0">
                <a:pos x="connsiteX58554" y="connsiteY58554"/>
              </a:cxn>
              <a:cxn ang="0">
                <a:pos x="connsiteX58555" y="connsiteY58555"/>
              </a:cxn>
              <a:cxn ang="0">
                <a:pos x="connsiteX58556" y="connsiteY58556"/>
              </a:cxn>
              <a:cxn ang="0">
                <a:pos x="connsiteX58557" y="connsiteY58557"/>
              </a:cxn>
              <a:cxn ang="0">
                <a:pos x="connsiteX58558" y="connsiteY58558"/>
              </a:cxn>
              <a:cxn ang="0">
                <a:pos x="connsiteX58559" y="connsiteY58559"/>
              </a:cxn>
              <a:cxn ang="0">
                <a:pos x="connsiteX58560" y="connsiteY58560"/>
              </a:cxn>
              <a:cxn ang="0">
                <a:pos x="connsiteX58561" y="connsiteY58561"/>
              </a:cxn>
              <a:cxn ang="0">
                <a:pos x="connsiteX58562" y="connsiteY58562"/>
              </a:cxn>
              <a:cxn ang="0">
                <a:pos x="connsiteX58563" y="connsiteY58563"/>
              </a:cxn>
              <a:cxn ang="0">
                <a:pos x="connsiteX58564" y="connsiteY58564"/>
              </a:cxn>
              <a:cxn ang="0">
                <a:pos x="connsiteX58565" y="connsiteY58565"/>
              </a:cxn>
              <a:cxn ang="0">
                <a:pos x="connsiteX58566" y="connsiteY58566"/>
              </a:cxn>
              <a:cxn ang="0">
                <a:pos x="connsiteX58567" y="connsiteY58567"/>
              </a:cxn>
              <a:cxn ang="0">
                <a:pos x="connsiteX58568" y="connsiteY58568"/>
              </a:cxn>
              <a:cxn ang="0">
                <a:pos x="connsiteX58569" y="connsiteY58569"/>
              </a:cxn>
              <a:cxn ang="0">
                <a:pos x="connsiteX58570" y="connsiteY58570"/>
              </a:cxn>
              <a:cxn ang="0">
                <a:pos x="connsiteX58571" y="connsiteY58571"/>
              </a:cxn>
              <a:cxn ang="0">
                <a:pos x="connsiteX58572" y="connsiteY58572"/>
              </a:cxn>
              <a:cxn ang="0">
                <a:pos x="connsiteX58573" y="connsiteY58573"/>
              </a:cxn>
              <a:cxn ang="0">
                <a:pos x="connsiteX58574" y="connsiteY58574"/>
              </a:cxn>
              <a:cxn ang="0">
                <a:pos x="connsiteX58575" y="connsiteY58575"/>
              </a:cxn>
              <a:cxn ang="0">
                <a:pos x="connsiteX58576" y="connsiteY58576"/>
              </a:cxn>
              <a:cxn ang="0">
                <a:pos x="connsiteX58577" y="connsiteY58577"/>
              </a:cxn>
              <a:cxn ang="0">
                <a:pos x="connsiteX58578" y="connsiteY58578"/>
              </a:cxn>
              <a:cxn ang="0">
                <a:pos x="connsiteX58579" y="connsiteY58579"/>
              </a:cxn>
              <a:cxn ang="0">
                <a:pos x="connsiteX58580" y="connsiteY58580"/>
              </a:cxn>
              <a:cxn ang="0">
                <a:pos x="connsiteX58581" y="connsiteY58581"/>
              </a:cxn>
              <a:cxn ang="0">
                <a:pos x="connsiteX58582" y="connsiteY58582"/>
              </a:cxn>
              <a:cxn ang="0">
                <a:pos x="connsiteX58583" y="connsiteY58583"/>
              </a:cxn>
              <a:cxn ang="0">
                <a:pos x="connsiteX58584" y="connsiteY58584"/>
              </a:cxn>
              <a:cxn ang="0">
                <a:pos x="connsiteX58585" y="connsiteY58585"/>
              </a:cxn>
              <a:cxn ang="0">
                <a:pos x="connsiteX58586" y="connsiteY58586"/>
              </a:cxn>
              <a:cxn ang="0">
                <a:pos x="connsiteX58587" y="connsiteY58587"/>
              </a:cxn>
              <a:cxn ang="0">
                <a:pos x="connsiteX58588" y="connsiteY58588"/>
              </a:cxn>
              <a:cxn ang="0">
                <a:pos x="connsiteX58589" y="connsiteY58589"/>
              </a:cxn>
              <a:cxn ang="0">
                <a:pos x="connsiteX58590" y="connsiteY58590"/>
              </a:cxn>
              <a:cxn ang="0">
                <a:pos x="connsiteX58591" y="connsiteY58591"/>
              </a:cxn>
              <a:cxn ang="0">
                <a:pos x="connsiteX58592" y="connsiteY58592"/>
              </a:cxn>
              <a:cxn ang="0">
                <a:pos x="connsiteX58593" y="connsiteY58593"/>
              </a:cxn>
              <a:cxn ang="0">
                <a:pos x="connsiteX58594" y="connsiteY58594"/>
              </a:cxn>
              <a:cxn ang="0">
                <a:pos x="connsiteX58595" y="connsiteY58595"/>
              </a:cxn>
              <a:cxn ang="0">
                <a:pos x="connsiteX58596" y="connsiteY58596"/>
              </a:cxn>
              <a:cxn ang="0">
                <a:pos x="connsiteX58597" y="connsiteY58597"/>
              </a:cxn>
              <a:cxn ang="0">
                <a:pos x="connsiteX58598" y="connsiteY58598"/>
              </a:cxn>
              <a:cxn ang="0">
                <a:pos x="connsiteX58599" y="connsiteY58599"/>
              </a:cxn>
              <a:cxn ang="0">
                <a:pos x="connsiteX58600" y="connsiteY58600"/>
              </a:cxn>
              <a:cxn ang="0">
                <a:pos x="connsiteX58601" y="connsiteY58601"/>
              </a:cxn>
              <a:cxn ang="0">
                <a:pos x="connsiteX58602" y="connsiteY58602"/>
              </a:cxn>
              <a:cxn ang="0">
                <a:pos x="connsiteX58603" y="connsiteY58603"/>
              </a:cxn>
              <a:cxn ang="0">
                <a:pos x="connsiteX58604" y="connsiteY58604"/>
              </a:cxn>
              <a:cxn ang="0">
                <a:pos x="connsiteX58605" y="connsiteY58605"/>
              </a:cxn>
              <a:cxn ang="0">
                <a:pos x="connsiteX58606" y="connsiteY58606"/>
              </a:cxn>
              <a:cxn ang="0">
                <a:pos x="connsiteX58607" y="connsiteY58607"/>
              </a:cxn>
              <a:cxn ang="0">
                <a:pos x="connsiteX58608" y="connsiteY58608"/>
              </a:cxn>
              <a:cxn ang="0">
                <a:pos x="connsiteX58609" y="connsiteY58609"/>
              </a:cxn>
              <a:cxn ang="0">
                <a:pos x="connsiteX58610" y="connsiteY58610"/>
              </a:cxn>
              <a:cxn ang="0">
                <a:pos x="connsiteX58611" y="connsiteY58611"/>
              </a:cxn>
              <a:cxn ang="0">
                <a:pos x="connsiteX58612" y="connsiteY58612"/>
              </a:cxn>
              <a:cxn ang="0">
                <a:pos x="connsiteX58613" y="connsiteY58613"/>
              </a:cxn>
              <a:cxn ang="0">
                <a:pos x="connsiteX58614" y="connsiteY58614"/>
              </a:cxn>
              <a:cxn ang="0">
                <a:pos x="connsiteX58615" y="connsiteY58615"/>
              </a:cxn>
              <a:cxn ang="0">
                <a:pos x="connsiteX58616" y="connsiteY58616"/>
              </a:cxn>
              <a:cxn ang="0">
                <a:pos x="connsiteX58617" y="connsiteY58617"/>
              </a:cxn>
              <a:cxn ang="0">
                <a:pos x="connsiteX58618" y="connsiteY58618"/>
              </a:cxn>
              <a:cxn ang="0">
                <a:pos x="connsiteX58619" y="connsiteY58619"/>
              </a:cxn>
              <a:cxn ang="0">
                <a:pos x="connsiteX58620" y="connsiteY58620"/>
              </a:cxn>
              <a:cxn ang="0">
                <a:pos x="connsiteX58621" y="connsiteY58621"/>
              </a:cxn>
              <a:cxn ang="0">
                <a:pos x="connsiteX58622" y="connsiteY58622"/>
              </a:cxn>
              <a:cxn ang="0">
                <a:pos x="connsiteX58623" y="connsiteY58623"/>
              </a:cxn>
              <a:cxn ang="0">
                <a:pos x="connsiteX58624" y="connsiteY58624"/>
              </a:cxn>
              <a:cxn ang="0">
                <a:pos x="connsiteX58625" y="connsiteY58625"/>
              </a:cxn>
              <a:cxn ang="0">
                <a:pos x="connsiteX58626" y="connsiteY58626"/>
              </a:cxn>
              <a:cxn ang="0">
                <a:pos x="connsiteX58627" y="connsiteY58627"/>
              </a:cxn>
              <a:cxn ang="0">
                <a:pos x="connsiteX58628" y="connsiteY58628"/>
              </a:cxn>
              <a:cxn ang="0">
                <a:pos x="connsiteX58629" y="connsiteY58629"/>
              </a:cxn>
              <a:cxn ang="0">
                <a:pos x="connsiteX58630" y="connsiteY58630"/>
              </a:cxn>
              <a:cxn ang="0">
                <a:pos x="connsiteX58631" y="connsiteY58631"/>
              </a:cxn>
              <a:cxn ang="0">
                <a:pos x="connsiteX58632" y="connsiteY58632"/>
              </a:cxn>
              <a:cxn ang="0">
                <a:pos x="connsiteX58633" y="connsiteY58633"/>
              </a:cxn>
              <a:cxn ang="0">
                <a:pos x="connsiteX58634" y="connsiteY58634"/>
              </a:cxn>
              <a:cxn ang="0">
                <a:pos x="connsiteX58635" y="connsiteY58635"/>
              </a:cxn>
              <a:cxn ang="0">
                <a:pos x="connsiteX58636" y="connsiteY58636"/>
              </a:cxn>
              <a:cxn ang="0">
                <a:pos x="connsiteX58637" y="connsiteY58637"/>
              </a:cxn>
              <a:cxn ang="0">
                <a:pos x="connsiteX58638" y="connsiteY58638"/>
              </a:cxn>
              <a:cxn ang="0">
                <a:pos x="connsiteX58639" y="connsiteY58639"/>
              </a:cxn>
              <a:cxn ang="0">
                <a:pos x="connsiteX58640" y="connsiteY58640"/>
              </a:cxn>
              <a:cxn ang="0">
                <a:pos x="connsiteX58641" y="connsiteY58641"/>
              </a:cxn>
              <a:cxn ang="0">
                <a:pos x="connsiteX58642" y="connsiteY58642"/>
              </a:cxn>
              <a:cxn ang="0">
                <a:pos x="connsiteX58643" y="connsiteY58643"/>
              </a:cxn>
              <a:cxn ang="0">
                <a:pos x="connsiteX58644" y="connsiteY58644"/>
              </a:cxn>
              <a:cxn ang="0">
                <a:pos x="connsiteX58645" y="connsiteY58645"/>
              </a:cxn>
              <a:cxn ang="0">
                <a:pos x="connsiteX58646" y="connsiteY58646"/>
              </a:cxn>
              <a:cxn ang="0">
                <a:pos x="connsiteX58647" y="connsiteY58647"/>
              </a:cxn>
              <a:cxn ang="0">
                <a:pos x="connsiteX58648" y="connsiteY58648"/>
              </a:cxn>
              <a:cxn ang="0">
                <a:pos x="connsiteX58649" y="connsiteY58649"/>
              </a:cxn>
              <a:cxn ang="0">
                <a:pos x="connsiteX58650" y="connsiteY58650"/>
              </a:cxn>
              <a:cxn ang="0">
                <a:pos x="connsiteX58651" y="connsiteY58651"/>
              </a:cxn>
              <a:cxn ang="0">
                <a:pos x="connsiteX58652" y="connsiteY58652"/>
              </a:cxn>
              <a:cxn ang="0">
                <a:pos x="connsiteX58653" y="connsiteY58653"/>
              </a:cxn>
              <a:cxn ang="0">
                <a:pos x="connsiteX58654" y="connsiteY58654"/>
              </a:cxn>
              <a:cxn ang="0">
                <a:pos x="connsiteX58655" y="connsiteY58655"/>
              </a:cxn>
              <a:cxn ang="0">
                <a:pos x="connsiteX58656" y="connsiteY58656"/>
              </a:cxn>
              <a:cxn ang="0">
                <a:pos x="connsiteX58657" y="connsiteY58657"/>
              </a:cxn>
              <a:cxn ang="0">
                <a:pos x="connsiteX58658" y="connsiteY58658"/>
              </a:cxn>
              <a:cxn ang="0">
                <a:pos x="connsiteX58659" y="connsiteY58659"/>
              </a:cxn>
              <a:cxn ang="0">
                <a:pos x="connsiteX58660" y="connsiteY58660"/>
              </a:cxn>
              <a:cxn ang="0">
                <a:pos x="connsiteX58661" y="connsiteY58661"/>
              </a:cxn>
              <a:cxn ang="0">
                <a:pos x="connsiteX58662" y="connsiteY58662"/>
              </a:cxn>
              <a:cxn ang="0">
                <a:pos x="connsiteX58663" y="connsiteY58663"/>
              </a:cxn>
              <a:cxn ang="0">
                <a:pos x="connsiteX58664" y="connsiteY58664"/>
              </a:cxn>
              <a:cxn ang="0">
                <a:pos x="connsiteX58665" y="connsiteY58665"/>
              </a:cxn>
              <a:cxn ang="0">
                <a:pos x="connsiteX58666" y="connsiteY58666"/>
              </a:cxn>
              <a:cxn ang="0">
                <a:pos x="connsiteX58667" y="connsiteY58667"/>
              </a:cxn>
              <a:cxn ang="0">
                <a:pos x="connsiteX58668" y="connsiteY58668"/>
              </a:cxn>
              <a:cxn ang="0">
                <a:pos x="connsiteX58669" y="connsiteY58669"/>
              </a:cxn>
              <a:cxn ang="0">
                <a:pos x="connsiteX58670" y="connsiteY58670"/>
              </a:cxn>
              <a:cxn ang="0">
                <a:pos x="connsiteX58671" y="connsiteY58671"/>
              </a:cxn>
              <a:cxn ang="0">
                <a:pos x="connsiteX58672" y="connsiteY58672"/>
              </a:cxn>
              <a:cxn ang="0">
                <a:pos x="connsiteX58673" y="connsiteY58673"/>
              </a:cxn>
              <a:cxn ang="0">
                <a:pos x="connsiteX58674" y="connsiteY58674"/>
              </a:cxn>
              <a:cxn ang="0">
                <a:pos x="connsiteX58675" y="connsiteY58675"/>
              </a:cxn>
              <a:cxn ang="0">
                <a:pos x="connsiteX58676" y="connsiteY58676"/>
              </a:cxn>
              <a:cxn ang="0">
                <a:pos x="connsiteX58677" y="connsiteY58677"/>
              </a:cxn>
              <a:cxn ang="0">
                <a:pos x="connsiteX58678" y="connsiteY58678"/>
              </a:cxn>
              <a:cxn ang="0">
                <a:pos x="connsiteX58679" y="connsiteY58679"/>
              </a:cxn>
              <a:cxn ang="0">
                <a:pos x="connsiteX58680" y="connsiteY58680"/>
              </a:cxn>
              <a:cxn ang="0">
                <a:pos x="connsiteX58681" y="connsiteY58681"/>
              </a:cxn>
              <a:cxn ang="0">
                <a:pos x="connsiteX58682" y="connsiteY58682"/>
              </a:cxn>
              <a:cxn ang="0">
                <a:pos x="connsiteX58683" y="connsiteY58683"/>
              </a:cxn>
              <a:cxn ang="0">
                <a:pos x="connsiteX58684" y="connsiteY58684"/>
              </a:cxn>
              <a:cxn ang="0">
                <a:pos x="connsiteX58685" y="connsiteY58685"/>
              </a:cxn>
              <a:cxn ang="0">
                <a:pos x="connsiteX58686" y="connsiteY58686"/>
              </a:cxn>
              <a:cxn ang="0">
                <a:pos x="connsiteX58687" y="connsiteY58687"/>
              </a:cxn>
              <a:cxn ang="0">
                <a:pos x="connsiteX58688" y="connsiteY58688"/>
              </a:cxn>
              <a:cxn ang="0">
                <a:pos x="connsiteX58689" y="connsiteY58689"/>
              </a:cxn>
              <a:cxn ang="0">
                <a:pos x="connsiteX58690" y="connsiteY58690"/>
              </a:cxn>
              <a:cxn ang="0">
                <a:pos x="connsiteX58691" y="connsiteY58691"/>
              </a:cxn>
              <a:cxn ang="0">
                <a:pos x="connsiteX58692" y="connsiteY58692"/>
              </a:cxn>
              <a:cxn ang="0">
                <a:pos x="connsiteX58693" y="connsiteY58693"/>
              </a:cxn>
              <a:cxn ang="0">
                <a:pos x="connsiteX58694" y="connsiteY58694"/>
              </a:cxn>
              <a:cxn ang="0">
                <a:pos x="connsiteX58695" y="connsiteY58695"/>
              </a:cxn>
              <a:cxn ang="0">
                <a:pos x="connsiteX58696" y="connsiteY58696"/>
              </a:cxn>
              <a:cxn ang="0">
                <a:pos x="connsiteX58697" y="connsiteY58697"/>
              </a:cxn>
              <a:cxn ang="0">
                <a:pos x="connsiteX58698" y="connsiteY58698"/>
              </a:cxn>
              <a:cxn ang="0">
                <a:pos x="connsiteX58699" y="connsiteY58699"/>
              </a:cxn>
              <a:cxn ang="0">
                <a:pos x="connsiteX58700" y="connsiteY58700"/>
              </a:cxn>
              <a:cxn ang="0">
                <a:pos x="connsiteX58701" y="connsiteY58701"/>
              </a:cxn>
              <a:cxn ang="0">
                <a:pos x="connsiteX58702" y="connsiteY58702"/>
              </a:cxn>
              <a:cxn ang="0">
                <a:pos x="connsiteX58703" y="connsiteY58703"/>
              </a:cxn>
              <a:cxn ang="0">
                <a:pos x="connsiteX58704" y="connsiteY58704"/>
              </a:cxn>
              <a:cxn ang="0">
                <a:pos x="connsiteX58705" y="connsiteY58705"/>
              </a:cxn>
              <a:cxn ang="0">
                <a:pos x="connsiteX58706" y="connsiteY58706"/>
              </a:cxn>
              <a:cxn ang="0">
                <a:pos x="connsiteX58707" y="connsiteY58707"/>
              </a:cxn>
              <a:cxn ang="0">
                <a:pos x="connsiteX58708" y="connsiteY58708"/>
              </a:cxn>
              <a:cxn ang="0">
                <a:pos x="connsiteX58709" y="connsiteY58709"/>
              </a:cxn>
              <a:cxn ang="0">
                <a:pos x="connsiteX58710" y="connsiteY58710"/>
              </a:cxn>
              <a:cxn ang="0">
                <a:pos x="connsiteX58711" y="connsiteY58711"/>
              </a:cxn>
              <a:cxn ang="0">
                <a:pos x="connsiteX58712" y="connsiteY58712"/>
              </a:cxn>
              <a:cxn ang="0">
                <a:pos x="connsiteX58713" y="connsiteY58713"/>
              </a:cxn>
              <a:cxn ang="0">
                <a:pos x="connsiteX58714" y="connsiteY58714"/>
              </a:cxn>
              <a:cxn ang="0">
                <a:pos x="connsiteX58715" y="connsiteY58715"/>
              </a:cxn>
              <a:cxn ang="0">
                <a:pos x="connsiteX58716" y="connsiteY58716"/>
              </a:cxn>
              <a:cxn ang="0">
                <a:pos x="connsiteX58717" y="connsiteY58717"/>
              </a:cxn>
              <a:cxn ang="0">
                <a:pos x="connsiteX58718" y="connsiteY58718"/>
              </a:cxn>
              <a:cxn ang="0">
                <a:pos x="connsiteX58719" y="connsiteY58719"/>
              </a:cxn>
              <a:cxn ang="0">
                <a:pos x="connsiteX58720" y="connsiteY58720"/>
              </a:cxn>
              <a:cxn ang="0">
                <a:pos x="connsiteX58721" y="connsiteY58721"/>
              </a:cxn>
              <a:cxn ang="0">
                <a:pos x="connsiteX58722" y="connsiteY58722"/>
              </a:cxn>
              <a:cxn ang="0">
                <a:pos x="connsiteX58723" y="connsiteY58723"/>
              </a:cxn>
              <a:cxn ang="0">
                <a:pos x="connsiteX58724" y="connsiteY58724"/>
              </a:cxn>
              <a:cxn ang="0">
                <a:pos x="connsiteX58725" y="connsiteY58725"/>
              </a:cxn>
              <a:cxn ang="0">
                <a:pos x="connsiteX58726" y="connsiteY58726"/>
              </a:cxn>
              <a:cxn ang="0">
                <a:pos x="connsiteX58727" y="connsiteY58727"/>
              </a:cxn>
              <a:cxn ang="0">
                <a:pos x="connsiteX58728" y="connsiteY58728"/>
              </a:cxn>
              <a:cxn ang="0">
                <a:pos x="connsiteX58729" y="connsiteY58729"/>
              </a:cxn>
              <a:cxn ang="0">
                <a:pos x="connsiteX58730" y="connsiteY58730"/>
              </a:cxn>
              <a:cxn ang="0">
                <a:pos x="connsiteX58731" y="connsiteY58731"/>
              </a:cxn>
              <a:cxn ang="0">
                <a:pos x="connsiteX58732" y="connsiteY58732"/>
              </a:cxn>
              <a:cxn ang="0">
                <a:pos x="connsiteX58733" y="connsiteY58733"/>
              </a:cxn>
              <a:cxn ang="0">
                <a:pos x="connsiteX58734" y="connsiteY58734"/>
              </a:cxn>
              <a:cxn ang="0">
                <a:pos x="connsiteX58735" y="connsiteY58735"/>
              </a:cxn>
              <a:cxn ang="0">
                <a:pos x="connsiteX58736" y="connsiteY58736"/>
              </a:cxn>
              <a:cxn ang="0">
                <a:pos x="connsiteX58737" y="connsiteY58737"/>
              </a:cxn>
              <a:cxn ang="0">
                <a:pos x="connsiteX58738" y="connsiteY58738"/>
              </a:cxn>
              <a:cxn ang="0">
                <a:pos x="connsiteX58739" y="connsiteY58739"/>
              </a:cxn>
              <a:cxn ang="0">
                <a:pos x="connsiteX58740" y="connsiteY58740"/>
              </a:cxn>
              <a:cxn ang="0">
                <a:pos x="connsiteX58741" y="connsiteY58741"/>
              </a:cxn>
              <a:cxn ang="0">
                <a:pos x="connsiteX58742" y="connsiteY58742"/>
              </a:cxn>
              <a:cxn ang="0">
                <a:pos x="connsiteX58743" y="connsiteY58743"/>
              </a:cxn>
              <a:cxn ang="0">
                <a:pos x="connsiteX58744" y="connsiteY58744"/>
              </a:cxn>
              <a:cxn ang="0">
                <a:pos x="connsiteX58745" y="connsiteY58745"/>
              </a:cxn>
              <a:cxn ang="0">
                <a:pos x="connsiteX58746" y="connsiteY58746"/>
              </a:cxn>
              <a:cxn ang="0">
                <a:pos x="connsiteX58747" y="connsiteY58747"/>
              </a:cxn>
              <a:cxn ang="0">
                <a:pos x="connsiteX58748" y="connsiteY58748"/>
              </a:cxn>
              <a:cxn ang="0">
                <a:pos x="connsiteX58749" y="connsiteY58749"/>
              </a:cxn>
              <a:cxn ang="0">
                <a:pos x="connsiteX58750" y="connsiteY58750"/>
              </a:cxn>
              <a:cxn ang="0">
                <a:pos x="connsiteX58751" y="connsiteY58751"/>
              </a:cxn>
              <a:cxn ang="0">
                <a:pos x="connsiteX58752" y="connsiteY58752"/>
              </a:cxn>
              <a:cxn ang="0">
                <a:pos x="connsiteX58753" y="connsiteY58753"/>
              </a:cxn>
              <a:cxn ang="0">
                <a:pos x="connsiteX58754" y="connsiteY58754"/>
              </a:cxn>
              <a:cxn ang="0">
                <a:pos x="connsiteX58755" y="connsiteY58755"/>
              </a:cxn>
              <a:cxn ang="0">
                <a:pos x="connsiteX58756" y="connsiteY58756"/>
              </a:cxn>
              <a:cxn ang="0">
                <a:pos x="connsiteX58757" y="connsiteY58757"/>
              </a:cxn>
              <a:cxn ang="0">
                <a:pos x="connsiteX58758" y="connsiteY58758"/>
              </a:cxn>
              <a:cxn ang="0">
                <a:pos x="connsiteX58759" y="connsiteY58759"/>
              </a:cxn>
              <a:cxn ang="0">
                <a:pos x="connsiteX58760" y="connsiteY58760"/>
              </a:cxn>
              <a:cxn ang="0">
                <a:pos x="connsiteX58761" y="connsiteY58761"/>
              </a:cxn>
              <a:cxn ang="0">
                <a:pos x="connsiteX58762" y="connsiteY58762"/>
              </a:cxn>
              <a:cxn ang="0">
                <a:pos x="connsiteX58763" y="connsiteY58763"/>
              </a:cxn>
              <a:cxn ang="0">
                <a:pos x="connsiteX58764" y="connsiteY58764"/>
              </a:cxn>
              <a:cxn ang="0">
                <a:pos x="connsiteX58765" y="connsiteY58765"/>
              </a:cxn>
              <a:cxn ang="0">
                <a:pos x="connsiteX58766" y="connsiteY58766"/>
              </a:cxn>
              <a:cxn ang="0">
                <a:pos x="connsiteX58767" y="connsiteY58767"/>
              </a:cxn>
              <a:cxn ang="0">
                <a:pos x="connsiteX58768" y="connsiteY58768"/>
              </a:cxn>
              <a:cxn ang="0">
                <a:pos x="connsiteX58769" y="connsiteY58769"/>
              </a:cxn>
              <a:cxn ang="0">
                <a:pos x="connsiteX58770" y="connsiteY58770"/>
              </a:cxn>
              <a:cxn ang="0">
                <a:pos x="connsiteX58771" y="connsiteY58771"/>
              </a:cxn>
              <a:cxn ang="0">
                <a:pos x="connsiteX58772" y="connsiteY58772"/>
              </a:cxn>
              <a:cxn ang="0">
                <a:pos x="connsiteX58773" y="connsiteY58773"/>
              </a:cxn>
              <a:cxn ang="0">
                <a:pos x="connsiteX58774" y="connsiteY58774"/>
              </a:cxn>
              <a:cxn ang="0">
                <a:pos x="connsiteX58775" y="connsiteY58775"/>
              </a:cxn>
              <a:cxn ang="0">
                <a:pos x="connsiteX58776" y="connsiteY58776"/>
              </a:cxn>
              <a:cxn ang="0">
                <a:pos x="connsiteX58777" y="connsiteY58777"/>
              </a:cxn>
              <a:cxn ang="0">
                <a:pos x="connsiteX58778" y="connsiteY58778"/>
              </a:cxn>
              <a:cxn ang="0">
                <a:pos x="connsiteX58779" y="connsiteY58779"/>
              </a:cxn>
              <a:cxn ang="0">
                <a:pos x="connsiteX58780" y="connsiteY58780"/>
              </a:cxn>
              <a:cxn ang="0">
                <a:pos x="connsiteX58781" y="connsiteY58781"/>
              </a:cxn>
              <a:cxn ang="0">
                <a:pos x="connsiteX58782" y="connsiteY58782"/>
              </a:cxn>
              <a:cxn ang="0">
                <a:pos x="connsiteX58783" y="connsiteY58783"/>
              </a:cxn>
              <a:cxn ang="0">
                <a:pos x="connsiteX58784" y="connsiteY58784"/>
              </a:cxn>
              <a:cxn ang="0">
                <a:pos x="connsiteX58785" y="connsiteY58785"/>
              </a:cxn>
              <a:cxn ang="0">
                <a:pos x="connsiteX58786" y="connsiteY58786"/>
              </a:cxn>
              <a:cxn ang="0">
                <a:pos x="connsiteX58787" y="connsiteY58787"/>
              </a:cxn>
              <a:cxn ang="0">
                <a:pos x="connsiteX58788" y="connsiteY58788"/>
              </a:cxn>
              <a:cxn ang="0">
                <a:pos x="connsiteX58789" y="connsiteY58789"/>
              </a:cxn>
              <a:cxn ang="0">
                <a:pos x="connsiteX58790" y="connsiteY58790"/>
              </a:cxn>
              <a:cxn ang="0">
                <a:pos x="connsiteX58791" y="connsiteY58791"/>
              </a:cxn>
              <a:cxn ang="0">
                <a:pos x="connsiteX58792" y="connsiteY58792"/>
              </a:cxn>
              <a:cxn ang="0">
                <a:pos x="connsiteX58793" y="connsiteY58793"/>
              </a:cxn>
              <a:cxn ang="0">
                <a:pos x="connsiteX58794" y="connsiteY58794"/>
              </a:cxn>
              <a:cxn ang="0">
                <a:pos x="connsiteX58795" y="connsiteY58795"/>
              </a:cxn>
              <a:cxn ang="0">
                <a:pos x="connsiteX58796" y="connsiteY58796"/>
              </a:cxn>
              <a:cxn ang="0">
                <a:pos x="connsiteX58797" y="connsiteY58797"/>
              </a:cxn>
              <a:cxn ang="0">
                <a:pos x="connsiteX58798" y="connsiteY58798"/>
              </a:cxn>
              <a:cxn ang="0">
                <a:pos x="connsiteX58799" y="connsiteY58799"/>
              </a:cxn>
              <a:cxn ang="0">
                <a:pos x="connsiteX58800" y="connsiteY58800"/>
              </a:cxn>
              <a:cxn ang="0">
                <a:pos x="connsiteX58801" y="connsiteY58801"/>
              </a:cxn>
              <a:cxn ang="0">
                <a:pos x="connsiteX58802" y="connsiteY58802"/>
              </a:cxn>
              <a:cxn ang="0">
                <a:pos x="connsiteX58803" y="connsiteY58803"/>
              </a:cxn>
              <a:cxn ang="0">
                <a:pos x="connsiteX58804" y="connsiteY58804"/>
              </a:cxn>
              <a:cxn ang="0">
                <a:pos x="connsiteX58805" y="connsiteY58805"/>
              </a:cxn>
              <a:cxn ang="0">
                <a:pos x="connsiteX58806" y="connsiteY58806"/>
              </a:cxn>
              <a:cxn ang="0">
                <a:pos x="connsiteX58807" y="connsiteY58807"/>
              </a:cxn>
              <a:cxn ang="0">
                <a:pos x="connsiteX58808" y="connsiteY58808"/>
              </a:cxn>
              <a:cxn ang="0">
                <a:pos x="connsiteX58809" y="connsiteY58809"/>
              </a:cxn>
              <a:cxn ang="0">
                <a:pos x="connsiteX58810" y="connsiteY58810"/>
              </a:cxn>
              <a:cxn ang="0">
                <a:pos x="connsiteX58811" y="connsiteY58811"/>
              </a:cxn>
              <a:cxn ang="0">
                <a:pos x="connsiteX58812" y="connsiteY58812"/>
              </a:cxn>
              <a:cxn ang="0">
                <a:pos x="connsiteX58813" y="connsiteY58813"/>
              </a:cxn>
              <a:cxn ang="0">
                <a:pos x="connsiteX58814" y="connsiteY58814"/>
              </a:cxn>
              <a:cxn ang="0">
                <a:pos x="connsiteX58815" y="connsiteY58815"/>
              </a:cxn>
              <a:cxn ang="0">
                <a:pos x="connsiteX58816" y="connsiteY58816"/>
              </a:cxn>
              <a:cxn ang="0">
                <a:pos x="connsiteX58817" y="connsiteY58817"/>
              </a:cxn>
              <a:cxn ang="0">
                <a:pos x="connsiteX58818" y="connsiteY58818"/>
              </a:cxn>
              <a:cxn ang="0">
                <a:pos x="connsiteX58819" y="connsiteY58819"/>
              </a:cxn>
              <a:cxn ang="0">
                <a:pos x="connsiteX58820" y="connsiteY58820"/>
              </a:cxn>
              <a:cxn ang="0">
                <a:pos x="connsiteX58821" y="connsiteY58821"/>
              </a:cxn>
              <a:cxn ang="0">
                <a:pos x="connsiteX58822" y="connsiteY58822"/>
              </a:cxn>
              <a:cxn ang="0">
                <a:pos x="connsiteX58823" y="connsiteY58823"/>
              </a:cxn>
              <a:cxn ang="0">
                <a:pos x="connsiteX58824" y="connsiteY58824"/>
              </a:cxn>
              <a:cxn ang="0">
                <a:pos x="connsiteX58825" y="connsiteY58825"/>
              </a:cxn>
              <a:cxn ang="0">
                <a:pos x="connsiteX58826" y="connsiteY58826"/>
              </a:cxn>
              <a:cxn ang="0">
                <a:pos x="connsiteX58827" y="connsiteY58827"/>
              </a:cxn>
              <a:cxn ang="0">
                <a:pos x="connsiteX58828" y="connsiteY58828"/>
              </a:cxn>
              <a:cxn ang="0">
                <a:pos x="connsiteX58829" y="connsiteY58829"/>
              </a:cxn>
              <a:cxn ang="0">
                <a:pos x="connsiteX58830" y="connsiteY58830"/>
              </a:cxn>
              <a:cxn ang="0">
                <a:pos x="connsiteX58831" y="connsiteY58831"/>
              </a:cxn>
              <a:cxn ang="0">
                <a:pos x="connsiteX58832" y="connsiteY58832"/>
              </a:cxn>
              <a:cxn ang="0">
                <a:pos x="connsiteX58833" y="connsiteY58833"/>
              </a:cxn>
              <a:cxn ang="0">
                <a:pos x="connsiteX58834" y="connsiteY58834"/>
              </a:cxn>
              <a:cxn ang="0">
                <a:pos x="connsiteX58835" y="connsiteY58835"/>
              </a:cxn>
              <a:cxn ang="0">
                <a:pos x="connsiteX58836" y="connsiteY58836"/>
              </a:cxn>
              <a:cxn ang="0">
                <a:pos x="connsiteX58837" y="connsiteY58837"/>
              </a:cxn>
              <a:cxn ang="0">
                <a:pos x="connsiteX58838" y="connsiteY58838"/>
              </a:cxn>
              <a:cxn ang="0">
                <a:pos x="connsiteX58839" y="connsiteY58839"/>
              </a:cxn>
              <a:cxn ang="0">
                <a:pos x="connsiteX58840" y="connsiteY58840"/>
              </a:cxn>
              <a:cxn ang="0">
                <a:pos x="connsiteX58841" y="connsiteY58841"/>
              </a:cxn>
              <a:cxn ang="0">
                <a:pos x="connsiteX58842" y="connsiteY58842"/>
              </a:cxn>
              <a:cxn ang="0">
                <a:pos x="connsiteX58843" y="connsiteY58843"/>
              </a:cxn>
              <a:cxn ang="0">
                <a:pos x="connsiteX58844" y="connsiteY58844"/>
              </a:cxn>
              <a:cxn ang="0">
                <a:pos x="connsiteX58845" y="connsiteY58845"/>
              </a:cxn>
              <a:cxn ang="0">
                <a:pos x="connsiteX58846" y="connsiteY58846"/>
              </a:cxn>
              <a:cxn ang="0">
                <a:pos x="connsiteX58847" y="connsiteY58847"/>
              </a:cxn>
              <a:cxn ang="0">
                <a:pos x="connsiteX58848" y="connsiteY58848"/>
              </a:cxn>
              <a:cxn ang="0">
                <a:pos x="connsiteX58849" y="connsiteY58849"/>
              </a:cxn>
              <a:cxn ang="0">
                <a:pos x="connsiteX58850" y="connsiteY58850"/>
              </a:cxn>
              <a:cxn ang="0">
                <a:pos x="connsiteX58851" y="connsiteY58851"/>
              </a:cxn>
              <a:cxn ang="0">
                <a:pos x="connsiteX58852" y="connsiteY58852"/>
              </a:cxn>
              <a:cxn ang="0">
                <a:pos x="connsiteX58853" y="connsiteY58853"/>
              </a:cxn>
              <a:cxn ang="0">
                <a:pos x="connsiteX58854" y="connsiteY58854"/>
              </a:cxn>
              <a:cxn ang="0">
                <a:pos x="connsiteX58855" y="connsiteY58855"/>
              </a:cxn>
              <a:cxn ang="0">
                <a:pos x="connsiteX58856" y="connsiteY58856"/>
              </a:cxn>
              <a:cxn ang="0">
                <a:pos x="connsiteX58857" y="connsiteY58857"/>
              </a:cxn>
              <a:cxn ang="0">
                <a:pos x="connsiteX58858" y="connsiteY58858"/>
              </a:cxn>
              <a:cxn ang="0">
                <a:pos x="connsiteX58859" y="connsiteY58859"/>
              </a:cxn>
              <a:cxn ang="0">
                <a:pos x="connsiteX58860" y="connsiteY58860"/>
              </a:cxn>
              <a:cxn ang="0">
                <a:pos x="connsiteX58861" y="connsiteY58861"/>
              </a:cxn>
              <a:cxn ang="0">
                <a:pos x="connsiteX58862" y="connsiteY58862"/>
              </a:cxn>
              <a:cxn ang="0">
                <a:pos x="connsiteX58863" y="connsiteY58863"/>
              </a:cxn>
              <a:cxn ang="0">
                <a:pos x="connsiteX58864" y="connsiteY58864"/>
              </a:cxn>
              <a:cxn ang="0">
                <a:pos x="connsiteX58865" y="connsiteY58865"/>
              </a:cxn>
              <a:cxn ang="0">
                <a:pos x="connsiteX58866" y="connsiteY58866"/>
              </a:cxn>
              <a:cxn ang="0">
                <a:pos x="connsiteX58867" y="connsiteY58867"/>
              </a:cxn>
              <a:cxn ang="0">
                <a:pos x="connsiteX58868" y="connsiteY58868"/>
              </a:cxn>
              <a:cxn ang="0">
                <a:pos x="connsiteX58869" y="connsiteY58869"/>
              </a:cxn>
              <a:cxn ang="0">
                <a:pos x="connsiteX58870" y="connsiteY58870"/>
              </a:cxn>
              <a:cxn ang="0">
                <a:pos x="connsiteX58871" y="connsiteY58871"/>
              </a:cxn>
              <a:cxn ang="0">
                <a:pos x="connsiteX58872" y="connsiteY58872"/>
              </a:cxn>
              <a:cxn ang="0">
                <a:pos x="connsiteX58873" y="connsiteY58873"/>
              </a:cxn>
              <a:cxn ang="0">
                <a:pos x="connsiteX58874" y="connsiteY58874"/>
              </a:cxn>
              <a:cxn ang="0">
                <a:pos x="connsiteX58875" y="connsiteY58875"/>
              </a:cxn>
              <a:cxn ang="0">
                <a:pos x="connsiteX58876" y="connsiteY58876"/>
              </a:cxn>
              <a:cxn ang="0">
                <a:pos x="connsiteX58877" y="connsiteY58877"/>
              </a:cxn>
              <a:cxn ang="0">
                <a:pos x="connsiteX58878" y="connsiteY58878"/>
              </a:cxn>
              <a:cxn ang="0">
                <a:pos x="connsiteX58879" y="connsiteY58879"/>
              </a:cxn>
              <a:cxn ang="0">
                <a:pos x="connsiteX58880" y="connsiteY58880"/>
              </a:cxn>
              <a:cxn ang="0">
                <a:pos x="connsiteX58881" y="connsiteY58881"/>
              </a:cxn>
              <a:cxn ang="0">
                <a:pos x="connsiteX58882" y="connsiteY58882"/>
              </a:cxn>
              <a:cxn ang="0">
                <a:pos x="connsiteX58883" y="connsiteY58883"/>
              </a:cxn>
              <a:cxn ang="0">
                <a:pos x="connsiteX58884" y="connsiteY58884"/>
              </a:cxn>
              <a:cxn ang="0">
                <a:pos x="connsiteX58885" y="connsiteY58885"/>
              </a:cxn>
              <a:cxn ang="0">
                <a:pos x="connsiteX58886" y="connsiteY58886"/>
              </a:cxn>
              <a:cxn ang="0">
                <a:pos x="connsiteX58887" y="connsiteY58887"/>
              </a:cxn>
              <a:cxn ang="0">
                <a:pos x="connsiteX58888" y="connsiteY58888"/>
              </a:cxn>
              <a:cxn ang="0">
                <a:pos x="connsiteX58889" y="connsiteY58889"/>
              </a:cxn>
              <a:cxn ang="0">
                <a:pos x="connsiteX58890" y="connsiteY58890"/>
              </a:cxn>
              <a:cxn ang="0">
                <a:pos x="connsiteX58891" y="connsiteY58891"/>
              </a:cxn>
              <a:cxn ang="0">
                <a:pos x="connsiteX58892" y="connsiteY58892"/>
              </a:cxn>
              <a:cxn ang="0">
                <a:pos x="connsiteX58893" y="connsiteY58893"/>
              </a:cxn>
              <a:cxn ang="0">
                <a:pos x="connsiteX58894" y="connsiteY58894"/>
              </a:cxn>
              <a:cxn ang="0">
                <a:pos x="connsiteX58895" y="connsiteY58895"/>
              </a:cxn>
              <a:cxn ang="0">
                <a:pos x="connsiteX58896" y="connsiteY58896"/>
              </a:cxn>
              <a:cxn ang="0">
                <a:pos x="connsiteX58897" y="connsiteY58897"/>
              </a:cxn>
              <a:cxn ang="0">
                <a:pos x="connsiteX58898" y="connsiteY58898"/>
              </a:cxn>
              <a:cxn ang="0">
                <a:pos x="connsiteX58899" y="connsiteY58899"/>
              </a:cxn>
              <a:cxn ang="0">
                <a:pos x="connsiteX58900" y="connsiteY58900"/>
              </a:cxn>
              <a:cxn ang="0">
                <a:pos x="connsiteX58901" y="connsiteY58901"/>
              </a:cxn>
              <a:cxn ang="0">
                <a:pos x="connsiteX58902" y="connsiteY58902"/>
              </a:cxn>
              <a:cxn ang="0">
                <a:pos x="connsiteX58903" y="connsiteY58903"/>
              </a:cxn>
              <a:cxn ang="0">
                <a:pos x="connsiteX58904" y="connsiteY58904"/>
              </a:cxn>
              <a:cxn ang="0">
                <a:pos x="connsiteX58905" y="connsiteY58905"/>
              </a:cxn>
              <a:cxn ang="0">
                <a:pos x="connsiteX58906" y="connsiteY58906"/>
              </a:cxn>
              <a:cxn ang="0">
                <a:pos x="connsiteX58907" y="connsiteY58907"/>
              </a:cxn>
              <a:cxn ang="0">
                <a:pos x="connsiteX58908" y="connsiteY58908"/>
              </a:cxn>
              <a:cxn ang="0">
                <a:pos x="connsiteX58909" y="connsiteY58909"/>
              </a:cxn>
              <a:cxn ang="0">
                <a:pos x="connsiteX58910" y="connsiteY58910"/>
              </a:cxn>
              <a:cxn ang="0">
                <a:pos x="connsiteX58911" y="connsiteY58911"/>
              </a:cxn>
              <a:cxn ang="0">
                <a:pos x="connsiteX58912" y="connsiteY58912"/>
              </a:cxn>
              <a:cxn ang="0">
                <a:pos x="connsiteX58913" y="connsiteY58913"/>
              </a:cxn>
              <a:cxn ang="0">
                <a:pos x="connsiteX58914" y="connsiteY58914"/>
              </a:cxn>
              <a:cxn ang="0">
                <a:pos x="connsiteX58915" y="connsiteY58915"/>
              </a:cxn>
              <a:cxn ang="0">
                <a:pos x="connsiteX58916" y="connsiteY58916"/>
              </a:cxn>
              <a:cxn ang="0">
                <a:pos x="connsiteX58917" y="connsiteY58917"/>
              </a:cxn>
              <a:cxn ang="0">
                <a:pos x="connsiteX58918" y="connsiteY58918"/>
              </a:cxn>
              <a:cxn ang="0">
                <a:pos x="connsiteX58919" y="connsiteY58919"/>
              </a:cxn>
              <a:cxn ang="0">
                <a:pos x="connsiteX58920" y="connsiteY58920"/>
              </a:cxn>
              <a:cxn ang="0">
                <a:pos x="connsiteX58921" y="connsiteY58921"/>
              </a:cxn>
              <a:cxn ang="0">
                <a:pos x="connsiteX58922" y="connsiteY58922"/>
              </a:cxn>
              <a:cxn ang="0">
                <a:pos x="connsiteX58923" y="connsiteY58923"/>
              </a:cxn>
              <a:cxn ang="0">
                <a:pos x="connsiteX58924" y="connsiteY58924"/>
              </a:cxn>
              <a:cxn ang="0">
                <a:pos x="connsiteX58925" y="connsiteY58925"/>
              </a:cxn>
              <a:cxn ang="0">
                <a:pos x="connsiteX58926" y="connsiteY58926"/>
              </a:cxn>
              <a:cxn ang="0">
                <a:pos x="connsiteX58927" y="connsiteY58927"/>
              </a:cxn>
              <a:cxn ang="0">
                <a:pos x="connsiteX58928" y="connsiteY58928"/>
              </a:cxn>
              <a:cxn ang="0">
                <a:pos x="connsiteX58929" y="connsiteY58929"/>
              </a:cxn>
              <a:cxn ang="0">
                <a:pos x="connsiteX58930" y="connsiteY58930"/>
              </a:cxn>
              <a:cxn ang="0">
                <a:pos x="connsiteX58931" y="connsiteY58931"/>
              </a:cxn>
              <a:cxn ang="0">
                <a:pos x="connsiteX58932" y="connsiteY58932"/>
              </a:cxn>
              <a:cxn ang="0">
                <a:pos x="connsiteX58933" y="connsiteY58933"/>
              </a:cxn>
              <a:cxn ang="0">
                <a:pos x="connsiteX58934" y="connsiteY58934"/>
              </a:cxn>
              <a:cxn ang="0">
                <a:pos x="connsiteX58935" y="connsiteY58935"/>
              </a:cxn>
              <a:cxn ang="0">
                <a:pos x="connsiteX58936" y="connsiteY58936"/>
              </a:cxn>
              <a:cxn ang="0">
                <a:pos x="connsiteX58937" y="connsiteY58937"/>
              </a:cxn>
              <a:cxn ang="0">
                <a:pos x="connsiteX58938" y="connsiteY58938"/>
              </a:cxn>
              <a:cxn ang="0">
                <a:pos x="connsiteX58939" y="connsiteY58939"/>
              </a:cxn>
              <a:cxn ang="0">
                <a:pos x="connsiteX58940" y="connsiteY58940"/>
              </a:cxn>
              <a:cxn ang="0">
                <a:pos x="connsiteX58941" y="connsiteY58941"/>
              </a:cxn>
              <a:cxn ang="0">
                <a:pos x="connsiteX58942" y="connsiteY58942"/>
              </a:cxn>
              <a:cxn ang="0">
                <a:pos x="connsiteX58943" y="connsiteY58943"/>
              </a:cxn>
              <a:cxn ang="0">
                <a:pos x="connsiteX58944" y="connsiteY58944"/>
              </a:cxn>
              <a:cxn ang="0">
                <a:pos x="connsiteX58945" y="connsiteY58945"/>
              </a:cxn>
              <a:cxn ang="0">
                <a:pos x="connsiteX58946" y="connsiteY58946"/>
              </a:cxn>
              <a:cxn ang="0">
                <a:pos x="connsiteX58947" y="connsiteY58947"/>
              </a:cxn>
              <a:cxn ang="0">
                <a:pos x="connsiteX58948" y="connsiteY58948"/>
              </a:cxn>
              <a:cxn ang="0">
                <a:pos x="connsiteX58949" y="connsiteY58949"/>
              </a:cxn>
              <a:cxn ang="0">
                <a:pos x="connsiteX58950" y="connsiteY58950"/>
              </a:cxn>
              <a:cxn ang="0">
                <a:pos x="connsiteX58951" y="connsiteY58951"/>
              </a:cxn>
              <a:cxn ang="0">
                <a:pos x="connsiteX58952" y="connsiteY58952"/>
              </a:cxn>
              <a:cxn ang="0">
                <a:pos x="connsiteX58953" y="connsiteY58953"/>
              </a:cxn>
              <a:cxn ang="0">
                <a:pos x="connsiteX58954" y="connsiteY58954"/>
              </a:cxn>
              <a:cxn ang="0">
                <a:pos x="connsiteX58955" y="connsiteY58955"/>
              </a:cxn>
              <a:cxn ang="0">
                <a:pos x="connsiteX58956" y="connsiteY58956"/>
              </a:cxn>
              <a:cxn ang="0">
                <a:pos x="connsiteX58957" y="connsiteY58957"/>
              </a:cxn>
              <a:cxn ang="0">
                <a:pos x="connsiteX58958" y="connsiteY58958"/>
              </a:cxn>
              <a:cxn ang="0">
                <a:pos x="connsiteX58959" y="connsiteY58959"/>
              </a:cxn>
              <a:cxn ang="0">
                <a:pos x="connsiteX58960" y="connsiteY58960"/>
              </a:cxn>
              <a:cxn ang="0">
                <a:pos x="connsiteX58961" y="connsiteY58961"/>
              </a:cxn>
              <a:cxn ang="0">
                <a:pos x="connsiteX58962" y="connsiteY58962"/>
              </a:cxn>
              <a:cxn ang="0">
                <a:pos x="connsiteX58963" y="connsiteY58963"/>
              </a:cxn>
              <a:cxn ang="0">
                <a:pos x="connsiteX58964" y="connsiteY58964"/>
              </a:cxn>
              <a:cxn ang="0">
                <a:pos x="connsiteX58965" y="connsiteY58965"/>
              </a:cxn>
              <a:cxn ang="0">
                <a:pos x="connsiteX58966" y="connsiteY58966"/>
              </a:cxn>
              <a:cxn ang="0">
                <a:pos x="connsiteX58967" y="connsiteY58967"/>
              </a:cxn>
              <a:cxn ang="0">
                <a:pos x="connsiteX58968" y="connsiteY58968"/>
              </a:cxn>
              <a:cxn ang="0">
                <a:pos x="connsiteX58969" y="connsiteY58969"/>
              </a:cxn>
              <a:cxn ang="0">
                <a:pos x="connsiteX58970" y="connsiteY58970"/>
              </a:cxn>
              <a:cxn ang="0">
                <a:pos x="connsiteX58971" y="connsiteY58971"/>
              </a:cxn>
              <a:cxn ang="0">
                <a:pos x="connsiteX58972" y="connsiteY58972"/>
              </a:cxn>
              <a:cxn ang="0">
                <a:pos x="connsiteX58973" y="connsiteY58973"/>
              </a:cxn>
              <a:cxn ang="0">
                <a:pos x="connsiteX58974" y="connsiteY58974"/>
              </a:cxn>
              <a:cxn ang="0">
                <a:pos x="connsiteX58975" y="connsiteY58975"/>
              </a:cxn>
              <a:cxn ang="0">
                <a:pos x="connsiteX58976" y="connsiteY58976"/>
              </a:cxn>
              <a:cxn ang="0">
                <a:pos x="connsiteX58977" y="connsiteY58977"/>
              </a:cxn>
              <a:cxn ang="0">
                <a:pos x="connsiteX58978" y="connsiteY58978"/>
              </a:cxn>
              <a:cxn ang="0">
                <a:pos x="connsiteX58979" y="connsiteY58979"/>
              </a:cxn>
              <a:cxn ang="0">
                <a:pos x="connsiteX58980" y="connsiteY58980"/>
              </a:cxn>
              <a:cxn ang="0">
                <a:pos x="connsiteX58981" y="connsiteY58981"/>
              </a:cxn>
              <a:cxn ang="0">
                <a:pos x="connsiteX58982" y="connsiteY58982"/>
              </a:cxn>
              <a:cxn ang="0">
                <a:pos x="connsiteX58983" y="connsiteY58983"/>
              </a:cxn>
              <a:cxn ang="0">
                <a:pos x="connsiteX58984" y="connsiteY58984"/>
              </a:cxn>
              <a:cxn ang="0">
                <a:pos x="connsiteX58985" y="connsiteY58985"/>
              </a:cxn>
              <a:cxn ang="0">
                <a:pos x="connsiteX58986" y="connsiteY58986"/>
              </a:cxn>
              <a:cxn ang="0">
                <a:pos x="connsiteX58987" y="connsiteY58987"/>
              </a:cxn>
              <a:cxn ang="0">
                <a:pos x="connsiteX58988" y="connsiteY58988"/>
              </a:cxn>
              <a:cxn ang="0">
                <a:pos x="connsiteX58989" y="connsiteY58989"/>
              </a:cxn>
              <a:cxn ang="0">
                <a:pos x="connsiteX58990" y="connsiteY58990"/>
              </a:cxn>
              <a:cxn ang="0">
                <a:pos x="connsiteX58991" y="connsiteY58991"/>
              </a:cxn>
              <a:cxn ang="0">
                <a:pos x="connsiteX58992" y="connsiteY58992"/>
              </a:cxn>
              <a:cxn ang="0">
                <a:pos x="connsiteX58993" y="connsiteY58993"/>
              </a:cxn>
              <a:cxn ang="0">
                <a:pos x="connsiteX58994" y="connsiteY58994"/>
              </a:cxn>
              <a:cxn ang="0">
                <a:pos x="connsiteX58995" y="connsiteY58995"/>
              </a:cxn>
              <a:cxn ang="0">
                <a:pos x="connsiteX58996" y="connsiteY58996"/>
              </a:cxn>
              <a:cxn ang="0">
                <a:pos x="connsiteX58997" y="connsiteY58997"/>
              </a:cxn>
              <a:cxn ang="0">
                <a:pos x="connsiteX58998" y="connsiteY58998"/>
              </a:cxn>
              <a:cxn ang="0">
                <a:pos x="connsiteX58999" y="connsiteY58999"/>
              </a:cxn>
              <a:cxn ang="0">
                <a:pos x="connsiteX59000" y="connsiteY59000"/>
              </a:cxn>
              <a:cxn ang="0">
                <a:pos x="connsiteX59001" y="connsiteY59001"/>
              </a:cxn>
              <a:cxn ang="0">
                <a:pos x="connsiteX59002" y="connsiteY59002"/>
              </a:cxn>
              <a:cxn ang="0">
                <a:pos x="connsiteX59003" y="connsiteY59003"/>
              </a:cxn>
              <a:cxn ang="0">
                <a:pos x="connsiteX59004" y="connsiteY59004"/>
              </a:cxn>
              <a:cxn ang="0">
                <a:pos x="connsiteX59005" y="connsiteY59005"/>
              </a:cxn>
              <a:cxn ang="0">
                <a:pos x="connsiteX59006" y="connsiteY59006"/>
              </a:cxn>
              <a:cxn ang="0">
                <a:pos x="connsiteX59007" y="connsiteY59007"/>
              </a:cxn>
              <a:cxn ang="0">
                <a:pos x="connsiteX59008" y="connsiteY59008"/>
              </a:cxn>
              <a:cxn ang="0">
                <a:pos x="connsiteX59009" y="connsiteY59009"/>
              </a:cxn>
              <a:cxn ang="0">
                <a:pos x="connsiteX59010" y="connsiteY59010"/>
              </a:cxn>
              <a:cxn ang="0">
                <a:pos x="connsiteX59011" y="connsiteY59011"/>
              </a:cxn>
              <a:cxn ang="0">
                <a:pos x="connsiteX59012" y="connsiteY59012"/>
              </a:cxn>
              <a:cxn ang="0">
                <a:pos x="connsiteX59013" y="connsiteY59013"/>
              </a:cxn>
              <a:cxn ang="0">
                <a:pos x="connsiteX59014" y="connsiteY59014"/>
              </a:cxn>
              <a:cxn ang="0">
                <a:pos x="connsiteX59015" y="connsiteY59015"/>
              </a:cxn>
              <a:cxn ang="0">
                <a:pos x="connsiteX59016" y="connsiteY59016"/>
              </a:cxn>
              <a:cxn ang="0">
                <a:pos x="connsiteX59017" y="connsiteY59017"/>
              </a:cxn>
              <a:cxn ang="0">
                <a:pos x="connsiteX59018" y="connsiteY59018"/>
              </a:cxn>
              <a:cxn ang="0">
                <a:pos x="connsiteX59019" y="connsiteY59019"/>
              </a:cxn>
              <a:cxn ang="0">
                <a:pos x="connsiteX59020" y="connsiteY59020"/>
              </a:cxn>
              <a:cxn ang="0">
                <a:pos x="connsiteX59021" y="connsiteY59021"/>
              </a:cxn>
              <a:cxn ang="0">
                <a:pos x="connsiteX59022" y="connsiteY59022"/>
              </a:cxn>
              <a:cxn ang="0">
                <a:pos x="connsiteX59023" y="connsiteY59023"/>
              </a:cxn>
              <a:cxn ang="0">
                <a:pos x="connsiteX59024" y="connsiteY59024"/>
              </a:cxn>
              <a:cxn ang="0">
                <a:pos x="connsiteX59025" y="connsiteY59025"/>
              </a:cxn>
              <a:cxn ang="0">
                <a:pos x="connsiteX59026" y="connsiteY59026"/>
              </a:cxn>
              <a:cxn ang="0">
                <a:pos x="connsiteX59027" y="connsiteY59027"/>
              </a:cxn>
              <a:cxn ang="0">
                <a:pos x="connsiteX59028" y="connsiteY59028"/>
              </a:cxn>
              <a:cxn ang="0">
                <a:pos x="connsiteX59029" y="connsiteY59029"/>
              </a:cxn>
              <a:cxn ang="0">
                <a:pos x="connsiteX59030" y="connsiteY59030"/>
              </a:cxn>
              <a:cxn ang="0">
                <a:pos x="connsiteX59031" y="connsiteY59031"/>
              </a:cxn>
              <a:cxn ang="0">
                <a:pos x="connsiteX59032" y="connsiteY59032"/>
              </a:cxn>
              <a:cxn ang="0">
                <a:pos x="connsiteX59033" y="connsiteY59033"/>
              </a:cxn>
              <a:cxn ang="0">
                <a:pos x="connsiteX59034" y="connsiteY59034"/>
              </a:cxn>
              <a:cxn ang="0">
                <a:pos x="connsiteX59035" y="connsiteY59035"/>
              </a:cxn>
              <a:cxn ang="0">
                <a:pos x="connsiteX59036" y="connsiteY59036"/>
              </a:cxn>
              <a:cxn ang="0">
                <a:pos x="connsiteX59037" y="connsiteY59037"/>
              </a:cxn>
              <a:cxn ang="0">
                <a:pos x="connsiteX59038" y="connsiteY59038"/>
              </a:cxn>
              <a:cxn ang="0">
                <a:pos x="connsiteX59039" y="connsiteY59039"/>
              </a:cxn>
              <a:cxn ang="0">
                <a:pos x="connsiteX59040" y="connsiteY59040"/>
              </a:cxn>
              <a:cxn ang="0">
                <a:pos x="connsiteX59041" y="connsiteY59041"/>
              </a:cxn>
              <a:cxn ang="0">
                <a:pos x="connsiteX59042" y="connsiteY59042"/>
              </a:cxn>
              <a:cxn ang="0">
                <a:pos x="connsiteX59043" y="connsiteY59043"/>
              </a:cxn>
              <a:cxn ang="0">
                <a:pos x="connsiteX59044" y="connsiteY59044"/>
              </a:cxn>
              <a:cxn ang="0">
                <a:pos x="connsiteX59045" y="connsiteY59045"/>
              </a:cxn>
              <a:cxn ang="0">
                <a:pos x="connsiteX59046" y="connsiteY59046"/>
              </a:cxn>
              <a:cxn ang="0">
                <a:pos x="connsiteX59047" y="connsiteY59047"/>
              </a:cxn>
              <a:cxn ang="0">
                <a:pos x="connsiteX59048" y="connsiteY59048"/>
              </a:cxn>
              <a:cxn ang="0">
                <a:pos x="connsiteX59049" y="connsiteY59049"/>
              </a:cxn>
              <a:cxn ang="0">
                <a:pos x="connsiteX59050" y="connsiteY59050"/>
              </a:cxn>
              <a:cxn ang="0">
                <a:pos x="connsiteX59051" y="connsiteY59051"/>
              </a:cxn>
              <a:cxn ang="0">
                <a:pos x="connsiteX59052" y="connsiteY59052"/>
              </a:cxn>
              <a:cxn ang="0">
                <a:pos x="connsiteX59053" y="connsiteY59053"/>
              </a:cxn>
              <a:cxn ang="0">
                <a:pos x="connsiteX59054" y="connsiteY59054"/>
              </a:cxn>
              <a:cxn ang="0">
                <a:pos x="connsiteX59055" y="connsiteY59055"/>
              </a:cxn>
              <a:cxn ang="0">
                <a:pos x="connsiteX59056" y="connsiteY59056"/>
              </a:cxn>
              <a:cxn ang="0">
                <a:pos x="connsiteX59057" y="connsiteY59057"/>
              </a:cxn>
              <a:cxn ang="0">
                <a:pos x="connsiteX59058" y="connsiteY59058"/>
              </a:cxn>
              <a:cxn ang="0">
                <a:pos x="connsiteX59059" y="connsiteY59059"/>
              </a:cxn>
              <a:cxn ang="0">
                <a:pos x="connsiteX59060" y="connsiteY59060"/>
              </a:cxn>
              <a:cxn ang="0">
                <a:pos x="connsiteX59061" y="connsiteY59061"/>
              </a:cxn>
              <a:cxn ang="0">
                <a:pos x="connsiteX59062" y="connsiteY59062"/>
              </a:cxn>
              <a:cxn ang="0">
                <a:pos x="connsiteX59063" y="connsiteY59063"/>
              </a:cxn>
              <a:cxn ang="0">
                <a:pos x="connsiteX59064" y="connsiteY59064"/>
              </a:cxn>
              <a:cxn ang="0">
                <a:pos x="connsiteX59065" y="connsiteY59065"/>
              </a:cxn>
              <a:cxn ang="0">
                <a:pos x="connsiteX59066" y="connsiteY59066"/>
              </a:cxn>
              <a:cxn ang="0">
                <a:pos x="connsiteX59067" y="connsiteY59067"/>
              </a:cxn>
              <a:cxn ang="0">
                <a:pos x="connsiteX59068" y="connsiteY59068"/>
              </a:cxn>
              <a:cxn ang="0">
                <a:pos x="connsiteX59069" y="connsiteY59069"/>
              </a:cxn>
              <a:cxn ang="0">
                <a:pos x="connsiteX59070" y="connsiteY59070"/>
              </a:cxn>
              <a:cxn ang="0">
                <a:pos x="connsiteX59071" y="connsiteY59071"/>
              </a:cxn>
              <a:cxn ang="0">
                <a:pos x="connsiteX59072" y="connsiteY59072"/>
              </a:cxn>
              <a:cxn ang="0">
                <a:pos x="connsiteX59073" y="connsiteY59073"/>
              </a:cxn>
              <a:cxn ang="0">
                <a:pos x="connsiteX59074" y="connsiteY59074"/>
              </a:cxn>
              <a:cxn ang="0">
                <a:pos x="connsiteX59075" y="connsiteY59075"/>
              </a:cxn>
              <a:cxn ang="0">
                <a:pos x="connsiteX59076" y="connsiteY59076"/>
              </a:cxn>
              <a:cxn ang="0">
                <a:pos x="connsiteX59077" y="connsiteY59077"/>
              </a:cxn>
              <a:cxn ang="0">
                <a:pos x="connsiteX59078" y="connsiteY59078"/>
              </a:cxn>
              <a:cxn ang="0">
                <a:pos x="connsiteX59079" y="connsiteY59079"/>
              </a:cxn>
              <a:cxn ang="0">
                <a:pos x="connsiteX59080" y="connsiteY59080"/>
              </a:cxn>
              <a:cxn ang="0">
                <a:pos x="connsiteX59081" y="connsiteY59081"/>
              </a:cxn>
              <a:cxn ang="0">
                <a:pos x="connsiteX59082" y="connsiteY59082"/>
              </a:cxn>
              <a:cxn ang="0">
                <a:pos x="connsiteX59083" y="connsiteY59083"/>
              </a:cxn>
              <a:cxn ang="0">
                <a:pos x="connsiteX59084" y="connsiteY59084"/>
              </a:cxn>
              <a:cxn ang="0">
                <a:pos x="connsiteX59085" y="connsiteY59085"/>
              </a:cxn>
              <a:cxn ang="0">
                <a:pos x="connsiteX59086" y="connsiteY59086"/>
              </a:cxn>
              <a:cxn ang="0">
                <a:pos x="connsiteX59087" y="connsiteY59087"/>
              </a:cxn>
              <a:cxn ang="0">
                <a:pos x="connsiteX59088" y="connsiteY59088"/>
              </a:cxn>
              <a:cxn ang="0">
                <a:pos x="connsiteX59089" y="connsiteY59089"/>
              </a:cxn>
              <a:cxn ang="0">
                <a:pos x="connsiteX59090" y="connsiteY59090"/>
              </a:cxn>
              <a:cxn ang="0">
                <a:pos x="connsiteX59091" y="connsiteY59091"/>
              </a:cxn>
              <a:cxn ang="0">
                <a:pos x="connsiteX59092" y="connsiteY59092"/>
              </a:cxn>
              <a:cxn ang="0">
                <a:pos x="connsiteX59093" y="connsiteY59093"/>
              </a:cxn>
              <a:cxn ang="0">
                <a:pos x="connsiteX59094" y="connsiteY59094"/>
              </a:cxn>
              <a:cxn ang="0">
                <a:pos x="connsiteX59095" y="connsiteY59095"/>
              </a:cxn>
              <a:cxn ang="0">
                <a:pos x="connsiteX59096" y="connsiteY59096"/>
              </a:cxn>
              <a:cxn ang="0">
                <a:pos x="connsiteX59097" y="connsiteY59097"/>
              </a:cxn>
              <a:cxn ang="0">
                <a:pos x="connsiteX59098" y="connsiteY59098"/>
              </a:cxn>
              <a:cxn ang="0">
                <a:pos x="connsiteX59099" y="connsiteY59099"/>
              </a:cxn>
              <a:cxn ang="0">
                <a:pos x="connsiteX59100" y="connsiteY59100"/>
              </a:cxn>
              <a:cxn ang="0">
                <a:pos x="connsiteX59101" y="connsiteY59101"/>
              </a:cxn>
              <a:cxn ang="0">
                <a:pos x="connsiteX59102" y="connsiteY59102"/>
              </a:cxn>
              <a:cxn ang="0">
                <a:pos x="connsiteX59103" y="connsiteY59103"/>
              </a:cxn>
              <a:cxn ang="0">
                <a:pos x="connsiteX59104" y="connsiteY59104"/>
              </a:cxn>
              <a:cxn ang="0">
                <a:pos x="connsiteX59105" y="connsiteY59105"/>
              </a:cxn>
              <a:cxn ang="0">
                <a:pos x="connsiteX59106" y="connsiteY59106"/>
              </a:cxn>
              <a:cxn ang="0">
                <a:pos x="connsiteX59107" y="connsiteY59107"/>
              </a:cxn>
              <a:cxn ang="0">
                <a:pos x="connsiteX59108" y="connsiteY59108"/>
              </a:cxn>
              <a:cxn ang="0">
                <a:pos x="connsiteX59109" y="connsiteY59109"/>
              </a:cxn>
              <a:cxn ang="0">
                <a:pos x="connsiteX59110" y="connsiteY59110"/>
              </a:cxn>
              <a:cxn ang="0">
                <a:pos x="connsiteX59111" y="connsiteY59111"/>
              </a:cxn>
              <a:cxn ang="0">
                <a:pos x="connsiteX59112" y="connsiteY59112"/>
              </a:cxn>
              <a:cxn ang="0">
                <a:pos x="connsiteX59113" y="connsiteY59113"/>
              </a:cxn>
              <a:cxn ang="0">
                <a:pos x="connsiteX59114" y="connsiteY59114"/>
              </a:cxn>
              <a:cxn ang="0">
                <a:pos x="connsiteX59115" y="connsiteY59115"/>
              </a:cxn>
              <a:cxn ang="0">
                <a:pos x="connsiteX59116" y="connsiteY59116"/>
              </a:cxn>
              <a:cxn ang="0">
                <a:pos x="connsiteX59117" y="connsiteY59117"/>
              </a:cxn>
              <a:cxn ang="0">
                <a:pos x="connsiteX59118" y="connsiteY59118"/>
              </a:cxn>
              <a:cxn ang="0">
                <a:pos x="connsiteX59119" y="connsiteY59119"/>
              </a:cxn>
              <a:cxn ang="0">
                <a:pos x="connsiteX59120" y="connsiteY59120"/>
              </a:cxn>
              <a:cxn ang="0">
                <a:pos x="connsiteX59121" y="connsiteY59121"/>
              </a:cxn>
              <a:cxn ang="0">
                <a:pos x="connsiteX59122" y="connsiteY59122"/>
              </a:cxn>
              <a:cxn ang="0">
                <a:pos x="connsiteX59123" y="connsiteY59123"/>
              </a:cxn>
              <a:cxn ang="0">
                <a:pos x="connsiteX59124" y="connsiteY59124"/>
              </a:cxn>
              <a:cxn ang="0">
                <a:pos x="connsiteX59125" y="connsiteY59125"/>
              </a:cxn>
              <a:cxn ang="0">
                <a:pos x="connsiteX59126" y="connsiteY59126"/>
              </a:cxn>
              <a:cxn ang="0">
                <a:pos x="connsiteX59127" y="connsiteY59127"/>
              </a:cxn>
              <a:cxn ang="0">
                <a:pos x="connsiteX59128" y="connsiteY59128"/>
              </a:cxn>
              <a:cxn ang="0">
                <a:pos x="connsiteX59129" y="connsiteY59129"/>
              </a:cxn>
              <a:cxn ang="0">
                <a:pos x="connsiteX59130" y="connsiteY59130"/>
              </a:cxn>
              <a:cxn ang="0">
                <a:pos x="connsiteX59131" y="connsiteY59131"/>
              </a:cxn>
              <a:cxn ang="0">
                <a:pos x="connsiteX59132" y="connsiteY59132"/>
              </a:cxn>
              <a:cxn ang="0">
                <a:pos x="connsiteX59133" y="connsiteY59133"/>
              </a:cxn>
              <a:cxn ang="0">
                <a:pos x="connsiteX59134" y="connsiteY59134"/>
              </a:cxn>
              <a:cxn ang="0">
                <a:pos x="connsiteX59135" y="connsiteY59135"/>
              </a:cxn>
              <a:cxn ang="0">
                <a:pos x="connsiteX59136" y="connsiteY59136"/>
              </a:cxn>
              <a:cxn ang="0">
                <a:pos x="connsiteX59137" y="connsiteY59137"/>
              </a:cxn>
              <a:cxn ang="0">
                <a:pos x="connsiteX59138" y="connsiteY59138"/>
              </a:cxn>
              <a:cxn ang="0">
                <a:pos x="connsiteX59139" y="connsiteY59139"/>
              </a:cxn>
              <a:cxn ang="0">
                <a:pos x="connsiteX59140" y="connsiteY59140"/>
              </a:cxn>
              <a:cxn ang="0">
                <a:pos x="connsiteX59141" y="connsiteY59141"/>
              </a:cxn>
              <a:cxn ang="0">
                <a:pos x="connsiteX59142" y="connsiteY59142"/>
              </a:cxn>
              <a:cxn ang="0">
                <a:pos x="connsiteX59143" y="connsiteY59143"/>
              </a:cxn>
              <a:cxn ang="0">
                <a:pos x="connsiteX59144" y="connsiteY59144"/>
              </a:cxn>
              <a:cxn ang="0">
                <a:pos x="connsiteX59145" y="connsiteY59145"/>
              </a:cxn>
              <a:cxn ang="0">
                <a:pos x="connsiteX59146" y="connsiteY59146"/>
              </a:cxn>
              <a:cxn ang="0">
                <a:pos x="connsiteX59147" y="connsiteY59147"/>
              </a:cxn>
              <a:cxn ang="0">
                <a:pos x="connsiteX59148" y="connsiteY59148"/>
              </a:cxn>
              <a:cxn ang="0">
                <a:pos x="connsiteX59149" y="connsiteY59149"/>
              </a:cxn>
              <a:cxn ang="0">
                <a:pos x="connsiteX59150" y="connsiteY59150"/>
              </a:cxn>
              <a:cxn ang="0">
                <a:pos x="connsiteX59151" y="connsiteY59151"/>
              </a:cxn>
              <a:cxn ang="0">
                <a:pos x="connsiteX59152" y="connsiteY59152"/>
              </a:cxn>
              <a:cxn ang="0">
                <a:pos x="connsiteX59153" y="connsiteY59153"/>
              </a:cxn>
              <a:cxn ang="0">
                <a:pos x="connsiteX59154" y="connsiteY59154"/>
              </a:cxn>
              <a:cxn ang="0">
                <a:pos x="connsiteX59155" y="connsiteY59155"/>
              </a:cxn>
              <a:cxn ang="0">
                <a:pos x="connsiteX59156" y="connsiteY59156"/>
              </a:cxn>
              <a:cxn ang="0">
                <a:pos x="connsiteX59157" y="connsiteY59157"/>
              </a:cxn>
              <a:cxn ang="0">
                <a:pos x="connsiteX59158" y="connsiteY59158"/>
              </a:cxn>
              <a:cxn ang="0">
                <a:pos x="connsiteX59159" y="connsiteY59159"/>
              </a:cxn>
              <a:cxn ang="0">
                <a:pos x="connsiteX59160" y="connsiteY59160"/>
              </a:cxn>
              <a:cxn ang="0">
                <a:pos x="connsiteX59161" y="connsiteY59161"/>
              </a:cxn>
              <a:cxn ang="0">
                <a:pos x="connsiteX59162" y="connsiteY59162"/>
              </a:cxn>
              <a:cxn ang="0">
                <a:pos x="connsiteX59163" y="connsiteY59163"/>
              </a:cxn>
              <a:cxn ang="0">
                <a:pos x="connsiteX59164" y="connsiteY59164"/>
              </a:cxn>
              <a:cxn ang="0">
                <a:pos x="connsiteX59165" y="connsiteY59165"/>
              </a:cxn>
              <a:cxn ang="0">
                <a:pos x="connsiteX59166" y="connsiteY59166"/>
              </a:cxn>
              <a:cxn ang="0">
                <a:pos x="connsiteX59167" y="connsiteY59167"/>
              </a:cxn>
              <a:cxn ang="0">
                <a:pos x="connsiteX59168" y="connsiteY59168"/>
              </a:cxn>
              <a:cxn ang="0">
                <a:pos x="connsiteX59169" y="connsiteY59169"/>
              </a:cxn>
              <a:cxn ang="0">
                <a:pos x="connsiteX59170" y="connsiteY59170"/>
              </a:cxn>
              <a:cxn ang="0">
                <a:pos x="connsiteX59171" y="connsiteY59171"/>
              </a:cxn>
              <a:cxn ang="0">
                <a:pos x="connsiteX59172" y="connsiteY59172"/>
              </a:cxn>
              <a:cxn ang="0">
                <a:pos x="connsiteX59173" y="connsiteY59173"/>
              </a:cxn>
              <a:cxn ang="0">
                <a:pos x="connsiteX59174" y="connsiteY59174"/>
              </a:cxn>
              <a:cxn ang="0">
                <a:pos x="connsiteX59175" y="connsiteY59175"/>
              </a:cxn>
              <a:cxn ang="0">
                <a:pos x="connsiteX59176" y="connsiteY59176"/>
              </a:cxn>
              <a:cxn ang="0">
                <a:pos x="connsiteX59177" y="connsiteY59177"/>
              </a:cxn>
              <a:cxn ang="0">
                <a:pos x="connsiteX59178" y="connsiteY59178"/>
              </a:cxn>
              <a:cxn ang="0">
                <a:pos x="connsiteX59179" y="connsiteY59179"/>
              </a:cxn>
              <a:cxn ang="0">
                <a:pos x="connsiteX59180" y="connsiteY59180"/>
              </a:cxn>
              <a:cxn ang="0">
                <a:pos x="connsiteX59181" y="connsiteY59181"/>
              </a:cxn>
              <a:cxn ang="0">
                <a:pos x="connsiteX59182" y="connsiteY59182"/>
              </a:cxn>
              <a:cxn ang="0">
                <a:pos x="connsiteX59183" y="connsiteY59183"/>
              </a:cxn>
              <a:cxn ang="0">
                <a:pos x="connsiteX59184" y="connsiteY59184"/>
              </a:cxn>
              <a:cxn ang="0">
                <a:pos x="connsiteX59185" y="connsiteY59185"/>
              </a:cxn>
              <a:cxn ang="0">
                <a:pos x="connsiteX59186" y="connsiteY59186"/>
              </a:cxn>
              <a:cxn ang="0">
                <a:pos x="connsiteX59187" y="connsiteY59187"/>
              </a:cxn>
              <a:cxn ang="0">
                <a:pos x="connsiteX59188" y="connsiteY59188"/>
              </a:cxn>
              <a:cxn ang="0">
                <a:pos x="connsiteX59189" y="connsiteY59189"/>
              </a:cxn>
              <a:cxn ang="0">
                <a:pos x="connsiteX59190" y="connsiteY59190"/>
              </a:cxn>
              <a:cxn ang="0">
                <a:pos x="connsiteX59191" y="connsiteY59191"/>
              </a:cxn>
              <a:cxn ang="0">
                <a:pos x="connsiteX59192" y="connsiteY59192"/>
              </a:cxn>
              <a:cxn ang="0">
                <a:pos x="connsiteX59193" y="connsiteY59193"/>
              </a:cxn>
              <a:cxn ang="0">
                <a:pos x="connsiteX59194" y="connsiteY59194"/>
              </a:cxn>
              <a:cxn ang="0">
                <a:pos x="connsiteX59195" y="connsiteY59195"/>
              </a:cxn>
              <a:cxn ang="0">
                <a:pos x="connsiteX59196" y="connsiteY59196"/>
              </a:cxn>
              <a:cxn ang="0">
                <a:pos x="connsiteX59197" y="connsiteY59197"/>
              </a:cxn>
              <a:cxn ang="0">
                <a:pos x="connsiteX59198" y="connsiteY59198"/>
              </a:cxn>
              <a:cxn ang="0">
                <a:pos x="connsiteX59199" y="connsiteY59199"/>
              </a:cxn>
              <a:cxn ang="0">
                <a:pos x="connsiteX59200" y="connsiteY59200"/>
              </a:cxn>
              <a:cxn ang="0">
                <a:pos x="connsiteX59201" y="connsiteY59201"/>
              </a:cxn>
              <a:cxn ang="0">
                <a:pos x="connsiteX59202" y="connsiteY59202"/>
              </a:cxn>
              <a:cxn ang="0">
                <a:pos x="connsiteX59203" y="connsiteY59203"/>
              </a:cxn>
              <a:cxn ang="0">
                <a:pos x="connsiteX59204" y="connsiteY59204"/>
              </a:cxn>
              <a:cxn ang="0">
                <a:pos x="connsiteX59205" y="connsiteY59205"/>
              </a:cxn>
              <a:cxn ang="0">
                <a:pos x="connsiteX59206" y="connsiteY59206"/>
              </a:cxn>
              <a:cxn ang="0">
                <a:pos x="connsiteX59207" y="connsiteY59207"/>
              </a:cxn>
              <a:cxn ang="0">
                <a:pos x="connsiteX59208" y="connsiteY59208"/>
              </a:cxn>
              <a:cxn ang="0">
                <a:pos x="connsiteX59209" y="connsiteY59209"/>
              </a:cxn>
              <a:cxn ang="0">
                <a:pos x="connsiteX59210" y="connsiteY59210"/>
              </a:cxn>
              <a:cxn ang="0">
                <a:pos x="connsiteX59211" y="connsiteY59211"/>
              </a:cxn>
              <a:cxn ang="0">
                <a:pos x="connsiteX59212" y="connsiteY59212"/>
              </a:cxn>
              <a:cxn ang="0">
                <a:pos x="connsiteX59213" y="connsiteY59213"/>
              </a:cxn>
              <a:cxn ang="0">
                <a:pos x="connsiteX59214" y="connsiteY59214"/>
              </a:cxn>
              <a:cxn ang="0">
                <a:pos x="connsiteX59215" y="connsiteY59215"/>
              </a:cxn>
              <a:cxn ang="0">
                <a:pos x="connsiteX59216" y="connsiteY59216"/>
              </a:cxn>
              <a:cxn ang="0">
                <a:pos x="connsiteX59217" y="connsiteY59217"/>
              </a:cxn>
              <a:cxn ang="0">
                <a:pos x="connsiteX59218" y="connsiteY59218"/>
              </a:cxn>
              <a:cxn ang="0">
                <a:pos x="connsiteX59219" y="connsiteY59219"/>
              </a:cxn>
              <a:cxn ang="0">
                <a:pos x="connsiteX59220" y="connsiteY59220"/>
              </a:cxn>
              <a:cxn ang="0">
                <a:pos x="connsiteX59221" y="connsiteY59221"/>
              </a:cxn>
              <a:cxn ang="0">
                <a:pos x="connsiteX59222" y="connsiteY59222"/>
              </a:cxn>
              <a:cxn ang="0">
                <a:pos x="connsiteX59223" y="connsiteY59223"/>
              </a:cxn>
              <a:cxn ang="0">
                <a:pos x="connsiteX59224" y="connsiteY59224"/>
              </a:cxn>
              <a:cxn ang="0">
                <a:pos x="connsiteX59225" y="connsiteY59225"/>
              </a:cxn>
              <a:cxn ang="0">
                <a:pos x="connsiteX59226" y="connsiteY59226"/>
              </a:cxn>
              <a:cxn ang="0">
                <a:pos x="connsiteX59227" y="connsiteY59227"/>
              </a:cxn>
              <a:cxn ang="0">
                <a:pos x="connsiteX59228" y="connsiteY59228"/>
              </a:cxn>
              <a:cxn ang="0">
                <a:pos x="connsiteX59229" y="connsiteY59229"/>
              </a:cxn>
              <a:cxn ang="0">
                <a:pos x="connsiteX59230" y="connsiteY59230"/>
              </a:cxn>
              <a:cxn ang="0">
                <a:pos x="connsiteX59231" y="connsiteY59231"/>
              </a:cxn>
              <a:cxn ang="0">
                <a:pos x="connsiteX59232" y="connsiteY59232"/>
              </a:cxn>
              <a:cxn ang="0">
                <a:pos x="connsiteX59233" y="connsiteY59233"/>
              </a:cxn>
              <a:cxn ang="0">
                <a:pos x="connsiteX59234" y="connsiteY59234"/>
              </a:cxn>
              <a:cxn ang="0">
                <a:pos x="connsiteX59235" y="connsiteY59235"/>
              </a:cxn>
              <a:cxn ang="0">
                <a:pos x="connsiteX59236" y="connsiteY59236"/>
              </a:cxn>
              <a:cxn ang="0">
                <a:pos x="connsiteX59237" y="connsiteY59237"/>
              </a:cxn>
              <a:cxn ang="0">
                <a:pos x="connsiteX59238" y="connsiteY59238"/>
              </a:cxn>
              <a:cxn ang="0">
                <a:pos x="connsiteX59239" y="connsiteY59239"/>
              </a:cxn>
              <a:cxn ang="0">
                <a:pos x="connsiteX59240" y="connsiteY59240"/>
              </a:cxn>
              <a:cxn ang="0">
                <a:pos x="connsiteX59241" y="connsiteY59241"/>
              </a:cxn>
              <a:cxn ang="0">
                <a:pos x="connsiteX59242" y="connsiteY59242"/>
              </a:cxn>
              <a:cxn ang="0">
                <a:pos x="connsiteX59243" y="connsiteY59243"/>
              </a:cxn>
              <a:cxn ang="0">
                <a:pos x="connsiteX59244" y="connsiteY59244"/>
              </a:cxn>
              <a:cxn ang="0">
                <a:pos x="connsiteX59245" y="connsiteY59245"/>
              </a:cxn>
              <a:cxn ang="0">
                <a:pos x="connsiteX59246" y="connsiteY59246"/>
              </a:cxn>
              <a:cxn ang="0">
                <a:pos x="connsiteX59247" y="connsiteY59247"/>
              </a:cxn>
              <a:cxn ang="0">
                <a:pos x="connsiteX59248" y="connsiteY59248"/>
              </a:cxn>
              <a:cxn ang="0">
                <a:pos x="connsiteX59249" y="connsiteY59249"/>
              </a:cxn>
              <a:cxn ang="0">
                <a:pos x="connsiteX59250" y="connsiteY59250"/>
              </a:cxn>
              <a:cxn ang="0">
                <a:pos x="connsiteX59251" y="connsiteY59251"/>
              </a:cxn>
              <a:cxn ang="0">
                <a:pos x="connsiteX59252" y="connsiteY59252"/>
              </a:cxn>
              <a:cxn ang="0">
                <a:pos x="connsiteX59253" y="connsiteY59253"/>
              </a:cxn>
              <a:cxn ang="0">
                <a:pos x="connsiteX59254" y="connsiteY59254"/>
              </a:cxn>
              <a:cxn ang="0">
                <a:pos x="connsiteX59255" y="connsiteY59255"/>
              </a:cxn>
              <a:cxn ang="0">
                <a:pos x="connsiteX59256" y="connsiteY59256"/>
              </a:cxn>
              <a:cxn ang="0">
                <a:pos x="connsiteX59257" y="connsiteY59257"/>
              </a:cxn>
              <a:cxn ang="0">
                <a:pos x="connsiteX59258" y="connsiteY59258"/>
              </a:cxn>
              <a:cxn ang="0">
                <a:pos x="connsiteX59259" y="connsiteY59259"/>
              </a:cxn>
              <a:cxn ang="0">
                <a:pos x="connsiteX59260" y="connsiteY59260"/>
              </a:cxn>
              <a:cxn ang="0">
                <a:pos x="connsiteX59261" y="connsiteY59261"/>
              </a:cxn>
              <a:cxn ang="0">
                <a:pos x="connsiteX59262" y="connsiteY59262"/>
              </a:cxn>
              <a:cxn ang="0">
                <a:pos x="connsiteX59263" y="connsiteY59263"/>
              </a:cxn>
              <a:cxn ang="0">
                <a:pos x="connsiteX59264" y="connsiteY59264"/>
              </a:cxn>
              <a:cxn ang="0">
                <a:pos x="connsiteX59265" y="connsiteY59265"/>
              </a:cxn>
              <a:cxn ang="0">
                <a:pos x="connsiteX59266" y="connsiteY59266"/>
              </a:cxn>
              <a:cxn ang="0">
                <a:pos x="connsiteX59267" y="connsiteY59267"/>
              </a:cxn>
              <a:cxn ang="0">
                <a:pos x="connsiteX59268" y="connsiteY59268"/>
              </a:cxn>
              <a:cxn ang="0">
                <a:pos x="connsiteX59269" y="connsiteY59269"/>
              </a:cxn>
              <a:cxn ang="0">
                <a:pos x="connsiteX59270" y="connsiteY59270"/>
              </a:cxn>
              <a:cxn ang="0">
                <a:pos x="connsiteX59271" y="connsiteY59271"/>
              </a:cxn>
              <a:cxn ang="0">
                <a:pos x="connsiteX59272" y="connsiteY59272"/>
              </a:cxn>
              <a:cxn ang="0">
                <a:pos x="connsiteX59273" y="connsiteY59273"/>
              </a:cxn>
              <a:cxn ang="0">
                <a:pos x="connsiteX59274" y="connsiteY59274"/>
              </a:cxn>
              <a:cxn ang="0">
                <a:pos x="connsiteX59275" y="connsiteY59275"/>
              </a:cxn>
              <a:cxn ang="0">
                <a:pos x="connsiteX59276" y="connsiteY59276"/>
              </a:cxn>
              <a:cxn ang="0">
                <a:pos x="connsiteX59277" y="connsiteY59277"/>
              </a:cxn>
              <a:cxn ang="0">
                <a:pos x="connsiteX59278" y="connsiteY59278"/>
              </a:cxn>
              <a:cxn ang="0">
                <a:pos x="connsiteX59279" y="connsiteY59279"/>
              </a:cxn>
              <a:cxn ang="0">
                <a:pos x="connsiteX59280" y="connsiteY59280"/>
              </a:cxn>
              <a:cxn ang="0">
                <a:pos x="connsiteX59281" y="connsiteY59281"/>
              </a:cxn>
              <a:cxn ang="0">
                <a:pos x="connsiteX59282" y="connsiteY59282"/>
              </a:cxn>
              <a:cxn ang="0">
                <a:pos x="connsiteX59283" y="connsiteY59283"/>
              </a:cxn>
              <a:cxn ang="0">
                <a:pos x="connsiteX59284" y="connsiteY59284"/>
              </a:cxn>
              <a:cxn ang="0">
                <a:pos x="connsiteX59285" y="connsiteY59285"/>
              </a:cxn>
              <a:cxn ang="0">
                <a:pos x="connsiteX59286" y="connsiteY59286"/>
              </a:cxn>
              <a:cxn ang="0">
                <a:pos x="connsiteX59287" y="connsiteY59287"/>
              </a:cxn>
              <a:cxn ang="0">
                <a:pos x="connsiteX59288" y="connsiteY59288"/>
              </a:cxn>
              <a:cxn ang="0">
                <a:pos x="connsiteX59289" y="connsiteY59289"/>
              </a:cxn>
              <a:cxn ang="0">
                <a:pos x="connsiteX59290" y="connsiteY59290"/>
              </a:cxn>
              <a:cxn ang="0">
                <a:pos x="connsiteX59291" y="connsiteY59291"/>
              </a:cxn>
              <a:cxn ang="0">
                <a:pos x="connsiteX59292" y="connsiteY59292"/>
              </a:cxn>
              <a:cxn ang="0">
                <a:pos x="connsiteX59293" y="connsiteY59293"/>
              </a:cxn>
              <a:cxn ang="0">
                <a:pos x="connsiteX59294" y="connsiteY59294"/>
              </a:cxn>
              <a:cxn ang="0">
                <a:pos x="connsiteX59295" y="connsiteY59295"/>
              </a:cxn>
              <a:cxn ang="0">
                <a:pos x="connsiteX59296" y="connsiteY59296"/>
              </a:cxn>
              <a:cxn ang="0">
                <a:pos x="connsiteX59297" y="connsiteY59297"/>
              </a:cxn>
              <a:cxn ang="0">
                <a:pos x="connsiteX59298" y="connsiteY59298"/>
              </a:cxn>
              <a:cxn ang="0">
                <a:pos x="connsiteX59299" y="connsiteY59299"/>
              </a:cxn>
              <a:cxn ang="0">
                <a:pos x="connsiteX59300" y="connsiteY59300"/>
              </a:cxn>
              <a:cxn ang="0">
                <a:pos x="connsiteX59301" y="connsiteY59301"/>
              </a:cxn>
              <a:cxn ang="0">
                <a:pos x="connsiteX59302" y="connsiteY59302"/>
              </a:cxn>
              <a:cxn ang="0">
                <a:pos x="connsiteX59303" y="connsiteY59303"/>
              </a:cxn>
              <a:cxn ang="0">
                <a:pos x="connsiteX59304" y="connsiteY59304"/>
              </a:cxn>
              <a:cxn ang="0">
                <a:pos x="connsiteX59305" y="connsiteY59305"/>
              </a:cxn>
              <a:cxn ang="0">
                <a:pos x="connsiteX59306" y="connsiteY59306"/>
              </a:cxn>
              <a:cxn ang="0">
                <a:pos x="connsiteX59307" y="connsiteY59307"/>
              </a:cxn>
              <a:cxn ang="0">
                <a:pos x="connsiteX59308" y="connsiteY59308"/>
              </a:cxn>
              <a:cxn ang="0">
                <a:pos x="connsiteX59309" y="connsiteY59309"/>
              </a:cxn>
              <a:cxn ang="0">
                <a:pos x="connsiteX59310" y="connsiteY59310"/>
              </a:cxn>
              <a:cxn ang="0">
                <a:pos x="connsiteX59311" y="connsiteY59311"/>
              </a:cxn>
              <a:cxn ang="0">
                <a:pos x="connsiteX59312" y="connsiteY59312"/>
              </a:cxn>
              <a:cxn ang="0">
                <a:pos x="connsiteX59313" y="connsiteY59313"/>
              </a:cxn>
              <a:cxn ang="0">
                <a:pos x="connsiteX59314" y="connsiteY59314"/>
              </a:cxn>
              <a:cxn ang="0">
                <a:pos x="connsiteX59315" y="connsiteY59315"/>
              </a:cxn>
              <a:cxn ang="0">
                <a:pos x="connsiteX59316" y="connsiteY59316"/>
              </a:cxn>
              <a:cxn ang="0">
                <a:pos x="connsiteX59317" y="connsiteY59317"/>
              </a:cxn>
              <a:cxn ang="0">
                <a:pos x="connsiteX59318" y="connsiteY59318"/>
              </a:cxn>
              <a:cxn ang="0">
                <a:pos x="connsiteX59319" y="connsiteY59319"/>
              </a:cxn>
              <a:cxn ang="0">
                <a:pos x="connsiteX59320" y="connsiteY59320"/>
              </a:cxn>
              <a:cxn ang="0">
                <a:pos x="connsiteX59321" y="connsiteY59321"/>
              </a:cxn>
              <a:cxn ang="0">
                <a:pos x="connsiteX59322" y="connsiteY59322"/>
              </a:cxn>
              <a:cxn ang="0">
                <a:pos x="connsiteX59323" y="connsiteY59323"/>
              </a:cxn>
              <a:cxn ang="0">
                <a:pos x="connsiteX59324" y="connsiteY59324"/>
              </a:cxn>
              <a:cxn ang="0">
                <a:pos x="connsiteX59325" y="connsiteY59325"/>
              </a:cxn>
              <a:cxn ang="0">
                <a:pos x="connsiteX59326" y="connsiteY59326"/>
              </a:cxn>
              <a:cxn ang="0">
                <a:pos x="connsiteX59327" y="connsiteY59327"/>
              </a:cxn>
              <a:cxn ang="0">
                <a:pos x="connsiteX59328" y="connsiteY59328"/>
              </a:cxn>
              <a:cxn ang="0">
                <a:pos x="connsiteX59329" y="connsiteY59329"/>
              </a:cxn>
              <a:cxn ang="0">
                <a:pos x="connsiteX59330" y="connsiteY59330"/>
              </a:cxn>
              <a:cxn ang="0">
                <a:pos x="connsiteX59331" y="connsiteY59331"/>
              </a:cxn>
              <a:cxn ang="0">
                <a:pos x="connsiteX59332" y="connsiteY59332"/>
              </a:cxn>
              <a:cxn ang="0">
                <a:pos x="connsiteX59333" y="connsiteY59333"/>
              </a:cxn>
              <a:cxn ang="0">
                <a:pos x="connsiteX59334" y="connsiteY59334"/>
              </a:cxn>
              <a:cxn ang="0">
                <a:pos x="connsiteX59335" y="connsiteY59335"/>
              </a:cxn>
              <a:cxn ang="0">
                <a:pos x="connsiteX59336" y="connsiteY59336"/>
              </a:cxn>
              <a:cxn ang="0">
                <a:pos x="connsiteX59337" y="connsiteY59337"/>
              </a:cxn>
              <a:cxn ang="0">
                <a:pos x="connsiteX59338" y="connsiteY59338"/>
              </a:cxn>
              <a:cxn ang="0">
                <a:pos x="connsiteX59339" y="connsiteY59339"/>
              </a:cxn>
              <a:cxn ang="0">
                <a:pos x="connsiteX59340" y="connsiteY59340"/>
              </a:cxn>
              <a:cxn ang="0">
                <a:pos x="connsiteX59341" y="connsiteY59341"/>
              </a:cxn>
              <a:cxn ang="0">
                <a:pos x="connsiteX59342" y="connsiteY59342"/>
              </a:cxn>
              <a:cxn ang="0">
                <a:pos x="connsiteX59343" y="connsiteY59343"/>
              </a:cxn>
              <a:cxn ang="0">
                <a:pos x="connsiteX59344" y="connsiteY59344"/>
              </a:cxn>
              <a:cxn ang="0">
                <a:pos x="connsiteX59345" y="connsiteY59345"/>
              </a:cxn>
              <a:cxn ang="0">
                <a:pos x="connsiteX59346" y="connsiteY59346"/>
              </a:cxn>
              <a:cxn ang="0">
                <a:pos x="connsiteX59347" y="connsiteY59347"/>
              </a:cxn>
              <a:cxn ang="0">
                <a:pos x="connsiteX59348" y="connsiteY59348"/>
              </a:cxn>
              <a:cxn ang="0">
                <a:pos x="connsiteX59349" y="connsiteY59349"/>
              </a:cxn>
              <a:cxn ang="0">
                <a:pos x="connsiteX59350" y="connsiteY59350"/>
              </a:cxn>
              <a:cxn ang="0">
                <a:pos x="connsiteX59351" y="connsiteY59351"/>
              </a:cxn>
              <a:cxn ang="0">
                <a:pos x="connsiteX59352" y="connsiteY59352"/>
              </a:cxn>
              <a:cxn ang="0">
                <a:pos x="connsiteX59353" y="connsiteY59353"/>
              </a:cxn>
              <a:cxn ang="0">
                <a:pos x="connsiteX59354" y="connsiteY59354"/>
              </a:cxn>
              <a:cxn ang="0">
                <a:pos x="connsiteX59355" y="connsiteY59355"/>
              </a:cxn>
              <a:cxn ang="0">
                <a:pos x="connsiteX59356" y="connsiteY59356"/>
              </a:cxn>
              <a:cxn ang="0">
                <a:pos x="connsiteX59357" y="connsiteY59357"/>
              </a:cxn>
              <a:cxn ang="0">
                <a:pos x="connsiteX59358" y="connsiteY59358"/>
              </a:cxn>
              <a:cxn ang="0">
                <a:pos x="connsiteX59359" y="connsiteY59359"/>
              </a:cxn>
              <a:cxn ang="0">
                <a:pos x="connsiteX59360" y="connsiteY59360"/>
              </a:cxn>
              <a:cxn ang="0">
                <a:pos x="connsiteX59361" y="connsiteY59361"/>
              </a:cxn>
              <a:cxn ang="0">
                <a:pos x="connsiteX59362" y="connsiteY59362"/>
              </a:cxn>
              <a:cxn ang="0">
                <a:pos x="connsiteX59363" y="connsiteY59363"/>
              </a:cxn>
              <a:cxn ang="0">
                <a:pos x="connsiteX59364" y="connsiteY59364"/>
              </a:cxn>
              <a:cxn ang="0">
                <a:pos x="connsiteX59365" y="connsiteY59365"/>
              </a:cxn>
              <a:cxn ang="0">
                <a:pos x="connsiteX59366" y="connsiteY59366"/>
              </a:cxn>
              <a:cxn ang="0">
                <a:pos x="connsiteX59367" y="connsiteY59367"/>
              </a:cxn>
              <a:cxn ang="0">
                <a:pos x="connsiteX59368" y="connsiteY59368"/>
              </a:cxn>
              <a:cxn ang="0">
                <a:pos x="connsiteX59369" y="connsiteY59369"/>
              </a:cxn>
              <a:cxn ang="0">
                <a:pos x="connsiteX59370" y="connsiteY59370"/>
              </a:cxn>
              <a:cxn ang="0">
                <a:pos x="connsiteX59371" y="connsiteY59371"/>
              </a:cxn>
              <a:cxn ang="0">
                <a:pos x="connsiteX59372" y="connsiteY59372"/>
              </a:cxn>
              <a:cxn ang="0">
                <a:pos x="connsiteX59373" y="connsiteY59373"/>
              </a:cxn>
              <a:cxn ang="0">
                <a:pos x="connsiteX59374" y="connsiteY59374"/>
              </a:cxn>
              <a:cxn ang="0">
                <a:pos x="connsiteX59375" y="connsiteY59375"/>
              </a:cxn>
              <a:cxn ang="0">
                <a:pos x="connsiteX59376" y="connsiteY59376"/>
              </a:cxn>
              <a:cxn ang="0">
                <a:pos x="connsiteX59377" y="connsiteY59377"/>
              </a:cxn>
              <a:cxn ang="0">
                <a:pos x="connsiteX59378" y="connsiteY59378"/>
              </a:cxn>
              <a:cxn ang="0">
                <a:pos x="connsiteX59379" y="connsiteY59379"/>
              </a:cxn>
              <a:cxn ang="0">
                <a:pos x="connsiteX59380" y="connsiteY59380"/>
              </a:cxn>
              <a:cxn ang="0">
                <a:pos x="connsiteX59381" y="connsiteY59381"/>
              </a:cxn>
              <a:cxn ang="0">
                <a:pos x="connsiteX59382" y="connsiteY59382"/>
              </a:cxn>
              <a:cxn ang="0">
                <a:pos x="connsiteX59383" y="connsiteY59383"/>
              </a:cxn>
              <a:cxn ang="0">
                <a:pos x="connsiteX59384" y="connsiteY59384"/>
              </a:cxn>
              <a:cxn ang="0">
                <a:pos x="connsiteX59385" y="connsiteY59385"/>
              </a:cxn>
              <a:cxn ang="0">
                <a:pos x="connsiteX59386" y="connsiteY59386"/>
              </a:cxn>
              <a:cxn ang="0">
                <a:pos x="connsiteX59387" y="connsiteY59387"/>
              </a:cxn>
              <a:cxn ang="0">
                <a:pos x="connsiteX59388" y="connsiteY59388"/>
              </a:cxn>
              <a:cxn ang="0">
                <a:pos x="connsiteX59389" y="connsiteY59389"/>
              </a:cxn>
              <a:cxn ang="0">
                <a:pos x="connsiteX59390" y="connsiteY59390"/>
              </a:cxn>
              <a:cxn ang="0">
                <a:pos x="connsiteX59391" y="connsiteY59391"/>
              </a:cxn>
              <a:cxn ang="0">
                <a:pos x="connsiteX59392" y="connsiteY59392"/>
              </a:cxn>
              <a:cxn ang="0">
                <a:pos x="connsiteX59393" y="connsiteY59393"/>
              </a:cxn>
              <a:cxn ang="0">
                <a:pos x="connsiteX59394" y="connsiteY59394"/>
              </a:cxn>
              <a:cxn ang="0">
                <a:pos x="connsiteX59395" y="connsiteY59395"/>
              </a:cxn>
              <a:cxn ang="0">
                <a:pos x="connsiteX59396" y="connsiteY59396"/>
              </a:cxn>
              <a:cxn ang="0">
                <a:pos x="connsiteX59397" y="connsiteY59397"/>
              </a:cxn>
              <a:cxn ang="0">
                <a:pos x="connsiteX59398" y="connsiteY59398"/>
              </a:cxn>
              <a:cxn ang="0">
                <a:pos x="connsiteX59399" y="connsiteY59399"/>
              </a:cxn>
              <a:cxn ang="0">
                <a:pos x="connsiteX59400" y="connsiteY59400"/>
              </a:cxn>
              <a:cxn ang="0">
                <a:pos x="connsiteX59401" y="connsiteY59401"/>
              </a:cxn>
              <a:cxn ang="0">
                <a:pos x="connsiteX59402" y="connsiteY59402"/>
              </a:cxn>
              <a:cxn ang="0">
                <a:pos x="connsiteX59403" y="connsiteY59403"/>
              </a:cxn>
              <a:cxn ang="0">
                <a:pos x="connsiteX59404" y="connsiteY59404"/>
              </a:cxn>
              <a:cxn ang="0">
                <a:pos x="connsiteX59405" y="connsiteY59405"/>
              </a:cxn>
              <a:cxn ang="0">
                <a:pos x="connsiteX59406" y="connsiteY59406"/>
              </a:cxn>
              <a:cxn ang="0">
                <a:pos x="connsiteX59407" y="connsiteY59407"/>
              </a:cxn>
              <a:cxn ang="0">
                <a:pos x="connsiteX59408" y="connsiteY59408"/>
              </a:cxn>
              <a:cxn ang="0">
                <a:pos x="connsiteX59409" y="connsiteY59409"/>
              </a:cxn>
              <a:cxn ang="0">
                <a:pos x="connsiteX59410" y="connsiteY59410"/>
              </a:cxn>
              <a:cxn ang="0">
                <a:pos x="connsiteX59411" y="connsiteY59411"/>
              </a:cxn>
              <a:cxn ang="0">
                <a:pos x="connsiteX59412" y="connsiteY59412"/>
              </a:cxn>
              <a:cxn ang="0">
                <a:pos x="connsiteX59413" y="connsiteY59413"/>
              </a:cxn>
              <a:cxn ang="0">
                <a:pos x="connsiteX59414" y="connsiteY59414"/>
              </a:cxn>
              <a:cxn ang="0">
                <a:pos x="connsiteX59415" y="connsiteY59415"/>
              </a:cxn>
              <a:cxn ang="0">
                <a:pos x="connsiteX59416" y="connsiteY59416"/>
              </a:cxn>
              <a:cxn ang="0">
                <a:pos x="connsiteX59417" y="connsiteY59417"/>
              </a:cxn>
              <a:cxn ang="0">
                <a:pos x="connsiteX59418" y="connsiteY59418"/>
              </a:cxn>
              <a:cxn ang="0">
                <a:pos x="connsiteX59419" y="connsiteY59419"/>
              </a:cxn>
              <a:cxn ang="0">
                <a:pos x="connsiteX59420" y="connsiteY59420"/>
              </a:cxn>
              <a:cxn ang="0">
                <a:pos x="connsiteX59421" y="connsiteY59421"/>
              </a:cxn>
              <a:cxn ang="0">
                <a:pos x="connsiteX59422" y="connsiteY59422"/>
              </a:cxn>
              <a:cxn ang="0">
                <a:pos x="connsiteX59423" y="connsiteY59423"/>
              </a:cxn>
              <a:cxn ang="0">
                <a:pos x="connsiteX59424" y="connsiteY59424"/>
              </a:cxn>
              <a:cxn ang="0">
                <a:pos x="connsiteX59425" y="connsiteY59425"/>
              </a:cxn>
              <a:cxn ang="0">
                <a:pos x="connsiteX59426" y="connsiteY59426"/>
              </a:cxn>
              <a:cxn ang="0">
                <a:pos x="connsiteX59427" y="connsiteY59427"/>
              </a:cxn>
              <a:cxn ang="0">
                <a:pos x="connsiteX59428" y="connsiteY59428"/>
              </a:cxn>
              <a:cxn ang="0">
                <a:pos x="connsiteX59429" y="connsiteY59429"/>
              </a:cxn>
              <a:cxn ang="0">
                <a:pos x="connsiteX59430" y="connsiteY59430"/>
              </a:cxn>
              <a:cxn ang="0">
                <a:pos x="connsiteX59431" y="connsiteY59431"/>
              </a:cxn>
              <a:cxn ang="0">
                <a:pos x="connsiteX59432" y="connsiteY59432"/>
              </a:cxn>
              <a:cxn ang="0">
                <a:pos x="connsiteX59433" y="connsiteY59433"/>
              </a:cxn>
              <a:cxn ang="0">
                <a:pos x="connsiteX59434" y="connsiteY59434"/>
              </a:cxn>
              <a:cxn ang="0">
                <a:pos x="connsiteX59435" y="connsiteY59435"/>
              </a:cxn>
              <a:cxn ang="0">
                <a:pos x="connsiteX59436" y="connsiteY59436"/>
              </a:cxn>
              <a:cxn ang="0">
                <a:pos x="connsiteX59437" y="connsiteY59437"/>
              </a:cxn>
              <a:cxn ang="0">
                <a:pos x="connsiteX59438" y="connsiteY59438"/>
              </a:cxn>
              <a:cxn ang="0">
                <a:pos x="connsiteX59439" y="connsiteY59439"/>
              </a:cxn>
              <a:cxn ang="0">
                <a:pos x="connsiteX59440" y="connsiteY59440"/>
              </a:cxn>
              <a:cxn ang="0">
                <a:pos x="connsiteX59441" y="connsiteY59441"/>
              </a:cxn>
              <a:cxn ang="0">
                <a:pos x="connsiteX59442" y="connsiteY59442"/>
              </a:cxn>
              <a:cxn ang="0">
                <a:pos x="connsiteX59443" y="connsiteY59443"/>
              </a:cxn>
              <a:cxn ang="0">
                <a:pos x="connsiteX59444" y="connsiteY59444"/>
              </a:cxn>
              <a:cxn ang="0">
                <a:pos x="connsiteX59445" y="connsiteY59445"/>
              </a:cxn>
              <a:cxn ang="0">
                <a:pos x="connsiteX59446" y="connsiteY59446"/>
              </a:cxn>
              <a:cxn ang="0">
                <a:pos x="connsiteX59447" y="connsiteY59447"/>
              </a:cxn>
              <a:cxn ang="0">
                <a:pos x="connsiteX59448" y="connsiteY59448"/>
              </a:cxn>
              <a:cxn ang="0">
                <a:pos x="connsiteX59449" y="connsiteY59449"/>
              </a:cxn>
              <a:cxn ang="0">
                <a:pos x="connsiteX59450" y="connsiteY59450"/>
              </a:cxn>
              <a:cxn ang="0">
                <a:pos x="connsiteX59451" y="connsiteY59451"/>
              </a:cxn>
              <a:cxn ang="0">
                <a:pos x="connsiteX59452" y="connsiteY59452"/>
              </a:cxn>
              <a:cxn ang="0">
                <a:pos x="connsiteX59453" y="connsiteY59453"/>
              </a:cxn>
              <a:cxn ang="0">
                <a:pos x="connsiteX59454" y="connsiteY59454"/>
              </a:cxn>
              <a:cxn ang="0">
                <a:pos x="connsiteX59455" y="connsiteY59455"/>
              </a:cxn>
              <a:cxn ang="0">
                <a:pos x="connsiteX59456" y="connsiteY59456"/>
              </a:cxn>
              <a:cxn ang="0">
                <a:pos x="connsiteX59457" y="connsiteY59457"/>
              </a:cxn>
              <a:cxn ang="0">
                <a:pos x="connsiteX59458" y="connsiteY59458"/>
              </a:cxn>
              <a:cxn ang="0">
                <a:pos x="connsiteX59459" y="connsiteY59459"/>
              </a:cxn>
              <a:cxn ang="0">
                <a:pos x="connsiteX59460" y="connsiteY59460"/>
              </a:cxn>
              <a:cxn ang="0">
                <a:pos x="connsiteX59461" y="connsiteY59461"/>
              </a:cxn>
              <a:cxn ang="0">
                <a:pos x="connsiteX59462" y="connsiteY59462"/>
              </a:cxn>
              <a:cxn ang="0">
                <a:pos x="connsiteX59463" y="connsiteY59463"/>
              </a:cxn>
              <a:cxn ang="0">
                <a:pos x="connsiteX59464" y="connsiteY59464"/>
              </a:cxn>
              <a:cxn ang="0">
                <a:pos x="connsiteX59465" y="connsiteY59465"/>
              </a:cxn>
              <a:cxn ang="0">
                <a:pos x="connsiteX59466" y="connsiteY59466"/>
              </a:cxn>
              <a:cxn ang="0">
                <a:pos x="connsiteX59467" y="connsiteY59467"/>
              </a:cxn>
              <a:cxn ang="0">
                <a:pos x="connsiteX59468" y="connsiteY59468"/>
              </a:cxn>
              <a:cxn ang="0">
                <a:pos x="connsiteX59469" y="connsiteY59469"/>
              </a:cxn>
              <a:cxn ang="0">
                <a:pos x="connsiteX59470" y="connsiteY59470"/>
              </a:cxn>
              <a:cxn ang="0">
                <a:pos x="connsiteX59471" y="connsiteY59471"/>
              </a:cxn>
              <a:cxn ang="0">
                <a:pos x="connsiteX59472" y="connsiteY59472"/>
              </a:cxn>
              <a:cxn ang="0">
                <a:pos x="connsiteX59473" y="connsiteY59473"/>
              </a:cxn>
              <a:cxn ang="0">
                <a:pos x="connsiteX59474" y="connsiteY59474"/>
              </a:cxn>
              <a:cxn ang="0">
                <a:pos x="connsiteX59475" y="connsiteY59475"/>
              </a:cxn>
              <a:cxn ang="0">
                <a:pos x="connsiteX59476" y="connsiteY59476"/>
              </a:cxn>
              <a:cxn ang="0">
                <a:pos x="connsiteX59477" y="connsiteY59477"/>
              </a:cxn>
              <a:cxn ang="0">
                <a:pos x="connsiteX59478" y="connsiteY59478"/>
              </a:cxn>
              <a:cxn ang="0">
                <a:pos x="connsiteX59479" y="connsiteY59479"/>
              </a:cxn>
              <a:cxn ang="0">
                <a:pos x="connsiteX59480" y="connsiteY59480"/>
              </a:cxn>
              <a:cxn ang="0">
                <a:pos x="connsiteX59481" y="connsiteY59481"/>
              </a:cxn>
              <a:cxn ang="0">
                <a:pos x="connsiteX59482" y="connsiteY59482"/>
              </a:cxn>
              <a:cxn ang="0">
                <a:pos x="connsiteX59483" y="connsiteY59483"/>
              </a:cxn>
              <a:cxn ang="0">
                <a:pos x="connsiteX59484" y="connsiteY59484"/>
              </a:cxn>
              <a:cxn ang="0">
                <a:pos x="connsiteX59485" y="connsiteY59485"/>
              </a:cxn>
              <a:cxn ang="0">
                <a:pos x="connsiteX59486" y="connsiteY59486"/>
              </a:cxn>
              <a:cxn ang="0">
                <a:pos x="connsiteX59487" y="connsiteY59487"/>
              </a:cxn>
              <a:cxn ang="0">
                <a:pos x="connsiteX59488" y="connsiteY59488"/>
              </a:cxn>
              <a:cxn ang="0">
                <a:pos x="connsiteX59489" y="connsiteY59489"/>
              </a:cxn>
              <a:cxn ang="0">
                <a:pos x="connsiteX59490" y="connsiteY59490"/>
              </a:cxn>
              <a:cxn ang="0">
                <a:pos x="connsiteX59491" y="connsiteY59491"/>
              </a:cxn>
              <a:cxn ang="0">
                <a:pos x="connsiteX59492" y="connsiteY59492"/>
              </a:cxn>
              <a:cxn ang="0">
                <a:pos x="connsiteX59493" y="connsiteY59493"/>
              </a:cxn>
              <a:cxn ang="0">
                <a:pos x="connsiteX59494" y="connsiteY59494"/>
              </a:cxn>
              <a:cxn ang="0">
                <a:pos x="connsiteX59495" y="connsiteY59495"/>
              </a:cxn>
              <a:cxn ang="0">
                <a:pos x="connsiteX59496" y="connsiteY59496"/>
              </a:cxn>
              <a:cxn ang="0">
                <a:pos x="connsiteX59497" y="connsiteY59497"/>
              </a:cxn>
              <a:cxn ang="0">
                <a:pos x="connsiteX59498" y="connsiteY59498"/>
              </a:cxn>
              <a:cxn ang="0">
                <a:pos x="connsiteX59499" y="connsiteY59499"/>
              </a:cxn>
              <a:cxn ang="0">
                <a:pos x="connsiteX59500" y="connsiteY59500"/>
              </a:cxn>
              <a:cxn ang="0">
                <a:pos x="connsiteX59501" y="connsiteY59501"/>
              </a:cxn>
              <a:cxn ang="0">
                <a:pos x="connsiteX59502" y="connsiteY59502"/>
              </a:cxn>
              <a:cxn ang="0">
                <a:pos x="connsiteX59503" y="connsiteY59503"/>
              </a:cxn>
              <a:cxn ang="0">
                <a:pos x="connsiteX59504" y="connsiteY59504"/>
              </a:cxn>
              <a:cxn ang="0">
                <a:pos x="connsiteX59505" y="connsiteY59505"/>
              </a:cxn>
              <a:cxn ang="0">
                <a:pos x="connsiteX59506" y="connsiteY59506"/>
              </a:cxn>
              <a:cxn ang="0">
                <a:pos x="connsiteX59507" y="connsiteY59507"/>
              </a:cxn>
              <a:cxn ang="0">
                <a:pos x="connsiteX59508" y="connsiteY59508"/>
              </a:cxn>
              <a:cxn ang="0">
                <a:pos x="connsiteX59509" y="connsiteY59509"/>
              </a:cxn>
              <a:cxn ang="0">
                <a:pos x="connsiteX59510" y="connsiteY59510"/>
              </a:cxn>
              <a:cxn ang="0">
                <a:pos x="connsiteX59511" y="connsiteY59511"/>
              </a:cxn>
              <a:cxn ang="0">
                <a:pos x="connsiteX59512" y="connsiteY59512"/>
              </a:cxn>
              <a:cxn ang="0">
                <a:pos x="connsiteX59513" y="connsiteY59513"/>
              </a:cxn>
              <a:cxn ang="0">
                <a:pos x="connsiteX59514" y="connsiteY59514"/>
              </a:cxn>
              <a:cxn ang="0">
                <a:pos x="connsiteX59515" y="connsiteY59515"/>
              </a:cxn>
              <a:cxn ang="0">
                <a:pos x="connsiteX59516" y="connsiteY59516"/>
              </a:cxn>
              <a:cxn ang="0">
                <a:pos x="connsiteX59517" y="connsiteY59517"/>
              </a:cxn>
              <a:cxn ang="0">
                <a:pos x="connsiteX59518" y="connsiteY59518"/>
              </a:cxn>
              <a:cxn ang="0">
                <a:pos x="connsiteX59519" y="connsiteY59519"/>
              </a:cxn>
              <a:cxn ang="0">
                <a:pos x="connsiteX59520" y="connsiteY59520"/>
              </a:cxn>
              <a:cxn ang="0">
                <a:pos x="connsiteX59521" y="connsiteY59521"/>
              </a:cxn>
              <a:cxn ang="0">
                <a:pos x="connsiteX59522" y="connsiteY59522"/>
              </a:cxn>
              <a:cxn ang="0">
                <a:pos x="connsiteX59523" y="connsiteY59523"/>
              </a:cxn>
              <a:cxn ang="0">
                <a:pos x="connsiteX59524" y="connsiteY59524"/>
              </a:cxn>
              <a:cxn ang="0">
                <a:pos x="connsiteX59525" y="connsiteY59525"/>
              </a:cxn>
              <a:cxn ang="0">
                <a:pos x="connsiteX59526" y="connsiteY59526"/>
              </a:cxn>
              <a:cxn ang="0">
                <a:pos x="connsiteX59527" y="connsiteY59527"/>
              </a:cxn>
              <a:cxn ang="0">
                <a:pos x="connsiteX59528" y="connsiteY59528"/>
              </a:cxn>
              <a:cxn ang="0">
                <a:pos x="connsiteX59529" y="connsiteY59529"/>
              </a:cxn>
              <a:cxn ang="0">
                <a:pos x="connsiteX59530" y="connsiteY59530"/>
              </a:cxn>
              <a:cxn ang="0">
                <a:pos x="connsiteX59531" y="connsiteY59531"/>
              </a:cxn>
              <a:cxn ang="0">
                <a:pos x="connsiteX59532" y="connsiteY59532"/>
              </a:cxn>
              <a:cxn ang="0">
                <a:pos x="connsiteX59533" y="connsiteY59533"/>
              </a:cxn>
              <a:cxn ang="0">
                <a:pos x="connsiteX59534" y="connsiteY59534"/>
              </a:cxn>
              <a:cxn ang="0">
                <a:pos x="connsiteX59535" y="connsiteY59535"/>
              </a:cxn>
              <a:cxn ang="0">
                <a:pos x="connsiteX59536" y="connsiteY59536"/>
              </a:cxn>
              <a:cxn ang="0">
                <a:pos x="connsiteX59537" y="connsiteY59537"/>
              </a:cxn>
              <a:cxn ang="0">
                <a:pos x="connsiteX59538" y="connsiteY59538"/>
              </a:cxn>
              <a:cxn ang="0">
                <a:pos x="connsiteX59539" y="connsiteY59539"/>
              </a:cxn>
              <a:cxn ang="0">
                <a:pos x="connsiteX59540" y="connsiteY59540"/>
              </a:cxn>
              <a:cxn ang="0">
                <a:pos x="connsiteX59541" y="connsiteY59541"/>
              </a:cxn>
              <a:cxn ang="0">
                <a:pos x="connsiteX59542" y="connsiteY59542"/>
              </a:cxn>
              <a:cxn ang="0">
                <a:pos x="connsiteX59543" y="connsiteY59543"/>
              </a:cxn>
              <a:cxn ang="0">
                <a:pos x="connsiteX59544" y="connsiteY59544"/>
              </a:cxn>
              <a:cxn ang="0">
                <a:pos x="connsiteX59545" y="connsiteY59545"/>
              </a:cxn>
              <a:cxn ang="0">
                <a:pos x="connsiteX59546" y="connsiteY59546"/>
              </a:cxn>
              <a:cxn ang="0">
                <a:pos x="connsiteX59547" y="connsiteY59547"/>
              </a:cxn>
              <a:cxn ang="0">
                <a:pos x="connsiteX59548" y="connsiteY59548"/>
              </a:cxn>
              <a:cxn ang="0">
                <a:pos x="connsiteX59549" y="connsiteY59549"/>
              </a:cxn>
              <a:cxn ang="0">
                <a:pos x="connsiteX59550" y="connsiteY59550"/>
              </a:cxn>
              <a:cxn ang="0">
                <a:pos x="connsiteX59551" y="connsiteY59551"/>
              </a:cxn>
              <a:cxn ang="0">
                <a:pos x="connsiteX59552" y="connsiteY59552"/>
              </a:cxn>
              <a:cxn ang="0">
                <a:pos x="connsiteX59553" y="connsiteY59553"/>
              </a:cxn>
              <a:cxn ang="0">
                <a:pos x="connsiteX59554" y="connsiteY59554"/>
              </a:cxn>
              <a:cxn ang="0">
                <a:pos x="connsiteX59555" y="connsiteY59555"/>
              </a:cxn>
              <a:cxn ang="0">
                <a:pos x="connsiteX59556" y="connsiteY59556"/>
              </a:cxn>
              <a:cxn ang="0">
                <a:pos x="connsiteX59557" y="connsiteY59557"/>
              </a:cxn>
              <a:cxn ang="0">
                <a:pos x="connsiteX59558" y="connsiteY59558"/>
              </a:cxn>
              <a:cxn ang="0">
                <a:pos x="connsiteX59559" y="connsiteY59559"/>
              </a:cxn>
              <a:cxn ang="0">
                <a:pos x="connsiteX59560" y="connsiteY59560"/>
              </a:cxn>
              <a:cxn ang="0">
                <a:pos x="connsiteX59561" y="connsiteY59561"/>
              </a:cxn>
              <a:cxn ang="0">
                <a:pos x="connsiteX59562" y="connsiteY59562"/>
              </a:cxn>
              <a:cxn ang="0">
                <a:pos x="connsiteX59563" y="connsiteY59563"/>
              </a:cxn>
              <a:cxn ang="0">
                <a:pos x="connsiteX59564" y="connsiteY59564"/>
              </a:cxn>
              <a:cxn ang="0">
                <a:pos x="connsiteX59565" y="connsiteY59565"/>
              </a:cxn>
              <a:cxn ang="0">
                <a:pos x="connsiteX59566" y="connsiteY59566"/>
              </a:cxn>
              <a:cxn ang="0">
                <a:pos x="connsiteX59567" y="connsiteY59567"/>
              </a:cxn>
              <a:cxn ang="0">
                <a:pos x="connsiteX59568" y="connsiteY59568"/>
              </a:cxn>
              <a:cxn ang="0">
                <a:pos x="connsiteX59569" y="connsiteY59569"/>
              </a:cxn>
              <a:cxn ang="0">
                <a:pos x="connsiteX59570" y="connsiteY59570"/>
              </a:cxn>
              <a:cxn ang="0">
                <a:pos x="connsiteX59571" y="connsiteY59571"/>
              </a:cxn>
              <a:cxn ang="0">
                <a:pos x="connsiteX59572" y="connsiteY59572"/>
              </a:cxn>
              <a:cxn ang="0">
                <a:pos x="connsiteX59573" y="connsiteY59573"/>
              </a:cxn>
              <a:cxn ang="0">
                <a:pos x="connsiteX59574" y="connsiteY59574"/>
              </a:cxn>
              <a:cxn ang="0">
                <a:pos x="connsiteX59575" y="connsiteY59575"/>
              </a:cxn>
              <a:cxn ang="0">
                <a:pos x="connsiteX59576" y="connsiteY59576"/>
              </a:cxn>
              <a:cxn ang="0">
                <a:pos x="connsiteX59577" y="connsiteY59577"/>
              </a:cxn>
              <a:cxn ang="0">
                <a:pos x="connsiteX59578" y="connsiteY59578"/>
              </a:cxn>
              <a:cxn ang="0">
                <a:pos x="connsiteX59579" y="connsiteY59579"/>
              </a:cxn>
              <a:cxn ang="0">
                <a:pos x="connsiteX59580" y="connsiteY59580"/>
              </a:cxn>
              <a:cxn ang="0">
                <a:pos x="connsiteX59581" y="connsiteY59581"/>
              </a:cxn>
              <a:cxn ang="0">
                <a:pos x="connsiteX59582" y="connsiteY59582"/>
              </a:cxn>
              <a:cxn ang="0">
                <a:pos x="connsiteX59583" y="connsiteY59583"/>
              </a:cxn>
              <a:cxn ang="0">
                <a:pos x="connsiteX59584" y="connsiteY59584"/>
              </a:cxn>
              <a:cxn ang="0">
                <a:pos x="connsiteX59585" y="connsiteY59585"/>
              </a:cxn>
              <a:cxn ang="0">
                <a:pos x="connsiteX59586" y="connsiteY59586"/>
              </a:cxn>
              <a:cxn ang="0">
                <a:pos x="connsiteX59587" y="connsiteY59587"/>
              </a:cxn>
              <a:cxn ang="0">
                <a:pos x="connsiteX59588" y="connsiteY59588"/>
              </a:cxn>
              <a:cxn ang="0">
                <a:pos x="connsiteX59589" y="connsiteY59589"/>
              </a:cxn>
              <a:cxn ang="0">
                <a:pos x="connsiteX59590" y="connsiteY59590"/>
              </a:cxn>
              <a:cxn ang="0">
                <a:pos x="connsiteX59591" y="connsiteY59591"/>
              </a:cxn>
              <a:cxn ang="0">
                <a:pos x="connsiteX59592" y="connsiteY59592"/>
              </a:cxn>
              <a:cxn ang="0">
                <a:pos x="connsiteX59593" y="connsiteY59593"/>
              </a:cxn>
              <a:cxn ang="0">
                <a:pos x="connsiteX59594" y="connsiteY59594"/>
              </a:cxn>
              <a:cxn ang="0">
                <a:pos x="connsiteX59595" y="connsiteY59595"/>
              </a:cxn>
              <a:cxn ang="0">
                <a:pos x="connsiteX59596" y="connsiteY59596"/>
              </a:cxn>
              <a:cxn ang="0">
                <a:pos x="connsiteX59597" y="connsiteY59597"/>
              </a:cxn>
              <a:cxn ang="0">
                <a:pos x="connsiteX59598" y="connsiteY59598"/>
              </a:cxn>
              <a:cxn ang="0">
                <a:pos x="connsiteX59599" y="connsiteY59599"/>
              </a:cxn>
              <a:cxn ang="0">
                <a:pos x="connsiteX59600" y="connsiteY59600"/>
              </a:cxn>
              <a:cxn ang="0">
                <a:pos x="connsiteX59601" y="connsiteY59601"/>
              </a:cxn>
              <a:cxn ang="0">
                <a:pos x="connsiteX59602" y="connsiteY59602"/>
              </a:cxn>
              <a:cxn ang="0">
                <a:pos x="connsiteX59603" y="connsiteY59603"/>
              </a:cxn>
              <a:cxn ang="0">
                <a:pos x="connsiteX59604" y="connsiteY59604"/>
              </a:cxn>
              <a:cxn ang="0">
                <a:pos x="connsiteX59605" y="connsiteY59605"/>
              </a:cxn>
              <a:cxn ang="0">
                <a:pos x="connsiteX59606" y="connsiteY59606"/>
              </a:cxn>
              <a:cxn ang="0">
                <a:pos x="connsiteX59607" y="connsiteY59607"/>
              </a:cxn>
              <a:cxn ang="0">
                <a:pos x="connsiteX59608" y="connsiteY59608"/>
              </a:cxn>
              <a:cxn ang="0">
                <a:pos x="connsiteX59609" y="connsiteY59609"/>
              </a:cxn>
              <a:cxn ang="0">
                <a:pos x="connsiteX59610" y="connsiteY59610"/>
              </a:cxn>
              <a:cxn ang="0">
                <a:pos x="connsiteX59611" y="connsiteY59611"/>
              </a:cxn>
              <a:cxn ang="0">
                <a:pos x="connsiteX59612" y="connsiteY59612"/>
              </a:cxn>
              <a:cxn ang="0">
                <a:pos x="connsiteX59613" y="connsiteY59613"/>
              </a:cxn>
              <a:cxn ang="0">
                <a:pos x="connsiteX59614" y="connsiteY59614"/>
              </a:cxn>
              <a:cxn ang="0">
                <a:pos x="connsiteX59615" y="connsiteY59615"/>
              </a:cxn>
              <a:cxn ang="0">
                <a:pos x="connsiteX59616" y="connsiteY59616"/>
              </a:cxn>
              <a:cxn ang="0">
                <a:pos x="connsiteX59617" y="connsiteY59617"/>
              </a:cxn>
              <a:cxn ang="0">
                <a:pos x="connsiteX59618" y="connsiteY59618"/>
              </a:cxn>
              <a:cxn ang="0">
                <a:pos x="connsiteX59619" y="connsiteY59619"/>
              </a:cxn>
              <a:cxn ang="0">
                <a:pos x="connsiteX59620" y="connsiteY59620"/>
              </a:cxn>
              <a:cxn ang="0">
                <a:pos x="connsiteX59621" y="connsiteY59621"/>
              </a:cxn>
              <a:cxn ang="0">
                <a:pos x="connsiteX59622" y="connsiteY59622"/>
              </a:cxn>
              <a:cxn ang="0">
                <a:pos x="connsiteX59623" y="connsiteY59623"/>
              </a:cxn>
              <a:cxn ang="0">
                <a:pos x="connsiteX59624" y="connsiteY59624"/>
              </a:cxn>
              <a:cxn ang="0">
                <a:pos x="connsiteX59625" y="connsiteY59625"/>
              </a:cxn>
              <a:cxn ang="0">
                <a:pos x="connsiteX59626" y="connsiteY59626"/>
              </a:cxn>
              <a:cxn ang="0">
                <a:pos x="connsiteX59627" y="connsiteY59627"/>
              </a:cxn>
              <a:cxn ang="0">
                <a:pos x="connsiteX59628" y="connsiteY59628"/>
              </a:cxn>
              <a:cxn ang="0">
                <a:pos x="connsiteX59629" y="connsiteY59629"/>
              </a:cxn>
              <a:cxn ang="0">
                <a:pos x="connsiteX59630" y="connsiteY59630"/>
              </a:cxn>
              <a:cxn ang="0">
                <a:pos x="connsiteX59631" y="connsiteY59631"/>
              </a:cxn>
              <a:cxn ang="0">
                <a:pos x="connsiteX59632" y="connsiteY59632"/>
              </a:cxn>
              <a:cxn ang="0">
                <a:pos x="connsiteX59633" y="connsiteY59633"/>
              </a:cxn>
              <a:cxn ang="0">
                <a:pos x="connsiteX59634" y="connsiteY59634"/>
              </a:cxn>
              <a:cxn ang="0">
                <a:pos x="connsiteX59635" y="connsiteY59635"/>
              </a:cxn>
              <a:cxn ang="0">
                <a:pos x="connsiteX59636" y="connsiteY59636"/>
              </a:cxn>
              <a:cxn ang="0">
                <a:pos x="connsiteX59637" y="connsiteY59637"/>
              </a:cxn>
              <a:cxn ang="0">
                <a:pos x="connsiteX59638" y="connsiteY59638"/>
              </a:cxn>
              <a:cxn ang="0">
                <a:pos x="connsiteX59639" y="connsiteY59639"/>
              </a:cxn>
              <a:cxn ang="0">
                <a:pos x="connsiteX59640" y="connsiteY59640"/>
              </a:cxn>
              <a:cxn ang="0">
                <a:pos x="connsiteX59641" y="connsiteY59641"/>
              </a:cxn>
              <a:cxn ang="0">
                <a:pos x="connsiteX59642" y="connsiteY59642"/>
              </a:cxn>
              <a:cxn ang="0">
                <a:pos x="connsiteX59643" y="connsiteY59643"/>
              </a:cxn>
              <a:cxn ang="0">
                <a:pos x="connsiteX59644" y="connsiteY59644"/>
              </a:cxn>
              <a:cxn ang="0">
                <a:pos x="connsiteX59645" y="connsiteY59645"/>
              </a:cxn>
              <a:cxn ang="0">
                <a:pos x="connsiteX59646" y="connsiteY59646"/>
              </a:cxn>
              <a:cxn ang="0">
                <a:pos x="connsiteX59647" y="connsiteY59647"/>
              </a:cxn>
              <a:cxn ang="0">
                <a:pos x="connsiteX59648" y="connsiteY59648"/>
              </a:cxn>
              <a:cxn ang="0">
                <a:pos x="connsiteX59649" y="connsiteY59649"/>
              </a:cxn>
              <a:cxn ang="0">
                <a:pos x="connsiteX59650" y="connsiteY59650"/>
              </a:cxn>
              <a:cxn ang="0">
                <a:pos x="connsiteX59651" y="connsiteY59651"/>
              </a:cxn>
              <a:cxn ang="0">
                <a:pos x="connsiteX59652" y="connsiteY59652"/>
              </a:cxn>
              <a:cxn ang="0">
                <a:pos x="connsiteX59653" y="connsiteY59653"/>
              </a:cxn>
              <a:cxn ang="0">
                <a:pos x="connsiteX59654" y="connsiteY59654"/>
              </a:cxn>
              <a:cxn ang="0">
                <a:pos x="connsiteX59655" y="connsiteY59655"/>
              </a:cxn>
              <a:cxn ang="0">
                <a:pos x="connsiteX59656" y="connsiteY59656"/>
              </a:cxn>
              <a:cxn ang="0">
                <a:pos x="connsiteX59657" y="connsiteY59657"/>
              </a:cxn>
              <a:cxn ang="0">
                <a:pos x="connsiteX59658" y="connsiteY59658"/>
              </a:cxn>
              <a:cxn ang="0">
                <a:pos x="connsiteX59659" y="connsiteY59659"/>
              </a:cxn>
              <a:cxn ang="0">
                <a:pos x="connsiteX59660" y="connsiteY59660"/>
              </a:cxn>
              <a:cxn ang="0">
                <a:pos x="connsiteX59661" y="connsiteY59661"/>
              </a:cxn>
              <a:cxn ang="0">
                <a:pos x="connsiteX59662" y="connsiteY59662"/>
              </a:cxn>
              <a:cxn ang="0">
                <a:pos x="connsiteX59663" y="connsiteY59663"/>
              </a:cxn>
              <a:cxn ang="0">
                <a:pos x="connsiteX59664" y="connsiteY59664"/>
              </a:cxn>
              <a:cxn ang="0">
                <a:pos x="connsiteX59665" y="connsiteY59665"/>
              </a:cxn>
              <a:cxn ang="0">
                <a:pos x="connsiteX59666" y="connsiteY59666"/>
              </a:cxn>
              <a:cxn ang="0">
                <a:pos x="connsiteX59667" y="connsiteY59667"/>
              </a:cxn>
              <a:cxn ang="0">
                <a:pos x="connsiteX59668" y="connsiteY59668"/>
              </a:cxn>
              <a:cxn ang="0">
                <a:pos x="connsiteX59669" y="connsiteY59669"/>
              </a:cxn>
              <a:cxn ang="0">
                <a:pos x="connsiteX59670" y="connsiteY59670"/>
              </a:cxn>
              <a:cxn ang="0">
                <a:pos x="connsiteX59671" y="connsiteY59671"/>
              </a:cxn>
              <a:cxn ang="0">
                <a:pos x="connsiteX59672" y="connsiteY59672"/>
              </a:cxn>
              <a:cxn ang="0">
                <a:pos x="connsiteX59673" y="connsiteY59673"/>
              </a:cxn>
              <a:cxn ang="0">
                <a:pos x="connsiteX59674" y="connsiteY59674"/>
              </a:cxn>
              <a:cxn ang="0">
                <a:pos x="connsiteX59675" y="connsiteY59675"/>
              </a:cxn>
              <a:cxn ang="0">
                <a:pos x="connsiteX59676" y="connsiteY59676"/>
              </a:cxn>
              <a:cxn ang="0">
                <a:pos x="connsiteX59677" y="connsiteY59677"/>
              </a:cxn>
              <a:cxn ang="0">
                <a:pos x="connsiteX59678" y="connsiteY59678"/>
              </a:cxn>
              <a:cxn ang="0">
                <a:pos x="connsiteX59679" y="connsiteY59679"/>
              </a:cxn>
              <a:cxn ang="0">
                <a:pos x="connsiteX59680" y="connsiteY59680"/>
              </a:cxn>
              <a:cxn ang="0">
                <a:pos x="connsiteX59681" y="connsiteY59681"/>
              </a:cxn>
              <a:cxn ang="0">
                <a:pos x="connsiteX59682" y="connsiteY59682"/>
              </a:cxn>
              <a:cxn ang="0">
                <a:pos x="connsiteX59683" y="connsiteY59683"/>
              </a:cxn>
              <a:cxn ang="0">
                <a:pos x="connsiteX59684" y="connsiteY59684"/>
              </a:cxn>
              <a:cxn ang="0">
                <a:pos x="connsiteX59685" y="connsiteY59685"/>
              </a:cxn>
              <a:cxn ang="0">
                <a:pos x="connsiteX59686" y="connsiteY59686"/>
              </a:cxn>
              <a:cxn ang="0">
                <a:pos x="connsiteX59687" y="connsiteY59687"/>
              </a:cxn>
              <a:cxn ang="0">
                <a:pos x="connsiteX59688" y="connsiteY59688"/>
              </a:cxn>
              <a:cxn ang="0">
                <a:pos x="connsiteX59689" y="connsiteY59689"/>
              </a:cxn>
              <a:cxn ang="0">
                <a:pos x="connsiteX59690" y="connsiteY59690"/>
              </a:cxn>
              <a:cxn ang="0">
                <a:pos x="connsiteX59691" y="connsiteY59691"/>
              </a:cxn>
              <a:cxn ang="0">
                <a:pos x="connsiteX59692" y="connsiteY59692"/>
              </a:cxn>
              <a:cxn ang="0">
                <a:pos x="connsiteX59693" y="connsiteY59693"/>
              </a:cxn>
              <a:cxn ang="0">
                <a:pos x="connsiteX59694" y="connsiteY59694"/>
              </a:cxn>
              <a:cxn ang="0">
                <a:pos x="connsiteX59695" y="connsiteY59695"/>
              </a:cxn>
              <a:cxn ang="0">
                <a:pos x="connsiteX59696" y="connsiteY59696"/>
              </a:cxn>
              <a:cxn ang="0">
                <a:pos x="connsiteX59697" y="connsiteY59697"/>
              </a:cxn>
              <a:cxn ang="0">
                <a:pos x="connsiteX59698" y="connsiteY59698"/>
              </a:cxn>
              <a:cxn ang="0">
                <a:pos x="connsiteX59699" y="connsiteY59699"/>
              </a:cxn>
              <a:cxn ang="0">
                <a:pos x="connsiteX59700" y="connsiteY59700"/>
              </a:cxn>
              <a:cxn ang="0">
                <a:pos x="connsiteX59701" y="connsiteY59701"/>
              </a:cxn>
              <a:cxn ang="0">
                <a:pos x="connsiteX59702" y="connsiteY59702"/>
              </a:cxn>
              <a:cxn ang="0">
                <a:pos x="connsiteX59703" y="connsiteY59703"/>
              </a:cxn>
              <a:cxn ang="0">
                <a:pos x="connsiteX59704" y="connsiteY59704"/>
              </a:cxn>
              <a:cxn ang="0">
                <a:pos x="connsiteX59705" y="connsiteY59705"/>
              </a:cxn>
              <a:cxn ang="0">
                <a:pos x="connsiteX59706" y="connsiteY59706"/>
              </a:cxn>
              <a:cxn ang="0">
                <a:pos x="connsiteX59707" y="connsiteY59707"/>
              </a:cxn>
              <a:cxn ang="0">
                <a:pos x="connsiteX59708" y="connsiteY59708"/>
              </a:cxn>
              <a:cxn ang="0">
                <a:pos x="connsiteX59709" y="connsiteY59709"/>
              </a:cxn>
              <a:cxn ang="0">
                <a:pos x="connsiteX59710" y="connsiteY59710"/>
              </a:cxn>
              <a:cxn ang="0">
                <a:pos x="connsiteX59711" y="connsiteY59711"/>
              </a:cxn>
              <a:cxn ang="0">
                <a:pos x="connsiteX59712" y="connsiteY59712"/>
              </a:cxn>
              <a:cxn ang="0">
                <a:pos x="connsiteX59713" y="connsiteY59713"/>
              </a:cxn>
              <a:cxn ang="0">
                <a:pos x="connsiteX59714" y="connsiteY59714"/>
              </a:cxn>
              <a:cxn ang="0">
                <a:pos x="connsiteX59715" y="connsiteY59715"/>
              </a:cxn>
              <a:cxn ang="0">
                <a:pos x="connsiteX59716" y="connsiteY59716"/>
              </a:cxn>
              <a:cxn ang="0">
                <a:pos x="connsiteX59717" y="connsiteY59717"/>
              </a:cxn>
              <a:cxn ang="0">
                <a:pos x="connsiteX59718" y="connsiteY59718"/>
              </a:cxn>
              <a:cxn ang="0">
                <a:pos x="connsiteX59719" y="connsiteY59719"/>
              </a:cxn>
              <a:cxn ang="0">
                <a:pos x="connsiteX59720" y="connsiteY59720"/>
              </a:cxn>
              <a:cxn ang="0">
                <a:pos x="connsiteX59721" y="connsiteY59721"/>
              </a:cxn>
              <a:cxn ang="0">
                <a:pos x="connsiteX59722" y="connsiteY59722"/>
              </a:cxn>
              <a:cxn ang="0">
                <a:pos x="connsiteX59723" y="connsiteY59723"/>
              </a:cxn>
              <a:cxn ang="0">
                <a:pos x="connsiteX59724" y="connsiteY59724"/>
              </a:cxn>
              <a:cxn ang="0">
                <a:pos x="connsiteX59725" y="connsiteY59725"/>
              </a:cxn>
              <a:cxn ang="0">
                <a:pos x="connsiteX59726" y="connsiteY59726"/>
              </a:cxn>
              <a:cxn ang="0">
                <a:pos x="connsiteX59727" y="connsiteY59727"/>
              </a:cxn>
              <a:cxn ang="0">
                <a:pos x="connsiteX59728" y="connsiteY59728"/>
              </a:cxn>
              <a:cxn ang="0">
                <a:pos x="connsiteX59729" y="connsiteY59729"/>
              </a:cxn>
              <a:cxn ang="0">
                <a:pos x="connsiteX59730" y="connsiteY59730"/>
              </a:cxn>
              <a:cxn ang="0">
                <a:pos x="connsiteX59731" y="connsiteY59731"/>
              </a:cxn>
              <a:cxn ang="0">
                <a:pos x="connsiteX59732" y="connsiteY59732"/>
              </a:cxn>
              <a:cxn ang="0">
                <a:pos x="connsiteX59733" y="connsiteY59733"/>
              </a:cxn>
              <a:cxn ang="0">
                <a:pos x="connsiteX59734" y="connsiteY59734"/>
              </a:cxn>
              <a:cxn ang="0">
                <a:pos x="connsiteX59735" y="connsiteY59735"/>
              </a:cxn>
              <a:cxn ang="0">
                <a:pos x="connsiteX59736" y="connsiteY59736"/>
              </a:cxn>
              <a:cxn ang="0">
                <a:pos x="connsiteX59737" y="connsiteY59737"/>
              </a:cxn>
              <a:cxn ang="0">
                <a:pos x="connsiteX59738" y="connsiteY59738"/>
              </a:cxn>
              <a:cxn ang="0">
                <a:pos x="connsiteX59739" y="connsiteY59739"/>
              </a:cxn>
              <a:cxn ang="0">
                <a:pos x="connsiteX59740" y="connsiteY59740"/>
              </a:cxn>
              <a:cxn ang="0">
                <a:pos x="connsiteX59741" y="connsiteY59741"/>
              </a:cxn>
              <a:cxn ang="0">
                <a:pos x="connsiteX59742" y="connsiteY59742"/>
              </a:cxn>
              <a:cxn ang="0">
                <a:pos x="connsiteX59743" y="connsiteY59743"/>
              </a:cxn>
              <a:cxn ang="0">
                <a:pos x="connsiteX59744" y="connsiteY59744"/>
              </a:cxn>
              <a:cxn ang="0">
                <a:pos x="connsiteX59745" y="connsiteY59745"/>
              </a:cxn>
              <a:cxn ang="0">
                <a:pos x="connsiteX59746" y="connsiteY59746"/>
              </a:cxn>
              <a:cxn ang="0">
                <a:pos x="connsiteX59747" y="connsiteY59747"/>
              </a:cxn>
              <a:cxn ang="0">
                <a:pos x="connsiteX59748" y="connsiteY59748"/>
              </a:cxn>
              <a:cxn ang="0">
                <a:pos x="connsiteX59749" y="connsiteY59749"/>
              </a:cxn>
              <a:cxn ang="0">
                <a:pos x="connsiteX59750" y="connsiteY59750"/>
              </a:cxn>
              <a:cxn ang="0">
                <a:pos x="connsiteX59751" y="connsiteY59751"/>
              </a:cxn>
              <a:cxn ang="0">
                <a:pos x="connsiteX59752" y="connsiteY59752"/>
              </a:cxn>
              <a:cxn ang="0">
                <a:pos x="connsiteX59753" y="connsiteY59753"/>
              </a:cxn>
              <a:cxn ang="0">
                <a:pos x="connsiteX59754" y="connsiteY59754"/>
              </a:cxn>
              <a:cxn ang="0">
                <a:pos x="connsiteX59755" y="connsiteY59755"/>
              </a:cxn>
              <a:cxn ang="0">
                <a:pos x="connsiteX59756" y="connsiteY59756"/>
              </a:cxn>
              <a:cxn ang="0">
                <a:pos x="connsiteX59757" y="connsiteY59757"/>
              </a:cxn>
              <a:cxn ang="0">
                <a:pos x="connsiteX59758" y="connsiteY59758"/>
              </a:cxn>
              <a:cxn ang="0">
                <a:pos x="connsiteX59759" y="connsiteY59759"/>
              </a:cxn>
              <a:cxn ang="0">
                <a:pos x="connsiteX59760" y="connsiteY59760"/>
              </a:cxn>
              <a:cxn ang="0">
                <a:pos x="connsiteX59761" y="connsiteY59761"/>
              </a:cxn>
              <a:cxn ang="0">
                <a:pos x="connsiteX59762" y="connsiteY59762"/>
              </a:cxn>
              <a:cxn ang="0">
                <a:pos x="connsiteX59763" y="connsiteY59763"/>
              </a:cxn>
              <a:cxn ang="0">
                <a:pos x="connsiteX59764" y="connsiteY59764"/>
              </a:cxn>
              <a:cxn ang="0">
                <a:pos x="connsiteX59765" y="connsiteY59765"/>
              </a:cxn>
              <a:cxn ang="0">
                <a:pos x="connsiteX59766" y="connsiteY59766"/>
              </a:cxn>
              <a:cxn ang="0">
                <a:pos x="connsiteX59767" y="connsiteY59767"/>
              </a:cxn>
              <a:cxn ang="0">
                <a:pos x="connsiteX59768" y="connsiteY59768"/>
              </a:cxn>
              <a:cxn ang="0">
                <a:pos x="connsiteX59769" y="connsiteY59769"/>
              </a:cxn>
              <a:cxn ang="0">
                <a:pos x="connsiteX59770" y="connsiteY59770"/>
              </a:cxn>
              <a:cxn ang="0">
                <a:pos x="connsiteX59771" y="connsiteY59771"/>
              </a:cxn>
              <a:cxn ang="0">
                <a:pos x="connsiteX59772" y="connsiteY59772"/>
              </a:cxn>
              <a:cxn ang="0">
                <a:pos x="connsiteX59773" y="connsiteY59773"/>
              </a:cxn>
              <a:cxn ang="0">
                <a:pos x="connsiteX59774" y="connsiteY59774"/>
              </a:cxn>
              <a:cxn ang="0">
                <a:pos x="connsiteX59775" y="connsiteY59775"/>
              </a:cxn>
              <a:cxn ang="0">
                <a:pos x="connsiteX59776" y="connsiteY59776"/>
              </a:cxn>
              <a:cxn ang="0">
                <a:pos x="connsiteX59777" y="connsiteY59777"/>
              </a:cxn>
              <a:cxn ang="0">
                <a:pos x="connsiteX59778" y="connsiteY59778"/>
              </a:cxn>
              <a:cxn ang="0">
                <a:pos x="connsiteX59779" y="connsiteY59779"/>
              </a:cxn>
              <a:cxn ang="0">
                <a:pos x="connsiteX59780" y="connsiteY59780"/>
              </a:cxn>
              <a:cxn ang="0">
                <a:pos x="connsiteX59781" y="connsiteY59781"/>
              </a:cxn>
              <a:cxn ang="0">
                <a:pos x="connsiteX59782" y="connsiteY59782"/>
              </a:cxn>
              <a:cxn ang="0">
                <a:pos x="connsiteX59783" y="connsiteY59783"/>
              </a:cxn>
              <a:cxn ang="0">
                <a:pos x="connsiteX59784" y="connsiteY59784"/>
              </a:cxn>
              <a:cxn ang="0">
                <a:pos x="connsiteX59785" y="connsiteY59785"/>
              </a:cxn>
              <a:cxn ang="0">
                <a:pos x="connsiteX59786" y="connsiteY59786"/>
              </a:cxn>
              <a:cxn ang="0">
                <a:pos x="connsiteX59787" y="connsiteY59787"/>
              </a:cxn>
              <a:cxn ang="0">
                <a:pos x="connsiteX59788" y="connsiteY59788"/>
              </a:cxn>
              <a:cxn ang="0">
                <a:pos x="connsiteX59789" y="connsiteY59789"/>
              </a:cxn>
              <a:cxn ang="0">
                <a:pos x="connsiteX59790" y="connsiteY59790"/>
              </a:cxn>
              <a:cxn ang="0">
                <a:pos x="connsiteX59791" y="connsiteY59791"/>
              </a:cxn>
              <a:cxn ang="0">
                <a:pos x="connsiteX59792" y="connsiteY59792"/>
              </a:cxn>
              <a:cxn ang="0">
                <a:pos x="connsiteX59793" y="connsiteY59793"/>
              </a:cxn>
              <a:cxn ang="0">
                <a:pos x="connsiteX59794" y="connsiteY59794"/>
              </a:cxn>
              <a:cxn ang="0">
                <a:pos x="connsiteX59795" y="connsiteY59795"/>
              </a:cxn>
              <a:cxn ang="0">
                <a:pos x="connsiteX59796" y="connsiteY59796"/>
              </a:cxn>
              <a:cxn ang="0">
                <a:pos x="connsiteX59797" y="connsiteY59797"/>
              </a:cxn>
              <a:cxn ang="0">
                <a:pos x="connsiteX59798" y="connsiteY59798"/>
              </a:cxn>
              <a:cxn ang="0">
                <a:pos x="connsiteX59799" y="connsiteY59799"/>
              </a:cxn>
              <a:cxn ang="0">
                <a:pos x="connsiteX59800" y="connsiteY59800"/>
              </a:cxn>
              <a:cxn ang="0">
                <a:pos x="connsiteX59801" y="connsiteY59801"/>
              </a:cxn>
              <a:cxn ang="0">
                <a:pos x="connsiteX59802" y="connsiteY59802"/>
              </a:cxn>
              <a:cxn ang="0">
                <a:pos x="connsiteX59803" y="connsiteY59803"/>
              </a:cxn>
              <a:cxn ang="0">
                <a:pos x="connsiteX59804" y="connsiteY59804"/>
              </a:cxn>
              <a:cxn ang="0">
                <a:pos x="connsiteX59805" y="connsiteY59805"/>
              </a:cxn>
              <a:cxn ang="0">
                <a:pos x="connsiteX59806" y="connsiteY59806"/>
              </a:cxn>
              <a:cxn ang="0">
                <a:pos x="connsiteX59807" y="connsiteY59807"/>
              </a:cxn>
              <a:cxn ang="0">
                <a:pos x="connsiteX59808" y="connsiteY59808"/>
              </a:cxn>
              <a:cxn ang="0">
                <a:pos x="connsiteX59809" y="connsiteY59809"/>
              </a:cxn>
              <a:cxn ang="0">
                <a:pos x="connsiteX59810" y="connsiteY59810"/>
              </a:cxn>
              <a:cxn ang="0">
                <a:pos x="connsiteX59811" y="connsiteY59811"/>
              </a:cxn>
              <a:cxn ang="0">
                <a:pos x="connsiteX59812" y="connsiteY59812"/>
              </a:cxn>
              <a:cxn ang="0">
                <a:pos x="connsiteX59813" y="connsiteY59813"/>
              </a:cxn>
              <a:cxn ang="0">
                <a:pos x="connsiteX59814" y="connsiteY59814"/>
              </a:cxn>
              <a:cxn ang="0">
                <a:pos x="connsiteX59815" y="connsiteY59815"/>
              </a:cxn>
              <a:cxn ang="0">
                <a:pos x="connsiteX59816" y="connsiteY59816"/>
              </a:cxn>
              <a:cxn ang="0">
                <a:pos x="connsiteX59817" y="connsiteY59817"/>
              </a:cxn>
              <a:cxn ang="0">
                <a:pos x="connsiteX59818" y="connsiteY59818"/>
              </a:cxn>
              <a:cxn ang="0">
                <a:pos x="connsiteX59819" y="connsiteY59819"/>
              </a:cxn>
              <a:cxn ang="0">
                <a:pos x="connsiteX59820" y="connsiteY59820"/>
              </a:cxn>
              <a:cxn ang="0">
                <a:pos x="connsiteX59821" y="connsiteY59821"/>
              </a:cxn>
              <a:cxn ang="0">
                <a:pos x="connsiteX59822" y="connsiteY59822"/>
              </a:cxn>
              <a:cxn ang="0">
                <a:pos x="connsiteX59823" y="connsiteY59823"/>
              </a:cxn>
              <a:cxn ang="0">
                <a:pos x="connsiteX59824" y="connsiteY59824"/>
              </a:cxn>
              <a:cxn ang="0">
                <a:pos x="connsiteX59825" y="connsiteY59825"/>
              </a:cxn>
              <a:cxn ang="0">
                <a:pos x="connsiteX59826" y="connsiteY59826"/>
              </a:cxn>
              <a:cxn ang="0">
                <a:pos x="connsiteX59827" y="connsiteY59827"/>
              </a:cxn>
              <a:cxn ang="0">
                <a:pos x="connsiteX59828" y="connsiteY59828"/>
              </a:cxn>
              <a:cxn ang="0">
                <a:pos x="connsiteX59829" y="connsiteY59829"/>
              </a:cxn>
              <a:cxn ang="0">
                <a:pos x="connsiteX59830" y="connsiteY59830"/>
              </a:cxn>
              <a:cxn ang="0">
                <a:pos x="connsiteX59831" y="connsiteY59831"/>
              </a:cxn>
              <a:cxn ang="0">
                <a:pos x="connsiteX59832" y="connsiteY59832"/>
              </a:cxn>
              <a:cxn ang="0">
                <a:pos x="connsiteX59833" y="connsiteY59833"/>
              </a:cxn>
              <a:cxn ang="0">
                <a:pos x="connsiteX59834" y="connsiteY59834"/>
              </a:cxn>
              <a:cxn ang="0">
                <a:pos x="connsiteX59835" y="connsiteY59835"/>
              </a:cxn>
              <a:cxn ang="0">
                <a:pos x="connsiteX59836" y="connsiteY59836"/>
              </a:cxn>
              <a:cxn ang="0">
                <a:pos x="connsiteX59837" y="connsiteY59837"/>
              </a:cxn>
              <a:cxn ang="0">
                <a:pos x="connsiteX59838" y="connsiteY59838"/>
              </a:cxn>
              <a:cxn ang="0">
                <a:pos x="connsiteX59839" y="connsiteY59839"/>
              </a:cxn>
              <a:cxn ang="0">
                <a:pos x="connsiteX59840" y="connsiteY59840"/>
              </a:cxn>
              <a:cxn ang="0">
                <a:pos x="connsiteX59841" y="connsiteY59841"/>
              </a:cxn>
              <a:cxn ang="0">
                <a:pos x="connsiteX59842" y="connsiteY59842"/>
              </a:cxn>
              <a:cxn ang="0">
                <a:pos x="connsiteX59843" y="connsiteY59843"/>
              </a:cxn>
              <a:cxn ang="0">
                <a:pos x="connsiteX59844" y="connsiteY59844"/>
              </a:cxn>
              <a:cxn ang="0">
                <a:pos x="connsiteX59845" y="connsiteY59845"/>
              </a:cxn>
              <a:cxn ang="0">
                <a:pos x="connsiteX59846" y="connsiteY59846"/>
              </a:cxn>
              <a:cxn ang="0">
                <a:pos x="connsiteX59847" y="connsiteY59847"/>
              </a:cxn>
              <a:cxn ang="0">
                <a:pos x="connsiteX59848" y="connsiteY59848"/>
              </a:cxn>
              <a:cxn ang="0">
                <a:pos x="connsiteX59849" y="connsiteY59849"/>
              </a:cxn>
              <a:cxn ang="0">
                <a:pos x="connsiteX59850" y="connsiteY59850"/>
              </a:cxn>
              <a:cxn ang="0">
                <a:pos x="connsiteX59851" y="connsiteY59851"/>
              </a:cxn>
              <a:cxn ang="0">
                <a:pos x="connsiteX59852" y="connsiteY59852"/>
              </a:cxn>
              <a:cxn ang="0">
                <a:pos x="connsiteX59853" y="connsiteY59853"/>
              </a:cxn>
              <a:cxn ang="0">
                <a:pos x="connsiteX59854" y="connsiteY59854"/>
              </a:cxn>
              <a:cxn ang="0">
                <a:pos x="connsiteX59855" y="connsiteY59855"/>
              </a:cxn>
              <a:cxn ang="0">
                <a:pos x="connsiteX59856" y="connsiteY59856"/>
              </a:cxn>
              <a:cxn ang="0">
                <a:pos x="connsiteX59857" y="connsiteY59857"/>
              </a:cxn>
              <a:cxn ang="0">
                <a:pos x="connsiteX59858" y="connsiteY59858"/>
              </a:cxn>
              <a:cxn ang="0">
                <a:pos x="connsiteX59859" y="connsiteY59859"/>
              </a:cxn>
              <a:cxn ang="0">
                <a:pos x="connsiteX59860" y="connsiteY59860"/>
              </a:cxn>
              <a:cxn ang="0">
                <a:pos x="connsiteX59861" y="connsiteY59861"/>
              </a:cxn>
              <a:cxn ang="0">
                <a:pos x="connsiteX59862" y="connsiteY59862"/>
              </a:cxn>
              <a:cxn ang="0">
                <a:pos x="connsiteX59863" y="connsiteY59863"/>
              </a:cxn>
              <a:cxn ang="0">
                <a:pos x="connsiteX59864" y="connsiteY59864"/>
              </a:cxn>
              <a:cxn ang="0">
                <a:pos x="connsiteX59865" y="connsiteY59865"/>
              </a:cxn>
              <a:cxn ang="0">
                <a:pos x="connsiteX59866" y="connsiteY59866"/>
              </a:cxn>
              <a:cxn ang="0">
                <a:pos x="connsiteX59867" y="connsiteY59867"/>
              </a:cxn>
              <a:cxn ang="0">
                <a:pos x="connsiteX59868" y="connsiteY59868"/>
              </a:cxn>
              <a:cxn ang="0">
                <a:pos x="connsiteX59869" y="connsiteY59869"/>
              </a:cxn>
              <a:cxn ang="0">
                <a:pos x="connsiteX59870" y="connsiteY59870"/>
              </a:cxn>
              <a:cxn ang="0">
                <a:pos x="connsiteX59871" y="connsiteY59871"/>
              </a:cxn>
              <a:cxn ang="0">
                <a:pos x="connsiteX59872" y="connsiteY59872"/>
              </a:cxn>
              <a:cxn ang="0">
                <a:pos x="connsiteX59873" y="connsiteY59873"/>
              </a:cxn>
              <a:cxn ang="0">
                <a:pos x="connsiteX59874" y="connsiteY59874"/>
              </a:cxn>
              <a:cxn ang="0">
                <a:pos x="connsiteX59875" y="connsiteY59875"/>
              </a:cxn>
              <a:cxn ang="0">
                <a:pos x="connsiteX59876" y="connsiteY59876"/>
              </a:cxn>
              <a:cxn ang="0">
                <a:pos x="connsiteX59877" y="connsiteY59877"/>
              </a:cxn>
              <a:cxn ang="0">
                <a:pos x="connsiteX59878" y="connsiteY59878"/>
              </a:cxn>
              <a:cxn ang="0">
                <a:pos x="connsiteX59879" y="connsiteY59879"/>
              </a:cxn>
              <a:cxn ang="0">
                <a:pos x="connsiteX59880" y="connsiteY59880"/>
              </a:cxn>
              <a:cxn ang="0">
                <a:pos x="connsiteX59881" y="connsiteY59881"/>
              </a:cxn>
              <a:cxn ang="0">
                <a:pos x="connsiteX59882" y="connsiteY59882"/>
              </a:cxn>
              <a:cxn ang="0">
                <a:pos x="connsiteX59883" y="connsiteY59883"/>
              </a:cxn>
              <a:cxn ang="0">
                <a:pos x="connsiteX59884" y="connsiteY59884"/>
              </a:cxn>
              <a:cxn ang="0">
                <a:pos x="connsiteX59885" y="connsiteY59885"/>
              </a:cxn>
              <a:cxn ang="0">
                <a:pos x="connsiteX59886" y="connsiteY59886"/>
              </a:cxn>
              <a:cxn ang="0">
                <a:pos x="connsiteX59887" y="connsiteY59887"/>
              </a:cxn>
              <a:cxn ang="0">
                <a:pos x="connsiteX59888" y="connsiteY59888"/>
              </a:cxn>
              <a:cxn ang="0">
                <a:pos x="connsiteX59889" y="connsiteY59889"/>
              </a:cxn>
              <a:cxn ang="0">
                <a:pos x="connsiteX59890" y="connsiteY59890"/>
              </a:cxn>
              <a:cxn ang="0">
                <a:pos x="connsiteX59891" y="connsiteY59891"/>
              </a:cxn>
              <a:cxn ang="0">
                <a:pos x="connsiteX59892" y="connsiteY59892"/>
              </a:cxn>
              <a:cxn ang="0">
                <a:pos x="connsiteX59893" y="connsiteY59893"/>
              </a:cxn>
              <a:cxn ang="0">
                <a:pos x="connsiteX59894" y="connsiteY59894"/>
              </a:cxn>
              <a:cxn ang="0">
                <a:pos x="connsiteX59895" y="connsiteY59895"/>
              </a:cxn>
              <a:cxn ang="0">
                <a:pos x="connsiteX59896" y="connsiteY59896"/>
              </a:cxn>
              <a:cxn ang="0">
                <a:pos x="connsiteX59897" y="connsiteY59897"/>
              </a:cxn>
              <a:cxn ang="0">
                <a:pos x="connsiteX59898" y="connsiteY59898"/>
              </a:cxn>
              <a:cxn ang="0">
                <a:pos x="connsiteX59899" y="connsiteY59899"/>
              </a:cxn>
              <a:cxn ang="0">
                <a:pos x="connsiteX59900" y="connsiteY59900"/>
              </a:cxn>
              <a:cxn ang="0">
                <a:pos x="connsiteX59901" y="connsiteY59901"/>
              </a:cxn>
              <a:cxn ang="0">
                <a:pos x="connsiteX59902" y="connsiteY59902"/>
              </a:cxn>
              <a:cxn ang="0">
                <a:pos x="connsiteX59903" y="connsiteY59903"/>
              </a:cxn>
              <a:cxn ang="0">
                <a:pos x="connsiteX59904" y="connsiteY59904"/>
              </a:cxn>
              <a:cxn ang="0">
                <a:pos x="connsiteX59905" y="connsiteY59905"/>
              </a:cxn>
              <a:cxn ang="0">
                <a:pos x="connsiteX59906" y="connsiteY59906"/>
              </a:cxn>
              <a:cxn ang="0">
                <a:pos x="connsiteX59907" y="connsiteY59907"/>
              </a:cxn>
              <a:cxn ang="0">
                <a:pos x="connsiteX59908" y="connsiteY59908"/>
              </a:cxn>
              <a:cxn ang="0">
                <a:pos x="connsiteX59909" y="connsiteY59909"/>
              </a:cxn>
              <a:cxn ang="0">
                <a:pos x="connsiteX59910" y="connsiteY59910"/>
              </a:cxn>
              <a:cxn ang="0">
                <a:pos x="connsiteX59911" y="connsiteY59911"/>
              </a:cxn>
              <a:cxn ang="0">
                <a:pos x="connsiteX59912" y="connsiteY59912"/>
              </a:cxn>
              <a:cxn ang="0">
                <a:pos x="connsiteX59913" y="connsiteY59913"/>
              </a:cxn>
              <a:cxn ang="0">
                <a:pos x="connsiteX59914" y="connsiteY59914"/>
              </a:cxn>
              <a:cxn ang="0">
                <a:pos x="connsiteX59915" y="connsiteY59915"/>
              </a:cxn>
              <a:cxn ang="0">
                <a:pos x="connsiteX59916" y="connsiteY59916"/>
              </a:cxn>
              <a:cxn ang="0">
                <a:pos x="connsiteX59917" y="connsiteY59917"/>
              </a:cxn>
              <a:cxn ang="0">
                <a:pos x="connsiteX59918" y="connsiteY59918"/>
              </a:cxn>
              <a:cxn ang="0">
                <a:pos x="connsiteX59919" y="connsiteY59919"/>
              </a:cxn>
              <a:cxn ang="0">
                <a:pos x="connsiteX59920" y="connsiteY59920"/>
              </a:cxn>
              <a:cxn ang="0">
                <a:pos x="connsiteX59921" y="connsiteY59921"/>
              </a:cxn>
              <a:cxn ang="0">
                <a:pos x="connsiteX59922" y="connsiteY59922"/>
              </a:cxn>
              <a:cxn ang="0">
                <a:pos x="connsiteX59923" y="connsiteY59923"/>
              </a:cxn>
              <a:cxn ang="0">
                <a:pos x="connsiteX59924" y="connsiteY59924"/>
              </a:cxn>
              <a:cxn ang="0">
                <a:pos x="connsiteX59925" y="connsiteY59925"/>
              </a:cxn>
              <a:cxn ang="0">
                <a:pos x="connsiteX59926" y="connsiteY59926"/>
              </a:cxn>
              <a:cxn ang="0">
                <a:pos x="connsiteX59927" y="connsiteY59927"/>
              </a:cxn>
              <a:cxn ang="0">
                <a:pos x="connsiteX59928" y="connsiteY59928"/>
              </a:cxn>
              <a:cxn ang="0">
                <a:pos x="connsiteX59929" y="connsiteY59929"/>
              </a:cxn>
              <a:cxn ang="0">
                <a:pos x="connsiteX59930" y="connsiteY59930"/>
              </a:cxn>
              <a:cxn ang="0">
                <a:pos x="connsiteX59931" y="connsiteY59931"/>
              </a:cxn>
              <a:cxn ang="0">
                <a:pos x="connsiteX59932" y="connsiteY59932"/>
              </a:cxn>
              <a:cxn ang="0">
                <a:pos x="connsiteX59933" y="connsiteY59933"/>
              </a:cxn>
              <a:cxn ang="0">
                <a:pos x="connsiteX59934" y="connsiteY59934"/>
              </a:cxn>
              <a:cxn ang="0">
                <a:pos x="connsiteX59935" y="connsiteY59935"/>
              </a:cxn>
              <a:cxn ang="0">
                <a:pos x="connsiteX59936" y="connsiteY59936"/>
              </a:cxn>
              <a:cxn ang="0">
                <a:pos x="connsiteX59937" y="connsiteY59937"/>
              </a:cxn>
              <a:cxn ang="0">
                <a:pos x="connsiteX59938" y="connsiteY59938"/>
              </a:cxn>
              <a:cxn ang="0">
                <a:pos x="connsiteX59939" y="connsiteY59939"/>
              </a:cxn>
              <a:cxn ang="0">
                <a:pos x="connsiteX59940" y="connsiteY59940"/>
              </a:cxn>
              <a:cxn ang="0">
                <a:pos x="connsiteX59941" y="connsiteY59941"/>
              </a:cxn>
              <a:cxn ang="0">
                <a:pos x="connsiteX59942" y="connsiteY59942"/>
              </a:cxn>
              <a:cxn ang="0">
                <a:pos x="connsiteX59943" y="connsiteY59943"/>
              </a:cxn>
              <a:cxn ang="0">
                <a:pos x="connsiteX59944" y="connsiteY59944"/>
              </a:cxn>
              <a:cxn ang="0">
                <a:pos x="connsiteX59945" y="connsiteY59945"/>
              </a:cxn>
              <a:cxn ang="0">
                <a:pos x="connsiteX59946" y="connsiteY59946"/>
              </a:cxn>
              <a:cxn ang="0">
                <a:pos x="connsiteX59947" y="connsiteY59947"/>
              </a:cxn>
              <a:cxn ang="0">
                <a:pos x="connsiteX59948" y="connsiteY59948"/>
              </a:cxn>
              <a:cxn ang="0">
                <a:pos x="connsiteX59949" y="connsiteY59949"/>
              </a:cxn>
              <a:cxn ang="0">
                <a:pos x="connsiteX59950" y="connsiteY59950"/>
              </a:cxn>
              <a:cxn ang="0">
                <a:pos x="connsiteX59951" y="connsiteY59951"/>
              </a:cxn>
              <a:cxn ang="0">
                <a:pos x="connsiteX59952" y="connsiteY59952"/>
              </a:cxn>
              <a:cxn ang="0">
                <a:pos x="connsiteX59953" y="connsiteY59953"/>
              </a:cxn>
              <a:cxn ang="0">
                <a:pos x="connsiteX59954" y="connsiteY59954"/>
              </a:cxn>
              <a:cxn ang="0">
                <a:pos x="connsiteX59955" y="connsiteY59955"/>
              </a:cxn>
              <a:cxn ang="0">
                <a:pos x="connsiteX59956" y="connsiteY59956"/>
              </a:cxn>
              <a:cxn ang="0">
                <a:pos x="connsiteX59957" y="connsiteY59957"/>
              </a:cxn>
              <a:cxn ang="0">
                <a:pos x="connsiteX59958" y="connsiteY59958"/>
              </a:cxn>
              <a:cxn ang="0">
                <a:pos x="connsiteX59959" y="connsiteY59959"/>
              </a:cxn>
              <a:cxn ang="0">
                <a:pos x="connsiteX59960" y="connsiteY59960"/>
              </a:cxn>
              <a:cxn ang="0">
                <a:pos x="connsiteX59961" y="connsiteY59961"/>
              </a:cxn>
              <a:cxn ang="0">
                <a:pos x="connsiteX59962" y="connsiteY59962"/>
              </a:cxn>
              <a:cxn ang="0">
                <a:pos x="connsiteX59963" y="connsiteY59963"/>
              </a:cxn>
              <a:cxn ang="0">
                <a:pos x="connsiteX59964" y="connsiteY59964"/>
              </a:cxn>
              <a:cxn ang="0">
                <a:pos x="connsiteX59965" y="connsiteY59965"/>
              </a:cxn>
              <a:cxn ang="0">
                <a:pos x="connsiteX59966" y="connsiteY59966"/>
              </a:cxn>
              <a:cxn ang="0">
                <a:pos x="connsiteX59967" y="connsiteY59967"/>
              </a:cxn>
              <a:cxn ang="0">
                <a:pos x="connsiteX59968" y="connsiteY59968"/>
              </a:cxn>
              <a:cxn ang="0">
                <a:pos x="connsiteX59969" y="connsiteY59969"/>
              </a:cxn>
              <a:cxn ang="0">
                <a:pos x="connsiteX59970" y="connsiteY59970"/>
              </a:cxn>
              <a:cxn ang="0">
                <a:pos x="connsiteX59971" y="connsiteY59971"/>
              </a:cxn>
              <a:cxn ang="0">
                <a:pos x="connsiteX59972" y="connsiteY59972"/>
              </a:cxn>
              <a:cxn ang="0">
                <a:pos x="connsiteX59973" y="connsiteY59973"/>
              </a:cxn>
              <a:cxn ang="0">
                <a:pos x="connsiteX59974" y="connsiteY59974"/>
              </a:cxn>
              <a:cxn ang="0">
                <a:pos x="connsiteX59975" y="connsiteY59975"/>
              </a:cxn>
              <a:cxn ang="0">
                <a:pos x="connsiteX59976" y="connsiteY59976"/>
              </a:cxn>
              <a:cxn ang="0">
                <a:pos x="connsiteX59977" y="connsiteY59977"/>
              </a:cxn>
              <a:cxn ang="0">
                <a:pos x="connsiteX59978" y="connsiteY59978"/>
              </a:cxn>
              <a:cxn ang="0">
                <a:pos x="connsiteX59979" y="connsiteY59979"/>
              </a:cxn>
              <a:cxn ang="0">
                <a:pos x="connsiteX59980" y="connsiteY59980"/>
              </a:cxn>
              <a:cxn ang="0">
                <a:pos x="connsiteX59981" y="connsiteY59981"/>
              </a:cxn>
              <a:cxn ang="0">
                <a:pos x="connsiteX59982" y="connsiteY59982"/>
              </a:cxn>
              <a:cxn ang="0">
                <a:pos x="connsiteX59983" y="connsiteY59983"/>
              </a:cxn>
              <a:cxn ang="0">
                <a:pos x="connsiteX59984" y="connsiteY59984"/>
              </a:cxn>
              <a:cxn ang="0">
                <a:pos x="connsiteX59985" y="connsiteY59985"/>
              </a:cxn>
              <a:cxn ang="0">
                <a:pos x="connsiteX59986" y="connsiteY59986"/>
              </a:cxn>
              <a:cxn ang="0">
                <a:pos x="connsiteX59987" y="connsiteY59987"/>
              </a:cxn>
              <a:cxn ang="0">
                <a:pos x="connsiteX59988" y="connsiteY59988"/>
              </a:cxn>
              <a:cxn ang="0">
                <a:pos x="connsiteX59989" y="connsiteY59989"/>
              </a:cxn>
              <a:cxn ang="0">
                <a:pos x="connsiteX59990" y="connsiteY59990"/>
              </a:cxn>
              <a:cxn ang="0">
                <a:pos x="connsiteX59991" y="connsiteY59991"/>
              </a:cxn>
              <a:cxn ang="0">
                <a:pos x="connsiteX59992" y="connsiteY59992"/>
              </a:cxn>
              <a:cxn ang="0">
                <a:pos x="connsiteX59993" y="connsiteY59993"/>
              </a:cxn>
              <a:cxn ang="0">
                <a:pos x="connsiteX59994" y="connsiteY59994"/>
              </a:cxn>
              <a:cxn ang="0">
                <a:pos x="connsiteX59995" y="connsiteY59995"/>
              </a:cxn>
              <a:cxn ang="0">
                <a:pos x="connsiteX59996" y="connsiteY59996"/>
              </a:cxn>
              <a:cxn ang="0">
                <a:pos x="connsiteX59997" y="connsiteY59997"/>
              </a:cxn>
              <a:cxn ang="0">
                <a:pos x="connsiteX59998" y="connsiteY59998"/>
              </a:cxn>
              <a:cxn ang="0">
                <a:pos x="connsiteX59999" y="connsiteY59999"/>
              </a:cxn>
              <a:cxn ang="0">
                <a:pos x="connsiteX60000" y="connsiteY60000"/>
              </a:cxn>
              <a:cxn ang="0">
                <a:pos x="connsiteX60001" y="connsiteY60001"/>
              </a:cxn>
              <a:cxn ang="0">
                <a:pos x="connsiteX60002" y="connsiteY60002"/>
              </a:cxn>
              <a:cxn ang="0">
                <a:pos x="connsiteX60003" y="connsiteY60003"/>
              </a:cxn>
              <a:cxn ang="0">
                <a:pos x="connsiteX60004" y="connsiteY60004"/>
              </a:cxn>
              <a:cxn ang="0">
                <a:pos x="connsiteX60005" y="connsiteY60005"/>
              </a:cxn>
              <a:cxn ang="0">
                <a:pos x="connsiteX60006" y="connsiteY60006"/>
              </a:cxn>
              <a:cxn ang="0">
                <a:pos x="connsiteX60007" y="connsiteY60007"/>
              </a:cxn>
              <a:cxn ang="0">
                <a:pos x="connsiteX60008" y="connsiteY60008"/>
              </a:cxn>
              <a:cxn ang="0">
                <a:pos x="connsiteX60009" y="connsiteY60009"/>
              </a:cxn>
              <a:cxn ang="0">
                <a:pos x="connsiteX60010" y="connsiteY60010"/>
              </a:cxn>
              <a:cxn ang="0">
                <a:pos x="connsiteX60011" y="connsiteY60011"/>
              </a:cxn>
              <a:cxn ang="0">
                <a:pos x="connsiteX60012" y="connsiteY60012"/>
              </a:cxn>
              <a:cxn ang="0">
                <a:pos x="connsiteX60013" y="connsiteY60013"/>
              </a:cxn>
              <a:cxn ang="0">
                <a:pos x="connsiteX60014" y="connsiteY60014"/>
              </a:cxn>
              <a:cxn ang="0">
                <a:pos x="connsiteX60015" y="connsiteY60015"/>
              </a:cxn>
              <a:cxn ang="0">
                <a:pos x="connsiteX60016" y="connsiteY60016"/>
              </a:cxn>
              <a:cxn ang="0">
                <a:pos x="connsiteX60017" y="connsiteY60017"/>
              </a:cxn>
              <a:cxn ang="0">
                <a:pos x="connsiteX60018" y="connsiteY60018"/>
              </a:cxn>
              <a:cxn ang="0">
                <a:pos x="connsiteX60019" y="connsiteY60019"/>
              </a:cxn>
              <a:cxn ang="0">
                <a:pos x="connsiteX60020" y="connsiteY60020"/>
              </a:cxn>
              <a:cxn ang="0">
                <a:pos x="connsiteX60021" y="connsiteY60021"/>
              </a:cxn>
              <a:cxn ang="0">
                <a:pos x="connsiteX60022" y="connsiteY60022"/>
              </a:cxn>
              <a:cxn ang="0">
                <a:pos x="connsiteX60023" y="connsiteY60023"/>
              </a:cxn>
              <a:cxn ang="0">
                <a:pos x="connsiteX60024" y="connsiteY60024"/>
              </a:cxn>
              <a:cxn ang="0">
                <a:pos x="connsiteX60025" y="connsiteY60025"/>
              </a:cxn>
              <a:cxn ang="0">
                <a:pos x="connsiteX60026" y="connsiteY60026"/>
              </a:cxn>
              <a:cxn ang="0">
                <a:pos x="connsiteX60027" y="connsiteY60027"/>
              </a:cxn>
              <a:cxn ang="0">
                <a:pos x="connsiteX60028" y="connsiteY60028"/>
              </a:cxn>
              <a:cxn ang="0">
                <a:pos x="connsiteX60029" y="connsiteY60029"/>
              </a:cxn>
              <a:cxn ang="0">
                <a:pos x="connsiteX60030" y="connsiteY60030"/>
              </a:cxn>
              <a:cxn ang="0">
                <a:pos x="connsiteX60031" y="connsiteY60031"/>
              </a:cxn>
              <a:cxn ang="0">
                <a:pos x="connsiteX60032" y="connsiteY60032"/>
              </a:cxn>
              <a:cxn ang="0">
                <a:pos x="connsiteX60033" y="connsiteY60033"/>
              </a:cxn>
              <a:cxn ang="0">
                <a:pos x="connsiteX60034" y="connsiteY60034"/>
              </a:cxn>
              <a:cxn ang="0">
                <a:pos x="connsiteX60035" y="connsiteY60035"/>
              </a:cxn>
              <a:cxn ang="0">
                <a:pos x="connsiteX60036" y="connsiteY60036"/>
              </a:cxn>
              <a:cxn ang="0">
                <a:pos x="connsiteX60037" y="connsiteY60037"/>
              </a:cxn>
              <a:cxn ang="0">
                <a:pos x="connsiteX60038" y="connsiteY60038"/>
              </a:cxn>
              <a:cxn ang="0">
                <a:pos x="connsiteX60039" y="connsiteY60039"/>
              </a:cxn>
              <a:cxn ang="0">
                <a:pos x="connsiteX60040" y="connsiteY60040"/>
              </a:cxn>
              <a:cxn ang="0">
                <a:pos x="connsiteX60041" y="connsiteY60041"/>
              </a:cxn>
              <a:cxn ang="0">
                <a:pos x="connsiteX60042" y="connsiteY60042"/>
              </a:cxn>
              <a:cxn ang="0">
                <a:pos x="connsiteX60043" y="connsiteY60043"/>
              </a:cxn>
              <a:cxn ang="0">
                <a:pos x="connsiteX60044" y="connsiteY60044"/>
              </a:cxn>
              <a:cxn ang="0">
                <a:pos x="connsiteX60045" y="connsiteY60045"/>
              </a:cxn>
              <a:cxn ang="0">
                <a:pos x="connsiteX60046" y="connsiteY60046"/>
              </a:cxn>
              <a:cxn ang="0">
                <a:pos x="connsiteX60047" y="connsiteY60047"/>
              </a:cxn>
              <a:cxn ang="0">
                <a:pos x="connsiteX60048" y="connsiteY60048"/>
              </a:cxn>
              <a:cxn ang="0">
                <a:pos x="connsiteX60049" y="connsiteY60049"/>
              </a:cxn>
              <a:cxn ang="0">
                <a:pos x="connsiteX60050" y="connsiteY60050"/>
              </a:cxn>
              <a:cxn ang="0">
                <a:pos x="connsiteX60051" y="connsiteY60051"/>
              </a:cxn>
              <a:cxn ang="0">
                <a:pos x="connsiteX60052" y="connsiteY60052"/>
              </a:cxn>
              <a:cxn ang="0">
                <a:pos x="connsiteX60053" y="connsiteY60053"/>
              </a:cxn>
              <a:cxn ang="0">
                <a:pos x="connsiteX60054" y="connsiteY60054"/>
              </a:cxn>
              <a:cxn ang="0">
                <a:pos x="connsiteX60055" y="connsiteY60055"/>
              </a:cxn>
              <a:cxn ang="0">
                <a:pos x="connsiteX60056" y="connsiteY60056"/>
              </a:cxn>
              <a:cxn ang="0">
                <a:pos x="connsiteX60057" y="connsiteY60057"/>
              </a:cxn>
              <a:cxn ang="0">
                <a:pos x="connsiteX60058" y="connsiteY60058"/>
              </a:cxn>
              <a:cxn ang="0">
                <a:pos x="connsiteX60059" y="connsiteY60059"/>
              </a:cxn>
              <a:cxn ang="0">
                <a:pos x="connsiteX60060" y="connsiteY60060"/>
              </a:cxn>
              <a:cxn ang="0">
                <a:pos x="connsiteX60061" y="connsiteY60061"/>
              </a:cxn>
              <a:cxn ang="0">
                <a:pos x="connsiteX60062" y="connsiteY60062"/>
              </a:cxn>
              <a:cxn ang="0">
                <a:pos x="connsiteX60063" y="connsiteY60063"/>
              </a:cxn>
              <a:cxn ang="0">
                <a:pos x="connsiteX60064" y="connsiteY60064"/>
              </a:cxn>
              <a:cxn ang="0">
                <a:pos x="connsiteX60065" y="connsiteY60065"/>
              </a:cxn>
              <a:cxn ang="0">
                <a:pos x="connsiteX60066" y="connsiteY60066"/>
              </a:cxn>
              <a:cxn ang="0">
                <a:pos x="connsiteX60067" y="connsiteY60067"/>
              </a:cxn>
              <a:cxn ang="0">
                <a:pos x="connsiteX60068" y="connsiteY60068"/>
              </a:cxn>
              <a:cxn ang="0">
                <a:pos x="connsiteX60069" y="connsiteY60069"/>
              </a:cxn>
              <a:cxn ang="0">
                <a:pos x="connsiteX60070" y="connsiteY60070"/>
              </a:cxn>
              <a:cxn ang="0">
                <a:pos x="connsiteX60071" y="connsiteY60071"/>
              </a:cxn>
              <a:cxn ang="0">
                <a:pos x="connsiteX60072" y="connsiteY60072"/>
              </a:cxn>
              <a:cxn ang="0">
                <a:pos x="connsiteX60073" y="connsiteY60073"/>
              </a:cxn>
              <a:cxn ang="0">
                <a:pos x="connsiteX60074" y="connsiteY60074"/>
              </a:cxn>
              <a:cxn ang="0">
                <a:pos x="connsiteX60075" y="connsiteY60075"/>
              </a:cxn>
              <a:cxn ang="0">
                <a:pos x="connsiteX60076" y="connsiteY60076"/>
              </a:cxn>
              <a:cxn ang="0">
                <a:pos x="connsiteX60077" y="connsiteY60077"/>
              </a:cxn>
              <a:cxn ang="0">
                <a:pos x="connsiteX60078" y="connsiteY60078"/>
              </a:cxn>
              <a:cxn ang="0">
                <a:pos x="connsiteX60079" y="connsiteY60079"/>
              </a:cxn>
              <a:cxn ang="0">
                <a:pos x="connsiteX60080" y="connsiteY60080"/>
              </a:cxn>
              <a:cxn ang="0">
                <a:pos x="connsiteX60081" y="connsiteY60081"/>
              </a:cxn>
              <a:cxn ang="0">
                <a:pos x="connsiteX60082" y="connsiteY60082"/>
              </a:cxn>
              <a:cxn ang="0">
                <a:pos x="connsiteX60083" y="connsiteY60083"/>
              </a:cxn>
              <a:cxn ang="0">
                <a:pos x="connsiteX60084" y="connsiteY60084"/>
              </a:cxn>
              <a:cxn ang="0">
                <a:pos x="connsiteX60085" y="connsiteY60085"/>
              </a:cxn>
              <a:cxn ang="0">
                <a:pos x="connsiteX60086" y="connsiteY60086"/>
              </a:cxn>
              <a:cxn ang="0">
                <a:pos x="connsiteX60087" y="connsiteY60087"/>
              </a:cxn>
              <a:cxn ang="0">
                <a:pos x="connsiteX60088" y="connsiteY60088"/>
              </a:cxn>
              <a:cxn ang="0">
                <a:pos x="connsiteX60089" y="connsiteY60089"/>
              </a:cxn>
              <a:cxn ang="0">
                <a:pos x="connsiteX60090" y="connsiteY60090"/>
              </a:cxn>
              <a:cxn ang="0">
                <a:pos x="connsiteX60091" y="connsiteY60091"/>
              </a:cxn>
              <a:cxn ang="0">
                <a:pos x="connsiteX60092" y="connsiteY60092"/>
              </a:cxn>
              <a:cxn ang="0">
                <a:pos x="connsiteX60093" y="connsiteY60093"/>
              </a:cxn>
              <a:cxn ang="0">
                <a:pos x="connsiteX60094" y="connsiteY60094"/>
              </a:cxn>
              <a:cxn ang="0">
                <a:pos x="connsiteX60095" y="connsiteY60095"/>
              </a:cxn>
              <a:cxn ang="0">
                <a:pos x="connsiteX60096" y="connsiteY60096"/>
              </a:cxn>
              <a:cxn ang="0">
                <a:pos x="connsiteX60097" y="connsiteY60097"/>
              </a:cxn>
              <a:cxn ang="0">
                <a:pos x="connsiteX60098" y="connsiteY60098"/>
              </a:cxn>
              <a:cxn ang="0">
                <a:pos x="connsiteX60099" y="connsiteY60099"/>
              </a:cxn>
              <a:cxn ang="0">
                <a:pos x="connsiteX60100" y="connsiteY60100"/>
              </a:cxn>
              <a:cxn ang="0">
                <a:pos x="connsiteX60101" y="connsiteY60101"/>
              </a:cxn>
              <a:cxn ang="0">
                <a:pos x="connsiteX60102" y="connsiteY60102"/>
              </a:cxn>
              <a:cxn ang="0">
                <a:pos x="connsiteX60103" y="connsiteY60103"/>
              </a:cxn>
              <a:cxn ang="0">
                <a:pos x="connsiteX60104" y="connsiteY60104"/>
              </a:cxn>
              <a:cxn ang="0">
                <a:pos x="connsiteX60105" y="connsiteY60105"/>
              </a:cxn>
              <a:cxn ang="0">
                <a:pos x="connsiteX60106" y="connsiteY60106"/>
              </a:cxn>
              <a:cxn ang="0">
                <a:pos x="connsiteX60107" y="connsiteY60107"/>
              </a:cxn>
              <a:cxn ang="0">
                <a:pos x="connsiteX60108" y="connsiteY60108"/>
              </a:cxn>
              <a:cxn ang="0">
                <a:pos x="connsiteX60109" y="connsiteY60109"/>
              </a:cxn>
              <a:cxn ang="0">
                <a:pos x="connsiteX60110" y="connsiteY60110"/>
              </a:cxn>
              <a:cxn ang="0">
                <a:pos x="connsiteX60111" y="connsiteY60111"/>
              </a:cxn>
              <a:cxn ang="0">
                <a:pos x="connsiteX60112" y="connsiteY60112"/>
              </a:cxn>
              <a:cxn ang="0">
                <a:pos x="connsiteX60113" y="connsiteY60113"/>
              </a:cxn>
              <a:cxn ang="0">
                <a:pos x="connsiteX60114" y="connsiteY60114"/>
              </a:cxn>
              <a:cxn ang="0">
                <a:pos x="connsiteX60115" y="connsiteY60115"/>
              </a:cxn>
              <a:cxn ang="0">
                <a:pos x="connsiteX60116" y="connsiteY60116"/>
              </a:cxn>
              <a:cxn ang="0">
                <a:pos x="connsiteX60117" y="connsiteY60117"/>
              </a:cxn>
              <a:cxn ang="0">
                <a:pos x="connsiteX60118" y="connsiteY60118"/>
              </a:cxn>
              <a:cxn ang="0">
                <a:pos x="connsiteX60119" y="connsiteY60119"/>
              </a:cxn>
              <a:cxn ang="0">
                <a:pos x="connsiteX60120" y="connsiteY60120"/>
              </a:cxn>
              <a:cxn ang="0">
                <a:pos x="connsiteX60121" y="connsiteY60121"/>
              </a:cxn>
              <a:cxn ang="0">
                <a:pos x="connsiteX60122" y="connsiteY60122"/>
              </a:cxn>
              <a:cxn ang="0">
                <a:pos x="connsiteX60123" y="connsiteY60123"/>
              </a:cxn>
              <a:cxn ang="0">
                <a:pos x="connsiteX60124" y="connsiteY60124"/>
              </a:cxn>
              <a:cxn ang="0">
                <a:pos x="connsiteX60125" y="connsiteY60125"/>
              </a:cxn>
              <a:cxn ang="0">
                <a:pos x="connsiteX60126" y="connsiteY60126"/>
              </a:cxn>
              <a:cxn ang="0">
                <a:pos x="connsiteX60127" y="connsiteY60127"/>
              </a:cxn>
              <a:cxn ang="0">
                <a:pos x="connsiteX60128" y="connsiteY60128"/>
              </a:cxn>
              <a:cxn ang="0">
                <a:pos x="connsiteX60129" y="connsiteY60129"/>
              </a:cxn>
              <a:cxn ang="0">
                <a:pos x="connsiteX60130" y="connsiteY60130"/>
              </a:cxn>
              <a:cxn ang="0">
                <a:pos x="connsiteX60131" y="connsiteY60131"/>
              </a:cxn>
              <a:cxn ang="0">
                <a:pos x="connsiteX60132" y="connsiteY60132"/>
              </a:cxn>
              <a:cxn ang="0">
                <a:pos x="connsiteX60133" y="connsiteY60133"/>
              </a:cxn>
              <a:cxn ang="0">
                <a:pos x="connsiteX60134" y="connsiteY60134"/>
              </a:cxn>
              <a:cxn ang="0">
                <a:pos x="connsiteX60135" y="connsiteY60135"/>
              </a:cxn>
              <a:cxn ang="0">
                <a:pos x="connsiteX60136" y="connsiteY60136"/>
              </a:cxn>
              <a:cxn ang="0">
                <a:pos x="connsiteX60137" y="connsiteY60137"/>
              </a:cxn>
              <a:cxn ang="0">
                <a:pos x="connsiteX60138" y="connsiteY60138"/>
              </a:cxn>
              <a:cxn ang="0">
                <a:pos x="connsiteX60139" y="connsiteY60139"/>
              </a:cxn>
              <a:cxn ang="0">
                <a:pos x="connsiteX60140" y="connsiteY60140"/>
              </a:cxn>
              <a:cxn ang="0">
                <a:pos x="connsiteX60141" y="connsiteY60141"/>
              </a:cxn>
              <a:cxn ang="0">
                <a:pos x="connsiteX60142" y="connsiteY60142"/>
              </a:cxn>
              <a:cxn ang="0">
                <a:pos x="connsiteX60143" y="connsiteY60143"/>
              </a:cxn>
              <a:cxn ang="0">
                <a:pos x="connsiteX60144" y="connsiteY60144"/>
              </a:cxn>
              <a:cxn ang="0">
                <a:pos x="connsiteX60145" y="connsiteY60145"/>
              </a:cxn>
              <a:cxn ang="0">
                <a:pos x="connsiteX60146" y="connsiteY60146"/>
              </a:cxn>
              <a:cxn ang="0">
                <a:pos x="connsiteX60147" y="connsiteY60147"/>
              </a:cxn>
              <a:cxn ang="0">
                <a:pos x="connsiteX60148" y="connsiteY60148"/>
              </a:cxn>
              <a:cxn ang="0">
                <a:pos x="connsiteX60149" y="connsiteY60149"/>
              </a:cxn>
              <a:cxn ang="0">
                <a:pos x="connsiteX60150" y="connsiteY60150"/>
              </a:cxn>
              <a:cxn ang="0">
                <a:pos x="connsiteX60151" y="connsiteY60151"/>
              </a:cxn>
              <a:cxn ang="0">
                <a:pos x="connsiteX60152" y="connsiteY60152"/>
              </a:cxn>
              <a:cxn ang="0">
                <a:pos x="connsiteX60153" y="connsiteY60153"/>
              </a:cxn>
              <a:cxn ang="0">
                <a:pos x="connsiteX60154" y="connsiteY60154"/>
              </a:cxn>
              <a:cxn ang="0">
                <a:pos x="connsiteX60155" y="connsiteY60155"/>
              </a:cxn>
              <a:cxn ang="0">
                <a:pos x="connsiteX60156" y="connsiteY60156"/>
              </a:cxn>
              <a:cxn ang="0">
                <a:pos x="connsiteX60157" y="connsiteY60157"/>
              </a:cxn>
              <a:cxn ang="0">
                <a:pos x="connsiteX60158" y="connsiteY60158"/>
              </a:cxn>
              <a:cxn ang="0">
                <a:pos x="connsiteX60159" y="connsiteY60159"/>
              </a:cxn>
              <a:cxn ang="0">
                <a:pos x="connsiteX60160" y="connsiteY60160"/>
              </a:cxn>
              <a:cxn ang="0">
                <a:pos x="connsiteX60161" y="connsiteY60161"/>
              </a:cxn>
              <a:cxn ang="0">
                <a:pos x="connsiteX60162" y="connsiteY60162"/>
              </a:cxn>
              <a:cxn ang="0">
                <a:pos x="connsiteX60163" y="connsiteY60163"/>
              </a:cxn>
              <a:cxn ang="0">
                <a:pos x="connsiteX60164" y="connsiteY60164"/>
              </a:cxn>
              <a:cxn ang="0">
                <a:pos x="connsiteX60165" y="connsiteY60165"/>
              </a:cxn>
              <a:cxn ang="0">
                <a:pos x="connsiteX60166" y="connsiteY60166"/>
              </a:cxn>
              <a:cxn ang="0">
                <a:pos x="connsiteX60167" y="connsiteY60167"/>
              </a:cxn>
              <a:cxn ang="0">
                <a:pos x="connsiteX60168" y="connsiteY60168"/>
              </a:cxn>
              <a:cxn ang="0">
                <a:pos x="connsiteX60169" y="connsiteY60169"/>
              </a:cxn>
              <a:cxn ang="0">
                <a:pos x="connsiteX60170" y="connsiteY60170"/>
              </a:cxn>
              <a:cxn ang="0">
                <a:pos x="connsiteX60171" y="connsiteY60171"/>
              </a:cxn>
              <a:cxn ang="0">
                <a:pos x="connsiteX60172" y="connsiteY60172"/>
              </a:cxn>
              <a:cxn ang="0">
                <a:pos x="connsiteX60173" y="connsiteY60173"/>
              </a:cxn>
              <a:cxn ang="0">
                <a:pos x="connsiteX60174" y="connsiteY60174"/>
              </a:cxn>
              <a:cxn ang="0">
                <a:pos x="connsiteX60175" y="connsiteY60175"/>
              </a:cxn>
              <a:cxn ang="0">
                <a:pos x="connsiteX60176" y="connsiteY60176"/>
              </a:cxn>
              <a:cxn ang="0">
                <a:pos x="connsiteX60177" y="connsiteY60177"/>
              </a:cxn>
              <a:cxn ang="0">
                <a:pos x="connsiteX60178" y="connsiteY60178"/>
              </a:cxn>
              <a:cxn ang="0">
                <a:pos x="connsiteX60179" y="connsiteY60179"/>
              </a:cxn>
              <a:cxn ang="0">
                <a:pos x="connsiteX60180" y="connsiteY60180"/>
              </a:cxn>
              <a:cxn ang="0">
                <a:pos x="connsiteX60181" y="connsiteY60181"/>
              </a:cxn>
              <a:cxn ang="0">
                <a:pos x="connsiteX60182" y="connsiteY60182"/>
              </a:cxn>
              <a:cxn ang="0">
                <a:pos x="connsiteX60183" y="connsiteY60183"/>
              </a:cxn>
              <a:cxn ang="0">
                <a:pos x="connsiteX60184" y="connsiteY60184"/>
              </a:cxn>
              <a:cxn ang="0">
                <a:pos x="connsiteX60185" y="connsiteY60185"/>
              </a:cxn>
              <a:cxn ang="0">
                <a:pos x="connsiteX60186" y="connsiteY60186"/>
              </a:cxn>
              <a:cxn ang="0">
                <a:pos x="connsiteX60187" y="connsiteY60187"/>
              </a:cxn>
              <a:cxn ang="0">
                <a:pos x="connsiteX60188" y="connsiteY60188"/>
              </a:cxn>
              <a:cxn ang="0">
                <a:pos x="connsiteX60189" y="connsiteY60189"/>
              </a:cxn>
              <a:cxn ang="0">
                <a:pos x="connsiteX60190" y="connsiteY60190"/>
              </a:cxn>
              <a:cxn ang="0">
                <a:pos x="connsiteX60191" y="connsiteY60191"/>
              </a:cxn>
              <a:cxn ang="0">
                <a:pos x="connsiteX60192" y="connsiteY60192"/>
              </a:cxn>
              <a:cxn ang="0">
                <a:pos x="connsiteX60193" y="connsiteY60193"/>
              </a:cxn>
              <a:cxn ang="0">
                <a:pos x="connsiteX60194" y="connsiteY60194"/>
              </a:cxn>
              <a:cxn ang="0">
                <a:pos x="connsiteX60195" y="connsiteY60195"/>
              </a:cxn>
              <a:cxn ang="0">
                <a:pos x="connsiteX60196" y="connsiteY60196"/>
              </a:cxn>
              <a:cxn ang="0">
                <a:pos x="connsiteX60197" y="connsiteY60197"/>
              </a:cxn>
              <a:cxn ang="0">
                <a:pos x="connsiteX60198" y="connsiteY60198"/>
              </a:cxn>
              <a:cxn ang="0">
                <a:pos x="connsiteX60199" y="connsiteY60199"/>
              </a:cxn>
              <a:cxn ang="0">
                <a:pos x="connsiteX60200" y="connsiteY60200"/>
              </a:cxn>
              <a:cxn ang="0">
                <a:pos x="connsiteX60201" y="connsiteY60201"/>
              </a:cxn>
              <a:cxn ang="0">
                <a:pos x="connsiteX60202" y="connsiteY60202"/>
              </a:cxn>
              <a:cxn ang="0">
                <a:pos x="connsiteX60203" y="connsiteY60203"/>
              </a:cxn>
              <a:cxn ang="0">
                <a:pos x="connsiteX60204" y="connsiteY60204"/>
              </a:cxn>
              <a:cxn ang="0">
                <a:pos x="connsiteX60205" y="connsiteY60205"/>
              </a:cxn>
              <a:cxn ang="0">
                <a:pos x="connsiteX60206" y="connsiteY60206"/>
              </a:cxn>
              <a:cxn ang="0">
                <a:pos x="connsiteX60207" y="connsiteY60207"/>
              </a:cxn>
              <a:cxn ang="0">
                <a:pos x="connsiteX60208" y="connsiteY60208"/>
              </a:cxn>
              <a:cxn ang="0">
                <a:pos x="connsiteX60209" y="connsiteY60209"/>
              </a:cxn>
              <a:cxn ang="0">
                <a:pos x="connsiteX60210" y="connsiteY60210"/>
              </a:cxn>
              <a:cxn ang="0">
                <a:pos x="connsiteX60211" y="connsiteY60211"/>
              </a:cxn>
              <a:cxn ang="0">
                <a:pos x="connsiteX60212" y="connsiteY60212"/>
              </a:cxn>
              <a:cxn ang="0">
                <a:pos x="connsiteX60213" y="connsiteY60213"/>
              </a:cxn>
              <a:cxn ang="0">
                <a:pos x="connsiteX60214" y="connsiteY60214"/>
              </a:cxn>
              <a:cxn ang="0">
                <a:pos x="connsiteX60215" y="connsiteY60215"/>
              </a:cxn>
              <a:cxn ang="0">
                <a:pos x="connsiteX60216" y="connsiteY60216"/>
              </a:cxn>
              <a:cxn ang="0">
                <a:pos x="connsiteX60217" y="connsiteY60217"/>
              </a:cxn>
              <a:cxn ang="0">
                <a:pos x="connsiteX60218" y="connsiteY60218"/>
              </a:cxn>
              <a:cxn ang="0">
                <a:pos x="connsiteX60219" y="connsiteY60219"/>
              </a:cxn>
              <a:cxn ang="0">
                <a:pos x="connsiteX60220" y="connsiteY60220"/>
              </a:cxn>
              <a:cxn ang="0">
                <a:pos x="connsiteX60221" y="connsiteY60221"/>
              </a:cxn>
              <a:cxn ang="0">
                <a:pos x="connsiteX60222" y="connsiteY60222"/>
              </a:cxn>
              <a:cxn ang="0">
                <a:pos x="connsiteX60223" y="connsiteY60223"/>
              </a:cxn>
              <a:cxn ang="0">
                <a:pos x="connsiteX60224" y="connsiteY60224"/>
              </a:cxn>
              <a:cxn ang="0">
                <a:pos x="connsiteX60225" y="connsiteY60225"/>
              </a:cxn>
              <a:cxn ang="0">
                <a:pos x="connsiteX60226" y="connsiteY60226"/>
              </a:cxn>
              <a:cxn ang="0">
                <a:pos x="connsiteX60227" y="connsiteY60227"/>
              </a:cxn>
              <a:cxn ang="0">
                <a:pos x="connsiteX60228" y="connsiteY60228"/>
              </a:cxn>
              <a:cxn ang="0">
                <a:pos x="connsiteX60229" y="connsiteY60229"/>
              </a:cxn>
              <a:cxn ang="0">
                <a:pos x="connsiteX60230" y="connsiteY60230"/>
              </a:cxn>
              <a:cxn ang="0">
                <a:pos x="connsiteX60231" y="connsiteY60231"/>
              </a:cxn>
              <a:cxn ang="0">
                <a:pos x="connsiteX60232" y="connsiteY60232"/>
              </a:cxn>
              <a:cxn ang="0">
                <a:pos x="connsiteX60233" y="connsiteY60233"/>
              </a:cxn>
              <a:cxn ang="0">
                <a:pos x="connsiteX60234" y="connsiteY60234"/>
              </a:cxn>
              <a:cxn ang="0">
                <a:pos x="connsiteX60235" y="connsiteY60235"/>
              </a:cxn>
              <a:cxn ang="0">
                <a:pos x="connsiteX60236" y="connsiteY60236"/>
              </a:cxn>
              <a:cxn ang="0">
                <a:pos x="connsiteX60237" y="connsiteY60237"/>
              </a:cxn>
              <a:cxn ang="0">
                <a:pos x="connsiteX60238" y="connsiteY60238"/>
              </a:cxn>
              <a:cxn ang="0">
                <a:pos x="connsiteX60239" y="connsiteY60239"/>
              </a:cxn>
              <a:cxn ang="0">
                <a:pos x="connsiteX60240" y="connsiteY60240"/>
              </a:cxn>
              <a:cxn ang="0">
                <a:pos x="connsiteX60241" y="connsiteY60241"/>
              </a:cxn>
              <a:cxn ang="0">
                <a:pos x="connsiteX60242" y="connsiteY60242"/>
              </a:cxn>
              <a:cxn ang="0">
                <a:pos x="connsiteX60243" y="connsiteY60243"/>
              </a:cxn>
              <a:cxn ang="0">
                <a:pos x="connsiteX60244" y="connsiteY60244"/>
              </a:cxn>
              <a:cxn ang="0">
                <a:pos x="connsiteX60245" y="connsiteY60245"/>
              </a:cxn>
              <a:cxn ang="0">
                <a:pos x="connsiteX60246" y="connsiteY60246"/>
              </a:cxn>
              <a:cxn ang="0">
                <a:pos x="connsiteX60247" y="connsiteY60247"/>
              </a:cxn>
              <a:cxn ang="0">
                <a:pos x="connsiteX60248" y="connsiteY60248"/>
              </a:cxn>
              <a:cxn ang="0">
                <a:pos x="connsiteX60249" y="connsiteY60249"/>
              </a:cxn>
              <a:cxn ang="0">
                <a:pos x="connsiteX60250" y="connsiteY60250"/>
              </a:cxn>
              <a:cxn ang="0">
                <a:pos x="connsiteX60251" y="connsiteY60251"/>
              </a:cxn>
              <a:cxn ang="0">
                <a:pos x="connsiteX60252" y="connsiteY60252"/>
              </a:cxn>
              <a:cxn ang="0">
                <a:pos x="connsiteX60253" y="connsiteY60253"/>
              </a:cxn>
              <a:cxn ang="0">
                <a:pos x="connsiteX60254" y="connsiteY60254"/>
              </a:cxn>
              <a:cxn ang="0">
                <a:pos x="connsiteX60255" y="connsiteY60255"/>
              </a:cxn>
              <a:cxn ang="0">
                <a:pos x="connsiteX60256" y="connsiteY60256"/>
              </a:cxn>
              <a:cxn ang="0">
                <a:pos x="connsiteX60257" y="connsiteY60257"/>
              </a:cxn>
              <a:cxn ang="0">
                <a:pos x="connsiteX60258" y="connsiteY60258"/>
              </a:cxn>
              <a:cxn ang="0">
                <a:pos x="connsiteX60259" y="connsiteY60259"/>
              </a:cxn>
              <a:cxn ang="0">
                <a:pos x="connsiteX60260" y="connsiteY60260"/>
              </a:cxn>
              <a:cxn ang="0">
                <a:pos x="connsiteX60261" y="connsiteY60261"/>
              </a:cxn>
              <a:cxn ang="0">
                <a:pos x="connsiteX60262" y="connsiteY60262"/>
              </a:cxn>
              <a:cxn ang="0">
                <a:pos x="connsiteX60263" y="connsiteY60263"/>
              </a:cxn>
              <a:cxn ang="0">
                <a:pos x="connsiteX60264" y="connsiteY60264"/>
              </a:cxn>
              <a:cxn ang="0">
                <a:pos x="connsiteX60265" y="connsiteY60265"/>
              </a:cxn>
              <a:cxn ang="0">
                <a:pos x="connsiteX60266" y="connsiteY60266"/>
              </a:cxn>
              <a:cxn ang="0">
                <a:pos x="connsiteX60267" y="connsiteY60267"/>
              </a:cxn>
              <a:cxn ang="0">
                <a:pos x="connsiteX60268" y="connsiteY60268"/>
              </a:cxn>
              <a:cxn ang="0">
                <a:pos x="connsiteX60269" y="connsiteY60269"/>
              </a:cxn>
              <a:cxn ang="0">
                <a:pos x="connsiteX60270" y="connsiteY60270"/>
              </a:cxn>
              <a:cxn ang="0">
                <a:pos x="connsiteX60271" y="connsiteY60271"/>
              </a:cxn>
              <a:cxn ang="0">
                <a:pos x="connsiteX60272" y="connsiteY60272"/>
              </a:cxn>
              <a:cxn ang="0">
                <a:pos x="connsiteX60273" y="connsiteY60273"/>
              </a:cxn>
              <a:cxn ang="0">
                <a:pos x="connsiteX60274" y="connsiteY60274"/>
              </a:cxn>
              <a:cxn ang="0">
                <a:pos x="connsiteX60275" y="connsiteY60275"/>
              </a:cxn>
              <a:cxn ang="0">
                <a:pos x="connsiteX60276" y="connsiteY60276"/>
              </a:cxn>
              <a:cxn ang="0">
                <a:pos x="connsiteX60277" y="connsiteY60277"/>
              </a:cxn>
              <a:cxn ang="0">
                <a:pos x="connsiteX60278" y="connsiteY60278"/>
              </a:cxn>
              <a:cxn ang="0">
                <a:pos x="connsiteX60279" y="connsiteY60279"/>
              </a:cxn>
              <a:cxn ang="0">
                <a:pos x="connsiteX60280" y="connsiteY60280"/>
              </a:cxn>
              <a:cxn ang="0">
                <a:pos x="connsiteX60281" y="connsiteY60281"/>
              </a:cxn>
              <a:cxn ang="0">
                <a:pos x="connsiteX60282" y="connsiteY60282"/>
              </a:cxn>
              <a:cxn ang="0">
                <a:pos x="connsiteX60283" y="connsiteY60283"/>
              </a:cxn>
              <a:cxn ang="0">
                <a:pos x="connsiteX60284" y="connsiteY60284"/>
              </a:cxn>
              <a:cxn ang="0">
                <a:pos x="connsiteX60285" y="connsiteY60285"/>
              </a:cxn>
              <a:cxn ang="0">
                <a:pos x="connsiteX60286" y="connsiteY60286"/>
              </a:cxn>
              <a:cxn ang="0">
                <a:pos x="connsiteX60287" y="connsiteY60287"/>
              </a:cxn>
              <a:cxn ang="0">
                <a:pos x="connsiteX60288" y="connsiteY60288"/>
              </a:cxn>
              <a:cxn ang="0">
                <a:pos x="connsiteX60289" y="connsiteY60289"/>
              </a:cxn>
              <a:cxn ang="0">
                <a:pos x="connsiteX60290" y="connsiteY60290"/>
              </a:cxn>
              <a:cxn ang="0">
                <a:pos x="connsiteX60291" y="connsiteY60291"/>
              </a:cxn>
              <a:cxn ang="0">
                <a:pos x="connsiteX60292" y="connsiteY60292"/>
              </a:cxn>
              <a:cxn ang="0">
                <a:pos x="connsiteX60293" y="connsiteY60293"/>
              </a:cxn>
              <a:cxn ang="0">
                <a:pos x="connsiteX60294" y="connsiteY60294"/>
              </a:cxn>
              <a:cxn ang="0">
                <a:pos x="connsiteX60295" y="connsiteY60295"/>
              </a:cxn>
              <a:cxn ang="0">
                <a:pos x="connsiteX60296" y="connsiteY60296"/>
              </a:cxn>
              <a:cxn ang="0">
                <a:pos x="connsiteX60297" y="connsiteY60297"/>
              </a:cxn>
              <a:cxn ang="0">
                <a:pos x="connsiteX60298" y="connsiteY60298"/>
              </a:cxn>
              <a:cxn ang="0">
                <a:pos x="connsiteX60299" y="connsiteY60299"/>
              </a:cxn>
              <a:cxn ang="0">
                <a:pos x="connsiteX60300" y="connsiteY60300"/>
              </a:cxn>
              <a:cxn ang="0">
                <a:pos x="connsiteX60301" y="connsiteY60301"/>
              </a:cxn>
              <a:cxn ang="0">
                <a:pos x="connsiteX60302" y="connsiteY60302"/>
              </a:cxn>
              <a:cxn ang="0">
                <a:pos x="connsiteX60303" y="connsiteY60303"/>
              </a:cxn>
              <a:cxn ang="0">
                <a:pos x="connsiteX60304" y="connsiteY60304"/>
              </a:cxn>
              <a:cxn ang="0">
                <a:pos x="connsiteX60305" y="connsiteY60305"/>
              </a:cxn>
              <a:cxn ang="0">
                <a:pos x="connsiteX60306" y="connsiteY60306"/>
              </a:cxn>
              <a:cxn ang="0">
                <a:pos x="connsiteX60307" y="connsiteY60307"/>
              </a:cxn>
              <a:cxn ang="0">
                <a:pos x="connsiteX60308" y="connsiteY60308"/>
              </a:cxn>
              <a:cxn ang="0">
                <a:pos x="connsiteX60309" y="connsiteY60309"/>
              </a:cxn>
              <a:cxn ang="0">
                <a:pos x="connsiteX60310" y="connsiteY60310"/>
              </a:cxn>
              <a:cxn ang="0">
                <a:pos x="connsiteX60311" y="connsiteY60311"/>
              </a:cxn>
              <a:cxn ang="0">
                <a:pos x="connsiteX60312" y="connsiteY60312"/>
              </a:cxn>
              <a:cxn ang="0">
                <a:pos x="connsiteX60313" y="connsiteY60313"/>
              </a:cxn>
              <a:cxn ang="0">
                <a:pos x="connsiteX60314" y="connsiteY60314"/>
              </a:cxn>
              <a:cxn ang="0">
                <a:pos x="connsiteX60315" y="connsiteY60315"/>
              </a:cxn>
              <a:cxn ang="0">
                <a:pos x="connsiteX60316" y="connsiteY60316"/>
              </a:cxn>
              <a:cxn ang="0">
                <a:pos x="connsiteX60317" y="connsiteY60317"/>
              </a:cxn>
              <a:cxn ang="0">
                <a:pos x="connsiteX60318" y="connsiteY60318"/>
              </a:cxn>
              <a:cxn ang="0">
                <a:pos x="connsiteX60319" y="connsiteY60319"/>
              </a:cxn>
              <a:cxn ang="0">
                <a:pos x="connsiteX60320" y="connsiteY60320"/>
              </a:cxn>
              <a:cxn ang="0">
                <a:pos x="connsiteX60321" y="connsiteY60321"/>
              </a:cxn>
              <a:cxn ang="0">
                <a:pos x="connsiteX60322" y="connsiteY60322"/>
              </a:cxn>
              <a:cxn ang="0">
                <a:pos x="connsiteX60323" y="connsiteY60323"/>
              </a:cxn>
              <a:cxn ang="0">
                <a:pos x="connsiteX60324" y="connsiteY60324"/>
              </a:cxn>
              <a:cxn ang="0">
                <a:pos x="connsiteX60325" y="connsiteY60325"/>
              </a:cxn>
              <a:cxn ang="0">
                <a:pos x="connsiteX60326" y="connsiteY60326"/>
              </a:cxn>
              <a:cxn ang="0">
                <a:pos x="connsiteX60327" y="connsiteY60327"/>
              </a:cxn>
              <a:cxn ang="0">
                <a:pos x="connsiteX60328" y="connsiteY60328"/>
              </a:cxn>
              <a:cxn ang="0">
                <a:pos x="connsiteX60329" y="connsiteY60329"/>
              </a:cxn>
              <a:cxn ang="0">
                <a:pos x="connsiteX60330" y="connsiteY60330"/>
              </a:cxn>
              <a:cxn ang="0">
                <a:pos x="connsiteX60331" y="connsiteY60331"/>
              </a:cxn>
              <a:cxn ang="0">
                <a:pos x="connsiteX60332" y="connsiteY60332"/>
              </a:cxn>
              <a:cxn ang="0">
                <a:pos x="connsiteX60333" y="connsiteY60333"/>
              </a:cxn>
              <a:cxn ang="0">
                <a:pos x="connsiteX60334" y="connsiteY60334"/>
              </a:cxn>
              <a:cxn ang="0">
                <a:pos x="connsiteX60335" y="connsiteY60335"/>
              </a:cxn>
              <a:cxn ang="0">
                <a:pos x="connsiteX60336" y="connsiteY60336"/>
              </a:cxn>
              <a:cxn ang="0">
                <a:pos x="connsiteX60337" y="connsiteY60337"/>
              </a:cxn>
              <a:cxn ang="0">
                <a:pos x="connsiteX60338" y="connsiteY60338"/>
              </a:cxn>
              <a:cxn ang="0">
                <a:pos x="connsiteX60339" y="connsiteY60339"/>
              </a:cxn>
              <a:cxn ang="0">
                <a:pos x="connsiteX60340" y="connsiteY60340"/>
              </a:cxn>
              <a:cxn ang="0">
                <a:pos x="connsiteX60341" y="connsiteY60341"/>
              </a:cxn>
              <a:cxn ang="0">
                <a:pos x="connsiteX60342" y="connsiteY60342"/>
              </a:cxn>
              <a:cxn ang="0">
                <a:pos x="connsiteX60343" y="connsiteY60343"/>
              </a:cxn>
              <a:cxn ang="0">
                <a:pos x="connsiteX60344" y="connsiteY60344"/>
              </a:cxn>
              <a:cxn ang="0">
                <a:pos x="connsiteX60345" y="connsiteY60345"/>
              </a:cxn>
              <a:cxn ang="0">
                <a:pos x="connsiteX60346" y="connsiteY60346"/>
              </a:cxn>
              <a:cxn ang="0">
                <a:pos x="connsiteX60347" y="connsiteY60347"/>
              </a:cxn>
              <a:cxn ang="0">
                <a:pos x="connsiteX60348" y="connsiteY60348"/>
              </a:cxn>
              <a:cxn ang="0">
                <a:pos x="connsiteX60349" y="connsiteY60349"/>
              </a:cxn>
              <a:cxn ang="0">
                <a:pos x="connsiteX60350" y="connsiteY60350"/>
              </a:cxn>
              <a:cxn ang="0">
                <a:pos x="connsiteX60351" y="connsiteY60351"/>
              </a:cxn>
              <a:cxn ang="0">
                <a:pos x="connsiteX60352" y="connsiteY60352"/>
              </a:cxn>
              <a:cxn ang="0">
                <a:pos x="connsiteX60353" y="connsiteY60353"/>
              </a:cxn>
              <a:cxn ang="0">
                <a:pos x="connsiteX60354" y="connsiteY60354"/>
              </a:cxn>
              <a:cxn ang="0">
                <a:pos x="connsiteX60355" y="connsiteY60355"/>
              </a:cxn>
              <a:cxn ang="0">
                <a:pos x="connsiteX60356" y="connsiteY60356"/>
              </a:cxn>
              <a:cxn ang="0">
                <a:pos x="connsiteX60357" y="connsiteY60357"/>
              </a:cxn>
              <a:cxn ang="0">
                <a:pos x="connsiteX60358" y="connsiteY60358"/>
              </a:cxn>
              <a:cxn ang="0">
                <a:pos x="connsiteX60359" y="connsiteY60359"/>
              </a:cxn>
              <a:cxn ang="0">
                <a:pos x="connsiteX60360" y="connsiteY60360"/>
              </a:cxn>
              <a:cxn ang="0">
                <a:pos x="connsiteX60361" y="connsiteY60361"/>
              </a:cxn>
              <a:cxn ang="0">
                <a:pos x="connsiteX60362" y="connsiteY60362"/>
              </a:cxn>
              <a:cxn ang="0">
                <a:pos x="connsiteX60363" y="connsiteY60363"/>
              </a:cxn>
              <a:cxn ang="0">
                <a:pos x="connsiteX60364" y="connsiteY60364"/>
              </a:cxn>
              <a:cxn ang="0">
                <a:pos x="connsiteX60365" y="connsiteY60365"/>
              </a:cxn>
              <a:cxn ang="0">
                <a:pos x="connsiteX60366" y="connsiteY60366"/>
              </a:cxn>
              <a:cxn ang="0">
                <a:pos x="connsiteX60367" y="connsiteY60367"/>
              </a:cxn>
              <a:cxn ang="0">
                <a:pos x="connsiteX60368" y="connsiteY60368"/>
              </a:cxn>
              <a:cxn ang="0">
                <a:pos x="connsiteX60369" y="connsiteY60369"/>
              </a:cxn>
              <a:cxn ang="0">
                <a:pos x="connsiteX60370" y="connsiteY60370"/>
              </a:cxn>
              <a:cxn ang="0">
                <a:pos x="connsiteX60371" y="connsiteY60371"/>
              </a:cxn>
              <a:cxn ang="0">
                <a:pos x="connsiteX60372" y="connsiteY60372"/>
              </a:cxn>
              <a:cxn ang="0">
                <a:pos x="connsiteX60373" y="connsiteY60373"/>
              </a:cxn>
              <a:cxn ang="0">
                <a:pos x="connsiteX60374" y="connsiteY60374"/>
              </a:cxn>
              <a:cxn ang="0">
                <a:pos x="connsiteX60375" y="connsiteY60375"/>
              </a:cxn>
              <a:cxn ang="0">
                <a:pos x="connsiteX60376" y="connsiteY60376"/>
              </a:cxn>
              <a:cxn ang="0">
                <a:pos x="connsiteX60377" y="connsiteY60377"/>
              </a:cxn>
              <a:cxn ang="0">
                <a:pos x="connsiteX60378" y="connsiteY60378"/>
              </a:cxn>
              <a:cxn ang="0">
                <a:pos x="connsiteX60379" y="connsiteY60379"/>
              </a:cxn>
              <a:cxn ang="0">
                <a:pos x="connsiteX60380" y="connsiteY60380"/>
              </a:cxn>
              <a:cxn ang="0">
                <a:pos x="connsiteX60381" y="connsiteY60381"/>
              </a:cxn>
              <a:cxn ang="0">
                <a:pos x="connsiteX60382" y="connsiteY60382"/>
              </a:cxn>
              <a:cxn ang="0">
                <a:pos x="connsiteX60383" y="connsiteY60383"/>
              </a:cxn>
              <a:cxn ang="0">
                <a:pos x="connsiteX60384" y="connsiteY60384"/>
              </a:cxn>
              <a:cxn ang="0">
                <a:pos x="connsiteX60385" y="connsiteY60385"/>
              </a:cxn>
              <a:cxn ang="0">
                <a:pos x="connsiteX60386" y="connsiteY60386"/>
              </a:cxn>
              <a:cxn ang="0">
                <a:pos x="connsiteX60387" y="connsiteY60387"/>
              </a:cxn>
              <a:cxn ang="0">
                <a:pos x="connsiteX60388" y="connsiteY60388"/>
              </a:cxn>
              <a:cxn ang="0">
                <a:pos x="connsiteX60389" y="connsiteY60389"/>
              </a:cxn>
              <a:cxn ang="0">
                <a:pos x="connsiteX60390" y="connsiteY60390"/>
              </a:cxn>
              <a:cxn ang="0">
                <a:pos x="connsiteX60391" y="connsiteY60391"/>
              </a:cxn>
              <a:cxn ang="0">
                <a:pos x="connsiteX60392" y="connsiteY60392"/>
              </a:cxn>
              <a:cxn ang="0">
                <a:pos x="connsiteX60393" y="connsiteY60393"/>
              </a:cxn>
              <a:cxn ang="0">
                <a:pos x="connsiteX60394" y="connsiteY60394"/>
              </a:cxn>
              <a:cxn ang="0">
                <a:pos x="connsiteX60395" y="connsiteY60395"/>
              </a:cxn>
              <a:cxn ang="0">
                <a:pos x="connsiteX60396" y="connsiteY60396"/>
              </a:cxn>
              <a:cxn ang="0">
                <a:pos x="connsiteX60397" y="connsiteY60397"/>
              </a:cxn>
              <a:cxn ang="0">
                <a:pos x="connsiteX60398" y="connsiteY60398"/>
              </a:cxn>
              <a:cxn ang="0">
                <a:pos x="connsiteX60399" y="connsiteY60399"/>
              </a:cxn>
              <a:cxn ang="0">
                <a:pos x="connsiteX60400" y="connsiteY60400"/>
              </a:cxn>
              <a:cxn ang="0">
                <a:pos x="connsiteX60401" y="connsiteY60401"/>
              </a:cxn>
              <a:cxn ang="0">
                <a:pos x="connsiteX60402" y="connsiteY60402"/>
              </a:cxn>
              <a:cxn ang="0">
                <a:pos x="connsiteX60403" y="connsiteY60403"/>
              </a:cxn>
              <a:cxn ang="0">
                <a:pos x="connsiteX60404" y="connsiteY60404"/>
              </a:cxn>
              <a:cxn ang="0">
                <a:pos x="connsiteX60405" y="connsiteY60405"/>
              </a:cxn>
              <a:cxn ang="0">
                <a:pos x="connsiteX60406" y="connsiteY60406"/>
              </a:cxn>
              <a:cxn ang="0">
                <a:pos x="connsiteX60407" y="connsiteY60407"/>
              </a:cxn>
              <a:cxn ang="0">
                <a:pos x="connsiteX60408" y="connsiteY60408"/>
              </a:cxn>
              <a:cxn ang="0">
                <a:pos x="connsiteX60409" y="connsiteY60409"/>
              </a:cxn>
              <a:cxn ang="0">
                <a:pos x="connsiteX60410" y="connsiteY60410"/>
              </a:cxn>
              <a:cxn ang="0">
                <a:pos x="connsiteX60411" y="connsiteY60411"/>
              </a:cxn>
              <a:cxn ang="0">
                <a:pos x="connsiteX60412" y="connsiteY60412"/>
              </a:cxn>
              <a:cxn ang="0">
                <a:pos x="connsiteX60413" y="connsiteY60413"/>
              </a:cxn>
              <a:cxn ang="0">
                <a:pos x="connsiteX60414" y="connsiteY60414"/>
              </a:cxn>
              <a:cxn ang="0">
                <a:pos x="connsiteX60415" y="connsiteY60415"/>
              </a:cxn>
              <a:cxn ang="0">
                <a:pos x="connsiteX60416" y="connsiteY60416"/>
              </a:cxn>
              <a:cxn ang="0">
                <a:pos x="connsiteX60417" y="connsiteY60417"/>
              </a:cxn>
              <a:cxn ang="0">
                <a:pos x="connsiteX60418" y="connsiteY60418"/>
              </a:cxn>
              <a:cxn ang="0">
                <a:pos x="connsiteX60419" y="connsiteY60419"/>
              </a:cxn>
              <a:cxn ang="0">
                <a:pos x="connsiteX60420" y="connsiteY60420"/>
              </a:cxn>
              <a:cxn ang="0">
                <a:pos x="connsiteX60421" y="connsiteY60421"/>
              </a:cxn>
              <a:cxn ang="0">
                <a:pos x="connsiteX60422" y="connsiteY60422"/>
              </a:cxn>
              <a:cxn ang="0">
                <a:pos x="connsiteX60423" y="connsiteY60423"/>
              </a:cxn>
              <a:cxn ang="0">
                <a:pos x="connsiteX60424" y="connsiteY60424"/>
              </a:cxn>
              <a:cxn ang="0">
                <a:pos x="connsiteX60425" y="connsiteY60425"/>
              </a:cxn>
              <a:cxn ang="0">
                <a:pos x="connsiteX60426" y="connsiteY60426"/>
              </a:cxn>
              <a:cxn ang="0">
                <a:pos x="connsiteX60427" y="connsiteY60427"/>
              </a:cxn>
              <a:cxn ang="0">
                <a:pos x="connsiteX60428" y="connsiteY60428"/>
              </a:cxn>
              <a:cxn ang="0">
                <a:pos x="connsiteX60429" y="connsiteY60429"/>
              </a:cxn>
              <a:cxn ang="0">
                <a:pos x="connsiteX60430" y="connsiteY60430"/>
              </a:cxn>
              <a:cxn ang="0">
                <a:pos x="connsiteX60431" y="connsiteY60431"/>
              </a:cxn>
              <a:cxn ang="0">
                <a:pos x="connsiteX60432" y="connsiteY60432"/>
              </a:cxn>
              <a:cxn ang="0">
                <a:pos x="connsiteX60433" y="connsiteY60433"/>
              </a:cxn>
              <a:cxn ang="0">
                <a:pos x="connsiteX60434" y="connsiteY60434"/>
              </a:cxn>
              <a:cxn ang="0">
                <a:pos x="connsiteX60435" y="connsiteY60435"/>
              </a:cxn>
              <a:cxn ang="0">
                <a:pos x="connsiteX60436" y="connsiteY60436"/>
              </a:cxn>
              <a:cxn ang="0">
                <a:pos x="connsiteX60437" y="connsiteY60437"/>
              </a:cxn>
              <a:cxn ang="0">
                <a:pos x="connsiteX60438" y="connsiteY60438"/>
              </a:cxn>
              <a:cxn ang="0">
                <a:pos x="connsiteX60439" y="connsiteY60439"/>
              </a:cxn>
              <a:cxn ang="0">
                <a:pos x="connsiteX60440" y="connsiteY60440"/>
              </a:cxn>
              <a:cxn ang="0">
                <a:pos x="connsiteX60441" y="connsiteY60441"/>
              </a:cxn>
              <a:cxn ang="0">
                <a:pos x="connsiteX60442" y="connsiteY60442"/>
              </a:cxn>
              <a:cxn ang="0">
                <a:pos x="connsiteX60443" y="connsiteY60443"/>
              </a:cxn>
              <a:cxn ang="0">
                <a:pos x="connsiteX60444" y="connsiteY60444"/>
              </a:cxn>
              <a:cxn ang="0">
                <a:pos x="connsiteX60445" y="connsiteY60445"/>
              </a:cxn>
              <a:cxn ang="0">
                <a:pos x="connsiteX60446" y="connsiteY60446"/>
              </a:cxn>
              <a:cxn ang="0">
                <a:pos x="connsiteX60447" y="connsiteY60447"/>
              </a:cxn>
              <a:cxn ang="0">
                <a:pos x="connsiteX60448" y="connsiteY60448"/>
              </a:cxn>
              <a:cxn ang="0">
                <a:pos x="connsiteX60449" y="connsiteY60449"/>
              </a:cxn>
              <a:cxn ang="0">
                <a:pos x="connsiteX60450" y="connsiteY60450"/>
              </a:cxn>
              <a:cxn ang="0">
                <a:pos x="connsiteX60451" y="connsiteY60451"/>
              </a:cxn>
              <a:cxn ang="0">
                <a:pos x="connsiteX60452" y="connsiteY60452"/>
              </a:cxn>
              <a:cxn ang="0">
                <a:pos x="connsiteX60453" y="connsiteY60453"/>
              </a:cxn>
              <a:cxn ang="0">
                <a:pos x="connsiteX60454" y="connsiteY60454"/>
              </a:cxn>
              <a:cxn ang="0">
                <a:pos x="connsiteX60455" y="connsiteY60455"/>
              </a:cxn>
              <a:cxn ang="0">
                <a:pos x="connsiteX60456" y="connsiteY60456"/>
              </a:cxn>
              <a:cxn ang="0">
                <a:pos x="connsiteX60457" y="connsiteY60457"/>
              </a:cxn>
              <a:cxn ang="0">
                <a:pos x="connsiteX60458" y="connsiteY60458"/>
              </a:cxn>
              <a:cxn ang="0">
                <a:pos x="connsiteX60459" y="connsiteY60459"/>
              </a:cxn>
              <a:cxn ang="0">
                <a:pos x="connsiteX60460" y="connsiteY60460"/>
              </a:cxn>
              <a:cxn ang="0">
                <a:pos x="connsiteX60461" y="connsiteY60461"/>
              </a:cxn>
              <a:cxn ang="0">
                <a:pos x="connsiteX60462" y="connsiteY60462"/>
              </a:cxn>
              <a:cxn ang="0">
                <a:pos x="connsiteX60463" y="connsiteY60463"/>
              </a:cxn>
              <a:cxn ang="0">
                <a:pos x="connsiteX60464" y="connsiteY60464"/>
              </a:cxn>
              <a:cxn ang="0">
                <a:pos x="connsiteX60465" y="connsiteY60465"/>
              </a:cxn>
              <a:cxn ang="0">
                <a:pos x="connsiteX60466" y="connsiteY60466"/>
              </a:cxn>
              <a:cxn ang="0">
                <a:pos x="connsiteX60467" y="connsiteY60467"/>
              </a:cxn>
              <a:cxn ang="0">
                <a:pos x="connsiteX60468" y="connsiteY60468"/>
              </a:cxn>
              <a:cxn ang="0">
                <a:pos x="connsiteX60469" y="connsiteY60469"/>
              </a:cxn>
              <a:cxn ang="0">
                <a:pos x="connsiteX60470" y="connsiteY60470"/>
              </a:cxn>
              <a:cxn ang="0">
                <a:pos x="connsiteX60471" y="connsiteY60471"/>
              </a:cxn>
              <a:cxn ang="0">
                <a:pos x="connsiteX60472" y="connsiteY60472"/>
              </a:cxn>
              <a:cxn ang="0">
                <a:pos x="connsiteX60473" y="connsiteY60473"/>
              </a:cxn>
              <a:cxn ang="0">
                <a:pos x="connsiteX60474" y="connsiteY60474"/>
              </a:cxn>
              <a:cxn ang="0">
                <a:pos x="connsiteX60475" y="connsiteY60475"/>
              </a:cxn>
              <a:cxn ang="0">
                <a:pos x="connsiteX60476" y="connsiteY60476"/>
              </a:cxn>
              <a:cxn ang="0">
                <a:pos x="connsiteX60477" y="connsiteY60477"/>
              </a:cxn>
              <a:cxn ang="0">
                <a:pos x="connsiteX60478" y="connsiteY60478"/>
              </a:cxn>
              <a:cxn ang="0">
                <a:pos x="connsiteX60479" y="connsiteY60479"/>
              </a:cxn>
              <a:cxn ang="0">
                <a:pos x="connsiteX60480" y="connsiteY60480"/>
              </a:cxn>
              <a:cxn ang="0">
                <a:pos x="connsiteX60481" y="connsiteY60481"/>
              </a:cxn>
              <a:cxn ang="0">
                <a:pos x="connsiteX60482" y="connsiteY60482"/>
              </a:cxn>
              <a:cxn ang="0">
                <a:pos x="connsiteX60483" y="connsiteY60483"/>
              </a:cxn>
              <a:cxn ang="0">
                <a:pos x="connsiteX60484" y="connsiteY60484"/>
              </a:cxn>
              <a:cxn ang="0">
                <a:pos x="connsiteX60485" y="connsiteY60485"/>
              </a:cxn>
              <a:cxn ang="0">
                <a:pos x="connsiteX60486" y="connsiteY60486"/>
              </a:cxn>
              <a:cxn ang="0">
                <a:pos x="connsiteX60487" y="connsiteY60487"/>
              </a:cxn>
              <a:cxn ang="0">
                <a:pos x="connsiteX60488" y="connsiteY60488"/>
              </a:cxn>
              <a:cxn ang="0">
                <a:pos x="connsiteX60489" y="connsiteY60489"/>
              </a:cxn>
              <a:cxn ang="0">
                <a:pos x="connsiteX60490" y="connsiteY60490"/>
              </a:cxn>
              <a:cxn ang="0">
                <a:pos x="connsiteX60491" y="connsiteY60491"/>
              </a:cxn>
              <a:cxn ang="0">
                <a:pos x="connsiteX60492" y="connsiteY60492"/>
              </a:cxn>
              <a:cxn ang="0">
                <a:pos x="connsiteX60493" y="connsiteY60493"/>
              </a:cxn>
              <a:cxn ang="0">
                <a:pos x="connsiteX60494" y="connsiteY60494"/>
              </a:cxn>
              <a:cxn ang="0">
                <a:pos x="connsiteX60495" y="connsiteY60495"/>
              </a:cxn>
              <a:cxn ang="0">
                <a:pos x="connsiteX60496" y="connsiteY60496"/>
              </a:cxn>
              <a:cxn ang="0">
                <a:pos x="connsiteX60497" y="connsiteY60497"/>
              </a:cxn>
              <a:cxn ang="0">
                <a:pos x="connsiteX60498" y="connsiteY60498"/>
              </a:cxn>
              <a:cxn ang="0">
                <a:pos x="connsiteX60499" y="connsiteY60499"/>
              </a:cxn>
              <a:cxn ang="0">
                <a:pos x="connsiteX60500" y="connsiteY60500"/>
              </a:cxn>
              <a:cxn ang="0">
                <a:pos x="connsiteX60501" y="connsiteY60501"/>
              </a:cxn>
              <a:cxn ang="0">
                <a:pos x="connsiteX60502" y="connsiteY60502"/>
              </a:cxn>
              <a:cxn ang="0">
                <a:pos x="connsiteX60503" y="connsiteY60503"/>
              </a:cxn>
              <a:cxn ang="0">
                <a:pos x="connsiteX60504" y="connsiteY60504"/>
              </a:cxn>
              <a:cxn ang="0">
                <a:pos x="connsiteX60505" y="connsiteY60505"/>
              </a:cxn>
              <a:cxn ang="0">
                <a:pos x="connsiteX60506" y="connsiteY60506"/>
              </a:cxn>
              <a:cxn ang="0">
                <a:pos x="connsiteX60507" y="connsiteY60507"/>
              </a:cxn>
              <a:cxn ang="0">
                <a:pos x="connsiteX60508" y="connsiteY60508"/>
              </a:cxn>
              <a:cxn ang="0">
                <a:pos x="connsiteX60509" y="connsiteY60509"/>
              </a:cxn>
              <a:cxn ang="0">
                <a:pos x="connsiteX60510" y="connsiteY60510"/>
              </a:cxn>
              <a:cxn ang="0">
                <a:pos x="connsiteX60511" y="connsiteY60511"/>
              </a:cxn>
              <a:cxn ang="0">
                <a:pos x="connsiteX60512" y="connsiteY60512"/>
              </a:cxn>
              <a:cxn ang="0">
                <a:pos x="connsiteX60513" y="connsiteY60513"/>
              </a:cxn>
              <a:cxn ang="0">
                <a:pos x="connsiteX60514" y="connsiteY60514"/>
              </a:cxn>
              <a:cxn ang="0">
                <a:pos x="connsiteX60515" y="connsiteY60515"/>
              </a:cxn>
              <a:cxn ang="0">
                <a:pos x="connsiteX60516" y="connsiteY60516"/>
              </a:cxn>
              <a:cxn ang="0">
                <a:pos x="connsiteX60517" y="connsiteY60517"/>
              </a:cxn>
              <a:cxn ang="0">
                <a:pos x="connsiteX60518" y="connsiteY60518"/>
              </a:cxn>
              <a:cxn ang="0">
                <a:pos x="connsiteX60519" y="connsiteY60519"/>
              </a:cxn>
              <a:cxn ang="0">
                <a:pos x="connsiteX60520" y="connsiteY60520"/>
              </a:cxn>
              <a:cxn ang="0">
                <a:pos x="connsiteX60521" y="connsiteY60521"/>
              </a:cxn>
              <a:cxn ang="0">
                <a:pos x="connsiteX60522" y="connsiteY60522"/>
              </a:cxn>
              <a:cxn ang="0">
                <a:pos x="connsiteX60523" y="connsiteY60523"/>
              </a:cxn>
              <a:cxn ang="0">
                <a:pos x="connsiteX60524" y="connsiteY60524"/>
              </a:cxn>
              <a:cxn ang="0">
                <a:pos x="connsiteX60525" y="connsiteY60525"/>
              </a:cxn>
              <a:cxn ang="0">
                <a:pos x="connsiteX60526" y="connsiteY60526"/>
              </a:cxn>
              <a:cxn ang="0">
                <a:pos x="connsiteX60527" y="connsiteY60527"/>
              </a:cxn>
              <a:cxn ang="0">
                <a:pos x="connsiteX60528" y="connsiteY60528"/>
              </a:cxn>
              <a:cxn ang="0">
                <a:pos x="connsiteX60529" y="connsiteY60529"/>
              </a:cxn>
              <a:cxn ang="0">
                <a:pos x="connsiteX60530" y="connsiteY60530"/>
              </a:cxn>
              <a:cxn ang="0">
                <a:pos x="connsiteX60531" y="connsiteY60531"/>
              </a:cxn>
              <a:cxn ang="0">
                <a:pos x="connsiteX60532" y="connsiteY60532"/>
              </a:cxn>
              <a:cxn ang="0">
                <a:pos x="connsiteX60533" y="connsiteY60533"/>
              </a:cxn>
              <a:cxn ang="0">
                <a:pos x="connsiteX60534" y="connsiteY60534"/>
              </a:cxn>
              <a:cxn ang="0">
                <a:pos x="connsiteX60535" y="connsiteY60535"/>
              </a:cxn>
              <a:cxn ang="0">
                <a:pos x="connsiteX60536" y="connsiteY60536"/>
              </a:cxn>
              <a:cxn ang="0">
                <a:pos x="connsiteX60537" y="connsiteY60537"/>
              </a:cxn>
              <a:cxn ang="0">
                <a:pos x="connsiteX60538" y="connsiteY60538"/>
              </a:cxn>
              <a:cxn ang="0">
                <a:pos x="connsiteX60539" y="connsiteY60539"/>
              </a:cxn>
              <a:cxn ang="0">
                <a:pos x="connsiteX60540" y="connsiteY60540"/>
              </a:cxn>
              <a:cxn ang="0">
                <a:pos x="connsiteX60541" y="connsiteY60541"/>
              </a:cxn>
              <a:cxn ang="0">
                <a:pos x="connsiteX60542" y="connsiteY60542"/>
              </a:cxn>
              <a:cxn ang="0">
                <a:pos x="connsiteX60543" y="connsiteY60543"/>
              </a:cxn>
              <a:cxn ang="0">
                <a:pos x="connsiteX60544" y="connsiteY60544"/>
              </a:cxn>
              <a:cxn ang="0">
                <a:pos x="connsiteX60545" y="connsiteY60545"/>
              </a:cxn>
              <a:cxn ang="0">
                <a:pos x="connsiteX60546" y="connsiteY60546"/>
              </a:cxn>
              <a:cxn ang="0">
                <a:pos x="connsiteX60547" y="connsiteY60547"/>
              </a:cxn>
              <a:cxn ang="0">
                <a:pos x="connsiteX60548" y="connsiteY60548"/>
              </a:cxn>
              <a:cxn ang="0">
                <a:pos x="connsiteX60549" y="connsiteY60549"/>
              </a:cxn>
              <a:cxn ang="0">
                <a:pos x="connsiteX60550" y="connsiteY60550"/>
              </a:cxn>
              <a:cxn ang="0">
                <a:pos x="connsiteX60551" y="connsiteY60551"/>
              </a:cxn>
              <a:cxn ang="0">
                <a:pos x="connsiteX60552" y="connsiteY60552"/>
              </a:cxn>
              <a:cxn ang="0">
                <a:pos x="connsiteX60553" y="connsiteY60553"/>
              </a:cxn>
              <a:cxn ang="0">
                <a:pos x="connsiteX60554" y="connsiteY60554"/>
              </a:cxn>
              <a:cxn ang="0">
                <a:pos x="connsiteX60555" y="connsiteY60555"/>
              </a:cxn>
              <a:cxn ang="0">
                <a:pos x="connsiteX60556" y="connsiteY60556"/>
              </a:cxn>
              <a:cxn ang="0">
                <a:pos x="connsiteX60557" y="connsiteY60557"/>
              </a:cxn>
              <a:cxn ang="0">
                <a:pos x="connsiteX60558" y="connsiteY60558"/>
              </a:cxn>
              <a:cxn ang="0">
                <a:pos x="connsiteX60559" y="connsiteY60559"/>
              </a:cxn>
              <a:cxn ang="0">
                <a:pos x="connsiteX60560" y="connsiteY60560"/>
              </a:cxn>
              <a:cxn ang="0">
                <a:pos x="connsiteX60561" y="connsiteY60561"/>
              </a:cxn>
              <a:cxn ang="0">
                <a:pos x="connsiteX60562" y="connsiteY60562"/>
              </a:cxn>
              <a:cxn ang="0">
                <a:pos x="connsiteX60563" y="connsiteY60563"/>
              </a:cxn>
              <a:cxn ang="0">
                <a:pos x="connsiteX60564" y="connsiteY60564"/>
              </a:cxn>
              <a:cxn ang="0">
                <a:pos x="connsiteX60565" y="connsiteY60565"/>
              </a:cxn>
              <a:cxn ang="0">
                <a:pos x="connsiteX60566" y="connsiteY60566"/>
              </a:cxn>
              <a:cxn ang="0">
                <a:pos x="connsiteX60567" y="connsiteY60567"/>
              </a:cxn>
              <a:cxn ang="0">
                <a:pos x="connsiteX60568" y="connsiteY60568"/>
              </a:cxn>
              <a:cxn ang="0">
                <a:pos x="connsiteX60569" y="connsiteY60569"/>
              </a:cxn>
              <a:cxn ang="0">
                <a:pos x="connsiteX60570" y="connsiteY60570"/>
              </a:cxn>
              <a:cxn ang="0">
                <a:pos x="connsiteX60571" y="connsiteY60571"/>
              </a:cxn>
              <a:cxn ang="0">
                <a:pos x="connsiteX60572" y="connsiteY60572"/>
              </a:cxn>
              <a:cxn ang="0">
                <a:pos x="connsiteX60573" y="connsiteY60573"/>
              </a:cxn>
              <a:cxn ang="0">
                <a:pos x="connsiteX60574" y="connsiteY60574"/>
              </a:cxn>
              <a:cxn ang="0">
                <a:pos x="connsiteX60575" y="connsiteY60575"/>
              </a:cxn>
              <a:cxn ang="0">
                <a:pos x="connsiteX60576" y="connsiteY60576"/>
              </a:cxn>
              <a:cxn ang="0">
                <a:pos x="connsiteX60577" y="connsiteY60577"/>
              </a:cxn>
              <a:cxn ang="0">
                <a:pos x="connsiteX60578" y="connsiteY60578"/>
              </a:cxn>
              <a:cxn ang="0">
                <a:pos x="connsiteX60579" y="connsiteY60579"/>
              </a:cxn>
              <a:cxn ang="0">
                <a:pos x="connsiteX60580" y="connsiteY60580"/>
              </a:cxn>
              <a:cxn ang="0">
                <a:pos x="connsiteX60581" y="connsiteY60581"/>
              </a:cxn>
              <a:cxn ang="0">
                <a:pos x="connsiteX60582" y="connsiteY60582"/>
              </a:cxn>
              <a:cxn ang="0">
                <a:pos x="connsiteX60583" y="connsiteY60583"/>
              </a:cxn>
              <a:cxn ang="0">
                <a:pos x="connsiteX60584" y="connsiteY60584"/>
              </a:cxn>
              <a:cxn ang="0">
                <a:pos x="connsiteX60585" y="connsiteY60585"/>
              </a:cxn>
              <a:cxn ang="0">
                <a:pos x="connsiteX60586" y="connsiteY60586"/>
              </a:cxn>
              <a:cxn ang="0">
                <a:pos x="connsiteX60587" y="connsiteY60587"/>
              </a:cxn>
              <a:cxn ang="0">
                <a:pos x="connsiteX60588" y="connsiteY60588"/>
              </a:cxn>
              <a:cxn ang="0">
                <a:pos x="connsiteX60589" y="connsiteY60589"/>
              </a:cxn>
              <a:cxn ang="0">
                <a:pos x="connsiteX60590" y="connsiteY60590"/>
              </a:cxn>
              <a:cxn ang="0">
                <a:pos x="connsiteX60591" y="connsiteY60591"/>
              </a:cxn>
              <a:cxn ang="0">
                <a:pos x="connsiteX60592" y="connsiteY60592"/>
              </a:cxn>
              <a:cxn ang="0">
                <a:pos x="connsiteX60593" y="connsiteY60593"/>
              </a:cxn>
              <a:cxn ang="0">
                <a:pos x="connsiteX60594" y="connsiteY60594"/>
              </a:cxn>
              <a:cxn ang="0">
                <a:pos x="connsiteX60595" y="connsiteY60595"/>
              </a:cxn>
              <a:cxn ang="0">
                <a:pos x="connsiteX60596" y="connsiteY60596"/>
              </a:cxn>
              <a:cxn ang="0">
                <a:pos x="connsiteX60597" y="connsiteY60597"/>
              </a:cxn>
              <a:cxn ang="0">
                <a:pos x="connsiteX60598" y="connsiteY60598"/>
              </a:cxn>
              <a:cxn ang="0">
                <a:pos x="connsiteX60599" y="connsiteY60599"/>
              </a:cxn>
              <a:cxn ang="0">
                <a:pos x="connsiteX60600" y="connsiteY60600"/>
              </a:cxn>
              <a:cxn ang="0">
                <a:pos x="connsiteX60601" y="connsiteY60601"/>
              </a:cxn>
              <a:cxn ang="0">
                <a:pos x="connsiteX60602" y="connsiteY60602"/>
              </a:cxn>
              <a:cxn ang="0">
                <a:pos x="connsiteX60603" y="connsiteY60603"/>
              </a:cxn>
              <a:cxn ang="0">
                <a:pos x="connsiteX60604" y="connsiteY60604"/>
              </a:cxn>
              <a:cxn ang="0">
                <a:pos x="connsiteX60605" y="connsiteY60605"/>
              </a:cxn>
              <a:cxn ang="0">
                <a:pos x="connsiteX60606" y="connsiteY60606"/>
              </a:cxn>
              <a:cxn ang="0">
                <a:pos x="connsiteX60607" y="connsiteY60607"/>
              </a:cxn>
              <a:cxn ang="0">
                <a:pos x="connsiteX60608" y="connsiteY60608"/>
              </a:cxn>
              <a:cxn ang="0">
                <a:pos x="connsiteX60609" y="connsiteY60609"/>
              </a:cxn>
              <a:cxn ang="0">
                <a:pos x="connsiteX60610" y="connsiteY60610"/>
              </a:cxn>
              <a:cxn ang="0">
                <a:pos x="connsiteX60611" y="connsiteY60611"/>
              </a:cxn>
              <a:cxn ang="0">
                <a:pos x="connsiteX60612" y="connsiteY60612"/>
              </a:cxn>
              <a:cxn ang="0">
                <a:pos x="connsiteX60613" y="connsiteY60613"/>
              </a:cxn>
              <a:cxn ang="0">
                <a:pos x="connsiteX60614" y="connsiteY60614"/>
              </a:cxn>
              <a:cxn ang="0">
                <a:pos x="connsiteX60615" y="connsiteY60615"/>
              </a:cxn>
              <a:cxn ang="0">
                <a:pos x="connsiteX60616" y="connsiteY60616"/>
              </a:cxn>
              <a:cxn ang="0">
                <a:pos x="connsiteX60617" y="connsiteY60617"/>
              </a:cxn>
              <a:cxn ang="0">
                <a:pos x="connsiteX60618" y="connsiteY60618"/>
              </a:cxn>
              <a:cxn ang="0">
                <a:pos x="connsiteX60619" y="connsiteY60619"/>
              </a:cxn>
              <a:cxn ang="0">
                <a:pos x="connsiteX60620" y="connsiteY60620"/>
              </a:cxn>
              <a:cxn ang="0">
                <a:pos x="connsiteX60621" y="connsiteY60621"/>
              </a:cxn>
              <a:cxn ang="0">
                <a:pos x="connsiteX60622" y="connsiteY60622"/>
              </a:cxn>
              <a:cxn ang="0">
                <a:pos x="connsiteX60623" y="connsiteY60623"/>
              </a:cxn>
              <a:cxn ang="0">
                <a:pos x="connsiteX60624" y="connsiteY60624"/>
              </a:cxn>
              <a:cxn ang="0">
                <a:pos x="connsiteX60625" y="connsiteY60625"/>
              </a:cxn>
              <a:cxn ang="0">
                <a:pos x="connsiteX60626" y="connsiteY60626"/>
              </a:cxn>
              <a:cxn ang="0">
                <a:pos x="connsiteX60627" y="connsiteY60627"/>
              </a:cxn>
              <a:cxn ang="0">
                <a:pos x="connsiteX60628" y="connsiteY60628"/>
              </a:cxn>
              <a:cxn ang="0">
                <a:pos x="connsiteX60629" y="connsiteY60629"/>
              </a:cxn>
              <a:cxn ang="0">
                <a:pos x="connsiteX60630" y="connsiteY60630"/>
              </a:cxn>
              <a:cxn ang="0">
                <a:pos x="connsiteX60631" y="connsiteY60631"/>
              </a:cxn>
              <a:cxn ang="0">
                <a:pos x="connsiteX60632" y="connsiteY60632"/>
              </a:cxn>
              <a:cxn ang="0">
                <a:pos x="connsiteX60633" y="connsiteY60633"/>
              </a:cxn>
              <a:cxn ang="0">
                <a:pos x="connsiteX60634" y="connsiteY60634"/>
              </a:cxn>
              <a:cxn ang="0">
                <a:pos x="connsiteX60635" y="connsiteY60635"/>
              </a:cxn>
              <a:cxn ang="0">
                <a:pos x="connsiteX60636" y="connsiteY60636"/>
              </a:cxn>
              <a:cxn ang="0">
                <a:pos x="connsiteX60637" y="connsiteY60637"/>
              </a:cxn>
              <a:cxn ang="0">
                <a:pos x="connsiteX60638" y="connsiteY60638"/>
              </a:cxn>
              <a:cxn ang="0">
                <a:pos x="connsiteX60639" y="connsiteY60639"/>
              </a:cxn>
              <a:cxn ang="0">
                <a:pos x="connsiteX60640" y="connsiteY60640"/>
              </a:cxn>
              <a:cxn ang="0">
                <a:pos x="connsiteX60641" y="connsiteY60641"/>
              </a:cxn>
              <a:cxn ang="0">
                <a:pos x="connsiteX60642" y="connsiteY60642"/>
              </a:cxn>
              <a:cxn ang="0">
                <a:pos x="connsiteX60643" y="connsiteY60643"/>
              </a:cxn>
              <a:cxn ang="0">
                <a:pos x="connsiteX60644" y="connsiteY60644"/>
              </a:cxn>
              <a:cxn ang="0">
                <a:pos x="connsiteX60645" y="connsiteY60645"/>
              </a:cxn>
              <a:cxn ang="0">
                <a:pos x="connsiteX60646" y="connsiteY60646"/>
              </a:cxn>
              <a:cxn ang="0">
                <a:pos x="connsiteX60647" y="connsiteY60647"/>
              </a:cxn>
              <a:cxn ang="0">
                <a:pos x="connsiteX60648" y="connsiteY60648"/>
              </a:cxn>
              <a:cxn ang="0">
                <a:pos x="connsiteX60649" y="connsiteY60649"/>
              </a:cxn>
              <a:cxn ang="0">
                <a:pos x="connsiteX60650" y="connsiteY60650"/>
              </a:cxn>
              <a:cxn ang="0">
                <a:pos x="connsiteX60651" y="connsiteY60651"/>
              </a:cxn>
              <a:cxn ang="0">
                <a:pos x="connsiteX60652" y="connsiteY60652"/>
              </a:cxn>
              <a:cxn ang="0">
                <a:pos x="connsiteX60653" y="connsiteY60653"/>
              </a:cxn>
              <a:cxn ang="0">
                <a:pos x="connsiteX60654" y="connsiteY60654"/>
              </a:cxn>
              <a:cxn ang="0">
                <a:pos x="connsiteX60655" y="connsiteY60655"/>
              </a:cxn>
              <a:cxn ang="0">
                <a:pos x="connsiteX60656" y="connsiteY60656"/>
              </a:cxn>
              <a:cxn ang="0">
                <a:pos x="connsiteX60657" y="connsiteY60657"/>
              </a:cxn>
              <a:cxn ang="0">
                <a:pos x="connsiteX60658" y="connsiteY60658"/>
              </a:cxn>
              <a:cxn ang="0">
                <a:pos x="connsiteX60659" y="connsiteY60659"/>
              </a:cxn>
              <a:cxn ang="0">
                <a:pos x="connsiteX60660" y="connsiteY60660"/>
              </a:cxn>
              <a:cxn ang="0">
                <a:pos x="connsiteX60661" y="connsiteY60661"/>
              </a:cxn>
              <a:cxn ang="0">
                <a:pos x="connsiteX60662" y="connsiteY60662"/>
              </a:cxn>
              <a:cxn ang="0">
                <a:pos x="connsiteX60663" y="connsiteY60663"/>
              </a:cxn>
              <a:cxn ang="0">
                <a:pos x="connsiteX60664" y="connsiteY60664"/>
              </a:cxn>
              <a:cxn ang="0">
                <a:pos x="connsiteX60665" y="connsiteY60665"/>
              </a:cxn>
              <a:cxn ang="0">
                <a:pos x="connsiteX60666" y="connsiteY60666"/>
              </a:cxn>
              <a:cxn ang="0">
                <a:pos x="connsiteX60667" y="connsiteY60667"/>
              </a:cxn>
              <a:cxn ang="0">
                <a:pos x="connsiteX60668" y="connsiteY60668"/>
              </a:cxn>
              <a:cxn ang="0">
                <a:pos x="connsiteX60669" y="connsiteY60669"/>
              </a:cxn>
              <a:cxn ang="0">
                <a:pos x="connsiteX60670" y="connsiteY60670"/>
              </a:cxn>
              <a:cxn ang="0">
                <a:pos x="connsiteX60671" y="connsiteY60671"/>
              </a:cxn>
              <a:cxn ang="0">
                <a:pos x="connsiteX60672" y="connsiteY60672"/>
              </a:cxn>
              <a:cxn ang="0">
                <a:pos x="connsiteX60673" y="connsiteY60673"/>
              </a:cxn>
              <a:cxn ang="0">
                <a:pos x="connsiteX60674" y="connsiteY60674"/>
              </a:cxn>
              <a:cxn ang="0">
                <a:pos x="connsiteX60675" y="connsiteY60675"/>
              </a:cxn>
              <a:cxn ang="0">
                <a:pos x="connsiteX60676" y="connsiteY60676"/>
              </a:cxn>
              <a:cxn ang="0">
                <a:pos x="connsiteX60677" y="connsiteY60677"/>
              </a:cxn>
              <a:cxn ang="0">
                <a:pos x="connsiteX60678" y="connsiteY60678"/>
              </a:cxn>
              <a:cxn ang="0">
                <a:pos x="connsiteX60679" y="connsiteY60679"/>
              </a:cxn>
              <a:cxn ang="0">
                <a:pos x="connsiteX60680" y="connsiteY60680"/>
              </a:cxn>
              <a:cxn ang="0">
                <a:pos x="connsiteX60681" y="connsiteY60681"/>
              </a:cxn>
              <a:cxn ang="0">
                <a:pos x="connsiteX60682" y="connsiteY60682"/>
              </a:cxn>
              <a:cxn ang="0">
                <a:pos x="connsiteX60683" y="connsiteY60683"/>
              </a:cxn>
              <a:cxn ang="0">
                <a:pos x="connsiteX60684" y="connsiteY60684"/>
              </a:cxn>
              <a:cxn ang="0">
                <a:pos x="connsiteX60685" y="connsiteY60685"/>
              </a:cxn>
              <a:cxn ang="0">
                <a:pos x="connsiteX60686" y="connsiteY60686"/>
              </a:cxn>
              <a:cxn ang="0">
                <a:pos x="connsiteX60687" y="connsiteY60687"/>
              </a:cxn>
              <a:cxn ang="0">
                <a:pos x="connsiteX60688" y="connsiteY60688"/>
              </a:cxn>
              <a:cxn ang="0">
                <a:pos x="connsiteX60689" y="connsiteY60689"/>
              </a:cxn>
              <a:cxn ang="0">
                <a:pos x="connsiteX60690" y="connsiteY60690"/>
              </a:cxn>
              <a:cxn ang="0">
                <a:pos x="connsiteX60691" y="connsiteY60691"/>
              </a:cxn>
              <a:cxn ang="0">
                <a:pos x="connsiteX60692" y="connsiteY60692"/>
              </a:cxn>
              <a:cxn ang="0">
                <a:pos x="connsiteX60693" y="connsiteY60693"/>
              </a:cxn>
              <a:cxn ang="0">
                <a:pos x="connsiteX60694" y="connsiteY60694"/>
              </a:cxn>
              <a:cxn ang="0">
                <a:pos x="connsiteX60695" y="connsiteY60695"/>
              </a:cxn>
              <a:cxn ang="0">
                <a:pos x="connsiteX60696" y="connsiteY60696"/>
              </a:cxn>
              <a:cxn ang="0">
                <a:pos x="connsiteX60697" y="connsiteY60697"/>
              </a:cxn>
              <a:cxn ang="0">
                <a:pos x="connsiteX60698" y="connsiteY60698"/>
              </a:cxn>
              <a:cxn ang="0">
                <a:pos x="connsiteX60699" y="connsiteY60699"/>
              </a:cxn>
              <a:cxn ang="0">
                <a:pos x="connsiteX60700" y="connsiteY60700"/>
              </a:cxn>
              <a:cxn ang="0">
                <a:pos x="connsiteX60701" y="connsiteY60701"/>
              </a:cxn>
              <a:cxn ang="0">
                <a:pos x="connsiteX60702" y="connsiteY60702"/>
              </a:cxn>
              <a:cxn ang="0">
                <a:pos x="connsiteX60703" y="connsiteY60703"/>
              </a:cxn>
              <a:cxn ang="0">
                <a:pos x="connsiteX60704" y="connsiteY60704"/>
              </a:cxn>
              <a:cxn ang="0">
                <a:pos x="connsiteX60705" y="connsiteY60705"/>
              </a:cxn>
              <a:cxn ang="0">
                <a:pos x="connsiteX60706" y="connsiteY60706"/>
              </a:cxn>
              <a:cxn ang="0">
                <a:pos x="connsiteX60707" y="connsiteY60707"/>
              </a:cxn>
              <a:cxn ang="0">
                <a:pos x="connsiteX60708" y="connsiteY60708"/>
              </a:cxn>
              <a:cxn ang="0">
                <a:pos x="connsiteX60709" y="connsiteY60709"/>
              </a:cxn>
              <a:cxn ang="0">
                <a:pos x="connsiteX60710" y="connsiteY60710"/>
              </a:cxn>
              <a:cxn ang="0">
                <a:pos x="connsiteX60711" y="connsiteY60711"/>
              </a:cxn>
              <a:cxn ang="0">
                <a:pos x="connsiteX60712" y="connsiteY60712"/>
              </a:cxn>
              <a:cxn ang="0">
                <a:pos x="connsiteX60713" y="connsiteY60713"/>
              </a:cxn>
              <a:cxn ang="0">
                <a:pos x="connsiteX60714" y="connsiteY60714"/>
              </a:cxn>
              <a:cxn ang="0">
                <a:pos x="connsiteX60715" y="connsiteY60715"/>
              </a:cxn>
              <a:cxn ang="0">
                <a:pos x="connsiteX60716" y="connsiteY60716"/>
              </a:cxn>
              <a:cxn ang="0">
                <a:pos x="connsiteX60717" y="connsiteY60717"/>
              </a:cxn>
              <a:cxn ang="0">
                <a:pos x="connsiteX60718" y="connsiteY60718"/>
              </a:cxn>
              <a:cxn ang="0">
                <a:pos x="connsiteX60719" y="connsiteY60719"/>
              </a:cxn>
              <a:cxn ang="0">
                <a:pos x="connsiteX60720" y="connsiteY60720"/>
              </a:cxn>
              <a:cxn ang="0">
                <a:pos x="connsiteX60721" y="connsiteY60721"/>
              </a:cxn>
              <a:cxn ang="0">
                <a:pos x="connsiteX60722" y="connsiteY60722"/>
              </a:cxn>
              <a:cxn ang="0">
                <a:pos x="connsiteX60723" y="connsiteY60723"/>
              </a:cxn>
              <a:cxn ang="0">
                <a:pos x="connsiteX60724" y="connsiteY60724"/>
              </a:cxn>
              <a:cxn ang="0">
                <a:pos x="connsiteX60725" y="connsiteY60725"/>
              </a:cxn>
              <a:cxn ang="0">
                <a:pos x="connsiteX60726" y="connsiteY60726"/>
              </a:cxn>
              <a:cxn ang="0">
                <a:pos x="connsiteX60727" y="connsiteY60727"/>
              </a:cxn>
              <a:cxn ang="0">
                <a:pos x="connsiteX60728" y="connsiteY60728"/>
              </a:cxn>
              <a:cxn ang="0">
                <a:pos x="connsiteX60729" y="connsiteY60729"/>
              </a:cxn>
              <a:cxn ang="0">
                <a:pos x="connsiteX60730" y="connsiteY60730"/>
              </a:cxn>
              <a:cxn ang="0">
                <a:pos x="connsiteX60731" y="connsiteY60731"/>
              </a:cxn>
              <a:cxn ang="0">
                <a:pos x="connsiteX60732" y="connsiteY60732"/>
              </a:cxn>
              <a:cxn ang="0">
                <a:pos x="connsiteX60733" y="connsiteY60733"/>
              </a:cxn>
              <a:cxn ang="0">
                <a:pos x="connsiteX60734" y="connsiteY60734"/>
              </a:cxn>
              <a:cxn ang="0">
                <a:pos x="connsiteX60735" y="connsiteY60735"/>
              </a:cxn>
              <a:cxn ang="0">
                <a:pos x="connsiteX60736" y="connsiteY60736"/>
              </a:cxn>
              <a:cxn ang="0">
                <a:pos x="connsiteX60737" y="connsiteY60737"/>
              </a:cxn>
              <a:cxn ang="0">
                <a:pos x="connsiteX60738" y="connsiteY60738"/>
              </a:cxn>
              <a:cxn ang="0">
                <a:pos x="connsiteX60739" y="connsiteY60739"/>
              </a:cxn>
              <a:cxn ang="0">
                <a:pos x="connsiteX60740" y="connsiteY60740"/>
              </a:cxn>
              <a:cxn ang="0">
                <a:pos x="connsiteX60741" y="connsiteY60741"/>
              </a:cxn>
              <a:cxn ang="0">
                <a:pos x="connsiteX60742" y="connsiteY60742"/>
              </a:cxn>
              <a:cxn ang="0">
                <a:pos x="connsiteX60743" y="connsiteY60743"/>
              </a:cxn>
              <a:cxn ang="0">
                <a:pos x="connsiteX60744" y="connsiteY60744"/>
              </a:cxn>
              <a:cxn ang="0">
                <a:pos x="connsiteX60745" y="connsiteY60745"/>
              </a:cxn>
              <a:cxn ang="0">
                <a:pos x="connsiteX60746" y="connsiteY60746"/>
              </a:cxn>
              <a:cxn ang="0">
                <a:pos x="connsiteX60747" y="connsiteY60747"/>
              </a:cxn>
              <a:cxn ang="0">
                <a:pos x="connsiteX60748" y="connsiteY60748"/>
              </a:cxn>
              <a:cxn ang="0">
                <a:pos x="connsiteX60749" y="connsiteY60749"/>
              </a:cxn>
              <a:cxn ang="0">
                <a:pos x="connsiteX60750" y="connsiteY60750"/>
              </a:cxn>
              <a:cxn ang="0">
                <a:pos x="connsiteX60751" y="connsiteY60751"/>
              </a:cxn>
              <a:cxn ang="0">
                <a:pos x="connsiteX60752" y="connsiteY60752"/>
              </a:cxn>
              <a:cxn ang="0">
                <a:pos x="connsiteX60753" y="connsiteY60753"/>
              </a:cxn>
              <a:cxn ang="0">
                <a:pos x="connsiteX60754" y="connsiteY60754"/>
              </a:cxn>
              <a:cxn ang="0">
                <a:pos x="connsiteX60755" y="connsiteY60755"/>
              </a:cxn>
              <a:cxn ang="0">
                <a:pos x="connsiteX60756" y="connsiteY60756"/>
              </a:cxn>
              <a:cxn ang="0">
                <a:pos x="connsiteX60757" y="connsiteY60757"/>
              </a:cxn>
              <a:cxn ang="0">
                <a:pos x="connsiteX60758" y="connsiteY60758"/>
              </a:cxn>
              <a:cxn ang="0">
                <a:pos x="connsiteX60759" y="connsiteY60759"/>
              </a:cxn>
              <a:cxn ang="0">
                <a:pos x="connsiteX60760" y="connsiteY60760"/>
              </a:cxn>
              <a:cxn ang="0">
                <a:pos x="connsiteX60761" y="connsiteY60761"/>
              </a:cxn>
              <a:cxn ang="0">
                <a:pos x="connsiteX60762" y="connsiteY60762"/>
              </a:cxn>
              <a:cxn ang="0">
                <a:pos x="connsiteX60763" y="connsiteY60763"/>
              </a:cxn>
              <a:cxn ang="0">
                <a:pos x="connsiteX60764" y="connsiteY60764"/>
              </a:cxn>
              <a:cxn ang="0">
                <a:pos x="connsiteX60765" y="connsiteY60765"/>
              </a:cxn>
              <a:cxn ang="0">
                <a:pos x="connsiteX60766" y="connsiteY60766"/>
              </a:cxn>
              <a:cxn ang="0">
                <a:pos x="connsiteX60767" y="connsiteY60767"/>
              </a:cxn>
              <a:cxn ang="0">
                <a:pos x="connsiteX60768" y="connsiteY60768"/>
              </a:cxn>
              <a:cxn ang="0">
                <a:pos x="connsiteX60769" y="connsiteY60769"/>
              </a:cxn>
              <a:cxn ang="0">
                <a:pos x="connsiteX60770" y="connsiteY60770"/>
              </a:cxn>
              <a:cxn ang="0">
                <a:pos x="connsiteX60771" y="connsiteY60771"/>
              </a:cxn>
              <a:cxn ang="0">
                <a:pos x="connsiteX60772" y="connsiteY60772"/>
              </a:cxn>
              <a:cxn ang="0">
                <a:pos x="connsiteX60773" y="connsiteY60773"/>
              </a:cxn>
              <a:cxn ang="0">
                <a:pos x="connsiteX60774" y="connsiteY60774"/>
              </a:cxn>
              <a:cxn ang="0">
                <a:pos x="connsiteX60775" y="connsiteY60775"/>
              </a:cxn>
              <a:cxn ang="0">
                <a:pos x="connsiteX60776" y="connsiteY60776"/>
              </a:cxn>
              <a:cxn ang="0">
                <a:pos x="connsiteX60777" y="connsiteY60777"/>
              </a:cxn>
              <a:cxn ang="0">
                <a:pos x="connsiteX60778" y="connsiteY60778"/>
              </a:cxn>
              <a:cxn ang="0">
                <a:pos x="connsiteX60779" y="connsiteY60779"/>
              </a:cxn>
              <a:cxn ang="0">
                <a:pos x="connsiteX60780" y="connsiteY60780"/>
              </a:cxn>
              <a:cxn ang="0">
                <a:pos x="connsiteX60781" y="connsiteY60781"/>
              </a:cxn>
              <a:cxn ang="0">
                <a:pos x="connsiteX60782" y="connsiteY60782"/>
              </a:cxn>
              <a:cxn ang="0">
                <a:pos x="connsiteX60783" y="connsiteY60783"/>
              </a:cxn>
              <a:cxn ang="0">
                <a:pos x="connsiteX60784" y="connsiteY60784"/>
              </a:cxn>
              <a:cxn ang="0">
                <a:pos x="connsiteX60785" y="connsiteY60785"/>
              </a:cxn>
              <a:cxn ang="0">
                <a:pos x="connsiteX60786" y="connsiteY60786"/>
              </a:cxn>
              <a:cxn ang="0">
                <a:pos x="connsiteX60787" y="connsiteY60787"/>
              </a:cxn>
              <a:cxn ang="0">
                <a:pos x="connsiteX60788" y="connsiteY60788"/>
              </a:cxn>
              <a:cxn ang="0">
                <a:pos x="connsiteX60789" y="connsiteY60789"/>
              </a:cxn>
              <a:cxn ang="0">
                <a:pos x="connsiteX60790" y="connsiteY60790"/>
              </a:cxn>
              <a:cxn ang="0">
                <a:pos x="connsiteX60791" y="connsiteY60791"/>
              </a:cxn>
              <a:cxn ang="0">
                <a:pos x="connsiteX60792" y="connsiteY60792"/>
              </a:cxn>
              <a:cxn ang="0">
                <a:pos x="connsiteX60793" y="connsiteY60793"/>
              </a:cxn>
              <a:cxn ang="0">
                <a:pos x="connsiteX60794" y="connsiteY60794"/>
              </a:cxn>
              <a:cxn ang="0">
                <a:pos x="connsiteX60795" y="connsiteY60795"/>
              </a:cxn>
              <a:cxn ang="0">
                <a:pos x="connsiteX60796" y="connsiteY60796"/>
              </a:cxn>
              <a:cxn ang="0">
                <a:pos x="connsiteX60797" y="connsiteY60797"/>
              </a:cxn>
              <a:cxn ang="0">
                <a:pos x="connsiteX60798" y="connsiteY60798"/>
              </a:cxn>
              <a:cxn ang="0">
                <a:pos x="connsiteX60799" y="connsiteY60799"/>
              </a:cxn>
              <a:cxn ang="0">
                <a:pos x="connsiteX60800" y="connsiteY60800"/>
              </a:cxn>
              <a:cxn ang="0">
                <a:pos x="connsiteX60801" y="connsiteY60801"/>
              </a:cxn>
              <a:cxn ang="0">
                <a:pos x="connsiteX60802" y="connsiteY60802"/>
              </a:cxn>
              <a:cxn ang="0">
                <a:pos x="connsiteX60803" y="connsiteY60803"/>
              </a:cxn>
              <a:cxn ang="0">
                <a:pos x="connsiteX60804" y="connsiteY60804"/>
              </a:cxn>
              <a:cxn ang="0">
                <a:pos x="connsiteX60805" y="connsiteY60805"/>
              </a:cxn>
              <a:cxn ang="0">
                <a:pos x="connsiteX60806" y="connsiteY60806"/>
              </a:cxn>
              <a:cxn ang="0">
                <a:pos x="connsiteX60807" y="connsiteY60807"/>
              </a:cxn>
              <a:cxn ang="0">
                <a:pos x="connsiteX60808" y="connsiteY60808"/>
              </a:cxn>
              <a:cxn ang="0">
                <a:pos x="connsiteX60809" y="connsiteY60809"/>
              </a:cxn>
              <a:cxn ang="0">
                <a:pos x="connsiteX60810" y="connsiteY60810"/>
              </a:cxn>
              <a:cxn ang="0">
                <a:pos x="connsiteX60811" y="connsiteY60811"/>
              </a:cxn>
              <a:cxn ang="0">
                <a:pos x="connsiteX60812" y="connsiteY60812"/>
              </a:cxn>
              <a:cxn ang="0">
                <a:pos x="connsiteX60813" y="connsiteY60813"/>
              </a:cxn>
              <a:cxn ang="0">
                <a:pos x="connsiteX60814" y="connsiteY60814"/>
              </a:cxn>
              <a:cxn ang="0">
                <a:pos x="connsiteX60815" y="connsiteY60815"/>
              </a:cxn>
              <a:cxn ang="0">
                <a:pos x="connsiteX60816" y="connsiteY60816"/>
              </a:cxn>
              <a:cxn ang="0">
                <a:pos x="connsiteX60817" y="connsiteY60817"/>
              </a:cxn>
              <a:cxn ang="0">
                <a:pos x="connsiteX60818" y="connsiteY60818"/>
              </a:cxn>
              <a:cxn ang="0">
                <a:pos x="connsiteX60819" y="connsiteY60819"/>
              </a:cxn>
              <a:cxn ang="0">
                <a:pos x="connsiteX60820" y="connsiteY60820"/>
              </a:cxn>
              <a:cxn ang="0">
                <a:pos x="connsiteX60821" y="connsiteY60821"/>
              </a:cxn>
              <a:cxn ang="0">
                <a:pos x="connsiteX60822" y="connsiteY60822"/>
              </a:cxn>
              <a:cxn ang="0">
                <a:pos x="connsiteX60823" y="connsiteY60823"/>
              </a:cxn>
              <a:cxn ang="0">
                <a:pos x="connsiteX60824" y="connsiteY60824"/>
              </a:cxn>
              <a:cxn ang="0">
                <a:pos x="connsiteX60825" y="connsiteY60825"/>
              </a:cxn>
              <a:cxn ang="0">
                <a:pos x="connsiteX60826" y="connsiteY60826"/>
              </a:cxn>
              <a:cxn ang="0">
                <a:pos x="connsiteX60827" y="connsiteY60827"/>
              </a:cxn>
              <a:cxn ang="0">
                <a:pos x="connsiteX60828" y="connsiteY60828"/>
              </a:cxn>
              <a:cxn ang="0">
                <a:pos x="connsiteX60829" y="connsiteY60829"/>
              </a:cxn>
              <a:cxn ang="0">
                <a:pos x="connsiteX60830" y="connsiteY60830"/>
              </a:cxn>
              <a:cxn ang="0">
                <a:pos x="connsiteX60831" y="connsiteY60831"/>
              </a:cxn>
              <a:cxn ang="0">
                <a:pos x="connsiteX60832" y="connsiteY60832"/>
              </a:cxn>
              <a:cxn ang="0">
                <a:pos x="connsiteX60833" y="connsiteY60833"/>
              </a:cxn>
              <a:cxn ang="0">
                <a:pos x="connsiteX60834" y="connsiteY60834"/>
              </a:cxn>
              <a:cxn ang="0">
                <a:pos x="connsiteX60835" y="connsiteY60835"/>
              </a:cxn>
              <a:cxn ang="0">
                <a:pos x="connsiteX60836" y="connsiteY60836"/>
              </a:cxn>
              <a:cxn ang="0">
                <a:pos x="connsiteX60837" y="connsiteY60837"/>
              </a:cxn>
              <a:cxn ang="0">
                <a:pos x="connsiteX60838" y="connsiteY60838"/>
              </a:cxn>
              <a:cxn ang="0">
                <a:pos x="connsiteX60839" y="connsiteY60839"/>
              </a:cxn>
              <a:cxn ang="0">
                <a:pos x="connsiteX60840" y="connsiteY60840"/>
              </a:cxn>
              <a:cxn ang="0">
                <a:pos x="connsiteX60841" y="connsiteY60841"/>
              </a:cxn>
              <a:cxn ang="0">
                <a:pos x="connsiteX60842" y="connsiteY60842"/>
              </a:cxn>
              <a:cxn ang="0">
                <a:pos x="connsiteX60843" y="connsiteY60843"/>
              </a:cxn>
              <a:cxn ang="0">
                <a:pos x="connsiteX60844" y="connsiteY60844"/>
              </a:cxn>
              <a:cxn ang="0">
                <a:pos x="connsiteX60845" y="connsiteY60845"/>
              </a:cxn>
              <a:cxn ang="0">
                <a:pos x="connsiteX60846" y="connsiteY60846"/>
              </a:cxn>
              <a:cxn ang="0">
                <a:pos x="connsiteX60847" y="connsiteY60847"/>
              </a:cxn>
              <a:cxn ang="0">
                <a:pos x="connsiteX60848" y="connsiteY60848"/>
              </a:cxn>
              <a:cxn ang="0">
                <a:pos x="connsiteX60849" y="connsiteY60849"/>
              </a:cxn>
              <a:cxn ang="0">
                <a:pos x="connsiteX60850" y="connsiteY60850"/>
              </a:cxn>
              <a:cxn ang="0">
                <a:pos x="connsiteX60851" y="connsiteY60851"/>
              </a:cxn>
              <a:cxn ang="0">
                <a:pos x="connsiteX60852" y="connsiteY60852"/>
              </a:cxn>
              <a:cxn ang="0">
                <a:pos x="connsiteX60853" y="connsiteY60853"/>
              </a:cxn>
              <a:cxn ang="0">
                <a:pos x="connsiteX60854" y="connsiteY60854"/>
              </a:cxn>
              <a:cxn ang="0">
                <a:pos x="connsiteX60855" y="connsiteY60855"/>
              </a:cxn>
              <a:cxn ang="0">
                <a:pos x="connsiteX60856" y="connsiteY60856"/>
              </a:cxn>
              <a:cxn ang="0">
                <a:pos x="connsiteX60857" y="connsiteY60857"/>
              </a:cxn>
              <a:cxn ang="0">
                <a:pos x="connsiteX60858" y="connsiteY60858"/>
              </a:cxn>
              <a:cxn ang="0">
                <a:pos x="connsiteX60859" y="connsiteY60859"/>
              </a:cxn>
              <a:cxn ang="0">
                <a:pos x="connsiteX60860" y="connsiteY60860"/>
              </a:cxn>
              <a:cxn ang="0">
                <a:pos x="connsiteX60861" y="connsiteY60861"/>
              </a:cxn>
              <a:cxn ang="0">
                <a:pos x="connsiteX60862" y="connsiteY60862"/>
              </a:cxn>
              <a:cxn ang="0">
                <a:pos x="connsiteX60863" y="connsiteY60863"/>
              </a:cxn>
              <a:cxn ang="0">
                <a:pos x="connsiteX60864" y="connsiteY60864"/>
              </a:cxn>
              <a:cxn ang="0">
                <a:pos x="connsiteX60865" y="connsiteY60865"/>
              </a:cxn>
              <a:cxn ang="0">
                <a:pos x="connsiteX60866" y="connsiteY60866"/>
              </a:cxn>
              <a:cxn ang="0">
                <a:pos x="connsiteX60867" y="connsiteY60867"/>
              </a:cxn>
              <a:cxn ang="0">
                <a:pos x="connsiteX60868" y="connsiteY60868"/>
              </a:cxn>
              <a:cxn ang="0">
                <a:pos x="connsiteX60869" y="connsiteY60869"/>
              </a:cxn>
              <a:cxn ang="0">
                <a:pos x="connsiteX60870" y="connsiteY60870"/>
              </a:cxn>
              <a:cxn ang="0">
                <a:pos x="connsiteX60871" y="connsiteY60871"/>
              </a:cxn>
              <a:cxn ang="0">
                <a:pos x="connsiteX60872" y="connsiteY60872"/>
              </a:cxn>
              <a:cxn ang="0">
                <a:pos x="connsiteX60873" y="connsiteY60873"/>
              </a:cxn>
              <a:cxn ang="0">
                <a:pos x="connsiteX60874" y="connsiteY60874"/>
              </a:cxn>
              <a:cxn ang="0">
                <a:pos x="connsiteX60875" y="connsiteY60875"/>
              </a:cxn>
              <a:cxn ang="0">
                <a:pos x="connsiteX60876" y="connsiteY60876"/>
              </a:cxn>
              <a:cxn ang="0">
                <a:pos x="connsiteX60877" y="connsiteY60877"/>
              </a:cxn>
              <a:cxn ang="0">
                <a:pos x="connsiteX60878" y="connsiteY60878"/>
              </a:cxn>
              <a:cxn ang="0">
                <a:pos x="connsiteX60879" y="connsiteY60879"/>
              </a:cxn>
              <a:cxn ang="0">
                <a:pos x="connsiteX60880" y="connsiteY60880"/>
              </a:cxn>
              <a:cxn ang="0">
                <a:pos x="connsiteX60881" y="connsiteY60881"/>
              </a:cxn>
              <a:cxn ang="0">
                <a:pos x="connsiteX60882" y="connsiteY60882"/>
              </a:cxn>
              <a:cxn ang="0">
                <a:pos x="connsiteX60883" y="connsiteY60883"/>
              </a:cxn>
              <a:cxn ang="0">
                <a:pos x="connsiteX60884" y="connsiteY60884"/>
              </a:cxn>
              <a:cxn ang="0">
                <a:pos x="connsiteX60885" y="connsiteY60885"/>
              </a:cxn>
              <a:cxn ang="0">
                <a:pos x="connsiteX60886" y="connsiteY60886"/>
              </a:cxn>
              <a:cxn ang="0">
                <a:pos x="connsiteX60887" y="connsiteY60887"/>
              </a:cxn>
              <a:cxn ang="0">
                <a:pos x="connsiteX60888" y="connsiteY60888"/>
              </a:cxn>
              <a:cxn ang="0">
                <a:pos x="connsiteX60889" y="connsiteY60889"/>
              </a:cxn>
              <a:cxn ang="0">
                <a:pos x="connsiteX60890" y="connsiteY60890"/>
              </a:cxn>
              <a:cxn ang="0">
                <a:pos x="connsiteX60891" y="connsiteY60891"/>
              </a:cxn>
              <a:cxn ang="0">
                <a:pos x="connsiteX60892" y="connsiteY60892"/>
              </a:cxn>
              <a:cxn ang="0">
                <a:pos x="connsiteX60893" y="connsiteY60893"/>
              </a:cxn>
              <a:cxn ang="0">
                <a:pos x="connsiteX60894" y="connsiteY60894"/>
              </a:cxn>
              <a:cxn ang="0">
                <a:pos x="connsiteX60895" y="connsiteY60895"/>
              </a:cxn>
              <a:cxn ang="0">
                <a:pos x="connsiteX60896" y="connsiteY60896"/>
              </a:cxn>
              <a:cxn ang="0">
                <a:pos x="connsiteX60897" y="connsiteY60897"/>
              </a:cxn>
              <a:cxn ang="0">
                <a:pos x="connsiteX60898" y="connsiteY60898"/>
              </a:cxn>
              <a:cxn ang="0">
                <a:pos x="connsiteX60899" y="connsiteY60899"/>
              </a:cxn>
              <a:cxn ang="0">
                <a:pos x="connsiteX60900" y="connsiteY60900"/>
              </a:cxn>
              <a:cxn ang="0">
                <a:pos x="connsiteX60901" y="connsiteY60901"/>
              </a:cxn>
              <a:cxn ang="0">
                <a:pos x="connsiteX60902" y="connsiteY60902"/>
              </a:cxn>
              <a:cxn ang="0">
                <a:pos x="connsiteX60903" y="connsiteY60903"/>
              </a:cxn>
              <a:cxn ang="0">
                <a:pos x="connsiteX60904" y="connsiteY60904"/>
              </a:cxn>
              <a:cxn ang="0">
                <a:pos x="connsiteX60905" y="connsiteY60905"/>
              </a:cxn>
              <a:cxn ang="0">
                <a:pos x="connsiteX60906" y="connsiteY60906"/>
              </a:cxn>
              <a:cxn ang="0">
                <a:pos x="connsiteX60907" y="connsiteY60907"/>
              </a:cxn>
              <a:cxn ang="0">
                <a:pos x="connsiteX60908" y="connsiteY60908"/>
              </a:cxn>
              <a:cxn ang="0">
                <a:pos x="connsiteX60909" y="connsiteY60909"/>
              </a:cxn>
              <a:cxn ang="0">
                <a:pos x="connsiteX60910" y="connsiteY60910"/>
              </a:cxn>
              <a:cxn ang="0">
                <a:pos x="connsiteX60911" y="connsiteY60911"/>
              </a:cxn>
              <a:cxn ang="0">
                <a:pos x="connsiteX60912" y="connsiteY60912"/>
              </a:cxn>
              <a:cxn ang="0">
                <a:pos x="connsiteX60913" y="connsiteY60913"/>
              </a:cxn>
              <a:cxn ang="0">
                <a:pos x="connsiteX60914" y="connsiteY60914"/>
              </a:cxn>
              <a:cxn ang="0">
                <a:pos x="connsiteX60915" y="connsiteY60915"/>
              </a:cxn>
              <a:cxn ang="0">
                <a:pos x="connsiteX60916" y="connsiteY60916"/>
              </a:cxn>
              <a:cxn ang="0">
                <a:pos x="connsiteX60917" y="connsiteY60917"/>
              </a:cxn>
              <a:cxn ang="0">
                <a:pos x="connsiteX60918" y="connsiteY60918"/>
              </a:cxn>
              <a:cxn ang="0">
                <a:pos x="connsiteX60919" y="connsiteY60919"/>
              </a:cxn>
              <a:cxn ang="0">
                <a:pos x="connsiteX60920" y="connsiteY60920"/>
              </a:cxn>
              <a:cxn ang="0">
                <a:pos x="connsiteX60921" y="connsiteY60921"/>
              </a:cxn>
              <a:cxn ang="0">
                <a:pos x="connsiteX60922" y="connsiteY60922"/>
              </a:cxn>
              <a:cxn ang="0">
                <a:pos x="connsiteX60923" y="connsiteY60923"/>
              </a:cxn>
              <a:cxn ang="0">
                <a:pos x="connsiteX60924" y="connsiteY60924"/>
              </a:cxn>
              <a:cxn ang="0">
                <a:pos x="connsiteX60925" y="connsiteY60925"/>
              </a:cxn>
              <a:cxn ang="0">
                <a:pos x="connsiteX60926" y="connsiteY60926"/>
              </a:cxn>
              <a:cxn ang="0">
                <a:pos x="connsiteX60927" y="connsiteY60927"/>
              </a:cxn>
              <a:cxn ang="0">
                <a:pos x="connsiteX60928" y="connsiteY60928"/>
              </a:cxn>
              <a:cxn ang="0">
                <a:pos x="connsiteX60929" y="connsiteY60929"/>
              </a:cxn>
              <a:cxn ang="0">
                <a:pos x="connsiteX60930" y="connsiteY60930"/>
              </a:cxn>
              <a:cxn ang="0">
                <a:pos x="connsiteX60931" y="connsiteY60931"/>
              </a:cxn>
              <a:cxn ang="0">
                <a:pos x="connsiteX60932" y="connsiteY60932"/>
              </a:cxn>
              <a:cxn ang="0">
                <a:pos x="connsiteX60933" y="connsiteY60933"/>
              </a:cxn>
              <a:cxn ang="0">
                <a:pos x="connsiteX60934" y="connsiteY60934"/>
              </a:cxn>
              <a:cxn ang="0">
                <a:pos x="connsiteX60935" y="connsiteY60935"/>
              </a:cxn>
              <a:cxn ang="0">
                <a:pos x="connsiteX60936" y="connsiteY60936"/>
              </a:cxn>
              <a:cxn ang="0">
                <a:pos x="connsiteX60937" y="connsiteY60937"/>
              </a:cxn>
              <a:cxn ang="0">
                <a:pos x="connsiteX60938" y="connsiteY60938"/>
              </a:cxn>
              <a:cxn ang="0">
                <a:pos x="connsiteX60939" y="connsiteY60939"/>
              </a:cxn>
              <a:cxn ang="0">
                <a:pos x="connsiteX60940" y="connsiteY60940"/>
              </a:cxn>
              <a:cxn ang="0">
                <a:pos x="connsiteX60941" y="connsiteY60941"/>
              </a:cxn>
              <a:cxn ang="0">
                <a:pos x="connsiteX60942" y="connsiteY60942"/>
              </a:cxn>
              <a:cxn ang="0">
                <a:pos x="connsiteX60943" y="connsiteY60943"/>
              </a:cxn>
              <a:cxn ang="0">
                <a:pos x="connsiteX60944" y="connsiteY60944"/>
              </a:cxn>
              <a:cxn ang="0">
                <a:pos x="connsiteX60945" y="connsiteY60945"/>
              </a:cxn>
              <a:cxn ang="0">
                <a:pos x="connsiteX60946" y="connsiteY60946"/>
              </a:cxn>
              <a:cxn ang="0">
                <a:pos x="connsiteX60947" y="connsiteY60947"/>
              </a:cxn>
              <a:cxn ang="0">
                <a:pos x="connsiteX60948" y="connsiteY60948"/>
              </a:cxn>
              <a:cxn ang="0">
                <a:pos x="connsiteX60949" y="connsiteY60949"/>
              </a:cxn>
              <a:cxn ang="0">
                <a:pos x="connsiteX60950" y="connsiteY60950"/>
              </a:cxn>
              <a:cxn ang="0">
                <a:pos x="connsiteX60951" y="connsiteY60951"/>
              </a:cxn>
              <a:cxn ang="0">
                <a:pos x="connsiteX60952" y="connsiteY60952"/>
              </a:cxn>
              <a:cxn ang="0">
                <a:pos x="connsiteX60953" y="connsiteY60953"/>
              </a:cxn>
              <a:cxn ang="0">
                <a:pos x="connsiteX60954" y="connsiteY60954"/>
              </a:cxn>
              <a:cxn ang="0">
                <a:pos x="connsiteX60955" y="connsiteY60955"/>
              </a:cxn>
              <a:cxn ang="0">
                <a:pos x="connsiteX60956" y="connsiteY60956"/>
              </a:cxn>
              <a:cxn ang="0">
                <a:pos x="connsiteX60957" y="connsiteY60957"/>
              </a:cxn>
              <a:cxn ang="0">
                <a:pos x="connsiteX60958" y="connsiteY60958"/>
              </a:cxn>
              <a:cxn ang="0">
                <a:pos x="connsiteX60959" y="connsiteY60959"/>
              </a:cxn>
              <a:cxn ang="0">
                <a:pos x="connsiteX60960" y="connsiteY60960"/>
              </a:cxn>
              <a:cxn ang="0">
                <a:pos x="connsiteX60961" y="connsiteY60961"/>
              </a:cxn>
              <a:cxn ang="0">
                <a:pos x="connsiteX60962" y="connsiteY60962"/>
              </a:cxn>
              <a:cxn ang="0">
                <a:pos x="connsiteX60963" y="connsiteY60963"/>
              </a:cxn>
              <a:cxn ang="0">
                <a:pos x="connsiteX60964" y="connsiteY60964"/>
              </a:cxn>
              <a:cxn ang="0">
                <a:pos x="connsiteX60965" y="connsiteY60965"/>
              </a:cxn>
              <a:cxn ang="0">
                <a:pos x="connsiteX60966" y="connsiteY60966"/>
              </a:cxn>
              <a:cxn ang="0">
                <a:pos x="connsiteX60967" y="connsiteY60967"/>
              </a:cxn>
              <a:cxn ang="0">
                <a:pos x="connsiteX60968" y="connsiteY60968"/>
              </a:cxn>
              <a:cxn ang="0">
                <a:pos x="connsiteX60969" y="connsiteY60969"/>
              </a:cxn>
              <a:cxn ang="0">
                <a:pos x="connsiteX60970" y="connsiteY60970"/>
              </a:cxn>
              <a:cxn ang="0">
                <a:pos x="connsiteX60971" y="connsiteY60971"/>
              </a:cxn>
              <a:cxn ang="0">
                <a:pos x="connsiteX60972" y="connsiteY60972"/>
              </a:cxn>
              <a:cxn ang="0">
                <a:pos x="connsiteX60973" y="connsiteY60973"/>
              </a:cxn>
              <a:cxn ang="0">
                <a:pos x="connsiteX60974" y="connsiteY60974"/>
              </a:cxn>
              <a:cxn ang="0">
                <a:pos x="connsiteX60975" y="connsiteY60975"/>
              </a:cxn>
              <a:cxn ang="0">
                <a:pos x="connsiteX60976" y="connsiteY60976"/>
              </a:cxn>
              <a:cxn ang="0">
                <a:pos x="connsiteX60977" y="connsiteY60977"/>
              </a:cxn>
              <a:cxn ang="0">
                <a:pos x="connsiteX60978" y="connsiteY60978"/>
              </a:cxn>
              <a:cxn ang="0">
                <a:pos x="connsiteX60979" y="connsiteY60979"/>
              </a:cxn>
              <a:cxn ang="0">
                <a:pos x="connsiteX60980" y="connsiteY60980"/>
              </a:cxn>
              <a:cxn ang="0">
                <a:pos x="connsiteX60981" y="connsiteY60981"/>
              </a:cxn>
              <a:cxn ang="0">
                <a:pos x="connsiteX60982" y="connsiteY60982"/>
              </a:cxn>
              <a:cxn ang="0">
                <a:pos x="connsiteX60983" y="connsiteY60983"/>
              </a:cxn>
              <a:cxn ang="0">
                <a:pos x="connsiteX60984" y="connsiteY60984"/>
              </a:cxn>
              <a:cxn ang="0">
                <a:pos x="connsiteX60985" y="connsiteY60985"/>
              </a:cxn>
              <a:cxn ang="0">
                <a:pos x="connsiteX60986" y="connsiteY60986"/>
              </a:cxn>
              <a:cxn ang="0">
                <a:pos x="connsiteX60987" y="connsiteY60987"/>
              </a:cxn>
              <a:cxn ang="0">
                <a:pos x="connsiteX60988" y="connsiteY60988"/>
              </a:cxn>
              <a:cxn ang="0">
                <a:pos x="connsiteX60989" y="connsiteY60989"/>
              </a:cxn>
              <a:cxn ang="0">
                <a:pos x="connsiteX60990" y="connsiteY60990"/>
              </a:cxn>
              <a:cxn ang="0">
                <a:pos x="connsiteX60991" y="connsiteY60991"/>
              </a:cxn>
              <a:cxn ang="0">
                <a:pos x="connsiteX60992" y="connsiteY60992"/>
              </a:cxn>
              <a:cxn ang="0">
                <a:pos x="connsiteX60993" y="connsiteY60993"/>
              </a:cxn>
              <a:cxn ang="0">
                <a:pos x="connsiteX60994" y="connsiteY60994"/>
              </a:cxn>
              <a:cxn ang="0">
                <a:pos x="connsiteX60995" y="connsiteY60995"/>
              </a:cxn>
              <a:cxn ang="0">
                <a:pos x="connsiteX60996" y="connsiteY60996"/>
              </a:cxn>
              <a:cxn ang="0">
                <a:pos x="connsiteX60997" y="connsiteY60997"/>
              </a:cxn>
              <a:cxn ang="0">
                <a:pos x="connsiteX60998" y="connsiteY60998"/>
              </a:cxn>
              <a:cxn ang="0">
                <a:pos x="connsiteX60999" y="connsiteY60999"/>
              </a:cxn>
              <a:cxn ang="0">
                <a:pos x="connsiteX61000" y="connsiteY61000"/>
              </a:cxn>
              <a:cxn ang="0">
                <a:pos x="connsiteX61001" y="connsiteY61001"/>
              </a:cxn>
              <a:cxn ang="0">
                <a:pos x="connsiteX61002" y="connsiteY61002"/>
              </a:cxn>
              <a:cxn ang="0">
                <a:pos x="connsiteX61003" y="connsiteY61003"/>
              </a:cxn>
              <a:cxn ang="0">
                <a:pos x="connsiteX61004" y="connsiteY61004"/>
              </a:cxn>
              <a:cxn ang="0">
                <a:pos x="connsiteX61005" y="connsiteY61005"/>
              </a:cxn>
              <a:cxn ang="0">
                <a:pos x="connsiteX61006" y="connsiteY61006"/>
              </a:cxn>
              <a:cxn ang="0">
                <a:pos x="connsiteX61007" y="connsiteY61007"/>
              </a:cxn>
              <a:cxn ang="0">
                <a:pos x="connsiteX61008" y="connsiteY61008"/>
              </a:cxn>
              <a:cxn ang="0">
                <a:pos x="connsiteX61009" y="connsiteY61009"/>
              </a:cxn>
              <a:cxn ang="0">
                <a:pos x="connsiteX61010" y="connsiteY61010"/>
              </a:cxn>
              <a:cxn ang="0">
                <a:pos x="connsiteX61011" y="connsiteY61011"/>
              </a:cxn>
              <a:cxn ang="0">
                <a:pos x="connsiteX61012" y="connsiteY61012"/>
              </a:cxn>
              <a:cxn ang="0">
                <a:pos x="connsiteX61013" y="connsiteY61013"/>
              </a:cxn>
              <a:cxn ang="0">
                <a:pos x="connsiteX61014" y="connsiteY61014"/>
              </a:cxn>
              <a:cxn ang="0">
                <a:pos x="connsiteX61015" y="connsiteY61015"/>
              </a:cxn>
              <a:cxn ang="0">
                <a:pos x="connsiteX61016" y="connsiteY61016"/>
              </a:cxn>
              <a:cxn ang="0">
                <a:pos x="connsiteX61017" y="connsiteY61017"/>
              </a:cxn>
              <a:cxn ang="0">
                <a:pos x="connsiteX61018" y="connsiteY61018"/>
              </a:cxn>
              <a:cxn ang="0">
                <a:pos x="connsiteX61019" y="connsiteY61019"/>
              </a:cxn>
              <a:cxn ang="0">
                <a:pos x="connsiteX61020" y="connsiteY61020"/>
              </a:cxn>
              <a:cxn ang="0">
                <a:pos x="connsiteX61021" y="connsiteY61021"/>
              </a:cxn>
              <a:cxn ang="0">
                <a:pos x="connsiteX61022" y="connsiteY61022"/>
              </a:cxn>
              <a:cxn ang="0">
                <a:pos x="connsiteX61023" y="connsiteY61023"/>
              </a:cxn>
              <a:cxn ang="0">
                <a:pos x="connsiteX61024" y="connsiteY61024"/>
              </a:cxn>
              <a:cxn ang="0">
                <a:pos x="connsiteX61025" y="connsiteY61025"/>
              </a:cxn>
              <a:cxn ang="0">
                <a:pos x="connsiteX61026" y="connsiteY61026"/>
              </a:cxn>
              <a:cxn ang="0">
                <a:pos x="connsiteX61027" y="connsiteY61027"/>
              </a:cxn>
              <a:cxn ang="0">
                <a:pos x="connsiteX61028" y="connsiteY61028"/>
              </a:cxn>
              <a:cxn ang="0">
                <a:pos x="connsiteX61029" y="connsiteY61029"/>
              </a:cxn>
              <a:cxn ang="0">
                <a:pos x="connsiteX61030" y="connsiteY61030"/>
              </a:cxn>
              <a:cxn ang="0">
                <a:pos x="connsiteX61031" y="connsiteY61031"/>
              </a:cxn>
              <a:cxn ang="0">
                <a:pos x="connsiteX61032" y="connsiteY61032"/>
              </a:cxn>
              <a:cxn ang="0">
                <a:pos x="connsiteX61033" y="connsiteY61033"/>
              </a:cxn>
              <a:cxn ang="0">
                <a:pos x="connsiteX61034" y="connsiteY61034"/>
              </a:cxn>
              <a:cxn ang="0">
                <a:pos x="connsiteX61035" y="connsiteY61035"/>
              </a:cxn>
              <a:cxn ang="0">
                <a:pos x="connsiteX61036" y="connsiteY61036"/>
              </a:cxn>
              <a:cxn ang="0">
                <a:pos x="connsiteX61037" y="connsiteY61037"/>
              </a:cxn>
              <a:cxn ang="0">
                <a:pos x="connsiteX61038" y="connsiteY61038"/>
              </a:cxn>
              <a:cxn ang="0">
                <a:pos x="connsiteX61039" y="connsiteY61039"/>
              </a:cxn>
              <a:cxn ang="0">
                <a:pos x="connsiteX61040" y="connsiteY61040"/>
              </a:cxn>
              <a:cxn ang="0">
                <a:pos x="connsiteX61041" y="connsiteY61041"/>
              </a:cxn>
              <a:cxn ang="0">
                <a:pos x="connsiteX61042" y="connsiteY61042"/>
              </a:cxn>
              <a:cxn ang="0">
                <a:pos x="connsiteX61043" y="connsiteY61043"/>
              </a:cxn>
              <a:cxn ang="0">
                <a:pos x="connsiteX61044" y="connsiteY61044"/>
              </a:cxn>
              <a:cxn ang="0">
                <a:pos x="connsiteX61045" y="connsiteY61045"/>
              </a:cxn>
              <a:cxn ang="0">
                <a:pos x="connsiteX61046" y="connsiteY61046"/>
              </a:cxn>
              <a:cxn ang="0">
                <a:pos x="connsiteX61047" y="connsiteY61047"/>
              </a:cxn>
              <a:cxn ang="0">
                <a:pos x="connsiteX61048" y="connsiteY61048"/>
              </a:cxn>
              <a:cxn ang="0">
                <a:pos x="connsiteX61049" y="connsiteY61049"/>
              </a:cxn>
              <a:cxn ang="0">
                <a:pos x="connsiteX61050" y="connsiteY61050"/>
              </a:cxn>
              <a:cxn ang="0">
                <a:pos x="connsiteX61051" y="connsiteY61051"/>
              </a:cxn>
              <a:cxn ang="0">
                <a:pos x="connsiteX61052" y="connsiteY61052"/>
              </a:cxn>
              <a:cxn ang="0">
                <a:pos x="connsiteX61053" y="connsiteY61053"/>
              </a:cxn>
              <a:cxn ang="0">
                <a:pos x="connsiteX61054" y="connsiteY61054"/>
              </a:cxn>
              <a:cxn ang="0">
                <a:pos x="connsiteX61055" y="connsiteY61055"/>
              </a:cxn>
              <a:cxn ang="0">
                <a:pos x="connsiteX61056" y="connsiteY61056"/>
              </a:cxn>
              <a:cxn ang="0">
                <a:pos x="connsiteX61057" y="connsiteY61057"/>
              </a:cxn>
              <a:cxn ang="0">
                <a:pos x="connsiteX61058" y="connsiteY61058"/>
              </a:cxn>
              <a:cxn ang="0">
                <a:pos x="connsiteX61059" y="connsiteY61059"/>
              </a:cxn>
              <a:cxn ang="0">
                <a:pos x="connsiteX61060" y="connsiteY61060"/>
              </a:cxn>
              <a:cxn ang="0">
                <a:pos x="connsiteX61061" y="connsiteY61061"/>
              </a:cxn>
              <a:cxn ang="0">
                <a:pos x="connsiteX61062" y="connsiteY61062"/>
              </a:cxn>
              <a:cxn ang="0">
                <a:pos x="connsiteX61063" y="connsiteY61063"/>
              </a:cxn>
              <a:cxn ang="0">
                <a:pos x="connsiteX61064" y="connsiteY61064"/>
              </a:cxn>
              <a:cxn ang="0">
                <a:pos x="connsiteX61065" y="connsiteY61065"/>
              </a:cxn>
              <a:cxn ang="0">
                <a:pos x="connsiteX61066" y="connsiteY61066"/>
              </a:cxn>
              <a:cxn ang="0">
                <a:pos x="connsiteX61067" y="connsiteY61067"/>
              </a:cxn>
              <a:cxn ang="0">
                <a:pos x="connsiteX61068" y="connsiteY61068"/>
              </a:cxn>
              <a:cxn ang="0">
                <a:pos x="connsiteX61069" y="connsiteY61069"/>
              </a:cxn>
              <a:cxn ang="0">
                <a:pos x="connsiteX61070" y="connsiteY61070"/>
              </a:cxn>
              <a:cxn ang="0">
                <a:pos x="connsiteX61071" y="connsiteY61071"/>
              </a:cxn>
              <a:cxn ang="0">
                <a:pos x="connsiteX61072" y="connsiteY61072"/>
              </a:cxn>
              <a:cxn ang="0">
                <a:pos x="connsiteX61073" y="connsiteY61073"/>
              </a:cxn>
              <a:cxn ang="0">
                <a:pos x="connsiteX61074" y="connsiteY61074"/>
              </a:cxn>
              <a:cxn ang="0">
                <a:pos x="connsiteX61075" y="connsiteY61075"/>
              </a:cxn>
              <a:cxn ang="0">
                <a:pos x="connsiteX61076" y="connsiteY61076"/>
              </a:cxn>
              <a:cxn ang="0">
                <a:pos x="connsiteX61077" y="connsiteY61077"/>
              </a:cxn>
              <a:cxn ang="0">
                <a:pos x="connsiteX61078" y="connsiteY61078"/>
              </a:cxn>
              <a:cxn ang="0">
                <a:pos x="connsiteX61079" y="connsiteY61079"/>
              </a:cxn>
              <a:cxn ang="0">
                <a:pos x="connsiteX61080" y="connsiteY61080"/>
              </a:cxn>
              <a:cxn ang="0">
                <a:pos x="connsiteX61081" y="connsiteY61081"/>
              </a:cxn>
              <a:cxn ang="0">
                <a:pos x="connsiteX61082" y="connsiteY61082"/>
              </a:cxn>
              <a:cxn ang="0">
                <a:pos x="connsiteX61083" y="connsiteY61083"/>
              </a:cxn>
              <a:cxn ang="0">
                <a:pos x="connsiteX61084" y="connsiteY61084"/>
              </a:cxn>
              <a:cxn ang="0">
                <a:pos x="connsiteX61085" y="connsiteY61085"/>
              </a:cxn>
              <a:cxn ang="0">
                <a:pos x="connsiteX61086" y="connsiteY61086"/>
              </a:cxn>
              <a:cxn ang="0">
                <a:pos x="connsiteX61087" y="connsiteY61087"/>
              </a:cxn>
              <a:cxn ang="0">
                <a:pos x="connsiteX61088" y="connsiteY61088"/>
              </a:cxn>
              <a:cxn ang="0">
                <a:pos x="connsiteX61089" y="connsiteY61089"/>
              </a:cxn>
              <a:cxn ang="0">
                <a:pos x="connsiteX61090" y="connsiteY61090"/>
              </a:cxn>
              <a:cxn ang="0">
                <a:pos x="connsiteX61091" y="connsiteY61091"/>
              </a:cxn>
              <a:cxn ang="0">
                <a:pos x="connsiteX61092" y="connsiteY61092"/>
              </a:cxn>
              <a:cxn ang="0">
                <a:pos x="connsiteX61093" y="connsiteY61093"/>
              </a:cxn>
              <a:cxn ang="0">
                <a:pos x="connsiteX61094" y="connsiteY61094"/>
              </a:cxn>
              <a:cxn ang="0">
                <a:pos x="connsiteX61095" y="connsiteY61095"/>
              </a:cxn>
              <a:cxn ang="0">
                <a:pos x="connsiteX61096" y="connsiteY61096"/>
              </a:cxn>
              <a:cxn ang="0">
                <a:pos x="connsiteX61097" y="connsiteY61097"/>
              </a:cxn>
              <a:cxn ang="0">
                <a:pos x="connsiteX61098" y="connsiteY61098"/>
              </a:cxn>
              <a:cxn ang="0">
                <a:pos x="connsiteX61099" y="connsiteY61099"/>
              </a:cxn>
              <a:cxn ang="0">
                <a:pos x="connsiteX61100" y="connsiteY61100"/>
              </a:cxn>
              <a:cxn ang="0">
                <a:pos x="connsiteX61101" y="connsiteY61101"/>
              </a:cxn>
              <a:cxn ang="0">
                <a:pos x="connsiteX61102" y="connsiteY61102"/>
              </a:cxn>
              <a:cxn ang="0">
                <a:pos x="connsiteX61103" y="connsiteY61103"/>
              </a:cxn>
              <a:cxn ang="0">
                <a:pos x="connsiteX61104" y="connsiteY61104"/>
              </a:cxn>
              <a:cxn ang="0">
                <a:pos x="connsiteX61105" y="connsiteY61105"/>
              </a:cxn>
              <a:cxn ang="0">
                <a:pos x="connsiteX61106" y="connsiteY61106"/>
              </a:cxn>
              <a:cxn ang="0">
                <a:pos x="connsiteX61107" y="connsiteY61107"/>
              </a:cxn>
              <a:cxn ang="0">
                <a:pos x="connsiteX61108" y="connsiteY61108"/>
              </a:cxn>
              <a:cxn ang="0">
                <a:pos x="connsiteX61109" y="connsiteY61109"/>
              </a:cxn>
              <a:cxn ang="0">
                <a:pos x="connsiteX61110" y="connsiteY61110"/>
              </a:cxn>
              <a:cxn ang="0">
                <a:pos x="connsiteX61111" y="connsiteY61111"/>
              </a:cxn>
              <a:cxn ang="0">
                <a:pos x="connsiteX61112" y="connsiteY61112"/>
              </a:cxn>
              <a:cxn ang="0">
                <a:pos x="connsiteX61113" y="connsiteY61113"/>
              </a:cxn>
              <a:cxn ang="0">
                <a:pos x="connsiteX61114" y="connsiteY61114"/>
              </a:cxn>
              <a:cxn ang="0">
                <a:pos x="connsiteX61115" y="connsiteY61115"/>
              </a:cxn>
              <a:cxn ang="0">
                <a:pos x="connsiteX61116" y="connsiteY61116"/>
              </a:cxn>
              <a:cxn ang="0">
                <a:pos x="connsiteX61117" y="connsiteY61117"/>
              </a:cxn>
              <a:cxn ang="0">
                <a:pos x="connsiteX61118" y="connsiteY61118"/>
              </a:cxn>
              <a:cxn ang="0">
                <a:pos x="connsiteX61119" y="connsiteY61119"/>
              </a:cxn>
              <a:cxn ang="0">
                <a:pos x="connsiteX61120" y="connsiteY61120"/>
              </a:cxn>
              <a:cxn ang="0">
                <a:pos x="connsiteX61121" y="connsiteY61121"/>
              </a:cxn>
              <a:cxn ang="0">
                <a:pos x="connsiteX61122" y="connsiteY61122"/>
              </a:cxn>
              <a:cxn ang="0">
                <a:pos x="connsiteX61123" y="connsiteY61123"/>
              </a:cxn>
              <a:cxn ang="0">
                <a:pos x="connsiteX61124" y="connsiteY61124"/>
              </a:cxn>
              <a:cxn ang="0">
                <a:pos x="connsiteX61125" y="connsiteY61125"/>
              </a:cxn>
              <a:cxn ang="0">
                <a:pos x="connsiteX61126" y="connsiteY61126"/>
              </a:cxn>
              <a:cxn ang="0">
                <a:pos x="connsiteX61127" y="connsiteY61127"/>
              </a:cxn>
              <a:cxn ang="0">
                <a:pos x="connsiteX61128" y="connsiteY61128"/>
              </a:cxn>
              <a:cxn ang="0">
                <a:pos x="connsiteX61129" y="connsiteY61129"/>
              </a:cxn>
              <a:cxn ang="0">
                <a:pos x="connsiteX61130" y="connsiteY61130"/>
              </a:cxn>
              <a:cxn ang="0">
                <a:pos x="connsiteX61131" y="connsiteY61131"/>
              </a:cxn>
              <a:cxn ang="0">
                <a:pos x="connsiteX61132" y="connsiteY61132"/>
              </a:cxn>
              <a:cxn ang="0">
                <a:pos x="connsiteX61133" y="connsiteY61133"/>
              </a:cxn>
              <a:cxn ang="0">
                <a:pos x="connsiteX61134" y="connsiteY61134"/>
              </a:cxn>
              <a:cxn ang="0">
                <a:pos x="connsiteX61135" y="connsiteY61135"/>
              </a:cxn>
              <a:cxn ang="0">
                <a:pos x="connsiteX61136" y="connsiteY61136"/>
              </a:cxn>
              <a:cxn ang="0">
                <a:pos x="connsiteX61137" y="connsiteY61137"/>
              </a:cxn>
              <a:cxn ang="0">
                <a:pos x="connsiteX61138" y="connsiteY61138"/>
              </a:cxn>
              <a:cxn ang="0">
                <a:pos x="connsiteX61139" y="connsiteY61139"/>
              </a:cxn>
              <a:cxn ang="0">
                <a:pos x="connsiteX61140" y="connsiteY61140"/>
              </a:cxn>
              <a:cxn ang="0">
                <a:pos x="connsiteX61141" y="connsiteY61141"/>
              </a:cxn>
              <a:cxn ang="0">
                <a:pos x="connsiteX61142" y="connsiteY61142"/>
              </a:cxn>
              <a:cxn ang="0">
                <a:pos x="connsiteX61143" y="connsiteY61143"/>
              </a:cxn>
              <a:cxn ang="0">
                <a:pos x="connsiteX61144" y="connsiteY61144"/>
              </a:cxn>
              <a:cxn ang="0">
                <a:pos x="connsiteX61145" y="connsiteY61145"/>
              </a:cxn>
              <a:cxn ang="0">
                <a:pos x="connsiteX61146" y="connsiteY61146"/>
              </a:cxn>
              <a:cxn ang="0">
                <a:pos x="connsiteX61147" y="connsiteY61147"/>
              </a:cxn>
              <a:cxn ang="0">
                <a:pos x="connsiteX61148" y="connsiteY61148"/>
              </a:cxn>
              <a:cxn ang="0">
                <a:pos x="connsiteX61149" y="connsiteY61149"/>
              </a:cxn>
              <a:cxn ang="0">
                <a:pos x="connsiteX61150" y="connsiteY61150"/>
              </a:cxn>
              <a:cxn ang="0">
                <a:pos x="connsiteX61151" y="connsiteY61151"/>
              </a:cxn>
              <a:cxn ang="0">
                <a:pos x="connsiteX61152" y="connsiteY61152"/>
              </a:cxn>
              <a:cxn ang="0">
                <a:pos x="connsiteX61153" y="connsiteY61153"/>
              </a:cxn>
              <a:cxn ang="0">
                <a:pos x="connsiteX61154" y="connsiteY61154"/>
              </a:cxn>
              <a:cxn ang="0">
                <a:pos x="connsiteX61155" y="connsiteY61155"/>
              </a:cxn>
              <a:cxn ang="0">
                <a:pos x="connsiteX61156" y="connsiteY61156"/>
              </a:cxn>
              <a:cxn ang="0">
                <a:pos x="connsiteX61157" y="connsiteY61157"/>
              </a:cxn>
              <a:cxn ang="0">
                <a:pos x="connsiteX61158" y="connsiteY61158"/>
              </a:cxn>
              <a:cxn ang="0">
                <a:pos x="connsiteX61159" y="connsiteY61159"/>
              </a:cxn>
              <a:cxn ang="0">
                <a:pos x="connsiteX61160" y="connsiteY61160"/>
              </a:cxn>
              <a:cxn ang="0">
                <a:pos x="connsiteX61161" y="connsiteY61161"/>
              </a:cxn>
              <a:cxn ang="0">
                <a:pos x="connsiteX61162" y="connsiteY61162"/>
              </a:cxn>
              <a:cxn ang="0">
                <a:pos x="connsiteX61163" y="connsiteY61163"/>
              </a:cxn>
              <a:cxn ang="0">
                <a:pos x="connsiteX61164" y="connsiteY61164"/>
              </a:cxn>
              <a:cxn ang="0">
                <a:pos x="connsiteX61165" y="connsiteY61165"/>
              </a:cxn>
              <a:cxn ang="0">
                <a:pos x="connsiteX61166" y="connsiteY61166"/>
              </a:cxn>
              <a:cxn ang="0">
                <a:pos x="connsiteX61167" y="connsiteY61167"/>
              </a:cxn>
              <a:cxn ang="0">
                <a:pos x="connsiteX61168" y="connsiteY61168"/>
              </a:cxn>
              <a:cxn ang="0">
                <a:pos x="connsiteX61169" y="connsiteY61169"/>
              </a:cxn>
              <a:cxn ang="0">
                <a:pos x="connsiteX61170" y="connsiteY61170"/>
              </a:cxn>
              <a:cxn ang="0">
                <a:pos x="connsiteX61171" y="connsiteY61171"/>
              </a:cxn>
              <a:cxn ang="0">
                <a:pos x="connsiteX61172" y="connsiteY61172"/>
              </a:cxn>
              <a:cxn ang="0">
                <a:pos x="connsiteX61173" y="connsiteY61173"/>
              </a:cxn>
              <a:cxn ang="0">
                <a:pos x="connsiteX61174" y="connsiteY61174"/>
              </a:cxn>
              <a:cxn ang="0">
                <a:pos x="connsiteX61175" y="connsiteY61175"/>
              </a:cxn>
              <a:cxn ang="0">
                <a:pos x="connsiteX61176" y="connsiteY61176"/>
              </a:cxn>
              <a:cxn ang="0">
                <a:pos x="connsiteX61177" y="connsiteY61177"/>
              </a:cxn>
              <a:cxn ang="0">
                <a:pos x="connsiteX61178" y="connsiteY61178"/>
              </a:cxn>
              <a:cxn ang="0">
                <a:pos x="connsiteX61179" y="connsiteY61179"/>
              </a:cxn>
              <a:cxn ang="0">
                <a:pos x="connsiteX61180" y="connsiteY61180"/>
              </a:cxn>
              <a:cxn ang="0">
                <a:pos x="connsiteX61181" y="connsiteY61181"/>
              </a:cxn>
              <a:cxn ang="0">
                <a:pos x="connsiteX61182" y="connsiteY61182"/>
              </a:cxn>
              <a:cxn ang="0">
                <a:pos x="connsiteX61183" y="connsiteY61183"/>
              </a:cxn>
              <a:cxn ang="0">
                <a:pos x="connsiteX61184" y="connsiteY61184"/>
              </a:cxn>
              <a:cxn ang="0">
                <a:pos x="connsiteX61185" y="connsiteY61185"/>
              </a:cxn>
              <a:cxn ang="0">
                <a:pos x="connsiteX61186" y="connsiteY61186"/>
              </a:cxn>
              <a:cxn ang="0">
                <a:pos x="connsiteX61187" y="connsiteY61187"/>
              </a:cxn>
              <a:cxn ang="0">
                <a:pos x="connsiteX61188" y="connsiteY61188"/>
              </a:cxn>
              <a:cxn ang="0">
                <a:pos x="connsiteX61189" y="connsiteY61189"/>
              </a:cxn>
              <a:cxn ang="0">
                <a:pos x="connsiteX61190" y="connsiteY61190"/>
              </a:cxn>
              <a:cxn ang="0">
                <a:pos x="connsiteX61191" y="connsiteY61191"/>
              </a:cxn>
              <a:cxn ang="0">
                <a:pos x="connsiteX61192" y="connsiteY61192"/>
              </a:cxn>
              <a:cxn ang="0">
                <a:pos x="connsiteX61193" y="connsiteY61193"/>
              </a:cxn>
              <a:cxn ang="0">
                <a:pos x="connsiteX61194" y="connsiteY61194"/>
              </a:cxn>
              <a:cxn ang="0">
                <a:pos x="connsiteX61195" y="connsiteY61195"/>
              </a:cxn>
              <a:cxn ang="0">
                <a:pos x="connsiteX61196" y="connsiteY61196"/>
              </a:cxn>
              <a:cxn ang="0">
                <a:pos x="connsiteX61197" y="connsiteY61197"/>
              </a:cxn>
              <a:cxn ang="0">
                <a:pos x="connsiteX61198" y="connsiteY61198"/>
              </a:cxn>
              <a:cxn ang="0">
                <a:pos x="connsiteX61199" y="connsiteY61199"/>
              </a:cxn>
              <a:cxn ang="0">
                <a:pos x="connsiteX61200" y="connsiteY61200"/>
              </a:cxn>
              <a:cxn ang="0">
                <a:pos x="connsiteX61201" y="connsiteY61201"/>
              </a:cxn>
              <a:cxn ang="0">
                <a:pos x="connsiteX61202" y="connsiteY61202"/>
              </a:cxn>
              <a:cxn ang="0">
                <a:pos x="connsiteX61203" y="connsiteY61203"/>
              </a:cxn>
              <a:cxn ang="0">
                <a:pos x="connsiteX61204" y="connsiteY61204"/>
              </a:cxn>
              <a:cxn ang="0">
                <a:pos x="connsiteX61205" y="connsiteY61205"/>
              </a:cxn>
              <a:cxn ang="0">
                <a:pos x="connsiteX61206" y="connsiteY61206"/>
              </a:cxn>
              <a:cxn ang="0">
                <a:pos x="connsiteX61207" y="connsiteY61207"/>
              </a:cxn>
              <a:cxn ang="0">
                <a:pos x="connsiteX61208" y="connsiteY61208"/>
              </a:cxn>
              <a:cxn ang="0">
                <a:pos x="connsiteX61209" y="connsiteY61209"/>
              </a:cxn>
              <a:cxn ang="0">
                <a:pos x="connsiteX61210" y="connsiteY61210"/>
              </a:cxn>
              <a:cxn ang="0">
                <a:pos x="connsiteX61211" y="connsiteY61211"/>
              </a:cxn>
              <a:cxn ang="0">
                <a:pos x="connsiteX61212" y="connsiteY61212"/>
              </a:cxn>
              <a:cxn ang="0">
                <a:pos x="connsiteX61213" y="connsiteY61213"/>
              </a:cxn>
              <a:cxn ang="0">
                <a:pos x="connsiteX61214" y="connsiteY61214"/>
              </a:cxn>
              <a:cxn ang="0">
                <a:pos x="connsiteX61215" y="connsiteY61215"/>
              </a:cxn>
              <a:cxn ang="0">
                <a:pos x="connsiteX61216" y="connsiteY61216"/>
              </a:cxn>
              <a:cxn ang="0">
                <a:pos x="connsiteX61217" y="connsiteY61217"/>
              </a:cxn>
              <a:cxn ang="0">
                <a:pos x="connsiteX61218" y="connsiteY61218"/>
              </a:cxn>
              <a:cxn ang="0">
                <a:pos x="connsiteX61219" y="connsiteY61219"/>
              </a:cxn>
              <a:cxn ang="0">
                <a:pos x="connsiteX61220" y="connsiteY61220"/>
              </a:cxn>
              <a:cxn ang="0">
                <a:pos x="connsiteX61221" y="connsiteY61221"/>
              </a:cxn>
              <a:cxn ang="0">
                <a:pos x="connsiteX61222" y="connsiteY61222"/>
              </a:cxn>
              <a:cxn ang="0">
                <a:pos x="connsiteX61223" y="connsiteY61223"/>
              </a:cxn>
              <a:cxn ang="0">
                <a:pos x="connsiteX61224" y="connsiteY61224"/>
              </a:cxn>
              <a:cxn ang="0">
                <a:pos x="connsiteX61225" y="connsiteY61225"/>
              </a:cxn>
              <a:cxn ang="0">
                <a:pos x="connsiteX61226" y="connsiteY61226"/>
              </a:cxn>
              <a:cxn ang="0">
                <a:pos x="connsiteX61227" y="connsiteY61227"/>
              </a:cxn>
              <a:cxn ang="0">
                <a:pos x="connsiteX61228" y="connsiteY61228"/>
              </a:cxn>
              <a:cxn ang="0">
                <a:pos x="connsiteX61229" y="connsiteY61229"/>
              </a:cxn>
              <a:cxn ang="0">
                <a:pos x="connsiteX61230" y="connsiteY61230"/>
              </a:cxn>
              <a:cxn ang="0">
                <a:pos x="connsiteX61231" y="connsiteY61231"/>
              </a:cxn>
              <a:cxn ang="0">
                <a:pos x="connsiteX61232" y="connsiteY61232"/>
              </a:cxn>
              <a:cxn ang="0">
                <a:pos x="connsiteX61233" y="connsiteY61233"/>
              </a:cxn>
              <a:cxn ang="0">
                <a:pos x="connsiteX61234" y="connsiteY61234"/>
              </a:cxn>
              <a:cxn ang="0">
                <a:pos x="connsiteX61235" y="connsiteY61235"/>
              </a:cxn>
              <a:cxn ang="0">
                <a:pos x="connsiteX61236" y="connsiteY61236"/>
              </a:cxn>
              <a:cxn ang="0">
                <a:pos x="connsiteX61237" y="connsiteY61237"/>
              </a:cxn>
              <a:cxn ang="0">
                <a:pos x="connsiteX61238" y="connsiteY61238"/>
              </a:cxn>
              <a:cxn ang="0">
                <a:pos x="connsiteX61239" y="connsiteY61239"/>
              </a:cxn>
              <a:cxn ang="0">
                <a:pos x="connsiteX61240" y="connsiteY61240"/>
              </a:cxn>
              <a:cxn ang="0">
                <a:pos x="connsiteX61241" y="connsiteY61241"/>
              </a:cxn>
              <a:cxn ang="0">
                <a:pos x="connsiteX61242" y="connsiteY61242"/>
              </a:cxn>
              <a:cxn ang="0">
                <a:pos x="connsiteX61243" y="connsiteY61243"/>
              </a:cxn>
              <a:cxn ang="0">
                <a:pos x="connsiteX61244" y="connsiteY61244"/>
              </a:cxn>
              <a:cxn ang="0">
                <a:pos x="connsiteX61245" y="connsiteY61245"/>
              </a:cxn>
              <a:cxn ang="0">
                <a:pos x="connsiteX61246" y="connsiteY61246"/>
              </a:cxn>
              <a:cxn ang="0">
                <a:pos x="connsiteX61247" y="connsiteY61247"/>
              </a:cxn>
              <a:cxn ang="0">
                <a:pos x="connsiteX61248" y="connsiteY61248"/>
              </a:cxn>
              <a:cxn ang="0">
                <a:pos x="connsiteX61249" y="connsiteY61249"/>
              </a:cxn>
              <a:cxn ang="0">
                <a:pos x="connsiteX61250" y="connsiteY61250"/>
              </a:cxn>
              <a:cxn ang="0">
                <a:pos x="connsiteX61251" y="connsiteY61251"/>
              </a:cxn>
              <a:cxn ang="0">
                <a:pos x="connsiteX61252" y="connsiteY61252"/>
              </a:cxn>
              <a:cxn ang="0">
                <a:pos x="connsiteX61253" y="connsiteY61253"/>
              </a:cxn>
              <a:cxn ang="0">
                <a:pos x="connsiteX61254" y="connsiteY61254"/>
              </a:cxn>
              <a:cxn ang="0">
                <a:pos x="connsiteX61255" y="connsiteY61255"/>
              </a:cxn>
              <a:cxn ang="0">
                <a:pos x="connsiteX61256" y="connsiteY61256"/>
              </a:cxn>
              <a:cxn ang="0">
                <a:pos x="connsiteX61257" y="connsiteY61257"/>
              </a:cxn>
              <a:cxn ang="0">
                <a:pos x="connsiteX61258" y="connsiteY61258"/>
              </a:cxn>
              <a:cxn ang="0">
                <a:pos x="connsiteX61259" y="connsiteY61259"/>
              </a:cxn>
              <a:cxn ang="0">
                <a:pos x="connsiteX61260" y="connsiteY61260"/>
              </a:cxn>
              <a:cxn ang="0">
                <a:pos x="connsiteX61261" y="connsiteY61261"/>
              </a:cxn>
              <a:cxn ang="0">
                <a:pos x="connsiteX61262" y="connsiteY61262"/>
              </a:cxn>
              <a:cxn ang="0">
                <a:pos x="connsiteX61263" y="connsiteY61263"/>
              </a:cxn>
              <a:cxn ang="0">
                <a:pos x="connsiteX61264" y="connsiteY61264"/>
              </a:cxn>
              <a:cxn ang="0">
                <a:pos x="connsiteX61265" y="connsiteY61265"/>
              </a:cxn>
              <a:cxn ang="0">
                <a:pos x="connsiteX61266" y="connsiteY61266"/>
              </a:cxn>
              <a:cxn ang="0">
                <a:pos x="connsiteX61267" y="connsiteY61267"/>
              </a:cxn>
              <a:cxn ang="0">
                <a:pos x="connsiteX61268" y="connsiteY61268"/>
              </a:cxn>
              <a:cxn ang="0">
                <a:pos x="connsiteX61269" y="connsiteY61269"/>
              </a:cxn>
              <a:cxn ang="0">
                <a:pos x="connsiteX61270" y="connsiteY61270"/>
              </a:cxn>
              <a:cxn ang="0">
                <a:pos x="connsiteX61271" y="connsiteY61271"/>
              </a:cxn>
              <a:cxn ang="0">
                <a:pos x="connsiteX61272" y="connsiteY61272"/>
              </a:cxn>
              <a:cxn ang="0">
                <a:pos x="connsiteX61273" y="connsiteY61273"/>
              </a:cxn>
              <a:cxn ang="0">
                <a:pos x="connsiteX61274" y="connsiteY61274"/>
              </a:cxn>
              <a:cxn ang="0">
                <a:pos x="connsiteX61275" y="connsiteY61275"/>
              </a:cxn>
              <a:cxn ang="0">
                <a:pos x="connsiteX61276" y="connsiteY61276"/>
              </a:cxn>
              <a:cxn ang="0">
                <a:pos x="connsiteX61277" y="connsiteY61277"/>
              </a:cxn>
              <a:cxn ang="0">
                <a:pos x="connsiteX61278" y="connsiteY61278"/>
              </a:cxn>
              <a:cxn ang="0">
                <a:pos x="connsiteX61279" y="connsiteY61279"/>
              </a:cxn>
              <a:cxn ang="0">
                <a:pos x="connsiteX61280" y="connsiteY61280"/>
              </a:cxn>
              <a:cxn ang="0">
                <a:pos x="connsiteX61281" y="connsiteY61281"/>
              </a:cxn>
              <a:cxn ang="0">
                <a:pos x="connsiteX61282" y="connsiteY61282"/>
              </a:cxn>
              <a:cxn ang="0">
                <a:pos x="connsiteX61283" y="connsiteY61283"/>
              </a:cxn>
              <a:cxn ang="0">
                <a:pos x="connsiteX61284" y="connsiteY61284"/>
              </a:cxn>
              <a:cxn ang="0">
                <a:pos x="connsiteX61285" y="connsiteY61285"/>
              </a:cxn>
              <a:cxn ang="0">
                <a:pos x="connsiteX61286" y="connsiteY61286"/>
              </a:cxn>
              <a:cxn ang="0">
                <a:pos x="connsiteX61287" y="connsiteY61287"/>
              </a:cxn>
              <a:cxn ang="0">
                <a:pos x="connsiteX61288" y="connsiteY61288"/>
              </a:cxn>
              <a:cxn ang="0">
                <a:pos x="connsiteX61289" y="connsiteY61289"/>
              </a:cxn>
              <a:cxn ang="0">
                <a:pos x="connsiteX61290" y="connsiteY61290"/>
              </a:cxn>
              <a:cxn ang="0">
                <a:pos x="connsiteX61291" y="connsiteY61291"/>
              </a:cxn>
              <a:cxn ang="0">
                <a:pos x="connsiteX61292" y="connsiteY61292"/>
              </a:cxn>
              <a:cxn ang="0">
                <a:pos x="connsiteX61293" y="connsiteY61293"/>
              </a:cxn>
              <a:cxn ang="0">
                <a:pos x="connsiteX61294" y="connsiteY61294"/>
              </a:cxn>
              <a:cxn ang="0">
                <a:pos x="connsiteX61295" y="connsiteY61295"/>
              </a:cxn>
              <a:cxn ang="0">
                <a:pos x="connsiteX61296" y="connsiteY61296"/>
              </a:cxn>
              <a:cxn ang="0">
                <a:pos x="connsiteX61297" y="connsiteY61297"/>
              </a:cxn>
              <a:cxn ang="0">
                <a:pos x="connsiteX61298" y="connsiteY61298"/>
              </a:cxn>
              <a:cxn ang="0">
                <a:pos x="connsiteX61299" y="connsiteY61299"/>
              </a:cxn>
              <a:cxn ang="0">
                <a:pos x="connsiteX61300" y="connsiteY61300"/>
              </a:cxn>
              <a:cxn ang="0">
                <a:pos x="connsiteX61301" y="connsiteY61301"/>
              </a:cxn>
              <a:cxn ang="0">
                <a:pos x="connsiteX61302" y="connsiteY61302"/>
              </a:cxn>
              <a:cxn ang="0">
                <a:pos x="connsiteX61303" y="connsiteY61303"/>
              </a:cxn>
              <a:cxn ang="0">
                <a:pos x="connsiteX61304" y="connsiteY61304"/>
              </a:cxn>
              <a:cxn ang="0">
                <a:pos x="connsiteX61305" y="connsiteY61305"/>
              </a:cxn>
              <a:cxn ang="0">
                <a:pos x="connsiteX61306" y="connsiteY61306"/>
              </a:cxn>
              <a:cxn ang="0">
                <a:pos x="connsiteX61307" y="connsiteY61307"/>
              </a:cxn>
              <a:cxn ang="0">
                <a:pos x="connsiteX61308" y="connsiteY61308"/>
              </a:cxn>
              <a:cxn ang="0">
                <a:pos x="connsiteX61309" y="connsiteY61309"/>
              </a:cxn>
              <a:cxn ang="0">
                <a:pos x="connsiteX61310" y="connsiteY61310"/>
              </a:cxn>
              <a:cxn ang="0">
                <a:pos x="connsiteX61311" y="connsiteY61311"/>
              </a:cxn>
              <a:cxn ang="0">
                <a:pos x="connsiteX61312" y="connsiteY61312"/>
              </a:cxn>
              <a:cxn ang="0">
                <a:pos x="connsiteX61313" y="connsiteY61313"/>
              </a:cxn>
              <a:cxn ang="0">
                <a:pos x="connsiteX61314" y="connsiteY61314"/>
              </a:cxn>
              <a:cxn ang="0">
                <a:pos x="connsiteX61315" y="connsiteY61315"/>
              </a:cxn>
              <a:cxn ang="0">
                <a:pos x="connsiteX61316" y="connsiteY61316"/>
              </a:cxn>
              <a:cxn ang="0">
                <a:pos x="connsiteX61317" y="connsiteY61317"/>
              </a:cxn>
              <a:cxn ang="0">
                <a:pos x="connsiteX61318" y="connsiteY61318"/>
              </a:cxn>
              <a:cxn ang="0">
                <a:pos x="connsiteX61319" y="connsiteY61319"/>
              </a:cxn>
              <a:cxn ang="0">
                <a:pos x="connsiteX61320" y="connsiteY61320"/>
              </a:cxn>
              <a:cxn ang="0">
                <a:pos x="connsiteX61321" y="connsiteY61321"/>
              </a:cxn>
              <a:cxn ang="0">
                <a:pos x="connsiteX61322" y="connsiteY61322"/>
              </a:cxn>
              <a:cxn ang="0">
                <a:pos x="connsiteX61323" y="connsiteY61323"/>
              </a:cxn>
              <a:cxn ang="0">
                <a:pos x="connsiteX61324" y="connsiteY61324"/>
              </a:cxn>
              <a:cxn ang="0">
                <a:pos x="connsiteX61325" y="connsiteY61325"/>
              </a:cxn>
              <a:cxn ang="0">
                <a:pos x="connsiteX61326" y="connsiteY61326"/>
              </a:cxn>
              <a:cxn ang="0">
                <a:pos x="connsiteX61327" y="connsiteY61327"/>
              </a:cxn>
              <a:cxn ang="0">
                <a:pos x="connsiteX61328" y="connsiteY61328"/>
              </a:cxn>
              <a:cxn ang="0">
                <a:pos x="connsiteX61329" y="connsiteY61329"/>
              </a:cxn>
              <a:cxn ang="0">
                <a:pos x="connsiteX61330" y="connsiteY61330"/>
              </a:cxn>
              <a:cxn ang="0">
                <a:pos x="connsiteX61331" y="connsiteY61331"/>
              </a:cxn>
              <a:cxn ang="0">
                <a:pos x="connsiteX61332" y="connsiteY61332"/>
              </a:cxn>
              <a:cxn ang="0">
                <a:pos x="connsiteX61333" y="connsiteY61333"/>
              </a:cxn>
              <a:cxn ang="0">
                <a:pos x="connsiteX61334" y="connsiteY61334"/>
              </a:cxn>
              <a:cxn ang="0">
                <a:pos x="connsiteX61335" y="connsiteY61335"/>
              </a:cxn>
              <a:cxn ang="0">
                <a:pos x="connsiteX61336" y="connsiteY61336"/>
              </a:cxn>
              <a:cxn ang="0">
                <a:pos x="connsiteX61337" y="connsiteY61337"/>
              </a:cxn>
              <a:cxn ang="0">
                <a:pos x="connsiteX61338" y="connsiteY61338"/>
              </a:cxn>
              <a:cxn ang="0">
                <a:pos x="connsiteX61339" y="connsiteY61339"/>
              </a:cxn>
              <a:cxn ang="0">
                <a:pos x="connsiteX61340" y="connsiteY61340"/>
              </a:cxn>
              <a:cxn ang="0">
                <a:pos x="connsiteX61341" y="connsiteY61341"/>
              </a:cxn>
              <a:cxn ang="0">
                <a:pos x="connsiteX61342" y="connsiteY61342"/>
              </a:cxn>
              <a:cxn ang="0">
                <a:pos x="connsiteX61343" y="connsiteY61343"/>
              </a:cxn>
              <a:cxn ang="0">
                <a:pos x="connsiteX61344" y="connsiteY61344"/>
              </a:cxn>
              <a:cxn ang="0">
                <a:pos x="connsiteX61345" y="connsiteY61345"/>
              </a:cxn>
              <a:cxn ang="0">
                <a:pos x="connsiteX61346" y="connsiteY61346"/>
              </a:cxn>
              <a:cxn ang="0">
                <a:pos x="connsiteX61347" y="connsiteY61347"/>
              </a:cxn>
              <a:cxn ang="0">
                <a:pos x="connsiteX61348" y="connsiteY61348"/>
              </a:cxn>
              <a:cxn ang="0">
                <a:pos x="connsiteX61349" y="connsiteY61349"/>
              </a:cxn>
              <a:cxn ang="0">
                <a:pos x="connsiteX61350" y="connsiteY61350"/>
              </a:cxn>
              <a:cxn ang="0">
                <a:pos x="connsiteX61351" y="connsiteY61351"/>
              </a:cxn>
              <a:cxn ang="0">
                <a:pos x="connsiteX61352" y="connsiteY61352"/>
              </a:cxn>
              <a:cxn ang="0">
                <a:pos x="connsiteX61353" y="connsiteY61353"/>
              </a:cxn>
              <a:cxn ang="0">
                <a:pos x="connsiteX61354" y="connsiteY61354"/>
              </a:cxn>
              <a:cxn ang="0">
                <a:pos x="connsiteX61355" y="connsiteY61355"/>
              </a:cxn>
              <a:cxn ang="0">
                <a:pos x="connsiteX61356" y="connsiteY61356"/>
              </a:cxn>
              <a:cxn ang="0">
                <a:pos x="connsiteX61357" y="connsiteY61357"/>
              </a:cxn>
              <a:cxn ang="0">
                <a:pos x="connsiteX61358" y="connsiteY61358"/>
              </a:cxn>
              <a:cxn ang="0">
                <a:pos x="connsiteX61359" y="connsiteY61359"/>
              </a:cxn>
              <a:cxn ang="0">
                <a:pos x="connsiteX61360" y="connsiteY61360"/>
              </a:cxn>
              <a:cxn ang="0">
                <a:pos x="connsiteX61361" y="connsiteY61361"/>
              </a:cxn>
              <a:cxn ang="0">
                <a:pos x="connsiteX61362" y="connsiteY61362"/>
              </a:cxn>
              <a:cxn ang="0">
                <a:pos x="connsiteX61363" y="connsiteY61363"/>
              </a:cxn>
              <a:cxn ang="0">
                <a:pos x="connsiteX61364" y="connsiteY61364"/>
              </a:cxn>
              <a:cxn ang="0">
                <a:pos x="connsiteX61365" y="connsiteY61365"/>
              </a:cxn>
              <a:cxn ang="0">
                <a:pos x="connsiteX61366" y="connsiteY61366"/>
              </a:cxn>
              <a:cxn ang="0">
                <a:pos x="connsiteX61367" y="connsiteY61367"/>
              </a:cxn>
              <a:cxn ang="0">
                <a:pos x="connsiteX61368" y="connsiteY61368"/>
              </a:cxn>
              <a:cxn ang="0">
                <a:pos x="connsiteX61369" y="connsiteY61369"/>
              </a:cxn>
              <a:cxn ang="0">
                <a:pos x="connsiteX61370" y="connsiteY61370"/>
              </a:cxn>
              <a:cxn ang="0">
                <a:pos x="connsiteX61371" y="connsiteY61371"/>
              </a:cxn>
              <a:cxn ang="0">
                <a:pos x="connsiteX61372" y="connsiteY61372"/>
              </a:cxn>
              <a:cxn ang="0">
                <a:pos x="connsiteX61373" y="connsiteY61373"/>
              </a:cxn>
              <a:cxn ang="0">
                <a:pos x="connsiteX61374" y="connsiteY61374"/>
              </a:cxn>
              <a:cxn ang="0">
                <a:pos x="connsiteX61375" y="connsiteY61375"/>
              </a:cxn>
              <a:cxn ang="0">
                <a:pos x="connsiteX61376" y="connsiteY61376"/>
              </a:cxn>
              <a:cxn ang="0">
                <a:pos x="connsiteX61377" y="connsiteY61377"/>
              </a:cxn>
              <a:cxn ang="0">
                <a:pos x="connsiteX61378" y="connsiteY61378"/>
              </a:cxn>
              <a:cxn ang="0">
                <a:pos x="connsiteX61379" y="connsiteY61379"/>
              </a:cxn>
              <a:cxn ang="0">
                <a:pos x="connsiteX61380" y="connsiteY61380"/>
              </a:cxn>
              <a:cxn ang="0">
                <a:pos x="connsiteX61381" y="connsiteY61381"/>
              </a:cxn>
              <a:cxn ang="0">
                <a:pos x="connsiteX61382" y="connsiteY61382"/>
              </a:cxn>
              <a:cxn ang="0">
                <a:pos x="connsiteX61383" y="connsiteY61383"/>
              </a:cxn>
              <a:cxn ang="0">
                <a:pos x="connsiteX61384" y="connsiteY61384"/>
              </a:cxn>
              <a:cxn ang="0">
                <a:pos x="connsiteX61385" y="connsiteY61385"/>
              </a:cxn>
              <a:cxn ang="0">
                <a:pos x="connsiteX61386" y="connsiteY61386"/>
              </a:cxn>
              <a:cxn ang="0">
                <a:pos x="connsiteX61387" y="connsiteY61387"/>
              </a:cxn>
              <a:cxn ang="0">
                <a:pos x="connsiteX61388" y="connsiteY61388"/>
              </a:cxn>
              <a:cxn ang="0">
                <a:pos x="connsiteX61389" y="connsiteY61389"/>
              </a:cxn>
              <a:cxn ang="0">
                <a:pos x="connsiteX61390" y="connsiteY61390"/>
              </a:cxn>
              <a:cxn ang="0">
                <a:pos x="connsiteX61391" y="connsiteY61391"/>
              </a:cxn>
              <a:cxn ang="0">
                <a:pos x="connsiteX61392" y="connsiteY61392"/>
              </a:cxn>
              <a:cxn ang="0">
                <a:pos x="connsiteX61393" y="connsiteY61393"/>
              </a:cxn>
              <a:cxn ang="0">
                <a:pos x="connsiteX61394" y="connsiteY61394"/>
              </a:cxn>
              <a:cxn ang="0">
                <a:pos x="connsiteX61395" y="connsiteY61395"/>
              </a:cxn>
              <a:cxn ang="0">
                <a:pos x="connsiteX61396" y="connsiteY61396"/>
              </a:cxn>
              <a:cxn ang="0">
                <a:pos x="connsiteX61397" y="connsiteY61397"/>
              </a:cxn>
              <a:cxn ang="0">
                <a:pos x="connsiteX61398" y="connsiteY61398"/>
              </a:cxn>
              <a:cxn ang="0">
                <a:pos x="connsiteX61399" y="connsiteY61399"/>
              </a:cxn>
              <a:cxn ang="0">
                <a:pos x="connsiteX61400" y="connsiteY61400"/>
              </a:cxn>
              <a:cxn ang="0">
                <a:pos x="connsiteX61401" y="connsiteY61401"/>
              </a:cxn>
              <a:cxn ang="0">
                <a:pos x="connsiteX61402" y="connsiteY61402"/>
              </a:cxn>
              <a:cxn ang="0">
                <a:pos x="connsiteX61403" y="connsiteY61403"/>
              </a:cxn>
              <a:cxn ang="0">
                <a:pos x="connsiteX61404" y="connsiteY61404"/>
              </a:cxn>
              <a:cxn ang="0">
                <a:pos x="connsiteX61405" y="connsiteY61405"/>
              </a:cxn>
              <a:cxn ang="0">
                <a:pos x="connsiteX61406" y="connsiteY61406"/>
              </a:cxn>
              <a:cxn ang="0">
                <a:pos x="connsiteX61407" y="connsiteY61407"/>
              </a:cxn>
              <a:cxn ang="0">
                <a:pos x="connsiteX61408" y="connsiteY61408"/>
              </a:cxn>
              <a:cxn ang="0">
                <a:pos x="connsiteX61409" y="connsiteY61409"/>
              </a:cxn>
              <a:cxn ang="0">
                <a:pos x="connsiteX61410" y="connsiteY61410"/>
              </a:cxn>
              <a:cxn ang="0">
                <a:pos x="connsiteX61411" y="connsiteY61411"/>
              </a:cxn>
              <a:cxn ang="0">
                <a:pos x="connsiteX61412" y="connsiteY61412"/>
              </a:cxn>
              <a:cxn ang="0">
                <a:pos x="connsiteX61413" y="connsiteY61413"/>
              </a:cxn>
              <a:cxn ang="0">
                <a:pos x="connsiteX61414" y="connsiteY61414"/>
              </a:cxn>
              <a:cxn ang="0">
                <a:pos x="connsiteX61415" y="connsiteY61415"/>
              </a:cxn>
              <a:cxn ang="0">
                <a:pos x="connsiteX61416" y="connsiteY61416"/>
              </a:cxn>
              <a:cxn ang="0">
                <a:pos x="connsiteX61417" y="connsiteY61417"/>
              </a:cxn>
              <a:cxn ang="0">
                <a:pos x="connsiteX61418" y="connsiteY61418"/>
              </a:cxn>
              <a:cxn ang="0">
                <a:pos x="connsiteX61419" y="connsiteY61419"/>
              </a:cxn>
              <a:cxn ang="0">
                <a:pos x="connsiteX61420" y="connsiteY61420"/>
              </a:cxn>
              <a:cxn ang="0">
                <a:pos x="connsiteX61421" y="connsiteY61421"/>
              </a:cxn>
              <a:cxn ang="0">
                <a:pos x="connsiteX61422" y="connsiteY61422"/>
              </a:cxn>
              <a:cxn ang="0">
                <a:pos x="connsiteX61423" y="connsiteY61423"/>
              </a:cxn>
              <a:cxn ang="0">
                <a:pos x="connsiteX61424" y="connsiteY61424"/>
              </a:cxn>
              <a:cxn ang="0">
                <a:pos x="connsiteX61425" y="connsiteY61425"/>
              </a:cxn>
              <a:cxn ang="0">
                <a:pos x="connsiteX61426" y="connsiteY61426"/>
              </a:cxn>
              <a:cxn ang="0">
                <a:pos x="connsiteX61427" y="connsiteY61427"/>
              </a:cxn>
              <a:cxn ang="0">
                <a:pos x="connsiteX61428" y="connsiteY61428"/>
              </a:cxn>
              <a:cxn ang="0">
                <a:pos x="connsiteX61429" y="connsiteY61429"/>
              </a:cxn>
              <a:cxn ang="0">
                <a:pos x="connsiteX61430" y="connsiteY61430"/>
              </a:cxn>
              <a:cxn ang="0">
                <a:pos x="connsiteX61431" y="connsiteY61431"/>
              </a:cxn>
              <a:cxn ang="0">
                <a:pos x="connsiteX61432" y="connsiteY61432"/>
              </a:cxn>
              <a:cxn ang="0">
                <a:pos x="connsiteX61433" y="connsiteY61433"/>
              </a:cxn>
              <a:cxn ang="0">
                <a:pos x="connsiteX61434" y="connsiteY61434"/>
              </a:cxn>
              <a:cxn ang="0">
                <a:pos x="connsiteX61435" y="connsiteY61435"/>
              </a:cxn>
              <a:cxn ang="0">
                <a:pos x="connsiteX61436" y="connsiteY61436"/>
              </a:cxn>
              <a:cxn ang="0">
                <a:pos x="connsiteX61437" y="connsiteY61437"/>
              </a:cxn>
              <a:cxn ang="0">
                <a:pos x="connsiteX61438" y="connsiteY61438"/>
              </a:cxn>
              <a:cxn ang="0">
                <a:pos x="connsiteX61439" y="connsiteY61439"/>
              </a:cxn>
              <a:cxn ang="0">
                <a:pos x="connsiteX61440" y="connsiteY61440"/>
              </a:cxn>
              <a:cxn ang="0">
                <a:pos x="connsiteX61441" y="connsiteY61441"/>
              </a:cxn>
              <a:cxn ang="0">
                <a:pos x="connsiteX61442" y="connsiteY61442"/>
              </a:cxn>
              <a:cxn ang="0">
                <a:pos x="connsiteX61443" y="connsiteY61443"/>
              </a:cxn>
              <a:cxn ang="0">
                <a:pos x="connsiteX61444" y="connsiteY61444"/>
              </a:cxn>
              <a:cxn ang="0">
                <a:pos x="connsiteX61445" y="connsiteY61445"/>
              </a:cxn>
              <a:cxn ang="0">
                <a:pos x="connsiteX61446" y="connsiteY61446"/>
              </a:cxn>
              <a:cxn ang="0">
                <a:pos x="connsiteX61447" y="connsiteY61447"/>
              </a:cxn>
              <a:cxn ang="0">
                <a:pos x="connsiteX61448" y="connsiteY61448"/>
              </a:cxn>
              <a:cxn ang="0">
                <a:pos x="connsiteX61449" y="connsiteY61449"/>
              </a:cxn>
              <a:cxn ang="0">
                <a:pos x="connsiteX61450" y="connsiteY61450"/>
              </a:cxn>
              <a:cxn ang="0">
                <a:pos x="connsiteX61451" y="connsiteY61451"/>
              </a:cxn>
              <a:cxn ang="0">
                <a:pos x="connsiteX61452" y="connsiteY61452"/>
              </a:cxn>
              <a:cxn ang="0">
                <a:pos x="connsiteX61453" y="connsiteY61453"/>
              </a:cxn>
              <a:cxn ang="0">
                <a:pos x="connsiteX61454" y="connsiteY61454"/>
              </a:cxn>
              <a:cxn ang="0">
                <a:pos x="connsiteX61455" y="connsiteY61455"/>
              </a:cxn>
              <a:cxn ang="0">
                <a:pos x="connsiteX61456" y="connsiteY61456"/>
              </a:cxn>
              <a:cxn ang="0">
                <a:pos x="connsiteX61457" y="connsiteY61457"/>
              </a:cxn>
              <a:cxn ang="0">
                <a:pos x="connsiteX61458" y="connsiteY61458"/>
              </a:cxn>
              <a:cxn ang="0">
                <a:pos x="connsiteX61459" y="connsiteY61459"/>
              </a:cxn>
              <a:cxn ang="0">
                <a:pos x="connsiteX61460" y="connsiteY61460"/>
              </a:cxn>
              <a:cxn ang="0">
                <a:pos x="connsiteX61461" y="connsiteY61461"/>
              </a:cxn>
              <a:cxn ang="0">
                <a:pos x="connsiteX61462" y="connsiteY61462"/>
              </a:cxn>
              <a:cxn ang="0">
                <a:pos x="connsiteX61463" y="connsiteY61463"/>
              </a:cxn>
              <a:cxn ang="0">
                <a:pos x="connsiteX61464" y="connsiteY61464"/>
              </a:cxn>
              <a:cxn ang="0">
                <a:pos x="connsiteX61465" y="connsiteY61465"/>
              </a:cxn>
              <a:cxn ang="0">
                <a:pos x="connsiteX61466" y="connsiteY61466"/>
              </a:cxn>
              <a:cxn ang="0">
                <a:pos x="connsiteX61467" y="connsiteY61467"/>
              </a:cxn>
              <a:cxn ang="0">
                <a:pos x="connsiteX61468" y="connsiteY61468"/>
              </a:cxn>
              <a:cxn ang="0">
                <a:pos x="connsiteX61469" y="connsiteY61469"/>
              </a:cxn>
              <a:cxn ang="0">
                <a:pos x="connsiteX61470" y="connsiteY61470"/>
              </a:cxn>
              <a:cxn ang="0">
                <a:pos x="connsiteX61471" y="connsiteY61471"/>
              </a:cxn>
              <a:cxn ang="0">
                <a:pos x="connsiteX61472" y="connsiteY61472"/>
              </a:cxn>
              <a:cxn ang="0">
                <a:pos x="connsiteX61473" y="connsiteY61473"/>
              </a:cxn>
              <a:cxn ang="0">
                <a:pos x="connsiteX61474" y="connsiteY61474"/>
              </a:cxn>
              <a:cxn ang="0">
                <a:pos x="connsiteX61475" y="connsiteY61475"/>
              </a:cxn>
              <a:cxn ang="0">
                <a:pos x="connsiteX61476" y="connsiteY61476"/>
              </a:cxn>
              <a:cxn ang="0">
                <a:pos x="connsiteX61477" y="connsiteY61477"/>
              </a:cxn>
              <a:cxn ang="0">
                <a:pos x="connsiteX61478" y="connsiteY61478"/>
              </a:cxn>
              <a:cxn ang="0">
                <a:pos x="connsiteX61479" y="connsiteY61479"/>
              </a:cxn>
              <a:cxn ang="0">
                <a:pos x="connsiteX61480" y="connsiteY61480"/>
              </a:cxn>
              <a:cxn ang="0">
                <a:pos x="connsiteX61481" y="connsiteY61481"/>
              </a:cxn>
              <a:cxn ang="0">
                <a:pos x="connsiteX61482" y="connsiteY61482"/>
              </a:cxn>
              <a:cxn ang="0">
                <a:pos x="connsiteX61483" y="connsiteY61483"/>
              </a:cxn>
              <a:cxn ang="0">
                <a:pos x="connsiteX61484" y="connsiteY61484"/>
              </a:cxn>
              <a:cxn ang="0">
                <a:pos x="connsiteX61485" y="connsiteY61485"/>
              </a:cxn>
              <a:cxn ang="0">
                <a:pos x="connsiteX61486" y="connsiteY61486"/>
              </a:cxn>
              <a:cxn ang="0">
                <a:pos x="connsiteX61487" y="connsiteY61487"/>
              </a:cxn>
              <a:cxn ang="0">
                <a:pos x="connsiteX61488" y="connsiteY61488"/>
              </a:cxn>
              <a:cxn ang="0">
                <a:pos x="connsiteX61489" y="connsiteY61489"/>
              </a:cxn>
              <a:cxn ang="0">
                <a:pos x="connsiteX61490" y="connsiteY61490"/>
              </a:cxn>
              <a:cxn ang="0">
                <a:pos x="connsiteX61491" y="connsiteY61491"/>
              </a:cxn>
              <a:cxn ang="0">
                <a:pos x="connsiteX61492" y="connsiteY61492"/>
              </a:cxn>
              <a:cxn ang="0">
                <a:pos x="connsiteX61493" y="connsiteY61493"/>
              </a:cxn>
              <a:cxn ang="0">
                <a:pos x="connsiteX61494" y="connsiteY61494"/>
              </a:cxn>
              <a:cxn ang="0">
                <a:pos x="connsiteX61495" y="connsiteY61495"/>
              </a:cxn>
              <a:cxn ang="0">
                <a:pos x="connsiteX61496" y="connsiteY61496"/>
              </a:cxn>
              <a:cxn ang="0">
                <a:pos x="connsiteX61497" y="connsiteY61497"/>
              </a:cxn>
              <a:cxn ang="0">
                <a:pos x="connsiteX61498" y="connsiteY61498"/>
              </a:cxn>
              <a:cxn ang="0">
                <a:pos x="connsiteX61499" y="connsiteY61499"/>
              </a:cxn>
              <a:cxn ang="0">
                <a:pos x="connsiteX61500" y="connsiteY61500"/>
              </a:cxn>
              <a:cxn ang="0">
                <a:pos x="connsiteX61501" y="connsiteY61501"/>
              </a:cxn>
              <a:cxn ang="0">
                <a:pos x="connsiteX61502" y="connsiteY61502"/>
              </a:cxn>
              <a:cxn ang="0">
                <a:pos x="connsiteX61503" y="connsiteY61503"/>
              </a:cxn>
              <a:cxn ang="0">
                <a:pos x="connsiteX61504" y="connsiteY61504"/>
              </a:cxn>
              <a:cxn ang="0">
                <a:pos x="connsiteX61505" y="connsiteY61505"/>
              </a:cxn>
              <a:cxn ang="0">
                <a:pos x="connsiteX61506" y="connsiteY61506"/>
              </a:cxn>
              <a:cxn ang="0">
                <a:pos x="connsiteX61507" y="connsiteY61507"/>
              </a:cxn>
              <a:cxn ang="0">
                <a:pos x="connsiteX61508" y="connsiteY61508"/>
              </a:cxn>
              <a:cxn ang="0">
                <a:pos x="connsiteX61509" y="connsiteY61509"/>
              </a:cxn>
              <a:cxn ang="0">
                <a:pos x="connsiteX61510" y="connsiteY61510"/>
              </a:cxn>
              <a:cxn ang="0">
                <a:pos x="connsiteX61511" y="connsiteY61511"/>
              </a:cxn>
              <a:cxn ang="0">
                <a:pos x="connsiteX61512" y="connsiteY61512"/>
              </a:cxn>
              <a:cxn ang="0">
                <a:pos x="connsiteX61513" y="connsiteY61513"/>
              </a:cxn>
              <a:cxn ang="0">
                <a:pos x="connsiteX61514" y="connsiteY61514"/>
              </a:cxn>
              <a:cxn ang="0">
                <a:pos x="connsiteX61515" y="connsiteY61515"/>
              </a:cxn>
              <a:cxn ang="0">
                <a:pos x="connsiteX61516" y="connsiteY61516"/>
              </a:cxn>
              <a:cxn ang="0">
                <a:pos x="connsiteX61517" y="connsiteY61517"/>
              </a:cxn>
              <a:cxn ang="0">
                <a:pos x="connsiteX61518" y="connsiteY61518"/>
              </a:cxn>
              <a:cxn ang="0">
                <a:pos x="connsiteX61519" y="connsiteY61519"/>
              </a:cxn>
              <a:cxn ang="0">
                <a:pos x="connsiteX61520" y="connsiteY61520"/>
              </a:cxn>
              <a:cxn ang="0">
                <a:pos x="connsiteX61521" y="connsiteY61521"/>
              </a:cxn>
              <a:cxn ang="0">
                <a:pos x="connsiteX61522" y="connsiteY61522"/>
              </a:cxn>
              <a:cxn ang="0">
                <a:pos x="connsiteX61523" y="connsiteY61523"/>
              </a:cxn>
              <a:cxn ang="0">
                <a:pos x="connsiteX61524" y="connsiteY61524"/>
              </a:cxn>
              <a:cxn ang="0">
                <a:pos x="connsiteX61525" y="connsiteY61525"/>
              </a:cxn>
              <a:cxn ang="0">
                <a:pos x="connsiteX61526" y="connsiteY61526"/>
              </a:cxn>
              <a:cxn ang="0">
                <a:pos x="connsiteX61527" y="connsiteY61527"/>
              </a:cxn>
              <a:cxn ang="0">
                <a:pos x="connsiteX61528" y="connsiteY61528"/>
              </a:cxn>
              <a:cxn ang="0">
                <a:pos x="connsiteX61529" y="connsiteY61529"/>
              </a:cxn>
              <a:cxn ang="0">
                <a:pos x="connsiteX61530" y="connsiteY61530"/>
              </a:cxn>
              <a:cxn ang="0">
                <a:pos x="connsiteX61531" y="connsiteY61531"/>
              </a:cxn>
              <a:cxn ang="0">
                <a:pos x="connsiteX61532" y="connsiteY61532"/>
              </a:cxn>
              <a:cxn ang="0">
                <a:pos x="connsiteX61533" y="connsiteY61533"/>
              </a:cxn>
              <a:cxn ang="0">
                <a:pos x="connsiteX61534" y="connsiteY61534"/>
              </a:cxn>
              <a:cxn ang="0">
                <a:pos x="connsiteX61535" y="connsiteY61535"/>
              </a:cxn>
              <a:cxn ang="0">
                <a:pos x="connsiteX61536" y="connsiteY61536"/>
              </a:cxn>
              <a:cxn ang="0">
                <a:pos x="connsiteX61537" y="connsiteY61537"/>
              </a:cxn>
              <a:cxn ang="0">
                <a:pos x="connsiteX61538" y="connsiteY61538"/>
              </a:cxn>
              <a:cxn ang="0">
                <a:pos x="connsiteX61539" y="connsiteY61539"/>
              </a:cxn>
              <a:cxn ang="0">
                <a:pos x="connsiteX61540" y="connsiteY61540"/>
              </a:cxn>
              <a:cxn ang="0">
                <a:pos x="connsiteX61541" y="connsiteY61541"/>
              </a:cxn>
              <a:cxn ang="0">
                <a:pos x="connsiteX61542" y="connsiteY61542"/>
              </a:cxn>
              <a:cxn ang="0">
                <a:pos x="connsiteX61543" y="connsiteY61543"/>
              </a:cxn>
              <a:cxn ang="0">
                <a:pos x="connsiteX61544" y="connsiteY61544"/>
              </a:cxn>
              <a:cxn ang="0">
                <a:pos x="connsiteX61545" y="connsiteY61545"/>
              </a:cxn>
              <a:cxn ang="0">
                <a:pos x="connsiteX61546" y="connsiteY61546"/>
              </a:cxn>
              <a:cxn ang="0">
                <a:pos x="connsiteX61547" y="connsiteY61547"/>
              </a:cxn>
              <a:cxn ang="0">
                <a:pos x="connsiteX61548" y="connsiteY61548"/>
              </a:cxn>
              <a:cxn ang="0">
                <a:pos x="connsiteX61549" y="connsiteY61549"/>
              </a:cxn>
              <a:cxn ang="0">
                <a:pos x="connsiteX61550" y="connsiteY61550"/>
              </a:cxn>
              <a:cxn ang="0">
                <a:pos x="connsiteX61551" y="connsiteY61551"/>
              </a:cxn>
              <a:cxn ang="0">
                <a:pos x="connsiteX61552" y="connsiteY61552"/>
              </a:cxn>
              <a:cxn ang="0">
                <a:pos x="connsiteX61553" y="connsiteY61553"/>
              </a:cxn>
              <a:cxn ang="0">
                <a:pos x="connsiteX61554" y="connsiteY61554"/>
              </a:cxn>
              <a:cxn ang="0">
                <a:pos x="connsiteX61555" y="connsiteY61555"/>
              </a:cxn>
              <a:cxn ang="0">
                <a:pos x="connsiteX61556" y="connsiteY61556"/>
              </a:cxn>
              <a:cxn ang="0">
                <a:pos x="connsiteX61557" y="connsiteY61557"/>
              </a:cxn>
              <a:cxn ang="0">
                <a:pos x="connsiteX61558" y="connsiteY61558"/>
              </a:cxn>
              <a:cxn ang="0">
                <a:pos x="connsiteX61559" y="connsiteY61559"/>
              </a:cxn>
              <a:cxn ang="0">
                <a:pos x="connsiteX61560" y="connsiteY61560"/>
              </a:cxn>
              <a:cxn ang="0">
                <a:pos x="connsiteX61561" y="connsiteY61561"/>
              </a:cxn>
              <a:cxn ang="0">
                <a:pos x="connsiteX61562" y="connsiteY61562"/>
              </a:cxn>
              <a:cxn ang="0">
                <a:pos x="connsiteX61563" y="connsiteY61563"/>
              </a:cxn>
              <a:cxn ang="0">
                <a:pos x="connsiteX61564" y="connsiteY61564"/>
              </a:cxn>
              <a:cxn ang="0">
                <a:pos x="connsiteX61565" y="connsiteY61565"/>
              </a:cxn>
              <a:cxn ang="0">
                <a:pos x="connsiteX61566" y="connsiteY61566"/>
              </a:cxn>
              <a:cxn ang="0">
                <a:pos x="connsiteX61567" y="connsiteY61567"/>
              </a:cxn>
              <a:cxn ang="0">
                <a:pos x="connsiteX61568" y="connsiteY61568"/>
              </a:cxn>
              <a:cxn ang="0">
                <a:pos x="connsiteX61569" y="connsiteY61569"/>
              </a:cxn>
              <a:cxn ang="0">
                <a:pos x="connsiteX61570" y="connsiteY61570"/>
              </a:cxn>
              <a:cxn ang="0">
                <a:pos x="connsiteX61571" y="connsiteY61571"/>
              </a:cxn>
              <a:cxn ang="0">
                <a:pos x="connsiteX61572" y="connsiteY61572"/>
              </a:cxn>
              <a:cxn ang="0">
                <a:pos x="connsiteX61573" y="connsiteY61573"/>
              </a:cxn>
              <a:cxn ang="0">
                <a:pos x="connsiteX61574" y="connsiteY61574"/>
              </a:cxn>
              <a:cxn ang="0">
                <a:pos x="connsiteX61575" y="connsiteY61575"/>
              </a:cxn>
              <a:cxn ang="0">
                <a:pos x="connsiteX61576" y="connsiteY61576"/>
              </a:cxn>
              <a:cxn ang="0">
                <a:pos x="connsiteX61577" y="connsiteY61577"/>
              </a:cxn>
              <a:cxn ang="0">
                <a:pos x="connsiteX61578" y="connsiteY61578"/>
              </a:cxn>
              <a:cxn ang="0">
                <a:pos x="connsiteX61579" y="connsiteY61579"/>
              </a:cxn>
              <a:cxn ang="0">
                <a:pos x="connsiteX61580" y="connsiteY61580"/>
              </a:cxn>
              <a:cxn ang="0">
                <a:pos x="connsiteX61581" y="connsiteY61581"/>
              </a:cxn>
              <a:cxn ang="0">
                <a:pos x="connsiteX61582" y="connsiteY61582"/>
              </a:cxn>
              <a:cxn ang="0">
                <a:pos x="connsiteX61583" y="connsiteY61583"/>
              </a:cxn>
              <a:cxn ang="0">
                <a:pos x="connsiteX61584" y="connsiteY61584"/>
              </a:cxn>
              <a:cxn ang="0">
                <a:pos x="connsiteX61585" y="connsiteY61585"/>
              </a:cxn>
              <a:cxn ang="0">
                <a:pos x="connsiteX61586" y="connsiteY61586"/>
              </a:cxn>
              <a:cxn ang="0">
                <a:pos x="connsiteX61587" y="connsiteY61587"/>
              </a:cxn>
              <a:cxn ang="0">
                <a:pos x="connsiteX61588" y="connsiteY61588"/>
              </a:cxn>
              <a:cxn ang="0">
                <a:pos x="connsiteX61589" y="connsiteY61589"/>
              </a:cxn>
              <a:cxn ang="0">
                <a:pos x="connsiteX61590" y="connsiteY61590"/>
              </a:cxn>
              <a:cxn ang="0">
                <a:pos x="connsiteX61591" y="connsiteY61591"/>
              </a:cxn>
              <a:cxn ang="0">
                <a:pos x="connsiteX61592" y="connsiteY61592"/>
              </a:cxn>
              <a:cxn ang="0">
                <a:pos x="connsiteX61593" y="connsiteY61593"/>
              </a:cxn>
              <a:cxn ang="0">
                <a:pos x="connsiteX61594" y="connsiteY61594"/>
              </a:cxn>
              <a:cxn ang="0">
                <a:pos x="connsiteX61595" y="connsiteY61595"/>
              </a:cxn>
              <a:cxn ang="0">
                <a:pos x="connsiteX61596" y="connsiteY61596"/>
              </a:cxn>
              <a:cxn ang="0">
                <a:pos x="connsiteX61597" y="connsiteY61597"/>
              </a:cxn>
              <a:cxn ang="0">
                <a:pos x="connsiteX61598" y="connsiteY61598"/>
              </a:cxn>
              <a:cxn ang="0">
                <a:pos x="connsiteX61599" y="connsiteY61599"/>
              </a:cxn>
              <a:cxn ang="0">
                <a:pos x="connsiteX61600" y="connsiteY61600"/>
              </a:cxn>
              <a:cxn ang="0">
                <a:pos x="connsiteX61601" y="connsiteY61601"/>
              </a:cxn>
              <a:cxn ang="0">
                <a:pos x="connsiteX61602" y="connsiteY61602"/>
              </a:cxn>
              <a:cxn ang="0">
                <a:pos x="connsiteX61603" y="connsiteY61603"/>
              </a:cxn>
              <a:cxn ang="0">
                <a:pos x="connsiteX61604" y="connsiteY61604"/>
              </a:cxn>
              <a:cxn ang="0">
                <a:pos x="connsiteX61605" y="connsiteY61605"/>
              </a:cxn>
              <a:cxn ang="0">
                <a:pos x="connsiteX61606" y="connsiteY61606"/>
              </a:cxn>
              <a:cxn ang="0">
                <a:pos x="connsiteX61607" y="connsiteY61607"/>
              </a:cxn>
              <a:cxn ang="0">
                <a:pos x="connsiteX61608" y="connsiteY61608"/>
              </a:cxn>
              <a:cxn ang="0">
                <a:pos x="connsiteX61609" y="connsiteY61609"/>
              </a:cxn>
              <a:cxn ang="0">
                <a:pos x="connsiteX61610" y="connsiteY61610"/>
              </a:cxn>
              <a:cxn ang="0">
                <a:pos x="connsiteX61611" y="connsiteY61611"/>
              </a:cxn>
              <a:cxn ang="0">
                <a:pos x="connsiteX61612" y="connsiteY61612"/>
              </a:cxn>
              <a:cxn ang="0">
                <a:pos x="connsiteX61613" y="connsiteY61613"/>
              </a:cxn>
              <a:cxn ang="0">
                <a:pos x="connsiteX61614" y="connsiteY61614"/>
              </a:cxn>
              <a:cxn ang="0">
                <a:pos x="connsiteX61615" y="connsiteY61615"/>
              </a:cxn>
              <a:cxn ang="0">
                <a:pos x="connsiteX61616" y="connsiteY61616"/>
              </a:cxn>
              <a:cxn ang="0">
                <a:pos x="connsiteX61617" y="connsiteY61617"/>
              </a:cxn>
              <a:cxn ang="0">
                <a:pos x="connsiteX61618" y="connsiteY61618"/>
              </a:cxn>
              <a:cxn ang="0">
                <a:pos x="connsiteX61619" y="connsiteY61619"/>
              </a:cxn>
              <a:cxn ang="0">
                <a:pos x="connsiteX61620" y="connsiteY61620"/>
              </a:cxn>
              <a:cxn ang="0">
                <a:pos x="connsiteX61621" y="connsiteY61621"/>
              </a:cxn>
              <a:cxn ang="0">
                <a:pos x="connsiteX61622" y="connsiteY61622"/>
              </a:cxn>
              <a:cxn ang="0">
                <a:pos x="connsiteX61623" y="connsiteY61623"/>
              </a:cxn>
              <a:cxn ang="0">
                <a:pos x="connsiteX61624" y="connsiteY61624"/>
              </a:cxn>
              <a:cxn ang="0">
                <a:pos x="connsiteX61625" y="connsiteY61625"/>
              </a:cxn>
              <a:cxn ang="0">
                <a:pos x="connsiteX61626" y="connsiteY61626"/>
              </a:cxn>
              <a:cxn ang="0">
                <a:pos x="connsiteX61627" y="connsiteY61627"/>
              </a:cxn>
              <a:cxn ang="0">
                <a:pos x="connsiteX61628" y="connsiteY61628"/>
              </a:cxn>
              <a:cxn ang="0">
                <a:pos x="connsiteX61629" y="connsiteY61629"/>
              </a:cxn>
              <a:cxn ang="0">
                <a:pos x="connsiteX61630" y="connsiteY61630"/>
              </a:cxn>
              <a:cxn ang="0">
                <a:pos x="connsiteX61631" y="connsiteY61631"/>
              </a:cxn>
              <a:cxn ang="0">
                <a:pos x="connsiteX61632" y="connsiteY61632"/>
              </a:cxn>
              <a:cxn ang="0">
                <a:pos x="connsiteX61633" y="connsiteY61633"/>
              </a:cxn>
              <a:cxn ang="0">
                <a:pos x="connsiteX61634" y="connsiteY61634"/>
              </a:cxn>
              <a:cxn ang="0">
                <a:pos x="connsiteX61635" y="connsiteY61635"/>
              </a:cxn>
              <a:cxn ang="0">
                <a:pos x="connsiteX61636" y="connsiteY61636"/>
              </a:cxn>
              <a:cxn ang="0">
                <a:pos x="connsiteX61637" y="connsiteY61637"/>
              </a:cxn>
              <a:cxn ang="0">
                <a:pos x="connsiteX61638" y="connsiteY61638"/>
              </a:cxn>
              <a:cxn ang="0">
                <a:pos x="connsiteX61639" y="connsiteY61639"/>
              </a:cxn>
              <a:cxn ang="0">
                <a:pos x="connsiteX61640" y="connsiteY61640"/>
              </a:cxn>
              <a:cxn ang="0">
                <a:pos x="connsiteX61641" y="connsiteY61641"/>
              </a:cxn>
              <a:cxn ang="0">
                <a:pos x="connsiteX61642" y="connsiteY61642"/>
              </a:cxn>
              <a:cxn ang="0">
                <a:pos x="connsiteX61643" y="connsiteY61643"/>
              </a:cxn>
              <a:cxn ang="0">
                <a:pos x="connsiteX61644" y="connsiteY61644"/>
              </a:cxn>
              <a:cxn ang="0">
                <a:pos x="connsiteX61645" y="connsiteY61645"/>
              </a:cxn>
              <a:cxn ang="0">
                <a:pos x="connsiteX61646" y="connsiteY61646"/>
              </a:cxn>
              <a:cxn ang="0">
                <a:pos x="connsiteX61647" y="connsiteY61647"/>
              </a:cxn>
              <a:cxn ang="0">
                <a:pos x="connsiteX61648" y="connsiteY61648"/>
              </a:cxn>
              <a:cxn ang="0">
                <a:pos x="connsiteX61649" y="connsiteY61649"/>
              </a:cxn>
              <a:cxn ang="0">
                <a:pos x="connsiteX61650" y="connsiteY61650"/>
              </a:cxn>
              <a:cxn ang="0">
                <a:pos x="connsiteX61651" y="connsiteY61651"/>
              </a:cxn>
              <a:cxn ang="0">
                <a:pos x="connsiteX61652" y="connsiteY61652"/>
              </a:cxn>
              <a:cxn ang="0">
                <a:pos x="connsiteX61653" y="connsiteY61653"/>
              </a:cxn>
              <a:cxn ang="0">
                <a:pos x="connsiteX61654" y="connsiteY61654"/>
              </a:cxn>
              <a:cxn ang="0">
                <a:pos x="connsiteX61655" y="connsiteY61655"/>
              </a:cxn>
              <a:cxn ang="0">
                <a:pos x="connsiteX61656" y="connsiteY61656"/>
              </a:cxn>
              <a:cxn ang="0">
                <a:pos x="connsiteX61657" y="connsiteY61657"/>
              </a:cxn>
              <a:cxn ang="0">
                <a:pos x="connsiteX61658" y="connsiteY61658"/>
              </a:cxn>
              <a:cxn ang="0">
                <a:pos x="connsiteX61659" y="connsiteY61659"/>
              </a:cxn>
              <a:cxn ang="0">
                <a:pos x="connsiteX61660" y="connsiteY61660"/>
              </a:cxn>
              <a:cxn ang="0">
                <a:pos x="connsiteX61661" y="connsiteY61661"/>
              </a:cxn>
              <a:cxn ang="0">
                <a:pos x="connsiteX61662" y="connsiteY61662"/>
              </a:cxn>
              <a:cxn ang="0">
                <a:pos x="connsiteX61663" y="connsiteY61663"/>
              </a:cxn>
              <a:cxn ang="0">
                <a:pos x="connsiteX61664" y="connsiteY61664"/>
              </a:cxn>
              <a:cxn ang="0">
                <a:pos x="connsiteX61665" y="connsiteY61665"/>
              </a:cxn>
              <a:cxn ang="0">
                <a:pos x="connsiteX61666" y="connsiteY61666"/>
              </a:cxn>
              <a:cxn ang="0">
                <a:pos x="connsiteX61667" y="connsiteY61667"/>
              </a:cxn>
              <a:cxn ang="0">
                <a:pos x="connsiteX61668" y="connsiteY61668"/>
              </a:cxn>
              <a:cxn ang="0">
                <a:pos x="connsiteX61669" y="connsiteY61669"/>
              </a:cxn>
              <a:cxn ang="0">
                <a:pos x="connsiteX61670" y="connsiteY61670"/>
              </a:cxn>
              <a:cxn ang="0">
                <a:pos x="connsiteX61671" y="connsiteY61671"/>
              </a:cxn>
              <a:cxn ang="0">
                <a:pos x="connsiteX61672" y="connsiteY61672"/>
              </a:cxn>
              <a:cxn ang="0">
                <a:pos x="connsiteX61673" y="connsiteY61673"/>
              </a:cxn>
              <a:cxn ang="0">
                <a:pos x="connsiteX61674" y="connsiteY61674"/>
              </a:cxn>
              <a:cxn ang="0">
                <a:pos x="connsiteX61675" y="connsiteY61675"/>
              </a:cxn>
              <a:cxn ang="0">
                <a:pos x="connsiteX61676" y="connsiteY61676"/>
              </a:cxn>
              <a:cxn ang="0">
                <a:pos x="connsiteX61677" y="connsiteY61677"/>
              </a:cxn>
              <a:cxn ang="0">
                <a:pos x="connsiteX61678" y="connsiteY61678"/>
              </a:cxn>
              <a:cxn ang="0">
                <a:pos x="connsiteX61679" y="connsiteY61679"/>
              </a:cxn>
              <a:cxn ang="0">
                <a:pos x="connsiteX61680" y="connsiteY61680"/>
              </a:cxn>
              <a:cxn ang="0">
                <a:pos x="connsiteX61681" y="connsiteY61681"/>
              </a:cxn>
              <a:cxn ang="0">
                <a:pos x="connsiteX61682" y="connsiteY61682"/>
              </a:cxn>
              <a:cxn ang="0">
                <a:pos x="connsiteX61683" y="connsiteY61683"/>
              </a:cxn>
              <a:cxn ang="0">
                <a:pos x="connsiteX61684" y="connsiteY61684"/>
              </a:cxn>
              <a:cxn ang="0">
                <a:pos x="connsiteX61685" y="connsiteY61685"/>
              </a:cxn>
              <a:cxn ang="0">
                <a:pos x="connsiteX61686" y="connsiteY61686"/>
              </a:cxn>
              <a:cxn ang="0">
                <a:pos x="connsiteX61687" y="connsiteY61687"/>
              </a:cxn>
              <a:cxn ang="0">
                <a:pos x="connsiteX61688" y="connsiteY61688"/>
              </a:cxn>
              <a:cxn ang="0">
                <a:pos x="connsiteX61689" y="connsiteY61689"/>
              </a:cxn>
              <a:cxn ang="0">
                <a:pos x="connsiteX61690" y="connsiteY61690"/>
              </a:cxn>
              <a:cxn ang="0">
                <a:pos x="connsiteX61691" y="connsiteY61691"/>
              </a:cxn>
              <a:cxn ang="0">
                <a:pos x="connsiteX61692" y="connsiteY61692"/>
              </a:cxn>
              <a:cxn ang="0">
                <a:pos x="connsiteX61693" y="connsiteY61693"/>
              </a:cxn>
              <a:cxn ang="0">
                <a:pos x="connsiteX61694" y="connsiteY61694"/>
              </a:cxn>
              <a:cxn ang="0">
                <a:pos x="connsiteX61695" y="connsiteY61695"/>
              </a:cxn>
              <a:cxn ang="0">
                <a:pos x="connsiteX61696" y="connsiteY61696"/>
              </a:cxn>
              <a:cxn ang="0">
                <a:pos x="connsiteX61697" y="connsiteY61697"/>
              </a:cxn>
              <a:cxn ang="0">
                <a:pos x="connsiteX61698" y="connsiteY61698"/>
              </a:cxn>
              <a:cxn ang="0">
                <a:pos x="connsiteX61699" y="connsiteY61699"/>
              </a:cxn>
              <a:cxn ang="0">
                <a:pos x="connsiteX61700" y="connsiteY61700"/>
              </a:cxn>
              <a:cxn ang="0">
                <a:pos x="connsiteX61701" y="connsiteY61701"/>
              </a:cxn>
              <a:cxn ang="0">
                <a:pos x="connsiteX61702" y="connsiteY61702"/>
              </a:cxn>
              <a:cxn ang="0">
                <a:pos x="connsiteX61703" y="connsiteY61703"/>
              </a:cxn>
              <a:cxn ang="0">
                <a:pos x="connsiteX61704" y="connsiteY61704"/>
              </a:cxn>
              <a:cxn ang="0">
                <a:pos x="connsiteX61705" y="connsiteY61705"/>
              </a:cxn>
              <a:cxn ang="0">
                <a:pos x="connsiteX61706" y="connsiteY61706"/>
              </a:cxn>
              <a:cxn ang="0">
                <a:pos x="connsiteX61707" y="connsiteY61707"/>
              </a:cxn>
              <a:cxn ang="0">
                <a:pos x="connsiteX61708" y="connsiteY61708"/>
              </a:cxn>
              <a:cxn ang="0">
                <a:pos x="connsiteX61709" y="connsiteY61709"/>
              </a:cxn>
              <a:cxn ang="0">
                <a:pos x="connsiteX61710" y="connsiteY61710"/>
              </a:cxn>
              <a:cxn ang="0">
                <a:pos x="connsiteX61711" y="connsiteY61711"/>
              </a:cxn>
              <a:cxn ang="0">
                <a:pos x="connsiteX61712" y="connsiteY61712"/>
              </a:cxn>
              <a:cxn ang="0">
                <a:pos x="connsiteX61713" y="connsiteY61713"/>
              </a:cxn>
              <a:cxn ang="0">
                <a:pos x="connsiteX61714" y="connsiteY61714"/>
              </a:cxn>
              <a:cxn ang="0">
                <a:pos x="connsiteX61715" y="connsiteY61715"/>
              </a:cxn>
              <a:cxn ang="0">
                <a:pos x="connsiteX61716" y="connsiteY61716"/>
              </a:cxn>
              <a:cxn ang="0">
                <a:pos x="connsiteX61717" y="connsiteY61717"/>
              </a:cxn>
              <a:cxn ang="0">
                <a:pos x="connsiteX61718" y="connsiteY61718"/>
              </a:cxn>
              <a:cxn ang="0">
                <a:pos x="connsiteX61719" y="connsiteY61719"/>
              </a:cxn>
              <a:cxn ang="0">
                <a:pos x="connsiteX61720" y="connsiteY61720"/>
              </a:cxn>
              <a:cxn ang="0">
                <a:pos x="connsiteX61721" y="connsiteY61721"/>
              </a:cxn>
              <a:cxn ang="0">
                <a:pos x="connsiteX61722" y="connsiteY61722"/>
              </a:cxn>
              <a:cxn ang="0">
                <a:pos x="connsiteX61723" y="connsiteY61723"/>
              </a:cxn>
              <a:cxn ang="0">
                <a:pos x="connsiteX61724" y="connsiteY61724"/>
              </a:cxn>
              <a:cxn ang="0">
                <a:pos x="connsiteX61725" y="connsiteY61725"/>
              </a:cxn>
              <a:cxn ang="0">
                <a:pos x="connsiteX61726" y="connsiteY61726"/>
              </a:cxn>
              <a:cxn ang="0">
                <a:pos x="connsiteX61727" y="connsiteY61727"/>
              </a:cxn>
              <a:cxn ang="0">
                <a:pos x="connsiteX61728" y="connsiteY61728"/>
              </a:cxn>
              <a:cxn ang="0">
                <a:pos x="connsiteX61729" y="connsiteY61729"/>
              </a:cxn>
              <a:cxn ang="0">
                <a:pos x="connsiteX61730" y="connsiteY61730"/>
              </a:cxn>
              <a:cxn ang="0">
                <a:pos x="connsiteX61731" y="connsiteY61731"/>
              </a:cxn>
              <a:cxn ang="0">
                <a:pos x="connsiteX61732" y="connsiteY61732"/>
              </a:cxn>
              <a:cxn ang="0">
                <a:pos x="connsiteX61733" y="connsiteY61733"/>
              </a:cxn>
              <a:cxn ang="0">
                <a:pos x="connsiteX61734" y="connsiteY61734"/>
              </a:cxn>
              <a:cxn ang="0">
                <a:pos x="connsiteX61735" y="connsiteY61735"/>
              </a:cxn>
              <a:cxn ang="0">
                <a:pos x="connsiteX61736" y="connsiteY61736"/>
              </a:cxn>
              <a:cxn ang="0">
                <a:pos x="connsiteX61737" y="connsiteY61737"/>
              </a:cxn>
              <a:cxn ang="0">
                <a:pos x="connsiteX61738" y="connsiteY61738"/>
              </a:cxn>
              <a:cxn ang="0">
                <a:pos x="connsiteX61739" y="connsiteY61739"/>
              </a:cxn>
              <a:cxn ang="0">
                <a:pos x="connsiteX61740" y="connsiteY61740"/>
              </a:cxn>
              <a:cxn ang="0">
                <a:pos x="connsiteX61741" y="connsiteY61741"/>
              </a:cxn>
              <a:cxn ang="0">
                <a:pos x="connsiteX61742" y="connsiteY61742"/>
              </a:cxn>
              <a:cxn ang="0">
                <a:pos x="connsiteX61743" y="connsiteY61743"/>
              </a:cxn>
              <a:cxn ang="0">
                <a:pos x="connsiteX61744" y="connsiteY61744"/>
              </a:cxn>
              <a:cxn ang="0">
                <a:pos x="connsiteX61745" y="connsiteY61745"/>
              </a:cxn>
              <a:cxn ang="0">
                <a:pos x="connsiteX61746" y="connsiteY61746"/>
              </a:cxn>
              <a:cxn ang="0">
                <a:pos x="connsiteX61747" y="connsiteY61747"/>
              </a:cxn>
              <a:cxn ang="0">
                <a:pos x="connsiteX61748" y="connsiteY61748"/>
              </a:cxn>
              <a:cxn ang="0">
                <a:pos x="connsiteX61749" y="connsiteY61749"/>
              </a:cxn>
              <a:cxn ang="0">
                <a:pos x="connsiteX61750" y="connsiteY61750"/>
              </a:cxn>
              <a:cxn ang="0">
                <a:pos x="connsiteX61751" y="connsiteY61751"/>
              </a:cxn>
              <a:cxn ang="0">
                <a:pos x="connsiteX61752" y="connsiteY61752"/>
              </a:cxn>
              <a:cxn ang="0">
                <a:pos x="connsiteX61753" y="connsiteY61753"/>
              </a:cxn>
              <a:cxn ang="0">
                <a:pos x="connsiteX61754" y="connsiteY61754"/>
              </a:cxn>
              <a:cxn ang="0">
                <a:pos x="connsiteX61755" y="connsiteY61755"/>
              </a:cxn>
              <a:cxn ang="0">
                <a:pos x="connsiteX61756" y="connsiteY61756"/>
              </a:cxn>
              <a:cxn ang="0">
                <a:pos x="connsiteX61757" y="connsiteY61757"/>
              </a:cxn>
              <a:cxn ang="0">
                <a:pos x="connsiteX61758" y="connsiteY61758"/>
              </a:cxn>
              <a:cxn ang="0">
                <a:pos x="connsiteX61759" y="connsiteY61759"/>
              </a:cxn>
              <a:cxn ang="0">
                <a:pos x="connsiteX61760" y="connsiteY61760"/>
              </a:cxn>
              <a:cxn ang="0">
                <a:pos x="connsiteX61761" y="connsiteY61761"/>
              </a:cxn>
              <a:cxn ang="0">
                <a:pos x="connsiteX61762" y="connsiteY61762"/>
              </a:cxn>
              <a:cxn ang="0">
                <a:pos x="connsiteX61763" y="connsiteY61763"/>
              </a:cxn>
              <a:cxn ang="0">
                <a:pos x="connsiteX61764" y="connsiteY61764"/>
              </a:cxn>
              <a:cxn ang="0">
                <a:pos x="connsiteX61765" y="connsiteY61765"/>
              </a:cxn>
              <a:cxn ang="0">
                <a:pos x="connsiteX61766" y="connsiteY61766"/>
              </a:cxn>
              <a:cxn ang="0">
                <a:pos x="connsiteX61767" y="connsiteY61767"/>
              </a:cxn>
              <a:cxn ang="0">
                <a:pos x="connsiteX61768" y="connsiteY61768"/>
              </a:cxn>
              <a:cxn ang="0">
                <a:pos x="connsiteX61769" y="connsiteY61769"/>
              </a:cxn>
              <a:cxn ang="0">
                <a:pos x="connsiteX61770" y="connsiteY61770"/>
              </a:cxn>
              <a:cxn ang="0">
                <a:pos x="connsiteX61771" y="connsiteY61771"/>
              </a:cxn>
              <a:cxn ang="0">
                <a:pos x="connsiteX61772" y="connsiteY61772"/>
              </a:cxn>
              <a:cxn ang="0">
                <a:pos x="connsiteX61773" y="connsiteY61773"/>
              </a:cxn>
              <a:cxn ang="0">
                <a:pos x="connsiteX61774" y="connsiteY61774"/>
              </a:cxn>
              <a:cxn ang="0">
                <a:pos x="connsiteX61775" y="connsiteY61775"/>
              </a:cxn>
              <a:cxn ang="0">
                <a:pos x="connsiteX61776" y="connsiteY61776"/>
              </a:cxn>
              <a:cxn ang="0">
                <a:pos x="connsiteX61777" y="connsiteY61777"/>
              </a:cxn>
              <a:cxn ang="0">
                <a:pos x="connsiteX61778" y="connsiteY61778"/>
              </a:cxn>
              <a:cxn ang="0">
                <a:pos x="connsiteX61779" y="connsiteY61779"/>
              </a:cxn>
              <a:cxn ang="0">
                <a:pos x="connsiteX61780" y="connsiteY61780"/>
              </a:cxn>
              <a:cxn ang="0">
                <a:pos x="connsiteX61781" y="connsiteY61781"/>
              </a:cxn>
              <a:cxn ang="0">
                <a:pos x="connsiteX61782" y="connsiteY61782"/>
              </a:cxn>
              <a:cxn ang="0">
                <a:pos x="connsiteX61783" y="connsiteY61783"/>
              </a:cxn>
              <a:cxn ang="0">
                <a:pos x="connsiteX61784" y="connsiteY61784"/>
              </a:cxn>
              <a:cxn ang="0">
                <a:pos x="connsiteX61785" y="connsiteY61785"/>
              </a:cxn>
              <a:cxn ang="0">
                <a:pos x="connsiteX61786" y="connsiteY61786"/>
              </a:cxn>
              <a:cxn ang="0">
                <a:pos x="connsiteX61787" y="connsiteY61787"/>
              </a:cxn>
              <a:cxn ang="0">
                <a:pos x="connsiteX61788" y="connsiteY61788"/>
              </a:cxn>
              <a:cxn ang="0">
                <a:pos x="connsiteX61789" y="connsiteY61789"/>
              </a:cxn>
              <a:cxn ang="0">
                <a:pos x="connsiteX61790" y="connsiteY61790"/>
              </a:cxn>
              <a:cxn ang="0">
                <a:pos x="connsiteX61791" y="connsiteY61791"/>
              </a:cxn>
              <a:cxn ang="0">
                <a:pos x="connsiteX61792" y="connsiteY61792"/>
              </a:cxn>
              <a:cxn ang="0">
                <a:pos x="connsiteX61793" y="connsiteY61793"/>
              </a:cxn>
              <a:cxn ang="0">
                <a:pos x="connsiteX61794" y="connsiteY61794"/>
              </a:cxn>
              <a:cxn ang="0">
                <a:pos x="connsiteX61795" y="connsiteY61795"/>
              </a:cxn>
              <a:cxn ang="0">
                <a:pos x="connsiteX61796" y="connsiteY61796"/>
              </a:cxn>
              <a:cxn ang="0">
                <a:pos x="connsiteX61797" y="connsiteY61797"/>
              </a:cxn>
              <a:cxn ang="0">
                <a:pos x="connsiteX61798" y="connsiteY61798"/>
              </a:cxn>
              <a:cxn ang="0">
                <a:pos x="connsiteX61799" y="connsiteY61799"/>
              </a:cxn>
              <a:cxn ang="0">
                <a:pos x="connsiteX61800" y="connsiteY61800"/>
              </a:cxn>
              <a:cxn ang="0">
                <a:pos x="connsiteX61801" y="connsiteY61801"/>
              </a:cxn>
              <a:cxn ang="0">
                <a:pos x="connsiteX61802" y="connsiteY61802"/>
              </a:cxn>
              <a:cxn ang="0">
                <a:pos x="connsiteX61803" y="connsiteY61803"/>
              </a:cxn>
              <a:cxn ang="0">
                <a:pos x="connsiteX61804" y="connsiteY61804"/>
              </a:cxn>
              <a:cxn ang="0">
                <a:pos x="connsiteX61805" y="connsiteY61805"/>
              </a:cxn>
              <a:cxn ang="0">
                <a:pos x="connsiteX61806" y="connsiteY61806"/>
              </a:cxn>
              <a:cxn ang="0">
                <a:pos x="connsiteX61807" y="connsiteY61807"/>
              </a:cxn>
              <a:cxn ang="0">
                <a:pos x="connsiteX61808" y="connsiteY61808"/>
              </a:cxn>
              <a:cxn ang="0">
                <a:pos x="connsiteX61809" y="connsiteY61809"/>
              </a:cxn>
              <a:cxn ang="0">
                <a:pos x="connsiteX61810" y="connsiteY61810"/>
              </a:cxn>
              <a:cxn ang="0">
                <a:pos x="connsiteX61811" y="connsiteY61811"/>
              </a:cxn>
              <a:cxn ang="0">
                <a:pos x="connsiteX61812" y="connsiteY61812"/>
              </a:cxn>
              <a:cxn ang="0">
                <a:pos x="connsiteX61813" y="connsiteY61813"/>
              </a:cxn>
              <a:cxn ang="0">
                <a:pos x="connsiteX61814" y="connsiteY61814"/>
              </a:cxn>
              <a:cxn ang="0">
                <a:pos x="connsiteX61815" y="connsiteY61815"/>
              </a:cxn>
              <a:cxn ang="0">
                <a:pos x="connsiteX61816" y="connsiteY61816"/>
              </a:cxn>
              <a:cxn ang="0">
                <a:pos x="connsiteX61817" y="connsiteY61817"/>
              </a:cxn>
              <a:cxn ang="0">
                <a:pos x="connsiteX61818" y="connsiteY61818"/>
              </a:cxn>
              <a:cxn ang="0">
                <a:pos x="connsiteX61819" y="connsiteY61819"/>
              </a:cxn>
              <a:cxn ang="0">
                <a:pos x="connsiteX61820" y="connsiteY61820"/>
              </a:cxn>
              <a:cxn ang="0">
                <a:pos x="connsiteX61821" y="connsiteY61821"/>
              </a:cxn>
              <a:cxn ang="0">
                <a:pos x="connsiteX61822" y="connsiteY61822"/>
              </a:cxn>
              <a:cxn ang="0">
                <a:pos x="connsiteX61823" y="connsiteY61823"/>
              </a:cxn>
              <a:cxn ang="0">
                <a:pos x="connsiteX61824" y="connsiteY61824"/>
              </a:cxn>
              <a:cxn ang="0">
                <a:pos x="connsiteX61825" y="connsiteY61825"/>
              </a:cxn>
              <a:cxn ang="0">
                <a:pos x="connsiteX61826" y="connsiteY61826"/>
              </a:cxn>
              <a:cxn ang="0">
                <a:pos x="connsiteX61827" y="connsiteY61827"/>
              </a:cxn>
              <a:cxn ang="0">
                <a:pos x="connsiteX61828" y="connsiteY61828"/>
              </a:cxn>
              <a:cxn ang="0">
                <a:pos x="connsiteX61829" y="connsiteY61829"/>
              </a:cxn>
              <a:cxn ang="0">
                <a:pos x="connsiteX61830" y="connsiteY61830"/>
              </a:cxn>
              <a:cxn ang="0">
                <a:pos x="connsiteX61831" y="connsiteY61831"/>
              </a:cxn>
              <a:cxn ang="0">
                <a:pos x="connsiteX61832" y="connsiteY61832"/>
              </a:cxn>
              <a:cxn ang="0">
                <a:pos x="connsiteX61833" y="connsiteY61833"/>
              </a:cxn>
              <a:cxn ang="0">
                <a:pos x="connsiteX61834" y="connsiteY61834"/>
              </a:cxn>
              <a:cxn ang="0">
                <a:pos x="connsiteX61835" y="connsiteY61835"/>
              </a:cxn>
              <a:cxn ang="0">
                <a:pos x="connsiteX61836" y="connsiteY61836"/>
              </a:cxn>
              <a:cxn ang="0">
                <a:pos x="connsiteX61837" y="connsiteY61837"/>
              </a:cxn>
              <a:cxn ang="0">
                <a:pos x="connsiteX61838" y="connsiteY61838"/>
              </a:cxn>
              <a:cxn ang="0">
                <a:pos x="connsiteX61839" y="connsiteY61839"/>
              </a:cxn>
              <a:cxn ang="0">
                <a:pos x="connsiteX61840" y="connsiteY61840"/>
              </a:cxn>
              <a:cxn ang="0">
                <a:pos x="connsiteX61841" y="connsiteY61841"/>
              </a:cxn>
              <a:cxn ang="0">
                <a:pos x="connsiteX61842" y="connsiteY61842"/>
              </a:cxn>
              <a:cxn ang="0">
                <a:pos x="connsiteX61843" y="connsiteY61843"/>
              </a:cxn>
              <a:cxn ang="0">
                <a:pos x="connsiteX61844" y="connsiteY61844"/>
              </a:cxn>
              <a:cxn ang="0">
                <a:pos x="connsiteX61845" y="connsiteY61845"/>
              </a:cxn>
              <a:cxn ang="0">
                <a:pos x="connsiteX61846" y="connsiteY61846"/>
              </a:cxn>
              <a:cxn ang="0">
                <a:pos x="connsiteX61847" y="connsiteY61847"/>
              </a:cxn>
              <a:cxn ang="0">
                <a:pos x="connsiteX61848" y="connsiteY61848"/>
              </a:cxn>
              <a:cxn ang="0">
                <a:pos x="connsiteX61849" y="connsiteY61849"/>
              </a:cxn>
              <a:cxn ang="0">
                <a:pos x="connsiteX61850" y="connsiteY61850"/>
              </a:cxn>
              <a:cxn ang="0">
                <a:pos x="connsiteX61851" y="connsiteY61851"/>
              </a:cxn>
              <a:cxn ang="0">
                <a:pos x="connsiteX61852" y="connsiteY61852"/>
              </a:cxn>
              <a:cxn ang="0">
                <a:pos x="connsiteX61853" y="connsiteY61853"/>
              </a:cxn>
              <a:cxn ang="0">
                <a:pos x="connsiteX61854" y="connsiteY61854"/>
              </a:cxn>
              <a:cxn ang="0">
                <a:pos x="connsiteX61855" y="connsiteY61855"/>
              </a:cxn>
              <a:cxn ang="0">
                <a:pos x="connsiteX61856" y="connsiteY61856"/>
              </a:cxn>
              <a:cxn ang="0">
                <a:pos x="connsiteX61857" y="connsiteY61857"/>
              </a:cxn>
              <a:cxn ang="0">
                <a:pos x="connsiteX61858" y="connsiteY61858"/>
              </a:cxn>
              <a:cxn ang="0">
                <a:pos x="connsiteX61859" y="connsiteY61859"/>
              </a:cxn>
              <a:cxn ang="0">
                <a:pos x="connsiteX61860" y="connsiteY61860"/>
              </a:cxn>
              <a:cxn ang="0">
                <a:pos x="connsiteX61861" y="connsiteY61861"/>
              </a:cxn>
              <a:cxn ang="0">
                <a:pos x="connsiteX61862" y="connsiteY61862"/>
              </a:cxn>
              <a:cxn ang="0">
                <a:pos x="connsiteX61863" y="connsiteY61863"/>
              </a:cxn>
              <a:cxn ang="0">
                <a:pos x="connsiteX61864" y="connsiteY61864"/>
              </a:cxn>
              <a:cxn ang="0">
                <a:pos x="connsiteX61865" y="connsiteY61865"/>
              </a:cxn>
              <a:cxn ang="0">
                <a:pos x="connsiteX61866" y="connsiteY61866"/>
              </a:cxn>
              <a:cxn ang="0">
                <a:pos x="connsiteX61867" y="connsiteY61867"/>
              </a:cxn>
              <a:cxn ang="0">
                <a:pos x="connsiteX61868" y="connsiteY61868"/>
              </a:cxn>
              <a:cxn ang="0">
                <a:pos x="connsiteX61869" y="connsiteY61869"/>
              </a:cxn>
              <a:cxn ang="0">
                <a:pos x="connsiteX61870" y="connsiteY61870"/>
              </a:cxn>
              <a:cxn ang="0">
                <a:pos x="connsiteX61871" y="connsiteY61871"/>
              </a:cxn>
              <a:cxn ang="0">
                <a:pos x="connsiteX61872" y="connsiteY61872"/>
              </a:cxn>
              <a:cxn ang="0">
                <a:pos x="connsiteX61873" y="connsiteY61873"/>
              </a:cxn>
              <a:cxn ang="0">
                <a:pos x="connsiteX61874" y="connsiteY61874"/>
              </a:cxn>
              <a:cxn ang="0">
                <a:pos x="connsiteX61875" y="connsiteY61875"/>
              </a:cxn>
              <a:cxn ang="0">
                <a:pos x="connsiteX61876" y="connsiteY61876"/>
              </a:cxn>
              <a:cxn ang="0">
                <a:pos x="connsiteX61877" y="connsiteY61877"/>
              </a:cxn>
              <a:cxn ang="0">
                <a:pos x="connsiteX61878" y="connsiteY61878"/>
              </a:cxn>
              <a:cxn ang="0">
                <a:pos x="connsiteX61879" y="connsiteY61879"/>
              </a:cxn>
              <a:cxn ang="0">
                <a:pos x="connsiteX61880" y="connsiteY61880"/>
              </a:cxn>
              <a:cxn ang="0">
                <a:pos x="connsiteX61881" y="connsiteY61881"/>
              </a:cxn>
              <a:cxn ang="0">
                <a:pos x="connsiteX61882" y="connsiteY61882"/>
              </a:cxn>
              <a:cxn ang="0">
                <a:pos x="connsiteX61883" y="connsiteY61883"/>
              </a:cxn>
              <a:cxn ang="0">
                <a:pos x="connsiteX61884" y="connsiteY61884"/>
              </a:cxn>
              <a:cxn ang="0">
                <a:pos x="connsiteX61885" y="connsiteY61885"/>
              </a:cxn>
              <a:cxn ang="0">
                <a:pos x="connsiteX61886" y="connsiteY61886"/>
              </a:cxn>
              <a:cxn ang="0">
                <a:pos x="connsiteX61887" y="connsiteY61887"/>
              </a:cxn>
              <a:cxn ang="0">
                <a:pos x="connsiteX61888" y="connsiteY61888"/>
              </a:cxn>
              <a:cxn ang="0">
                <a:pos x="connsiteX61889" y="connsiteY61889"/>
              </a:cxn>
              <a:cxn ang="0">
                <a:pos x="connsiteX61890" y="connsiteY61890"/>
              </a:cxn>
              <a:cxn ang="0">
                <a:pos x="connsiteX61891" y="connsiteY61891"/>
              </a:cxn>
              <a:cxn ang="0">
                <a:pos x="connsiteX61892" y="connsiteY61892"/>
              </a:cxn>
              <a:cxn ang="0">
                <a:pos x="connsiteX61893" y="connsiteY61893"/>
              </a:cxn>
              <a:cxn ang="0">
                <a:pos x="connsiteX61894" y="connsiteY61894"/>
              </a:cxn>
              <a:cxn ang="0">
                <a:pos x="connsiteX61895" y="connsiteY61895"/>
              </a:cxn>
              <a:cxn ang="0">
                <a:pos x="connsiteX61896" y="connsiteY61896"/>
              </a:cxn>
              <a:cxn ang="0">
                <a:pos x="connsiteX61897" y="connsiteY61897"/>
              </a:cxn>
              <a:cxn ang="0">
                <a:pos x="connsiteX61898" y="connsiteY61898"/>
              </a:cxn>
              <a:cxn ang="0">
                <a:pos x="connsiteX61899" y="connsiteY61899"/>
              </a:cxn>
              <a:cxn ang="0">
                <a:pos x="connsiteX61900" y="connsiteY61900"/>
              </a:cxn>
              <a:cxn ang="0">
                <a:pos x="connsiteX61901" y="connsiteY61901"/>
              </a:cxn>
              <a:cxn ang="0">
                <a:pos x="connsiteX61902" y="connsiteY61902"/>
              </a:cxn>
              <a:cxn ang="0">
                <a:pos x="connsiteX61903" y="connsiteY61903"/>
              </a:cxn>
              <a:cxn ang="0">
                <a:pos x="connsiteX61904" y="connsiteY61904"/>
              </a:cxn>
              <a:cxn ang="0">
                <a:pos x="connsiteX61905" y="connsiteY61905"/>
              </a:cxn>
              <a:cxn ang="0">
                <a:pos x="connsiteX61906" y="connsiteY61906"/>
              </a:cxn>
              <a:cxn ang="0">
                <a:pos x="connsiteX61907" y="connsiteY61907"/>
              </a:cxn>
              <a:cxn ang="0">
                <a:pos x="connsiteX61908" y="connsiteY61908"/>
              </a:cxn>
              <a:cxn ang="0">
                <a:pos x="connsiteX61909" y="connsiteY61909"/>
              </a:cxn>
              <a:cxn ang="0">
                <a:pos x="connsiteX61910" y="connsiteY61910"/>
              </a:cxn>
              <a:cxn ang="0">
                <a:pos x="connsiteX61911" y="connsiteY61911"/>
              </a:cxn>
              <a:cxn ang="0">
                <a:pos x="connsiteX61912" y="connsiteY61912"/>
              </a:cxn>
              <a:cxn ang="0">
                <a:pos x="connsiteX61913" y="connsiteY61913"/>
              </a:cxn>
              <a:cxn ang="0">
                <a:pos x="connsiteX61914" y="connsiteY61914"/>
              </a:cxn>
              <a:cxn ang="0">
                <a:pos x="connsiteX61915" y="connsiteY61915"/>
              </a:cxn>
              <a:cxn ang="0">
                <a:pos x="connsiteX61916" y="connsiteY61916"/>
              </a:cxn>
              <a:cxn ang="0">
                <a:pos x="connsiteX61917" y="connsiteY61917"/>
              </a:cxn>
              <a:cxn ang="0">
                <a:pos x="connsiteX61918" y="connsiteY61918"/>
              </a:cxn>
              <a:cxn ang="0">
                <a:pos x="connsiteX61919" y="connsiteY61919"/>
              </a:cxn>
              <a:cxn ang="0">
                <a:pos x="connsiteX61920" y="connsiteY61920"/>
              </a:cxn>
              <a:cxn ang="0">
                <a:pos x="connsiteX61921" y="connsiteY61921"/>
              </a:cxn>
              <a:cxn ang="0">
                <a:pos x="connsiteX61922" y="connsiteY61922"/>
              </a:cxn>
              <a:cxn ang="0">
                <a:pos x="connsiteX61923" y="connsiteY61923"/>
              </a:cxn>
              <a:cxn ang="0">
                <a:pos x="connsiteX61924" y="connsiteY61924"/>
              </a:cxn>
              <a:cxn ang="0">
                <a:pos x="connsiteX61925" y="connsiteY61925"/>
              </a:cxn>
              <a:cxn ang="0">
                <a:pos x="connsiteX61926" y="connsiteY61926"/>
              </a:cxn>
              <a:cxn ang="0">
                <a:pos x="connsiteX61927" y="connsiteY61927"/>
              </a:cxn>
              <a:cxn ang="0">
                <a:pos x="connsiteX61928" y="connsiteY61928"/>
              </a:cxn>
              <a:cxn ang="0">
                <a:pos x="connsiteX61929" y="connsiteY61929"/>
              </a:cxn>
              <a:cxn ang="0">
                <a:pos x="connsiteX61930" y="connsiteY61930"/>
              </a:cxn>
              <a:cxn ang="0">
                <a:pos x="connsiteX61931" y="connsiteY61931"/>
              </a:cxn>
              <a:cxn ang="0">
                <a:pos x="connsiteX61932" y="connsiteY61932"/>
              </a:cxn>
              <a:cxn ang="0">
                <a:pos x="connsiteX61933" y="connsiteY61933"/>
              </a:cxn>
              <a:cxn ang="0">
                <a:pos x="connsiteX61934" y="connsiteY61934"/>
              </a:cxn>
              <a:cxn ang="0">
                <a:pos x="connsiteX61935" y="connsiteY61935"/>
              </a:cxn>
              <a:cxn ang="0">
                <a:pos x="connsiteX61936" y="connsiteY61936"/>
              </a:cxn>
              <a:cxn ang="0">
                <a:pos x="connsiteX61937" y="connsiteY61937"/>
              </a:cxn>
              <a:cxn ang="0">
                <a:pos x="connsiteX61938" y="connsiteY61938"/>
              </a:cxn>
              <a:cxn ang="0">
                <a:pos x="connsiteX61939" y="connsiteY61939"/>
              </a:cxn>
              <a:cxn ang="0">
                <a:pos x="connsiteX61940" y="connsiteY61940"/>
              </a:cxn>
              <a:cxn ang="0">
                <a:pos x="connsiteX61941" y="connsiteY61941"/>
              </a:cxn>
              <a:cxn ang="0">
                <a:pos x="connsiteX61942" y="connsiteY61942"/>
              </a:cxn>
              <a:cxn ang="0">
                <a:pos x="connsiteX61943" y="connsiteY61943"/>
              </a:cxn>
              <a:cxn ang="0">
                <a:pos x="connsiteX61944" y="connsiteY61944"/>
              </a:cxn>
              <a:cxn ang="0">
                <a:pos x="connsiteX61945" y="connsiteY61945"/>
              </a:cxn>
              <a:cxn ang="0">
                <a:pos x="connsiteX61946" y="connsiteY61946"/>
              </a:cxn>
              <a:cxn ang="0">
                <a:pos x="connsiteX61947" y="connsiteY61947"/>
              </a:cxn>
              <a:cxn ang="0">
                <a:pos x="connsiteX61948" y="connsiteY61948"/>
              </a:cxn>
              <a:cxn ang="0">
                <a:pos x="connsiteX61949" y="connsiteY61949"/>
              </a:cxn>
              <a:cxn ang="0">
                <a:pos x="connsiteX61950" y="connsiteY61950"/>
              </a:cxn>
              <a:cxn ang="0">
                <a:pos x="connsiteX61951" y="connsiteY61951"/>
              </a:cxn>
              <a:cxn ang="0">
                <a:pos x="connsiteX61952" y="connsiteY61952"/>
              </a:cxn>
              <a:cxn ang="0">
                <a:pos x="connsiteX61953" y="connsiteY61953"/>
              </a:cxn>
              <a:cxn ang="0">
                <a:pos x="connsiteX61954" y="connsiteY61954"/>
              </a:cxn>
              <a:cxn ang="0">
                <a:pos x="connsiteX61955" y="connsiteY61955"/>
              </a:cxn>
              <a:cxn ang="0">
                <a:pos x="connsiteX61956" y="connsiteY61956"/>
              </a:cxn>
              <a:cxn ang="0">
                <a:pos x="connsiteX61957" y="connsiteY61957"/>
              </a:cxn>
              <a:cxn ang="0">
                <a:pos x="connsiteX61958" y="connsiteY61958"/>
              </a:cxn>
              <a:cxn ang="0">
                <a:pos x="connsiteX61959" y="connsiteY61959"/>
              </a:cxn>
              <a:cxn ang="0">
                <a:pos x="connsiteX61960" y="connsiteY61960"/>
              </a:cxn>
              <a:cxn ang="0">
                <a:pos x="connsiteX61961" y="connsiteY61961"/>
              </a:cxn>
              <a:cxn ang="0">
                <a:pos x="connsiteX61962" y="connsiteY61962"/>
              </a:cxn>
              <a:cxn ang="0">
                <a:pos x="connsiteX61963" y="connsiteY61963"/>
              </a:cxn>
              <a:cxn ang="0">
                <a:pos x="connsiteX61964" y="connsiteY61964"/>
              </a:cxn>
              <a:cxn ang="0">
                <a:pos x="connsiteX61965" y="connsiteY61965"/>
              </a:cxn>
              <a:cxn ang="0">
                <a:pos x="connsiteX61966" y="connsiteY61966"/>
              </a:cxn>
              <a:cxn ang="0">
                <a:pos x="connsiteX61967" y="connsiteY61967"/>
              </a:cxn>
              <a:cxn ang="0">
                <a:pos x="connsiteX61968" y="connsiteY61968"/>
              </a:cxn>
              <a:cxn ang="0">
                <a:pos x="connsiteX61969" y="connsiteY61969"/>
              </a:cxn>
              <a:cxn ang="0">
                <a:pos x="connsiteX61970" y="connsiteY61970"/>
              </a:cxn>
              <a:cxn ang="0">
                <a:pos x="connsiteX61971" y="connsiteY61971"/>
              </a:cxn>
              <a:cxn ang="0">
                <a:pos x="connsiteX61972" y="connsiteY61972"/>
              </a:cxn>
              <a:cxn ang="0">
                <a:pos x="connsiteX61973" y="connsiteY61973"/>
              </a:cxn>
              <a:cxn ang="0">
                <a:pos x="connsiteX61974" y="connsiteY61974"/>
              </a:cxn>
              <a:cxn ang="0">
                <a:pos x="connsiteX61975" y="connsiteY61975"/>
              </a:cxn>
              <a:cxn ang="0">
                <a:pos x="connsiteX61976" y="connsiteY61976"/>
              </a:cxn>
              <a:cxn ang="0">
                <a:pos x="connsiteX61977" y="connsiteY61977"/>
              </a:cxn>
              <a:cxn ang="0">
                <a:pos x="connsiteX61978" y="connsiteY61978"/>
              </a:cxn>
              <a:cxn ang="0">
                <a:pos x="connsiteX61979" y="connsiteY61979"/>
              </a:cxn>
              <a:cxn ang="0">
                <a:pos x="connsiteX61980" y="connsiteY61980"/>
              </a:cxn>
              <a:cxn ang="0">
                <a:pos x="connsiteX61981" y="connsiteY61981"/>
              </a:cxn>
              <a:cxn ang="0">
                <a:pos x="connsiteX61982" y="connsiteY61982"/>
              </a:cxn>
              <a:cxn ang="0">
                <a:pos x="connsiteX61983" y="connsiteY61983"/>
              </a:cxn>
              <a:cxn ang="0">
                <a:pos x="connsiteX61984" y="connsiteY61984"/>
              </a:cxn>
              <a:cxn ang="0">
                <a:pos x="connsiteX61985" y="connsiteY61985"/>
              </a:cxn>
              <a:cxn ang="0">
                <a:pos x="connsiteX61986" y="connsiteY61986"/>
              </a:cxn>
              <a:cxn ang="0">
                <a:pos x="connsiteX61987" y="connsiteY61987"/>
              </a:cxn>
              <a:cxn ang="0">
                <a:pos x="connsiteX61988" y="connsiteY61988"/>
              </a:cxn>
              <a:cxn ang="0">
                <a:pos x="connsiteX61989" y="connsiteY61989"/>
              </a:cxn>
              <a:cxn ang="0">
                <a:pos x="connsiteX61990" y="connsiteY61990"/>
              </a:cxn>
              <a:cxn ang="0">
                <a:pos x="connsiteX61991" y="connsiteY61991"/>
              </a:cxn>
              <a:cxn ang="0">
                <a:pos x="connsiteX61992" y="connsiteY61992"/>
              </a:cxn>
              <a:cxn ang="0">
                <a:pos x="connsiteX61993" y="connsiteY61993"/>
              </a:cxn>
              <a:cxn ang="0">
                <a:pos x="connsiteX61994" y="connsiteY61994"/>
              </a:cxn>
              <a:cxn ang="0">
                <a:pos x="connsiteX61995" y="connsiteY61995"/>
              </a:cxn>
              <a:cxn ang="0">
                <a:pos x="connsiteX61996" y="connsiteY61996"/>
              </a:cxn>
              <a:cxn ang="0">
                <a:pos x="connsiteX61997" y="connsiteY61997"/>
              </a:cxn>
              <a:cxn ang="0">
                <a:pos x="connsiteX61998" y="connsiteY61998"/>
              </a:cxn>
              <a:cxn ang="0">
                <a:pos x="connsiteX61999" y="connsiteY61999"/>
              </a:cxn>
              <a:cxn ang="0">
                <a:pos x="connsiteX62000" y="connsiteY62000"/>
              </a:cxn>
              <a:cxn ang="0">
                <a:pos x="connsiteX62001" y="connsiteY62001"/>
              </a:cxn>
              <a:cxn ang="0">
                <a:pos x="connsiteX62002" y="connsiteY62002"/>
              </a:cxn>
              <a:cxn ang="0">
                <a:pos x="connsiteX62003" y="connsiteY62003"/>
              </a:cxn>
              <a:cxn ang="0">
                <a:pos x="connsiteX62004" y="connsiteY62004"/>
              </a:cxn>
              <a:cxn ang="0">
                <a:pos x="connsiteX62005" y="connsiteY62005"/>
              </a:cxn>
              <a:cxn ang="0">
                <a:pos x="connsiteX62006" y="connsiteY62006"/>
              </a:cxn>
              <a:cxn ang="0">
                <a:pos x="connsiteX62007" y="connsiteY62007"/>
              </a:cxn>
              <a:cxn ang="0">
                <a:pos x="connsiteX62008" y="connsiteY62008"/>
              </a:cxn>
              <a:cxn ang="0">
                <a:pos x="connsiteX62009" y="connsiteY62009"/>
              </a:cxn>
              <a:cxn ang="0">
                <a:pos x="connsiteX62010" y="connsiteY62010"/>
              </a:cxn>
              <a:cxn ang="0">
                <a:pos x="connsiteX62011" y="connsiteY62011"/>
              </a:cxn>
              <a:cxn ang="0">
                <a:pos x="connsiteX62012" y="connsiteY62012"/>
              </a:cxn>
              <a:cxn ang="0">
                <a:pos x="connsiteX62013" y="connsiteY62013"/>
              </a:cxn>
              <a:cxn ang="0">
                <a:pos x="connsiteX62014" y="connsiteY62014"/>
              </a:cxn>
              <a:cxn ang="0">
                <a:pos x="connsiteX62015" y="connsiteY62015"/>
              </a:cxn>
              <a:cxn ang="0">
                <a:pos x="connsiteX62016" y="connsiteY62016"/>
              </a:cxn>
              <a:cxn ang="0">
                <a:pos x="connsiteX62017" y="connsiteY62017"/>
              </a:cxn>
              <a:cxn ang="0">
                <a:pos x="connsiteX62018" y="connsiteY62018"/>
              </a:cxn>
              <a:cxn ang="0">
                <a:pos x="connsiteX62019" y="connsiteY62019"/>
              </a:cxn>
              <a:cxn ang="0">
                <a:pos x="connsiteX62020" y="connsiteY62020"/>
              </a:cxn>
              <a:cxn ang="0">
                <a:pos x="connsiteX62021" y="connsiteY62021"/>
              </a:cxn>
              <a:cxn ang="0">
                <a:pos x="connsiteX62022" y="connsiteY62022"/>
              </a:cxn>
              <a:cxn ang="0">
                <a:pos x="connsiteX62023" y="connsiteY62023"/>
              </a:cxn>
              <a:cxn ang="0">
                <a:pos x="connsiteX62024" y="connsiteY62024"/>
              </a:cxn>
              <a:cxn ang="0">
                <a:pos x="connsiteX62025" y="connsiteY62025"/>
              </a:cxn>
              <a:cxn ang="0">
                <a:pos x="connsiteX62026" y="connsiteY62026"/>
              </a:cxn>
              <a:cxn ang="0">
                <a:pos x="connsiteX62027" y="connsiteY62027"/>
              </a:cxn>
              <a:cxn ang="0">
                <a:pos x="connsiteX62028" y="connsiteY62028"/>
              </a:cxn>
              <a:cxn ang="0">
                <a:pos x="connsiteX62029" y="connsiteY62029"/>
              </a:cxn>
              <a:cxn ang="0">
                <a:pos x="connsiteX62030" y="connsiteY62030"/>
              </a:cxn>
              <a:cxn ang="0">
                <a:pos x="connsiteX62031" y="connsiteY62031"/>
              </a:cxn>
              <a:cxn ang="0">
                <a:pos x="connsiteX62032" y="connsiteY62032"/>
              </a:cxn>
              <a:cxn ang="0">
                <a:pos x="connsiteX62033" y="connsiteY62033"/>
              </a:cxn>
              <a:cxn ang="0">
                <a:pos x="connsiteX62034" y="connsiteY62034"/>
              </a:cxn>
              <a:cxn ang="0">
                <a:pos x="connsiteX62035" y="connsiteY62035"/>
              </a:cxn>
              <a:cxn ang="0">
                <a:pos x="connsiteX62036" y="connsiteY62036"/>
              </a:cxn>
              <a:cxn ang="0">
                <a:pos x="connsiteX62037" y="connsiteY62037"/>
              </a:cxn>
              <a:cxn ang="0">
                <a:pos x="connsiteX62038" y="connsiteY62038"/>
              </a:cxn>
              <a:cxn ang="0">
                <a:pos x="connsiteX62039" y="connsiteY62039"/>
              </a:cxn>
              <a:cxn ang="0">
                <a:pos x="connsiteX62040" y="connsiteY62040"/>
              </a:cxn>
              <a:cxn ang="0">
                <a:pos x="connsiteX62041" y="connsiteY62041"/>
              </a:cxn>
              <a:cxn ang="0">
                <a:pos x="connsiteX62042" y="connsiteY62042"/>
              </a:cxn>
              <a:cxn ang="0">
                <a:pos x="connsiteX62043" y="connsiteY62043"/>
              </a:cxn>
              <a:cxn ang="0">
                <a:pos x="connsiteX62044" y="connsiteY62044"/>
              </a:cxn>
              <a:cxn ang="0">
                <a:pos x="connsiteX62045" y="connsiteY62045"/>
              </a:cxn>
              <a:cxn ang="0">
                <a:pos x="connsiteX62046" y="connsiteY62046"/>
              </a:cxn>
              <a:cxn ang="0">
                <a:pos x="connsiteX62047" y="connsiteY62047"/>
              </a:cxn>
              <a:cxn ang="0">
                <a:pos x="connsiteX62048" y="connsiteY62048"/>
              </a:cxn>
              <a:cxn ang="0">
                <a:pos x="connsiteX62049" y="connsiteY62049"/>
              </a:cxn>
              <a:cxn ang="0">
                <a:pos x="connsiteX62050" y="connsiteY62050"/>
              </a:cxn>
              <a:cxn ang="0">
                <a:pos x="connsiteX62051" y="connsiteY62051"/>
              </a:cxn>
              <a:cxn ang="0">
                <a:pos x="connsiteX62052" y="connsiteY62052"/>
              </a:cxn>
              <a:cxn ang="0">
                <a:pos x="connsiteX62053" y="connsiteY62053"/>
              </a:cxn>
              <a:cxn ang="0">
                <a:pos x="connsiteX62054" y="connsiteY62054"/>
              </a:cxn>
              <a:cxn ang="0">
                <a:pos x="connsiteX62055" y="connsiteY62055"/>
              </a:cxn>
              <a:cxn ang="0">
                <a:pos x="connsiteX62056" y="connsiteY62056"/>
              </a:cxn>
              <a:cxn ang="0">
                <a:pos x="connsiteX62057" y="connsiteY62057"/>
              </a:cxn>
              <a:cxn ang="0">
                <a:pos x="connsiteX62058" y="connsiteY62058"/>
              </a:cxn>
              <a:cxn ang="0">
                <a:pos x="connsiteX62059" y="connsiteY62059"/>
              </a:cxn>
              <a:cxn ang="0">
                <a:pos x="connsiteX62060" y="connsiteY62060"/>
              </a:cxn>
              <a:cxn ang="0">
                <a:pos x="connsiteX62061" y="connsiteY62061"/>
              </a:cxn>
              <a:cxn ang="0">
                <a:pos x="connsiteX62062" y="connsiteY62062"/>
              </a:cxn>
              <a:cxn ang="0">
                <a:pos x="connsiteX62063" y="connsiteY62063"/>
              </a:cxn>
              <a:cxn ang="0">
                <a:pos x="connsiteX62064" y="connsiteY62064"/>
              </a:cxn>
              <a:cxn ang="0">
                <a:pos x="connsiteX62065" y="connsiteY62065"/>
              </a:cxn>
              <a:cxn ang="0">
                <a:pos x="connsiteX62066" y="connsiteY62066"/>
              </a:cxn>
              <a:cxn ang="0">
                <a:pos x="connsiteX62067" y="connsiteY62067"/>
              </a:cxn>
              <a:cxn ang="0">
                <a:pos x="connsiteX62068" y="connsiteY62068"/>
              </a:cxn>
              <a:cxn ang="0">
                <a:pos x="connsiteX62069" y="connsiteY62069"/>
              </a:cxn>
              <a:cxn ang="0">
                <a:pos x="connsiteX62070" y="connsiteY62070"/>
              </a:cxn>
              <a:cxn ang="0">
                <a:pos x="connsiteX62071" y="connsiteY62071"/>
              </a:cxn>
              <a:cxn ang="0">
                <a:pos x="connsiteX62072" y="connsiteY62072"/>
              </a:cxn>
              <a:cxn ang="0">
                <a:pos x="connsiteX62073" y="connsiteY62073"/>
              </a:cxn>
              <a:cxn ang="0">
                <a:pos x="connsiteX62074" y="connsiteY62074"/>
              </a:cxn>
              <a:cxn ang="0">
                <a:pos x="connsiteX62075" y="connsiteY62075"/>
              </a:cxn>
              <a:cxn ang="0">
                <a:pos x="connsiteX62076" y="connsiteY62076"/>
              </a:cxn>
              <a:cxn ang="0">
                <a:pos x="connsiteX62077" y="connsiteY62077"/>
              </a:cxn>
              <a:cxn ang="0">
                <a:pos x="connsiteX62078" y="connsiteY62078"/>
              </a:cxn>
              <a:cxn ang="0">
                <a:pos x="connsiteX62079" y="connsiteY62079"/>
              </a:cxn>
              <a:cxn ang="0">
                <a:pos x="connsiteX62080" y="connsiteY62080"/>
              </a:cxn>
              <a:cxn ang="0">
                <a:pos x="connsiteX62081" y="connsiteY62081"/>
              </a:cxn>
              <a:cxn ang="0">
                <a:pos x="connsiteX62082" y="connsiteY62082"/>
              </a:cxn>
              <a:cxn ang="0">
                <a:pos x="connsiteX62083" y="connsiteY62083"/>
              </a:cxn>
              <a:cxn ang="0">
                <a:pos x="connsiteX62084" y="connsiteY62084"/>
              </a:cxn>
              <a:cxn ang="0">
                <a:pos x="connsiteX62085" y="connsiteY62085"/>
              </a:cxn>
              <a:cxn ang="0">
                <a:pos x="connsiteX62086" y="connsiteY62086"/>
              </a:cxn>
              <a:cxn ang="0">
                <a:pos x="connsiteX62087" y="connsiteY62087"/>
              </a:cxn>
              <a:cxn ang="0">
                <a:pos x="connsiteX62088" y="connsiteY62088"/>
              </a:cxn>
              <a:cxn ang="0">
                <a:pos x="connsiteX62089" y="connsiteY62089"/>
              </a:cxn>
              <a:cxn ang="0">
                <a:pos x="connsiteX62090" y="connsiteY62090"/>
              </a:cxn>
              <a:cxn ang="0">
                <a:pos x="connsiteX62091" y="connsiteY62091"/>
              </a:cxn>
              <a:cxn ang="0">
                <a:pos x="connsiteX62092" y="connsiteY62092"/>
              </a:cxn>
              <a:cxn ang="0">
                <a:pos x="connsiteX62093" y="connsiteY62093"/>
              </a:cxn>
              <a:cxn ang="0">
                <a:pos x="connsiteX62094" y="connsiteY62094"/>
              </a:cxn>
              <a:cxn ang="0">
                <a:pos x="connsiteX62095" y="connsiteY62095"/>
              </a:cxn>
              <a:cxn ang="0">
                <a:pos x="connsiteX62096" y="connsiteY62096"/>
              </a:cxn>
              <a:cxn ang="0">
                <a:pos x="connsiteX62097" y="connsiteY62097"/>
              </a:cxn>
              <a:cxn ang="0">
                <a:pos x="connsiteX62098" y="connsiteY62098"/>
              </a:cxn>
              <a:cxn ang="0">
                <a:pos x="connsiteX62099" y="connsiteY62099"/>
              </a:cxn>
              <a:cxn ang="0">
                <a:pos x="connsiteX62100" y="connsiteY62100"/>
              </a:cxn>
              <a:cxn ang="0">
                <a:pos x="connsiteX62101" y="connsiteY62101"/>
              </a:cxn>
              <a:cxn ang="0">
                <a:pos x="connsiteX62102" y="connsiteY62102"/>
              </a:cxn>
              <a:cxn ang="0">
                <a:pos x="connsiteX62103" y="connsiteY62103"/>
              </a:cxn>
              <a:cxn ang="0">
                <a:pos x="connsiteX62104" y="connsiteY62104"/>
              </a:cxn>
              <a:cxn ang="0">
                <a:pos x="connsiteX62105" y="connsiteY62105"/>
              </a:cxn>
              <a:cxn ang="0">
                <a:pos x="connsiteX62106" y="connsiteY62106"/>
              </a:cxn>
              <a:cxn ang="0">
                <a:pos x="connsiteX62107" y="connsiteY62107"/>
              </a:cxn>
              <a:cxn ang="0">
                <a:pos x="connsiteX62108" y="connsiteY62108"/>
              </a:cxn>
              <a:cxn ang="0">
                <a:pos x="connsiteX62109" y="connsiteY62109"/>
              </a:cxn>
              <a:cxn ang="0">
                <a:pos x="connsiteX62110" y="connsiteY62110"/>
              </a:cxn>
              <a:cxn ang="0">
                <a:pos x="connsiteX62111" y="connsiteY62111"/>
              </a:cxn>
              <a:cxn ang="0">
                <a:pos x="connsiteX62112" y="connsiteY62112"/>
              </a:cxn>
              <a:cxn ang="0">
                <a:pos x="connsiteX62113" y="connsiteY62113"/>
              </a:cxn>
              <a:cxn ang="0">
                <a:pos x="connsiteX62114" y="connsiteY62114"/>
              </a:cxn>
              <a:cxn ang="0">
                <a:pos x="connsiteX62115" y="connsiteY62115"/>
              </a:cxn>
              <a:cxn ang="0">
                <a:pos x="connsiteX62116" y="connsiteY62116"/>
              </a:cxn>
              <a:cxn ang="0">
                <a:pos x="connsiteX62117" y="connsiteY62117"/>
              </a:cxn>
              <a:cxn ang="0">
                <a:pos x="connsiteX62118" y="connsiteY62118"/>
              </a:cxn>
              <a:cxn ang="0">
                <a:pos x="connsiteX62119" y="connsiteY62119"/>
              </a:cxn>
              <a:cxn ang="0">
                <a:pos x="connsiteX62120" y="connsiteY62120"/>
              </a:cxn>
              <a:cxn ang="0">
                <a:pos x="connsiteX62121" y="connsiteY62121"/>
              </a:cxn>
              <a:cxn ang="0">
                <a:pos x="connsiteX62122" y="connsiteY62122"/>
              </a:cxn>
              <a:cxn ang="0">
                <a:pos x="connsiteX62123" y="connsiteY62123"/>
              </a:cxn>
              <a:cxn ang="0">
                <a:pos x="connsiteX62124" y="connsiteY62124"/>
              </a:cxn>
              <a:cxn ang="0">
                <a:pos x="connsiteX62125" y="connsiteY62125"/>
              </a:cxn>
              <a:cxn ang="0">
                <a:pos x="connsiteX62126" y="connsiteY62126"/>
              </a:cxn>
              <a:cxn ang="0">
                <a:pos x="connsiteX62127" y="connsiteY62127"/>
              </a:cxn>
              <a:cxn ang="0">
                <a:pos x="connsiteX62128" y="connsiteY62128"/>
              </a:cxn>
              <a:cxn ang="0">
                <a:pos x="connsiteX62129" y="connsiteY62129"/>
              </a:cxn>
              <a:cxn ang="0">
                <a:pos x="connsiteX62130" y="connsiteY62130"/>
              </a:cxn>
              <a:cxn ang="0">
                <a:pos x="connsiteX62131" y="connsiteY62131"/>
              </a:cxn>
              <a:cxn ang="0">
                <a:pos x="connsiteX62132" y="connsiteY62132"/>
              </a:cxn>
              <a:cxn ang="0">
                <a:pos x="connsiteX62133" y="connsiteY62133"/>
              </a:cxn>
              <a:cxn ang="0">
                <a:pos x="connsiteX62134" y="connsiteY62134"/>
              </a:cxn>
              <a:cxn ang="0">
                <a:pos x="connsiteX62135" y="connsiteY62135"/>
              </a:cxn>
              <a:cxn ang="0">
                <a:pos x="connsiteX62136" y="connsiteY62136"/>
              </a:cxn>
              <a:cxn ang="0">
                <a:pos x="connsiteX62137" y="connsiteY62137"/>
              </a:cxn>
              <a:cxn ang="0">
                <a:pos x="connsiteX62138" y="connsiteY62138"/>
              </a:cxn>
              <a:cxn ang="0">
                <a:pos x="connsiteX62139" y="connsiteY62139"/>
              </a:cxn>
              <a:cxn ang="0">
                <a:pos x="connsiteX62140" y="connsiteY62140"/>
              </a:cxn>
              <a:cxn ang="0">
                <a:pos x="connsiteX62141" y="connsiteY62141"/>
              </a:cxn>
              <a:cxn ang="0">
                <a:pos x="connsiteX62142" y="connsiteY62142"/>
              </a:cxn>
              <a:cxn ang="0">
                <a:pos x="connsiteX62143" y="connsiteY62143"/>
              </a:cxn>
              <a:cxn ang="0">
                <a:pos x="connsiteX62144" y="connsiteY62144"/>
              </a:cxn>
              <a:cxn ang="0">
                <a:pos x="connsiteX62145" y="connsiteY62145"/>
              </a:cxn>
              <a:cxn ang="0">
                <a:pos x="connsiteX62146" y="connsiteY62146"/>
              </a:cxn>
              <a:cxn ang="0">
                <a:pos x="connsiteX62147" y="connsiteY62147"/>
              </a:cxn>
              <a:cxn ang="0">
                <a:pos x="connsiteX62148" y="connsiteY62148"/>
              </a:cxn>
              <a:cxn ang="0">
                <a:pos x="connsiteX62149" y="connsiteY62149"/>
              </a:cxn>
              <a:cxn ang="0">
                <a:pos x="connsiteX62150" y="connsiteY62150"/>
              </a:cxn>
              <a:cxn ang="0">
                <a:pos x="connsiteX62151" y="connsiteY62151"/>
              </a:cxn>
              <a:cxn ang="0">
                <a:pos x="connsiteX62152" y="connsiteY62152"/>
              </a:cxn>
              <a:cxn ang="0">
                <a:pos x="connsiteX62153" y="connsiteY62153"/>
              </a:cxn>
              <a:cxn ang="0">
                <a:pos x="connsiteX62154" y="connsiteY62154"/>
              </a:cxn>
              <a:cxn ang="0">
                <a:pos x="connsiteX62155" y="connsiteY62155"/>
              </a:cxn>
              <a:cxn ang="0">
                <a:pos x="connsiteX62156" y="connsiteY62156"/>
              </a:cxn>
              <a:cxn ang="0">
                <a:pos x="connsiteX62157" y="connsiteY62157"/>
              </a:cxn>
              <a:cxn ang="0">
                <a:pos x="connsiteX62158" y="connsiteY62158"/>
              </a:cxn>
              <a:cxn ang="0">
                <a:pos x="connsiteX62159" y="connsiteY62159"/>
              </a:cxn>
              <a:cxn ang="0">
                <a:pos x="connsiteX62160" y="connsiteY62160"/>
              </a:cxn>
              <a:cxn ang="0">
                <a:pos x="connsiteX62161" y="connsiteY62161"/>
              </a:cxn>
              <a:cxn ang="0">
                <a:pos x="connsiteX62162" y="connsiteY62162"/>
              </a:cxn>
              <a:cxn ang="0">
                <a:pos x="connsiteX62163" y="connsiteY62163"/>
              </a:cxn>
              <a:cxn ang="0">
                <a:pos x="connsiteX62164" y="connsiteY62164"/>
              </a:cxn>
              <a:cxn ang="0">
                <a:pos x="connsiteX62165" y="connsiteY62165"/>
              </a:cxn>
              <a:cxn ang="0">
                <a:pos x="connsiteX62166" y="connsiteY62166"/>
              </a:cxn>
              <a:cxn ang="0">
                <a:pos x="connsiteX62167" y="connsiteY62167"/>
              </a:cxn>
              <a:cxn ang="0">
                <a:pos x="connsiteX62168" y="connsiteY62168"/>
              </a:cxn>
              <a:cxn ang="0">
                <a:pos x="connsiteX62169" y="connsiteY62169"/>
              </a:cxn>
              <a:cxn ang="0">
                <a:pos x="connsiteX62170" y="connsiteY62170"/>
              </a:cxn>
              <a:cxn ang="0">
                <a:pos x="connsiteX62171" y="connsiteY62171"/>
              </a:cxn>
              <a:cxn ang="0">
                <a:pos x="connsiteX62172" y="connsiteY62172"/>
              </a:cxn>
              <a:cxn ang="0">
                <a:pos x="connsiteX62173" y="connsiteY62173"/>
              </a:cxn>
              <a:cxn ang="0">
                <a:pos x="connsiteX62174" y="connsiteY62174"/>
              </a:cxn>
              <a:cxn ang="0">
                <a:pos x="connsiteX62175" y="connsiteY62175"/>
              </a:cxn>
              <a:cxn ang="0">
                <a:pos x="connsiteX62176" y="connsiteY62176"/>
              </a:cxn>
              <a:cxn ang="0">
                <a:pos x="connsiteX62177" y="connsiteY62177"/>
              </a:cxn>
              <a:cxn ang="0">
                <a:pos x="connsiteX62178" y="connsiteY62178"/>
              </a:cxn>
              <a:cxn ang="0">
                <a:pos x="connsiteX62179" y="connsiteY62179"/>
              </a:cxn>
              <a:cxn ang="0">
                <a:pos x="connsiteX62180" y="connsiteY62180"/>
              </a:cxn>
              <a:cxn ang="0">
                <a:pos x="connsiteX62181" y="connsiteY62181"/>
              </a:cxn>
              <a:cxn ang="0">
                <a:pos x="connsiteX62182" y="connsiteY62182"/>
              </a:cxn>
              <a:cxn ang="0">
                <a:pos x="connsiteX62183" y="connsiteY62183"/>
              </a:cxn>
              <a:cxn ang="0">
                <a:pos x="connsiteX62184" y="connsiteY62184"/>
              </a:cxn>
              <a:cxn ang="0">
                <a:pos x="connsiteX62185" y="connsiteY62185"/>
              </a:cxn>
              <a:cxn ang="0">
                <a:pos x="connsiteX62186" y="connsiteY62186"/>
              </a:cxn>
              <a:cxn ang="0">
                <a:pos x="connsiteX62187" y="connsiteY62187"/>
              </a:cxn>
              <a:cxn ang="0">
                <a:pos x="connsiteX62188" y="connsiteY62188"/>
              </a:cxn>
              <a:cxn ang="0">
                <a:pos x="connsiteX62189" y="connsiteY62189"/>
              </a:cxn>
              <a:cxn ang="0">
                <a:pos x="connsiteX62190" y="connsiteY62190"/>
              </a:cxn>
              <a:cxn ang="0">
                <a:pos x="connsiteX62191" y="connsiteY62191"/>
              </a:cxn>
              <a:cxn ang="0">
                <a:pos x="connsiteX62192" y="connsiteY62192"/>
              </a:cxn>
              <a:cxn ang="0">
                <a:pos x="connsiteX62193" y="connsiteY62193"/>
              </a:cxn>
              <a:cxn ang="0">
                <a:pos x="connsiteX62194" y="connsiteY62194"/>
              </a:cxn>
              <a:cxn ang="0">
                <a:pos x="connsiteX62195" y="connsiteY62195"/>
              </a:cxn>
              <a:cxn ang="0">
                <a:pos x="connsiteX62196" y="connsiteY62196"/>
              </a:cxn>
              <a:cxn ang="0">
                <a:pos x="connsiteX62197" y="connsiteY62197"/>
              </a:cxn>
              <a:cxn ang="0">
                <a:pos x="connsiteX62198" y="connsiteY62198"/>
              </a:cxn>
              <a:cxn ang="0">
                <a:pos x="connsiteX62199" y="connsiteY62199"/>
              </a:cxn>
              <a:cxn ang="0">
                <a:pos x="connsiteX62200" y="connsiteY62200"/>
              </a:cxn>
              <a:cxn ang="0">
                <a:pos x="connsiteX62201" y="connsiteY62201"/>
              </a:cxn>
              <a:cxn ang="0">
                <a:pos x="connsiteX62202" y="connsiteY62202"/>
              </a:cxn>
              <a:cxn ang="0">
                <a:pos x="connsiteX62203" y="connsiteY62203"/>
              </a:cxn>
              <a:cxn ang="0">
                <a:pos x="connsiteX62204" y="connsiteY62204"/>
              </a:cxn>
              <a:cxn ang="0">
                <a:pos x="connsiteX62205" y="connsiteY62205"/>
              </a:cxn>
              <a:cxn ang="0">
                <a:pos x="connsiteX62206" y="connsiteY62206"/>
              </a:cxn>
              <a:cxn ang="0">
                <a:pos x="connsiteX62207" y="connsiteY62207"/>
              </a:cxn>
              <a:cxn ang="0">
                <a:pos x="connsiteX62208" y="connsiteY62208"/>
              </a:cxn>
              <a:cxn ang="0">
                <a:pos x="connsiteX62209" y="connsiteY62209"/>
              </a:cxn>
              <a:cxn ang="0">
                <a:pos x="connsiteX62210" y="connsiteY62210"/>
              </a:cxn>
              <a:cxn ang="0">
                <a:pos x="connsiteX62211" y="connsiteY62211"/>
              </a:cxn>
              <a:cxn ang="0">
                <a:pos x="connsiteX62212" y="connsiteY62212"/>
              </a:cxn>
              <a:cxn ang="0">
                <a:pos x="connsiteX62213" y="connsiteY62213"/>
              </a:cxn>
              <a:cxn ang="0">
                <a:pos x="connsiteX62214" y="connsiteY62214"/>
              </a:cxn>
              <a:cxn ang="0">
                <a:pos x="connsiteX62215" y="connsiteY62215"/>
              </a:cxn>
              <a:cxn ang="0">
                <a:pos x="connsiteX62216" y="connsiteY62216"/>
              </a:cxn>
              <a:cxn ang="0">
                <a:pos x="connsiteX62217" y="connsiteY62217"/>
              </a:cxn>
              <a:cxn ang="0">
                <a:pos x="connsiteX62218" y="connsiteY62218"/>
              </a:cxn>
              <a:cxn ang="0">
                <a:pos x="connsiteX62219" y="connsiteY62219"/>
              </a:cxn>
              <a:cxn ang="0">
                <a:pos x="connsiteX62220" y="connsiteY62220"/>
              </a:cxn>
              <a:cxn ang="0">
                <a:pos x="connsiteX62221" y="connsiteY62221"/>
              </a:cxn>
              <a:cxn ang="0">
                <a:pos x="connsiteX62222" y="connsiteY62222"/>
              </a:cxn>
              <a:cxn ang="0">
                <a:pos x="connsiteX62223" y="connsiteY62223"/>
              </a:cxn>
              <a:cxn ang="0">
                <a:pos x="connsiteX62224" y="connsiteY62224"/>
              </a:cxn>
              <a:cxn ang="0">
                <a:pos x="connsiteX62225" y="connsiteY62225"/>
              </a:cxn>
              <a:cxn ang="0">
                <a:pos x="connsiteX62226" y="connsiteY62226"/>
              </a:cxn>
              <a:cxn ang="0">
                <a:pos x="connsiteX62227" y="connsiteY62227"/>
              </a:cxn>
              <a:cxn ang="0">
                <a:pos x="connsiteX62228" y="connsiteY62228"/>
              </a:cxn>
              <a:cxn ang="0">
                <a:pos x="connsiteX62229" y="connsiteY62229"/>
              </a:cxn>
              <a:cxn ang="0">
                <a:pos x="connsiteX62230" y="connsiteY62230"/>
              </a:cxn>
              <a:cxn ang="0">
                <a:pos x="connsiteX62231" y="connsiteY62231"/>
              </a:cxn>
              <a:cxn ang="0">
                <a:pos x="connsiteX62232" y="connsiteY62232"/>
              </a:cxn>
              <a:cxn ang="0">
                <a:pos x="connsiteX62233" y="connsiteY62233"/>
              </a:cxn>
              <a:cxn ang="0">
                <a:pos x="connsiteX62234" y="connsiteY62234"/>
              </a:cxn>
              <a:cxn ang="0">
                <a:pos x="connsiteX62235" y="connsiteY62235"/>
              </a:cxn>
              <a:cxn ang="0">
                <a:pos x="connsiteX62236" y="connsiteY62236"/>
              </a:cxn>
              <a:cxn ang="0">
                <a:pos x="connsiteX62237" y="connsiteY62237"/>
              </a:cxn>
              <a:cxn ang="0">
                <a:pos x="connsiteX62238" y="connsiteY62238"/>
              </a:cxn>
              <a:cxn ang="0">
                <a:pos x="connsiteX62239" y="connsiteY62239"/>
              </a:cxn>
              <a:cxn ang="0">
                <a:pos x="connsiteX62240" y="connsiteY62240"/>
              </a:cxn>
              <a:cxn ang="0">
                <a:pos x="connsiteX62241" y="connsiteY62241"/>
              </a:cxn>
              <a:cxn ang="0">
                <a:pos x="connsiteX62242" y="connsiteY62242"/>
              </a:cxn>
              <a:cxn ang="0">
                <a:pos x="connsiteX62243" y="connsiteY62243"/>
              </a:cxn>
              <a:cxn ang="0">
                <a:pos x="connsiteX62244" y="connsiteY62244"/>
              </a:cxn>
              <a:cxn ang="0">
                <a:pos x="connsiteX62245" y="connsiteY62245"/>
              </a:cxn>
              <a:cxn ang="0">
                <a:pos x="connsiteX62246" y="connsiteY62246"/>
              </a:cxn>
              <a:cxn ang="0">
                <a:pos x="connsiteX62247" y="connsiteY62247"/>
              </a:cxn>
              <a:cxn ang="0">
                <a:pos x="connsiteX62248" y="connsiteY62248"/>
              </a:cxn>
              <a:cxn ang="0">
                <a:pos x="connsiteX62249" y="connsiteY62249"/>
              </a:cxn>
              <a:cxn ang="0">
                <a:pos x="connsiteX62250" y="connsiteY62250"/>
              </a:cxn>
              <a:cxn ang="0">
                <a:pos x="connsiteX62251" y="connsiteY62251"/>
              </a:cxn>
              <a:cxn ang="0">
                <a:pos x="connsiteX62252" y="connsiteY62252"/>
              </a:cxn>
              <a:cxn ang="0">
                <a:pos x="connsiteX62253" y="connsiteY62253"/>
              </a:cxn>
              <a:cxn ang="0">
                <a:pos x="connsiteX62254" y="connsiteY62254"/>
              </a:cxn>
              <a:cxn ang="0">
                <a:pos x="connsiteX62255" y="connsiteY62255"/>
              </a:cxn>
              <a:cxn ang="0">
                <a:pos x="connsiteX62256" y="connsiteY62256"/>
              </a:cxn>
              <a:cxn ang="0">
                <a:pos x="connsiteX62257" y="connsiteY62257"/>
              </a:cxn>
              <a:cxn ang="0">
                <a:pos x="connsiteX62258" y="connsiteY62258"/>
              </a:cxn>
              <a:cxn ang="0">
                <a:pos x="connsiteX62259" y="connsiteY62259"/>
              </a:cxn>
              <a:cxn ang="0">
                <a:pos x="connsiteX62260" y="connsiteY62260"/>
              </a:cxn>
              <a:cxn ang="0">
                <a:pos x="connsiteX62261" y="connsiteY62261"/>
              </a:cxn>
              <a:cxn ang="0">
                <a:pos x="connsiteX62262" y="connsiteY62262"/>
              </a:cxn>
              <a:cxn ang="0">
                <a:pos x="connsiteX62263" y="connsiteY62263"/>
              </a:cxn>
              <a:cxn ang="0">
                <a:pos x="connsiteX62264" y="connsiteY62264"/>
              </a:cxn>
              <a:cxn ang="0">
                <a:pos x="connsiteX62265" y="connsiteY62265"/>
              </a:cxn>
              <a:cxn ang="0">
                <a:pos x="connsiteX62266" y="connsiteY62266"/>
              </a:cxn>
              <a:cxn ang="0">
                <a:pos x="connsiteX62267" y="connsiteY62267"/>
              </a:cxn>
              <a:cxn ang="0">
                <a:pos x="connsiteX62268" y="connsiteY62268"/>
              </a:cxn>
              <a:cxn ang="0">
                <a:pos x="connsiteX62269" y="connsiteY62269"/>
              </a:cxn>
              <a:cxn ang="0">
                <a:pos x="connsiteX62270" y="connsiteY62270"/>
              </a:cxn>
              <a:cxn ang="0">
                <a:pos x="connsiteX62271" y="connsiteY62271"/>
              </a:cxn>
              <a:cxn ang="0">
                <a:pos x="connsiteX62272" y="connsiteY62272"/>
              </a:cxn>
              <a:cxn ang="0">
                <a:pos x="connsiteX62273" y="connsiteY62273"/>
              </a:cxn>
              <a:cxn ang="0">
                <a:pos x="connsiteX62274" y="connsiteY62274"/>
              </a:cxn>
              <a:cxn ang="0">
                <a:pos x="connsiteX62275" y="connsiteY62275"/>
              </a:cxn>
              <a:cxn ang="0">
                <a:pos x="connsiteX62276" y="connsiteY62276"/>
              </a:cxn>
              <a:cxn ang="0">
                <a:pos x="connsiteX62277" y="connsiteY62277"/>
              </a:cxn>
              <a:cxn ang="0">
                <a:pos x="connsiteX62278" y="connsiteY62278"/>
              </a:cxn>
              <a:cxn ang="0">
                <a:pos x="connsiteX62279" y="connsiteY62279"/>
              </a:cxn>
              <a:cxn ang="0">
                <a:pos x="connsiteX62280" y="connsiteY62280"/>
              </a:cxn>
              <a:cxn ang="0">
                <a:pos x="connsiteX62281" y="connsiteY62281"/>
              </a:cxn>
              <a:cxn ang="0">
                <a:pos x="connsiteX62282" y="connsiteY62282"/>
              </a:cxn>
              <a:cxn ang="0">
                <a:pos x="connsiteX62283" y="connsiteY62283"/>
              </a:cxn>
              <a:cxn ang="0">
                <a:pos x="connsiteX62284" y="connsiteY62284"/>
              </a:cxn>
              <a:cxn ang="0">
                <a:pos x="connsiteX62285" y="connsiteY62285"/>
              </a:cxn>
              <a:cxn ang="0">
                <a:pos x="connsiteX62286" y="connsiteY62286"/>
              </a:cxn>
              <a:cxn ang="0">
                <a:pos x="connsiteX62287" y="connsiteY62287"/>
              </a:cxn>
              <a:cxn ang="0">
                <a:pos x="connsiteX62288" y="connsiteY62288"/>
              </a:cxn>
              <a:cxn ang="0">
                <a:pos x="connsiteX62289" y="connsiteY62289"/>
              </a:cxn>
              <a:cxn ang="0">
                <a:pos x="connsiteX62290" y="connsiteY62290"/>
              </a:cxn>
              <a:cxn ang="0">
                <a:pos x="connsiteX62291" y="connsiteY62291"/>
              </a:cxn>
              <a:cxn ang="0">
                <a:pos x="connsiteX62292" y="connsiteY62292"/>
              </a:cxn>
              <a:cxn ang="0">
                <a:pos x="connsiteX62293" y="connsiteY62293"/>
              </a:cxn>
              <a:cxn ang="0">
                <a:pos x="connsiteX62294" y="connsiteY62294"/>
              </a:cxn>
              <a:cxn ang="0">
                <a:pos x="connsiteX62295" y="connsiteY62295"/>
              </a:cxn>
              <a:cxn ang="0">
                <a:pos x="connsiteX62296" y="connsiteY62296"/>
              </a:cxn>
              <a:cxn ang="0">
                <a:pos x="connsiteX62297" y="connsiteY62297"/>
              </a:cxn>
              <a:cxn ang="0">
                <a:pos x="connsiteX62298" y="connsiteY62298"/>
              </a:cxn>
              <a:cxn ang="0">
                <a:pos x="connsiteX62299" y="connsiteY62299"/>
              </a:cxn>
              <a:cxn ang="0">
                <a:pos x="connsiteX62300" y="connsiteY62300"/>
              </a:cxn>
              <a:cxn ang="0">
                <a:pos x="connsiteX62301" y="connsiteY62301"/>
              </a:cxn>
              <a:cxn ang="0">
                <a:pos x="connsiteX62302" y="connsiteY62302"/>
              </a:cxn>
              <a:cxn ang="0">
                <a:pos x="connsiteX62303" y="connsiteY62303"/>
              </a:cxn>
              <a:cxn ang="0">
                <a:pos x="connsiteX62304" y="connsiteY62304"/>
              </a:cxn>
              <a:cxn ang="0">
                <a:pos x="connsiteX62305" y="connsiteY62305"/>
              </a:cxn>
              <a:cxn ang="0">
                <a:pos x="connsiteX62306" y="connsiteY62306"/>
              </a:cxn>
              <a:cxn ang="0">
                <a:pos x="connsiteX62307" y="connsiteY62307"/>
              </a:cxn>
              <a:cxn ang="0">
                <a:pos x="connsiteX62308" y="connsiteY62308"/>
              </a:cxn>
              <a:cxn ang="0">
                <a:pos x="connsiteX62309" y="connsiteY62309"/>
              </a:cxn>
              <a:cxn ang="0">
                <a:pos x="connsiteX62310" y="connsiteY62310"/>
              </a:cxn>
              <a:cxn ang="0">
                <a:pos x="connsiteX62311" y="connsiteY62311"/>
              </a:cxn>
              <a:cxn ang="0">
                <a:pos x="connsiteX62312" y="connsiteY62312"/>
              </a:cxn>
              <a:cxn ang="0">
                <a:pos x="connsiteX62313" y="connsiteY62313"/>
              </a:cxn>
              <a:cxn ang="0">
                <a:pos x="connsiteX62314" y="connsiteY62314"/>
              </a:cxn>
              <a:cxn ang="0">
                <a:pos x="connsiteX62315" y="connsiteY62315"/>
              </a:cxn>
              <a:cxn ang="0">
                <a:pos x="connsiteX62316" y="connsiteY62316"/>
              </a:cxn>
              <a:cxn ang="0">
                <a:pos x="connsiteX62317" y="connsiteY62317"/>
              </a:cxn>
              <a:cxn ang="0">
                <a:pos x="connsiteX62318" y="connsiteY62318"/>
              </a:cxn>
              <a:cxn ang="0">
                <a:pos x="connsiteX62319" y="connsiteY62319"/>
              </a:cxn>
              <a:cxn ang="0">
                <a:pos x="connsiteX62320" y="connsiteY62320"/>
              </a:cxn>
              <a:cxn ang="0">
                <a:pos x="connsiteX62321" y="connsiteY62321"/>
              </a:cxn>
              <a:cxn ang="0">
                <a:pos x="connsiteX62322" y="connsiteY62322"/>
              </a:cxn>
              <a:cxn ang="0">
                <a:pos x="connsiteX62323" y="connsiteY62323"/>
              </a:cxn>
              <a:cxn ang="0">
                <a:pos x="connsiteX62324" y="connsiteY62324"/>
              </a:cxn>
              <a:cxn ang="0">
                <a:pos x="connsiteX62325" y="connsiteY62325"/>
              </a:cxn>
              <a:cxn ang="0">
                <a:pos x="connsiteX62326" y="connsiteY62326"/>
              </a:cxn>
              <a:cxn ang="0">
                <a:pos x="connsiteX62327" y="connsiteY62327"/>
              </a:cxn>
              <a:cxn ang="0">
                <a:pos x="connsiteX62328" y="connsiteY62328"/>
              </a:cxn>
              <a:cxn ang="0">
                <a:pos x="connsiteX62329" y="connsiteY62329"/>
              </a:cxn>
              <a:cxn ang="0">
                <a:pos x="connsiteX62330" y="connsiteY62330"/>
              </a:cxn>
              <a:cxn ang="0">
                <a:pos x="connsiteX62331" y="connsiteY62331"/>
              </a:cxn>
              <a:cxn ang="0">
                <a:pos x="connsiteX62332" y="connsiteY62332"/>
              </a:cxn>
              <a:cxn ang="0">
                <a:pos x="connsiteX62333" y="connsiteY62333"/>
              </a:cxn>
              <a:cxn ang="0">
                <a:pos x="connsiteX62334" y="connsiteY62334"/>
              </a:cxn>
              <a:cxn ang="0">
                <a:pos x="connsiteX62335" y="connsiteY62335"/>
              </a:cxn>
              <a:cxn ang="0">
                <a:pos x="connsiteX62336" y="connsiteY62336"/>
              </a:cxn>
              <a:cxn ang="0">
                <a:pos x="connsiteX62337" y="connsiteY62337"/>
              </a:cxn>
              <a:cxn ang="0">
                <a:pos x="connsiteX62338" y="connsiteY62338"/>
              </a:cxn>
              <a:cxn ang="0">
                <a:pos x="connsiteX62339" y="connsiteY62339"/>
              </a:cxn>
              <a:cxn ang="0">
                <a:pos x="connsiteX62340" y="connsiteY62340"/>
              </a:cxn>
              <a:cxn ang="0">
                <a:pos x="connsiteX62341" y="connsiteY62341"/>
              </a:cxn>
              <a:cxn ang="0">
                <a:pos x="connsiteX62342" y="connsiteY62342"/>
              </a:cxn>
              <a:cxn ang="0">
                <a:pos x="connsiteX62343" y="connsiteY62343"/>
              </a:cxn>
              <a:cxn ang="0">
                <a:pos x="connsiteX62344" y="connsiteY62344"/>
              </a:cxn>
              <a:cxn ang="0">
                <a:pos x="connsiteX62345" y="connsiteY62345"/>
              </a:cxn>
              <a:cxn ang="0">
                <a:pos x="connsiteX62346" y="connsiteY62346"/>
              </a:cxn>
              <a:cxn ang="0">
                <a:pos x="connsiteX62347" y="connsiteY62347"/>
              </a:cxn>
              <a:cxn ang="0">
                <a:pos x="connsiteX62348" y="connsiteY62348"/>
              </a:cxn>
              <a:cxn ang="0">
                <a:pos x="connsiteX62349" y="connsiteY62349"/>
              </a:cxn>
              <a:cxn ang="0">
                <a:pos x="connsiteX62350" y="connsiteY62350"/>
              </a:cxn>
              <a:cxn ang="0">
                <a:pos x="connsiteX62351" y="connsiteY62351"/>
              </a:cxn>
              <a:cxn ang="0">
                <a:pos x="connsiteX62352" y="connsiteY62352"/>
              </a:cxn>
              <a:cxn ang="0">
                <a:pos x="connsiteX62353" y="connsiteY62353"/>
              </a:cxn>
              <a:cxn ang="0">
                <a:pos x="connsiteX62354" y="connsiteY62354"/>
              </a:cxn>
              <a:cxn ang="0">
                <a:pos x="connsiteX62355" y="connsiteY62355"/>
              </a:cxn>
              <a:cxn ang="0">
                <a:pos x="connsiteX62356" y="connsiteY62356"/>
              </a:cxn>
              <a:cxn ang="0">
                <a:pos x="connsiteX62357" y="connsiteY62357"/>
              </a:cxn>
              <a:cxn ang="0">
                <a:pos x="connsiteX62358" y="connsiteY62358"/>
              </a:cxn>
              <a:cxn ang="0">
                <a:pos x="connsiteX62359" y="connsiteY62359"/>
              </a:cxn>
              <a:cxn ang="0">
                <a:pos x="connsiteX62360" y="connsiteY62360"/>
              </a:cxn>
              <a:cxn ang="0">
                <a:pos x="connsiteX62361" y="connsiteY62361"/>
              </a:cxn>
              <a:cxn ang="0">
                <a:pos x="connsiteX62362" y="connsiteY62362"/>
              </a:cxn>
              <a:cxn ang="0">
                <a:pos x="connsiteX62363" y="connsiteY62363"/>
              </a:cxn>
              <a:cxn ang="0">
                <a:pos x="connsiteX62364" y="connsiteY62364"/>
              </a:cxn>
              <a:cxn ang="0">
                <a:pos x="connsiteX62365" y="connsiteY62365"/>
              </a:cxn>
              <a:cxn ang="0">
                <a:pos x="connsiteX62366" y="connsiteY62366"/>
              </a:cxn>
              <a:cxn ang="0">
                <a:pos x="connsiteX62367" y="connsiteY62367"/>
              </a:cxn>
              <a:cxn ang="0">
                <a:pos x="connsiteX62368" y="connsiteY62368"/>
              </a:cxn>
              <a:cxn ang="0">
                <a:pos x="connsiteX62369" y="connsiteY62369"/>
              </a:cxn>
              <a:cxn ang="0">
                <a:pos x="connsiteX62370" y="connsiteY62370"/>
              </a:cxn>
              <a:cxn ang="0">
                <a:pos x="connsiteX62371" y="connsiteY62371"/>
              </a:cxn>
              <a:cxn ang="0">
                <a:pos x="connsiteX62372" y="connsiteY62372"/>
              </a:cxn>
              <a:cxn ang="0">
                <a:pos x="connsiteX62373" y="connsiteY62373"/>
              </a:cxn>
              <a:cxn ang="0">
                <a:pos x="connsiteX62374" y="connsiteY62374"/>
              </a:cxn>
              <a:cxn ang="0">
                <a:pos x="connsiteX62375" y="connsiteY62375"/>
              </a:cxn>
              <a:cxn ang="0">
                <a:pos x="connsiteX62376" y="connsiteY62376"/>
              </a:cxn>
              <a:cxn ang="0">
                <a:pos x="connsiteX62377" y="connsiteY62377"/>
              </a:cxn>
              <a:cxn ang="0">
                <a:pos x="connsiteX62378" y="connsiteY62378"/>
              </a:cxn>
              <a:cxn ang="0">
                <a:pos x="connsiteX62379" y="connsiteY62379"/>
              </a:cxn>
              <a:cxn ang="0">
                <a:pos x="connsiteX62380" y="connsiteY62380"/>
              </a:cxn>
              <a:cxn ang="0">
                <a:pos x="connsiteX62381" y="connsiteY62381"/>
              </a:cxn>
              <a:cxn ang="0">
                <a:pos x="connsiteX62382" y="connsiteY62382"/>
              </a:cxn>
              <a:cxn ang="0">
                <a:pos x="connsiteX62383" y="connsiteY62383"/>
              </a:cxn>
              <a:cxn ang="0">
                <a:pos x="connsiteX62384" y="connsiteY62384"/>
              </a:cxn>
              <a:cxn ang="0">
                <a:pos x="connsiteX62385" y="connsiteY62385"/>
              </a:cxn>
              <a:cxn ang="0">
                <a:pos x="connsiteX62386" y="connsiteY62386"/>
              </a:cxn>
              <a:cxn ang="0">
                <a:pos x="connsiteX62387" y="connsiteY62387"/>
              </a:cxn>
              <a:cxn ang="0">
                <a:pos x="connsiteX62388" y="connsiteY62388"/>
              </a:cxn>
              <a:cxn ang="0">
                <a:pos x="connsiteX62389" y="connsiteY62389"/>
              </a:cxn>
              <a:cxn ang="0">
                <a:pos x="connsiteX62390" y="connsiteY62390"/>
              </a:cxn>
              <a:cxn ang="0">
                <a:pos x="connsiteX62391" y="connsiteY62391"/>
              </a:cxn>
              <a:cxn ang="0">
                <a:pos x="connsiteX62392" y="connsiteY62392"/>
              </a:cxn>
              <a:cxn ang="0">
                <a:pos x="connsiteX62393" y="connsiteY62393"/>
              </a:cxn>
              <a:cxn ang="0">
                <a:pos x="connsiteX62394" y="connsiteY62394"/>
              </a:cxn>
              <a:cxn ang="0">
                <a:pos x="connsiteX62395" y="connsiteY62395"/>
              </a:cxn>
              <a:cxn ang="0">
                <a:pos x="connsiteX62396" y="connsiteY62396"/>
              </a:cxn>
              <a:cxn ang="0">
                <a:pos x="connsiteX62397" y="connsiteY62397"/>
              </a:cxn>
              <a:cxn ang="0">
                <a:pos x="connsiteX62398" y="connsiteY62398"/>
              </a:cxn>
              <a:cxn ang="0">
                <a:pos x="connsiteX62399" y="connsiteY62399"/>
              </a:cxn>
              <a:cxn ang="0">
                <a:pos x="connsiteX62400" y="connsiteY62400"/>
              </a:cxn>
              <a:cxn ang="0">
                <a:pos x="connsiteX62401" y="connsiteY62401"/>
              </a:cxn>
              <a:cxn ang="0">
                <a:pos x="connsiteX62402" y="connsiteY62402"/>
              </a:cxn>
              <a:cxn ang="0">
                <a:pos x="connsiteX62403" y="connsiteY62403"/>
              </a:cxn>
              <a:cxn ang="0">
                <a:pos x="connsiteX62404" y="connsiteY62404"/>
              </a:cxn>
              <a:cxn ang="0">
                <a:pos x="connsiteX62405" y="connsiteY62405"/>
              </a:cxn>
              <a:cxn ang="0">
                <a:pos x="connsiteX62406" y="connsiteY62406"/>
              </a:cxn>
              <a:cxn ang="0">
                <a:pos x="connsiteX62407" y="connsiteY62407"/>
              </a:cxn>
              <a:cxn ang="0">
                <a:pos x="connsiteX62408" y="connsiteY62408"/>
              </a:cxn>
              <a:cxn ang="0">
                <a:pos x="connsiteX62409" y="connsiteY62409"/>
              </a:cxn>
              <a:cxn ang="0">
                <a:pos x="connsiteX62410" y="connsiteY62410"/>
              </a:cxn>
              <a:cxn ang="0">
                <a:pos x="connsiteX62411" y="connsiteY62411"/>
              </a:cxn>
              <a:cxn ang="0">
                <a:pos x="connsiteX62412" y="connsiteY62412"/>
              </a:cxn>
              <a:cxn ang="0">
                <a:pos x="connsiteX62413" y="connsiteY62413"/>
              </a:cxn>
              <a:cxn ang="0">
                <a:pos x="connsiteX62414" y="connsiteY62414"/>
              </a:cxn>
              <a:cxn ang="0">
                <a:pos x="connsiteX62415" y="connsiteY62415"/>
              </a:cxn>
              <a:cxn ang="0">
                <a:pos x="connsiteX62416" y="connsiteY62416"/>
              </a:cxn>
              <a:cxn ang="0">
                <a:pos x="connsiteX62417" y="connsiteY62417"/>
              </a:cxn>
              <a:cxn ang="0">
                <a:pos x="connsiteX62418" y="connsiteY62418"/>
              </a:cxn>
              <a:cxn ang="0">
                <a:pos x="connsiteX62419" y="connsiteY62419"/>
              </a:cxn>
              <a:cxn ang="0">
                <a:pos x="connsiteX62420" y="connsiteY62420"/>
              </a:cxn>
              <a:cxn ang="0">
                <a:pos x="connsiteX62421" y="connsiteY62421"/>
              </a:cxn>
              <a:cxn ang="0">
                <a:pos x="connsiteX62422" y="connsiteY62422"/>
              </a:cxn>
              <a:cxn ang="0">
                <a:pos x="connsiteX62423" y="connsiteY62423"/>
              </a:cxn>
              <a:cxn ang="0">
                <a:pos x="connsiteX62424" y="connsiteY62424"/>
              </a:cxn>
              <a:cxn ang="0">
                <a:pos x="connsiteX62425" y="connsiteY62425"/>
              </a:cxn>
              <a:cxn ang="0">
                <a:pos x="connsiteX62426" y="connsiteY62426"/>
              </a:cxn>
              <a:cxn ang="0">
                <a:pos x="connsiteX62427" y="connsiteY62427"/>
              </a:cxn>
              <a:cxn ang="0">
                <a:pos x="connsiteX62428" y="connsiteY62428"/>
              </a:cxn>
              <a:cxn ang="0">
                <a:pos x="connsiteX62429" y="connsiteY62429"/>
              </a:cxn>
              <a:cxn ang="0">
                <a:pos x="connsiteX62430" y="connsiteY62430"/>
              </a:cxn>
              <a:cxn ang="0">
                <a:pos x="connsiteX62431" y="connsiteY62431"/>
              </a:cxn>
              <a:cxn ang="0">
                <a:pos x="connsiteX62432" y="connsiteY62432"/>
              </a:cxn>
              <a:cxn ang="0">
                <a:pos x="connsiteX62433" y="connsiteY62433"/>
              </a:cxn>
              <a:cxn ang="0">
                <a:pos x="connsiteX62434" y="connsiteY62434"/>
              </a:cxn>
              <a:cxn ang="0">
                <a:pos x="connsiteX62435" y="connsiteY62435"/>
              </a:cxn>
              <a:cxn ang="0">
                <a:pos x="connsiteX62436" y="connsiteY62436"/>
              </a:cxn>
              <a:cxn ang="0">
                <a:pos x="connsiteX62437" y="connsiteY62437"/>
              </a:cxn>
              <a:cxn ang="0">
                <a:pos x="connsiteX62438" y="connsiteY62438"/>
              </a:cxn>
              <a:cxn ang="0">
                <a:pos x="connsiteX62439" y="connsiteY62439"/>
              </a:cxn>
              <a:cxn ang="0">
                <a:pos x="connsiteX62440" y="connsiteY62440"/>
              </a:cxn>
              <a:cxn ang="0">
                <a:pos x="connsiteX62441" y="connsiteY62441"/>
              </a:cxn>
              <a:cxn ang="0">
                <a:pos x="connsiteX62442" y="connsiteY62442"/>
              </a:cxn>
              <a:cxn ang="0">
                <a:pos x="connsiteX62443" y="connsiteY62443"/>
              </a:cxn>
              <a:cxn ang="0">
                <a:pos x="connsiteX62444" y="connsiteY62444"/>
              </a:cxn>
              <a:cxn ang="0">
                <a:pos x="connsiteX62445" y="connsiteY62445"/>
              </a:cxn>
              <a:cxn ang="0">
                <a:pos x="connsiteX62446" y="connsiteY62446"/>
              </a:cxn>
              <a:cxn ang="0">
                <a:pos x="connsiteX62447" y="connsiteY62447"/>
              </a:cxn>
              <a:cxn ang="0">
                <a:pos x="connsiteX62448" y="connsiteY62448"/>
              </a:cxn>
              <a:cxn ang="0">
                <a:pos x="connsiteX62449" y="connsiteY62449"/>
              </a:cxn>
              <a:cxn ang="0">
                <a:pos x="connsiteX62450" y="connsiteY62450"/>
              </a:cxn>
              <a:cxn ang="0">
                <a:pos x="connsiteX62451" y="connsiteY62451"/>
              </a:cxn>
              <a:cxn ang="0">
                <a:pos x="connsiteX62452" y="connsiteY62452"/>
              </a:cxn>
              <a:cxn ang="0">
                <a:pos x="connsiteX62453" y="connsiteY62453"/>
              </a:cxn>
              <a:cxn ang="0">
                <a:pos x="connsiteX62454" y="connsiteY62454"/>
              </a:cxn>
              <a:cxn ang="0">
                <a:pos x="connsiteX62455" y="connsiteY62455"/>
              </a:cxn>
              <a:cxn ang="0">
                <a:pos x="connsiteX62456" y="connsiteY62456"/>
              </a:cxn>
              <a:cxn ang="0">
                <a:pos x="connsiteX62457" y="connsiteY62457"/>
              </a:cxn>
              <a:cxn ang="0">
                <a:pos x="connsiteX62458" y="connsiteY62458"/>
              </a:cxn>
              <a:cxn ang="0">
                <a:pos x="connsiteX62459" y="connsiteY62459"/>
              </a:cxn>
              <a:cxn ang="0">
                <a:pos x="connsiteX62460" y="connsiteY62460"/>
              </a:cxn>
              <a:cxn ang="0">
                <a:pos x="connsiteX62461" y="connsiteY62461"/>
              </a:cxn>
              <a:cxn ang="0">
                <a:pos x="connsiteX62462" y="connsiteY62462"/>
              </a:cxn>
              <a:cxn ang="0">
                <a:pos x="connsiteX62463" y="connsiteY62463"/>
              </a:cxn>
              <a:cxn ang="0">
                <a:pos x="connsiteX62464" y="connsiteY62464"/>
              </a:cxn>
              <a:cxn ang="0">
                <a:pos x="connsiteX62465" y="connsiteY62465"/>
              </a:cxn>
              <a:cxn ang="0">
                <a:pos x="connsiteX62466" y="connsiteY62466"/>
              </a:cxn>
              <a:cxn ang="0">
                <a:pos x="connsiteX62467" y="connsiteY62467"/>
              </a:cxn>
              <a:cxn ang="0">
                <a:pos x="connsiteX62468" y="connsiteY62468"/>
              </a:cxn>
              <a:cxn ang="0">
                <a:pos x="connsiteX62469" y="connsiteY62469"/>
              </a:cxn>
              <a:cxn ang="0">
                <a:pos x="connsiteX62470" y="connsiteY62470"/>
              </a:cxn>
              <a:cxn ang="0">
                <a:pos x="connsiteX62471" y="connsiteY62471"/>
              </a:cxn>
              <a:cxn ang="0">
                <a:pos x="connsiteX62472" y="connsiteY62472"/>
              </a:cxn>
              <a:cxn ang="0">
                <a:pos x="connsiteX62473" y="connsiteY62473"/>
              </a:cxn>
              <a:cxn ang="0">
                <a:pos x="connsiteX62474" y="connsiteY62474"/>
              </a:cxn>
              <a:cxn ang="0">
                <a:pos x="connsiteX62475" y="connsiteY62475"/>
              </a:cxn>
              <a:cxn ang="0">
                <a:pos x="connsiteX62476" y="connsiteY62476"/>
              </a:cxn>
              <a:cxn ang="0">
                <a:pos x="connsiteX62477" y="connsiteY62477"/>
              </a:cxn>
              <a:cxn ang="0">
                <a:pos x="connsiteX62478" y="connsiteY62478"/>
              </a:cxn>
              <a:cxn ang="0">
                <a:pos x="connsiteX62479" y="connsiteY62479"/>
              </a:cxn>
              <a:cxn ang="0">
                <a:pos x="connsiteX62480" y="connsiteY62480"/>
              </a:cxn>
              <a:cxn ang="0">
                <a:pos x="connsiteX62481" y="connsiteY62481"/>
              </a:cxn>
              <a:cxn ang="0">
                <a:pos x="connsiteX62482" y="connsiteY62482"/>
              </a:cxn>
              <a:cxn ang="0">
                <a:pos x="connsiteX62483" y="connsiteY62483"/>
              </a:cxn>
              <a:cxn ang="0">
                <a:pos x="connsiteX62484" y="connsiteY62484"/>
              </a:cxn>
              <a:cxn ang="0">
                <a:pos x="connsiteX62485" y="connsiteY62485"/>
              </a:cxn>
              <a:cxn ang="0">
                <a:pos x="connsiteX62486" y="connsiteY62486"/>
              </a:cxn>
              <a:cxn ang="0">
                <a:pos x="connsiteX62487" y="connsiteY62487"/>
              </a:cxn>
              <a:cxn ang="0">
                <a:pos x="connsiteX62488" y="connsiteY62488"/>
              </a:cxn>
              <a:cxn ang="0">
                <a:pos x="connsiteX62489" y="connsiteY62489"/>
              </a:cxn>
              <a:cxn ang="0">
                <a:pos x="connsiteX62490" y="connsiteY62490"/>
              </a:cxn>
              <a:cxn ang="0">
                <a:pos x="connsiteX62491" y="connsiteY62491"/>
              </a:cxn>
              <a:cxn ang="0">
                <a:pos x="connsiteX62492" y="connsiteY62492"/>
              </a:cxn>
              <a:cxn ang="0">
                <a:pos x="connsiteX62493" y="connsiteY62493"/>
              </a:cxn>
              <a:cxn ang="0">
                <a:pos x="connsiteX62494" y="connsiteY62494"/>
              </a:cxn>
              <a:cxn ang="0">
                <a:pos x="connsiteX62495" y="connsiteY62495"/>
              </a:cxn>
              <a:cxn ang="0">
                <a:pos x="connsiteX62496" y="connsiteY62496"/>
              </a:cxn>
              <a:cxn ang="0">
                <a:pos x="connsiteX62497" y="connsiteY62497"/>
              </a:cxn>
              <a:cxn ang="0">
                <a:pos x="connsiteX62498" y="connsiteY62498"/>
              </a:cxn>
              <a:cxn ang="0">
                <a:pos x="connsiteX62499" y="connsiteY62499"/>
              </a:cxn>
              <a:cxn ang="0">
                <a:pos x="connsiteX62500" y="connsiteY62500"/>
              </a:cxn>
              <a:cxn ang="0">
                <a:pos x="connsiteX62501" y="connsiteY62501"/>
              </a:cxn>
              <a:cxn ang="0">
                <a:pos x="connsiteX62502" y="connsiteY62502"/>
              </a:cxn>
              <a:cxn ang="0">
                <a:pos x="connsiteX62503" y="connsiteY62503"/>
              </a:cxn>
              <a:cxn ang="0">
                <a:pos x="connsiteX62504" y="connsiteY62504"/>
              </a:cxn>
              <a:cxn ang="0">
                <a:pos x="connsiteX62505" y="connsiteY62505"/>
              </a:cxn>
              <a:cxn ang="0">
                <a:pos x="connsiteX62506" y="connsiteY62506"/>
              </a:cxn>
              <a:cxn ang="0">
                <a:pos x="connsiteX62507" y="connsiteY62507"/>
              </a:cxn>
              <a:cxn ang="0">
                <a:pos x="connsiteX62508" y="connsiteY62508"/>
              </a:cxn>
              <a:cxn ang="0">
                <a:pos x="connsiteX62509" y="connsiteY62509"/>
              </a:cxn>
              <a:cxn ang="0">
                <a:pos x="connsiteX62510" y="connsiteY62510"/>
              </a:cxn>
              <a:cxn ang="0">
                <a:pos x="connsiteX62511" y="connsiteY62511"/>
              </a:cxn>
              <a:cxn ang="0">
                <a:pos x="connsiteX62512" y="connsiteY62512"/>
              </a:cxn>
              <a:cxn ang="0">
                <a:pos x="connsiteX62513" y="connsiteY62513"/>
              </a:cxn>
              <a:cxn ang="0">
                <a:pos x="connsiteX62514" y="connsiteY62514"/>
              </a:cxn>
              <a:cxn ang="0">
                <a:pos x="connsiteX62515" y="connsiteY62515"/>
              </a:cxn>
              <a:cxn ang="0">
                <a:pos x="connsiteX62516" y="connsiteY62516"/>
              </a:cxn>
              <a:cxn ang="0">
                <a:pos x="connsiteX62517" y="connsiteY62517"/>
              </a:cxn>
              <a:cxn ang="0">
                <a:pos x="connsiteX62518" y="connsiteY62518"/>
              </a:cxn>
              <a:cxn ang="0">
                <a:pos x="connsiteX62519" y="connsiteY62519"/>
              </a:cxn>
              <a:cxn ang="0">
                <a:pos x="connsiteX62520" y="connsiteY62520"/>
              </a:cxn>
              <a:cxn ang="0">
                <a:pos x="connsiteX62521" y="connsiteY62521"/>
              </a:cxn>
              <a:cxn ang="0">
                <a:pos x="connsiteX62522" y="connsiteY62522"/>
              </a:cxn>
              <a:cxn ang="0">
                <a:pos x="connsiteX62523" y="connsiteY62523"/>
              </a:cxn>
              <a:cxn ang="0">
                <a:pos x="connsiteX62524" y="connsiteY62524"/>
              </a:cxn>
              <a:cxn ang="0">
                <a:pos x="connsiteX62525" y="connsiteY62525"/>
              </a:cxn>
              <a:cxn ang="0">
                <a:pos x="connsiteX62526" y="connsiteY62526"/>
              </a:cxn>
              <a:cxn ang="0">
                <a:pos x="connsiteX62527" y="connsiteY62527"/>
              </a:cxn>
              <a:cxn ang="0">
                <a:pos x="connsiteX62528" y="connsiteY62528"/>
              </a:cxn>
              <a:cxn ang="0">
                <a:pos x="connsiteX62529" y="connsiteY62529"/>
              </a:cxn>
              <a:cxn ang="0">
                <a:pos x="connsiteX62530" y="connsiteY62530"/>
              </a:cxn>
              <a:cxn ang="0">
                <a:pos x="connsiteX62531" y="connsiteY62531"/>
              </a:cxn>
              <a:cxn ang="0">
                <a:pos x="connsiteX62532" y="connsiteY62532"/>
              </a:cxn>
              <a:cxn ang="0">
                <a:pos x="connsiteX62533" y="connsiteY62533"/>
              </a:cxn>
              <a:cxn ang="0">
                <a:pos x="connsiteX62534" y="connsiteY62534"/>
              </a:cxn>
              <a:cxn ang="0">
                <a:pos x="connsiteX62535" y="connsiteY62535"/>
              </a:cxn>
              <a:cxn ang="0">
                <a:pos x="connsiteX62536" y="connsiteY62536"/>
              </a:cxn>
              <a:cxn ang="0">
                <a:pos x="connsiteX62537" y="connsiteY62537"/>
              </a:cxn>
              <a:cxn ang="0">
                <a:pos x="connsiteX62538" y="connsiteY62538"/>
              </a:cxn>
              <a:cxn ang="0">
                <a:pos x="connsiteX62539" y="connsiteY62539"/>
              </a:cxn>
              <a:cxn ang="0">
                <a:pos x="connsiteX62540" y="connsiteY62540"/>
              </a:cxn>
              <a:cxn ang="0">
                <a:pos x="connsiteX62541" y="connsiteY62541"/>
              </a:cxn>
              <a:cxn ang="0">
                <a:pos x="connsiteX62542" y="connsiteY62542"/>
              </a:cxn>
              <a:cxn ang="0">
                <a:pos x="connsiteX62543" y="connsiteY62543"/>
              </a:cxn>
              <a:cxn ang="0">
                <a:pos x="connsiteX62544" y="connsiteY62544"/>
              </a:cxn>
              <a:cxn ang="0">
                <a:pos x="connsiteX62545" y="connsiteY62545"/>
              </a:cxn>
              <a:cxn ang="0">
                <a:pos x="connsiteX62546" y="connsiteY62546"/>
              </a:cxn>
              <a:cxn ang="0">
                <a:pos x="connsiteX62547" y="connsiteY62547"/>
              </a:cxn>
              <a:cxn ang="0">
                <a:pos x="connsiteX62548" y="connsiteY62548"/>
              </a:cxn>
              <a:cxn ang="0">
                <a:pos x="connsiteX62549" y="connsiteY62549"/>
              </a:cxn>
              <a:cxn ang="0">
                <a:pos x="connsiteX62550" y="connsiteY62550"/>
              </a:cxn>
              <a:cxn ang="0">
                <a:pos x="connsiteX62551" y="connsiteY62551"/>
              </a:cxn>
              <a:cxn ang="0">
                <a:pos x="connsiteX62552" y="connsiteY62552"/>
              </a:cxn>
              <a:cxn ang="0">
                <a:pos x="connsiteX62553" y="connsiteY62553"/>
              </a:cxn>
              <a:cxn ang="0">
                <a:pos x="connsiteX62554" y="connsiteY62554"/>
              </a:cxn>
              <a:cxn ang="0">
                <a:pos x="connsiteX62555" y="connsiteY62555"/>
              </a:cxn>
              <a:cxn ang="0">
                <a:pos x="connsiteX62556" y="connsiteY62556"/>
              </a:cxn>
              <a:cxn ang="0">
                <a:pos x="connsiteX62557" y="connsiteY62557"/>
              </a:cxn>
              <a:cxn ang="0">
                <a:pos x="connsiteX62558" y="connsiteY62558"/>
              </a:cxn>
              <a:cxn ang="0">
                <a:pos x="connsiteX62559" y="connsiteY62559"/>
              </a:cxn>
              <a:cxn ang="0">
                <a:pos x="connsiteX62560" y="connsiteY62560"/>
              </a:cxn>
              <a:cxn ang="0">
                <a:pos x="connsiteX62561" y="connsiteY62561"/>
              </a:cxn>
              <a:cxn ang="0">
                <a:pos x="connsiteX62562" y="connsiteY62562"/>
              </a:cxn>
              <a:cxn ang="0">
                <a:pos x="connsiteX62563" y="connsiteY62563"/>
              </a:cxn>
              <a:cxn ang="0">
                <a:pos x="connsiteX62564" y="connsiteY62564"/>
              </a:cxn>
              <a:cxn ang="0">
                <a:pos x="connsiteX62565" y="connsiteY62565"/>
              </a:cxn>
              <a:cxn ang="0">
                <a:pos x="connsiteX62566" y="connsiteY62566"/>
              </a:cxn>
              <a:cxn ang="0">
                <a:pos x="connsiteX62567" y="connsiteY62567"/>
              </a:cxn>
              <a:cxn ang="0">
                <a:pos x="connsiteX62568" y="connsiteY62568"/>
              </a:cxn>
              <a:cxn ang="0">
                <a:pos x="connsiteX62569" y="connsiteY62569"/>
              </a:cxn>
              <a:cxn ang="0">
                <a:pos x="connsiteX62570" y="connsiteY62570"/>
              </a:cxn>
              <a:cxn ang="0">
                <a:pos x="connsiteX62571" y="connsiteY62571"/>
              </a:cxn>
              <a:cxn ang="0">
                <a:pos x="connsiteX62572" y="connsiteY62572"/>
              </a:cxn>
              <a:cxn ang="0">
                <a:pos x="connsiteX62573" y="connsiteY62573"/>
              </a:cxn>
              <a:cxn ang="0">
                <a:pos x="connsiteX62574" y="connsiteY62574"/>
              </a:cxn>
              <a:cxn ang="0">
                <a:pos x="connsiteX62575" y="connsiteY62575"/>
              </a:cxn>
              <a:cxn ang="0">
                <a:pos x="connsiteX62576" y="connsiteY62576"/>
              </a:cxn>
              <a:cxn ang="0">
                <a:pos x="connsiteX62577" y="connsiteY62577"/>
              </a:cxn>
              <a:cxn ang="0">
                <a:pos x="connsiteX62578" y="connsiteY62578"/>
              </a:cxn>
              <a:cxn ang="0">
                <a:pos x="connsiteX62579" y="connsiteY62579"/>
              </a:cxn>
              <a:cxn ang="0">
                <a:pos x="connsiteX62580" y="connsiteY62580"/>
              </a:cxn>
              <a:cxn ang="0">
                <a:pos x="connsiteX62581" y="connsiteY62581"/>
              </a:cxn>
              <a:cxn ang="0">
                <a:pos x="connsiteX62582" y="connsiteY62582"/>
              </a:cxn>
              <a:cxn ang="0">
                <a:pos x="connsiteX62583" y="connsiteY62583"/>
              </a:cxn>
              <a:cxn ang="0">
                <a:pos x="connsiteX62584" y="connsiteY62584"/>
              </a:cxn>
              <a:cxn ang="0">
                <a:pos x="connsiteX62585" y="connsiteY62585"/>
              </a:cxn>
              <a:cxn ang="0">
                <a:pos x="connsiteX62586" y="connsiteY62586"/>
              </a:cxn>
              <a:cxn ang="0">
                <a:pos x="connsiteX62587" y="connsiteY62587"/>
              </a:cxn>
              <a:cxn ang="0">
                <a:pos x="connsiteX62588" y="connsiteY62588"/>
              </a:cxn>
              <a:cxn ang="0">
                <a:pos x="connsiteX62589" y="connsiteY62589"/>
              </a:cxn>
              <a:cxn ang="0">
                <a:pos x="connsiteX62590" y="connsiteY62590"/>
              </a:cxn>
              <a:cxn ang="0">
                <a:pos x="connsiteX62591" y="connsiteY62591"/>
              </a:cxn>
              <a:cxn ang="0">
                <a:pos x="connsiteX62592" y="connsiteY62592"/>
              </a:cxn>
              <a:cxn ang="0">
                <a:pos x="connsiteX62593" y="connsiteY62593"/>
              </a:cxn>
              <a:cxn ang="0">
                <a:pos x="connsiteX62594" y="connsiteY62594"/>
              </a:cxn>
              <a:cxn ang="0">
                <a:pos x="connsiteX62595" y="connsiteY62595"/>
              </a:cxn>
              <a:cxn ang="0">
                <a:pos x="connsiteX62596" y="connsiteY62596"/>
              </a:cxn>
              <a:cxn ang="0">
                <a:pos x="connsiteX62597" y="connsiteY62597"/>
              </a:cxn>
              <a:cxn ang="0">
                <a:pos x="connsiteX62598" y="connsiteY62598"/>
              </a:cxn>
              <a:cxn ang="0">
                <a:pos x="connsiteX62599" y="connsiteY62599"/>
              </a:cxn>
              <a:cxn ang="0">
                <a:pos x="connsiteX62600" y="connsiteY62600"/>
              </a:cxn>
              <a:cxn ang="0">
                <a:pos x="connsiteX62601" y="connsiteY62601"/>
              </a:cxn>
              <a:cxn ang="0">
                <a:pos x="connsiteX62602" y="connsiteY62602"/>
              </a:cxn>
              <a:cxn ang="0">
                <a:pos x="connsiteX62603" y="connsiteY62603"/>
              </a:cxn>
              <a:cxn ang="0">
                <a:pos x="connsiteX62604" y="connsiteY62604"/>
              </a:cxn>
              <a:cxn ang="0">
                <a:pos x="connsiteX62605" y="connsiteY62605"/>
              </a:cxn>
              <a:cxn ang="0">
                <a:pos x="connsiteX62606" y="connsiteY62606"/>
              </a:cxn>
              <a:cxn ang="0">
                <a:pos x="connsiteX62607" y="connsiteY62607"/>
              </a:cxn>
              <a:cxn ang="0">
                <a:pos x="connsiteX62608" y="connsiteY62608"/>
              </a:cxn>
              <a:cxn ang="0">
                <a:pos x="connsiteX62609" y="connsiteY62609"/>
              </a:cxn>
              <a:cxn ang="0">
                <a:pos x="connsiteX62610" y="connsiteY62610"/>
              </a:cxn>
              <a:cxn ang="0">
                <a:pos x="connsiteX62611" y="connsiteY62611"/>
              </a:cxn>
              <a:cxn ang="0">
                <a:pos x="connsiteX62612" y="connsiteY62612"/>
              </a:cxn>
              <a:cxn ang="0">
                <a:pos x="connsiteX62613" y="connsiteY62613"/>
              </a:cxn>
              <a:cxn ang="0">
                <a:pos x="connsiteX62614" y="connsiteY62614"/>
              </a:cxn>
              <a:cxn ang="0">
                <a:pos x="connsiteX62615" y="connsiteY62615"/>
              </a:cxn>
              <a:cxn ang="0">
                <a:pos x="connsiteX62616" y="connsiteY62616"/>
              </a:cxn>
              <a:cxn ang="0">
                <a:pos x="connsiteX62617" y="connsiteY62617"/>
              </a:cxn>
              <a:cxn ang="0">
                <a:pos x="connsiteX62618" y="connsiteY62618"/>
              </a:cxn>
              <a:cxn ang="0">
                <a:pos x="connsiteX62619" y="connsiteY62619"/>
              </a:cxn>
              <a:cxn ang="0">
                <a:pos x="connsiteX62620" y="connsiteY62620"/>
              </a:cxn>
              <a:cxn ang="0">
                <a:pos x="connsiteX62621" y="connsiteY62621"/>
              </a:cxn>
              <a:cxn ang="0">
                <a:pos x="connsiteX62622" y="connsiteY62622"/>
              </a:cxn>
              <a:cxn ang="0">
                <a:pos x="connsiteX62623" y="connsiteY62623"/>
              </a:cxn>
              <a:cxn ang="0">
                <a:pos x="connsiteX62624" y="connsiteY62624"/>
              </a:cxn>
              <a:cxn ang="0">
                <a:pos x="connsiteX62625" y="connsiteY62625"/>
              </a:cxn>
              <a:cxn ang="0">
                <a:pos x="connsiteX62626" y="connsiteY62626"/>
              </a:cxn>
              <a:cxn ang="0">
                <a:pos x="connsiteX62627" y="connsiteY62627"/>
              </a:cxn>
              <a:cxn ang="0">
                <a:pos x="connsiteX62628" y="connsiteY62628"/>
              </a:cxn>
              <a:cxn ang="0">
                <a:pos x="connsiteX62629" y="connsiteY62629"/>
              </a:cxn>
              <a:cxn ang="0">
                <a:pos x="connsiteX62630" y="connsiteY62630"/>
              </a:cxn>
              <a:cxn ang="0">
                <a:pos x="connsiteX62631" y="connsiteY62631"/>
              </a:cxn>
              <a:cxn ang="0">
                <a:pos x="connsiteX62632" y="connsiteY62632"/>
              </a:cxn>
              <a:cxn ang="0">
                <a:pos x="connsiteX62633" y="connsiteY62633"/>
              </a:cxn>
              <a:cxn ang="0">
                <a:pos x="connsiteX62634" y="connsiteY62634"/>
              </a:cxn>
              <a:cxn ang="0">
                <a:pos x="connsiteX62635" y="connsiteY62635"/>
              </a:cxn>
              <a:cxn ang="0">
                <a:pos x="connsiteX62636" y="connsiteY62636"/>
              </a:cxn>
              <a:cxn ang="0">
                <a:pos x="connsiteX62637" y="connsiteY62637"/>
              </a:cxn>
              <a:cxn ang="0">
                <a:pos x="connsiteX62638" y="connsiteY62638"/>
              </a:cxn>
              <a:cxn ang="0">
                <a:pos x="connsiteX62639" y="connsiteY62639"/>
              </a:cxn>
              <a:cxn ang="0">
                <a:pos x="connsiteX62640" y="connsiteY62640"/>
              </a:cxn>
              <a:cxn ang="0">
                <a:pos x="connsiteX62641" y="connsiteY62641"/>
              </a:cxn>
              <a:cxn ang="0">
                <a:pos x="connsiteX62642" y="connsiteY62642"/>
              </a:cxn>
              <a:cxn ang="0">
                <a:pos x="connsiteX62643" y="connsiteY62643"/>
              </a:cxn>
              <a:cxn ang="0">
                <a:pos x="connsiteX62644" y="connsiteY62644"/>
              </a:cxn>
              <a:cxn ang="0">
                <a:pos x="connsiteX62645" y="connsiteY62645"/>
              </a:cxn>
              <a:cxn ang="0">
                <a:pos x="connsiteX62646" y="connsiteY62646"/>
              </a:cxn>
              <a:cxn ang="0">
                <a:pos x="connsiteX62647" y="connsiteY62647"/>
              </a:cxn>
              <a:cxn ang="0">
                <a:pos x="connsiteX62648" y="connsiteY62648"/>
              </a:cxn>
              <a:cxn ang="0">
                <a:pos x="connsiteX62649" y="connsiteY62649"/>
              </a:cxn>
              <a:cxn ang="0">
                <a:pos x="connsiteX62650" y="connsiteY62650"/>
              </a:cxn>
              <a:cxn ang="0">
                <a:pos x="connsiteX62651" y="connsiteY62651"/>
              </a:cxn>
              <a:cxn ang="0">
                <a:pos x="connsiteX62652" y="connsiteY62652"/>
              </a:cxn>
              <a:cxn ang="0">
                <a:pos x="connsiteX62653" y="connsiteY62653"/>
              </a:cxn>
              <a:cxn ang="0">
                <a:pos x="connsiteX62654" y="connsiteY62654"/>
              </a:cxn>
              <a:cxn ang="0">
                <a:pos x="connsiteX62655" y="connsiteY62655"/>
              </a:cxn>
              <a:cxn ang="0">
                <a:pos x="connsiteX62656" y="connsiteY62656"/>
              </a:cxn>
              <a:cxn ang="0">
                <a:pos x="connsiteX62657" y="connsiteY62657"/>
              </a:cxn>
              <a:cxn ang="0">
                <a:pos x="connsiteX62658" y="connsiteY62658"/>
              </a:cxn>
              <a:cxn ang="0">
                <a:pos x="connsiteX62659" y="connsiteY62659"/>
              </a:cxn>
              <a:cxn ang="0">
                <a:pos x="connsiteX62660" y="connsiteY62660"/>
              </a:cxn>
              <a:cxn ang="0">
                <a:pos x="connsiteX62661" y="connsiteY62661"/>
              </a:cxn>
              <a:cxn ang="0">
                <a:pos x="connsiteX62662" y="connsiteY62662"/>
              </a:cxn>
              <a:cxn ang="0">
                <a:pos x="connsiteX62663" y="connsiteY62663"/>
              </a:cxn>
              <a:cxn ang="0">
                <a:pos x="connsiteX62664" y="connsiteY62664"/>
              </a:cxn>
              <a:cxn ang="0">
                <a:pos x="connsiteX62665" y="connsiteY62665"/>
              </a:cxn>
              <a:cxn ang="0">
                <a:pos x="connsiteX62666" y="connsiteY62666"/>
              </a:cxn>
              <a:cxn ang="0">
                <a:pos x="connsiteX62667" y="connsiteY62667"/>
              </a:cxn>
              <a:cxn ang="0">
                <a:pos x="connsiteX62668" y="connsiteY62668"/>
              </a:cxn>
              <a:cxn ang="0">
                <a:pos x="connsiteX62669" y="connsiteY62669"/>
              </a:cxn>
              <a:cxn ang="0">
                <a:pos x="connsiteX62670" y="connsiteY62670"/>
              </a:cxn>
              <a:cxn ang="0">
                <a:pos x="connsiteX62671" y="connsiteY62671"/>
              </a:cxn>
              <a:cxn ang="0">
                <a:pos x="connsiteX62672" y="connsiteY62672"/>
              </a:cxn>
              <a:cxn ang="0">
                <a:pos x="connsiteX62673" y="connsiteY62673"/>
              </a:cxn>
              <a:cxn ang="0">
                <a:pos x="connsiteX62674" y="connsiteY62674"/>
              </a:cxn>
              <a:cxn ang="0">
                <a:pos x="connsiteX62675" y="connsiteY62675"/>
              </a:cxn>
              <a:cxn ang="0">
                <a:pos x="connsiteX62676" y="connsiteY62676"/>
              </a:cxn>
              <a:cxn ang="0">
                <a:pos x="connsiteX62677" y="connsiteY62677"/>
              </a:cxn>
              <a:cxn ang="0">
                <a:pos x="connsiteX62678" y="connsiteY62678"/>
              </a:cxn>
              <a:cxn ang="0">
                <a:pos x="connsiteX62679" y="connsiteY62679"/>
              </a:cxn>
              <a:cxn ang="0">
                <a:pos x="connsiteX62680" y="connsiteY62680"/>
              </a:cxn>
              <a:cxn ang="0">
                <a:pos x="connsiteX62681" y="connsiteY62681"/>
              </a:cxn>
              <a:cxn ang="0">
                <a:pos x="connsiteX62682" y="connsiteY62682"/>
              </a:cxn>
              <a:cxn ang="0">
                <a:pos x="connsiteX62683" y="connsiteY62683"/>
              </a:cxn>
              <a:cxn ang="0">
                <a:pos x="connsiteX62684" y="connsiteY62684"/>
              </a:cxn>
              <a:cxn ang="0">
                <a:pos x="connsiteX62685" y="connsiteY62685"/>
              </a:cxn>
              <a:cxn ang="0">
                <a:pos x="connsiteX62686" y="connsiteY62686"/>
              </a:cxn>
              <a:cxn ang="0">
                <a:pos x="connsiteX62687" y="connsiteY62687"/>
              </a:cxn>
              <a:cxn ang="0">
                <a:pos x="connsiteX62688" y="connsiteY62688"/>
              </a:cxn>
              <a:cxn ang="0">
                <a:pos x="connsiteX62689" y="connsiteY62689"/>
              </a:cxn>
              <a:cxn ang="0">
                <a:pos x="connsiteX62690" y="connsiteY62690"/>
              </a:cxn>
              <a:cxn ang="0">
                <a:pos x="connsiteX62691" y="connsiteY62691"/>
              </a:cxn>
              <a:cxn ang="0">
                <a:pos x="connsiteX62692" y="connsiteY62692"/>
              </a:cxn>
              <a:cxn ang="0">
                <a:pos x="connsiteX62693" y="connsiteY62693"/>
              </a:cxn>
              <a:cxn ang="0">
                <a:pos x="connsiteX62694" y="connsiteY62694"/>
              </a:cxn>
              <a:cxn ang="0">
                <a:pos x="connsiteX62695" y="connsiteY62695"/>
              </a:cxn>
              <a:cxn ang="0">
                <a:pos x="connsiteX62696" y="connsiteY62696"/>
              </a:cxn>
              <a:cxn ang="0">
                <a:pos x="connsiteX62697" y="connsiteY62697"/>
              </a:cxn>
              <a:cxn ang="0">
                <a:pos x="connsiteX62698" y="connsiteY62698"/>
              </a:cxn>
              <a:cxn ang="0">
                <a:pos x="connsiteX62699" y="connsiteY62699"/>
              </a:cxn>
              <a:cxn ang="0">
                <a:pos x="connsiteX62700" y="connsiteY62700"/>
              </a:cxn>
              <a:cxn ang="0">
                <a:pos x="connsiteX62701" y="connsiteY62701"/>
              </a:cxn>
              <a:cxn ang="0">
                <a:pos x="connsiteX62702" y="connsiteY62702"/>
              </a:cxn>
              <a:cxn ang="0">
                <a:pos x="connsiteX62703" y="connsiteY62703"/>
              </a:cxn>
              <a:cxn ang="0">
                <a:pos x="connsiteX62704" y="connsiteY62704"/>
              </a:cxn>
              <a:cxn ang="0">
                <a:pos x="connsiteX62705" y="connsiteY62705"/>
              </a:cxn>
              <a:cxn ang="0">
                <a:pos x="connsiteX62706" y="connsiteY62706"/>
              </a:cxn>
              <a:cxn ang="0">
                <a:pos x="connsiteX62707" y="connsiteY62707"/>
              </a:cxn>
              <a:cxn ang="0">
                <a:pos x="connsiteX62708" y="connsiteY62708"/>
              </a:cxn>
              <a:cxn ang="0">
                <a:pos x="connsiteX62709" y="connsiteY62709"/>
              </a:cxn>
              <a:cxn ang="0">
                <a:pos x="connsiteX62710" y="connsiteY62710"/>
              </a:cxn>
              <a:cxn ang="0">
                <a:pos x="connsiteX62711" y="connsiteY62711"/>
              </a:cxn>
              <a:cxn ang="0">
                <a:pos x="connsiteX62712" y="connsiteY62712"/>
              </a:cxn>
              <a:cxn ang="0">
                <a:pos x="connsiteX62713" y="connsiteY62713"/>
              </a:cxn>
              <a:cxn ang="0">
                <a:pos x="connsiteX62714" y="connsiteY62714"/>
              </a:cxn>
              <a:cxn ang="0">
                <a:pos x="connsiteX62715" y="connsiteY62715"/>
              </a:cxn>
              <a:cxn ang="0">
                <a:pos x="connsiteX62716" y="connsiteY62716"/>
              </a:cxn>
              <a:cxn ang="0">
                <a:pos x="connsiteX62717" y="connsiteY62717"/>
              </a:cxn>
              <a:cxn ang="0">
                <a:pos x="connsiteX62718" y="connsiteY62718"/>
              </a:cxn>
              <a:cxn ang="0">
                <a:pos x="connsiteX62719" y="connsiteY62719"/>
              </a:cxn>
              <a:cxn ang="0">
                <a:pos x="connsiteX62720" y="connsiteY62720"/>
              </a:cxn>
              <a:cxn ang="0">
                <a:pos x="connsiteX62721" y="connsiteY62721"/>
              </a:cxn>
              <a:cxn ang="0">
                <a:pos x="connsiteX62722" y="connsiteY62722"/>
              </a:cxn>
              <a:cxn ang="0">
                <a:pos x="connsiteX62723" y="connsiteY62723"/>
              </a:cxn>
              <a:cxn ang="0">
                <a:pos x="connsiteX62724" y="connsiteY62724"/>
              </a:cxn>
              <a:cxn ang="0">
                <a:pos x="connsiteX62725" y="connsiteY62725"/>
              </a:cxn>
              <a:cxn ang="0">
                <a:pos x="connsiteX62726" y="connsiteY62726"/>
              </a:cxn>
              <a:cxn ang="0">
                <a:pos x="connsiteX62727" y="connsiteY62727"/>
              </a:cxn>
              <a:cxn ang="0">
                <a:pos x="connsiteX62728" y="connsiteY62728"/>
              </a:cxn>
              <a:cxn ang="0">
                <a:pos x="connsiteX62729" y="connsiteY62729"/>
              </a:cxn>
              <a:cxn ang="0">
                <a:pos x="connsiteX62730" y="connsiteY62730"/>
              </a:cxn>
              <a:cxn ang="0">
                <a:pos x="connsiteX62731" y="connsiteY62731"/>
              </a:cxn>
              <a:cxn ang="0">
                <a:pos x="connsiteX62732" y="connsiteY62732"/>
              </a:cxn>
              <a:cxn ang="0">
                <a:pos x="connsiteX62733" y="connsiteY62733"/>
              </a:cxn>
              <a:cxn ang="0">
                <a:pos x="connsiteX62734" y="connsiteY62734"/>
              </a:cxn>
              <a:cxn ang="0">
                <a:pos x="connsiteX62735" y="connsiteY62735"/>
              </a:cxn>
              <a:cxn ang="0">
                <a:pos x="connsiteX62736" y="connsiteY62736"/>
              </a:cxn>
              <a:cxn ang="0">
                <a:pos x="connsiteX62737" y="connsiteY62737"/>
              </a:cxn>
              <a:cxn ang="0">
                <a:pos x="connsiteX62738" y="connsiteY62738"/>
              </a:cxn>
              <a:cxn ang="0">
                <a:pos x="connsiteX62739" y="connsiteY62739"/>
              </a:cxn>
              <a:cxn ang="0">
                <a:pos x="connsiteX62740" y="connsiteY62740"/>
              </a:cxn>
              <a:cxn ang="0">
                <a:pos x="connsiteX62741" y="connsiteY62741"/>
              </a:cxn>
              <a:cxn ang="0">
                <a:pos x="connsiteX62742" y="connsiteY62742"/>
              </a:cxn>
              <a:cxn ang="0">
                <a:pos x="connsiteX62743" y="connsiteY62743"/>
              </a:cxn>
              <a:cxn ang="0">
                <a:pos x="connsiteX62744" y="connsiteY62744"/>
              </a:cxn>
              <a:cxn ang="0">
                <a:pos x="connsiteX62745" y="connsiteY62745"/>
              </a:cxn>
              <a:cxn ang="0">
                <a:pos x="connsiteX62746" y="connsiteY62746"/>
              </a:cxn>
              <a:cxn ang="0">
                <a:pos x="connsiteX62747" y="connsiteY62747"/>
              </a:cxn>
              <a:cxn ang="0">
                <a:pos x="connsiteX62748" y="connsiteY62748"/>
              </a:cxn>
              <a:cxn ang="0">
                <a:pos x="connsiteX62749" y="connsiteY62749"/>
              </a:cxn>
              <a:cxn ang="0">
                <a:pos x="connsiteX62750" y="connsiteY62750"/>
              </a:cxn>
              <a:cxn ang="0">
                <a:pos x="connsiteX62751" y="connsiteY62751"/>
              </a:cxn>
              <a:cxn ang="0">
                <a:pos x="connsiteX62752" y="connsiteY62752"/>
              </a:cxn>
              <a:cxn ang="0">
                <a:pos x="connsiteX62753" y="connsiteY62753"/>
              </a:cxn>
              <a:cxn ang="0">
                <a:pos x="connsiteX62754" y="connsiteY62754"/>
              </a:cxn>
              <a:cxn ang="0">
                <a:pos x="connsiteX62755" y="connsiteY62755"/>
              </a:cxn>
              <a:cxn ang="0">
                <a:pos x="connsiteX62756" y="connsiteY62756"/>
              </a:cxn>
              <a:cxn ang="0">
                <a:pos x="connsiteX62757" y="connsiteY62757"/>
              </a:cxn>
              <a:cxn ang="0">
                <a:pos x="connsiteX62758" y="connsiteY62758"/>
              </a:cxn>
              <a:cxn ang="0">
                <a:pos x="connsiteX62759" y="connsiteY62759"/>
              </a:cxn>
              <a:cxn ang="0">
                <a:pos x="connsiteX62760" y="connsiteY62760"/>
              </a:cxn>
              <a:cxn ang="0">
                <a:pos x="connsiteX62761" y="connsiteY62761"/>
              </a:cxn>
              <a:cxn ang="0">
                <a:pos x="connsiteX62762" y="connsiteY62762"/>
              </a:cxn>
              <a:cxn ang="0">
                <a:pos x="connsiteX62763" y="connsiteY62763"/>
              </a:cxn>
              <a:cxn ang="0">
                <a:pos x="connsiteX62764" y="connsiteY62764"/>
              </a:cxn>
              <a:cxn ang="0">
                <a:pos x="connsiteX62765" y="connsiteY62765"/>
              </a:cxn>
              <a:cxn ang="0">
                <a:pos x="connsiteX62766" y="connsiteY62766"/>
              </a:cxn>
              <a:cxn ang="0">
                <a:pos x="connsiteX62767" y="connsiteY62767"/>
              </a:cxn>
              <a:cxn ang="0">
                <a:pos x="connsiteX62768" y="connsiteY62768"/>
              </a:cxn>
              <a:cxn ang="0">
                <a:pos x="connsiteX62769" y="connsiteY62769"/>
              </a:cxn>
              <a:cxn ang="0">
                <a:pos x="connsiteX62770" y="connsiteY62770"/>
              </a:cxn>
              <a:cxn ang="0">
                <a:pos x="connsiteX62771" y="connsiteY62771"/>
              </a:cxn>
              <a:cxn ang="0">
                <a:pos x="connsiteX62772" y="connsiteY62772"/>
              </a:cxn>
              <a:cxn ang="0">
                <a:pos x="connsiteX62773" y="connsiteY62773"/>
              </a:cxn>
              <a:cxn ang="0">
                <a:pos x="connsiteX62774" y="connsiteY62774"/>
              </a:cxn>
              <a:cxn ang="0">
                <a:pos x="connsiteX62775" y="connsiteY62775"/>
              </a:cxn>
              <a:cxn ang="0">
                <a:pos x="connsiteX62776" y="connsiteY62776"/>
              </a:cxn>
              <a:cxn ang="0">
                <a:pos x="connsiteX62777" y="connsiteY62777"/>
              </a:cxn>
              <a:cxn ang="0">
                <a:pos x="connsiteX62778" y="connsiteY62778"/>
              </a:cxn>
              <a:cxn ang="0">
                <a:pos x="connsiteX62779" y="connsiteY62779"/>
              </a:cxn>
              <a:cxn ang="0">
                <a:pos x="connsiteX62780" y="connsiteY62780"/>
              </a:cxn>
              <a:cxn ang="0">
                <a:pos x="connsiteX62781" y="connsiteY62781"/>
              </a:cxn>
              <a:cxn ang="0">
                <a:pos x="connsiteX62782" y="connsiteY62782"/>
              </a:cxn>
              <a:cxn ang="0">
                <a:pos x="connsiteX62783" y="connsiteY62783"/>
              </a:cxn>
              <a:cxn ang="0">
                <a:pos x="connsiteX62784" y="connsiteY62784"/>
              </a:cxn>
              <a:cxn ang="0">
                <a:pos x="connsiteX62785" y="connsiteY62785"/>
              </a:cxn>
              <a:cxn ang="0">
                <a:pos x="connsiteX62786" y="connsiteY62786"/>
              </a:cxn>
              <a:cxn ang="0">
                <a:pos x="connsiteX62787" y="connsiteY62787"/>
              </a:cxn>
              <a:cxn ang="0">
                <a:pos x="connsiteX62788" y="connsiteY62788"/>
              </a:cxn>
              <a:cxn ang="0">
                <a:pos x="connsiteX62789" y="connsiteY62789"/>
              </a:cxn>
              <a:cxn ang="0">
                <a:pos x="connsiteX62790" y="connsiteY62790"/>
              </a:cxn>
              <a:cxn ang="0">
                <a:pos x="connsiteX62791" y="connsiteY62791"/>
              </a:cxn>
              <a:cxn ang="0">
                <a:pos x="connsiteX62792" y="connsiteY62792"/>
              </a:cxn>
              <a:cxn ang="0">
                <a:pos x="connsiteX62793" y="connsiteY62793"/>
              </a:cxn>
              <a:cxn ang="0">
                <a:pos x="connsiteX62794" y="connsiteY62794"/>
              </a:cxn>
              <a:cxn ang="0">
                <a:pos x="connsiteX62795" y="connsiteY62795"/>
              </a:cxn>
              <a:cxn ang="0">
                <a:pos x="connsiteX62796" y="connsiteY62796"/>
              </a:cxn>
              <a:cxn ang="0">
                <a:pos x="connsiteX62797" y="connsiteY62797"/>
              </a:cxn>
              <a:cxn ang="0">
                <a:pos x="connsiteX62798" y="connsiteY62798"/>
              </a:cxn>
              <a:cxn ang="0">
                <a:pos x="connsiteX62799" y="connsiteY62799"/>
              </a:cxn>
              <a:cxn ang="0">
                <a:pos x="connsiteX62800" y="connsiteY62800"/>
              </a:cxn>
              <a:cxn ang="0">
                <a:pos x="connsiteX62801" y="connsiteY62801"/>
              </a:cxn>
              <a:cxn ang="0">
                <a:pos x="connsiteX62802" y="connsiteY62802"/>
              </a:cxn>
              <a:cxn ang="0">
                <a:pos x="connsiteX62803" y="connsiteY62803"/>
              </a:cxn>
              <a:cxn ang="0">
                <a:pos x="connsiteX62804" y="connsiteY62804"/>
              </a:cxn>
              <a:cxn ang="0">
                <a:pos x="connsiteX62805" y="connsiteY62805"/>
              </a:cxn>
              <a:cxn ang="0">
                <a:pos x="connsiteX62806" y="connsiteY62806"/>
              </a:cxn>
              <a:cxn ang="0">
                <a:pos x="connsiteX62807" y="connsiteY62807"/>
              </a:cxn>
              <a:cxn ang="0">
                <a:pos x="connsiteX62808" y="connsiteY62808"/>
              </a:cxn>
              <a:cxn ang="0">
                <a:pos x="connsiteX62809" y="connsiteY62809"/>
              </a:cxn>
              <a:cxn ang="0">
                <a:pos x="connsiteX62810" y="connsiteY62810"/>
              </a:cxn>
              <a:cxn ang="0">
                <a:pos x="connsiteX62811" y="connsiteY62811"/>
              </a:cxn>
              <a:cxn ang="0">
                <a:pos x="connsiteX62812" y="connsiteY62812"/>
              </a:cxn>
              <a:cxn ang="0">
                <a:pos x="connsiteX62813" y="connsiteY62813"/>
              </a:cxn>
              <a:cxn ang="0">
                <a:pos x="connsiteX62814" y="connsiteY62814"/>
              </a:cxn>
              <a:cxn ang="0">
                <a:pos x="connsiteX62815" y="connsiteY62815"/>
              </a:cxn>
              <a:cxn ang="0">
                <a:pos x="connsiteX62816" y="connsiteY62816"/>
              </a:cxn>
              <a:cxn ang="0">
                <a:pos x="connsiteX62817" y="connsiteY62817"/>
              </a:cxn>
              <a:cxn ang="0">
                <a:pos x="connsiteX62818" y="connsiteY62818"/>
              </a:cxn>
              <a:cxn ang="0">
                <a:pos x="connsiteX62819" y="connsiteY62819"/>
              </a:cxn>
              <a:cxn ang="0">
                <a:pos x="connsiteX62820" y="connsiteY62820"/>
              </a:cxn>
              <a:cxn ang="0">
                <a:pos x="connsiteX62821" y="connsiteY62821"/>
              </a:cxn>
              <a:cxn ang="0">
                <a:pos x="connsiteX62822" y="connsiteY62822"/>
              </a:cxn>
              <a:cxn ang="0">
                <a:pos x="connsiteX62823" y="connsiteY62823"/>
              </a:cxn>
              <a:cxn ang="0">
                <a:pos x="connsiteX62824" y="connsiteY62824"/>
              </a:cxn>
              <a:cxn ang="0">
                <a:pos x="connsiteX62825" y="connsiteY62825"/>
              </a:cxn>
              <a:cxn ang="0">
                <a:pos x="connsiteX62826" y="connsiteY62826"/>
              </a:cxn>
              <a:cxn ang="0">
                <a:pos x="connsiteX62827" y="connsiteY62827"/>
              </a:cxn>
              <a:cxn ang="0">
                <a:pos x="connsiteX62828" y="connsiteY62828"/>
              </a:cxn>
              <a:cxn ang="0">
                <a:pos x="connsiteX62829" y="connsiteY62829"/>
              </a:cxn>
              <a:cxn ang="0">
                <a:pos x="connsiteX62830" y="connsiteY62830"/>
              </a:cxn>
              <a:cxn ang="0">
                <a:pos x="connsiteX62831" y="connsiteY62831"/>
              </a:cxn>
              <a:cxn ang="0">
                <a:pos x="connsiteX62832" y="connsiteY62832"/>
              </a:cxn>
              <a:cxn ang="0">
                <a:pos x="connsiteX62833" y="connsiteY62833"/>
              </a:cxn>
              <a:cxn ang="0">
                <a:pos x="connsiteX62834" y="connsiteY62834"/>
              </a:cxn>
              <a:cxn ang="0">
                <a:pos x="connsiteX62835" y="connsiteY62835"/>
              </a:cxn>
              <a:cxn ang="0">
                <a:pos x="connsiteX62836" y="connsiteY62836"/>
              </a:cxn>
              <a:cxn ang="0">
                <a:pos x="connsiteX62837" y="connsiteY62837"/>
              </a:cxn>
              <a:cxn ang="0">
                <a:pos x="connsiteX62838" y="connsiteY62838"/>
              </a:cxn>
              <a:cxn ang="0">
                <a:pos x="connsiteX62839" y="connsiteY62839"/>
              </a:cxn>
              <a:cxn ang="0">
                <a:pos x="connsiteX62840" y="connsiteY62840"/>
              </a:cxn>
              <a:cxn ang="0">
                <a:pos x="connsiteX62841" y="connsiteY62841"/>
              </a:cxn>
              <a:cxn ang="0">
                <a:pos x="connsiteX62842" y="connsiteY62842"/>
              </a:cxn>
              <a:cxn ang="0">
                <a:pos x="connsiteX62843" y="connsiteY62843"/>
              </a:cxn>
              <a:cxn ang="0">
                <a:pos x="connsiteX62844" y="connsiteY62844"/>
              </a:cxn>
              <a:cxn ang="0">
                <a:pos x="connsiteX62845" y="connsiteY62845"/>
              </a:cxn>
              <a:cxn ang="0">
                <a:pos x="connsiteX62846" y="connsiteY62846"/>
              </a:cxn>
              <a:cxn ang="0">
                <a:pos x="connsiteX62847" y="connsiteY62847"/>
              </a:cxn>
              <a:cxn ang="0">
                <a:pos x="connsiteX62848" y="connsiteY62848"/>
              </a:cxn>
              <a:cxn ang="0">
                <a:pos x="connsiteX62849" y="connsiteY62849"/>
              </a:cxn>
              <a:cxn ang="0">
                <a:pos x="connsiteX62850" y="connsiteY62850"/>
              </a:cxn>
              <a:cxn ang="0">
                <a:pos x="connsiteX62851" y="connsiteY62851"/>
              </a:cxn>
              <a:cxn ang="0">
                <a:pos x="connsiteX62852" y="connsiteY62852"/>
              </a:cxn>
              <a:cxn ang="0">
                <a:pos x="connsiteX62853" y="connsiteY62853"/>
              </a:cxn>
              <a:cxn ang="0">
                <a:pos x="connsiteX62854" y="connsiteY62854"/>
              </a:cxn>
              <a:cxn ang="0">
                <a:pos x="connsiteX62855" y="connsiteY62855"/>
              </a:cxn>
              <a:cxn ang="0">
                <a:pos x="connsiteX62856" y="connsiteY62856"/>
              </a:cxn>
              <a:cxn ang="0">
                <a:pos x="connsiteX62857" y="connsiteY62857"/>
              </a:cxn>
              <a:cxn ang="0">
                <a:pos x="connsiteX62858" y="connsiteY62858"/>
              </a:cxn>
              <a:cxn ang="0">
                <a:pos x="connsiteX62859" y="connsiteY62859"/>
              </a:cxn>
              <a:cxn ang="0">
                <a:pos x="connsiteX62860" y="connsiteY62860"/>
              </a:cxn>
              <a:cxn ang="0">
                <a:pos x="connsiteX62861" y="connsiteY62861"/>
              </a:cxn>
              <a:cxn ang="0">
                <a:pos x="connsiteX62862" y="connsiteY62862"/>
              </a:cxn>
              <a:cxn ang="0">
                <a:pos x="connsiteX62863" y="connsiteY62863"/>
              </a:cxn>
              <a:cxn ang="0">
                <a:pos x="connsiteX62864" y="connsiteY62864"/>
              </a:cxn>
              <a:cxn ang="0">
                <a:pos x="connsiteX62865" y="connsiteY62865"/>
              </a:cxn>
              <a:cxn ang="0">
                <a:pos x="connsiteX62866" y="connsiteY62866"/>
              </a:cxn>
              <a:cxn ang="0">
                <a:pos x="connsiteX62867" y="connsiteY62867"/>
              </a:cxn>
              <a:cxn ang="0">
                <a:pos x="connsiteX62868" y="connsiteY62868"/>
              </a:cxn>
              <a:cxn ang="0">
                <a:pos x="connsiteX62869" y="connsiteY62869"/>
              </a:cxn>
              <a:cxn ang="0">
                <a:pos x="connsiteX62870" y="connsiteY62870"/>
              </a:cxn>
              <a:cxn ang="0">
                <a:pos x="connsiteX62871" y="connsiteY62871"/>
              </a:cxn>
              <a:cxn ang="0">
                <a:pos x="connsiteX62872" y="connsiteY62872"/>
              </a:cxn>
              <a:cxn ang="0">
                <a:pos x="connsiteX62873" y="connsiteY62873"/>
              </a:cxn>
              <a:cxn ang="0">
                <a:pos x="connsiteX62874" y="connsiteY62874"/>
              </a:cxn>
              <a:cxn ang="0">
                <a:pos x="connsiteX62875" y="connsiteY62875"/>
              </a:cxn>
              <a:cxn ang="0">
                <a:pos x="connsiteX62876" y="connsiteY62876"/>
              </a:cxn>
              <a:cxn ang="0">
                <a:pos x="connsiteX62877" y="connsiteY62877"/>
              </a:cxn>
              <a:cxn ang="0">
                <a:pos x="connsiteX62878" y="connsiteY62878"/>
              </a:cxn>
              <a:cxn ang="0">
                <a:pos x="connsiteX62879" y="connsiteY62879"/>
              </a:cxn>
              <a:cxn ang="0">
                <a:pos x="connsiteX62880" y="connsiteY62880"/>
              </a:cxn>
              <a:cxn ang="0">
                <a:pos x="connsiteX62881" y="connsiteY62881"/>
              </a:cxn>
              <a:cxn ang="0">
                <a:pos x="connsiteX62882" y="connsiteY62882"/>
              </a:cxn>
              <a:cxn ang="0">
                <a:pos x="connsiteX62883" y="connsiteY62883"/>
              </a:cxn>
              <a:cxn ang="0">
                <a:pos x="connsiteX62884" y="connsiteY62884"/>
              </a:cxn>
              <a:cxn ang="0">
                <a:pos x="connsiteX62885" y="connsiteY62885"/>
              </a:cxn>
              <a:cxn ang="0">
                <a:pos x="connsiteX62886" y="connsiteY62886"/>
              </a:cxn>
              <a:cxn ang="0">
                <a:pos x="connsiteX62887" y="connsiteY62887"/>
              </a:cxn>
              <a:cxn ang="0">
                <a:pos x="connsiteX62888" y="connsiteY62888"/>
              </a:cxn>
              <a:cxn ang="0">
                <a:pos x="connsiteX62889" y="connsiteY62889"/>
              </a:cxn>
              <a:cxn ang="0">
                <a:pos x="connsiteX62890" y="connsiteY62890"/>
              </a:cxn>
              <a:cxn ang="0">
                <a:pos x="connsiteX62891" y="connsiteY62891"/>
              </a:cxn>
              <a:cxn ang="0">
                <a:pos x="connsiteX62892" y="connsiteY62892"/>
              </a:cxn>
              <a:cxn ang="0">
                <a:pos x="connsiteX62893" y="connsiteY62893"/>
              </a:cxn>
              <a:cxn ang="0">
                <a:pos x="connsiteX62894" y="connsiteY62894"/>
              </a:cxn>
              <a:cxn ang="0">
                <a:pos x="connsiteX62895" y="connsiteY62895"/>
              </a:cxn>
              <a:cxn ang="0">
                <a:pos x="connsiteX62896" y="connsiteY62896"/>
              </a:cxn>
              <a:cxn ang="0">
                <a:pos x="connsiteX62897" y="connsiteY62897"/>
              </a:cxn>
              <a:cxn ang="0">
                <a:pos x="connsiteX62898" y="connsiteY62898"/>
              </a:cxn>
              <a:cxn ang="0">
                <a:pos x="connsiteX62899" y="connsiteY62899"/>
              </a:cxn>
              <a:cxn ang="0">
                <a:pos x="connsiteX62900" y="connsiteY62900"/>
              </a:cxn>
              <a:cxn ang="0">
                <a:pos x="connsiteX62901" y="connsiteY62901"/>
              </a:cxn>
              <a:cxn ang="0">
                <a:pos x="connsiteX62902" y="connsiteY62902"/>
              </a:cxn>
              <a:cxn ang="0">
                <a:pos x="connsiteX62903" y="connsiteY62903"/>
              </a:cxn>
              <a:cxn ang="0">
                <a:pos x="connsiteX62904" y="connsiteY62904"/>
              </a:cxn>
              <a:cxn ang="0">
                <a:pos x="connsiteX62905" y="connsiteY62905"/>
              </a:cxn>
              <a:cxn ang="0">
                <a:pos x="connsiteX62906" y="connsiteY62906"/>
              </a:cxn>
              <a:cxn ang="0">
                <a:pos x="connsiteX62907" y="connsiteY62907"/>
              </a:cxn>
              <a:cxn ang="0">
                <a:pos x="connsiteX62908" y="connsiteY62908"/>
              </a:cxn>
              <a:cxn ang="0">
                <a:pos x="connsiteX62909" y="connsiteY62909"/>
              </a:cxn>
              <a:cxn ang="0">
                <a:pos x="connsiteX62910" y="connsiteY62910"/>
              </a:cxn>
              <a:cxn ang="0">
                <a:pos x="connsiteX62911" y="connsiteY62911"/>
              </a:cxn>
              <a:cxn ang="0">
                <a:pos x="connsiteX62912" y="connsiteY62912"/>
              </a:cxn>
              <a:cxn ang="0">
                <a:pos x="connsiteX62913" y="connsiteY62913"/>
              </a:cxn>
              <a:cxn ang="0">
                <a:pos x="connsiteX62914" y="connsiteY62914"/>
              </a:cxn>
              <a:cxn ang="0">
                <a:pos x="connsiteX62915" y="connsiteY62915"/>
              </a:cxn>
              <a:cxn ang="0">
                <a:pos x="connsiteX62916" y="connsiteY62916"/>
              </a:cxn>
              <a:cxn ang="0">
                <a:pos x="connsiteX62917" y="connsiteY62917"/>
              </a:cxn>
              <a:cxn ang="0">
                <a:pos x="connsiteX62918" y="connsiteY62918"/>
              </a:cxn>
              <a:cxn ang="0">
                <a:pos x="connsiteX62919" y="connsiteY62919"/>
              </a:cxn>
              <a:cxn ang="0">
                <a:pos x="connsiteX62920" y="connsiteY62920"/>
              </a:cxn>
              <a:cxn ang="0">
                <a:pos x="connsiteX62921" y="connsiteY62921"/>
              </a:cxn>
              <a:cxn ang="0">
                <a:pos x="connsiteX62922" y="connsiteY62922"/>
              </a:cxn>
              <a:cxn ang="0">
                <a:pos x="connsiteX62923" y="connsiteY62923"/>
              </a:cxn>
              <a:cxn ang="0">
                <a:pos x="connsiteX62924" y="connsiteY62924"/>
              </a:cxn>
              <a:cxn ang="0">
                <a:pos x="connsiteX62925" y="connsiteY62925"/>
              </a:cxn>
              <a:cxn ang="0">
                <a:pos x="connsiteX62926" y="connsiteY62926"/>
              </a:cxn>
              <a:cxn ang="0">
                <a:pos x="connsiteX62927" y="connsiteY62927"/>
              </a:cxn>
              <a:cxn ang="0">
                <a:pos x="connsiteX62928" y="connsiteY62928"/>
              </a:cxn>
              <a:cxn ang="0">
                <a:pos x="connsiteX62929" y="connsiteY62929"/>
              </a:cxn>
              <a:cxn ang="0">
                <a:pos x="connsiteX62930" y="connsiteY62930"/>
              </a:cxn>
              <a:cxn ang="0">
                <a:pos x="connsiteX62931" y="connsiteY62931"/>
              </a:cxn>
              <a:cxn ang="0">
                <a:pos x="connsiteX62932" y="connsiteY62932"/>
              </a:cxn>
              <a:cxn ang="0">
                <a:pos x="connsiteX62933" y="connsiteY62933"/>
              </a:cxn>
              <a:cxn ang="0">
                <a:pos x="connsiteX62934" y="connsiteY62934"/>
              </a:cxn>
              <a:cxn ang="0">
                <a:pos x="connsiteX62935" y="connsiteY62935"/>
              </a:cxn>
              <a:cxn ang="0">
                <a:pos x="connsiteX62936" y="connsiteY62936"/>
              </a:cxn>
              <a:cxn ang="0">
                <a:pos x="connsiteX62937" y="connsiteY62937"/>
              </a:cxn>
              <a:cxn ang="0">
                <a:pos x="connsiteX62938" y="connsiteY62938"/>
              </a:cxn>
              <a:cxn ang="0">
                <a:pos x="connsiteX62939" y="connsiteY62939"/>
              </a:cxn>
              <a:cxn ang="0">
                <a:pos x="connsiteX62940" y="connsiteY62940"/>
              </a:cxn>
              <a:cxn ang="0">
                <a:pos x="connsiteX62941" y="connsiteY62941"/>
              </a:cxn>
              <a:cxn ang="0">
                <a:pos x="connsiteX62942" y="connsiteY62942"/>
              </a:cxn>
              <a:cxn ang="0">
                <a:pos x="connsiteX62943" y="connsiteY62943"/>
              </a:cxn>
              <a:cxn ang="0">
                <a:pos x="connsiteX62944" y="connsiteY62944"/>
              </a:cxn>
              <a:cxn ang="0">
                <a:pos x="connsiteX62945" y="connsiteY62945"/>
              </a:cxn>
              <a:cxn ang="0">
                <a:pos x="connsiteX62946" y="connsiteY62946"/>
              </a:cxn>
              <a:cxn ang="0">
                <a:pos x="connsiteX62947" y="connsiteY62947"/>
              </a:cxn>
              <a:cxn ang="0">
                <a:pos x="connsiteX62948" y="connsiteY62948"/>
              </a:cxn>
              <a:cxn ang="0">
                <a:pos x="connsiteX62949" y="connsiteY62949"/>
              </a:cxn>
              <a:cxn ang="0">
                <a:pos x="connsiteX62950" y="connsiteY62950"/>
              </a:cxn>
              <a:cxn ang="0">
                <a:pos x="connsiteX62951" y="connsiteY62951"/>
              </a:cxn>
              <a:cxn ang="0">
                <a:pos x="connsiteX62952" y="connsiteY62952"/>
              </a:cxn>
              <a:cxn ang="0">
                <a:pos x="connsiteX62953" y="connsiteY62953"/>
              </a:cxn>
              <a:cxn ang="0">
                <a:pos x="connsiteX62954" y="connsiteY62954"/>
              </a:cxn>
              <a:cxn ang="0">
                <a:pos x="connsiteX62955" y="connsiteY62955"/>
              </a:cxn>
              <a:cxn ang="0">
                <a:pos x="connsiteX62956" y="connsiteY62956"/>
              </a:cxn>
              <a:cxn ang="0">
                <a:pos x="connsiteX62957" y="connsiteY62957"/>
              </a:cxn>
              <a:cxn ang="0">
                <a:pos x="connsiteX62958" y="connsiteY62958"/>
              </a:cxn>
              <a:cxn ang="0">
                <a:pos x="connsiteX62959" y="connsiteY62959"/>
              </a:cxn>
              <a:cxn ang="0">
                <a:pos x="connsiteX62960" y="connsiteY62960"/>
              </a:cxn>
              <a:cxn ang="0">
                <a:pos x="connsiteX62961" y="connsiteY62961"/>
              </a:cxn>
              <a:cxn ang="0">
                <a:pos x="connsiteX62962" y="connsiteY62962"/>
              </a:cxn>
              <a:cxn ang="0">
                <a:pos x="connsiteX62963" y="connsiteY62963"/>
              </a:cxn>
              <a:cxn ang="0">
                <a:pos x="connsiteX62964" y="connsiteY62964"/>
              </a:cxn>
              <a:cxn ang="0">
                <a:pos x="connsiteX62965" y="connsiteY62965"/>
              </a:cxn>
              <a:cxn ang="0">
                <a:pos x="connsiteX62966" y="connsiteY62966"/>
              </a:cxn>
              <a:cxn ang="0">
                <a:pos x="connsiteX62967" y="connsiteY62967"/>
              </a:cxn>
              <a:cxn ang="0">
                <a:pos x="connsiteX62968" y="connsiteY62968"/>
              </a:cxn>
              <a:cxn ang="0">
                <a:pos x="connsiteX62969" y="connsiteY62969"/>
              </a:cxn>
              <a:cxn ang="0">
                <a:pos x="connsiteX62970" y="connsiteY62970"/>
              </a:cxn>
              <a:cxn ang="0">
                <a:pos x="connsiteX62971" y="connsiteY62971"/>
              </a:cxn>
              <a:cxn ang="0">
                <a:pos x="connsiteX62972" y="connsiteY62972"/>
              </a:cxn>
              <a:cxn ang="0">
                <a:pos x="connsiteX62973" y="connsiteY62973"/>
              </a:cxn>
              <a:cxn ang="0">
                <a:pos x="connsiteX62974" y="connsiteY62974"/>
              </a:cxn>
              <a:cxn ang="0">
                <a:pos x="connsiteX62975" y="connsiteY62975"/>
              </a:cxn>
              <a:cxn ang="0">
                <a:pos x="connsiteX62976" y="connsiteY62976"/>
              </a:cxn>
              <a:cxn ang="0">
                <a:pos x="connsiteX62977" y="connsiteY62977"/>
              </a:cxn>
              <a:cxn ang="0">
                <a:pos x="connsiteX62978" y="connsiteY62978"/>
              </a:cxn>
              <a:cxn ang="0">
                <a:pos x="connsiteX62979" y="connsiteY62979"/>
              </a:cxn>
              <a:cxn ang="0">
                <a:pos x="connsiteX62980" y="connsiteY62980"/>
              </a:cxn>
              <a:cxn ang="0">
                <a:pos x="connsiteX62981" y="connsiteY62981"/>
              </a:cxn>
              <a:cxn ang="0">
                <a:pos x="connsiteX62982" y="connsiteY62982"/>
              </a:cxn>
              <a:cxn ang="0">
                <a:pos x="connsiteX62983" y="connsiteY62983"/>
              </a:cxn>
              <a:cxn ang="0">
                <a:pos x="connsiteX62984" y="connsiteY62984"/>
              </a:cxn>
              <a:cxn ang="0">
                <a:pos x="connsiteX62985" y="connsiteY62985"/>
              </a:cxn>
              <a:cxn ang="0">
                <a:pos x="connsiteX62986" y="connsiteY62986"/>
              </a:cxn>
              <a:cxn ang="0">
                <a:pos x="connsiteX62987" y="connsiteY62987"/>
              </a:cxn>
              <a:cxn ang="0">
                <a:pos x="connsiteX62988" y="connsiteY62988"/>
              </a:cxn>
              <a:cxn ang="0">
                <a:pos x="connsiteX62989" y="connsiteY62989"/>
              </a:cxn>
              <a:cxn ang="0">
                <a:pos x="connsiteX62990" y="connsiteY62990"/>
              </a:cxn>
              <a:cxn ang="0">
                <a:pos x="connsiteX62991" y="connsiteY62991"/>
              </a:cxn>
              <a:cxn ang="0">
                <a:pos x="connsiteX62992" y="connsiteY62992"/>
              </a:cxn>
              <a:cxn ang="0">
                <a:pos x="connsiteX62993" y="connsiteY62993"/>
              </a:cxn>
              <a:cxn ang="0">
                <a:pos x="connsiteX62994" y="connsiteY62994"/>
              </a:cxn>
              <a:cxn ang="0">
                <a:pos x="connsiteX62995" y="connsiteY62995"/>
              </a:cxn>
              <a:cxn ang="0">
                <a:pos x="connsiteX62996" y="connsiteY62996"/>
              </a:cxn>
              <a:cxn ang="0">
                <a:pos x="connsiteX62997" y="connsiteY62997"/>
              </a:cxn>
              <a:cxn ang="0">
                <a:pos x="connsiteX62998" y="connsiteY62998"/>
              </a:cxn>
              <a:cxn ang="0">
                <a:pos x="connsiteX62999" y="connsiteY62999"/>
              </a:cxn>
              <a:cxn ang="0">
                <a:pos x="connsiteX63000" y="connsiteY63000"/>
              </a:cxn>
              <a:cxn ang="0">
                <a:pos x="connsiteX63001" y="connsiteY63001"/>
              </a:cxn>
              <a:cxn ang="0">
                <a:pos x="connsiteX63002" y="connsiteY63002"/>
              </a:cxn>
              <a:cxn ang="0">
                <a:pos x="connsiteX63003" y="connsiteY63003"/>
              </a:cxn>
              <a:cxn ang="0">
                <a:pos x="connsiteX63004" y="connsiteY63004"/>
              </a:cxn>
              <a:cxn ang="0">
                <a:pos x="connsiteX63005" y="connsiteY63005"/>
              </a:cxn>
              <a:cxn ang="0">
                <a:pos x="connsiteX63006" y="connsiteY63006"/>
              </a:cxn>
              <a:cxn ang="0">
                <a:pos x="connsiteX63007" y="connsiteY63007"/>
              </a:cxn>
              <a:cxn ang="0">
                <a:pos x="connsiteX63008" y="connsiteY63008"/>
              </a:cxn>
              <a:cxn ang="0">
                <a:pos x="connsiteX63009" y="connsiteY63009"/>
              </a:cxn>
              <a:cxn ang="0">
                <a:pos x="connsiteX63010" y="connsiteY63010"/>
              </a:cxn>
              <a:cxn ang="0">
                <a:pos x="connsiteX63011" y="connsiteY63011"/>
              </a:cxn>
              <a:cxn ang="0">
                <a:pos x="connsiteX63012" y="connsiteY63012"/>
              </a:cxn>
              <a:cxn ang="0">
                <a:pos x="connsiteX63013" y="connsiteY63013"/>
              </a:cxn>
              <a:cxn ang="0">
                <a:pos x="connsiteX63014" y="connsiteY63014"/>
              </a:cxn>
              <a:cxn ang="0">
                <a:pos x="connsiteX63015" y="connsiteY63015"/>
              </a:cxn>
              <a:cxn ang="0">
                <a:pos x="connsiteX63016" y="connsiteY63016"/>
              </a:cxn>
              <a:cxn ang="0">
                <a:pos x="connsiteX63017" y="connsiteY63017"/>
              </a:cxn>
              <a:cxn ang="0">
                <a:pos x="connsiteX63018" y="connsiteY63018"/>
              </a:cxn>
              <a:cxn ang="0">
                <a:pos x="connsiteX63019" y="connsiteY63019"/>
              </a:cxn>
              <a:cxn ang="0">
                <a:pos x="connsiteX63020" y="connsiteY63020"/>
              </a:cxn>
              <a:cxn ang="0">
                <a:pos x="connsiteX63021" y="connsiteY63021"/>
              </a:cxn>
              <a:cxn ang="0">
                <a:pos x="connsiteX63022" y="connsiteY63022"/>
              </a:cxn>
              <a:cxn ang="0">
                <a:pos x="connsiteX63023" y="connsiteY63023"/>
              </a:cxn>
              <a:cxn ang="0">
                <a:pos x="connsiteX63024" y="connsiteY63024"/>
              </a:cxn>
              <a:cxn ang="0">
                <a:pos x="connsiteX63025" y="connsiteY63025"/>
              </a:cxn>
              <a:cxn ang="0">
                <a:pos x="connsiteX63026" y="connsiteY63026"/>
              </a:cxn>
              <a:cxn ang="0">
                <a:pos x="connsiteX63027" y="connsiteY63027"/>
              </a:cxn>
              <a:cxn ang="0">
                <a:pos x="connsiteX63028" y="connsiteY63028"/>
              </a:cxn>
              <a:cxn ang="0">
                <a:pos x="connsiteX63029" y="connsiteY63029"/>
              </a:cxn>
              <a:cxn ang="0">
                <a:pos x="connsiteX63030" y="connsiteY63030"/>
              </a:cxn>
              <a:cxn ang="0">
                <a:pos x="connsiteX63031" y="connsiteY63031"/>
              </a:cxn>
              <a:cxn ang="0">
                <a:pos x="connsiteX63032" y="connsiteY63032"/>
              </a:cxn>
              <a:cxn ang="0">
                <a:pos x="connsiteX63033" y="connsiteY63033"/>
              </a:cxn>
              <a:cxn ang="0">
                <a:pos x="connsiteX63034" y="connsiteY63034"/>
              </a:cxn>
              <a:cxn ang="0">
                <a:pos x="connsiteX63035" y="connsiteY63035"/>
              </a:cxn>
              <a:cxn ang="0">
                <a:pos x="connsiteX63036" y="connsiteY63036"/>
              </a:cxn>
              <a:cxn ang="0">
                <a:pos x="connsiteX63037" y="connsiteY63037"/>
              </a:cxn>
              <a:cxn ang="0">
                <a:pos x="connsiteX63038" y="connsiteY63038"/>
              </a:cxn>
              <a:cxn ang="0">
                <a:pos x="connsiteX63039" y="connsiteY63039"/>
              </a:cxn>
              <a:cxn ang="0">
                <a:pos x="connsiteX63040" y="connsiteY63040"/>
              </a:cxn>
              <a:cxn ang="0">
                <a:pos x="connsiteX63041" y="connsiteY63041"/>
              </a:cxn>
              <a:cxn ang="0">
                <a:pos x="connsiteX63042" y="connsiteY63042"/>
              </a:cxn>
              <a:cxn ang="0">
                <a:pos x="connsiteX63043" y="connsiteY63043"/>
              </a:cxn>
              <a:cxn ang="0">
                <a:pos x="connsiteX63044" y="connsiteY63044"/>
              </a:cxn>
              <a:cxn ang="0">
                <a:pos x="connsiteX63045" y="connsiteY63045"/>
              </a:cxn>
              <a:cxn ang="0">
                <a:pos x="connsiteX63046" y="connsiteY63046"/>
              </a:cxn>
              <a:cxn ang="0">
                <a:pos x="connsiteX63047" y="connsiteY63047"/>
              </a:cxn>
              <a:cxn ang="0">
                <a:pos x="connsiteX63048" y="connsiteY63048"/>
              </a:cxn>
              <a:cxn ang="0">
                <a:pos x="connsiteX63049" y="connsiteY63049"/>
              </a:cxn>
              <a:cxn ang="0">
                <a:pos x="connsiteX63050" y="connsiteY63050"/>
              </a:cxn>
              <a:cxn ang="0">
                <a:pos x="connsiteX63051" y="connsiteY63051"/>
              </a:cxn>
              <a:cxn ang="0">
                <a:pos x="connsiteX63052" y="connsiteY63052"/>
              </a:cxn>
              <a:cxn ang="0">
                <a:pos x="connsiteX63053" y="connsiteY63053"/>
              </a:cxn>
              <a:cxn ang="0">
                <a:pos x="connsiteX63054" y="connsiteY63054"/>
              </a:cxn>
              <a:cxn ang="0">
                <a:pos x="connsiteX63055" y="connsiteY63055"/>
              </a:cxn>
              <a:cxn ang="0">
                <a:pos x="connsiteX63056" y="connsiteY63056"/>
              </a:cxn>
              <a:cxn ang="0">
                <a:pos x="connsiteX63057" y="connsiteY63057"/>
              </a:cxn>
              <a:cxn ang="0">
                <a:pos x="connsiteX63058" y="connsiteY63058"/>
              </a:cxn>
              <a:cxn ang="0">
                <a:pos x="connsiteX63059" y="connsiteY63059"/>
              </a:cxn>
              <a:cxn ang="0">
                <a:pos x="connsiteX63060" y="connsiteY63060"/>
              </a:cxn>
              <a:cxn ang="0">
                <a:pos x="connsiteX63061" y="connsiteY63061"/>
              </a:cxn>
              <a:cxn ang="0">
                <a:pos x="connsiteX63062" y="connsiteY63062"/>
              </a:cxn>
              <a:cxn ang="0">
                <a:pos x="connsiteX63063" y="connsiteY63063"/>
              </a:cxn>
              <a:cxn ang="0">
                <a:pos x="connsiteX63064" y="connsiteY63064"/>
              </a:cxn>
              <a:cxn ang="0">
                <a:pos x="connsiteX63065" y="connsiteY63065"/>
              </a:cxn>
              <a:cxn ang="0">
                <a:pos x="connsiteX63066" y="connsiteY63066"/>
              </a:cxn>
              <a:cxn ang="0">
                <a:pos x="connsiteX63067" y="connsiteY63067"/>
              </a:cxn>
              <a:cxn ang="0">
                <a:pos x="connsiteX63068" y="connsiteY63068"/>
              </a:cxn>
              <a:cxn ang="0">
                <a:pos x="connsiteX63069" y="connsiteY63069"/>
              </a:cxn>
              <a:cxn ang="0">
                <a:pos x="connsiteX63070" y="connsiteY63070"/>
              </a:cxn>
              <a:cxn ang="0">
                <a:pos x="connsiteX63071" y="connsiteY63071"/>
              </a:cxn>
              <a:cxn ang="0">
                <a:pos x="connsiteX63072" y="connsiteY63072"/>
              </a:cxn>
              <a:cxn ang="0">
                <a:pos x="connsiteX63073" y="connsiteY63073"/>
              </a:cxn>
              <a:cxn ang="0">
                <a:pos x="connsiteX63074" y="connsiteY63074"/>
              </a:cxn>
              <a:cxn ang="0">
                <a:pos x="connsiteX63075" y="connsiteY63075"/>
              </a:cxn>
              <a:cxn ang="0">
                <a:pos x="connsiteX63076" y="connsiteY63076"/>
              </a:cxn>
              <a:cxn ang="0">
                <a:pos x="connsiteX63077" y="connsiteY63077"/>
              </a:cxn>
              <a:cxn ang="0">
                <a:pos x="connsiteX63078" y="connsiteY63078"/>
              </a:cxn>
              <a:cxn ang="0">
                <a:pos x="connsiteX63079" y="connsiteY63079"/>
              </a:cxn>
              <a:cxn ang="0">
                <a:pos x="connsiteX63080" y="connsiteY63080"/>
              </a:cxn>
              <a:cxn ang="0">
                <a:pos x="connsiteX63081" y="connsiteY63081"/>
              </a:cxn>
              <a:cxn ang="0">
                <a:pos x="connsiteX63082" y="connsiteY63082"/>
              </a:cxn>
              <a:cxn ang="0">
                <a:pos x="connsiteX63083" y="connsiteY63083"/>
              </a:cxn>
              <a:cxn ang="0">
                <a:pos x="connsiteX63084" y="connsiteY63084"/>
              </a:cxn>
              <a:cxn ang="0">
                <a:pos x="connsiteX63085" y="connsiteY63085"/>
              </a:cxn>
              <a:cxn ang="0">
                <a:pos x="connsiteX63086" y="connsiteY63086"/>
              </a:cxn>
              <a:cxn ang="0">
                <a:pos x="connsiteX63087" y="connsiteY63087"/>
              </a:cxn>
              <a:cxn ang="0">
                <a:pos x="connsiteX63088" y="connsiteY63088"/>
              </a:cxn>
              <a:cxn ang="0">
                <a:pos x="connsiteX63089" y="connsiteY63089"/>
              </a:cxn>
              <a:cxn ang="0">
                <a:pos x="connsiteX63090" y="connsiteY63090"/>
              </a:cxn>
              <a:cxn ang="0">
                <a:pos x="connsiteX63091" y="connsiteY63091"/>
              </a:cxn>
              <a:cxn ang="0">
                <a:pos x="connsiteX63092" y="connsiteY63092"/>
              </a:cxn>
              <a:cxn ang="0">
                <a:pos x="connsiteX63093" y="connsiteY63093"/>
              </a:cxn>
              <a:cxn ang="0">
                <a:pos x="connsiteX63094" y="connsiteY63094"/>
              </a:cxn>
              <a:cxn ang="0">
                <a:pos x="connsiteX63095" y="connsiteY63095"/>
              </a:cxn>
              <a:cxn ang="0">
                <a:pos x="connsiteX63096" y="connsiteY63096"/>
              </a:cxn>
              <a:cxn ang="0">
                <a:pos x="connsiteX63097" y="connsiteY63097"/>
              </a:cxn>
              <a:cxn ang="0">
                <a:pos x="connsiteX63098" y="connsiteY63098"/>
              </a:cxn>
              <a:cxn ang="0">
                <a:pos x="connsiteX63099" y="connsiteY63099"/>
              </a:cxn>
              <a:cxn ang="0">
                <a:pos x="connsiteX63100" y="connsiteY63100"/>
              </a:cxn>
              <a:cxn ang="0">
                <a:pos x="connsiteX63101" y="connsiteY63101"/>
              </a:cxn>
              <a:cxn ang="0">
                <a:pos x="connsiteX63102" y="connsiteY63102"/>
              </a:cxn>
              <a:cxn ang="0">
                <a:pos x="connsiteX63103" y="connsiteY63103"/>
              </a:cxn>
              <a:cxn ang="0">
                <a:pos x="connsiteX63104" y="connsiteY63104"/>
              </a:cxn>
              <a:cxn ang="0">
                <a:pos x="connsiteX63105" y="connsiteY63105"/>
              </a:cxn>
              <a:cxn ang="0">
                <a:pos x="connsiteX63106" y="connsiteY63106"/>
              </a:cxn>
              <a:cxn ang="0">
                <a:pos x="connsiteX63107" y="connsiteY63107"/>
              </a:cxn>
              <a:cxn ang="0">
                <a:pos x="connsiteX63108" y="connsiteY63108"/>
              </a:cxn>
              <a:cxn ang="0">
                <a:pos x="connsiteX63109" y="connsiteY63109"/>
              </a:cxn>
              <a:cxn ang="0">
                <a:pos x="connsiteX63110" y="connsiteY63110"/>
              </a:cxn>
              <a:cxn ang="0">
                <a:pos x="connsiteX63111" y="connsiteY63111"/>
              </a:cxn>
              <a:cxn ang="0">
                <a:pos x="connsiteX63112" y="connsiteY63112"/>
              </a:cxn>
              <a:cxn ang="0">
                <a:pos x="connsiteX63113" y="connsiteY63113"/>
              </a:cxn>
              <a:cxn ang="0">
                <a:pos x="connsiteX63114" y="connsiteY63114"/>
              </a:cxn>
              <a:cxn ang="0">
                <a:pos x="connsiteX63115" y="connsiteY63115"/>
              </a:cxn>
              <a:cxn ang="0">
                <a:pos x="connsiteX63116" y="connsiteY63116"/>
              </a:cxn>
              <a:cxn ang="0">
                <a:pos x="connsiteX63117" y="connsiteY63117"/>
              </a:cxn>
              <a:cxn ang="0">
                <a:pos x="connsiteX63118" y="connsiteY63118"/>
              </a:cxn>
              <a:cxn ang="0">
                <a:pos x="connsiteX63119" y="connsiteY63119"/>
              </a:cxn>
              <a:cxn ang="0">
                <a:pos x="connsiteX63120" y="connsiteY63120"/>
              </a:cxn>
              <a:cxn ang="0">
                <a:pos x="connsiteX63121" y="connsiteY63121"/>
              </a:cxn>
              <a:cxn ang="0">
                <a:pos x="connsiteX63122" y="connsiteY63122"/>
              </a:cxn>
              <a:cxn ang="0">
                <a:pos x="connsiteX63123" y="connsiteY63123"/>
              </a:cxn>
              <a:cxn ang="0">
                <a:pos x="connsiteX63124" y="connsiteY63124"/>
              </a:cxn>
              <a:cxn ang="0">
                <a:pos x="connsiteX63125" y="connsiteY63125"/>
              </a:cxn>
              <a:cxn ang="0">
                <a:pos x="connsiteX63126" y="connsiteY63126"/>
              </a:cxn>
              <a:cxn ang="0">
                <a:pos x="connsiteX63127" y="connsiteY63127"/>
              </a:cxn>
              <a:cxn ang="0">
                <a:pos x="connsiteX63128" y="connsiteY63128"/>
              </a:cxn>
              <a:cxn ang="0">
                <a:pos x="connsiteX63129" y="connsiteY63129"/>
              </a:cxn>
              <a:cxn ang="0">
                <a:pos x="connsiteX63130" y="connsiteY63130"/>
              </a:cxn>
              <a:cxn ang="0">
                <a:pos x="connsiteX63131" y="connsiteY63131"/>
              </a:cxn>
              <a:cxn ang="0">
                <a:pos x="connsiteX63132" y="connsiteY63132"/>
              </a:cxn>
              <a:cxn ang="0">
                <a:pos x="connsiteX63133" y="connsiteY63133"/>
              </a:cxn>
              <a:cxn ang="0">
                <a:pos x="connsiteX63134" y="connsiteY63134"/>
              </a:cxn>
              <a:cxn ang="0">
                <a:pos x="connsiteX63135" y="connsiteY63135"/>
              </a:cxn>
              <a:cxn ang="0">
                <a:pos x="connsiteX63136" y="connsiteY63136"/>
              </a:cxn>
              <a:cxn ang="0">
                <a:pos x="connsiteX63137" y="connsiteY63137"/>
              </a:cxn>
              <a:cxn ang="0">
                <a:pos x="connsiteX63138" y="connsiteY63138"/>
              </a:cxn>
              <a:cxn ang="0">
                <a:pos x="connsiteX63139" y="connsiteY63139"/>
              </a:cxn>
              <a:cxn ang="0">
                <a:pos x="connsiteX63140" y="connsiteY63140"/>
              </a:cxn>
              <a:cxn ang="0">
                <a:pos x="connsiteX63141" y="connsiteY63141"/>
              </a:cxn>
              <a:cxn ang="0">
                <a:pos x="connsiteX63142" y="connsiteY63142"/>
              </a:cxn>
              <a:cxn ang="0">
                <a:pos x="connsiteX63143" y="connsiteY63143"/>
              </a:cxn>
              <a:cxn ang="0">
                <a:pos x="connsiteX63144" y="connsiteY63144"/>
              </a:cxn>
              <a:cxn ang="0">
                <a:pos x="connsiteX63145" y="connsiteY63145"/>
              </a:cxn>
              <a:cxn ang="0">
                <a:pos x="connsiteX63146" y="connsiteY63146"/>
              </a:cxn>
              <a:cxn ang="0">
                <a:pos x="connsiteX63147" y="connsiteY63147"/>
              </a:cxn>
              <a:cxn ang="0">
                <a:pos x="connsiteX63148" y="connsiteY63148"/>
              </a:cxn>
              <a:cxn ang="0">
                <a:pos x="connsiteX63149" y="connsiteY63149"/>
              </a:cxn>
              <a:cxn ang="0">
                <a:pos x="connsiteX63150" y="connsiteY63150"/>
              </a:cxn>
              <a:cxn ang="0">
                <a:pos x="connsiteX63151" y="connsiteY63151"/>
              </a:cxn>
              <a:cxn ang="0">
                <a:pos x="connsiteX63152" y="connsiteY63152"/>
              </a:cxn>
              <a:cxn ang="0">
                <a:pos x="connsiteX63153" y="connsiteY63153"/>
              </a:cxn>
              <a:cxn ang="0">
                <a:pos x="connsiteX63154" y="connsiteY63154"/>
              </a:cxn>
              <a:cxn ang="0">
                <a:pos x="connsiteX63155" y="connsiteY63155"/>
              </a:cxn>
              <a:cxn ang="0">
                <a:pos x="connsiteX63156" y="connsiteY63156"/>
              </a:cxn>
              <a:cxn ang="0">
                <a:pos x="connsiteX63157" y="connsiteY63157"/>
              </a:cxn>
              <a:cxn ang="0">
                <a:pos x="connsiteX63158" y="connsiteY63158"/>
              </a:cxn>
              <a:cxn ang="0">
                <a:pos x="connsiteX63159" y="connsiteY63159"/>
              </a:cxn>
              <a:cxn ang="0">
                <a:pos x="connsiteX63160" y="connsiteY63160"/>
              </a:cxn>
              <a:cxn ang="0">
                <a:pos x="connsiteX63161" y="connsiteY63161"/>
              </a:cxn>
              <a:cxn ang="0">
                <a:pos x="connsiteX63162" y="connsiteY63162"/>
              </a:cxn>
              <a:cxn ang="0">
                <a:pos x="connsiteX63163" y="connsiteY63163"/>
              </a:cxn>
              <a:cxn ang="0">
                <a:pos x="connsiteX63164" y="connsiteY63164"/>
              </a:cxn>
              <a:cxn ang="0">
                <a:pos x="connsiteX63165" y="connsiteY63165"/>
              </a:cxn>
              <a:cxn ang="0">
                <a:pos x="connsiteX63166" y="connsiteY63166"/>
              </a:cxn>
              <a:cxn ang="0">
                <a:pos x="connsiteX63167" y="connsiteY63167"/>
              </a:cxn>
              <a:cxn ang="0">
                <a:pos x="connsiteX63168" y="connsiteY63168"/>
              </a:cxn>
              <a:cxn ang="0">
                <a:pos x="connsiteX63169" y="connsiteY63169"/>
              </a:cxn>
              <a:cxn ang="0">
                <a:pos x="connsiteX63170" y="connsiteY63170"/>
              </a:cxn>
              <a:cxn ang="0">
                <a:pos x="connsiteX63171" y="connsiteY63171"/>
              </a:cxn>
              <a:cxn ang="0">
                <a:pos x="connsiteX63172" y="connsiteY63172"/>
              </a:cxn>
              <a:cxn ang="0">
                <a:pos x="connsiteX63173" y="connsiteY63173"/>
              </a:cxn>
              <a:cxn ang="0">
                <a:pos x="connsiteX63174" y="connsiteY63174"/>
              </a:cxn>
              <a:cxn ang="0">
                <a:pos x="connsiteX63175" y="connsiteY63175"/>
              </a:cxn>
              <a:cxn ang="0">
                <a:pos x="connsiteX63176" y="connsiteY63176"/>
              </a:cxn>
              <a:cxn ang="0">
                <a:pos x="connsiteX63177" y="connsiteY63177"/>
              </a:cxn>
              <a:cxn ang="0">
                <a:pos x="connsiteX63178" y="connsiteY63178"/>
              </a:cxn>
              <a:cxn ang="0">
                <a:pos x="connsiteX63179" y="connsiteY63179"/>
              </a:cxn>
              <a:cxn ang="0">
                <a:pos x="connsiteX63180" y="connsiteY63180"/>
              </a:cxn>
              <a:cxn ang="0">
                <a:pos x="connsiteX63181" y="connsiteY63181"/>
              </a:cxn>
              <a:cxn ang="0">
                <a:pos x="connsiteX63182" y="connsiteY63182"/>
              </a:cxn>
              <a:cxn ang="0">
                <a:pos x="connsiteX63183" y="connsiteY63183"/>
              </a:cxn>
              <a:cxn ang="0">
                <a:pos x="connsiteX63184" y="connsiteY63184"/>
              </a:cxn>
              <a:cxn ang="0">
                <a:pos x="connsiteX63185" y="connsiteY63185"/>
              </a:cxn>
              <a:cxn ang="0">
                <a:pos x="connsiteX63186" y="connsiteY63186"/>
              </a:cxn>
              <a:cxn ang="0">
                <a:pos x="connsiteX63187" y="connsiteY63187"/>
              </a:cxn>
              <a:cxn ang="0">
                <a:pos x="connsiteX63188" y="connsiteY63188"/>
              </a:cxn>
              <a:cxn ang="0">
                <a:pos x="connsiteX63189" y="connsiteY63189"/>
              </a:cxn>
              <a:cxn ang="0">
                <a:pos x="connsiteX63190" y="connsiteY63190"/>
              </a:cxn>
              <a:cxn ang="0">
                <a:pos x="connsiteX63191" y="connsiteY63191"/>
              </a:cxn>
              <a:cxn ang="0">
                <a:pos x="connsiteX63192" y="connsiteY63192"/>
              </a:cxn>
              <a:cxn ang="0">
                <a:pos x="connsiteX63193" y="connsiteY63193"/>
              </a:cxn>
              <a:cxn ang="0">
                <a:pos x="connsiteX63194" y="connsiteY63194"/>
              </a:cxn>
              <a:cxn ang="0">
                <a:pos x="connsiteX63195" y="connsiteY63195"/>
              </a:cxn>
              <a:cxn ang="0">
                <a:pos x="connsiteX63196" y="connsiteY63196"/>
              </a:cxn>
              <a:cxn ang="0">
                <a:pos x="connsiteX63197" y="connsiteY63197"/>
              </a:cxn>
              <a:cxn ang="0">
                <a:pos x="connsiteX63198" y="connsiteY63198"/>
              </a:cxn>
              <a:cxn ang="0">
                <a:pos x="connsiteX63199" y="connsiteY63199"/>
              </a:cxn>
              <a:cxn ang="0">
                <a:pos x="connsiteX63200" y="connsiteY63200"/>
              </a:cxn>
              <a:cxn ang="0">
                <a:pos x="connsiteX63201" y="connsiteY63201"/>
              </a:cxn>
              <a:cxn ang="0">
                <a:pos x="connsiteX63202" y="connsiteY63202"/>
              </a:cxn>
              <a:cxn ang="0">
                <a:pos x="connsiteX63203" y="connsiteY63203"/>
              </a:cxn>
              <a:cxn ang="0">
                <a:pos x="connsiteX63204" y="connsiteY63204"/>
              </a:cxn>
              <a:cxn ang="0">
                <a:pos x="connsiteX63205" y="connsiteY63205"/>
              </a:cxn>
              <a:cxn ang="0">
                <a:pos x="connsiteX63206" y="connsiteY63206"/>
              </a:cxn>
              <a:cxn ang="0">
                <a:pos x="connsiteX63207" y="connsiteY63207"/>
              </a:cxn>
              <a:cxn ang="0">
                <a:pos x="connsiteX63208" y="connsiteY63208"/>
              </a:cxn>
              <a:cxn ang="0">
                <a:pos x="connsiteX63209" y="connsiteY63209"/>
              </a:cxn>
              <a:cxn ang="0">
                <a:pos x="connsiteX63210" y="connsiteY63210"/>
              </a:cxn>
              <a:cxn ang="0">
                <a:pos x="connsiteX63211" y="connsiteY63211"/>
              </a:cxn>
              <a:cxn ang="0">
                <a:pos x="connsiteX63212" y="connsiteY63212"/>
              </a:cxn>
              <a:cxn ang="0">
                <a:pos x="connsiteX63213" y="connsiteY63213"/>
              </a:cxn>
              <a:cxn ang="0">
                <a:pos x="connsiteX63214" y="connsiteY63214"/>
              </a:cxn>
              <a:cxn ang="0">
                <a:pos x="connsiteX63215" y="connsiteY63215"/>
              </a:cxn>
              <a:cxn ang="0">
                <a:pos x="connsiteX63216" y="connsiteY63216"/>
              </a:cxn>
              <a:cxn ang="0">
                <a:pos x="connsiteX63217" y="connsiteY63217"/>
              </a:cxn>
              <a:cxn ang="0">
                <a:pos x="connsiteX63218" y="connsiteY63218"/>
              </a:cxn>
              <a:cxn ang="0">
                <a:pos x="connsiteX63219" y="connsiteY63219"/>
              </a:cxn>
              <a:cxn ang="0">
                <a:pos x="connsiteX63220" y="connsiteY63220"/>
              </a:cxn>
              <a:cxn ang="0">
                <a:pos x="connsiteX63221" y="connsiteY63221"/>
              </a:cxn>
              <a:cxn ang="0">
                <a:pos x="connsiteX63222" y="connsiteY63222"/>
              </a:cxn>
              <a:cxn ang="0">
                <a:pos x="connsiteX63223" y="connsiteY63223"/>
              </a:cxn>
              <a:cxn ang="0">
                <a:pos x="connsiteX63224" y="connsiteY63224"/>
              </a:cxn>
              <a:cxn ang="0">
                <a:pos x="connsiteX63225" y="connsiteY63225"/>
              </a:cxn>
              <a:cxn ang="0">
                <a:pos x="connsiteX63226" y="connsiteY63226"/>
              </a:cxn>
              <a:cxn ang="0">
                <a:pos x="connsiteX63227" y="connsiteY63227"/>
              </a:cxn>
              <a:cxn ang="0">
                <a:pos x="connsiteX63228" y="connsiteY63228"/>
              </a:cxn>
              <a:cxn ang="0">
                <a:pos x="connsiteX63229" y="connsiteY63229"/>
              </a:cxn>
              <a:cxn ang="0">
                <a:pos x="connsiteX63230" y="connsiteY63230"/>
              </a:cxn>
              <a:cxn ang="0">
                <a:pos x="connsiteX63231" y="connsiteY63231"/>
              </a:cxn>
              <a:cxn ang="0">
                <a:pos x="connsiteX63232" y="connsiteY63232"/>
              </a:cxn>
              <a:cxn ang="0">
                <a:pos x="connsiteX63233" y="connsiteY63233"/>
              </a:cxn>
              <a:cxn ang="0">
                <a:pos x="connsiteX63234" y="connsiteY63234"/>
              </a:cxn>
              <a:cxn ang="0">
                <a:pos x="connsiteX63235" y="connsiteY63235"/>
              </a:cxn>
              <a:cxn ang="0">
                <a:pos x="connsiteX63236" y="connsiteY63236"/>
              </a:cxn>
              <a:cxn ang="0">
                <a:pos x="connsiteX63237" y="connsiteY63237"/>
              </a:cxn>
              <a:cxn ang="0">
                <a:pos x="connsiteX63238" y="connsiteY63238"/>
              </a:cxn>
              <a:cxn ang="0">
                <a:pos x="connsiteX63239" y="connsiteY63239"/>
              </a:cxn>
              <a:cxn ang="0">
                <a:pos x="connsiteX63240" y="connsiteY63240"/>
              </a:cxn>
              <a:cxn ang="0">
                <a:pos x="connsiteX63241" y="connsiteY63241"/>
              </a:cxn>
              <a:cxn ang="0">
                <a:pos x="connsiteX63242" y="connsiteY63242"/>
              </a:cxn>
              <a:cxn ang="0">
                <a:pos x="connsiteX63243" y="connsiteY63243"/>
              </a:cxn>
              <a:cxn ang="0">
                <a:pos x="connsiteX63244" y="connsiteY63244"/>
              </a:cxn>
              <a:cxn ang="0">
                <a:pos x="connsiteX63245" y="connsiteY63245"/>
              </a:cxn>
              <a:cxn ang="0">
                <a:pos x="connsiteX63246" y="connsiteY63246"/>
              </a:cxn>
              <a:cxn ang="0">
                <a:pos x="connsiteX63247" y="connsiteY63247"/>
              </a:cxn>
              <a:cxn ang="0">
                <a:pos x="connsiteX63248" y="connsiteY63248"/>
              </a:cxn>
              <a:cxn ang="0">
                <a:pos x="connsiteX63249" y="connsiteY63249"/>
              </a:cxn>
              <a:cxn ang="0">
                <a:pos x="connsiteX63250" y="connsiteY63250"/>
              </a:cxn>
              <a:cxn ang="0">
                <a:pos x="connsiteX63251" y="connsiteY63251"/>
              </a:cxn>
              <a:cxn ang="0">
                <a:pos x="connsiteX63252" y="connsiteY63252"/>
              </a:cxn>
              <a:cxn ang="0">
                <a:pos x="connsiteX63253" y="connsiteY63253"/>
              </a:cxn>
              <a:cxn ang="0">
                <a:pos x="connsiteX63254" y="connsiteY63254"/>
              </a:cxn>
              <a:cxn ang="0">
                <a:pos x="connsiteX63255" y="connsiteY63255"/>
              </a:cxn>
              <a:cxn ang="0">
                <a:pos x="connsiteX63256" y="connsiteY63256"/>
              </a:cxn>
              <a:cxn ang="0">
                <a:pos x="connsiteX63257" y="connsiteY63257"/>
              </a:cxn>
              <a:cxn ang="0">
                <a:pos x="connsiteX63258" y="connsiteY63258"/>
              </a:cxn>
              <a:cxn ang="0">
                <a:pos x="connsiteX63259" y="connsiteY63259"/>
              </a:cxn>
              <a:cxn ang="0">
                <a:pos x="connsiteX63260" y="connsiteY63260"/>
              </a:cxn>
              <a:cxn ang="0">
                <a:pos x="connsiteX63261" y="connsiteY63261"/>
              </a:cxn>
              <a:cxn ang="0">
                <a:pos x="connsiteX63262" y="connsiteY63262"/>
              </a:cxn>
              <a:cxn ang="0">
                <a:pos x="connsiteX63263" y="connsiteY63263"/>
              </a:cxn>
              <a:cxn ang="0">
                <a:pos x="connsiteX63264" y="connsiteY63264"/>
              </a:cxn>
              <a:cxn ang="0">
                <a:pos x="connsiteX63265" y="connsiteY63265"/>
              </a:cxn>
              <a:cxn ang="0">
                <a:pos x="connsiteX63266" y="connsiteY63266"/>
              </a:cxn>
              <a:cxn ang="0">
                <a:pos x="connsiteX63267" y="connsiteY63267"/>
              </a:cxn>
              <a:cxn ang="0">
                <a:pos x="connsiteX63268" y="connsiteY63268"/>
              </a:cxn>
              <a:cxn ang="0">
                <a:pos x="connsiteX63269" y="connsiteY63269"/>
              </a:cxn>
              <a:cxn ang="0">
                <a:pos x="connsiteX63270" y="connsiteY63270"/>
              </a:cxn>
              <a:cxn ang="0">
                <a:pos x="connsiteX63271" y="connsiteY63271"/>
              </a:cxn>
              <a:cxn ang="0">
                <a:pos x="connsiteX63272" y="connsiteY63272"/>
              </a:cxn>
              <a:cxn ang="0">
                <a:pos x="connsiteX63273" y="connsiteY63273"/>
              </a:cxn>
              <a:cxn ang="0">
                <a:pos x="connsiteX63274" y="connsiteY63274"/>
              </a:cxn>
              <a:cxn ang="0">
                <a:pos x="connsiteX63275" y="connsiteY63275"/>
              </a:cxn>
              <a:cxn ang="0">
                <a:pos x="connsiteX63276" y="connsiteY63276"/>
              </a:cxn>
              <a:cxn ang="0">
                <a:pos x="connsiteX63277" y="connsiteY63277"/>
              </a:cxn>
              <a:cxn ang="0">
                <a:pos x="connsiteX63278" y="connsiteY63278"/>
              </a:cxn>
              <a:cxn ang="0">
                <a:pos x="connsiteX63279" y="connsiteY63279"/>
              </a:cxn>
              <a:cxn ang="0">
                <a:pos x="connsiteX63280" y="connsiteY63280"/>
              </a:cxn>
              <a:cxn ang="0">
                <a:pos x="connsiteX63281" y="connsiteY63281"/>
              </a:cxn>
              <a:cxn ang="0">
                <a:pos x="connsiteX63282" y="connsiteY63282"/>
              </a:cxn>
              <a:cxn ang="0">
                <a:pos x="connsiteX63283" y="connsiteY63283"/>
              </a:cxn>
              <a:cxn ang="0">
                <a:pos x="connsiteX63284" y="connsiteY63284"/>
              </a:cxn>
              <a:cxn ang="0">
                <a:pos x="connsiteX63285" y="connsiteY63285"/>
              </a:cxn>
              <a:cxn ang="0">
                <a:pos x="connsiteX63286" y="connsiteY63286"/>
              </a:cxn>
              <a:cxn ang="0">
                <a:pos x="connsiteX63287" y="connsiteY63287"/>
              </a:cxn>
              <a:cxn ang="0">
                <a:pos x="connsiteX63288" y="connsiteY63288"/>
              </a:cxn>
              <a:cxn ang="0">
                <a:pos x="connsiteX63289" y="connsiteY63289"/>
              </a:cxn>
              <a:cxn ang="0">
                <a:pos x="connsiteX63290" y="connsiteY63290"/>
              </a:cxn>
              <a:cxn ang="0">
                <a:pos x="connsiteX63291" y="connsiteY63291"/>
              </a:cxn>
              <a:cxn ang="0">
                <a:pos x="connsiteX63292" y="connsiteY63292"/>
              </a:cxn>
              <a:cxn ang="0">
                <a:pos x="connsiteX63293" y="connsiteY63293"/>
              </a:cxn>
              <a:cxn ang="0">
                <a:pos x="connsiteX63294" y="connsiteY63294"/>
              </a:cxn>
              <a:cxn ang="0">
                <a:pos x="connsiteX63295" y="connsiteY63295"/>
              </a:cxn>
              <a:cxn ang="0">
                <a:pos x="connsiteX63296" y="connsiteY63296"/>
              </a:cxn>
              <a:cxn ang="0">
                <a:pos x="connsiteX63297" y="connsiteY63297"/>
              </a:cxn>
              <a:cxn ang="0">
                <a:pos x="connsiteX63298" y="connsiteY63298"/>
              </a:cxn>
              <a:cxn ang="0">
                <a:pos x="connsiteX63299" y="connsiteY63299"/>
              </a:cxn>
              <a:cxn ang="0">
                <a:pos x="connsiteX63300" y="connsiteY63300"/>
              </a:cxn>
              <a:cxn ang="0">
                <a:pos x="connsiteX63301" y="connsiteY63301"/>
              </a:cxn>
              <a:cxn ang="0">
                <a:pos x="connsiteX63302" y="connsiteY63302"/>
              </a:cxn>
              <a:cxn ang="0">
                <a:pos x="connsiteX63303" y="connsiteY63303"/>
              </a:cxn>
              <a:cxn ang="0">
                <a:pos x="connsiteX63304" y="connsiteY63304"/>
              </a:cxn>
              <a:cxn ang="0">
                <a:pos x="connsiteX63305" y="connsiteY63305"/>
              </a:cxn>
              <a:cxn ang="0">
                <a:pos x="connsiteX63306" y="connsiteY63306"/>
              </a:cxn>
              <a:cxn ang="0">
                <a:pos x="connsiteX63307" y="connsiteY63307"/>
              </a:cxn>
              <a:cxn ang="0">
                <a:pos x="connsiteX63308" y="connsiteY63308"/>
              </a:cxn>
              <a:cxn ang="0">
                <a:pos x="connsiteX63309" y="connsiteY63309"/>
              </a:cxn>
              <a:cxn ang="0">
                <a:pos x="connsiteX63310" y="connsiteY63310"/>
              </a:cxn>
              <a:cxn ang="0">
                <a:pos x="connsiteX63311" y="connsiteY63311"/>
              </a:cxn>
              <a:cxn ang="0">
                <a:pos x="connsiteX63312" y="connsiteY63312"/>
              </a:cxn>
              <a:cxn ang="0">
                <a:pos x="connsiteX63313" y="connsiteY63313"/>
              </a:cxn>
              <a:cxn ang="0">
                <a:pos x="connsiteX63314" y="connsiteY63314"/>
              </a:cxn>
              <a:cxn ang="0">
                <a:pos x="connsiteX63315" y="connsiteY63315"/>
              </a:cxn>
              <a:cxn ang="0">
                <a:pos x="connsiteX63316" y="connsiteY63316"/>
              </a:cxn>
              <a:cxn ang="0">
                <a:pos x="connsiteX63317" y="connsiteY63317"/>
              </a:cxn>
              <a:cxn ang="0">
                <a:pos x="connsiteX63318" y="connsiteY63318"/>
              </a:cxn>
              <a:cxn ang="0">
                <a:pos x="connsiteX63319" y="connsiteY63319"/>
              </a:cxn>
              <a:cxn ang="0">
                <a:pos x="connsiteX63320" y="connsiteY63320"/>
              </a:cxn>
              <a:cxn ang="0">
                <a:pos x="connsiteX63321" y="connsiteY63321"/>
              </a:cxn>
              <a:cxn ang="0">
                <a:pos x="connsiteX63322" y="connsiteY63322"/>
              </a:cxn>
              <a:cxn ang="0">
                <a:pos x="connsiteX63323" y="connsiteY63323"/>
              </a:cxn>
              <a:cxn ang="0">
                <a:pos x="connsiteX63324" y="connsiteY63324"/>
              </a:cxn>
              <a:cxn ang="0">
                <a:pos x="connsiteX63325" y="connsiteY63325"/>
              </a:cxn>
              <a:cxn ang="0">
                <a:pos x="connsiteX63326" y="connsiteY63326"/>
              </a:cxn>
              <a:cxn ang="0">
                <a:pos x="connsiteX63327" y="connsiteY63327"/>
              </a:cxn>
              <a:cxn ang="0">
                <a:pos x="connsiteX63328" y="connsiteY63328"/>
              </a:cxn>
              <a:cxn ang="0">
                <a:pos x="connsiteX63329" y="connsiteY63329"/>
              </a:cxn>
              <a:cxn ang="0">
                <a:pos x="connsiteX63330" y="connsiteY63330"/>
              </a:cxn>
              <a:cxn ang="0">
                <a:pos x="connsiteX63331" y="connsiteY63331"/>
              </a:cxn>
              <a:cxn ang="0">
                <a:pos x="connsiteX63332" y="connsiteY63332"/>
              </a:cxn>
              <a:cxn ang="0">
                <a:pos x="connsiteX63333" y="connsiteY63333"/>
              </a:cxn>
              <a:cxn ang="0">
                <a:pos x="connsiteX63334" y="connsiteY63334"/>
              </a:cxn>
              <a:cxn ang="0">
                <a:pos x="connsiteX63335" y="connsiteY63335"/>
              </a:cxn>
              <a:cxn ang="0">
                <a:pos x="connsiteX63336" y="connsiteY63336"/>
              </a:cxn>
              <a:cxn ang="0">
                <a:pos x="connsiteX63337" y="connsiteY63337"/>
              </a:cxn>
              <a:cxn ang="0">
                <a:pos x="connsiteX63338" y="connsiteY63338"/>
              </a:cxn>
              <a:cxn ang="0">
                <a:pos x="connsiteX63339" y="connsiteY63339"/>
              </a:cxn>
              <a:cxn ang="0">
                <a:pos x="connsiteX63340" y="connsiteY63340"/>
              </a:cxn>
              <a:cxn ang="0">
                <a:pos x="connsiteX63341" y="connsiteY63341"/>
              </a:cxn>
              <a:cxn ang="0">
                <a:pos x="connsiteX63342" y="connsiteY63342"/>
              </a:cxn>
              <a:cxn ang="0">
                <a:pos x="connsiteX63343" y="connsiteY63343"/>
              </a:cxn>
              <a:cxn ang="0">
                <a:pos x="connsiteX63344" y="connsiteY63344"/>
              </a:cxn>
              <a:cxn ang="0">
                <a:pos x="connsiteX63345" y="connsiteY63345"/>
              </a:cxn>
              <a:cxn ang="0">
                <a:pos x="connsiteX63346" y="connsiteY63346"/>
              </a:cxn>
              <a:cxn ang="0">
                <a:pos x="connsiteX63347" y="connsiteY63347"/>
              </a:cxn>
              <a:cxn ang="0">
                <a:pos x="connsiteX63348" y="connsiteY63348"/>
              </a:cxn>
              <a:cxn ang="0">
                <a:pos x="connsiteX63349" y="connsiteY63349"/>
              </a:cxn>
              <a:cxn ang="0">
                <a:pos x="connsiteX63350" y="connsiteY63350"/>
              </a:cxn>
              <a:cxn ang="0">
                <a:pos x="connsiteX63351" y="connsiteY63351"/>
              </a:cxn>
              <a:cxn ang="0">
                <a:pos x="connsiteX63352" y="connsiteY63352"/>
              </a:cxn>
              <a:cxn ang="0">
                <a:pos x="connsiteX63353" y="connsiteY63353"/>
              </a:cxn>
              <a:cxn ang="0">
                <a:pos x="connsiteX63354" y="connsiteY63354"/>
              </a:cxn>
              <a:cxn ang="0">
                <a:pos x="connsiteX63355" y="connsiteY63355"/>
              </a:cxn>
              <a:cxn ang="0">
                <a:pos x="connsiteX63356" y="connsiteY63356"/>
              </a:cxn>
              <a:cxn ang="0">
                <a:pos x="connsiteX63357" y="connsiteY63357"/>
              </a:cxn>
              <a:cxn ang="0">
                <a:pos x="connsiteX63358" y="connsiteY63358"/>
              </a:cxn>
              <a:cxn ang="0">
                <a:pos x="connsiteX63359" y="connsiteY63359"/>
              </a:cxn>
              <a:cxn ang="0">
                <a:pos x="connsiteX63360" y="connsiteY63360"/>
              </a:cxn>
              <a:cxn ang="0">
                <a:pos x="connsiteX63361" y="connsiteY63361"/>
              </a:cxn>
              <a:cxn ang="0">
                <a:pos x="connsiteX63362" y="connsiteY63362"/>
              </a:cxn>
              <a:cxn ang="0">
                <a:pos x="connsiteX63363" y="connsiteY63363"/>
              </a:cxn>
              <a:cxn ang="0">
                <a:pos x="connsiteX63364" y="connsiteY63364"/>
              </a:cxn>
              <a:cxn ang="0">
                <a:pos x="connsiteX63365" y="connsiteY63365"/>
              </a:cxn>
              <a:cxn ang="0">
                <a:pos x="connsiteX63366" y="connsiteY63366"/>
              </a:cxn>
              <a:cxn ang="0">
                <a:pos x="connsiteX63367" y="connsiteY63367"/>
              </a:cxn>
              <a:cxn ang="0">
                <a:pos x="connsiteX63368" y="connsiteY63368"/>
              </a:cxn>
              <a:cxn ang="0">
                <a:pos x="connsiteX63369" y="connsiteY63369"/>
              </a:cxn>
              <a:cxn ang="0">
                <a:pos x="connsiteX63370" y="connsiteY63370"/>
              </a:cxn>
              <a:cxn ang="0">
                <a:pos x="connsiteX63371" y="connsiteY63371"/>
              </a:cxn>
              <a:cxn ang="0">
                <a:pos x="connsiteX63372" y="connsiteY63372"/>
              </a:cxn>
              <a:cxn ang="0">
                <a:pos x="connsiteX63373" y="connsiteY63373"/>
              </a:cxn>
              <a:cxn ang="0">
                <a:pos x="connsiteX63374" y="connsiteY63374"/>
              </a:cxn>
              <a:cxn ang="0">
                <a:pos x="connsiteX63375" y="connsiteY63375"/>
              </a:cxn>
              <a:cxn ang="0">
                <a:pos x="connsiteX63376" y="connsiteY63376"/>
              </a:cxn>
              <a:cxn ang="0">
                <a:pos x="connsiteX63377" y="connsiteY63377"/>
              </a:cxn>
              <a:cxn ang="0">
                <a:pos x="connsiteX63378" y="connsiteY63378"/>
              </a:cxn>
              <a:cxn ang="0">
                <a:pos x="connsiteX63379" y="connsiteY63379"/>
              </a:cxn>
              <a:cxn ang="0">
                <a:pos x="connsiteX63380" y="connsiteY63380"/>
              </a:cxn>
              <a:cxn ang="0">
                <a:pos x="connsiteX63381" y="connsiteY63381"/>
              </a:cxn>
              <a:cxn ang="0">
                <a:pos x="connsiteX63382" y="connsiteY63382"/>
              </a:cxn>
              <a:cxn ang="0">
                <a:pos x="connsiteX63383" y="connsiteY63383"/>
              </a:cxn>
              <a:cxn ang="0">
                <a:pos x="connsiteX63384" y="connsiteY63384"/>
              </a:cxn>
              <a:cxn ang="0">
                <a:pos x="connsiteX63385" y="connsiteY63385"/>
              </a:cxn>
              <a:cxn ang="0">
                <a:pos x="connsiteX63386" y="connsiteY63386"/>
              </a:cxn>
              <a:cxn ang="0">
                <a:pos x="connsiteX63387" y="connsiteY63387"/>
              </a:cxn>
              <a:cxn ang="0">
                <a:pos x="connsiteX63388" y="connsiteY63388"/>
              </a:cxn>
              <a:cxn ang="0">
                <a:pos x="connsiteX63389" y="connsiteY63389"/>
              </a:cxn>
              <a:cxn ang="0">
                <a:pos x="connsiteX63390" y="connsiteY63390"/>
              </a:cxn>
              <a:cxn ang="0">
                <a:pos x="connsiteX63391" y="connsiteY63391"/>
              </a:cxn>
              <a:cxn ang="0">
                <a:pos x="connsiteX63392" y="connsiteY63392"/>
              </a:cxn>
              <a:cxn ang="0">
                <a:pos x="connsiteX63393" y="connsiteY63393"/>
              </a:cxn>
              <a:cxn ang="0">
                <a:pos x="connsiteX63394" y="connsiteY63394"/>
              </a:cxn>
              <a:cxn ang="0">
                <a:pos x="connsiteX63395" y="connsiteY63395"/>
              </a:cxn>
              <a:cxn ang="0">
                <a:pos x="connsiteX63396" y="connsiteY63396"/>
              </a:cxn>
              <a:cxn ang="0">
                <a:pos x="connsiteX63397" y="connsiteY63397"/>
              </a:cxn>
              <a:cxn ang="0">
                <a:pos x="connsiteX63398" y="connsiteY63398"/>
              </a:cxn>
              <a:cxn ang="0">
                <a:pos x="connsiteX63399" y="connsiteY63399"/>
              </a:cxn>
              <a:cxn ang="0">
                <a:pos x="connsiteX63400" y="connsiteY63400"/>
              </a:cxn>
              <a:cxn ang="0">
                <a:pos x="connsiteX63401" y="connsiteY63401"/>
              </a:cxn>
              <a:cxn ang="0">
                <a:pos x="connsiteX63402" y="connsiteY63402"/>
              </a:cxn>
              <a:cxn ang="0">
                <a:pos x="connsiteX63403" y="connsiteY63403"/>
              </a:cxn>
              <a:cxn ang="0">
                <a:pos x="connsiteX63404" y="connsiteY63404"/>
              </a:cxn>
              <a:cxn ang="0">
                <a:pos x="connsiteX63405" y="connsiteY63405"/>
              </a:cxn>
              <a:cxn ang="0">
                <a:pos x="connsiteX63406" y="connsiteY63406"/>
              </a:cxn>
              <a:cxn ang="0">
                <a:pos x="connsiteX63407" y="connsiteY63407"/>
              </a:cxn>
              <a:cxn ang="0">
                <a:pos x="connsiteX63408" y="connsiteY63408"/>
              </a:cxn>
              <a:cxn ang="0">
                <a:pos x="connsiteX63409" y="connsiteY63409"/>
              </a:cxn>
              <a:cxn ang="0">
                <a:pos x="connsiteX63410" y="connsiteY63410"/>
              </a:cxn>
              <a:cxn ang="0">
                <a:pos x="connsiteX63411" y="connsiteY63411"/>
              </a:cxn>
              <a:cxn ang="0">
                <a:pos x="connsiteX63412" y="connsiteY63412"/>
              </a:cxn>
              <a:cxn ang="0">
                <a:pos x="connsiteX63413" y="connsiteY63413"/>
              </a:cxn>
              <a:cxn ang="0">
                <a:pos x="connsiteX63414" y="connsiteY63414"/>
              </a:cxn>
              <a:cxn ang="0">
                <a:pos x="connsiteX63415" y="connsiteY63415"/>
              </a:cxn>
              <a:cxn ang="0">
                <a:pos x="connsiteX63416" y="connsiteY63416"/>
              </a:cxn>
              <a:cxn ang="0">
                <a:pos x="connsiteX63417" y="connsiteY63417"/>
              </a:cxn>
              <a:cxn ang="0">
                <a:pos x="connsiteX63418" y="connsiteY63418"/>
              </a:cxn>
              <a:cxn ang="0">
                <a:pos x="connsiteX63419" y="connsiteY63419"/>
              </a:cxn>
              <a:cxn ang="0">
                <a:pos x="connsiteX63420" y="connsiteY63420"/>
              </a:cxn>
              <a:cxn ang="0">
                <a:pos x="connsiteX63421" y="connsiteY63421"/>
              </a:cxn>
              <a:cxn ang="0">
                <a:pos x="connsiteX63422" y="connsiteY63422"/>
              </a:cxn>
              <a:cxn ang="0">
                <a:pos x="connsiteX63423" y="connsiteY63423"/>
              </a:cxn>
              <a:cxn ang="0">
                <a:pos x="connsiteX63424" y="connsiteY63424"/>
              </a:cxn>
              <a:cxn ang="0">
                <a:pos x="connsiteX63425" y="connsiteY63425"/>
              </a:cxn>
              <a:cxn ang="0">
                <a:pos x="connsiteX63426" y="connsiteY63426"/>
              </a:cxn>
              <a:cxn ang="0">
                <a:pos x="connsiteX63427" y="connsiteY63427"/>
              </a:cxn>
              <a:cxn ang="0">
                <a:pos x="connsiteX63428" y="connsiteY63428"/>
              </a:cxn>
              <a:cxn ang="0">
                <a:pos x="connsiteX63429" y="connsiteY63429"/>
              </a:cxn>
              <a:cxn ang="0">
                <a:pos x="connsiteX63430" y="connsiteY63430"/>
              </a:cxn>
              <a:cxn ang="0">
                <a:pos x="connsiteX63431" y="connsiteY63431"/>
              </a:cxn>
              <a:cxn ang="0">
                <a:pos x="connsiteX63432" y="connsiteY63432"/>
              </a:cxn>
              <a:cxn ang="0">
                <a:pos x="connsiteX63433" y="connsiteY63433"/>
              </a:cxn>
              <a:cxn ang="0">
                <a:pos x="connsiteX63434" y="connsiteY63434"/>
              </a:cxn>
              <a:cxn ang="0">
                <a:pos x="connsiteX63435" y="connsiteY63435"/>
              </a:cxn>
              <a:cxn ang="0">
                <a:pos x="connsiteX63436" y="connsiteY63436"/>
              </a:cxn>
              <a:cxn ang="0">
                <a:pos x="connsiteX63437" y="connsiteY63437"/>
              </a:cxn>
              <a:cxn ang="0">
                <a:pos x="connsiteX63438" y="connsiteY63438"/>
              </a:cxn>
              <a:cxn ang="0">
                <a:pos x="connsiteX63439" y="connsiteY63439"/>
              </a:cxn>
              <a:cxn ang="0">
                <a:pos x="connsiteX63440" y="connsiteY63440"/>
              </a:cxn>
              <a:cxn ang="0">
                <a:pos x="connsiteX63441" y="connsiteY63441"/>
              </a:cxn>
              <a:cxn ang="0">
                <a:pos x="connsiteX63442" y="connsiteY63442"/>
              </a:cxn>
              <a:cxn ang="0">
                <a:pos x="connsiteX63443" y="connsiteY63443"/>
              </a:cxn>
              <a:cxn ang="0">
                <a:pos x="connsiteX63444" y="connsiteY63444"/>
              </a:cxn>
              <a:cxn ang="0">
                <a:pos x="connsiteX63445" y="connsiteY63445"/>
              </a:cxn>
              <a:cxn ang="0">
                <a:pos x="connsiteX63446" y="connsiteY63446"/>
              </a:cxn>
              <a:cxn ang="0">
                <a:pos x="connsiteX63447" y="connsiteY63447"/>
              </a:cxn>
              <a:cxn ang="0">
                <a:pos x="connsiteX63448" y="connsiteY63448"/>
              </a:cxn>
              <a:cxn ang="0">
                <a:pos x="connsiteX63449" y="connsiteY63449"/>
              </a:cxn>
              <a:cxn ang="0">
                <a:pos x="connsiteX63450" y="connsiteY63450"/>
              </a:cxn>
              <a:cxn ang="0">
                <a:pos x="connsiteX63451" y="connsiteY63451"/>
              </a:cxn>
              <a:cxn ang="0">
                <a:pos x="connsiteX63452" y="connsiteY63452"/>
              </a:cxn>
              <a:cxn ang="0">
                <a:pos x="connsiteX63453" y="connsiteY63453"/>
              </a:cxn>
              <a:cxn ang="0">
                <a:pos x="connsiteX63454" y="connsiteY63454"/>
              </a:cxn>
              <a:cxn ang="0">
                <a:pos x="connsiteX63455" y="connsiteY63455"/>
              </a:cxn>
              <a:cxn ang="0">
                <a:pos x="connsiteX63456" y="connsiteY63456"/>
              </a:cxn>
              <a:cxn ang="0">
                <a:pos x="connsiteX63457" y="connsiteY63457"/>
              </a:cxn>
              <a:cxn ang="0">
                <a:pos x="connsiteX63458" y="connsiteY63458"/>
              </a:cxn>
              <a:cxn ang="0">
                <a:pos x="connsiteX63459" y="connsiteY63459"/>
              </a:cxn>
              <a:cxn ang="0">
                <a:pos x="connsiteX63460" y="connsiteY63460"/>
              </a:cxn>
              <a:cxn ang="0">
                <a:pos x="connsiteX63461" y="connsiteY63461"/>
              </a:cxn>
              <a:cxn ang="0">
                <a:pos x="connsiteX63462" y="connsiteY63462"/>
              </a:cxn>
              <a:cxn ang="0">
                <a:pos x="connsiteX63463" y="connsiteY63463"/>
              </a:cxn>
              <a:cxn ang="0">
                <a:pos x="connsiteX63464" y="connsiteY63464"/>
              </a:cxn>
              <a:cxn ang="0">
                <a:pos x="connsiteX63465" y="connsiteY63465"/>
              </a:cxn>
              <a:cxn ang="0">
                <a:pos x="connsiteX63466" y="connsiteY63466"/>
              </a:cxn>
              <a:cxn ang="0">
                <a:pos x="connsiteX63467" y="connsiteY63467"/>
              </a:cxn>
              <a:cxn ang="0">
                <a:pos x="connsiteX63468" y="connsiteY63468"/>
              </a:cxn>
              <a:cxn ang="0">
                <a:pos x="connsiteX63469" y="connsiteY63469"/>
              </a:cxn>
              <a:cxn ang="0">
                <a:pos x="connsiteX63470" y="connsiteY63470"/>
              </a:cxn>
              <a:cxn ang="0">
                <a:pos x="connsiteX63471" y="connsiteY63471"/>
              </a:cxn>
              <a:cxn ang="0">
                <a:pos x="connsiteX63472" y="connsiteY63472"/>
              </a:cxn>
              <a:cxn ang="0">
                <a:pos x="connsiteX63473" y="connsiteY63473"/>
              </a:cxn>
              <a:cxn ang="0">
                <a:pos x="connsiteX63474" y="connsiteY63474"/>
              </a:cxn>
              <a:cxn ang="0">
                <a:pos x="connsiteX63475" y="connsiteY63475"/>
              </a:cxn>
              <a:cxn ang="0">
                <a:pos x="connsiteX63476" y="connsiteY63476"/>
              </a:cxn>
              <a:cxn ang="0">
                <a:pos x="connsiteX63477" y="connsiteY63477"/>
              </a:cxn>
              <a:cxn ang="0">
                <a:pos x="connsiteX63478" y="connsiteY63478"/>
              </a:cxn>
              <a:cxn ang="0">
                <a:pos x="connsiteX63479" y="connsiteY63479"/>
              </a:cxn>
              <a:cxn ang="0">
                <a:pos x="connsiteX63480" y="connsiteY63480"/>
              </a:cxn>
              <a:cxn ang="0">
                <a:pos x="connsiteX63481" y="connsiteY63481"/>
              </a:cxn>
              <a:cxn ang="0">
                <a:pos x="connsiteX63482" y="connsiteY63482"/>
              </a:cxn>
              <a:cxn ang="0">
                <a:pos x="connsiteX63483" y="connsiteY63483"/>
              </a:cxn>
              <a:cxn ang="0">
                <a:pos x="connsiteX63484" y="connsiteY63484"/>
              </a:cxn>
              <a:cxn ang="0">
                <a:pos x="connsiteX63485" y="connsiteY63485"/>
              </a:cxn>
              <a:cxn ang="0">
                <a:pos x="connsiteX63486" y="connsiteY63486"/>
              </a:cxn>
              <a:cxn ang="0">
                <a:pos x="connsiteX63487" y="connsiteY63487"/>
              </a:cxn>
              <a:cxn ang="0">
                <a:pos x="connsiteX63488" y="connsiteY63488"/>
              </a:cxn>
              <a:cxn ang="0">
                <a:pos x="connsiteX63489" y="connsiteY63489"/>
              </a:cxn>
              <a:cxn ang="0">
                <a:pos x="connsiteX63490" y="connsiteY63490"/>
              </a:cxn>
              <a:cxn ang="0">
                <a:pos x="connsiteX63491" y="connsiteY63491"/>
              </a:cxn>
              <a:cxn ang="0">
                <a:pos x="connsiteX63492" y="connsiteY63492"/>
              </a:cxn>
              <a:cxn ang="0">
                <a:pos x="connsiteX63493" y="connsiteY63493"/>
              </a:cxn>
              <a:cxn ang="0">
                <a:pos x="connsiteX63494" y="connsiteY63494"/>
              </a:cxn>
              <a:cxn ang="0">
                <a:pos x="connsiteX63495" y="connsiteY63495"/>
              </a:cxn>
              <a:cxn ang="0">
                <a:pos x="connsiteX63496" y="connsiteY63496"/>
              </a:cxn>
              <a:cxn ang="0">
                <a:pos x="connsiteX63497" y="connsiteY63497"/>
              </a:cxn>
              <a:cxn ang="0">
                <a:pos x="connsiteX63498" y="connsiteY63498"/>
              </a:cxn>
              <a:cxn ang="0">
                <a:pos x="connsiteX63499" y="connsiteY63499"/>
              </a:cxn>
              <a:cxn ang="0">
                <a:pos x="connsiteX63500" y="connsiteY63500"/>
              </a:cxn>
              <a:cxn ang="0">
                <a:pos x="connsiteX63501" y="connsiteY63501"/>
              </a:cxn>
              <a:cxn ang="0">
                <a:pos x="connsiteX63502" y="connsiteY63502"/>
              </a:cxn>
              <a:cxn ang="0">
                <a:pos x="connsiteX63503" y="connsiteY63503"/>
              </a:cxn>
              <a:cxn ang="0">
                <a:pos x="connsiteX63504" y="connsiteY63504"/>
              </a:cxn>
              <a:cxn ang="0">
                <a:pos x="connsiteX63505" y="connsiteY63505"/>
              </a:cxn>
              <a:cxn ang="0">
                <a:pos x="connsiteX63506" y="connsiteY63506"/>
              </a:cxn>
              <a:cxn ang="0">
                <a:pos x="connsiteX63507" y="connsiteY63507"/>
              </a:cxn>
              <a:cxn ang="0">
                <a:pos x="connsiteX63508" y="connsiteY63508"/>
              </a:cxn>
              <a:cxn ang="0">
                <a:pos x="connsiteX63509" y="connsiteY63509"/>
              </a:cxn>
              <a:cxn ang="0">
                <a:pos x="connsiteX63510" y="connsiteY63510"/>
              </a:cxn>
              <a:cxn ang="0">
                <a:pos x="connsiteX63511" y="connsiteY63511"/>
              </a:cxn>
              <a:cxn ang="0">
                <a:pos x="connsiteX63512" y="connsiteY63512"/>
              </a:cxn>
              <a:cxn ang="0">
                <a:pos x="connsiteX63513" y="connsiteY63513"/>
              </a:cxn>
              <a:cxn ang="0">
                <a:pos x="connsiteX63514" y="connsiteY63514"/>
              </a:cxn>
              <a:cxn ang="0">
                <a:pos x="connsiteX63515" y="connsiteY63515"/>
              </a:cxn>
              <a:cxn ang="0">
                <a:pos x="connsiteX63516" y="connsiteY63516"/>
              </a:cxn>
              <a:cxn ang="0">
                <a:pos x="connsiteX63517" y="connsiteY63517"/>
              </a:cxn>
              <a:cxn ang="0">
                <a:pos x="connsiteX63518" y="connsiteY63518"/>
              </a:cxn>
              <a:cxn ang="0">
                <a:pos x="connsiteX63519" y="connsiteY63519"/>
              </a:cxn>
              <a:cxn ang="0">
                <a:pos x="connsiteX63520" y="connsiteY63520"/>
              </a:cxn>
              <a:cxn ang="0">
                <a:pos x="connsiteX63521" y="connsiteY63521"/>
              </a:cxn>
              <a:cxn ang="0">
                <a:pos x="connsiteX63522" y="connsiteY63522"/>
              </a:cxn>
              <a:cxn ang="0">
                <a:pos x="connsiteX63523" y="connsiteY63523"/>
              </a:cxn>
              <a:cxn ang="0">
                <a:pos x="connsiteX63524" y="connsiteY63524"/>
              </a:cxn>
              <a:cxn ang="0">
                <a:pos x="connsiteX63525" y="connsiteY63525"/>
              </a:cxn>
              <a:cxn ang="0">
                <a:pos x="connsiteX63526" y="connsiteY63526"/>
              </a:cxn>
              <a:cxn ang="0">
                <a:pos x="connsiteX63527" y="connsiteY63527"/>
              </a:cxn>
              <a:cxn ang="0">
                <a:pos x="connsiteX63528" y="connsiteY63528"/>
              </a:cxn>
              <a:cxn ang="0">
                <a:pos x="connsiteX63529" y="connsiteY63529"/>
              </a:cxn>
              <a:cxn ang="0">
                <a:pos x="connsiteX63530" y="connsiteY63530"/>
              </a:cxn>
              <a:cxn ang="0">
                <a:pos x="connsiteX63531" y="connsiteY63531"/>
              </a:cxn>
              <a:cxn ang="0">
                <a:pos x="connsiteX63532" y="connsiteY63532"/>
              </a:cxn>
              <a:cxn ang="0">
                <a:pos x="connsiteX63533" y="connsiteY63533"/>
              </a:cxn>
              <a:cxn ang="0">
                <a:pos x="connsiteX63534" y="connsiteY63534"/>
              </a:cxn>
              <a:cxn ang="0">
                <a:pos x="connsiteX63535" y="connsiteY63535"/>
              </a:cxn>
              <a:cxn ang="0">
                <a:pos x="connsiteX63536" y="connsiteY63536"/>
              </a:cxn>
              <a:cxn ang="0">
                <a:pos x="connsiteX63537" y="connsiteY63537"/>
              </a:cxn>
              <a:cxn ang="0">
                <a:pos x="connsiteX63538" y="connsiteY63538"/>
              </a:cxn>
              <a:cxn ang="0">
                <a:pos x="connsiteX63539" y="connsiteY63539"/>
              </a:cxn>
              <a:cxn ang="0">
                <a:pos x="connsiteX63540" y="connsiteY63540"/>
              </a:cxn>
              <a:cxn ang="0">
                <a:pos x="connsiteX63541" y="connsiteY63541"/>
              </a:cxn>
              <a:cxn ang="0">
                <a:pos x="connsiteX63542" y="connsiteY63542"/>
              </a:cxn>
              <a:cxn ang="0">
                <a:pos x="connsiteX63543" y="connsiteY63543"/>
              </a:cxn>
              <a:cxn ang="0">
                <a:pos x="connsiteX63544" y="connsiteY63544"/>
              </a:cxn>
              <a:cxn ang="0">
                <a:pos x="connsiteX63545" y="connsiteY63545"/>
              </a:cxn>
              <a:cxn ang="0">
                <a:pos x="connsiteX63546" y="connsiteY63546"/>
              </a:cxn>
              <a:cxn ang="0">
                <a:pos x="connsiteX63547" y="connsiteY63547"/>
              </a:cxn>
              <a:cxn ang="0">
                <a:pos x="connsiteX63548" y="connsiteY63548"/>
              </a:cxn>
              <a:cxn ang="0">
                <a:pos x="connsiteX63549" y="connsiteY63549"/>
              </a:cxn>
              <a:cxn ang="0">
                <a:pos x="connsiteX63550" y="connsiteY63550"/>
              </a:cxn>
              <a:cxn ang="0">
                <a:pos x="connsiteX63551" y="connsiteY63551"/>
              </a:cxn>
              <a:cxn ang="0">
                <a:pos x="connsiteX63552" y="connsiteY63552"/>
              </a:cxn>
              <a:cxn ang="0">
                <a:pos x="connsiteX63553" y="connsiteY63553"/>
              </a:cxn>
              <a:cxn ang="0">
                <a:pos x="connsiteX63554" y="connsiteY63554"/>
              </a:cxn>
              <a:cxn ang="0">
                <a:pos x="connsiteX63555" y="connsiteY63555"/>
              </a:cxn>
              <a:cxn ang="0">
                <a:pos x="connsiteX63556" y="connsiteY63556"/>
              </a:cxn>
              <a:cxn ang="0">
                <a:pos x="connsiteX63557" y="connsiteY63557"/>
              </a:cxn>
              <a:cxn ang="0">
                <a:pos x="connsiteX63558" y="connsiteY63558"/>
              </a:cxn>
              <a:cxn ang="0">
                <a:pos x="connsiteX63559" y="connsiteY63559"/>
              </a:cxn>
              <a:cxn ang="0">
                <a:pos x="connsiteX63560" y="connsiteY63560"/>
              </a:cxn>
              <a:cxn ang="0">
                <a:pos x="connsiteX63561" y="connsiteY63561"/>
              </a:cxn>
              <a:cxn ang="0">
                <a:pos x="connsiteX63562" y="connsiteY63562"/>
              </a:cxn>
              <a:cxn ang="0">
                <a:pos x="connsiteX63563" y="connsiteY63563"/>
              </a:cxn>
              <a:cxn ang="0">
                <a:pos x="connsiteX63564" y="connsiteY63564"/>
              </a:cxn>
              <a:cxn ang="0">
                <a:pos x="connsiteX63565" y="connsiteY63565"/>
              </a:cxn>
              <a:cxn ang="0">
                <a:pos x="connsiteX63566" y="connsiteY63566"/>
              </a:cxn>
              <a:cxn ang="0">
                <a:pos x="connsiteX63567" y="connsiteY63567"/>
              </a:cxn>
              <a:cxn ang="0">
                <a:pos x="connsiteX63568" y="connsiteY63568"/>
              </a:cxn>
              <a:cxn ang="0">
                <a:pos x="connsiteX63569" y="connsiteY63569"/>
              </a:cxn>
              <a:cxn ang="0">
                <a:pos x="connsiteX63570" y="connsiteY63570"/>
              </a:cxn>
              <a:cxn ang="0">
                <a:pos x="connsiteX63571" y="connsiteY63571"/>
              </a:cxn>
              <a:cxn ang="0">
                <a:pos x="connsiteX63572" y="connsiteY63572"/>
              </a:cxn>
              <a:cxn ang="0">
                <a:pos x="connsiteX63573" y="connsiteY63573"/>
              </a:cxn>
              <a:cxn ang="0">
                <a:pos x="connsiteX63574" y="connsiteY63574"/>
              </a:cxn>
              <a:cxn ang="0">
                <a:pos x="connsiteX63575" y="connsiteY63575"/>
              </a:cxn>
              <a:cxn ang="0">
                <a:pos x="connsiteX63576" y="connsiteY63576"/>
              </a:cxn>
              <a:cxn ang="0">
                <a:pos x="connsiteX63577" y="connsiteY63577"/>
              </a:cxn>
              <a:cxn ang="0">
                <a:pos x="connsiteX63578" y="connsiteY63578"/>
              </a:cxn>
              <a:cxn ang="0">
                <a:pos x="connsiteX63579" y="connsiteY63579"/>
              </a:cxn>
              <a:cxn ang="0">
                <a:pos x="connsiteX63580" y="connsiteY63580"/>
              </a:cxn>
              <a:cxn ang="0">
                <a:pos x="connsiteX63581" y="connsiteY63581"/>
              </a:cxn>
              <a:cxn ang="0">
                <a:pos x="connsiteX63582" y="connsiteY63582"/>
              </a:cxn>
              <a:cxn ang="0">
                <a:pos x="connsiteX63583" y="connsiteY63583"/>
              </a:cxn>
              <a:cxn ang="0">
                <a:pos x="connsiteX63584" y="connsiteY63584"/>
              </a:cxn>
              <a:cxn ang="0">
                <a:pos x="connsiteX63585" y="connsiteY63585"/>
              </a:cxn>
              <a:cxn ang="0">
                <a:pos x="connsiteX63586" y="connsiteY63586"/>
              </a:cxn>
              <a:cxn ang="0">
                <a:pos x="connsiteX63587" y="connsiteY63587"/>
              </a:cxn>
              <a:cxn ang="0">
                <a:pos x="connsiteX63588" y="connsiteY63588"/>
              </a:cxn>
              <a:cxn ang="0">
                <a:pos x="connsiteX63589" y="connsiteY63589"/>
              </a:cxn>
              <a:cxn ang="0">
                <a:pos x="connsiteX63590" y="connsiteY63590"/>
              </a:cxn>
              <a:cxn ang="0">
                <a:pos x="connsiteX63591" y="connsiteY63591"/>
              </a:cxn>
              <a:cxn ang="0">
                <a:pos x="connsiteX63592" y="connsiteY63592"/>
              </a:cxn>
              <a:cxn ang="0">
                <a:pos x="connsiteX63593" y="connsiteY63593"/>
              </a:cxn>
              <a:cxn ang="0">
                <a:pos x="connsiteX63594" y="connsiteY63594"/>
              </a:cxn>
              <a:cxn ang="0">
                <a:pos x="connsiteX63595" y="connsiteY63595"/>
              </a:cxn>
              <a:cxn ang="0">
                <a:pos x="connsiteX63596" y="connsiteY63596"/>
              </a:cxn>
              <a:cxn ang="0">
                <a:pos x="connsiteX63597" y="connsiteY63597"/>
              </a:cxn>
              <a:cxn ang="0">
                <a:pos x="connsiteX63598" y="connsiteY63598"/>
              </a:cxn>
              <a:cxn ang="0">
                <a:pos x="connsiteX63599" y="connsiteY63599"/>
              </a:cxn>
              <a:cxn ang="0">
                <a:pos x="connsiteX63600" y="connsiteY63600"/>
              </a:cxn>
              <a:cxn ang="0">
                <a:pos x="connsiteX63601" y="connsiteY63601"/>
              </a:cxn>
              <a:cxn ang="0">
                <a:pos x="connsiteX63602" y="connsiteY63602"/>
              </a:cxn>
              <a:cxn ang="0">
                <a:pos x="connsiteX63603" y="connsiteY63603"/>
              </a:cxn>
              <a:cxn ang="0">
                <a:pos x="connsiteX63604" y="connsiteY63604"/>
              </a:cxn>
              <a:cxn ang="0">
                <a:pos x="connsiteX63605" y="connsiteY63605"/>
              </a:cxn>
              <a:cxn ang="0">
                <a:pos x="connsiteX63606" y="connsiteY63606"/>
              </a:cxn>
              <a:cxn ang="0">
                <a:pos x="connsiteX63607" y="connsiteY63607"/>
              </a:cxn>
              <a:cxn ang="0">
                <a:pos x="connsiteX63608" y="connsiteY63608"/>
              </a:cxn>
              <a:cxn ang="0">
                <a:pos x="connsiteX63609" y="connsiteY63609"/>
              </a:cxn>
              <a:cxn ang="0">
                <a:pos x="connsiteX63610" y="connsiteY63610"/>
              </a:cxn>
              <a:cxn ang="0">
                <a:pos x="connsiteX63611" y="connsiteY63611"/>
              </a:cxn>
              <a:cxn ang="0">
                <a:pos x="connsiteX63612" y="connsiteY63612"/>
              </a:cxn>
              <a:cxn ang="0">
                <a:pos x="connsiteX63613" y="connsiteY63613"/>
              </a:cxn>
              <a:cxn ang="0">
                <a:pos x="connsiteX63614" y="connsiteY63614"/>
              </a:cxn>
              <a:cxn ang="0">
                <a:pos x="connsiteX63615" y="connsiteY63615"/>
              </a:cxn>
              <a:cxn ang="0">
                <a:pos x="connsiteX63616" y="connsiteY63616"/>
              </a:cxn>
              <a:cxn ang="0">
                <a:pos x="connsiteX63617" y="connsiteY63617"/>
              </a:cxn>
              <a:cxn ang="0">
                <a:pos x="connsiteX63618" y="connsiteY63618"/>
              </a:cxn>
              <a:cxn ang="0">
                <a:pos x="connsiteX63619" y="connsiteY63619"/>
              </a:cxn>
              <a:cxn ang="0">
                <a:pos x="connsiteX63620" y="connsiteY63620"/>
              </a:cxn>
              <a:cxn ang="0">
                <a:pos x="connsiteX63621" y="connsiteY63621"/>
              </a:cxn>
              <a:cxn ang="0">
                <a:pos x="connsiteX63622" y="connsiteY63622"/>
              </a:cxn>
              <a:cxn ang="0">
                <a:pos x="connsiteX63623" y="connsiteY63623"/>
              </a:cxn>
              <a:cxn ang="0">
                <a:pos x="connsiteX63624" y="connsiteY63624"/>
              </a:cxn>
              <a:cxn ang="0">
                <a:pos x="connsiteX63625" y="connsiteY63625"/>
              </a:cxn>
              <a:cxn ang="0">
                <a:pos x="connsiteX63626" y="connsiteY63626"/>
              </a:cxn>
              <a:cxn ang="0">
                <a:pos x="connsiteX63627" y="connsiteY63627"/>
              </a:cxn>
              <a:cxn ang="0">
                <a:pos x="connsiteX63628" y="connsiteY63628"/>
              </a:cxn>
              <a:cxn ang="0">
                <a:pos x="connsiteX63629" y="connsiteY63629"/>
              </a:cxn>
              <a:cxn ang="0">
                <a:pos x="connsiteX63630" y="connsiteY63630"/>
              </a:cxn>
              <a:cxn ang="0">
                <a:pos x="connsiteX63631" y="connsiteY63631"/>
              </a:cxn>
              <a:cxn ang="0">
                <a:pos x="connsiteX63632" y="connsiteY63632"/>
              </a:cxn>
              <a:cxn ang="0">
                <a:pos x="connsiteX63633" y="connsiteY63633"/>
              </a:cxn>
              <a:cxn ang="0">
                <a:pos x="connsiteX63634" y="connsiteY63634"/>
              </a:cxn>
              <a:cxn ang="0">
                <a:pos x="connsiteX63635" y="connsiteY63635"/>
              </a:cxn>
              <a:cxn ang="0">
                <a:pos x="connsiteX63636" y="connsiteY63636"/>
              </a:cxn>
              <a:cxn ang="0">
                <a:pos x="connsiteX63637" y="connsiteY63637"/>
              </a:cxn>
              <a:cxn ang="0">
                <a:pos x="connsiteX63638" y="connsiteY63638"/>
              </a:cxn>
              <a:cxn ang="0">
                <a:pos x="connsiteX63639" y="connsiteY63639"/>
              </a:cxn>
              <a:cxn ang="0">
                <a:pos x="connsiteX63640" y="connsiteY63640"/>
              </a:cxn>
              <a:cxn ang="0">
                <a:pos x="connsiteX63641" y="connsiteY63641"/>
              </a:cxn>
              <a:cxn ang="0">
                <a:pos x="connsiteX63642" y="connsiteY63642"/>
              </a:cxn>
              <a:cxn ang="0">
                <a:pos x="connsiteX63643" y="connsiteY63643"/>
              </a:cxn>
              <a:cxn ang="0">
                <a:pos x="connsiteX63644" y="connsiteY63644"/>
              </a:cxn>
              <a:cxn ang="0">
                <a:pos x="connsiteX63645" y="connsiteY63645"/>
              </a:cxn>
              <a:cxn ang="0">
                <a:pos x="connsiteX63646" y="connsiteY63646"/>
              </a:cxn>
              <a:cxn ang="0">
                <a:pos x="connsiteX63647" y="connsiteY63647"/>
              </a:cxn>
              <a:cxn ang="0">
                <a:pos x="connsiteX63648" y="connsiteY63648"/>
              </a:cxn>
              <a:cxn ang="0">
                <a:pos x="connsiteX63649" y="connsiteY63649"/>
              </a:cxn>
              <a:cxn ang="0">
                <a:pos x="connsiteX63650" y="connsiteY63650"/>
              </a:cxn>
              <a:cxn ang="0">
                <a:pos x="connsiteX63651" y="connsiteY63651"/>
              </a:cxn>
              <a:cxn ang="0">
                <a:pos x="connsiteX63652" y="connsiteY63652"/>
              </a:cxn>
              <a:cxn ang="0">
                <a:pos x="connsiteX63653" y="connsiteY63653"/>
              </a:cxn>
              <a:cxn ang="0">
                <a:pos x="connsiteX63654" y="connsiteY63654"/>
              </a:cxn>
              <a:cxn ang="0">
                <a:pos x="connsiteX63655" y="connsiteY63655"/>
              </a:cxn>
              <a:cxn ang="0">
                <a:pos x="connsiteX63656" y="connsiteY63656"/>
              </a:cxn>
              <a:cxn ang="0">
                <a:pos x="connsiteX63657" y="connsiteY63657"/>
              </a:cxn>
              <a:cxn ang="0">
                <a:pos x="connsiteX63658" y="connsiteY63658"/>
              </a:cxn>
              <a:cxn ang="0">
                <a:pos x="connsiteX63659" y="connsiteY63659"/>
              </a:cxn>
              <a:cxn ang="0">
                <a:pos x="connsiteX63660" y="connsiteY63660"/>
              </a:cxn>
              <a:cxn ang="0">
                <a:pos x="connsiteX63661" y="connsiteY63661"/>
              </a:cxn>
              <a:cxn ang="0">
                <a:pos x="connsiteX63662" y="connsiteY63662"/>
              </a:cxn>
              <a:cxn ang="0">
                <a:pos x="connsiteX63663" y="connsiteY63663"/>
              </a:cxn>
              <a:cxn ang="0">
                <a:pos x="connsiteX63664" y="connsiteY63664"/>
              </a:cxn>
              <a:cxn ang="0">
                <a:pos x="connsiteX63665" y="connsiteY63665"/>
              </a:cxn>
              <a:cxn ang="0">
                <a:pos x="connsiteX63666" y="connsiteY63666"/>
              </a:cxn>
              <a:cxn ang="0">
                <a:pos x="connsiteX63667" y="connsiteY63667"/>
              </a:cxn>
              <a:cxn ang="0">
                <a:pos x="connsiteX63668" y="connsiteY63668"/>
              </a:cxn>
              <a:cxn ang="0">
                <a:pos x="connsiteX63669" y="connsiteY63669"/>
              </a:cxn>
              <a:cxn ang="0">
                <a:pos x="connsiteX63670" y="connsiteY63670"/>
              </a:cxn>
              <a:cxn ang="0">
                <a:pos x="connsiteX63671" y="connsiteY63671"/>
              </a:cxn>
              <a:cxn ang="0">
                <a:pos x="connsiteX63672" y="connsiteY63672"/>
              </a:cxn>
              <a:cxn ang="0">
                <a:pos x="connsiteX63673" y="connsiteY63673"/>
              </a:cxn>
              <a:cxn ang="0">
                <a:pos x="connsiteX63674" y="connsiteY63674"/>
              </a:cxn>
              <a:cxn ang="0">
                <a:pos x="connsiteX63675" y="connsiteY63675"/>
              </a:cxn>
              <a:cxn ang="0">
                <a:pos x="connsiteX63676" y="connsiteY63676"/>
              </a:cxn>
              <a:cxn ang="0">
                <a:pos x="connsiteX63677" y="connsiteY63677"/>
              </a:cxn>
              <a:cxn ang="0">
                <a:pos x="connsiteX63678" y="connsiteY63678"/>
              </a:cxn>
              <a:cxn ang="0">
                <a:pos x="connsiteX63679" y="connsiteY63679"/>
              </a:cxn>
              <a:cxn ang="0">
                <a:pos x="connsiteX63680" y="connsiteY63680"/>
              </a:cxn>
              <a:cxn ang="0">
                <a:pos x="connsiteX63681" y="connsiteY63681"/>
              </a:cxn>
              <a:cxn ang="0">
                <a:pos x="connsiteX63682" y="connsiteY63682"/>
              </a:cxn>
              <a:cxn ang="0">
                <a:pos x="connsiteX63683" y="connsiteY63683"/>
              </a:cxn>
              <a:cxn ang="0">
                <a:pos x="connsiteX63684" y="connsiteY63684"/>
              </a:cxn>
              <a:cxn ang="0">
                <a:pos x="connsiteX63685" y="connsiteY63685"/>
              </a:cxn>
              <a:cxn ang="0">
                <a:pos x="connsiteX63686" y="connsiteY63686"/>
              </a:cxn>
              <a:cxn ang="0">
                <a:pos x="connsiteX63687" y="connsiteY63687"/>
              </a:cxn>
              <a:cxn ang="0">
                <a:pos x="connsiteX63688" y="connsiteY63688"/>
              </a:cxn>
              <a:cxn ang="0">
                <a:pos x="connsiteX63689" y="connsiteY63689"/>
              </a:cxn>
              <a:cxn ang="0">
                <a:pos x="connsiteX63690" y="connsiteY63690"/>
              </a:cxn>
              <a:cxn ang="0">
                <a:pos x="connsiteX63691" y="connsiteY63691"/>
              </a:cxn>
              <a:cxn ang="0">
                <a:pos x="connsiteX63692" y="connsiteY63692"/>
              </a:cxn>
              <a:cxn ang="0">
                <a:pos x="connsiteX63693" y="connsiteY63693"/>
              </a:cxn>
              <a:cxn ang="0">
                <a:pos x="connsiteX63694" y="connsiteY63694"/>
              </a:cxn>
              <a:cxn ang="0">
                <a:pos x="connsiteX63695" y="connsiteY63695"/>
              </a:cxn>
              <a:cxn ang="0">
                <a:pos x="connsiteX63696" y="connsiteY63696"/>
              </a:cxn>
              <a:cxn ang="0">
                <a:pos x="connsiteX63697" y="connsiteY63697"/>
              </a:cxn>
              <a:cxn ang="0">
                <a:pos x="connsiteX63698" y="connsiteY63698"/>
              </a:cxn>
              <a:cxn ang="0">
                <a:pos x="connsiteX63699" y="connsiteY63699"/>
              </a:cxn>
              <a:cxn ang="0">
                <a:pos x="connsiteX63700" y="connsiteY63700"/>
              </a:cxn>
              <a:cxn ang="0">
                <a:pos x="connsiteX63701" y="connsiteY63701"/>
              </a:cxn>
              <a:cxn ang="0">
                <a:pos x="connsiteX63702" y="connsiteY63702"/>
              </a:cxn>
              <a:cxn ang="0">
                <a:pos x="connsiteX63703" y="connsiteY63703"/>
              </a:cxn>
              <a:cxn ang="0">
                <a:pos x="connsiteX63704" y="connsiteY63704"/>
              </a:cxn>
              <a:cxn ang="0">
                <a:pos x="connsiteX63705" y="connsiteY63705"/>
              </a:cxn>
              <a:cxn ang="0">
                <a:pos x="connsiteX63706" y="connsiteY63706"/>
              </a:cxn>
              <a:cxn ang="0">
                <a:pos x="connsiteX63707" y="connsiteY63707"/>
              </a:cxn>
              <a:cxn ang="0">
                <a:pos x="connsiteX63708" y="connsiteY63708"/>
              </a:cxn>
              <a:cxn ang="0">
                <a:pos x="connsiteX63709" y="connsiteY63709"/>
              </a:cxn>
              <a:cxn ang="0">
                <a:pos x="connsiteX63710" y="connsiteY63710"/>
              </a:cxn>
              <a:cxn ang="0">
                <a:pos x="connsiteX63711" y="connsiteY63711"/>
              </a:cxn>
              <a:cxn ang="0">
                <a:pos x="connsiteX63712" y="connsiteY63712"/>
              </a:cxn>
              <a:cxn ang="0">
                <a:pos x="connsiteX63713" y="connsiteY63713"/>
              </a:cxn>
              <a:cxn ang="0">
                <a:pos x="connsiteX63714" y="connsiteY63714"/>
              </a:cxn>
              <a:cxn ang="0">
                <a:pos x="connsiteX63715" y="connsiteY63715"/>
              </a:cxn>
              <a:cxn ang="0">
                <a:pos x="connsiteX63716" y="connsiteY63716"/>
              </a:cxn>
              <a:cxn ang="0">
                <a:pos x="connsiteX63717" y="connsiteY63717"/>
              </a:cxn>
              <a:cxn ang="0">
                <a:pos x="connsiteX63718" y="connsiteY63718"/>
              </a:cxn>
              <a:cxn ang="0">
                <a:pos x="connsiteX63719" y="connsiteY63719"/>
              </a:cxn>
              <a:cxn ang="0">
                <a:pos x="connsiteX63720" y="connsiteY63720"/>
              </a:cxn>
              <a:cxn ang="0">
                <a:pos x="connsiteX63721" y="connsiteY63721"/>
              </a:cxn>
              <a:cxn ang="0">
                <a:pos x="connsiteX63722" y="connsiteY63722"/>
              </a:cxn>
              <a:cxn ang="0">
                <a:pos x="connsiteX63723" y="connsiteY63723"/>
              </a:cxn>
              <a:cxn ang="0">
                <a:pos x="connsiteX63724" y="connsiteY63724"/>
              </a:cxn>
              <a:cxn ang="0">
                <a:pos x="connsiteX63725" y="connsiteY63725"/>
              </a:cxn>
              <a:cxn ang="0">
                <a:pos x="connsiteX63726" y="connsiteY63726"/>
              </a:cxn>
              <a:cxn ang="0">
                <a:pos x="connsiteX63727" y="connsiteY63727"/>
              </a:cxn>
              <a:cxn ang="0">
                <a:pos x="connsiteX63728" y="connsiteY63728"/>
              </a:cxn>
              <a:cxn ang="0">
                <a:pos x="connsiteX63729" y="connsiteY63729"/>
              </a:cxn>
              <a:cxn ang="0">
                <a:pos x="connsiteX63730" y="connsiteY63730"/>
              </a:cxn>
              <a:cxn ang="0">
                <a:pos x="connsiteX63731" y="connsiteY63731"/>
              </a:cxn>
              <a:cxn ang="0">
                <a:pos x="connsiteX63732" y="connsiteY63732"/>
              </a:cxn>
              <a:cxn ang="0">
                <a:pos x="connsiteX63733" y="connsiteY63733"/>
              </a:cxn>
              <a:cxn ang="0">
                <a:pos x="connsiteX63734" y="connsiteY63734"/>
              </a:cxn>
              <a:cxn ang="0">
                <a:pos x="connsiteX63735" y="connsiteY63735"/>
              </a:cxn>
              <a:cxn ang="0">
                <a:pos x="connsiteX63736" y="connsiteY63736"/>
              </a:cxn>
              <a:cxn ang="0">
                <a:pos x="connsiteX63737" y="connsiteY63737"/>
              </a:cxn>
              <a:cxn ang="0">
                <a:pos x="connsiteX63738" y="connsiteY63738"/>
              </a:cxn>
              <a:cxn ang="0">
                <a:pos x="connsiteX63739" y="connsiteY63739"/>
              </a:cxn>
              <a:cxn ang="0">
                <a:pos x="connsiteX63740" y="connsiteY63740"/>
              </a:cxn>
              <a:cxn ang="0">
                <a:pos x="connsiteX63741" y="connsiteY63741"/>
              </a:cxn>
              <a:cxn ang="0">
                <a:pos x="connsiteX63742" y="connsiteY63742"/>
              </a:cxn>
              <a:cxn ang="0">
                <a:pos x="connsiteX63743" y="connsiteY63743"/>
              </a:cxn>
              <a:cxn ang="0">
                <a:pos x="connsiteX63744" y="connsiteY63744"/>
              </a:cxn>
              <a:cxn ang="0">
                <a:pos x="connsiteX63745" y="connsiteY63745"/>
              </a:cxn>
              <a:cxn ang="0">
                <a:pos x="connsiteX63746" y="connsiteY63746"/>
              </a:cxn>
              <a:cxn ang="0">
                <a:pos x="connsiteX63747" y="connsiteY63747"/>
              </a:cxn>
              <a:cxn ang="0">
                <a:pos x="connsiteX63748" y="connsiteY63748"/>
              </a:cxn>
              <a:cxn ang="0">
                <a:pos x="connsiteX63749" y="connsiteY63749"/>
              </a:cxn>
              <a:cxn ang="0">
                <a:pos x="connsiteX63750" y="connsiteY63750"/>
              </a:cxn>
              <a:cxn ang="0">
                <a:pos x="connsiteX63751" y="connsiteY63751"/>
              </a:cxn>
              <a:cxn ang="0">
                <a:pos x="connsiteX63752" y="connsiteY63752"/>
              </a:cxn>
              <a:cxn ang="0">
                <a:pos x="connsiteX63753" y="connsiteY63753"/>
              </a:cxn>
              <a:cxn ang="0">
                <a:pos x="connsiteX63754" y="connsiteY63754"/>
              </a:cxn>
              <a:cxn ang="0">
                <a:pos x="connsiteX63755" y="connsiteY63755"/>
              </a:cxn>
              <a:cxn ang="0">
                <a:pos x="connsiteX63756" y="connsiteY63756"/>
              </a:cxn>
              <a:cxn ang="0">
                <a:pos x="connsiteX63757" y="connsiteY63757"/>
              </a:cxn>
              <a:cxn ang="0">
                <a:pos x="connsiteX63758" y="connsiteY63758"/>
              </a:cxn>
              <a:cxn ang="0">
                <a:pos x="connsiteX63759" y="connsiteY63759"/>
              </a:cxn>
              <a:cxn ang="0">
                <a:pos x="connsiteX63760" y="connsiteY63760"/>
              </a:cxn>
              <a:cxn ang="0">
                <a:pos x="connsiteX63761" y="connsiteY63761"/>
              </a:cxn>
              <a:cxn ang="0">
                <a:pos x="connsiteX63762" y="connsiteY63762"/>
              </a:cxn>
              <a:cxn ang="0">
                <a:pos x="connsiteX63763" y="connsiteY63763"/>
              </a:cxn>
              <a:cxn ang="0">
                <a:pos x="connsiteX63764" y="connsiteY63764"/>
              </a:cxn>
              <a:cxn ang="0">
                <a:pos x="connsiteX63765" y="connsiteY63765"/>
              </a:cxn>
              <a:cxn ang="0">
                <a:pos x="connsiteX63766" y="connsiteY63766"/>
              </a:cxn>
              <a:cxn ang="0">
                <a:pos x="connsiteX63767" y="connsiteY63767"/>
              </a:cxn>
              <a:cxn ang="0">
                <a:pos x="connsiteX63768" y="connsiteY63768"/>
              </a:cxn>
              <a:cxn ang="0">
                <a:pos x="connsiteX63769" y="connsiteY63769"/>
              </a:cxn>
              <a:cxn ang="0">
                <a:pos x="connsiteX63770" y="connsiteY63770"/>
              </a:cxn>
              <a:cxn ang="0">
                <a:pos x="connsiteX63771" y="connsiteY63771"/>
              </a:cxn>
              <a:cxn ang="0">
                <a:pos x="connsiteX63772" y="connsiteY63772"/>
              </a:cxn>
              <a:cxn ang="0">
                <a:pos x="connsiteX63773" y="connsiteY63773"/>
              </a:cxn>
              <a:cxn ang="0">
                <a:pos x="connsiteX63774" y="connsiteY63774"/>
              </a:cxn>
              <a:cxn ang="0">
                <a:pos x="connsiteX63775" y="connsiteY63775"/>
              </a:cxn>
              <a:cxn ang="0">
                <a:pos x="connsiteX63776" y="connsiteY63776"/>
              </a:cxn>
              <a:cxn ang="0">
                <a:pos x="connsiteX63777" y="connsiteY63777"/>
              </a:cxn>
              <a:cxn ang="0">
                <a:pos x="connsiteX63778" y="connsiteY63778"/>
              </a:cxn>
              <a:cxn ang="0">
                <a:pos x="connsiteX63779" y="connsiteY63779"/>
              </a:cxn>
              <a:cxn ang="0">
                <a:pos x="connsiteX63780" y="connsiteY63780"/>
              </a:cxn>
              <a:cxn ang="0">
                <a:pos x="connsiteX63781" y="connsiteY63781"/>
              </a:cxn>
              <a:cxn ang="0">
                <a:pos x="connsiteX63782" y="connsiteY63782"/>
              </a:cxn>
              <a:cxn ang="0">
                <a:pos x="connsiteX63783" y="connsiteY63783"/>
              </a:cxn>
              <a:cxn ang="0">
                <a:pos x="connsiteX63784" y="connsiteY63784"/>
              </a:cxn>
              <a:cxn ang="0">
                <a:pos x="connsiteX63785" y="connsiteY63785"/>
              </a:cxn>
              <a:cxn ang="0">
                <a:pos x="connsiteX63786" y="connsiteY63786"/>
              </a:cxn>
              <a:cxn ang="0">
                <a:pos x="connsiteX63787" y="connsiteY63787"/>
              </a:cxn>
              <a:cxn ang="0">
                <a:pos x="connsiteX63788" y="connsiteY63788"/>
              </a:cxn>
              <a:cxn ang="0">
                <a:pos x="connsiteX63789" y="connsiteY63789"/>
              </a:cxn>
              <a:cxn ang="0">
                <a:pos x="connsiteX63790" y="connsiteY63790"/>
              </a:cxn>
              <a:cxn ang="0">
                <a:pos x="connsiteX63791" y="connsiteY63791"/>
              </a:cxn>
              <a:cxn ang="0">
                <a:pos x="connsiteX63792" y="connsiteY63792"/>
              </a:cxn>
              <a:cxn ang="0">
                <a:pos x="connsiteX63793" y="connsiteY63793"/>
              </a:cxn>
              <a:cxn ang="0">
                <a:pos x="connsiteX63794" y="connsiteY63794"/>
              </a:cxn>
              <a:cxn ang="0">
                <a:pos x="connsiteX63795" y="connsiteY63795"/>
              </a:cxn>
              <a:cxn ang="0">
                <a:pos x="connsiteX63796" y="connsiteY63796"/>
              </a:cxn>
              <a:cxn ang="0">
                <a:pos x="connsiteX63797" y="connsiteY63797"/>
              </a:cxn>
              <a:cxn ang="0">
                <a:pos x="connsiteX63798" y="connsiteY63798"/>
              </a:cxn>
              <a:cxn ang="0">
                <a:pos x="connsiteX63799" y="connsiteY63799"/>
              </a:cxn>
              <a:cxn ang="0">
                <a:pos x="connsiteX63800" y="connsiteY63800"/>
              </a:cxn>
              <a:cxn ang="0">
                <a:pos x="connsiteX63801" y="connsiteY63801"/>
              </a:cxn>
              <a:cxn ang="0">
                <a:pos x="connsiteX63802" y="connsiteY63802"/>
              </a:cxn>
              <a:cxn ang="0">
                <a:pos x="connsiteX63803" y="connsiteY63803"/>
              </a:cxn>
              <a:cxn ang="0">
                <a:pos x="connsiteX63804" y="connsiteY63804"/>
              </a:cxn>
              <a:cxn ang="0">
                <a:pos x="connsiteX63805" y="connsiteY63805"/>
              </a:cxn>
              <a:cxn ang="0">
                <a:pos x="connsiteX63806" y="connsiteY63806"/>
              </a:cxn>
              <a:cxn ang="0">
                <a:pos x="connsiteX63807" y="connsiteY63807"/>
              </a:cxn>
              <a:cxn ang="0">
                <a:pos x="connsiteX63808" y="connsiteY63808"/>
              </a:cxn>
              <a:cxn ang="0">
                <a:pos x="connsiteX63809" y="connsiteY63809"/>
              </a:cxn>
              <a:cxn ang="0">
                <a:pos x="connsiteX63810" y="connsiteY63810"/>
              </a:cxn>
              <a:cxn ang="0">
                <a:pos x="connsiteX63811" y="connsiteY63811"/>
              </a:cxn>
              <a:cxn ang="0">
                <a:pos x="connsiteX63812" y="connsiteY63812"/>
              </a:cxn>
              <a:cxn ang="0">
                <a:pos x="connsiteX63813" y="connsiteY63813"/>
              </a:cxn>
              <a:cxn ang="0">
                <a:pos x="connsiteX63814" y="connsiteY63814"/>
              </a:cxn>
              <a:cxn ang="0">
                <a:pos x="connsiteX63815" y="connsiteY63815"/>
              </a:cxn>
              <a:cxn ang="0">
                <a:pos x="connsiteX63816" y="connsiteY63816"/>
              </a:cxn>
              <a:cxn ang="0">
                <a:pos x="connsiteX63817" y="connsiteY63817"/>
              </a:cxn>
              <a:cxn ang="0">
                <a:pos x="connsiteX63818" y="connsiteY63818"/>
              </a:cxn>
              <a:cxn ang="0">
                <a:pos x="connsiteX63819" y="connsiteY63819"/>
              </a:cxn>
              <a:cxn ang="0">
                <a:pos x="connsiteX63820" y="connsiteY63820"/>
              </a:cxn>
              <a:cxn ang="0">
                <a:pos x="connsiteX63821" y="connsiteY63821"/>
              </a:cxn>
              <a:cxn ang="0">
                <a:pos x="connsiteX63822" y="connsiteY63822"/>
              </a:cxn>
              <a:cxn ang="0">
                <a:pos x="connsiteX63823" y="connsiteY63823"/>
              </a:cxn>
              <a:cxn ang="0">
                <a:pos x="connsiteX63824" y="connsiteY63824"/>
              </a:cxn>
              <a:cxn ang="0">
                <a:pos x="connsiteX63825" y="connsiteY63825"/>
              </a:cxn>
              <a:cxn ang="0">
                <a:pos x="connsiteX63826" y="connsiteY63826"/>
              </a:cxn>
              <a:cxn ang="0">
                <a:pos x="connsiteX63827" y="connsiteY63827"/>
              </a:cxn>
              <a:cxn ang="0">
                <a:pos x="connsiteX63828" y="connsiteY63828"/>
              </a:cxn>
              <a:cxn ang="0">
                <a:pos x="connsiteX63829" y="connsiteY63829"/>
              </a:cxn>
              <a:cxn ang="0">
                <a:pos x="connsiteX63830" y="connsiteY63830"/>
              </a:cxn>
              <a:cxn ang="0">
                <a:pos x="connsiteX63831" y="connsiteY63831"/>
              </a:cxn>
              <a:cxn ang="0">
                <a:pos x="connsiteX63832" y="connsiteY63832"/>
              </a:cxn>
              <a:cxn ang="0">
                <a:pos x="connsiteX63833" y="connsiteY63833"/>
              </a:cxn>
              <a:cxn ang="0">
                <a:pos x="connsiteX63834" y="connsiteY63834"/>
              </a:cxn>
              <a:cxn ang="0">
                <a:pos x="connsiteX63835" y="connsiteY63835"/>
              </a:cxn>
              <a:cxn ang="0">
                <a:pos x="connsiteX63836" y="connsiteY63836"/>
              </a:cxn>
              <a:cxn ang="0">
                <a:pos x="connsiteX63837" y="connsiteY63837"/>
              </a:cxn>
              <a:cxn ang="0">
                <a:pos x="connsiteX63838" y="connsiteY63838"/>
              </a:cxn>
              <a:cxn ang="0">
                <a:pos x="connsiteX63839" y="connsiteY63839"/>
              </a:cxn>
              <a:cxn ang="0">
                <a:pos x="connsiteX63840" y="connsiteY63840"/>
              </a:cxn>
              <a:cxn ang="0">
                <a:pos x="connsiteX63841" y="connsiteY63841"/>
              </a:cxn>
              <a:cxn ang="0">
                <a:pos x="connsiteX63842" y="connsiteY63842"/>
              </a:cxn>
              <a:cxn ang="0">
                <a:pos x="connsiteX63843" y="connsiteY63843"/>
              </a:cxn>
              <a:cxn ang="0">
                <a:pos x="connsiteX63844" y="connsiteY63844"/>
              </a:cxn>
              <a:cxn ang="0">
                <a:pos x="connsiteX63845" y="connsiteY63845"/>
              </a:cxn>
              <a:cxn ang="0">
                <a:pos x="connsiteX63846" y="connsiteY63846"/>
              </a:cxn>
              <a:cxn ang="0">
                <a:pos x="connsiteX63847" y="connsiteY63847"/>
              </a:cxn>
              <a:cxn ang="0">
                <a:pos x="connsiteX63848" y="connsiteY63848"/>
              </a:cxn>
              <a:cxn ang="0">
                <a:pos x="connsiteX63849" y="connsiteY63849"/>
              </a:cxn>
              <a:cxn ang="0">
                <a:pos x="connsiteX63850" y="connsiteY63850"/>
              </a:cxn>
              <a:cxn ang="0">
                <a:pos x="connsiteX63851" y="connsiteY63851"/>
              </a:cxn>
              <a:cxn ang="0">
                <a:pos x="connsiteX63852" y="connsiteY63852"/>
              </a:cxn>
              <a:cxn ang="0">
                <a:pos x="connsiteX63853" y="connsiteY63853"/>
              </a:cxn>
              <a:cxn ang="0">
                <a:pos x="connsiteX63854" y="connsiteY63854"/>
              </a:cxn>
              <a:cxn ang="0">
                <a:pos x="connsiteX63855" y="connsiteY63855"/>
              </a:cxn>
              <a:cxn ang="0">
                <a:pos x="connsiteX63856" y="connsiteY63856"/>
              </a:cxn>
              <a:cxn ang="0">
                <a:pos x="connsiteX63857" y="connsiteY63857"/>
              </a:cxn>
              <a:cxn ang="0">
                <a:pos x="connsiteX63858" y="connsiteY63858"/>
              </a:cxn>
              <a:cxn ang="0">
                <a:pos x="connsiteX63859" y="connsiteY63859"/>
              </a:cxn>
              <a:cxn ang="0">
                <a:pos x="connsiteX63860" y="connsiteY63860"/>
              </a:cxn>
              <a:cxn ang="0">
                <a:pos x="connsiteX63861" y="connsiteY63861"/>
              </a:cxn>
              <a:cxn ang="0">
                <a:pos x="connsiteX63862" y="connsiteY63862"/>
              </a:cxn>
              <a:cxn ang="0">
                <a:pos x="connsiteX63863" y="connsiteY63863"/>
              </a:cxn>
              <a:cxn ang="0">
                <a:pos x="connsiteX63864" y="connsiteY63864"/>
              </a:cxn>
              <a:cxn ang="0">
                <a:pos x="connsiteX63865" y="connsiteY63865"/>
              </a:cxn>
              <a:cxn ang="0">
                <a:pos x="connsiteX63866" y="connsiteY63866"/>
              </a:cxn>
              <a:cxn ang="0">
                <a:pos x="connsiteX63867" y="connsiteY63867"/>
              </a:cxn>
              <a:cxn ang="0">
                <a:pos x="connsiteX63868" y="connsiteY63868"/>
              </a:cxn>
              <a:cxn ang="0">
                <a:pos x="connsiteX63869" y="connsiteY63869"/>
              </a:cxn>
              <a:cxn ang="0">
                <a:pos x="connsiteX63870" y="connsiteY63870"/>
              </a:cxn>
              <a:cxn ang="0">
                <a:pos x="connsiteX63871" y="connsiteY63871"/>
              </a:cxn>
              <a:cxn ang="0">
                <a:pos x="connsiteX63872" y="connsiteY63872"/>
              </a:cxn>
              <a:cxn ang="0">
                <a:pos x="connsiteX63873" y="connsiteY63873"/>
              </a:cxn>
              <a:cxn ang="0">
                <a:pos x="connsiteX63874" y="connsiteY63874"/>
              </a:cxn>
              <a:cxn ang="0">
                <a:pos x="connsiteX63875" y="connsiteY63875"/>
              </a:cxn>
              <a:cxn ang="0">
                <a:pos x="connsiteX63876" y="connsiteY63876"/>
              </a:cxn>
              <a:cxn ang="0">
                <a:pos x="connsiteX63877" y="connsiteY63877"/>
              </a:cxn>
              <a:cxn ang="0">
                <a:pos x="connsiteX63878" y="connsiteY63878"/>
              </a:cxn>
              <a:cxn ang="0">
                <a:pos x="connsiteX63879" y="connsiteY63879"/>
              </a:cxn>
              <a:cxn ang="0">
                <a:pos x="connsiteX63880" y="connsiteY63880"/>
              </a:cxn>
              <a:cxn ang="0">
                <a:pos x="connsiteX63881" y="connsiteY63881"/>
              </a:cxn>
              <a:cxn ang="0">
                <a:pos x="connsiteX63882" y="connsiteY63882"/>
              </a:cxn>
              <a:cxn ang="0">
                <a:pos x="connsiteX63883" y="connsiteY63883"/>
              </a:cxn>
              <a:cxn ang="0">
                <a:pos x="connsiteX63884" y="connsiteY63884"/>
              </a:cxn>
              <a:cxn ang="0">
                <a:pos x="connsiteX63885" y="connsiteY63885"/>
              </a:cxn>
              <a:cxn ang="0">
                <a:pos x="connsiteX63886" y="connsiteY63886"/>
              </a:cxn>
              <a:cxn ang="0">
                <a:pos x="connsiteX63887" y="connsiteY63887"/>
              </a:cxn>
              <a:cxn ang="0">
                <a:pos x="connsiteX63888" y="connsiteY63888"/>
              </a:cxn>
              <a:cxn ang="0">
                <a:pos x="connsiteX63889" y="connsiteY63889"/>
              </a:cxn>
              <a:cxn ang="0">
                <a:pos x="connsiteX63890" y="connsiteY63890"/>
              </a:cxn>
              <a:cxn ang="0">
                <a:pos x="connsiteX63891" y="connsiteY63891"/>
              </a:cxn>
              <a:cxn ang="0">
                <a:pos x="connsiteX63892" y="connsiteY63892"/>
              </a:cxn>
              <a:cxn ang="0">
                <a:pos x="connsiteX63893" y="connsiteY63893"/>
              </a:cxn>
              <a:cxn ang="0">
                <a:pos x="connsiteX63894" y="connsiteY63894"/>
              </a:cxn>
              <a:cxn ang="0">
                <a:pos x="connsiteX63895" y="connsiteY63895"/>
              </a:cxn>
              <a:cxn ang="0">
                <a:pos x="connsiteX63896" y="connsiteY63896"/>
              </a:cxn>
              <a:cxn ang="0">
                <a:pos x="connsiteX63897" y="connsiteY63897"/>
              </a:cxn>
              <a:cxn ang="0">
                <a:pos x="connsiteX63898" y="connsiteY63898"/>
              </a:cxn>
              <a:cxn ang="0">
                <a:pos x="connsiteX63899" y="connsiteY63899"/>
              </a:cxn>
              <a:cxn ang="0">
                <a:pos x="connsiteX63900" y="connsiteY63900"/>
              </a:cxn>
              <a:cxn ang="0">
                <a:pos x="connsiteX63901" y="connsiteY63901"/>
              </a:cxn>
              <a:cxn ang="0">
                <a:pos x="connsiteX63902" y="connsiteY63902"/>
              </a:cxn>
              <a:cxn ang="0">
                <a:pos x="connsiteX63903" y="connsiteY63903"/>
              </a:cxn>
              <a:cxn ang="0">
                <a:pos x="connsiteX63904" y="connsiteY63904"/>
              </a:cxn>
              <a:cxn ang="0">
                <a:pos x="connsiteX63905" y="connsiteY63905"/>
              </a:cxn>
              <a:cxn ang="0">
                <a:pos x="connsiteX63906" y="connsiteY63906"/>
              </a:cxn>
              <a:cxn ang="0">
                <a:pos x="connsiteX63907" y="connsiteY63907"/>
              </a:cxn>
              <a:cxn ang="0">
                <a:pos x="connsiteX63908" y="connsiteY63908"/>
              </a:cxn>
              <a:cxn ang="0">
                <a:pos x="connsiteX63909" y="connsiteY63909"/>
              </a:cxn>
              <a:cxn ang="0">
                <a:pos x="connsiteX63910" y="connsiteY63910"/>
              </a:cxn>
              <a:cxn ang="0">
                <a:pos x="connsiteX63911" y="connsiteY63911"/>
              </a:cxn>
              <a:cxn ang="0">
                <a:pos x="connsiteX63912" y="connsiteY63912"/>
              </a:cxn>
              <a:cxn ang="0">
                <a:pos x="connsiteX63913" y="connsiteY63913"/>
              </a:cxn>
              <a:cxn ang="0">
                <a:pos x="connsiteX63914" y="connsiteY63914"/>
              </a:cxn>
              <a:cxn ang="0">
                <a:pos x="connsiteX63915" y="connsiteY63915"/>
              </a:cxn>
              <a:cxn ang="0">
                <a:pos x="connsiteX63916" y="connsiteY63916"/>
              </a:cxn>
              <a:cxn ang="0">
                <a:pos x="connsiteX63917" y="connsiteY63917"/>
              </a:cxn>
              <a:cxn ang="0">
                <a:pos x="connsiteX63918" y="connsiteY63918"/>
              </a:cxn>
              <a:cxn ang="0">
                <a:pos x="connsiteX63919" y="connsiteY63919"/>
              </a:cxn>
              <a:cxn ang="0">
                <a:pos x="connsiteX63920" y="connsiteY63920"/>
              </a:cxn>
              <a:cxn ang="0">
                <a:pos x="connsiteX63921" y="connsiteY63921"/>
              </a:cxn>
              <a:cxn ang="0">
                <a:pos x="connsiteX63922" y="connsiteY63922"/>
              </a:cxn>
              <a:cxn ang="0">
                <a:pos x="connsiteX63923" y="connsiteY63923"/>
              </a:cxn>
              <a:cxn ang="0">
                <a:pos x="connsiteX63924" y="connsiteY63924"/>
              </a:cxn>
              <a:cxn ang="0">
                <a:pos x="connsiteX63925" y="connsiteY63925"/>
              </a:cxn>
              <a:cxn ang="0">
                <a:pos x="connsiteX63926" y="connsiteY63926"/>
              </a:cxn>
              <a:cxn ang="0">
                <a:pos x="connsiteX63927" y="connsiteY63927"/>
              </a:cxn>
              <a:cxn ang="0">
                <a:pos x="connsiteX63928" y="connsiteY63928"/>
              </a:cxn>
              <a:cxn ang="0">
                <a:pos x="connsiteX63929" y="connsiteY63929"/>
              </a:cxn>
              <a:cxn ang="0">
                <a:pos x="connsiteX63930" y="connsiteY63930"/>
              </a:cxn>
              <a:cxn ang="0">
                <a:pos x="connsiteX63931" y="connsiteY63931"/>
              </a:cxn>
              <a:cxn ang="0">
                <a:pos x="connsiteX63932" y="connsiteY63932"/>
              </a:cxn>
              <a:cxn ang="0">
                <a:pos x="connsiteX63933" y="connsiteY63933"/>
              </a:cxn>
              <a:cxn ang="0">
                <a:pos x="connsiteX63934" y="connsiteY63934"/>
              </a:cxn>
              <a:cxn ang="0">
                <a:pos x="connsiteX63935" y="connsiteY63935"/>
              </a:cxn>
              <a:cxn ang="0">
                <a:pos x="connsiteX63936" y="connsiteY63936"/>
              </a:cxn>
              <a:cxn ang="0">
                <a:pos x="connsiteX63937" y="connsiteY63937"/>
              </a:cxn>
              <a:cxn ang="0">
                <a:pos x="connsiteX63938" y="connsiteY63938"/>
              </a:cxn>
              <a:cxn ang="0">
                <a:pos x="connsiteX63939" y="connsiteY63939"/>
              </a:cxn>
              <a:cxn ang="0">
                <a:pos x="connsiteX63940" y="connsiteY63940"/>
              </a:cxn>
              <a:cxn ang="0">
                <a:pos x="connsiteX63941" y="connsiteY63941"/>
              </a:cxn>
              <a:cxn ang="0">
                <a:pos x="connsiteX63942" y="connsiteY63942"/>
              </a:cxn>
              <a:cxn ang="0">
                <a:pos x="connsiteX63943" y="connsiteY63943"/>
              </a:cxn>
              <a:cxn ang="0">
                <a:pos x="connsiteX63944" y="connsiteY63944"/>
              </a:cxn>
              <a:cxn ang="0">
                <a:pos x="connsiteX63945" y="connsiteY63945"/>
              </a:cxn>
              <a:cxn ang="0">
                <a:pos x="connsiteX63946" y="connsiteY63946"/>
              </a:cxn>
              <a:cxn ang="0">
                <a:pos x="connsiteX63947" y="connsiteY63947"/>
              </a:cxn>
              <a:cxn ang="0">
                <a:pos x="connsiteX63948" y="connsiteY63948"/>
              </a:cxn>
              <a:cxn ang="0">
                <a:pos x="connsiteX63949" y="connsiteY63949"/>
              </a:cxn>
              <a:cxn ang="0">
                <a:pos x="connsiteX63950" y="connsiteY63950"/>
              </a:cxn>
              <a:cxn ang="0">
                <a:pos x="connsiteX63951" y="connsiteY63951"/>
              </a:cxn>
              <a:cxn ang="0">
                <a:pos x="connsiteX63952" y="connsiteY63952"/>
              </a:cxn>
              <a:cxn ang="0">
                <a:pos x="connsiteX63953" y="connsiteY63953"/>
              </a:cxn>
              <a:cxn ang="0">
                <a:pos x="connsiteX63954" y="connsiteY63954"/>
              </a:cxn>
              <a:cxn ang="0">
                <a:pos x="connsiteX63955" y="connsiteY63955"/>
              </a:cxn>
              <a:cxn ang="0">
                <a:pos x="connsiteX63956" y="connsiteY63956"/>
              </a:cxn>
              <a:cxn ang="0">
                <a:pos x="connsiteX63957" y="connsiteY63957"/>
              </a:cxn>
              <a:cxn ang="0">
                <a:pos x="connsiteX63958" y="connsiteY63958"/>
              </a:cxn>
              <a:cxn ang="0">
                <a:pos x="connsiteX63959" y="connsiteY63959"/>
              </a:cxn>
              <a:cxn ang="0">
                <a:pos x="connsiteX63960" y="connsiteY63960"/>
              </a:cxn>
              <a:cxn ang="0">
                <a:pos x="connsiteX63961" y="connsiteY63961"/>
              </a:cxn>
              <a:cxn ang="0">
                <a:pos x="connsiteX63962" y="connsiteY63962"/>
              </a:cxn>
              <a:cxn ang="0">
                <a:pos x="connsiteX63963" y="connsiteY63963"/>
              </a:cxn>
              <a:cxn ang="0">
                <a:pos x="connsiteX63964" y="connsiteY63964"/>
              </a:cxn>
              <a:cxn ang="0">
                <a:pos x="connsiteX63965" y="connsiteY63965"/>
              </a:cxn>
              <a:cxn ang="0">
                <a:pos x="connsiteX63966" y="connsiteY63966"/>
              </a:cxn>
              <a:cxn ang="0">
                <a:pos x="connsiteX63967" y="connsiteY63967"/>
              </a:cxn>
              <a:cxn ang="0">
                <a:pos x="connsiteX63968" y="connsiteY63968"/>
              </a:cxn>
              <a:cxn ang="0">
                <a:pos x="connsiteX63969" y="connsiteY63969"/>
              </a:cxn>
              <a:cxn ang="0">
                <a:pos x="connsiteX63970" y="connsiteY63970"/>
              </a:cxn>
              <a:cxn ang="0">
                <a:pos x="connsiteX63971" y="connsiteY63971"/>
              </a:cxn>
              <a:cxn ang="0">
                <a:pos x="connsiteX63972" y="connsiteY63972"/>
              </a:cxn>
              <a:cxn ang="0">
                <a:pos x="connsiteX63973" y="connsiteY63973"/>
              </a:cxn>
              <a:cxn ang="0">
                <a:pos x="connsiteX63974" y="connsiteY63974"/>
              </a:cxn>
              <a:cxn ang="0">
                <a:pos x="connsiteX63975" y="connsiteY63975"/>
              </a:cxn>
              <a:cxn ang="0">
                <a:pos x="connsiteX63976" y="connsiteY63976"/>
              </a:cxn>
              <a:cxn ang="0">
                <a:pos x="connsiteX63977" y="connsiteY63977"/>
              </a:cxn>
              <a:cxn ang="0">
                <a:pos x="connsiteX63978" y="connsiteY63978"/>
              </a:cxn>
              <a:cxn ang="0">
                <a:pos x="connsiteX63979" y="connsiteY63979"/>
              </a:cxn>
              <a:cxn ang="0">
                <a:pos x="connsiteX63980" y="connsiteY63980"/>
              </a:cxn>
              <a:cxn ang="0">
                <a:pos x="connsiteX63981" y="connsiteY63981"/>
              </a:cxn>
              <a:cxn ang="0">
                <a:pos x="connsiteX63982" y="connsiteY63982"/>
              </a:cxn>
              <a:cxn ang="0">
                <a:pos x="connsiteX63983" y="connsiteY63983"/>
              </a:cxn>
              <a:cxn ang="0">
                <a:pos x="connsiteX63984" y="connsiteY63984"/>
              </a:cxn>
              <a:cxn ang="0">
                <a:pos x="connsiteX63985" y="connsiteY63985"/>
              </a:cxn>
              <a:cxn ang="0">
                <a:pos x="connsiteX63986" y="connsiteY63986"/>
              </a:cxn>
              <a:cxn ang="0">
                <a:pos x="connsiteX63987" y="connsiteY63987"/>
              </a:cxn>
              <a:cxn ang="0">
                <a:pos x="connsiteX63988" y="connsiteY63988"/>
              </a:cxn>
              <a:cxn ang="0">
                <a:pos x="connsiteX63989" y="connsiteY63989"/>
              </a:cxn>
              <a:cxn ang="0">
                <a:pos x="connsiteX63990" y="connsiteY63990"/>
              </a:cxn>
              <a:cxn ang="0">
                <a:pos x="connsiteX63991" y="connsiteY63991"/>
              </a:cxn>
              <a:cxn ang="0">
                <a:pos x="connsiteX63992" y="connsiteY63992"/>
              </a:cxn>
              <a:cxn ang="0">
                <a:pos x="connsiteX63993" y="connsiteY63993"/>
              </a:cxn>
              <a:cxn ang="0">
                <a:pos x="connsiteX63994" y="connsiteY63994"/>
              </a:cxn>
              <a:cxn ang="0">
                <a:pos x="connsiteX63995" y="connsiteY63995"/>
              </a:cxn>
              <a:cxn ang="0">
                <a:pos x="connsiteX63996" y="connsiteY63996"/>
              </a:cxn>
              <a:cxn ang="0">
                <a:pos x="connsiteX63997" y="connsiteY63997"/>
              </a:cxn>
              <a:cxn ang="0">
                <a:pos x="connsiteX63998" y="connsiteY63998"/>
              </a:cxn>
              <a:cxn ang="0">
                <a:pos x="connsiteX63999" y="connsiteY63999"/>
              </a:cxn>
              <a:cxn ang="0">
                <a:pos x="connsiteX64000" y="connsiteY64000"/>
              </a:cxn>
              <a:cxn ang="0">
                <a:pos x="connsiteX64001" y="connsiteY64001"/>
              </a:cxn>
              <a:cxn ang="0">
                <a:pos x="connsiteX64002" y="connsiteY64002"/>
              </a:cxn>
              <a:cxn ang="0">
                <a:pos x="connsiteX64003" y="connsiteY64003"/>
              </a:cxn>
              <a:cxn ang="0">
                <a:pos x="connsiteX64004" y="connsiteY64004"/>
              </a:cxn>
              <a:cxn ang="0">
                <a:pos x="connsiteX64005" y="connsiteY64005"/>
              </a:cxn>
              <a:cxn ang="0">
                <a:pos x="connsiteX64006" y="connsiteY64006"/>
              </a:cxn>
              <a:cxn ang="0">
                <a:pos x="connsiteX64007" y="connsiteY64007"/>
              </a:cxn>
              <a:cxn ang="0">
                <a:pos x="connsiteX64008" y="connsiteY64008"/>
              </a:cxn>
              <a:cxn ang="0">
                <a:pos x="connsiteX64009" y="connsiteY64009"/>
              </a:cxn>
              <a:cxn ang="0">
                <a:pos x="connsiteX64010" y="connsiteY64010"/>
              </a:cxn>
              <a:cxn ang="0">
                <a:pos x="connsiteX64011" y="connsiteY64011"/>
              </a:cxn>
              <a:cxn ang="0">
                <a:pos x="connsiteX64012" y="connsiteY64012"/>
              </a:cxn>
              <a:cxn ang="0">
                <a:pos x="connsiteX64013" y="connsiteY64013"/>
              </a:cxn>
              <a:cxn ang="0">
                <a:pos x="connsiteX64014" y="connsiteY64014"/>
              </a:cxn>
              <a:cxn ang="0">
                <a:pos x="connsiteX64015" y="connsiteY64015"/>
              </a:cxn>
              <a:cxn ang="0">
                <a:pos x="connsiteX64016" y="connsiteY64016"/>
              </a:cxn>
              <a:cxn ang="0">
                <a:pos x="connsiteX64017" y="connsiteY64017"/>
              </a:cxn>
              <a:cxn ang="0">
                <a:pos x="connsiteX64018" y="connsiteY64018"/>
              </a:cxn>
              <a:cxn ang="0">
                <a:pos x="connsiteX64019" y="connsiteY64019"/>
              </a:cxn>
              <a:cxn ang="0">
                <a:pos x="connsiteX64020" y="connsiteY64020"/>
              </a:cxn>
              <a:cxn ang="0">
                <a:pos x="connsiteX64021" y="connsiteY64021"/>
              </a:cxn>
              <a:cxn ang="0">
                <a:pos x="connsiteX64022" y="connsiteY64022"/>
              </a:cxn>
              <a:cxn ang="0">
                <a:pos x="connsiteX64023" y="connsiteY64023"/>
              </a:cxn>
              <a:cxn ang="0">
                <a:pos x="connsiteX64024" y="connsiteY64024"/>
              </a:cxn>
              <a:cxn ang="0">
                <a:pos x="connsiteX64025" y="connsiteY64025"/>
              </a:cxn>
              <a:cxn ang="0">
                <a:pos x="connsiteX64026" y="connsiteY64026"/>
              </a:cxn>
              <a:cxn ang="0">
                <a:pos x="connsiteX64027" y="connsiteY64027"/>
              </a:cxn>
              <a:cxn ang="0">
                <a:pos x="connsiteX64028" y="connsiteY64028"/>
              </a:cxn>
              <a:cxn ang="0">
                <a:pos x="connsiteX64029" y="connsiteY64029"/>
              </a:cxn>
              <a:cxn ang="0">
                <a:pos x="connsiteX64030" y="connsiteY64030"/>
              </a:cxn>
              <a:cxn ang="0">
                <a:pos x="connsiteX64031" y="connsiteY64031"/>
              </a:cxn>
              <a:cxn ang="0">
                <a:pos x="connsiteX64032" y="connsiteY64032"/>
              </a:cxn>
              <a:cxn ang="0">
                <a:pos x="connsiteX64033" y="connsiteY64033"/>
              </a:cxn>
              <a:cxn ang="0">
                <a:pos x="connsiteX64034" y="connsiteY64034"/>
              </a:cxn>
              <a:cxn ang="0">
                <a:pos x="connsiteX64035" y="connsiteY64035"/>
              </a:cxn>
              <a:cxn ang="0">
                <a:pos x="connsiteX64036" y="connsiteY64036"/>
              </a:cxn>
              <a:cxn ang="0">
                <a:pos x="connsiteX64037" y="connsiteY64037"/>
              </a:cxn>
              <a:cxn ang="0">
                <a:pos x="connsiteX64038" y="connsiteY64038"/>
              </a:cxn>
              <a:cxn ang="0">
                <a:pos x="connsiteX64039" y="connsiteY64039"/>
              </a:cxn>
              <a:cxn ang="0">
                <a:pos x="connsiteX64040" y="connsiteY64040"/>
              </a:cxn>
              <a:cxn ang="0">
                <a:pos x="connsiteX64041" y="connsiteY64041"/>
              </a:cxn>
              <a:cxn ang="0">
                <a:pos x="connsiteX64042" y="connsiteY64042"/>
              </a:cxn>
              <a:cxn ang="0">
                <a:pos x="connsiteX64043" y="connsiteY64043"/>
              </a:cxn>
              <a:cxn ang="0">
                <a:pos x="connsiteX64044" y="connsiteY64044"/>
              </a:cxn>
              <a:cxn ang="0">
                <a:pos x="connsiteX64045" y="connsiteY64045"/>
              </a:cxn>
              <a:cxn ang="0">
                <a:pos x="connsiteX64046" y="connsiteY64046"/>
              </a:cxn>
              <a:cxn ang="0">
                <a:pos x="connsiteX64047" y="connsiteY64047"/>
              </a:cxn>
              <a:cxn ang="0">
                <a:pos x="connsiteX64048" y="connsiteY64048"/>
              </a:cxn>
              <a:cxn ang="0">
                <a:pos x="connsiteX64049" y="connsiteY64049"/>
              </a:cxn>
              <a:cxn ang="0">
                <a:pos x="connsiteX64050" y="connsiteY64050"/>
              </a:cxn>
              <a:cxn ang="0">
                <a:pos x="connsiteX64051" y="connsiteY64051"/>
              </a:cxn>
              <a:cxn ang="0">
                <a:pos x="connsiteX64052" y="connsiteY64052"/>
              </a:cxn>
              <a:cxn ang="0">
                <a:pos x="connsiteX64053" y="connsiteY64053"/>
              </a:cxn>
              <a:cxn ang="0">
                <a:pos x="connsiteX64054" y="connsiteY64054"/>
              </a:cxn>
              <a:cxn ang="0">
                <a:pos x="connsiteX64055" y="connsiteY64055"/>
              </a:cxn>
              <a:cxn ang="0">
                <a:pos x="connsiteX64056" y="connsiteY64056"/>
              </a:cxn>
              <a:cxn ang="0">
                <a:pos x="connsiteX64057" y="connsiteY64057"/>
              </a:cxn>
              <a:cxn ang="0">
                <a:pos x="connsiteX64058" y="connsiteY64058"/>
              </a:cxn>
              <a:cxn ang="0">
                <a:pos x="connsiteX64059" y="connsiteY64059"/>
              </a:cxn>
              <a:cxn ang="0">
                <a:pos x="connsiteX64060" y="connsiteY64060"/>
              </a:cxn>
              <a:cxn ang="0">
                <a:pos x="connsiteX64061" y="connsiteY64061"/>
              </a:cxn>
              <a:cxn ang="0">
                <a:pos x="connsiteX64062" y="connsiteY64062"/>
              </a:cxn>
              <a:cxn ang="0">
                <a:pos x="connsiteX64063" y="connsiteY64063"/>
              </a:cxn>
              <a:cxn ang="0">
                <a:pos x="connsiteX64064" y="connsiteY64064"/>
              </a:cxn>
              <a:cxn ang="0">
                <a:pos x="connsiteX64065" y="connsiteY64065"/>
              </a:cxn>
              <a:cxn ang="0">
                <a:pos x="connsiteX64066" y="connsiteY64066"/>
              </a:cxn>
              <a:cxn ang="0">
                <a:pos x="connsiteX64067" y="connsiteY64067"/>
              </a:cxn>
              <a:cxn ang="0">
                <a:pos x="connsiteX64068" y="connsiteY64068"/>
              </a:cxn>
              <a:cxn ang="0">
                <a:pos x="connsiteX64069" y="connsiteY64069"/>
              </a:cxn>
              <a:cxn ang="0">
                <a:pos x="connsiteX64070" y="connsiteY64070"/>
              </a:cxn>
              <a:cxn ang="0">
                <a:pos x="connsiteX64071" y="connsiteY64071"/>
              </a:cxn>
              <a:cxn ang="0">
                <a:pos x="connsiteX64072" y="connsiteY64072"/>
              </a:cxn>
              <a:cxn ang="0">
                <a:pos x="connsiteX64073" y="connsiteY64073"/>
              </a:cxn>
              <a:cxn ang="0">
                <a:pos x="connsiteX64074" y="connsiteY64074"/>
              </a:cxn>
              <a:cxn ang="0">
                <a:pos x="connsiteX64075" y="connsiteY64075"/>
              </a:cxn>
              <a:cxn ang="0">
                <a:pos x="connsiteX64076" y="connsiteY64076"/>
              </a:cxn>
              <a:cxn ang="0">
                <a:pos x="connsiteX64077" y="connsiteY64077"/>
              </a:cxn>
              <a:cxn ang="0">
                <a:pos x="connsiteX64078" y="connsiteY64078"/>
              </a:cxn>
              <a:cxn ang="0">
                <a:pos x="connsiteX64079" y="connsiteY64079"/>
              </a:cxn>
              <a:cxn ang="0">
                <a:pos x="connsiteX64080" y="connsiteY64080"/>
              </a:cxn>
              <a:cxn ang="0">
                <a:pos x="connsiteX64081" y="connsiteY64081"/>
              </a:cxn>
              <a:cxn ang="0">
                <a:pos x="connsiteX64082" y="connsiteY64082"/>
              </a:cxn>
              <a:cxn ang="0">
                <a:pos x="connsiteX64083" y="connsiteY64083"/>
              </a:cxn>
              <a:cxn ang="0">
                <a:pos x="connsiteX64084" y="connsiteY64084"/>
              </a:cxn>
              <a:cxn ang="0">
                <a:pos x="connsiteX64085" y="connsiteY64085"/>
              </a:cxn>
              <a:cxn ang="0">
                <a:pos x="connsiteX64086" y="connsiteY64086"/>
              </a:cxn>
              <a:cxn ang="0">
                <a:pos x="connsiteX64087" y="connsiteY64087"/>
              </a:cxn>
              <a:cxn ang="0">
                <a:pos x="connsiteX64088" y="connsiteY64088"/>
              </a:cxn>
              <a:cxn ang="0">
                <a:pos x="connsiteX64089" y="connsiteY64089"/>
              </a:cxn>
              <a:cxn ang="0">
                <a:pos x="connsiteX64090" y="connsiteY64090"/>
              </a:cxn>
              <a:cxn ang="0">
                <a:pos x="connsiteX64091" y="connsiteY64091"/>
              </a:cxn>
              <a:cxn ang="0">
                <a:pos x="connsiteX64092" y="connsiteY64092"/>
              </a:cxn>
              <a:cxn ang="0">
                <a:pos x="connsiteX64093" y="connsiteY64093"/>
              </a:cxn>
              <a:cxn ang="0">
                <a:pos x="connsiteX64094" y="connsiteY64094"/>
              </a:cxn>
              <a:cxn ang="0">
                <a:pos x="connsiteX64095" y="connsiteY64095"/>
              </a:cxn>
              <a:cxn ang="0">
                <a:pos x="connsiteX64096" y="connsiteY64096"/>
              </a:cxn>
              <a:cxn ang="0">
                <a:pos x="connsiteX64097" y="connsiteY64097"/>
              </a:cxn>
              <a:cxn ang="0">
                <a:pos x="connsiteX64098" y="connsiteY64098"/>
              </a:cxn>
              <a:cxn ang="0">
                <a:pos x="connsiteX64099" y="connsiteY64099"/>
              </a:cxn>
              <a:cxn ang="0">
                <a:pos x="connsiteX64100" y="connsiteY64100"/>
              </a:cxn>
              <a:cxn ang="0">
                <a:pos x="connsiteX64101" y="connsiteY64101"/>
              </a:cxn>
              <a:cxn ang="0">
                <a:pos x="connsiteX64102" y="connsiteY64102"/>
              </a:cxn>
              <a:cxn ang="0">
                <a:pos x="connsiteX64103" y="connsiteY64103"/>
              </a:cxn>
              <a:cxn ang="0">
                <a:pos x="connsiteX64104" y="connsiteY64104"/>
              </a:cxn>
              <a:cxn ang="0">
                <a:pos x="connsiteX64105" y="connsiteY64105"/>
              </a:cxn>
              <a:cxn ang="0">
                <a:pos x="connsiteX64106" y="connsiteY64106"/>
              </a:cxn>
              <a:cxn ang="0">
                <a:pos x="connsiteX64107" y="connsiteY64107"/>
              </a:cxn>
              <a:cxn ang="0">
                <a:pos x="connsiteX64108" y="connsiteY64108"/>
              </a:cxn>
              <a:cxn ang="0">
                <a:pos x="connsiteX64109" y="connsiteY64109"/>
              </a:cxn>
              <a:cxn ang="0">
                <a:pos x="connsiteX64110" y="connsiteY64110"/>
              </a:cxn>
              <a:cxn ang="0">
                <a:pos x="connsiteX64111" y="connsiteY64111"/>
              </a:cxn>
              <a:cxn ang="0">
                <a:pos x="connsiteX64112" y="connsiteY64112"/>
              </a:cxn>
              <a:cxn ang="0">
                <a:pos x="connsiteX64113" y="connsiteY64113"/>
              </a:cxn>
              <a:cxn ang="0">
                <a:pos x="connsiteX64114" y="connsiteY64114"/>
              </a:cxn>
              <a:cxn ang="0">
                <a:pos x="connsiteX64115" y="connsiteY64115"/>
              </a:cxn>
              <a:cxn ang="0">
                <a:pos x="connsiteX64116" y="connsiteY64116"/>
              </a:cxn>
              <a:cxn ang="0">
                <a:pos x="connsiteX64117" y="connsiteY64117"/>
              </a:cxn>
              <a:cxn ang="0">
                <a:pos x="connsiteX64118" y="connsiteY64118"/>
              </a:cxn>
              <a:cxn ang="0">
                <a:pos x="connsiteX64119" y="connsiteY64119"/>
              </a:cxn>
              <a:cxn ang="0">
                <a:pos x="connsiteX64120" y="connsiteY64120"/>
              </a:cxn>
              <a:cxn ang="0">
                <a:pos x="connsiteX64121" y="connsiteY64121"/>
              </a:cxn>
              <a:cxn ang="0">
                <a:pos x="connsiteX64122" y="connsiteY64122"/>
              </a:cxn>
              <a:cxn ang="0">
                <a:pos x="connsiteX64123" y="connsiteY64123"/>
              </a:cxn>
              <a:cxn ang="0">
                <a:pos x="connsiteX64124" y="connsiteY64124"/>
              </a:cxn>
              <a:cxn ang="0">
                <a:pos x="connsiteX64125" y="connsiteY64125"/>
              </a:cxn>
              <a:cxn ang="0">
                <a:pos x="connsiteX64126" y="connsiteY64126"/>
              </a:cxn>
              <a:cxn ang="0">
                <a:pos x="connsiteX64127" y="connsiteY64127"/>
              </a:cxn>
              <a:cxn ang="0">
                <a:pos x="connsiteX64128" y="connsiteY64128"/>
              </a:cxn>
              <a:cxn ang="0">
                <a:pos x="connsiteX64129" y="connsiteY64129"/>
              </a:cxn>
              <a:cxn ang="0">
                <a:pos x="connsiteX64130" y="connsiteY64130"/>
              </a:cxn>
              <a:cxn ang="0">
                <a:pos x="connsiteX64131" y="connsiteY64131"/>
              </a:cxn>
              <a:cxn ang="0">
                <a:pos x="connsiteX64132" y="connsiteY64132"/>
              </a:cxn>
              <a:cxn ang="0">
                <a:pos x="connsiteX64133" y="connsiteY64133"/>
              </a:cxn>
              <a:cxn ang="0">
                <a:pos x="connsiteX64134" y="connsiteY64134"/>
              </a:cxn>
              <a:cxn ang="0">
                <a:pos x="connsiteX64135" y="connsiteY64135"/>
              </a:cxn>
              <a:cxn ang="0">
                <a:pos x="connsiteX64136" y="connsiteY64136"/>
              </a:cxn>
              <a:cxn ang="0">
                <a:pos x="connsiteX64137" y="connsiteY64137"/>
              </a:cxn>
              <a:cxn ang="0">
                <a:pos x="connsiteX64138" y="connsiteY64138"/>
              </a:cxn>
              <a:cxn ang="0">
                <a:pos x="connsiteX64139" y="connsiteY64139"/>
              </a:cxn>
              <a:cxn ang="0">
                <a:pos x="connsiteX64140" y="connsiteY64140"/>
              </a:cxn>
              <a:cxn ang="0">
                <a:pos x="connsiteX64141" y="connsiteY64141"/>
              </a:cxn>
              <a:cxn ang="0">
                <a:pos x="connsiteX64142" y="connsiteY64142"/>
              </a:cxn>
              <a:cxn ang="0">
                <a:pos x="connsiteX64143" y="connsiteY64143"/>
              </a:cxn>
              <a:cxn ang="0">
                <a:pos x="connsiteX64144" y="connsiteY64144"/>
              </a:cxn>
              <a:cxn ang="0">
                <a:pos x="connsiteX64145" y="connsiteY64145"/>
              </a:cxn>
              <a:cxn ang="0">
                <a:pos x="connsiteX64146" y="connsiteY64146"/>
              </a:cxn>
              <a:cxn ang="0">
                <a:pos x="connsiteX64147" y="connsiteY64147"/>
              </a:cxn>
              <a:cxn ang="0">
                <a:pos x="connsiteX64148" y="connsiteY64148"/>
              </a:cxn>
              <a:cxn ang="0">
                <a:pos x="connsiteX64149" y="connsiteY64149"/>
              </a:cxn>
              <a:cxn ang="0">
                <a:pos x="connsiteX64150" y="connsiteY64150"/>
              </a:cxn>
              <a:cxn ang="0">
                <a:pos x="connsiteX64151" y="connsiteY64151"/>
              </a:cxn>
              <a:cxn ang="0">
                <a:pos x="connsiteX64152" y="connsiteY64152"/>
              </a:cxn>
              <a:cxn ang="0">
                <a:pos x="connsiteX64153" y="connsiteY64153"/>
              </a:cxn>
              <a:cxn ang="0">
                <a:pos x="connsiteX64154" y="connsiteY64154"/>
              </a:cxn>
              <a:cxn ang="0">
                <a:pos x="connsiteX64155" y="connsiteY64155"/>
              </a:cxn>
              <a:cxn ang="0">
                <a:pos x="connsiteX64156" y="connsiteY64156"/>
              </a:cxn>
              <a:cxn ang="0">
                <a:pos x="connsiteX64157" y="connsiteY64157"/>
              </a:cxn>
              <a:cxn ang="0">
                <a:pos x="connsiteX64158" y="connsiteY64158"/>
              </a:cxn>
              <a:cxn ang="0">
                <a:pos x="connsiteX64159" y="connsiteY64159"/>
              </a:cxn>
              <a:cxn ang="0">
                <a:pos x="connsiteX64160" y="connsiteY64160"/>
              </a:cxn>
              <a:cxn ang="0">
                <a:pos x="connsiteX64161" y="connsiteY64161"/>
              </a:cxn>
              <a:cxn ang="0">
                <a:pos x="connsiteX64162" y="connsiteY64162"/>
              </a:cxn>
              <a:cxn ang="0">
                <a:pos x="connsiteX64163" y="connsiteY64163"/>
              </a:cxn>
              <a:cxn ang="0">
                <a:pos x="connsiteX64164" y="connsiteY64164"/>
              </a:cxn>
              <a:cxn ang="0">
                <a:pos x="connsiteX64165" y="connsiteY64165"/>
              </a:cxn>
              <a:cxn ang="0">
                <a:pos x="connsiteX64166" y="connsiteY64166"/>
              </a:cxn>
              <a:cxn ang="0">
                <a:pos x="connsiteX64167" y="connsiteY64167"/>
              </a:cxn>
              <a:cxn ang="0">
                <a:pos x="connsiteX64168" y="connsiteY64168"/>
              </a:cxn>
              <a:cxn ang="0">
                <a:pos x="connsiteX64169" y="connsiteY64169"/>
              </a:cxn>
              <a:cxn ang="0">
                <a:pos x="connsiteX64170" y="connsiteY64170"/>
              </a:cxn>
              <a:cxn ang="0">
                <a:pos x="connsiteX64171" y="connsiteY64171"/>
              </a:cxn>
              <a:cxn ang="0">
                <a:pos x="connsiteX64172" y="connsiteY64172"/>
              </a:cxn>
              <a:cxn ang="0">
                <a:pos x="connsiteX64173" y="connsiteY64173"/>
              </a:cxn>
              <a:cxn ang="0">
                <a:pos x="connsiteX64174" y="connsiteY64174"/>
              </a:cxn>
              <a:cxn ang="0">
                <a:pos x="connsiteX64175" y="connsiteY64175"/>
              </a:cxn>
              <a:cxn ang="0">
                <a:pos x="connsiteX64176" y="connsiteY64176"/>
              </a:cxn>
              <a:cxn ang="0">
                <a:pos x="connsiteX64177" y="connsiteY64177"/>
              </a:cxn>
              <a:cxn ang="0">
                <a:pos x="connsiteX64178" y="connsiteY64178"/>
              </a:cxn>
              <a:cxn ang="0">
                <a:pos x="connsiteX64179" y="connsiteY64179"/>
              </a:cxn>
              <a:cxn ang="0">
                <a:pos x="connsiteX64180" y="connsiteY64180"/>
              </a:cxn>
              <a:cxn ang="0">
                <a:pos x="connsiteX64181" y="connsiteY64181"/>
              </a:cxn>
              <a:cxn ang="0">
                <a:pos x="connsiteX64182" y="connsiteY64182"/>
              </a:cxn>
              <a:cxn ang="0">
                <a:pos x="connsiteX64183" y="connsiteY64183"/>
              </a:cxn>
              <a:cxn ang="0">
                <a:pos x="connsiteX64184" y="connsiteY64184"/>
              </a:cxn>
              <a:cxn ang="0">
                <a:pos x="connsiteX64185" y="connsiteY64185"/>
              </a:cxn>
              <a:cxn ang="0">
                <a:pos x="connsiteX64186" y="connsiteY64186"/>
              </a:cxn>
              <a:cxn ang="0">
                <a:pos x="connsiteX64187" y="connsiteY64187"/>
              </a:cxn>
              <a:cxn ang="0">
                <a:pos x="connsiteX64188" y="connsiteY64188"/>
              </a:cxn>
              <a:cxn ang="0">
                <a:pos x="connsiteX64189" y="connsiteY64189"/>
              </a:cxn>
              <a:cxn ang="0">
                <a:pos x="connsiteX64190" y="connsiteY64190"/>
              </a:cxn>
              <a:cxn ang="0">
                <a:pos x="connsiteX64191" y="connsiteY64191"/>
              </a:cxn>
              <a:cxn ang="0">
                <a:pos x="connsiteX64192" y="connsiteY64192"/>
              </a:cxn>
              <a:cxn ang="0">
                <a:pos x="connsiteX64193" y="connsiteY64193"/>
              </a:cxn>
              <a:cxn ang="0">
                <a:pos x="connsiteX64194" y="connsiteY64194"/>
              </a:cxn>
              <a:cxn ang="0">
                <a:pos x="connsiteX64195" y="connsiteY64195"/>
              </a:cxn>
              <a:cxn ang="0">
                <a:pos x="connsiteX64196" y="connsiteY64196"/>
              </a:cxn>
              <a:cxn ang="0">
                <a:pos x="connsiteX64197" y="connsiteY64197"/>
              </a:cxn>
              <a:cxn ang="0">
                <a:pos x="connsiteX64198" y="connsiteY64198"/>
              </a:cxn>
              <a:cxn ang="0">
                <a:pos x="connsiteX64199" y="connsiteY64199"/>
              </a:cxn>
              <a:cxn ang="0">
                <a:pos x="connsiteX64200" y="connsiteY64200"/>
              </a:cxn>
              <a:cxn ang="0">
                <a:pos x="connsiteX64201" y="connsiteY64201"/>
              </a:cxn>
              <a:cxn ang="0">
                <a:pos x="connsiteX64202" y="connsiteY64202"/>
              </a:cxn>
              <a:cxn ang="0">
                <a:pos x="connsiteX64203" y="connsiteY64203"/>
              </a:cxn>
              <a:cxn ang="0">
                <a:pos x="connsiteX64204" y="connsiteY64204"/>
              </a:cxn>
              <a:cxn ang="0">
                <a:pos x="connsiteX64205" y="connsiteY64205"/>
              </a:cxn>
              <a:cxn ang="0">
                <a:pos x="connsiteX64206" y="connsiteY64206"/>
              </a:cxn>
              <a:cxn ang="0">
                <a:pos x="connsiteX64207" y="connsiteY64207"/>
              </a:cxn>
              <a:cxn ang="0">
                <a:pos x="connsiteX64208" y="connsiteY64208"/>
              </a:cxn>
              <a:cxn ang="0">
                <a:pos x="connsiteX64209" y="connsiteY64209"/>
              </a:cxn>
              <a:cxn ang="0">
                <a:pos x="connsiteX64210" y="connsiteY64210"/>
              </a:cxn>
              <a:cxn ang="0">
                <a:pos x="connsiteX64211" y="connsiteY64211"/>
              </a:cxn>
              <a:cxn ang="0">
                <a:pos x="connsiteX64212" y="connsiteY64212"/>
              </a:cxn>
              <a:cxn ang="0">
                <a:pos x="connsiteX64213" y="connsiteY64213"/>
              </a:cxn>
              <a:cxn ang="0">
                <a:pos x="connsiteX64214" y="connsiteY64214"/>
              </a:cxn>
              <a:cxn ang="0">
                <a:pos x="connsiteX64215" y="connsiteY64215"/>
              </a:cxn>
              <a:cxn ang="0">
                <a:pos x="connsiteX64216" y="connsiteY64216"/>
              </a:cxn>
              <a:cxn ang="0">
                <a:pos x="connsiteX64217" y="connsiteY64217"/>
              </a:cxn>
              <a:cxn ang="0">
                <a:pos x="connsiteX64218" y="connsiteY64218"/>
              </a:cxn>
              <a:cxn ang="0">
                <a:pos x="connsiteX64219" y="connsiteY64219"/>
              </a:cxn>
              <a:cxn ang="0">
                <a:pos x="connsiteX64220" y="connsiteY64220"/>
              </a:cxn>
              <a:cxn ang="0">
                <a:pos x="connsiteX64221" y="connsiteY64221"/>
              </a:cxn>
              <a:cxn ang="0">
                <a:pos x="connsiteX64222" y="connsiteY64222"/>
              </a:cxn>
              <a:cxn ang="0">
                <a:pos x="connsiteX64223" y="connsiteY64223"/>
              </a:cxn>
              <a:cxn ang="0">
                <a:pos x="connsiteX64224" y="connsiteY64224"/>
              </a:cxn>
              <a:cxn ang="0">
                <a:pos x="connsiteX64225" y="connsiteY64225"/>
              </a:cxn>
              <a:cxn ang="0">
                <a:pos x="connsiteX64226" y="connsiteY64226"/>
              </a:cxn>
              <a:cxn ang="0">
                <a:pos x="connsiteX64227" y="connsiteY64227"/>
              </a:cxn>
              <a:cxn ang="0">
                <a:pos x="connsiteX64228" y="connsiteY64228"/>
              </a:cxn>
              <a:cxn ang="0">
                <a:pos x="connsiteX64229" y="connsiteY64229"/>
              </a:cxn>
              <a:cxn ang="0">
                <a:pos x="connsiteX64230" y="connsiteY64230"/>
              </a:cxn>
              <a:cxn ang="0">
                <a:pos x="connsiteX64231" y="connsiteY64231"/>
              </a:cxn>
              <a:cxn ang="0">
                <a:pos x="connsiteX64232" y="connsiteY64232"/>
              </a:cxn>
              <a:cxn ang="0">
                <a:pos x="connsiteX64233" y="connsiteY64233"/>
              </a:cxn>
              <a:cxn ang="0">
                <a:pos x="connsiteX64234" y="connsiteY64234"/>
              </a:cxn>
              <a:cxn ang="0">
                <a:pos x="connsiteX64235" y="connsiteY64235"/>
              </a:cxn>
              <a:cxn ang="0">
                <a:pos x="connsiteX64236" y="connsiteY64236"/>
              </a:cxn>
              <a:cxn ang="0">
                <a:pos x="connsiteX64237" y="connsiteY64237"/>
              </a:cxn>
              <a:cxn ang="0">
                <a:pos x="connsiteX64238" y="connsiteY64238"/>
              </a:cxn>
              <a:cxn ang="0">
                <a:pos x="connsiteX64239" y="connsiteY64239"/>
              </a:cxn>
              <a:cxn ang="0">
                <a:pos x="connsiteX64240" y="connsiteY64240"/>
              </a:cxn>
              <a:cxn ang="0">
                <a:pos x="connsiteX64241" y="connsiteY64241"/>
              </a:cxn>
              <a:cxn ang="0">
                <a:pos x="connsiteX64242" y="connsiteY64242"/>
              </a:cxn>
              <a:cxn ang="0">
                <a:pos x="connsiteX64243" y="connsiteY64243"/>
              </a:cxn>
              <a:cxn ang="0">
                <a:pos x="connsiteX64244" y="connsiteY64244"/>
              </a:cxn>
              <a:cxn ang="0">
                <a:pos x="connsiteX64245" y="connsiteY64245"/>
              </a:cxn>
              <a:cxn ang="0">
                <a:pos x="connsiteX64246" y="connsiteY64246"/>
              </a:cxn>
              <a:cxn ang="0">
                <a:pos x="connsiteX64247" y="connsiteY64247"/>
              </a:cxn>
              <a:cxn ang="0">
                <a:pos x="connsiteX64248" y="connsiteY64248"/>
              </a:cxn>
              <a:cxn ang="0">
                <a:pos x="connsiteX64249" y="connsiteY64249"/>
              </a:cxn>
              <a:cxn ang="0">
                <a:pos x="connsiteX64250" y="connsiteY64250"/>
              </a:cxn>
              <a:cxn ang="0">
                <a:pos x="connsiteX64251" y="connsiteY64251"/>
              </a:cxn>
              <a:cxn ang="0">
                <a:pos x="connsiteX64252" y="connsiteY64252"/>
              </a:cxn>
              <a:cxn ang="0">
                <a:pos x="connsiteX64253" y="connsiteY64253"/>
              </a:cxn>
              <a:cxn ang="0">
                <a:pos x="connsiteX64254" y="connsiteY64254"/>
              </a:cxn>
              <a:cxn ang="0">
                <a:pos x="connsiteX64255" y="connsiteY64255"/>
              </a:cxn>
              <a:cxn ang="0">
                <a:pos x="connsiteX64256" y="connsiteY64256"/>
              </a:cxn>
              <a:cxn ang="0">
                <a:pos x="connsiteX64257" y="connsiteY64257"/>
              </a:cxn>
              <a:cxn ang="0">
                <a:pos x="connsiteX64258" y="connsiteY64258"/>
              </a:cxn>
              <a:cxn ang="0">
                <a:pos x="connsiteX64259" y="connsiteY64259"/>
              </a:cxn>
              <a:cxn ang="0">
                <a:pos x="connsiteX64260" y="connsiteY64260"/>
              </a:cxn>
              <a:cxn ang="0">
                <a:pos x="connsiteX64261" y="connsiteY64261"/>
              </a:cxn>
              <a:cxn ang="0">
                <a:pos x="connsiteX64262" y="connsiteY64262"/>
              </a:cxn>
              <a:cxn ang="0">
                <a:pos x="connsiteX64263" y="connsiteY64263"/>
              </a:cxn>
              <a:cxn ang="0">
                <a:pos x="connsiteX64264" y="connsiteY64264"/>
              </a:cxn>
              <a:cxn ang="0">
                <a:pos x="connsiteX64265" y="connsiteY64265"/>
              </a:cxn>
              <a:cxn ang="0">
                <a:pos x="connsiteX64266" y="connsiteY64266"/>
              </a:cxn>
              <a:cxn ang="0">
                <a:pos x="connsiteX64267" y="connsiteY64267"/>
              </a:cxn>
              <a:cxn ang="0">
                <a:pos x="connsiteX64268" y="connsiteY64268"/>
              </a:cxn>
              <a:cxn ang="0">
                <a:pos x="connsiteX64269" y="connsiteY64269"/>
              </a:cxn>
              <a:cxn ang="0">
                <a:pos x="connsiteX64270" y="connsiteY64270"/>
              </a:cxn>
              <a:cxn ang="0">
                <a:pos x="connsiteX64271" y="connsiteY64271"/>
              </a:cxn>
              <a:cxn ang="0">
                <a:pos x="connsiteX64272" y="connsiteY64272"/>
              </a:cxn>
              <a:cxn ang="0">
                <a:pos x="connsiteX64273" y="connsiteY64273"/>
              </a:cxn>
              <a:cxn ang="0">
                <a:pos x="connsiteX64274" y="connsiteY64274"/>
              </a:cxn>
              <a:cxn ang="0">
                <a:pos x="connsiteX64275" y="connsiteY64275"/>
              </a:cxn>
              <a:cxn ang="0">
                <a:pos x="connsiteX64276" y="connsiteY64276"/>
              </a:cxn>
              <a:cxn ang="0">
                <a:pos x="connsiteX64277" y="connsiteY64277"/>
              </a:cxn>
              <a:cxn ang="0">
                <a:pos x="connsiteX64278" y="connsiteY64278"/>
              </a:cxn>
              <a:cxn ang="0">
                <a:pos x="connsiteX64279" y="connsiteY64279"/>
              </a:cxn>
              <a:cxn ang="0">
                <a:pos x="connsiteX64280" y="connsiteY64280"/>
              </a:cxn>
              <a:cxn ang="0">
                <a:pos x="connsiteX64281" y="connsiteY64281"/>
              </a:cxn>
              <a:cxn ang="0">
                <a:pos x="connsiteX64282" y="connsiteY64282"/>
              </a:cxn>
              <a:cxn ang="0">
                <a:pos x="connsiteX64283" y="connsiteY64283"/>
              </a:cxn>
              <a:cxn ang="0">
                <a:pos x="connsiteX64284" y="connsiteY64284"/>
              </a:cxn>
              <a:cxn ang="0">
                <a:pos x="connsiteX64285" y="connsiteY64285"/>
              </a:cxn>
              <a:cxn ang="0">
                <a:pos x="connsiteX64286" y="connsiteY64286"/>
              </a:cxn>
              <a:cxn ang="0">
                <a:pos x="connsiteX64287" y="connsiteY64287"/>
              </a:cxn>
              <a:cxn ang="0">
                <a:pos x="connsiteX64288" y="connsiteY64288"/>
              </a:cxn>
              <a:cxn ang="0">
                <a:pos x="connsiteX64289" y="connsiteY64289"/>
              </a:cxn>
              <a:cxn ang="0">
                <a:pos x="connsiteX64290" y="connsiteY64290"/>
              </a:cxn>
              <a:cxn ang="0">
                <a:pos x="connsiteX64291" y="connsiteY64291"/>
              </a:cxn>
              <a:cxn ang="0">
                <a:pos x="connsiteX64292" y="connsiteY64292"/>
              </a:cxn>
              <a:cxn ang="0">
                <a:pos x="connsiteX64293" y="connsiteY64293"/>
              </a:cxn>
              <a:cxn ang="0">
                <a:pos x="connsiteX64294" y="connsiteY64294"/>
              </a:cxn>
              <a:cxn ang="0">
                <a:pos x="connsiteX64295" y="connsiteY64295"/>
              </a:cxn>
              <a:cxn ang="0">
                <a:pos x="connsiteX64296" y="connsiteY64296"/>
              </a:cxn>
              <a:cxn ang="0">
                <a:pos x="connsiteX64297" y="connsiteY64297"/>
              </a:cxn>
              <a:cxn ang="0">
                <a:pos x="connsiteX64298" y="connsiteY64298"/>
              </a:cxn>
              <a:cxn ang="0">
                <a:pos x="connsiteX64299" y="connsiteY64299"/>
              </a:cxn>
              <a:cxn ang="0">
                <a:pos x="connsiteX64300" y="connsiteY64300"/>
              </a:cxn>
              <a:cxn ang="0">
                <a:pos x="connsiteX64301" y="connsiteY64301"/>
              </a:cxn>
              <a:cxn ang="0">
                <a:pos x="connsiteX64302" y="connsiteY64302"/>
              </a:cxn>
              <a:cxn ang="0">
                <a:pos x="connsiteX64303" y="connsiteY64303"/>
              </a:cxn>
              <a:cxn ang="0">
                <a:pos x="connsiteX64304" y="connsiteY64304"/>
              </a:cxn>
              <a:cxn ang="0">
                <a:pos x="connsiteX64305" y="connsiteY64305"/>
              </a:cxn>
              <a:cxn ang="0">
                <a:pos x="connsiteX64306" y="connsiteY64306"/>
              </a:cxn>
              <a:cxn ang="0">
                <a:pos x="connsiteX64307" y="connsiteY64307"/>
              </a:cxn>
              <a:cxn ang="0">
                <a:pos x="connsiteX64308" y="connsiteY64308"/>
              </a:cxn>
              <a:cxn ang="0">
                <a:pos x="connsiteX64309" y="connsiteY64309"/>
              </a:cxn>
              <a:cxn ang="0">
                <a:pos x="connsiteX64310" y="connsiteY64310"/>
              </a:cxn>
              <a:cxn ang="0">
                <a:pos x="connsiteX64311" y="connsiteY64311"/>
              </a:cxn>
              <a:cxn ang="0">
                <a:pos x="connsiteX64312" y="connsiteY64312"/>
              </a:cxn>
              <a:cxn ang="0">
                <a:pos x="connsiteX64313" y="connsiteY64313"/>
              </a:cxn>
              <a:cxn ang="0">
                <a:pos x="connsiteX64314" y="connsiteY64314"/>
              </a:cxn>
              <a:cxn ang="0">
                <a:pos x="connsiteX64315" y="connsiteY64315"/>
              </a:cxn>
              <a:cxn ang="0">
                <a:pos x="connsiteX64316" y="connsiteY64316"/>
              </a:cxn>
              <a:cxn ang="0">
                <a:pos x="connsiteX64317" y="connsiteY64317"/>
              </a:cxn>
              <a:cxn ang="0">
                <a:pos x="connsiteX64318" y="connsiteY64318"/>
              </a:cxn>
              <a:cxn ang="0">
                <a:pos x="connsiteX64319" y="connsiteY64319"/>
              </a:cxn>
              <a:cxn ang="0">
                <a:pos x="connsiteX64320" y="connsiteY64320"/>
              </a:cxn>
              <a:cxn ang="0">
                <a:pos x="connsiteX64321" y="connsiteY64321"/>
              </a:cxn>
              <a:cxn ang="0">
                <a:pos x="connsiteX64322" y="connsiteY64322"/>
              </a:cxn>
              <a:cxn ang="0">
                <a:pos x="connsiteX64323" y="connsiteY64323"/>
              </a:cxn>
              <a:cxn ang="0">
                <a:pos x="connsiteX64324" y="connsiteY64324"/>
              </a:cxn>
              <a:cxn ang="0">
                <a:pos x="connsiteX64325" y="connsiteY64325"/>
              </a:cxn>
              <a:cxn ang="0">
                <a:pos x="connsiteX64326" y="connsiteY64326"/>
              </a:cxn>
              <a:cxn ang="0">
                <a:pos x="connsiteX64327" y="connsiteY64327"/>
              </a:cxn>
              <a:cxn ang="0">
                <a:pos x="connsiteX64328" y="connsiteY64328"/>
              </a:cxn>
              <a:cxn ang="0">
                <a:pos x="connsiteX64329" y="connsiteY64329"/>
              </a:cxn>
              <a:cxn ang="0">
                <a:pos x="connsiteX64330" y="connsiteY64330"/>
              </a:cxn>
              <a:cxn ang="0">
                <a:pos x="connsiteX64331" y="connsiteY64331"/>
              </a:cxn>
              <a:cxn ang="0">
                <a:pos x="connsiteX64332" y="connsiteY64332"/>
              </a:cxn>
              <a:cxn ang="0">
                <a:pos x="connsiteX64333" y="connsiteY64333"/>
              </a:cxn>
              <a:cxn ang="0">
                <a:pos x="connsiteX64334" y="connsiteY64334"/>
              </a:cxn>
              <a:cxn ang="0">
                <a:pos x="connsiteX64335" y="connsiteY64335"/>
              </a:cxn>
              <a:cxn ang="0">
                <a:pos x="connsiteX64336" y="connsiteY64336"/>
              </a:cxn>
              <a:cxn ang="0">
                <a:pos x="connsiteX64337" y="connsiteY64337"/>
              </a:cxn>
              <a:cxn ang="0">
                <a:pos x="connsiteX64338" y="connsiteY64338"/>
              </a:cxn>
              <a:cxn ang="0">
                <a:pos x="connsiteX64339" y="connsiteY64339"/>
              </a:cxn>
              <a:cxn ang="0">
                <a:pos x="connsiteX64340" y="connsiteY64340"/>
              </a:cxn>
              <a:cxn ang="0">
                <a:pos x="connsiteX64341" y="connsiteY64341"/>
              </a:cxn>
              <a:cxn ang="0">
                <a:pos x="connsiteX64342" y="connsiteY64342"/>
              </a:cxn>
              <a:cxn ang="0">
                <a:pos x="connsiteX64343" y="connsiteY64343"/>
              </a:cxn>
              <a:cxn ang="0">
                <a:pos x="connsiteX64344" y="connsiteY64344"/>
              </a:cxn>
              <a:cxn ang="0">
                <a:pos x="connsiteX64345" y="connsiteY64345"/>
              </a:cxn>
              <a:cxn ang="0">
                <a:pos x="connsiteX64346" y="connsiteY64346"/>
              </a:cxn>
              <a:cxn ang="0">
                <a:pos x="connsiteX64347" y="connsiteY64347"/>
              </a:cxn>
              <a:cxn ang="0">
                <a:pos x="connsiteX64348" y="connsiteY64348"/>
              </a:cxn>
              <a:cxn ang="0">
                <a:pos x="connsiteX64349" y="connsiteY64349"/>
              </a:cxn>
              <a:cxn ang="0">
                <a:pos x="connsiteX64350" y="connsiteY64350"/>
              </a:cxn>
              <a:cxn ang="0">
                <a:pos x="connsiteX64351" y="connsiteY64351"/>
              </a:cxn>
              <a:cxn ang="0">
                <a:pos x="connsiteX64352" y="connsiteY64352"/>
              </a:cxn>
              <a:cxn ang="0">
                <a:pos x="connsiteX64353" y="connsiteY64353"/>
              </a:cxn>
              <a:cxn ang="0">
                <a:pos x="connsiteX64354" y="connsiteY64354"/>
              </a:cxn>
              <a:cxn ang="0">
                <a:pos x="connsiteX64355" y="connsiteY64355"/>
              </a:cxn>
              <a:cxn ang="0">
                <a:pos x="connsiteX64356" y="connsiteY64356"/>
              </a:cxn>
              <a:cxn ang="0">
                <a:pos x="connsiteX64357" y="connsiteY64357"/>
              </a:cxn>
              <a:cxn ang="0">
                <a:pos x="connsiteX64358" y="connsiteY64358"/>
              </a:cxn>
              <a:cxn ang="0">
                <a:pos x="connsiteX64359" y="connsiteY64359"/>
              </a:cxn>
              <a:cxn ang="0">
                <a:pos x="connsiteX64360" y="connsiteY64360"/>
              </a:cxn>
              <a:cxn ang="0">
                <a:pos x="connsiteX64361" y="connsiteY64361"/>
              </a:cxn>
              <a:cxn ang="0">
                <a:pos x="connsiteX64362" y="connsiteY64362"/>
              </a:cxn>
              <a:cxn ang="0">
                <a:pos x="connsiteX64363" y="connsiteY64363"/>
              </a:cxn>
              <a:cxn ang="0">
                <a:pos x="connsiteX64364" y="connsiteY64364"/>
              </a:cxn>
              <a:cxn ang="0">
                <a:pos x="connsiteX64365" y="connsiteY64365"/>
              </a:cxn>
              <a:cxn ang="0">
                <a:pos x="connsiteX64366" y="connsiteY64366"/>
              </a:cxn>
              <a:cxn ang="0">
                <a:pos x="connsiteX64367" y="connsiteY64367"/>
              </a:cxn>
              <a:cxn ang="0">
                <a:pos x="connsiteX64368" y="connsiteY64368"/>
              </a:cxn>
              <a:cxn ang="0">
                <a:pos x="connsiteX64369" y="connsiteY64369"/>
              </a:cxn>
              <a:cxn ang="0">
                <a:pos x="connsiteX64370" y="connsiteY64370"/>
              </a:cxn>
              <a:cxn ang="0">
                <a:pos x="connsiteX64371" y="connsiteY64371"/>
              </a:cxn>
              <a:cxn ang="0">
                <a:pos x="connsiteX64372" y="connsiteY64372"/>
              </a:cxn>
              <a:cxn ang="0">
                <a:pos x="connsiteX64373" y="connsiteY64373"/>
              </a:cxn>
              <a:cxn ang="0">
                <a:pos x="connsiteX64374" y="connsiteY64374"/>
              </a:cxn>
              <a:cxn ang="0">
                <a:pos x="connsiteX64375" y="connsiteY64375"/>
              </a:cxn>
              <a:cxn ang="0">
                <a:pos x="connsiteX64376" y="connsiteY64376"/>
              </a:cxn>
              <a:cxn ang="0">
                <a:pos x="connsiteX64377" y="connsiteY64377"/>
              </a:cxn>
              <a:cxn ang="0">
                <a:pos x="connsiteX64378" y="connsiteY64378"/>
              </a:cxn>
              <a:cxn ang="0">
                <a:pos x="connsiteX64379" y="connsiteY64379"/>
              </a:cxn>
              <a:cxn ang="0">
                <a:pos x="connsiteX64380" y="connsiteY64380"/>
              </a:cxn>
              <a:cxn ang="0">
                <a:pos x="connsiteX64381" y="connsiteY64381"/>
              </a:cxn>
              <a:cxn ang="0">
                <a:pos x="connsiteX64382" y="connsiteY64382"/>
              </a:cxn>
              <a:cxn ang="0">
                <a:pos x="connsiteX64383" y="connsiteY64383"/>
              </a:cxn>
              <a:cxn ang="0">
                <a:pos x="connsiteX64384" y="connsiteY64384"/>
              </a:cxn>
              <a:cxn ang="0">
                <a:pos x="connsiteX64385" y="connsiteY64385"/>
              </a:cxn>
              <a:cxn ang="0">
                <a:pos x="connsiteX64386" y="connsiteY64386"/>
              </a:cxn>
              <a:cxn ang="0">
                <a:pos x="connsiteX64387" y="connsiteY64387"/>
              </a:cxn>
              <a:cxn ang="0">
                <a:pos x="connsiteX64388" y="connsiteY64388"/>
              </a:cxn>
              <a:cxn ang="0">
                <a:pos x="connsiteX64389" y="connsiteY64389"/>
              </a:cxn>
              <a:cxn ang="0">
                <a:pos x="connsiteX64390" y="connsiteY64390"/>
              </a:cxn>
              <a:cxn ang="0">
                <a:pos x="connsiteX64391" y="connsiteY64391"/>
              </a:cxn>
              <a:cxn ang="0">
                <a:pos x="connsiteX64392" y="connsiteY64392"/>
              </a:cxn>
              <a:cxn ang="0">
                <a:pos x="connsiteX64393" y="connsiteY64393"/>
              </a:cxn>
              <a:cxn ang="0">
                <a:pos x="connsiteX64394" y="connsiteY64394"/>
              </a:cxn>
              <a:cxn ang="0">
                <a:pos x="connsiteX64395" y="connsiteY64395"/>
              </a:cxn>
              <a:cxn ang="0">
                <a:pos x="connsiteX64396" y="connsiteY64396"/>
              </a:cxn>
              <a:cxn ang="0">
                <a:pos x="connsiteX64397" y="connsiteY64397"/>
              </a:cxn>
              <a:cxn ang="0">
                <a:pos x="connsiteX64398" y="connsiteY64398"/>
              </a:cxn>
              <a:cxn ang="0">
                <a:pos x="connsiteX64399" y="connsiteY64399"/>
              </a:cxn>
              <a:cxn ang="0">
                <a:pos x="connsiteX64400" y="connsiteY64400"/>
              </a:cxn>
              <a:cxn ang="0">
                <a:pos x="connsiteX64401" y="connsiteY64401"/>
              </a:cxn>
              <a:cxn ang="0">
                <a:pos x="connsiteX64402" y="connsiteY64402"/>
              </a:cxn>
              <a:cxn ang="0">
                <a:pos x="connsiteX64403" y="connsiteY64403"/>
              </a:cxn>
              <a:cxn ang="0">
                <a:pos x="connsiteX64404" y="connsiteY64404"/>
              </a:cxn>
              <a:cxn ang="0">
                <a:pos x="connsiteX64405" y="connsiteY64405"/>
              </a:cxn>
              <a:cxn ang="0">
                <a:pos x="connsiteX64406" y="connsiteY64406"/>
              </a:cxn>
              <a:cxn ang="0">
                <a:pos x="connsiteX64407" y="connsiteY64407"/>
              </a:cxn>
              <a:cxn ang="0">
                <a:pos x="connsiteX64408" y="connsiteY64408"/>
              </a:cxn>
              <a:cxn ang="0">
                <a:pos x="connsiteX64409" y="connsiteY64409"/>
              </a:cxn>
              <a:cxn ang="0">
                <a:pos x="connsiteX64410" y="connsiteY64410"/>
              </a:cxn>
              <a:cxn ang="0">
                <a:pos x="connsiteX64411" y="connsiteY64411"/>
              </a:cxn>
              <a:cxn ang="0">
                <a:pos x="connsiteX64412" y="connsiteY64412"/>
              </a:cxn>
              <a:cxn ang="0">
                <a:pos x="connsiteX64413" y="connsiteY64413"/>
              </a:cxn>
              <a:cxn ang="0">
                <a:pos x="connsiteX64414" y="connsiteY64414"/>
              </a:cxn>
              <a:cxn ang="0">
                <a:pos x="connsiteX64415" y="connsiteY64415"/>
              </a:cxn>
              <a:cxn ang="0">
                <a:pos x="connsiteX64416" y="connsiteY64416"/>
              </a:cxn>
              <a:cxn ang="0">
                <a:pos x="connsiteX64417" y="connsiteY64417"/>
              </a:cxn>
              <a:cxn ang="0">
                <a:pos x="connsiteX64418" y="connsiteY64418"/>
              </a:cxn>
              <a:cxn ang="0">
                <a:pos x="connsiteX64419" y="connsiteY64419"/>
              </a:cxn>
              <a:cxn ang="0">
                <a:pos x="connsiteX64420" y="connsiteY64420"/>
              </a:cxn>
              <a:cxn ang="0">
                <a:pos x="connsiteX64421" y="connsiteY64421"/>
              </a:cxn>
              <a:cxn ang="0">
                <a:pos x="connsiteX64422" y="connsiteY64422"/>
              </a:cxn>
              <a:cxn ang="0">
                <a:pos x="connsiteX64423" y="connsiteY64423"/>
              </a:cxn>
              <a:cxn ang="0">
                <a:pos x="connsiteX64424" y="connsiteY64424"/>
              </a:cxn>
              <a:cxn ang="0">
                <a:pos x="connsiteX64425" y="connsiteY64425"/>
              </a:cxn>
              <a:cxn ang="0">
                <a:pos x="connsiteX64426" y="connsiteY64426"/>
              </a:cxn>
              <a:cxn ang="0">
                <a:pos x="connsiteX64427" y="connsiteY64427"/>
              </a:cxn>
              <a:cxn ang="0">
                <a:pos x="connsiteX64428" y="connsiteY64428"/>
              </a:cxn>
              <a:cxn ang="0">
                <a:pos x="connsiteX64429" y="connsiteY64429"/>
              </a:cxn>
              <a:cxn ang="0">
                <a:pos x="connsiteX64430" y="connsiteY64430"/>
              </a:cxn>
              <a:cxn ang="0">
                <a:pos x="connsiteX64431" y="connsiteY64431"/>
              </a:cxn>
              <a:cxn ang="0">
                <a:pos x="connsiteX64432" y="connsiteY64432"/>
              </a:cxn>
              <a:cxn ang="0">
                <a:pos x="connsiteX64433" y="connsiteY64433"/>
              </a:cxn>
              <a:cxn ang="0">
                <a:pos x="connsiteX64434" y="connsiteY64434"/>
              </a:cxn>
              <a:cxn ang="0">
                <a:pos x="connsiteX64435" y="connsiteY64435"/>
              </a:cxn>
              <a:cxn ang="0">
                <a:pos x="connsiteX64436" y="connsiteY64436"/>
              </a:cxn>
              <a:cxn ang="0">
                <a:pos x="connsiteX64437" y="connsiteY64437"/>
              </a:cxn>
              <a:cxn ang="0">
                <a:pos x="connsiteX64438" y="connsiteY64438"/>
              </a:cxn>
              <a:cxn ang="0">
                <a:pos x="connsiteX64439" y="connsiteY64439"/>
              </a:cxn>
              <a:cxn ang="0">
                <a:pos x="connsiteX64440" y="connsiteY64440"/>
              </a:cxn>
              <a:cxn ang="0">
                <a:pos x="connsiteX64441" y="connsiteY64441"/>
              </a:cxn>
              <a:cxn ang="0">
                <a:pos x="connsiteX64442" y="connsiteY64442"/>
              </a:cxn>
              <a:cxn ang="0">
                <a:pos x="connsiteX64443" y="connsiteY64443"/>
              </a:cxn>
              <a:cxn ang="0">
                <a:pos x="connsiteX64444" y="connsiteY64444"/>
              </a:cxn>
              <a:cxn ang="0">
                <a:pos x="connsiteX64445" y="connsiteY64445"/>
              </a:cxn>
              <a:cxn ang="0">
                <a:pos x="connsiteX64446" y="connsiteY64446"/>
              </a:cxn>
              <a:cxn ang="0">
                <a:pos x="connsiteX64447" y="connsiteY64447"/>
              </a:cxn>
              <a:cxn ang="0">
                <a:pos x="connsiteX64448" y="connsiteY64448"/>
              </a:cxn>
              <a:cxn ang="0">
                <a:pos x="connsiteX64449" y="connsiteY64449"/>
              </a:cxn>
              <a:cxn ang="0">
                <a:pos x="connsiteX64450" y="connsiteY64450"/>
              </a:cxn>
              <a:cxn ang="0">
                <a:pos x="connsiteX64451" y="connsiteY64451"/>
              </a:cxn>
              <a:cxn ang="0">
                <a:pos x="connsiteX64452" y="connsiteY64452"/>
              </a:cxn>
              <a:cxn ang="0">
                <a:pos x="connsiteX64453" y="connsiteY64453"/>
              </a:cxn>
              <a:cxn ang="0">
                <a:pos x="connsiteX64454" y="connsiteY64454"/>
              </a:cxn>
              <a:cxn ang="0">
                <a:pos x="connsiteX64455" y="connsiteY64455"/>
              </a:cxn>
              <a:cxn ang="0">
                <a:pos x="connsiteX64456" y="connsiteY64456"/>
              </a:cxn>
              <a:cxn ang="0">
                <a:pos x="connsiteX64457" y="connsiteY64457"/>
              </a:cxn>
              <a:cxn ang="0">
                <a:pos x="connsiteX64458" y="connsiteY64458"/>
              </a:cxn>
              <a:cxn ang="0">
                <a:pos x="connsiteX64459" y="connsiteY64459"/>
              </a:cxn>
              <a:cxn ang="0">
                <a:pos x="connsiteX64460" y="connsiteY64460"/>
              </a:cxn>
              <a:cxn ang="0">
                <a:pos x="connsiteX64461" y="connsiteY64461"/>
              </a:cxn>
              <a:cxn ang="0">
                <a:pos x="connsiteX64462" y="connsiteY64462"/>
              </a:cxn>
              <a:cxn ang="0">
                <a:pos x="connsiteX64463" y="connsiteY64463"/>
              </a:cxn>
              <a:cxn ang="0">
                <a:pos x="connsiteX64464" y="connsiteY64464"/>
              </a:cxn>
              <a:cxn ang="0">
                <a:pos x="connsiteX64465" y="connsiteY64465"/>
              </a:cxn>
              <a:cxn ang="0">
                <a:pos x="connsiteX64466" y="connsiteY64466"/>
              </a:cxn>
              <a:cxn ang="0">
                <a:pos x="connsiteX64467" y="connsiteY64467"/>
              </a:cxn>
              <a:cxn ang="0">
                <a:pos x="connsiteX64468" y="connsiteY64468"/>
              </a:cxn>
              <a:cxn ang="0">
                <a:pos x="connsiteX64469" y="connsiteY64469"/>
              </a:cxn>
              <a:cxn ang="0">
                <a:pos x="connsiteX64470" y="connsiteY64470"/>
              </a:cxn>
              <a:cxn ang="0">
                <a:pos x="connsiteX64471" y="connsiteY64471"/>
              </a:cxn>
              <a:cxn ang="0">
                <a:pos x="connsiteX64472" y="connsiteY64472"/>
              </a:cxn>
              <a:cxn ang="0">
                <a:pos x="connsiteX64473" y="connsiteY64473"/>
              </a:cxn>
              <a:cxn ang="0">
                <a:pos x="connsiteX64474" y="connsiteY64474"/>
              </a:cxn>
              <a:cxn ang="0">
                <a:pos x="connsiteX64475" y="connsiteY64475"/>
              </a:cxn>
              <a:cxn ang="0">
                <a:pos x="connsiteX64476" y="connsiteY64476"/>
              </a:cxn>
              <a:cxn ang="0">
                <a:pos x="connsiteX64477" y="connsiteY64477"/>
              </a:cxn>
              <a:cxn ang="0">
                <a:pos x="connsiteX64478" y="connsiteY64478"/>
              </a:cxn>
              <a:cxn ang="0">
                <a:pos x="connsiteX64479" y="connsiteY64479"/>
              </a:cxn>
              <a:cxn ang="0">
                <a:pos x="connsiteX64480" y="connsiteY64480"/>
              </a:cxn>
              <a:cxn ang="0">
                <a:pos x="connsiteX64481" y="connsiteY64481"/>
              </a:cxn>
              <a:cxn ang="0">
                <a:pos x="connsiteX64482" y="connsiteY64482"/>
              </a:cxn>
              <a:cxn ang="0">
                <a:pos x="connsiteX64483" y="connsiteY64483"/>
              </a:cxn>
              <a:cxn ang="0">
                <a:pos x="connsiteX64484" y="connsiteY64484"/>
              </a:cxn>
              <a:cxn ang="0">
                <a:pos x="connsiteX64485" y="connsiteY64485"/>
              </a:cxn>
              <a:cxn ang="0">
                <a:pos x="connsiteX64486" y="connsiteY64486"/>
              </a:cxn>
              <a:cxn ang="0">
                <a:pos x="connsiteX64487" y="connsiteY64487"/>
              </a:cxn>
              <a:cxn ang="0">
                <a:pos x="connsiteX64488" y="connsiteY64488"/>
              </a:cxn>
              <a:cxn ang="0">
                <a:pos x="connsiteX64489" y="connsiteY64489"/>
              </a:cxn>
              <a:cxn ang="0">
                <a:pos x="connsiteX64490" y="connsiteY64490"/>
              </a:cxn>
              <a:cxn ang="0">
                <a:pos x="connsiteX64491" y="connsiteY64491"/>
              </a:cxn>
              <a:cxn ang="0">
                <a:pos x="connsiteX64492" y="connsiteY64492"/>
              </a:cxn>
              <a:cxn ang="0">
                <a:pos x="connsiteX64493" y="connsiteY64493"/>
              </a:cxn>
              <a:cxn ang="0">
                <a:pos x="connsiteX64494" y="connsiteY64494"/>
              </a:cxn>
              <a:cxn ang="0">
                <a:pos x="connsiteX64495" y="connsiteY64495"/>
              </a:cxn>
              <a:cxn ang="0">
                <a:pos x="connsiteX64496" y="connsiteY64496"/>
              </a:cxn>
              <a:cxn ang="0">
                <a:pos x="connsiteX64497" y="connsiteY64497"/>
              </a:cxn>
              <a:cxn ang="0">
                <a:pos x="connsiteX64498" y="connsiteY64498"/>
              </a:cxn>
              <a:cxn ang="0">
                <a:pos x="connsiteX64499" y="connsiteY64499"/>
              </a:cxn>
              <a:cxn ang="0">
                <a:pos x="connsiteX64500" y="connsiteY64500"/>
              </a:cxn>
              <a:cxn ang="0">
                <a:pos x="connsiteX64501" y="connsiteY64501"/>
              </a:cxn>
              <a:cxn ang="0">
                <a:pos x="connsiteX64502" y="connsiteY64502"/>
              </a:cxn>
              <a:cxn ang="0">
                <a:pos x="connsiteX64503" y="connsiteY64503"/>
              </a:cxn>
              <a:cxn ang="0">
                <a:pos x="connsiteX64504" y="connsiteY64504"/>
              </a:cxn>
              <a:cxn ang="0">
                <a:pos x="connsiteX64505" y="connsiteY64505"/>
              </a:cxn>
              <a:cxn ang="0">
                <a:pos x="connsiteX64506" y="connsiteY64506"/>
              </a:cxn>
              <a:cxn ang="0">
                <a:pos x="connsiteX64507" y="connsiteY64507"/>
              </a:cxn>
              <a:cxn ang="0">
                <a:pos x="connsiteX64508" y="connsiteY64508"/>
              </a:cxn>
              <a:cxn ang="0">
                <a:pos x="connsiteX64509" y="connsiteY64509"/>
              </a:cxn>
              <a:cxn ang="0">
                <a:pos x="connsiteX64510" y="connsiteY64510"/>
              </a:cxn>
              <a:cxn ang="0">
                <a:pos x="connsiteX64511" y="connsiteY64511"/>
              </a:cxn>
              <a:cxn ang="0">
                <a:pos x="connsiteX64512" y="connsiteY64512"/>
              </a:cxn>
              <a:cxn ang="0">
                <a:pos x="connsiteX64513" y="connsiteY64513"/>
              </a:cxn>
              <a:cxn ang="0">
                <a:pos x="connsiteX64514" y="connsiteY64514"/>
              </a:cxn>
              <a:cxn ang="0">
                <a:pos x="connsiteX64515" y="connsiteY64515"/>
              </a:cxn>
              <a:cxn ang="0">
                <a:pos x="connsiteX64516" y="connsiteY64516"/>
              </a:cxn>
              <a:cxn ang="0">
                <a:pos x="connsiteX64517" y="connsiteY64517"/>
              </a:cxn>
              <a:cxn ang="0">
                <a:pos x="connsiteX64518" y="connsiteY64518"/>
              </a:cxn>
              <a:cxn ang="0">
                <a:pos x="connsiteX64519" y="connsiteY64519"/>
              </a:cxn>
              <a:cxn ang="0">
                <a:pos x="connsiteX64520" y="connsiteY64520"/>
              </a:cxn>
              <a:cxn ang="0">
                <a:pos x="connsiteX64521" y="connsiteY64521"/>
              </a:cxn>
              <a:cxn ang="0">
                <a:pos x="connsiteX64522" y="connsiteY64522"/>
              </a:cxn>
              <a:cxn ang="0">
                <a:pos x="connsiteX64523" y="connsiteY64523"/>
              </a:cxn>
              <a:cxn ang="0">
                <a:pos x="connsiteX64524" y="connsiteY64524"/>
              </a:cxn>
              <a:cxn ang="0">
                <a:pos x="connsiteX64525" y="connsiteY64525"/>
              </a:cxn>
              <a:cxn ang="0">
                <a:pos x="connsiteX64526" y="connsiteY64526"/>
              </a:cxn>
              <a:cxn ang="0">
                <a:pos x="connsiteX64527" y="connsiteY64527"/>
              </a:cxn>
              <a:cxn ang="0">
                <a:pos x="connsiteX64528" y="connsiteY64528"/>
              </a:cxn>
              <a:cxn ang="0">
                <a:pos x="connsiteX64529" y="connsiteY64529"/>
              </a:cxn>
              <a:cxn ang="0">
                <a:pos x="connsiteX64530" y="connsiteY64530"/>
              </a:cxn>
              <a:cxn ang="0">
                <a:pos x="connsiteX64531" y="connsiteY64531"/>
              </a:cxn>
              <a:cxn ang="0">
                <a:pos x="connsiteX64532" y="connsiteY64532"/>
              </a:cxn>
              <a:cxn ang="0">
                <a:pos x="connsiteX64533" y="connsiteY64533"/>
              </a:cxn>
              <a:cxn ang="0">
                <a:pos x="connsiteX64534" y="connsiteY64534"/>
              </a:cxn>
              <a:cxn ang="0">
                <a:pos x="connsiteX64535" y="connsiteY64535"/>
              </a:cxn>
              <a:cxn ang="0">
                <a:pos x="connsiteX64536" y="connsiteY64536"/>
              </a:cxn>
              <a:cxn ang="0">
                <a:pos x="connsiteX64537" y="connsiteY64537"/>
              </a:cxn>
              <a:cxn ang="0">
                <a:pos x="connsiteX64538" y="connsiteY64538"/>
              </a:cxn>
              <a:cxn ang="0">
                <a:pos x="connsiteX64539" y="connsiteY64539"/>
              </a:cxn>
              <a:cxn ang="0">
                <a:pos x="connsiteX64540" y="connsiteY64540"/>
              </a:cxn>
              <a:cxn ang="0">
                <a:pos x="connsiteX64541" y="connsiteY64541"/>
              </a:cxn>
              <a:cxn ang="0">
                <a:pos x="connsiteX64542" y="connsiteY64542"/>
              </a:cxn>
              <a:cxn ang="0">
                <a:pos x="connsiteX64543" y="connsiteY64543"/>
              </a:cxn>
              <a:cxn ang="0">
                <a:pos x="connsiteX64544" y="connsiteY64544"/>
              </a:cxn>
              <a:cxn ang="0">
                <a:pos x="connsiteX64545" y="connsiteY64545"/>
              </a:cxn>
              <a:cxn ang="0">
                <a:pos x="connsiteX64546" y="connsiteY64546"/>
              </a:cxn>
              <a:cxn ang="0">
                <a:pos x="connsiteX64547" y="connsiteY64547"/>
              </a:cxn>
              <a:cxn ang="0">
                <a:pos x="connsiteX64548" y="connsiteY64548"/>
              </a:cxn>
              <a:cxn ang="0">
                <a:pos x="connsiteX64549" y="connsiteY64549"/>
              </a:cxn>
              <a:cxn ang="0">
                <a:pos x="connsiteX64550" y="connsiteY64550"/>
              </a:cxn>
              <a:cxn ang="0">
                <a:pos x="connsiteX64551" y="connsiteY64551"/>
              </a:cxn>
              <a:cxn ang="0">
                <a:pos x="connsiteX64552" y="connsiteY64552"/>
              </a:cxn>
              <a:cxn ang="0">
                <a:pos x="connsiteX64553" y="connsiteY64553"/>
              </a:cxn>
              <a:cxn ang="0">
                <a:pos x="connsiteX64554" y="connsiteY64554"/>
              </a:cxn>
              <a:cxn ang="0">
                <a:pos x="connsiteX64555" y="connsiteY64555"/>
              </a:cxn>
              <a:cxn ang="0">
                <a:pos x="connsiteX64556" y="connsiteY64556"/>
              </a:cxn>
              <a:cxn ang="0">
                <a:pos x="connsiteX64557" y="connsiteY64557"/>
              </a:cxn>
              <a:cxn ang="0">
                <a:pos x="connsiteX64558" y="connsiteY64558"/>
              </a:cxn>
              <a:cxn ang="0">
                <a:pos x="connsiteX64559" y="connsiteY64559"/>
              </a:cxn>
              <a:cxn ang="0">
                <a:pos x="connsiteX64560" y="connsiteY64560"/>
              </a:cxn>
              <a:cxn ang="0">
                <a:pos x="connsiteX64561" y="connsiteY64561"/>
              </a:cxn>
              <a:cxn ang="0">
                <a:pos x="connsiteX64562" y="connsiteY64562"/>
              </a:cxn>
              <a:cxn ang="0">
                <a:pos x="connsiteX64563" y="connsiteY64563"/>
              </a:cxn>
              <a:cxn ang="0">
                <a:pos x="connsiteX64564" y="connsiteY64564"/>
              </a:cxn>
              <a:cxn ang="0">
                <a:pos x="connsiteX64565" y="connsiteY64565"/>
              </a:cxn>
              <a:cxn ang="0">
                <a:pos x="connsiteX64566" y="connsiteY64566"/>
              </a:cxn>
              <a:cxn ang="0">
                <a:pos x="connsiteX64567" y="connsiteY64567"/>
              </a:cxn>
              <a:cxn ang="0">
                <a:pos x="connsiteX64568" y="connsiteY64568"/>
              </a:cxn>
              <a:cxn ang="0">
                <a:pos x="connsiteX64569" y="connsiteY64569"/>
              </a:cxn>
              <a:cxn ang="0">
                <a:pos x="connsiteX64570" y="connsiteY64570"/>
              </a:cxn>
              <a:cxn ang="0">
                <a:pos x="connsiteX64571" y="connsiteY64571"/>
              </a:cxn>
              <a:cxn ang="0">
                <a:pos x="connsiteX64572" y="connsiteY64572"/>
              </a:cxn>
              <a:cxn ang="0">
                <a:pos x="connsiteX64573" y="connsiteY64573"/>
              </a:cxn>
              <a:cxn ang="0">
                <a:pos x="connsiteX64574" y="connsiteY64574"/>
              </a:cxn>
              <a:cxn ang="0">
                <a:pos x="connsiteX64575" y="connsiteY64575"/>
              </a:cxn>
              <a:cxn ang="0">
                <a:pos x="connsiteX64576" y="connsiteY64576"/>
              </a:cxn>
              <a:cxn ang="0">
                <a:pos x="connsiteX64577" y="connsiteY64577"/>
              </a:cxn>
              <a:cxn ang="0">
                <a:pos x="connsiteX64578" y="connsiteY64578"/>
              </a:cxn>
              <a:cxn ang="0">
                <a:pos x="connsiteX64579" y="connsiteY64579"/>
              </a:cxn>
              <a:cxn ang="0">
                <a:pos x="connsiteX64580" y="connsiteY64580"/>
              </a:cxn>
              <a:cxn ang="0">
                <a:pos x="connsiteX64581" y="connsiteY64581"/>
              </a:cxn>
              <a:cxn ang="0">
                <a:pos x="connsiteX64582" y="connsiteY64582"/>
              </a:cxn>
              <a:cxn ang="0">
                <a:pos x="connsiteX64583" y="connsiteY64583"/>
              </a:cxn>
              <a:cxn ang="0">
                <a:pos x="connsiteX64584" y="connsiteY64584"/>
              </a:cxn>
              <a:cxn ang="0">
                <a:pos x="connsiteX64585" y="connsiteY64585"/>
              </a:cxn>
              <a:cxn ang="0">
                <a:pos x="connsiteX64586" y="connsiteY64586"/>
              </a:cxn>
              <a:cxn ang="0">
                <a:pos x="connsiteX64587" y="connsiteY64587"/>
              </a:cxn>
              <a:cxn ang="0">
                <a:pos x="connsiteX64588" y="connsiteY64588"/>
              </a:cxn>
              <a:cxn ang="0">
                <a:pos x="connsiteX64589" y="connsiteY64589"/>
              </a:cxn>
              <a:cxn ang="0">
                <a:pos x="connsiteX64590" y="connsiteY64590"/>
              </a:cxn>
              <a:cxn ang="0">
                <a:pos x="connsiteX64591" y="connsiteY64591"/>
              </a:cxn>
              <a:cxn ang="0">
                <a:pos x="connsiteX64592" y="connsiteY64592"/>
              </a:cxn>
              <a:cxn ang="0">
                <a:pos x="connsiteX64593" y="connsiteY64593"/>
              </a:cxn>
              <a:cxn ang="0">
                <a:pos x="connsiteX64594" y="connsiteY64594"/>
              </a:cxn>
              <a:cxn ang="0">
                <a:pos x="connsiteX64595" y="connsiteY64595"/>
              </a:cxn>
              <a:cxn ang="0">
                <a:pos x="connsiteX64596" y="connsiteY64596"/>
              </a:cxn>
              <a:cxn ang="0">
                <a:pos x="connsiteX64597" y="connsiteY64597"/>
              </a:cxn>
              <a:cxn ang="0">
                <a:pos x="connsiteX64598" y="connsiteY64598"/>
              </a:cxn>
              <a:cxn ang="0">
                <a:pos x="connsiteX64599" y="connsiteY64599"/>
              </a:cxn>
              <a:cxn ang="0">
                <a:pos x="connsiteX64600" y="connsiteY64600"/>
              </a:cxn>
              <a:cxn ang="0">
                <a:pos x="connsiteX64601" y="connsiteY64601"/>
              </a:cxn>
              <a:cxn ang="0">
                <a:pos x="connsiteX64602" y="connsiteY64602"/>
              </a:cxn>
              <a:cxn ang="0">
                <a:pos x="connsiteX64603" y="connsiteY64603"/>
              </a:cxn>
              <a:cxn ang="0">
                <a:pos x="connsiteX64604" y="connsiteY64604"/>
              </a:cxn>
              <a:cxn ang="0">
                <a:pos x="connsiteX64605" y="connsiteY64605"/>
              </a:cxn>
              <a:cxn ang="0">
                <a:pos x="connsiteX64606" y="connsiteY64606"/>
              </a:cxn>
              <a:cxn ang="0">
                <a:pos x="connsiteX64607" y="connsiteY64607"/>
              </a:cxn>
              <a:cxn ang="0">
                <a:pos x="connsiteX64608" y="connsiteY64608"/>
              </a:cxn>
              <a:cxn ang="0">
                <a:pos x="connsiteX64609" y="connsiteY64609"/>
              </a:cxn>
              <a:cxn ang="0">
                <a:pos x="connsiteX64610" y="connsiteY64610"/>
              </a:cxn>
              <a:cxn ang="0">
                <a:pos x="connsiteX64611" y="connsiteY64611"/>
              </a:cxn>
              <a:cxn ang="0">
                <a:pos x="connsiteX64612" y="connsiteY64612"/>
              </a:cxn>
              <a:cxn ang="0">
                <a:pos x="connsiteX64613" y="connsiteY64613"/>
              </a:cxn>
              <a:cxn ang="0">
                <a:pos x="connsiteX64614" y="connsiteY64614"/>
              </a:cxn>
              <a:cxn ang="0">
                <a:pos x="connsiteX64615" y="connsiteY64615"/>
              </a:cxn>
              <a:cxn ang="0">
                <a:pos x="connsiteX64616" y="connsiteY64616"/>
              </a:cxn>
              <a:cxn ang="0">
                <a:pos x="connsiteX64617" y="connsiteY64617"/>
              </a:cxn>
              <a:cxn ang="0">
                <a:pos x="connsiteX64618" y="connsiteY64618"/>
              </a:cxn>
              <a:cxn ang="0">
                <a:pos x="connsiteX64619" y="connsiteY64619"/>
              </a:cxn>
              <a:cxn ang="0">
                <a:pos x="connsiteX64620" y="connsiteY64620"/>
              </a:cxn>
              <a:cxn ang="0">
                <a:pos x="connsiteX64621" y="connsiteY64621"/>
              </a:cxn>
              <a:cxn ang="0">
                <a:pos x="connsiteX64622" y="connsiteY64622"/>
              </a:cxn>
              <a:cxn ang="0">
                <a:pos x="connsiteX64623" y="connsiteY64623"/>
              </a:cxn>
              <a:cxn ang="0">
                <a:pos x="connsiteX64624" y="connsiteY64624"/>
              </a:cxn>
              <a:cxn ang="0">
                <a:pos x="connsiteX64625" y="connsiteY64625"/>
              </a:cxn>
              <a:cxn ang="0">
                <a:pos x="connsiteX64626" y="connsiteY64626"/>
              </a:cxn>
              <a:cxn ang="0">
                <a:pos x="connsiteX64627" y="connsiteY64627"/>
              </a:cxn>
              <a:cxn ang="0">
                <a:pos x="connsiteX64628" y="connsiteY64628"/>
              </a:cxn>
              <a:cxn ang="0">
                <a:pos x="connsiteX64629" y="connsiteY64629"/>
              </a:cxn>
              <a:cxn ang="0">
                <a:pos x="connsiteX64630" y="connsiteY64630"/>
              </a:cxn>
              <a:cxn ang="0">
                <a:pos x="connsiteX64631" y="connsiteY64631"/>
              </a:cxn>
              <a:cxn ang="0">
                <a:pos x="connsiteX64632" y="connsiteY64632"/>
              </a:cxn>
              <a:cxn ang="0">
                <a:pos x="connsiteX64633" y="connsiteY64633"/>
              </a:cxn>
              <a:cxn ang="0">
                <a:pos x="connsiteX64634" y="connsiteY64634"/>
              </a:cxn>
              <a:cxn ang="0">
                <a:pos x="connsiteX64635" y="connsiteY64635"/>
              </a:cxn>
              <a:cxn ang="0">
                <a:pos x="connsiteX64636" y="connsiteY64636"/>
              </a:cxn>
              <a:cxn ang="0">
                <a:pos x="connsiteX64637" y="connsiteY64637"/>
              </a:cxn>
              <a:cxn ang="0">
                <a:pos x="connsiteX64638" y="connsiteY64638"/>
              </a:cxn>
              <a:cxn ang="0">
                <a:pos x="connsiteX64639" y="connsiteY64639"/>
              </a:cxn>
              <a:cxn ang="0">
                <a:pos x="connsiteX64640" y="connsiteY64640"/>
              </a:cxn>
              <a:cxn ang="0">
                <a:pos x="connsiteX64641" y="connsiteY64641"/>
              </a:cxn>
              <a:cxn ang="0">
                <a:pos x="connsiteX64642" y="connsiteY64642"/>
              </a:cxn>
              <a:cxn ang="0">
                <a:pos x="connsiteX64643" y="connsiteY64643"/>
              </a:cxn>
              <a:cxn ang="0">
                <a:pos x="connsiteX64644" y="connsiteY64644"/>
              </a:cxn>
              <a:cxn ang="0">
                <a:pos x="connsiteX64645" y="connsiteY64645"/>
              </a:cxn>
              <a:cxn ang="0">
                <a:pos x="connsiteX64646" y="connsiteY64646"/>
              </a:cxn>
              <a:cxn ang="0">
                <a:pos x="connsiteX64647" y="connsiteY64647"/>
              </a:cxn>
              <a:cxn ang="0">
                <a:pos x="connsiteX64648" y="connsiteY64648"/>
              </a:cxn>
              <a:cxn ang="0">
                <a:pos x="connsiteX64649" y="connsiteY64649"/>
              </a:cxn>
              <a:cxn ang="0">
                <a:pos x="connsiteX64650" y="connsiteY64650"/>
              </a:cxn>
              <a:cxn ang="0">
                <a:pos x="connsiteX64651" y="connsiteY64651"/>
              </a:cxn>
              <a:cxn ang="0">
                <a:pos x="connsiteX64652" y="connsiteY64652"/>
              </a:cxn>
              <a:cxn ang="0">
                <a:pos x="connsiteX64653" y="connsiteY64653"/>
              </a:cxn>
              <a:cxn ang="0">
                <a:pos x="connsiteX64654" y="connsiteY64654"/>
              </a:cxn>
              <a:cxn ang="0">
                <a:pos x="connsiteX64655" y="connsiteY64655"/>
              </a:cxn>
              <a:cxn ang="0">
                <a:pos x="connsiteX64656" y="connsiteY64656"/>
              </a:cxn>
              <a:cxn ang="0">
                <a:pos x="connsiteX64657" y="connsiteY64657"/>
              </a:cxn>
              <a:cxn ang="0">
                <a:pos x="connsiteX64658" y="connsiteY64658"/>
              </a:cxn>
              <a:cxn ang="0">
                <a:pos x="connsiteX64659" y="connsiteY64659"/>
              </a:cxn>
              <a:cxn ang="0">
                <a:pos x="connsiteX64660" y="connsiteY64660"/>
              </a:cxn>
              <a:cxn ang="0">
                <a:pos x="connsiteX64661" y="connsiteY64661"/>
              </a:cxn>
              <a:cxn ang="0">
                <a:pos x="connsiteX64662" y="connsiteY64662"/>
              </a:cxn>
              <a:cxn ang="0">
                <a:pos x="connsiteX64663" y="connsiteY64663"/>
              </a:cxn>
              <a:cxn ang="0">
                <a:pos x="connsiteX64664" y="connsiteY64664"/>
              </a:cxn>
              <a:cxn ang="0">
                <a:pos x="connsiteX64665" y="connsiteY64665"/>
              </a:cxn>
              <a:cxn ang="0">
                <a:pos x="connsiteX64666" y="connsiteY64666"/>
              </a:cxn>
              <a:cxn ang="0">
                <a:pos x="connsiteX64667" y="connsiteY64667"/>
              </a:cxn>
              <a:cxn ang="0">
                <a:pos x="connsiteX64668" y="connsiteY64668"/>
              </a:cxn>
              <a:cxn ang="0">
                <a:pos x="connsiteX64669" y="connsiteY64669"/>
              </a:cxn>
              <a:cxn ang="0">
                <a:pos x="connsiteX64670" y="connsiteY64670"/>
              </a:cxn>
              <a:cxn ang="0">
                <a:pos x="connsiteX64671" y="connsiteY64671"/>
              </a:cxn>
              <a:cxn ang="0">
                <a:pos x="connsiteX64672" y="connsiteY64672"/>
              </a:cxn>
              <a:cxn ang="0">
                <a:pos x="connsiteX64673" y="connsiteY64673"/>
              </a:cxn>
              <a:cxn ang="0">
                <a:pos x="connsiteX64674" y="connsiteY64674"/>
              </a:cxn>
              <a:cxn ang="0">
                <a:pos x="connsiteX64675" y="connsiteY64675"/>
              </a:cxn>
              <a:cxn ang="0">
                <a:pos x="connsiteX64676" y="connsiteY64676"/>
              </a:cxn>
              <a:cxn ang="0">
                <a:pos x="connsiteX64677" y="connsiteY64677"/>
              </a:cxn>
              <a:cxn ang="0">
                <a:pos x="connsiteX64678" y="connsiteY64678"/>
              </a:cxn>
              <a:cxn ang="0">
                <a:pos x="connsiteX64679" y="connsiteY64679"/>
              </a:cxn>
              <a:cxn ang="0">
                <a:pos x="connsiteX64680" y="connsiteY64680"/>
              </a:cxn>
              <a:cxn ang="0">
                <a:pos x="connsiteX64681" y="connsiteY64681"/>
              </a:cxn>
              <a:cxn ang="0">
                <a:pos x="connsiteX64682" y="connsiteY64682"/>
              </a:cxn>
              <a:cxn ang="0">
                <a:pos x="connsiteX64683" y="connsiteY64683"/>
              </a:cxn>
              <a:cxn ang="0">
                <a:pos x="connsiteX64684" y="connsiteY64684"/>
              </a:cxn>
              <a:cxn ang="0">
                <a:pos x="connsiteX64685" y="connsiteY64685"/>
              </a:cxn>
              <a:cxn ang="0">
                <a:pos x="connsiteX64686" y="connsiteY64686"/>
              </a:cxn>
              <a:cxn ang="0">
                <a:pos x="connsiteX64687" y="connsiteY64687"/>
              </a:cxn>
              <a:cxn ang="0">
                <a:pos x="connsiteX64688" y="connsiteY64688"/>
              </a:cxn>
              <a:cxn ang="0">
                <a:pos x="connsiteX64689" y="connsiteY64689"/>
              </a:cxn>
              <a:cxn ang="0">
                <a:pos x="connsiteX64690" y="connsiteY64690"/>
              </a:cxn>
              <a:cxn ang="0">
                <a:pos x="connsiteX64691" y="connsiteY64691"/>
              </a:cxn>
              <a:cxn ang="0">
                <a:pos x="connsiteX64692" y="connsiteY64692"/>
              </a:cxn>
              <a:cxn ang="0">
                <a:pos x="connsiteX64693" y="connsiteY64693"/>
              </a:cxn>
              <a:cxn ang="0">
                <a:pos x="connsiteX64694" y="connsiteY64694"/>
              </a:cxn>
              <a:cxn ang="0">
                <a:pos x="connsiteX64695" y="connsiteY64695"/>
              </a:cxn>
              <a:cxn ang="0">
                <a:pos x="connsiteX64696" y="connsiteY64696"/>
              </a:cxn>
              <a:cxn ang="0">
                <a:pos x="connsiteX64697" y="connsiteY64697"/>
              </a:cxn>
              <a:cxn ang="0">
                <a:pos x="connsiteX64698" y="connsiteY64698"/>
              </a:cxn>
              <a:cxn ang="0">
                <a:pos x="connsiteX64699" y="connsiteY64699"/>
              </a:cxn>
              <a:cxn ang="0">
                <a:pos x="connsiteX64700" y="connsiteY64700"/>
              </a:cxn>
              <a:cxn ang="0">
                <a:pos x="connsiteX64701" y="connsiteY64701"/>
              </a:cxn>
              <a:cxn ang="0">
                <a:pos x="connsiteX64702" y="connsiteY64702"/>
              </a:cxn>
              <a:cxn ang="0">
                <a:pos x="connsiteX64703" y="connsiteY64703"/>
              </a:cxn>
              <a:cxn ang="0">
                <a:pos x="connsiteX64704" y="connsiteY64704"/>
              </a:cxn>
              <a:cxn ang="0">
                <a:pos x="connsiteX64705" y="connsiteY64705"/>
              </a:cxn>
              <a:cxn ang="0">
                <a:pos x="connsiteX64706" y="connsiteY64706"/>
              </a:cxn>
              <a:cxn ang="0">
                <a:pos x="connsiteX64707" y="connsiteY64707"/>
              </a:cxn>
              <a:cxn ang="0">
                <a:pos x="connsiteX64708" y="connsiteY64708"/>
              </a:cxn>
              <a:cxn ang="0">
                <a:pos x="connsiteX64709" y="connsiteY64709"/>
              </a:cxn>
              <a:cxn ang="0">
                <a:pos x="connsiteX64710" y="connsiteY64710"/>
              </a:cxn>
              <a:cxn ang="0">
                <a:pos x="connsiteX64711" y="connsiteY64711"/>
              </a:cxn>
              <a:cxn ang="0">
                <a:pos x="connsiteX64712" y="connsiteY64712"/>
              </a:cxn>
              <a:cxn ang="0">
                <a:pos x="connsiteX64713" y="connsiteY64713"/>
              </a:cxn>
              <a:cxn ang="0">
                <a:pos x="connsiteX64714" y="connsiteY64714"/>
              </a:cxn>
              <a:cxn ang="0">
                <a:pos x="connsiteX64715" y="connsiteY64715"/>
              </a:cxn>
              <a:cxn ang="0">
                <a:pos x="connsiteX64716" y="connsiteY64716"/>
              </a:cxn>
              <a:cxn ang="0">
                <a:pos x="connsiteX64717" y="connsiteY64717"/>
              </a:cxn>
              <a:cxn ang="0">
                <a:pos x="connsiteX64718" y="connsiteY64718"/>
              </a:cxn>
              <a:cxn ang="0">
                <a:pos x="connsiteX64719" y="connsiteY64719"/>
              </a:cxn>
              <a:cxn ang="0">
                <a:pos x="connsiteX64720" y="connsiteY64720"/>
              </a:cxn>
              <a:cxn ang="0">
                <a:pos x="connsiteX64721" y="connsiteY64721"/>
              </a:cxn>
              <a:cxn ang="0">
                <a:pos x="connsiteX64722" y="connsiteY64722"/>
              </a:cxn>
              <a:cxn ang="0">
                <a:pos x="connsiteX64723" y="connsiteY64723"/>
              </a:cxn>
              <a:cxn ang="0">
                <a:pos x="connsiteX64724" y="connsiteY64724"/>
              </a:cxn>
              <a:cxn ang="0">
                <a:pos x="connsiteX64725" y="connsiteY64725"/>
              </a:cxn>
              <a:cxn ang="0">
                <a:pos x="connsiteX64726" y="connsiteY64726"/>
              </a:cxn>
              <a:cxn ang="0">
                <a:pos x="connsiteX64727" y="connsiteY64727"/>
              </a:cxn>
              <a:cxn ang="0">
                <a:pos x="connsiteX64728" y="connsiteY64728"/>
              </a:cxn>
              <a:cxn ang="0">
                <a:pos x="connsiteX64729" y="connsiteY64729"/>
              </a:cxn>
              <a:cxn ang="0">
                <a:pos x="connsiteX64730" y="connsiteY64730"/>
              </a:cxn>
              <a:cxn ang="0">
                <a:pos x="connsiteX64731" y="connsiteY64731"/>
              </a:cxn>
              <a:cxn ang="0">
                <a:pos x="connsiteX64732" y="connsiteY64732"/>
              </a:cxn>
              <a:cxn ang="0">
                <a:pos x="connsiteX64733" y="connsiteY64733"/>
              </a:cxn>
              <a:cxn ang="0">
                <a:pos x="connsiteX64734" y="connsiteY64734"/>
              </a:cxn>
              <a:cxn ang="0">
                <a:pos x="connsiteX64735" y="connsiteY64735"/>
              </a:cxn>
              <a:cxn ang="0">
                <a:pos x="connsiteX64736" y="connsiteY64736"/>
              </a:cxn>
              <a:cxn ang="0">
                <a:pos x="connsiteX64737" y="connsiteY64737"/>
              </a:cxn>
              <a:cxn ang="0">
                <a:pos x="connsiteX64738" y="connsiteY64738"/>
              </a:cxn>
              <a:cxn ang="0">
                <a:pos x="connsiteX64739" y="connsiteY64739"/>
              </a:cxn>
              <a:cxn ang="0">
                <a:pos x="connsiteX64740" y="connsiteY64740"/>
              </a:cxn>
              <a:cxn ang="0">
                <a:pos x="connsiteX64741" y="connsiteY64741"/>
              </a:cxn>
              <a:cxn ang="0">
                <a:pos x="connsiteX64742" y="connsiteY64742"/>
              </a:cxn>
              <a:cxn ang="0">
                <a:pos x="connsiteX64743" y="connsiteY64743"/>
              </a:cxn>
              <a:cxn ang="0">
                <a:pos x="connsiteX64744" y="connsiteY64744"/>
              </a:cxn>
              <a:cxn ang="0">
                <a:pos x="connsiteX64745" y="connsiteY64745"/>
              </a:cxn>
              <a:cxn ang="0">
                <a:pos x="connsiteX64746" y="connsiteY64746"/>
              </a:cxn>
              <a:cxn ang="0">
                <a:pos x="connsiteX64747" y="connsiteY64747"/>
              </a:cxn>
              <a:cxn ang="0">
                <a:pos x="connsiteX64748" y="connsiteY64748"/>
              </a:cxn>
              <a:cxn ang="0">
                <a:pos x="connsiteX64749" y="connsiteY64749"/>
              </a:cxn>
              <a:cxn ang="0">
                <a:pos x="connsiteX64750" y="connsiteY64750"/>
              </a:cxn>
              <a:cxn ang="0">
                <a:pos x="connsiteX64751" y="connsiteY64751"/>
              </a:cxn>
              <a:cxn ang="0">
                <a:pos x="connsiteX64752" y="connsiteY64752"/>
              </a:cxn>
              <a:cxn ang="0">
                <a:pos x="connsiteX64753" y="connsiteY64753"/>
              </a:cxn>
              <a:cxn ang="0">
                <a:pos x="connsiteX64754" y="connsiteY64754"/>
              </a:cxn>
              <a:cxn ang="0">
                <a:pos x="connsiteX64755" y="connsiteY64755"/>
              </a:cxn>
              <a:cxn ang="0">
                <a:pos x="connsiteX64756" y="connsiteY64756"/>
              </a:cxn>
              <a:cxn ang="0">
                <a:pos x="connsiteX64757" y="connsiteY64757"/>
              </a:cxn>
              <a:cxn ang="0">
                <a:pos x="connsiteX64758" y="connsiteY64758"/>
              </a:cxn>
              <a:cxn ang="0">
                <a:pos x="connsiteX64759" y="connsiteY64759"/>
              </a:cxn>
              <a:cxn ang="0">
                <a:pos x="connsiteX64760" y="connsiteY64760"/>
              </a:cxn>
              <a:cxn ang="0">
                <a:pos x="connsiteX64761" y="connsiteY64761"/>
              </a:cxn>
              <a:cxn ang="0">
                <a:pos x="connsiteX64762" y="connsiteY64762"/>
              </a:cxn>
              <a:cxn ang="0">
                <a:pos x="connsiteX64763" y="connsiteY64763"/>
              </a:cxn>
              <a:cxn ang="0">
                <a:pos x="connsiteX64764" y="connsiteY64764"/>
              </a:cxn>
              <a:cxn ang="0">
                <a:pos x="connsiteX64765" y="connsiteY64765"/>
              </a:cxn>
              <a:cxn ang="0">
                <a:pos x="connsiteX64766" y="connsiteY64766"/>
              </a:cxn>
              <a:cxn ang="0">
                <a:pos x="connsiteX64767" y="connsiteY64767"/>
              </a:cxn>
              <a:cxn ang="0">
                <a:pos x="connsiteX64768" y="connsiteY64768"/>
              </a:cxn>
              <a:cxn ang="0">
                <a:pos x="connsiteX64769" y="connsiteY64769"/>
              </a:cxn>
              <a:cxn ang="0">
                <a:pos x="connsiteX64770" y="connsiteY64770"/>
              </a:cxn>
              <a:cxn ang="0">
                <a:pos x="connsiteX64771" y="connsiteY64771"/>
              </a:cxn>
              <a:cxn ang="0">
                <a:pos x="connsiteX64772" y="connsiteY64772"/>
              </a:cxn>
              <a:cxn ang="0">
                <a:pos x="connsiteX64773" y="connsiteY64773"/>
              </a:cxn>
              <a:cxn ang="0">
                <a:pos x="connsiteX64774" y="connsiteY64774"/>
              </a:cxn>
              <a:cxn ang="0">
                <a:pos x="connsiteX64775" y="connsiteY64775"/>
              </a:cxn>
              <a:cxn ang="0">
                <a:pos x="connsiteX64776" y="connsiteY64776"/>
              </a:cxn>
              <a:cxn ang="0">
                <a:pos x="connsiteX64777" y="connsiteY64777"/>
              </a:cxn>
              <a:cxn ang="0">
                <a:pos x="connsiteX64778" y="connsiteY64778"/>
              </a:cxn>
              <a:cxn ang="0">
                <a:pos x="connsiteX64779" y="connsiteY64779"/>
              </a:cxn>
              <a:cxn ang="0">
                <a:pos x="connsiteX64780" y="connsiteY64780"/>
              </a:cxn>
              <a:cxn ang="0">
                <a:pos x="connsiteX64781" y="connsiteY64781"/>
              </a:cxn>
              <a:cxn ang="0">
                <a:pos x="connsiteX64782" y="connsiteY64782"/>
              </a:cxn>
              <a:cxn ang="0">
                <a:pos x="connsiteX64783" y="connsiteY64783"/>
              </a:cxn>
              <a:cxn ang="0">
                <a:pos x="connsiteX64784" y="connsiteY64784"/>
              </a:cxn>
              <a:cxn ang="0">
                <a:pos x="connsiteX64785" y="connsiteY64785"/>
              </a:cxn>
              <a:cxn ang="0">
                <a:pos x="connsiteX64786" y="connsiteY64786"/>
              </a:cxn>
              <a:cxn ang="0">
                <a:pos x="connsiteX64787" y="connsiteY64787"/>
              </a:cxn>
              <a:cxn ang="0">
                <a:pos x="connsiteX64788" y="connsiteY64788"/>
              </a:cxn>
              <a:cxn ang="0">
                <a:pos x="connsiteX64789" y="connsiteY64789"/>
              </a:cxn>
              <a:cxn ang="0">
                <a:pos x="connsiteX64790" y="connsiteY64790"/>
              </a:cxn>
              <a:cxn ang="0">
                <a:pos x="connsiteX64791" y="connsiteY64791"/>
              </a:cxn>
              <a:cxn ang="0">
                <a:pos x="connsiteX64792" y="connsiteY64792"/>
              </a:cxn>
              <a:cxn ang="0">
                <a:pos x="connsiteX64793" y="connsiteY64793"/>
              </a:cxn>
              <a:cxn ang="0">
                <a:pos x="connsiteX64794" y="connsiteY64794"/>
              </a:cxn>
              <a:cxn ang="0">
                <a:pos x="connsiteX64795" y="connsiteY64795"/>
              </a:cxn>
              <a:cxn ang="0">
                <a:pos x="connsiteX64796" y="connsiteY64796"/>
              </a:cxn>
              <a:cxn ang="0">
                <a:pos x="connsiteX64797" y="connsiteY64797"/>
              </a:cxn>
              <a:cxn ang="0">
                <a:pos x="connsiteX64798" y="connsiteY64798"/>
              </a:cxn>
              <a:cxn ang="0">
                <a:pos x="connsiteX64799" y="connsiteY64799"/>
              </a:cxn>
              <a:cxn ang="0">
                <a:pos x="connsiteX64800" y="connsiteY64800"/>
              </a:cxn>
              <a:cxn ang="0">
                <a:pos x="connsiteX64801" y="connsiteY64801"/>
              </a:cxn>
              <a:cxn ang="0">
                <a:pos x="connsiteX64802" y="connsiteY64802"/>
              </a:cxn>
              <a:cxn ang="0">
                <a:pos x="connsiteX64803" y="connsiteY64803"/>
              </a:cxn>
              <a:cxn ang="0">
                <a:pos x="connsiteX64804" y="connsiteY64804"/>
              </a:cxn>
              <a:cxn ang="0">
                <a:pos x="connsiteX64805" y="connsiteY64805"/>
              </a:cxn>
              <a:cxn ang="0">
                <a:pos x="connsiteX64806" y="connsiteY64806"/>
              </a:cxn>
              <a:cxn ang="0">
                <a:pos x="connsiteX64807" y="connsiteY64807"/>
              </a:cxn>
              <a:cxn ang="0">
                <a:pos x="connsiteX64808" y="connsiteY64808"/>
              </a:cxn>
              <a:cxn ang="0">
                <a:pos x="connsiteX64809" y="connsiteY64809"/>
              </a:cxn>
              <a:cxn ang="0">
                <a:pos x="connsiteX64810" y="connsiteY64810"/>
              </a:cxn>
              <a:cxn ang="0">
                <a:pos x="connsiteX64811" y="connsiteY64811"/>
              </a:cxn>
              <a:cxn ang="0">
                <a:pos x="connsiteX64812" y="connsiteY64812"/>
              </a:cxn>
              <a:cxn ang="0">
                <a:pos x="connsiteX64813" y="connsiteY64813"/>
              </a:cxn>
              <a:cxn ang="0">
                <a:pos x="connsiteX64814" y="connsiteY64814"/>
              </a:cxn>
              <a:cxn ang="0">
                <a:pos x="connsiteX64815" y="connsiteY64815"/>
              </a:cxn>
              <a:cxn ang="0">
                <a:pos x="connsiteX64816" y="connsiteY64816"/>
              </a:cxn>
              <a:cxn ang="0">
                <a:pos x="connsiteX64817" y="connsiteY64817"/>
              </a:cxn>
              <a:cxn ang="0">
                <a:pos x="connsiteX64818" y="connsiteY64818"/>
              </a:cxn>
              <a:cxn ang="0">
                <a:pos x="connsiteX64819" y="connsiteY64819"/>
              </a:cxn>
              <a:cxn ang="0">
                <a:pos x="connsiteX64820" y="connsiteY64820"/>
              </a:cxn>
              <a:cxn ang="0">
                <a:pos x="connsiteX64821" y="connsiteY64821"/>
              </a:cxn>
              <a:cxn ang="0">
                <a:pos x="connsiteX64822" y="connsiteY64822"/>
              </a:cxn>
              <a:cxn ang="0">
                <a:pos x="connsiteX64823" y="connsiteY64823"/>
              </a:cxn>
              <a:cxn ang="0">
                <a:pos x="connsiteX64824" y="connsiteY64824"/>
              </a:cxn>
              <a:cxn ang="0">
                <a:pos x="connsiteX64825" y="connsiteY64825"/>
              </a:cxn>
              <a:cxn ang="0">
                <a:pos x="connsiteX64826" y="connsiteY64826"/>
              </a:cxn>
              <a:cxn ang="0">
                <a:pos x="connsiteX64827" y="connsiteY64827"/>
              </a:cxn>
              <a:cxn ang="0">
                <a:pos x="connsiteX64828" y="connsiteY64828"/>
              </a:cxn>
              <a:cxn ang="0">
                <a:pos x="connsiteX64829" y="connsiteY64829"/>
              </a:cxn>
              <a:cxn ang="0">
                <a:pos x="connsiteX64830" y="connsiteY64830"/>
              </a:cxn>
              <a:cxn ang="0">
                <a:pos x="connsiteX64831" y="connsiteY64831"/>
              </a:cxn>
              <a:cxn ang="0">
                <a:pos x="connsiteX64832" y="connsiteY64832"/>
              </a:cxn>
              <a:cxn ang="0">
                <a:pos x="connsiteX64833" y="connsiteY64833"/>
              </a:cxn>
              <a:cxn ang="0">
                <a:pos x="connsiteX64834" y="connsiteY64834"/>
              </a:cxn>
              <a:cxn ang="0">
                <a:pos x="connsiteX64835" y="connsiteY64835"/>
              </a:cxn>
              <a:cxn ang="0">
                <a:pos x="connsiteX64836" y="connsiteY64836"/>
              </a:cxn>
              <a:cxn ang="0">
                <a:pos x="connsiteX64837" y="connsiteY64837"/>
              </a:cxn>
              <a:cxn ang="0">
                <a:pos x="connsiteX64838" y="connsiteY64838"/>
              </a:cxn>
              <a:cxn ang="0">
                <a:pos x="connsiteX64839" y="connsiteY64839"/>
              </a:cxn>
              <a:cxn ang="0">
                <a:pos x="connsiteX64840" y="connsiteY64840"/>
              </a:cxn>
              <a:cxn ang="0">
                <a:pos x="connsiteX64841" y="connsiteY64841"/>
              </a:cxn>
              <a:cxn ang="0">
                <a:pos x="connsiteX64842" y="connsiteY64842"/>
              </a:cxn>
              <a:cxn ang="0">
                <a:pos x="connsiteX64843" y="connsiteY64843"/>
              </a:cxn>
              <a:cxn ang="0">
                <a:pos x="connsiteX64844" y="connsiteY64844"/>
              </a:cxn>
              <a:cxn ang="0">
                <a:pos x="connsiteX64845" y="connsiteY64845"/>
              </a:cxn>
              <a:cxn ang="0">
                <a:pos x="connsiteX64846" y="connsiteY64846"/>
              </a:cxn>
              <a:cxn ang="0">
                <a:pos x="connsiteX64847" y="connsiteY64847"/>
              </a:cxn>
              <a:cxn ang="0">
                <a:pos x="connsiteX64848" y="connsiteY64848"/>
              </a:cxn>
              <a:cxn ang="0">
                <a:pos x="connsiteX64849" y="connsiteY64849"/>
              </a:cxn>
              <a:cxn ang="0">
                <a:pos x="connsiteX64850" y="connsiteY64850"/>
              </a:cxn>
              <a:cxn ang="0">
                <a:pos x="connsiteX64851" y="connsiteY64851"/>
              </a:cxn>
              <a:cxn ang="0">
                <a:pos x="connsiteX64852" y="connsiteY64852"/>
              </a:cxn>
              <a:cxn ang="0">
                <a:pos x="connsiteX64853" y="connsiteY64853"/>
              </a:cxn>
              <a:cxn ang="0">
                <a:pos x="connsiteX64854" y="connsiteY64854"/>
              </a:cxn>
              <a:cxn ang="0">
                <a:pos x="connsiteX64855" y="connsiteY64855"/>
              </a:cxn>
              <a:cxn ang="0">
                <a:pos x="connsiteX64856" y="connsiteY64856"/>
              </a:cxn>
              <a:cxn ang="0">
                <a:pos x="connsiteX64857" y="connsiteY64857"/>
              </a:cxn>
              <a:cxn ang="0">
                <a:pos x="connsiteX64858" y="connsiteY64858"/>
              </a:cxn>
              <a:cxn ang="0">
                <a:pos x="connsiteX64859" y="connsiteY64859"/>
              </a:cxn>
              <a:cxn ang="0">
                <a:pos x="connsiteX64860" y="connsiteY64860"/>
              </a:cxn>
              <a:cxn ang="0">
                <a:pos x="connsiteX64861" y="connsiteY64861"/>
              </a:cxn>
              <a:cxn ang="0">
                <a:pos x="connsiteX64862" y="connsiteY64862"/>
              </a:cxn>
              <a:cxn ang="0">
                <a:pos x="connsiteX64863" y="connsiteY64863"/>
              </a:cxn>
              <a:cxn ang="0">
                <a:pos x="connsiteX64864" y="connsiteY64864"/>
              </a:cxn>
              <a:cxn ang="0">
                <a:pos x="connsiteX64865" y="connsiteY64865"/>
              </a:cxn>
              <a:cxn ang="0">
                <a:pos x="connsiteX64866" y="connsiteY64866"/>
              </a:cxn>
              <a:cxn ang="0">
                <a:pos x="connsiteX64867" y="connsiteY64867"/>
              </a:cxn>
              <a:cxn ang="0">
                <a:pos x="connsiteX64868" y="connsiteY64868"/>
              </a:cxn>
              <a:cxn ang="0">
                <a:pos x="connsiteX64869" y="connsiteY64869"/>
              </a:cxn>
              <a:cxn ang="0">
                <a:pos x="connsiteX64870" y="connsiteY64870"/>
              </a:cxn>
              <a:cxn ang="0">
                <a:pos x="connsiteX64871" y="connsiteY64871"/>
              </a:cxn>
              <a:cxn ang="0">
                <a:pos x="connsiteX64872" y="connsiteY64872"/>
              </a:cxn>
              <a:cxn ang="0">
                <a:pos x="connsiteX64873" y="connsiteY64873"/>
              </a:cxn>
              <a:cxn ang="0">
                <a:pos x="connsiteX64874" y="connsiteY64874"/>
              </a:cxn>
              <a:cxn ang="0">
                <a:pos x="connsiteX64875" y="connsiteY64875"/>
              </a:cxn>
              <a:cxn ang="0">
                <a:pos x="connsiteX64876" y="connsiteY64876"/>
              </a:cxn>
              <a:cxn ang="0">
                <a:pos x="connsiteX64877" y="connsiteY64877"/>
              </a:cxn>
              <a:cxn ang="0">
                <a:pos x="connsiteX64878" y="connsiteY64878"/>
              </a:cxn>
              <a:cxn ang="0">
                <a:pos x="connsiteX64879" y="connsiteY64879"/>
              </a:cxn>
              <a:cxn ang="0">
                <a:pos x="connsiteX64880" y="connsiteY64880"/>
              </a:cxn>
              <a:cxn ang="0">
                <a:pos x="connsiteX64881" y="connsiteY64881"/>
              </a:cxn>
              <a:cxn ang="0">
                <a:pos x="connsiteX64882" y="connsiteY64882"/>
              </a:cxn>
              <a:cxn ang="0">
                <a:pos x="connsiteX64883" y="connsiteY64883"/>
              </a:cxn>
              <a:cxn ang="0">
                <a:pos x="connsiteX64884" y="connsiteY64884"/>
              </a:cxn>
              <a:cxn ang="0">
                <a:pos x="connsiteX64885" y="connsiteY64885"/>
              </a:cxn>
              <a:cxn ang="0">
                <a:pos x="connsiteX64886" y="connsiteY64886"/>
              </a:cxn>
              <a:cxn ang="0">
                <a:pos x="connsiteX64887" y="connsiteY64887"/>
              </a:cxn>
              <a:cxn ang="0">
                <a:pos x="connsiteX64888" y="connsiteY64888"/>
              </a:cxn>
              <a:cxn ang="0">
                <a:pos x="connsiteX64889" y="connsiteY64889"/>
              </a:cxn>
              <a:cxn ang="0">
                <a:pos x="connsiteX64890" y="connsiteY64890"/>
              </a:cxn>
              <a:cxn ang="0">
                <a:pos x="connsiteX64891" y="connsiteY64891"/>
              </a:cxn>
              <a:cxn ang="0">
                <a:pos x="connsiteX64892" y="connsiteY64892"/>
              </a:cxn>
              <a:cxn ang="0">
                <a:pos x="connsiteX64893" y="connsiteY64893"/>
              </a:cxn>
              <a:cxn ang="0">
                <a:pos x="connsiteX64894" y="connsiteY64894"/>
              </a:cxn>
              <a:cxn ang="0">
                <a:pos x="connsiteX64895" y="connsiteY64895"/>
              </a:cxn>
              <a:cxn ang="0">
                <a:pos x="connsiteX64896" y="connsiteY64896"/>
              </a:cxn>
              <a:cxn ang="0">
                <a:pos x="connsiteX64897" y="connsiteY64897"/>
              </a:cxn>
              <a:cxn ang="0">
                <a:pos x="connsiteX64898" y="connsiteY64898"/>
              </a:cxn>
              <a:cxn ang="0">
                <a:pos x="connsiteX64899" y="connsiteY64899"/>
              </a:cxn>
              <a:cxn ang="0">
                <a:pos x="connsiteX64900" y="connsiteY64900"/>
              </a:cxn>
              <a:cxn ang="0">
                <a:pos x="connsiteX64901" y="connsiteY64901"/>
              </a:cxn>
              <a:cxn ang="0">
                <a:pos x="connsiteX64902" y="connsiteY64902"/>
              </a:cxn>
              <a:cxn ang="0">
                <a:pos x="connsiteX64903" y="connsiteY64903"/>
              </a:cxn>
              <a:cxn ang="0">
                <a:pos x="connsiteX64904" y="connsiteY64904"/>
              </a:cxn>
              <a:cxn ang="0">
                <a:pos x="connsiteX64905" y="connsiteY64905"/>
              </a:cxn>
              <a:cxn ang="0">
                <a:pos x="connsiteX64906" y="connsiteY64906"/>
              </a:cxn>
              <a:cxn ang="0">
                <a:pos x="connsiteX64907" y="connsiteY64907"/>
              </a:cxn>
              <a:cxn ang="0">
                <a:pos x="connsiteX64908" y="connsiteY64908"/>
              </a:cxn>
              <a:cxn ang="0">
                <a:pos x="connsiteX64909" y="connsiteY64909"/>
              </a:cxn>
              <a:cxn ang="0">
                <a:pos x="connsiteX64910" y="connsiteY64910"/>
              </a:cxn>
              <a:cxn ang="0">
                <a:pos x="connsiteX64911" y="connsiteY64911"/>
              </a:cxn>
              <a:cxn ang="0">
                <a:pos x="connsiteX64912" y="connsiteY64912"/>
              </a:cxn>
              <a:cxn ang="0">
                <a:pos x="connsiteX64913" y="connsiteY64913"/>
              </a:cxn>
              <a:cxn ang="0">
                <a:pos x="connsiteX64914" y="connsiteY64914"/>
              </a:cxn>
              <a:cxn ang="0">
                <a:pos x="connsiteX64915" y="connsiteY64915"/>
              </a:cxn>
              <a:cxn ang="0">
                <a:pos x="connsiteX64916" y="connsiteY64916"/>
              </a:cxn>
              <a:cxn ang="0">
                <a:pos x="connsiteX64917" y="connsiteY64917"/>
              </a:cxn>
              <a:cxn ang="0">
                <a:pos x="connsiteX64918" y="connsiteY64918"/>
              </a:cxn>
              <a:cxn ang="0">
                <a:pos x="connsiteX64919" y="connsiteY64919"/>
              </a:cxn>
              <a:cxn ang="0">
                <a:pos x="connsiteX64920" y="connsiteY64920"/>
              </a:cxn>
              <a:cxn ang="0">
                <a:pos x="connsiteX64921" y="connsiteY64921"/>
              </a:cxn>
              <a:cxn ang="0">
                <a:pos x="connsiteX64922" y="connsiteY64922"/>
              </a:cxn>
              <a:cxn ang="0">
                <a:pos x="connsiteX64923" y="connsiteY64923"/>
              </a:cxn>
              <a:cxn ang="0">
                <a:pos x="connsiteX64924" y="connsiteY64924"/>
              </a:cxn>
              <a:cxn ang="0">
                <a:pos x="connsiteX64925" y="connsiteY64925"/>
              </a:cxn>
              <a:cxn ang="0">
                <a:pos x="connsiteX64926" y="connsiteY64926"/>
              </a:cxn>
              <a:cxn ang="0">
                <a:pos x="connsiteX64927" y="connsiteY64927"/>
              </a:cxn>
              <a:cxn ang="0">
                <a:pos x="connsiteX64928" y="connsiteY64928"/>
              </a:cxn>
              <a:cxn ang="0">
                <a:pos x="connsiteX64929" y="connsiteY64929"/>
              </a:cxn>
              <a:cxn ang="0">
                <a:pos x="connsiteX64930" y="connsiteY64930"/>
              </a:cxn>
              <a:cxn ang="0">
                <a:pos x="connsiteX64931" y="connsiteY64931"/>
              </a:cxn>
              <a:cxn ang="0">
                <a:pos x="connsiteX64932" y="connsiteY64932"/>
              </a:cxn>
              <a:cxn ang="0">
                <a:pos x="connsiteX64933" y="connsiteY64933"/>
              </a:cxn>
              <a:cxn ang="0">
                <a:pos x="connsiteX64934" y="connsiteY64934"/>
              </a:cxn>
              <a:cxn ang="0">
                <a:pos x="connsiteX64935" y="connsiteY64935"/>
              </a:cxn>
              <a:cxn ang="0">
                <a:pos x="connsiteX64936" y="connsiteY64936"/>
              </a:cxn>
              <a:cxn ang="0">
                <a:pos x="connsiteX64937" y="connsiteY64937"/>
              </a:cxn>
              <a:cxn ang="0">
                <a:pos x="connsiteX64938" y="connsiteY64938"/>
              </a:cxn>
              <a:cxn ang="0">
                <a:pos x="connsiteX64939" y="connsiteY64939"/>
              </a:cxn>
              <a:cxn ang="0">
                <a:pos x="connsiteX64940" y="connsiteY64940"/>
              </a:cxn>
              <a:cxn ang="0">
                <a:pos x="connsiteX64941" y="connsiteY64941"/>
              </a:cxn>
              <a:cxn ang="0">
                <a:pos x="connsiteX64942" y="connsiteY64942"/>
              </a:cxn>
              <a:cxn ang="0">
                <a:pos x="connsiteX64943" y="connsiteY64943"/>
              </a:cxn>
              <a:cxn ang="0">
                <a:pos x="connsiteX64944" y="connsiteY64944"/>
              </a:cxn>
              <a:cxn ang="0">
                <a:pos x="connsiteX64945" y="connsiteY64945"/>
              </a:cxn>
              <a:cxn ang="0">
                <a:pos x="connsiteX64946" y="connsiteY64946"/>
              </a:cxn>
              <a:cxn ang="0">
                <a:pos x="connsiteX64947" y="connsiteY64947"/>
              </a:cxn>
              <a:cxn ang="0">
                <a:pos x="connsiteX64948" y="connsiteY64948"/>
              </a:cxn>
              <a:cxn ang="0">
                <a:pos x="connsiteX64949" y="connsiteY64949"/>
              </a:cxn>
              <a:cxn ang="0">
                <a:pos x="connsiteX64950" y="connsiteY64950"/>
              </a:cxn>
              <a:cxn ang="0">
                <a:pos x="connsiteX64951" y="connsiteY64951"/>
              </a:cxn>
              <a:cxn ang="0">
                <a:pos x="connsiteX64952" y="connsiteY64952"/>
              </a:cxn>
              <a:cxn ang="0">
                <a:pos x="connsiteX64953" y="connsiteY64953"/>
              </a:cxn>
              <a:cxn ang="0">
                <a:pos x="connsiteX64954" y="connsiteY64954"/>
              </a:cxn>
              <a:cxn ang="0">
                <a:pos x="connsiteX64955" y="connsiteY64955"/>
              </a:cxn>
              <a:cxn ang="0">
                <a:pos x="connsiteX64956" y="connsiteY64956"/>
              </a:cxn>
              <a:cxn ang="0">
                <a:pos x="connsiteX64957" y="connsiteY64957"/>
              </a:cxn>
              <a:cxn ang="0">
                <a:pos x="connsiteX64958" y="connsiteY64958"/>
              </a:cxn>
              <a:cxn ang="0">
                <a:pos x="connsiteX64959" y="connsiteY64959"/>
              </a:cxn>
              <a:cxn ang="0">
                <a:pos x="connsiteX64960" y="connsiteY64960"/>
              </a:cxn>
              <a:cxn ang="0">
                <a:pos x="connsiteX64961" y="connsiteY64961"/>
              </a:cxn>
              <a:cxn ang="0">
                <a:pos x="connsiteX64962" y="connsiteY64962"/>
              </a:cxn>
              <a:cxn ang="0">
                <a:pos x="connsiteX64963" y="connsiteY64963"/>
              </a:cxn>
              <a:cxn ang="0">
                <a:pos x="connsiteX64964" y="connsiteY64964"/>
              </a:cxn>
              <a:cxn ang="0">
                <a:pos x="connsiteX64965" y="connsiteY64965"/>
              </a:cxn>
              <a:cxn ang="0">
                <a:pos x="connsiteX64966" y="connsiteY64966"/>
              </a:cxn>
              <a:cxn ang="0">
                <a:pos x="connsiteX64967" y="connsiteY64967"/>
              </a:cxn>
              <a:cxn ang="0">
                <a:pos x="connsiteX64968" y="connsiteY64968"/>
              </a:cxn>
              <a:cxn ang="0">
                <a:pos x="connsiteX64969" y="connsiteY64969"/>
              </a:cxn>
              <a:cxn ang="0">
                <a:pos x="connsiteX64970" y="connsiteY64970"/>
              </a:cxn>
              <a:cxn ang="0">
                <a:pos x="connsiteX64971" y="connsiteY64971"/>
              </a:cxn>
              <a:cxn ang="0">
                <a:pos x="connsiteX64972" y="connsiteY64972"/>
              </a:cxn>
              <a:cxn ang="0">
                <a:pos x="connsiteX64973" y="connsiteY64973"/>
              </a:cxn>
              <a:cxn ang="0">
                <a:pos x="connsiteX64974" y="connsiteY64974"/>
              </a:cxn>
              <a:cxn ang="0">
                <a:pos x="connsiteX64975" y="connsiteY64975"/>
              </a:cxn>
              <a:cxn ang="0">
                <a:pos x="connsiteX64976" y="connsiteY64976"/>
              </a:cxn>
              <a:cxn ang="0">
                <a:pos x="connsiteX64977" y="connsiteY64977"/>
              </a:cxn>
              <a:cxn ang="0">
                <a:pos x="connsiteX64978" y="connsiteY64978"/>
              </a:cxn>
              <a:cxn ang="0">
                <a:pos x="connsiteX64979" y="connsiteY64979"/>
              </a:cxn>
              <a:cxn ang="0">
                <a:pos x="connsiteX64980" y="connsiteY64980"/>
              </a:cxn>
              <a:cxn ang="0">
                <a:pos x="connsiteX64981" y="connsiteY64981"/>
              </a:cxn>
              <a:cxn ang="0">
                <a:pos x="connsiteX64982" y="connsiteY64982"/>
              </a:cxn>
              <a:cxn ang="0">
                <a:pos x="connsiteX64983" y="connsiteY64983"/>
              </a:cxn>
              <a:cxn ang="0">
                <a:pos x="connsiteX64984" y="connsiteY64984"/>
              </a:cxn>
              <a:cxn ang="0">
                <a:pos x="connsiteX64985" y="connsiteY64985"/>
              </a:cxn>
              <a:cxn ang="0">
                <a:pos x="connsiteX64986" y="connsiteY64986"/>
              </a:cxn>
              <a:cxn ang="0">
                <a:pos x="connsiteX64987" y="connsiteY64987"/>
              </a:cxn>
              <a:cxn ang="0">
                <a:pos x="connsiteX64988" y="connsiteY64988"/>
              </a:cxn>
              <a:cxn ang="0">
                <a:pos x="connsiteX64989" y="connsiteY64989"/>
              </a:cxn>
              <a:cxn ang="0">
                <a:pos x="connsiteX64990" y="connsiteY64990"/>
              </a:cxn>
              <a:cxn ang="0">
                <a:pos x="connsiteX64991" y="connsiteY64991"/>
              </a:cxn>
              <a:cxn ang="0">
                <a:pos x="connsiteX64992" y="connsiteY64992"/>
              </a:cxn>
              <a:cxn ang="0">
                <a:pos x="connsiteX64993" y="connsiteY64993"/>
              </a:cxn>
              <a:cxn ang="0">
                <a:pos x="connsiteX64994" y="connsiteY64994"/>
              </a:cxn>
              <a:cxn ang="0">
                <a:pos x="connsiteX64995" y="connsiteY64995"/>
              </a:cxn>
              <a:cxn ang="0">
                <a:pos x="connsiteX64996" y="connsiteY64996"/>
              </a:cxn>
              <a:cxn ang="0">
                <a:pos x="connsiteX64997" y="connsiteY64997"/>
              </a:cxn>
              <a:cxn ang="0">
                <a:pos x="connsiteX64998" y="connsiteY64998"/>
              </a:cxn>
              <a:cxn ang="0">
                <a:pos x="connsiteX64999" y="connsiteY64999"/>
              </a:cxn>
              <a:cxn ang="0">
                <a:pos x="connsiteX65000" y="connsiteY65000"/>
              </a:cxn>
              <a:cxn ang="0">
                <a:pos x="connsiteX65001" y="connsiteY65001"/>
              </a:cxn>
              <a:cxn ang="0">
                <a:pos x="connsiteX65002" y="connsiteY65002"/>
              </a:cxn>
              <a:cxn ang="0">
                <a:pos x="connsiteX65003" y="connsiteY65003"/>
              </a:cxn>
              <a:cxn ang="0">
                <a:pos x="connsiteX65004" y="connsiteY65004"/>
              </a:cxn>
              <a:cxn ang="0">
                <a:pos x="connsiteX65005" y="connsiteY65005"/>
              </a:cxn>
              <a:cxn ang="0">
                <a:pos x="connsiteX65006" y="connsiteY65006"/>
              </a:cxn>
              <a:cxn ang="0">
                <a:pos x="connsiteX65007" y="connsiteY65007"/>
              </a:cxn>
              <a:cxn ang="0">
                <a:pos x="connsiteX65008" y="connsiteY65008"/>
              </a:cxn>
              <a:cxn ang="0">
                <a:pos x="connsiteX65009" y="connsiteY65009"/>
              </a:cxn>
              <a:cxn ang="0">
                <a:pos x="connsiteX65010" y="connsiteY65010"/>
              </a:cxn>
              <a:cxn ang="0">
                <a:pos x="connsiteX65011" y="connsiteY65011"/>
              </a:cxn>
              <a:cxn ang="0">
                <a:pos x="connsiteX65012" y="connsiteY65012"/>
              </a:cxn>
              <a:cxn ang="0">
                <a:pos x="connsiteX65013" y="connsiteY65013"/>
              </a:cxn>
              <a:cxn ang="0">
                <a:pos x="connsiteX65014" y="connsiteY65014"/>
              </a:cxn>
              <a:cxn ang="0">
                <a:pos x="connsiteX65015" y="connsiteY65015"/>
              </a:cxn>
              <a:cxn ang="0">
                <a:pos x="connsiteX65016" y="connsiteY65016"/>
              </a:cxn>
              <a:cxn ang="0">
                <a:pos x="connsiteX65017" y="connsiteY65017"/>
              </a:cxn>
              <a:cxn ang="0">
                <a:pos x="connsiteX65018" y="connsiteY65018"/>
              </a:cxn>
              <a:cxn ang="0">
                <a:pos x="connsiteX65019" y="connsiteY65019"/>
              </a:cxn>
              <a:cxn ang="0">
                <a:pos x="connsiteX65020" y="connsiteY65020"/>
              </a:cxn>
              <a:cxn ang="0">
                <a:pos x="connsiteX65021" y="connsiteY65021"/>
              </a:cxn>
              <a:cxn ang="0">
                <a:pos x="connsiteX65022" y="connsiteY65022"/>
              </a:cxn>
              <a:cxn ang="0">
                <a:pos x="connsiteX65023" y="connsiteY65023"/>
              </a:cxn>
              <a:cxn ang="0">
                <a:pos x="connsiteX65024" y="connsiteY65024"/>
              </a:cxn>
              <a:cxn ang="0">
                <a:pos x="connsiteX65025" y="connsiteY65025"/>
              </a:cxn>
              <a:cxn ang="0">
                <a:pos x="connsiteX65026" y="connsiteY65026"/>
              </a:cxn>
              <a:cxn ang="0">
                <a:pos x="connsiteX65027" y="connsiteY65027"/>
              </a:cxn>
              <a:cxn ang="0">
                <a:pos x="connsiteX65028" y="connsiteY65028"/>
              </a:cxn>
              <a:cxn ang="0">
                <a:pos x="connsiteX65029" y="connsiteY65029"/>
              </a:cxn>
              <a:cxn ang="0">
                <a:pos x="connsiteX65030" y="connsiteY65030"/>
              </a:cxn>
              <a:cxn ang="0">
                <a:pos x="connsiteX65031" y="connsiteY65031"/>
              </a:cxn>
              <a:cxn ang="0">
                <a:pos x="connsiteX65032" y="connsiteY65032"/>
              </a:cxn>
              <a:cxn ang="0">
                <a:pos x="connsiteX65033" y="connsiteY65033"/>
              </a:cxn>
              <a:cxn ang="0">
                <a:pos x="connsiteX65034" y="connsiteY65034"/>
              </a:cxn>
              <a:cxn ang="0">
                <a:pos x="connsiteX65035" y="connsiteY65035"/>
              </a:cxn>
              <a:cxn ang="0">
                <a:pos x="connsiteX65036" y="connsiteY65036"/>
              </a:cxn>
              <a:cxn ang="0">
                <a:pos x="connsiteX65037" y="connsiteY65037"/>
              </a:cxn>
              <a:cxn ang="0">
                <a:pos x="connsiteX65038" y="connsiteY65038"/>
              </a:cxn>
              <a:cxn ang="0">
                <a:pos x="connsiteX65039" y="connsiteY65039"/>
              </a:cxn>
              <a:cxn ang="0">
                <a:pos x="connsiteX65040" y="connsiteY65040"/>
              </a:cxn>
              <a:cxn ang="0">
                <a:pos x="connsiteX65041" y="connsiteY65041"/>
              </a:cxn>
              <a:cxn ang="0">
                <a:pos x="connsiteX65042" y="connsiteY65042"/>
              </a:cxn>
              <a:cxn ang="0">
                <a:pos x="connsiteX65043" y="connsiteY65043"/>
              </a:cxn>
              <a:cxn ang="0">
                <a:pos x="connsiteX65044" y="connsiteY65044"/>
              </a:cxn>
              <a:cxn ang="0">
                <a:pos x="connsiteX65045" y="connsiteY65045"/>
              </a:cxn>
              <a:cxn ang="0">
                <a:pos x="connsiteX65046" y="connsiteY65046"/>
              </a:cxn>
              <a:cxn ang="0">
                <a:pos x="connsiteX65047" y="connsiteY65047"/>
              </a:cxn>
              <a:cxn ang="0">
                <a:pos x="connsiteX65048" y="connsiteY65048"/>
              </a:cxn>
              <a:cxn ang="0">
                <a:pos x="connsiteX65049" y="connsiteY65049"/>
              </a:cxn>
              <a:cxn ang="0">
                <a:pos x="connsiteX65050" y="connsiteY65050"/>
              </a:cxn>
              <a:cxn ang="0">
                <a:pos x="connsiteX65051" y="connsiteY65051"/>
              </a:cxn>
              <a:cxn ang="0">
                <a:pos x="connsiteX65052" y="connsiteY65052"/>
              </a:cxn>
              <a:cxn ang="0">
                <a:pos x="connsiteX65053" y="connsiteY65053"/>
              </a:cxn>
              <a:cxn ang="0">
                <a:pos x="connsiteX65054" y="connsiteY65054"/>
              </a:cxn>
              <a:cxn ang="0">
                <a:pos x="connsiteX65055" y="connsiteY65055"/>
              </a:cxn>
              <a:cxn ang="0">
                <a:pos x="connsiteX65056" y="connsiteY65056"/>
              </a:cxn>
              <a:cxn ang="0">
                <a:pos x="connsiteX65057" y="connsiteY65057"/>
              </a:cxn>
              <a:cxn ang="0">
                <a:pos x="connsiteX65058" y="connsiteY65058"/>
              </a:cxn>
              <a:cxn ang="0">
                <a:pos x="connsiteX65059" y="connsiteY65059"/>
              </a:cxn>
              <a:cxn ang="0">
                <a:pos x="connsiteX65060" y="connsiteY65060"/>
              </a:cxn>
              <a:cxn ang="0">
                <a:pos x="connsiteX65061" y="connsiteY65061"/>
              </a:cxn>
              <a:cxn ang="0">
                <a:pos x="connsiteX65062" y="connsiteY65062"/>
              </a:cxn>
              <a:cxn ang="0">
                <a:pos x="connsiteX65063" y="connsiteY65063"/>
              </a:cxn>
              <a:cxn ang="0">
                <a:pos x="connsiteX65064" y="connsiteY65064"/>
              </a:cxn>
              <a:cxn ang="0">
                <a:pos x="connsiteX65065" y="connsiteY65065"/>
              </a:cxn>
              <a:cxn ang="0">
                <a:pos x="connsiteX65066" y="connsiteY65066"/>
              </a:cxn>
              <a:cxn ang="0">
                <a:pos x="connsiteX65067" y="connsiteY65067"/>
              </a:cxn>
              <a:cxn ang="0">
                <a:pos x="connsiteX65068" y="connsiteY65068"/>
              </a:cxn>
              <a:cxn ang="0">
                <a:pos x="connsiteX65069" y="connsiteY65069"/>
              </a:cxn>
              <a:cxn ang="0">
                <a:pos x="connsiteX65070" y="connsiteY65070"/>
              </a:cxn>
              <a:cxn ang="0">
                <a:pos x="connsiteX65071" y="connsiteY65071"/>
              </a:cxn>
              <a:cxn ang="0">
                <a:pos x="connsiteX65072" y="connsiteY65072"/>
              </a:cxn>
              <a:cxn ang="0">
                <a:pos x="connsiteX65073" y="connsiteY65073"/>
              </a:cxn>
              <a:cxn ang="0">
                <a:pos x="connsiteX65074" y="connsiteY65074"/>
              </a:cxn>
              <a:cxn ang="0">
                <a:pos x="connsiteX65075" y="connsiteY65075"/>
              </a:cxn>
              <a:cxn ang="0">
                <a:pos x="connsiteX65076" y="connsiteY65076"/>
              </a:cxn>
              <a:cxn ang="0">
                <a:pos x="connsiteX65077" y="connsiteY65077"/>
              </a:cxn>
              <a:cxn ang="0">
                <a:pos x="connsiteX65078" y="connsiteY65078"/>
              </a:cxn>
              <a:cxn ang="0">
                <a:pos x="connsiteX65079" y="connsiteY65079"/>
              </a:cxn>
              <a:cxn ang="0">
                <a:pos x="connsiteX65080" y="connsiteY65080"/>
              </a:cxn>
              <a:cxn ang="0">
                <a:pos x="connsiteX65081" y="connsiteY65081"/>
              </a:cxn>
              <a:cxn ang="0">
                <a:pos x="connsiteX65082" y="connsiteY65082"/>
              </a:cxn>
              <a:cxn ang="0">
                <a:pos x="connsiteX65083" y="connsiteY65083"/>
              </a:cxn>
              <a:cxn ang="0">
                <a:pos x="connsiteX65084" y="connsiteY65084"/>
              </a:cxn>
              <a:cxn ang="0">
                <a:pos x="connsiteX65085" y="connsiteY65085"/>
              </a:cxn>
              <a:cxn ang="0">
                <a:pos x="connsiteX65086" y="connsiteY65086"/>
              </a:cxn>
              <a:cxn ang="0">
                <a:pos x="connsiteX65087" y="connsiteY65087"/>
              </a:cxn>
              <a:cxn ang="0">
                <a:pos x="connsiteX65088" y="connsiteY65088"/>
              </a:cxn>
              <a:cxn ang="0">
                <a:pos x="connsiteX65089" y="connsiteY65089"/>
              </a:cxn>
              <a:cxn ang="0">
                <a:pos x="connsiteX65090" y="connsiteY65090"/>
              </a:cxn>
              <a:cxn ang="0">
                <a:pos x="connsiteX65091" y="connsiteY65091"/>
              </a:cxn>
              <a:cxn ang="0">
                <a:pos x="connsiteX65092" y="connsiteY65092"/>
              </a:cxn>
              <a:cxn ang="0">
                <a:pos x="connsiteX65093" y="connsiteY65093"/>
              </a:cxn>
              <a:cxn ang="0">
                <a:pos x="connsiteX65094" y="connsiteY65094"/>
              </a:cxn>
              <a:cxn ang="0">
                <a:pos x="connsiteX65095" y="connsiteY65095"/>
              </a:cxn>
              <a:cxn ang="0">
                <a:pos x="connsiteX65096" y="connsiteY65096"/>
              </a:cxn>
              <a:cxn ang="0">
                <a:pos x="connsiteX65097" y="connsiteY65097"/>
              </a:cxn>
              <a:cxn ang="0">
                <a:pos x="connsiteX65098" y="connsiteY65098"/>
              </a:cxn>
              <a:cxn ang="0">
                <a:pos x="connsiteX65099" y="connsiteY65099"/>
              </a:cxn>
              <a:cxn ang="0">
                <a:pos x="connsiteX65100" y="connsiteY65100"/>
              </a:cxn>
              <a:cxn ang="0">
                <a:pos x="connsiteX65101" y="connsiteY65101"/>
              </a:cxn>
              <a:cxn ang="0">
                <a:pos x="connsiteX65102" y="connsiteY65102"/>
              </a:cxn>
              <a:cxn ang="0">
                <a:pos x="connsiteX65103" y="connsiteY65103"/>
              </a:cxn>
              <a:cxn ang="0">
                <a:pos x="connsiteX65104" y="connsiteY65104"/>
              </a:cxn>
              <a:cxn ang="0">
                <a:pos x="connsiteX65105" y="connsiteY65105"/>
              </a:cxn>
              <a:cxn ang="0">
                <a:pos x="connsiteX65106" y="connsiteY65106"/>
              </a:cxn>
              <a:cxn ang="0">
                <a:pos x="connsiteX65107" y="connsiteY65107"/>
              </a:cxn>
              <a:cxn ang="0">
                <a:pos x="connsiteX65108" y="connsiteY65108"/>
              </a:cxn>
              <a:cxn ang="0">
                <a:pos x="connsiteX65109" y="connsiteY65109"/>
              </a:cxn>
              <a:cxn ang="0">
                <a:pos x="connsiteX65110" y="connsiteY65110"/>
              </a:cxn>
              <a:cxn ang="0">
                <a:pos x="connsiteX65111" y="connsiteY65111"/>
              </a:cxn>
              <a:cxn ang="0">
                <a:pos x="connsiteX65112" y="connsiteY65112"/>
              </a:cxn>
              <a:cxn ang="0">
                <a:pos x="connsiteX65113" y="connsiteY65113"/>
              </a:cxn>
              <a:cxn ang="0">
                <a:pos x="connsiteX65114" y="connsiteY65114"/>
              </a:cxn>
              <a:cxn ang="0">
                <a:pos x="connsiteX65115" y="connsiteY65115"/>
              </a:cxn>
              <a:cxn ang="0">
                <a:pos x="connsiteX65116" y="connsiteY65116"/>
              </a:cxn>
              <a:cxn ang="0">
                <a:pos x="connsiteX65117" y="connsiteY65117"/>
              </a:cxn>
              <a:cxn ang="0">
                <a:pos x="connsiteX65118" y="connsiteY65118"/>
              </a:cxn>
              <a:cxn ang="0">
                <a:pos x="connsiteX65119" y="connsiteY65119"/>
              </a:cxn>
              <a:cxn ang="0">
                <a:pos x="connsiteX65120" y="connsiteY65120"/>
              </a:cxn>
              <a:cxn ang="0">
                <a:pos x="connsiteX65121" y="connsiteY65121"/>
              </a:cxn>
              <a:cxn ang="0">
                <a:pos x="connsiteX65122" y="connsiteY65122"/>
              </a:cxn>
              <a:cxn ang="0">
                <a:pos x="connsiteX65123" y="connsiteY65123"/>
              </a:cxn>
              <a:cxn ang="0">
                <a:pos x="connsiteX65124" y="connsiteY65124"/>
              </a:cxn>
              <a:cxn ang="0">
                <a:pos x="connsiteX65125" y="connsiteY65125"/>
              </a:cxn>
              <a:cxn ang="0">
                <a:pos x="connsiteX65126" y="connsiteY65126"/>
              </a:cxn>
              <a:cxn ang="0">
                <a:pos x="connsiteX65127" y="connsiteY65127"/>
              </a:cxn>
              <a:cxn ang="0">
                <a:pos x="connsiteX65128" y="connsiteY65128"/>
              </a:cxn>
              <a:cxn ang="0">
                <a:pos x="connsiteX65129" y="connsiteY65129"/>
              </a:cxn>
              <a:cxn ang="0">
                <a:pos x="connsiteX65130" y="connsiteY65130"/>
              </a:cxn>
              <a:cxn ang="0">
                <a:pos x="connsiteX65131" y="connsiteY65131"/>
              </a:cxn>
              <a:cxn ang="0">
                <a:pos x="connsiteX65132" y="connsiteY65132"/>
              </a:cxn>
              <a:cxn ang="0">
                <a:pos x="connsiteX65133" y="connsiteY65133"/>
              </a:cxn>
              <a:cxn ang="0">
                <a:pos x="connsiteX65134" y="connsiteY65134"/>
              </a:cxn>
              <a:cxn ang="0">
                <a:pos x="connsiteX65135" y="connsiteY65135"/>
              </a:cxn>
              <a:cxn ang="0">
                <a:pos x="connsiteX65136" y="connsiteY65136"/>
              </a:cxn>
              <a:cxn ang="0">
                <a:pos x="connsiteX65137" y="connsiteY65137"/>
              </a:cxn>
              <a:cxn ang="0">
                <a:pos x="connsiteX65138" y="connsiteY65138"/>
              </a:cxn>
              <a:cxn ang="0">
                <a:pos x="connsiteX65139" y="connsiteY65139"/>
              </a:cxn>
              <a:cxn ang="0">
                <a:pos x="connsiteX65140" y="connsiteY65140"/>
              </a:cxn>
              <a:cxn ang="0">
                <a:pos x="connsiteX65141" y="connsiteY65141"/>
              </a:cxn>
              <a:cxn ang="0">
                <a:pos x="connsiteX65142" y="connsiteY65142"/>
              </a:cxn>
              <a:cxn ang="0">
                <a:pos x="connsiteX65143" y="connsiteY65143"/>
              </a:cxn>
              <a:cxn ang="0">
                <a:pos x="connsiteX65144" y="connsiteY65144"/>
              </a:cxn>
              <a:cxn ang="0">
                <a:pos x="connsiteX65145" y="connsiteY65145"/>
              </a:cxn>
              <a:cxn ang="0">
                <a:pos x="connsiteX65146" y="connsiteY65146"/>
              </a:cxn>
              <a:cxn ang="0">
                <a:pos x="connsiteX65147" y="connsiteY65147"/>
              </a:cxn>
              <a:cxn ang="0">
                <a:pos x="connsiteX65148" y="connsiteY65148"/>
              </a:cxn>
              <a:cxn ang="0">
                <a:pos x="connsiteX65149" y="connsiteY65149"/>
              </a:cxn>
              <a:cxn ang="0">
                <a:pos x="connsiteX65150" y="connsiteY65150"/>
              </a:cxn>
              <a:cxn ang="0">
                <a:pos x="connsiteX65151" y="connsiteY65151"/>
              </a:cxn>
              <a:cxn ang="0">
                <a:pos x="connsiteX65152" y="connsiteY65152"/>
              </a:cxn>
              <a:cxn ang="0">
                <a:pos x="connsiteX65153" y="connsiteY65153"/>
              </a:cxn>
              <a:cxn ang="0">
                <a:pos x="connsiteX65154" y="connsiteY65154"/>
              </a:cxn>
              <a:cxn ang="0">
                <a:pos x="connsiteX65155" y="connsiteY65155"/>
              </a:cxn>
              <a:cxn ang="0">
                <a:pos x="connsiteX65156" y="connsiteY65156"/>
              </a:cxn>
              <a:cxn ang="0">
                <a:pos x="connsiteX65157" y="connsiteY65157"/>
              </a:cxn>
              <a:cxn ang="0">
                <a:pos x="connsiteX65158" y="connsiteY65158"/>
              </a:cxn>
              <a:cxn ang="0">
                <a:pos x="connsiteX65159" y="connsiteY65159"/>
              </a:cxn>
              <a:cxn ang="0">
                <a:pos x="connsiteX65160" y="connsiteY65160"/>
              </a:cxn>
              <a:cxn ang="0">
                <a:pos x="connsiteX65161" y="connsiteY65161"/>
              </a:cxn>
              <a:cxn ang="0">
                <a:pos x="connsiteX65162" y="connsiteY65162"/>
              </a:cxn>
              <a:cxn ang="0">
                <a:pos x="connsiteX65163" y="connsiteY65163"/>
              </a:cxn>
              <a:cxn ang="0">
                <a:pos x="connsiteX65164" y="connsiteY65164"/>
              </a:cxn>
              <a:cxn ang="0">
                <a:pos x="connsiteX65165" y="connsiteY65165"/>
              </a:cxn>
              <a:cxn ang="0">
                <a:pos x="connsiteX65166" y="connsiteY65166"/>
              </a:cxn>
              <a:cxn ang="0">
                <a:pos x="connsiteX65167" y="connsiteY65167"/>
              </a:cxn>
              <a:cxn ang="0">
                <a:pos x="connsiteX65168" y="connsiteY65168"/>
              </a:cxn>
              <a:cxn ang="0">
                <a:pos x="connsiteX65169" y="connsiteY65169"/>
              </a:cxn>
              <a:cxn ang="0">
                <a:pos x="connsiteX65170" y="connsiteY65170"/>
              </a:cxn>
              <a:cxn ang="0">
                <a:pos x="connsiteX65171" y="connsiteY65171"/>
              </a:cxn>
              <a:cxn ang="0">
                <a:pos x="connsiteX65172" y="connsiteY65172"/>
              </a:cxn>
              <a:cxn ang="0">
                <a:pos x="connsiteX65173" y="connsiteY65173"/>
              </a:cxn>
              <a:cxn ang="0">
                <a:pos x="connsiteX65174" y="connsiteY65174"/>
              </a:cxn>
              <a:cxn ang="0">
                <a:pos x="connsiteX65175" y="connsiteY65175"/>
              </a:cxn>
              <a:cxn ang="0">
                <a:pos x="connsiteX65176" y="connsiteY65176"/>
              </a:cxn>
              <a:cxn ang="0">
                <a:pos x="connsiteX65177" y="connsiteY65177"/>
              </a:cxn>
              <a:cxn ang="0">
                <a:pos x="connsiteX65178" y="connsiteY65178"/>
              </a:cxn>
              <a:cxn ang="0">
                <a:pos x="connsiteX65179" y="connsiteY65179"/>
              </a:cxn>
              <a:cxn ang="0">
                <a:pos x="connsiteX65180" y="connsiteY65180"/>
              </a:cxn>
              <a:cxn ang="0">
                <a:pos x="connsiteX65181" y="connsiteY65181"/>
              </a:cxn>
              <a:cxn ang="0">
                <a:pos x="connsiteX65182" y="connsiteY65182"/>
              </a:cxn>
              <a:cxn ang="0">
                <a:pos x="connsiteX65183" y="connsiteY65183"/>
              </a:cxn>
              <a:cxn ang="0">
                <a:pos x="connsiteX65184" y="connsiteY65184"/>
              </a:cxn>
              <a:cxn ang="0">
                <a:pos x="connsiteX65185" y="connsiteY65185"/>
              </a:cxn>
              <a:cxn ang="0">
                <a:pos x="connsiteX65186" y="connsiteY65186"/>
              </a:cxn>
              <a:cxn ang="0">
                <a:pos x="connsiteX65187" y="connsiteY65187"/>
              </a:cxn>
              <a:cxn ang="0">
                <a:pos x="connsiteX65188" y="connsiteY65188"/>
              </a:cxn>
              <a:cxn ang="0">
                <a:pos x="connsiteX65189" y="connsiteY65189"/>
              </a:cxn>
              <a:cxn ang="0">
                <a:pos x="connsiteX65190" y="connsiteY65190"/>
              </a:cxn>
              <a:cxn ang="0">
                <a:pos x="connsiteX65191" y="connsiteY65191"/>
              </a:cxn>
              <a:cxn ang="0">
                <a:pos x="connsiteX65192" y="connsiteY65192"/>
              </a:cxn>
              <a:cxn ang="0">
                <a:pos x="connsiteX65193" y="connsiteY65193"/>
              </a:cxn>
              <a:cxn ang="0">
                <a:pos x="connsiteX65194" y="connsiteY65194"/>
              </a:cxn>
              <a:cxn ang="0">
                <a:pos x="connsiteX65195" y="connsiteY65195"/>
              </a:cxn>
              <a:cxn ang="0">
                <a:pos x="connsiteX65196" y="connsiteY65196"/>
              </a:cxn>
              <a:cxn ang="0">
                <a:pos x="connsiteX65197" y="connsiteY65197"/>
              </a:cxn>
              <a:cxn ang="0">
                <a:pos x="connsiteX65198" y="connsiteY65198"/>
              </a:cxn>
              <a:cxn ang="0">
                <a:pos x="connsiteX65199" y="connsiteY65199"/>
              </a:cxn>
              <a:cxn ang="0">
                <a:pos x="connsiteX65200" y="connsiteY65200"/>
              </a:cxn>
              <a:cxn ang="0">
                <a:pos x="connsiteX65201" y="connsiteY65201"/>
              </a:cxn>
              <a:cxn ang="0">
                <a:pos x="connsiteX65202" y="connsiteY65202"/>
              </a:cxn>
              <a:cxn ang="0">
                <a:pos x="connsiteX65203" y="connsiteY65203"/>
              </a:cxn>
              <a:cxn ang="0">
                <a:pos x="connsiteX65204" y="connsiteY65204"/>
              </a:cxn>
              <a:cxn ang="0">
                <a:pos x="connsiteX65205" y="connsiteY65205"/>
              </a:cxn>
              <a:cxn ang="0">
                <a:pos x="connsiteX65206" y="connsiteY65206"/>
              </a:cxn>
              <a:cxn ang="0">
                <a:pos x="connsiteX65207" y="connsiteY65207"/>
              </a:cxn>
              <a:cxn ang="0">
                <a:pos x="connsiteX65208" y="connsiteY65208"/>
              </a:cxn>
              <a:cxn ang="0">
                <a:pos x="connsiteX65209" y="connsiteY65209"/>
              </a:cxn>
              <a:cxn ang="0">
                <a:pos x="connsiteX65210" y="connsiteY65210"/>
              </a:cxn>
              <a:cxn ang="0">
                <a:pos x="connsiteX65211" y="connsiteY65211"/>
              </a:cxn>
              <a:cxn ang="0">
                <a:pos x="connsiteX65212" y="connsiteY65212"/>
              </a:cxn>
              <a:cxn ang="0">
                <a:pos x="connsiteX65213" y="connsiteY65213"/>
              </a:cxn>
              <a:cxn ang="0">
                <a:pos x="connsiteX65214" y="connsiteY65214"/>
              </a:cxn>
              <a:cxn ang="0">
                <a:pos x="connsiteX65215" y="connsiteY65215"/>
              </a:cxn>
              <a:cxn ang="0">
                <a:pos x="connsiteX65216" y="connsiteY65216"/>
              </a:cxn>
              <a:cxn ang="0">
                <a:pos x="connsiteX65217" y="connsiteY65217"/>
              </a:cxn>
              <a:cxn ang="0">
                <a:pos x="connsiteX65218" y="connsiteY65218"/>
              </a:cxn>
              <a:cxn ang="0">
                <a:pos x="connsiteX65219" y="connsiteY65219"/>
              </a:cxn>
              <a:cxn ang="0">
                <a:pos x="connsiteX65220" y="connsiteY65220"/>
              </a:cxn>
              <a:cxn ang="0">
                <a:pos x="connsiteX65221" y="connsiteY65221"/>
              </a:cxn>
              <a:cxn ang="0">
                <a:pos x="connsiteX65222" y="connsiteY65222"/>
              </a:cxn>
              <a:cxn ang="0">
                <a:pos x="connsiteX65223" y="connsiteY65223"/>
              </a:cxn>
              <a:cxn ang="0">
                <a:pos x="connsiteX65224" y="connsiteY65224"/>
              </a:cxn>
              <a:cxn ang="0">
                <a:pos x="connsiteX65225" y="connsiteY65225"/>
              </a:cxn>
              <a:cxn ang="0">
                <a:pos x="connsiteX65226" y="connsiteY65226"/>
              </a:cxn>
              <a:cxn ang="0">
                <a:pos x="connsiteX65227" y="connsiteY65227"/>
              </a:cxn>
              <a:cxn ang="0">
                <a:pos x="connsiteX65228" y="connsiteY65228"/>
              </a:cxn>
              <a:cxn ang="0">
                <a:pos x="connsiteX65229" y="connsiteY65229"/>
              </a:cxn>
              <a:cxn ang="0">
                <a:pos x="connsiteX65230" y="connsiteY65230"/>
              </a:cxn>
              <a:cxn ang="0">
                <a:pos x="connsiteX65231" y="connsiteY65231"/>
              </a:cxn>
              <a:cxn ang="0">
                <a:pos x="connsiteX65232" y="connsiteY65232"/>
              </a:cxn>
              <a:cxn ang="0">
                <a:pos x="connsiteX65233" y="connsiteY65233"/>
              </a:cxn>
              <a:cxn ang="0">
                <a:pos x="connsiteX65234" y="connsiteY65234"/>
              </a:cxn>
              <a:cxn ang="0">
                <a:pos x="connsiteX65235" y="connsiteY65235"/>
              </a:cxn>
              <a:cxn ang="0">
                <a:pos x="connsiteX65236" y="connsiteY65236"/>
              </a:cxn>
              <a:cxn ang="0">
                <a:pos x="connsiteX65237" y="connsiteY65237"/>
              </a:cxn>
              <a:cxn ang="0">
                <a:pos x="connsiteX65238" y="connsiteY65238"/>
              </a:cxn>
              <a:cxn ang="0">
                <a:pos x="connsiteX65239" y="connsiteY65239"/>
              </a:cxn>
              <a:cxn ang="0">
                <a:pos x="connsiteX65240" y="connsiteY65240"/>
              </a:cxn>
              <a:cxn ang="0">
                <a:pos x="connsiteX65241" y="connsiteY65241"/>
              </a:cxn>
              <a:cxn ang="0">
                <a:pos x="connsiteX65242" y="connsiteY65242"/>
              </a:cxn>
              <a:cxn ang="0">
                <a:pos x="connsiteX65243" y="connsiteY65243"/>
              </a:cxn>
              <a:cxn ang="0">
                <a:pos x="connsiteX65244" y="connsiteY65244"/>
              </a:cxn>
              <a:cxn ang="0">
                <a:pos x="connsiteX65245" y="connsiteY65245"/>
              </a:cxn>
              <a:cxn ang="0">
                <a:pos x="connsiteX65246" y="connsiteY65246"/>
              </a:cxn>
              <a:cxn ang="0">
                <a:pos x="connsiteX65247" y="connsiteY65247"/>
              </a:cxn>
              <a:cxn ang="0">
                <a:pos x="connsiteX65248" y="connsiteY65248"/>
              </a:cxn>
              <a:cxn ang="0">
                <a:pos x="connsiteX65249" y="connsiteY65249"/>
              </a:cxn>
              <a:cxn ang="0">
                <a:pos x="connsiteX65250" y="connsiteY65250"/>
              </a:cxn>
              <a:cxn ang="0">
                <a:pos x="connsiteX65251" y="connsiteY65251"/>
              </a:cxn>
              <a:cxn ang="0">
                <a:pos x="connsiteX65252" y="connsiteY65252"/>
              </a:cxn>
              <a:cxn ang="0">
                <a:pos x="connsiteX65253" y="connsiteY65253"/>
              </a:cxn>
              <a:cxn ang="0">
                <a:pos x="connsiteX65254" y="connsiteY65254"/>
              </a:cxn>
              <a:cxn ang="0">
                <a:pos x="connsiteX65255" y="connsiteY65255"/>
              </a:cxn>
              <a:cxn ang="0">
                <a:pos x="connsiteX65256" y="connsiteY65256"/>
              </a:cxn>
              <a:cxn ang="0">
                <a:pos x="connsiteX65257" y="connsiteY65257"/>
              </a:cxn>
              <a:cxn ang="0">
                <a:pos x="connsiteX65258" y="connsiteY65258"/>
              </a:cxn>
              <a:cxn ang="0">
                <a:pos x="connsiteX65259" y="connsiteY65259"/>
              </a:cxn>
              <a:cxn ang="0">
                <a:pos x="connsiteX65260" y="connsiteY65260"/>
              </a:cxn>
              <a:cxn ang="0">
                <a:pos x="connsiteX65261" y="connsiteY65261"/>
              </a:cxn>
              <a:cxn ang="0">
                <a:pos x="connsiteX65262" y="connsiteY65262"/>
              </a:cxn>
              <a:cxn ang="0">
                <a:pos x="connsiteX65263" y="connsiteY65263"/>
              </a:cxn>
              <a:cxn ang="0">
                <a:pos x="connsiteX65264" y="connsiteY65264"/>
              </a:cxn>
              <a:cxn ang="0">
                <a:pos x="connsiteX65265" y="connsiteY65265"/>
              </a:cxn>
              <a:cxn ang="0">
                <a:pos x="connsiteX65266" y="connsiteY65266"/>
              </a:cxn>
              <a:cxn ang="0">
                <a:pos x="connsiteX65267" y="connsiteY65267"/>
              </a:cxn>
              <a:cxn ang="0">
                <a:pos x="connsiteX65268" y="connsiteY65268"/>
              </a:cxn>
              <a:cxn ang="0">
                <a:pos x="connsiteX65269" y="connsiteY65269"/>
              </a:cxn>
              <a:cxn ang="0">
                <a:pos x="connsiteX65270" y="connsiteY65270"/>
              </a:cxn>
              <a:cxn ang="0">
                <a:pos x="connsiteX65271" y="connsiteY65271"/>
              </a:cxn>
              <a:cxn ang="0">
                <a:pos x="connsiteX65272" y="connsiteY65272"/>
              </a:cxn>
              <a:cxn ang="0">
                <a:pos x="connsiteX65273" y="connsiteY65273"/>
              </a:cxn>
              <a:cxn ang="0">
                <a:pos x="connsiteX65274" y="connsiteY65274"/>
              </a:cxn>
              <a:cxn ang="0">
                <a:pos x="connsiteX65275" y="connsiteY65275"/>
              </a:cxn>
              <a:cxn ang="0">
                <a:pos x="connsiteX65276" y="connsiteY65276"/>
              </a:cxn>
              <a:cxn ang="0">
                <a:pos x="connsiteX65277" y="connsiteY65277"/>
              </a:cxn>
              <a:cxn ang="0">
                <a:pos x="connsiteX65278" y="connsiteY65278"/>
              </a:cxn>
              <a:cxn ang="0">
                <a:pos x="connsiteX65279" y="connsiteY65279"/>
              </a:cxn>
              <a:cxn ang="0">
                <a:pos x="connsiteX65280" y="connsiteY65280"/>
              </a:cxn>
              <a:cxn ang="0">
                <a:pos x="connsiteX65281" y="connsiteY65281"/>
              </a:cxn>
              <a:cxn ang="0">
                <a:pos x="connsiteX65282" y="connsiteY65282"/>
              </a:cxn>
              <a:cxn ang="0">
                <a:pos x="connsiteX65283" y="connsiteY65283"/>
              </a:cxn>
              <a:cxn ang="0">
                <a:pos x="connsiteX65284" y="connsiteY65284"/>
              </a:cxn>
              <a:cxn ang="0">
                <a:pos x="connsiteX65285" y="connsiteY65285"/>
              </a:cxn>
              <a:cxn ang="0">
                <a:pos x="connsiteX65286" y="connsiteY65286"/>
              </a:cxn>
              <a:cxn ang="0">
                <a:pos x="connsiteX65287" y="connsiteY65287"/>
              </a:cxn>
              <a:cxn ang="0">
                <a:pos x="connsiteX65288" y="connsiteY65288"/>
              </a:cxn>
              <a:cxn ang="0">
                <a:pos x="connsiteX65289" y="connsiteY65289"/>
              </a:cxn>
              <a:cxn ang="0">
                <a:pos x="connsiteX65290" y="connsiteY65290"/>
              </a:cxn>
              <a:cxn ang="0">
                <a:pos x="connsiteX65291" y="connsiteY65291"/>
              </a:cxn>
              <a:cxn ang="0">
                <a:pos x="connsiteX65292" y="connsiteY65292"/>
              </a:cxn>
              <a:cxn ang="0">
                <a:pos x="connsiteX65293" y="connsiteY65293"/>
              </a:cxn>
              <a:cxn ang="0">
                <a:pos x="connsiteX65294" y="connsiteY65294"/>
              </a:cxn>
              <a:cxn ang="0">
                <a:pos x="connsiteX65295" y="connsiteY65295"/>
              </a:cxn>
              <a:cxn ang="0">
                <a:pos x="connsiteX65296" y="connsiteY65296"/>
              </a:cxn>
              <a:cxn ang="0">
                <a:pos x="connsiteX65297" y="connsiteY65297"/>
              </a:cxn>
              <a:cxn ang="0">
                <a:pos x="connsiteX65298" y="connsiteY65298"/>
              </a:cxn>
              <a:cxn ang="0">
                <a:pos x="connsiteX65299" y="connsiteY65299"/>
              </a:cxn>
              <a:cxn ang="0">
                <a:pos x="connsiteX65300" y="connsiteY65300"/>
              </a:cxn>
              <a:cxn ang="0">
                <a:pos x="connsiteX65301" y="connsiteY65301"/>
              </a:cxn>
              <a:cxn ang="0">
                <a:pos x="connsiteX65302" y="connsiteY65302"/>
              </a:cxn>
              <a:cxn ang="0">
                <a:pos x="connsiteX65303" y="connsiteY65303"/>
              </a:cxn>
              <a:cxn ang="0">
                <a:pos x="connsiteX65304" y="connsiteY65304"/>
              </a:cxn>
              <a:cxn ang="0">
                <a:pos x="connsiteX65305" y="connsiteY65305"/>
              </a:cxn>
              <a:cxn ang="0">
                <a:pos x="connsiteX65306" y="connsiteY65306"/>
              </a:cxn>
              <a:cxn ang="0">
                <a:pos x="connsiteX65307" y="connsiteY65307"/>
              </a:cxn>
              <a:cxn ang="0">
                <a:pos x="connsiteX65308" y="connsiteY65308"/>
              </a:cxn>
              <a:cxn ang="0">
                <a:pos x="connsiteX65309" y="connsiteY65309"/>
              </a:cxn>
              <a:cxn ang="0">
                <a:pos x="connsiteX65310" y="connsiteY65310"/>
              </a:cxn>
              <a:cxn ang="0">
                <a:pos x="connsiteX65311" y="connsiteY65311"/>
              </a:cxn>
              <a:cxn ang="0">
                <a:pos x="connsiteX65312" y="connsiteY65312"/>
              </a:cxn>
              <a:cxn ang="0">
                <a:pos x="connsiteX65313" y="connsiteY65313"/>
              </a:cxn>
              <a:cxn ang="0">
                <a:pos x="connsiteX65314" y="connsiteY65314"/>
              </a:cxn>
              <a:cxn ang="0">
                <a:pos x="connsiteX65315" y="connsiteY65315"/>
              </a:cxn>
              <a:cxn ang="0">
                <a:pos x="connsiteX65316" y="connsiteY65316"/>
              </a:cxn>
              <a:cxn ang="0">
                <a:pos x="connsiteX65317" y="connsiteY65317"/>
              </a:cxn>
              <a:cxn ang="0">
                <a:pos x="connsiteX65318" y="connsiteY65318"/>
              </a:cxn>
              <a:cxn ang="0">
                <a:pos x="connsiteX65319" y="connsiteY65319"/>
              </a:cxn>
              <a:cxn ang="0">
                <a:pos x="connsiteX65320" y="connsiteY65320"/>
              </a:cxn>
              <a:cxn ang="0">
                <a:pos x="connsiteX65321" y="connsiteY65321"/>
              </a:cxn>
              <a:cxn ang="0">
                <a:pos x="connsiteX65322" y="connsiteY65322"/>
              </a:cxn>
              <a:cxn ang="0">
                <a:pos x="connsiteX65323" y="connsiteY65323"/>
              </a:cxn>
              <a:cxn ang="0">
                <a:pos x="connsiteX65324" y="connsiteY65324"/>
              </a:cxn>
              <a:cxn ang="0">
                <a:pos x="connsiteX65325" y="connsiteY65325"/>
              </a:cxn>
              <a:cxn ang="0">
                <a:pos x="connsiteX65326" y="connsiteY65326"/>
              </a:cxn>
              <a:cxn ang="0">
                <a:pos x="connsiteX65327" y="connsiteY65327"/>
              </a:cxn>
              <a:cxn ang="0">
                <a:pos x="connsiteX65328" y="connsiteY65328"/>
              </a:cxn>
              <a:cxn ang="0">
                <a:pos x="connsiteX65329" y="connsiteY65329"/>
              </a:cxn>
              <a:cxn ang="0">
                <a:pos x="connsiteX65330" y="connsiteY65330"/>
              </a:cxn>
              <a:cxn ang="0">
                <a:pos x="connsiteX65331" y="connsiteY65331"/>
              </a:cxn>
              <a:cxn ang="0">
                <a:pos x="connsiteX65332" y="connsiteY65332"/>
              </a:cxn>
              <a:cxn ang="0">
                <a:pos x="connsiteX65333" y="connsiteY65333"/>
              </a:cxn>
              <a:cxn ang="0">
                <a:pos x="connsiteX65334" y="connsiteY65334"/>
              </a:cxn>
              <a:cxn ang="0">
                <a:pos x="connsiteX65335" y="connsiteY65335"/>
              </a:cxn>
              <a:cxn ang="0">
                <a:pos x="connsiteX65336" y="connsiteY65336"/>
              </a:cxn>
              <a:cxn ang="0">
                <a:pos x="connsiteX65337" y="connsiteY65337"/>
              </a:cxn>
              <a:cxn ang="0">
                <a:pos x="connsiteX65338" y="connsiteY65338"/>
              </a:cxn>
              <a:cxn ang="0">
                <a:pos x="connsiteX65339" y="connsiteY65339"/>
              </a:cxn>
              <a:cxn ang="0">
                <a:pos x="connsiteX65340" y="connsiteY65340"/>
              </a:cxn>
              <a:cxn ang="0">
                <a:pos x="connsiteX65341" y="connsiteY65341"/>
              </a:cxn>
              <a:cxn ang="0">
                <a:pos x="connsiteX65342" y="connsiteY65342"/>
              </a:cxn>
              <a:cxn ang="0">
                <a:pos x="connsiteX65343" y="connsiteY65343"/>
              </a:cxn>
              <a:cxn ang="0">
                <a:pos x="connsiteX65344" y="connsiteY65344"/>
              </a:cxn>
              <a:cxn ang="0">
                <a:pos x="connsiteX65345" y="connsiteY65345"/>
              </a:cxn>
              <a:cxn ang="0">
                <a:pos x="connsiteX65346" y="connsiteY65346"/>
              </a:cxn>
              <a:cxn ang="0">
                <a:pos x="connsiteX65347" y="connsiteY65347"/>
              </a:cxn>
              <a:cxn ang="0">
                <a:pos x="connsiteX65348" y="connsiteY65348"/>
              </a:cxn>
              <a:cxn ang="0">
                <a:pos x="connsiteX65349" y="connsiteY65349"/>
              </a:cxn>
              <a:cxn ang="0">
                <a:pos x="connsiteX65350" y="connsiteY65350"/>
              </a:cxn>
              <a:cxn ang="0">
                <a:pos x="connsiteX65351" y="connsiteY65351"/>
              </a:cxn>
              <a:cxn ang="0">
                <a:pos x="connsiteX65352" y="connsiteY65352"/>
              </a:cxn>
              <a:cxn ang="0">
                <a:pos x="connsiteX65353" y="connsiteY65353"/>
              </a:cxn>
              <a:cxn ang="0">
                <a:pos x="connsiteX65354" y="connsiteY65354"/>
              </a:cxn>
              <a:cxn ang="0">
                <a:pos x="connsiteX65355" y="connsiteY65355"/>
              </a:cxn>
              <a:cxn ang="0">
                <a:pos x="connsiteX65356" y="connsiteY65356"/>
              </a:cxn>
              <a:cxn ang="0">
                <a:pos x="connsiteX65357" y="connsiteY65357"/>
              </a:cxn>
              <a:cxn ang="0">
                <a:pos x="connsiteX65358" y="connsiteY65358"/>
              </a:cxn>
              <a:cxn ang="0">
                <a:pos x="connsiteX65359" y="connsiteY65359"/>
              </a:cxn>
              <a:cxn ang="0">
                <a:pos x="connsiteX65360" y="connsiteY65360"/>
              </a:cxn>
              <a:cxn ang="0">
                <a:pos x="connsiteX65361" y="connsiteY65361"/>
              </a:cxn>
              <a:cxn ang="0">
                <a:pos x="connsiteX65362" y="connsiteY65362"/>
              </a:cxn>
              <a:cxn ang="0">
                <a:pos x="connsiteX65363" y="connsiteY65363"/>
              </a:cxn>
              <a:cxn ang="0">
                <a:pos x="connsiteX65364" y="connsiteY65364"/>
              </a:cxn>
              <a:cxn ang="0">
                <a:pos x="connsiteX65365" y="connsiteY65365"/>
              </a:cxn>
              <a:cxn ang="0">
                <a:pos x="connsiteX65366" y="connsiteY65366"/>
              </a:cxn>
              <a:cxn ang="0">
                <a:pos x="connsiteX65367" y="connsiteY65367"/>
              </a:cxn>
              <a:cxn ang="0">
                <a:pos x="connsiteX65368" y="connsiteY65368"/>
              </a:cxn>
              <a:cxn ang="0">
                <a:pos x="connsiteX65369" y="connsiteY65369"/>
              </a:cxn>
              <a:cxn ang="0">
                <a:pos x="connsiteX65370" y="connsiteY65370"/>
              </a:cxn>
              <a:cxn ang="0">
                <a:pos x="connsiteX65371" y="connsiteY65371"/>
              </a:cxn>
              <a:cxn ang="0">
                <a:pos x="connsiteX65372" y="connsiteY65372"/>
              </a:cxn>
              <a:cxn ang="0">
                <a:pos x="connsiteX65373" y="connsiteY65373"/>
              </a:cxn>
              <a:cxn ang="0">
                <a:pos x="connsiteX65374" y="connsiteY65374"/>
              </a:cxn>
              <a:cxn ang="0">
                <a:pos x="connsiteX65375" y="connsiteY65375"/>
              </a:cxn>
              <a:cxn ang="0">
                <a:pos x="connsiteX65376" y="connsiteY65376"/>
              </a:cxn>
              <a:cxn ang="0">
                <a:pos x="connsiteX65377" y="connsiteY65377"/>
              </a:cxn>
              <a:cxn ang="0">
                <a:pos x="connsiteX65378" y="connsiteY65378"/>
              </a:cxn>
              <a:cxn ang="0">
                <a:pos x="connsiteX65379" y="connsiteY65379"/>
              </a:cxn>
              <a:cxn ang="0">
                <a:pos x="connsiteX65380" y="connsiteY65380"/>
              </a:cxn>
              <a:cxn ang="0">
                <a:pos x="connsiteX65381" y="connsiteY65381"/>
              </a:cxn>
              <a:cxn ang="0">
                <a:pos x="connsiteX65382" y="connsiteY65382"/>
              </a:cxn>
              <a:cxn ang="0">
                <a:pos x="connsiteX65383" y="connsiteY65383"/>
              </a:cxn>
              <a:cxn ang="0">
                <a:pos x="connsiteX65384" y="connsiteY65384"/>
              </a:cxn>
              <a:cxn ang="0">
                <a:pos x="connsiteX65385" y="connsiteY65385"/>
              </a:cxn>
              <a:cxn ang="0">
                <a:pos x="connsiteX65386" y="connsiteY65386"/>
              </a:cxn>
              <a:cxn ang="0">
                <a:pos x="connsiteX65387" y="connsiteY65387"/>
              </a:cxn>
              <a:cxn ang="0">
                <a:pos x="connsiteX65388" y="connsiteY65388"/>
              </a:cxn>
              <a:cxn ang="0">
                <a:pos x="connsiteX65389" y="connsiteY65389"/>
              </a:cxn>
              <a:cxn ang="0">
                <a:pos x="connsiteX65390" y="connsiteY65390"/>
              </a:cxn>
              <a:cxn ang="0">
                <a:pos x="connsiteX65391" y="connsiteY65391"/>
              </a:cxn>
              <a:cxn ang="0">
                <a:pos x="connsiteX65392" y="connsiteY65392"/>
              </a:cxn>
              <a:cxn ang="0">
                <a:pos x="connsiteX65393" y="connsiteY65393"/>
              </a:cxn>
              <a:cxn ang="0">
                <a:pos x="connsiteX65394" y="connsiteY65394"/>
              </a:cxn>
              <a:cxn ang="0">
                <a:pos x="connsiteX65395" y="connsiteY65395"/>
              </a:cxn>
              <a:cxn ang="0">
                <a:pos x="connsiteX65396" y="connsiteY65396"/>
              </a:cxn>
              <a:cxn ang="0">
                <a:pos x="connsiteX65397" y="connsiteY65397"/>
              </a:cxn>
              <a:cxn ang="0">
                <a:pos x="connsiteX65398" y="connsiteY65398"/>
              </a:cxn>
              <a:cxn ang="0">
                <a:pos x="connsiteX65399" y="connsiteY65399"/>
              </a:cxn>
              <a:cxn ang="0">
                <a:pos x="connsiteX65400" y="connsiteY65400"/>
              </a:cxn>
              <a:cxn ang="0">
                <a:pos x="connsiteX65401" y="connsiteY65401"/>
              </a:cxn>
              <a:cxn ang="0">
                <a:pos x="connsiteX65402" y="connsiteY65402"/>
              </a:cxn>
              <a:cxn ang="0">
                <a:pos x="connsiteX65403" y="connsiteY65403"/>
              </a:cxn>
              <a:cxn ang="0">
                <a:pos x="connsiteX65404" y="connsiteY65404"/>
              </a:cxn>
              <a:cxn ang="0">
                <a:pos x="connsiteX65405" y="connsiteY65405"/>
              </a:cxn>
              <a:cxn ang="0">
                <a:pos x="connsiteX65406" y="connsiteY65406"/>
              </a:cxn>
              <a:cxn ang="0">
                <a:pos x="connsiteX65407" y="connsiteY65407"/>
              </a:cxn>
              <a:cxn ang="0">
                <a:pos x="connsiteX65408" y="connsiteY65408"/>
              </a:cxn>
              <a:cxn ang="0">
                <a:pos x="connsiteX65409" y="connsiteY65409"/>
              </a:cxn>
              <a:cxn ang="0">
                <a:pos x="connsiteX65410" y="connsiteY65410"/>
              </a:cxn>
              <a:cxn ang="0">
                <a:pos x="connsiteX65411" y="connsiteY65411"/>
              </a:cxn>
              <a:cxn ang="0">
                <a:pos x="connsiteX65412" y="connsiteY65412"/>
              </a:cxn>
              <a:cxn ang="0">
                <a:pos x="connsiteX65413" y="connsiteY65413"/>
              </a:cxn>
              <a:cxn ang="0">
                <a:pos x="connsiteX65414" y="connsiteY65414"/>
              </a:cxn>
              <a:cxn ang="0">
                <a:pos x="connsiteX65415" y="connsiteY65415"/>
              </a:cxn>
              <a:cxn ang="0">
                <a:pos x="connsiteX65416" y="connsiteY65416"/>
              </a:cxn>
              <a:cxn ang="0">
                <a:pos x="connsiteX65417" y="connsiteY65417"/>
              </a:cxn>
              <a:cxn ang="0">
                <a:pos x="connsiteX65418" y="connsiteY65418"/>
              </a:cxn>
              <a:cxn ang="0">
                <a:pos x="connsiteX65419" y="connsiteY65419"/>
              </a:cxn>
              <a:cxn ang="0">
                <a:pos x="connsiteX65420" y="connsiteY65420"/>
              </a:cxn>
              <a:cxn ang="0">
                <a:pos x="connsiteX65421" y="connsiteY65421"/>
              </a:cxn>
              <a:cxn ang="0">
                <a:pos x="connsiteX65422" y="connsiteY65422"/>
              </a:cxn>
              <a:cxn ang="0">
                <a:pos x="connsiteX65423" y="connsiteY65423"/>
              </a:cxn>
              <a:cxn ang="0">
                <a:pos x="connsiteX65424" y="connsiteY65424"/>
              </a:cxn>
              <a:cxn ang="0">
                <a:pos x="connsiteX65425" y="connsiteY65425"/>
              </a:cxn>
              <a:cxn ang="0">
                <a:pos x="connsiteX65426" y="connsiteY65426"/>
              </a:cxn>
              <a:cxn ang="0">
                <a:pos x="connsiteX65427" y="connsiteY65427"/>
              </a:cxn>
              <a:cxn ang="0">
                <a:pos x="connsiteX65428" y="connsiteY65428"/>
              </a:cxn>
              <a:cxn ang="0">
                <a:pos x="connsiteX65429" y="connsiteY65429"/>
              </a:cxn>
              <a:cxn ang="0">
                <a:pos x="connsiteX65430" y="connsiteY65430"/>
              </a:cxn>
              <a:cxn ang="0">
                <a:pos x="connsiteX65431" y="connsiteY65431"/>
              </a:cxn>
              <a:cxn ang="0">
                <a:pos x="connsiteX65432" y="connsiteY65432"/>
              </a:cxn>
              <a:cxn ang="0">
                <a:pos x="connsiteX65433" y="connsiteY65433"/>
              </a:cxn>
              <a:cxn ang="0">
                <a:pos x="connsiteX65434" y="connsiteY65434"/>
              </a:cxn>
              <a:cxn ang="0">
                <a:pos x="connsiteX65435" y="connsiteY65435"/>
              </a:cxn>
              <a:cxn ang="0">
                <a:pos x="connsiteX65436" y="connsiteY65436"/>
              </a:cxn>
              <a:cxn ang="0">
                <a:pos x="connsiteX65437" y="connsiteY65437"/>
              </a:cxn>
              <a:cxn ang="0">
                <a:pos x="connsiteX65438" y="connsiteY65438"/>
              </a:cxn>
              <a:cxn ang="0">
                <a:pos x="connsiteX65439" y="connsiteY65439"/>
              </a:cxn>
              <a:cxn ang="0">
                <a:pos x="connsiteX65440" y="connsiteY65440"/>
              </a:cxn>
              <a:cxn ang="0">
                <a:pos x="connsiteX65441" y="connsiteY65441"/>
              </a:cxn>
              <a:cxn ang="0">
                <a:pos x="connsiteX65442" y="connsiteY65442"/>
              </a:cxn>
              <a:cxn ang="0">
                <a:pos x="connsiteX65443" y="connsiteY65443"/>
              </a:cxn>
              <a:cxn ang="0">
                <a:pos x="connsiteX65444" y="connsiteY65444"/>
              </a:cxn>
              <a:cxn ang="0">
                <a:pos x="connsiteX65445" y="connsiteY65445"/>
              </a:cxn>
              <a:cxn ang="0">
                <a:pos x="connsiteX65446" y="connsiteY65446"/>
              </a:cxn>
              <a:cxn ang="0">
                <a:pos x="connsiteX65447" y="connsiteY65447"/>
              </a:cxn>
              <a:cxn ang="0">
                <a:pos x="connsiteX65448" y="connsiteY65448"/>
              </a:cxn>
              <a:cxn ang="0">
                <a:pos x="connsiteX65449" y="connsiteY65449"/>
              </a:cxn>
              <a:cxn ang="0">
                <a:pos x="connsiteX65450" y="connsiteY65450"/>
              </a:cxn>
              <a:cxn ang="0">
                <a:pos x="connsiteX65451" y="connsiteY65451"/>
              </a:cxn>
              <a:cxn ang="0">
                <a:pos x="connsiteX65452" y="connsiteY65452"/>
              </a:cxn>
              <a:cxn ang="0">
                <a:pos x="connsiteX65453" y="connsiteY65453"/>
              </a:cxn>
              <a:cxn ang="0">
                <a:pos x="connsiteX65454" y="connsiteY65454"/>
              </a:cxn>
              <a:cxn ang="0">
                <a:pos x="connsiteX65455" y="connsiteY65455"/>
              </a:cxn>
              <a:cxn ang="0">
                <a:pos x="connsiteX65456" y="connsiteY65456"/>
              </a:cxn>
              <a:cxn ang="0">
                <a:pos x="connsiteX65457" y="connsiteY65457"/>
              </a:cxn>
              <a:cxn ang="0">
                <a:pos x="connsiteX65458" y="connsiteY65458"/>
              </a:cxn>
              <a:cxn ang="0">
                <a:pos x="connsiteX65459" y="connsiteY65459"/>
              </a:cxn>
              <a:cxn ang="0">
                <a:pos x="connsiteX65460" y="connsiteY65460"/>
              </a:cxn>
              <a:cxn ang="0">
                <a:pos x="connsiteX65461" y="connsiteY65461"/>
              </a:cxn>
              <a:cxn ang="0">
                <a:pos x="connsiteX65462" y="connsiteY65462"/>
              </a:cxn>
              <a:cxn ang="0">
                <a:pos x="connsiteX65463" y="connsiteY65463"/>
              </a:cxn>
              <a:cxn ang="0">
                <a:pos x="connsiteX65464" y="connsiteY65464"/>
              </a:cxn>
              <a:cxn ang="0">
                <a:pos x="connsiteX65465" y="connsiteY65465"/>
              </a:cxn>
              <a:cxn ang="0">
                <a:pos x="connsiteX65466" y="connsiteY65466"/>
              </a:cxn>
              <a:cxn ang="0">
                <a:pos x="connsiteX65467" y="connsiteY65467"/>
              </a:cxn>
              <a:cxn ang="0">
                <a:pos x="connsiteX65468" y="connsiteY65468"/>
              </a:cxn>
              <a:cxn ang="0">
                <a:pos x="connsiteX65469" y="connsiteY65469"/>
              </a:cxn>
              <a:cxn ang="0">
                <a:pos x="connsiteX65470" y="connsiteY65470"/>
              </a:cxn>
              <a:cxn ang="0">
                <a:pos x="connsiteX65471" y="connsiteY65471"/>
              </a:cxn>
              <a:cxn ang="0">
                <a:pos x="connsiteX65472" y="connsiteY65472"/>
              </a:cxn>
              <a:cxn ang="0">
                <a:pos x="connsiteX65473" y="connsiteY65473"/>
              </a:cxn>
              <a:cxn ang="0">
                <a:pos x="connsiteX65474" y="connsiteY65474"/>
              </a:cxn>
              <a:cxn ang="0">
                <a:pos x="connsiteX65475" y="connsiteY65475"/>
              </a:cxn>
              <a:cxn ang="0">
                <a:pos x="connsiteX65476" y="connsiteY65476"/>
              </a:cxn>
              <a:cxn ang="0">
                <a:pos x="connsiteX65477" y="connsiteY65477"/>
              </a:cxn>
              <a:cxn ang="0">
                <a:pos x="connsiteX65478" y="connsiteY65478"/>
              </a:cxn>
              <a:cxn ang="0">
                <a:pos x="connsiteX65479" y="connsiteY65479"/>
              </a:cxn>
              <a:cxn ang="0">
                <a:pos x="connsiteX65480" y="connsiteY65480"/>
              </a:cxn>
              <a:cxn ang="0">
                <a:pos x="connsiteX65481" y="connsiteY65481"/>
              </a:cxn>
              <a:cxn ang="0">
                <a:pos x="connsiteX65482" y="connsiteY65482"/>
              </a:cxn>
              <a:cxn ang="0">
                <a:pos x="connsiteX65483" y="connsiteY65483"/>
              </a:cxn>
              <a:cxn ang="0">
                <a:pos x="connsiteX65484" y="connsiteY65484"/>
              </a:cxn>
              <a:cxn ang="0">
                <a:pos x="connsiteX65485" y="connsiteY65485"/>
              </a:cxn>
              <a:cxn ang="0">
                <a:pos x="connsiteX65486" y="connsiteY65486"/>
              </a:cxn>
              <a:cxn ang="0">
                <a:pos x="connsiteX65487" y="connsiteY65487"/>
              </a:cxn>
              <a:cxn ang="0">
                <a:pos x="connsiteX65488" y="connsiteY65488"/>
              </a:cxn>
              <a:cxn ang="0">
                <a:pos x="connsiteX65489" y="connsiteY65489"/>
              </a:cxn>
              <a:cxn ang="0">
                <a:pos x="connsiteX65490" y="connsiteY65490"/>
              </a:cxn>
              <a:cxn ang="0">
                <a:pos x="connsiteX65491" y="connsiteY65491"/>
              </a:cxn>
              <a:cxn ang="0">
                <a:pos x="connsiteX65492" y="connsiteY65492"/>
              </a:cxn>
              <a:cxn ang="0">
                <a:pos x="connsiteX65493" y="connsiteY65493"/>
              </a:cxn>
              <a:cxn ang="0">
                <a:pos x="connsiteX65494" y="connsiteY65494"/>
              </a:cxn>
              <a:cxn ang="0">
                <a:pos x="connsiteX65495" y="connsiteY65495"/>
              </a:cxn>
              <a:cxn ang="0">
                <a:pos x="connsiteX65496" y="connsiteY65496"/>
              </a:cxn>
              <a:cxn ang="0">
                <a:pos x="connsiteX65497" y="connsiteY65497"/>
              </a:cxn>
              <a:cxn ang="0">
                <a:pos x="connsiteX65498" y="connsiteY65498"/>
              </a:cxn>
              <a:cxn ang="0">
                <a:pos x="connsiteX65499" y="connsiteY65499"/>
              </a:cxn>
              <a:cxn ang="0">
                <a:pos x="connsiteX65500" y="connsiteY65500"/>
              </a:cxn>
              <a:cxn ang="0">
                <a:pos x="connsiteX65501" y="connsiteY65501"/>
              </a:cxn>
              <a:cxn ang="0">
                <a:pos x="connsiteX65502" y="connsiteY65502"/>
              </a:cxn>
              <a:cxn ang="0">
                <a:pos x="connsiteX65503" y="connsiteY65503"/>
              </a:cxn>
              <a:cxn ang="0">
                <a:pos x="connsiteX65504" y="connsiteY65504"/>
              </a:cxn>
              <a:cxn ang="0">
                <a:pos x="connsiteX65505" y="connsiteY65505"/>
              </a:cxn>
              <a:cxn ang="0">
                <a:pos x="connsiteX65506" y="connsiteY65506"/>
              </a:cxn>
              <a:cxn ang="0">
                <a:pos x="connsiteX65507" y="connsiteY65507"/>
              </a:cxn>
              <a:cxn ang="0">
                <a:pos x="connsiteX65508" y="connsiteY65508"/>
              </a:cxn>
              <a:cxn ang="0">
                <a:pos x="connsiteX65509" y="connsiteY65509"/>
              </a:cxn>
              <a:cxn ang="0">
                <a:pos x="connsiteX65510" y="connsiteY65510"/>
              </a:cxn>
              <a:cxn ang="0">
                <a:pos x="connsiteX65511" y="connsiteY65511"/>
              </a:cxn>
              <a:cxn ang="0">
                <a:pos x="connsiteX65512" y="connsiteY65512"/>
              </a:cxn>
              <a:cxn ang="0">
                <a:pos x="connsiteX65513" y="connsiteY65513"/>
              </a:cxn>
              <a:cxn ang="0">
                <a:pos x="connsiteX65514" y="connsiteY65514"/>
              </a:cxn>
              <a:cxn ang="0">
                <a:pos x="connsiteX65515" y="connsiteY65515"/>
              </a:cxn>
              <a:cxn ang="0">
                <a:pos x="connsiteX65516" y="connsiteY65516"/>
              </a:cxn>
              <a:cxn ang="0">
                <a:pos x="connsiteX65517" y="connsiteY65517"/>
              </a:cxn>
              <a:cxn ang="0">
                <a:pos x="connsiteX65518" y="connsiteY65518"/>
              </a:cxn>
              <a:cxn ang="0">
                <a:pos x="connsiteX65519" y="connsiteY65519"/>
              </a:cxn>
              <a:cxn ang="0">
                <a:pos x="connsiteX65520" y="connsiteY65520"/>
              </a:cxn>
              <a:cxn ang="0">
                <a:pos x="connsiteX65521" y="connsiteY65521"/>
              </a:cxn>
              <a:cxn ang="0">
                <a:pos x="connsiteX65522" y="connsiteY65522"/>
              </a:cxn>
              <a:cxn ang="0">
                <a:pos x="connsiteX65523" y="connsiteY65523"/>
              </a:cxn>
              <a:cxn ang="0">
                <a:pos x="connsiteX65524" y="connsiteY65524"/>
              </a:cxn>
              <a:cxn ang="0">
                <a:pos x="connsiteX65525" y="connsiteY65525"/>
              </a:cxn>
              <a:cxn ang="0">
                <a:pos x="connsiteX65526" y="connsiteY65526"/>
              </a:cxn>
              <a:cxn ang="0">
                <a:pos x="connsiteX65527" y="connsiteY65527"/>
              </a:cxn>
              <a:cxn ang="0">
                <a:pos x="connsiteX65528" y="connsiteY65528"/>
              </a:cxn>
              <a:cxn ang="0">
                <a:pos x="connsiteX65529" y="connsiteY65529"/>
              </a:cxn>
              <a:cxn ang="0">
                <a:pos x="connsiteX65530" y="connsiteY65530"/>
              </a:cxn>
              <a:cxn ang="0">
                <a:pos x="connsiteX65531" y="connsiteY65531"/>
              </a:cxn>
              <a:cxn ang="0">
                <a:pos x="connsiteX65532" y="connsiteY65532"/>
              </a:cxn>
              <a:cxn ang="0">
                <a:pos x="connsiteX65533" y="connsiteY65533"/>
              </a:cxn>
              <a:cxn ang="0">
                <a:pos x="connsiteX65534" y="connsiteY65534"/>
              </a:cxn>
              <a:cxn ang="0">
                <a:pos x="connsiteX65535" y="connsiteY65535"/>
              </a:cxn>
              <a:cxn ang="0">
                <a:pos x="connsiteX65536" y="connsiteY65536"/>
              </a:cxn>
              <a:cxn ang="0">
                <a:pos x="connsiteX65537" y="connsiteY65537"/>
              </a:cxn>
              <a:cxn ang="0">
                <a:pos x="connsiteX65538" y="connsiteY65538"/>
              </a:cxn>
              <a:cxn ang="0">
                <a:pos x="connsiteX65539" y="connsiteY65539"/>
              </a:cxn>
              <a:cxn ang="0">
                <a:pos x="connsiteX65540" y="connsiteY65540"/>
              </a:cxn>
              <a:cxn ang="0">
                <a:pos x="connsiteX65541" y="connsiteY65541"/>
              </a:cxn>
              <a:cxn ang="0">
                <a:pos x="connsiteX65542" y="connsiteY65542"/>
              </a:cxn>
              <a:cxn ang="0">
                <a:pos x="connsiteX65543" y="connsiteY65543"/>
              </a:cxn>
              <a:cxn ang="0">
                <a:pos x="connsiteX65544" y="connsiteY65544"/>
              </a:cxn>
              <a:cxn ang="0">
                <a:pos x="connsiteX65545" y="connsiteY65545"/>
              </a:cxn>
              <a:cxn ang="0">
                <a:pos x="connsiteX65546" y="connsiteY65546"/>
              </a:cxn>
              <a:cxn ang="0">
                <a:pos x="connsiteX65547" y="connsiteY65547"/>
              </a:cxn>
              <a:cxn ang="0">
                <a:pos x="connsiteX65548" y="connsiteY65548"/>
              </a:cxn>
              <a:cxn ang="0">
                <a:pos x="connsiteX65549" y="connsiteY65549"/>
              </a:cxn>
              <a:cxn ang="0">
                <a:pos x="connsiteX65550" y="connsiteY65550"/>
              </a:cxn>
              <a:cxn ang="0">
                <a:pos x="connsiteX65551" y="connsiteY65551"/>
              </a:cxn>
              <a:cxn ang="0">
                <a:pos x="connsiteX65552" y="connsiteY65552"/>
              </a:cxn>
              <a:cxn ang="0">
                <a:pos x="connsiteX65553" y="connsiteY65553"/>
              </a:cxn>
              <a:cxn ang="0">
                <a:pos x="connsiteX65554" y="connsiteY65554"/>
              </a:cxn>
              <a:cxn ang="0">
                <a:pos x="connsiteX65555" y="connsiteY65555"/>
              </a:cxn>
              <a:cxn ang="0">
                <a:pos x="connsiteX65556" y="connsiteY65556"/>
              </a:cxn>
              <a:cxn ang="0">
                <a:pos x="connsiteX65557" y="connsiteY65557"/>
              </a:cxn>
              <a:cxn ang="0">
                <a:pos x="connsiteX65558" y="connsiteY65558"/>
              </a:cxn>
              <a:cxn ang="0">
                <a:pos x="connsiteX65559" y="connsiteY65559"/>
              </a:cxn>
              <a:cxn ang="0">
                <a:pos x="connsiteX65560" y="connsiteY65560"/>
              </a:cxn>
              <a:cxn ang="0">
                <a:pos x="connsiteX65561" y="connsiteY65561"/>
              </a:cxn>
              <a:cxn ang="0">
                <a:pos x="connsiteX65562" y="connsiteY65562"/>
              </a:cxn>
              <a:cxn ang="0">
                <a:pos x="connsiteX65563" y="connsiteY65563"/>
              </a:cxn>
              <a:cxn ang="0">
                <a:pos x="connsiteX65564" y="connsiteY65564"/>
              </a:cxn>
              <a:cxn ang="0">
                <a:pos x="connsiteX65565" y="connsiteY65565"/>
              </a:cxn>
              <a:cxn ang="0">
                <a:pos x="connsiteX65566" y="connsiteY65566"/>
              </a:cxn>
              <a:cxn ang="0">
                <a:pos x="connsiteX65567" y="connsiteY65567"/>
              </a:cxn>
              <a:cxn ang="0">
                <a:pos x="connsiteX65568" y="connsiteY65568"/>
              </a:cxn>
              <a:cxn ang="0">
                <a:pos x="connsiteX65569" y="connsiteY65569"/>
              </a:cxn>
              <a:cxn ang="0">
                <a:pos x="connsiteX65570" y="connsiteY65570"/>
              </a:cxn>
              <a:cxn ang="0">
                <a:pos x="connsiteX65571" y="connsiteY65571"/>
              </a:cxn>
              <a:cxn ang="0">
                <a:pos x="connsiteX65572" y="connsiteY65572"/>
              </a:cxn>
              <a:cxn ang="0">
                <a:pos x="connsiteX65573" y="connsiteY65573"/>
              </a:cxn>
              <a:cxn ang="0">
                <a:pos x="connsiteX65574" y="connsiteY65574"/>
              </a:cxn>
              <a:cxn ang="0">
                <a:pos x="connsiteX65575" y="connsiteY65575"/>
              </a:cxn>
              <a:cxn ang="0">
                <a:pos x="connsiteX65576" y="connsiteY65576"/>
              </a:cxn>
              <a:cxn ang="0">
                <a:pos x="connsiteX65577" y="connsiteY65577"/>
              </a:cxn>
              <a:cxn ang="0">
                <a:pos x="connsiteX65578" y="connsiteY65578"/>
              </a:cxn>
              <a:cxn ang="0">
                <a:pos x="connsiteX65579" y="connsiteY65579"/>
              </a:cxn>
              <a:cxn ang="0">
                <a:pos x="connsiteX65580" y="connsiteY65580"/>
              </a:cxn>
              <a:cxn ang="0">
                <a:pos x="connsiteX65581" y="connsiteY65581"/>
              </a:cxn>
              <a:cxn ang="0">
                <a:pos x="connsiteX65582" y="connsiteY65582"/>
              </a:cxn>
              <a:cxn ang="0">
                <a:pos x="connsiteX65583" y="connsiteY65583"/>
              </a:cxn>
              <a:cxn ang="0">
                <a:pos x="connsiteX65584" y="connsiteY65584"/>
              </a:cxn>
              <a:cxn ang="0">
                <a:pos x="connsiteX65585" y="connsiteY65585"/>
              </a:cxn>
              <a:cxn ang="0">
                <a:pos x="connsiteX65586" y="connsiteY65586"/>
              </a:cxn>
              <a:cxn ang="0">
                <a:pos x="connsiteX65587" y="connsiteY65587"/>
              </a:cxn>
              <a:cxn ang="0">
                <a:pos x="connsiteX65588" y="connsiteY65588"/>
              </a:cxn>
              <a:cxn ang="0">
                <a:pos x="connsiteX65589" y="connsiteY65589"/>
              </a:cxn>
              <a:cxn ang="0">
                <a:pos x="connsiteX65590" y="connsiteY65590"/>
              </a:cxn>
              <a:cxn ang="0">
                <a:pos x="connsiteX65591" y="connsiteY65591"/>
              </a:cxn>
              <a:cxn ang="0">
                <a:pos x="connsiteX65592" y="connsiteY65592"/>
              </a:cxn>
              <a:cxn ang="0">
                <a:pos x="connsiteX65593" y="connsiteY65593"/>
              </a:cxn>
              <a:cxn ang="0">
                <a:pos x="connsiteX65594" y="connsiteY65594"/>
              </a:cxn>
              <a:cxn ang="0">
                <a:pos x="connsiteX65595" y="connsiteY65595"/>
              </a:cxn>
              <a:cxn ang="0">
                <a:pos x="connsiteX65596" y="connsiteY65596"/>
              </a:cxn>
              <a:cxn ang="0">
                <a:pos x="connsiteX65597" y="connsiteY65597"/>
              </a:cxn>
              <a:cxn ang="0">
                <a:pos x="connsiteX65598" y="connsiteY65598"/>
              </a:cxn>
              <a:cxn ang="0">
                <a:pos x="connsiteX65599" y="connsiteY65599"/>
              </a:cxn>
              <a:cxn ang="0">
                <a:pos x="connsiteX65600" y="connsiteY65600"/>
              </a:cxn>
              <a:cxn ang="0">
                <a:pos x="connsiteX65601" y="connsiteY65601"/>
              </a:cxn>
              <a:cxn ang="0">
                <a:pos x="connsiteX65602" y="connsiteY65602"/>
              </a:cxn>
              <a:cxn ang="0">
                <a:pos x="connsiteX65603" y="connsiteY65603"/>
              </a:cxn>
              <a:cxn ang="0">
                <a:pos x="connsiteX65604" y="connsiteY65604"/>
              </a:cxn>
              <a:cxn ang="0">
                <a:pos x="connsiteX65605" y="connsiteY65605"/>
              </a:cxn>
              <a:cxn ang="0">
                <a:pos x="connsiteX65606" y="connsiteY65606"/>
              </a:cxn>
              <a:cxn ang="0">
                <a:pos x="connsiteX65607" y="connsiteY65607"/>
              </a:cxn>
              <a:cxn ang="0">
                <a:pos x="connsiteX65608" y="connsiteY65608"/>
              </a:cxn>
              <a:cxn ang="0">
                <a:pos x="connsiteX65609" y="connsiteY65609"/>
              </a:cxn>
              <a:cxn ang="0">
                <a:pos x="connsiteX65610" y="connsiteY65610"/>
              </a:cxn>
              <a:cxn ang="0">
                <a:pos x="connsiteX65611" y="connsiteY65611"/>
              </a:cxn>
              <a:cxn ang="0">
                <a:pos x="connsiteX65612" y="connsiteY65612"/>
              </a:cxn>
              <a:cxn ang="0">
                <a:pos x="connsiteX65613" y="connsiteY65613"/>
              </a:cxn>
              <a:cxn ang="0">
                <a:pos x="connsiteX65614" y="connsiteY65614"/>
              </a:cxn>
              <a:cxn ang="0">
                <a:pos x="connsiteX65615" y="connsiteY65615"/>
              </a:cxn>
              <a:cxn ang="0">
                <a:pos x="connsiteX65616" y="connsiteY65616"/>
              </a:cxn>
              <a:cxn ang="0">
                <a:pos x="connsiteX65617" y="connsiteY65617"/>
              </a:cxn>
              <a:cxn ang="0">
                <a:pos x="connsiteX65618" y="connsiteY65618"/>
              </a:cxn>
              <a:cxn ang="0">
                <a:pos x="connsiteX65619" y="connsiteY65619"/>
              </a:cxn>
              <a:cxn ang="0">
                <a:pos x="connsiteX65620" y="connsiteY65620"/>
              </a:cxn>
              <a:cxn ang="0">
                <a:pos x="connsiteX65621" y="connsiteY65621"/>
              </a:cxn>
              <a:cxn ang="0">
                <a:pos x="connsiteX65622" y="connsiteY65622"/>
              </a:cxn>
              <a:cxn ang="0">
                <a:pos x="connsiteX65623" y="connsiteY65623"/>
              </a:cxn>
              <a:cxn ang="0">
                <a:pos x="connsiteX65624" y="connsiteY65624"/>
              </a:cxn>
              <a:cxn ang="0">
                <a:pos x="connsiteX65625" y="connsiteY65625"/>
              </a:cxn>
              <a:cxn ang="0">
                <a:pos x="connsiteX65626" y="connsiteY65626"/>
              </a:cxn>
              <a:cxn ang="0">
                <a:pos x="connsiteX65627" y="connsiteY65627"/>
              </a:cxn>
              <a:cxn ang="0">
                <a:pos x="connsiteX65628" y="connsiteY65628"/>
              </a:cxn>
              <a:cxn ang="0">
                <a:pos x="connsiteX65629" y="connsiteY65629"/>
              </a:cxn>
              <a:cxn ang="0">
                <a:pos x="connsiteX65630" y="connsiteY65630"/>
              </a:cxn>
              <a:cxn ang="0">
                <a:pos x="connsiteX65631" y="connsiteY65631"/>
              </a:cxn>
              <a:cxn ang="0">
                <a:pos x="connsiteX65632" y="connsiteY65632"/>
              </a:cxn>
              <a:cxn ang="0">
                <a:pos x="connsiteX65633" y="connsiteY65633"/>
              </a:cxn>
              <a:cxn ang="0">
                <a:pos x="connsiteX65634" y="connsiteY65634"/>
              </a:cxn>
              <a:cxn ang="0">
                <a:pos x="connsiteX65635" y="connsiteY65635"/>
              </a:cxn>
              <a:cxn ang="0">
                <a:pos x="connsiteX65636" y="connsiteY65636"/>
              </a:cxn>
              <a:cxn ang="0">
                <a:pos x="connsiteX65637" y="connsiteY65637"/>
              </a:cxn>
              <a:cxn ang="0">
                <a:pos x="connsiteX65638" y="connsiteY65638"/>
              </a:cxn>
              <a:cxn ang="0">
                <a:pos x="connsiteX65639" y="connsiteY65639"/>
              </a:cxn>
              <a:cxn ang="0">
                <a:pos x="connsiteX65640" y="connsiteY65640"/>
              </a:cxn>
              <a:cxn ang="0">
                <a:pos x="connsiteX65641" y="connsiteY65641"/>
              </a:cxn>
              <a:cxn ang="0">
                <a:pos x="connsiteX65642" y="connsiteY65642"/>
              </a:cxn>
              <a:cxn ang="0">
                <a:pos x="connsiteX65643" y="connsiteY65643"/>
              </a:cxn>
              <a:cxn ang="0">
                <a:pos x="connsiteX65644" y="connsiteY65644"/>
              </a:cxn>
              <a:cxn ang="0">
                <a:pos x="connsiteX65645" y="connsiteY65645"/>
              </a:cxn>
              <a:cxn ang="0">
                <a:pos x="connsiteX65646" y="connsiteY65646"/>
              </a:cxn>
              <a:cxn ang="0">
                <a:pos x="connsiteX65647" y="connsiteY65647"/>
              </a:cxn>
              <a:cxn ang="0">
                <a:pos x="connsiteX65648" y="connsiteY65648"/>
              </a:cxn>
              <a:cxn ang="0">
                <a:pos x="connsiteX65649" y="connsiteY65649"/>
              </a:cxn>
              <a:cxn ang="0">
                <a:pos x="connsiteX65650" y="connsiteY65650"/>
              </a:cxn>
              <a:cxn ang="0">
                <a:pos x="connsiteX65651" y="connsiteY65651"/>
              </a:cxn>
              <a:cxn ang="0">
                <a:pos x="connsiteX65652" y="connsiteY65652"/>
              </a:cxn>
              <a:cxn ang="0">
                <a:pos x="connsiteX65653" y="connsiteY65653"/>
              </a:cxn>
              <a:cxn ang="0">
                <a:pos x="connsiteX65654" y="connsiteY65654"/>
              </a:cxn>
              <a:cxn ang="0">
                <a:pos x="connsiteX65655" y="connsiteY65655"/>
              </a:cxn>
              <a:cxn ang="0">
                <a:pos x="connsiteX65656" y="connsiteY65656"/>
              </a:cxn>
              <a:cxn ang="0">
                <a:pos x="connsiteX65657" y="connsiteY65657"/>
              </a:cxn>
              <a:cxn ang="0">
                <a:pos x="connsiteX65658" y="connsiteY65658"/>
              </a:cxn>
              <a:cxn ang="0">
                <a:pos x="connsiteX65659" y="connsiteY65659"/>
              </a:cxn>
              <a:cxn ang="0">
                <a:pos x="connsiteX65660" y="connsiteY65660"/>
              </a:cxn>
              <a:cxn ang="0">
                <a:pos x="connsiteX65661" y="connsiteY65661"/>
              </a:cxn>
              <a:cxn ang="0">
                <a:pos x="connsiteX65662" y="connsiteY65662"/>
              </a:cxn>
              <a:cxn ang="0">
                <a:pos x="connsiteX65663" y="connsiteY65663"/>
              </a:cxn>
              <a:cxn ang="0">
                <a:pos x="connsiteX65664" y="connsiteY65664"/>
              </a:cxn>
              <a:cxn ang="0">
                <a:pos x="connsiteX65665" y="connsiteY65665"/>
              </a:cxn>
              <a:cxn ang="0">
                <a:pos x="connsiteX65666" y="connsiteY65666"/>
              </a:cxn>
              <a:cxn ang="0">
                <a:pos x="connsiteX65667" y="connsiteY65667"/>
              </a:cxn>
              <a:cxn ang="0">
                <a:pos x="connsiteX65668" y="connsiteY65668"/>
              </a:cxn>
              <a:cxn ang="0">
                <a:pos x="connsiteX65669" y="connsiteY65669"/>
              </a:cxn>
              <a:cxn ang="0">
                <a:pos x="connsiteX65670" y="connsiteY65670"/>
              </a:cxn>
              <a:cxn ang="0">
                <a:pos x="connsiteX65671" y="connsiteY65671"/>
              </a:cxn>
              <a:cxn ang="0">
                <a:pos x="connsiteX65672" y="connsiteY65672"/>
              </a:cxn>
              <a:cxn ang="0">
                <a:pos x="connsiteX65673" y="connsiteY65673"/>
              </a:cxn>
              <a:cxn ang="0">
                <a:pos x="connsiteX65674" y="connsiteY65674"/>
              </a:cxn>
              <a:cxn ang="0">
                <a:pos x="connsiteX65675" y="connsiteY65675"/>
              </a:cxn>
              <a:cxn ang="0">
                <a:pos x="connsiteX65676" y="connsiteY65676"/>
              </a:cxn>
              <a:cxn ang="0">
                <a:pos x="connsiteX65677" y="connsiteY65677"/>
              </a:cxn>
              <a:cxn ang="0">
                <a:pos x="connsiteX65678" y="connsiteY65678"/>
              </a:cxn>
              <a:cxn ang="0">
                <a:pos x="connsiteX65679" y="connsiteY65679"/>
              </a:cxn>
              <a:cxn ang="0">
                <a:pos x="connsiteX65680" y="connsiteY65680"/>
              </a:cxn>
              <a:cxn ang="0">
                <a:pos x="connsiteX65681" y="connsiteY65681"/>
              </a:cxn>
              <a:cxn ang="0">
                <a:pos x="connsiteX65682" y="connsiteY65682"/>
              </a:cxn>
              <a:cxn ang="0">
                <a:pos x="connsiteX65683" y="connsiteY65683"/>
              </a:cxn>
              <a:cxn ang="0">
                <a:pos x="connsiteX65684" y="connsiteY65684"/>
              </a:cxn>
              <a:cxn ang="0">
                <a:pos x="connsiteX65685" y="connsiteY65685"/>
              </a:cxn>
              <a:cxn ang="0">
                <a:pos x="connsiteX65686" y="connsiteY65686"/>
              </a:cxn>
              <a:cxn ang="0">
                <a:pos x="connsiteX65687" y="connsiteY65687"/>
              </a:cxn>
              <a:cxn ang="0">
                <a:pos x="connsiteX65688" y="connsiteY65688"/>
              </a:cxn>
              <a:cxn ang="0">
                <a:pos x="connsiteX65689" y="connsiteY65689"/>
              </a:cxn>
              <a:cxn ang="0">
                <a:pos x="connsiteX65690" y="connsiteY65690"/>
              </a:cxn>
              <a:cxn ang="0">
                <a:pos x="connsiteX65691" y="connsiteY65691"/>
              </a:cxn>
              <a:cxn ang="0">
                <a:pos x="connsiteX65692" y="connsiteY65692"/>
              </a:cxn>
              <a:cxn ang="0">
                <a:pos x="connsiteX65693" y="connsiteY65693"/>
              </a:cxn>
              <a:cxn ang="0">
                <a:pos x="connsiteX65694" y="connsiteY65694"/>
              </a:cxn>
              <a:cxn ang="0">
                <a:pos x="connsiteX65695" y="connsiteY65695"/>
              </a:cxn>
              <a:cxn ang="0">
                <a:pos x="connsiteX65696" y="connsiteY65696"/>
              </a:cxn>
              <a:cxn ang="0">
                <a:pos x="connsiteX65697" y="connsiteY65697"/>
              </a:cxn>
              <a:cxn ang="0">
                <a:pos x="connsiteX65698" y="connsiteY65698"/>
              </a:cxn>
              <a:cxn ang="0">
                <a:pos x="connsiteX65699" y="connsiteY65699"/>
              </a:cxn>
              <a:cxn ang="0">
                <a:pos x="connsiteX65700" y="connsiteY65700"/>
              </a:cxn>
              <a:cxn ang="0">
                <a:pos x="connsiteX65701" y="connsiteY65701"/>
              </a:cxn>
              <a:cxn ang="0">
                <a:pos x="connsiteX65702" y="connsiteY65702"/>
              </a:cxn>
              <a:cxn ang="0">
                <a:pos x="connsiteX65703" y="connsiteY65703"/>
              </a:cxn>
              <a:cxn ang="0">
                <a:pos x="connsiteX65704" y="connsiteY65704"/>
              </a:cxn>
              <a:cxn ang="0">
                <a:pos x="connsiteX65705" y="connsiteY65705"/>
              </a:cxn>
              <a:cxn ang="0">
                <a:pos x="connsiteX65706" y="connsiteY65706"/>
              </a:cxn>
              <a:cxn ang="0">
                <a:pos x="connsiteX65707" y="connsiteY65707"/>
              </a:cxn>
              <a:cxn ang="0">
                <a:pos x="connsiteX65708" y="connsiteY65708"/>
              </a:cxn>
              <a:cxn ang="0">
                <a:pos x="connsiteX65709" y="connsiteY65709"/>
              </a:cxn>
              <a:cxn ang="0">
                <a:pos x="connsiteX65710" y="connsiteY65710"/>
              </a:cxn>
              <a:cxn ang="0">
                <a:pos x="connsiteX65711" y="connsiteY65711"/>
              </a:cxn>
              <a:cxn ang="0">
                <a:pos x="connsiteX65712" y="connsiteY65712"/>
              </a:cxn>
              <a:cxn ang="0">
                <a:pos x="connsiteX65713" y="connsiteY65713"/>
              </a:cxn>
              <a:cxn ang="0">
                <a:pos x="connsiteX65714" y="connsiteY65714"/>
              </a:cxn>
              <a:cxn ang="0">
                <a:pos x="connsiteX65715" y="connsiteY65715"/>
              </a:cxn>
              <a:cxn ang="0">
                <a:pos x="connsiteX65716" y="connsiteY65716"/>
              </a:cxn>
              <a:cxn ang="0">
                <a:pos x="connsiteX65717" y="connsiteY65717"/>
              </a:cxn>
              <a:cxn ang="0">
                <a:pos x="connsiteX65718" y="connsiteY65718"/>
              </a:cxn>
              <a:cxn ang="0">
                <a:pos x="connsiteX65719" y="connsiteY65719"/>
              </a:cxn>
              <a:cxn ang="0">
                <a:pos x="connsiteX65720" y="connsiteY65720"/>
              </a:cxn>
              <a:cxn ang="0">
                <a:pos x="connsiteX65721" y="connsiteY65721"/>
              </a:cxn>
              <a:cxn ang="0">
                <a:pos x="connsiteX65722" y="connsiteY65722"/>
              </a:cxn>
              <a:cxn ang="0">
                <a:pos x="connsiteX65723" y="connsiteY65723"/>
              </a:cxn>
              <a:cxn ang="0">
                <a:pos x="connsiteX65724" y="connsiteY65724"/>
              </a:cxn>
              <a:cxn ang="0">
                <a:pos x="connsiteX65725" y="connsiteY65725"/>
              </a:cxn>
              <a:cxn ang="0">
                <a:pos x="connsiteX65726" y="connsiteY65726"/>
              </a:cxn>
              <a:cxn ang="0">
                <a:pos x="connsiteX65727" y="connsiteY65727"/>
              </a:cxn>
              <a:cxn ang="0">
                <a:pos x="connsiteX65728" y="connsiteY65728"/>
              </a:cxn>
              <a:cxn ang="0">
                <a:pos x="connsiteX65729" y="connsiteY65729"/>
              </a:cxn>
              <a:cxn ang="0">
                <a:pos x="connsiteX65730" y="connsiteY65730"/>
              </a:cxn>
              <a:cxn ang="0">
                <a:pos x="connsiteX65731" y="connsiteY65731"/>
              </a:cxn>
              <a:cxn ang="0">
                <a:pos x="connsiteX65732" y="connsiteY65732"/>
              </a:cxn>
              <a:cxn ang="0">
                <a:pos x="connsiteX65733" y="connsiteY65733"/>
              </a:cxn>
              <a:cxn ang="0">
                <a:pos x="connsiteX65734" y="connsiteY65734"/>
              </a:cxn>
              <a:cxn ang="0">
                <a:pos x="connsiteX65735" y="connsiteY65735"/>
              </a:cxn>
              <a:cxn ang="0">
                <a:pos x="connsiteX65736" y="connsiteY65736"/>
              </a:cxn>
              <a:cxn ang="0">
                <a:pos x="connsiteX65737" y="connsiteY65737"/>
              </a:cxn>
              <a:cxn ang="0">
                <a:pos x="connsiteX65738" y="connsiteY65738"/>
              </a:cxn>
              <a:cxn ang="0">
                <a:pos x="connsiteX65739" y="connsiteY65739"/>
              </a:cxn>
              <a:cxn ang="0">
                <a:pos x="connsiteX65740" y="connsiteY65740"/>
              </a:cxn>
              <a:cxn ang="0">
                <a:pos x="connsiteX65741" y="connsiteY65741"/>
              </a:cxn>
              <a:cxn ang="0">
                <a:pos x="connsiteX65742" y="connsiteY65742"/>
              </a:cxn>
              <a:cxn ang="0">
                <a:pos x="connsiteX65743" y="connsiteY65743"/>
              </a:cxn>
              <a:cxn ang="0">
                <a:pos x="connsiteX65744" y="connsiteY65744"/>
              </a:cxn>
              <a:cxn ang="0">
                <a:pos x="connsiteX65745" y="connsiteY65745"/>
              </a:cxn>
              <a:cxn ang="0">
                <a:pos x="connsiteX65746" y="connsiteY65746"/>
              </a:cxn>
              <a:cxn ang="0">
                <a:pos x="connsiteX65747" y="connsiteY65747"/>
              </a:cxn>
              <a:cxn ang="0">
                <a:pos x="connsiteX65748" y="connsiteY65748"/>
              </a:cxn>
              <a:cxn ang="0">
                <a:pos x="connsiteX65749" y="connsiteY65749"/>
              </a:cxn>
              <a:cxn ang="0">
                <a:pos x="connsiteX65750" y="connsiteY65750"/>
              </a:cxn>
              <a:cxn ang="0">
                <a:pos x="connsiteX65751" y="connsiteY65751"/>
              </a:cxn>
              <a:cxn ang="0">
                <a:pos x="connsiteX65752" y="connsiteY65752"/>
              </a:cxn>
              <a:cxn ang="0">
                <a:pos x="connsiteX65753" y="connsiteY65753"/>
              </a:cxn>
              <a:cxn ang="0">
                <a:pos x="connsiteX65754" y="connsiteY65754"/>
              </a:cxn>
              <a:cxn ang="0">
                <a:pos x="connsiteX65755" y="connsiteY65755"/>
              </a:cxn>
              <a:cxn ang="0">
                <a:pos x="connsiteX65756" y="connsiteY65756"/>
              </a:cxn>
              <a:cxn ang="0">
                <a:pos x="connsiteX65757" y="connsiteY65757"/>
              </a:cxn>
              <a:cxn ang="0">
                <a:pos x="connsiteX65758" y="connsiteY65758"/>
              </a:cxn>
              <a:cxn ang="0">
                <a:pos x="connsiteX65759" y="connsiteY65759"/>
              </a:cxn>
              <a:cxn ang="0">
                <a:pos x="connsiteX65760" y="connsiteY65760"/>
              </a:cxn>
              <a:cxn ang="0">
                <a:pos x="connsiteX65761" y="connsiteY65761"/>
              </a:cxn>
              <a:cxn ang="0">
                <a:pos x="connsiteX65762" y="connsiteY65762"/>
              </a:cxn>
              <a:cxn ang="0">
                <a:pos x="connsiteX65763" y="connsiteY65763"/>
              </a:cxn>
              <a:cxn ang="0">
                <a:pos x="connsiteX65764" y="connsiteY65764"/>
              </a:cxn>
              <a:cxn ang="0">
                <a:pos x="connsiteX65765" y="connsiteY65765"/>
              </a:cxn>
              <a:cxn ang="0">
                <a:pos x="connsiteX65766" y="connsiteY65766"/>
              </a:cxn>
              <a:cxn ang="0">
                <a:pos x="connsiteX65767" y="connsiteY65767"/>
              </a:cxn>
              <a:cxn ang="0">
                <a:pos x="connsiteX65768" y="connsiteY65768"/>
              </a:cxn>
              <a:cxn ang="0">
                <a:pos x="connsiteX65769" y="connsiteY65769"/>
              </a:cxn>
              <a:cxn ang="0">
                <a:pos x="connsiteX65770" y="connsiteY65770"/>
              </a:cxn>
              <a:cxn ang="0">
                <a:pos x="connsiteX65771" y="connsiteY65771"/>
              </a:cxn>
              <a:cxn ang="0">
                <a:pos x="connsiteX65772" y="connsiteY65772"/>
              </a:cxn>
              <a:cxn ang="0">
                <a:pos x="connsiteX65773" y="connsiteY65773"/>
              </a:cxn>
              <a:cxn ang="0">
                <a:pos x="connsiteX65774" y="connsiteY65774"/>
              </a:cxn>
              <a:cxn ang="0">
                <a:pos x="connsiteX65775" y="connsiteY65775"/>
              </a:cxn>
              <a:cxn ang="0">
                <a:pos x="connsiteX65776" y="connsiteY65776"/>
              </a:cxn>
              <a:cxn ang="0">
                <a:pos x="connsiteX65777" y="connsiteY65777"/>
              </a:cxn>
              <a:cxn ang="0">
                <a:pos x="connsiteX65778" y="connsiteY65778"/>
              </a:cxn>
              <a:cxn ang="0">
                <a:pos x="connsiteX65779" y="connsiteY65779"/>
              </a:cxn>
              <a:cxn ang="0">
                <a:pos x="connsiteX65780" y="connsiteY65780"/>
              </a:cxn>
              <a:cxn ang="0">
                <a:pos x="connsiteX65781" y="connsiteY65781"/>
              </a:cxn>
              <a:cxn ang="0">
                <a:pos x="connsiteX65782" y="connsiteY65782"/>
              </a:cxn>
              <a:cxn ang="0">
                <a:pos x="connsiteX65783" y="connsiteY65783"/>
              </a:cxn>
              <a:cxn ang="0">
                <a:pos x="connsiteX65784" y="connsiteY65784"/>
              </a:cxn>
              <a:cxn ang="0">
                <a:pos x="connsiteX65785" y="connsiteY65785"/>
              </a:cxn>
              <a:cxn ang="0">
                <a:pos x="connsiteX65786" y="connsiteY65786"/>
              </a:cxn>
              <a:cxn ang="0">
                <a:pos x="connsiteX65787" y="connsiteY65787"/>
              </a:cxn>
              <a:cxn ang="0">
                <a:pos x="connsiteX65788" y="connsiteY65788"/>
              </a:cxn>
              <a:cxn ang="0">
                <a:pos x="connsiteX65789" y="connsiteY65789"/>
              </a:cxn>
              <a:cxn ang="0">
                <a:pos x="connsiteX65790" y="connsiteY65790"/>
              </a:cxn>
              <a:cxn ang="0">
                <a:pos x="connsiteX65791" y="connsiteY65791"/>
              </a:cxn>
              <a:cxn ang="0">
                <a:pos x="connsiteX65792" y="connsiteY65792"/>
              </a:cxn>
              <a:cxn ang="0">
                <a:pos x="connsiteX65793" y="connsiteY65793"/>
              </a:cxn>
              <a:cxn ang="0">
                <a:pos x="connsiteX65794" y="connsiteY65794"/>
              </a:cxn>
              <a:cxn ang="0">
                <a:pos x="connsiteX65795" y="connsiteY65795"/>
              </a:cxn>
              <a:cxn ang="0">
                <a:pos x="connsiteX65796" y="connsiteY65796"/>
              </a:cxn>
              <a:cxn ang="0">
                <a:pos x="connsiteX65797" y="connsiteY65797"/>
              </a:cxn>
              <a:cxn ang="0">
                <a:pos x="connsiteX65798" y="connsiteY65798"/>
              </a:cxn>
              <a:cxn ang="0">
                <a:pos x="connsiteX65799" y="connsiteY65799"/>
              </a:cxn>
              <a:cxn ang="0">
                <a:pos x="connsiteX65800" y="connsiteY65800"/>
              </a:cxn>
              <a:cxn ang="0">
                <a:pos x="connsiteX65801" y="connsiteY65801"/>
              </a:cxn>
              <a:cxn ang="0">
                <a:pos x="connsiteX65802" y="connsiteY65802"/>
              </a:cxn>
              <a:cxn ang="0">
                <a:pos x="connsiteX65803" y="connsiteY65803"/>
              </a:cxn>
              <a:cxn ang="0">
                <a:pos x="connsiteX65804" y="connsiteY65804"/>
              </a:cxn>
              <a:cxn ang="0">
                <a:pos x="connsiteX65805" y="connsiteY65805"/>
              </a:cxn>
              <a:cxn ang="0">
                <a:pos x="connsiteX65806" y="connsiteY65806"/>
              </a:cxn>
              <a:cxn ang="0">
                <a:pos x="connsiteX65807" y="connsiteY65807"/>
              </a:cxn>
              <a:cxn ang="0">
                <a:pos x="connsiteX65808" y="connsiteY65808"/>
              </a:cxn>
              <a:cxn ang="0">
                <a:pos x="connsiteX65809" y="connsiteY65809"/>
              </a:cxn>
              <a:cxn ang="0">
                <a:pos x="connsiteX65810" y="connsiteY65810"/>
              </a:cxn>
              <a:cxn ang="0">
                <a:pos x="connsiteX65811" y="connsiteY65811"/>
              </a:cxn>
              <a:cxn ang="0">
                <a:pos x="connsiteX65812" y="connsiteY65812"/>
              </a:cxn>
              <a:cxn ang="0">
                <a:pos x="connsiteX65813" y="connsiteY65813"/>
              </a:cxn>
              <a:cxn ang="0">
                <a:pos x="connsiteX65814" y="connsiteY65814"/>
              </a:cxn>
              <a:cxn ang="0">
                <a:pos x="connsiteX65815" y="connsiteY65815"/>
              </a:cxn>
              <a:cxn ang="0">
                <a:pos x="connsiteX65816" y="connsiteY65816"/>
              </a:cxn>
              <a:cxn ang="0">
                <a:pos x="connsiteX65817" y="connsiteY65817"/>
              </a:cxn>
              <a:cxn ang="0">
                <a:pos x="connsiteX65818" y="connsiteY65818"/>
              </a:cxn>
              <a:cxn ang="0">
                <a:pos x="connsiteX65819" y="connsiteY65819"/>
              </a:cxn>
              <a:cxn ang="0">
                <a:pos x="connsiteX65820" y="connsiteY65820"/>
              </a:cxn>
              <a:cxn ang="0">
                <a:pos x="connsiteX65821" y="connsiteY65821"/>
              </a:cxn>
              <a:cxn ang="0">
                <a:pos x="connsiteX65822" y="connsiteY65822"/>
              </a:cxn>
              <a:cxn ang="0">
                <a:pos x="connsiteX65823" y="connsiteY65823"/>
              </a:cxn>
              <a:cxn ang="0">
                <a:pos x="connsiteX65824" y="connsiteY65824"/>
              </a:cxn>
              <a:cxn ang="0">
                <a:pos x="connsiteX65825" y="connsiteY65825"/>
              </a:cxn>
              <a:cxn ang="0">
                <a:pos x="connsiteX65826" y="connsiteY65826"/>
              </a:cxn>
              <a:cxn ang="0">
                <a:pos x="connsiteX65827" y="connsiteY65827"/>
              </a:cxn>
              <a:cxn ang="0">
                <a:pos x="connsiteX65828" y="connsiteY65828"/>
              </a:cxn>
              <a:cxn ang="0">
                <a:pos x="connsiteX65829" y="connsiteY65829"/>
              </a:cxn>
              <a:cxn ang="0">
                <a:pos x="connsiteX65830" y="connsiteY65830"/>
              </a:cxn>
              <a:cxn ang="0">
                <a:pos x="connsiteX65831" y="connsiteY65831"/>
              </a:cxn>
              <a:cxn ang="0">
                <a:pos x="connsiteX65832" y="connsiteY65832"/>
              </a:cxn>
              <a:cxn ang="0">
                <a:pos x="connsiteX65833" y="connsiteY65833"/>
              </a:cxn>
              <a:cxn ang="0">
                <a:pos x="connsiteX65834" y="connsiteY65834"/>
              </a:cxn>
              <a:cxn ang="0">
                <a:pos x="connsiteX65835" y="connsiteY65835"/>
              </a:cxn>
              <a:cxn ang="0">
                <a:pos x="connsiteX65836" y="connsiteY65836"/>
              </a:cxn>
              <a:cxn ang="0">
                <a:pos x="connsiteX65837" y="connsiteY65837"/>
              </a:cxn>
              <a:cxn ang="0">
                <a:pos x="connsiteX65838" y="connsiteY65838"/>
              </a:cxn>
              <a:cxn ang="0">
                <a:pos x="connsiteX65839" y="connsiteY65839"/>
              </a:cxn>
              <a:cxn ang="0">
                <a:pos x="connsiteX65840" y="connsiteY65840"/>
              </a:cxn>
              <a:cxn ang="0">
                <a:pos x="connsiteX65841" y="connsiteY65841"/>
              </a:cxn>
              <a:cxn ang="0">
                <a:pos x="connsiteX65842" y="connsiteY65842"/>
              </a:cxn>
              <a:cxn ang="0">
                <a:pos x="connsiteX65843" y="connsiteY65843"/>
              </a:cxn>
              <a:cxn ang="0">
                <a:pos x="connsiteX65844" y="connsiteY65844"/>
              </a:cxn>
              <a:cxn ang="0">
                <a:pos x="connsiteX65845" y="connsiteY65845"/>
              </a:cxn>
              <a:cxn ang="0">
                <a:pos x="connsiteX65846" y="connsiteY65846"/>
              </a:cxn>
              <a:cxn ang="0">
                <a:pos x="connsiteX65847" y="connsiteY65847"/>
              </a:cxn>
              <a:cxn ang="0">
                <a:pos x="connsiteX65848" y="connsiteY65848"/>
              </a:cxn>
              <a:cxn ang="0">
                <a:pos x="connsiteX65849" y="connsiteY65849"/>
              </a:cxn>
              <a:cxn ang="0">
                <a:pos x="connsiteX65850" y="connsiteY65850"/>
              </a:cxn>
              <a:cxn ang="0">
                <a:pos x="connsiteX65851" y="connsiteY65851"/>
              </a:cxn>
              <a:cxn ang="0">
                <a:pos x="connsiteX65852" y="connsiteY65852"/>
              </a:cxn>
              <a:cxn ang="0">
                <a:pos x="connsiteX65853" y="connsiteY65853"/>
              </a:cxn>
              <a:cxn ang="0">
                <a:pos x="connsiteX65854" y="connsiteY65854"/>
              </a:cxn>
              <a:cxn ang="0">
                <a:pos x="connsiteX65855" y="connsiteY65855"/>
              </a:cxn>
              <a:cxn ang="0">
                <a:pos x="connsiteX65856" y="connsiteY65856"/>
              </a:cxn>
              <a:cxn ang="0">
                <a:pos x="connsiteX65857" y="connsiteY65857"/>
              </a:cxn>
              <a:cxn ang="0">
                <a:pos x="connsiteX65858" y="connsiteY65858"/>
              </a:cxn>
              <a:cxn ang="0">
                <a:pos x="connsiteX65859" y="connsiteY65859"/>
              </a:cxn>
              <a:cxn ang="0">
                <a:pos x="connsiteX65860" y="connsiteY65860"/>
              </a:cxn>
              <a:cxn ang="0">
                <a:pos x="connsiteX65861" y="connsiteY65861"/>
              </a:cxn>
              <a:cxn ang="0">
                <a:pos x="connsiteX65862" y="connsiteY65862"/>
              </a:cxn>
              <a:cxn ang="0">
                <a:pos x="connsiteX65863" y="connsiteY65863"/>
              </a:cxn>
              <a:cxn ang="0">
                <a:pos x="connsiteX65864" y="connsiteY65864"/>
              </a:cxn>
              <a:cxn ang="0">
                <a:pos x="connsiteX65865" y="connsiteY65865"/>
              </a:cxn>
              <a:cxn ang="0">
                <a:pos x="connsiteX65866" y="connsiteY65866"/>
              </a:cxn>
              <a:cxn ang="0">
                <a:pos x="connsiteX65867" y="connsiteY65867"/>
              </a:cxn>
              <a:cxn ang="0">
                <a:pos x="connsiteX65868" y="connsiteY65868"/>
              </a:cxn>
              <a:cxn ang="0">
                <a:pos x="connsiteX65869" y="connsiteY65869"/>
              </a:cxn>
              <a:cxn ang="0">
                <a:pos x="connsiteX65870" y="connsiteY65870"/>
              </a:cxn>
              <a:cxn ang="0">
                <a:pos x="connsiteX65871" y="connsiteY65871"/>
              </a:cxn>
              <a:cxn ang="0">
                <a:pos x="connsiteX65872" y="connsiteY65872"/>
              </a:cxn>
              <a:cxn ang="0">
                <a:pos x="connsiteX65873" y="connsiteY65873"/>
              </a:cxn>
              <a:cxn ang="0">
                <a:pos x="connsiteX65874" y="connsiteY65874"/>
              </a:cxn>
              <a:cxn ang="0">
                <a:pos x="connsiteX65875" y="connsiteY65875"/>
              </a:cxn>
              <a:cxn ang="0">
                <a:pos x="connsiteX65876" y="connsiteY65876"/>
              </a:cxn>
              <a:cxn ang="0">
                <a:pos x="connsiteX65877" y="connsiteY65877"/>
              </a:cxn>
              <a:cxn ang="0">
                <a:pos x="connsiteX65878" y="connsiteY65878"/>
              </a:cxn>
              <a:cxn ang="0">
                <a:pos x="connsiteX65879" y="connsiteY65879"/>
              </a:cxn>
              <a:cxn ang="0">
                <a:pos x="connsiteX65880" y="connsiteY65880"/>
              </a:cxn>
              <a:cxn ang="0">
                <a:pos x="connsiteX65881" y="connsiteY65881"/>
              </a:cxn>
              <a:cxn ang="0">
                <a:pos x="connsiteX65882" y="connsiteY65882"/>
              </a:cxn>
              <a:cxn ang="0">
                <a:pos x="connsiteX65883" y="connsiteY65883"/>
              </a:cxn>
              <a:cxn ang="0">
                <a:pos x="connsiteX65884" y="connsiteY65884"/>
              </a:cxn>
              <a:cxn ang="0">
                <a:pos x="connsiteX65885" y="connsiteY65885"/>
              </a:cxn>
              <a:cxn ang="0">
                <a:pos x="connsiteX65886" y="connsiteY65886"/>
              </a:cxn>
              <a:cxn ang="0">
                <a:pos x="connsiteX65887" y="connsiteY65887"/>
              </a:cxn>
              <a:cxn ang="0">
                <a:pos x="connsiteX65888" y="connsiteY65888"/>
              </a:cxn>
              <a:cxn ang="0">
                <a:pos x="connsiteX65889" y="connsiteY65889"/>
              </a:cxn>
              <a:cxn ang="0">
                <a:pos x="connsiteX65890" y="connsiteY65890"/>
              </a:cxn>
              <a:cxn ang="0">
                <a:pos x="connsiteX65891" y="connsiteY65891"/>
              </a:cxn>
              <a:cxn ang="0">
                <a:pos x="connsiteX65892" y="connsiteY65892"/>
              </a:cxn>
              <a:cxn ang="0">
                <a:pos x="connsiteX65893" y="connsiteY65893"/>
              </a:cxn>
              <a:cxn ang="0">
                <a:pos x="connsiteX65894" y="connsiteY65894"/>
              </a:cxn>
              <a:cxn ang="0">
                <a:pos x="connsiteX65895" y="connsiteY65895"/>
              </a:cxn>
              <a:cxn ang="0">
                <a:pos x="connsiteX65896" y="connsiteY65896"/>
              </a:cxn>
              <a:cxn ang="0">
                <a:pos x="connsiteX65897" y="connsiteY65897"/>
              </a:cxn>
              <a:cxn ang="0">
                <a:pos x="connsiteX65898" y="connsiteY65898"/>
              </a:cxn>
              <a:cxn ang="0">
                <a:pos x="connsiteX65899" y="connsiteY65899"/>
              </a:cxn>
              <a:cxn ang="0">
                <a:pos x="connsiteX65900" y="connsiteY65900"/>
              </a:cxn>
              <a:cxn ang="0">
                <a:pos x="connsiteX65901" y="connsiteY65901"/>
              </a:cxn>
              <a:cxn ang="0">
                <a:pos x="connsiteX65902" y="connsiteY65902"/>
              </a:cxn>
              <a:cxn ang="0">
                <a:pos x="connsiteX65903" y="connsiteY65903"/>
              </a:cxn>
              <a:cxn ang="0">
                <a:pos x="connsiteX65904" y="connsiteY65904"/>
              </a:cxn>
              <a:cxn ang="0">
                <a:pos x="connsiteX65905" y="connsiteY65905"/>
              </a:cxn>
              <a:cxn ang="0">
                <a:pos x="connsiteX65906" y="connsiteY65906"/>
              </a:cxn>
              <a:cxn ang="0">
                <a:pos x="connsiteX65907" y="connsiteY65907"/>
              </a:cxn>
              <a:cxn ang="0">
                <a:pos x="connsiteX65908" y="connsiteY65908"/>
              </a:cxn>
              <a:cxn ang="0">
                <a:pos x="connsiteX65909" y="connsiteY65909"/>
              </a:cxn>
              <a:cxn ang="0">
                <a:pos x="connsiteX65910" y="connsiteY65910"/>
              </a:cxn>
              <a:cxn ang="0">
                <a:pos x="connsiteX65911" y="connsiteY65911"/>
              </a:cxn>
              <a:cxn ang="0">
                <a:pos x="connsiteX65912" y="connsiteY65912"/>
              </a:cxn>
              <a:cxn ang="0">
                <a:pos x="connsiteX65913" y="connsiteY65913"/>
              </a:cxn>
              <a:cxn ang="0">
                <a:pos x="connsiteX65914" y="connsiteY65914"/>
              </a:cxn>
              <a:cxn ang="0">
                <a:pos x="connsiteX65915" y="connsiteY65915"/>
              </a:cxn>
              <a:cxn ang="0">
                <a:pos x="connsiteX65916" y="connsiteY65916"/>
              </a:cxn>
              <a:cxn ang="0">
                <a:pos x="connsiteX65917" y="connsiteY65917"/>
              </a:cxn>
              <a:cxn ang="0">
                <a:pos x="connsiteX65918" y="connsiteY65918"/>
              </a:cxn>
              <a:cxn ang="0">
                <a:pos x="connsiteX65919" y="connsiteY65919"/>
              </a:cxn>
              <a:cxn ang="0">
                <a:pos x="connsiteX65920" y="connsiteY65920"/>
              </a:cxn>
              <a:cxn ang="0">
                <a:pos x="connsiteX65921" y="connsiteY65921"/>
              </a:cxn>
              <a:cxn ang="0">
                <a:pos x="connsiteX65922" y="connsiteY65922"/>
              </a:cxn>
              <a:cxn ang="0">
                <a:pos x="connsiteX65923" y="connsiteY65923"/>
              </a:cxn>
              <a:cxn ang="0">
                <a:pos x="connsiteX65924" y="connsiteY65924"/>
              </a:cxn>
              <a:cxn ang="0">
                <a:pos x="connsiteX65925" y="connsiteY65925"/>
              </a:cxn>
              <a:cxn ang="0">
                <a:pos x="connsiteX65926" y="connsiteY65926"/>
              </a:cxn>
              <a:cxn ang="0">
                <a:pos x="connsiteX65927" y="connsiteY65927"/>
              </a:cxn>
              <a:cxn ang="0">
                <a:pos x="connsiteX65928" y="connsiteY65928"/>
              </a:cxn>
              <a:cxn ang="0">
                <a:pos x="connsiteX65929" y="connsiteY65929"/>
              </a:cxn>
              <a:cxn ang="0">
                <a:pos x="connsiteX65930" y="connsiteY65930"/>
              </a:cxn>
              <a:cxn ang="0">
                <a:pos x="connsiteX65931" y="connsiteY65931"/>
              </a:cxn>
              <a:cxn ang="0">
                <a:pos x="connsiteX65932" y="connsiteY65932"/>
              </a:cxn>
              <a:cxn ang="0">
                <a:pos x="connsiteX65933" y="connsiteY65933"/>
              </a:cxn>
              <a:cxn ang="0">
                <a:pos x="connsiteX65934" y="connsiteY65934"/>
              </a:cxn>
              <a:cxn ang="0">
                <a:pos x="connsiteX65935" y="connsiteY65935"/>
              </a:cxn>
              <a:cxn ang="0">
                <a:pos x="connsiteX65936" y="connsiteY65936"/>
              </a:cxn>
              <a:cxn ang="0">
                <a:pos x="connsiteX65937" y="connsiteY65937"/>
              </a:cxn>
              <a:cxn ang="0">
                <a:pos x="connsiteX65938" y="connsiteY65938"/>
              </a:cxn>
              <a:cxn ang="0">
                <a:pos x="connsiteX65939" y="connsiteY65939"/>
              </a:cxn>
              <a:cxn ang="0">
                <a:pos x="connsiteX65940" y="connsiteY65940"/>
              </a:cxn>
              <a:cxn ang="0">
                <a:pos x="connsiteX65941" y="connsiteY65941"/>
              </a:cxn>
              <a:cxn ang="0">
                <a:pos x="connsiteX65942" y="connsiteY65942"/>
              </a:cxn>
              <a:cxn ang="0">
                <a:pos x="connsiteX65943" y="connsiteY65943"/>
              </a:cxn>
              <a:cxn ang="0">
                <a:pos x="connsiteX65944" y="connsiteY65944"/>
              </a:cxn>
              <a:cxn ang="0">
                <a:pos x="connsiteX65945" y="connsiteY65945"/>
              </a:cxn>
              <a:cxn ang="0">
                <a:pos x="connsiteX65946" y="connsiteY65946"/>
              </a:cxn>
              <a:cxn ang="0">
                <a:pos x="connsiteX65947" y="connsiteY65947"/>
              </a:cxn>
              <a:cxn ang="0">
                <a:pos x="connsiteX65948" y="connsiteY65948"/>
              </a:cxn>
              <a:cxn ang="0">
                <a:pos x="connsiteX65949" y="connsiteY65949"/>
              </a:cxn>
              <a:cxn ang="0">
                <a:pos x="connsiteX65950" y="connsiteY65950"/>
              </a:cxn>
              <a:cxn ang="0">
                <a:pos x="connsiteX65951" y="connsiteY65951"/>
              </a:cxn>
              <a:cxn ang="0">
                <a:pos x="connsiteX65952" y="connsiteY65952"/>
              </a:cxn>
              <a:cxn ang="0">
                <a:pos x="connsiteX65953" y="connsiteY65953"/>
              </a:cxn>
              <a:cxn ang="0">
                <a:pos x="connsiteX65954" y="connsiteY65954"/>
              </a:cxn>
              <a:cxn ang="0">
                <a:pos x="connsiteX65955" y="connsiteY65955"/>
              </a:cxn>
              <a:cxn ang="0">
                <a:pos x="connsiteX65956" y="connsiteY65956"/>
              </a:cxn>
              <a:cxn ang="0">
                <a:pos x="connsiteX65957" y="connsiteY65957"/>
              </a:cxn>
              <a:cxn ang="0">
                <a:pos x="connsiteX65958" y="connsiteY65958"/>
              </a:cxn>
              <a:cxn ang="0">
                <a:pos x="connsiteX65959" y="connsiteY65959"/>
              </a:cxn>
              <a:cxn ang="0">
                <a:pos x="connsiteX65960" y="connsiteY65960"/>
              </a:cxn>
              <a:cxn ang="0">
                <a:pos x="connsiteX65961" y="connsiteY65961"/>
              </a:cxn>
              <a:cxn ang="0">
                <a:pos x="connsiteX65962" y="connsiteY65962"/>
              </a:cxn>
              <a:cxn ang="0">
                <a:pos x="connsiteX65963" y="connsiteY65963"/>
              </a:cxn>
              <a:cxn ang="0">
                <a:pos x="connsiteX65964" y="connsiteY65964"/>
              </a:cxn>
              <a:cxn ang="0">
                <a:pos x="connsiteX65965" y="connsiteY65965"/>
              </a:cxn>
              <a:cxn ang="0">
                <a:pos x="connsiteX65966" y="connsiteY65966"/>
              </a:cxn>
              <a:cxn ang="0">
                <a:pos x="connsiteX65967" y="connsiteY65967"/>
              </a:cxn>
              <a:cxn ang="0">
                <a:pos x="connsiteX65968" y="connsiteY65968"/>
              </a:cxn>
              <a:cxn ang="0">
                <a:pos x="connsiteX65969" y="connsiteY65969"/>
              </a:cxn>
              <a:cxn ang="0">
                <a:pos x="connsiteX65970" y="connsiteY65970"/>
              </a:cxn>
              <a:cxn ang="0">
                <a:pos x="connsiteX65971" y="connsiteY65971"/>
              </a:cxn>
              <a:cxn ang="0">
                <a:pos x="connsiteX65972" y="connsiteY65972"/>
              </a:cxn>
              <a:cxn ang="0">
                <a:pos x="connsiteX65973" y="connsiteY65973"/>
              </a:cxn>
              <a:cxn ang="0">
                <a:pos x="connsiteX65974" y="connsiteY65974"/>
              </a:cxn>
              <a:cxn ang="0">
                <a:pos x="connsiteX65975" y="connsiteY65975"/>
              </a:cxn>
              <a:cxn ang="0">
                <a:pos x="connsiteX65976" y="connsiteY65976"/>
              </a:cxn>
              <a:cxn ang="0">
                <a:pos x="connsiteX65977" y="connsiteY65977"/>
              </a:cxn>
              <a:cxn ang="0">
                <a:pos x="connsiteX65978" y="connsiteY65978"/>
              </a:cxn>
              <a:cxn ang="0">
                <a:pos x="connsiteX65979" y="connsiteY65979"/>
              </a:cxn>
              <a:cxn ang="0">
                <a:pos x="connsiteX65980" y="connsiteY65980"/>
              </a:cxn>
              <a:cxn ang="0">
                <a:pos x="connsiteX65981" y="connsiteY65981"/>
              </a:cxn>
              <a:cxn ang="0">
                <a:pos x="connsiteX65982" y="connsiteY65982"/>
              </a:cxn>
              <a:cxn ang="0">
                <a:pos x="connsiteX65983" y="connsiteY65983"/>
              </a:cxn>
              <a:cxn ang="0">
                <a:pos x="connsiteX65984" y="connsiteY65984"/>
              </a:cxn>
              <a:cxn ang="0">
                <a:pos x="connsiteX65985" y="connsiteY65985"/>
              </a:cxn>
              <a:cxn ang="0">
                <a:pos x="connsiteX65986" y="connsiteY65986"/>
              </a:cxn>
              <a:cxn ang="0">
                <a:pos x="connsiteX65987" y="connsiteY65987"/>
              </a:cxn>
              <a:cxn ang="0">
                <a:pos x="connsiteX65988" y="connsiteY65988"/>
              </a:cxn>
              <a:cxn ang="0">
                <a:pos x="connsiteX65989" y="connsiteY65989"/>
              </a:cxn>
              <a:cxn ang="0">
                <a:pos x="connsiteX65990" y="connsiteY65990"/>
              </a:cxn>
              <a:cxn ang="0">
                <a:pos x="connsiteX65991" y="connsiteY65991"/>
              </a:cxn>
              <a:cxn ang="0">
                <a:pos x="connsiteX65992" y="connsiteY65992"/>
              </a:cxn>
              <a:cxn ang="0">
                <a:pos x="connsiteX65993" y="connsiteY65993"/>
              </a:cxn>
              <a:cxn ang="0">
                <a:pos x="connsiteX65994" y="connsiteY65994"/>
              </a:cxn>
              <a:cxn ang="0">
                <a:pos x="connsiteX65995" y="connsiteY65995"/>
              </a:cxn>
              <a:cxn ang="0">
                <a:pos x="connsiteX65996" y="connsiteY65996"/>
              </a:cxn>
              <a:cxn ang="0">
                <a:pos x="connsiteX65997" y="connsiteY65997"/>
              </a:cxn>
              <a:cxn ang="0">
                <a:pos x="connsiteX65998" y="connsiteY65998"/>
              </a:cxn>
              <a:cxn ang="0">
                <a:pos x="connsiteX65999" y="connsiteY65999"/>
              </a:cxn>
              <a:cxn ang="0">
                <a:pos x="connsiteX66000" y="connsiteY66000"/>
              </a:cxn>
              <a:cxn ang="0">
                <a:pos x="connsiteX66001" y="connsiteY66001"/>
              </a:cxn>
              <a:cxn ang="0">
                <a:pos x="connsiteX66002" y="connsiteY66002"/>
              </a:cxn>
              <a:cxn ang="0">
                <a:pos x="connsiteX66003" y="connsiteY66003"/>
              </a:cxn>
              <a:cxn ang="0">
                <a:pos x="connsiteX66004" y="connsiteY66004"/>
              </a:cxn>
              <a:cxn ang="0">
                <a:pos x="connsiteX66005" y="connsiteY66005"/>
              </a:cxn>
              <a:cxn ang="0">
                <a:pos x="connsiteX66006" y="connsiteY66006"/>
              </a:cxn>
              <a:cxn ang="0">
                <a:pos x="connsiteX66007" y="connsiteY66007"/>
              </a:cxn>
              <a:cxn ang="0">
                <a:pos x="connsiteX66008" y="connsiteY66008"/>
              </a:cxn>
              <a:cxn ang="0">
                <a:pos x="connsiteX66009" y="connsiteY66009"/>
              </a:cxn>
              <a:cxn ang="0">
                <a:pos x="connsiteX66010" y="connsiteY66010"/>
              </a:cxn>
              <a:cxn ang="0">
                <a:pos x="connsiteX66011" y="connsiteY66011"/>
              </a:cxn>
              <a:cxn ang="0">
                <a:pos x="connsiteX66012" y="connsiteY66012"/>
              </a:cxn>
              <a:cxn ang="0">
                <a:pos x="connsiteX66013" y="connsiteY66013"/>
              </a:cxn>
              <a:cxn ang="0">
                <a:pos x="connsiteX66014" y="connsiteY66014"/>
              </a:cxn>
              <a:cxn ang="0">
                <a:pos x="connsiteX66015" y="connsiteY66015"/>
              </a:cxn>
              <a:cxn ang="0">
                <a:pos x="connsiteX66016" y="connsiteY66016"/>
              </a:cxn>
              <a:cxn ang="0">
                <a:pos x="connsiteX66017" y="connsiteY66017"/>
              </a:cxn>
              <a:cxn ang="0">
                <a:pos x="connsiteX66018" y="connsiteY66018"/>
              </a:cxn>
              <a:cxn ang="0">
                <a:pos x="connsiteX66019" y="connsiteY66019"/>
              </a:cxn>
              <a:cxn ang="0">
                <a:pos x="connsiteX66020" y="connsiteY66020"/>
              </a:cxn>
              <a:cxn ang="0">
                <a:pos x="connsiteX66021" y="connsiteY66021"/>
              </a:cxn>
              <a:cxn ang="0">
                <a:pos x="connsiteX66022" y="connsiteY66022"/>
              </a:cxn>
              <a:cxn ang="0">
                <a:pos x="connsiteX66023" y="connsiteY66023"/>
              </a:cxn>
              <a:cxn ang="0">
                <a:pos x="connsiteX66024" y="connsiteY66024"/>
              </a:cxn>
              <a:cxn ang="0">
                <a:pos x="connsiteX66025" y="connsiteY66025"/>
              </a:cxn>
              <a:cxn ang="0">
                <a:pos x="connsiteX66026" y="connsiteY66026"/>
              </a:cxn>
              <a:cxn ang="0">
                <a:pos x="connsiteX66027" y="connsiteY66027"/>
              </a:cxn>
              <a:cxn ang="0">
                <a:pos x="connsiteX66028" y="connsiteY66028"/>
              </a:cxn>
              <a:cxn ang="0">
                <a:pos x="connsiteX66029" y="connsiteY66029"/>
              </a:cxn>
              <a:cxn ang="0">
                <a:pos x="connsiteX66030" y="connsiteY66030"/>
              </a:cxn>
              <a:cxn ang="0">
                <a:pos x="connsiteX66031" y="connsiteY66031"/>
              </a:cxn>
              <a:cxn ang="0">
                <a:pos x="connsiteX66032" y="connsiteY66032"/>
              </a:cxn>
              <a:cxn ang="0">
                <a:pos x="connsiteX66033" y="connsiteY66033"/>
              </a:cxn>
              <a:cxn ang="0">
                <a:pos x="connsiteX66034" y="connsiteY66034"/>
              </a:cxn>
              <a:cxn ang="0">
                <a:pos x="connsiteX66035" y="connsiteY66035"/>
              </a:cxn>
              <a:cxn ang="0">
                <a:pos x="connsiteX66036" y="connsiteY66036"/>
              </a:cxn>
              <a:cxn ang="0">
                <a:pos x="connsiteX66037" y="connsiteY66037"/>
              </a:cxn>
              <a:cxn ang="0">
                <a:pos x="connsiteX66038" y="connsiteY66038"/>
              </a:cxn>
              <a:cxn ang="0">
                <a:pos x="connsiteX66039" y="connsiteY66039"/>
              </a:cxn>
              <a:cxn ang="0">
                <a:pos x="connsiteX66040" y="connsiteY66040"/>
              </a:cxn>
              <a:cxn ang="0">
                <a:pos x="connsiteX66041" y="connsiteY66041"/>
              </a:cxn>
              <a:cxn ang="0">
                <a:pos x="connsiteX66042" y="connsiteY66042"/>
              </a:cxn>
              <a:cxn ang="0">
                <a:pos x="connsiteX66043" y="connsiteY66043"/>
              </a:cxn>
              <a:cxn ang="0">
                <a:pos x="connsiteX66044" y="connsiteY66044"/>
              </a:cxn>
              <a:cxn ang="0">
                <a:pos x="connsiteX66045" y="connsiteY66045"/>
              </a:cxn>
              <a:cxn ang="0">
                <a:pos x="connsiteX66046" y="connsiteY66046"/>
              </a:cxn>
              <a:cxn ang="0">
                <a:pos x="connsiteX66047" y="connsiteY66047"/>
              </a:cxn>
              <a:cxn ang="0">
                <a:pos x="connsiteX66048" y="connsiteY66048"/>
              </a:cxn>
              <a:cxn ang="0">
                <a:pos x="connsiteX66049" y="connsiteY66049"/>
              </a:cxn>
              <a:cxn ang="0">
                <a:pos x="connsiteX66050" y="connsiteY66050"/>
              </a:cxn>
              <a:cxn ang="0">
                <a:pos x="connsiteX66051" y="connsiteY66051"/>
              </a:cxn>
              <a:cxn ang="0">
                <a:pos x="connsiteX66052" y="connsiteY66052"/>
              </a:cxn>
              <a:cxn ang="0">
                <a:pos x="connsiteX66053" y="connsiteY66053"/>
              </a:cxn>
              <a:cxn ang="0">
                <a:pos x="connsiteX66054" y="connsiteY66054"/>
              </a:cxn>
              <a:cxn ang="0">
                <a:pos x="connsiteX66055" y="connsiteY66055"/>
              </a:cxn>
              <a:cxn ang="0">
                <a:pos x="connsiteX66056" y="connsiteY66056"/>
              </a:cxn>
              <a:cxn ang="0">
                <a:pos x="connsiteX66057" y="connsiteY66057"/>
              </a:cxn>
              <a:cxn ang="0">
                <a:pos x="connsiteX66058" y="connsiteY66058"/>
              </a:cxn>
              <a:cxn ang="0">
                <a:pos x="connsiteX66059" y="connsiteY66059"/>
              </a:cxn>
              <a:cxn ang="0">
                <a:pos x="connsiteX66060" y="connsiteY66060"/>
              </a:cxn>
              <a:cxn ang="0">
                <a:pos x="connsiteX66061" y="connsiteY66061"/>
              </a:cxn>
              <a:cxn ang="0">
                <a:pos x="connsiteX66062" y="connsiteY66062"/>
              </a:cxn>
              <a:cxn ang="0">
                <a:pos x="connsiteX66063" y="connsiteY66063"/>
              </a:cxn>
              <a:cxn ang="0">
                <a:pos x="connsiteX66064" y="connsiteY66064"/>
              </a:cxn>
              <a:cxn ang="0">
                <a:pos x="connsiteX66065" y="connsiteY66065"/>
              </a:cxn>
              <a:cxn ang="0">
                <a:pos x="connsiteX66066" y="connsiteY66066"/>
              </a:cxn>
              <a:cxn ang="0">
                <a:pos x="connsiteX66067" y="connsiteY66067"/>
              </a:cxn>
              <a:cxn ang="0">
                <a:pos x="connsiteX66068" y="connsiteY66068"/>
              </a:cxn>
              <a:cxn ang="0">
                <a:pos x="connsiteX66069" y="connsiteY66069"/>
              </a:cxn>
              <a:cxn ang="0">
                <a:pos x="connsiteX66070" y="connsiteY66070"/>
              </a:cxn>
              <a:cxn ang="0">
                <a:pos x="connsiteX66071" y="connsiteY66071"/>
              </a:cxn>
              <a:cxn ang="0">
                <a:pos x="connsiteX66072" y="connsiteY66072"/>
              </a:cxn>
              <a:cxn ang="0">
                <a:pos x="connsiteX66073" y="connsiteY66073"/>
              </a:cxn>
              <a:cxn ang="0">
                <a:pos x="connsiteX66074" y="connsiteY66074"/>
              </a:cxn>
              <a:cxn ang="0">
                <a:pos x="connsiteX66075" y="connsiteY66075"/>
              </a:cxn>
              <a:cxn ang="0">
                <a:pos x="connsiteX66076" y="connsiteY66076"/>
              </a:cxn>
              <a:cxn ang="0">
                <a:pos x="connsiteX66077" y="connsiteY66077"/>
              </a:cxn>
              <a:cxn ang="0">
                <a:pos x="connsiteX66078" y="connsiteY66078"/>
              </a:cxn>
              <a:cxn ang="0">
                <a:pos x="connsiteX66079" y="connsiteY66079"/>
              </a:cxn>
              <a:cxn ang="0">
                <a:pos x="connsiteX66080" y="connsiteY66080"/>
              </a:cxn>
              <a:cxn ang="0">
                <a:pos x="connsiteX66081" y="connsiteY66081"/>
              </a:cxn>
              <a:cxn ang="0">
                <a:pos x="connsiteX66082" y="connsiteY66082"/>
              </a:cxn>
              <a:cxn ang="0">
                <a:pos x="connsiteX66083" y="connsiteY66083"/>
              </a:cxn>
              <a:cxn ang="0">
                <a:pos x="connsiteX66084" y="connsiteY66084"/>
              </a:cxn>
              <a:cxn ang="0">
                <a:pos x="connsiteX66085" y="connsiteY66085"/>
              </a:cxn>
              <a:cxn ang="0">
                <a:pos x="connsiteX66086" y="connsiteY66086"/>
              </a:cxn>
              <a:cxn ang="0">
                <a:pos x="connsiteX66087" y="connsiteY66087"/>
              </a:cxn>
              <a:cxn ang="0">
                <a:pos x="connsiteX66088" y="connsiteY66088"/>
              </a:cxn>
              <a:cxn ang="0">
                <a:pos x="connsiteX66089" y="connsiteY66089"/>
              </a:cxn>
              <a:cxn ang="0">
                <a:pos x="connsiteX66090" y="connsiteY66090"/>
              </a:cxn>
              <a:cxn ang="0">
                <a:pos x="connsiteX66091" y="connsiteY66091"/>
              </a:cxn>
              <a:cxn ang="0">
                <a:pos x="connsiteX66092" y="connsiteY66092"/>
              </a:cxn>
              <a:cxn ang="0">
                <a:pos x="connsiteX66093" y="connsiteY66093"/>
              </a:cxn>
              <a:cxn ang="0">
                <a:pos x="connsiteX66094" y="connsiteY66094"/>
              </a:cxn>
              <a:cxn ang="0">
                <a:pos x="connsiteX66095" y="connsiteY66095"/>
              </a:cxn>
              <a:cxn ang="0">
                <a:pos x="connsiteX66096" y="connsiteY66096"/>
              </a:cxn>
              <a:cxn ang="0">
                <a:pos x="connsiteX66097" y="connsiteY66097"/>
              </a:cxn>
              <a:cxn ang="0">
                <a:pos x="connsiteX66098" y="connsiteY66098"/>
              </a:cxn>
              <a:cxn ang="0">
                <a:pos x="connsiteX66099" y="connsiteY66099"/>
              </a:cxn>
              <a:cxn ang="0">
                <a:pos x="connsiteX66100" y="connsiteY66100"/>
              </a:cxn>
              <a:cxn ang="0">
                <a:pos x="connsiteX66101" y="connsiteY66101"/>
              </a:cxn>
              <a:cxn ang="0">
                <a:pos x="connsiteX66102" y="connsiteY66102"/>
              </a:cxn>
              <a:cxn ang="0">
                <a:pos x="connsiteX66103" y="connsiteY66103"/>
              </a:cxn>
              <a:cxn ang="0">
                <a:pos x="connsiteX66104" y="connsiteY66104"/>
              </a:cxn>
              <a:cxn ang="0">
                <a:pos x="connsiteX66105" y="connsiteY66105"/>
              </a:cxn>
              <a:cxn ang="0">
                <a:pos x="connsiteX66106" y="connsiteY66106"/>
              </a:cxn>
              <a:cxn ang="0">
                <a:pos x="connsiteX66107" y="connsiteY66107"/>
              </a:cxn>
              <a:cxn ang="0">
                <a:pos x="connsiteX66108" y="connsiteY66108"/>
              </a:cxn>
              <a:cxn ang="0">
                <a:pos x="connsiteX66109" y="connsiteY66109"/>
              </a:cxn>
              <a:cxn ang="0">
                <a:pos x="connsiteX66110" y="connsiteY66110"/>
              </a:cxn>
              <a:cxn ang="0">
                <a:pos x="connsiteX66111" y="connsiteY66111"/>
              </a:cxn>
              <a:cxn ang="0">
                <a:pos x="connsiteX66112" y="connsiteY66112"/>
              </a:cxn>
              <a:cxn ang="0">
                <a:pos x="connsiteX66113" y="connsiteY66113"/>
              </a:cxn>
              <a:cxn ang="0">
                <a:pos x="connsiteX66114" y="connsiteY66114"/>
              </a:cxn>
              <a:cxn ang="0">
                <a:pos x="connsiteX66115" y="connsiteY66115"/>
              </a:cxn>
              <a:cxn ang="0">
                <a:pos x="connsiteX66116" y="connsiteY66116"/>
              </a:cxn>
              <a:cxn ang="0">
                <a:pos x="connsiteX66117" y="connsiteY66117"/>
              </a:cxn>
              <a:cxn ang="0">
                <a:pos x="connsiteX66118" y="connsiteY66118"/>
              </a:cxn>
              <a:cxn ang="0">
                <a:pos x="connsiteX66119" y="connsiteY66119"/>
              </a:cxn>
              <a:cxn ang="0">
                <a:pos x="connsiteX66120" y="connsiteY66120"/>
              </a:cxn>
              <a:cxn ang="0">
                <a:pos x="connsiteX66121" y="connsiteY66121"/>
              </a:cxn>
              <a:cxn ang="0">
                <a:pos x="connsiteX66122" y="connsiteY66122"/>
              </a:cxn>
              <a:cxn ang="0">
                <a:pos x="connsiteX66123" y="connsiteY66123"/>
              </a:cxn>
              <a:cxn ang="0">
                <a:pos x="connsiteX66124" y="connsiteY66124"/>
              </a:cxn>
              <a:cxn ang="0">
                <a:pos x="connsiteX66125" y="connsiteY66125"/>
              </a:cxn>
              <a:cxn ang="0">
                <a:pos x="connsiteX66126" y="connsiteY66126"/>
              </a:cxn>
              <a:cxn ang="0">
                <a:pos x="connsiteX66127" y="connsiteY66127"/>
              </a:cxn>
              <a:cxn ang="0">
                <a:pos x="connsiteX66128" y="connsiteY66128"/>
              </a:cxn>
              <a:cxn ang="0">
                <a:pos x="connsiteX66129" y="connsiteY66129"/>
              </a:cxn>
              <a:cxn ang="0">
                <a:pos x="connsiteX66130" y="connsiteY66130"/>
              </a:cxn>
              <a:cxn ang="0">
                <a:pos x="connsiteX66131" y="connsiteY66131"/>
              </a:cxn>
              <a:cxn ang="0">
                <a:pos x="connsiteX66132" y="connsiteY66132"/>
              </a:cxn>
              <a:cxn ang="0">
                <a:pos x="connsiteX66133" y="connsiteY66133"/>
              </a:cxn>
              <a:cxn ang="0">
                <a:pos x="connsiteX66134" y="connsiteY66134"/>
              </a:cxn>
              <a:cxn ang="0">
                <a:pos x="connsiteX66135" y="connsiteY66135"/>
              </a:cxn>
              <a:cxn ang="0">
                <a:pos x="connsiteX66136" y="connsiteY66136"/>
              </a:cxn>
              <a:cxn ang="0">
                <a:pos x="connsiteX66137" y="connsiteY66137"/>
              </a:cxn>
              <a:cxn ang="0">
                <a:pos x="connsiteX66138" y="connsiteY66138"/>
              </a:cxn>
              <a:cxn ang="0">
                <a:pos x="connsiteX66139" y="connsiteY66139"/>
              </a:cxn>
              <a:cxn ang="0">
                <a:pos x="connsiteX66140" y="connsiteY66140"/>
              </a:cxn>
              <a:cxn ang="0">
                <a:pos x="connsiteX66141" y="connsiteY66141"/>
              </a:cxn>
              <a:cxn ang="0">
                <a:pos x="connsiteX66142" y="connsiteY66142"/>
              </a:cxn>
              <a:cxn ang="0">
                <a:pos x="connsiteX66143" y="connsiteY66143"/>
              </a:cxn>
              <a:cxn ang="0">
                <a:pos x="connsiteX66144" y="connsiteY66144"/>
              </a:cxn>
              <a:cxn ang="0">
                <a:pos x="connsiteX66145" y="connsiteY66145"/>
              </a:cxn>
              <a:cxn ang="0">
                <a:pos x="connsiteX66146" y="connsiteY66146"/>
              </a:cxn>
              <a:cxn ang="0">
                <a:pos x="connsiteX66147" y="connsiteY66147"/>
              </a:cxn>
              <a:cxn ang="0">
                <a:pos x="connsiteX66148" y="connsiteY66148"/>
              </a:cxn>
              <a:cxn ang="0">
                <a:pos x="connsiteX66149" y="connsiteY66149"/>
              </a:cxn>
              <a:cxn ang="0">
                <a:pos x="connsiteX66150" y="connsiteY66150"/>
              </a:cxn>
              <a:cxn ang="0">
                <a:pos x="connsiteX66151" y="connsiteY66151"/>
              </a:cxn>
              <a:cxn ang="0">
                <a:pos x="connsiteX66152" y="connsiteY66152"/>
              </a:cxn>
              <a:cxn ang="0">
                <a:pos x="connsiteX66153" y="connsiteY66153"/>
              </a:cxn>
              <a:cxn ang="0">
                <a:pos x="connsiteX66154" y="connsiteY66154"/>
              </a:cxn>
              <a:cxn ang="0">
                <a:pos x="connsiteX66155" y="connsiteY66155"/>
              </a:cxn>
              <a:cxn ang="0">
                <a:pos x="connsiteX66156" y="connsiteY66156"/>
              </a:cxn>
              <a:cxn ang="0">
                <a:pos x="connsiteX66157" y="connsiteY66157"/>
              </a:cxn>
              <a:cxn ang="0">
                <a:pos x="connsiteX66158" y="connsiteY66158"/>
              </a:cxn>
              <a:cxn ang="0">
                <a:pos x="connsiteX66159" y="connsiteY66159"/>
              </a:cxn>
              <a:cxn ang="0">
                <a:pos x="connsiteX66160" y="connsiteY66160"/>
              </a:cxn>
              <a:cxn ang="0">
                <a:pos x="connsiteX66161" y="connsiteY66161"/>
              </a:cxn>
              <a:cxn ang="0">
                <a:pos x="connsiteX66162" y="connsiteY66162"/>
              </a:cxn>
              <a:cxn ang="0">
                <a:pos x="connsiteX66163" y="connsiteY66163"/>
              </a:cxn>
              <a:cxn ang="0">
                <a:pos x="connsiteX66164" y="connsiteY66164"/>
              </a:cxn>
              <a:cxn ang="0">
                <a:pos x="connsiteX66165" y="connsiteY66165"/>
              </a:cxn>
              <a:cxn ang="0">
                <a:pos x="connsiteX66166" y="connsiteY66166"/>
              </a:cxn>
              <a:cxn ang="0">
                <a:pos x="connsiteX66167" y="connsiteY66167"/>
              </a:cxn>
              <a:cxn ang="0">
                <a:pos x="connsiteX66168" y="connsiteY66168"/>
              </a:cxn>
              <a:cxn ang="0">
                <a:pos x="connsiteX66169" y="connsiteY66169"/>
              </a:cxn>
              <a:cxn ang="0">
                <a:pos x="connsiteX66170" y="connsiteY66170"/>
              </a:cxn>
              <a:cxn ang="0">
                <a:pos x="connsiteX66171" y="connsiteY66171"/>
              </a:cxn>
              <a:cxn ang="0">
                <a:pos x="connsiteX66172" y="connsiteY66172"/>
              </a:cxn>
              <a:cxn ang="0">
                <a:pos x="connsiteX66173" y="connsiteY66173"/>
              </a:cxn>
              <a:cxn ang="0">
                <a:pos x="connsiteX66174" y="connsiteY66174"/>
              </a:cxn>
              <a:cxn ang="0">
                <a:pos x="connsiteX66175" y="connsiteY66175"/>
              </a:cxn>
              <a:cxn ang="0">
                <a:pos x="connsiteX66176" y="connsiteY66176"/>
              </a:cxn>
              <a:cxn ang="0">
                <a:pos x="connsiteX66177" y="connsiteY66177"/>
              </a:cxn>
              <a:cxn ang="0">
                <a:pos x="connsiteX66178" y="connsiteY66178"/>
              </a:cxn>
              <a:cxn ang="0">
                <a:pos x="connsiteX66179" y="connsiteY66179"/>
              </a:cxn>
              <a:cxn ang="0">
                <a:pos x="connsiteX66180" y="connsiteY66180"/>
              </a:cxn>
              <a:cxn ang="0">
                <a:pos x="connsiteX66181" y="connsiteY66181"/>
              </a:cxn>
              <a:cxn ang="0">
                <a:pos x="connsiteX66182" y="connsiteY66182"/>
              </a:cxn>
              <a:cxn ang="0">
                <a:pos x="connsiteX66183" y="connsiteY66183"/>
              </a:cxn>
              <a:cxn ang="0">
                <a:pos x="connsiteX66184" y="connsiteY66184"/>
              </a:cxn>
              <a:cxn ang="0">
                <a:pos x="connsiteX66185" y="connsiteY66185"/>
              </a:cxn>
              <a:cxn ang="0">
                <a:pos x="connsiteX66186" y="connsiteY66186"/>
              </a:cxn>
              <a:cxn ang="0">
                <a:pos x="connsiteX66187" y="connsiteY66187"/>
              </a:cxn>
              <a:cxn ang="0">
                <a:pos x="connsiteX66188" y="connsiteY66188"/>
              </a:cxn>
              <a:cxn ang="0">
                <a:pos x="connsiteX66189" y="connsiteY66189"/>
              </a:cxn>
              <a:cxn ang="0">
                <a:pos x="connsiteX66190" y="connsiteY66190"/>
              </a:cxn>
              <a:cxn ang="0">
                <a:pos x="connsiteX66191" y="connsiteY66191"/>
              </a:cxn>
              <a:cxn ang="0">
                <a:pos x="connsiteX66192" y="connsiteY66192"/>
              </a:cxn>
              <a:cxn ang="0">
                <a:pos x="connsiteX66193" y="connsiteY66193"/>
              </a:cxn>
              <a:cxn ang="0">
                <a:pos x="connsiteX66194" y="connsiteY66194"/>
              </a:cxn>
              <a:cxn ang="0">
                <a:pos x="connsiteX66195" y="connsiteY66195"/>
              </a:cxn>
              <a:cxn ang="0">
                <a:pos x="connsiteX66196" y="connsiteY66196"/>
              </a:cxn>
              <a:cxn ang="0">
                <a:pos x="connsiteX66197" y="connsiteY66197"/>
              </a:cxn>
              <a:cxn ang="0">
                <a:pos x="connsiteX66198" y="connsiteY66198"/>
              </a:cxn>
              <a:cxn ang="0">
                <a:pos x="connsiteX66199" y="connsiteY66199"/>
              </a:cxn>
              <a:cxn ang="0">
                <a:pos x="connsiteX66200" y="connsiteY66200"/>
              </a:cxn>
              <a:cxn ang="0">
                <a:pos x="connsiteX66201" y="connsiteY66201"/>
              </a:cxn>
              <a:cxn ang="0">
                <a:pos x="connsiteX66202" y="connsiteY66202"/>
              </a:cxn>
              <a:cxn ang="0">
                <a:pos x="connsiteX66203" y="connsiteY66203"/>
              </a:cxn>
              <a:cxn ang="0">
                <a:pos x="connsiteX66204" y="connsiteY66204"/>
              </a:cxn>
              <a:cxn ang="0">
                <a:pos x="connsiteX66205" y="connsiteY66205"/>
              </a:cxn>
              <a:cxn ang="0">
                <a:pos x="connsiteX66206" y="connsiteY66206"/>
              </a:cxn>
              <a:cxn ang="0">
                <a:pos x="connsiteX66207" y="connsiteY66207"/>
              </a:cxn>
              <a:cxn ang="0">
                <a:pos x="connsiteX66208" y="connsiteY66208"/>
              </a:cxn>
              <a:cxn ang="0">
                <a:pos x="connsiteX66209" y="connsiteY66209"/>
              </a:cxn>
              <a:cxn ang="0">
                <a:pos x="connsiteX66210" y="connsiteY66210"/>
              </a:cxn>
              <a:cxn ang="0">
                <a:pos x="connsiteX66211" y="connsiteY66211"/>
              </a:cxn>
              <a:cxn ang="0">
                <a:pos x="connsiteX66212" y="connsiteY66212"/>
              </a:cxn>
              <a:cxn ang="0">
                <a:pos x="connsiteX66213" y="connsiteY66213"/>
              </a:cxn>
              <a:cxn ang="0">
                <a:pos x="connsiteX66214" y="connsiteY66214"/>
              </a:cxn>
              <a:cxn ang="0">
                <a:pos x="connsiteX66215" y="connsiteY66215"/>
              </a:cxn>
              <a:cxn ang="0">
                <a:pos x="connsiteX66216" y="connsiteY66216"/>
              </a:cxn>
              <a:cxn ang="0">
                <a:pos x="connsiteX66217" y="connsiteY66217"/>
              </a:cxn>
              <a:cxn ang="0">
                <a:pos x="connsiteX66218" y="connsiteY66218"/>
              </a:cxn>
              <a:cxn ang="0">
                <a:pos x="connsiteX66219" y="connsiteY66219"/>
              </a:cxn>
              <a:cxn ang="0">
                <a:pos x="connsiteX66220" y="connsiteY66220"/>
              </a:cxn>
              <a:cxn ang="0">
                <a:pos x="connsiteX66221" y="connsiteY66221"/>
              </a:cxn>
              <a:cxn ang="0">
                <a:pos x="connsiteX66222" y="connsiteY66222"/>
              </a:cxn>
              <a:cxn ang="0">
                <a:pos x="connsiteX66223" y="connsiteY66223"/>
              </a:cxn>
              <a:cxn ang="0">
                <a:pos x="connsiteX66224" y="connsiteY66224"/>
              </a:cxn>
              <a:cxn ang="0">
                <a:pos x="connsiteX66225" y="connsiteY66225"/>
              </a:cxn>
              <a:cxn ang="0">
                <a:pos x="connsiteX66226" y="connsiteY66226"/>
              </a:cxn>
              <a:cxn ang="0">
                <a:pos x="connsiteX66227" y="connsiteY66227"/>
              </a:cxn>
              <a:cxn ang="0">
                <a:pos x="connsiteX66228" y="connsiteY66228"/>
              </a:cxn>
              <a:cxn ang="0">
                <a:pos x="connsiteX66229" y="connsiteY66229"/>
              </a:cxn>
              <a:cxn ang="0">
                <a:pos x="connsiteX66230" y="connsiteY66230"/>
              </a:cxn>
              <a:cxn ang="0">
                <a:pos x="connsiteX66231" y="connsiteY66231"/>
              </a:cxn>
              <a:cxn ang="0">
                <a:pos x="connsiteX66232" y="connsiteY66232"/>
              </a:cxn>
              <a:cxn ang="0">
                <a:pos x="connsiteX66233" y="connsiteY66233"/>
              </a:cxn>
              <a:cxn ang="0">
                <a:pos x="connsiteX66234" y="connsiteY66234"/>
              </a:cxn>
              <a:cxn ang="0">
                <a:pos x="connsiteX66235" y="connsiteY66235"/>
              </a:cxn>
              <a:cxn ang="0">
                <a:pos x="connsiteX66236" y="connsiteY66236"/>
              </a:cxn>
              <a:cxn ang="0">
                <a:pos x="connsiteX66237" y="connsiteY66237"/>
              </a:cxn>
              <a:cxn ang="0">
                <a:pos x="connsiteX66238" y="connsiteY66238"/>
              </a:cxn>
              <a:cxn ang="0">
                <a:pos x="connsiteX66239" y="connsiteY66239"/>
              </a:cxn>
              <a:cxn ang="0">
                <a:pos x="connsiteX66240" y="connsiteY66240"/>
              </a:cxn>
              <a:cxn ang="0">
                <a:pos x="connsiteX66241" y="connsiteY66241"/>
              </a:cxn>
              <a:cxn ang="0">
                <a:pos x="connsiteX66242" y="connsiteY66242"/>
              </a:cxn>
              <a:cxn ang="0">
                <a:pos x="connsiteX66243" y="connsiteY66243"/>
              </a:cxn>
              <a:cxn ang="0">
                <a:pos x="connsiteX66244" y="connsiteY66244"/>
              </a:cxn>
              <a:cxn ang="0">
                <a:pos x="connsiteX66245" y="connsiteY66245"/>
              </a:cxn>
              <a:cxn ang="0">
                <a:pos x="connsiteX66246" y="connsiteY66246"/>
              </a:cxn>
              <a:cxn ang="0">
                <a:pos x="connsiteX66247" y="connsiteY66247"/>
              </a:cxn>
              <a:cxn ang="0">
                <a:pos x="connsiteX66248" y="connsiteY66248"/>
              </a:cxn>
              <a:cxn ang="0">
                <a:pos x="connsiteX66249" y="connsiteY66249"/>
              </a:cxn>
              <a:cxn ang="0">
                <a:pos x="connsiteX66250" y="connsiteY66250"/>
              </a:cxn>
              <a:cxn ang="0">
                <a:pos x="connsiteX66251" y="connsiteY66251"/>
              </a:cxn>
              <a:cxn ang="0">
                <a:pos x="connsiteX66252" y="connsiteY66252"/>
              </a:cxn>
              <a:cxn ang="0">
                <a:pos x="connsiteX66253" y="connsiteY66253"/>
              </a:cxn>
              <a:cxn ang="0">
                <a:pos x="connsiteX66254" y="connsiteY66254"/>
              </a:cxn>
              <a:cxn ang="0">
                <a:pos x="connsiteX66255" y="connsiteY66255"/>
              </a:cxn>
              <a:cxn ang="0">
                <a:pos x="connsiteX66256" y="connsiteY66256"/>
              </a:cxn>
              <a:cxn ang="0">
                <a:pos x="connsiteX66257" y="connsiteY66257"/>
              </a:cxn>
              <a:cxn ang="0">
                <a:pos x="connsiteX66258" y="connsiteY66258"/>
              </a:cxn>
              <a:cxn ang="0">
                <a:pos x="connsiteX66259" y="connsiteY66259"/>
              </a:cxn>
              <a:cxn ang="0">
                <a:pos x="connsiteX66260" y="connsiteY66260"/>
              </a:cxn>
              <a:cxn ang="0">
                <a:pos x="connsiteX66261" y="connsiteY66261"/>
              </a:cxn>
              <a:cxn ang="0">
                <a:pos x="connsiteX66262" y="connsiteY66262"/>
              </a:cxn>
              <a:cxn ang="0">
                <a:pos x="connsiteX66263" y="connsiteY66263"/>
              </a:cxn>
              <a:cxn ang="0">
                <a:pos x="connsiteX66264" y="connsiteY66264"/>
              </a:cxn>
              <a:cxn ang="0">
                <a:pos x="connsiteX66265" y="connsiteY66265"/>
              </a:cxn>
              <a:cxn ang="0">
                <a:pos x="connsiteX66266" y="connsiteY66266"/>
              </a:cxn>
              <a:cxn ang="0">
                <a:pos x="connsiteX66267" y="connsiteY66267"/>
              </a:cxn>
              <a:cxn ang="0">
                <a:pos x="connsiteX66268" y="connsiteY66268"/>
              </a:cxn>
              <a:cxn ang="0">
                <a:pos x="connsiteX66269" y="connsiteY66269"/>
              </a:cxn>
              <a:cxn ang="0">
                <a:pos x="connsiteX66270" y="connsiteY66270"/>
              </a:cxn>
              <a:cxn ang="0">
                <a:pos x="connsiteX66271" y="connsiteY66271"/>
              </a:cxn>
              <a:cxn ang="0">
                <a:pos x="connsiteX66272" y="connsiteY66272"/>
              </a:cxn>
              <a:cxn ang="0">
                <a:pos x="connsiteX66273" y="connsiteY66273"/>
              </a:cxn>
              <a:cxn ang="0">
                <a:pos x="connsiteX66274" y="connsiteY66274"/>
              </a:cxn>
              <a:cxn ang="0">
                <a:pos x="connsiteX66275" y="connsiteY66275"/>
              </a:cxn>
              <a:cxn ang="0">
                <a:pos x="connsiteX66276" y="connsiteY66276"/>
              </a:cxn>
              <a:cxn ang="0">
                <a:pos x="connsiteX66277" y="connsiteY66277"/>
              </a:cxn>
              <a:cxn ang="0">
                <a:pos x="connsiteX66278" y="connsiteY66278"/>
              </a:cxn>
              <a:cxn ang="0">
                <a:pos x="connsiteX66279" y="connsiteY66279"/>
              </a:cxn>
              <a:cxn ang="0">
                <a:pos x="connsiteX66280" y="connsiteY66280"/>
              </a:cxn>
              <a:cxn ang="0">
                <a:pos x="connsiteX66281" y="connsiteY66281"/>
              </a:cxn>
              <a:cxn ang="0">
                <a:pos x="connsiteX66282" y="connsiteY66282"/>
              </a:cxn>
              <a:cxn ang="0">
                <a:pos x="connsiteX66283" y="connsiteY66283"/>
              </a:cxn>
              <a:cxn ang="0">
                <a:pos x="connsiteX66284" y="connsiteY66284"/>
              </a:cxn>
              <a:cxn ang="0">
                <a:pos x="connsiteX66285" y="connsiteY66285"/>
              </a:cxn>
              <a:cxn ang="0">
                <a:pos x="connsiteX66286" y="connsiteY66286"/>
              </a:cxn>
              <a:cxn ang="0">
                <a:pos x="connsiteX66287" y="connsiteY66287"/>
              </a:cxn>
              <a:cxn ang="0">
                <a:pos x="connsiteX66288" y="connsiteY66288"/>
              </a:cxn>
              <a:cxn ang="0">
                <a:pos x="connsiteX66289" y="connsiteY66289"/>
              </a:cxn>
              <a:cxn ang="0">
                <a:pos x="connsiteX66290" y="connsiteY66290"/>
              </a:cxn>
              <a:cxn ang="0">
                <a:pos x="connsiteX66291" y="connsiteY66291"/>
              </a:cxn>
              <a:cxn ang="0">
                <a:pos x="connsiteX66292" y="connsiteY66292"/>
              </a:cxn>
              <a:cxn ang="0">
                <a:pos x="connsiteX66293" y="connsiteY66293"/>
              </a:cxn>
              <a:cxn ang="0">
                <a:pos x="connsiteX66294" y="connsiteY66294"/>
              </a:cxn>
              <a:cxn ang="0">
                <a:pos x="connsiteX66295" y="connsiteY66295"/>
              </a:cxn>
              <a:cxn ang="0">
                <a:pos x="connsiteX66296" y="connsiteY66296"/>
              </a:cxn>
              <a:cxn ang="0">
                <a:pos x="connsiteX66297" y="connsiteY66297"/>
              </a:cxn>
              <a:cxn ang="0">
                <a:pos x="connsiteX66298" y="connsiteY66298"/>
              </a:cxn>
              <a:cxn ang="0">
                <a:pos x="connsiteX66299" y="connsiteY66299"/>
              </a:cxn>
              <a:cxn ang="0">
                <a:pos x="connsiteX66300" y="connsiteY66300"/>
              </a:cxn>
              <a:cxn ang="0">
                <a:pos x="connsiteX66301" y="connsiteY66301"/>
              </a:cxn>
              <a:cxn ang="0">
                <a:pos x="connsiteX66302" y="connsiteY66302"/>
              </a:cxn>
              <a:cxn ang="0">
                <a:pos x="connsiteX66303" y="connsiteY66303"/>
              </a:cxn>
              <a:cxn ang="0">
                <a:pos x="connsiteX66304" y="connsiteY66304"/>
              </a:cxn>
              <a:cxn ang="0">
                <a:pos x="connsiteX66305" y="connsiteY66305"/>
              </a:cxn>
              <a:cxn ang="0">
                <a:pos x="connsiteX66306" y="connsiteY66306"/>
              </a:cxn>
              <a:cxn ang="0">
                <a:pos x="connsiteX66307" y="connsiteY66307"/>
              </a:cxn>
              <a:cxn ang="0">
                <a:pos x="connsiteX66308" y="connsiteY66308"/>
              </a:cxn>
              <a:cxn ang="0">
                <a:pos x="connsiteX66309" y="connsiteY66309"/>
              </a:cxn>
              <a:cxn ang="0">
                <a:pos x="connsiteX66310" y="connsiteY66310"/>
              </a:cxn>
              <a:cxn ang="0">
                <a:pos x="connsiteX66311" y="connsiteY66311"/>
              </a:cxn>
              <a:cxn ang="0">
                <a:pos x="connsiteX66312" y="connsiteY66312"/>
              </a:cxn>
              <a:cxn ang="0">
                <a:pos x="connsiteX66313" y="connsiteY66313"/>
              </a:cxn>
              <a:cxn ang="0">
                <a:pos x="connsiteX66314" y="connsiteY66314"/>
              </a:cxn>
              <a:cxn ang="0">
                <a:pos x="connsiteX66315" y="connsiteY66315"/>
              </a:cxn>
              <a:cxn ang="0">
                <a:pos x="connsiteX66316" y="connsiteY66316"/>
              </a:cxn>
              <a:cxn ang="0">
                <a:pos x="connsiteX66317" y="connsiteY66317"/>
              </a:cxn>
              <a:cxn ang="0">
                <a:pos x="connsiteX66318" y="connsiteY66318"/>
              </a:cxn>
              <a:cxn ang="0">
                <a:pos x="connsiteX66319" y="connsiteY66319"/>
              </a:cxn>
              <a:cxn ang="0">
                <a:pos x="connsiteX66320" y="connsiteY66320"/>
              </a:cxn>
              <a:cxn ang="0">
                <a:pos x="connsiteX66321" y="connsiteY66321"/>
              </a:cxn>
              <a:cxn ang="0">
                <a:pos x="connsiteX66322" y="connsiteY66322"/>
              </a:cxn>
              <a:cxn ang="0">
                <a:pos x="connsiteX66323" y="connsiteY66323"/>
              </a:cxn>
              <a:cxn ang="0">
                <a:pos x="connsiteX66324" y="connsiteY66324"/>
              </a:cxn>
              <a:cxn ang="0">
                <a:pos x="connsiteX66325" y="connsiteY66325"/>
              </a:cxn>
              <a:cxn ang="0">
                <a:pos x="connsiteX66326" y="connsiteY66326"/>
              </a:cxn>
              <a:cxn ang="0">
                <a:pos x="connsiteX66327" y="connsiteY66327"/>
              </a:cxn>
              <a:cxn ang="0">
                <a:pos x="connsiteX66328" y="connsiteY66328"/>
              </a:cxn>
              <a:cxn ang="0">
                <a:pos x="connsiteX66329" y="connsiteY66329"/>
              </a:cxn>
              <a:cxn ang="0">
                <a:pos x="connsiteX66330" y="connsiteY66330"/>
              </a:cxn>
              <a:cxn ang="0">
                <a:pos x="connsiteX66331" y="connsiteY66331"/>
              </a:cxn>
              <a:cxn ang="0">
                <a:pos x="connsiteX66332" y="connsiteY66332"/>
              </a:cxn>
              <a:cxn ang="0">
                <a:pos x="connsiteX66333" y="connsiteY66333"/>
              </a:cxn>
              <a:cxn ang="0">
                <a:pos x="connsiteX66334" y="connsiteY66334"/>
              </a:cxn>
              <a:cxn ang="0">
                <a:pos x="connsiteX66335" y="connsiteY66335"/>
              </a:cxn>
              <a:cxn ang="0">
                <a:pos x="connsiteX66336" y="connsiteY66336"/>
              </a:cxn>
              <a:cxn ang="0">
                <a:pos x="connsiteX66337" y="connsiteY66337"/>
              </a:cxn>
              <a:cxn ang="0">
                <a:pos x="connsiteX66338" y="connsiteY66338"/>
              </a:cxn>
              <a:cxn ang="0">
                <a:pos x="connsiteX66339" y="connsiteY66339"/>
              </a:cxn>
              <a:cxn ang="0">
                <a:pos x="connsiteX66340" y="connsiteY66340"/>
              </a:cxn>
              <a:cxn ang="0">
                <a:pos x="connsiteX66341" y="connsiteY66341"/>
              </a:cxn>
              <a:cxn ang="0">
                <a:pos x="connsiteX66342" y="connsiteY66342"/>
              </a:cxn>
              <a:cxn ang="0">
                <a:pos x="connsiteX66343" y="connsiteY66343"/>
              </a:cxn>
              <a:cxn ang="0">
                <a:pos x="connsiteX66344" y="connsiteY66344"/>
              </a:cxn>
              <a:cxn ang="0">
                <a:pos x="connsiteX66345" y="connsiteY66345"/>
              </a:cxn>
              <a:cxn ang="0">
                <a:pos x="connsiteX66346" y="connsiteY66346"/>
              </a:cxn>
              <a:cxn ang="0">
                <a:pos x="connsiteX66347" y="connsiteY66347"/>
              </a:cxn>
              <a:cxn ang="0">
                <a:pos x="connsiteX66348" y="connsiteY66348"/>
              </a:cxn>
              <a:cxn ang="0">
                <a:pos x="connsiteX66349" y="connsiteY66349"/>
              </a:cxn>
              <a:cxn ang="0">
                <a:pos x="connsiteX66350" y="connsiteY66350"/>
              </a:cxn>
              <a:cxn ang="0">
                <a:pos x="connsiteX66351" y="connsiteY66351"/>
              </a:cxn>
              <a:cxn ang="0">
                <a:pos x="connsiteX66352" y="connsiteY66352"/>
              </a:cxn>
              <a:cxn ang="0">
                <a:pos x="connsiteX66353" y="connsiteY66353"/>
              </a:cxn>
              <a:cxn ang="0">
                <a:pos x="connsiteX66354" y="connsiteY66354"/>
              </a:cxn>
              <a:cxn ang="0">
                <a:pos x="connsiteX66355" y="connsiteY66355"/>
              </a:cxn>
              <a:cxn ang="0">
                <a:pos x="connsiteX66356" y="connsiteY66356"/>
              </a:cxn>
              <a:cxn ang="0">
                <a:pos x="connsiteX66357" y="connsiteY66357"/>
              </a:cxn>
              <a:cxn ang="0">
                <a:pos x="connsiteX66358" y="connsiteY66358"/>
              </a:cxn>
              <a:cxn ang="0">
                <a:pos x="connsiteX66359" y="connsiteY66359"/>
              </a:cxn>
              <a:cxn ang="0">
                <a:pos x="connsiteX66360" y="connsiteY66360"/>
              </a:cxn>
              <a:cxn ang="0">
                <a:pos x="connsiteX66361" y="connsiteY66361"/>
              </a:cxn>
              <a:cxn ang="0">
                <a:pos x="connsiteX66362" y="connsiteY66362"/>
              </a:cxn>
              <a:cxn ang="0">
                <a:pos x="connsiteX66363" y="connsiteY66363"/>
              </a:cxn>
              <a:cxn ang="0">
                <a:pos x="connsiteX66364" y="connsiteY66364"/>
              </a:cxn>
              <a:cxn ang="0">
                <a:pos x="connsiteX66365" y="connsiteY66365"/>
              </a:cxn>
              <a:cxn ang="0">
                <a:pos x="connsiteX66366" y="connsiteY66366"/>
              </a:cxn>
              <a:cxn ang="0">
                <a:pos x="connsiteX66367" y="connsiteY66367"/>
              </a:cxn>
              <a:cxn ang="0">
                <a:pos x="connsiteX66368" y="connsiteY66368"/>
              </a:cxn>
              <a:cxn ang="0">
                <a:pos x="connsiteX66369" y="connsiteY66369"/>
              </a:cxn>
              <a:cxn ang="0">
                <a:pos x="connsiteX66370" y="connsiteY66370"/>
              </a:cxn>
              <a:cxn ang="0">
                <a:pos x="connsiteX66371" y="connsiteY66371"/>
              </a:cxn>
              <a:cxn ang="0">
                <a:pos x="connsiteX66372" y="connsiteY66372"/>
              </a:cxn>
              <a:cxn ang="0">
                <a:pos x="connsiteX66373" y="connsiteY66373"/>
              </a:cxn>
              <a:cxn ang="0">
                <a:pos x="connsiteX66374" y="connsiteY66374"/>
              </a:cxn>
              <a:cxn ang="0">
                <a:pos x="connsiteX66375" y="connsiteY66375"/>
              </a:cxn>
              <a:cxn ang="0">
                <a:pos x="connsiteX66376" y="connsiteY66376"/>
              </a:cxn>
              <a:cxn ang="0">
                <a:pos x="connsiteX66377" y="connsiteY66377"/>
              </a:cxn>
              <a:cxn ang="0">
                <a:pos x="connsiteX66378" y="connsiteY66378"/>
              </a:cxn>
              <a:cxn ang="0">
                <a:pos x="connsiteX66379" y="connsiteY66379"/>
              </a:cxn>
              <a:cxn ang="0">
                <a:pos x="connsiteX66380" y="connsiteY66380"/>
              </a:cxn>
              <a:cxn ang="0">
                <a:pos x="connsiteX66381" y="connsiteY66381"/>
              </a:cxn>
              <a:cxn ang="0">
                <a:pos x="connsiteX66382" y="connsiteY66382"/>
              </a:cxn>
              <a:cxn ang="0">
                <a:pos x="connsiteX66383" y="connsiteY66383"/>
              </a:cxn>
              <a:cxn ang="0">
                <a:pos x="connsiteX66384" y="connsiteY66384"/>
              </a:cxn>
              <a:cxn ang="0">
                <a:pos x="connsiteX66385" y="connsiteY66385"/>
              </a:cxn>
              <a:cxn ang="0">
                <a:pos x="connsiteX66386" y="connsiteY66386"/>
              </a:cxn>
              <a:cxn ang="0">
                <a:pos x="connsiteX66387" y="connsiteY66387"/>
              </a:cxn>
              <a:cxn ang="0">
                <a:pos x="connsiteX66388" y="connsiteY66388"/>
              </a:cxn>
              <a:cxn ang="0">
                <a:pos x="connsiteX66389" y="connsiteY66389"/>
              </a:cxn>
              <a:cxn ang="0">
                <a:pos x="connsiteX66390" y="connsiteY66390"/>
              </a:cxn>
              <a:cxn ang="0">
                <a:pos x="connsiteX66391" y="connsiteY66391"/>
              </a:cxn>
              <a:cxn ang="0">
                <a:pos x="connsiteX66392" y="connsiteY66392"/>
              </a:cxn>
              <a:cxn ang="0">
                <a:pos x="connsiteX66393" y="connsiteY66393"/>
              </a:cxn>
              <a:cxn ang="0">
                <a:pos x="connsiteX66394" y="connsiteY66394"/>
              </a:cxn>
              <a:cxn ang="0">
                <a:pos x="connsiteX66395" y="connsiteY66395"/>
              </a:cxn>
              <a:cxn ang="0">
                <a:pos x="connsiteX66396" y="connsiteY66396"/>
              </a:cxn>
              <a:cxn ang="0">
                <a:pos x="connsiteX66397" y="connsiteY66397"/>
              </a:cxn>
              <a:cxn ang="0">
                <a:pos x="connsiteX66398" y="connsiteY66398"/>
              </a:cxn>
              <a:cxn ang="0">
                <a:pos x="connsiteX66399" y="connsiteY66399"/>
              </a:cxn>
              <a:cxn ang="0">
                <a:pos x="connsiteX66400" y="connsiteY66400"/>
              </a:cxn>
              <a:cxn ang="0">
                <a:pos x="connsiteX66401" y="connsiteY66401"/>
              </a:cxn>
              <a:cxn ang="0">
                <a:pos x="connsiteX66402" y="connsiteY66402"/>
              </a:cxn>
              <a:cxn ang="0">
                <a:pos x="connsiteX66403" y="connsiteY66403"/>
              </a:cxn>
              <a:cxn ang="0">
                <a:pos x="connsiteX66404" y="connsiteY66404"/>
              </a:cxn>
              <a:cxn ang="0">
                <a:pos x="connsiteX66405" y="connsiteY66405"/>
              </a:cxn>
              <a:cxn ang="0">
                <a:pos x="connsiteX66406" y="connsiteY66406"/>
              </a:cxn>
              <a:cxn ang="0">
                <a:pos x="connsiteX66407" y="connsiteY66407"/>
              </a:cxn>
              <a:cxn ang="0">
                <a:pos x="connsiteX66408" y="connsiteY66408"/>
              </a:cxn>
              <a:cxn ang="0">
                <a:pos x="connsiteX66409" y="connsiteY66409"/>
              </a:cxn>
              <a:cxn ang="0">
                <a:pos x="connsiteX66410" y="connsiteY66410"/>
              </a:cxn>
              <a:cxn ang="0">
                <a:pos x="connsiteX66411" y="connsiteY66411"/>
              </a:cxn>
              <a:cxn ang="0">
                <a:pos x="connsiteX66412" y="connsiteY66412"/>
              </a:cxn>
              <a:cxn ang="0">
                <a:pos x="connsiteX66413" y="connsiteY66413"/>
              </a:cxn>
              <a:cxn ang="0">
                <a:pos x="connsiteX66414" y="connsiteY66414"/>
              </a:cxn>
              <a:cxn ang="0">
                <a:pos x="connsiteX66415" y="connsiteY66415"/>
              </a:cxn>
              <a:cxn ang="0">
                <a:pos x="connsiteX66416" y="connsiteY66416"/>
              </a:cxn>
              <a:cxn ang="0">
                <a:pos x="connsiteX66417" y="connsiteY66417"/>
              </a:cxn>
              <a:cxn ang="0">
                <a:pos x="connsiteX66418" y="connsiteY66418"/>
              </a:cxn>
              <a:cxn ang="0">
                <a:pos x="connsiteX66419" y="connsiteY66419"/>
              </a:cxn>
              <a:cxn ang="0">
                <a:pos x="connsiteX66420" y="connsiteY66420"/>
              </a:cxn>
              <a:cxn ang="0">
                <a:pos x="connsiteX66421" y="connsiteY66421"/>
              </a:cxn>
              <a:cxn ang="0">
                <a:pos x="connsiteX66422" y="connsiteY66422"/>
              </a:cxn>
              <a:cxn ang="0">
                <a:pos x="connsiteX66423" y="connsiteY66423"/>
              </a:cxn>
              <a:cxn ang="0">
                <a:pos x="connsiteX66424" y="connsiteY66424"/>
              </a:cxn>
              <a:cxn ang="0">
                <a:pos x="connsiteX66425" y="connsiteY66425"/>
              </a:cxn>
              <a:cxn ang="0">
                <a:pos x="connsiteX66426" y="connsiteY66426"/>
              </a:cxn>
              <a:cxn ang="0">
                <a:pos x="connsiteX66427" y="connsiteY66427"/>
              </a:cxn>
              <a:cxn ang="0">
                <a:pos x="connsiteX66428" y="connsiteY66428"/>
              </a:cxn>
              <a:cxn ang="0">
                <a:pos x="connsiteX66429" y="connsiteY66429"/>
              </a:cxn>
              <a:cxn ang="0">
                <a:pos x="connsiteX66430" y="connsiteY66430"/>
              </a:cxn>
              <a:cxn ang="0">
                <a:pos x="connsiteX66431" y="connsiteY66431"/>
              </a:cxn>
              <a:cxn ang="0">
                <a:pos x="connsiteX66432" y="connsiteY66432"/>
              </a:cxn>
              <a:cxn ang="0">
                <a:pos x="connsiteX66433" y="connsiteY66433"/>
              </a:cxn>
              <a:cxn ang="0">
                <a:pos x="connsiteX66434" y="connsiteY66434"/>
              </a:cxn>
              <a:cxn ang="0">
                <a:pos x="connsiteX66435" y="connsiteY66435"/>
              </a:cxn>
              <a:cxn ang="0">
                <a:pos x="connsiteX66436" y="connsiteY66436"/>
              </a:cxn>
              <a:cxn ang="0">
                <a:pos x="connsiteX66437" y="connsiteY66437"/>
              </a:cxn>
              <a:cxn ang="0">
                <a:pos x="connsiteX66438" y="connsiteY66438"/>
              </a:cxn>
              <a:cxn ang="0">
                <a:pos x="connsiteX66439" y="connsiteY66439"/>
              </a:cxn>
              <a:cxn ang="0">
                <a:pos x="connsiteX66440" y="connsiteY66440"/>
              </a:cxn>
              <a:cxn ang="0">
                <a:pos x="connsiteX66441" y="connsiteY66441"/>
              </a:cxn>
              <a:cxn ang="0">
                <a:pos x="connsiteX66442" y="connsiteY66442"/>
              </a:cxn>
              <a:cxn ang="0">
                <a:pos x="connsiteX66443" y="connsiteY66443"/>
              </a:cxn>
              <a:cxn ang="0">
                <a:pos x="connsiteX66444" y="connsiteY66444"/>
              </a:cxn>
              <a:cxn ang="0">
                <a:pos x="connsiteX66445" y="connsiteY66445"/>
              </a:cxn>
              <a:cxn ang="0">
                <a:pos x="connsiteX66446" y="connsiteY66446"/>
              </a:cxn>
              <a:cxn ang="0">
                <a:pos x="connsiteX66447" y="connsiteY66447"/>
              </a:cxn>
              <a:cxn ang="0">
                <a:pos x="connsiteX66448" y="connsiteY66448"/>
              </a:cxn>
              <a:cxn ang="0">
                <a:pos x="connsiteX66449" y="connsiteY66449"/>
              </a:cxn>
              <a:cxn ang="0">
                <a:pos x="connsiteX66450" y="connsiteY66450"/>
              </a:cxn>
              <a:cxn ang="0">
                <a:pos x="connsiteX66451" y="connsiteY66451"/>
              </a:cxn>
              <a:cxn ang="0">
                <a:pos x="connsiteX66452" y="connsiteY66452"/>
              </a:cxn>
              <a:cxn ang="0">
                <a:pos x="connsiteX66453" y="connsiteY66453"/>
              </a:cxn>
              <a:cxn ang="0">
                <a:pos x="connsiteX66454" y="connsiteY66454"/>
              </a:cxn>
              <a:cxn ang="0">
                <a:pos x="connsiteX66455" y="connsiteY66455"/>
              </a:cxn>
              <a:cxn ang="0">
                <a:pos x="connsiteX66456" y="connsiteY66456"/>
              </a:cxn>
              <a:cxn ang="0">
                <a:pos x="connsiteX66457" y="connsiteY66457"/>
              </a:cxn>
              <a:cxn ang="0">
                <a:pos x="connsiteX66458" y="connsiteY66458"/>
              </a:cxn>
              <a:cxn ang="0">
                <a:pos x="connsiteX66459" y="connsiteY66459"/>
              </a:cxn>
              <a:cxn ang="0">
                <a:pos x="connsiteX66460" y="connsiteY66460"/>
              </a:cxn>
              <a:cxn ang="0">
                <a:pos x="connsiteX66461" y="connsiteY66461"/>
              </a:cxn>
              <a:cxn ang="0">
                <a:pos x="connsiteX66462" y="connsiteY66462"/>
              </a:cxn>
              <a:cxn ang="0">
                <a:pos x="connsiteX66463" y="connsiteY66463"/>
              </a:cxn>
              <a:cxn ang="0">
                <a:pos x="connsiteX66464" y="connsiteY66464"/>
              </a:cxn>
              <a:cxn ang="0">
                <a:pos x="connsiteX66465" y="connsiteY66465"/>
              </a:cxn>
              <a:cxn ang="0">
                <a:pos x="connsiteX66466" y="connsiteY66466"/>
              </a:cxn>
              <a:cxn ang="0">
                <a:pos x="connsiteX66467" y="connsiteY66467"/>
              </a:cxn>
              <a:cxn ang="0">
                <a:pos x="connsiteX66468" y="connsiteY66468"/>
              </a:cxn>
              <a:cxn ang="0">
                <a:pos x="connsiteX66469" y="connsiteY66469"/>
              </a:cxn>
              <a:cxn ang="0">
                <a:pos x="connsiteX66470" y="connsiteY66470"/>
              </a:cxn>
              <a:cxn ang="0">
                <a:pos x="connsiteX66471" y="connsiteY66471"/>
              </a:cxn>
              <a:cxn ang="0">
                <a:pos x="connsiteX66472" y="connsiteY66472"/>
              </a:cxn>
              <a:cxn ang="0">
                <a:pos x="connsiteX66473" y="connsiteY66473"/>
              </a:cxn>
              <a:cxn ang="0">
                <a:pos x="connsiteX66474" y="connsiteY66474"/>
              </a:cxn>
              <a:cxn ang="0">
                <a:pos x="connsiteX66475" y="connsiteY66475"/>
              </a:cxn>
              <a:cxn ang="0">
                <a:pos x="connsiteX66476" y="connsiteY66476"/>
              </a:cxn>
              <a:cxn ang="0">
                <a:pos x="connsiteX66477" y="connsiteY66477"/>
              </a:cxn>
              <a:cxn ang="0">
                <a:pos x="connsiteX66478" y="connsiteY66478"/>
              </a:cxn>
              <a:cxn ang="0">
                <a:pos x="connsiteX66479" y="connsiteY66479"/>
              </a:cxn>
              <a:cxn ang="0">
                <a:pos x="connsiteX66480" y="connsiteY66480"/>
              </a:cxn>
              <a:cxn ang="0">
                <a:pos x="connsiteX66481" y="connsiteY66481"/>
              </a:cxn>
              <a:cxn ang="0">
                <a:pos x="connsiteX66482" y="connsiteY66482"/>
              </a:cxn>
              <a:cxn ang="0">
                <a:pos x="connsiteX66483" y="connsiteY66483"/>
              </a:cxn>
              <a:cxn ang="0">
                <a:pos x="connsiteX66484" y="connsiteY66484"/>
              </a:cxn>
              <a:cxn ang="0">
                <a:pos x="connsiteX66485" y="connsiteY66485"/>
              </a:cxn>
              <a:cxn ang="0">
                <a:pos x="connsiteX66486" y="connsiteY66486"/>
              </a:cxn>
              <a:cxn ang="0">
                <a:pos x="connsiteX66487" y="connsiteY66487"/>
              </a:cxn>
              <a:cxn ang="0">
                <a:pos x="connsiteX66488" y="connsiteY66488"/>
              </a:cxn>
              <a:cxn ang="0">
                <a:pos x="connsiteX66489" y="connsiteY66489"/>
              </a:cxn>
              <a:cxn ang="0">
                <a:pos x="connsiteX66490" y="connsiteY66490"/>
              </a:cxn>
              <a:cxn ang="0">
                <a:pos x="connsiteX66491" y="connsiteY66491"/>
              </a:cxn>
              <a:cxn ang="0">
                <a:pos x="connsiteX66492" y="connsiteY66492"/>
              </a:cxn>
              <a:cxn ang="0">
                <a:pos x="connsiteX66493" y="connsiteY66493"/>
              </a:cxn>
              <a:cxn ang="0">
                <a:pos x="connsiteX66494" y="connsiteY66494"/>
              </a:cxn>
              <a:cxn ang="0">
                <a:pos x="connsiteX66495" y="connsiteY66495"/>
              </a:cxn>
              <a:cxn ang="0">
                <a:pos x="connsiteX66496" y="connsiteY66496"/>
              </a:cxn>
              <a:cxn ang="0">
                <a:pos x="connsiteX66497" y="connsiteY66497"/>
              </a:cxn>
              <a:cxn ang="0">
                <a:pos x="connsiteX66498" y="connsiteY66498"/>
              </a:cxn>
              <a:cxn ang="0">
                <a:pos x="connsiteX66499" y="connsiteY66499"/>
              </a:cxn>
              <a:cxn ang="0">
                <a:pos x="connsiteX66500" y="connsiteY66500"/>
              </a:cxn>
              <a:cxn ang="0">
                <a:pos x="connsiteX66501" y="connsiteY66501"/>
              </a:cxn>
              <a:cxn ang="0">
                <a:pos x="connsiteX66502" y="connsiteY66502"/>
              </a:cxn>
              <a:cxn ang="0">
                <a:pos x="connsiteX66503" y="connsiteY66503"/>
              </a:cxn>
              <a:cxn ang="0">
                <a:pos x="connsiteX66504" y="connsiteY66504"/>
              </a:cxn>
              <a:cxn ang="0">
                <a:pos x="connsiteX66505" y="connsiteY66505"/>
              </a:cxn>
              <a:cxn ang="0">
                <a:pos x="connsiteX66506" y="connsiteY66506"/>
              </a:cxn>
              <a:cxn ang="0">
                <a:pos x="connsiteX66507" y="connsiteY66507"/>
              </a:cxn>
              <a:cxn ang="0">
                <a:pos x="connsiteX66508" y="connsiteY66508"/>
              </a:cxn>
              <a:cxn ang="0">
                <a:pos x="connsiteX66509" y="connsiteY66509"/>
              </a:cxn>
              <a:cxn ang="0">
                <a:pos x="connsiteX66510" y="connsiteY66510"/>
              </a:cxn>
              <a:cxn ang="0">
                <a:pos x="connsiteX66511" y="connsiteY66511"/>
              </a:cxn>
              <a:cxn ang="0">
                <a:pos x="connsiteX66512" y="connsiteY66512"/>
              </a:cxn>
              <a:cxn ang="0">
                <a:pos x="connsiteX66513" y="connsiteY66513"/>
              </a:cxn>
              <a:cxn ang="0">
                <a:pos x="connsiteX66514" y="connsiteY66514"/>
              </a:cxn>
              <a:cxn ang="0">
                <a:pos x="connsiteX66515" y="connsiteY66515"/>
              </a:cxn>
              <a:cxn ang="0">
                <a:pos x="connsiteX66516" y="connsiteY66516"/>
              </a:cxn>
              <a:cxn ang="0">
                <a:pos x="connsiteX66517" y="connsiteY66517"/>
              </a:cxn>
              <a:cxn ang="0">
                <a:pos x="connsiteX66518" y="connsiteY66518"/>
              </a:cxn>
              <a:cxn ang="0">
                <a:pos x="connsiteX66519" y="connsiteY66519"/>
              </a:cxn>
              <a:cxn ang="0">
                <a:pos x="connsiteX66520" y="connsiteY66520"/>
              </a:cxn>
              <a:cxn ang="0">
                <a:pos x="connsiteX66521" y="connsiteY66521"/>
              </a:cxn>
              <a:cxn ang="0">
                <a:pos x="connsiteX66522" y="connsiteY66522"/>
              </a:cxn>
              <a:cxn ang="0">
                <a:pos x="connsiteX66523" y="connsiteY66523"/>
              </a:cxn>
              <a:cxn ang="0">
                <a:pos x="connsiteX66524" y="connsiteY66524"/>
              </a:cxn>
              <a:cxn ang="0">
                <a:pos x="connsiteX66525" y="connsiteY66525"/>
              </a:cxn>
              <a:cxn ang="0">
                <a:pos x="connsiteX66526" y="connsiteY66526"/>
              </a:cxn>
              <a:cxn ang="0">
                <a:pos x="connsiteX66527" y="connsiteY66527"/>
              </a:cxn>
              <a:cxn ang="0">
                <a:pos x="connsiteX66528" y="connsiteY66528"/>
              </a:cxn>
              <a:cxn ang="0">
                <a:pos x="connsiteX66529" y="connsiteY66529"/>
              </a:cxn>
              <a:cxn ang="0">
                <a:pos x="connsiteX66530" y="connsiteY66530"/>
              </a:cxn>
              <a:cxn ang="0">
                <a:pos x="connsiteX66531" y="connsiteY66531"/>
              </a:cxn>
              <a:cxn ang="0">
                <a:pos x="connsiteX66532" y="connsiteY66532"/>
              </a:cxn>
              <a:cxn ang="0">
                <a:pos x="connsiteX66533" y="connsiteY66533"/>
              </a:cxn>
              <a:cxn ang="0">
                <a:pos x="connsiteX66534" y="connsiteY66534"/>
              </a:cxn>
              <a:cxn ang="0">
                <a:pos x="connsiteX66535" y="connsiteY66535"/>
              </a:cxn>
              <a:cxn ang="0">
                <a:pos x="connsiteX66536" y="connsiteY66536"/>
              </a:cxn>
              <a:cxn ang="0">
                <a:pos x="connsiteX66537" y="connsiteY66537"/>
              </a:cxn>
              <a:cxn ang="0">
                <a:pos x="connsiteX66538" y="connsiteY66538"/>
              </a:cxn>
              <a:cxn ang="0">
                <a:pos x="connsiteX66539" y="connsiteY66539"/>
              </a:cxn>
              <a:cxn ang="0">
                <a:pos x="connsiteX66540" y="connsiteY66540"/>
              </a:cxn>
              <a:cxn ang="0">
                <a:pos x="connsiteX66541" y="connsiteY66541"/>
              </a:cxn>
              <a:cxn ang="0">
                <a:pos x="connsiteX66542" y="connsiteY66542"/>
              </a:cxn>
              <a:cxn ang="0">
                <a:pos x="connsiteX66543" y="connsiteY66543"/>
              </a:cxn>
              <a:cxn ang="0">
                <a:pos x="connsiteX66544" y="connsiteY66544"/>
              </a:cxn>
              <a:cxn ang="0">
                <a:pos x="connsiteX66545" y="connsiteY66545"/>
              </a:cxn>
              <a:cxn ang="0">
                <a:pos x="connsiteX66546" y="connsiteY66546"/>
              </a:cxn>
              <a:cxn ang="0">
                <a:pos x="connsiteX66547" y="connsiteY66547"/>
              </a:cxn>
              <a:cxn ang="0">
                <a:pos x="connsiteX66548" y="connsiteY66548"/>
              </a:cxn>
              <a:cxn ang="0">
                <a:pos x="connsiteX66549" y="connsiteY66549"/>
              </a:cxn>
              <a:cxn ang="0">
                <a:pos x="connsiteX66550" y="connsiteY66550"/>
              </a:cxn>
              <a:cxn ang="0">
                <a:pos x="connsiteX66551" y="connsiteY66551"/>
              </a:cxn>
              <a:cxn ang="0">
                <a:pos x="connsiteX66552" y="connsiteY66552"/>
              </a:cxn>
              <a:cxn ang="0">
                <a:pos x="connsiteX66553" y="connsiteY66553"/>
              </a:cxn>
              <a:cxn ang="0">
                <a:pos x="connsiteX66554" y="connsiteY66554"/>
              </a:cxn>
              <a:cxn ang="0">
                <a:pos x="connsiteX66555" y="connsiteY66555"/>
              </a:cxn>
              <a:cxn ang="0">
                <a:pos x="connsiteX66556" y="connsiteY66556"/>
              </a:cxn>
              <a:cxn ang="0">
                <a:pos x="connsiteX66557" y="connsiteY66557"/>
              </a:cxn>
              <a:cxn ang="0">
                <a:pos x="connsiteX66558" y="connsiteY66558"/>
              </a:cxn>
              <a:cxn ang="0">
                <a:pos x="connsiteX66559" y="connsiteY66559"/>
              </a:cxn>
              <a:cxn ang="0">
                <a:pos x="connsiteX66560" y="connsiteY66560"/>
              </a:cxn>
              <a:cxn ang="0">
                <a:pos x="connsiteX66561" y="connsiteY66561"/>
              </a:cxn>
              <a:cxn ang="0">
                <a:pos x="connsiteX66562" y="connsiteY66562"/>
              </a:cxn>
              <a:cxn ang="0">
                <a:pos x="connsiteX66563" y="connsiteY66563"/>
              </a:cxn>
              <a:cxn ang="0">
                <a:pos x="connsiteX66564" y="connsiteY66564"/>
              </a:cxn>
              <a:cxn ang="0">
                <a:pos x="connsiteX66565" y="connsiteY66565"/>
              </a:cxn>
              <a:cxn ang="0">
                <a:pos x="connsiteX66566" y="connsiteY66566"/>
              </a:cxn>
              <a:cxn ang="0">
                <a:pos x="connsiteX66567" y="connsiteY66567"/>
              </a:cxn>
              <a:cxn ang="0">
                <a:pos x="connsiteX66568" y="connsiteY66568"/>
              </a:cxn>
              <a:cxn ang="0">
                <a:pos x="connsiteX66569" y="connsiteY66569"/>
              </a:cxn>
              <a:cxn ang="0">
                <a:pos x="connsiteX66570" y="connsiteY66570"/>
              </a:cxn>
              <a:cxn ang="0">
                <a:pos x="connsiteX66571" y="connsiteY66571"/>
              </a:cxn>
              <a:cxn ang="0">
                <a:pos x="connsiteX66572" y="connsiteY66572"/>
              </a:cxn>
              <a:cxn ang="0">
                <a:pos x="connsiteX66573" y="connsiteY66573"/>
              </a:cxn>
              <a:cxn ang="0">
                <a:pos x="connsiteX66574" y="connsiteY66574"/>
              </a:cxn>
              <a:cxn ang="0">
                <a:pos x="connsiteX66575" y="connsiteY66575"/>
              </a:cxn>
              <a:cxn ang="0">
                <a:pos x="connsiteX66576" y="connsiteY66576"/>
              </a:cxn>
              <a:cxn ang="0">
                <a:pos x="connsiteX66577" y="connsiteY66577"/>
              </a:cxn>
              <a:cxn ang="0">
                <a:pos x="connsiteX66578" y="connsiteY66578"/>
              </a:cxn>
              <a:cxn ang="0">
                <a:pos x="connsiteX66579" y="connsiteY66579"/>
              </a:cxn>
              <a:cxn ang="0">
                <a:pos x="connsiteX66580" y="connsiteY66580"/>
              </a:cxn>
              <a:cxn ang="0">
                <a:pos x="connsiteX66581" y="connsiteY66581"/>
              </a:cxn>
              <a:cxn ang="0">
                <a:pos x="connsiteX66582" y="connsiteY66582"/>
              </a:cxn>
              <a:cxn ang="0">
                <a:pos x="connsiteX66583" y="connsiteY66583"/>
              </a:cxn>
              <a:cxn ang="0">
                <a:pos x="connsiteX66584" y="connsiteY66584"/>
              </a:cxn>
              <a:cxn ang="0">
                <a:pos x="connsiteX66585" y="connsiteY66585"/>
              </a:cxn>
              <a:cxn ang="0">
                <a:pos x="connsiteX66586" y="connsiteY66586"/>
              </a:cxn>
              <a:cxn ang="0">
                <a:pos x="connsiteX66587" y="connsiteY66587"/>
              </a:cxn>
              <a:cxn ang="0">
                <a:pos x="connsiteX66588" y="connsiteY66588"/>
              </a:cxn>
              <a:cxn ang="0">
                <a:pos x="connsiteX66589" y="connsiteY66589"/>
              </a:cxn>
              <a:cxn ang="0">
                <a:pos x="connsiteX66590" y="connsiteY66590"/>
              </a:cxn>
              <a:cxn ang="0">
                <a:pos x="connsiteX66591" y="connsiteY66591"/>
              </a:cxn>
              <a:cxn ang="0">
                <a:pos x="connsiteX66592" y="connsiteY66592"/>
              </a:cxn>
              <a:cxn ang="0">
                <a:pos x="connsiteX66593" y="connsiteY66593"/>
              </a:cxn>
              <a:cxn ang="0">
                <a:pos x="connsiteX66594" y="connsiteY66594"/>
              </a:cxn>
              <a:cxn ang="0">
                <a:pos x="connsiteX66595" y="connsiteY66595"/>
              </a:cxn>
              <a:cxn ang="0">
                <a:pos x="connsiteX66596" y="connsiteY66596"/>
              </a:cxn>
              <a:cxn ang="0">
                <a:pos x="connsiteX66597" y="connsiteY66597"/>
              </a:cxn>
              <a:cxn ang="0">
                <a:pos x="connsiteX66598" y="connsiteY66598"/>
              </a:cxn>
              <a:cxn ang="0">
                <a:pos x="connsiteX66599" y="connsiteY66599"/>
              </a:cxn>
              <a:cxn ang="0">
                <a:pos x="connsiteX66600" y="connsiteY66600"/>
              </a:cxn>
              <a:cxn ang="0">
                <a:pos x="connsiteX66601" y="connsiteY66601"/>
              </a:cxn>
              <a:cxn ang="0">
                <a:pos x="connsiteX66602" y="connsiteY66602"/>
              </a:cxn>
              <a:cxn ang="0">
                <a:pos x="connsiteX66603" y="connsiteY66603"/>
              </a:cxn>
              <a:cxn ang="0">
                <a:pos x="connsiteX66604" y="connsiteY66604"/>
              </a:cxn>
              <a:cxn ang="0">
                <a:pos x="connsiteX66605" y="connsiteY66605"/>
              </a:cxn>
              <a:cxn ang="0">
                <a:pos x="connsiteX66606" y="connsiteY66606"/>
              </a:cxn>
              <a:cxn ang="0">
                <a:pos x="connsiteX66607" y="connsiteY66607"/>
              </a:cxn>
              <a:cxn ang="0">
                <a:pos x="connsiteX66608" y="connsiteY66608"/>
              </a:cxn>
              <a:cxn ang="0">
                <a:pos x="connsiteX66609" y="connsiteY66609"/>
              </a:cxn>
              <a:cxn ang="0">
                <a:pos x="connsiteX66610" y="connsiteY66610"/>
              </a:cxn>
              <a:cxn ang="0">
                <a:pos x="connsiteX66611" y="connsiteY66611"/>
              </a:cxn>
              <a:cxn ang="0">
                <a:pos x="connsiteX66612" y="connsiteY66612"/>
              </a:cxn>
              <a:cxn ang="0">
                <a:pos x="connsiteX66613" y="connsiteY66613"/>
              </a:cxn>
              <a:cxn ang="0">
                <a:pos x="connsiteX66614" y="connsiteY66614"/>
              </a:cxn>
              <a:cxn ang="0">
                <a:pos x="connsiteX66615" y="connsiteY66615"/>
              </a:cxn>
              <a:cxn ang="0">
                <a:pos x="connsiteX66616" y="connsiteY66616"/>
              </a:cxn>
              <a:cxn ang="0">
                <a:pos x="connsiteX66617" y="connsiteY66617"/>
              </a:cxn>
              <a:cxn ang="0">
                <a:pos x="connsiteX66618" y="connsiteY66618"/>
              </a:cxn>
              <a:cxn ang="0">
                <a:pos x="connsiteX66619" y="connsiteY66619"/>
              </a:cxn>
              <a:cxn ang="0">
                <a:pos x="connsiteX66620" y="connsiteY66620"/>
              </a:cxn>
              <a:cxn ang="0">
                <a:pos x="connsiteX66621" y="connsiteY66621"/>
              </a:cxn>
              <a:cxn ang="0">
                <a:pos x="connsiteX66622" y="connsiteY66622"/>
              </a:cxn>
              <a:cxn ang="0">
                <a:pos x="connsiteX66623" y="connsiteY66623"/>
              </a:cxn>
              <a:cxn ang="0">
                <a:pos x="connsiteX66624" y="connsiteY66624"/>
              </a:cxn>
              <a:cxn ang="0">
                <a:pos x="connsiteX66625" y="connsiteY66625"/>
              </a:cxn>
              <a:cxn ang="0">
                <a:pos x="connsiteX66626" y="connsiteY66626"/>
              </a:cxn>
              <a:cxn ang="0">
                <a:pos x="connsiteX66627" y="connsiteY66627"/>
              </a:cxn>
              <a:cxn ang="0">
                <a:pos x="connsiteX66628" y="connsiteY66628"/>
              </a:cxn>
              <a:cxn ang="0">
                <a:pos x="connsiteX66629" y="connsiteY66629"/>
              </a:cxn>
              <a:cxn ang="0">
                <a:pos x="connsiteX66630" y="connsiteY66630"/>
              </a:cxn>
              <a:cxn ang="0">
                <a:pos x="connsiteX66631" y="connsiteY66631"/>
              </a:cxn>
              <a:cxn ang="0">
                <a:pos x="connsiteX66632" y="connsiteY66632"/>
              </a:cxn>
              <a:cxn ang="0">
                <a:pos x="connsiteX66633" y="connsiteY66633"/>
              </a:cxn>
              <a:cxn ang="0">
                <a:pos x="connsiteX66634" y="connsiteY66634"/>
              </a:cxn>
              <a:cxn ang="0">
                <a:pos x="connsiteX66635" y="connsiteY66635"/>
              </a:cxn>
              <a:cxn ang="0">
                <a:pos x="connsiteX66636" y="connsiteY66636"/>
              </a:cxn>
              <a:cxn ang="0">
                <a:pos x="connsiteX66637" y="connsiteY66637"/>
              </a:cxn>
              <a:cxn ang="0">
                <a:pos x="connsiteX66638" y="connsiteY66638"/>
              </a:cxn>
              <a:cxn ang="0">
                <a:pos x="connsiteX66639" y="connsiteY66639"/>
              </a:cxn>
              <a:cxn ang="0">
                <a:pos x="connsiteX66640" y="connsiteY66640"/>
              </a:cxn>
              <a:cxn ang="0">
                <a:pos x="connsiteX66641" y="connsiteY66641"/>
              </a:cxn>
              <a:cxn ang="0">
                <a:pos x="connsiteX66642" y="connsiteY66642"/>
              </a:cxn>
              <a:cxn ang="0">
                <a:pos x="connsiteX66643" y="connsiteY66643"/>
              </a:cxn>
              <a:cxn ang="0">
                <a:pos x="connsiteX66644" y="connsiteY66644"/>
              </a:cxn>
              <a:cxn ang="0">
                <a:pos x="connsiteX66645" y="connsiteY66645"/>
              </a:cxn>
              <a:cxn ang="0">
                <a:pos x="connsiteX66646" y="connsiteY66646"/>
              </a:cxn>
              <a:cxn ang="0">
                <a:pos x="connsiteX66647" y="connsiteY66647"/>
              </a:cxn>
              <a:cxn ang="0">
                <a:pos x="connsiteX66648" y="connsiteY66648"/>
              </a:cxn>
              <a:cxn ang="0">
                <a:pos x="connsiteX66649" y="connsiteY66649"/>
              </a:cxn>
              <a:cxn ang="0">
                <a:pos x="connsiteX66650" y="connsiteY66650"/>
              </a:cxn>
              <a:cxn ang="0">
                <a:pos x="connsiteX66651" y="connsiteY66651"/>
              </a:cxn>
              <a:cxn ang="0">
                <a:pos x="connsiteX66652" y="connsiteY66652"/>
              </a:cxn>
              <a:cxn ang="0">
                <a:pos x="connsiteX66653" y="connsiteY66653"/>
              </a:cxn>
              <a:cxn ang="0">
                <a:pos x="connsiteX66654" y="connsiteY66654"/>
              </a:cxn>
              <a:cxn ang="0">
                <a:pos x="connsiteX66655" y="connsiteY66655"/>
              </a:cxn>
              <a:cxn ang="0">
                <a:pos x="connsiteX66656" y="connsiteY66656"/>
              </a:cxn>
              <a:cxn ang="0">
                <a:pos x="connsiteX66657" y="connsiteY66657"/>
              </a:cxn>
              <a:cxn ang="0">
                <a:pos x="connsiteX66658" y="connsiteY66658"/>
              </a:cxn>
              <a:cxn ang="0">
                <a:pos x="connsiteX66659" y="connsiteY66659"/>
              </a:cxn>
              <a:cxn ang="0">
                <a:pos x="connsiteX66660" y="connsiteY66660"/>
              </a:cxn>
              <a:cxn ang="0">
                <a:pos x="connsiteX66661" y="connsiteY66661"/>
              </a:cxn>
              <a:cxn ang="0">
                <a:pos x="connsiteX66662" y="connsiteY66662"/>
              </a:cxn>
              <a:cxn ang="0">
                <a:pos x="connsiteX66663" y="connsiteY66663"/>
              </a:cxn>
              <a:cxn ang="0">
                <a:pos x="connsiteX66664" y="connsiteY66664"/>
              </a:cxn>
              <a:cxn ang="0">
                <a:pos x="connsiteX66665" y="connsiteY66665"/>
              </a:cxn>
              <a:cxn ang="0">
                <a:pos x="connsiteX66666" y="connsiteY66666"/>
              </a:cxn>
              <a:cxn ang="0">
                <a:pos x="connsiteX66667" y="connsiteY66667"/>
              </a:cxn>
              <a:cxn ang="0">
                <a:pos x="connsiteX66668" y="connsiteY66668"/>
              </a:cxn>
              <a:cxn ang="0">
                <a:pos x="connsiteX66669" y="connsiteY66669"/>
              </a:cxn>
              <a:cxn ang="0">
                <a:pos x="connsiteX66670" y="connsiteY66670"/>
              </a:cxn>
              <a:cxn ang="0">
                <a:pos x="connsiteX66671" y="connsiteY66671"/>
              </a:cxn>
              <a:cxn ang="0">
                <a:pos x="connsiteX66672" y="connsiteY66672"/>
              </a:cxn>
              <a:cxn ang="0">
                <a:pos x="connsiteX66673" y="connsiteY66673"/>
              </a:cxn>
              <a:cxn ang="0">
                <a:pos x="connsiteX66674" y="connsiteY66674"/>
              </a:cxn>
              <a:cxn ang="0">
                <a:pos x="connsiteX66675" y="connsiteY66675"/>
              </a:cxn>
              <a:cxn ang="0">
                <a:pos x="connsiteX66676" y="connsiteY66676"/>
              </a:cxn>
              <a:cxn ang="0">
                <a:pos x="connsiteX66677" y="connsiteY66677"/>
              </a:cxn>
              <a:cxn ang="0">
                <a:pos x="connsiteX66678" y="connsiteY66678"/>
              </a:cxn>
              <a:cxn ang="0">
                <a:pos x="connsiteX66679" y="connsiteY66679"/>
              </a:cxn>
              <a:cxn ang="0">
                <a:pos x="connsiteX66680" y="connsiteY66680"/>
              </a:cxn>
              <a:cxn ang="0">
                <a:pos x="connsiteX66681" y="connsiteY66681"/>
              </a:cxn>
              <a:cxn ang="0">
                <a:pos x="connsiteX66682" y="connsiteY66682"/>
              </a:cxn>
              <a:cxn ang="0">
                <a:pos x="connsiteX66683" y="connsiteY66683"/>
              </a:cxn>
              <a:cxn ang="0">
                <a:pos x="connsiteX66684" y="connsiteY66684"/>
              </a:cxn>
              <a:cxn ang="0">
                <a:pos x="connsiteX66685" y="connsiteY66685"/>
              </a:cxn>
              <a:cxn ang="0">
                <a:pos x="connsiteX66686" y="connsiteY66686"/>
              </a:cxn>
              <a:cxn ang="0">
                <a:pos x="connsiteX66687" y="connsiteY66687"/>
              </a:cxn>
              <a:cxn ang="0">
                <a:pos x="connsiteX66688" y="connsiteY66688"/>
              </a:cxn>
              <a:cxn ang="0">
                <a:pos x="connsiteX66689" y="connsiteY66689"/>
              </a:cxn>
              <a:cxn ang="0">
                <a:pos x="connsiteX66690" y="connsiteY66690"/>
              </a:cxn>
              <a:cxn ang="0">
                <a:pos x="connsiteX66691" y="connsiteY66691"/>
              </a:cxn>
              <a:cxn ang="0">
                <a:pos x="connsiteX66692" y="connsiteY66692"/>
              </a:cxn>
              <a:cxn ang="0">
                <a:pos x="connsiteX66693" y="connsiteY66693"/>
              </a:cxn>
              <a:cxn ang="0">
                <a:pos x="connsiteX66694" y="connsiteY66694"/>
              </a:cxn>
              <a:cxn ang="0">
                <a:pos x="connsiteX66695" y="connsiteY66695"/>
              </a:cxn>
              <a:cxn ang="0">
                <a:pos x="connsiteX66696" y="connsiteY66696"/>
              </a:cxn>
              <a:cxn ang="0">
                <a:pos x="connsiteX66697" y="connsiteY66697"/>
              </a:cxn>
              <a:cxn ang="0">
                <a:pos x="connsiteX66698" y="connsiteY66698"/>
              </a:cxn>
              <a:cxn ang="0">
                <a:pos x="connsiteX66699" y="connsiteY66699"/>
              </a:cxn>
              <a:cxn ang="0">
                <a:pos x="connsiteX66700" y="connsiteY66700"/>
              </a:cxn>
              <a:cxn ang="0">
                <a:pos x="connsiteX66701" y="connsiteY66701"/>
              </a:cxn>
              <a:cxn ang="0">
                <a:pos x="connsiteX66702" y="connsiteY66702"/>
              </a:cxn>
              <a:cxn ang="0">
                <a:pos x="connsiteX66703" y="connsiteY66703"/>
              </a:cxn>
              <a:cxn ang="0">
                <a:pos x="connsiteX66704" y="connsiteY66704"/>
              </a:cxn>
              <a:cxn ang="0">
                <a:pos x="connsiteX66705" y="connsiteY66705"/>
              </a:cxn>
              <a:cxn ang="0">
                <a:pos x="connsiteX66706" y="connsiteY66706"/>
              </a:cxn>
              <a:cxn ang="0">
                <a:pos x="connsiteX66707" y="connsiteY66707"/>
              </a:cxn>
              <a:cxn ang="0">
                <a:pos x="connsiteX66708" y="connsiteY66708"/>
              </a:cxn>
              <a:cxn ang="0">
                <a:pos x="connsiteX66709" y="connsiteY66709"/>
              </a:cxn>
              <a:cxn ang="0">
                <a:pos x="connsiteX66710" y="connsiteY66710"/>
              </a:cxn>
              <a:cxn ang="0">
                <a:pos x="connsiteX66711" y="connsiteY66711"/>
              </a:cxn>
              <a:cxn ang="0">
                <a:pos x="connsiteX66712" y="connsiteY66712"/>
              </a:cxn>
              <a:cxn ang="0">
                <a:pos x="connsiteX66713" y="connsiteY66713"/>
              </a:cxn>
              <a:cxn ang="0">
                <a:pos x="connsiteX66714" y="connsiteY66714"/>
              </a:cxn>
              <a:cxn ang="0">
                <a:pos x="connsiteX66715" y="connsiteY66715"/>
              </a:cxn>
              <a:cxn ang="0">
                <a:pos x="connsiteX66716" y="connsiteY66716"/>
              </a:cxn>
              <a:cxn ang="0">
                <a:pos x="connsiteX66717" y="connsiteY66717"/>
              </a:cxn>
              <a:cxn ang="0">
                <a:pos x="connsiteX66718" y="connsiteY66718"/>
              </a:cxn>
              <a:cxn ang="0">
                <a:pos x="connsiteX66719" y="connsiteY66719"/>
              </a:cxn>
              <a:cxn ang="0">
                <a:pos x="connsiteX66720" y="connsiteY66720"/>
              </a:cxn>
              <a:cxn ang="0">
                <a:pos x="connsiteX66721" y="connsiteY66721"/>
              </a:cxn>
              <a:cxn ang="0">
                <a:pos x="connsiteX66722" y="connsiteY66722"/>
              </a:cxn>
              <a:cxn ang="0">
                <a:pos x="connsiteX66723" y="connsiteY66723"/>
              </a:cxn>
              <a:cxn ang="0">
                <a:pos x="connsiteX66724" y="connsiteY66724"/>
              </a:cxn>
              <a:cxn ang="0">
                <a:pos x="connsiteX66725" y="connsiteY66725"/>
              </a:cxn>
              <a:cxn ang="0">
                <a:pos x="connsiteX66726" y="connsiteY66726"/>
              </a:cxn>
              <a:cxn ang="0">
                <a:pos x="connsiteX66727" y="connsiteY66727"/>
              </a:cxn>
              <a:cxn ang="0">
                <a:pos x="connsiteX66728" y="connsiteY66728"/>
              </a:cxn>
              <a:cxn ang="0">
                <a:pos x="connsiteX66729" y="connsiteY66729"/>
              </a:cxn>
              <a:cxn ang="0">
                <a:pos x="connsiteX66730" y="connsiteY66730"/>
              </a:cxn>
              <a:cxn ang="0">
                <a:pos x="connsiteX66731" y="connsiteY66731"/>
              </a:cxn>
              <a:cxn ang="0">
                <a:pos x="connsiteX66732" y="connsiteY66732"/>
              </a:cxn>
              <a:cxn ang="0">
                <a:pos x="connsiteX66733" y="connsiteY66733"/>
              </a:cxn>
              <a:cxn ang="0">
                <a:pos x="connsiteX66734" y="connsiteY66734"/>
              </a:cxn>
              <a:cxn ang="0">
                <a:pos x="connsiteX66735" y="connsiteY66735"/>
              </a:cxn>
              <a:cxn ang="0">
                <a:pos x="connsiteX66736" y="connsiteY66736"/>
              </a:cxn>
              <a:cxn ang="0">
                <a:pos x="connsiteX66737" y="connsiteY66737"/>
              </a:cxn>
              <a:cxn ang="0">
                <a:pos x="connsiteX66738" y="connsiteY66738"/>
              </a:cxn>
              <a:cxn ang="0">
                <a:pos x="connsiteX66739" y="connsiteY66739"/>
              </a:cxn>
              <a:cxn ang="0">
                <a:pos x="connsiteX66740" y="connsiteY66740"/>
              </a:cxn>
              <a:cxn ang="0">
                <a:pos x="connsiteX66741" y="connsiteY66741"/>
              </a:cxn>
              <a:cxn ang="0">
                <a:pos x="connsiteX66742" y="connsiteY66742"/>
              </a:cxn>
              <a:cxn ang="0">
                <a:pos x="connsiteX66743" y="connsiteY66743"/>
              </a:cxn>
              <a:cxn ang="0">
                <a:pos x="connsiteX66744" y="connsiteY66744"/>
              </a:cxn>
              <a:cxn ang="0">
                <a:pos x="connsiteX66745" y="connsiteY66745"/>
              </a:cxn>
              <a:cxn ang="0">
                <a:pos x="connsiteX66746" y="connsiteY66746"/>
              </a:cxn>
              <a:cxn ang="0">
                <a:pos x="connsiteX66747" y="connsiteY66747"/>
              </a:cxn>
              <a:cxn ang="0">
                <a:pos x="connsiteX66748" y="connsiteY66748"/>
              </a:cxn>
              <a:cxn ang="0">
                <a:pos x="connsiteX66749" y="connsiteY66749"/>
              </a:cxn>
              <a:cxn ang="0">
                <a:pos x="connsiteX66750" y="connsiteY66750"/>
              </a:cxn>
              <a:cxn ang="0">
                <a:pos x="connsiteX66751" y="connsiteY66751"/>
              </a:cxn>
              <a:cxn ang="0">
                <a:pos x="connsiteX66752" y="connsiteY66752"/>
              </a:cxn>
              <a:cxn ang="0">
                <a:pos x="connsiteX66753" y="connsiteY66753"/>
              </a:cxn>
              <a:cxn ang="0">
                <a:pos x="connsiteX66754" y="connsiteY66754"/>
              </a:cxn>
              <a:cxn ang="0">
                <a:pos x="connsiteX66755" y="connsiteY66755"/>
              </a:cxn>
              <a:cxn ang="0">
                <a:pos x="connsiteX66756" y="connsiteY66756"/>
              </a:cxn>
              <a:cxn ang="0">
                <a:pos x="connsiteX66757" y="connsiteY66757"/>
              </a:cxn>
              <a:cxn ang="0">
                <a:pos x="connsiteX66758" y="connsiteY66758"/>
              </a:cxn>
              <a:cxn ang="0">
                <a:pos x="connsiteX66759" y="connsiteY66759"/>
              </a:cxn>
              <a:cxn ang="0">
                <a:pos x="connsiteX66760" y="connsiteY66760"/>
              </a:cxn>
              <a:cxn ang="0">
                <a:pos x="connsiteX66761" y="connsiteY66761"/>
              </a:cxn>
              <a:cxn ang="0">
                <a:pos x="connsiteX66762" y="connsiteY66762"/>
              </a:cxn>
              <a:cxn ang="0">
                <a:pos x="connsiteX66763" y="connsiteY66763"/>
              </a:cxn>
              <a:cxn ang="0">
                <a:pos x="connsiteX66764" y="connsiteY66764"/>
              </a:cxn>
              <a:cxn ang="0">
                <a:pos x="connsiteX66765" y="connsiteY66765"/>
              </a:cxn>
              <a:cxn ang="0">
                <a:pos x="connsiteX66766" y="connsiteY66766"/>
              </a:cxn>
              <a:cxn ang="0">
                <a:pos x="connsiteX66767" y="connsiteY66767"/>
              </a:cxn>
              <a:cxn ang="0">
                <a:pos x="connsiteX66768" y="connsiteY66768"/>
              </a:cxn>
              <a:cxn ang="0">
                <a:pos x="connsiteX66769" y="connsiteY66769"/>
              </a:cxn>
              <a:cxn ang="0">
                <a:pos x="connsiteX66770" y="connsiteY66770"/>
              </a:cxn>
              <a:cxn ang="0">
                <a:pos x="connsiteX66771" y="connsiteY66771"/>
              </a:cxn>
              <a:cxn ang="0">
                <a:pos x="connsiteX66772" y="connsiteY66772"/>
              </a:cxn>
              <a:cxn ang="0">
                <a:pos x="connsiteX66773" y="connsiteY66773"/>
              </a:cxn>
              <a:cxn ang="0">
                <a:pos x="connsiteX66774" y="connsiteY66774"/>
              </a:cxn>
              <a:cxn ang="0">
                <a:pos x="connsiteX66775" y="connsiteY66775"/>
              </a:cxn>
              <a:cxn ang="0">
                <a:pos x="connsiteX66776" y="connsiteY66776"/>
              </a:cxn>
              <a:cxn ang="0">
                <a:pos x="connsiteX66777" y="connsiteY66777"/>
              </a:cxn>
              <a:cxn ang="0">
                <a:pos x="connsiteX66778" y="connsiteY66778"/>
              </a:cxn>
              <a:cxn ang="0">
                <a:pos x="connsiteX66779" y="connsiteY66779"/>
              </a:cxn>
              <a:cxn ang="0">
                <a:pos x="connsiteX66780" y="connsiteY66780"/>
              </a:cxn>
              <a:cxn ang="0">
                <a:pos x="connsiteX66781" y="connsiteY66781"/>
              </a:cxn>
              <a:cxn ang="0">
                <a:pos x="connsiteX66782" y="connsiteY66782"/>
              </a:cxn>
              <a:cxn ang="0">
                <a:pos x="connsiteX66783" y="connsiteY66783"/>
              </a:cxn>
              <a:cxn ang="0">
                <a:pos x="connsiteX66784" y="connsiteY66784"/>
              </a:cxn>
              <a:cxn ang="0">
                <a:pos x="connsiteX66785" y="connsiteY66785"/>
              </a:cxn>
              <a:cxn ang="0">
                <a:pos x="connsiteX66786" y="connsiteY66786"/>
              </a:cxn>
              <a:cxn ang="0">
                <a:pos x="connsiteX66787" y="connsiteY66787"/>
              </a:cxn>
              <a:cxn ang="0">
                <a:pos x="connsiteX66788" y="connsiteY66788"/>
              </a:cxn>
              <a:cxn ang="0">
                <a:pos x="connsiteX66789" y="connsiteY66789"/>
              </a:cxn>
              <a:cxn ang="0">
                <a:pos x="connsiteX66790" y="connsiteY66790"/>
              </a:cxn>
              <a:cxn ang="0">
                <a:pos x="connsiteX66791" y="connsiteY66791"/>
              </a:cxn>
              <a:cxn ang="0">
                <a:pos x="connsiteX66792" y="connsiteY66792"/>
              </a:cxn>
              <a:cxn ang="0">
                <a:pos x="connsiteX66793" y="connsiteY66793"/>
              </a:cxn>
              <a:cxn ang="0">
                <a:pos x="connsiteX66794" y="connsiteY66794"/>
              </a:cxn>
              <a:cxn ang="0">
                <a:pos x="connsiteX66795" y="connsiteY66795"/>
              </a:cxn>
              <a:cxn ang="0">
                <a:pos x="connsiteX66796" y="connsiteY66796"/>
              </a:cxn>
              <a:cxn ang="0">
                <a:pos x="connsiteX66797" y="connsiteY66797"/>
              </a:cxn>
              <a:cxn ang="0">
                <a:pos x="connsiteX66798" y="connsiteY66798"/>
              </a:cxn>
              <a:cxn ang="0">
                <a:pos x="connsiteX66799" y="connsiteY66799"/>
              </a:cxn>
              <a:cxn ang="0">
                <a:pos x="connsiteX66800" y="connsiteY66800"/>
              </a:cxn>
              <a:cxn ang="0">
                <a:pos x="connsiteX66801" y="connsiteY66801"/>
              </a:cxn>
              <a:cxn ang="0">
                <a:pos x="connsiteX66802" y="connsiteY66802"/>
              </a:cxn>
              <a:cxn ang="0">
                <a:pos x="connsiteX66803" y="connsiteY66803"/>
              </a:cxn>
              <a:cxn ang="0">
                <a:pos x="connsiteX66804" y="connsiteY66804"/>
              </a:cxn>
              <a:cxn ang="0">
                <a:pos x="connsiteX66805" y="connsiteY66805"/>
              </a:cxn>
              <a:cxn ang="0">
                <a:pos x="connsiteX66806" y="connsiteY66806"/>
              </a:cxn>
              <a:cxn ang="0">
                <a:pos x="connsiteX66807" y="connsiteY66807"/>
              </a:cxn>
              <a:cxn ang="0">
                <a:pos x="connsiteX66808" y="connsiteY66808"/>
              </a:cxn>
              <a:cxn ang="0">
                <a:pos x="connsiteX66809" y="connsiteY66809"/>
              </a:cxn>
              <a:cxn ang="0">
                <a:pos x="connsiteX66810" y="connsiteY66810"/>
              </a:cxn>
              <a:cxn ang="0">
                <a:pos x="connsiteX66811" y="connsiteY66811"/>
              </a:cxn>
              <a:cxn ang="0">
                <a:pos x="connsiteX66812" y="connsiteY66812"/>
              </a:cxn>
              <a:cxn ang="0">
                <a:pos x="connsiteX66813" y="connsiteY66813"/>
              </a:cxn>
              <a:cxn ang="0">
                <a:pos x="connsiteX66814" y="connsiteY66814"/>
              </a:cxn>
              <a:cxn ang="0">
                <a:pos x="connsiteX66815" y="connsiteY66815"/>
              </a:cxn>
              <a:cxn ang="0">
                <a:pos x="connsiteX66816" y="connsiteY66816"/>
              </a:cxn>
              <a:cxn ang="0">
                <a:pos x="connsiteX66817" y="connsiteY66817"/>
              </a:cxn>
              <a:cxn ang="0">
                <a:pos x="connsiteX66818" y="connsiteY66818"/>
              </a:cxn>
              <a:cxn ang="0">
                <a:pos x="connsiteX66819" y="connsiteY66819"/>
              </a:cxn>
              <a:cxn ang="0">
                <a:pos x="connsiteX66820" y="connsiteY66820"/>
              </a:cxn>
              <a:cxn ang="0">
                <a:pos x="connsiteX66821" y="connsiteY66821"/>
              </a:cxn>
              <a:cxn ang="0">
                <a:pos x="connsiteX66822" y="connsiteY66822"/>
              </a:cxn>
              <a:cxn ang="0">
                <a:pos x="connsiteX66823" y="connsiteY66823"/>
              </a:cxn>
              <a:cxn ang="0">
                <a:pos x="connsiteX66824" y="connsiteY66824"/>
              </a:cxn>
              <a:cxn ang="0">
                <a:pos x="connsiteX66825" y="connsiteY66825"/>
              </a:cxn>
              <a:cxn ang="0">
                <a:pos x="connsiteX66826" y="connsiteY66826"/>
              </a:cxn>
              <a:cxn ang="0">
                <a:pos x="connsiteX66827" y="connsiteY66827"/>
              </a:cxn>
              <a:cxn ang="0">
                <a:pos x="connsiteX66828" y="connsiteY66828"/>
              </a:cxn>
              <a:cxn ang="0">
                <a:pos x="connsiteX66829" y="connsiteY66829"/>
              </a:cxn>
              <a:cxn ang="0">
                <a:pos x="connsiteX66830" y="connsiteY66830"/>
              </a:cxn>
              <a:cxn ang="0">
                <a:pos x="connsiteX66831" y="connsiteY66831"/>
              </a:cxn>
              <a:cxn ang="0">
                <a:pos x="connsiteX66832" y="connsiteY66832"/>
              </a:cxn>
              <a:cxn ang="0">
                <a:pos x="connsiteX66833" y="connsiteY66833"/>
              </a:cxn>
              <a:cxn ang="0">
                <a:pos x="connsiteX66834" y="connsiteY66834"/>
              </a:cxn>
              <a:cxn ang="0">
                <a:pos x="connsiteX66835" y="connsiteY66835"/>
              </a:cxn>
              <a:cxn ang="0">
                <a:pos x="connsiteX66836" y="connsiteY66836"/>
              </a:cxn>
              <a:cxn ang="0">
                <a:pos x="connsiteX66837" y="connsiteY66837"/>
              </a:cxn>
              <a:cxn ang="0">
                <a:pos x="connsiteX66838" y="connsiteY66838"/>
              </a:cxn>
              <a:cxn ang="0">
                <a:pos x="connsiteX66839" y="connsiteY66839"/>
              </a:cxn>
              <a:cxn ang="0">
                <a:pos x="connsiteX66840" y="connsiteY66840"/>
              </a:cxn>
              <a:cxn ang="0">
                <a:pos x="connsiteX66841" y="connsiteY66841"/>
              </a:cxn>
              <a:cxn ang="0">
                <a:pos x="connsiteX66842" y="connsiteY66842"/>
              </a:cxn>
              <a:cxn ang="0">
                <a:pos x="connsiteX66843" y="connsiteY66843"/>
              </a:cxn>
              <a:cxn ang="0">
                <a:pos x="connsiteX66844" y="connsiteY66844"/>
              </a:cxn>
              <a:cxn ang="0">
                <a:pos x="connsiteX66845" y="connsiteY66845"/>
              </a:cxn>
              <a:cxn ang="0">
                <a:pos x="connsiteX66846" y="connsiteY66846"/>
              </a:cxn>
              <a:cxn ang="0">
                <a:pos x="connsiteX66847" y="connsiteY66847"/>
              </a:cxn>
              <a:cxn ang="0">
                <a:pos x="connsiteX66848" y="connsiteY66848"/>
              </a:cxn>
              <a:cxn ang="0">
                <a:pos x="connsiteX66849" y="connsiteY66849"/>
              </a:cxn>
              <a:cxn ang="0">
                <a:pos x="connsiteX66850" y="connsiteY66850"/>
              </a:cxn>
              <a:cxn ang="0">
                <a:pos x="connsiteX66851" y="connsiteY66851"/>
              </a:cxn>
              <a:cxn ang="0">
                <a:pos x="connsiteX66852" y="connsiteY66852"/>
              </a:cxn>
              <a:cxn ang="0">
                <a:pos x="connsiteX66853" y="connsiteY66853"/>
              </a:cxn>
              <a:cxn ang="0">
                <a:pos x="connsiteX66854" y="connsiteY66854"/>
              </a:cxn>
              <a:cxn ang="0">
                <a:pos x="connsiteX66855" y="connsiteY66855"/>
              </a:cxn>
              <a:cxn ang="0">
                <a:pos x="connsiteX66856" y="connsiteY66856"/>
              </a:cxn>
              <a:cxn ang="0">
                <a:pos x="connsiteX66857" y="connsiteY66857"/>
              </a:cxn>
              <a:cxn ang="0">
                <a:pos x="connsiteX66858" y="connsiteY66858"/>
              </a:cxn>
              <a:cxn ang="0">
                <a:pos x="connsiteX66859" y="connsiteY66859"/>
              </a:cxn>
              <a:cxn ang="0">
                <a:pos x="connsiteX66860" y="connsiteY66860"/>
              </a:cxn>
              <a:cxn ang="0">
                <a:pos x="connsiteX66861" y="connsiteY66861"/>
              </a:cxn>
              <a:cxn ang="0">
                <a:pos x="connsiteX66862" y="connsiteY66862"/>
              </a:cxn>
              <a:cxn ang="0">
                <a:pos x="connsiteX66863" y="connsiteY66863"/>
              </a:cxn>
              <a:cxn ang="0">
                <a:pos x="connsiteX66864" y="connsiteY66864"/>
              </a:cxn>
              <a:cxn ang="0">
                <a:pos x="connsiteX66865" y="connsiteY66865"/>
              </a:cxn>
              <a:cxn ang="0">
                <a:pos x="connsiteX66866" y="connsiteY66866"/>
              </a:cxn>
              <a:cxn ang="0">
                <a:pos x="connsiteX66867" y="connsiteY66867"/>
              </a:cxn>
              <a:cxn ang="0">
                <a:pos x="connsiteX66868" y="connsiteY66868"/>
              </a:cxn>
              <a:cxn ang="0">
                <a:pos x="connsiteX66869" y="connsiteY66869"/>
              </a:cxn>
              <a:cxn ang="0">
                <a:pos x="connsiteX66870" y="connsiteY66870"/>
              </a:cxn>
              <a:cxn ang="0">
                <a:pos x="connsiteX66871" y="connsiteY66871"/>
              </a:cxn>
              <a:cxn ang="0">
                <a:pos x="connsiteX66872" y="connsiteY66872"/>
              </a:cxn>
              <a:cxn ang="0">
                <a:pos x="connsiteX66873" y="connsiteY66873"/>
              </a:cxn>
              <a:cxn ang="0">
                <a:pos x="connsiteX66874" y="connsiteY66874"/>
              </a:cxn>
              <a:cxn ang="0">
                <a:pos x="connsiteX66875" y="connsiteY66875"/>
              </a:cxn>
              <a:cxn ang="0">
                <a:pos x="connsiteX66876" y="connsiteY66876"/>
              </a:cxn>
              <a:cxn ang="0">
                <a:pos x="connsiteX66877" y="connsiteY66877"/>
              </a:cxn>
              <a:cxn ang="0">
                <a:pos x="connsiteX66878" y="connsiteY66878"/>
              </a:cxn>
              <a:cxn ang="0">
                <a:pos x="connsiteX66879" y="connsiteY66879"/>
              </a:cxn>
              <a:cxn ang="0">
                <a:pos x="connsiteX66880" y="connsiteY66880"/>
              </a:cxn>
              <a:cxn ang="0">
                <a:pos x="connsiteX66881" y="connsiteY66881"/>
              </a:cxn>
              <a:cxn ang="0">
                <a:pos x="connsiteX66882" y="connsiteY66882"/>
              </a:cxn>
              <a:cxn ang="0">
                <a:pos x="connsiteX66883" y="connsiteY66883"/>
              </a:cxn>
              <a:cxn ang="0">
                <a:pos x="connsiteX66884" y="connsiteY66884"/>
              </a:cxn>
              <a:cxn ang="0">
                <a:pos x="connsiteX66885" y="connsiteY66885"/>
              </a:cxn>
              <a:cxn ang="0">
                <a:pos x="connsiteX66886" y="connsiteY66886"/>
              </a:cxn>
              <a:cxn ang="0">
                <a:pos x="connsiteX66887" y="connsiteY66887"/>
              </a:cxn>
              <a:cxn ang="0">
                <a:pos x="connsiteX66888" y="connsiteY66888"/>
              </a:cxn>
              <a:cxn ang="0">
                <a:pos x="connsiteX66889" y="connsiteY66889"/>
              </a:cxn>
              <a:cxn ang="0">
                <a:pos x="connsiteX66890" y="connsiteY66890"/>
              </a:cxn>
              <a:cxn ang="0">
                <a:pos x="connsiteX66891" y="connsiteY66891"/>
              </a:cxn>
              <a:cxn ang="0">
                <a:pos x="connsiteX66892" y="connsiteY66892"/>
              </a:cxn>
              <a:cxn ang="0">
                <a:pos x="connsiteX66893" y="connsiteY66893"/>
              </a:cxn>
              <a:cxn ang="0">
                <a:pos x="connsiteX66894" y="connsiteY66894"/>
              </a:cxn>
              <a:cxn ang="0">
                <a:pos x="connsiteX66895" y="connsiteY66895"/>
              </a:cxn>
              <a:cxn ang="0">
                <a:pos x="connsiteX66896" y="connsiteY66896"/>
              </a:cxn>
              <a:cxn ang="0">
                <a:pos x="connsiteX66897" y="connsiteY66897"/>
              </a:cxn>
              <a:cxn ang="0">
                <a:pos x="connsiteX66898" y="connsiteY66898"/>
              </a:cxn>
              <a:cxn ang="0">
                <a:pos x="connsiteX66899" y="connsiteY66899"/>
              </a:cxn>
              <a:cxn ang="0">
                <a:pos x="connsiteX66900" y="connsiteY66900"/>
              </a:cxn>
              <a:cxn ang="0">
                <a:pos x="connsiteX66901" y="connsiteY66901"/>
              </a:cxn>
              <a:cxn ang="0">
                <a:pos x="connsiteX66902" y="connsiteY66902"/>
              </a:cxn>
              <a:cxn ang="0">
                <a:pos x="connsiteX66903" y="connsiteY66903"/>
              </a:cxn>
              <a:cxn ang="0">
                <a:pos x="connsiteX66904" y="connsiteY66904"/>
              </a:cxn>
              <a:cxn ang="0">
                <a:pos x="connsiteX66905" y="connsiteY66905"/>
              </a:cxn>
              <a:cxn ang="0">
                <a:pos x="connsiteX66906" y="connsiteY66906"/>
              </a:cxn>
              <a:cxn ang="0">
                <a:pos x="connsiteX66907" y="connsiteY66907"/>
              </a:cxn>
              <a:cxn ang="0">
                <a:pos x="connsiteX66908" y="connsiteY66908"/>
              </a:cxn>
              <a:cxn ang="0">
                <a:pos x="connsiteX66909" y="connsiteY66909"/>
              </a:cxn>
              <a:cxn ang="0">
                <a:pos x="connsiteX66910" y="connsiteY66910"/>
              </a:cxn>
              <a:cxn ang="0">
                <a:pos x="connsiteX66911" y="connsiteY66911"/>
              </a:cxn>
              <a:cxn ang="0">
                <a:pos x="connsiteX66912" y="connsiteY66912"/>
              </a:cxn>
              <a:cxn ang="0">
                <a:pos x="connsiteX66913" y="connsiteY66913"/>
              </a:cxn>
              <a:cxn ang="0">
                <a:pos x="connsiteX66914" y="connsiteY66914"/>
              </a:cxn>
              <a:cxn ang="0">
                <a:pos x="connsiteX66915" y="connsiteY66915"/>
              </a:cxn>
              <a:cxn ang="0">
                <a:pos x="connsiteX66916" y="connsiteY66916"/>
              </a:cxn>
              <a:cxn ang="0">
                <a:pos x="connsiteX66917" y="connsiteY66917"/>
              </a:cxn>
              <a:cxn ang="0">
                <a:pos x="connsiteX66918" y="connsiteY66918"/>
              </a:cxn>
              <a:cxn ang="0">
                <a:pos x="connsiteX66919" y="connsiteY66919"/>
              </a:cxn>
              <a:cxn ang="0">
                <a:pos x="connsiteX66920" y="connsiteY66920"/>
              </a:cxn>
              <a:cxn ang="0">
                <a:pos x="connsiteX66921" y="connsiteY66921"/>
              </a:cxn>
              <a:cxn ang="0">
                <a:pos x="connsiteX66922" y="connsiteY66922"/>
              </a:cxn>
              <a:cxn ang="0">
                <a:pos x="connsiteX66923" y="connsiteY66923"/>
              </a:cxn>
              <a:cxn ang="0">
                <a:pos x="connsiteX66924" y="connsiteY66924"/>
              </a:cxn>
              <a:cxn ang="0">
                <a:pos x="connsiteX66925" y="connsiteY66925"/>
              </a:cxn>
              <a:cxn ang="0">
                <a:pos x="connsiteX66926" y="connsiteY66926"/>
              </a:cxn>
              <a:cxn ang="0">
                <a:pos x="connsiteX66927" y="connsiteY66927"/>
              </a:cxn>
              <a:cxn ang="0">
                <a:pos x="connsiteX66928" y="connsiteY66928"/>
              </a:cxn>
              <a:cxn ang="0">
                <a:pos x="connsiteX66929" y="connsiteY66929"/>
              </a:cxn>
              <a:cxn ang="0">
                <a:pos x="connsiteX66930" y="connsiteY66930"/>
              </a:cxn>
              <a:cxn ang="0">
                <a:pos x="connsiteX66931" y="connsiteY66931"/>
              </a:cxn>
              <a:cxn ang="0">
                <a:pos x="connsiteX66932" y="connsiteY66932"/>
              </a:cxn>
              <a:cxn ang="0">
                <a:pos x="connsiteX66933" y="connsiteY66933"/>
              </a:cxn>
              <a:cxn ang="0">
                <a:pos x="connsiteX66934" y="connsiteY66934"/>
              </a:cxn>
              <a:cxn ang="0">
                <a:pos x="connsiteX66935" y="connsiteY66935"/>
              </a:cxn>
              <a:cxn ang="0">
                <a:pos x="connsiteX66936" y="connsiteY66936"/>
              </a:cxn>
              <a:cxn ang="0">
                <a:pos x="connsiteX66937" y="connsiteY66937"/>
              </a:cxn>
              <a:cxn ang="0">
                <a:pos x="connsiteX66938" y="connsiteY66938"/>
              </a:cxn>
              <a:cxn ang="0">
                <a:pos x="connsiteX66939" y="connsiteY66939"/>
              </a:cxn>
              <a:cxn ang="0">
                <a:pos x="connsiteX66940" y="connsiteY66940"/>
              </a:cxn>
              <a:cxn ang="0">
                <a:pos x="connsiteX66941" y="connsiteY66941"/>
              </a:cxn>
              <a:cxn ang="0">
                <a:pos x="connsiteX66942" y="connsiteY66942"/>
              </a:cxn>
              <a:cxn ang="0">
                <a:pos x="connsiteX66943" y="connsiteY66943"/>
              </a:cxn>
              <a:cxn ang="0">
                <a:pos x="connsiteX66944" y="connsiteY66944"/>
              </a:cxn>
              <a:cxn ang="0">
                <a:pos x="connsiteX66945" y="connsiteY66945"/>
              </a:cxn>
              <a:cxn ang="0">
                <a:pos x="connsiteX66946" y="connsiteY66946"/>
              </a:cxn>
              <a:cxn ang="0">
                <a:pos x="connsiteX66947" y="connsiteY66947"/>
              </a:cxn>
              <a:cxn ang="0">
                <a:pos x="connsiteX66948" y="connsiteY66948"/>
              </a:cxn>
              <a:cxn ang="0">
                <a:pos x="connsiteX66949" y="connsiteY66949"/>
              </a:cxn>
              <a:cxn ang="0">
                <a:pos x="connsiteX66950" y="connsiteY66950"/>
              </a:cxn>
              <a:cxn ang="0">
                <a:pos x="connsiteX66951" y="connsiteY66951"/>
              </a:cxn>
              <a:cxn ang="0">
                <a:pos x="connsiteX66952" y="connsiteY66952"/>
              </a:cxn>
              <a:cxn ang="0">
                <a:pos x="connsiteX66953" y="connsiteY66953"/>
              </a:cxn>
              <a:cxn ang="0">
                <a:pos x="connsiteX66954" y="connsiteY66954"/>
              </a:cxn>
              <a:cxn ang="0">
                <a:pos x="connsiteX66955" y="connsiteY66955"/>
              </a:cxn>
              <a:cxn ang="0">
                <a:pos x="connsiteX66956" y="connsiteY66956"/>
              </a:cxn>
              <a:cxn ang="0">
                <a:pos x="connsiteX66957" y="connsiteY66957"/>
              </a:cxn>
              <a:cxn ang="0">
                <a:pos x="connsiteX66958" y="connsiteY66958"/>
              </a:cxn>
              <a:cxn ang="0">
                <a:pos x="connsiteX66959" y="connsiteY66959"/>
              </a:cxn>
              <a:cxn ang="0">
                <a:pos x="connsiteX66960" y="connsiteY66960"/>
              </a:cxn>
              <a:cxn ang="0">
                <a:pos x="connsiteX66961" y="connsiteY66961"/>
              </a:cxn>
              <a:cxn ang="0">
                <a:pos x="connsiteX66962" y="connsiteY66962"/>
              </a:cxn>
              <a:cxn ang="0">
                <a:pos x="connsiteX66963" y="connsiteY66963"/>
              </a:cxn>
              <a:cxn ang="0">
                <a:pos x="connsiteX66964" y="connsiteY66964"/>
              </a:cxn>
              <a:cxn ang="0">
                <a:pos x="connsiteX66965" y="connsiteY66965"/>
              </a:cxn>
              <a:cxn ang="0">
                <a:pos x="connsiteX66966" y="connsiteY66966"/>
              </a:cxn>
              <a:cxn ang="0">
                <a:pos x="connsiteX66967" y="connsiteY66967"/>
              </a:cxn>
              <a:cxn ang="0">
                <a:pos x="connsiteX66968" y="connsiteY66968"/>
              </a:cxn>
              <a:cxn ang="0">
                <a:pos x="connsiteX66969" y="connsiteY66969"/>
              </a:cxn>
              <a:cxn ang="0">
                <a:pos x="connsiteX66970" y="connsiteY66970"/>
              </a:cxn>
              <a:cxn ang="0">
                <a:pos x="connsiteX66971" y="connsiteY66971"/>
              </a:cxn>
              <a:cxn ang="0">
                <a:pos x="connsiteX66972" y="connsiteY66972"/>
              </a:cxn>
              <a:cxn ang="0">
                <a:pos x="connsiteX66973" y="connsiteY66973"/>
              </a:cxn>
              <a:cxn ang="0">
                <a:pos x="connsiteX66974" y="connsiteY66974"/>
              </a:cxn>
              <a:cxn ang="0">
                <a:pos x="connsiteX66975" y="connsiteY66975"/>
              </a:cxn>
              <a:cxn ang="0">
                <a:pos x="connsiteX66976" y="connsiteY66976"/>
              </a:cxn>
              <a:cxn ang="0">
                <a:pos x="connsiteX66977" y="connsiteY66977"/>
              </a:cxn>
              <a:cxn ang="0">
                <a:pos x="connsiteX66978" y="connsiteY66978"/>
              </a:cxn>
              <a:cxn ang="0">
                <a:pos x="connsiteX66979" y="connsiteY66979"/>
              </a:cxn>
              <a:cxn ang="0">
                <a:pos x="connsiteX66980" y="connsiteY66980"/>
              </a:cxn>
              <a:cxn ang="0">
                <a:pos x="connsiteX66981" y="connsiteY66981"/>
              </a:cxn>
              <a:cxn ang="0">
                <a:pos x="connsiteX66982" y="connsiteY66982"/>
              </a:cxn>
              <a:cxn ang="0">
                <a:pos x="connsiteX66983" y="connsiteY66983"/>
              </a:cxn>
              <a:cxn ang="0">
                <a:pos x="connsiteX66984" y="connsiteY66984"/>
              </a:cxn>
              <a:cxn ang="0">
                <a:pos x="connsiteX66985" y="connsiteY66985"/>
              </a:cxn>
              <a:cxn ang="0">
                <a:pos x="connsiteX66986" y="connsiteY66986"/>
              </a:cxn>
              <a:cxn ang="0">
                <a:pos x="connsiteX66987" y="connsiteY66987"/>
              </a:cxn>
              <a:cxn ang="0">
                <a:pos x="connsiteX66988" y="connsiteY66988"/>
              </a:cxn>
              <a:cxn ang="0">
                <a:pos x="connsiteX66989" y="connsiteY66989"/>
              </a:cxn>
              <a:cxn ang="0">
                <a:pos x="connsiteX66990" y="connsiteY66990"/>
              </a:cxn>
              <a:cxn ang="0">
                <a:pos x="connsiteX66991" y="connsiteY66991"/>
              </a:cxn>
              <a:cxn ang="0">
                <a:pos x="connsiteX66992" y="connsiteY66992"/>
              </a:cxn>
              <a:cxn ang="0">
                <a:pos x="connsiteX66993" y="connsiteY66993"/>
              </a:cxn>
              <a:cxn ang="0">
                <a:pos x="connsiteX66994" y="connsiteY66994"/>
              </a:cxn>
              <a:cxn ang="0">
                <a:pos x="connsiteX66995" y="connsiteY66995"/>
              </a:cxn>
              <a:cxn ang="0">
                <a:pos x="connsiteX66996" y="connsiteY66996"/>
              </a:cxn>
              <a:cxn ang="0">
                <a:pos x="connsiteX66997" y="connsiteY66997"/>
              </a:cxn>
              <a:cxn ang="0">
                <a:pos x="connsiteX66998" y="connsiteY66998"/>
              </a:cxn>
              <a:cxn ang="0">
                <a:pos x="connsiteX66999" y="connsiteY66999"/>
              </a:cxn>
              <a:cxn ang="0">
                <a:pos x="connsiteX67000" y="connsiteY67000"/>
              </a:cxn>
              <a:cxn ang="0">
                <a:pos x="connsiteX67001" y="connsiteY67001"/>
              </a:cxn>
              <a:cxn ang="0">
                <a:pos x="connsiteX67002" y="connsiteY67002"/>
              </a:cxn>
              <a:cxn ang="0">
                <a:pos x="connsiteX67003" y="connsiteY67003"/>
              </a:cxn>
              <a:cxn ang="0">
                <a:pos x="connsiteX67004" y="connsiteY67004"/>
              </a:cxn>
              <a:cxn ang="0">
                <a:pos x="connsiteX67005" y="connsiteY67005"/>
              </a:cxn>
              <a:cxn ang="0">
                <a:pos x="connsiteX67006" y="connsiteY67006"/>
              </a:cxn>
              <a:cxn ang="0">
                <a:pos x="connsiteX67007" y="connsiteY67007"/>
              </a:cxn>
              <a:cxn ang="0">
                <a:pos x="connsiteX67008" y="connsiteY67008"/>
              </a:cxn>
              <a:cxn ang="0">
                <a:pos x="connsiteX67009" y="connsiteY67009"/>
              </a:cxn>
              <a:cxn ang="0">
                <a:pos x="connsiteX67010" y="connsiteY67010"/>
              </a:cxn>
              <a:cxn ang="0">
                <a:pos x="connsiteX67011" y="connsiteY67011"/>
              </a:cxn>
              <a:cxn ang="0">
                <a:pos x="connsiteX67012" y="connsiteY67012"/>
              </a:cxn>
              <a:cxn ang="0">
                <a:pos x="connsiteX67013" y="connsiteY67013"/>
              </a:cxn>
              <a:cxn ang="0">
                <a:pos x="connsiteX67014" y="connsiteY67014"/>
              </a:cxn>
              <a:cxn ang="0">
                <a:pos x="connsiteX67015" y="connsiteY67015"/>
              </a:cxn>
              <a:cxn ang="0">
                <a:pos x="connsiteX67016" y="connsiteY67016"/>
              </a:cxn>
              <a:cxn ang="0">
                <a:pos x="connsiteX67017" y="connsiteY67017"/>
              </a:cxn>
              <a:cxn ang="0">
                <a:pos x="connsiteX67018" y="connsiteY67018"/>
              </a:cxn>
              <a:cxn ang="0">
                <a:pos x="connsiteX67019" y="connsiteY67019"/>
              </a:cxn>
              <a:cxn ang="0">
                <a:pos x="connsiteX67020" y="connsiteY67020"/>
              </a:cxn>
              <a:cxn ang="0">
                <a:pos x="connsiteX67021" y="connsiteY67021"/>
              </a:cxn>
              <a:cxn ang="0">
                <a:pos x="connsiteX67022" y="connsiteY67022"/>
              </a:cxn>
              <a:cxn ang="0">
                <a:pos x="connsiteX67023" y="connsiteY67023"/>
              </a:cxn>
              <a:cxn ang="0">
                <a:pos x="connsiteX67024" y="connsiteY67024"/>
              </a:cxn>
              <a:cxn ang="0">
                <a:pos x="connsiteX67025" y="connsiteY67025"/>
              </a:cxn>
              <a:cxn ang="0">
                <a:pos x="connsiteX67026" y="connsiteY67026"/>
              </a:cxn>
              <a:cxn ang="0">
                <a:pos x="connsiteX67027" y="connsiteY67027"/>
              </a:cxn>
              <a:cxn ang="0">
                <a:pos x="connsiteX67028" y="connsiteY67028"/>
              </a:cxn>
              <a:cxn ang="0">
                <a:pos x="connsiteX67029" y="connsiteY67029"/>
              </a:cxn>
              <a:cxn ang="0">
                <a:pos x="connsiteX67030" y="connsiteY67030"/>
              </a:cxn>
              <a:cxn ang="0">
                <a:pos x="connsiteX67031" y="connsiteY67031"/>
              </a:cxn>
              <a:cxn ang="0">
                <a:pos x="connsiteX67032" y="connsiteY67032"/>
              </a:cxn>
              <a:cxn ang="0">
                <a:pos x="connsiteX67033" y="connsiteY67033"/>
              </a:cxn>
              <a:cxn ang="0">
                <a:pos x="connsiteX67034" y="connsiteY67034"/>
              </a:cxn>
              <a:cxn ang="0">
                <a:pos x="connsiteX67035" y="connsiteY67035"/>
              </a:cxn>
              <a:cxn ang="0">
                <a:pos x="connsiteX67036" y="connsiteY67036"/>
              </a:cxn>
              <a:cxn ang="0">
                <a:pos x="connsiteX67037" y="connsiteY67037"/>
              </a:cxn>
              <a:cxn ang="0">
                <a:pos x="connsiteX67038" y="connsiteY67038"/>
              </a:cxn>
              <a:cxn ang="0">
                <a:pos x="connsiteX67039" y="connsiteY67039"/>
              </a:cxn>
              <a:cxn ang="0">
                <a:pos x="connsiteX67040" y="connsiteY67040"/>
              </a:cxn>
              <a:cxn ang="0">
                <a:pos x="connsiteX67041" y="connsiteY67041"/>
              </a:cxn>
              <a:cxn ang="0">
                <a:pos x="connsiteX67042" y="connsiteY67042"/>
              </a:cxn>
              <a:cxn ang="0">
                <a:pos x="connsiteX67043" y="connsiteY67043"/>
              </a:cxn>
              <a:cxn ang="0">
                <a:pos x="connsiteX67044" y="connsiteY67044"/>
              </a:cxn>
              <a:cxn ang="0">
                <a:pos x="connsiteX67045" y="connsiteY67045"/>
              </a:cxn>
              <a:cxn ang="0">
                <a:pos x="connsiteX67046" y="connsiteY67046"/>
              </a:cxn>
              <a:cxn ang="0">
                <a:pos x="connsiteX67047" y="connsiteY67047"/>
              </a:cxn>
              <a:cxn ang="0">
                <a:pos x="connsiteX67048" y="connsiteY67048"/>
              </a:cxn>
              <a:cxn ang="0">
                <a:pos x="connsiteX67049" y="connsiteY67049"/>
              </a:cxn>
              <a:cxn ang="0">
                <a:pos x="connsiteX67050" y="connsiteY67050"/>
              </a:cxn>
              <a:cxn ang="0">
                <a:pos x="connsiteX67051" y="connsiteY67051"/>
              </a:cxn>
              <a:cxn ang="0">
                <a:pos x="connsiteX67052" y="connsiteY67052"/>
              </a:cxn>
              <a:cxn ang="0">
                <a:pos x="connsiteX67053" y="connsiteY67053"/>
              </a:cxn>
              <a:cxn ang="0">
                <a:pos x="connsiteX67054" y="connsiteY67054"/>
              </a:cxn>
              <a:cxn ang="0">
                <a:pos x="connsiteX67055" y="connsiteY67055"/>
              </a:cxn>
              <a:cxn ang="0">
                <a:pos x="connsiteX67056" y="connsiteY67056"/>
              </a:cxn>
              <a:cxn ang="0">
                <a:pos x="connsiteX67057" y="connsiteY67057"/>
              </a:cxn>
              <a:cxn ang="0">
                <a:pos x="connsiteX67058" y="connsiteY67058"/>
              </a:cxn>
              <a:cxn ang="0">
                <a:pos x="connsiteX67059" y="connsiteY67059"/>
              </a:cxn>
              <a:cxn ang="0">
                <a:pos x="connsiteX67060" y="connsiteY67060"/>
              </a:cxn>
              <a:cxn ang="0">
                <a:pos x="connsiteX67061" y="connsiteY67061"/>
              </a:cxn>
              <a:cxn ang="0">
                <a:pos x="connsiteX67062" y="connsiteY67062"/>
              </a:cxn>
              <a:cxn ang="0">
                <a:pos x="connsiteX67063" y="connsiteY67063"/>
              </a:cxn>
              <a:cxn ang="0">
                <a:pos x="connsiteX67064" y="connsiteY67064"/>
              </a:cxn>
              <a:cxn ang="0">
                <a:pos x="connsiteX67065" y="connsiteY67065"/>
              </a:cxn>
              <a:cxn ang="0">
                <a:pos x="connsiteX67066" y="connsiteY67066"/>
              </a:cxn>
              <a:cxn ang="0">
                <a:pos x="connsiteX67067" y="connsiteY67067"/>
              </a:cxn>
              <a:cxn ang="0">
                <a:pos x="connsiteX67068" y="connsiteY67068"/>
              </a:cxn>
              <a:cxn ang="0">
                <a:pos x="connsiteX67069" y="connsiteY67069"/>
              </a:cxn>
              <a:cxn ang="0">
                <a:pos x="connsiteX67070" y="connsiteY67070"/>
              </a:cxn>
              <a:cxn ang="0">
                <a:pos x="connsiteX67071" y="connsiteY67071"/>
              </a:cxn>
              <a:cxn ang="0">
                <a:pos x="connsiteX67072" y="connsiteY67072"/>
              </a:cxn>
              <a:cxn ang="0">
                <a:pos x="connsiteX67073" y="connsiteY67073"/>
              </a:cxn>
              <a:cxn ang="0">
                <a:pos x="connsiteX67074" y="connsiteY67074"/>
              </a:cxn>
              <a:cxn ang="0">
                <a:pos x="connsiteX67075" y="connsiteY67075"/>
              </a:cxn>
              <a:cxn ang="0">
                <a:pos x="connsiteX67076" y="connsiteY67076"/>
              </a:cxn>
              <a:cxn ang="0">
                <a:pos x="connsiteX67077" y="connsiteY67077"/>
              </a:cxn>
              <a:cxn ang="0">
                <a:pos x="connsiteX67078" y="connsiteY67078"/>
              </a:cxn>
              <a:cxn ang="0">
                <a:pos x="connsiteX67079" y="connsiteY67079"/>
              </a:cxn>
              <a:cxn ang="0">
                <a:pos x="connsiteX67080" y="connsiteY67080"/>
              </a:cxn>
              <a:cxn ang="0">
                <a:pos x="connsiteX67081" y="connsiteY67081"/>
              </a:cxn>
              <a:cxn ang="0">
                <a:pos x="connsiteX67082" y="connsiteY67082"/>
              </a:cxn>
              <a:cxn ang="0">
                <a:pos x="connsiteX67083" y="connsiteY67083"/>
              </a:cxn>
              <a:cxn ang="0">
                <a:pos x="connsiteX67084" y="connsiteY67084"/>
              </a:cxn>
              <a:cxn ang="0">
                <a:pos x="connsiteX67085" y="connsiteY67085"/>
              </a:cxn>
              <a:cxn ang="0">
                <a:pos x="connsiteX67086" y="connsiteY67086"/>
              </a:cxn>
              <a:cxn ang="0">
                <a:pos x="connsiteX67087" y="connsiteY67087"/>
              </a:cxn>
              <a:cxn ang="0">
                <a:pos x="connsiteX67088" y="connsiteY67088"/>
              </a:cxn>
              <a:cxn ang="0">
                <a:pos x="connsiteX67089" y="connsiteY67089"/>
              </a:cxn>
              <a:cxn ang="0">
                <a:pos x="connsiteX67090" y="connsiteY67090"/>
              </a:cxn>
              <a:cxn ang="0">
                <a:pos x="connsiteX67091" y="connsiteY67091"/>
              </a:cxn>
              <a:cxn ang="0">
                <a:pos x="connsiteX67092" y="connsiteY67092"/>
              </a:cxn>
              <a:cxn ang="0">
                <a:pos x="connsiteX67093" y="connsiteY67093"/>
              </a:cxn>
              <a:cxn ang="0">
                <a:pos x="connsiteX67094" y="connsiteY67094"/>
              </a:cxn>
              <a:cxn ang="0">
                <a:pos x="connsiteX67095" y="connsiteY67095"/>
              </a:cxn>
              <a:cxn ang="0">
                <a:pos x="connsiteX67096" y="connsiteY67096"/>
              </a:cxn>
              <a:cxn ang="0">
                <a:pos x="connsiteX67097" y="connsiteY67097"/>
              </a:cxn>
              <a:cxn ang="0">
                <a:pos x="connsiteX67098" y="connsiteY67098"/>
              </a:cxn>
              <a:cxn ang="0">
                <a:pos x="connsiteX67099" y="connsiteY67099"/>
              </a:cxn>
              <a:cxn ang="0">
                <a:pos x="connsiteX67100" y="connsiteY67100"/>
              </a:cxn>
              <a:cxn ang="0">
                <a:pos x="connsiteX67101" y="connsiteY67101"/>
              </a:cxn>
              <a:cxn ang="0">
                <a:pos x="connsiteX67102" y="connsiteY67102"/>
              </a:cxn>
              <a:cxn ang="0">
                <a:pos x="connsiteX67103" y="connsiteY67103"/>
              </a:cxn>
              <a:cxn ang="0">
                <a:pos x="connsiteX67104" y="connsiteY67104"/>
              </a:cxn>
              <a:cxn ang="0">
                <a:pos x="connsiteX67105" y="connsiteY67105"/>
              </a:cxn>
              <a:cxn ang="0">
                <a:pos x="connsiteX67106" y="connsiteY67106"/>
              </a:cxn>
              <a:cxn ang="0">
                <a:pos x="connsiteX67107" y="connsiteY67107"/>
              </a:cxn>
              <a:cxn ang="0">
                <a:pos x="connsiteX67108" y="connsiteY67108"/>
              </a:cxn>
              <a:cxn ang="0">
                <a:pos x="connsiteX67109" y="connsiteY67109"/>
              </a:cxn>
              <a:cxn ang="0">
                <a:pos x="connsiteX67110" y="connsiteY67110"/>
              </a:cxn>
              <a:cxn ang="0">
                <a:pos x="connsiteX67111" y="connsiteY67111"/>
              </a:cxn>
              <a:cxn ang="0">
                <a:pos x="connsiteX67112" y="connsiteY67112"/>
              </a:cxn>
              <a:cxn ang="0">
                <a:pos x="connsiteX67113" y="connsiteY67113"/>
              </a:cxn>
              <a:cxn ang="0">
                <a:pos x="connsiteX67114" y="connsiteY67114"/>
              </a:cxn>
              <a:cxn ang="0">
                <a:pos x="connsiteX67115" y="connsiteY67115"/>
              </a:cxn>
              <a:cxn ang="0">
                <a:pos x="connsiteX67116" y="connsiteY67116"/>
              </a:cxn>
              <a:cxn ang="0">
                <a:pos x="connsiteX67117" y="connsiteY67117"/>
              </a:cxn>
              <a:cxn ang="0">
                <a:pos x="connsiteX67118" y="connsiteY67118"/>
              </a:cxn>
              <a:cxn ang="0">
                <a:pos x="connsiteX67119" y="connsiteY67119"/>
              </a:cxn>
              <a:cxn ang="0">
                <a:pos x="connsiteX67120" y="connsiteY67120"/>
              </a:cxn>
              <a:cxn ang="0">
                <a:pos x="connsiteX67121" y="connsiteY67121"/>
              </a:cxn>
              <a:cxn ang="0">
                <a:pos x="connsiteX67122" y="connsiteY67122"/>
              </a:cxn>
              <a:cxn ang="0">
                <a:pos x="connsiteX67123" y="connsiteY67123"/>
              </a:cxn>
              <a:cxn ang="0">
                <a:pos x="connsiteX67124" y="connsiteY67124"/>
              </a:cxn>
              <a:cxn ang="0">
                <a:pos x="connsiteX67125" y="connsiteY67125"/>
              </a:cxn>
              <a:cxn ang="0">
                <a:pos x="connsiteX67126" y="connsiteY67126"/>
              </a:cxn>
              <a:cxn ang="0">
                <a:pos x="connsiteX67127" y="connsiteY67127"/>
              </a:cxn>
              <a:cxn ang="0">
                <a:pos x="connsiteX67128" y="connsiteY67128"/>
              </a:cxn>
              <a:cxn ang="0">
                <a:pos x="connsiteX67129" y="connsiteY67129"/>
              </a:cxn>
              <a:cxn ang="0">
                <a:pos x="connsiteX67130" y="connsiteY67130"/>
              </a:cxn>
              <a:cxn ang="0">
                <a:pos x="connsiteX67131" y="connsiteY67131"/>
              </a:cxn>
              <a:cxn ang="0">
                <a:pos x="connsiteX67132" y="connsiteY67132"/>
              </a:cxn>
              <a:cxn ang="0">
                <a:pos x="connsiteX67133" y="connsiteY67133"/>
              </a:cxn>
              <a:cxn ang="0">
                <a:pos x="connsiteX67134" y="connsiteY67134"/>
              </a:cxn>
              <a:cxn ang="0">
                <a:pos x="connsiteX67135" y="connsiteY67135"/>
              </a:cxn>
              <a:cxn ang="0">
                <a:pos x="connsiteX67136" y="connsiteY67136"/>
              </a:cxn>
              <a:cxn ang="0">
                <a:pos x="connsiteX67137" y="connsiteY67137"/>
              </a:cxn>
              <a:cxn ang="0">
                <a:pos x="connsiteX67138" y="connsiteY67138"/>
              </a:cxn>
              <a:cxn ang="0">
                <a:pos x="connsiteX67139" y="connsiteY67139"/>
              </a:cxn>
              <a:cxn ang="0">
                <a:pos x="connsiteX67140" y="connsiteY67140"/>
              </a:cxn>
              <a:cxn ang="0">
                <a:pos x="connsiteX67141" y="connsiteY67141"/>
              </a:cxn>
              <a:cxn ang="0">
                <a:pos x="connsiteX67142" y="connsiteY67142"/>
              </a:cxn>
              <a:cxn ang="0">
                <a:pos x="connsiteX67143" y="connsiteY67143"/>
              </a:cxn>
              <a:cxn ang="0">
                <a:pos x="connsiteX67144" y="connsiteY67144"/>
              </a:cxn>
              <a:cxn ang="0">
                <a:pos x="connsiteX67145" y="connsiteY67145"/>
              </a:cxn>
              <a:cxn ang="0">
                <a:pos x="connsiteX67146" y="connsiteY67146"/>
              </a:cxn>
              <a:cxn ang="0">
                <a:pos x="connsiteX67147" y="connsiteY67147"/>
              </a:cxn>
              <a:cxn ang="0">
                <a:pos x="connsiteX67148" y="connsiteY67148"/>
              </a:cxn>
              <a:cxn ang="0">
                <a:pos x="connsiteX67149" y="connsiteY67149"/>
              </a:cxn>
              <a:cxn ang="0">
                <a:pos x="connsiteX67150" y="connsiteY67150"/>
              </a:cxn>
              <a:cxn ang="0">
                <a:pos x="connsiteX67151" y="connsiteY67151"/>
              </a:cxn>
              <a:cxn ang="0">
                <a:pos x="connsiteX67152" y="connsiteY67152"/>
              </a:cxn>
              <a:cxn ang="0">
                <a:pos x="connsiteX67153" y="connsiteY67153"/>
              </a:cxn>
              <a:cxn ang="0">
                <a:pos x="connsiteX67154" y="connsiteY67154"/>
              </a:cxn>
              <a:cxn ang="0">
                <a:pos x="connsiteX67155" y="connsiteY67155"/>
              </a:cxn>
              <a:cxn ang="0">
                <a:pos x="connsiteX67156" y="connsiteY67156"/>
              </a:cxn>
              <a:cxn ang="0">
                <a:pos x="connsiteX67157" y="connsiteY67157"/>
              </a:cxn>
              <a:cxn ang="0">
                <a:pos x="connsiteX67158" y="connsiteY67158"/>
              </a:cxn>
              <a:cxn ang="0">
                <a:pos x="connsiteX67159" y="connsiteY67159"/>
              </a:cxn>
              <a:cxn ang="0">
                <a:pos x="connsiteX67160" y="connsiteY67160"/>
              </a:cxn>
              <a:cxn ang="0">
                <a:pos x="connsiteX67161" y="connsiteY67161"/>
              </a:cxn>
              <a:cxn ang="0">
                <a:pos x="connsiteX67162" y="connsiteY67162"/>
              </a:cxn>
              <a:cxn ang="0">
                <a:pos x="connsiteX67163" y="connsiteY67163"/>
              </a:cxn>
              <a:cxn ang="0">
                <a:pos x="connsiteX67164" y="connsiteY67164"/>
              </a:cxn>
              <a:cxn ang="0">
                <a:pos x="connsiteX67165" y="connsiteY67165"/>
              </a:cxn>
              <a:cxn ang="0">
                <a:pos x="connsiteX67166" y="connsiteY67166"/>
              </a:cxn>
              <a:cxn ang="0">
                <a:pos x="connsiteX67167" y="connsiteY67167"/>
              </a:cxn>
              <a:cxn ang="0">
                <a:pos x="connsiteX67168" y="connsiteY67168"/>
              </a:cxn>
              <a:cxn ang="0">
                <a:pos x="connsiteX67169" y="connsiteY67169"/>
              </a:cxn>
              <a:cxn ang="0">
                <a:pos x="connsiteX67170" y="connsiteY67170"/>
              </a:cxn>
              <a:cxn ang="0">
                <a:pos x="connsiteX67171" y="connsiteY67171"/>
              </a:cxn>
              <a:cxn ang="0">
                <a:pos x="connsiteX67172" y="connsiteY67172"/>
              </a:cxn>
              <a:cxn ang="0">
                <a:pos x="connsiteX67173" y="connsiteY67173"/>
              </a:cxn>
              <a:cxn ang="0">
                <a:pos x="connsiteX67174" y="connsiteY67174"/>
              </a:cxn>
              <a:cxn ang="0">
                <a:pos x="connsiteX67175" y="connsiteY67175"/>
              </a:cxn>
              <a:cxn ang="0">
                <a:pos x="connsiteX67176" y="connsiteY67176"/>
              </a:cxn>
              <a:cxn ang="0">
                <a:pos x="connsiteX67177" y="connsiteY67177"/>
              </a:cxn>
              <a:cxn ang="0">
                <a:pos x="connsiteX67178" y="connsiteY67178"/>
              </a:cxn>
              <a:cxn ang="0">
                <a:pos x="connsiteX67179" y="connsiteY67179"/>
              </a:cxn>
              <a:cxn ang="0">
                <a:pos x="connsiteX67180" y="connsiteY67180"/>
              </a:cxn>
              <a:cxn ang="0">
                <a:pos x="connsiteX67181" y="connsiteY67181"/>
              </a:cxn>
              <a:cxn ang="0">
                <a:pos x="connsiteX67182" y="connsiteY67182"/>
              </a:cxn>
              <a:cxn ang="0">
                <a:pos x="connsiteX67183" y="connsiteY67183"/>
              </a:cxn>
              <a:cxn ang="0">
                <a:pos x="connsiteX67184" y="connsiteY67184"/>
              </a:cxn>
              <a:cxn ang="0">
                <a:pos x="connsiteX67185" y="connsiteY67185"/>
              </a:cxn>
              <a:cxn ang="0">
                <a:pos x="connsiteX67186" y="connsiteY67186"/>
              </a:cxn>
              <a:cxn ang="0">
                <a:pos x="connsiteX67187" y="connsiteY67187"/>
              </a:cxn>
              <a:cxn ang="0">
                <a:pos x="connsiteX67188" y="connsiteY67188"/>
              </a:cxn>
              <a:cxn ang="0">
                <a:pos x="connsiteX67189" y="connsiteY67189"/>
              </a:cxn>
              <a:cxn ang="0">
                <a:pos x="connsiteX67190" y="connsiteY67190"/>
              </a:cxn>
              <a:cxn ang="0">
                <a:pos x="connsiteX67191" y="connsiteY67191"/>
              </a:cxn>
              <a:cxn ang="0">
                <a:pos x="connsiteX67192" y="connsiteY67192"/>
              </a:cxn>
              <a:cxn ang="0">
                <a:pos x="connsiteX67193" y="connsiteY67193"/>
              </a:cxn>
              <a:cxn ang="0">
                <a:pos x="connsiteX67194" y="connsiteY67194"/>
              </a:cxn>
              <a:cxn ang="0">
                <a:pos x="connsiteX67195" y="connsiteY67195"/>
              </a:cxn>
              <a:cxn ang="0">
                <a:pos x="connsiteX67196" y="connsiteY67196"/>
              </a:cxn>
              <a:cxn ang="0">
                <a:pos x="connsiteX67197" y="connsiteY67197"/>
              </a:cxn>
              <a:cxn ang="0">
                <a:pos x="connsiteX67198" y="connsiteY67198"/>
              </a:cxn>
              <a:cxn ang="0">
                <a:pos x="connsiteX67199" y="connsiteY67199"/>
              </a:cxn>
              <a:cxn ang="0">
                <a:pos x="connsiteX67200" y="connsiteY67200"/>
              </a:cxn>
              <a:cxn ang="0">
                <a:pos x="connsiteX67201" y="connsiteY67201"/>
              </a:cxn>
              <a:cxn ang="0">
                <a:pos x="connsiteX67202" y="connsiteY67202"/>
              </a:cxn>
              <a:cxn ang="0">
                <a:pos x="connsiteX67203" y="connsiteY67203"/>
              </a:cxn>
              <a:cxn ang="0">
                <a:pos x="connsiteX67204" y="connsiteY67204"/>
              </a:cxn>
              <a:cxn ang="0">
                <a:pos x="connsiteX67205" y="connsiteY67205"/>
              </a:cxn>
              <a:cxn ang="0">
                <a:pos x="connsiteX67206" y="connsiteY67206"/>
              </a:cxn>
              <a:cxn ang="0">
                <a:pos x="connsiteX67207" y="connsiteY67207"/>
              </a:cxn>
              <a:cxn ang="0">
                <a:pos x="connsiteX67208" y="connsiteY67208"/>
              </a:cxn>
              <a:cxn ang="0">
                <a:pos x="connsiteX67209" y="connsiteY67209"/>
              </a:cxn>
              <a:cxn ang="0">
                <a:pos x="connsiteX67210" y="connsiteY67210"/>
              </a:cxn>
              <a:cxn ang="0">
                <a:pos x="connsiteX67211" y="connsiteY67211"/>
              </a:cxn>
              <a:cxn ang="0">
                <a:pos x="connsiteX67212" y="connsiteY67212"/>
              </a:cxn>
              <a:cxn ang="0">
                <a:pos x="connsiteX67213" y="connsiteY67213"/>
              </a:cxn>
              <a:cxn ang="0">
                <a:pos x="connsiteX67214" y="connsiteY67214"/>
              </a:cxn>
              <a:cxn ang="0">
                <a:pos x="connsiteX67215" y="connsiteY67215"/>
              </a:cxn>
              <a:cxn ang="0">
                <a:pos x="connsiteX67216" y="connsiteY67216"/>
              </a:cxn>
              <a:cxn ang="0">
                <a:pos x="connsiteX67217" y="connsiteY67217"/>
              </a:cxn>
              <a:cxn ang="0">
                <a:pos x="connsiteX67218" y="connsiteY67218"/>
              </a:cxn>
              <a:cxn ang="0">
                <a:pos x="connsiteX67219" y="connsiteY67219"/>
              </a:cxn>
              <a:cxn ang="0">
                <a:pos x="connsiteX67220" y="connsiteY67220"/>
              </a:cxn>
              <a:cxn ang="0">
                <a:pos x="connsiteX67221" y="connsiteY67221"/>
              </a:cxn>
              <a:cxn ang="0">
                <a:pos x="connsiteX67222" y="connsiteY67222"/>
              </a:cxn>
              <a:cxn ang="0">
                <a:pos x="connsiteX67223" y="connsiteY67223"/>
              </a:cxn>
              <a:cxn ang="0">
                <a:pos x="connsiteX67224" y="connsiteY67224"/>
              </a:cxn>
              <a:cxn ang="0">
                <a:pos x="connsiteX67225" y="connsiteY67225"/>
              </a:cxn>
              <a:cxn ang="0">
                <a:pos x="connsiteX67226" y="connsiteY67226"/>
              </a:cxn>
              <a:cxn ang="0">
                <a:pos x="connsiteX67227" y="connsiteY67227"/>
              </a:cxn>
              <a:cxn ang="0">
                <a:pos x="connsiteX67228" y="connsiteY67228"/>
              </a:cxn>
              <a:cxn ang="0">
                <a:pos x="connsiteX67229" y="connsiteY67229"/>
              </a:cxn>
              <a:cxn ang="0">
                <a:pos x="connsiteX67230" y="connsiteY67230"/>
              </a:cxn>
              <a:cxn ang="0">
                <a:pos x="connsiteX67231" y="connsiteY67231"/>
              </a:cxn>
              <a:cxn ang="0">
                <a:pos x="connsiteX67232" y="connsiteY67232"/>
              </a:cxn>
              <a:cxn ang="0">
                <a:pos x="connsiteX67233" y="connsiteY67233"/>
              </a:cxn>
              <a:cxn ang="0">
                <a:pos x="connsiteX67234" y="connsiteY67234"/>
              </a:cxn>
              <a:cxn ang="0">
                <a:pos x="connsiteX67235" y="connsiteY67235"/>
              </a:cxn>
              <a:cxn ang="0">
                <a:pos x="connsiteX67236" y="connsiteY67236"/>
              </a:cxn>
              <a:cxn ang="0">
                <a:pos x="connsiteX67237" y="connsiteY67237"/>
              </a:cxn>
              <a:cxn ang="0">
                <a:pos x="connsiteX67238" y="connsiteY67238"/>
              </a:cxn>
              <a:cxn ang="0">
                <a:pos x="connsiteX67239" y="connsiteY67239"/>
              </a:cxn>
              <a:cxn ang="0">
                <a:pos x="connsiteX67240" y="connsiteY67240"/>
              </a:cxn>
              <a:cxn ang="0">
                <a:pos x="connsiteX67241" y="connsiteY67241"/>
              </a:cxn>
              <a:cxn ang="0">
                <a:pos x="connsiteX67242" y="connsiteY67242"/>
              </a:cxn>
              <a:cxn ang="0">
                <a:pos x="connsiteX67243" y="connsiteY67243"/>
              </a:cxn>
              <a:cxn ang="0">
                <a:pos x="connsiteX67244" y="connsiteY67244"/>
              </a:cxn>
              <a:cxn ang="0">
                <a:pos x="connsiteX67245" y="connsiteY67245"/>
              </a:cxn>
              <a:cxn ang="0">
                <a:pos x="connsiteX67246" y="connsiteY67246"/>
              </a:cxn>
              <a:cxn ang="0">
                <a:pos x="connsiteX67247" y="connsiteY67247"/>
              </a:cxn>
              <a:cxn ang="0">
                <a:pos x="connsiteX67248" y="connsiteY67248"/>
              </a:cxn>
              <a:cxn ang="0">
                <a:pos x="connsiteX67249" y="connsiteY67249"/>
              </a:cxn>
              <a:cxn ang="0">
                <a:pos x="connsiteX67250" y="connsiteY67250"/>
              </a:cxn>
              <a:cxn ang="0">
                <a:pos x="connsiteX67251" y="connsiteY67251"/>
              </a:cxn>
              <a:cxn ang="0">
                <a:pos x="connsiteX67252" y="connsiteY67252"/>
              </a:cxn>
              <a:cxn ang="0">
                <a:pos x="connsiteX67253" y="connsiteY67253"/>
              </a:cxn>
              <a:cxn ang="0">
                <a:pos x="connsiteX67254" y="connsiteY67254"/>
              </a:cxn>
              <a:cxn ang="0">
                <a:pos x="connsiteX67255" y="connsiteY67255"/>
              </a:cxn>
              <a:cxn ang="0">
                <a:pos x="connsiteX67256" y="connsiteY67256"/>
              </a:cxn>
              <a:cxn ang="0">
                <a:pos x="connsiteX67257" y="connsiteY67257"/>
              </a:cxn>
              <a:cxn ang="0">
                <a:pos x="connsiteX67258" y="connsiteY67258"/>
              </a:cxn>
              <a:cxn ang="0">
                <a:pos x="connsiteX67259" y="connsiteY67259"/>
              </a:cxn>
              <a:cxn ang="0">
                <a:pos x="connsiteX67260" y="connsiteY67260"/>
              </a:cxn>
              <a:cxn ang="0">
                <a:pos x="connsiteX67261" y="connsiteY67261"/>
              </a:cxn>
              <a:cxn ang="0">
                <a:pos x="connsiteX67262" y="connsiteY67262"/>
              </a:cxn>
              <a:cxn ang="0">
                <a:pos x="connsiteX67263" y="connsiteY67263"/>
              </a:cxn>
              <a:cxn ang="0">
                <a:pos x="connsiteX67264" y="connsiteY67264"/>
              </a:cxn>
              <a:cxn ang="0">
                <a:pos x="connsiteX67265" y="connsiteY67265"/>
              </a:cxn>
              <a:cxn ang="0">
                <a:pos x="connsiteX67266" y="connsiteY67266"/>
              </a:cxn>
              <a:cxn ang="0">
                <a:pos x="connsiteX67267" y="connsiteY67267"/>
              </a:cxn>
              <a:cxn ang="0">
                <a:pos x="connsiteX67268" y="connsiteY67268"/>
              </a:cxn>
              <a:cxn ang="0">
                <a:pos x="connsiteX67269" y="connsiteY67269"/>
              </a:cxn>
              <a:cxn ang="0">
                <a:pos x="connsiteX67270" y="connsiteY67270"/>
              </a:cxn>
              <a:cxn ang="0">
                <a:pos x="connsiteX67271" y="connsiteY67271"/>
              </a:cxn>
              <a:cxn ang="0">
                <a:pos x="connsiteX67272" y="connsiteY67272"/>
              </a:cxn>
              <a:cxn ang="0">
                <a:pos x="connsiteX67273" y="connsiteY67273"/>
              </a:cxn>
              <a:cxn ang="0">
                <a:pos x="connsiteX67274" y="connsiteY67274"/>
              </a:cxn>
              <a:cxn ang="0">
                <a:pos x="connsiteX67275" y="connsiteY67275"/>
              </a:cxn>
              <a:cxn ang="0">
                <a:pos x="connsiteX67276" y="connsiteY67276"/>
              </a:cxn>
              <a:cxn ang="0">
                <a:pos x="connsiteX67277" y="connsiteY67277"/>
              </a:cxn>
              <a:cxn ang="0">
                <a:pos x="connsiteX67278" y="connsiteY67278"/>
              </a:cxn>
              <a:cxn ang="0">
                <a:pos x="connsiteX67279" y="connsiteY67279"/>
              </a:cxn>
              <a:cxn ang="0">
                <a:pos x="connsiteX67280" y="connsiteY67280"/>
              </a:cxn>
              <a:cxn ang="0">
                <a:pos x="connsiteX67281" y="connsiteY67281"/>
              </a:cxn>
              <a:cxn ang="0">
                <a:pos x="connsiteX67282" y="connsiteY67282"/>
              </a:cxn>
              <a:cxn ang="0">
                <a:pos x="connsiteX67283" y="connsiteY67283"/>
              </a:cxn>
              <a:cxn ang="0">
                <a:pos x="connsiteX67284" y="connsiteY67284"/>
              </a:cxn>
              <a:cxn ang="0">
                <a:pos x="connsiteX67285" y="connsiteY67285"/>
              </a:cxn>
              <a:cxn ang="0">
                <a:pos x="connsiteX67286" y="connsiteY67286"/>
              </a:cxn>
              <a:cxn ang="0">
                <a:pos x="connsiteX67287" y="connsiteY67287"/>
              </a:cxn>
              <a:cxn ang="0">
                <a:pos x="connsiteX67288" y="connsiteY67288"/>
              </a:cxn>
              <a:cxn ang="0">
                <a:pos x="connsiteX67289" y="connsiteY67289"/>
              </a:cxn>
              <a:cxn ang="0">
                <a:pos x="connsiteX67290" y="connsiteY67290"/>
              </a:cxn>
              <a:cxn ang="0">
                <a:pos x="connsiteX67291" y="connsiteY67291"/>
              </a:cxn>
              <a:cxn ang="0">
                <a:pos x="connsiteX67292" y="connsiteY67292"/>
              </a:cxn>
              <a:cxn ang="0">
                <a:pos x="connsiteX67293" y="connsiteY67293"/>
              </a:cxn>
              <a:cxn ang="0">
                <a:pos x="connsiteX67294" y="connsiteY67294"/>
              </a:cxn>
              <a:cxn ang="0">
                <a:pos x="connsiteX67295" y="connsiteY67295"/>
              </a:cxn>
              <a:cxn ang="0">
                <a:pos x="connsiteX67296" y="connsiteY67296"/>
              </a:cxn>
              <a:cxn ang="0">
                <a:pos x="connsiteX67297" y="connsiteY67297"/>
              </a:cxn>
              <a:cxn ang="0">
                <a:pos x="connsiteX67298" y="connsiteY67298"/>
              </a:cxn>
              <a:cxn ang="0">
                <a:pos x="connsiteX67299" y="connsiteY67299"/>
              </a:cxn>
              <a:cxn ang="0">
                <a:pos x="connsiteX67300" y="connsiteY67300"/>
              </a:cxn>
              <a:cxn ang="0">
                <a:pos x="connsiteX67301" y="connsiteY67301"/>
              </a:cxn>
              <a:cxn ang="0">
                <a:pos x="connsiteX67302" y="connsiteY67302"/>
              </a:cxn>
              <a:cxn ang="0">
                <a:pos x="connsiteX67303" y="connsiteY67303"/>
              </a:cxn>
              <a:cxn ang="0">
                <a:pos x="connsiteX67304" y="connsiteY67304"/>
              </a:cxn>
              <a:cxn ang="0">
                <a:pos x="connsiteX67305" y="connsiteY67305"/>
              </a:cxn>
              <a:cxn ang="0">
                <a:pos x="connsiteX67306" y="connsiteY67306"/>
              </a:cxn>
              <a:cxn ang="0">
                <a:pos x="connsiteX67307" y="connsiteY67307"/>
              </a:cxn>
              <a:cxn ang="0">
                <a:pos x="connsiteX67308" y="connsiteY67308"/>
              </a:cxn>
              <a:cxn ang="0">
                <a:pos x="connsiteX67309" y="connsiteY67309"/>
              </a:cxn>
              <a:cxn ang="0">
                <a:pos x="connsiteX67310" y="connsiteY67310"/>
              </a:cxn>
              <a:cxn ang="0">
                <a:pos x="connsiteX67311" y="connsiteY67311"/>
              </a:cxn>
              <a:cxn ang="0">
                <a:pos x="connsiteX67312" y="connsiteY67312"/>
              </a:cxn>
              <a:cxn ang="0">
                <a:pos x="connsiteX67313" y="connsiteY67313"/>
              </a:cxn>
              <a:cxn ang="0">
                <a:pos x="connsiteX67314" y="connsiteY67314"/>
              </a:cxn>
              <a:cxn ang="0">
                <a:pos x="connsiteX67315" y="connsiteY67315"/>
              </a:cxn>
              <a:cxn ang="0">
                <a:pos x="connsiteX67316" y="connsiteY67316"/>
              </a:cxn>
              <a:cxn ang="0">
                <a:pos x="connsiteX67317" y="connsiteY67317"/>
              </a:cxn>
              <a:cxn ang="0">
                <a:pos x="connsiteX67318" y="connsiteY67318"/>
              </a:cxn>
              <a:cxn ang="0">
                <a:pos x="connsiteX67319" y="connsiteY67319"/>
              </a:cxn>
              <a:cxn ang="0">
                <a:pos x="connsiteX67320" y="connsiteY67320"/>
              </a:cxn>
              <a:cxn ang="0">
                <a:pos x="connsiteX67321" y="connsiteY67321"/>
              </a:cxn>
              <a:cxn ang="0">
                <a:pos x="connsiteX67322" y="connsiteY67322"/>
              </a:cxn>
              <a:cxn ang="0">
                <a:pos x="connsiteX67323" y="connsiteY67323"/>
              </a:cxn>
              <a:cxn ang="0">
                <a:pos x="connsiteX67324" y="connsiteY67324"/>
              </a:cxn>
              <a:cxn ang="0">
                <a:pos x="connsiteX67325" y="connsiteY67325"/>
              </a:cxn>
              <a:cxn ang="0">
                <a:pos x="connsiteX67326" y="connsiteY67326"/>
              </a:cxn>
              <a:cxn ang="0">
                <a:pos x="connsiteX67327" y="connsiteY67327"/>
              </a:cxn>
              <a:cxn ang="0">
                <a:pos x="connsiteX67328" y="connsiteY67328"/>
              </a:cxn>
              <a:cxn ang="0">
                <a:pos x="connsiteX67329" y="connsiteY67329"/>
              </a:cxn>
              <a:cxn ang="0">
                <a:pos x="connsiteX67330" y="connsiteY67330"/>
              </a:cxn>
              <a:cxn ang="0">
                <a:pos x="connsiteX67331" y="connsiteY67331"/>
              </a:cxn>
              <a:cxn ang="0">
                <a:pos x="connsiteX67332" y="connsiteY67332"/>
              </a:cxn>
              <a:cxn ang="0">
                <a:pos x="connsiteX67333" y="connsiteY67333"/>
              </a:cxn>
              <a:cxn ang="0">
                <a:pos x="connsiteX67334" y="connsiteY67334"/>
              </a:cxn>
              <a:cxn ang="0">
                <a:pos x="connsiteX67335" y="connsiteY67335"/>
              </a:cxn>
              <a:cxn ang="0">
                <a:pos x="connsiteX67336" y="connsiteY67336"/>
              </a:cxn>
              <a:cxn ang="0">
                <a:pos x="connsiteX67337" y="connsiteY67337"/>
              </a:cxn>
              <a:cxn ang="0">
                <a:pos x="connsiteX67338" y="connsiteY67338"/>
              </a:cxn>
              <a:cxn ang="0">
                <a:pos x="connsiteX67339" y="connsiteY67339"/>
              </a:cxn>
              <a:cxn ang="0">
                <a:pos x="connsiteX67340" y="connsiteY67340"/>
              </a:cxn>
              <a:cxn ang="0">
                <a:pos x="connsiteX67341" y="connsiteY67341"/>
              </a:cxn>
              <a:cxn ang="0">
                <a:pos x="connsiteX67342" y="connsiteY67342"/>
              </a:cxn>
              <a:cxn ang="0">
                <a:pos x="connsiteX67343" y="connsiteY67343"/>
              </a:cxn>
              <a:cxn ang="0">
                <a:pos x="connsiteX67344" y="connsiteY67344"/>
              </a:cxn>
              <a:cxn ang="0">
                <a:pos x="connsiteX67345" y="connsiteY67345"/>
              </a:cxn>
              <a:cxn ang="0">
                <a:pos x="connsiteX67346" y="connsiteY67346"/>
              </a:cxn>
              <a:cxn ang="0">
                <a:pos x="connsiteX67347" y="connsiteY67347"/>
              </a:cxn>
              <a:cxn ang="0">
                <a:pos x="connsiteX67348" y="connsiteY67348"/>
              </a:cxn>
              <a:cxn ang="0">
                <a:pos x="connsiteX67349" y="connsiteY67349"/>
              </a:cxn>
              <a:cxn ang="0">
                <a:pos x="connsiteX67350" y="connsiteY67350"/>
              </a:cxn>
              <a:cxn ang="0">
                <a:pos x="connsiteX67351" y="connsiteY67351"/>
              </a:cxn>
              <a:cxn ang="0">
                <a:pos x="connsiteX67352" y="connsiteY67352"/>
              </a:cxn>
              <a:cxn ang="0">
                <a:pos x="connsiteX67353" y="connsiteY67353"/>
              </a:cxn>
              <a:cxn ang="0">
                <a:pos x="connsiteX67354" y="connsiteY67354"/>
              </a:cxn>
              <a:cxn ang="0">
                <a:pos x="connsiteX67355" y="connsiteY67355"/>
              </a:cxn>
              <a:cxn ang="0">
                <a:pos x="connsiteX67356" y="connsiteY67356"/>
              </a:cxn>
              <a:cxn ang="0">
                <a:pos x="connsiteX67357" y="connsiteY67357"/>
              </a:cxn>
              <a:cxn ang="0">
                <a:pos x="connsiteX67358" y="connsiteY67358"/>
              </a:cxn>
              <a:cxn ang="0">
                <a:pos x="connsiteX67359" y="connsiteY67359"/>
              </a:cxn>
              <a:cxn ang="0">
                <a:pos x="connsiteX67360" y="connsiteY67360"/>
              </a:cxn>
              <a:cxn ang="0">
                <a:pos x="connsiteX67361" y="connsiteY67361"/>
              </a:cxn>
              <a:cxn ang="0">
                <a:pos x="connsiteX67362" y="connsiteY67362"/>
              </a:cxn>
              <a:cxn ang="0">
                <a:pos x="connsiteX67363" y="connsiteY67363"/>
              </a:cxn>
              <a:cxn ang="0">
                <a:pos x="connsiteX67364" y="connsiteY67364"/>
              </a:cxn>
              <a:cxn ang="0">
                <a:pos x="connsiteX67365" y="connsiteY67365"/>
              </a:cxn>
              <a:cxn ang="0">
                <a:pos x="connsiteX67366" y="connsiteY67366"/>
              </a:cxn>
              <a:cxn ang="0">
                <a:pos x="connsiteX67367" y="connsiteY67367"/>
              </a:cxn>
              <a:cxn ang="0">
                <a:pos x="connsiteX67368" y="connsiteY67368"/>
              </a:cxn>
              <a:cxn ang="0">
                <a:pos x="connsiteX67369" y="connsiteY67369"/>
              </a:cxn>
              <a:cxn ang="0">
                <a:pos x="connsiteX67370" y="connsiteY67370"/>
              </a:cxn>
              <a:cxn ang="0">
                <a:pos x="connsiteX67371" y="connsiteY67371"/>
              </a:cxn>
              <a:cxn ang="0">
                <a:pos x="connsiteX67372" y="connsiteY67372"/>
              </a:cxn>
              <a:cxn ang="0">
                <a:pos x="connsiteX67373" y="connsiteY67373"/>
              </a:cxn>
              <a:cxn ang="0">
                <a:pos x="connsiteX67374" y="connsiteY67374"/>
              </a:cxn>
              <a:cxn ang="0">
                <a:pos x="connsiteX67375" y="connsiteY67375"/>
              </a:cxn>
              <a:cxn ang="0">
                <a:pos x="connsiteX67376" y="connsiteY67376"/>
              </a:cxn>
              <a:cxn ang="0">
                <a:pos x="connsiteX67377" y="connsiteY67377"/>
              </a:cxn>
              <a:cxn ang="0">
                <a:pos x="connsiteX67378" y="connsiteY67378"/>
              </a:cxn>
              <a:cxn ang="0">
                <a:pos x="connsiteX67379" y="connsiteY67379"/>
              </a:cxn>
              <a:cxn ang="0">
                <a:pos x="connsiteX67380" y="connsiteY67380"/>
              </a:cxn>
              <a:cxn ang="0">
                <a:pos x="connsiteX67381" y="connsiteY67381"/>
              </a:cxn>
              <a:cxn ang="0">
                <a:pos x="connsiteX67382" y="connsiteY67382"/>
              </a:cxn>
              <a:cxn ang="0">
                <a:pos x="connsiteX67383" y="connsiteY67383"/>
              </a:cxn>
              <a:cxn ang="0">
                <a:pos x="connsiteX67384" y="connsiteY67384"/>
              </a:cxn>
              <a:cxn ang="0">
                <a:pos x="connsiteX67385" y="connsiteY67385"/>
              </a:cxn>
              <a:cxn ang="0">
                <a:pos x="connsiteX67386" y="connsiteY67386"/>
              </a:cxn>
              <a:cxn ang="0">
                <a:pos x="connsiteX67387" y="connsiteY67387"/>
              </a:cxn>
              <a:cxn ang="0">
                <a:pos x="connsiteX67388" y="connsiteY67388"/>
              </a:cxn>
              <a:cxn ang="0">
                <a:pos x="connsiteX67389" y="connsiteY67389"/>
              </a:cxn>
              <a:cxn ang="0">
                <a:pos x="connsiteX67390" y="connsiteY67390"/>
              </a:cxn>
              <a:cxn ang="0">
                <a:pos x="connsiteX67391" y="connsiteY67391"/>
              </a:cxn>
              <a:cxn ang="0">
                <a:pos x="connsiteX67392" y="connsiteY67392"/>
              </a:cxn>
              <a:cxn ang="0">
                <a:pos x="connsiteX67393" y="connsiteY67393"/>
              </a:cxn>
              <a:cxn ang="0">
                <a:pos x="connsiteX67394" y="connsiteY67394"/>
              </a:cxn>
              <a:cxn ang="0">
                <a:pos x="connsiteX67395" y="connsiteY67395"/>
              </a:cxn>
              <a:cxn ang="0">
                <a:pos x="connsiteX67396" y="connsiteY67396"/>
              </a:cxn>
              <a:cxn ang="0">
                <a:pos x="connsiteX67397" y="connsiteY67397"/>
              </a:cxn>
              <a:cxn ang="0">
                <a:pos x="connsiteX67398" y="connsiteY67398"/>
              </a:cxn>
              <a:cxn ang="0">
                <a:pos x="connsiteX67399" y="connsiteY67399"/>
              </a:cxn>
              <a:cxn ang="0">
                <a:pos x="connsiteX67400" y="connsiteY67400"/>
              </a:cxn>
              <a:cxn ang="0">
                <a:pos x="connsiteX67401" y="connsiteY67401"/>
              </a:cxn>
              <a:cxn ang="0">
                <a:pos x="connsiteX67402" y="connsiteY67402"/>
              </a:cxn>
              <a:cxn ang="0">
                <a:pos x="connsiteX67403" y="connsiteY67403"/>
              </a:cxn>
              <a:cxn ang="0">
                <a:pos x="connsiteX67404" y="connsiteY67404"/>
              </a:cxn>
              <a:cxn ang="0">
                <a:pos x="connsiteX67405" y="connsiteY67405"/>
              </a:cxn>
              <a:cxn ang="0">
                <a:pos x="connsiteX67406" y="connsiteY67406"/>
              </a:cxn>
              <a:cxn ang="0">
                <a:pos x="connsiteX67407" y="connsiteY67407"/>
              </a:cxn>
              <a:cxn ang="0">
                <a:pos x="connsiteX67408" y="connsiteY67408"/>
              </a:cxn>
              <a:cxn ang="0">
                <a:pos x="connsiteX67409" y="connsiteY67409"/>
              </a:cxn>
              <a:cxn ang="0">
                <a:pos x="connsiteX67410" y="connsiteY67410"/>
              </a:cxn>
              <a:cxn ang="0">
                <a:pos x="connsiteX67411" y="connsiteY67411"/>
              </a:cxn>
              <a:cxn ang="0">
                <a:pos x="connsiteX67412" y="connsiteY67412"/>
              </a:cxn>
              <a:cxn ang="0">
                <a:pos x="connsiteX67413" y="connsiteY67413"/>
              </a:cxn>
              <a:cxn ang="0">
                <a:pos x="connsiteX67414" y="connsiteY67414"/>
              </a:cxn>
              <a:cxn ang="0">
                <a:pos x="connsiteX67415" y="connsiteY67415"/>
              </a:cxn>
              <a:cxn ang="0">
                <a:pos x="connsiteX67416" y="connsiteY67416"/>
              </a:cxn>
              <a:cxn ang="0">
                <a:pos x="connsiteX67417" y="connsiteY67417"/>
              </a:cxn>
              <a:cxn ang="0">
                <a:pos x="connsiteX67418" y="connsiteY67418"/>
              </a:cxn>
              <a:cxn ang="0">
                <a:pos x="connsiteX67419" y="connsiteY67419"/>
              </a:cxn>
              <a:cxn ang="0">
                <a:pos x="connsiteX67420" y="connsiteY67420"/>
              </a:cxn>
              <a:cxn ang="0">
                <a:pos x="connsiteX67421" y="connsiteY67421"/>
              </a:cxn>
              <a:cxn ang="0">
                <a:pos x="connsiteX67422" y="connsiteY67422"/>
              </a:cxn>
              <a:cxn ang="0">
                <a:pos x="connsiteX67423" y="connsiteY67423"/>
              </a:cxn>
              <a:cxn ang="0">
                <a:pos x="connsiteX67424" y="connsiteY67424"/>
              </a:cxn>
              <a:cxn ang="0">
                <a:pos x="connsiteX67425" y="connsiteY67425"/>
              </a:cxn>
              <a:cxn ang="0">
                <a:pos x="connsiteX67426" y="connsiteY67426"/>
              </a:cxn>
              <a:cxn ang="0">
                <a:pos x="connsiteX67427" y="connsiteY67427"/>
              </a:cxn>
              <a:cxn ang="0">
                <a:pos x="connsiteX67428" y="connsiteY67428"/>
              </a:cxn>
              <a:cxn ang="0">
                <a:pos x="connsiteX67429" y="connsiteY67429"/>
              </a:cxn>
              <a:cxn ang="0">
                <a:pos x="connsiteX67430" y="connsiteY67430"/>
              </a:cxn>
              <a:cxn ang="0">
                <a:pos x="connsiteX67431" y="connsiteY67431"/>
              </a:cxn>
              <a:cxn ang="0">
                <a:pos x="connsiteX67432" y="connsiteY67432"/>
              </a:cxn>
              <a:cxn ang="0">
                <a:pos x="connsiteX67433" y="connsiteY67433"/>
              </a:cxn>
              <a:cxn ang="0">
                <a:pos x="connsiteX67434" y="connsiteY67434"/>
              </a:cxn>
              <a:cxn ang="0">
                <a:pos x="connsiteX67435" y="connsiteY67435"/>
              </a:cxn>
              <a:cxn ang="0">
                <a:pos x="connsiteX67436" y="connsiteY67436"/>
              </a:cxn>
              <a:cxn ang="0">
                <a:pos x="connsiteX67437" y="connsiteY67437"/>
              </a:cxn>
              <a:cxn ang="0">
                <a:pos x="connsiteX67438" y="connsiteY67438"/>
              </a:cxn>
              <a:cxn ang="0">
                <a:pos x="connsiteX67439" y="connsiteY67439"/>
              </a:cxn>
              <a:cxn ang="0">
                <a:pos x="connsiteX67440" y="connsiteY67440"/>
              </a:cxn>
              <a:cxn ang="0">
                <a:pos x="connsiteX67441" y="connsiteY67441"/>
              </a:cxn>
              <a:cxn ang="0">
                <a:pos x="connsiteX67442" y="connsiteY67442"/>
              </a:cxn>
              <a:cxn ang="0">
                <a:pos x="connsiteX67443" y="connsiteY67443"/>
              </a:cxn>
              <a:cxn ang="0">
                <a:pos x="connsiteX67444" y="connsiteY67444"/>
              </a:cxn>
              <a:cxn ang="0">
                <a:pos x="connsiteX67445" y="connsiteY67445"/>
              </a:cxn>
              <a:cxn ang="0">
                <a:pos x="connsiteX67446" y="connsiteY67446"/>
              </a:cxn>
              <a:cxn ang="0">
                <a:pos x="connsiteX67447" y="connsiteY67447"/>
              </a:cxn>
              <a:cxn ang="0">
                <a:pos x="connsiteX67448" y="connsiteY67448"/>
              </a:cxn>
              <a:cxn ang="0">
                <a:pos x="connsiteX67449" y="connsiteY67449"/>
              </a:cxn>
              <a:cxn ang="0">
                <a:pos x="connsiteX67450" y="connsiteY67450"/>
              </a:cxn>
              <a:cxn ang="0">
                <a:pos x="connsiteX67451" y="connsiteY67451"/>
              </a:cxn>
              <a:cxn ang="0">
                <a:pos x="connsiteX67452" y="connsiteY67452"/>
              </a:cxn>
              <a:cxn ang="0">
                <a:pos x="connsiteX67453" y="connsiteY67453"/>
              </a:cxn>
              <a:cxn ang="0">
                <a:pos x="connsiteX67454" y="connsiteY67454"/>
              </a:cxn>
              <a:cxn ang="0">
                <a:pos x="connsiteX67455" y="connsiteY67455"/>
              </a:cxn>
              <a:cxn ang="0">
                <a:pos x="connsiteX67456" y="connsiteY67456"/>
              </a:cxn>
              <a:cxn ang="0">
                <a:pos x="connsiteX67457" y="connsiteY67457"/>
              </a:cxn>
              <a:cxn ang="0">
                <a:pos x="connsiteX67458" y="connsiteY67458"/>
              </a:cxn>
              <a:cxn ang="0">
                <a:pos x="connsiteX67459" y="connsiteY67459"/>
              </a:cxn>
              <a:cxn ang="0">
                <a:pos x="connsiteX67460" y="connsiteY67460"/>
              </a:cxn>
              <a:cxn ang="0">
                <a:pos x="connsiteX67461" y="connsiteY67461"/>
              </a:cxn>
              <a:cxn ang="0">
                <a:pos x="connsiteX67462" y="connsiteY67462"/>
              </a:cxn>
              <a:cxn ang="0">
                <a:pos x="connsiteX67463" y="connsiteY67463"/>
              </a:cxn>
              <a:cxn ang="0">
                <a:pos x="connsiteX67464" y="connsiteY67464"/>
              </a:cxn>
              <a:cxn ang="0">
                <a:pos x="connsiteX67465" y="connsiteY67465"/>
              </a:cxn>
              <a:cxn ang="0">
                <a:pos x="connsiteX67466" y="connsiteY67466"/>
              </a:cxn>
              <a:cxn ang="0">
                <a:pos x="connsiteX67467" y="connsiteY67467"/>
              </a:cxn>
              <a:cxn ang="0">
                <a:pos x="connsiteX67468" y="connsiteY67468"/>
              </a:cxn>
              <a:cxn ang="0">
                <a:pos x="connsiteX67469" y="connsiteY67469"/>
              </a:cxn>
              <a:cxn ang="0">
                <a:pos x="connsiteX67470" y="connsiteY67470"/>
              </a:cxn>
              <a:cxn ang="0">
                <a:pos x="connsiteX67471" y="connsiteY67471"/>
              </a:cxn>
              <a:cxn ang="0">
                <a:pos x="connsiteX67472" y="connsiteY67472"/>
              </a:cxn>
              <a:cxn ang="0">
                <a:pos x="connsiteX67473" y="connsiteY67473"/>
              </a:cxn>
              <a:cxn ang="0">
                <a:pos x="connsiteX67474" y="connsiteY67474"/>
              </a:cxn>
              <a:cxn ang="0">
                <a:pos x="connsiteX67475" y="connsiteY67475"/>
              </a:cxn>
              <a:cxn ang="0">
                <a:pos x="connsiteX67476" y="connsiteY67476"/>
              </a:cxn>
              <a:cxn ang="0">
                <a:pos x="connsiteX67477" y="connsiteY67477"/>
              </a:cxn>
              <a:cxn ang="0">
                <a:pos x="connsiteX67478" y="connsiteY67478"/>
              </a:cxn>
              <a:cxn ang="0">
                <a:pos x="connsiteX67479" y="connsiteY67479"/>
              </a:cxn>
              <a:cxn ang="0">
                <a:pos x="connsiteX67480" y="connsiteY67480"/>
              </a:cxn>
              <a:cxn ang="0">
                <a:pos x="connsiteX67481" y="connsiteY67481"/>
              </a:cxn>
              <a:cxn ang="0">
                <a:pos x="connsiteX67482" y="connsiteY67482"/>
              </a:cxn>
              <a:cxn ang="0">
                <a:pos x="connsiteX67483" y="connsiteY67483"/>
              </a:cxn>
              <a:cxn ang="0">
                <a:pos x="connsiteX67484" y="connsiteY67484"/>
              </a:cxn>
              <a:cxn ang="0">
                <a:pos x="connsiteX67485" y="connsiteY67485"/>
              </a:cxn>
              <a:cxn ang="0">
                <a:pos x="connsiteX67486" y="connsiteY67486"/>
              </a:cxn>
              <a:cxn ang="0">
                <a:pos x="connsiteX67487" y="connsiteY67487"/>
              </a:cxn>
              <a:cxn ang="0">
                <a:pos x="connsiteX67488" y="connsiteY67488"/>
              </a:cxn>
              <a:cxn ang="0">
                <a:pos x="connsiteX67489" y="connsiteY67489"/>
              </a:cxn>
              <a:cxn ang="0">
                <a:pos x="connsiteX67490" y="connsiteY67490"/>
              </a:cxn>
              <a:cxn ang="0">
                <a:pos x="connsiteX67491" y="connsiteY67491"/>
              </a:cxn>
              <a:cxn ang="0">
                <a:pos x="connsiteX67492" y="connsiteY67492"/>
              </a:cxn>
              <a:cxn ang="0">
                <a:pos x="connsiteX67493" y="connsiteY67493"/>
              </a:cxn>
              <a:cxn ang="0">
                <a:pos x="connsiteX67494" y="connsiteY67494"/>
              </a:cxn>
              <a:cxn ang="0">
                <a:pos x="connsiteX67495" y="connsiteY67495"/>
              </a:cxn>
              <a:cxn ang="0">
                <a:pos x="connsiteX67496" y="connsiteY67496"/>
              </a:cxn>
              <a:cxn ang="0">
                <a:pos x="connsiteX67497" y="connsiteY67497"/>
              </a:cxn>
              <a:cxn ang="0">
                <a:pos x="connsiteX67498" y="connsiteY67498"/>
              </a:cxn>
              <a:cxn ang="0">
                <a:pos x="connsiteX67499" y="connsiteY67499"/>
              </a:cxn>
              <a:cxn ang="0">
                <a:pos x="connsiteX67500" y="connsiteY67500"/>
              </a:cxn>
              <a:cxn ang="0">
                <a:pos x="connsiteX67501" y="connsiteY67501"/>
              </a:cxn>
              <a:cxn ang="0">
                <a:pos x="connsiteX67502" y="connsiteY67502"/>
              </a:cxn>
              <a:cxn ang="0">
                <a:pos x="connsiteX67503" y="connsiteY67503"/>
              </a:cxn>
              <a:cxn ang="0">
                <a:pos x="connsiteX67504" y="connsiteY67504"/>
              </a:cxn>
              <a:cxn ang="0">
                <a:pos x="connsiteX67505" y="connsiteY67505"/>
              </a:cxn>
              <a:cxn ang="0">
                <a:pos x="connsiteX67506" y="connsiteY67506"/>
              </a:cxn>
              <a:cxn ang="0">
                <a:pos x="connsiteX67507" y="connsiteY67507"/>
              </a:cxn>
              <a:cxn ang="0">
                <a:pos x="connsiteX67508" y="connsiteY67508"/>
              </a:cxn>
              <a:cxn ang="0">
                <a:pos x="connsiteX67509" y="connsiteY67509"/>
              </a:cxn>
              <a:cxn ang="0">
                <a:pos x="connsiteX67510" y="connsiteY67510"/>
              </a:cxn>
              <a:cxn ang="0">
                <a:pos x="connsiteX67511" y="connsiteY67511"/>
              </a:cxn>
              <a:cxn ang="0">
                <a:pos x="connsiteX67512" y="connsiteY67512"/>
              </a:cxn>
              <a:cxn ang="0">
                <a:pos x="connsiteX67513" y="connsiteY67513"/>
              </a:cxn>
              <a:cxn ang="0">
                <a:pos x="connsiteX67514" y="connsiteY67514"/>
              </a:cxn>
              <a:cxn ang="0">
                <a:pos x="connsiteX67515" y="connsiteY67515"/>
              </a:cxn>
              <a:cxn ang="0">
                <a:pos x="connsiteX67516" y="connsiteY67516"/>
              </a:cxn>
              <a:cxn ang="0">
                <a:pos x="connsiteX67517" y="connsiteY67517"/>
              </a:cxn>
              <a:cxn ang="0">
                <a:pos x="connsiteX67518" y="connsiteY67518"/>
              </a:cxn>
              <a:cxn ang="0">
                <a:pos x="connsiteX67519" y="connsiteY67519"/>
              </a:cxn>
              <a:cxn ang="0">
                <a:pos x="connsiteX67520" y="connsiteY67520"/>
              </a:cxn>
              <a:cxn ang="0">
                <a:pos x="connsiteX67521" y="connsiteY67521"/>
              </a:cxn>
              <a:cxn ang="0">
                <a:pos x="connsiteX67522" y="connsiteY67522"/>
              </a:cxn>
              <a:cxn ang="0">
                <a:pos x="connsiteX67523" y="connsiteY67523"/>
              </a:cxn>
              <a:cxn ang="0">
                <a:pos x="connsiteX67524" y="connsiteY67524"/>
              </a:cxn>
              <a:cxn ang="0">
                <a:pos x="connsiteX67525" y="connsiteY67525"/>
              </a:cxn>
              <a:cxn ang="0">
                <a:pos x="connsiteX67526" y="connsiteY67526"/>
              </a:cxn>
              <a:cxn ang="0">
                <a:pos x="connsiteX67527" y="connsiteY67527"/>
              </a:cxn>
              <a:cxn ang="0">
                <a:pos x="connsiteX67528" y="connsiteY67528"/>
              </a:cxn>
              <a:cxn ang="0">
                <a:pos x="connsiteX67529" y="connsiteY67529"/>
              </a:cxn>
              <a:cxn ang="0">
                <a:pos x="connsiteX67530" y="connsiteY67530"/>
              </a:cxn>
              <a:cxn ang="0">
                <a:pos x="connsiteX67531" y="connsiteY67531"/>
              </a:cxn>
              <a:cxn ang="0">
                <a:pos x="connsiteX67532" y="connsiteY67532"/>
              </a:cxn>
              <a:cxn ang="0">
                <a:pos x="connsiteX67533" y="connsiteY67533"/>
              </a:cxn>
              <a:cxn ang="0">
                <a:pos x="connsiteX67534" y="connsiteY67534"/>
              </a:cxn>
              <a:cxn ang="0">
                <a:pos x="connsiteX67535" y="connsiteY67535"/>
              </a:cxn>
              <a:cxn ang="0">
                <a:pos x="connsiteX67536" y="connsiteY67536"/>
              </a:cxn>
              <a:cxn ang="0">
                <a:pos x="connsiteX67537" y="connsiteY67537"/>
              </a:cxn>
              <a:cxn ang="0">
                <a:pos x="connsiteX67538" y="connsiteY67538"/>
              </a:cxn>
              <a:cxn ang="0">
                <a:pos x="connsiteX67539" y="connsiteY67539"/>
              </a:cxn>
              <a:cxn ang="0">
                <a:pos x="connsiteX67540" y="connsiteY67540"/>
              </a:cxn>
              <a:cxn ang="0">
                <a:pos x="connsiteX67541" y="connsiteY67541"/>
              </a:cxn>
              <a:cxn ang="0">
                <a:pos x="connsiteX67542" y="connsiteY67542"/>
              </a:cxn>
              <a:cxn ang="0">
                <a:pos x="connsiteX67543" y="connsiteY67543"/>
              </a:cxn>
              <a:cxn ang="0">
                <a:pos x="connsiteX67544" y="connsiteY67544"/>
              </a:cxn>
              <a:cxn ang="0">
                <a:pos x="connsiteX67545" y="connsiteY67545"/>
              </a:cxn>
              <a:cxn ang="0">
                <a:pos x="connsiteX67546" y="connsiteY67546"/>
              </a:cxn>
              <a:cxn ang="0">
                <a:pos x="connsiteX67547" y="connsiteY67547"/>
              </a:cxn>
              <a:cxn ang="0">
                <a:pos x="connsiteX67548" y="connsiteY67548"/>
              </a:cxn>
              <a:cxn ang="0">
                <a:pos x="connsiteX67549" y="connsiteY67549"/>
              </a:cxn>
              <a:cxn ang="0">
                <a:pos x="connsiteX67550" y="connsiteY67550"/>
              </a:cxn>
              <a:cxn ang="0">
                <a:pos x="connsiteX67551" y="connsiteY67551"/>
              </a:cxn>
              <a:cxn ang="0">
                <a:pos x="connsiteX67552" y="connsiteY67552"/>
              </a:cxn>
              <a:cxn ang="0">
                <a:pos x="connsiteX67553" y="connsiteY67553"/>
              </a:cxn>
              <a:cxn ang="0">
                <a:pos x="connsiteX67554" y="connsiteY67554"/>
              </a:cxn>
              <a:cxn ang="0">
                <a:pos x="connsiteX67555" y="connsiteY67555"/>
              </a:cxn>
              <a:cxn ang="0">
                <a:pos x="connsiteX67556" y="connsiteY67556"/>
              </a:cxn>
              <a:cxn ang="0">
                <a:pos x="connsiteX67557" y="connsiteY67557"/>
              </a:cxn>
              <a:cxn ang="0">
                <a:pos x="connsiteX67558" y="connsiteY67558"/>
              </a:cxn>
              <a:cxn ang="0">
                <a:pos x="connsiteX67559" y="connsiteY67559"/>
              </a:cxn>
              <a:cxn ang="0">
                <a:pos x="connsiteX67560" y="connsiteY67560"/>
              </a:cxn>
              <a:cxn ang="0">
                <a:pos x="connsiteX67561" y="connsiteY67561"/>
              </a:cxn>
              <a:cxn ang="0">
                <a:pos x="connsiteX67562" y="connsiteY67562"/>
              </a:cxn>
              <a:cxn ang="0">
                <a:pos x="connsiteX67563" y="connsiteY67563"/>
              </a:cxn>
              <a:cxn ang="0">
                <a:pos x="connsiteX67564" y="connsiteY67564"/>
              </a:cxn>
              <a:cxn ang="0">
                <a:pos x="connsiteX67565" y="connsiteY67565"/>
              </a:cxn>
              <a:cxn ang="0">
                <a:pos x="connsiteX67566" y="connsiteY67566"/>
              </a:cxn>
              <a:cxn ang="0">
                <a:pos x="connsiteX67567" y="connsiteY67567"/>
              </a:cxn>
              <a:cxn ang="0">
                <a:pos x="connsiteX67568" y="connsiteY67568"/>
              </a:cxn>
              <a:cxn ang="0">
                <a:pos x="connsiteX67569" y="connsiteY67569"/>
              </a:cxn>
              <a:cxn ang="0">
                <a:pos x="connsiteX67570" y="connsiteY67570"/>
              </a:cxn>
              <a:cxn ang="0">
                <a:pos x="connsiteX67571" y="connsiteY67571"/>
              </a:cxn>
              <a:cxn ang="0">
                <a:pos x="connsiteX67572" y="connsiteY67572"/>
              </a:cxn>
              <a:cxn ang="0">
                <a:pos x="connsiteX67573" y="connsiteY67573"/>
              </a:cxn>
              <a:cxn ang="0">
                <a:pos x="connsiteX67574" y="connsiteY67574"/>
              </a:cxn>
              <a:cxn ang="0">
                <a:pos x="connsiteX67575" y="connsiteY67575"/>
              </a:cxn>
              <a:cxn ang="0">
                <a:pos x="connsiteX67576" y="connsiteY67576"/>
              </a:cxn>
              <a:cxn ang="0">
                <a:pos x="connsiteX67577" y="connsiteY67577"/>
              </a:cxn>
              <a:cxn ang="0">
                <a:pos x="connsiteX67578" y="connsiteY67578"/>
              </a:cxn>
              <a:cxn ang="0">
                <a:pos x="connsiteX67579" y="connsiteY67579"/>
              </a:cxn>
              <a:cxn ang="0">
                <a:pos x="connsiteX67580" y="connsiteY67580"/>
              </a:cxn>
              <a:cxn ang="0">
                <a:pos x="connsiteX67581" y="connsiteY67581"/>
              </a:cxn>
              <a:cxn ang="0">
                <a:pos x="connsiteX67582" y="connsiteY67582"/>
              </a:cxn>
              <a:cxn ang="0">
                <a:pos x="connsiteX67583" y="connsiteY67583"/>
              </a:cxn>
              <a:cxn ang="0">
                <a:pos x="connsiteX67584" y="connsiteY67584"/>
              </a:cxn>
              <a:cxn ang="0">
                <a:pos x="connsiteX67585" y="connsiteY67585"/>
              </a:cxn>
              <a:cxn ang="0">
                <a:pos x="connsiteX67586" y="connsiteY67586"/>
              </a:cxn>
              <a:cxn ang="0">
                <a:pos x="connsiteX67587" y="connsiteY67587"/>
              </a:cxn>
              <a:cxn ang="0">
                <a:pos x="connsiteX67588" y="connsiteY67588"/>
              </a:cxn>
              <a:cxn ang="0">
                <a:pos x="connsiteX67589" y="connsiteY67589"/>
              </a:cxn>
              <a:cxn ang="0">
                <a:pos x="connsiteX67590" y="connsiteY67590"/>
              </a:cxn>
              <a:cxn ang="0">
                <a:pos x="connsiteX67591" y="connsiteY67591"/>
              </a:cxn>
              <a:cxn ang="0">
                <a:pos x="connsiteX67592" y="connsiteY67592"/>
              </a:cxn>
              <a:cxn ang="0">
                <a:pos x="connsiteX67593" y="connsiteY67593"/>
              </a:cxn>
              <a:cxn ang="0">
                <a:pos x="connsiteX67594" y="connsiteY67594"/>
              </a:cxn>
              <a:cxn ang="0">
                <a:pos x="connsiteX67595" y="connsiteY67595"/>
              </a:cxn>
              <a:cxn ang="0">
                <a:pos x="connsiteX67596" y="connsiteY67596"/>
              </a:cxn>
              <a:cxn ang="0">
                <a:pos x="connsiteX67597" y="connsiteY67597"/>
              </a:cxn>
              <a:cxn ang="0">
                <a:pos x="connsiteX67598" y="connsiteY67598"/>
              </a:cxn>
              <a:cxn ang="0">
                <a:pos x="connsiteX67599" y="connsiteY67599"/>
              </a:cxn>
              <a:cxn ang="0">
                <a:pos x="connsiteX67600" y="connsiteY67600"/>
              </a:cxn>
              <a:cxn ang="0">
                <a:pos x="connsiteX67601" y="connsiteY67601"/>
              </a:cxn>
              <a:cxn ang="0">
                <a:pos x="connsiteX67602" y="connsiteY67602"/>
              </a:cxn>
              <a:cxn ang="0">
                <a:pos x="connsiteX67603" y="connsiteY67603"/>
              </a:cxn>
              <a:cxn ang="0">
                <a:pos x="connsiteX67604" y="connsiteY67604"/>
              </a:cxn>
              <a:cxn ang="0">
                <a:pos x="connsiteX67605" y="connsiteY67605"/>
              </a:cxn>
              <a:cxn ang="0">
                <a:pos x="connsiteX67606" y="connsiteY67606"/>
              </a:cxn>
              <a:cxn ang="0">
                <a:pos x="connsiteX67607" y="connsiteY67607"/>
              </a:cxn>
              <a:cxn ang="0">
                <a:pos x="connsiteX67608" y="connsiteY67608"/>
              </a:cxn>
              <a:cxn ang="0">
                <a:pos x="connsiteX67609" y="connsiteY67609"/>
              </a:cxn>
              <a:cxn ang="0">
                <a:pos x="connsiteX67610" y="connsiteY67610"/>
              </a:cxn>
              <a:cxn ang="0">
                <a:pos x="connsiteX67611" y="connsiteY67611"/>
              </a:cxn>
              <a:cxn ang="0">
                <a:pos x="connsiteX67612" y="connsiteY67612"/>
              </a:cxn>
              <a:cxn ang="0">
                <a:pos x="connsiteX67613" y="connsiteY67613"/>
              </a:cxn>
              <a:cxn ang="0">
                <a:pos x="connsiteX67614" y="connsiteY67614"/>
              </a:cxn>
              <a:cxn ang="0">
                <a:pos x="connsiteX67615" y="connsiteY67615"/>
              </a:cxn>
              <a:cxn ang="0">
                <a:pos x="connsiteX67616" y="connsiteY67616"/>
              </a:cxn>
              <a:cxn ang="0">
                <a:pos x="connsiteX67617" y="connsiteY67617"/>
              </a:cxn>
              <a:cxn ang="0">
                <a:pos x="connsiteX67618" y="connsiteY67618"/>
              </a:cxn>
              <a:cxn ang="0">
                <a:pos x="connsiteX67619" y="connsiteY67619"/>
              </a:cxn>
              <a:cxn ang="0">
                <a:pos x="connsiteX67620" y="connsiteY67620"/>
              </a:cxn>
              <a:cxn ang="0">
                <a:pos x="connsiteX67621" y="connsiteY67621"/>
              </a:cxn>
              <a:cxn ang="0">
                <a:pos x="connsiteX67622" y="connsiteY67622"/>
              </a:cxn>
              <a:cxn ang="0">
                <a:pos x="connsiteX67623" y="connsiteY67623"/>
              </a:cxn>
              <a:cxn ang="0">
                <a:pos x="connsiteX67624" y="connsiteY67624"/>
              </a:cxn>
              <a:cxn ang="0">
                <a:pos x="connsiteX67625" y="connsiteY67625"/>
              </a:cxn>
              <a:cxn ang="0">
                <a:pos x="connsiteX67626" y="connsiteY67626"/>
              </a:cxn>
              <a:cxn ang="0">
                <a:pos x="connsiteX67627" y="connsiteY67627"/>
              </a:cxn>
              <a:cxn ang="0">
                <a:pos x="connsiteX67628" y="connsiteY67628"/>
              </a:cxn>
              <a:cxn ang="0">
                <a:pos x="connsiteX67629" y="connsiteY67629"/>
              </a:cxn>
              <a:cxn ang="0">
                <a:pos x="connsiteX67630" y="connsiteY67630"/>
              </a:cxn>
              <a:cxn ang="0">
                <a:pos x="connsiteX67631" y="connsiteY67631"/>
              </a:cxn>
              <a:cxn ang="0">
                <a:pos x="connsiteX67632" y="connsiteY67632"/>
              </a:cxn>
              <a:cxn ang="0">
                <a:pos x="connsiteX67633" y="connsiteY67633"/>
              </a:cxn>
              <a:cxn ang="0">
                <a:pos x="connsiteX67634" y="connsiteY67634"/>
              </a:cxn>
              <a:cxn ang="0">
                <a:pos x="connsiteX67635" y="connsiteY67635"/>
              </a:cxn>
              <a:cxn ang="0">
                <a:pos x="connsiteX67636" y="connsiteY67636"/>
              </a:cxn>
              <a:cxn ang="0">
                <a:pos x="connsiteX67637" y="connsiteY67637"/>
              </a:cxn>
              <a:cxn ang="0">
                <a:pos x="connsiteX67638" y="connsiteY67638"/>
              </a:cxn>
              <a:cxn ang="0">
                <a:pos x="connsiteX67639" y="connsiteY67639"/>
              </a:cxn>
              <a:cxn ang="0">
                <a:pos x="connsiteX67640" y="connsiteY67640"/>
              </a:cxn>
              <a:cxn ang="0">
                <a:pos x="connsiteX67641" y="connsiteY67641"/>
              </a:cxn>
              <a:cxn ang="0">
                <a:pos x="connsiteX67642" y="connsiteY67642"/>
              </a:cxn>
              <a:cxn ang="0">
                <a:pos x="connsiteX67643" y="connsiteY67643"/>
              </a:cxn>
              <a:cxn ang="0">
                <a:pos x="connsiteX67644" y="connsiteY67644"/>
              </a:cxn>
              <a:cxn ang="0">
                <a:pos x="connsiteX67645" y="connsiteY67645"/>
              </a:cxn>
              <a:cxn ang="0">
                <a:pos x="connsiteX67646" y="connsiteY67646"/>
              </a:cxn>
              <a:cxn ang="0">
                <a:pos x="connsiteX67647" y="connsiteY67647"/>
              </a:cxn>
              <a:cxn ang="0">
                <a:pos x="connsiteX67648" y="connsiteY67648"/>
              </a:cxn>
              <a:cxn ang="0">
                <a:pos x="connsiteX67649" y="connsiteY67649"/>
              </a:cxn>
              <a:cxn ang="0">
                <a:pos x="connsiteX67650" y="connsiteY67650"/>
              </a:cxn>
              <a:cxn ang="0">
                <a:pos x="connsiteX67651" y="connsiteY67651"/>
              </a:cxn>
              <a:cxn ang="0">
                <a:pos x="connsiteX67652" y="connsiteY67652"/>
              </a:cxn>
              <a:cxn ang="0">
                <a:pos x="connsiteX67653" y="connsiteY67653"/>
              </a:cxn>
              <a:cxn ang="0">
                <a:pos x="connsiteX67654" y="connsiteY67654"/>
              </a:cxn>
              <a:cxn ang="0">
                <a:pos x="connsiteX67655" y="connsiteY67655"/>
              </a:cxn>
              <a:cxn ang="0">
                <a:pos x="connsiteX67656" y="connsiteY67656"/>
              </a:cxn>
              <a:cxn ang="0">
                <a:pos x="connsiteX67657" y="connsiteY67657"/>
              </a:cxn>
              <a:cxn ang="0">
                <a:pos x="connsiteX67658" y="connsiteY67658"/>
              </a:cxn>
              <a:cxn ang="0">
                <a:pos x="connsiteX67659" y="connsiteY67659"/>
              </a:cxn>
              <a:cxn ang="0">
                <a:pos x="connsiteX67660" y="connsiteY67660"/>
              </a:cxn>
              <a:cxn ang="0">
                <a:pos x="connsiteX67661" y="connsiteY67661"/>
              </a:cxn>
              <a:cxn ang="0">
                <a:pos x="connsiteX67662" y="connsiteY67662"/>
              </a:cxn>
              <a:cxn ang="0">
                <a:pos x="connsiteX67663" y="connsiteY67663"/>
              </a:cxn>
              <a:cxn ang="0">
                <a:pos x="connsiteX67664" y="connsiteY67664"/>
              </a:cxn>
              <a:cxn ang="0">
                <a:pos x="connsiteX67665" y="connsiteY67665"/>
              </a:cxn>
              <a:cxn ang="0">
                <a:pos x="connsiteX67666" y="connsiteY67666"/>
              </a:cxn>
              <a:cxn ang="0">
                <a:pos x="connsiteX67667" y="connsiteY67667"/>
              </a:cxn>
              <a:cxn ang="0">
                <a:pos x="connsiteX67668" y="connsiteY67668"/>
              </a:cxn>
              <a:cxn ang="0">
                <a:pos x="connsiteX67669" y="connsiteY67669"/>
              </a:cxn>
              <a:cxn ang="0">
                <a:pos x="connsiteX67670" y="connsiteY67670"/>
              </a:cxn>
              <a:cxn ang="0">
                <a:pos x="connsiteX67671" y="connsiteY67671"/>
              </a:cxn>
              <a:cxn ang="0">
                <a:pos x="connsiteX67672" y="connsiteY67672"/>
              </a:cxn>
              <a:cxn ang="0">
                <a:pos x="connsiteX67673" y="connsiteY67673"/>
              </a:cxn>
              <a:cxn ang="0">
                <a:pos x="connsiteX67674" y="connsiteY67674"/>
              </a:cxn>
              <a:cxn ang="0">
                <a:pos x="connsiteX67675" y="connsiteY67675"/>
              </a:cxn>
              <a:cxn ang="0">
                <a:pos x="connsiteX67676" y="connsiteY67676"/>
              </a:cxn>
              <a:cxn ang="0">
                <a:pos x="connsiteX67677" y="connsiteY67677"/>
              </a:cxn>
              <a:cxn ang="0">
                <a:pos x="connsiteX67678" y="connsiteY67678"/>
              </a:cxn>
              <a:cxn ang="0">
                <a:pos x="connsiteX67679" y="connsiteY67679"/>
              </a:cxn>
              <a:cxn ang="0">
                <a:pos x="connsiteX67680" y="connsiteY67680"/>
              </a:cxn>
              <a:cxn ang="0">
                <a:pos x="connsiteX67681" y="connsiteY67681"/>
              </a:cxn>
              <a:cxn ang="0">
                <a:pos x="connsiteX67682" y="connsiteY67682"/>
              </a:cxn>
              <a:cxn ang="0">
                <a:pos x="connsiteX67683" y="connsiteY67683"/>
              </a:cxn>
              <a:cxn ang="0">
                <a:pos x="connsiteX67684" y="connsiteY67684"/>
              </a:cxn>
              <a:cxn ang="0">
                <a:pos x="connsiteX67685" y="connsiteY67685"/>
              </a:cxn>
              <a:cxn ang="0">
                <a:pos x="connsiteX67686" y="connsiteY67686"/>
              </a:cxn>
              <a:cxn ang="0">
                <a:pos x="connsiteX67687" y="connsiteY67687"/>
              </a:cxn>
              <a:cxn ang="0">
                <a:pos x="connsiteX67688" y="connsiteY67688"/>
              </a:cxn>
              <a:cxn ang="0">
                <a:pos x="connsiteX67689" y="connsiteY67689"/>
              </a:cxn>
              <a:cxn ang="0">
                <a:pos x="connsiteX67690" y="connsiteY67690"/>
              </a:cxn>
              <a:cxn ang="0">
                <a:pos x="connsiteX67691" y="connsiteY67691"/>
              </a:cxn>
              <a:cxn ang="0">
                <a:pos x="connsiteX67692" y="connsiteY67692"/>
              </a:cxn>
              <a:cxn ang="0">
                <a:pos x="connsiteX67693" y="connsiteY67693"/>
              </a:cxn>
              <a:cxn ang="0">
                <a:pos x="connsiteX67694" y="connsiteY67694"/>
              </a:cxn>
              <a:cxn ang="0">
                <a:pos x="connsiteX67695" y="connsiteY67695"/>
              </a:cxn>
              <a:cxn ang="0">
                <a:pos x="connsiteX67696" y="connsiteY67696"/>
              </a:cxn>
              <a:cxn ang="0">
                <a:pos x="connsiteX67697" y="connsiteY67697"/>
              </a:cxn>
              <a:cxn ang="0">
                <a:pos x="connsiteX67698" y="connsiteY67698"/>
              </a:cxn>
              <a:cxn ang="0">
                <a:pos x="connsiteX67699" y="connsiteY67699"/>
              </a:cxn>
              <a:cxn ang="0">
                <a:pos x="connsiteX67700" y="connsiteY67700"/>
              </a:cxn>
              <a:cxn ang="0">
                <a:pos x="connsiteX67701" y="connsiteY67701"/>
              </a:cxn>
              <a:cxn ang="0">
                <a:pos x="connsiteX67702" y="connsiteY67702"/>
              </a:cxn>
              <a:cxn ang="0">
                <a:pos x="connsiteX67703" y="connsiteY67703"/>
              </a:cxn>
              <a:cxn ang="0">
                <a:pos x="connsiteX67704" y="connsiteY67704"/>
              </a:cxn>
              <a:cxn ang="0">
                <a:pos x="connsiteX67705" y="connsiteY67705"/>
              </a:cxn>
              <a:cxn ang="0">
                <a:pos x="connsiteX67706" y="connsiteY67706"/>
              </a:cxn>
              <a:cxn ang="0">
                <a:pos x="connsiteX67707" y="connsiteY67707"/>
              </a:cxn>
              <a:cxn ang="0">
                <a:pos x="connsiteX67708" y="connsiteY67708"/>
              </a:cxn>
              <a:cxn ang="0">
                <a:pos x="connsiteX67709" y="connsiteY67709"/>
              </a:cxn>
              <a:cxn ang="0">
                <a:pos x="connsiteX67710" y="connsiteY67710"/>
              </a:cxn>
              <a:cxn ang="0">
                <a:pos x="connsiteX67711" y="connsiteY67711"/>
              </a:cxn>
              <a:cxn ang="0">
                <a:pos x="connsiteX67712" y="connsiteY67712"/>
              </a:cxn>
              <a:cxn ang="0">
                <a:pos x="connsiteX67713" y="connsiteY67713"/>
              </a:cxn>
              <a:cxn ang="0">
                <a:pos x="connsiteX67714" y="connsiteY67714"/>
              </a:cxn>
              <a:cxn ang="0">
                <a:pos x="connsiteX67715" y="connsiteY67715"/>
              </a:cxn>
              <a:cxn ang="0">
                <a:pos x="connsiteX67716" y="connsiteY67716"/>
              </a:cxn>
              <a:cxn ang="0">
                <a:pos x="connsiteX67717" y="connsiteY67717"/>
              </a:cxn>
              <a:cxn ang="0">
                <a:pos x="connsiteX67718" y="connsiteY67718"/>
              </a:cxn>
              <a:cxn ang="0">
                <a:pos x="connsiteX67719" y="connsiteY67719"/>
              </a:cxn>
              <a:cxn ang="0">
                <a:pos x="connsiteX67720" y="connsiteY67720"/>
              </a:cxn>
              <a:cxn ang="0">
                <a:pos x="connsiteX67721" y="connsiteY67721"/>
              </a:cxn>
              <a:cxn ang="0">
                <a:pos x="connsiteX67722" y="connsiteY67722"/>
              </a:cxn>
              <a:cxn ang="0">
                <a:pos x="connsiteX67723" y="connsiteY67723"/>
              </a:cxn>
              <a:cxn ang="0">
                <a:pos x="connsiteX67724" y="connsiteY67724"/>
              </a:cxn>
              <a:cxn ang="0">
                <a:pos x="connsiteX67725" y="connsiteY67725"/>
              </a:cxn>
              <a:cxn ang="0">
                <a:pos x="connsiteX67726" y="connsiteY67726"/>
              </a:cxn>
              <a:cxn ang="0">
                <a:pos x="connsiteX67727" y="connsiteY67727"/>
              </a:cxn>
              <a:cxn ang="0">
                <a:pos x="connsiteX67728" y="connsiteY67728"/>
              </a:cxn>
              <a:cxn ang="0">
                <a:pos x="connsiteX67729" y="connsiteY67729"/>
              </a:cxn>
              <a:cxn ang="0">
                <a:pos x="connsiteX67730" y="connsiteY67730"/>
              </a:cxn>
              <a:cxn ang="0">
                <a:pos x="connsiteX67731" y="connsiteY67731"/>
              </a:cxn>
              <a:cxn ang="0">
                <a:pos x="connsiteX67732" y="connsiteY67732"/>
              </a:cxn>
              <a:cxn ang="0">
                <a:pos x="connsiteX67733" y="connsiteY67733"/>
              </a:cxn>
              <a:cxn ang="0">
                <a:pos x="connsiteX67734" y="connsiteY67734"/>
              </a:cxn>
              <a:cxn ang="0">
                <a:pos x="connsiteX67735" y="connsiteY67735"/>
              </a:cxn>
              <a:cxn ang="0">
                <a:pos x="connsiteX67736" y="connsiteY67736"/>
              </a:cxn>
              <a:cxn ang="0">
                <a:pos x="connsiteX67737" y="connsiteY67737"/>
              </a:cxn>
              <a:cxn ang="0">
                <a:pos x="connsiteX67738" y="connsiteY67738"/>
              </a:cxn>
              <a:cxn ang="0">
                <a:pos x="connsiteX67739" y="connsiteY67739"/>
              </a:cxn>
              <a:cxn ang="0">
                <a:pos x="connsiteX67740" y="connsiteY67740"/>
              </a:cxn>
              <a:cxn ang="0">
                <a:pos x="connsiteX67741" y="connsiteY67741"/>
              </a:cxn>
              <a:cxn ang="0">
                <a:pos x="connsiteX67742" y="connsiteY67742"/>
              </a:cxn>
              <a:cxn ang="0">
                <a:pos x="connsiteX67743" y="connsiteY67743"/>
              </a:cxn>
              <a:cxn ang="0">
                <a:pos x="connsiteX67744" y="connsiteY67744"/>
              </a:cxn>
              <a:cxn ang="0">
                <a:pos x="connsiteX67745" y="connsiteY67745"/>
              </a:cxn>
              <a:cxn ang="0">
                <a:pos x="connsiteX67746" y="connsiteY67746"/>
              </a:cxn>
              <a:cxn ang="0">
                <a:pos x="connsiteX67747" y="connsiteY67747"/>
              </a:cxn>
              <a:cxn ang="0">
                <a:pos x="connsiteX67748" y="connsiteY67748"/>
              </a:cxn>
              <a:cxn ang="0">
                <a:pos x="connsiteX67749" y="connsiteY67749"/>
              </a:cxn>
              <a:cxn ang="0">
                <a:pos x="connsiteX67750" y="connsiteY67750"/>
              </a:cxn>
              <a:cxn ang="0">
                <a:pos x="connsiteX67751" y="connsiteY67751"/>
              </a:cxn>
              <a:cxn ang="0">
                <a:pos x="connsiteX67752" y="connsiteY67752"/>
              </a:cxn>
              <a:cxn ang="0">
                <a:pos x="connsiteX67753" y="connsiteY67753"/>
              </a:cxn>
              <a:cxn ang="0">
                <a:pos x="connsiteX67754" y="connsiteY67754"/>
              </a:cxn>
              <a:cxn ang="0">
                <a:pos x="connsiteX67755" y="connsiteY67755"/>
              </a:cxn>
              <a:cxn ang="0">
                <a:pos x="connsiteX67756" y="connsiteY67756"/>
              </a:cxn>
              <a:cxn ang="0">
                <a:pos x="connsiteX67757" y="connsiteY67757"/>
              </a:cxn>
              <a:cxn ang="0">
                <a:pos x="connsiteX67758" y="connsiteY67758"/>
              </a:cxn>
              <a:cxn ang="0">
                <a:pos x="connsiteX67759" y="connsiteY67759"/>
              </a:cxn>
              <a:cxn ang="0">
                <a:pos x="connsiteX67760" y="connsiteY67760"/>
              </a:cxn>
              <a:cxn ang="0">
                <a:pos x="connsiteX67761" y="connsiteY67761"/>
              </a:cxn>
              <a:cxn ang="0">
                <a:pos x="connsiteX67762" y="connsiteY67762"/>
              </a:cxn>
              <a:cxn ang="0">
                <a:pos x="connsiteX67763" y="connsiteY67763"/>
              </a:cxn>
              <a:cxn ang="0">
                <a:pos x="connsiteX67764" y="connsiteY67764"/>
              </a:cxn>
              <a:cxn ang="0">
                <a:pos x="connsiteX67765" y="connsiteY67765"/>
              </a:cxn>
              <a:cxn ang="0">
                <a:pos x="connsiteX67766" y="connsiteY67766"/>
              </a:cxn>
              <a:cxn ang="0">
                <a:pos x="connsiteX67767" y="connsiteY67767"/>
              </a:cxn>
              <a:cxn ang="0">
                <a:pos x="connsiteX67768" y="connsiteY67768"/>
              </a:cxn>
              <a:cxn ang="0">
                <a:pos x="connsiteX67769" y="connsiteY67769"/>
              </a:cxn>
              <a:cxn ang="0">
                <a:pos x="connsiteX67770" y="connsiteY67770"/>
              </a:cxn>
              <a:cxn ang="0">
                <a:pos x="connsiteX67771" y="connsiteY67771"/>
              </a:cxn>
              <a:cxn ang="0">
                <a:pos x="connsiteX67772" y="connsiteY67772"/>
              </a:cxn>
              <a:cxn ang="0">
                <a:pos x="connsiteX67773" y="connsiteY67773"/>
              </a:cxn>
              <a:cxn ang="0">
                <a:pos x="connsiteX67774" y="connsiteY67774"/>
              </a:cxn>
              <a:cxn ang="0">
                <a:pos x="connsiteX67775" y="connsiteY67775"/>
              </a:cxn>
              <a:cxn ang="0">
                <a:pos x="connsiteX67776" y="connsiteY67776"/>
              </a:cxn>
              <a:cxn ang="0">
                <a:pos x="connsiteX67777" y="connsiteY67777"/>
              </a:cxn>
              <a:cxn ang="0">
                <a:pos x="connsiteX67778" y="connsiteY67778"/>
              </a:cxn>
              <a:cxn ang="0">
                <a:pos x="connsiteX67779" y="connsiteY67779"/>
              </a:cxn>
              <a:cxn ang="0">
                <a:pos x="connsiteX67780" y="connsiteY67780"/>
              </a:cxn>
              <a:cxn ang="0">
                <a:pos x="connsiteX67781" y="connsiteY67781"/>
              </a:cxn>
              <a:cxn ang="0">
                <a:pos x="connsiteX67782" y="connsiteY67782"/>
              </a:cxn>
              <a:cxn ang="0">
                <a:pos x="connsiteX67783" y="connsiteY67783"/>
              </a:cxn>
              <a:cxn ang="0">
                <a:pos x="connsiteX67784" y="connsiteY67784"/>
              </a:cxn>
              <a:cxn ang="0">
                <a:pos x="connsiteX67785" y="connsiteY67785"/>
              </a:cxn>
              <a:cxn ang="0">
                <a:pos x="connsiteX67786" y="connsiteY67786"/>
              </a:cxn>
              <a:cxn ang="0">
                <a:pos x="connsiteX67787" y="connsiteY67787"/>
              </a:cxn>
              <a:cxn ang="0">
                <a:pos x="connsiteX67788" y="connsiteY67788"/>
              </a:cxn>
              <a:cxn ang="0">
                <a:pos x="connsiteX67789" y="connsiteY67789"/>
              </a:cxn>
              <a:cxn ang="0">
                <a:pos x="connsiteX67790" y="connsiteY67790"/>
              </a:cxn>
              <a:cxn ang="0">
                <a:pos x="connsiteX67791" y="connsiteY67791"/>
              </a:cxn>
              <a:cxn ang="0">
                <a:pos x="connsiteX67792" y="connsiteY67792"/>
              </a:cxn>
              <a:cxn ang="0">
                <a:pos x="connsiteX67793" y="connsiteY67793"/>
              </a:cxn>
              <a:cxn ang="0">
                <a:pos x="connsiteX67794" y="connsiteY67794"/>
              </a:cxn>
              <a:cxn ang="0">
                <a:pos x="connsiteX67795" y="connsiteY67795"/>
              </a:cxn>
              <a:cxn ang="0">
                <a:pos x="connsiteX67796" y="connsiteY67796"/>
              </a:cxn>
              <a:cxn ang="0">
                <a:pos x="connsiteX67797" y="connsiteY67797"/>
              </a:cxn>
              <a:cxn ang="0">
                <a:pos x="connsiteX67798" y="connsiteY67798"/>
              </a:cxn>
              <a:cxn ang="0">
                <a:pos x="connsiteX67799" y="connsiteY67799"/>
              </a:cxn>
              <a:cxn ang="0">
                <a:pos x="connsiteX67800" y="connsiteY67800"/>
              </a:cxn>
              <a:cxn ang="0">
                <a:pos x="connsiteX67801" y="connsiteY67801"/>
              </a:cxn>
              <a:cxn ang="0">
                <a:pos x="connsiteX67802" y="connsiteY67802"/>
              </a:cxn>
              <a:cxn ang="0">
                <a:pos x="connsiteX67803" y="connsiteY67803"/>
              </a:cxn>
              <a:cxn ang="0">
                <a:pos x="connsiteX67804" y="connsiteY67804"/>
              </a:cxn>
              <a:cxn ang="0">
                <a:pos x="connsiteX67805" y="connsiteY67805"/>
              </a:cxn>
              <a:cxn ang="0">
                <a:pos x="connsiteX67806" y="connsiteY67806"/>
              </a:cxn>
              <a:cxn ang="0">
                <a:pos x="connsiteX67807" y="connsiteY67807"/>
              </a:cxn>
              <a:cxn ang="0">
                <a:pos x="connsiteX67808" y="connsiteY67808"/>
              </a:cxn>
              <a:cxn ang="0">
                <a:pos x="connsiteX67809" y="connsiteY67809"/>
              </a:cxn>
              <a:cxn ang="0">
                <a:pos x="connsiteX67810" y="connsiteY67810"/>
              </a:cxn>
              <a:cxn ang="0">
                <a:pos x="connsiteX67811" y="connsiteY67811"/>
              </a:cxn>
              <a:cxn ang="0">
                <a:pos x="connsiteX67812" y="connsiteY67812"/>
              </a:cxn>
              <a:cxn ang="0">
                <a:pos x="connsiteX67813" y="connsiteY67813"/>
              </a:cxn>
              <a:cxn ang="0">
                <a:pos x="connsiteX67814" y="connsiteY67814"/>
              </a:cxn>
              <a:cxn ang="0">
                <a:pos x="connsiteX67815" y="connsiteY67815"/>
              </a:cxn>
              <a:cxn ang="0">
                <a:pos x="connsiteX67816" y="connsiteY67816"/>
              </a:cxn>
              <a:cxn ang="0">
                <a:pos x="connsiteX67817" y="connsiteY67817"/>
              </a:cxn>
              <a:cxn ang="0">
                <a:pos x="connsiteX67818" y="connsiteY67818"/>
              </a:cxn>
              <a:cxn ang="0">
                <a:pos x="connsiteX67819" y="connsiteY67819"/>
              </a:cxn>
              <a:cxn ang="0">
                <a:pos x="connsiteX67820" y="connsiteY67820"/>
              </a:cxn>
              <a:cxn ang="0">
                <a:pos x="connsiteX67821" y="connsiteY67821"/>
              </a:cxn>
              <a:cxn ang="0">
                <a:pos x="connsiteX67822" y="connsiteY67822"/>
              </a:cxn>
              <a:cxn ang="0">
                <a:pos x="connsiteX67823" y="connsiteY67823"/>
              </a:cxn>
              <a:cxn ang="0">
                <a:pos x="connsiteX67824" y="connsiteY67824"/>
              </a:cxn>
              <a:cxn ang="0">
                <a:pos x="connsiteX67825" y="connsiteY67825"/>
              </a:cxn>
              <a:cxn ang="0">
                <a:pos x="connsiteX67826" y="connsiteY67826"/>
              </a:cxn>
              <a:cxn ang="0">
                <a:pos x="connsiteX67827" y="connsiteY67827"/>
              </a:cxn>
              <a:cxn ang="0">
                <a:pos x="connsiteX67828" y="connsiteY67828"/>
              </a:cxn>
              <a:cxn ang="0">
                <a:pos x="connsiteX67829" y="connsiteY67829"/>
              </a:cxn>
              <a:cxn ang="0">
                <a:pos x="connsiteX67830" y="connsiteY67830"/>
              </a:cxn>
              <a:cxn ang="0">
                <a:pos x="connsiteX67831" y="connsiteY67831"/>
              </a:cxn>
              <a:cxn ang="0">
                <a:pos x="connsiteX67832" y="connsiteY67832"/>
              </a:cxn>
              <a:cxn ang="0">
                <a:pos x="connsiteX67833" y="connsiteY67833"/>
              </a:cxn>
              <a:cxn ang="0">
                <a:pos x="connsiteX67834" y="connsiteY67834"/>
              </a:cxn>
              <a:cxn ang="0">
                <a:pos x="connsiteX67835" y="connsiteY67835"/>
              </a:cxn>
              <a:cxn ang="0">
                <a:pos x="connsiteX67836" y="connsiteY67836"/>
              </a:cxn>
              <a:cxn ang="0">
                <a:pos x="connsiteX67837" y="connsiteY67837"/>
              </a:cxn>
              <a:cxn ang="0">
                <a:pos x="connsiteX67838" y="connsiteY67838"/>
              </a:cxn>
              <a:cxn ang="0">
                <a:pos x="connsiteX67839" y="connsiteY67839"/>
              </a:cxn>
              <a:cxn ang="0">
                <a:pos x="connsiteX67840" y="connsiteY67840"/>
              </a:cxn>
              <a:cxn ang="0">
                <a:pos x="connsiteX67841" y="connsiteY67841"/>
              </a:cxn>
              <a:cxn ang="0">
                <a:pos x="connsiteX67842" y="connsiteY67842"/>
              </a:cxn>
              <a:cxn ang="0">
                <a:pos x="connsiteX67843" y="connsiteY67843"/>
              </a:cxn>
              <a:cxn ang="0">
                <a:pos x="connsiteX67844" y="connsiteY67844"/>
              </a:cxn>
              <a:cxn ang="0">
                <a:pos x="connsiteX67845" y="connsiteY67845"/>
              </a:cxn>
              <a:cxn ang="0">
                <a:pos x="connsiteX67846" y="connsiteY67846"/>
              </a:cxn>
              <a:cxn ang="0">
                <a:pos x="connsiteX67847" y="connsiteY67847"/>
              </a:cxn>
              <a:cxn ang="0">
                <a:pos x="connsiteX67848" y="connsiteY67848"/>
              </a:cxn>
              <a:cxn ang="0">
                <a:pos x="connsiteX67849" y="connsiteY67849"/>
              </a:cxn>
              <a:cxn ang="0">
                <a:pos x="connsiteX67850" y="connsiteY67850"/>
              </a:cxn>
              <a:cxn ang="0">
                <a:pos x="connsiteX67851" y="connsiteY67851"/>
              </a:cxn>
              <a:cxn ang="0">
                <a:pos x="connsiteX67852" y="connsiteY67852"/>
              </a:cxn>
              <a:cxn ang="0">
                <a:pos x="connsiteX67853" y="connsiteY67853"/>
              </a:cxn>
              <a:cxn ang="0">
                <a:pos x="connsiteX67854" y="connsiteY67854"/>
              </a:cxn>
              <a:cxn ang="0">
                <a:pos x="connsiteX67855" y="connsiteY67855"/>
              </a:cxn>
              <a:cxn ang="0">
                <a:pos x="connsiteX67856" y="connsiteY67856"/>
              </a:cxn>
              <a:cxn ang="0">
                <a:pos x="connsiteX67857" y="connsiteY67857"/>
              </a:cxn>
              <a:cxn ang="0">
                <a:pos x="connsiteX67858" y="connsiteY67858"/>
              </a:cxn>
              <a:cxn ang="0">
                <a:pos x="connsiteX67859" y="connsiteY67859"/>
              </a:cxn>
              <a:cxn ang="0">
                <a:pos x="connsiteX67860" y="connsiteY67860"/>
              </a:cxn>
              <a:cxn ang="0">
                <a:pos x="connsiteX67861" y="connsiteY67861"/>
              </a:cxn>
              <a:cxn ang="0">
                <a:pos x="connsiteX67862" y="connsiteY67862"/>
              </a:cxn>
              <a:cxn ang="0">
                <a:pos x="connsiteX67863" y="connsiteY67863"/>
              </a:cxn>
              <a:cxn ang="0">
                <a:pos x="connsiteX67864" y="connsiteY67864"/>
              </a:cxn>
              <a:cxn ang="0">
                <a:pos x="connsiteX67865" y="connsiteY67865"/>
              </a:cxn>
              <a:cxn ang="0">
                <a:pos x="connsiteX67866" y="connsiteY67866"/>
              </a:cxn>
              <a:cxn ang="0">
                <a:pos x="connsiteX67867" y="connsiteY67867"/>
              </a:cxn>
              <a:cxn ang="0">
                <a:pos x="connsiteX67868" y="connsiteY67868"/>
              </a:cxn>
              <a:cxn ang="0">
                <a:pos x="connsiteX67869" y="connsiteY67869"/>
              </a:cxn>
              <a:cxn ang="0">
                <a:pos x="connsiteX67870" y="connsiteY67870"/>
              </a:cxn>
              <a:cxn ang="0">
                <a:pos x="connsiteX67871" y="connsiteY67871"/>
              </a:cxn>
              <a:cxn ang="0">
                <a:pos x="connsiteX67872" y="connsiteY67872"/>
              </a:cxn>
              <a:cxn ang="0">
                <a:pos x="connsiteX67873" y="connsiteY67873"/>
              </a:cxn>
              <a:cxn ang="0">
                <a:pos x="connsiteX67874" y="connsiteY67874"/>
              </a:cxn>
              <a:cxn ang="0">
                <a:pos x="connsiteX67875" y="connsiteY67875"/>
              </a:cxn>
              <a:cxn ang="0">
                <a:pos x="connsiteX67876" y="connsiteY67876"/>
              </a:cxn>
              <a:cxn ang="0">
                <a:pos x="connsiteX67877" y="connsiteY67877"/>
              </a:cxn>
              <a:cxn ang="0">
                <a:pos x="connsiteX67878" y="connsiteY67878"/>
              </a:cxn>
              <a:cxn ang="0">
                <a:pos x="connsiteX67879" y="connsiteY67879"/>
              </a:cxn>
              <a:cxn ang="0">
                <a:pos x="connsiteX67880" y="connsiteY67880"/>
              </a:cxn>
              <a:cxn ang="0">
                <a:pos x="connsiteX67881" y="connsiteY67881"/>
              </a:cxn>
              <a:cxn ang="0">
                <a:pos x="connsiteX67882" y="connsiteY67882"/>
              </a:cxn>
              <a:cxn ang="0">
                <a:pos x="connsiteX67883" y="connsiteY67883"/>
              </a:cxn>
              <a:cxn ang="0">
                <a:pos x="connsiteX67884" y="connsiteY67884"/>
              </a:cxn>
              <a:cxn ang="0">
                <a:pos x="connsiteX67885" y="connsiteY67885"/>
              </a:cxn>
              <a:cxn ang="0">
                <a:pos x="connsiteX67886" y="connsiteY67886"/>
              </a:cxn>
              <a:cxn ang="0">
                <a:pos x="connsiteX67887" y="connsiteY67887"/>
              </a:cxn>
              <a:cxn ang="0">
                <a:pos x="connsiteX67888" y="connsiteY67888"/>
              </a:cxn>
              <a:cxn ang="0">
                <a:pos x="connsiteX67889" y="connsiteY67889"/>
              </a:cxn>
              <a:cxn ang="0">
                <a:pos x="connsiteX67890" y="connsiteY67890"/>
              </a:cxn>
              <a:cxn ang="0">
                <a:pos x="connsiteX67891" y="connsiteY67891"/>
              </a:cxn>
              <a:cxn ang="0">
                <a:pos x="connsiteX67892" y="connsiteY67892"/>
              </a:cxn>
              <a:cxn ang="0">
                <a:pos x="connsiteX67893" y="connsiteY67893"/>
              </a:cxn>
              <a:cxn ang="0">
                <a:pos x="connsiteX67894" y="connsiteY67894"/>
              </a:cxn>
              <a:cxn ang="0">
                <a:pos x="connsiteX67895" y="connsiteY67895"/>
              </a:cxn>
              <a:cxn ang="0">
                <a:pos x="connsiteX67896" y="connsiteY67896"/>
              </a:cxn>
              <a:cxn ang="0">
                <a:pos x="connsiteX67897" y="connsiteY67897"/>
              </a:cxn>
              <a:cxn ang="0">
                <a:pos x="connsiteX67898" y="connsiteY67898"/>
              </a:cxn>
              <a:cxn ang="0">
                <a:pos x="connsiteX67899" y="connsiteY67899"/>
              </a:cxn>
              <a:cxn ang="0">
                <a:pos x="connsiteX67900" y="connsiteY67900"/>
              </a:cxn>
              <a:cxn ang="0">
                <a:pos x="connsiteX67901" y="connsiteY67901"/>
              </a:cxn>
              <a:cxn ang="0">
                <a:pos x="connsiteX67902" y="connsiteY67902"/>
              </a:cxn>
              <a:cxn ang="0">
                <a:pos x="connsiteX67903" y="connsiteY67903"/>
              </a:cxn>
              <a:cxn ang="0">
                <a:pos x="connsiteX67904" y="connsiteY67904"/>
              </a:cxn>
              <a:cxn ang="0">
                <a:pos x="connsiteX67905" y="connsiteY67905"/>
              </a:cxn>
              <a:cxn ang="0">
                <a:pos x="connsiteX67906" y="connsiteY67906"/>
              </a:cxn>
              <a:cxn ang="0">
                <a:pos x="connsiteX67907" y="connsiteY67907"/>
              </a:cxn>
              <a:cxn ang="0">
                <a:pos x="connsiteX67908" y="connsiteY67908"/>
              </a:cxn>
              <a:cxn ang="0">
                <a:pos x="connsiteX67909" y="connsiteY67909"/>
              </a:cxn>
              <a:cxn ang="0">
                <a:pos x="connsiteX67910" y="connsiteY67910"/>
              </a:cxn>
              <a:cxn ang="0">
                <a:pos x="connsiteX67911" y="connsiteY67911"/>
              </a:cxn>
              <a:cxn ang="0">
                <a:pos x="connsiteX67912" y="connsiteY67912"/>
              </a:cxn>
              <a:cxn ang="0">
                <a:pos x="connsiteX67913" y="connsiteY67913"/>
              </a:cxn>
              <a:cxn ang="0">
                <a:pos x="connsiteX67914" y="connsiteY67914"/>
              </a:cxn>
              <a:cxn ang="0">
                <a:pos x="connsiteX67915" y="connsiteY67915"/>
              </a:cxn>
              <a:cxn ang="0">
                <a:pos x="connsiteX67916" y="connsiteY67916"/>
              </a:cxn>
              <a:cxn ang="0">
                <a:pos x="connsiteX67917" y="connsiteY67917"/>
              </a:cxn>
              <a:cxn ang="0">
                <a:pos x="connsiteX67918" y="connsiteY67918"/>
              </a:cxn>
              <a:cxn ang="0">
                <a:pos x="connsiteX67919" y="connsiteY67919"/>
              </a:cxn>
              <a:cxn ang="0">
                <a:pos x="connsiteX67920" y="connsiteY67920"/>
              </a:cxn>
              <a:cxn ang="0">
                <a:pos x="connsiteX67921" y="connsiteY67921"/>
              </a:cxn>
              <a:cxn ang="0">
                <a:pos x="connsiteX67922" y="connsiteY67922"/>
              </a:cxn>
              <a:cxn ang="0">
                <a:pos x="connsiteX67923" y="connsiteY67923"/>
              </a:cxn>
              <a:cxn ang="0">
                <a:pos x="connsiteX67924" y="connsiteY67924"/>
              </a:cxn>
              <a:cxn ang="0">
                <a:pos x="connsiteX67925" y="connsiteY67925"/>
              </a:cxn>
              <a:cxn ang="0">
                <a:pos x="connsiteX67926" y="connsiteY67926"/>
              </a:cxn>
              <a:cxn ang="0">
                <a:pos x="connsiteX67927" y="connsiteY67927"/>
              </a:cxn>
              <a:cxn ang="0">
                <a:pos x="connsiteX67928" y="connsiteY67928"/>
              </a:cxn>
              <a:cxn ang="0">
                <a:pos x="connsiteX67929" y="connsiteY67929"/>
              </a:cxn>
              <a:cxn ang="0">
                <a:pos x="connsiteX67930" y="connsiteY67930"/>
              </a:cxn>
              <a:cxn ang="0">
                <a:pos x="connsiteX67931" y="connsiteY67931"/>
              </a:cxn>
              <a:cxn ang="0">
                <a:pos x="connsiteX67932" y="connsiteY67932"/>
              </a:cxn>
              <a:cxn ang="0">
                <a:pos x="connsiteX67933" y="connsiteY67933"/>
              </a:cxn>
              <a:cxn ang="0">
                <a:pos x="connsiteX67934" y="connsiteY67934"/>
              </a:cxn>
              <a:cxn ang="0">
                <a:pos x="connsiteX67935" y="connsiteY67935"/>
              </a:cxn>
              <a:cxn ang="0">
                <a:pos x="connsiteX67936" y="connsiteY67936"/>
              </a:cxn>
              <a:cxn ang="0">
                <a:pos x="connsiteX67937" y="connsiteY67937"/>
              </a:cxn>
              <a:cxn ang="0">
                <a:pos x="connsiteX67938" y="connsiteY67938"/>
              </a:cxn>
              <a:cxn ang="0">
                <a:pos x="connsiteX67939" y="connsiteY67939"/>
              </a:cxn>
              <a:cxn ang="0">
                <a:pos x="connsiteX67940" y="connsiteY67940"/>
              </a:cxn>
              <a:cxn ang="0">
                <a:pos x="connsiteX67941" y="connsiteY67941"/>
              </a:cxn>
              <a:cxn ang="0">
                <a:pos x="connsiteX67942" y="connsiteY67942"/>
              </a:cxn>
              <a:cxn ang="0">
                <a:pos x="connsiteX67943" y="connsiteY67943"/>
              </a:cxn>
              <a:cxn ang="0">
                <a:pos x="connsiteX67944" y="connsiteY67944"/>
              </a:cxn>
              <a:cxn ang="0">
                <a:pos x="connsiteX67945" y="connsiteY67945"/>
              </a:cxn>
              <a:cxn ang="0">
                <a:pos x="connsiteX67946" y="connsiteY67946"/>
              </a:cxn>
              <a:cxn ang="0">
                <a:pos x="connsiteX67947" y="connsiteY67947"/>
              </a:cxn>
              <a:cxn ang="0">
                <a:pos x="connsiteX67948" y="connsiteY67948"/>
              </a:cxn>
              <a:cxn ang="0">
                <a:pos x="connsiteX67949" y="connsiteY67949"/>
              </a:cxn>
              <a:cxn ang="0">
                <a:pos x="connsiteX67950" y="connsiteY67950"/>
              </a:cxn>
              <a:cxn ang="0">
                <a:pos x="connsiteX67951" y="connsiteY67951"/>
              </a:cxn>
              <a:cxn ang="0">
                <a:pos x="connsiteX67952" y="connsiteY67952"/>
              </a:cxn>
              <a:cxn ang="0">
                <a:pos x="connsiteX67953" y="connsiteY67953"/>
              </a:cxn>
              <a:cxn ang="0">
                <a:pos x="connsiteX67954" y="connsiteY67954"/>
              </a:cxn>
              <a:cxn ang="0">
                <a:pos x="connsiteX67955" y="connsiteY67955"/>
              </a:cxn>
              <a:cxn ang="0">
                <a:pos x="connsiteX67956" y="connsiteY67956"/>
              </a:cxn>
              <a:cxn ang="0">
                <a:pos x="connsiteX67957" y="connsiteY67957"/>
              </a:cxn>
              <a:cxn ang="0">
                <a:pos x="connsiteX67958" y="connsiteY67958"/>
              </a:cxn>
              <a:cxn ang="0">
                <a:pos x="connsiteX67959" y="connsiteY67959"/>
              </a:cxn>
              <a:cxn ang="0">
                <a:pos x="connsiteX67960" y="connsiteY67960"/>
              </a:cxn>
              <a:cxn ang="0">
                <a:pos x="connsiteX67961" y="connsiteY67961"/>
              </a:cxn>
              <a:cxn ang="0">
                <a:pos x="connsiteX67962" y="connsiteY67962"/>
              </a:cxn>
              <a:cxn ang="0">
                <a:pos x="connsiteX67963" y="connsiteY67963"/>
              </a:cxn>
              <a:cxn ang="0">
                <a:pos x="connsiteX67964" y="connsiteY67964"/>
              </a:cxn>
              <a:cxn ang="0">
                <a:pos x="connsiteX67965" y="connsiteY67965"/>
              </a:cxn>
              <a:cxn ang="0">
                <a:pos x="connsiteX67966" y="connsiteY67966"/>
              </a:cxn>
              <a:cxn ang="0">
                <a:pos x="connsiteX67967" y="connsiteY67967"/>
              </a:cxn>
              <a:cxn ang="0">
                <a:pos x="connsiteX67968" y="connsiteY67968"/>
              </a:cxn>
              <a:cxn ang="0">
                <a:pos x="connsiteX67969" y="connsiteY67969"/>
              </a:cxn>
              <a:cxn ang="0">
                <a:pos x="connsiteX67970" y="connsiteY67970"/>
              </a:cxn>
              <a:cxn ang="0">
                <a:pos x="connsiteX67971" y="connsiteY67971"/>
              </a:cxn>
              <a:cxn ang="0">
                <a:pos x="connsiteX67972" y="connsiteY67972"/>
              </a:cxn>
              <a:cxn ang="0">
                <a:pos x="connsiteX67973" y="connsiteY67973"/>
              </a:cxn>
              <a:cxn ang="0">
                <a:pos x="connsiteX67974" y="connsiteY67974"/>
              </a:cxn>
              <a:cxn ang="0">
                <a:pos x="connsiteX67975" y="connsiteY67975"/>
              </a:cxn>
              <a:cxn ang="0">
                <a:pos x="connsiteX67976" y="connsiteY67976"/>
              </a:cxn>
              <a:cxn ang="0">
                <a:pos x="connsiteX67977" y="connsiteY67977"/>
              </a:cxn>
              <a:cxn ang="0">
                <a:pos x="connsiteX67978" y="connsiteY67978"/>
              </a:cxn>
              <a:cxn ang="0">
                <a:pos x="connsiteX67979" y="connsiteY67979"/>
              </a:cxn>
              <a:cxn ang="0">
                <a:pos x="connsiteX67980" y="connsiteY67980"/>
              </a:cxn>
              <a:cxn ang="0">
                <a:pos x="connsiteX67981" y="connsiteY67981"/>
              </a:cxn>
              <a:cxn ang="0">
                <a:pos x="connsiteX67982" y="connsiteY67982"/>
              </a:cxn>
              <a:cxn ang="0">
                <a:pos x="connsiteX67983" y="connsiteY67983"/>
              </a:cxn>
              <a:cxn ang="0">
                <a:pos x="connsiteX67984" y="connsiteY67984"/>
              </a:cxn>
              <a:cxn ang="0">
                <a:pos x="connsiteX67985" y="connsiteY67985"/>
              </a:cxn>
              <a:cxn ang="0">
                <a:pos x="connsiteX67986" y="connsiteY67986"/>
              </a:cxn>
              <a:cxn ang="0">
                <a:pos x="connsiteX67987" y="connsiteY67987"/>
              </a:cxn>
              <a:cxn ang="0">
                <a:pos x="connsiteX67988" y="connsiteY67988"/>
              </a:cxn>
              <a:cxn ang="0">
                <a:pos x="connsiteX67989" y="connsiteY67989"/>
              </a:cxn>
              <a:cxn ang="0">
                <a:pos x="connsiteX67990" y="connsiteY67990"/>
              </a:cxn>
              <a:cxn ang="0">
                <a:pos x="connsiteX67991" y="connsiteY67991"/>
              </a:cxn>
              <a:cxn ang="0">
                <a:pos x="connsiteX67992" y="connsiteY67992"/>
              </a:cxn>
              <a:cxn ang="0">
                <a:pos x="connsiteX67993" y="connsiteY67993"/>
              </a:cxn>
              <a:cxn ang="0">
                <a:pos x="connsiteX67994" y="connsiteY67994"/>
              </a:cxn>
              <a:cxn ang="0">
                <a:pos x="connsiteX67995" y="connsiteY67995"/>
              </a:cxn>
              <a:cxn ang="0">
                <a:pos x="connsiteX67996" y="connsiteY67996"/>
              </a:cxn>
              <a:cxn ang="0">
                <a:pos x="connsiteX67997" y="connsiteY67997"/>
              </a:cxn>
              <a:cxn ang="0">
                <a:pos x="connsiteX67998" y="connsiteY67998"/>
              </a:cxn>
              <a:cxn ang="0">
                <a:pos x="connsiteX67999" y="connsiteY67999"/>
              </a:cxn>
              <a:cxn ang="0">
                <a:pos x="connsiteX68000" y="connsiteY68000"/>
              </a:cxn>
              <a:cxn ang="0">
                <a:pos x="connsiteX68001" y="connsiteY68001"/>
              </a:cxn>
              <a:cxn ang="0">
                <a:pos x="connsiteX68002" y="connsiteY68002"/>
              </a:cxn>
              <a:cxn ang="0">
                <a:pos x="connsiteX68003" y="connsiteY68003"/>
              </a:cxn>
              <a:cxn ang="0">
                <a:pos x="connsiteX68004" y="connsiteY68004"/>
              </a:cxn>
              <a:cxn ang="0">
                <a:pos x="connsiteX68005" y="connsiteY68005"/>
              </a:cxn>
              <a:cxn ang="0">
                <a:pos x="connsiteX68006" y="connsiteY68006"/>
              </a:cxn>
              <a:cxn ang="0">
                <a:pos x="connsiteX68007" y="connsiteY68007"/>
              </a:cxn>
              <a:cxn ang="0">
                <a:pos x="connsiteX68008" y="connsiteY68008"/>
              </a:cxn>
              <a:cxn ang="0">
                <a:pos x="connsiteX68009" y="connsiteY68009"/>
              </a:cxn>
              <a:cxn ang="0">
                <a:pos x="connsiteX68010" y="connsiteY68010"/>
              </a:cxn>
              <a:cxn ang="0">
                <a:pos x="connsiteX68011" y="connsiteY68011"/>
              </a:cxn>
              <a:cxn ang="0">
                <a:pos x="connsiteX68012" y="connsiteY68012"/>
              </a:cxn>
              <a:cxn ang="0">
                <a:pos x="connsiteX68013" y="connsiteY68013"/>
              </a:cxn>
              <a:cxn ang="0">
                <a:pos x="connsiteX68014" y="connsiteY68014"/>
              </a:cxn>
              <a:cxn ang="0">
                <a:pos x="connsiteX68015" y="connsiteY68015"/>
              </a:cxn>
              <a:cxn ang="0">
                <a:pos x="connsiteX68016" y="connsiteY68016"/>
              </a:cxn>
              <a:cxn ang="0">
                <a:pos x="connsiteX68017" y="connsiteY68017"/>
              </a:cxn>
              <a:cxn ang="0">
                <a:pos x="connsiteX68018" y="connsiteY68018"/>
              </a:cxn>
              <a:cxn ang="0">
                <a:pos x="connsiteX68019" y="connsiteY68019"/>
              </a:cxn>
              <a:cxn ang="0">
                <a:pos x="connsiteX68020" y="connsiteY68020"/>
              </a:cxn>
              <a:cxn ang="0">
                <a:pos x="connsiteX68021" y="connsiteY68021"/>
              </a:cxn>
              <a:cxn ang="0">
                <a:pos x="connsiteX68022" y="connsiteY68022"/>
              </a:cxn>
              <a:cxn ang="0">
                <a:pos x="connsiteX68023" y="connsiteY68023"/>
              </a:cxn>
              <a:cxn ang="0">
                <a:pos x="connsiteX68024" y="connsiteY68024"/>
              </a:cxn>
              <a:cxn ang="0">
                <a:pos x="connsiteX68025" y="connsiteY68025"/>
              </a:cxn>
              <a:cxn ang="0">
                <a:pos x="connsiteX68026" y="connsiteY68026"/>
              </a:cxn>
              <a:cxn ang="0">
                <a:pos x="connsiteX68027" y="connsiteY68027"/>
              </a:cxn>
              <a:cxn ang="0">
                <a:pos x="connsiteX68028" y="connsiteY68028"/>
              </a:cxn>
              <a:cxn ang="0">
                <a:pos x="connsiteX68029" y="connsiteY68029"/>
              </a:cxn>
              <a:cxn ang="0">
                <a:pos x="connsiteX68030" y="connsiteY68030"/>
              </a:cxn>
              <a:cxn ang="0">
                <a:pos x="connsiteX68031" y="connsiteY68031"/>
              </a:cxn>
              <a:cxn ang="0">
                <a:pos x="connsiteX68032" y="connsiteY68032"/>
              </a:cxn>
              <a:cxn ang="0">
                <a:pos x="connsiteX68033" y="connsiteY68033"/>
              </a:cxn>
              <a:cxn ang="0">
                <a:pos x="connsiteX68034" y="connsiteY68034"/>
              </a:cxn>
              <a:cxn ang="0">
                <a:pos x="connsiteX68035" y="connsiteY68035"/>
              </a:cxn>
              <a:cxn ang="0">
                <a:pos x="connsiteX68036" y="connsiteY68036"/>
              </a:cxn>
              <a:cxn ang="0">
                <a:pos x="connsiteX68037" y="connsiteY68037"/>
              </a:cxn>
              <a:cxn ang="0">
                <a:pos x="connsiteX68038" y="connsiteY68038"/>
              </a:cxn>
              <a:cxn ang="0">
                <a:pos x="connsiteX68039" y="connsiteY68039"/>
              </a:cxn>
              <a:cxn ang="0">
                <a:pos x="connsiteX68040" y="connsiteY68040"/>
              </a:cxn>
              <a:cxn ang="0">
                <a:pos x="connsiteX68041" y="connsiteY68041"/>
              </a:cxn>
              <a:cxn ang="0">
                <a:pos x="connsiteX68042" y="connsiteY68042"/>
              </a:cxn>
              <a:cxn ang="0">
                <a:pos x="connsiteX68043" y="connsiteY68043"/>
              </a:cxn>
              <a:cxn ang="0">
                <a:pos x="connsiteX68044" y="connsiteY68044"/>
              </a:cxn>
              <a:cxn ang="0">
                <a:pos x="connsiteX68045" y="connsiteY68045"/>
              </a:cxn>
              <a:cxn ang="0">
                <a:pos x="connsiteX68046" y="connsiteY68046"/>
              </a:cxn>
              <a:cxn ang="0">
                <a:pos x="connsiteX68047" y="connsiteY68047"/>
              </a:cxn>
              <a:cxn ang="0">
                <a:pos x="connsiteX68048" y="connsiteY68048"/>
              </a:cxn>
              <a:cxn ang="0">
                <a:pos x="connsiteX68049" y="connsiteY68049"/>
              </a:cxn>
              <a:cxn ang="0">
                <a:pos x="connsiteX68050" y="connsiteY68050"/>
              </a:cxn>
              <a:cxn ang="0">
                <a:pos x="connsiteX68051" y="connsiteY68051"/>
              </a:cxn>
              <a:cxn ang="0">
                <a:pos x="connsiteX68052" y="connsiteY68052"/>
              </a:cxn>
              <a:cxn ang="0">
                <a:pos x="connsiteX68053" y="connsiteY68053"/>
              </a:cxn>
              <a:cxn ang="0">
                <a:pos x="connsiteX68054" y="connsiteY68054"/>
              </a:cxn>
              <a:cxn ang="0">
                <a:pos x="connsiteX68055" y="connsiteY68055"/>
              </a:cxn>
              <a:cxn ang="0">
                <a:pos x="connsiteX68056" y="connsiteY68056"/>
              </a:cxn>
              <a:cxn ang="0">
                <a:pos x="connsiteX68057" y="connsiteY68057"/>
              </a:cxn>
              <a:cxn ang="0">
                <a:pos x="connsiteX68058" y="connsiteY68058"/>
              </a:cxn>
              <a:cxn ang="0">
                <a:pos x="connsiteX68059" y="connsiteY68059"/>
              </a:cxn>
              <a:cxn ang="0">
                <a:pos x="connsiteX68060" y="connsiteY68060"/>
              </a:cxn>
              <a:cxn ang="0">
                <a:pos x="connsiteX68061" y="connsiteY68061"/>
              </a:cxn>
              <a:cxn ang="0">
                <a:pos x="connsiteX68062" y="connsiteY68062"/>
              </a:cxn>
              <a:cxn ang="0">
                <a:pos x="connsiteX68063" y="connsiteY68063"/>
              </a:cxn>
              <a:cxn ang="0">
                <a:pos x="connsiteX68064" y="connsiteY68064"/>
              </a:cxn>
              <a:cxn ang="0">
                <a:pos x="connsiteX68065" y="connsiteY68065"/>
              </a:cxn>
              <a:cxn ang="0">
                <a:pos x="connsiteX68066" y="connsiteY68066"/>
              </a:cxn>
              <a:cxn ang="0">
                <a:pos x="connsiteX68067" y="connsiteY68067"/>
              </a:cxn>
              <a:cxn ang="0">
                <a:pos x="connsiteX68068" y="connsiteY68068"/>
              </a:cxn>
              <a:cxn ang="0">
                <a:pos x="connsiteX68069" y="connsiteY68069"/>
              </a:cxn>
              <a:cxn ang="0">
                <a:pos x="connsiteX68070" y="connsiteY68070"/>
              </a:cxn>
              <a:cxn ang="0">
                <a:pos x="connsiteX68071" y="connsiteY68071"/>
              </a:cxn>
              <a:cxn ang="0">
                <a:pos x="connsiteX68072" y="connsiteY68072"/>
              </a:cxn>
              <a:cxn ang="0">
                <a:pos x="connsiteX68073" y="connsiteY68073"/>
              </a:cxn>
              <a:cxn ang="0">
                <a:pos x="connsiteX68074" y="connsiteY68074"/>
              </a:cxn>
              <a:cxn ang="0">
                <a:pos x="connsiteX68075" y="connsiteY68075"/>
              </a:cxn>
              <a:cxn ang="0">
                <a:pos x="connsiteX68076" y="connsiteY68076"/>
              </a:cxn>
              <a:cxn ang="0">
                <a:pos x="connsiteX68077" y="connsiteY68077"/>
              </a:cxn>
              <a:cxn ang="0">
                <a:pos x="connsiteX68078" y="connsiteY68078"/>
              </a:cxn>
              <a:cxn ang="0">
                <a:pos x="connsiteX68079" y="connsiteY68079"/>
              </a:cxn>
              <a:cxn ang="0">
                <a:pos x="connsiteX68080" y="connsiteY68080"/>
              </a:cxn>
              <a:cxn ang="0">
                <a:pos x="connsiteX68081" y="connsiteY68081"/>
              </a:cxn>
              <a:cxn ang="0">
                <a:pos x="connsiteX68082" y="connsiteY68082"/>
              </a:cxn>
              <a:cxn ang="0">
                <a:pos x="connsiteX68083" y="connsiteY68083"/>
              </a:cxn>
              <a:cxn ang="0">
                <a:pos x="connsiteX68084" y="connsiteY68084"/>
              </a:cxn>
              <a:cxn ang="0">
                <a:pos x="connsiteX68085" y="connsiteY68085"/>
              </a:cxn>
              <a:cxn ang="0">
                <a:pos x="connsiteX68086" y="connsiteY68086"/>
              </a:cxn>
              <a:cxn ang="0">
                <a:pos x="connsiteX68087" y="connsiteY68087"/>
              </a:cxn>
              <a:cxn ang="0">
                <a:pos x="connsiteX68088" y="connsiteY68088"/>
              </a:cxn>
              <a:cxn ang="0">
                <a:pos x="connsiteX68089" y="connsiteY68089"/>
              </a:cxn>
              <a:cxn ang="0">
                <a:pos x="connsiteX68090" y="connsiteY68090"/>
              </a:cxn>
              <a:cxn ang="0">
                <a:pos x="connsiteX68091" y="connsiteY68091"/>
              </a:cxn>
              <a:cxn ang="0">
                <a:pos x="connsiteX68092" y="connsiteY68092"/>
              </a:cxn>
              <a:cxn ang="0">
                <a:pos x="connsiteX68093" y="connsiteY68093"/>
              </a:cxn>
              <a:cxn ang="0">
                <a:pos x="connsiteX68094" y="connsiteY68094"/>
              </a:cxn>
              <a:cxn ang="0">
                <a:pos x="connsiteX68095" y="connsiteY68095"/>
              </a:cxn>
              <a:cxn ang="0">
                <a:pos x="connsiteX68096" y="connsiteY68096"/>
              </a:cxn>
              <a:cxn ang="0">
                <a:pos x="connsiteX68097" y="connsiteY68097"/>
              </a:cxn>
              <a:cxn ang="0">
                <a:pos x="connsiteX68098" y="connsiteY68098"/>
              </a:cxn>
              <a:cxn ang="0">
                <a:pos x="connsiteX68099" y="connsiteY68099"/>
              </a:cxn>
              <a:cxn ang="0">
                <a:pos x="connsiteX68100" y="connsiteY68100"/>
              </a:cxn>
              <a:cxn ang="0">
                <a:pos x="connsiteX68101" y="connsiteY68101"/>
              </a:cxn>
              <a:cxn ang="0">
                <a:pos x="connsiteX68102" y="connsiteY68102"/>
              </a:cxn>
              <a:cxn ang="0">
                <a:pos x="connsiteX68103" y="connsiteY68103"/>
              </a:cxn>
              <a:cxn ang="0">
                <a:pos x="connsiteX68104" y="connsiteY68104"/>
              </a:cxn>
              <a:cxn ang="0">
                <a:pos x="connsiteX68105" y="connsiteY68105"/>
              </a:cxn>
              <a:cxn ang="0">
                <a:pos x="connsiteX68106" y="connsiteY68106"/>
              </a:cxn>
              <a:cxn ang="0">
                <a:pos x="connsiteX68107" y="connsiteY68107"/>
              </a:cxn>
              <a:cxn ang="0">
                <a:pos x="connsiteX68108" y="connsiteY68108"/>
              </a:cxn>
              <a:cxn ang="0">
                <a:pos x="connsiteX68109" y="connsiteY68109"/>
              </a:cxn>
              <a:cxn ang="0">
                <a:pos x="connsiteX68110" y="connsiteY68110"/>
              </a:cxn>
              <a:cxn ang="0">
                <a:pos x="connsiteX68111" y="connsiteY68111"/>
              </a:cxn>
              <a:cxn ang="0">
                <a:pos x="connsiteX68112" y="connsiteY68112"/>
              </a:cxn>
              <a:cxn ang="0">
                <a:pos x="connsiteX68113" y="connsiteY68113"/>
              </a:cxn>
              <a:cxn ang="0">
                <a:pos x="connsiteX68114" y="connsiteY68114"/>
              </a:cxn>
              <a:cxn ang="0">
                <a:pos x="connsiteX68115" y="connsiteY68115"/>
              </a:cxn>
              <a:cxn ang="0">
                <a:pos x="connsiteX68116" y="connsiteY68116"/>
              </a:cxn>
              <a:cxn ang="0">
                <a:pos x="connsiteX68117" y="connsiteY68117"/>
              </a:cxn>
              <a:cxn ang="0">
                <a:pos x="connsiteX68118" y="connsiteY68118"/>
              </a:cxn>
              <a:cxn ang="0">
                <a:pos x="connsiteX68119" y="connsiteY68119"/>
              </a:cxn>
              <a:cxn ang="0">
                <a:pos x="connsiteX68120" y="connsiteY68120"/>
              </a:cxn>
              <a:cxn ang="0">
                <a:pos x="connsiteX68121" y="connsiteY68121"/>
              </a:cxn>
              <a:cxn ang="0">
                <a:pos x="connsiteX68122" y="connsiteY68122"/>
              </a:cxn>
              <a:cxn ang="0">
                <a:pos x="connsiteX68123" y="connsiteY68123"/>
              </a:cxn>
              <a:cxn ang="0">
                <a:pos x="connsiteX68124" y="connsiteY68124"/>
              </a:cxn>
              <a:cxn ang="0">
                <a:pos x="connsiteX68125" y="connsiteY68125"/>
              </a:cxn>
              <a:cxn ang="0">
                <a:pos x="connsiteX68126" y="connsiteY68126"/>
              </a:cxn>
              <a:cxn ang="0">
                <a:pos x="connsiteX68127" y="connsiteY68127"/>
              </a:cxn>
              <a:cxn ang="0">
                <a:pos x="connsiteX68128" y="connsiteY68128"/>
              </a:cxn>
              <a:cxn ang="0">
                <a:pos x="connsiteX68129" y="connsiteY68129"/>
              </a:cxn>
              <a:cxn ang="0">
                <a:pos x="connsiteX68130" y="connsiteY68130"/>
              </a:cxn>
              <a:cxn ang="0">
                <a:pos x="connsiteX68131" y="connsiteY68131"/>
              </a:cxn>
              <a:cxn ang="0">
                <a:pos x="connsiteX68132" y="connsiteY68132"/>
              </a:cxn>
              <a:cxn ang="0">
                <a:pos x="connsiteX68133" y="connsiteY68133"/>
              </a:cxn>
              <a:cxn ang="0">
                <a:pos x="connsiteX68134" y="connsiteY68134"/>
              </a:cxn>
              <a:cxn ang="0">
                <a:pos x="connsiteX68135" y="connsiteY68135"/>
              </a:cxn>
              <a:cxn ang="0">
                <a:pos x="connsiteX68136" y="connsiteY68136"/>
              </a:cxn>
              <a:cxn ang="0">
                <a:pos x="connsiteX68137" y="connsiteY68137"/>
              </a:cxn>
              <a:cxn ang="0">
                <a:pos x="connsiteX68138" y="connsiteY68138"/>
              </a:cxn>
              <a:cxn ang="0">
                <a:pos x="connsiteX68139" y="connsiteY68139"/>
              </a:cxn>
              <a:cxn ang="0">
                <a:pos x="connsiteX68140" y="connsiteY68140"/>
              </a:cxn>
              <a:cxn ang="0">
                <a:pos x="connsiteX68141" y="connsiteY68141"/>
              </a:cxn>
              <a:cxn ang="0">
                <a:pos x="connsiteX68142" y="connsiteY68142"/>
              </a:cxn>
              <a:cxn ang="0">
                <a:pos x="connsiteX68143" y="connsiteY68143"/>
              </a:cxn>
              <a:cxn ang="0">
                <a:pos x="connsiteX68144" y="connsiteY68144"/>
              </a:cxn>
              <a:cxn ang="0">
                <a:pos x="connsiteX68145" y="connsiteY68145"/>
              </a:cxn>
              <a:cxn ang="0">
                <a:pos x="connsiteX68146" y="connsiteY68146"/>
              </a:cxn>
              <a:cxn ang="0">
                <a:pos x="connsiteX68147" y="connsiteY68147"/>
              </a:cxn>
              <a:cxn ang="0">
                <a:pos x="connsiteX68148" y="connsiteY68148"/>
              </a:cxn>
              <a:cxn ang="0">
                <a:pos x="connsiteX68149" y="connsiteY68149"/>
              </a:cxn>
              <a:cxn ang="0">
                <a:pos x="connsiteX68150" y="connsiteY68150"/>
              </a:cxn>
              <a:cxn ang="0">
                <a:pos x="connsiteX68151" y="connsiteY68151"/>
              </a:cxn>
              <a:cxn ang="0">
                <a:pos x="connsiteX68152" y="connsiteY68152"/>
              </a:cxn>
              <a:cxn ang="0">
                <a:pos x="connsiteX68153" y="connsiteY68153"/>
              </a:cxn>
              <a:cxn ang="0">
                <a:pos x="connsiteX68154" y="connsiteY68154"/>
              </a:cxn>
              <a:cxn ang="0">
                <a:pos x="connsiteX68155" y="connsiteY68155"/>
              </a:cxn>
              <a:cxn ang="0">
                <a:pos x="connsiteX68156" y="connsiteY68156"/>
              </a:cxn>
              <a:cxn ang="0">
                <a:pos x="connsiteX68157" y="connsiteY68157"/>
              </a:cxn>
              <a:cxn ang="0">
                <a:pos x="connsiteX68158" y="connsiteY68158"/>
              </a:cxn>
              <a:cxn ang="0">
                <a:pos x="connsiteX68159" y="connsiteY68159"/>
              </a:cxn>
              <a:cxn ang="0">
                <a:pos x="connsiteX68160" y="connsiteY68160"/>
              </a:cxn>
              <a:cxn ang="0">
                <a:pos x="connsiteX68161" y="connsiteY68161"/>
              </a:cxn>
              <a:cxn ang="0">
                <a:pos x="connsiteX68162" y="connsiteY68162"/>
              </a:cxn>
              <a:cxn ang="0">
                <a:pos x="connsiteX68163" y="connsiteY68163"/>
              </a:cxn>
              <a:cxn ang="0">
                <a:pos x="connsiteX68164" y="connsiteY68164"/>
              </a:cxn>
              <a:cxn ang="0">
                <a:pos x="connsiteX68165" y="connsiteY68165"/>
              </a:cxn>
              <a:cxn ang="0">
                <a:pos x="connsiteX68166" y="connsiteY68166"/>
              </a:cxn>
              <a:cxn ang="0">
                <a:pos x="connsiteX68167" y="connsiteY68167"/>
              </a:cxn>
              <a:cxn ang="0">
                <a:pos x="connsiteX68168" y="connsiteY68168"/>
              </a:cxn>
              <a:cxn ang="0">
                <a:pos x="connsiteX68169" y="connsiteY68169"/>
              </a:cxn>
              <a:cxn ang="0">
                <a:pos x="connsiteX68170" y="connsiteY68170"/>
              </a:cxn>
              <a:cxn ang="0">
                <a:pos x="connsiteX68171" y="connsiteY68171"/>
              </a:cxn>
              <a:cxn ang="0">
                <a:pos x="connsiteX68172" y="connsiteY68172"/>
              </a:cxn>
              <a:cxn ang="0">
                <a:pos x="connsiteX68173" y="connsiteY68173"/>
              </a:cxn>
              <a:cxn ang="0">
                <a:pos x="connsiteX68174" y="connsiteY68174"/>
              </a:cxn>
              <a:cxn ang="0">
                <a:pos x="connsiteX68175" y="connsiteY68175"/>
              </a:cxn>
              <a:cxn ang="0">
                <a:pos x="connsiteX68176" y="connsiteY68176"/>
              </a:cxn>
              <a:cxn ang="0">
                <a:pos x="connsiteX68177" y="connsiteY68177"/>
              </a:cxn>
              <a:cxn ang="0">
                <a:pos x="connsiteX68178" y="connsiteY68178"/>
              </a:cxn>
              <a:cxn ang="0">
                <a:pos x="connsiteX68179" y="connsiteY68179"/>
              </a:cxn>
              <a:cxn ang="0">
                <a:pos x="connsiteX68180" y="connsiteY68180"/>
              </a:cxn>
              <a:cxn ang="0">
                <a:pos x="connsiteX68181" y="connsiteY68181"/>
              </a:cxn>
              <a:cxn ang="0">
                <a:pos x="connsiteX68182" y="connsiteY68182"/>
              </a:cxn>
              <a:cxn ang="0">
                <a:pos x="connsiteX68183" y="connsiteY68183"/>
              </a:cxn>
              <a:cxn ang="0">
                <a:pos x="connsiteX68184" y="connsiteY68184"/>
              </a:cxn>
              <a:cxn ang="0">
                <a:pos x="connsiteX68185" y="connsiteY68185"/>
              </a:cxn>
              <a:cxn ang="0">
                <a:pos x="connsiteX68186" y="connsiteY68186"/>
              </a:cxn>
              <a:cxn ang="0">
                <a:pos x="connsiteX68187" y="connsiteY68187"/>
              </a:cxn>
              <a:cxn ang="0">
                <a:pos x="connsiteX68188" y="connsiteY68188"/>
              </a:cxn>
              <a:cxn ang="0">
                <a:pos x="connsiteX68189" y="connsiteY68189"/>
              </a:cxn>
              <a:cxn ang="0">
                <a:pos x="connsiteX68190" y="connsiteY68190"/>
              </a:cxn>
              <a:cxn ang="0">
                <a:pos x="connsiteX68191" y="connsiteY68191"/>
              </a:cxn>
              <a:cxn ang="0">
                <a:pos x="connsiteX68192" y="connsiteY68192"/>
              </a:cxn>
              <a:cxn ang="0">
                <a:pos x="connsiteX68193" y="connsiteY68193"/>
              </a:cxn>
              <a:cxn ang="0">
                <a:pos x="connsiteX68194" y="connsiteY68194"/>
              </a:cxn>
              <a:cxn ang="0">
                <a:pos x="connsiteX68195" y="connsiteY68195"/>
              </a:cxn>
              <a:cxn ang="0">
                <a:pos x="connsiteX68196" y="connsiteY68196"/>
              </a:cxn>
              <a:cxn ang="0">
                <a:pos x="connsiteX68197" y="connsiteY68197"/>
              </a:cxn>
              <a:cxn ang="0">
                <a:pos x="connsiteX68198" y="connsiteY68198"/>
              </a:cxn>
              <a:cxn ang="0">
                <a:pos x="connsiteX68199" y="connsiteY68199"/>
              </a:cxn>
              <a:cxn ang="0">
                <a:pos x="connsiteX68200" y="connsiteY68200"/>
              </a:cxn>
              <a:cxn ang="0">
                <a:pos x="connsiteX68201" y="connsiteY68201"/>
              </a:cxn>
              <a:cxn ang="0">
                <a:pos x="connsiteX68202" y="connsiteY68202"/>
              </a:cxn>
              <a:cxn ang="0">
                <a:pos x="connsiteX68203" y="connsiteY68203"/>
              </a:cxn>
              <a:cxn ang="0">
                <a:pos x="connsiteX68204" y="connsiteY68204"/>
              </a:cxn>
              <a:cxn ang="0">
                <a:pos x="connsiteX68205" y="connsiteY68205"/>
              </a:cxn>
              <a:cxn ang="0">
                <a:pos x="connsiteX68206" y="connsiteY68206"/>
              </a:cxn>
              <a:cxn ang="0">
                <a:pos x="connsiteX68207" y="connsiteY68207"/>
              </a:cxn>
              <a:cxn ang="0">
                <a:pos x="connsiteX68208" y="connsiteY68208"/>
              </a:cxn>
              <a:cxn ang="0">
                <a:pos x="connsiteX68209" y="connsiteY68209"/>
              </a:cxn>
              <a:cxn ang="0">
                <a:pos x="connsiteX68210" y="connsiteY68210"/>
              </a:cxn>
              <a:cxn ang="0">
                <a:pos x="connsiteX68211" y="connsiteY68211"/>
              </a:cxn>
              <a:cxn ang="0">
                <a:pos x="connsiteX68212" y="connsiteY68212"/>
              </a:cxn>
              <a:cxn ang="0">
                <a:pos x="connsiteX68213" y="connsiteY68213"/>
              </a:cxn>
              <a:cxn ang="0">
                <a:pos x="connsiteX68214" y="connsiteY68214"/>
              </a:cxn>
              <a:cxn ang="0">
                <a:pos x="connsiteX68215" y="connsiteY68215"/>
              </a:cxn>
              <a:cxn ang="0">
                <a:pos x="connsiteX68216" y="connsiteY68216"/>
              </a:cxn>
              <a:cxn ang="0">
                <a:pos x="connsiteX68217" y="connsiteY68217"/>
              </a:cxn>
              <a:cxn ang="0">
                <a:pos x="connsiteX68218" y="connsiteY68218"/>
              </a:cxn>
              <a:cxn ang="0">
                <a:pos x="connsiteX68219" y="connsiteY68219"/>
              </a:cxn>
              <a:cxn ang="0">
                <a:pos x="connsiteX68220" y="connsiteY68220"/>
              </a:cxn>
              <a:cxn ang="0">
                <a:pos x="connsiteX68221" y="connsiteY68221"/>
              </a:cxn>
              <a:cxn ang="0">
                <a:pos x="connsiteX68222" y="connsiteY68222"/>
              </a:cxn>
              <a:cxn ang="0">
                <a:pos x="connsiteX68223" y="connsiteY68223"/>
              </a:cxn>
              <a:cxn ang="0">
                <a:pos x="connsiteX68224" y="connsiteY68224"/>
              </a:cxn>
              <a:cxn ang="0">
                <a:pos x="connsiteX68225" y="connsiteY68225"/>
              </a:cxn>
              <a:cxn ang="0">
                <a:pos x="connsiteX68226" y="connsiteY68226"/>
              </a:cxn>
              <a:cxn ang="0">
                <a:pos x="connsiteX68227" y="connsiteY68227"/>
              </a:cxn>
              <a:cxn ang="0">
                <a:pos x="connsiteX68228" y="connsiteY68228"/>
              </a:cxn>
              <a:cxn ang="0">
                <a:pos x="connsiteX68229" y="connsiteY68229"/>
              </a:cxn>
              <a:cxn ang="0">
                <a:pos x="connsiteX68230" y="connsiteY68230"/>
              </a:cxn>
              <a:cxn ang="0">
                <a:pos x="connsiteX68231" y="connsiteY68231"/>
              </a:cxn>
              <a:cxn ang="0">
                <a:pos x="connsiteX68232" y="connsiteY68232"/>
              </a:cxn>
              <a:cxn ang="0">
                <a:pos x="connsiteX68233" y="connsiteY68233"/>
              </a:cxn>
              <a:cxn ang="0">
                <a:pos x="connsiteX68234" y="connsiteY68234"/>
              </a:cxn>
              <a:cxn ang="0">
                <a:pos x="connsiteX68235" y="connsiteY68235"/>
              </a:cxn>
              <a:cxn ang="0">
                <a:pos x="connsiteX68236" y="connsiteY68236"/>
              </a:cxn>
              <a:cxn ang="0">
                <a:pos x="connsiteX68237" y="connsiteY68237"/>
              </a:cxn>
              <a:cxn ang="0">
                <a:pos x="connsiteX68238" y="connsiteY68238"/>
              </a:cxn>
              <a:cxn ang="0">
                <a:pos x="connsiteX68239" y="connsiteY68239"/>
              </a:cxn>
              <a:cxn ang="0">
                <a:pos x="connsiteX68240" y="connsiteY68240"/>
              </a:cxn>
              <a:cxn ang="0">
                <a:pos x="connsiteX68241" y="connsiteY68241"/>
              </a:cxn>
              <a:cxn ang="0">
                <a:pos x="connsiteX68242" y="connsiteY68242"/>
              </a:cxn>
              <a:cxn ang="0">
                <a:pos x="connsiteX68243" y="connsiteY68243"/>
              </a:cxn>
              <a:cxn ang="0">
                <a:pos x="connsiteX68244" y="connsiteY68244"/>
              </a:cxn>
              <a:cxn ang="0">
                <a:pos x="connsiteX68245" y="connsiteY68245"/>
              </a:cxn>
              <a:cxn ang="0">
                <a:pos x="connsiteX68246" y="connsiteY68246"/>
              </a:cxn>
              <a:cxn ang="0">
                <a:pos x="connsiteX68247" y="connsiteY68247"/>
              </a:cxn>
              <a:cxn ang="0">
                <a:pos x="connsiteX68248" y="connsiteY68248"/>
              </a:cxn>
              <a:cxn ang="0">
                <a:pos x="connsiteX68249" y="connsiteY68249"/>
              </a:cxn>
              <a:cxn ang="0">
                <a:pos x="connsiteX68250" y="connsiteY68250"/>
              </a:cxn>
              <a:cxn ang="0">
                <a:pos x="connsiteX68251" y="connsiteY68251"/>
              </a:cxn>
              <a:cxn ang="0">
                <a:pos x="connsiteX68252" y="connsiteY68252"/>
              </a:cxn>
              <a:cxn ang="0">
                <a:pos x="connsiteX68253" y="connsiteY68253"/>
              </a:cxn>
              <a:cxn ang="0">
                <a:pos x="connsiteX68254" y="connsiteY68254"/>
              </a:cxn>
              <a:cxn ang="0">
                <a:pos x="connsiteX68255" y="connsiteY68255"/>
              </a:cxn>
              <a:cxn ang="0">
                <a:pos x="connsiteX68256" y="connsiteY68256"/>
              </a:cxn>
              <a:cxn ang="0">
                <a:pos x="connsiteX68257" y="connsiteY68257"/>
              </a:cxn>
              <a:cxn ang="0">
                <a:pos x="connsiteX68258" y="connsiteY68258"/>
              </a:cxn>
              <a:cxn ang="0">
                <a:pos x="connsiteX68259" y="connsiteY68259"/>
              </a:cxn>
              <a:cxn ang="0">
                <a:pos x="connsiteX68260" y="connsiteY68260"/>
              </a:cxn>
              <a:cxn ang="0">
                <a:pos x="connsiteX68261" y="connsiteY68261"/>
              </a:cxn>
              <a:cxn ang="0">
                <a:pos x="connsiteX68262" y="connsiteY68262"/>
              </a:cxn>
              <a:cxn ang="0">
                <a:pos x="connsiteX68263" y="connsiteY68263"/>
              </a:cxn>
              <a:cxn ang="0">
                <a:pos x="connsiteX68264" y="connsiteY68264"/>
              </a:cxn>
              <a:cxn ang="0">
                <a:pos x="connsiteX68265" y="connsiteY68265"/>
              </a:cxn>
              <a:cxn ang="0">
                <a:pos x="connsiteX68266" y="connsiteY68266"/>
              </a:cxn>
              <a:cxn ang="0">
                <a:pos x="connsiteX68267" y="connsiteY68267"/>
              </a:cxn>
              <a:cxn ang="0">
                <a:pos x="connsiteX68268" y="connsiteY68268"/>
              </a:cxn>
              <a:cxn ang="0">
                <a:pos x="connsiteX68269" y="connsiteY68269"/>
              </a:cxn>
              <a:cxn ang="0">
                <a:pos x="connsiteX68270" y="connsiteY68270"/>
              </a:cxn>
              <a:cxn ang="0">
                <a:pos x="connsiteX68271" y="connsiteY68271"/>
              </a:cxn>
              <a:cxn ang="0">
                <a:pos x="connsiteX68272" y="connsiteY68272"/>
              </a:cxn>
              <a:cxn ang="0">
                <a:pos x="connsiteX68273" y="connsiteY68273"/>
              </a:cxn>
              <a:cxn ang="0">
                <a:pos x="connsiteX68274" y="connsiteY68274"/>
              </a:cxn>
              <a:cxn ang="0">
                <a:pos x="connsiteX68275" y="connsiteY68275"/>
              </a:cxn>
              <a:cxn ang="0">
                <a:pos x="connsiteX68276" y="connsiteY68276"/>
              </a:cxn>
              <a:cxn ang="0">
                <a:pos x="connsiteX68277" y="connsiteY68277"/>
              </a:cxn>
              <a:cxn ang="0">
                <a:pos x="connsiteX68278" y="connsiteY68278"/>
              </a:cxn>
              <a:cxn ang="0">
                <a:pos x="connsiteX68279" y="connsiteY68279"/>
              </a:cxn>
              <a:cxn ang="0">
                <a:pos x="connsiteX68280" y="connsiteY68280"/>
              </a:cxn>
              <a:cxn ang="0">
                <a:pos x="connsiteX68281" y="connsiteY68281"/>
              </a:cxn>
              <a:cxn ang="0">
                <a:pos x="connsiteX68282" y="connsiteY68282"/>
              </a:cxn>
              <a:cxn ang="0">
                <a:pos x="connsiteX68283" y="connsiteY68283"/>
              </a:cxn>
              <a:cxn ang="0">
                <a:pos x="connsiteX68284" y="connsiteY68284"/>
              </a:cxn>
              <a:cxn ang="0">
                <a:pos x="connsiteX68285" y="connsiteY68285"/>
              </a:cxn>
              <a:cxn ang="0">
                <a:pos x="connsiteX68286" y="connsiteY68286"/>
              </a:cxn>
              <a:cxn ang="0">
                <a:pos x="connsiteX68287" y="connsiteY68287"/>
              </a:cxn>
              <a:cxn ang="0">
                <a:pos x="connsiteX68288" y="connsiteY68288"/>
              </a:cxn>
              <a:cxn ang="0">
                <a:pos x="connsiteX68289" y="connsiteY68289"/>
              </a:cxn>
              <a:cxn ang="0">
                <a:pos x="connsiteX68290" y="connsiteY68290"/>
              </a:cxn>
              <a:cxn ang="0">
                <a:pos x="connsiteX68291" y="connsiteY68291"/>
              </a:cxn>
              <a:cxn ang="0">
                <a:pos x="connsiteX68292" y="connsiteY68292"/>
              </a:cxn>
              <a:cxn ang="0">
                <a:pos x="connsiteX68293" y="connsiteY68293"/>
              </a:cxn>
              <a:cxn ang="0">
                <a:pos x="connsiteX68294" y="connsiteY68294"/>
              </a:cxn>
              <a:cxn ang="0">
                <a:pos x="connsiteX68295" y="connsiteY68295"/>
              </a:cxn>
              <a:cxn ang="0">
                <a:pos x="connsiteX68296" y="connsiteY68296"/>
              </a:cxn>
              <a:cxn ang="0">
                <a:pos x="connsiteX68297" y="connsiteY68297"/>
              </a:cxn>
              <a:cxn ang="0">
                <a:pos x="connsiteX68298" y="connsiteY68298"/>
              </a:cxn>
              <a:cxn ang="0">
                <a:pos x="connsiteX68299" y="connsiteY68299"/>
              </a:cxn>
              <a:cxn ang="0">
                <a:pos x="connsiteX68300" y="connsiteY68300"/>
              </a:cxn>
              <a:cxn ang="0">
                <a:pos x="connsiteX68301" y="connsiteY68301"/>
              </a:cxn>
              <a:cxn ang="0">
                <a:pos x="connsiteX68302" y="connsiteY68302"/>
              </a:cxn>
              <a:cxn ang="0">
                <a:pos x="connsiteX68303" y="connsiteY68303"/>
              </a:cxn>
              <a:cxn ang="0">
                <a:pos x="connsiteX68304" y="connsiteY68304"/>
              </a:cxn>
              <a:cxn ang="0">
                <a:pos x="connsiteX68305" y="connsiteY68305"/>
              </a:cxn>
              <a:cxn ang="0">
                <a:pos x="connsiteX68306" y="connsiteY68306"/>
              </a:cxn>
              <a:cxn ang="0">
                <a:pos x="connsiteX68307" y="connsiteY68307"/>
              </a:cxn>
              <a:cxn ang="0">
                <a:pos x="connsiteX68308" y="connsiteY68308"/>
              </a:cxn>
              <a:cxn ang="0">
                <a:pos x="connsiteX68309" y="connsiteY68309"/>
              </a:cxn>
              <a:cxn ang="0">
                <a:pos x="connsiteX68310" y="connsiteY68310"/>
              </a:cxn>
              <a:cxn ang="0">
                <a:pos x="connsiteX68311" y="connsiteY68311"/>
              </a:cxn>
              <a:cxn ang="0">
                <a:pos x="connsiteX68312" y="connsiteY68312"/>
              </a:cxn>
              <a:cxn ang="0">
                <a:pos x="connsiteX68313" y="connsiteY68313"/>
              </a:cxn>
              <a:cxn ang="0">
                <a:pos x="connsiteX68314" y="connsiteY68314"/>
              </a:cxn>
              <a:cxn ang="0">
                <a:pos x="connsiteX68315" y="connsiteY68315"/>
              </a:cxn>
              <a:cxn ang="0">
                <a:pos x="connsiteX68316" y="connsiteY68316"/>
              </a:cxn>
              <a:cxn ang="0">
                <a:pos x="connsiteX68317" y="connsiteY68317"/>
              </a:cxn>
              <a:cxn ang="0">
                <a:pos x="connsiteX68318" y="connsiteY68318"/>
              </a:cxn>
              <a:cxn ang="0">
                <a:pos x="connsiteX68319" y="connsiteY68319"/>
              </a:cxn>
              <a:cxn ang="0">
                <a:pos x="connsiteX68320" y="connsiteY68320"/>
              </a:cxn>
              <a:cxn ang="0">
                <a:pos x="connsiteX68321" y="connsiteY68321"/>
              </a:cxn>
              <a:cxn ang="0">
                <a:pos x="connsiteX68322" y="connsiteY68322"/>
              </a:cxn>
              <a:cxn ang="0">
                <a:pos x="connsiteX68323" y="connsiteY68323"/>
              </a:cxn>
              <a:cxn ang="0">
                <a:pos x="connsiteX68324" y="connsiteY68324"/>
              </a:cxn>
              <a:cxn ang="0">
                <a:pos x="connsiteX68325" y="connsiteY68325"/>
              </a:cxn>
              <a:cxn ang="0">
                <a:pos x="connsiteX68326" y="connsiteY68326"/>
              </a:cxn>
              <a:cxn ang="0">
                <a:pos x="connsiteX68327" y="connsiteY68327"/>
              </a:cxn>
              <a:cxn ang="0">
                <a:pos x="connsiteX68328" y="connsiteY68328"/>
              </a:cxn>
              <a:cxn ang="0">
                <a:pos x="connsiteX68329" y="connsiteY68329"/>
              </a:cxn>
              <a:cxn ang="0">
                <a:pos x="connsiteX68330" y="connsiteY68330"/>
              </a:cxn>
              <a:cxn ang="0">
                <a:pos x="connsiteX68331" y="connsiteY68331"/>
              </a:cxn>
              <a:cxn ang="0">
                <a:pos x="connsiteX68332" y="connsiteY68332"/>
              </a:cxn>
              <a:cxn ang="0">
                <a:pos x="connsiteX68333" y="connsiteY68333"/>
              </a:cxn>
              <a:cxn ang="0">
                <a:pos x="connsiteX68334" y="connsiteY68334"/>
              </a:cxn>
              <a:cxn ang="0">
                <a:pos x="connsiteX68335" y="connsiteY68335"/>
              </a:cxn>
              <a:cxn ang="0">
                <a:pos x="connsiteX68336" y="connsiteY68336"/>
              </a:cxn>
              <a:cxn ang="0">
                <a:pos x="connsiteX68337" y="connsiteY68337"/>
              </a:cxn>
              <a:cxn ang="0">
                <a:pos x="connsiteX68338" y="connsiteY68338"/>
              </a:cxn>
              <a:cxn ang="0">
                <a:pos x="connsiteX68339" y="connsiteY68339"/>
              </a:cxn>
              <a:cxn ang="0">
                <a:pos x="connsiteX68340" y="connsiteY68340"/>
              </a:cxn>
              <a:cxn ang="0">
                <a:pos x="connsiteX68341" y="connsiteY68341"/>
              </a:cxn>
              <a:cxn ang="0">
                <a:pos x="connsiteX68342" y="connsiteY68342"/>
              </a:cxn>
              <a:cxn ang="0">
                <a:pos x="connsiteX68343" y="connsiteY68343"/>
              </a:cxn>
              <a:cxn ang="0">
                <a:pos x="connsiteX68344" y="connsiteY68344"/>
              </a:cxn>
              <a:cxn ang="0">
                <a:pos x="connsiteX68345" y="connsiteY68345"/>
              </a:cxn>
              <a:cxn ang="0">
                <a:pos x="connsiteX68346" y="connsiteY68346"/>
              </a:cxn>
              <a:cxn ang="0">
                <a:pos x="connsiteX68347" y="connsiteY68347"/>
              </a:cxn>
              <a:cxn ang="0">
                <a:pos x="connsiteX68348" y="connsiteY68348"/>
              </a:cxn>
              <a:cxn ang="0">
                <a:pos x="connsiteX68349" y="connsiteY68349"/>
              </a:cxn>
              <a:cxn ang="0">
                <a:pos x="connsiteX68350" y="connsiteY68350"/>
              </a:cxn>
              <a:cxn ang="0">
                <a:pos x="connsiteX68351" y="connsiteY68351"/>
              </a:cxn>
              <a:cxn ang="0">
                <a:pos x="connsiteX68352" y="connsiteY68352"/>
              </a:cxn>
              <a:cxn ang="0">
                <a:pos x="connsiteX68353" y="connsiteY68353"/>
              </a:cxn>
              <a:cxn ang="0">
                <a:pos x="connsiteX68354" y="connsiteY68354"/>
              </a:cxn>
              <a:cxn ang="0">
                <a:pos x="connsiteX68355" y="connsiteY68355"/>
              </a:cxn>
              <a:cxn ang="0">
                <a:pos x="connsiteX68356" y="connsiteY68356"/>
              </a:cxn>
              <a:cxn ang="0">
                <a:pos x="connsiteX68357" y="connsiteY68357"/>
              </a:cxn>
              <a:cxn ang="0">
                <a:pos x="connsiteX68358" y="connsiteY68358"/>
              </a:cxn>
              <a:cxn ang="0">
                <a:pos x="connsiteX68359" y="connsiteY68359"/>
              </a:cxn>
              <a:cxn ang="0">
                <a:pos x="connsiteX68360" y="connsiteY68360"/>
              </a:cxn>
              <a:cxn ang="0">
                <a:pos x="connsiteX68361" y="connsiteY68361"/>
              </a:cxn>
              <a:cxn ang="0">
                <a:pos x="connsiteX68362" y="connsiteY68362"/>
              </a:cxn>
              <a:cxn ang="0">
                <a:pos x="connsiteX68363" y="connsiteY68363"/>
              </a:cxn>
              <a:cxn ang="0">
                <a:pos x="connsiteX68364" y="connsiteY68364"/>
              </a:cxn>
              <a:cxn ang="0">
                <a:pos x="connsiteX68365" y="connsiteY68365"/>
              </a:cxn>
              <a:cxn ang="0">
                <a:pos x="connsiteX68366" y="connsiteY68366"/>
              </a:cxn>
              <a:cxn ang="0">
                <a:pos x="connsiteX68367" y="connsiteY68367"/>
              </a:cxn>
              <a:cxn ang="0">
                <a:pos x="connsiteX68368" y="connsiteY68368"/>
              </a:cxn>
              <a:cxn ang="0">
                <a:pos x="connsiteX68369" y="connsiteY68369"/>
              </a:cxn>
              <a:cxn ang="0">
                <a:pos x="connsiteX68370" y="connsiteY68370"/>
              </a:cxn>
              <a:cxn ang="0">
                <a:pos x="connsiteX68371" y="connsiteY68371"/>
              </a:cxn>
              <a:cxn ang="0">
                <a:pos x="connsiteX68372" y="connsiteY68372"/>
              </a:cxn>
              <a:cxn ang="0">
                <a:pos x="connsiteX68373" y="connsiteY68373"/>
              </a:cxn>
              <a:cxn ang="0">
                <a:pos x="connsiteX68374" y="connsiteY68374"/>
              </a:cxn>
              <a:cxn ang="0">
                <a:pos x="connsiteX68375" y="connsiteY68375"/>
              </a:cxn>
              <a:cxn ang="0">
                <a:pos x="connsiteX68376" y="connsiteY68376"/>
              </a:cxn>
              <a:cxn ang="0">
                <a:pos x="connsiteX68377" y="connsiteY68377"/>
              </a:cxn>
              <a:cxn ang="0">
                <a:pos x="connsiteX68378" y="connsiteY68378"/>
              </a:cxn>
              <a:cxn ang="0">
                <a:pos x="connsiteX68379" y="connsiteY68379"/>
              </a:cxn>
              <a:cxn ang="0">
                <a:pos x="connsiteX68380" y="connsiteY68380"/>
              </a:cxn>
              <a:cxn ang="0">
                <a:pos x="connsiteX68381" y="connsiteY68381"/>
              </a:cxn>
              <a:cxn ang="0">
                <a:pos x="connsiteX68382" y="connsiteY68382"/>
              </a:cxn>
              <a:cxn ang="0">
                <a:pos x="connsiteX68383" y="connsiteY68383"/>
              </a:cxn>
              <a:cxn ang="0">
                <a:pos x="connsiteX68384" y="connsiteY68384"/>
              </a:cxn>
              <a:cxn ang="0">
                <a:pos x="connsiteX68385" y="connsiteY68385"/>
              </a:cxn>
              <a:cxn ang="0">
                <a:pos x="connsiteX68386" y="connsiteY68386"/>
              </a:cxn>
              <a:cxn ang="0">
                <a:pos x="connsiteX68387" y="connsiteY68387"/>
              </a:cxn>
              <a:cxn ang="0">
                <a:pos x="connsiteX68388" y="connsiteY68388"/>
              </a:cxn>
              <a:cxn ang="0">
                <a:pos x="connsiteX68389" y="connsiteY68389"/>
              </a:cxn>
              <a:cxn ang="0">
                <a:pos x="connsiteX68390" y="connsiteY68390"/>
              </a:cxn>
              <a:cxn ang="0">
                <a:pos x="connsiteX68391" y="connsiteY68391"/>
              </a:cxn>
              <a:cxn ang="0">
                <a:pos x="connsiteX68392" y="connsiteY68392"/>
              </a:cxn>
              <a:cxn ang="0">
                <a:pos x="connsiteX68393" y="connsiteY68393"/>
              </a:cxn>
              <a:cxn ang="0">
                <a:pos x="connsiteX68394" y="connsiteY68394"/>
              </a:cxn>
              <a:cxn ang="0">
                <a:pos x="connsiteX68395" y="connsiteY68395"/>
              </a:cxn>
              <a:cxn ang="0">
                <a:pos x="connsiteX68396" y="connsiteY68396"/>
              </a:cxn>
              <a:cxn ang="0">
                <a:pos x="connsiteX68397" y="connsiteY68397"/>
              </a:cxn>
              <a:cxn ang="0">
                <a:pos x="connsiteX68398" y="connsiteY68398"/>
              </a:cxn>
              <a:cxn ang="0">
                <a:pos x="connsiteX68399" y="connsiteY68399"/>
              </a:cxn>
              <a:cxn ang="0">
                <a:pos x="connsiteX68400" y="connsiteY68400"/>
              </a:cxn>
              <a:cxn ang="0">
                <a:pos x="connsiteX68401" y="connsiteY68401"/>
              </a:cxn>
              <a:cxn ang="0">
                <a:pos x="connsiteX68402" y="connsiteY68402"/>
              </a:cxn>
              <a:cxn ang="0">
                <a:pos x="connsiteX68403" y="connsiteY68403"/>
              </a:cxn>
              <a:cxn ang="0">
                <a:pos x="connsiteX68404" y="connsiteY68404"/>
              </a:cxn>
              <a:cxn ang="0">
                <a:pos x="connsiteX68405" y="connsiteY68405"/>
              </a:cxn>
              <a:cxn ang="0">
                <a:pos x="connsiteX68406" y="connsiteY68406"/>
              </a:cxn>
              <a:cxn ang="0">
                <a:pos x="connsiteX68407" y="connsiteY68407"/>
              </a:cxn>
              <a:cxn ang="0">
                <a:pos x="connsiteX68408" y="connsiteY68408"/>
              </a:cxn>
              <a:cxn ang="0">
                <a:pos x="connsiteX68409" y="connsiteY68409"/>
              </a:cxn>
              <a:cxn ang="0">
                <a:pos x="connsiteX68410" y="connsiteY68410"/>
              </a:cxn>
              <a:cxn ang="0">
                <a:pos x="connsiteX68411" y="connsiteY68411"/>
              </a:cxn>
              <a:cxn ang="0">
                <a:pos x="connsiteX68412" y="connsiteY68412"/>
              </a:cxn>
              <a:cxn ang="0">
                <a:pos x="connsiteX68413" y="connsiteY68413"/>
              </a:cxn>
              <a:cxn ang="0">
                <a:pos x="connsiteX68414" y="connsiteY68414"/>
              </a:cxn>
              <a:cxn ang="0">
                <a:pos x="connsiteX68415" y="connsiteY68415"/>
              </a:cxn>
              <a:cxn ang="0">
                <a:pos x="connsiteX68416" y="connsiteY68416"/>
              </a:cxn>
              <a:cxn ang="0">
                <a:pos x="connsiteX68417" y="connsiteY68417"/>
              </a:cxn>
              <a:cxn ang="0">
                <a:pos x="connsiteX68418" y="connsiteY68418"/>
              </a:cxn>
              <a:cxn ang="0">
                <a:pos x="connsiteX68419" y="connsiteY68419"/>
              </a:cxn>
              <a:cxn ang="0">
                <a:pos x="connsiteX68420" y="connsiteY68420"/>
              </a:cxn>
              <a:cxn ang="0">
                <a:pos x="connsiteX68421" y="connsiteY68421"/>
              </a:cxn>
              <a:cxn ang="0">
                <a:pos x="connsiteX68422" y="connsiteY68422"/>
              </a:cxn>
              <a:cxn ang="0">
                <a:pos x="connsiteX68423" y="connsiteY68423"/>
              </a:cxn>
              <a:cxn ang="0">
                <a:pos x="connsiteX68424" y="connsiteY68424"/>
              </a:cxn>
              <a:cxn ang="0">
                <a:pos x="connsiteX68425" y="connsiteY68425"/>
              </a:cxn>
              <a:cxn ang="0">
                <a:pos x="connsiteX68426" y="connsiteY68426"/>
              </a:cxn>
              <a:cxn ang="0">
                <a:pos x="connsiteX68427" y="connsiteY68427"/>
              </a:cxn>
              <a:cxn ang="0">
                <a:pos x="connsiteX68428" y="connsiteY68428"/>
              </a:cxn>
              <a:cxn ang="0">
                <a:pos x="connsiteX68429" y="connsiteY68429"/>
              </a:cxn>
              <a:cxn ang="0">
                <a:pos x="connsiteX68430" y="connsiteY68430"/>
              </a:cxn>
              <a:cxn ang="0">
                <a:pos x="connsiteX68431" y="connsiteY68431"/>
              </a:cxn>
              <a:cxn ang="0">
                <a:pos x="connsiteX68432" y="connsiteY68432"/>
              </a:cxn>
              <a:cxn ang="0">
                <a:pos x="connsiteX68433" y="connsiteY68433"/>
              </a:cxn>
              <a:cxn ang="0">
                <a:pos x="connsiteX68434" y="connsiteY68434"/>
              </a:cxn>
              <a:cxn ang="0">
                <a:pos x="connsiteX68435" y="connsiteY68435"/>
              </a:cxn>
              <a:cxn ang="0">
                <a:pos x="connsiteX68436" y="connsiteY68436"/>
              </a:cxn>
              <a:cxn ang="0">
                <a:pos x="connsiteX68437" y="connsiteY68437"/>
              </a:cxn>
              <a:cxn ang="0">
                <a:pos x="connsiteX68438" y="connsiteY68438"/>
              </a:cxn>
              <a:cxn ang="0">
                <a:pos x="connsiteX68439" y="connsiteY68439"/>
              </a:cxn>
              <a:cxn ang="0">
                <a:pos x="connsiteX68440" y="connsiteY68440"/>
              </a:cxn>
              <a:cxn ang="0">
                <a:pos x="connsiteX68441" y="connsiteY68441"/>
              </a:cxn>
              <a:cxn ang="0">
                <a:pos x="connsiteX68442" y="connsiteY68442"/>
              </a:cxn>
              <a:cxn ang="0">
                <a:pos x="connsiteX68443" y="connsiteY68443"/>
              </a:cxn>
              <a:cxn ang="0">
                <a:pos x="connsiteX68444" y="connsiteY68444"/>
              </a:cxn>
              <a:cxn ang="0">
                <a:pos x="connsiteX68445" y="connsiteY68445"/>
              </a:cxn>
              <a:cxn ang="0">
                <a:pos x="connsiteX68446" y="connsiteY68446"/>
              </a:cxn>
              <a:cxn ang="0">
                <a:pos x="connsiteX68447" y="connsiteY68447"/>
              </a:cxn>
              <a:cxn ang="0">
                <a:pos x="connsiteX68448" y="connsiteY68448"/>
              </a:cxn>
              <a:cxn ang="0">
                <a:pos x="connsiteX68449" y="connsiteY68449"/>
              </a:cxn>
              <a:cxn ang="0">
                <a:pos x="connsiteX68450" y="connsiteY68450"/>
              </a:cxn>
              <a:cxn ang="0">
                <a:pos x="connsiteX68451" y="connsiteY68451"/>
              </a:cxn>
              <a:cxn ang="0">
                <a:pos x="connsiteX68452" y="connsiteY68452"/>
              </a:cxn>
              <a:cxn ang="0">
                <a:pos x="connsiteX68453" y="connsiteY68453"/>
              </a:cxn>
              <a:cxn ang="0">
                <a:pos x="connsiteX68454" y="connsiteY68454"/>
              </a:cxn>
              <a:cxn ang="0">
                <a:pos x="connsiteX68455" y="connsiteY68455"/>
              </a:cxn>
              <a:cxn ang="0">
                <a:pos x="connsiteX68456" y="connsiteY68456"/>
              </a:cxn>
              <a:cxn ang="0">
                <a:pos x="connsiteX68457" y="connsiteY68457"/>
              </a:cxn>
              <a:cxn ang="0">
                <a:pos x="connsiteX68458" y="connsiteY68458"/>
              </a:cxn>
              <a:cxn ang="0">
                <a:pos x="connsiteX68459" y="connsiteY68459"/>
              </a:cxn>
              <a:cxn ang="0">
                <a:pos x="connsiteX68460" y="connsiteY68460"/>
              </a:cxn>
              <a:cxn ang="0">
                <a:pos x="connsiteX68461" y="connsiteY68461"/>
              </a:cxn>
              <a:cxn ang="0">
                <a:pos x="connsiteX68462" y="connsiteY68462"/>
              </a:cxn>
              <a:cxn ang="0">
                <a:pos x="connsiteX68463" y="connsiteY68463"/>
              </a:cxn>
              <a:cxn ang="0">
                <a:pos x="connsiteX68464" y="connsiteY68464"/>
              </a:cxn>
              <a:cxn ang="0">
                <a:pos x="connsiteX68465" y="connsiteY68465"/>
              </a:cxn>
              <a:cxn ang="0">
                <a:pos x="connsiteX68466" y="connsiteY68466"/>
              </a:cxn>
              <a:cxn ang="0">
                <a:pos x="connsiteX68467" y="connsiteY68467"/>
              </a:cxn>
              <a:cxn ang="0">
                <a:pos x="connsiteX68468" y="connsiteY68468"/>
              </a:cxn>
              <a:cxn ang="0">
                <a:pos x="connsiteX68469" y="connsiteY68469"/>
              </a:cxn>
              <a:cxn ang="0">
                <a:pos x="connsiteX68470" y="connsiteY68470"/>
              </a:cxn>
              <a:cxn ang="0">
                <a:pos x="connsiteX68471" y="connsiteY68471"/>
              </a:cxn>
              <a:cxn ang="0">
                <a:pos x="connsiteX68472" y="connsiteY68472"/>
              </a:cxn>
              <a:cxn ang="0">
                <a:pos x="connsiteX68473" y="connsiteY68473"/>
              </a:cxn>
              <a:cxn ang="0">
                <a:pos x="connsiteX68474" y="connsiteY68474"/>
              </a:cxn>
              <a:cxn ang="0">
                <a:pos x="connsiteX68475" y="connsiteY68475"/>
              </a:cxn>
              <a:cxn ang="0">
                <a:pos x="connsiteX68476" y="connsiteY68476"/>
              </a:cxn>
              <a:cxn ang="0">
                <a:pos x="connsiteX68477" y="connsiteY68477"/>
              </a:cxn>
              <a:cxn ang="0">
                <a:pos x="connsiteX68478" y="connsiteY68478"/>
              </a:cxn>
              <a:cxn ang="0">
                <a:pos x="connsiteX68479" y="connsiteY68479"/>
              </a:cxn>
              <a:cxn ang="0">
                <a:pos x="connsiteX68480" y="connsiteY68480"/>
              </a:cxn>
              <a:cxn ang="0">
                <a:pos x="connsiteX68481" y="connsiteY68481"/>
              </a:cxn>
              <a:cxn ang="0">
                <a:pos x="connsiteX68482" y="connsiteY68482"/>
              </a:cxn>
              <a:cxn ang="0">
                <a:pos x="connsiteX68483" y="connsiteY68483"/>
              </a:cxn>
              <a:cxn ang="0">
                <a:pos x="connsiteX68484" y="connsiteY68484"/>
              </a:cxn>
              <a:cxn ang="0">
                <a:pos x="connsiteX68485" y="connsiteY68485"/>
              </a:cxn>
              <a:cxn ang="0">
                <a:pos x="connsiteX68486" y="connsiteY68486"/>
              </a:cxn>
              <a:cxn ang="0">
                <a:pos x="connsiteX68487" y="connsiteY68487"/>
              </a:cxn>
              <a:cxn ang="0">
                <a:pos x="connsiteX68488" y="connsiteY68488"/>
              </a:cxn>
              <a:cxn ang="0">
                <a:pos x="connsiteX68489" y="connsiteY68489"/>
              </a:cxn>
              <a:cxn ang="0">
                <a:pos x="connsiteX68490" y="connsiteY68490"/>
              </a:cxn>
              <a:cxn ang="0">
                <a:pos x="connsiteX68491" y="connsiteY68491"/>
              </a:cxn>
              <a:cxn ang="0">
                <a:pos x="connsiteX68492" y="connsiteY68492"/>
              </a:cxn>
              <a:cxn ang="0">
                <a:pos x="connsiteX68493" y="connsiteY68493"/>
              </a:cxn>
              <a:cxn ang="0">
                <a:pos x="connsiteX68494" y="connsiteY68494"/>
              </a:cxn>
              <a:cxn ang="0">
                <a:pos x="connsiteX68495" y="connsiteY68495"/>
              </a:cxn>
              <a:cxn ang="0">
                <a:pos x="connsiteX68496" y="connsiteY68496"/>
              </a:cxn>
              <a:cxn ang="0">
                <a:pos x="connsiteX68497" y="connsiteY68497"/>
              </a:cxn>
              <a:cxn ang="0">
                <a:pos x="connsiteX68498" y="connsiteY68498"/>
              </a:cxn>
              <a:cxn ang="0">
                <a:pos x="connsiteX68499" y="connsiteY68499"/>
              </a:cxn>
              <a:cxn ang="0">
                <a:pos x="connsiteX68500" y="connsiteY68500"/>
              </a:cxn>
              <a:cxn ang="0">
                <a:pos x="connsiteX68501" y="connsiteY68501"/>
              </a:cxn>
              <a:cxn ang="0">
                <a:pos x="connsiteX68502" y="connsiteY68502"/>
              </a:cxn>
              <a:cxn ang="0">
                <a:pos x="connsiteX68503" y="connsiteY68503"/>
              </a:cxn>
              <a:cxn ang="0">
                <a:pos x="connsiteX68504" y="connsiteY68504"/>
              </a:cxn>
              <a:cxn ang="0">
                <a:pos x="connsiteX68505" y="connsiteY68505"/>
              </a:cxn>
              <a:cxn ang="0">
                <a:pos x="connsiteX68506" y="connsiteY68506"/>
              </a:cxn>
              <a:cxn ang="0">
                <a:pos x="connsiteX68507" y="connsiteY68507"/>
              </a:cxn>
              <a:cxn ang="0">
                <a:pos x="connsiteX68508" y="connsiteY68508"/>
              </a:cxn>
              <a:cxn ang="0">
                <a:pos x="connsiteX68509" y="connsiteY68509"/>
              </a:cxn>
              <a:cxn ang="0">
                <a:pos x="connsiteX68510" y="connsiteY68510"/>
              </a:cxn>
              <a:cxn ang="0">
                <a:pos x="connsiteX68511" y="connsiteY68511"/>
              </a:cxn>
              <a:cxn ang="0">
                <a:pos x="connsiteX68512" y="connsiteY68512"/>
              </a:cxn>
              <a:cxn ang="0">
                <a:pos x="connsiteX68513" y="connsiteY68513"/>
              </a:cxn>
              <a:cxn ang="0">
                <a:pos x="connsiteX68514" y="connsiteY68514"/>
              </a:cxn>
              <a:cxn ang="0">
                <a:pos x="connsiteX68515" y="connsiteY68515"/>
              </a:cxn>
              <a:cxn ang="0">
                <a:pos x="connsiteX68516" y="connsiteY68516"/>
              </a:cxn>
              <a:cxn ang="0">
                <a:pos x="connsiteX68517" y="connsiteY68517"/>
              </a:cxn>
              <a:cxn ang="0">
                <a:pos x="connsiteX68518" y="connsiteY68518"/>
              </a:cxn>
              <a:cxn ang="0">
                <a:pos x="connsiteX68519" y="connsiteY68519"/>
              </a:cxn>
              <a:cxn ang="0">
                <a:pos x="connsiteX68520" y="connsiteY68520"/>
              </a:cxn>
              <a:cxn ang="0">
                <a:pos x="connsiteX68521" y="connsiteY68521"/>
              </a:cxn>
              <a:cxn ang="0">
                <a:pos x="connsiteX68522" y="connsiteY68522"/>
              </a:cxn>
              <a:cxn ang="0">
                <a:pos x="connsiteX68523" y="connsiteY68523"/>
              </a:cxn>
              <a:cxn ang="0">
                <a:pos x="connsiteX68524" y="connsiteY68524"/>
              </a:cxn>
              <a:cxn ang="0">
                <a:pos x="connsiteX68525" y="connsiteY68525"/>
              </a:cxn>
              <a:cxn ang="0">
                <a:pos x="connsiteX68526" y="connsiteY68526"/>
              </a:cxn>
              <a:cxn ang="0">
                <a:pos x="connsiteX68527" y="connsiteY68527"/>
              </a:cxn>
              <a:cxn ang="0">
                <a:pos x="connsiteX68528" y="connsiteY68528"/>
              </a:cxn>
              <a:cxn ang="0">
                <a:pos x="connsiteX68529" y="connsiteY68529"/>
              </a:cxn>
              <a:cxn ang="0">
                <a:pos x="connsiteX68530" y="connsiteY68530"/>
              </a:cxn>
              <a:cxn ang="0">
                <a:pos x="connsiteX68531" y="connsiteY68531"/>
              </a:cxn>
              <a:cxn ang="0">
                <a:pos x="connsiteX68532" y="connsiteY68532"/>
              </a:cxn>
              <a:cxn ang="0">
                <a:pos x="connsiteX68533" y="connsiteY68533"/>
              </a:cxn>
              <a:cxn ang="0">
                <a:pos x="connsiteX68534" y="connsiteY68534"/>
              </a:cxn>
              <a:cxn ang="0">
                <a:pos x="connsiteX68535" y="connsiteY68535"/>
              </a:cxn>
              <a:cxn ang="0">
                <a:pos x="connsiteX68536" y="connsiteY68536"/>
              </a:cxn>
              <a:cxn ang="0">
                <a:pos x="connsiteX68537" y="connsiteY68537"/>
              </a:cxn>
              <a:cxn ang="0">
                <a:pos x="connsiteX68538" y="connsiteY68538"/>
              </a:cxn>
              <a:cxn ang="0">
                <a:pos x="connsiteX68539" y="connsiteY68539"/>
              </a:cxn>
              <a:cxn ang="0">
                <a:pos x="connsiteX68540" y="connsiteY68540"/>
              </a:cxn>
              <a:cxn ang="0">
                <a:pos x="connsiteX68541" y="connsiteY68541"/>
              </a:cxn>
              <a:cxn ang="0">
                <a:pos x="connsiteX68542" y="connsiteY68542"/>
              </a:cxn>
              <a:cxn ang="0">
                <a:pos x="connsiteX68543" y="connsiteY68543"/>
              </a:cxn>
              <a:cxn ang="0">
                <a:pos x="connsiteX68544" y="connsiteY68544"/>
              </a:cxn>
              <a:cxn ang="0">
                <a:pos x="connsiteX68545" y="connsiteY68545"/>
              </a:cxn>
              <a:cxn ang="0">
                <a:pos x="connsiteX68546" y="connsiteY68546"/>
              </a:cxn>
              <a:cxn ang="0">
                <a:pos x="connsiteX68547" y="connsiteY68547"/>
              </a:cxn>
              <a:cxn ang="0">
                <a:pos x="connsiteX68548" y="connsiteY68548"/>
              </a:cxn>
              <a:cxn ang="0">
                <a:pos x="connsiteX68549" y="connsiteY68549"/>
              </a:cxn>
              <a:cxn ang="0">
                <a:pos x="connsiteX68550" y="connsiteY68550"/>
              </a:cxn>
              <a:cxn ang="0">
                <a:pos x="connsiteX68551" y="connsiteY68551"/>
              </a:cxn>
              <a:cxn ang="0">
                <a:pos x="connsiteX68552" y="connsiteY68552"/>
              </a:cxn>
              <a:cxn ang="0">
                <a:pos x="connsiteX68553" y="connsiteY68553"/>
              </a:cxn>
              <a:cxn ang="0">
                <a:pos x="connsiteX68554" y="connsiteY68554"/>
              </a:cxn>
              <a:cxn ang="0">
                <a:pos x="connsiteX68555" y="connsiteY68555"/>
              </a:cxn>
              <a:cxn ang="0">
                <a:pos x="connsiteX68556" y="connsiteY68556"/>
              </a:cxn>
              <a:cxn ang="0">
                <a:pos x="connsiteX68557" y="connsiteY68557"/>
              </a:cxn>
              <a:cxn ang="0">
                <a:pos x="connsiteX68558" y="connsiteY68558"/>
              </a:cxn>
              <a:cxn ang="0">
                <a:pos x="connsiteX68559" y="connsiteY68559"/>
              </a:cxn>
              <a:cxn ang="0">
                <a:pos x="connsiteX68560" y="connsiteY68560"/>
              </a:cxn>
              <a:cxn ang="0">
                <a:pos x="connsiteX68561" y="connsiteY68561"/>
              </a:cxn>
              <a:cxn ang="0">
                <a:pos x="connsiteX68562" y="connsiteY68562"/>
              </a:cxn>
              <a:cxn ang="0">
                <a:pos x="connsiteX68563" y="connsiteY68563"/>
              </a:cxn>
              <a:cxn ang="0">
                <a:pos x="connsiteX68564" y="connsiteY68564"/>
              </a:cxn>
              <a:cxn ang="0">
                <a:pos x="connsiteX68565" y="connsiteY68565"/>
              </a:cxn>
              <a:cxn ang="0">
                <a:pos x="connsiteX68566" y="connsiteY68566"/>
              </a:cxn>
              <a:cxn ang="0">
                <a:pos x="connsiteX68567" y="connsiteY68567"/>
              </a:cxn>
              <a:cxn ang="0">
                <a:pos x="connsiteX68568" y="connsiteY68568"/>
              </a:cxn>
              <a:cxn ang="0">
                <a:pos x="connsiteX68569" y="connsiteY68569"/>
              </a:cxn>
              <a:cxn ang="0">
                <a:pos x="connsiteX68570" y="connsiteY68570"/>
              </a:cxn>
              <a:cxn ang="0">
                <a:pos x="connsiteX68571" y="connsiteY68571"/>
              </a:cxn>
              <a:cxn ang="0">
                <a:pos x="connsiteX68572" y="connsiteY68572"/>
              </a:cxn>
              <a:cxn ang="0">
                <a:pos x="connsiteX68573" y="connsiteY68573"/>
              </a:cxn>
              <a:cxn ang="0">
                <a:pos x="connsiteX68574" y="connsiteY68574"/>
              </a:cxn>
              <a:cxn ang="0">
                <a:pos x="connsiteX68575" y="connsiteY68575"/>
              </a:cxn>
              <a:cxn ang="0">
                <a:pos x="connsiteX68576" y="connsiteY68576"/>
              </a:cxn>
              <a:cxn ang="0">
                <a:pos x="connsiteX68577" y="connsiteY68577"/>
              </a:cxn>
              <a:cxn ang="0">
                <a:pos x="connsiteX68578" y="connsiteY68578"/>
              </a:cxn>
              <a:cxn ang="0">
                <a:pos x="connsiteX68579" y="connsiteY68579"/>
              </a:cxn>
              <a:cxn ang="0">
                <a:pos x="connsiteX68580" y="connsiteY68580"/>
              </a:cxn>
              <a:cxn ang="0">
                <a:pos x="connsiteX68581" y="connsiteY68581"/>
              </a:cxn>
              <a:cxn ang="0">
                <a:pos x="connsiteX68582" y="connsiteY68582"/>
              </a:cxn>
              <a:cxn ang="0">
                <a:pos x="connsiteX68583" y="connsiteY68583"/>
              </a:cxn>
              <a:cxn ang="0">
                <a:pos x="connsiteX68584" y="connsiteY68584"/>
              </a:cxn>
              <a:cxn ang="0">
                <a:pos x="connsiteX68585" y="connsiteY68585"/>
              </a:cxn>
              <a:cxn ang="0">
                <a:pos x="connsiteX68586" y="connsiteY68586"/>
              </a:cxn>
              <a:cxn ang="0">
                <a:pos x="connsiteX68587" y="connsiteY68587"/>
              </a:cxn>
              <a:cxn ang="0">
                <a:pos x="connsiteX68588" y="connsiteY68588"/>
              </a:cxn>
              <a:cxn ang="0">
                <a:pos x="connsiteX68589" y="connsiteY68589"/>
              </a:cxn>
              <a:cxn ang="0">
                <a:pos x="connsiteX68590" y="connsiteY68590"/>
              </a:cxn>
              <a:cxn ang="0">
                <a:pos x="connsiteX68591" y="connsiteY68591"/>
              </a:cxn>
              <a:cxn ang="0">
                <a:pos x="connsiteX68592" y="connsiteY68592"/>
              </a:cxn>
              <a:cxn ang="0">
                <a:pos x="connsiteX68593" y="connsiteY68593"/>
              </a:cxn>
              <a:cxn ang="0">
                <a:pos x="connsiteX68594" y="connsiteY68594"/>
              </a:cxn>
              <a:cxn ang="0">
                <a:pos x="connsiteX68595" y="connsiteY68595"/>
              </a:cxn>
              <a:cxn ang="0">
                <a:pos x="connsiteX68596" y="connsiteY68596"/>
              </a:cxn>
              <a:cxn ang="0">
                <a:pos x="connsiteX68597" y="connsiteY68597"/>
              </a:cxn>
              <a:cxn ang="0">
                <a:pos x="connsiteX68598" y="connsiteY68598"/>
              </a:cxn>
              <a:cxn ang="0">
                <a:pos x="connsiteX68599" y="connsiteY68599"/>
              </a:cxn>
              <a:cxn ang="0">
                <a:pos x="connsiteX68600" y="connsiteY68600"/>
              </a:cxn>
              <a:cxn ang="0">
                <a:pos x="connsiteX68601" y="connsiteY68601"/>
              </a:cxn>
              <a:cxn ang="0">
                <a:pos x="connsiteX68602" y="connsiteY68602"/>
              </a:cxn>
              <a:cxn ang="0">
                <a:pos x="connsiteX68603" y="connsiteY68603"/>
              </a:cxn>
              <a:cxn ang="0">
                <a:pos x="connsiteX68604" y="connsiteY68604"/>
              </a:cxn>
              <a:cxn ang="0">
                <a:pos x="connsiteX68605" y="connsiteY68605"/>
              </a:cxn>
              <a:cxn ang="0">
                <a:pos x="connsiteX68606" y="connsiteY68606"/>
              </a:cxn>
              <a:cxn ang="0">
                <a:pos x="connsiteX68607" y="connsiteY68607"/>
              </a:cxn>
              <a:cxn ang="0">
                <a:pos x="connsiteX68608" y="connsiteY68608"/>
              </a:cxn>
              <a:cxn ang="0">
                <a:pos x="connsiteX68609" y="connsiteY68609"/>
              </a:cxn>
              <a:cxn ang="0">
                <a:pos x="connsiteX68610" y="connsiteY68610"/>
              </a:cxn>
              <a:cxn ang="0">
                <a:pos x="connsiteX68611" y="connsiteY68611"/>
              </a:cxn>
              <a:cxn ang="0">
                <a:pos x="connsiteX68612" y="connsiteY68612"/>
              </a:cxn>
              <a:cxn ang="0">
                <a:pos x="connsiteX68613" y="connsiteY68613"/>
              </a:cxn>
              <a:cxn ang="0">
                <a:pos x="connsiteX68614" y="connsiteY68614"/>
              </a:cxn>
              <a:cxn ang="0">
                <a:pos x="connsiteX68615" y="connsiteY68615"/>
              </a:cxn>
              <a:cxn ang="0">
                <a:pos x="connsiteX68616" y="connsiteY68616"/>
              </a:cxn>
              <a:cxn ang="0">
                <a:pos x="connsiteX68617" y="connsiteY68617"/>
              </a:cxn>
              <a:cxn ang="0">
                <a:pos x="connsiteX68618" y="connsiteY68618"/>
              </a:cxn>
              <a:cxn ang="0">
                <a:pos x="connsiteX68619" y="connsiteY68619"/>
              </a:cxn>
              <a:cxn ang="0">
                <a:pos x="connsiteX68620" y="connsiteY68620"/>
              </a:cxn>
              <a:cxn ang="0">
                <a:pos x="connsiteX68621" y="connsiteY68621"/>
              </a:cxn>
              <a:cxn ang="0">
                <a:pos x="connsiteX68622" y="connsiteY68622"/>
              </a:cxn>
              <a:cxn ang="0">
                <a:pos x="connsiteX68623" y="connsiteY68623"/>
              </a:cxn>
              <a:cxn ang="0">
                <a:pos x="connsiteX68624" y="connsiteY68624"/>
              </a:cxn>
              <a:cxn ang="0">
                <a:pos x="connsiteX68625" y="connsiteY68625"/>
              </a:cxn>
              <a:cxn ang="0">
                <a:pos x="connsiteX68626" y="connsiteY68626"/>
              </a:cxn>
              <a:cxn ang="0">
                <a:pos x="connsiteX68627" y="connsiteY68627"/>
              </a:cxn>
              <a:cxn ang="0">
                <a:pos x="connsiteX68628" y="connsiteY68628"/>
              </a:cxn>
              <a:cxn ang="0">
                <a:pos x="connsiteX68629" y="connsiteY68629"/>
              </a:cxn>
              <a:cxn ang="0">
                <a:pos x="connsiteX68630" y="connsiteY68630"/>
              </a:cxn>
              <a:cxn ang="0">
                <a:pos x="connsiteX68631" y="connsiteY68631"/>
              </a:cxn>
              <a:cxn ang="0">
                <a:pos x="connsiteX68632" y="connsiteY68632"/>
              </a:cxn>
              <a:cxn ang="0">
                <a:pos x="connsiteX68633" y="connsiteY68633"/>
              </a:cxn>
              <a:cxn ang="0">
                <a:pos x="connsiteX68634" y="connsiteY68634"/>
              </a:cxn>
              <a:cxn ang="0">
                <a:pos x="connsiteX68635" y="connsiteY68635"/>
              </a:cxn>
              <a:cxn ang="0">
                <a:pos x="connsiteX68636" y="connsiteY68636"/>
              </a:cxn>
              <a:cxn ang="0">
                <a:pos x="connsiteX68637" y="connsiteY68637"/>
              </a:cxn>
              <a:cxn ang="0">
                <a:pos x="connsiteX68638" y="connsiteY68638"/>
              </a:cxn>
              <a:cxn ang="0">
                <a:pos x="connsiteX68639" y="connsiteY68639"/>
              </a:cxn>
              <a:cxn ang="0">
                <a:pos x="connsiteX68640" y="connsiteY68640"/>
              </a:cxn>
              <a:cxn ang="0">
                <a:pos x="connsiteX68641" y="connsiteY68641"/>
              </a:cxn>
              <a:cxn ang="0">
                <a:pos x="connsiteX68642" y="connsiteY68642"/>
              </a:cxn>
              <a:cxn ang="0">
                <a:pos x="connsiteX68643" y="connsiteY68643"/>
              </a:cxn>
              <a:cxn ang="0">
                <a:pos x="connsiteX68644" y="connsiteY68644"/>
              </a:cxn>
              <a:cxn ang="0">
                <a:pos x="connsiteX68645" y="connsiteY68645"/>
              </a:cxn>
              <a:cxn ang="0">
                <a:pos x="connsiteX68646" y="connsiteY68646"/>
              </a:cxn>
              <a:cxn ang="0">
                <a:pos x="connsiteX68647" y="connsiteY68647"/>
              </a:cxn>
              <a:cxn ang="0">
                <a:pos x="connsiteX68648" y="connsiteY68648"/>
              </a:cxn>
              <a:cxn ang="0">
                <a:pos x="connsiteX68649" y="connsiteY68649"/>
              </a:cxn>
              <a:cxn ang="0">
                <a:pos x="connsiteX68650" y="connsiteY68650"/>
              </a:cxn>
              <a:cxn ang="0">
                <a:pos x="connsiteX68651" y="connsiteY68651"/>
              </a:cxn>
              <a:cxn ang="0">
                <a:pos x="connsiteX68652" y="connsiteY68652"/>
              </a:cxn>
              <a:cxn ang="0">
                <a:pos x="connsiteX68653" y="connsiteY68653"/>
              </a:cxn>
              <a:cxn ang="0">
                <a:pos x="connsiteX68654" y="connsiteY68654"/>
              </a:cxn>
              <a:cxn ang="0">
                <a:pos x="connsiteX68655" y="connsiteY68655"/>
              </a:cxn>
              <a:cxn ang="0">
                <a:pos x="connsiteX68656" y="connsiteY68656"/>
              </a:cxn>
              <a:cxn ang="0">
                <a:pos x="connsiteX68657" y="connsiteY68657"/>
              </a:cxn>
              <a:cxn ang="0">
                <a:pos x="connsiteX68658" y="connsiteY68658"/>
              </a:cxn>
              <a:cxn ang="0">
                <a:pos x="connsiteX68659" y="connsiteY68659"/>
              </a:cxn>
              <a:cxn ang="0">
                <a:pos x="connsiteX68660" y="connsiteY68660"/>
              </a:cxn>
              <a:cxn ang="0">
                <a:pos x="connsiteX68661" y="connsiteY68661"/>
              </a:cxn>
              <a:cxn ang="0">
                <a:pos x="connsiteX68662" y="connsiteY68662"/>
              </a:cxn>
              <a:cxn ang="0">
                <a:pos x="connsiteX68663" y="connsiteY68663"/>
              </a:cxn>
              <a:cxn ang="0">
                <a:pos x="connsiteX68664" y="connsiteY68664"/>
              </a:cxn>
              <a:cxn ang="0">
                <a:pos x="connsiteX68665" y="connsiteY68665"/>
              </a:cxn>
              <a:cxn ang="0">
                <a:pos x="connsiteX68666" y="connsiteY68666"/>
              </a:cxn>
              <a:cxn ang="0">
                <a:pos x="connsiteX68667" y="connsiteY68667"/>
              </a:cxn>
              <a:cxn ang="0">
                <a:pos x="connsiteX68668" y="connsiteY68668"/>
              </a:cxn>
              <a:cxn ang="0">
                <a:pos x="connsiteX68669" y="connsiteY68669"/>
              </a:cxn>
              <a:cxn ang="0">
                <a:pos x="connsiteX68670" y="connsiteY68670"/>
              </a:cxn>
              <a:cxn ang="0">
                <a:pos x="connsiteX68671" y="connsiteY68671"/>
              </a:cxn>
              <a:cxn ang="0">
                <a:pos x="connsiteX68672" y="connsiteY68672"/>
              </a:cxn>
              <a:cxn ang="0">
                <a:pos x="connsiteX68673" y="connsiteY68673"/>
              </a:cxn>
              <a:cxn ang="0">
                <a:pos x="connsiteX68674" y="connsiteY68674"/>
              </a:cxn>
              <a:cxn ang="0">
                <a:pos x="connsiteX68675" y="connsiteY68675"/>
              </a:cxn>
              <a:cxn ang="0">
                <a:pos x="connsiteX68676" y="connsiteY68676"/>
              </a:cxn>
              <a:cxn ang="0">
                <a:pos x="connsiteX68677" y="connsiteY68677"/>
              </a:cxn>
              <a:cxn ang="0">
                <a:pos x="connsiteX68678" y="connsiteY68678"/>
              </a:cxn>
              <a:cxn ang="0">
                <a:pos x="connsiteX68679" y="connsiteY68679"/>
              </a:cxn>
              <a:cxn ang="0">
                <a:pos x="connsiteX68680" y="connsiteY68680"/>
              </a:cxn>
              <a:cxn ang="0">
                <a:pos x="connsiteX68681" y="connsiteY68681"/>
              </a:cxn>
              <a:cxn ang="0">
                <a:pos x="connsiteX68682" y="connsiteY68682"/>
              </a:cxn>
              <a:cxn ang="0">
                <a:pos x="connsiteX68683" y="connsiteY68683"/>
              </a:cxn>
              <a:cxn ang="0">
                <a:pos x="connsiteX68684" y="connsiteY68684"/>
              </a:cxn>
              <a:cxn ang="0">
                <a:pos x="connsiteX68685" y="connsiteY68685"/>
              </a:cxn>
              <a:cxn ang="0">
                <a:pos x="connsiteX68686" y="connsiteY68686"/>
              </a:cxn>
              <a:cxn ang="0">
                <a:pos x="connsiteX68687" y="connsiteY68687"/>
              </a:cxn>
              <a:cxn ang="0">
                <a:pos x="connsiteX68688" y="connsiteY68688"/>
              </a:cxn>
              <a:cxn ang="0">
                <a:pos x="connsiteX68689" y="connsiteY68689"/>
              </a:cxn>
              <a:cxn ang="0">
                <a:pos x="connsiteX68690" y="connsiteY68690"/>
              </a:cxn>
              <a:cxn ang="0">
                <a:pos x="connsiteX68691" y="connsiteY68691"/>
              </a:cxn>
              <a:cxn ang="0">
                <a:pos x="connsiteX68692" y="connsiteY68692"/>
              </a:cxn>
              <a:cxn ang="0">
                <a:pos x="connsiteX68693" y="connsiteY68693"/>
              </a:cxn>
              <a:cxn ang="0">
                <a:pos x="connsiteX68694" y="connsiteY68694"/>
              </a:cxn>
              <a:cxn ang="0">
                <a:pos x="connsiteX68695" y="connsiteY68695"/>
              </a:cxn>
              <a:cxn ang="0">
                <a:pos x="connsiteX68696" y="connsiteY68696"/>
              </a:cxn>
              <a:cxn ang="0">
                <a:pos x="connsiteX68697" y="connsiteY68697"/>
              </a:cxn>
              <a:cxn ang="0">
                <a:pos x="connsiteX68698" y="connsiteY68698"/>
              </a:cxn>
              <a:cxn ang="0">
                <a:pos x="connsiteX68699" y="connsiteY68699"/>
              </a:cxn>
              <a:cxn ang="0">
                <a:pos x="connsiteX68700" y="connsiteY68700"/>
              </a:cxn>
              <a:cxn ang="0">
                <a:pos x="connsiteX68701" y="connsiteY68701"/>
              </a:cxn>
              <a:cxn ang="0">
                <a:pos x="connsiteX68702" y="connsiteY68702"/>
              </a:cxn>
              <a:cxn ang="0">
                <a:pos x="connsiteX68703" y="connsiteY68703"/>
              </a:cxn>
              <a:cxn ang="0">
                <a:pos x="connsiteX68704" y="connsiteY68704"/>
              </a:cxn>
              <a:cxn ang="0">
                <a:pos x="connsiteX68705" y="connsiteY68705"/>
              </a:cxn>
              <a:cxn ang="0">
                <a:pos x="connsiteX68706" y="connsiteY68706"/>
              </a:cxn>
              <a:cxn ang="0">
                <a:pos x="connsiteX68707" y="connsiteY68707"/>
              </a:cxn>
              <a:cxn ang="0">
                <a:pos x="connsiteX68708" y="connsiteY68708"/>
              </a:cxn>
              <a:cxn ang="0">
                <a:pos x="connsiteX68709" y="connsiteY68709"/>
              </a:cxn>
              <a:cxn ang="0">
                <a:pos x="connsiteX68710" y="connsiteY68710"/>
              </a:cxn>
              <a:cxn ang="0">
                <a:pos x="connsiteX68711" y="connsiteY68711"/>
              </a:cxn>
              <a:cxn ang="0">
                <a:pos x="connsiteX68712" y="connsiteY68712"/>
              </a:cxn>
              <a:cxn ang="0">
                <a:pos x="connsiteX68713" y="connsiteY68713"/>
              </a:cxn>
              <a:cxn ang="0">
                <a:pos x="connsiteX68714" y="connsiteY68714"/>
              </a:cxn>
              <a:cxn ang="0">
                <a:pos x="connsiteX68715" y="connsiteY68715"/>
              </a:cxn>
              <a:cxn ang="0">
                <a:pos x="connsiteX68716" y="connsiteY68716"/>
              </a:cxn>
              <a:cxn ang="0">
                <a:pos x="connsiteX68717" y="connsiteY68717"/>
              </a:cxn>
              <a:cxn ang="0">
                <a:pos x="connsiteX68718" y="connsiteY68718"/>
              </a:cxn>
              <a:cxn ang="0">
                <a:pos x="connsiteX68719" y="connsiteY68719"/>
              </a:cxn>
              <a:cxn ang="0">
                <a:pos x="connsiteX68720" y="connsiteY68720"/>
              </a:cxn>
              <a:cxn ang="0">
                <a:pos x="connsiteX68721" y="connsiteY68721"/>
              </a:cxn>
              <a:cxn ang="0">
                <a:pos x="connsiteX68722" y="connsiteY68722"/>
              </a:cxn>
              <a:cxn ang="0">
                <a:pos x="connsiteX68723" y="connsiteY68723"/>
              </a:cxn>
              <a:cxn ang="0">
                <a:pos x="connsiteX68724" y="connsiteY68724"/>
              </a:cxn>
              <a:cxn ang="0">
                <a:pos x="connsiteX68725" y="connsiteY68725"/>
              </a:cxn>
              <a:cxn ang="0">
                <a:pos x="connsiteX68726" y="connsiteY68726"/>
              </a:cxn>
              <a:cxn ang="0">
                <a:pos x="connsiteX68727" y="connsiteY68727"/>
              </a:cxn>
              <a:cxn ang="0">
                <a:pos x="connsiteX68728" y="connsiteY68728"/>
              </a:cxn>
              <a:cxn ang="0">
                <a:pos x="connsiteX68729" y="connsiteY68729"/>
              </a:cxn>
              <a:cxn ang="0">
                <a:pos x="connsiteX68730" y="connsiteY68730"/>
              </a:cxn>
              <a:cxn ang="0">
                <a:pos x="connsiteX68731" y="connsiteY68731"/>
              </a:cxn>
              <a:cxn ang="0">
                <a:pos x="connsiteX68732" y="connsiteY68732"/>
              </a:cxn>
              <a:cxn ang="0">
                <a:pos x="connsiteX68733" y="connsiteY68733"/>
              </a:cxn>
              <a:cxn ang="0">
                <a:pos x="connsiteX68734" y="connsiteY68734"/>
              </a:cxn>
              <a:cxn ang="0">
                <a:pos x="connsiteX68735" y="connsiteY68735"/>
              </a:cxn>
              <a:cxn ang="0">
                <a:pos x="connsiteX68736" y="connsiteY68736"/>
              </a:cxn>
              <a:cxn ang="0">
                <a:pos x="connsiteX68737" y="connsiteY68737"/>
              </a:cxn>
              <a:cxn ang="0">
                <a:pos x="connsiteX68738" y="connsiteY68738"/>
              </a:cxn>
              <a:cxn ang="0">
                <a:pos x="connsiteX68739" y="connsiteY68739"/>
              </a:cxn>
              <a:cxn ang="0">
                <a:pos x="connsiteX68740" y="connsiteY68740"/>
              </a:cxn>
              <a:cxn ang="0">
                <a:pos x="connsiteX68741" y="connsiteY68741"/>
              </a:cxn>
              <a:cxn ang="0">
                <a:pos x="connsiteX68742" y="connsiteY68742"/>
              </a:cxn>
              <a:cxn ang="0">
                <a:pos x="connsiteX68743" y="connsiteY68743"/>
              </a:cxn>
              <a:cxn ang="0">
                <a:pos x="connsiteX68744" y="connsiteY68744"/>
              </a:cxn>
              <a:cxn ang="0">
                <a:pos x="connsiteX68745" y="connsiteY68745"/>
              </a:cxn>
              <a:cxn ang="0">
                <a:pos x="connsiteX68746" y="connsiteY68746"/>
              </a:cxn>
              <a:cxn ang="0">
                <a:pos x="connsiteX68747" y="connsiteY68747"/>
              </a:cxn>
              <a:cxn ang="0">
                <a:pos x="connsiteX68748" y="connsiteY68748"/>
              </a:cxn>
              <a:cxn ang="0">
                <a:pos x="connsiteX68749" y="connsiteY68749"/>
              </a:cxn>
              <a:cxn ang="0">
                <a:pos x="connsiteX68750" y="connsiteY68750"/>
              </a:cxn>
              <a:cxn ang="0">
                <a:pos x="connsiteX68751" y="connsiteY68751"/>
              </a:cxn>
              <a:cxn ang="0">
                <a:pos x="connsiteX68752" y="connsiteY68752"/>
              </a:cxn>
              <a:cxn ang="0">
                <a:pos x="connsiteX68753" y="connsiteY68753"/>
              </a:cxn>
              <a:cxn ang="0">
                <a:pos x="connsiteX68754" y="connsiteY68754"/>
              </a:cxn>
              <a:cxn ang="0">
                <a:pos x="connsiteX68755" y="connsiteY68755"/>
              </a:cxn>
              <a:cxn ang="0">
                <a:pos x="connsiteX68756" y="connsiteY68756"/>
              </a:cxn>
              <a:cxn ang="0">
                <a:pos x="connsiteX68757" y="connsiteY68757"/>
              </a:cxn>
              <a:cxn ang="0">
                <a:pos x="connsiteX68758" y="connsiteY68758"/>
              </a:cxn>
              <a:cxn ang="0">
                <a:pos x="connsiteX68759" y="connsiteY68759"/>
              </a:cxn>
              <a:cxn ang="0">
                <a:pos x="connsiteX68760" y="connsiteY68760"/>
              </a:cxn>
              <a:cxn ang="0">
                <a:pos x="connsiteX68761" y="connsiteY68761"/>
              </a:cxn>
              <a:cxn ang="0">
                <a:pos x="connsiteX68762" y="connsiteY68762"/>
              </a:cxn>
              <a:cxn ang="0">
                <a:pos x="connsiteX68763" y="connsiteY68763"/>
              </a:cxn>
              <a:cxn ang="0">
                <a:pos x="connsiteX68764" y="connsiteY68764"/>
              </a:cxn>
              <a:cxn ang="0">
                <a:pos x="connsiteX68765" y="connsiteY68765"/>
              </a:cxn>
              <a:cxn ang="0">
                <a:pos x="connsiteX68766" y="connsiteY68766"/>
              </a:cxn>
              <a:cxn ang="0">
                <a:pos x="connsiteX68767" y="connsiteY68767"/>
              </a:cxn>
              <a:cxn ang="0">
                <a:pos x="connsiteX68768" y="connsiteY68768"/>
              </a:cxn>
              <a:cxn ang="0">
                <a:pos x="connsiteX68769" y="connsiteY68769"/>
              </a:cxn>
              <a:cxn ang="0">
                <a:pos x="connsiteX68770" y="connsiteY68770"/>
              </a:cxn>
              <a:cxn ang="0">
                <a:pos x="connsiteX68771" y="connsiteY68771"/>
              </a:cxn>
              <a:cxn ang="0">
                <a:pos x="connsiteX68772" y="connsiteY68772"/>
              </a:cxn>
              <a:cxn ang="0">
                <a:pos x="connsiteX68773" y="connsiteY68773"/>
              </a:cxn>
              <a:cxn ang="0">
                <a:pos x="connsiteX68774" y="connsiteY68774"/>
              </a:cxn>
              <a:cxn ang="0">
                <a:pos x="connsiteX68775" y="connsiteY68775"/>
              </a:cxn>
              <a:cxn ang="0">
                <a:pos x="connsiteX68776" y="connsiteY68776"/>
              </a:cxn>
              <a:cxn ang="0">
                <a:pos x="connsiteX68777" y="connsiteY68777"/>
              </a:cxn>
              <a:cxn ang="0">
                <a:pos x="connsiteX68778" y="connsiteY68778"/>
              </a:cxn>
              <a:cxn ang="0">
                <a:pos x="connsiteX68779" y="connsiteY68779"/>
              </a:cxn>
              <a:cxn ang="0">
                <a:pos x="connsiteX68780" y="connsiteY68780"/>
              </a:cxn>
              <a:cxn ang="0">
                <a:pos x="connsiteX68781" y="connsiteY68781"/>
              </a:cxn>
              <a:cxn ang="0">
                <a:pos x="connsiteX68782" y="connsiteY68782"/>
              </a:cxn>
              <a:cxn ang="0">
                <a:pos x="connsiteX68783" y="connsiteY68783"/>
              </a:cxn>
              <a:cxn ang="0">
                <a:pos x="connsiteX68784" y="connsiteY68784"/>
              </a:cxn>
              <a:cxn ang="0">
                <a:pos x="connsiteX68785" y="connsiteY68785"/>
              </a:cxn>
              <a:cxn ang="0">
                <a:pos x="connsiteX68786" y="connsiteY68786"/>
              </a:cxn>
              <a:cxn ang="0">
                <a:pos x="connsiteX68787" y="connsiteY68787"/>
              </a:cxn>
              <a:cxn ang="0">
                <a:pos x="connsiteX68788" y="connsiteY68788"/>
              </a:cxn>
              <a:cxn ang="0">
                <a:pos x="connsiteX68789" y="connsiteY68789"/>
              </a:cxn>
              <a:cxn ang="0">
                <a:pos x="connsiteX68790" y="connsiteY68790"/>
              </a:cxn>
              <a:cxn ang="0">
                <a:pos x="connsiteX68791" y="connsiteY68791"/>
              </a:cxn>
              <a:cxn ang="0">
                <a:pos x="connsiteX68792" y="connsiteY68792"/>
              </a:cxn>
              <a:cxn ang="0">
                <a:pos x="connsiteX68793" y="connsiteY68793"/>
              </a:cxn>
              <a:cxn ang="0">
                <a:pos x="connsiteX68794" y="connsiteY68794"/>
              </a:cxn>
              <a:cxn ang="0">
                <a:pos x="connsiteX68795" y="connsiteY68795"/>
              </a:cxn>
              <a:cxn ang="0">
                <a:pos x="connsiteX68796" y="connsiteY68796"/>
              </a:cxn>
              <a:cxn ang="0">
                <a:pos x="connsiteX68797" y="connsiteY68797"/>
              </a:cxn>
              <a:cxn ang="0">
                <a:pos x="connsiteX68798" y="connsiteY68798"/>
              </a:cxn>
              <a:cxn ang="0">
                <a:pos x="connsiteX68799" y="connsiteY68799"/>
              </a:cxn>
              <a:cxn ang="0">
                <a:pos x="connsiteX68800" y="connsiteY68800"/>
              </a:cxn>
              <a:cxn ang="0">
                <a:pos x="connsiteX68801" y="connsiteY68801"/>
              </a:cxn>
              <a:cxn ang="0">
                <a:pos x="connsiteX68802" y="connsiteY68802"/>
              </a:cxn>
              <a:cxn ang="0">
                <a:pos x="connsiteX68803" y="connsiteY68803"/>
              </a:cxn>
              <a:cxn ang="0">
                <a:pos x="connsiteX68804" y="connsiteY68804"/>
              </a:cxn>
              <a:cxn ang="0">
                <a:pos x="connsiteX68805" y="connsiteY68805"/>
              </a:cxn>
              <a:cxn ang="0">
                <a:pos x="connsiteX68806" y="connsiteY68806"/>
              </a:cxn>
              <a:cxn ang="0">
                <a:pos x="connsiteX68807" y="connsiteY68807"/>
              </a:cxn>
              <a:cxn ang="0">
                <a:pos x="connsiteX68808" y="connsiteY68808"/>
              </a:cxn>
              <a:cxn ang="0">
                <a:pos x="connsiteX68809" y="connsiteY68809"/>
              </a:cxn>
              <a:cxn ang="0">
                <a:pos x="connsiteX68810" y="connsiteY68810"/>
              </a:cxn>
              <a:cxn ang="0">
                <a:pos x="connsiteX68811" y="connsiteY68811"/>
              </a:cxn>
              <a:cxn ang="0">
                <a:pos x="connsiteX68812" y="connsiteY68812"/>
              </a:cxn>
              <a:cxn ang="0">
                <a:pos x="connsiteX68813" y="connsiteY68813"/>
              </a:cxn>
              <a:cxn ang="0">
                <a:pos x="connsiteX68814" y="connsiteY68814"/>
              </a:cxn>
              <a:cxn ang="0">
                <a:pos x="connsiteX68815" y="connsiteY68815"/>
              </a:cxn>
              <a:cxn ang="0">
                <a:pos x="connsiteX68816" y="connsiteY68816"/>
              </a:cxn>
              <a:cxn ang="0">
                <a:pos x="connsiteX68817" y="connsiteY68817"/>
              </a:cxn>
              <a:cxn ang="0">
                <a:pos x="connsiteX68818" y="connsiteY68818"/>
              </a:cxn>
              <a:cxn ang="0">
                <a:pos x="connsiteX68819" y="connsiteY68819"/>
              </a:cxn>
              <a:cxn ang="0">
                <a:pos x="connsiteX68820" y="connsiteY68820"/>
              </a:cxn>
              <a:cxn ang="0">
                <a:pos x="connsiteX68821" y="connsiteY68821"/>
              </a:cxn>
              <a:cxn ang="0">
                <a:pos x="connsiteX68822" y="connsiteY68822"/>
              </a:cxn>
              <a:cxn ang="0">
                <a:pos x="connsiteX68823" y="connsiteY68823"/>
              </a:cxn>
              <a:cxn ang="0">
                <a:pos x="connsiteX68824" y="connsiteY68824"/>
              </a:cxn>
              <a:cxn ang="0">
                <a:pos x="connsiteX68825" y="connsiteY68825"/>
              </a:cxn>
              <a:cxn ang="0">
                <a:pos x="connsiteX68826" y="connsiteY68826"/>
              </a:cxn>
              <a:cxn ang="0">
                <a:pos x="connsiteX68827" y="connsiteY68827"/>
              </a:cxn>
              <a:cxn ang="0">
                <a:pos x="connsiteX68828" y="connsiteY68828"/>
              </a:cxn>
              <a:cxn ang="0">
                <a:pos x="connsiteX68829" y="connsiteY68829"/>
              </a:cxn>
              <a:cxn ang="0">
                <a:pos x="connsiteX68830" y="connsiteY68830"/>
              </a:cxn>
              <a:cxn ang="0">
                <a:pos x="connsiteX68831" y="connsiteY68831"/>
              </a:cxn>
              <a:cxn ang="0">
                <a:pos x="connsiteX68832" y="connsiteY68832"/>
              </a:cxn>
              <a:cxn ang="0">
                <a:pos x="connsiteX68833" y="connsiteY68833"/>
              </a:cxn>
              <a:cxn ang="0">
                <a:pos x="connsiteX68834" y="connsiteY68834"/>
              </a:cxn>
              <a:cxn ang="0">
                <a:pos x="connsiteX68835" y="connsiteY68835"/>
              </a:cxn>
              <a:cxn ang="0">
                <a:pos x="connsiteX68836" y="connsiteY68836"/>
              </a:cxn>
              <a:cxn ang="0">
                <a:pos x="connsiteX68837" y="connsiteY68837"/>
              </a:cxn>
              <a:cxn ang="0">
                <a:pos x="connsiteX68838" y="connsiteY68838"/>
              </a:cxn>
              <a:cxn ang="0">
                <a:pos x="connsiteX68839" y="connsiteY68839"/>
              </a:cxn>
              <a:cxn ang="0">
                <a:pos x="connsiteX68840" y="connsiteY68840"/>
              </a:cxn>
              <a:cxn ang="0">
                <a:pos x="connsiteX68841" y="connsiteY68841"/>
              </a:cxn>
              <a:cxn ang="0">
                <a:pos x="connsiteX68842" y="connsiteY68842"/>
              </a:cxn>
              <a:cxn ang="0">
                <a:pos x="connsiteX68843" y="connsiteY68843"/>
              </a:cxn>
              <a:cxn ang="0">
                <a:pos x="connsiteX68844" y="connsiteY68844"/>
              </a:cxn>
              <a:cxn ang="0">
                <a:pos x="connsiteX68845" y="connsiteY68845"/>
              </a:cxn>
              <a:cxn ang="0">
                <a:pos x="connsiteX68846" y="connsiteY68846"/>
              </a:cxn>
              <a:cxn ang="0">
                <a:pos x="connsiteX68847" y="connsiteY68847"/>
              </a:cxn>
              <a:cxn ang="0">
                <a:pos x="connsiteX68848" y="connsiteY68848"/>
              </a:cxn>
              <a:cxn ang="0">
                <a:pos x="connsiteX68849" y="connsiteY68849"/>
              </a:cxn>
              <a:cxn ang="0">
                <a:pos x="connsiteX68850" y="connsiteY68850"/>
              </a:cxn>
              <a:cxn ang="0">
                <a:pos x="connsiteX68851" y="connsiteY68851"/>
              </a:cxn>
              <a:cxn ang="0">
                <a:pos x="connsiteX68852" y="connsiteY68852"/>
              </a:cxn>
              <a:cxn ang="0">
                <a:pos x="connsiteX68853" y="connsiteY68853"/>
              </a:cxn>
              <a:cxn ang="0">
                <a:pos x="connsiteX68854" y="connsiteY68854"/>
              </a:cxn>
              <a:cxn ang="0">
                <a:pos x="connsiteX68855" y="connsiteY68855"/>
              </a:cxn>
              <a:cxn ang="0">
                <a:pos x="connsiteX68856" y="connsiteY68856"/>
              </a:cxn>
              <a:cxn ang="0">
                <a:pos x="connsiteX68857" y="connsiteY68857"/>
              </a:cxn>
              <a:cxn ang="0">
                <a:pos x="connsiteX68858" y="connsiteY68858"/>
              </a:cxn>
              <a:cxn ang="0">
                <a:pos x="connsiteX68859" y="connsiteY68859"/>
              </a:cxn>
              <a:cxn ang="0">
                <a:pos x="connsiteX68860" y="connsiteY68860"/>
              </a:cxn>
              <a:cxn ang="0">
                <a:pos x="connsiteX68861" y="connsiteY68861"/>
              </a:cxn>
              <a:cxn ang="0">
                <a:pos x="connsiteX68862" y="connsiteY68862"/>
              </a:cxn>
              <a:cxn ang="0">
                <a:pos x="connsiteX68863" y="connsiteY68863"/>
              </a:cxn>
              <a:cxn ang="0">
                <a:pos x="connsiteX68864" y="connsiteY68864"/>
              </a:cxn>
              <a:cxn ang="0">
                <a:pos x="connsiteX68865" y="connsiteY68865"/>
              </a:cxn>
              <a:cxn ang="0">
                <a:pos x="connsiteX68866" y="connsiteY68866"/>
              </a:cxn>
              <a:cxn ang="0">
                <a:pos x="connsiteX68867" y="connsiteY68867"/>
              </a:cxn>
              <a:cxn ang="0">
                <a:pos x="connsiteX68868" y="connsiteY68868"/>
              </a:cxn>
              <a:cxn ang="0">
                <a:pos x="connsiteX68869" y="connsiteY68869"/>
              </a:cxn>
              <a:cxn ang="0">
                <a:pos x="connsiteX68870" y="connsiteY68870"/>
              </a:cxn>
              <a:cxn ang="0">
                <a:pos x="connsiteX68871" y="connsiteY68871"/>
              </a:cxn>
              <a:cxn ang="0">
                <a:pos x="connsiteX68872" y="connsiteY68872"/>
              </a:cxn>
              <a:cxn ang="0">
                <a:pos x="connsiteX68873" y="connsiteY68873"/>
              </a:cxn>
              <a:cxn ang="0">
                <a:pos x="connsiteX68874" y="connsiteY68874"/>
              </a:cxn>
              <a:cxn ang="0">
                <a:pos x="connsiteX68875" y="connsiteY68875"/>
              </a:cxn>
              <a:cxn ang="0">
                <a:pos x="connsiteX68876" y="connsiteY68876"/>
              </a:cxn>
              <a:cxn ang="0">
                <a:pos x="connsiteX68877" y="connsiteY68877"/>
              </a:cxn>
              <a:cxn ang="0">
                <a:pos x="connsiteX68878" y="connsiteY68878"/>
              </a:cxn>
              <a:cxn ang="0">
                <a:pos x="connsiteX68879" y="connsiteY68879"/>
              </a:cxn>
              <a:cxn ang="0">
                <a:pos x="connsiteX68880" y="connsiteY68880"/>
              </a:cxn>
              <a:cxn ang="0">
                <a:pos x="connsiteX68881" y="connsiteY68881"/>
              </a:cxn>
              <a:cxn ang="0">
                <a:pos x="connsiteX68882" y="connsiteY68882"/>
              </a:cxn>
              <a:cxn ang="0">
                <a:pos x="connsiteX68883" y="connsiteY68883"/>
              </a:cxn>
              <a:cxn ang="0">
                <a:pos x="connsiteX68884" y="connsiteY68884"/>
              </a:cxn>
              <a:cxn ang="0">
                <a:pos x="connsiteX68885" y="connsiteY68885"/>
              </a:cxn>
              <a:cxn ang="0">
                <a:pos x="connsiteX68886" y="connsiteY68886"/>
              </a:cxn>
              <a:cxn ang="0">
                <a:pos x="connsiteX68887" y="connsiteY68887"/>
              </a:cxn>
              <a:cxn ang="0">
                <a:pos x="connsiteX68888" y="connsiteY68888"/>
              </a:cxn>
              <a:cxn ang="0">
                <a:pos x="connsiteX68889" y="connsiteY68889"/>
              </a:cxn>
              <a:cxn ang="0">
                <a:pos x="connsiteX68890" y="connsiteY68890"/>
              </a:cxn>
              <a:cxn ang="0">
                <a:pos x="connsiteX68891" y="connsiteY68891"/>
              </a:cxn>
              <a:cxn ang="0">
                <a:pos x="connsiteX68892" y="connsiteY68892"/>
              </a:cxn>
              <a:cxn ang="0">
                <a:pos x="connsiteX68893" y="connsiteY68893"/>
              </a:cxn>
              <a:cxn ang="0">
                <a:pos x="connsiteX68894" y="connsiteY68894"/>
              </a:cxn>
              <a:cxn ang="0">
                <a:pos x="connsiteX68895" y="connsiteY68895"/>
              </a:cxn>
              <a:cxn ang="0">
                <a:pos x="connsiteX68896" y="connsiteY68896"/>
              </a:cxn>
              <a:cxn ang="0">
                <a:pos x="connsiteX68897" y="connsiteY68897"/>
              </a:cxn>
              <a:cxn ang="0">
                <a:pos x="connsiteX68898" y="connsiteY68898"/>
              </a:cxn>
              <a:cxn ang="0">
                <a:pos x="connsiteX68899" y="connsiteY68899"/>
              </a:cxn>
              <a:cxn ang="0">
                <a:pos x="connsiteX68900" y="connsiteY68900"/>
              </a:cxn>
              <a:cxn ang="0">
                <a:pos x="connsiteX68901" y="connsiteY68901"/>
              </a:cxn>
              <a:cxn ang="0">
                <a:pos x="connsiteX68902" y="connsiteY68902"/>
              </a:cxn>
              <a:cxn ang="0">
                <a:pos x="connsiteX68903" y="connsiteY68903"/>
              </a:cxn>
              <a:cxn ang="0">
                <a:pos x="connsiteX68904" y="connsiteY68904"/>
              </a:cxn>
              <a:cxn ang="0">
                <a:pos x="connsiteX68905" y="connsiteY68905"/>
              </a:cxn>
              <a:cxn ang="0">
                <a:pos x="connsiteX68906" y="connsiteY68906"/>
              </a:cxn>
              <a:cxn ang="0">
                <a:pos x="connsiteX68907" y="connsiteY68907"/>
              </a:cxn>
              <a:cxn ang="0">
                <a:pos x="connsiteX68908" y="connsiteY68908"/>
              </a:cxn>
              <a:cxn ang="0">
                <a:pos x="connsiteX68909" y="connsiteY68909"/>
              </a:cxn>
              <a:cxn ang="0">
                <a:pos x="connsiteX68910" y="connsiteY68910"/>
              </a:cxn>
              <a:cxn ang="0">
                <a:pos x="connsiteX68911" y="connsiteY68911"/>
              </a:cxn>
              <a:cxn ang="0">
                <a:pos x="connsiteX68912" y="connsiteY68912"/>
              </a:cxn>
              <a:cxn ang="0">
                <a:pos x="connsiteX68913" y="connsiteY68913"/>
              </a:cxn>
              <a:cxn ang="0">
                <a:pos x="connsiteX68914" y="connsiteY68914"/>
              </a:cxn>
              <a:cxn ang="0">
                <a:pos x="connsiteX68915" y="connsiteY68915"/>
              </a:cxn>
              <a:cxn ang="0">
                <a:pos x="connsiteX68916" y="connsiteY68916"/>
              </a:cxn>
              <a:cxn ang="0">
                <a:pos x="connsiteX68917" y="connsiteY68917"/>
              </a:cxn>
              <a:cxn ang="0">
                <a:pos x="connsiteX68918" y="connsiteY68918"/>
              </a:cxn>
              <a:cxn ang="0">
                <a:pos x="connsiteX68919" y="connsiteY68919"/>
              </a:cxn>
              <a:cxn ang="0">
                <a:pos x="connsiteX68920" y="connsiteY68920"/>
              </a:cxn>
              <a:cxn ang="0">
                <a:pos x="connsiteX68921" y="connsiteY68921"/>
              </a:cxn>
              <a:cxn ang="0">
                <a:pos x="connsiteX68922" y="connsiteY68922"/>
              </a:cxn>
              <a:cxn ang="0">
                <a:pos x="connsiteX68923" y="connsiteY68923"/>
              </a:cxn>
              <a:cxn ang="0">
                <a:pos x="connsiteX68924" y="connsiteY68924"/>
              </a:cxn>
              <a:cxn ang="0">
                <a:pos x="connsiteX68925" y="connsiteY68925"/>
              </a:cxn>
              <a:cxn ang="0">
                <a:pos x="connsiteX68926" y="connsiteY68926"/>
              </a:cxn>
              <a:cxn ang="0">
                <a:pos x="connsiteX68927" y="connsiteY68927"/>
              </a:cxn>
              <a:cxn ang="0">
                <a:pos x="connsiteX68928" y="connsiteY68928"/>
              </a:cxn>
              <a:cxn ang="0">
                <a:pos x="connsiteX68929" y="connsiteY68929"/>
              </a:cxn>
              <a:cxn ang="0">
                <a:pos x="connsiteX68930" y="connsiteY68930"/>
              </a:cxn>
              <a:cxn ang="0">
                <a:pos x="connsiteX68931" y="connsiteY68931"/>
              </a:cxn>
              <a:cxn ang="0">
                <a:pos x="connsiteX68932" y="connsiteY68932"/>
              </a:cxn>
              <a:cxn ang="0">
                <a:pos x="connsiteX68933" y="connsiteY68933"/>
              </a:cxn>
              <a:cxn ang="0">
                <a:pos x="connsiteX68934" y="connsiteY68934"/>
              </a:cxn>
              <a:cxn ang="0">
                <a:pos x="connsiteX68935" y="connsiteY68935"/>
              </a:cxn>
              <a:cxn ang="0">
                <a:pos x="connsiteX68936" y="connsiteY68936"/>
              </a:cxn>
              <a:cxn ang="0">
                <a:pos x="connsiteX68937" y="connsiteY68937"/>
              </a:cxn>
              <a:cxn ang="0">
                <a:pos x="connsiteX68938" y="connsiteY68938"/>
              </a:cxn>
              <a:cxn ang="0">
                <a:pos x="connsiteX68939" y="connsiteY68939"/>
              </a:cxn>
              <a:cxn ang="0">
                <a:pos x="connsiteX68940" y="connsiteY68940"/>
              </a:cxn>
              <a:cxn ang="0">
                <a:pos x="connsiteX68941" y="connsiteY68941"/>
              </a:cxn>
              <a:cxn ang="0">
                <a:pos x="connsiteX68942" y="connsiteY68942"/>
              </a:cxn>
              <a:cxn ang="0">
                <a:pos x="connsiteX68943" y="connsiteY68943"/>
              </a:cxn>
              <a:cxn ang="0">
                <a:pos x="connsiteX68944" y="connsiteY68944"/>
              </a:cxn>
              <a:cxn ang="0">
                <a:pos x="connsiteX68945" y="connsiteY68945"/>
              </a:cxn>
              <a:cxn ang="0">
                <a:pos x="connsiteX68946" y="connsiteY68946"/>
              </a:cxn>
              <a:cxn ang="0">
                <a:pos x="connsiteX68947" y="connsiteY68947"/>
              </a:cxn>
              <a:cxn ang="0">
                <a:pos x="connsiteX68948" y="connsiteY68948"/>
              </a:cxn>
              <a:cxn ang="0">
                <a:pos x="connsiteX68949" y="connsiteY68949"/>
              </a:cxn>
              <a:cxn ang="0">
                <a:pos x="connsiteX68950" y="connsiteY68950"/>
              </a:cxn>
              <a:cxn ang="0">
                <a:pos x="connsiteX68951" y="connsiteY68951"/>
              </a:cxn>
              <a:cxn ang="0">
                <a:pos x="connsiteX68952" y="connsiteY68952"/>
              </a:cxn>
              <a:cxn ang="0">
                <a:pos x="connsiteX68953" y="connsiteY68953"/>
              </a:cxn>
              <a:cxn ang="0">
                <a:pos x="connsiteX68954" y="connsiteY68954"/>
              </a:cxn>
              <a:cxn ang="0">
                <a:pos x="connsiteX68955" y="connsiteY68955"/>
              </a:cxn>
              <a:cxn ang="0">
                <a:pos x="connsiteX68956" y="connsiteY68956"/>
              </a:cxn>
              <a:cxn ang="0">
                <a:pos x="connsiteX68957" y="connsiteY68957"/>
              </a:cxn>
              <a:cxn ang="0">
                <a:pos x="connsiteX68958" y="connsiteY68958"/>
              </a:cxn>
              <a:cxn ang="0">
                <a:pos x="connsiteX68959" y="connsiteY68959"/>
              </a:cxn>
              <a:cxn ang="0">
                <a:pos x="connsiteX68960" y="connsiteY68960"/>
              </a:cxn>
              <a:cxn ang="0">
                <a:pos x="connsiteX68961" y="connsiteY68961"/>
              </a:cxn>
              <a:cxn ang="0">
                <a:pos x="connsiteX68962" y="connsiteY68962"/>
              </a:cxn>
              <a:cxn ang="0">
                <a:pos x="connsiteX68963" y="connsiteY68963"/>
              </a:cxn>
              <a:cxn ang="0">
                <a:pos x="connsiteX68964" y="connsiteY68964"/>
              </a:cxn>
              <a:cxn ang="0">
                <a:pos x="connsiteX68965" y="connsiteY68965"/>
              </a:cxn>
              <a:cxn ang="0">
                <a:pos x="connsiteX68966" y="connsiteY68966"/>
              </a:cxn>
              <a:cxn ang="0">
                <a:pos x="connsiteX68967" y="connsiteY68967"/>
              </a:cxn>
              <a:cxn ang="0">
                <a:pos x="connsiteX68968" y="connsiteY68968"/>
              </a:cxn>
              <a:cxn ang="0">
                <a:pos x="connsiteX68969" y="connsiteY68969"/>
              </a:cxn>
              <a:cxn ang="0">
                <a:pos x="connsiteX68970" y="connsiteY68970"/>
              </a:cxn>
              <a:cxn ang="0">
                <a:pos x="connsiteX68971" y="connsiteY68971"/>
              </a:cxn>
              <a:cxn ang="0">
                <a:pos x="connsiteX68972" y="connsiteY68972"/>
              </a:cxn>
              <a:cxn ang="0">
                <a:pos x="connsiteX68973" y="connsiteY68973"/>
              </a:cxn>
              <a:cxn ang="0">
                <a:pos x="connsiteX68974" y="connsiteY68974"/>
              </a:cxn>
              <a:cxn ang="0">
                <a:pos x="connsiteX68975" y="connsiteY68975"/>
              </a:cxn>
              <a:cxn ang="0">
                <a:pos x="connsiteX68976" y="connsiteY68976"/>
              </a:cxn>
              <a:cxn ang="0">
                <a:pos x="connsiteX68977" y="connsiteY68977"/>
              </a:cxn>
              <a:cxn ang="0">
                <a:pos x="connsiteX68978" y="connsiteY68978"/>
              </a:cxn>
              <a:cxn ang="0">
                <a:pos x="connsiteX68979" y="connsiteY68979"/>
              </a:cxn>
              <a:cxn ang="0">
                <a:pos x="connsiteX68980" y="connsiteY68980"/>
              </a:cxn>
              <a:cxn ang="0">
                <a:pos x="connsiteX68981" y="connsiteY68981"/>
              </a:cxn>
              <a:cxn ang="0">
                <a:pos x="connsiteX68982" y="connsiteY68982"/>
              </a:cxn>
              <a:cxn ang="0">
                <a:pos x="connsiteX68983" y="connsiteY68983"/>
              </a:cxn>
              <a:cxn ang="0">
                <a:pos x="connsiteX68984" y="connsiteY68984"/>
              </a:cxn>
              <a:cxn ang="0">
                <a:pos x="connsiteX68985" y="connsiteY68985"/>
              </a:cxn>
              <a:cxn ang="0">
                <a:pos x="connsiteX68986" y="connsiteY68986"/>
              </a:cxn>
              <a:cxn ang="0">
                <a:pos x="connsiteX68987" y="connsiteY68987"/>
              </a:cxn>
              <a:cxn ang="0">
                <a:pos x="connsiteX68988" y="connsiteY68988"/>
              </a:cxn>
              <a:cxn ang="0">
                <a:pos x="connsiteX68989" y="connsiteY68989"/>
              </a:cxn>
              <a:cxn ang="0">
                <a:pos x="connsiteX68990" y="connsiteY68990"/>
              </a:cxn>
              <a:cxn ang="0">
                <a:pos x="connsiteX68991" y="connsiteY68991"/>
              </a:cxn>
              <a:cxn ang="0">
                <a:pos x="connsiteX68992" y="connsiteY68992"/>
              </a:cxn>
              <a:cxn ang="0">
                <a:pos x="connsiteX68993" y="connsiteY68993"/>
              </a:cxn>
              <a:cxn ang="0">
                <a:pos x="connsiteX68994" y="connsiteY68994"/>
              </a:cxn>
              <a:cxn ang="0">
                <a:pos x="connsiteX68995" y="connsiteY68995"/>
              </a:cxn>
              <a:cxn ang="0">
                <a:pos x="connsiteX68996" y="connsiteY68996"/>
              </a:cxn>
              <a:cxn ang="0">
                <a:pos x="connsiteX68997" y="connsiteY68997"/>
              </a:cxn>
              <a:cxn ang="0">
                <a:pos x="connsiteX68998" y="connsiteY68998"/>
              </a:cxn>
              <a:cxn ang="0">
                <a:pos x="connsiteX68999" y="connsiteY68999"/>
              </a:cxn>
              <a:cxn ang="0">
                <a:pos x="connsiteX69000" y="connsiteY69000"/>
              </a:cxn>
              <a:cxn ang="0">
                <a:pos x="connsiteX69001" y="connsiteY69001"/>
              </a:cxn>
              <a:cxn ang="0">
                <a:pos x="connsiteX69002" y="connsiteY69002"/>
              </a:cxn>
              <a:cxn ang="0">
                <a:pos x="connsiteX69003" y="connsiteY69003"/>
              </a:cxn>
              <a:cxn ang="0">
                <a:pos x="connsiteX69004" y="connsiteY69004"/>
              </a:cxn>
              <a:cxn ang="0">
                <a:pos x="connsiteX69005" y="connsiteY69005"/>
              </a:cxn>
              <a:cxn ang="0">
                <a:pos x="connsiteX69006" y="connsiteY69006"/>
              </a:cxn>
              <a:cxn ang="0">
                <a:pos x="connsiteX69007" y="connsiteY69007"/>
              </a:cxn>
              <a:cxn ang="0">
                <a:pos x="connsiteX69008" y="connsiteY69008"/>
              </a:cxn>
              <a:cxn ang="0">
                <a:pos x="connsiteX69009" y="connsiteY69009"/>
              </a:cxn>
              <a:cxn ang="0">
                <a:pos x="connsiteX69010" y="connsiteY69010"/>
              </a:cxn>
              <a:cxn ang="0">
                <a:pos x="connsiteX69011" y="connsiteY69011"/>
              </a:cxn>
              <a:cxn ang="0">
                <a:pos x="connsiteX69012" y="connsiteY69012"/>
              </a:cxn>
              <a:cxn ang="0">
                <a:pos x="connsiteX69013" y="connsiteY69013"/>
              </a:cxn>
              <a:cxn ang="0">
                <a:pos x="connsiteX69014" y="connsiteY69014"/>
              </a:cxn>
              <a:cxn ang="0">
                <a:pos x="connsiteX69015" y="connsiteY69015"/>
              </a:cxn>
              <a:cxn ang="0">
                <a:pos x="connsiteX69016" y="connsiteY69016"/>
              </a:cxn>
              <a:cxn ang="0">
                <a:pos x="connsiteX69017" y="connsiteY69017"/>
              </a:cxn>
              <a:cxn ang="0">
                <a:pos x="connsiteX69018" y="connsiteY69018"/>
              </a:cxn>
              <a:cxn ang="0">
                <a:pos x="connsiteX69019" y="connsiteY69019"/>
              </a:cxn>
              <a:cxn ang="0">
                <a:pos x="connsiteX69020" y="connsiteY69020"/>
              </a:cxn>
              <a:cxn ang="0">
                <a:pos x="connsiteX69021" y="connsiteY69021"/>
              </a:cxn>
              <a:cxn ang="0">
                <a:pos x="connsiteX69022" y="connsiteY69022"/>
              </a:cxn>
              <a:cxn ang="0">
                <a:pos x="connsiteX69023" y="connsiteY69023"/>
              </a:cxn>
              <a:cxn ang="0">
                <a:pos x="connsiteX69024" y="connsiteY69024"/>
              </a:cxn>
              <a:cxn ang="0">
                <a:pos x="connsiteX69025" y="connsiteY69025"/>
              </a:cxn>
              <a:cxn ang="0">
                <a:pos x="connsiteX69026" y="connsiteY69026"/>
              </a:cxn>
              <a:cxn ang="0">
                <a:pos x="connsiteX69027" y="connsiteY69027"/>
              </a:cxn>
              <a:cxn ang="0">
                <a:pos x="connsiteX69028" y="connsiteY69028"/>
              </a:cxn>
              <a:cxn ang="0">
                <a:pos x="connsiteX69029" y="connsiteY69029"/>
              </a:cxn>
              <a:cxn ang="0">
                <a:pos x="connsiteX69030" y="connsiteY69030"/>
              </a:cxn>
              <a:cxn ang="0">
                <a:pos x="connsiteX69031" y="connsiteY69031"/>
              </a:cxn>
              <a:cxn ang="0">
                <a:pos x="connsiteX69032" y="connsiteY69032"/>
              </a:cxn>
              <a:cxn ang="0">
                <a:pos x="connsiteX69033" y="connsiteY69033"/>
              </a:cxn>
              <a:cxn ang="0">
                <a:pos x="connsiteX69034" y="connsiteY69034"/>
              </a:cxn>
              <a:cxn ang="0">
                <a:pos x="connsiteX69035" y="connsiteY69035"/>
              </a:cxn>
              <a:cxn ang="0">
                <a:pos x="connsiteX69036" y="connsiteY69036"/>
              </a:cxn>
              <a:cxn ang="0">
                <a:pos x="connsiteX69037" y="connsiteY69037"/>
              </a:cxn>
              <a:cxn ang="0">
                <a:pos x="connsiteX69038" y="connsiteY69038"/>
              </a:cxn>
              <a:cxn ang="0">
                <a:pos x="connsiteX69039" y="connsiteY69039"/>
              </a:cxn>
              <a:cxn ang="0">
                <a:pos x="connsiteX69040" y="connsiteY69040"/>
              </a:cxn>
              <a:cxn ang="0">
                <a:pos x="connsiteX69041" y="connsiteY69041"/>
              </a:cxn>
              <a:cxn ang="0">
                <a:pos x="connsiteX69042" y="connsiteY69042"/>
              </a:cxn>
              <a:cxn ang="0">
                <a:pos x="connsiteX69043" y="connsiteY69043"/>
              </a:cxn>
              <a:cxn ang="0">
                <a:pos x="connsiteX69044" y="connsiteY69044"/>
              </a:cxn>
              <a:cxn ang="0">
                <a:pos x="connsiteX69045" y="connsiteY69045"/>
              </a:cxn>
              <a:cxn ang="0">
                <a:pos x="connsiteX69046" y="connsiteY69046"/>
              </a:cxn>
              <a:cxn ang="0">
                <a:pos x="connsiteX69047" y="connsiteY69047"/>
              </a:cxn>
              <a:cxn ang="0">
                <a:pos x="connsiteX69048" y="connsiteY69048"/>
              </a:cxn>
              <a:cxn ang="0">
                <a:pos x="connsiteX69049" y="connsiteY69049"/>
              </a:cxn>
              <a:cxn ang="0">
                <a:pos x="connsiteX69050" y="connsiteY69050"/>
              </a:cxn>
              <a:cxn ang="0">
                <a:pos x="connsiteX69051" y="connsiteY69051"/>
              </a:cxn>
              <a:cxn ang="0">
                <a:pos x="connsiteX69052" y="connsiteY69052"/>
              </a:cxn>
              <a:cxn ang="0">
                <a:pos x="connsiteX69053" y="connsiteY69053"/>
              </a:cxn>
              <a:cxn ang="0">
                <a:pos x="connsiteX69054" y="connsiteY69054"/>
              </a:cxn>
              <a:cxn ang="0">
                <a:pos x="connsiteX69055" y="connsiteY69055"/>
              </a:cxn>
              <a:cxn ang="0">
                <a:pos x="connsiteX69056" y="connsiteY69056"/>
              </a:cxn>
              <a:cxn ang="0">
                <a:pos x="connsiteX69057" y="connsiteY69057"/>
              </a:cxn>
              <a:cxn ang="0">
                <a:pos x="connsiteX69058" y="connsiteY69058"/>
              </a:cxn>
              <a:cxn ang="0">
                <a:pos x="connsiteX69059" y="connsiteY69059"/>
              </a:cxn>
              <a:cxn ang="0">
                <a:pos x="connsiteX69060" y="connsiteY69060"/>
              </a:cxn>
              <a:cxn ang="0">
                <a:pos x="connsiteX69061" y="connsiteY69061"/>
              </a:cxn>
              <a:cxn ang="0">
                <a:pos x="connsiteX69062" y="connsiteY69062"/>
              </a:cxn>
              <a:cxn ang="0">
                <a:pos x="connsiteX69063" y="connsiteY69063"/>
              </a:cxn>
              <a:cxn ang="0">
                <a:pos x="connsiteX69064" y="connsiteY69064"/>
              </a:cxn>
              <a:cxn ang="0">
                <a:pos x="connsiteX69065" y="connsiteY69065"/>
              </a:cxn>
              <a:cxn ang="0">
                <a:pos x="connsiteX69066" y="connsiteY69066"/>
              </a:cxn>
              <a:cxn ang="0">
                <a:pos x="connsiteX69067" y="connsiteY69067"/>
              </a:cxn>
              <a:cxn ang="0">
                <a:pos x="connsiteX69068" y="connsiteY69068"/>
              </a:cxn>
              <a:cxn ang="0">
                <a:pos x="connsiteX69069" y="connsiteY69069"/>
              </a:cxn>
              <a:cxn ang="0">
                <a:pos x="connsiteX69070" y="connsiteY69070"/>
              </a:cxn>
              <a:cxn ang="0">
                <a:pos x="connsiteX69071" y="connsiteY69071"/>
              </a:cxn>
              <a:cxn ang="0">
                <a:pos x="connsiteX69072" y="connsiteY69072"/>
              </a:cxn>
              <a:cxn ang="0">
                <a:pos x="connsiteX69073" y="connsiteY69073"/>
              </a:cxn>
              <a:cxn ang="0">
                <a:pos x="connsiteX69074" y="connsiteY69074"/>
              </a:cxn>
              <a:cxn ang="0">
                <a:pos x="connsiteX69075" y="connsiteY69075"/>
              </a:cxn>
              <a:cxn ang="0">
                <a:pos x="connsiteX69076" y="connsiteY69076"/>
              </a:cxn>
              <a:cxn ang="0">
                <a:pos x="connsiteX69077" y="connsiteY69077"/>
              </a:cxn>
              <a:cxn ang="0">
                <a:pos x="connsiteX69078" y="connsiteY69078"/>
              </a:cxn>
              <a:cxn ang="0">
                <a:pos x="connsiteX69079" y="connsiteY69079"/>
              </a:cxn>
              <a:cxn ang="0">
                <a:pos x="connsiteX69080" y="connsiteY69080"/>
              </a:cxn>
              <a:cxn ang="0">
                <a:pos x="connsiteX69081" y="connsiteY69081"/>
              </a:cxn>
              <a:cxn ang="0">
                <a:pos x="connsiteX69082" y="connsiteY69082"/>
              </a:cxn>
              <a:cxn ang="0">
                <a:pos x="connsiteX69083" y="connsiteY69083"/>
              </a:cxn>
              <a:cxn ang="0">
                <a:pos x="connsiteX69084" y="connsiteY69084"/>
              </a:cxn>
              <a:cxn ang="0">
                <a:pos x="connsiteX69085" y="connsiteY69085"/>
              </a:cxn>
              <a:cxn ang="0">
                <a:pos x="connsiteX69086" y="connsiteY69086"/>
              </a:cxn>
              <a:cxn ang="0">
                <a:pos x="connsiteX69087" y="connsiteY69087"/>
              </a:cxn>
              <a:cxn ang="0">
                <a:pos x="connsiteX69088" y="connsiteY69088"/>
              </a:cxn>
              <a:cxn ang="0">
                <a:pos x="connsiteX69089" y="connsiteY69089"/>
              </a:cxn>
              <a:cxn ang="0">
                <a:pos x="connsiteX69090" y="connsiteY69090"/>
              </a:cxn>
              <a:cxn ang="0">
                <a:pos x="connsiteX69091" y="connsiteY69091"/>
              </a:cxn>
              <a:cxn ang="0">
                <a:pos x="connsiteX69092" y="connsiteY69092"/>
              </a:cxn>
              <a:cxn ang="0">
                <a:pos x="connsiteX69093" y="connsiteY69093"/>
              </a:cxn>
              <a:cxn ang="0">
                <a:pos x="connsiteX69094" y="connsiteY69094"/>
              </a:cxn>
              <a:cxn ang="0">
                <a:pos x="connsiteX69095" y="connsiteY69095"/>
              </a:cxn>
              <a:cxn ang="0">
                <a:pos x="connsiteX69096" y="connsiteY69096"/>
              </a:cxn>
              <a:cxn ang="0">
                <a:pos x="connsiteX69097" y="connsiteY69097"/>
              </a:cxn>
              <a:cxn ang="0">
                <a:pos x="connsiteX69098" y="connsiteY69098"/>
              </a:cxn>
              <a:cxn ang="0">
                <a:pos x="connsiteX69099" y="connsiteY69099"/>
              </a:cxn>
              <a:cxn ang="0">
                <a:pos x="connsiteX69100" y="connsiteY69100"/>
              </a:cxn>
              <a:cxn ang="0">
                <a:pos x="connsiteX69101" y="connsiteY69101"/>
              </a:cxn>
              <a:cxn ang="0">
                <a:pos x="connsiteX69102" y="connsiteY69102"/>
              </a:cxn>
              <a:cxn ang="0">
                <a:pos x="connsiteX69103" y="connsiteY69103"/>
              </a:cxn>
              <a:cxn ang="0">
                <a:pos x="connsiteX69104" y="connsiteY69104"/>
              </a:cxn>
              <a:cxn ang="0">
                <a:pos x="connsiteX69105" y="connsiteY69105"/>
              </a:cxn>
              <a:cxn ang="0">
                <a:pos x="connsiteX69106" y="connsiteY69106"/>
              </a:cxn>
              <a:cxn ang="0">
                <a:pos x="connsiteX69107" y="connsiteY69107"/>
              </a:cxn>
              <a:cxn ang="0">
                <a:pos x="connsiteX69108" y="connsiteY69108"/>
              </a:cxn>
              <a:cxn ang="0">
                <a:pos x="connsiteX69109" y="connsiteY69109"/>
              </a:cxn>
              <a:cxn ang="0">
                <a:pos x="connsiteX69110" y="connsiteY69110"/>
              </a:cxn>
              <a:cxn ang="0">
                <a:pos x="connsiteX69111" y="connsiteY69111"/>
              </a:cxn>
              <a:cxn ang="0">
                <a:pos x="connsiteX69112" y="connsiteY69112"/>
              </a:cxn>
              <a:cxn ang="0">
                <a:pos x="connsiteX69113" y="connsiteY69113"/>
              </a:cxn>
              <a:cxn ang="0">
                <a:pos x="connsiteX69114" y="connsiteY69114"/>
              </a:cxn>
              <a:cxn ang="0">
                <a:pos x="connsiteX69115" y="connsiteY69115"/>
              </a:cxn>
              <a:cxn ang="0">
                <a:pos x="connsiteX69116" y="connsiteY69116"/>
              </a:cxn>
              <a:cxn ang="0">
                <a:pos x="connsiteX69117" y="connsiteY69117"/>
              </a:cxn>
              <a:cxn ang="0">
                <a:pos x="connsiteX69118" y="connsiteY69118"/>
              </a:cxn>
              <a:cxn ang="0">
                <a:pos x="connsiteX69119" y="connsiteY69119"/>
              </a:cxn>
              <a:cxn ang="0">
                <a:pos x="connsiteX69120" y="connsiteY69120"/>
              </a:cxn>
              <a:cxn ang="0">
                <a:pos x="connsiteX69121" y="connsiteY69121"/>
              </a:cxn>
              <a:cxn ang="0">
                <a:pos x="connsiteX69122" y="connsiteY69122"/>
              </a:cxn>
              <a:cxn ang="0">
                <a:pos x="connsiteX69123" y="connsiteY69123"/>
              </a:cxn>
              <a:cxn ang="0">
                <a:pos x="connsiteX69124" y="connsiteY69124"/>
              </a:cxn>
              <a:cxn ang="0">
                <a:pos x="connsiteX69125" y="connsiteY69125"/>
              </a:cxn>
              <a:cxn ang="0">
                <a:pos x="connsiteX69126" y="connsiteY69126"/>
              </a:cxn>
              <a:cxn ang="0">
                <a:pos x="connsiteX69127" y="connsiteY69127"/>
              </a:cxn>
              <a:cxn ang="0">
                <a:pos x="connsiteX69128" y="connsiteY69128"/>
              </a:cxn>
              <a:cxn ang="0">
                <a:pos x="connsiteX69129" y="connsiteY69129"/>
              </a:cxn>
              <a:cxn ang="0">
                <a:pos x="connsiteX69130" y="connsiteY69130"/>
              </a:cxn>
              <a:cxn ang="0">
                <a:pos x="connsiteX69131" y="connsiteY69131"/>
              </a:cxn>
              <a:cxn ang="0">
                <a:pos x="connsiteX69132" y="connsiteY69132"/>
              </a:cxn>
              <a:cxn ang="0">
                <a:pos x="connsiteX69133" y="connsiteY69133"/>
              </a:cxn>
              <a:cxn ang="0">
                <a:pos x="connsiteX69134" y="connsiteY69134"/>
              </a:cxn>
              <a:cxn ang="0">
                <a:pos x="connsiteX69135" y="connsiteY69135"/>
              </a:cxn>
              <a:cxn ang="0">
                <a:pos x="connsiteX69136" y="connsiteY69136"/>
              </a:cxn>
              <a:cxn ang="0">
                <a:pos x="connsiteX69137" y="connsiteY69137"/>
              </a:cxn>
              <a:cxn ang="0">
                <a:pos x="connsiteX69138" y="connsiteY69138"/>
              </a:cxn>
              <a:cxn ang="0">
                <a:pos x="connsiteX69139" y="connsiteY69139"/>
              </a:cxn>
              <a:cxn ang="0">
                <a:pos x="connsiteX69140" y="connsiteY69140"/>
              </a:cxn>
              <a:cxn ang="0">
                <a:pos x="connsiteX69141" y="connsiteY69141"/>
              </a:cxn>
              <a:cxn ang="0">
                <a:pos x="connsiteX69142" y="connsiteY69142"/>
              </a:cxn>
              <a:cxn ang="0">
                <a:pos x="connsiteX69143" y="connsiteY69143"/>
              </a:cxn>
              <a:cxn ang="0">
                <a:pos x="connsiteX69144" y="connsiteY69144"/>
              </a:cxn>
              <a:cxn ang="0">
                <a:pos x="connsiteX69145" y="connsiteY69145"/>
              </a:cxn>
              <a:cxn ang="0">
                <a:pos x="connsiteX69146" y="connsiteY69146"/>
              </a:cxn>
              <a:cxn ang="0">
                <a:pos x="connsiteX69147" y="connsiteY69147"/>
              </a:cxn>
              <a:cxn ang="0">
                <a:pos x="connsiteX69148" y="connsiteY69148"/>
              </a:cxn>
              <a:cxn ang="0">
                <a:pos x="connsiteX69149" y="connsiteY69149"/>
              </a:cxn>
              <a:cxn ang="0">
                <a:pos x="connsiteX69150" y="connsiteY69150"/>
              </a:cxn>
              <a:cxn ang="0">
                <a:pos x="connsiteX69151" y="connsiteY69151"/>
              </a:cxn>
              <a:cxn ang="0">
                <a:pos x="connsiteX69152" y="connsiteY69152"/>
              </a:cxn>
              <a:cxn ang="0">
                <a:pos x="connsiteX69153" y="connsiteY69153"/>
              </a:cxn>
              <a:cxn ang="0">
                <a:pos x="connsiteX69154" y="connsiteY69154"/>
              </a:cxn>
              <a:cxn ang="0">
                <a:pos x="connsiteX69155" y="connsiteY69155"/>
              </a:cxn>
              <a:cxn ang="0">
                <a:pos x="connsiteX69156" y="connsiteY69156"/>
              </a:cxn>
              <a:cxn ang="0">
                <a:pos x="connsiteX69157" y="connsiteY69157"/>
              </a:cxn>
              <a:cxn ang="0">
                <a:pos x="connsiteX69158" y="connsiteY69158"/>
              </a:cxn>
              <a:cxn ang="0">
                <a:pos x="connsiteX69159" y="connsiteY69159"/>
              </a:cxn>
              <a:cxn ang="0">
                <a:pos x="connsiteX69160" y="connsiteY69160"/>
              </a:cxn>
              <a:cxn ang="0">
                <a:pos x="connsiteX69161" y="connsiteY69161"/>
              </a:cxn>
              <a:cxn ang="0">
                <a:pos x="connsiteX69162" y="connsiteY69162"/>
              </a:cxn>
              <a:cxn ang="0">
                <a:pos x="connsiteX69163" y="connsiteY69163"/>
              </a:cxn>
              <a:cxn ang="0">
                <a:pos x="connsiteX69164" y="connsiteY69164"/>
              </a:cxn>
              <a:cxn ang="0">
                <a:pos x="connsiteX69165" y="connsiteY69165"/>
              </a:cxn>
              <a:cxn ang="0">
                <a:pos x="connsiteX69166" y="connsiteY69166"/>
              </a:cxn>
              <a:cxn ang="0">
                <a:pos x="connsiteX69167" y="connsiteY69167"/>
              </a:cxn>
              <a:cxn ang="0">
                <a:pos x="connsiteX69168" y="connsiteY69168"/>
              </a:cxn>
              <a:cxn ang="0">
                <a:pos x="connsiteX69169" y="connsiteY69169"/>
              </a:cxn>
              <a:cxn ang="0">
                <a:pos x="connsiteX69170" y="connsiteY69170"/>
              </a:cxn>
              <a:cxn ang="0">
                <a:pos x="connsiteX69171" y="connsiteY69171"/>
              </a:cxn>
              <a:cxn ang="0">
                <a:pos x="connsiteX69172" y="connsiteY69172"/>
              </a:cxn>
              <a:cxn ang="0">
                <a:pos x="connsiteX69173" y="connsiteY69173"/>
              </a:cxn>
              <a:cxn ang="0">
                <a:pos x="connsiteX69174" y="connsiteY69174"/>
              </a:cxn>
              <a:cxn ang="0">
                <a:pos x="connsiteX69175" y="connsiteY69175"/>
              </a:cxn>
              <a:cxn ang="0">
                <a:pos x="connsiteX69176" y="connsiteY69176"/>
              </a:cxn>
              <a:cxn ang="0">
                <a:pos x="connsiteX69177" y="connsiteY69177"/>
              </a:cxn>
              <a:cxn ang="0">
                <a:pos x="connsiteX69178" y="connsiteY69178"/>
              </a:cxn>
              <a:cxn ang="0">
                <a:pos x="connsiteX69179" y="connsiteY69179"/>
              </a:cxn>
              <a:cxn ang="0">
                <a:pos x="connsiteX69180" y="connsiteY69180"/>
              </a:cxn>
              <a:cxn ang="0">
                <a:pos x="connsiteX69181" y="connsiteY69181"/>
              </a:cxn>
              <a:cxn ang="0">
                <a:pos x="connsiteX69182" y="connsiteY69182"/>
              </a:cxn>
              <a:cxn ang="0">
                <a:pos x="connsiteX69183" y="connsiteY69183"/>
              </a:cxn>
              <a:cxn ang="0">
                <a:pos x="connsiteX69184" y="connsiteY69184"/>
              </a:cxn>
              <a:cxn ang="0">
                <a:pos x="connsiteX69185" y="connsiteY69185"/>
              </a:cxn>
              <a:cxn ang="0">
                <a:pos x="connsiteX69186" y="connsiteY69186"/>
              </a:cxn>
              <a:cxn ang="0">
                <a:pos x="connsiteX69187" y="connsiteY69187"/>
              </a:cxn>
              <a:cxn ang="0">
                <a:pos x="connsiteX69188" y="connsiteY69188"/>
              </a:cxn>
              <a:cxn ang="0">
                <a:pos x="connsiteX69189" y="connsiteY69189"/>
              </a:cxn>
              <a:cxn ang="0">
                <a:pos x="connsiteX69190" y="connsiteY69190"/>
              </a:cxn>
              <a:cxn ang="0">
                <a:pos x="connsiteX69191" y="connsiteY69191"/>
              </a:cxn>
              <a:cxn ang="0">
                <a:pos x="connsiteX69192" y="connsiteY69192"/>
              </a:cxn>
              <a:cxn ang="0">
                <a:pos x="connsiteX69193" y="connsiteY69193"/>
              </a:cxn>
              <a:cxn ang="0">
                <a:pos x="connsiteX69194" y="connsiteY69194"/>
              </a:cxn>
              <a:cxn ang="0">
                <a:pos x="connsiteX69195" y="connsiteY69195"/>
              </a:cxn>
              <a:cxn ang="0">
                <a:pos x="connsiteX69196" y="connsiteY69196"/>
              </a:cxn>
              <a:cxn ang="0">
                <a:pos x="connsiteX69197" y="connsiteY69197"/>
              </a:cxn>
              <a:cxn ang="0">
                <a:pos x="connsiteX69198" y="connsiteY69198"/>
              </a:cxn>
              <a:cxn ang="0">
                <a:pos x="connsiteX69199" y="connsiteY69199"/>
              </a:cxn>
              <a:cxn ang="0">
                <a:pos x="connsiteX69200" y="connsiteY69200"/>
              </a:cxn>
              <a:cxn ang="0">
                <a:pos x="connsiteX69201" y="connsiteY69201"/>
              </a:cxn>
              <a:cxn ang="0">
                <a:pos x="connsiteX69202" y="connsiteY69202"/>
              </a:cxn>
              <a:cxn ang="0">
                <a:pos x="connsiteX69203" y="connsiteY69203"/>
              </a:cxn>
              <a:cxn ang="0">
                <a:pos x="connsiteX69204" y="connsiteY69204"/>
              </a:cxn>
              <a:cxn ang="0">
                <a:pos x="connsiteX69205" y="connsiteY69205"/>
              </a:cxn>
              <a:cxn ang="0">
                <a:pos x="connsiteX69206" y="connsiteY69206"/>
              </a:cxn>
              <a:cxn ang="0">
                <a:pos x="connsiteX69207" y="connsiteY69207"/>
              </a:cxn>
              <a:cxn ang="0">
                <a:pos x="connsiteX69208" y="connsiteY69208"/>
              </a:cxn>
              <a:cxn ang="0">
                <a:pos x="connsiteX69209" y="connsiteY69209"/>
              </a:cxn>
              <a:cxn ang="0">
                <a:pos x="connsiteX69210" y="connsiteY69210"/>
              </a:cxn>
              <a:cxn ang="0">
                <a:pos x="connsiteX69211" y="connsiteY69211"/>
              </a:cxn>
              <a:cxn ang="0">
                <a:pos x="connsiteX69212" y="connsiteY69212"/>
              </a:cxn>
              <a:cxn ang="0">
                <a:pos x="connsiteX69213" y="connsiteY69213"/>
              </a:cxn>
              <a:cxn ang="0">
                <a:pos x="connsiteX69214" y="connsiteY69214"/>
              </a:cxn>
              <a:cxn ang="0">
                <a:pos x="connsiteX69215" y="connsiteY69215"/>
              </a:cxn>
              <a:cxn ang="0">
                <a:pos x="connsiteX69216" y="connsiteY69216"/>
              </a:cxn>
              <a:cxn ang="0">
                <a:pos x="connsiteX69217" y="connsiteY69217"/>
              </a:cxn>
              <a:cxn ang="0">
                <a:pos x="connsiteX69218" y="connsiteY69218"/>
              </a:cxn>
              <a:cxn ang="0">
                <a:pos x="connsiteX69219" y="connsiteY69219"/>
              </a:cxn>
              <a:cxn ang="0">
                <a:pos x="connsiteX69220" y="connsiteY69220"/>
              </a:cxn>
              <a:cxn ang="0">
                <a:pos x="connsiteX69221" y="connsiteY69221"/>
              </a:cxn>
              <a:cxn ang="0">
                <a:pos x="connsiteX69222" y="connsiteY69222"/>
              </a:cxn>
              <a:cxn ang="0">
                <a:pos x="connsiteX69223" y="connsiteY69223"/>
              </a:cxn>
              <a:cxn ang="0">
                <a:pos x="connsiteX69224" y="connsiteY69224"/>
              </a:cxn>
              <a:cxn ang="0">
                <a:pos x="connsiteX69225" y="connsiteY69225"/>
              </a:cxn>
              <a:cxn ang="0">
                <a:pos x="connsiteX69226" y="connsiteY69226"/>
              </a:cxn>
              <a:cxn ang="0">
                <a:pos x="connsiteX69227" y="connsiteY69227"/>
              </a:cxn>
              <a:cxn ang="0">
                <a:pos x="connsiteX69228" y="connsiteY69228"/>
              </a:cxn>
              <a:cxn ang="0">
                <a:pos x="connsiteX69229" y="connsiteY69229"/>
              </a:cxn>
              <a:cxn ang="0">
                <a:pos x="connsiteX69230" y="connsiteY69230"/>
              </a:cxn>
              <a:cxn ang="0">
                <a:pos x="connsiteX69231" y="connsiteY69231"/>
              </a:cxn>
              <a:cxn ang="0">
                <a:pos x="connsiteX69232" y="connsiteY69232"/>
              </a:cxn>
              <a:cxn ang="0">
                <a:pos x="connsiteX69233" y="connsiteY69233"/>
              </a:cxn>
              <a:cxn ang="0">
                <a:pos x="connsiteX69234" y="connsiteY69234"/>
              </a:cxn>
              <a:cxn ang="0">
                <a:pos x="connsiteX69235" y="connsiteY69235"/>
              </a:cxn>
              <a:cxn ang="0">
                <a:pos x="connsiteX69236" y="connsiteY69236"/>
              </a:cxn>
              <a:cxn ang="0">
                <a:pos x="connsiteX69237" y="connsiteY69237"/>
              </a:cxn>
              <a:cxn ang="0">
                <a:pos x="connsiteX69238" y="connsiteY69238"/>
              </a:cxn>
              <a:cxn ang="0">
                <a:pos x="connsiteX69239" y="connsiteY69239"/>
              </a:cxn>
              <a:cxn ang="0">
                <a:pos x="connsiteX69240" y="connsiteY69240"/>
              </a:cxn>
              <a:cxn ang="0">
                <a:pos x="connsiteX69241" y="connsiteY69241"/>
              </a:cxn>
              <a:cxn ang="0">
                <a:pos x="connsiteX69242" y="connsiteY69242"/>
              </a:cxn>
              <a:cxn ang="0">
                <a:pos x="connsiteX69243" y="connsiteY69243"/>
              </a:cxn>
              <a:cxn ang="0">
                <a:pos x="connsiteX69244" y="connsiteY69244"/>
              </a:cxn>
              <a:cxn ang="0">
                <a:pos x="connsiteX69245" y="connsiteY69245"/>
              </a:cxn>
              <a:cxn ang="0">
                <a:pos x="connsiteX69246" y="connsiteY69246"/>
              </a:cxn>
              <a:cxn ang="0">
                <a:pos x="connsiteX69247" y="connsiteY69247"/>
              </a:cxn>
              <a:cxn ang="0">
                <a:pos x="connsiteX69248" y="connsiteY69248"/>
              </a:cxn>
              <a:cxn ang="0">
                <a:pos x="connsiteX69249" y="connsiteY69249"/>
              </a:cxn>
              <a:cxn ang="0">
                <a:pos x="connsiteX69250" y="connsiteY69250"/>
              </a:cxn>
              <a:cxn ang="0">
                <a:pos x="connsiteX69251" y="connsiteY69251"/>
              </a:cxn>
              <a:cxn ang="0">
                <a:pos x="connsiteX69252" y="connsiteY69252"/>
              </a:cxn>
              <a:cxn ang="0">
                <a:pos x="connsiteX69253" y="connsiteY69253"/>
              </a:cxn>
              <a:cxn ang="0">
                <a:pos x="connsiteX69254" y="connsiteY69254"/>
              </a:cxn>
              <a:cxn ang="0">
                <a:pos x="connsiteX69255" y="connsiteY69255"/>
              </a:cxn>
              <a:cxn ang="0">
                <a:pos x="connsiteX69256" y="connsiteY69256"/>
              </a:cxn>
              <a:cxn ang="0">
                <a:pos x="connsiteX69257" y="connsiteY69257"/>
              </a:cxn>
              <a:cxn ang="0">
                <a:pos x="connsiteX69258" y="connsiteY69258"/>
              </a:cxn>
              <a:cxn ang="0">
                <a:pos x="connsiteX69259" y="connsiteY69259"/>
              </a:cxn>
              <a:cxn ang="0">
                <a:pos x="connsiteX69260" y="connsiteY69260"/>
              </a:cxn>
              <a:cxn ang="0">
                <a:pos x="connsiteX69261" y="connsiteY69261"/>
              </a:cxn>
              <a:cxn ang="0">
                <a:pos x="connsiteX69262" y="connsiteY69262"/>
              </a:cxn>
              <a:cxn ang="0">
                <a:pos x="connsiteX69263" y="connsiteY69263"/>
              </a:cxn>
              <a:cxn ang="0">
                <a:pos x="connsiteX69264" y="connsiteY69264"/>
              </a:cxn>
              <a:cxn ang="0">
                <a:pos x="connsiteX69265" y="connsiteY69265"/>
              </a:cxn>
              <a:cxn ang="0">
                <a:pos x="connsiteX69266" y="connsiteY69266"/>
              </a:cxn>
              <a:cxn ang="0">
                <a:pos x="connsiteX69267" y="connsiteY69267"/>
              </a:cxn>
              <a:cxn ang="0">
                <a:pos x="connsiteX69268" y="connsiteY69268"/>
              </a:cxn>
              <a:cxn ang="0">
                <a:pos x="connsiteX69269" y="connsiteY69269"/>
              </a:cxn>
              <a:cxn ang="0">
                <a:pos x="connsiteX69270" y="connsiteY69270"/>
              </a:cxn>
              <a:cxn ang="0">
                <a:pos x="connsiteX69271" y="connsiteY69271"/>
              </a:cxn>
              <a:cxn ang="0">
                <a:pos x="connsiteX69272" y="connsiteY69272"/>
              </a:cxn>
              <a:cxn ang="0">
                <a:pos x="connsiteX69273" y="connsiteY69273"/>
              </a:cxn>
              <a:cxn ang="0">
                <a:pos x="connsiteX69274" y="connsiteY69274"/>
              </a:cxn>
              <a:cxn ang="0">
                <a:pos x="connsiteX69275" y="connsiteY69275"/>
              </a:cxn>
              <a:cxn ang="0">
                <a:pos x="connsiteX69276" y="connsiteY69276"/>
              </a:cxn>
              <a:cxn ang="0">
                <a:pos x="connsiteX69277" y="connsiteY69277"/>
              </a:cxn>
              <a:cxn ang="0">
                <a:pos x="connsiteX69278" y="connsiteY69278"/>
              </a:cxn>
              <a:cxn ang="0">
                <a:pos x="connsiteX69279" y="connsiteY69279"/>
              </a:cxn>
              <a:cxn ang="0">
                <a:pos x="connsiteX69280" y="connsiteY69280"/>
              </a:cxn>
              <a:cxn ang="0">
                <a:pos x="connsiteX69281" y="connsiteY69281"/>
              </a:cxn>
              <a:cxn ang="0">
                <a:pos x="connsiteX69282" y="connsiteY69282"/>
              </a:cxn>
              <a:cxn ang="0">
                <a:pos x="connsiteX69283" y="connsiteY69283"/>
              </a:cxn>
              <a:cxn ang="0">
                <a:pos x="connsiteX69284" y="connsiteY69284"/>
              </a:cxn>
              <a:cxn ang="0">
                <a:pos x="connsiteX69285" y="connsiteY69285"/>
              </a:cxn>
              <a:cxn ang="0">
                <a:pos x="connsiteX69286" y="connsiteY69286"/>
              </a:cxn>
              <a:cxn ang="0">
                <a:pos x="connsiteX69287" y="connsiteY69287"/>
              </a:cxn>
              <a:cxn ang="0">
                <a:pos x="connsiteX69288" y="connsiteY69288"/>
              </a:cxn>
              <a:cxn ang="0">
                <a:pos x="connsiteX69289" y="connsiteY69289"/>
              </a:cxn>
              <a:cxn ang="0">
                <a:pos x="connsiteX69290" y="connsiteY69290"/>
              </a:cxn>
              <a:cxn ang="0">
                <a:pos x="connsiteX69291" y="connsiteY69291"/>
              </a:cxn>
              <a:cxn ang="0">
                <a:pos x="connsiteX69292" y="connsiteY69292"/>
              </a:cxn>
              <a:cxn ang="0">
                <a:pos x="connsiteX69293" y="connsiteY69293"/>
              </a:cxn>
              <a:cxn ang="0">
                <a:pos x="connsiteX69294" y="connsiteY69294"/>
              </a:cxn>
              <a:cxn ang="0">
                <a:pos x="connsiteX69295" y="connsiteY69295"/>
              </a:cxn>
              <a:cxn ang="0">
                <a:pos x="connsiteX69296" y="connsiteY69296"/>
              </a:cxn>
              <a:cxn ang="0">
                <a:pos x="connsiteX69297" y="connsiteY69297"/>
              </a:cxn>
              <a:cxn ang="0">
                <a:pos x="connsiteX69298" y="connsiteY69298"/>
              </a:cxn>
              <a:cxn ang="0">
                <a:pos x="connsiteX69299" y="connsiteY69299"/>
              </a:cxn>
              <a:cxn ang="0">
                <a:pos x="connsiteX69300" y="connsiteY69300"/>
              </a:cxn>
              <a:cxn ang="0">
                <a:pos x="connsiteX69301" y="connsiteY69301"/>
              </a:cxn>
              <a:cxn ang="0">
                <a:pos x="connsiteX69302" y="connsiteY69302"/>
              </a:cxn>
              <a:cxn ang="0">
                <a:pos x="connsiteX69303" y="connsiteY69303"/>
              </a:cxn>
              <a:cxn ang="0">
                <a:pos x="connsiteX69304" y="connsiteY69304"/>
              </a:cxn>
              <a:cxn ang="0">
                <a:pos x="connsiteX69305" y="connsiteY69305"/>
              </a:cxn>
              <a:cxn ang="0">
                <a:pos x="connsiteX69306" y="connsiteY69306"/>
              </a:cxn>
              <a:cxn ang="0">
                <a:pos x="connsiteX69307" y="connsiteY69307"/>
              </a:cxn>
              <a:cxn ang="0">
                <a:pos x="connsiteX69308" y="connsiteY69308"/>
              </a:cxn>
              <a:cxn ang="0">
                <a:pos x="connsiteX69309" y="connsiteY69309"/>
              </a:cxn>
              <a:cxn ang="0">
                <a:pos x="connsiteX69310" y="connsiteY69310"/>
              </a:cxn>
              <a:cxn ang="0">
                <a:pos x="connsiteX69311" y="connsiteY69311"/>
              </a:cxn>
              <a:cxn ang="0">
                <a:pos x="connsiteX69312" y="connsiteY69312"/>
              </a:cxn>
              <a:cxn ang="0">
                <a:pos x="connsiteX69313" y="connsiteY69313"/>
              </a:cxn>
              <a:cxn ang="0">
                <a:pos x="connsiteX69314" y="connsiteY69314"/>
              </a:cxn>
              <a:cxn ang="0">
                <a:pos x="connsiteX69315" y="connsiteY69315"/>
              </a:cxn>
              <a:cxn ang="0">
                <a:pos x="connsiteX69316" y="connsiteY69316"/>
              </a:cxn>
              <a:cxn ang="0">
                <a:pos x="connsiteX69317" y="connsiteY69317"/>
              </a:cxn>
              <a:cxn ang="0">
                <a:pos x="connsiteX69318" y="connsiteY69318"/>
              </a:cxn>
              <a:cxn ang="0">
                <a:pos x="connsiteX69319" y="connsiteY69319"/>
              </a:cxn>
              <a:cxn ang="0">
                <a:pos x="connsiteX69320" y="connsiteY69320"/>
              </a:cxn>
              <a:cxn ang="0">
                <a:pos x="connsiteX69321" y="connsiteY69321"/>
              </a:cxn>
              <a:cxn ang="0">
                <a:pos x="connsiteX69322" y="connsiteY69322"/>
              </a:cxn>
              <a:cxn ang="0">
                <a:pos x="connsiteX69323" y="connsiteY69323"/>
              </a:cxn>
              <a:cxn ang="0">
                <a:pos x="connsiteX69324" y="connsiteY69324"/>
              </a:cxn>
              <a:cxn ang="0">
                <a:pos x="connsiteX69325" y="connsiteY69325"/>
              </a:cxn>
              <a:cxn ang="0">
                <a:pos x="connsiteX69326" y="connsiteY69326"/>
              </a:cxn>
              <a:cxn ang="0">
                <a:pos x="connsiteX69327" y="connsiteY69327"/>
              </a:cxn>
              <a:cxn ang="0">
                <a:pos x="connsiteX69328" y="connsiteY69328"/>
              </a:cxn>
              <a:cxn ang="0">
                <a:pos x="connsiteX69329" y="connsiteY69329"/>
              </a:cxn>
              <a:cxn ang="0">
                <a:pos x="connsiteX69330" y="connsiteY69330"/>
              </a:cxn>
              <a:cxn ang="0">
                <a:pos x="connsiteX69331" y="connsiteY69331"/>
              </a:cxn>
              <a:cxn ang="0">
                <a:pos x="connsiteX69332" y="connsiteY69332"/>
              </a:cxn>
              <a:cxn ang="0">
                <a:pos x="connsiteX69333" y="connsiteY69333"/>
              </a:cxn>
              <a:cxn ang="0">
                <a:pos x="connsiteX69334" y="connsiteY69334"/>
              </a:cxn>
              <a:cxn ang="0">
                <a:pos x="connsiteX69335" y="connsiteY69335"/>
              </a:cxn>
              <a:cxn ang="0">
                <a:pos x="connsiteX69336" y="connsiteY69336"/>
              </a:cxn>
              <a:cxn ang="0">
                <a:pos x="connsiteX69337" y="connsiteY69337"/>
              </a:cxn>
              <a:cxn ang="0">
                <a:pos x="connsiteX69338" y="connsiteY69338"/>
              </a:cxn>
              <a:cxn ang="0">
                <a:pos x="connsiteX69339" y="connsiteY69339"/>
              </a:cxn>
              <a:cxn ang="0">
                <a:pos x="connsiteX69340" y="connsiteY69340"/>
              </a:cxn>
              <a:cxn ang="0">
                <a:pos x="connsiteX69341" y="connsiteY69341"/>
              </a:cxn>
              <a:cxn ang="0">
                <a:pos x="connsiteX69342" y="connsiteY69342"/>
              </a:cxn>
              <a:cxn ang="0">
                <a:pos x="connsiteX69343" y="connsiteY69343"/>
              </a:cxn>
              <a:cxn ang="0">
                <a:pos x="connsiteX69344" y="connsiteY69344"/>
              </a:cxn>
              <a:cxn ang="0">
                <a:pos x="connsiteX69345" y="connsiteY69345"/>
              </a:cxn>
              <a:cxn ang="0">
                <a:pos x="connsiteX69346" y="connsiteY69346"/>
              </a:cxn>
              <a:cxn ang="0">
                <a:pos x="connsiteX69347" y="connsiteY69347"/>
              </a:cxn>
              <a:cxn ang="0">
                <a:pos x="connsiteX69348" y="connsiteY69348"/>
              </a:cxn>
              <a:cxn ang="0">
                <a:pos x="connsiteX69349" y="connsiteY69349"/>
              </a:cxn>
              <a:cxn ang="0">
                <a:pos x="connsiteX69350" y="connsiteY69350"/>
              </a:cxn>
              <a:cxn ang="0">
                <a:pos x="connsiteX69351" y="connsiteY69351"/>
              </a:cxn>
              <a:cxn ang="0">
                <a:pos x="connsiteX69352" y="connsiteY69352"/>
              </a:cxn>
              <a:cxn ang="0">
                <a:pos x="connsiteX69353" y="connsiteY69353"/>
              </a:cxn>
              <a:cxn ang="0">
                <a:pos x="connsiteX69354" y="connsiteY69354"/>
              </a:cxn>
              <a:cxn ang="0">
                <a:pos x="connsiteX69355" y="connsiteY69355"/>
              </a:cxn>
              <a:cxn ang="0">
                <a:pos x="connsiteX69356" y="connsiteY69356"/>
              </a:cxn>
              <a:cxn ang="0">
                <a:pos x="connsiteX69357" y="connsiteY69357"/>
              </a:cxn>
              <a:cxn ang="0">
                <a:pos x="connsiteX69358" y="connsiteY69358"/>
              </a:cxn>
              <a:cxn ang="0">
                <a:pos x="connsiteX69359" y="connsiteY69359"/>
              </a:cxn>
              <a:cxn ang="0">
                <a:pos x="connsiteX69360" y="connsiteY69360"/>
              </a:cxn>
              <a:cxn ang="0">
                <a:pos x="connsiteX69361" y="connsiteY69361"/>
              </a:cxn>
              <a:cxn ang="0">
                <a:pos x="connsiteX69362" y="connsiteY69362"/>
              </a:cxn>
              <a:cxn ang="0">
                <a:pos x="connsiteX69363" y="connsiteY69363"/>
              </a:cxn>
              <a:cxn ang="0">
                <a:pos x="connsiteX69364" y="connsiteY69364"/>
              </a:cxn>
              <a:cxn ang="0">
                <a:pos x="connsiteX69365" y="connsiteY69365"/>
              </a:cxn>
              <a:cxn ang="0">
                <a:pos x="connsiteX69366" y="connsiteY69366"/>
              </a:cxn>
              <a:cxn ang="0">
                <a:pos x="connsiteX69367" y="connsiteY69367"/>
              </a:cxn>
              <a:cxn ang="0">
                <a:pos x="connsiteX69368" y="connsiteY69368"/>
              </a:cxn>
              <a:cxn ang="0">
                <a:pos x="connsiteX69369" y="connsiteY69369"/>
              </a:cxn>
              <a:cxn ang="0">
                <a:pos x="connsiteX69370" y="connsiteY69370"/>
              </a:cxn>
              <a:cxn ang="0">
                <a:pos x="connsiteX69371" y="connsiteY69371"/>
              </a:cxn>
              <a:cxn ang="0">
                <a:pos x="connsiteX69372" y="connsiteY69372"/>
              </a:cxn>
              <a:cxn ang="0">
                <a:pos x="connsiteX69373" y="connsiteY69373"/>
              </a:cxn>
              <a:cxn ang="0">
                <a:pos x="connsiteX69374" y="connsiteY69374"/>
              </a:cxn>
              <a:cxn ang="0">
                <a:pos x="connsiteX69375" y="connsiteY69375"/>
              </a:cxn>
              <a:cxn ang="0">
                <a:pos x="connsiteX69376" y="connsiteY69376"/>
              </a:cxn>
              <a:cxn ang="0">
                <a:pos x="connsiteX69377" y="connsiteY69377"/>
              </a:cxn>
              <a:cxn ang="0">
                <a:pos x="connsiteX69378" y="connsiteY69378"/>
              </a:cxn>
              <a:cxn ang="0">
                <a:pos x="connsiteX69379" y="connsiteY69379"/>
              </a:cxn>
              <a:cxn ang="0">
                <a:pos x="connsiteX69380" y="connsiteY69380"/>
              </a:cxn>
              <a:cxn ang="0">
                <a:pos x="connsiteX69381" y="connsiteY69381"/>
              </a:cxn>
              <a:cxn ang="0">
                <a:pos x="connsiteX69382" y="connsiteY69382"/>
              </a:cxn>
              <a:cxn ang="0">
                <a:pos x="connsiteX69383" y="connsiteY69383"/>
              </a:cxn>
              <a:cxn ang="0">
                <a:pos x="connsiteX69384" y="connsiteY69384"/>
              </a:cxn>
              <a:cxn ang="0">
                <a:pos x="connsiteX69385" y="connsiteY69385"/>
              </a:cxn>
              <a:cxn ang="0">
                <a:pos x="connsiteX69386" y="connsiteY69386"/>
              </a:cxn>
              <a:cxn ang="0">
                <a:pos x="connsiteX69387" y="connsiteY69387"/>
              </a:cxn>
              <a:cxn ang="0">
                <a:pos x="connsiteX69388" y="connsiteY69388"/>
              </a:cxn>
              <a:cxn ang="0">
                <a:pos x="connsiteX69389" y="connsiteY69389"/>
              </a:cxn>
              <a:cxn ang="0">
                <a:pos x="connsiteX69390" y="connsiteY69390"/>
              </a:cxn>
              <a:cxn ang="0">
                <a:pos x="connsiteX69391" y="connsiteY69391"/>
              </a:cxn>
              <a:cxn ang="0">
                <a:pos x="connsiteX69392" y="connsiteY69392"/>
              </a:cxn>
              <a:cxn ang="0">
                <a:pos x="connsiteX69393" y="connsiteY69393"/>
              </a:cxn>
              <a:cxn ang="0">
                <a:pos x="connsiteX69394" y="connsiteY69394"/>
              </a:cxn>
              <a:cxn ang="0">
                <a:pos x="connsiteX69395" y="connsiteY69395"/>
              </a:cxn>
              <a:cxn ang="0">
                <a:pos x="connsiteX69396" y="connsiteY69396"/>
              </a:cxn>
              <a:cxn ang="0">
                <a:pos x="connsiteX69397" y="connsiteY69397"/>
              </a:cxn>
              <a:cxn ang="0">
                <a:pos x="connsiteX69398" y="connsiteY69398"/>
              </a:cxn>
              <a:cxn ang="0">
                <a:pos x="connsiteX69399" y="connsiteY69399"/>
              </a:cxn>
              <a:cxn ang="0">
                <a:pos x="connsiteX69400" y="connsiteY69400"/>
              </a:cxn>
              <a:cxn ang="0">
                <a:pos x="connsiteX69401" y="connsiteY69401"/>
              </a:cxn>
              <a:cxn ang="0">
                <a:pos x="connsiteX69402" y="connsiteY69402"/>
              </a:cxn>
              <a:cxn ang="0">
                <a:pos x="connsiteX69403" y="connsiteY69403"/>
              </a:cxn>
              <a:cxn ang="0">
                <a:pos x="connsiteX69404" y="connsiteY69404"/>
              </a:cxn>
              <a:cxn ang="0">
                <a:pos x="connsiteX69405" y="connsiteY69405"/>
              </a:cxn>
              <a:cxn ang="0">
                <a:pos x="connsiteX69406" y="connsiteY69406"/>
              </a:cxn>
              <a:cxn ang="0">
                <a:pos x="connsiteX69407" y="connsiteY69407"/>
              </a:cxn>
              <a:cxn ang="0">
                <a:pos x="connsiteX69408" y="connsiteY69408"/>
              </a:cxn>
              <a:cxn ang="0">
                <a:pos x="connsiteX69409" y="connsiteY69409"/>
              </a:cxn>
              <a:cxn ang="0">
                <a:pos x="connsiteX69410" y="connsiteY69410"/>
              </a:cxn>
              <a:cxn ang="0">
                <a:pos x="connsiteX69411" y="connsiteY69411"/>
              </a:cxn>
              <a:cxn ang="0">
                <a:pos x="connsiteX69412" y="connsiteY69412"/>
              </a:cxn>
              <a:cxn ang="0">
                <a:pos x="connsiteX69413" y="connsiteY69413"/>
              </a:cxn>
              <a:cxn ang="0">
                <a:pos x="connsiteX69414" y="connsiteY69414"/>
              </a:cxn>
              <a:cxn ang="0">
                <a:pos x="connsiteX69415" y="connsiteY69415"/>
              </a:cxn>
              <a:cxn ang="0">
                <a:pos x="connsiteX69416" y="connsiteY69416"/>
              </a:cxn>
              <a:cxn ang="0">
                <a:pos x="connsiteX69417" y="connsiteY69417"/>
              </a:cxn>
              <a:cxn ang="0">
                <a:pos x="connsiteX69418" y="connsiteY69418"/>
              </a:cxn>
              <a:cxn ang="0">
                <a:pos x="connsiteX69419" y="connsiteY69419"/>
              </a:cxn>
              <a:cxn ang="0">
                <a:pos x="connsiteX69420" y="connsiteY69420"/>
              </a:cxn>
              <a:cxn ang="0">
                <a:pos x="connsiteX69421" y="connsiteY69421"/>
              </a:cxn>
              <a:cxn ang="0">
                <a:pos x="connsiteX69422" y="connsiteY69422"/>
              </a:cxn>
              <a:cxn ang="0">
                <a:pos x="connsiteX69423" y="connsiteY69423"/>
              </a:cxn>
              <a:cxn ang="0">
                <a:pos x="connsiteX69424" y="connsiteY69424"/>
              </a:cxn>
              <a:cxn ang="0">
                <a:pos x="connsiteX69425" y="connsiteY69425"/>
              </a:cxn>
              <a:cxn ang="0">
                <a:pos x="connsiteX69426" y="connsiteY69426"/>
              </a:cxn>
              <a:cxn ang="0">
                <a:pos x="connsiteX69427" y="connsiteY69427"/>
              </a:cxn>
              <a:cxn ang="0">
                <a:pos x="connsiteX69428" y="connsiteY69428"/>
              </a:cxn>
              <a:cxn ang="0">
                <a:pos x="connsiteX69429" y="connsiteY69429"/>
              </a:cxn>
              <a:cxn ang="0">
                <a:pos x="connsiteX69430" y="connsiteY69430"/>
              </a:cxn>
              <a:cxn ang="0">
                <a:pos x="connsiteX69431" y="connsiteY69431"/>
              </a:cxn>
              <a:cxn ang="0">
                <a:pos x="connsiteX69432" y="connsiteY69432"/>
              </a:cxn>
              <a:cxn ang="0">
                <a:pos x="connsiteX69433" y="connsiteY69433"/>
              </a:cxn>
              <a:cxn ang="0">
                <a:pos x="connsiteX69434" y="connsiteY69434"/>
              </a:cxn>
              <a:cxn ang="0">
                <a:pos x="connsiteX69435" y="connsiteY69435"/>
              </a:cxn>
              <a:cxn ang="0">
                <a:pos x="connsiteX69436" y="connsiteY69436"/>
              </a:cxn>
              <a:cxn ang="0">
                <a:pos x="connsiteX69437" y="connsiteY69437"/>
              </a:cxn>
              <a:cxn ang="0">
                <a:pos x="connsiteX69438" y="connsiteY69438"/>
              </a:cxn>
              <a:cxn ang="0">
                <a:pos x="connsiteX69439" y="connsiteY69439"/>
              </a:cxn>
              <a:cxn ang="0">
                <a:pos x="connsiteX69440" y="connsiteY69440"/>
              </a:cxn>
              <a:cxn ang="0">
                <a:pos x="connsiteX69441" y="connsiteY69441"/>
              </a:cxn>
              <a:cxn ang="0">
                <a:pos x="connsiteX69442" y="connsiteY69442"/>
              </a:cxn>
              <a:cxn ang="0">
                <a:pos x="connsiteX69443" y="connsiteY69443"/>
              </a:cxn>
              <a:cxn ang="0">
                <a:pos x="connsiteX69444" y="connsiteY69444"/>
              </a:cxn>
              <a:cxn ang="0">
                <a:pos x="connsiteX69445" y="connsiteY69445"/>
              </a:cxn>
              <a:cxn ang="0">
                <a:pos x="connsiteX69446" y="connsiteY69446"/>
              </a:cxn>
              <a:cxn ang="0">
                <a:pos x="connsiteX69447" y="connsiteY69447"/>
              </a:cxn>
              <a:cxn ang="0">
                <a:pos x="connsiteX69448" y="connsiteY69448"/>
              </a:cxn>
              <a:cxn ang="0">
                <a:pos x="connsiteX69449" y="connsiteY69449"/>
              </a:cxn>
              <a:cxn ang="0">
                <a:pos x="connsiteX69450" y="connsiteY69450"/>
              </a:cxn>
              <a:cxn ang="0">
                <a:pos x="connsiteX69451" y="connsiteY69451"/>
              </a:cxn>
              <a:cxn ang="0">
                <a:pos x="connsiteX69452" y="connsiteY69452"/>
              </a:cxn>
              <a:cxn ang="0">
                <a:pos x="connsiteX69453" y="connsiteY69453"/>
              </a:cxn>
              <a:cxn ang="0">
                <a:pos x="connsiteX69454" y="connsiteY69454"/>
              </a:cxn>
              <a:cxn ang="0">
                <a:pos x="connsiteX69455" y="connsiteY69455"/>
              </a:cxn>
              <a:cxn ang="0">
                <a:pos x="connsiteX69456" y="connsiteY69456"/>
              </a:cxn>
              <a:cxn ang="0">
                <a:pos x="connsiteX69457" y="connsiteY69457"/>
              </a:cxn>
              <a:cxn ang="0">
                <a:pos x="connsiteX69458" y="connsiteY69458"/>
              </a:cxn>
              <a:cxn ang="0">
                <a:pos x="connsiteX69459" y="connsiteY69459"/>
              </a:cxn>
              <a:cxn ang="0">
                <a:pos x="connsiteX69460" y="connsiteY69460"/>
              </a:cxn>
              <a:cxn ang="0">
                <a:pos x="connsiteX69461" y="connsiteY69461"/>
              </a:cxn>
              <a:cxn ang="0">
                <a:pos x="connsiteX69462" y="connsiteY69462"/>
              </a:cxn>
              <a:cxn ang="0">
                <a:pos x="connsiteX69463" y="connsiteY69463"/>
              </a:cxn>
              <a:cxn ang="0">
                <a:pos x="connsiteX69464" y="connsiteY69464"/>
              </a:cxn>
              <a:cxn ang="0">
                <a:pos x="connsiteX69465" y="connsiteY69465"/>
              </a:cxn>
              <a:cxn ang="0">
                <a:pos x="connsiteX69466" y="connsiteY69466"/>
              </a:cxn>
              <a:cxn ang="0">
                <a:pos x="connsiteX69467" y="connsiteY69467"/>
              </a:cxn>
              <a:cxn ang="0">
                <a:pos x="connsiteX69468" y="connsiteY69468"/>
              </a:cxn>
              <a:cxn ang="0">
                <a:pos x="connsiteX69469" y="connsiteY69469"/>
              </a:cxn>
              <a:cxn ang="0">
                <a:pos x="connsiteX69470" y="connsiteY69470"/>
              </a:cxn>
              <a:cxn ang="0">
                <a:pos x="connsiteX69471" y="connsiteY69471"/>
              </a:cxn>
              <a:cxn ang="0">
                <a:pos x="connsiteX69472" y="connsiteY69472"/>
              </a:cxn>
              <a:cxn ang="0">
                <a:pos x="connsiteX69473" y="connsiteY69473"/>
              </a:cxn>
              <a:cxn ang="0">
                <a:pos x="connsiteX69474" y="connsiteY69474"/>
              </a:cxn>
              <a:cxn ang="0">
                <a:pos x="connsiteX69475" y="connsiteY69475"/>
              </a:cxn>
              <a:cxn ang="0">
                <a:pos x="connsiteX69476" y="connsiteY69476"/>
              </a:cxn>
              <a:cxn ang="0">
                <a:pos x="connsiteX69477" y="connsiteY69477"/>
              </a:cxn>
              <a:cxn ang="0">
                <a:pos x="connsiteX69478" y="connsiteY69478"/>
              </a:cxn>
              <a:cxn ang="0">
                <a:pos x="connsiteX69479" y="connsiteY69479"/>
              </a:cxn>
              <a:cxn ang="0">
                <a:pos x="connsiteX69480" y="connsiteY69480"/>
              </a:cxn>
              <a:cxn ang="0">
                <a:pos x="connsiteX69481" y="connsiteY69481"/>
              </a:cxn>
              <a:cxn ang="0">
                <a:pos x="connsiteX69482" y="connsiteY69482"/>
              </a:cxn>
              <a:cxn ang="0">
                <a:pos x="connsiteX69483" y="connsiteY69483"/>
              </a:cxn>
              <a:cxn ang="0">
                <a:pos x="connsiteX69484" y="connsiteY69484"/>
              </a:cxn>
              <a:cxn ang="0">
                <a:pos x="connsiteX69485" y="connsiteY69485"/>
              </a:cxn>
              <a:cxn ang="0">
                <a:pos x="connsiteX69486" y="connsiteY69486"/>
              </a:cxn>
              <a:cxn ang="0">
                <a:pos x="connsiteX69487" y="connsiteY69487"/>
              </a:cxn>
              <a:cxn ang="0">
                <a:pos x="connsiteX69488" y="connsiteY69488"/>
              </a:cxn>
              <a:cxn ang="0">
                <a:pos x="connsiteX69489" y="connsiteY69489"/>
              </a:cxn>
              <a:cxn ang="0">
                <a:pos x="connsiteX69490" y="connsiteY69490"/>
              </a:cxn>
              <a:cxn ang="0">
                <a:pos x="connsiteX69491" y="connsiteY69491"/>
              </a:cxn>
              <a:cxn ang="0">
                <a:pos x="connsiteX69492" y="connsiteY69492"/>
              </a:cxn>
              <a:cxn ang="0">
                <a:pos x="connsiteX69493" y="connsiteY69493"/>
              </a:cxn>
              <a:cxn ang="0">
                <a:pos x="connsiteX69494" y="connsiteY69494"/>
              </a:cxn>
              <a:cxn ang="0">
                <a:pos x="connsiteX69495" y="connsiteY69495"/>
              </a:cxn>
              <a:cxn ang="0">
                <a:pos x="connsiteX69496" y="connsiteY69496"/>
              </a:cxn>
              <a:cxn ang="0">
                <a:pos x="connsiteX69497" y="connsiteY69497"/>
              </a:cxn>
              <a:cxn ang="0">
                <a:pos x="connsiteX69498" y="connsiteY69498"/>
              </a:cxn>
              <a:cxn ang="0">
                <a:pos x="connsiteX69499" y="connsiteY69499"/>
              </a:cxn>
              <a:cxn ang="0">
                <a:pos x="connsiteX69500" y="connsiteY69500"/>
              </a:cxn>
              <a:cxn ang="0">
                <a:pos x="connsiteX69501" y="connsiteY69501"/>
              </a:cxn>
              <a:cxn ang="0">
                <a:pos x="connsiteX69502" y="connsiteY69502"/>
              </a:cxn>
              <a:cxn ang="0">
                <a:pos x="connsiteX69503" y="connsiteY69503"/>
              </a:cxn>
              <a:cxn ang="0">
                <a:pos x="connsiteX69504" y="connsiteY69504"/>
              </a:cxn>
              <a:cxn ang="0">
                <a:pos x="connsiteX69505" y="connsiteY69505"/>
              </a:cxn>
              <a:cxn ang="0">
                <a:pos x="connsiteX69506" y="connsiteY69506"/>
              </a:cxn>
              <a:cxn ang="0">
                <a:pos x="connsiteX69507" y="connsiteY69507"/>
              </a:cxn>
              <a:cxn ang="0">
                <a:pos x="connsiteX69508" y="connsiteY69508"/>
              </a:cxn>
              <a:cxn ang="0">
                <a:pos x="connsiteX69509" y="connsiteY69509"/>
              </a:cxn>
              <a:cxn ang="0">
                <a:pos x="connsiteX69510" y="connsiteY69510"/>
              </a:cxn>
              <a:cxn ang="0">
                <a:pos x="connsiteX69511" y="connsiteY69511"/>
              </a:cxn>
              <a:cxn ang="0">
                <a:pos x="connsiteX69512" y="connsiteY69512"/>
              </a:cxn>
              <a:cxn ang="0">
                <a:pos x="connsiteX69513" y="connsiteY69513"/>
              </a:cxn>
              <a:cxn ang="0">
                <a:pos x="connsiteX69514" y="connsiteY69514"/>
              </a:cxn>
              <a:cxn ang="0">
                <a:pos x="connsiteX69515" y="connsiteY69515"/>
              </a:cxn>
              <a:cxn ang="0">
                <a:pos x="connsiteX69516" y="connsiteY69516"/>
              </a:cxn>
              <a:cxn ang="0">
                <a:pos x="connsiteX69517" y="connsiteY69517"/>
              </a:cxn>
              <a:cxn ang="0">
                <a:pos x="connsiteX69518" y="connsiteY69518"/>
              </a:cxn>
              <a:cxn ang="0">
                <a:pos x="connsiteX69519" y="connsiteY69519"/>
              </a:cxn>
              <a:cxn ang="0">
                <a:pos x="connsiteX69520" y="connsiteY69520"/>
              </a:cxn>
              <a:cxn ang="0">
                <a:pos x="connsiteX69521" y="connsiteY69521"/>
              </a:cxn>
              <a:cxn ang="0">
                <a:pos x="connsiteX69522" y="connsiteY69522"/>
              </a:cxn>
              <a:cxn ang="0">
                <a:pos x="connsiteX69523" y="connsiteY69523"/>
              </a:cxn>
              <a:cxn ang="0">
                <a:pos x="connsiteX69524" y="connsiteY69524"/>
              </a:cxn>
              <a:cxn ang="0">
                <a:pos x="connsiteX69525" y="connsiteY69525"/>
              </a:cxn>
              <a:cxn ang="0">
                <a:pos x="connsiteX69526" y="connsiteY69526"/>
              </a:cxn>
              <a:cxn ang="0">
                <a:pos x="connsiteX69527" y="connsiteY69527"/>
              </a:cxn>
              <a:cxn ang="0">
                <a:pos x="connsiteX69528" y="connsiteY69528"/>
              </a:cxn>
              <a:cxn ang="0">
                <a:pos x="connsiteX69529" y="connsiteY69529"/>
              </a:cxn>
              <a:cxn ang="0">
                <a:pos x="connsiteX69530" y="connsiteY69530"/>
              </a:cxn>
              <a:cxn ang="0">
                <a:pos x="connsiteX69531" y="connsiteY69531"/>
              </a:cxn>
              <a:cxn ang="0">
                <a:pos x="connsiteX69532" y="connsiteY69532"/>
              </a:cxn>
              <a:cxn ang="0">
                <a:pos x="connsiteX69533" y="connsiteY69533"/>
              </a:cxn>
              <a:cxn ang="0">
                <a:pos x="connsiteX69534" y="connsiteY69534"/>
              </a:cxn>
              <a:cxn ang="0">
                <a:pos x="connsiteX69535" y="connsiteY69535"/>
              </a:cxn>
              <a:cxn ang="0">
                <a:pos x="connsiteX69536" y="connsiteY69536"/>
              </a:cxn>
              <a:cxn ang="0">
                <a:pos x="connsiteX69537" y="connsiteY69537"/>
              </a:cxn>
              <a:cxn ang="0">
                <a:pos x="connsiteX69538" y="connsiteY69538"/>
              </a:cxn>
              <a:cxn ang="0">
                <a:pos x="connsiteX69539" y="connsiteY69539"/>
              </a:cxn>
              <a:cxn ang="0">
                <a:pos x="connsiteX69540" y="connsiteY69540"/>
              </a:cxn>
              <a:cxn ang="0">
                <a:pos x="connsiteX69541" y="connsiteY69541"/>
              </a:cxn>
              <a:cxn ang="0">
                <a:pos x="connsiteX69542" y="connsiteY69542"/>
              </a:cxn>
              <a:cxn ang="0">
                <a:pos x="connsiteX69543" y="connsiteY69543"/>
              </a:cxn>
              <a:cxn ang="0">
                <a:pos x="connsiteX69544" y="connsiteY69544"/>
              </a:cxn>
              <a:cxn ang="0">
                <a:pos x="connsiteX69545" y="connsiteY69545"/>
              </a:cxn>
              <a:cxn ang="0">
                <a:pos x="connsiteX69546" y="connsiteY69546"/>
              </a:cxn>
              <a:cxn ang="0">
                <a:pos x="connsiteX69547" y="connsiteY69547"/>
              </a:cxn>
              <a:cxn ang="0">
                <a:pos x="connsiteX69548" y="connsiteY69548"/>
              </a:cxn>
              <a:cxn ang="0">
                <a:pos x="connsiteX69549" y="connsiteY69549"/>
              </a:cxn>
              <a:cxn ang="0">
                <a:pos x="connsiteX69550" y="connsiteY69550"/>
              </a:cxn>
              <a:cxn ang="0">
                <a:pos x="connsiteX69551" y="connsiteY69551"/>
              </a:cxn>
              <a:cxn ang="0">
                <a:pos x="connsiteX69552" y="connsiteY69552"/>
              </a:cxn>
              <a:cxn ang="0">
                <a:pos x="connsiteX69553" y="connsiteY69553"/>
              </a:cxn>
              <a:cxn ang="0">
                <a:pos x="connsiteX69554" y="connsiteY69554"/>
              </a:cxn>
              <a:cxn ang="0">
                <a:pos x="connsiteX69555" y="connsiteY69555"/>
              </a:cxn>
              <a:cxn ang="0">
                <a:pos x="connsiteX69556" y="connsiteY69556"/>
              </a:cxn>
              <a:cxn ang="0">
                <a:pos x="connsiteX69557" y="connsiteY69557"/>
              </a:cxn>
              <a:cxn ang="0">
                <a:pos x="connsiteX69558" y="connsiteY69558"/>
              </a:cxn>
              <a:cxn ang="0">
                <a:pos x="connsiteX69559" y="connsiteY69559"/>
              </a:cxn>
              <a:cxn ang="0">
                <a:pos x="connsiteX69560" y="connsiteY69560"/>
              </a:cxn>
              <a:cxn ang="0">
                <a:pos x="connsiteX69561" y="connsiteY69561"/>
              </a:cxn>
              <a:cxn ang="0">
                <a:pos x="connsiteX69562" y="connsiteY69562"/>
              </a:cxn>
              <a:cxn ang="0">
                <a:pos x="connsiteX69563" y="connsiteY69563"/>
              </a:cxn>
              <a:cxn ang="0">
                <a:pos x="connsiteX69564" y="connsiteY69564"/>
              </a:cxn>
              <a:cxn ang="0">
                <a:pos x="connsiteX69565" y="connsiteY69565"/>
              </a:cxn>
              <a:cxn ang="0">
                <a:pos x="connsiteX69566" y="connsiteY69566"/>
              </a:cxn>
              <a:cxn ang="0">
                <a:pos x="connsiteX69567" y="connsiteY69567"/>
              </a:cxn>
              <a:cxn ang="0">
                <a:pos x="connsiteX69568" y="connsiteY69568"/>
              </a:cxn>
              <a:cxn ang="0">
                <a:pos x="connsiteX69569" y="connsiteY69569"/>
              </a:cxn>
              <a:cxn ang="0">
                <a:pos x="connsiteX69570" y="connsiteY69570"/>
              </a:cxn>
              <a:cxn ang="0">
                <a:pos x="connsiteX69571" y="connsiteY69571"/>
              </a:cxn>
              <a:cxn ang="0">
                <a:pos x="connsiteX69572" y="connsiteY69572"/>
              </a:cxn>
              <a:cxn ang="0">
                <a:pos x="connsiteX69573" y="connsiteY69573"/>
              </a:cxn>
              <a:cxn ang="0">
                <a:pos x="connsiteX69574" y="connsiteY69574"/>
              </a:cxn>
              <a:cxn ang="0">
                <a:pos x="connsiteX69575" y="connsiteY69575"/>
              </a:cxn>
              <a:cxn ang="0">
                <a:pos x="connsiteX69576" y="connsiteY69576"/>
              </a:cxn>
              <a:cxn ang="0">
                <a:pos x="connsiteX69577" y="connsiteY69577"/>
              </a:cxn>
              <a:cxn ang="0">
                <a:pos x="connsiteX69578" y="connsiteY69578"/>
              </a:cxn>
              <a:cxn ang="0">
                <a:pos x="connsiteX69579" y="connsiteY69579"/>
              </a:cxn>
              <a:cxn ang="0">
                <a:pos x="connsiteX69580" y="connsiteY69580"/>
              </a:cxn>
              <a:cxn ang="0">
                <a:pos x="connsiteX69581" y="connsiteY69581"/>
              </a:cxn>
              <a:cxn ang="0">
                <a:pos x="connsiteX69582" y="connsiteY69582"/>
              </a:cxn>
              <a:cxn ang="0">
                <a:pos x="connsiteX69583" y="connsiteY69583"/>
              </a:cxn>
              <a:cxn ang="0">
                <a:pos x="connsiteX69584" y="connsiteY69584"/>
              </a:cxn>
              <a:cxn ang="0">
                <a:pos x="connsiteX69585" y="connsiteY69585"/>
              </a:cxn>
              <a:cxn ang="0">
                <a:pos x="connsiteX69586" y="connsiteY69586"/>
              </a:cxn>
              <a:cxn ang="0">
                <a:pos x="connsiteX69587" y="connsiteY69587"/>
              </a:cxn>
              <a:cxn ang="0">
                <a:pos x="connsiteX69588" y="connsiteY69588"/>
              </a:cxn>
              <a:cxn ang="0">
                <a:pos x="connsiteX69589" y="connsiteY69589"/>
              </a:cxn>
              <a:cxn ang="0">
                <a:pos x="connsiteX69590" y="connsiteY69590"/>
              </a:cxn>
              <a:cxn ang="0">
                <a:pos x="connsiteX69591" y="connsiteY69591"/>
              </a:cxn>
              <a:cxn ang="0">
                <a:pos x="connsiteX69592" y="connsiteY69592"/>
              </a:cxn>
              <a:cxn ang="0">
                <a:pos x="connsiteX69593" y="connsiteY69593"/>
              </a:cxn>
              <a:cxn ang="0">
                <a:pos x="connsiteX69594" y="connsiteY69594"/>
              </a:cxn>
              <a:cxn ang="0">
                <a:pos x="connsiteX69595" y="connsiteY69595"/>
              </a:cxn>
              <a:cxn ang="0">
                <a:pos x="connsiteX69596" y="connsiteY69596"/>
              </a:cxn>
              <a:cxn ang="0">
                <a:pos x="connsiteX69597" y="connsiteY69597"/>
              </a:cxn>
              <a:cxn ang="0">
                <a:pos x="connsiteX69598" y="connsiteY69598"/>
              </a:cxn>
              <a:cxn ang="0">
                <a:pos x="connsiteX69599" y="connsiteY69599"/>
              </a:cxn>
              <a:cxn ang="0">
                <a:pos x="connsiteX69600" y="connsiteY69600"/>
              </a:cxn>
              <a:cxn ang="0">
                <a:pos x="connsiteX69601" y="connsiteY69601"/>
              </a:cxn>
              <a:cxn ang="0">
                <a:pos x="connsiteX69602" y="connsiteY69602"/>
              </a:cxn>
              <a:cxn ang="0">
                <a:pos x="connsiteX69603" y="connsiteY69603"/>
              </a:cxn>
              <a:cxn ang="0">
                <a:pos x="connsiteX69604" y="connsiteY69604"/>
              </a:cxn>
              <a:cxn ang="0">
                <a:pos x="connsiteX69605" y="connsiteY69605"/>
              </a:cxn>
              <a:cxn ang="0">
                <a:pos x="connsiteX69606" y="connsiteY69606"/>
              </a:cxn>
              <a:cxn ang="0">
                <a:pos x="connsiteX69607" y="connsiteY69607"/>
              </a:cxn>
              <a:cxn ang="0">
                <a:pos x="connsiteX69608" y="connsiteY69608"/>
              </a:cxn>
              <a:cxn ang="0">
                <a:pos x="connsiteX69609" y="connsiteY69609"/>
              </a:cxn>
              <a:cxn ang="0">
                <a:pos x="connsiteX69610" y="connsiteY69610"/>
              </a:cxn>
              <a:cxn ang="0">
                <a:pos x="connsiteX69611" y="connsiteY69611"/>
              </a:cxn>
              <a:cxn ang="0">
                <a:pos x="connsiteX69612" y="connsiteY69612"/>
              </a:cxn>
              <a:cxn ang="0">
                <a:pos x="connsiteX69613" y="connsiteY69613"/>
              </a:cxn>
              <a:cxn ang="0">
                <a:pos x="connsiteX69614" y="connsiteY69614"/>
              </a:cxn>
              <a:cxn ang="0">
                <a:pos x="connsiteX69615" y="connsiteY69615"/>
              </a:cxn>
              <a:cxn ang="0">
                <a:pos x="connsiteX69616" y="connsiteY69616"/>
              </a:cxn>
              <a:cxn ang="0">
                <a:pos x="connsiteX69617" y="connsiteY69617"/>
              </a:cxn>
              <a:cxn ang="0">
                <a:pos x="connsiteX69618" y="connsiteY69618"/>
              </a:cxn>
              <a:cxn ang="0">
                <a:pos x="connsiteX69619" y="connsiteY69619"/>
              </a:cxn>
              <a:cxn ang="0">
                <a:pos x="connsiteX69620" y="connsiteY69620"/>
              </a:cxn>
              <a:cxn ang="0">
                <a:pos x="connsiteX69621" y="connsiteY69621"/>
              </a:cxn>
              <a:cxn ang="0">
                <a:pos x="connsiteX69622" y="connsiteY69622"/>
              </a:cxn>
              <a:cxn ang="0">
                <a:pos x="connsiteX69623" y="connsiteY69623"/>
              </a:cxn>
              <a:cxn ang="0">
                <a:pos x="connsiteX69624" y="connsiteY69624"/>
              </a:cxn>
              <a:cxn ang="0">
                <a:pos x="connsiteX69625" y="connsiteY69625"/>
              </a:cxn>
              <a:cxn ang="0">
                <a:pos x="connsiteX69626" y="connsiteY69626"/>
              </a:cxn>
              <a:cxn ang="0">
                <a:pos x="connsiteX69627" y="connsiteY69627"/>
              </a:cxn>
              <a:cxn ang="0">
                <a:pos x="connsiteX69628" y="connsiteY69628"/>
              </a:cxn>
              <a:cxn ang="0">
                <a:pos x="connsiteX69629" y="connsiteY69629"/>
              </a:cxn>
              <a:cxn ang="0">
                <a:pos x="connsiteX69630" y="connsiteY69630"/>
              </a:cxn>
              <a:cxn ang="0">
                <a:pos x="connsiteX69631" y="connsiteY69631"/>
              </a:cxn>
              <a:cxn ang="0">
                <a:pos x="connsiteX69632" y="connsiteY69632"/>
              </a:cxn>
              <a:cxn ang="0">
                <a:pos x="connsiteX69633" y="connsiteY69633"/>
              </a:cxn>
              <a:cxn ang="0">
                <a:pos x="connsiteX69634" y="connsiteY69634"/>
              </a:cxn>
              <a:cxn ang="0">
                <a:pos x="connsiteX69635" y="connsiteY69635"/>
              </a:cxn>
              <a:cxn ang="0">
                <a:pos x="connsiteX69636" y="connsiteY69636"/>
              </a:cxn>
              <a:cxn ang="0">
                <a:pos x="connsiteX69637" y="connsiteY69637"/>
              </a:cxn>
              <a:cxn ang="0">
                <a:pos x="connsiteX69638" y="connsiteY69638"/>
              </a:cxn>
              <a:cxn ang="0">
                <a:pos x="connsiteX69639" y="connsiteY69639"/>
              </a:cxn>
              <a:cxn ang="0">
                <a:pos x="connsiteX69640" y="connsiteY69640"/>
              </a:cxn>
              <a:cxn ang="0">
                <a:pos x="connsiteX69641" y="connsiteY69641"/>
              </a:cxn>
              <a:cxn ang="0">
                <a:pos x="connsiteX69642" y="connsiteY69642"/>
              </a:cxn>
              <a:cxn ang="0">
                <a:pos x="connsiteX69643" y="connsiteY69643"/>
              </a:cxn>
              <a:cxn ang="0">
                <a:pos x="connsiteX69644" y="connsiteY69644"/>
              </a:cxn>
              <a:cxn ang="0">
                <a:pos x="connsiteX69645" y="connsiteY69645"/>
              </a:cxn>
              <a:cxn ang="0">
                <a:pos x="connsiteX69646" y="connsiteY69646"/>
              </a:cxn>
              <a:cxn ang="0">
                <a:pos x="connsiteX69647" y="connsiteY69647"/>
              </a:cxn>
              <a:cxn ang="0">
                <a:pos x="connsiteX69648" y="connsiteY69648"/>
              </a:cxn>
              <a:cxn ang="0">
                <a:pos x="connsiteX69649" y="connsiteY69649"/>
              </a:cxn>
              <a:cxn ang="0">
                <a:pos x="connsiteX69650" y="connsiteY69650"/>
              </a:cxn>
              <a:cxn ang="0">
                <a:pos x="connsiteX69651" y="connsiteY69651"/>
              </a:cxn>
              <a:cxn ang="0">
                <a:pos x="connsiteX69652" y="connsiteY69652"/>
              </a:cxn>
              <a:cxn ang="0">
                <a:pos x="connsiteX69653" y="connsiteY69653"/>
              </a:cxn>
              <a:cxn ang="0">
                <a:pos x="connsiteX69654" y="connsiteY69654"/>
              </a:cxn>
              <a:cxn ang="0">
                <a:pos x="connsiteX69655" y="connsiteY69655"/>
              </a:cxn>
              <a:cxn ang="0">
                <a:pos x="connsiteX69656" y="connsiteY69656"/>
              </a:cxn>
              <a:cxn ang="0">
                <a:pos x="connsiteX69657" y="connsiteY69657"/>
              </a:cxn>
              <a:cxn ang="0">
                <a:pos x="connsiteX69658" y="connsiteY69658"/>
              </a:cxn>
              <a:cxn ang="0">
                <a:pos x="connsiteX69659" y="connsiteY69659"/>
              </a:cxn>
              <a:cxn ang="0">
                <a:pos x="connsiteX69660" y="connsiteY69660"/>
              </a:cxn>
              <a:cxn ang="0">
                <a:pos x="connsiteX69661" y="connsiteY69661"/>
              </a:cxn>
              <a:cxn ang="0">
                <a:pos x="connsiteX69662" y="connsiteY69662"/>
              </a:cxn>
              <a:cxn ang="0">
                <a:pos x="connsiteX69663" y="connsiteY69663"/>
              </a:cxn>
              <a:cxn ang="0">
                <a:pos x="connsiteX69664" y="connsiteY69664"/>
              </a:cxn>
              <a:cxn ang="0">
                <a:pos x="connsiteX69665" y="connsiteY69665"/>
              </a:cxn>
              <a:cxn ang="0">
                <a:pos x="connsiteX69666" y="connsiteY69666"/>
              </a:cxn>
              <a:cxn ang="0">
                <a:pos x="connsiteX69667" y="connsiteY69667"/>
              </a:cxn>
              <a:cxn ang="0">
                <a:pos x="connsiteX69668" y="connsiteY69668"/>
              </a:cxn>
              <a:cxn ang="0">
                <a:pos x="connsiteX69669" y="connsiteY69669"/>
              </a:cxn>
              <a:cxn ang="0">
                <a:pos x="connsiteX69670" y="connsiteY69670"/>
              </a:cxn>
              <a:cxn ang="0">
                <a:pos x="connsiteX69671" y="connsiteY69671"/>
              </a:cxn>
              <a:cxn ang="0">
                <a:pos x="connsiteX69672" y="connsiteY69672"/>
              </a:cxn>
              <a:cxn ang="0">
                <a:pos x="connsiteX69673" y="connsiteY69673"/>
              </a:cxn>
              <a:cxn ang="0">
                <a:pos x="connsiteX69674" y="connsiteY69674"/>
              </a:cxn>
              <a:cxn ang="0">
                <a:pos x="connsiteX69675" y="connsiteY69675"/>
              </a:cxn>
              <a:cxn ang="0">
                <a:pos x="connsiteX69676" y="connsiteY69676"/>
              </a:cxn>
              <a:cxn ang="0">
                <a:pos x="connsiteX69677" y="connsiteY69677"/>
              </a:cxn>
              <a:cxn ang="0">
                <a:pos x="connsiteX69678" y="connsiteY69678"/>
              </a:cxn>
              <a:cxn ang="0">
                <a:pos x="connsiteX69679" y="connsiteY69679"/>
              </a:cxn>
              <a:cxn ang="0">
                <a:pos x="connsiteX69680" y="connsiteY69680"/>
              </a:cxn>
              <a:cxn ang="0">
                <a:pos x="connsiteX69681" y="connsiteY69681"/>
              </a:cxn>
              <a:cxn ang="0">
                <a:pos x="connsiteX69682" y="connsiteY69682"/>
              </a:cxn>
              <a:cxn ang="0">
                <a:pos x="connsiteX69683" y="connsiteY69683"/>
              </a:cxn>
              <a:cxn ang="0">
                <a:pos x="connsiteX69684" y="connsiteY69684"/>
              </a:cxn>
              <a:cxn ang="0">
                <a:pos x="connsiteX69685" y="connsiteY69685"/>
              </a:cxn>
              <a:cxn ang="0">
                <a:pos x="connsiteX69686" y="connsiteY69686"/>
              </a:cxn>
              <a:cxn ang="0">
                <a:pos x="connsiteX69687" y="connsiteY69687"/>
              </a:cxn>
              <a:cxn ang="0">
                <a:pos x="connsiteX69688" y="connsiteY69688"/>
              </a:cxn>
              <a:cxn ang="0">
                <a:pos x="connsiteX69689" y="connsiteY69689"/>
              </a:cxn>
              <a:cxn ang="0">
                <a:pos x="connsiteX69690" y="connsiteY69690"/>
              </a:cxn>
              <a:cxn ang="0">
                <a:pos x="connsiteX69691" y="connsiteY69691"/>
              </a:cxn>
              <a:cxn ang="0">
                <a:pos x="connsiteX69692" y="connsiteY69692"/>
              </a:cxn>
              <a:cxn ang="0">
                <a:pos x="connsiteX69693" y="connsiteY69693"/>
              </a:cxn>
              <a:cxn ang="0">
                <a:pos x="connsiteX69694" y="connsiteY69694"/>
              </a:cxn>
              <a:cxn ang="0">
                <a:pos x="connsiteX69695" y="connsiteY69695"/>
              </a:cxn>
              <a:cxn ang="0">
                <a:pos x="connsiteX69696" y="connsiteY69696"/>
              </a:cxn>
              <a:cxn ang="0">
                <a:pos x="connsiteX69697" y="connsiteY69697"/>
              </a:cxn>
              <a:cxn ang="0">
                <a:pos x="connsiteX69698" y="connsiteY69698"/>
              </a:cxn>
              <a:cxn ang="0">
                <a:pos x="connsiteX69699" y="connsiteY69699"/>
              </a:cxn>
              <a:cxn ang="0">
                <a:pos x="connsiteX69700" y="connsiteY69700"/>
              </a:cxn>
              <a:cxn ang="0">
                <a:pos x="connsiteX69701" y="connsiteY69701"/>
              </a:cxn>
              <a:cxn ang="0">
                <a:pos x="connsiteX69702" y="connsiteY69702"/>
              </a:cxn>
              <a:cxn ang="0">
                <a:pos x="connsiteX69703" y="connsiteY69703"/>
              </a:cxn>
              <a:cxn ang="0">
                <a:pos x="connsiteX69704" y="connsiteY69704"/>
              </a:cxn>
              <a:cxn ang="0">
                <a:pos x="connsiteX69705" y="connsiteY69705"/>
              </a:cxn>
              <a:cxn ang="0">
                <a:pos x="connsiteX69706" y="connsiteY69706"/>
              </a:cxn>
              <a:cxn ang="0">
                <a:pos x="connsiteX69707" y="connsiteY69707"/>
              </a:cxn>
              <a:cxn ang="0">
                <a:pos x="connsiteX69708" y="connsiteY69708"/>
              </a:cxn>
              <a:cxn ang="0">
                <a:pos x="connsiteX69709" y="connsiteY69709"/>
              </a:cxn>
              <a:cxn ang="0">
                <a:pos x="connsiteX69710" y="connsiteY69710"/>
              </a:cxn>
              <a:cxn ang="0">
                <a:pos x="connsiteX69711" y="connsiteY69711"/>
              </a:cxn>
              <a:cxn ang="0">
                <a:pos x="connsiteX69712" y="connsiteY69712"/>
              </a:cxn>
              <a:cxn ang="0">
                <a:pos x="connsiteX69713" y="connsiteY69713"/>
              </a:cxn>
              <a:cxn ang="0">
                <a:pos x="connsiteX69714" y="connsiteY69714"/>
              </a:cxn>
              <a:cxn ang="0">
                <a:pos x="connsiteX69715" y="connsiteY69715"/>
              </a:cxn>
              <a:cxn ang="0">
                <a:pos x="connsiteX69716" y="connsiteY69716"/>
              </a:cxn>
              <a:cxn ang="0">
                <a:pos x="connsiteX69717" y="connsiteY69717"/>
              </a:cxn>
              <a:cxn ang="0">
                <a:pos x="connsiteX69718" y="connsiteY69718"/>
              </a:cxn>
              <a:cxn ang="0">
                <a:pos x="connsiteX69719" y="connsiteY69719"/>
              </a:cxn>
              <a:cxn ang="0">
                <a:pos x="connsiteX69720" y="connsiteY69720"/>
              </a:cxn>
              <a:cxn ang="0">
                <a:pos x="connsiteX69721" y="connsiteY69721"/>
              </a:cxn>
              <a:cxn ang="0">
                <a:pos x="connsiteX69722" y="connsiteY69722"/>
              </a:cxn>
              <a:cxn ang="0">
                <a:pos x="connsiteX69723" y="connsiteY69723"/>
              </a:cxn>
              <a:cxn ang="0">
                <a:pos x="connsiteX69724" y="connsiteY69724"/>
              </a:cxn>
              <a:cxn ang="0">
                <a:pos x="connsiteX69725" y="connsiteY69725"/>
              </a:cxn>
              <a:cxn ang="0">
                <a:pos x="connsiteX69726" y="connsiteY69726"/>
              </a:cxn>
              <a:cxn ang="0">
                <a:pos x="connsiteX69727" y="connsiteY69727"/>
              </a:cxn>
              <a:cxn ang="0">
                <a:pos x="connsiteX69728" y="connsiteY69728"/>
              </a:cxn>
              <a:cxn ang="0">
                <a:pos x="connsiteX69729" y="connsiteY69729"/>
              </a:cxn>
              <a:cxn ang="0">
                <a:pos x="connsiteX69730" y="connsiteY69730"/>
              </a:cxn>
              <a:cxn ang="0">
                <a:pos x="connsiteX69731" y="connsiteY69731"/>
              </a:cxn>
              <a:cxn ang="0">
                <a:pos x="connsiteX69732" y="connsiteY69732"/>
              </a:cxn>
              <a:cxn ang="0">
                <a:pos x="connsiteX69733" y="connsiteY69733"/>
              </a:cxn>
              <a:cxn ang="0">
                <a:pos x="connsiteX69734" y="connsiteY69734"/>
              </a:cxn>
              <a:cxn ang="0">
                <a:pos x="connsiteX69735" y="connsiteY69735"/>
              </a:cxn>
              <a:cxn ang="0">
                <a:pos x="connsiteX69736" y="connsiteY69736"/>
              </a:cxn>
              <a:cxn ang="0">
                <a:pos x="connsiteX69737" y="connsiteY69737"/>
              </a:cxn>
              <a:cxn ang="0">
                <a:pos x="connsiteX69738" y="connsiteY69738"/>
              </a:cxn>
              <a:cxn ang="0">
                <a:pos x="connsiteX69739" y="connsiteY69739"/>
              </a:cxn>
              <a:cxn ang="0">
                <a:pos x="connsiteX69740" y="connsiteY69740"/>
              </a:cxn>
              <a:cxn ang="0">
                <a:pos x="connsiteX69741" y="connsiteY69741"/>
              </a:cxn>
              <a:cxn ang="0">
                <a:pos x="connsiteX69742" y="connsiteY69742"/>
              </a:cxn>
              <a:cxn ang="0">
                <a:pos x="connsiteX69743" y="connsiteY69743"/>
              </a:cxn>
              <a:cxn ang="0">
                <a:pos x="connsiteX69744" y="connsiteY69744"/>
              </a:cxn>
              <a:cxn ang="0">
                <a:pos x="connsiteX69745" y="connsiteY69745"/>
              </a:cxn>
              <a:cxn ang="0">
                <a:pos x="connsiteX69746" y="connsiteY69746"/>
              </a:cxn>
              <a:cxn ang="0">
                <a:pos x="connsiteX69747" y="connsiteY69747"/>
              </a:cxn>
              <a:cxn ang="0">
                <a:pos x="connsiteX69748" y="connsiteY69748"/>
              </a:cxn>
              <a:cxn ang="0">
                <a:pos x="connsiteX69749" y="connsiteY69749"/>
              </a:cxn>
              <a:cxn ang="0">
                <a:pos x="connsiteX69750" y="connsiteY69750"/>
              </a:cxn>
              <a:cxn ang="0">
                <a:pos x="connsiteX69751" y="connsiteY69751"/>
              </a:cxn>
              <a:cxn ang="0">
                <a:pos x="connsiteX69752" y="connsiteY69752"/>
              </a:cxn>
              <a:cxn ang="0">
                <a:pos x="connsiteX69753" y="connsiteY69753"/>
              </a:cxn>
              <a:cxn ang="0">
                <a:pos x="connsiteX69754" y="connsiteY69754"/>
              </a:cxn>
              <a:cxn ang="0">
                <a:pos x="connsiteX69755" y="connsiteY69755"/>
              </a:cxn>
              <a:cxn ang="0">
                <a:pos x="connsiteX69756" y="connsiteY69756"/>
              </a:cxn>
              <a:cxn ang="0">
                <a:pos x="connsiteX69757" y="connsiteY69757"/>
              </a:cxn>
              <a:cxn ang="0">
                <a:pos x="connsiteX69758" y="connsiteY69758"/>
              </a:cxn>
              <a:cxn ang="0">
                <a:pos x="connsiteX69759" y="connsiteY69759"/>
              </a:cxn>
              <a:cxn ang="0">
                <a:pos x="connsiteX69760" y="connsiteY69760"/>
              </a:cxn>
              <a:cxn ang="0">
                <a:pos x="connsiteX69761" y="connsiteY69761"/>
              </a:cxn>
              <a:cxn ang="0">
                <a:pos x="connsiteX69762" y="connsiteY69762"/>
              </a:cxn>
              <a:cxn ang="0">
                <a:pos x="connsiteX69763" y="connsiteY69763"/>
              </a:cxn>
              <a:cxn ang="0">
                <a:pos x="connsiteX69764" y="connsiteY69764"/>
              </a:cxn>
              <a:cxn ang="0">
                <a:pos x="connsiteX69765" y="connsiteY69765"/>
              </a:cxn>
              <a:cxn ang="0">
                <a:pos x="connsiteX69766" y="connsiteY69766"/>
              </a:cxn>
              <a:cxn ang="0">
                <a:pos x="connsiteX69767" y="connsiteY69767"/>
              </a:cxn>
              <a:cxn ang="0">
                <a:pos x="connsiteX69768" y="connsiteY69768"/>
              </a:cxn>
              <a:cxn ang="0">
                <a:pos x="connsiteX69769" y="connsiteY69769"/>
              </a:cxn>
              <a:cxn ang="0">
                <a:pos x="connsiteX69770" y="connsiteY69770"/>
              </a:cxn>
              <a:cxn ang="0">
                <a:pos x="connsiteX69771" y="connsiteY69771"/>
              </a:cxn>
              <a:cxn ang="0">
                <a:pos x="connsiteX69772" y="connsiteY69772"/>
              </a:cxn>
              <a:cxn ang="0">
                <a:pos x="connsiteX69773" y="connsiteY69773"/>
              </a:cxn>
              <a:cxn ang="0">
                <a:pos x="connsiteX69774" y="connsiteY69774"/>
              </a:cxn>
              <a:cxn ang="0">
                <a:pos x="connsiteX69775" y="connsiteY69775"/>
              </a:cxn>
              <a:cxn ang="0">
                <a:pos x="connsiteX69776" y="connsiteY69776"/>
              </a:cxn>
              <a:cxn ang="0">
                <a:pos x="connsiteX69777" y="connsiteY69777"/>
              </a:cxn>
              <a:cxn ang="0">
                <a:pos x="connsiteX69778" y="connsiteY69778"/>
              </a:cxn>
              <a:cxn ang="0">
                <a:pos x="connsiteX69779" y="connsiteY69779"/>
              </a:cxn>
              <a:cxn ang="0">
                <a:pos x="connsiteX69780" y="connsiteY69780"/>
              </a:cxn>
              <a:cxn ang="0">
                <a:pos x="connsiteX69781" y="connsiteY69781"/>
              </a:cxn>
              <a:cxn ang="0">
                <a:pos x="connsiteX69782" y="connsiteY69782"/>
              </a:cxn>
              <a:cxn ang="0">
                <a:pos x="connsiteX69783" y="connsiteY69783"/>
              </a:cxn>
              <a:cxn ang="0">
                <a:pos x="connsiteX69784" y="connsiteY69784"/>
              </a:cxn>
              <a:cxn ang="0">
                <a:pos x="connsiteX69785" y="connsiteY69785"/>
              </a:cxn>
              <a:cxn ang="0">
                <a:pos x="connsiteX69786" y="connsiteY69786"/>
              </a:cxn>
              <a:cxn ang="0">
                <a:pos x="connsiteX69787" y="connsiteY69787"/>
              </a:cxn>
              <a:cxn ang="0">
                <a:pos x="connsiteX69788" y="connsiteY69788"/>
              </a:cxn>
              <a:cxn ang="0">
                <a:pos x="connsiteX69789" y="connsiteY69789"/>
              </a:cxn>
              <a:cxn ang="0">
                <a:pos x="connsiteX69790" y="connsiteY69790"/>
              </a:cxn>
              <a:cxn ang="0">
                <a:pos x="connsiteX69791" y="connsiteY69791"/>
              </a:cxn>
              <a:cxn ang="0">
                <a:pos x="connsiteX69792" y="connsiteY69792"/>
              </a:cxn>
              <a:cxn ang="0">
                <a:pos x="connsiteX69793" y="connsiteY69793"/>
              </a:cxn>
              <a:cxn ang="0">
                <a:pos x="connsiteX69794" y="connsiteY69794"/>
              </a:cxn>
              <a:cxn ang="0">
                <a:pos x="connsiteX69795" y="connsiteY69795"/>
              </a:cxn>
              <a:cxn ang="0">
                <a:pos x="connsiteX69796" y="connsiteY69796"/>
              </a:cxn>
              <a:cxn ang="0">
                <a:pos x="connsiteX69797" y="connsiteY69797"/>
              </a:cxn>
              <a:cxn ang="0">
                <a:pos x="connsiteX69798" y="connsiteY69798"/>
              </a:cxn>
              <a:cxn ang="0">
                <a:pos x="connsiteX69799" y="connsiteY69799"/>
              </a:cxn>
              <a:cxn ang="0">
                <a:pos x="connsiteX69800" y="connsiteY69800"/>
              </a:cxn>
              <a:cxn ang="0">
                <a:pos x="connsiteX69801" y="connsiteY69801"/>
              </a:cxn>
              <a:cxn ang="0">
                <a:pos x="connsiteX69802" y="connsiteY69802"/>
              </a:cxn>
              <a:cxn ang="0">
                <a:pos x="connsiteX69803" y="connsiteY69803"/>
              </a:cxn>
              <a:cxn ang="0">
                <a:pos x="connsiteX69804" y="connsiteY69804"/>
              </a:cxn>
              <a:cxn ang="0">
                <a:pos x="connsiteX69805" y="connsiteY69805"/>
              </a:cxn>
              <a:cxn ang="0">
                <a:pos x="connsiteX69806" y="connsiteY69806"/>
              </a:cxn>
              <a:cxn ang="0">
                <a:pos x="connsiteX69807" y="connsiteY69807"/>
              </a:cxn>
              <a:cxn ang="0">
                <a:pos x="connsiteX69808" y="connsiteY69808"/>
              </a:cxn>
              <a:cxn ang="0">
                <a:pos x="connsiteX69809" y="connsiteY69809"/>
              </a:cxn>
              <a:cxn ang="0">
                <a:pos x="connsiteX69810" y="connsiteY69810"/>
              </a:cxn>
              <a:cxn ang="0">
                <a:pos x="connsiteX69811" y="connsiteY69811"/>
              </a:cxn>
              <a:cxn ang="0">
                <a:pos x="connsiteX69812" y="connsiteY69812"/>
              </a:cxn>
              <a:cxn ang="0">
                <a:pos x="connsiteX69813" y="connsiteY69813"/>
              </a:cxn>
              <a:cxn ang="0">
                <a:pos x="connsiteX69814" y="connsiteY69814"/>
              </a:cxn>
              <a:cxn ang="0">
                <a:pos x="connsiteX69815" y="connsiteY69815"/>
              </a:cxn>
              <a:cxn ang="0">
                <a:pos x="connsiteX69816" y="connsiteY69816"/>
              </a:cxn>
              <a:cxn ang="0">
                <a:pos x="connsiteX69817" y="connsiteY69817"/>
              </a:cxn>
              <a:cxn ang="0">
                <a:pos x="connsiteX69818" y="connsiteY69818"/>
              </a:cxn>
              <a:cxn ang="0">
                <a:pos x="connsiteX69819" y="connsiteY69819"/>
              </a:cxn>
              <a:cxn ang="0">
                <a:pos x="connsiteX69820" y="connsiteY69820"/>
              </a:cxn>
              <a:cxn ang="0">
                <a:pos x="connsiteX69821" y="connsiteY69821"/>
              </a:cxn>
              <a:cxn ang="0">
                <a:pos x="connsiteX69822" y="connsiteY69822"/>
              </a:cxn>
              <a:cxn ang="0">
                <a:pos x="connsiteX69823" y="connsiteY69823"/>
              </a:cxn>
              <a:cxn ang="0">
                <a:pos x="connsiteX69824" y="connsiteY69824"/>
              </a:cxn>
              <a:cxn ang="0">
                <a:pos x="connsiteX69825" y="connsiteY69825"/>
              </a:cxn>
              <a:cxn ang="0">
                <a:pos x="connsiteX69826" y="connsiteY69826"/>
              </a:cxn>
              <a:cxn ang="0">
                <a:pos x="connsiteX69827" y="connsiteY69827"/>
              </a:cxn>
              <a:cxn ang="0">
                <a:pos x="connsiteX69828" y="connsiteY69828"/>
              </a:cxn>
              <a:cxn ang="0">
                <a:pos x="connsiteX69829" y="connsiteY69829"/>
              </a:cxn>
              <a:cxn ang="0">
                <a:pos x="connsiteX69830" y="connsiteY69830"/>
              </a:cxn>
              <a:cxn ang="0">
                <a:pos x="connsiteX69831" y="connsiteY69831"/>
              </a:cxn>
              <a:cxn ang="0">
                <a:pos x="connsiteX69832" y="connsiteY69832"/>
              </a:cxn>
              <a:cxn ang="0">
                <a:pos x="connsiteX69833" y="connsiteY69833"/>
              </a:cxn>
              <a:cxn ang="0">
                <a:pos x="connsiteX69834" y="connsiteY69834"/>
              </a:cxn>
              <a:cxn ang="0">
                <a:pos x="connsiteX69835" y="connsiteY69835"/>
              </a:cxn>
              <a:cxn ang="0">
                <a:pos x="connsiteX69836" y="connsiteY69836"/>
              </a:cxn>
              <a:cxn ang="0">
                <a:pos x="connsiteX69837" y="connsiteY69837"/>
              </a:cxn>
              <a:cxn ang="0">
                <a:pos x="connsiteX69838" y="connsiteY69838"/>
              </a:cxn>
              <a:cxn ang="0">
                <a:pos x="connsiteX69839" y="connsiteY69839"/>
              </a:cxn>
              <a:cxn ang="0">
                <a:pos x="connsiteX69840" y="connsiteY69840"/>
              </a:cxn>
              <a:cxn ang="0">
                <a:pos x="connsiteX69841" y="connsiteY69841"/>
              </a:cxn>
              <a:cxn ang="0">
                <a:pos x="connsiteX69842" y="connsiteY69842"/>
              </a:cxn>
              <a:cxn ang="0">
                <a:pos x="connsiteX69843" y="connsiteY69843"/>
              </a:cxn>
              <a:cxn ang="0">
                <a:pos x="connsiteX69844" y="connsiteY69844"/>
              </a:cxn>
              <a:cxn ang="0">
                <a:pos x="connsiteX69845" y="connsiteY69845"/>
              </a:cxn>
              <a:cxn ang="0">
                <a:pos x="connsiteX69846" y="connsiteY69846"/>
              </a:cxn>
              <a:cxn ang="0">
                <a:pos x="connsiteX69847" y="connsiteY69847"/>
              </a:cxn>
              <a:cxn ang="0">
                <a:pos x="connsiteX69848" y="connsiteY69848"/>
              </a:cxn>
              <a:cxn ang="0">
                <a:pos x="connsiteX69849" y="connsiteY69849"/>
              </a:cxn>
              <a:cxn ang="0">
                <a:pos x="connsiteX69850" y="connsiteY69850"/>
              </a:cxn>
              <a:cxn ang="0">
                <a:pos x="connsiteX69851" y="connsiteY69851"/>
              </a:cxn>
              <a:cxn ang="0">
                <a:pos x="connsiteX69852" y="connsiteY69852"/>
              </a:cxn>
              <a:cxn ang="0">
                <a:pos x="connsiteX69853" y="connsiteY69853"/>
              </a:cxn>
              <a:cxn ang="0">
                <a:pos x="connsiteX69854" y="connsiteY69854"/>
              </a:cxn>
              <a:cxn ang="0">
                <a:pos x="connsiteX69855" y="connsiteY69855"/>
              </a:cxn>
              <a:cxn ang="0">
                <a:pos x="connsiteX69856" y="connsiteY69856"/>
              </a:cxn>
              <a:cxn ang="0">
                <a:pos x="connsiteX69857" y="connsiteY69857"/>
              </a:cxn>
              <a:cxn ang="0">
                <a:pos x="connsiteX69858" y="connsiteY69858"/>
              </a:cxn>
              <a:cxn ang="0">
                <a:pos x="connsiteX69859" y="connsiteY69859"/>
              </a:cxn>
              <a:cxn ang="0">
                <a:pos x="connsiteX69860" y="connsiteY69860"/>
              </a:cxn>
              <a:cxn ang="0">
                <a:pos x="connsiteX69861" y="connsiteY69861"/>
              </a:cxn>
              <a:cxn ang="0">
                <a:pos x="connsiteX69862" y="connsiteY69862"/>
              </a:cxn>
              <a:cxn ang="0">
                <a:pos x="connsiteX69863" y="connsiteY69863"/>
              </a:cxn>
              <a:cxn ang="0">
                <a:pos x="connsiteX69864" y="connsiteY69864"/>
              </a:cxn>
              <a:cxn ang="0">
                <a:pos x="connsiteX69865" y="connsiteY69865"/>
              </a:cxn>
              <a:cxn ang="0">
                <a:pos x="connsiteX69866" y="connsiteY69866"/>
              </a:cxn>
              <a:cxn ang="0">
                <a:pos x="connsiteX69867" y="connsiteY69867"/>
              </a:cxn>
              <a:cxn ang="0">
                <a:pos x="connsiteX69868" y="connsiteY69868"/>
              </a:cxn>
              <a:cxn ang="0">
                <a:pos x="connsiteX69869" y="connsiteY69869"/>
              </a:cxn>
              <a:cxn ang="0">
                <a:pos x="connsiteX69870" y="connsiteY69870"/>
              </a:cxn>
              <a:cxn ang="0">
                <a:pos x="connsiteX69871" y="connsiteY69871"/>
              </a:cxn>
              <a:cxn ang="0">
                <a:pos x="connsiteX69872" y="connsiteY69872"/>
              </a:cxn>
              <a:cxn ang="0">
                <a:pos x="connsiteX69873" y="connsiteY69873"/>
              </a:cxn>
              <a:cxn ang="0">
                <a:pos x="connsiteX69874" y="connsiteY69874"/>
              </a:cxn>
              <a:cxn ang="0">
                <a:pos x="connsiteX69875" y="connsiteY69875"/>
              </a:cxn>
              <a:cxn ang="0">
                <a:pos x="connsiteX69876" y="connsiteY69876"/>
              </a:cxn>
              <a:cxn ang="0">
                <a:pos x="connsiteX69877" y="connsiteY69877"/>
              </a:cxn>
              <a:cxn ang="0">
                <a:pos x="connsiteX69878" y="connsiteY69878"/>
              </a:cxn>
              <a:cxn ang="0">
                <a:pos x="connsiteX69879" y="connsiteY69879"/>
              </a:cxn>
              <a:cxn ang="0">
                <a:pos x="connsiteX69880" y="connsiteY69880"/>
              </a:cxn>
              <a:cxn ang="0">
                <a:pos x="connsiteX69881" y="connsiteY69881"/>
              </a:cxn>
              <a:cxn ang="0">
                <a:pos x="connsiteX69882" y="connsiteY69882"/>
              </a:cxn>
              <a:cxn ang="0">
                <a:pos x="connsiteX69883" y="connsiteY69883"/>
              </a:cxn>
              <a:cxn ang="0">
                <a:pos x="connsiteX69884" y="connsiteY69884"/>
              </a:cxn>
              <a:cxn ang="0">
                <a:pos x="connsiteX69885" y="connsiteY69885"/>
              </a:cxn>
              <a:cxn ang="0">
                <a:pos x="connsiteX69886" y="connsiteY69886"/>
              </a:cxn>
              <a:cxn ang="0">
                <a:pos x="connsiteX69887" y="connsiteY69887"/>
              </a:cxn>
              <a:cxn ang="0">
                <a:pos x="connsiteX69888" y="connsiteY69888"/>
              </a:cxn>
              <a:cxn ang="0">
                <a:pos x="connsiteX69889" y="connsiteY69889"/>
              </a:cxn>
              <a:cxn ang="0">
                <a:pos x="connsiteX69890" y="connsiteY69890"/>
              </a:cxn>
              <a:cxn ang="0">
                <a:pos x="connsiteX69891" y="connsiteY69891"/>
              </a:cxn>
              <a:cxn ang="0">
                <a:pos x="connsiteX69892" y="connsiteY69892"/>
              </a:cxn>
              <a:cxn ang="0">
                <a:pos x="connsiteX69893" y="connsiteY69893"/>
              </a:cxn>
              <a:cxn ang="0">
                <a:pos x="connsiteX69894" y="connsiteY69894"/>
              </a:cxn>
              <a:cxn ang="0">
                <a:pos x="connsiteX69895" y="connsiteY69895"/>
              </a:cxn>
              <a:cxn ang="0">
                <a:pos x="connsiteX69896" y="connsiteY69896"/>
              </a:cxn>
              <a:cxn ang="0">
                <a:pos x="connsiteX69897" y="connsiteY69897"/>
              </a:cxn>
              <a:cxn ang="0">
                <a:pos x="connsiteX69898" y="connsiteY69898"/>
              </a:cxn>
              <a:cxn ang="0">
                <a:pos x="connsiteX69899" y="connsiteY69899"/>
              </a:cxn>
              <a:cxn ang="0">
                <a:pos x="connsiteX69900" y="connsiteY69900"/>
              </a:cxn>
              <a:cxn ang="0">
                <a:pos x="connsiteX69901" y="connsiteY69901"/>
              </a:cxn>
              <a:cxn ang="0">
                <a:pos x="connsiteX69902" y="connsiteY69902"/>
              </a:cxn>
              <a:cxn ang="0">
                <a:pos x="connsiteX69903" y="connsiteY69903"/>
              </a:cxn>
              <a:cxn ang="0">
                <a:pos x="connsiteX69904" y="connsiteY69904"/>
              </a:cxn>
              <a:cxn ang="0">
                <a:pos x="connsiteX69905" y="connsiteY69905"/>
              </a:cxn>
              <a:cxn ang="0">
                <a:pos x="connsiteX69906" y="connsiteY69906"/>
              </a:cxn>
              <a:cxn ang="0">
                <a:pos x="connsiteX69907" y="connsiteY69907"/>
              </a:cxn>
              <a:cxn ang="0">
                <a:pos x="connsiteX69908" y="connsiteY69908"/>
              </a:cxn>
              <a:cxn ang="0">
                <a:pos x="connsiteX69909" y="connsiteY69909"/>
              </a:cxn>
              <a:cxn ang="0">
                <a:pos x="connsiteX69910" y="connsiteY69910"/>
              </a:cxn>
              <a:cxn ang="0">
                <a:pos x="connsiteX69911" y="connsiteY69911"/>
              </a:cxn>
              <a:cxn ang="0">
                <a:pos x="connsiteX69912" y="connsiteY69912"/>
              </a:cxn>
              <a:cxn ang="0">
                <a:pos x="connsiteX69913" y="connsiteY69913"/>
              </a:cxn>
              <a:cxn ang="0">
                <a:pos x="connsiteX69914" y="connsiteY69914"/>
              </a:cxn>
              <a:cxn ang="0">
                <a:pos x="connsiteX69915" y="connsiteY69915"/>
              </a:cxn>
              <a:cxn ang="0">
                <a:pos x="connsiteX69916" y="connsiteY69916"/>
              </a:cxn>
              <a:cxn ang="0">
                <a:pos x="connsiteX69917" y="connsiteY69917"/>
              </a:cxn>
              <a:cxn ang="0">
                <a:pos x="connsiteX69918" y="connsiteY69918"/>
              </a:cxn>
              <a:cxn ang="0">
                <a:pos x="connsiteX69919" y="connsiteY69919"/>
              </a:cxn>
              <a:cxn ang="0">
                <a:pos x="connsiteX69920" y="connsiteY69920"/>
              </a:cxn>
              <a:cxn ang="0">
                <a:pos x="connsiteX69921" y="connsiteY69921"/>
              </a:cxn>
              <a:cxn ang="0">
                <a:pos x="connsiteX69922" y="connsiteY69922"/>
              </a:cxn>
              <a:cxn ang="0">
                <a:pos x="connsiteX69923" y="connsiteY69923"/>
              </a:cxn>
              <a:cxn ang="0">
                <a:pos x="connsiteX69924" y="connsiteY69924"/>
              </a:cxn>
              <a:cxn ang="0">
                <a:pos x="connsiteX69925" y="connsiteY69925"/>
              </a:cxn>
              <a:cxn ang="0">
                <a:pos x="connsiteX69926" y="connsiteY69926"/>
              </a:cxn>
              <a:cxn ang="0">
                <a:pos x="connsiteX69927" y="connsiteY69927"/>
              </a:cxn>
              <a:cxn ang="0">
                <a:pos x="connsiteX69928" y="connsiteY69928"/>
              </a:cxn>
              <a:cxn ang="0">
                <a:pos x="connsiteX69929" y="connsiteY69929"/>
              </a:cxn>
              <a:cxn ang="0">
                <a:pos x="connsiteX69930" y="connsiteY69930"/>
              </a:cxn>
              <a:cxn ang="0">
                <a:pos x="connsiteX69931" y="connsiteY69931"/>
              </a:cxn>
              <a:cxn ang="0">
                <a:pos x="connsiteX69932" y="connsiteY69932"/>
              </a:cxn>
              <a:cxn ang="0">
                <a:pos x="connsiteX69933" y="connsiteY69933"/>
              </a:cxn>
              <a:cxn ang="0">
                <a:pos x="connsiteX69934" y="connsiteY69934"/>
              </a:cxn>
              <a:cxn ang="0">
                <a:pos x="connsiteX69935" y="connsiteY69935"/>
              </a:cxn>
              <a:cxn ang="0">
                <a:pos x="connsiteX69936" y="connsiteY69936"/>
              </a:cxn>
              <a:cxn ang="0">
                <a:pos x="connsiteX69937" y="connsiteY69937"/>
              </a:cxn>
              <a:cxn ang="0">
                <a:pos x="connsiteX69938" y="connsiteY69938"/>
              </a:cxn>
              <a:cxn ang="0">
                <a:pos x="connsiteX69939" y="connsiteY69939"/>
              </a:cxn>
              <a:cxn ang="0">
                <a:pos x="connsiteX69940" y="connsiteY69940"/>
              </a:cxn>
              <a:cxn ang="0">
                <a:pos x="connsiteX69941" y="connsiteY69941"/>
              </a:cxn>
              <a:cxn ang="0">
                <a:pos x="connsiteX69942" y="connsiteY69942"/>
              </a:cxn>
              <a:cxn ang="0">
                <a:pos x="connsiteX69943" y="connsiteY69943"/>
              </a:cxn>
              <a:cxn ang="0">
                <a:pos x="connsiteX69944" y="connsiteY69944"/>
              </a:cxn>
              <a:cxn ang="0">
                <a:pos x="connsiteX69945" y="connsiteY69945"/>
              </a:cxn>
              <a:cxn ang="0">
                <a:pos x="connsiteX69946" y="connsiteY69946"/>
              </a:cxn>
              <a:cxn ang="0">
                <a:pos x="connsiteX69947" y="connsiteY69947"/>
              </a:cxn>
              <a:cxn ang="0">
                <a:pos x="connsiteX69948" y="connsiteY69948"/>
              </a:cxn>
              <a:cxn ang="0">
                <a:pos x="connsiteX69949" y="connsiteY69949"/>
              </a:cxn>
              <a:cxn ang="0">
                <a:pos x="connsiteX69950" y="connsiteY69950"/>
              </a:cxn>
              <a:cxn ang="0">
                <a:pos x="connsiteX69951" y="connsiteY69951"/>
              </a:cxn>
              <a:cxn ang="0">
                <a:pos x="connsiteX69952" y="connsiteY69952"/>
              </a:cxn>
              <a:cxn ang="0">
                <a:pos x="connsiteX69953" y="connsiteY69953"/>
              </a:cxn>
              <a:cxn ang="0">
                <a:pos x="connsiteX69954" y="connsiteY69954"/>
              </a:cxn>
              <a:cxn ang="0">
                <a:pos x="connsiteX69955" y="connsiteY69955"/>
              </a:cxn>
              <a:cxn ang="0">
                <a:pos x="connsiteX69956" y="connsiteY69956"/>
              </a:cxn>
              <a:cxn ang="0">
                <a:pos x="connsiteX69957" y="connsiteY69957"/>
              </a:cxn>
              <a:cxn ang="0">
                <a:pos x="connsiteX69958" y="connsiteY69958"/>
              </a:cxn>
              <a:cxn ang="0">
                <a:pos x="connsiteX69959" y="connsiteY69959"/>
              </a:cxn>
              <a:cxn ang="0">
                <a:pos x="connsiteX69960" y="connsiteY69960"/>
              </a:cxn>
              <a:cxn ang="0">
                <a:pos x="connsiteX69961" y="connsiteY69961"/>
              </a:cxn>
              <a:cxn ang="0">
                <a:pos x="connsiteX69962" y="connsiteY69962"/>
              </a:cxn>
              <a:cxn ang="0">
                <a:pos x="connsiteX69963" y="connsiteY69963"/>
              </a:cxn>
              <a:cxn ang="0">
                <a:pos x="connsiteX69964" y="connsiteY69964"/>
              </a:cxn>
              <a:cxn ang="0">
                <a:pos x="connsiteX69965" y="connsiteY69965"/>
              </a:cxn>
              <a:cxn ang="0">
                <a:pos x="connsiteX69966" y="connsiteY69966"/>
              </a:cxn>
              <a:cxn ang="0">
                <a:pos x="connsiteX69967" y="connsiteY69967"/>
              </a:cxn>
              <a:cxn ang="0">
                <a:pos x="connsiteX69968" y="connsiteY69968"/>
              </a:cxn>
              <a:cxn ang="0">
                <a:pos x="connsiteX69969" y="connsiteY69969"/>
              </a:cxn>
              <a:cxn ang="0">
                <a:pos x="connsiteX69970" y="connsiteY69970"/>
              </a:cxn>
              <a:cxn ang="0">
                <a:pos x="connsiteX69971" y="connsiteY69971"/>
              </a:cxn>
              <a:cxn ang="0">
                <a:pos x="connsiteX69972" y="connsiteY69972"/>
              </a:cxn>
              <a:cxn ang="0">
                <a:pos x="connsiteX69973" y="connsiteY69973"/>
              </a:cxn>
              <a:cxn ang="0">
                <a:pos x="connsiteX69974" y="connsiteY69974"/>
              </a:cxn>
              <a:cxn ang="0">
                <a:pos x="connsiteX69975" y="connsiteY69975"/>
              </a:cxn>
              <a:cxn ang="0">
                <a:pos x="connsiteX69976" y="connsiteY69976"/>
              </a:cxn>
              <a:cxn ang="0">
                <a:pos x="connsiteX69977" y="connsiteY69977"/>
              </a:cxn>
              <a:cxn ang="0">
                <a:pos x="connsiteX69978" y="connsiteY69978"/>
              </a:cxn>
              <a:cxn ang="0">
                <a:pos x="connsiteX69979" y="connsiteY69979"/>
              </a:cxn>
              <a:cxn ang="0">
                <a:pos x="connsiteX69980" y="connsiteY69980"/>
              </a:cxn>
              <a:cxn ang="0">
                <a:pos x="connsiteX69981" y="connsiteY69981"/>
              </a:cxn>
              <a:cxn ang="0">
                <a:pos x="connsiteX69982" y="connsiteY69982"/>
              </a:cxn>
              <a:cxn ang="0">
                <a:pos x="connsiteX69983" y="connsiteY69983"/>
              </a:cxn>
              <a:cxn ang="0">
                <a:pos x="connsiteX69984" y="connsiteY69984"/>
              </a:cxn>
              <a:cxn ang="0">
                <a:pos x="connsiteX69985" y="connsiteY69985"/>
              </a:cxn>
              <a:cxn ang="0">
                <a:pos x="connsiteX69986" y="connsiteY69986"/>
              </a:cxn>
              <a:cxn ang="0">
                <a:pos x="connsiteX69987" y="connsiteY69987"/>
              </a:cxn>
              <a:cxn ang="0">
                <a:pos x="connsiteX69988" y="connsiteY69988"/>
              </a:cxn>
              <a:cxn ang="0">
                <a:pos x="connsiteX69989" y="connsiteY69989"/>
              </a:cxn>
              <a:cxn ang="0">
                <a:pos x="connsiteX69990" y="connsiteY69990"/>
              </a:cxn>
              <a:cxn ang="0">
                <a:pos x="connsiteX69991" y="connsiteY69991"/>
              </a:cxn>
              <a:cxn ang="0">
                <a:pos x="connsiteX69992" y="connsiteY69992"/>
              </a:cxn>
              <a:cxn ang="0">
                <a:pos x="connsiteX69993" y="connsiteY69993"/>
              </a:cxn>
              <a:cxn ang="0">
                <a:pos x="connsiteX69994" y="connsiteY69994"/>
              </a:cxn>
              <a:cxn ang="0">
                <a:pos x="connsiteX69995" y="connsiteY69995"/>
              </a:cxn>
              <a:cxn ang="0">
                <a:pos x="connsiteX69996" y="connsiteY69996"/>
              </a:cxn>
              <a:cxn ang="0">
                <a:pos x="connsiteX69997" y="connsiteY69997"/>
              </a:cxn>
              <a:cxn ang="0">
                <a:pos x="connsiteX69998" y="connsiteY69998"/>
              </a:cxn>
              <a:cxn ang="0">
                <a:pos x="connsiteX69999" y="connsiteY69999"/>
              </a:cxn>
              <a:cxn ang="0">
                <a:pos x="connsiteX70000" y="connsiteY70000"/>
              </a:cxn>
              <a:cxn ang="0">
                <a:pos x="connsiteX70001" y="connsiteY70001"/>
              </a:cxn>
              <a:cxn ang="0">
                <a:pos x="connsiteX70002" y="connsiteY70002"/>
              </a:cxn>
              <a:cxn ang="0">
                <a:pos x="connsiteX70003" y="connsiteY70003"/>
              </a:cxn>
              <a:cxn ang="0">
                <a:pos x="connsiteX70004" y="connsiteY70004"/>
              </a:cxn>
              <a:cxn ang="0">
                <a:pos x="connsiteX70005" y="connsiteY70005"/>
              </a:cxn>
              <a:cxn ang="0">
                <a:pos x="connsiteX70006" y="connsiteY70006"/>
              </a:cxn>
              <a:cxn ang="0">
                <a:pos x="connsiteX70007" y="connsiteY70007"/>
              </a:cxn>
              <a:cxn ang="0">
                <a:pos x="connsiteX70008" y="connsiteY70008"/>
              </a:cxn>
              <a:cxn ang="0">
                <a:pos x="connsiteX70009" y="connsiteY70009"/>
              </a:cxn>
              <a:cxn ang="0">
                <a:pos x="connsiteX70010" y="connsiteY70010"/>
              </a:cxn>
              <a:cxn ang="0">
                <a:pos x="connsiteX70011" y="connsiteY70011"/>
              </a:cxn>
              <a:cxn ang="0">
                <a:pos x="connsiteX70012" y="connsiteY70012"/>
              </a:cxn>
              <a:cxn ang="0">
                <a:pos x="connsiteX70013" y="connsiteY70013"/>
              </a:cxn>
              <a:cxn ang="0">
                <a:pos x="connsiteX70014" y="connsiteY70014"/>
              </a:cxn>
              <a:cxn ang="0">
                <a:pos x="connsiteX70015" y="connsiteY70015"/>
              </a:cxn>
              <a:cxn ang="0">
                <a:pos x="connsiteX70016" y="connsiteY70016"/>
              </a:cxn>
              <a:cxn ang="0">
                <a:pos x="connsiteX70017" y="connsiteY70017"/>
              </a:cxn>
              <a:cxn ang="0">
                <a:pos x="connsiteX70018" y="connsiteY70018"/>
              </a:cxn>
              <a:cxn ang="0">
                <a:pos x="connsiteX70019" y="connsiteY70019"/>
              </a:cxn>
              <a:cxn ang="0">
                <a:pos x="connsiteX70020" y="connsiteY70020"/>
              </a:cxn>
              <a:cxn ang="0">
                <a:pos x="connsiteX70021" y="connsiteY70021"/>
              </a:cxn>
              <a:cxn ang="0">
                <a:pos x="connsiteX70022" y="connsiteY70022"/>
              </a:cxn>
              <a:cxn ang="0">
                <a:pos x="connsiteX70023" y="connsiteY70023"/>
              </a:cxn>
              <a:cxn ang="0">
                <a:pos x="connsiteX70024" y="connsiteY70024"/>
              </a:cxn>
              <a:cxn ang="0">
                <a:pos x="connsiteX70025" y="connsiteY70025"/>
              </a:cxn>
              <a:cxn ang="0">
                <a:pos x="connsiteX70026" y="connsiteY70026"/>
              </a:cxn>
              <a:cxn ang="0">
                <a:pos x="connsiteX70027" y="connsiteY70027"/>
              </a:cxn>
              <a:cxn ang="0">
                <a:pos x="connsiteX70028" y="connsiteY70028"/>
              </a:cxn>
              <a:cxn ang="0">
                <a:pos x="connsiteX70029" y="connsiteY70029"/>
              </a:cxn>
              <a:cxn ang="0">
                <a:pos x="connsiteX70030" y="connsiteY70030"/>
              </a:cxn>
              <a:cxn ang="0">
                <a:pos x="connsiteX70031" y="connsiteY70031"/>
              </a:cxn>
              <a:cxn ang="0">
                <a:pos x="connsiteX70032" y="connsiteY70032"/>
              </a:cxn>
              <a:cxn ang="0">
                <a:pos x="connsiteX70033" y="connsiteY70033"/>
              </a:cxn>
              <a:cxn ang="0">
                <a:pos x="connsiteX70034" y="connsiteY70034"/>
              </a:cxn>
              <a:cxn ang="0">
                <a:pos x="connsiteX70035" y="connsiteY70035"/>
              </a:cxn>
              <a:cxn ang="0">
                <a:pos x="connsiteX70036" y="connsiteY70036"/>
              </a:cxn>
              <a:cxn ang="0">
                <a:pos x="connsiteX70037" y="connsiteY70037"/>
              </a:cxn>
              <a:cxn ang="0">
                <a:pos x="connsiteX70038" y="connsiteY70038"/>
              </a:cxn>
              <a:cxn ang="0">
                <a:pos x="connsiteX70039" y="connsiteY70039"/>
              </a:cxn>
              <a:cxn ang="0">
                <a:pos x="connsiteX70040" y="connsiteY70040"/>
              </a:cxn>
              <a:cxn ang="0">
                <a:pos x="connsiteX70041" y="connsiteY70041"/>
              </a:cxn>
              <a:cxn ang="0">
                <a:pos x="connsiteX70042" y="connsiteY70042"/>
              </a:cxn>
              <a:cxn ang="0">
                <a:pos x="connsiteX70043" y="connsiteY70043"/>
              </a:cxn>
              <a:cxn ang="0">
                <a:pos x="connsiteX70044" y="connsiteY70044"/>
              </a:cxn>
              <a:cxn ang="0">
                <a:pos x="connsiteX70045" y="connsiteY70045"/>
              </a:cxn>
              <a:cxn ang="0">
                <a:pos x="connsiteX70046" y="connsiteY70046"/>
              </a:cxn>
              <a:cxn ang="0">
                <a:pos x="connsiteX70047" y="connsiteY70047"/>
              </a:cxn>
              <a:cxn ang="0">
                <a:pos x="connsiteX70048" y="connsiteY70048"/>
              </a:cxn>
              <a:cxn ang="0">
                <a:pos x="connsiteX70049" y="connsiteY70049"/>
              </a:cxn>
              <a:cxn ang="0">
                <a:pos x="connsiteX70050" y="connsiteY70050"/>
              </a:cxn>
              <a:cxn ang="0">
                <a:pos x="connsiteX70051" y="connsiteY70051"/>
              </a:cxn>
              <a:cxn ang="0">
                <a:pos x="connsiteX70052" y="connsiteY70052"/>
              </a:cxn>
              <a:cxn ang="0">
                <a:pos x="connsiteX70053" y="connsiteY70053"/>
              </a:cxn>
              <a:cxn ang="0">
                <a:pos x="connsiteX70054" y="connsiteY70054"/>
              </a:cxn>
              <a:cxn ang="0">
                <a:pos x="connsiteX70055" y="connsiteY70055"/>
              </a:cxn>
              <a:cxn ang="0">
                <a:pos x="connsiteX70056" y="connsiteY70056"/>
              </a:cxn>
              <a:cxn ang="0">
                <a:pos x="connsiteX70057" y="connsiteY70057"/>
              </a:cxn>
              <a:cxn ang="0">
                <a:pos x="connsiteX70058" y="connsiteY70058"/>
              </a:cxn>
              <a:cxn ang="0">
                <a:pos x="connsiteX70059" y="connsiteY70059"/>
              </a:cxn>
              <a:cxn ang="0">
                <a:pos x="connsiteX70060" y="connsiteY70060"/>
              </a:cxn>
              <a:cxn ang="0">
                <a:pos x="connsiteX70061" y="connsiteY70061"/>
              </a:cxn>
              <a:cxn ang="0">
                <a:pos x="connsiteX70062" y="connsiteY70062"/>
              </a:cxn>
              <a:cxn ang="0">
                <a:pos x="connsiteX70063" y="connsiteY70063"/>
              </a:cxn>
              <a:cxn ang="0">
                <a:pos x="connsiteX70064" y="connsiteY70064"/>
              </a:cxn>
              <a:cxn ang="0">
                <a:pos x="connsiteX70065" y="connsiteY70065"/>
              </a:cxn>
              <a:cxn ang="0">
                <a:pos x="connsiteX70066" y="connsiteY70066"/>
              </a:cxn>
              <a:cxn ang="0">
                <a:pos x="connsiteX70067" y="connsiteY70067"/>
              </a:cxn>
              <a:cxn ang="0">
                <a:pos x="connsiteX70068" y="connsiteY70068"/>
              </a:cxn>
              <a:cxn ang="0">
                <a:pos x="connsiteX70069" y="connsiteY70069"/>
              </a:cxn>
              <a:cxn ang="0">
                <a:pos x="connsiteX70070" y="connsiteY70070"/>
              </a:cxn>
              <a:cxn ang="0">
                <a:pos x="connsiteX70071" y="connsiteY70071"/>
              </a:cxn>
              <a:cxn ang="0">
                <a:pos x="connsiteX70072" y="connsiteY70072"/>
              </a:cxn>
              <a:cxn ang="0">
                <a:pos x="connsiteX70073" y="connsiteY70073"/>
              </a:cxn>
              <a:cxn ang="0">
                <a:pos x="connsiteX70074" y="connsiteY70074"/>
              </a:cxn>
              <a:cxn ang="0">
                <a:pos x="connsiteX70075" y="connsiteY70075"/>
              </a:cxn>
              <a:cxn ang="0">
                <a:pos x="connsiteX70076" y="connsiteY70076"/>
              </a:cxn>
              <a:cxn ang="0">
                <a:pos x="connsiteX70077" y="connsiteY70077"/>
              </a:cxn>
              <a:cxn ang="0">
                <a:pos x="connsiteX70078" y="connsiteY70078"/>
              </a:cxn>
              <a:cxn ang="0">
                <a:pos x="connsiteX70079" y="connsiteY70079"/>
              </a:cxn>
              <a:cxn ang="0">
                <a:pos x="connsiteX70080" y="connsiteY70080"/>
              </a:cxn>
              <a:cxn ang="0">
                <a:pos x="connsiteX70081" y="connsiteY70081"/>
              </a:cxn>
              <a:cxn ang="0">
                <a:pos x="connsiteX70082" y="connsiteY70082"/>
              </a:cxn>
              <a:cxn ang="0">
                <a:pos x="connsiteX70083" y="connsiteY70083"/>
              </a:cxn>
              <a:cxn ang="0">
                <a:pos x="connsiteX70084" y="connsiteY70084"/>
              </a:cxn>
              <a:cxn ang="0">
                <a:pos x="connsiteX70085" y="connsiteY70085"/>
              </a:cxn>
              <a:cxn ang="0">
                <a:pos x="connsiteX70086" y="connsiteY70086"/>
              </a:cxn>
              <a:cxn ang="0">
                <a:pos x="connsiteX70087" y="connsiteY70087"/>
              </a:cxn>
              <a:cxn ang="0">
                <a:pos x="connsiteX70088" y="connsiteY70088"/>
              </a:cxn>
              <a:cxn ang="0">
                <a:pos x="connsiteX70089" y="connsiteY70089"/>
              </a:cxn>
              <a:cxn ang="0">
                <a:pos x="connsiteX70090" y="connsiteY70090"/>
              </a:cxn>
              <a:cxn ang="0">
                <a:pos x="connsiteX70091" y="connsiteY70091"/>
              </a:cxn>
              <a:cxn ang="0">
                <a:pos x="connsiteX70092" y="connsiteY70092"/>
              </a:cxn>
              <a:cxn ang="0">
                <a:pos x="connsiteX70093" y="connsiteY70093"/>
              </a:cxn>
              <a:cxn ang="0">
                <a:pos x="connsiteX70094" y="connsiteY70094"/>
              </a:cxn>
              <a:cxn ang="0">
                <a:pos x="connsiteX70095" y="connsiteY70095"/>
              </a:cxn>
              <a:cxn ang="0">
                <a:pos x="connsiteX70096" y="connsiteY70096"/>
              </a:cxn>
              <a:cxn ang="0">
                <a:pos x="connsiteX70097" y="connsiteY70097"/>
              </a:cxn>
              <a:cxn ang="0">
                <a:pos x="connsiteX70098" y="connsiteY70098"/>
              </a:cxn>
              <a:cxn ang="0">
                <a:pos x="connsiteX70099" y="connsiteY70099"/>
              </a:cxn>
              <a:cxn ang="0">
                <a:pos x="connsiteX70100" y="connsiteY70100"/>
              </a:cxn>
              <a:cxn ang="0">
                <a:pos x="connsiteX70101" y="connsiteY70101"/>
              </a:cxn>
              <a:cxn ang="0">
                <a:pos x="connsiteX70102" y="connsiteY70102"/>
              </a:cxn>
              <a:cxn ang="0">
                <a:pos x="connsiteX70103" y="connsiteY70103"/>
              </a:cxn>
              <a:cxn ang="0">
                <a:pos x="connsiteX70104" y="connsiteY70104"/>
              </a:cxn>
              <a:cxn ang="0">
                <a:pos x="connsiteX70105" y="connsiteY70105"/>
              </a:cxn>
              <a:cxn ang="0">
                <a:pos x="connsiteX70106" y="connsiteY70106"/>
              </a:cxn>
              <a:cxn ang="0">
                <a:pos x="connsiteX70107" y="connsiteY70107"/>
              </a:cxn>
              <a:cxn ang="0">
                <a:pos x="connsiteX70108" y="connsiteY70108"/>
              </a:cxn>
              <a:cxn ang="0">
                <a:pos x="connsiteX70109" y="connsiteY70109"/>
              </a:cxn>
              <a:cxn ang="0">
                <a:pos x="connsiteX70110" y="connsiteY70110"/>
              </a:cxn>
              <a:cxn ang="0">
                <a:pos x="connsiteX70111" y="connsiteY70111"/>
              </a:cxn>
              <a:cxn ang="0">
                <a:pos x="connsiteX70112" y="connsiteY70112"/>
              </a:cxn>
              <a:cxn ang="0">
                <a:pos x="connsiteX70113" y="connsiteY70113"/>
              </a:cxn>
              <a:cxn ang="0">
                <a:pos x="connsiteX70114" y="connsiteY70114"/>
              </a:cxn>
              <a:cxn ang="0">
                <a:pos x="connsiteX70115" y="connsiteY70115"/>
              </a:cxn>
              <a:cxn ang="0">
                <a:pos x="connsiteX70116" y="connsiteY70116"/>
              </a:cxn>
              <a:cxn ang="0">
                <a:pos x="connsiteX70117" y="connsiteY70117"/>
              </a:cxn>
              <a:cxn ang="0">
                <a:pos x="connsiteX70118" y="connsiteY70118"/>
              </a:cxn>
              <a:cxn ang="0">
                <a:pos x="connsiteX70119" y="connsiteY70119"/>
              </a:cxn>
              <a:cxn ang="0">
                <a:pos x="connsiteX70120" y="connsiteY70120"/>
              </a:cxn>
              <a:cxn ang="0">
                <a:pos x="connsiteX70121" y="connsiteY70121"/>
              </a:cxn>
              <a:cxn ang="0">
                <a:pos x="connsiteX70122" y="connsiteY70122"/>
              </a:cxn>
              <a:cxn ang="0">
                <a:pos x="connsiteX70123" y="connsiteY70123"/>
              </a:cxn>
              <a:cxn ang="0">
                <a:pos x="connsiteX70124" y="connsiteY70124"/>
              </a:cxn>
              <a:cxn ang="0">
                <a:pos x="connsiteX70125" y="connsiteY70125"/>
              </a:cxn>
              <a:cxn ang="0">
                <a:pos x="connsiteX70126" y="connsiteY70126"/>
              </a:cxn>
              <a:cxn ang="0">
                <a:pos x="connsiteX70127" y="connsiteY70127"/>
              </a:cxn>
              <a:cxn ang="0">
                <a:pos x="connsiteX70128" y="connsiteY70128"/>
              </a:cxn>
              <a:cxn ang="0">
                <a:pos x="connsiteX70129" y="connsiteY70129"/>
              </a:cxn>
              <a:cxn ang="0">
                <a:pos x="connsiteX70130" y="connsiteY70130"/>
              </a:cxn>
              <a:cxn ang="0">
                <a:pos x="connsiteX70131" y="connsiteY70131"/>
              </a:cxn>
              <a:cxn ang="0">
                <a:pos x="connsiteX70132" y="connsiteY70132"/>
              </a:cxn>
              <a:cxn ang="0">
                <a:pos x="connsiteX70133" y="connsiteY70133"/>
              </a:cxn>
              <a:cxn ang="0">
                <a:pos x="connsiteX70134" y="connsiteY70134"/>
              </a:cxn>
              <a:cxn ang="0">
                <a:pos x="connsiteX70135" y="connsiteY70135"/>
              </a:cxn>
              <a:cxn ang="0">
                <a:pos x="connsiteX70136" y="connsiteY70136"/>
              </a:cxn>
              <a:cxn ang="0">
                <a:pos x="connsiteX70137" y="connsiteY70137"/>
              </a:cxn>
              <a:cxn ang="0">
                <a:pos x="connsiteX70138" y="connsiteY70138"/>
              </a:cxn>
              <a:cxn ang="0">
                <a:pos x="connsiteX70139" y="connsiteY70139"/>
              </a:cxn>
              <a:cxn ang="0">
                <a:pos x="connsiteX70140" y="connsiteY70140"/>
              </a:cxn>
              <a:cxn ang="0">
                <a:pos x="connsiteX70141" y="connsiteY70141"/>
              </a:cxn>
              <a:cxn ang="0">
                <a:pos x="connsiteX70142" y="connsiteY70142"/>
              </a:cxn>
              <a:cxn ang="0">
                <a:pos x="connsiteX70143" y="connsiteY70143"/>
              </a:cxn>
              <a:cxn ang="0">
                <a:pos x="connsiteX70144" y="connsiteY70144"/>
              </a:cxn>
              <a:cxn ang="0">
                <a:pos x="connsiteX70145" y="connsiteY70145"/>
              </a:cxn>
              <a:cxn ang="0">
                <a:pos x="connsiteX70146" y="connsiteY70146"/>
              </a:cxn>
              <a:cxn ang="0">
                <a:pos x="connsiteX70147" y="connsiteY70147"/>
              </a:cxn>
              <a:cxn ang="0">
                <a:pos x="connsiteX70148" y="connsiteY70148"/>
              </a:cxn>
              <a:cxn ang="0">
                <a:pos x="connsiteX70149" y="connsiteY70149"/>
              </a:cxn>
              <a:cxn ang="0">
                <a:pos x="connsiteX70150" y="connsiteY70150"/>
              </a:cxn>
              <a:cxn ang="0">
                <a:pos x="connsiteX70151" y="connsiteY70151"/>
              </a:cxn>
              <a:cxn ang="0">
                <a:pos x="connsiteX70152" y="connsiteY70152"/>
              </a:cxn>
              <a:cxn ang="0">
                <a:pos x="connsiteX70153" y="connsiteY70153"/>
              </a:cxn>
              <a:cxn ang="0">
                <a:pos x="connsiteX70154" y="connsiteY70154"/>
              </a:cxn>
              <a:cxn ang="0">
                <a:pos x="connsiteX70155" y="connsiteY70155"/>
              </a:cxn>
              <a:cxn ang="0">
                <a:pos x="connsiteX70156" y="connsiteY70156"/>
              </a:cxn>
              <a:cxn ang="0">
                <a:pos x="connsiteX70157" y="connsiteY70157"/>
              </a:cxn>
              <a:cxn ang="0">
                <a:pos x="connsiteX70158" y="connsiteY70158"/>
              </a:cxn>
              <a:cxn ang="0">
                <a:pos x="connsiteX70159" y="connsiteY70159"/>
              </a:cxn>
              <a:cxn ang="0">
                <a:pos x="connsiteX70160" y="connsiteY70160"/>
              </a:cxn>
              <a:cxn ang="0">
                <a:pos x="connsiteX70161" y="connsiteY70161"/>
              </a:cxn>
              <a:cxn ang="0">
                <a:pos x="connsiteX70162" y="connsiteY70162"/>
              </a:cxn>
              <a:cxn ang="0">
                <a:pos x="connsiteX70163" y="connsiteY70163"/>
              </a:cxn>
              <a:cxn ang="0">
                <a:pos x="connsiteX70164" y="connsiteY70164"/>
              </a:cxn>
              <a:cxn ang="0">
                <a:pos x="connsiteX70165" y="connsiteY70165"/>
              </a:cxn>
              <a:cxn ang="0">
                <a:pos x="connsiteX70166" y="connsiteY70166"/>
              </a:cxn>
              <a:cxn ang="0">
                <a:pos x="connsiteX70167" y="connsiteY70167"/>
              </a:cxn>
              <a:cxn ang="0">
                <a:pos x="connsiteX70168" y="connsiteY70168"/>
              </a:cxn>
              <a:cxn ang="0">
                <a:pos x="connsiteX70169" y="connsiteY70169"/>
              </a:cxn>
              <a:cxn ang="0">
                <a:pos x="connsiteX70170" y="connsiteY70170"/>
              </a:cxn>
              <a:cxn ang="0">
                <a:pos x="connsiteX70171" y="connsiteY70171"/>
              </a:cxn>
              <a:cxn ang="0">
                <a:pos x="connsiteX70172" y="connsiteY70172"/>
              </a:cxn>
              <a:cxn ang="0">
                <a:pos x="connsiteX70173" y="connsiteY70173"/>
              </a:cxn>
              <a:cxn ang="0">
                <a:pos x="connsiteX70174" y="connsiteY70174"/>
              </a:cxn>
              <a:cxn ang="0">
                <a:pos x="connsiteX70175" y="connsiteY70175"/>
              </a:cxn>
              <a:cxn ang="0">
                <a:pos x="connsiteX70176" y="connsiteY70176"/>
              </a:cxn>
              <a:cxn ang="0">
                <a:pos x="connsiteX70177" y="connsiteY70177"/>
              </a:cxn>
              <a:cxn ang="0">
                <a:pos x="connsiteX70178" y="connsiteY70178"/>
              </a:cxn>
              <a:cxn ang="0">
                <a:pos x="connsiteX70179" y="connsiteY70179"/>
              </a:cxn>
              <a:cxn ang="0">
                <a:pos x="connsiteX70180" y="connsiteY70180"/>
              </a:cxn>
              <a:cxn ang="0">
                <a:pos x="connsiteX70181" y="connsiteY70181"/>
              </a:cxn>
              <a:cxn ang="0">
                <a:pos x="connsiteX70182" y="connsiteY70182"/>
              </a:cxn>
              <a:cxn ang="0">
                <a:pos x="connsiteX70183" y="connsiteY70183"/>
              </a:cxn>
              <a:cxn ang="0">
                <a:pos x="connsiteX70184" y="connsiteY70184"/>
              </a:cxn>
              <a:cxn ang="0">
                <a:pos x="connsiteX70185" y="connsiteY70185"/>
              </a:cxn>
              <a:cxn ang="0">
                <a:pos x="connsiteX70186" y="connsiteY70186"/>
              </a:cxn>
              <a:cxn ang="0">
                <a:pos x="connsiteX70187" y="connsiteY70187"/>
              </a:cxn>
              <a:cxn ang="0">
                <a:pos x="connsiteX70188" y="connsiteY70188"/>
              </a:cxn>
              <a:cxn ang="0">
                <a:pos x="connsiteX70189" y="connsiteY70189"/>
              </a:cxn>
              <a:cxn ang="0">
                <a:pos x="connsiteX70190" y="connsiteY70190"/>
              </a:cxn>
              <a:cxn ang="0">
                <a:pos x="connsiteX70191" y="connsiteY70191"/>
              </a:cxn>
              <a:cxn ang="0">
                <a:pos x="connsiteX70192" y="connsiteY70192"/>
              </a:cxn>
              <a:cxn ang="0">
                <a:pos x="connsiteX70193" y="connsiteY70193"/>
              </a:cxn>
              <a:cxn ang="0">
                <a:pos x="connsiteX70194" y="connsiteY70194"/>
              </a:cxn>
              <a:cxn ang="0">
                <a:pos x="connsiteX70195" y="connsiteY70195"/>
              </a:cxn>
              <a:cxn ang="0">
                <a:pos x="connsiteX70196" y="connsiteY70196"/>
              </a:cxn>
              <a:cxn ang="0">
                <a:pos x="connsiteX70197" y="connsiteY70197"/>
              </a:cxn>
              <a:cxn ang="0">
                <a:pos x="connsiteX70198" y="connsiteY70198"/>
              </a:cxn>
              <a:cxn ang="0">
                <a:pos x="connsiteX70199" y="connsiteY70199"/>
              </a:cxn>
              <a:cxn ang="0">
                <a:pos x="connsiteX70200" y="connsiteY70200"/>
              </a:cxn>
              <a:cxn ang="0">
                <a:pos x="connsiteX70201" y="connsiteY70201"/>
              </a:cxn>
              <a:cxn ang="0">
                <a:pos x="connsiteX70202" y="connsiteY70202"/>
              </a:cxn>
              <a:cxn ang="0">
                <a:pos x="connsiteX70203" y="connsiteY70203"/>
              </a:cxn>
              <a:cxn ang="0">
                <a:pos x="connsiteX70204" y="connsiteY70204"/>
              </a:cxn>
              <a:cxn ang="0">
                <a:pos x="connsiteX70205" y="connsiteY70205"/>
              </a:cxn>
              <a:cxn ang="0">
                <a:pos x="connsiteX70206" y="connsiteY70206"/>
              </a:cxn>
              <a:cxn ang="0">
                <a:pos x="connsiteX70207" y="connsiteY70207"/>
              </a:cxn>
              <a:cxn ang="0">
                <a:pos x="connsiteX70208" y="connsiteY70208"/>
              </a:cxn>
              <a:cxn ang="0">
                <a:pos x="connsiteX70209" y="connsiteY70209"/>
              </a:cxn>
              <a:cxn ang="0">
                <a:pos x="connsiteX70210" y="connsiteY70210"/>
              </a:cxn>
              <a:cxn ang="0">
                <a:pos x="connsiteX70211" y="connsiteY70211"/>
              </a:cxn>
              <a:cxn ang="0">
                <a:pos x="connsiteX70212" y="connsiteY70212"/>
              </a:cxn>
              <a:cxn ang="0">
                <a:pos x="connsiteX70213" y="connsiteY70213"/>
              </a:cxn>
              <a:cxn ang="0">
                <a:pos x="connsiteX70214" y="connsiteY70214"/>
              </a:cxn>
              <a:cxn ang="0">
                <a:pos x="connsiteX70215" y="connsiteY70215"/>
              </a:cxn>
              <a:cxn ang="0">
                <a:pos x="connsiteX70216" y="connsiteY70216"/>
              </a:cxn>
              <a:cxn ang="0">
                <a:pos x="connsiteX70217" y="connsiteY70217"/>
              </a:cxn>
              <a:cxn ang="0">
                <a:pos x="connsiteX70218" y="connsiteY70218"/>
              </a:cxn>
              <a:cxn ang="0">
                <a:pos x="connsiteX70219" y="connsiteY70219"/>
              </a:cxn>
              <a:cxn ang="0">
                <a:pos x="connsiteX70220" y="connsiteY70220"/>
              </a:cxn>
              <a:cxn ang="0">
                <a:pos x="connsiteX70221" y="connsiteY70221"/>
              </a:cxn>
              <a:cxn ang="0">
                <a:pos x="connsiteX70222" y="connsiteY70222"/>
              </a:cxn>
              <a:cxn ang="0">
                <a:pos x="connsiteX70223" y="connsiteY70223"/>
              </a:cxn>
              <a:cxn ang="0">
                <a:pos x="connsiteX70224" y="connsiteY70224"/>
              </a:cxn>
              <a:cxn ang="0">
                <a:pos x="connsiteX70225" y="connsiteY70225"/>
              </a:cxn>
              <a:cxn ang="0">
                <a:pos x="connsiteX70226" y="connsiteY70226"/>
              </a:cxn>
              <a:cxn ang="0">
                <a:pos x="connsiteX70227" y="connsiteY70227"/>
              </a:cxn>
              <a:cxn ang="0">
                <a:pos x="connsiteX70228" y="connsiteY70228"/>
              </a:cxn>
              <a:cxn ang="0">
                <a:pos x="connsiteX70229" y="connsiteY70229"/>
              </a:cxn>
              <a:cxn ang="0">
                <a:pos x="connsiteX70230" y="connsiteY70230"/>
              </a:cxn>
              <a:cxn ang="0">
                <a:pos x="connsiteX70231" y="connsiteY70231"/>
              </a:cxn>
              <a:cxn ang="0">
                <a:pos x="connsiteX70232" y="connsiteY70232"/>
              </a:cxn>
              <a:cxn ang="0">
                <a:pos x="connsiteX70233" y="connsiteY70233"/>
              </a:cxn>
              <a:cxn ang="0">
                <a:pos x="connsiteX70234" y="connsiteY70234"/>
              </a:cxn>
              <a:cxn ang="0">
                <a:pos x="connsiteX70235" y="connsiteY70235"/>
              </a:cxn>
              <a:cxn ang="0">
                <a:pos x="connsiteX70236" y="connsiteY70236"/>
              </a:cxn>
              <a:cxn ang="0">
                <a:pos x="connsiteX70237" y="connsiteY70237"/>
              </a:cxn>
              <a:cxn ang="0">
                <a:pos x="connsiteX70238" y="connsiteY70238"/>
              </a:cxn>
              <a:cxn ang="0">
                <a:pos x="connsiteX70239" y="connsiteY70239"/>
              </a:cxn>
              <a:cxn ang="0">
                <a:pos x="connsiteX70240" y="connsiteY70240"/>
              </a:cxn>
              <a:cxn ang="0">
                <a:pos x="connsiteX70241" y="connsiteY70241"/>
              </a:cxn>
              <a:cxn ang="0">
                <a:pos x="connsiteX70242" y="connsiteY70242"/>
              </a:cxn>
              <a:cxn ang="0">
                <a:pos x="connsiteX70243" y="connsiteY70243"/>
              </a:cxn>
              <a:cxn ang="0">
                <a:pos x="connsiteX70244" y="connsiteY70244"/>
              </a:cxn>
              <a:cxn ang="0">
                <a:pos x="connsiteX70245" y="connsiteY70245"/>
              </a:cxn>
              <a:cxn ang="0">
                <a:pos x="connsiteX70246" y="connsiteY70246"/>
              </a:cxn>
              <a:cxn ang="0">
                <a:pos x="connsiteX70247" y="connsiteY70247"/>
              </a:cxn>
              <a:cxn ang="0">
                <a:pos x="connsiteX70248" y="connsiteY70248"/>
              </a:cxn>
              <a:cxn ang="0">
                <a:pos x="connsiteX70249" y="connsiteY70249"/>
              </a:cxn>
              <a:cxn ang="0">
                <a:pos x="connsiteX70250" y="connsiteY70250"/>
              </a:cxn>
              <a:cxn ang="0">
                <a:pos x="connsiteX70251" y="connsiteY70251"/>
              </a:cxn>
              <a:cxn ang="0">
                <a:pos x="connsiteX70252" y="connsiteY70252"/>
              </a:cxn>
              <a:cxn ang="0">
                <a:pos x="connsiteX70253" y="connsiteY70253"/>
              </a:cxn>
              <a:cxn ang="0">
                <a:pos x="connsiteX70254" y="connsiteY70254"/>
              </a:cxn>
              <a:cxn ang="0">
                <a:pos x="connsiteX70255" y="connsiteY70255"/>
              </a:cxn>
              <a:cxn ang="0">
                <a:pos x="connsiteX70256" y="connsiteY70256"/>
              </a:cxn>
              <a:cxn ang="0">
                <a:pos x="connsiteX70257" y="connsiteY70257"/>
              </a:cxn>
              <a:cxn ang="0">
                <a:pos x="connsiteX70258" y="connsiteY70258"/>
              </a:cxn>
              <a:cxn ang="0">
                <a:pos x="connsiteX70259" y="connsiteY70259"/>
              </a:cxn>
              <a:cxn ang="0">
                <a:pos x="connsiteX70260" y="connsiteY70260"/>
              </a:cxn>
              <a:cxn ang="0">
                <a:pos x="connsiteX70261" y="connsiteY70261"/>
              </a:cxn>
              <a:cxn ang="0">
                <a:pos x="connsiteX70262" y="connsiteY70262"/>
              </a:cxn>
              <a:cxn ang="0">
                <a:pos x="connsiteX70263" y="connsiteY70263"/>
              </a:cxn>
              <a:cxn ang="0">
                <a:pos x="connsiteX70264" y="connsiteY70264"/>
              </a:cxn>
              <a:cxn ang="0">
                <a:pos x="connsiteX70265" y="connsiteY70265"/>
              </a:cxn>
              <a:cxn ang="0">
                <a:pos x="connsiteX70266" y="connsiteY70266"/>
              </a:cxn>
              <a:cxn ang="0">
                <a:pos x="connsiteX70267" y="connsiteY70267"/>
              </a:cxn>
              <a:cxn ang="0">
                <a:pos x="connsiteX70268" y="connsiteY70268"/>
              </a:cxn>
              <a:cxn ang="0">
                <a:pos x="connsiteX70269" y="connsiteY70269"/>
              </a:cxn>
              <a:cxn ang="0">
                <a:pos x="connsiteX70270" y="connsiteY70270"/>
              </a:cxn>
              <a:cxn ang="0">
                <a:pos x="connsiteX70271" y="connsiteY70271"/>
              </a:cxn>
              <a:cxn ang="0">
                <a:pos x="connsiteX70272" y="connsiteY70272"/>
              </a:cxn>
              <a:cxn ang="0">
                <a:pos x="connsiteX70273" y="connsiteY70273"/>
              </a:cxn>
              <a:cxn ang="0">
                <a:pos x="connsiteX70274" y="connsiteY70274"/>
              </a:cxn>
              <a:cxn ang="0">
                <a:pos x="connsiteX70275" y="connsiteY70275"/>
              </a:cxn>
              <a:cxn ang="0">
                <a:pos x="connsiteX70276" y="connsiteY70276"/>
              </a:cxn>
              <a:cxn ang="0">
                <a:pos x="connsiteX70277" y="connsiteY70277"/>
              </a:cxn>
              <a:cxn ang="0">
                <a:pos x="connsiteX70278" y="connsiteY70278"/>
              </a:cxn>
              <a:cxn ang="0">
                <a:pos x="connsiteX70279" y="connsiteY70279"/>
              </a:cxn>
              <a:cxn ang="0">
                <a:pos x="connsiteX70280" y="connsiteY70280"/>
              </a:cxn>
              <a:cxn ang="0">
                <a:pos x="connsiteX70281" y="connsiteY70281"/>
              </a:cxn>
              <a:cxn ang="0">
                <a:pos x="connsiteX70282" y="connsiteY70282"/>
              </a:cxn>
              <a:cxn ang="0">
                <a:pos x="connsiteX70283" y="connsiteY70283"/>
              </a:cxn>
              <a:cxn ang="0">
                <a:pos x="connsiteX70284" y="connsiteY70284"/>
              </a:cxn>
              <a:cxn ang="0">
                <a:pos x="connsiteX70285" y="connsiteY70285"/>
              </a:cxn>
              <a:cxn ang="0">
                <a:pos x="connsiteX70286" y="connsiteY70286"/>
              </a:cxn>
              <a:cxn ang="0">
                <a:pos x="connsiteX70287" y="connsiteY70287"/>
              </a:cxn>
              <a:cxn ang="0">
                <a:pos x="connsiteX70288" y="connsiteY70288"/>
              </a:cxn>
              <a:cxn ang="0">
                <a:pos x="connsiteX70289" y="connsiteY70289"/>
              </a:cxn>
              <a:cxn ang="0">
                <a:pos x="connsiteX70290" y="connsiteY70290"/>
              </a:cxn>
              <a:cxn ang="0">
                <a:pos x="connsiteX70291" y="connsiteY70291"/>
              </a:cxn>
              <a:cxn ang="0">
                <a:pos x="connsiteX70292" y="connsiteY70292"/>
              </a:cxn>
              <a:cxn ang="0">
                <a:pos x="connsiteX70293" y="connsiteY70293"/>
              </a:cxn>
              <a:cxn ang="0">
                <a:pos x="connsiteX70294" y="connsiteY70294"/>
              </a:cxn>
              <a:cxn ang="0">
                <a:pos x="connsiteX70295" y="connsiteY70295"/>
              </a:cxn>
              <a:cxn ang="0">
                <a:pos x="connsiteX70296" y="connsiteY70296"/>
              </a:cxn>
              <a:cxn ang="0">
                <a:pos x="connsiteX70297" y="connsiteY70297"/>
              </a:cxn>
              <a:cxn ang="0">
                <a:pos x="connsiteX70298" y="connsiteY70298"/>
              </a:cxn>
              <a:cxn ang="0">
                <a:pos x="connsiteX70299" y="connsiteY70299"/>
              </a:cxn>
              <a:cxn ang="0">
                <a:pos x="connsiteX70300" y="connsiteY70300"/>
              </a:cxn>
              <a:cxn ang="0">
                <a:pos x="connsiteX70301" y="connsiteY70301"/>
              </a:cxn>
              <a:cxn ang="0">
                <a:pos x="connsiteX70302" y="connsiteY70302"/>
              </a:cxn>
              <a:cxn ang="0">
                <a:pos x="connsiteX70303" y="connsiteY70303"/>
              </a:cxn>
              <a:cxn ang="0">
                <a:pos x="connsiteX70304" y="connsiteY70304"/>
              </a:cxn>
              <a:cxn ang="0">
                <a:pos x="connsiteX70305" y="connsiteY70305"/>
              </a:cxn>
              <a:cxn ang="0">
                <a:pos x="connsiteX70306" y="connsiteY70306"/>
              </a:cxn>
              <a:cxn ang="0">
                <a:pos x="connsiteX70307" y="connsiteY70307"/>
              </a:cxn>
              <a:cxn ang="0">
                <a:pos x="connsiteX70308" y="connsiteY70308"/>
              </a:cxn>
              <a:cxn ang="0">
                <a:pos x="connsiteX70309" y="connsiteY70309"/>
              </a:cxn>
              <a:cxn ang="0">
                <a:pos x="connsiteX70310" y="connsiteY70310"/>
              </a:cxn>
              <a:cxn ang="0">
                <a:pos x="connsiteX70311" y="connsiteY70311"/>
              </a:cxn>
              <a:cxn ang="0">
                <a:pos x="connsiteX70312" y="connsiteY70312"/>
              </a:cxn>
              <a:cxn ang="0">
                <a:pos x="connsiteX70313" y="connsiteY70313"/>
              </a:cxn>
              <a:cxn ang="0">
                <a:pos x="connsiteX70314" y="connsiteY70314"/>
              </a:cxn>
              <a:cxn ang="0">
                <a:pos x="connsiteX70315" y="connsiteY70315"/>
              </a:cxn>
              <a:cxn ang="0">
                <a:pos x="connsiteX70316" y="connsiteY70316"/>
              </a:cxn>
              <a:cxn ang="0">
                <a:pos x="connsiteX70317" y="connsiteY70317"/>
              </a:cxn>
              <a:cxn ang="0">
                <a:pos x="connsiteX70318" y="connsiteY70318"/>
              </a:cxn>
              <a:cxn ang="0">
                <a:pos x="connsiteX70319" y="connsiteY70319"/>
              </a:cxn>
              <a:cxn ang="0">
                <a:pos x="connsiteX70320" y="connsiteY70320"/>
              </a:cxn>
              <a:cxn ang="0">
                <a:pos x="connsiteX70321" y="connsiteY70321"/>
              </a:cxn>
              <a:cxn ang="0">
                <a:pos x="connsiteX70322" y="connsiteY70322"/>
              </a:cxn>
              <a:cxn ang="0">
                <a:pos x="connsiteX70323" y="connsiteY70323"/>
              </a:cxn>
              <a:cxn ang="0">
                <a:pos x="connsiteX70324" y="connsiteY70324"/>
              </a:cxn>
              <a:cxn ang="0">
                <a:pos x="connsiteX70325" y="connsiteY70325"/>
              </a:cxn>
              <a:cxn ang="0">
                <a:pos x="connsiteX70326" y="connsiteY70326"/>
              </a:cxn>
              <a:cxn ang="0">
                <a:pos x="connsiteX70327" y="connsiteY70327"/>
              </a:cxn>
              <a:cxn ang="0">
                <a:pos x="connsiteX70328" y="connsiteY70328"/>
              </a:cxn>
              <a:cxn ang="0">
                <a:pos x="connsiteX70329" y="connsiteY70329"/>
              </a:cxn>
              <a:cxn ang="0">
                <a:pos x="connsiteX70330" y="connsiteY70330"/>
              </a:cxn>
              <a:cxn ang="0">
                <a:pos x="connsiteX70331" y="connsiteY70331"/>
              </a:cxn>
              <a:cxn ang="0">
                <a:pos x="connsiteX70332" y="connsiteY70332"/>
              </a:cxn>
              <a:cxn ang="0">
                <a:pos x="connsiteX70333" y="connsiteY70333"/>
              </a:cxn>
              <a:cxn ang="0">
                <a:pos x="connsiteX70334" y="connsiteY70334"/>
              </a:cxn>
              <a:cxn ang="0">
                <a:pos x="connsiteX70335" y="connsiteY70335"/>
              </a:cxn>
              <a:cxn ang="0">
                <a:pos x="connsiteX70336" y="connsiteY70336"/>
              </a:cxn>
              <a:cxn ang="0">
                <a:pos x="connsiteX70337" y="connsiteY70337"/>
              </a:cxn>
              <a:cxn ang="0">
                <a:pos x="connsiteX70338" y="connsiteY70338"/>
              </a:cxn>
              <a:cxn ang="0">
                <a:pos x="connsiteX70339" y="connsiteY70339"/>
              </a:cxn>
              <a:cxn ang="0">
                <a:pos x="connsiteX70340" y="connsiteY70340"/>
              </a:cxn>
              <a:cxn ang="0">
                <a:pos x="connsiteX70341" y="connsiteY70341"/>
              </a:cxn>
              <a:cxn ang="0">
                <a:pos x="connsiteX70342" y="connsiteY70342"/>
              </a:cxn>
              <a:cxn ang="0">
                <a:pos x="connsiteX70343" y="connsiteY70343"/>
              </a:cxn>
              <a:cxn ang="0">
                <a:pos x="connsiteX70344" y="connsiteY70344"/>
              </a:cxn>
              <a:cxn ang="0">
                <a:pos x="connsiteX70345" y="connsiteY70345"/>
              </a:cxn>
              <a:cxn ang="0">
                <a:pos x="connsiteX70346" y="connsiteY70346"/>
              </a:cxn>
              <a:cxn ang="0">
                <a:pos x="connsiteX70347" y="connsiteY70347"/>
              </a:cxn>
              <a:cxn ang="0">
                <a:pos x="connsiteX70348" y="connsiteY70348"/>
              </a:cxn>
              <a:cxn ang="0">
                <a:pos x="connsiteX70349" y="connsiteY70349"/>
              </a:cxn>
              <a:cxn ang="0">
                <a:pos x="connsiteX70350" y="connsiteY70350"/>
              </a:cxn>
              <a:cxn ang="0">
                <a:pos x="connsiteX70351" y="connsiteY70351"/>
              </a:cxn>
              <a:cxn ang="0">
                <a:pos x="connsiteX70352" y="connsiteY70352"/>
              </a:cxn>
              <a:cxn ang="0">
                <a:pos x="connsiteX70353" y="connsiteY70353"/>
              </a:cxn>
              <a:cxn ang="0">
                <a:pos x="connsiteX70354" y="connsiteY70354"/>
              </a:cxn>
              <a:cxn ang="0">
                <a:pos x="connsiteX70355" y="connsiteY70355"/>
              </a:cxn>
              <a:cxn ang="0">
                <a:pos x="connsiteX70356" y="connsiteY70356"/>
              </a:cxn>
              <a:cxn ang="0">
                <a:pos x="connsiteX70357" y="connsiteY70357"/>
              </a:cxn>
              <a:cxn ang="0">
                <a:pos x="connsiteX70358" y="connsiteY70358"/>
              </a:cxn>
              <a:cxn ang="0">
                <a:pos x="connsiteX70359" y="connsiteY70359"/>
              </a:cxn>
              <a:cxn ang="0">
                <a:pos x="connsiteX70360" y="connsiteY70360"/>
              </a:cxn>
              <a:cxn ang="0">
                <a:pos x="connsiteX70361" y="connsiteY70361"/>
              </a:cxn>
              <a:cxn ang="0">
                <a:pos x="connsiteX70362" y="connsiteY70362"/>
              </a:cxn>
              <a:cxn ang="0">
                <a:pos x="connsiteX70363" y="connsiteY70363"/>
              </a:cxn>
              <a:cxn ang="0">
                <a:pos x="connsiteX70364" y="connsiteY70364"/>
              </a:cxn>
              <a:cxn ang="0">
                <a:pos x="connsiteX70365" y="connsiteY70365"/>
              </a:cxn>
              <a:cxn ang="0">
                <a:pos x="connsiteX70366" y="connsiteY70366"/>
              </a:cxn>
              <a:cxn ang="0">
                <a:pos x="connsiteX70367" y="connsiteY70367"/>
              </a:cxn>
              <a:cxn ang="0">
                <a:pos x="connsiteX70368" y="connsiteY70368"/>
              </a:cxn>
              <a:cxn ang="0">
                <a:pos x="connsiteX70369" y="connsiteY70369"/>
              </a:cxn>
              <a:cxn ang="0">
                <a:pos x="connsiteX70370" y="connsiteY70370"/>
              </a:cxn>
              <a:cxn ang="0">
                <a:pos x="connsiteX70371" y="connsiteY70371"/>
              </a:cxn>
              <a:cxn ang="0">
                <a:pos x="connsiteX70372" y="connsiteY70372"/>
              </a:cxn>
              <a:cxn ang="0">
                <a:pos x="connsiteX70373" y="connsiteY70373"/>
              </a:cxn>
              <a:cxn ang="0">
                <a:pos x="connsiteX70374" y="connsiteY70374"/>
              </a:cxn>
              <a:cxn ang="0">
                <a:pos x="connsiteX70375" y="connsiteY70375"/>
              </a:cxn>
              <a:cxn ang="0">
                <a:pos x="connsiteX70376" y="connsiteY70376"/>
              </a:cxn>
              <a:cxn ang="0">
                <a:pos x="connsiteX70377" y="connsiteY70377"/>
              </a:cxn>
              <a:cxn ang="0">
                <a:pos x="connsiteX70378" y="connsiteY70378"/>
              </a:cxn>
              <a:cxn ang="0">
                <a:pos x="connsiteX70379" y="connsiteY70379"/>
              </a:cxn>
              <a:cxn ang="0">
                <a:pos x="connsiteX70380" y="connsiteY70380"/>
              </a:cxn>
              <a:cxn ang="0">
                <a:pos x="connsiteX70381" y="connsiteY70381"/>
              </a:cxn>
              <a:cxn ang="0">
                <a:pos x="connsiteX70382" y="connsiteY70382"/>
              </a:cxn>
              <a:cxn ang="0">
                <a:pos x="connsiteX70383" y="connsiteY70383"/>
              </a:cxn>
              <a:cxn ang="0">
                <a:pos x="connsiteX70384" y="connsiteY70384"/>
              </a:cxn>
              <a:cxn ang="0">
                <a:pos x="connsiteX70385" y="connsiteY70385"/>
              </a:cxn>
              <a:cxn ang="0">
                <a:pos x="connsiteX70386" y="connsiteY70386"/>
              </a:cxn>
              <a:cxn ang="0">
                <a:pos x="connsiteX70387" y="connsiteY70387"/>
              </a:cxn>
              <a:cxn ang="0">
                <a:pos x="connsiteX70388" y="connsiteY70388"/>
              </a:cxn>
              <a:cxn ang="0">
                <a:pos x="connsiteX70389" y="connsiteY70389"/>
              </a:cxn>
              <a:cxn ang="0">
                <a:pos x="connsiteX70390" y="connsiteY70390"/>
              </a:cxn>
              <a:cxn ang="0">
                <a:pos x="connsiteX70391" y="connsiteY70391"/>
              </a:cxn>
              <a:cxn ang="0">
                <a:pos x="connsiteX70392" y="connsiteY70392"/>
              </a:cxn>
              <a:cxn ang="0">
                <a:pos x="connsiteX70393" y="connsiteY70393"/>
              </a:cxn>
              <a:cxn ang="0">
                <a:pos x="connsiteX70394" y="connsiteY70394"/>
              </a:cxn>
              <a:cxn ang="0">
                <a:pos x="connsiteX70395" y="connsiteY70395"/>
              </a:cxn>
              <a:cxn ang="0">
                <a:pos x="connsiteX70396" y="connsiteY70396"/>
              </a:cxn>
              <a:cxn ang="0">
                <a:pos x="connsiteX70397" y="connsiteY70397"/>
              </a:cxn>
              <a:cxn ang="0">
                <a:pos x="connsiteX70398" y="connsiteY70398"/>
              </a:cxn>
              <a:cxn ang="0">
                <a:pos x="connsiteX70399" y="connsiteY70399"/>
              </a:cxn>
              <a:cxn ang="0">
                <a:pos x="connsiteX70400" y="connsiteY70400"/>
              </a:cxn>
              <a:cxn ang="0">
                <a:pos x="connsiteX70401" y="connsiteY70401"/>
              </a:cxn>
              <a:cxn ang="0">
                <a:pos x="connsiteX70402" y="connsiteY70402"/>
              </a:cxn>
              <a:cxn ang="0">
                <a:pos x="connsiteX70403" y="connsiteY70403"/>
              </a:cxn>
              <a:cxn ang="0">
                <a:pos x="connsiteX70404" y="connsiteY70404"/>
              </a:cxn>
              <a:cxn ang="0">
                <a:pos x="connsiteX70405" y="connsiteY70405"/>
              </a:cxn>
              <a:cxn ang="0">
                <a:pos x="connsiteX70406" y="connsiteY70406"/>
              </a:cxn>
              <a:cxn ang="0">
                <a:pos x="connsiteX70407" y="connsiteY70407"/>
              </a:cxn>
              <a:cxn ang="0">
                <a:pos x="connsiteX70408" y="connsiteY70408"/>
              </a:cxn>
              <a:cxn ang="0">
                <a:pos x="connsiteX70409" y="connsiteY70409"/>
              </a:cxn>
              <a:cxn ang="0">
                <a:pos x="connsiteX70410" y="connsiteY70410"/>
              </a:cxn>
              <a:cxn ang="0">
                <a:pos x="connsiteX70411" y="connsiteY70411"/>
              </a:cxn>
              <a:cxn ang="0">
                <a:pos x="connsiteX70412" y="connsiteY70412"/>
              </a:cxn>
              <a:cxn ang="0">
                <a:pos x="connsiteX70413" y="connsiteY70413"/>
              </a:cxn>
              <a:cxn ang="0">
                <a:pos x="connsiteX70414" y="connsiteY70414"/>
              </a:cxn>
              <a:cxn ang="0">
                <a:pos x="connsiteX70415" y="connsiteY70415"/>
              </a:cxn>
              <a:cxn ang="0">
                <a:pos x="connsiteX70416" y="connsiteY70416"/>
              </a:cxn>
              <a:cxn ang="0">
                <a:pos x="connsiteX70417" y="connsiteY70417"/>
              </a:cxn>
              <a:cxn ang="0">
                <a:pos x="connsiteX70418" y="connsiteY70418"/>
              </a:cxn>
              <a:cxn ang="0">
                <a:pos x="connsiteX70419" y="connsiteY70419"/>
              </a:cxn>
              <a:cxn ang="0">
                <a:pos x="connsiteX70420" y="connsiteY70420"/>
              </a:cxn>
              <a:cxn ang="0">
                <a:pos x="connsiteX70421" y="connsiteY70421"/>
              </a:cxn>
              <a:cxn ang="0">
                <a:pos x="connsiteX70422" y="connsiteY70422"/>
              </a:cxn>
              <a:cxn ang="0">
                <a:pos x="connsiteX70423" y="connsiteY70423"/>
              </a:cxn>
              <a:cxn ang="0">
                <a:pos x="connsiteX70424" y="connsiteY70424"/>
              </a:cxn>
              <a:cxn ang="0">
                <a:pos x="connsiteX70425" y="connsiteY70425"/>
              </a:cxn>
              <a:cxn ang="0">
                <a:pos x="connsiteX70426" y="connsiteY70426"/>
              </a:cxn>
              <a:cxn ang="0">
                <a:pos x="connsiteX70427" y="connsiteY70427"/>
              </a:cxn>
              <a:cxn ang="0">
                <a:pos x="connsiteX70428" y="connsiteY70428"/>
              </a:cxn>
              <a:cxn ang="0">
                <a:pos x="connsiteX70429" y="connsiteY70429"/>
              </a:cxn>
              <a:cxn ang="0">
                <a:pos x="connsiteX70430" y="connsiteY70430"/>
              </a:cxn>
              <a:cxn ang="0">
                <a:pos x="connsiteX70431" y="connsiteY70431"/>
              </a:cxn>
              <a:cxn ang="0">
                <a:pos x="connsiteX70432" y="connsiteY70432"/>
              </a:cxn>
              <a:cxn ang="0">
                <a:pos x="connsiteX70433" y="connsiteY70433"/>
              </a:cxn>
              <a:cxn ang="0">
                <a:pos x="connsiteX70434" y="connsiteY70434"/>
              </a:cxn>
              <a:cxn ang="0">
                <a:pos x="connsiteX70435" y="connsiteY70435"/>
              </a:cxn>
              <a:cxn ang="0">
                <a:pos x="connsiteX70436" y="connsiteY70436"/>
              </a:cxn>
              <a:cxn ang="0">
                <a:pos x="connsiteX70437" y="connsiteY70437"/>
              </a:cxn>
              <a:cxn ang="0">
                <a:pos x="connsiteX70438" y="connsiteY70438"/>
              </a:cxn>
              <a:cxn ang="0">
                <a:pos x="connsiteX70439" y="connsiteY70439"/>
              </a:cxn>
              <a:cxn ang="0">
                <a:pos x="connsiteX70440" y="connsiteY70440"/>
              </a:cxn>
              <a:cxn ang="0">
                <a:pos x="connsiteX70441" y="connsiteY70441"/>
              </a:cxn>
              <a:cxn ang="0">
                <a:pos x="connsiteX70442" y="connsiteY70442"/>
              </a:cxn>
              <a:cxn ang="0">
                <a:pos x="connsiteX70443" y="connsiteY70443"/>
              </a:cxn>
              <a:cxn ang="0">
                <a:pos x="connsiteX70444" y="connsiteY70444"/>
              </a:cxn>
              <a:cxn ang="0">
                <a:pos x="connsiteX70445" y="connsiteY70445"/>
              </a:cxn>
              <a:cxn ang="0">
                <a:pos x="connsiteX70446" y="connsiteY70446"/>
              </a:cxn>
              <a:cxn ang="0">
                <a:pos x="connsiteX70447" y="connsiteY70447"/>
              </a:cxn>
              <a:cxn ang="0">
                <a:pos x="connsiteX70448" y="connsiteY70448"/>
              </a:cxn>
              <a:cxn ang="0">
                <a:pos x="connsiteX70449" y="connsiteY70449"/>
              </a:cxn>
              <a:cxn ang="0">
                <a:pos x="connsiteX70450" y="connsiteY70450"/>
              </a:cxn>
              <a:cxn ang="0">
                <a:pos x="connsiteX70451" y="connsiteY70451"/>
              </a:cxn>
              <a:cxn ang="0">
                <a:pos x="connsiteX70452" y="connsiteY70452"/>
              </a:cxn>
              <a:cxn ang="0">
                <a:pos x="connsiteX70453" y="connsiteY70453"/>
              </a:cxn>
              <a:cxn ang="0">
                <a:pos x="connsiteX70454" y="connsiteY70454"/>
              </a:cxn>
              <a:cxn ang="0">
                <a:pos x="connsiteX70455" y="connsiteY70455"/>
              </a:cxn>
              <a:cxn ang="0">
                <a:pos x="connsiteX70456" y="connsiteY70456"/>
              </a:cxn>
              <a:cxn ang="0">
                <a:pos x="connsiteX70457" y="connsiteY70457"/>
              </a:cxn>
              <a:cxn ang="0">
                <a:pos x="connsiteX70458" y="connsiteY70458"/>
              </a:cxn>
              <a:cxn ang="0">
                <a:pos x="connsiteX70459" y="connsiteY70459"/>
              </a:cxn>
              <a:cxn ang="0">
                <a:pos x="connsiteX70460" y="connsiteY70460"/>
              </a:cxn>
              <a:cxn ang="0">
                <a:pos x="connsiteX70461" y="connsiteY70461"/>
              </a:cxn>
              <a:cxn ang="0">
                <a:pos x="connsiteX70462" y="connsiteY70462"/>
              </a:cxn>
              <a:cxn ang="0">
                <a:pos x="connsiteX70463" y="connsiteY70463"/>
              </a:cxn>
              <a:cxn ang="0">
                <a:pos x="connsiteX70464" y="connsiteY70464"/>
              </a:cxn>
              <a:cxn ang="0">
                <a:pos x="connsiteX70465" y="connsiteY70465"/>
              </a:cxn>
              <a:cxn ang="0">
                <a:pos x="connsiteX70466" y="connsiteY70466"/>
              </a:cxn>
              <a:cxn ang="0">
                <a:pos x="connsiteX70467" y="connsiteY70467"/>
              </a:cxn>
              <a:cxn ang="0">
                <a:pos x="connsiteX70468" y="connsiteY70468"/>
              </a:cxn>
              <a:cxn ang="0">
                <a:pos x="connsiteX70469" y="connsiteY70469"/>
              </a:cxn>
              <a:cxn ang="0">
                <a:pos x="connsiteX70470" y="connsiteY70470"/>
              </a:cxn>
              <a:cxn ang="0">
                <a:pos x="connsiteX70471" y="connsiteY70471"/>
              </a:cxn>
              <a:cxn ang="0">
                <a:pos x="connsiteX70472" y="connsiteY70472"/>
              </a:cxn>
              <a:cxn ang="0">
                <a:pos x="connsiteX70473" y="connsiteY70473"/>
              </a:cxn>
              <a:cxn ang="0">
                <a:pos x="connsiteX70474" y="connsiteY70474"/>
              </a:cxn>
              <a:cxn ang="0">
                <a:pos x="connsiteX70475" y="connsiteY70475"/>
              </a:cxn>
              <a:cxn ang="0">
                <a:pos x="connsiteX70476" y="connsiteY70476"/>
              </a:cxn>
              <a:cxn ang="0">
                <a:pos x="connsiteX70477" y="connsiteY70477"/>
              </a:cxn>
              <a:cxn ang="0">
                <a:pos x="connsiteX70478" y="connsiteY70478"/>
              </a:cxn>
              <a:cxn ang="0">
                <a:pos x="connsiteX70479" y="connsiteY70479"/>
              </a:cxn>
              <a:cxn ang="0">
                <a:pos x="connsiteX70480" y="connsiteY70480"/>
              </a:cxn>
              <a:cxn ang="0">
                <a:pos x="connsiteX70481" y="connsiteY70481"/>
              </a:cxn>
              <a:cxn ang="0">
                <a:pos x="connsiteX70482" y="connsiteY70482"/>
              </a:cxn>
              <a:cxn ang="0">
                <a:pos x="connsiteX70483" y="connsiteY70483"/>
              </a:cxn>
              <a:cxn ang="0">
                <a:pos x="connsiteX70484" y="connsiteY70484"/>
              </a:cxn>
              <a:cxn ang="0">
                <a:pos x="connsiteX70485" y="connsiteY70485"/>
              </a:cxn>
              <a:cxn ang="0">
                <a:pos x="connsiteX70486" y="connsiteY70486"/>
              </a:cxn>
              <a:cxn ang="0">
                <a:pos x="connsiteX70487" y="connsiteY70487"/>
              </a:cxn>
              <a:cxn ang="0">
                <a:pos x="connsiteX70488" y="connsiteY70488"/>
              </a:cxn>
              <a:cxn ang="0">
                <a:pos x="connsiteX70489" y="connsiteY70489"/>
              </a:cxn>
              <a:cxn ang="0">
                <a:pos x="connsiteX70490" y="connsiteY70490"/>
              </a:cxn>
              <a:cxn ang="0">
                <a:pos x="connsiteX70491" y="connsiteY70491"/>
              </a:cxn>
              <a:cxn ang="0">
                <a:pos x="connsiteX70492" y="connsiteY70492"/>
              </a:cxn>
              <a:cxn ang="0">
                <a:pos x="connsiteX70493" y="connsiteY70493"/>
              </a:cxn>
              <a:cxn ang="0">
                <a:pos x="connsiteX70494" y="connsiteY70494"/>
              </a:cxn>
              <a:cxn ang="0">
                <a:pos x="connsiteX70495" y="connsiteY70495"/>
              </a:cxn>
              <a:cxn ang="0">
                <a:pos x="connsiteX70496" y="connsiteY70496"/>
              </a:cxn>
              <a:cxn ang="0">
                <a:pos x="connsiteX70497" y="connsiteY70497"/>
              </a:cxn>
              <a:cxn ang="0">
                <a:pos x="connsiteX70498" y="connsiteY70498"/>
              </a:cxn>
              <a:cxn ang="0">
                <a:pos x="connsiteX70499" y="connsiteY70499"/>
              </a:cxn>
              <a:cxn ang="0">
                <a:pos x="connsiteX70500" y="connsiteY70500"/>
              </a:cxn>
              <a:cxn ang="0">
                <a:pos x="connsiteX70501" y="connsiteY70501"/>
              </a:cxn>
              <a:cxn ang="0">
                <a:pos x="connsiteX70502" y="connsiteY70502"/>
              </a:cxn>
              <a:cxn ang="0">
                <a:pos x="connsiteX70503" y="connsiteY70503"/>
              </a:cxn>
              <a:cxn ang="0">
                <a:pos x="connsiteX70504" y="connsiteY70504"/>
              </a:cxn>
              <a:cxn ang="0">
                <a:pos x="connsiteX70505" y="connsiteY70505"/>
              </a:cxn>
              <a:cxn ang="0">
                <a:pos x="connsiteX70506" y="connsiteY70506"/>
              </a:cxn>
              <a:cxn ang="0">
                <a:pos x="connsiteX70507" y="connsiteY70507"/>
              </a:cxn>
              <a:cxn ang="0">
                <a:pos x="connsiteX70508" y="connsiteY70508"/>
              </a:cxn>
              <a:cxn ang="0">
                <a:pos x="connsiteX70509" y="connsiteY70509"/>
              </a:cxn>
              <a:cxn ang="0">
                <a:pos x="connsiteX70510" y="connsiteY70510"/>
              </a:cxn>
              <a:cxn ang="0">
                <a:pos x="connsiteX70511" y="connsiteY70511"/>
              </a:cxn>
              <a:cxn ang="0">
                <a:pos x="connsiteX70512" y="connsiteY70512"/>
              </a:cxn>
              <a:cxn ang="0">
                <a:pos x="connsiteX70513" y="connsiteY70513"/>
              </a:cxn>
              <a:cxn ang="0">
                <a:pos x="connsiteX70514" y="connsiteY70514"/>
              </a:cxn>
              <a:cxn ang="0">
                <a:pos x="connsiteX70515" y="connsiteY70515"/>
              </a:cxn>
              <a:cxn ang="0">
                <a:pos x="connsiteX70516" y="connsiteY70516"/>
              </a:cxn>
              <a:cxn ang="0">
                <a:pos x="connsiteX70517" y="connsiteY70517"/>
              </a:cxn>
              <a:cxn ang="0">
                <a:pos x="connsiteX70518" y="connsiteY70518"/>
              </a:cxn>
              <a:cxn ang="0">
                <a:pos x="connsiteX70519" y="connsiteY70519"/>
              </a:cxn>
              <a:cxn ang="0">
                <a:pos x="connsiteX70520" y="connsiteY70520"/>
              </a:cxn>
              <a:cxn ang="0">
                <a:pos x="connsiteX70521" y="connsiteY70521"/>
              </a:cxn>
              <a:cxn ang="0">
                <a:pos x="connsiteX70522" y="connsiteY70522"/>
              </a:cxn>
              <a:cxn ang="0">
                <a:pos x="connsiteX70523" y="connsiteY70523"/>
              </a:cxn>
              <a:cxn ang="0">
                <a:pos x="connsiteX70524" y="connsiteY70524"/>
              </a:cxn>
              <a:cxn ang="0">
                <a:pos x="connsiteX70525" y="connsiteY70525"/>
              </a:cxn>
              <a:cxn ang="0">
                <a:pos x="connsiteX70526" y="connsiteY70526"/>
              </a:cxn>
              <a:cxn ang="0">
                <a:pos x="connsiteX70527" y="connsiteY70527"/>
              </a:cxn>
              <a:cxn ang="0">
                <a:pos x="connsiteX70528" y="connsiteY70528"/>
              </a:cxn>
              <a:cxn ang="0">
                <a:pos x="connsiteX70529" y="connsiteY70529"/>
              </a:cxn>
              <a:cxn ang="0">
                <a:pos x="connsiteX70530" y="connsiteY70530"/>
              </a:cxn>
              <a:cxn ang="0">
                <a:pos x="connsiteX70531" y="connsiteY70531"/>
              </a:cxn>
              <a:cxn ang="0">
                <a:pos x="connsiteX70532" y="connsiteY70532"/>
              </a:cxn>
              <a:cxn ang="0">
                <a:pos x="connsiteX70533" y="connsiteY70533"/>
              </a:cxn>
              <a:cxn ang="0">
                <a:pos x="connsiteX70534" y="connsiteY70534"/>
              </a:cxn>
              <a:cxn ang="0">
                <a:pos x="connsiteX70535" y="connsiteY70535"/>
              </a:cxn>
              <a:cxn ang="0">
                <a:pos x="connsiteX70536" y="connsiteY70536"/>
              </a:cxn>
              <a:cxn ang="0">
                <a:pos x="connsiteX70537" y="connsiteY70537"/>
              </a:cxn>
              <a:cxn ang="0">
                <a:pos x="connsiteX70538" y="connsiteY70538"/>
              </a:cxn>
              <a:cxn ang="0">
                <a:pos x="connsiteX70539" y="connsiteY70539"/>
              </a:cxn>
              <a:cxn ang="0">
                <a:pos x="connsiteX70540" y="connsiteY70540"/>
              </a:cxn>
              <a:cxn ang="0">
                <a:pos x="connsiteX70541" y="connsiteY70541"/>
              </a:cxn>
              <a:cxn ang="0">
                <a:pos x="connsiteX70542" y="connsiteY70542"/>
              </a:cxn>
              <a:cxn ang="0">
                <a:pos x="connsiteX70543" y="connsiteY70543"/>
              </a:cxn>
              <a:cxn ang="0">
                <a:pos x="connsiteX70544" y="connsiteY70544"/>
              </a:cxn>
              <a:cxn ang="0">
                <a:pos x="connsiteX70545" y="connsiteY70545"/>
              </a:cxn>
              <a:cxn ang="0">
                <a:pos x="connsiteX70546" y="connsiteY70546"/>
              </a:cxn>
              <a:cxn ang="0">
                <a:pos x="connsiteX70547" y="connsiteY70547"/>
              </a:cxn>
              <a:cxn ang="0">
                <a:pos x="connsiteX70548" y="connsiteY70548"/>
              </a:cxn>
              <a:cxn ang="0">
                <a:pos x="connsiteX70549" y="connsiteY70549"/>
              </a:cxn>
              <a:cxn ang="0">
                <a:pos x="connsiteX70550" y="connsiteY70550"/>
              </a:cxn>
              <a:cxn ang="0">
                <a:pos x="connsiteX70551" y="connsiteY70551"/>
              </a:cxn>
              <a:cxn ang="0">
                <a:pos x="connsiteX70552" y="connsiteY70552"/>
              </a:cxn>
              <a:cxn ang="0">
                <a:pos x="connsiteX70553" y="connsiteY70553"/>
              </a:cxn>
              <a:cxn ang="0">
                <a:pos x="connsiteX70554" y="connsiteY70554"/>
              </a:cxn>
              <a:cxn ang="0">
                <a:pos x="connsiteX70555" y="connsiteY70555"/>
              </a:cxn>
              <a:cxn ang="0">
                <a:pos x="connsiteX70556" y="connsiteY70556"/>
              </a:cxn>
              <a:cxn ang="0">
                <a:pos x="connsiteX70557" y="connsiteY70557"/>
              </a:cxn>
              <a:cxn ang="0">
                <a:pos x="connsiteX70558" y="connsiteY70558"/>
              </a:cxn>
              <a:cxn ang="0">
                <a:pos x="connsiteX70559" y="connsiteY70559"/>
              </a:cxn>
              <a:cxn ang="0">
                <a:pos x="connsiteX70560" y="connsiteY70560"/>
              </a:cxn>
              <a:cxn ang="0">
                <a:pos x="connsiteX70561" y="connsiteY70561"/>
              </a:cxn>
              <a:cxn ang="0">
                <a:pos x="connsiteX70562" y="connsiteY70562"/>
              </a:cxn>
              <a:cxn ang="0">
                <a:pos x="connsiteX70563" y="connsiteY70563"/>
              </a:cxn>
              <a:cxn ang="0">
                <a:pos x="connsiteX70564" y="connsiteY70564"/>
              </a:cxn>
              <a:cxn ang="0">
                <a:pos x="connsiteX70565" y="connsiteY70565"/>
              </a:cxn>
              <a:cxn ang="0">
                <a:pos x="connsiteX70566" y="connsiteY70566"/>
              </a:cxn>
              <a:cxn ang="0">
                <a:pos x="connsiteX70567" y="connsiteY70567"/>
              </a:cxn>
              <a:cxn ang="0">
                <a:pos x="connsiteX70568" y="connsiteY70568"/>
              </a:cxn>
              <a:cxn ang="0">
                <a:pos x="connsiteX70569" y="connsiteY70569"/>
              </a:cxn>
              <a:cxn ang="0">
                <a:pos x="connsiteX70570" y="connsiteY70570"/>
              </a:cxn>
              <a:cxn ang="0">
                <a:pos x="connsiteX70571" y="connsiteY70571"/>
              </a:cxn>
              <a:cxn ang="0">
                <a:pos x="connsiteX70572" y="connsiteY70572"/>
              </a:cxn>
              <a:cxn ang="0">
                <a:pos x="connsiteX70573" y="connsiteY70573"/>
              </a:cxn>
              <a:cxn ang="0">
                <a:pos x="connsiteX70574" y="connsiteY70574"/>
              </a:cxn>
              <a:cxn ang="0">
                <a:pos x="connsiteX70575" y="connsiteY70575"/>
              </a:cxn>
              <a:cxn ang="0">
                <a:pos x="connsiteX70576" y="connsiteY70576"/>
              </a:cxn>
              <a:cxn ang="0">
                <a:pos x="connsiteX70577" y="connsiteY70577"/>
              </a:cxn>
              <a:cxn ang="0">
                <a:pos x="connsiteX70578" y="connsiteY70578"/>
              </a:cxn>
              <a:cxn ang="0">
                <a:pos x="connsiteX70579" y="connsiteY70579"/>
              </a:cxn>
              <a:cxn ang="0">
                <a:pos x="connsiteX70580" y="connsiteY70580"/>
              </a:cxn>
              <a:cxn ang="0">
                <a:pos x="connsiteX70581" y="connsiteY70581"/>
              </a:cxn>
              <a:cxn ang="0">
                <a:pos x="connsiteX70582" y="connsiteY70582"/>
              </a:cxn>
              <a:cxn ang="0">
                <a:pos x="connsiteX70583" y="connsiteY70583"/>
              </a:cxn>
              <a:cxn ang="0">
                <a:pos x="connsiteX70584" y="connsiteY70584"/>
              </a:cxn>
              <a:cxn ang="0">
                <a:pos x="connsiteX70585" y="connsiteY70585"/>
              </a:cxn>
              <a:cxn ang="0">
                <a:pos x="connsiteX70586" y="connsiteY70586"/>
              </a:cxn>
              <a:cxn ang="0">
                <a:pos x="connsiteX70587" y="connsiteY70587"/>
              </a:cxn>
              <a:cxn ang="0">
                <a:pos x="connsiteX70588" y="connsiteY70588"/>
              </a:cxn>
              <a:cxn ang="0">
                <a:pos x="connsiteX70589" y="connsiteY70589"/>
              </a:cxn>
              <a:cxn ang="0">
                <a:pos x="connsiteX70590" y="connsiteY70590"/>
              </a:cxn>
              <a:cxn ang="0">
                <a:pos x="connsiteX70591" y="connsiteY70591"/>
              </a:cxn>
              <a:cxn ang="0">
                <a:pos x="connsiteX70592" y="connsiteY70592"/>
              </a:cxn>
              <a:cxn ang="0">
                <a:pos x="connsiteX70593" y="connsiteY70593"/>
              </a:cxn>
              <a:cxn ang="0">
                <a:pos x="connsiteX70594" y="connsiteY70594"/>
              </a:cxn>
              <a:cxn ang="0">
                <a:pos x="connsiteX70595" y="connsiteY70595"/>
              </a:cxn>
              <a:cxn ang="0">
                <a:pos x="connsiteX70596" y="connsiteY70596"/>
              </a:cxn>
              <a:cxn ang="0">
                <a:pos x="connsiteX70597" y="connsiteY70597"/>
              </a:cxn>
              <a:cxn ang="0">
                <a:pos x="connsiteX70598" y="connsiteY70598"/>
              </a:cxn>
              <a:cxn ang="0">
                <a:pos x="connsiteX70599" y="connsiteY70599"/>
              </a:cxn>
              <a:cxn ang="0">
                <a:pos x="connsiteX70600" y="connsiteY70600"/>
              </a:cxn>
              <a:cxn ang="0">
                <a:pos x="connsiteX70601" y="connsiteY70601"/>
              </a:cxn>
              <a:cxn ang="0">
                <a:pos x="connsiteX70602" y="connsiteY70602"/>
              </a:cxn>
              <a:cxn ang="0">
                <a:pos x="connsiteX70603" y="connsiteY70603"/>
              </a:cxn>
              <a:cxn ang="0">
                <a:pos x="connsiteX70604" y="connsiteY70604"/>
              </a:cxn>
              <a:cxn ang="0">
                <a:pos x="connsiteX70605" y="connsiteY70605"/>
              </a:cxn>
              <a:cxn ang="0">
                <a:pos x="connsiteX70606" y="connsiteY70606"/>
              </a:cxn>
              <a:cxn ang="0">
                <a:pos x="connsiteX70607" y="connsiteY70607"/>
              </a:cxn>
              <a:cxn ang="0">
                <a:pos x="connsiteX70608" y="connsiteY70608"/>
              </a:cxn>
              <a:cxn ang="0">
                <a:pos x="connsiteX70609" y="connsiteY70609"/>
              </a:cxn>
              <a:cxn ang="0">
                <a:pos x="connsiteX70610" y="connsiteY70610"/>
              </a:cxn>
              <a:cxn ang="0">
                <a:pos x="connsiteX70611" y="connsiteY70611"/>
              </a:cxn>
              <a:cxn ang="0">
                <a:pos x="connsiteX70612" y="connsiteY70612"/>
              </a:cxn>
              <a:cxn ang="0">
                <a:pos x="connsiteX70613" y="connsiteY70613"/>
              </a:cxn>
              <a:cxn ang="0">
                <a:pos x="connsiteX70614" y="connsiteY70614"/>
              </a:cxn>
              <a:cxn ang="0">
                <a:pos x="connsiteX70615" y="connsiteY70615"/>
              </a:cxn>
              <a:cxn ang="0">
                <a:pos x="connsiteX70616" y="connsiteY70616"/>
              </a:cxn>
              <a:cxn ang="0">
                <a:pos x="connsiteX70617" y="connsiteY70617"/>
              </a:cxn>
              <a:cxn ang="0">
                <a:pos x="connsiteX70618" y="connsiteY70618"/>
              </a:cxn>
              <a:cxn ang="0">
                <a:pos x="connsiteX70619" y="connsiteY70619"/>
              </a:cxn>
              <a:cxn ang="0">
                <a:pos x="connsiteX70620" y="connsiteY70620"/>
              </a:cxn>
              <a:cxn ang="0">
                <a:pos x="connsiteX70621" y="connsiteY70621"/>
              </a:cxn>
              <a:cxn ang="0">
                <a:pos x="connsiteX70622" y="connsiteY70622"/>
              </a:cxn>
              <a:cxn ang="0">
                <a:pos x="connsiteX70623" y="connsiteY70623"/>
              </a:cxn>
              <a:cxn ang="0">
                <a:pos x="connsiteX70624" y="connsiteY70624"/>
              </a:cxn>
              <a:cxn ang="0">
                <a:pos x="connsiteX70625" y="connsiteY70625"/>
              </a:cxn>
              <a:cxn ang="0">
                <a:pos x="connsiteX70626" y="connsiteY70626"/>
              </a:cxn>
              <a:cxn ang="0">
                <a:pos x="connsiteX70627" y="connsiteY70627"/>
              </a:cxn>
              <a:cxn ang="0">
                <a:pos x="connsiteX70628" y="connsiteY70628"/>
              </a:cxn>
              <a:cxn ang="0">
                <a:pos x="connsiteX70629" y="connsiteY70629"/>
              </a:cxn>
              <a:cxn ang="0">
                <a:pos x="connsiteX70630" y="connsiteY70630"/>
              </a:cxn>
              <a:cxn ang="0">
                <a:pos x="connsiteX70631" y="connsiteY70631"/>
              </a:cxn>
              <a:cxn ang="0">
                <a:pos x="connsiteX70632" y="connsiteY70632"/>
              </a:cxn>
              <a:cxn ang="0">
                <a:pos x="connsiteX70633" y="connsiteY70633"/>
              </a:cxn>
              <a:cxn ang="0">
                <a:pos x="connsiteX70634" y="connsiteY70634"/>
              </a:cxn>
              <a:cxn ang="0">
                <a:pos x="connsiteX70635" y="connsiteY70635"/>
              </a:cxn>
              <a:cxn ang="0">
                <a:pos x="connsiteX70636" y="connsiteY70636"/>
              </a:cxn>
              <a:cxn ang="0">
                <a:pos x="connsiteX70637" y="connsiteY70637"/>
              </a:cxn>
              <a:cxn ang="0">
                <a:pos x="connsiteX70638" y="connsiteY70638"/>
              </a:cxn>
              <a:cxn ang="0">
                <a:pos x="connsiteX70639" y="connsiteY70639"/>
              </a:cxn>
              <a:cxn ang="0">
                <a:pos x="connsiteX70640" y="connsiteY70640"/>
              </a:cxn>
              <a:cxn ang="0">
                <a:pos x="connsiteX70641" y="connsiteY70641"/>
              </a:cxn>
              <a:cxn ang="0">
                <a:pos x="connsiteX70642" y="connsiteY70642"/>
              </a:cxn>
              <a:cxn ang="0">
                <a:pos x="connsiteX70643" y="connsiteY70643"/>
              </a:cxn>
              <a:cxn ang="0">
                <a:pos x="connsiteX70644" y="connsiteY70644"/>
              </a:cxn>
              <a:cxn ang="0">
                <a:pos x="connsiteX70645" y="connsiteY70645"/>
              </a:cxn>
              <a:cxn ang="0">
                <a:pos x="connsiteX70646" y="connsiteY70646"/>
              </a:cxn>
              <a:cxn ang="0">
                <a:pos x="connsiteX70647" y="connsiteY70647"/>
              </a:cxn>
              <a:cxn ang="0">
                <a:pos x="connsiteX70648" y="connsiteY70648"/>
              </a:cxn>
              <a:cxn ang="0">
                <a:pos x="connsiteX70649" y="connsiteY70649"/>
              </a:cxn>
              <a:cxn ang="0">
                <a:pos x="connsiteX70650" y="connsiteY70650"/>
              </a:cxn>
              <a:cxn ang="0">
                <a:pos x="connsiteX70651" y="connsiteY70651"/>
              </a:cxn>
              <a:cxn ang="0">
                <a:pos x="connsiteX70652" y="connsiteY70652"/>
              </a:cxn>
              <a:cxn ang="0">
                <a:pos x="connsiteX70653" y="connsiteY70653"/>
              </a:cxn>
              <a:cxn ang="0">
                <a:pos x="connsiteX70654" y="connsiteY70654"/>
              </a:cxn>
              <a:cxn ang="0">
                <a:pos x="connsiteX70655" y="connsiteY70655"/>
              </a:cxn>
              <a:cxn ang="0">
                <a:pos x="connsiteX70656" y="connsiteY70656"/>
              </a:cxn>
              <a:cxn ang="0">
                <a:pos x="connsiteX70657" y="connsiteY70657"/>
              </a:cxn>
              <a:cxn ang="0">
                <a:pos x="connsiteX70658" y="connsiteY70658"/>
              </a:cxn>
              <a:cxn ang="0">
                <a:pos x="connsiteX70659" y="connsiteY70659"/>
              </a:cxn>
              <a:cxn ang="0">
                <a:pos x="connsiteX70660" y="connsiteY70660"/>
              </a:cxn>
              <a:cxn ang="0">
                <a:pos x="connsiteX70661" y="connsiteY70661"/>
              </a:cxn>
              <a:cxn ang="0">
                <a:pos x="connsiteX70662" y="connsiteY70662"/>
              </a:cxn>
              <a:cxn ang="0">
                <a:pos x="connsiteX70663" y="connsiteY70663"/>
              </a:cxn>
              <a:cxn ang="0">
                <a:pos x="connsiteX70664" y="connsiteY70664"/>
              </a:cxn>
              <a:cxn ang="0">
                <a:pos x="connsiteX70665" y="connsiteY70665"/>
              </a:cxn>
              <a:cxn ang="0">
                <a:pos x="connsiteX70666" y="connsiteY70666"/>
              </a:cxn>
              <a:cxn ang="0">
                <a:pos x="connsiteX70667" y="connsiteY70667"/>
              </a:cxn>
              <a:cxn ang="0">
                <a:pos x="connsiteX70668" y="connsiteY70668"/>
              </a:cxn>
              <a:cxn ang="0">
                <a:pos x="connsiteX70669" y="connsiteY70669"/>
              </a:cxn>
              <a:cxn ang="0">
                <a:pos x="connsiteX70670" y="connsiteY70670"/>
              </a:cxn>
              <a:cxn ang="0">
                <a:pos x="connsiteX70671" y="connsiteY70671"/>
              </a:cxn>
              <a:cxn ang="0">
                <a:pos x="connsiteX70672" y="connsiteY70672"/>
              </a:cxn>
              <a:cxn ang="0">
                <a:pos x="connsiteX70673" y="connsiteY70673"/>
              </a:cxn>
              <a:cxn ang="0">
                <a:pos x="connsiteX70674" y="connsiteY70674"/>
              </a:cxn>
              <a:cxn ang="0">
                <a:pos x="connsiteX70675" y="connsiteY70675"/>
              </a:cxn>
              <a:cxn ang="0">
                <a:pos x="connsiteX70676" y="connsiteY70676"/>
              </a:cxn>
              <a:cxn ang="0">
                <a:pos x="connsiteX70677" y="connsiteY70677"/>
              </a:cxn>
              <a:cxn ang="0">
                <a:pos x="connsiteX70678" y="connsiteY70678"/>
              </a:cxn>
              <a:cxn ang="0">
                <a:pos x="connsiteX70679" y="connsiteY70679"/>
              </a:cxn>
              <a:cxn ang="0">
                <a:pos x="connsiteX70680" y="connsiteY70680"/>
              </a:cxn>
              <a:cxn ang="0">
                <a:pos x="connsiteX70681" y="connsiteY70681"/>
              </a:cxn>
              <a:cxn ang="0">
                <a:pos x="connsiteX70682" y="connsiteY70682"/>
              </a:cxn>
              <a:cxn ang="0">
                <a:pos x="connsiteX70683" y="connsiteY70683"/>
              </a:cxn>
              <a:cxn ang="0">
                <a:pos x="connsiteX70684" y="connsiteY70684"/>
              </a:cxn>
              <a:cxn ang="0">
                <a:pos x="connsiteX70685" y="connsiteY70685"/>
              </a:cxn>
              <a:cxn ang="0">
                <a:pos x="connsiteX70686" y="connsiteY70686"/>
              </a:cxn>
              <a:cxn ang="0">
                <a:pos x="connsiteX70687" y="connsiteY70687"/>
              </a:cxn>
              <a:cxn ang="0">
                <a:pos x="connsiteX70688" y="connsiteY70688"/>
              </a:cxn>
              <a:cxn ang="0">
                <a:pos x="connsiteX70689" y="connsiteY70689"/>
              </a:cxn>
              <a:cxn ang="0">
                <a:pos x="connsiteX70690" y="connsiteY70690"/>
              </a:cxn>
              <a:cxn ang="0">
                <a:pos x="connsiteX70691" y="connsiteY70691"/>
              </a:cxn>
              <a:cxn ang="0">
                <a:pos x="connsiteX70692" y="connsiteY70692"/>
              </a:cxn>
              <a:cxn ang="0">
                <a:pos x="connsiteX70693" y="connsiteY70693"/>
              </a:cxn>
              <a:cxn ang="0">
                <a:pos x="connsiteX70694" y="connsiteY70694"/>
              </a:cxn>
              <a:cxn ang="0">
                <a:pos x="connsiteX70695" y="connsiteY70695"/>
              </a:cxn>
              <a:cxn ang="0">
                <a:pos x="connsiteX70696" y="connsiteY70696"/>
              </a:cxn>
              <a:cxn ang="0">
                <a:pos x="connsiteX70697" y="connsiteY70697"/>
              </a:cxn>
              <a:cxn ang="0">
                <a:pos x="connsiteX70698" y="connsiteY70698"/>
              </a:cxn>
              <a:cxn ang="0">
                <a:pos x="connsiteX70699" y="connsiteY70699"/>
              </a:cxn>
              <a:cxn ang="0">
                <a:pos x="connsiteX70700" y="connsiteY70700"/>
              </a:cxn>
              <a:cxn ang="0">
                <a:pos x="connsiteX70701" y="connsiteY70701"/>
              </a:cxn>
              <a:cxn ang="0">
                <a:pos x="connsiteX70702" y="connsiteY70702"/>
              </a:cxn>
              <a:cxn ang="0">
                <a:pos x="connsiteX70703" y="connsiteY70703"/>
              </a:cxn>
              <a:cxn ang="0">
                <a:pos x="connsiteX70704" y="connsiteY70704"/>
              </a:cxn>
              <a:cxn ang="0">
                <a:pos x="connsiteX70705" y="connsiteY70705"/>
              </a:cxn>
              <a:cxn ang="0">
                <a:pos x="connsiteX70706" y="connsiteY70706"/>
              </a:cxn>
              <a:cxn ang="0">
                <a:pos x="connsiteX70707" y="connsiteY70707"/>
              </a:cxn>
              <a:cxn ang="0">
                <a:pos x="connsiteX70708" y="connsiteY70708"/>
              </a:cxn>
              <a:cxn ang="0">
                <a:pos x="connsiteX70709" y="connsiteY70709"/>
              </a:cxn>
              <a:cxn ang="0">
                <a:pos x="connsiteX70710" y="connsiteY70710"/>
              </a:cxn>
              <a:cxn ang="0">
                <a:pos x="connsiteX70711" y="connsiteY70711"/>
              </a:cxn>
              <a:cxn ang="0">
                <a:pos x="connsiteX70712" y="connsiteY70712"/>
              </a:cxn>
              <a:cxn ang="0">
                <a:pos x="connsiteX70713" y="connsiteY70713"/>
              </a:cxn>
              <a:cxn ang="0">
                <a:pos x="connsiteX70714" y="connsiteY70714"/>
              </a:cxn>
              <a:cxn ang="0">
                <a:pos x="connsiteX70715" y="connsiteY70715"/>
              </a:cxn>
              <a:cxn ang="0">
                <a:pos x="connsiteX70716" y="connsiteY70716"/>
              </a:cxn>
              <a:cxn ang="0">
                <a:pos x="connsiteX70717" y="connsiteY70717"/>
              </a:cxn>
              <a:cxn ang="0">
                <a:pos x="connsiteX70718" y="connsiteY70718"/>
              </a:cxn>
              <a:cxn ang="0">
                <a:pos x="connsiteX70719" y="connsiteY70719"/>
              </a:cxn>
              <a:cxn ang="0">
                <a:pos x="connsiteX70720" y="connsiteY70720"/>
              </a:cxn>
              <a:cxn ang="0">
                <a:pos x="connsiteX70721" y="connsiteY70721"/>
              </a:cxn>
              <a:cxn ang="0">
                <a:pos x="connsiteX70722" y="connsiteY70722"/>
              </a:cxn>
              <a:cxn ang="0">
                <a:pos x="connsiteX70723" y="connsiteY70723"/>
              </a:cxn>
              <a:cxn ang="0">
                <a:pos x="connsiteX70724" y="connsiteY70724"/>
              </a:cxn>
              <a:cxn ang="0">
                <a:pos x="connsiteX70725" y="connsiteY70725"/>
              </a:cxn>
              <a:cxn ang="0">
                <a:pos x="connsiteX70726" y="connsiteY70726"/>
              </a:cxn>
              <a:cxn ang="0">
                <a:pos x="connsiteX70727" y="connsiteY70727"/>
              </a:cxn>
              <a:cxn ang="0">
                <a:pos x="connsiteX70728" y="connsiteY70728"/>
              </a:cxn>
              <a:cxn ang="0">
                <a:pos x="connsiteX70729" y="connsiteY70729"/>
              </a:cxn>
              <a:cxn ang="0">
                <a:pos x="connsiteX70730" y="connsiteY70730"/>
              </a:cxn>
              <a:cxn ang="0">
                <a:pos x="connsiteX70731" y="connsiteY70731"/>
              </a:cxn>
              <a:cxn ang="0">
                <a:pos x="connsiteX70732" y="connsiteY70732"/>
              </a:cxn>
              <a:cxn ang="0">
                <a:pos x="connsiteX70733" y="connsiteY70733"/>
              </a:cxn>
              <a:cxn ang="0">
                <a:pos x="connsiteX70734" y="connsiteY70734"/>
              </a:cxn>
              <a:cxn ang="0">
                <a:pos x="connsiteX70735" y="connsiteY70735"/>
              </a:cxn>
              <a:cxn ang="0">
                <a:pos x="connsiteX70736" y="connsiteY70736"/>
              </a:cxn>
              <a:cxn ang="0">
                <a:pos x="connsiteX70737" y="connsiteY70737"/>
              </a:cxn>
              <a:cxn ang="0">
                <a:pos x="connsiteX70738" y="connsiteY70738"/>
              </a:cxn>
              <a:cxn ang="0">
                <a:pos x="connsiteX70739" y="connsiteY70739"/>
              </a:cxn>
              <a:cxn ang="0">
                <a:pos x="connsiteX70740" y="connsiteY70740"/>
              </a:cxn>
              <a:cxn ang="0">
                <a:pos x="connsiteX70741" y="connsiteY70741"/>
              </a:cxn>
              <a:cxn ang="0">
                <a:pos x="connsiteX70742" y="connsiteY70742"/>
              </a:cxn>
              <a:cxn ang="0">
                <a:pos x="connsiteX70743" y="connsiteY70743"/>
              </a:cxn>
              <a:cxn ang="0">
                <a:pos x="connsiteX70744" y="connsiteY70744"/>
              </a:cxn>
              <a:cxn ang="0">
                <a:pos x="connsiteX70745" y="connsiteY70745"/>
              </a:cxn>
              <a:cxn ang="0">
                <a:pos x="connsiteX70746" y="connsiteY70746"/>
              </a:cxn>
              <a:cxn ang="0">
                <a:pos x="connsiteX70747" y="connsiteY70747"/>
              </a:cxn>
              <a:cxn ang="0">
                <a:pos x="connsiteX70748" y="connsiteY70748"/>
              </a:cxn>
              <a:cxn ang="0">
                <a:pos x="connsiteX70749" y="connsiteY70749"/>
              </a:cxn>
              <a:cxn ang="0">
                <a:pos x="connsiteX70750" y="connsiteY70750"/>
              </a:cxn>
              <a:cxn ang="0">
                <a:pos x="connsiteX70751" y="connsiteY70751"/>
              </a:cxn>
              <a:cxn ang="0">
                <a:pos x="connsiteX70752" y="connsiteY70752"/>
              </a:cxn>
              <a:cxn ang="0">
                <a:pos x="connsiteX70753" y="connsiteY70753"/>
              </a:cxn>
              <a:cxn ang="0">
                <a:pos x="connsiteX70754" y="connsiteY70754"/>
              </a:cxn>
              <a:cxn ang="0">
                <a:pos x="connsiteX70755" y="connsiteY70755"/>
              </a:cxn>
              <a:cxn ang="0">
                <a:pos x="connsiteX70756" y="connsiteY70756"/>
              </a:cxn>
              <a:cxn ang="0">
                <a:pos x="connsiteX70757" y="connsiteY70757"/>
              </a:cxn>
              <a:cxn ang="0">
                <a:pos x="connsiteX70758" y="connsiteY70758"/>
              </a:cxn>
              <a:cxn ang="0">
                <a:pos x="connsiteX70759" y="connsiteY70759"/>
              </a:cxn>
              <a:cxn ang="0">
                <a:pos x="connsiteX70760" y="connsiteY70760"/>
              </a:cxn>
              <a:cxn ang="0">
                <a:pos x="connsiteX70761" y="connsiteY70761"/>
              </a:cxn>
              <a:cxn ang="0">
                <a:pos x="connsiteX70762" y="connsiteY70762"/>
              </a:cxn>
              <a:cxn ang="0">
                <a:pos x="connsiteX70763" y="connsiteY70763"/>
              </a:cxn>
              <a:cxn ang="0">
                <a:pos x="connsiteX70764" y="connsiteY70764"/>
              </a:cxn>
              <a:cxn ang="0">
                <a:pos x="connsiteX70765" y="connsiteY70765"/>
              </a:cxn>
              <a:cxn ang="0">
                <a:pos x="connsiteX70766" y="connsiteY70766"/>
              </a:cxn>
              <a:cxn ang="0">
                <a:pos x="connsiteX70767" y="connsiteY70767"/>
              </a:cxn>
              <a:cxn ang="0">
                <a:pos x="connsiteX70768" y="connsiteY70768"/>
              </a:cxn>
              <a:cxn ang="0">
                <a:pos x="connsiteX70769" y="connsiteY70769"/>
              </a:cxn>
              <a:cxn ang="0">
                <a:pos x="connsiteX70770" y="connsiteY70770"/>
              </a:cxn>
              <a:cxn ang="0">
                <a:pos x="connsiteX70771" y="connsiteY70771"/>
              </a:cxn>
              <a:cxn ang="0">
                <a:pos x="connsiteX70772" y="connsiteY70772"/>
              </a:cxn>
              <a:cxn ang="0">
                <a:pos x="connsiteX70773" y="connsiteY70773"/>
              </a:cxn>
              <a:cxn ang="0">
                <a:pos x="connsiteX70774" y="connsiteY70774"/>
              </a:cxn>
              <a:cxn ang="0">
                <a:pos x="connsiteX70775" y="connsiteY70775"/>
              </a:cxn>
              <a:cxn ang="0">
                <a:pos x="connsiteX70776" y="connsiteY70776"/>
              </a:cxn>
              <a:cxn ang="0">
                <a:pos x="connsiteX70777" y="connsiteY70777"/>
              </a:cxn>
              <a:cxn ang="0">
                <a:pos x="connsiteX70778" y="connsiteY70778"/>
              </a:cxn>
              <a:cxn ang="0">
                <a:pos x="connsiteX70779" y="connsiteY70779"/>
              </a:cxn>
              <a:cxn ang="0">
                <a:pos x="connsiteX70780" y="connsiteY70780"/>
              </a:cxn>
              <a:cxn ang="0">
                <a:pos x="connsiteX70781" y="connsiteY70781"/>
              </a:cxn>
              <a:cxn ang="0">
                <a:pos x="connsiteX70782" y="connsiteY70782"/>
              </a:cxn>
              <a:cxn ang="0">
                <a:pos x="connsiteX70783" y="connsiteY70783"/>
              </a:cxn>
              <a:cxn ang="0">
                <a:pos x="connsiteX70784" y="connsiteY70784"/>
              </a:cxn>
              <a:cxn ang="0">
                <a:pos x="connsiteX70785" y="connsiteY70785"/>
              </a:cxn>
              <a:cxn ang="0">
                <a:pos x="connsiteX70786" y="connsiteY70786"/>
              </a:cxn>
              <a:cxn ang="0">
                <a:pos x="connsiteX70787" y="connsiteY70787"/>
              </a:cxn>
              <a:cxn ang="0">
                <a:pos x="connsiteX70788" y="connsiteY70788"/>
              </a:cxn>
              <a:cxn ang="0">
                <a:pos x="connsiteX70789" y="connsiteY70789"/>
              </a:cxn>
              <a:cxn ang="0">
                <a:pos x="connsiteX70790" y="connsiteY70790"/>
              </a:cxn>
              <a:cxn ang="0">
                <a:pos x="connsiteX70791" y="connsiteY70791"/>
              </a:cxn>
              <a:cxn ang="0">
                <a:pos x="connsiteX70792" y="connsiteY70792"/>
              </a:cxn>
              <a:cxn ang="0">
                <a:pos x="connsiteX70793" y="connsiteY70793"/>
              </a:cxn>
              <a:cxn ang="0">
                <a:pos x="connsiteX70794" y="connsiteY70794"/>
              </a:cxn>
              <a:cxn ang="0">
                <a:pos x="connsiteX70795" y="connsiteY70795"/>
              </a:cxn>
              <a:cxn ang="0">
                <a:pos x="connsiteX70796" y="connsiteY70796"/>
              </a:cxn>
              <a:cxn ang="0">
                <a:pos x="connsiteX70797" y="connsiteY70797"/>
              </a:cxn>
              <a:cxn ang="0">
                <a:pos x="connsiteX70798" y="connsiteY70798"/>
              </a:cxn>
              <a:cxn ang="0">
                <a:pos x="connsiteX70799" y="connsiteY70799"/>
              </a:cxn>
              <a:cxn ang="0">
                <a:pos x="connsiteX70800" y="connsiteY70800"/>
              </a:cxn>
              <a:cxn ang="0">
                <a:pos x="connsiteX70801" y="connsiteY70801"/>
              </a:cxn>
              <a:cxn ang="0">
                <a:pos x="connsiteX70802" y="connsiteY70802"/>
              </a:cxn>
              <a:cxn ang="0">
                <a:pos x="connsiteX70803" y="connsiteY70803"/>
              </a:cxn>
              <a:cxn ang="0">
                <a:pos x="connsiteX70804" y="connsiteY70804"/>
              </a:cxn>
              <a:cxn ang="0">
                <a:pos x="connsiteX70805" y="connsiteY70805"/>
              </a:cxn>
              <a:cxn ang="0">
                <a:pos x="connsiteX70806" y="connsiteY70806"/>
              </a:cxn>
              <a:cxn ang="0">
                <a:pos x="connsiteX70807" y="connsiteY70807"/>
              </a:cxn>
              <a:cxn ang="0">
                <a:pos x="connsiteX70808" y="connsiteY70808"/>
              </a:cxn>
              <a:cxn ang="0">
                <a:pos x="connsiteX70809" y="connsiteY70809"/>
              </a:cxn>
              <a:cxn ang="0">
                <a:pos x="connsiteX70810" y="connsiteY70810"/>
              </a:cxn>
              <a:cxn ang="0">
                <a:pos x="connsiteX70811" y="connsiteY70811"/>
              </a:cxn>
              <a:cxn ang="0">
                <a:pos x="connsiteX70812" y="connsiteY70812"/>
              </a:cxn>
              <a:cxn ang="0">
                <a:pos x="connsiteX70813" y="connsiteY70813"/>
              </a:cxn>
              <a:cxn ang="0">
                <a:pos x="connsiteX70814" y="connsiteY70814"/>
              </a:cxn>
              <a:cxn ang="0">
                <a:pos x="connsiteX70815" y="connsiteY70815"/>
              </a:cxn>
              <a:cxn ang="0">
                <a:pos x="connsiteX70816" y="connsiteY70816"/>
              </a:cxn>
              <a:cxn ang="0">
                <a:pos x="connsiteX70817" y="connsiteY70817"/>
              </a:cxn>
              <a:cxn ang="0">
                <a:pos x="connsiteX70818" y="connsiteY70818"/>
              </a:cxn>
              <a:cxn ang="0">
                <a:pos x="connsiteX70819" y="connsiteY70819"/>
              </a:cxn>
              <a:cxn ang="0">
                <a:pos x="connsiteX70820" y="connsiteY70820"/>
              </a:cxn>
              <a:cxn ang="0">
                <a:pos x="connsiteX70821" y="connsiteY70821"/>
              </a:cxn>
              <a:cxn ang="0">
                <a:pos x="connsiteX70822" y="connsiteY70822"/>
              </a:cxn>
              <a:cxn ang="0">
                <a:pos x="connsiteX70823" y="connsiteY70823"/>
              </a:cxn>
              <a:cxn ang="0">
                <a:pos x="connsiteX70824" y="connsiteY70824"/>
              </a:cxn>
              <a:cxn ang="0">
                <a:pos x="connsiteX70825" y="connsiteY70825"/>
              </a:cxn>
              <a:cxn ang="0">
                <a:pos x="connsiteX70826" y="connsiteY70826"/>
              </a:cxn>
              <a:cxn ang="0">
                <a:pos x="connsiteX70827" y="connsiteY70827"/>
              </a:cxn>
              <a:cxn ang="0">
                <a:pos x="connsiteX70828" y="connsiteY70828"/>
              </a:cxn>
              <a:cxn ang="0">
                <a:pos x="connsiteX70829" y="connsiteY70829"/>
              </a:cxn>
              <a:cxn ang="0">
                <a:pos x="connsiteX70830" y="connsiteY70830"/>
              </a:cxn>
              <a:cxn ang="0">
                <a:pos x="connsiteX70831" y="connsiteY70831"/>
              </a:cxn>
              <a:cxn ang="0">
                <a:pos x="connsiteX70832" y="connsiteY70832"/>
              </a:cxn>
              <a:cxn ang="0">
                <a:pos x="connsiteX70833" y="connsiteY70833"/>
              </a:cxn>
              <a:cxn ang="0">
                <a:pos x="connsiteX70834" y="connsiteY70834"/>
              </a:cxn>
              <a:cxn ang="0">
                <a:pos x="connsiteX70835" y="connsiteY70835"/>
              </a:cxn>
              <a:cxn ang="0">
                <a:pos x="connsiteX70836" y="connsiteY70836"/>
              </a:cxn>
              <a:cxn ang="0">
                <a:pos x="connsiteX70837" y="connsiteY70837"/>
              </a:cxn>
              <a:cxn ang="0">
                <a:pos x="connsiteX70838" y="connsiteY70838"/>
              </a:cxn>
              <a:cxn ang="0">
                <a:pos x="connsiteX70839" y="connsiteY70839"/>
              </a:cxn>
              <a:cxn ang="0">
                <a:pos x="connsiteX70840" y="connsiteY70840"/>
              </a:cxn>
              <a:cxn ang="0">
                <a:pos x="connsiteX70841" y="connsiteY70841"/>
              </a:cxn>
              <a:cxn ang="0">
                <a:pos x="connsiteX70842" y="connsiteY70842"/>
              </a:cxn>
              <a:cxn ang="0">
                <a:pos x="connsiteX70843" y="connsiteY70843"/>
              </a:cxn>
              <a:cxn ang="0">
                <a:pos x="connsiteX70844" y="connsiteY70844"/>
              </a:cxn>
              <a:cxn ang="0">
                <a:pos x="connsiteX70845" y="connsiteY70845"/>
              </a:cxn>
              <a:cxn ang="0">
                <a:pos x="connsiteX70846" y="connsiteY70846"/>
              </a:cxn>
              <a:cxn ang="0">
                <a:pos x="connsiteX70847" y="connsiteY70847"/>
              </a:cxn>
              <a:cxn ang="0">
                <a:pos x="connsiteX70848" y="connsiteY70848"/>
              </a:cxn>
              <a:cxn ang="0">
                <a:pos x="connsiteX70849" y="connsiteY70849"/>
              </a:cxn>
              <a:cxn ang="0">
                <a:pos x="connsiteX70850" y="connsiteY70850"/>
              </a:cxn>
              <a:cxn ang="0">
                <a:pos x="connsiteX70851" y="connsiteY70851"/>
              </a:cxn>
              <a:cxn ang="0">
                <a:pos x="connsiteX70852" y="connsiteY70852"/>
              </a:cxn>
              <a:cxn ang="0">
                <a:pos x="connsiteX70853" y="connsiteY70853"/>
              </a:cxn>
              <a:cxn ang="0">
                <a:pos x="connsiteX70854" y="connsiteY70854"/>
              </a:cxn>
              <a:cxn ang="0">
                <a:pos x="connsiteX70855" y="connsiteY70855"/>
              </a:cxn>
              <a:cxn ang="0">
                <a:pos x="connsiteX70856" y="connsiteY70856"/>
              </a:cxn>
              <a:cxn ang="0">
                <a:pos x="connsiteX70857" y="connsiteY70857"/>
              </a:cxn>
              <a:cxn ang="0">
                <a:pos x="connsiteX70858" y="connsiteY70858"/>
              </a:cxn>
              <a:cxn ang="0">
                <a:pos x="connsiteX70859" y="connsiteY70859"/>
              </a:cxn>
              <a:cxn ang="0">
                <a:pos x="connsiteX70860" y="connsiteY70860"/>
              </a:cxn>
              <a:cxn ang="0">
                <a:pos x="connsiteX70861" y="connsiteY70861"/>
              </a:cxn>
              <a:cxn ang="0">
                <a:pos x="connsiteX70862" y="connsiteY70862"/>
              </a:cxn>
              <a:cxn ang="0">
                <a:pos x="connsiteX70863" y="connsiteY70863"/>
              </a:cxn>
              <a:cxn ang="0">
                <a:pos x="connsiteX70864" y="connsiteY70864"/>
              </a:cxn>
              <a:cxn ang="0">
                <a:pos x="connsiteX70865" y="connsiteY70865"/>
              </a:cxn>
              <a:cxn ang="0">
                <a:pos x="connsiteX70866" y="connsiteY70866"/>
              </a:cxn>
              <a:cxn ang="0">
                <a:pos x="connsiteX70867" y="connsiteY70867"/>
              </a:cxn>
              <a:cxn ang="0">
                <a:pos x="connsiteX70868" y="connsiteY70868"/>
              </a:cxn>
              <a:cxn ang="0">
                <a:pos x="connsiteX70869" y="connsiteY70869"/>
              </a:cxn>
              <a:cxn ang="0">
                <a:pos x="connsiteX70870" y="connsiteY70870"/>
              </a:cxn>
              <a:cxn ang="0">
                <a:pos x="connsiteX70871" y="connsiteY70871"/>
              </a:cxn>
              <a:cxn ang="0">
                <a:pos x="connsiteX70872" y="connsiteY70872"/>
              </a:cxn>
              <a:cxn ang="0">
                <a:pos x="connsiteX70873" y="connsiteY70873"/>
              </a:cxn>
              <a:cxn ang="0">
                <a:pos x="connsiteX70874" y="connsiteY70874"/>
              </a:cxn>
              <a:cxn ang="0">
                <a:pos x="connsiteX70875" y="connsiteY70875"/>
              </a:cxn>
              <a:cxn ang="0">
                <a:pos x="connsiteX70876" y="connsiteY70876"/>
              </a:cxn>
              <a:cxn ang="0">
                <a:pos x="connsiteX70877" y="connsiteY70877"/>
              </a:cxn>
              <a:cxn ang="0">
                <a:pos x="connsiteX70878" y="connsiteY70878"/>
              </a:cxn>
              <a:cxn ang="0">
                <a:pos x="connsiteX70879" y="connsiteY70879"/>
              </a:cxn>
              <a:cxn ang="0">
                <a:pos x="connsiteX70880" y="connsiteY70880"/>
              </a:cxn>
              <a:cxn ang="0">
                <a:pos x="connsiteX70881" y="connsiteY70881"/>
              </a:cxn>
              <a:cxn ang="0">
                <a:pos x="connsiteX70882" y="connsiteY70882"/>
              </a:cxn>
              <a:cxn ang="0">
                <a:pos x="connsiteX70883" y="connsiteY70883"/>
              </a:cxn>
              <a:cxn ang="0">
                <a:pos x="connsiteX70884" y="connsiteY70884"/>
              </a:cxn>
              <a:cxn ang="0">
                <a:pos x="connsiteX70885" y="connsiteY70885"/>
              </a:cxn>
              <a:cxn ang="0">
                <a:pos x="connsiteX70886" y="connsiteY70886"/>
              </a:cxn>
              <a:cxn ang="0">
                <a:pos x="connsiteX70887" y="connsiteY70887"/>
              </a:cxn>
              <a:cxn ang="0">
                <a:pos x="connsiteX70888" y="connsiteY70888"/>
              </a:cxn>
              <a:cxn ang="0">
                <a:pos x="connsiteX70889" y="connsiteY70889"/>
              </a:cxn>
              <a:cxn ang="0">
                <a:pos x="connsiteX70890" y="connsiteY70890"/>
              </a:cxn>
              <a:cxn ang="0">
                <a:pos x="connsiteX70891" y="connsiteY70891"/>
              </a:cxn>
              <a:cxn ang="0">
                <a:pos x="connsiteX70892" y="connsiteY70892"/>
              </a:cxn>
              <a:cxn ang="0">
                <a:pos x="connsiteX70893" y="connsiteY70893"/>
              </a:cxn>
              <a:cxn ang="0">
                <a:pos x="connsiteX70894" y="connsiteY70894"/>
              </a:cxn>
              <a:cxn ang="0">
                <a:pos x="connsiteX70895" y="connsiteY70895"/>
              </a:cxn>
              <a:cxn ang="0">
                <a:pos x="connsiteX70896" y="connsiteY70896"/>
              </a:cxn>
              <a:cxn ang="0">
                <a:pos x="connsiteX70897" y="connsiteY70897"/>
              </a:cxn>
              <a:cxn ang="0">
                <a:pos x="connsiteX70898" y="connsiteY70898"/>
              </a:cxn>
              <a:cxn ang="0">
                <a:pos x="connsiteX70899" y="connsiteY70899"/>
              </a:cxn>
              <a:cxn ang="0">
                <a:pos x="connsiteX70900" y="connsiteY70900"/>
              </a:cxn>
              <a:cxn ang="0">
                <a:pos x="connsiteX70901" y="connsiteY70901"/>
              </a:cxn>
              <a:cxn ang="0">
                <a:pos x="connsiteX70902" y="connsiteY70902"/>
              </a:cxn>
              <a:cxn ang="0">
                <a:pos x="connsiteX70903" y="connsiteY70903"/>
              </a:cxn>
              <a:cxn ang="0">
                <a:pos x="connsiteX70904" y="connsiteY70904"/>
              </a:cxn>
              <a:cxn ang="0">
                <a:pos x="connsiteX70905" y="connsiteY70905"/>
              </a:cxn>
              <a:cxn ang="0">
                <a:pos x="connsiteX70906" y="connsiteY70906"/>
              </a:cxn>
              <a:cxn ang="0">
                <a:pos x="connsiteX70907" y="connsiteY70907"/>
              </a:cxn>
              <a:cxn ang="0">
                <a:pos x="connsiteX70908" y="connsiteY70908"/>
              </a:cxn>
              <a:cxn ang="0">
                <a:pos x="connsiteX70909" y="connsiteY70909"/>
              </a:cxn>
              <a:cxn ang="0">
                <a:pos x="connsiteX70910" y="connsiteY70910"/>
              </a:cxn>
              <a:cxn ang="0">
                <a:pos x="connsiteX70911" y="connsiteY70911"/>
              </a:cxn>
              <a:cxn ang="0">
                <a:pos x="connsiteX70912" y="connsiteY70912"/>
              </a:cxn>
              <a:cxn ang="0">
                <a:pos x="connsiteX70913" y="connsiteY70913"/>
              </a:cxn>
              <a:cxn ang="0">
                <a:pos x="connsiteX70914" y="connsiteY70914"/>
              </a:cxn>
              <a:cxn ang="0">
                <a:pos x="connsiteX70915" y="connsiteY70915"/>
              </a:cxn>
              <a:cxn ang="0">
                <a:pos x="connsiteX70916" y="connsiteY70916"/>
              </a:cxn>
              <a:cxn ang="0">
                <a:pos x="connsiteX70917" y="connsiteY70917"/>
              </a:cxn>
              <a:cxn ang="0">
                <a:pos x="connsiteX70918" y="connsiteY70918"/>
              </a:cxn>
              <a:cxn ang="0">
                <a:pos x="connsiteX70919" y="connsiteY70919"/>
              </a:cxn>
              <a:cxn ang="0">
                <a:pos x="connsiteX70920" y="connsiteY70920"/>
              </a:cxn>
              <a:cxn ang="0">
                <a:pos x="connsiteX70921" y="connsiteY70921"/>
              </a:cxn>
              <a:cxn ang="0">
                <a:pos x="connsiteX70922" y="connsiteY70922"/>
              </a:cxn>
              <a:cxn ang="0">
                <a:pos x="connsiteX70923" y="connsiteY70923"/>
              </a:cxn>
              <a:cxn ang="0">
                <a:pos x="connsiteX70924" y="connsiteY70924"/>
              </a:cxn>
              <a:cxn ang="0">
                <a:pos x="connsiteX70925" y="connsiteY70925"/>
              </a:cxn>
              <a:cxn ang="0">
                <a:pos x="connsiteX70926" y="connsiteY70926"/>
              </a:cxn>
              <a:cxn ang="0">
                <a:pos x="connsiteX70927" y="connsiteY70927"/>
              </a:cxn>
              <a:cxn ang="0">
                <a:pos x="connsiteX70928" y="connsiteY70928"/>
              </a:cxn>
              <a:cxn ang="0">
                <a:pos x="connsiteX70929" y="connsiteY70929"/>
              </a:cxn>
              <a:cxn ang="0">
                <a:pos x="connsiteX70930" y="connsiteY70930"/>
              </a:cxn>
              <a:cxn ang="0">
                <a:pos x="connsiteX70931" y="connsiteY70931"/>
              </a:cxn>
              <a:cxn ang="0">
                <a:pos x="connsiteX70932" y="connsiteY70932"/>
              </a:cxn>
              <a:cxn ang="0">
                <a:pos x="connsiteX70933" y="connsiteY70933"/>
              </a:cxn>
              <a:cxn ang="0">
                <a:pos x="connsiteX70934" y="connsiteY70934"/>
              </a:cxn>
              <a:cxn ang="0">
                <a:pos x="connsiteX70935" y="connsiteY70935"/>
              </a:cxn>
              <a:cxn ang="0">
                <a:pos x="connsiteX70936" y="connsiteY70936"/>
              </a:cxn>
              <a:cxn ang="0">
                <a:pos x="connsiteX70937" y="connsiteY70937"/>
              </a:cxn>
              <a:cxn ang="0">
                <a:pos x="connsiteX70938" y="connsiteY70938"/>
              </a:cxn>
              <a:cxn ang="0">
                <a:pos x="connsiteX70939" y="connsiteY70939"/>
              </a:cxn>
              <a:cxn ang="0">
                <a:pos x="connsiteX70940" y="connsiteY70940"/>
              </a:cxn>
              <a:cxn ang="0">
                <a:pos x="connsiteX70941" y="connsiteY70941"/>
              </a:cxn>
              <a:cxn ang="0">
                <a:pos x="connsiteX70942" y="connsiteY70942"/>
              </a:cxn>
              <a:cxn ang="0">
                <a:pos x="connsiteX70943" y="connsiteY70943"/>
              </a:cxn>
              <a:cxn ang="0">
                <a:pos x="connsiteX70944" y="connsiteY70944"/>
              </a:cxn>
              <a:cxn ang="0">
                <a:pos x="connsiteX70945" y="connsiteY70945"/>
              </a:cxn>
              <a:cxn ang="0">
                <a:pos x="connsiteX70946" y="connsiteY70946"/>
              </a:cxn>
              <a:cxn ang="0">
                <a:pos x="connsiteX70947" y="connsiteY70947"/>
              </a:cxn>
              <a:cxn ang="0">
                <a:pos x="connsiteX70948" y="connsiteY70948"/>
              </a:cxn>
              <a:cxn ang="0">
                <a:pos x="connsiteX70949" y="connsiteY70949"/>
              </a:cxn>
              <a:cxn ang="0">
                <a:pos x="connsiteX70950" y="connsiteY70950"/>
              </a:cxn>
              <a:cxn ang="0">
                <a:pos x="connsiteX70951" y="connsiteY70951"/>
              </a:cxn>
              <a:cxn ang="0">
                <a:pos x="connsiteX70952" y="connsiteY70952"/>
              </a:cxn>
              <a:cxn ang="0">
                <a:pos x="connsiteX70953" y="connsiteY70953"/>
              </a:cxn>
              <a:cxn ang="0">
                <a:pos x="connsiteX70954" y="connsiteY70954"/>
              </a:cxn>
              <a:cxn ang="0">
                <a:pos x="connsiteX70955" y="connsiteY70955"/>
              </a:cxn>
              <a:cxn ang="0">
                <a:pos x="connsiteX70956" y="connsiteY70956"/>
              </a:cxn>
              <a:cxn ang="0">
                <a:pos x="connsiteX70957" y="connsiteY70957"/>
              </a:cxn>
              <a:cxn ang="0">
                <a:pos x="connsiteX70958" y="connsiteY70958"/>
              </a:cxn>
              <a:cxn ang="0">
                <a:pos x="connsiteX70959" y="connsiteY70959"/>
              </a:cxn>
              <a:cxn ang="0">
                <a:pos x="connsiteX70960" y="connsiteY70960"/>
              </a:cxn>
              <a:cxn ang="0">
                <a:pos x="connsiteX70961" y="connsiteY70961"/>
              </a:cxn>
              <a:cxn ang="0">
                <a:pos x="connsiteX70962" y="connsiteY70962"/>
              </a:cxn>
              <a:cxn ang="0">
                <a:pos x="connsiteX70963" y="connsiteY70963"/>
              </a:cxn>
              <a:cxn ang="0">
                <a:pos x="connsiteX70964" y="connsiteY70964"/>
              </a:cxn>
              <a:cxn ang="0">
                <a:pos x="connsiteX70965" y="connsiteY70965"/>
              </a:cxn>
              <a:cxn ang="0">
                <a:pos x="connsiteX70966" y="connsiteY70966"/>
              </a:cxn>
              <a:cxn ang="0">
                <a:pos x="connsiteX70967" y="connsiteY70967"/>
              </a:cxn>
              <a:cxn ang="0">
                <a:pos x="connsiteX70968" y="connsiteY70968"/>
              </a:cxn>
              <a:cxn ang="0">
                <a:pos x="connsiteX70969" y="connsiteY70969"/>
              </a:cxn>
              <a:cxn ang="0">
                <a:pos x="connsiteX70970" y="connsiteY70970"/>
              </a:cxn>
              <a:cxn ang="0">
                <a:pos x="connsiteX70971" y="connsiteY70971"/>
              </a:cxn>
              <a:cxn ang="0">
                <a:pos x="connsiteX70972" y="connsiteY70972"/>
              </a:cxn>
              <a:cxn ang="0">
                <a:pos x="connsiteX70973" y="connsiteY70973"/>
              </a:cxn>
              <a:cxn ang="0">
                <a:pos x="connsiteX70974" y="connsiteY70974"/>
              </a:cxn>
              <a:cxn ang="0">
                <a:pos x="connsiteX70975" y="connsiteY70975"/>
              </a:cxn>
              <a:cxn ang="0">
                <a:pos x="connsiteX70976" y="connsiteY70976"/>
              </a:cxn>
              <a:cxn ang="0">
                <a:pos x="connsiteX70977" y="connsiteY70977"/>
              </a:cxn>
              <a:cxn ang="0">
                <a:pos x="connsiteX70978" y="connsiteY70978"/>
              </a:cxn>
              <a:cxn ang="0">
                <a:pos x="connsiteX70979" y="connsiteY70979"/>
              </a:cxn>
              <a:cxn ang="0">
                <a:pos x="connsiteX70980" y="connsiteY70980"/>
              </a:cxn>
              <a:cxn ang="0">
                <a:pos x="connsiteX70981" y="connsiteY70981"/>
              </a:cxn>
              <a:cxn ang="0">
                <a:pos x="connsiteX70982" y="connsiteY70982"/>
              </a:cxn>
              <a:cxn ang="0">
                <a:pos x="connsiteX70983" y="connsiteY70983"/>
              </a:cxn>
              <a:cxn ang="0">
                <a:pos x="connsiteX70984" y="connsiteY70984"/>
              </a:cxn>
              <a:cxn ang="0">
                <a:pos x="connsiteX70985" y="connsiteY70985"/>
              </a:cxn>
              <a:cxn ang="0">
                <a:pos x="connsiteX70986" y="connsiteY70986"/>
              </a:cxn>
              <a:cxn ang="0">
                <a:pos x="connsiteX70987" y="connsiteY70987"/>
              </a:cxn>
              <a:cxn ang="0">
                <a:pos x="connsiteX70988" y="connsiteY70988"/>
              </a:cxn>
              <a:cxn ang="0">
                <a:pos x="connsiteX70989" y="connsiteY70989"/>
              </a:cxn>
              <a:cxn ang="0">
                <a:pos x="connsiteX70990" y="connsiteY70990"/>
              </a:cxn>
              <a:cxn ang="0">
                <a:pos x="connsiteX70991" y="connsiteY70991"/>
              </a:cxn>
              <a:cxn ang="0">
                <a:pos x="connsiteX70992" y="connsiteY70992"/>
              </a:cxn>
              <a:cxn ang="0">
                <a:pos x="connsiteX70993" y="connsiteY70993"/>
              </a:cxn>
              <a:cxn ang="0">
                <a:pos x="connsiteX70994" y="connsiteY70994"/>
              </a:cxn>
              <a:cxn ang="0">
                <a:pos x="connsiteX70995" y="connsiteY70995"/>
              </a:cxn>
              <a:cxn ang="0">
                <a:pos x="connsiteX70996" y="connsiteY70996"/>
              </a:cxn>
              <a:cxn ang="0">
                <a:pos x="connsiteX70997" y="connsiteY70997"/>
              </a:cxn>
              <a:cxn ang="0">
                <a:pos x="connsiteX70998" y="connsiteY70998"/>
              </a:cxn>
              <a:cxn ang="0">
                <a:pos x="connsiteX70999" y="connsiteY70999"/>
              </a:cxn>
              <a:cxn ang="0">
                <a:pos x="connsiteX71000" y="connsiteY71000"/>
              </a:cxn>
              <a:cxn ang="0">
                <a:pos x="connsiteX71001" y="connsiteY71001"/>
              </a:cxn>
              <a:cxn ang="0">
                <a:pos x="connsiteX71002" y="connsiteY71002"/>
              </a:cxn>
              <a:cxn ang="0">
                <a:pos x="connsiteX71003" y="connsiteY71003"/>
              </a:cxn>
              <a:cxn ang="0">
                <a:pos x="connsiteX71004" y="connsiteY71004"/>
              </a:cxn>
              <a:cxn ang="0">
                <a:pos x="connsiteX71005" y="connsiteY71005"/>
              </a:cxn>
              <a:cxn ang="0">
                <a:pos x="connsiteX71006" y="connsiteY71006"/>
              </a:cxn>
              <a:cxn ang="0">
                <a:pos x="connsiteX71007" y="connsiteY71007"/>
              </a:cxn>
              <a:cxn ang="0">
                <a:pos x="connsiteX71008" y="connsiteY71008"/>
              </a:cxn>
              <a:cxn ang="0">
                <a:pos x="connsiteX71009" y="connsiteY71009"/>
              </a:cxn>
              <a:cxn ang="0">
                <a:pos x="connsiteX71010" y="connsiteY71010"/>
              </a:cxn>
              <a:cxn ang="0">
                <a:pos x="connsiteX71011" y="connsiteY71011"/>
              </a:cxn>
              <a:cxn ang="0">
                <a:pos x="connsiteX71012" y="connsiteY71012"/>
              </a:cxn>
              <a:cxn ang="0">
                <a:pos x="connsiteX71013" y="connsiteY71013"/>
              </a:cxn>
              <a:cxn ang="0">
                <a:pos x="connsiteX71014" y="connsiteY71014"/>
              </a:cxn>
              <a:cxn ang="0">
                <a:pos x="connsiteX71015" y="connsiteY71015"/>
              </a:cxn>
              <a:cxn ang="0">
                <a:pos x="connsiteX71016" y="connsiteY71016"/>
              </a:cxn>
              <a:cxn ang="0">
                <a:pos x="connsiteX71017" y="connsiteY71017"/>
              </a:cxn>
              <a:cxn ang="0">
                <a:pos x="connsiteX71018" y="connsiteY71018"/>
              </a:cxn>
              <a:cxn ang="0">
                <a:pos x="connsiteX71019" y="connsiteY71019"/>
              </a:cxn>
              <a:cxn ang="0">
                <a:pos x="connsiteX71020" y="connsiteY71020"/>
              </a:cxn>
              <a:cxn ang="0">
                <a:pos x="connsiteX71021" y="connsiteY71021"/>
              </a:cxn>
              <a:cxn ang="0">
                <a:pos x="connsiteX71022" y="connsiteY71022"/>
              </a:cxn>
              <a:cxn ang="0">
                <a:pos x="connsiteX71023" y="connsiteY71023"/>
              </a:cxn>
              <a:cxn ang="0">
                <a:pos x="connsiteX71024" y="connsiteY71024"/>
              </a:cxn>
              <a:cxn ang="0">
                <a:pos x="connsiteX71025" y="connsiteY71025"/>
              </a:cxn>
              <a:cxn ang="0">
                <a:pos x="connsiteX71026" y="connsiteY71026"/>
              </a:cxn>
              <a:cxn ang="0">
                <a:pos x="connsiteX71027" y="connsiteY71027"/>
              </a:cxn>
              <a:cxn ang="0">
                <a:pos x="connsiteX71028" y="connsiteY71028"/>
              </a:cxn>
              <a:cxn ang="0">
                <a:pos x="connsiteX71029" y="connsiteY71029"/>
              </a:cxn>
              <a:cxn ang="0">
                <a:pos x="connsiteX71030" y="connsiteY71030"/>
              </a:cxn>
              <a:cxn ang="0">
                <a:pos x="connsiteX71031" y="connsiteY71031"/>
              </a:cxn>
              <a:cxn ang="0">
                <a:pos x="connsiteX71032" y="connsiteY71032"/>
              </a:cxn>
              <a:cxn ang="0">
                <a:pos x="connsiteX71033" y="connsiteY71033"/>
              </a:cxn>
              <a:cxn ang="0">
                <a:pos x="connsiteX71034" y="connsiteY71034"/>
              </a:cxn>
              <a:cxn ang="0">
                <a:pos x="connsiteX71035" y="connsiteY71035"/>
              </a:cxn>
              <a:cxn ang="0">
                <a:pos x="connsiteX71036" y="connsiteY71036"/>
              </a:cxn>
              <a:cxn ang="0">
                <a:pos x="connsiteX71037" y="connsiteY71037"/>
              </a:cxn>
              <a:cxn ang="0">
                <a:pos x="connsiteX71038" y="connsiteY71038"/>
              </a:cxn>
              <a:cxn ang="0">
                <a:pos x="connsiteX71039" y="connsiteY71039"/>
              </a:cxn>
              <a:cxn ang="0">
                <a:pos x="connsiteX71040" y="connsiteY71040"/>
              </a:cxn>
              <a:cxn ang="0">
                <a:pos x="connsiteX71041" y="connsiteY71041"/>
              </a:cxn>
              <a:cxn ang="0">
                <a:pos x="connsiteX71042" y="connsiteY71042"/>
              </a:cxn>
              <a:cxn ang="0">
                <a:pos x="connsiteX71043" y="connsiteY71043"/>
              </a:cxn>
              <a:cxn ang="0">
                <a:pos x="connsiteX71044" y="connsiteY71044"/>
              </a:cxn>
              <a:cxn ang="0">
                <a:pos x="connsiteX71045" y="connsiteY71045"/>
              </a:cxn>
              <a:cxn ang="0">
                <a:pos x="connsiteX71046" y="connsiteY71046"/>
              </a:cxn>
              <a:cxn ang="0">
                <a:pos x="connsiteX71047" y="connsiteY71047"/>
              </a:cxn>
              <a:cxn ang="0">
                <a:pos x="connsiteX71048" y="connsiteY71048"/>
              </a:cxn>
              <a:cxn ang="0">
                <a:pos x="connsiteX71049" y="connsiteY71049"/>
              </a:cxn>
              <a:cxn ang="0">
                <a:pos x="connsiteX71050" y="connsiteY71050"/>
              </a:cxn>
              <a:cxn ang="0">
                <a:pos x="connsiteX71051" y="connsiteY71051"/>
              </a:cxn>
              <a:cxn ang="0">
                <a:pos x="connsiteX71052" y="connsiteY71052"/>
              </a:cxn>
              <a:cxn ang="0">
                <a:pos x="connsiteX71053" y="connsiteY71053"/>
              </a:cxn>
              <a:cxn ang="0">
                <a:pos x="connsiteX71054" y="connsiteY71054"/>
              </a:cxn>
              <a:cxn ang="0">
                <a:pos x="connsiteX71055" y="connsiteY71055"/>
              </a:cxn>
              <a:cxn ang="0">
                <a:pos x="connsiteX71056" y="connsiteY71056"/>
              </a:cxn>
              <a:cxn ang="0">
                <a:pos x="connsiteX71057" y="connsiteY71057"/>
              </a:cxn>
              <a:cxn ang="0">
                <a:pos x="connsiteX71058" y="connsiteY71058"/>
              </a:cxn>
              <a:cxn ang="0">
                <a:pos x="connsiteX71059" y="connsiteY71059"/>
              </a:cxn>
              <a:cxn ang="0">
                <a:pos x="connsiteX71060" y="connsiteY71060"/>
              </a:cxn>
              <a:cxn ang="0">
                <a:pos x="connsiteX71061" y="connsiteY71061"/>
              </a:cxn>
              <a:cxn ang="0">
                <a:pos x="connsiteX71062" y="connsiteY71062"/>
              </a:cxn>
              <a:cxn ang="0">
                <a:pos x="connsiteX71063" y="connsiteY71063"/>
              </a:cxn>
              <a:cxn ang="0">
                <a:pos x="connsiteX71064" y="connsiteY71064"/>
              </a:cxn>
              <a:cxn ang="0">
                <a:pos x="connsiteX71065" y="connsiteY71065"/>
              </a:cxn>
              <a:cxn ang="0">
                <a:pos x="connsiteX71066" y="connsiteY71066"/>
              </a:cxn>
              <a:cxn ang="0">
                <a:pos x="connsiteX71067" y="connsiteY71067"/>
              </a:cxn>
              <a:cxn ang="0">
                <a:pos x="connsiteX71068" y="connsiteY71068"/>
              </a:cxn>
              <a:cxn ang="0">
                <a:pos x="connsiteX71069" y="connsiteY71069"/>
              </a:cxn>
              <a:cxn ang="0">
                <a:pos x="connsiteX71070" y="connsiteY71070"/>
              </a:cxn>
              <a:cxn ang="0">
                <a:pos x="connsiteX71071" y="connsiteY71071"/>
              </a:cxn>
              <a:cxn ang="0">
                <a:pos x="connsiteX71072" y="connsiteY71072"/>
              </a:cxn>
              <a:cxn ang="0">
                <a:pos x="connsiteX71073" y="connsiteY71073"/>
              </a:cxn>
              <a:cxn ang="0">
                <a:pos x="connsiteX71074" y="connsiteY71074"/>
              </a:cxn>
              <a:cxn ang="0">
                <a:pos x="connsiteX71075" y="connsiteY71075"/>
              </a:cxn>
              <a:cxn ang="0">
                <a:pos x="connsiteX71076" y="connsiteY71076"/>
              </a:cxn>
              <a:cxn ang="0">
                <a:pos x="connsiteX71077" y="connsiteY71077"/>
              </a:cxn>
              <a:cxn ang="0">
                <a:pos x="connsiteX71078" y="connsiteY71078"/>
              </a:cxn>
              <a:cxn ang="0">
                <a:pos x="connsiteX71079" y="connsiteY71079"/>
              </a:cxn>
              <a:cxn ang="0">
                <a:pos x="connsiteX71080" y="connsiteY71080"/>
              </a:cxn>
              <a:cxn ang="0">
                <a:pos x="connsiteX71081" y="connsiteY71081"/>
              </a:cxn>
              <a:cxn ang="0">
                <a:pos x="connsiteX71082" y="connsiteY71082"/>
              </a:cxn>
              <a:cxn ang="0">
                <a:pos x="connsiteX71083" y="connsiteY71083"/>
              </a:cxn>
              <a:cxn ang="0">
                <a:pos x="connsiteX71084" y="connsiteY71084"/>
              </a:cxn>
              <a:cxn ang="0">
                <a:pos x="connsiteX71085" y="connsiteY71085"/>
              </a:cxn>
              <a:cxn ang="0">
                <a:pos x="connsiteX71086" y="connsiteY71086"/>
              </a:cxn>
              <a:cxn ang="0">
                <a:pos x="connsiteX71087" y="connsiteY71087"/>
              </a:cxn>
              <a:cxn ang="0">
                <a:pos x="connsiteX71088" y="connsiteY71088"/>
              </a:cxn>
              <a:cxn ang="0">
                <a:pos x="connsiteX71089" y="connsiteY71089"/>
              </a:cxn>
              <a:cxn ang="0">
                <a:pos x="connsiteX71090" y="connsiteY71090"/>
              </a:cxn>
              <a:cxn ang="0">
                <a:pos x="connsiteX71091" y="connsiteY71091"/>
              </a:cxn>
              <a:cxn ang="0">
                <a:pos x="connsiteX71092" y="connsiteY71092"/>
              </a:cxn>
              <a:cxn ang="0">
                <a:pos x="connsiteX71093" y="connsiteY71093"/>
              </a:cxn>
              <a:cxn ang="0">
                <a:pos x="connsiteX71094" y="connsiteY71094"/>
              </a:cxn>
              <a:cxn ang="0">
                <a:pos x="connsiteX71095" y="connsiteY71095"/>
              </a:cxn>
              <a:cxn ang="0">
                <a:pos x="connsiteX71096" y="connsiteY71096"/>
              </a:cxn>
              <a:cxn ang="0">
                <a:pos x="connsiteX71097" y="connsiteY71097"/>
              </a:cxn>
              <a:cxn ang="0">
                <a:pos x="connsiteX71098" y="connsiteY71098"/>
              </a:cxn>
              <a:cxn ang="0">
                <a:pos x="connsiteX71099" y="connsiteY71099"/>
              </a:cxn>
              <a:cxn ang="0">
                <a:pos x="connsiteX71100" y="connsiteY71100"/>
              </a:cxn>
              <a:cxn ang="0">
                <a:pos x="connsiteX71101" y="connsiteY71101"/>
              </a:cxn>
              <a:cxn ang="0">
                <a:pos x="connsiteX71102" y="connsiteY71102"/>
              </a:cxn>
              <a:cxn ang="0">
                <a:pos x="connsiteX71103" y="connsiteY71103"/>
              </a:cxn>
              <a:cxn ang="0">
                <a:pos x="connsiteX71104" y="connsiteY71104"/>
              </a:cxn>
              <a:cxn ang="0">
                <a:pos x="connsiteX71105" y="connsiteY71105"/>
              </a:cxn>
              <a:cxn ang="0">
                <a:pos x="connsiteX71106" y="connsiteY71106"/>
              </a:cxn>
              <a:cxn ang="0">
                <a:pos x="connsiteX71107" y="connsiteY71107"/>
              </a:cxn>
              <a:cxn ang="0">
                <a:pos x="connsiteX71108" y="connsiteY71108"/>
              </a:cxn>
              <a:cxn ang="0">
                <a:pos x="connsiteX71109" y="connsiteY71109"/>
              </a:cxn>
              <a:cxn ang="0">
                <a:pos x="connsiteX71110" y="connsiteY71110"/>
              </a:cxn>
              <a:cxn ang="0">
                <a:pos x="connsiteX71111" y="connsiteY71111"/>
              </a:cxn>
              <a:cxn ang="0">
                <a:pos x="connsiteX71112" y="connsiteY71112"/>
              </a:cxn>
              <a:cxn ang="0">
                <a:pos x="connsiteX71113" y="connsiteY71113"/>
              </a:cxn>
              <a:cxn ang="0">
                <a:pos x="connsiteX71114" y="connsiteY71114"/>
              </a:cxn>
              <a:cxn ang="0">
                <a:pos x="connsiteX71115" y="connsiteY71115"/>
              </a:cxn>
              <a:cxn ang="0">
                <a:pos x="connsiteX71116" y="connsiteY71116"/>
              </a:cxn>
              <a:cxn ang="0">
                <a:pos x="connsiteX71117" y="connsiteY71117"/>
              </a:cxn>
              <a:cxn ang="0">
                <a:pos x="connsiteX71118" y="connsiteY71118"/>
              </a:cxn>
              <a:cxn ang="0">
                <a:pos x="connsiteX71119" y="connsiteY71119"/>
              </a:cxn>
              <a:cxn ang="0">
                <a:pos x="connsiteX71120" y="connsiteY71120"/>
              </a:cxn>
              <a:cxn ang="0">
                <a:pos x="connsiteX71121" y="connsiteY71121"/>
              </a:cxn>
              <a:cxn ang="0">
                <a:pos x="connsiteX71122" y="connsiteY71122"/>
              </a:cxn>
              <a:cxn ang="0">
                <a:pos x="connsiteX71123" y="connsiteY71123"/>
              </a:cxn>
              <a:cxn ang="0">
                <a:pos x="connsiteX71124" y="connsiteY71124"/>
              </a:cxn>
              <a:cxn ang="0">
                <a:pos x="connsiteX71125" y="connsiteY71125"/>
              </a:cxn>
              <a:cxn ang="0">
                <a:pos x="connsiteX71126" y="connsiteY71126"/>
              </a:cxn>
              <a:cxn ang="0">
                <a:pos x="connsiteX71127" y="connsiteY71127"/>
              </a:cxn>
              <a:cxn ang="0">
                <a:pos x="connsiteX71128" y="connsiteY71128"/>
              </a:cxn>
              <a:cxn ang="0">
                <a:pos x="connsiteX71129" y="connsiteY71129"/>
              </a:cxn>
              <a:cxn ang="0">
                <a:pos x="connsiteX71130" y="connsiteY71130"/>
              </a:cxn>
              <a:cxn ang="0">
                <a:pos x="connsiteX71131" y="connsiteY71131"/>
              </a:cxn>
              <a:cxn ang="0">
                <a:pos x="connsiteX71132" y="connsiteY71132"/>
              </a:cxn>
              <a:cxn ang="0">
                <a:pos x="connsiteX71133" y="connsiteY71133"/>
              </a:cxn>
              <a:cxn ang="0">
                <a:pos x="connsiteX71134" y="connsiteY71134"/>
              </a:cxn>
              <a:cxn ang="0">
                <a:pos x="connsiteX71135" y="connsiteY71135"/>
              </a:cxn>
              <a:cxn ang="0">
                <a:pos x="connsiteX71136" y="connsiteY71136"/>
              </a:cxn>
              <a:cxn ang="0">
                <a:pos x="connsiteX71137" y="connsiteY71137"/>
              </a:cxn>
              <a:cxn ang="0">
                <a:pos x="connsiteX71138" y="connsiteY71138"/>
              </a:cxn>
              <a:cxn ang="0">
                <a:pos x="connsiteX71139" y="connsiteY71139"/>
              </a:cxn>
              <a:cxn ang="0">
                <a:pos x="connsiteX71140" y="connsiteY71140"/>
              </a:cxn>
              <a:cxn ang="0">
                <a:pos x="connsiteX71141" y="connsiteY71141"/>
              </a:cxn>
              <a:cxn ang="0">
                <a:pos x="connsiteX71142" y="connsiteY71142"/>
              </a:cxn>
              <a:cxn ang="0">
                <a:pos x="connsiteX71143" y="connsiteY71143"/>
              </a:cxn>
              <a:cxn ang="0">
                <a:pos x="connsiteX71144" y="connsiteY71144"/>
              </a:cxn>
              <a:cxn ang="0">
                <a:pos x="connsiteX71145" y="connsiteY71145"/>
              </a:cxn>
              <a:cxn ang="0">
                <a:pos x="connsiteX71146" y="connsiteY71146"/>
              </a:cxn>
              <a:cxn ang="0">
                <a:pos x="connsiteX71147" y="connsiteY71147"/>
              </a:cxn>
              <a:cxn ang="0">
                <a:pos x="connsiteX71148" y="connsiteY71148"/>
              </a:cxn>
              <a:cxn ang="0">
                <a:pos x="connsiteX71149" y="connsiteY71149"/>
              </a:cxn>
              <a:cxn ang="0">
                <a:pos x="connsiteX71150" y="connsiteY71150"/>
              </a:cxn>
              <a:cxn ang="0">
                <a:pos x="connsiteX71151" y="connsiteY71151"/>
              </a:cxn>
              <a:cxn ang="0">
                <a:pos x="connsiteX71152" y="connsiteY71152"/>
              </a:cxn>
              <a:cxn ang="0">
                <a:pos x="connsiteX71153" y="connsiteY71153"/>
              </a:cxn>
              <a:cxn ang="0">
                <a:pos x="connsiteX71154" y="connsiteY71154"/>
              </a:cxn>
              <a:cxn ang="0">
                <a:pos x="connsiteX71155" y="connsiteY71155"/>
              </a:cxn>
              <a:cxn ang="0">
                <a:pos x="connsiteX71156" y="connsiteY71156"/>
              </a:cxn>
              <a:cxn ang="0">
                <a:pos x="connsiteX71157" y="connsiteY71157"/>
              </a:cxn>
              <a:cxn ang="0">
                <a:pos x="connsiteX71158" y="connsiteY71158"/>
              </a:cxn>
              <a:cxn ang="0">
                <a:pos x="connsiteX71159" y="connsiteY71159"/>
              </a:cxn>
              <a:cxn ang="0">
                <a:pos x="connsiteX71160" y="connsiteY71160"/>
              </a:cxn>
              <a:cxn ang="0">
                <a:pos x="connsiteX71161" y="connsiteY71161"/>
              </a:cxn>
              <a:cxn ang="0">
                <a:pos x="connsiteX71162" y="connsiteY71162"/>
              </a:cxn>
              <a:cxn ang="0">
                <a:pos x="connsiteX71163" y="connsiteY71163"/>
              </a:cxn>
              <a:cxn ang="0">
                <a:pos x="connsiteX71164" y="connsiteY71164"/>
              </a:cxn>
              <a:cxn ang="0">
                <a:pos x="connsiteX71165" y="connsiteY71165"/>
              </a:cxn>
              <a:cxn ang="0">
                <a:pos x="connsiteX71166" y="connsiteY71166"/>
              </a:cxn>
              <a:cxn ang="0">
                <a:pos x="connsiteX71167" y="connsiteY71167"/>
              </a:cxn>
              <a:cxn ang="0">
                <a:pos x="connsiteX71168" y="connsiteY71168"/>
              </a:cxn>
              <a:cxn ang="0">
                <a:pos x="connsiteX71169" y="connsiteY71169"/>
              </a:cxn>
              <a:cxn ang="0">
                <a:pos x="connsiteX71170" y="connsiteY71170"/>
              </a:cxn>
              <a:cxn ang="0">
                <a:pos x="connsiteX71171" y="connsiteY71171"/>
              </a:cxn>
              <a:cxn ang="0">
                <a:pos x="connsiteX71172" y="connsiteY71172"/>
              </a:cxn>
              <a:cxn ang="0">
                <a:pos x="connsiteX71173" y="connsiteY71173"/>
              </a:cxn>
              <a:cxn ang="0">
                <a:pos x="connsiteX71174" y="connsiteY71174"/>
              </a:cxn>
              <a:cxn ang="0">
                <a:pos x="connsiteX71175" y="connsiteY71175"/>
              </a:cxn>
              <a:cxn ang="0">
                <a:pos x="connsiteX71176" y="connsiteY71176"/>
              </a:cxn>
              <a:cxn ang="0">
                <a:pos x="connsiteX71177" y="connsiteY71177"/>
              </a:cxn>
              <a:cxn ang="0">
                <a:pos x="connsiteX71178" y="connsiteY71178"/>
              </a:cxn>
              <a:cxn ang="0">
                <a:pos x="connsiteX71179" y="connsiteY71179"/>
              </a:cxn>
              <a:cxn ang="0">
                <a:pos x="connsiteX71180" y="connsiteY71180"/>
              </a:cxn>
              <a:cxn ang="0">
                <a:pos x="connsiteX71181" y="connsiteY71181"/>
              </a:cxn>
              <a:cxn ang="0">
                <a:pos x="connsiteX71182" y="connsiteY71182"/>
              </a:cxn>
              <a:cxn ang="0">
                <a:pos x="connsiteX71183" y="connsiteY71183"/>
              </a:cxn>
              <a:cxn ang="0">
                <a:pos x="connsiteX71184" y="connsiteY71184"/>
              </a:cxn>
              <a:cxn ang="0">
                <a:pos x="connsiteX71185" y="connsiteY71185"/>
              </a:cxn>
              <a:cxn ang="0">
                <a:pos x="connsiteX71186" y="connsiteY71186"/>
              </a:cxn>
              <a:cxn ang="0">
                <a:pos x="connsiteX71187" y="connsiteY71187"/>
              </a:cxn>
              <a:cxn ang="0">
                <a:pos x="connsiteX71188" y="connsiteY71188"/>
              </a:cxn>
              <a:cxn ang="0">
                <a:pos x="connsiteX71189" y="connsiteY71189"/>
              </a:cxn>
              <a:cxn ang="0">
                <a:pos x="connsiteX71190" y="connsiteY71190"/>
              </a:cxn>
              <a:cxn ang="0">
                <a:pos x="connsiteX71191" y="connsiteY71191"/>
              </a:cxn>
              <a:cxn ang="0">
                <a:pos x="connsiteX71192" y="connsiteY71192"/>
              </a:cxn>
              <a:cxn ang="0">
                <a:pos x="connsiteX71193" y="connsiteY71193"/>
              </a:cxn>
              <a:cxn ang="0">
                <a:pos x="connsiteX71194" y="connsiteY71194"/>
              </a:cxn>
              <a:cxn ang="0">
                <a:pos x="connsiteX71195" y="connsiteY71195"/>
              </a:cxn>
              <a:cxn ang="0">
                <a:pos x="connsiteX71196" y="connsiteY71196"/>
              </a:cxn>
              <a:cxn ang="0">
                <a:pos x="connsiteX71197" y="connsiteY71197"/>
              </a:cxn>
              <a:cxn ang="0">
                <a:pos x="connsiteX71198" y="connsiteY71198"/>
              </a:cxn>
              <a:cxn ang="0">
                <a:pos x="connsiteX71199" y="connsiteY71199"/>
              </a:cxn>
              <a:cxn ang="0">
                <a:pos x="connsiteX71200" y="connsiteY71200"/>
              </a:cxn>
              <a:cxn ang="0">
                <a:pos x="connsiteX71201" y="connsiteY71201"/>
              </a:cxn>
              <a:cxn ang="0">
                <a:pos x="connsiteX71202" y="connsiteY71202"/>
              </a:cxn>
              <a:cxn ang="0">
                <a:pos x="connsiteX71203" y="connsiteY71203"/>
              </a:cxn>
              <a:cxn ang="0">
                <a:pos x="connsiteX71204" y="connsiteY71204"/>
              </a:cxn>
              <a:cxn ang="0">
                <a:pos x="connsiteX71205" y="connsiteY71205"/>
              </a:cxn>
              <a:cxn ang="0">
                <a:pos x="connsiteX71206" y="connsiteY71206"/>
              </a:cxn>
              <a:cxn ang="0">
                <a:pos x="connsiteX71207" y="connsiteY71207"/>
              </a:cxn>
              <a:cxn ang="0">
                <a:pos x="connsiteX71208" y="connsiteY71208"/>
              </a:cxn>
              <a:cxn ang="0">
                <a:pos x="connsiteX71209" y="connsiteY71209"/>
              </a:cxn>
              <a:cxn ang="0">
                <a:pos x="connsiteX71210" y="connsiteY71210"/>
              </a:cxn>
              <a:cxn ang="0">
                <a:pos x="connsiteX71211" y="connsiteY71211"/>
              </a:cxn>
              <a:cxn ang="0">
                <a:pos x="connsiteX71212" y="connsiteY71212"/>
              </a:cxn>
              <a:cxn ang="0">
                <a:pos x="connsiteX71213" y="connsiteY71213"/>
              </a:cxn>
              <a:cxn ang="0">
                <a:pos x="connsiteX71214" y="connsiteY71214"/>
              </a:cxn>
              <a:cxn ang="0">
                <a:pos x="connsiteX71215" y="connsiteY71215"/>
              </a:cxn>
              <a:cxn ang="0">
                <a:pos x="connsiteX71216" y="connsiteY71216"/>
              </a:cxn>
              <a:cxn ang="0">
                <a:pos x="connsiteX71217" y="connsiteY71217"/>
              </a:cxn>
              <a:cxn ang="0">
                <a:pos x="connsiteX71218" y="connsiteY71218"/>
              </a:cxn>
              <a:cxn ang="0">
                <a:pos x="connsiteX71219" y="connsiteY71219"/>
              </a:cxn>
              <a:cxn ang="0">
                <a:pos x="connsiteX71220" y="connsiteY71220"/>
              </a:cxn>
              <a:cxn ang="0">
                <a:pos x="connsiteX71221" y="connsiteY71221"/>
              </a:cxn>
              <a:cxn ang="0">
                <a:pos x="connsiteX71222" y="connsiteY71222"/>
              </a:cxn>
              <a:cxn ang="0">
                <a:pos x="connsiteX71223" y="connsiteY71223"/>
              </a:cxn>
              <a:cxn ang="0">
                <a:pos x="connsiteX71224" y="connsiteY71224"/>
              </a:cxn>
              <a:cxn ang="0">
                <a:pos x="connsiteX71225" y="connsiteY71225"/>
              </a:cxn>
              <a:cxn ang="0">
                <a:pos x="connsiteX71226" y="connsiteY71226"/>
              </a:cxn>
              <a:cxn ang="0">
                <a:pos x="connsiteX71227" y="connsiteY71227"/>
              </a:cxn>
              <a:cxn ang="0">
                <a:pos x="connsiteX71228" y="connsiteY71228"/>
              </a:cxn>
              <a:cxn ang="0">
                <a:pos x="connsiteX71229" y="connsiteY71229"/>
              </a:cxn>
              <a:cxn ang="0">
                <a:pos x="connsiteX71230" y="connsiteY71230"/>
              </a:cxn>
              <a:cxn ang="0">
                <a:pos x="connsiteX71231" y="connsiteY71231"/>
              </a:cxn>
              <a:cxn ang="0">
                <a:pos x="connsiteX71232" y="connsiteY71232"/>
              </a:cxn>
              <a:cxn ang="0">
                <a:pos x="connsiteX71233" y="connsiteY71233"/>
              </a:cxn>
              <a:cxn ang="0">
                <a:pos x="connsiteX71234" y="connsiteY71234"/>
              </a:cxn>
              <a:cxn ang="0">
                <a:pos x="connsiteX71235" y="connsiteY71235"/>
              </a:cxn>
              <a:cxn ang="0">
                <a:pos x="connsiteX71236" y="connsiteY71236"/>
              </a:cxn>
              <a:cxn ang="0">
                <a:pos x="connsiteX71237" y="connsiteY71237"/>
              </a:cxn>
              <a:cxn ang="0">
                <a:pos x="connsiteX71238" y="connsiteY71238"/>
              </a:cxn>
              <a:cxn ang="0">
                <a:pos x="connsiteX71239" y="connsiteY71239"/>
              </a:cxn>
              <a:cxn ang="0">
                <a:pos x="connsiteX71240" y="connsiteY71240"/>
              </a:cxn>
              <a:cxn ang="0">
                <a:pos x="connsiteX71241" y="connsiteY71241"/>
              </a:cxn>
              <a:cxn ang="0">
                <a:pos x="connsiteX71242" y="connsiteY71242"/>
              </a:cxn>
              <a:cxn ang="0">
                <a:pos x="connsiteX71243" y="connsiteY71243"/>
              </a:cxn>
              <a:cxn ang="0">
                <a:pos x="connsiteX71244" y="connsiteY71244"/>
              </a:cxn>
              <a:cxn ang="0">
                <a:pos x="connsiteX71245" y="connsiteY71245"/>
              </a:cxn>
              <a:cxn ang="0">
                <a:pos x="connsiteX71246" y="connsiteY71246"/>
              </a:cxn>
              <a:cxn ang="0">
                <a:pos x="connsiteX71247" y="connsiteY71247"/>
              </a:cxn>
              <a:cxn ang="0">
                <a:pos x="connsiteX71248" y="connsiteY71248"/>
              </a:cxn>
              <a:cxn ang="0">
                <a:pos x="connsiteX71249" y="connsiteY71249"/>
              </a:cxn>
              <a:cxn ang="0">
                <a:pos x="connsiteX71250" y="connsiteY71250"/>
              </a:cxn>
              <a:cxn ang="0">
                <a:pos x="connsiteX71251" y="connsiteY71251"/>
              </a:cxn>
              <a:cxn ang="0">
                <a:pos x="connsiteX71252" y="connsiteY71252"/>
              </a:cxn>
              <a:cxn ang="0">
                <a:pos x="connsiteX71253" y="connsiteY71253"/>
              </a:cxn>
              <a:cxn ang="0">
                <a:pos x="connsiteX71254" y="connsiteY71254"/>
              </a:cxn>
              <a:cxn ang="0">
                <a:pos x="connsiteX71255" y="connsiteY71255"/>
              </a:cxn>
              <a:cxn ang="0">
                <a:pos x="connsiteX71256" y="connsiteY71256"/>
              </a:cxn>
              <a:cxn ang="0">
                <a:pos x="connsiteX71257" y="connsiteY71257"/>
              </a:cxn>
              <a:cxn ang="0">
                <a:pos x="connsiteX71258" y="connsiteY71258"/>
              </a:cxn>
              <a:cxn ang="0">
                <a:pos x="connsiteX71259" y="connsiteY71259"/>
              </a:cxn>
              <a:cxn ang="0">
                <a:pos x="connsiteX71260" y="connsiteY71260"/>
              </a:cxn>
              <a:cxn ang="0">
                <a:pos x="connsiteX71261" y="connsiteY71261"/>
              </a:cxn>
              <a:cxn ang="0">
                <a:pos x="connsiteX71262" y="connsiteY71262"/>
              </a:cxn>
              <a:cxn ang="0">
                <a:pos x="connsiteX71263" y="connsiteY71263"/>
              </a:cxn>
              <a:cxn ang="0">
                <a:pos x="connsiteX71264" y="connsiteY71264"/>
              </a:cxn>
              <a:cxn ang="0">
                <a:pos x="connsiteX71265" y="connsiteY71265"/>
              </a:cxn>
              <a:cxn ang="0">
                <a:pos x="connsiteX71266" y="connsiteY71266"/>
              </a:cxn>
              <a:cxn ang="0">
                <a:pos x="connsiteX71267" y="connsiteY71267"/>
              </a:cxn>
              <a:cxn ang="0">
                <a:pos x="connsiteX71268" y="connsiteY71268"/>
              </a:cxn>
              <a:cxn ang="0">
                <a:pos x="connsiteX71269" y="connsiteY71269"/>
              </a:cxn>
              <a:cxn ang="0">
                <a:pos x="connsiteX71270" y="connsiteY71270"/>
              </a:cxn>
              <a:cxn ang="0">
                <a:pos x="connsiteX71271" y="connsiteY71271"/>
              </a:cxn>
              <a:cxn ang="0">
                <a:pos x="connsiteX71272" y="connsiteY71272"/>
              </a:cxn>
              <a:cxn ang="0">
                <a:pos x="connsiteX71273" y="connsiteY71273"/>
              </a:cxn>
              <a:cxn ang="0">
                <a:pos x="connsiteX71274" y="connsiteY71274"/>
              </a:cxn>
              <a:cxn ang="0">
                <a:pos x="connsiteX71275" y="connsiteY71275"/>
              </a:cxn>
              <a:cxn ang="0">
                <a:pos x="connsiteX71276" y="connsiteY71276"/>
              </a:cxn>
              <a:cxn ang="0">
                <a:pos x="connsiteX71277" y="connsiteY71277"/>
              </a:cxn>
              <a:cxn ang="0">
                <a:pos x="connsiteX71278" y="connsiteY71278"/>
              </a:cxn>
              <a:cxn ang="0">
                <a:pos x="connsiteX71279" y="connsiteY71279"/>
              </a:cxn>
              <a:cxn ang="0">
                <a:pos x="connsiteX71280" y="connsiteY71280"/>
              </a:cxn>
              <a:cxn ang="0">
                <a:pos x="connsiteX71281" y="connsiteY71281"/>
              </a:cxn>
              <a:cxn ang="0">
                <a:pos x="connsiteX71282" y="connsiteY71282"/>
              </a:cxn>
              <a:cxn ang="0">
                <a:pos x="connsiteX71283" y="connsiteY71283"/>
              </a:cxn>
              <a:cxn ang="0">
                <a:pos x="connsiteX71284" y="connsiteY71284"/>
              </a:cxn>
              <a:cxn ang="0">
                <a:pos x="connsiteX71285" y="connsiteY71285"/>
              </a:cxn>
              <a:cxn ang="0">
                <a:pos x="connsiteX71286" y="connsiteY71286"/>
              </a:cxn>
              <a:cxn ang="0">
                <a:pos x="connsiteX71287" y="connsiteY71287"/>
              </a:cxn>
              <a:cxn ang="0">
                <a:pos x="connsiteX71288" y="connsiteY71288"/>
              </a:cxn>
              <a:cxn ang="0">
                <a:pos x="connsiteX71289" y="connsiteY71289"/>
              </a:cxn>
              <a:cxn ang="0">
                <a:pos x="connsiteX71290" y="connsiteY71290"/>
              </a:cxn>
              <a:cxn ang="0">
                <a:pos x="connsiteX71291" y="connsiteY71291"/>
              </a:cxn>
              <a:cxn ang="0">
                <a:pos x="connsiteX71292" y="connsiteY71292"/>
              </a:cxn>
              <a:cxn ang="0">
                <a:pos x="connsiteX71293" y="connsiteY71293"/>
              </a:cxn>
              <a:cxn ang="0">
                <a:pos x="connsiteX71294" y="connsiteY71294"/>
              </a:cxn>
              <a:cxn ang="0">
                <a:pos x="connsiteX71295" y="connsiteY71295"/>
              </a:cxn>
              <a:cxn ang="0">
                <a:pos x="connsiteX71296" y="connsiteY71296"/>
              </a:cxn>
              <a:cxn ang="0">
                <a:pos x="connsiteX71297" y="connsiteY71297"/>
              </a:cxn>
              <a:cxn ang="0">
                <a:pos x="connsiteX71298" y="connsiteY71298"/>
              </a:cxn>
              <a:cxn ang="0">
                <a:pos x="connsiteX71299" y="connsiteY71299"/>
              </a:cxn>
              <a:cxn ang="0">
                <a:pos x="connsiteX71300" y="connsiteY71300"/>
              </a:cxn>
              <a:cxn ang="0">
                <a:pos x="connsiteX71301" y="connsiteY71301"/>
              </a:cxn>
              <a:cxn ang="0">
                <a:pos x="connsiteX71302" y="connsiteY71302"/>
              </a:cxn>
              <a:cxn ang="0">
                <a:pos x="connsiteX71303" y="connsiteY71303"/>
              </a:cxn>
              <a:cxn ang="0">
                <a:pos x="connsiteX71304" y="connsiteY71304"/>
              </a:cxn>
              <a:cxn ang="0">
                <a:pos x="connsiteX71305" y="connsiteY71305"/>
              </a:cxn>
              <a:cxn ang="0">
                <a:pos x="connsiteX71306" y="connsiteY71306"/>
              </a:cxn>
              <a:cxn ang="0">
                <a:pos x="connsiteX71307" y="connsiteY71307"/>
              </a:cxn>
              <a:cxn ang="0">
                <a:pos x="connsiteX71308" y="connsiteY71308"/>
              </a:cxn>
              <a:cxn ang="0">
                <a:pos x="connsiteX71309" y="connsiteY71309"/>
              </a:cxn>
              <a:cxn ang="0">
                <a:pos x="connsiteX71310" y="connsiteY71310"/>
              </a:cxn>
              <a:cxn ang="0">
                <a:pos x="connsiteX71311" y="connsiteY71311"/>
              </a:cxn>
              <a:cxn ang="0">
                <a:pos x="connsiteX71312" y="connsiteY71312"/>
              </a:cxn>
              <a:cxn ang="0">
                <a:pos x="connsiteX71313" y="connsiteY71313"/>
              </a:cxn>
              <a:cxn ang="0">
                <a:pos x="connsiteX71314" y="connsiteY71314"/>
              </a:cxn>
              <a:cxn ang="0">
                <a:pos x="connsiteX71315" y="connsiteY71315"/>
              </a:cxn>
              <a:cxn ang="0">
                <a:pos x="connsiteX71316" y="connsiteY71316"/>
              </a:cxn>
              <a:cxn ang="0">
                <a:pos x="connsiteX71317" y="connsiteY71317"/>
              </a:cxn>
              <a:cxn ang="0">
                <a:pos x="connsiteX71318" y="connsiteY71318"/>
              </a:cxn>
              <a:cxn ang="0">
                <a:pos x="connsiteX71319" y="connsiteY71319"/>
              </a:cxn>
              <a:cxn ang="0">
                <a:pos x="connsiteX71320" y="connsiteY71320"/>
              </a:cxn>
              <a:cxn ang="0">
                <a:pos x="connsiteX71321" y="connsiteY71321"/>
              </a:cxn>
              <a:cxn ang="0">
                <a:pos x="connsiteX71322" y="connsiteY71322"/>
              </a:cxn>
              <a:cxn ang="0">
                <a:pos x="connsiteX71323" y="connsiteY71323"/>
              </a:cxn>
              <a:cxn ang="0">
                <a:pos x="connsiteX71324" y="connsiteY71324"/>
              </a:cxn>
              <a:cxn ang="0">
                <a:pos x="connsiteX71325" y="connsiteY71325"/>
              </a:cxn>
              <a:cxn ang="0">
                <a:pos x="connsiteX71326" y="connsiteY71326"/>
              </a:cxn>
              <a:cxn ang="0">
                <a:pos x="connsiteX71327" y="connsiteY71327"/>
              </a:cxn>
              <a:cxn ang="0">
                <a:pos x="connsiteX71328" y="connsiteY71328"/>
              </a:cxn>
              <a:cxn ang="0">
                <a:pos x="connsiteX71329" y="connsiteY71329"/>
              </a:cxn>
              <a:cxn ang="0">
                <a:pos x="connsiteX71330" y="connsiteY71330"/>
              </a:cxn>
              <a:cxn ang="0">
                <a:pos x="connsiteX71331" y="connsiteY71331"/>
              </a:cxn>
              <a:cxn ang="0">
                <a:pos x="connsiteX71332" y="connsiteY71332"/>
              </a:cxn>
              <a:cxn ang="0">
                <a:pos x="connsiteX71333" y="connsiteY71333"/>
              </a:cxn>
              <a:cxn ang="0">
                <a:pos x="connsiteX71334" y="connsiteY71334"/>
              </a:cxn>
              <a:cxn ang="0">
                <a:pos x="connsiteX71335" y="connsiteY71335"/>
              </a:cxn>
              <a:cxn ang="0">
                <a:pos x="connsiteX71336" y="connsiteY71336"/>
              </a:cxn>
              <a:cxn ang="0">
                <a:pos x="connsiteX71337" y="connsiteY71337"/>
              </a:cxn>
              <a:cxn ang="0">
                <a:pos x="connsiteX71338" y="connsiteY71338"/>
              </a:cxn>
              <a:cxn ang="0">
                <a:pos x="connsiteX71339" y="connsiteY71339"/>
              </a:cxn>
              <a:cxn ang="0">
                <a:pos x="connsiteX71340" y="connsiteY71340"/>
              </a:cxn>
              <a:cxn ang="0">
                <a:pos x="connsiteX71341" y="connsiteY71341"/>
              </a:cxn>
              <a:cxn ang="0">
                <a:pos x="connsiteX71342" y="connsiteY71342"/>
              </a:cxn>
              <a:cxn ang="0">
                <a:pos x="connsiteX71343" y="connsiteY71343"/>
              </a:cxn>
              <a:cxn ang="0">
                <a:pos x="connsiteX71344" y="connsiteY71344"/>
              </a:cxn>
              <a:cxn ang="0">
                <a:pos x="connsiteX71345" y="connsiteY71345"/>
              </a:cxn>
              <a:cxn ang="0">
                <a:pos x="connsiteX71346" y="connsiteY71346"/>
              </a:cxn>
              <a:cxn ang="0">
                <a:pos x="connsiteX71347" y="connsiteY71347"/>
              </a:cxn>
              <a:cxn ang="0">
                <a:pos x="connsiteX71348" y="connsiteY71348"/>
              </a:cxn>
              <a:cxn ang="0">
                <a:pos x="connsiteX71349" y="connsiteY71349"/>
              </a:cxn>
              <a:cxn ang="0">
                <a:pos x="connsiteX71350" y="connsiteY71350"/>
              </a:cxn>
              <a:cxn ang="0">
                <a:pos x="connsiteX71351" y="connsiteY71351"/>
              </a:cxn>
              <a:cxn ang="0">
                <a:pos x="connsiteX71352" y="connsiteY71352"/>
              </a:cxn>
              <a:cxn ang="0">
                <a:pos x="connsiteX71353" y="connsiteY71353"/>
              </a:cxn>
              <a:cxn ang="0">
                <a:pos x="connsiteX71354" y="connsiteY71354"/>
              </a:cxn>
              <a:cxn ang="0">
                <a:pos x="connsiteX71355" y="connsiteY71355"/>
              </a:cxn>
              <a:cxn ang="0">
                <a:pos x="connsiteX71356" y="connsiteY71356"/>
              </a:cxn>
              <a:cxn ang="0">
                <a:pos x="connsiteX71357" y="connsiteY71357"/>
              </a:cxn>
              <a:cxn ang="0">
                <a:pos x="connsiteX71358" y="connsiteY71358"/>
              </a:cxn>
              <a:cxn ang="0">
                <a:pos x="connsiteX71359" y="connsiteY71359"/>
              </a:cxn>
              <a:cxn ang="0">
                <a:pos x="connsiteX71360" y="connsiteY71360"/>
              </a:cxn>
              <a:cxn ang="0">
                <a:pos x="connsiteX71361" y="connsiteY71361"/>
              </a:cxn>
              <a:cxn ang="0">
                <a:pos x="connsiteX71362" y="connsiteY71362"/>
              </a:cxn>
              <a:cxn ang="0">
                <a:pos x="connsiteX71363" y="connsiteY71363"/>
              </a:cxn>
              <a:cxn ang="0">
                <a:pos x="connsiteX71364" y="connsiteY71364"/>
              </a:cxn>
              <a:cxn ang="0">
                <a:pos x="connsiteX71365" y="connsiteY71365"/>
              </a:cxn>
              <a:cxn ang="0">
                <a:pos x="connsiteX71366" y="connsiteY71366"/>
              </a:cxn>
              <a:cxn ang="0">
                <a:pos x="connsiteX71367" y="connsiteY71367"/>
              </a:cxn>
              <a:cxn ang="0">
                <a:pos x="connsiteX71368" y="connsiteY71368"/>
              </a:cxn>
              <a:cxn ang="0">
                <a:pos x="connsiteX71369" y="connsiteY71369"/>
              </a:cxn>
              <a:cxn ang="0">
                <a:pos x="connsiteX71370" y="connsiteY71370"/>
              </a:cxn>
              <a:cxn ang="0">
                <a:pos x="connsiteX71371" y="connsiteY71371"/>
              </a:cxn>
              <a:cxn ang="0">
                <a:pos x="connsiteX71372" y="connsiteY71372"/>
              </a:cxn>
              <a:cxn ang="0">
                <a:pos x="connsiteX71373" y="connsiteY71373"/>
              </a:cxn>
              <a:cxn ang="0">
                <a:pos x="connsiteX71374" y="connsiteY71374"/>
              </a:cxn>
              <a:cxn ang="0">
                <a:pos x="connsiteX71375" y="connsiteY71375"/>
              </a:cxn>
              <a:cxn ang="0">
                <a:pos x="connsiteX71376" y="connsiteY71376"/>
              </a:cxn>
              <a:cxn ang="0">
                <a:pos x="connsiteX71377" y="connsiteY71377"/>
              </a:cxn>
              <a:cxn ang="0">
                <a:pos x="connsiteX71378" y="connsiteY71378"/>
              </a:cxn>
              <a:cxn ang="0">
                <a:pos x="connsiteX71379" y="connsiteY71379"/>
              </a:cxn>
              <a:cxn ang="0">
                <a:pos x="connsiteX71380" y="connsiteY71380"/>
              </a:cxn>
              <a:cxn ang="0">
                <a:pos x="connsiteX71381" y="connsiteY71381"/>
              </a:cxn>
              <a:cxn ang="0">
                <a:pos x="connsiteX71382" y="connsiteY71382"/>
              </a:cxn>
              <a:cxn ang="0">
                <a:pos x="connsiteX71383" y="connsiteY71383"/>
              </a:cxn>
              <a:cxn ang="0">
                <a:pos x="connsiteX71384" y="connsiteY71384"/>
              </a:cxn>
              <a:cxn ang="0">
                <a:pos x="connsiteX71385" y="connsiteY71385"/>
              </a:cxn>
              <a:cxn ang="0">
                <a:pos x="connsiteX71386" y="connsiteY71386"/>
              </a:cxn>
              <a:cxn ang="0">
                <a:pos x="connsiteX71387" y="connsiteY71387"/>
              </a:cxn>
              <a:cxn ang="0">
                <a:pos x="connsiteX71388" y="connsiteY71388"/>
              </a:cxn>
              <a:cxn ang="0">
                <a:pos x="connsiteX71389" y="connsiteY71389"/>
              </a:cxn>
              <a:cxn ang="0">
                <a:pos x="connsiteX71390" y="connsiteY71390"/>
              </a:cxn>
              <a:cxn ang="0">
                <a:pos x="connsiteX71391" y="connsiteY71391"/>
              </a:cxn>
              <a:cxn ang="0">
                <a:pos x="connsiteX71392" y="connsiteY71392"/>
              </a:cxn>
              <a:cxn ang="0">
                <a:pos x="connsiteX71393" y="connsiteY71393"/>
              </a:cxn>
              <a:cxn ang="0">
                <a:pos x="connsiteX71394" y="connsiteY71394"/>
              </a:cxn>
              <a:cxn ang="0">
                <a:pos x="connsiteX71395" y="connsiteY71395"/>
              </a:cxn>
              <a:cxn ang="0">
                <a:pos x="connsiteX71396" y="connsiteY71396"/>
              </a:cxn>
              <a:cxn ang="0">
                <a:pos x="connsiteX71397" y="connsiteY71397"/>
              </a:cxn>
              <a:cxn ang="0">
                <a:pos x="connsiteX71398" y="connsiteY71398"/>
              </a:cxn>
              <a:cxn ang="0">
                <a:pos x="connsiteX71399" y="connsiteY71399"/>
              </a:cxn>
              <a:cxn ang="0">
                <a:pos x="connsiteX71400" y="connsiteY71400"/>
              </a:cxn>
              <a:cxn ang="0">
                <a:pos x="connsiteX71401" y="connsiteY71401"/>
              </a:cxn>
              <a:cxn ang="0">
                <a:pos x="connsiteX71402" y="connsiteY71402"/>
              </a:cxn>
              <a:cxn ang="0">
                <a:pos x="connsiteX71403" y="connsiteY71403"/>
              </a:cxn>
              <a:cxn ang="0">
                <a:pos x="connsiteX71404" y="connsiteY71404"/>
              </a:cxn>
              <a:cxn ang="0">
                <a:pos x="connsiteX71405" y="connsiteY71405"/>
              </a:cxn>
              <a:cxn ang="0">
                <a:pos x="connsiteX71406" y="connsiteY71406"/>
              </a:cxn>
              <a:cxn ang="0">
                <a:pos x="connsiteX71407" y="connsiteY71407"/>
              </a:cxn>
              <a:cxn ang="0">
                <a:pos x="connsiteX71408" y="connsiteY71408"/>
              </a:cxn>
              <a:cxn ang="0">
                <a:pos x="connsiteX71409" y="connsiteY71409"/>
              </a:cxn>
              <a:cxn ang="0">
                <a:pos x="connsiteX71410" y="connsiteY71410"/>
              </a:cxn>
              <a:cxn ang="0">
                <a:pos x="connsiteX71411" y="connsiteY71411"/>
              </a:cxn>
              <a:cxn ang="0">
                <a:pos x="connsiteX71412" y="connsiteY71412"/>
              </a:cxn>
              <a:cxn ang="0">
                <a:pos x="connsiteX71413" y="connsiteY71413"/>
              </a:cxn>
              <a:cxn ang="0">
                <a:pos x="connsiteX71414" y="connsiteY71414"/>
              </a:cxn>
              <a:cxn ang="0">
                <a:pos x="connsiteX71415" y="connsiteY71415"/>
              </a:cxn>
              <a:cxn ang="0">
                <a:pos x="connsiteX71416" y="connsiteY71416"/>
              </a:cxn>
              <a:cxn ang="0">
                <a:pos x="connsiteX71417" y="connsiteY71417"/>
              </a:cxn>
              <a:cxn ang="0">
                <a:pos x="connsiteX71418" y="connsiteY71418"/>
              </a:cxn>
              <a:cxn ang="0">
                <a:pos x="connsiteX71419" y="connsiteY71419"/>
              </a:cxn>
              <a:cxn ang="0">
                <a:pos x="connsiteX71420" y="connsiteY71420"/>
              </a:cxn>
              <a:cxn ang="0">
                <a:pos x="connsiteX71421" y="connsiteY71421"/>
              </a:cxn>
              <a:cxn ang="0">
                <a:pos x="connsiteX71422" y="connsiteY71422"/>
              </a:cxn>
              <a:cxn ang="0">
                <a:pos x="connsiteX71423" y="connsiteY71423"/>
              </a:cxn>
              <a:cxn ang="0">
                <a:pos x="connsiteX71424" y="connsiteY71424"/>
              </a:cxn>
              <a:cxn ang="0">
                <a:pos x="connsiteX71425" y="connsiteY71425"/>
              </a:cxn>
              <a:cxn ang="0">
                <a:pos x="connsiteX71426" y="connsiteY71426"/>
              </a:cxn>
              <a:cxn ang="0">
                <a:pos x="connsiteX71427" y="connsiteY71427"/>
              </a:cxn>
              <a:cxn ang="0">
                <a:pos x="connsiteX71428" y="connsiteY71428"/>
              </a:cxn>
              <a:cxn ang="0">
                <a:pos x="connsiteX71429" y="connsiteY71429"/>
              </a:cxn>
              <a:cxn ang="0">
                <a:pos x="connsiteX71430" y="connsiteY71430"/>
              </a:cxn>
              <a:cxn ang="0">
                <a:pos x="connsiteX71431" y="connsiteY71431"/>
              </a:cxn>
              <a:cxn ang="0">
                <a:pos x="connsiteX71432" y="connsiteY71432"/>
              </a:cxn>
              <a:cxn ang="0">
                <a:pos x="connsiteX71433" y="connsiteY71433"/>
              </a:cxn>
              <a:cxn ang="0">
                <a:pos x="connsiteX71434" y="connsiteY71434"/>
              </a:cxn>
              <a:cxn ang="0">
                <a:pos x="connsiteX71435" y="connsiteY71435"/>
              </a:cxn>
              <a:cxn ang="0">
                <a:pos x="connsiteX71436" y="connsiteY71436"/>
              </a:cxn>
              <a:cxn ang="0">
                <a:pos x="connsiteX71437" y="connsiteY71437"/>
              </a:cxn>
              <a:cxn ang="0">
                <a:pos x="connsiteX71438" y="connsiteY71438"/>
              </a:cxn>
              <a:cxn ang="0">
                <a:pos x="connsiteX71439" y="connsiteY71439"/>
              </a:cxn>
              <a:cxn ang="0">
                <a:pos x="connsiteX71440" y="connsiteY71440"/>
              </a:cxn>
              <a:cxn ang="0">
                <a:pos x="connsiteX71441" y="connsiteY71441"/>
              </a:cxn>
              <a:cxn ang="0">
                <a:pos x="connsiteX71442" y="connsiteY71442"/>
              </a:cxn>
              <a:cxn ang="0">
                <a:pos x="connsiteX71443" y="connsiteY71443"/>
              </a:cxn>
              <a:cxn ang="0">
                <a:pos x="connsiteX71444" y="connsiteY71444"/>
              </a:cxn>
              <a:cxn ang="0">
                <a:pos x="connsiteX71445" y="connsiteY71445"/>
              </a:cxn>
              <a:cxn ang="0">
                <a:pos x="connsiteX71446" y="connsiteY71446"/>
              </a:cxn>
              <a:cxn ang="0">
                <a:pos x="connsiteX71447" y="connsiteY71447"/>
              </a:cxn>
              <a:cxn ang="0">
                <a:pos x="connsiteX71448" y="connsiteY71448"/>
              </a:cxn>
              <a:cxn ang="0">
                <a:pos x="connsiteX71449" y="connsiteY71449"/>
              </a:cxn>
              <a:cxn ang="0">
                <a:pos x="connsiteX71450" y="connsiteY71450"/>
              </a:cxn>
              <a:cxn ang="0">
                <a:pos x="connsiteX71451" y="connsiteY71451"/>
              </a:cxn>
              <a:cxn ang="0">
                <a:pos x="connsiteX71452" y="connsiteY71452"/>
              </a:cxn>
              <a:cxn ang="0">
                <a:pos x="connsiteX71453" y="connsiteY71453"/>
              </a:cxn>
              <a:cxn ang="0">
                <a:pos x="connsiteX71454" y="connsiteY71454"/>
              </a:cxn>
              <a:cxn ang="0">
                <a:pos x="connsiteX71455" y="connsiteY71455"/>
              </a:cxn>
              <a:cxn ang="0">
                <a:pos x="connsiteX71456" y="connsiteY71456"/>
              </a:cxn>
              <a:cxn ang="0">
                <a:pos x="connsiteX71457" y="connsiteY71457"/>
              </a:cxn>
              <a:cxn ang="0">
                <a:pos x="connsiteX71458" y="connsiteY71458"/>
              </a:cxn>
              <a:cxn ang="0">
                <a:pos x="connsiteX71459" y="connsiteY71459"/>
              </a:cxn>
              <a:cxn ang="0">
                <a:pos x="connsiteX71460" y="connsiteY71460"/>
              </a:cxn>
              <a:cxn ang="0">
                <a:pos x="connsiteX71461" y="connsiteY71461"/>
              </a:cxn>
              <a:cxn ang="0">
                <a:pos x="connsiteX71462" y="connsiteY71462"/>
              </a:cxn>
              <a:cxn ang="0">
                <a:pos x="connsiteX71463" y="connsiteY71463"/>
              </a:cxn>
              <a:cxn ang="0">
                <a:pos x="connsiteX71464" y="connsiteY71464"/>
              </a:cxn>
              <a:cxn ang="0">
                <a:pos x="connsiteX71465" y="connsiteY71465"/>
              </a:cxn>
              <a:cxn ang="0">
                <a:pos x="connsiteX71466" y="connsiteY71466"/>
              </a:cxn>
              <a:cxn ang="0">
                <a:pos x="connsiteX71467" y="connsiteY71467"/>
              </a:cxn>
              <a:cxn ang="0">
                <a:pos x="connsiteX71468" y="connsiteY71468"/>
              </a:cxn>
              <a:cxn ang="0">
                <a:pos x="connsiteX71469" y="connsiteY71469"/>
              </a:cxn>
              <a:cxn ang="0">
                <a:pos x="connsiteX71470" y="connsiteY71470"/>
              </a:cxn>
              <a:cxn ang="0">
                <a:pos x="connsiteX71471" y="connsiteY71471"/>
              </a:cxn>
              <a:cxn ang="0">
                <a:pos x="connsiteX71472" y="connsiteY71472"/>
              </a:cxn>
              <a:cxn ang="0">
                <a:pos x="connsiteX71473" y="connsiteY71473"/>
              </a:cxn>
              <a:cxn ang="0">
                <a:pos x="connsiteX71474" y="connsiteY71474"/>
              </a:cxn>
              <a:cxn ang="0">
                <a:pos x="connsiteX71475" y="connsiteY71475"/>
              </a:cxn>
              <a:cxn ang="0">
                <a:pos x="connsiteX71476" y="connsiteY71476"/>
              </a:cxn>
              <a:cxn ang="0">
                <a:pos x="connsiteX71477" y="connsiteY71477"/>
              </a:cxn>
              <a:cxn ang="0">
                <a:pos x="connsiteX71478" y="connsiteY71478"/>
              </a:cxn>
              <a:cxn ang="0">
                <a:pos x="connsiteX71479" y="connsiteY71479"/>
              </a:cxn>
              <a:cxn ang="0">
                <a:pos x="connsiteX71480" y="connsiteY71480"/>
              </a:cxn>
              <a:cxn ang="0">
                <a:pos x="connsiteX71481" y="connsiteY71481"/>
              </a:cxn>
              <a:cxn ang="0">
                <a:pos x="connsiteX71482" y="connsiteY71482"/>
              </a:cxn>
              <a:cxn ang="0">
                <a:pos x="connsiteX71483" y="connsiteY71483"/>
              </a:cxn>
              <a:cxn ang="0">
                <a:pos x="connsiteX71484" y="connsiteY71484"/>
              </a:cxn>
              <a:cxn ang="0">
                <a:pos x="connsiteX71485" y="connsiteY71485"/>
              </a:cxn>
              <a:cxn ang="0">
                <a:pos x="connsiteX71486" y="connsiteY71486"/>
              </a:cxn>
              <a:cxn ang="0">
                <a:pos x="connsiteX71487" y="connsiteY71487"/>
              </a:cxn>
              <a:cxn ang="0">
                <a:pos x="connsiteX71488" y="connsiteY71488"/>
              </a:cxn>
              <a:cxn ang="0">
                <a:pos x="connsiteX71489" y="connsiteY71489"/>
              </a:cxn>
              <a:cxn ang="0">
                <a:pos x="connsiteX71490" y="connsiteY71490"/>
              </a:cxn>
              <a:cxn ang="0">
                <a:pos x="connsiteX71491" y="connsiteY71491"/>
              </a:cxn>
              <a:cxn ang="0">
                <a:pos x="connsiteX71492" y="connsiteY71492"/>
              </a:cxn>
              <a:cxn ang="0">
                <a:pos x="connsiteX71493" y="connsiteY71493"/>
              </a:cxn>
              <a:cxn ang="0">
                <a:pos x="connsiteX71494" y="connsiteY71494"/>
              </a:cxn>
              <a:cxn ang="0">
                <a:pos x="connsiteX71495" y="connsiteY71495"/>
              </a:cxn>
              <a:cxn ang="0">
                <a:pos x="connsiteX71496" y="connsiteY71496"/>
              </a:cxn>
              <a:cxn ang="0">
                <a:pos x="connsiteX71497" y="connsiteY71497"/>
              </a:cxn>
              <a:cxn ang="0">
                <a:pos x="connsiteX71498" y="connsiteY71498"/>
              </a:cxn>
              <a:cxn ang="0">
                <a:pos x="connsiteX71499" y="connsiteY71499"/>
              </a:cxn>
              <a:cxn ang="0">
                <a:pos x="connsiteX71500" y="connsiteY71500"/>
              </a:cxn>
              <a:cxn ang="0">
                <a:pos x="connsiteX71501" y="connsiteY71501"/>
              </a:cxn>
              <a:cxn ang="0">
                <a:pos x="connsiteX71502" y="connsiteY71502"/>
              </a:cxn>
              <a:cxn ang="0">
                <a:pos x="connsiteX71503" y="connsiteY71503"/>
              </a:cxn>
              <a:cxn ang="0">
                <a:pos x="connsiteX71504" y="connsiteY71504"/>
              </a:cxn>
              <a:cxn ang="0">
                <a:pos x="connsiteX71505" y="connsiteY71505"/>
              </a:cxn>
              <a:cxn ang="0">
                <a:pos x="connsiteX71506" y="connsiteY71506"/>
              </a:cxn>
              <a:cxn ang="0">
                <a:pos x="connsiteX71507" y="connsiteY71507"/>
              </a:cxn>
              <a:cxn ang="0">
                <a:pos x="connsiteX71508" y="connsiteY71508"/>
              </a:cxn>
              <a:cxn ang="0">
                <a:pos x="connsiteX71509" y="connsiteY71509"/>
              </a:cxn>
              <a:cxn ang="0">
                <a:pos x="connsiteX71510" y="connsiteY71510"/>
              </a:cxn>
              <a:cxn ang="0">
                <a:pos x="connsiteX71511" y="connsiteY71511"/>
              </a:cxn>
              <a:cxn ang="0">
                <a:pos x="connsiteX71512" y="connsiteY71512"/>
              </a:cxn>
              <a:cxn ang="0">
                <a:pos x="connsiteX71513" y="connsiteY71513"/>
              </a:cxn>
              <a:cxn ang="0">
                <a:pos x="connsiteX71514" y="connsiteY71514"/>
              </a:cxn>
              <a:cxn ang="0">
                <a:pos x="connsiteX71515" y="connsiteY71515"/>
              </a:cxn>
              <a:cxn ang="0">
                <a:pos x="connsiteX71516" y="connsiteY71516"/>
              </a:cxn>
              <a:cxn ang="0">
                <a:pos x="connsiteX71517" y="connsiteY71517"/>
              </a:cxn>
              <a:cxn ang="0">
                <a:pos x="connsiteX71518" y="connsiteY71518"/>
              </a:cxn>
              <a:cxn ang="0">
                <a:pos x="connsiteX71519" y="connsiteY71519"/>
              </a:cxn>
              <a:cxn ang="0">
                <a:pos x="connsiteX71520" y="connsiteY71520"/>
              </a:cxn>
              <a:cxn ang="0">
                <a:pos x="connsiteX71521" y="connsiteY71521"/>
              </a:cxn>
              <a:cxn ang="0">
                <a:pos x="connsiteX71522" y="connsiteY71522"/>
              </a:cxn>
              <a:cxn ang="0">
                <a:pos x="connsiteX71523" y="connsiteY71523"/>
              </a:cxn>
              <a:cxn ang="0">
                <a:pos x="connsiteX71524" y="connsiteY71524"/>
              </a:cxn>
              <a:cxn ang="0">
                <a:pos x="connsiteX71525" y="connsiteY71525"/>
              </a:cxn>
              <a:cxn ang="0">
                <a:pos x="connsiteX71526" y="connsiteY71526"/>
              </a:cxn>
              <a:cxn ang="0">
                <a:pos x="connsiteX71527" y="connsiteY71527"/>
              </a:cxn>
              <a:cxn ang="0">
                <a:pos x="connsiteX71528" y="connsiteY71528"/>
              </a:cxn>
              <a:cxn ang="0">
                <a:pos x="connsiteX71529" y="connsiteY71529"/>
              </a:cxn>
              <a:cxn ang="0">
                <a:pos x="connsiteX71530" y="connsiteY71530"/>
              </a:cxn>
              <a:cxn ang="0">
                <a:pos x="connsiteX71531" y="connsiteY71531"/>
              </a:cxn>
              <a:cxn ang="0">
                <a:pos x="connsiteX71532" y="connsiteY71532"/>
              </a:cxn>
              <a:cxn ang="0">
                <a:pos x="connsiteX71533" y="connsiteY71533"/>
              </a:cxn>
              <a:cxn ang="0">
                <a:pos x="connsiteX71534" y="connsiteY71534"/>
              </a:cxn>
              <a:cxn ang="0">
                <a:pos x="connsiteX71535" y="connsiteY71535"/>
              </a:cxn>
              <a:cxn ang="0">
                <a:pos x="connsiteX71536" y="connsiteY71536"/>
              </a:cxn>
              <a:cxn ang="0">
                <a:pos x="connsiteX71537" y="connsiteY71537"/>
              </a:cxn>
              <a:cxn ang="0">
                <a:pos x="connsiteX71538" y="connsiteY71538"/>
              </a:cxn>
              <a:cxn ang="0">
                <a:pos x="connsiteX71539" y="connsiteY71539"/>
              </a:cxn>
              <a:cxn ang="0">
                <a:pos x="connsiteX71540" y="connsiteY71540"/>
              </a:cxn>
              <a:cxn ang="0">
                <a:pos x="connsiteX71541" y="connsiteY71541"/>
              </a:cxn>
              <a:cxn ang="0">
                <a:pos x="connsiteX71542" y="connsiteY71542"/>
              </a:cxn>
              <a:cxn ang="0">
                <a:pos x="connsiteX71543" y="connsiteY71543"/>
              </a:cxn>
              <a:cxn ang="0">
                <a:pos x="connsiteX71544" y="connsiteY71544"/>
              </a:cxn>
              <a:cxn ang="0">
                <a:pos x="connsiteX71545" y="connsiteY71545"/>
              </a:cxn>
              <a:cxn ang="0">
                <a:pos x="connsiteX71546" y="connsiteY71546"/>
              </a:cxn>
              <a:cxn ang="0">
                <a:pos x="connsiteX71547" y="connsiteY71547"/>
              </a:cxn>
              <a:cxn ang="0">
                <a:pos x="connsiteX71548" y="connsiteY71548"/>
              </a:cxn>
              <a:cxn ang="0">
                <a:pos x="connsiteX71549" y="connsiteY71549"/>
              </a:cxn>
              <a:cxn ang="0">
                <a:pos x="connsiteX71550" y="connsiteY71550"/>
              </a:cxn>
              <a:cxn ang="0">
                <a:pos x="connsiteX71551" y="connsiteY71551"/>
              </a:cxn>
              <a:cxn ang="0">
                <a:pos x="connsiteX71552" y="connsiteY71552"/>
              </a:cxn>
              <a:cxn ang="0">
                <a:pos x="connsiteX71553" y="connsiteY71553"/>
              </a:cxn>
              <a:cxn ang="0">
                <a:pos x="connsiteX71554" y="connsiteY71554"/>
              </a:cxn>
              <a:cxn ang="0">
                <a:pos x="connsiteX71555" y="connsiteY71555"/>
              </a:cxn>
              <a:cxn ang="0">
                <a:pos x="connsiteX71556" y="connsiteY71556"/>
              </a:cxn>
              <a:cxn ang="0">
                <a:pos x="connsiteX71557" y="connsiteY71557"/>
              </a:cxn>
              <a:cxn ang="0">
                <a:pos x="connsiteX71558" y="connsiteY71558"/>
              </a:cxn>
              <a:cxn ang="0">
                <a:pos x="connsiteX71559" y="connsiteY71559"/>
              </a:cxn>
              <a:cxn ang="0">
                <a:pos x="connsiteX71560" y="connsiteY71560"/>
              </a:cxn>
              <a:cxn ang="0">
                <a:pos x="connsiteX71561" y="connsiteY71561"/>
              </a:cxn>
              <a:cxn ang="0">
                <a:pos x="connsiteX71562" y="connsiteY71562"/>
              </a:cxn>
              <a:cxn ang="0">
                <a:pos x="connsiteX71563" y="connsiteY71563"/>
              </a:cxn>
              <a:cxn ang="0">
                <a:pos x="connsiteX71564" y="connsiteY71564"/>
              </a:cxn>
              <a:cxn ang="0">
                <a:pos x="connsiteX71565" y="connsiteY71565"/>
              </a:cxn>
              <a:cxn ang="0">
                <a:pos x="connsiteX71566" y="connsiteY71566"/>
              </a:cxn>
              <a:cxn ang="0">
                <a:pos x="connsiteX71567" y="connsiteY71567"/>
              </a:cxn>
              <a:cxn ang="0">
                <a:pos x="connsiteX71568" y="connsiteY71568"/>
              </a:cxn>
              <a:cxn ang="0">
                <a:pos x="connsiteX71569" y="connsiteY71569"/>
              </a:cxn>
              <a:cxn ang="0">
                <a:pos x="connsiteX71570" y="connsiteY71570"/>
              </a:cxn>
              <a:cxn ang="0">
                <a:pos x="connsiteX71571" y="connsiteY71571"/>
              </a:cxn>
              <a:cxn ang="0">
                <a:pos x="connsiteX71572" y="connsiteY71572"/>
              </a:cxn>
              <a:cxn ang="0">
                <a:pos x="connsiteX71573" y="connsiteY71573"/>
              </a:cxn>
              <a:cxn ang="0">
                <a:pos x="connsiteX71574" y="connsiteY71574"/>
              </a:cxn>
              <a:cxn ang="0">
                <a:pos x="connsiteX71575" y="connsiteY71575"/>
              </a:cxn>
              <a:cxn ang="0">
                <a:pos x="connsiteX71576" y="connsiteY71576"/>
              </a:cxn>
              <a:cxn ang="0">
                <a:pos x="connsiteX71577" y="connsiteY71577"/>
              </a:cxn>
              <a:cxn ang="0">
                <a:pos x="connsiteX71578" y="connsiteY71578"/>
              </a:cxn>
              <a:cxn ang="0">
                <a:pos x="connsiteX71579" y="connsiteY71579"/>
              </a:cxn>
              <a:cxn ang="0">
                <a:pos x="connsiteX71580" y="connsiteY71580"/>
              </a:cxn>
              <a:cxn ang="0">
                <a:pos x="connsiteX71581" y="connsiteY71581"/>
              </a:cxn>
              <a:cxn ang="0">
                <a:pos x="connsiteX71582" y="connsiteY71582"/>
              </a:cxn>
              <a:cxn ang="0">
                <a:pos x="connsiteX71583" y="connsiteY71583"/>
              </a:cxn>
              <a:cxn ang="0">
                <a:pos x="connsiteX71584" y="connsiteY71584"/>
              </a:cxn>
              <a:cxn ang="0">
                <a:pos x="connsiteX71585" y="connsiteY71585"/>
              </a:cxn>
              <a:cxn ang="0">
                <a:pos x="connsiteX71586" y="connsiteY71586"/>
              </a:cxn>
              <a:cxn ang="0">
                <a:pos x="connsiteX71587" y="connsiteY71587"/>
              </a:cxn>
              <a:cxn ang="0">
                <a:pos x="connsiteX71588" y="connsiteY71588"/>
              </a:cxn>
              <a:cxn ang="0">
                <a:pos x="connsiteX71589" y="connsiteY71589"/>
              </a:cxn>
              <a:cxn ang="0">
                <a:pos x="connsiteX71590" y="connsiteY71590"/>
              </a:cxn>
              <a:cxn ang="0">
                <a:pos x="connsiteX71591" y="connsiteY71591"/>
              </a:cxn>
              <a:cxn ang="0">
                <a:pos x="connsiteX71592" y="connsiteY71592"/>
              </a:cxn>
              <a:cxn ang="0">
                <a:pos x="connsiteX71593" y="connsiteY71593"/>
              </a:cxn>
              <a:cxn ang="0">
                <a:pos x="connsiteX71594" y="connsiteY71594"/>
              </a:cxn>
              <a:cxn ang="0">
                <a:pos x="connsiteX71595" y="connsiteY71595"/>
              </a:cxn>
              <a:cxn ang="0">
                <a:pos x="connsiteX71596" y="connsiteY71596"/>
              </a:cxn>
              <a:cxn ang="0">
                <a:pos x="connsiteX71597" y="connsiteY71597"/>
              </a:cxn>
              <a:cxn ang="0">
                <a:pos x="connsiteX71598" y="connsiteY71598"/>
              </a:cxn>
              <a:cxn ang="0">
                <a:pos x="connsiteX71599" y="connsiteY71599"/>
              </a:cxn>
              <a:cxn ang="0">
                <a:pos x="connsiteX71600" y="connsiteY71600"/>
              </a:cxn>
              <a:cxn ang="0">
                <a:pos x="connsiteX71601" y="connsiteY71601"/>
              </a:cxn>
              <a:cxn ang="0">
                <a:pos x="connsiteX71602" y="connsiteY71602"/>
              </a:cxn>
              <a:cxn ang="0">
                <a:pos x="connsiteX71603" y="connsiteY71603"/>
              </a:cxn>
              <a:cxn ang="0">
                <a:pos x="connsiteX71604" y="connsiteY71604"/>
              </a:cxn>
              <a:cxn ang="0">
                <a:pos x="connsiteX71605" y="connsiteY71605"/>
              </a:cxn>
              <a:cxn ang="0">
                <a:pos x="connsiteX71606" y="connsiteY71606"/>
              </a:cxn>
              <a:cxn ang="0">
                <a:pos x="connsiteX71607" y="connsiteY71607"/>
              </a:cxn>
              <a:cxn ang="0">
                <a:pos x="connsiteX71608" y="connsiteY71608"/>
              </a:cxn>
              <a:cxn ang="0">
                <a:pos x="connsiteX71609" y="connsiteY71609"/>
              </a:cxn>
              <a:cxn ang="0">
                <a:pos x="connsiteX71610" y="connsiteY71610"/>
              </a:cxn>
              <a:cxn ang="0">
                <a:pos x="connsiteX71611" y="connsiteY71611"/>
              </a:cxn>
              <a:cxn ang="0">
                <a:pos x="connsiteX71612" y="connsiteY71612"/>
              </a:cxn>
              <a:cxn ang="0">
                <a:pos x="connsiteX71613" y="connsiteY71613"/>
              </a:cxn>
              <a:cxn ang="0">
                <a:pos x="connsiteX71614" y="connsiteY71614"/>
              </a:cxn>
              <a:cxn ang="0">
                <a:pos x="connsiteX71615" y="connsiteY71615"/>
              </a:cxn>
              <a:cxn ang="0">
                <a:pos x="connsiteX71616" y="connsiteY71616"/>
              </a:cxn>
              <a:cxn ang="0">
                <a:pos x="connsiteX71617" y="connsiteY71617"/>
              </a:cxn>
              <a:cxn ang="0">
                <a:pos x="connsiteX71618" y="connsiteY71618"/>
              </a:cxn>
              <a:cxn ang="0">
                <a:pos x="connsiteX71619" y="connsiteY71619"/>
              </a:cxn>
              <a:cxn ang="0">
                <a:pos x="connsiteX71620" y="connsiteY71620"/>
              </a:cxn>
              <a:cxn ang="0">
                <a:pos x="connsiteX71621" y="connsiteY71621"/>
              </a:cxn>
              <a:cxn ang="0">
                <a:pos x="connsiteX71622" y="connsiteY71622"/>
              </a:cxn>
              <a:cxn ang="0">
                <a:pos x="connsiteX71623" y="connsiteY71623"/>
              </a:cxn>
              <a:cxn ang="0">
                <a:pos x="connsiteX71624" y="connsiteY71624"/>
              </a:cxn>
              <a:cxn ang="0">
                <a:pos x="connsiteX71625" y="connsiteY71625"/>
              </a:cxn>
              <a:cxn ang="0">
                <a:pos x="connsiteX71626" y="connsiteY71626"/>
              </a:cxn>
              <a:cxn ang="0">
                <a:pos x="connsiteX71627" y="connsiteY71627"/>
              </a:cxn>
              <a:cxn ang="0">
                <a:pos x="connsiteX71628" y="connsiteY71628"/>
              </a:cxn>
              <a:cxn ang="0">
                <a:pos x="connsiteX71629" y="connsiteY71629"/>
              </a:cxn>
              <a:cxn ang="0">
                <a:pos x="connsiteX71630" y="connsiteY71630"/>
              </a:cxn>
              <a:cxn ang="0">
                <a:pos x="connsiteX71631" y="connsiteY71631"/>
              </a:cxn>
              <a:cxn ang="0">
                <a:pos x="connsiteX71632" y="connsiteY71632"/>
              </a:cxn>
              <a:cxn ang="0">
                <a:pos x="connsiteX71633" y="connsiteY71633"/>
              </a:cxn>
              <a:cxn ang="0">
                <a:pos x="connsiteX71634" y="connsiteY71634"/>
              </a:cxn>
              <a:cxn ang="0">
                <a:pos x="connsiteX71635" y="connsiteY71635"/>
              </a:cxn>
              <a:cxn ang="0">
                <a:pos x="connsiteX71636" y="connsiteY71636"/>
              </a:cxn>
              <a:cxn ang="0">
                <a:pos x="connsiteX71637" y="connsiteY71637"/>
              </a:cxn>
              <a:cxn ang="0">
                <a:pos x="connsiteX71638" y="connsiteY71638"/>
              </a:cxn>
              <a:cxn ang="0">
                <a:pos x="connsiteX71639" y="connsiteY71639"/>
              </a:cxn>
              <a:cxn ang="0">
                <a:pos x="connsiteX71640" y="connsiteY71640"/>
              </a:cxn>
              <a:cxn ang="0">
                <a:pos x="connsiteX71641" y="connsiteY71641"/>
              </a:cxn>
              <a:cxn ang="0">
                <a:pos x="connsiteX71642" y="connsiteY71642"/>
              </a:cxn>
              <a:cxn ang="0">
                <a:pos x="connsiteX71643" y="connsiteY71643"/>
              </a:cxn>
              <a:cxn ang="0">
                <a:pos x="connsiteX71644" y="connsiteY71644"/>
              </a:cxn>
              <a:cxn ang="0">
                <a:pos x="connsiteX71645" y="connsiteY71645"/>
              </a:cxn>
              <a:cxn ang="0">
                <a:pos x="connsiteX71646" y="connsiteY71646"/>
              </a:cxn>
              <a:cxn ang="0">
                <a:pos x="connsiteX71647" y="connsiteY71647"/>
              </a:cxn>
              <a:cxn ang="0">
                <a:pos x="connsiteX71648" y="connsiteY71648"/>
              </a:cxn>
              <a:cxn ang="0">
                <a:pos x="connsiteX71649" y="connsiteY71649"/>
              </a:cxn>
              <a:cxn ang="0">
                <a:pos x="connsiteX71650" y="connsiteY71650"/>
              </a:cxn>
              <a:cxn ang="0">
                <a:pos x="connsiteX71651" y="connsiteY71651"/>
              </a:cxn>
              <a:cxn ang="0">
                <a:pos x="connsiteX71652" y="connsiteY71652"/>
              </a:cxn>
              <a:cxn ang="0">
                <a:pos x="connsiteX71653" y="connsiteY71653"/>
              </a:cxn>
              <a:cxn ang="0">
                <a:pos x="connsiteX71654" y="connsiteY71654"/>
              </a:cxn>
              <a:cxn ang="0">
                <a:pos x="connsiteX71655" y="connsiteY71655"/>
              </a:cxn>
              <a:cxn ang="0">
                <a:pos x="connsiteX71656" y="connsiteY71656"/>
              </a:cxn>
              <a:cxn ang="0">
                <a:pos x="connsiteX71657" y="connsiteY71657"/>
              </a:cxn>
              <a:cxn ang="0">
                <a:pos x="connsiteX71658" y="connsiteY71658"/>
              </a:cxn>
              <a:cxn ang="0">
                <a:pos x="connsiteX71659" y="connsiteY71659"/>
              </a:cxn>
              <a:cxn ang="0">
                <a:pos x="connsiteX71660" y="connsiteY71660"/>
              </a:cxn>
              <a:cxn ang="0">
                <a:pos x="connsiteX71661" y="connsiteY71661"/>
              </a:cxn>
              <a:cxn ang="0">
                <a:pos x="connsiteX71662" y="connsiteY71662"/>
              </a:cxn>
              <a:cxn ang="0">
                <a:pos x="connsiteX71663" y="connsiteY71663"/>
              </a:cxn>
              <a:cxn ang="0">
                <a:pos x="connsiteX71664" y="connsiteY71664"/>
              </a:cxn>
              <a:cxn ang="0">
                <a:pos x="connsiteX71665" y="connsiteY71665"/>
              </a:cxn>
              <a:cxn ang="0">
                <a:pos x="connsiteX71666" y="connsiteY71666"/>
              </a:cxn>
              <a:cxn ang="0">
                <a:pos x="connsiteX71667" y="connsiteY71667"/>
              </a:cxn>
              <a:cxn ang="0">
                <a:pos x="connsiteX71668" y="connsiteY71668"/>
              </a:cxn>
              <a:cxn ang="0">
                <a:pos x="connsiteX71669" y="connsiteY71669"/>
              </a:cxn>
              <a:cxn ang="0">
                <a:pos x="connsiteX71670" y="connsiteY71670"/>
              </a:cxn>
              <a:cxn ang="0">
                <a:pos x="connsiteX71671" y="connsiteY71671"/>
              </a:cxn>
              <a:cxn ang="0">
                <a:pos x="connsiteX71672" y="connsiteY71672"/>
              </a:cxn>
              <a:cxn ang="0">
                <a:pos x="connsiteX71673" y="connsiteY71673"/>
              </a:cxn>
              <a:cxn ang="0">
                <a:pos x="connsiteX71674" y="connsiteY71674"/>
              </a:cxn>
              <a:cxn ang="0">
                <a:pos x="connsiteX71675" y="connsiteY71675"/>
              </a:cxn>
              <a:cxn ang="0">
                <a:pos x="connsiteX71676" y="connsiteY71676"/>
              </a:cxn>
              <a:cxn ang="0">
                <a:pos x="connsiteX71677" y="connsiteY71677"/>
              </a:cxn>
              <a:cxn ang="0">
                <a:pos x="connsiteX71678" y="connsiteY71678"/>
              </a:cxn>
              <a:cxn ang="0">
                <a:pos x="connsiteX71679" y="connsiteY71679"/>
              </a:cxn>
              <a:cxn ang="0">
                <a:pos x="connsiteX71680" y="connsiteY71680"/>
              </a:cxn>
              <a:cxn ang="0">
                <a:pos x="connsiteX71681" y="connsiteY71681"/>
              </a:cxn>
              <a:cxn ang="0">
                <a:pos x="connsiteX71682" y="connsiteY71682"/>
              </a:cxn>
              <a:cxn ang="0">
                <a:pos x="connsiteX71683" y="connsiteY71683"/>
              </a:cxn>
              <a:cxn ang="0">
                <a:pos x="connsiteX71684" y="connsiteY71684"/>
              </a:cxn>
              <a:cxn ang="0">
                <a:pos x="connsiteX71685" y="connsiteY71685"/>
              </a:cxn>
              <a:cxn ang="0">
                <a:pos x="connsiteX71686" y="connsiteY71686"/>
              </a:cxn>
              <a:cxn ang="0">
                <a:pos x="connsiteX71687" y="connsiteY71687"/>
              </a:cxn>
              <a:cxn ang="0">
                <a:pos x="connsiteX71688" y="connsiteY71688"/>
              </a:cxn>
              <a:cxn ang="0">
                <a:pos x="connsiteX71689" y="connsiteY71689"/>
              </a:cxn>
              <a:cxn ang="0">
                <a:pos x="connsiteX71690" y="connsiteY71690"/>
              </a:cxn>
              <a:cxn ang="0">
                <a:pos x="connsiteX71691" y="connsiteY71691"/>
              </a:cxn>
              <a:cxn ang="0">
                <a:pos x="connsiteX71692" y="connsiteY71692"/>
              </a:cxn>
              <a:cxn ang="0">
                <a:pos x="connsiteX71693" y="connsiteY71693"/>
              </a:cxn>
              <a:cxn ang="0">
                <a:pos x="connsiteX71694" y="connsiteY71694"/>
              </a:cxn>
              <a:cxn ang="0">
                <a:pos x="connsiteX71695" y="connsiteY71695"/>
              </a:cxn>
              <a:cxn ang="0">
                <a:pos x="connsiteX71696" y="connsiteY71696"/>
              </a:cxn>
              <a:cxn ang="0">
                <a:pos x="connsiteX71697" y="connsiteY71697"/>
              </a:cxn>
              <a:cxn ang="0">
                <a:pos x="connsiteX71698" y="connsiteY71698"/>
              </a:cxn>
              <a:cxn ang="0">
                <a:pos x="connsiteX71699" y="connsiteY71699"/>
              </a:cxn>
              <a:cxn ang="0">
                <a:pos x="connsiteX71700" y="connsiteY71700"/>
              </a:cxn>
              <a:cxn ang="0">
                <a:pos x="connsiteX71701" y="connsiteY71701"/>
              </a:cxn>
              <a:cxn ang="0">
                <a:pos x="connsiteX71702" y="connsiteY71702"/>
              </a:cxn>
              <a:cxn ang="0">
                <a:pos x="connsiteX71703" y="connsiteY71703"/>
              </a:cxn>
              <a:cxn ang="0">
                <a:pos x="connsiteX71704" y="connsiteY71704"/>
              </a:cxn>
              <a:cxn ang="0">
                <a:pos x="connsiteX71705" y="connsiteY71705"/>
              </a:cxn>
              <a:cxn ang="0">
                <a:pos x="connsiteX71706" y="connsiteY71706"/>
              </a:cxn>
              <a:cxn ang="0">
                <a:pos x="connsiteX71707" y="connsiteY71707"/>
              </a:cxn>
              <a:cxn ang="0">
                <a:pos x="connsiteX71708" y="connsiteY71708"/>
              </a:cxn>
              <a:cxn ang="0">
                <a:pos x="connsiteX71709" y="connsiteY71709"/>
              </a:cxn>
              <a:cxn ang="0">
                <a:pos x="connsiteX71710" y="connsiteY71710"/>
              </a:cxn>
              <a:cxn ang="0">
                <a:pos x="connsiteX71711" y="connsiteY71711"/>
              </a:cxn>
              <a:cxn ang="0">
                <a:pos x="connsiteX71712" y="connsiteY71712"/>
              </a:cxn>
              <a:cxn ang="0">
                <a:pos x="connsiteX71713" y="connsiteY71713"/>
              </a:cxn>
              <a:cxn ang="0">
                <a:pos x="connsiteX71714" y="connsiteY71714"/>
              </a:cxn>
              <a:cxn ang="0">
                <a:pos x="connsiteX71715" y="connsiteY71715"/>
              </a:cxn>
              <a:cxn ang="0">
                <a:pos x="connsiteX71716" y="connsiteY71716"/>
              </a:cxn>
              <a:cxn ang="0">
                <a:pos x="connsiteX71717" y="connsiteY71717"/>
              </a:cxn>
              <a:cxn ang="0">
                <a:pos x="connsiteX71718" y="connsiteY71718"/>
              </a:cxn>
              <a:cxn ang="0">
                <a:pos x="connsiteX71719" y="connsiteY71719"/>
              </a:cxn>
              <a:cxn ang="0">
                <a:pos x="connsiteX71720" y="connsiteY71720"/>
              </a:cxn>
              <a:cxn ang="0">
                <a:pos x="connsiteX71721" y="connsiteY71721"/>
              </a:cxn>
              <a:cxn ang="0">
                <a:pos x="connsiteX71722" y="connsiteY71722"/>
              </a:cxn>
              <a:cxn ang="0">
                <a:pos x="connsiteX71723" y="connsiteY71723"/>
              </a:cxn>
              <a:cxn ang="0">
                <a:pos x="connsiteX71724" y="connsiteY71724"/>
              </a:cxn>
              <a:cxn ang="0">
                <a:pos x="connsiteX71725" y="connsiteY71725"/>
              </a:cxn>
              <a:cxn ang="0">
                <a:pos x="connsiteX71726" y="connsiteY71726"/>
              </a:cxn>
              <a:cxn ang="0">
                <a:pos x="connsiteX71727" y="connsiteY71727"/>
              </a:cxn>
              <a:cxn ang="0">
                <a:pos x="connsiteX71728" y="connsiteY71728"/>
              </a:cxn>
              <a:cxn ang="0">
                <a:pos x="connsiteX71729" y="connsiteY71729"/>
              </a:cxn>
              <a:cxn ang="0">
                <a:pos x="connsiteX71730" y="connsiteY71730"/>
              </a:cxn>
              <a:cxn ang="0">
                <a:pos x="connsiteX71731" y="connsiteY71731"/>
              </a:cxn>
              <a:cxn ang="0">
                <a:pos x="connsiteX71732" y="connsiteY71732"/>
              </a:cxn>
              <a:cxn ang="0">
                <a:pos x="connsiteX71733" y="connsiteY71733"/>
              </a:cxn>
              <a:cxn ang="0">
                <a:pos x="connsiteX71734" y="connsiteY71734"/>
              </a:cxn>
              <a:cxn ang="0">
                <a:pos x="connsiteX71735" y="connsiteY71735"/>
              </a:cxn>
              <a:cxn ang="0">
                <a:pos x="connsiteX71736" y="connsiteY71736"/>
              </a:cxn>
              <a:cxn ang="0">
                <a:pos x="connsiteX71737" y="connsiteY71737"/>
              </a:cxn>
              <a:cxn ang="0">
                <a:pos x="connsiteX71738" y="connsiteY71738"/>
              </a:cxn>
              <a:cxn ang="0">
                <a:pos x="connsiteX71739" y="connsiteY71739"/>
              </a:cxn>
              <a:cxn ang="0">
                <a:pos x="connsiteX71740" y="connsiteY71740"/>
              </a:cxn>
              <a:cxn ang="0">
                <a:pos x="connsiteX71741" y="connsiteY71741"/>
              </a:cxn>
              <a:cxn ang="0">
                <a:pos x="connsiteX71742" y="connsiteY71742"/>
              </a:cxn>
              <a:cxn ang="0">
                <a:pos x="connsiteX71743" y="connsiteY71743"/>
              </a:cxn>
              <a:cxn ang="0">
                <a:pos x="connsiteX71744" y="connsiteY71744"/>
              </a:cxn>
              <a:cxn ang="0">
                <a:pos x="connsiteX71745" y="connsiteY71745"/>
              </a:cxn>
              <a:cxn ang="0">
                <a:pos x="connsiteX71746" y="connsiteY71746"/>
              </a:cxn>
              <a:cxn ang="0">
                <a:pos x="connsiteX71747" y="connsiteY71747"/>
              </a:cxn>
              <a:cxn ang="0">
                <a:pos x="connsiteX71748" y="connsiteY71748"/>
              </a:cxn>
              <a:cxn ang="0">
                <a:pos x="connsiteX71749" y="connsiteY71749"/>
              </a:cxn>
              <a:cxn ang="0">
                <a:pos x="connsiteX71750" y="connsiteY71750"/>
              </a:cxn>
              <a:cxn ang="0">
                <a:pos x="connsiteX71751" y="connsiteY71751"/>
              </a:cxn>
              <a:cxn ang="0">
                <a:pos x="connsiteX71752" y="connsiteY71752"/>
              </a:cxn>
              <a:cxn ang="0">
                <a:pos x="connsiteX71753" y="connsiteY71753"/>
              </a:cxn>
              <a:cxn ang="0">
                <a:pos x="connsiteX71754" y="connsiteY71754"/>
              </a:cxn>
              <a:cxn ang="0">
                <a:pos x="connsiteX71755" y="connsiteY71755"/>
              </a:cxn>
              <a:cxn ang="0">
                <a:pos x="connsiteX71756" y="connsiteY71756"/>
              </a:cxn>
              <a:cxn ang="0">
                <a:pos x="connsiteX71757" y="connsiteY71757"/>
              </a:cxn>
              <a:cxn ang="0">
                <a:pos x="connsiteX71758" y="connsiteY71758"/>
              </a:cxn>
              <a:cxn ang="0">
                <a:pos x="connsiteX71759" y="connsiteY71759"/>
              </a:cxn>
              <a:cxn ang="0">
                <a:pos x="connsiteX71760" y="connsiteY71760"/>
              </a:cxn>
              <a:cxn ang="0">
                <a:pos x="connsiteX71761" y="connsiteY71761"/>
              </a:cxn>
              <a:cxn ang="0">
                <a:pos x="connsiteX71762" y="connsiteY71762"/>
              </a:cxn>
              <a:cxn ang="0">
                <a:pos x="connsiteX71763" y="connsiteY71763"/>
              </a:cxn>
              <a:cxn ang="0">
                <a:pos x="connsiteX71764" y="connsiteY71764"/>
              </a:cxn>
              <a:cxn ang="0">
                <a:pos x="connsiteX71765" y="connsiteY71765"/>
              </a:cxn>
              <a:cxn ang="0">
                <a:pos x="connsiteX71766" y="connsiteY71766"/>
              </a:cxn>
              <a:cxn ang="0">
                <a:pos x="connsiteX71767" y="connsiteY71767"/>
              </a:cxn>
              <a:cxn ang="0">
                <a:pos x="connsiteX71768" y="connsiteY71768"/>
              </a:cxn>
              <a:cxn ang="0">
                <a:pos x="connsiteX71769" y="connsiteY71769"/>
              </a:cxn>
              <a:cxn ang="0">
                <a:pos x="connsiteX71770" y="connsiteY71770"/>
              </a:cxn>
              <a:cxn ang="0">
                <a:pos x="connsiteX71771" y="connsiteY71771"/>
              </a:cxn>
              <a:cxn ang="0">
                <a:pos x="connsiteX71772" y="connsiteY71772"/>
              </a:cxn>
              <a:cxn ang="0">
                <a:pos x="connsiteX71773" y="connsiteY71773"/>
              </a:cxn>
              <a:cxn ang="0">
                <a:pos x="connsiteX71774" y="connsiteY71774"/>
              </a:cxn>
              <a:cxn ang="0">
                <a:pos x="connsiteX71775" y="connsiteY71775"/>
              </a:cxn>
              <a:cxn ang="0">
                <a:pos x="connsiteX71776" y="connsiteY71776"/>
              </a:cxn>
              <a:cxn ang="0">
                <a:pos x="connsiteX71777" y="connsiteY71777"/>
              </a:cxn>
              <a:cxn ang="0">
                <a:pos x="connsiteX71778" y="connsiteY71778"/>
              </a:cxn>
              <a:cxn ang="0">
                <a:pos x="connsiteX71779" y="connsiteY71779"/>
              </a:cxn>
              <a:cxn ang="0">
                <a:pos x="connsiteX71780" y="connsiteY71780"/>
              </a:cxn>
              <a:cxn ang="0">
                <a:pos x="connsiteX71781" y="connsiteY71781"/>
              </a:cxn>
              <a:cxn ang="0">
                <a:pos x="connsiteX71782" y="connsiteY71782"/>
              </a:cxn>
              <a:cxn ang="0">
                <a:pos x="connsiteX71783" y="connsiteY71783"/>
              </a:cxn>
              <a:cxn ang="0">
                <a:pos x="connsiteX71784" y="connsiteY71784"/>
              </a:cxn>
              <a:cxn ang="0">
                <a:pos x="connsiteX71785" y="connsiteY71785"/>
              </a:cxn>
              <a:cxn ang="0">
                <a:pos x="connsiteX71786" y="connsiteY71786"/>
              </a:cxn>
              <a:cxn ang="0">
                <a:pos x="connsiteX71787" y="connsiteY71787"/>
              </a:cxn>
              <a:cxn ang="0">
                <a:pos x="connsiteX71788" y="connsiteY71788"/>
              </a:cxn>
              <a:cxn ang="0">
                <a:pos x="connsiteX71789" y="connsiteY71789"/>
              </a:cxn>
              <a:cxn ang="0">
                <a:pos x="connsiteX71790" y="connsiteY71790"/>
              </a:cxn>
              <a:cxn ang="0">
                <a:pos x="connsiteX71791" y="connsiteY71791"/>
              </a:cxn>
              <a:cxn ang="0">
                <a:pos x="connsiteX71792" y="connsiteY71792"/>
              </a:cxn>
              <a:cxn ang="0">
                <a:pos x="connsiteX71793" y="connsiteY71793"/>
              </a:cxn>
              <a:cxn ang="0">
                <a:pos x="connsiteX71794" y="connsiteY71794"/>
              </a:cxn>
              <a:cxn ang="0">
                <a:pos x="connsiteX71795" y="connsiteY71795"/>
              </a:cxn>
              <a:cxn ang="0">
                <a:pos x="connsiteX71796" y="connsiteY71796"/>
              </a:cxn>
              <a:cxn ang="0">
                <a:pos x="connsiteX71797" y="connsiteY71797"/>
              </a:cxn>
              <a:cxn ang="0">
                <a:pos x="connsiteX71798" y="connsiteY71798"/>
              </a:cxn>
              <a:cxn ang="0">
                <a:pos x="connsiteX71799" y="connsiteY71799"/>
              </a:cxn>
              <a:cxn ang="0">
                <a:pos x="connsiteX71800" y="connsiteY71800"/>
              </a:cxn>
              <a:cxn ang="0">
                <a:pos x="connsiteX71801" y="connsiteY71801"/>
              </a:cxn>
              <a:cxn ang="0">
                <a:pos x="connsiteX71802" y="connsiteY71802"/>
              </a:cxn>
              <a:cxn ang="0">
                <a:pos x="connsiteX71803" y="connsiteY71803"/>
              </a:cxn>
              <a:cxn ang="0">
                <a:pos x="connsiteX71804" y="connsiteY71804"/>
              </a:cxn>
              <a:cxn ang="0">
                <a:pos x="connsiteX71805" y="connsiteY71805"/>
              </a:cxn>
              <a:cxn ang="0">
                <a:pos x="connsiteX71806" y="connsiteY71806"/>
              </a:cxn>
              <a:cxn ang="0">
                <a:pos x="connsiteX71807" y="connsiteY71807"/>
              </a:cxn>
              <a:cxn ang="0">
                <a:pos x="connsiteX71808" y="connsiteY71808"/>
              </a:cxn>
              <a:cxn ang="0">
                <a:pos x="connsiteX71809" y="connsiteY71809"/>
              </a:cxn>
              <a:cxn ang="0">
                <a:pos x="connsiteX71810" y="connsiteY71810"/>
              </a:cxn>
              <a:cxn ang="0">
                <a:pos x="connsiteX71811" y="connsiteY71811"/>
              </a:cxn>
              <a:cxn ang="0">
                <a:pos x="connsiteX71812" y="connsiteY71812"/>
              </a:cxn>
              <a:cxn ang="0">
                <a:pos x="connsiteX71813" y="connsiteY71813"/>
              </a:cxn>
              <a:cxn ang="0">
                <a:pos x="connsiteX71814" y="connsiteY71814"/>
              </a:cxn>
              <a:cxn ang="0">
                <a:pos x="connsiteX71815" y="connsiteY71815"/>
              </a:cxn>
              <a:cxn ang="0">
                <a:pos x="connsiteX71816" y="connsiteY71816"/>
              </a:cxn>
              <a:cxn ang="0">
                <a:pos x="connsiteX71817" y="connsiteY71817"/>
              </a:cxn>
              <a:cxn ang="0">
                <a:pos x="connsiteX71818" y="connsiteY71818"/>
              </a:cxn>
              <a:cxn ang="0">
                <a:pos x="connsiteX71819" y="connsiteY71819"/>
              </a:cxn>
              <a:cxn ang="0">
                <a:pos x="connsiteX71820" y="connsiteY71820"/>
              </a:cxn>
              <a:cxn ang="0">
                <a:pos x="connsiteX71821" y="connsiteY71821"/>
              </a:cxn>
              <a:cxn ang="0">
                <a:pos x="connsiteX71822" y="connsiteY71822"/>
              </a:cxn>
              <a:cxn ang="0">
                <a:pos x="connsiteX71823" y="connsiteY71823"/>
              </a:cxn>
              <a:cxn ang="0">
                <a:pos x="connsiteX71824" y="connsiteY71824"/>
              </a:cxn>
              <a:cxn ang="0">
                <a:pos x="connsiteX71825" y="connsiteY71825"/>
              </a:cxn>
              <a:cxn ang="0">
                <a:pos x="connsiteX71826" y="connsiteY71826"/>
              </a:cxn>
              <a:cxn ang="0">
                <a:pos x="connsiteX71827" y="connsiteY71827"/>
              </a:cxn>
              <a:cxn ang="0">
                <a:pos x="connsiteX71828" y="connsiteY71828"/>
              </a:cxn>
              <a:cxn ang="0">
                <a:pos x="connsiteX71829" y="connsiteY71829"/>
              </a:cxn>
              <a:cxn ang="0">
                <a:pos x="connsiteX71830" y="connsiteY71830"/>
              </a:cxn>
              <a:cxn ang="0">
                <a:pos x="connsiteX71831" y="connsiteY71831"/>
              </a:cxn>
              <a:cxn ang="0">
                <a:pos x="connsiteX71832" y="connsiteY71832"/>
              </a:cxn>
              <a:cxn ang="0">
                <a:pos x="connsiteX71833" y="connsiteY71833"/>
              </a:cxn>
              <a:cxn ang="0">
                <a:pos x="connsiteX71834" y="connsiteY71834"/>
              </a:cxn>
              <a:cxn ang="0">
                <a:pos x="connsiteX71835" y="connsiteY71835"/>
              </a:cxn>
              <a:cxn ang="0">
                <a:pos x="connsiteX71836" y="connsiteY71836"/>
              </a:cxn>
              <a:cxn ang="0">
                <a:pos x="connsiteX71837" y="connsiteY71837"/>
              </a:cxn>
              <a:cxn ang="0">
                <a:pos x="connsiteX71838" y="connsiteY71838"/>
              </a:cxn>
              <a:cxn ang="0">
                <a:pos x="connsiteX71839" y="connsiteY71839"/>
              </a:cxn>
              <a:cxn ang="0">
                <a:pos x="connsiteX71840" y="connsiteY71840"/>
              </a:cxn>
              <a:cxn ang="0">
                <a:pos x="connsiteX71841" y="connsiteY71841"/>
              </a:cxn>
              <a:cxn ang="0">
                <a:pos x="connsiteX71842" y="connsiteY71842"/>
              </a:cxn>
              <a:cxn ang="0">
                <a:pos x="connsiteX71843" y="connsiteY71843"/>
              </a:cxn>
              <a:cxn ang="0">
                <a:pos x="connsiteX71844" y="connsiteY71844"/>
              </a:cxn>
              <a:cxn ang="0">
                <a:pos x="connsiteX71845" y="connsiteY71845"/>
              </a:cxn>
              <a:cxn ang="0">
                <a:pos x="connsiteX71846" y="connsiteY71846"/>
              </a:cxn>
              <a:cxn ang="0">
                <a:pos x="connsiteX71847" y="connsiteY71847"/>
              </a:cxn>
              <a:cxn ang="0">
                <a:pos x="connsiteX71848" y="connsiteY71848"/>
              </a:cxn>
              <a:cxn ang="0">
                <a:pos x="connsiteX71849" y="connsiteY71849"/>
              </a:cxn>
              <a:cxn ang="0">
                <a:pos x="connsiteX71850" y="connsiteY71850"/>
              </a:cxn>
              <a:cxn ang="0">
                <a:pos x="connsiteX71851" y="connsiteY71851"/>
              </a:cxn>
              <a:cxn ang="0">
                <a:pos x="connsiteX71852" y="connsiteY71852"/>
              </a:cxn>
              <a:cxn ang="0">
                <a:pos x="connsiteX71853" y="connsiteY71853"/>
              </a:cxn>
              <a:cxn ang="0">
                <a:pos x="connsiteX71854" y="connsiteY71854"/>
              </a:cxn>
              <a:cxn ang="0">
                <a:pos x="connsiteX71855" y="connsiteY71855"/>
              </a:cxn>
              <a:cxn ang="0">
                <a:pos x="connsiteX71856" y="connsiteY71856"/>
              </a:cxn>
              <a:cxn ang="0">
                <a:pos x="connsiteX71857" y="connsiteY71857"/>
              </a:cxn>
              <a:cxn ang="0">
                <a:pos x="connsiteX71858" y="connsiteY71858"/>
              </a:cxn>
              <a:cxn ang="0">
                <a:pos x="connsiteX71859" y="connsiteY71859"/>
              </a:cxn>
              <a:cxn ang="0">
                <a:pos x="connsiteX71860" y="connsiteY71860"/>
              </a:cxn>
              <a:cxn ang="0">
                <a:pos x="connsiteX71861" y="connsiteY71861"/>
              </a:cxn>
              <a:cxn ang="0">
                <a:pos x="connsiteX71862" y="connsiteY71862"/>
              </a:cxn>
              <a:cxn ang="0">
                <a:pos x="connsiteX71863" y="connsiteY71863"/>
              </a:cxn>
              <a:cxn ang="0">
                <a:pos x="connsiteX71864" y="connsiteY71864"/>
              </a:cxn>
              <a:cxn ang="0">
                <a:pos x="connsiteX71865" y="connsiteY71865"/>
              </a:cxn>
              <a:cxn ang="0">
                <a:pos x="connsiteX71866" y="connsiteY71866"/>
              </a:cxn>
              <a:cxn ang="0">
                <a:pos x="connsiteX71867" y="connsiteY71867"/>
              </a:cxn>
              <a:cxn ang="0">
                <a:pos x="connsiteX71868" y="connsiteY71868"/>
              </a:cxn>
              <a:cxn ang="0">
                <a:pos x="connsiteX71869" y="connsiteY71869"/>
              </a:cxn>
              <a:cxn ang="0">
                <a:pos x="connsiteX71870" y="connsiteY71870"/>
              </a:cxn>
              <a:cxn ang="0">
                <a:pos x="connsiteX71871" y="connsiteY71871"/>
              </a:cxn>
              <a:cxn ang="0">
                <a:pos x="connsiteX71872" y="connsiteY71872"/>
              </a:cxn>
              <a:cxn ang="0">
                <a:pos x="connsiteX71873" y="connsiteY71873"/>
              </a:cxn>
              <a:cxn ang="0">
                <a:pos x="connsiteX71874" y="connsiteY71874"/>
              </a:cxn>
              <a:cxn ang="0">
                <a:pos x="connsiteX71875" y="connsiteY71875"/>
              </a:cxn>
              <a:cxn ang="0">
                <a:pos x="connsiteX71876" y="connsiteY71876"/>
              </a:cxn>
              <a:cxn ang="0">
                <a:pos x="connsiteX71877" y="connsiteY71877"/>
              </a:cxn>
              <a:cxn ang="0">
                <a:pos x="connsiteX71878" y="connsiteY71878"/>
              </a:cxn>
              <a:cxn ang="0">
                <a:pos x="connsiteX71879" y="connsiteY71879"/>
              </a:cxn>
              <a:cxn ang="0">
                <a:pos x="connsiteX71880" y="connsiteY71880"/>
              </a:cxn>
              <a:cxn ang="0">
                <a:pos x="connsiteX71881" y="connsiteY71881"/>
              </a:cxn>
              <a:cxn ang="0">
                <a:pos x="connsiteX71882" y="connsiteY71882"/>
              </a:cxn>
              <a:cxn ang="0">
                <a:pos x="connsiteX71883" y="connsiteY71883"/>
              </a:cxn>
              <a:cxn ang="0">
                <a:pos x="connsiteX71884" y="connsiteY71884"/>
              </a:cxn>
              <a:cxn ang="0">
                <a:pos x="connsiteX71885" y="connsiteY71885"/>
              </a:cxn>
              <a:cxn ang="0">
                <a:pos x="connsiteX71886" y="connsiteY71886"/>
              </a:cxn>
              <a:cxn ang="0">
                <a:pos x="connsiteX71887" y="connsiteY71887"/>
              </a:cxn>
              <a:cxn ang="0">
                <a:pos x="connsiteX71888" y="connsiteY71888"/>
              </a:cxn>
              <a:cxn ang="0">
                <a:pos x="connsiteX71889" y="connsiteY71889"/>
              </a:cxn>
              <a:cxn ang="0">
                <a:pos x="connsiteX71890" y="connsiteY71890"/>
              </a:cxn>
              <a:cxn ang="0">
                <a:pos x="connsiteX71891" y="connsiteY71891"/>
              </a:cxn>
              <a:cxn ang="0">
                <a:pos x="connsiteX71892" y="connsiteY71892"/>
              </a:cxn>
              <a:cxn ang="0">
                <a:pos x="connsiteX71893" y="connsiteY71893"/>
              </a:cxn>
              <a:cxn ang="0">
                <a:pos x="connsiteX71894" y="connsiteY71894"/>
              </a:cxn>
              <a:cxn ang="0">
                <a:pos x="connsiteX71895" y="connsiteY71895"/>
              </a:cxn>
              <a:cxn ang="0">
                <a:pos x="connsiteX71896" y="connsiteY71896"/>
              </a:cxn>
              <a:cxn ang="0">
                <a:pos x="connsiteX71897" y="connsiteY71897"/>
              </a:cxn>
              <a:cxn ang="0">
                <a:pos x="connsiteX71898" y="connsiteY71898"/>
              </a:cxn>
              <a:cxn ang="0">
                <a:pos x="connsiteX71899" y="connsiteY71899"/>
              </a:cxn>
              <a:cxn ang="0">
                <a:pos x="connsiteX71900" y="connsiteY71900"/>
              </a:cxn>
              <a:cxn ang="0">
                <a:pos x="connsiteX71901" y="connsiteY71901"/>
              </a:cxn>
              <a:cxn ang="0">
                <a:pos x="connsiteX71902" y="connsiteY71902"/>
              </a:cxn>
              <a:cxn ang="0">
                <a:pos x="connsiteX71903" y="connsiteY71903"/>
              </a:cxn>
              <a:cxn ang="0">
                <a:pos x="connsiteX71904" y="connsiteY71904"/>
              </a:cxn>
              <a:cxn ang="0">
                <a:pos x="connsiteX71905" y="connsiteY71905"/>
              </a:cxn>
              <a:cxn ang="0">
                <a:pos x="connsiteX71906" y="connsiteY71906"/>
              </a:cxn>
              <a:cxn ang="0">
                <a:pos x="connsiteX71907" y="connsiteY71907"/>
              </a:cxn>
              <a:cxn ang="0">
                <a:pos x="connsiteX71908" y="connsiteY71908"/>
              </a:cxn>
              <a:cxn ang="0">
                <a:pos x="connsiteX71909" y="connsiteY71909"/>
              </a:cxn>
              <a:cxn ang="0">
                <a:pos x="connsiteX71910" y="connsiteY71910"/>
              </a:cxn>
              <a:cxn ang="0">
                <a:pos x="connsiteX71911" y="connsiteY71911"/>
              </a:cxn>
              <a:cxn ang="0">
                <a:pos x="connsiteX71912" y="connsiteY71912"/>
              </a:cxn>
              <a:cxn ang="0">
                <a:pos x="connsiteX71913" y="connsiteY71913"/>
              </a:cxn>
              <a:cxn ang="0">
                <a:pos x="connsiteX71914" y="connsiteY71914"/>
              </a:cxn>
              <a:cxn ang="0">
                <a:pos x="connsiteX71915" y="connsiteY71915"/>
              </a:cxn>
              <a:cxn ang="0">
                <a:pos x="connsiteX71916" y="connsiteY71916"/>
              </a:cxn>
              <a:cxn ang="0">
                <a:pos x="connsiteX71917" y="connsiteY71917"/>
              </a:cxn>
              <a:cxn ang="0">
                <a:pos x="connsiteX71918" y="connsiteY71918"/>
              </a:cxn>
              <a:cxn ang="0">
                <a:pos x="connsiteX71919" y="connsiteY71919"/>
              </a:cxn>
              <a:cxn ang="0">
                <a:pos x="connsiteX71920" y="connsiteY71920"/>
              </a:cxn>
              <a:cxn ang="0">
                <a:pos x="connsiteX71921" y="connsiteY71921"/>
              </a:cxn>
              <a:cxn ang="0">
                <a:pos x="connsiteX71922" y="connsiteY71922"/>
              </a:cxn>
              <a:cxn ang="0">
                <a:pos x="connsiteX71923" y="connsiteY71923"/>
              </a:cxn>
              <a:cxn ang="0">
                <a:pos x="connsiteX71924" y="connsiteY71924"/>
              </a:cxn>
              <a:cxn ang="0">
                <a:pos x="connsiteX71925" y="connsiteY71925"/>
              </a:cxn>
              <a:cxn ang="0">
                <a:pos x="connsiteX71926" y="connsiteY71926"/>
              </a:cxn>
              <a:cxn ang="0">
                <a:pos x="connsiteX71927" y="connsiteY71927"/>
              </a:cxn>
              <a:cxn ang="0">
                <a:pos x="connsiteX71928" y="connsiteY71928"/>
              </a:cxn>
              <a:cxn ang="0">
                <a:pos x="connsiteX71929" y="connsiteY71929"/>
              </a:cxn>
              <a:cxn ang="0">
                <a:pos x="connsiteX71930" y="connsiteY71930"/>
              </a:cxn>
              <a:cxn ang="0">
                <a:pos x="connsiteX71931" y="connsiteY71931"/>
              </a:cxn>
              <a:cxn ang="0">
                <a:pos x="connsiteX71932" y="connsiteY71932"/>
              </a:cxn>
              <a:cxn ang="0">
                <a:pos x="connsiteX71933" y="connsiteY71933"/>
              </a:cxn>
              <a:cxn ang="0">
                <a:pos x="connsiteX71934" y="connsiteY71934"/>
              </a:cxn>
              <a:cxn ang="0">
                <a:pos x="connsiteX71935" y="connsiteY71935"/>
              </a:cxn>
              <a:cxn ang="0">
                <a:pos x="connsiteX71936" y="connsiteY71936"/>
              </a:cxn>
              <a:cxn ang="0">
                <a:pos x="connsiteX71937" y="connsiteY71937"/>
              </a:cxn>
              <a:cxn ang="0">
                <a:pos x="connsiteX71938" y="connsiteY71938"/>
              </a:cxn>
              <a:cxn ang="0">
                <a:pos x="connsiteX71939" y="connsiteY71939"/>
              </a:cxn>
              <a:cxn ang="0">
                <a:pos x="connsiteX71940" y="connsiteY71940"/>
              </a:cxn>
              <a:cxn ang="0">
                <a:pos x="connsiteX71941" y="connsiteY71941"/>
              </a:cxn>
              <a:cxn ang="0">
                <a:pos x="connsiteX71942" y="connsiteY71942"/>
              </a:cxn>
              <a:cxn ang="0">
                <a:pos x="connsiteX71943" y="connsiteY71943"/>
              </a:cxn>
              <a:cxn ang="0">
                <a:pos x="connsiteX71944" y="connsiteY71944"/>
              </a:cxn>
              <a:cxn ang="0">
                <a:pos x="connsiteX71945" y="connsiteY71945"/>
              </a:cxn>
              <a:cxn ang="0">
                <a:pos x="connsiteX71946" y="connsiteY71946"/>
              </a:cxn>
              <a:cxn ang="0">
                <a:pos x="connsiteX71947" y="connsiteY71947"/>
              </a:cxn>
              <a:cxn ang="0">
                <a:pos x="connsiteX71948" y="connsiteY71948"/>
              </a:cxn>
              <a:cxn ang="0">
                <a:pos x="connsiteX71949" y="connsiteY71949"/>
              </a:cxn>
              <a:cxn ang="0">
                <a:pos x="connsiteX71950" y="connsiteY71950"/>
              </a:cxn>
              <a:cxn ang="0">
                <a:pos x="connsiteX71951" y="connsiteY71951"/>
              </a:cxn>
              <a:cxn ang="0">
                <a:pos x="connsiteX71952" y="connsiteY71952"/>
              </a:cxn>
              <a:cxn ang="0">
                <a:pos x="connsiteX71953" y="connsiteY71953"/>
              </a:cxn>
              <a:cxn ang="0">
                <a:pos x="connsiteX71954" y="connsiteY71954"/>
              </a:cxn>
              <a:cxn ang="0">
                <a:pos x="connsiteX71955" y="connsiteY71955"/>
              </a:cxn>
              <a:cxn ang="0">
                <a:pos x="connsiteX71956" y="connsiteY71956"/>
              </a:cxn>
              <a:cxn ang="0">
                <a:pos x="connsiteX71957" y="connsiteY71957"/>
              </a:cxn>
              <a:cxn ang="0">
                <a:pos x="connsiteX71958" y="connsiteY71958"/>
              </a:cxn>
              <a:cxn ang="0">
                <a:pos x="connsiteX71959" y="connsiteY71959"/>
              </a:cxn>
              <a:cxn ang="0">
                <a:pos x="connsiteX71960" y="connsiteY71960"/>
              </a:cxn>
              <a:cxn ang="0">
                <a:pos x="connsiteX71961" y="connsiteY71961"/>
              </a:cxn>
              <a:cxn ang="0">
                <a:pos x="connsiteX71962" y="connsiteY71962"/>
              </a:cxn>
              <a:cxn ang="0">
                <a:pos x="connsiteX71963" y="connsiteY71963"/>
              </a:cxn>
              <a:cxn ang="0">
                <a:pos x="connsiteX71964" y="connsiteY71964"/>
              </a:cxn>
              <a:cxn ang="0">
                <a:pos x="connsiteX71965" y="connsiteY71965"/>
              </a:cxn>
              <a:cxn ang="0">
                <a:pos x="connsiteX71966" y="connsiteY71966"/>
              </a:cxn>
              <a:cxn ang="0">
                <a:pos x="connsiteX71967" y="connsiteY71967"/>
              </a:cxn>
              <a:cxn ang="0">
                <a:pos x="connsiteX71968" y="connsiteY71968"/>
              </a:cxn>
              <a:cxn ang="0">
                <a:pos x="connsiteX71969" y="connsiteY71969"/>
              </a:cxn>
              <a:cxn ang="0">
                <a:pos x="connsiteX71970" y="connsiteY71970"/>
              </a:cxn>
              <a:cxn ang="0">
                <a:pos x="connsiteX71971" y="connsiteY71971"/>
              </a:cxn>
              <a:cxn ang="0">
                <a:pos x="connsiteX71972" y="connsiteY71972"/>
              </a:cxn>
              <a:cxn ang="0">
                <a:pos x="connsiteX71973" y="connsiteY71973"/>
              </a:cxn>
              <a:cxn ang="0">
                <a:pos x="connsiteX71974" y="connsiteY71974"/>
              </a:cxn>
              <a:cxn ang="0">
                <a:pos x="connsiteX71975" y="connsiteY71975"/>
              </a:cxn>
              <a:cxn ang="0">
                <a:pos x="connsiteX71976" y="connsiteY71976"/>
              </a:cxn>
              <a:cxn ang="0">
                <a:pos x="connsiteX71977" y="connsiteY71977"/>
              </a:cxn>
              <a:cxn ang="0">
                <a:pos x="connsiteX71978" y="connsiteY71978"/>
              </a:cxn>
              <a:cxn ang="0">
                <a:pos x="connsiteX71979" y="connsiteY71979"/>
              </a:cxn>
              <a:cxn ang="0">
                <a:pos x="connsiteX71980" y="connsiteY71980"/>
              </a:cxn>
              <a:cxn ang="0">
                <a:pos x="connsiteX71981" y="connsiteY71981"/>
              </a:cxn>
              <a:cxn ang="0">
                <a:pos x="connsiteX71982" y="connsiteY71982"/>
              </a:cxn>
              <a:cxn ang="0">
                <a:pos x="connsiteX71983" y="connsiteY71983"/>
              </a:cxn>
              <a:cxn ang="0">
                <a:pos x="connsiteX71984" y="connsiteY71984"/>
              </a:cxn>
              <a:cxn ang="0">
                <a:pos x="connsiteX71985" y="connsiteY71985"/>
              </a:cxn>
              <a:cxn ang="0">
                <a:pos x="connsiteX71986" y="connsiteY71986"/>
              </a:cxn>
              <a:cxn ang="0">
                <a:pos x="connsiteX71987" y="connsiteY71987"/>
              </a:cxn>
              <a:cxn ang="0">
                <a:pos x="connsiteX71988" y="connsiteY71988"/>
              </a:cxn>
              <a:cxn ang="0">
                <a:pos x="connsiteX71989" y="connsiteY71989"/>
              </a:cxn>
              <a:cxn ang="0">
                <a:pos x="connsiteX71990" y="connsiteY71990"/>
              </a:cxn>
              <a:cxn ang="0">
                <a:pos x="connsiteX71991" y="connsiteY71991"/>
              </a:cxn>
              <a:cxn ang="0">
                <a:pos x="connsiteX71992" y="connsiteY71992"/>
              </a:cxn>
              <a:cxn ang="0">
                <a:pos x="connsiteX71993" y="connsiteY71993"/>
              </a:cxn>
              <a:cxn ang="0">
                <a:pos x="connsiteX71994" y="connsiteY71994"/>
              </a:cxn>
              <a:cxn ang="0">
                <a:pos x="connsiteX71995" y="connsiteY71995"/>
              </a:cxn>
              <a:cxn ang="0">
                <a:pos x="connsiteX71996" y="connsiteY71996"/>
              </a:cxn>
              <a:cxn ang="0">
                <a:pos x="connsiteX71997" y="connsiteY71997"/>
              </a:cxn>
              <a:cxn ang="0">
                <a:pos x="connsiteX71998" y="connsiteY71998"/>
              </a:cxn>
              <a:cxn ang="0">
                <a:pos x="connsiteX71999" y="connsiteY71999"/>
              </a:cxn>
              <a:cxn ang="0">
                <a:pos x="connsiteX72000" y="connsiteY72000"/>
              </a:cxn>
              <a:cxn ang="0">
                <a:pos x="connsiteX72001" y="connsiteY72001"/>
              </a:cxn>
              <a:cxn ang="0">
                <a:pos x="connsiteX72002" y="connsiteY72002"/>
              </a:cxn>
              <a:cxn ang="0">
                <a:pos x="connsiteX72003" y="connsiteY72003"/>
              </a:cxn>
              <a:cxn ang="0">
                <a:pos x="connsiteX72004" y="connsiteY72004"/>
              </a:cxn>
              <a:cxn ang="0">
                <a:pos x="connsiteX72005" y="connsiteY72005"/>
              </a:cxn>
              <a:cxn ang="0">
                <a:pos x="connsiteX72006" y="connsiteY72006"/>
              </a:cxn>
              <a:cxn ang="0">
                <a:pos x="connsiteX72007" y="connsiteY72007"/>
              </a:cxn>
              <a:cxn ang="0">
                <a:pos x="connsiteX72008" y="connsiteY72008"/>
              </a:cxn>
              <a:cxn ang="0">
                <a:pos x="connsiteX72009" y="connsiteY72009"/>
              </a:cxn>
              <a:cxn ang="0">
                <a:pos x="connsiteX72010" y="connsiteY72010"/>
              </a:cxn>
              <a:cxn ang="0">
                <a:pos x="connsiteX72011" y="connsiteY72011"/>
              </a:cxn>
              <a:cxn ang="0">
                <a:pos x="connsiteX72012" y="connsiteY72012"/>
              </a:cxn>
              <a:cxn ang="0">
                <a:pos x="connsiteX72013" y="connsiteY72013"/>
              </a:cxn>
              <a:cxn ang="0">
                <a:pos x="connsiteX72014" y="connsiteY72014"/>
              </a:cxn>
              <a:cxn ang="0">
                <a:pos x="connsiteX72015" y="connsiteY72015"/>
              </a:cxn>
              <a:cxn ang="0">
                <a:pos x="connsiteX72016" y="connsiteY72016"/>
              </a:cxn>
              <a:cxn ang="0">
                <a:pos x="connsiteX72017" y="connsiteY72017"/>
              </a:cxn>
              <a:cxn ang="0">
                <a:pos x="connsiteX72018" y="connsiteY72018"/>
              </a:cxn>
              <a:cxn ang="0">
                <a:pos x="connsiteX72019" y="connsiteY72019"/>
              </a:cxn>
              <a:cxn ang="0">
                <a:pos x="connsiteX72020" y="connsiteY72020"/>
              </a:cxn>
              <a:cxn ang="0">
                <a:pos x="connsiteX72021" y="connsiteY72021"/>
              </a:cxn>
              <a:cxn ang="0">
                <a:pos x="connsiteX72022" y="connsiteY72022"/>
              </a:cxn>
              <a:cxn ang="0">
                <a:pos x="connsiteX72023" y="connsiteY72023"/>
              </a:cxn>
              <a:cxn ang="0">
                <a:pos x="connsiteX72024" y="connsiteY72024"/>
              </a:cxn>
              <a:cxn ang="0">
                <a:pos x="connsiteX72025" y="connsiteY72025"/>
              </a:cxn>
              <a:cxn ang="0">
                <a:pos x="connsiteX72026" y="connsiteY72026"/>
              </a:cxn>
              <a:cxn ang="0">
                <a:pos x="connsiteX72027" y="connsiteY72027"/>
              </a:cxn>
              <a:cxn ang="0">
                <a:pos x="connsiteX72028" y="connsiteY72028"/>
              </a:cxn>
              <a:cxn ang="0">
                <a:pos x="connsiteX72029" y="connsiteY72029"/>
              </a:cxn>
              <a:cxn ang="0">
                <a:pos x="connsiteX72030" y="connsiteY72030"/>
              </a:cxn>
              <a:cxn ang="0">
                <a:pos x="connsiteX72031" y="connsiteY72031"/>
              </a:cxn>
              <a:cxn ang="0">
                <a:pos x="connsiteX72032" y="connsiteY72032"/>
              </a:cxn>
              <a:cxn ang="0">
                <a:pos x="connsiteX72033" y="connsiteY72033"/>
              </a:cxn>
              <a:cxn ang="0">
                <a:pos x="connsiteX72034" y="connsiteY72034"/>
              </a:cxn>
              <a:cxn ang="0">
                <a:pos x="connsiteX72035" y="connsiteY72035"/>
              </a:cxn>
              <a:cxn ang="0">
                <a:pos x="connsiteX72036" y="connsiteY72036"/>
              </a:cxn>
              <a:cxn ang="0">
                <a:pos x="connsiteX72037" y="connsiteY72037"/>
              </a:cxn>
              <a:cxn ang="0">
                <a:pos x="connsiteX72038" y="connsiteY72038"/>
              </a:cxn>
              <a:cxn ang="0">
                <a:pos x="connsiteX72039" y="connsiteY72039"/>
              </a:cxn>
              <a:cxn ang="0">
                <a:pos x="connsiteX72040" y="connsiteY72040"/>
              </a:cxn>
              <a:cxn ang="0">
                <a:pos x="connsiteX72041" y="connsiteY72041"/>
              </a:cxn>
              <a:cxn ang="0">
                <a:pos x="connsiteX72042" y="connsiteY72042"/>
              </a:cxn>
              <a:cxn ang="0">
                <a:pos x="connsiteX72043" y="connsiteY72043"/>
              </a:cxn>
              <a:cxn ang="0">
                <a:pos x="connsiteX72044" y="connsiteY72044"/>
              </a:cxn>
              <a:cxn ang="0">
                <a:pos x="connsiteX72045" y="connsiteY72045"/>
              </a:cxn>
              <a:cxn ang="0">
                <a:pos x="connsiteX72046" y="connsiteY72046"/>
              </a:cxn>
              <a:cxn ang="0">
                <a:pos x="connsiteX72047" y="connsiteY72047"/>
              </a:cxn>
              <a:cxn ang="0">
                <a:pos x="connsiteX72048" y="connsiteY72048"/>
              </a:cxn>
              <a:cxn ang="0">
                <a:pos x="connsiteX72049" y="connsiteY72049"/>
              </a:cxn>
              <a:cxn ang="0">
                <a:pos x="connsiteX72050" y="connsiteY72050"/>
              </a:cxn>
              <a:cxn ang="0">
                <a:pos x="connsiteX72051" y="connsiteY72051"/>
              </a:cxn>
              <a:cxn ang="0">
                <a:pos x="connsiteX72052" y="connsiteY72052"/>
              </a:cxn>
              <a:cxn ang="0">
                <a:pos x="connsiteX72053" y="connsiteY72053"/>
              </a:cxn>
              <a:cxn ang="0">
                <a:pos x="connsiteX72054" y="connsiteY72054"/>
              </a:cxn>
              <a:cxn ang="0">
                <a:pos x="connsiteX72055" y="connsiteY72055"/>
              </a:cxn>
              <a:cxn ang="0">
                <a:pos x="connsiteX72056" y="connsiteY72056"/>
              </a:cxn>
              <a:cxn ang="0">
                <a:pos x="connsiteX72057" y="connsiteY72057"/>
              </a:cxn>
              <a:cxn ang="0">
                <a:pos x="connsiteX72058" y="connsiteY72058"/>
              </a:cxn>
              <a:cxn ang="0">
                <a:pos x="connsiteX72059" y="connsiteY72059"/>
              </a:cxn>
              <a:cxn ang="0">
                <a:pos x="connsiteX72060" y="connsiteY72060"/>
              </a:cxn>
              <a:cxn ang="0">
                <a:pos x="connsiteX72061" y="connsiteY72061"/>
              </a:cxn>
              <a:cxn ang="0">
                <a:pos x="connsiteX72062" y="connsiteY72062"/>
              </a:cxn>
              <a:cxn ang="0">
                <a:pos x="connsiteX72063" y="connsiteY72063"/>
              </a:cxn>
              <a:cxn ang="0">
                <a:pos x="connsiteX72064" y="connsiteY72064"/>
              </a:cxn>
              <a:cxn ang="0">
                <a:pos x="connsiteX72065" y="connsiteY72065"/>
              </a:cxn>
              <a:cxn ang="0">
                <a:pos x="connsiteX72066" y="connsiteY72066"/>
              </a:cxn>
              <a:cxn ang="0">
                <a:pos x="connsiteX72067" y="connsiteY72067"/>
              </a:cxn>
              <a:cxn ang="0">
                <a:pos x="connsiteX72068" y="connsiteY72068"/>
              </a:cxn>
              <a:cxn ang="0">
                <a:pos x="connsiteX72069" y="connsiteY72069"/>
              </a:cxn>
              <a:cxn ang="0">
                <a:pos x="connsiteX72070" y="connsiteY72070"/>
              </a:cxn>
              <a:cxn ang="0">
                <a:pos x="connsiteX72071" y="connsiteY72071"/>
              </a:cxn>
              <a:cxn ang="0">
                <a:pos x="connsiteX72072" y="connsiteY72072"/>
              </a:cxn>
              <a:cxn ang="0">
                <a:pos x="connsiteX72073" y="connsiteY72073"/>
              </a:cxn>
              <a:cxn ang="0">
                <a:pos x="connsiteX72074" y="connsiteY72074"/>
              </a:cxn>
              <a:cxn ang="0">
                <a:pos x="connsiteX72075" y="connsiteY72075"/>
              </a:cxn>
              <a:cxn ang="0">
                <a:pos x="connsiteX72076" y="connsiteY72076"/>
              </a:cxn>
              <a:cxn ang="0">
                <a:pos x="connsiteX72077" y="connsiteY72077"/>
              </a:cxn>
              <a:cxn ang="0">
                <a:pos x="connsiteX72078" y="connsiteY72078"/>
              </a:cxn>
              <a:cxn ang="0">
                <a:pos x="connsiteX72079" y="connsiteY72079"/>
              </a:cxn>
              <a:cxn ang="0">
                <a:pos x="connsiteX72080" y="connsiteY72080"/>
              </a:cxn>
              <a:cxn ang="0">
                <a:pos x="connsiteX72081" y="connsiteY72081"/>
              </a:cxn>
              <a:cxn ang="0">
                <a:pos x="connsiteX72082" y="connsiteY72082"/>
              </a:cxn>
              <a:cxn ang="0">
                <a:pos x="connsiteX72083" y="connsiteY72083"/>
              </a:cxn>
              <a:cxn ang="0">
                <a:pos x="connsiteX72084" y="connsiteY72084"/>
              </a:cxn>
              <a:cxn ang="0">
                <a:pos x="connsiteX72085" y="connsiteY72085"/>
              </a:cxn>
              <a:cxn ang="0">
                <a:pos x="connsiteX72086" y="connsiteY72086"/>
              </a:cxn>
              <a:cxn ang="0">
                <a:pos x="connsiteX72087" y="connsiteY72087"/>
              </a:cxn>
              <a:cxn ang="0">
                <a:pos x="connsiteX72088" y="connsiteY72088"/>
              </a:cxn>
              <a:cxn ang="0">
                <a:pos x="connsiteX72089" y="connsiteY72089"/>
              </a:cxn>
              <a:cxn ang="0">
                <a:pos x="connsiteX72090" y="connsiteY72090"/>
              </a:cxn>
              <a:cxn ang="0">
                <a:pos x="connsiteX72091" y="connsiteY72091"/>
              </a:cxn>
              <a:cxn ang="0">
                <a:pos x="connsiteX72092" y="connsiteY72092"/>
              </a:cxn>
              <a:cxn ang="0">
                <a:pos x="connsiteX72093" y="connsiteY72093"/>
              </a:cxn>
              <a:cxn ang="0">
                <a:pos x="connsiteX72094" y="connsiteY72094"/>
              </a:cxn>
              <a:cxn ang="0">
                <a:pos x="connsiteX72095" y="connsiteY72095"/>
              </a:cxn>
              <a:cxn ang="0">
                <a:pos x="connsiteX72096" y="connsiteY72096"/>
              </a:cxn>
              <a:cxn ang="0">
                <a:pos x="connsiteX72097" y="connsiteY72097"/>
              </a:cxn>
              <a:cxn ang="0">
                <a:pos x="connsiteX72098" y="connsiteY72098"/>
              </a:cxn>
              <a:cxn ang="0">
                <a:pos x="connsiteX72099" y="connsiteY72099"/>
              </a:cxn>
              <a:cxn ang="0">
                <a:pos x="connsiteX72100" y="connsiteY72100"/>
              </a:cxn>
              <a:cxn ang="0">
                <a:pos x="connsiteX72101" y="connsiteY72101"/>
              </a:cxn>
              <a:cxn ang="0">
                <a:pos x="connsiteX72102" y="connsiteY72102"/>
              </a:cxn>
              <a:cxn ang="0">
                <a:pos x="connsiteX72103" y="connsiteY72103"/>
              </a:cxn>
              <a:cxn ang="0">
                <a:pos x="connsiteX72104" y="connsiteY72104"/>
              </a:cxn>
              <a:cxn ang="0">
                <a:pos x="connsiteX72105" y="connsiteY72105"/>
              </a:cxn>
              <a:cxn ang="0">
                <a:pos x="connsiteX72106" y="connsiteY72106"/>
              </a:cxn>
              <a:cxn ang="0">
                <a:pos x="connsiteX72107" y="connsiteY72107"/>
              </a:cxn>
              <a:cxn ang="0">
                <a:pos x="connsiteX72108" y="connsiteY72108"/>
              </a:cxn>
              <a:cxn ang="0">
                <a:pos x="connsiteX72109" y="connsiteY72109"/>
              </a:cxn>
              <a:cxn ang="0">
                <a:pos x="connsiteX72110" y="connsiteY72110"/>
              </a:cxn>
              <a:cxn ang="0">
                <a:pos x="connsiteX72111" y="connsiteY72111"/>
              </a:cxn>
              <a:cxn ang="0">
                <a:pos x="connsiteX72112" y="connsiteY72112"/>
              </a:cxn>
              <a:cxn ang="0">
                <a:pos x="connsiteX72113" y="connsiteY72113"/>
              </a:cxn>
              <a:cxn ang="0">
                <a:pos x="connsiteX72114" y="connsiteY72114"/>
              </a:cxn>
              <a:cxn ang="0">
                <a:pos x="connsiteX72115" y="connsiteY72115"/>
              </a:cxn>
              <a:cxn ang="0">
                <a:pos x="connsiteX72116" y="connsiteY72116"/>
              </a:cxn>
              <a:cxn ang="0">
                <a:pos x="connsiteX72117" y="connsiteY72117"/>
              </a:cxn>
              <a:cxn ang="0">
                <a:pos x="connsiteX72118" y="connsiteY72118"/>
              </a:cxn>
              <a:cxn ang="0">
                <a:pos x="connsiteX72119" y="connsiteY72119"/>
              </a:cxn>
              <a:cxn ang="0">
                <a:pos x="connsiteX72120" y="connsiteY72120"/>
              </a:cxn>
              <a:cxn ang="0">
                <a:pos x="connsiteX72121" y="connsiteY72121"/>
              </a:cxn>
              <a:cxn ang="0">
                <a:pos x="connsiteX72122" y="connsiteY72122"/>
              </a:cxn>
              <a:cxn ang="0">
                <a:pos x="connsiteX72123" y="connsiteY72123"/>
              </a:cxn>
              <a:cxn ang="0">
                <a:pos x="connsiteX72124" y="connsiteY72124"/>
              </a:cxn>
              <a:cxn ang="0">
                <a:pos x="connsiteX72125" y="connsiteY72125"/>
              </a:cxn>
              <a:cxn ang="0">
                <a:pos x="connsiteX72126" y="connsiteY72126"/>
              </a:cxn>
              <a:cxn ang="0">
                <a:pos x="connsiteX72127" y="connsiteY72127"/>
              </a:cxn>
              <a:cxn ang="0">
                <a:pos x="connsiteX72128" y="connsiteY72128"/>
              </a:cxn>
              <a:cxn ang="0">
                <a:pos x="connsiteX72129" y="connsiteY72129"/>
              </a:cxn>
              <a:cxn ang="0">
                <a:pos x="connsiteX72130" y="connsiteY72130"/>
              </a:cxn>
              <a:cxn ang="0">
                <a:pos x="connsiteX72131" y="connsiteY72131"/>
              </a:cxn>
              <a:cxn ang="0">
                <a:pos x="connsiteX72132" y="connsiteY72132"/>
              </a:cxn>
              <a:cxn ang="0">
                <a:pos x="connsiteX72133" y="connsiteY72133"/>
              </a:cxn>
              <a:cxn ang="0">
                <a:pos x="connsiteX72134" y="connsiteY72134"/>
              </a:cxn>
              <a:cxn ang="0">
                <a:pos x="connsiteX72135" y="connsiteY72135"/>
              </a:cxn>
              <a:cxn ang="0">
                <a:pos x="connsiteX72136" y="connsiteY72136"/>
              </a:cxn>
              <a:cxn ang="0">
                <a:pos x="connsiteX72137" y="connsiteY72137"/>
              </a:cxn>
              <a:cxn ang="0">
                <a:pos x="connsiteX72138" y="connsiteY72138"/>
              </a:cxn>
              <a:cxn ang="0">
                <a:pos x="connsiteX72139" y="connsiteY72139"/>
              </a:cxn>
              <a:cxn ang="0">
                <a:pos x="connsiteX72140" y="connsiteY72140"/>
              </a:cxn>
              <a:cxn ang="0">
                <a:pos x="connsiteX72141" y="connsiteY72141"/>
              </a:cxn>
              <a:cxn ang="0">
                <a:pos x="connsiteX72142" y="connsiteY72142"/>
              </a:cxn>
              <a:cxn ang="0">
                <a:pos x="connsiteX72143" y="connsiteY72143"/>
              </a:cxn>
              <a:cxn ang="0">
                <a:pos x="connsiteX72144" y="connsiteY72144"/>
              </a:cxn>
              <a:cxn ang="0">
                <a:pos x="connsiteX72145" y="connsiteY72145"/>
              </a:cxn>
              <a:cxn ang="0">
                <a:pos x="connsiteX72146" y="connsiteY72146"/>
              </a:cxn>
              <a:cxn ang="0">
                <a:pos x="connsiteX72147" y="connsiteY72147"/>
              </a:cxn>
              <a:cxn ang="0">
                <a:pos x="connsiteX72148" y="connsiteY72148"/>
              </a:cxn>
              <a:cxn ang="0">
                <a:pos x="connsiteX72149" y="connsiteY72149"/>
              </a:cxn>
              <a:cxn ang="0">
                <a:pos x="connsiteX72150" y="connsiteY72150"/>
              </a:cxn>
              <a:cxn ang="0">
                <a:pos x="connsiteX72151" y="connsiteY72151"/>
              </a:cxn>
              <a:cxn ang="0">
                <a:pos x="connsiteX72152" y="connsiteY72152"/>
              </a:cxn>
              <a:cxn ang="0">
                <a:pos x="connsiteX72153" y="connsiteY72153"/>
              </a:cxn>
              <a:cxn ang="0">
                <a:pos x="connsiteX72154" y="connsiteY72154"/>
              </a:cxn>
              <a:cxn ang="0">
                <a:pos x="connsiteX72155" y="connsiteY72155"/>
              </a:cxn>
              <a:cxn ang="0">
                <a:pos x="connsiteX72156" y="connsiteY72156"/>
              </a:cxn>
              <a:cxn ang="0">
                <a:pos x="connsiteX72157" y="connsiteY72157"/>
              </a:cxn>
              <a:cxn ang="0">
                <a:pos x="connsiteX72158" y="connsiteY72158"/>
              </a:cxn>
              <a:cxn ang="0">
                <a:pos x="connsiteX72159" y="connsiteY72159"/>
              </a:cxn>
              <a:cxn ang="0">
                <a:pos x="connsiteX72160" y="connsiteY72160"/>
              </a:cxn>
              <a:cxn ang="0">
                <a:pos x="connsiteX72161" y="connsiteY72161"/>
              </a:cxn>
              <a:cxn ang="0">
                <a:pos x="connsiteX72162" y="connsiteY72162"/>
              </a:cxn>
              <a:cxn ang="0">
                <a:pos x="connsiteX72163" y="connsiteY72163"/>
              </a:cxn>
              <a:cxn ang="0">
                <a:pos x="connsiteX72164" y="connsiteY72164"/>
              </a:cxn>
              <a:cxn ang="0">
                <a:pos x="connsiteX72165" y="connsiteY72165"/>
              </a:cxn>
              <a:cxn ang="0">
                <a:pos x="connsiteX72166" y="connsiteY72166"/>
              </a:cxn>
              <a:cxn ang="0">
                <a:pos x="connsiteX72167" y="connsiteY72167"/>
              </a:cxn>
              <a:cxn ang="0">
                <a:pos x="connsiteX72168" y="connsiteY72168"/>
              </a:cxn>
              <a:cxn ang="0">
                <a:pos x="connsiteX72169" y="connsiteY72169"/>
              </a:cxn>
              <a:cxn ang="0">
                <a:pos x="connsiteX72170" y="connsiteY72170"/>
              </a:cxn>
              <a:cxn ang="0">
                <a:pos x="connsiteX72171" y="connsiteY72171"/>
              </a:cxn>
              <a:cxn ang="0">
                <a:pos x="connsiteX72172" y="connsiteY72172"/>
              </a:cxn>
              <a:cxn ang="0">
                <a:pos x="connsiteX72173" y="connsiteY72173"/>
              </a:cxn>
              <a:cxn ang="0">
                <a:pos x="connsiteX72174" y="connsiteY72174"/>
              </a:cxn>
              <a:cxn ang="0">
                <a:pos x="connsiteX72175" y="connsiteY72175"/>
              </a:cxn>
              <a:cxn ang="0">
                <a:pos x="connsiteX72176" y="connsiteY72176"/>
              </a:cxn>
              <a:cxn ang="0">
                <a:pos x="connsiteX72177" y="connsiteY72177"/>
              </a:cxn>
              <a:cxn ang="0">
                <a:pos x="connsiteX72178" y="connsiteY72178"/>
              </a:cxn>
              <a:cxn ang="0">
                <a:pos x="connsiteX72179" y="connsiteY72179"/>
              </a:cxn>
              <a:cxn ang="0">
                <a:pos x="connsiteX72180" y="connsiteY72180"/>
              </a:cxn>
              <a:cxn ang="0">
                <a:pos x="connsiteX72181" y="connsiteY72181"/>
              </a:cxn>
              <a:cxn ang="0">
                <a:pos x="connsiteX72182" y="connsiteY72182"/>
              </a:cxn>
              <a:cxn ang="0">
                <a:pos x="connsiteX72183" y="connsiteY72183"/>
              </a:cxn>
              <a:cxn ang="0">
                <a:pos x="connsiteX72184" y="connsiteY72184"/>
              </a:cxn>
              <a:cxn ang="0">
                <a:pos x="connsiteX72185" y="connsiteY72185"/>
              </a:cxn>
              <a:cxn ang="0">
                <a:pos x="connsiteX72186" y="connsiteY72186"/>
              </a:cxn>
              <a:cxn ang="0">
                <a:pos x="connsiteX72187" y="connsiteY72187"/>
              </a:cxn>
              <a:cxn ang="0">
                <a:pos x="connsiteX72188" y="connsiteY72188"/>
              </a:cxn>
              <a:cxn ang="0">
                <a:pos x="connsiteX72189" y="connsiteY72189"/>
              </a:cxn>
              <a:cxn ang="0">
                <a:pos x="connsiteX72190" y="connsiteY72190"/>
              </a:cxn>
              <a:cxn ang="0">
                <a:pos x="connsiteX72191" y="connsiteY72191"/>
              </a:cxn>
              <a:cxn ang="0">
                <a:pos x="connsiteX72192" y="connsiteY72192"/>
              </a:cxn>
              <a:cxn ang="0">
                <a:pos x="connsiteX72193" y="connsiteY72193"/>
              </a:cxn>
              <a:cxn ang="0">
                <a:pos x="connsiteX72194" y="connsiteY72194"/>
              </a:cxn>
              <a:cxn ang="0">
                <a:pos x="connsiteX72195" y="connsiteY72195"/>
              </a:cxn>
              <a:cxn ang="0">
                <a:pos x="connsiteX72196" y="connsiteY72196"/>
              </a:cxn>
              <a:cxn ang="0">
                <a:pos x="connsiteX72197" y="connsiteY72197"/>
              </a:cxn>
              <a:cxn ang="0">
                <a:pos x="connsiteX72198" y="connsiteY72198"/>
              </a:cxn>
              <a:cxn ang="0">
                <a:pos x="connsiteX72199" y="connsiteY72199"/>
              </a:cxn>
              <a:cxn ang="0">
                <a:pos x="connsiteX72200" y="connsiteY72200"/>
              </a:cxn>
              <a:cxn ang="0">
                <a:pos x="connsiteX72201" y="connsiteY72201"/>
              </a:cxn>
              <a:cxn ang="0">
                <a:pos x="connsiteX72202" y="connsiteY72202"/>
              </a:cxn>
              <a:cxn ang="0">
                <a:pos x="connsiteX72203" y="connsiteY72203"/>
              </a:cxn>
              <a:cxn ang="0">
                <a:pos x="connsiteX72204" y="connsiteY72204"/>
              </a:cxn>
              <a:cxn ang="0">
                <a:pos x="connsiteX72205" y="connsiteY72205"/>
              </a:cxn>
              <a:cxn ang="0">
                <a:pos x="connsiteX72206" y="connsiteY72206"/>
              </a:cxn>
              <a:cxn ang="0">
                <a:pos x="connsiteX72207" y="connsiteY72207"/>
              </a:cxn>
              <a:cxn ang="0">
                <a:pos x="connsiteX72208" y="connsiteY72208"/>
              </a:cxn>
              <a:cxn ang="0">
                <a:pos x="connsiteX72209" y="connsiteY72209"/>
              </a:cxn>
              <a:cxn ang="0">
                <a:pos x="connsiteX72210" y="connsiteY72210"/>
              </a:cxn>
              <a:cxn ang="0">
                <a:pos x="connsiteX72211" y="connsiteY72211"/>
              </a:cxn>
              <a:cxn ang="0">
                <a:pos x="connsiteX72212" y="connsiteY72212"/>
              </a:cxn>
              <a:cxn ang="0">
                <a:pos x="connsiteX72213" y="connsiteY72213"/>
              </a:cxn>
              <a:cxn ang="0">
                <a:pos x="connsiteX72214" y="connsiteY72214"/>
              </a:cxn>
              <a:cxn ang="0">
                <a:pos x="connsiteX72215" y="connsiteY72215"/>
              </a:cxn>
              <a:cxn ang="0">
                <a:pos x="connsiteX72216" y="connsiteY72216"/>
              </a:cxn>
              <a:cxn ang="0">
                <a:pos x="connsiteX72217" y="connsiteY72217"/>
              </a:cxn>
              <a:cxn ang="0">
                <a:pos x="connsiteX72218" y="connsiteY72218"/>
              </a:cxn>
              <a:cxn ang="0">
                <a:pos x="connsiteX72219" y="connsiteY72219"/>
              </a:cxn>
              <a:cxn ang="0">
                <a:pos x="connsiteX72220" y="connsiteY72220"/>
              </a:cxn>
              <a:cxn ang="0">
                <a:pos x="connsiteX72221" y="connsiteY72221"/>
              </a:cxn>
              <a:cxn ang="0">
                <a:pos x="connsiteX72222" y="connsiteY72222"/>
              </a:cxn>
              <a:cxn ang="0">
                <a:pos x="connsiteX72223" y="connsiteY72223"/>
              </a:cxn>
              <a:cxn ang="0">
                <a:pos x="connsiteX72224" y="connsiteY72224"/>
              </a:cxn>
              <a:cxn ang="0">
                <a:pos x="connsiteX72225" y="connsiteY72225"/>
              </a:cxn>
              <a:cxn ang="0">
                <a:pos x="connsiteX72226" y="connsiteY72226"/>
              </a:cxn>
              <a:cxn ang="0">
                <a:pos x="connsiteX72227" y="connsiteY72227"/>
              </a:cxn>
              <a:cxn ang="0">
                <a:pos x="connsiteX72228" y="connsiteY72228"/>
              </a:cxn>
              <a:cxn ang="0">
                <a:pos x="connsiteX72229" y="connsiteY72229"/>
              </a:cxn>
              <a:cxn ang="0">
                <a:pos x="connsiteX72230" y="connsiteY72230"/>
              </a:cxn>
              <a:cxn ang="0">
                <a:pos x="connsiteX72231" y="connsiteY72231"/>
              </a:cxn>
              <a:cxn ang="0">
                <a:pos x="connsiteX72232" y="connsiteY72232"/>
              </a:cxn>
              <a:cxn ang="0">
                <a:pos x="connsiteX72233" y="connsiteY72233"/>
              </a:cxn>
              <a:cxn ang="0">
                <a:pos x="connsiteX72234" y="connsiteY72234"/>
              </a:cxn>
              <a:cxn ang="0">
                <a:pos x="connsiteX72235" y="connsiteY72235"/>
              </a:cxn>
              <a:cxn ang="0">
                <a:pos x="connsiteX72236" y="connsiteY72236"/>
              </a:cxn>
              <a:cxn ang="0">
                <a:pos x="connsiteX72237" y="connsiteY72237"/>
              </a:cxn>
              <a:cxn ang="0">
                <a:pos x="connsiteX72238" y="connsiteY72238"/>
              </a:cxn>
              <a:cxn ang="0">
                <a:pos x="connsiteX72239" y="connsiteY72239"/>
              </a:cxn>
              <a:cxn ang="0">
                <a:pos x="connsiteX72240" y="connsiteY72240"/>
              </a:cxn>
              <a:cxn ang="0">
                <a:pos x="connsiteX72241" y="connsiteY72241"/>
              </a:cxn>
              <a:cxn ang="0">
                <a:pos x="connsiteX72242" y="connsiteY72242"/>
              </a:cxn>
              <a:cxn ang="0">
                <a:pos x="connsiteX72243" y="connsiteY72243"/>
              </a:cxn>
              <a:cxn ang="0">
                <a:pos x="connsiteX72244" y="connsiteY72244"/>
              </a:cxn>
              <a:cxn ang="0">
                <a:pos x="connsiteX72245" y="connsiteY72245"/>
              </a:cxn>
              <a:cxn ang="0">
                <a:pos x="connsiteX72246" y="connsiteY72246"/>
              </a:cxn>
              <a:cxn ang="0">
                <a:pos x="connsiteX72247" y="connsiteY72247"/>
              </a:cxn>
              <a:cxn ang="0">
                <a:pos x="connsiteX72248" y="connsiteY72248"/>
              </a:cxn>
              <a:cxn ang="0">
                <a:pos x="connsiteX72249" y="connsiteY72249"/>
              </a:cxn>
              <a:cxn ang="0">
                <a:pos x="connsiteX72250" y="connsiteY72250"/>
              </a:cxn>
              <a:cxn ang="0">
                <a:pos x="connsiteX72251" y="connsiteY72251"/>
              </a:cxn>
              <a:cxn ang="0">
                <a:pos x="connsiteX72252" y="connsiteY72252"/>
              </a:cxn>
              <a:cxn ang="0">
                <a:pos x="connsiteX72253" y="connsiteY72253"/>
              </a:cxn>
              <a:cxn ang="0">
                <a:pos x="connsiteX72254" y="connsiteY72254"/>
              </a:cxn>
              <a:cxn ang="0">
                <a:pos x="connsiteX72255" y="connsiteY72255"/>
              </a:cxn>
              <a:cxn ang="0">
                <a:pos x="connsiteX72256" y="connsiteY72256"/>
              </a:cxn>
              <a:cxn ang="0">
                <a:pos x="connsiteX72257" y="connsiteY72257"/>
              </a:cxn>
              <a:cxn ang="0">
                <a:pos x="connsiteX72258" y="connsiteY72258"/>
              </a:cxn>
              <a:cxn ang="0">
                <a:pos x="connsiteX72259" y="connsiteY72259"/>
              </a:cxn>
              <a:cxn ang="0">
                <a:pos x="connsiteX72260" y="connsiteY72260"/>
              </a:cxn>
              <a:cxn ang="0">
                <a:pos x="connsiteX72261" y="connsiteY72261"/>
              </a:cxn>
              <a:cxn ang="0">
                <a:pos x="connsiteX72262" y="connsiteY72262"/>
              </a:cxn>
              <a:cxn ang="0">
                <a:pos x="connsiteX72263" y="connsiteY72263"/>
              </a:cxn>
              <a:cxn ang="0">
                <a:pos x="connsiteX72264" y="connsiteY72264"/>
              </a:cxn>
              <a:cxn ang="0">
                <a:pos x="connsiteX72265" y="connsiteY72265"/>
              </a:cxn>
              <a:cxn ang="0">
                <a:pos x="connsiteX72266" y="connsiteY72266"/>
              </a:cxn>
              <a:cxn ang="0">
                <a:pos x="connsiteX72267" y="connsiteY72267"/>
              </a:cxn>
              <a:cxn ang="0">
                <a:pos x="connsiteX72268" y="connsiteY72268"/>
              </a:cxn>
              <a:cxn ang="0">
                <a:pos x="connsiteX72269" y="connsiteY72269"/>
              </a:cxn>
              <a:cxn ang="0">
                <a:pos x="connsiteX72270" y="connsiteY72270"/>
              </a:cxn>
              <a:cxn ang="0">
                <a:pos x="connsiteX72271" y="connsiteY72271"/>
              </a:cxn>
              <a:cxn ang="0">
                <a:pos x="connsiteX72272" y="connsiteY72272"/>
              </a:cxn>
              <a:cxn ang="0">
                <a:pos x="connsiteX72273" y="connsiteY72273"/>
              </a:cxn>
              <a:cxn ang="0">
                <a:pos x="connsiteX72274" y="connsiteY72274"/>
              </a:cxn>
              <a:cxn ang="0">
                <a:pos x="connsiteX72275" y="connsiteY72275"/>
              </a:cxn>
              <a:cxn ang="0">
                <a:pos x="connsiteX72276" y="connsiteY72276"/>
              </a:cxn>
              <a:cxn ang="0">
                <a:pos x="connsiteX72277" y="connsiteY72277"/>
              </a:cxn>
              <a:cxn ang="0">
                <a:pos x="connsiteX72278" y="connsiteY72278"/>
              </a:cxn>
              <a:cxn ang="0">
                <a:pos x="connsiteX72279" y="connsiteY72279"/>
              </a:cxn>
              <a:cxn ang="0">
                <a:pos x="connsiteX72280" y="connsiteY72280"/>
              </a:cxn>
              <a:cxn ang="0">
                <a:pos x="connsiteX72281" y="connsiteY72281"/>
              </a:cxn>
              <a:cxn ang="0">
                <a:pos x="connsiteX72282" y="connsiteY72282"/>
              </a:cxn>
              <a:cxn ang="0">
                <a:pos x="connsiteX72283" y="connsiteY72283"/>
              </a:cxn>
              <a:cxn ang="0">
                <a:pos x="connsiteX72284" y="connsiteY72284"/>
              </a:cxn>
              <a:cxn ang="0">
                <a:pos x="connsiteX72285" y="connsiteY72285"/>
              </a:cxn>
              <a:cxn ang="0">
                <a:pos x="connsiteX72286" y="connsiteY72286"/>
              </a:cxn>
              <a:cxn ang="0">
                <a:pos x="connsiteX72287" y="connsiteY72287"/>
              </a:cxn>
              <a:cxn ang="0">
                <a:pos x="connsiteX72288" y="connsiteY72288"/>
              </a:cxn>
              <a:cxn ang="0">
                <a:pos x="connsiteX72289" y="connsiteY72289"/>
              </a:cxn>
              <a:cxn ang="0">
                <a:pos x="connsiteX72290" y="connsiteY72290"/>
              </a:cxn>
              <a:cxn ang="0">
                <a:pos x="connsiteX72291" y="connsiteY72291"/>
              </a:cxn>
              <a:cxn ang="0">
                <a:pos x="connsiteX72292" y="connsiteY72292"/>
              </a:cxn>
              <a:cxn ang="0">
                <a:pos x="connsiteX72293" y="connsiteY72293"/>
              </a:cxn>
              <a:cxn ang="0">
                <a:pos x="connsiteX72294" y="connsiteY72294"/>
              </a:cxn>
              <a:cxn ang="0">
                <a:pos x="connsiteX72295" y="connsiteY72295"/>
              </a:cxn>
              <a:cxn ang="0">
                <a:pos x="connsiteX72296" y="connsiteY72296"/>
              </a:cxn>
              <a:cxn ang="0">
                <a:pos x="connsiteX72297" y="connsiteY72297"/>
              </a:cxn>
              <a:cxn ang="0">
                <a:pos x="connsiteX72298" y="connsiteY72298"/>
              </a:cxn>
              <a:cxn ang="0">
                <a:pos x="connsiteX72299" y="connsiteY72299"/>
              </a:cxn>
              <a:cxn ang="0">
                <a:pos x="connsiteX72300" y="connsiteY72300"/>
              </a:cxn>
              <a:cxn ang="0">
                <a:pos x="connsiteX72301" y="connsiteY72301"/>
              </a:cxn>
              <a:cxn ang="0">
                <a:pos x="connsiteX72302" y="connsiteY72302"/>
              </a:cxn>
              <a:cxn ang="0">
                <a:pos x="connsiteX72303" y="connsiteY72303"/>
              </a:cxn>
              <a:cxn ang="0">
                <a:pos x="connsiteX72304" y="connsiteY72304"/>
              </a:cxn>
              <a:cxn ang="0">
                <a:pos x="connsiteX72305" y="connsiteY72305"/>
              </a:cxn>
              <a:cxn ang="0">
                <a:pos x="connsiteX72306" y="connsiteY72306"/>
              </a:cxn>
              <a:cxn ang="0">
                <a:pos x="connsiteX72307" y="connsiteY72307"/>
              </a:cxn>
              <a:cxn ang="0">
                <a:pos x="connsiteX72308" y="connsiteY72308"/>
              </a:cxn>
              <a:cxn ang="0">
                <a:pos x="connsiteX72309" y="connsiteY72309"/>
              </a:cxn>
              <a:cxn ang="0">
                <a:pos x="connsiteX72310" y="connsiteY72310"/>
              </a:cxn>
              <a:cxn ang="0">
                <a:pos x="connsiteX72311" y="connsiteY72311"/>
              </a:cxn>
              <a:cxn ang="0">
                <a:pos x="connsiteX72312" y="connsiteY72312"/>
              </a:cxn>
              <a:cxn ang="0">
                <a:pos x="connsiteX72313" y="connsiteY72313"/>
              </a:cxn>
              <a:cxn ang="0">
                <a:pos x="connsiteX72314" y="connsiteY72314"/>
              </a:cxn>
              <a:cxn ang="0">
                <a:pos x="connsiteX72315" y="connsiteY72315"/>
              </a:cxn>
              <a:cxn ang="0">
                <a:pos x="connsiteX72316" y="connsiteY72316"/>
              </a:cxn>
              <a:cxn ang="0">
                <a:pos x="connsiteX72317" y="connsiteY72317"/>
              </a:cxn>
              <a:cxn ang="0">
                <a:pos x="connsiteX72318" y="connsiteY72318"/>
              </a:cxn>
              <a:cxn ang="0">
                <a:pos x="connsiteX72319" y="connsiteY72319"/>
              </a:cxn>
              <a:cxn ang="0">
                <a:pos x="connsiteX72320" y="connsiteY72320"/>
              </a:cxn>
              <a:cxn ang="0">
                <a:pos x="connsiteX72321" y="connsiteY72321"/>
              </a:cxn>
              <a:cxn ang="0">
                <a:pos x="connsiteX72322" y="connsiteY72322"/>
              </a:cxn>
              <a:cxn ang="0">
                <a:pos x="connsiteX72323" y="connsiteY72323"/>
              </a:cxn>
              <a:cxn ang="0">
                <a:pos x="connsiteX72324" y="connsiteY72324"/>
              </a:cxn>
              <a:cxn ang="0">
                <a:pos x="connsiteX72325" y="connsiteY72325"/>
              </a:cxn>
              <a:cxn ang="0">
                <a:pos x="connsiteX72326" y="connsiteY72326"/>
              </a:cxn>
              <a:cxn ang="0">
                <a:pos x="connsiteX72327" y="connsiteY72327"/>
              </a:cxn>
              <a:cxn ang="0">
                <a:pos x="connsiteX72328" y="connsiteY72328"/>
              </a:cxn>
              <a:cxn ang="0">
                <a:pos x="connsiteX72329" y="connsiteY72329"/>
              </a:cxn>
              <a:cxn ang="0">
                <a:pos x="connsiteX72330" y="connsiteY72330"/>
              </a:cxn>
              <a:cxn ang="0">
                <a:pos x="connsiteX72331" y="connsiteY72331"/>
              </a:cxn>
              <a:cxn ang="0">
                <a:pos x="connsiteX72332" y="connsiteY72332"/>
              </a:cxn>
              <a:cxn ang="0">
                <a:pos x="connsiteX72333" y="connsiteY72333"/>
              </a:cxn>
              <a:cxn ang="0">
                <a:pos x="connsiteX72334" y="connsiteY72334"/>
              </a:cxn>
              <a:cxn ang="0">
                <a:pos x="connsiteX72335" y="connsiteY72335"/>
              </a:cxn>
              <a:cxn ang="0">
                <a:pos x="connsiteX72336" y="connsiteY72336"/>
              </a:cxn>
              <a:cxn ang="0">
                <a:pos x="connsiteX72337" y="connsiteY72337"/>
              </a:cxn>
              <a:cxn ang="0">
                <a:pos x="connsiteX72338" y="connsiteY72338"/>
              </a:cxn>
              <a:cxn ang="0">
                <a:pos x="connsiteX72339" y="connsiteY72339"/>
              </a:cxn>
              <a:cxn ang="0">
                <a:pos x="connsiteX72340" y="connsiteY72340"/>
              </a:cxn>
              <a:cxn ang="0">
                <a:pos x="connsiteX72341" y="connsiteY72341"/>
              </a:cxn>
              <a:cxn ang="0">
                <a:pos x="connsiteX72342" y="connsiteY72342"/>
              </a:cxn>
              <a:cxn ang="0">
                <a:pos x="connsiteX72343" y="connsiteY72343"/>
              </a:cxn>
              <a:cxn ang="0">
                <a:pos x="connsiteX72344" y="connsiteY72344"/>
              </a:cxn>
              <a:cxn ang="0">
                <a:pos x="connsiteX72345" y="connsiteY72345"/>
              </a:cxn>
              <a:cxn ang="0">
                <a:pos x="connsiteX72346" y="connsiteY72346"/>
              </a:cxn>
              <a:cxn ang="0">
                <a:pos x="connsiteX72347" y="connsiteY72347"/>
              </a:cxn>
              <a:cxn ang="0">
                <a:pos x="connsiteX72348" y="connsiteY72348"/>
              </a:cxn>
              <a:cxn ang="0">
                <a:pos x="connsiteX72349" y="connsiteY72349"/>
              </a:cxn>
              <a:cxn ang="0">
                <a:pos x="connsiteX72350" y="connsiteY72350"/>
              </a:cxn>
              <a:cxn ang="0">
                <a:pos x="connsiteX72351" y="connsiteY72351"/>
              </a:cxn>
              <a:cxn ang="0">
                <a:pos x="connsiteX72352" y="connsiteY72352"/>
              </a:cxn>
              <a:cxn ang="0">
                <a:pos x="connsiteX72353" y="connsiteY72353"/>
              </a:cxn>
              <a:cxn ang="0">
                <a:pos x="connsiteX72354" y="connsiteY72354"/>
              </a:cxn>
              <a:cxn ang="0">
                <a:pos x="connsiteX72355" y="connsiteY72355"/>
              </a:cxn>
              <a:cxn ang="0">
                <a:pos x="connsiteX72356" y="connsiteY72356"/>
              </a:cxn>
              <a:cxn ang="0">
                <a:pos x="connsiteX72357" y="connsiteY72357"/>
              </a:cxn>
              <a:cxn ang="0">
                <a:pos x="connsiteX72358" y="connsiteY72358"/>
              </a:cxn>
              <a:cxn ang="0">
                <a:pos x="connsiteX72359" y="connsiteY72359"/>
              </a:cxn>
              <a:cxn ang="0">
                <a:pos x="connsiteX72360" y="connsiteY72360"/>
              </a:cxn>
              <a:cxn ang="0">
                <a:pos x="connsiteX72361" y="connsiteY72361"/>
              </a:cxn>
              <a:cxn ang="0">
                <a:pos x="connsiteX72362" y="connsiteY72362"/>
              </a:cxn>
              <a:cxn ang="0">
                <a:pos x="connsiteX72363" y="connsiteY72363"/>
              </a:cxn>
              <a:cxn ang="0">
                <a:pos x="connsiteX72364" y="connsiteY72364"/>
              </a:cxn>
              <a:cxn ang="0">
                <a:pos x="connsiteX72365" y="connsiteY72365"/>
              </a:cxn>
              <a:cxn ang="0">
                <a:pos x="connsiteX72366" y="connsiteY72366"/>
              </a:cxn>
              <a:cxn ang="0">
                <a:pos x="connsiteX72367" y="connsiteY72367"/>
              </a:cxn>
              <a:cxn ang="0">
                <a:pos x="connsiteX72368" y="connsiteY72368"/>
              </a:cxn>
              <a:cxn ang="0">
                <a:pos x="connsiteX72369" y="connsiteY72369"/>
              </a:cxn>
              <a:cxn ang="0">
                <a:pos x="connsiteX72370" y="connsiteY72370"/>
              </a:cxn>
              <a:cxn ang="0">
                <a:pos x="connsiteX72371" y="connsiteY72371"/>
              </a:cxn>
              <a:cxn ang="0">
                <a:pos x="connsiteX72372" y="connsiteY72372"/>
              </a:cxn>
              <a:cxn ang="0">
                <a:pos x="connsiteX72373" y="connsiteY72373"/>
              </a:cxn>
              <a:cxn ang="0">
                <a:pos x="connsiteX72374" y="connsiteY72374"/>
              </a:cxn>
              <a:cxn ang="0">
                <a:pos x="connsiteX72375" y="connsiteY72375"/>
              </a:cxn>
              <a:cxn ang="0">
                <a:pos x="connsiteX72376" y="connsiteY72376"/>
              </a:cxn>
              <a:cxn ang="0">
                <a:pos x="connsiteX72377" y="connsiteY72377"/>
              </a:cxn>
              <a:cxn ang="0">
                <a:pos x="connsiteX72378" y="connsiteY72378"/>
              </a:cxn>
              <a:cxn ang="0">
                <a:pos x="connsiteX72379" y="connsiteY72379"/>
              </a:cxn>
              <a:cxn ang="0">
                <a:pos x="connsiteX72380" y="connsiteY72380"/>
              </a:cxn>
              <a:cxn ang="0">
                <a:pos x="connsiteX72381" y="connsiteY72381"/>
              </a:cxn>
              <a:cxn ang="0">
                <a:pos x="connsiteX72382" y="connsiteY72382"/>
              </a:cxn>
              <a:cxn ang="0">
                <a:pos x="connsiteX72383" y="connsiteY72383"/>
              </a:cxn>
              <a:cxn ang="0">
                <a:pos x="connsiteX72384" y="connsiteY72384"/>
              </a:cxn>
              <a:cxn ang="0">
                <a:pos x="connsiteX72385" y="connsiteY72385"/>
              </a:cxn>
              <a:cxn ang="0">
                <a:pos x="connsiteX72386" y="connsiteY72386"/>
              </a:cxn>
              <a:cxn ang="0">
                <a:pos x="connsiteX72387" y="connsiteY72387"/>
              </a:cxn>
              <a:cxn ang="0">
                <a:pos x="connsiteX72388" y="connsiteY72388"/>
              </a:cxn>
              <a:cxn ang="0">
                <a:pos x="connsiteX72389" y="connsiteY72389"/>
              </a:cxn>
              <a:cxn ang="0">
                <a:pos x="connsiteX72390" y="connsiteY72390"/>
              </a:cxn>
              <a:cxn ang="0">
                <a:pos x="connsiteX72391" y="connsiteY72391"/>
              </a:cxn>
              <a:cxn ang="0">
                <a:pos x="connsiteX72392" y="connsiteY72392"/>
              </a:cxn>
              <a:cxn ang="0">
                <a:pos x="connsiteX72393" y="connsiteY72393"/>
              </a:cxn>
              <a:cxn ang="0">
                <a:pos x="connsiteX72394" y="connsiteY72394"/>
              </a:cxn>
              <a:cxn ang="0">
                <a:pos x="connsiteX72395" y="connsiteY72395"/>
              </a:cxn>
              <a:cxn ang="0">
                <a:pos x="connsiteX72396" y="connsiteY72396"/>
              </a:cxn>
              <a:cxn ang="0">
                <a:pos x="connsiteX72397" y="connsiteY72397"/>
              </a:cxn>
              <a:cxn ang="0">
                <a:pos x="connsiteX72398" y="connsiteY72398"/>
              </a:cxn>
              <a:cxn ang="0">
                <a:pos x="connsiteX72399" y="connsiteY72399"/>
              </a:cxn>
              <a:cxn ang="0">
                <a:pos x="connsiteX72400" y="connsiteY72400"/>
              </a:cxn>
              <a:cxn ang="0">
                <a:pos x="connsiteX72401" y="connsiteY72401"/>
              </a:cxn>
              <a:cxn ang="0">
                <a:pos x="connsiteX72402" y="connsiteY72402"/>
              </a:cxn>
              <a:cxn ang="0">
                <a:pos x="connsiteX72403" y="connsiteY72403"/>
              </a:cxn>
              <a:cxn ang="0">
                <a:pos x="connsiteX72404" y="connsiteY72404"/>
              </a:cxn>
              <a:cxn ang="0">
                <a:pos x="connsiteX72405" y="connsiteY72405"/>
              </a:cxn>
              <a:cxn ang="0">
                <a:pos x="connsiteX72406" y="connsiteY72406"/>
              </a:cxn>
              <a:cxn ang="0">
                <a:pos x="connsiteX72407" y="connsiteY72407"/>
              </a:cxn>
              <a:cxn ang="0">
                <a:pos x="connsiteX72408" y="connsiteY72408"/>
              </a:cxn>
              <a:cxn ang="0">
                <a:pos x="connsiteX72409" y="connsiteY72409"/>
              </a:cxn>
              <a:cxn ang="0">
                <a:pos x="connsiteX72410" y="connsiteY72410"/>
              </a:cxn>
              <a:cxn ang="0">
                <a:pos x="connsiteX72411" y="connsiteY72411"/>
              </a:cxn>
              <a:cxn ang="0">
                <a:pos x="connsiteX72412" y="connsiteY72412"/>
              </a:cxn>
              <a:cxn ang="0">
                <a:pos x="connsiteX72413" y="connsiteY72413"/>
              </a:cxn>
              <a:cxn ang="0">
                <a:pos x="connsiteX72414" y="connsiteY72414"/>
              </a:cxn>
              <a:cxn ang="0">
                <a:pos x="connsiteX72415" y="connsiteY72415"/>
              </a:cxn>
              <a:cxn ang="0">
                <a:pos x="connsiteX72416" y="connsiteY72416"/>
              </a:cxn>
              <a:cxn ang="0">
                <a:pos x="connsiteX72417" y="connsiteY72417"/>
              </a:cxn>
              <a:cxn ang="0">
                <a:pos x="connsiteX72418" y="connsiteY72418"/>
              </a:cxn>
              <a:cxn ang="0">
                <a:pos x="connsiteX72419" y="connsiteY72419"/>
              </a:cxn>
              <a:cxn ang="0">
                <a:pos x="connsiteX72420" y="connsiteY72420"/>
              </a:cxn>
              <a:cxn ang="0">
                <a:pos x="connsiteX72421" y="connsiteY72421"/>
              </a:cxn>
              <a:cxn ang="0">
                <a:pos x="connsiteX72422" y="connsiteY72422"/>
              </a:cxn>
              <a:cxn ang="0">
                <a:pos x="connsiteX72423" y="connsiteY72423"/>
              </a:cxn>
              <a:cxn ang="0">
                <a:pos x="connsiteX72424" y="connsiteY72424"/>
              </a:cxn>
              <a:cxn ang="0">
                <a:pos x="connsiteX72425" y="connsiteY72425"/>
              </a:cxn>
              <a:cxn ang="0">
                <a:pos x="connsiteX72426" y="connsiteY72426"/>
              </a:cxn>
              <a:cxn ang="0">
                <a:pos x="connsiteX72427" y="connsiteY72427"/>
              </a:cxn>
              <a:cxn ang="0">
                <a:pos x="connsiteX72428" y="connsiteY72428"/>
              </a:cxn>
              <a:cxn ang="0">
                <a:pos x="connsiteX72429" y="connsiteY72429"/>
              </a:cxn>
              <a:cxn ang="0">
                <a:pos x="connsiteX72430" y="connsiteY72430"/>
              </a:cxn>
              <a:cxn ang="0">
                <a:pos x="connsiteX72431" y="connsiteY72431"/>
              </a:cxn>
              <a:cxn ang="0">
                <a:pos x="connsiteX72432" y="connsiteY72432"/>
              </a:cxn>
              <a:cxn ang="0">
                <a:pos x="connsiteX72433" y="connsiteY72433"/>
              </a:cxn>
              <a:cxn ang="0">
                <a:pos x="connsiteX72434" y="connsiteY72434"/>
              </a:cxn>
              <a:cxn ang="0">
                <a:pos x="connsiteX72435" y="connsiteY72435"/>
              </a:cxn>
              <a:cxn ang="0">
                <a:pos x="connsiteX72436" y="connsiteY72436"/>
              </a:cxn>
              <a:cxn ang="0">
                <a:pos x="connsiteX72437" y="connsiteY72437"/>
              </a:cxn>
              <a:cxn ang="0">
                <a:pos x="connsiteX72438" y="connsiteY72438"/>
              </a:cxn>
              <a:cxn ang="0">
                <a:pos x="connsiteX72439" y="connsiteY72439"/>
              </a:cxn>
              <a:cxn ang="0">
                <a:pos x="connsiteX72440" y="connsiteY72440"/>
              </a:cxn>
              <a:cxn ang="0">
                <a:pos x="connsiteX72441" y="connsiteY72441"/>
              </a:cxn>
              <a:cxn ang="0">
                <a:pos x="connsiteX72442" y="connsiteY72442"/>
              </a:cxn>
              <a:cxn ang="0">
                <a:pos x="connsiteX72443" y="connsiteY72443"/>
              </a:cxn>
              <a:cxn ang="0">
                <a:pos x="connsiteX72444" y="connsiteY72444"/>
              </a:cxn>
              <a:cxn ang="0">
                <a:pos x="connsiteX72445" y="connsiteY72445"/>
              </a:cxn>
              <a:cxn ang="0">
                <a:pos x="connsiteX72446" y="connsiteY72446"/>
              </a:cxn>
              <a:cxn ang="0">
                <a:pos x="connsiteX72447" y="connsiteY72447"/>
              </a:cxn>
              <a:cxn ang="0">
                <a:pos x="connsiteX72448" y="connsiteY72448"/>
              </a:cxn>
              <a:cxn ang="0">
                <a:pos x="connsiteX72449" y="connsiteY72449"/>
              </a:cxn>
              <a:cxn ang="0">
                <a:pos x="connsiteX72450" y="connsiteY72450"/>
              </a:cxn>
              <a:cxn ang="0">
                <a:pos x="connsiteX72451" y="connsiteY72451"/>
              </a:cxn>
              <a:cxn ang="0">
                <a:pos x="connsiteX72452" y="connsiteY72452"/>
              </a:cxn>
              <a:cxn ang="0">
                <a:pos x="connsiteX72453" y="connsiteY72453"/>
              </a:cxn>
              <a:cxn ang="0">
                <a:pos x="connsiteX72454" y="connsiteY72454"/>
              </a:cxn>
              <a:cxn ang="0">
                <a:pos x="connsiteX72455" y="connsiteY72455"/>
              </a:cxn>
              <a:cxn ang="0">
                <a:pos x="connsiteX72456" y="connsiteY72456"/>
              </a:cxn>
              <a:cxn ang="0">
                <a:pos x="connsiteX72457" y="connsiteY72457"/>
              </a:cxn>
              <a:cxn ang="0">
                <a:pos x="connsiteX72458" y="connsiteY72458"/>
              </a:cxn>
              <a:cxn ang="0">
                <a:pos x="connsiteX72459" y="connsiteY72459"/>
              </a:cxn>
              <a:cxn ang="0">
                <a:pos x="connsiteX72460" y="connsiteY72460"/>
              </a:cxn>
              <a:cxn ang="0">
                <a:pos x="connsiteX72461" y="connsiteY72461"/>
              </a:cxn>
              <a:cxn ang="0">
                <a:pos x="connsiteX72462" y="connsiteY72462"/>
              </a:cxn>
              <a:cxn ang="0">
                <a:pos x="connsiteX72463" y="connsiteY72463"/>
              </a:cxn>
              <a:cxn ang="0">
                <a:pos x="connsiteX72464" y="connsiteY72464"/>
              </a:cxn>
              <a:cxn ang="0">
                <a:pos x="connsiteX72465" y="connsiteY72465"/>
              </a:cxn>
              <a:cxn ang="0">
                <a:pos x="connsiteX72466" y="connsiteY72466"/>
              </a:cxn>
              <a:cxn ang="0">
                <a:pos x="connsiteX72467" y="connsiteY72467"/>
              </a:cxn>
              <a:cxn ang="0">
                <a:pos x="connsiteX72468" y="connsiteY72468"/>
              </a:cxn>
              <a:cxn ang="0">
                <a:pos x="connsiteX72469" y="connsiteY72469"/>
              </a:cxn>
              <a:cxn ang="0">
                <a:pos x="connsiteX72470" y="connsiteY72470"/>
              </a:cxn>
              <a:cxn ang="0">
                <a:pos x="connsiteX72471" y="connsiteY72471"/>
              </a:cxn>
              <a:cxn ang="0">
                <a:pos x="connsiteX72472" y="connsiteY72472"/>
              </a:cxn>
              <a:cxn ang="0">
                <a:pos x="connsiteX72473" y="connsiteY72473"/>
              </a:cxn>
              <a:cxn ang="0">
                <a:pos x="connsiteX72474" y="connsiteY72474"/>
              </a:cxn>
              <a:cxn ang="0">
                <a:pos x="connsiteX72475" y="connsiteY72475"/>
              </a:cxn>
              <a:cxn ang="0">
                <a:pos x="connsiteX72476" y="connsiteY72476"/>
              </a:cxn>
              <a:cxn ang="0">
                <a:pos x="connsiteX72477" y="connsiteY72477"/>
              </a:cxn>
              <a:cxn ang="0">
                <a:pos x="connsiteX72478" y="connsiteY72478"/>
              </a:cxn>
              <a:cxn ang="0">
                <a:pos x="connsiteX72479" y="connsiteY72479"/>
              </a:cxn>
              <a:cxn ang="0">
                <a:pos x="connsiteX72480" y="connsiteY72480"/>
              </a:cxn>
              <a:cxn ang="0">
                <a:pos x="connsiteX72481" y="connsiteY72481"/>
              </a:cxn>
              <a:cxn ang="0">
                <a:pos x="connsiteX72482" y="connsiteY72482"/>
              </a:cxn>
              <a:cxn ang="0">
                <a:pos x="connsiteX72483" y="connsiteY72483"/>
              </a:cxn>
              <a:cxn ang="0">
                <a:pos x="connsiteX72484" y="connsiteY72484"/>
              </a:cxn>
              <a:cxn ang="0">
                <a:pos x="connsiteX72485" y="connsiteY72485"/>
              </a:cxn>
              <a:cxn ang="0">
                <a:pos x="connsiteX72486" y="connsiteY72486"/>
              </a:cxn>
              <a:cxn ang="0">
                <a:pos x="connsiteX72487" y="connsiteY72487"/>
              </a:cxn>
              <a:cxn ang="0">
                <a:pos x="connsiteX72488" y="connsiteY72488"/>
              </a:cxn>
              <a:cxn ang="0">
                <a:pos x="connsiteX72489" y="connsiteY72489"/>
              </a:cxn>
              <a:cxn ang="0">
                <a:pos x="connsiteX72490" y="connsiteY72490"/>
              </a:cxn>
              <a:cxn ang="0">
                <a:pos x="connsiteX72491" y="connsiteY72491"/>
              </a:cxn>
              <a:cxn ang="0">
                <a:pos x="connsiteX72492" y="connsiteY72492"/>
              </a:cxn>
              <a:cxn ang="0">
                <a:pos x="connsiteX72493" y="connsiteY72493"/>
              </a:cxn>
              <a:cxn ang="0">
                <a:pos x="connsiteX72494" y="connsiteY72494"/>
              </a:cxn>
              <a:cxn ang="0">
                <a:pos x="connsiteX72495" y="connsiteY72495"/>
              </a:cxn>
              <a:cxn ang="0">
                <a:pos x="connsiteX72496" y="connsiteY72496"/>
              </a:cxn>
              <a:cxn ang="0">
                <a:pos x="connsiteX72497" y="connsiteY72497"/>
              </a:cxn>
              <a:cxn ang="0">
                <a:pos x="connsiteX72498" y="connsiteY72498"/>
              </a:cxn>
              <a:cxn ang="0">
                <a:pos x="connsiteX72499" y="connsiteY72499"/>
              </a:cxn>
              <a:cxn ang="0">
                <a:pos x="connsiteX72500" y="connsiteY72500"/>
              </a:cxn>
              <a:cxn ang="0">
                <a:pos x="connsiteX72501" y="connsiteY72501"/>
              </a:cxn>
              <a:cxn ang="0">
                <a:pos x="connsiteX72502" y="connsiteY72502"/>
              </a:cxn>
              <a:cxn ang="0">
                <a:pos x="connsiteX72503" y="connsiteY72503"/>
              </a:cxn>
              <a:cxn ang="0">
                <a:pos x="connsiteX72504" y="connsiteY72504"/>
              </a:cxn>
              <a:cxn ang="0">
                <a:pos x="connsiteX72505" y="connsiteY72505"/>
              </a:cxn>
              <a:cxn ang="0">
                <a:pos x="connsiteX72506" y="connsiteY72506"/>
              </a:cxn>
              <a:cxn ang="0">
                <a:pos x="connsiteX72507" y="connsiteY72507"/>
              </a:cxn>
              <a:cxn ang="0">
                <a:pos x="connsiteX72508" y="connsiteY72508"/>
              </a:cxn>
              <a:cxn ang="0">
                <a:pos x="connsiteX72509" y="connsiteY72509"/>
              </a:cxn>
              <a:cxn ang="0">
                <a:pos x="connsiteX72510" y="connsiteY72510"/>
              </a:cxn>
              <a:cxn ang="0">
                <a:pos x="connsiteX72511" y="connsiteY72511"/>
              </a:cxn>
              <a:cxn ang="0">
                <a:pos x="connsiteX72512" y="connsiteY72512"/>
              </a:cxn>
              <a:cxn ang="0">
                <a:pos x="connsiteX72513" y="connsiteY72513"/>
              </a:cxn>
              <a:cxn ang="0">
                <a:pos x="connsiteX72514" y="connsiteY72514"/>
              </a:cxn>
              <a:cxn ang="0">
                <a:pos x="connsiteX72515" y="connsiteY72515"/>
              </a:cxn>
              <a:cxn ang="0">
                <a:pos x="connsiteX72516" y="connsiteY72516"/>
              </a:cxn>
              <a:cxn ang="0">
                <a:pos x="connsiteX72517" y="connsiteY72517"/>
              </a:cxn>
              <a:cxn ang="0">
                <a:pos x="connsiteX72518" y="connsiteY72518"/>
              </a:cxn>
              <a:cxn ang="0">
                <a:pos x="connsiteX72519" y="connsiteY72519"/>
              </a:cxn>
              <a:cxn ang="0">
                <a:pos x="connsiteX72520" y="connsiteY72520"/>
              </a:cxn>
              <a:cxn ang="0">
                <a:pos x="connsiteX72521" y="connsiteY72521"/>
              </a:cxn>
              <a:cxn ang="0">
                <a:pos x="connsiteX72522" y="connsiteY72522"/>
              </a:cxn>
              <a:cxn ang="0">
                <a:pos x="connsiteX72523" y="connsiteY72523"/>
              </a:cxn>
              <a:cxn ang="0">
                <a:pos x="connsiteX72524" y="connsiteY72524"/>
              </a:cxn>
              <a:cxn ang="0">
                <a:pos x="connsiteX72525" y="connsiteY72525"/>
              </a:cxn>
              <a:cxn ang="0">
                <a:pos x="connsiteX72526" y="connsiteY72526"/>
              </a:cxn>
              <a:cxn ang="0">
                <a:pos x="connsiteX72527" y="connsiteY72527"/>
              </a:cxn>
              <a:cxn ang="0">
                <a:pos x="connsiteX72528" y="connsiteY72528"/>
              </a:cxn>
              <a:cxn ang="0">
                <a:pos x="connsiteX72529" y="connsiteY72529"/>
              </a:cxn>
              <a:cxn ang="0">
                <a:pos x="connsiteX72530" y="connsiteY72530"/>
              </a:cxn>
              <a:cxn ang="0">
                <a:pos x="connsiteX72531" y="connsiteY72531"/>
              </a:cxn>
              <a:cxn ang="0">
                <a:pos x="connsiteX72532" y="connsiteY72532"/>
              </a:cxn>
              <a:cxn ang="0">
                <a:pos x="connsiteX72533" y="connsiteY72533"/>
              </a:cxn>
              <a:cxn ang="0">
                <a:pos x="connsiteX72534" y="connsiteY72534"/>
              </a:cxn>
              <a:cxn ang="0">
                <a:pos x="connsiteX72535" y="connsiteY72535"/>
              </a:cxn>
              <a:cxn ang="0">
                <a:pos x="connsiteX72536" y="connsiteY72536"/>
              </a:cxn>
              <a:cxn ang="0">
                <a:pos x="connsiteX72537" y="connsiteY72537"/>
              </a:cxn>
              <a:cxn ang="0">
                <a:pos x="connsiteX72538" y="connsiteY72538"/>
              </a:cxn>
              <a:cxn ang="0">
                <a:pos x="connsiteX72539" y="connsiteY72539"/>
              </a:cxn>
              <a:cxn ang="0">
                <a:pos x="connsiteX72540" y="connsiteY72540"/>
              </a:cxn>
              <a:cxn ang="0">
                <a:pos x="connsiteX72541" y="connsiteY72541"/>
              </a:cxn>
              <a:cxn ang="0">
                <a:pos x="connsiteX72542" y="connsiteY72542"/>
              </a:cxn>
              <a:cxn ang="0">
                <a:pos x="connsiteX72543" y="connsiteY72543"/>
              </a:cxn>
              <a:cxn ang="0">
                <a:pos x="connsiteX72544" y="connsiteY72544"/>
              </a:cxn>
              <a:cxn ang="0">
                <a:pos x="connsiteX72545" y="connsiteY72545"/>
              </a:cxn>
              <a:cxn ang="0">
                <a:pos x="connsiteX72546" y="connsiteY72546"/>
              </a:cxn>
              <a:cxn ang="0">
                <a:pos x="connsiteX72547" y="connsiteY72547"/>
              </a:cxn>
              <a:cxn ang="0">
                <a:pos x="connsiteX72548" y="connsiteY72548"/>
              </a:cxn>
              <a:cxn ang="0">
                <a:pos x="connsiteX72549" y="connsiteY72549"/>
              </a:cxn>
              <a:cxn ang="0">
                <a:pos x="connsiteX72550" y="connsiteY72550"/>
              </a:cxn>
              <a:cxn ang="0">
                <a:pos x="connsiteX72551" y="connsiteY72551"/>
              </a:cxn>
              <a:cxn ang="0">
                <a:pos x="connsiteX72552" y="connsiteY72552"/>
              </a:cxn>
              <a:cxn ang="0">
                <a:pos x="connsiteX72553" y="connsiteY72553"/>
              </a:cxn>
              <a:cxn ang="0">
                <a:pos x="connsiteX72554" y="connsiteY72554"/>
              </a:cxn>
              <a:cxn ang="0">
                <a:pos x="connsiteX72555" y="connsiteY72555"/>
              </a:cxn>
              <a:cxn ang="0">
                <a:pos x="connsiteX72556" y="connsiteY72556"/>
              </a:cxn>
              <a:cxn ang="0">
                <a:pos x="connsiteX72557" y="connsiteY72557"/>
              </a:cxn>
              <a:cxn ang="0">
                <a:pos x="connsiteX72558" y="connsiteY72558"/>
              </a:cxn>
              <a:cxn ang="0">
                <a:pos x="connsiteX72559" y="connsiteY72559"/>
              </a:cxn>
              <a:cxn ang="0">
                <a:pos x="connsiteX72560" y="connsiteY72560"/>
              </a:cxn>
              <a:cxn ang="0">
                <a:pos x="connsiteX72561" y="connsiteY72561"/>
              </a:cxn>
              <a:cxn ang="0">
                <a:pos x="connsiteX72562" y="connsiteY72562"/>
              </a:cxn>
              <a:cxn ang="0">
                <a:pos x="connsiteX72563" y="connsiteY72563"/>
              </a:cxn>
              <a:cxn ang="0">
                <a:pos x="connsiteX72564" y="connsiteY72564"/>
              </a:cxn>
              <a:cxn ang="0">
                <a:pos x="connsiteX72565" y="connsiteY72565"/>
              </a:cxn>
              <a:cxn ang="0">
                <a:pos x="connsiteX72566" y="connsiteY72566"/>
              </a:cxn>
              <a:cxn ang="0">
                <a:pos x="connsiteX72567" y="connsiteY72567"/>
              </a:cxn>
              <a:cxn ang="0">
                <a:pos x="connsiteX72568" y="connsiteY72568"/>
              </a:cxn>
              <a:cxn ang="0">
                <a:pos x="connsiteX72569" y="connsiteY72569"/>
              </a:cxn>
              <a:cxn ang="0">
                <a:pos x="connsiteX72570" y="connsiteY72570"/>
              </a:cxn>
              <a:cxn ang="0">
                <a:pos x="connsiteX72571" y="connsiteY72571"/>
              </a:cxn>
              <a:cxn ang="0">
                <a:pos x="connsiteX72572" y="connsiteY72572"/>
              </a:cxn>
              <a:cxn ang="0">
                <a:pos x="connsiteX72573" y="connsiteY72573"/>
              </a:cxn>
              <a:cxn ang="0">
                <a:pos x="connsiteX72574" y="connsiteY72574"/>
              </a:cxn>
              <a:cxn ang="0">
                <a:pos x="connsiteX72575" y="connsiteY72575"/>
              </a:cxn>
              <a:cxn ang="0">
                <a:pos x="connsiteX72576" y="connsiteY72576"/>
              </a:cxn>
              <a:cxn ang="0">
                <a:pos x="connsiteX72577" y="connsiteY72577"/>
              </a:cxn>
              <a:cxn ang="0">
                <a:pos x="connsiteX72578" y="connsiteY72578"/>
              </a:cxn>
              <a:cxn ang="0">
                <a:pos x="connsiteX72579" y="connsiteY72579"/>
              </a:cxn>
              <a:cxn ang="0">
                <a:pos x="connsiteX72580" y="connsiteY72580"/>
              </a:cxn>
              <a:cxn ang="0">
                <a:pos x="connsiteX72581" y="connsiteY72581"/>
              </a:cxn>
              <a:cxn ang="0">
                <a:pos x="connsiteX72582" y="connsiteY72582"/>
              </a:cxn>
              <a:cxn ang="0">
                <a:pos x="connsiteX72583" y="connsiteY72583"/>
              </a:cxn>
              <a:cxn ang="0">
                <a:pos x="connsiteX72584" y="connsiteY72584"/>
              </a:cxn>
              <a:cxn ang="0">
                <a:pos x="connsiteX72585" y="connsiteY72585"/>
              </a:cxn>
              <a:cxn ang="0">
                <a:pos x="connsiteX72586" y="connsiteY72586"/>
              </a:cxn>
              <a:cxn ang="0">
                <a:pos x="connsiteX72587" y="connsiteY72587"/>
              </a:cxn>
              <a:cxn ang="0">
                <a:pos x="connsiteX72588" y="connsiteY72588"/>
              </a:cxn>
              <a:cxn ang="0">
                <a:pos x="connsiteX72589" y="connsiteY72589"/>
              </a:cxn>
              <a:cxn ang="0">
                <a:pos x="connsiteX72590" y="connsiteY72590"/>
              </a:cxn>
              <a:cxn ang="0">
                <a:pos x="connsiteX72591" y="connsiteY72591"/>
              </a:cxn>
              <a:cxn ang="0">
                <a:pos x="connsiteX72592" y="connsiteY72592"/>
              </a:cxn>
              <a:cxn ang="0">
                <a:pos x="connsiteX72593" y="connsiteY72593"/>
              </a:cxn>
              <a:cxn ang="0">
                <a:pos x="connsiteX72594" y="connsiteY72594"/>
              </a:cxn>
              <a:cxn ang="0">
                <a:pos x="connsiteX72595" y="connsiteY72595"/>
              </a:cxn>
              <a:cxn ang="0">
                <a:pos x="connsiteX72596" y="connsiteY72596"/>
              </a:cxn>
              <a:cxn ang="0">
                <a:pos x="connsiteX72597" y="connsiteY72597"/>
              </a:cxn>
              <a:cxn ang="0">
                <a:pos x="connsiteX72598" y="connsiteY72598"/>
              </a:cxn>
              <a:cxn ang="0">
                <a:pos x="connsiteX72599" y="connsiteY72599"/>
              </a:cxn>
              <a:cxn ang="0">
                <a:pos x="connsiteX72600" y="connsiteY72600"/>
              </a:cxn>
              <a:cxn ang="0">
                <a:pos x="connsiteX72601" y="connsiteY72601"/>
              </a:cxn>
              <a:cxn ang="0">
                <a:pos x="connsiteX72602" y="connsiteY72602"/>
              </a:cxn>
              <a:cxn ang="0">
                <a:pos x="connsiteX72603" y="connsiteY72603"/>
              </a:cxn>
              <a:cxn ang="0">
                <a:pos x="connsiteX72604" y="connsiteY72604"/>
              </a:cxn>
              <a:cxn ang="0">
                <a:pos x="connsiteX72605" y="connsiteY72605"/>
              </a:cxn>
              <a:cxn ang="0">
                <a:pos x="connsiteX72606" y="connsiteY72606"/>
              </a:cxn>
              <a:cxn ang="0">
                <a:pos x="connsiteX72607" y="connsiteY72607"/>
              </a:cxn>
              <a:cxn ang="0">
                <a:pos x="connsiteX72608" y="connsiteY72608"/>
              </a:cxn>
              <a:cxn ang="0">
                <a:pos x="connsiteX72609" y="connsiteY72609"/>
              </a:cxn>
              <a:cxn ang="0">
                <a:pos x="connsiteX72610" y="connsiteY72610"/>
              </a:cxn>
              <a:cxn ang="0">
                <a:pos x="connsiteX72611" y="connsiteY72611"/>
              </a:cxn>
              <a:cxn ang="0">
                <a:pos x="connsiteX72612" y="connsiteY72612"/>
              </a:cxn>
              <a:cxn ang="0">
                <a:pos x="connsiteX72613" y="connsiteY72613"/>
              </a:cxn>
              <a:cxn ang="0">
                <a:pos x="connsiteX72614" y="connsiteY72614"/>
              </a:cxn>
              <a:cxn ang="0">
                <a:pos x="connsiteX72615" y="connsiteY72615"/>
              </a:cxn>
              <a:cxn ang="0">
                <a:pos x="connsiteX72616" y="connsiteY72616"/>
              </a:cxn>
              <a:cxn ang="0">
                <a:pos x="connsiteX72617" y="connsiteY72617"/>
              </a:cxn>
              <a:cxn ang="0">
                <a:pos x="connsiteX72618" y="connsiteY72618"/>
              </a:cxn>
              <a:cxn ang="0">
                <a:pos x="connsiteX72619" y="connsiteY72619"/>
              </a:cxn>
              <a:cxn ang="0">
                <a:pos x="connsiteX72620" y="connsiteY72620"/>
              </a:cxn>
              <a:cxn ang="0">
                <a:pos x="connsiteX72621" y="connsiteY72621"/>
              </a:cxn>
              <a:cxn ang="0">
                <a:pos x="connsiteX72622" y="connsiteY72622"/>
              </a:cxn>
              <a:cxn ang="0">
                <a:pos x="connsiteX72623" y="connsiteY72623"/>
              </a:cxn>
              <a:cxn ang="0">
                <a:pos x="connsiteX72624" y="connsiteY72624"/>
              </a:cxn>
              <a:cxn ang="0">
                <a:pos x="connsiteX72625" y="connsiteY72625"/>
              </a:cxn>
              <a:cxn ang="0">
                <a:pos x="connsiteX72626" y="connsiteY72626"/>
              </a:cxn>
              <a:cxn ang="0">
                <a:pos x="connsiteX72627" y="connsiteY72627"/>
              </a:cxn>
              <a:cxn ang="0">
                <a:pos x="connsiteX72628" y="connsiteY72628"/>
              </a:cxn>
              <a:cxn ang="0">
                <a:pos x="connsiteX72629" y="connsiteY72629"/>
              </a:cxn>
              <a:cxn ang="0">
                <a:pos x="connsiteX72630" y="connsiteY72630"/>
              </a:cxn>
              <a:cxn ang="0">
                <a:pos x="connsiteX72631" y="connsiteY72631"/>
              </a:cxn>
              <a:cxn ang="0">
                <a:pos x="connsiteX72632" y="connsiteY72632"/>
              </a:cxn>
              <a:cxn ang="0">
                <a:pos x="connsiteX72633" y="connsiteY72633"/>
              </a:cxn>
              <a:cxn ang="0">
                <a:pos x="connsiteX72634" y="connsiteY72634"/>
              </a:cxn>
              <a:cxn ang="0">
                <a:pos x="connsiteX72635" y="connsiteY72635"/>
              </a:cxn>
              <a:cxn ang="0">
                <a:pos x="connsiteX72636" y="connsiteY72636"/>
              </a:cxn>
              <a:cxn ang="0">
                <a:pos x="connsiteX72637" y="connsiteY72637"/>
              </a:cxn>
              <a:cxn ang="0">
                <a:pos x="connsiteX72638" y="connsiteY72638"/>
              </a:cxn>
              <a:cxn ang="0">
                <a:pos x="connsiteX72639" y="connsiteY72639"/>
              </a:cxn>
              <a:cxn ang="0">
                <a:pos x="connsiteX72640" y="connsiteY72640"/>
              </a:cxn>
              <a:cxn ang="0">
                <a:pos x="connsiteX72641" y="connsiteY72641"/>
              </a:cxn>
              <a:cxn ang="0">
                <a:pos x="connsiteX72642" y="connsiteY72642"/>
              </a:cxn>
              <a:cxn ang="0">
                <a:pos x="connsiteX72643" y="connsiteY72643"/>
              </a:cxn>
              <a:cxn ang="0">
                <a:pos x="connsiteX72644" y="connsiteY72644"/>
              </a:cxn>
              <a:cxn ang="0">
                <a:pos x="connsiteX72645" y="connsiteY72645"/>
              </a:cxn>
              <a:cxn ang="0">
                <a:pos x="connsiteX72646" y="connsiteY72646"/>
              </a:cxn>
              <a:cxn ang="0">
                <a:pos x="connsiteX72647" y="connsiteY72647"/>
              </a:cxn>
              <a:cxn ang="0">
                <a:pos x="connsiteX72648" y="connsiteY72648"/>
              </a:cxn>
              <a:cxn ang="0">
                <a:pos x="connsiteX72649" y="connsiteY72649"/>
              </a:cxn>
              <a:cxn ang="0">
                <a:pos x="connsiteX72650" y="connsiteY72650"/>
              </a:cxn>
              <a:cxn ang="0">
                <a:pos x="connsiteX72651" y="connsiteY72651"/>
              </a:cxn>
              <a:cxn ang="0">
                <a:pos x="connsiteX72652" y="connsiteY72652"/>
              </a:cxn>
              <a:cxn ang="0">
                <a:pos x="connsiteX72653" y="connsiteY72653"/>
              </a:cxn>
              <a:cxn ang="0">
                <a:pos x="connsiteX72654" y="connsiteY72654"/>
              </a:cxn>
              <a:cxn ang="0">
                <a:pos x="connsiteX72655" y="connsiteY72655"/>
              </a:cxn>
              <a:cxn ang="0">
                <a:pos x="connsiteX72656" y="connsiteY72656"/>
              </a:cxn>
              <a:cxn ang="0">
                <a:pos x="connsiteX72657" y="connsiteY72657"/>
              </a:cxn>
              <a:cxn ang="0">
                <a:pos x="connsiteX72658" y="connsiteY72658"/>
              </a:cxn>
              <a:cxn ang="0">
                <a:pos x="connsiteX72659" y="connsiteY72659"/>
              </a:cxn>
              <a:cxn ang="0">
                <a:pos x="connsiteX72660" y="connsiteY72660"/>
              </a:cxn>
              <a:cxn ang="0">
                <a:pos x="connsiteX72661" y="connsiteY72661"/>
              </a:cxn>
              <a:cxn ang="0">
                <a:pos x="connsiteX72662" y="connsiteY72662"/>
              </a:cxn>
              <a:cxn ang="0">
                <a:pos x="connsiteX72663" y="connsiteY72663"/>
              </a:cxn>
              <a:cxn ang="0">
                <a:pos x="connsiteX72664" y="connsiteY72664"/>
              </a:cxn>
              <a:cxn ang="0">
                <a:pos x="connsiteX72665" y="connsiteY72665"/>
              </a:cxn>
              <a:cxn ang="0">
                <a:pos x="connsiteX72666" y="connsiteY72666"/>
              </a:cxn>
              <a:cxn ang="0">
                <a:pos x="connsiteX72667" y="connsiteY72667"/>
              </a:cxn>
              <a:cxn ang="0">
                <a:pos x="connsiteX72668" y="connsiteY72668"/>
              </a:cxn>
              <a:cxn ang="0">
                <a:pos x="connsiteX72669" y="connsiteY72669"/>
              </a:cxn>
              <a:cxn ang="0">
                <a:pos x="connsiteX72670" y="connsiteY72670"/>
              </a:cxn>
              <a:cxn ang="0">
                <a:pos x="connsiteX72671" y="connsiteY72671"/>
              </a:cxn>
              <a:cxn ang="0">
                <a:pos x="connsiteX72672" y="connsiteY72672"/>
              </a:cxn>
              <a:cxn ang="0">
                <a:pos x="connsiteX72673" y="connsiteY72673"/>
              </a:cxn>
              <a:cxn ang="0">
                <a:pos x="connsiteX72674" y="connsiteY72674"/>
              </a:cxn>
              <a:cxn ang="0">
                <a:pos x="connsiteX72675" y="connsiteY72675"/>
              </a:cxn>
              <a:cxn ang="0">
                <a:pos x="connsiteX72676" y="connsiteY72676"/>
              </a:cxn>
              <a:cxn ang="0">
                <a:pos x="connsiteX72677" y="connsiteY72677"/>
              </a:cxn>
              <a:cxn ang="0">
                <a:pos x="connsiteX72678" y="connsiteY72678"/>
              </a:cxn>
              <a:cxn ang="0">
                <a:pos x="connsiteX72679" y="connsiteY72679"/>
              </a:cxn>
              <a:cxn ang="0">
                <a:pos x="connsiteX72680" y="connsiteY72680"/>
              </a:cxn>
              <a:cxn ang="0">
                <a:pos x="connsiteX72681" y="connsiteY72681"/>
              </a:cxn>
              <a:cxn ang="0">
                <a:pos x="connsiteX72682" y="connsiteY72682"/>
              </a:cxn>
              <a:cxn ang="0">
                <a:pos x="connsiteX72683" y="connsiteY72683"/>
              </a:cxn>
              <a:cxn ang="0">
                <a:pos x="connsiteX72684" y="connsiteY72684"/>
              </a:cxn>
              <a:cxn ang="0">
                <a:pos x="connsiteX72685" y="connsiteY72685"/>
              </a:cxn>
              <a:cxn ang="0">
                <a:pos x="connsiteX72686" y="connsiteY72686"/>
              </a:cxn>
              <a:cxn ang="0">
                <a:pos x="connsiteX72687" y="connsiteY72687"/>
              </a:cxn>
              <a:cxn ang="0">
                <a:pos x="connsiteX72688" y="connsiteY72688"/>
              </a:cxn>
              <a:cxn ang="0">
                <a:pos x="connsiteX72689" y="connsiteY72689"/>
              </a:cxn>
              <a:cxn ang="0">
                <a:pos x="connsiteX72690" y="connsiteY72690"/>
              </a:cxn>
              <a:cxn ang="0">
                <a:pos x="connsiteX72691" y="connsiteY72691"/>
              </a:cxn>
              <a:cxn ang="0">
                <a:pos x="connsiteX72692" y="connsiteY72692"/>
              </a:cxn>
              <a:cxn ang="0">
                <a:pos x="connsiteX72693" y="connsiteY72693"/>
              </a:cxn>
              <a:cxn ang="0">
                <a:pos x="connsiteX72694" y="connsiteY72694"/>
              </a:cxn>
              <a:cxn ang="0">
                <a:pos x="connsiteX72695" y="connsiteY72695"/>
              </a:cxn>
              <a:cxn ang="0">
                <a:pos x="connsiteX72696" y="connsiteY72696"/>
              </a:cxn>
              <a:cxn ang="0">
                <a:pos x="connsiteX72697" y="connsiteY72697"/>
              </a:cxn>
              <a:cxn ang="0">
                <a:pos x="connsiteX72698" y="connsiteY72698"/>
              </a:cxn>
              <a:cxn ang="0">
                <a:pos x="connsiteX72699" y="connsiteY72699"/>
              </a:cxn>
              <a:cxn ang="0">
                <a:pos x="connsiteX72700" y="connsiteY72700"/>
              </a:cxn>
              <a:cxn ang="0">
                <a:pos x="connsiteX72701" y="connsiteY72701"/>
              </a:cxn>
              <a:cxn ang="0">
                <a:pos x="connsiteX72702" y="connsiteY72702"/>
              </a:cxn>
              <a:cxn ang="0">
                <a:pos x="connsiteX72703" y="connsiteY72703"/>
              </a:cxn>
              <a:cxn ang="0">
                <a:pos x="connsiteX72704" y="connsiteY72704"/>
              </a:cxn>
              <a:cxn ang="0">
                <a:pos x="connsiteX72705" y="connsiteY72705"/>
              </a:cxn>
              <a:cxn ang="0">
                <a:pos x="connsiteX72706" y="connsiteY72706"/>
              </a:cxn>
              <a:cxn ang="0">
                <a:pos x="connsiteX72707" y="connsiteY72707"/>
              </a:cxn>
              <a:cxn ang="0">
                <a:pos x="connsiteX72708" y="connsiteY72708"/>
              </a:cxn>
              <a:cxn ang="0">
                <a:pos x="connsiteX72709" y="connsiteY72709"/>
              </a:cxn>
              <a:cxn ang="0">
                <a:pos x="connsiteX72710" y="connsiteY72710"/>
              </a:cxn>
              <a:cxn ang="0">
                <a:pos x="connsiteX72711" y="connsiteY72711"/>
              </a:cxn>
              <a:cxn ang="0">
                <a:pos x="connsiteX72712" y="connsiteY72712"/>
              </a:cxn>
              <a:cxn ang="0">
                <a:pos x="connsiteX72713" y="connsiteY72713"/>
              </a:cxn>
              <a:cxn ang="0">
                <a:pos x="connsiteX72714" y="connsiteY72714"/>
              </a:cxn>
              <a:cxn ang="0">
                <a:pos x="connsiteX72715" y="connsiteY72715"/>
              </a:cxn>
              <a:cxn ang="0">
                <a:pos x="connsiteX72716" y="connsiteY72716"/>
              </a:cxn>
              <a:cxn ang="0">
                <a:pos x="connsiteX72717" y="connsiteY72717"/>
              </a:cxn>
              <a:cxn ang="0">
                <a:pos x="connsiteX72718" y="connsiteY72718"/>
              </a:cxn>
              <a:cxn ang="0">
                <a:pos x="connsiteX72719" y="connsiteY72719"/>
              </a:cxn>
              <a:cxn ang="0">
                <a:pos x="connsiteX72720" y="connsiteY72720"/>
              </a:cxn>
              <a:cxn ang="0">
                <a:pos x="connsiteX72721" y="connsiteY72721"/>
              </a:cxn>
              <a:cxn ang="0">
                <a:pos x="connsiteX72722" y="connsiteY72722"/>
              </a:cxn>
              <a:cxn ang="0">
                <a:pos x="connsiteX72723" y="connsiteY72723"/>
              </a:cxn>
              <a:cxn ang="0">
                <a:pos x="connsiteX72724" y="connsiteY72724"/>
              </a:cxn>
              <a:cxn ang="0">
                <a:pos x="connsiteX72725" y="connsiteY72725"/>
              </a:cxn>
              <a:cxn ang="0">
                <a:pos x="connsiteX72726" y="connsiteY72726"/>
              </a:cxn>
              <a:cxn ang="0">
                <a:pos x="connsiteX72727" y="connsiteY72727"/>
              </a:cxn>
              <a:cxn ang="0">
                <a:pos x="connsiteX72728" y="connsiteY72728"/>
              </a:cxn>
              <a:cxn ang="0">
                <a:pos x="connsiteX72729" y="connsiteY72729"/>
              </a:cxn>
              <a:cxn ang="0">
                <a:pos x="connsiteX72730" y="connsiteY72730"/>
              </a:cxn>
              <a:cxn ang="0">
                <a:pos x="connsiteX72731" y="connsiteY72731"/>
              </a:cxn>
              <a:cxn ang="0">
                <a:pos x="connsiteX72732" y="connsiteY72732"/>
              </a:cxn>
              <a:cxn ang="0">
                <a:pos x="connsiteX72733" y="connsiteY72733"/>
              </a:cxn>
              <a:cxn ang="0">
                <a:pos x="connsiteX72734" y="connsiteY72734"/>
              </a:cxn>
              <a:cxn ang="0">
                <a:pos x="connsiteX72735" y="connsiteY72735"/>
              </a:cxn>
              <a:cxn ang="0">
                <a:pos x="connsiteX72736" y="connsiteY72736"/>
              </a:cxn>
              <a:cxn ang="0">
                <a:pos x="connsiteX72737" y="connsiteY72737"/>
              </a:cxn>
              <a:cxn ang="0">
                <a:pos x="connsiteX72738" y="connsiteY72738"/>
              </a:cxn>
              <a:cxn ang="0">
                <a:pos x="connsiteX72739" y="connsiteY72739"/>
              </a:cxn>
              <a:cxn ang="0">
                <a:pos x="connsiteX72740" y="connsiteY72740"/>
              </a:cxn>
              <a:cxn ang="0">
                <a:pos x="connsiteX72741" y="connsiteY72741"/>
              </a:cxn>
              <a:cxn ang="0">
                <a:pos x="connsiteX72742" y="connsiteY72742"/>
              </a:cxn>
              <a:cxn ang="0">
                <a:pos x="connsiteX72743" y="connsiteY72743"/>
              </a:cxn>
              <a:cxn ang="0">
                <a:pos x="connsiteX72744" y="connsiteY72744"/>
              </a:cxn>
              <a:cxn ang="0">
                <a:pos x="connsiteX72745" y="connsiteY72745"/>
              </a:cxn>
              <a:cxn ang="0">
                <a:pos x="connsiteX72746" y="connsiteY72746"/>
              </a:cxn>
              <a:cxn ang="0">
                <a:pos x="connsiteX72747" y="connsiteY72747"/>
              </a:cxn>
              <a:cxn ang="0">
                <a:pos x="connsiteX72748" y="connsiteY72748"/>
              </a:cxn>
              <a:cxn ang="0">
                <a:pos x="connsiteX72749" y="connsiteY72749"/>
              </a:cxn>
              <a:cxn ang="0">
                <a:pos x="connsiteX72750" y="connsiteY72750"/>
              </a:cxn>
              <a:cxn ang="0">
                <a:pos x="connsiteX72751" y="connsiteY72751"/>
              </a:cxn>
              <a:cxn ang="0">
                <a:pos x="connsiteX72752" y="connsiteY72752"/>
              </a:cxn>
              <a:cxn ang="0">
                <a:pos x="connsiteX72753" y="connsiteY72753"/>
              </a:cxn>
              <a:cxn ang="0">
                <a:pos x="connsiteX72754" y="connsiteY72754"/>
              </a:cxn>
              <a:cxn ang="0">
                <a:pos x="connsiteX72755" y="connsiteY72755"/>
              </a:cxn>
              <a:cxn ang="0">
                <a:pos x="connsiteX72756" y="connsiteY72756"/>
              </a:cxn>
              <a:cxn ang="0">
                <a:pos x="connsiteX72757" y="connsiteY72757"/>
              </a:cxn>
              <a:cxn ang="0">
                <a:pos x="connsiteX72758" y="connsiteY72758"/>
              </a:cxn>
              <a:cxn ang="0">
                <a:pos x="connsiteX72759" y="connsiteY72759"/>
              </a:cxn>
              <a:cxn ang="0">
                <a:pos x="connsiteX72760" y="connsiteY72760"/>
              </a:cxn>
              <a:cxn ang="0">
                <a:pos x="connsiteX72761" y="connsiteY72761"/>
              </a:cxn>
              <a:cxn ang="0">
                <a:pos x="connsiteX72762" y="connsiteY72762"/>
              </a:cxn>
              <a:cxn ang="0">
                <a:pos x="connsiteX72763" y="connsiteY72763"/>
              </a:cxn>
              <a:cxn ang="0">
                <a:pos x="connsiteX72764" y="connsiteY72764"/>
              </a:cxn>
              <a:cxn ang="0">
                <a:pos x="connsiteX72765" y="connsiteY72765"/>
              </a:cxn>
              <a:cxn ang="0">
                <a:pos x="connsiteX72766" y="connsiteY72766"/>
              </a:cxn>
              <a:cxn ang="0">
                <a:pos x="connsiteX72767" y="connsiteY72767"/>
              </a:cxn>
              <a:cxn ang="0">
                <a:pos x="connsiteX72768" y="connsiteY72768"/>
              </a:cxn>
              <a:cxn ang="0">
                <a:pos x="connsiteX72769" y="connsiteY72769"/>
              </a:cxn>
              <a:cxn ang="0">
                <a:pos x="connsiteX72770" y="connsiteY72770"/>
              </a:cxn>
              <a:cxn ang="0">
                <a:pos x="connsiteX72771" y="connsiteY72771"/>
              </a:cxn>
              <a:cxn ang="0">
                <a:pos x="connsiteX72772" y="connsiteY72772"/>
              </a:cxn>
              <a:cxn ang="0">
                <a:pos x="connsiteX72773" y="connsiteY72773"/>
              </a:cxn>
              <a:cxn ang="0">
                <a:pos x="connsiteX72774" y="connsiteY72774"/>
              </a:cxn>
              <a:cxn ang="0">
                <a:pos x="connsiteX72775" y="connsiteY72775"/>
              </a:cxn>
              <a:cxn ang="0">
                <a:pos x="connsiteX72776" y="connsiteY72776"/>
              </a:cxn>
              <a:cxn ang="0">
                <a:pos x="connsiteX72777" y="connsiteY72777"/>
              </a:cxn>
              <a:cxn ang="0">
                <a:pos x="connsiteX72778" y="connsiteY72778"/>
              </a:cxn>
              <a:cxn ang="0">
                <a:pos x="connsiteX72779" y="connsiteY72779"/>
              </a:cxn>
              <a:cxn ang="0">
                <a:pos x="connsiteX72780" y="connsiteY72780"/>
              </a:cxn>
              <a:cxn ang="0">
                <a:pos x="connsiteX72781" y="connsiteY72781"/>
              </a:cxn>
              <a:cxn ang="0">
                <a:pos x="connsiteX72782" y="connsiteY72782"/>
              </a:cxn>
              <a:cxn ang="0">
                <a:pos x="connsiteX72783" y="connsiteY72783"/>
              </a:cxn>
              <a:cxn ang="0">
                <a:pos x="connsiteX72784" y="connsiteY72784"/>
              </a:cxn>
              <a:cxn ang="0">
                <a:pos x="connsiteX72785" y="connsiteY72785"/>
              </a:cxn>
              <a:cxn ang="0">
                <a:pos x="connsiteX72786" y="connsiteY72786"/>
              </a:cxn>
              <a:cxn ang="0">
                <a:pos x="connsiteX72787" y="connsiteY72787"/>
              </a:cxn>
              <a:cxn ang="0">
                <a:pos x="connsiteX72788" y="connsiteY72788"/>
              </a:cxn>
              <a:cxn ang="0">
                <a:pos x="connsiteX72789" y="connsiteY72789"/>
              </a:cxn>
              <a:cxn ang="0">
                <a:pos x="connsiteX72790" y="connsiteY72790"/>
              </a:cxn>
              <a:cxn ang="0">
                <a:pos x="connsiteX72791" y="connsiteY72791"/>
              </a:cxn>
              <a:cxn ang="0">
                <a:pos x="connsiteX72792" y="connsiteY72792"/>
              </a:cxn>
              <a:cxn ang="0">
                <a:pos x="connsiteX72793" y="connsiteY72793"/>
              </a:cxn>
              <a:cxn ang="0">
                <a:pos x="connsiteX72794" y="connsiteY72794"/>
              </a:cxn>
              <a:cxn ang="0">
                <a:pos x="connsiteX72795" y="connsiteY72795"/>
              </a:cxn>
              <a:cxn ang="0">
                <a:pos x="connsiteX72796" y="connsiteY72796"/>
              </a:cxn>
              <a:cxn ang="0">
                <a:pos x="connsiteX72797" y="connsiteY72797"/>
              </a:cxn>
              <a:cxn ang="0">
                <a:pos x="connsiteX72798" y="connsiteY72798"/>
              </a:cxn>
              <a:cxn ang="0">
                <a:pos x="connsiteX72799" y="connsiteY72799"/>
              </a:cxn>
              <a:cxn ang="0">
                <a:pos x="connsiteX72800" y="connsiteY72800"/>
              </a:cxn>
              <a:cxn ang="0">
                <a:pos x="connsiteX72801" y="connsiteY72801"/>
              </a:cxn>
              <a:cxn ang="0">
                <a:pos x="connsiteX72802" y="connsiteY72802"/>
              </a:cxn>
              <a:cxn ang="0">
                <a:pos x="connsiteX72803" y="connsiteY72803"/>
              </a:cxn>
              <a:cxn ang="0">
                <a:pos x="connsiteX72804" y="connsiteY72804"/>
              </a:cxn>
              <a:cxn ang="0">
                <a:pos x="connsiteX72805" y="connsiteY72805"/>
              </a:cxn>
              <a:cxn ang="0">
                <a:pos x="connsiteX72806" y="connsiteY72806"/>
              </a:cxn>
              <a:cxn ang="0">
                <a:pos x="connsiteX72807" y="connsiteY72807"/>
              </a:cxn>
              <a:cxn ang="0">
                <a:pos x="connsiteX72808" y="connsiteY72808"/>
              </a:cxn>
              <a:cxn ang="0">
                <a:pos x="connsiteX72809" y="connsiteY72809"/>
              </a:cxn>
              <a:cxn ang="0">
                <a:pos x="connsiteX72810" y="connsiteY72810"/>
              </a:cxn>
              <a:cxn ang="0">
                <a:pos x="connsiteX72811" y="connsiteY72811"/>
              </a:cxn>
              <a:cxn ang="0">
                <a:pos x="connsiteX72812" y="connsiteY72812"/>
              </a:cxn>
              <a:cxn ang="0">
                <a:pos x="connsiteX72813" y="connsiteY72813"/>
              </a:cxn>
              <a:cxn ang="0">
                <a:pos x="connsiteX72814" y="connsiteY72814"/>
              </a:cxn>
              <a:cxn ang="0">
                <a:pos x="connsiteX72815" y="connsiteY72815"/>
              </a:cxn>
              <a:cxn ang="0">
                <a:pos x="connsiteX72816" y="connsiteY72816"/>
              </a:cxn>
              <a:cxn ang="0">
                <a:pos x="connsiteX72817" y="connsiteY72817"/>
              </a:cxn>
              <a:cxn ang="0">
                <a:pos x="connsiteX72818" y="connsiteY72818"/>
              </a:cxn>
              <a:cxn ang="0">
                <a:pos x="connsiteX72819" y="connsiteY72819"/>
              </a:cxn>
              <a:cxn ang="0">
                <a:pos x="connsiteX72820" y="connsiteY72820"/>
              </a:cxn>
              <a:cxn ang="0">
                <a:pos x="connsiteX72821" y="connsiteY72821"/>
              </a:cxn>
              <a:cxn ang="0">
                <a:pos x="connsiteX72822" y="connsiteY72822"/>
              </a:cxn>
              <a:cxn ang="0">
                <a:pos x="connsiteX72823" y="connsiteY72823"/>
              </a:cxn>
              <a:cxn ang="0">
                <a:pos x="connsiteX72824" y="connsiteY72824"/>
              </a:cxn>
              <a:cxn ang="0">
                <a:pos x="connsiteX72825" y="connsiteY72825"/>
              </a:cxn>
              <a:cxn ang="0">
                <a:pos x="connsiteX72826" y="connsiteY72826"/>
              </a:cxn>
              <a:cxn ang="0">
                <a:pos x="connsiteX72827" y="connsiteY72827"/>
              </a:cxn>
              <a:cxn ang="0">
                <a:pos x="connsiteX72828" y="connsiteY72828"/>
              </a:cxn>
              <a:cxn ang="0">
                <a:pos x="connsiteX72829" y="connsiteY72829"/>
              </a:cxn>
              <a:cxn ang="0">
                <a:pos x="connsiteX72830" y="connsiteY72830"/>
              </a:cxn>
              <a:cxn ang="0">
                <a:pos x="connsiteX72831" y="connsiteY72831"/>
              </a:cxn>
              <a:cxn ang="0">
                <a:pos x="connsiteX72832" y="connsiteY72832"/>
              </a:cxn>
              <a:cxn ang="0">
                <a:pos x="connsiteX72833" y="connsiteY72833"/>
              </a:cxn>
              <a:cxn ang="0">
                <a:pos x="connsiteX72834" y="connsiteY72834"/>
              </a:cxn>
              <a:cxn ang="0">
                <a:pos x="connsiteX72835" y="connsiteY72835"/>
              </a:cxn>
              <a:cxn ang="0">
                <a:pos x="connsiteX72836" y="connsiteY72836"/>
              </a:cxn>
              <a:cxn ang="0">
                <a:pos x="connsiteX72837" y="connsiteY72837"/>
              </a:cxn>
              <a:cxn ang="0">
                <a:pos x="connsiteX72838" y="connsiteY72838"/>
              </a:cxn>
              <a:cxn ang="0">
                <a:pos x="connsiteX72839" y="connsiteY72839"/>
              </a:cxn>
              <a:cxn ang="0">
                <a:pos x="connsiteX72840" y="connsiteY72840"/>
              </a:cxn>
              <a:cxn ang="0">
                <a:pos x="connsiteX72841" y="connsiteY72841"/>
              </a:cxn>
              <a:cxn ang="0">
                <a:pos x="connsiteX72842" y="connsiteY72842"/>
              </a:cxn>
              <a:cxn ang="0">
                <a:pos x="connsiteX72843" y="connsiteY72843"/>
              </a:cxn>
              <a:cxn ang="0">
                <a:pos x="connsiteX72844" y="connsiteY72844"/>
              </a:cxn>
              <a:cxn ang="0">
                <a:pos x="connsiteX72845" y="connsiteY72845"/>
              </a:cxn>
              <a:cxn ang="0">
                <a:pos x="connsiteX72846" y="connsiteY72846"/>
              </a:cxn>
              <a:cxn ang="0">
                <a:pos x="connsiteX72847" y="connsiteY72847"/>
              </a:cxn>
              <a:cxn ang="0">
                <a:pos x="connsiteX72848" y="connsiteY72848"/>
              </a:cxn>
              <a:cxn ang="0">
                <a:pos x="connsiteX72849" y="connsiteY72849"/>
              </a:cxn>
              <a:cxn ang="0">
                <a:pos x="connsiteX72850" y="connsiteY72850"/>
              </a:cxn>
              <a:cxn ang="0">
                <a:pos x="connsiteX72851" y="connsiteY72851"/>
              </a:cxn>
              <a:cxn ang="0">
                <a:pos x="connsiteX72852" y="connsiteY72852"/>
              </a:cxn>
              <a:cxn ang="0">
                <a:pos x="connsiteX72853" y="connsiteY72853"/>
              </a:cxn>
              <a:cxn ang="0">
                <a:pos x="connsiteX72854" y="connsiteY72854"/>
              </a:cxn>
              <a:cxn ang="0">
                <a:pos x="connsiteX72855" y="connsiteY72855"/>
              </a:cxn>
              <a:cxn ang="0">
                <a:pos x="connsiteX72856" y="connsiteY72856"/>
              </a:cxn>
              <a:cxn ang="0">
                <a:pos x="connsiteX72857" y="connsiteY72857"/>
              </a:cxn>
              <a:cxn ang="0">
                <a:pos x="connsiteX72858" y="connsiteY72858"/>
              </a:cxn>
              <a:cxn ang="0">
                <a:pos x="connsiteX72859" y="connsiteY72859"/>
              </a:cxn>
              <a:cxn ang="0">
                <a:pos x="connsiteX72860" y="connsiteY72860"/>
              </a:cxn>
              <a:cxn ang="0">
                <a:pos x="connsiteX72861" y="connsiteY72861"/>
              </a:cxn>
              <a:cxn ang="0">
                <a:pos x="connsiteX72862" y="connsiteY72862"/>
              </a:cxn>
              <a:cxn ang="0">
                <a:pos x="connsiteX72863" y="connsiteY72863"/>
              </a:cxn>
              <a:cxn ang="0">
                <a:pos x="connsiteX72864" y="connsiteY72864"/>
              </a:cxn>
              <a:cxn ang="0">
                <a:pos x="connsiteX72865" y="connsiteY72865"/>
              </a:cxn>
              <a:cxn ang="0">
                <a:pos x="connsiteX72866" y="connsiteY72866"/>
              </a:cxn>
              <a:cxn ang="0">
                <a:pos x="connsiteX72867" y="connsiteY72867"/>
              </a:cxn>
              <a:cxn ang="0">
                <a:pos x="connsiteX72868" y="connsiteY72868"/>
              </a:cxn>
              <a:cxn ang="0">
                <a:pos x="connsiteX72869" y="connsiteY72869"/>
              </a:cxn>
              <a:cxn ang="0">
                <a:pos x="connsiteX72870" y="connsiteY72870"/>
              </a:cxn>
              <a:cxn ang="0">
                <a:pos x="connsiteX72871" y="connsiteY72871"/>
              </a:cxn>
              <a:cxn ang="0">
                <a:pos x="connsiteX72872" y="connsiteY72872"/>
              </a:cxn>
              <a:cxn ang="0">
                <a:pos x="connsiteX72873" y="connsiteY72873"/>
              </a:cxn>
              <a:cxn ang="0">
                <a:pos x="connsiteX72874" y="connsiteY72874"/>
              </a:cxn>
              <a:cxn ang="0">
                <a:pos x="connsiteX72875" y="connsiteY72875"/>
              </a:cxn>
              <a:cxn ang="0">
                <a:pos x="connsiteX72876" y="connsiteY72876"/>
              </a:cxn>
              <a:cxn ang="0">
                <a:pos x="connsiteX72877" y="connsiteY72877"/>
              </a:cxn>
              <a:cxn ang="0">
                <a:pos x="connsiteX72878" y="connsiteY72878"/>
              </a:cxn>
              <a:cxn ang="0">
                <a:pos x="connsiteX72879" y="connsiteY72879"/>
              </a:cxn>
              <a:cxn ang="0">
                <a:pos x="connsiteX72880" y="connsiteY72880"/>
              </a:cxn>
              <a:cxn ang="0">
                <a:pos x="connsiteX72881" y="connsiteY72881"/>
              </a:cxn>
              <a:cxn ang="0">
                <a:pos x="connsiteX72882" y="connsiteY72882"/>
              </a:cxn>
              <a:cxn ang="0">
                <a:pos x="connsiteX72883" y="connsiteY72883"/>
              </a:cxn>
              <a:cxn ang="0">
                <a:pos x="connsiteX72884" y="connsiteY72884"/>
              </a:cxn>
              <a:cxn ang="0">
                <a:pos x="connsiteX72885" y="connsiteY72885"/>
              </a:cxn>
              <a:cxn ang="0">
                <a:pos x="connsiteX72886" y="connsiteY72886"/>
              </a:cxn>
              <a:cxn ang="0">
                <a:pos x="connsiteX72887" y="connsiteY72887"/>
              </a:cxn>
              <a:cxn ang="0">
                <a:pos x="connsiteX72888" y="connsiteY72888"/>
              </a:cxn>
              <a:cxn ang="0">
                <a:pos x="connsiteX72889" y="connsiteY72889"/>
              </a:cxn>
              <a:cxn ang="0">
                <a:pos x="connsiteX72890" y="connsiteY72890"/>
              </a:cxn>
              <a:cxn ang="0">
                <a:pos x="connsiteX72891" y="connsiteY72891"/>
              </a:cxn>
              <a:cxn ang="0">
                <a:pos x="connsiteX72892" y="connsiteY72892"/>
              </a:cxn>
              <a:cxn ang="0">
                <a:pos x="connsiteX72893" y="connsiteY72893"/>
              </a:cxn>
              <a:cxn ang="0">
                <a:pos x="connsiteX72894" y="connsiteY72894"/>
              </a:cxn>
              <a:cxn ang="0">
                <a:pos x="connsiteX72895" y="connsiteY72895"/>
              </a:cxn>
              <a:cxn ang="0">
                <a:pos x="connsiteX72896" y="connsiteY72896"/>
              </a:cxn>
              <a:cxn ang="0">
                <a:pos x="connsiteX72897" y="connsiteY72897"/>
              </a:cxn>
              <a:cxn ang="0">
                <a:pos x="connsiteX72898" y="connsiteY72898"/>
              </a:cxn>
              <a:cxn ang="0">
                <a:pos x="connsiteX72899" y="connsiteY72899"/>
              </a:cxn>
              <a:cxn ang="0">
                <a:pos x="connsiteX72900" y="connsiteY72900"/>
              </a:cxn>
              <a:cxn ang="0">
                <a:pos x="connsiteX72901" y="connsiteY72901"/>
              </a:cxn>
              <a:cxn ang="0">
                <a:pos x="connsiteX72902" y="connsiteY72902"/>
              </a:cxn>
              <a:cxn ang="0">
                <a:pos x="connsiteX72903" y="connsiteY72903"/>
              </a:cxn>
              <a:cxn ang="0">
                <a:pos x="connsiteX72904" y="connsiteY72904"/>
              </a:cxn>
              <a:cxn ang="0">
                <a:pos x="connsiteX72905" y="connsiteY72905"/>
              </a:cxn>
              <a:cxn ang="0">
                <a:pos x="connsiteX72906" y="connsiteY72906"/>
              </a:cxn>
              <a:cxn ang="0">
                <a:pos x="connsiteX72907" y="connsiteY72907"/>
              </a:cxn>
              <a:cxn ang="0">
                <a:pos x="connsiteX72908" y="connsiteY72908"/>
              </a:cxn>
              <a:cxn ang="0">
                <a:pos x="connsiteX72909" y="connsiteY72909"/>
              </a:cxn>
              <a:cxn ang="0">
                <a:pos x="connsiteX72910" y="connsiteY72910"/>
              </a:cxn>
              <a:cxn ang="0">
                <a:pos x="connsiteX72911" y="connsiteY72911"/>
              </a:cxn>
              <a:cxn ang="0">
                <a:pos x="connsiteX72912" y="connsiteY72912"/>
              </a:cxn>
              <a:cxn ang="0">
                <a:pos x="connsiteX72913" y="connsiteY72913"/>
              </a:cxn>
              <a:cxn ang="0">
                <a:pos x="connsiteX72914" y="connsiteY72914"/>
              </a:cxn>
              <a:cxn ang="0">
                <a:pos x="connsiteX72915" y="connsiteY72915"/>
              </a:cxn>
              <a:cxn ang="0">
                <a:pos x="connsiteX72916" y="connsiteY72916"/>
              </a:cxn>
              <a:cxn ang="0">
                <a:pos x="connsiteX72917" y="connsiteY72917"/>
              </a:cxn>
              <a:cxn ang="0">
                <a:pos x="connsiteX72918" y="connsiteY72918"/>
              </a:cxn>
              <a:cxn ang="0">
                <a:pos x="connsiteX72919" y="connsiteY72919"/>
              </a:cxn>
              <a:cxn ang="0">
                <a:pos x="connsiteX72920" y="connsiteY72920"/>
              </a:cxn>
              <a:cxn ang="0">
                <a:pos x="connsiteX72921" y="connsiteY72921"/>
              </a:cxn>
              <a:cxn ang="0">
                <a:pos x="connsiteX72922" y="connsiteY72922"/>
              </a:cxn>
              <a:cxn ang="0">
                <a:pos x="connsiteX72923" y="connsiteY72923"/>
              </a:cxn>
              <a:cxn ang="0">
                <a:pos x="connsiteX72924" y="connsiteY72924"/>
              </a:cxn>
              <a:cxn ang="0">
                <a:pos x="connsiteX72925" y="connsiteY72925"/>
              </a:cxn>
              <a:cxn ang="0">
                <a:pos x="connsiteX72926" y="connsiteY72926"/>
              </a:cxn>
              <a:cxn ang="0">
                <a:pos x="connsiteX72927" y="connsiteY72927"/>
              </a:cxn>
              <a:cxn ang="0">
                <a:pos x="connsiteX72928" y="connsiteY72928"/>
              </a:cxn>
              <a:cxn ang="0">
                <a:pos x="connsiteX72929" y="connsiteY72929"/>
              </a:cxn>
              <a:cxn ang="0">
                <a:pos x="connsiteX72930" y="connsiteY72930"/>
              </a:cxn>
              <a:cxn ang="0">
                <a:pos x="connsiteX72931" y="connsiteY72931"/>
              </a:cxn>
              <a:cxn ang="0">
                <a:pos x="connsiteX72932" y="connsiteY72932"/>
              </a:cxn>
              <a:cxn ang="0">
                <a:pos x="connsiteX72933" y="connsiteY72933"/>
              </a:cxn>
              <a:cxn ang="0">
                <a:pos x="connsiteX72934" y="connsiteY72934"/>
              </a:cxn>
              <a:cxn ang="0">
                <a:pos x="connsiteX72935" y="connsiteY72935"/>
              </a:cxn>
              <a:cxn ang="0">
                <a:pos x="connsiteX72936" y="connsiteY72936"/>
              </a:cxn>
              <a:cxn ang="0">
                <a:pos x="connsiteX72937" y="connsiteY72937"/>
              </a:cxn>
              <a:cxn ang="0">
                <a:pos x="connsiteX72938" y="connsiteY72938"/>
              </a:cxn>
              <a:cxn ang="0">
                <a:pos x="connsiteX72939" y="connsiteY72939"/>
              </a:cxn>
              <a:cxn ang="0">
                <a:pos x="connsiteX72940" y="connsiteY72940"/>
              </a:cxn>
              <a:cxn ang="0">
                <a:pos x="connsiteX72941" y="connsiteY72941"/>
              </a:cxn>
              <a:cxn ang="0">
                <a:pos x="connsiteX72942" y="connsiteY72942"/>
              </a:cxn>
              <a:cxn ang="0">
                <a:pos x="connsiteX72943" y="connsiteY72943"/>
              </a:cxn>
              <a:cxn ang="0">
                <a:pos x="connsiteX72944" y="connsiteY72944"/>
              </a:cxn>
              <a:cxn ang="0">
                <a:pos x="connsiteX72945" y="connsiteY72945"/>
              </a:cxn>
              <a:cxn ang="0">
                <a:pos x="connsiteX72946" y="connsiteY72946"/>
              </a:cxn>
              <a:cxn ang="0">
                <a:pos x="connsiteX72947" y="connsiteY72947"/>
              </a:cxn>
              <a:cxn ang="0">
                <a:pos x="connsiteX72948" y="connsiteY72948"/>
              </a:cxn>
              <a:cxn ang="0">
                <a:pos x="connsiteX72949" y="connsiteY72949"/>
              </a:cxn>
              <a:cxn ang="0">
                <a:pos x="connsiteX72950" y="connsiteY72950"/>
              </a:cxn>
              <a:cxn ang="0">
                <a:pos x="connsiteX72951" y="connsiteY72951"/>
              </a:cxn>
              <a:cxn ang="0">
                <a:pos x="connsiteX72952" y="connsiteY72952"/>
              </a:cxn>
              <a:cxn ang="0">
                <a:pos x="connsiteX72953" y="connsiteY72953"/>
              </a:cxn>
              <a:cxn ang="0">
                <a:pos x="connsiteX72954" y="connsiteY72954"/>
              </a:cxn>
              <a:cxn ang="0">
                <a:pos x="connsiteX72955" y="connsiteY72955"/>
              </a:cxn>
              <a:cxn ang="0">
                <a:pos x="connsiteX72956" y="connsiteY72956"/>
              </a:cxn>
              <a:cxn ang="0">
                <a:pos x="connsiteX72957" y="connsiteY72957"/>
              </a:cxn>
              <a:cxn ang="0">
                <a:pos x="connsiteX72958" y="connsiteY72958"/>
              </a:cxn>
              <a:cxn ang="0">
                <a:pos x="connsiteX72959" y="connsiteY72959"/>
              </a:cxn>
              <a:cxn ang="0">
                <a:pos x="connsiteX72960" y="connsiteY72960"/>
              </a:cxn>
              <a:cxn ang="0">
                <a:pos x="connsiteX72961" y="connsiteY72961"/>
              </a:cxn>
              <a:cxn ang="0">
                <a:pos x="connsiteX72962" y="connsiteY72962"/>
              </a:cxn>
              <a:cxn ang="0">
                <a:pos x="connsiteX72963" y="connsiteY72963"/>
              </a:cxn>
              <a:cxn ang="0">
                <a:pos x="connsiteX72964" y="connsiteY72964"/>
              </a:cxn>
              <a:cxn ang="0">
                <a:pos x="connsiteX72965" y="connsiteY72965"/>
              </a:cxn>
              <a:cxn ang="0">
                <a:pos x="connsiteX72966" y="connsiteY72966"/>
              </a:cxn>
              <a:cxn ang="0">
                <a:pos x="connsiteX72967" y="connsiteY72967"/>
              </a:cxn>
              <a:cxn ang="0">
                <a:pos x="connsiteX72968" y="connsiteY72968"/>
              </a:cxn>
              <a:cxn ang="0">
                <a:pos x="connsiteX72969" y="connsiteY72969"/>
              </a:cxn>
              <a:cxn ang="0">
                <a:pos x="connsiteX72970" y="connsiteY72970"/>
              </a:cxn>
              <a:cxn ang="0">
                <a:pos x="connsiteX72971" y="connsiteY72971"/>
              </a:cxn>
              <a:cxn ang="0">
                <a:pos x="connsiteX72972" y="connsiteY72972"/>
              </a:cxn>
              <a:cxn ang="0">
                <a:pos x="connsiteX72973" y="connsiteY72973"/>
              </a:cxn>
              <a:cxn ang="0">
                <a:pos x="connsiteX72974" y="connsiteY72974"/>
              </a:cxn>
              <a:cxn ang="0">
                <a:pos x="connsiteX72975" y="connsiteY72975"/>
              </a:cxn>
              <a:cxn ang="0">
                <a:pos x="connsiteX72976" y="connsiteY72976"/>
              </a:cxn>
              <a:cxn ang="0">
                <a:pos x="connsiteX72977" y="connsiteY72977"/>
              </a:cxn>
              <a:cxn ang="0">
                <a:pos x="connsiteX72978" y="connsiteY72978"/>
              </a:cxn>
              <a:cxn ang="0">
                <a:pos x="connsiteX72979" y="connsiteY72979"/>
              </a:cxn>
              <a:cxn ang="0">
                <a:pos x="connsiteX72980" y="connsiteY72980"/>
              </a:cxn>
              <a:cxn ang="0">
                <a:pos x="connsiteX72981" y="connsiteY72981"/>
              </a:cxn>
              <a:cxn ang="0">
                <a:pos x="connsiteX72982" y="connsiteY72982"/>
              </a:cxn>
              <a:cxn ang="0">
                <a:pos x="connsiteX72983" y="connsiteY72983"/>
              </a:cxn>
              <a:cxn ang="0">
                <a:pos x="connsiteX72984" y="connsiteY72984"/>
              </a:cxn>
              <a:cxn ang="0">
                <a:pos x="connsiteX72985" y="connsiteY72985"/>
              </a:cxn>
              <a:cxn ang="0">
                <a:pos x="connsiteX72986" y="connsiteY72986"/>
              </a:cxn>
              <a:cxn ang="0">
                <a:pos x="connsiteX72987" y="connsiteY72987"/>
              </a:cxn>
              <a:cxn ang="0">
                <a:pos x="connsiteX72988" y="connsiteY72988"/>
              </a:cxn>
              <a:cxn ang="0">
                <a:pos x="connsiteX72989" y="connsiteY72989"/>
              </a:cxn>
              <a:cxn ang="0">
                <a:pos x="connsiteX72990" y="connsiteY72990"/>
              </a:cxn>
              <a:cxn ang="0">
                <a:pos x="connsiteX72991" y="connsiteY72991"/>
              </a:cxn>
              <a:cxn ang="0">
                <a:pos x="connsiteX72992" y="connsiteY72992"/>
              </a:cxn>
              <a:cxn ang="0">
                <a:pos x="connsiteX72993" y="connsiteY72993"/>
              </a:cxn>
              <a:cxn ang="0">
                <a:pos x="connsiteX72994" y="connsiteY72994"/>
              </a:cxn>
              <a:cxn ang="0">
                <a:pos x="connsiteX72995" y="connsiteY72995"/>
              </a:cxn>
              <a:cxn ang="0">
                <a:pos x="connsiteX72996" y="connsiteY72996"/>
              </a:cxn>
              <a:cxn ang="0">
                <a:pos x="connsiteX72997" y="connsiteY72997"/>
              </a:cxn>
              <a:cxn ang="0">
                <a:pos x="connsiteX72998" y="connsiteY72998"/>
              </a:cxn>
              <a:cxn ang="0">
                <a:pos x="connsiteX72999" y="connsiteY72999"/>
              </a:cxn>
              <a:cxn ang="0">
                <a:pos x="connsiteX73000" y="connsiteY73000"/>
              </a:cxn>
              <a:cxn ang="0">
                <a:pos x="connsiteX73001" y="connsiteY73001"/>
              </a:cxn>
              <a:cxn ang="0">
                <a:pos x="connsiteX73002" y="connsiteY73002"/>
              </a:cxn>
              <a:cxn ang="0">
                <a:pos x="connsiteX73003" y="connsiteY73003"/>
              </a:cxn>
              <a:cxn ang="0">
                <a:pos x="connsiteX73004" y="connsiteY73004"/>
              </a:cxn>
              <a:cxn ang="0">
                <a:pos x="connsiteX73005" y="connsiteY73005"/>
              </a:cxn>
              <a:cxn ang="0">
                <a:pos x="connsiteX73006" y="connsiteY73006"/>
              </a:cxn>
              <a:cxn ang="0">
                <a:pos x="connsiteX73007" y="connsiteY73007"/>
              </a:cxn>
              <a:cxn ang="0">
                <a:pos x="connsiteX73008" y="connsiteY73008"/>
              </a:cxn>
              <a:cxn ang="0">
                <a:pos x="connsiteX73009" y="connsiteY73009"/>
              </a:cxn>
              <a:cxn ang="0">
                <a:pos x="connsiteX73010" y="connsiteY73010"/>
              </a:cxn>
              <a:cxn ang="0">
                <a:pos x="connsiteX73011" y="connsiteY73011"/>
              </a:cxn>
              <a:cxn ang="0">
                <a:pos x="connsiteX73012" y="connsiteY73012"/>
              </a:cxn>
              <a:cxn ang="0">
                <a:pos x="connsiteX73013" y="connsiteY73013"/>
              </a:cxn>
              <a:cxn ang="0">
                <a:pos x="connsiteX73014" y="connsiteY73014"/>
              </a:cxn>
              <a:cxn ang="0">
                <a:pos x="connsiteX73015" y="connsiteY73015"/>
              </a:cxn>
              <a:cxn ang="0">
                <a:pos x="connsiteX73016" y="connsiteY73016"/>
              </a:cxn>
              <a:cxn ang="0">
                <a:pos x="connsiteX73017" y="connsiteY73017"/>
              </a:cxn>
              <a:cxn ang="0">
                <a:pos x="connsiteX73018" y="connsiteY73018"/>
              </a:cxn>
              <a:cxn ang="0">
                <a:pos x="connsiteX73019" y="connsiteY73019"/>
              </a:cxn>
              <a:cxn ang="0">
                <a:pos x="connsiteX73020" y="connsiteY73020"/>
              </a:cxn>
              <a:cxn ang="0">
                <a:pos x="connsiteX73021" y="connsiteY73021"/>
              </a:cxn>
              <a:cxn ang="0">
                <a:pos x="connsiteX73022" y="connsiteY73022"/>
              </a:cxn>
              <a:cxn ang="0">
                <a:pos x="connsiteX73023" y="connsiteY73023"/>
              </a:cxn>
              <a:cxn ang="0">
                <a:pos x="connsiteX73024" y="connsiteY73024"/>
              </a:cxn>
              <a:cxn ang="0">
                <a:pos x="connsiteX73025" y="connsiteY73025"/>
              </a:cxn>
              <a:cxn ang="0">
                <a:pos x="connsiteX73026" y="connsiteY73026"/>
              </a:cxn>
              <a:cxn ang="0">
                <a:pos x="connsiteX73027" y="connsiteY73027"/>
              </a:cxn>
              <a:cxn ang="0">
                <a:pos x="connsiteX73028" y="connsiteY73028"/>
              </a:cxn>
              <a:cxn ang="0">
                <a:pos x="connsiteX73029" y="connsiteY73029"/>
              </a:cxn>
              <a:cxn ang="0">
                <a:pos x="connsiteX73030" y="connsiteY73030"/>
              </a:cxn>
              <a:cxn ang="0">
                <a:pos x="connsiteX73031" y="connsiteY73031"/>
              </a:cxn>
              <a:cxn ang="0">
                <a:pos x="connsiteX73032" y="connsiteY73032"/>
              </a:cxn>
              <a:cxn ang="0">
                <a:pos x="connsiteX73033" y="connsiteY73033"/>
              </a:cxn>
              <a:cxn ang="0">
                <a:pos x="connsiteX73034" y="connsiteY73034"/>
              </a:cxn>
              <a:cxn ang="0">
                <a:pos x="connsiteX73035" y="connsiteY73035"/>
              </a:cxn>
              <a:cxn ang="0">
                <a:pos x="connsiteX73036" y="connsiteY73036"/>
              </a:cxn>
              <a:cxn ang="0">
                <a:pos x="connsiteX73037" y="connsiteY73037"/>
              </a:cxn>
              <a:cxn ang="0">
                <a:pos x="connsiteX73038" y="connsiteY73038"/>
              </a:cxn>
              <a:cxn ang="0">
                <a:pos x="connsiteX73039" y="connsiteY73039"/>
              </a:cxn>
              <a:cxn ang="0">
                <a:pos x="connsiteX73040" y="connsiteY73040"/>
              </a:cxn>
              <a:cxn ang="0">
                <a:pos x="connsiteX73041" y="connsiteY73041"/>
              </a:cxn>
              <a:cxn ang="0">
                <a:pos x="connsiteX73042" y="connsiteY73042"/>
              </a:cxn>
              <a:cxn ang="0">
                <a:pos x="connsiteX73043" y="connsiteY73043"/>
              </a:cxn>
              <a:cxn ang="0">
                <a:pos x="connsiteX73044" y="connsiteY73044"/>
              </a:cxn>
              <a:cxn ang="0">
                <a:pos x="connsiteX73045" y="connsiteY73045"/>
              </a:cxn>
              <a:cxn ang="0">
                <a:pos x="connsiteX73046" y="connsiteY73046"/>
              </a:cxn>
              <a:cxn ang="0">
                <a:pos x="connsiteX73047" y="connsiteY73047"/>
              </a:cxn>
              <a:cxn ang="0">
                <a:pos x="connsiteX73048" y="connsiteY73048"/>
              </a:cxn>
              <a:cxn ang="0">
                <a:pos x="connsiteX73049" y="connsiteY73049"/>
              </a:cxn>
              <a:cxn ang="0">
                <a:pos x="connsiteX73050" y="connsiteY73050"/>
              </a:cxn>
              <a:cxn ang="0">
                <a:pos x="connsiteX73051" y="connsiteY73051"/>
              </a:cxn>
              <a:cxn ang="0">
                <a:pos x="connsiteX73052" y="connsiteY73052"/>
              </a:cxn>
              <a:cxn ang="0">
                <a:pos x="connsiteX73053" y="connsiteY73053"/>
              </a:cxn>
              <a:cxn ang="0">
                <a:pos x="connsiteX73054" y="connsiteY73054"/>
              </a:cxn>
              <a:cxn ang="0">
                <a:pos x="connsiteX73055" y="connsiteY73055"/>
              </a:cxn>
              <a:cxn ang="0">
                <a:pos x="connsiteX73056" y="connsiteY73056"/>
              </a:cxn>
              <a:cxn ang="0">
                <a:pos x="connsiteX73057" y="connsiteY73057"/>
              </a:cxn>
              <a:cxn ang="0">
                <a:pos x="connsiteX73058" y="connsiteY73058"/>
              </a:cxn>
              <a:cxn ang="0">
                <a:pos x="connsiteX73059" y="connsiteY73059"/>
              </a:cxn>
              <a:cxn ang="0">
                <a:pos x="connsiteX73060" y="connsiteY73060"/>
              </a:cxn>
              <a:cxn ang="0">
                <a:pos x="connsiteX73061" y="connsiteY73061"/>
              </a:cxn>
              <a:cxn ang="0">
                <a:pos x="connsiteX73062" y="connsiteY73062"/>
              </a:cxn>
              <a:cxn ang="0">
                <a:pos x="connsiteX73063" y="connsiteY73063"/>
              </a:cxn>
              <a:cxn ang="0">
                <a:pos x="connsiteX73064" y="connsiteY73064"/>
              </a:cxn>
              <a:cxn ang="0">
                <a:pos x="connsiteX73065" y="connsiteY73065"/>
              </a:cxn>
              <a:cxn ang="0">
                <a:pos x="connsiteX73066" y="connsiteY73066"/>
              </a:cxn>
              <a:cxn ang="0">
                <a:pos x="connsiteX73067" y="connsiteY73067"/>
              </a:cxn>
              <a:cxn ang="0">
                <a:pos x="connsiteX73068" y="connsiteY73068"/>
              </a:cxn>
              <a:cxn ang="0">
                <a:pos x="connsiteX73069" y="connsiteY73069"/>
              </a:cxn>
              <a:cxn ang="0">
                <a:pos x="connsiteX73070" y="connsiteY73070"/>
              </a:cxn>
              <a:cxn ang="0">
                <a:pos x="connsiteX73071" y="connsiteY73071"/>
              </a:cxn>
              <a:cxn ang="0">
                <a:pos x="connsiteX73072" y="connsiteY73072"/>
              </a:cxn>
              <a:cxn ang="0">
                <a:pos x="connsiteX73073" y="connsiteY73073"/>
              </a:cxn>
              <a:cxn ang="0">
                <a:pos x="connsiteX73074" y="connsiteY73074"/>
              </a:cxn>
              <a:cxn ang="0">
                <a:pos x="connsiteX73075" y="connsiteY73075"/>
              </a:cxn>
              <a:cxn ang="0">
                <a:pos x="connsiteX73076" y="connsiteY73076"/>
              </a:cxn>
              <a:cxn ang="0">
                <a:pos x="connsiteX73077" y="connsiteY73077"/>
              </a:cxn>
              <a:cxn ang="0">
                <a:pos x="connsiteX73078" y="connsiteY73078"/>
              </a:cxn>
              <a:cxn ang="0">
                <a:pos x="connsiteX73079" y="connsiteY73079"/>
              </a:cxn>
              <a:cxn ang="0">
                <a:pos x="connsiteX73080" y="connsiteY73080"/>
              </a:cxn>
              <a:cxn ang="0">
                <a:pos x="connsiteX73081" y="connsiteY73081"/>
              </a:cxn>
              <a:cxn ang="0">
                <a:pos x="connsiteX73082" y="connsiteY73082"/>
              </a:cxn>
              <a:cxn ang="0">
                <a:pos x="connsiteX73083" y="connsiteY73083"/>
              </a:cxn>
              <a:cxn ang="0">
                <a:pos x="connsiteX73084" y="connsiteY73084"/>
              </a:cxn>
              <a:cxn ang="0">
                <a:pos x="connsiteX73085" y="connsiteY73085"/>
              </a:cxn>
              <a:cxn ang="0">
                <a:pos x="connsiteX73086" y="connsiteY73086"/>
              </a:cxn>
              <a:cxn ang="0">
                <a:pos x="connsiteX73087" y="connsiteY73087"/>
              </a:cxn>
              <a:cxn ang="0">
                <a:pos x="connsiteX73088" y="connsiteY73088"/>
              </a:cxn>
              <a:cxn ang="0">
                <a:pos x="connsiteX73089" y="connsiteY73089"/>
              </a:cxn>
              <a:cxn ang="0">
                <a:pos x="connsiteX73090" y="connsiteY73090"/>
              </a:cxn>
              <a:cxn ang="0">
                <a:pos x="connsiteX73091" y="connsiteY73091"/>
              </a:cxn>
              <a:cxn ang="0">
                <a:pos x="connsiteX73092" y="connsiteY73092"/>
              </a:cxn>
              <a:cxn ang="0">
                <a:pos x="connsiteX73093" y="connsiteY73093"/>
              </a:cxn>
              <a:cxn ang="0">
                <a:pos x="connsiteX73094" y="connsiteY73094"/>
              </a:cxn>
              <a:cxn ang="0">
                <a:pos x="connsiteX73095" y="connsiteY73095"/>
              </a:cxn>
              <a:cxn ang="0">
                <a:pos x="connsiteX73096" y="connsiteY73096"/>
              </a:cxn>
              <a:cxn ang="0">
                <a:pos x="connsiteX73097" y="connsiteY73097"/>
              </a:cxn>
              <a:cxn ang="0">
                <a:pos x="connsiteX73098" y="connsiteY73098"/>
              </a:cxn>
              <a:cxn ang="0">
                <a:pos x="connsiteX73099" y="connsiteY73099"/>
              </a:cxn>
              <a:cxn ang="0">
                <a:pos x="connsiteX73100" y="connsiteY73100"/>
              </a:cxn>
              <a:cxn ang="0">
                <a:pos x="connsiteX73101" y="connsiteY73101"/>
              </a:cxn>
              <a:cxn ang="0">
                <a:pos x="connsiteX73102" y="connsiteY73102"/>
              </a:cxn>
              <a:cxn ang="0">
                <a:pos x="connsiteX73103" y="connsiteY73103"/>
              </a:cxn>
              <a:cxn ang="0">
                <a:pos x="connsiteX73104" y="connsiteY73104"/>
              </a:cxn>
              <a:cxn ang="0">
                <a:pos x="connsiteX73105" y="connsiteY73105"/>
              </a:cxn>
              <a:cxn ang="0">
                <a:pos x="connsiteX73106" y="connsiteY73106"/>
              </a:cxn>
              <a:cxn ang="0">
                <a:pos x="connsiteX73107" y="connsiteY73107"/>
              </a:cxn>
              <a:cxn ang="0">
                <a:pos x="connsiteX73108" y="connsiteY73108"/>
              </a:cxn>
              <a:cxn ang="0">
                <a:pos x="connsiteX73109" y="connsiteY73109"/>
              </a:cxn>
              <a:cxn ang="0">
                <a:pos x="connsiteX73110" y="connsiteY73110"/>
              </a:cxn>
              <a:cxn ang="0">
                <a:pos x="connsiteX73111" y="connsiteY73111"/>
              </a:cxn>
              <a:cxn ang="0">
                <a:pos x="connsiteX73112" y="connsiteY73112"/>
              </a:cxn>
              <a:cxn ang="0">
                <a:pos x="connsiteX73113" y="connsiteY73113"/>
              </a:cxn>
              <a:cxn ang="0">
                <a:pos x="connsiteX73114" y="connsiteY73114"/>
              </a:cxn>
              <a:cxn ang="0">
                <a:pos x="connsiteX73115" y="connsiteY73115"/>
              </a:cxn>
              <a:cxn ang="0">
                <a:pos x="connsiteX73116" y="connsiteY73116"/>
              </a:cxn>
              <a:cxn ang="0">
                <a:pos x="connsiteX73117" y="connsiteY73117"/>
              </a:cxn>
              <a:cxn ang="0">
                <a:pos x="connsiteX73118" y="connsiteY73118"/>
              </a:cxn>
              <a:cxn ang="0">
                <a:pos x="connsiteX73119" y="connsiteY73119"/>
              </a:cxn>
              <a:cxn ang="0">
                <a:pos x="connsiteX73120" y="connsiteY73120"/>
              </a:cxn>
              <a:cxn ang="0">
                <a:pos x="connsiteX73121" y="connsiteY73121"/>
              </a:cxn>
              <a:cxn ang="0">
                <a:pos x="connsiteX73122" y="connsiteY73122"/>
              </a:cxn>
              <a:cxn ang="0">
                <a:pos x="connsiteX73123" y="connsiteY73123"/>
              </a:cxn>
              <a:cxn ang="0">
                <a:pos x="connsiteX73124" y="connsiteY73124"/>
              </a:cxn>
              <a:cxn ang="0">
                <a:pos x="connsiteX73125" y="connsiteY73125"/>
              </a:cxn>
              <a:cxn ang="0">
                <a:pos x="connsiteX73126" y="connsiteY73126"/>
              </a:cxn>
              <a:cxn ang="0">
                <a:pos x="connsiteX73127" y="connsiteY73127"/>
              </a:cxn>
              <a:cxn ang="0">
                <a:pos x="connsiteX73128" y="connsiteY73128"/>
              </a:cxn>
              <a:cxn ang="0">
                <a:pos x="connsiteX73129" y="connsiteY73129"/>
              </a:cxn>
              <a:cxn ang="0">
                <a:pos x="connsiteX73130" y="connsiteY73130"/>
              </a:cxn>
              <a:cxn ang="0">
                <a:pos x="connsiteX73131" y="connsiteY73131"/>
              </a:cxn>
              <a:cxn ang="0">
                <a:pos x="connsiteX73132" y="connsiteY73132"/>
              </a:cxn>
              <a:cxn ang="0">
                <a:pos x="connsiteX73133" y="connsiteY73133"/>
              </a:cxn>
              <a:cxn ang="0">
                <a:pos x="connsiteX73134" y="connsiteY73134"/>
              </a:cxn>
              <a:cxn ang="0">
                <a:pos x="connsiteX73135" y="connsiteY73135"/>
              </a:cxn>
              <a:cxn ang="0">
                <a:pos x="connsiteX73136" y="connsiteY73136"/>
              </a:cxn>
              <a:cxn ang="0">
                <a:pos x="connsiteX73137" y="connsiteY73137"/>
              </a:cxn>
              <a:cxn ang="0">
                <a:pos x="connsiteX73138" y="connsiteY73138"/>
              </a:cxn>
              <a:cxn ang="0">
                <a:pos x="connsiteX73139" y="connsiteY73139"/>
              </a:cxn>
              <a:cxn ang="0">
                <a:pos x="connsiteX73140" y="connsiteY73140"/>
              </a:cxn>
              <a:cxn ang="0">
                <a:pos x="connsiteX73141" y="connsiteY73141"/>
              </a:cxn>
              <a:cxn ang="0">
                <a:pos x="connsiteX73142" y="connsiteY73142"/>
              </a:cxn>
              <a:cxn ang="0">
                <a:pos x="connsiteX73143" y="connsiteY73143"/>
              </a:cxn>
              <a:cxn ang="0">
                <a:pos x="connsiteX73144" y="connsiteY73144"/>
              </a:cxn>
              <a:cxn ang="0">
                <a:pos x="connsiteX73145" y="connsiteY73145"/>
              </a:cxn>
              <a:cxn ang="0">
                <a:pos x="connsiteX73146" y="connsiteY73146"/>
              </a:cxn>
              <a:cxn ang="0">
                <a:pos x="connsiteX73147" y="connsiteY73147"/>
              </a:cxn>
              <a:cxn ang="0">
                <a:pos x="connsiteX73148" y="connsiteY73148"/>
              </a:cxn>
              <a:cxn ang="0">
                <a:pos x="connsiteX73149" y="connsiteY73149"/>
              </a:cxn>
              <a:cxn ang="0">
                <a:pos x="connsiteX73150" y="connsiteY73150"/>
              </a:cxn>
              <a:cxn ang="0">
                <a:pos x="connsiteX73151" y="connsiteY73151"/>
              </a:cxn>
              <a:cxn ang="0">
                <a:pos x="connsiteX73152" y="connsiteY73152"/>
              </a:cxn>
              <a:cxn ang="0">
                <a:pos x="connsiteX73153" y="connsiteY73153"/>
              </a:cxn>
              <a:cxn ang="0">
                <a:pos x="connsiteX73154" y="connsiteY73154"/>
              </a:cxn>
              <a:cxn ang="0">
                <a:pos x="connsiteX73155" y="connsiteY73155"/>
              </a:cxn>
              <a:cxn ang="0">
                <a:pos x="connsiteX73156" y="connsiteY73156"/>
              </a:cxn>
              <a:cxn ang="0">
                <a:pos x="connsiteX73157" y="connsiteY73157"/>
              </a:cxn>
              <a:cxn ang="0">
                <a:pos x="connsiteX73158" y="connsiteY73158"/>
              </a:cxn>
              <a:cxn ang="0">
                <a:pos x="connsiteX73159" y="connsiteY73159"/>
              </a:cxn>
              <a:cxn ang="0">
                <a:pos x="connsiteX73160" y="connsiteY73160"/>
              </a:cxn>
              <a:cxn ang="0">
                <a:pos x="connsiteX73161" y="connsiteY73161"/>
              </a:cxn>
              <a:cxn ang="0">
                <a:pos x="connsiteX73162" y="connsiteY73162"/>
              </a:cxn>
              <a:cxn ang="0">
                <a:pos x="connsiteX73163" y="connsiteY73163"/>
              </a:cxn>
              <a:cxn ang="0">
                <a:pos x="connsiteX73164" y="connsiteY73164"/>
              </a:cxn>
              <a:cxn ang="0">
                <a:pos x="connsiteX73165" y="connsiteY73165"/>
              </a:cxn>
              <a:cxn ang="0">
                <a:pos x="connsiteX73166" y="connsiteY73166"/>
              </a:cxn>
              <a:cxn ang="0">
                <a:pos x="connsiteX73167" y="connsiteY73167"/>
              </a:cxn>
              <a:cxn ang="0">
                <a:pos x="connsiteX73168" y="connsiteY73168"/>
              </a:cxn>
              <a:cxn ang="0">
                <a:pos x="connsiteX73169" y="connsiteY73169"/>
              </a:cxn>
              <a:cxn ang="0">
                <a:pos x="connsiteX73170" y="connsiteY73170"/>
              </a:cxn>
              <a:cxn ang="0">
                <a:pos x="connsiteX73171" y="connsiteY73171"/>
              </a:cxn>
              <a:cxn ang="0">
                <a:pos x="connsiteX73172" y="connsiteY73172"/>
              </a:cxn>
              <a:cxn ang="0">
                <a:pos x="connsiteX73173" y="connsiteY73173"/>
              </a:cxn>
              <a:cxn ang="0">
                <a:pos x="connsiteX73174" y="connsiteY73174"/>
              </a:cxn>
              <a:cxn ang="0">
                <a:pos x="connsiteX73175" y="connsiteY73175"/>
              </a:cxn>
              <a:cxn ang="0">
                <a:pos x="connsiteX73176" y="connsiteY73176"/>
              </a:cxn>
              <a:cxn ang="0">
                <a:pos x="connsiteX73177" y="connsiteY73177"/>
              </a:cxn>
              <a:cxn ang="0">
                <a:pos x="connsiteX73178" y="connsiteY73178"/>
              </a:cxn>
              <a:cxn ang="0">
                <a:pos x="connsiteX73179" y="connsiteY73179"/>
              </a:cxn>
              <a:cxn ang="0">
                <a:pos x="connsiteX73180" y="connsiteY73180"/>
              </a:cxn>
              <a:cxn ang="0">
                <a:pos x="connsiteX73181" y="connsiteY73181"/>
              </a:cxn>
              <a:cxn ang="0">
                <a:pos x="connsiteX73182" y="connsiteY73182"/>
              </a:cxn>
              <a:cxn ang="0">
                <a:pos x="connsiteX73183" y="connsiteY73183"/>
              </a:cxn>
              <a:cxn ang="0">
                <a:pos x="connsiteX73184" y="connsiteY73184"/>
              </a:cxn>
              <a:cxn ang="0">
                <a:pos x="connsiteX73185" y="connsiteY73185"/>
              </a:cxn>
              <a:cxn ang="0">
                <a:pos x="connsiteX73186" y="connsiteY73186"/>
              </a:cxn>
              <a:cxn ang="0">
                <a:pos x="connsiteX73187" y="connsiteY73187"/>
              </a:cxn>
              <a:cxn ang="0">
                <a:pos x="connsiteX73188" y="connsiteY73188"/>
              </a:cxn>
              <a:cxn ang="0">
                <a:pos x="connsiteX73189" y="connsiteY73189"/>
              </a:cxn>
              <a:cxn ang="0">
                <a:pos x="connsiteX73190" y="connsiteY73190"/>
              </a:cxn>
              <a:cxn ang="0">
                <a:pos x="connsiteX73191" y="connsiteY73191"/>
              </a:cxn>
              <a:cxn ang="0">
                <a:pos x="connsiteX73192" y="connsiteY73192"/>
              </a:cxn>
              <a:cxn ang="0">
                <a:pos x="connsiteX73193" y="connsiteY73193"/>
              </a:cxn>
              <a:cxn ang="0">
                <a:pos x="connsiteX73194" y="connsiteY73194"/>
              </a:cxn>
              <a:cxn ang="0">
                <a:pos x="connsiteX73195" y="connsiteY73195"/>
              </a:cxn>
              <a:cxn ang="0">
                <a:pos x="connsiteX73196" y="connsiteY73196"/>
              </a:cxn>
              <a:cxn ang="0">
                <a:pos x="connsiteX73197" y="connsiteY73197"/>
              </a:cxn>
              <a:cxn ang="0">
                <a:pos x="connsiteX73198" y="connsiteY73198"/>
              </a:cxn>
              <a:cxn ang="0">
                <a:pos x="connsiteX73199" y="connsiteY73199"/>
              </a:cxn>
              <a:cxn ang="0">
                <a:pos x="connsiteX73200" y="connsiteY73200"/>
              </a:cxn>
              <a:cxn ang="0">
                <a:pos x="connsiteX73201" y="connsiteY73201"/>
              </a:cxn>
              <a:cxn ang="0">
                <a:pos x="connsiteX73202" y="connsiteY73202"/>
              </a:cxn>
              <a:cxn ang="0">
                <a:pos x="connsiteX73203" y="connsiteY73203"/>
              </a:cxn>
              <a:cxn ang="0">
                <a:pos x="connsiteX73204" y="connsiteY73204"/>
              </a:cxn>
              <a:cxn ang="0">
                <a:pos x="connsiteX73205" y="connsiteY73205"/>
              </a:cxn>
              <a:cxn ang="0">
                <a:pos x="connsiteX73206" y="connsiteY73206"/>
              </a:cxn>
              <a:cxn ang="0">
                <a:pos x="connsiteX73207" y="connsiteY73207"/>
              </a:cxn>
              <a:cxn ang="0">
                <a:pos x="connsiteX73208" y="connsiteY73208"/>
              </a:cxn>
              <a:cxn ang="0">
                <a:pos x="connsiteX73209" y="connsiteY73209"/>
              </a:cxn>
              <a:cxn ang="0">
                <a:pos x="connsiteX73210" y="connsiteY73210"/>
              </a:cxn>
              <a:cxn ang="0">
                <a:pos x="connsiteX73211" y="connsiteY73211"/>
              </a:cxn>
              <a:cxn ang="0">
                <a:pos x="connsiteX73212" y="connsiteY73212"/>
              </a:cxn>
              <a:cxn ang="0">
                <a:pos x="connsiteX73213" y="connsiteY73213"/>
              </a:cxn>
              <a:cxn ang="0">
                <a:pos x="connsiteX73214" y="connsiteY73214"/>
              </a:cxn>
              <a:cxn ang="0">
                <a:pos x="connsiteX73215" y="connsiteY73215"/>
              </a:cxn>
              <a:cxn ang="0">
                <a:pos x="connsiteX73216" y="connsiteY73216"/>
              </a:cxn>
              <a:cxn ang="0">
                <a:pos x="connsiteX73217" y="connsiteY73217"/>
              </a:cxn>
              <a:cxn ang="0">
                <a:pos x="connsiteX73218" y="connsiteY73218"/>
              </a:cxn>
              <a:cxn ang="0">
                <a:pos x="connsiteX73219" y="connsiteY73219"/>
              </a:cxn>
              <a:cxn ang="0">
                <a:pos x="connsiteX73220" y="connsiteY73220"/>
              </a:cxn>
              <a:cxn ang="0">
                <a:pos x="connsiteX73221" y="connsiteY73221"/>
              </a:cxn>
              <a:cxn ang="0">
                <a:pos x="connsiteX73222" y="connsiteY73222"/>
              </a:cxn>
              <a:cxn ang="0">
                <a:pos x="connsiteX73223" y="connsiteY73223"/>
              </a:cxn>
              <a:cxn ang="0">
                <a:pos x="connsiteX73224" y="connsiteY73224"/>
              </a:cxn>
              <a:cxn ang="0">
                <a:pos x="connsiteX73225" y="connsiteY73225"/>
              </a:cxn>
              <a:cxn ang="0">
                <a:pos x="connsiteX73226" y="connsiteY73226"/>
              </a:cxn>
              <a:cxn ang="0">
                <a:pos x="connsiteX73227" y="connsiteY73227"/>
              </a:cxn>
              <a:cxn ang="0">
                <a:pos x="connsiteX73228" y="connsiteY73228"/>
              </a:cxn>
              <a:cxn ang="0">
                <a:pos x="connsiteX73229" y="connsiteY73229"/>
              </a:cxn>
              <a:cxn ang="0">
                <a:pos x="connsiteX73230" y="connsiteY73230"/>
              </a:cxn>
              <a:cxn ang="0">
                <a:pos x="connsiteX73231" y="connsiteY73231"/>
              </a:cxn>
              <a:cxn ang="0">
                <a:pos x="connsiteX73232" y="connsiteY73232"/>
              </a:cxn>
              <a:cxn ang="0">
                <a:pos x="connsiteX73233" y="connsiteY73233"/>
              </a:cxn>
              <a:cxn ang="0">
                <a:pos x="connsiteX73234" y="connsiteY73234"/>
              </a:cxn>
              <a:cxn ang="0">
                <a:pos x="connsiteX73235" y="connsiteY73235"/>
              </a:cxn>
              <a:cxn ang="0">
                <a:pos x="connsiteX73236" y="connsiteY73236"/>
              </a:cxn>
              <a:cxn ang="0">
                <a:pos x="connsiteX73237" y="connsiteY73237"/>
              </a:cxn>
              <a:cxn ang="0">
                <a:pos x="connsiteX73238" y="connsiteY73238"/>
              </a:cxn>
              <a:cxn ang="0">
                <a:pos x="connsiteX73239" y="connsiteY73239"/>
              </a:cxn>
              <a:cxn ang="0">
                <a:pos x="connsiteX73240" y="connsiteY73240"/>
              </a:cxn>
              <a:cxn ang="0">
                <a:pos x="connsiteX73241" y="connsiteY73241"/>
              </a:cxn>
              <a:cxn ang="0">
                <a:pos x="connsiteX73242" y="connsiteY73242"/>
              </a:cxn>
              <a:cxn ang="0">
                <a:pos x="connsiteX73243" y="connsiteY73243"/>
              </a:cxn>
              <a:cxn ang="0">
                <a:pos x="connsiteX73244" y="connsiteY73244"/>
              </a:cxn>
              <a:cxn ang="0">
                <a:pos x="connsiteX73245" y="connsiteY73245"/>
              </a:cxn>
              <a:cxn ang="0">
                <a:pos x="connsiteX73246" y="connsiteY73246"/>
              </a:cxn>
              <a:cxn ang="0">
                <a:pos x="connsiteX73247" y="connsiteY73247"/>
              </a:cxn>
              <a:cxn ang="0">
                <a:pos x="connsiteX73248" y="connsiteY73248"/>
              </a:cxn>
              <a:cxn ang="0">
                <a:pos x="connsiteX73249" y="connsiteY73249"/>
              </a:cxn>
              <a:cxn ang="0">
                <a:pos x="connsiteX73250" y="connsiteY73250"/>
              </a:cxn>
              <a:cxn ang="0">
                <a:pos x="connsiteX73251" y="connsiteY73251"/>
              </a:cxn>
              <a:cxn ang="0">
                <a:pos x="connsiteX73252" y="connsiteY73252"/>
              </a:cxn>
              <a:cxn ang="0">
                <a:pos x="connsiteX73253" y="connsiteY73253"/>
              </a:cxn>
              <a:cxn ang="0">
                <a:pos x="connsiteX73254" y="connsiteY73254"/>
              </a:cxn>
              <a:cxn ang="0">
                <a:pos x="connsiteX73255" y="connsiteY73255"/>
              </a:cxn>
              <a:cxn ang="0">
                <a:pos x="connsiteX73256" y="connsiteY73256"/>
              </a:cxn>
              <a:cxn ang="0">
                <a:pos x="connsiteX73257" y="connsiteY73257"/>
              </a:cxn>
              <a:cxn ang="0">
                <a:pos x="connsiteX73258" y="connsiteY73258"/>
              </a:cxn>
              <a:cxn ang="0">
                <a:pos x="connsiteX73259" y="connsiteY73259"/>
              </a:cxn>
              <a:cxn ang="0">
                <a:pos x="connsiteX73260" y="connsiteY73260"/>
              </a:cxn>
              <a:cxn ang="0">
                <a:pos x="connsiteX73261" y="connsiteY73261"/>
              </a:cxn>
              <a:cxn ang="0">
                <a:pos x="connsiteX73262" y="connsiteY73262"/>
              </a:cxn>
              <a:cxn ang="0">
                <a:pos x="connsiteX73263" y="connsiteY73263"/>
              </a:cxn>
              <a:cxn ang="0">
                <a:pos x="connsiteX73264" y="connsiteY73264"/>
              </a:cxn>
              <a:cxn ang="0">
                <a:pos x="connsiteX73265" y="connsiteY73265"/>
              </a:cxn>
              <a:cxn ang="0">
                <a:pos x="connsiteX73266" y="connsiteY73266"/>
              </a:cxn>
              <a:cxn ang="0">
                <a:pos x="connsiteX73267" y="connsiteY73267"/>
              </a:cxn>
              <a:cxn ang="0">
                <a:pos x="connsiteX73268" y="connsiteY73268"/>
              </a:cxn>
              <a:cxn ang="0">
                <a:pos x="connsiteX73269" y="connsiteY73269"/>
              </a:cxn>
              <a:cxn ang="0">
                <a:pos x="connsiteX73270" y="connsiteY73270"/>
              </a:cxn>
              <a:cxn ang="0">
                <a:pos x="connsiteX73271" y="connsiteY73271"/>
              </a:cxn>
              <a:cxn ang="0">
                <a:pos x="connsiteX73272" y="connsiteY73272"/>
              </a:cxn>
              <a:cxn ang="0">
                <a:pos x="connsiteX73273" y="connsiteY73273"/>
              </a:cxn>
              <a:cxn ang="0">
                <a:pos x="connsiteX73274" y="connsiteY73274"/>
              </a:cxn>
              <a:cxn ang="0">
                <a:pos x="connsiteX73275" y="connsiteY73275"/>
              </a:cxn>
              <a:cxn ang="0">
                <a:pos x="connsiteX73276" y="connsiteY73276"/>
              </a:cxn>
              <a:cxn ang="0">
                <a:pos x="connsiteX73277" y="connsiteY73277"/>
              </a:cxn>
              <a:cxn ang="0">
                <a:pos x="connsiteX73278" y="connsiteY73278"/>
              </a:cxn>
              <a:cxn ang="0">
                <a:pos x="connsiteX73279" y="connsiteY73279"/>
              </a:cxn>
              <a:cxn ang="0">
                <a:pos x="connsiteX73280" y="connsiteY73280"/>
              </a:cxn>
              <a:cxn ang="0">
                <a:pos x="connsiteX73281" y="connsiteY73281"/>
              </a:cxn>
              <a:cxn ang="0">
                <a:pos x="connsiteX73282" y="connsiteY73282"/>
              </a:cxn>
              <a:cxn ang="0">
                <a:pos x="connsiteX73283" y="connsiteY73283"/>
              </a:cxn>
              <a:cxn ang="0">
                <a:pos x="connsiteX73284" y="connsiteY73284"/>
              </a:cxn>
              <a:cxn ang="0">
                <a:pos x="connsiteX73285" y="connsiteY73285"/>
              </a:cxn>
              <a:cxn ang="0">
                <a:pos x="connsiteX73286" y="connsiteY73286"/>
              </a:cxn>
              <a:cxn ang="0">
                <a:pos x="connsiteX73287" y="connsiteY73287"/>
              </a:cxn>
              <a:cxn ang="0">
                <a:pos x="connsiteX73288" y="connsiteY73288"/>
              </a:cxn>
              <a:cxn ang="0">
                <a:pos x="connsiteX73289" y="connsiteY73289"/>
              </a:cxn>
              <a:cxn ang="0">
                <a:pos x="connsiteX73290" y="connsiteY73290"/>
              </a:cxn>
              <a:cxn ang="0">
                <a:pos x="connsiteX73291" y="connsiteY73291"/>
              </a:cxn>
              <a:cxn ang="0">
                <a:pos x="connsiteX73292" y="connsiteY73292"/>
              </a:cxn>
              <a:cxn ang="0">
                <a:pos x="connsiteX73293" y="connsiteY73293"/>
              </a:cxn>
              <a:cxn ang="0">
                <a:pos x="connsiteX73294" y="connsiteY73294"/>
              </a:cxn>
              <a:cxn ang="0">
                <a:pos x="connsiteX73295" y="connsiteY73295"/>
              </a:cxn>
              <a:cxn ang="0">
                <a:pos x="connsiteX73296" y="connsiteY73296"/>
              </a:cxn>
              <a:cxn ang="0">
                <a:pos x="connsiteX73297" y="connsiteY73297"/>
              </a:cxn>
              <a:cxn ang="0">
                <a:pos x="connsiteX73298" y="connsiteY73298"/>
              </a:cxn>
              <a:cxn ang="0">
                <a:pos x="connsiteX73299" y="connsiteY73299"/>
              </a:cxn>
              <a:cxn ang="0">
                <a:pos x="connsiteX73300" y="connsiteY73300"/>
              </a:cxn>
              <a:cxn ang="0">
                <a:pos x="connsiteX73301" y="connsiteY73301"/>
              </a:cxn>
              <a:cxn ang="0">
                <a:pos x="connsiteX73302" y="connsiteY73302"/>
              </a:cxn>
              <a:cxn ang="0">
                <a:pos x="connsiteX73303" y="connsiteY73303"/>
              </a:cxn>
              <a:cxn ang="0">
                <a:pos x="connsiteX73304" y="connsiteY73304"/>
              </a:cxn>
              <a:cxn ang="0">
                <a:pos x="connsiteX73305" y="connsiteY73305"/>
              </a:cxn>
              <a:cxn ang="0">
                <a:pos x="connsiteX73306" y="connsiteY73306"/>
              </a:cxn>
              <a:cxn ang="0">
                <a:pos x="connsiteX73307" y="connsiteY73307"/>
              </a:cxn>
              <a:cxn ang="0">
                <a:pos x="connsiteX73308" y="connsiteY73308"/>
              </a:cxn>
              <a:cxn ang="0">
                <a:pos x="connsiteX73309" y="connsiteY73309"/>
              </a:cxn>
              <a:cxn ang="0">
                <a:pos x="connsiteX73310" y="connsiteY73310"/>
              </a:cxn>
              <a:cxn ang="0">
                <a:pos x="connsiteX73311" y="connsiteY73311"/>
              </a:cxn>
              <a:cxn ang="0">
                <a:pos x="connsiteX73312" y="connsiteY73312"/>
              </a:cxn>
              <a:cxn ang="0">
                <a:pos x="connsiteX73313" y="connsiteY73313"/>
              </a:cxn>
              <a:cxn ang="0">
                <a:pos x="connsiteX73314" y="connsiteY73314"/>
              </a:cxn>
              <a:cxn ang="0">
                <a:pos x="connsiteX73315" y="connsiteY73315"/>
              </a:cxn>
              <a:cxn ang="0">
                <a:pos x="connsiteX73316" y="connsiteY73316"/>
              </a:cxn>
              <a:cxn ang="0">
                <a:pos x="connsiteX73317" y="connsiteY73317"/>
              </a:cxn>
              <a:cxn ang="0">
                <a:pos x="connsiteX73318" y="connsiteY73318"/>
              </a:cxn>
              <a:cxn ang="0">
                <a:pos x="connsiteX73319" y="connsiteY73319"/>
              </a:cxn>
              <a:cxn ang="0">
                <a:pos x="connsiteX73320" y="connsiteY73320"/>
              </a:cxn>
              <a:cxn ang="0">
                <a:pos x="connsiteX73321" y="connsiteY73321"/>
              </a:cxn>
              <a:cxn ang="0">
                <a:pos x="connsiteX73322" y="connsiteY73322"/>
              </a:cxn>
              <a:cxn ang="0">
                <a:pos x="connsiteX73323" y="connsiteY73323"/>
              </a:cxn>
              <a:cxn ang="0">
                <a:pos x="connsiteX73324" y="connsiteY73324"/>
              </a:cxn>
              <a:cxn ang="0">
                <a:pos x="connsiteX73325" y="connsiteY73325"/>
              </a:cxn>
              <a:cxn ang="0">
                <a:pos x="connsiteX73326" y="connsiteY73326"/>
              </a:cxn>
              <a:cxn ang="0">
                <a:pos x="connsiteX73327" y="connsiteY73327"/>
              </a:cxn>
              <a:cxn ang="0">
                <a:pos x="connsiteX73328" y="connsiteY73328"/>
              </a:cxn>
              <a:cxn ang="0">
                <a:pos x="connsiteX73329" y="connsiteY73329"/>
              </a:cxn>
              <a:cxn ang="0">
                <a:pos x="connsiteX73330" y="connsiteY73330"/>
              </a:cxn>
              <a:cxn ang="0">
                <a:pos x="connsiteX73331" y="connsiteY73331"/>
              </a:cxn>
              <a:cxn ang="0">
                <a:pos x="connsiteX73332" y="connsiteY73332"/>
              </a:cxn>
              <a:cxn ang="0">
                <a:pos x="connsiteX73333" y="connsiteY73333"/>
              </a:cxn>
              <a:cxn ang="0">
                <a:pos x="connsiteX73334" y="connsiteY73334"/>
              </a:cxn>
              <a:cxn ang="0">
                <a:pos x="connsiteX73335" y="connsiteY73335"/>
              </a:cxn>
              <a:cxn ang="0">
                <a:pos x="connsiteX73336" y="connsiteY73336"/>
              </a:cxn>
              <a:cxn ang="0">
                <a:pos x="connsiteX73337" y="connsiteY73337"/>
              </a:cxn>
              <a:cxn ang="0">
                <a:pos x="connsiteX73338" y="connsiteY73338"/>
              </a:cxn>
              <a:cxn ang="0">
                <a:pos x="connsiteX73339" y="connsiteY73339"/>
              </a:cxn>
              <a:cxn ang="0">
                <a:pos x="connsiteX73340" y="connsiteY73340"/>
              </a:cxn>
              <a:cxn ang="0">
                <a:pos x="connsiteX73341" y="connsiteY73341"/>
              </a:cxn>
              <a:cxn ang="0">
                <a:pos x="connsiteX73342" y="connsiteY73342"/>
              </a:cxn>
              <a:cxn ang="0">
                <a:pos x="connsiteX73343" y="connsiteY73343"/>
              </a:cxn>
              <a:cxn ang="0">
                <a:pos x="connsiteX73344" y="connsiteY73344"/>
              </a:cxn>
              <a:cxn ang="0">
                <a:pos x="connsiteX73345" y="connsiteY73345"/>
              </a:cxn>
              <a:cxn ang="0">
                <a:pos x="connsiteX73346" y="connsiteY73346"/>
              </a:cxn>
              <a:cxn ang="0">
                <a:pos x="connsiteX73347" y="connsiteY73347"/>
              </a:cxn>
              <a:cxn ang="0">
                <a:pos x="connsiteX73348" y="connsiteY73348"/>
              </a:cxn>
              <a:cxn ang="0">
                <a:pos x="connsiteX73349" y="connsiteY73349"/>
              </a:cxn>
              <a:cxn ang="0">
                <a:pos x="connsiteX73350" y="connsiteY73350"/>
              </a:cxn>
              <a:cxn ang="0">
                <a:pos x="connsiteX73351" y="connsiteY73351"/>
              </a:cxn>
              <a:cxn ang="0">
                <a:pos x="connsiteX73352" y="connsiteY73352"/>
              </a:cxn>
              <a:cxn ang="0">
                <a:pos x="connsiteX73353" y="connsiteY73353"/>
              </a:cxn>
              <a:cxn ang="0">
                <a:pos x="connsiteX73354" y="connsiteY73354"/>
              </a:cxn>
              <a:cxn ang="0">
                <a:pos x="connsiteX73355" y="connsiteY73355"/>
              </a:cxn>
              <a:cxn ang="0">
                <a:pos x="connsiteX73356" y="connsiteY73356"/>
              </a:cxn>
              <a:cxn ang="0">
                <a:pos x="connsiteX73357" y="connsiteY73357"/>
              </a:cxn>
              <a:cxn ang="0">
                <a:pos x="connsiteX73358" y="connsiteY73358"/>
              </a:cxn>
              <a:cxn ang="0">
                <a:pos x="connsiteX73359" y="connsiteY73359"/>
              </a:cxn>
              <a:cxn ang="0">
                <a:pos x="connsiteX73360" y="connsiteY73360"/>
              </a:cxn>
              <a:cxn ang="0">
                <a:pos x="connsiteX73361" y="connsiteY73361"/>
              </a:cxn>
              <a:cxn ang="0">
                <a:pos x="connsiteX73362" y="connsiteY73362"/>
              </a:cxn>
              <a:cxn ang="0">
                <a:pos x="connsiteX73363" y="connsiteY73363"/>
              </a:cxn>
              <a:cxn ang="0">
                <a:pos x="connsiteX73364" y="connsiteY73364"/>
              </a:cxn>
              <a:cxn ang="0">
                <a:pos x="connsiteX73365" y="connsiteY73365"/>
              </a:cxn>
              <a:cxn ang="0">
                <a:pos x="connsiteX73366" y="connsiteY73366"/>
              </a:cxn>
              <a:cxn ang="0">
                <a:pos x="connsiteX73367" y="connsiteY73367"/>
              </a:cxn>
              <a:cxn ang="0">
                <a:pos x="connsiteX73368" y="connsiteY73368"/>
              </a:cxn>
              <a:cxn ang="0">
                <a:pos x="connsiteX73369" y="connsiteY73369"/>
              </a:cxn>
              <a:cxn ang="0">
                <a:pos x="connsiteX73370" y="connsiteY73370"/>
              </a:cxn>
              <a:cxn ang="0">
                <a:pos x="connsiteX73371" y="connsiteY73371"/>
              </a:cxn>
              <a:cxn ang="0">
                <a:pos x="connsiteX73372" y="connsiteY73372"/>
              </a:cxn>
              <a:cxn ang="0">
                <a:pos x="connsiteX73373" y="connsiteY73373"/>
              </a:cxn>
              <a:cxn ang="0">
                <a:pos x="connsiteX73374" y="connsiteY73374"/>
              </a:cxn>
              <a:cxn ang="0">
                <a:pos x="connsiteX73375" y="connsiteY73375"/>
              </a:cxn>
              <a:cxn ang="0">
                <a:pos x="connsiteX73376" y="connsiteY73376"/>
              </a:cxn>
              <a:cxn ang="0">
                <a:pos x="connsiteX73377" y="connsiteY73377"/>
              </a:cxn>
              <a:cxn ang="0">
                <a:pos x="connsiteX73378" y="connsiteY73378"/>
              </a:cxn>
              <a:cxn ang="0">
                <a:pos x="connsiteX73379" y="connsiteY73379"/>
              </a:cxn>
              <a:cxn ang="0">
                <a:pos x="connsiteX73380" y="connsiteY73380"/>
              </a:cxn>
              <a:cxn ang="0">
                <a:pos x="connsiteX73381" y="connsiteY73381"/>
              </a:cxn>
              <a:cxn ang="0">
                <a:pos x="connsiteX73382" y="connsiteY73382"/>
              </a:cxn>
              <a:cxn ang="0">
                <a:pos x="connsiteX73383" y="connsiteY73383"/>
              </a:cxn>
              <a:cxn ang="0">
                <a:pos x="connsiteX73384" y="connsiteY73384"/>
              </a:cxn>
              <a:cxn ang="0">
                <a:pos x="connsiteX73385" y="connsiteY73385"/>
              </a:cxn>
              <a:cxn ang="0">
                <a:pos x="connsiteX73386" y="connsiteY73386"/>
              </a:cxn>
              <a:cxn ang="0">
                <a:pos x="connsiteX73387" y="connsiteY73387"/>
              </a:cxn>
              <a:cxn ang="0">
                <a:pos x="connsiteX73388" y="connsiteY73388"/>
              </a:cxn>
              <a:cxn ang="0">
                <a:pos x="connsiteX73389" y="connsiteY73389"/>
              </a:cxn>
              <a:cxn ang="0">
                <a:pos x="connsiteX73390" y="connsiteY73390"/>
              </a:cxn>
              <a:cxn ang="0">
                <a:pos x="connsiteX73391" y="connsiteY73391"/>
              </a:cxn>
              <a:cxn ang="0">
                <a:pos x="connsiteX73392" y="connsiteY73392"/>
              </a:cxn>
              <a:cxn ang="0">
                <a:pos x="connsiteX73393" y="connsiteY73393"/>
              </a:cxn>
              <a:cxn ang="0">
                <a:pos x="connsiteX73394" y="connsiteY73394"/>
              </a:cxn>
              <a:cxn ang="0">
                <a:pos x="connsiteX73395" y="connsiteY73395"/>
              </a:cxn>
              <a:cxn ang="0">
                <a:pos x="connsiteX73396" y="connsiteY73396"/>
              </a:cxn>
              <a:cxn ang="0">
                <a:pos x="connsiteX73397" y="connsiteY73397"/>
              </a:cxn>
              <a:cxn ang="0">
                <a:pos x="connsiteX73398" y="connsiteY73398"/>
              </a:cxn>
              <a:cxn ang="0">
                <a:pos x="connsiteX73399" y="connsiteY73399"/>
              </a:cxn>
              <a:cxn ang="0">
                <a:pos x="connsiteX73400" y="connsiteY73400"/>
              </a:cxn>
              <a:cxn ang="0">
                <a:pos x="connsiteX73401" y="connsiteY73401"/>
              </a:cxn>
              <a:cxn ang="0">
                <a:pos x="connsiteX73402" y="connsiteY73402"/>
              </a:cxn>
              <a:cxn ang="0">
                <a:pos x="connsiteX73403" y="connsiteY73403"/>
              </a:cxn>
              <a:cxn ang="0">
                <a:pos x="connsiteX73404" y="connsiteY73404"/>
              </a:cxn>
              <a:cxn ang="0">
                <a:pos x="connsiteX73405" y="connsiteY73405"/>
              </a:cxn>
              <a:cxn ang="0">
                <a:pos x="connsiteX73406" y="connsiteY73406"/>
              </a:cxn>
              <a:cxn ang="0">
                <a:pos x="connsiteX73407" y="connsiteY73407"/>
              </a:cxn>
              <a:cxn ang="0">
                <a:pos x="connsiteX73408" y="connsiteY73408"/>
              </a:cxn>
              <a:cxn ang="0">
                <a:pos x="connsiteX73409" y="connsiteY73409"/>
              </a:cxn>
              <a:cxn ang="0">
                <a:pos x="connsiteX73410" y="connsiteY73410"/>
              </a:cxn>
              <a:cxn ang="0">
                <a:pos x="connsiteX73411" y="connsiteY73411"/>
              </a:cxn>
              <a:cxn ang="0">
                <a:pos x="connsiteX73412" y="connsiteY73412"/>
              </a:cxn>
              <a:cxn ang="0">
                <a:pos x="connsiteX73413" y="connsiteY73413"/>
              </a:cxn>
              <a:cxn ang="0">
                <a:pos x="connsiteX73414" y="connsiteY73414"/>
              </a:cxn>
              <a:cxn ang="0">
                <a:pos x="connsiteX73415" y="connsiteY73415"/>
              </a:cxn>
              <a:cxn ang="0">
                <a:pos x="connsiteX73416" y="connsiteY73416"/>
              </a:cxn>
              <a:cxn ang="0">
                <a:pos x="connsiteX73417" y="connsiteY73417"/>
              </a:cxn>
              <a:cxn ang="0">
                <a:pos x="connsiteX73418" y="connsiteY73418"/>
              </a:cxn>
              <a:cxn ang="0">
                <a:pos x="connsiteX73419" y="connsiteY73419"/>
              </a:cxn>
              <a:cxn ang="0">
                <a:pos x="connsiteX73420" y="connsiteY73420"/>
              </a:cxn>
              <a:cxn ang="0">
                <a:pos x="connsiteX73421" y="connsiteY73421"/>
              </a:cxn>
              <a:cxn ang="0">
                <a:pos x="connsiteX73422" y="connsiteY73422"/>
              </a:cxn>
              <a:cxn ang="0">
                <a:pos x="connsiteX73423" y="connsiteY73423"/>
              </a:cxn>
              <a:cxn ang="0">
                <a:pos x="connsiteX73424" y="connsiteY73424"/>
              </a:cxn>
              <a:cxn ang="0">
                <a:pos x="connsiteX73425" y="connsiteY73425"/>
              </a:cxn>
              <a:cxn ang="0">
                <a:pos x="connsiteX73426" y="connsiteY73426"/>
              </a:cxn>
              <a:cxn ang="0">
                <a:pos x="connsiteX73427" y="connsiteY73427"/>
              </a:cxn>
              <a:cxn ang="0">
                <a:pos x="connsiteX73428" y="connsiteY73428"/>
              </a:cxn>
              <a:cxn ang="0">
                <a:pos x="connsiteX73429" y="connsiteY73429"/>
              </a:cxn>
              <a:cxn ang="0">
                <a:pos x="connsiteX73430" y="connsiteY73430"/>
              </a:cxn>
              <a:cxn ang="0">
                <a:pos x="connsiteX73431" y="connsiteY73431"/>
              </a:cxn>
              <a:cxn ang="0">
                <a:pos x="connsiteX73432" y="connsiteY73432"/>
              </a:cxn>
              <a:cxn ang="0">
                <a:pos x="connsiteX73433" y="connsiteY73433"/>
              </a:cxn>
              <a:cxn ang="0">
                <a:pos x="connsiteX73434" y="connsiteY73434"/>
              </a:cxn>
              <a:cxn ang="0">
                <a:pos x="connsiteX73435" y="connsiteY73435"/>
              </a:cxn>
              <a:cxn ang="0">
                <a:pos x="connsiteX73436" y="connsiteY73436"/>
              </a:cxn>
              <a:cxn ang="0">
                <a:pos x="connsiteX73437" y="connsiteY73437"/>
              </a:cxn>
              <a:cxn ang="0">
                <a:pos x="connsiteX73438" y="connsiteY73438"/>
              </a:cxn>
              <a:cxn ang="0">
                <a:pos x="connsiteX73439" y="connsiteY73439"/>
              </a:cxn>
              <a:cxn ang="0">
                <a:pos x="connsiteX73440" y="connsiteY73440"/>
              </a:cxn>
              <a:cxn ang="0">
                <a:pos x="connsiteX73441" y="connsiteY73441"/>
              </a:cxn>
              <a:cxn ang="0">
                <a:pos x="connsiteX73442" y="connsiteY73442"/>
              </a:cxn>
              <a:cxn ang="0">
                <a:pos x="connsiteX73443" y="connsiteY73443"/>
              </a:cxn>
              <a:cxn ang="0">
                <a:pos x="connsiteX73444" y="connsiteY73444"/>
              </a:cxn>
              <a:cxn ang="0">
                <a:pos x="connsiteX73445" y="connsiteY73445"/>
              </a:cxn>
              <a:cxn ang="0">
                <a:pos x="connsiteX73446" y="connsiteY73446"/>
              </a:cxn>
              <a:cxn ang="0">
                <a:pos x="connsiteX73447" y="connsiteY73447"/>
              </a:cxn>
              <a:cxn ang="0">
                <a:pos x="connsiteX73448" y="connsiteY73448"/>
              </a:cxn>
              <a:cxn ang="0">
                <a:pos x="connsiteX73449" y="connsiteY73449"/>
              </a:cxn>
              <a:cxn ang="0">
                <a:pos x="connsiteX73450" y="connsiteY73450"/>
              </a:cxn>
              <a:cxn ang="0">
                <a:pos x="connsiteX73451" y="connsiteY73451"/>
              </a:cxn>
              <a:cxn ang="0">
                <a:pos x="connsiteX73452" y="connsiteY73452"/>
              </a:cxn>
              <a:cxn ang="0">
                <a:pos x="connsiteX73453" y="connsiteY73453"/>
              </a:cxn>
              <a:cxn ang="0">
                <a:pos x="connsiteX73454" y="connsiteY73454"/>
              </a:cxn>
              <a:cxn ang="0">
                <a:pos x="connsiteX73455" y="connsiteY73455"/>
              </a:cxn>
              <a:cxn ang="0">
                <a:pos x="connsiteX73456" y="connsiteY73456"/>
              </a:cxn>
              <a:cxn ang="0">
                <a:pos x="connsiteX73457" y="connsiteY73457"/>
              </a:cxn>
              <a:cxn ang="0">
                <a:pos x="connsiteX73458" y="connsiteY73458"/>
              </a:cxn>
              <a:cxn ang="0">
                <a:pos x="connsiteX73459" y="connsiteY73459"/>
              </a:cxn>
              <a:cxn ang="0">
                <a:pos x="connsiteX73460" y="connsiteY73460"/>
              </a:cxn>
              <a:cxn ang="0">
                <a:pos x="connsiteX73461" y="connsiteY73461"/>
              </a:cxn>
              <a:cxn ang="0">
                <a:pos x="connsiteX73462" y="connsiteY73462"/>
              </a:cxn>
              <a:cxn ang="0">
                <a:pos x="connsiteX73463" y="connsiteY73463"/>
              </a:cxn>
              <a:cxn ang="0">
                <a:pos x="connsiteX73464" y="connsiteY73464"/>
              </a:cxn>
              <a:cxn ang="0">
                <a:pos x="connsiteX73465" y="connsiteY73465"/>
              </a:cxn>
              <a:cxn ang="0">
                <a:pos x="connsiteX73466" y="connsiteY73466"/>
              </a:cxn>
              <a:cxn ang="0">
                <a:pos x="connsiteX73467" y="connsiteY73467"/>
              </a:cxn>
              <a:cxn ang="0">
                <a:pos x="connsiteX73468" y="connsiteY73468"/>
              </a:cxn>
              <a:cxn ang="0">
                <a:pos x="connsiteX73469" y="connsiteY73469"/>
              </a:cxn>
              <a:cxn ang="0">
                <a:pos x="connsiteX73470" y="connsiteY73470"/>
              </a:cxn>
              <a:cxn ang="0">
                <a:pos x="connsiteX73471" y="connsiteY73471"/>
              </a:cxn>
              <a:cxn ang="0">
                <a:pos x="connsiteX73472" y="connsiteY73472"/>
              </a:cxn>
              <a:cxn ang="0">
                <a:pos x="connsiteX73473" y="connsiteY73473"/>
              </a:cxn>
              <a:cxn ang="0">
                <a:pos x="connsiteX73474" y="connsiteY73474"/>
              </a:cxn>
              <a:cxn ang="0">
                <a:pos x="connsiteX73475" y="connsiteY73475"/>
              </a:cxn>
              <a:cxn ang="0">
                <a:pos x="connsiteX73476" y="connsiteY73476"/>
              </a:cxn>
              <a:cxn ang="0">
                <a:pos x="connsiteX73477" y="connsiteY73477"/>
              </a:cxn>
              <a:cxn ang="0">
                <a:pos x="connsiteX73478" y="connsiteY73478"/>
              </a:cxn>
              <a:cxn ang="0">
                <a:pos x="connsiteX73479" y="connsiteY73479"/>
              </a:cxn>
              <a:cxn ang="0">
                <a:pos x="connsiteX73480" y="connsiteY73480"/>
              </a:cxn>
              <a:cxn ang="0">
                <a:pos x="connsiteX73481" y="connsiteY73481"/>
              </a:cxn>
              <a:cxn ang="0">
                <a:pos x="connsiteX73482" y="connsiteY73482"/>
              </a:cxn>
              <a:cxn ang="0">
                <a:pos x="connsiteX73483" y="connsiteY73483"/>
              </a:cxn>
              <a:cxn ang="0">
                <a:pos x="connsiteX73484" y="connsiteY73484"/>
              </a:cxn>
              <a:cxn ang="0">
                <a:pos x="connsiteX73485" y="connsiteY73485"/>
              </a:cxn>
              <a:cxn ang="0">
                <a:pos x="connsiteX73486" y="connsiteY73486"/>
              </a:cxn>
              <a:cxn ang="0">
                <a:pos x="connsiteX73487" y="connsiteY73487"/>
              </a:cxn>
              <a:cxn ang="0">
                <a:pos x="connsiteX73488" y="connsiteY73488"/>
              </a:cxn>
              <a:cxn ang="0">
                <a:pos x="connsiteX73489" y="connsiteY73489"/>
              </a:cxn>
              <a:cxn ang="0">
                <a:pos x="connsiteX73490" y="connsiteY73490"/>
              </a:cxn>
              <a:cxn ang="0">
                <a:pos x="connsiteX73491" y="connsiteY73491"/>
              </a:cxn>
              <a:cxn ang="0">
                <a:pos x="connsiteX73492" y="connsiteY73492"/>
              </a:cxn>
              <a:cxn ang="0">
                <a:pos x="connsiteX73493" y="connsiteY73493"/>
              </a:cxn>
              <a:cxn ang="0">
                <a:pos x="connsiteX73494" y="connsiteY73494"/>
              </a:cxn>
              <a:cxn ang="0">
                <a:pos x="connsiteX73495" y="connsiteY73495"/>
              </a:cxn>
              <a:cxn ang="0">
                <a:pos x="connsiteX73496" y="connsiteY73496"/>
              </a:cxn>
              <a:cxn ang="0">
                <a:pos x="connsiteX73497" y="connsiteY73497"/>
              </a:cxn>
              <a:cxn ang="0">
                <a:pos x="connsiteX73498" y="connsiteY73498"/>
              </a:cxn>
              <a:cxn ang="0">
                <a:pos x="connsiteX73499" y="connsiteY73499"/>
              </a:cxn>
              <a:cxn ang="0">
                <a:pos x="connsiteX73500" y="connsiteY73500"/>
              </a:cxn>
              <a:cxn ang="0">
                <a:pos x="connsiteX73501" y="connsiteY73501"/>
              </a:cxn>
              <a:cxn ang="0">
                <a:pos x="connsiteX73502" y="connsiteY73502"/>
              </a:cxn>
              <a:cxn ang="0">
                <a:pos x="connsiteX73503" y="connsiteY73503"/>
              </a:cxn>
              <a:cxn ang="0">
                <a:pos x="connsiteX73504" y="connsiteY73504"/>
              </a:cxn>
              <a:cxn ang="0">
                <a:pos x="connsiteX73505" y="connsiteY73505"/>
              </a:cxn>
              <a:cxn ang="0">
                <a:pos x="connsiteX73506" y="connsiteY73506"/>
              </a:cxn>
              <a:cxn ang="0">
                <a:pos x="connsiteX73507" y="connsiteY73507"/>
              </a:cxn>
              <a:cxn ang="0">
                <a:pos x="connsiteX73508" y="connsiteY73508"/>
              </a:cxn>
              <a:cxn ang="0">
                <a:pos x="connsiteX73509" y="connsiteY73509"/>
              </a:cxn>
              <a:cxn ang="0">
                <a:pos x="connsiteX73510" y="connsiteY73510"/>
              </a:cxn>
              <a:cxn ang="0">
                <a:pos x="connsiteX73511" y="connsiteY73511"/>
              </a:cxn>
              <a:cxn ang="0">
                <a:pos x="connsiteX73512" y="connsiteY73512"/>
              </a:cxn>
              <a:cxn ang="0">
                <a:pos x="connsiteX73513" y="connsiteY73513"/>
              </a:cxn>
              <a:cxn ang="0">
                <a:pos x="connsiteX73514" y="connsiteY73514"/>
              </a:cxn>
              <a:cxn ang="0">
                <a:pos x="connsiteX73515" y="connsiteY73515"/>
              </a:cxn>
              <a:cxn ang="0">
                <a:pos x="connsiteX73516" y="connsiteY73516"/>
              </a:cxn>
              <a:cxn ang="0">
                <a:pos x="connsiteX73517" y="connsiteY73517"/>
              </a:cxn>
              <a:cxn ang="0">
                <a:pos x="connsiteX73518" y="connsiteY73518"/>
              </a:cxn>
              <a:cxn ang="0">
                <a:pos x="connsiteX73519" y="connsiteY73519"/>
              </a:cxn>
              <a:cxn ang="0">
                <a:pos x="connsiteX73520" y="connsiteY73520"/>
              </a:cxn>
              <a:cxn ang="0">
                <a:pos x="connsiteX73521" y="connsiteY73521"/>
              </a:cxn>
              <a:cxn ang="0">
                <a:pos x="connsiteX73522" y="connsiteY73522"/>
              </a:cxn>
              <a:cxn ang="0">
                <a:pos x="connsiteX73523" y="connsiteY73523"/>
              </a:cxn>
              <a:cxn ang="0">
                <a:pos x="connsiteX73524" y="connsiteY73524"/>
              </a:cxn>
              <a:cxn ang="0">
                <a:pos x="connsiteX73525" y="connsiteY73525"/>
              </a:cxn>
              <a:cxn ang="0">
                <a:pos x="connsiteX73526" y="connsiteY73526"/>
              </a:cxn>
              <a:cxn ang="0">
                <a:pos x="connsiteX73527" y="connsiteY73527"/>
              </a:cxn>
              <a:cxn ang="0">
                <a:pos x="connsiteX73528" y="connsiteY73528"/>
              </a:cxn>
              <a:cxn ang="0">
                <a:pos x="connsiteX73529" y="connsiteY73529"/>
              </a:cxn>
              <a:cxn ang="0">
                <a:pos x="connsiteX73530" y="connsiteY73530"/>
              </a:cxn>
              <a:cxn ang="0">
                <a:pos x="connsiteX73531" y="connsiteY73531"/>
              </a:cxn>
              <a:cxn ang="0">
                <a:pos x="connsiteX73532" y="connsiteY73532"/>
              </a:cxn>
              <a:cxn ang="0">
                <a:pos x="connsiteX73533" y="connsiteY73533"/>
              </a:cxn>
              <a:cxn ang="0">
                <a:pos x="connsiteX73534" y="connsiteY73534"/>
              </a:cxn>
              <a:cxn ang="0">
                <a:pos x="connsiteX73535" y="connsiteY73535"/>
              </a:cxn>
              <a:cxn ang="0">
                <a:pos x="connsiteX73536" y="connsiteY73536"/>
              </a:cxn>
              <a:cxn ang="0">
                <a:pos x="connsiteX73537" y="connsiteY73537"/>
              </a:cxn>
              <a:cxn ang="0">
                <a:pos x="connsiteX73538" y="connsiteY73538"/>
              </a:cxn>
              <a:cxn ang="0">
                <a:pos x="connsiteX73539" y="connsiteY73539"/>
              </a:cxn>
              <a:cxn ang="0">
                <a:pos x="connsiteX73540" y="connsiteY73540"/>
              </a:cxn>
              <a:cxn ang="0">
                <a:pos x="connsiteX73541" y="connsiteY73541"/>
              </a:cxn>
              <a:cxn ang="0">
                <a:pos x="connsiteX73542" y="connsiteY73542"/>
              </a:cxn>
              <a:cxn ang="0">
                <a:pos x="connsiteX73543" y="connsiteY73543"/>
              </a:cxn>
              <a:cxn ang="0">
                <a:pos x="connsiteX73544" y="connsiteY73544"/>
              </a:cxn>
              <a:cxn ang="0">
                <a:pos x="connsiteX73545" y="connsiteY73545"/>
              </a:cxn>
              <a:cxn ang="0">
                <a:pos x="connsiteX73546" y="connsiteY73546"/>
              </a:cxn>
              <a:cxn ang="0">
                <a:pos x="connsiteX73547" y="connsiteY73547"/>
              </a:cxn>
              <a:cxn ang="0">
                <a:pos x="connsiteX73548" y="connsiteY73548"/>
              </a:cxn>
              <a:cxn ang="0">
                <a:pos x="connsiteX73549" y="connsiteY73549"/>
              </a:cxn>
              <a:cxn ang="0">
                <a:pos x="connsiteX73550" y="connsiteY73550"/>
              </a:cxn>
              <a:cxn ang="0">
                <a:pos x="connsiteX73551" y="connsiteY73551"/>
              </a:cxn>
              <a:cxn ang="0">
                <a:pos x="connsiteX73552" y="connsiteY73552"/>
              </a:cxn>
              <a:cxn ang="0">
                <a:pos x="connsiteX73553" y="connsiteY73553"/>
              </a:cxn>
              <a:cxn ang="0">
                <a:pos x="connsiteX73554" y="connsiteY73554"/>
              </a:cxn>
              <a:cxn ang="0">
                <a:pos x="connsiteX73555" y="connsiteY73555"/>
              </a:cxn>
              <a:cxn ang="0">
                <a:pos x="connsiteX73556" y="connsiteY73556"/>
              </a:cxn>
              <a:cxn ang="0">
                <a:pos x="connsiteX73557" y="connsiteY73557"/>
              </a:cxn>
              <a:cxn ang="0">
                <a:pos x="connsiteX73558" y="connsiteY73558"/>
              </a:cxn>
              <a:cxn ang="0">
                <a:pos x="connsiteX73559" y="connsiteY73559"/>
              </a:cxn>
              <a:cxn ang="0">
                <a:pos x="connsiteX73560" y="connsiteY73560"/>
              </a:cxn>
              <a:cxn ang="0">
                <a:pos x="connsiteX73561" y="connsiteY73561"/>
              </a:cxn>
              <a:cxn ang="0">
                <a:pos x="connsiteX73562" y="connsiteY73562"/>
              </a:cxn>
              <a:cxn ang="0">
                <a:pos x="connsiteX73563" y="connsiteY73563"/>
              </a:cxn>
              <a:cxn ang="0">
                <a:pos x="connsiteX73564" y="connsiteY73564"/>
              </a:cxn>
              <a:cxn ang="0">
                <a:pos x="connsiteX73565" y="connsiteY73565"/>
              </a:cxn>
              <a:cxn ang="0">
                <a:pos x="connsiteX73566" y="connsiteY73566"/>
              </a:cxn>
              <a:cxn ang="0">
                <a:pos x="connsiteX73567" y="connsiteY73567"/>
              </a:cxn>
              <a:cxn ang="0">
                <a:pos x="connsiteX73568" y="connsiteY73568"/>
              </a:cxn>
              <a:cxn ang="0">
                <a:pos x="connsiteX73569" y="connsiteY73569"/>
              </a:cxn>
              <a:cxn ang="0">
                <a:pos x="connsiteX73570" y="connsiteY73570"/>
              </a:cxn>
              <a:cxn ang="0">
                <a:pos x="connsiteX73571" y="connsiteY73571"/>
              </a:cxn>
              <a:cxn ang="0">
                <a:pos x="connsiteX73572" y="connsiteY73572"/>
              </a:cxn>
              <a:cxn ang="0">
                <a:pos x="connsiteX73573" y="connsiteY73573"/>
              </a:cxn>
              <a:cxn ang="0">
                <a:pos x="connsiteX73574" y="connsiteY73574"/>
              </a:cxn>
              <a:cxn ang="0">
                <a:pos x="connsiteX73575" y="connsiteY73575"/>
              </a:cxn>
              <a:cxn ang="0">
                <a:pos x="connsiteX73576" y="connsiteY73576"/>
              </a:cxn>
              <a:cxn ang="0">
                <a:pos x="connsiteX73577" y="connsiteY73577"/>
              </a:cxn>
              <a:cxn ang="0">
                <a:pos x="connsiteX73578" y="connsiteY73578"/>
              </a:cxn>
              <a:cxn ang="0">
                <a:pos x="connsiteX73579" y="connsiteY73579"/>
              </a:cxn>
              <a:cxn ang="0">
                <a:pos x="connsiteX73580" y="connsiteY73580"/>
              </a:cxn>
              <a:cxn ang="0">
                <a:pos x="connsiteX73581" y="connsiteY73581"/>
              </a:cxn>
              <a:cxn ang="0">
                <a:pos x="connsiteX73582" y="connsiteY73582"/>
              </a:cxn>
              <a:cxn ang="0">
                <a:pos x="connsiteX73583" y="connsiteY73583"/>
              </a:cxn>
              <a:cxn ang="0">
                <a:pos x="connsiteX73584" y="connsiteY73584"/>
              </a:cxn>
              <a:cxn ang="0">
                <a:pos x="connsiteX73585" y="connsiteY73585"/>
              </a:cxn>
              <a:cxn ang="0">
                <a:pos x="connsiteX73586" y="connsiteY73586"/>
              </a:cxn>
              <a:cxn ang="0">
                <a:pos x="connsiteX73587" y="connsiteY73587"/>
              </a:cxn>
              <a:cxn ang="0">
                <a:pos x="connsiteX73588" y="connsiteY73588"/>
              </a:cxn>
              <a:cxn ang="0">
                <a:pos x="connsiteX73589" y="connsiteY73589"/>
              </a:cxn>
              <a:cxn ang="0">
                <a:pos x="connsiteX73590" y="connsiteY73590"/>
              </a:cxn>
              <a:cxn ang="0">
                <a:pos x="connsiteX73591" y="connsiteY73591"/>
              </a:cxn>
              <a:cxn ang="0">
                <a:pos x="connsiteX73592" y="connsiteY73592"/>
              </a:cxn>
              <a:cxn ang="0">
                <a:pos x="connsiteX73593" y="connsiteY73593"/>
              </a:cxn>
              <a:cxn ang="0">
                <a:pos x="connsiteX73594" y="connsiteY73594"/>
              </a:cxn>
              <a:cxn ang="0">
                <a:pos x="connsiteX73595" y="connsiteY73595"/>
              </a:cxn>
              <a:cxn ang="0">
                <a:pos x="connsiteX73596" y="connsiteY73596"/>
              </a:cxn>
              <a:cxn ang="0">
                <a:pos x="connsiteX73597" y="connsiteY73597"/>
              </a:cxn>
              <a:cxn ang="0">
                <a:pos x="connsiteX73598" y="connsiteY73598"/>
              </a:cxn>
              <a:cxn ang="0">
                <a:pos x="connsiteX73599" y="connsiteY73599"/>
              </a:cxn>
              <a:cxn ang="0">
                <a:pos x="connsiteX73600" y="connsiteY73600"/>
              </a:cxn>
              <a:cxn ang="0">
                <a:pos x="connsiteX73601" y="connsiteY73601"/>
              </a:cxn>
              <a:cxn ang="0">
                <a:pos x="connsiteX73602" y="connsiteY73602"/>
              </a:cxn>
              <a:cxn ang="0">
                <a:pos x="connsiteX73603" y="connsiteY73603"/>
              </a:cxn>
              <a:cxn ang="0">
                <a:pos x="connsiteX73604" y="connsiteY73604"/>
              </a:cxn>
              <a:cxn ang="0">
                <a:pos x="connsiteX73605" y="connsiteY73605"/>
              </a:cxn>
              <a:cxn ang="0">
                <a:pos x="connsiteX73606" y="connsiteY73606"/>
              </a:cxn>
              <a:cxn ang="0">
                <a:pos x="connsiteX73607" y="connsiteY73607"/>
              </a:cxn>
              <a:cxn ang="0">
                <a:pos x="connsiteX73608" y="connsiteY73608"/>
              </a:cxn>
              <a:cxn ang="0">
                <a:pos x="connsiteX73609" y="connsiteY73609"/>
              </a:cxn>
              <a:cxn ang="0">
                <a:pos x="connsiteX73610" y="connsiteY73610"/>
              </a:cxn>
              <a:cxn ang="0">
                <a:pos x="connsiteX73611" y="connsiteY73611"/>
              </a:cxn>
              <a:cxn ang="0">
                <a:pos x="connsiteX73612" y="connsiteY73612"/>
              </a:cxn>
              <a:cxn ang="0">
                <a:pos x="connsiteX73613" y="connsiteY73613"/>
              </a:cxn>
              <a:cxn ang="0">
                <a:pos x="connsiteX73614" y="connsiteY73614"/>
              </a:cxn>
              <a:cxn ang="0">
                <a:pos x="connsiteX73615" y="connsiteY73615"/>
              </a:cxn>
              <a:cxn ang="0">
                <a:pos x="connsiteX73616" y="connsiteY73616"/>
              </a:cxn>
              <a:cxn ang="0">
                <a:pos x="connsiteX73617" y="connsiteY73617"/>
              </a:cxn>
              <a:cxn ang="0">
                <a:pos x="connsiteX73618" y="connsiteY73618"/>
              </a:cxn>
              <a:cxn ang="0">
                <a:pos x="connsiteX73619" y="connsiteY73619"/>
              </a:cxn>
              <a:cxn ang="0">
                <a:pos x="connsiteX73620" y="connsiteY73620"/>
              </a:cxn>
              <a:cxn ang="0">
                <a:pos x="connsiteX73621" y="connsiteY73621"/>
              </a:cxn>
              <a:cxn ang="0">
                <a:pos x="connsiteX73622" y="connsiteY73622"/>
              </a:cxn>
              <a:cxn ang="0">
                <a:pos x="connsiteX73623" y="connsiteY73623"/>
              </a:cxn>
              <a:cxn ang="0">
                <a:pos x="connsiteX73624" y="connsiteY73624"/>
              </a:cxn>
              <a:cxn ang="0">
                <a:pos x="connsiteX73625" y="connsiteY73625"/>
              </a:cxn>
              <a:cxn ang="0">
                <a:pos x="connsiteX73626" y="connsiteY73626"/>
              </a:cxn>
              <a:cxn ang="0">
                <a:pos x="connsiteX73627" y="connsiteY73627"/>
              </a:cxn>
              <a:cxn ang="0">
                <a:pos x="connsiteX73628" y="connsiteY73628"/>
              </a:cxn>
              <a:cxn ang="0">
                <a:pos x="connsiteX73629" y="connsiteY73629"/>
              </a:cxn>
              <a:cxn ang="0">
                <a:pos x="connsiteX73630" y="connsiteY73630"/>
              </a:cxn>
              <a:cxn ang="0">
                <a:pos x="connsiteX73631" y="connsiteY73631"/>
              </a:cxn>
              <a:cxn ang="0">
                <a:pos x="connsiteX73632" y="connsiteY73632"/>
              </a:cxn>
              <a:cxn ang="0">
                <a:pos x="connsiteX73633" y="connsiteY73633"/>
              </a:cxn>
              <a:cxn ang="0">
                <a:pos x="connsiteX73634" y="connsiteY73634"/>
              </a:cxn>
              <a:cxn ang="0">
                <a:pos x="connsiteX73635" y="connsiteY73635"/>
              </a:cxn>
              <a:cxn ang="0">
                <a:pos x="connsiteX73636" y="connsiteY73636"/>
              </a:cxn>
              <a:cxn ang="0">
                <a:pos x="connsiteX73637" y="connsiteY73637"/>
              </a:cxn>
              <a:cxn ang="0">
                <a:pos x="connsiteX73638" y="connsiteY73638"/>
              </a:cxn>
              <a:cxn ang="0">
                <a:pos x="connsiteX73639" y="connsiteY73639"/>
              </a:cxn>
              <a:cxn ang="0">
                <a:pos x="connsiteX73640" y="connsiteY73640"/>
              </a:cxn>
              <a:cxn ang="0">
                <a:pos x="connsiteX73641" y="connsiteY73641"/>
              </a:cxn>
              <a:cxn ang="0">
                <a:pos x="connsiteX73642" y="connsiteY73642"/>
              </a:cxn>
              <a:cxn ang="0">
                <a:pos x="connsiteX73643" y="connsiteY73643"/>
              </a:cxn>
              <a:cxn ang="0">
                <a:pos x="connsiteX73644" y="connsiteY73644"/>
              </a:cxn>
              <a:cxn ang="0">
                <a:pos x="connsiteX73645" y="connsiteY73645"/>
              </a:cxn>
              <a:cxn ang="0">
                <a:pos x="connsiteX73646" y="connsiteY73646"/>
              </a:cxn>
              <a:cxn ang="0">
                <a:pos x="connsiteX73647" y="connsiteY73647"/>
              </a:cxn>
              <a:cxn ang="0">
                <a:pos x="connsiteX73648" y="connsiteY73648"/>
              </a:cxn>
              <a:cxn ang="0">
                <a:pos x="connsiteX73649" y="connsiteY73649"/>
              </a:cxn>
              <a:cxn ang="0">
                <a:pos x="connsiteX73650" y="connsiteY73650"/>
              </a:cxn>
              <a:cxn ang="0">
                <a:pos x="connsiteX73651" y="connsiteY73651"/>
              </a:cxn>
              <a:cxn ang="0">
                <a:pos x="connsiteX73652" y="connsiteY73652"/>
              </a:cxn>
              <a:cxn ang="0">
                <a:pos x="connsiteX73653" y="connsiteY73653"/>
              </a:cxn>
              <a:cxn ang="0">
                <a:pos x="connsiteX73654" y="connsiteY73654"/>
              </a:cxn>
              <a:cxn ang="0">
                <a:pos x="connsiteX73655" y="connsiteY73655"/>
              </a:cxn>
              <a:cxn ang="0">
                <a:pos x="connsiteX73656" y="connsiteY73656"/>
              </a:cxn>
              <a:cxn ang="0">
                <a:pos x="connsiteX73657" y="connsiteY73657"/>
              </a:cxn>
              <a:cxn ang="0">
                <a:pos x="connsiteX73658" y="connsiteY73658"/>
              </a:cxn>
              <a:cxn ang="0">
                <a:pos x="connsiteX73659" y="connsiteY73659"/>
              </a:cxn>
              <a:cxn ang="0">
                <a:pos x="connsiteX73660" y="connsiteY73660"/>
              </a:cxn>
              <a:cxn ang="0">
                <a:pos x="connsiteX73661" y="connsiteY73661"/>
              </a:cxn>
              <a:cxn ang="0">
                <a:pos x="connsiteX73662" y="connsiteY73662"/>
              </a:cxn>
              <a:cxn ang="0">
                <a:pos x="connsiteX73663" y="connsiteY73663"/>
              </a:cxn>
              <a:cxn ang="0">
                <a:pos x="connsiteX73664" y="connsiteY73664"/>
              </a:cxn>
              <a:cxn ang="0">
                <a:pos x="connsiteX73665" y="connsiteY73665"/>
              </a:cxn>
              <a:cxn ang="0">
                <a:pos x="connsiteX73666" y="connsiteY73666"/>
              </a:cxn>
              <a:cxn ang="0">
                <a:pos x="connsiteX73667" y="connsiteY73667"/>
              </a:cxn>
              <a:cxn ang="0">
                <a:pos x="connsiteX73668" y="connsiteY73668"/>
              </a:cxn>
              <a:cxn ang="0">
                <a:pos x="connsiteX73669" y="connsiteY73669"/>
              </a:cxn>
              <a:cxn ang="0">
                <a:pos x="connsiteX73670" y="connsiteY73670"/>
              </a:cxn>
              <a:cxn ang="0">
                <a:pos x="connsiteX73671" y="connsiteY73671"/>
              </a:cxn>
              <a:cxn ang="0">
                <a:pos x="connsiteX73672" y="connsiteY73672"/>
              </a:cxn>
              <a:cxn ang="0">
                <a:pos x="connsiteX73673" y="connsiteY73673"/>
              </a:cxn>
              <a:cxn ang="0">
                <a:pos x="connsiteX73674" y="connsiteY73674"/>
              </a:cxn>
              <a:cxn ang="0">
                <a:pos x="connsiteX73675" y="connsiteY73675"/>
              </a:cxn>
              <a:cxn ang="0">
                <a:pos x="connsiteX73676" y="connsiteY73676"/>
              </a:cxn>
              <a:cxn ang="0">
                <a:pos x="connsiteX73677" y="connsiteY73677"/>
              </a:cxn>
              <a:cxn ang="0">
                <a:pos x="connsiteX73678" y="connsiteY73678"/>
              </a:cxn>
              <a:cxn ang="0">
                <a:pos x="connsiteX73679" y="connsiteY73679"/>
              </a:cxn>
              <a:cxn ang="0">
                <a:pos x="connsiteX73680" y="connsiteY73680"/>
              </a:cxn>
              <a:cxn ang="0">
                <a:pos x="connsiteX73681" y="connsiteY73681"/>
              </a:cxn>
              <a:cxn ang="0">
                <a:pos x="connsiteX73682" y="connsiteY73682"/>
              </a:cxn>
              <a:cxn ang="0">
                <a:pos x="connsiteX73683" y="connsiteY73683"/>
              </a:cxn>
              <a:cxn ang="0">
                <a:pos x="connsiteX73684" y="connsiteY73684"/>
              </a:cxn>
              <a:cxn ang="0">
                <a:pos x="connsiteX73685" y="connsiteY73685"/>
              </a:cxn>
              <a:cxn ang="0">
                <a:pos x="connsiteX73686" y="connsiteY73686"/>
              </a:cxn>
              <a:cxn ang="0">
                <a:pos x="connsiteX73687" y="connsiteY73687"/>
              </a:cxn>
              <a:cxn ang="0">
                <a:pos x="connsiteX73688" y="connsiteY73688"/>
              </a:cxn>
              <a:cxn ang="0">
                <a:pos x="connsiteX73689" y="connsiteY73689"/>
              </a:cxn>
              <a:cxn ang="0">
                <a:pos x="connsiteX73690" y="connsiteY73690"/>
              </a:cxn>
              <a:cxn ang="0">
                <a:pos x="connsiteX73691" y="connsiteY73691"/>
              </a:cxn>
              <a:cxn ang="0">
                <a:pos x="connsiteX73692" y="connsiteY73692"/>
              </a:cxn>
              <a:cxn ang="0">
                <a:pos x="connsiteX73693" y="connsiteY73693"/>
              </a:cxn>
              <a:cxn ang="0">
                <a:pos x="connsiteX73694" y="connsiteY73694"/>
              </a:cxn>
              <a:cxn ang="0">
                <a:pos x="connsiteX73695" y="connsiteY73695"/>
              </a:cxn>
              <a:cxn ang="0">
                <a:pos x="connsiteX73696" y="connsiteY73696"/>
              </a:cxn>
              <a:cxn ang="0">
                <a:pos x="connsiteX73697" y="connsiteY73697"/>
              </a:cxn>
              <a:cxn ang="0">
                <a:pos x="connsiteX73698" y="connsiteY73698"/>
              </a:cxn>
              <a:cxn ang="0">
                <a:pos x="connsiteX73699" y="connsiteY73699"/>
              </a:cxn>
              <a:cxn ang="0">
                <a:pos x="connsiteX73700" y="connsiteY73700"/>
              </a:cxn>
              <a:cxn ang="0">
                <a:pos x="connsiteX73701" y="connsiteY73701"/>
              </a:cxn>
              <a:cxn ang="0">
                <a:pos x="connsiteX73702" y="connsiteY73702"/>
              </a:cxn>
              <a:cxn ang="0">
                <a:pos x="connsiteX73703" y="connsiteY73703"/>
              </a:cxn>
              <a:cxn ang="0">
                <a:pos x="connsiteX73704" y="connsiteY73704"/>
              </a:cxn>
              <a:cxn ang="0">
                <a:pos x="connsiteX73705" y="connsiteY73705"/>
              </a:cxn>
              <a:cxn ang="0">
                <a:pos x="connsiteX73706" y="connsiteY73706"/>
              </a:cxn>
              <a:cxn ang="0">
                <a:pos x="connsiteX73707" y="connsiteY73707"/>
              </a:cxn>
              <a:cxn ang="0">
                <a:pos x="connsiteX73708" y="connsiteY73708"/>
              </a:cxn>
              <a:cxn ang="0">
                <a:pos x="connsiteX73709" y="connsiteY73709"/>
              </a:cxn>
              <a:cxn ang="0">
                <a:pos x="connsiteX73710" y="connsiteY73710"/>
              </a:cxn>
              <a:cxn ang="0">
                <a:pos x="connsiteX73711" y="connsiteY73711"/>
              </a:cxn>
              <a:cxn ang="0">
                <a:pos x="connsiteX73712" y="connsiteY73712"/>
              </a:cxn>
              <a:cxn ang="0">
                <a:pos x="connsiteX73713" y="connsiteY73713"/>
              </a:cxn>
              <a:cxn ang="0">
                <a:pos x="connsiteX73714" y="connsiteY73714"/>
              </a:cxn>
              <a:cxn ang="0">
                <a:pos x="connsiteX73715" y="connsiteY73715"/>
              </a:cxn>
              <a:cxn ang="0">
                <a:pos x="connsiteX73716" y="connsiteY73716"/>
              </a:cxn>
              <a:cxn ang="0">
                <a:pos x="connsiteX73717" y="connsiteY73717"/>
              </a:cxn>
              <a:cxn ang="0">
                <a:pos x="connsiteX73718" y="connsiteY73718"/>
              </a:cxn>
              <a:cxn ang="0">
                <a:pos x="connsiteX73719" y="connsiteY73719"/>
              </a:cxn>
              <a:cxn ang="0">
                <a:pos x="connsiteX73720" y="connsiteY73720"/>
              </a:cxn>
              <a:cxn ang="0">
                <a:pos x="connsiteX73721" y="connsiteY73721"/>
              </a:cxn>
              <a:cxn ang="0">
                <a:pos x="connsiteX73722" y="connsiteY73722"/>
              </a:cxn>
              <a:cxn ang="0">
                <a:pos x="connsiteX73723" y="connsiteY73723"/>
              </a:cxn>
              <a:cxn ang="0">
                <a:pos x="connsiteX73724" y="connsiteY73724"/>
              </a:cxn>
              <a:cxn ang="0">
                <a:pos x="connsiteX73725" y="connsiteY73725"/>
              </a:cxn>
              <a:cxn ang="0">
                <a:pos x="connsiteX73726" y="connsiteY73726"/>
              </a:cxn>
              <a:cxn ang="0">
                <a:pos x="connsiteX73727" y="connsiteY73727"/>
              </a:cxn>
              <a:cxn ang="0">
                <a:pos x="connsiteX73728" y="connsiteY73728"/>
              </a:cxn>
              <a:cxn ang="0">
                <a:pos x="connsiteX73729" y="connsiteY73729"/>
              </a:cxn>
              <a:cxn ang="0">
                <a:pos x="connsiteX73730" y="connsiteY73730"/>
              </a:cxn>
              <a:cxn ang="0">
                <a:pos x="connsiteX73731" y="connsiteY73731"/>
              </a:cxn>
              <a:cxn ang="0">
                <a:pos x="connsiteX73732" y="connsiteY73732"/>
              </a:cxn>
              <a:cxn ang="0">
                <a:pos x="connsiteX73733" y="connsiteY73733"/>
              </a:cxn>
              <a:cxn ang="0">
                <a:pos x="connsiteX73734" y="connsiteY73734"/>
              </a:cxn>
              <a:cxn ang="0">
                <a:pos x="connsiteX73735" y="connsiteY73735"/>
              </a:cxn>
              <a:cxn ang="0">
                <a:pos x="connsiteX73736" y="connsiteY73736"/>
              </a:cxn>
              <a:cxn ang="0">
                <a:pos x="connsiteX73737" y="connsiteY73737"/>
              </a:cxn>
              <a:cxn ang="0">
                <a:pos x="connsiteX73738" y="connsiteY73738"/>
              </a:cxn>
              <a:cxn ang="0">
                <a:pos x="connsiteX73739" y="connsiteY73739"/>
              </a:cxn>
              <a:cxn ang="0">
                <a:pos x="connsiteX73740" y="connsiteY73740"/>
              </a:cxn>
              <a:cxn ang="0">
                <a:pos x="connsiteX73741" y="connsiteY73741"/>
              </a:cxn>
              <a:cxn ang="0">
                <a:pos x="connsiteX73742" y="connsiteY73742"/>
              </a:cxn>
              <a:cxn ang="0">
                <a:pos x="connsiteX73743" y="connsiteY73743"/>
              </a:cxn>
              <a:cxn ang="0">
                <a:pos x="connsiteX73744" y="connsiteY73744"/>
              </a:cxn>
              <a:cxn ang="0">
                <a:pos x="connsiteX73745" y="connsiteY73745"/>
              </a:cxn>
              <a:cxn ang="0">
                <a:pos x="connsiteX73746" y="connsiteY73746"/>
              </a:cxn>
              <a:cxn ang="0">
                <a:pos x="connsiteX73747" y="connsiteY73747"/>
              </a:cxn>
              <a:cxn ang="0">
                <a:pos x="connsiteX73748" y="connsiteY73748"/>
              </a:cxn>
              <a:cxn ang="0">
                <a:pos x="connsiteX73749" y="connsiteY73749"/>
              </a:cxn>
              <a:cxn ang="0">
                <a:pos x="connsiteX73750" y="connsiteY73750"/>
              </a:cxn>
              <a:cxn ang="0">
                <a:pos x="connsiteX73751" y="connsiteY73751"/>
              </a:cxn>
              <a:cxn ang="0">
                <a:pos x="connsiteX73752" y="connsiteY73752"/>
              </a:cxn>
              <a:cxn ang="0">
                <a:pos x="connsiteX73753" y="connsiteY73753"/>
              </a:cxn>
              <a:cxn ang="0">
                <a:pos x="connsiteX73754" y="connsiteY73754"/>
              </a:cxn>
              <a:cxn ang="0">
                <a:pos x="connsiteX73755" y="connsiteY73755"/>
              </a:cxn>
              <a:cxn ang="0">
                <a:pos x="connsiteX73756" y="connsiteY73756"/>
              </a:cxn>
              <a:cxn ang="0">
                <a:pos x="connsiteX73757" y="connsiteY73757"/>
              </a:cxn>
              <a:cxn ang="0">
                <a:pos x="connsiteX73758" y="connsiteY73758"/>
              </a:cxn>
              <a:cxn ang="0">
                <a:pos x="connsiteX73759" y="connsiteY73759"/>
              </a:cxn>
              <a:cxn ang="0">
                <a:pos x="connsiteX73760" y="connsiteY73760"/>
              </a:cxn>
              <a:cxn ang="0">
                <a:pos x="connsiteX73761" y="connsiteY73761"/>
              </a:cxn>
              <a:cxn ang="0">
                <a:pos x="connsiteX73762" y="connsiteY73762"/>
              </a:cxn>
              <a:cxn ang="0">
                <a:pos x="connsiteX73763" y="connsiteY73763"/>
              </a:cxn>
              <a:cxn ang="0">
                <a:pos x="connsiteX73764" y="connsiteY73764"/>
              </a:cxn>
              <a:cxn ang="0">
                <a:pos x="connsiteX73765" y="connsiteY73765"/>
              </a:cxn>
              <a:cxn ang="0">
                <a:pos x="connsiteX73766" y="connsiteY73766"/>
              </a:cxn>
              <a:cxn ang="0">
                <a:pos x="connsiteX73767" y="connsiteY73767"/>
              </a:cxn>
              <a:cxn ang="0">
                <a:pos x="connsiteX73768" y="connsiteY73768"/>
              </a:cxn>
              <a:cxn ang="0">
                <a:pos x="connsiteX73769" y="connsiteY73769"/>
              </a:cxn>
              <a:cxn ang="0">
                <a:pos x="connsiteX73770" y="connsiteY73770"/>
              </a:cxn>
              <a:cxn ang="0">
                <a:pos x="connsiteX73771" y="connsiteY73771"/>
              </a:cxn>
              <a:cxn ang="0">
                <a:pos x="connsiteX73772" y="connsiteY73772"/>
              </a:cxn>
              <a:cxn ang="0">
                <a:pos x="connsiteX73773" y="connsiteY73773"/>
              </a:cxn>
              <a:cxn ang="0">
                <a:pos x="connsiteX73774" y="connsiteY73774"/>
              </a:cxn>
              <a:cxn ang="0">
                <a:pos x="connsiteX73775" y="connsiteY73775"/>
              </a:cxn>
              <a:cxn ang="0">
                <a:pos x="connsiteX73776" y="connsiteY73776"/>
              </a:cxn>
              <a:cxn ang="0">
                <a:pos x="connsiteX73777" y="connsiteY73777"/>
              </a:cxn>
              <a:cxn ang="0">
                <a:pos x="connsiteX73778" y="connsiteY73778"/>
              </a:cxn>
              <a:cxn ang="0">
                <a:pos x="connsiteX73779" y="connsiteY73779"/>
              </a:cxn>
              <a:cxn ang="0">
                <a:pos x="connsiteX73780" y="connsiteY73780"/>
              </a:cxn>
              <a:cxn ang="0">
                <a:pos x="connsiteX73781" y="connsiteY73781"/>
              </a:cxn>
              <a:cxn ang="0">
                <a:pos x="connsiteX73782" y="connsiteY73782"/>
              </a:cxn>
              <a:cxn ang="0">
                <a:pos x="connsiteX73783" y="connsiteY73783"/>
              </a:cxn>
              <a:cxn ang="0">
                <a:pos x="connsiteX73784" y="connsiteY73784"/>
              </a:cxn>
              <a:cxn ang="0">
                <a:pos x="connsiteX73785" y="connsiteY73785"/>
              </a:cxn>
              <a:cxn ang="0">
                <a:pos x="connsiteX73786" y="connsiteY73786"/>
              </a:cxn>
              <a:cxn ang="0">
                <a:pos x="connsiteX73787" y="connsiteY73787"/>
              </a:cxn>
              <a:cxn ang="0">
                <a:pos x="connsiteX73788" y="connsiteY73788"/>
              </a:cxn>
              <a:cxn ang="0">
                <a:pos x="connsiteX73789" y="connsiteY73789"/>
              </a:cxn>
              <a:cxn ang="0">
                <a:pos x="connsiteX73790" y="connsiteY73790"/>
              </a:cxn>
              <a:cxn ang="0">
                <a:pos x="connsiteX73791" y="connsiteY73791"/>
              </a:cxn>
              <a:cxn ang="0">
                <a:pos x="connsiteX73792" y="connsiteY73792"/>
              </a:cxn>
              <a:cxn ang="0">
                <a:pos x="connsiteX73793" y="connsiteY73793"/>
              </a:cxn>
              <a:cxn ang="0">
                <a:pos x="connsiteX73794" y="connsiteY73794"/>
              </a:cxn>
              <a:cxn ang="0">
                <a:pos x="connsiteX73795" y="connsiteY73795"/>
              </a:cxn>
              <a:cxn ang="0">
                <a:pos x="connsiteX73796" y="connsiteY73796"/>
              </a:cxn>
              <a:cxn ang="0">
                <a:pos x="connsiteX73797" y="connsiteY73797"/>
              </a:cxn>
              <a:cxn ang="0">
                <a:pos x="connsiteX73798" y="connsiteY73798"/>
              </a:cxn>
              <a:cxn ang="0">
                <a:pos x="connsiteX73799" y="connsiteY73799"/>
              </a:cxn>
              <a:cxn ang="0">
                <a:pos x="connsiteX73800" y="connsiteY73800"/>
              </a:cxn>
              <a:cxn ang="0">
                <a:pos x="connsiteX73801" y="connsiteY73801"/>
              </a:cxn>
              <a:cxn ang="0">
                <a:pos x="connsiteX73802" y="connsiteY73802"/>
              </a:cxn>
              <a:cxn ang="0">
                <a:pos x="connsiteX73803" y="connsiteY73803"/>
              </a:cxn>
              <a:cxn ang="0">
                <a:pos x="connsiteX73804" y="connsiteY73804"/>
              </a:cxn>
              <a:cxn ang="0">
                <a:pos x="connsiteX73805" y="connsiteY73805"/>
              </a:cxn>
              <a:cxn ang="0">
                <a:pos x="connsiteX73806" y="connsiteY73806"/>
              </a:cxn>
              <a:cxn ang="0">
                <a:pos x="connsiteX73807" y="connsiteY73807"/>
              </a:cxn>
              <a:cxn ang="0">
                <a:pos x="connsiteX73808" y="connsiteY73808"/>
              </a:cxn>
              <a:cxn ang="0">
                <a:pos x="connsiteX73809" y="connsiteY73809"/>
              </a:cxn>
              <a:cxn ang="0">
                <a:pos x="connsiteX73810" y="connsiteY73810"/>
              </a:cxn>
              <a:cxn ang="0">
                <a:pos x="connsiteX73811" y="connsiteY73811"/>
              </a:cxn>
              <a:cxn ang="0">
                <a:pos x="connsiteX73812" y="connsiteY73812"/>
              </a:cxn>
              <a:cxn ang="0">
                <a:pos x="connsiteX73813" y="connsiteY73813"/>
              </a:cxn>
              <a:cxn ang="0">
                <a:pos x="connsiteX73814" y="connsiteY73814"/>
              </a:cxn>
              <a:cxn ang="0">
                <a:pos x="connsiteX73815" y="connsiteY73815"/>
              </a:cxn>
              <a:cxn ang="0">
                <a:pos x="connsiteX73816" y="connsiteY73816"/>
              </a:cxn>
              <a:cxn ang="0">
                <a:pos x="connsiteX73817" y="connsiteY73817"/>
              </a:cxn>
              <a:cxn ang="0">
                <a:pos x="connsiteX73818" y="connsiteY73818"/>
              </a:cxn>
              <a:cxn ang="0">
                <a:pos x="connsiteX73819" y="connsiteY73819"/>
              </a:cxn>
              <a:cxn ang="0">
                <a:pos x="connsiteX73820" y="connsiteY73820"/>
              </a:cxn>
              <a:cxn ang="0">
                <a:pos x="connsiteX73821" y="connsiteY73821"/>
              </a:cxn>
              <a:cxn ang="0">
                <a:pos x="connsiteX73822" y="connsiteY73822"/>
              </a:cxn>
              <a:cxn ang="0">
                <a:pos x="connsiteX73823" y="connsiteY73823"/>
              </a:cxn>
              <a:cxn ang="0">
                <a:pos x="connsiteX73824" y="connsiteY73824"/>
              </a:cxn>
              <a:cxn ang="0">
                <a:pos x="connsiteX73825" y="connsiteY73825"/>
              </a:cxn>
              <a:cxn ang="0">
                <a:pos x="connsiteX73826" y="connsiteY73826"/>
              </a:cxn>
              <a:cxn ang="0">
                <a:pos x="connsiteX73827" y="connsiteY73827"/>
              </a:cxn>
              <a:cxn ang="0">
                <a:pos x="connsiteX73828" y="connsiteY73828"/>
              </a:cxn>
              <a:cxn ang="0">
                <a:pos x="connsiteX73829" y="connsiteY73829"/>
              </a:cxn>
              <a:cxn ang="0">
                <a:pos x="connsiteX73830" y="connsiteY73830"/>
              </a:cxn>
              <a:cxn ang="0">
                <a:pos x="connsiteX73831" y="connsiteY73831"/>
              </a:cxn>
              <a:cxn ang="0">
                <a:pos x="connsiteX73832" y="connsiteY73832"/>
              </a:cxn>
              <a:cxn ang="0">
                <a:pos x="connsiteX73833" y="connsiteY73833"/>
              </a:cxn>
              <a:cxn ang="0">
                <a:pos x="connsiteX73834" y="connsiteY73834"/>
              </a:cxn>
              <a:cxn ang="0">
                <a:pos x="connsiteX73835" y="connsiteY73835"/>
              </a:cxn>
              <a:cxn ang="0">
                <a:pos x="connsiteX73836" y="connsiteY73836"/>
              </a:cxn>
              <a:cxn ang="0">
                <a:pos x="connsiteX73837" y="connsiteY73837"/>
              </a:cxn>
              <a:cxn ang="0">
                <a:pos x="connsiteX73838" y="connsiteY73838"/>
              </a:cxn>
              <a:cxn ang="0">
                <a:pos x="connsiteX73839" y="connsiteY73839"/>
              </a:cxn>
              <a:cxn ang="0">
                <a:pos x="connsiteX73840" y="connsiteY73840"/>
              </a:cxn>
              <a:cxn ang="0">
                <a:pos x="connsiteX73841" y="connsiteY73841"/>
              </a:cxn>
              <a:cxn ang="0">
                <a:pos x="connsiteX73842" y="connsiteY73842"/>
              </a:cxn>
              <a:cxn ang="0">
                <a:pos x="connsiteX73843" y="connsiteY73843"/>
              </a:cxn>
              <a:cxn ang="0">
                <a:pos x="connsiteX73844" y="connsiteY73844"/>
              </a:cxn>
              <a:cxn ang="0">
                <a:pos x="connsiteX73845" y="connsiteY73845"/>
              </a:cxn>
              <a:cxn ang="0">
                <a:pos x="connsiteX73846" y="connsiteY73846"/>
              </a:cxn>
              <a:cxn ang="0">
                <a:pos x="connsiteX73847" y="connsiteY73847"/>
              </a:cxn>
              <a:cxn ang="0">
                <a:pos x="connsiteX73848" y="connsiteY73848"/>
              </a:cxn>
              <a:cxn ang="0">
                <a:pos x="connsiteX73849" y="connsiteY73849"/>
              </a:cxn>
              <a:cxn ang="0">
                <a:pos x="connsiteX73850" y="connsiteY73850"/>
              </a:cxn>
              <a:cxn ang="0">
                <a:pos x="connsiteX73851" y="connsiteY73851"/>
              </a:cxn>
              <a:cxn ang="0">
                <a:pos x="connsiteX73852" y="connsiteY73852"/>
              </a:cxn>
              <a:cxn ang="0">
                <a:pos x="connsiteX73853" y="connsiteY73853"/>
              </a:cxn>
              <a:cxn ang="0">
                <a:pos x="connsiteX73854" y="connsiteY73854"/>
              </a:cxn>
              <a:cxn ang="0">
                <a:pos x="connsiteX73855" y="connsiteY73855"/>
              </a:cxn>
              <a:cxn ang="0">
                <a:pos x="connsiteX73856" y="connsiteY73856"/>
              </a:cxn>
              <a:cxn ang="0">
                <a:pos x="connsiteX73857" y="connsiteY73857"/>
              </a:cxn>
              <a:cxn ang="0">
                <a:pos x="connsiteX73858" y="connsiteY73858"/>
              </a:cxn>
              <a:cxn ang="0">
                <a:pos x="connsiteX73859" y="connsiteY73859"/>
              </a:cxn>
              <a:cxn ang="0">
                <a:pos x="connsiteX73860" y="connsiteY73860"/>
              </a:cxn>
              <a:cxn ang="0">
                <a:pos x="connsiteX73861" y="connsiteY73861"/>
              </a:cxn>
              <a:cxn ang="0">
                <a:pos x="connsiteX73862" y="connsiteY73862"/>
              </a:cxn>
              <a:cxn ang="0">
                <a:pos x="connsiteX73863" y="connsiteY73863"/>
              </a:cxn>
              <a:cxn ang="0">
                <a:pos x="connsiteX73864" y="connsiteY73864"/>
              </a:cxn>
              <a:cxn ang="0">
                <a:pos x="connsiteX73865" y="connsiteY73865"/>
              </a:cxn>
              <a:cxn ang="0">
                <a:pos x="connsiteX73866" y="connsiteY73866"/>
              </a:cxn>
              <a:cxn ang="0">
                <a:pos x="connsiteX73867" y="connsiteY73867"/>
              </a:cxn>
              <a:cxn ang="0">
                <a:pos x="connsiteX73868" y="connsiteY73868"/>
              </a:cxn>
              <a:cxn ang="0">
                <a:pos x="connsiteX73869" y="connsiteY73869"/>
              </a:cxn>
              <a:cxn ang="0">
                <a:pos x="connsiteX73870" y="connsiteY73870"/>
              </a:cxn>
              <a:cxn ang="0">
                <a:pos x="connsiteX73871" y="connsiteY73871"/>
              </a:cxn>
              <a:cxn ang="0">
                <a:pos x="connsiteX73872" y="connsiteY73872"/>
              </a:cxn>
              <a:cxn ang="0">
                <a:pos x="connsiteX73873" y="connsiteY73873"/>
              </a:cxn>
              <a:cxn ang="0">
                <a:pos x="connsiteX73874" y="connsiteY73874"/>
              </a:cxn>
              <a:cxn ang="0">
                <a:pos x="connsiteX73875" y="connsiteY73875"/>
              </a:cxn>
              <a:cxn ang="0">
                <a:pos x="connsiteX73876" y="connsiteY73876"/>
              </a:cxn>
              <a:cxn ang="0">
                <a:pos x="connsiteX73877" y="connsiteY73877"/>
              </a:cxn>
              <a:cxn ang="0">
                <a:pos x="connsiteX73878" y="connsiteY73878"/>
              </a:cxn>
              <a:cxn ang="0">
                <a:pos x="connsiteX73879" y="connsiteY73879"/>
              </a:cxn>
              <a:cxn ang="0">
                <a:pos x="connsiteX73880" y="connsiteY73880"/>
              </a:cxn>
              <a:cxn ang="0">
                <a:pos x="connsiteX73881" y="connsiteY73881"/>
              </a:cxn>
              <a:cxn ang="0">
                <a:pos x="connsiteX73882" y="connsiteY73882"/>
              </a:cxn>
              <a:cxn ang="0">
                <a:pos x="connsiteX73883" y="connsiteY73883"/>
              </a:cxn>
              <a:cxn ang="0">
                <a:pos x="connsiteX73884" y="connsiteY73884"/>
              </a:cxn>
              <a:cxn ang="0">
                <a:pos x="connsiteX73885" y="connsiteY73885"/>
              </a:cxn>
              <a:cxn ang="0">
                <a:pos x="connsiteX73886" y="connsiteY73886"/>
              </a:cxn>
              <a:cxn ang="0">
                <a:pos x="connsiteX73887" y="connsiteY73887"/>
              </a:cxn>
              <a:cxn ang="0">
                <a:pos x="connsiteX73888" y="connsiteY73888"/>
              </a:cxn>
              <a:cxn ang="0">
                <a:pos x="connsiteX73889" y="connsiteY73889"/>
              </a:cxn>
              <a:cxn ang="0">
                <a:pos x="connsiteX73890" y="connsiteY73890"/>
              </a:cxn>
              <a:cxn ang="0">
                <a:pos x="connsiteX73891" y="connsiteY73891"/>
              </a:cxn>
              <a:cxn ang="0">
                <a:pos x="connsiteX73892" y="connsiteY73892"/>
              </a:cxn>
              <a:cxn ang="0">
                <a:pos x="connsiteX73893" y="connsiteY73893"/>
              </a:cxn>
              <a:cxn ang="0">
                <a:pos x="connsiteX73894" y="connsiteY73894"/>
              </a:cxn>
              <a:cxn ang="0">
                <a:pos x="connsiteX73895" y="connsiteY73895"/>
              </a:cxn>
              <a:cxn ang="0">
                <a:pos x="connsiteX73896" y="connsiteY73896"/>
              </a:cxn>
              <a:cxn ang="0">
                <a:pos x="connsiteX73897" y="connsiteY73897"/>
              </a:cxn>
              <a:cxn ang="0">
                <a:pos x="connsiteX73898" y="connsiteY73898"/>
              </a:cxn>
              <a:cxn ang="0">
                <a:pos x="connsiteX73899" y="connsiteY73899"/>
              </a:cxn>
              <a:cxn ang="0">
                <a:pos x="connsiteX73900" y="connsiteY73900"/>
              </a:cxn>
              <a:cxn ang="0">
                <a:pos x="connsiteX73901" y="connsiteY73901"/>
              </a:cxn>
              <a:cxn ang="0">
                <a:pos x="connsiteX73902" y="connsiteY73902"/>
              </a:cxn>
              <a:cxn ang="0">
                <a:pos x="connsiteX73903" y="connsiteY73903"/>
              </a:cxn>
              <a:cxn ang="0">
                <a:pos x="connsiteX73904" y="connsiteY73904"/>
              </a:cxn>
              <a:cxn ang="0">
                <a:pos x="connsiteX73905" y="connsiteY73905"/>
              </a:cxn>
              <a:cxn ang="0">
                <a:pos x="connsiteX73906" y="connsiteY73906"/>
              </a:cxn>
              <a:cxn ang="0">
                <a:pos x="connsiteX73907" y="connsiteY73907"/>
              </a:cxn>
              <a:cxn ang="0">
                <a:pos x="connsiteX73908" y="connsiteY73908"/>
              </a:cxn>
              <a:cxn ang="0">
                <a:pos x="connsiteX73909" y="connsiteY73909"/>
              </a:cxn>
              <a:cxn ang="0">
                <a:pos x="connsiteX73910" y="connsiteY73910"/>
              </a:cxn>
              <a:cxn ang="0">
                <a:pos x="connsiteX73911" y="connsiteY73911"/>
              </a:cxn>
              <a:cxn ang="0">
                <a:pos x="connsiteX73912" y="connsiteY73912"/>
              </a:cxn>
              <a:cxn ang="0">
                <a:pos x="connsiteX73913" y="connsiteY73913"/>
              </a:cxn>
              <a:cxn ang="0">
                <a:pos x="connsiteX73914" y="connsiteY73914"/>
              </a:cxn>
              <a:cxn ang="0">
                <a:pos x="connsiteX73915" y="connsiteY73915"/>
              </a:cxn>
              <a:cxn ang="0">
                <a:pos x="connsiteX73916" y="connsiteY73916"/>
              </a:cxn>
              <a:cxn ang="0">
                <a:pos x="connsiteX73917" y="connsiteY73917"/>
              </a:cxn>
              <a:cxn ang="0">
                <a:pos x="connsiteX73918" y="connsiteY73918"/>
              </a:cxn>
              <a:cxn ang="0">
                <a:pos x="connsiteX73919" y="connsiteY73919"/>
              </a:cxn>
              <a:cxn ang="0">
                <a:pos x="connsiteX73920" y="connsiteY73920"/>
              </a:cxn>
              <a:cxn ang="0">
                <a:pos x="connsiteX73921" y="connsiteY73921"/>
              </a:cxn>
              <a:cxn ang="0">
                <a:pos x="connsiteX73922" y="connsiteY73922"/>
              </a:cxn>
              <a:cxn ang="0">
                <a:pos x="connsiteX73923" y="connsiteY73923"/>
              </a:cxn>
              <a:cxn ang="0">
                <a:pos x="connsiteX73924" y="connsiteY73924"/>
              </a:cxn>
              <a:cxn ang="0">
                <a:pos x="connsiteX73925" y="connsiteY73925"/>
              </a:cxn>
              <a:cxn ang="0">
                <a:pos x="connsiteX73926" y="connsiteY73926"/>
              </a:cxn>
              <a:cxn ang="0">
                <a:pos x="connsiteX73927" y="connsiteY73927"/>
              </a:cxn>
              <a:cxn ang="0">
                <a:pos x="connsiteX73928" y="connsiteY73928"/>
              </a:cxn>
              <a:cxn ang="0">
                <a:pos x="connsiteX73929" y="connsiteY73929"/>
              </a:cxn>
              <a:cxn ang="0">
                <a:pos x="connsiteX73930" y="connsiteY73930"/>
              </a:cxn>
              <a:cxn ang="0">
                <a:pos x="connsiteX73931" y="connsiteY73931"/>
              </a:cxn>
              <a:cxn ang="0">
                <a:pos x="connsiteX73932" y="connsiteY73932"/>
              </a:cxn>
              <a:cxn ang="0">
                <a:pos x="connsiteX73933" y="connsiteY73933"/>
              </a:cxn>
              <a:cxn ang="0">
                <a:pos x="connsiteX73934" y="connsiteY73934"/>
              </a:cxn>
              <a:cxn ang="0">
                <a:pos x="connsiteX73935" y="connsiteY73935"/>
              </a:cxn>
              <a:cxn ang="0">
                <a:pos x="connsiteX73936" y="connsiteY73936"/>
              </a:cxn>
              <a:cxn ang="0">
                <a:pos x="connsiteX73937" y="connsiteY73937"/>
              </a:cxn>
              <a:cxn ang="0">
                <a:pos x="connsiteX73938" y="connsiteY73938"/>
              </a:cxn>
              <a:cxn ang="0">
                <a:pos x="connsiteX73939" y="connsiteY73939"/>
              </a:cxn>
              <a:cxn ang="0">
                <a:pos x="connsiteX73940" y="connsiteY73940"/>
              </a:cxn>
              <a:cxn ang="0">
                <a:pos x="connsiteX73941" y="connsiteY73941"/>
              </a:cxn>
              <a:cxn ang="0">
                <a:pos x="connsiteX73942" y="connsiteY73942"/>
              </a:cxn>
              <a:cxn ang="0">
                <a:pos x="connsiteX73943" y="connsiteY73943"/>
              </a:cxn>
              <a:cxn ang="0">
                <a:pos x="connsiteX73944" y="connsiteY73944"/>
              </a:cxn>
              <a:cxn ang="0">
                <a:pos x="connsiteX73945" y="connsiteY73945"/>
              </a:cxn>
              <a:cxn ang="0">
                <a:pos x="connsiteX73946" y="connsiteY73946"/>
              </a:cxn>
              <a:cxn ang="0">
                <a:pos x="connsiteX73947" y="connsiteY73947"/>
              </a:cxn>
              <a:cxn ang="0">
                <a:pos x="connsiteX73948" y="connsiteY73948"/>
              </a:cxn>
              <a:cxn ang="0">
                <a:pos x="connsiteX73949" y="connsiteY73949"/>
              </a:cxn>
              <a:cxn ang="0">
                <a:pos x="connsiteX73950" y="connsiteY73950"/>
              </a:cxn>
              <a:cxn ang="0">
                <a:pos x="connsiteX73951" y="connsiteY73951"/>
              </a:cxn>
              <a:cxn ang="0">
                <a:pos x="connsiteX73952" y="connsiteY73952"/>
              </a:cxn>
              <a:cxn ang="0">
                <a:pos x="connsiteX73953" y="connsiteY73953"/>
              </a:cxn>
              <a:cxn ang="0">
                <a:pos x="connsiteX73954" y="connsiteY73954"/>
              </a:cxn>
              <a:cxn ang="0">
                <a:pos x="connsiteX73955" y="connsiteY73955"/>
              </a:cxn>
              <a:cxn ang="0">
                <a:pos x="connsiteX73956" y="connsiteY73956"/>
              </a:cxn>
              <a:cxn ang="0">
                <a:pos x="connsiteX73957" y="connsiteY73957"/>
              </a:cxn>
              <a:cxn ang="0">
                <a:pos x="connsiteX73958" y="connsiteY73958"/>
              </a:cxn>
              <a:cxn ang="0">
                <a:pos x="connsiteX73959" y="connsiteY73959"/>
              </a:cxn>
              <a:cxn ang="0">
                <a:pos x="connsiteX73960" y="connsiteY73960"/>
              </a:cxn>
              <a:cxn ang="0">
                <a:pos x="connsiteX73961" y="connsiteY73961"/>
              </a:cxn>
              <a:cxn ang="0">
                <a:pos x="connsiteX73962" y="connsiteY73962"/>
              </a:cxn>
              <a:cxn ang="0">
                <a:pos x="connsiteX73963" y="connsiteY73963"/>
              </a:cxn>
              <a:cxn ang="0">
                <a:pos x="connsiteX73964" y="connsiteY73964"/>
              </a:cxn>
              <a:cxn ang="0">
                <a:pos x="connsiteX73965" y="connsiteY73965"/>
              </a:cxn>
              <a:cxn ang="0">
                <a:pos x="connsiteX73966" y="connsiteY73966"/>
              </a:cxn>
              <a:cxn ang="0">
                <a:pos x="connsiteX73967" y="connsiteY73967"/>
              </a:cxn>
              <a:cxn ang="0">
                <a:pos x="connsiteX73968" y="connsiteY73968"/>
              </a:cxn>
              <a:cxn ang="0">
                <a:pos x="connsiteX73969" y="connsiteY73969"/>
              </a:cxn>
              <a:cxn ang="0">
                <a:pos x="connsiteX73970" y="connsiteY73970"/>
              </a:cxn>
              <a:cxn ang="0">
                <a:pos x="connsiteX73971" y="connsiteY73971"/>
              </a:cxn>
              <a:cxn ang="0">
                <a:pos x="connsiteX73972" y="connsiteY73972"/>
              </a:cxn>
              <a:cxn ang="0">
                <a:pos x="connsiteX73973" y="connsiteY73973"/>
              </a:cxn>
              <a:cxn ang="0">
                <a:pos x="connsiteX73974" y="connsiteY73974"/>
              </a:cxn>
              <a:cxn ang="0">
                <a:pos x="connsiteX73975" y="connsiteY73975"/>
              </a:cxn>
              <a:cxn ang="0">
                <a:pos x="connsiteX73976" y="connsiteY73976"/>
              </a:cxn>
              <a:cxn ang="0">
                <a:pos x="connsiteX73977" y="connsiteY73977"/>
              </a:cxn>
              <a:cxn ang="0">
                <a:pos x="connsiteX73978" y="connsiteY73978"/>
              </a:cxn>
              <a:cxn ang="0">
                <a:pos x="connsiteX73979" y="connsiteY73979"/>
              </a:cxn>
              <a:cxn ang="0">
                <a:pos x="connsiteX73980" y="connsiteY73980"/>
              </a:cxn>
              <a:cxn ang="0">
                <a:pos x="connsiteX73981" y="connsiteY73981"/>
              </a:cxn>
              <a:cxn ang="0">
                <a:pos x="connsiteX73982" y="connsiteY73982"/>
              </a:cxn>
              <a:cxn ang="0">
                <a:pos x="connsiteX73983" y="connsiteY73983"/>
              </a:cxn>
              <a:cxn ang="0">
                <a:pos x="connsiteX73984" y="connsiteY73984"/>
              </a:cxn>
              <a:cxn ang="0">
                <a:pos x="connsiteX73985" y="connsiteY73985"/>
              </a:cxn>
              <a:cxn ang="0">
                <a:pos x="connsiteX73986" y="connsiteY73986"/>
              </a:cxn>
              <a:cxn ang="0">
                <a:pos x="connsiteX73987" y="connsiteY73987"/>
              </a:cxn>
              <a:cxn ang="0">
                <a:pos x="connsiteX73988" y="connsiteY73988"/>
              </a:cxn>
              <a:cxn ang="0">
                <a:pos x="connsiteX73989" y="connsiteY73989"/>
              </a:cxn>
              <a:cxn ang="0">
                <a:pos x="connsiteX73990" y="connsiteY73990"/>
              </a:cxn>
              <a:cxn ang="0">
                <a:pos x="connsiteX73991" y="connsiteY73991"/>
              </a:cxn>
              <a:cxn ang="0">
                <a:pos x="connsiteX73992" y="connsiteY73992"/>
              </a:cxn>
              <a:cxn ang="0">
                <a:pos x="connsiteX73993" y="connsiteY73993"/>
              </a:cxn>
              <a:cxn ang="0">
                <a:pos x="connsiteX73994" y="connsiteY73994"/>
              </a:cxn>
              <a:cxn ang="0">
                <a:pos x="connsiteX73995" y="connsiteY73995"/>
              </a:cxn>
              <a:cxn ang="0">
                <a:pos x="connsiteX73996" y="connsiteY73996"/>
              </a:cxn>
              <a:cxn ang="0">
                <a:pos x="connsiteX73997" y="connsiteY73997"/>
              </a:cxn>
              <a:cxn ang="0">
                <a:pos x="connsiteX73998" y="connsiteY73998"/>
              </a:cxn>
              <a:cxn ang="0">
                <a:pos x="connsiteX73999" y="connsiteY73999"/>
              </a:cxn>
              <a:cxn ang="0">
                <a:pos x="connsiteX74000" y="connsiteY74000"/>
              </a:cxn>
              <a:cxn ang="0">
                <a:pos x="connsiteX74001" y="connsiteY74001"/>
              </a:cxn>
              <a:cxn ang="0">
                <a:pos x="connsiteX74002" y="connsiteY74002"/>
              </a:cxn>
              <a:cxn ang="0">
                <a:pos x="connsiteX74003" y="connsiteY74003"/>
              </a:cxn>
              <a:cxn ang="0">
                <a:pos x="connsiteX74004" y="connsiteY74004"/>
              </a:cxn>
              <a:cxn ang="0">
                <a:pos x="connsiteX74005" y="connsiteY74005"/>
              </a:cxn>
              <a:cxn ang="0">
                <a:pos x="connsiteX74006" y="connsiteY74006"/>
              </a:cxn>
              <a:cxn ang="0">
                <a:pos x="connsiteX74007" y="connsiteY74007"/>
              </a:cxn>
              <a:cxn ang="0">
                <a:pos x="connsiteX74008" y="connsiteY74008"/>
              </a:cxn>
              <a:cxn ang="0">
                <a:pos x="connsiteX74009" y="connsiteY74009"/>
              </a:cxn>
              <a:cxn ang="0">
                <a:pos x="connsiteX74010" y="connsiteY74010"/>
              </a:cxn>
              <a:cxn ang="0">
                <a:pos x="connsiteX74011" y="connsiteY74011"/>
              </a:cxn>
              <a:cxn ang="0">
                <a:pos x="connsiteX74012" y="connsiteY74012"/>
              </a:cxn>
              <a:cxn ang="0">
                <a:pos x="connsiteX74013" y="connsiteY74013"/>
              </a:cxn>
              <a:cxn ang="0">
                <a:pos x="connsiteX74014" y="connsiteY74014"/>
              </a:cxn>
              <a:cxn ang="0">
                <a:pos x="connsiteX74015" y="connsiteY74015"/>
              </a:cxn>
              <a:cxn ang="0">
                <a:pos x="connsiteX74016" y="connsiteY74016"/>
              </a:cxn>
              <a:cxn ang="0">
                <a:pos x="connsiteX74017" y="connsiteY74017"/>
              </a:cxn>
              <a:cxn ang="0">
                <a:pos x="connsiteX74018" y="connsiteY74018"/>
              </a:cxn>
              <a:cxn ang="0">
                <a:pos x="connsiteX74019" y="connsiteY74019"/>
              </a:cxn>
              <a:cxn ang="0">
                <a:pos x="connsiteX74020" y="connsiteY74020"/>
              </a:cxn>
              <a:cxn ang="0">
                <a:pos x="connsiteX74021" y="connsiteY74021"/>
              </a:cxn>
              <a:cxn ang="0">
                <a:pos x="connsiteX74022" y="connsiteY74022"/>
              </a:cxn>
              <a:cxn ang="0">
                <a:pos x="connsiteX74023" y="connsiteY74023"/>
              </a:cxn>
              <a:cxn ang="0">
                <a:pos x="connsiteX74024" y="connsiteY74024"/>
              </a:cxn>
              <a:cxn ang="0">
                <a:pos x="connsiteX74025" y="connsiteY74025"/>
              </a:cxn>
              <a:cxn ang="0">
                <a:pos x="connsiteX74026" y="connsiteY74026"/>
              </a:cxn>
              <a:cxn ang="0">
                <a:pos x="connsiteX74027" y="connsiteY74027"/>
              </a:cxn>
              <a:cxn ang="0">
                <a:pos x="connsiteX74028" y="connsiteY74028"/>
              </a:cxn>
              <a:cxn ang="0">
                <a:pos x="connsiteX74029" y="connsiteY74029"/>
              </a:cxn>
              <a:cxn ang="0">
                <a:pos x="connsiteX74030" y="connsiteY74030"/>
              </a:cxn>
              <a:cxn ang="0">
                <a:pos x="connsiteX74031" y="connsiteY74031"/>
              </a:cxn>
              <a:cxn ang="0">
                <a:pos x="connsiteX74032" y="connsiteY74032"/>
              </a:cxn>
              <a:cxn ang="0">
                <a:pos x="connsiteX74033" y="connsiteY74033"/>
              </a:cxn>
              <a:cxn ang="0">
                <a:pos x="connsiteX74034" y="connsiteY74034"/>
              </a:cxn>
              <a:cxn ang="0">
                <a:pos x="connsiteX74035" y="connsiteY74035"/>
              </a:cxn>
              <a:cxn ang="0">
                <a:pos x="connsiteX74036" y="connsiteY74036"/>
              </a:cxn>
              <a:cxn ang="0">
                <a:pos x="connsiteX74037" y="connsiteY74037"/>
              </a:cxn>
              <a:cxn ang="0">
                <a:pos x="connsiteX74038" y="connsiteY74038"/>
              </a:cxn>
              <a:cxn ang="0">
                <a:pos x="connsiteX74039" y="connsiteY74039"/>
              </a:cxn>
              <a:cxn ang="0">
                <a:pos x="connsiteX74040" y="connsiteY74040"/>
              </a:cxn>
              <a:cxn ang="0">
                <a:pos x="connsiteX74041" y="connsiteY74041"/>
              </a:cxn>
              <a:cxn ang="0">
                <a:pos x="connsiteX74042" y="connsiteY74042"/>
              </a:cxn>
              <a:cxn ang="0">
                <a:pos x="connsiteX74043" y="connsiteY74043"/>
              </a:cxn>
              <a:cxn ang="0">
                <a:pos x="connsiteX74044" y="connsiteY74044"/>
              </a:cxn>
              <a:cxn ang="0">
                <a:pos x="connsiteX74045" y="connsiteY74045"/>
              </a:cxn>
              <a:cxn ang="0">
                <a:pos x="connsiteX74046" y="connsiteY74046"/>
              </a:cxn>
              <a:cxn ang="0">
                <a:pos x="connsiteX74047" y="connsiteY74047"/>
              </a:cxn>
              <a:cxn ang="0">
                <a:pos x="connsiteX74048" y="connsiteY74048"/>
              </a:cxn>
              <a:cxn ang="0">
                <a:pos x="connsiteX74049" y="connsiteY74049"/>
              </a:cxn>
              <a:cxn ang="0">
                <a:pos x="connsiteX74050" y="connsiteY74050"/>
              </a:cxn>
              <a:cxn ang="0">
                <a:pos x="connsiteX74051" y="connsiteY74051"/>
              </a:cxn>
              <a:cxn ang="0">
                <a:pos x="connsiteX74052" y="connsiteY74052"/>
              </a:cxn>
              <a:cxn ang="0">
                <a:pos x="connsiteX74053" y="connsiteY74053"/>
              </a:cxn>
              <a:cxn ang="0">
                <a:pos x="connsiteX74054" y="connsiteY74054"/>
              </a:cxn>
              <a:cxn ang="0">
                <a:pos x="connsiteX74055" y="connsiteY74055"/>
              </a:cxn>
              <a:cxn ang="0">
                <a:pos x="connsiteX74056" y="connsiteY74056"/>
              </a:cxn>
              <a:cxn ang="0">
                <a:pos x="connsiteX74057" y="connsiteY74057"/>
              </a:cxn>
              <a:cxn ang="0">
                <a:pos x="connsiteX74058" y="connsiteY74058"/>
              </a:cxn>
              <a:cxn ang="0">
                <a:pos x="connsiteX74059" y="connsiteY74059"/>
              </a:cxn>
              <a:cxn ang="0">
                <a:pos x="connsiteX74060" y="connsiteY74060"/>
              </a:cxn>
              <a:cxn ang="0">
                <a:pos x="connsiteX74061" y="connsiteY74061"/>
              </a:cxn>
              <a:cxn ang="0">
                <a:pos x="connsiteX74062" y="connsiteY74062"/>
              </a:cxn>
              <a:cxn ang="0">
                <a:pos x="connsiteX74063" y="connsiteY74063"/>
              </a:cxn>
              <a:cxn ang="0">
                <a:pos x="connsiteX74064" y="connsiteY74064"/>
              </a:cxn>
              <a:cxn ang="0">
                <a:pos x="connsiteX74065" y="connsiteY74065"/>
              </a:cxn>
              <a:cxn ang="0">
                <a:pos x="connsiteX74066" y="connsiteY74066"/>
              </a:cxn>
              <a:cxn ang="0">
                <a:pos x="connsiteX74067" y="connsiteY74067"/>
              </a:cxn>
              <a:cxn ang="0">
                <a:pos x="connsiteX74068" y="connsiteY74068"/>
              </a:cxn>
              <a:cxn ang="0">
                <a:pos x="connsiteX74069" y="connsiteY74069"/>
              </a:cxn>
              <a:cxn ang="0">
                <a:pos x="connsiteX74070" y="connsiteY74070"/>
              </a:cxn>
              <a:cxn ang="0">
                <a:pos x="connsiteX74071" y="connsiteY74071"/>
              </a:cxn>
              <a:cxn ang="0">
                <a:pos x="connsiteX74072" y="connsiteY74072"/>
              </a:cxn>
              <a:cxn ang="0">
                <a:pos x="connsiteX74073" y="connsiteY74073"/>
              </a:cxn>
              <a:cxn ang="0">
                <a:pos x="connsiteX74074" y="connsiteY74074"/>
              </a:cxn>
              <a:cxn ang="0">
                <a:pos x="connsiteX74075" y="connsiteY74075"/>
              </a:cxn>
              <a:cxn ang="0">
                <a:pos x="connsiteX74076" y="connsiteY74076"/>
              </a:cxn>
              <a:cxn ang="0">
                <a:pos x="connsiteX74077" y="connsiteY74077"/>
              </a:cxn>
              <a:cxn ang="0">
                <a:pos x="connsiteX74078" y="connsiteY74078"/>
              </a:cxn>
              <a:cxn ang="0">
                <a:pos x="connsiteX74079" y="connsiteY74079"/>
              </a:cxn>
              <a:cxn ang="0">
                <a:pos x="connsiteX74080" y="connsiteY74080"/>
              </a:cxn>
              <a:cxn ang="0">
                <a:pos x="connsiteX74081" y="connsiteY74081"/>
              </a:cxn>
              <a:cxn ang="0">
                <a:pos x="connsiteX74082" y="connsiteY74082"/>
              </a:cxn>
              <a:cxn ang="0">
                <a:pos x="connsiteX74083" y="connsiteY74083"/>
              </a:cxn>
              <a:cxn ang="0">
                <a:pos x="connsiteX74084" y="connsiteY74084"/>
              </a:cxn>
              <a:cxn ang="0">
                <a:pos x="connsiteX74085" y="connsiteY74085"/>
              </a:cxn>
              <a:cxn ang="0">
                <a:pos x="connsiteX74086" y="connsiteY74086"/>
              </a:cxn>
              <a:cxn ang="0">
                <a:pos x="connsiteX74087" y="connsiteY74087"/>
              </a:cxn>
              <a:cxn ang="0">
                <a:pos x="connsiteX74088" y="connsiteY74088"/>
              </a:cxn>
              <a:cxn ang="0">
                <a:pos x="connsiteX74089" y="connsiteY74089"/>
              </a:cxn>
              <a:cxn ang="0">
                <a:pos x="connsiteX74090" y="connsiteY74090"/>
              </a:cxn>
              <a:cxn ang="0">
                <a:pos x="connsiteX74091" y="connsiteY74091"/>
              </a:cxn>
              <a:cxn ang="0">
                <a:pos x="connsiteX74092" y="connsiteY74092"/>
              </a:cxn>
              <a:cxn ang="0">
                <a:pos x="connsiteX74093" y="connsiteY74093"/>
              </a:cxn>
              <a:cxn ang="0">
                <a:pos x="connsiteX74094" y="connsiteY74094"/>
              </a:cxn>
              <a:cxn ang="0">
                <a:pos x="connsiteX74095" y="connsiteY74095"/>
              </a:cxn>
              <a:cxn ang="0">
                <a:pos x="connsiteX74096" y="connsiteY74096"/>
              </a:cxn>
              <a:cxn ang="0">
                <a:pos x="connsiteX74097" y="connsiteY74097"/>
              </a:cxn>
              <a:cxn ang="0">
                <a:pos x="connsiteX74098" y="connsiteY74098"/>
              </a:cxn>
              <a:cxn ang="0">
                <a:pos x="connsiteX74099" y="connsiteY74099"/>
              </a:cxn>
              <a:cxn ang="0">
                <a:pos x="connsiteX74100" y="connsiteY74100"/>
              </a:cxn>
              <a:cxn ang="0">
                <a:pos x="connsiteX74101" y="connsiteY74101"/>
              </a:cxn>
              <a:cxn ang="0">
                <a:pos x="connsiteX74102" y="connsiteY74102"/>
              </a:cxn>
              <a:cxn ang="0">
                <a:pos x="connsiteX74103" y="connsiteY74103"/>
              </a:cxn>
              <a:cxn ang="0">
                <a:pos x="connsiteX74104" y="connsiteY74104"/>
              </a:cxn>
              <a:cxn ang="0">
                <a:pos x="connsiteX74105" y="connsiteY74105"/>
              </a:cxn>
              <a:cxn ang="0">
                <a:pos x="connsiteX74106" y="connsiteY74106"/>
              </a:cxn>
              <a:cxn ang="0">
                <a:pos x="connsiteX74107" y="connsiteY74107"/>
              </a:cxn>
              <a:cxn ang="0">
                <a:pos x="connsiteX74108" y="connsiteY74108"/>
              </a:cxn>
              <a:cxn ang="0">
                <a:pos x="connsiteX74109" y="connsiteY74109"/>
              </a:cxn>
              <a:cxn ang="0">
                <a:pos x="connsiteX74110" y="connsiteY74110"/>
              </a:cxn>
              <a:cxn ang="0">
                <a:pos x="connsiteX74111" y="connsiteY74111"/>
              </a:cxn>
              <a:cxn ang="0">
                <a:pos x="connsiteX74112" y="connsiteY74112"/>
              </a:cxn>
              <a:cxn ang="0">
                <a:pos x="connsiteX74113" y="connsiteY74113"/>
              </a:cxn>
              <a:cxn ang="0">
                <a:pos x="connsiteX74114" y="connsiteY74114"/>
              </a:cxn>
              <a:cxn ang="0">
                <a:pos x="connsiteX74115" y="connsiteY74115"/>
              </a:cxn>
              <a:cxn ang="0">
                <a:pos x="connsiteX74116" y="connsiteY74116"/>
              </a:cxn>
              <a:cxn ang="0">
                <a:pos x="connsiteX74117" y="connsiteY74117"/>
              </a:cxn>
              <a:cxn ang="0">
                <a:pos x="connsiteX74118" y="connsiteY74118"/>
              </a:cxn>
              <a:cxn ang="0">
                <a:pos x="connsiteX74119" y="connsiteY74119"/>
              </a:cxn>
              <a:cxn ang="0">
                <a:pos x="connsiteX74120" y="connsiteY74120"/>
              </a:cxn>
              <a:cxn ang="0">
                <a:pos x="connsiteX74121" y="connsiteY74121"/>
              </a:cxn>
              <a:cxn ang="0">
                <a:pos x="connsiteX74122" y="connsiteY74122"/>
              </a:cxn>
              <a:cxn ang="0">
                <a:pos x="connsiteX74123" y="connsiteY74123"/>
              </a:cxn>
              <a:cxn ang="0">
                <a:pos x="connsiteX74124" y="connsiteY74124"/>
              </a:cxn>
              <a:cxn ang="0">
                <a:pos x="connsiteX74125" y="connsiteY74125"/>
              </a:cxn>
              <a:cxn ang="0">
                <a:pos x="connsiteX74126" y="connsiteY74126"/>
              </a:cxn>
              <a:cxn ang="0">
                <a:pos x="connsiteX74127" y="connsiteY74127"/>
              </a:cxn>
              <a:cxn ang="0">
                <a:pos x="connsiteX74128" y="connsiteY74128"/>
              </a:cxn>
              <a:cxn ang="0">
                <a:pos x="connsiteX74129" y="connsiteY74129"/>
              </a:cxn>
              <a:cxn ang="0">
                <a:pos x="connsiteX74130" y="connsiteY74130"/>
              </a:cxn>
              <a:cxn ang="0">
                <a:pos x="connsiteX74131" y="connsiteY74131"/>
              </a:cxn>
              <a:cxn ang="0">
                <a:pos x="connsiteX74132" y="connsiteY74132"/>
              </a:cxn>
              <a:cxn ang="0">
                <a:pos x="connsiteX74133" y="connsiteY74133"/>
              </a:cxn>
              <a:cxn ang="0">
                <a:pos x="connsiteX74134" y="connsiteY74134"/>
              </a:cxn>
              <a:cxn ang="0">
                <a:pos x="connsiteX74135" y="connsiteY74135"/>
              </a:cxn>
              <a:cxn ang="0">
                <a:pos x="connsiteX74136" y="connsiteY74136"/>
              </a:cxn>
              <a:cxn ang="0">
                <a:pos x="connsiteX74137" y="connsiteY74137"/>
              </a:cxn>
              <a:cxn ang="0">
                <a:pos x="connsiteX74138" y="connsiteY74138"/>
              </a:cxn>
              <a:cxn ang="0">
                <a:pos x="connsiteX74139" y="connsiteY74139"/>
              </a:cxn>
              <a:cxn ang="0">
                <a:pos x="connsiteX74140" y="connsiteY74140"/>
              </a:cxn>
              <a:cxn ang="0">
                <a:pos x="connsiteX74141" y="connsiteY74141"/>
              </a:cxn>
              <a:cxn ang="0">
                <a:pos x="connsiteX74142" y="connsiteY74142"/>
              </a:cxn>
              <a:cxn ang="0">
                <a:pos x="connsiteX74143" y="connsiteY74143"/>
              </a:cxn>
              <a:cxn ang="0">
                <a:pos x="connsiteX74144" y="connsiteY74144"/>
              </a:cxn>
              <a:cxn ang="0">
                <a:pos x="connsiteX74145" y="connsiteY74145"/>
              </a:cxn>
              <a:cxn ang="0">
                <a:pos x="connsiteX74146" y="connsiteY74146"/>
              </a:cxn>
              <a:cxn ang="0">
                <a:pos x="connsiteX74147" y="connsiteY74147"/>
              </a:cxn>
              <a:cxn ang="0">
                <a:pos x="connsiteX74148" y="connsiteY74148"/>
              </a:cxn>
              <a:cxn ang="0">
                <a:pos x="connsiteX74149" y="connsiteY74149"/>
              </a:cxn>
              <a:cxn ang="0">
                <a:pos x="connsiteX74150" y="connsiteY74150"/>
              </a:cxn>
              <a:cxn ang="0">
                <a:pos x="connsiteX74151" y="connsiteY74151"/>
              </a:cxn>
              <a:cxn ang="0">
                <a:pos x="connsiteX74152" y="connsiteY74152"/>
              </a:cxn>
              <a:cxn ang="0">
                <a:pos x="connsiteX74153" y="connsiteY74153"/>
              </a:cxn>
              <a:cxn ang="0">
                <a:pos x="connsiteX74154" y="connsiteY74154"/>
              </a:cxn>
              <a:cxn ang="0">
                <a:pos x="connsiteX74155" y="connsiteY74155"/>
              </a:cxn>
              <a:cxn ang="0">
                <a:pos x="connsiteX74156" y="connsiteY74156"/>
              </a:cxn>
              <a:cxn ang="0">
                <a:pos x="connsiteX74157" y="connsiteY74157"/>
              </a:cxn>
              <a:cxn ang="0">
                <a:pos x="connsiteX74158" y="connsiteY74158"/>
              </a:cxn>
              <a:cxn ang="0">
                <a:pos x="connsiteX74159" y="connsiteY74159"/>
              </a:cxn>
              <a:cxn ang="0">
                <a:pos x="connsiteX74160" y="connsiteY74160"/>
              </a:cxn>
              <a:cxn ang="0">
                <a:pos x="connsiteX74161" y="connsiteY74161"/>
              </a:cxn>
              <a:cxn ang="0">
                <a:pos x="connsiteX74162" y="connsiteY74162"/>
              </a:cxn>
              <a:cxn ang="0">
                <a:pos x="connsiteX74163" y="connsiteY74163"/>
              </a:cxn>
              <a:cxn ang="0">
                <a:pos x="connsiteX74164" y="connsiteY74164"/>
              </a:cxn>
              <a:cxn ang="0">
                <a:pos x="connsiteX74165" y="connsiteY74165"/>
              </a:cxn>
              <a:cxn ang="0">
                <a:pos x="connsiteX74166" y="connsiteY74166"/>
              </a:cxn>
              <a:cxn ang="0">
                <a:pos x="connsiteX74167" y="connsiteY74167"/>
              </a:cxn>
              <a:cxn ang="0">
                <a:pos x="connsiteX74168" y="connsiteY74168"/>
              </a:cxn>
              <a:cxn ang="0">
                <a:pos x="connsiteX74169" y="connsiteY74169"/>
              </a:cxn>
              <a:cxn ang="0">
                <a:pos x="connsiteX74170" y="connsiteY74170"/>
              </a:cxn>
              <a:cxn ang="0">
                <a:pos x="connsiteX74171" y="connsiteY74171"/>
              </a:cxn>
              <a:cxn ang="0">
                <a:pos x="connsiteX74172" y="connsiteY74172"/>
              </a:cxn>
              <a:cxn ang="0">
                <a:pos x="connsiteX74173" y="connsiteY74173"/>
              </a:cxn>
              <a:cxn ang="0">
                <a:pos x="connsiteX74174" y="connsiteY74174"/>
              </a:cxn>
              <a:cxn ang="0">
                <a:pos x="connsiteX74175" y="connsiteY74175"/>
              </a:cxn>
              <a:cxn ang="0">
                <a:pos x="connsiteX74176" y="connsiteY74176"/>
              </a:cxn>
              <a:cxn ang="0">
                <a:pos x="connsiteX74177" y="connsiteY74177"/>
              </a:cxn>
              <a:cxn ang="0">
                <a:pos x="connsiteX74178" y="connsiteY74178"/>
              </a:cxn>
              <a:cxn ang="0">
                <a:pos x="connsiteX74179" y="connsiteY74179"/>
              </a:cxn>
              <a:cxn ang="0">
                <a:pos x="connsiteX74180" y="connsiteY74180"/>
              </a:cxn>
              <a:cxn ang="0">
                <a:pos x="connsiteX74181" y="connsiteY74181"/>
              </a:cxn>
              <a:cxn ang="0">
                <a:pos x="connsiteX74182" y="connsiteY74182"/>
              </a:cxn>
              <a:cxn ang="0">
                <a:pos x="connsiteX74183" y="connsiteY74183"/>
              </a:cxn>
              <a:cxn ang="0">
                <a:pos x="connsiteX74184" y="connsiteY74184"/>
              </a:cxn>
              <a:cxn ang="0">
                <a:pos x="connsiteX74185" y="connsiteY74185"/>
              </a:cxn>
              <a:cxn ang="0">
                <a:pos x="connsiteX74186" y="connsiteY74186"/>
              </a:cxn>
              <a:cxn ang="0">
                <a:pos x="connsiteX74187" y="connsiteY74187"/>
              </a:cxn>
              <a:cxn ang="0">
                <a:pos x="connsiteX74188" y="connsiteY74188"/>
              </a:cxn>
              <a:cxn ang="0">
                <a:pos x="connsiteX74189" y="connsiteY74189"/>
              </a:cxn>
              <a:cxn ang="0">
                <a:pos x="connsiteX74190" y="connsiteY74190"/>
              </a:cxn>
              <a:cxn ang="0">
                <a:pos x="connsiteX74191" y="connsiteY74191"/>
              </a:cxn>
              <a:cxn ang="0">
                <a:pos x="connsiteX74192" y="connsiteY74192"/>
              </a:cxn>
              <a:cxn ang="0">
                <a:pos x="connsiteX74193" y="connsiteY74193"/>
              </a:cxn>
              <a:cxn ang="0">
                <a:pos x="connsiteX74194" y="connsiteY74194"/>
              </a:cxn>
              <a:cxn ang="0">
                <a:pos x="connsiteX74195" y="connsiteY74195"/>
              </a:cxn>
              <a:cxn ang="0">
                <a:pos x="connsiteX74196" y="connsiteY74196"/>
              </a:cxn>
              <a:cxn ang="0">
                <a:pos x="connsiteX74197" y="connsiteY74197"/>
              </a:cxn>
              <a:cxn ang="0">
                <a:pos x="connsiteX74198" y="connsiteY74198"/>
              </a:cxn>
              <a:cxn ang="0">
                <a:pos x="connsiteX74199" y="connsiteY74199"/>
              </a:cxn>
              <a:cxn ang="0">
                <a:pos x="connsiteX74200" y="connsiteY74200"/>
              </a:cxn>
              <a:cxn ang="0">
                <a:pos x="connsiteX74201" y="connsiteY74201"/>
              </a:cxn>
              <a:cxn ang="0">
                <a:pos x="connsiteX74202" y="connsiteY74202"/>
              </a:cxn>
              <a:cxn ang="0">
                <a:pos x="connsiteX74203" y="connsiteY74203"/>
              </a:cxn>
              <a:cxn ang="0">
                <a:pos x="connsiteX74204" y="connsiteY74204"/>
              </a:cxn>
              <a:cxn ang="0">
                <a:pos x="connsiteX74205" y="connsiteY74205"/>
              </a:cxn>
              <a:cxn ang="0">
                <a:pos x="connsiteX74206" y="connsiteY74206"/>
              </a:cxn>
              <a:cxn ang="0">
                <a:pos x="connsiteX74207" y="connsiteY74207"/>
              </a:cxn>
              <a:cxn ang="0">
                <a:pos x="connsiteX74208" y="connsiteY74208"/>
              </a:cxn>
              <a:cxn ang="0">
                <a:pos x="connsiteX74209" y="connsiteY74209"/>
              </a:cxn>
              <a:cxn ang="0">
                <a:pos x="connsiteX74210" y="connsiteY74210"/>
              </a:cxn>
              <a:cxn ang="0">
                <a:pos x="connsiteX74211" y="connsiteY74211"/>
              </a:cxn>
              <a:cxn ang="0">
                <a:pos x="connsiteX74212" y="connsiteY74212"/>
              </a:cxn>
              <a:cxn ang="0">
                <a:pos x="connsiteX74213" y="connsiteY74213"/>
              </a:cxn>
              <a:cxn ang="0">
                <a:pos x="connsiteX74214" y="connsiteY74214"/>
              </a:cxn>
              <a:cxn ang="0">
                <a:pos x="connsiteX74215" y="connsiteY74215"/>
              </a:cxn>
              <a:cxn ang="0">
                <a:pos x="connsiteX74216" y="connsiteY74216"/>
              </a:cxn>
              <a:cxn ang="0">
                <a:pos x="connsiteX74217" y="connsiteY74217"/>
              </a:cxn>
              <a:cxn ang="0">
                <a:pos x="connsiteX74218" y="connsiteY74218"/>
              </a:cxn>
              <a:cxn ang="0">
                <a:pos x="connsiteX74219" y="connsiteY74219"/>
              </a:cxn>
              <a:cxn ang="0">
                <a:pos x="connsiteX74220" y="connsiteY74220"/>
              </a:cxn>
              <a:cxn ang="0">
                <a:pos x="connsiteX74221" y="connsiteY74221"/>
              </a:cxn>
              <a:cxn ang="0">
                <a:pos x="connsiteX74222" y="connsiteY74222"/>
              </a:cxn>
              <a:cxn ang="0">
                <a:pos x="connsiteX74223" y="connsiteY74223"/>
              </a:cxn>
              <a:cxn ang="0">
                <a:pos x="connsiteX74224" y="connsiteY74224"/>
              </a:cxn>
              <a:cxn ang="0">
                <a:pos x="connsiteX74225" y="connsiteY74225"/>
              </a:cxn>
              <a:cxn ang="0">
                <a:pos x="connsiteX74226" y="connsiteY74226"/>
              </a:cxn>
              <a:cxn ang="0">
                <a:pos x="connsiteX74227" y="connsiteY74227"/>
              </a:cxn>
              <a:cxn ang="0">
                <a:pos x="connsiteX74228" y="connsiteY74228"/>
              </a:cxn>
              <a:cxn ang="0">
                <a:pos x="connsiteX74229" y="connsiteY74229"/>
              </a:cxn>
              <a:cxn ang="0">
                <a:pos x="connsiteX74230" y="connsiteY74230"/>
              </a:cxn>
              <a:cxn ang="0">
                <a:pos x="connsiteX74231" y="connsiteY74231"/>
              </a:cxn>
              <a:cxn ang="0">
                <a:pos x="connsiteX74232" y="connsiteY74232"/>
              </a:cxn>
              <a:cxn ang="0">
                <a:pos x="connsiteX74233" y="connsiteY74233"/>
              </a:cxn>
              <a:cxn ang="0">
                <a:pos x="connsiteX74234" y="connsiteY74234"/>
              </a:cxn>
              <a:cxn ang="0">
                <a:pos x="connsiteX74235" y="connsiteY74235"/>
              </a:cxn>
              <a:cxn ang="0">
                <a:pos x="connsiteX74236" y="connsiteY74236"/>
              </a:cxn>
              <a:cxn ang="0">
                <a:pos x="connsiteX74237" y="connsiteY74237"/>
              </a:cxn>
              <a:cxn ang="0">
                <a:pos x="connsiteX74238" y="connsiteY74238"/>
              </a:cxn>
              <a:cxn ang="0">
                <a:pos x="connsiteX74239" y="connsiteY74239"/>
              </a:cxn>
              <a:cxn ang="0">
                <a:pos x="connsiteX74240" y="connsiteY74240"/>
              </a:cxn>
              <a:cxn ang="0">
                <a:pos x="connsiteX74241" y="connsiteY74241"/>
              </a:cxn>
              <a:cxn ang="0">
                <a:pos x="connsiteX74242" y="connsiteY74242"/>
              </a:cxn>
              <a:cxn ang="0">
                <a:pos x="connsiteX74243" y="connsiteY74243"/>
              </a:cxn>
              <a:cxn ang="0">
                <a:pos x="connsiteX74244" y="connsiteY74244"/>
              </a:cxn>
              <a:cxn ang="0">
                <a:pos x="connsiteX74245" y="connsiteY74245"/>
              </a:cxn>
              <a:cxn ang="0">
                <a:pos x="connsiteX74246" y="connsiteY74246"/>
              </a:cxn>
              <a:cxn ang="0">
                <a:pos x="connsiteX74247" y="connsiteY74247"/>
              </a:cxn>
              <a:cxn ang="0">
                <a:pos x="connsiteX74248" y="connsiteY74248"/>
              </a:cxn>
              <a:cxn ang="0">
                <a:pos x="connsiteX74249" y="connsiteY74249"/>
              </a:cxn>
              <a:cxn ang="0">
                <a:pos x="connsiteX74250" y="connsiteY74250"/>
              </a:cxn>
              <a:cxn ang="0">
                <a:pos x="connsiteX74251" y="connsiteY74251"/>
              </a:cxn>
              <a:cxn ang="0">
                <a:pos x="connsiteX74252" y="connsiteY74252"/>
              </a:cxn>
              <a:cxn ang="0">
                <a:pos x="connsiteX74253" y="connsiteY74253"/>
              </a:cxn>
              <a:cxn ang="0">
                <a:pos x="connsiteX74254" y="connsiteY74254"/>
              </a:cxn>
              <a:cxn ang="0">
                <a:pos x="connsiteX74255" y="connsiteY74255"/>
              </a:cxn>
              <a:cxn ang="0">
                <a:pos x="connsiteX74256" y="connsiteY74256"/>
              </a:cxn>
              <a:cxn ang="0">
                <a:pos x="connsiteX74257" y="connsiteY74257"/>
              </a:cxn>
              <a:cxn ang="0">
                <a:pos x="connsiteX74258" y="connsiteY74258"/>
              </a:cxn>
              <a:cxn ang="0">
                <a:pos x="connsiteX74259" y="connsiteY74259"/>
              </a:cxn>
              <a:cxn ang="0">
                <a:pos x="connsiteX74260" y="connsiteY74260"/>
              </a:cxn>
              <a:cxn ang="0">
                <a:pos x="connsiteX74261" y="connsiteY74261"/>
              </a:cxn>
              <a:cxn ang="0">
                <a:pos x="connsiteX74262" y="connsiteY74262"/>
              </a:cxn>
              <a:cxn ang="0">
                <a:pos x="connsiteX74263" y="connsiteY74263"/>
              </a:cxn>
              <a:cxn ang="0">
                <a:pos x="connsiteX74264" y="connsiteY74264"/>
              </a:cxn>
              <a:cxn ang="0">
                <a:pos x="connsiteX74265" y="connsiteY74265"/>
              </a:cxn>
              <a:cxn ang="0">
                <a:pos x="connsiteX74266" y="connsiteY74266"/>
              </a:cxn>
              <a:cxn ang="0">
                <a:pos x="connsiteX74267" y="connsiteY74267"/>
              </a:cxn>
              <a:cxn ang="0">
                <a:pos x="connsiteX74268" y="connsiteY74268"/>
              </a:cxn>
              <a:cxn ang="0">
                <a:pos x="connsiteX74269" y="connsiteY74269"/>
              </a:cxn>
              <a:cxn ang="0">
                <a:pos x="connsiteX74270" y="connsiteY74270"/>
              </a:cxn>
              <a:cxn ang="0">
                <a:pos x="connsiteX74271" y="connsiteY74271"/>
              </a:cxn>
              <a:cxn ang="0">
                <a:pos x="connsiteX74272" y="connsiteY74272"/>
              </a:cxn>
              <a:cxn ang="0">
                <a:pos x="connsiteX74273" y="connsiteY74273"/>
              </a:cxn>
              <a:cxn ang="0">
                <a:pos x="connsiteX74274" y="connsiteY74274"/>
              </a:cxn>
              <a:cxn ang="0">
                <a:pos x="connsiteX74275" y="connsiteY74275"/>
              </a:cxn>
              <a:cxn ang="0">
                <a:pos x="connsiteX74276" y="connsiteY74276"/>
              </a:cxn>
              <a:cxn ang="0">
                <a:pos x="connsiteX74277" y="connsiteY74277"/>
              </a:cxn>
              <a:cxn ang="0">
                <a:pos x="connsiteX74278" y="connsiteY74278"/>
              </a:cxn>
              <a:cxn ang="0">
                <a:pos x="connsiteX74279" y="connsiteY74279"/>
              </a:cxn>
              <a:cxn ang="0">
                <a:pos x="connsiteX74280" y="connsiteY74280"/>
              </a:cxn>
              <a:cxn ang="0">
                <a:pos x="connsiteX74281" y="connsiteY74281"/>
              </a:cxn>
              <a:cxn ang="0">
                <a:pos x="connsiteX74282" y="connsiteY74282"/>
              </a:cxn>
              <a:cxn ang="0">
                <a:pos x="connsiteX74283" y="connsiteY74283"/>
              </a:cxn>
              <a:cxn ang="0">
                <a:pos x="connsiteX74284" y="connsiteY74284"/>
              </a:cxn>
              <a:cxn ang="0">
                <a:pos x="connsiteX74285" y="connsiteY74285"/>
              </a:cxn>
              <a:cxn ang="0">
                <a:pos x="connsiteX74286" y="connsiteY74286"/>
              </a:cxn>
              <a:cxn ang="0">
                <a:pos x="connsiteX74287" y="connsiteY74287"/>
              </a:cxn>
              <a:cxn ang="0">
                <a:pos x="connsiteX74288" y="connsiteY74288"/>
              </a:cxn>
              <a:cxn ang="0">
                <a:pos x="connsiteX74289" y="connsiteY74289"/>
              </a:cxn>
              <a:cxn ang="0">
                <a:pos x="connsiteX74290" y="connsiteY74290"/>
              </a:cxn>
              <a:cxn ang="0">
                <a:pos x="connsiteX74291" y="connsiteY74291"/>
              </a:cxn>
              <a:cxn ang="0">
                <a:pos x="connsiteX74292" y="connsiteY74292"/>
              </a:cxn>
              <a:cxn ang="0">
                <a:pos x="connsiteX74293" y="connsiteY74293"/>
              </a:cxn>
              <a:cxn ang="0">
                <a:pos x="connsiteX74294" y="connsiteY74294"/>
              </a:cxn>
              <a:cxn ang="0">
                <a:pos x="connsiteX74295" y="connsiteY74295"/>
              </a:cxn>
              <a:cxn ang="0">
                <a:pos x="connsiteX74296" y="connsiteY74296"/>
              </a:cxn>
              <a:cxn ang="0">
                <a:pos x="connsiteX74297" y="connsiteY74297"/>
              </a:cxn>
              <a:cxn ang="0">
                <a:pos x="connsiteX74298" y="connsiteY74298"/>
              </a:cxn>
              <a:cxn ang="0">
                <a:pos x="connsiteX74299" y="connsiteY74299"/>
              </a:cxn>
              <a:cxn ang="0">
                <a:pos x="connsiteX74300" y="connsiteY74300"/>
              </a:cxn>
              <a:cxn ang="0">
                <a:pos x="connsiteX74301" y="connsiteY74301"/>
              </a:cxn>
              <a:cxn ang="0">
                <a:pos x="connsiteX74302" y="connsiteY74302"/>
              </a:cxn>
              <a:cxn ang="0">
                <a:pos x="connsiteX74303" y="connsiteY74303"/>
              </a:cxn>
              <a:cxn ang="0">
                <a:pos x="connsiteX74304" y="connsiteY74304"/>
              </a:cxn>
              <a:cxn ang="0">
                <a:pos x="connsiteX74305" y="connsiteY74305"/>
              </a:cxn>
              <a:cxn ang="0">
                <a:pos x="connsiteX74306" y="connsiteY74306"/>
              </a:cxn>
              <a:cxn ang="0">
                <a:pos x="connsiteX74307" y="connsiteY74307"/>
              </a:cxn>
              <a:cxn ang="0">
                <a:pos x="connsiteX74308" y="connsiteY74308"/>
              </a:cxn>
              <a:cxn ang="0">
                <a:pos x="connsiteX74309" y="connsiteY74309"/>
              </a:cxn>
              <a:cxn ang="0">
                <a:pos x="connsiteX74310" y="connsiteY74310"/>
              </a:cxn>
              <a:cxn ang="0">
                <a:pos x="connsiteX74311" y="connsiteY74311"/>
              </a:cxn>
              <a:cxn ang="0">
                <a:pos x="connsiteX74312" y="connsiteY74312"/>
              </a:cxn>
              <a:cxn ang="0">
                <a:pos x="connsiteX74313" y="connsiteY74313"/>
              </a:cxn>
              <a:cxn ang="0">
                <a:pos x="connsiteX74314" y="connsiteY74314"/>
              </a:cxn>
              <a:cxn ang="0">
                <a:pos x="connsiteX74315" y="connsiteY74315"/>
              </a:cxn>
              <a:cxn ang="0">
                <a:pos x="connsiteX74316" y="connsiteY74316"/>
              </a:cxn>
              <a:cxn ang="0">
                <a:pos x="connsiteX74317" y="connsiteY74317"/>
              </a:cxn>
              <a:cxn ang="0">
                <a:pos x="connsiteX74318" y="connsiteY74318"/>
              </a:cxn>
              <a:cxn ang="0">
                <a:pos x="connsiteX74319" y="connsiteY74319"/>
              </a:cxn>
              <a:cxn ang="0">
                <a:pos x="connsiteX74320" y="connsiteY74320"/>
              </a:cxn>
              <a:cxn ang="0">
                <a:pos x="connsiteX74321" y="connsiteY74321"/>
              </a:cxn>
              <a:cxn ang="0">
                <a:pos x="connsiteX74322" y="connsiteY74322"/>
              </a:cxn>
              <a:cxn ang="0">
                <a:pos x="connsiteX74323" y="connsiteY74323"/>
              </a:cxn>
              <a:cxn ang="0">
                <a:pos x="connsiteX74324" y="connsiteY74324"/>
              </a:cxn>
              <a:cxn ang="0">
                <a:pos x="connsiteX74325" y="connsiteY74325"/>
              </a:cxn>
              <a:cxn ang="0">
                <a:pos x="connsiteX74326" y="connsiteY74326"/>
              </a:cxn>
              <a:cxn ang="0">
                <a:pos x="connsiteX74327" y="connsiteY74327"/>
              </a:cxn>
              <a:cxn ang="0">
                <a:pos x="connsiteX74328" y="connsiteY74328"/>
              </a:cxn>
              <a:cxn ang="0">
                <a:pos x="connsiteX74329" y="connsiteY74329"/>
              </a:cxn>
              <a:cxn ang="0">
                <a:pos x="connsiteX74330" y="connsiteY74330"/>
              </a:cxn>
              <a:cxn ang="0">
                <a:pos x="connsiteX74331" y="connsiteY74331"/>
              </a:cxn>
              <a:cxn ang="0">
                <a:pos x="connsiteX74332" y="connsiteY74332"/>
              </a:cxn>
              <a:cxn ang="0">
                <a:pos x="connsiteX74333" y="connsiteY74333"/>
              </a:cxn>
              <a:cxn ang="0">
                <a:pos x="connsiteX74334" y="connsiteY74334"/>
              </a:cxn>
              <a:cxn ang="0">
                <a:pos x="connsiteX74335" y="connsiteY74335"/>
              </a:cxn>
              <a:cxn ang="0">
                <a:pos x="connsiteX74336" y="connsiteY74336"/>
              </a:cxn>
              <a:cxn ang="0">
                <a:pos x="connsiteX74337" y="connsiteY74337"/>
              </a:cxn>
              <a:cxn ang="0">
                <a:pos x="connsiteX74338" y="connsiteY74338"/>
              </a:cxn>
              <a:cxn ang="0">
                <a:pos x="connsiteX74339" y="connsiteY74339"/>
              </a:cxn>
              <a:cxn ang="0">
                <a:pos x="connsiteX74340" y="connsiteY74340"/>
              </a:cxn>
              <a:cxn ang="0">
                <a:pos x="connsiteX74341" y="connsiteY74341"/>
              </a:cxn>
              <a:cxn ang="0">
                <a:pos x="connsiteX74342" y="connsiteY74342"/>
              </a:cxn>
              <a:cxn ang="0">
                <a:pos x="connsiteX74343" y="connsiteY74343"/>
              </a:cxn>
              <a:cxn ang="0">
                <a:pos x="connsiteX74344" y="connsiteY74344"/>
              </a:cxn>
              <a:cxn ang="0">
                <a:pos x="connsiteX74345" y="connsiteY74345"/>
              </a:cxn>
              <a:cxn ang="0">
                <a:pos x="connsiteX74346" y="connsiteY74346"/>
              </a:cxn>
              <a:cxn ang="0">
                <a:pos x="connsiteX74347" y="connsiteY74347"/>
              </a:cxn>
              <a:cxn ang="0">
                <a:pos x="connsiteX74348" y="connsiteY74348"/>
              </a:cxn>
              <a:cxn ang="0">
                <a:pos x="connsiteX74349" y="connsiteY74349"/>
              </a:cxn>
              <a:cxn ang="0">
                <a:pos x="connsiteX74350" y="connsiteY74350"/>
              </a:cxn>
              <a:cxn ang="0">
                <a:pos x="connsiteX74351" y="connsiteY74351"/>
              </a:cxn>
              <a:cxn ang="0">
                <a:pos x="connsiteX74352" y="connsiteY74352"/>
              </a:cxn>
              <a:cxn ang="0">
                <a:pos x="connsiteX74353" y="connsiteY74353"/>
              </a:cxn>
              <a:cxn ang="0">
                <a:pos x="connsiteX74354" y="connsiteY74354"/>
              </a:cxn>
              <a:cxn ang="0">
                <a:pos x="connsiteX74355" y="connsiteY74355"/>
              </a:cxn>
              <a:cxn ang="0">
                <a:pos x="connsiteX74356" y="connsiteY74356"/>
              </a:cxn>
              <a:cxn ang="0">
                <a:pos x="connsiteX74357" y="connsiteY74357"/>
              </a:cxn>
              <a:cxn ang="0">
                <a:pos x="connsiteX74358" y="connsiteY74358"/>
              </a:cxn>
              <a:cxn ang="0">
                <a:pos x="connsiteX74359" y="connsiteY74359"/>
              </a:cxn>
              <a:cxn ang="0">
                <a:pos x="connsiteX74360" y="connsiteY74360"/>
              </a:cxn>
              <a:cxn ang="0">
                <a:pos x="connsiteX74361" y="connsiteY74361"/>
              </a:cxn>
              <a:cxn ang="0">
                <a:pos x="connsiteX74362" y="connsiteY74362"/>
              </a:cxn>
              <a:cxn ang="0">
                <a:pos x="connsiteX74363" y="connsiteY74363"/>
              </a:cxn>
              <a:cxn ang="0">
                <a:pos x="connsiteX74364" y="connsiteY74364"/>
              </a:cxn>
              <a:cxn ang="0">
                <a:pos x="connsiteX74365" y="connsiteY74365"/>
              </a:cxn>
              <a:cxn ang="0">
                <a:pos x="connsiteX74366" y="connsiteY74366"/>
              </a:cxn>
              <a:cxn ang="0">
                <a:pos x="connsiteX74367" y="connsiteY74367"/>
              </a:cxn>
              <a:cxn ang="0">
                <a:pos x="connsiteX74368" y="connsiteY74368"/>
              </a:cxn>
              <a:cxn ang="0">
                <a:pos x="connsiteX74369" y="connsiteY74369"/>
              </a:cxn>
              <a:cxn ang="0">
                <a:pos x="connsiteX74370" y="connsiteY74370"/>
              </a:cxn>
              <a:cxn ang="0">
                <a:pos x="connsiteX74371" y="connsiteY74371"/>
              </a:cxn>
              <a:cxn ang="0">
                <a:pos x="connsiteX74372" y="connsiteY74372"/>
              </a:cxn>
              <a:cxn ang="0">
                <a:pos x="connsiteX74373" y="connsiteY74373"/>
              </a:cxn>
              <a:cxn ang="0">
                <a:pos x="connsiteX74374" y="connsiteY74374"/>
              </a:cxn>
              <a:cxn ang="0">
                <a:pos x="connsiteX74375" y="connsiteY74375"/>
              </a:cxn>
              <a:cxn ang="0">
                <a:pos x="connsiteX74376" y="connsiteY74376"/>
              </a:cxn>
              <a:cxn ang="0">
                <a:pos x="connsiteX74377" y="connsiteY74377"/>
              </a:cxn>
              <a:cxn ang="0">
                <a:pos x="connsiteX74378" y="connsiteY74378"/>
              </a:cxn>
              <a:cxn ang="0">
                <a:pos x="connsiteX74379" y="connsiteY74379"/>
              </a:cxn>
              <a:cxn ang="0">
                <a:pos x="connsiteX74380" y="connsiteY74380"/>
              </a:cxn>
              <a:cxn ang="0">
                <a:pos x="connsiteX74381" y="connsiteY74381"/>
              </a:cxn>
              <a:cxn ang="0">
                <a:pos x="connsiteX74382" y="connsiteY74382"/>
              </a:cxn>
              <a:cxn ang="0">
                <a:pos x="connsiteX74383" y="connsiteY74383"/>
              </a:cxn>
              <a:cxn ang="0">
                <a:pos x="connsiteX74384" y="connsiteY74384"/>
              </a:cxn>
              <a:cxn ang="0">
                <a:pos x="connsiteX74385" y="connsiteY74385"/>
              </a:cxn>
              <a:cxn ang="0">
                <a:pos x="connsiteX74386" y="connsiteY74386"/>
              </a:cxn>
              <a:cxn ang="0">
                <a:pos x="connsiteX74387" y="connsiteY74387"/>
              </a:cxn>
              <a:cxn ang="0">
                <a:pos x="connsiteX74388" y="connsiteY74388"/>
              </a:cxn>
              <a:cxn ang="0">
                <a:pos x="connsiteX74389" y="connsiteY74389"/>
              </a:cxn>
              <a:cxn ang="0">
                <a:pos x="connsiteX74390" y="connsiteY74390"/>
              </a:cxn>
              <a:cxn ang="0">
                <a:pos x="connsiteX74391" y="connsiteY74391"/>
              </a:cxn>
              <a:cxn ang="0">
                <a:pos x="connsiteX74392" y="connsiteY74392"/>
              </a:cxn>
              <a:cxn ang="0">
                <a:pos x="connsiteX74393" y="connsiteY74393"/>
              </a:cxn>
              <a:cxn ang="0">
                <a:pos x="connsiteX74394" y="connsiteY74394"/>
              </a:cxn>
              <a:cxn ang="0">
                <a:pos x="connsiteX74395" y="connsiteY74395"/>
              </a:cxn>
              <a:cxn ang="0">
                <a:pos x="connsiteX74396" y="connsiteY74396"/>
              </a:cxn>
              <a:cxn ang="0">
                <a:pos x="connsiteX74397" y="connsiteY74397"/>
              </a:cxn>
              <a:cxn ang="0">
                <a:pos x="connsiteX74398" y="connsiteY74398"/>
              </a:cxn>
              <a:cxn ang="0">
                <a:pos x="connsiteX74399" y="connsiteY74399"/>
              </a:cxn>
              <a:cxn ang="0">
                <a:pos x="connsiteX74400" y="connsiteY74400"/>
              </a:cxn>
              <a:cxn ang="0">
                <a:pos x="connsiteX74401" y="connsiteY74401"/>
              </a:cxn>
              <a:cxn ang="0">
                <a:pos x="connsiteX74402" y="connsiteY74402"/>
              </a:cxn>
              <a:cxn ang="0">
                <a:pos x="connsiteX74403" y="connsiteY74403"/>
              </a:cxn>
              <a:cxn ang="0">
                <a:pos x="connsiteX74404" y="connsiteY74404"/>
              </a:cxn>
              <a:cxn ang="0">
                <a:pos x="connsiteX74405" y="connsiteY74405"/>
              </a:cxn>
              <a:cxn ang="0">
                <a:pos x="connsiteX74406" y="connsiteY74406"/>
              </a:cxn>
              <a:cxn ang="0">
                <a:pos x="connsiteX74407" y="connsiteY74407"/>
              </a:cxn>
              <a:cxn ang="0">
                <a:pos x="connsiteX74408" y="connsiteY74408"/>
              </a:cxn>
              <a:cxn ang="0">
                <a:pos x="connsiteX74409" y="connsiteY74409"/>
              </a:cxn>
              <a:cxn ang="0">
                <a:pos x="connsiteX74410" y="connsiteY74410"/>
              </a:cxn>
              <a:cxn ang="0">
                <a:pos x="connsiteX74411" y="connsiteY74411"/>
              </a:cxn>
              <a:cxn ang="0">
                <a:pos x="connsiteX74412" y="connsiteY74412"/>
              </a:cxn>
              <a:cxn ang="0">
                <a:pos x="connsiteX74413" y="connsiteY74413"/>
              </a:cxn>
              <a:cxn ang="0">
                <a:pos x="connsiteX74414" y="connsiteY74414"/>
              </a:cxn>
              <a:cxn ang="0">
                <a:pos x="connsiteX74415" y="connsiteY74415"/>
              </a:cxn>
              <a:cxn ang="0">
                <a:pos x="connsiteX74416" y="connsiteY74416"/>
              </a:cxn>
              <a:cxn ang="0">
                <a:pos x="connsiteX74417" y="connsiteY74417"/>
              </a:cxn>
              <a:cxn ang="0">
                <a:pos x="connsiteX74418" y="connsiteY74418"/>
              </a:cxn>
              <a:cxn ang="0">
                <a:pos x="connsiteX74419" y="connsiteY74419"/>
              </a:cxn>
              <a:cxn ang="0">
                <a:pos x="connsiteX74420" y="connsiteY74420"/>
              </a:cxn>
              <a:cxn ang="0">
                <a:pos x="connsiteX74421" y="connsiteY74421"/>
              </a:cxn>
              <a:cxn ang="0">
                <a:pos x="connsiteX74422" y="connsiteY74422"/>
              </a:cxn>
              <a:cxn ang="0">
                <a:pos x="connsiteX74423" y="connsiteY74423"/>
              </a:cxn>
              <a:cxn ang="0">
                <a:pos x="connsiteX74424" y="connsiteY74424"/>
              </a:cxn>
              <a:cxn ang="0">
                <a:pos x="connsiteX74425" y="connsiteY74425"/>
              </a:cxn>
              <a:cxn ang="0">
                <a:pos x="connsiteX74426" y="connsiteY74426"/>
              </a:cxn>
              <a:cxn ang="0">
                <a:pos x="connsiteX74427" y="connsiteY74427"/>
              </a:cxn>
              <a:cxn ang="0">
                <a:pos x="connsiteX74428" y="connsiteY74428"/>
              </a:cxn>
              <a:cxn ang="0">
                <a:pos x="connsiteX74429" y="connsiteY74429"/>
              </a:cxn>
              <a:cxn ang="0">
                <a:pos x="connsiteX74430" y="connsiteY74430"/>
              </a:cxn>
              <a:cxn ang="0">
                <a:pos x="connsiteX74431" y="connsiteY74431"/>
              </a:cxn>
              <a:cxn ang="0">
                <a:pos x="connsiteX74432" y="connsiteY74432"/>
              </a:cxn>
              <a:cxn ang="0">
                <a:pos x="connsiteX74433" y="connsiteY74433"/>
              </a:cxn>
              <a:cxn ang="0">
                <a:pos x="connsiteX74434" y="connsiteY74434"/>
              </a:cxn>
              <a:cxn ang="0">
                <a:pos x="connsiteX74435" y="connsiteY74435"/>
              </a:cxn>
              <a:cxn ang="0">
                <a:pos x="connsiteX74436" y="connsiteY74436"/>
              </a:cxn>
              <a:cxn ang="0">
                <a:pos x="connsiteX74437" y="connsiteY74437"/>
              </a:cxn>
              <a:cxn ang="0">
                <a:pos x="connsiteX74438" y="connsiteY74438"/>
              </a:cxn>
              <a:cxn ang="0">
                <a:pos x="connsiteX74439" y="connsiteY74439"/>
              </a:cxn>
              <a:cxn ang="0">
                <a:pos x="connsiteX74440" y="connsiteY74440"/>
              </a:cxn>
              <a:cxn ang="0">
                <a:pos x="connsiteX74441" y="connsiteY74441"/>
              </a:cxn>
              <a:cxn ang="0">
                <a:pos x="connsiteX74442" y="connsiteY74442"/>
              </a:cxn>
              <a:cxn ang="0">
                <a:pos x="connsiteX74443" y="connsiteY74443"/>
              </a:cxn>
              <a:cxn ang="0">
                <a:pos x="connsiteX74444" y="connsiteY74444"/>
              </a:cxn>
              <a:cxn ang="0">
                <a:pos x="connsiteX74445" y="connsiteY74445"/>
              </a:cxn>
              <a:cxn ang="0">
                <a:pos x="connsiteX74446" y="connsiteY74446"/>
              </a:cxn>
              <a:cxn ang="0">
                <a:pos x="connsiteX74447" y="connsiteY74447"/>
              </a:cxn>
              <a:cxn ang="0">
                <a:pos x="connsiteX74448" y="connsiteY74448"/>
              </a:cxn>
              <a:cxn ang="0">
                <a:pos x="connsiteX74449" y="connsiteY74449"/>
              </a:cxn>
              <a:cxn ang="0">
                <a:pos x="connsiteX74450" y="connsiteY74450"/>
              </a:cxn>
              <a:cxn ang="0">
                <a:pos x="connsiteX74451" y="connsiteY74451"/>
              </a:cxn>
              <a:cxn ang="0">
                <a:pos x="connsiteX74452" y="connsiteY74452"/>
              </a:cxn>
              <a:cxn ang="0">
                <a:pos x="connsiteX74453" y="connsiteY74453"/>
              </a:cxn>
              <a:cxn ang="0">
                <a:pos x="connsiteX74454" y="connsiteY74454"/>
              </a:cxn>
              <a:cxn ang="0">
                <a:pos x="connsiteX74455" y="connsiteY74455"/>
              </a:cxn>
              <a:cxn ang="0">
                <a:pos x="connsiteX74456" y="connsiteY74456"/>
              </a:cxn>
              <a:cxn ang="0">
                <a:pos x="connsiteX74457" y="connsiteY74457"/>
              </a:cxn>
              <a:cxn ang="0">
                <a:pos x="connsiteX74458" y="connsiteY74458"/>
              </a:cxn>
              <a:cxn ang="0">
                <a:pos x="connsiteX74459" y="connsiteY74459"/>
              </a:cxn>
              <a:cxn ang="0">
                <a:pos x="connsiteX74460" y="connsiteY74460"/>
              </a:cxn>
              <a:cxn ang="0">
                <a:pos x="connsiteX74461" y="connsiteY74461"/>
              </a:cxn>
              <a:cxn ang="0">
                <a:pos x="connsiteX74462" y="connsiteY74462"/>
              </a:cxn>
              <a:cxn ang="0">
                <a:pos x="connsiteX74463" y="connsiteY74463"/>
              </a:cxn>
              <a:cxn ang="0">
                <a:pos x="connsiteX74464" y="connsiteY74464"/>
              </a:cxn>
              <a:cxn ang="0">
                <a:pos x="connsiteX74465" y="connsiteY74465"/>
              </a:cxn>
              <a:cxn ang="0">
                <a:pos x="connsiteX74466" y="connsiteY74466"/>
              </a:cxn>
              <a:cxn ang="0">
                <a:pos x="connsiteX74467" y="connsiteY74467"/>
              </a:cxn>
              <a:cxn ang="0">
                <a:pos x="connsiteX74468" y="connsiteY74468"/>
              </a:cxn>
              <a:cxn ang="0">
                <a:pos x="connsiteX74469" y="connsiteY74469"/>
              </a:cxn>
              <a:cxn ang="0">
                <a:pos x="connsiteX74470" y="connsiteY74470"/>
              </a:cxn>
              <a:cxn ang="0">
                <a:pos x="connsiteX74471" y="connsiteY74471"/>
              </a:cxn>
              <a:cxn ang="0">
                <a:pos x="connsiteX74472" y="connsiteY74472"/>
              </a:cxn>
              <a:cxn ang="0">
                <a:pos x="connsiteX74473" y="connsiteY74473"/>
              </a:cxn>
              <a:cxn ang="0">
                <a:pos x="connsiteX74474" y="connsiteY74474"/>
              </a:cxn>
              <a:cxn ang="0">
                <a:pos x="connsiteX74475" y="connsiteY74475"/>
              </a:cxn>
              <a:cxn ang="0">
                <a:pos x="connsiteX74476" y="connsiteY74476"/>
              </a:cxn>
              <a:cxn ang="0">
                <a:pos x="connsiteX74477" y="connsiteY74477"/>
              </a:cxn>
              <a:cxn ang="0">
                <a:pos x="connsiteX74478" y="connsiteY74478"/>
              </a:cxn>
              <a:cxn ang="0">
                <a:pos x="connsiteX74479" y="connsiteY74479"/>
              </a:cxn>
              <a:cxn ang="0">
                <a:pos x="connsiteX74480" y="connsiteY74480"/>
              </a:cxn>
              <a:cxn ang="0">
                <a:pos x="connsiteX74481" y="connsiteY74481"/>
              </a:cxn>
              <a:cxn ang="0">
                <a:pos x="connsiteX74482" y="connsiteY74482"/>
              </a:cxn>
              <a:cxn ang="0">
                <a:pos x="connsiteX74483" y="connsiteY74483"/>
              </a:cxn>
              <a:cxn ang="0">
                <a:pos x="connsiteX74484" y="connsiteY74484"/>
              </a:cxn>
              <a:cxn ang="0">
                <a:pos x="connsiteX74485" y="connsiteY74485"/>
              </a:cxn>
              <a:cxn ang="0">
                <a:pos x="connsiteX74486" y="connsiteY74486"/>
              </a:cxn>
              <a:cxn ang="0">
                <a:pos x="connsiteX74487" y="connsiteY74487"/>
              </a:cxn>
              <a:cxn ang="0">
                <a:pos x="connsiteX74488" y="connsiteY74488"/>
              </a:cxn>
              <a:cxn ang="0">
                <a:pos x="connsiteX74489" y="connsiteY74489"/>
              </a:cxn>
              <a:cxn ang="0">
                <a:pos x="connsiteX74490" y="connsiteY74490"/>
              </a:cxn>
              <a:cxn ang="0">
                <a:pos x="connsiteX74491" y="connsiteY74491"/>
              </a:cxn>
              <a:cxn ang="0">
                <a:pos x="connsiteX74492" y="connsiteY74492"/>
              </a:cxn>
              <a:cxn ang="0">
                <a:pos x="connsiteX74493" y="connsiteY74493"/>
              </a:cxn>
              <a:cxn ang="0">
                <a:pos x="connsiteX74494" y="connsiteY74494"/>
              </a:cxn>
              <a:cxn ang="0">
                <a:pos x="connsiteX74495" y="connsiteY74495"/>
              </a:cxn>
              <a:cxn ang="0">
                <a:pos x="connsiteX74496" y="connsiteY74496"/>
              </a:cxn>
              <a:cxn ang="0">
                <a:pos x="connsiteX74497" y="connsiteY74497"/>
              </a:cxn>
              <a:cxn ang="0">
                <a:pos x="connsiteX74498" y="connsiteY74498"/>
              </a:cxn>
              <a:cxn ang="0">
                <a:pos x="connsiteX74499" y="connsiteY74499"/>
              </a:cxn>
              <a:cxn ang="0">
                <a:pos x="connsiteX74500" y="connsiteY74500"/>
              </a:cxn>
              <a:cxn ang="0">
                <a:pos x="connsiteX74501" y="connsiteY74501"/>
              </a:cxn>
              <a:cxn ang="0">
                <a:pos x="connsiteX74502" y="connsiteY74502"/>
              </a:cxn>
              <a:cxn ang="0">
                <a:pos x="connsiteX74503" y="connsiteY74503"/>
              </a:cxn>
              <a:cxn ang="0">
                <a:pos x="connsiteX74504" y="connsiteY74504"/>
              </a:cxn>
              <a:cxn ang="0">
                <a:pos x="connsiteX74505" y="connsiteY74505"/>
              </a:cxn>
              <a:cxn ang="0">
                <a:pos x="connsiteX74506" y="connsiteY74506"/>
              </a:cxn>
              <a:cxn ang="0">
                <a:pos x="connsiteX74507" y="connsiteY74507"/>
              </a:cxn>
              <a:cxn ang="0">
                <a:pos x="connsiteX74508" y="connsiteY74508"/>
              </a:cxn>
              <a:cxn ang="0">
                <a:pos x="connsiteX74509" y="connsiteY74509"/>
              </a:cxn>
              <a:cxn ang="0">
                <a:pos x="connsiteX74510" y="connsiteY74510"/>
              </a:cxn>
              <a:cxn ang="0">
                <a:pos x="connsiteX74511" y="connsiteY74511"/>
              </a:cxn>
              <a:cxn ang="0">
                <a:pos x="connsiteX74512" y="connsiteY74512"/>
              </a:cxn>
              <a:cxn ang="0">
                <a:pos x="connsiteX74513" y="connsiteY74513"/>
              </a:cxn>
              <a:cxn ang="0">
                <a:pos x="connsiteX74514" y="connsiteY74514"/>
              </a:cxn>
              <a:cxn ang="0">
                <a:pos x="connsiteX74515" y="connsiteY74515"/>
              </a:cxn>
              <a:cxn ang="0">
                <a:pos x="connsiteX74516" y="connsiteY74516"/>
              </a:cxn>
              <a:cxn ang="0">
                <a:pos x="connsiteX74517" y="connsiteY74517"/>
              </a:cxn>
              <a:cxn ang="0">
                <a:pos x="connsiteX74518" y="connsiteY74518"/>
              </a:cxn>
              <a:cxn ang="0">
                <a:pos x="connsiteX74519" y="connsiteY74519"/>
              </a:cxn>
              <a:cxn ang="0">
                <a:pos x="connsiteX74520" y="connsiteY74520"/>
              </a:cxn>
              <a:cxn ang="0">
                <a:pos x="connsiteX74521" y="connsiteY74521"/>
              </a:cxn>
              <a:cxn ang="0">
                <a:pos x="connsiteX74522" y="connsiteY74522"/>
              </a:cxn>
              <a:cxn ang="0">
                <a:pos x="connsiteX74523" y="connsiteY74523"/>
              </a:cxn>
              <a:cxn ang="0">
                <a:pos x="connsiteX74524" y="connsiteY74524"/>
              </a:cxn>
              <a:cxn ang="0">
                <a:pos x="connsiteX74525" y="connsiteY74525"/>
              </a:cxn>
              <a:cxn ang="0">
                <a:pos x="connsiteX74526" y="connsiteY74526"/>
              </a:cxn>
              <a:cxn ang="0">
                <a:pos x="connsiteX74527" y="connsiteY74527"/>
              </a:cxn>
              <a:cxn ang="0">
                <a:pos x="connsiteX74528" y="connsiteY74528"/>
              </a:cxn>
              <a:cxn ang="0">
                <a:pos x="connsiteX74529" y="connsiteY74529"/>
              </a:cxn>
              <a:cxn ang="0">
                <a:pos x="connsiteX74530" y="connsiteY74530"/>
              </a:cxn>
              <a:cxn ang="0">
                <a:pos x="connsiteX74531" y="connsiteY74531"/>
              </a:cxn>
              <a:cxn ang="0">
                <a:pos x="connsiteX74532" y="connsiteY74532"/>
              </a:cxn>
              <a:cxn ang="0">
                <a:pos x="connsiteX74533" y="connsiteY74533"/>
              </a:cxn>
              <a:cxn ang="0">
                <a:pos x="connsiteX74534" y="connsiteY74534"/>
              </a:cxn>
              <a:cxn ang="0">
                <a:pos x="connsiteX74535" y="connsiteY74535"/>
              </a:cxn>
              <a:cxn ang="0">
                <a:pos x="connsiteX74536" y="connsiteY74536"/>
              </a:cxn>
              <a:cxn ang="0">
                <a:pos x="connsiteX74537" y="connsiteY74537"/>
              </a:cxn>
              <a:cxn ang="0">
                <a:pos x="connsiteX74538" y="connsiteY74538"/>
              </a:cxn>
              <a:cxn ang="0">
                <a:pos x="connsiteX74539" y="connsiteY74539"/>
              </a:cxn>
              <a:cxn ang="0">
                <a:pos x="connsiteX74540" y="connsiteY74540"/>
              </a:cxn>
              <a:cxn ang="0">
                <a:pos x="connsiteX74541" y="connsiteY74541"/>
              </a:cxn>
              <a:cxn ang="0">
                <a:pos x="connsiteX74542" y="connsiteY74542"/>
              </a:cxn>
              <a:cxn ang="0">
                <a:pos x="connsiteX74543" y="connsiteY74543"/>
              </a:cxn>
              <a:cxn ang="0">
                <a:pos x="connsiteX74544" y="connsiteY74544"/>
              </a:cxn>
              <a:cxn ang="0">
                <a:pos x="connsiteX74545" y="connsiteY74545"/>
              </a:cxn>
              <a:cxn ang="0">
                <a:pos x="connsiteX74546" y="connsiteY74546"/>
              </a:cxn>
              <a:cxn ang="0">
                <a:pos x="connsiteX74547" y="connsiteY74547"/>
              </a:cxn>
              <a:cxn ang="0">
                <a:pos x="connsiteX74548" y="connsiteY74548"/>
              </a:cxn>
              <a:cxn ang="0">
                <a:pos x="connsiteX74549" y="connsiteY74549"/>
              </a:cxn>
              <a:cxn ang="0">
                <a:pos x="connsiteX74550" y="connsiteY74550"/>
              </a:cxn>
              <a:cxn ang="0">
                <a:pos x="connsiteX74551" y="connsiteY74551"/>
              </a:cxn>
              <a:cxn ang="0">
                <a:pos x="connsiteX74552" y="connsiteY74552"/>
              </a:cxn>
              <a:cxn ang="0">
                <a:pos x="connsiteX74553" y="connsiteY74553"/>
              </a:cxn>
              <a:cxn ang="0">
                <a:pos x="connsiteX74554" y="connsiteY74554"/>
              </a:cxn>
              <a:cxn ang="0">
                <a:pos x="connsiteX74555" y="connsiteY74555"/>
              </a:cxn>
              <a:cxn ang="0">
                <a:pos x="connsiteX74556" y="connsiteY74556"/>
              </a:cxn>
              <a:cxn ang="0">
                <a:pos x="connsiteX74557" y="connsiteY74557"/>
              </a:cxn>
              <a:cxn ang="0">
                <a:pos x="connsiteX74558" y="connsiteY74558"/>
              </a:cxn>
              <a:cxn ang="0">
                <a:pos x="connsiteX74559" y="connsiteY74559"/>
              </a:cxn>
              <a:cxn ang="0">
                <a:pos x="connsiteX74560" y="connsiteY74560"/>
              </a:cxn>
              <a:cxn ang="0">
                <a:pos x="connsiteX74561" y="connsiteY74561"/>
              </a:cxn>
              <a:cxn ang="0">
                <a:pos x="connsiteX74562" y="connsiteY74562"/>
              </a:cxn>
              <a:cxn ang="0">
                <a:pos x="connsiteX74563" y="connsiteY74563"/>
              </a:cxn>
              <a:cxn ang="0">
                <a:pos x="connsiteX74564" y="connsiteY74564"/>
              </a:cxn>
              <a:cxn ang="0">
                <a:pos x="connsiteX74565" y="connsiteY74565"/>
              </a:cxn>
              <a:cxn ang="0">
                <a:pos x="connsiteX74566" y="connsiteY74566"/>
              </a:cxn>
              <a:cxn ang="0">
                <a:pos x="connsiteX74567" y="connsiteY74567"/>
              </a:cxn>
              <a:cxn ang="0">
                <a:pos x="connsiteX74568" y="connsiteY74568"/>
              </a:cxn>
              <a:cxn ang="0">
                <a:pos x="connsiteX74569" y="connsiteY74569"/>
              </a:cxn>
              <a:cxn ang="0">
                <a:pos x="connsiteX74570" y="connsiteY74570"/>
              </a:cxn>
              <a:cxn ang="0">
                <a:pos x="connsiteX74571" y="connsiteY74571"/>
              </a:cxn>
              <a:cxn ang="0">
                <a:pos x="connsiteX74572" y="connsiteY74572"/>
              </a:cxn>
              <a:cxn ang="0">
                <a:pos x="connsiteX74573" y="connsiteY74573"/>
              </a:cxn>
              <a:cxn ang="0">
                <a:pos x="connsiteX74574" y="connsiteY74574"/>
              </a:cxn>
              <a:cxn ang="0">
                <a:pos x="connsiteX74575" y="connsiteY74575"/>
              </a:cxn>
              <a:cxn ang="0">
                <a:pos x="connsiteX74576" y="connsiteY74576"/>
              </a:cxn>
              <a:cxn ang="0">
                <a:pos x="connsiteX74577" y="connsiteY74577"/>
              </a:cxn>
              <a:cxn ang="0">
                <a:pos x="connsiteX74578" y="connsiteY74578"/>
              </a:cxn>
              <a:cxn ang="0">
                <a:pos x="connsiteX74579" y="connsiteY74579"/>
              </a:cxn>
              <a:cxn ang="0">
                <a:pos x="connsiteX74580" y="connsiteY74580"/>
              </a:cxn>
              <a:cxn ang="0">
                <a:pos x="connsiteX74581" y="connsiteY74581"/>
              </a:cxn>
              <a:cxn ang="0">
                <a:pos x="connsiteX74582" y="connsiteY74582"/>
              </a:cxn>
              <a:cxn ang="0">
                <a:pos x="connsiteX74583" y="connsiteY74583"/>
              </a:cxn>
              <a:cxn ang="0">
                <a:pos x="connsiteX74584" y="connsiteY74584"/>
              </a:cxn>
              <a:cxn ang="0">
                <a:pos x="connsiteX74585" y="connsiteY74585"/>
              </a:cxn>
              <a:cxn ang="0">
                <a:pos x="connsiteX74586" y="connsiteY74586"/>
              </a:cxn>
              <a:cxn ang="0">
                <a:pos x="connsiteX74587" y="connsiteY74587"/>
              </a:cxn>
              <a:cxn ang="0">
                <a:pos x="connsiteX74588" y="connsiteY74588"/>
              </a:cxn>
              <a:cxn ang="0">
                <a:pos x="connsiteX74589" y="connsiteY74589"/>
              </a:cxn>
              <a:cxn ang="0">
                <a:pos x="connsiteX74590" y="connsiteY74590"/>
              </a:cxn>
              <a:cxn ang="0">
                <a:pos x="connsiteX74591" y="connsiteY74591"/>
              </a:cxn>
              <a:cxn ang="0">
                <a:pos x="connsiteX74592" y="connsiteY74592"/>
              </a:cxn>
              <a:cxn ang="0">
                <a:pos x="connsiteX74593" y="connsiteY74593"/>
              </a:cxn>
              <a:cxn ang="0">
                <a:pos x="connsiteX74594" y="connsiteY74594"/>
              </a:cxn>
              <a:cxn ang="0">
                <a:pos x="connsiteX74595" y="connsiteY74595"/>
              </a:cxn>
              <a:cxn ang="0">
                <a:pos x="connsiteX74596" y="connsiteY74596"/>
              </a:cxn>
              <a:cxn ang="0">
                <a:pos x="connsiteX74597" y="connsiteY74597"/>
              </a:cxn>
              <a:cxn ang="0">
                <a:pos x="connsiteX74598" y="connsiteY74598"/>
              </a:cxn>
              <a:cxn ang="0">
                <a:pos x="connsiteX74599" y="connsiteY74599"/>
              </a:cxn>
              <a:cxn ang="0">
                <a:pos x="connsiteX74600" y="connsiteY74600"/>
              </a:cxn>
              <a:cxn ang="0">
                <a:pos x="connsiteX74601" y="connsiteY74601"/>
              </a:cxn>
              <a:cxn ang="0">
                <a:pos x="connsiteX74602" y="connsiteY74602"/>
              </a:cxn>
              <a:cxn ang="0">
                <a:pos x="connsiteX74603" y="connsiteY74603"/>
              </a:cxn>
              <a:cxn ang="0">
                <a:pos x="connsiteX74604" y="connsiteY74604"/>
              </a:cxn>
              <a:cxn ang="0">
                <a:pos x="connsiteX74605" y="connsiteY74605"/>
              </a:cxn>
              <a:cxn ang="0">
                <a:pos x="connsiteX74606" y="connsiteY74606"/>
              </a:cxn>
              <a:cxn ang="0">
                <a:pos x="connsiteX74607" y="connsiteY74607"/>
              </a:cxn>
              <a:cxn ang="0">
                <a:pos x="connsiteX74608" y="connsiteY74608"/>
              </a:cxn>
              <a:cxn ang="0">
                <a:pos x="connsiteX74609" y="connsiteY74609"/>
              </a:cxn>
              <a:cxn ang="0">
                <a:pos x="connsiteX74610" y="connsiteY74610"/>
              </a:cxn>
              <a:cxn ang="0">
                <a:pos x="connsiteX74611" y="connsiteY74611"/>
              </a:cxn>
              <a:cxn ang="0">
                <a:pos x="connsiteX74612" y="connsiteY74612"/>
              </a:cxn>
              <a:cxn ang="0">
                <a:pos x="connsiteX74613" y="connsiteY74613"/>
              </a:cxn>
              <a:cxn ang="0">
                <a:pos x="connsiteX74614" y="connsiteY74614"/>
              </a:cxn>
              <a:cxn ang="0">
                <a:pos x="connsiteX74615" y="connsiteY74615"/>
              </a:cxn>
              <a:cxn ang="0">
                <a:pos x="connsiteX74616" y="connsiteY74616"/>
              </a:cxn>
              <a:cxn ang="0">
                <a:pos x="connsiteX74617" y="connsiteY74617"/>
              </a:cxn>
              <a:cxn ang="0">
                <a:pos x="connsiteX74618" y="connsiteY74618"/>
              </a:cxn>
              <a:cxn ang="0">
                <a:pos x="connsiteX74619" y="connsiteY74619"/>
              </a:cxn>
              <a:cxn ang="0">
                <a:pos x="connsiteX74620" y="connsiteY74620"/>
              </a:cxn>
              <a:cxn ang="0">
                <a:pos x="connsiteX74621" y="connsiteY74621"/>
              </a:cxn>
              <a:cxn ang="0">
                <a:pos x="connsiteX74622" y="connsiteY74622"/>
              </a:cxn>
              <a:cxn ang="0">
                <a:pos x="connsiteX74623" y="connsiteY74623"/>
              </a:cxn>
              <a:cxn ang="0">
                <a:pos x="connsiteX74624" y="connsiteY74624"/>
              </a:cxn>
              <a:cxn ang="0">
                <a:pos x="connsiteX74625" y="connsiteY74625"/>
              </a:cxn>
              <a:cxn ang="0">
                <a:pos x="connsiteX74626" y="connsiteY74626"/>
              </a:cxn>
              <a:cxn ang="0">
                <a:pos x="connsiteX74627" y="connsiteY74627"/>
              </a:cxn>
              <a:cxn ang="0">
                <a:pos x="connsiteX74628" y="connsiteY74628"/>
              </a:cxn>
              <a:cxn ang="0">
                <a:pos x="connsiteX74629" y="connsiteY74629"/>
              </a:cxn>
              <a:cxn ang="0">
                <a:pos x="connsiteX74630" y="connsiteY74630"/>
              </a:cxn>
              <a:cxn ang="0">
                <a:pos x="connsiteX74631" y="connsiteY74631"/>
              </a:cxn>
              <a:cxn ang="0">
                <a:pos x="connsiteX74632" y="connsiteY74632"/>
              </a:cxn>
              <a:cxn ang="0">
                <a:pos x="connsiteX74633" y="connsiteY74633"/>
              </a:cxn>
              <a:cxn ang="0">
                <a:pos x="connsiteX74634" y="connsiteY74634"/>
              </a:cxn>
              <a:cxn ang="0">
                <a:pos x="connsiteX74635" y="connsiteY74635"/>
              </a:cxn>
              <a:cxn ang="0">
                <a:pos x="connsiteX74636" y="connsiteY74636"/>
              </a:cxn>
              <a:cxn ang="0">
                <a:pos x="connsiteX74637" y="connsiteY74637"/>
              </a:cxn>
              <a:cxn ang="0">
                <a:pos x="connsiteX74638" y="connsiteY74638"/>
              </a:cxn>
              <a:cxn ang="0">
                <a:pos x="connsiteX74639" y="connsiteY74639"/>
              </a:cxn>
              <a:cxn ang="0">
                <a:pos x="connsiteX74640" y="connsiteY74640"/>
              </a:cxn>
              <a:cxn ang="0">
                <a:pos x="connsiteX74641" y="connsiteY74641"/>
              </a:cxn>
              <a:cxn ang="0">
                <a:pos x="connsiteX74642" y="connsiteY74642"/>
              </a:cxn>
              <a:cxn ang="0">
                <a:pos x="connsiteX74643" y="connsiteY74643"/>
              </a:cxn>
              <a:cxn ang="0">
                <a:pos x="connsiteX74644" y="connsiteY74644"/>
              </a:cxn>
              <a:cxn ang="0">
                <a:pos x="connsiteX74645" y="connsiteY74645"/>
              </a:cxn>
              <a:cxn ang="0">
                <a:pos x="connsiteX74646" y="connsiteY74646"/>
              </a:cxn>
              <a:cxn ang="0">
                <a:pos x="connsiteX74647" y="connsiteY74647"/>
              </a:cxn>
              <a:cxn ang="0">
                <a:pos x="connsiteX74648" y="connsiteY74648"/>
              </a:cxn>
              <a:cxn ang="0">
                <a:pos x="connsiteX74649" y="connsiteY74649"/>
              </a:cxn>
              <a:cxn ang="0">
                <a:pos x="connsiteX74650" y="connsiteY74650"/>
              </a:cxn>
              <a:cxn ang="0">
                <a:pos x="connsiteX74651" y="connsiteY74651"/>
              </a:cxn>
              <a:cxn ang="0">
                <a:pos x="connsiteX74652" y="connsiteY74652"/>
              </a:cxn>
              <a:cxn ang="0">
                <a:pos x="connsiteX74653" y="connsiteY74653"/>
              </a:cxn>
              <a:cxn ang="0">
                <a:pos x="connsiteX74654" y="connsiteY74654"/>
              </a:cxn>
              <a:cxn ang="0">
                <a:pos x="connsiteX74655" y="connsiteY74655"/>
              </a:cxn>
              <a:cxn ang="0">
                <a:pos x="connsiteX74656" y="connsiteY74656"/>
              </a:cxn>
              <a:cxn ang="0">
                <a:pos x="connsiteX74657" y="connsiteY74657"/>
              </a:cxn>
              <a:cxn ang="0">
                <a:pos x="connsiteX74658" y="connsiteY74658"/>
              </a:cxn>
              <a:cxn ang="0">
                <a:pos x="connsiteX74659" y="connsiteY74659"/>
              </a:cxn>
              <a:cxn ang="0">
                <a:pos x="connsiteX74660" y="connsiteY74660"/>
              </a:cxn>
              <a:cxn ang="0">
                <a:pos x="connsiteX74661" y="connsiteY74661"/>
              </a:cxn>
              <a:cxn ang="0">
                <a:pos x="connsiteX74662" y="connsiteY74662"/>
              </a:cxn>
              <a:cxn ang="0">
                <a:pos x="connsiteX74663" y="connsiteY74663"/>
              </a:cxn>
              <a:cxn ang="0">
                <a:pos x="connsiteX74664" y="connsiteY74664"/>
              </a:cxn>
              <a:cxn ang="0">
                <a:pos x="connsiteX74665" y="connsiteY74665"/>
              </a:cxn>
              <a:cxn ang="0">
                <a:pos x="connsiteX74666" y="connsiteY74666"/>
              </a:cxn>
              <a:cxn ang="0">
                <a:pos x="connsiteX74667" y="connsiteY74667"/>
              </a:cxn>
              <a:cxn ang="0">
                <a:pos x="connsiteX74668" y="connsiteY74668"/>
              </a:cxn>
              <a:cxn ang="0">
                <a:pos x="connsiteX74669" y="connsiteY74669"/>
              </a:cxn>
              <a:cxn ang="0">
                <a:pos x="connsiteX74670" y="connsiteY74670"/>
              </a:cxn>
              <a:cxn ang="0">
                <a:pos x="connsiteX74671" y="connsiteY74671"/>
              </a:cxn>
              <a:cxn ang="0">
                <a:pos x="connsiteX74672" y="connsiteY74672"/>
              </a:cxn>
              <a:cxn ang="0">
                <a:pos x="connsiteX74673" y="connsiteY74673"/>
              </a:cxn>
              <a:cxn ang="0">
                <a:pos x="connsiteX74674" y="connsiteY74674"/>
              </a:cxn>
              <a:cxn ang="0">
                <a:pos x="connsiteX74675" y="connsiteY74675"/>
              </a:cxn>
              <a:cxn ang="0">
                <a:pos x="connsiteX74676" y="connsiteY74676"/>
              </a:cxn>
              <a:cxn ang="0">
                <a:pos x="connsiteX74677" y="connsiteY74677"/>
              </a:cxn>
              <a:cxn ang="0">
                <a:pos x="connsiteX74678" y="connsiteY74678"/>
              </a:cxn>
              <a:cxn ang="0">
                <a:pos x="connsiteX74679" y="connsiteY74679"/>
              </a:cxn>
              <a:cxn ang="0">
                <a:pos x="connsiteX74680" y="connsiteY74680"/>
              </a:cxn>
              <a:cxn ang="0">
                <a:pos x="connsiteX74681" y="connsiteY74681"/>
              </a:cxn>
              <a:cxn ang="0">
                <a:pos x="connsiteX74682" y="connsiteY74682"/>
              </a:cxn>
              <a:cxn ang="0">
                <a:pos x="connsiteX74683" y="connsiteY74683"/>
              </a:cxn>
              <a:cxn ang="0">
                <a:pos x="connsiteX74684" y="connsiteY74684"/>
              </a:cxn>
              <a:cxn ang="0">
                <a:pos x="connsiteX74685" y="connsiteY74685"/>
              </a:cxn>
              <a:cxn ang="0">
                <a:pos x="connsiteX74686" y="connsiteY74686"/>
              </a:cxn>
              <a:cxn ang="0">
                <a:pos x="connsiteX74687" y="connsiteY74687"/>
              </a:cxn>
              <a:cxn ang="0">
                <a:pos x="connsiteX74688" y="connsiteY74688"/>
              </a:cxn>
              <a:cxn ang="0">
                <a:pos x="connsiteX74689" y="connsiteY74689"/>
              </a:cxn>
              <a:cxn ang="0">
                <a:pos x="connsiteX74690" y="connsiteY74690"/>
              </a:cxn>
              <a:cxn ang="0">
                <a:pos x="connsiteX74691" y="connsiteY74691"/>
              </a:cxn>
              <a:cxn ang="0">
                <a:pos x="connsiteX74692" y="connsiteY74692"/>
              </a:cxn>
              <a:cxn ang="0">
                <a:pos x="connsiteX74693" y="connsiteY74693"/>
              </a:cxn>
              <a:cxn ang="0">
                <a:pos x="connsiteX74694" y="connsiteY74694"/>
              </a:cxn>
              <a:cxn ang="0">
                <a:pos x="connsiteX74695" y="connsiteY74695"/>
              </a:cxn>
              <a:cxn ang="0">
                <a:pos x="connsiteX74696" y="connsiteY74696"/>
              </a:cxn>
              <a:cxn ang="0">
                <a:pos x="connsiteX74697" y="connsiteY74697"/>
              </a:cxn>
              <a:cxn ang="0">
                <a:pos x="connsiteX74698" y="connsiteY74698"/>
              </a:cxn>
              <a:cxn ang="0">
                <a:pos x="connsiteX74699" y="connsiteY74699"/>
              </a:cxn>
              <a:cxn ang="0">
                <a:pos x="connsiteX74700" y="connsiteY74700"/>
              </a:cxn>
              <a:cxn ang="0">
                <a:pos x="connsiteX74701" y="connsiteY74701"/>
              </a:cxn>
              <a:cxn ang="0">
                <a:pos x="connsiteX74702" y="connsiteY74702"/>
              </a:cxn>
              <a:cxn ang="0">
                <a:pos x="connsiteX74703" y="connsiteY74703"/>
              </a:cxn>
              <a:cxn ang="0">
                <a:pos x="connsiteX74704" y="connsiteY74704"/>
              </a:cxn>
              <a:cxn ang="0">
                <a:pos x="connsiteX74705" y="connsiteY74705"/>
              </a:cxn>
              <a:cxn ang="0">
                <a:pos x="connsiteX74706" y="connsiteY74706"/>
              </a:cxn>
              <a:cxn ang="0">
                <a:pos x="connsiteX74707" y="connsiteY74707"/>
              </a:cxn>
              <a:cxn ang="0">
                <a:pos x="connsiteX74708" y="connsiteY74708"/>
              </a:cxn>
              <a:cxn ang="0">
                <a:pos x="connsiteX74709" y="connsiteY74709"/>
              </a:cxn>
              <a:cxn ang="0">
                <a:pos x="connsiteX74710" y="connsiteY74710"/>
              </a:cxn>
              <a:cxn ang="0">
                <a:pos x="connsiteX74711" y="connsiteY74711"/>
              </a:cxn>
              <a:cxn ang="0">
                <a:pos x="connsiteX74712" y="connsiteY74712"/>
              </a:cxn>
              <a:cxn ang="0">
                <a:pos x="connsiteX74713" y="connsiteY74713"/>
              </a:cxn>
              <a:cxn ang="0">
                <a:pos x="connsiteX74714" y="connsiteY74714"/>
              </a:cxn>
              <a:cxn ang="0">
                <a:pos x="connsiteX74715" y="connsiteY74715"/>
              </a:cxn>
              <a:cxn ang="0">
                <a:pos x="connsiteX74716" y="connsiteY74716"/>
              </a:cxn>
              <a:cxn ang="0">
                <a:pos x="connsiteX74717" y="connsiteY74717"/>
              </a:cxn>
              <a:cxn ang="0">
                <a:pos x="connsiteX74718" y="connsiteY74718"/>
              </a:cxn>
              <a:cxn ang="0">
                <a:pos x="connsiteX74719" y="connsiteY74719"/>
              </a:cxn>
              <a:cxn ang="0">
                <a:pos x="connsiteX74720" y="connsiteY74720"/>
              </a:cxn>
              <a:cxn ang="0">
                <a:pos x="connsiteX74721" y="connsiteY74721"/>
              </a:cxn>
              <a:cxn ang="0">
                <a:pos x="connsiteX74722" y="connsiteY74722"/>
              </a:cxn>
              <a:cxn ang="0">
                <a:pos x="connsiteX74723" y="connsiteY74723"/>
              </a:cxn>
              <a:cxn ang="0">
                <a:pos x="connsiteX74724" y="connsiteY74724"/>
              </a:cxn>
              <a:cxn ang="0">
                <a:pos x="connsiteX74725" y="connsiteY74725"/>
              </a:cxn>
              <a:cxn ang="0">
                <a:pos x="connsiteX74726" y="connsiteY74726"/>
              </a:cxn>
              <a:cxn ang="0">
                <a:pos x="connsiteX74727" y="connsiteY74727"/>
              </a:cxn>
              <a:cxn ang="0">
                <a:pos x="connsiteX74728" y="connsiteY74728"/>
              </a:cxn>
              <a:cxn ang="0">
                <a:pos x="connsiteX74729" y="connsiteY74729"/>
              </a:cxn>
              <a:cxn ang="0">
                <a:pos x="connsiteX74730" y="connsiteY74730"/>
              </a:cxn>
              <a:cxn ang="0">
                <a:pos x="connsiteX74731" y="connsiteY74731"/>
              </a:cxn>
              <a:cxn ang="0">
                <a:pos x="connsiteX74732" y="connsiteY74732"/>
              </a:cxn>
              <a:cxn ang="0">
                <a:pos x="connsiteX74733" y="connsiteY74733"/>
              </a:cxn>
              <a:cxn ang="0">
                <a:pos x="connsiteX74734" y="connsiteY74734"/>
              </a:cxn>
              <a:cxn ang="0">
                <a:pos x="connsiteX74735" y="connsiteY74735"/>
              </a:cxn>
              <a:cxn ang="0">
                <a:pos x="connsiteX74736" y="connsiteY74736"/>
              </a:cxn>
              <a:cxn ang="0">
                <a:pos x="connsiteX74737" y="connsiteY74737"/>
              </a:cxn>
              <a:cxn ang="0">
                <a:pos x="connsiteX74738" y="connsiteY74738"/>
              </a:cxn>
              <a:cxn ang="0">
                <a:pos x="connsiteX74739" y="connsiteY74739"/>
              </a:cxn>
              <a:cxn ang="0">
                <a:pos x="connsiteX74740" y="connsiteY74740"/>
              </a:cxn>
              <a:cxn ang="0">
                <a:pos x="connsiteX74741" y="connsiteY74741"/>
              </a:cxn>
              <a:cxn ang="0">
                <a:pos x="connsiteX74742" y="connsiteY74742"/>
              </a:cxn>
              <a:cxn ang="0">
                <a:pos x="connsiteX74743" y="connsiteY74743"/>
              </a:cxn>
              <a:cxn ang="0">
                <a:pos x="connsiteX74744" y="connsiteY74744"/>
              </a:cxn>
              <a:cxn ang="0">
                <a:pos x="connsiteX74745" y="connsiteY74745"/>
              </a:cxn>
              <a:cxn ang="0">
                <a:pos x="connsiteX74746" y="connsiteY74746"/>
              </a:cxn>
              <a:cxn ang="0">
                <a:pos x="connsiteX74747" y="connsiteY74747"/>
              </a:cxn>
              <a:cxn ang="0">
                <a:pos x="connsiteX74748" y="connsiteY74748"/>
              </a:cxn>
              <a:cxn ang="0">
                <a:pos x="connsiteX74749" y="connsiteY74749"/>
              </a:cxn>
              <a:cxn ang="0">
                <a:pos x="connsiteX74750" y="connsiteY74750"/>
              </a:cxn>
              <a:cxn ang="0">
                <a:pos x="connsiteX74751" y="connsiteY74751"/>
              </a:cxn>
              <a:cxn ang="0">
                <a:pos x="connsiteX74752" y="connsiteY74752"/>
              </a:cxn>
              <a:cxn ang="0">
                <a:pos x="connsiteX74753" y="connsiteY74753"/>
              </a:cxn>
              <a:cxn ang="0">
                <a:pos x="connsiteX74754" y="connsiteY74754"/>
              </a:cxn>
              <a:cxn ang="0">
                <a:pos x="connsiteX74755" y="connsiteY74755"/>
              </a:cxn>
              <a:cxn ang="0">
                <a:pos x="connsiteX74756" y="connsiteY74756"/>
              </a:cxn>
              <a:cxn ang="0">
                <a:pos x="connsiteX74757" y="connsiteY74757"/>
              </a:cxn>
              <a:cxn ang="0">
                <a:pos x="connsiteX74758" y="connsiteY74758"/>
              </a:cxn>
              <a:cxn ang="0">
                <a:pos x="connsiteX74759" y="connsiteY74759"/>
              </a:cxn>
              <a:cxn ang="0">
                <a:pos x="connsiteX74760" y="connsiteY74760"/>
              </a:cxn>
              <a:cxn ang="0">
                <a:pos x="connsiteX74761" y="connsiteY74761"/>
              </a:cxn>
              <a:cxn ang="0">
                <a:pos x="connsiteX74762" y="connsiteY74762"/>
              </a:cxn>
              <a:cxn ang="0">
                <a:pos x="connsiteX74763" y="connsiteY74763"/>
              </a:cxn>
              <a:cxn ang="0">
                <a:pos x="connsiteX74764" y="connsiteY74764"/>
              </a:cxn>
              <a:cxn ang="0">
                <a:pos x="connsiteX74765" y="connsiteY74765"/>
              </a:cxn>
              <a:cxn ang="0">
                <a:pos x="connsiteX74766" y="connsiteY74766"/>
              </a:cxn>
              <a:cxn ang="0">
                <a:pos x="connsiteX74767" y="connsiteY74767"/>
              </a:cxn>
              <a:cxn ang="0">
                <a:pos x="connsiteX74768" y="connsiteY74768"/>
              </a:cxn>
              <a:cxn ang="0">
                <a:pos x="connsiteX74769" y="connsiteY74769"/>
              </a:cxn>
              <a:cxn ang="0">
                <a:pos x="connsiteX74770" y="connsiteY74770"/>
              </a:cxn>
              <a:cxn ang="0">
                <a:pos x="connsiteX74771" y="connsiteY74771"/>
              </a:cxn>
              <a:cxn ang="0">
                <a:pos x="connsiteX74772" y="connsiteY74772"/>
              </a:cxn>
              <a:cxn ang="0">
                <a:pos x="connsiteX74773" y="connsiteY74773"/>
              </a:cxn>
              <a:cxn ang="0">
                <a:pos x="connsiteX74774" y="connsiteY74774"/>
              </a:cxn>
              <a:cxn ang="0">
                <a:pos x="connsiteX74775" y="connsiteY74775"/>
              </a:cxn>
              <a:cxn ang="0">
                <a:pos x="connsiteX74776" y="connsiteY74776"/>
              </a:cxn>
              <a:cxn ang="0">
                <a:pos x="connsiteX74777" y="connsiteY74777"/>
              </a:cxn>
              <a:cxn ang="0">
                <a:pos x="connsiteX74778" y="connsiteY74778"/>
              </a:cxn>
              <a:cxn ang="0">
                <a:pos x="connsiteX74779" y="connsiteY74779"/>
              </a:cxn>
              <a:cxn ang="0">
                <a:pos x="connsiteX74780" y="connsiteY74780"/>
              </a:cxn>
              <a:cxn ang="0">
                <a:pos x="connsiteX74781" y="connsiteY74781"/>
              </a:cxn>
              <a:cxn ang="0">
                <a:pos x="connsiteX74782" y="connsiteY74782"/>
              </a:cxn>
              <a:cxn ang="0">
                <a:pos x="connsiteX74783" y="connsiteY74783"/>
              </a:cxn>
              <a:cxn ang="0">
                <a:pos x="connsiteX74784" y="connsiteY74784"/>
              </a:cxn>
              <a:cxn ang="0">
                <a:pos x="connsiteX74785" y="connsiteY74785"/>
              </a:cxn>
              <a:cxn ang="0">
                <a:pos x="connsiteX74786" y="connsiteY74786"/>
              </a:cxn>
              <a:cxn ang="0">
                <a:pos x="connsiteX74787" y="connsiteY74787"/>
              </a:cxn>
              <a:cxn ang="0">
                <a:pos x="connsiteX74788" y="connsiteY74788"/>
              </a:cxn>
              <a:cxn ang="0">
                <a:pos x="connsiteX74789" y="connsiteY74789"/>
              </a:cxn>
              <a:cxn ang="0">
                <a:pos x="connsiteX74790" y="connsiteY74790"/>
              </a:cxn>
              <a:cxn ang="0">
                <a:pos x="connsiteX74791" y="connsiteY74791"/>
              </a:cxn>
              <a:cxn ang="0">
                <a:pos x="connsiteX74792" y="connsiteY74792"/>
              </a:cxn>
              <a:cxn ang="0">
                <a:pos x="connsiteX74793" y="connsiteY74793"/>
              </a:cxn>
              <a:cxn ang="0">
                <a:pos x="connsiteX74794" y="connsiteY74794"/>
              </a:cxn>
              <a:cxn ang="0">
                <a:pos x="connsiteX74795" y="connsiteY74795"/>
              </a:cxn>
              <a:cxn ang="0">
                <a:pos x="connsiteX74796" y="connsiteY74796"/>
              </a:cxn>
              <a:cxn ang="0">
                <a:pos x="connsiteX74797" y="connsiteY74797"/>
              </a:cxn>
              <a:cxn ang="0">
                <a:pos x="connsiteX74798" y="connsiteY74798"/>
              </a:cxn>
              <a:cxn ang="0">
                <a:pos x="connsiteX74799" y="connsiteY74799"/>
              </a:cxn>
              <a:cxn ang="0">
                <a:pos x="connsiteX74800" y="connsiteY74800"/>
              </a:cxn>
              <a:cxn ang="0">
                <a:pos x="connsiteX74801" y="connsiteY74801"/>
              </a:cxn>
              <a:cxn ang="0">
                <a:pos x="connsiteX74802" y="connsiteY74802"/>
              </a:cxn>
              <a:cxn ang="0">
                <a:pos x="connsiteX74803" y="connsiteY74803"/>
              </a:cxn>
              <a:cxn ang="0">
                <a:pos x="connsiteX74804" y="connsiteY74804"/>
              </a:cxn>
              <a:cxn ang="0">
                <a:pos x="connsiteX74805" y="connsiteY74805"/>
              </a:cxn>
              <a:cxn ang="0">
                <a:pos x="connsiteX74806" y="connsiteY74806"/>
              </a:cxn>
              <a:cxn ang="0">
                <a:pos x="connsiteX74807" y="connsiteY74807"/>
              </a:cxn>
              <a:cxn ang="0">
                <a:pos x="connsiteX74808" y="connsiteY74808"/>
              </a:cxn>
              <a:cxn ang="0">
                <a:pos x="connsiteX74809" y="connsiteY74809"/>
              </a:cxn>
              <a:cxn ang="0">
                <a:pos x="connsiteX74810" y="connsiteY74810"/>
              </a:cxn>
              <a:cxn ang="0">
                <a:pos x="connsiteX74811" y="connsiteY74811"/>
              </a:cxn>
              <a:cxn ang="0">
                <a:pos x="connsiteX74812" y="connsiteY74812"/>
              </a:cxn>
              <a:cxn ang="0">
                <a:pos x="connsiteX74813" y="connsiteY74813"/>
              </a:cxn>
              <a:cxn ang="0">
                <a:pos x="connsiteX74814" y="connsiteY74814"/>
              </a:cxn>
              <a:cxn ang="0">
                <a:pos x="connsiteX74815" y="connsiteY74815"/>
              </a:cxn>
              <a:cxn ang="0">
                <a:pos x="connsiteX74816" y="connsiteY74816"/>
              </a:cxn>
              <a:cxn ang="0">
                <a:pos x="connsiteX74817" y="connsiteY74817"/>
              </a:cxn>
              <a:cxn ang="0">
                <a:pos x="connsiteX74818" y="connsiteY74818"/>
              </a:cxn>
              <a:cxn ang="0">
                <a:pos x="connsiteX74819" y="connsiteY74819"/>
              </a:cxn>
              <a:cxn ang="0">
                <a:pos x="connsiteX74820" y="connsiteY74820"/>
              </a:cxn>
              <a:cxn ang="0">
                <a:pos x="connsiteX74821" y="connsiteY74821"/>
              </a:cxn>
              <a:cxn ang="0">
                <a:pos x="connsiteX74822" y="connsiteY74822"/>
              </a:cxn>
              <a:cxn ang="0">
                <a:pos x="connsiteX74823" y="connsiteY74823"/>
              </a:cxn>
              <a:cxn ang="0">
                <a:pos x="connsiteX74824" y="connsiteY74824"/>
              </a:cxn>
              <a:cxn ang="0">
                <a:pos x="connsiteX74825" y="connsiteY74825"/>
              </a:cxn>
              <a:cxn ang="0">
                <a:pos x="connsiteX74826" y="connsiteY74826"/>
              </a:cxn>
              <a:cxn ang="0">
                <a:pos x="connsiteX74827" y="connsiteY74827"/>
              </a:cxn>
              <a:cxn ang="0">
                <a:pos x="connsiteX74828" y="connsiteY74828"/>
              </a:cxn>
              <a:cxn ang="0">
                <a:pos x="connsiteX74829" y="connsiteY74829"/>
              </a:cxn>
              <a:cxn ang="0">
                <a:pos x="connsiteX74830" y="connsiteY74830"/>
              </a:cxn>
              <a:cxn ang="0">
                <a:pos x="connsiteX74831" y="connsiteY74831"/>
              </a:cxn>
              <a:cxn ang="0">
                <a:pos x="connsiteX74832" y="connsiteY74832"/>
              </a:cxn>
              <a:cxn ang="0">
                <a:pos x="connsiteX74833" y="connsiteY74833"/>
              </a:cxn>
              <a:cxn ang="0">
                <a:pos x="connsiteX74834" y="connsiteY74834"/>
              </a:cxn>
              <a:cxn ang="0">
                <a:pos x="connsiteX74835" y="connsiteY74835"/>
              </a:cxn>
              <a:cxn ang="0">
                <a:pos x="connsiteX74836" y="connsiteY74836"/>
              </a:cxn>
              <a:cxn ang="0">
                <a:pos x="connsiteX74837" y="connsiteY74837"/>
              </a:cxn>
              <a:cxn ang="0">
                <a:pos x="connsiteX74838" y="connsiteY74838"/>
              </a:cxn>
              <a:cxn ang="0">
                <a:pos x="connsiteX74839" y="connsiteY74839"/>
              </a:cxn>
              <a:cxn ang="0">
                <a:pos x="connsiteX74840" y="connsiteY74840"/>
              </a:cxn>
              <a:cxn ang="0">
                <a:pos x="connsiteX74841" y="connsiteY74841"/>
              </a:cxn>
              <a:cxn ang="0">
                <a:pos x="connsiteX74842" y="connsiteY74842"/>
              </a:cxn>
              <a:cxn ang="0">
                <a:pos x="connsiteX74843" y="connsiteY74843"/>
              </a:cxn>
              <a:cxn ang="0">
                <a:pos x="connsiteX74844" y="connsiteY74844"/>
              </a:cxn>
              <a:cxn ang="0">
                <a:pos x="connsiteX74845" y="connsiteY74845"/>
              </a:cxn>
              <a:cxn ang="0">
                <a:pos x="connsiteX74846" y="connsiteY74846"/>
              </a:cxn>
              <a:cxn ang="0">
                <a:pos x="connsiteX74847" y="connsiteY74847"/>
              </a:cxn>
              <a:cxn ang="0">
                <a:pos x="connsiteX74848" y="connsiteY74848"/>
              </a:cxn>
              <a:cxn ang="0">
                <a:pos x="connsiteX74849" y="connsiteY74849"/>
              </a:cxn>
              <a:cxn ang="0">
                <a:pos x="connsiteX74850" y="connsiteY74850"/>
              </a:cxn>
              <a:cxn ang="0">
                <a:pos x="connsiteX74851" y="connsiteY74851"/>
              </a:cxn>
              <a:cxn ang="0">
                <a:pos x="connsiteX74852" y="connsiteY74852"/>
              </a:cxn>
              <a:cxn ang="0">
                <a:pos x="connsiteX74853" y="connsiteY74853"/>
              </a:cxn>
              <a:cxn ang="0">
                <a:pos x="connsiteX74854" y="connsiteY74854"/>
              </a:cxn>
              <a:cxn ang="0">
                <a:pos x="connsiteX74855" y="connsiteY74855"/>
              </a:cxn>
              <a:cxn ang="0">
                <a:pos x="connsiteX74856" y="connsiteY74856"/>
              </a:cxn>
              <a:cxn ang="0">
                <a:pos x="connsiteX74857" y="connsiteY74857"/>
              </a:cxn>
              <a:cxn ang="0">
                <a:pos x="connsiteX74858" y="connsiteY74858"/>
              </a:cxn>
              <a:cxn ang="0">
                <a:pos x="connsiteX74859" y="connsiteY74859"/>
              </a:cxn>
              <a:cxn ang="0">
                <a:pos x="connsiteX74860" y="connsiteY74860"/>
              </a:cxn>
              <a:cxn ang="0">
                <a:pos x="connsiteX74861" y="connsiteY74861"/>
              </a:cxn>
              <a:cxn ang="0">
                <a:pos x="connsiteX74862" y="connsiteY74862"/>
              </a:cxn>
              <a:cxn ang="0">
                <a:pos x="connsiteX74863" y="connsiteY74863"/>
              </a:cxn>
              <a:cxn ang="0">
                <a:pos x="connsiteX74864" y="connsiteY74864"/>
              </a:cxn>
              <a:cxn ang="0">
                <a:pos x="connsiteX74865" y="connsiteY74865"/>
              </a:cxn>
              <a:cxn ang="0">
                <a:pos x="connsiteX74866" y="connsiteY74866"/>
              </a:cxn>
              <a:cxn ang="0">
                <a:pos x="connsiteX74867" y="connsiteY74867"/>
              </a:cxn>
              <a:cxn ang="0">
                <a:pos x="connsiteX74868" y="connsiteY74868"/>
              </a:cxn>
              <a:cxn ang="0">
                <a:pos x="connsiteX74869" y="connsiteY74869"/>
              </a:cxn>
              <a:cxn ang="0">
                <a:pos x="connsiteX74870" y="connsiteY74870"/>
              </a:cxn>
              <a:cxn ang="0">
                <a:pos x="connsiteX74871" y="connsiteY74871"/>
              </a:cxn>
              <a:cxn ang="0">
                <a:pos x="connsiteX74872" y="connsiteY74872"/>
              </a:cxn>
              <a:cxn ang="0">
                <a:pos x="connsiteX74873" y="connsiteY74873"/>
              </a:cxn>
              <a:cxn ang="0">
                <a:pos x="connsiteX74874" y="connsiteY74874"/>
              </a:cxn>
              <a:cxn ang="0">
                <a:pos x="connsiteX74875" y="connsiteY74875"/>
              </a:cxn>
              <a:cxn ang="0">
                <a:pos x="connsiteX74876" y="connsiteY74876"/>
              </a:cxn>
              <a:cxn ang="0">
                <a:pos x="connsiteX74877" y="connsiteY74877"/>
              </a:cxn>
              <a:cxn ang="0">
                <a:pos x="connsiteX74878" y="connsiteY74878"/>
              </a:cxn>
              <a:cxn ang="0">
                <a:pos x="connsiteX74879" y="connsiteY74879"/>
              </a:cxn>
              <a:cxn ang="0">
                <a:pos x="connsiteX74880" y="connsiteY74880"/>
              </a:cxn>
              <a:cxn ang="0">
                <a:pos x="connsiteX74881" y="connsiteY74881"/>
              </a:cxn>
              <a:cxn ang="0">
                <a:pos x="connsiteX74882" y="connsiteY74882"/>
              </a:cxn>
              <a:cxn ang="0">
                <a:pos x="connsiteX74883" y="connsiteY74883"/>
              </a:cxn>
              <a:cxn ang="0">
                <a:pos x="connsiteX74884" y="connsiteY74884"/>
              </a:cxn>
              <a:cxn ang="0">
                <a:pos x="connsiteX74885" y="connsiteY74885"/>
              </a:cxn>
              <a:cxn ang="0">
                <a:pos x="connsiteX74886" y="connsiteY74886"/>
              </a:cxn>
              <a:cxn ang="0">
                <a:pos x="connsiteX74887" y="connsiteY74887"/>
              </a:cxn>
              <a:cxn ang="0">
                <a:pos x="connsiteX74888" y="connsiteY74888"/>
              </a:cxn>
              <a:cxn ang="0">
                <a:pos x="connsiteX74889" y="connsiteY74889"/>
              </a:cxn>
              <a:cxn ang="0">
                <a:pos x="connsiteX74890" y="connsiteY74890"/>
              </a:cxn>
              <a:cxn ang="0">
                <a:pos x="connsiteX74891" y="connsiteY74891"/>
              </a:cxn>
              <a:cxn ang="0">
                <a:pos x="connsiteX74892" y="connsiteY74892"/>
              </a:cxn>
              <a:cxn ang="0">
                <a:pos x="connsiteX74893" y="connsiteY74893"/>
              </a:cxn>
              <a:cxn ang="0">
                <a:pos x="connsiteX74894" y="connsiteY74894"/>
              </a:cxn>
              <a:cxn ang="0">
                <a:pos x="connsiteX74895" y="connsiteY74895"/>
              </a:cxn>
              <a:cxn ang="0">
                <a:pos x="connsiteX74896" y="connsiteY74896"/>
              </a:cxn>
              <a:cxn ang="0">
                <a:pos x="connsiteX74897" y="connsiteY74897"/>
              </a:cxn>
              <a:cxn ang="0">
                <a:pos x="connsiteX74898" y="connsiteY74898"/>
              </a:cxn>
              <a:cxn ang="0">
                <a:pos x="connsiteX74899" y="connsiteY74899"/>
              </a:cxn>
              <a:cxn ang="0">
                <a:pos x="connsiteX74900" y="connsiteY74900"/>
              </a:cxn>
              <a:cxn ang="0">
                <a:pos x="connsiteX74901" y="connsiteY74901"/>
              </a:cxn>
              <a:cxn ang="0">
                <a:pos x="connsiteX74902" y="connsiteY74902"/>
              </a:cxn>
              <a:cxn ang="0">
                <a:pos x="connsiteX74903" y="connsiteY74903"/>
              </a:cxn>
              <a:cxn ang="0">
                <a:pos x="connsiteX74904" y="connsiteY74904"/>
              </a:cxn>
              <a:cxn ang="0">
                <a:pos x="connsiteX74905" y="connsiteY74905"/>
              </a:cxn>
              <a:cxn ang="0">
                <a:pos x="connsiteX74906" y="connsiteY74906"/>
              </a:cxn>
              <a:cxn ang="0">
                <a:pos x="connsiteX74907" y="connsiteY74907"/>
              </a:cxn>
              <a:cxn ang="0">
                <a:pos x="connsiteX74908" y="connsiteY74908"/>
              </a:cxn>
              <a:cxn ang="0">
                <a:pos x="connsiteX74909" y="connsiteY74909"/>
              </a:cxn>
              <a:cxn ang="0">
                <a:pos x="connsiteX74910" y="connsiteY74910"/>
              </a:cxn>
              <a:cxn ang="0">
                <a:pos x="connsiteX74911" y="connsiteY74911"/>
              </a:cxn>
              <a:cxn ang="0">
                <a:pos x="connsiteX74912" y="connsiteY74912"/>
              </a:cxn>
              <a:cxn ang="0">
                <a:pos x="connsiteX74913" y="connsiteY74913"/>
              </a:cxn>
              <a:cxn ang="0">
                <a:pos x="connsiteX74914" y="connsiteY74914"/>
              </a:cxn>
              <a:cxn ang="0">
                <a:pos x="connsiteX74915" y="connsiteY74915"/>
              </a:cxn>
              <a:cxn ang="0">
                <a:pos x="connsiteX74916" y="connsiteY74916"/>
              </a:cxn>
              <a:cxn ang="0">
                <a:pos x="connsiteX74917" y="connsiteY74917"/>
              </a:cxn>
              <a:cxn ang="0">
                <a:pos x="connsiteX74918" y="connsiteY74918"/>
              </a:cxn>
              <a:cxn ang="0">
                <a:pos x="connsiteX74919" y="connsiteY74919"/>
              </a:cxn>
              <a:cxn ang="0">
                <a:pos x="connsiteX74920" y="connsiteY74920"/>
              </a:cxn>
              <a:cxn ang="0">
                <a:pos x="connsiteX74921" y="connsiteY74921"/>
              </a:cxn>
              <a:cxn ang="0">
                <a:pos x="connsiteX74922" y="connsiteY74922"/>
              </a:cxn>
              <a:cxn ang="0">
                <a:pos x="connsiteX74923" y="connsiteY74923"/>
              </a:cxn>
              <a:cxn ang="0">
                <a:pos x="connsiteX74924" y="connsiteY74924"/>
              </a:cxn>
              <a:cxn ang="0">
                <a:pos x="connsiteX74925" y="connsiteY74925"/>
              </a:cxn>
              <a:cxn ang="0">
                <a:pos x="connsiteX74926" y="connsiteY74926"/>
              </a:cxn>
              <a:cxn ang="0">
                <a:pos x="connsiteX74927" y="connsiteY74927"/>
              </a:cxn>
              <a:cxn ang="0">
                <a:pos x="connsiteX74928" y="connsiteY74928"/>
              </a:cxn>
              <a:cxn ang="0">
                <a:pos x="connsiteX74929" y="connsiteY74929"/>
              </a:cxn>
              <a:cxn ang="0">
                <a:pos x="connsiteX74930" y="connsiteY74930"/>
              </a:cxn>
              <a:cxn ang="0">
                <a:pos x="connsiteX74931" y="connsiteY74931"/>
              </a:cxn>
              <a:cxn ang="0">
                <a:pos x="connsiteX74932" y="connsiteY74932"/>
              </a:cxn>
              <a:cxn ang="0">
                <a:pos x="connsiteX74933" y="connsiteY74933"/>
              </a:cxn>
              <a:cxn ang="0">
                <a:pos x="connsiteX74934" y="connsiteY74934"/>
              </a:cxn>
              <a:cxn ang="0">
                <a:pos x="connsiteX74935" y="connsiteY74935"/>
              </a:cxn>
              <a:cxn ang="0">
                <a:pos x="connsiteX74936" y="connsiteY74936"/>
              </a:cxn>
              <a:cxn ang="0">
                <a:pos x="connsiteX74937" y="connsiteY74937"/>
              </a:cxn>
              <a:cxn ang="0">
                <a:pos x="connsiteX74938" y="connsiteY74938"/>
              </a:cxn>
              <a:cxn ang="0">
                <a:pos x="connsiteX74939" y="connsiteY74939"/>
              </a:cxn>
              <a:cxn ang="0">
                <a:pos x="connsiteX74940" y="connsiteY74940"/>
              </a:cxn>
              <a:cxn ang="0">
                <a:pos x="connsiteX74941" y="connsiteY74941"/>
              </a:cxn>
              <a:cxn ang="0">
                <a:pos x="connsiteX74942" y="connsiteY74942"/>
              </a:cxn>
              <a:cxn ang="0">
                <a:pos x="connsiteX74943" y="connsiteY74943"/>
              </a:cxn>
              <a:cxn ang="0">
                <a:pos x="connsiteX74944" y="connsiteY74944"/>
              </a:cxn>
              <a:cxn ang="0">
                <a:pos x="connsiteX74945" y="connsiteY74945"/>
              </a:cxn>
              <a:cxn ang="0">
                <a:pos x="connsiteX74946" y="connsiteY74946"/>
              </a:cxn>
              <a:cxn ang="0">
                <a:pos x="connsiteX74947" y="connsiteY74947"/>
              </a:cxn>
              <a:cxn ang="0">
                <a:pos x="connsiteX74948" y="connsiteY74948"/>
              </a:cxn>
              <a:cxn ang="0">
                <a:pos x="connsiteX74949" y="connsiteY74949"/>
              </a:cxn>
              <a:cxn ang="0">
                <a:pos x="connsiteX74950" y="connsiteY74950"/>
              </a:cxn>
              <a:cxn ang="0">
                <a:pos x="connsiteX74951" y="connsiteY74951"/>
              </a:cxn>
              <a:cxn ang="0">
                <a:pos x="connsiteX74952" y="connsiteY74952"/>
              </a:cxn>
              <a:cxn ang="0">
                <a:pos x="connsiteX74953" y="connsiteY74953"/>
              </a:cxn>
              <a:cxn ang="0">
                <a:pos x="connsiteX74954" y="connsiteY74954"/>
              </a:cxn>
              <a:cxn ang="0">
                <a:pos x="connsiteX74955" y="connsiteY74955"/>
              </a:cxn>
              <a:cxn ang="0">
                <a:pos x="connsiteX74956" y="connsiteY74956"/>
              </a:cxn>
              <a:cxn ang="0">
                <a:pos x="connsiteX74957" y="connsiteY74957"/>
              </a:cxn>
              <a:cxn ang="0">
                <a:pos x="connsiteX74958" y="connsiteY74958"/>
              </a:cxn>
              <a:cxn ang="0">
                <a:pos x="connsiteX74959" y="connsiteY74959"/>
              </a:cxn>
              <a:cxn ang="0">
                <a:pos x="connsiteX74960" y="connsiteY74960"/>
              </a:cxn>
              <a:cxn ang="0">
                <a:pos x="connsiteX74961" y="connsiteY74961"/>
              </a:cxn>
              <a:cxn ang="0">
                <a:pos x="connsiteX74962" y="connsiteY74962"/>
              </a:cxn>
              <a:cxn ang="0">
                <a:pos x="connsiteX74963" y="connsiteY74963"/>
              </a:cxn>
              <a:cxn ang="0">
                <a:pos x="connsiteX74964" y="connsiteY74964"/>
              </a:cxn>
              <a:cxn ang="0">
                <a:pos x="connsiteX74965" y="connsiteY74965"/>
              </a:cxn>
              <a:cxn ang="0">
                <a:pos x="connsiteX74966" y="connsiteY74966"/>
              </a:cxn>
              <a:cxn ang="0">
                <a:pos x="connsiteX74967" y="connsiteY74967"/>
              </a:cxn>
              <a:cxn ang="0">
                <a:pos x="connsiteX74968" y="connsiteY74968"/>
              </a:cxn>
              <a:cxn ang="0">
                <a:pos x="connsiteX74969" y="connsiteY74969"/>
              </a:cxn>
              <a:cxn ang="0">
                <a:pos x="connsiteX74970" y="connsiteY74970"/>
              </a:cxn>
              <a:cxn ang="0">
                <a:pos x="connsiteX74971" y="connsiteY74971"/>
              </a:cxn>
              <a:cxn ang="0">
                <a:pos x="connsiteX74972" y="connsiteY74972"/>
              </a:cxn>
              <a:cxn ang="0">
                <a:pos x="connsiteX74973" y="connsiteY74973"/>
              </a:cxn>
              <a:cxn ang="0">
                <a:pos x="connsiteX74974" y="connsiteY74974"/>
              </a:cxn>
              <a:cxn ang="0">
                <a:pos x="connsiteX74975" y="connsiteY74975"/>
              </a:cxn>
              <a:cxn ang="0">
                <a:pos x="connsiteX74976" y="connsiteY74976"/>
              </a:cxn>
              <a:cxn ang="0">
                <a:pos x="connsiteX74977" y="connsiteY74977"/>
              </a:cxn>
              <a:cxn ang="0">
                <a:pos x="connsiteX74978" y="connsiteY74978"/>
              </a:cxn>
              <a:cxn ang="0">
                <a:pos x="connsiteX74979" y="connsiteY74979"/>
              </a:cxn>
              <a:cxn ang="0">
                <a:pos x="connsiteX74980" y="connsiteY74980"/>
              </a:cxn>
              <a:cxn ang="0">
                <a:pos x="connsiteX74981" y="connsiteY74981"/>
              </a:cxn>
              <a:cxn ang="0">
                <a:pos x="connsiteX74982" y="connsiteY74982"/>
              </a:cxn>
              <a:cxn ang="0">
                <a:pos x="connsiteX74983" y="connsiteY74983"/>
              </a:cxn>
              <a:cxn ang="0">
                <a:pos x="connsiteX74984" y="connsiteY74984"/>
              </a:cxn>
              <a:cxn ang="0">
                <a:pos x="connsiteX74985" y="connsiteY74985"/>
              </a:cxn>
              <a:cxn ang="0">
                <a:pos x="connsiteX74986" y="connsiteY74986"/>
              </a:cxn>
              <a:cxn ang="0">
                <a:pos x="connsiteX74987" y="connsiteY74987"/>
              </a:cxn>
              <a:cxn ang="0">
                <a:pos x="connsiteX74988" y="connsiteY74988"/>
              </a:cxn>
              <a:cxn ang="0">
                <a:pos x="connsiteX74989" y="connsiteY74989"/>
              </a:cxn>
              <a:cxn ang="0">
                <a:pos x="connsiteX74990" y="connsiteY74990"/>
              </a:cxn>
              <a:cxn ang="0">
                <a:pos x="connsiteX74991" y="connsiteY74991"/>
              </a:cxn>
              <a:cxn ang="0">
                <a:pos x="connsiteX74992" y="connsiteY74992"/>
              </a:cxn>
              <a:cxn ang="0">
                <a:pos x="connsiteX74993" y="connsiteY74993"/>
              </a:cxn>
              <a:cxn ang="0">
                <a:pos x="connsiteX74994" y="connsiteY74994"/>
              </a:cxn>
              <a:cxn ang="0">
                <a:pos x="connsiteX74995" y="connsiteY74995"/>
              </a:cxn>
              <a:cxn ang="0">
                <a:pos x="connsiteX74996" y="connsiteY74996"/>
              </a:cxn>
              <a:cxn ang="0">
                <a:pos x="connsiteX74997" y="connsiteY74997"/>
              </a:cxn>
              <a:cxn ang="0">
                <a:pos x="connsiteX74998" y="connsiteY74998"/>
              </a:cxn>
              <a:cxn ang="0">
                <a:pos x="connsiteX74999" y="connsiteY74999"/>
              </a:cxn>
              <a:cxn ang="0">
                <a:pos x="connsiteX75000" y="connsiteY75000"/>
              </a:cxn>
              <a:cxn ang="0">
                <a:pos x="connsiteX75001" y="connsiteY75001"/>
              </a:cxn>
              <a:cxn ang="0">
                <a:pos x="connsiteX75002" y="connsiteY75002"/>
              </a:cxn>
              <a:cxn ang="0">
                <a:pos x="connsiteX75003" y="connsiteY75003"/>
              </a:cxn>
              <a:cxn ang="0">
                <a:pos x="connsiteX75004" y="connsiteY75004"/>
              </a:cxn>
              <a:cxn ang="0">
                <a:pos x="connsiteX75005" y="connsiteY75005"/>
              </a:cxn>
              <a:cxn ang="0">
                <a:pos x="connsiteX75006" y="connsiteY75006"/>
              </a:cxn>
              <a:cxn ang="0">
                <a:pos x="connsiteX75007" y="connsiteY75007"/>
              </a:cxn>
              <a:cxn ang="0">
                <a:pos x="connsiteX75008" y="connsiteY75008"/>
              </a:cxn>
              <a:cxn ang="0">
                <a:pos x="connsiteX75009" y="connsiteY75009"/>
              </a:cxn>
              <a:cxn ang="0">
                <a:pos x="connsiteX75010" y="connsiteY75010"/>
              </a:cxn>
              <a:cxn ang="0">
                <a:pos x="connsiteX75011" y="connsiteY75011"/>
              </a:cxn>
              <a:cxn ang="0">
                <a:pos x="connsiteX75012" y="connsiteY75012"/>
              </a:cxn>
              <a:cxn ang="0">
                <a:pos x="connsiteX75013" y="connsiteY75013"/>
              </a:cxn>
              <a:cxn ang="0">
                <a:pos x="connsiteX75014" y="connsiteY75014"/>
              </a:cxn>
              <a:cxn ang="0">
                <a:pos x="connsiteX75015" y="connsiteY75015"/>
              </a:cxn>
              <a:cxn ang="0">
                <a:pos x="connsiteX75016" y="connsiteY75016"/>
              </a:cxn>
              <a:cxn ang="0">
                <a:pos x="connsiteX75017" y="connsiteY75017"/>
              </a:cxn>
              <a:cxn ang="0">
                <a:pos x="connsiteX75018" y="connsiteY75018"/>
              </a:cxn>
              <a:cxn ang="0">
                <a:pos x="connsiteX75019" y="connsiteY75019"/>
              </a:cxn>
              <a:cxn ang="0">
                <a:pos x="connsiteX75020" y="connsiteY75020"/>
              </a:cxn>
              <a:cxn ang="0">
                <a:pos x="connsiteX75021" y="connsiteY75021"/>
              </a:cxn>
              <a:cxn ang="0">
                <a:pos x="connsiteX75022" y="connsiteY75022"/>
              </a:cxn>
              <a:cxn ang="0">
                <a:pos x="connsiteX75023" y="connsiteY75023"/>
              </a:cxn>
              <a:cxn ang="0">
                <a:pos x="connsiteX75024" y="connsiteY75024"/>
              </a:cxn>
              <a:cxn ang="0">
                <a:pos x="connsiteX75025" y="connsiteY75025"/>
              </a:cxn>
              <a:cxn ang="0">
                <a:pos x="connsiteX75026" y="connsiteY75026"/>
              </a:cxn>
              <a:cxn ang="0">
                <a:pos x="connsiteX75027" y="connsiteY75027"/>
              </a:cxn>
              <a:cxn ang="0">
                <a:pos x="connsiteX75028" y="connsiteY75028"/>
              </a:cxn>
              <a:cxn ang="0">
                <a:pos x="connsiteX75029" y="connsiteY75029"/>
              </a:cxn>
              <a:cxn ang="0">
                <a:pos x="connsiteX75030" y="connsiteY75030"/>
              </a:cxn>
              <a:cxn ang="0">
                <a:pos x="connsiteX75031" y="connsiteY75031"/>
              </a:cxn>
              <a:cxn ang="0">
                <a:pos x="connsiteX75032" y="connsiteY75032"/>
              </a:cxn>
              <a:cxn ang="0">
                <a:pos x="connsiteX75033" y="connsiteY75033"/>
              </a:cxn>
              <a:cxn ang="0">
                <a:pos x="connsiteX75034" y="connsiteY75034"/>
              </a:cxn>
              <a:cxn ang="0">
                <a:pos x="connsiteX75035" y="connsiteY75035"/>
              </a:cxn>
              <a:cxn ang="0">
                <a:pos x="connsiteX75036" y="connsiteY75036"/>
              </a:cxn>
              <a:cxn ang="0">
                <a:pos x="connsiteX75037" y="connsiteY75037"/>
              </a:cxn>
              <a:cxn ang="0">
                <a:pos x="connsiteX75038" y="connsiteY75038"/>
              </a:cxn>
              <a:cxn ang="0">
                <a:pos x="connsiteX75039" y="connsiteY75039"/>
              </a:cxn>
              <a:cxn ang="0">
                <a:pos x="connsiteX75040" y="connsiteY75040"/>
              </a:cxn>
              <a:cxn ang="0">
                <a:pos x="connsiteX75041" y="connsiteY75041"/>
              </a:cxn>
              <a:cxn ang="0">
                <a:pos x="connsiteX75042" y="connsiteY75042"/>
              </a:cxn>
              <a:cxn ang="0">
                <a:pos x="connsiteX75043" y="connsiteY75043"/>
              </a:cxn>
              <a:cxn ang="0">
                <a:pos x="connsiteX75044" y="connsiteY75044"/>
              </a:cxn>
              <a:cxn ang="0">
                <a:pos x="connsiteX75045" y="connsiteY75045"/>
              </a:cxn>
              <a:cxn ang="0">
                <a:pos x="connsiteX75046" y="connsiteY75046"/>
              </a:cxn>
              <a:cxn ang="0">
                <a:pos x="connsiteX75047" y="connsiteY75047"/>
              </a:cxn>
              <a:cxn ang="0">
                <a:pos x="connsiteX75048" y="connsiteY75048"/>
              </a:cxn>
              <a:cxn ang="0">
                <a:pos x="connsiteX75049" y="connsiteY75049"/>
              </a:cxn>
              <a:cxn ang="0">
                <a:pos x="connsiteX75050" y="connsiteY75050"/>
              </a:cxn>
              <a:cxn ang="0">
                <a:pos x="connsiteX75051" y="connsiteY75051"/>
              </a:cxn>
              <a:cxn ang="0">
                <a:pos x="connsiteX75052" y="connsiteY75052"/>
              </a:cxn>
              <a:cxn ang="0">
                <a:pos x="connsiteX75053" y="connsiteY75053"/>
              </a:cxn>
              <a:cxn ang="0">
                <a:pos x="connsiteX75054" y="connsiteY75054"/>
              </a:cxn>
              <a:cxn ang="0">
                <a:pos x="connsiteX75055" y="connsiteY75055"/>
              </a:cxn>
              <a:cxn ang="0">
                <a:pos x="connsiteX75056" y="connsiteY75056"/>
              </a:cxn>
              <a:cxn ang="0">
                <a:pos x="connsiteX75057" y="connsiteY75057"/>
              </a:cxn>
              <a:cxn ang="0">
                <a:pos x="connsiteX75058" y="connsiteY75058"/>
              </a:cxn>
              <a:cxn ang="0">
                <a:pos x="connsiteX75059" y="connsiteY75059"/>
              </a:cxn>
              <a:cxn ang="0">
                <a:pos x="connsiteX75060" y="connsiteY75060"/>
              </a:cxn>
              <a:cxn ang="0">
                <a:pos x="connsiteX75061" y="connsiteY75061"/>
              </a:cxn>
              <a:cxn ang="0">
                <a:pos x="connsiteX75062" y="connsiteY75062"/>
              </a:cxn>
              <a:cxn ang="0">
                <a:pos x="connsiteX75063" y="connsiteY75063"/>
              </a:cxn>
              <a:cxn ang="0">
                <a:pos x="connsiteX75064" y="connsiteY75064"/>
              </a:cxn>
              <a:cxn ang="0">
                <a:pos x="connsiteX75065" y="connsiteY75065"/>
              </a:cxn>
              <a:cxn ang="0">
                <a:pos x="connsiteX75066" y="connsiteY75066"/>
              </a:cxn>
              <a:cxn ang="0">
                <a:pos x="connsiteX75067" y="connsiteY75067"/>
              </a:cxn>
              <a:cxn ang="0">
                <a:pos x="connsiteX75068" y="connsiteY75068"/>
              </a:cxn>
              <a:cxn ang="0">
                <a:pos x="connsiteX75069" y="connsiteY75069"/>
              </a:cxn>
              <a:cxn ang="0">
                <a:pos x="connsiteX75070" y="connsiteY75070"/>
              </a:cxn>
              <a:cxn ang="0">
                <a:pos x="connsiteX75071" y="connsiteY75071"/>
              </a:cxn>
              <a:cxn ang="0">
                <a:pos x="connsiteX75072" y="connsiteY75072"/>
              </a:cxn>
              <a:cxn ang="0">
                <a:pos x="connsiteX75073" y="connsiteY75073"/>
              </a:cxn>
              <a:cxn ang="0">
                <a:pos x="connsiteX75074" y="connsiteY75074"/>
              </a:cxn>
              <a:cxn ang="0">
                <a:pos x="connsiteX75075" y="connsiteY75075"/>
              </a:cxn>
              <a:cxn ang="0">
                <a:pos x="connsiteX75076" y="connsiteY75076"/>
              </a:cxn>
              <a:cxn ang="0">
                <a:pos x="connsiteX75077" y="connsiteY75077"/>
              </a:cxn>
              <a:cxn ang="0">
                <a:pos x="connsiteX75078" y="connsiteY75078"/>
              </a:cxn>
              <a:cxn ang="0">
                <a:pos x="connsiteX75079" y="connsiteY75079"/>
              </a:cxn>
              <a:cxn ang="0">
                <a:pos x="connsiteX75080" y="connsiteY75080"/>
              </a:cxn>
              <a:cxn ang="0">
                <a:pos x="connsiteX75081" y="connsiteY75081"/>
              </a:cxn>
              <a:cxn ang="0">
                <a:pos x="connsiteX75082" y="connsiteY75082"/>
              </a:cxn>
              <a:cxn ang="0">
                <a:pos x="connsiteX75083" y="connsiteY75083"/>
              </a:cxn>
              <a:cxn ang="0">
                <a:pos x="connsiteX75084" y="connsiteY75084"/>
              </a:cxn>
              <a:cxn ang="0">
                <a:pos x="connsiteX75085" y="connsiteY75085"/>
              </a:cxn>
              <a:cxn ang="0">
                <a:pos x="connsiteX75086" y="connsiteY75086"/>
              </a:cxn>
              <a:cxn ang="0">
                <a:pos x="connsiteX75087" y="connsiteY75087"/>
              </a:cxn>
              <a:cxn ang="0">
                <a:pos x="connsiteX75088" y="connsiteY75088"/>
              </a:cxn>
              <a:cxn ang="0">
                <a:pos x="connsiteX75089" y="connsiteY75089"/>
              </a:cxn>
              <a:cxn ang="0">
                <a:pos x="connsiteX75090" y="connsiteY75090"/>
              </a:cxn>
              <a:cxn ang="0">
                <a:pos x="connsiteX75091" y="connsiteY75091"/>
              </a:cxn>
              <a:cxn ang="0">
                <a:pos x="connsiteX75092" y="connsiteY75092"/>
              </a:cxn>
              <a:cxn ang="0">
                <a:pos x="connsiteX75093" y="connsiteY75093"/>
              </a:cxn>
              <a:cxn ang="0">
                <a:pos x="connsiteX75094" y="connsiteY75094"/>
              </a:cxn>
              <a:cxn ang="0">
                <a:pos x="connsiteX75095" y="connsiteY75095"/>
              </a:cxn>
              <a:cxn ang="0">
                <a:pos x="connsiteX75096" y="connsiteY75096"/>
              </a:cxn>
              <a:cxn ang="0">
                <a:pos x="connsiteX75097" y="connsiteY75097"/>
              </a:cxn>
              <a:cxn ang="0">
                <a:pos x="connsiteX75098" y="connsiteY75098"/>
              </a:cxn>
              <a:cxn ang="0">
                <a:pos x="connsiteX75099" y="connsiteY75099"/>
              </a:cxn>
              <a:cxn ang="0">
                <a:pos x="connsiteX75100" y="connsiteY75100"/>
              </a:cxn>
              <a:cxn ang="0">
                <a:pos x="connsiteX75101" y="connsiteY75101"/>
              </a:cxn>
              <a:cxn ang="0">
                <a:pos x="connsiteX75102" y="connsiteY75102"/>
              </a:cxn>
              <a:cxn ang="0">
                <a:pos x="connsiteX75103" y="connsiteY75103"/>
              </a:cxn>
              <a:cxn ang="0">
                <a:pos x="connsiteX75104" y="connsiteY75104"/>
              </a:cxn>
              <a:cxn ang="0">
                <a:pos x="connsiteX75105" y="connsiteY75105"/>
              </a:cxn>
              <a:cxn ang="0">
                <a:pos x="connsiteX75106" y="connsiteY75106"/>
              </a:cxn>
              <a:cxn ang="0">
                <a:pos x="connsiteX75107" y="connsiteY75107"/>
              </a:cxn>
              <a:cxn ang="0">
                <a:pos x="connsiteX75108" y="connsiteY75108"/>
              </a:cxn>
              <a:cxn ang="0">
                <a:pos x="connsiteX75109" y="connsiteY75109"/>
              </a:cxn>
              <a:cxn ang="0">
                <a:pos x="connsiteX75110" y="connsiteY75110"/>
              </a:cxn>
              <a:cxn ang="0">
                <a:pos x="connsiteX75111" y="connsiteY75111"/>
              </a:cxn>
              <a:cxn ang="0">
                <a:pos x="connsiteX75112" y="connsiteY75112"/>
              </a:cxn>
              <a:cxn ang="0">
                <a:pos x="connsiteX75113" y="connsiteY75113"/>
              </a:cxn>
              <a:cxn ang="0">
                <a:pos x="connsiteX75114" y="connsiteY75114"/>
              </a:cxn>
              <a:cxn ang="0">
                <a:pos x="connsiteX75115" y="connsiteY75115"/>
              </a:cxn>
              <a:cxn ang="0">
                <a:pos x="connsiteX75116" y="connsiteY75116"/>
              </a:cxn>
              <a:cxn ang="0">
                <a:pos x="connsiteX75117" y="connsiteY75117"/>
              </a:cxn>
              <a:cxn ang="0">
                <a:pos x="connsiteX75118" y="connsiteY75118"/>
              </a:cxn>
              <a:cxn ang="0">
                <a:pos x="connsiteX75119" y="connsiteY75119"/>
              </a:cxn>
              <a:cxn ang="0">
                <a:pos x="connsiteX75120" y="connsiteY75120"/>
              </a:cxn>
              <a:cxn ang="0">
                <a:pos x="connsiteX75121" y="connsiteY75121"/>
              </a:cxn>
              <a:cxn ang="0">
                <a:pos x="connsiteX75122" y="connsiteY75122"/>
              </a:cxn>
              <a:cxn ang="0">
                <a:pos x="connsiteX75123" y="connsiteY75123"/>
              </a:cxn>
              <a:cxn ang="0">
                <a:pos x="connsiteX75124" y="connsiteY75124"/>
              </a:cxn>
              <a:cxn ang="0">
                <a:pos x="connsiteX75125" y="connsiteY75125"/>
              </a:cxn>
              <a:cxn ang="0">
                <a:pos x="connsiteX75126" y="connsiteY75126"/>
              </a:cxn>
              <a:cxn ang="0">
                <a:pos x="connsiteX75127" y="connsiteY75127"/>
              </a:cxn>
              <a:cxn ang="0">
                <a:pos x="connsiteX75128" y="connsiteY75128"/>
              </a:cxn>
              <a:cxn ang="0">
                <a:pos x="connsiteX75129" y="connsiteY75129"/>
              </a:cxn>
              <a:cxn ang="0">
                <a:pos x="connsiteX75130" y="connsiteY75130"/>
              </a:cxn>
              <a:cxn ang="0">
                <a:pos x="connsiteX75131" y="connsiteY75131"/>
              </a:cxn>
              <a:cxn ang="0">
                <a:pos x="connsiteX75132" y="connsiteY75132"/>
              </a:cxn>
              <a:cxn ang="0">
                <a:pos x="connsiteX75133" y="connsiteY75133"/>
              </a:cxn>
              <a:cxn ang="0">
                <a:pos x="connsiteX75134" y="connsiteY75134"/>
              </a:cxn>
              <a:cxn ang="0">
                <a:pos x="connsiteX75135" y="connsiteY75135"/>
              </a:cxn>
              <a:cxn ang="0">
                <a:pos x="connsiteX75136" y="connsiteY75136"/>
              </a:cxn>
              <a:cxn ang="0">
                <a:pos x="connsiteX75137" y="connsiteY75137"/>
              </a:cxn>
              <a:cxn ang="0">
                <a:pos x="connsiteX75138" y="connsiteY75138"/>
              </a:cxn>
              <a:cxn ang="0">
                <a:pos x="connsiteX75139" y="connsiteY75139"/>
              </a:cxn>
              <a:cxn ang="0">
                <a:pos x="connsiteX75140" y="connsiteY75140"/>
              </a:cxn>
              <a:cxn ang="0">
                <a:pos x="connsiteX75141" y="connsiteY75141"/>
              </a:cxn>
              <a:cxn ang="0">
                <a:pos x="connsiteX75142" y="connsiteY75142"/>
              </a:cxn>
              <a:cxn ang="0">
                <a:pos x="connsiteX75143" y="connsiteY75143"/>
              </a:cxn>
              <a:cxn ang="0">
                <a:pos x="connsiteX75144" y="connsiteY75144"/>
              </a:cxn>
              <a:cxn ang="0">
                <a:pos x="connsiteX75145" y="connsiteY75145"/>
              </a:cxn>
              <a:cxn ang="0">
                <a:pos x="connsiteX75146" y="connsiteY75146"/>
              </a:cxn>
              <a:cxn ang="0">
                <a:pos x="connsiteX75147" y="connsiteY75147"/>
              </a:cxn>
              <a:cxn ang="0">
                <a:pos x="connsiteX75148" y="connsiteY75148"/>
              </a:cxn>
              <a:cxn ang="0">
                <a:pos x="connsiteX75149" y="connsiteY75149"/>
              </a:cxn>
              <a:cxn ang="0">
                <a:pos x="connsiteX75150" y="connsiteY75150"/>
              </a:cxn>
              <a:cxn ang="0">
                <a:pos x="connsiteX75151" y="connsiteY75151"/>
              </a:cxn>
              <a:cxn ang="0">
                <a:pos x="connsiteX75152" y="connsiteY75152"/>
              </a:cxn>
              <a:cxn ang="0">
                <a:pos x="connsiteX75153" y="connsiteY75153"/>
              </a:cxn>
              <a:cxn ang="0">
                <a:pos x="connsiteX75154" y="connsiteY75154"/>
              </a:cxn>
              <a:cxn ang="0">
                <a:pos x="connsiteX75155" y="connsiteY75155"/>
              </a:cxn>
              <a:cxn ang="0">
                <a:pos x="connsiteX75156" y="connsiteY75156"/>
              </a:cxn>
              <a:cxn ang="0">
                <a:pos x="connsiteX75157" y="connsiteY75157"/>
              </a:cxn>
              <a:cxn ang="0">
                <a:pos x="connsiteX75158" y="connsiteY75158"/>
              </a:cxn>
              <a:cxn ang="0">
                <a:pos x="connsiteX75159" y="connsiteY75159"/>
              </a:cxn>
              <a:cxn ang="0">
                <a:pos x="connsiteX75160" y="connsiteY75160"/>
              </a:cxn>
              <a:cxn ang="0">
                <a:pos x="connsiteX75161" y="connsiteY75161"/>
              </a:cxn>
              <a:cxn ang="0">
                <a:pos x="connsiteX75162" y="connsiteY75162"/>
              </a:cxn>
              <a:cxn ang="0">
                <a:pos x="connsiteX75163" y="connsiteY75163"/>
              </a:cxn>
              <a:cxn ang="0">
                <a:pos x="connsiteX75164" y="connsiteY75164"/>
              </a:cxn>
              <a:cxn ang="0">
                <a:pos x="connsiteX75165" y="connsiteY75165"/>
              </a:cxn>
              <a:cxn ang="0">
                <a:pos x="connsiteX75166" y="connsiteY75166"/>
              </a:cxn>
              <a:cxn ang="0">
                <a:pos x="connsiteX75167" y="connsiteY75167"/>
              </a:cxn>
              <a:cxn ang="0">
                <a:pos x="connsiteX75168" y="connsiteY75168"/>
              </a:cxn>
              <a:cxn ang="0">
                <a:pos x="connsiteX75169" y="connsiteY75169"/>
              </a:cxn>
              <a:cxn ang="0">
                <a:pos x="connsiteX75170" y="connsiteY75170"/>
              </a:cxn>
              <a:cxn ang="0">
                <a:pos x="connsiteX75171" y="connsiteY75171"/>
              </a:cxn>
              <a:cxn ang="0">
                <a:pos x="connsiteX75172" y="connsiteY75172"/>
              </a:cxn>
              <a:cxn ang="0">
                <a:pos x="connsiteX75173" y="connsiteY75173"/>
              </a:cxn>
              <a:cxn ang="0">
                <a:pos x="connsiteX75174" y="connsiteY75174"/>
              </a:cxn>
              <a:cxn ang="0">
                <a:pos x="connsiteX75175" y="connsiteY75175"/>
              </a:cxn>
              <a:cxn ang="0">
                <a:pos x="connsiteX75176" y="connsiteY75176"/>
              </a:cxn>
              <a:cxn ang="0">
                <a:pos x="connsiteX75177" y="connsiteY75177"/>
              </a:cxn>
              <a:cxn ang="0">
                <a:pos x="connsiteX75178" y="connsiteY75178"/>
              </a:cxn>
              <a:cxn ang="0">
                <a:pos x="connsiteX75179" y="connsiteY75179"/>
              </a:cxn>
              <a:cxn ang="0">
                <a:pos x="connsiteX75180" y="connsiteY75180"/>
              </a:cxn>
              <a:cxn ang="0">
                <a:pos x="connsiteX75181" y="connsiteY75181"/>
              </a:cxn>
              <a:cxn ang="0">
                <a:pos x="connsiteX75182" y="connsiteY75182"/>
              </a:cxn>
              <a:cxn ang="0">
                <a:pos x="connsiteX75183" y="connsiteY75183"/>
              </a:cxn>
              <a:cxn ang="0">
                <a:pos x="connsiteX75184" y="connsiteY75184"/>
              </a:cxn>
              <a:cxn ang="0">
                <a:pos x="connsiteX75185" y="connsiteY75185"/>
              </a:cxn>
              <a:cxn ang="0">
                <a:pos x="connsiteX75186" y="connsiteY75186"/>
              </a:cxn>
              <a:cxn ang="0">
                <a:pos x="connsiteX75187" y="connsiteY75187"/>
              </a:cxn>
              <a:cxn ang="0">
                <a:pos x="connsiteX75188" y="connsiteY75188"/>
              </a:cxn>
              <a:cxn ang="0">
                <a:pos x="connsiteX75189" y="connsiteY75189"/>
              </a:cxn>
              <a:cxn ang="0">
                <a:pos x="connsiteX75190" y="connsiteY75190"/>
              </a:cxn>
              <a:cxn ang="0">
                <a:pos x="connsiteX75191" y="connsiteY75191"/>
              </a:cxn>
              <a:cxn ang="0">
                <a:pos x="connsiteX75192" y="connsiteY75192"/>
              </a:cxn>
              <a:cxn ang="0">
                <a:pos x="connsiteX75193" y="connsiteY75193"/>
              </a:cxn>
              <a:cxn ang="0">
                <a:pos x="connsiteX75194" y="connsiteY75194"/>
              </a:cxn>
              <a:cxn ang="0">
                <a:pos x="connsiteX75195" y="connsiteY75195"/>
              </a:cxn>
              <a:cxn ang="0">
                <a:pos x="connsiteX75196" y="connsiteY75196"/>
              </a:cxn>
              <a:cxn ang="0">
                <a:pos x="connsiteX75197" y="connsiteY75197"/>
              </a:cxn>
              <a:cxn ang="0">
                <a:pos x="connsiteX75198" y="connsiteY75198"/>
              </a:cxn>
              <a:cxn ang="0">
                <a:pos x="connsiteX75199" y="connsiteY75199"/>
              </a:cxn>
              <a:cxn ang="0">
                <a:pos x="connsiteX75200" y="connsiteY75200"/>
              </a:cxn>
              <a:cxn ang="0">
                <a:pos x="connsiteX75201" y="connsiteY75201"/>
              </a:cxn>
              <a:cxn ang="0">
                <a:pos x="connsiteX75202" y="connsiteY75202"/>
              </a:cxn>
              <a:cxn ang="0">
                <a:pos x="connsiteX75203" y="connsiteY75203"/>
              </a:cxn>
              <a:cxn ang="0">
                <a:pos x="connsiteX75204" y="connsiteY75204"/>
              </a:cxn>
              <a:cxn ang="0">
                <a:pos x="connsiteX75205" y="connsiteY75205"/>
              </a:cxn>
              <a:cxn ang="0">
                <a:pos x="connsiteX75206" y="connsiteY75206"/>
              </a:cxn>
              <a:cxn ang="0">
                <a:pos x="connsiteX75207" y="connsiteY75207"/>
              </a:cxn>
              <a:cxn ang="0">
                <a:pos x="connsiteX75208" y="connsiteY75208"/>
              </a:cxn>
              <a:cxn ang="0">
                <a:pos x="connsiteX75209" y="connsiteY75209"/>
              </a:cxn>
              <a:cxn ang="0">
                <a:pos x="connsiteX75210" y="connsiteY75210"/>
              </a:cxn>
              <a:cxn ang="0">
                <a:pos x="connsiteX75211" y="connsiteY75211"/>
              </a:cxn>
              <a:cxn ang="0">
                <a:pos x="connsiteX75212" y="connsiteY75212"/>
              </a:cxn>
              <a:cxn ang="0">
                <a:pos x="connsiteX75213" y="connsiteY75213"/>
              </a:cxn>
              <a:cxn ang="0">
                <a:pos x="connsiteX75214" y="connsiteY75214"/>
              </a:cxn>
              <a:cxn ang="0">
                <a:pos x="connsiteX75215" y="connsiteY75215"/>
              </a:cxn>
              <a:cxn ang="0">
                <a:pos x="connsiteX75216" y="connsiteY75216"/>
              </a:cxn>
              <a:cxn ang="0">
                <a:pos x="connsiteX75217" y="connsiteY75217"/>
              </a:cxn>
              <a:cxn ang="0">
                <a:pos x="connsiteX75218" y="connsiteY75218"/>
              </a:cxn>
              <a:cxn ang="0">
                <a:pos x="connsiteX75219" y="connsiteY75219"/>
              </a:cxn>
              <a:cxn ang="0">
                <a:pos x="connsiteX75220" y="connsiteY75220"/>
              </a:cxn>
              <a:cxn ang="0">
                <a:pos x="connsiteX75221" y="connsiteY75221"/>
              </a:cxn>
              <a:cxn ang="0">
                <a:pos x="connsiteX75222" y="connsiteY75222"/>
              </a:cxn>
              <a:cxn ang="0">
                <a:pos x="connsiteX75223" y="connsiteY75223"/>
              </a:cxn>
              <a:cxn ang="0">
                <a:pos x="connsiteX75224" y="connsiteY75224"/>
              </a:cxn>
              <a:cxn ang="0">
                <a:pos x="connsiteX75225" y="connsiteY75225"/>
              </a:cxn>
              <a:cxn ang="0">
                <a:pos x="connsiteX75226" y="connsiteY75226"/>
              </a:cxn>
              <a:cxn ang="0">
                <a:pos x="connsiteX75227" y="connsiteY75227"/>
              </a:cxn>
              <a:cxn ang="0">
                <a:pos x="connsiteX75228" y="connsiteY75228"/>
              </a:cxn>
              <a:cxn ang="0">
                <a:pos x="connsiteX75229" y="connsiteY75229"/>
              </a:cxn>
              <a:cxn ang="0">
                <a:pos x="connsiteX75230" y="connsiteY75230"/>
              </a:cxn>
              <a:cxn ang="0">
                <a:pos x="connsiteX75231" y="connsiteY75231"/>
              </a:cxn>
              <a:cxn ang="0">
                <a:pos x="connsiteX75232" y="connsiteY75232"/>
              </a:cxn>
              <a:cxn ang="0">
                <a:pos x="connsiteX75233" y="connsiteY75233"/>
              </a:cxn>
              <a:cxn ang="0">
                <a:pos x="connsiteX75234" y="connsiteY75234"/>
              </a:cxn>
              <a:cxn ang="0">
                <a:pos x="connsiteX75235" y="connsiteY75235"/>
              </a:cxn>
              <a:cxn ang="0">
                <a:pos x="connsiteX75236" y="connsiteY75236"/>
              </a:cxn>
              <a:cxn ang="0">
                <a:pos x="connsiteX75237" y="connsiteY75237"/>
              </a:cxn>
              <a:cxn ang="0">
                <a:pos x="connsiteX75238" y="connsiteY75238"/>
              </a:cxn>
              <a:cxn ang="0">
                <a:pos x="connsiteX75239" y="connsiteY75239"/>
              </a:cxn>
              <a:cxn ang="0">
                <a:pos x="connsiteX75240" y="connsiteY75240"/>
              </a:cxn>
              <a:cxn ang="0">
                <a:pos x="connsiteX75241" y="connsiteY75241"/>
              </a:cxn>
              <a:cxn ang="0">
                <a:pos x="connsiteX75242" y="connsiteY75242"/>
              </a:cxn>
              <a:cxn ang="0">
                <a:pos x="connsiteX75243" y="connsiteY75243"/>
              </a:cxn>
              <a:cxn ang="0">
                <a:pos x="connsiteX75244" y="connsiteY75244"/>
              </a:cxn>
              <a:cxn ang="0">
                <a:pos x="connsiteX75245" y="connsiteY75245"/>
              </a:cxn>
              <a:cxn ang="0">
                <a:pos x="connsiteX75246" y="connsiteY75246"/>
              </a:cxn>
              <a:cxn ang="0">
                <a:pos x="connsiteX75247" y="connsiteY75247"/>
              </a:cxn>
              <a:cxn ang="0">
                <a:pos x="connsiteX75248" y="connsiteY75248"/>
              </a:cxn>
              <a:cxn ang="0">
                <a:pos x="connsiteX75249" y="connsiteY75249"/>
              </a:cxn>
              <a:cxn ang="0">
                <a:pos x="connsiteX75250" y="connsiteY75250"/>
              </a:cxn>
              <a:cxn ang="0">
                <a:pos x="connsiteX75251" y="connsiteY75251"/>
              </a:cxn>
              <a:cxn ang="0">
                <a:pos x="connsiteX75252" y="connsiteY75252"/>
              </a:cxn>
              <a:cxn ang="0">
                <a:pos x="connsiteX75253" y="connsiteY75253"/>
              </a:cxn>
              <a:cxn ang="0">
                <a:pos x="connsiteX75254" y="connsiteY75254"/>
              </a:cxn>
              <a:cxn ang="0">
                <a:pos x="connsiteX75255" y="connsiteY75255"/>
              </a:cxn>
              <a:cxn ang="0">
                <a:pos x="connsiteX75256" y="connsiteY75256"/>
              </a:cxn>
              <a:cxn ang="0">
                <a:pos x="connsiteX75257" y="connsiteY75257"/>
              </a:cxn>
              <a:cxn ang="0">
                <a:pos x="connsiteX75258" y="connsiteY75258"/>
              </a:cxn>
              <a:cxn ang="0">
                <a:pos x="connsiteX75259" y="connsiteY75259"/>
              </a:cxn>
              <a:cxn ang="0">
                <a:pos x="connsiteX75260" y="connsiteY75260"/>
              </a:cxn>
              <a:cxn ang="0">
                <a:pos x="connsiteX75261" y="connsiteY75261"/>
              </a:cxn>
              <a:cxn ang="0">
                <a:pos x="connsiteX75262" y="connsiteY75262"/>
              </a:cxn>
              <a:cxn ang="0">
                <a:pos x="connsiteX75263" y="connsiteY75263"/>
              </a:cxn>
              <a:cxn ang="0">
                <a:pos x="connsiteX75264" y="connsiteY75264"/>
              </a:cxn>
              <a:cxn ang="0">
                <a:pos x="connsiteX75265" y="connsiteY75265"/>
              </a:cxn>
              <a:cxn ang="0">
                <a:pos x="connsiteX75266" y="connsiteY75266"/>
              </a:cxn>
              <a:cxn ang="0">
                <a:pos x="connsiteX75267" y="connsiteY75267"/>
              </a:cxn>
              <a:cxn ang="0">
                <a:pos x="connsiteX75268" y="connsiteY75268"/>
              </a:cxn>
              <a:cxn ang="0">
                <a:pos x="connsiteX75269" y="connsiteY75269"/>
              </a:cxn>
              <a:cxn ang="0">
                <a:pos x="connsiteX75270" y="connsiteY75270"/>
              </a:cxn>
              <a:cxn ang="0">
                <a:pos x="connsiteX75271" y="connsiteY75271"/>
              </a:cxn>
              <a:cxn ang="0">
                <a:pos x="connsiteX75272" y="connsiteY75272"/>
              </a:cxn>
              <a:cxn ang="0">
                <a:pos x="connsiteX75273" y="connsiteY75273"/>
              </a:cxn>
              <a:cxn ang="0">
                <a:pos x="connsiteX75274" y="connsiteY75274"/>
              </a:cxn>
              <a:cxn ang="0">
                <a:pos x="connsiteX75275" y="connsiteY75275"/>
              </a:cxn>
              <a:cxn ang="0">
                <a:pos x="connsiteX75276" y="connsiteY75276"/>
              </a:cxn>
              <a:cxn ang="0">
                <a:pos x="connsiteX75277" y="connsiteY75277"/>
              </a:cxn>
              <a:cxn ang="0">
                <a:pos x="connsiteX75278" y="connsiteY75278"/>
              </a:cxn>
              <a:cxn ang="0">
                <a:pos x="connsiteX75279" y="connsiteY75279"/>
              </a:cxn>
              <a:cxn ang="0">
                <a:pos x="connsiteX75280" y="connsiteY75280"/>
              </a:cxn>
              <a:cxn ang="0">
                <a:pos x="connsiteX75281" y="connsiteY75281"/>
              </a:cxn>
              <a:cxn ang="0">
                <a:pos x="connsiteX75282" y="connsiteY75282"/>
              </a:cxn>
              <a:cxn ang="0">
                <a:pos x="connsiteX75283" y="connsiteY75283"/>
              </a:cxn>
              <a:cxn ang="0">
                <a:pos x="connsiteX75284" y="connsiteY75284"/>
              </a:cxn>
              <a:cxn ang="0">
                <a:pos x="connsiteX75285" y="connsiteY75285"/>
              </a:cxn>
              <a:cxn ang="0">
                <a:pos x="connsiteX75286" y="connsiteY75286"/>
              </a:cxn>
              <a:cxn ang="0">
                <a:pos x="connsiteX75287" y="connsiteY75287"/>
              </a:cxn>
              <a:cxn ang="0">
                <a:pos x="connsiteX75288" y="connsiteY75288"/>
              </a:cxn>
              <a:cxn ang="0">
                <a:pos x="connsiteX75289" y="connsiteY75289"/>
              </a:cxn>
              <a:cxn ang="0">
                <a:pos x="connsiteX75290" y="connsiteY75290"/>
              </a:cxn>
              <a:cxn ang="0">
                <a:pos x="connsiteX75291" y="connsiteY75291"/>
              </a:cxn>
              <a:cxn ang="0">
                <a:pos x="connsiteX75292" y="connsiteY75292"/>
              </a:cxn>
              <a:cxn ang="0">
                <a:pos x="connsiteX75293" y="connsiteY75293"/>
              </a:cxn>
              <a:cxn ang="0">
                <a:pos x="connsiteX75294" y="connsiteY75294"/>
              </a:cxn>
              <a:cxn ang="0">
                <a:pos x="connsiteX75295" y="connsiteY75295"/>
              </a:cxn>
              <a:cxn ang="0">
                <a:pos x="connsiteX75296" y="connsiteY75296"/>
              </a:cxn>
              <a:cxn ang="0">
                <a:pos x="connsiteX75297" y="connsiteY75297"/>
              </a:cxn>
              <a:cxn ang="0">
                <a:pos x="connsiteX75298" y="connsiteY75298"/>
              </a:cxn>
              <a:cxn ang="0">
                <a:pos x="connsiteX75299" y="connsiteY75299"/>
              </a:cxn>
              <a:cxn ang="0">
                <a:pos x="connsiteX75300" y="connsiteY75300"/>
              </a:cxn>
              <a:cxn ang="0">
                <a:pos x="connsiteX75301" y="connsiteY75301"/>
              </a:cxn>
              <a:cxn ang="0">
                <a:pos x="connsiteX75302" y="connsiteY75302"/>
              </a:cxn>
              <a:cxn ang="0">
                <a:pos x="connsiteX75303" y="connsiteY75303"/>
              </a:cxn>
              <a:cxn ang="0">
                <a:pos x="connsiteX75304" y="connsiteY75304"/>
              </a:cxn>
              <a:cxn ang="0">
                <a:pos x="connsiteX75305" y="connsiteY75305"/>
              </a:cxn>
              <a:cxn ang="0">
                <a:pos x="connsiteX75306" y="connsiteY75306"/>
              </a:cxn>
              <a:cxn ang="0">
                <a:pos x="connsiteX75307" y="connsiteY75307"/>
              </a:cxn>
              <a:cxn ang="0">
                <a:pos x="connsiteX75308" y="connsiteY75308"/>
              </a:cxn>
              <a:cxn ang="0">
                <a:pos x="connsiteX75309" y="connsiteY75309"/>
              </a:cxn>
              <a:cxn ang="0">
                <a:pos x="connsiteX75310" y="connsiteY75310"/>
              </a:cxn>
              <a:cxn ang="0">
                <a:pos x="connsiteX75311" y="connsiteY75311"/>
              </a:cxn>
              <a:cxn ang="0">
                <a:pos x="connsiteX75312" y="connsiteY75312"/>
              </a:cxn>
              <a:cxn ang="0">
                <a:pos x="connsiteX75313" y="connsiteY75313"/>
              </a:cxn>
              <a:cxn ang="0">
                <a:pos x="connsiteX75314" y="connsiteY75314"/>
              </a:cxn>
              <a:cxn ang="0">
                <a:pos x="connsiteX75315" y="connsiteY75315"/>
              </a:cxn>
              <a:cxn ang="0">
                <a:pos x="connsiteX75316" y="connsiteY75316"/>
              </a:cxn>
              <a:cxn ang="0">
                <a:pos x="connsiteX75317" y="connsiteY75317"/>
              </a:cxn>
              <a:cxn ang="0">
                <a:pos x="connsiteX75318" y="connsiteY75318"/>
              </a:cxn>
              <a:cxn ang="0">
                <a:pos x="connsiteX75319" y="connsiteY75319"/>
              </a:cxn>
              <a:cxn ang="0">
                <a:pos x="connsiteX75320" y="connsiteY75320"/>
              </a:cxn>
              <a:cxn ang="0">
                <a:pos x="connsiteX75321" y="connsiteY75321"/>
              </a:cxn>
              <a:cxn ang="0">
                <a:pos x="connsiteX75322" y="connsiteY75322"/>
              </a:cxn>
              <a:cxn ang="0">
                <a:pos x="connsiteX75323" y="connsiteY75323"/>
              </a:cxn>
              <a:cxn ang="0">
                <a:pos x="connsiteX75324" y="connsiteY75324"/>
              </a:cxn>
              <a:cxn ang="0">
                <a:pos x="connsiteX75325" y="connsiteY75325"/>
              </a:cxn>
              <a:cxn ang="0">
                <a:pos x="connsiteX75326" y="connsiteY75326"/>
              </a:cxn>
              <a:cxn ang="0">
                <a:pos x="connsiteX75327" y="connsiteY75327"/>
              </a:cxn>
              <a:cxn ang="0">
                <a:pos x="connsiteX75328" y="connsiteY75328"/>
              </a:cxn>
              <a:cxn ang="0">
                <a:pos x="connsiteX75329" y="connsiteY75329"/>
              </a:cxn>
              <a:cxn ang="0">
                <a:pos x="connsiteX75330" y="connsiteY75330"/>
              </a:cxn>
              <a:cxn ang="0">
                <a:pos x="connsiteX75331" y="connsiteY75331"/>
              </a:cxn>
              <a:cxn ang="0">
                <a:pos x="connsiteX75332" y="connsiteY75332"/>
              </a:cxn>
              <a:cxn ang="0">
                <a:pos x="connsiteX75333" y="connsiteY75333"/>
              </a:cxn>
              <a:cxn ang="0">
                <a:pos x="connsiteX75334" y="connsiteY75334"/>
              </a:cxn>
              <a:cxn ang="0">
                <a:pos x="connsiteX75335" y="connsiteY75335"/>
              </a:cxn>
              <a:cxn ang="0">
                <a:pos x="connsiteX75336" y="connsiteY75336"/>
              </a:cxn>
              <a:cxn ang="0">
                <a:pos x="connsiteX75337" y="connsiteY75337"/>
              </a:cxn>
              <a:cxn ang="0">
                <a:pos x="connsiteX75338" y="connsiteY75338"/>
              </a:cxn>
              <a:cxn ang="0">
                <a:pos x="connsiteX75339" y="connsiteY75339"/>
              </a:cxn>
              <a:cxn ang="0">
                <a:pos x="connsiteX75340" y="connsiteY75340"/>
              </a:cxn>
              <a:cxn ang="0">
                <a:pos x="connsiteX75341" y="connsiteY75341"/>
              </a:cxn>
              <a:cxn ang="0">
                <a:pos x="connsiteX75342" y="connsiteY75342"/>
              </a:cxn>
              <a:cxn ang="0">
                <a:pos x="connsiteX75343" y="connsiteY75343"/>
              </a:cxn>
              <a:cxn ang="0">
                <a:pos x="connsiteX75344" y="connsiteY75344"/>
              </a:cxn>
              <a:cxn ang="0">
                <a:pos x="connsiteX75345" y="connsiteY75345"/>
              </a:cxn>
              <a:cxn ang="0">
                <a:pos x="connsiteX75346" y="connsiteY75346"/>
              </a:cxn>
              <a:cxn ang="0">
                <a:pos x="connsiteX75347" y="connsiteY75347"/>
              </a:cxn>
              <a:cxn ang="0">
                <a:pos x="connsiteX75348" y="connsiteY75348"/>
              </a:cxn>
              <a:cxn ang="0">
                <a:pos x="connsiteX75349" y="connsiteY75349"/>
              </a:cxn>
              <a:cxn ang="0">
                <a:pos x="connsiteX75350" y="connsiteY75350"/>
              </a:cxn>
              <a:cxn ang="0">
                <a:pos x="connsiteX75351" y="connsiteY75351"/>
              </a:cxn>
              <a:cxn ang="0">
                <a:pos x="connsiteX75352" y="connsiteY75352"/>
              </a:cxn>
              <a:cxn ang="0">
                <a:pos x="connsiteX75353" y="connsiteY75353"/>
              </a:cxn>
              <a:cxn ang="0">
                <a:pos x="connsiteX75354" y="connsiteY75354"/>
              </a:cxn>
              <a:cxn ang="0">
                <a:pos x="connsiteX75355" y="connsiteY75355"/>
              </a:cxn>
              <a:cxn ang="0">
                <a:pos x="connsiteX75356" y="connsiteY75356"/>
              </a:cxn>
              <a:cxn ang="0">
                <a:pos x="connsiteX75357" y="connsiteY75357"/>
              </a:cxn>
              <a:cxn ang="0">
                <a:pos x="connsiteX75358" y="connsiteY75358"/>
              </a:cxn>
              <a:cxn ang="0">
                <a:pos x="connsiteX75359" y="connsiteY75359"/>
              </a:cxn>
              <a:cxn ang="0">
                <a:pos x="connsiteX75360" y="connsiteY75360"/>
              </a:cxn>
              <a:cxn ang="0">
                <a:pos x="connsiteX75361" y="connsiteY75361"/>
              </a:cxn>
              <a:cxn ang="0">
                <a:pos x="connsiteX75362" y="connsiteY75362"/>
              </a:cxn>
              <a:cxn ang="0">
                <a:pos x="connsiteX75363" y="connsiteY75363"/>
              </a:cxn>
              <a:cxn ang="0">
                <a:pos x="connsiteX75364" y="connsiteY75364"/>
              </a:cxn>
              <a:cxn ang="0">
                <a:pos x="connsiteX75365" y="connsiteY75365"/>
              </a:cxn>
              <a:cxn ang="0">
                <a:pos x="connsiteX75366" y="connsiteY75366"/>
              </a:cxn>
              <a:cxn ang="0">
                <a:pos x="connsiteX75367" y="connsiteY75367"/>
              </a:cxn>
              <a:cxn ang="0">
                <a:pos x="connsiteX75368" y="connsiteY75368"/>
              </a:cxn>
              <a:cxn ang="0">
                <a:pos x="connsiteX75369" y="connsiteY75369"/>
              </a:cxn>
              <a:cxn ang="0">
                <a:pos x="connsiteX75370" y="connsiteY75370"/>
              </a:cxn>
              <a:cxn ang="0">
                <a:pos x="connsiteX75371" y="connsiteY75371"/>
              </a:cxn>
              <a:cxn ang="0">
                <a:pos x="connsiteX75372" y="connsiteY75372"/>
              </a:cxn>
              <a:cxn ang="0">
                <a:pos x="connsiteX75373" y="connsiteY75373"/>
              </a:cxn>
              <a:cxn ang="0">
                <a:pos x="connsiteX75374" y="connsiteY75374"/>
              </a:cxn>
              <a:cxn ang="0">
                <a:pos x="connsiteX75375" y="connsiteY75375"/>
              </a:cxn>
              <a:cxn ang="0">
                <a:pos x="connsiteX75376" y="connsiteY75376"/>
              </a:cxn>
              <a:cxn ang="0">
                <a:pos x="connsiteX75377" y="connsiteY75377"/>
              </a:cxn>
              <a:cxn ang="0">
                <a:pos x="connsiteX75378" y="connsiteY75378"/>
              </a:cxn>
              <a:cxn ang="0">
                <a:pos x="connsiteX75379" y="connsiteY75379"/>
              </a:cxn>
              <a:cxn ang="0">
                <a:pos x="connsiteX75380" y="connsiteY75380"/>
              </a:cxn>
              <a:cxn ang="0">
                <a:pos x="connsiteX75381" y="connsiteY75381"/>
              </a:cxn>
              <a:cxn ang="0">
                <a:pos x="connsiteX75382" y="connsiteY75382"/>
              </a:cxn>
              <a:cxn ang="0">
                <a:pos x="connsiteX75383" y="connsiteY75383"/>
              </a:cxn>
              <a:cxn ang="0">
                <a:pos x="connsiteX75384" y="connsiteY75384"/>
              </a:cxn>
              <a:cxn ang="0">
                <a:pos x="connsiteX75385" y="connsiteY75385"/>
              </a:cxn>
              <a:cxn ang="0">
                <a:pos x="connsiteX75386" y="connsiteY75386"/>
              </a:cxn>
              <a:cxn ang="0">
                <a:pos x="connsiteX75387" y="connsiteY75387"/>
              </a:cxn>
              <a:cxn ang="0">
                <a:pos x="connsiteX75388" y="connsiteY75388"/>
              </a:cxn>
              <a:cxn ang="0">
                <a:pos x="connsiteX75389" y="connsiteY75389"/>
              </a:cxn>
              <a:cxn ang="0">
                <a:pos x="connsiteX75390" y="connsiteY75390"/>
              </a:cxn>
              <a:cxn ang="0">
                <a:pos x="connsiteX75391" y="connsiteY75391"/>
              </a:cxn>
              <a:cxn ang="0">
                <a:pos x="connsiteX75392" y="connsiteY75392"/>
              </a:cxn>
              <a:cxn ang="0">
                <a:pos x="connsiteX75393" y="connsiteY75393"/>
              </a:cxn>
              <a:cxn ang="0">
                <a:pos x="connsiteX75394" y="connsiteY75394"/>
              </a:cxn>
              <a:cxn ang="0">
                <a:pos x="connsiteX75395" y="connsiteY75395"/>
              </a:cxn>
              <a:cxn ang="0">
                <a:pos x="connsiteX75396" y="connsiteY75396"/>
              </a:cxn>
              <a:cxn ang="0">
                <a:pos x="connsiteX75397" y="connsiteY75397"/>
              </a:cxn>
              <a:cxn ang="0">
                <a:pos x="connsiteX75398" y="connsiteY75398"/>
              </a:cxn>
              <a:cxn ang="0">
                <a:pos x="connsiteX75399" y="connsiteY75399"/>
              </a:cxn>
              <a:cxn ang="0">
                <a:pos x="connsiteX75400" y="connsiteY75400"/>
              </a:cxn>
              <a:cxn ang="0">
                <a:pos x="connsiteX75401" y="connsiteY75401"/>
              </a:cxn>
              <a:cxn ang="0">
                <a:pos x="connsiteX75402" y="connsiteY75402"/>
              </a:cxn>
              <a:cxn ang="0">
                <a:pos x="connsiteX75403" y="connsiteY75403"/>
              </a:cxn>
              <a:cxn ang="0">
                <a:pos x="connsiteX75404" y="connsiteY75404"/>
              </a:cxn>
              <a:cxn ang="0">
                <a:pos x="connsiteX75405" y="connsiteY75405"/>
              </a:cxn>
              <a:cxn ang="0">
                <a:pos x="connsiteX75406" y="connsiteY75406"/>
              </a:cxn>
              <a:cxn ang="0">
                <a:pos x="connsiteX75407" y="connsiteY75407"/>
              </a:cxn>
              <a:cxn ang="0">
                <a:pos x="connsiteX75408" y="connsiteY75408"/>
              </a:cxn>
              <a:cxn ang="0">
                <a:pos x="connsiteX75409" y="connsiteY75409"/>
              </a:cxn>
              <a:cxn ang="0">
                <a:pos x="connsiteX75410" y="connsiteY75410"/>
              </a:cxn>
              <a:cxn ang="0">
                <a:pos x="connsiteX75411" y="connsiteY75411"/>
              </a:cxn>
              <a:cxn ang="0">
                <a:pos x="connsiteX75412" y="connsiteY75412"/>
              </a:cxn>
              <a:cxn ang="0">
                <a:pos x="connsiteX75413" y="connsiteY75413"/>
              </a:cxn>
              <a:cxn ang="0">
                <a:pos x="connsiteX75414" y="connsiteY75414"/>
              </a:cxn>
              <a:cxn ang="0">
                <a:pos x="connsiteX75415" y="connsiteY75415"/>
              </a:cxn>
              <a:cxn ang="0">
                <a:pos x="connsiteX75416" y="connsiteY75416"/>
              </a:cxn>
              <a:cxn ang="0">
                <a:pos x="connsiteX75417" y="connsiteY75417"/>
              </a:cxn>
              <a:cxn ang="0">
                <a:pos x="connsiteX75418" y="connsiteY75418"/>
              </a:cxn>
              <a:cxn ang="0">
                <a:pos x="connsiteX75419" y="connsiteY75419"/>
              </a:cxn>
              <a:cxn ang="0">
                <a:pos x="connsiteX75420" y="connsiteY75420"/>
              </a:cxn>
              <a:cxn ang="0">
                <a:pos x="connsiteX75421" y="connsiteY75421"/>
              </a:cxn>
              <a:cxn ang="0">
                <a:pos x="connsiteX75422" y="connsiteY75422"/>
              </a:cxn>
              <a:cxn ang="0">
                <a:pos x="connsiteX75423" y="connsiteY75423"/>
              </a:cxn>
              <a:cxn ang="0">
                <a:pos x="connsiteX75424" y="connsiteY75424"/>
              </a:cxn>
              <a:cxn ang="0">
                <a:pos x="connsiteX75425" y="connsiteY75425"/>
              </a:cxn>
              <a:cxn ang="0">
                <a:pos x="connsiteX75426" y="connsiteY75426"/>
              </a:cxn>
              <a:cxn ang="0">
                <a:pos x="connsiteX75427" y="connsiteY75427"/>
              </a:cxn>
              <a:cxn ang="0">
                <a:pos x="connsiteX75428" y="connsiteY75428"/>
              </a:cxn>
              <a:cxn ang="0">
                <a:pos x="connsiteX75429" y="connsiteY75429"/>
              </a:cxn>
              <a:cxn ang="0">
                <a:pos x="connsiteX75430" y="connsiteY75430"/>
              </a:cxn>
              <a:cxn ang="0">
                <a:pos x="connsiteX75431" y="connsiteY75431"/>
              </a:cxn>
              <a:cxn ang="0">
                <a:pos x="connsiteX75432" y="connsiteY75432"/>
              </a:cxn>
              <a:cxn ang="0">
                <a:pos x="connsiteX75433" y="connsiteY75433"/>
              </a:cxn>
              <a:cxn ang="0">
                <a:pos x="connsiteX75434" y="connsiteY75434"/>
              </a:cxn>
              <a:cxn ang="0">
                <a:pos x="connsiteX75435" y="connsiteY75435"/>
              </a:cxn>
              <a:cxn ang="0">
                <a:pos x="connsiteX75436" y="connsiteY75436"/>
              </a:cxn>
              <a:cxn ang="0">
                <a:pos x="connsiteX75437" y="connsiteY75437"/>
              </a:cxn>
              <a:cxn ang="0">
                <a:pos x="connsiteX75438" y="connsiteY75438"/>
              </a:cxn>
              <a:cxn ang="0">
                <a:pos x="connsiteX75439" y="connsiteY75439"/>
              </a:cxn>
              <a:cxn ang="0">
                <a:pos x="connsiteX75440" y="connsiteY75440"/>
              </a:cxn>
              <a:cxn ang="0">
                <a:pos x="connsiteX75441" y="connsiteY75441"/>
              </a:cxn>
              <a:cxn ang="0">
                <a:pos x="connsiteX75442" y="connsiteY75442"/>
              </a:cxn>
              <a:cxn ang="0">
                <a:pos x="connsiteX75443" y="connsiteY75443"/>
              </a:cxn>
              <a:cxn ang="0">
                <a:pos x="connsiteX75444" y="connsiteY75444"/>
              </a:cxn>
              <a:cxn ang="0">
                <a:pos x="connsiteX75445" y="connsiteY75445"/>
              </a:cxn>
              <a:cxn ang="0">
                <a:pos x="connsiteX75446" y="connsiteY75446"/>
              </a:cxn>
              <a:cxn ang="0">
                <a:pos x="connsiteX75447" y="connsiteY75447"/>
              </a:cxn>
              <a:cxn ang="0">
                <a:pos x="connsiteX75448" y="connsiteY75448"/>
              </a:cxn>
              <a:cxn ang="0">
                <a:pos x="connsiteX75449" y="connsiteY75449"/>
              </a:cxn>
              <a:cxn ang="0">
                <a:pos x="connsiteX75450" y="connsiteY75450"/>
              </a:cxn>
              <a:cxn ang="0">
                <a:pos x="connsiteX75451" y="connsiteY75451"/>
              </a:cxn>
              <a:cxn ang="0">
                <a:pos x="connsiteX75452" y="connsiteY75452"/>
              </a:cxn>
              <a:cxn ang="0">
                <a:pos x="connsiteX75453" y="connsiteY75453"/>
              </a:cxn>
              <a:cxn ang="0">
                <a:pos x="connsiteX75454" y="connsiteY75454"/>
              </a:cxn>
              <a:cxn ang="0">
                <a:pos x="connsiteX75455" y="connsiteY75455"/>
              </a:cxn>
              <a:cxn ang="0">
                <a:pos x="connsiteX75456" y="connsiteY75456"/>
              </a:cxn>
              <a:cxn ang="0">
                <a:pos x="connsiteX75457" y="connsiteY75457"/>
              </a:cxn>
              <a:cxn ang="0">
                <a:pos x="connsiteX75458" y="connsiteY75458"/>
              </a:cxn>
              <a:cxn ang="0">
                <a:pos x="connsiteX75459" y="connsiteY75459"/>
              </a:cxn>
              <a:cxn ang="0">
                <a:pos x="connsiteX75460" y="connsiteY75460"/>
              </a:cxn>
              <a:cxn ang="0">
                <a:pos x="connsiteX75461" y="connsiteY75461"/>
              </a:cxn>
              <a:cxn ang="0">
                <a:pos x="connsiteX75462" y="connsiteY75462"/>
              </a:cxn>
              <a:cxn ang="0">
                <a:pos x="connsiteX75463" y="connsiteY75463"/>
              </a:cxn>
              <a:cxn ang="0">
                <a:pos x="connsiteX75464" y="connsiteY75464"/>
              </a:cxn>
              <a:cxn ang="0">
                <a:pos x="connsiteX75465" y="connsiteY75465"/>
              </a:cxn>
              <a:cxn ang="0">
                <a:pos x="connsiteX75466" y="connsiteY75466"/>
              </a:cxn>
              <a:cxn ang="0">
                <a:pos x="connsiteX75467" y="connsiteY75467"/>
              </a:cxn>
              <a:cxn ang="0">
                <a:pos x="connsiteX75468" y="connsiteY75468"/>
              </a:cxn>
              <a:cxn ang="0">
                <a:pos x="connsiteX75469" y="connsiteY75469"/>
              </a:cxn>
              <a:cxn ang="0">
                <a:pos x="connsiteX75470" y="connsiteY75470"/>
              </a:cxn>
              <a:cxn ang="0">
                <a:pos x="connsiteX75471" y="connsiteY75471"/>
              </a:cxn>
              <a:cxn ang="0">
                <a:pos x="connsiteX75472" y="connsiteY75472"/>
              </a:cxn>
              <a:cxn ang="0">
                <a:pos x="connsiteX75473" y="connsiteY75473"/>
              </a:cxn>
              <a:cxn ang="0">
                <a:pos x="connsiteX75474" y="connsiteY75474"/>
              </a:cxn>
              <a:cxn ang="0">
                <a:pos x="connsiteX75475" y="connsiteY75475"/>
              </a:cxn>
              <a:cxn ang="0">
                <a:pos x="connsiteX75476" y="connsiteY75476"/>
              </a:cxn>
              <a:cxn ang="0">
                <a:pos x="connsiteX75477" y="connsiteY75477"/>
              </a:cxn>
              <a:cxn ang="0">
                <a:pos x="connsiteX75478" y="connsiteY75478"/>
              </a:cxn>
              <a:cxn ang="0">
                <a:pos x="connsiteX75479" y="connsiteY75479"/>
              </a:cxn>
              <a:cxn ang="0">
                <a:pos x="connsiteX75480" y="connsiteY75480"/>
              </a:cxn>
              <a:cxn ang="0">
                <a:pos x="connsiteX75481" y="connsiteY75481"/>
              </a:cxn>
              <a:cxn ang="0">
                <a:pos x="connsiteX75482" y="connsiteY75482"/>
              </a:cxn>
              <a:cxn ang="0">
                <a:pos x="connsiteX75483" y="connsiteY75483"/>
              </a:cxn>
              <a:cxn ang="0">
                <a:pos x="connsiteX75484" y="connsiteY75484"/>
              </a:cxn>
              <a:cxn ang="0">
                <a:pos x="connsiteX75485" y="connsiteY75485"/>
              </a:cxn>
              <a:cxn ang="0">
                <a:pos x="connsiteX75486" y="connsiteY75486"/>
              </a:cxn>
              <a:cxn ang="0">
                <a:pos x="connsiteX75487" y="connsiteY75487"/>
              </a:cxn>
              <a:cxn ang="0">
                <a:pos x="connsiteX75488" y="connsiteY75488"/>
              </a:cxn>
              <a:cxn ang="0">
                <a:pos x="connsiteX75489" y="connsiteY75489"/>
              </a:cxn>
              <a:cxn ang="0">
                <a:pos x="connsiteX75490" y="connsiteY75490"/>
              </a:cxn>
              <a:cxn ang="0">
                <a:pos x="connsiteX75491" y="connsiteY75491"/>
              </a:cxn>
              <a:cxn ang="0">
                <a:pos x="connsiteX75492" y="connsiteY75492"/>
              </a:cxn>
              <a:cxn ang="0">
                <a:pos x="connsiteX75493" y="connsiteY75493"/>
              </a:cxn>
              <a:cxn ang="0">
                <a:pos x="connsiteX75494" y="connsiteY75494"/>
              </a:cxn>
              <a:cxn ang="0">
                <a:pos x="connsiteX75495" y="connsiteY75495"/>
              </a:cxn>
              <a:cxn ang="0">
                <a:pos x="connsiteX75496" y="connsiteY75496"/>
              </a:cxn>
              <a:cxn ang="0">
                <a:pos x="connsiteX75497" y="connsiteY75497"/>
              </a:cxn>
              <a:cxn ang="0">
                <a:pos x="connsiteX75498" y="connsiteY75498"/>
              </a:cxn>
              <a:cxn ang="0">
                <a:pos x="connsiteX75499" y="connsiteY75499"/>
              </a:cxn>
              <a:cxn ang="0">
                <a:pos x="connsiteX75500" y="connsiteY75500"/>
              </a:cxn>
              <a:cxn ang="0">
                <a:pos x="connsiteX75501" y="connsiteY75501"/>
              </a:cxn>
              <a:cxn ang="0">
                <a:pos x="connsiteX75502" y="connsiteY75502"/>
              </a:cxn>
              <a:cxn ang="0">
                <a:pos x="connsiteX75503" y="connsiteY75503"/>
              </a:cxn>
              <a:cxn ang="0">
                <a:pos x="connsiteX75504" y="connsiteY75504"/>
              </a:cxn>
              <a:cxn ang="0">
                <a:pos x="connsiteX75505" y="connsiteY75505"/>
              </a:cxn>
              <a:cxn ang="0">
                <a:pos x="connsiteX75506" y="connsiteY75506"/>
              </a:cxn>
              <a:cxn ang="0">
                <a:pos x="connsiteX75507" y="connsiteY75507"/>
              </a:cxn>
              <a:cxn ang="0">
                <a:pos x="connsiteX75508" y="connsiteY75508"/>
              </a:cxn>
              <a:cxn ang="0">
                <a:pos x="connsiteX75509" y="connsiteY75509"/>
              </a:cxn>
              <a:cxn ang="0">
                <a:pos x="connsiteX75510" y="connsiteY75510"/>
              </a:cxn>
              <a:cxn ang="0">
                <a:pos x="connsiteX75511" y="connsiteY75511"/>
              </a:cxn>
              <a:cxn ang="0">
                <a:pos x="connsiteX75512" y="connsiteY75512"/>
              </a:cxn>
              <a:cxn ang="0">
                <a:pos x="connsiteX75513" y="connsiteY75513"/>
              </a:cxn>
              <a:cxn ang="0">
                <a:pos x="connsiteX75514" y="connsiteY75514"/>
              </a:cxn>
              <a:cxn ang="0">
                <a:pos x="connsiteX75515" y="connsiteY75515"/>
              </a:cxn>
              <a:cxn ang="0">
                <a:pos x="connsiteX75516" y="connsiteY75516"/>
              </a:cxn>
              <a:cxn ang="0">
                <a:pos x="connsiteX75517" y="connsiteY75517"/>
              </a:cxn>
              <a:cxn ang="0">
                <a:pos x="connsiteX75518" y="connsiteY75518"/>
              </a:cxn>
              <a:cxn ang="0">
                <a:pos x="connsiteX75519" y="connsiteY75519"/>
              </a:cxn>
              <a:cxn ang="0">
                <a:pos x="connsiteX75520" y="connsiteY75520"/>
              </a:cxn>
              <a:cxn ang="0">
                <a:pos x="connsiteX75521" y="connsiteY75521"/>
              </a:cxn>
              <a:cxn ang="0">
                <a:pos x="connsiteX75522" y="connsiteY75522"/>
              </a:cxn>
              <a:cxn ang="0">
                <a:pos x="connsiteX75523" y="connsiteY75523"/>
              </a:cxn>
              <a:cxn ang="0">
                <a:pos x="connsiteX75524" y="connsiteY75524"/>
              </a:cxn>
              <a:cxn ang="0">
                <a:pos x="connsiteX75525" y="connsiteY75525"/>
              </a:cxn>
              <a:cxn ang="0">
                <a:pos x="connsiteX75526" y="connsiteY75526"/>
              </a:cxn>
              <a:cxn ang="0">
                <a:pos x="connsiteX75527" y="connsiteY75527"/>
              </a:cxn>
              <a:cxn ang="0">
                <a:pos x="connsiteX75528" y="connsiteY75528"/>
              </a:cxn>
              <a:cxn ang="0">
                <a:pos x="connsiteX75529" y="connsiteY75529"/>
              </a:cxn>
              <a:cxn ang="0">
                <a:pos x="connsiteX75530" y="connsiteY75530"/>
              </a:cxn>
              <a:cxn ang="0">
                <a:pos x="connsiteX75531" y="connsiteY75531"/>
              </a:cxn>
              <a:cxn ang="0">
                <a:pos x="connsiteX75532" y="connsiteY75532"/>
              </a:cxn>
              <a:cxn ang="0">
                <a:pos x="connsiteX75533" y="connsiteY75533"/>
              </a:cxn>
              <a:cxn ang="0">
                <a:pos x="connsiteX75534" y="connsiteY75534"/>
              </a:cxn>
              <a:cxn ang="0">
                <a:pos x="connsiteX75535" y="connsiteY75535"/>
              </a:cxn>
              <a:cxn ang="0">
                <a:pos x="connsiteX75536" y="connsiteY75536"/>
              </a:cxn>
              <a:cxn ang="0">
                <a:pos x="connsiteX75537" y="connsiteY75537"/>
              </a:cxn>
              <a:cxn ang="0">
                <a:pos x="connsiteX75538" y="connsiteY75538"/>
              </a:cxn>
              <a:cxn ang="0">
                <a:pos x="connsiteX75539" y="connsiteY75539"/>
              </a:cxn>
              <a:cxn ang="0">
                <a:pos x="connsiteX75540" y="connsiteY75540"/>
              </a:cxn>
              <a:cxn ang="0">
                <a:pos x="connsiteX75541" y="connsiteY75541"/>
              </a:cxn>
              <a:cxn ang="0">
                <a:pos x="connsiteX75542" y="connsiteY75542"/>
              </a:cxn>
              <a:cxn ang="0">
                <a:pos x="connsiteX75543" y="connsiteY75543"/>
              </a:cxn>
              <a:cxn ang="0">
                <a:pos x="connsiteX75544" y="connsiteY75544"/>
              </a:cxn>
              <a:cxn ang="0">
                <a:pos x="connsiteX75545" y="connsiteY75545"/>
              </a:cxn>
              <a:cxn ang="0">
                <a:pos x="connsiteX75546" y="connsiteY75546"/>
              </a:cxn>
              <a:cxn ang="0">
                <a:pos x="connsiteX75547" y="connsiteY75547"/>
              </a:cxn>
              <a:cxn ang="0">
                <a:pos x="connsiteX75548" y="connsiteY75548"/>
              </a:cxn>
              <a:cxn ang="0">
                <a:pos x="connsiteX75549" y="connsiteY75549"/>
              </a:cxn>
              <a:cxn ang="0">
                <a:pos x="connsiteX75550" y="connsiteY75550"/>
              </a:cxn>
              <a:cxn ang="0">
                <a:pos x="connsiteX75551" y="connsiteY75551"/>
              </a:cxn>
              <a:cxn ang="0">
                <a:pos x="connsiteX75552" y="connsiteY75552"/>
              </a:cxn>
              <a:cxn ang="0">
                <a:pos x="connsiteX75553" y="connsiteY75553"/>
              </a:cxn>
              <a:cxn ang="0">
                <a:pos x="connsiteX75554" y="connsiteY75554"/>
              </a:cxn>
              <a:cxn ang="0">
                <a:pos x="connsiteX75555" y="connsiteY75555"/>
              </a:cxn>
              <a:cxn ang="0">
                <a:pos x="connsiteX75556" y="connsiteY75556"/>
              </a:cxn>
              <a:cxn ang="0">
                <a:pos x="connsiteX75557" y="connsiteY75557"/>
              </a:cxn>
              <a:cxn ang="0">
                <a:pos x="connsiteX75558" y="connsiteY75558"/>
              </a:cxn>
              <a:cxn ang="0">
                <a:pos x="connsiteX75559" y="connsiteY75559"/>
              </a:cxn>
              <a:cxn ang="0">
                <a:pos x="connsiteX75560" y="connsiteY75560"/>
              </a:cxn>
              <a:cxn ang="0">
                <a:pos x="connsiteX75561" y="connsiteY75561"/>
              </a:cxn>
              <a:cxn ang="0">
                <a:pos x="connsiteX75562" y="connsiteY75562"/>
              </a:cxn>
              <a:cxn ang="0">
                <a:pos x="connsiteX75563" y="connsiteY75563"/>
              </a:cxn>
              <a:cxn ang="0">
                <a:pos x="connsiteX75564" y="connsiteY75564"/>
              </a:cxn>
              <a:cxn ang="0">
                <a:pos x="connsiteX75565" y="connsiteY75565"/>
              </a:cxn>
              <a:cxn ang="0">
                <a:pos x="connsiteX75566" y="connsiteY75566"/>
              </a:cxn>
              <a:cxn ang="0">
                <a:pos x="connsiteX75567" y="connsiteY75567"/>
              </a:cxn>
              <a:cxn ang="0">
                <a:pos x="connsiteX75568" y="connsiteY75568"/>
              </a:cxn>
              <a:cxn ang="0">
                <a:pos x="connsiteX75569" y="connsiteY75569"/>
              </a:cxn>
              <a:cxn ang="0">
                <a:pos x="connsiteX75570" y="connsiteY75570"/>
              </a:cxn>
              <a:cxn ang="0">
                <a:pos x="connsiteX75571" y="connsiteY75571"/>
              </a:cxn>
              <a:cxn ang="0">
                <a:pos x="connsiteX75572" y="connsiteY75572"/>
              </a:cxn>
              <a:cxn ang="0">
                <a:pos x="connsiteX75573" y="connsiteY75573"/>
              </a:cxn>
              <a:cxn ang="0">
                <a:pos x="connsiteX75574" y="connsiteY75574"/>
              </a:cxn>
              <a:cxn ang="0">
                <a:pos x="connsiteX75575" y="connsiteY75575"/>
              </a:cxn>
              <a:cxn ang="0">
                <a:pos x="connsiteX75576" y="connsiteY75576"/>
              </a:cxn>
              <a:cxn ang="0">
                <a:pos x="connsiteX75577" y="connsiteY75577"/>
              </a:cxn>
              <a:cxn ang="0">
                <a:pos x="connsiteX75578" y="connsiteY75578"/>
              </a:cxn>
              <a:cxn ang="0">
                <a:pos x="connsiteX75579" y="connsiteY75579"/>
              </a:cxn>
              <a:cxn ang="0">
                <a:pos x="connsiteX75580" y="connsiteY75580"/>
              </a:cxn>
              <a:cxn ang="0">
                <a:pos x="connsiteX75581" y="connsiteY75581"/>
              </a:cxn>
              <a:cxn ang="0">
                <a:pos x="connsiteX75582" y="connsiteY75582"/>
              </a:cxn>
              <a:cxn ang="0">
                <a:pos x="connsiteX75583" y="connsiteY75583"/>
              </a:cxn>
              <a:cxn ang="0">
                <a:pos x="connsiteX75584" y="connsiteY75584"/>
              </a:cxn>
              <a:cxn ang="0">
                <a:pos x="connsiteX75585" y="connsiteY75585"/>
              </a:cxn>
              <a:cxn ang="0">
                <a:pos x="connsiteX75586" y="connsiteY75586"/>
              </a:cxn>
              <a:cxn ang="0">
                <a:pos x="connsiteX75587" y="connsiteY75587"/>
              </a:cxn>
              <a:cxn ang="0">
                <a:pos x="connsiteX75588" y="connsiteY75588"/>
              </a:cxn>
              <a:cxn ang="0">
                <a:pos x="connsiteX75589" y="connsiteY75589"/>
              </a:cxn>
              <a:cxn ang="0">
                <a:pos x="connsiteX75590" y="connsiteY75590"/>
              </a:cxn>
              <a:cxn ang="0">
                <a:pos x="connsiteX75591" y="connsiteY75591"/>
              </a:cxn>
              <a:cxn ang="0">
                <a:pos x="connsiteX75592" y="connsiteY75592"/>
              </a:cxn>
              <a:cxn ang="0">
                <a:pos x="connsiteX75593" y="connsiteY75593"/>
              </a:cxn>
              <a:cxn ang="0">
                <a:pos x="connsiteX75594" y="connsiteY75594"/>
              </a:cxn>
              <a:cxn ang="0">
                <a:pos x="connsiteX75595" y="connsiteY75595"/>
              </a:cxn>
              <a:cxn ang="0">
                <a:pos x="connsiteX75596" y="connsiteY75596"/>
              </a:cxn>
              <a:cxn ang="0">
                <a:pos x="connsiteX75597" y="connsiteY75597"/>
              </a:cxn>
              <a:cxn ang="0">
                <a:pos x="connsiteX75598" y="connsiteY75598"/>
              </a:cxn>
              <a:cxn ang="0">
                <a:pos x="connsiteX75599" y="connsiteY75599"/>
              </a:cxn>
              <a:cxn ang="0">
                <a:pos x="connsiteX75600" y="connsiteY75600"/>
              </a:cxn>
              <a:cxn ang="0">
                <a:pos x="connsiteX75601" y="connsiteY75601"/>
              </a:cxn>
              <a:cxn ang="0">
                <a:pos x="connsiteX75602" y="connsiteY75602"/>
              </a:cxn>
              <a:cxn ang="0">
                <a:pos x="connsiteX75603" y="connsiteY75603"/>
              </a:cxn>
              <a:cxn ang="0">
                <a:pos x="connsiteX75604" y="connsiteY75604"/>
              </a:cxn>
              <a:cxn ang="0">
                <a:pos x="connsiteX75605" y="connsiteY75605"/>
              </a:cxn>
              <a:cxn ang="0">
                <a:pos x="connsiteX75606" y="connsiteY75606"/>
              </a:cxn>
              <a:cxn ang="0">
                <a:pos x="connsiteX75607" y="connsiteY75607"/>
              </a:cxn>
              <a:cxn ang="0">
                <a:pos x="connsiteX75608" y="connsiteY75608"/>
              </a:cxn>
              <a:cxn ang="0">
                <a:pos x="connsiteX75609" y="connsiteY75609"/>
              </a:cxn>
              <a:cxn ang="0">
                <a:pos x="connsiteX75610" y="connsiteY75610"/>
              </a:cxn>
              <a:cxn ang="0">
                <a:pos x="connsiteX75611" y="connsiteY75611"/>
              </a:cxn>
              <a:cxn ang="0">
                <a:pos x="connsiteX75612" y="connsiteY75612"/>
              </a:cxn>
              <a:cxn ang="0">
                <a:pos x="connsiteX75613" y="connsiteY75613"/>
              </a:cxn>
              <a:cxn ang="0">
                <a:pos x="connsiteX75614" y="connsiteY75614"/>
              </a:cxn>
              <a:cxn ang="0">
                <a:pos x="connsiteX75615" y="connsiteY75615"/>
              </a:cxn>
              <a:cxn ang="0">
                <a:pos x="connsiteX75616" y="connsiteY75616"/>
              </a:cxn>
              <a:cxn ang="0">
                <a:pos x="connsiteX75617" y="connsiteY75617"/>
              </a:cxn>
              <a:cxn ang="0">
                <a:pos x="connsiteX75618" y="connsiteY75618"/>
              </a:cxn>
              <a:cxn ang="0">
                <a:pos x="connsiteX75619" y="connsiteY75619"/>
              </a:cxn>
              <a:cxn ang="0">
                <a:pos x="connsiteX75620" y="connsiteY75620"/>
              </a:cxn>
              <a:cxn ang="0">
                <a:pos x="connsiteX75621" y="connsiteY75621"/>
              </a:cxn>
              <a:cxn ang="0">
                <a:pos x="connsiteX75622" y="connsiteY75622"/>
              </a:cxn>
              <a:cxn ang="0">
                <a:pos x="connsiteX75623" y="connsiteY75623"/>
              </a:cxn>
              <a:cxn ang="0">
                <a:pos x="connsiteX75624" y="connsiteY75624"/>
              </a:cxn>
              <a:cxn ang="0">
                <a:pos x="connsiteX75625" y="connsiteY75625"/>
              </a:cxn>
              <a:cxn ang="0">
                <a:pos x="connsiteX75626" y="connsiteY75626"/>
              </a:cxn>
              <a:cxn ang="0">
                <a:pos x="connsiteX75627" y="connsiteY75627"/>
              </a:cxn>
              <a:cxn ang="0">
                <a:pos x="connsiteX75628" y="connsiteY75628"/>
              </a:cxn>
              <a:cxn ang="0">
                <a:pos x="connsiteX75629" y="connsiteY75629"/>
              </a:cxn>
              <a:cxn ang="0">
                <a:pos x="connsiteX75630" y="connsiteY75630"/>
              </a:cxn>
              <a:cxn ang="0">
                <a:pos x="connsiteX75631" y="connsiteY75631"/>
              </a:cxn>
              <a:cxn ang="0">
                <a:pos x="connsiteX75632" y="connsiteY75632"/>
              </a:cxn>
              <a:cxn ang="0">
                <a:pos x="connsiteX75633" y="connsiteY75633"/>
              </a:cxn>
              <a:cxn ang="0">
                <a:pos x="connsiteX75634" y="connsiteY75634"/>
              </a:cxn>
              <a:cxn ang="0">
                <a:pos x="connsiteX75635" y="connsiteY75635"/>
              </a:cxn>
              <a:cxn ang="0">
                <a:pos x="connsiteX75636" y="connsiteY75636"/>
              </a:cxn>
              <a:cxn ang="0">
                <a:pos x="connsiteX75637" y="connsiteY75637"/>
              </a:cxn>
              <a:cxn ang="0">
                <a:pos x="connsiteX75638" y="connsiteY75638"/>
              </a:cxn>
              <a:cxn ang="0">
                <a:pos x="connsiteX75639" y="connsiteY75639"/>
              </a:cxn>
              <a:cxn ang="0">
                <a:pos x="connsiteX75640" y="connsiteY75640"/>
              </a:cxn>
              <a:cxn ang="0">
                <a:pos x="connsiteX75641" y="connsiteY75641"/>
              </a:cxn>
              <a:cxn ang="0">
                <a:pos x="connsiteX75642" y="connsiteY75642"/>
              </a:cxn>
              <a:cxn ang="0">
                <a:pos x="connsiteX75643" y="connsiteY75643"/>
              </a:cxn>
              <a:cxn ang="0">
                <a:pos x="connsiteX75644" y="connsiteY75644"/>
              </a:cxn>
              <a:cxn ang="0">
                <a:pos x="connsiteX75645" y="connsiteY75645"/>
              </a:cxn>
              <a:cxn ang="0">
                <a:pos x="connsiteX75646" y="connsiteY75646"/>
              </a:cxn>
              <a:cxn ang="0">
                <a:pos x="connsiteX75647" y="connsiteY75647"/>
              </a:cxn>
              <a:cxn ang="0">
                <a:pos x="connsiteX75648" y="connsiteY75648"/>
              </a:cxn>
              <a:cxn ang="0">
                <a:pos x="connsiteX75649" y="connsiteY75649"/>
              </a:cxn>
              <a:cxn ang="0">
                <a:pos x="connsiteX75650" y="connsiteY75650"/>
              </a:cxn>
              <a:cxn ang="0">
                <a:pos x="connsiteX75651" y="connsiteY75651"/>
              </a:cxn>
              <a:cxn ang="0">
                <a:pos x="connsiteX75652" y="connsiteY75652"/>
              </a:cxn>
              <a:cxn ang="0">
                <a:pos x="connsiteX75653" y="connsiteY75653"/>
              </a:cxn>
              <a:cxn ang="0">
                <a:pos x="connsiteX75654" y="connsiteY75654"/>
              </a:cxn>
              <a:cxn ang="0">
                <a:pos x="connsiteX75655" y="connsiteY75655"/>
              </a:cxn>
              <a:cxn ang="0">
                <a:pos x="connsiteX75656" y="connsiteY75656"/>
              </a:cxn>
              <a:cxn ang="0">
                <a:pos x="connsiteX75657" y="connsiteY75657"/>
              </a:cxn>
              <a:cxn ang="0">
                <a:pos x="connsiteX75658" y="connsiteY75658"/>
              </a:cxn>
              <a:cxn ang="0">
                <a:pos x="connsiteX75659" y="connsiteY75659"/>
              </a:cxn>
              <a:cxn ang="0">
                <a:pos x="connsiteX75660" y="connsiteY75660"/>
              </a:cxn>
              <a:cxn ang="0">
                <a:pos x="connsiteX75661" y="connsiteY75661"/>
              </a:cxn>
              <a:cxn ang="0">
                <a:pos x="connsiteX75662" y="connsiteY75662"/>
              </a:cxn>
              <a:cxn ang="0">
                <a:pos x="connsiteX75663" y="connsiteY75663"/>
              </a:cxn>
              <a:cxn ang="0">
                <a:pos x="connsiteX75664" y="connsiteY75664"/>
              </a:cxn>
              <a:cxn ang="0">
                <a:pos x="connsiteX75665" y="connsiteY75665"/>
              </a:cxn>
              <a:cxn ang="0">
                <a:pos x="connsiteX75666" y="connsiteY75666"/>
              </a:cxn>
              <a:cxn ang="0">
                <a:pos x="connsiteX75667" y="connsiteY75667"/>
              </a:cxn>
              <a:cxn ang="0">
                <a:pos x="connsiteX75668" y="connsiteY75668"/>
              </a:cxn>
              <a:cxn ang="0">
                <a:pos x="connsiteX75669" y="connsiteY75669"/>
              </a:cxn>
              <a:cxn ang="0">
                <a:pos x="connsiteX75670" y="connsiteY75670"/>
              </a:cxn>
              <a:cxn ang="0">
                <a:pos x="connsiteX75671" y="connsiteY75671"/>
              </a:cxn>
              <a:cxn ang="0">
                <a:pos x="connsiteX75672" y="connsiteY75672"/>
              </a:cxn>
              <a:cxn ang="0">
                <a:pos x="connsiteX75673" y="connsiteY75673"/>
              </a:cxn>
              <a:cxn ang="0">
                <a:pos x="connsiteX75674" y="connsiteY75674"/>
              </a:cxn>
              <a:cxn ang="0">
                <a:pos x="connsiteX75675" y="connsiteY75675"/>
              </a:cxn>
              <a:cxn ang="0">
                <a:pos x="connsiteX75676" y="connsiteY75676"/>
              </a:cxn>
              <a:cxn ang="0">
                <a:pos x="connsiteX75677" y="connsiteY75677"/>
              </a:cxn>
              <a:cxn ang="0">
                <a:pos x="connsiteX75678" y="connsiteY75678"/>
              </a:cxn>
              <a:cxn ang="0">
                <a:pos x="connsiteX75679" y="connsiteY75679"/>
              </a:cxn>
              <a:cxn ang="0">
                <a:pos x="connsiteX75680" y="connsiteY75680"/>
              </a:cxn>
              <a:cxn ang="0">
                <a:pos x="connsiteX75681" y="connsiteY75681"/>
              </a:cxn>
              <a:cxn ang="0">
                <a:pos x="connsiteX75682" y="connsiteY75682"/>
              </a:cxn>
              <a:cxn ang="0">
                <a:pos x="connsiteX75683" y="connsiteY75683"/>
              </a:cxn>
              <a:cxn ang="0">
                <a:pos x="connsiteX75684" y="connsiteY75684"/>
              </a:cxn>
              <a:cxn ang="0">
                <a:pos x="connsiteX75685" y="connsiteY75685"/>
              </a:cxn>
              <a:cxn ang="0">
                <a:pos x="connsiteX75686" y="connsiteY75686"/>
              </a:cxn>
              <a:cxn ang="0">
                <a:pos x="connsiteX75687" y="connsiteY75687"/>
              </a:cxn>
              <a:cxn ang="0">
                <a:pos x="connsiteX75688" y="connsiteY75688"/>
              </a:cxn>
              <a:cxn ang="0">
                <a:pos x="connsiteX75689" y="connsiteY75689"/>
              </a:cxn>
              <a:cxn ang="0">
                <a:pos x="connsiteX75690" y="connsiteY75690"/>
              </a:cxn>
              <a:cxn ang="0">
                <a:pos x="connsiteX75691" y="connsiteY75691"/>
              </a:cxn>
              <a:cxn ang="0">
                <a:pos x="connsiteX75692" y="connsiteY75692"/>
              </a:cxn>
              <a:cxn ang="0">
                <a:pos x="connsiteX75693" y="connsiteY75693"/>
              </a:cxn>
              <a:cxn ang="0">
                <a:pos x="connsiteX75694" y="connsiteY75694"/>
              </a:cxn>
              <a:cxn ang="0">
                <a:pos x="connsiteX75695" y="connsiteY75695"/>
              </a:cxn>
              <a:cxn ang="0">
                <a:pos x="connsiteX75696" y="connsiteY75696"/>
              </a:cxn>
              <a:cxn ang="0">
                <a:pos x="connsiteX75697" y="connsiteY75697"/>
              </a:cxn>
              <a:cxn ang="0">
                <a:pos x="connsiteX75698" y="connsiteY75698"/>
              </a:cxn>
              <a:cxn ang="0">
                <a:pos x="connsiteX75699" y="connsiteY75699"/>
              </a:cxn>
              <a:cxn ang="0">
                <a:pos x="connsiteX75700" y="connsiteY75700"/>
              </a:cxn>
              <a:cxn ang="0">
                <a:pos x="connsiteX75701" y="connsiteY75701"/>
              </a:cxn>
              <a:cxn ang="0">
                <a:pos x="connsiteX75702" y="connsiteY75702"/>
              </a:cxn>
              <a:cxn ang="0">
                <a:pos x="connsiteX75703" y="connsiteY75703"/>
              </a:cxn>
              <a:cxn ang="0">
                <a:pos x="connsiteX75704" y="connsiteY75704"/>
              </a:cxn>
              <a:cxn ang="0">
                <a:pos x="connsiteX75705" y="connsiteY75705"/>
              </a:cxn>
              <a:cxn ang="0">
                <a:pos x="connsiteX75706" y="connsiteY75706"/>
              </a:cxn>
              <a:cxn ang="0">
                <a:pos x="connsiteX75707" y="connsiteY75707"/>
              </a:cxn>
              <a:cxn ang="0">
                <a:pos x="connsiteX75708" y="connsiteY75708"/>
              </a:cxn>
              <a:cxn ang="0">
                <a:pos x="connsiteX75709" y="connsiteY75709"/>
              </a:cxn>
              <a:cxn ang="0">
                <a:pos x="connsiteX75710" y="connsiteY75710"/>
              </a:cxn>
              <a:cxn ang="0">
                <a:pos x="connsiteX75711" y="connsiteY75711"/>
              </a:cxn>
              <a:cxn ang="0">
                <a:pos x="connsiteX75712" y="connsiteY75712"/>
              </a:cxn>
              <a:cxn ang="0">
                <a:pos x="connsiteX75713" y="connsiteY75713"/>
              </a:cxn>
              <a:cxn ang="0">
                <a:pos x="connsiteX75714" y="connsiteY75714"/>
              </a:cxn>
              <a:cxn ang="0">
                <a:pos x="connsiteX75715" y="connsiteY75715"/>
              </a:cxn>
              <a:cxn ang="0">
                <a:pos x="connsiteX75716" y="connsiteY75716"/>
              </a:cxn>
              <a:cxn ang="0">
                <a:pos x="connsiteX75717" y="connsiteY75717"/>
              </a:cxn>
              <a:cxn ang="0">
                <a:pos x="connsiteX75718" y="connsiteY75718"/>
              </a:cxn>
              <a:cxn ang="0">
                <a:pos x="connsiteX75719" y="connsiteY75719"/>
              </a:cxn>
              <a:cxn ang="0">
                <a:pos x="connsiteX75720" y="connsiteY75720"/>
              </a:cxn>
              <a:cxn ang="0">
                <a:pos x="connsiteX75721" y="connsiteY75721"/>
              </a:cxn>
              <a:cxn ang="0">
                <a:pos x="connsiteX75722" y="connsiteY75722"/>
              </a:cxn>
              <a:cxn ang="0">
                <a:pos x="connsiteX75723" y="connsiteY75723"/>
              </a:cxn>
              <a:cxn ang="0">
                <a:pos x="connsiteX75724" y="connsiteY75724"/>
              </a:cxn>
              <a:cxn ang="0">
                <a:pos x="connsiteX75725" y="connsiteY75725"/>
              </a:cxn>
              <a:cxn ang="0">
                <a:pos x="connsiteX75726" y="connsiteY75726"/>
              </a:cxn>
              <a:cxn ang="0">
                <a:pos x="connsiteX75727" y="connsiteY75727"/>
              </a:cxn>
              <a:cxn ang="0">
                <a:pos x="connsiteX75728" y="connsiteY75728"/>
              </a:cxn>
              <a:cxn ang="0">
                <a:pos x="connsiteX75729" y="connsiteY75729"/>
              </a:cxn>
              <a:cxn ang="0">
                <a:pos x="connsiteX75730" y="connsiteY75730"/>
              </a:cxn>
              <a:cxn ang="0">
                <a:pos x="connsiteX75731" y="connsiteY75731"/>
              </a:cxn>
              <a:cxn ang="0">
                <a:pos x="connsiteX75732" y="connsiteY75732"/>
              </a:cxn>
              <a:cxn ang="0">
                <a:pos x="connsiteX75733" y="connsiteY75733"/>
              </a:cxn>
              <a:cxn ang="0">
                <a:pos x="connsiteX75734" y="connsiteY75734"/>
              </a:cxn>
              <a:cxn ang="0">
                <a:pos x="connsiteX75735" y="connsiteY75735"/>
              </a:cxn>
              <a:cxn ang="0">
                <a:pos x="connsiteX75736" y="connsiteY75736"/>
              </a:cxn>
              <a:cxn ang="0">
                <a:pos x="connsiteX75737" y="connsiteY75737"/>
              </a:cxn>
              <a:cxn ang="0">
                <a:pos x="connsiteX75738" y="connsiteY75738"/>
              </a:cxn>
              <a:cxn ang="0">
                <a:pos x="connsiteX75739" y="connsiteY75739"/>
              </a:cxn>
              <a:cxn ang="0">
                <a:pos x="connsiteX75740" y="connsiteY75740"/>
              </a:cxn>
              <a:cxn ang="0">
                <a:pos x="connsiteX75741" y="connsiteY75741"/>
              </a:cxn>
              <a:cxn ang="0">
                <a:pos x="connsiteX75742" y="connsiteY75742"/>
              </a:cxn>
              <a:cxn ang="0">
                <a:pos x="connsiteX75743" y="connsiteY75743"/>
              </a:cxn>
              <a:cxn ang="0">
                <a:pos x="connsiteX75744" y="connsiteY75744"/>
              </a:cxn>
              <a:cxn ang="0">
                <a:pos x="connsiteX75745" y="connsiteY75745"/>
              </a:cxn>
              <a:cxn ang="0">
                <a:pos x="connsiteX75746" y="connsiteY75746"/>
              </a:cxn>
              <a:cxn ang="0">
                <a:pos x="connsiteX75747" y="connsiteY75747"/>
              </a:cxn>
              <a:cxn ang="0">
                <a:pos x="connsiteX75748" y="connsiteY75748"/>
              </a:cxn>
              <a:cxn ang="0">
                <a:pos x="connsiteX75749" y="connsiteY75749"/>
              </a:cxn>
              <a:cxn ang="0">
                <a:pos x="connsiteX75750" y="connsiteY75750"/>
              </a:cxn>
              <a:cxn ang="0">
                <a:pos x="connsiteX75751" y="connsiteY75751"/>
              </a:cxn>
              <a:cxn ang="0">
                <a:pos x="connsiteX75752" y="connsiteY75752"/>
              </a:cxn>
              <a:cxn ang="0">
                <a:pos x="connsiteX75753" y="connsiteY75753"/>
              </a:cxn>
              <a:cxn ang="0">
                <a:pos x="connsiteX75754" y="connsiteY75754"/>
              </a:cxn>
              <a:cxn ang="0">
                <a:pos x="connsiteX75755" y="connsiteY75755"/>
              </a:cxn>
              <a:cxn ang="0">
                <a:pos x="connsiteX75756" y="connsiteY75756"/>
              </a:cxn>
              <a:cxn ang="0">
                <a:pos x="connsiteX75757" y="connsiteY75757"/>
              </a:cxn>
              <a:cxn ang="0">
                <a:pos x="connsiteX75758" y="connsiteY75758"/>
              </a:cxn>
              <a:cxn ang="0">
                <a:pos x="connsiteX75759" y="connsiteY75759"/>
              </a:cxn>
              <a:cxn ang="0">
                <a:pos x="connsiteX75760" y="connsiteY75760"/>
              </a:cxn>
              <a:cxn ang="0">
                <a:pos x="connsiteX75761" y="connsiteY75761"/>
              </a:cxn>
              <a:cxn ang="0">
                <a:pos x="connsiteX75762" y="connsiteY75762"/>
              </a:cxn>
              <a:cxn ang="0">
                <a:pos x="connsiteX75763" y="connsiteY75763"/>
              </a:cxn>
              <a:cxn ang="0">
                <a:pos x="connsiteX75764" y="connsiteY75764"/>
              </a:cxn>
              <a:cxn ang="0">
                <a:pos x="connsiteX75765" y="connsiteY75765"/>
              </a:cxn>
              <a:cxn ang="0">
                <a:pos x="connsiteX75766" y="connsiteY75766"/>
              </a:cxn>
              <a:cxn ang="0">
                <a:pos x="connsiteX75767" y="connsiteY75767"/>
              </a:cxn>
              <a:cxn ang="0">
                <a:pos x="connsiteX75768" y="connsiteY75768"/>
              </a:cxn>
              <a:cxn ang="0">
                <a:pos x="connsiteX75769" y="connsiteY75769"/>
              </a:cxn>
              <a:cxn ang="0">
                <a:pos x="connsiteX75770" y="connsiteY75770"/>
              </a:cxn>
              <a:cxn ang="0">
                <a:pos x="connsiteX75771" y="connsiteY75771"/>
              </a:cxn>
              <a:cxn ang="0">
                <a:pos x="connsiteX75772" y="connsiteY75772"/>
              </a:cxn>
              <a:cxn ang="0">
                <a:pos x="connsiteX75773" y="connsiteY75773"/>
              </a:cxn>
              <a:cxn ang="0">
                <a:pos x="connsiteX75774" y="connsiteY75774"/>
              </a:cxn>
              <a:cxn ang="0">
                <a:pos x="connsiteX75775" y="connsiteY75775"/>
              </a:cxn>
              <a:cxn ang="0">
                <a:pos x="connsiteX75776" y="connsiteY75776"/>
              </a:cxn>
              <a:cxn ang="0">
                <a:pos x="connsiteX75777" y="connsiteY75777"/>
              </a:cxn>
              <a:cxn ang="0">
                <a:pos x="connsiteX75778" y="connsiteY75778"/>
              </a:cxn>
              <a:cxn ang="0">
                <a:pos x="connsiteX75779" y="connsiteY75779"/>
              </a:cxn>
              <a:cxn ang="0">
                <a:pos x="connsiteX75780" y="connsiteY75780"/>
              </a:cxn>
              <a:cxn ang="0">
                <a:pos x="connsiteX75781" y="connsiteY75781"/>
              </a:cxn>
              <a:cxn ang="0">
                <a:pos x="connsiteX75782" y="connsiteY75782"/>
              </a:cxn>
              <a:cxn ang="0">
                <a:pos x="connsiteX75783" y="connsiteY75783"/>
              </a:cxn>
              <a:cxn ang="0">
                <a:pos x="connsiteX75784" y="connsiteY75784"/>
              </a:cxn>
              <a:cxn ang="0">
                <a:pos x="connsiteX75785" y="connsiteY75785"/>
              </a:cxn>
              <a:cxn ang="0">
                <a:pos x="connsiteX75786" y="connsiteY75786"/>
              </a:cxn>
              <a:cxn ang="0">
                <a:pos x="connsiteX75787" y="connsiteY75787"/>
              </a:cxn>
              <a:cxn ang="0">
                <a:pos x="connsiteX75788" y="connsiteY75788"/>
              </a:cxn>
              <a:cxn ang="0">
                <a:pos x="connsiteX75789" y="connsiteY75789"/>
              </a:cxn>
              <a:cxn ang="0">
                <a:pos x="connsiteX75790" y="connsiteY75790"/>
              </a:cxn>
              <a:cxn ang="0">
                <a:pos x="connsiteX75791" y="connsiteY75791"/>
              </a:cxn>
              <a:cxn ang="0">
                <a:pos x="connsiteX75792" y="connsiteY75792"/>
              </a:cxn>
              <a:cxn ang="0">
                <a:pos x="connsiteX75793" y="connsiteY75793"/>
              </a:cxn>
              <a:cxn ang="0">
                <a:pos x="connsiteX75794" y="connsiteY75794"/>
              </a:cxn>
              <a:cxn ang="0">
                <a:pos x="connsiteX75795" y="connsiteY75795"/>
              </a:cxn>
              <a:cxn ang="0">
                <a:pos x="connsiteX75796" y="connsiteY75796"/>
              </a:cxn>
              <a:cxn ang="0">
                <a:pos x="connsiteX75797" y="connsiteY75797"/>
              </a:cxn>
              <a:cxn ang="0">
                <a:pos x="connsiteX75798" y="connsiteY75798"/>
              </a:cxn>
              <a:cxn ang="0">
                <a:pos x="connsiteX75799" y="connsiteY75799"/>
              </a:cxn>
              <a:cxn ang="0">
                <a:pos x="connsiteX75800" y="connsiteY75800"/>
              </a:cxn>
              <a:cxn ang="0">
                <a:pos x="connsiteX75801" y="connsiteY75801"/>
              </a:cxn>
              <a:cxn ang="0">
                <a:pos x="connsiteX75802" y="connsiteY75802"/>
              </a:cxn>
              <a:cxn ang="0">
                <a:pos x="connsiteX75803" y="connsiteY75803"/>
              </a:cxn>
              <a:cxn ang="0">
                <a:pos x="connsiteX75804" y="connsiteY75804"/>
              </a:cxn>
              <a:cxn ang="0">
                <a:pos x="connsiteX75805" y="connsiteY75805"/>
              </a:cxn>
              <a:cxn ang="0">
                <a:pos x="connsiteX75806" y="connsiteY75806"/>
              </a:cxn>
              <a:cxn ang="0">
                <a:pos x="connsiteX75807" y="connsiteY75807"/>
              </a:cxn>
              <a:cxn ang="0">
                <a:pos x="connsiteX75808" y="connsiteY75808"/>
              </a:cxn>
              <a:cxn ang="0">
                <a:pos x="connsiteX75809" y="connsiteY75809"/>
              </a:cxn>
              <a:cxn ang="0">
                <a:pos x="connsiteX75810" y="connsiteY75810"/>
              </a:cxn>
              <a:cxn ang="0">
                <a:pos x="connsiteX75811" y="connsiteY75811"/>
              </a:cxn>
              <a:cxn ang="0">
                <a:pos x="connsiteX75812" y="connsiteY75812"/>
              </a:cxn>
              <a:cxn ang="0">
                <a:pos x="connsiteX75813" y="connsiteY75813"/>
              </a:cxn>
              <a:cxn ang="0">
                <a:pos x="connsiteX75814" y="connsiteY75814"/>
              </a:cxn>
              <a:cxn ang="0">
                <a:pos x="connsiteX75815" y="connsiteY75815"/>
              </a:cxn>
              <a:cxn ang="0">
                <a:pos x="connsiteX75816" y="connsiteY75816"/>
              </a:cxn>
              <a:cxn ang="0">
                <a:pos x="connsiteX75817" y="connsiteY75817"/>
              </a:cxn>
              <a:cxn ang="0">
                <a:pos x="connsiteX75818" y="connsiteY75818"/>
              </a:cxn>
              <a:cxn ang="0">
                <a:pos x="connsiteX75819" y="connsiteY75819"/>
              </a:cxn>
              <a:cxn ang="0">
                <a:pos x="connsiteX75820" y="connsiteY75820"/>
              </a:cxn>
              <a:cxn ang="0">
                <a:pos x="connsiteX75821" y="connsiteY75821"/>
              </a:cxn>
              <a:cxn ang="0">
                <a:pos x="connsiteX75822" y="connsiteY75822"/>
              </a:cxn>
              <a:cxn ang="0">
                <a:pos x="connsiteX75823" y="connsiteY75823"/>
              </a:cxn>
              <a:cxn ang="0">
                <a:pos x="connsiteX75824" y="connsiteY75824"/>
              </a:cxn>
              <a:cxn ang="0">
                <a:pos x="connsiteX75825" y="connsiteY75825"/>
              </a:cxn>
              <a:cxn ang="0">
                <a:pos x="connsiteX75826" y="connsiteY75826"/>
              </a:cxn>
              <a:cxn ang="0">
                <a:pos x="connsiteX75827" y="connsiteY75827"/>
              </a:cxn>
              <a:cxn ang="0">
                <a:pos x="connsiteX75828" y="connsiteY75828"/>
              </a:cxn>
              <a:cxn ang="0">
                <a:pos x="connsiteX75829" y="connsiteY75829"/>
              </a:cxn>
              <a:cxn ang="0">
                <a:pos x="connsiteX75830" y="connsiteY75830"/>
              </a:cxn>
              <a:cxn ang="0">
                <a:pos x="connsiteX75831" y="connsiteY75831"/>
              </a:cxn>
              <a:cxn ang="0">
                <a:pos x="connsiteX75832" y="connsiteY75832"/>
              </a:cxn>
              <a:cxn ang="0">
                <a:pos x="connsiteX75833" y="connsiteY75833"/>
              </a:cxn>
              <a:cxn ang="0">
                <a:pos x="connsiteX75834" y="connsiteY75834"/>
              </a:cxn>
              <a:cxn ang="0">
                <a:pos x="connsiteX75835" y="connsiteY75835"/>
              </a:cxn>
              <a:cxn ang="0">
                <a:pos x="connsiteX75836" y="connsiteY75836"/>
              </a:cxn>
              <a:cxn ang="0">
                <a:pos x="connsiteX75837" y="connsiteY75837"/>
              </a:cxn>
              <a:cxn ang="0">
                <a:pos x="connsiteX75838" y="connsiteY75838"/>
              </a:cxn>
              <a:cxn ang="0">
                <a:pos x="connsiteX75839" y="connsiteY75839"/>
              </a:cxn>
              <a:cxn ang="0">
                <a:pos x="connsiteX75840" y="connsiteY75840"/>
              </a:cxn>
              <a:cxn ang="0">
                <a:pos x="connsiteX75841" y="connsiteY75841"/>
              </a:cxn>
              <a:cxn ang="0">
                <a:pos x="connsiteX75842" y="connsiteY75842"/>
              </a:cxn>
              <a:cxn ang="0">
                <a:pos x="connsiteX75843" y="connsiteY75843"/>
              </a:cxn>
              <a:cxn ang="0">
                <a:pos x="connsiteX75844" y="connsiteY75844"/>
              </a:cxn>
              <a:cxn ang="0">
                <a:pos x="connsiteX75845" y="connsiteY75845"/>
              </a:cxn>
              <a:cxn ang="0">
                <a:pos x="connsiteX75846" y="connsiteY75846"/>
              </a:cxn>
              <a:cxn ang="0">
                <a:pos x="connsiteX75847" y="connsiteY75847"/>
              </a:cxn>
              <a:cxn ang="0">
                <a:pos x="connsiteX75848" y="connsiteY75848"/>
              </a:cxn>
              <a:cxn ang="0">
                <a:pos x="connsiteX75849" y="connsiteY75849"/>
              </a:cxn>
              <a:cxn ang="0">
                <a:pos x="connsiteX75850" y="connsiteY75850"/>
              </a:cxn>
              <a:cxn ang="0">
                <a:pos x="connsiteX75851" y="connsiteY75851"/>
              </a:cxn>
              <a:cxn ang="0">
                <a:pos x="connsiteX75852" y="connsiteY75852"/>
              </a:cxn>
              <a:cxn ang="0">
                <a:pos x="connsiteX75853" y="connsiteY75853"/>
              </a:cxn>
              <a:cxn ang="0">
                <a:pos x="connsiteX75854" y="connsiteY75854"/>
              </a:cxn>
              <a:cxn ang="0">
                <a:pos x="connsiteX75855" y="connsiteY75855"/>
              </a:cxn>
              <a:cxn ang="0">
                <a:pos x="connsiteX75856" y="connsiteY75856"/>
              </a:cxn>
              <a:cxn ang="0">
                <a:pos x="connsiteX75857" y="connsiteY75857"/>
              </a:cxn>
              <a:cxn ang="0">
                <a:pos x="connsiteX75858" y="connsiteY75858"/>
              </a:cxn>
              <a:cxn ang="0">
                <a:pos x="connsiteX75859" y="connsiteY75859"/>
              </a:cxn>
              <a:cxn ang="0">
                <a:pos x="connsiteX75860" y="connsiteY75860"/>
              </a:cxn>
              <a:cxn ang="0">
                <a:pos x="connsiteX75861" y="connsiteY75861"/>
              </a:cxn>
              <a:cxn ang="0">
                <a:pos x="connsiteX75862" y="connsiteY75862"/>
              </a:cxn>
              <a:cxn ang="0">
                <a:pos x="connsiteX75863" y="connsiteY75863"/>
              </a:cxn>
              <a:cxn ang="0">
                <a:pos x="connsiteX75864" y="connsiteY75864"/>
              </a:cxn>
              <a:cxn ang="0">
                <a:pos x="connsiteX75865" y="connsiteY75865"/>
              </a:cxn>
              <a:cxn ang="0">
                <a:pos x="connsiteX75866" y="connsiteY75866"/>
              </a:cxn>
              <a:cxn ang="0">
                <a:pos x="connsiteX75867" y="connsiteY75867"/>
              </a:cxn>
              <a:cxn ang="0">
                <a:pos x="connsiteX75868" y="connsiteY75868"/>
              </a:cxn>
              <a:cxn ang="0">
                <a:pos x="connsiteX75869" y="connsiteY75869"/>
              </a:cxn>
              <a:cxn ang="0">
                <a:pos x="connsiteX75870" y="connsiteY75870"/>
              </a:cxn>
              <a:cxn ang="0">
                <a:pos x="connsiteX75871" y="connsiteY75871"/>
              </a:cxn>
              <a:cxn ang="0">
                <a:pos x="connsiteX75872" y="connsiteY75872"/>
              </a:cxn>
              <a:cxn ang="0">
                <a:pos x="connsiteX75873" y="connsiteY75873"/>
              </a:cxn>
              <a:cxn ang="0">
                <a:pos x="connsiteX75874" y="connsiteY75874"/>
              </a:cxn>
              <a:cxn ang="0">
                <a:pos x="connsiteX75875" y="connsiteY75875"/>
              </a:cxn>
              <a:cxn ang="0">
                <a:pos x="connsiteX75876" y="connsiteY75876"/>
              </a:cxn>
              <a:cxn ang="0">
                <a:pos x="connsiteX75877" y="connsiteY75877"/>
              </a:cxn>
              <a:cxn ang="0">
                <a:pos x="connsiteX75878" y="connsiteY75878"/>
              </a:cxn>
              <a:cxn ang="0">
                <a:pos x="connsiteX75879" y="connsiteY75879"/>
              </a:cxn>
              <a:cxn ang="0">
                <a:pos x="connsiteX75880" y="connsiteY75880"/>
              </a:cxn>
              <a:cxn ang="0">
                <a:pos x="connsiteX75881" y="connsiteY75881"/>
              </a:cxn>
              <a:cxn ang="0">
                <a:pos x="connsiteX75882" y="connsiteY75882"/>
              </a:cxn>
              <a:cxn ang="0">
                <a:pos x="connsiteX75883" y="connsiteY75883"/>
              </a:cxn>
              <a:cxn ang="0">
                <a:pos x="connsiteX75884" y="connsiteY75884"/>
              </a:cxn>
              <a:cxn ang="0">
                <a:pos x="connsiteX75885" y="connsiteY75885"/>
              </a:cxn>
              <a:cxn ang="0">
                <a:pos x="connsiteX75886" y="connsiteY75886"/>
              </a:cxn>
              <a:cxn ang="0">
                <a:pos x="connsiteX75887" y="connsiteY75887"/>
              </a:cxn>
              <a:cxn ang="0">
                <a:pos x="connsiteX75888" y="connsiteY75888"/>
              </a:cxn>
              <a:cxn ang="0">
                <a:pos x="connsiteX75889" y="connsiteY75889"/>
              </a:cxn>
              <a:cxn ang="0">
                <a:pos x="connsiteX75890" y="connsiteY75890"/>
              </a:cxn>
              <a:cxn ang="0">
                <a:pos x="connsiteX75891" y="connsiteY75891"/>
              </a:cxn>
              <a:cxn ang="0">
                <a:pos x="connsiteX75892" y="connsiteY75892"/>
              </a:cxn>
              <a:cxn ang="0">
                <a:pos x="connsiteX75893" y="connsiteY75893"/>
              </a:cxn>
              <a:cxn ang="0">
                <a:pos x="connsiteX75894" y="connsiteY75894"/>
              </a:cxn>
              <a:cxn ang="0">
                <a:pos x="connsiteX75895" y="connsiteY75895"/>
              </a:cxn>
              <a:cxn ang="0">
                <a:pos x="connsiteX75896" y="connsiteY75896"/>
              </a:cxn>
              <a:cxn ang="0">
                <a:pos x="connsiteX75897" y="connsiteY75897"/>
              </a:cxn>
              <a:cxn ang="0">
                <a:pos x="connsiteX75898" y="connsiteY75898"/>
              </a:cxn>
              <a:cxn ang="0">
                <a:pos x="connsiteX75899" y="connsiteY75899"/>
              </a:cxn>
              <a:cxn ang="0">
                <a:pos x="connsiteX75900" y="connsiteY75900"/>
              </a:cxn>
              <a:cxn ang="0">
                <a:pos x="connsiteX75901" y="connsiteY75901"/>
              </a:cxn>
              <a:cxn ang="0">
                <a:pos x="connsiteX75902" y="connsiteY75902"/>
              </a:cxn>
              <a:cxn ang="0">
                <a:pos x="connsiteX75903" y="connsiteY75903"/>
              </a:cxn>
              <a:cxn ang="0">
                <a:pos x="connsiteX75904" y="connsiteY75904"/>
              </a:cxn>
              <a:cxn ang="0">
                <a:pos x="connsiteX75905" y="connsiteY75905"/>
              </a:cxn>
              <a:cxn ang="0">
                <a:pos x="connsiteX75906" y="connsiteY75906"/>
              </a:cxn>
              <a:cxn ang="0">
                <a:pos x="connsiteX75907" y="connsiteY75907"/>
              </a:cxn>
              <a:cxn ang="0">
                <a:pos x="connsiteX75908" y="connsiteY75908"/>
              </a:cxn>
              <a:cxn ang="0">
                <a:pos x="connsiteX75909" y="connsiteY75909"/>
              </a:cxn>
              <a:cxn ang="0">
                <a:pos x="connsiteX75910" y="connsiteY75910"/>
              </a:cxn>
              <a:cxn ang="0">
                <a:pos x="connsiteX75911" y="connsiteY75911"/>
              </a:cxn>
              <a:cxn ang="0">
                <a:pos x="connsiteX75912" y="connsiteY75912"/>
              </a:cxn>
              <a:cxn ang="0">
                <a:pos x="connsiteX75913" y="connsiteY75913"/>
              </a:cxn>
              <a:cxn ang="0">
                <a:pos x="connsiteX75914" y="connsiteY75914"/>
              </a:cxn>
              <a:cxn ang="0">
                <a:pos x="connsiteX75915" y="connsiteY75915"/>
              </a:cxn>
              <a:cxn ang="0">
                <a:pos x="connsiteX75916" y="connsiteY75916"/>
              </a:cxn>
              <a:cxn ang="0">
                <a:pos x="connsiteX75917" y="connsiteY75917"/>
              </a:cxn>
              <a:cxn ang="0">
                <a:pos x="connsiteX75918" y="connsiteY75918"/>
              </a:cxn>
              <a:cxn ang="0">
                <a:pos x="connsiteX75919" y="connsiteY75919"/>
              </a:cxn>
              <a:cxn ang="0">
                <a:pos x="connsiteX75920" y="connsiteY75920"/>
              </a:cxn>
              <a:cxn ang="0">
                <a:pos x="connsiteX75921" y="connsiteY75921"/>
              </a:cxn>
              <a:cxn ang="0">
                <a:pos x="connsiteX75922" y="connsiteY75922"/>
              </a:cxn>
              <a:cxn ang="0">
                <a:pos x="connsiteX75923" y="connsiteY75923"/>
              </a:cxn>
              <a:cxn ang="0">
                <a:pos x="connsiteX75924" y="connsiteY75924"/>
              </a:cxn>
              <a:cxn ang="0">
                <a:pos x="connsiteX75925" y="connsiteY75925"/>
              </a:cxn>
              <a:cxn ang="0">
                <a:pos x="connsiteX75926" y="connsiteY75926"/>
              </a:cxn>
              <a:cxn ang="0">
                <a:pos x="connsiteX75927" y="connsiteY75927"/>
              </a:cxn>
              <a:cxn ang="0">
                <a:pos x="connsiteX75928" y="connsiteY75928"/>
              </a:cxn>
              <a:cxn ang="0">
                <a:pos x="connsiteX75929" y="connsiteY75929"/>
              </a:cxn>
              <a:cxn ang="0">
                <a:pos x="connsiteX75930" y="connsiteY75930"/>
              </a:cxn>
              <a:cxn ang="0">
                <a:pos x="connsiteX75931" y="connsiteY75931"/>
              </a:cxn>
              <a:cxn ang="0">
                <a:pos x="connsiteX75932" y="connsiteY75932"/>
              </a:cxn>
              <a:cxn ang="0">
                <a:pos x="connsiteX75933" y="connsiteY75933"/>
              </a:cxn>
              <a:cxn ang="0">
                <a:pos x="connsiteX75934" y="connsiteY75934"/>
              </a:cxn>
              <a:cxn ang="0">
                <a:pos x="connsiteX75935" y="connsiteY75935"/>
              </a:cxn>
              <a:cxn ang="0">
                <a:pos x="connsiteX75936" y="connsiteY75936"/>
              </a:cxn>
              <a:cxn ang="0">
                <a:pos x="connsiteX75937" y="connsiteY75937"/>
              </a:cxn>
              <a:cxn ang="0">
                <a:pos x="connsiteX75938" y="connsiteY75938"/>
              </a:cxn>
              <a:cxn ang="0">
                <a:pos x="connsiteX75939" y="connsiteY75939"/>
              </a:cxn>
              <a:cxn ang="0">
                <a:pos x="connsiteX75940" y="connsiteY75940"/>
              </a:cxn>
              <a:cxn ang="0">
                <a:pos x="connsiteX75941" y="connsiteY75941"/>
              </a:cxn>
              <a:cxn ang="0">
                <a:pos x="connsiteX75942" y="connsiteY75942"/>
              </a:cxn>
              <a:cxn ang="0">
                <a:pos x="connsiteX75943" y="connsiteY75943"/>
              </a:cxn>
              <a:cxn ang="0">
                <a:pos x="connsiteX75944" y="connsiteY75944"/>
              </a:cxn>
              <a:cxn ang="0">
                <a:pos x="connsiteX75945" y="connsiteY75945"/>
              </a:cxn>
              <a:cxn ang="0">
                <a:pos x="connsiteX75946" y="connsiteY75946"/>
              </a:cxn>
              <a:cxn ang="0">
                <a:pos x="connsiteX75947" y="connsiteY75947"/>
              </a:cxn>
              <a:cxn ang="0">
                <a:pos x="connsiteX75948" y="connsiteY75948"/>
              </a:cxn>
              <a:cxn ang="0">
                <a:pos x="connsiteX75949" y="connsiteY75949"/>
              </a:cxn>
              <a:cxn ang="0">
                <a:pos x="connsiteX75950" y="connsiteY75950"/>
              </a:cxn>
              <a:cxn ang="0">
                <a:pos x="connsiteX75951" y="connsiteY75951"/>
              </a:cxn>
              <a:cxn ang="0">
                <a:pos x="connsiteX75952" y="connsiteY75952"/>
              </a:cxn>
              <a:cxn ang="0">
                <a:pos x="connsiteX75953" y="connsiteY75953"/>
              </a:cxn>
              <a:cxn ang="0">
                <a:pos x="connsiteX75954" y="connsiteY75954"/>
              </a:cxn>
              <a:cxn ang="0">
                <a:pos x="connsiteX75955" y="connsiteY75955"/>
              </a:cxn>
              <a:cxn ang="0">
                <a:pos x="connsiteX75956" y="connsiteY75956"/>
              </a:cxn>
              <a:cxn ang="0">
                <a:pos x="connsiteX75957" y="connsiteY75957"/>
              </a:cxn>
              <a:cxn ang="0">
                <a:pos x="connsiteX75958" y="connsiteY75958"/>
              </a:cxn>
              <a:cxn ang="0">
                <a:pos x="connsiteX75959" y="connsiteY75959"/>
              </a:cxn>
              <a:cxn ang="0">
                <a:pos x="connsiteX75960" y="connsiteY75960"/>
              </a:cxn>
              <a:cxn ang="0">
                <a:pos x="connsiteX75961" y="connsiteY75961"/>
              </a:cxn>
              <a:cxn ang="0">
                <a:pos x="connsiteX75962" y="connsiteY75962"/>
              </a:cxn>
              <a:cxn ang="0">
                <a:pos x="connsiteX75963" y="connsiteY75963"/>
              </a:cxn>
              <a:cxn ang="0">
                <a:pos x="connsiteX75964" y="connsiteY75964"/>
              </a:cxn>
              <a:cxn ang="0">
                <a:pos x="connsiteX75965" y="connsiteY75965"/>
              </a:cxn>
              <a:cxn ang="0">
                <a:pos x="connsiteX75966" y="connsiteY75966"/>
              </a:cxn>
              <a:cxn ang="0">
                <a:pos x="connsiteX75967" y="connsiteY75967"/>
              </a:cxn>
              <a:cxn ang="0">
                <a:pos x="connsiteX75968" y="connsiteY75968"/>
              </a:cxn>
              <a:cxn ang="0">
                <a:pos x="connsiteX75969" y="connsiteY75969"/>
              </a:cxn>
              <a:cxn ang="0">
                <a:pos x="connsiteX75970" y="connsiteY75970"/>
              </a:cxn>
              <a:cxn ang="0">
                <a:pos x="connsiteX75971" y="connsiteY75971"/>
              </a:cxn>
              <a:cxn ang="0">
                <a:pos x="connsiteX75972" y="connsiteY75972"/>
              </a:cxn>
              <a:cxn ang="0">
                <a:pos x="connsiteX75973" y="connsiteY75973"/>
              </a:cxn>
              <a:cxn ang="0">
                <a:pos x="connsiteX75974" y="connsiteY75974"/>
              </a:cxn>
              <a:cxn ang="0">
                <a:pos x="connsiteX75975" y="connsiteY75975"/>
              </a:cxn>
              <a:cxn ang="0">
                <a:pos x="connsiteX75976" y="connsiteY75976"/>
              </a:cxn>
              <a:cxn ang="0">
                <a:pos x="connsiteX75977" y="connsiteY75977"/>
              </a:cxn>
              <a:cxn ang="0">
                <a:pos x="connsiteX75978" y="connsiteY75978"/>
              </a:cxn>
              <a:cxn ang="0">
                <a:pos x="connsiteX75979" y="connsiteY75979"/>
              </a:cxn>
              <a:cxn ang="0">
                <a:pos x="connsiteX75980" y="connsiteY75980"/>
              </a:cxn>
              <a:cxn ang="0">
                <a:pos x="connsiteX75981" y="connsiteY75981"/>
              </a:cxn>
            </a:cxnLst>
            <a:rect l="l" t="t" r="r" b="b"/>
            <a:pathLst>
              <a:path w="6884782" h="5973007">
                <a:moveTo>
                  <a:pt x="3635377" y="5934079"/>
                </a:moveTo>
                <a:cubicBezTo>
                  <a:pt x="3642502" y="5940791"/>
                  <a:pt x="3644516" y="5947192"/>
                  <a:pt x="3642967" y="5953594"/>
                </a:cubicBezTo>
                <a:cubicBezTo>
                  <a:pt x="3642192" y="5956795"/>
                  <a:pt x="3640643" y="5959996"/>
                  <a:pt x="3638165" y="5963197"/>
                </a:cubicBezTo>
                <a:lnTo>
                  <a:pt x="3628871" y="5973007"/>
                </a:lnTo>
                <a:lnTo>
                  <a:pt x="3623915" y="5962784"/>
                </a:lnTo>
                <a:cubicBezTo>
                  <a:pt x="3622830" y="5957828"/>
                  <a:pt x="3623605" y="5952975"/>
                  <a:pt x="3625618" y="5948225"/>
                </a:cubicBezTo>
                <a:cubicBezTo>
                  <a:pt x="3627787" y="5943476"/>
                  <a:pt x="3631195" y="5938829"/>
                  <a:pt x="3635377" y="5934079"/>
                </a:cubicBezTo>
                <a:close/>
                <a:moveTo>
                  <a:pt x="3081158" y="5929433"/>
                </a:moveTo>
                <a:cubicBezTo>
                  <a:pt x="3080228" y="5930155"/>
                  <a:pt x="3080228" y="5930155"/>
                  <a:pt x="3081003" y="5930981"/>
                </a:cubicBezTo>
                <a:cubicBezTo>
                  <a:pt x="3081003" y="5930981"/>
                  <a:pt x="3081003" y="5930981"/>
                  <a:pt x="3081777" y="5930981"/>
                </a:cubicBezTo>
                <a:cubicBezTo>
                  <a:pt x="3081623" y="5931808"/>
                  <a:pt x="3080848" y="5931911"/>
                  <a:pt x="3080848" y="5932634"/>
                </a:cubicBezTo>
                <a:cubicBezTo>
                  <a:pt x="3080848" y="5932634"/>
                  <a:pt x="3080073" y="5932634"/>
                  <a:pt x="3080073" y="5932634"/>
                </a:cubicBezTo>
                <a:cubicBezTo>
                  <a:pt x="3079919" y="5933047"/>
                  <a:pt x="3079919" y="5933047"/>
                  <a:pt x="3079764" y="5932840"/>
                </a:cubicBezTo>
                <a:cubicBezTo>
                  <a:pt x="3079609" y="5932634"/>
                  <a:pt x="3079299" y="5932220"/>
                  <a:pt x="3078525" y="5931808"/>
                </a:cubicBezTo>
                <a:cubicBezTo>
                  <a:pt x="3078060" y="5931394"/>
                  <a:pt x="3077750" y="5931188"/>
                  <a:pt x="3077595" y="5930981"/>
                </a:cubicBezTo>
                <a:cubicBezTo>
                  <a:pt x="3077440" y="5930775"/>
                  <a:pt x="3077440" y="5930568"/>
                  <a:pt x="3077750" y="5930155"/>
                </a:cubicBezTo>
                <a:cubicBezTo>
                  <a:pt x="3078680" y="5929329"/>
                  <a:pt x="3078680" y="5929329"/>
                  <a:pt x="3081158" y="5929433"/>
                </a:cubicBezTo>
                <a:close/>
                <a:moveTo>
                  <a:pt x="3321693" y="5902573"/>
                </a:moveTo>
                <a:cubicBezTo>
                  <a:pt x="3325120" y="5902535"/>
                  <a:pt x="3328450" y="5904032"/>
                  <a:pt x="3331470" y="5907646"/>
                </a:cubicBezTo>
                <a:cubicBezTo>
                  <a:pt x="3329921" y="5912499"/>
                  <a:pt x="3326668" y="5916732"/>
                  <a:pt x="3319853" y="5921688"/>
                </a:cubicBezTo>
                <a:cubicBezTo>
                  <a:pt x="3316445" y="5918900"/>
                  <a:pt x="3314432" y="5916525"/>
                  <a:pt x="3313038" y="5914151"/>
                </a:cubicBezTo>
                <a:cubicBezTo>
                  <a:pt x="3311799" y="5911673"/>
                  <a:pt x="3311334" y="5909298"/>
                  <a:pt x="3311334" y="5906716"/>
                </a:cubicBezTo>
                <a:cubicBezTo>
                  <a:pt x="3314742" y="5904186"/>
                  <a:pt x="3318265" y="5902612"/>
                  <a:pt x="3321693" y="5902573"/>
                </a:cubicBezTo>
                <a:close/>
                <a:moveTo>
                  <a:pt x="3006188" y="5901037"/>
                </a:moveTo>
                <a:cubicBezTo>
                  <a:pt x="3006808" y="5902792"/>
                  <a:pt x="3005723" y="5904445"/>
                  <a:pt x="3004794" y="5906200"/>
                </a:cubicBezTo>
                <a:cubicBezTo>
                  <a:pt x="3003865" y="5907439"/>
                  <a:pt x="3002935" y="5907852"/>
                  <a:pt x="3002161" y="5907749"/>
                </a:cubicBezTo>
                <a:cubicBezTo>
                  <a:pt x="3001231" y="5907646"/>
                  <a:pt x="3000457" y="5907026"/>
                  <a:pt x="2999682" y="5906097"/>
                </a:cubicBezTo>
                <a:cubicBezTo>
                  <a:pt x="2998288" y="5904342"/>
                  <a:pt x="2999218" y="5902586"/>
                  <a:pt x="2999218" y="5902586"/>
                </a:cubicBezTo>
                <a:cubicBezTo>
                  <a:pt x="3001231" y="5900005"/>
                  <a:pt x="3003865" y="5899282"/>
                  <a:pt x="3006188" y="5901037"/>
                </a:cubicBezTo>
                <a:close/>
                <a:moveTo>
                  <a:pt x="3073878" y="5869028"/>
                </a:moveTo>
                <a:cubicBezTo>
                  <a:pt x="3075582" y="5869957"/>
                  <a:pt x="3078060" y="5869131"/>
                  <a:pt x="3079609" y="5870886"/>
                </a:cubicBezTo>
                <a:cubicBezTo>
                  <a:pt x="3079609" y="5870886"/>
                  <a:pt x="3080383" y="5871816"/>
                  <a:pt x="3080073" y="5873468"/>
                </a:cubicBezTo>
                <a:cubicBezTo>
                  <a:pt x="3081468" y="5876152"/>
                  <a:pt x="3078834" y="5878734"/>
                  <a:pt x="3078834" y="5878734"/>
                </a:cubicBezTo>
                <a:cubicBezTo>
                  <a:pt x="3078834" y="5878734"/>
                  <a:pt x="3078834" y="5878734"/>
                  <a:pt x="3079609" y="5878734"/>
                </a:cubicBezTo>
                <a:cubicBezTo>
                  <a:pt x="3077905" y="5878734"/>
                  <a:pt x="3076201" y="5879560"/>
                  <a:pt x="3074497" y="5879560"/>
                </a:cubicBezTo>
                <a:cubicBezTo>
                  <a:pt x="3072948" y="5878217"/>
                  <a:pt x="3072019" y="5877082"/>
                  <a:pt x="3071554" y="5876049"/>
                </a:cubicBezTo>
                <a:cubicBezTo>
                  <a:pt x="3069850" y="5873261"/>
                  <a:pt x="3071864" y="5871609"/>
                  <a:pt x="3073878" y="5869028"/>
                </a:cubicBezTo>
                <a:close/>
                <a:moveTo>
                  <a:pt x="3641728" y="5865723"/>
                </a:moveTo>
                <a:cubicBezTo>
                  <a:pt x="3649472" y="5879663"/>
                  <a:pt x="3649162" y="5888233"/>
                  <a:pt x="3645445" y="5892777"/>
                </a:cubicBezTo>
                <a:cubicBezTo>
                  <a:pt x="3643741" y="5894945"/>
                  <a:pt x="3641263" y="5896287"/>
                  <a:pt x="3638629" y="5896907"/>
                </a:cubicBezTo>
                <a:cubicBezTo>
                  <a:pt x="3636461" y="5897320"/>
                  <a:pt x="3634293" y="5897320"/>
                  <a:pt x="3632124" y="5897010"/>
                </a:cubicBezTo>
                <a:cubicBezTo>
                  <a:pt x="3625618" y="5896081"/>
                  <a:pt x="3619268" y="5892054"/>
                  <a:pt x="3618648" y="5886581"/>
                </a:cubicBezTo>
                <a:cubicBezTo>
                  <a:pt x="3618493" y="5885032"/>
                  <a:pt x="3618648" y="5883484"/>
                  <a:pt x="3619268" y="5881831"/>
                </a:cubicBezTo>
                <a:cubicBezTo>
                  <a:pt x="3621436" y="5876875"/>
                  <a:pt x="3628096" y="5871196"/>
                  <a:pt x="3641728" y="5865723"/>
                </a:cubicBezTo>
                <a:close/>
                <a:moveTo>
                  <a:pt x="3023846" y="5859425"/>
                </a:moveTo>
                <a:cubicBezTo>
                  <a:pt x="3024466" y="5860354"/>
                  <a:pt x="3025085" y="5861696"/>
                  <a:pt x="3025550" y="5863452"/>
                </a:cubicBezTo>
                <a:cubicBezTo>
                  <a:pt x="3022452" y="5867066"/>
                  <a:pt x="3018425" y="5873261"/>
                  <a:pt x="3013158" y="5874294"/>
                </a:cubicBezTo>
                <a:cubicBezTo>
                  <a:pt x="3011454" y="5874604"/>
                  <a:pt x="3009441" y="5874397"/>
                  <a:pt x="3007427" y="5873158"/>
                </a:cubicBezTo>
                <a:cubicBezTo>
                  <a:pt x="3006962" y="5863968"/>
                  <a:pt x="3018735" y="5852920"/>
                  <a:pt x="3023846" y="5859425"/>
                </a:cubicBezTo>
                <a:close/>
                <a:moveTo>
                  <a:pt x="3222578" y="5857050"/>
                </a:moveTo>
                <a:cubicBezTo>
                  <a:pt x="3227070" y="5856637"/>
                  <a:pt x="3227225" y="5859425"/>
                  <a:pt x="3227380" y="5862213"/>
                </a:cubicBezTo>
                <a:cubicBezTo>
                  <a:pt x="3225211" y="5861800"/>
                  <a:pt x="3224437" y="5863968"/>
                  <a:pt x="3223043" y="5864072"/>
                </a:cubicBezTo>
                <a:cubicBezTo>
                  <a:pt x="3222578" y="5864175"/>
                  <a:pt x="3221959" y="5863968"/>
                  <a:pt x="3221339" y="5863349"/>
                </a:cubicBezTo>
                <a:cubicBezTo>
                  <a:pt x="3220720" y="5861696"/>
                  <a:pt x="3220874" y="5859735"/>
                  <a:pt x="3222578" y="5857050"/>
                </a:cubicBezTo>
                <a:close/>
                <a:moveTo>
                  <a:pt x="2962197" y="5853436"/>
                </a:moveTo>
                <a:cubicBezTo>
                  <a:pt x="2963747" y="5855191"/>
                  <a:pt x="2965915" y="5857876"/>
                  <a:pt x="2964056" y="5860457"/>
                </a:cubicBezTo>
                <a:cubicBezTo>
                  <a:pt x="2963282" y="5860457"/>
                  <a:pt x="2963127" y="5861387"/>
                  <a:pt x="2962352" y="5861283"/>
                </a:cubicBezTo>
                <a:cubicBezTo>
                  <a:pt x="2962352" y="5861283"/>
                  <a:pt x="2961423" y="5861800"/>
                  <a:pt x="2960184" y="5861800"/>
                </a:cubicBezTo>
                <a:cubicBezTo>
                  <a:pt x="2958945" y="5861903"/>
                  <a:pt x="2957396" y="5861593"/>
                  <a:pt x="2955846" y="5860251"/>
                </a:cubicBezTo>
                <a:cubicBezTo>
                  <a:pt x="2955382" y="5859838"/>
                  <a:pt x="2954917" y="5859012"/>
                  <a:pt x="2954607" y="5858186"/>
                </a:cubicBezTo>
                <a:cubicBezTo>
                  <a:pt x="2954298" y="5857463"/>
                  <a:pt x="2954143" y="5856844"/>
                  <a:pt x="2954453" y="5856844"/>
                </a:cubicBezTo>
                <a:cubicBezTo>
                  <a:pt x="2955382" y="5855914"/>
                  <a:pt x="2954607" y="5855914"/>
                  <a:pt x="2954607" y="5855088"/>
                </a:cubicBezTo>
                <a:cubicBezTo>
                  <a:pt x="2957396" y="5852507"/>
                  <a:pt x="2960029" y="5851578"/>
                  <a:pt x="2962197" y="5853436"/>
                </a:cubicBezTo>
                <a:close/>
                <a:moveTo>
                  <a:pt x="3089058" y="5851268"/>
                </a:moveTo>
                <a:cubicBezTo>
                  <a:pt x="3092155" y="5853952"/>
                  <a:pt x="3094014" y="5851268"/>
                  <a:pt x="3098661" y="5855708"/>
                </a:cubicBezTo>
                <a:cubicBezTo>
                  <a:pt x="3104857" y="5861077"/>
                  <a:pt x="3102533" y="5867169"/>
                  <a:pt x="3099745" y="5870577"/>
                </a:cubicBezTo>
                <a:cubicBezTo>
                  <a:pt x="3099126" y="5869854"/>
                  <a:pt x="3095253" y="5874500"/>
                  <a:pt x="3090297" y="5874294"/>
                </a:cubicBezTo>
                <a:cubicBezTo>
                  <a:pt x="3088748" y="5874190"/>
                  <a:pt x="3087044" y="5873571"/>
                  <a:pt x="3085340" y="5872022"/>
                </a:cubicBezTo>
                <a:cubicBezTo>
                  <a:pt x="3084411" y="5871196"/>
                  <a:pt x="3083481" y="5870163"/>
                  <a:pt x="3082707" y="5869028"/>
                </a:cubicBezTo>
                <a:cubicBezTo>
                  <a:pt x="3080538" y="5865723"/>
                  <a:pt x="3080228" y="5861490"/>
                  <a:pt x="3085185" y="5856327"/>
                </a:cubicBezTo>
                <a:cubicBezTo>
                  <a:pt x="3086115" y="5854675"/>
                  <a:pt x="3086115" y="5855501"/>
                  <a:pt x="3087044" y="5854675"/>
                </a:cubicBezTo>
                <a:cubicBezTo>
                  <a:pt x="3087973" y="5853849"/>
                  <a:pt x="3088903" y="5852093"/>
                  <a:pt x="3089058" y="5851268"/>
                </a:cubicBezTo>
                <a:close/>
                <a:moveTo>
                  <a:pt x="2965915" y="5850132"/>
                </a:moveTo>
                <a:cubicBezTo>
                  <a:pt x="2966690" y="5850958"/>
                  <a:pt x="2967309" y="5852713"/>
                  <a:pt x="2966380" y="5853539"/>
                </a:cubicBezTo>
                <a:cubicBezTo>
                  <a:pt x="2965915" y="5854365"/>
                  <a:pt x="2965605" y="5854365"/>
                  <a:pt x="2964986" y="5854055"/>
                </a:cubicBezTo>
                <a:cubicBezTo>
                  <a:pt x="2964521" y="5853746"/>
                  <a:pt x="2963901" y="5853023"/>
                  <a:pt x="2963127" y="5852610"/>
                </a:cubicBezTo>
                <a:close/>
                <a:moveTo>
                  <a:pt x="2975518" y="5846724"/>
                </a:moveTo>
                <a:cubicBezTo>
                  <a:pt x="2976293" y="5846724"/>
                  <a:pt x="2976293" y="5847550"/>
                  <a:pt x="2976913" y="5848377"/>
                </a:cubicBezTo>
                <a:cubicBezTo>
                  <a:pt x="2977687" y="5850132"/>
                  <a:pt x="2977377" y="5852713"/>
                  <a:pt x="2976448" y="5853539"/>
                </a:cubicBezTo>
                <a:cubicBezTo>
                  <a:pt x="2975518" y="5854469"/>
                  <a:pt x="2974744" y="5854469"/>
                  <a:pt x="2974744" y="5854469"/>
                </a:cubicBezTo>
                <a:cubicBezTo>
                  <a:pt x="2973505" y="5853539"/>
                  <a:pt x="2972576" y="5852404"/>
                  <a:pt x="2972266" y="5851268"/>
                </a:cubicBezTo>
                <a:cubicBezTo>
                  <a:pt x="2971956" y="5850028"/>
                  <a:pt x="2972421" y="5848789"/>
                  <a:pt x="2973814" y="5847550"/>
                </a:cubicBezTo>
                <a:cubicBezTo>
                  <a:pt x="2974589" y="5846724"/>
                  <a:pt x="2975518" y="5845795"/>
                  <a:pt x="2975518" y="5846724"/>
                </a:cubicBezTo>
                <a:close/>
                <a:moveTo>
                  <a:pt x="3245193" y="5838877"/>
                </a:moveTo>
                <a:cubicBezTo>
                  <a:pt x="3245967" y="5839703"/>
                  <a:pt x="3246742" y="5839806"/>
                  <a:pt x="3245812" y="5841561"/>
                </a:cubicBezTo>
                <a:cubicBezTo>
                  <a:pt x="3245658" y="5842387"/>
                  <a:pt x="3244728" y="5843214"/>
                  <a:pt x="3244728" y="5844143"/>
                </a:cubicBezTo>
                <a:cubicBezTo>
                  <a:pt x="3244728" y="5844143"/>
                  <a:pt x="3244109" y="5844349"/>
                  <a:pt x="3243334" y="5844453"/>
                </a:cubicBezTo>
                <a:cubicBezTo>
                  <a:pt x="3242560" y="5844556"/>
                  <a:pt x="3241785" y="5844453"/>
                  <a:pt x="3241320" y="5844040"/>
                </a:cubicBezTo>
                <a:cubicBezTo>
                  <a:pt x="3241011" y="5843833"/>
                  <a:pt x="3240856" y="5843523"/>
                  <a:pt x="3240856" y="5843111"/>
                </a:cubicBezTo>
                <a:cubicBezTo>
                  <a:pt x="3241011" y="5841975"/>
                  <a:pt x="3242560" y="5840322"/>
                  <a:pt x="3242715" y="5839703"/>
                </a:cubicBezTo>
                <a:cubicBezTo>
                  <a:pt x="3243644" y="5838877"/>
                  <a:pt x="3244574" y="5837948"/>
                  <a:pt x="3245193" y="5838877"/>
                </a:cubicBezTo>
                <a:close/>
                <a:moveTo>
                  <a:pt x="3496435" y="5822872"/>
                </a:moveTo>
                <a:cubicBezTo>
                  <a:pt x="3501081" y="5829481"/>
                  <a:pt x="3501392" y="5838774"/>
                  <a:pt x="3498138" y="5847034"/>
                </a:cubicBezTo>
                <a:cubicBezTo>
                  <a:pt x="3494886" y="5855191"/>
                  <a:pt x="3488225" y="5862316"/>
                  <a:pt x="3478777" y="5864691"/>
                </a:cubicBezTo>
                <a:cubicBezTo>
                  <a:pt x="3480170" y="5858083"/>
                  <a:pt x="3480945" y="5848686"/>
                  <a:pt x="3483114" y="5840426"/>
                </a:cubicBezTo>
                <a:cubicBezTo>
                  <a:pt x="3485282" y="5832165"/>
                  <a:pt x="3489000" y="5824937"/>
                  <a:pt x="3496435" y="5822872"/>
                </a:cubicBezTo>
                <a:close/>
                <a:moveTo>
                  <a:pt x="2800428" y="5821181"/>
                </a:moveTo>
                <a:cubicBezTo>
                  <a:pt x="2802306" y="5820445"/>
                  <a:pt x="2804668" y="5820807"/>
                  <a:pt x="2805752" y="5822046"/>
                </a:cubicBezTo>
                <a:cubicBezTo>
                  <a:pt x="2805752" y="5825350"/>
                  <a:pt x="2802964" y="5827519"/>
                  <a:pt x="2800331" y="5827622"/>
                </a:cubicBezTo>
                <a:cubicBezTo>
                  <a:pt x="2799556" y="5827622"/>
                  <a:pt x="2798627" y="5827312"/>
                  <a:pt x="2798007" y="5826899"/>
                </a:cubicBezTo>
                <a:cubicBezTo>
                  <a:pt x="2797155" y="5823750"/>
                  <a:pt x="2798549" y="5821917"/>
                  <a:pt x="2800428" y="5821181"/>
                </a:cubicBezTo>
                <a:close/>
                <a:moveTo>
                  <a:pt x="3200273" y="5819258"/>
                </a:moveTo>
                <a:cubicBezTo>
                  <a:pt x="3202287" y="5816677"/>
                  <a:pt x="3204610" y="5818432"/>
                  <a:pt x="3207708" y="5819361"/>
                </a:cubicBezTo>
                <a:cubicBezTo>
                  <a:pt x="3206779" y="5820291"/>
                  <a:pt x="3207553" y="5821117"/>
                  <a:pt x="3208328" y="5822046"/>
                </a:cubicBezTo>
                <a:cubicBezTo>
                  <a:pt x="3206934" y="5823285"/>
                  <a:pt x="3205075" y="5825557"/>
                  <a:pt x="3202906" y="5825144"/>
                </a:cubicBezTo>
                <a:lnTo>
                  <a:pt x="3200893" y="5823698"/>
                </a:lnTo>
                <a:lnTo>
                  <a:pt x="3202906" y="5827622"/>
                </a:lnTo>
                <a:cubicBezTo>
                  <a:pt x="3203216" y="5829274"/>
                  <a:pt x="3202906" y="5830823"/>
                  <a:pt x="3202287" y="5832475"/>
                </a:cubicBezTo>
                <a:cubicBezTo>
                  <a:pt x="3198724" y="5842181"/>
                  <a:pt x="3181376" y="5851474"/>
                  <a:pt x="3173631" y="5851681"/>
                </a:cubicBezTo>
                <a:cubicBezTo>
                  <a:pt x="3171927" y="5848067"/>
                  <a:pt x="3172082" y="5844556"/>
                  <a:pt x="3173321" y="5841355"/>
                </a:cubicBezTo>
                <a:cubicBezTo>
                  <a:pt x="3176419" y="5834024"/>
                  <a:pt x="3185558" y="5828138"/>
                  <a:pt x="3193303" y="5825041"/>
                </a:cubicBezTo>
                <a:lnTo>
                  <a:pt x="3200428" y="5822872"/>
                </a:lnTo>
                <a:lnTo>
                  <a:pt x="3199963" y="5821736"/>
                </a:lnTo>
                <a:cubicBezTo>
                  <a:pt x="3199808" y="5820807"/>
                  <a:pt x="3199808" y="5819671"/>
                  <a:pt x="3200273" y="5819258"/>
                </a:cubicBezTo>
                <a:close/>
                <a:moveTo>
                  <a:pt x="2872357" y="5816367"/>
                </a:moveTo>
                <a:cubicBezTo>
                  <a:pt x="2873907" y="5817296"/>
                  <a:pt x="2874681" y="5818122"/>
                  <a:pt x="2876230" y="5819052"/>
                </a:cubicBezTo>
                <a:cubicBezTo>
                  <a:pt x="2875920" y="5821633"/>
                  <a:pt x="2878244" y="5824318"/>
                  <a:pt x="2874371" y="5829481"/>
                </a:cubicBezTo>
                <a:cubicBezTo>
                  <a:pt x="2869724" y="5834540"/>
                  <a:pt x="2865077" y="5830100"/>
                  <a:pt x="2864923" y="5831029"/>
                </a:cubicBezTo>
                <a:cubicBezTo>
                  <a:pt x="2863993" y="5831855"/>
                  <a:pt x="2863993" y="5831855"/>
                  <a:pt x="2863993" y="5832785"/>
                </a:cubicBezTo>
                <a:cubicBezTo>
                  <a:pt x="2863064" y="5832682"/>
                  <a:pt x="2861360" y="5833611"/>
                  <a:pt x="2860431" y="5834437"/>
                </a:cubicBezTo>
                <a:cubicBezTo>
                  <a:pt x="2860431" y="5833508"/>
                  <a:pt x="2860586" y="5832682"/>
                  <a:pt x="2859811" y="5832682"/>
                </a:cubicBezTo>
                <a:cubicBezTo>
                  <a:pt x="2861515" y="5830926"/>
                  <a:pt x="2862444" y="5831029"/>
                  <a:pt x="2863374" y="5830203"/>
                </a:cubicBezTo>
                <a:cubicBezTo>
                  <a:pt x="2862444" y="5830100"/>
                  <a:pt x="2863374" y="5829274"/>
                  <a:pt x="2863374" y="5829274"/>
                </a:cubicBezTo>
                <a:cubicBezTo>
                  <a:pt x="2863374" y="5829274"/>
                  <a:pt x="2863374" y="5829274"/>
                  <a:pt x="2861979" y="5827519"/>
                </a:cubicBezTo>
                <a:cubicBezTo>
                  <a:pt x="2861979" y="5827519"/>
                  <a:pt x="2859036" y="5823182"/>
                  <a:pt x="2862909" y="5818845"/>
                </a:cubicBezTo>
                <a:cubicBezTo>
                  <a:pt x="2863529" y="5819775"/>
                  <a:pt x="2869105" y="5814612"/>
                  <a:pt x="2872357" y="5816367"/>
                </a:cubicBezTo>
                <a:close/>
                <a:moveTo>
                  <a:pt x="2945314" y="5813166"/>
                </a:moveTo>
                <a:cubicBezTo>
                  <a:pt x="2945314" y="5813992"/>
                  <a:pt x="2944075" y="5816574"/>
                  <a:pt x="2945004" y="5816574"/>
                </a:cubicBezTo>
                <a:cubicBezTo>
                  <a:pt x="2942835" y="5818536"/>
                  <a:pt x="2940357" y="5820497"/>
                  <a:pt x="2938189" y="5820601"/>
                </a:cubicBezTo>
                <a:cubicBezTo>
                  <a:pt x="2937569" y="5820601"/>
                  <a:pt x="2936949" y="5820394"/>
                  <a:pt x="2936330" y="5819981"/>
                </a:cubicBezTo>
                <a:cubicBezTo>
                  <a:pt x="2934781" y="5819052"/>
                  <a:pt x="2935710" y="5817400"/>
                  <a:pt x="2937569" y="5815644"/>
                </a:cubicBezTo>
                <a:cubicBezTo>
                  <a:pt x="2940512" y="5811308"/>
                  <a:pt x="2943145" y="5810481"/>
                  <a:pt x="2945314" y="5813166"/>
                </a:cubicBezTo>
                <a:close/>
                <a:moveTo>
                  <a:pt x="2954917" y="5809655"/>
                </a:moveTo>
                <a:cubicBezTo>
                  <a:pt x="2954762" y="5810585"/>
                  <a:pt x="2955382" y="5812443"/>
                  <a:pt x="2954607" y="5812443"/>
                </a:cubicBezTo>
                <a:cubicBezTo>
                  <a:pt x="2954453" y="5813269"/>
                  <a:pt x="2952903" y="5813269"/>
                  <a:pt x="2952903" y="5813269"/>
                </a:cubicBezTo>
                <a:cubicBezTo>
                  <a:pt x="2952749" y="5814199"/>
                  <a:pt x="2952749" y="5815025"/>
                  <a:pt x="2951819" y="5815954"/>
                </a:cubicBezTo>
                <a:cubicBezTo>
                  <a:pt x="2951045" y="5815025"/>
                  <a:pt x="2951045" y="5815954"/>
                  <a:pt x="2950270" y="5815954"/>
                </a:cubicBezTo>
                <a:cubicBezTo>
                  <a:pt x="2951045" y="5815025"/>
                  <a:pt x="2951355" y="5812340"/>
                  <a:pt x="2952439" y="5810585"/>
                </a:cubicBezTo>
                <a:cubicBezTo>
                  <a:pt x="2953214" y="5810585"/>
                  <a:pt x="2954143" y="5809655"/>
                  <a:pt x="2954917" y="5809655"/>
                </a:cubicBezTo>
                <a:close/>
                <a:moveTo>
                  <a:pt x="3280354" y="5805938"/>
                </a:moveTo>
                <a:cubicBezTo>
                  <a:pt x="3285466" y="5807177"/>
                  <a:pt x="3285931" y="5810688"/>
                  <a:pt x="3283297" y="5815748"/>
                </a:cubicBezTo>
                <a:cubicBezTo>
                  <a:pt x="3281439" y="5815748"/>
                  <a:pt x="3279890" y="5816470"/>
                  <a:pt x="3277256" y="5816883"/>
                </a:cubicBezTo>
                <a:cubicBezTo>
                  <a:pt x="3276327" y="5814509"/>
                  <a:pt x="3276792" y="5808726"/>
                  <a:pt x="3280354" y="5805938"/>
                </a:cubicBezTo>
                <a:close/>
                <a:moveTo>
                  <a:pt x="3139805" y="5803383"/>
                </a:moveTo>
                <a:cubicBezTo>
                  <a:pt x="3142613" y="5803202"/>
                  <a:pt x="3144820" y="5803873"/>
                  <a:pt x="3145750" y="5803460"/>
                </a:cubicBezTo>
                <a:cubicBezTo>
                  <a:pt x="3147918" y="5806042"/>
                  <a:pt x="3147918" y="5806042"/>
                  <a:pt x="3143271" y="5811204"/>
                </a:cubicBezTo>
                <a:cubicBezTo>
                  <a:pt x="3142342" y="5812030"/>
                  <a:pt x="3141258" y="5812650"/>
                  <a:pt x="3140018" y="5812959"/>
                </a:cubicBezTo>
                <a:cubicBezTo>
                  <a:pt x="3138934" y="5813269"/>
                  <a:pt x="3137695" y="5813269"/>
                  <a:pt x="3136456" y="5812753"/>
                </a:cubicBezTo>
                <a:cubicBezTo>
                  <a:pt x="3135527" y="5813269"/>
                  <a:pt x="3134597" y="5813476"/>
                  <a:pt x="3133513" y="5813476"/>
                </a:cubicBezTo>
                <a:cubicBezTo>
                  <a:pt x="3132584" y="5813476"/>
                  <a:pt x="3131499" y="5813166"/>
                  <a:pt x="3130725" y="5812753"/>
                </a:cubicBezTo>
                <a:cubicBezTo>
                  <a:pt x="3129950" y="5811824"/>
                  <a:pt x="3129640" y="5810998"/>
                  <a:pt x="3129640" y="5810172"/>
                </a:cubicBezTo>
                <a:cubicBezTo>
                  <a:pt x="3129640" y="5809449"/>
                  <a:pt x="3129950" y="5808829"/>
                  <a:pt x="3130260" y="5808416"/>
                </a:cubicBezTo>
                <a:cubicBezTo>
                  <a:pt x="3133590" y="5804596"/>
                  <a:pt x="3136998" y="5803563"/>
                  <a:pt x="3139805" y="5803383"/>
                </a:cubicBezTo>
                <a:close/>
                <a:moveTo>
                  <a:pt x="2949806" y="5802841"/>
                </a:moveTo>
                <a:cubicBezTo>
                  <a:pt x="2950890" y="5802014"/>
                  <a:pt x="2951665" y="5802014"/>
                  <a:pt x="2952439" y="5802944"/>
                </a:cubicBezTo>
                <a:cubicBezTo>
                  <a:pt x="2952439" y="5802944"/>
                  <a:pt x="2951355" y="5804699"/>
                  <a:pt x="2951355" y="5804699"/>
                </a:cubicBezTo>
                <a:cubicBezTo>
                  <a:pt x="2949496" y="5806351"/>
                  <a:pt x="2948567" y="5807177"/>
                  <a:pt x="2947482" y="5808933"/>
                </a:cubicBezTo>
                <a:cubicBezTo>
                  <a:pt x="2946708" y="5808519"/>
                  <a:pt x="2946398" y="5808107"/>
                  <a:pt x="2946243" y="5807693"/>
                </a:cubicBezTo>
                <a:cubicBezTo>
                  <a:pt x="2946243" y="5807177"/>
                  <a:pt x="2946398" y="5806764"/>
                  <a:pt x="2946863" y="5806248"/>
                </a:cubicBezTo>
                <a:cubicBezTo>
                  <a:pt x="2946863" y="5806248"/>
                  <a:pt x="2947792" y="5805422"/>
                  <a:pt x="2948722" y="5804596"/>
                </a:cubicBezTo>
                <a:cubicBezTo>
                  <a:pt x="2949651" y="5803770"/>
                  <a:pt x="2949806" y="5802841"/>
                  <a:pt x="2949806" y="5802841"/>
                </a:cubicBezTo>
                <a:close/>
                <a:moveTo>
                  <a:pt x="2912476" y="5800362"/>
                </a:moveTo>
                <a:cubicBezTo>
                  <a:pt x="2905815" y="5808210"/>
                  <a:pt x="2901168" y="5803770"/>
                  <a:pt x="2897296" y="5808107"/>
                </a:cubicBezTo>
                <a:cubicBezTo>
                  <a:pt x="2896676" y="5806351"/>
                  <a:pt x="2896676" y="5806351"/>
                  <a:pt x="2897761" y="5804596"/>
                </a:cubicBezTo>
                <a:cubicBezTo>
                  <a:pt x="2898535" y="5804596"/>
                  <a:pt x="2898690" y="5803667"/>
                  <a:pt x="2899465" y="5804596"/>
                </a:cubicBezTo>
                <a:cubicBezTo>
                  <a:pt x="2901323" y="5802014"/>
                  <a:pt x="2909223" y="5799433"/>
                  <a:pt x="2912476" y="5800362"/>
                </a:cubicBezTo>
                <a:close/>
                <a:moveTo>
                  <a:pt x="3209257" y="5797987"/>
                </a:moveTo>
                <a:cubicBezTo>
                  <a:pt x="3211116" y="5799846"/>
                  <a:pt x="3212819" y="5801705"/>
                  <a:pt x="3214523" y="5803563"/>
                </a:cubicBezTo>
                <a:cubicBezTo>
                  <a:pt x="3212975" y="5804389"/>
                  <a:pt x="3212200" y="5806042"/>
                  <a:pt x="3211426" y="5806971"/>
                </a:cubicBezTo>
                <a:cubicBezTo>
                  <a:pt x="3208947" y="5806867"/>
                  <a:pt x="3207243" y="5805938"/>
                  <a:pt x="3205384" y="5803150"/>
                </a:cubicBezTo>
                <a:cubicBezTo>
                  <a:pt x="3206934" y="5799743"/>
                  <a:pt x="3206159" y="5800569"/>
                  <a:pt x="3209257" y="5797987"/>
                </a:cubicBezTo>
                <a:close/>
                <a:moveTo>
                  <a:pt x="2919446" y="5796335"/>
                </a:moveTo>
                <a:cubicBezTo>
                  <a:pt x="2918517" y="5797161"/>
                  <a:pt x="2916813" y="5798091"/>
                  <a:pt x="2915883" y="5798917"/>
                </a:cubicBezTo>
                <a:cubicBezTo>
                  <a:pt x="2915883" y="5798917"/>
                  <a:pt x="2915883" y="5798917"/>
                  <a:pt x="2915109" y="5797987"/>
                </a:cubicBezTo>
                <a:cubicBezTo>
                  <a:pt x="2916813" y="5798091"/>
                  <a:pt x="2917897" y="5794477"/>
                  <a:pt x="2919446" y="5796335"/>
                </a:cubicBezTo>
                <a:close/>
                <a:moveTo>
                  <a:pt x="2906396" y="5795974"/>
                </a:moveTo>
                <a:cubicBezTo>
                  <a:pt x="2908720" y="5795896"/>
                  <a:pt x="2910617" y="5796129"/>
                  <a:pt x="2911082" y="5796129"/>
                </a:cubicBezTo>
                <a:cubicBezTo>
                  <a:pt x="2910927" y="5796955"/>
                  <a:pt x="2910927" y="5797058"/>
                  <a:pt x="2910927" y="5797058"/>
                </a:cubicBezTo>
                <a:cubicBezTo>
                  <a:pt x="2908448" y="5796335"/>
                  <a:pt x="2905350" y="5798504"/>
                  <a:pt x="2902098" y="5798917"/>
                </a:cubicBezTo>
                <a:cubicBezTo>
                  <a:pt x="2901013" y="5799020"/>
                  <a:pt x="2900084" y="5799020"/>
                  <a:pt x="2899000" y="5798504"/>
                </a:cubicBezTo>
                <a:cubicBezTo>
                  <a:pt x="2899000" y="5798504"/>
                  <a:pt x="2899000" y="5798504"/>
                  <a:pt x="2899929" y="5798504"/>
                </a:cubicBezTo>
                <a:cubicBezTo>
                  <a:pt x="2899929" y="5798504"/>
                  <a:pt x="2899000" y="5798504"/>
                  <a:pt x="2899155" y="5797678"/>
                </a:cubicBezTo>
                <a:cubicBezTo>
                  <a:pt x="2901323" y="5796439"/>
                  <a:pt x="2904073" y="5796051"/>
                  <a:pt x="2906396" y="5795974"/>
                </a:cubicBezTo>
                <a:close/>
                <a:moveTo>
                  <a:pt x="3289338" y="5794683"/>
                </a:moveTo>
                <a:cubicBezTo>
                  <a:pt x="3290113" y="5795303"/>
                  <a:pt x="3290577" y="5796439"/>
                  <a:pt x="3290577" y="5798297"/>
                </a:cubicBezTo>
                <a:cubicBezTo>
                  <a:pt x="3289184" y="5799020"/>
                  <a:pt x="3285931" y="5800052"/>
                  <a:pt x="3282833" y="5800259"/>
                </a:cubicBezTo>
                <a:cubicBezTo>
                  <a:pt x="3279735" y="5800569"/>
                  <a:pt x="3276947" y="5800052"/>
                  <a:pt x="3276482" y="5797678"/>
                </a:cubicBezTo>
                <a:cubicBezTo>
                  <a:pt x="3276327" y="5797058"/>
                  <a:pt x="3276482" y="5796232"/>
                  <a:pt x="3276792" y="5795200"/>
                </a:cubicBezTo>
                <a:cubicBezTo>
                  <a:pt x="3282058" y="5795406"/>
                  <a:pt x="3287015" y="5792824"/>
                  <a:pt x="3289338" y="5794683"/>
                </a:cubicBezTo>
                <a:close/>
                <a:moveTo>
                  <a:pt x="3140270" y="5788230"/>
                </a:moveTo>
                <a:cubicBezTo>
                  <a:pt x="3143310" y="5787249"/>
                  <a:pt x="3145905" y="5789211"/>
                  <a:pt x="3143271" y="5798297"/>
                </a:cubicBezTo>
                <a:cubicBezTo>
                  <a:pt x="3137385" y="5798814"/>
                  <a:pt x="3135062" y="5797575"/>
                  <a:pt x="3134597" y="5795819"/>
                </a:cubicBezTo>
                <a:cubicBezTo>
                  <a:pt x="3133745" y="5793135"/>
                  <a:pt x="3137230" y="5789211"/>
                  <a:pt x="3140270" y="5788230"/>
                </a:cubicBezTo>
                <a:close/>
                <a:moveTo>
                  <a:pt x="3187649" y="5787171"/>
                </a:moveTo>
                <a:cubicBezTo>
                  <a:pt x="3192993" y="5784254"/>
                  <a:pt x="3198647" y="5784100"/>
                  <a:pt x="3202752" y="5788694"/>
                </a:cubicBezTo>
                <a:cubicBezTo>
                  <a:pt x="3204300" y="5790450"/>
                  <a:pt x="3205540" y="5792928"/>
                  <a:pt x="3206624" y="5796232"/>
                </a:cubicBezTo>
                <a:cubicBezTo>
                  <a:pt x="3200893" y="5803357"/>
                  <a:pt x="3193612" y="5815851"/>
                  <a:pt x="3182925" y="5817503"/>
                </a:cubicBezTo>
                <a:cubicBezTo>
                  <a:pt x="3181376" y="5817710"/>
                  <a:pt x="3179827" y="5817813"/>
                  <a:pt x="3178123" y="5817503"/>
                </a:cubicBezTo>
                <a:cubicBezTo>
                  <a:pt x="3176109" y="5817193"/>
                  <a:pt x="3174096" y="5816574"/>
                  <a:pt x="3172082" y="5815541"/>
                </a:cubicBezTo>
                <a:cubicBezTo>
                  <a:pt x="3171463" y="5811101"/>
                  <a:pt x="3172392" y="5806558"/>
                  <a:pt x="3174406" y="5802221"/>
                </a:cubicBezTo>
                <a:cubicBezTo>
                  <a:pt x="3177271" y="5795767"/>
                  <a:pt x="3182305" y="5790088"/>
                  <a:pt x="3187649" y="5787171"/>
                </a:cubicBezTo>
                <a:close/>
                <a:moveTo>
                  <a:pt x="2944849" y="5785390"/>
                </a:moveTo>
                <a:cubicBezTo>
                  <a:pt x="2943455" y="5787249"/>
                  <a:pt x="2940977" y="5790553"/>
                  <a:pt x="2938808" y="5791379"/>
                </a:cubicBezTo>
                <a:cubicBezTo>
                  <a:pt x="2938189" y="5791689"/>
                  <a:pt x="2937414" y="5791585"/>
                  <a:pt x="2936949" y="5791173"/>
                </a:cubicBezTo>
                <a:cubicBezTo>
                  <a:pt x="2936175" y="5790347"/>
                  <a:pt x="2937104" y="5789520"/>
                  <a:pt x="2937104" y="5788694"/>
                </a:cubicBezTo>
                <a:cubicBezTo>
                  <a:pt x="2938189" y="5786939"/>
                  <a:pt x="2944075" y="5784564"/>
                  <a:pt x="2944849" y="5785390"/>
                </a:cubicBezTo>
                <a:close/>
                <a:moveTo>
                  <a:pt x="3031746" y="5783015"/>
                </a:moveTo>
                <a:cubicBezTo>
                  <a:pt x="3031746" y="5783015"/>
                  <a:pt x="3031746" y="5783015"/>
                  <a:pt x="3032365" y="5783428"/>
                </a:cubicBezTo>
                <a:cubicBezTo>
                  <a:pt x="3033759" y="5784357"/>
                  <a:pt x="3034379" y="5784771"/>
                  <a:pt x="3035154" y="5785184"/>
                </a:cubicBezTo>
                <a:cubicBezTo>
                  <a:pt x="3035308" y="5786423"/>
                  <a:pt x="3035154" y="5789520"/>
                  <a:pt x="3034069" y="5789830"/>
                </a:cubicBezTo>
                <a:cubicBezTo>
                  <a:pt x="3032985" y="5790140"/>
                  <a:pt x="3031746" y="5790140"/>
                  <a:pt x="3030816" y="5789933"/>
                </a:cubicBezTo>
                <a:cubicBezTo>
                  <a:pt x="3029887" y="5789727"/>
                  <a:pt x="3029113" y="5789314"/>
                  <a:pt x="3029113" y="5788694"/>
                </a:cubicBezTo>
                <a:cubicBezTo>
                  <a:pt x="3028803" y="5786939"/>
                  <a:pt x="3028493" y="5785184"/>
                  <a:pt x="3029887" y="5783945"/>
                </a:cubicBezTo>
                <a:cubicBezTo>
                  <a:pt x="3030197" y="5783532"/>
                  <a:pt x="3030816" y="5783325"/>
                  <a:pt x="3031746" y="5783015"/>
                </a:cubicBezTo>
                <a:close/>
                <a:moveTo>
                  <a:pt x="3366322" y="5772586"/>
                </a:moveTo>
                <a:cubicBezTo>
                  <a:pt x="3365857" y="5773825"/>
                  <a:pt x="3365702" y="5775787"/>
                  <a:pt x="3364463" y="5777336"/>
                </a:cubicBezTo>
                <a:cubicBezTo>
                  <a:pt x="3360281" y="5778472"/>
                  <a:pt x="3357802" y="5776820"/>
                  <a:pt x="3356563" y="5773619"/>
                </a:cubicBezTo>
                <a:cubicBezTo>
                  <a:pt x="3358422" y="5768869"/>
                  <a:pt x="3364773" y="5768559"/>
                  <a:pt x="3366322" y="5772586"/>
                </a:cubicBezTo>
                <a:close/>
                <a:moveTo>
                  <a:pt x="2976293" y="5769902"/>
                </a:moveTo>
                <a:cubicBezTo>
                  <a:pt x="2972885" y="5779711"/>
                  <a:pt x="2975209" y="5786939"/>
                  <a:pt x="2969323" y="5797471"/>
                </a:cubicBezTo>
                <a:cubicBezTo>
                  <a:pt x="2967774" y="5796129"/>
                  <a:pt x="2966844" y="5793857"/>
                  <a:pt x="2966535" y="5791069"/>
                </a:cubicBezTo>
                <a:cubicBezTo>
                  <a:pt x="2965450" y="5782809"/>
                  <a:pt x="2969323" y="5770624"/>
                  <a:pt x="2976293" y="5769902"/>
                </a:cubicBezTo>
                <a:close/>
                <a:moveTo>
                  <a:pt x="2949806" y="5766391"/>
                </a:moveTo>
                <a:cubicBezTo>
                  <a:pt x="2950425" y="5767837"/>
                  <a:pt x="2948876" y="5771244"/>
                  <a:pt x="2947947" y="5773619"/>
                </a:cubicBezTo>
                <a:cubicBezTo>
                  <a:pt x="2946708" y="5774135"/>
                  <a:pt x="2945469" y="5774342"/>
                  <a:pt x="2944075" y="5774239"/>
                </a:cubicBezTo>
                <a:cubicBezTo>
                  <a:pt x="2942835" y="5774135"/>
                  <a:pt x="2941441" y="5773722"/>
                  <a:pt x="2940202" y="5772896"/>
                </a:cubicBezTo>
                <a:cubicBezTo>
                  <a:pt x="2942216" y="5768353"/>
                  <a:pt x="2945314" y="5766804"/>
                  <a:pt x="2949806" y="5766391"/>
                </a:cubicBezTo>
                <a:close/>
                <a:moveTo>
                  <a:pt x="2840759" y="5759266"/>
                </a:moveTo>
                <a:cubicBezTo>
                  <a:pt x="2842618" y="5758750"/>
                  <a:pt x="2844941" y="5759163"/>
                  <a:pt x="2847419" y="5761331"/>
                </a:cubicBezTo>
                <a:cubicBezTo>
                  <a:pt x="2844011" y="5766701"/>
                  <a:pt x="2845560" y="5770624"/>
                  <a:pt x="2840914" y="5773722"/>
                </a:cubicBezTo>
                <a:cubicBezTo>
                  <a:pt x="2838900" y="5773206"/>
                  <a:pt x="2837506" y="5772070"/>
                  <a:pt x="2836576" y="5770728"/>
                </a:cubicBezTo>
                <a:cubicBezTo>
                  <a:pt x="2834098" y="5766701"/>
                  <a:pt x="2836422" y="5760402"/>
                  <a:pt x="2840759" y="5759266"/>
                </a:cubicBezTo>
                <a:close/>
                <a:moveTo>
                  <a:pt x="3151171" y="5756375"/>
                </a:moveTo>
                <a:cubicBezTo>
                  <a:pt x="3151791" y="5756891"/>
                  <a:pt x="3152410" y="5757717"/>
                  <a:pt x="3152875" y="5758956"/>
                </a:cubicBezTo>
                <a:cubicBezTo>
                  <a:pt x="3152100" y="5766288"/>
                  <a:pt x="3149777" y="5771657"/>
                  <a:pt x="3142651" y="5772586"/>
                </a:cubicBezTo>
                <a:cubicBezTo>
                  <a:pt x="3142651" y="5771347"/>
                  <a:pt x="3141567" y="5771347"/>
                  <a:pt x="3140328" y="5771347"/>
                </a:cubicBezTo>
                <a:cubicBezTo>
                  <a:pt x="3136456" y="5765255"/>
                  <a:pt x="3146214" y="5752658"/>
                  <a:pt x="3151171" y="5756375"/>
                </a:cubicBezTo>
                <a:close/>
                <a:moveTo>
                  <a:pt x="3303434" y="5755962"/>
                </a:moveTo>
                <a:cubicBezTo>
                  <a:pt x="3309010" y="5756065"/>
                  <a:pt x="3312108" y="5759266"/>
                  <a:pt x="3315051" y="5762467"/>
                </a:cubicBezTo>
                <a:cubicBezTo>
                  <a:pt x="3314742" y="5766907"/>
                  <a:pt x="3313347" y="5768559"/>
                  <a:pt x="3311488" y="5768766"/>
                </a:cubicBezTo>
                <a:cubicBezTo>
                  <a:pt x="3310869" y="5768766"/>
                  <a:pt x="3310095" y="5768766"/>
                  <a:pt x="3309320" y="5768559"/>
                </a:cubicBezTo>
                <a:cubicBezTo>
                  <a:pt x="3306377" y="5767733"/>
                  <a:pt x="3302969" y="5765152"/>
                  <a:pt x="3300181" y="5764119"/>
                </a:cubicBezTo>
                <a:cubicBezTo>
                  <a:pt x="3300491" y="5760196"/>
                  <a:pt x="3300955" y="5759060"/>
                  <a:pt x="3303434" y="5755962"/>
                </a:cubicBezTo>
                <a:close/>
                <a:moveTo>
                  <a:pt x="3429190" y="5755420"/>
                </a:moveTo>
                <a:cubicBezTo>
                  <a:pt x="3430333" y="5755678"/>
                  <a:pt x="3431610" y="5756581"/>
                  <a:pt x="3432927" y="5757511"/>
                </a:cubicBezTo>
                <a:cubicBezTo>
                  <a:pt x="3432153" y="5759163"/>
                  <a:pt x="3433082" y="5760918"/>
                  <a:pt x="3430604" y="5762571"/>
                </a:cubicBezTo>
                <a:cubicBezTo>
                  <a:pt x="3428900" y="5760712"/>
                  <a:pt x="3427970" y="5758956"/>
                  <a:pt x="3426267" y="5757201"/>
                </a:cubicBezTo>
                <a:cubicBezTo>
                  <a:pt x="3427041" y="5755549"/>
                  <a:pt x="3428048" y="5755162"/>
                  <a:pt x="3429190" y="5755420"/>
                </a:cubicBezTo>
                <a:close/>
                <a:moveTo>
                  <a:pt x="3013933" y="5753174"/>
                </a:moveTo>
                <a:cubicBezTo>
                  <a:pt x="3010525" y="5758647"/>
                  <a:pt x="3006808" y="5763293"/>
                  <a:pt x="3004484" y="5771967"/>
                </a:cubicBezTo>
                <a:cubicBezTo>
                  <a:pt x="3002935" y="5771347"/>
                  <a:pt x="3002161" y="5772999"/>
                  <a:pt x="3000767" y="5773103"/>
                </a:cubicBezTo>
                <a:cubicBezTo>
                  <a:pt x="3000302" y="5773206"/>
                  <a:pt x="2999837" y="5773103"/>
                  <a:pt x="2999218" y="5772690"/>
                </a:cubicBezTo>
                <a:cubicBezTo>
                  <a:pt x="2996739" y="5766391"/>
                  <a:pt x="3005569" y="5750696"/>
                  <a:pt x="3013933" y="5753174"/>
                </a:cubicBezTo>
                <a:close/>
                <a:moveTo>
                  <a:pt x="3294605" y="5752039"/>
                </a:moveTo>
                <a:cubicBezTo>
                  <a:pt x="3292591" y="5761745"/>
                  <a:pt x="3295844" y="5769076"/>
                  <a:pt x="3291507" y="5779401"/>
                </a:cubicBezTo>
                <a:cubicBezTo>
                  <a:pt x="3284537" y="5773929"/>
                  <a:pt x="3285311" y="5752658"/>
                  <a:pt x="3294605" y="5752039"/>
                </a:cubicBezTo>
                <a:close/>
                <a:moveTo>
                  <a:pt x="3063345" y="5751729"/>
                </a:moveTo>
                <a:cubicBezTo>
                  <a:pt x="3068921" y="5748941"/>
                  <a:pt x="3075737" y="5753278"/>
                  <a:pt x="3077440" y="5760815"/>
                </a:cubicBezTo>
                <a:cubicBezTo>
                  <a:pt x="3080538" y="5772483"/>
                  <a:pt x="3076976" y="5779711"/>
                  <a:pt x="3076976" y="5779711"/>
                </a:cubicBezTo>
                <a:cubicBezTo>
                  <a:pt x="3074962" y="5780434"/>
                  <a:pt x="3073258" y="5780641"/>
                  <a:pt x="3071864" y="5780434"/>
                </a:cubicBezTo>
                <a:cubicBezTo>
                  <a:pt x="3067372" y="5779918"/>
                  <a:pt x="3065049" y="5775478"/>
                  <a:pt x="3063500" y="5770831"/>
                </a:cubicBezTo>
                <a:cubicBezTo>
                  <a:pt x="3062725" y="5768766"/>
                  <a:pt x="3062261" y="5766598"/>
                  <a:pt x="3061796" y="5764636"/>
                </a:cubicBezTo>
                <a:cubicBezTo>
                  <a:pt x="3060712" y="5760815"/>
                  <a:pt x="3059937" y="5756479"/>
                  <a:pt x="3061176" y="5753794"/>
                </a:cubicBezTo>
                <a:cubicBezTo>
                  <a:pt x="3061641" y="5752968"/>
                  <a:pt x="3062416" y="5752245"/>
                  <a:pt x="3063345" y="5751729"/>
                </a:cubicBezTo>
                <a:close/>
                <a:moveTo>
                  <a:pt x="3107335" y="5748631"/>
                </a:moveTo>
                <a:cubicBezTo>
                  <a:pt x="3110588" y="5751316"/>
                  <a:pt x="3110743" y="5753897"/>
                  <a:pt x="3109349" y="5757201"/>
                </a:cubicBezTo>
                <a:cubicBezTo>
                  <a:pt x="3106871" y="5757098"/>
                  <a:pt x="3103618" y="5754413"/>
                  <a:pt x="3103463" y="5751832"/>
                </a:cubicBezTo>
                <a:cubicBezTo>
                  <a:pt x="3105012" y="5749354"/>
                  <a:pt x="3106561" y="5750283"/>
                  <a:pt x="3107335" y="5748631"/>
                </a:cubicBezTo>
                <a:close/>
                <a:moveTo>
                  <a:pt x="2997204" y="5748424"/>
                </a:moveTo>
                <a:cubicBezTo>
                  <a:pt x="2998288" y="5748838"/>
                  <a:pt x="2999372" y="5749250"/>
                  <a:pt x="3000457" y="5749663"/>
                </a:cubicBezTo>
                <a:cubicBezTo>
                  <a:pt x="2999527" y="5751935"/>
                  <a:pt x="2998598" y="5754207"/>
                  <a:pt x="2996429" y="5753381"/>
                </a:cubicBezTo>
                <a:cubicBezTo>
                  <a:pt x="2996584" y="5751419"/>
                  <a:pt x="2995500" y="5751109"/>
                  <a:pt x="2997204" y="5748424"/>
                </a:cubicBezTo>
                <a:close/>
                <a:moveTo>
                  <a:pt x="2833634" y="5748115"/>
                </a:moveTo>
                <a:cubicBezTo>
                  <a:pt x="2830845" y="5753278"/>
                  <a:pt x="2833169" y="5756891"/>
                  <a:pt x="2828987" y="5758027"/>
                </a:cubicBezTo>
                <a:cubicBezTo>
                  <a:pt x="2826973" y="5755240"/>
                  <a:pt x="2830071" y="5748941"/>
                  <a:pt x="2833634" y="5748115"/>
                </a:cubicBezTo>
                <a:close/>
                <a:moveTo>
                  <a:pt x="3220255" y="5747908"/>
                </a:moveTo>
                <a:cubicBezTo>
                  <a:pt x="3223972" y="5749457"/>
                  <a:pt x="3223353" y="5755033"/>
                  <a:pt x="3220100" y="5756891"/>
                </a:cubicBezTo>
                <a:cubicBezTo>
                  <a:pt x="3218551" y="5756685"/>
                  <a:pt x="3217621" y="5756065"/>
                  <a:pt x="3217002" y="5755240"/>
                </a:cubicBezTo>
                <a:cubicBezTo>
                  <a:pt x="3215453" y="5752864"/>
                  <a:pt x="3217776" y="5748631"/>
                  <a:pt x="3220255" y="5747908"/>
                </a:cubicBezTo>
                <a:close/>
                <a:moveTo>
                  <a:pt x="3373757" y="5745946"/>
                </a:moveTo>
                <a:cubicBezTo>
                  <a:pt x="3374531" y="5746359"/>
                  <a:pt x="3374222" y="5747082"/>
                  <a:pt x="3374996" y="5747495"/>
                </a:cubicBezTo>
                <a:cubicBezTo>
                  <a:pt x="3375151" y="5748115"/>
                  <a:pt x="3374996" y="5748941"/>
                  <a:pt x="3374531" y="5749870"/>
                </a:cubicBezTo>
                <a:cubicBezTo>
                  <a:pt x="3373137" y="5752658"/>
                  <a:pt x="3369730" y="5756169"/>
                  <a:pt x="3369265" y="5755859"/>
                </a:cubicBezTo>
                <a:cubicBezTo>
                  <a:pt x="3368800" y="5756582"/>
                  <a:pt x="3368026" y="5756169"/>
                  <a:pt x="3367716" y="5756891"/>
                </a:cubicBezTo>
                <a:cubicBezTo>
                  <a:pt x="3367716" y="5756891"/>
                  <a:pt x="3367406" y="5757717"/>
                  <a:pt x="3366167" y="5758027"/>
                </a:cubicBezTo>
                <a:cubicBezTo>
                  <a:pt x="3365702" y="5758234"/>
                  <a:pt x="3365083" y="5758337"/>
                  <a:pt x="3364618" y="5758234"/>
                </a:cubicBezTo>
                <a:cubicBezTo>
                  <a:pt x="3363999" y="5758131"/>
                  <a:pt x="3363379" y="5757821"/>
                  <a:pt x="3362759" y="5756995"/>
                </a:cubicBezTo>
                <a:cubicBezTo>
                  <a:pt x="3368026" y="5752245"/>
                  <a:pt x="3369265" y="5749147"/>
                  <a:pt x="3373757" y="5745946"/>
                </a:cubicBezTo>
                <a:close/>
                <a:moveTo>
                  <a:pt x="2894043" y="5741919"/>
                </a:moveTo>
                <a:cubicBezTo>
                  <a:pt x="2895592" y="5742849"/>
                  <a:pt x="2896366" y="5742849"/>
                  <a:pt x="2898225" y="5742022"/>
                </a:cubicBezTo>
                <a:cubicBezTo>
                  <a:pt x="2898225" y="5742022"/>
                  <a:pt x="2898225" y="5742022"/>
                  <a:pt x="2899619" y="5743778"/>
                </a:cubicBezTo>
                <a:lnTo>
                  <a:pt x="2899619" y="5744604"/>
                </a:lnTo>
                <a:cubicBezTo>
                  <a:pt x="2899310" y="5745017"/>
                  <a:pt x="2898690" y="5745223"/>
                  <a:pt x="2897761" y="5745327"/>
                </a:cubicBezTo>
                <a:cubicBezTo>
                  <a:pt x="2894972" y="5745533"/>
                  <a:pt x="2890171" y="5744501"/>
                  <a:pt x="2889551" y="5744501"/>
                </a:cubicBezTo>
                <a:cubicBezTo>
                  <a:pt x="2889551" y="5744501"/>
                  <a:pt x="2888777" y="5744397"/>
                  <a:pt x="2888002" y="5744397"/>
                </a:cubicBezTo>
                <a:cubicBezTo>
                  <a:pt x="2887228" y="5743572"/>
                  <a:pt x="2887228" y="5742642"/>
                  <a:pt x="2886453" y="5742642"/>
                </a:cubicBezTo>
                <a:cubicBezTo>
                  <a:pt x="2889241" y="5740164"/>
                  <a:pt x="2891720" y="5741093"/>
                  <a:pt x="2894043" y="5741919"/>
                </a:cubicBezTo>
                <a:close/>
                <a:moveTo>
                  <a:pt x="3139825" y="5741842"/>
                </a:moveTo>
                <a:cubicBezTo>
                  <a:pt x="3141761" y="5741067"/>
                  <a:pt x="3144201" y="5741816"/>
                  <a:pt x="3145750" y="5743675"/>
                </a:cubicBezTo>
                <a:cubicBezTo>
                  <a:pt x="3146679" y="5745017"/>
                  <a:pt x="3147298" y="5746772"/>
                  <a:pt x="3146989" y="5748941"/>
                </a:cubicBezTo>
                <a:cubicBezTo>
                  <a:pt x="3146059" y="5749870"/>
                  <a:pt x="3143891" y="5750386"/>
                  <a:pt x="3141877" y="5750386"/>
                </a:cubicBezTo>
                <a:cubicBezTo>
                  <a:pt x="3139708" y="5750489"/>
                  <a:pt x="3137695" y="5750077"/>
                  <a:pt x="3136920" y="5749147"/>
                </a:cubicBezTo>
                <a:cubicBezTo>
                  <a:pt x="3136456" y="5744914"/>
                  <a:pt x="3137889" y="5742616"/>
                  <a:pt x="3139825" y="5741842"/>
                </a:cubicBezTo>
                <a:close/>
                <a:moveTo>
                  <a:pt x="2793670" y="5739338"/>
                </a:moveTo>
                <a:cubicBezTo>
                  <a:pt x="2794754" y="5737686"/>
                  <a:pt x="2796923" y="5741196"/>
                  <a:pt x="2797853" y="5739441"/>
                </a:cubicBezTo>
                <a:cubicBezTo>
                  <a:pt x="2800796" y="5743055"/>
                  <a:pt x="2805442" y="5738718"/>
                  <a:pt x="2810709" y="5743158"/>
                </a:cubicBezTo>
                <a:cubicBezTo>
                  <a:pt x="2808695" y="5743778"/>
                  <a:pt x="2806682" y="5744088"/>
                  <a:pt x="2804823" y="5744088"/>
                </a:cubicBezTo>
                <a:cubicBezTo>
                  <a:pt x="2799556" y="5744191"/>
                  <a:pt x="2795529" y="5742436"/>
                  <a:pt x="2791656" y="5743675"/>
                </a:cubicBezTo>
                <a:cubicBezTo>
                  <a:pt x="2791656" y="5743675"/>
                  <a:pt x="2791656" y="5743778"/>
                  <a:pt x="2790108" y="5741919"/>
                </a:cubicBezTo>
                <a:cubicBezTo>
                  <a:pt x="2789333" y="5741919"/>
                  <a:pt x="2789333" y="5741919"/>
                  <a:pt x="2789333" y="5741919"/>
                </a:cubicBezTo>
                <a:cubicBezTo>
                  <a:pt x="2788868" y="5741919"/>
                  <a:pt x="2788714" y="5741506"/>
                  <a:pt x="2788714" y="5741093"/>
                </a:cubicBezTo>
                <a:cubicBezTo>
                  <a:pt x="2788714" y="5740577"/>
                  <a:pt x="2788714" y="5740164"/>
                  <a:pt x="2788714" y="5740164"/>
                </a:cubicBezTo>
                <a:cubicBezTo>
                  <a:pt x="2789643" y="5738409"/>
                  <a:pt x="2792122" y="5739338"/>
                  <a:pt x="2793670" y="5739338"/>
                </a:cubicBezTo>
                <a:close/>
                <a:moveTo>
                  <a:pt x="3536243" y="5738305"/>
                </a:moveTo>
                <a:cubicBezTo>
                  <a:pt x="3540271" y="5739957"/>
                  <a:pt x="3540425" y="5745637"/>
                  <a:pt x="3537482" y="5747288"/>
                </a:cubicBezTo>
                <a:cubicBezTo>
                  <a:pt x="3531132" y="5746256"/>
                  <a:pt x="3532990" y="5739131"/>
                  <a:pt x="3536243" y="5738305"/>
                </a:cubicBezTo>
                <a:close/>
                <a:moveTo>
                  <a:pt x="2975054" y="5738305"/>
                </a:moveTo>
                <a:cubicBezTo>
                  <a:pt x="2976448" y="5741506"/>
                  <a:pt x="2974589" y="5744191"/>
                  <a:pt x="2972111" y="5744914"/>
                </a:cubicBezTo>
                <a:cubicBezTo>
                  <a:pt x="2971337" y="5745120"/>
                  <a:pt x="2970407" y="5745017"/>
                  <a:pt x="2969478" y="5744707"/>
                </a:cubicBezTo>
                <a:cubicBezTo>
                  <a:pt x="2965605" y="5739131"/>
                  <a:pt x="2972111" y="5736447"/>
                  <a:pt x="2975054" y="5738305"/>
                </a:cubicBezTo>
                <a:close/>
                <a:moveTo>
                  <a:pt x="3157057" y="5736756"/>
                </a:moveTo>
                <a:cubicBezTo>
                  <a:pt x="3158916" y="5736240"/>
                  <a:pt x="3161239" y="5736860"/>
                  <a:pt x="3163873" y="5739028"/>
                </a:cubicBezTo>
                <a:cubicBezTo>
                  <a:pt x="3161394" y="5744294"/>
                  <a:pt x="3163563" y="5748218"/>
                  <a:pt x="3159380" y="5751212"/>
                </a:cubicBezTo>
                <a:cubicBezTo>
                  <a:pt x="3150706" y="5748734"/>
                  <a:pt x="3151636" y="5738099"/>
                  <a:pt x="3157057" y="5736756"/>
                </a:cubicBezTo>
                <a:close/>
                <a:moveTo>
                  <a:pt x="3348199" y="5735001"/>
                </a:moveTo>
                <a:cubicBezTo>
                  <a:pt x="3350987" y="5734175"/>
                  <a:pt x="3352846" y="5734691"/>
                  <a:pt x="3354085" y="5735827"/>
                </a:cubicBezTo>
                <a:cubicBezTo>
                  <a:pt x="3357957" y="5739338"/>
                  <a:pt x="3355169" y="5749044"/>
                  <a:pt x="3347889" y="5747392"/>
                </a:cubicBezTo>
                <a:cubicBezTo>
                  <a:pt x="3347424" y="5746772"/>
                  <a:pt x="3347115" y="5745740"/>
                  <a:pt x="3346805" y="5744707"/>
                </a:cubicBezTo>
                <a:cubicBezTo>
                  <a:pt x="3346340" y="5741403"/>
                  <a:pt x="3347115" y="5736860"/>
                  <a:pt x="3348199" y="5735001"/>
                </a:cubicBezTo>
                <a:close/>
                <a:moveTo>
                  <a:pt x="2943145" y="5734898"/>
                </a:moveTo>
                <a:cubicBezTo>
                  <a:pt x="2944849" y="5734072"/>
                  <a:pt x="2947172" y="5736756"/>
                  <a:pt x="2948722" y="5737686"/>
                </a:cubicBezTo>
                <a:cubicBezTo>
                  <a:pt x="2947792" y="5738512"/>
                  <a:pt x="2946863" y="5739338"/>
                  <a:pt x="2947637" y="5739338"/>
                </a:cubicBezTo>
                <a:cubicBezTo>
                  <a:pt x="2946708" y="5740267"/>
                  <a:pt x="2945933" y="5740680"/>
                  <a:pt x="2945159" y="5740783"/>
                </a:cubicBezTo>
                <a:cubicBezTo>
                  <a:pt x="2944229" y="5740783"/>
                  <a:pt x="2943455" y="5740577"/>
                  <a:pt x="2942680" y="5740164"/>
                </a:cubicBezTo>
                <a:cubicBezTo>
                  <a:pt x="2941906" y="5739235"/>
                  <a:pt x="2942061" y="5737479"/>
                  <a:pt x="2943145" y="5734898"/>
                </a:cubicBezTo>
                <a:close/>
                <a:moveTo>
                  <a:pt x="3062105" y="5731800"/>
                </a:moveTo>
                <a:cubicBezTo>
                  <a:pt x="3061486" y="5732626"/>
                  <a:pt x="3061486" y="5732626"/>
                  <a:pt x="3062261" y="5733452"/>
                </a:cubicBezTo>
                <a:cubicBezTo>
                  <a:pt x="3062261" y="5733452"/>
                  <a:pt x="3062416" y="5733452"/>
                  <a:pt x="3063190" y="5733349"/>
                </a:cubicBezTo>
                <a:cubicBezTo>
                  <a:pt x="3063345" y="5734175"/>
                  <a:pt x="3062416" y="5734278"/>
                  <a:pt x="3062570" y="5735105"/>
                </a:cubicBezTo>
                <a:cubicBezTo>
                  <a:pt x="3062570" y="5735105"/>
                  <a:pt x="3061796" y="5735105"/>
                  <a:pt x="3061796" y="5735105"/>
                </a:cubicBezTo>
                <a:cubicBezTo>
                  <a:pt x="3061796" y="5735517"/>
                  <a:pt x="3061796" y="5735517"/>
                  <a:pt x="3061641" y="5735311"/>
                </a:cubicBezTo>
                <a:cubicBezTo>
                  <a:pt x="3061331" y="5735105"/>
                  <a:pt x="3060866" y="5734795"/>
                  <a:pt x="3060092" y="5734382"/>
                </a:cubicBezTo>
                <a:cubicBezTo>
                  <a:pt x="3059162" y="5733659"/>
                  <a:pt x="3058388" y="5733659"/>
                  <a:pt x="3059008" y="5732833"/>
                </a:cubicBezTo>
                <a:cubicBezTo>
                  <a:pt x="3059782" y="5731904"/>
                  <a:pt x="3059782" y="5731904"/>
                  <a:pt x="3062105" y="5731800"/>
                </a:cubicBezTo>
                <a:close/>
                <a:moveTo>
                  <a:pt x="3281129" y="5731593"/>
                </a:moveTo>
                <a:cubicBezTo>
                  <a:pt x="3284846" y="5728909"/>
                  <a:pt x="3290268" y="5732833"/>
                  <a:pt x="3289648" y="5737170"/>
                </a:cubicBezTo>
                <a:cubicBezTo>
                  <a:pt x="3288719" y="5737892"/>
                  <a:pt x="3287634" y="5739441"/>
                  <a:pt x="3285931" y="5739957"/>
                </a:cubicBezTo>
                <a:cubicBezTo>
                  <a:pt x="3281903" y="5738099"/>
                  <a:pt x="3280664" y="5735105"/>
                  <a:pt x="3281129" y="5731593"/>
                </a:cubicBezTo>
                <a:close/>
                <a:moveTo>
                  <a:pt x="3238571" y="5731103"/>
                </a:moveTo>
                <a:cubicBezTo>
                  <a:pt x="3240507" y="5731439"/>
                  <a:pt x="3242250" y="5732781"/>
                  <a:pt x="3243644" y="5734691"/>
                </a:cubicBezTo>
                <a:cubicBezTo>
                  <a:pt x="3248446" y="5741196"/>
                  <a:pt x="3249840" y="5753897"/>
                  <a:pt x="3242095" y="5756685"/>
                </a:cubicBezTo>
                <a:cubicBezTo>
                  <a:pt x="3239462" y="5754207"/>
                  <a:pt x="3236984" y="5751109"/>
                  <a:pt x="3235280" y="5747392"/>
                </a:cubicBezTo>
                <a:cubicBezTo>
                  <a:pt x="3233421" y="5743572"/>
                  <a:pt x="3232337" y="5739131"/>
                  <a:pt x="3232337" y="5733555"/>
                </a:cubicBezTo>
                <a:cubicBezTo>
                  <a:pt x="3234505" y="5731439"/>
                  <a:pt x="3236635" y="5730768"/>
                  <a:pt x="3238571" y="5731103"/>
                </a:cubicBezTo>
                <a:close/>
                <a:moveTo>
                  <a:pt x="2743949" y="5729219"/>
                </a:moveTo>
                <a:cubicBezTo>
                  <a:pt x="2747511" y="5729219"/>
                  <a:pt x="2746892" y="5732316"/>
                  <a:pt x="2746272" y="5735414"/>
                </a:cubicBezTo>
                <a:cubicBezTo>
                  <a:pt x="2745342" y="5735414"/>
                  <a:pt x="2744568" y="5735827"/>
                  <a:pt x="2743794" y="5735930"/>
                </a:cubicBezTo>
                <a:cubicBezTo>
                  <a:pt x="2743019" y="5736137"/>
                  <a:pt x="2742090" y="5736137"/>
                  <a:pt x="2740851" y="5735414"/>
                </a:cubicBezTo>
                <a:cubicBezTo>
                  <a:pt x="2741780" y="5733039"/>
                  <a:pt x="2743019" y="5731490"/>
                  <a:pt x="2743949" y="5729219"/>
                </a:cubicBezTo>
                <a:close/>
                <a:moveTo>
                  <a:pt x="3271680" y="5728186"/>
                </a:moveTo>
                <a:cubicBezTo>
                  <a:pt x="3272764" y="5728496"/>
                  <a:pt x="3274004" y="5728806"/>
                  <a:pt x="3273694" y="5729942"/>
                </a:cubicBezTo>
                <a:cubicBezTo>
                  <a:pt x="3273539" y="5731181"/>
                  <a:pt x="3274004" y="5731904"/>
                  <a:pt x="3272145" y="5732007"/>
                </a:cubicBezTo>
                <a:cubicBezTo>
                  <a:pt x="3271525" y="5732420"/>
                  <a:pt x="3270441" y="5732110"/>
                  <a:pt x="3269666" y="5732626"/>
                </a:cubicBezTo>
                <a:cubicBezTo>
                  <a:pt x="3269666" y="5732626"/>
                  <a:pt x="3269202" y="5732213"/>
                  <a:pt x="3268737" y="5731593"/>
                </a:cubicBezTo>
                <a:cubicBezTo>
                  <a:pt x="3268118" y="5730974"/>
                  <a:pt x="3267653" y="5730251"/>
                  <a:pt x="3267808" y="5729632"/>
                </a:cubicBezTo>
                <a:cubicBezTo>
                  <a:pt x="3267498" y="5727670"/>
                  <a:pt x="3270906" y="5728599"/>
                  <a:pt x="3271680" y="5728186"/>
                </a:cubicBezTo>
                <a:close/>
                <a:moveTo>
                  <a:pt x="3211116" y="5727257"/>
                </a:moveTo>
                <a:cubicBezTo>
                  <a:pt x="3213904" y="5729838"/>
                  <a:pt x="3216692" y="5732316"/>
                  <a:pt x="3219016" y="5735414"/>
                </a:cubicBezTo>
                <a:cubicBezTo>
                  <a:pt x="3221339" y="5738409"/>
                  <a:pt x="3223198" y="5742022"/>
                  <a:pt x="3223817" y="5747082"/>
                </a:cubicBezTo>
                <a:cubicBezTo>
                  <a:pt x="3218861" y="5747185"/>
                  <a:pt x="3215608" y="5743881"/>
                  <a:pt x="3213749" y="5739751"/>
                </a:cubicBezTo>
                <a:cubicBezTo>
                  <a:pt x="3211735" y="5735621"/>
                  <a:pt x="3211116" y="5730664"/>
                  <a:pt x="3211116" y="5727257"/>
                </a:cubicBezTo>
                <a:close/>
                <a:moveTo>
                  <a:pt x="2761626" y="5723888"/>
                </a:moveTo>
                <a:cubicBezTo>
                  <a:pt x="2764550" y="5723566"/>
                  <a:pt x="2767570" y="5724366"/>
                  <a:pt x="2769197" y="5726121"/>
                </a:cubicBezTo>
                <a:cubicBezTo>
                  <a:pt x="2769661" y="5732420"/>
                  <a:pt x="2764395" y="5736550"/>
                  <a:pt x="2759283" y="5736756"/>
                </a:cubicBezTo>
                <a:cubicBezTo>
                  <a:pt x="2757579" y="5736756"/>
                  <a:pt x="2756031" y="5736447"/>
                  <a:pt x="2754636" y="5735517"/>
                </a:cubicBezTo>
                <a:cubicBezTo>
                  <a:pt x="2753552" y="5732523"/>
                  <a:pt x="2753707" y="5730148"/>
                  <a:pt x="2754636" y="5728393"/>
                </a:cubicBezTo>
                <a:cubicBezTo>
                  <a:pt x="2755876" y="5725657"/>
                  <a:pt x="2758702" y="5724211"/>
                  <a:pt x="2761626" y="5723888"/>
                </a:cubicBezTo>
                <a:close/>
                <a:moveTo>
                  <a:pt x="3358267" y="5723746"/>
                </a:moveTo>
                <a:cubicBezTo>
                  <a:pt x="3358267" y="5723746"/>
                  <a:pt x="3358887" y="5724262"/>
                  <a:pt x="3358887" y="5724262"/>
                </a:cubicBezTo>
                <a:cubicBezTo>
                  <a:pt x="3358577" y="5724985"/>
                  <a:pt x="3359042" y="5724262"/>
                  <a:pt x="3360126" y="5723849"/>
                </a:cubicBezTo>
                <a:cubicBezTo>
                  <a:pt x="3361210" y="5725502"/>
                  <a:pt x="3361985" y="5725915"/>
                  <a:pt x="3362449" y="5727154"/>
                </a:cubicBezTo>
                <a:cubicBezTo>
                  <a:pt x="3362759" y="5727670"/>
                  <a:pt x="3362759" y="5728496"/>
                  <a:pt x="3362759" y="5729219"/>
                </a:cubicBezTo>
                <a:cubicBezTo>
                  <a:pt x="3362604" y="5729838"/>
                  <a:pt x="3362449" y="5730458"/>
                  <a:pt x="3361830" y="5730561"/>
                </a:cubicBezTo>
                <a:cubicBezTo>
                  <a:pt x="3361056" y="5730148"/>
                  <a:pt x="3360746" y="5730871"/>
                  <a:pt x="3359971" y="5730458"/>
                </a:cubicBezTo>
                <a:cubicBezTo>
                  <a:pt x="3358112" y="5730354"/>
                  <a:pt x="3357338" y="5729942"/>
                  <a:pt x="3356873" y="5728703"/>
                </a:cubicBezTo>
                <a:cubicBezTo>
                  <a:pt x="3356099" y="5728289"/>
                  <a:pt x="3356409" y="5727567"/>
                  <a:pt x="3356099" y="5726327"/>
                </a:cubicBezTo>
                <a:cubicBezTo>
                  <a:pt x="3356409" y="5725605"/>
                  <a:pt x="3357493" y="5725295"/>
                  <a:pt x="3357493" y="5725295"/>
                </a:cubicBezTo>
                <a:cubicBezTo>
                  <a:pt x="3358577" y="5724882"/>
                  <a:pt x="3358577" y="5724985"/>
                  <a:pt x="3358267" y="5723746"/>
                </a:cubicBezTo>
                <a:close/>
                <a:moveTo>
                  <a:pt x="3325274" y="5723643"/>
                </a:moveTo>
                <a:cubicBezTo>
                  <a:pt x="3327598" y="5729219"/>
                  <a:pt x="3325739" y="5740887"/>
                  <a:pt x="3317530" y="5740577"/>
                </a:cubicBezTo>
                <a:cubicBezTo>
                  <a:pt x="3319853" y="5735105"/>
                  <a:pt x="3321247" y="5728393"/>
                  <a:pt x="3325274" y="5723643"/>
                </a:cubicBezTo>
                <a:close/>
                <a:moveTo>
                  <a:pt x="3197640" y="5722301"/>
                </a:moveTo>
                <a:cubicBezTo>
                  <a:pt x="3198569" y="5723023"/>
                  <a:pt x="3199653" y="5724056"/>
                  <a:pt x="3200738" y="5725605"/>
                </a:cubicBezTo>
                <a:cubicBezTo>
                  <a:pt x="3198879" y="5730458"/>
                  <a:pt x="3197330" y="5739131"/>
                  <a:pt x="3190515" y="5739545"/>
                </a:cubicBezTo>
                <a:cubicBezTo>
                  <a:pt x="3189430" y="5739648"/>
                  <a:pt x="3188346" y="5739545"/>
                  <a:pt x="3187107" y="5739235"/>
                </a:cubicBezTo>
                <a:cubicBezTo>
                  <a:pt x="3183080" y="5730561"/>
                  <a:pt x="3190205" y="5717241"/>
                  <a:pt x="3197640" y="5722301"/>
                </a:cubicBezTo>
                <a:close/>
                <a:moveTo>
                  <a:pt x="2856093" y="5720236"/>
                </a:moveTo>
                <a:lnTo>
                  <a:pt x="2859656" y="5724882"/>
                </a:lnTo>
                <a:lnTo>
                  <a:pt x="2861825" y="5723230"/>
                </a:lnTo>
                <a:cubicBezTo>
                  <a:pt x="2863683" y="5722404"/>
                  <a:pt x="2865852" y="5722094"/>
                  <a:pt x="2867246" y="5723023"/>
                </a:cubicBezTo>
                <a:cubicBezTo>
                  <a:pt x="2868175" y="5723540"/>
                  <a:pt x="2868795" y="5724676"/>
                  <a:pt x="2868640" y="5726327"/>
                </a:cubicBezTo>
                <a:cubicBezTo>
                  <a:pt x="2868330" y="5728806"/>
                  <a:pt x="2867246" y="5730148"/>
                  <a:pt x="2865542" y="5730871"/>
                </a:cubicBezTo>
                <a:lnTo>
                  <a:pt x="2864458" y="5730974"/>
                </a:lnTo>
                <a:lnTo>
                  <a:pt x="2864458" y="5731181"/>
                </a:lnTo>
                <a:cubicBezTo>
                  <a:pt x="2861050" y="5732626"/>
                  <a:pt x="2859036" y="5735827"/>
                  <a:pt x="2857178" y="5737376"/>
                </a:cubicBezTo>
                <a:cubicBezTo>
                  <a:pt x="2852376" y="5736963"/>
                  <a:pt x="2849433" y="5735001"/>
                  <a:pt x="2846799" y="5729735"/>
                </a:cubicBezTo>
                <a:cubicBezTo>
                  <a:pt x="2850827" y="5723230"/>
                  <a:pt x="2848968" y="5724779"/>
                  <a:pt x="2856093" y="5720236"/>
                </a:cubicBezTo>
                <a:close/>
                <a:moveTo>
                  <a:pt x="3230478" y="5719719"/>
                </a:moveTo>
                <a:cubicBezTo>
                  <a:pt x="3232337" y="5718067"/>
                  <a:pt x="3234660" y="5719822"/>
                  <a:pt x="3234505" y="5720752"/>
                </a:cubicBezTo>
                <a:cubicBezTo>
                  <a:pt x="3233576" y="5721578"/>
                  <a:pt x="3231872" y="5721578"/>
                  <a:pt x="3230942" y="5722404"/>
                </a:cubicBezTo>
                <a:cubicBezTo>
                  <a:pt x="3231098" y="5721475"/>
                  <a:pt x="3230323" y="5720649"/>
                  <a:pt x="3230478" y="5719719"/>
                </a:cubicBezTo>
                <a:close/>
                <a:moveTo>
                  <a:pt x="3177968" y="5718996"/>
                </a:moveTo>
                <a:cubicBezTo>
                  <a:pt x="3179827" y="5720752"/>
                  <a:pt x="3181530" y="5722610"/>
                  <a:pt x="3183234" y="5724366"/>
                </a:cubicBezTo>
                <a:cubicBezTo>
                  <a:pt x="3184474" y="5728806"/>
                  <a:pt x="3182150" y="5732523"/>
                  <a:pt x="3178587" y="5733349"/>
                </a:cubicBezTo>
                <a:cubicBezTo>
                  <a:pt x="3177348" y="5733659"/>
                  <a:pt x="3176109" y="5733555"/>
                  <a:pt x="3174715" y="5733143"/>
                </a:cubicBezTo>
                <a:cubicBezTo>
                  <a:pt x="3172856" y="5732523"/>
                  <a:pt x="3170997" y="5731181"/>
                  <a:pt x="3169294" y="5729012"/>
                </a:cubicBezTo>
                <a:cubicBezTo>
                  <a:pt x="3167435" y="5724572"/>
                  <a:pt x="3173786" y="5717964"/>
                  <a:pt x="3177968" y="5718996"/>
                </a:cubicBezTo>
                <a:close/>
                <a:moveTo>
                  <a:pt x="3028338" y="5717654"/>
                </a:moveTo>
                <a:cubicBezTo>
                  <a:pt x="3032675" y="5717241"/>
                  <a:pt x="3033915" y="5721165"/>
                  <a:pt x="3036858" y="5724159"/>
                </a:cubicBezTo>
                <a:cubicBezTo>
                  <a:pt x="3036393" y="5724882"/>
                  <a:pt x="3036548" y="5726121"/>
                  <a:pt x="3037167" y="5726534"/>
                </a:cubicBezTo>
                <a:cubicBezTo>
                  <a:pt x="3037477" y="5727773"/>
                  <a:pt x="3037632" y="5729012"/>
                  <a:pt x="3038097" y="5728186"/>
                </a:cubicBezTo>
                <a:cubicBezTo>
                  <a:pt x="3038716" y="5731800"/>
                  <a:pt x="3039491" y="5732213"/>
                  <a:pt x="3037322" y="5734072"/>
                </a:cubicBezTo>
                <a:cubicBezTo>
                  <a:pt x="3032211" y="5729838"/>
                  <a:pt x="3028028" y="5722714"/>
                  <a:pt x="3027099" y="5721165"/>
                </a:cubicBezTo>
                <a:cubicBezTo>
                  <a:pt x="3026634" y="5720339"/>
                  <a:pt x="3026634" y="5719719"/>
                  <a:pt x="3026789" y="5719203"/>
                </a:cubicBezTo>
                <a:cubicBezTo>
                  <a:pt x="3026944" y="5718687"/>
                  <a:pt x="3027564" y="5718274"/>
                  <a:pt x="3028338" y="5717654"/>
                </a:cubicBezTo>
                <a:close/>
                <a:moveTo>
                  <a:pt x="2956157" y="5713730"/>
                </a:moveTo>
                <a:cubicBezTo>
                  <a:pt x="2955382" y="5726224"/>
                  <a:pt x="2967619" y="5731387"/>
                  <a:pt x="2964521" y="5745017"/>
                </a:cubicBezTo>
                <a:cubicBezTo>
                  <a:pt x="2960184" y="5744397"/>
                  <a:pt x="2955537" y="5738305"/>
                  <a:pt x="2953214" y="5731490"/>
                </a:cubicBezTo>
                <a:cubicBezTo>
                  <a:pt x="2950890" y="5724676"/>
                  <a:pt x="2951045" y="5717138"/>
                  <a:pt x="2956157" y="5713730"/>
                </a:cubicBezTo>
                <a:close/>
                <a:moveTo>
                  <a:pt x="3130415" y="5712491"/>
                </a:moveTo>
                <a:cubicBezTo>
                  <a:pt x="3132429" y="5713834"/>
                  <a:pt x="3133048" y="5715073"/>
                  <a:pt x="3133203" y="5716312"/>
                </a:cubicBezTo>
                <a:lnTo>
                  <a:pt x="3132119" y="5719719"/>
                </a:lnTo>
                <a:lnTo>
                  <a:pt x="3132738" y="5719616"/>
                </a:lnTo>
                <a:cubicBezTo>
                  <a:pt x="3132893" y="5719616"/>
                  <a:pt x="3132738" y="5719822"/>
                  <a:pt x="3132584" y="5720236"/>
                </a:cubicBezTo>
                <a:cubicBezTo>
                  <a:pt x="3134442" y="5720339"/>
                  <a:pt x="3135062" y="5720752"/>
                  <a:pt x="3135836" y="5721268"/>
                </a:cubicBezTo>
                <a:cubicBezTo>
                  <a:pt x="3135991" y="5722507"/>
                  <a:pt x="3135062" y="5723953"/>
                  <a:pt x="3133358" y="5725088"/>
                </a:cubicBezTo>
                <a:cubicBezTo>
                  <a:pt x="3133203" y="5723849"/>
                  <a:pt x="3131189" y="5723643"/>
                  <a:pt x="3131034" y="5722507"/>
                </a:cubicBezTo>
                <a:cubicBezTo>
                  <a:pt x="3131034" y="5722507"/>
                  <a:pt x="3131189" y="5721784"/>
                  <a:pt x="3131499" y="5721165"/>
                </a:cubicBezTo>
                <a:lnTo>
                  <a:pt x="3131809" y="5719822"/>
                </a:lnTo>
                <a:lnTo>
                  <a:pt x="3130415" y="5719100"/>
                </a:lnTo>
                <a:cubicBezTo>
                  <a:pt x="3128711" y="5718790"/>
                  <a:pt x="3127317" y="5719719"/>
                  <a:pt x="3126387" y="5716828"/>
                </a:cubicBezTo>
                <a:cubicBezTo>
                  <a:pt x="3126697" y="5715176"/>
                  <a:pt x="3127782" y="5713627"/>
                  <a:pt x="3130415" y="5712491"/>
                </a:cubicBezTo>
                <a:close/>
                <a:moveTo>
                  <a:pt x="2980940" y="5709393"/>
                </a:moveTo>
                <a:cubicBezTo>
                  <a:pt x="2982024" y="5711046"/>
                  <a:pt x="2981404" y="5712801"/>
                  <a:pt x="2980785" y="5714556"/>
                </a:cubicBezTo>
                <a:cubicBezTo>
                  <a:pt x="2980165" y="5715899"/>
                  <a:pt x="2979391" y="5716415"/>
                  <a:pt x="2978616" y="5716312"/>
                </a:cubicBezTo>
                <a:cubicBezTo>
                  <a:pt x="2977687" y="5716312"/>
                  <a:pt x="2976758" y="5715692"/>
                  <a:pt x="2975828" y="5714866"/>
                </a:cubicBezTo>
                <a:cubicBezTo>
                  <a:pt x="2973814" y="5713214"/>
                  <a:pt x="2974434" y="5711459"/>
                  <a:pt x="2974434" y="5711459"/>
                </a:cubicBezTo>
                <a:cubicBezTo>
                  <a:pt x="2975828" y="5708774"/>
                  <a:pt x="2978152" y="5707845"/>
                  <a:pt x="2980940" y="5709393"/>
                </a:cubicBezTo>
                <a:close/>
                <a:moveTo>
                  <a:pt x="3202441" y="5708258"/>
                </a:moveTo>
                <a:cubicBezTo>
                  <a:pt x="3206159" y="5712594"/>
                  <a:pt x="3204920" y="5715795"/>
                  <a:pt x="3200273" y="5718171"/>
                </a:cubicBezTo>
                <a:cubicBezTo>
                  <a:pt x="3198724" y="5716931"/>
                  <a:pt x="3197020" y="5716518"/>
                  <a:pt x="3194697" y="5715073"/>
                </a:cubicBezTo>
                <a:cubicBezTo>
                  <a:pt x="3195007" y="5712594"/>
                  <a:pt x="3198259" y="5708051"/>
                  <a:pt x="3202441" y="5708258"/>
                </a:cubicBezTo>
                <a:close/>
                <a:moveTo>
                  <a:pt x="3249220" y="5707742"/>
                </a:moveTo>
                <a:cubicBezTo>
                  <a:pt x="3250614" y="5709600"/>
                  <a:pt x="3254332" y="5707019"/>
                  <a:pt x="3256500" y="5709704"/>
                </a:cubicBezTo>
                <a:cubicBezTo>
                  <a:pt x="3256345" y="5711459"/>
                  <a:pt x="3256191" y="5712285"/>
                  <a:pt x="3255261" y="5714040"/>
                </a:cubicBezTo>
                <a:cubicBezTo>
                  <a:pt x="3247981" y="5720132"/>
                  <a:pt x="3243954" y="5717448"/>
                  <a:pt x="3243024" y="5718377"/>
                </a:cubicBezTo>
                <a:cubicBezTo>
                  <a:pt x="3240856" y="5715692"/>
                  <a:pt x="3242715" y="5713834"/>
                  <a:pt x="3244728" y="5710323"/>
                </a:cubicBezTo>
                <a:cubicBezTo>
                  <a:pt x="3245503" y="5711252"/>
                  <a:pt x="3248291" y="5708671"/>
                  <a:pt x="3249220" y="5707742"/>
                </a:cubicBezTo>
                <a:close/>
                <a:moveTo>
                  <a:pt x="2961423" y="5705573"/>
                </a:moveTo>
                <a:cubicBezTo>
                  <a:pt x="2961423" y="5705573"/>
                  <a:pt x="2961423" y="5705573"/>
                  <a:pt x="2962043" y="5707328"/>
                </a:cubicBezTo>
                <a:cubicBezTo>
                  <a:pt x="2962043" y="5708258"/>
                  <a:pt x="2961888" y="5709187"/>
                  <a:pt x="2960958" y="5710013"/>
                </a:cubicBezTo>
                <a:cubicBezTo>
                  <a:pt x="2959874" y="5710943"/>
                  <a:pt x="2958170" y="5710839"/>
                  <a:pt x="2957396" y="5710839"/>
                </a:cubicBezTo>
                <a:cubicBezTo>
                  <a:pt x="2957396" y="5710013"/>
                  <a:pt x="2956621" y="5709910"/>
                  <a:pt x="2956776" y="5709084"/>
                </a:cubicBezTo>
                <a:cubicBezTo>
                  <a:pt x="2956002" y="5707225"/>
                  <a:pt x="2956002" y="5707328"/>
                  <a:pt x="2956931" y="5706399"/>
                </a:cubicBezTo>
                <a:cubicBezTo>
                  <a:pt x="2957860" y="5705573"/>
                  <a:pt x="2960339" y="5706502"/>
                  <a:pt x="2961423" y="5705573"/>
                </a:cubicBezTo>
                <a:close/>
                <a:moveTo>
                  <a:pt x="3273694" y="5702682"/>
                </a:moveTo>
                <a:cubicBezTo>
                  <a:pt x="3278341" y="5707742"/>
                  <a:pt x="3277566" y="5709910"/>
                  <a:pt x="3275243" y="5710323"/>
                </a:cubicBezTo>
                <a:cubicBezTo>
                  <a:pt x="3271680" y="5710943"/>
                  <a:pt x="3264400" y="5706502"/>
                  <a:pt x="3273694" y="5702682"/>
                </a:cubicBezTo>
                <a:close/>
                <a:moveTo>
                  <a:pt x="3466075" y="5701753"/>
                </a:moveTo>
                <a:cubicBezTo>
                  <a:pt x="3465765" y="5703921"/>
                  <a:pt x="3465301" y="5705883"/>
                  <a:pt x="3464526" y="5707535"/>
                </a:cubicBezTo>
                <a:cubicBezTo>
                  <a:pt x="3462513" y="5712491"/>
                  <a:pt x="3459260" y="5715382"/>
                  <a:pt x="3458795" y="5719410"/>
                </a:cubicBezTo>
                <a:cubicBezTo>
                  <a:pt x="3458795" y="5719410"/>
                  <a:pt x="3458795" y="5719410"/>
                  <a:pt x="3456626" y="5720132"/>
                </a:cubicBezTo>
                <a:cubicBezTo>
                  <a:pt x="3456317" y="5720855"/>
                  <a:pt x="3456317" y="5720855"/>
                  <a:pt x="3456317" y="5720855"/>
                </a:cubicBezTo>
                <a:cubicBezTo>
                  <a:pt x="3456162" y="5721268"/>
                  <a:pt x="3455697" y="5721165"/>
                  <a:pt x="3455232" y="5721061"/>
                </a:cubicBezTo>
                <a:cubicBezTo>
                  <a:pt x="3454768" y="5720958"/>
                  <a:pt x="3454458" y="5720752"/>
                  <a:pt x="3454458" y="5720752"/>
                </a:cubicBezTo>
                <a:cubicBezTo>
                  <a:pt x="3453219" y="5719100"/>
                  <a:pt x="3455078" y="5717241"/>
                  <a:pt x="3455697" y="5715795"/>
                </a:cubicBezTo>
                <a:cubicBezTo>
                  <a:pt x="3454458" y="5714143"/>
                  <a:pt x="3458640" y="5713627"/>
                  <a:pt x="3457401" y="5711975"/>
                </a:cubicBezTo>
                <a:cubicBezTo>
                  <a:pt x="3461893" y="5710736"/>
                  <a:pt x="3459879" y="5704850"/>
                  <a:pt x="3466075" y="5701753"/>
                </a:cubicBezTo>
                <a:close/>
                <a:moveTo>
                  <a:pt x="2873907" y="5700926"/>
                </a:moveTo>
                <a:cubicBezTo>
                  <a:pt x="2873442" y="5707019"/>
                  <a:pt x="2876695" y="5709910"/>
                  <a:pt x="2874061" y="5714453"/>
                </a:cubicBezTo>
                <a:cubicBezTo>
                  <a:pt x="2865542" y="5715382"/>
                  <a:pt x="2862444" y="5704850"/>
                  <a:pt x="2866936" y="5701340"/>
                </a:cubicBezTo>
                <a:cubicBezTo>
                  <a:pt x="2868330" y="5700204"/>
                  <a:pt x="2870654" y="5699791"/>
                  <a:pt x="2873907" y="5700926"/>
                </a:cubicBezTo>
                <a:close/>
                <a:moveTo>
                  <a:pt x="3370659" y="5697003"/>
                </a:moveTo>
                <a:cubicBezTo>
                  <a:pt x="3373447" y="5694938"/>
                  <a:pt x="3376390" y="5696177"/>
                  <a:pt x="3378404" y="5698552"/>
                </a:cubicBezTo>
                <a:cubicBezTo>
                  <a:pt x="3380263" y="5701030"/>
                  <a:pt x="3381192" y="5704541"/>
                  <a:pt x="3380108" y="5707225"/>
                </a:cubicBezTo>
                <a:cubicBezTo>
                  <a:pt x="3375306" y="5706606"/>
                  <a:pt x="3371898" y="5705263"/>
                  <a:pt x="3370814" y="5701546"/>
                </a:cubicBezTo>
                <a:cubicBezTo>
                  <a:pt x="3370504" y="5700307"/>
                  <a:pt x="3370349" y="5698861"/>
                  <a:pt x="3370659" y="5697003"/>
                </a:cubicBezTo>
                <a:close/>
                <a:moveTo>
                  <a:pt x="3277644" y="5694525"/>
                </a:moveTo>
                <a:cubicBezTo>
                  <a:pt x="3278883" y="5693724"/>
                  <a:pt x="3280587" y="5693647"/>
                  <a:pt x="3282368" y="5694835"/>
                </a:cubicBezTo>
                <a:cubicBezTo>
                  <a:pt x="3281903" y="5699687"/>
                  <a:pt x="3279890" y="5701443"/>
                  <a:pt x="3276947" y="5701959"/>
                </a:cubicBezTo>
                <a:cubicBezTo>
                  <a:pt x="3276017" y="5700823"/>
                  <a:pt x="3275708" y="5699687"/>
                  <a:pt x="3275708" y="5698552"/>
                </a:cubicBezTo>
                <a:cubicBezTo>
                  <a:pt x="3275630" y="5696848"/>
                  <a:pt x="3276405" y="5695325"/>
                  <a:pt x="3277644" y="5694525"/>
                </a:cubicBezTo>
                <a:close/>
                <a:moveTo>
                  <a:pt x="3558083" y="5692976"/>
                </a:moveTo>
                <a:cubicBezTo>
                  <a:pt x="3558703" y="5694938"/>
                  <a:pt x="3558238" y="5697416"/>
                  <a:pt x="3557154" y="5699997"/>
                </a:cubicBezTo>
                <a:cubicBezTo>
                  <a:pt x="3553901" y="5707638"/>
                  <a:pt x="3544607" y="5716209"/>
                  <a:pt x="3538412" y="5715589"/>
                </a:cubicBezTo>
                <a:cubicBezTo>
                  <a:pt x="3536863" y="5714040"/>
                  <a:pt x="3535778" y="5712491"/>
                  <a:pt x="3535314" y="5711046"/>
                </a:cubicBezTo>
                <a:cubicBezTo>
                  <a:pt x="3534384" y="5708464"/>
                  <a:pt x="3535004" y="5706089"/>
                  <a:pt x="3536553" y="5704024"/>
                </a:cubicBezTo>
                <a:cubicBezTo>
                  <a:pt x="3540890" y="5697725"/>
                  <a:pt x="3553282" y="5693905"/>
                  <a:pt x="3558083" y="5692976"/>
                </a:cubicBezTo>
                <a:close/>
                <a:moveTo>
                  <a:pt x="3002626" y="5692563"/>
                </a:moveTo>
                <a:cubicBezTo>
                  <a:pt x="3005723" y="5700617"/>
                  <a:pt x="2999372" y="5710943"/>
                  <a:pt x="2994726" y="5715073"/>
                </a:cubicBezTo>
                <a:cubicBezTo>
                  <a:pt x="2991473" y="5706915"/>
                  <a:pt x="2996894" y="5695454"/>
                  <a:pt x="3002626" y="5692563"/>
                </a:cubicBezTo>
                <a:close/>
                <a:moveTo>
                  <a:pt x="2935865" y="5692150"/>
                </a:moveTo>
                <a:cubicBezTo>
                  <a:pt x="2935865" y="5692150"/>
                  <a:pt x="2935865" y="5692150"/>
                  <a:pt x="2936639" y="5692150"/>
                </a:cubicBezTo>
                <a:cubicBezTo>
                  <a:pt x="2935401" y="5695660"/>
                  <a:pt x="2935865" y="5700101"/>
                  <a:pt x="2934006" y="5702682"/>
                </a:cubicBezTo>
                <a:cubicBezTo>
                  <a:pt x="2933542" y="5703095"/>
                  <a:pt x="2932922" y="5703508"/>
                  <a:pt x="2932458" y="5703611"/>
                </a:cubicBezTo>
                <a:cubicBezTo>
                  <a:pt x="2931993" y="5703715"/>
                  <a:pt x="2931373" y="5703611"/>
                  <a:pt x="2930599" y="5702682"/>
                </a:cubicBezTo>
                <a:cubicBezTo>
                  <a:pt x="2929824" y="5702166"/>
                  <a:pt x="2929359" y="5701753"/>
                  <a:pt x="2929514" y="5701030"/>
                </a:cubicBezTo>
                <a:cubicBezTo>
                  <a:pt x="2929514" y="5700410"/>
                  <a:pt x="2930134" y="5699481"/>
                  <a:pt x="2931063" y="5698242"/>
                </a:cubicBezTo>
                <a:cubicBezTo>
                  <a:pt x="2932922" y="5696486"/>
                  <a:pt x="2933851" y="5694835"/>
                  <a:pt x="2934781" y="5694835"/>
                </a:cubicBezTo>
                <a:cubicBezTo>
                  <a:pt x="2934781" y="5693905"/>
                  <a:pt x="2935710" y="5693079"/>
                  <a:pt x="2935865" y="5692150"/>
                </a:cubicBezTo>
                <a:close/>
                <a:moveTo>
                  <a:pt x="3167590" y="5691840"/>
                </a:moveTo>
                <a:cubicBezTo>
                  <a:pt x="3173786" y="5699894"/>
                  <a:pt x="3158451" y="5711355"/>
                  <a:pt x="3152565" y="5712904"/>
                </a:cubicBezTo>
                <a:cubicBezTo>
                  <a:pt x="3155663" y="5706089"/>
                  <a:pt x="3161084" y="5695041"/>
                  <a:pt x="3167590" y="5691840"/>
                </a:cubicBezTo>
                <a:close/>
                <a:moveTo>
                  <a:pt x="3296464" y="5688226"/>
                </a:moveTo>
                <a:cubicBezTo>
                  <a:pt x="3301575" y="5687607"/>
                  <a:pt x="3305912" y="5694628"/>
                  <a:pt x="3307771" y="5699068"/>
                </a:cubicBezTo>
                <a:cubicBezTo>
                  <a:pt x="3306222" y="5700720"/>
                  <a:pt x="3307152" y="5702476"/>
                  <a:pt x="3305602" y="5704127"/>
                </a:cubicBezTo>
                <a:cubicBezTo>
                  <a:pt x="3300336" y="5698758"/>
                  <a:pt x="3294295" y="5693286"/>
                  <a:pt x="3296464" y="5688226"/>
                </a:cubicBezTo>
                <a:close/>
                <a:moveTo>
                  <a:pt x="3178278" y="5686781"/>
                </a:moveTo>
                <a:cubicBezTo>
                  <a:pt x="3180137" y="5685954"/>
                  <a:pt x="3182925" y="5684199"/>
                  <a:pt x="3186023" y="5686884"/>
                </a:cubicBezTo>
                <a:cubicBezTo>
                  <a:pt x="3186797" y="5687813"/>
                  <a:pt x="3186797" y="5687813"/>
                  <a:pt x="3186797" y="5688639"/>
                </a:cubicBezTo>
                <a:cubicBezTo>
                  <a:pt x="3187417" y="5690394"/>
                  <a:pt x="3188191" y="5691324"/>
                  <a:pt x="3187107" y="5693079"/>
                </a:cubicBezTo>
                <a:cubicBezTo>
                  <a:pt x="3186177" y="5694318"/>
                  <a:pt x="3185248" y="5694835"/>
                  <a:pt x="3184319" y="5694628"/>
                </a:cubicBezTo>
                <a:cubicBezTo>
                  <a:pt x="3183389" y="5694525"/>
                  <a:pt x="3182305" y="5693905"/>
                  <a:pt x="3181221" y="5692976"/>
                </a:cubicBezTo>
                <a:cubicBezTo>
                  <a:pt x="3179982" y="5692047"/>
                  <a:pt x="3179672" y="5691014"/>
                  <a:pt x="3179362" y="5689878"/>
                </a:cubicBezTo>
                <a:cubicBezTo>
                  <a:pt x="3179207" y="5688742"/>
                  <a:pt x="3179052" y="5687710"/>
                  <a:pt x="3178278" y="5686781"/>
                </a:cubicBezTo>
                <a:close/>
                <a:moveTo>
                  <a:pt x="2959874" y="5685542"/>
                </a:moveTo>
                <a:cubicBezTo>
                  <a:pt x="2959874" y="5685542"/>
                  <a:pt x="2960029" y="5686677"/>
                  <a:pt x="2960648" y="5687090"/>
                </a:cubicBezTo>
                <a:cubicBezTo>
                  <a:pt x="2960648" y="5687090"/>
                  <a:pt x="2960958" y="5688329"/>
                  <a:pt x="2961113" y="5689465"/>
                </a:cubicBezTo>
                <a:cubicBezTo>
                  <a:pt x="2961113" y="5689465"/>
                  <a:pt x="2961733" y="5689878"/>
                  <a:pt x="2962507" y="5690394"/>
                </a:cubicBezTo>
                <a:cubicBezTo>
                  <a:pt x="2963592" y="5693079"/>
                  <a:pt x="2964521" y="5694731"/>
                  <a:pt x="2961888" y="5697209"/>
                </a:cubicBezTo>
                <a:cubicBezTo>
                  <a:pt x="2961578" y="5697003"/>
                  <a:pt x="2961268" y="5696383"/>
                  <a:pt x="2960958" y="5695557"/>
                </a:cubicBezTo>
                <a:cubicBezTo>
                  <a:pt x="2960803" y="5694835"/>
                  <a:pt x="2960648" y="5693905"/>
                  <a:pt x="2960648" y="5693286"/>
                </a:cubicBezTo>
                <a:cubicBezTo>
                  <a:pt x="2959874" y="5692873"/>
                  <a:pt x="2959719" y="5691634"/>
                  <a:pt x="2960184" y="5690911"/>
                </a:cubicBezTo>
                <a:cubicBezTo>
                  <a:pt x="2960184" y="5690911"/>
                  <a:pt x="2960029" y="5689775"/>
                  <a:pt x="2959254" y="5689362"/>
                </a:cubicBezTo>
                <a:cubicBezTo>
                  <a:pt x="2958945" y="5686987"/>
                  <a:pt x="2959409" y="5686264"/>
                  <a:pt x="2959874" y="5685542"/>
                </a:cubicBezTo>
                <a:close/>
                <a:moveTo>
                  <a:pt x="3468089" y="5684096"/>
                </a:moveTo>
                <a:cubicBezTo>
                  <a:pt x="3470257" y="5690704"/>
                  <a:pt x="3471806" y="5695144"/>
                  <a:pt x="3471961" y="5698861"/>
                </a:cubicBezTo>
                <a:cubicBezTo>
                  <a:pt x="3470877" y="5699481"/>
                  <a:pt x="3469947" y="5699894"/>
                  <a:pt x="3469018" y="5699997"/>
                </a:cubicBezTo>
                <a:cubicBezTo>
                  <a:pt x="3468089" y="5700204"/>
                  <a:pt x="3467314" y="5700101"/>
                  <a:pt x="3466385" y="5699997"/>
                </a:cubicBezTo>
                <a:cubicBezTo>
                  <a:pt x="3461428" y="5698861"/>
                  <a:pt x="3458330" y="5691943"/>
                  <a:pt x="3460964" y="5687607"/>
                </a:cubicBezTo>
                <a:cubicBezTo>
                  <a:pt x="3462048" y="5685748"/>
                  <a:pt x="3464371" y="5684302"/>
                  <a:pt x="3468089" y="5684096"/>
                </a:cubicBezTo>
                <a:close/>
                <a:moveTo>
                  <a:pt x="3479861" y="5682857"/>
                </a:moveTo>
                <a:cubicBezTo>
                  <a:pt x="3483578" y="5687400"/>
                  <a:pt x="3487760" y="5686781"/>
                  <a:pt x="3487141" y="5691117"/>
                </a:cubicBezTo>
                <a:cubicBezTo>
                  <a:pt x="3483733" y="5691840"/>
                  <a:pt x="3479241" y="5686368"/>
                  <a:pt x="3479861" y="5682857"/>
                </a:cubicBezTo>
                <a:close/>
                <a:moveTo>
                  <a:pt x="3274623" y="5682134"/>
                </a:moveTo>
                <a:cubicBezTo>
                  <a:pt x="3275398" y="5685748"/>
                  <a:pt x="3271370" y="5694835"/>
                  <a:pt x="3264400" y="5694628"/>
                </a:cubicBezTo>
                <a:cubicBezTo>
                  <a:pt x="3264245" y="5686058"/>
                  <a:pt x="3269666" y="5684406"/>
                  <a:pt x="3274623" y="5682134"/>
                </a:cubicBezTo>
                <a:close/>
                <a:moveTo>
                  <a:pt x="3245038" y="5681927"/>
                </a:moveTo>
                <a:cubicBezTo>
                  <a:pt x="3249530" y="5685645"/>
                  <a:pt x="3250614" y="5690291"/>
                  <a:pt x="3251698" y="5695041"/>
                </a:cubicBezTo>
                <a:cubicBezTo>
                  <a:pt x="3250150" y="5697313"/>
                  <a:pt x="3248755" y="5698242"/>
                  <a:pt x="3247516" y="5698242"/>
                </a:cubicBezTo>
                <a:cubicBezTo>
                  <a:pt x="3243799" y="5698448"/>
                  <a:pt x="3241166" y="5690498"/>
                  <a:pt x="3238532" y="5686574"/>
                </a:cubicBezTo>
                <a:cubicBezTo>
                  <a:pt x="3240546" y="5683580"/>
                  <a:pt x="3241475" y="5682857"/>
                  <a:pt x="3245038" y="5681927"/>
                </a:cubicBezTo>
                <a:close/>
                <a:moveTo>
                  <a:pt x="2922854" y="5680688"/>
                </a:moveTo>
                <a:lnTo>
                  <a:pt x="2923473" y="5682134"/>
                </a:lnTo>
                <a:lnTo>
                  <a:pt x="2926726" y="5682547"/>
                </a:lnTo>
                <a:cubicBezTo>
                  <a:pt x="2928430" y="5681721"/>
                  <a:pt x="2929514" y="5679966"/>
                  <a:pt x="2931063" y="5680895"/>
                </a:cubicBezTo>
                <a:cubicBezTo>
                  <a:pt x="2928430" y="5682547"/>
                  <a:pt x="2927501" y="5683373"/>
                  <a:pt x="2925642" y="5684199"/>
                </a:cubicBezTo>
                <a:lnTo>
                  <a:pt x="2925177" y="5685335"/>
                </a:lnTo>
                <a:lnTo>
                  <a:pt x="2925332" y="5685542"/>
                </a:lnTo>
                <a:lnTo>
                  <a:pt x="2925022" y="5685851"/>
                </a:lnTo>
                <a:lnTo>
                  <a:pt x="2924557" y="5686781"/>
                </a:lnTo>
                <a:lnTo>
                  <a:pt x="2924248" y="5686884"/>
                </a:lnTo>
                <a:lnTo>
                  <a:pt x="2923164" y="5688949"/>
                </a:lnTo>
                <a:cubicBezTo>
                  <a:pt x="2922234" y="5690911"/>
                  <a:pt x="2921614" y="5692769"/>
                  <a:pt x="2921614" y="5692769"/>
                </a:cubicBezTo>
                <a:cubicBezTo>
                  <a:pt x="2920375" y="5693182"/>
                  <a:pt x="2919756" y="5693286"/>
                  <a:pt x="2919446" y="5693079"/>
                </a:cubicBezTo>
                <a:cubicBezTo>
                  <a:pt x="2918981" y="5692769"/>
                  <a:pt x="2918826" y="5692047"/>
                  <a:pt x="2918207" y="5690704"/>
                </a:cubicBezTo>
                <a:lnTo>
                  <a:pt x="2918981" y="5687400"/>
                </a:lnTo>
                <a:lnTo>
                  <a:pt x="2918517" y="5686574"/>
                </a:lnTo>
                <a:cubicBezTo>
                  <a:pt x="2918517" y="5685748"/>
                  <a:pt x="2918826" y="5684922"/>
                  <a:pt x="2919756" y="5684096"/>
                </a:cubicBezTo>
                <a:lnTo>
                  <a:pt x="2920685" y="5683476"/>
                </a:lnTo>
                <a:close/>
                <a:moveTo>
                  <a:pt x="3260683" y="5678314"/>
                </a:moveTo>
                <a:cubicBezTo>
                  <a:pt x="3263780" y="5678417"/>
                  <a:pt x="3263780" y="5681618"/>
                  <a:pt x="3265175" y="5685025"/>
                </a:cubicBezTo>
                <a:cubicBezTo>
                  <a:pt x="3263935" y="5684715"/>
                  <a:pt x="3263780" y="5685851"/>
                  <a:pt x="3263626" y="5687090"/>
                </a:cubicBezTo>
                <a:cubicBezTo>
                  <a:pt x="3261767" y="5686574"/>
                  <a:pt x="3258979" y="5686264"/>
                  <a:pt x="3258049" y="5684096"/>
                </a:cubicBezTo>
                <a:cubicBezTo>
                  <a:pt x="3257740" y="5683373"/>
                  <a:pt x="3257585" y="5682444"/>
                  <a:pt x="3257895" y="5681205"/>
                </a:cubicBezTo>
                <a:cubicBezTo>
                  <a:pt x="3257275" y="5680482"/>
                  <a:pt x="3259598" y="5678004"/>
                  <a:pt x="3260683" y="5678314"/>
                </a:cubicBezTo>
                <a:close/>
                <a:moveTo>
                  <a:pt x="3454613" y="5676971"/>
                </a:moveTo>
                <a:cubicBezTo>
                  <a:pt x="3454458" y="5682341"/>
                  <a:pt x="3454303" y="5690291"/>
                  <a:pt x="3451980" y="5697313"/>
                </a:cubicBezTo>
                <a:cubicBezTo>
                  <a:pt x="3449501" y="5704334"/>
                  <a:pt x="3444854" y="5710529"/>
                  <a:pt x="3435715" y="5712078"/>
                </a:cubicBezTo>
                <a:cubicBezTo>
                  <a:pt x="3434941" y="5709187"/>
                  <a:pt x="3435251" y="5705780"/>
                  <a:pt x="3436335" y="5702166"/>
                </a:cubicBezTo>
                <a:lnTo>
                  <a:pt x="3438968" y="5695557"/>
                </a:lnTo>
                <a:lnTo>
                  <a:pt x="3440053" y="5693905"/>
                </a:lnTo>
                <a:lnTo>
                  <a:pt x="3440053" y="5693182"/>
                </a:lnTo>
                <a:lnTo>
                  <a:pt x="3444390" y="5686368"/>
                </a:lnTo>
                <a:cubicBezTo>
                  <a:pt x="3447797" y="5681721"/>
                  <a:pt x="3451515" y="5678107"/>
                  <a:pt x="3454613" y="5676971"/>
                </a:cubicBezTo>
                <a:close/>
                <a:moveTo>
                  <a:pt x="2846180" y="5676765"/>
                </a:moveTo>
                <a:cubicBezTo>
                  <a:pt x="2848813" y="5675113"/>
                  <a:pt x="2855009" y="5679552"/>
                  <a:pt x="2857178" y="5682134"/>
                </a:cubicBezTo>
                <a:cubicBezTo>
                  <a:pt x="2856558" y="5682547"/>
                  <a:pt x="2855629" y="5682547"/>
                  <a:pt x="2854700" y="5682341"/>
                </a:cubicBezTo>
                <a:cubicBezTo>
                  <a:pt x="2851757" y="5681721"/>
                  <a:pt x="2847884" y="5678726"/>
                  <a:pt x="2846180" y="5676765"/>
                </a:cubicBezTo>
                <a:close/>
                <a:moveTo>
                  <a:pt x="3497519" y="5675629"/>
                </a:moveTo>
                <a:cubicBezTo>
                  <a:pt x="3501081" y="5680895"/>
                  <a:pt x="3505264" y="5680998"/>
                  <a:pt x="3506193" y="5686471"/>
                </a:cubicBezTo>
                <a:cubicBezTo>
                  <a:pt x="3504954" y="5688123"/>
                  <a:pt x="3503405" y="5689052"/>
                  <a:pt x="3501701" y="5689258"/>
                </a:cubicBezTo>
                <a:cubicBezTo>
                  <a:pt x="3497054" y="5689981"/>
                  <a:pt x="3492253" y="5685232"/>
                  <a:pt x="3492872" y="5680791"/>
                </a:cubicBezTo>
                <a:cubicBezTo>
                  <a:pt x="3493182" y="5678830"/>
                  <a:pt x="3494576" y="5676971"/>
                  <a:pt x="3497519" y="5675629"/>
                </a:cubicBezTo>
                <a:close/>
                <a:moveTo>
                  <a:pt x="2990544" y="5675113"/>
                </a:moveTo>
                <a:cubicBezTo>
                  <a:pt x="2990544" y="5675113"/>
                  <a:pt x="2990853" y="5676352"/>
                  <a:pt x="2991008" y="5677591"/>
                </a:cubicBezTo>
                <a:cubicBezTo>
                  <a:pt x="2991318" y="5678830"/>
                  <a:pt x="2991163" y="5678830"/>
                  <a:pt x="2992402" y="5678520"/>
                </a:cubicBezTo>
                <a:cubicBezTo>
                  <a:pt x="2992557" y="5679656"/>
                  <a:pt x="2992557" y="5679759"/>
                  <a:pt x="2991628" y="5681205"/>
                </a:cubicBezTo>
                <a:cubicBezTo>
                  <a:pt x="2991473" y="5680069"/>
                  <a:pt x="2989459" y="5675422"/>
                  <a:pt x="2990544" y="5675113"/>
                </a:cubicBezTo>
                <a:close/>
                <a:moveTo>
                  <a:pt x="3426422" y="5674906"/>
                </a:moveTo>
                <a:cubicBezTo>
                  <a:pt x="3433857" y="5673977"/>
                  <a:pt x="3438968" y="5680275"/>
                  <a:pt x="3440207" y="5687090"/>
                </a:cubicBezTo>
                <a:lnTo>
                  <a:pt x="3440053" y="5693182"/>
                </a:lnTo>
                <a:lnTo>
                  <a:pt x="3439588" y="5694009"/>
                </a:lnTo>
                <a:lnTo>
                  <a:pt x="3438968" y="5695557"/>
                </a:lnTo>
                <a:lnTo>
                  <a:pt x="3435251" y="5701030"/>
                </a:lnTo>
                <a:cubicBezTo>
                  <a:pt x="3425492" y="5702166"/>
                  <a:pt x="3421310" y="5691220"/>
                  <a:pt x="3422859" y="5682444"/>
                </a:cubicBezTo>
                <a:cubicBezTo>
                  <a:pt x="3423479" y="5679449"/>
                  <a:pt x="3424718" y="5676868"/>
                  <a:pt x="3426422" y="5674906"/>
                </a:cubicBezTo>
                <a:close/>
                <a:moveTo>
                  <a:pt x="3183234" y="5673874"/>
                </a:moveTo>
                <a:cubicBezTo>
                  <a:pt x="3184474" y="5673564"/>
                  <a:pt x="3185558" y="5673254"/>
                  <a:pt x="3185713" y="5674390"/>
                </a:cubicBezTo>
                <a:cubicBezTo>
                  <a:pt x="3185713" y="5674390"/>
                  <a:pt x="3185248" y="5675216"/>
                  <a:pt x="3182925" y="5675835"/>
                </a:cubicBezTo>
                <a:cubicBezTo>
                  <a:pt x="3183389" y="5675113"/>
                  <a:pt x="3182770" y="5674596"/>
                  <a:pt x="3182770" y="5674596"/>
                </a:cubicBezTo>
                <a:cubicBezTo>
                  <a:pt x="3182770" y="5674596"/>
                  <a:pt x="3182770" y="5674596"/>
                  <a:pt x="3182305" y="5675422"/>
                </a:cubicBezTo>
                <a:cubicBezTo>
                  <a:pt x="3182150" y="5674803"/>
                  <a:pt x="3182460" y="5674390"/>
                  <a:pt x="3182615" y="5674183"/>
                </a:cubicBezTo>
                <a:cubicBezTo>
                  <a:pt x="3182925" y="5673874"/>
                  <a:pt x="3183234" y="5673874"/>
                  <a:pt x="3183234" y="5673874"/>
                </a:cubicBezTo>
                <a:close/>
                <a:moveTo>
                  <a:pt x="3562111" y="5672634"/>
                </a:moveTo>
                <a:cubicBezTo>
                  <a:pt x="3564279" y="5673874"/>
                  <a:pt x="3567687" y="5672944"/>
                  <a:pt x="3570785" y="5678520"/>
                </a:cubicBezTo>
                <a:cubicBezTo>
                  <a:pt x="3573573" y="5684922"/>
                  <a:pt x="3567532" y="5687297"/>
                  <a:pt x="3568306" y="5687813"/>
                </a:cubicBezTo>
                <a:cubicBezTo>
                  <a:pt x="3568771" y="5688949"/>
                  <a:pt x="3568771" y="5688949"/>
                  <a:pt x="3569546" y="5689362"/>
                </a:cubicBezTo>
                <a:cubicBezTo>
                  <a:pt x="3569236" y="5690188"/>
                  <a:pt x="3569236" y="5692150"/>
                  <a:pt x="3569701" y="5693286"/>
                </a:cubicBezTo>
                <a:cubicBezTo>
                  <a:pt x="3568926" y="5692873"/>
                  <a:pt x="3568152" y="5692459"/>
                  <a:pt x="3567842" y="5693286"/>
                </a:cubicBezTo>
                <a:cubicBezTo>
                  <a:pt x="3566913" y="5690911"/>
                  <a:pt x="3567222" y="5690085"/>
                  <a:pt x="3566913" y="5688846"/>
                </a:cubicBezTo>
                <a:cubicBezTo>
                  <a:pt x="3566448" y="5689672"/>
                  <a:pt x="3566138" y="5688433"/>
                  <a:pt x="3566138" y="5688433"/>
                </a:cubicBezTo>
                <a:cubicBezTo>
                  <a:pt x="3566138" y="5688433"/>
                  <a:pt x="3566138" y="5688433"/>
                  <a:pt x="3563970" y="5689155"/>
                </a:cubicBezTo>
                <a:cubicBezTo>
                  <a:pt x="3563970" y="5689155"/>
                  <a:pt x="3558703" y="5689981"/>
                  <a:pt x="3556380" y="5684819"/>
                </a:cubicBezTo>
                <a:cubicBezTo>
                  <a:pt x="3557464" y="5684509"/>
                  <a:pt x="3554985" y="5677281"/>
                  <a:pt x="3557928" y="5675113"/>
                </a:cubicBezTo>
                <a:cubicBezTo>
                  <a:pt x="3559478" y="5673977"/>
                  <a:pt x="3560562" y="5673667"/>
                  <a:pt x="3562111" y="5672634"/>
                </a:cubicBezTo>
                <a:close/>
                <a:moveTo>
                  <a:pt x="3189895" y="5672634"/>
                </a:moveTo>
                <a:cubicBezTo>
                  <a:pt x="3191599" y="5671602"/>
                  <a:pt x="3192219" y="5672118"/>
                  <a:pt x="3192683" y="5674493"/>
                </a:cubicBezTo>
                <a:cubicBezTo>
                  <a:pt x="3191754" y="5675009"/>
                  <a:pt x="3190360" y="5675422"/>
                  <a:pt x="3188966" y="5675422"/>
                </a:cubicBezTo>
                <a:cubicBezTo>
                  <a:pt x="3187572" y="5675422"/>
                  <a:pt x="3186332" y="5675113"/>
                  <a:pt x="3185868" y="5674286"/>
                </a:cubicBezTo>
                <a:cubicBezTo>
                  <a:pt x="3187417" y="5673254"/>
                  <a:pt x="3188656" y="5672944"/>
                  <a:pt x="3189895" y="5672634"/>
                </a:cubicBezTo>
                <a:close/>
                <a:moveTo>
                  <a:pt x="3040575" y="5672634"/>
                </a:moveTo>
                <a:cubicBezTo>
                  <a:pt x="3042279" y="5673357"/>
                  <a:pt x="3044757" y="5672428"/>
                  <a:pt x="3046616" y="5673977"/>
                </a:cubicBezTo>
                <a:cubicBezTo>
                  <a:pt x="3046616" y="5673977"/>
                  <a:pt x="3047545" y="5674803"/>
                  <a:pt x="3047700" y="5676558"/>
                </a:cubicBezTo>
                <a:cubicBezTo>
                  <a:pt x="3049714" y="5679036"/>
                  <a:pt x="3047700" y="5681824"/>
                  <a:pt x="3047700" y="5681824"/>
                </a:cubicBezTo>
                <a:cubicBezTo>
                  <a:pt x="3047700" y="5681824"/>
                  <a:pt x="3047700" y="5681824"/>
                  <a:pt x="3048475" y="5681721"/>
                </a:cubicBezTo>
                <a:cubicBezTo>
                  <a:pt x="3046926" y="5681824"/>
                  <a:pt x="3045222" y="5682857"/>
                  <a:pt x="3043673" y="5682960"/>
                </a:cubicBezTo>
                <a:cubicBezTo>
                  <a:pt x="3036238" y="5678107"/>
                  <a:pt x="3038561" y="5676248"/>
                  <a:pt x="3040575" y="5672634"/>
                </a:cubicBezTo>
                <a:close/>
                <a:moveTo>
                  <a:pt x="2718391" y="5671085"/>
                </a:moveTo>
                <a:cubicBezTo>
                  <a:pt x="2724897" y="5673874"/>
                  <a:pt x="2728304" y="5673874"/>
                  <a:pt x="2732951" y="5676661"/>
                </a:cubicBezTo>
                <a:cubicBezTo>
                  <a:pt x="2732951" y="5677591"/>
                  <a:pt x="2732021" y="5677487"/>
                  <a:pt x="2732021" y="5678417"/>
                </a:cubicBezTo>
                <a:cubicBezTo>
                  <a:pt x="2731557" y="5678830"/>
                  <a:pt x="2730628" y="5678933"/>
                  <a:pt x="2729698" y="5678933"/>
                </a:cubicBezTo>
                <a:cubicBezTo>
                  <a:pt x="2726600" y="5678830"/>
                  <a:pt x="2721954" y="5677178"/>
                  <a:pt x="2722108" y="5676455"/>
                </a:cubicBezTo>
                <a:cubicBezTo>
                  <a:pt x="2721179" y="5676455"/>
                  <a:pt x="2721334" y="5675629"/>
                  <a:pt x="2720559" y="5675525"/>
                </a:cubicBezTo>
                <a:cubicBezTo>
                  <a:pt x="2720559" y="5675525"/>
                  <a:pt x="2719630" y="5675525"/>
                  <a:pt x="2718855" y="5674596"/>
                </a:cubicBezTo>
                <a:cubicBezTo>
                  <a:pt x="2718546" y="5674183"/>
                  <a:pt x="2718081" y="5673770"/>
                  <a:pt x="2717926" y="5673151"/>
                </a:cubicBezTo>
                <a:cubicBezTo>
                  <a:pt x="2717771" y="5672634"/>
                  <a:pt x="2717926" y="5671912"/>
                  <a:pt x="2718391" y="5671085"/>
                </a:cubicBezTo>
                <a:close/>
                <a:moveTo>
                  <a:pt x="2828212" y="5670569"/>
                </a:moveTo>
                <a:cubicBezTo>
                  <a:pt x="2828987" y="5671395"/>
                  <a:pt x="2829761" y="5672324"/>
                  <a:pt x="2829606" y="5673977"/>
                </a:cubicBezTo>
                <a:cubicBezTo>
                  <a:pt x="2827747" y="5675732"/>
                  <a:pt x="2825269" y="5674803"/>
                  <a:pt x="2824340" y="5675732"/>
                </a:cubicBezTo>
                <a:cubicBezTo>
                  <a:pt x="2824495" y="5674803"/>
                  <a:pt x="2824650" y="5673151"/>
                  <a:pt x="2823101" y="5672221"/>
                </a:cubicBezTo>
                <a:cubicBezTo>
                  <a:pt x="2824804" y="5670466"/>
                  <a:pt x="2826663" y="5668814"/>
                  <a:pt x="2828212" y="5670569"/>
                </a:cubicBezTo>
                <a:close/>
                <a:moveTo>
                  <a:pt x="3389711" y="5670259"/>
                </a:moveTo>
                <a:cubicBezTo>
                  <a:pt x="3396217" y="5675009"/>
                  <a:pt x="3392964" y="5681824"/>
                  <a:pt x="3388317" y="5682650"/>
                </a:cubicBezTo>
                <a:cubicBezTo>
                  <a:pt x="3386768" y="5682857"/>
                  <a:pt x="3384910" y="5682444"/>
                  <a:pt x="3383515" y="5681101"/>
                </a:cubicBezTo>
                <a:cubicBezTo>
                  <a:pt x="3384135" y="5675939"/>
                  <a:pt x="3383825" y="5669950"/>
                  <a:pt x="3389711" y="5670259"/>
                </a:cubicBezTo>
                <a:close/>
                <a:moveTo>
                  <a:pt x="3226915" y="5668711"/>
                </a:moveTo>
                <a:cubicBezTo>
                  <a:pt x="3227535" y="5669227"/>
                  <a:pt x="3229394" y="5669330"/>
                  <a:pt x="3229703" y="5670569"/>
                </a:cubicBezTo>
                <a:cubicBezTo>
                  <a:pt x="3229858" y="5671705"/>
                  <a:pt x="3229858" y="5671705"/>
                  <a:pt x="3228929" y="5673254"/>
                </a:cubicBezTo>
                <a:cubicBezTo>
                  <a:pt x="3227999" y="5672221"/>
                  <a:pt x="3227690" y="5671705"/>
                  <a:pt x="3227380" y="5671085"/>
                </a:cubicBezTo>
                <a:cubicBezTo>
                  <a:pt x="3227225" y="5670569"/>
                  <a:pt x="3227070" y="5669950"/>
                  <a:pt x="3226915" y="5668711"/>
                </a:cubicBezTo>
                <a:close/>
                <a:moveTo>
                  <a:pt x="3224902" y="5667472"/>
                </a:moveTo>
                <a:cubicBezTo>
                  <a:pt x="3225366" y="5666749"/>
                  <a:pt x="3226141" y="5667162"/>
                  <a:pt x="3226451" y="5668298"/>
                </a:cubicBezTo>
                <a:cubicBezTo>
                  <a:pt x="3226451" y="5668298"/>
                  <a:pt x="3225986" y="5669020"/>
                  <a:pt x="3225986" y="5669020"/>
                </a:cubicBezTo>
                <a:cubicBezTo>
                  <a:pt x="3225521" y="5668814"/>
                  <a:pt x="3225211" y="5668608"/>
                  <a:pt x="3225056" y="5668298"/>
                </a:cubicBezTo>
                <a:cubicBezTo>
                  <a:pt x="3224747" y="5668091"/>
                  <a:pt x="3224747" y="5667781"/>
                  <a:pt x="3224902" y="5667472"/>
                </a:cubicBezTo>
                <a:close/>
                <a:moveTo>
                  <a:pt x="2968083" y="5666232"/>
                </a:moveTo>
                <a:cubicBezTo>
                  <a:pt x="2970252" y="5667781"/>
                  <a:pt x="2971181" y="5669743"/>
                  <a:pt x="2971026" y="5671602"/>
                </a:cubicBezTo>
                <a:cubicBezTo>
                  <a:pt x="2971026" y="5674700"/>
                  <a:pt x="2968238" y="5677591"/>
                  <a:pt x="2965295" y="5678314"/>
                </a:cubicBezTo>
                <a:cubicBezTo>
                  <a:pt x="2964211" y="5678623"/>
                  <a:pt x="2963282" y="5678623"/>
                  <a:pt x="2962197" y="5678314"/>
                </a:cubicBezTo>
                <a:cubicBezTo>
                  <a:pt x="2960958" y="5677901"/>
                  <a:pt x="2959874" y="5676868"/>
                  <a:pt x="2959100" y="5675216"/>
                </a:cubicBezTo>
                <a:cubicBezTo>
                  <a:pt x="2959564" y="5671705"/>
                  <a:pt x="2965450" y="5666955"/>
                  <a:pt x="2968083" y="5666232"/>
                </a:cubicBezTo>
                <a:close/>
                <a:moveTo>
                  <a:pt x="2877314" y="5665923"/>
                </a:moveTo>
                <a:lnTo>
                  <a:pt x="2877624" y="5666232"/>
                </a:lnTo>
                <a:lnTo>
                  <a:pt x="2885989" y="5670569"/>
                </a:lnTo>
                <a:cubicBezTo>
                  <a:pt x="2886763" y="5671499"/>
                  <a:pt x="2888157" y="5675009"/>
                  <a:pt x="2887228" y="5675939"/>
                </a:cubicBezTo>
                <a:cubicBezTo>
                  <a:pt x="2886298" y="5676765"/>
                  <a:pt x="2885524" y="5676765"/>
                  <a:pt x="2884594" y="5676765"/>
                </a:cubicBezTo>
                <a:lnTo>
                  <a:pt x="2880877" y="5674493"/>
                </a:lnTo>
                <a:lnTo>
                  <a:pt x="2880877" y="5676352"/>
                </a:lnTo>
                <a:cubicBezTo>
                  <a:pt x="2880412" y="5678314"/>
                  <a:pt x="2879638" y="5679966"/>
                  <a:pt x="2878708" y="5680482"/>
                </a:cubicBezTo>
                <a:cubicBezTo>
                  <a:pt x="2876385" y="5681101"/>
                  <a:pt x="2873287" y="5680069"/>
                  <a:pt x="2872667" y="5676558"/>
                </a:cubicBezTo>
                <a:cubicBezTo>
                  <a:pt x="2871583" y="5673667"/>
                  <a:pt x="2873442" y="5670673"/>
                  <a:pt x="2872822" y="5667162"/>
                </a:cubicBezTo>
                <a:cubicBezTo>
                  <a:pt x="2874836" y="5666232"/>
                  <a:pt x="2876230" y="5665819"/>
                  <a:pt x="2877314" y="5665923"/>
                </a:cubicBezTo>
                <a:close/>
                <a:moveTo>
                  <a:pt x="2985277" y="5665510"/>
                </a:moveTo>
                <a:cubicBezTo>
                  <a:pt x="2986516" y="5665200"/>
                  <a:pt x="2987136" y="5665613"/>
                  <a:pt x="2987755" y="5666026"/>
                </a:cubicBezTo>
                <a:cubicBezTo>
                  <a:pt x="2988065" y="5667162"/>
                  <a:pt x="2987601" y="5667988"/>
                  <a:pt x="2987755" y="5669227"/>
                </a:cubicBezTo>
                <a:cubicBezTo>
                  <a:pt x="2988375" y="5669640"/>
                  <a:pt x="2989769" y="5670466"/>
                  <a:pt x="2989924" y="5671602"/>
                </a:cubicBezTo>
                <a:cubicBezTo>
                  <a:pt x="2990079" y="5672841"/>
                  <a:pt x="2989924" y="5674803"/>
                  <a:pt x="2989924" y="5674803"/>
                </a:cubicBezTo>
                <a:cubicBezTo>
                  <a:pt x="2989304" y="5674906"/>
                  <a:pt x="2988994" y="5675009"/>
                  <a:pt x="2988840" y="5674906"/>
                </a:cubicBezTo>
                <a:cubicBezTo>
                  <a:pt x="2988840" y="5674906"/>
                  <a:pt x="2988994" y="5674700"/>
                  <a:pt x="2989149" y="5674390"/>
                </a:cubicBezTo>
                <a:cubicBezTo>
                  <a:pt x="2988220" y="5672738"/>
                  <a:pt x="2988994" y="5673151"/>
                  <a:pt x="2988840" y="5671912"/>
                </a:cubicBezTo>
                <a:cubicBezTo>
                  <a:pt x="2988530" y="5670776"/>
                  <a:pt x="2986206" y="5667162"/>
                  <a:pt x="2984967" y="5667472"/>
                </a:cubicBezTo>
                <a:cubicBezTo>
                  <a:pt x="2985587" y="5666646"/>
                  <a:pt x="2985277" y="5665510"/>
                  <a:pt x="2985277" y="5665510"/>
                </a:cubicBezTo>
                <a:close/>
                <a:moveTo>
                  <a:pt x="2925952" y="5665510"/>
                </a:moveTo>
                <a:cubicBezTo>
                  <a:pt x="2927965" y="5667162"/>
                  <a:pt x="2930754" y="5669640"/>
                  <a:pt x="2929514" y="5672324"/>
                </a:cubicBezTo>
                <a:cubicBezTo>
                  <a:pt x="2928585" y="5672428"/>
                  <a:pt x="2928740" y="5673254"/>
                  <a:pt x="2927965" y="5673357"/>
                </a:cubicBezTo>
                <a:cubicBezTo>
                  <a:pt x="2927965" y="5673357"/>
                  <a:pt x="2927191" y="5673874"/>
                  <a:pt x="2925952" y="5673977"/>
                </a:cubicBezTo>
                <a:cubicBezTo>
                  <a:pt x="2925332" y="5674080"/>
                  <a:pt x="2924713" y="5674080"/>
                  <a:pt x="2923938" y="5673977"/>
                </a:cubicBezTo>
                <a:cubicBezTo>
                  <a:pt x="2923009" y="5673770"/>
                  <a:pt x="2922079" y="5673460"/>
                  <a:pt x="2921150" y="5672841"/>
                </a:cubicBezTo>
                <a:cubicBezTo>
                  <a:pt x="2920221" y="5672015"/>
                  <a:pt x="2918207" y="5669537"/>
                  <a:pt x="2919136" y="5669434"/>
                </a:cubicBezTo>
                <a:cubicBezTo>
                  <a:pt x="2919756" y="5668504"/>
                  <a:pt x="2918981" y="5668608"/>
                  <a:pt x="2918826" y="5667678"/>
                </a:cubicBezTo>
                <a:cubicBezTo>
                  <a:pt x="2920995" y="5664890"/>
                  <a:pt x="2923318" y="5663857"/>
                  <a:pt x="2925952" y="5665510"/>
                </a:cubicBezTo>
                <a:close/>
                <a:moveTo>
                  <a:pt x="3222578" y="5664993"/>
                </a:moveTo>
                <a:cubicBezTo>
                  <a:pt x="3222888" y="5666129"/>
                  <a:pt x="3223353" y="5665510"/>
                  <a:pt x="3222423" y="5666852"/>
                </a:cubicBezTo>
                <a:cubicBezTo>
                  <a:pt x="3222113" y="5665716"/>
                  <a:pt x="3222113" y="5665613"/>
                  <a:pt x="3221494" y="5665200"/>
                </a:cubicBezTo>
                <a:cubicBezTo>
                  <a:pt x="3221494" y="5665200"/>
                  <a:pt x="3222578" y="5664993"/>
                  <a:pt x="3222578" y="5664993"/>
                </a:cubicBezTo>
                <a:close/>
                <a:moveTo>
                  <a:pt x="3081158" y="5663651"/>
                </a:moveTo>
                <a:cubicBezTo>
                  <a:pt x="3091226" y="5664477"/>
                  <a:pt x="3098661" y="5667575"/>
                  <a:pt x="3103772" y="5672841"/>
                </a:cubicBezTo>
                <a:cubicBezTo>
                  <a:pt x="3105476" y="5674596"/>
                  <a:pt x="3107026" y="5676558"/>
                  <a:pt x="3108265" y="5678830"/>
                </a:cubicBezTo>
                <a:cubicBezTo>
                  <a:pt x="3102998" y="5683476"/>
                  <a:pt x="3097112" y="5678933"/>
                  <a:pt x="3092001" y="5676971"/>
                </a:cubicBezTo>
                <a:cubicBezTo>
                  <a:pt x="3091381" y="5683063"/>
                  <a:pt x="3092001" y="5692253"/>
                  <a:pt x="3085495" y="5692666"/>
                </a:cubicBezTo>
                <a:cubicBezTo>
                  <a:pt x="3084411" y="5691530"/>
                  <a:pt x="3083791" y="5690188"/>
                  <a:pt x="3083481" y="5688742"/>
                </a:cubicBezTo>
                <a:cubicBezTo>
                  <a:pt x="3082861" y="5684302"/>
                  <a:pt x="3085650" y="5678520"/>
                  <a:pt x="3085495" y="5672944"/>
                </a:cubicBezTo>
                <a:cubicBezTo>
                  <a:pt x="3083946" y="5669847"/>
                  <a:pt x="3079764" y="5670363"/>
                  <a:pt x="3081158" y="5663651"/>
                </a:cubicBezTo>
                <a:close/>
                <a:moveTo>
                  <a:pt x="3114616" y="5663032"/>
                </a:moveTo>
                <a:cubicBezTo>
                  <a:pt x="3117559" y="5662825"/>
                  <a:pt x="3118488" y="5664374"/>
                  <a:pt x="3120192" y="5667575"/>
                </a:cubicBezTo>
                <a:cubicBezTo>
                  <a:pt x="3118178" y="5667781"/>
                  <a:pt x="3116939" y="5667575"/>
                  <a:pt x="3116009" y="5666749"/>
                </a:cubicBezTo>
                <a:cubicBezTo>
                  <a:pt x="3115235" y="5666026"/>
                  <a:pt x="3114925" y="5664684"/>
                  <a:pt x="3114616" y="5663032"/>
                </a:cubicBezTo>
                <a:close/>
                <a:moveTo>
                  <a:pt x="3014707" y="5662928"/>
                </a:moveTo>
                <a:cubicBezTo>
                  <a:pt x="3018580" y="5662515"/>
                  <a:pt x="3021213" y="5663445"/>
                  <a:pt x="3022607" y="5665097"/>
                </a:cubicBezTo>
                <a:cubicBezTo>
                  <a:pt x="3026944" y="5670156"/>
                  <a:pt x="3021523" y="5681618"/>
                  <a:pt x="3012848" y="5681205"/>
                </a:cubicBezTo>
                <a:cubicBezTo>
                  <a:pt x="3011764" y="5680275"/>
                  <a:pt x="3011145" y="5678830"/>
                  <a:pt x="3010835" y="5677281"/>
                </a:cubicBezTo>
                <a:cubicBezTo>
                  <a:pt x="3009750" y="5672324"/>
                  <a:pt x="3011919" y="5665613"/>
                  <a:pt x="3014707" y="5662928"/>
                </a:cubicBezTo>
                <a:close/>
                <a:moveTo>
                  <a:pt x="2926261" y="5662515"/>
                </a:moveTo>
                <a:cubicBezTo>
                  <a:pt x="2927191" y="5661586"/>
                  <a:pt x="2927036" y="5662515"/>
                  <a:pt x="2927811" y="5662515"/>
                </a:cubicBezTo>
                <a:cubicBezTo>
                  <a:pt x="2927346" y="5663032"/>
                  <a:pt x="2927191" y="5663238"/>
                  <a:pt x="2927036" y="5663238"/>
                </a:cubicBezTo>
                <a:cubicBezTo>
                  <a:pt x="2926726" y="5663238"/>
                  <a:pt x="2926726" y="5663032"/>
                  <a:pt x="2926261" y="5662515"/>
                </a:cubicBezTo>
                <a:close/>
                <a:moveTo>
                  <a:pt x="2995190" y="5662412"/>
                </a:moveTo>
                <a:cubicBezTo>
                  <a:pt x="2996894" y="5672531"/>
                  <a:pt x="3002470" y="5678314"/>
                  <a:pt x="3002315" y="5689878"/>
                </a:cubicBezTo>
                <a:cubicBezTo>
                  <a:pt x="2994261" y="5687400"/>
                  <a:pt x="2987136" y="5666646"/>
                  <a:pt x="2995190" y="5662412"/>
                </a:cubicBezTo>
                <a:close/>
                <a:moveTo>
                  <a:pt x="2928895" y="5661999"/>
                </a:moveTo>
                <a:cubicBezTo>
                  <a:pt x="2929824" y="5662825"/>
                  <a:pt x="2930908" y="5664374"/>
                  <a:pt x="2930134" y="5665303"/>
                </a:cubicBezTo>
                <a:cubicBezTo>
                  <a:pt x="2929824" y="5666129"/>
                  <a:pt x="2929514" y="5666129"/>
                  <a:pt x="2928895" y="5665923"/>
                </a:cubicBezTo>
                <a:cubicBezTo>
                  <a:pt x="2928275" y="5665613"/>
                  <a:pt x="2927656" y="5664993"/>
                  <a:pt x="2926726" y="5664684"/>
                </a:cubicBezTo>
                <a:close/>
                <a:moveTo>
                  <a:pt x="2937569" y="5657869"/>
                </a:moveTo>
                <a:cubicBezTo>
                  <a:pt x="2938343" y="5657869"/>
                  <a:pt x="2938498" y="5658695"/>
                  <a:pt x="2939428" y="5659521"/>
                </a:cubicBezTo>
                <a:cubicBezTo>
                  <a:pt x="2940512" y="5661173"/>
                  <a:pt x="2940822" y="5663651"/>
                  <a:pt x="2940202" y="5664580"/>
                </a:cubicBezTo>
                <a:cubicBezTo>
                  <a:pt x="2939428" y="5665510"/>
                  <a:pt x="2938653" y="5665613"/>
                  <a:pt x="2938653" y="5665613"/>
                </a:cubicBezTo>
                <a:cubicBezTo>
                  <a:pt x="2935865" y="5663961"/>
                  <a:pt x="2933851" y="5661586"/>
                  <a:pt x="2936020" y="5658901"/>
                </a:cubicBezTo>
                <a:cubicBezTo>
                  <a:pt x="2936639" y="5657972"/>
                  <a:pt x="2937414" y="5657043"/>
                  <a:pt x="2937569" y="5657869"/>
                </a:cubicBezTo>
                <a:close/>
                <a:moveTo>
                  <a:pt x="2803468" y="5657249"/>
                </a:moveTo>
                <a:cubicBezTo>
                  <a:pt x="2805714" y="5657069"/>
                  <a:pt x="2807611" y="5657766"/>
                  <a:pt x="2808695" y="5660553"/>
                </a:cubicBezTo>
                <a:cubicBezTo>
                  <a:pt x="2807766" y="5664477"/>
                  <a:pt x="2805442" y="5666439"/>
                  <a:pt x="2802964" y="5666852"/>
                </a:cubicBezTo>
                <a:cubicBezTo>
                  <a:pt x="2800641" y="5667265"/>
                  <a:pt x="2798007" y="5666232"/>
                  <a:pt x="2796768" y="5664271"/>
                </a:cubicBezTo>
                <a:cubicBezTo>
                  <a:pt x="2795839" y="5662928"/>
                  <a:pt x="2795529" y="5661173"/>
                  <a:pt x="2796149" y="5659211"/>
                </a:cubicBezTo>
                <a:cubicBezTo>
                  <a:pt x="2798627" y="5658488"/>
                  <a:pt x="2801222" y="5657430"/>
                  <a:pt x="2803468" y="5657249"/>
                </a:cubicBezTo>
                <a:close/>
                <a:moveTo>
                  <a:pt x="3406750" y="5656423"/>
                </a:moveTo>
                <a:cubicBezTo>
                  <a:pt x="3407834" y="5656113"/>
                  <a:pt x="3408918" y="5655700"/>
                  <a:pt x="3410467" y="5656630"/>
                </a:cubicBezTo>
                <a:cubicBezTo>
                  <a:pt x="3411242" y="5659005"/>
                  <a:pt x="3409538" y="5660760"/>
                  <a:pt x="3409848" y="5661999"/>
                </a:cubicBezTo>
                <a:cubicBezTo>
                  <a:pt x="3409073" y="5661483"/>
                  <a:pt x="3407679" y="5660656"/>
                  <a:pt x="3406130" y="5661792"/>
                </a:cubicBezTo>
                <a:cubicBezTo>
                  <a:pt x="3405356" y="5659418"/>
                  <a:pt x="3404581" y="5657043"/>
                  <a:pt x="3406750" y="5656423"/>
                </a:cubicBezTo>
                <a:close/>
                <a:moveTo>
                  <a:pt x="3008821" y="5655804"/>
                </a:moveTo>
                <a:cubicBezTo>
                  <a:pt x="3011919" y="5656526"/>
                  <a:pt x="3012848" y="5659727"/>
                  <a:pt x="3012384" y="5663032"/>
                </a:cubicBezTo>
                <a:cubicBezTo>
                  <a:pt x="3011764" y="5666232"/>
                  <a:pt x="3009750" y="5669537"/>
                  <a:pt x="3007117" y="5670673"/>
                </a:cubicBezTo>
                <a:cubicBezTo>
                  <a:pt x="3006343" y="5669227"/>
                  <a:pt x="3005723" y="5667988"/>
                  <a:pt x="3005259" y="5666646"/>
                </a:cubicBezTo>
                <a:cubicBezTo>
                  <a:pt x="3003865" y="5662825"/>
                  <a:pt x="3004484" y="5659418"/>
                  <a:pt x="3008821" y="5655804"/>
                </a:cubicBezTo>
                <a:close/>
                <a:moveTo>
                  <a:pt x="2881806" y="5655184"/>
                </a:moveTo>
                <a:cubicBezTo>
                  <a:pt x="2884904" y="5659418"/>
                  <a:pt x="2889706" y="5661380"/>
                  <a:pt x="2889861" y="5664477"/>
                </a:cubicBezTo>
                <a:cubicBezTo>
                  <a:pt x="2889861" y="5665510"/>
                  <a:pt x="2889396" y="5666749"/>
                  <a:pt x="2888002" y="5668194"/>
                </a:cubicBezTo>
                <a:cubicBezTo>
                  <a:pt x="2886298" y="5667472"/>
                  <a:pt x="2882271" y="5664684"/>
                  <a:pt x="2880258" y="5661586"/>
                </a:cubicBezTo>
                <a:cubicBezTo>
                  <a:pt x="2879638" y="5660656"/>
                  <a:pt x="2879328" y="5659624"/>
                  <a:pt x="2879328" y="5658591"/>
                </a:cubicBezTo>
                <a:cubicBezTo>
                  <a:pt x="2879328" y="5657249"/>
                  <a:pt x="2880102" y="5656113"/>
                  <a:pt x="2881806" y="5655184"/>
                </a:cubicBezTo>
                <a:close/>
                <a:moveTo>
                  <a:pt x="3300781" y="5655068"/>
                </a:moveTo>
                <a:cubicBezTo>
                  <a:pt x="3302969" y="5655674"/>
                  <a:pt x="3305215" y="5657507"/>
                  <a:pt x="3307461" y="5659314"/>
                </a:cubicBezTo>
                <a:cubicBezTo>
                  <a:pt x="3305448" y="5662412"/>
                  <a:pt x="3306687" y="5665819"/>
                  <a:pt x="3301420" y="5668711"/>
                </a:cubicBezTo>
                <a:cubicBezTo>
                  <a:pt x="3298477" y="5665200"/>
                  <a:pt x="3297238" y="5661689"/>
                  <a:pt x="3294450" y="5658179"/>
                </a:cubicBezTo>
                <a:cubicBezTo>
                  <a:pt x="3296464" y="5655081"/>
                  <a:pt x="3298593" y="5654461"/>
                  <a:pt x="3300781" y="5655068"/>
                </a:cubicBezTo>
                <a:close/>
                <a:moveTo>
                  <a:pt x="3707520" y="5654603"/>
                </a:moveTo>
                <a:cubicBezTo>
                  <a:pt x="3711779" y="5653790"/>
                  <a:pt x="3715303" y="5653377"/>
                  <a:pt x="3717627" y="5655081"/>
                </a:cubicBezTo>
                <a:cubicBezTo>
                  <a:pt x="3719175" y="5656217"/>
                  <a:pt x="3720260" y="5658282"/>
                  <a:pt x="3720725" y="5661792"/>
                </a:cubicBezTo>
                <a:cubicBezTo>
                  <a:pt x="3717627" y="5663548"/>
                  <a:pt x="3709727" y="5666026"/>
                  <a:pt x="3703066" y="5666129"/>
                </a:cubicBezTo>
                <a:cubicBezTo>
                  <a:pt x="3696251" y="5666336"/>
                  <a:pt x="3690830" y="5664167"/>
                  <a:pt x="3692998" y="5656526"/>
                </a:cubicBezTo>
                <a:cubicBezTo>
                  <a:pt x="3698264" y="5656629"/>
                  <a:pt x="3703260" y="5655416"/>
                  <a:pt x="3707520" y="5654603"/>
                </a:cubicBezTo>
                <a:close/>
                <a:moveTo>
                  <a:pt x="3028435" y="5653971"/>
                </a:moveTo>
                <a:cubicBezTo>
                  <a:pt x="3030042" y="5652293"/>
                  <a:pt x="3032753" y="5651983"/>
                  <a:pt x="3034534" y="5655597"/>
                </a:cubicBezTo>
                <a:cubicBezTo>
                  <a:pt x="3032211" y="5658075"/>
                  <a:pt x="3030507" y="5659831"/>
                  <a:pt x="3028958" y="5660553"/>
                </a:cubicBezTo>
                <a:cubicBezTo>
                  <a:pt x="3026325" y="5658695"/>
                  <a:pt x="3026828" y="5655649"/>
                  <a:pt x="3028435" y="5653971"/>
                </a:cubicBezTo>
                <a:close/>
                <a:moveTo>
                  <a:pt x="3345256" y="5653842"/>
                </a:moveTo>
                <a:cubicBezTo>
                  <a:pt x="3346340" y="5654564"/>
                  <a:pt x="3347270" y="5655700"/>
                  <a:pt x="3347734" y="5657146"/>
                </a:cubicBezTo>
                <a:cubicBezTo>
                  <a:pt x="3348199" y="5659108"/>
                  <a:pt x="3347734" y="5661689"/>
                  <a:pt x="3345566" y="5664580"/>
                </a:cubicBezTo>
                <a:cubicBezTo>
                  <a:pt x="3341384" y="5664993"/>
                  <a:pt x="3339680" y="5663032"/>
                  <a:pt x="3336891" y="5662309"/>
                </a:cubicBezTo>
                <a:cubicBezTo>
                  <a:pt x="3336117" y="5653532"/>
                  <a:pt x="3341693" y="5651674"/>
                  <a:pt x="3345256" y="5653842"/>
                </a:cubicBezTo>
                <a:close/>
                <a:moveTo>
                  <a:pt x="3051263" y="5653842"/>
                </a:moveTo>
                <a:cubicBezTo>
                  <a:pt x="3054980" y="5656217"/>
                  <a:pt x="3056219" y="5653532"/>
                  <a:pt x="3061950" y="5657559"/>
                </a:cubicBezTo>
                <a:cubicBezTo>
                  <a:pt x="3067372" y="5661173"/>
                  <a:pt x="3068301" y="5665613"/>
                  <a:pt x="3067682" y="5669020"/>
                </a:cubicBezTo>
                <a:lnTo>
                  <a:pt x="3066597" y="5671705"/>
                </a:lnTo>
                <a:lnTo>
                  <a:pt x="3068611" y="5673460"/>
                </a:lnTo>
                <a:cubicBezTo>
                  <a:pt x="3062261" y="5678314"/>
                  <a:pt x="3071554" y="5682134"/>
                  <a:pt x="3066752" y="5686264"/>
                </a:cubicBezTo>
                <a:cubicBezTo>
                  <a:pt x="3064274" y="5686781"/>
                  <a:pt x="3061796" y="5688329"/>
                  <a:pt x="3059008" y="5687813"/>
                </a:cubicBezTo>
                <a:cubicBezTo>
                  <a:pt x="3058078" y="5687710"/>
                  <a:pt x="3056994" y="5687400"/>
                  <a:pt x="3055910" y="5686677"/>
                </a:cubicBezTo>
                <a:cubicBezTo>
                  <a:pt x="3057923" y="5683786"/>
                  <a:pt x="3059008" y="5680998"/>
                  <a:pt x="3059937" y="5678210"/>
                </a:cubicBezTo>
                <a:lnTo>
                  <a:pt x="3060712" y="5675939"/>
                </a:lnTo>
                <a:lnTo>
                  <a:pt x="3058078" y="5676558"/>
                </a:lnTo>
                <a:cubicBezTo>
                  <a:pt x="3056374" y="5676661"/>
                  <a:pt x="3054671" y="5676145"/>
                  <a:pt x="3052502" y="5674700"/>
                </a:cubicBezTo>
                <a:cubicBezTo>
                  <a:pt x="3047855" y="5671499"/>
                  <a:pt x="3043828" y="5666542"/>
                  <a:pt x="3048629" y="5659211"/>
                </a:cubicBezTo>
                <a:cubicBezTo>
                  <a:pt x="3049249" y="5657456"/>
                  <a:pt x="3049404" y="5658385"/>
                  <a:pt x="3050024" y="5657456"/>
                </a:cubicBezTo>
                <a:cubicBezTo>
                  <a:pt x="3050798" y="5656526"/>
                  <a:pt x="3051418" y="5654668"/>
                  <a:pt x="3051263" y="5653842"/>
                </a:cubicBezTo>
                <a:close/>
                <a:moveTo>
                  <a:pt x="3171617" y="5653325"/>
                </a:moveTo>
                <a:cubicBezTo>
                  <a:pt x="3175490" y="5655700"/>
                  <a:pt x="3173786" y="5659831"/>
                  <a:pt x="3171152" y="5664167"/>
                </a:cubicBezTo>
                <a:cubicBezTo>
                  <a:pt x="3169294" y="5663754"/>
                  <a:pt x="3167745" y="5664271"/>
                  <a:pt x="3165886" y="5663857"/>
                </a:cubicBezTo>
                <a:cubicBezTo>
                  <a:pt x="3164182" y="5661689"/>
                  <a:pt x="3165112" y="5655390"/>
                  <a:pt x="3168055" y="5653429"/>
                </a:cubicBezTo>
                <a:cubicBezTo>
                  <a:pt x="3168984" y="5652809"/>
                  <a:pt x="3170223" y="5652603"/>
                  <a:pt x="3171617" y="5653325"/>
                </a:cubicBezTo>
                <a:close/>
                <a:moveTo>
                  <a:pt x="2743794" y="5652499"/>
                </a:moveTo>
                <a:cubicBezTo>
                  <a:pt x="2744568" y="5652499"/>
                  <a:pt x="2745342" y="5653325"/>
                  <a:pt x="2745342" y="5653325"/>
                </a:cubicBezTo>
                <a:cubicBezTo>
                  <a:pt x="2745962" y="5654255"/>
                  <a:pt x="2745962" y="5654255"/>
                  <a:pt x="2746892" y="5653429"/>
                </a:cubicBezTo>
                <a:cubicBezTo>
                  <a:pt x="2746892" y="5653429"/>
                  <a:pt x="2746892" y="5654255"/>
                  <a:pt x="2746892" y="5654255"/>
                </a:cubicBezTo>
                <a:cubicBezTo>
                  <a:pt x="2745962" y="5654255"/>
                  <a:pt x="2746892" y="5654255"/>
                  <a:pt x="2747666" y="5655184"/>
                </a:cubicBezTo>
                <a:cubicBezTo>
                  <a:pt x="2746582" y="5656940"/>
                  <a:pt x="2746582" y="5657765"/>
                  <a:pt x="2745652" y="5658695"/>
                </a:cubicBezTo>
                <a:cubicBezTo>
                  <a:pt x="2745188" y="5659108"/>
                  <a:pt x="2744413" y="5659521"/>
                  <a:pt x="2743794" y="5659727"/>
                </a:cubicBezTo>
                <a:cubicBezTo>
                  <a:pt x="2743174" y="5659934"/>
                  <a:pt x="2742554" y="5659934"/>
                  <a:pt x="2742245" y="5659521"/>
                </a:cubicBezTo>
                <a:cubicBezTo>
                  <a:pt x="2742245" y="5658591"/>
                  <a:pt x="2741470" y="5658591"/>
                  <a:pt x="2741470" y="5657662"/>
                </a:cubicBezTo>
                <a:cubicBezTo>
                  <a:pt x="2740851" y="5655907"/>
                  <a:pt x="2741006" y="5655081"/>
                  <a:pt x="2741935" y="5654255"/>
                </a:cubicBezTo>
                <a:cubicBezTo>
                  <a:pt x="2741935" y="5653325"/>
                  <a:pt x="2742864" y="5653325"/>
                  <a:pt x="2743794" y="5652499"/>
                </a:cubicBezTo>
                <a:close/>
                <a:moveTo>
                  <a:pt x="3186023" y="5652189"/>
                </a:moveTo>
                <a:cubicBezTo>
                  <a:pt x="3188346" y="5651364"/>
                  <a:pt x="3190824" y="5650641"/>
                  <a:pt x="3194387" y="5653325"/>
                </a:cubicBezTo>
                <a:cubicBezTo>
                  <a:pt x="3195316" y="5656836"/>
                  <a:pt x="3194697" y="5659418"/>
                  <a:pt x="3191444" y="5662618"/>
                </a:cubicBezTo>
                <a:cubicBezTo>
                  <a:pt x="3187262" y="5662515"/>
                  <a:pt x="3181995" y="5656217"/>
                  <a:pt x="3186023" y="5652189"/>
                </a:cubicBezTo>
                <a:close/>
                <a:moveTo>
                  <a:pt x="3365547" y="5652086"/>
                </a:moveTo>
                <a:cubicBezTo>
                  <a:pt x="3365392" y="5653325"/>
                  <a:pt x="3368955" y="5654151"/>
                  <a:pt x="3370039" y="5654461"/>
                </a:cubicBezTo>
                <a:cubicBezTo>
                  <a:pt x="3369730" y="5656836"/>
                  <a:pt x="3373757" y="5658591"/>
                  <a:pt x="3373137" y="5662206"/>
                </a:cubicBezTo>
                <a:cubicBezTo>
                  <a:pt x="3371743" y="5663135"/>
                  <a:pt x="3371123" y="5663548"/>
                  <a:pt x="3369265" y="5663651"/>
                </a:cubicBezTo>
                <a:cubicBezTo>
                  <a:pt x="3360436" y="5660863"/>
                  <a:pt x="3360126" y="5655700"/>
                  <a:pt x="3358887" y="5655390"/>
                </a:cubicBezTo>
                <a:cubicBezTo>
                  <a:pt x="3359506" y="5651777"/>
                  <a:pt x="3361830" y="5652396"/>
                  <a:pt x="3365547" y="5652086"/>
                </a:cubicBezTo>
                <a:close/>
                <a:moveTo>
                  <a:pt x="3120192" y="5650021"/>
                </a:moveTo>
                <a:cubicBezTo>
                  <a:pt x="3122051" y="5648369"/>
                  <a:pt x="3126078" y="5649298"/>
                  <a:pt x="3127627" y="5650124"/>
                </a:cubicBezTo>
                <a:cubicBezTo>
                  <a:pt x="3129176" y="5651880"/>
                  <a:pt x="3128091" y="5654564"/>
                  <a:pt x="3126233" y="5656217"/>
                </a:cubicBezTo>
                <a:cubicBezTo>
                  <a:pt x="3125768" y="5657043"/>
                  <a:pt x="3124839" y="5657456"/>
                  <a:pt x="3123909" y="5657559"/>
                </a:cubicBezTo>
                <a:cubicBezTo>
                  <a:pt x="3122980" y="5657662"/>
                  <a:pt x="3122051" y="5657456"/>
                  <a:pt x="3121276" y="5656940"/>
                </a:cubicBezTo>
                <a:cubicBezTo>
                  <a:pt x="3120501" y="5656113"/>
                  <a:pt x="3120501" y="5656113"/>
                  <a:pt x="3119727" y="5655287"/>
                </a:cubicBezTo>
                <a:cubicBezTo>
                  <a:pt x="3119882" y="5653532"/>
                  <a:pt x="3119262" y="5651777"/>
                  <a:pt x="3120192" y="5650021"/>
                </a:cubicBezTo>
                <a:close/>
                <a:moveTo>
                  <a:pt x="3202287" y="5647543"/>
                </a:moveTo>
                <a:cubicBezTo>
                  <a:pt x="3204145" y="5647646"/>
                  <a:pt x="3207243" y="5648576"/>
                  <a:pt x="3207553" y="5650847"/>
                </a:cubicBezTo>
                <a:cubicBezTo>
                  <a:pt x="3207553" y="5650847"/>
                  <a:pt x="3207553" y="5650847"/>
                  <a:pt x="3207863" y="5651983"/>
                </a:cubicBezTo>
                <a:cubicBezTo>
                  <a:pt x="3205849" y="5650744"/>
                  <a:pt x="3203216" y="5649092"/>
                  <a:pt x="3202287" y="5647543"/>
                </a:cubicBezTo>
                <a:close/>
                <a:moveTo>
                  <a:pt x="3276947" y="5645272"/>
                </a:moveTo>
                <a:cubicBezTo>
                  <a:pt x="3278496" y="5649608"/>
                  <a:pt x="3278651" y="5653842"/>
                  <a:pt x="3277256" y="5657662"/>
                </a:cubicBezTo>
                <a:lnTo>
                  <a:pt x="3274778" y="5661792"/>
                </a:lnTo>
                <a:lnTo>
                  <a:pt x="3277102" y="5660450"/>
                </a:lnTo>
                <a:cubicBezTo>
                  <a:pt x="3279890" y="5660141"/>
                  <a:pt x="3282213" y="5662825"/>
                  <a:pt x="3286086" y="5663754"/>
                </a:cubicBezTo>
                <a:cubicBezTo>
                  <a:pt x="3285311" y="5666026"/>
                  <a:pt x="3282987" y="5667162"/>
                  <a:pt x="3280819" y="5667575"/>
                </a:cubicBezTo>
                <a:cubicBezTo>
                  <a:pt x="3278496" y="5667885"/>
                  <a:pt x="3276172" y="5667368"/>
                  <a:pt x="3274933" y="5665923"/>
                </a:cubicBezTo>
                <a:lnTo>
                  <a:pt x="3274313" y="5662515"/>
                </a:lnTo>
                <a:lnTo>
                  <a:pt x="3274159" y="5662825"/>
                </a:lnTo>
                <a:cubicBezTo>
                  <a:pt x="3272609" y="5664477"/>
                  <a:pt x="3270751" y="5665923"/>
                  <a:pt x="3268427" y="5667162"/>
                </a:cubicBezTo>
                <a:cubicBezTo>
                  <a:pt x="3260373" y="5665407"/>
                  <a:pt x="3260373" y="5654358"/>
                  <a:pt x="3259598" y="5648576"/>
                </a:cubicBezTo>
                <a:cubicBezTo>
                  <a:pt x="3266104" y="5645994"/>
                  <a:pt x="3272609" y="5643310"/>
                  <a:pt x="3276947" y="5645272"/>
                </a:cubicBezTo>
                <a:close/>
                <a:moveTo>
                  <a:pt x="3340764" y="5643826"/>
                </a:moveTo>
                <a:cubicBezTo>
                  <a:pt x="3344172" y="5642793"/>
                  <a:pt x="3346805" y="5645375"/>
                  <a:pt x="3350832" y="5644755"/>
                </a:cubicBezTo>
                <a:cubicBezTo>
                  <a:pt x="3352381" y="5647646"/>
                  <a:pt x="3357338" y="5647543"/>
                  <a:pt x="3359197" y="5651467"/>
                </a:cubicBezTo>
                <a:cubicBezTo>
                  <a:pt x="3357957" y="5652189"/>
                  <a:pt x="3356254" y="5652293"/>
                  <a:pt x="3354395" y="5651983"/>
                </a:cubicBezTo>
                <a:cubicBezTo>
                  <a:pt x="3348664" y="5651157"/>
                  <a:pt x="3341693" y="5646511"/>
                  <a:pt x="3340764" y="5643826"/>
                </a:cubicBezTo>
                <a:close/>
                <a:moveTo>
                  <a:pt x="3054826" y="5643826"/>
                </a:moveTo>
                <a:cubicBezTo>
                  <a:pt x="3058853" y="5642587"/>
                  <a:pt x="3062105" y="5646201"/>
                  <a:pt x="3058698" y="5650744"/>
                </a:cubicBezTo>
                <a:cubicBezTo>
                  <a:pt x="3056529" y="5649402"/>
                  <a:pt x="3054361" y="5647956"/>
                  <a:pt x="3054206" y="5645994"/>
                </a:cubicBezTo>
                <a:cubicBezTo>
                  <a:pt x="3054206" y="5645375"/>
                  <a:pt x="3054361" y="5644652"/>
                  <a:pt x="3054826" y="5643826"/>
                </a:cubicBezTo>
                <a:close/>
                <a:moveTo>
                  <a:pt x="3470567" y="5641967"/>
                </a:moveTo>
                <a:cubicBezTo>
                  <a:pt x="3471496" y="5641348"/>
                  <a:pt x="3472581" y="5641245"/>
                  <a:pt x="3474130" y="5641967"/>
                </a:cubicBezTo>
                <a:cubicBezTo>
                  <a:pt x="3478467" y="5644446"/>
                  <a:pt x="3477228" y="5648576"/>
                  <a:pt x="3475214" y="5652809"/>
                </a:cubicBezTo>
                <a:cubicBezTo>
                  <a:pt x="3473355" y="5652396"/>
                  <a:pt x="3471806" y="5652809"/>
                  <a:pt x="3469947" y="5652293"/>
                </a:cubicBezTo>
                <a:cubicBezTo>
                  <a:pt x="3467934" y="5650124"/>
                  <a:pt x="3467934" y="5643722"/>
                  <a:pt x="3470567" y="5641967"/>
                </a:cubicBezTo>
                <a:close/>
                <a:moveTo>
                  <a:pt x="3314587" y="5640522"/>
                </a:moveTo>
                <a:cubicBezTo>
                  <a:pt x="3315826" y="5640522"/>
                  <a:pt x="3317684" y="5639902"/>
                  <a:pt x="3319388" y="5640625"/>
                </a:cubicBezTo>
                <a:cubicBezTo>
                  <a:pt x="3319853" y="5642897"/>
                  <a:pt x="3319078" y="5644032"/>
                  <a:pt x="3317839" y="5644446"/>
                </a:cubicBezTo>
                <a:cubicBezTo>
                  <a:pt x="3316755" y="5644755"/>
                  <a:pt x="3315206" y="5644239"/>
                  <a:pt x="3314587" y="5643207"/>
                </a:cubicBezTo>
                <a:cubicBezTo>
                  <a:pt x="3314122" y="5642484"/>
                  <a:pt x="3313967" y="5641554"/>
                  <a:pt x="3314587" y="5640522"/>
                </a:cubicBezTo>
                <a:close/>
                <a:moveTo>
                  <a:pt x="2962352" y="5640212"/>
                </a:moveTo>
                <a:cubicBezTo>
                  <a:pt x="2960339" y="5644652"/>
                  <a:pt x="2954607" y="5649712"/>
                  <a:pt x="2949806" y="5649195"/>
                </a:cubicBezTo>
                <a:cubicBezTo>
                  <a:pt x="2948257" y="5649092"/>
                  <a:pt x="2946708" y="5648266"/>
                  <a:pt x="2945624" y="5646614"/>
                </a:cubicBezTo>
                <a:cubicBezTo>
                  <a:pt x="2950890" y="5644446"/>
                  <a:pt x="2956466" y="5640625"/>
                  <a:pt x="2962352" y="5640212"/>
                </a:cubicBezTo>
                <a:close/>
                <a:moveTo>
                  <a:pt x="3330541" y="5637940"/>
                </a:moveTo>
                <a:cubicBezTo>
                  <a:pt x="3333794" y="5639076"/>
                  <a:pt x="3335498" y="5641141"/>
                  <a:pt x="3336891" y="5642277"/>
                </a:cubicBezTo>
                <a:cubicBezTo>
                  <a:pt x="3335962" y="5644652"/>
                  <a:pt x="3335807" y="5646511"/>
                  <a:pt x="3334723" y="5648885"/>
                </a:cubicBezTo>
                <a:cubicBezTo>
                  <a:pt x="3332555" y="5650434"/>
                  <a:pt x="3330696" y="5650847"/>
                  <a:pt x="3329302" y="5650434"/>
                </a:cubicBezTo>
                <a:cubicBezTo>
                  <a:pt x="3327753" y="5650021"/>
                  <a:pt x="3326668" y="5648885"/>
                  <a:pt x="3326204" y="5647337"/>
                </a:cubicBezTo>
                <a:cubicBezTo>
                  <a:pt x="3325120" y="5644446"/>
                  <a:pt x="3326204" y="5640109"/>
                  <a:pt x="3330541" y="5637940"/>
                </a:cubicBezTo>
                <a:close/>
                <a:moveTo>
                  <a:pt x="3107180" y="5636288"/>
                </a:moveTo>
                <a:cubicBezTo>
                  <a:pt x="3108419" y="5636598"/>
                  <a:pt x="3108265" y="5636598"/>
                  <a:pt x="3109814" y="5638766"/>
                </a:cubicBezTo>
                <a:cubicBezTo>
                  <a:pt x="3108574" y="5638456"/>
                  <a:pt x="3108574" y="5638456"/>
                  <a:pt x="3108419" y="5639592"/>
                </a:cubicBezTo>
                <a:cubicBezTo>
                  <a:pt x="3108419" y="5639592"/>
                  <a:pt x="3108574" y="5639592"/>
                  <a:pt x="3109039" y="5640315"/>
                </a:cubicBezTo>
                <a:cubicBezTo>
                  <a:pt x="3108265" y="5640728"/>
                  <a:pt x="3107800" y="5640006"/>
                  <a:pt x="3107180" y="5640522"/>
                </a:cubicBezTo>
                <a:cubicBezTo>
                  <a:pt x="3107180" y="5640522"/>
                  <a:pt x="3106716" y="5639799"/>
                  <a:pt x="3106716" y="5639799"/>
                </a:cubicBezTo>
                <a:cubicBezTo>
                  <a:pt x="3106406" y="5640006"/>
                  <a:pt x="3106406" y="5640006"/>
                  <a:pt x="3106406" y="5639696"/>
                </a:cubicBezTo>
                <a:cubicBezTo>
                  <a:pt x="3106561" y="5639386"/>
                  <a:pt x="3106561" y="5638870"/>
                  <a:pt x="3106406" y="5637940"/>
                </a:cubicBezTo>
                <a:cubicBezTo>
                  <a:pt x="3106561" y="5636701"/>
                  <a:pt x="3106096" y="5635978"/>
                  <a:pt x="3107180" y="5636288"/>
                </a:cubicBezTo>
                <a:close/>
                <a:moveTo>
                  <a:pt x="3524471" y="5635772"/>
                </a:moveTo>
                <a:cubicBezTo>
                  <a:pt x="3527414" y="5651880"/>
                  <a:pt x="3541355" y="5637734"/>
                  <a:pt x="3544298" y="5650124"/>
                </a:cubicBezTo>
                <a:cubicBezTo>
                  <a:pt x="3543214" y="5655184"/>
                  <a:pt x="3543833" y="5660966"/>
                  <a:pt x="3540735" y="5665923"/>
                </a:cubicBezTo>
                <a:cubicBezTo>
                  <a:pt x="3539806" y="5667575"/>
                  <a:pt x="3538412" y="5669123"/>
                  <a:pt x="3536398" y="5670466"/>
                </a:cubicBezTo>
                <a:cubicBezTo>
                  <a:pt x="3533145" y="5664374"/>
                  <a:pt x="3529428" y="5660037"/>
                  <a:pt x="3525555" y="5655907"/>
                </a:cubicBezTo>
                <a:lnTo>
                  <a:pt x="3524316" y="5654771"/>
                </a:lnTo>
                <a:lnTo>
                  <a:pt x="3524316" y="5655804"/>
                </a:lnTo>
                <a:cubicBezTo>
                  <a:pt x="3522303" y="5656940"/>
                  <a:pt x="3519669" y="5659831"/>
                  <a:pt x="3516106" y="5660450"/>
                </a:cubicBezTo>
                <a:cubicBezTo>
                  <a:pt x="3508982" y="5656423"/>
                  <a:pt x="3507587" y="5650538"/>
                  <a:pt x="3509756" y="5644032"/>
                </a:cubicBezTo>
                <a:lnTo>
                  <a:pt x="3514093" y="5643207"/>
                </a:lnTo>
                <a:lnTo>
                  <a:pt x="3517036" y="5639592"/>
                </a:lnTo>
                <a:cubicBezTo>
                  <a:pt x="3518740" y="5638250"/>
                  <a:pt x="3521218" y="5637011"/>
                  <a:pt x="3524471" y="5635772"/>
                </a:cubicBezTo>
                <a:close/>
                <a:moveTo>
                  <a:pt x="2827902" y="5635669"/>
                </a:moveTo>
                <a:cubicBezTo>
                  <a:pt x="2829761" y="5636391"/>
                  <a:pt x="2830690" y="5637217"/>
                  <a:pt x="2832394" y="5637940"/>
                </a:cubicBezTo>
                <a:cubicBezTo>
                  <a:pt x="2832859" y="5640522"/>
                  <a:pt x="2835647" y="5643000"/>
                  <a:pt x="2833014" y="5648369"/>
                </a:cubicBezTo>
                <a:cubicBezTo>
                  <a:pt x="2829606" y="5653842"/>
                  <a:pt x="2824030" y="5649815"/>
                  <a:pt x="2824185" y="5650641"/>
                </a:cubicBezTo>
                <a:cubicBezTo>
                  <a:pt x="2823411" y="5651570"/>
                  <a:pt x="2823411" y="5651570"/>
                  <a:pt x="2823565" y="5652499"/>
                </a:cubicBezTo>
                <a:cubicBezTo>
                  <a:pt x="2822636" y="5652499"/>
                  <a:pt x="2821087" y="5653429"/>
                  <a:pt x="2820467" y="5654358"/>
                </a:cubicBezTo>
                <a:cubicBezTo>
                  <a:pt x="2820312" y="5653429"/>
                  <a:pt x="2820157" y="5652603"/>
                  <a:pt x="2819383" y="5652706"/>
                </a:cubicBezTo>
                <a:cubicBezTo>
                  <a:pt x="2820777" y="5650847"/>
                  <a:pt x="2821552" y="5650847"/>
                  <a:pt x="2822326" y="5649918"/>
                </a:cubicBezTo>
                <a:cubicBezTo>
                  <a:pt x="2821552" y="5649918"/>
                  <a:pt x="2822171" y="5649092"/>
                  <a:pt x="2822171" y="5649092"/>
                </a:cubicBezTo>
                <a:cubicBezTo>
                  <a:pt x="2822171" y="5649092"/>
                  <a:pt x="2822171" y="5648989"/>
                  <a:pt x="2820312" y="5647337"/>
                </a:cubicBezTo>
                <a:cubicBezTo>
                  <a:pt x="2820312" y="5647337"/>
                  <a:pt x="2816285" y="5643207"/>
                  <a:pt x="2819073" y="5638766"/>
                </a:cubicBezTo>
                <a:cubicBezTo>
                  <a:pt x="2820003" y="5639592"/>
                  <a:pt x="2824340" y="5634120"/>
                  <a:pt x="2827902" y="5635669"/>
                </a:cubicBezTo>
                <a:close/>
                <a:moveTo>
                  <a:pt x="3176884" y="5634430"/>
                </a:moveTo>
                <a:lnTo>
                  <a:pt x="3177503" y="5636391"/>
                </a:lnTo>
                <a:lnTo>
                  <a:pt x="3177968" y="5635875"/>
                </a:lnTo>
                <a:cubicBezTo>
                  <a:pt x="3179207" y="5634843"/>
                  <a:pt x="3180446" y="5634223"/>
                  <a:pt x="3182150" y="5634740"/>
                </a:cubicBezTo>
                <a:cubicBezTo>
                  <a:pt x="3181376" y="5635359"/>
                  <a:pt x="3180446" y="5636288"/>
                  <a:pt x="3179362" y="5637217"/>
                </a:cubicBezTo>
                <a:lnTo>
                  <a:pt x="3178123" y="5638147"/>
                </a:lnTo>
                <a:lnTo>
                  <a:pt x="3178897" y="5640522"/>
                </a:lnTo>
                <a:cubicBezTo>
                  <a:pt x="3178742" y="5642587"/>
                  <a:pt x="3177813" y="5644652"/>
                  <a:pt x="3175799" y="5646614"/>
                </a:cubicBezTo>
                <a:cubicBezTo>
                  <a:pt x="3171617" y="5647130"/>
                  <a:pt x="3169913" y="5641761"/>
                  <a:pt x="3168829" y="5639076"/>
                </a:cubicBezTo>
                <a:cubicBezTo>
                  <a:pt x="3171617" y="5636701"/>
                  <a:pt x="3174406" y="5634223"/>
                  <a:pt x="3176884" y="5634430"/>
                </a:cubicBezTo>
                <a:close/>
                <a:moveTo>
                  <a:pt x="3272455" y="5633294"/>
                </a:moveTo>
                <a:cubicBezTo>
                  <a:pt x="3274159" y="5634017"/>
                  <a:pt x="3274778" y="5643207"/>
                  <a:pt x="3270751" y="5642484"/>
                </a:cubicBezTo>
                <a:cubicBezTo>
                  <a:pt x="3269976" y="5642174"/>
                  <a:pt x="3269512" y="5641451"/>
                  <a:pt x="3269357" y="5640522"/>
                </a:cubicBezTo>
                <a:cubicBezTo>
                  <a:pt x="3268892" y="5637940"/>
                  <a:pt x="3271061" y="5633707"/>
                  <a:pt x="3272455" y="5633294"/>
                </a:cubicBezTo>
                <a:close/>
                <a:moveTo>
                  <a:pt x="3029422" y="5632984"/>
                </a:moveTo>
                <a:cubicBezTo>
                  <a:pt x="3032056" y="5637631"/>
                  <a:pt x="3028183" y="5643000"/>
                  <a:pt x="3024001" y="5643722"/>
                </a:cubicBezTo>
                <a:cubicBezTo>
                  <a:pt x="3022452" y="5644032"/>
                  <a:pt x="3021058" y="5643826"/>
                  <a:pt x="3019819" y="5642897"/>
                </a:cubicBezTo>
                <a:cubicBezTo>
                  <a:pt x="3016101" y="5636701"/>
                  <a:pt x="3024311" y="5631022"/>
                  <a:pt x="3029422" y="5632984"/>
                </a:cubicBezTo>
                <a:close/>
                <a:moveTo>
                  <a:pt x="3559632" y="5631951"/>
                </a:moveTo>
                <a:cubicBezTo>
                  <a:pt x="3564125" y="5641245"/>
                  <a:pt x="3558083" y="5643619"/>
                  <a:pt x="3560562" y="5648885"/>
                </a:cubicBezTo>
                <a:cubicBezTo>
                  <a:pt x="3558703" y="5648782"/>
                  <a:pt x="3558703" y="5648782"/>
                  <a:pt x="3557464" y="5647130"/>
                </a:cubicBezTo>
                <a:cubicBezTo>
                  <a:pt x="3557774" y="5646304"/>
                  <a:pt x="3556999" y="5645891"/>
                  <a:pt x="3558238" y="5645581"/>
                </a:cubicBezTo>
                <a:cubicBezTo>
                  <a:pt x="3556535" y="5642690"/>
                  <a:pt x="3557464" y="5634533"/>
                  <a:pt x="3559632" y="5631951"/>
                </a:cubicBezTo>
                <a:close/>
                <a:moveTo>
                  <a:pt x="3555140" y="5631539"/>
                </a:moveTo>
                <a:cubicBezTo>
                  <a:pt x="3555915" y="5631951"/>
                  <a:pt x="3555915" y="5631951"/>
                  <a:pt x="3555915" y="5631951"/>
                </a:cubicBezTo>
                <a:cubicBezTo>
                  <a:pt x="3554366" y="5633913"/>
                  <a:pt x="3554985" y="5637734"/>
                  <a:pt x="3554056" y="5640831"/>
                </a:cubicBezTo>
                <a:cubicBezTo>
                  <a:pt x="3553746" y="5641761"/>
                  <a:pt x="3553282" y="5642793"/>
                  <a:pt x="3552352" y="5643516"/>
                </a:cubicBezTo>
                <a:cubicBezTo>
                  <a:pt x="3552352" y="5643516"/>
                  <a:pt x="3552507" y="5643516"/>
                  <a:pt x="3552817" y="5642690"/>
                </a:cubicBezTo>
                <a:cubicBezTo>
                  <a:pt x="3552817" y="5642690"/>
                  <a:pt x="3552507" y="5643516"/>
                  <a:pt x="3551733" y="5643103"/>
                </a:cubicBezTo>
                <a:cubicBezTo>
                  <a:pt x="3551268" y="5637940"/>
                  <a:pt x="3554831" y="5632261"/>
                  <a:pt x="3555140" y="5631539"/>
                </a:cubicBezTo>
                <a:close/>
                <a:moveTo>
                  <a:pt x="2995965" y="5629370"/>
                </a:moveTo>
                <a:cubicBezTo>
                  <a:pt x="2997049" y="5629680"/>
                  <a:pt x="2997979" y="5630609"/>
                  <a:pt x="2998443" y="5632261"/>
                </a:cubicBezTo>
                <a:cubicBezTo>
                  <a:pt x="2999837" y="5637011"/>
                  <a:pt x="2996120" y="5638560"/>
                  <a:pt x="2991628" y="5639489"/>
                </a:cubicBezTo>
                <a:cubicBezTo>
                  <a:pt x="2990544" y="5637837"/>
                  <a:pt x="2988994" y="5636908"/>
                  <a:pt x="2987910" y="5635152"/>
                </a:cubicBezTo>
                <a:cubicBezTo>
                  <a:pt x="2988065" y="5632261"/>
                  <a:pt x="2992712" y="5628338"/>
                  <a:pt x="2995965" y="5629370"/>
                </a:cubicBezTo>
                <a:close/>
                <a:moveTo>
                  <a:pt x="2899619" y="5626892"/>
                </a:moveTo>
                <a:cubicBezTo>
                  <a:pt x="2899774" y="5627821"/>
                  <a:pt x="2899310" y="5630506"/>
                  <a:pt x="2900084" y="5630403"/>
                </a:cubicBezTo>
                <a:cubicBezTo>
                  <a:pt x="2898535" y="5632468"/>
                  <a:pt x="2896522" y="5634636"/>
                  <a:pt x="2894353" y="5634843"/>
                </a:cubicBezTo>
                <a:cubicBezTo>
                  <a:pt x="2893733" y="5634946"/>
                  <a:pt x="2892959" y="5634843"/>
                  <a:pt x="2892339" y="5634430"/>
                </a:cubicBezTo>
                <a:cubicBezTo>
                  <a:pt x="2890480" y="5633604"/>
                  <a:pt x="2891100" y="5631848"/>
                  <a:pt x="2892494" y="5629989"/>
                </a:cubicBezTo>
                <a:cubicBezTo>
                  <a:pt x="2894353" y="5625446"/>
                  <a:pt x="2896831" y="5624414"/>
                  <a:pt x="2899619" y="5626892"/>
                </a:cubicBezTo>
                <a:close/>
                <a:moveTo>
                  <a:pt x="2809624" y="5626376"/>
                </a:moveTo>
                <a:cubicBezTo>
                  <a:pt x="2813187" y="5625446"/>
                  <a:pt x="2813652" y="5627821"/>
                  <a:pt x="2815510" y="5631125"/>
                </a:cubicBezTo>
                <a:cubicBezTo>
                  <a:pt x="2814271" y="5631435"/>
                  <a:pt x="2814891" y="5635049"/>
                  <a:pt x="2815046" y="5636288"/>
                </a:cubicBezTo>
                <a:cubicBezTo>
                  <a:pt x="2812722" y="5636908"/>
                  <a:pt x="2812878" y="5641245"/>
                  <a:pt x="2809315" y="5642174"/>
                </a:cubicBezTo>
                <a:cubicBezTo>
                  <a:pt x="2807920" y="5641348"/>
                  <a:pt x="2807146" y="5640935"/>
                  <a:pt x="2806372" y="5639283"/>
                </a:cubicBezTo>
                <a:cubicBezTo>
                  <a:pt x="2805287" y="5630093"/>
                  <a:pt x="2809934" y="5627511"/>
                  <a:pt x="2809624" y="5626376"/>
                </a:cubicBezTo>
                <a:close/>
                <a:moveTo>
                  <a:pt x="3204300" y="5626169"/>
                </a:moveTo>
                <a:cubicBezTo>
                  <a:pt x="3208328" y="5625859"/>
                  <a:pt x="3210806" y="5627098"/>
                  <a:pt x="3212200" y="5629060"/>
                </a:cubicBezTo>
                <a:cubicBezTo>
                  <a:pt x="3216073" y="5634843"/>
                  <a:pt x="3209567" y="5647337"/>
                  <a:pt x="3200273" y="5646511"/>
                </a:cubicBezTo>
                <a:cubicBezTo>
                  <a:pt x="3199034" y="5645168"/>
                  <a:pt x="3198259" y="5643516"/>
                  <a:pt x="3197950" y="5641657"/>
                </a:cubicBezTo>
                <a:cubicBezTo>
                  <a:pt x="3197640" y="5638973"/>
                  <a:pt x="3198414" y="5635875"/>
                  <a:pt x="3199653" y="5633087"/>
                </a:cubicBezTo>
                <a:lnTo>
                  <a:pt x="3200738" y="5631539"/>
                </a:lnTo>
                <a:lnTo>
                  <a:pt x="3200893" y="5630919"/>
                </a:lnTo>
                <a:lnTo>
                  <a:pt x="3201822" y="5629989"/>
                </a:lnTo>
                <a:close/>
                <a:moveTo>
                  <a:pt x="3140018" y="5626066"/>
                </a:moveTo>
                <a:cubicBezTo>
                  <a:pt x="3141567" y="5627821"/>
                  <a:pt x="3140638" y="5629577"/>
                  <a:pt x="3139708" y="5630506"/>
                </a:cubicBezTo>
                <a:cubicBezTo>
                  <a:pt x="3139089" y="5631745"/>
                  <a:pt x="3138005" y="5632364"/>
                  <a:pt x="3136611" y="5632571"/>
                </a:cubicBezTo>
                <a:cubicBezTo>
                  <a:pt x="3135372" y="5632778"/>
                  <a:pt x="3133977" y="5632571"/>
                  <a:pt x="3132738" y="5632158"/>
                </a:cubicBezTo>
                <a:cubicBezTo>
                  <a:pt x="3133513" y="5632158"/>
                  <a:pt x="3133513" y="5632158"/>
                  <a:pt x="3133513" y="5632158"/>
                </a:cubicBezTo>
                <a:cubicBezTo>
                  <a:pt x="3134442" y="5631332"/>
                  <a:pt x="3133668" y="5631332"/>
                  <a:pt x="3133823" y="5630403"/>
                </a:cubicBezTo>
                <a:cubicBezTo>
                  <a:pt x="3133823" y="5630403"/>
                  <a:pt x="3133668" y="5631229"/>
                  <a:pt x="3132893" y="5630299"/>
                </a:cubicBezTo>
                <a:cubicBezTo>
                  <a:pt x="3133823" y="5630403"/>
                  <a:pt x="3133823" y="5629473"/>
                  <a:pt x="3133823" y="5628647"/>
                </a:cubicBezTo>
                <a:cubicBezTo>
                  <a:pt x="3135681" y="5626892"/>
                  <a:pt x="3138469" y="5625137"/>
                  <a:pt x="3140018" y="5626066"/>
                </a:cubicBezTo>
                <a:close/>
                <a:moveTo>
                  <a:pt x="3688622" y="5625356"/>
                </a:moveTo>
                <a:cubicBezTo>
                  <a:pt x="3691140" y="5626040"/>
                  <a:pt x="3693308" y="5627925"/>
                  <a:pt x="3695476" y="5630712"/>
                </a:cubicBezTo>
                <a:cubicBezTo>
                  <a:pt x="3693928" y="5634017"/>
                  <a:pt x="3689590" y="5637114"/>
                  <a:pt x="3685563" y="5637527"/>
                </a:cubicBezTo>
                <a:cubicBezTo>
                  <a:pt x="3684324" y="5637734"/>
                  <a:pt x="3682930" y="5637631"/>
                  <a:pt x="3681846" y="5637217"/>
                </a:cubicBezTo>
                <a:cubicBezTo>
                  <a:pt x="3679057" y="5632261"/>
                  <a:pt x="3681846" y="5629989"/>
                  <a:pt x="3679677" y="5627202"/>
                </a:cubicBezTo>
                <a:cubicBezTo>
                  <a:pt x="3683240" y="5625188"/>
                  <a:pt x="3686105" y="5624672"/>
                  <a:pt x="3688622" y="5625356"/>
                </a:cubicBezTo>
                <a:close/>
                <a:moveTo>
                  <a:pt x="3558703" y="5623794"/>
                </a:moveTo>
                <a:cubicBezTo>
                  <a:pt x="3559168" y="5625033"/>
                  <a:pt x="3559168" y="5626995"/>
                  <a:pt x="3559632" y="5628234"/>
                </a:cubicBezTo>
                <a:cubicBezTo>
                  <a:pt x="3559632" y="5628234"/>
                  <a:pt x="3559632" y="5628234"/>
                  <a:pt x="3558548" y="5628544"/>
                </a:cubicBezTo>
                <a:cubicBezTo>
                  <a:pt x="3559168" y="5626995"/>
                  <a:pt x="3556535" y="5624517"/>
                  <a:pt x="3558703" y="5623794"/>
                </a:cubicBezTo>
                <a:close/>
                <a:moveTo>
                  <a:pt x="3255261" y="5623484"/>
                </a:moveTo>
                <a:cubicBezTo>
                  <a:pt x="3259908" y="5621316"/>
                  <a:pt x="3264400" y="5625963"/>
                  <a:pt x="3264710" y="5630506"/>
                </a:cubicBezTo>
                <a:cubicBezTo>
                  <a:pt x="3264710" y="5632055"/>
                  <a:pt x="3264400" y="5633604"/>
                  <a:pt x="3263316" y="5634843"/>
                </a:cubicBezTo>
                <a:cubicBezTo>
                  <a:pt x="3261767" y="5635565"/>
                  <a:pt x="3260373" y="5635462"/>
                  <a:pt x="3258979" y="5634946"/>
                </a:cubicBezTo>
                <a:lnTo>
                  <a:pt x="3257585" y="5633604"/>
                </a:lnTo>
                <a:lnTo>
                  <a:pt x="3255726" y="5634946"/>
                </a:lnTo>
                <a:cubicBezTo>
                  <a:pt x="3254332" y="5635565"/>
                  <a:pt x="3252783" y="5636185"/>
                  <a:pt x="3251389" y="5637527"/>
                </a:cubicBezTo>
                <a:cubicBezTo>
                  <a:pt x="3249840" y="5636185"/>
                  <a:pt x="3248910" y="5635255"/>
                  <a:pt x="3248601" y="5634223"/>
                </a:cubicBezTo>
                <a:cubicBezTo>
                  <a:pt x="3248291" y="5633087"/>
                  <a:pt x="3248601" y="5631745"/>
                  <a:pt x="3249685" y="5629680"/>
                </a:cubicBezTo>
                <a:cubicBezTo>
                  <a:pt x="3249685" y="5629680"/>
                  <a:pt x="3250459" y="5628750"/>
                  <a:pt x="3250459" y="5628750"/>
                </a:cubicBezTo>
                <a:lnTo>
                  <a:pt x="3254952" y="5625653"/>
                </a:lnTo>
                <a:close/>
                <a:moveTo>
                  <a:pt x="3089367" y="5623484"/>
                </a:moveTo>
                <a:cubicBezTo>
                  <a:pt x="3090761" y="5626169"/>
                  <a:pt x="3091381" y="5627098"/>
                  <a:pt x="3090297" y="5629783"/>
                </a:cubicBezTo>
                <a:cubicBezTo>
                  <a:pt x="3089522" y="5628854"/>
                  <a:pt x="3089058" y="5627924"/>
                  <a:pt x="3088903" y="5626892"/>
                </a:cubicBezTo>
                <a:cubicBezTo>
                  <a:pt x="3088593" y="5625859"/>
                  <a:pt x="3088748" y="5624827"/>
                  <a:pt x="3089367" y="5623484"/>
                </a:cubicBezTo>
                <a:close/>
                <a:moveTo>
                  <a:pt x="2908139" y="5622761"/>
                </a:moveTo>
                <a:cubicBezTo>
                  <a:pt x="2908293" y="5623691"/>
                  <a:pt x="2909378" y="5625446"/>
                  <a:pt x="2908603" y="5625550"/>
                </a:cubicBezTo>
                <a:cubicBezTo>
                  <a:pt x="2908758" y="5626376"/>
                  <a:pt x="2907054" y="5626582"/>
                  <a:pt x="2907054" y="5626582"/>
                </a:cubicBezTo>
                <a:cubicBezTo>
                  <a:pt x="2907209" y="5627408"/>
                  <a:pt x="2907364" y="5628338"/>
                  <a:pt x="2906744" y="5629267"/>
                </a:cubicBezTo>
                <a:cubicBezTo>
                  <a:pt x="2905815" y="5628441"/>
                  <a:pt x="2905970" y="5629370"/>
                  <a:pt x="2905041" y="5629370"/>
                </a:cubicBezTo>
                <a:cubicBezTo>
                  <a:pt x="2905815" y="5628441"/>
                  <a:pt x="2905350" y="5625653"/>
                  <a:pt x="2905970" y="5623794"/>
                </a:cubicBezTo>
                <a:cubicBezTo>
                  <a:pt x="2906744" y="5623794"/>
                  <a:pt x="2907364" y="5622865"/>
                  <a:pt x="2908139" y="5622761"/>
                </a:cubicBezTo>
                <a:close/>
                <a:moveTo>
                  <a:pt x="3277256" y="5621006"/>
                </a:moveTo>
                <a:cubicBezTo>
                  <a:pt x="3279270" y="5623794"/>
                  <a:pt x="3280664" y="5625653"/>
                  <a:pt x="3281129" y="5627511"/>
                </a:cubicBezTo>
                <a:cubicBezTo>
                  <a:pt x="3280199" y="5628750"/>
                  <a:pt x="3278960" y="5629163"/>
                  <a:pt x="3277721" y="5628957"/>
                </a:cubicBezTo>
                <a:cubicBezTo>
                  <a:pt x="3276637" y="5628854"/>
                  <a:pt x="3275553" y="5628131"/>
                  <a:pt x="3274933" y="5627202"/>
                </a:cubicBezTo>
                <a:cubicBezTo>
                  <a:pt x="3273539" y="5625240"/>
                  <a:pt x="3273539" y="5622452"/>
                  <a:pt x="3277256" y="5621006"/>
                </a:cubicBezTo>
                <a:close/>
                <a:moveTo>
                  <a:pt x="3502631" y="5620696"/>
                </a:moveTo>
                <a:lnTo>
                  <a:pt x="3503405" y="5621110"/>
                </a:lnTo>
                <a:cubicBezTo>
                  <a:pt x="3503715" y="5621522"/>
                  <a:pt x="3503560" y="5622245"/>
                  <a:pt x="3503250" y="5623072"/>
                </a:cubicBezTo>
                <a:cubicBezTo>
                  <a:pt x="3502321" y="5625756"/>
                  <a:pt x="3499533" y="5629577"/>
                  <a:pt x="3499223" y="5630196"/>
                </a:cubicBezTo>
                <a:cubicBezTo>
                  <a:pt x="3499223" y="5630196"/>
                  <a:pt x="3498758" y="5630919"/>
                  <a:pt x="3498448" y="5631745"/>
                </a:cubicBezTo>
                <a:cubicBezTo>
                  <a:pt x="3497364" y="5632055"/>
                  <a:pt x="3496590" y="5631539"/>
                  <a:pt x="3496280" y="5632364"/>
                </a:cubicBezTo>
                <a:cubicBezTo>
                  <a:pt x="3495041" y="5628750"/>
                  <a:pt x="3496900" y="5626995"/>
                  <a:pt x="3498603" y="5625137"/>
                </a:cubicBezTo>
                <a:cubicBezTo>
                  <a:pt x="3500152" y="5624001"/>
                  <a:pt x="3500462" y="5623278"/>
                  <a:pt x="3500462" y="5621419"/>
                </a:cubicBezTo>
                <a:cubicBezTo>
                  <a:pt x="3500462" y="5621419"/>
                  <a:pt x="3500462" y="5621419"/>
                  <a:pt x="3502631" y="5620696"/>
                </a:cubicBezTo>
                <a:close/>
                <a:moveTo>
                  <a:pt x="2672231" y="5618838"/>
                </a:moveTo>
                <a:cubicBezTo>
                  <a:pt x="2677963" y="5624207"/>
                  <a:pt x="2677343" y="5629163"/>
                  <a:pt x="2673316" y="5635359"/>
                </a:cubicBezTo>
                <a:cubicBezTo>
                  <a:pt x="2668669" y="5634946"/>
                  <a:pt x="2662938" y="5629577"/>
                  <a:pt x="2663557" y="5624723"/>
                </a:cubicBezTo>
                <a:cubicBezTo>
                  <a:pt x="2667275" y="5620077"/>
                  <a:pt x="2670218" y="5621936"/>
                  <a:pt x="2672231" y="5618838"/>
                </a:cubicBezTo>
                <a:close/>
                <a:moveTo>
                  <a:pt x="2904266" y="5616256"/>
                </a:moveTo>
                <a:cubicBezTo>
                  <a:pt x="2904266" y="5616256"/>
                  <a:pt x="2903492" y="5618115"/>
                  <a:pt x="2903492" y="5618115"/>
                </a:cubicBezTo>
                <a:cubicBezTo>
                  <a:pt x="2902098" y="5619871"/>
                  <a:pt x="2901323" y="5620800"/>
                  <a:pt x="2900703" y="5622555"/>
                </a:cubicBezTo>
                <a:cubicBezTo>
                  <a:pt x="2898845" y="5621832"/>
                  <a:pt x="2898690" y="5621006"/>
                  <a:pt x="2899465" y="5620077"/>
                </a:cubicBezTo>
                <a:cubicBezTo>
                  <a:pt x="2899465" y="5620077"/>
                  <a:pt x="2900239" y="5619148"/>
                  <a:pt x="2901013" y="5618218"/>
                </a:cubicBezTo>
                <a:cubicBezTo>
                  <a:pt x="2901633" y="5617289"/>
                  <a:pt x="2901633" y="5616360"/>
                  <a:pt x="2901633" y="5616360"/>
                </a:cubicBezTo>
                <a:cubicBezTo>
                  <a:pt x="2902407" y="5615534"/>
                  <a:pt x="2903182" y="5615430"/>
                  <a:pt x="2904266" y="5616256"/>
                </a:cubicBezTo>
                <a:close/>
                <a:moveTo>
                  <a:pt x="2996120" y="5615740"/>
                </a:moveTo>
                <a:cubicBezTo>
                  <a:pt x="2997669" y="5617702"/>
                  <a:pt x="2998443" y="5619354"/>
                  <a:pt x="2999527" y="5622142"/>
                </a:cubicBezTo>
                <a:cubicBezTo>
                  <a:pt x="2999527" y="5622142"/>
                  <a:pt x="3000302" y="5626892"/>
                  <a:pt x="2997514" y="5628234"/>
                </a:cubicBezTo>
                <a:cubicBezTo>
                  <a:pt x="2997049" y="5629060"/>
                  <a:pt x="2994261" y="5627305"/>
                  <a:pt x="2994106" y="5626169"/>
                </a:cubicBezTo>
                <a:cubicBezTo>
                  <a:pt x="2993641" y="5623794"/>
                  <a:pt x="2993486" y="5622658"/>
                  <a:pt x="2994571" y="5621110"/>
                </a:cubicBezTo>
                <a:cubicBezTo>
                  <a:pt x="2994261" y="5619974"/>
                  <a:pt x="2994106" y="5618735"/>
                  <a:pt x="2994261" y="5617806"/>
                </a:cubicBezTo>
                <a:cubicBezTo>
                  <a:pt x="2994416" y="5616773"/>
                  <a:pt x="2994881" y="5616050"/>
                  <a:pt x="2996120" y="5615740"/>
                </a:cubicBezTo>
                <a:close/>
                <a:moveTo>
                  <a:pt x="2833014" y="5612539"/>
                </a:moveTo>
                <a:cubicBezTo>
                  <a:pt x="2835647" y="5615637"/>
                  <a:pt x="2833788" y="5620593"/>
                  <a:pt x="2828522" y="5619871"/>
                </a:cubicBezTo>
                <a:cubicBezTo>
                  <a:pt x="2828987" y="5616153"/>
                  <a:pt x="2829451" y="5612436"/>
                  <a:pt x="2833014" y="5612539"/>
                </a:cubicBezTo>
                <a:close/>
                <a:moveTo>
                  <a:pt x="2869879" y="5612229"/>
                </a:moveTo>
                <a:cubicBezTo>
                  <a:pt x="2869260" y="5613159"/>
                  <a:pt x="2867556" y="5614088"/>
                  <a:pt x="2866936" y="5615017"/>
                </a:cubicBezTo>
                <a:cubicBezTo>
                  <a:pt x="2866936" y="5615017"/>
                  <a:pt x="2866936" y="5615017"/>
                  <a:pt x="2866007" y="5614191"/>
                </a:cubicBezTo>
                <a:cubicBezTo>
                  <a:pt x="2867556" y="5614088"/>
                  <a:pt x="2868021" y="5610577"/>
                  <a:pt x="2869879" y="5612229"/>
                </a:cubicBezTo>
                <a:close/>
                <a:moveTo>
                  <a:pt x="3305777" y="5610810"/>
                </a:moveTo>
                <a:cubicBezTo>
                  <a:pt x="3307345" y="5610061"/>
                  <a:pt x="3309010" y="5610681"/>
                  <a:pt x="3308700" y="5615017"/>
                </a:cubicBezTo>
                <a:cubicBezTo>
                  <a:pt x="3307152" y="5615430"/>
                  <a:pt x="3305912" y="5615534"/>
                  <a:pt x="3305138" y="5615534"/>
                </a:cubicBezTo>
                <a:cubicBezTo>
                  <a:pt x="3304363" y="5615430"/>
                  <a:pt x="3303744" y="5615121"/>
                  <a:pt x="3303434" y="5614811"/>
                </a:cubicBezTo>
                <a:cubicBezTo>
                  <a:pt x="3302737" y="5613675"/>
                  <a:pt x="3304208" y="5611558"/>
                  <a:pt x="3305777" y="5610810"/>
                </a:cubicBezTo>
                <a:close/>
                <a:moveTo>
                  <a:pt x="3226141" y="5609648"/>
                </a:moveTo>
                <a:cubicBezTo>
                  <a:pt x="3235744" y="5610784"/>
                  <a:pt x="3237293" y="5619251"/>
                  <a:pt x="3238997" y="5620283"/>
                </a:cubicBezTo>
                <a:cubicBezTo>
                  <a:pt x="3238532" y="5622968"/>
                  <a:pt x="3238532" y="5623588"/>
                  <a:pt x="3235744" y="5623278"/>
                </a:cubicBezTo>
                <a:cubicBezTo>
                  <a:pt x="3234815" y="5623175"/>
                  <a:pt x="3233576" y="5623072"/>
                  <a:pt x="3232027" y="5622761"/>
                </a:cubicBezTo>
                <a:cubicBezTo>
                  <a:pt x="3230787" y="5622452"/>
                  <a:pt x="3229703" y="5621936"/>
                  <a:pt x="3228774" y="5621006"/>
                </a:cubicBezTo>
                <a:cubicBezTo>
                  <a:pt x="3227844" y="5620180"/>
                  <a:pt x="3227070" y="5619044"/>
                  <a:pt x="3226760" y="5617806"/>
                </a:cubicBezTo>
                <a:cubicBezTo>
                  <a:pt x="3225056" y="5616773"/>
                  <a:pt x="3223663" y="5614501"/>
                  <a:pt x="3223353" y="5612539"/>
                </a:cubicBezTo>
                <a:cubicBezTo>
                  <a:pt x="3223663" y="5610164"/>
                  <a:pt x="3225056" y="5609339"/>
                  <a:pt x="3226141" y="5609648"/>
                </a:cubicBezTo>
                <a:close/>
                <a:moveTo>
                  <a:pt x="2974899" y="5608512"/>
                </a:moveTo>
                <a:cubicBezTo>
                  <a:pt x="2976138" y="5608203"/>
                  <a:pt x="2979081" y="5607996"/>
                  <a:pt x="2980011" y="5610784"/>
                </a:cubicBezTo>
                <a:cubicBezTo>
                  <a:pt x="2981095" y="5613675"/>
                  <a:pt x="2983573" y="5614088"/>
                  <a:pt x="2984658" y="5616876"/>
                </a:cubicBezTo>
                <a:cubicBezTo>
                  <a:pt x="2984658" y="5616876"/>
                  <a:pt x="2984658" y="5616979"/>
                  <a:pt x="2983418" y="5617289"/>
                </a:cubicBezTo>
                <a:cubicBezTo>
                  <a:pt x="2981095" y="5613572"/>
                  <a:pt x="2976758" y="5612952"/>
                  <a:pt x="2974899" y="5608512"/>
                </a:cubicBezTo>
                <a:close/>
                <a:moveTo>
                  <a:pt x="3628251" y="5607893"/>
                </a:moveTo>
                <a:cubicBezTo>
                  <a:pt x="3630420" y="5607273"/>
                  <a:pt x="3633828" y="5606344"/>
                  <a:pt x="3635377" y="5609132"/>
                </a:cubicBezTo>
                <a:cubicBezTo>
                  <a:pt x="3635067" y="5609854"/>
                  <a:pt x="3635841" y="5610268"/>
                  <a:pt x="3635532" y="5611094"/>
                </a:cubicBezTo>
                <a:cubicBezTo>
                  <a:pt x="3635532" y="5611094"/>
                  <a:pt x="3635532" y="5612023"/>
                  <a:pt x="3635067" y="5613159"/>
                </a:cubicBezTo>
                <a:cubicBezTo>
                  <a:pt x="3634602" y="5614398"/>
                  <a:pt x="3633828" y="5615740"/>
                  <a:pt x="3631969" y="5616566"/>
                </a:cubicBezTo>
                <a:cubicBezTo>
                  <a:pt x="3631350" y="5616773"/>
                  <a:pt x="3630420" y="5616876"/>
                  <a:pt x="3629491" y="5616876"/>
                </a:cubicBezTo>
                <a:cubicBezTo>
                  <a:pt x="3628716" y="5616876"/>
                  <a:pt x="3627942" y="5616670"/>
                  <a:pt x="3628096" y="5616360"/>
                </a:cubicBezTo>
                <a:cubicBezTo>
                  <a:pt x="3627787" y="5615121"/>
                  <a:pt x="3627477" y="5615947"/>
                  <a:pt x="3626703" y="5615534"/>
                </a:cubicBezTo>
                <a:cubicBezTo>
                  <a:pt x="3625463" y="5611920"/>
                  <a:pt x="3625618" y="5609235"/>
                  <a:pt x="3628251" y="5607893"/>
                </a:cubicBezTo>
                <a:close/>
                <a:moveTo>
                  <a:pt x="3584571" y="5607067"/>
                </a:moveTo>
                <a:cubicBezTo>
                  <a:pt x="3585345" y="5607480"/>
                  <a:pt x="3587359" y="5609545"/>
                  <a:pt x="3587669" y="5608822"/>
                </a:cubicBezTo>
                <a:cubicBezTo>
                  <a:pt x="3588598" y="5611507"/>
                  <a:pt x="3589372" y="5614605"/>
                  <a:pt x="3588598" y="5616566"/>
                </a:cubicBezTo>
                <a:cubicBezTo>
                  <a:pt x="3588288" y="5617186"/>
                  <a:pt x="3587824" y="5617702"/>
                  <a:pt x="3587204" y="5618012"/>
                </a:cubicBezTo>
                <a:cubicBezTo>
                  <a:pt x="3585810" y="5619044"/>
                  <a:pt x="3584571" y="5617496"/>
                  <a:pt x="3583641" y="5615121"/>
                </a:cubicBezTo>
                <a:cubicBezTo>
                  <a:pt x="3581008" y="5610681"/>
                  <a:pt x="3581163" y="5607996"/>
                  <a:pt x="3584571" y="5607067"/>
                </a:cubicBezTo>
                <a:close/>
                <a:moveTo>
                  <a:pt x="2975054" y="5605311"/>
                </a:moveTo>
                <a:cubicBezTo>
                  <a:pt x="2975983" y="5606963"/>
                  <a:pt x="2964986" y="5611920"/>
                  <a:pt x="2962197" y="5613262"/>
                </a:cubicBezTo>
                <a:cubicBezTo>
                  <a:pt x="2961578" y="5612849"/>
                  <a:pt x="2961423" y="5612849"/>
                  <a:pt x="2961423" y="5612849"/>
                </a:cubicBezTo>
                <a:cubicBezTo>
                  <a:pt x="2961113" y="5612023"/>
                  <a:pt x="2961268" y="5611300"/>
                  <a:pt x="2961888" y="5610681"/>
                </a:cubicBezTo>
                <a:cubicBezTo>
                  <a:pt x="2962662" y="5609958"/>
                  <a:pt x="2963747" y="5609442"/>
                  <a:pt x="2965140" y="5608719"/>
                </a:cubicBezTo>
                <a:cubicBezTo>
                  <a:pt x="2968083" y="5607273"/>
                  <a:pt x="2972111" y="5606757"/>
                  <a:pt x="2973350" y="5606447"/>
                </a:cubicBezTo>
                <a:cubicBezTo>
                  <a:pt x="2974589" y="5606034"/>
                  <a:pt x="2975054" y="5605311"/>
                  <a:pt x="2975054" y="5605311"/>
                </a:cubicBezTo>
                <a:close/>
                <a:moveTo>
                  <a:pt x="2813032" y="5605208"/>
                </a:moveTo>
                <a:cubicBezTo>
                  <a:pt x="2815201" y="5607789"/>
                  <a:pt x="2813962" y="5611197"/>
                  <a:pt x="2816130" y="5614708"/>
                </a:cubicBezTo>
                <a:cubicBezTo>
                  <a:pt x="2814271" y="5617289"/>
                  <a:pt x="2816285" y="5621729"/>
                  <a:pt x="2813497" y="5625137"/>
                </a:cubicBezTo>
                <a:cubicBezTo>
                  <a:pt x="2812258" y="5624207"/>
                  <a:pt x="2811483" y="5622658"/>
                  <a:pt x="2811019" y="5620903"/>
                </a:cubicBezTo>
                <a:cubicBezTo>
                  <a:pt x="2809624" y="5615327"/>
                  <a:pt x="2810864" y="5607067"/>
                  <a:pt x="2813032" y="5605208"/>
                </a:cubicBezTo>
                <a:close/>
                <a:moveTo>
                  <a:pt x="2681409" y="5604563"/>
                </a:moveTo>
                <a:cubicBezTo>
                  <a:pt x="2687140" y="5602523"/>
                  <a:pt x="2693142" y="5602575"/>
                  <a:pt x="2695311" y="5606654"/>
                </a:cubicBezTo>
                <a:cubicBezTo>
                  <a:pt x="2685553" y="5608822"/>
                  <a:pt x="2680286" y="5614811"/>
                  <a:pt x="2669134" y="5615017"/>
                </a:cubicBezTo>
                <a:cubicBezTo>
                  <a:pt x="2670218" y="5610732"/>
                  <a:pt x="2675678" y="5606602"/>
                  <a:pt x="2681409" y="5604563"/>
                </a:cubicBezTo>
                <a:close/>
                <a:moveTo>
                  <a:pt x="3626703" y="5603143"/>
                </a:moveTo>
                <a:cubicBezTo>
                  <a:pt x="3627787" y="5602833"/>
                  <a:pt x="3629646" y="5602937"/>
                  <a:pt x="3630110" y="5604072"/>
                </a:cubicBezTo>
                <a:cubicBezTo>
                  <a:pt x="3630575" y="5604898"/>
                  <a:pt x="3630420" y="5605208"/>
                  <a:pt x="3629955" y="5605518"/>
                </a:cubicBezTo>
                <a:cubicBezTo>
                  <a:pt x="3629491" y="5605931"/>
                  <a:pt x="3628561" y="5606138"/>
                  <a:pt x="3627942" y="5606757"/>
                </a:cubicBezTo>
                <a:close/>
                <a:moveTo>
                  <a:pt x="2981095" y="5601697"/>
                </a:moveTo>
                <a:cubicBezTo>
                  <a:pt x="2981095" y="5601697"/>
                  <a:pt x="2981404" y="5600975"/>
                  <a:pt x="2982489" y="5603762"/>
                </a:cubicBezTo>
                <a:cubicBezTo>
                  <a:pt x="2981404" y="5604072"/>
                  <a:pt x="2977997" y="5605002"/>
                  <a:pt x="2977997" y="5605002"/>
                </a:cubicBezTo>
                <a:cubicBezTo>
                  <a:pt x="2977377" y="5605827"/>
                  <a:pt x="2977377" y="5605827"/>
                  <a:pt x="2976293" y="5606138"/>
                </a:cubicBezTo>
                <a:cubicBezTo>
                  <a:pt x="2976138" y="5605002"/>
                  <a:pt x="2976138" y="5605002"/>
                  <a:pt x="2976603" y="5604176"/>
                </a:cubicBezTo>
                <a:cubicBezTo>
                  <a:pt x="2977687" y="5603866"/>
                  <a:pt x="2978461" y="5604279"/>
                  <a:pt x="2979546" y="5603969"/>
                </a:cubicBezTo>
                <a:cubicBezTo>
                  <a:pt x="2979236" y="5601594"/>
                  <a:pt x="2978771" y="5602317"/>
                  <a:pt x="2979856" y="5602007"/>
                </a:cubicBezTo>
                <a:cubicBezTo>
                  <a:pt x="2979856" y="5602007"/>
                  <a:pt x="2979856" y="5602007"/>
                  <a:pt x="2981095" y="5601697"/>
                </a:cubicBezTo>
                <a:close/>
                <a:moveTo>
                  <a:pt x="3094014" y="5601078"/>
                </a:moveTo>
                <a:lnTo>
                  <a:pt x="3095718" y="5602317"/>
                </a:lnTo>
                <a:lnTo>
                  <a:pt x="3096028" y="5602317"/>
                </a:lnTo>
                <a:cubicBezTo>
                  <a:pt x="3098816" y="5604692"/>
                  <a:pt x="3098816" y="5604692"/>
                  <a:pt x="3095408" y="5610164"/>
                </a:cubicBezTo>
                <a:cubicBezTo>
                  <a:pt x="3094789" y="5611094"/>
                  <a:pt x="3093859" y="5611713"/>
                  <a:pt x="3092775" y="5612126"/>
                </a:cubicBezTo>
                <a:cubicBezTo>
                  <a:pt x="3091691" y="5612539"/>
                  <a:pt x="3090451" y="5612643"/>
                  <a:pt x="3089058" y="5612229"/>
                </a:cubicBezTo>
                <a:cubicBezTo>
                  <a:pt x="3088283" y="5612746"/>
                  <a:pt x="3087354" y="5612952"/>
                  <a:pt x="3086269" y="5613055"/>
                </a:cubicBezTo>
                <a:cubicBezTo>
                  <a:pt x="3085340" y="5613159"/>
                  <a:pt x="3084256" y="5612952"/>
                  <a:pt x="3083327" y="5612643"/>
                </a:cubicBezTo>
                <a:cubicBezTo>
                  <a:pt x="3081468" y="5610990"/>
                  <a:pt x="3081313" y="5609235"/>
                  <a:pt x="3081932" y="5608306"/>
                </a:cubicBezTo>
                <a:lnTo>
                  <a:pt x="3085805" y="5604176"/>
                </a:lnTo>
                <a:lnTo>
                  <a:pt x="3085650" y="5603556"/>
                </a:lnTo>
                <a:cubicBezTo>
                  <a:pt x="3086269" y="5600768"/>
                  <a:pt x="3091071" y="5599942"/>
                  <a:pt x="3094014" y="5601078"/>
                </a:cubicBezTo>
                <a:close/>
                <a:moveTo>
                  <a:pt x="3020806" y="5599916"/>
                </a:moveTo>
                <a:cubicBezTo>
                  <a:pt x="3022801" y="5600355"/>
                  <a:pt x="3024156" y="5602213"/>
                  <a:pt x="3024466" y="5604382"/>
                </a:cubicBezTo>
                <a:cubicBezTo>
                  <a:pt x="3024621" y="5605724"/>
                  <a:pt x="3024311" y="5607273"/>
                  <a:pt x="3023537" y="5608616"/>
                </a:cubicBezTo>
                <a:cubicBezTo>
                  <a:pt x="3022452" y="5610474"/>
                  <a:pt x="3020283" y="5612023"/>
                  <a:pt x="3016876" y="5612436"/>
                </a:cubicBezTo>
                <a:cubicBezTo>
                  <a:pt x="3015482" y="5610990"/>
                  <a:pt x="3014862" y="5609545"/>
                  <a:pt x="3014552" y="5608099"/>
                </a:cubicBezTo>
                <a:cubicBezTo>
                  <a:pt x="3014088" y="5606757"/>
                  <a:pt x="3013933" y="5605415"/>
                  <a:pt x="3013313" y="5603969"/>
                </a:cubicBezTo>
                <a:cubicBezTo>
                  <a:pt x="3016179" y="5600458"/>
                  <a:pt x="3018812" y="5599477"/>
                  <a:pt x="3020806" y="5599916"/>
                </a:cubicBezTo>
                <a:close/>
                <a:moveTo>
                  <a:pt x="3585190" y="5596948"/>
                </a:moveTo>
                <a:cubicBezTo>
                  <a:pt x="3586120" y="5597360"/>
                  <a:pt x="3587979" y="5597567"/>
                  <a:pt x="3587669" y="5598290"/>
                </a:cubicBezTo>
                <a:cubicBezTo>
                  <a:pt x="3588443" y="5598703"/>
                  <a:pt x="3587824" y="5600252"/>
                  <a:pt x="3587824" y="5600252"/>
                </a:cubicBezTo>
                <a:cubicBezTo>
                  <a:pt x="3588598" y="5600665"/>
                  <a:pt x="3589372" y="5601078"/>
                  <a:pt x="3589837" y="5602317"/>
                </a:cubicBezTo>
                <a:cubicBezTo>
                  <a:pt x="3588598" y="5602523"/>
                  <a:pt x="3589528" y="5603040"/>
                  <a:pt x="3589063" y="5603762"/>
                </a:cubicBezTo>
                <a:cubicBezTo>
                  <a:pt x="3588753" y="5602627"/>
                  <a:pt x="3586275" y="5601181"/>
                  <a:pt x="3585036" y="5599529"/>
                </a:cubicBezTo>
                <a:cubicBezTo>
                  <a:pt x="3585345" y="5598806"/>
                  <a:pt x="3584881" y="5597670"/>
                  <a:pt x="3585190" y="5596948"/>
                </a:cubicBezTo>
                <a:close/>
                <a:moveTo>
                  <a:pt x="2914954" y="5596948"/>
                </a:moveTo>
                <a:cubicBezTo>
                  <a:pt x="2915419" y="5599322"/>
                  <a:pt x="2917123" y="5602523"/>
                  <a:pt x="2914644" y="5605105"/>
                </a:cubicBezTo>
                <a:cubicBezTo>
                  <a:pt x="2914335" y="5603349"/>
                  <a:pt x="2913405" y="5599942"/>
                  <a:pt x="2913870" y="5598187"/>
                </a:cubicBezTo>
                <a:cubicBezTo>
                  <a:pt x="2914179" y="5597567"/>
                  <a:pt x="2914489" y="5597051"/>
                  <a:pt x="2914954" y="5596948"/>
                </a:cubicBezTo>
                <a:close/>
                <a:moveTo>
                  <a:pt x="3578065" y="5596431"/>
                </a:moveTo>
                <a:cubicBezTo>
                  <a:pt x="3578065" y="5596431"/>
                  <a:pt x="3579304" y="5598083"/>
                  <a:pt x="3579304" y="5598083"/>
                </a:cubicBezTo>
                <a:cubicBezTo>
                  <a:pt x="3580079" y="5600561"/>
                  <a:pt x="3580389" y="5601697"/>
                  <a:pt x="3581628" y="5603349"/>
                </a:cubicBezTo>
                <a:cubicBezTo>
                  <a:pt x="3580853" y="5603969"/>
                  <a:pt x="3580389" y="5604176"/>
                  <a:pt x="3579924" y="5603969"/>
                </a:cubicBezTo>
                <a:cubicBezTo>
                  <a:pt x="3579459" y="5603866"/>
                  <a:pt x="3579150" y="5603453"/>
                  <a:pt x="3578995" y="5602833"/>
                </a:cubicBezTo>
                <a:cubicBezTo>
                  <a:pt x="3578995" y="5602833"/>
                  <a:pt x="3578530" y="5601594"/>
                  <a:pt x="3578220" y="5600355"/>
                </a:cubicBezTo>
                <a:cubicBezTo>
                  <a:pt x="3577755" y="5599219"/>
                  <a:pt x="3576981" y="5598806"/>
                  <a:pt x="3576981" y="5598806"/>
                </a:cubicBezTo>
                <a:cubicBezTo>
                  <a:pt x="3576671" y="5597567"/>
                  <a:pt x="3576981" y="5596741"/>
                  <a:pt x="3578065" y="5596431"/>
                </a:cubicBezTo>
                <a:close/>
                <a:moveTo>
                  <a:pt x="3559013" y="5596225"/>
                </a:moveTo>
                <a:cubicBezTo>
                  <a:pt x="3560097" y="5598290"/>
                  <a:pt x="3562111" y="5601904"/>
                  <a:pt x="3562111" y="5604176"/>
                </a:cubicBezTo>
                <a:cubicBezTo>
                  <a:pt x="3561956" y="5605002"/>
                  <a:pt x="3561646" y="5605518"/>
                  <a:pt x="3561027" y="5605931"/>
                </a:cubicBezTo>
                <a:cubicBezTo>
                  <a:pt x="3559942" y="5606241"/>
                  <a:pt x="3559632" y="5605002"/>
                  <a:pt x="3558858" y="5604588"/>
                </a:cubicBezTo>
                <a:cubicBezTo>
                  <a:pt x="3557774" y="5603040"/>
                  <a:pt x="3557928" y="5596638"/>
                  <a:pt x="3559013" y="5596225"/>
                </a:cubicBezTo>
                <a:close/>
                <a:moveTo>
                  <a:pt x="3367716" y="5595192"/>
                </a:moveTo>
                <a:lnTo>
                  <a:pt x="3367096" y="5600149"/>
                </a:lnTo>
                <a:lnTo>
                  <a:pt x="3364153" y="5603453"/>
                </a:lnTo>
                <a:lnTo>
                  <a:pt x="3363379" y="5606757"/>
                </a:lnTo>
                <a:cubicBezTo>
                  <a:pt x="3363379" y="5606757"/>
                  <a:pt x="3363534" y="5606757"/>
                  <a:pt x="3363844" y="5606034"/>
                </a:cubicBezTo>
                <a:cubicBezTo>
                  <a:pt x="3366012" y="5605311"/>
                  <a:pt x="3369110" y="5604485"/>
                  <a:pt x="3371898" y="5603969"/>
                </a:cubicBezTo>
                <a:lnTo>
                  <a:pt x="3373137" y="5603866"/>
                </a:lnTo>
                <a:close/>
                <a:moveTo>
                  <a:pt x="3313192" y="5594056"/>
                </a:moveTo>
                <a:cubicBezTo>
                  <a:pt x="3315826" y="5593850"/>
                  <a:pt x="3317530" y="5594573"/>
                  <a:pt x="3318459" y="5596121"/>
                </a:cubicBezTo>
                <a:lnTo>
                  <a:pt x="3319233" y="5602317"/>
                </a:lnTo>
                <a:lnTo>
                  <a:pt x="3322641" y="5601801"/>
                </a:lnTo>
                <a:cubicBezTo>
                  <a:pt x="3324810" y="5604898"/>
                  <a:pt x="3325274" y="5607583"/>
                  <a:pt x="3325894" y="5609545"/>
                </a:cubicBezTo>
                <a:cubicBezTo>
                  <a:pt x="3324035" y="5610784"/>
                  <a:pt x="3322951" y="5612333"/>
                  <a:pt x="3321092" y="5613675"/>
                </a:cubicBezTo>
                <a:cubicBezTo>
                  <a:pt x="3315980" y="5613365"/>
                  <a:pt x="3314122" y="5609854"/>
                  <a:pt x="3314587" y="5606654"/>
                </a:cubicBezTo>
                <a:lnTo>
                  <a:pt x="3317065" y="5602833"/>
                </a:lnTo>
                <a:lnTo>
                  <a:pt x="3315980" y="5602627"/>
                </a:lnTo>
                <a:cubicBezTo>
                  <a:pt x="3315206" y="5602214"/>
                  <a:pt x="3314742" y="5601491"/>
                  <a:pt x="3314432" y="5600561"/>
                </a:cubicBezTo>
                <a:cubicBezTo>
                  <a:pt x="3313812" y="5598806"/>
                  <a:pt x="3313812" y="5596225"/>
                  <a:pt x="3313192" y="5594056"/>
                </a:cubicBezTo>
                <a:close/>
                <a:moveTo>
                  <a:pt x="2857797" y="5593540"/>
                </a:moveTo>
                <a:cubicBezTo>
                  <a:pt x="2860276" y="5593643"/>
                  <a:pt x="2861979" y="5593643"/>
                  <a:pt x="2863529" y="5595399"/>
                </a:cubicBezTo>
                <a:cubicBezTo>
                  <a:pt x="2865697" y="5597980"/>
                  <a:pt x="2866781" y="5604072"/>
                  <a:pt x="2863993" y="5606654"/>
                </a:cubicBezTo>
                <a:cubicBezTo>
                  <a:pt x="2861205" y="5610061"/>
                  <a:pt x="2858572" y="5610887"/>
                  <a:pt x="2856093" y="5610887"/>
                </a:cubicBezTo>
                <a:cubicBezTo>
                  <a:pt x="2856093" y="5610887"/>
                  <a:pt x="2856093" y="5610887"/>
                  <a:pt x="2856868" y="5610887"/>
                </a:cubicBezTo>
                <a:lnTo>
                  <a:pt x="2858417" y="5612746"/>
                </a:lnTo>
                <a:lnTo>
                  <a:pt x="2859811" y="5612746"/>
                </a:lnTo>
                <a:cubicBezTo>
                  <a:pt x="2860740" y="5612746"/>
                  <a:pt x="2861205" y="5612746"/>
                  <a:pt x="2861515" y="5612746"/>
                </a:cubicBezTo>
                <a:cubicBezTo>
                  <a:pt x="2861670" y="5613572"/>
                  <a:pt x="2861670" y="5613572"/>
                  <a:pt x="2861670" y="5613572"/>
                </a:cubicBezTo>
                <a:lnTo>
                  <a:pt x="2859346" y="5613985"/>
                </a:lnTo>
                <a:lnTo>
                  <a:pt x="2861825" y="5617083"/>
                </a:lnTo>
                <a:lnTo>
                  <a:pt x="2863838" y="5616773"/>
                </a:lnTo>
                <a:lnTo>
                  <a:pt x="2862599" y="5618321"/>
                </a:lnTo>
                <a:lnTo>
                  <a:pt x="2863838" y="5620593"/>
                </a:lnTo>
                <a:cubicBezTo>
                  <a:pt x="2864148" y="5621626"/>
                  <a:pt x="2864303" y="5622452"/>
                  <a:pt x="2863993" y="5623072"/>
                </a:cubicBezTo>
                <a:cubicBezTo>
                  <a:pt x="2863219" y="5623072"/>
                  <a:pt x="2862289" y="5623072"/>
                  <a:pt x="2861670" y="5622245"/>
                </a:cubicBezTo>
                <a:cubicBezTo>
                  <a:pt x="2860895" y="5621316"/>
                  <a:pt x="2861670" y="5621316"/>
                  <a:pt x="2860895" y="5621316"/>
                </a:cubicBezTo>
                <a:cubicBezTo>
                  <a:pt x="2860121" y="5620387"/>
                  <a:pt x="2860121" y="5621316"/>
                  <a:pt x="2860121" y="5621316"/>
                </a:cubicBezTo>
                <a:lnTo>
                  <a:pt x="2860121" y="5621006"/>
                </a:lnTo>
                <a:lnTo>
                  <a:pt x="2856558" y="5622555"/>
                </a:lnTo>
                <a:cubicBezTo>
                  <a:pt x="2854235" y="5623072"/>
                  <a:pt x="2852066" y="5623278"/>
                  <a:pt x="2850827" y="5625550"/>
                </a:cubicBezTo>
                <a:cubicBezTo>
                  <a:pt x="2849743" y="5623897"/>
                  <a:pt x="2849743" y="5623794"/>
                  <a:pt x="2850362" y="5622039"/>
                </a:cubicBezTo>
                <a:cubicBezTo>
                  <a:pt x="2851137" y="5621936"/>
                  <a:pt x="2850982" y="5621006"/>
                  <a:pt x="2852066" y="5621936"/>
                </a:cubicBezTo>
                <a:cubicBezTo>
                  <a:pt x="2852686" y="5620490"/>
                  <a:pt x="2854700" y="5619044"/>
                  <a:pt x="2857023" y="5618012"/>
                </a:cubicBezTo>
                <a:lnTo>
                  <a:pt x="2857488" y="5617909"/>
                </a:lnTo>
                <a:lnTo>
                  <a:pt x="2855939" y="5617083"/>
                </a:lnTo>
                <a:cubicBezTo>
                  <a:pt x="2855164" y="5616670"/>
                  <a:pt x="2854700" y="5616463"/>
                  <a:pt x="2853925" y="5616050"/>
                </a:cubicBezTo>
                <a:lnTo>
                  <a:pt x="2853770" y="5615844"/>
                </a:lnTo>
                <a:lnTo>
                  <a:pt x="2853305" y="5616050"/>
                </a:lnTo>
                <a:cubicBezTo>
                  <a:pt x="2852221" y="5616256"/>
                  <a:pt x="2851292" y="5616360"/>
                  <a:pt x="2850053" y="5615947"/>
                </a:cubicBezTo>
                <a:cubicBezTo>
                  <a:pt x="2850053" y="5615947"/>
                  <a:pt x="2850053" y="5615947"/>
                  <a:pt x="2850982" y="5615844"/>
                </a:cubicBezTo>
                <a:cubicBezTo>
                  <a:pt x="2850982" y="5615844"/>
                  <a:pt x="2850053" y="5615947"/>
                  <a:pt x="2850053" y="5615121"/>
                </a:cubicBezTo>
                <a:lnTo>
                  <a:pt x="2852686" y="5614191"/>
                </a:lnTo>
                <a:lnTo>
                  <a:pt x="2852376" y="5613675"/>
                </a:lnTo>
                <a:cubicBezTo>
                  <a:pt x="2852066" y="5612952"/>
                  <a:pt x="2851601" y="5612126"/>
                  <a:pt x="2850982" y="5610784"/>
                </a:cubicBezTo>
                <a:cubicBezTo>
                  <a:pt x="2851911" y="5609028"/>
                  <a:pt x="2852066" y="5609028"/>
                  <a:pt x="2852841" y="5609028"/>
                </a:cubicBezTo>
                <a:cubicBezTo>
                  <a:pt x="2852066" y="5609028"/>
                  <a:pt x="2852066" y="5608203"/>
                  <a:pt x="2851292" y="5607273"/>
                </a:cubicBezTo>
                <a:cubicBezTo>
                  <a:pt x="2847419" y="5604692"/>
                  <a:pt x="2849433" y="5600355"/>
                  <a:pt x="2853305" y="5596121"/>
                </a:cubicBezTo>
                <a:cubicBezTo>
                  <a:pt x="2854080" y="5596948"/>
                  <a:pt x="2856093" y="5594366"/>
                  <a:pt x="2857797" y="5593540"/>
                </a:cubicBezTo>
                <a:close/>
                <a:moveTo>
                  <a:pt x="3629646" y="5592405"/>
                </a:moveTo>
                <a:cubicBezTo>
                  <a:pt x="3631504" y="5592508"/>
                  <a:pt x="3633828" y="5593850"/>
                  <a:pt x="3634138" y="5594986"/>
                </a:cubicBezTo>
                <a:cubicBezTo>
                  <a:pt x="3634602" y="5596121"/>
                  <a:pt x="3634138" y="5596948"/>
                  <a:pt x="3634138" y="5596948"/>
                </a:cubicBezTo>
                <a:cubicBezTo>
                  <a:pt x="3632898" y="5597670"/>
                  <a:pt x="3631504" y="5597980"/>
                  <a:pt x="3630420" y="5597774"/>
                </a:cubicBezTo>
                <a:cubicBezTo>
                  <a:pt x="3629181" y="5597567"/>
                  <a:pt x="3628096" y="5596741"/>
                  <a:pt x="3627477" y="5594986"/>
                </a:cubicBezTo>
                <a:cubicBezTo>
                  <a:pt x="3627167" y="5593850"/>
                  <a:pt x="3626703" y="5592611"/>
                  <a:pt x="3627477" y="5593024"/>
                </a:cubicBezTo>
                <a:cubicBezTo>
                  <a:pt x="3627787" y="5592301"/>
                  <a:pt x="3628561" y="5592714"/>
                  <a:pt x="3629646" y="5592405"/>
                </a:cubicBezTo>
                <a:close/>
                <a:moveTo>
                  <a:pt x="2662163" y="5591785"/>
                </a:moveTo>
                <a:cubicBezTo>
                  <a:pt x="2666965" y="5592405"/>
                  <a:pt x="2668824" y="5598910"/>
                  <a:pt x="2665571" y="5601594"/>
                </a:cubicBezTo>
                <a:cubicBezTo>
                  <a:pt x="2664951" y="5601491"/>
                  <a:pt x="2664177" y="5601491"/>
                  <a:pt x="2663403" y="5601491"/>
                </a:cubicBezTo>
                <a:cubicBezTo>
                  <a:pt x="2662628" y="5601491"/>
                  <a:pt x="2661699" y="5601284"/>
                  <a:pt x="2660769" y="5600872"/>
                </a:cubicBezTo>
                <a:cubicBezTo>
                  <a:pt x="2658756" y="5596844"/>
                  <a:pt x="2659530" y="5593850"/>
                  <a:pt x="2662163" y="5591785"/>
                </a:cubicBezTo>
                <a:close/>
                <a:moveTo>
                  <a:pt x="3223043" y="5587345"/>
                </a:moveTo>
                <a:cubicBezTo>
                  <a:pt x="3229703" y="5592920"/>
                  <a:pt x="3226451" y="5597360"/>
                  <a:pt x="3223198" y="5601697"/>
                </a:cubicBezTo>
                <a:cubicBezTo>
                  <a:pt x="3219635" y="5597051"/>
                  <a:pt x="3214214" y="5602523"/>
                  <a:pt x="3213439" y="5595089"/>
                </a:cubicBezTo>
                <a:cubicBezTo>
                  <a:pt x="3214523" y="5591785"/>
                  <a:pt x="3217157" y="5589100"/>
                  <a:pt x="3223043" y="5587345"/>
                </a:cubicBezTo>
                <a:close/>
                <a:moveTo>
                  <a:pt x="2970252" y="5587345"/>
                </a:moveTo>
                <a:cubicBezTo>
                  <a:pt x="2976448" y="5585073"/>
                  <a:pt x="2980011" y="5595812"/>
                  <a:pt x="2981559" y="5597774"/>
                </a:cubicBezTo>
                <a:cubicBezTo>
                  <a:pt x="2981559" y="5597774"/>
                  <a:pt x="2982334" y="5598290"/>
                  <a:pt x="2982489" y="5599426"/>
                </a:cubicBezTo>
                <a:cubicBezTo>
                  <a:pt x="2983263" y="5601078"/>
                  <a:pt x="2980785" y="5600458"/>
                  <a:pt x="2981095" y="5601697"/>
                </a:cubicBezTo>
                <a:cubicBezTo>
                  <a:pt x="2976603" y="5596741"/>
                  <a:pt x="2970872" y="5595192"/>
                  <a:pt x="2970872" y="5595192"/>
                </a:cubicBezTo>
                <a:cubicBezTo>
                  <a:pt x="2970097" y="5593643"/>
                  <a:pt x="2970407" y="5592920"/>
                  <a:pt x="2969942" y="5593643"/>
                </a:cubicBezTo>
                <a:cubicBezTo>
                  <a:pt x="2969633" y="5591269"/>
                  <a:pt x="2968548" y="5588481"/>
                  <a:pt x="2970252" y="5587345"/>
                </a:cubicBezTo>
                <a:close/>
                <a:moveTo>
                  <a:pt x="3017031" y="5586312"/>
                </a:moveTo>
                <a:cubicBezTo>
                  <a:pt x="3020283" y="5590133"/>
                  <a:pt x="3017186" y="5597464"/>
                  <a:pt x="3011300" y="5597154"/>
                </a:cubicBezTo>
                <a:cubicBezTo>
                  <a:pt x="3010990" y="5595192"/>
                  <a:pt x="3009905" y="5593953"/>
                  <a:pt x="3009596" y="5592094"/>
                </a:cubicBezTo>
                <a:cubicBezTo>
                  <a:pt x="3012074" y="5589720"/>
                  <a:pt x="3011919" y="5585383"/>
                  <a:pt x="3017031" y="5586312"/>
                </a:cubicBezTo>
                <a:close/>
                <a:moveTo>
                  <a:pt x="2708477" y="5586106"/>
                </a:moveTo>
                <a:cubicBezTo>
                  <a:pt x="2712505" y="5588377"/>
                  <a:pt x="2711110" y="5594986"/>
                  <a:pt x="2706928" y="5596225"/>
                </a:cubicBezTo>
                <a:cubicBezTo>
                  <a:pt x="2705844" y="5595605"/>
                  <a:pt x="2703985" y="5595295"/>
                  <a:pt x="2702901" y="5593850"/>
                </a:cubicBezTo>
                <a:cubicBezTo>
                  <a:pt x="2702901" y="5589513"/>
                  <a:pt x="2705070" y="5587035"/>
                  <a:pt x="2708477" y="5586106"/>
                </a:cubicBezTo>
                <a:close/>
                <a:moveTo>
                  <a:pt x="3510221" y="5584247"/>
                </a:moveTo>
                <a:cubicBezTo>
                  <a:pt x="3515642" y="5586209"/>
                  <a:pt x="3519204" y="5583524"/>
                  <a:pt x="3522612" y="5587448"/>
                </a:cubicBezTo>
                <a:cubicBezTo>
                  <a:pt x="3521993" y="5591991"/>
                  <a:pt x="3519049" y="5594366"/>
                  <a:pt x="3516106" y="5594882"/>
                </a:cubicBezTo>
                <a:cubicBezTo>
                  <a:pt x="3513009" y="5595502"/>
                  <a:pt x="3509911" y="5594263"/>
                  <a:pt x="3508982" y="5591475"/>
                </a:cubicBezTo>
                <a:cubicBezTo>
                  <a:pt x="3508207" y="5589720"/>
                  <a:pt x="3508517" y="5587242"/>
                  <a:pt x="3510221" y="5584247"/>
                </a:cubicBezTo>
                <a:close/>
                <a:moveTo>
                  <a:pt x="3543523" y="5584041"/>
                </a:moveTo>
                <a:cubicBezTo>
                  <a:pt x="3545227" y="5584041"/>
                  <a:pt x="3547705" y="5586725"/>
                  <a:pt x="3549409" y="5588584"/>
                </a:cubicBezTo>
                <a:cubicBezTo>
                  <a:pt x="3549564" y="5591269"/>
                  <a:pt x="3548015" y="5593850"/>
                  <a:pt x="3545692" y="5595399"/>
                </a:cubicBezTo>
                <a:cubicBezTo>
                  <a:pt x="3542284" y="5591785"/>
                  <a:pt x="3542129" y="5588274"/>
                  <a:pt x="3543523" y="5584041"/>
                </a:cubicBezTo>
                <a:close/>
                <a:moveTo>
                  <a:pt x="3076046" y="5582995"/>
                </a:moveTo>
                <a:cubicBezTo>
                  <a:pt x="3080500" y="5584273"/>
                  <a:pt x="3084566" y="5586983"/>
                  <a:pt x="3087508" y="5591062"/>
                </a:cubicBezTo>
                <a:cubicBezTo>
                  <a:pt x="3086889" y="5592094"/>
                  <a:pt x="3086115" y="5593127"/>
                  <a:pt x="3087199" y="5593747"/>
                </a:cubicBezTo>
                <a:cubicBezTo>
                  <a:pt x="3083327" y="5601078"/>
                  <a:pt x="3075272" y="5605208"/>
                  <a:pt x="3067527" y="5605724"/>
                </a:cubicBezTo>
                <a:cubicBezTo>
                  <a:pt x="3059782" y="5606241"/>
                  <a:pt x="3052192" y="5603143"/>
                  <a:pt x="3049094" y="5596225"/>
                </a:cubicBezTo>
                <a:cubicBezTo>
                  <a:pt x="3052192" y="5589720"/>
                  <a:pt x="3056994" y="5585589"/>
                  <a:pt x="3062261" y="5583524"/>
                </a:cubicBezTo>
                <a:cubicBezTo>
                  <a:pt x="3066753" y="5581872"/>
                  <a:pt x="3071593" y="5581717"/>
                  <a:pt x="3076046" y="5582995"/>
                </a:cubicBezTo>
                <a:close/>
                <a:moveTo>
                  <a:pt x="2754482" y="5582698"/>
                </a:moveTo>
                <a:cubicBezTo>
                  <a:pt x="2756960" y="5586932"/>
                  <a:pt x="2752313" y="5593850"/>
                  <a:pt x="2749060" y="5597360"/>
                </a:cubicBezTo>
                <a:cubicBezTo>
                  <a:pt x="2746892" y="5596535"/>
                  <a:pt x="2745652" y="5598187"/>
                  <a:pt x="2743484" y="5597360"/>
                </a:cubicBezTo>
                <a:cubicBezTo>
                  <a:pt x="2746427" y="5590339"/>
                  <a:pt x="2748905" y="5582595"/>
                  <a:pt x="2754482" y="5582698"/>
                </a:cubicBezTo>
                <a:close/>
                <a:moveTo>
                  <a:pt x="3106561" y="5577845"/>
                </a:moveTo>
                <a:cubicBezTo>
                  <a:pt x="3113686" y="5585073"/>
                  <a:pt x="3111517" y="5592611"/>
                  <a:pt x="3109194" y="5600252"/>
                </a:cubicBezTo>
                <a:cubicBezTo>
                  <a:pt x="3107335" y="5599322"/>
                  <a:pt x="3105941" y="5597877"/>
                  <a:pt x="3105012" y="5596121"/>
                </a:cubicBezTo>
                <a:lnTo>
                  <a:pt x="3104857" y="5595295"/>
                </a:lnTo>
                <a:lnTo>
                  <a:pt x="3104702" y="5596535"/>
                </a:lnTo>
                <a:cubicBezTo>
                  <a:pt x="3104857" y="5603969"/>
                  <a:pt x="3107180" y="5611197"/>
                  <a:pt x="3102688" y="5616050"/>
                </a:cubicBezTo>
                <a:cubicBezTo>
                  <a:pt x="3101914" y="5612952"/>
                  <a:pt x="3100210" y="5609442"/>
                  <a:pt x="3098661" y="5605931"/>
                </a:cubicBezTo>
                <a:cubicBezTo>
                  <a:pt x="3097112" y="5602420"/>
                  <a:pt x="3095873" y="5599013"/>
                  <a:pt x="3096028" y="5596121"/>
                </a:cubicBezTo>
                <a:lnTo>
                  <a:pt x="3097112" y="5593024"/>
                </a:lnTo>
                <a:lnTo>
                  <a:pt x="3096648" y="5592714"/>
                </a:lnTo>
                <a:cubicBezTo>
                  <a:pt x="3098506" y="5591165"/>
                  <a:pt x="3097887" y="5589307"/>
                  <a:pt x="3099900" y="5587654"/>
                </a:cubicBezTo>
                <a:lnTo>
                  <a:pt x="3102069" y="5590133"/>
                </a:lnTo>
                <a:lnTo>
                  <a:pt x="3103772" y="5589720"/>
                </a:lnTo>
                <a:lnTo>
                  <a:pt x="3104547" y="5583627"/>
                </a:lnTo>
                <a:cubicBezTo>
                  <a:pt x="3105012" y="5581459"/>
                  <a:pt x="3105786" y="5579497"/>
                  <a:pt x="3106561" y="5577845"/>
                </a:cubicBezTo>
                <a:close/>
                <a:moveTo>
                  <a:pt x="3149467" y="5575986"/>
                </a:moveTo>
                <a:cubicBezTo>
                  <a:pt x="3150396" y="5574231"/>
                  <a:pt x="3151016" y="5576813"/>
                  <a:pt x="3151945" y="5575986"/>
                </a:cubicBezTo>
                <a:cubicBezTo>
                  <a:pt x="3149467" y="5582905"/>
                  <a:pt x="3150551" y="5588893"/>
                  <a:pt x="3150551" y="5588893"/>
                </a:cubicBezTo>
                <a:cubicBezTo>
                  <a:pt x="3149622" y="5590649"/>
                  <a:pt x="3148848" y="5590649"/>
                  <a:pt x="3149622" y="5590649"/>
                </a:cubicBezTo>
                <a:cubicBezTo>
                  <a:pt x="3147763" y="5592405"/>
                  <a:pt x="3145905" y="5594882"/>
                  <a:pt x="3144201" y="5594056"/>
                </a:cubicBezTo>
                <a:cubicBezTo>
                  <a:pt x="3139708" y="5589616"/>
                  <a:pt x="3147298" y="5580220"/>
                  <a:pt x="3148383" y="5577742"/>
                </a:cubicBezTo>
                <a:cubicBezTo>
                  <a:pt x="3148383" y="5577742"/>
                  <a:pt x="3148538" y="5576813"/>
                  <a:pt x="3149467" y="5575986"/>
                </a:cubicBezTo>
                <a:close/>
                <a:moveTo>
                  <a:pt x="3516881" y="5573405"/>
                </a:moveTo>
                <a:cubicBezTo>
                  <a:pt x="3517346" y="5574541"/>
                  <a:pt x="3517810" y="5575780"/>
                  <a:pt x="3518120" y="5574954"/>
                </a:cubicBezTo>
                <a:cubicBezTo>
                  <a:pt x="3518585" y="5576193"/>
                  <a:pt x="3518585" y="5577122"/>
                  <a:pt x="3518275" y="5577948"/>
                </a:cubicBezTo>
                <a:cubicBezTo>
                  <a:pt x="3517965" y="5578775"/>
                  <a:pt x="3517501" y="5579394"/>
                  <a:pt x="3516726" y="5579910"/>
                </a:cubicBezTo>
                <a:cubicBezTo>
                  <a:pt x="3515642" y="5580323"/>
                  <a:pt x="3514093" y="5579394"/>
                  <a:pt x="3512234" y="5577329"/>
                </a:cubicBezTo>
                <a:cubicBezTo>
                  <a:pt x="3512234" y="5575470"/>
                  <a:pt x="3515487" y="5574438"/>
                  <a:pt x="3516881" y="5573405"/>
                </a:cubicBezTo>
                <a:close/>
                <a:moveTo>
                  <a:pt x="2704915" y="5573095"/>
                </a:moveTo>
                <a:cubicBezTo>
                  <a:pt x="2706619" y="5572063"/>
                  <a:pt x="2707238" y="5575574"/>
                  <a:pt x="2707858" y="5575986"/>
                </a:cubicBezTo>
                <a:cubicBezTo>
                  <a:pt x="2708013" y="5577225"/>
                  <a:pt x="2708322" y="5578361"/>
                  <a:pt x="2707083" y="5578775"/>
                </a:cubicBezTo>
                <a:cubicBezTo>
                  <a:pt x="2706463" y="5578878"/>
                  <a:pt x="2706154" y="5579187"/>
                  <a:pt x="2705689" y="5579187"/>
                </a:cubicBezTo>
                <a:cubicBezTo>
                  <a:pt x="2705379" y="5579187"/>
                  <a:pt x="2705070" y="5578981"/>
                  <a:pt x="2704605" y="5578155"/>
                </a:cubicBezTo>
                <a:cubicBezTo>
                  <a:pt x="2703830" y="5577742"/>
                  <a:pt x="2703676" y="5576503"/>
                  <a:pt x="2703056" y="5576090"/>
                </a:cubicBezTo>
                <a:cubicBezTo>
                  <a:pt x="2703056" y="5576090"/>
                  <a:pt x="2703211" y="5575470"/>
                  <a:pt x="2703520" y="5574747"/>
                </a:cubicBezTo>
                <a:cubicBezTo>
                  <a:pt x="2703830" y="5574024"/>
                  <a:pt x="2704295" y="5573302"/>
                  <a:pt x="2704915" y="5573095"/>
                </a:cubicBezTo>
                <a:close/>
                <a:moveTo>
                  <a:pt x="3304828" y="5572682"/>
                </a:moveTo>
                <a:cubicBezTo>
                  <a:pt x="3304673" y="5573921"/>
                  <a:pt x="3304518" y="5575160"/>
                  <a:pt x="3304363" y="5576400"/>
                </a:cubicBezTo>
                <a:cubicBezTo>
                  <a:pt x="3302969" y="5577329"/>
                  <a:pt x="3301420" y="5577845"/>
                  <a:pt x="3300026" y="5577845"/>
                </a:cubicBezTo>
                <a:cubicBezTo>
                  <a:pt x="3298787" y="5577948"/>
                  <a:pt x="3297548" y="5577432"/>
                  <a:pt x="3296774" y="5576296"/>
                </a:cubicBezTo>
                <a:cubicBezTo>
                  <a:pt x="3296308" y="5575574"/>
                  <a:pt x="3295999" y="5574541"/>
                  <a:pt x="3296154" y="5573199"/>
                </a:cubicBezTo>
                <a:cubicBezTo>
                  <a:pt x="3298012" y="5571340"/>
                  <a:pt x="3303279" y="5570824"/>
                  <a:pt x="3304828" y="5572682"/>
                </a:cubicBezTo>
                <a:close/>
                <a:moveTo>
                  <a:pt x="2943455" y="5571959"/>
                </a:moveTo>
                <a:cubicBezTo>
                  <a:pt x="2944384" y="5573715"/>
                  <a:pt x="2943610" y="5575367"/>
                  <a:pt x="2942835" y="5577019"/>
                </a:cubicBezTo>
                <a:cubicBezTo>
                  <a:pt x="2942061" y="5578258"/>
                  <a:pt x="2941286" y="5578671"/>
                  <a:pt x="2940357" y="5578568"/>
                </a:cubicBezTo>
                <a:cubicBezTo>
                  <a:pt x="2939582" y="5578361"/>
                  <a:pt x="2938653" y="5577639"/>
                  <a:pt x="2937879" y="5576813"/>
                </a:cubicBezTo>
                <a:cubicBezTo>
                  <a:pt x="2936020" y="5574954"/>
                  <a:pt x="2936794" y="5573302"/>
                  <a:pt x="2936794" y="5573302"/>
                </a:cubicBezTo>
                <a:cubicBezTo>
                  <a:pt x="2938343" y="5570824"/>
                  <a:pt x="2940822" y="5570101"/>
                  <a:pt x="2943455" y="5571959"/>
                </a:cubicBezTo>
                <a:close/>
                <a:moveTo>
                  <a:pt x="2877159" y="5571134"/>
                </a:moveTo>
                <a:cubicBezTo>
                  <a:pt x="2878863" y="5573302"/>
                  <a:pt x="2879793" y="5575367"/>
                  <a:pt x="2880258" y="5577329"/>
                </a:cubicBezTo>
                <a:lnTo>
                  <a:pt x="2879947" y="5582698"/>
                </a:lnTo>
                <a:lnTo>
                  <a:pt x="2880877" y="5582905"/>
                </a:lnTo>
                <a:cubicBezTo>
                  <a:pt x="2883510" y="5583834"/>
                  <a:pt x="2885678" y="5585383"/>
                  <a:pt x="2887537" y="5587345"/>
                </a:cubicBezTo>
                <a:lnTo>
                  <a:pt x="2890325" y="5591372"/>
                </a:lnTo>
                <a:lnTo>
                  <a:pt x="2891100" y="5587654"/>
                </a:lnTo>
                <a:cubicBezTo>
                  <a:pt x="2892649" y="5583524"/>
                  <a:pt x="2895282" y="5579394"/>
                  <a:pt x="2899155" y="5575367"/>
                </a:cubicBezTo>
                <a:cubicBezTo>
                  <a:pt x="2904886" y="5575574"/>
                  <a:pt x="2906280" y="5579910"/>
                  <a:pt x="2905196" y="5584970"/>
                </a:cubicBezTo>
                <a:cubicBezTo>
                  <a:pt x="2903956" y="5591372"/>
                  <a:pt x="2898845" y="5598703"/>
                  <a:pt x="2893733" y="5600355"/>
                </a:cubicBezTo>
                <a:lnTo>
                  <a:pt x="2893269" y="5600355"/>
                </a:lnTo>
                <a:lnTo>
                  <a:pt x="2892959" y="5607273"/>
                </a:lnTo>
                <a:cubicBezTo>
                  <a:pt x="2892649" y="5609751"/>
                  <a:pt x="2891875" y="5612333"/>
                  <a:pt x="2890635" y="5614811"/>
                </a:cubicBezTo>
                <a:cubicBezTo>
                  <a:pt x="2889396" y="5614708"/>
                  <a:pt x="2888312" y="5614708"/>
                  <a:pt x="2888157" y="5615844"/>
                </a:cubicBezTo>
                <a:cubicBezTo>
                  <a:pt x="2880567" y="5616153"/>
                  <a:pt x="2873907" y="5610990"/>
                  <a:pt x="2870499" y="5603969"/>
                </a:cubicBezTo>
                <a:cubicBezTo>
                  <a:pt x="2869260" y="5601387"/>
                  <a:pt x="2868485" y="5598600"/>
                  <a:pt x="2868175" y="5595709"/>
                </a:cubicBezTo>
                <a:lnTo>
                  <a:pt x="2868640" y="5591475"/>
                </a:lnTo>
                <a:lnTo>
                  <a:pt x="2867556" y="5591888"/>
                </a:lnTo>
                <a:cubicBezTo>
                  <a:pt x="2862289" y="5592301"/>
                  <a:pt x="2857023" y="5589513"/>
                  <a:pt x="2855939" y="5581976"/>
                </a:cubicBezTo>
                <a:cubicBezTo>
                  <a:pt x="2858882" y="5575883"/>
                  <a:pt x="2872048" y="5570720"/>
                  <a:pt x="2877159" y="5571134"/>
                </a:cubicBezTo>
                <a:close/>
                <a:moveTo>
                  <a:pt x="3015482" y="5570617"/>
                </a:moveTo>
                <a:cubicBezTo>
                  <a:pt x="3016101" y="5571547"/>
                  <a:pt x="3017650" y="5572579"/>
                  <a:pt x="3018270" y="5574438"/>
                </a:cubicBezTo>
                <a:cubicBezTo>
                  <a:pt x="3017340" y="5575883"/>
                  <a:pt x="3016411" y="5576400"/>
                  <a:pt x="3015637" y="5576503"/>
                </a:cubicBezTo>
                <a:cubicBezTo>
                  <a:pt x="3014862" y="5576503"/>
                  <a:pt x="3014243" y="5575986"/>
                  <a:pt x="3013933" y="5575264"/>
                </a:cubicBezTo>
                <a:cubicBezTo>
                  <a:pt x="3013004" y="5573715"/>
                  <a:pt x="3013313" y="5571340"/>
                  <a:pt x="3015482" y="5570617"/>
                </a:cubicBezTo>
                <a:close/>
                <a:moveTo>
                  <a:pt x="3265639" y="5568965"/>
                </a:moveTo>
                <a:cubicBezTo>
                  <a:pt x="3267188" y="5569894"/>
                  <a:pt x="3267808" y="5572682"/>
                  <a:pt x="3266878" y="5577948"/>
                </a:cubicBezTo>
                <a:lnTo>
                  <a:pt x="3265949" y="5581976"/>
                </a:lnTo>
                <a:lnTo>
                  <a:pt x="3266259" y="5581976"/>
                </a:lnTo>
                <a:cubicBezTo>
                  <a:pt x="3267343" y="5581976"/>
                  <a:pt x="3268427" y="5582388"/>
                  <a:pt x="3269512" y="5583111"/>
                </a:cubicBezTo>
                <a:lnTo>
                  <a:pt x="3272455" y="5587138"/>
                </a:lnTo>
                <a:lnTo>
                  <a:pt x="3286705" y="5586622"/>
                </a:lnTo>
                <a:cubicBezTo>
                  <a:pt x="3293676" y="5586106"/>
                  <a:pt x="3300336" y="5585486"/>
                  <a:pt x="3306532" y="5586106"/>
                </a:cubicBezTo>
                <a:lnTo>
                  <a:pt x="3300801" y="5590029"/>
                </a:lnTo>
                <a:lnTo>
                  <a:pt x="3301420" y="5590546"/>
                </a:lnTo>
                <a:cubicBezTo>
                  <a:pt x="3304518" y="5591372"/>
                  <a:pt x="3307771" y="5587242"/>
                  <a:pt x="3310249" y="5591372"/>
                </a:cubicBezTo>
                <a:cubicBezTo>
                  <a:pt x="3310404" y="5594056"/>
                  <a:pt x="3311488" y="5596741"/>
                  <a:pt x="3310714" y="5599736"/>
                </a:cubicBezTo>
                <a:cubicBezTo>
                  <a:pt x="3310404" y="5600665"/>
                  <a:pt x="3309940" y="5601594"/>
                  <a:pt x="3309165" y="5602627"/>
                </a:cubicBezTo>
                <a:cubicBezTo>
                  <a:pt x="3304209" y="5597877"/>
                  <a:pt x="3299407" y="5596535"/>
                  <a:pt x="3294140" y="5593437"/>
                </a:cubicBezTo>
                <a:lnTo>
                  <a:pt x="3294295" y="5593024"/>
                </a:lnTo>
                <a:lnTo>
                  <a:pt x="3286860" y="5594986"/>
                </a:lnTo>
                <a:lnTo>
                  <a:pt x="3281748" y="5595502"/>
                </a:lnTo>
                <a:lnTo>
                  <a:pt x="3282213" y="5595915"/>
                </a:lnTo>
                <a:cubicBezTo>
                  <a:pt x="3284227" y="5603143"/>
                  <a:pt x="3284072" y="5608822"/>
                  <a:pt x="3277721" y="5611404"/>
                </a:cubicBezTo>
                <a:cubicBezTo>
                  <a:pt x="3277411" y="5610164"/>
                  <a:pt x="3276172" y="5610474"/>
                  <a:pt x="3275088" y="5610681"/>
                </a:cubicBezTo>
                <a:cubicBezTo>
                  <a:pt x="3273539" y="5609442"/>
                  <a:pt x="3272764" y="5607583"/>
                  <a:pt x="3272300" y="5605621"/>
                </a:cubicBezTo>
                <a:lnTo>
                  <a:pt x="3272609" y="5602007"/>
                </a:lnTo>
                <a:lnTo>
                  <a:pt x="3268118" y="5601594"/>
                </a:lnTo>
                <a:cubicBezTo>
                  <a:pt x="3267808" y="5599736"/>
                  <a:pt x="3268118" y="5598187"/>
                  <a:pt x="3268737" y="5596948"/>
                </a:cubicBezTo>
                <a:lnTo>
                  <a:pt x="3268892" y="5596741"/>
                </a:lnTo>
                <a:lnTo>
                  <a:pt x="3263935" y="5597154"/>
                </a:lnTo>
                <a:cubicBezTo>
                  <a:pt x="3264245" y="5595605"/>
                  <a:pt x="3263935" y="5594263"/>
                  <a:pt x="3263935" y="5592817"/>
                </a:cubicBezTo>
                <a:lnTo>
                  <a:pt x="3264245" y="5590443"/>
                </a:lnTo>
                <a:lnTo>
                  <a:pt x="3263316" y="5590339"/>
                </a:lnTo>
                <a:cubicBezTo>
                  <a:pt x="3262231" y="5588377"/>
                  <a:pt x="3261922" y="5586725"/>
                  <a:pt x="3261922" y="5585486"/>
                </a:cubicBezTo>
                <a:lnTo>
                  <a:pt x="3262542" y="5584247"/>
                </a:lnTo>
                <a:lnTo>
                  <a:pt x="3258359" y="5584453"/>
                </a:lnTo>
                <a:cubicBezTo>
                  <a:pt x="3256500" y="5584247"/>
                  <a:pt x="3255261" y="5583731"/>
                  <a:pt x="3254487" y="5582905"/>
                </a:cubicBezTo>
                <a:lnTo>
                  <a:pt x="3253557" y="5581046"/>
                </a:lnTo>
                <a:lnTo>
                  <a:pt x="3252473" y="5582905"/>
                </a:lnTo>
                <a:cubicBezTo>
                  <a:pt x="3251544" y="5583731"/>
                  <a:pt x="3249685" y="5584453"/>
                  <a:pt x="3247516" y="5584867"/>
                </a:cubicBezTo>
                <a:cubicBezTo>
                  <a:pt x="3245503" y="5585280"/>
                  <a:pt x="3243334" y="5585176"/>
                  <a:pt x="3242250" y="5584350"/>
                </a:cubicBezTo>
                <a:cubicBezTo>
                  <a:pt x="3243179" y="5582698"/>
                  <a:pt x="3244264" y="5580943"/>
                  <a:pt x="3245193" y="5579291"/>
                </a:cubicBezTo>
                <a:cubicBezTo>
                  <a:pt x="3245193" y="5580117"/>
                  <a:pt x="3252938" y="5578568"/>
                  <a:pt x="3252938" y="5578568"/>
                </a:cubicBezTo>
                <a:lnTo>
                  <a:pt x="3253712" y="5579910"/>
                </a:lnTo>
                <a:lnTo>
                  <a:pt x="3254487" y="5576296"/>
                </a:lnTo>
                <a:cubicBezTo>
                  <a:pt x="3256965" y="5571547"/>
                  <a:pt x="3262851" y="5566900"/>
                  <a:pt x="3265639" y="5568965"/>
                </a:cubicBezTo>
                <a:close/>
                <a:moveTo>
                  <a:pt x="2820467" y="5567726"/>
                </a:moveTo>
                <a:cubicBezTo>
                  <a:pt x="2823255" y="5571237"/>
                  <a:pt x="2826198" y="5574747"/>
                  <a:pt x="2828987" y="5578361"/>
                </a:cubicBezTo>
                <a:cubicBezTo>
                  <a:pt x="2829761" y="5586828"/>
                  <a:pt x="2824030" y="5593747"/>
                  <a:pt x="2816905" y="5595089"/>
                </a:cubicBezTo>
                <a:cubicBezTo>
                  <a:pt x="2815666" y="5595295"/>
                  <a:pt x="2814426" y="5595295"/>
                  <a:pt x="2813187" y="5595192"/>
                </a:cubicBezTo>
                <a:cubicBezTo>
                  <a:pt x="2811948" y="5595089"/>
                  <a:pt x="2810709" y="5594779"/>
                  <a:pt x="2809470" y="5594366"/>
                </a:cubicBezTo>
                <a:cubicBezTo>
                  <a:pt x="2806062" y="5593024"/>
                  <a:pt x="2802809" y="5590339"/>
                  <a:pt x="2800021" y="5586003"/>
                </a:cubicBezTo>
                <a:cubicBezTo>
                  <a:pt x="2799556" y="5583834"/>
                  <a:pt x="2800021" y="5581459"/>
                  <a:pt x="2801105" y="5579187"/>
                </a:cubicBezTo>
                <a:cubicBezTo>
                  <a:pt x="2804668" y="5572269"/>
                  <a:pt x="2814426" y="5565971"/>
                  <a:pt x="2820467" y="5567726"/>
                </a:cubicBezTo>
                <a:close/>
                <a:moveTo>
                  <a:pt x="2964521" y="5567519"/>
                </a:moveTo>
                <a:cubicBezTo>
                  <a:pt x="2964831" y="5569894"/>
                  <a:pt x="2970252" y="5569069"/>
                  <a:pt x="2970872" y="5572682"/>
                </a:cubicBezTo>
                <a:cubicBezTo>
                  <a:pt x="2973814" y="5583111"/>
                  <a:pt x="2970872" y="5584557"/>
                  <a:pt x="2965450" y="5588584"/>
                </a:cubicBezTo>
                <a:cubicBezTo>
                  <a:pt x="2965915" y="5587861"/>
                  <a:pt x="2964831" y="5588171"/>
                  <a:pt x="2964831" y="5588171"/>
                </a:cubicBezTo>
                <a:cubicBezTo>
                  <a:pt x="2962507" y="5588790"/>
                  <a:pt x="2966070" y="5592198"/>
                  <a:pt x="2963127" y="5593540"/>
                </a:cubicBezTo>
                <a:cubicBezTo>
                  <a:pt x="2962043" y="5594056"/>
                  <a:pt x="2960803" y="5594056"/>
                  <a:pt x="2959719" y="5593850"/>
                </a:cubicBezTo>
                <a:lnTo>
                  <a:pt x="2954453" y="5600872"/>
                </a:lnTo>
                <a:cubicBezTo>
                  <a:pt x="2951974" y="5602833"/>
                  <a:pt x="2949186" y="5604176"/>
                  <a:pt x="2946553" y="5604382"/>
                </a:cubicBezTo>
                <a:cubicBezTo>
                  <a:pt x="2945004" y="5598083"/>
                  <a:pt x="2944539" y="5592817"/>
                  <a:pt x="2945933" y="5588377"/>
                </a:cubicBezTo>
                <a:lnTo>
                  <a:pt x="2949031" y="5583627"/>
                </a:lnTo>
                <a:lnTo>
                  <a:pt x="2948722" y="5582698"/>
                </a:lnTo>
                <a:cubicBezTo>
                  <a:pt x="2948567" y="5581769"/>
                  <a:pt x="2949031" y="5581253"/>
                  <a:pt x="2950115" y="5580943"/>
                </a:cubicBezTo>
                <a:cubicBezTo>
                  <a:pt x="2950890" y="5580426"/>
                  <a:pt x="2951665" y="5580426"/>
                  <a:pt x="2952284" y="5580633"/>
                </a:cubicBezTo>
                <a:lnTo>
                  <a:pt x="2952439" y="5580633"/>
                </a:lnTo>
                <a:lnTo>
                  <a:pt x="2957241" y="5577742"/>
                </a:lnTo>
                <a:lnTo>
                  <a:pt x="2958325" y="5574747"/>
                </a:lnTo>
                <a:lnTo>
                  <a:pt x="2959719" y="5571856"/>
                </a:lnTo>
                <a:lnTo>
                  <a:pt x="2958790" y="5572579"/>
                </a:lnTo>
                <a:cubicBezTo>
                  <a:pt x="2955227" y="5574747"/>
                  <a:pt x="2949496" y="5575677"/>
                  <a:pt x="2946398" y="5571547"/>
                </a:cubicBezTo>
                <a:cubicBezTo>
                  <a:pt x="2949496" y="5568242"/>
                  <a:pt x="2952129" y="5567519"/>
                  <a:pt x="2954453" y="5567726"/>
                </a:cubicBezTo>
                <a:lnTo>
                  <a:pt x="2961113" y="5570101"/>
                </a:lnTo>
                <a:close/>
                <a:moveTo>
                  <a:pt x="2836422" y="5566177"/>
                </a:moveTo>
                <a:cubicBezTo>
                  <a:pt x="2839520" y="5565351"/>
                  <a:pt x="2843237" y="5566900"/>
                  <a:pt x="2844167" y="5571547"/>
                </a:cubicBezTo>
                <a:cubicBezTo>
                  <a:pt x="2842153" y="5574747"/>
                  <a:pt x="2839829" y="5576296"/>
                  <a:pt x="2838280" y="5577639"/>
                </a:cubicBezTo>
                <a:cubicBezTo>
                  <a:pt x="2836422" y="5576400"/>
                  <a:pt x="2834563" y="5576090"/>
                  <a:pt x="2832704" y="5574954"/>
                </a:cubicBezTo>
                <a:cubicBezTo>
                  <a:pt x="2830845" y="5570101"/>
                  <a:pt x="2833324" y="5566900"/>
                  <a:pt x="2836422" y="5566177"/>
                </a:cubicBezTo>
                <a:close/>
                <a:moveTo>
                  <a:pt x="3111827" y="5565145"/>
                </a:moveTo>
                <a:lnTo>
                  <a:pt x="3113221" y="5568758"/>
                </a:lnTo>
                <a:lnTo>
                  <a:pt x="3113376" y="5568242"/>
                </a:lnTo>
                <a:cubicBezTo>
                  <a:pt x="3119572" y="5575264"/>
                  <a:pt x="3117249" y="5586622"/>
                  <a:pt x="3114461" y="5591578"/>
                </a:cubicBezTo>
                <a:cubicBezTo>
                  <a:pt x="3111517" y="5588171"/>
                  <a:pt x="3110123" y="5583318"/>
                  <a:pt x="3110123" y="5578878"/>
                </a:cubicBezTo>
                <a:lnTo>
                  <a:pt x="3110588" y="5574644"/>
                </a:lnTo>
                <a:lnTo>
                  <a:pt x="3107645" y="5573818"/>
                </a:lnTo>
                <a:cubicBezTo>
                  <a:pt x="3105631" y="5572889"/>
                  <a:pt x="3103772" y="5571650"/>
                  <a:pt x="3102069" y="5570720"/>
                </a:cubicBezTo>
                <a:cubicBezTo>
                  <a:pt x="3105322" y="5569172"/>
                  <a:pt x="3108729" y="5571030"/>
                  <a:pt x="3111827" y="5565145"/>
                </a:cubicBezTo>
                <a:close/>
                <a:moveTo>
                  <a:pt x="2727685" y="5565042"/>
                </a:moveTo>
                <a:lnTo>
                  <a:pt x="2728304" y="5565454"/>
                </a:lnTo>
                <a:lnTo>
                  <a:pt x="2728769" y="5565248"/>
                </a:lnTo>
                <a:cubicBezTo>
                  <a:pt x="2729698" y="5565145"/>
                  <a:pt x="2730782" y="5565351"/>
                  <a:pt x="2731557" y="5565351"/>
                </a:cubicBezTo>
                <a:cubicBezTo>
                  <a:pt x="2732176" y="5563492"/>
                  <a:pt x="2735119" y="5566797"/>
                  <a:pt x="2735739" y="5565042"/>
                </a:cubicBezTo>
                <a:cubicBezTo>
                  <a:pt x="2739456" y="5568346"/>
                  <a:pt x="2743019" y="5563699"/>
                  <a:pt x="2749370" y="5567726"/>
                </a:cubicBezTo>
                <a:cubicBezTo>
                  <a:pt x="2747356" y="5568552"/>
                  <a:pt x="2745498" y="5568965"/>
                  <a:pt x="2743794" y="5569069"/>
                </a:cubicBezTo>
                <a:cubicBezTo>
                  <a:pt x="2741006" y="5569378"/>
                  <a:pt x="2738682" y="5569172"/>
                  <a:pt x="2736514" y="5569069"/>
                </a:cubicBezTo>
                <a:lnTo>
                  <a:pt x="2730937" y="5569688"/>
                </a:lnTo>
                <a:lnTo>
                  <a:pt x="2730008" y="5571340"/>
                </a:lnTo>
                <a:cubicBezTo>
                  <a:pt x="2729388" y="5572166"/>
                  <a:pt x="2728924" y="5572682"/>
                  <a:pt x="2728304" y="5572992"/>
                </a:cubicBezTo>
                <a:cubicBezTo>
                  <a:pt x="2727839" y="5573302"/>
                  <a:pt x="2727220" y="5573302"/>
                  <a:pt x="2726755" y="5573095"/>
                </a:cubicBezTo>
                <a:cubicBezTo>
                  <a:pt x="2726445" y="5572992"/>
                  <a:pt x="2725981" y="5572579"/>
                  <a:pt x="2725671" y="5572166"/>
                </a:cubicBezTo>
                <a:cubicBezTo>
                  <a:pt x="2724122" y="5569791"/>
                  <a:pt x="2724432" y="5564628"/>
                  <a:pt x="2727685" y="5565042"/>
                </a:cubicBezTo>
                <a:close/>
                <a:moveTo>
                  <a:pt x="3314645" y="5562847"/>
                </a:moveTo>
                <a:cubicBezTo>
                  <a:pt x="3316291" y="5563234"/>
                  <a:pt x="3317375" y="5564835"/>
                  <a:pt x="3315051" y="5568242"/>
                </a:cubicBezTo>
                <a:cubicBezTo>
                  <a:pt x="3312108" y="5566900"/>
                  <a:pt x="3311024" y="5565661"/>
                  <a:pt x="3310869" y="5564732"/>
                </a:cubicBezTo>
                <a:cubicBezTo>
                  <a:pt x="3310792" y="5563286"/>
                  <a:pt x="3312999" y="5562460"/>
                  <a:pt x="3314645" y="5562847"/>
                </a:cubicBezTo>
                <a:close/>
                <a:moveTo>
                  <a:pt x="3123135" y="5562253"/>
                </a:moveTo>
                <a:cubicBezTo>
                  <a:pt x="3123754" y="5563183"/>
                  <a:pt x="3124374" y="5564215"/>
                  <a:pt x="3125148" y="5565145"/>
                </a:cubicBezTo>
                <a:cubicBezTo>
                  <a:pt x="3121121" y="5569172"/>
                  <a:pt x="3120347" y="5573509"/>
                  <a:pt x="3117404" y="5576813"/>
                </a:cubicBezTo>
                <a:cubicBezTo>
                  <a:pt x="3116474" y="5572269"/>
                  <a:pt x="3115235" y="5564215"/>
                  <a:pt x="3123135" y="5562253"/>
                </a:cubicBezTo>
                <a:close/>
                <a:moveTo>
                  <a:pt x="3557619" y="5561324"/>
                </a:moveTo>
                <a:cubicBezTo>
                  <a:pt x="3565209" y="5568346"/>
                  <a:pt x="3572644" y="5569172"/>
                  <a:pt x="3579924" y="5578775"/>
                </a:cubicBezTo>
                <a:cubicBezTo>
                  <a:pt x="3578995" y="5579187"/>
                  <a:pt x="3578065" y="5579394"/>
                  <a:pt x="3576826" y="5579394"/>
                </a:cubicBezTo>
                <a:cubicBezTo>
                  <a:pt x="3575587" y="5579394"/>
                  <a:pt x="3574348" y="5579084"/>
                  <a:pt x="3572953" y="5578775"/>
                </a:cubicBezTo>
                <a:cubicBezTo>
                  <a:pt x="3565054" y="5576400"/>
                  <a:pt x="3555450" y="5568036"/>
                  <a:pt x="3557619" y="5561324"/>
                </a:cubicBezTo>
                <a:close/>
                <a:moveTo>
                  <a:pt x="2944694" y="5561221"/>
                </a:moveTo>
                <a:cubicBezTo>
                  <a:pt x="2944229" y="5561944"/>
                  <a:pt x="2944229" y="5561944"/>
                  <a:pt x="2944229" y="5561944"/>
                </a:cubicBezTo>
                <a:cubicBezTo>
                  <a:pt x="2944384" y="5563183"/>
                  <a:pt x="2944849" y="5562357"/>
                  <a:pt x="2945624" y="5562770"/>
                </a:cubicBezTo>
                <a:cubicBezTo>
                  <a:pt x="2945624" y="5562770"/>
                  <a:pt x="2944849" y="5562357"/>
                  <a:pt x="2946088" y="5562047"/>
                </a:cubicBezTo>
                <a:cubicBezTo>
                  <a:pt x="2945624" y="5562770"/>
                  <a:pt x="2946243" y="5563286"/>
                  <a:pt x="2947018" y="5563699"/>
                </a:cubicBezTo>
                <a:cubicBezTo>
                  <a:pt x="2947327" y="5566074"/>
                  <a:pt x="2947327" y="5569275"/>
                  <a:pt x="2945624" y="5570411"/>
                </a:cubicBezTo>
                <a:cubicBezTo>
                  <a:pt x="2943300" y="5571030"/>
                  <a:pt x="2942371" y="5569378"/>
                  <a:pt x="2942061" y="5568139"/>
                </a:cubicBezTo>
                <a:cubicBezTo>
                  <a:pt x="2941286" y="5567107"/>
                  <a:pt x="2941441" y="5565868"/>
                  <a:pt x="2942061" y="5564628"/>
                </a:cubicBezTo>
                <a:cubicBezTo>
                  <a:pt x="2942680" y="5563286"/>
                  <a:pt x="2943610" y="5562150"/>
                  <a:pt x="2944694" y="5561221"/>
                </a:cubicBezTo>
                <a:close/>
                <a:moveTo>
                  <a:pt x="2835802" y="5560085"/>
                </a:moveTo>
                <a:cubicBezTo>
                  <a:pt x="2835802" y="5560085"/>
                  <a:pt x="2835802" y="5560085"/>
                  <a:pt x="2837661" y="5561737"/>
                </a:cubicBezTo>
                <a:lnTo>
                  <a:pt x="2837816" y="5562563"/>
                </a:lnTo>
                <a:cubicBezTo>
                  <a:pt x="2837661" y="5562976"/>
                  <a:pt x="2837041" y="5563286"/>
                  <a:pt x="2836112" y="5563389"/>
                </a:cubicBezTo>
                <a:cubicBezTo>
                  <a:pt x="2834718" y="5563596"/>
                  <a:pt x="2832859" y="5563492"/>
                  <a:pt x="2831155" y="5563389"/>
                </a:cubicBezTo>
                <a:cubicBezTo>
                  <a:pt x="2829606" y="5563286"/>
                  <a:pt x="2828212" y="5563080"/>
                  <a:pt x="2827902" y="5563080"/>
                </a:cubicBezTo>
                <a:cubicBezTo>
                  <a:pt x="2827902" y="5563080"/>
                  <a:pt x="2826973" y="5563183"/>
                  <a:pt x="2826198" y="5563286"/>
                </a:cubicBezTo>
                <a:cubicBezTo>
                  <a:pt x="2825269" y="5562460"/>
                  <a:pt x="2825114" y="5561531"/>
                  <a:pt x="2824340" y="5561634"/>
                </a:cubicBezTo>
                <a:cubicBezTo>
                  <a:pt x="2826508" y="5558949"/>
                  <a:pt x="2828987" y="5559672"/>
                  <a:pt x="2831620" y="5560291"/>
                </a:cubicBezTo>
                <a:cubicBezTo>
                  <a:pt x="2833324" y="5561118"/>
                  <a:pt x="2834253" y="5561014"/>
                  <a:pt x="2835802" y="5560085"/>
                </a:cubicBezTo>
                <a:close/>
                <a:moveTo>
                  <a:pt x="2787164" y="5559259"/>
                </a:moveTo>
                <a:cubicBezTo>
                  <a:pt x="2778800" y="5563596"/>
                  <a:pt x="2776012" y="5570617"/>
                  <a:pt x="2765479" y="5573405"/>
                </a:cubicBezTo>
                <a:cubicBezTo>
                  <a:pt x="2764240" y="5564732"/>
                  <a:pt x="2779885" y="5552547"/>
                  <a:pt x="2787164" y="5559259"/>
                </a:cubicBezTo>
                <a:close/>
                <a:moveTo>
                  <a:pt x="2999992" y="5558846"/>
                </a:moveTo>
                <a:cubicBezTo>
                  <a:pt x="3004329" y="5561324"/>
                  <a:pt x="3003865" y="5567829"/>
                  <a:pt x="2999682" y="5568965"/>
                </a:cubicBezTo>
                <a:cubicBezTo>
                  <a:pt x="2998598" y="5568346"/>
                  <a:pt x="2996739" y="5567933"/>
                  <a:pt x="2995345" y="5566487"/>
                </a:cubicBezTo>
                <a:cubicBezTo>
                  <a:pt x="2994881" y="5562047"/>
                  <a:pt x="2996739" y="5559775"/>
                  <a:pt x="2999992" y="5558846"/>
                </a:cubicBezTo>
                <a:close/>
                <a:moveTo>
                  <a:pt x="2890945" y="5554200"/>
                </a:moveTo>
                <a:cubicBezTo>
                  <a:pt x="2890790" y="5558226"/>
                  <a:pt x="2890635" y="5562253"/>
                  <a:pt x="2889861" y="5566280"/>
                </a:cubicBezTo>
                <a:cubicBezTo>
                  <a:pt x="2889086" y="5570308"/>
                  <a:pt x="2887692" y="5574438"/>
                  <a:pt x="2884439" y="5578568"/>
                </a:cubicBezTo>
                <a:cubicBezTo>
                  <a:pt x="2878244" y="5570927"/>
                  <a:pt x="2885989" y="5559156"/>
                  <a:pt x="2890945" y="5554200"/>
                </a:cubicBezTo>
                <a:close/>
                <a:moveTo>
                  <a:pt x="3079454" y="5549966"/>
                </a:moveTo>
                <a:cubicBezTo>
                  <a:pt x="3082397" y="5550173"/>
                  <a:pt x="3084565" y="5552031"/>
                  <a:pt x="3084720" y="5555129"/>
                </a:cubicBezTo>
                <a:cubicBezTo>
                  <a:pt x="3083946" y="5556781"/>
                  <a:pt x="3082087" y="5556884"/>
                  <a:pt x="3080228" y="5557090"/>
                </a:cubicBezTo>
                <a:cubicBezTo>
                  <a:pt x="3078834" y="5556987"/>
                  <a:pt x="3077905" y="5556471"/>
                  <a:pt x="3077440" y="5555645"/>
                </a:cubicBezTo>
                <a:cubicBezTo>
                  <a:pt x="3077130" y="5554819"/>
                  <a:pt x="3077130" y="5553683"/>
                  <a:pt x="3077285" y="5552547"/>
                </a:cubicBezTo>
                <a:cubicBezTo>
                  <a:pt x="3077595" y="5550173"/>
                  <a:pt x="3079454" y="5549966"/>
                  <a:pt x="3079454" y="5549966"/>
                </a:cubicBezTo>
                <a:close/>
                <a:moveTo>
                  <a:pt x="2878708" y="5549656"/>
                </a:moveTo>
                <a:cubicBezTo>
                  <a:pt x="2880258" y="5548727"/>
                  <a:pt x="2883046" y="5551205"/>
                  <a:pt x="2884904" y="5551928"/>
                </a:cubicBezTo>
                <a:cubicBezTo>
                  <a:pt x="2884130" y="5552857"/>
                  <a:pt x="2883355" y="5553786"/>
                  <a:pt x="2884285" y="5553786"/>
                </a:cubicBezTo>
                <a:cubicBezTo>
                  <a:pt x="2883510" y="5554716"/>
                  <a:pt x="2882735" y="5555129"/>
                  <a:pt x="2881961" y="5555335"/>
                </a:cubicBezTo>
                <a:cubicBezTo>
                  <a:pt x="2881187" y="5555439"/>
                  <a:pt x="2880258" y="5555335"/>
                  <a:pt x="2879483" y="5554922"/>
                </a:cubicBezTo>
                <a:cubicBezTo>
                  <a:pt x="2878399" y="5554096"/>
                  <a:pt x="2878244" y="5552341"/>
                  <a:pt x="2878708" y="5549656"/>
                </a:cubicBezTo>
                <a:close/>
                <a:moveTo>
                  <a:pt x="3366477" y="5549140"/>
                </a:moveTo>
                <a:lnTo>
                  <a:pt x="3356873" y="5550276"/>
                </a:lnTo>
                <a:lnTo>
                  <a:pt x="3359661" y="5551308"/>
                </a:lnTo>
                <a:lnTo>
                  <a:pt x="3363689" y="5555748"/>
                </a:lnTo>
                <a:lnTo>
                  <a:pt x="3363689" y="5555439"/>
                </a:lnTo>
                <a:close/>
                <a:moveTo>
                  <a:pt x="3105167" y="5546765"/>
                </a:moveTo>
                <a:cubicBezTo>
                  <a:pt x="3114925" y="5553683"/>
                  <a:pt x="3111517" y="5561324"/>
                  <a:pt x="3105012" y="5560188"/>
                </a:cubicBezTo>
                <a:cubicBezTo>
                  <a:pt x="3102843" y="5559879"/>
                  <a:pt x="3100365" y="5558536"/>
                  <a:pt x="3098041" y="5555852"/>
                </a:cubicBezTo>
                <a:cubicBezTo>
                  <a:pt x="3096957" y="5551515"/>
                  <a:pt x="3101759" y="5545732"/>
                  <a:pt x="3105167" y="5546765"/>
                </a:cubicBezTo>
                <a:close/>
                <a:moveTo>
                  <a:pt x="2612441" y="5545836"/>
                </a:moveTo>
                <a:cubicBezTo>
                  <a:pt x="2616314" y="5545836"/>
                  <a:pt x="2615230" y="5545423"/>
                  <a:pt x="2618792" y="5547385"/>
                </a:cubicBezTo>
                <a:cubicBezTo>
                  <a:pt x="2617708" y="5549656"/>
                  <a:pt x="2616779" y="5552031"/>
                  <a:pt x="2615849" y="5554406"/>
                </a:cubicBezTo>
                <a:cubicBezTo>
                  <a:pt x="2614455" y="5553270"/>
                  <a:pt x="2612441" y="5553270"/>
                  <a:pt x="2611357" y="5552857"/>
                </a:cubicBezTo>
                <a:cubicBezTo>
                  <a:pt x="2610428" y="5550482"/>
                  <a:pt x="2610737" y="5548623"/>
                  <a:pt x="2612441" y="5545836"/>
                </a:cubicBezTo>
                <a:close/>
                <a:moveTo>
                  <a:pt x="2745188" y="5544493"/>
                </a:moveTo>
                <a:cubicBezTo>
                  <a:pt x="2745652" y="5543771"/>
                  <a:pt x="2748750" y="5544700"/>
                  <a:pt x="2749060" y="5545836"/>
                </a:cubicBezTo>
                <a:cubicBezTo>
                  <a:pt x="2750144" y="5548727"/>
                  <a:pt x="2747356" y="5550069"/>
                  <a:pt x="2744723" y="5552547"/>
                </a:cubicBezTo>
                <a:cubicBezTo>
                  <a:pt x="2744568" y="5551412"/>
                  <a:pt x="2743329" y="5551721"/>
                  <a:pt x="2742245" y="5552031"/>
                </a:cubicBezTo>
                <a:cubicBezTo>
                  <a:pt x="2741935" y="5550276"/>
                  <a:pt x="2741006" y="5547591"/>
                  <a:pt x="2742554" y="5545836"/>
                </a:cubicBezTo>
                <a:cubicBezTo>
                  <a:pt x="2743174" y="5545216"/>
                  <a:pt x="2743949" y="5544803"/>
                  <a:pt x="2745188" y="5544493"/>
                </a:cubicBezTo>
                <a:close/>
                <a:moveTo>
                  <a:pt x="2920066" y="5542635"/>
                </a:moveTo>
                <a:cubicBezTo>
                  <a:pt x="2919756" y="5545113"/>
                  <a:pt x="2920530" y="5545939"/>
                  <a:pt x="2919601" y="5545836"/>
                </a:cubicBezTo>
                <a:cubicBezTo>
                  <a:pt x="2919601" y="5546249"/>
                  <a:pt x="2919291" y="5546558"/>
                  <a:pt x="2919136" y="5546558"/>
                </a:cubicBezTo>
                <a:cubicBezTo>
                  <a:pt x="2918981" y="5546558"/>
                  <a:pt x="2918826" y="5546249"/>
                  <a:pt x="2918826" y="5545836"/>
                </a:cubicBezTo>
                <a:cubicBezTo>
                  <a:pt x="2917278" y="5545010"/>
                  <a:pt x="2919136" y="5543357"/>
                  <a:pt x="2920066" y="5542635"/>
                </a:cubicBezTo>
                <a:close/>
                <a:moveTo>
                  <a:pt x="3006808" y="5541912"/>
                </a:moveTo>
                <a:cubicBezTo>
                  <a:pt x="3007737" y="5542428"/>
                  <a:pt x="3008821" y="5542428"/>
                  <a:pt x="3009750" y="5542635"/>
                </a:cubicBezTo>
                <a:lnTo>
                  <a:pt x="3012693" y="5543874"/>
                </a:lnTo>
                <a:lnTo>
                  <a:pt x="3013468" y="5543564"/>
                </a:lnTo>
                <a:cubicBezTo>
                  <a:pt x="3020903" y="5553477"/>
                  <a:pt x="3018425" y="5557504"/>
                  <a:pt x="3013933" y="5558020"/>
                </a:cubicBezTo>
                <a:cubicBezTo>
                  <a:pt x="3011145" y="5558330"/>
                  <a:pt x="3007582" y="5557400"/>
                  <a:pt x="3005414" y="5555645"/>
                </a:cubicBezTo>
                <a:lnTo>
                  <a:pt x="3004639" y="5554716"/>
                </a:lnTo>
                <a:lnTo>
                  <a:pt x="3003400" y="5555439"/>
                </a:lnTo>
                <a:cubicBezTo>
                  <a:pt x="3001386" y="5555542"/>
                  <a:pt x="2999372" y="5554819"/>
                  <a:pt x="2997204" y="5552960"/>
                </a:cubicBezTo>
                <a:cubicBezTo>
                  <a:pt x="2996275" y="5548623"/>
                  <a:pt x="3001076" y="5546352"/>
                  <a:pt x="3003555" y="5544700"/>
                </a:cubicBezTo>
                <a:lnTo>
                  <a:pt x="3004639" y="5545939"/>
                </a:lnTo>
                <a:lnTo>
                  <a:pt x="3005259" y="5544184"/>
                </a:lnTo>
                <a:cubicBezTo>
                  <a:pt x="3005723" y="5543461"/>
                  <a:pt x="3006188" y="5542738"/>
                  <a:pt x="3006808" y="5541912"/>
                </a:cubicBezTo>
                <a:close/>
                <a:moveTo>
                  <a:pt x="2932612" y="5539847"/>
                </a:moveTo>
                <a:cubicBezTo>
                  <a:pt x="2934006" y="5540673"/>
                  <a:pt x="2935865" y="5540776"/>
                  <a:pt x="2936639" y="5542428"/>
                </a:cubicBezTo>
                <a:cubicBezTo>
                  <a:pt x="2937104" y="5544803"/>
                  <a:pt x="2934006" y="5548108"/>
                  <a:pt x="2932458" y="5549140"/>
                </a:cubicBezTo>
                <a:cubicBezTo>
                  <a:pt x="2930134" y="5549863"/>
                  <a:pt x="2928585" y="5547694"/>
                  <a:pt x="2928120" y="5545319"/>
                </a:cubicBezTo>
                <a:cubicBezTo>
                  <a:pt x="2927656" y="5544597"/>
                  <a:pt x="2927811" y="5543667"/>
                  <a:pt x="2928275" y="5542738"/>
                </a:cubicBezTo>
                <a:cubicBezTo>
                  <a:pt x="2928740" y="5541809"/>
                  <a:pt x="2929514" y="5540983"/>
                  <a:pt x="2930289" y="5540466"/>
                </a:cubicBezTo>
                <a:cubicBezTo>
                  <a:pt x="2931528" y="5540156"/>
                  <a:pt x="2931528" y="5540156"/>
                  <a:pt x="2932612" y="5539847"/>
                </a:cubicBezTo>
                <a:close/>
                <a:moveTo>
                  <a:pt x="3113686" y="5537162"/>
                </a:moveTo>
                <a:cubicBezTo>
                  <a:pt x="3117249" y="5535820"/>
                  <a:pt x="3120037" y="5536130"/>
                  <a:pt x="3122051" y="5537369"/>
                </a:cubicBezTo>
                <a:cubicBezTo>
                  <a:pt x="3123599" y="5538298"/>
                  <a:pt x="3124529" y="5539744"/>
                  <a:pt x="3125303" y="5541499"/>
                </a:cubicBezTo>
                <a:lnTo>
                  <a:pt x="3125458" y="5543254"/>
                </a:lnTo>
                <a:cubicBezTo>
                  <a:pt x="3128556" y="5542532"/>
                  <a:pt x="3132429" y="5544184"/>
                  <a:pt x="3133977" y="5548830"/>
                </a:cubicBezTo>
                <a:cubicBezTo>
                  <a:pt x="3132429" y="5552031"/>
                  <a:pt x="3130415" y="5553477"/>
                  <a:pt x="3129176" y="5554819"/>
                </a:cubicBezTo>
                <a:lnTo>
                  <a:pt x="3123754" y="5552238"/>
                </a:lnTo>
                <a:lnTo>
                  <a:pt x="3118797" y="5555129"/>
                </a:lnTo>
                <a:cubicBezTo>
                  <a:pt x="3113221" y="5552444"/>
                  <a:pt x="3111362" y="5541499"/>
                  <a:pt x="3113686" y="5537162"/>
                </a:cubicBezTo>
                <a:close/>
                <a:moveTo>
                  <a:pt x="3047855" y="5535407"/>
                </a:moveTo>
                <a:cubicBezTo>
                  <a:pt x="3049559" y="5537369"/>
                  <a:pt x="3050179" y="5539227"/>
                  <a:pt x="3049559" y="5541086"/>
                </a:cubicBezTo>
                <a:cubicBezTo>
                  <a:pt x="3049094" y="5542841"/>
                  <a:pt x="3047545" y="5544700"/>
                  <a:pt x="3045067" y="5546765"/>
                </a:cubicBezTo>
                <a:cubicBezTo>
                  <a:pt x="3043982" y="5545732"/>
                  <a:pt x="3043518" y="5544803"/>
                  <a:pt x="3043363" y="5543874"/>
                </a:cubicBezTo>
                <a:cubicBezTo>
                  <a:pt x="3042898" y="5541189"/>
                  <a:pt x="3045996" y="5538608"/>
                  <a:pt x="3047855" y="5535407"/>
                </a:cubicBezTo>
                <a:close/>
                <a:moveTo>
                  <a:pt x="2878708" y="5534994"/>
                </a:moveTo>
                <a:cubicBezTo>
                  <a:pt x="2880567" y="5536130"/>
                  <a:pt x="2881806" y="5538091"/>
                  <a:pt x="2881806" y="5541292"/>
                </a:cubicBezTo>
                <a:cubicBezTo>
                  <a:pt x="2881497" y="5546042"/>
                  <a:pt x="2879328" y="5548623"/>
                  <a:pt x="2876075" y="5550069"/>
                </a:cubicBezTo>
                <a:lnTo>
                  <a:pt x="2875920" y="5550173"/>
                </a:lnTo>
                <a:lnTo>
                  <a:pt x="2875610" y="5550689"/>
                </a:lnTo>
                <a:lnTo>
                  <a:pt x="2872822" y="5550895"/>
                </a:lnTo>
                <a:lnTo>
                  <a:pt x="2870499" y="5551515"/>
                </a:lnTo>
                <a:cubicBezTo>
                  <a:pt x="2868485" y="5551721"/>
                  <a:pt x="2866162" y="5551721"/>
                  <a:pt x="2863838" y="5551721"/>
                </a:cubicBezTo>
                <a:cubicBezTo>
                  <a:pt x="2862909" y="5548211"/>
                  <a:pt x="2860740" y="5545836"/>
                  <a:pt x="2859811" y="5542325"/>
                </a:cubicBezTo>
                <a:cubicBezTo>
                  <a:pt x="2861979" y="5537059"/>
                  <a:pt x="2873132" y="5531896"/>
                  <a:pt x="2878708" y="5534994"/>
                </a:cubicBezTo>
                <a:close/>
                <a:moveTo>
                  <a:pt x="2995190" y="5532619"/>
                </a:moveTo>
                <a:cubicBezTo>
                  <a:pt x="2995500" y="5533961"/>
                  <a:pt x="2992248" y="5538505"/>
                  <a:pt x="2989614" y="5539124"/>
                </a:cubicBezTo>
                <a:cubicBezTo>
                  <a:pt x="2988840" y="5539331"/>
                  <a:pt x="2988065" y="5539021"/>
                  <a:pt x="2987601" y="5538091"/>
                </a:cubicBezTo>
                <a:cubicBezTo>
                  <a:pt x="2986516" y="5534581"/>
                  <a:pt x="2993641" y="5531689"/>
                  <a:pt x="2995190" y="5532619"/>
                </a:cubicBezTo>
                <a:close/>
                <a:moveTo>
                  <a:pt x="2656122" y="5531277"/>
                </a:moveTo>
                <a:cubicBezTo>
                  <a:pt x="2659685" y="5530554"/>
                  <a:pt x="2660924" y="5530760"/>
                  <a:pt x="2664332" y="5532516"/>
                </a:cubicBezTo>
                <a:cubicBezTo>
                  <a:pt x="2665726" y="5538195"/>
                  <a:pt x="2663557" y="5542222"/>
                  <a:pt x="2661389" y="5546249"/>
                </a:cubicBezTo>
                <a:cubicBezTo>
                  <a:pt x="2660150" y="5546455"/>
                  <a:pt x="2658910" y="5546455"/>
                  <a:pt x="2657981" y="5546352"/>
                </a:cubicBezTo>
                <a:cubicBezTo>
                  <a:pt x="2651630" y="5545629"/>
                  <a:pt x="2655658" y="5536646"/>
                  <a:pt x="2656122" y="5531277"/>
                </a:cubicBezTo>
                <a:close/>
                <a:moveTo>
                  <a:pt x="3548790" y="5530967"/>
                </a:moveTo>
                <a:cubicBezTo>
                  <a:pt x="3550493" y="5532722"/>
                  <a:pt x="3552197" y="5534478"/>
                  <a:pt x="3550649" y="5536026"/>
                </a:cubicBezTo>
                <a:cubicBezTo>
                  <a:pt x="3548945" y="5535200"/>
                  <a:pt x="3548170" y="5535923"/>
                  <a:pt x="3546466" y="5533342"/>
                </a:cubicBezTo>
                <a:cubicBezTo>
                  <a:pt x="3547241" y="5532516"/>
                  <a:pt x="3548015" y="5531793"/>
                  <a:pt x="3548790" y="5530967"/>
                </a:cubicBezTo>
                <a:close/>
                <a:moveTo>
                  <a:pt x="2732486" y="5528902"/>
                </a:moveTo>
                <a:cubicBezTo>
                  <a:pt x="2736049" y="5529624"/>
                  <a:pt x="2737133" y="5530141"/>
                  <a:pt x="2739456" y="5533032"/>
                </a:cubicBezTo>
                <a:cubicBezTo>
                  <a:pt x="2737908" y="5538608"/>
                  <a:pt x="2734035" y="5541499"/>
                  <a:pt x="2730163" y="5544390"/>
                </a:cubicBezTo>
                <a:cubicBezTo>
                  <a:pt x="2727375" y="5543874"/>
                  <a:pt x="2725981" y="5543048"/>
                  <a:pt x="2725361" y="5541912"/>
                </a:cubicBezTo>
                <a:cubicBezTo>
                  <a:pt x="2723657" y="5538505"/>
                  <a:pt x="2729853" y="5532929"/>
                  <a:pt x="2732486" y="5528902"/>
                </a:cubicBezTo>
                <a:close/>
                <a:moveTo>
                  <a:pt x="2768577" y="5527766"/>
                </a:moveTo>
                <a:cubicBezTo>
                  <a:pt x="2771055" y="5525907"/>
                  <a:pt x="2775238" y="5526011"/>
                  <a:pt x="2778335" y="5529934"/>
                </a:cubicBezTo>
                <a:cubicBezTo>
                  <a:pt x="2778026" y="5533548"/>
                  <a:pt x="2776787" y="5535717"/>
                  <a:pt x="2776012" y="5537472"/>
                </a:cubicBezTo>
                <a:cubicBezTo>
                  <a:pt x="2773688" y="5537162"/>
                  <a:pt x="2771830" y="5537472"/>
                  <a:pt x="2769507" y="5537059"/>
                </a:cubicBezTo>
                <a:cubicBezTo>
                  <a:pt x="2765479" y="5533342"/>
                  <a:pt x="2766254" y="5529624"/>
                  <a:pt x="2768577" y="5527766"/>
                </a:cubicBezTo>
                <a:close/>
                <a:moveTo>
                  <a:pt x="2825850" y="5524978"/>
                </a:moveTo>
                <a:cubicBezTo>
                  <a:pt x="2829838" y="5524436"/>
                  <a:pt x="2833633" y="5525649"/>
                  <a:pt x="2833788" y="5528902"/>
                </a:cubicBezTo>
                <a:cubicBezTo>
                  <a:pt x="2833943" y="5529831"/>
                  <a:pt x="2833634" y="5530967"/>
                  <a:pt x="2833014" y="5532206"/>
                </a:cubicBezTo>
                <a:cubicBezTo>
                  <a:pt x="2831620" y="5533445"/>
                  <a:pt x="2830226" y="5534478"/>
                  <a:pt x="2828832" y="5535200"/>
                </a:cubicBezTo>
                <a:lnTo>
                  <a:pt x="2824804" y="5536852"/>
                </a:lnTo>
                <a:lnTo>
                  <a:pt x="2825114" y="5543151"/>
                </a:lnTo>
                <a:cubicBezTo>
                  <a:pt x="2825269" y="5545319"/>
                  <a:pt x="2824650" y="5546972"/>
                  <a:pt x="2821861" y="5548108"/>
                </a:cubicBezTo>
                <a:cubicBezTo>
                  <a:pt x="2820467" y="5546972"/>
                  <a:pt x="2819848" y="5544907"/>
                  <a:pt x="2819538" y="5542428"/>
                </a:cubicBezTo>
                <a:lnTo>
                  <a:pt x="2819383" y="5535820"/>
                </a:lnTo>
                <a:lnTo>
                  <a:pt x="2817060" y="5534374"/>
                </a:lnTo>
                <a:cubicBezTo>
                  <a:pt x="2817989" y="5533548"/>
                  <a:pt x="2817369" y="5532619"/>
                  <a:pt x="2816750" y="5531586"/>
                </a:cubicBezTo>
                <a:cubicBezTo>
                  <a:pt x="2817679" y="5527818"/>
                  <a:pt x="2821861" y="5525520"/>
                  <a:pt x="2825850" y="5524978"/>
                </a:cubicBezTo>
                <a:close/>
                <a:moveTo>
                  <a:pt x="3019354" y="5524565"/>
                </a:moveTo>
                <a:cubicBezTo>
                  <a:pt x="3022917" y="5527250"/>
                  <a:pt x="3024466" y="5524772"/>
                  <a:pt x="3029732" y="5529315"/>
                </a:cubicBezTo>
                <a:cubicBezTo>
                  <a:pt x="3036703" y="5534787"/>
                  <a:pt x="3035308" y="5540776"/>
                  <a:pt x="3032985" y="5544184"/>
                </a:cubicBezTo>
                <a:cubicBezTo>
                  <a:pt x="3032211" y="5543461"/>
                  <a:pt x="3028958" y="5548004"/>
                  <a:pt x="3024001" y="5547591"/>
                </a:cubicBezTo>
                <a:cubicBezTo>
                  <a:pt x="3022452" y="5547488"/>
                  <a:pt x="3020593" y="5546868"/>
                  <a:pt x="3018580" y="5545216"/>
                </a:cubicBezTo>
                <a:cubicBezTo>
                  <a:pt x="3014243" y="5541602"/>
                  <a:pt x="3010680" y="5536233"/>
                  <a:pt x="3016256" y="5529521"/>
                </a:cubicBezTo>
                <a:cubicBezTo>
                  <a:pt x="3017031" y="5527869"/>
                  <a:pt x="3017031" y="5528799"/>
                  <a:pt x="3017805" y="5527973"/>
                </a:cubicBezTo>
                <a:cubicBezTo>
                  <a:pt x="3018735" y="5527146"/>
                  <a:pt x="3019509" y="5525391"/>
                  <a:pt x="3019354" y="5524565"/>
                </a:cubicBezTo>
                <a:close/>
                <a:moveTo>
                  <a:pt x="2970717" y="5523532"/>
                </a:moveTo>
                <a:cubicBezTo>
                  <a:pt x="2973040" y="5522913"/>
                  <a:pt x="2975054" y="5523016"/>
                  <a:pt x="2976603" y="5525184"/>
                </a:cubicBezTo>
                <a:cubicBezTo>
                  <a:pt x="2975054" y="5525288"/>
                  <a:pt x="2973970" y="5525391"/>
                  <a:pt x="2973040" y="5525184"/>
                </a:cubicBezTo>
                <a:cubicBezTo>
                  <a:pt x="2972266" y="5524978"/>
                  <a:pt x="2971491" y="5524565"/>
                  <a:pt x="2970717" y="5523532"/>
                </a:cubicBezTo>
                <a:close/>
                <a:moveTo>
                  <a:pt x="2602373" y="5521261"/>
                </a:moveTo>
                <a:cubicBezTo>
                  <a:pt x="2604232" y="5519712"/>
                  <a:pt x="2609653" y="5518783"/>
                  <a:pt x="2613061" y="5521777"/>
                </a:cubicBezTo>
                <a:cubicBezTo>
                  <a:pt x="2613216" y="5525907"/>
                  <a:pt x="2611512" y="5527766"/>
                  <a:pt x="2608414" y="5527766"/>
                </a:cubicBezTo>
                <a:cubicBezTo>
                  <a:pt x="2607330" y="5527766"/>
                  <a:pt x="2606246" y="5527559"/>
                  <a:pt x="2605006" y="5527146"/>
                </a:cubicBezTo>
                <a:cubicBezTo>
                  <a:pt x="2604387" y="5525288"/>
                  <a:pt x="2603303" y="5523842"/>
                  <a:pt x="2602373" y="5521261"/>
                </a:cubicBezTo>
                <a:close/>
                <a:moveTo>
                  <a:pt x="2531895" y="5520641"/>
                </a:moveTo>
                <a:cubicBezTo>
                  <a:pt x="2530966" y="5521364"/>
                  <a:pt x="2531121" y="5521467"/>
                  <a:pt x="2531741" y="5522293"/>
                </a:cubicBezTo>
                <a:cubicBezTo>
                  <a:pt x="2531741" y="5522293"/>
                  <a:pt x="2531741" y="5522293"/>
                  <a:pt x="2532515" y="5522293"/>
                </a:cubicBezTo>
                <a:cubicBezTo>
                  <a:pt x="2532515" y="5523119"/>
                  <a:pt x="2531741" y="5523016"/>
                  <a:pt x="2531586" y="5523842"/>
                </a:cubicBezTo>
                <a:cubicBezTo>
                  <a:pt x="2531586" y="5523842"/>
                  <a:pt x="2530811" y="5523842"/>
                  <a:pt x="2530811" y="5523842"/>
                </a:cubicBezTo>
                <a:cubicBezTo>
                  <a:pt x="2530811" y="5524255"/>
                  <a:pt x="2530811" y="5524255"/>
                  <a:pt x="2530502" y="5524049"/>
                </a:cubicBezTo>
                <a:cubicBezTo>
                  <a:pt x="2530347" y="5523842"/>
                  <a:pt x="2530037" y="5523429"/>
                  <a:pt x="2529262" y="5523016"/>
                </a:cubicBezTo>
                <a:cubicBezTo>
                  <a:pt x="2528952" y="5522603"/>
                  <a:pt x="2528488" y="5522396"/>
                  <a:pt x="2528333" y="5522190"/>
                </a:cubicBezTo>
                <a:cubicBezTo>
                  <a:pt x="2528178" y="5521984"/>
                  <a:pt x="2528178" y="5521777"/>
                  <a:pt x="2528643" y="5521364"/>
                </a:cubicBezTo>
                <a:cubicBezTo>
                  <a:pt x="2529572" y="5520538"/>
                  <a:pt x="2529417" y="5520538"/>
                  <a:pt x="2531895" y="5520641"/>
                </a:cubicBezTo>
                <a:close/>
                <a:moveTo>
                  <a:pt x="2895747" y="5519815"/>
                </a:moveTo>
                <a:cubicBezTo>
                  <a:pt x="2896676" y="5520745"/>
                  <a:pt x="2897606" y="5522396"/>
                  <a:pt x="2896831" y="5523222"/>
                </a:cubicBezTo>
                <a:cubicBezTo>
                  <a:pt x="2896366" y="5524049"/>
                  <a:pt x="2895902" y="5524049"/>
                  <a:pt x="2895437" y="5523739"/>
                </a:cubicBezTo>
                <a:cubicBezTo>
                  <a:pt x="2894818" y="5523326"/>
                  <a:pt x="2894198" y="5522707"/>
                  <a:pt x="2893423" y="5522190"/>
                </a:cubicBezTo>
                <a:close/>
                <a:moveTo>
                  <a:pt x="3010099" y="5519260"/>
                </a:moveTo>
                <a:cubicBezTo>
                  <a:pt x="3011571" y="5520125"/>
                  <a:pt x="3012539" y="5521984"/>
                  <a:pt x="3012074" y="5524668"/>
                </a:cubicBezTo>
                <a:cubicBezTo>
                  <a:pt x="3008512" y="5524049"/>
                  <a:pt x="3004949" y="5523429"/>
                  <a:pt x="3005104" y="5519815"/>
                </a:cubicBezTo>
                <a:cubicBezTo>
                  <a:pt x="3006653" y="5518525"/>
                  <a:pt x="3008628" y="5518395"/>
                  <a:pt x="3010099" y="5519260"/>
                </a:cubicBezTo>
                <a:close/>
                <a:moveTo>
                  <a:pt x="2889706" y="5519196"/>
                </a:moveTo>
                <a:cubicBezTo>
                  <a:pt x="2889706" y="5519196"/>
                  <a:pt x="2889706" y="5519196"/>
                  <a:pt x="2890790" y="5520951"/>
                </a:cubicBezTo>
                <a:lnTo>
                  <a:pt x="2890480" y="5522500"/>
                </a:lnTo>
                <a:lnTo>
                  <a:pt x="2892649" y="5523016"/>
                </a:lnTo>
                <a:cubicBezTo>
                  <a:pt x="2894353" y="5524772"/>
                  <a:pt x="2896831" y="5527559"/>
                  <a:pt x="2895282" y="5530038"/>
                </a:cubicBezTo>
                <a:cubicBezTo>
                  <a:pt x="2894508" y="5530038"/>
                  <a:pt x="2894508" y="5530967"/>
                  <a:pt x="2893733" y="5530967"/>
                </a:cubicBezTo>
                <a:cubicBezTo>
                  <a:pt x="2893733" y="5530967"/>
                  <a:pt x="2892959" y="5531277"/>
                  <a:pt x="2891720" y="5531380"/>
                </a:cubicBezTo>
                <a:cubicBezTo>
                  <a:pt x="2890480" y="5531380"/>
                  <a:pt x="2888777" y="5531070"/>
                  <a:pt x="2887073" y="5529728"/>
                </a:cubicBezTo>
                <a:cubicBezTo>
                  <a:pt x="2886298" y="5528799"/>
                  <a:pt x="2884439" y="5526114"/>
                  <a:pt x="2885214" y="5526114"/>
                </a:cubicBezTo>
                <a:cubicBezTo>
                  <a:pt x="2885989" y="5525288"/>
                  <a:pt x="2885214" y="5525288"/>
                  <a:pt x="2885214" y="5524358"/>
                </a:cubicBezTo>
                <a:lnTo>
                  <a:pt x="2886298" y="5523739"/>
                </a:lnTo>
                <a:lnTo>
                  <a:pt x="2885833" y="5523016"/>
                </a:lnTo>
                <a:cubicBezTo>
                  <a:pt x="2884749" y="5521261"/>
                  <a:pt x="2884749" y="5521364"/>
                  <a:pt x="2885524" y="5520435"/>
                </a:cubicBezTo>
                <a:cubicBezTo>
                  <a:pt x="2886298" y="5519506"/>
                  <a:pt x="2888932" y="5520228"/>
                  <a:pt x="2889706" y="5519196"/>
                </a:cubicBezTo>
                <a:close/>
                <a:moveTo>
                  <a:pt x="2809005" y="5515272"/>
                </a:moveTo>
                <a:cubicBezTo>
                  <a:pt x="2818609" y="5531070"/>
                  <a:pt x="2784532" y="5551824"/>
                  <a:pt x="2772604" y="5554200"/>
                </a:cubicBezTo>
                <a:cubicBezTo>
                  <a:pt x="2780814" y="5541499"/>
                  <a:pt x="2795064" y="5520848"/>
                  <a:pt x="2809005" y="5515272"/>
                </a:cubicBezTo>
                <a:close/>
                <a:moveTo>
                  <a:pt x="2837486" y="5509554"/>
                </a:moveTo>
                <a:cubicBezTo>
                  <a:pt x="2839210" y="5510471"/>
                  <a:pt x="2840139" y="5512897"/>
                  <a:pt x="2839675" y="5515478"/>
                </a:cubicBezTo>
                <a:cubicBezTo>
                  <a:pt x="2839365" y="5517130"/>
                  <a:pt x="2838435" y="5518886"/>
                  <a:pt x="2836731" y="5520332"/>
                </a:cubicBezTo>
                <a:cubicBezTo>
                  <a:pt x="2836112" y="5520332"/>
                  <a:pt x="2835337" y="5519918"/>
                  <a:pt x="2834563" y="5519402"/>
                </a:cubicBezTo>
                <a:lnTo>
                  <a:pt x="2834408" y="5519196"/>
                </a:lnTo>
                <a:lnTo>
                  <a:pt x="2831465" y="5523532"/>
                </a:lnTo>
                <a:cubicBezTo>
                  <a:pt x="2830535" y="5522913"/>
                  <a:pt x="2829916" y="5522087"/>
                  <a:pt x="2829606" y="5521054"/>
                </a:cubicBezTo>
                <a:cubicBezTo>
                  <a:pt x="2828987" y="5519506"/>
                  <a:pt x="2829142" y="5517647"/>
                  <a:pt x="2829606" y="5515891"/>
                </a:cubicBezTo>
                <a:lnTo>
                  <a:pt x="2831000" y="5513723"/>
                </a:lnTo>
                <a:lnTo>
                  <a:pt x="2830535" y="5512690"/>
                </a:lnTo>
                <a:cubicBezTo>
                  <a:pt x="2833246" y="5509232"/>
                  <a:pt x="2835763" y="5508638"/>
                  <a:pt x="2837486" y="5509554"/>
                </a:cubicBezTo>
                <a:close/>
                <a:moveTo>
                  <a:pt x="2861205" y="5507838"/>
                </a:moveTo>
                <a:cubicBezTo>
                  <a:pt x="2861205" y="5507838"/>
                  <a:pt x="2861205" y="5507838"/>
                  <a:pt x="2861979" y="5507838"/>
                </a:cubicBezTo>
                <a:cubicBezTo>
                  <a:pt x="2861825" y="5509593"/>
                  <a:pt x="2862134" y="5511555"/>
                  <a:pt x="2862289" y="5513413"/>
                </a:cubicBezTo>
                <a:lnTo>
                  <a:pt x="2861825" y="5518370"/>
                </a:lnTo>
                <a:lnTo>
                  <a:pt x="2863374" y="5518163"/>
                </a:lnTo>
                <a:cubicBezTo>
                  <a:pt x="2869260" y="5517544"/>
                  <a:pt x="2875146" y="5517440"/>
                  <a:pt x="2880567" y="5518989"/>
                </a:cubicBezTo>
                <a:cubicBezTo>
                  <a:pt x="2876540" y="5523636"/>
                  <a:pt x="2869260" y="5527766"/>
                  <a:pt x="2862444" y="5528902"/>
                </a:cubicBezTo>
                <a:cubicBezTo>
                  <a:pt x="2860586" y="5529108"/>
                  <a:pt x="2859036" y="5529108"/>
                  <a:pt x="2857332" y="5529005"/>
                </a:cubicBezTo>
                <a:cubicBezTo>
                  <a:pt x="2852376" y="5528489"/>
                  <a:pt x="2848194" y="5525907"/>
                  <a:pt x="2846335" y="5520228"/>
                </a:cubicBezTo>
                <a:lnTo>
                  <a:pt x="2858727" y="5518679"/>
                </a:lnTo>
                <a:lnTo>
                  <a:pt x="2858417" y="5518679"/>
                </a:lnTo>
                <a:cubicBezTo>
                  <a:pt x="2856713" y="5517853"/>
                  <a:pt x="2856558" y="5517027"/>
                  <a:pt x="2857797" y="5514240"/>
                </a:cubicBezTo>
                <a:cubicBezTo>
                  <a:pt x="2859346" y="5512381"/>
                  <a:pt x="2859811" y="5510625"/>
                  <a:pt x="2860740" y="5510522"/>
                </a:cubicBezTo>
                <a:cubicBezTo>
                  <a:pt x="2860586" y="5509696"/>
                  <a:pt x="2861205" y="5508767"/>
                  <a:pt x="2861205" y="5507838"/>
                </a:cubicBezTo>
                <a:close/>
                <a:moveTo>
                  <a:pt x="2900549" y="5506702"/>
                </a:moveTo>
                <a:cubicBezTo>
                  <a:pt x="2903337" y="5507631"/>
                  <a:pt x="2905505" y="5506082"/>
                  <a:pt x="2909533" y="5508354"/>
                </a:cubicBezTo>
                <a:lnTo>
                  <a:pt x="2906900" y="5519815"/>
                </a:lnTo>
                <a:lnTo>
                  <a:pt x="2907364" y="5521364"/>
                </a:lnTo>
                <a:cubicBezTo>
                  <a:pt x="2907364" y="5522293"/>
                  <a:pt x="2907209" y="5523119"/>
                  <a:pt x="2906900" y="5523532"/>
                </a:cubicBezTo>
                <a:lnTo>
                  <a:pt x="2905970" y="5523945"/>
                </a:lnTo>
                <a:lnTo>
                  <a:pt x="2904421" y="5530967"/>
                </a:lnTo>
                <a:cubicBezTo>
                  <a:pt x="2903182" y="5538298"/>
                  <a:pt x="2901788" y="5545216"/>
                  <a:pt x="2899619" y="5551515"/>
                </a:cubicBezTo>
                <a:cubicBezTo>
                  <a:pt x="2892184" y="5539744"/>
                  <a:pt x="2898380" y="5522190"/>
                  <a:pt x="2900549" y="5506702"/>
                </a:cubicBezTo>
                <a:close/>
                <a:moveTo>
                  <a:pt x="3113415" y="5505062"/>
                </a:moveTo>
                <a:cubicBezTo>
                  <a:pt x="3115274" y="5503346"/>
                  <a:pt x="3117713" y="5502675"/>
                  <a:pt x="3119417" y="5505462"/>
                </a:cubicBezTo>
                <a:cubicBezTo>
                  <a:pt x="3119882" y="5506185"/>
                  <a:pt x="3119727" y="5507115"/>
                  <a:pt x="3119262" y="5508044"/>
                </a:cubicBezTo>
                <a:cubicBezTo>
                  <a:pt x="3118178" y="5510212"/>
                  <a:pt x="3115235" y="5512381"/>
                  <a:pt x="3112912" y="5512071"/>
                </a:cubicBezTo>
                <a:cubicBezTo>
                  <a:pt x="3112137" y="5511968"/>
                  <a:pt x="3111362" y="5511658"/>
                  <a:pt x="3110898" y="5510935"/>
                </a:cubicBezTo>
                <a:cubicBezTo>
                  <a:pt x="3110278" y="5509541"/>
                  <a:pt x="3111556" y="5506779"/>
                  <a:pt x="3113415" y="5505062"/>
                </a:cubicBezTo>
                <a:close/>
                <a:moveTo>
                  <a:pt x="2640478" y="5503294"/>
                </a:moveTo>
                <a:cubicBezTo>
                  <a:pt x="2647448" y="5505566"/>
                  <a:pt x="2650856" y="5505359"/>
                  <a:pt x="2656277" y="5507734"/>
                </a:cubicBezTo>
                <a:cubicBezTo>
                  <a:pt x="2656432" y="5508663"/>
                  <a:pt x="2655503" y="5508663"/>
                  <a:pt x="2655658" y="5509593"/>
                </a:cubicBezTo>
                <a:cubicBezTo>
                  <a:pt x="2655348" y="5510006"/>
                  <a:pt x="2654418" y="5510212"/>
                  <a:pt x="2653489" y="5510316"/>
                </a:cubicBezTo>
                <a:cubicBezTo>
                  <a:pt x="2650391" y="5510419"/>
                  <a:pt x="2645435" y="5509077"/>
                  <a:pt x="2645280" y="5508354"/>
                </a:cubicBezTo>
                <a:cubicBezTo>
                  <a:pt x="2644505" y="5508457"/>
                  <a:pt x="2644350" y="5507528"/>
                  <a:pt x="2643576" y="5507631"/>
                </a:cubicBezTo>
                <a:cubicBezTo>
                  <a:pt x="2643576" y="5507631"/>
                  <a:pt x="2642646" y="5507631"/>
                  <a:pt x="2641717" y="5506805"/>
                </a:cubicBezTo>
                <a:cubicBezTo>
                  <a:pt x="2640788" y="5505979"/>
                  <a:pt x="2639858" y="5505153"/>
                  <a:pt x="2640478" y="5503294"/>
                </a:cubicBezTo>
                <a:close/>
                <a:moveTo>
                  <a:pt x="3401638" y="5502984"/>
                </a:moveTo>
                <a:lnTo>
                  <a:pt x="3397766" y="5504327"/>
                </a:lnTo>
                <a:lnTo>
                  <a:pt x="3400399" y="5505049"/>
                </a:lnTo>
                <a:lnTo>
                  <a:pt x="3400709" y="5504843"/>
                </a:lnTo>
                <a:lnTo>
                  <a:pt x="3400709" y="5504740"/>
                </a:lnTo>
                <a:close/>
                <a:moveTo>
                  <a:pt x="3015947" y="5502365"/>
                </a:moveTo>
                <a:lnTo>
                  <a:pt x="3018580" y="5503294"/>
                </a:lnTo>
                <a:lnTo>
                  <a:pt x="3019044" y="5502984"/>
                </a:lnTo>
                <a:cubicBezTo>
                  <a:pt x="3022762" y="5501642"/>
                  <a:pt x="3026170" y="5504740"/>
                  <a:pt x="3025395" y="5508250"/>
                </a:cubicBezTo>
                <a:cubicBezTo>
                  <a:pt x="3025085" y="5509696"/>
                  <a:pt x="3023846" y="5511348"/>
                  <a:pt x="3021678" y="5512690"/>
                </a:cubicBezTo>
                <a:lnTo>
                  <a:pt x="3021058" y="5512278"/>
                </a:lnTo>
                <a:lnTo>
                  <a:pt x="3020593" y="5513413"/>
                </a:lnTo>
                <a:cubicBezTo>
                  <a:pt x="3019199" y="5515065"/>
                  <a:pt x="3017495" y="5516408"/>
                  <a:pt x="3015792" y="5517853"/>
                </a:cubicBezTo>
                <a:cubicBezTo>
                  <a:pt x="3004484" y="5515478"/>
                  <a:pt x="3013313" y="5507631"/>
                  <a:pt x="3015947" y="5502365"/>
                </a:cubicBezTo>
                <a:close/>
                <a:moveTo>
                  <a:pt x="2688650" y="5500403"/>
                </a:moveTo>
                <a:cubicBezTo>
                  <a:pt x="2691129" y="5499680"/>
                  <a:pt x="2696550" y="5500713"/>
                  <a:pt x="2698099" y="5504740"/>
                </a:cubicBezTo>
                <a:cubicBezTo>
                  <a:pt x="2696860" y="5507321"/>
                  <a:pt x="2695466" y="5508663"/>
                  <a:pt x="2693762" y="5508870"/>
                </a:cubicBezTo>
                <a:cubicBezTo>
                  <a:pt x="2692058" y="5509180"/>
                  <a:pt x="2690199" y="5508457"/>
                  <a:pt x="2688186" y="5506805"/>
                </a:cubicBezTo>
                <a:cubicBezTo>
                  <a:pt x="2688650" y="5504843"/>
                  <a:pt x="2688341" y="5503191"/>
                  <a:pt x="2688650" y="5500403"/>
                </a:cubicBezTo>
                <a:close/>
                <a:moveTo>
                  <a:pt x="2768577" y="5499474"/>
                </a:moveTo>
                <a:cubicBezTo>
                  <a:pt x="2770746" y="5497615"/>
                  <a:pt x="2777871" y="5501436"/>
                  <a:pt x="2780659" y="5503914"/>
                </a:cubicBezTo>
                <a:cubicBezTo>
                  <a:pt x="2780194" y="5504327"/>
                  <a:pt x="2779265" y="5504430"/>
                  <a:pt x="2778181" y="5504223"/>
                </a:cubicBezTo>
                <a:cubicBezTo>
                  <a:pt x="2775238" y="5503811"/>
                  <a:pt x="2770746" y="5501229"/>
                  <a:pt x="2768577" y="5499474"/>
                </a:cubicBezTo>
                <a:close/>
                <a:moveTo>
                  <a:pt x="2676355" y="5498673"/>
                </a:moveTo>
                <a:cubicBezTo>
                  <a:pt x="2680712" y="5499138"/>
                  <a:pt x="2684081" y="5501590"/>
                  <a:pt x="2683229" y="5505979"/>
                </a:cubicBezTo>
                <a:cubicBezTo>
                  <a:pt x="2683075" y="5507218"/>
                  <a:pt x="2682455" y="5508663"/>
                  <a:pt x="2681525" y="5510212"/>
                </a:cubicBezTo>
                <a:cubicBezTo>
                  <a:pt x="2679976" y="5510316"/>
                  <a:pt x="2678273" y="5510522"/>
                  <a:pt x="2676414" y="5510625"/>
                </a:cubicBezTo>
                <a:cubicBezTo>
                  <a:pt x="2675020" y="5510729"/>
                  <a:pt x="2673626" y="5510832"/>
                  <a:pt x="2672231" y="5510729"/>
                </a:cubicBezTo>
                <a:cubicBezTo>
                  <a:pt x="2668204" y="5510419"/>
                  <a:pt x="2664487" y="5508870"/>
                  <a:pt x="2663557" y="5503294"/>
                </a:cubicBezTo>
                <a:cubicBezTo>
                  <a:pt x="2666655" y="5499732"/>
                  <a:pt x="2671999" y="5498209"/>
                  <a:pt x="2676355" y="5498673"/>
                </a:cubicBezTo>
                <a:close/>
                <a:moveTo>
                  <a:pt x="3371743" y="5498544"/>
                </a:moveTo>
                <a:lnTo>
                  <a:pt x="3369885" y="5499267"/>
                </a:lnTo>
                <a:lnTo>
                  <a:pt x="3369265" y="5503914"/>
                </a:lnTo>
                <a:cubicBezTo>
                  <a:pt x="3368181" y="5505979"/>
                  <a:pt x="3366632" y="5507631"/>
                  <a:pt x="3364153" y="5508250"/>
                </a:cubicBezTo>
                <a:cubicBezTo>
                  <a:pt x="3363224" y="5506185"/>
                  <a:pt x="3362914" y="5504430"/>
                  <a:pt x="3362914" y="5502984"/>
                </a:cubicBezTo>
                <a:lnTo>
                  <a:pt x="3363689" y="5499680"/>
                </a:lnTo>
                <a:lnTo>
                  <a:pt x="3363379" y="5499680"/>
                </a:lnTo>
                <a:lnTo>
                  <a:pt x="3361056" y="5499990"/>
                </a:lnTo>
                <a:lnTo>
                  <a:pt x="3361985" y="5500300"/>
                </a:lnTo>
                <a:lnTo>
                  <a:pt x="3357183" y="5504533"/>
                </a:lnTo>
                <a:lnTo>
                  <a:pt x="3360746" y="5505979"/>
                </a:lnTo>
                <a:cubicBezTo>
                  <a:pt x="3361675" y="5506702"/>
                  <a:pt x="3362604" y="5507528"/>
                  <a:pt x="3362759" y="5508457"/>
                </a:cubicBezTo>
                <a:cubicBezTo>
                  <a:pt x="3362295" y="5510832"/>
                  <a:pt x="3360436" y="5511039"/>
                  <a:pt x="3359352" y="5510729"/>
                </a:cubicBezTo>
                <a:cubicBezTo>
                  <a:pt x="3358112" y="5511039"/>
                  <a:pt x="3356873" y="5510419"/>
                  <a:pt x="3355944" y="5509386"/>
                </a:cubicBezTo>
                <a:lnTo>
                  <a:pt x="3354550" y="5506805"/>
                </a:lnTo>
                <a:lnTo>
                  <a:pt x="3352691" y="5508560"/>
                </a:lnTo>
                <a:cubicBezTo>
                  <a:pt x="3349748" y="5511039"/>
                  <a:pt x="3346650" y="5513310"/>
                  <a:pt x="3343707" y="5515478"/>
                </a:cubicBezTo>
                <a:lnTo>
                  <a:pt x="3337976" y="5519196"/>
                </a:lnTo>
                <a:lnTo>
                  <a:pt x="3339060" y="5519299"/>
                </a:lnTo>
                <a:cubicBezTo>
                  <a:pt x="3342777" y="5518989"/>
                  <a:pt x="3347115" y="5518783"/>
                  <a:pt x="3350522" y="5517544"/>
                </a:cubicBezTo>
                <a:cubicBezTo>
                  <a:pt x="3362914" y="5519196"/>
                  <a:pt x="3371743" y="5518886"/>
                  <a:pt x="3380727" y="5517853"/>
                </a:cubicBezTo>
                <a:lnTo>
                  <a:pt x="3387543" y="5516305"/>
                </a:lnTo>
                <a:lnTo>
                  <a:pt x="3387853" y="5516098"/>
                </a:lnTo>
                <a:lnTo>
                  <a:pt x="3395907" y="5509077"/>
                </a:lnTo>
                <a:lnTo>
                  <a:pt x="3393893" y="5509180"/>
                </a:lnTo>
                <a:cubicBezTo>
                  <a:pt x="3392035" y="5505153"/>
                  <a:pt x="3394203" y="5502468"/>
                  <a:pt x="3390795" y="5502468"/>
                </a:cubicBezTo>
                <a:lnTo>
                  <a:pt x="3390641" y="5502468"/>
                </a:lnTo>
                <a:lnTo>
                  <a:pt x="3387543" y="5507321"/>
                </a:lnTo>
                <a:cubicBezTo>
                  <a:pt x="3385684" y="5508560"/>
                  <a:pt x="3383515" y="5509180"/>
                  <a:pt x="3381967" y="5509593"/>
                </a:cubicBezTo>
                <a:lnTo>
                  <a:pt x="3381347" y="5509799"/>
                </a:lnTo>
                <a:lnTo>
                  <a:pt x="3380572" y="5510522"/>
                </a:lnTo>
                <a:lnTo>
                  <a:pt x="3380727" y="5510832"/>
                </a:lnTo>
                <a:lnTo>
                  <a:pt x="3380417" y="5510729"/>
                </a:lnTo>
                <a:lnTo>
                  <a:pt x="3378868" y="5512174"/>
                </a:lnTo>
                <a:lnTo>
                  <a:pt x="3377784" y="5510935"/>
                </a:lnTo>
                <a:lnTo>
                  <a:pt x="3375151" y="5510625"/>
                </a:lnTo>
                <a:cubicBezTo>
                  <a:pt x="3374377" y="5510419"/>
                  <a:pt x="3373912" y="5509799"/>
                  <a:pt x="3374222" y="5508560"/>
                </a:cubicBezTo>
                <a:cubicBezTo>
                  <a:pt x="3373757" y="5506598"/>
                  <a:pt x="3375770" y="5506495"/>
                  <a:pt x="3376080" y="5504120"/>
                </a:cubicBezTo>
                <a:cubicBezTo>
                  <a:pt x="3376080" y="5501849"/>
                  <a:pt x="3373912" y="5500610"/>
                  <a:pt x="3371898" y="5498751"/>
                </a:cubicBezTo>
                <a:close/>
                <a:moveTo>
                  <a:pt x="2853770" y="5496995"/>
                </a:moveTo>
                <a:cubicBezTo>
                  <a:pt x="2851446" y="5498854"/>
                  <a:pt x="2850827" y="5499783"/>
                  <a:pt x="2849278" y="5500816"/>
                </a:cubicBezTo>
                <a:cubicBezTo>
                  <a:pt x="2849278" y="5501642"/>
                  <a:pt x="2849433" y="5502468"/>
                  <a:pt x="2848658" y="5503397"/>
                </a:cubicBezTo>
                <a:cubicBezTo>
                  <a:pt x="2847264" y="5505153"/>
                  <a:pt x="2845560" y="5504430"/>
                  <a:pt x="2843856" y="5505359"/>
                </a:cubicBezTo>
                <a:cubicBezTo>
                  <a:pt x="2842927" y="5504533"/>
                  <a:pt x="2841843" y="5502881"/>
                  <a:pt x="2843237" y="5501126"/>
                </a:cubicBezTo>
                <a:cubicBezTo>
                  <a:pt x="2844631" y="5498441"/>
                  <a:pt x="2847109" y="5498235"/>
                  <a:pt x="2849743" y="5498957"/>
                </a:cubicBezTo>
                <a:cubicBezTo>
                  <a:pt x="2851292" y="5498028"/>
                  <a:pt x="2852066" y="5496273"/>
                  <a:pt x="2853770" y="5496995"/>
                </a:cubicBezTo>
                <a:close/>
                <a:moveTo>
                  <a:pt x="3370039" y="5496582"/>
                </a:moveTo>
                <a:lnTo>
                  <a:pt x="3369885" y="5496686"/>
                </a:lnTo>
                <a:lnTo>
                  <a:pt x="3370039" y="5497305"/>
                </a:lnTo>
                <a:lnTo>
                  <a:pt x="3370039" y="5497512"/>
                </a:lnTo>
                <a:lnTo>
                  <a:pt x="3370969" y="5497512"/>
                </a:lnTo>
                <a:close/>
                <a:moveTo>
                  <a:pt x="2725051" y="5495447"/>
                </a:moveTo>
                <a:cubicBezTo>
                  <a:pt x="2728304" y="5505359"/>
                  <a:pt x="2736049" y="5511968"/>
                  <a:pt x="2734500" y="5517853"/>
                </a:cubicBezTo>
                <a:cubicBezTo>
                  <a:pt x="2734035" y="5519815"/>
                  <a:pt x="2732486" y="5521777"/>
                  <a:pt x="2729388" y="5523636"/>
                </a:cubicBezTo>
                <a:cubicBezTo>
                  <a:pt x="2725516" y="5520538"/>
                  <a:pt x="2716377" y="5507528"/>
                  <a:pt x="2718546" y="5500300"/>
                </a:cubicBezTo>
                <a:cubicBezTo>
                  <a:pt x="2719165" y="5497821"/>
                  <a:pt x="2721179" y="5496066"/>
                  <a:pt x="2725051" y="5495447"/>
                </a:cubicBezTo>
                <a:close/>
                <a:moveTo>
                  <a:pt x="2749215" y="5494517"/>
                </a:moveTo>
                <a:cubicBezTo>
                  <a:pt x="2750144" y="5495344"/>
                  <a:pt x="2751074" y="5496170"/>
                  <a:pt x="2751384" y="5497925"/>
                </a:cubicBezTo>
                <a:cubicBezTo>
                  <a:pt x="2749989" y="5499783"/>
                  <a:pt x="2747356" y="5499061"/>
                  <a:pt x="2746582" y="5499990"/>
                </a:cubicBezTo>
                <a:cubicBezTo>
                  <a:pt x="2746582" y="5499061"/>
                  <a:pt x="2746272" y="5497409"/>
                  <a:pt x="2744568" y="5496582"/>
                </a:cubicBezTo>
                <a:cubicBezTo>
                  <a:pt x="2745962" y="5494724"/>
                  <a:pt x="2747356" y="5492865"/>
                  <a:pt x="2749215" y="5494517"/>
                </a:cubicBezTo>
                <a:close/>
                <a:moveTo>
                  <a:pt x="2946243" y="5493794"/>
                </a:moveTo>
                <a:cubicBezTo>
                  <a:pt x="2952284" y="5491523"/>
                  <a:pt x="2958325" y="5492452"/>
                  <a:pt x="2963282" y="5495344"/>
                </a:cubicBezTo>
                <a:cubicBezTo>
                  <a:pt x="2971801" y="5499990"/>
                  <a:pt x="2977532" y="5510212"/>
                  <a:pt x="2976758" y="5520745"/>
                </a:cubicBezTo>
                <a:cubicBezTo>
                  <a:pt x="2975673" y="5520951"/>
                  <a:pt x="2974434" y="5521157"/>
                  <a:pt x="2974899" y="5522396"/>
                </a:cubicBezTo>
                <a:cubicBezTo>
                  <a:pt x="2973040" y="5522913"/>
                  <a:pt x="2971181" y="5523119"/>
                  <a:pt x="2969323" y="5523016"/>
                </a:cubicBezTo>
                <a:cubicBezTo>
                  <a:pt x="2956157" y="5522190"/>
                  <a:pt x="2942525" y="5506805"/>
                  <a:pt x="2946243" y="5493794"/>
                </a:cubicBezTo>
                <a:close/>
                <a:moveTo>
                  <a:pt x="3389091" y="5493588"/>
                </a:moveTo>
                <a:lnTo>
                  <a:pt x="3385994" y="5493691"/>
                </a:lnTo>
                <a:lnTo>
                  <a:pt x="3387388" y="5497718"/>
                </a:lnTo>
                <a:cubicBezTo>
                  <a:pt x="3386923" y="5496892"/>
                  <a:pt x="3386613" y="5498131"/>
                  <a:pt x="3386613" y="5498131"/>
                </a:cubicBezTo>
                <a:cubicBezTo>
                  <a:pt x="3386458" y="5499371"/>
                  <a:pt x="3387543" y="5499474"/>
                  <a:pt x="3388627" y="5499680"/>
                </a:cubicBezTo>
                <a:lnTo>
                  <a:pt x="3389711" y="5500093"/>
                </a:lnTo>
                <a:lnTo>
                  <a:pt x="3390176" y="5499783"/>
                </a:lnTo>
                <a:cubicBezTo>
                  <a:pt x="3391570" y="5498441"/>
                  <a:pt x="3393274" y="5497305"/>
                  <a:pt x="3396681" y="5497202"/>
                </a:cubicBezTo>
                <a:lnTo>
                  <a:pt x="3395133" y="5495344"/>
                </a:lnTo>
                <a:lnTo>
                  <a:pt x="3393893" y="5495344"/>
                </a:lnTo>
                <a:cubicBezTo>
                  <a:pt x="3393584" y="5495240"/>
                  <a:pt x="3393584" y="5495137"/>
                  <a:pt x="3393893" y="5495550"/>
                </a:cubicBezTo>
                <a:cubicBezTo>
                  <a:pt x="3392654" y="5495240"/>
                  <a:pt x="3391415" y="5495034"/>
                  <a:pt x="3390331" y="5494724"/>
                </a:cubicBezTo>
                <a:close/>
                <a:moveTo>
                  <a:pt x="2456926" y="5492246"/>
                </a:moveTo>
                <a:cubicBezTo>
                  <a:pt x="2457700" y="5494001"/>
                  <a:pt x="2456616" y="5495756"/>
                  <a:pt x="2455532" y="5497409"/>
                </a:cubicBezTo>
                <a:cubicBezTo>
                  <a:pt x="2454602" y="5498751"/>
                  <a:pt x="2453828" y="5499061"/>
                  <a:pt x="2452898" y="5498957"/>
                </a:cubicBezTo>
                <a:cubicBezTo>
                  <a:pt x="2452124" y="5498854"/>
                  <a:pt x="2451349" y="5498131"/>
                  <a:pt x="2450575" y="5497305"/>
                </a:cubicBezTo>
                <a:cubicBezTo>
                  <a:pt x="2449026" y="5495550"/>
                  <a:pt x="2449956" y="5493898"/>
                  <a:pt x="2449956" y="5493898"/>
                </a:cubicBezTo>
                <a:cubicBezTo>
                  <a:pt x="2451969" y="5491316"/>
                  <a:pt x="2454602" y="5490490"/>
                  <a:pt x="2456926" y="5492246"/>
                </a:cubicBezTo>
                <a:close/>
                <a:moveTo>
                  <a:pt x="3058698" y="5489045"/>
                </a:moveTo>
                <a:lnTo>
                  <a:pt x="3059472" y="5491007"/>
                </a:lnTo>
                <a:lnTo>
                  <a:pt x="3060402" y="5490490"/>
                </a:lnTo>
                <a:cubicBezTo>
                  <a:pt x="3063500" y="5491213"/>
                  <a:pt x="3065668" y="5493588"/>
                  <a:pt x="3065978" y="5496170"/>
                </a:cubicBezTo>
                <a:lnTo>
                  <a:pt x="3065049" y="5499680"/>
                </a:lnTo>
                <a:lnTo>
                  <a:pt x="3069540" y="5503191"/>
                </a:lnTo>
                <a:cubicBezTo>
                  <a:pt x="3070935" y="5504327"/>
                  <a:pt x="3072329" y="5505566"/>
                  <a:pt x="3073568" y="5507011"/>
                </a:cubicBezTo>
                <a:cubicBezTo>
                  <a:pt x="3074962" y="5508973"/>
                  <a:pt x="3075891" y="5511348"/>
                  <a:pt x="3075891" y="5514446"/>
                </a:cubicBezTo>
                <a:cubicBezTo>
                  <a:pt x="3076046" y="5517750"/>
                  <a:pt x="3075272" y="5520848"/>
                  <a:pt x="3074033" y="5523429"/>
                </a:cubicBezTo>
                <a:lnTo>
                  <a:pt x="3073878" y="5523739"/>
                </a:lnTo>
                <a:lnTo>
                  <a:pt x="3074962" y="5524875"/>
                </a:lnTo>
                <a:lnTo>
                  <a:pt x="3076666" y="5527869"/>
                </a:lnTo>
                <a:lnTo>
                  <a:pt x="3078060" y="5526527"/>
                </a:lnTo>
                <a:cubicBezTo>
                  <a:pt x="3084875" y="5522190"/>
                  <a:pt x="3093240" y="5521880"/>
                  <a:pt x="3098506" y="5527353"/>
                </a:cubicBezTo>
                <a:cubicBezTo>
                  <a:pt x="3100365" y="5529831"/>
                  <a:pt x="3101295" y="5532309"/>
                  <a:pt x="3101295" y="5534581"/>
                </a:cubicBezTo>
                <a:lnTo>
                  <a:pt x="3099745" y="5539434"/>
                </a:lnTo>
                <a:lnTo>
                  <a:pt x="3100055" y="5540053"/>
                </a:lnTo>
                <a:lnTo>
                  <a:pt x="3099591" y="5540156"/>
                </a:lnTo>
                <a:lnTo>
                  <a:pt x="3099436" y="5540673"/>
                </a:lnTo>
                <a:cubicBezTo>
                  <a:pt x="3096802" y="5544287"/>
                  <a:pt x="3092001" y="5546455"/>
                  <a:pt x="3087044" y="5546042"/>
                </a:cubicBezTo>
                <a:cubicBezTo>
                  <a:pt x="3085495" y="5545939"/>
                  <a:pt x="3083946" y="5545732"/>
                  <a:pt x="3082552" y="5545113"/>
                </a:cubicBezTo>
                <a:lnTo>
                  <a:pt x="3078834" y="5542945"/>
                </a:lnTo>
                <a:lnTo>
                  <a:pt x="3078370" y="5543874"/>
                </a:lnTo>
                <a:cubicBezTo>
                  <a:pt x="3077750" y="5545526"/>
                  <a:pt x="3077130" y="5547075"/>
                  <a:pt x="3075272" y="5548623"/>
                </a:cubicBezTo>
                <a:cubicBezTo>
                  <a:pt x="3073103" y="5545939"/>
                  <a:pt x="3070935" y="5543254"/>
                  <a:pt x="3068921" y="5540570"/>
                </a:cubicBezTo>
                <a:lnTo>
                  <a:pt x="3063500" y="5532722"/>
                </a:lnTo>
                <a:lnTo>
                  <a:pt x="3061486" y="5533858"/>
                </a:lnTo>
                <a:cubicBezTo>
                  <a:pt x="3059008" y="5534684"/>
                  <a:pt x="3056219" y="5534994"/>
                  <a:pt x="3053586" y="5534787"/>
                </a:cubicBezTo>
                <a:cubicBezTo>
                  <a:pt x="3047390" y="5534374"/>
                  <a:pt x="3041814" y="5530967"/>
                  <a:pt x="3039955" y="5524255"/>
                </a:cubicBezTo>
                <a:cubicBezTo>
                  <a:pt x="3039336" y="5521571"/>
                  <a:pt x="3039181" y="5518576"/>
                  <a:pt x="3039801" y="5514962"/>
                </a:cubicBezTo>
                <a:cubicBezTo>
                  <a:pt x="3042124" y="5505153"/>
                  <a:pt x="3051572" y="5499887"/>
                  <a:pt x="3058698" y="5489045"/>
                </a:cubicBezTo>
                <a:close/>
                <a:moveTo>
                  <a:pt x="2796923" y="5483262"/>
                </a:moveTo>
                <a:cubicBezTo>
                  <a:pt x="2798627" y="5484192"/>
                  <a:pt x="2799556" y="5485121"/>
                  <a:pt x="2801260" y="5486050"/>
                </a:cubicBezTo>
                <a:lnTo>
                  <a:pt x="2801880" y="5488425"/>
                </a:lnTo>
                <a:lnTo>
                  <a:pt x="2806682" y="5490284"/>
                </a:lnTo>
                <a:cubicBezTo>
                  <a:pt x="2807611" y="5491110"/>
                  <a:pt x="2809779" y="5494517"/>
                  <a:pt x="2809005" y="5495447"/>
                </a:cubicBezTo>
                <a:cubicBezTo>
                  <a:pt x="2808386" y="5496376"/>
                  <a:pt x="2807456" y="5496376"/>
                  <a:pt x="2806682" y="5496376"/>
                </a:cubicBezTo>
                <a:lnTo>
                  <a:pt x="2801725" y="5494311"/>
                </a:lnTo>
                <a:lnTo>
                  <a:pt x="2800950" y="5496376"/>
                </a:lnTo>
                <a:cubicBezTo>
                  <a:pt x="2799866" y="5497615"/>
                  <a:pt x="2798782" y="5498338"/>
                  <a:pt x="2797853" y="5498544"/>
                </a:cubicBezTo>
                <a:lnTo>
                  <a:pt x="2796613" y="5498544"/>
                </a:lnTo>
                <a:lnTo>
                  <a:pt x="2796768" y="5499577"/>
                </a:lnTo>
                <a:lnTo>
                  <a:pt x="2794290" y="5500919"/>
                </a:lnTo>
                <a:lnTo>
                  <a:pt x="2793206" y="5502572"/>
                </a:lnTo>
                <a:cubicBezTo>
                  <a:pt x="2791966" y="5502881"/>
                  <a:pt x="2791192" y="5503088"/>
                  <a:pt x="2790572" y="5502881"/>
                </a:cubicBezTo>
                <a:cubicBezTo>
                  <a:pt x="2789952" y="5502675"/>
                  <a:pt x="2789643" y="5502055"/>
                  <a:pt x="2789178" y="5500816"/>
                </a:cubicBezTo>
                <a:lnTo>
                  <a:pt x="2789023" y="5500300"/>
                </a:lnTo>
                <a:lnTo>
                  <a:pt x="2787629" y="5501022"/>
                </a:lnTo>
                <a:cubicBezTo>
                  <a:pt x="2787629" y="5500093"/>
                  <a:pt x="2787475" y="5499267"/>
                  <a:pt x="2786700" y="5499267"/>
                </a:cubicBezTo>
                <a:lnTo>
                  <a:pt x="2788404" y="5497925"/>
                </a:lnTo>
                <a:lnTo>
                  <a:pt x="2788249" y="5497099"/>
                </a:lnTo>
                <a:lnTo>
                  <a:pt x="2788404" y="5494311"/>
                </a:lnTo>
                <a:lnTo>
                  <a:pt x="2788094" y="5494105"/>
                </a:lnTo>
                <a:cubicBezTo>
                  <a:pt x="2788094" y="5494105"/>
                  <a:pt x="2784532" y="5489561"/>
                  <a:pt x="2787784" y="5485431"/>
                </a:cubicBezTo>
                <a:cubicBezTo>
                  <a:pt x="2788714" y="5486360"/>
                  <a:pt x="2793515" y="5481404"/>
                  <a:pt x="2796923" y="5483262"/>
                </a:cubicBezTo>
                <a:close/>
                <a:moveTo>
                  <a:pt x="2869724" y="5482126"/>
                </a:moveTo>
                <a:cubicBezTo>
                  <a:pt x="2869724" y="5483056"/>
                  <a:pt x="2869105" y="5485638"/>
                  <a:pt x="2869879" y="5485638"/>
                </a:cubicBezTo>
                <a:cubicBezTo>
                  <a:pt x="2868175" y="5487599"/>
                  <a:pt x="2865852" y="5489354"/>
                  <a:pt x="2863683" y="5489458"/>
                </a:cubicBezTo>
                <a:cubicBezTo>
                  <a:pt x="2863064" y="5489458"/>
                  <a:pt x="2862289" y="5489251"/>
                  <a:pt x="2861670" y="5488735"/>
                </a:cubicBezTo>
                <a:cubicBezTo>
                  <a:pt x="2859966" y="5487806"/>
                  <a:pt x="2860740" y="5486154"/>
                  <a:pt x="2862289" y="5484502"/>
                </a:cubicBezTo>
                <a:cubicBezTo>
                  <a:pt x="2864613" y="5480165"/>
                  <a:pt x="2867091" y="5479442"/>
                  <a:pt x="2869724" y="5482126"/>
                </a:cubicBezTo>
                <a:close/>
                <a:moveTo>
                  <a:pt x="2672929" y="5481856"/>
                </a:moveTo>
                <a:cubicBezTo>
                  <a:pt x="2675562" y="5482746"/>
                  <a:pt x="2677885" y="5484605"/>
                  <a:pt x="2678273" y="5486773"/>
                </a:cubicBezTo>
                <a:cubicBezTo>
                  <a:pt x="2677343" y="5489148"/>
                  <a:pt x="2676414" y="5491420"/>
                  <a:pt x="2675484" y="5493794"/>
                </a:cubicBezTo>
                <a:cubicBezTo>
                  <a:pt x="2673626" y="5495137"/>
                  <a:pt x="2671767" y="5495756"/>
                  <a:pt x="2669908" y="5495550"/>
                </a:cubicBezTo>
                <a:cubicBezTo>
                  <a:pt x="2668050" y="5495344"/>
                  <a:pt x="2666500" y="5494517"/>
                  <a:pt x="2665416" y="5493072"/>
                </a:cubicBezTo>
                <a:cubicBezTo>
                  <a:pt x="2664642" y="5492143"/>
                  <a:pt x="2664177" y="5490904"/>
                  <a:pt x="2664022" y="5489458"/>
                </a:cubicBezTo>
                <a:lnTo>
                  <a:pt x="2664177" y="5489251"/>
                </a:lnTo>
                <a:lnTo>
                  <a:pt x="2662938" y="5490181"/>
                </a:lnTo>
                <a:cubicBezTo>
                  <a:pt x="2662318" y="5490490"/>
                  <a:pt x="2661699" y="5490490"/>
                  <a:pt x="2661234" y="5490077"/>
                </a:cubicBezTo>
                <a:cubicBezTo>
                  <a:pt x="2661079" y="5489148"/>
                  <a:pt x="2660305" y="5489251"/>
                  <a:pt x="2660150" y="5488425"/>
                </a:cubicBezTo>
                <a:cubicBezTo>
                  <a:pt x="2659065" y="5486670"/>
                  <a:pt x="2658910" y="5485741"/>
                  <a:pt x="2659685" y="5484811"/>
                </a:cubicBezTo>
                <a:cubicBezTo>
                  <a:pt x="2659530" y="5483985"/>
                  <a:pt x="2660305" y="5483985"/>
                  <a:pt x="2661079" y="5483056"/>
                </a:cubicBezTo>
                <a:cubicBezTo>
                  <a:pt x="2661853" y="5482953"/>
                  <a:pt x="2662783" y="5483779"/>
                  <a:pt x="2662783" y="5483779"/>
                </a:cubicBezTo>
                <a:cubicBezTo>
                  <a:pt x="2663712" y="5484605"/>
                  <a:pt x="2663867" y="5484605"/>
                  <a:pt x="2664487" y="5483676"/>
                </a:cubicBezTo>
                <a:cubicBezTo>
                  <a:pt x="2664487" y="5483676"/>
                  <a:pt x="2664642" y="5484605"/>
                  <a:pt x="2664642" y="5484605"/>
                </a:cubicBezTo>
                <a:cubicBezTo>
                  <a:pt x="2664177" y="5484605"/>
                  <a:pt x="2664177" y="5484605"/>
                  <a:pt x="2664487" y="5484708"/>
                </a:cubicBezTo>
                <a:lnTo>
                  <a:pt x="2665106" y="5485121"/>
                </a:lnTo>
                <a:lnTo>
                  <a:pt x="2665726" y="5482746"/>
                </a:lnTo>
                <a:cubicBezTo>
                  <a:pt x="2667352" y="5481042"/>
                  <a:pt x="2670295" y="5480965"/>
                  <a:pt x="2672929" y="5481856"/>
                </a:cubicBezTo>
                <a:close/>
                <a:moveTo>
                  <a:pt x="3008976" y="5481339"/>
                </a:moveTo>
                <a:cubicBezTo>
                  <a:pt x="3012345" y="5483391"/>
                  <a:pt x="3013778" y="5487651"/>
                  <a:pt x="3013158" y="5491833"/>
                </a:cubicBezTo>
                <a:cubicBezTo>
                  <a:pt x="3012848" y="5494621"/>
                  <a:pt x="3011609" y="5497305"/>
                  <a:pt x="3009286" y="5499267"/>
                </a:cubicBezTo>
                <a:cubicBezTo>
                  <a:pt x="3007737" y="5500610"/>
                  <a:pt x="3005878" y="5501642"/>
                  <a:pt x="3003555" y="5502158"/>
                </a:cubicBezTo>
                <a:cubicBezTo>
                  <a:pt x="3001231" y="5502675"/>
                  <a:pt x="2998443" y="5502778"/>
                  <a:pt x="2995190" y="5502055"/>
                </a:cubicBezTo>
                <a:lnTo>
                  <a:pt x="2993486" y="5494414"/>
                </a:lnTo>
                <a:lnTo>
                  <a:pt x="2988530" y="5497925"/>
                </a:lnTo>
                <a:cubicBezTo>
                  <a:pt x="2986981" y="5495860"/>
                  <a:pt x="2985122" y="5498028"/>
                  <a:pt x="2983728" y="5495137"/>
                </a:cubicBezTo>
                <a:cubicBezTo>
                  <a:pt x="2984193" y="5491626"/>
                  <a:pt x="2988065" y="5488115"/>
                  <a:pt x="2992557" y="5486360"/>
                </a:cubicBezTo>
                <a:lnTo>
                  <a:pt x="2993177" y="5486360"/>
                </a:lnTo>
                <a:lnTo>
                  <a:pt x="2993177" y="5484088"/>
                </a:lnTo>
                <a:cubicBezTo>
                  <a:pt x="3000302" y="5479442"/>
                  <a:pt x="3005607" y="5479287"/>
                  <a:pt x="3008976" y="5481339"/>
                </a:cubicBezTo>
                <a:close/>
                <a:moveTo>
                  <a:pt x="2846180" y="5479132"/>
                </a:moveTo>
                <a:cubicBezTo>
                  <a:pt x="2845870" y="5479648"/>
                  <a:pt x="2845715" y="5479855"/>
                  <a:pt x="2845406" y="5479855"/>
                </a:cubicBezTo>
                <a:cubicBezTo>
                  <a:pt x="2845251" y="5479855"/>
                  <a:pt x="2845096" y="5479648"/>
                  <a:pt x="2844631" y="5479236"/>
                </a:cubicBezTo>
                <a:cubicBezTo>
                  <a:pt x="2845251" y="5478203"/>
                  <a:pt x="2845406" y="5479236"/>
                  <a:pt x="2846180" y="5479132"/>
                </a:cubicBezTo>
                <a:close/>
                <a:moveTo>
                  <a:pt x="2878863" y="5479029"/>
                </a:moveTo>
                <a:cubicBezTo>
                  <a:pt x="2878863" y="5479958"/>
                  <a:pt x="2879638" y="5481714"/>
                  <a:pt x="2878863" y="5481714"/>
                </a:cubicBezTo>
                <a:cubicBezTo>
                  <a:pt x="2878863" y="5482540"/>
                  <a:pt x="2877314" y="5482540"/>
                  <a:pt x="2877314" y="5482540"/>
                </a:cubicBezTo>
                <a:cubicBezTo>
                  <a:pt x="2877314" y="5483469"/>
                  <a:pt x="2877469" y="5484398"/>
                  <a:pt x="2876695" y="5485224"/>
                </a:cubicBezTo>
                <a:cubicBezTo>
                  <a:pt x="2875765" y="5484295"/>
                  <a:pt x="2875765" y="5485224"/>
                  <a:pt x="2874991" y="5485121"/>
                </a:cubicBezTo>
                <a:cubicBezTo>
                  <a:pt x="2875765" y="5484295"/>
                  <a:pt x="2875765" y="5481610"/>
                  <a:pt x="2876385" y="5479855"/>
                </a:cubicBezTo>
                <a:cubicBezTo>
                  <a:pt x="2877314" y="5479855"/>
                  <a:pt x="2878089" y="5479029"/>
                  <a:pt x="2878863" y="5479029"/>
                </a:cubicBezTo>
                <a:close/>
                <a:moveTo>
                  <a:pt x="2741780" y="5478203"/>
                </a:moveTo>
                <a:cubicBezTo>
                  <a:pt x="2746427" y="5481404"/>
                  <a:pt x="2743174" y="5485224"/>
                  <a:pt x="2743329" y="5490800"/>
                </a:cubicBezTo>
                <a:cubicBezTo>
                  <a:pt x="2738837" y="5490181"/>
                  <a:pt x="2736514" y="5483159"/>
                  <a:pt x="2738372" y="5479855"/>
                </a:cubicBezTo>
                <a:cubicBezTo>
                  <a:pt x="2738992" y="5478822"/>
                  <a:pt x="2740076" y="5478100"/>
                  <a:pt x="2741780" y="5478203"/>
                </a:cubicBezTo>
                <a:close/>
                <a:moveTo>
                  <a:pt x="3063403" y="5478074"/>
                </a:moveTo>
                <a:cubicBezTo>
                  <a:pt x="3066172" y="5477997"/>
                  <a:pt x="3068456" y="5478771"/>
                  <a:pt x="3069231" y="5478410"/>
                </a:cubicBezTo>
                <a:cubicBezTo>
                  <a:pt x="3071244" y="5480475"/>
                  <a:pt x="3071864" y="5480887"/>
                  <a:pt x="3070315" y="5483056"/>
                </a:cubicBezTo>
                <a:lnTo>
                  <a:pt x="3068611" y="5485327"/>
                </a:lnTo>
                <a:lnTo>
                  <a:pt x="3069850" y="5487186"/>
                </a:lnTo>
                <a:cubicBezTo>
                  <a:pt x="3069076" y="5488012"/>
                  <a:pt x="3068301" y="5488838"/>
                  <a:pt x="3067527" y="5489664"/>
                </a:cubicBezTo>
                <a:lnTo>
                  <a:pt x="3063964" y="5487703"/>
                </a:lnTo>
                <a:lnTo>
                  <a:pt x="3061486" y="5487496"/>
                </a:lnTo>
                <a:cubicBezTo>
                  <a:pt x="3059937" y="5488322"/>
                  <a:pt x="3057304" y="5488219"/>
                  <a:pt x="3055755" y="5487186"/>
                </a:cubicBezTo>
                <a:cubicBezTo>
                  <a:pt x="3053896" y="5485431"/>
                  <a:pt x="3053896" y="5483676"/>
                  <a:pt x="3054671" y="5482849"/>
                </a:cubicBezTo>
                <a:cubicBezTo>
                  <a:pt x="3057381" y="5479081"/>
                  <a:pt x="3060634" y="5478151"/>
                  <a:pt x="3063403" y="5478074"/>
                </a:cubicBezTo>
                <a:close/>
                <a:moveTo>
                  <a:pt x="2551722" y="5475415"/>
                </a:moveTo>
                <a:cubicBezTo>
                  <a:pt x="2553117" y="5480061"/>
                  <a:pt x="2550638" y="5480887"/>
                  <a:pt x="2548159" y="5481714"/>
                </a:cubicBezTo>
                <a:cubicBezTo>
                  <a:pt x="2547850" y="5478616"/>
                  <a:pt x="2544132" y="5479236"/>
                  <a:pt x="2545527" y="5475725"/>
                </a:cubicBezTo>
                <a:cubicBezTo>
                  <a:pt x="2546920" y="5474692"/>
                  <a:pt x="2548624" y="5474382"/>
                  <a:pt x="2551722" y="5475415"/>
                </a:cubicBezTo>
                <a:close/>
                <a:moveTo>
                  <a:pt x="2959100" y="5474486"/>
                </a:moveTo>
                <a:cubicBezTo>
                  <a:pt x="2961733" y="5477377"/>
                  <a:pt x="2962507" y="5480268"/>
                  <a:pt x="2961888" y="5482746"/>
                </a:cubicBezTo>
                <a:cubicBezTo>
                  <a:pt x="2960958" y="5486360"/>
                  <a:pt x="2957396" y="5489148"/>
                  <a:pt x="2953214" y="5490181"/>
                </a:cubicBezTo>
                <a:cubicBezTo>
                  <a:pt x="2949186" y="5491110"/>
                  <a:pt x="2944694" y="5490181"/>
                  <a:pt x="2942216" y="5486360"/>
                </a:cubicBezTo>
                <a:cubicBezTo>
                  <a:pt x="2942680" y="5478410"/>
                  <a:pt x="2953369" y="5473970"/>
                  <a:pt x="2959100" y="5474486"/>
                </a:cubicBezTo>
                <a:close/>
                <a:moveTo>
                  <a:pt x="2645667" y="5473789"/>
                </a:moveTo>
                <a:cubicBezTo>
                  <a:pt x="2648455" y="5472369"/>
                  <a:pt x="2651863" y="5472627"/>
                  <a:pt x="2653644" y="5474899"/>
                </a:cubicBezTo>
                <a:cubicBezTo>
                  <a:pt x="2654883" y="5476344"/>
                  <a:pt x="2655193" y="5478616"/>
                  <a:pt x="2654264" y="5482023"/>
                </a:cubicBezTo>
                <a:cubicBezTo>
                  <a:pt x="2649927" y="5481817"/>
                  <a:pt x="2647293" y="5483779"/>
                  <a:pt x="2644350" y="5483676"/>
                </a:cubicBezTo>
                <a:cubicBezTo>
                  <a:pt x="2643421" y="5483676"/>
                  <a:pt x="2642492" y="5483366"/>
                  <a:pt x="2641407" y="5482746"/>
                </a:cubicBezTo>
                <a:cubicBezTo>
                  <a:pt x="2640710" y="5478306"/>
                  <a:pt x="2642879" y="5475208"/>
                  <a:pt x="2645667" y="5473789"/>
                </a:cubicBezTo>
                <a:close/>
                <a:moveTo>
                  <a:pt x="2872822" y="5472008"/>
                </a:moveTo>
                <a:cubicBezTo>
                  <a:pt x="2873597" y="5471181"/>
                  <a:pt x="2874371" y="5471181"/>
                  <a:pt x="2875301" y="5472111"/>
                </a:cubicBezTo>
                <a:cubicBezTo>
                  <a:pt x="2875301" y="5472111"/>
                  <a:pt x="2874526" y="5473866"/>
                  <a:pt x="2874526" y="5473866"/>
                </a:cubicBezTo>
                <a:cubicBezTo>
                  <a:pt x="2872977" y="5475518"/>
                  <a:pt x="2872048" y="5476344"/>
                  <a:pt x="2871273" y="5477996"/>
                </a:cubicBezTo>
                <a:cubicBezTo>
                  <a:pt x="2869569" y="5477067"/>
                  <a:pt x="2869414" y="5476241"/>
                  <a:pt x="2870344" y="5475415"/>
                </a:cubicBezTo>
                <a:cubicBezTo>
                  <a:pt x="2870344" y="5475415"/>
                  <a:pt x="2871118" y="5474589"/>
                  <a:pt x="2872048" y="5473763"/>
                </a:cubicBezTo>
                <a:cubicBezTo>
                  <a:pt x="2872822" y="5472937"/>
                  <a:pt x="2872822" y="5472008"/>
                  <a:pt x="2872822" y="5472008"/>
                </a:cubicBezTo>
                <a:close/>
                <a:moveTo>
                  <a:pt x="2768112" y="5471904"/>
                </a:moveTo>
                <a:cubicBezTo>
                  <a:pt x="2769197" y="5472214"/>
                  <a:pt x="2770281" y="5472524"/>
                  <a:pt x="2769971" y="5473659"/>
                </a:cubicBezTo>
                <a:cubicBezTo>
                  <a:pt x="2769661" y="5474899"/>
                  <a:pt x="2769971" y="5475621"/>
                  <a:pt x="2768112" y="5475828"/>
                </a:cubicBezTo>
                <a:cubicBezTo>
                  <a:pt x="2767338" y="5476241"/>
                  <a:pt x="2766254" y="5476035"/>
                  <a:pt x="2765479" y="5476551"/>
                </a:cubicBezTo>
                <a:cubicBezTo>
                  <a:pt x="2765479" y="5476551"/>
                  <a:pt x="2765014" y="5476035"/>
                  <a:pt x="2764705" y="5475518"/>
                </a:cubicBezTo>
                <a:cubicBezTo>
                  <a:pt x="2764240" y="5474899"/>
                  <a:pt x="2763775" y="5474176"/>
                  <a:pt x="2763930" y="5473556"/>
                </a:cubicBezTo>
                <a:cubicBezTo>
                  <a:pt x="2763930" y="5471595"/>
                  <a:pt x="2767338" y="5472420"/>
                  <a:pt x="2768112" y="5471904"/>
                </a:cubicBezTo>
                <a:close/>
                <a:moveTo>
                  <a:pt x="2834873" y="5468393"/>
                </a:moveTo>
                <a:cubicBezTo>
                  <a:pt x="2829296" y="5476035"/>
                  <a:pt x="2824030" y="5471491"/>
                  <a:pt x="2820932" y="5475725"/>
                </a:cubicBezTo>
                <a:cubicBezTo>
                  <a:pt x="2820003" y="5473970"/>
                  <a:pt x="2820003" y="5473970"/>
                  <a:pt x="2820777" y="5472214"/>
                </a:cubicBezTo>
                <a:cubicBezTo>
                  <a:pt x="2821552" y="5472214"/>
                  <a:pt x="2821552" y="5471388"/>
                  <a:pt x="2822481" y="5472317"/>
                </a:cubicBezTo>
                <a:cubicBezTo>
                  <a:pt x="2824030" y="5469736"/>
                  <a:pt x="2831465" y="5467361"/>
                  <a:pt x="2834873" y="5468393"/>
                </a:cubicBezTo>
                <a:close/>
                <a:moveTo>
                  <a:pt x="3116629" y="5467877"/>
                </a:moveTo>
                <a:cubicBezTo>
                  <a:pt x="3119107" y="5466225"/>
                  <a:pt x="3127782" y="5471801"/>
                  <a:pt x="3122980" y="5476035"/>
                </a:cubicBezTo>
                <a:cubicBezTo>
                  <a:pt x="3122360" y="5476654"/>
                  <a:pt x="3121431" y="5476654"/>
                  <a:pt x="3120501" y="5476241"/>
                </a:cubicBezTo>
                <a:cubicBezTo>
                  <a:pt x="3117559" y="5475105"/>
                  <a:pt x="3114306" y="5470355"/>
                  <a:pt x="3116629" y="5467877"/>
                </a:cubicBezTo>
                <a:close/>
                <a:moveTo>
                  <a:pt x="2742554" y="5466948"/>
                </a:moveTo>
                <a:cubicBezTo>
                  <a:pt x="2744258" y="5468910"/>
                  <a:pt x="2745962" y="5470872"/>
                  <a:pt x="2744878" y="5475105"/>
                </a:cubicBezTo>
                <a:cubicBezTo>
                  <a:pt x="2743484" y="5476241"/>
                  <a:pt x="2742090" y="5476964"/>
                  <a:pt x="2740696" y="5477067"/>
                </a:cubicBezTo>
                <a:cubicBezTo>
                  <a:pt x="2739147" y="5477274"/>
                  <a:pt x="2737443" y="5476964"/>
                  <a:pt x="2735274" y="5476241"/>
                </a:cubicBezTo>
                <a:cubicBezTo>
                  <a:pt x="2733725" y="5472317"/>
                  <a:pt x="2737288" y="5464883"/>
                  <a:pt x="2742554" y="5466948"/>
                </a:cubicBezTo>
                <a:close/>
                <a:moveTo>
                  <a:pt x="2610428" y="5465606"/>
                </a:moveTo>
                <a:cubicBezTo>
                  <a:pt x="2613681" y="5465812"/>
                  <a:pt x="2616779" y="5467671"/>
                  <a:pt x="2620961" y="5473040"/>
                </a:cubicBezTo>
                <a:cubicBezTo>
                  <a:pt x="2606710" y="5481817"/>
                  <a:pt x="2623749" y="5489871"/>
                  <a:pt x="2613061" y="5497409"/>
                </a:cubicBezTo>
                <a:cubicBezTo>
                  <a:pt x="2609189" y="5498028"/>
                  <a:pt x="2605316" y="5499680"/>
                  <a:pt x="2601289" y="5499990"/>
                </a:cubicBezTo>
                <a:cubicBezTo>
                  <a:pt x="2600050" y="5500093"/>
                  <a:pt x="2598656" y="5500093"/>
                  <a:pt x="2597262" y="5499783"/>
                </a:cubicBezTo>
                <a:cubicBezTo>
                  <a:pt x="2595403" y="5499474"/>
                  <a:pt x="2593699" y="5498751"/>
                  <a:pt x="2591840" y="5497305"/>
                </a:cubicBezTo>
                <a:cubicBezTo>
                  <a:pt x="2601289" y="5486463"/>
                  <a:pt x="2604077" y="5476654"/>
                  <a:pt x="2610428" y="5465606"/>
                </a:cubicBezTo>
                <a:close/>
                <a:moveTo>
                  <a:pt x="2841378" y="5464573"/>
                </a:moveTo>
                <a:cubicBezTo>
                  <a:pt x="2840604" y="5465399"/>
                  <a:pt x="2838900" y="5466225"/>
                  <a:pt x="2838125" y="5467051"/>
                </a:cubicBezTo>
                <a:cubicBezTo>
                  <a:pt x="2838125" y="5467051"/>
                  <a:pt x="2838125" y="5467051"/>
                  <a:pt x="2837196" y="5466122"/>
                </a:cubicBezTo>
                <a:cubicBezTo>
                  <a:pt x="2838900" y="5466225"/>
                  <a:pt x="2839675" y="5462714"/>
                  <a:pt x="2841378" y="5464573"/>
                </a:cubicBezTo>
                <a:close/>
                <a:moveTo>
                  <a:pt x="2828251" y="5463889"/>
                </a:moveTo>
                <a:cubicBezTo>
                  <a:pt x="2830574" y="5463876"/>
                  <a:pt x="2832472" y="5464160"/>
                  <a:pt x="2832859" y="5464160"/>
                </a:cubicBezTo>
                <a:cubicBezTo>
                  <a:pt x="2832859" y="5465089"/>
                  <a:pt x="2832859" y="5465089"/>
                  <a:pt x="2832859" y="5465089"/>
                </a:cubicBezTo>
                <a:cubicBezTo>
                  <a:pt x="2830381" y="5464263"/>
                  <a:pt x="2827438" y="5466328"/>
                  <a:pt x="2824340" y="5466638"/>
                </a:cubicBezTo>
                <a:cubicBezTo>
                  <a:pt x="2823255" y="5466742"/>
                  <a:pt x="2822171" y="5466638"/>
                  <a:pt x="2821087" y="5466225"/>
                </a:cubicBezTo>
                <a:cubicBezTo>
                  <a:pt x="2821087" y="5466225"/>
                  <a:pt x="2821087" y="5466122"/>
                  <a:pt x="2822016" y="5466225"/>
                </a:cubicBezTo>
                <a:cubicBezTo>
                  <a:pt x="2822016" y="5466225"/>
                  <a:pt x="2821087" y="5466225"/>
                  <a:pt x="2821087" y="5465399"/>
                </a:cubicBezTo>
                <a:cubicBezTo>
                  <a:pt x="2823178" y="5464212"/>
                  <a:pt x="2825927" y="5463902"/>
                  <a:pt x="2828251" y="5463889"/>
                </a:cubicBezTo>
                <a:close/>
                <a:moveTo>
                  <a:pt x="3037632" y="5463437"/>
                </a:moveTo>
                <a:cubicBezTo>
                  <a:pt x="3039491" y="5465192"/>
                  <a:pt x="3041194" y="5464470"/>
                  <a:pt x="3042898" y="5466225"/>
                </a:cubicBezTo>
                <a:cubicBezTo>
                  <a:pt x="3041349" y="5467877"/>
                  <a:pt x="3040420" y="5469633"/>
                  <a:pt x="3039646" y="5470458"/>
                </a:cubicBezTo>
                <a:cubicBezTo>
                  <a:pt x="3036238" y="5468600"/>
                  <a:pt x="3035308" y="5465915"/>
                  <a:pt x="3037632" y="5463437"/>
                </a:cubicBezTo>
                <a:close/>
                <a:moveTo>
                  <a:pt x="2673626" y="5461062"/>
                </a:moveTo>
                <a:cubicBezTo>
                  <a:pt x="2681061" y="5461062"/>
                  <a:pt x="2693452" y="5461579"/>
                  <a:pt x="2699028" y="5466225"/>
                </a:cubicBezTo>
                <a:cubicBezTo>
                  <a:pt x="2697789" y="5468497"/>
                  <a:pt x="2695776" y="5469529"/>
                  <a:pt x="2693452" y="5469839"/>
                </a:cubicBezTo>
                <a:cubicBezTo>
                  <a:pt x="2686482" y="5470769"/>
                  <a:pt x="2676414" y="5464573"/>
                  <a:pt x="2673626" y="5461062"/>
                </a:cubicBezTo>
                <a:close/>
                <a:moveTo>
                  <a:pt x="2524771" y="5460236"/>
                </a:moveTo>
                <a:cubicBezTo>
                  <a:pt x="2526319" y="5461166"/>
                  <a:pt x="2528798" y="5460340"/>
                  <a:pt x="2530347" y="5462095"/>
                </a:cubicBezTo>
                <a:cubicBezTo>
                  <a:pt x="2530347" y="5462095"/>
                  <a:pt x="2531121" y="5463024"/>
                  <a:pt x="2530966" y="5464676"/>
                </a:cubicBezTo>
                <a:cubicBezTo>
                  <a:pt x="2532360" y="5467361"/>
                  <a:pt x="2529572" y="5469943"/>
                  <a:pt x="2529572" y="5469943"/>
                </a:cubicBezTo>
                <a:cubicBezTo>
                  <a:pt x="2529572" y="5469943"/>
                  <a:pt x="2529572" y="5469943"/>
                  <a:pt x="2530502" y="5469943"/>
                </a:cubicBezTo>
                <a:cubicBezTo>
                  <a:pt x="2528798" y="5469943"/>
                  <a:pt x="2526939" y="5470769"/>
                  <a:pt x="2525390" y="5470769"/>
                </a:cubicBezTo>
                <a:cubicBezTo>
                  <a:pt x="2523841" y="5469426"/>
                  <a:pt x="2522912" y="5468290"/>
                  <a:pt x="2522292" y="5467361"/>
                </a:cubicBezTo>
                <a:cubicBezTo>
                  <a:pt x="2520588" y="5464470"/>
                  <a:pt x="2522602" y="5462818"/>
                  <a:pt x="2524771" y="5460236"/>
                </a:cubicBezTo>
                <a:close/>
                <a:moveTo>
                  <a:pt x="2934471" y="5456313"/>
                </a:moveTo>
                <a:cubicBezTo>
                  <a:pt x="2938189" y="5453835"/>
                  <a:pt x="2941596" y="5454660"/>
                  <a:pt x="2945469" y="5457242"/>
                </a:cubicBezTo>
                <a:cubicBezTo>
                  <a:pt x="2945314" y="5458894"/>
                  <a:pt x="2942525" y="5460753"/>
                  <a:pt x="2940512" y="5461992"/>
                </a:cubicBezTo>
                <a:cubicBezTo>
                  <a:pt x="2938034" y="5461476"/>
                  <a:pt x="2935865" y="5459204"/>
                  <a:pt x="2934471" y="5456313"/>
                </a:cubicBezTo>
                <a:close/>
                <a:moveTo>
                  <a:pt x="3156283" y="5453421"/>
                </a:moveTo>
                <a:lnTo>
                  <a:pt x="3156283" y="5454557"/>
                </a:lnTo>
                <a:cubicBezTo>
                  <a:pt x="3156283" y="5455486"/>
                  <a:pt x="3156592" y="5456416"/>
                  <a:pt x="3157057" y="5457139"/>
                </a:cubicBezTo>
                <a:lnTo>
                  <a:pt x="3160774" y="5455074"/>
                </a:lnTo>
                <a:lnTo>
                  <a:pt x="3159845" y="5454970"/>
                </a:lnTo>
                <a:close/>
                <a:moveTo>
                  <a:pt x="3166196" y="5453215"/>
                </a:moveTo>
                <a:lnTo>
                  <a:pt x="3165112" y="5453525"/>
                </a:lnTo>
                <a:cubicBezTo>
                  <a:pt x="3164492" y="5453938"/>
                  <a:pt x="3164337" y="5454454"/>
                  <a:pt x="3165266" y="5455074"/>
                </a:cubicBezTo>
                <a:lnTo>
                  <a:pt x="3162323" y="5455074"/>
                </a:lnTo>
                <a:lnTo>
                  <a:pt x="3162943" y="5455280"/>
                </a:lnTo>
                <a:cubicBezTo>
                  <a:pt x="3163563" y="5455590"/>
                  <a:pt x="3164182" y="5456313"/>
                  <a:pt x="3164957" y="5457345"/>
                </a:cubicBezTo>
                <a:lnTo>
                  <a:pt x="3166970" y="5456106"/>
                </a:lnTo>
                <a:close/>
                <a:moveTo>
                  <a:pt x="3117094" y="5452905"/>
                </a:moveTo>
                <a:cubicBezTo>
                  <a:pt x="3117559" y="5453628"/>
                  <a:pt x="3118643" y="5453938"/>
                  <a:pt x="3119107" y="5454660"/>
                </a:cubicBezTo>
                <a:cubicBezTo>
                  <a:pt x="3118488" y="5455074"/>
                  <a:pt x="3117559" y="5456725"/>
                  <a:pt x="3117094" y="5456003"/>
                </a:cubicBezTo>
                <a:cubicBezTo>
                  <a:pt x="3116474" y="5456519"/>
                  <a:pt x="3115390" y="5455074"/>
                  <a:pt x="3115390" y="5455074"/>
                </a:cubicBezTo>
                <a:cubicBezTo>
                  <a:pt x="3114770" y="5455486"/>
                  <a:pt x="3113996" y="5455900"/>
                  <a:pt x="3112912" y="5455693"/>
                </a:cubicBezTo>
                <a:cubicBezTo>
                  <a:pt x="3113066" y="5454454"/>
                  <a:pt x="3112292" y="5454970"/>
                  <a:pt x="3111827" y="5454247"/>
                </a:cubicBezTo>
                <a:cubicBezTo>
                  <a:pt x="3113066" y="5454557"/>
                  <a:pt x="3115235" y="5453112"/>
                  <a:pt x="3117094" y="5452905"/>
                </a:cubicBezTo>
                <a:close/>
                <a:moveTo>
                  <a:pt x="2474584" y="5450737"/>
                </a:moveTo>
                <a:cubicBezTo>
                  <a:pt x="2475359" y="5451666"/>
                  <a:pt x="2475978" y="5452905"/>
                  <a:pt x="2476288" y="5454660"/>
                </a:cubicBezTo>
                <a:cubicBezTo>
                  <a:pt x="2473345" y="5458275"/>
                  <a:pt x="2469317" y="5464573"/>
                  <a:pt x="2463896" y="5465606"/>
                </a:cubicBezTo>
                <a:cubicBezTo>
                  <a:pt x="2462192" y="5465915"/>
                  <a:pt x="2460334" y="5465606"/>
                  <a:pt x="2458165" y="5464470"/>
                </a:cubicBezTo>
                <a:cubicBezTo>
                  <a:pt x="2457700" y="5455280"/>
                  <a:pt x="2469472" y="5444128"/>
                  <a:pt x="2474584" y="5450737"/>
                </a:cubicBezTo>
                <a:close/>
                <a:moveTo>
                  <a:pt x="3142497" y="5449911"/>
                </a:moveTo>
                <a:lnTo>
                  <a:pt x="3141567" y="5450634"/>
                </a:lnTo>
                <a:lnTo>
                  <a:pt x="3141877" y="5451150"/>
                </a:lnTo>
                <a:cubicBezTo>
                  <a:pt x="3142342" y="5451666"/>
                  <a:pt x="3142807" y="5452389"/>
                  <a:pt x="3142342" y="5453318"/>
                </a:cubicBezTo>
                <a:cubicBezTo>
                  <a:pt x="3143736" y="5453525"/>
                  <a:pt x="3146059" y="5453835"/>
                  <a:pt x="3148383" y="5453835"/>
                </a:cubicBezTo>
                <a:cubicBezTo>
                  <a:pt x="3150551" y="5453938"/>
                  <a:pt x="3152720" y="5453731"/>
                  <a:pt x="3153495" y="5452802"/>
                </a:cubicBezTo>
                <a:lnTo>
                  <a:pt x="3153649" y="5452286"/>
                </a:lnTo>
                <a:lnTo>
                  <a:pt x="3147144" y="5450220"/>
                </a:lnTo>
                <a:close/>
                <a:moveTo>
                  <a:pt x="2806991" y="5449085"/>
                </a:moveTo>
                <a:cubicBezTo>
                  <a:pt x="2810089" y="5464780"/>
                  <a:pt x="2816905" y="5478719"/>
                  <a:pt x="2819073" y="5491833"/>
                </a:cubicBezTo>
                <a:cubicBezTo>
                  <a:pt x="2806527" y="5483779"/>
                  <a:pt x="2803429" y="5465606"/>
                  <a:pt x="2797853" y="5450737"/>
                </a:cubicBezTo>
                <a:cubicBezTo>
                  <a:pt x="2800950" y="5450530"/>
                  <a:pt x="2802189" y="5448362"/>
                  <a:pt x="2806991" y="5449085"/>
                </a:cubicBezTo>
                <a:close/>
                <a:moveTo>
                  <a:pt x="2673471" y="5448155"/>
                </a:moveTo>
                <a:cubicBezTo>
                  <a:pt x="2677963" y="5447846"/>
                  <a:pt x="2677963" y="5450634"/>
                  <a:pt x="2678118" y="5453421"/>
                </a:cubicBezTo>
                <a:cubicBezTo>
                  <a:pt x="2675949" y="5453112"/>
                  <a:pt x="2675174" y="5455177"/>
                  <a:pt x="2673781" y="5455280"/>
                </a:cubicBezTo>
                <a:cubicBezTo>
                  <a:pt x="2673316" y="5455280"/>
                  <a:pt x="2672851" y="5455074"/>
                  <a:pt x="2672077" y="5454557"/>
                </a:cubicBezTo>
                <a:cubicBezTo>
                  <a:pt x="2671457" y="5452905"/>
                  <a:pt x="2671612" y="5450943"/>
                  <a:pt x="2673471" y="5448155"/>
                </a:cubicBezTo>
                <a:close/>
                <a:moveTo>
                  <a:pt x="2839829" y="5446090"/>
                </a:moveTo>
                <a:cubicBezTo>
                  <a:pt x="2841533" y="5449911"/>
                  <a:pt x="2837506" y="5454041"/>
                  <a:pt x="2834098" y="5453318"/>
                </a:cubicBezTo>
                <a:cubicBezTo>
                  <a:pt x="2830226" y="5448362"/>
                  <a:pt x="2836886" y="5444645"/>
                  <a:pt x="2839829" y="5446090"/>
                </a:cubicBezTo>
                <a:close/>
                <a:moveTo>
                  <a:pt x="3116784" y="5445471"/>
                </a:moveTo>
                <a:cubicBezTo>
                  <a:pt x="3116784" y="5445471"/>
                  <a:pt x="3118023" y="5445884"/>
                  <a:pt x="3119107" y="5446193"/>
                </a:cubicBezTo>
                <a:cubicBezTo>
                  <a:pt x="3120347" y="5446504"/>
                  <a:pt x="3120966" y="5446090"/>
                  <a:pt x="3120966" y="5446090"/>
                </a:cubicBezTo>
                <a:cubicBezTo>
                  <a:pt x="3122205" y="5446400"/>
                  <a:pt x="3122825" y="5447123"/>
                  <a:pt x="3122515" y="5448362"/>
                </a:cubicBezTo>
                <a:cubicBezTo>
                  <a:pt x="3122515" y="5448362"/>
                  <a:pt x="3120656" y="5448568"/>
                  <a:pt x="3120656" y="5448568"/>
                </a:cubicBezTo>
                <a:cubicBezTo>
                  <a:pt x="3118333" y="5447846"/>
                  <a:pt x="3117094" y="5447536"/>
                  <a:pt x="3115235" y="5447639"/>
                </a:cubicBezTo>
                <a:cubicBezTo>
                  <a:pt x="3114925" y="5445574"/>
                  <a:pt x="3115545" y="5445161"/>
                  <a:pt x="3116784" y="5445471"/>
                </a:cubicBezTo>
                <a:close/>
                <a:moveTo>
                  <a:pt x="2413090" y="5444645"/>
                </a:moveTo>
                <a:cubicBezTo>
                  <a:pt x="2414484" y="5446400"/>
                  <a:pt x="2416808" y="5449085"/>
                  <a:pt x="2414794" y="5451666"/>
                </a:cubicBezTo>
                <a:cubicBezTo>
                  <a:pt x="2414020" y="5451666"/>
                  <a:pt x="2414020" y="5452492"/>
                  <a:pt x="2413090" y="5452492"/>
                </a:cubicBezTo>
                <a:cubicBezTo>
                  <a:pt x="2413090" y="5452492"/>
                  <a:pt x="2412315" y="5452905"/>
                  <a:pt x="2410922" y="5453009"/>
                </a:cubicBezTo>
                <a:cubicBezTo>
                  <a:pt x="2409682" y="5453112"/>
                  <a:pt x="2408134" y="5452905"/>
                  <a:pt x="2406584" y="5451563"/>
                </a:cubicBezTo>
                <a:cubicBezTo>
                  <a:pt x="2406275" y="5451150"/>
                  <a:pt x="2405655" y="5450220"/>
                  <a:pt x="2405345" y="5449394"/>
                </a:cubicBezTo>
                <a:cubicBezTo>
                  <a:pt x="2405036" y="5448672"/>
                  <a:pt x="2404880" y="5448052"/>
                  <a:pt x="2405345" y="5448052"/>
                </a:cubicBezTo>
                <a:cubicBezTo>
                  <a:pt x="2406275" y="5447123"/>
                  <a:pt x="2405345" y="5447123"/>
                  <a:pt x="2405500" y="5446297"/>
                </a:cubicBezTo>
                <a:cubicBezTo>
                  <a:pt x="2408134" y="5443715"/>
                  <a:pt x="2410767" y="5442889"/>
                  <a:pt x="2413090" y="5444645"/>
                </a:cubicBezTo>
                <a:close/>
                <a:moveTo>
                  <a:pt x="2697015" y="5443509"/>
                </a:moveTo>
                <a:cubicBezTo>
                  <a:pt x="2698719" y="5444645"/>
                  <a:pt x="2700113" y="5446813"/>
                  <a:pt x="2700423" y="5450220"/>
                </a:cubicBezTo>
                <a:cubicBezTo>
                  <a:pt x="2696240" y="5451150"/>
                  <a:pt x="2694382" y="5453628"/>
                  <a:pt x="2691594" y="5454247"/>
                </a:cubicBezTo>
                <a:cubicBezTo>
                  <a:pt x="2690664" y="5454351"/>
                  <a:pt x="2689580" y="5454351"/>
                  <a:pt x="2688186" y="5454041"/>
                </a:cubicBezTo>
                <a:cubicBezTo>
                  <a:pt x="2683694" y="5445884"/>
                  <a:pt x="2691903" y="5440101"/>
                  <a:pt x="2697015" y="5443509"/>
                </a:cubicBezTo>
                <a:close/>
                <a:moveTo>
                  <a:pt x="3104547" y="5442889"/>
                </a:moveTo>
                <a:cubicBezTo>
                  <a:pt x="3109349" y="5442889"/>
                  <a:pt x="3111517" y="5444645"/>
                  <a:pt x="3111053" y="5448258"/>
                </a:cubicBezTo>
                <a:cubicBezTo>
                  <a:pt x="3110278" y="5448672"/>
                  <a:pt x="3107800" y="5449291"/>
                  <a:pt x="3108265" y="5450117"/>
                </a:cubicBezTo>
                <a:cubicBezTo>
                  <a:pt x="3105631" y="5449394"/>
                  <a:pt x="3102688" y="5448258"/>
                  <a:pt x="3101295" y="5446504"/>
                </a:cubicBezTo>
                <a:cubicBezTo>
                  <a:pt x="3100984" y="5445884"/>
                  <a:pt x="3100675" y="5445161"/>
                  <a:pt x="3100675" y="5444438"/>
                </a:cubicBezTo>
                <a:cubicBezTo>
                  <a:pt x="3100365" y="5442476"/>
                  <a:pt x="3102224" y="5442270"/>
                  <a:pt x="3104547" y="5442889"/>
                </a:cubicBezTo>
                <a:close/>
                <a:moveTo>
                  <a:pt x="2416808" y="5441341"/>
                </a:moveTo>
                <a:cubicBezTo>
                  <a:pt x="2417427" y="5442270"/>
                  <a:pt x="2418201" y="5443922"/>
                  <a:pt x="2417272" y="5444748"/>
                </a:cubicBezTo>
                <a:cubicBezTo>
                  <a:pt x="2416808" y="5445574"/>
                  <a:pt x="2416343" y="5445574"/>
                  <a:pt x="2415878" y="5445264"/>
                </a:cubicBezTo>
                <a:cubicBezTo>
                  <a:pt x="2415413" y="5444954"/>
                  <a:pt x="2414794" y="5444335"/>
                  <a:pt x="2414020" y="5443922"/>
                </a:cubicBezTo>
                <a:close/>
                <a:moveTo>
                  <a:pt x="2865426" y="5440101"/>
                </a:moveTo>
                <a:cubicBezTo>
                  <a:pt x="2868059" y="5440308"/>
                  <a:pt x="2870809" y="5441341"/>
                  <a:pt x="2873752" y="5444025"/>
                </a:cubicBezTo>
                <a:cubicBezTo>
                  <a:pt x="2874681" y="5450737"/>
                  <a:pt x="2872357" y="5455486"/>
                  <a:pt x="2865077" y="5461476"/>
                </a:cubicBezTo>
                <a:cubicBezTo>
                  <a:pt x="2863529" y="5461372"/>
                  <a:pt x="2861979" y="5460856"/>
                  <a:pt x="2860586" y="5460030"/>
                </a:cubicBezTo>
                <a:lnTo>
                  <a:pt x="2860431" y="5459926"/>
                </a:lnTo>
                <a:lnTo>
                  <a:pt x="2860121" y="5460236"/>
                </a:lnTo>
                <a:cubicBezTo>
                  <a:pt x="2859346" y="5460443"/>
                  <a:pt x="2858727" y="5460443"/>
                  <a:pt x="2858107" y="5459926"/>
                </a:cubicBezTo>
                <a:cubicBezTo>
                  <a:pt x="2857643" y="5459514"/>
                  <a:pt x="2857643" y="5459101"/>
                  <a:pt x="2857643" y="5458687"/>
                </a:cubicBezTo>
                <a:lnTo>
                  <a:pt x="2857797" y="5457655"/>
                </a:lnTo>
                <a:lnTo>
                  <a:pt x="2856713" y="5456725"/>
                </a:lnTo>
                <a:cubicBezTo>
                  <a:pt x="2854544" y="5454041"/>
                  <a:pt x="2853305" y="5450634"/>
                  <a:pt x="2853925" y="5447329"/>
                </a:cubicBezTo>
                <a:cubicBezTo>
                  <a:pt x="2854235" y="5445161"/>
                  <a:pt x="2855474" y="5442992"/>
                  <a:pt x="2857797" y="5441134"/>
                </a:cubicBezTo>
                <a:cubicBezTo>
                  <a:pt x="2860276" y="5440514"/>
                  <a:pt x="2862793" y="5439895"/>
                  <a:pt x="2865426" y="5440101"/>
                </a:cubicBezTo>
                <a:close/>
                <a:moveTo>
                  <a:pt x="2659375" y="5438759"/>
                </a:moveTo>
                <a:cubicBezTo>
                  <a:pt x="2661079" y="5438243"/>
                  <a:pt x="2662783" y="5438656"/>
                  <a:pt x="2664951" y="5440618"/>
                </a:cubicBezTo>
                <a:cubicBezTo>
                  <a:pt x="2664177" y="5445367"/>
                  <a:pt x="2661544" y="5445161"/>
                  <a:pt x="2658756" y="5445058"/>
                </a:cubicBezTo>
                <a:cubicBezTo>
                  <a:pt x="2659995" y="5442063"/>
                  <a:pt x="2656432" y="5441341"/>
                  <a:pt x="2659375" y="5438759"/>
                </a:cubicBezTo>
                <a:close/>
                <a:moveTo>
                  <a:pt x="2426256" y="5437933"/>
                </a:moveTo>
                <a:cubicBezTo>
                  <a:pt x="2427186" y="5437933"/>
                  <a:pt x="2427031" y="5438862"/>
                  <a:pt x="2427805" y="5439688"/>
                </a:cubicBezTo>
                <a:cubicBezTo>
                  <a:pt x="2428425" y="5441444"/>
                  <a:pt x="2428115" y="5443922"/>
                  <a:pt x="2427186" y="5444748"/>
                </a:cubicBezTo>
                <a:cubicBezTo>
                  <a:pt x="2426411" y="5445574"/>
                  <a:pt x="2425482" y="5445574"/>
                  <a:pt x="2425482" y="5445574"/>
                </a:cubicBezTo>
                <a:cubicBezTo>
                  <a:pt x="2424398" y="5444748"/>
                  <a:pt x="2423468" y="5443612"/>
                  <a:pt x="2423158" y="5442476"/>
                </a:cubicBezTo>
                <a:cubicBezTo>
                  <a:pt x="2422848" y="5441237"/>
                  <a:pt x="2423158" y="5439998"/>
                  <a:pt x="2424552" y="5438759"/>
                </a:cubicBezTo>
                <a:cubicBezTo>
                  <a:pt x="2425482" y="5437933"/>
                  <a:pt x="2426411" y="5437107"/>
                  <a:pt x="2426256" y="5437933"/>
                </a:cubicBezTo>
                <a:close/>
                <a:moveTo>
                  <a:pt x="2763156" y="5433183"/>
                </a:moveTo>
                <a:lnTo>
                  <a:pt x="2762536" y="5433390"/>
                </a:lnTo>
                <a:lnTo>
                  <a:pt x="2763156" y="5433390"/>
                </a:lnTo>
                <a:close/>
                <a:moveTo>
                  <a:pt x="3091691" y="5432564"/>
                </a:moveTo>
                <a:cubicBezTo>
                  <a:pt x="3090606" y="5433906"/>
                  <a:pt x="3088903" y="5436797"/>
                  <a:pt x="3087199" y="5437417"/>
                </a:cubicBezTo>
                <a:cubicBezTo>
                  <a:pt x="3086734" y="5437623"/>
                  <a:pt x="3086115" y="5437623"/>
                  <a:pt x="3085650" y="5437210"/>
                </a:cubicBezTo>
                <a:cubicBezTo>
                  <a:pt x="3087044" y="5435352"/>
                  <a:pt x="3088283" y="5431841"/>
                  <a:pt x="3091691" y="5432564"/>
                </a:cubicBezTo>
                <a:close/>
                <a:moveTo>
                  <a:pt x="2618173" y="5431841"/>
                </a:moveTo>
                <a:cubicBezTo>
                  <a:pt x="2620961" y="5432151"/>
                  <a:pt x="2620806" y="5434113"/>
                  <a:pt x="2622665" y="5434113"/>
                </a:cubicBezTo>
                <a:cubicBezTo>
                  <a:pt x="2621581" y="5438243"/>
                  <a:pt x="2619102" y="5439379"/>
                  <a:pt x="2615539" y="5439379"/>
                </a:cubicBezTo>
                <a:cubicBezTo>
                  <a:pt x="2614610" y="5437210"/>
                  <a:pt x="2615849" y="5432977"/>
                  <a:pt x="2618173" y="5431841"/>
                </a:cubicBezTo>
                <a:close/>
                <a:moveTo>
                  <a:pt x="2551471" y="5431441"/>
                </a:moveTo>
                <a:cubicBezTo>
                  <a:pt x="2554665" y="5430344"/>
                  <a:pt x="2558151" y="5431428"/>
                  <a:pt x="2559932" y="5436694"/>
                </a:cubicBezTo>
                <a:cubicBezTo>
                  <a:pt x="2557144" y="5438966"/>
                  <a:pt x="2554820" y="5440824"/>
                  <a:pt x="2552806" y="5442373"/>
                </a:cubicBezTo>
                <a:lnTo>
                  <a:pt x="2547540" y="5445574"/>
                </a:lnTo>
                <a:lnTo>
                  <a:pt x="2549399" y="5447019"/>
                </a:lnTo>
                <a:cubicBezTo>
                  <a:pt x="2555595" y="5452286"/>
                  <a:pt x="2553426" y="5458275"/>
                  <a:pt x="2550483" y="5461785"/>
                </a:cubicBezTo>
                <a:cubicBezTo>
                  <a:pt x="2549863" y="5461062"/>
                  <a:pt x="2545991" y="5465709"/>
                  <a:pt x="2541189" y="5465503"/>
                </a:cubicBezTo>
                <a:cubicBezTo>
                  <a:pt x="2539485" y="5465399"/>
                  <a:pt x="2537782" y="5464780"/>
                  <a:pt x="2536078" y="5463231"/>
                </a:cubicBezTo>
                <a:cubicBezTo>
                  <a:pt x="2535148" y="5462302"/>
                  <a:pt x="2534219" y="5461372"/>
                  <a:pt x="2533445" y="5460236"/>
                </a:cubicBezTo>
                <a:cubicBezTo>
                  <a:pt x="2531431" y="5456932"/>
                  <a:pt x="2531121" y="5452802"/>
                  <a:pt x="2535923" y="5447639"/>
                </a:cubicBezTo>
                <a:cubicBezTo>
                  <a:pt x="2537007" y="5445884"/>
                  <a:pt x="2536852" y="5446710"/>
                  <a:pt x="2537782" y="5445884"/>
                </a:cubicBezTo>
                <a:cubicBezTo>
                  <a:pt x="2538711" y="5445058"/>
                  <a:pt x="2539795" y="5443302"/>
                  <a:pt x="2539795" y="5442476"/>
                </a:cubicBezTo>
                <a:cubicBezTo>
                  <a:pt x="2542119" y="5444438"/>
                  <a:pt x="2543823" y="5443509"/>
                  <a:pt x="2546456" y="5444748"/>
                </a:cubicBezTo>
                <a:lnTo>
                  <a:pt x="2547075" y="5445161"/>
                </a:lnTo>
                <a:lnTo>
                  <a:pt x="2544752" y="5439275"/>
                </a:lnTo>
                <a:cubicBezTo>
                  <a:pt x="2545372" y="5435816"/>
                  <a:pt x="2548276" y="5432538"/>
                  <a:pt x="2551471" y="5431441"/>
                </a:cubicBezTo>
                <a:close/>
                <a:moveTo>
                  <a:pt x="2945043" y="5431286"/>
                </a:moveTo>
                <a:cubicBezTo>
                  <a:pt x="2946398" y="5432306"/>
                  <a:pt x="2947327" y="5434164"/>
                  <a:pt x="2947172" y="5435455"/>
                </a:cubicBezTo>
                <a:cubicBezTo>
                  <a:pt x="2945933" y="5437417"/>
                  <a:pt x="2944539" y="5437726"/>
                  <a:pt x="2943455" y="5437313"/>
                </a:cubicBezTo>
                <a:cubicBezTo>
                  <a:pt x="2942216" y="5437004"/>
                  <a:pt x="2941286" y="5435765"/>
                  <a:pt x="2940822" y="5434525"/>
                </a:cubicBezTo>
                <a:cubicBezTo>
                  <a:pt x="2940357" y="5433700"/>
                  <a:pt x="2940202" y="5432874"/>
                  <a:pt x="2940357" y="5432151"/>
                </a:cubicBezTo>
                <a:cubicBezTo>
                  <a:pt x="2941906" y="5430086"/>
                  <a:pt x="2943688" y="5430266"/>
                  <a:pt x="2945043" y="5431286"/>
                </a:cubicBezTo>
                <a:close/>
                <a:moveTo>
                  <a:pt x="3367911" y="5431053"/>
                </a:moveTo>
                <a:lnTo>
                  <a:pt x="3359352" y="5432151"/>
                </a:lnTo>
                <a:lnTo>
                  <a:pt x="3348819" y="5432874"/>
                </a:lnTo>
                <a:lnTo>
                  <a:pt x="3348819" y="5433286"/>
                </a:lnTo>
                <a:cubicBezTo>
                  <a:pt x="3348354" y="5435248"/>
                  <a:pt x="3347734" y="5437210"/>
                  <a:pt x="3347115" y="5438449"/>
                </a:cubicBezTo>
                <a:cubicBezTo>
                  <a:pt x="3346495" y="5438036"/>
                  <a:pt x="3346185" y="5437210"/>
                  <a:pt x="3346031" y="5436178"/>
                </a:cubicBezTo>
                <a:lnTo>
                  <a:pt x="3346340" y="5433080"/>
                </a:lnTo>
                <a:lnTo>
                  <a:pt x="3340764" y="5433080"/>
                </a:lnTo>
                <a:lnTo>
                  <a:pt x="3347734" y="5441444"/>
                </a:lnTo>
                <a:cubicBezTo>
                  <a:pt x="3337976" y="5450634"/>
                  <a:pt x="3325739" y="5442270"/>
                  <a:pt x="3315671" y="5438552"/>
                </a:cubicBezTo>
                <a:lnTo>
                  <a:pt x="3314742" y="5456622"/>
                </a:lnTo>
                <a:lnTo>
                  <a:pt x="3319853" y="5457861"/>
                </a:lnTo>
                <a:lnTo>
                  <a:pt x="3321712" y="5459720"/>
                </a:lnTo>
                <a:lnTo>
                  <a:pt x="3325894" y="5457965"/>
                </a:lnTo>
                <a:cubicBezTo>
                  <a:pt x="3325894" y="5457965"/>
                  <a:pt x="3324810" y="5460753"/>
                  <a:pt x="3324190" y="5460546"/>
                </a:cubicBezTo>
                <a:cubicBezTo>
                  <a:pt x="3326359" y="5460443"/>
                  <a:pt x="3331160" y="5457345"/>
                  <a:pt x="3333329" y="5457345"/>
                </a:cubicBezTo>
                <a:cubicBezTo>
                  <a:pt x="3335498" y="5457242"/>
                  <a:pt x="3337821" y="5458687"/>
                  <a:pt x="3340144" y="5460030"/>
                </a:cubicBezTo>
                <a:lnTo>
                  <a:pt x="3343088" y="5461062"/>
                </a:lnTo>
                <a:lnTo>
                  <a:pt x="3347115" y="5459410"/>
                </a:lnTo>
                <a:lnTo>
                  <a:pt x="3347115" y="5458687"/>
                </a:lnTo>
                <a:lnTo>
                  <a:pt x="3349283" y="5456313"/>
                </a:lnTo>
                <a:lnTo>
                  <a:pt x="3348199" y="5455486"/>
                </a:lnTo>
                <a:cubicBezTo>
                  <a:pt x="3346650" y="5453112"/>
                  <a:pt x="3347115" y="5448568"/>
                  <a:pt x="3348354" y="5447846"/>
                </a:cubicBezTo>
                <a:cubicBezTo>
                  <a:pt x="3349748" y="5448052"/>
                  <a:pt x="3352381" y="5452905"/>
                  <a:pt x="3351917" y="5455486"/>
                </a:cubicBezTo>
                <a:lnTo>
                  <a:pt x="3350522" y="5456725"/>
                </a:lnTo>
                <a:lnTo>
                  <a:pt x="3351452" y="5457758"/>
                </a:lnTo>
                <a:lnTo>
                  <a:pt x="3355479" y="5456106"/>
                </a:lnTo>
                <a:lnTo>
                  <a:pt x="3356099" y="5456313"/>
                </a:lnTo>
                <a:lnTo>
                  <a:pt x="3359197" y="5453938"/>
                </a:lnTo>
                <a:cubicBezTo>
                  <a:pt x="3363069" y="5452905"/>
                  <a:pt x="3367096" y="5454144"/>
                  <a:pt x="3370349" y="5455177"/>
                </a:cubicBezTo>
                <a:cubicBezTo>
                  <a:pt x="3372363" y="5455796"/>
                  <a:pt x="3373912" y="5455486"/>
                  <a:pt x="3375306" y="5455280"/>
                </a:cubicBezTo>
                <a:cubicBezTo>
                  <a:pt x="3376080" y="5455486"/>
                  <a:pt x="3376700" y="5455590"/>
                  <a:pt x="3376700" y="5455590"/>
                </a:cubicBezTo>
                <a:cubicBezTo>
                  <a:pt x="3377629" y="5455177"/>
                  <a:pt x="3377629" y="5455177"/>
                  <a:pt x="3378404" y="5454660"/>
                </a:cubicBezTo>
                <a:cubicBezTo>
                  <a:pt x="3379333" y="5454144"/>
                  <a:pt x="3380263" y="5453731"/>
                  <a:pt x="3381192" y="5453215"/>
                </a:cubicBezTo>
                <a:cubicBezTo>
                  <a:pt x="3386768" y="5451976"/>
                  <a:pt x="3387543" y="5456003"/>
                  <a:pt x="3391880" y="5455796"/>
                </a:cubicBezTo>
                <a:lnTo>
                  <a:pt x="3403291" y="5452083"/>
                </a:lnTo>
                <a:lnTo>
                  <a:pt x="3395013" y="5447163"/>
                </a:lnTo>
                <a:lnTo>
                  <a:pt x="3394823" y="5448052"/>
                </a:lnTo>
                <a:lnTo>
                  <a:pt x="3391815" y="5445262"/>
                </a:lnTo>
                <a:close/>
                <a:moveTo>
                  <a:pt x="2718391" y="5431015"/>
                </a:moveTo>
                <a:cubicBezTo>
                  <a:pt x="2721334" y="5433390"/>
                  <a:pt x="2720869" y="5437004"/>
                  <a:pt x="2723967" y="5440308"/>
                </a:cubicBezTo>
                <a:cubicBezTo>
                  <a:pt x="2722573" y="5442992"/>
                  <a:pt x="2725826" y="5447123"/>
                  <a:pt x="2723657" y="5450737"/>
                </a:cubicBezTo>
                <a:cubicBezTo>
                  <a:pt x="2718236" y="5447536"/>
                  <a:pt x="2716222" y="5433700"/>
                  <a:pt x="2718391" y="5431015"/>
                </a:cubicBezTo>
                <a:close/>
                <a:moveTo>
                  <a:pt x="2696086" y="5430085"/>
                </a:moveTo>
                <a:cubicBezTo>
                  <a:pt x="2696860" y="5431015"/>
                  <a:pt x="2697635" y="5431015"/>
                  <a:pt x="2696550" y="5432667"/>
                </a:cubicBezTo>
                <a:cubicBezTo>
                  <a:pt x="2696550" y="5433596"/>
                  <a:pt x="2695621" y="5434422"/>
                  <a:pt x="2695466" y="5435248"/>
                </a:cubicBezTo>
                <a:cubicBezTo>
                  <a:pt x="2695466" y="5435248"/>
                  <a:pt x="2694846" y="5435558"/>
                  <a:pt x="2694072" y="5435661"/>
                </a:cubicBezTo>
                <a:cubicBezTo>
                  <a:pt x="2693452" y="5435765"/>
                  <a:pt x="2692523" y="5435765"/>
                  <a:pt x="2692213" y="5435248"/>
                </a:cubicBezTo>
                <a:cubicBezTo>
                  <a:pt x="2691749" y="5435042"/>
                  <a:pt x="2691594" y="5434732"/>
                  <a:pt x="2691594" y="5434319"/>
                </a:cubicBezTo>
                <a:cubicBezTo>
                  <a:pt x="2691749" y="5433183"/>
                  <a:pt x="2693452" y="5431531"/>
                  <a:pt x="2693452" y="5430912"/>
                </a:cubicBezTo>
                <a:cubicBezTo>
                  <a:pt x="2694382" y="5430085"/>
                  <a:pt x="2695311" y="5429259"/>
                  <a:pt x="2696086" y="5430085"/>
                </a:cubicBezTo>
                <a:close/>
                <a:moveTo>
                  <a:pt x="3208173" y="5429879"/>
                </a:moveTo>
                <a:cubicBezTo>
                  <a:pt x="3208947" y="5429569"/>
                  <a:pt x="3209257" y="5430292"/>
                  <a:pt x="3208483" y="5430602"/>
                </a:cubicBezTo>
                <a:cubicBezTo>
                  <a:pt x="3208328" y="5431634"/>
                  <a:pt x="3207708" y="5431841"/>
                  <a:pt x="3207088" y="5431841"/>
                </a:cubicBezTo>
                <a:cubicBezTo>
                  <a:pt x="3206469" y="5431738"/>
                  <a:pt x="3205695" y="5431324"/>
                  <a:pt x="3205230" y="5431118"/>
                </a:cubicBezTo>
                <a:cubicBezTo>
                  <a:pt x="3207398" y="5430189"/>
                  <a:pt x="3208018" y="5429053"/>
                  <a:pt x="3208173" y="5429879"/>
                </a:cubicBezTo>
                <a:close/>
                <a:moveTo>
                  <a:pt x="3048010" y="5427194"/>
                </a:moveTo>
                <a:cubicBezTo>
                  <a:pt x="3049869" y="5428846"/>
                  <a:pt x="3049249" y="5430602"/>
                  <a:pt x="3048629" y="5431531"/>
                </a:cubicBezTo>
                <a:cubicBezTo>
                  <a:pt x="3048320" y="5432874"/>
                  <a:pt x="3047390" y="5433596"/>
                  <a:pt x="3046151" y="5433906"/>
                </a:cubicBezTo>
                <a:cubicBezTo>
                  <a:pt x="3044912" y="5434216"/>
                  <a:pt x="3043363" y="5434009"/>
                  <a:pt x="3042124" y="5433700"/>
                </a:cubicBezTo>
                <a:cubicBezTo>
                  <a:pt x="3042898" y="5433596"/>
                  <a:pt x="3042898" y="5433596"/>
                  <a:pt x="3042898" y="5433596"/>
                </a:cubicBezTo>
                <a:cubicBezTo>
                  <a:pt x="3043673" y="5432667"/>
                  <a:pt x="3042898" y="5432770"/>
                  <a:pt x="3042744" y="5431841"/>
                </a:cubicBezTo>
                <a:cubicBezTo>
                  <a:pt x="3042744" y="5431841"/>
                  <a:pt x="3042898" y="5432770"/>
                  <a:pt x="3041814" y="5431944"/>
                </a:cubicBezTo>
                <a:cubicBezTo>
                  <a:pt x="3042744" y="5431944"/>
                  <a:pt x="3042589" y="5431015"/>
                  <a:pt x="3042434" y="5430085"/>
                </a:cubicBezTo>
                <a:cubicBezTo>
                  <a:pt x="3043828" y="5428330"/>
                  <a:pt x="3046151" y="5426368"/>
                  <a:pt x="3048010" y="5427194"/>
                </a:cubicBezTo>
                <a:close/>
                <a:moveTo>
                  <a:pt x="3098196" y="5424097"/>
                </a:moveTo>
                <a:cubicBezTo>
                  <a:pt x="3098661" y="5424303"/>
                  <a:pt x="3098816" y="5424716"/>
                  <a:pt x="3098816" y="5425232"/>
                </a:cubicBezTo>
                <a:cubicBezTo>
                  <a:pt x="3098661" y="5425749"/>
                  <a:pt x="3098506" y="5426368"/>
                  <a:pt x="3098196" y="5426885"/>
                </a:cubicBezTo>
                <a:cubicBezTo>
                  <a:pt x="3097577" y="5428123"/>
                  <a:pt x="3096957" y="5429259"/>
                  <a:pt x="3096493" y="5430395"/>
                </a:cubicBezTo>
                <a:cubicBezTo>
                  <a:pt x="3096493" y="5430395"/>
                  <a:pt x="3096493" y="5430395"/>
                  <a:pt x="3098196" y="5424097"/>
                </a:cubicBezTo>
                <a:close/>
                <a:moveTo>
                  <a:pt x="2813032" y="5420379"/>
                </a:moveTo>
                <a:cubicBezTo>
                  <a:pt x="2812878" y="5422857"/>
                  <a:pt x="2812722" y="5424097"/>
                  <a:pt x="2813187" y="5425955"/>
                </a:cubicBezTo>
                <a:cubicBezTo>
                  <a:pt x="2809624" y="5425749"/>
                  <a:pt x="2806836" y="5426575"/>
                  <a:pt x="2804823" y="5426678"/>
                </a:cubicBezTo>
                <a:cubicBezTo>
                  <a:pt x="2802654" y="5426781"/>
                  <a:pt x="2801105" y="5426162"/>
                  <a:pt x="2799866" y="5423374"/>
                </a:cubicBezTo>
                <a:cubicBezTo>
                  <a:pt x="2802035" y="5420379"/>
                  <a:pt x="2807766" y="5420689"/>
                  <a:pt x="2813032" y="5420379"/>
                </a:cubicBezTo>
                <a:close/>
                <a:moveTo>
                  <a:pt x="3056065" y="5419141"/>
                </a:moveTo>
                <a:cubicBezTo>
                  <a:pt x="3056065" y="5419141"/>
                  <a:pt x="3056219" y="5419141"/>
                  <a:pt x="3056994" y="5419244"/>
                </a:cubicBezTo>
                <a:cubicBezTo>
                  <a:pt x="3058698" y="5419553"/>
                  <a:pt x="3059472" y="5419656"/>
                  <a:pt x="3060247" y="5419760"/>
                </a:cubicBezTo>
                <a:cubicBezTo>
                  <a:pt x="3061021" y="5420792"/>
                  <a:pt x="3062570" y="5423580"/>
                  <a:pt x="3061641" y="5424303"/>
                </a:cubicBezTo>
                <a:cubicBezTo>
                  <a:pt x="3060866" y="5425026"/>
                  <a:pt x="3059782" y="5425542"/>
                  <a:pt x="3058853" y="5425646"/>
                </a:cubicBezTo>
                <a:cubicBezTo>
                  <a:pt x="3057769" y="5425852"/>
                  <a:pt x="3056994" y="5425749"/>
                  <a:pt x="3056529" y="5425232"/>
                </a:cubicBezTo>
                <a:cubicBezTo>
                  <a:pt x="3055445" y="5423787"/>
                  <a:pt x="3054361" y="5422238"/>
                  <a:pt x="3054980" y="5420689"/>
                </a:cubicBezTo>
                <a:cubicBezTo>
                  <a:pt x="3055135" y="5420173"/>
                  <a:pt x="3055445" y="5419656"/>
                  <a:pt x="3056065" y="5419141"/>
                </a:cubicBezTo>
                <a:close/>
                <a:moveTo>
                  <a:pt x="2752952" y="5416211"/>
                </a:moveTo>
                <a:cubicBezTo>
                  <a:pt x="2754985" y="5416946"/>
                  <a:pt x="2756495" y="5418986"/>
                  <a:pt x="2754482" y="5420896"/>
                </a:cubicBezTo>
                <a:cubicBezTo>
                  <a:pt x="2752623" y="5420896"/>
                  <a:pt x="2750454" y="5420173"/>
                  <a:pt x="2748285" y="5419347"/>
                </a:cubicBezTo>
                <a:cubicBezTo>
                  <a:pt x="2748363" y="5416043"/>
                  <a:pt x="2750919" y="5415475"/>
                  <a:pt x="2752952" y="5416211"/>
                </a:cubicBezTo>
                <a:close/>
                <a:moveTo>
                  <a:pt x="2760058" y="5416146"/>
                </a:moveTo>
                <a:cubicBezTo>
                  <a:pt x="2762691" y="5415940"/>
                  <a:pt x="2764240" y="5415836"/>
                  <a:pt x="2766254" y="5417488"/>
                </a:cubicBezTo>
                <a:lnTo>
                  <a:pt x="2768112" y="5420586"/>
                </a:lnTo>
                <a:lnTo>
                  <a:pt x="2769971" y="5419244"/>
                </a:lnTo>
                <a:cubicBezTo>
                  <a:pt x="2775083" y="5417179"/>
                  <a:pt x="2781124" y="5416765"/>
                  <a:pt x="2783137" y="5425542"/>
                </a:cubicBezTo>
                <a:cubicBezTo>
                  <a:pt x="2783912" y="5427194"/>
                  <a:pt x="2783292" y="5426781"/>
                  <a:pt x="2783447" y="5427917"/>
                </a:cubicBezTo>
                <a:cubicBezTo>
                  <a:pt x="2783602" y="5429156"/>
                  <a:pt x="2784532" y="5430808"/>
                  <a:pt x="2785151" y="5431221"/>
                </a:cubicBezTo>
                <a:cubicBezTo>
                  <a:pt x="2781278" y="5432977"/>
                  <a:pt x="2782363" y="5435765"/>
                  <a:pt x="2776012" y="5438140"/>
                </a:cubicBezTo>
                <a:cubicBezTo>
                  <a:pt x="2773999" y="5438966"/>
                  <a:pt x="2772295" y="5439379"/>
                  <a:pt x="2770746" y="5439379"/>
                </a:cubicBezTo>
                <a:lnTo>
                  <a:pt x="2769661" y="5439069"/>
                </a:lnTo>
                <a:lnTo>
                  <a:pt x="2769971" y="5439379"/>
                </a:lnTo>
                <a:cubicBezTo>
                  <a:pt x="2772140" y="5441547"/>
                  <a:pt x="2773688" y="5443612"/>
                  <a:pt x="2773379" y="5444954"/>
                </a:cubicBezTo>
                <a:cubicBezTo>
                  <a:pt x="2772604" y="5444954"/>
                  <a:pt x="2771830" y="5445058"/>
                  <a:pt x="2770900" y="5444232"/>
                </a:cubicBezTo>
                <a:cubicBezTo>
                  <a:pt x="2769816" y="5443406"/>
                  <a:pt x="2770746" y="5443406"/>
                  <a:pt x="2769816" y="5443406"/>
                </a:cubicBezTo>
                <a:cubicBezTo>
                  <a:pt x="2768887" y="5442580"/>
                  <a:pt x="2769042" y="5443406"/>
                  <a:pt x="2769042" y="5443406"/>
                </a:cubicBezTo>
                <a:cubicBezTo>
                  <a:pt x="2769042" y="5443406"/>
                  <a:pt x="2768887" y="5442580"/>
                  <a:pt x="2768887" y="5442580"/>
                </a:cubicBezTo>
                <a:cubicBezTo>
                  <a:pt x="2768887" y="5442580"/>
                  <a:pt x="2768887" y="5442580"/>
                  <a:pt x="2767028" y="5440927"/>
                </a:cubicBezTo>
                <a:cubicBezTo>
                  <a:pt x="2764240" y="5439379"/>
                  <a:pt x="2763466" y="5439379"/>
                  <a:pt x="2761607" y="5438656"/>
                </a:cubicBezTo>
                <a:cubicBezTo>
                  <a:pt x="2759748" y="5437004"/>
                  <a:pt x="2759438" y="5436178"/>
                  <a:pt x="2757424" y="5433700"/>
                </a:cubicBezTo>
                <a:cubicBezTo>
                  <a:pt x="2758044" y="5431944"/>
                  <a:pt x="2758044" y="5431944"/>
                  <a:pt x="2758974" y="5431841"/>
                </a:cubicBezTo>
                <a:cubicBezTo>
                  <a:pt x="2758044" y="5431944"/>
                  <a:pt x="2758044" y="5431015"/>
                  <a:pt x="2756960" y="5430189"/>
                </a:cubicBezTo>
                <a:cubicBezTo>
                  <a:pt x="2752468" y="5427814"/>
                  <a:pt x="2753552" y="5423477"/>
                  <a:pt x="2756340" y="5418934"/>
                </a:cubicBezTo>
                <a:cubicBezTo>
                  <a:pt x="2757270" y="5419760"/>
                  <a:pt x="2758509" y="5417075"/>
                  <a:pt x="2760058" y="5416146"/>
                </a:cubicBezTo>
                <a:close/>
                <a:moveTo>
                  <a:pt x="2251282" y="5412403"/>
                </a:moveTo>
                <a:cubicBezTo>
                  <a:pt x="2253160" y="5411680"/>
                  <a:pt x="2255483" y="5412067"/>
                  <a:pt x="2256491" y="5413358"/>
                </a:cubicBezTo>
                <a:cubicBezTo>
                  <a:pt x="2256646" y="5416662"/>
                  <a:pt x="2253702" y="5418831"/>
                  <a:pt x="2251224" y="5418831"/>
                </a:cubicBezTo>
                <a:cubicBezTo>
                  <a:pt x="2250295" y="5418831"/>
                  <a:pt x="2249520" y="5418624"/>
                  <a:pt x="2248745" y="5418108"/>
                </a:cubicBezTo>
                <a:cubicBezTo>
                  <a:pt x="2247971" y="5414958"/>
                  <a:pt x="2249404" y="5413125"/>
                  <a:pt x="2251282" y="5412403"/>
                </a:cubicBezTo>
                <a:close/>
                <a:moveTo>
                  <a:pt x="2651166" y="5410570"/>
                </a:moveTo>
                <a:cubicBezTo>
                  <a:pt x="2653024" y="5407989"/>
                  <a:pt x="2655348" y="5409744"/>
                  <a:pt x="2658601" y="5410674"/>
                </a:cubicBezTo>
                <a:cubicBezTo>
                  <a:pt x="2657671" y="5411500"/>
                  <a:pt x="2658446" y="5412325"/>
                  <a:pt x="2659065" y="5413255"/>
                </a:cubicBezTo>
                <a:cubicBezTo>
                  <a:pt x="2657826" y="5414494"/>
                  <a:pt x="2655813" y="5416765"/>
                  <a:pt x="2653799" y="5416352"/>
                </a:cubicBezTo>
                <a:cubicBezTo>
                  <a:pt x="2653024" y="5416146"/>
                  <a:pt x="2652250" y="5415733"/>
                  <a:pt x="2651475" y="5414804"/>
                </a:cubicBezTo>
                <a:cubicBezTo>
                  <a:pt x="2651166" y="5414804"/>
                  <a:pt x="2650856" y="5413978"/>
                  <a:pt x="2650701" y="5412945"/>
                </a:cubicBezTo>
                <a:cubicBezTo>
                  <a:pt x="2650546" y="5412016"/>
                  <a:pt x="2650701" y="5410983"/>
                  <a:pt x="2651166" y="5410570"/>
                </a:cubicBezTo>
                <a:close/>
                <a:moveTo>
                  <a:pt x="2807920" y="5409434"/>
                </a:moveTo>
                <a:cubicBezTo>
                  <a:pt x="2809624" y="5410364"/>
                  <a:pt x="2810554" y="5410364"/>
                  <a:pt x="2812103" y="5409641"/>
                </a:cubicBezTo>
                <a:cubicBezTo>
                  <a:pt x="2812103" y="5409641"/>
                  <a:pt x="2812103" y="5409641"/>
                  <a:pt x="2813807" y="5411396"/>
                </a:cubicBezTo>
                <a:lnTo>
                  <a:pt x="2813962" y="5412222"/>
                </a:lnTo>
                <a:cubicBezTo>
                  <a:pt x="2813807" y="5412635"/>
                  <a:pt x="2813032" y="5412842"/>
                  <a:pt x="2812103" y="5412945"/>
                </a:cubicBezTo>
                <a:cubicBezTo>
                  <a:pt x="2809315" y="5413048"/>
                  <a:pt x="2804513" y="5411809"/>
                  <a:pt x="2803893" y="5411809"/>
                </a:cubicBezTo>
                <a:cubicBezTo>
                  <a:pt x="2803893" y="5411809"/>
                  <a:pt x="2802964" y="5411706"/>
                  <a:pt x="2802189" y="5411706"/>
                </a:cubicBezTo>
                <a:cubicBezTo>
                  <a:pt x="2801260" y="5410777"/>
                  <a:pt x="2801260" y="5409951"/>
                  <a:pt x="2800486" y="5409951"/>
                </a:cubicBezTo>
                <a:cubicBezTo>
                  <a:pt x="2802809" y="5407473"/>
                  <a:pt x="2805442" y="5408402"/>
                  <a:pt x="2807920" y="5409434"/>
                </a:cubicBezTo>
                <a:close/>
                <a:moveTo>
                  <a:pt x="2323095" y="5407576"/>
                </a:moveTo>
                <a:cubicBezTo>
                  <a:pt x="2324644" y="5408505"/>
                  <a:pt x="2325419" y="5409331"/>
                  <a:pt x="2327123" y="5410260"/>
                </a:cubicBezTo>
                <a:cubicBezTo>
                  <a:pt x="2326813" y="5412842"/>
                  <a:pt x="2329136" y="5415526"/>
                  <a:pt x="2325109" y="5420689"/>
                </a:cubicBezTo>
                <a:cubicBezTo>
                  <a:pt x="2320462" y="5425749"/>
                  <a:pt x="2315815" y="5421412"/>
                  <a:pt x="2315815" y="5422238"/>
                </a:cubicBezTo>
                <a:cubicBezTo>
                  <a:pt x="2314886" y="5423167"/>
                  <a:pt x="2314886" y="5423167"/>
                  <a:pt x="2314731" y="5423993"/>
                </a:cubicBezTo>
                <a:cubicBezTo>
                  <a:pt x="2313956" y="5423993"/>
                  <a:pt x="2312098" y="5424716"/>
                  <a:pt x="2311168" y="5425646"/>
                </a:cubicBezTo>
                <a:cubicBezTo>
                  <a:pt x="2311323" y="5424716"/>
                  <a:pt x="2311323" y="5423890"/>
                  <a:pt x="2310549" y="5423890"/>
                </a:cubicBezTo>
                <a:cubicBezTo>
                  <a:pt x="2312408" y="5422135"/>
                  <a:pt x="2313182" y="5422238"/>
                  <a:pt x="2314112" y="5421412"/>
                </a:cubicBezTo>
                <a:cubicBezTo>
                  <a:pt x="2313337" y="5421309"/>
                  <a:pt x="2314266" y="5420483"/>
                  <a:pt x="2314266" y="5420483"/>
                </a:cubicBezTo>
                <a:cubicBezTo>
                  <a:pt x="2314266" y="5420483"/>
                  <a:pt x="2314266" y="5420483"/>
                  <a:pt x="2312717" y="5418727"/>
                </a:cubicBezTo>
                <a:cubicBezTo>
                  <a:pt x="2312717" y="5418727"/>
                  <a:pt x="2309774" y="5414390"/>
                  <a:pt x="2313647" y="5410054"/>
                </a:cubicBezTo>
                <a:cubicBezTo>
                  <a:pt x="2314421" y="5410983"/>
                  <a:pt x="2319998" y="5405820"/>
                  <a:pt x="2323095" y="5407576"/>
                </a:cubicBezTo>
                <a:close/>
                <a:moveTo>
                  <a:pt x="3177194" y="5407473"/>
                </a:moveTo>
                <a:lnTo>
                  <a:pt x="3176109" y="5407576"/>
                </a:lnTo>
                <a:lnTo>
                  <a:pt x="3175180" y="5407782"/>
                </a:lnTo>
                <a:lnTo>
                  <a:pt x="3174715" y="5407576"/>
                </a:lnTo>
                <a:lnTo>
                  <a:pt x="3172702" y="5407782"/>
                </a:lnTo>
                <a:cubicBezTo>
                  <a:pt x="3169759" y="5412119"/>
                  <a:pt x="3178897" y="5411086"/>
                  <a:pt x="3173476" y="5413978"/>
                </a:cubicBezTo>
                <a:cubicBezTo>
                  <a:pt x="3177813" y="5416146"/>
                  <a:pt x="3181376" y="5418624"/>
                  <a:pt x="3184784" y="5421206"/>
                </a:cubicBezTo>
                <a:cubicBezTo>
                  <a:pt x="3187417" y="5424303"/>
                  <a:pt x="3190824" y="5426885"/>
                  <a:pt x="3194387" y="5429466"/>
                </a:cubicBezTo>
                <a:cubicBezTo>
                  <a:pt x="3192993" y="5431221"/>
                  <a:pt x="3188811" y="5428950"/>
                  <a:pt x="3184474" y="5426678"/>
                </a:cubicBezTo>
                <a:lnTo>
                  <a:pt x="3180137" y="5424923"/>
                </a:lnTo>
                <a:lnTo>
                  <a:pt x="3181221" y="5427608"/>
                </a:lnTo>
                <a:lnTo>
                  <a:pt x="3180601" y="5430085"/>
                </a:lnTo>
                <a:lnTo>
                  <a:pt x="3185558" y="5433596"/>
                </a:lnTo>
                <a:cubicBezTo>
                  <a:pt x="3190670" y="5435868"/>
                  <a:pt x="3196865" y="5437004"/>
                  <a:pt x="3201667" y="5437726"/>
                </a:cubicBezTo>
                <a:cubicBezTo>
                  <a:pt x="3198259" y="5441237"/>
                  <a:pt x="3193767" y="5441341"/>
                  <a:pt x="3188346" y="5438243"/>
                </a:cubicBezTo>
                <a:cubicBezTo>
                  <a:pt x="3187881" y="5439585"/>
                  <a:pt x="3189275" y="5439895"/>
                  <a:pt x="3190670" y="5440308"/>
                </a:cubicBezTo>
                <a:cubicBezTo>
                  <a:pt x="3189275" y="5442167"/>
                  <a:pt x="3187572" y="5440927"/>
                  <a:pt x="3186177" y="5440514"/>
                </a:cubicBezTo>
                <a:cubicBezTo>
                  <a:pt x="3192063" y="5442373"/>
                  <a:pt x="3195626" y="5444954"/>
                  <a:pt x="3199034" y="5447536"/>
                </a:cubicBezTo>
                <a:cubicBezTo>
                  <a:pt x="3200738" y="5448775"/>
                  <a:pt x="3202597" y="5450014"/>
                  <a:pt x="3204920" y="5451563"/>
                </a:cubicBezTo>
                <a:cubicBezTo>
                  <a:pt x="3207243" y="5453009"/>
                  <a:pt x="3209876" y="5453835"/>
                  <a:pt x="3212975" y="5455590"/>
                </a:cubicBezTo>
                <a:cubicBezTo>
                  <a:pt x="3211580" y="5457965"/>
                  <a:pt x="3211735" y="5459410"/>
                  <a:pt x="3212819" y="5460443"/>
                </a:cubicBezTo>
                <a:lnTo>
                  <a:pt x="3217312" y="5462508"/>
                </a:lnTo>
                <a:lnTo>
                  <a:pt x="3217466" y="5462405"/>
                </a:lnTo>
                <a:lnTo>
                  <a:pt x="3216382" y="5457448"/>
                </a:lnTo>
                <a:cubicBezTo>
                  <a:pt x="3216537" y="5455486"/>
                  <a:pt x="3217466" y="5453731"/>
                  <a:pt x="3219635" y="5452699"/>
                </a:cubicBezTo>
                <a:cubicBezTo>
                  <a:pt x="3220100" y="5454041"/>
                  <a:pt x="3221029" y="5456003"/>
                  <a:pt x="3222113" y="5458275"/>
                </a:cubicBezTo>
                <a:lnTo>
                  <a:pt x="3223817" y="5462302"/>
                </a:lnTo>
                <a:lnTo>
                  <a:pt x="3225521" y="5462405"/>
                </a:lnTo>
                <a:lnTo>
                  <a:pt x="3229703" y="5462818"/>
                </a:lnTo>
                <a:lnTo>
                  <a:pt x="3229703" y="5461682"/>
                </a:lnTo>
                <a:cubicBezTo>
                  <a:pt x="3230168" y="5459823"/>
                  <a:pt x="3231252" y="5457861"/>
                  <a:pt x="3231872" y="5455693"/>
                </a:cubicBezTo>
                <a:cubicBezTo>
                  <a:pt x="3232801" y="5455693"/>
                  <a:pt x="3233731" y="5454867"/>
                  <a:pt x="3233731" y="5453938"/>
                </a:cubicBezTo>
                <a:cubicBezTo>
                  <a:pt x="3234660" y="5453112"/>
                  <a:pt x="3235589" y="5452182"/>
                  <a:pt x="3234660" y="5452182"/>
                </a:cubicBezTo>
                <a:cubicBezTo>
                  <a:pt x="3237448" y="5449601"/>
                  <a:pt x="3237603" y="5448775"/>
                  <a:pt x="3240081" y="5449704"/>
                </a:cubicBezTo>
                <a:lnTo>
                  <a:pt x="3238997" y="5452492"/>
                </a:lnTo>
                <a:lnTo>
                  <a:pt x="3239927" y="5452492"/>
                </a:lnTo>
                <a:cubicBezTo>
                  <a:pt x="3241166" y="5454454"/>
                  <a:pt x="3241011" y="5455796"/>
                  <a:pt x="3240236" y="5456622"/>
                </a:cubicBezTo>
                <a:lnTo>
                  <a:pt x="3237293" y="5457655"/>
                </a:lnTo>
                <a:lnTo>
                  <a:pt x="3236984" y="5458687"/>
                </a:lnTo>
                <a:lnTo>
                  <a:pt x="3240546" y="5458997"/>
                </a:lnTo>
                <a:cubicBezTo>
                  <a:pt x="3243644" y="5458997"/>
                  <a:pt x="3247207" y="5458894"/>
                  <a:pt x="3250769" y="5458894"/>
                </a:cubicBezTo>
                <a:cubicBezTo>
                  <a:pt x="3257585" y="5457965"/>
                  <a:pt x="3265020" y="5457345"/>
                  <a:pt x="3270596" y="5456003"/>
                </a:cubicBezTo>
                <a:lnTo>
                  <a:pt x="3271061" y="5458687"/>
                </a:lnTo>
                <a:lnTo>
                  <a:pt x="3273849" y="5455590"/>
                </a:lnTo>
                <a:cubicBezTo>
                  <a:pt x="3275708" y="5454351"/>
                  <a:pt x="3277721" y="5453835"/>
                  <a:pt x="3279270" y="5454557"/>
                </a:cubicBezTo>
                <a:lnTo>
                  <a:pt x="3283607" y="5456932"/>
                </a:lnTo>
                <a:lnTo>
                  <a:pt x="3285466" y="5456622"/>
                </a:lnTo>
                <a:lnTo>
                  <a:pt x="3286395" y="5457035"/>
                </a:lnTo>
                <a:lnTo>
                  <a:pt x="3289493" y="5451459"/>
                </a:lnTo>
                <a:cubicBezTo>
                  <a:pt x="3291042" y="5448878"/>
                  <a:pt x="3292591" y="5446813"/>
                  <a:pt x="3293831" y="5446710"/>
                </a:cubicBezTo>
                <a:cubicBezTo>
                  <a:pt x="3294140" y="5447536"/>
                  <a:pt x="3294450" y="5448362"/>
                  <a:pt x="3293831" y="5449498"/>
                </a:cubicBezTo>
                <a:cubicBezTo>
                  <a:pt x="3293211" y="5450634"/>
                  <a:pt x="3293056" y="5449808"/>
                  <a:pt x="3293366" y="5450634"/>
                </a:cubicBezTo>
                <a:cubicBezTo>
                  <a:pt x="3292746" y="5451769"/>
                  <a:pt x="3293521" y="5451459"/>
                  <a:pt x="3293521" y="5451459"/>
                </a:cubicBezTo>
                <a:cubicBezTo>
                  <a:pt x="3293521" y="5451459"/>
                  <a:pt x="3292746" y="5451769"/>
                  <a:pt x="3292746" y="5451769"/>
                </a:cubicBezTo>
                <a:cubicBezTo>
                  <a:pt x="3292746" y="5451769"/>
                  <a:pt x="3292746" y="5451769"/>
                  <a:pt x="3291662" y="5454041"/>
                </a:cubicBezTo>
                <a:cubicBezTo>
                  <a:pt x="3290888" y="5457139"/>
                  <a:pt x="3291042" y="5457965"/>
                  <a:pt x="3290732" y="5459926"/>
                </a:cubicBezTo>
                <a:lnTo>
                  <a:pt x="3290577" y="5460236"/>
                </a:lnTo>
                <a:lnTo>
                  <a:pt x="3290732" y="5460649"/>
                </a:lnTo>
                <a:lnTo>
                  <a:pt x="3292746" y="5459410"/>
                </a:lnTo>
                <a:lnTo>
                  <a:pt x="3293366" y="5458481"/>
                </a:lnTo>
                <a:lnTo>
                  <a:pt x="3293211" y="5458481"/>
                </a:lnTo>
                <a:cubicBezTo>
                  <a:pt x="3293521" y="5457035"/>
                  <a:pt x="3294140" y="5455590"/>
                  <a:pt x="3295689" y="5453938"/>
                </a:cubicBezTo>
                <a:cubicBezTo>
                  <a:pt x="3297393" y="5453628"/>
                  <a:pt x="3298787" y="5453835"/>
                  <a:pt x="3300181" y="5454454"/>
                </a:cubicBezTo>
                <a:lnTo>
                  <a:pt x="3300646" y="5454970"/>
                </a:lnTo>
                <a:lnTo>
                  <a:pt x="3301110" y="5447123"/>
                </a:lnTo>
                <a:cubicBezTo>
                  <a:pt x="3301885" y="5442063"/>
                  <a:pt x="3302659" y="5436591"/>
                  <a:pt x="3302195" y="5431324"/>
                </a:cubicBezTo>
                <a:cubicBezTo>
                  <a:pt x="3300646" y="5428330"/>
                  <a:pt x="3297703" y="5427194"/>
                  <a:pt x="3295534" y="5425129"/>
                </a:cubicBezTo>
                <a:lnTo>
                  <a:pt x="3293056" y="5421102"/>
                </a:lnTo>
                <a:lnTo>
                  <a:pt x="3291042" y="5421412"/>
                </a:lnTo>
                <a:lnTo>
                  <a:pt x="3288719" y="5422032"/>
                </a:lnTo>
                <a:lnTo>
                  <a:pt x="3289648" y="5423890"/>
                </a:lnTo>
                <a:cubicBezTo>
                  <a:pt x="3289958" y="5424923"/>
                  <a:pt x="3289803" y="5425749"/>
                  <a:pt x="3289338" y="5426162"/>
                </a:cubicBezTo>
                <a:cubicBezTo>
                  <a:pt x="3287944" y="5427504"/>
                  <a:pt x="3286550" y="5428743"/>
                  <a:pt x="3285001" y="5428227"/>
                </a:cubicBezTo>
                <a:cubicBezTo>
                  <a:pt x="3284537" y="5428020"/>
                  <a:pt x="3284072" y="5427608"/>
                  <a:pt x="3283452" y="5426988"/>
                </a:cubicBezTo>
                <a:cubicBezTo>
                  <a:pt x="3283452" y="5426988"/>
                  <a:pt x="3283452" y="5426885"/>
                  <a:pt x="3283607" y="5426058"/>
                </a:cubicBezTo>
                <a:lnTo>
                  <a:pt x="3283762" y="5423684"/>
                </a:lnTo>
                <a:lnTo>
                  <a:pt x="3282213" y="5424200"/>
                </a:lnTo>
                <a:lnTo>
                  <a:pt x="3271061" y="5422961"/>
                </a:lnTo>
                <a:lnTo>
                  <a:pt x="3264090" y="5430499"/>
                </a:lnTo>
                <a:lnTo>
                  <a:pt x="3258824" y="5436075"/>
                </a:lnTo>
                <a:lnTo>
                  <a:pt x="3258514" y="5438759"/>
                </a:lnTo>
                <a:lnTo>
                  <a:pt x="3256191" y="5438862"/>
                </a:lnTo>
                <a:lnTo>
                  <a:pt x="3254177" y="5441134"/>
                </a:lnTo>
                <a:lnTo>
                  <a:pt x="3253248" y="5440927"/>
                </a:lnTo>
                <a:lnTo>
                  <a:pt x="3253248" y="5442786"/>
                </a:lnTo>
                <a:cubicBezTo>
                  <a:pt x="3253093" y="5443509"/>
                  <a:pt x="3252783" y="5444025"/>
                  <a:pt x="3252318" y="5444335"/>
                </a:cubicBezTo>
                <a:cubicBezTo>
                  <a:pt x="3250150" y="5445471"/>
                  <a:pt x="3247826" y="5446090"/>
                  <a:pt x="3245967" y="5446090"/>
                </a:cubicBezTo>
                <a:cubicBezTo>
                  <a:pt x="3243954" y="5446193"/>
                  <a:pt x="3242560" y="5445780"/>
                  <a:pt x="3242095" y="5444748"/>
                </a:cubicBezTo>
                <a:cubicBezTo>
                  <a:pt x="3241320" y="5443199"/>
                  <a:pt x="3240546" y="5441547"/>
                  <a:pt x="3240236" y="5440101"/>
                </a:cubicBezTo>
                <a:lnTo>
                  <a:pt x="3240236" y="5439895"/>
                </a:lnTo>
                <a:lnTo>
                  <a:pt x="3235899" y="5440101"/>
                </a:lnTo>
                <a:cubicBezTo>
                  <a:pt x="3229394" y="5440205"/>
                  <a:pt x="3223198" y="5439585"/>
                  <a:pt x="3218551" y="5434525"/>
                </a:cubicBezTo>
                <a:cubicBezTo>
                  <a:pt x="3217621" y="5428950"/>
                  <a:pt x="3215608" y="5425749"/>
                  <a:pt x="3213439" y="5423064"/>
                </a:cubicBezTo>
                <a:lnTo>
                  <a:pt x="3209567" y="5418108"/>
                </a:lnTo>
                <a:lnTo>
                  <a:pt x="3205230" y="5417798"/>
                </a:lnTo>
                <a:cubicBezTo>
                  <a:pt x="3203836" y="5415836"/>
                  <a:pt x="3205384" y="5415526"/>
                  <a:pt x="3206004" y="5413461"/>
                </a:cubicBezTo>
                <a:cubicBezTo>
                  <a:pt x="3203526" y="5412635"/>
                  <a:pt x="3201512" y="5414287"/>
                  <a:pt x="3201202" y="5417282"/>
                </a:cubicBezTo>
                <a:cubicBezTo>
                  <a:pt x="3200273" y="5415836"/>
                  <a:pt x="3198259" y="5414907"/>
                  <a:pt x="3195936" y="5414081"/>
                </a:cubicBezTo>
                <a:lnTo>
                  <a:pt x="3194387" y="5413668"/>
                </a:lnTo>
                <a:lnTo>
                  <a:pt x="3191444" y="5414287"/>
                </a:lnTo>
                <a:cubicBezTo>
                  <a:pt x="3190670" y="5413668"/>
                  <a:pt x="3190360" y="5413151"/>
                  <a:pt x="3190515" y="5412739"/>
                </a:cubicBezTo>
                <a:lnTo>
                  <a:pt x="3190670" y="5412532"/>
                </a:lnTo>
                <a:lnTo>
                  <a:pt x="3188656" y="5412016"/>
                </a:lnTo>
                <a:lnTo>
                  <a:pt x="3185403" y="5410570"/>
                </a:lnTo>
                <a:lnTo>
                  <a:pt x="3186023" y="5411086"/>
                </a:lnTo>
                <a:cubicBezTo>
                  <a:pt x="3182925" y="5410674"/>
                  <a:pt x="3180911" y="5408092"/>
                  <a:pt x="3177194" y="5407473"/>
                </a:cubicBezTo>
                <a:close/>
                <a:moveTo>
                  <a:pt x="2776729" y="5405459"/>
                </a:moveTo>
                <a:cubicBezTo>
                  <a:pt x="2777871" y="5406337"/>
                  <a:pt x="2778181" y="5408144"/>
                  <a:pt x="2778800" y="5410157"/>
                </a:cubicBezTo>
                <a:cubicBezTo>
                  <a:pt x="2777251" y="5411189"/>
                  <a:pt x="2776477" y="5413874"/>
                  <a:pt x="2774153" y="5414494"/>
                </a:cubicBezTo>
                <a:cubicBezTo>
                  <a:pt x="2774153" y="5414494"/>
                  <a:pt x="2773844" y="5414597"/>
                  <a:pt x="2773379" y="5414494"/>
                </a:cubicBezTo>
                <a:cubicBezTo>
                  <a:pt x="2772914" y="5414494"/>
                  <a:pt x="2772295" y="5414390"/>
                  <a:pt x="2771520" y="5413978"/>
                </a:cubicBezTo>
                <a:cubicBezTo>
                  <a:pt x="2768577" y="5414081"/>
                  <a:pt x="2767957" y="5410570"/>
                  <a:pt x="2767957" y="5410570"/>
                </a:cubicBezTo>
                <a:cubicBezTo>
                  <a:pt x="2767957" y="5410570"/>
                  <a:pt x="2767957" y="5410570"/>
                  <a:pt x="2767493" y="5411293"/>
                </a:cubicBezTo>
                <a:cubicBezTo>
                  <a:pt x="2768422" y="5409744"/>
                  <a:pt x="2768732" y="5407782"/>
                  <a:pt x="2769661" y="5406337"/>
                </a:cubicBezTo>
                <a:cubicBezTo>
                  <a:pt x="2773611" y="5404633"/>
                  <a:pt x="2775586" y="5404581"/>
                  <a:pt x="2776729" y="5405459"/>
                </a:cubicBezTo>
                <a:close/>
                <a:moveTo>
                  <a:pt x="2396206" y="5404375"/>
                </a:moveTo>
                <a:cubicBezTo>
                  <a:pt x="2396051" y="5405201"/>
                  <a:pt x="2394967" y="5407885"/>
                  <a:pt x="2395742" y="5407885"/>
                </a:cubicBezTo>
                <a:cubicBezTo>
                  <a:pt x="2393728" y="5409847"/>
                  <a:pt x="2391250" y="5411706"/>
                  <a:pt x="2389081" y="5411809"/>
                </a:cubicBezTo>
                <a:cubicBezTo>
                  <a:pt x="2388307" y="5411809"/>
                  <a:pt x="2387687" y="5411706"/>
                  <a:pt x="2387067" y="5411189"/>
                </a:cubicBezTo>
                <a:cubicBezTo>
                  <a:pt x="2385519" y="5410364"/>
                  <a:pt x="2386603" y="5408608"/>
                  <a:pt x="2388462" y="5406853"/>
                </a:cubicBezTo>
                <a:cubicBezTo>
                  <a:pt x="2391405" y="5402516"/>
                  <a:pt x="2393883" y="5401690"/>
                  <a:pt x="2396206" y="5404375"/>
                </a:cubicBezTo>
                <a:close/>
                <a:moveTo>
                  <a:pt x="2706928" y="5403858"/>
                </a:moveTo>
                <a:cubicBezTo>
                  <a:pt x="2707703" y="5402207"/>
                  <a:pt x="2710336" y="5405820"/>
                  <a:pt x="2711110" y="5404065"/>
                </a:cubicBezTo>
                <a:cubicBezTo>
                  <a:pt x="2714518" y="5407782"/>
                  <a:pt x="2718546" y="5403549"/>
                  <a:pt x="2724586" y="5408195"/>
                </a:cubicBezTo>
                <a:cubicBezTo>
                  <a:pt x="2722573" y="5408712"/>
                  <a:pt x="2720559" y="5408918"/>
                  <a:pt x="2718855" y="5408918"/>
                </a:cubicBezTo>
                <a:cubicBezTo>
                  <a:pt x="2713434" y="5408918"/>
                  <a:pt x="2709097" y="5407059"/>
                  <a:pt x="2705534" y="5408195"/>
                </a:cubicBezTo>
                <a:cubicBezTo>
                  <a:pt x="2705534" y="5408195"/>
                  <a:pt x="2705534" y="5408195"/>
                  <a:pt x="2703676" y="5406337"/>
                </a:cubicBezTo>
                <a:cubicBezTo>
                  <a:pt x="2702901" y="5406337"/>
                  <a:pt x="2702901" y="5406337"/>
                  <a:pt x="2702901" y="5406337"/>
                </a:cubicBezTo>
                <a:cubicBezTo>
                  <a:pt x="2702127" y="5406337"/>
                  <a:pt x="2701972" y="5404478"/>
                  <a:pt x="2701972" y="5404478"/>
                </a:cubicBezTo>
                <a:cubicBezTo>
                  <a:pt x="2702746" y="5402826"/>
                  <a:pt x="2705224" y="5403755"/>
                  <a:pt x="2706928" y="5403858"/>
                </a:cubicBezTo>
                <a:close/>
                <a:moveTo>
                  <a:pt x="2405655" y="5400864"/>
                </a:moveTo>
                <a:cubicBezTo>
                  <a:pt x="2405655" y="5401793"/>
                  <a:pt x="2406120" y="5403652"/>
                  <a:pt x="2405345" y="5403652"/>
                </a:cubicBezTo>
                <a:cubicBezTo>
                  <a:pt x="2405345" y="5404478"/>
                  <a:pt x="2403641" y="5404478"/>
                  <a:pt x="2403641" y="5404478"/>
                </a:cubicBezTo>
                <a:cubicBezTo>
                  <a:pt x="2403641" y="5405407"/>
                  <a:pt x="2403487" y="5406337"/>
                  <a:pt x="2402557" y="5407266"/>
                </a:cubicBezTo>
                <a:cubicBezTo>
                  <a:pt x="2401937" y="5406337"/>
                  <a:pt x="2401783" y="5407163"/>
                  <a:pt x="2401008" y="5407163"/>
                </a:cubicBezTo>
                <a:cubicBezTo>
                  <a:pt x="2401937" y="5406233"/>
                  <a:pt x="2402247" y="5403652"/>
                  <a:pt x="2403177" y="5401793"/>
                </a:cubicBezTo>
                <a:cubicBezTo>
                  <a:pt x="2403951" y="5401793"/>
                  <a:pt x="2404880" y="5400864"/>
                  <a:pt x="2405655" y="5400864"/>
                </a:cubicBezTo>
                <a:close/>
                <a:moveTo>
                  <a:pt x="2860121" y="5399522"/>
                </a:moveTo>
                <a:cubicBezTo>
                  <a:pt x="2861205" y="5399831"/>
                  <a:pt x="2862289" y="5400348"/>
                  <a:pt x="2861670" y="5401484"/>
                </a:cubicBezTo>
                <a:cubicBezTo>
                  <a:pt x="2861205" y="5402619"/>
                  <a:pt x="2861670" y="5403445"/>
                  <a:pt x="2859811" y="5403445"/>
                </a:cubicBezTo>
                <a:cubicBezTo>
                  <a:pt x="2858882" y="5403858"/>
                  <a:pt x="2857797" y="5403445"/>
                  <a:pt x="2857023" y="5403858"/>
                </a:cubicBezTo>
                <a:cubicBezTo>
                  <a:pt x="2857023" y="5403858"/>
                  <a:pt x="2856713" y="5403239"/>
                  <a:pt x="2856248" y="5402619"/>
                </a:cubicBezTo>
                <a:cubicBezTo>
                  <a:pt x="2855939" y="5402000"/>
                  <a:pt x="2855629" y="5401277"/>
                  <a:pt x="2855939" y="5400657"/>
                </a:cubicBezTo>
                <a:cubicBezTo>
                  <a:pt x="2856093" y="5398696"/>
                  <a:pt x="2859346" y="5399831"/>
                  <a:pt x="2860121" y="5399522"/>
                </a:cubicBezTo>
                <a:close/>
                <a:moveTo>
                  <a:pt x="3272609" y="5397870"/>
                </a:moveTo>
                <a:lnTo>
                  <a:pt x="3272455" y="5405923"/>
                </a:lnTo>
                <a:lnTo>
                  <a:pt x="3273694" y="5417901"/>
                </a:lnTo>
                <a:lnTo>
                  <a:pt x="3279735" y="5418934"/>
                </a:lnTo>
                <a:cubicBezTo>
                  <a:pt x="3283143" y="5419244"/>
                  <a:pt x="3286705" y="5419553"/>
                  <a:pt x="3290423" y="5419244"/>
                </a:cubicBezTo>
                <a:lnTo>
                  <a:pt x="3292901" y="5418831"/>
                </a:lnTo>
                <a:lnTo>
                  <a:pt x="3292746" y="5413668"/>
                </a:lnTo>
                <a:lnTo>
                  <a:pt x="3300955" y="5415217"/>
                </a:lnTo>
                <a:lnTo>
                  <a:pt x="3299097" y="5402826"/>
                </a:lnTo>
                <a:lnTo>
                  <a:pt x="3299871" y="5398076"/>
                </a:lnTo>
                <a:lnTo>
                  <a:pt x="3287789" y="5398076"/>
                </a:lnTo>
                <a:close/>
                <a:moveTo>
                  <a:pt x="2731247" y="5397147"/>
                </a:moveTo>
                <a:cubicBezTo>
                  <a:pt x="2736359" y="5398386"/>
                  <a:pt x="2736823" y="5401793"/>
                  <a:pt x="2734035" y="5406956"/>
                </a:cubicBezTo>
                <a:cubicBezTo>
                  <a:pt x="2732176" y="5406956"/>
                  <a:pt x="2730628" y="5407679"/>
                  <a:pt x="2727994" y="5408092"/>
                </a:cubicBezTo>
                <a:cubicBezTo>
                  <a:pt x="2727065" y="5405717"/>
                  <a:pt x="2727529" y="5399935"/>
                  <a:pt x="2731247" y="5397147"/>
                </a:cubicBezTo>
                <a:close/>
                <a:moveTo>
                  <a:pt x="2590621" y="5394553"/>
                </a:moveTo>
                <a:cubicBezTo>
                  <a:pt x="2593428" y="5394385"/>
                  <a:pt x="2595635" y="5395082"/>
                  <a:pt x="2596487" y="5394669"/>
                </a:cubicBezTo>
                <a:cubicBezTo>
                  <a:pt x="2598656" y="5397250"/>
                  <a:pt x="2598656" y="5397353"/>
                  <a:pt x="2594009" y="5402413"/>
                </a:cubicBezTo>
                <a:cubicBezTo>
                  <a:pt x="2593080" y="5403342"/>
                  <a:pt x="2591995" y="5403858"/>
                  <a:pt x="2590911" y="5404168"/>
                </a:cubicBezTo>
                <a:cubicBezTo>
                  <a:pt x="2589672" y="5404478"/>
                  <a:pt x="2588433" y="5404478"/>
                  <a:pt x="2587193" y="5404065"/>
                </a:cubicBezTo>
                <a:cubicBezTo>
                  <a:pt x="2586419" y="5404478"/>
                  <a:pt x="2585335" y="5404684"/>
                  <a:pt x="2584406" y="5404684"/>
                </a:cubicBezTo>
                <a:cubicBezTo>
                  <a:pt x="2583321" y="5404684"/>
                  <a:pt x="2582237" y="5404375"/>
                  <a:pt x="2581462" y="5403962"/>
                </a:cubicBezTo>
                <a:cubicBezTo>
                  <a:pt x="2580843" y="5403032"/>
                  <a:pt x="2580378" y="5402207"/>
                  <a:pt x="2580378" y="5401380"/>
                </a:cubicBezTo>
                <a:cubicBezTo>
                  <a:pt x="2580378" y="5400657"/>
                  <a:pt x="2580688" y="5400038"/>
                  <a:pt x="2581152" y="5399625"/>
                </a:cubicBezTo>
                <a:cubicBezTo>
                  <a:pt x="2584405" y="5395753"/>
                  <a:pt x="2587813" y="5394720"/>
                  <a:pt x="2590621" y="5394553"/>
                </a:cubicBezTo>
                <a:close/>
                <a:moveTo>
                  <a:pt x="2400698" y="5394152"/>
                </a:moveTo>
                <a:cubicBezTo>
                  <a:pt x="2401628" y="5393326"/>
                  <a:pt x="2402557" y="5393223"/>
                  <a:pt x="2403332" y="5394152"/>
                </a:cubicBezTo>
                <a:cubicBezTo>
                  <a:pt x="2403332" y="5394152"/>
                  <a:pt x="2402247" y="5395908"/>
                  <a:pt x="2402247" y="5395908"/>
                </a:cubicBezTo>
                <a:cubicBezTo>
                  <a:pt x="2400389" y="5397560"/>
                  <a:pt x="2399304" y="5398489"/>
                  <a:pt x="2398220" y="5400245"/>
                </a:cubicBezTo>
                <a:cubicBezTo>
                  <a:pt x="2397446" y="5399728"/>
                  <a:pt x="2397136" y="5399315"/>
                  <a:pt x="2397136" y="5398799"/>
                </a:cubicBezTo>
                <a:cubicBezTo>
                  <a:pt x="2396981" y="5398386"/>
                  <a:pt x="2397290" y="5397973"/>
                  <a:pt x="2397755" y="5397560"/>
                </a:cubicBezTo>
                <a:cubicBezTo>
                  <a:pt x="2397755" y="5397560"/>
                  <a:pt x="2398685" y="5396630"/>
                  <a:pt x="2399614" y="5395805"/>
                </a:cubicBezTo>
                <a:cubicBezTo>
                  <a:pt x="2400544" y="5394978"/>
                  <a:pt x="2400698" y="5394152"/>
                  <a:pt x="2400698" y="5394152"/>
                </a:cubicBezTo>
                <a:close/>
                <a:moveTo>
                  <a:pt x="2873597" y="5393636"/>
                </a:moveTo>
                <a:cubicBezTo>
                  <a:pt x="2873287" y="5394875"/>
                  <a:pt x="2876695" y="5395701"/>
                  <a:pt x="2877779" y="5395908"/>
                </a:cubicBezTo>
                <a:cubicBezTo>
                  <a:pt x="2877469" y="5397147"/>
                  <a:pt x="2878244" y="5398179"/>
                  <a:pt x="2878863" y="5399315"/>
                </a:cubicBezTo>
                <a:lnTo>
                  <a:pt x="2879638" y="5400761"/>
                </a:lnTo>
                <a:lnTo>
                  <a:pt x="2892959" y="5395598"/>
                </a:lnTo>
                <a:cubicBezTo>
                  <a:pt x="2892959" y="5397044"/>
                  <a:pt x="2893579" y="5398179"/>
                  <a:pt x="2894198" y="5399522"/>
                </a:cubicBezTo>
                <a:lnTo>
                  <a:pt x="2894663" y="5404168"/>
                </a:lnTo>
                <a:lnTo>
                  <a:pt x="2898845" y="5407163"/>
                </a:lnTo>
                <a:cubicBezTo>
                  <a:pt x="2899929" y="5408918"/>
                  <a:pt x="2900239" y="5411189"/>
                  <a:pt x="2899774" y="5414184"/>
                </a:cubicBezTo>
                <a:cubicBezTo>
                  <a:pt x="2897606" y="5415010"/>
                  <a:pt x="2895747" y="5415630"/>
                  <a:pt x="2894043" y="5415836"/>
                </a:cubicBezTo>
                <a:cubicBezTo>
                  <a:pt x="2892339" y="5416043"/>
                  <a:pt x="2890945" y="5415940"/>
                  <a:pt x="2889706" y="5415630"/>
                </a:cubicBezTo>
                <a:cubicBezTo>
                  <a:pt x="2887073" y="5414907"/>
                  <a:pt x="2885369" y="5413151"/>
                  <a:pt x="2883820" y="5410674"/>
                </a:cubicBezTo>
                <a:lnTo>
                  <a:pt x="2886608" y="5407679"/>
                </a:lnTo>
                <a:lnTo>
                  <a:pt x="2873442" y="5412222"/>
                </a:lnTo>
                <a:lnTo>
                  <a:pt x="2862444" y="5415836"/>
                </a:lnTo>
                <a:lnTo>
                  <a:pt x="2863838" y="5418831"/>
                </a:lnTo>
                <a:cubicBezTo>
                  <a:pt x="2865077" y="5422857"/>
                  <a:pt x="2865542" y="5426885"/>
                  <a:pt x="2865233" y="5430808"/>
                </a:cubicBezTo>
                <a:cubicBezTo>
                  <a:pt x="2864923" y="5433390"/>
                  <a:pt x="2864458" y="5436075"/>
                  <a:pt x="2863529" y="5438552"/>
                </a:cubicBezTo>
                <a:cubicBezTo>
                  <a:pt x="2857023" y="5438036"/>
                  <a:pt x="2856713" y="5430085"/>
                  <a:pt x="2855164" y="5424613"/>
                </a:cubicBezTo>
                <a:cubicBezTo>
                  <a:pt x="2850362" y="5428640"/>
                  <a:pt x="2844167" y="5435971"/>
                  <a:pt x="2839984" y="5431221"/>
                </a:cubicBezTo>
                <a:cubicBezTo>
                  <a:pt x="2840294" y="5424200"/>
                  <a:pt x="2848813" y="5422341"/>
                  <a:pt x="2853925" y="5416559"/>
                </a:cubicBezTo>
                <a:cubicBezTo>
                  <a:pt x="2855009" y="5414081"/>
                  <a:pt x="2853615" y="5411809"/>
                  <a:pt x="2855319" y="5409124"/>
                </a:cubicBezTo>
                <a:lnTo>
                  <a:pt x="2856403" y="5408092"/>
                </a:lnTo>
                <a:lnTo>
                  <a:pt x="2856248" y="5403858"/>
                </a:lnTo>
                <a:cubicBezTo>
                  <a:pt x="2857797" y="5403136"/>
                  <a:pt x="2860431" y="5405820"/>
                  <a:pt x="2862134" y="5406750"/>
                </a:cubicBezTo>
                <a:cubicBezTo>
                  <a:pt x="2861360" y="5407576"/>
                  <a:pt x="2860586" y="5408402"/>
                  <a:pt x="2861360" y="5408402"/>
                </a:cubicBezTo>
                <a:lnTo>
                  <a:pt x="2859501" y="5409434"/>
                </a:lnTo>
                <a:lnTo>
                  <a:pt x="2860431" y="5411293"/>
                </a:lnTo>
                <a:lnTo>
                  <a:pt x="2861205" y="5410364"/>
                </a:lnTo>
                <a:cubicBezTo>
                  <a:pt x="2863374" y="5408608"/>
                  <a:pt x="2865697" y="5407163"/>
                  <a:pt x="2868330" y="5405820"/>
                </a:cubicBezTo>
                <a:lnTo>
                  <a:pt x="2872667" y="5403755"/>
                </a:lnTo>
                <a:lnTo>
                  <a:pt x="2870809" y="5402826"/>
                </a:lnTo>
                <a:cubicBezTo>
                  <a:pt x="2867246" y="5400245"/>
                  <a:pt x="2867246" y="5397353"/>
                  <a:pt x="2866471" y="5397147"/>
                </a:cubicBezTo>
                <a:cubicBezTo>
                  <a:pt x="2867556" y="5393430"/>
                  <a:pt x="2869879" y="5394049"/>
                  <a:pt x="2873597" y="5393636"/>
                </a:cubicBezTo>
                <a:close/>
                <a:moveTo>
                  <a:pt x="2556989" y="5393326"/>
                </a:moveTo>
                <a:cubicBezTo>
                  <a:pt x="2560861" y="5402310"/>
                  <a:pt x="2551567" y="5412119"/>
                  <a:pt x="2543048" y="5413358"/>
                </a:cubicBezTo>
                <a:cubicBezTo>
                  <a:pt x="2540105" y="5413771"/>
                  <a:pt x="2537317" y="5413255"/>
                  <a:pt x="2534994" y="5411396"/>
                </a:cubicBezTo>
                <a:cubicBezTo>
                  <a:pt x="2533754" y="5408402"/>
                  <a:pt x="2533909" y="5405511"/>
                  <a:pt x="2534994" y="5402929"/>
                </a:cubicBezTo>
                <a:cubicBezTo>
                  <a:pt x="2538401" y="5395288"/>
                  <a:pt x="2550018" y="5390332"/>
                  <a:pt x="2556989" y="5393326"/>
                </a:cubicBezTo>
                <a:close/>
                <a:moveTo>
                  <a:pt x="2363213" y="5391571"/>
                </a:moveTo>
                <a:cubicBezTo>
                  <a:pt x="2356553" y="5399522"/>
                  <a:pt x="2351906" y="5394978"/>
                  <a:pt x="2348188" y="5399315"/>
                </a:cubicBezTo>
                <a:cubicBezTo>
                  <a:pt x="2347569" y="5397560"/>
                  <a:pt x="2347569" y="5397560"/>
                  <a:pt x="2348498" y="5395805"/>
                </a:cubicBezTo>
                <a:cubicBezTo>
                  <a:pt x="2349428" y="5395805"/>
                  <a:pt x="2349428" y="5394875"/>
                  <a:pt x="2350202" y="5395805"/>
                </a:cubicBezTo>
                <a:cubicBezTo>
                  <a:pt x="2352216" y="5393223"/>
                  <a:pt x="2359961" y="5390642"/>
                  <a:pt x="2363213" y="5391571"/>
                </a:cubicBezTo>
                <a:close/>
                <a:moveTo>
                  <a:pt x="2849123" y="5391055"/>
                </a:moveTo>
                <a:cubicBezTo>
                  <a:pt x="2850672" y="5392294"/>
                  <a:pt x="2848039" y="5397147"/>
                  <a:pt x="2845870" y="5395908"/>
                </a:cubicBezTo>
                <a:cubicBezTo>
                  <a:pt x="2845096" y="5395598"/>
                  <a:pt x="2844476" y="5394462"/>
                  <a:pt x="2844011" y="5392397"/>
                </a:cubicBezTo>
                <a:cubicBezTo>
                  <a:pt x="2846799" y="5390642"/>
                  <a:pt x="2848349" y="5390539"/>
                  <a:pt x="2849123" y="5391055"/>
                </a:cubicBezTo>
                <a:close/>
                <a:moveTo>
                  <a:pt x="2660150" y="5389299"/>
                </a:moveTo>
                <a:cubicBezTo>
                  <a:pt x="2661853" y="5391158"/>
                  <a:pt x="2663557" y="5392913"/>
                  <a:pt x="2665261" y="5394772"/>
                </a:cubicBezTo>
                <a:cubicBezTo>
                  <a:pt x="2663712" y="5395598"/>
                  <a:pt x="2662938" y="5397353"/>
                  <a:pt x="2662163" y="5398179"/>
                </a:cubicBezTo>
                <a:cubicBezTo>
                  <a:pt x="2659685" y="5398076"/>
                  <a:pt x="2657981" y="5397147"/>
                  <a:pt x="2656277" y="5394359"/>
                </a:cubicBezTo>
                <a:cubicBezTo>
                  <a:pt x="2657671" y="5390951"/>
                  <a:pt x="2656897" y="5391778"/>
                  <a:pt x="2660150" y="5389299"/>
                </a:cubicBezTo>
                <a:close/>
                <a:moveTo>
                  <a:pt x="2723502" y="5388473"/>
                </a:moveTo>
                <a:cubicBezTo>
                  <a:pt x="2724586" y="5388163"/>
                  <a:pt x="2725051" y="5387338"/>
                  <a:pt x="2725206" y="5388473"/>
                </a:cubicBezTo>
                <a:cubicBezTo>
                  <a:pt x="2725516" y="5389712"/>
                  <a:pt x="2725516" y="5389712"/>
                  <a:pt x="2724122" y="5391881"/>
                </a:cubicBezTo>
                <a:cubicBezTo>
                  <a:pt x="2723812" y="5390745"/>
                  <a:pt x="2723812" y="5390745"/>
                  <a:pt x="2722728" y="5391055"/>
                </a:cubicBezTo>
                <a:cubicBezTo>
                  <a:pt x="2722728" y="5391055"/>
                  <a:pt x="2722728" y="5391055"/>
                  <a:pt x="2722263" y="5391778"/>
                </a:cubicBezTo>
                <a:cubicBezTo>
                  <a:pt x="2721643" y="5391364"/>
                  <a:pt x="2722108" y="5390642"/>
                  <a:pt x="2721488" y="5390229"/>
                </a:cubicBezTo>
                <a:cubicBezTo>
                  <a:pt x="2721488" y="5390229"/>
                  <a:pt x="2721954" y="5389506"/>
                  <a:pt x="2721954" y="5389506"/>
                </a:cubicBezTo>
                <a:cubicBezTo>
                  <a:pt x="2721643" y="5389299"/>
                  <a:pt x="2721643" y="5389196"/>
                  <a:pt x="2721798" y="5389196"/>
                </a:cubicBezTo>
                <a:cubicBezTo>
                  <a:pt x="2722108" y="5389093"/>
                  <a:pt x="2722728" y="5388989"/>
                  <a:pt x="2723502" y="5388473"/>
                </a:cubicBezTo>
                <a:close/>
                <a:moveTo>
                  <a:pt x="2370339" y="5387544"/>
                </a:moveTo>
                <a:cubicBezTo>
                  <a:pt x="2369409" y="5388473"/>
                  <a:pt x="2367551" y="5389299"/>
                  <a:pt x="2366621" y="5390125"/>
                </a:cubicBezTo>
                <a:cubicBezTo>
                  <a:pt x="2366621" y="5390125"/>
                  <a:pt x="2366621" y="5390125"/>
                  <a:pt x="2365847" y="5389196"/>
                </a:cubicBezTo>
                <a:cubicBezTo>
                  <a:pt x="2367551" y="5389299"/>
                  <a:pt x="2368790" y="5385788"/>
                  <a:pt x="2370339" y="5387544"/>
                </a:cubicBezTo>
                <a:close/>
                <a:moveTo>
                  <a:pt x="2357250" y="5387234"/>
                </a:moveTo>
                <a:cubicBezTo>
                  <a:pt x="2359573" y="5387183"/>
                  <a:pt x="2361432" y="5387441"/>
                  <a:pt x="2361819" y="5387441"/>
                </a:cubicBezTo>
                <a:cubicBezTo>
                  <a:pt x="2361819" y="5388267"/>
                  <a:pt x="2361819" y="5388267"/>
                  <a:pt x="2361819" y="5388267"/>
                </a:cubicBezTo>
                <a:cubicBezTo>
                  <a:pt x="2359341" y="5387544"/>
                  <a:pt x="2356088" y="5389712"/>
                  <a:pt x="2352990" y="5390125"/>
                </a:cubicBezTo>
                <a:cubicBezTo>
                  <a:pt x="2351906" y="5390229"/>
                  <a:pt x="2350822" y="5390229"/>
                  <a:pt x="2349892" y="5389712"/>
                </a:cubicBezTo>
                <a:cubicBezTo>
                  <a:pt x="2349892" y="5389712"/>
                  <a:pt x="2349892" y="5389712"/>
                  <a:pt x="2350667" y="5389712"/>
                </a:cubicBezTo>
                <a:cubicBezTo>
                  <a:pt x="2350667" y="5389712"/>
                  <a:pt x="2349737" y="5389712"/>
                  <a:pt x="2349892" y="5388886"/>
                </a:cubicBezTo>
                <a:cubicBezTo>
                  <a:pt x="2352138" y="5387647"/>
                  <a:pt x="2354926" y="5387286"/>
                  <a:pt x="2357250" y="5387234"/>
                </a:cubicBezTo>
                <a:close/>
                <a:moveTo>
                  <a:pt x="2859346" y="5386924"/>
                </a:moveTo>
                <a:cubicBezTo>
                  <a:pt x="2861515" y="5387441"/>
                  <a:pt x="2861205" y="5390642"/>
                  <a:pt x="2860586" y="5391055"/>
                </a:cubicBezTo>
                <a:cubicBezTo>
                  <a:pt x="2859346" y="5390848"/>
                  <a:pt x="2858572" y="5389299"/>
                  <a:pt x="2857488" y="5388989"/>
                </a:cubicBezTo>
                <a:cubicBezTo>
                  <a:pt x="2858107" y="5388577"/>
                  <a:pt x="2858572" y="5387338"/>
                  <a:pt x="2859346" y="5386924"/>
                </a:cubicBezTo>
                <a:close/>
                <a:moveTo>
                  <a:pt x="2740076" y="5385892"/>
                </a:moveTo>
                <a:cubicBezTo>
                  <a:pt x="2740851" y="5386511"/>
                  <a:pt x="2741315" y="5387647"/>
                  <a:pt x="2741470" y="5389506"/>
                </a:cubicBezTo>
                <a:cubicBezTo>
                  <a:pt x="2740076" y="5390229"/>
                  <a:pt x="2736823" y="5391261"/>
                  <a:pt x="2733725" y="5391571"/>
                </a:cubicBezTo>
                <a:cubicBezTo>
                  <a:pt x="2730628" y="5391778"/>
                  <a:pt x="2727685" y="5391261"/>
                  <a:pt x="2727220" y="5388886"/>
                </a:cubicBezTo>
                <a:cubicBezTo>
                  <a:pt x="2727220" y="5388267"/>
                  <a:pt x="2727220" y="5387441"/>
                  <a:pt x="2727529" y="5386408"/>
                </a:cubicBezTo>
                <a:cubicBezTo>
                  <a:pt x="2732951" y="5386718"/>
                  <a:pt x="2737753" y="5384137"/>
                  <a:pt x="2740076" y="5385892"/>
                </a:cubicBezTo>
                <a:close/>
                <a:moveTo>
                  <a:pt x="3192838" y="5385273"/>
                </a:moveTo>
                <a:lnTo>
                  <a:pt x="3191289" y="5386615"/>
                </a:lnTo>
                <a:lnTo>
                  <a:pt x="3192683" y="5387131"/>
                </a:lnTo>
                <a:cubicBezTo>
                  <a:pt x="3194851" y="5387750"/>
                  <a:pt x="3196865" y="5388473"/>
                  <a:pt x="3198569" y="5389506"/>
                </a:cubicBezTo>
                <a:lnTo>
                  <a:pt x="3201357" y="5393223"/>
                </a:lnTo>
                <a:lnTo>
                  <a:pt x="3201512" y="5393326"/>
                </a:lnTo>
                <a:lnTo>
                  <a:pt x="3209102" y="5396114"/>
                </a:lnTo>
                <a:lnTo>
                  <a:pt x="3210342" y="5391055"/>
                </a:lnTo>
                <a:lnTo>
                  <a:pt x="3210496" y="5390745"/>
                </a:lnTo>
                <a:close/>
                <a:moveTo>
                  <a:pt x="2617553" y="5383517"/>
                </a:moveTo>
                <a:cubicBezTo>
                  <a:pt x="2618638" y="5383827"/>
                  <a:pt x="2618638" y="5383827"/>
                  <a:pt x="2619722" y="5385995"/>
                </a:cubicBezTo>
                <a:cubicBezTo>
                  <a:pt x="2618638" y="5385685"/>
                  <a:pt x="2618638" y="5385685"/>
                  <a:pt x="2618327" y="5386821"/>
                </a:cubicBezTo>
                <a:cubicBezTo>
                  <a:pt x="2618327" y="5386821"/>
                  <a:pt x="2618327" y="5386821"/>
                  <a:pt x="2618638" y="5387544"/>
                </a:cubicBezTo>
                <a:cubicBezTo>
                  <a:pt x="2617863" y="5387957"/>
                  <a:pt x="2617553" y="5387338"/>
                  <a:pt x="2616934" y="5387750"/>
                </a:cubicBezTo>
                <a:cubicBezTo>
                  <a:pt x="2616934" y="5387750"/>
                  <a:pt x="2616469" y="5387028"/>
                  <a:pt x="2616469" y="5387028"/>
                </a:cubicBezTo>
                <a:cubicBezTo>
                  <a:pt x="2616159" y="5387234"/>
                  <a:pt x="2616159" y="5387234"/>
                  <a:pt x="2616314" y="5386924"/>
                </a:cubicBezTo>
                <a:cubicBezTo>
                  <a:pt x="2616314" y="5386718"/>
                  <a:pt x="2616469" y="5386098"/>
                  <a:pt x="2616469" y="5385169"/>
                </a:cubicBezTo>
                <a:cubicBezTo>
                  <a:pt x="2616779" y="5384033"/>
                  <a:pt x="2616469" y="5383311"/>
                  <a:pt x="2617553" y="5383517"/>
                </a:cubicBezTo>
                <a:close/>
                <a:moveTo>
                  <a:pt x="3178587" y="5382072"/>
                </a:moveTo>
                <a:lnTo>
                  <a:pt x="3178587" y="5382175"/>
                </a:lnTo>
                <a:lnTo>
                  <a:pt x="3177194" y="5383827"/>
                </a:lnTo>
                <a:lnTo>
                  <a:pt x="3179362" y="5385066"/>
                </a:lnTo>
                <a:lnTo>
                  <a:pt x="3179827" y="5383311"/>
                </a:lnTo>
                <a:close/>
                <a:moveTo>
                  <a:pt x="2591124" y="5379477"/>
                </a:moveTo>
                <a:cubicBezTo>
                  <a:pt x="2594164" y="5378509"/>
                  <a:pt x="2596720" y="5380471"/>
                  <a:pt x="2594009" y="5389506"/>
                </a:cubicBezTo>
                <a:cubicBezTo>
                  <a:pt x="2588278" y="5390125"/>
                  <a:pt x="2585799" y="5388783"/>
                  <a:pt x="2585335" y="5387028"/>
                </a:cubicBezTo>
                <a:cubicBezTo>
                  <a:pt x="2584560" y="5384343"/>
                  <a:pt x="2588084" y="5380445"/>
                  <a:pt x="2591124" y="5379477"/>
                </a:cubicBezTo>
                <a:close/>
                <a:moveTo>
                  <a:pt x="3016256" y="5378044"/>
                </a:moveTo>
                <a:cubicBezTo>
                  <a:pt x="3023691" y="5383207"/>
                  <a:pt x="3021368" y="5388473"/>
                  <a:pt x="3017495" y="5389609"/>
                </a:cubicBezTo>
                <a:cubicBezTo>
                  <a:pt x="3016101" y="5390022"/>
                  <a:pt x="3014552" y="5389919"/>
                  <a:pt x="3013158" y="5389196"/>
                </a:cubicBezTo>
                <a:cubicBezTo>
                  <a:pt x="3011300" y="5388267"/>
                  <a:pt x="3009750" y="5386202"/>
                  <a:pt x="3008976" y="5382794"/>
                </a:cubicBezTo>
                <a:cubicBezTo>
                  <a:pt x="3011300" y="5379490"/>
                  <a:pt x="3013778" y="5379593"/>
                  <a:pt x="3016256" y="5378044"/>
                </a:cubicBezTo>
                <a:close/>
                <a:moveTo>
                  <a:pt x="2395587" y="5376599"/>
                </a:moveTo>
                <a:cubicBezTo>
                  <a:pt x="2394193" y="5378457"/>
                  <a:pt x="2391714" y="5381865"/>
                  <a:pt x="2389701" y="5382691"/>
                </a:cubicBezTo>
                <a:cubicBezTo>
                  <a:pt x="2388926" y="5382897"/>
                  <a:pt x="2388307" y="5382897"/>
                  <a:pt x="2387687" y="5382484"/>
                </a:cubicBezTo>
                <a:cubicBezTo>
                  <a:pt x="2386913" y="5381555"/>
                  <a:pt x="2387842" y="5380729"/>
                  <a:pt x="2387997" y="5379903"/>
                </a:cubicBezTo>
                <a:cubicBezTo>
                  <a:pt x="2388926" y="5378148"/>
                  <a:pt x="2394967" y="5375670"/>
                  <a:pt x="2395587" y="5376599"/>
                </a:cubicBezTo>
                <a:close/>
                <a:moveTo>
                  <a:pt x="2959622" y="5376483"/>
                </a:moveTo>
                <a:cubicBezTo>
                  <a:pt x="2961888" y="5376263"/>
                  <a:pt x="2964211" y="5377218"/>
                  <a:pt x="2966844" y="5379903"/>
                </a:cubicBezTo>
                <a:cubicBezTo>
                  <a:pt x="2966690" y="5383311"/>
                  <a:pt x="2963747" y="5384653"/>
                  <a:pt x="2960648" y="5384549"/>
                </a:cubicBezTo>
                <a:cubicBezTo>
                  <a:pt x="2957550" y="5384343"/>
                  <a:pt x="2954143" y="5382794"/>
                  <a:pt x="2952749" y="5380110"/>
                </a:cubicBezTo>
                <a:cubicBezTo>
                  <a:pt x="2955150" y="5378096"/>
                  <a:pt x="2957357" y="5376702"/>
                  <a:pt x="2959622" y="5376483"/>
                </a:cubicBezTo>
                <a:close/>
                <a:moveTo>
                  <a:pt x="2870189" y="5374947"/>
                </a:moveTo>
                <a:cubicBezTo>
                  <a:pt x="2870189" y="5374947"/>
                  <a:pt x="2870189" y="5374947"/>
                  <a:pt x="2871118" y="5376806"/>
                </a:cubicBezTo>
                <a:cubicBezTo>
                  <a:pt x="2871118" y="5377631"/>
                  <a:pt x="2871273" y="5378561"/>
                  <a:pt x="2870344" y="5379387"/>
                </a:cubicBezTo>
                <a:cubicBezTo>
                  <a:pt x="2869569" y="5380316"/>
                  <a:pt x="2867865" y="5380213"/>
                  <a:pt x="2866936" y="5380110"/>
                </a:cubicBezTo>
                <a:cubicBezTo>
                  <a:pt x="2866936" y="5379283"/>
                  <a:pt x="2866162" y="5379180"/>
                  <a:pt x="2866007" y="5378354"/>
                </a:cubicBezTo>
                <a:cubicBezTo>
                  <a:pt x="2865077" y="5376495"/>
                  <a:pt x="2865077" y="5376495"/>
                  <a:pt x="2866007" y="5375566"/>
                </a:cubicBezTo>
                <a:cubicBezTo>
                  <a:pt x="2866781" y="5374740"/>
                  <a:pt x="2869414" y="5375876"/>
                  <a:pt x="2870189" y="5374947"/>
                </a:cubicBezTo>
                <a:close/>
                <a:moveTo>
                  <a:pt x="2482484" y="5374224"/>
                </a:moveTo>
                <a:cubicBezTo>
                  <a:pt x="2482484" y="5374224"/>
                  <a:pt x="2482484" y="5374327"/>
                  <a:pt x="2483258" y="5374740"/>
                </a:cubicBezTo>
                <a:cubicBezTo>
                  <a:pt x="2484497" y="5375566"/>
                  <a:pt x="2485272" y="5375979"/>
                  <a:pt x="2485892" y="5376495"/>
                </a:cubicBezTo>
                <a:cubicBezTo>
                  <a:pt x="2486046" y="5377631"/>
                  <a:pt x="2486046" y="5380729"/>
                  <a:pt x="2484807" y="5381039"/>
                </a:cubicBezTo>
                <a:cubicBezTo>
                  <a:pt x="2483723" y="5381349"/>
                  <a:pt x="2482484" y="5381349"/>
                  <a:pt x="2481554" y="5381142"/>
                </a:cubicBezTo>
                <a:cubicBezTo>
                  <a:pt x="2480625" y="5380936"/>
                  <a:pt x="2480005" y="5380522"/>
                  <a:pt x="2479850" y="5379903"/>
                </a:cubicBezTo>
                <a:cubicBezTo>
                  <a:pt x="2479541" y="5378148"/>
                  <a:pt x="2479231" y="5376392"/>
                  <a:pt x="2480625" y="5375256"/>
                </a:cubicBezTo>
                <a:cubicBezTo>
                  <a:pt x="2481090" y="5374844"/>
                  <a:pt x="2481709" y="5374534"/>
                  <a:pt x="2482484" y="5374224"/>
                </a:cubicBezTo>
                <a:close/>
                <a:moveTo>
                  <a:pt x="2862444" y="5373398"/>
                </a:moveTo>
                <a:cubicBezTo>
                  <a:pt x="2862444" y="5373398"/>
                  <a:pt x="2863219" y="5374327"/>
                  <a:pt x="2863219" y="5374327"/>
                </a:cubicBezTo>
                <a:cubicBezTo>
                  <a:pt x="2866317" y="5377425"/>
                  <a:pt x="2867711" y="5382897"/>
                  <a:pt x="2866781" y="5384549"/>
                </a:cubicBezTo>
                <a:cubicBezTo>
                  <a:pt x="2865852" y="5385273"/>
                  <a:pt x="2864613" y="5385685"/>
                  <a:pt x="2863219" y="5385582"/>
                </a:cubicBezTo>
                <a:cubicBezTo>
                  <a:pt x="2861825" y="5385479"/>
                  <a:pt x="2860431" y="5384756"/>
                  <a:pt x="2859346" y="5383311"/>
                </a:cubicBezTo>
                <a:cubicBezTo>
                  <a:pt x="2856868" y="5381142"/>
                  <a:pt x="2857023" y="5377735"/>
                  <a:pt x="2854700" y="5374740"/>
                </a:cubicBezTo>
                <a:cubicBezTo>
                  <a:pt x="2857488" y="5371643"/>
                  <a:pt x="2858417" y="5370920"/>
                  <a:pt x="2862444" y="5373398"/>
                </a:cubicBezTo>
                <a:close/>
                <a:moveTo>
                  <a:pt x="3156128" y="5371952"/>
                </a:moveTo>
                <a:lnTo>
                  <a:pt x="3157212" y="5375670"/>
                </a:lnTo>
                <a:lnTo>
                  <a:pt x="3157522" y="5375153"/>
                </a:lnTo>
                <a:lnTo>
                  <a:pt x="3162788" y="5379593"/>
                </a:lnTo>
                <a:lnTo>
                  <a:pt x="3166970" y="5380729"/>
                </a:lnTo>
                <a:cubicBezTo>
                  <a:pt x="3168829" y="5381142"/>
                  <a:pt x="3170533" y="5381452"/>
                  <a:pt x="3172082" y="5381968"/>
                </a:cubicBezTo>
                <a:lnTo>
                  <a:pt x="3172856" y="5382175"/>
                </a:lnTo>
                <a:lnTo>
                  <a:pt x="3170378" y="5379593"/>
                </a:lnTo>
                <a:cubicBezTo>
                  <a:pt x="3165886" y="5377012"/>
                  <a:pt x="3160619" y="5376186"/>
                  <a:pt x="3157057" y="5373501"/>
                </a:cubicBezTo>
                <a:close/>
                <a:moveTo>
                  <a:pt x="1821696" y="5371952"/>
                </a:moveTo>
                <a:cubicBezTo>
                  <a:pt x="1820768" y="5372778"/>
                  <a:pt x="1820768" y="5372778"/>
                  <a:pt x="1821542" y="5373605"/>
                </a:cubicBezTo>
                <a:cubicBezTo>
                  <a:pt x="1821542" y="5373605"/>
                  <a:pt x="1821542" y="5373605"/>
                  <a:pt x="1822316" y="5373605"/>
                </a:cubicBezTo>
                <a:cubicBezTo>
                  <a:pt x="1822161" y="5374430"/>
                  <a:pt x="1821387" y="5374430"/>
                  <a:pt x="1821387" y="5375256"/>
                </a:cubicBezTo>
                <a:cubicBezTo>
                  <a:pt x="1821387" y="5375256"/>
                  <a:pt x="1820612" y="5375256"/>
                  <a:pt x="1820612" y="5375256"/>
                </a:cubicBezTo>
                <a:cubicBezTo>
                  <a:pt x="1820457" y="5375670"/>
                  <a:pt x="1820457" y="5375670"/>
                  <a:pt x="1820302" y="5375463"/>
                </a:cubicBezTo>
                <a:cubicBezTo>
                  <a:pt x="1820147" y="5375256"/>
                  <a:pt x="1819838" y="5374844"/>
                  <a:pt x="1819063" y="5374430"/>
                </a:cubicBezTo>
                <a:cubicBezTo>
                  <a:pt x="1818599" y="5374017"/>
                  <a:pt x="1818289" y="5373811"/>
                  <a:pt x="1818134" y="5373501"/>
                </a:cubicBezTo>
                <a:cubicBezTo>
                  <a:pt x="1817979" y="5373294"/>
                  <a:pt x="1817979" y="5373088"/>
                  <a:pt x="1818444" y="5372675"/>
                </a:cubicBezTo>
                <a:cubicBezTo>
                  <a:pt x="1819218" y="5371952"/>
                  <a:pt x="1819218" y="5371849"/>
                  <a:pt x="1821696" y="5371952"/>
                </a:cubicBezTo>
                <a:close/>
                <a:moveTo>
                  <a:pt x="2584095" y="5368958"/>
                </a:moveTo>
                <a:cubicBezTo>
                  <a:pt x="2588588" y="5365963"/>
                  <a:pt x="2602063" y="5379490"/>
                  <a:pt x="2584250" y="5378664"/>
                </a:cubicBezTo>
                <a:cubicBezTo>
                  <a:pt x="2582237" y="5372882"/>
                  <a:pt x="2582702" y="5369990"/>
                  <a:pt x="2584095" y="5368958"/>
                </a:cubicBezTo>
                <a:close/>
                <a:moveTo>
                  <a:pt x="2977842" y="5368854"/>
                </a:moveTo>
                <a:cubicBezTo>
                  <a:pt x="2978616" y="5369268"/>
                  <a:pt x="2979081" y="5368545"/>
                  <a:pt x="2979856" y="5368958"/>
                </a:cubicBezTo>
                <a:cubicBezTo>
                  <a:pt x="2981714" y="5369061"/>
                  <a:pt x="2981714" y="5369061"/>
                  <a:pt x="2981869" y="5370300"/>
                </a:cubicBezTo>
                <a:cubicBezTo>
                  <a:pt x="2982179" y="5371539"/>
                  <a:pt x="2979856" y="5373398"/>
                  <a:pt x="2980165" y="5374637"/>
                </a:cubicBezTo>
                <a:cubicBezTo>
                  <a:pt x="2980165" y="5374637"/>
                  <a:pt x="2980165" y="5374637"/>
                  <a:pt x="2978152" y="5374534"/>
                </a:cubicBezTo>
                <a:cubicBezTo>
                  <a:pt x="2977532" y="5374017"/>
                  <a:pt x="2976758" y="5373605"/>
                  <a:pt x="2976603" y="5372365"/>
                </a:cubicBezTo>
                <a:cubicBezTo>
                  <a:pt x="2976448" y="5371126"/>
                  <a:pt x="2977377" y="5369577"/>
                  <a:pt x="2977842" y="5368854"/>
                </a:cubicBezTo>
                <a:close/>
                <a:moveTo>
                  <a:pt x="2857178" y="5365447"/>
                </a:moveTo>
                <a:cubicBezTo>
                  <a:pt x="2853770" y="5367306"/>
                  <a:pt x="2852996" y="5370300"/>
                  <a:pt x="2851137" y="5370920"/>
                </a:cubicBezTo>
                <a:cubicBezTo>
                  <a:pt x="2850517" y="5371126"/>
                  <a:pt x="2849743" y="5371023"/>
                  <a:pt x="2848658" y="5370610"/>
                </a:cubicBezTo>
                <a:cubicBezTo>
                  <a:pt x="2848349" y="5366893"/>
                  <a:pt x="2853925" y="5363795"/>
                  <a:pt x="2857178" y="5365447"/>
                </a:cubicBezTo>
                <a:close/>
                <a:moveTo>
                  <a:pt x="2427031" y="5361214"/>
                </a:moveTo>
                <a:cubicBezTo>
                  <a:pt x="2423778" y="5370920"/>
                  <a:pt x="2425946" y="5378251"/>
                  <a:pt x="2420215" y="5388680"/>
                </a:cubicBezTo>
                <a:cubicBezTo>
                  <a:pt x="2418666" y="5387441"/>
                  <a:pt x="2417737" y="5385066"/>
                  <a:pt x="2417272" y="5382278"/>
                </a:cubicBezTo>
                <a:cubicBezTo>
                  <a:pt x="2416188" y="5374121"/>
                  <a:pt x="2420060" y="5361937"/>
                  <a:pt x="2427031" y="5361214"/>
                </a:cubicBezTo>
                <a:close/>
                <a:moveTo>
                  <a:pt x="2842618" y="5360801"/>
                </a:moveTo>
                <a:cubicBezTo>
                  <a:pt x="2842618" y="5360801"/>
                  <a:pt x="2842618" y="5360697"/>
                  <a:pt x="2843547" y="5360801"/>
                </a:cubicBezTo>
                <a:cubicBezTo>
                  <a:pt x="2842772" y="5364208"/>
                  <a:pt x="2843856" y="5368751"/>
                  <a:pt x="2842308" y="5371333"/>
                </a:cubicBezTo>
                <a:cubicBezTo>
                  <a:pt x="2841843" y="5371746"/>
                  <a:pt x="2841533" y="5372159"/>
                  <a:pt x="2840914" y="5372159"/>
                </a:cubicBezTo>
                <a:cubicBezTo>
                  <a:pt x="2840449" y="5372262"/>
                  <a:pt x="2839829" y="5372055"/>
                  <a:pt x="2838900" y="5371126"/>
                </a:cubicBezTo>
                <a:cubicBezTo>
                  <a:pt x="2837196" y="5370094"/>
                  <a:pt x="2837196" y="5369268"/>
                  <a:pt x="2838745" y="5366686"/>
                </a:cubicBezTo>
                <a:cubicBezTo>
                  <a:pt x="2840294" y="5365034"/>
                  <a:pt x="2841068" y="5363279"/>
                  <a:pt x="2841998" y="5363382"/>
                </a:cubicBezTo>
                <a:cubicBezTo>
                  <a:pt x="2841843" y="5362453"/>
                  <a:pt x="2842618" y="5361626"/>
                  <a:pt x="2842618" y="5360801"/>
                </a:cubicBezTo>
                <a:close/>
                <a:moveTo>
                  <a:pt x="2944694" y="5358632"/>
                </a:moveTo>
                <a:cubicBezTo>
                  <a:pt x="2945469" y="5358322"/>
                  <a:pt x="2946398" y="5358013"/>
                  <a:pt x="2946553" y="5358736"/>
                </a:cubicBezTo>
                <a:cubicBezTo>
                  <a:pt x="2946708" y="5359045"/>
                  <a:pt x="2946553" y="5359355"/>
                  <a:pt x="2946243" y="5359458"/>
                </a:cubicBezTo>
                <a:cubicBezTo>
                  <a:pt x="2945933" y="5359665"/>
                  <a:pt x="2945314" y="5359561"/>
                  <a:pt x="2944849" y="5359458"/>
                </a:cubicBezTo>
                <a:cubicBezTo>
                  <a:pt x="2944849" y="5359458"/>
                  <a:pt x="2944694" y="5358632"/>
                  <a:pt x="2944694" y="5358632"/>
                </a:cubicBezTo>
                <a:close/>
                <a:moveTo>
                  <a:pt x="2942371" y="5358426"/>
                </a:moveTo>
                <a:lnTo>
                  <a:pt x="2943610" y="5359252"/>
                </a:lnTo>
                <a:lnTo>
                  <a:pt x="2944229" y="5359561"/>
                </a:lnTo>
                <a:lnTo>
                  <a:pt x="2944075" y="5359665"/>
                </a:lnTo>
                <a:lnTo>
                  <a:pt x="2945469" y="5361523"/>
                </a:lnTo>
                <a:cubicBezTo>
                  <a:pt x="2945469" y="5361523"/>
                  <a:pt x="2946398" y="5361626"/>
                  <a:pt x="2947172" y="5361833"/>
                </a:cubicBezTo>
                <a:cubicBezTo>
                  <a:pt x="2949496" y="5363898"/>
                  <a:pt x="2951045" y="5365034"/>
                  <a:pt x="2950115" y="5368235"/>
                </a:cubicBezTo>
                <a:cubicBezTo>
                  <a:pt x="2949186" y="5368132"/>
                  <a:pt x="2947637" y="5366170"/>
                  <a:pt x="2946863" y="5365241"/>
                </a:cubicBezTo>
                <a:cubicBezTo>
                  <a:pt x="2946088" y="5365138"/>
                  <a:pt x="2945314" y="5364105"/>
                  <a:pt x="2945314" y="5363279"/>
                </a:cubicBezTo>
                <a:cubicBezTo>
                  <a:pt x="2945314" y="5363279"/>
                  <a:pt x="2944539" y="5362246"/>
                  <a:pt x="2943765" y="5362143"/>
                </a:cubicBezTo>
                <a:lnTo>
                  <a:pt x="2942835" y="5360491"/>
                </a:lnTo>
                <a:lnTo>
                  <a:pt x="2942680" y="5360491"/>
                </a:lnTo>
                <a:cubicBezTo>
                  <a:pt x="2942061" y="5360904"/>
                  <a:pt x="2941441" y="5361110"/>
                  <a:pt x="2940977" y="5360904"/>
                </a:cubicBezTo>
                <a:cubicBezTo>
                  <a:pt x="2940512" y="5360697"/>
                  <a:pt x="2940202" y="5360594"/>
                  <a:pt x="2940047" y="5360284"/>
                </a:cubicBezTo>
                <a:cubicBezTo>
                  <a:pt x="2939737" y="5360078"/>
                  <a:pt x="2939737" y="5359665"/>
                  <a:pt x="2939428" y="5358839"/>
                </a:cubicBezTo>
                <a:cubicBezTo>
                  <a:pt x="2940822" y="5358736"/>
                  <a:pt x="2941441" y="5358632"/>
                  <a:pt x="2942061" y="5358736"/>
                </a:cubicBezTo>
                <a:lnTo>
                  <a:pt x="2942371" y="5358942"/>
                </a:lnTo>
                <a:close/>
                <a:moveTo>
                  <a:pt x="2400544" y="5357600"/>
                </a:moveTo>
                <a:cubicBezTo>
                  <a:pt x="2401163" y="5359045"/>
                  <a:pt x="2399769" y="5362556"/>
                  <a:pt x="2398685" y="5364827"/>
                </a:cubicBezTo>
                <a:cubicBezTo>
                  <a:pt x="2397600" y="5365447"/>
                  <a:pt x="2396206" y="5365654"/>
                  <a:pt x="2394967" y="5365447"/>
                </a:cubicBezTo>
                <a:cubicBezTo>
                  <a:pt x="2393573" y="5365344"/>
                  <a:pt x="2392179" y="5364827"/>
                  <a:pt x="2390940" y="5364105"/>
                </a:cubicBezTo>
                <a:cubicBezTo>
                  <a:pt x="2392954" y="5359561"/>
                  <a:pt x="2396051" y="5358013"/>
                  <a:pt x="2400544" y="5357600"/>
                </a:cubicBezTo>
                <a:close/>
                <a:moveTo>
                  <a:pt x="2948722" y="5356980"/>
                </a:moveTo>
                <a:cubicBezTo>
                  <a:pt x="2949806" y="5357393"/>
                  <a:pt x="2949806" y="5357393"/>
                  <a:pt x="2950580" y="5357083"/>
                </a:cubicBezTo>
                <a:cubicBezTo>
                  <a:pt x="2950580" y="5357083"/>
                  <a:pt x="2949961" y="5358116"/>
                  <a:pt x="2949961" y="5358116"/>
                </a:cubicBezTo>
                <a:cubicBezTo>
                  <a:pt x="2948876" y="5357806"/>
                  <a:pt x="2949186" y="5358426"/>
                  <a:pt x="2948722" y="5356980"/>
                </a:cubicBezTo>
                <a:close/>
                <a:moveTo>
                  <a:pt x="2964211" y="5354295"/>
                </a:moveTo>
                <a:cubicBezTo>
                  <a:pt x="2962662" y="5354915"/>
                  <a:pt x="2953523" y="5357703"/>
                  <a:pt x="2950735" y="5357187"/>
                </a:cubicBezTo>
                <a:cubicBezTo>
                  <a:pt x="2954917" y="5356257"/>
                  <a:pt x="2960339" y="5353263"/>
                  <a:pt x="2964211" y="5354295"/>
                </a:cubicBezTo>
                <a:close/>
                <a:moveTo>
                  <a:pt x="2656122" y="5353470"/>
                </a:moveTo>
                <a:cubicBezTo>
                  <a:pt x="2657052" y="5351817"/>
                  <a:pt x="2659375" y="5354812"/>
                  <a:pt x="2660305" y="5354915"/>
                </a:cubicBezTo>
                <a:cubicBezTo>
                  <a:pt x="2661079" y="5355948"/>
                  <a:pt x="2661699" y="5356877"/>
                  <a:pt x="2660924" y="5357600"/>
                </a:cubicBezTo>
                <a:cubicBezTo>
                  <a:pt x="2660460" y="5358013"/>
                  <a:pt x="2660305" y="5358426"/>
                  <a:pt x="2659840" y="5358632"/>
                </a:cubicBezTo>
                <a:cubicBezTo>
                  <a:pt x="2659530" y="5358736"/>
                  <a:pt x="2659220" y="5358632"/>
                  <a:pt x="2658446" y="5358116"/>
                </a:cubicBezTo>
                <a:cubicBezTo>
                  <a:pt x="2657517" y="5357910"/>
                  <a:pt x="2656742" y="5356980"/>
                  <a:pt x="2655967" y="5356877"/>
                </a:cubicBezTo>
                <a:cubicBezTo>
                  <a:pt x="2655967" y="5356877"/>
                  <a:pt x="2655658" y="5356154"/>
                  <a:pt x="2655658" y="5355328"/>
                </a:cubicBezTo>
                <a:cubicBezTo>
                  <a:pt x="2655658" y="5354605"/>
                  <a:pt x="2655658" y="5353779"/>
                  <a:pt x="2656122" y="5353470"/>
                </a:cubicBezTo>
                <a:close/>
                <a:moveTo>
                  <a:pt x="2291497" y="5350475"/>
                </a:moveTo>
                <a:cubicBezTo>
                  <a:pt x="2293511" y="5349959"/>
                  <a:pt x="2295834" y="5350475"/>
                  <a:pt x="2298157" y="5352540"/>
                </a:cubicBezTo>
                <a:cubicBezTo>
                  <a:pt x="2294750" y="5357910"/>
                  <a:pt x="2296454" y="5361833"/>
                  <a:pt x="2291807" y="5364931"/>
                </a:cubicBezTo>
                <a:cubicBezTo>
                  <a:pt x="2289638" y="5364415"/>
                  <a:pt x="2288244" y="5363382"/>
                  <a:pt x="2287469" y="5362040"/>
                </a:cubicBezTo>
                <a:cubicBezTo>
                  <a:pt x="2284836" y="5358013"/>
                  <a:pt x="2287315" y="5351611"/>
                  <a:pt x="2291497" y="5350475"/>
                </a:cubicBezTo>
                <a:close/>
                <a:moveTo>
                  <a:pt x="2861515" y="5349236"/>
                </a:moveTo>
                <a:cubicBezTo>
                  <a:pt x="2864458" y="5349649"/>
                  <a:pt x="2863838" y="5352747"/>
                  <a:pt x="2864303" y="5356154"/>
                </a:cubicBezTo>
                <a:cubicBezTo>
                  <a:pt x="2863219" y="5355844"/>
                  <a:pt x="2862599" y="5356980"/>
                  <a:pt x="2862134" y="5358116"/>
                </a:cubicBezTo>
                <a:cubicBezTo>
                  <a:pt x="2860586" y="5357600"/>
                  <a:pt x="2857952" y="5356980"/>
                  <a:pt x="2857488" y="5354812"/>
                </a:cubicBezTo>
                <a:cubicBezTo>
                  <a:pt x="2857332" y="5354089"/>
                  <a:pt x="2857488" y="5353056"/>
                  <a:pt x="2857952" y="5351920"/>
                </a:cubicBezTo>
                <a:cubicBezTo>
                  <a:pt x="2857643" y="5351198"/>
                  <a:pt x="2860431" y="5348823"/>
                  <a:pt x="2861515" y="5349236"/>
                </a:cubicBezTo>
                <a:close/>
                <a:moveTo>
                  <a:pt x="2941132" y="5347893"/>
                </a:moveTo>
                <a:cubicBezTo>
                  <a:pt x="2941132" y="5347893"/>
                  <a:pt x="2942216" y="5348100"/>
                  <a:pt x="2942216" y="5348100"/>
                </a:cubicBezTo>
                <a:cubicBezTo>
                  <a:pt x="2946398" y="5348513"/>
                  <a:pt x="2950115" y="5352024"/>
                  <a:pt x="2950270" y="5353986"/>
                </a:cubicBezTo>
                <a:cubicBezTo>
                  <a:pt x="2949651" y="5355844"/>
                  <a:pt x="2948102" y="5357703"/>
                  <a:pt x="2945933" y="5358219"/>
                </a:cubicBezTo>
                <a:cubicBezTo>
                  <a:pt x="2945159" y="5358322"/>
                  <a:pt x="2944384" y="5358322"/>
                  <a:pt x="2943455" y="5358116"/>
                </a:cubicBezTo>
                <a:cubicBezTo>
                  <a:pt x="2940512" y="5358013"/>
                  <a:pt x="2938963" y="5355121"/>
                  <a:pt x="2935555" y="5354295"/>
                </a:cubicBezTo>
                <a:cubicBezTo>
                  <a:pt x="2936330" y="5349959"/>
                  <a:pt x="2936639" y="5348720"/>
                  <a:pt x="2941132" y="5347893"/>
                </a:cubicBezTo>
                <a:close/>
                <a:moveTo>
                  <a:pt x="2601909" y="5347584"/>
                </a:moveTo>
                <a:cubicBezTo>
                  <a:pt x="2602683" y="5348100"/>
                  <a:pt x="2603148" y="5348926"/>
                  <a:pt x="2603613" y="5350165"/>
                </a:cubicBezTo>
                <a:cubicBezTo>
                  <a:pt x="2602838" y="5357496"/>
                  <a:pt x="2600515" y="5362969"/>
                  <a:pt x="2593389" y="5363898"/>
                </a:cubicBezTo>
                <a:cubicBezTo>
                  <a:pt x="2593544" y="5362659"/>
                  <a:pt x="2592305" y="5362556"/>
                  <a:pt x="2591221" y="5362556"/>
                </a:cubicBezTo>
                <a:cubicBezTo>
                  <a:pt x="2587193" y="5356464"/>
                  <a:pt x="2596952" y="5343867"/>
                  <a:pt x="2601909" y="5347584"/>
                </a:cubicBezTo>
                <a:close/>
                <a:moveTo>
                  <a:pt x="2754172" y="5347171"/>
                </a:moveTo>
                <a:cubicBezTo>
                  <a:pt x="2759748" y="5347274"/>
                  <a:pt x="2762846" y="5350475"/>
                  <a:pt x="2765944" y="5353676"/>
                </a:cubicBezTo>
                <a:cubicBezTo>
                  <a:pt x="2765634" y="5358116"/>
                  <a:pt x="2764240" y="5359768"/>
                  <a:pt x="2762226" y="5359975"/>
                </a:cubicBezTo>
                <a:cubicBezTo>
                  <a:pt x="2761607" y="5359975"/>
                  <a:pt x="2760987" y="5359975"/>
                  <a:pt x="2760213" y="5359768"/>
                </a:cubicBezTo>
                <a:cubicBezTo>
                  <a:pt x="2757270" y="5358942"/>
                  <a:pt x="2753707" y="5356464"/>
                  <a:pt x="2751074" y="5355431"/>
                </a:cubicBezTo>
                <a:cubicBezTo>
                  <a:pt x="2751384" y="5351508"/>
                  <a:pt x="2751848" y="5350269"/>
                  <a:pt x="2754172" y="5347171"/>
                </a:cubicBezTo>
                <a:close/>
                <a:moveTo>
                  <a:pt x="2801880" y="5346654"/>
                </a:moveTo>
                <a:cubicBezTo>
                  <a:pt x="2804203" y="5347248"/>
                  <a:pt x="2806140" y="5348616"/>
                  <a:pt x="2806372" y="5350372"/>
                </a:cubicBezTo>
                <a:cubicBezTo>
                  <a:pt x="2805752" y="5353263"/>
                  <a:pt x="2804668" y="5355535"/>
                  <a:pt x="2803584" y="5357083"/>
                </a:cubicBezTo>
                <a:lnTo>
                  <a:pt x="2800796" y="5359148"/>
                </a:lnTo>
                <a:lnTo>
                  <a:pt x="2804823" y="5361730"/>
                </a:lnTo>
                <a:lnTo>
                  <a:pt x="2805442" y="5362866"/>
                </a:lnTo>
                <a:lnTo>
                  <a:pt x="2805907" y="5361730"/>
                </a:lnTo>
                <a:cubicBezTo>
                  <a:pt x="2808850" y="5357393"/>
                  <a:pt x="2814891" y="5353986"/>
                  <a:pt x="2818453" y="5354295"/>
                </a:cubicBezTo>
                <a:lnTo>
                  <a:pt x="2820157" y="5356774"/>
                </a:lnTo>
                <a:lnTo>
                  <a:pt x="2821087" y="5356257"/>
                </a:lnTo>
                <a:lnTo>
                  <a:pt x="2824804" y="5355121"/>
                </a:lnTo>
                <a:lnTo>
                  <a:pt x="2824495" y="5354605"/>
                </a:lnTo>
                <a:cubicBezTo>
                  <a:pt x="2824340" y="5353882"/>
                  <a:pt x="2824650" y="5353056"/>
                  <a:pt x="2825424" y="5352230"/>
                </a:cubicBezTo>
                <a:cubicBezTo>
                  <a:pt x="2826973" y="5349752"/>
                  <a:pt x="2829606" y="5349855"/>
                  <a:pt x="2832085" y="5350888"/>
                </a:cubicBezTo>
                <a:cubicBezTo>
                  <a:pt x="2833788" y="5350062"/>
                  <a:pt x="2834563" y="5348410"/>
                  <a:pt x="2836267" y="5349339"/>
                </a:cubicBezTo>
                <a:cubicBezTo>
                  <a:pt x="2833788" y="5350991"/>
                  <a:pt x="2833014" y="5351714"/>
                  <a:pt x="2831310" y="5352540"/>
                </a:cubicBezTo>
                <a:cubicBezTo>
                  <a:pt x="2831310" y="5353366"/>
                  <a:pt x="2831310" y="5354192"/>
                  <a:pt x="2830535" y="5355018"/>
                </a:cubicBezTo>
                <a:lnTo>
                  <a:pt x="2828987" y="5355741"/>
                </a:lnTo>
                <a:lnTo>
                  <a:pt x="2829296" y="5356877"/>
                </a:lnTo>
                <a:cubicBezTo>
                  <a:pt x="2829606" y="5357600"/>
                  <a:pt x="2829916" y="5358322"/>
                  <a:pt x="2830535" y="5359148"/>
                </a:cubicBezTo>
                <a:cubicBezTo>
                  <a:pt x="2827902" y="5359665"/>
                  <a:pt x="2826043" y="5360594"/>
                  <a:pt x="2824340" y="5361317"/>
                </a:cubicBezTo>
                <a:lnTo>
                  <a:pt x="2821707" y="5361730"/>
                </a:lnTo>
                <a:lnTo>
                  <a:pt x="2821707" y="5362040"/>
                </a:lnTo>
                <a:cubicBezTo>
                  <a:pt x="2821397" y="5363795"/>
                  <a:pt x="2820467" y="5365344"/>
                  <a:pt x="2819228" y="5366686"/>
                </a:cubicBezTo>
                <a:lnTo>
                  <a:pt x="2817834" y="5367512"/>
                </a:lnTo>
                <a:cubicBezTo>
                  <a:pt x="2819693" y="5369990"/>
                  <a:pt x="2819693" y="5374327"/>
                  <a:pt x="2816130" y="5377631"/>
                </a:cubicBezTo>
                <a:cubicBezTo>
                  <a:pt x="2812567" y="5377528"/>
                  <a:pt x="2810399" y="5376186"/>
                  <a:pt x="2808695" y="5375566"/>
                </a:cubicBezTo>
                <a:lnTo>
                  <a:pt x="2808850" y="5369577"/>
                </a:lnTo>
                <a:lnTo>
                  <a:pt x="2807456" y="5368545"/>
                </a:lnTo>
                <a:lnTo>
                  <a:pt x="2807301" y="5373088"/>
                </a:lnTo>
                <a:cubicBezTo>
                  <a:pt x="2806836" y="5375256"/>
                  <a:pt x="2806062" y="5377528"/>
                  <a:pt x="2804823" y="5379696"/>
                </a:cubicBezTo>
                <a:cubicBezTo>
                  <a:pt x="2799246" y="5390642"/>
                  <a:pt x="2786080" y="5401277"/>
                  <a:pt x="2775547" y="5401071"/>
                </a:cubicBezTo>
                <a:cubicBezTo>
                  <a:pt x="2772140" y="5401071"/>
                  <a:pt x="2768887" y="5399728"/>
                  <a:pt x="2766408" y="5396837"/>
                </a:cubicBezTo>
                <a:cubicBezTo>
                  <a:pt x="2767648" y="5393223"/>
                  <a:pt x="2769197" y="5389712"/>
                  <a:pt x="2770900" y="5386098"/>
                </a:cubicBezTo>
                <a:lnTo>
                  <a:pt x="2777406" y="5376082"/>
                </a:lnTo>
                <a:lnTo>
                  <a:pt x="2774308" y="5376909"/>
                </a:lnTo>
                <a:cubicBezTo>
                  <a:pt x="2772295" y="5377218"/>
                  <a:pt x="2770591" y="5377218"/>
                  <a:pt x="2769042" y="5377115"/>
                </a:cubicBezTo>
                <a:cubicBezTo>
                  <a:pt x="2770126" y="5374947"/>
                  <a:pt x="2771520" y="5373191"/>
                  <a:pt x="2773224" y="5371643"/>
                </a:cubicBezTo>
                <a:lnTo>
                  <a:pt x="2777871" y="5368648"/>
                </a:lnTo>
                <a:lnTo>
                  <a:pt x="2777406" y="5366067"/>
                </a:lnTo>
                <a:lnTo>
                  <a:pt x="2774928" y="5369784"/>
                </a:lnTo>
                <a:cubicBezTo>
                  <a:pt x="2770746" y="5374121"/>
                  <a:pt x="2764860" y="5374947"/>
                  <a:pt x="2758974" y="5375773"/>
                </a:cubicBezTo>
                <a:cubicBezTo>
                  <a:pt x="2759128" y="5371436"/>
                  <a:pt x="2762226" y="5368545"/>
                  <a:pt x="2766099" y="5366686"/>
                </a:cubicBezTo>
                <a:lnTo>
                  <a:pt x="2777251" y="5364415"/>
                </a:lnTo>
                <a:lnTo>
                  <a:pt x="2777251" y="5361833"/>
                </a:lnTo>
                <a:cubicBezTo>
                  <a:pt x="2778645" y="5360697"/>
                  <a:pt x="2779730" y="5360697"/>
                  <a:pt x="2780969" y="5361214"/>
                </a:cubicBezTo>
                <a:lnTo>
                  <a:pt x="2782673" y="5362453"/>
                </a:lnTo>
                <a:lnTo>
                  <a:pt x="2783137" y="5357290"/>
                </a:lnTo>
                <a:cubicBezTo>
                  <a:pt x="2785151" y="5359045"/>
                  <a:pt x="2785616" y="5361626"/>
                  <a:pt x="2788404" y="5363072"/>
                </a:cubicBezTo>
                <a:lnTo>
                  <a:pt x="2790727" y="5363588"/>
                </a:lnTo>
                <a:lnTo>
                  <a:pt x="2797078" y="5359252"/>
                </a:lnTo>
                <a:lnTo>
                  <a:pt x="2796303" y="5359148"/>
                </a:lnTo>
                <a:cubicBezTo>
                  <a:pt x="2795219" y="5358426"/>
                  <a:pt x="2794445" y="5357290"/>
                  <a:pt x="2793980" y="5355741"/>
                </a:cubicBezTo>
                <a:cubicBezTo>
                  <a:pt x="2793515" y="5353676"/>
                  <a:pt x="2793670" y="5350888"/>
                  <a:pt x="2795064" y="5347584"/>
                </a:cubicBezTo>
                <a:cubicBezTo>
                  <a:pt x="2796846" y="5346241"/>
                  <a:pt x="2799556" y="5346061"/>
                  <a:pt x="2801880" y="5346654"/>
                </a:cubicBezTo>
                <a:close/>
                <a:moveTo>
                  <a:pt x="2464671" y="5344383"/>
                </a:moveTo>
                <a:cubicBezTo>
                  <a:pt x="2461263" y="5349855"/>
                  <a:pt x="2457545" y="5354502"/>
                  <a:pt x="2455377" y="5363176"/>
                </a:cubicBezTo>
                <a:cubicBezTo>
                  <a:pt x="2453673" y="5362556"/>
                  <a:pt x="2452898" y="5364208"/>
                  <a:pt x="2451504" y="5364415"/>
                </a:cubicBezTo>
                <a:cubicBezTo>
                  <a:pt x="2451194" y="5364415"/>
                  <a:pt x="2450575" y="5364311"/>
                  <a:pt x="2449956" y="5363898"/>
                </a:cubicBezTo>
                <a:cubicBezTo>
                  <a:pt x="2447632" y="5357600"/>
                  <a:pt x="2456306" y="5342008"/>
                  <a:pt x="2464671" y="5344383"/>
                </a:cubicBezTo>
                <a:close/>
                <a:moveTo>
                  <a:pt x="1746727" y="5343660"/>
                </a:moveTo>
                <a:cubicBezTo>
                  <a:pt x="1747501" y="5345312"/>
                  <a:pt x="1746417" y="5347068"/>
                  <a:pt x="1745332" y="5348823"/>
                </a:cubicBezTo>
                <a:cubicBezTo>
                  <a:pt x="1744403" y="5350062"/>
                  <a:pt x="1743474" y="5350475"/>
                  <a:pt x="1742699" y="5350372"/>
                </a:cubicBezTo>
                <a:cubicBezTo>
                  <a:pt x="1741925" y="5350165"/>
                  <a:pt x="1740996" y="5349546"/>
                  <a:pt x="1740376" y="5348616"/>
                </a:cubicBezTo>
                <a:cubicBezTo>
                  <a:pt x="1738827" y="5346861"/>
                  <a:pt x="1739756" y="5345209"/>
                  <a:pt x="1739756" y="5345209"/>
                </a:cubicBezTo>
                <a:cubicBezTo>
                  <a:pt x="1741770" y="5342627"/>
                  <a:pt x="1744403" y="5341802"/>
                  <a:pt x="1746727" y="5343660"/>
                </a:cubicBezTo>
                <a:close/>
                <a:moveTo>
                  <a:pt x="2745342" y="5343247"/>
                </a:moveTo>
                <a:lnTo>
                  <a:pt x="2744723" y="5355535"/>
                </a:lnTo>
                <a:lnTo>
                  <a:pt x="2745962" y="5356051"/>
                </a:lnTo>
                <a:lnTo>
                  <a:pt x="2746427" y="5355535"/>
                </a:lnTo>
                <a:cubicBezTo>
                  <a:pt x="2749215" y="5355018"/>
                  <a:pt x="2752003" y="5358942"/>
                  <a:pt x="2752158" y="5362246"/>
                </a:cubicBezTo>
                <a:lnTo>
                  <a:pt x="2751693" y="5364311"/>
                </a:lnTo>
                <a:lnTo>
                  <a:pt x="2751848" y="5364518"/>
                </a:lnTo>
                <a:cubicBezTo>
                  <a:pt x="2750919" y="5367203"/>
                  <a:pt x="2750764" y="5367822"/>
                  <a:pt x="2747976" y="5367615"/>
                </a:cubicBezTo>
                <a:cubicBezTo>
                  <a:pt x="2747201" y="5367512"/>
                  <a:pt x="2745962" y="5367409"/>
                  <a:pt x="2744413" y="5367203"/>
                </a:cubicBezTo>
                <a:lnTo>
                  <a:pt x="2743329" y="5366686"/>
                </a:lnTo>
                <a:lnTo>
                  <a:pt x="2742245" y="5370610"/>
                </a:lnTo>
                <a:cubicBezTo>
                  <a:pt x="2740541" y="5369268"/>
                  <a:pt x="2739302" y="5366893"/>
                  <a:pt x="2738527" y="5364105"/>
                </a:cubicBezTo>
                <a:lnTo>
                  <a:pt x="2738218" y="5360284"/>
                </a:lnTo>
                <a:lnTo>
                  <a:pt x="2738063" y="5360078"/>
                </a:lnTo>
                <a:cubicBezTo>
                  <a:pt x="2737598" y="5359148"/>
                  <a:pt x="2737288" y="5358116"/>
                  <a:pt x="2737288" y="5357187"/>
                </a:cubicBezTo>
                <a:lnTo>
                  <a:pt x="2737908" y="5356154"/>
                </a:lnTo>
                <a:lnTo>
                  <a:pt x="2737753" y="5355121"/>
                </a:lnTo>
                <a:cubicBezTo>
                  <a:pt x="2738218" y="5349133"/>
                  <a:pt x="2740696" y="5343660"/>
                  <a:pt x="2745342" y="5343247"/>
                </a:cubicBezTo>
                <a:close/>
                <a:moveTo>
                  <a:pt x="2514238" y="5343041"/>
                </a:moveTo>
                <a:cubicBezTo>
                  <a:pt x="2519813" y="5340253"/>
                  <a:pt x="2526474" y="5344589"/>
                  <a:pt x="2528333" y="5352127"/>
                </a:cubicBezTo>
                <a:cubicBezTo>
                  <a:pt x="2531431" y="5363692"/>
                  <a:pt x="2527713" y="5370920"/>
                  <a:pt x="2527713" y="5370920"/>
                </a:cubicBezTo>
                <a:cubicBezTo>
                  <a:pt x="2525855" y="5371643"/>
                  <a:pt x="2524151" y="5371849"/>
                  <a:pt x="2522602" y="5371643"/>
                </a:cubicBezTo>
                <a:cubicBezTo>
                  <a:pt x="2518265" y="5371023"/>
                  <a:pt x="2515786" y="5366686"/>
                  <a:pt x="2514238" y="5362040"/>
                </a:cubicBezTo>
                <a:cubicBezTo>
                  <a:pt x="2513463" y="5359871"/>
                  <a:pt x="2512998" y="5357806"/>
                  <a:pt x="2512534" y="5355844"/>
                </a:cubicBezTo>
                <a:cubicBezTo>
                  <a:pt x="2511449" y="5352024"/>
                  <a:pt x="2510675" y="5347687"/>
                  <a:pt x="2512069" y="5345003"/>
                </a:cubicBezTo>
                <a:cubicBezTo>
                  <a:pt x="2512534" y="5344176"/>
                  <a:pt x="2513153" y="5343453"/>
                  <a:pt x="2514238" y="5343041"/>
                </a:cubicBezTo>
                <a:close/>
                <a:moveTo>
                  <a:pt x="2750454" y="5342731"/>
                </a:moveTo>
                <a:cubicBezTo>
                  <a:pt x="2752932" y="5341182"/>
                  <a:pt x="2759593" y="5345828"/>
                  <a:pt x="2762226" y="5348410"/>
                </a:cubicBezTo>
                <a:cubicBezTo>
                  <a:pt x="2761607" y="5348823"/>
                  <a:pt x="2760832" y="5348823"/>
                  <a:pt x="2759748" y="5348616"/>
                </a:cubicBezTo>
                <a:cubicBezTo>
                  <a:pt x="2756805" y="5347893"/>
                  <a:pt x="2752468" y="5344796"/>
                  <a:pt x="2750454" y="5342731"/>
                </a:cubicBezTo>
                <a:close/>
                <a:moveTo>
                  <a:pt x="2665106" y="5342214"/>
                </a:moveTo>
                <a:cubicBezTo>
                  <a:pt x="2665106" y="5344176"/>
                  <a:pt x="2666965" y="5345932"/>
                  <a:pt x="2666191" y="5348307"/>
                </a:cubicBezTo>
                <a:cubicBezTo>
                  <a:pt x="2666191" y="5348307"/>
                  <a:pt x="2665881" y="5349546"/>
                  <a:pt x="2664332" y="5350475"/>
                </a:cubicBezTo>
                <a:cubicBezTo>
                  <a:pt x="2662938" y="5353366"/>
                  <a:pt x="2659530" y="5352540"/>
                  <a:pt x="2659530" y="5352540"/>
                </a:cubicBezTo>
                <a:cubicBezTo>
                  <a:pt x="2659530" y="5352540"/>
                  <a:pt x="2659530" y="5352540"/>
                  <a:pt x="2659840" y="5353263"/>
                </a:cubicBezTo>
                <a:cubicBezTo>
                  <a:pt x="2659220" y="5351714"/>
                  <a:pt x="2657671" y="5350785"/>
                  <a:pt x="2656897" y="5349339"/>
                </a:cubicBezTo>
                <a:cubicBezTo>
                  <a:pt x="2658291" y="5340666"/>
                  <a:pt x="2660924" y="5341905"/>
                  <a:pt x="2665106" y="5342214"/>
                </a:cubicBezTo>
                <a:close/>
                <a:moveTo>
                  <a:pt x="2558073" y="5339840"/>
                </a:moveTo>
                <a:cubicBezTo>
                  <a:pt x="2561481" y="5342627"/>
                  <a:pt x="2561636" y="5345106"/>
                  <a:pt x="2560087" y="5348410"/>
                </a:cubicBezTo>
                <a:cubicBezTo>
                  <a:pt x="2557608" y="5348307"/>
                  <a:pt x="2554356" y="5345622"/>
                  <a:pt x="2554201" y="5343144"/>
                </a:cubicBezTo>
                <a:cubicBezTo>
                  <a:pt x="2555749" y="5340666"/>
                  <a:pt x="2557299" y="5341491"/>
                  <a:pt x="2558073" y="5339840"/>
                </a:cubicBezTo>
                <a:close/>
                <a:moveTo>
                  <a:pt x="2448097" y="5339633"/>
                </a:moveTo>
                <a:cubicBezTo>
                  <a:pt x="2449026" y="5340046"/>
                  <a:pt x="2450110" y="5340459"/>
                  <a:pt x="2451194" y="5340872"/>
                </a:cubicBezTo>
                <a:cubicBezTo>
                  <a:pt x="2450265" y="5343144"/>
                  <a:pt x="2449336" y="5345415"/>
                  <a:pt x="2447322" y="5344693"/>
                </a:cubicBezTo>
                <a:cubicBezTo>
                  <a:pt x="2447477" y="5342731"/>
                  <a:pt x="2446393" y="5342318"/>
                  <a:pt x="2448097" y="5339633"/>
                </a:cubicBezTo>
                <a:close/>
                <a:moveTo>
                  <a:pt x="2284372" y="5339323"/>
                </a:moveTo>
                <a:cubicBezTo>
                  <a:pt x="2281739" y="5344486"/>
                  <a:pt x="2284062" y="5348100"/>
                  <a:pt x="2279725" y="5349236"/>
                </a:cubicBezTo>
                <a:cubicBezTo>
                  <a:pt x="2277712" y="5346448"/>
                  <a:pt x="2280964" y="5340149"/>
                  <a:pt x="2284372" y="5339323"/>
                </a:cubicBezTo>
                <a:close/>
                <a:moveTo>
                  <a:pt x="2670992" y="5339117"/>
                </a:moveTo>
                <a:cubicBezTo>
                  <a:pt x="2672851" y="5339840"/>
                  <a:pt x="2673626" y="5341698"/>
                  <a:pt x="2673626" y="5343557"/>
                </a:cubicBezTo>
                <a:lnTo>
                  <a:pt x="2672077" y="5346138"/>
                </a:lnTo>
                <a:lnTo>
                  <a:pt x="2675174" y="5344383"/>
                </a:lnTo>
                <a:cubicBezTo>
                  <a:pt x="2676569" y="5343970"/>
                  <a:pt x="2678428" y="5343867"/>
                  <a:pt x="2680596" y="5344280"/>
                </a:cubicBezTo>
                <a:cubicBezTo>
                  <a:pt x="2682455" y="5344073"/>
                  <a:pt x="2681680" y="5344589"/>
                  <a:pt x="2682764" y="5344796"/>
                </a:cubicBezTo>
                <a:cubicBezTo>
                  <a:pt x="2684004" y="5345106"/>
                  <a:pt x="2685863" y="5344899"/>
                  <a:pt x="2686637" y="5344486"/>
                </a:cubicBezTo>
                <a:cubicBezTo>
                  <a:pt x="2685863" y="5348823"/>
                  <a:pt x="2688806" y="5348926"/>
                  <a:pt x="2687411" y="5355638"/>
                </a:cubicBezTo>
                <a:cubicBezTo>
                  <a:pt x="2686482" y="5362246"/>
                  <a:pt x="2682764" y="5364931"/>
                  <a:pt x="2679357" y="5365654"/>
                </a:cubicBezTo>
                <a:lnTo>
                  <a:pt x="2676569" y="5365757"/>
                </a:lnTo>
                <a:lnTo>
                  <a:pt x="2675794" y="5368339"/>
                </a:lnTo>
                <a:cubicBezTo>
                  <a:pt x="2670373" y="5365447"/>
                  <a:pt x="2669288" y="5370300"/>
                  <a:pt x="2666500" y="5371849"/>
                </a:cubicBezTo>
                <a:cubicBezTo>
                  <a:pt x="2665726" y="5372262"/>
                  <a:pt x="2664642" y="5372469"/>
                  <a:pt x="2663248" y="5371746"/>
                </a:cubicBezTo>
                <a:cubicBezTo>
                  <a:pt x="2661699" y="5369681"/>
                  <a:pt x="2659375" y="5368132"/>
                  <a:pt x="2658601" y="5365344"/>
                </a:cubicBezTo>
                <a:cubicBezTo>
                  <a:pt x="2658291" y="5364311"/>
                  <a:pt x="2658291" y="5363279"/>
                  <a:pt x="2658446" y="5362040"/>
                </a:cubicBezTo>
                <a:cubicBezTo>
                  <a:pt x="2662008" y="5362659"/>
                  <a:pt x="2664951" y="5362556"/>
                  <a:pt x="2667739" y="5362246"/>
                </a:cubicBezTo>
                <a:lnTo>
                  <a:pt x="2670218" y="5362040"/>
                </a:lnTo>
                <a:lnTo>
                  <a:pt x="2668514" y="5359871"/>
                </a:lnTo>
                <a:cubicBezTo>
                  <a:pt x="2667895" y="5358426"/>
                  <a:pt x="2667585" y="5356567"/>
                  <a:pt x="2668050" y="5354089"/>
                </a:cubicBezTo>
                <a:lnTo>
                  <a:pt x="2670683" y="5347997"/>
                </a:lnTo>
                <a:lnTo>
                  <a:pt x="2667895" y="5346551"/>
                </a:lnTo>
                <a:cubicBezTo>
                  <a:pt x="2666191" y="5344073"/>
                  <a:pt x="2668514" y="5339840"/>
                  <a:pt x="2670992" y="5339117"/>
                </a:cubicBezTo>
                <a:close/>
                <a:moveTo>
                  <a:pt x="2824650" y="5337052"/>
                </a:moveTo>
                <a:cubicBezTo>
                  <a:pt x="2825269" y="5337568"/>
                  <a:pt x="2824959" y="5338291"/>
                  <a:pt x="2825734" y="5338807"/>
                </a:cubicBezTo>
                <a:cubicBezTo>
                  <a:pt x="2826043" y="5339426"/>
                  <a:pt x="2825734" y="5340149"/>
                  <a:pt x="2825424" y="5341079"/>
                </a:cubicBezTo>
                <a:cubicBezTo>
                  <a:pt x="2824030" y="5343867"/>
                  <a:pt x="2820622" y="5347377"/>
                  <a:pt x="2820003" y="5347068"/>
                </a:cubicBezTo>
                <a:cubicBezTo>
                  <a:pt x="2819693" y="5347790"/>
                  <a:pt x="2818918" y="5347377"/>
                  <a:pt x="2818453" y="5348100"/>
                </a:cubicBezTo>
                <a:cubicBezTo>
                  <a:pt x="2818453" y="5348100"/>
                  <a:pt x="2818144" y="5348926"/>
                  <a:pt x="2817060" y="5349236"/>
                </a:cubicBezTo>
                <a:cubicBezTo>
                  <a:pt x="2816440" y="5349339"/>
                  <a:pt x="2815975" y="5349546"/>
                  <a:pt x="2815356" y="5349443"/>
                </a:cubicBezTo>
                <a:cubicBezTo>
                  <a:pt x="2814736" y="5349443"/>
                  <a:pt x="2814271" y="5349133"/>
                  <a:pt x="2813652" y="5348307"/>
                </a:cubicBezTo>
                <a:cubicBezTo>
                  <a:pt x="2818764" y="5343453"/>
                  <a:pt x="2820157" y="5340356"/>
                  <a:pt x="2824650" y="5337052"/>
                </a:cubicBezTo>
                <a:close/>
                <a:moveTo>
                  <a:pt x="2731557" y="5336019"/>
                </a:moveTo>
                <a:cubicBezTo>
                  <a:pt x="2732331" y="5336948"/>
                  <a:pt x="2733261" y="5337775"/>
                  <a:pt x="2733416" y="5339530"/>
                </a:cubicBezTo>
                <a:cubicBezTo>
                  <a:pt x="2731867" y="5341182"/>
                  <a:pt x="2729233" y="5340253"/>
                  <a:pt x="2728459" y="5341079"/>
                </a:cubicBezTo>
                <a:cubicBezTo>
                  <a:pt x="2728459" y="5340149"/>
                  <a:pt x="2728304" y="5338394"/>
                  <a:pt x="2726600" y="5337465"/>
                </a:cubicBezTo>
                <a:cubicBezTo>
                  <a:pt x="2728149" y="5335813"/>
                  <a:pt x="2729853" y="5334160"/>
                  <a:pt x="2731557" y="5336019"/>
                </a:cubicBezTo>
                <a:close/>
                <a:moveTo>
                  <a:pt x="2621426" y="5333335"/>
                </a:moveTo>
                <a:cubicBezTo>
                  <a:pt x="2628396" y="5336226"/>
                  <a:pt x="2631804" y="5336432"/>
                  <a:pt x="2636915" y="5339323"/>
                </a:cubicBezTo>
                <a:cubicBezTo>
                  <a:pt x="2636915" y="5340149"/>
                  <a:pt x="2636141" y="5340149"/>
                  <a:pt x="2636141" y="5341079"/>
                </a:cubicBezTo>
                <a:cubicBezTo>
                  <a:pt x="2635831" y="5341491"/>
                  <a:pt x="2634902" y="5341595"/>
                  <a:pt x="2633972" y="5341491"/>
                </a:cubicBezTo>
                <a:cubicBezTo>
                  <a:pt x="2630874" y="5341285"/>
                  <a:pt x="2625918" y="5339426"/>
                  <a:pt x="2625918" y="5338807"/>
                </a:cubicBezTo>
                <a:cubicBezTo>
                  <a:pt x="2625143" y="5338704"/>
                  <a:pt x="2625143" y="5337878"/>
                  <a:pt x="2624214" y="5337775"/>
                </a:cubicBezTo>
                <a:cubicBezTo>
                  <a:pt x="2624214" y="5337775"/>
                  <a:pt x="2623439" y="5337775"/>
                  <a:pt x="2622510" y="5336845"/>
                </a:cubicBezTo>
                <a:cubicBezTo>
                  <a:pt x="2621581" y="5335916"/>
                  <a:pt x="2620651" y="5334986"/>
                  <a:pt x="2621426" y="5333335"/>
                </a:cubicBezTo>
                <a:close/>
                <a:moveTo>
                  <a:pt x="2344936" y="5333128"/>
                </a:moveTo>
                <a:cubicBezTo>
                  <a:pt x="2346485" y="5334057"/>
                  <a:pt x="2347259" y="5334057"/>
                  <a:pt x="2348963" y="5333231"/>
                </a:cubicBezTo>
                <a:cubicBezTo>
                  <a:pt x="2348963" y="5333231"/>
                  <a:pt x="2348963" y="5333335"/>
                  <a:pt x="2350512" y="5334986"/>
                </a:cubicBezTo>
                <a:lnTo>
                  <a:pt x="2350357" y="5335916"/>
                </a:lnTo>
                <a:cubicBezTo>
                  <a:pt x="2350202" y="5336329"/>
                  <a:pt x="2349428" y="5336536"/>
                  <a:pt x="2348498" y="5336536"/>
                </a:cubicBezTo>
                <a:cubicBezTo>
                  <a:pt x="2345865" y="5336742"/>
                  <a:pt x="2341063" y="5335709"/>
                  <a:pt x="2340443" y="5335709"/>
                </a:cubicBezTo>
                <a:cubicBezTo>
                  <a:pt x="2340443" y="5335709"/>
                  <a:pt x="2339514" y="5335709"/>
                  <a:pt x="2338740" y="5335709"/>
                </a:cubicBezTo>
                <a:cubicBezTo>
                  <a:pt x="2337965" y="5334780"/>
                  <a:pt x="2338120" y="5333954"/>
                  <a:pt x="2337191" y="5333954"/>
                </a:cubicBezTo>
                <a:cubicBezTo>
                  <a:pt x="2339979" y="5331373"/>
                  <a:pt x="2342457" y="5332302"/>
                  <a:pt x="2344936" y="5333128"/>
                </a:cubicBezTo>
                <a:close/>
                <a:moveTo>
                  <a:pt x="2590679" y="5333102"/>
                </a:moveTo>
                <a:cubicBezTo>
                  <a:pt x="2592615" y="5332327"/>
                  <a:pt x="2595016" y="5333076"/>
                  <a:pt x="2596487" y="5334986"/>
                </a:cubicBezTo>
                <a:cubicBezTo>
                  <a:pt x="2597417" y="5336226"/>
                  <a:pt x="2598036" y="5337981"/>
                  <a:pt x="2597881" y="5340149"/>
                </a:cubicBezTo>
                <a:cubicBezTo>
                  <a:pt x="2596797" y="5341079"/>
                  <a:pt x="2594629" y="5341595"/>
                  <a:pt x="2592615" y="5341698"/>
                </a:cubicBezTo>
                <a:cubicBezTo>
                  <a:pt x="2590601" y="5341698"/>
                  <a:pt x="2588433" y="5341388"/>
                  <a:pt x="2587658" y="5340356"/>
                </a:cubicBezTo>
                <a:cubicBezTo>
                  <a:pt x="2587271" y="5336174"/>
                  <a:pt x="2588743" y="5333877"/>
                  <a:pt x="2590679" y="5333102"/>
                </a:cubicBezTo>
                <a:close/>
                <a:moveTo>
                  <a:pt x="2787475" y="5332921"/>
                </a:moveTo>
                <a:lnTo>
                  <a:pt x="2786700" y="5335090"/>
                </a:lnTo>
                <a:lnTo>
                  <a:pt x="2786080" y="5336019"/>
                </a:lnTo>
                <a:lnTo>
                  <a:pt x="2789643" y="5337775"/>
                </a:lnTo>
                <a:lnTo>
                  <a:pt x="2790572" y="5339530"/>
                </a:lnTo>
                <a:lnTo>
                  <a:pt x="2791502" y="5333954"/>
                </a:lnTo>
                <a:lnTo>
                  <a:pt x="2790418" y="5335193"/>
                </a:lnTo>
                <a:cubicBezTo>
                  <a:pt x="2789488" y="5335090"/>
                  <a:pt x="2788868" y="5334677"/>
                  <a:pt x="2788249" y="5334057"/>
                </a:cubicBezTo>
                <a:close/>
                <a:moveTo>
                  <a:pt x="2828832" y="5330856"/>
                </a:moveTo>
                <a:cubicBezTo>
                  <a:pt x="2829606" y="5329927"/>
                  <a:pt x="2829606" y="5330856"/>
                  <a:pt x="2830381" y="5330856"/>
                </a:cubicBezTo>
                <a:cubicBezTo>
                  <a:pt x="2829916" y="5331373"/>
                  <a:pt x="2829761" y="5331579"/>
                  <a:pt x="2829606" y="5331579"/>
                </a:cubicBezTo>
                <a:cubicBezTo>
                  <a:pt x="2829451" y="5331579"/>
                  <a:pt x="2829296" y="5331373"/>
                  <a:pt x="2828832" y="5330856"/>
                </a:cubicBezTo>
                <a:close/>
                <a:moveTo>
                  <a:pt x="2244563" y="5330547"/>
                </a:moveTo>
                <a:cubicBezTo>
                  <a:pt x="2245493" y="5328791"/>
                  <a:pt x="2247661" y="5332405"/>
                  <a:pt x="2248591" y="5330650"/>
                </a:cubicBezTo>
                <a:cubicBezTo>
                  <a:pt x="2251689" y="5334264"/>
                  <a:pt x="2256181" y="5329927"/>
                  <a:pt x="2261602" y="5334367"/>
                </a:cubicBezTo>
                <a:cubicBezTo>
                  <a:pt x="2259434" y="5334986"/>
                  <a:pt x="2257420" y="5335296"/>
                  <a:pt x="2255716" y="5335296"/>
                </a:cubicBezTo>
                <a:cubicBezTo>
                  <a:pt x="2250295" y="5335400"/>
                  <a:pt x="2246267" y="5333747"/>
                  <a:pt x="2242395" y="5334986"/>
                </a:cubicBezTo>
                <a:cubicBezTo>
                  <a:pt x="2242395" y="5334986"/>
                  <a:pt x="2242395" y="5334986"/>
                  <a:pt x="2241001" y="5333128"/>
                </a:cubicBezTo>
                <a:cubicBezTo>
                  <a:pt x="2240226" y="5333128"/>
                  <a:pt x="2240226" y="5333128"/>
                  <a:pt x="2240226" y="5333128"/>
                </a:cubicBezTo>
                <a:cubicBezTo>
                  <a:pt x="2239762" y="5333128"/>
                  <a:pt x="2239607" y="5332715"/>
                  <a:pt x="2239452" y="5332302"/>
                </a:cubicBezTo>
                <a:cubicBezTo>
                  <a:pt x="2239452" y="5331786"/>
                  <a:pt x="2239452" y="5331373"/>
                  <a:pt x="2239452" y="5331373"/>
                </a:cubicBezTo>
                <a:cubicBezTo>
                  <a:pt x="2240536" y="5329720"/>
                  <a:pt x="2242860" y="5330547"/>
                  <a:pt x="2244563" y="5330547"/>
                </a:cubicBezTo>
                <a:close/>
                <a:moveTo>
                  <a:pt x="2425946" y="5329617"/>
                </a:moveTo>
                <a:cubicBezTo>
                  <a:pt x="2427186" y="5332715"/>
                  <a:pt x="2425327" y="5335400"/>
                  <a:pt x="2423003" y="5336019"/>
                </a:cubicBezTo>
                <a:cubicBezTo>
                  <a:pt x="2422074" y="5336329"/>
                  <a:pt x="2421145" y="5336329"/>
                  <a:pt x="2420370" y="5336019"/>
                </a:cubicBezTo>
                <a:cubicBezTo>
                  <a:pt x="2416343" y="5330443"/>
                  <a:pt x="2423003" y="5327655"/>
                  <a:pt x="2425946" y="5329617"/>
                </a:cubicBezTo>
                <a:close/>
                <a:moveTo>
                  <a:pt x="2607950" y="5327965"/>
                </a:moveTo>
                <a:cubicBezTo>
                  <a:pt x="2609808" y="5327552"/>
                  <a:pt x="2612132" y="5328069"/>
                  <a:pt x="2614765" y="5330237"/>
                </a:cubicBezTo>
                <a:cubicBezTo>
                  <a:pt x="2612132" y="5335503"/>
                  <a:pt x="2614300" y="5339530"/>
                  <a:pt x="2610118" y="5342421"/>
                </a:cubicBezTo>
                <a:cubicBezTo>
                  <a:pt x="2601444" y="5340046"/>
                  <a:pt x="2602373" y="5329411"/>
                  <a:pt x="2607950" y="5327965"/>
                </a:cubicBezTo>
                <a:close/>
                <a:moveTo>
                  <a:pt x="2394038" y="5326210"/>
                </a:moveTo>
                <a:cubicBezTo>
                  <a:pt x="2395742" y="5325384"/>
                  <a:pt x="2397910" y="5327965"/>
                  <a:pt x="2399459" y="5328894"/>
                </a:cubicBezTo>
                <a:cubicBezTo>
                  <a:pt x="2398530" y="5329720"/>
                  <a:pt x="2397600" y="5330650"/>
                  <a:pt x="2398530" y="5330650"/>
                </a:cubicBezTo>
                <a:cubicBezTo>
                  <a:pt x="2397600" y="5331476"/>
                  <a:pt x="2396671" y="5331889"/>
                  <a:pt x="2395897" y="5331992"/>
                </a:cubicBezTo>
                <a:cubicBezTo>
                  <a:pt x="2395122" y="5332095"/>
                  <a:pt x="2394193" y="5331889"/>
                  <a:pt x="2393418" y="5331373"/>
                </a:cubicBezTo>
                <a:cubicBezTo>
                  <a:pt x="2392644" y="5330547"/>
                  <a:pt x="2392799" y="5328791"/>
                  <a:pt x="2394038" y="5326210"/>
                </a:cubicBezTo>
                <a:close/>
                <a:moveTo>
                  <a:pt x="2677227" y="5323641"/>
                </a:moveTo>
                <a:cubicBezTo>
                  <a:pt x="2679434" y="5324428"/>
                  <a:pt x="2680828" y="5326778"/>
                  <a:pt x="2678273" y="5329927"/>
                </a:cubicBezTo>
                <a:cubicBezTo>
                  <a:pt x="2675020" y="5328791"/>
                  <a:pt x="2672696" y="5327965"/>
                  <a:pt x="2671302" y="5326726"/>
                </a:cubicBezTo>
                <a:cubicBezTo>
                  <a:pt x="2671999" y="5323628"/>
                  <a:pt x="2675019" y="5322854"/>
                  <a:pt x="2677227" y="5323641"/>
                </a:cubicBezTo>
                <a:close/>
                <a:moveTo>
                  <a:pt x="2731867" y="5322802"/>
                </a:moveTo>
                <a:cubicBezTo>
                  <a:pt x="2735584" y="5320118"/>
                  <a:pt x="2741006" y="5324042"/>
                  <a:pt x="2740386" y="5328481"/>
                </a:cubicBezTo>
                <a:cubicBezTo>
                  <a:pt x="2739456" y="5329101"/>
                  <a:pt x="2738527" y="5330650"/>
                  <a:pt x="2736668" y="5331166"/>
                </a:cubicBezTo>
                <a:cubicBezTo>
                  <a:pt x="2732641" y="5329308"/>
                  <a:pt x="2731402" y="5326313"/>
                  <a:pt x="2731867" y="5322802"/>
                </a:cubicBezTo>
                <a:close/>
                <a:moveTo>
                  <a:pt x="2689348" y="5322312"/>
                </a:moveTo>
                <a:cubicBezTo>
                  <a:pt x="2691284" y="5322648"/>
                  <a:pt x="2693065" y="5323990"/>
                  <a:pt x="2694537" y="5325900"/>
                </a:cubicBezTo>
                <a:cubicBezTo>
                  <a:pt x="2699339" y="5332302"/>
                  <a:pt x="2700578" y="5345106"/>
                  <a:pt x="2692988" y="5347893"/>
                </a:cubicBezTo>
                <a:cubicBezTo>
                  <a:pt x="2690354" y="5345415"/>
                  <a:pt x="2687876" y="5342421"/>
                  <a:pt x="2686017" y="5338601"/>
                </a:cubicBezTo>
                <a:cubicBezTo>
                  <a:pt x="2684314" y="5334883"/>
                  <a:pt x="2683229" y="5330340"/>
                  <a:pt x="2683229" y="5324764"/>
                </a:cubicBezTo>
                <a:cubicBezTo>
                  <a:pt x="2685320" y="5322647"/>
                  <a:pt x="2687411" y="5321976"/>
                  <a:pt x="2689348" y="5322312"/>
                </a:cubicBezTo>
                <a:close/>
                <a:moveTo>
                  <a:pt x="2194686" y="5320427"/>
                </a:moveTo>
                <a:cubicBezTo>
                  <a:pt x="2198404" y="5320427"/>
                  <a:pt x="2197785" y="5323525"/>
                  <a:pt x="2197165" y="5326623"/>
                </a:cubicBezTo>
                <a:cubicBezTo>
                  <a:pt x="2196236" y="5326623"/>
                  <a:pt x="2195461" y="5327036"/>
                  <a:pt x="2194532" y="5327242"/>
                </a:cubicBezTo>
                <a:cubicBezTo>
                  <a:pt x="2193758" y="5327449"/>
                  <a:pt x="2192828" y="5327346"/>
                  <a:pt x="2191589" y="5326623"/>
                </a:cubicBezTo>
                <a:cubicBezTo>
                  <a:pt x="2192519" y="5324248"/>
                  <a:pt x="2193758" y="5322699"/>
                  <a:pt x="2194686" y="5320427"/>
                </a:cubicBezTo>
                <a:close/>
                <a:moveTo>
                  <a:pt x="2662008" y="5318466"/>
                </a:moveTo>
                <a:cubicBezTo>
                  <a:pt x="2664642" y="5321150"/>
                  <a:pt x="2667585" y="5323525"/>
                  <a:pt x="2669908" y="5326623"/>
                </a:cubicBezTo>
                <a:cubicBezTo>
                  <a:pt x="2672231" y="5329617"/>
                  <a:pt x="2673935" y="5333231"/>
                  <a:pt x="2674555" y="5338291"/>
                </a:cubicBezTo>
                <a:cubicBezTo>
                  <a:pt x="2669598" y="5338394"/>
                  <a:pt x="2666346" y="5335193"/>
                  <a:pt x="2664487" y="5331063"/>
                </a:cubicBezTo>
                <a:cubicBezTo>
                  <a:pt x="2662628" y="5326933"/>
                  <a:pt x="2661853" y="5321873"/>
                  <a:pt x="2662008" y="5318466"/>
                </a:cubicBezTo>
                <a:close/>
                <a:moveTo>
                  <a:pt x="2921924" y="5317123"/>
                </a:moveTo>
                <a:cubicBezTo>
                  <a:pt x="2923164" y="5316813"/>
                  <a:pt x="2923318" y="5317949"/>
                  <a:pt x="2923938" y="5318362"/>
                </a:cubicBezTo>
                <a:cubicBezTo>
                  <a:pt x="2924868" y="5320014"/>
                  <a:pt x="2923473" y="5326416"/>
                  <a:pt x="2922389" y="5326726"/>
                </a:cubicBezTo>
                <a:cubicBezTo>
                  <a:pt x="2921614" y="5324661"/>
                  <a:pt x="2920221" y="5321047"/>
                  <a:pt x="2920685" y="5318775"/>
                </a:cubicBezTo>
                <a:cubicBezTo>
                  <a:pt x="2920840" y="5318052"/>
                  <a:pt x="2921305" y="5317433"/>
                  <a:pt x="2921924" y="5317123"/>
                </a:cubicBezTo>
                <a:close/>
                <a:moveTo>
                  <a:pt x="2776167" y="5314851"/>
                </a:moveTo>
                <a:cubicBezTo>
                  <a:pt x="2778490" y="5320427"/>
                  <a:pt x="2776477" y="5332095"/>
                  <a:pt x="2768267" y="5331786"/>
                </a:cubicBezTo>
                <a:cubicBezTo>
                  <a:pt x="2770746" y="5326313"/>
                  <a:pt x="2771985" y="5319602"/>
                  <a:pt x="2776167" y="5314851"/>
                </a:cubicBezTo>
                <a:close/>
                <a:moveTo>
                  <a:pt x="2318139" y="5314232"/>
                </a:moveTo>
                <a:cubicBezTo>
                  <a:pt x="2319068" y="5314851"/>
                  <a:pt x="2319533" y="5315884"/>
                  <a:pt x="2319533" y="5317536"/>
                </a:cubicBezTo>
                <a:cubicBezTo>
                  <a:pt x="2318913" y="5322492"/>
                  <a:pt x="2314731" y="5323009"/>
                  <a:pt x="2310084" y="5322802"/>
                </a:cubicBezTo>
                <a:cubicBezTo>
                  <a:pt x="2309619" y="5320944"/>
                  <a:pt x="2308690" y="5319705"/>
                  <a:pt x="2308225" y="5317846"/>
                </a:cubicBezTo>
                <a:cubicBezTo>
                  <a:pt x="2309465" y="5315161"/>
                  <a:pt x="2315351" y="5312580"/>
                  <a:pt x="2318139" y="5314232"/>
                </a:cubicBezTo>
                <a:close/>
                <a:moveTo>
                  <a:pt x="2648378" y="5313509"/>
                </a:moveTo>
                <a:cubicBezTo>
                  <a:pt x="2649462" y="5314232"/>
                  <a:pt x="2650546" y="5315265"/>
                  <a:pt x="2651475" y="5316813"/>
                </a:cubicBezTo>
                <a:cubicBezTo>
                  <a:pt x="2649772" y="5321667"/>
                  <a:pt x="2648223" y="5330340"/>
                  <a:pt x="2641252" y="5330856"/>
                </a:cubicBezTo>
                <a:cubicBezTo>
                  <a:pt x="2640323" y="5330856"/>
                  <a:pt x="2639239" y="5330856"/>
                  <a:pt x="2637999" y="5330547"/>
                </a:cubicBezTo>
                <a:cubicBezTo>
                  <a:pt x="2633972" y="5321873"/>
                  <a:pt x="2640942" y="5308450"/>
                  <a:pt x="2648378" y="5313509"/>
                </a:cubicBezTo>
                <a:close/>
                <a:moveTo>
                  <a:pt x="2794909" y="5313406"/>
                </a:moveTo>
                <a:lnTo>
                  <a:pt x="2789798" y="5327139"/>
                </a:lnTo>
                <a:cubicBezTo>
                  <a:pt x="2792122" y="5326519"/>
                  <a:pt x="2792896" y="5328172"/>
                  <a:pt x="2792896" y="5328172"/>
                </a:cubicBezTo>
                <a:lnTo>
                  <a:pt x="2792896" y="5329101"/>
                </a:lnTo>
                <a:lnTo>
                  <a:pt x="2794290" y="5327242"/>
                </a:lnTo>
                <a:cubicBezTo>
                  <a:pt x="2795374" y="5326416"/>
                  <a:pt x="2796768" y="5326107"/>
                  <a:pt x="2798472" y="5326107"/>
                </a:cubicBezTo>
                <a:lnTo>
                  <a:pt x="2798782" y="5326726"/>
                </a:lnTo>
                <a:lnTo>
                  <a:pt x="2798937" y="5326210"/>
                </a:lnTo>
                <a:lnTo>
                  <a:pt x="2799246" y="5326210"/>
                </a:lnTo>
                <a:lnTo>
                  <a:pt x="2799246" y="5324145"/>
                </a:lnTo>
                <a:cubicBezTo>
                  <a:pt x="2800176" y="5320737"/>
                  <a:pt x="2802345" y="5317330"/>
                  <a:pt x="2806217" y="5314025"/>
                </a:cubicBezTo>
                <a:lnTo>
                  <a:pt x="2809160" y="5315265"/>
                </a:lnTo>
                <a:lnTo>
                  <a:pt x="2809005" y="5314955"/>
                </a:lnTo>
                <a:cubicBezTo>
                  <a:pt x="2809005" y="5314955"/>
                  <a:pt x="2809779" y="5315368"/>
                  <a:pt x="2809779" y="5315368"/>
                </a:cubicBezTo>
                <a:lnTo>
                  <a:pt x="2809779" y="5315575"/>
                </a:lnTo>
                <a:lnTo>
                  <a:pt x="2810864" y="5315058"/>
                </a:lnTo>
                <a:lnTo>
                  <a:pt x="2812258" y="5316710"/>
                </a:lnTo>
                <a:lnTo>
                  <a:pt x="2813807" y="5317433"/>
                </a:lnTo>
                <a:cubicBezTo>
                  <a:pt x="2820622" y="5321873"/>
                  <a:pt x="2824185" y="5329411"/>
                  <a:pt x="2821397" y="5336432"/>
                </a:cubicBezTo>
                <a:cubicBezTo>
                  <a:pt x="2818299" y="5342008"/>
                  <a:pt x="2813807" y="5343557"/>
                  <a:pt x="2809470" y="5342627"/>
                </a:cubicBezTo>
                <a:cubicBezTo>
                  <a:pt x="2807301" y="5342214"/>
                  <a:pt x="2805287" y="5341079"/>
                  <a:pt x="2803584" y="5339530"/>
                </a:cubicBezTo>
                <a:lnTo>
                  <a:pt x="2802499" y="5338084"/>
                </a:lnTo>
                <a:lnTo>
                  <a:pt x="2798627" y="5338601"/>
                </a:lnTo>
                <a:lnTo>
                  <a:pt x="2798317" y="5337775"/>
                </a:lnTo>
                <a:lnTo>
                  <a:pt x="2796923" y="5339220"/>
                </a:lnTo>
                <a:lnTo>
                  <a:pt x="2790882" y="5340046"/>
                </a:lnTo>
                <a:lnTo>
                  <a:pt x="2791192" y="5340459"/>
                </a:lnTo>
                <a:cubicBezTo>
                  <a:pt x="2791656" y="5341595"/>
                  <a:pt x="2791966" y="5342627"/>
                  <a:pt x="2791502" y="5343041"/>
                </a:cubicBezTo>
                <a:cubicBezTo>
                  <a:pt x="2790727" y="5343867"/>
                  <a:pt x="2789952" y="5343867"/>
                  <a:pt x="2789023" y="5343763"/>
                </a:cubicBezTo>
                <a:cubicBezTo>
                  <a:pt x="2787320" y="5342834"/>
                  <a:pt x="2785616" y="5341905"/>
                  <a:pt x="2783912" y="5340976"/>
                </a:cubicBezTo>
                <a:lnTo>
                  <a:pt x="2783292" y="5340253"/>
                </a:lnTo>
                <a:lnTo>
                  <a:pt x="2780039" y="5345312"/>
                </a:lnTo>
                <a:lnTo>
                  <a:pt x="2776631" y="5348616"/>
                </a:lnTo>
                <a:cubicBezTo>
                  <a:pt x="2778181" y="5350681"/>
                  <a:pt x="2776322" y="5353056"/>
                  <a:pt x="2775392" y="5352953"/>
                </a:cubicBezTo>
                <a:lnTo>
                  <a:pt x="2774463" y="5350475"/>
                </a:lnTo>
                <a:lnTo>
                  <a:pt x="2770126" y="5354605"/>
                </a:lnTo>
                <a:cubicBezTo>
                  <a:pt x="2768267" y="5350062"/>
                  <a:pt x="2768267" y="5345519"/>
                  <a:pt x="2769352" y="5341285"/>
                </a:cubicBezTo>
                <a:cubicBezTo>
                  <a:pt x="2772450" y="5328481"/>
                  <a:pt x="2786235" y="5317846"/>
                  <a:pt x="2794909" y="5313406"/>
                </a:cubicBezTo>
                <a:close/>
                <a:moveTo>
                  <a:pt x="1814571" y="5311651"/>
                </a:moveTo>
                <a:cubicBezTo>
                  <a:pt x="1816120" y="5312477"/>
                  <a:pt x="1818599" y="5311754"/>
                  <a:pt x="1820147" y="5313509"/>
                </a:cubicBezTo>
                <a:cubicBezTo>
                  <a:pt x="1820147" y="5313509"/>
                  <a:pt x="1820922" y="5314335"/>
                  <a:pt x="1820768" y="5316090"/>
                </a:cubicBezTo>
                <a:cubicBezTo>
                  <a:pt x="1822161" y="5318672"/>
                  <a:pt x="1819373" y="5321253"/>
                  <a:pt x="1819373" y="5321253"/>
                </a:cubicBezTo>
                <a:cubicBezTo>
                  <a:pt x="1819373" y="5321253"/>
                  <a:pt x="1819373" y="5321253"/>
                  <a:pt x="1820147" y="5321253"/>
                </a:cubicBezTo>
                <a:cubicBezTo>
                  <a:pt x="1818599" y="5321253"/>
                  <a:pt x="1816740" y="5322080"/>
                  <a:pt x="1815036" y="5322080"/>
                </a:cubicBezTo>
                <a:cubicBezTo>
                  <a:pt x="1813487" y="5320737"/>
                  <a:pt x="1812557" y="5319705"/>
                  <a:pt x="1812093" y="5318672"/>
                </a:cubicBezTo>
                <a:cubicBezTo>
                  <a:pt x="1810389" y="5315781"/>
                  <a:pt x="1812402" y="5314232"/>
                  <a:pt x="1814571" y="5311651"/>
                </a:cubicBezTo>
                <a:close/>
                <a:moveTo>
                  <a:pt x="2628860" y="5310308"/>
                </a:moveTo>
                <a:cubicBezTo>
                  <a:pt x="2630564" y="5312064"/>
                  <a:pt x="2632423" y="5313922"/>
                  <a:pt x="2634127" y="5315678"/>
                </a:cubicBezTo>
                <a:cubicBezTo>
                  <a:pt x="2635211" y="5320118"/>
                  <a:pt x="2632888" y="5323732"/>
                  <a:pt x="2629325" y="5324557"/>
                </a:cubicBezTo>
                <a:cubicBezTo>
                  <a:pt x="2628241" y="5324868"/>
                  <a:pt x="2626847" y="5324868"/>
                  <a:pt x="2625453" y="5324351"/>
                </a:cubicBezTo>
                <a:cubicBezTo>
                  <a:pt x="2623749" y="5323732"/>
                  <a:pt x="2621890" y="5322389"/>
                  <a:pt x="2620031" y="5320221"/>
                </a:cubicBezTo>
                <a:cubicBezTo>
                  <a:pt x="2618173" y="5315781"/>
                  <a:pt x="2624524" y="5309173"/>
                  <a:pt x="2628860" y="5310308"/>
                </a:cubicBezTo>
                <a:close/>
                <a:moveTo>
                  <a:pt x="2928895" y="5309895"/>
                </a:moveTo>
                <a:cubicBezTo>
                  <a:pt x="2928275" y="5310824"/>
                  <a:pt x="2928585" y="5311651"/>
                  <a:pt x="2929050" y="5312477"/>
                </a:cubicBezTo>
                <a:lnTo>
                  <a:pt x="2930289" y="5314232"/>
                </a:lnTo>
                <a:lnTo>
                  <a:pt x="2929824" y="5312683"/>
                </a:lnTo>
                <a:lnTo>
                  <a:pt x="2930754" y="5310618"/>
                </a:lnTo>
                <a:close/>
                <a:moveTo>
                  <a:pt x="2479231" y="5308863"/>
                </a:moveTo>
                <a:cubicBezTo>
                  <a:pt x="2483413" y="5308346"/>
                  <a:pt x="2484652" y="5312477"/>
                  <a:pt x="2487595" y="5315368"/>
                </a:cubicBezTo>
                <a:cubicBezTo>
                  <a:pt x="2487130" y="5316194"/>
                  <a:pt x="2487285" y="5317330"/>
                  <a:pt x="2488060" y="5317846"/>
                </a:cubicBezTo>
                <a:cubicBezTo>
                  <a:pt x="2488215" y="5318982"/>
                  <a:pt x="2488524" y="5320221"/>
                  <a:pt x="2488989" y="5319395"/>
                </a:cubicBezTo>
                <a:lnTo>
                  <a:pt x="2489454" y="5322286"/>
                </a:lnTo>
                <a:lnTo>
                  <a:pt x="2498903" y="5316813"/>
                </a:lnTo>
                <a:cubicBezTo>
                  <a:pt x="2510055" y="5312683"/>
                  <a:pt x="2521827" y="5312580"/>
                  <a:pt x="2526629" y="5320221"/>
                </a:cubicBezTo>
                <a:lnTo>
                  <a:pt x="2513927" y="5324661"/>
                </a:lnTo>
                <a:cubicBezTo>
                  <a:pt x="2514082" y="5325487"/>
                  <a:pt x="2513308" y="5325487"/>
                  <a:pt x="2513463" y="5326313"/>
                </a:cubicBezTo>
                <a:cubicBezTo>
                  <a:pt x="2513463" y="5326313"/>
                  <a:pt x="2512688" y="5326416"/>
                  <a:pt x="2512688" y="5326416"/>
                </a:cubicBezTo>
                <a:cubicBezTo>
                  <a:pt x="2512688" y="5326829"/>
                  <a:pt x="2512688" y="5326726"/>
                  <a:pt x="2512379" y="5326623"/>
                </a:cubicBezTo>
                <a:lnTo>
                  <a:pt x="2511294" y="5325900"/>
                </a:lnTo>
                <a:lnTo>
                  <a:pt x="2502620" y="5330030"/>
                </a:lnTo>
                <a:cubicBezTo>
                  <a:pt x="2495030" y="5333541"/>
                  <a:pt x="2486976" y="5336742"/>
                  <a:pt x="2475978" y="5337155"/>
                </a:cubicBezTo>
                <a:cubicBezTo>
                  <a:pt x="2476907" y="5333024"/>
                  <a:pt x="2479850" y="5328998"/>
                  <a:pt x="2484033" y="5325384"/>
                </a:cubicBezTo>
                <a:lnTo>
                  <a:pt x="2486821" y="5323835"/>
                </a:lnTo>
                <a:lnTo>
                  <a:pt x="2481399" y="5317846"/>
                </a:lnTo>
                <a:cubicBezTo>
                  <a:pt x="2479695" y="5315368"/>
                  <a:pt x="2478302" y="5313200"/>
                  <a:pt x="2477837" y="5312374"/>
                </a:cubicBezTo>
                <a:cubicBezTo>
                  <a:pt x="2477527" y="5311547"/>
                  <a:pt x="2477372" y="5311031"/>
                  <a:pt x="2477527" y="5310412"/>
                </a:cubicBezTo>
                <a:cubicBezTo>
                  <a:pt x="2477837" y="5309895"/>
                  <a:pt x="2478302" y="5309482"/>
                  <a:pt x="2479231" y="5308863"/>
                </a:cubicBezTo>
                <a:close/>
                <a:moveTo>
                  <a:pt x="2687566" y="5308759"/>
                </a:moveTo>
                <a:cubicBezTo>
                  <a:pt x="2691749" y="5308037"/>
                  <a:pt x="2696550" y="5311960"/>
                  <a:pt x="2696705" y="5315987"/>
                </a:cubicBezTo>
                <a:cubicBezTo>
                  <a:pt x="2695156" y="5318156"/>
                  <a:pt x="2692833" y="5318879"/>
                  <a:pt x="2690509" y="5318672"/>
                </a:cubicBezTo>
                <a:cubicBezTo>
                  <a:pt x="2688186" y="5318362"/>
                  <a:pt x="2686017" y="5317226"/>
                  <a:pt x="2684778" y="5315368"/>
                </a:cubicBezTo>
                <a:lnTo>
                  <a:pt x="2684159" y="5312477"/>
                </a:lnTo>
                <a:lnTo>
                  <a:pt x="2682455" y="5313406"/>
                </a:lnTo>
                <a:lnTo>
                  <a:pt x="2683229" y="5315678"/>
                </a:lnTo>
                <a:cubicBezTo>
                  <a:pt x="2682919" y="5316917"/>
                  <a:pt x="2682145" y="5318259"/>
                  <a:pt x="2681680" y="5319911"/>
                </a:cubicBezTo>
                <a:cubicBezTo>
                  <a:pt x="2680906" y="5318982"/>
                  <a:pt x="2679976" y="5319705"/>
                  <a:pt x="2679047" y="5320427"/>
                </a:cubicBezTo>
                <a:cubicBezTo>
                  <a:pt x="2677963" y="5318879"/>
                  <a:pt x="2675794" y="5316813"/>
                  <a:pt x="2676414" y="5314645"/>
                </a:cubicBezTo>
                <a:cubicBezTo>
                  <a:pt x="2676569" y="5313922"/>
                  <a:pt x="2677033" y="5313200"/>
                  <a:pt x="2677963" y="5312477"/>
                </a:cubicBezTo>
                <a:cubicBezTo>
                  <a:pt x="2677963" y="5312064"/>
                  <a:pt x="2678892" y="5311754"/>
                  <a:pt x="2679821" y="5311651"/>
                </a:cubicBezTo>
                <a:lnTo>
                  <a:pt x="2681525" y="5312167"/>
                </a:lnTo>
                <a:lnTo>
                  <a:pt x="2681216" y="5310928"/>
                </a:lnTo>
                <a:cubicBezTo>
                  <a:pt x="2682145" y="5310102"/>
                  <a:pt x="2683229" y="5310102"/>
                  <a:pt x="2684004" y="5310412"/>
                </a:cubicBezTo>
                <a:lnTo>
                  <a:pt x="2684314" y="5310928"/>
                </a:lnTo>
                <a:close/>
                <a:moveTo>
                  <a:pt x="2406894" y="5304939"/>
                </a:moveTo>
                <a:cubicBezTo>
                  <a:pt x="2406275" y="5317433"/>
                  <a:pt x="2418356" y="5322596"/>
                  <a:pt x="2415413" y="5336226"/>
                </a:cubicBezTo>
                <a:cubicBezTo>
                  <a:pt x="2410922" y="5335606"/>
                  <a:pt x="2406275" y="5329617"/>
                  <a:pt x="2404106" y="5322802"/>
                </a:cubicBezTo>
                <a:cubicBezTo>
                  <a:pt x="2401783" y="5315987"/>
                  <a:pt x="2401783" y="5308450"/>
                  <a:pt x="2406894" y="5304939"/>
                </a:cubicBezTo>
                <a:close/>
                <a:moveTo>
                  <a:pt x="2581307" y="5303700"/>
                </a:moveTo>
                <a:cubicBezTo>
                  <a:pt x="2583321" y="5305042"/>
                  <a:pt x="2583941" y="5306281"/>
                  <a:pt x="2583941" y="5307520"/>
                </a:cubicBezTo>
                <a:lnTo>
                  <a:pt x="2583011" y="5310928"/>
                </a:lnTo>
                <a:lnTo>
                  <a:pt x="2583631" y="5310824"/>
                </a:lnTo>
                <a:cubicBezTo>
                  <a:pt x="2583631" y="5310824"/>
                  <a:pt x="2583631" y="5311031"/>
                  <a:pt x="2583321" y="5311444"/>
                </a:cubicBezTo>
                <a:cubicBezTo>
                  <a:pt x="2585180" y="5311547"/>
                  <a:pt x="2585954" y="5311960"/>
                  <a:pt x="2586574" y="5312477"/>
                </a:cubicBezTo>
                <a:cubicBezTo>
                  <a:pt x="2586884" y="5313716"/>
                  <a:pt x="2585799" y="5315265"/>
                  <a:pt x="2584095" y="5316297"/>
                </a:cubicBezTo>
                <a:cubicBezTo>
                  <a:pt x="2583941" y="5315058"/>
                  <a:pt x="2582082" y="5314955"/>
                  <a:pt x="2581772" y="5313716"/>
                </a:cubicBezTo>
                <a:cubicBezTo>
                  <a:pt x="2581772" y="5313716"/>
                  <a:pt x="2582082" y="5313096"/>
                  <a:pt x="2582237" y="5312374"/>
                </a:cubicBezTo>
                <a:lnTo>
                  <a:pt x="2582547" y="5311031"/>
                </a:lnTo>
                <a:lnTo>
                  <a:pt x="2581152" y="5310308"/>
                </a:lnTo>
                <a:cubicBezTo>
                  <a:pt x="2580378" y="5310102"/>
                  <a:pt x="2579604" y="5310308"/>
                  <a:pt x="2578984" y="5310102"/>
                </a:cubicBezTo>
                <a:lnTo>
                  <a:pt x="2578209" y="5309276"/>
                </a:lnTo>
                <a:lnTo>
                  <a:pt x="2575886" y="5310618"/>
                </a:lnTo>
                <a:cubicBezTo>
                  <a:pt x="2573253" y="5311135"/>
                  <a:pt x="2570620" y="5309276"/>
                  <a:pt x="2570310" y="5306591"/>
                </a:cubicBezTo>
                <a:cubicBezTo>
                  <a:pt x="2572943" y="5302151"/>
                  <a:pt x="2576505" y="5303803"/>
                  <a:pt x="2577900" y="5306384"/>
                </a:cubicBezTo>
                <a:lnTo>
                  <a:pt x="2577900" y="5306488"/>
                </a:lnTo>
                <a:lnTo>
                  <a:pt x="2578364" y="5305662"/>
                </a:lnTo>
                <a:cubicBezTo>
                  <a:pt x="2578984" y="5304939"/>
                  <a:pt x="2579913" y="5304216"/>
                  <a:pt x="2581307" y="5303700"/>
                </a:cubicBezTo>
                <a:close/>
                <a:moveTo>
                  <a:pt x="1764385" y="5302048"/>
                </a:moveTo>
                <a:cubicBezTo>
                  <a:pt x="1765159" y="5302977"/>
                  <a:pt x="1765779" y="5304319"/>
                  <a:pt x="1766088" y="5305972"/>
                </a:cubicBezTo>
                <a:cubicBezTo>
                  <a:pt x="1763146" y="5309585"/>
                  <a:pt x="1759119" y="5315884"/>
                  <a:pt x="1753697" y="5316917"/>
                </a:cubicBezTo>
                <a:cubicBezTo>
                  <a:pt x="1751993" y="5317226"/>
                  <a:pt x="1750134" y="5316917"/>
                  <a:pt x="1747966" y="5315781"/>
                </a:cubicBezTo>
                <a:cubicBezTo>
                  <a:pt x="1747501" y="5306591"/>
                  <a:pt x="1759273" y="5295543"/>
                  <a:pt x="1764385" y="5302048"/>
                </a:cubicBezTo>
                <a:close/>
                <a:moveTo>
                  <a:pt x="2915419" y="5301118"/>
                </a:moveTo>
                <a:lnTo>
                  <a:pt x="2915883" y="5313613"/>
                </a:lnTo>
                <a:cubicBezTo>
                  <a:pt x="2915264" y="5318466"/>
                  <a:pt x="2914025" y="5323319"/>
                  <a:pt x="2912011" y="5328069"/>
                </a:cubicBezTo>
                <a:cubicBezTo>
                  <a:pt x="2909688" y="5327965"/>
                  <a:pt x="2907364" y="5327965"/>
                  <a:pt x="2907364" y="5330340"/>
                </a:cubicBezTo>
                <a:cubicBezTo>
                  <a:pt x="2903492" y="5330547"/>
                  <a:pt x="2899774" y="5330134"/>
                  <a:pt x="2896366" y="5329101"/>
                </a:cubicBezTo>
                <a:lnTo>
                  <a:pt x="2890635" y="5326416"/>
                </a:lnTo>
                <a:lnTo>
                  <a:pt x="2883975" y="5330959"/>
                </a:lnTo>
                <a:lnTo>
                  <a:pt x="2884130" y="5331373"/>
                </a:lnTo>
                <a:cubicBezTo>
                  <a:pt x="2884285" y="5333128"/>
                  <a:pt x="2883975" y="5335193"/>
                  <a:pt x="2882890" y="5336742"/>
                </a:cubicBezTo>
                <a:lnTo>
                  <a:pt x="2881961" y="5337465"/>
                </a:lnTo>
                <a:lnTo>
                  <a:pt x="2886453" y="5343557"/>
                </a:lnTo>
                <a:cubicBezTo>
                  <a:pt x="2891410" y="5349236"/>
                  <a:pt x="2896986" y="5354605"/>
                  <a:pt x="2899000" y="5357187"/>
                </a:cubicBezTo>
                <a:cubicBezTo>
                  <a:pt x="2894353" y="5359665"/>
                  <a:pt x="2889241" y="5351508"/>
                  <a:pt x="2884130" y="5348307"/>
                </a:cubicBezTo>
                <a:lnTo>
                  <a:pt x="2883046" y="5347790"/>
                </a:lnTo>
                <a:lnTo>
                  <a:pt x="2882890" y="5348307"/>
                </a:lnTo>
                <a:lnTo>
                  <a:pt x="2883665" y="5348720"/>
                </a:lnTo>
                <a:cubicBezTo>
                  <a:pt x="2883355" y="5349546"/>
                  <a:pt x="2883355" y="5350475"/>
                  <a:pt x="2883200" y="5351301"/>
                </a:cubicBezTo>
                <a:lnTo>
                  <a:pt x="2883046" y="5351404"/>
                </a:lnTo>
                <a:lnTo>
                  <a:pt x="2887228" y="5355741"/>
                </a:lnTo>
                <a:cubicBezTo>
                  <a:pt x="2890016" y="5358116"/>
                  <a:pt x="2892494" y="5361214"/>
                  <a:pt x="2895282" y="5363588"/>
                </a:cubicBezTo>
                <a:cubicBezTo>
                  <a:pt x="2898225" y="5365963"/>
                  <a:pt x="2901013" y="5368132"/>
                  <a:pt x="2903956" y="5369887"/>
                </a:cubicBezTo>
                <a:lnTo>
                  <a:pt x="2906125" y="5370816"/>
                </a:lnTo>
                <a:lnTo>
                  <a:pt x="2906590" y="5368028"/>
                </a:lnTo>
                <a:cubicBezTo>
                  <a:pt x="2908139" y="5369164"/>
                  <a:pt x="2909688" y="5370404"/>
                  <a:pt x="2911236" y="5371436"/>
                </a:cubicBezTo>
                <a:cubicBezTo>
                  <a:pt x="2911082" y="5371436"/>
                  <a:pt x="2910927" y="5371952"/>
                  <a:pt x="2910927" y="5372675"/>
                </a:cubicBezTo>
                <a:lnTo>
                  <a:pt x="2912011" y="5373191"/>
                </a:lnTo>
                <a:lnTo>
                  <a:pt x="2912940" y="5371333"/>
                </a:lnTo>
                <a:cubicBezTo>
                  <a:pt x="2915883" y="5366480"/>
                  <a:pt x="2919756" y="5364415"/>
                  <a:pt x="2926261" y="5370713"/>
                </a:cubicBezTo>
                <a:cubicBezTo>
                  <a:pt x="2923938" y="5371849"/>
                  <a:pt x="2922079" y="5373501"/>
                  <a:pt x="2920221" y="5375360"/>
                </a:cubicBezTo>
                <a:lnTo>
                  <a:pt x="2916348" y="5380006"/>
                </a:lnTo>
                <a:lnTo>
                  <a:pt x="2918362" y="5383311"/>
                </a:lnTo>
                <a:cubicBezTo>
                  <a:pt x="2920530" y="5386408"/>
                  <a:pt x="2923164" y="5389506"/>
                  <a:pt x="2926107" y="5392604"/>
                </a:cubicBezTo>
                <a:cubicBezTo>
                  <a:pt x="2931528" y="5398076"/>
                  <a:pt x="2937724" y="5403032"/>
                  <a:pt x="2944694" y="5408195"/>
                </a:cubicBezTo>
                <a:lnTo>
                  <a:pt x="2954143" y="5415010"/>
                </a:lnTo>
                <a:lnTo>
                  <a:pt x="2954762" y="5408608"/>
                </a:lnTo>
                <a:cubicBezTo>
                  <a:pt x="2964211" y="5402310"/>
                  <a:pt x="2963592" y="5396114"/>
                  <a:pt x="2967929" y="5390229"/>
                </a:cubicBezTo>
                <a:cubicBezTo>
                  <a:pt x="2981559" y="5383517"/>
                  <a:pt x="3001386" y="5379077"/>
                  <a:pt x="3013778" y="5389919"/>
                </a:cubicBezTo>
                <a:cubicBezTo>
                  <a:pt x="3024001" y="5398799"/>
                  <a:pt x="3020438" y="5409951"/>
                  <a:pt x="3024156" y="5422651"/>
                </a:cubicBezTo>
                <a:cubicBezTo>
                  <a:pt x="3021833" y="5424200"/>
                  <a:pt x="3020129" y="5425749"/>
                  <a:pt x="3019044" y="5427401"/>
                </a:cubicBezTo>
                <a:lnTo>
                  <a:pt x="3017340" y="5430499"/>
                </a:lnTo>
                <a:lnTo>
                  <a:pt x="3017805" y="5432151"/>
                </a:lnTo>
                <a:lnTo>
                  <a:pt x="3016256" y="5432874"/>
                </a:lnTo>
                <a:lnTo>
                  <a:pt x="3015172" y="5438140"/>
                </a:lnTo>
                <a:lnTo>
                  <a:pt x="3015482" y="5438243"/>
                </a:lnTo>
                <a:lnTo>
                  <a:pt x="3026015" y="5444542"/>
                </a:lnTo>
                <a:lnTo>
                  <a:pt x="3028183" y="5440411"/>
                </a:lnTo>
                <a:cubicBezTo>
                  <a:pt x="3029577" y="5438346"/>
                  <a:pt x="3031591" y="5436281"/>
                  <a:pt x="3033915" y="5434319"/>
                </a:cubicBezTo>
                <a:cubicBezTo>
                  <a:pt x="3036238" y="5435455"/>
                  <a:pt x="3040575" y="5434113"/>
                  <a:pt x="3040730" y="5438449"/>
                </a:cubicBezTo>
                <a:cubicBezTo>
                  <a:pt x="3038097" y="5439585"/>
                  <a:pt x="3036238" y="5441341"/>
                  <a:pt x="3034689" y="5443406"/>
                </a:cubicBezTo>
                <a:lnTo>
                  <a:pt x="3032056" y="5448155"/>
                </a:lnTo>
                <a:lnTo>
                  <a:pt x="3033604" y="5449085"/>
                </a:lnTo>
                <a:lnTo>
                  <a:pt x="3037322" y="5451253"/>
                </a:lnTo>
                <a:lnTo>
                  <a:pt x="3037632" y="5451150"/>
                </a:lnTo>
                <a:cubicBezTo>
                  <a:pt x="3039026" y="5451150"/>
                  <a:pt x="3040575" y="5451563"/>
                  <a:pt x="3041505" y="5451976"/>
                </a:cubicBezTo>
                <a:lnTo>
                  <a:pt x="3042279" y="5454041"/>
                </a:lnTo>
                <a:lnTo>
                  <a:pt x="3049404" y="5457861"/>
                </a:lnTo>
                <a:lnTo>
                  <a:pt x="3050024" y="5457965"/>
                </a:lnTo>
                <a:lnTo>
                  <a:pt x="3050333" y="5458378"/>
                </a:lnTo>
                <a:lnTo>
                  <a:pt x="3052967" y="5459823"/>
                </a:lnTo>
                <a:cubicBezTo>
                  <a:pt x="3059317" y="5463334"/>
                  <a:pt x="3065668" y="5466535"/>
                  <a:pt x="3071709" y="5469220"/>
                </a:cubicBezTo>
                <a:cubicBezTo>
                  <a:pt x="3073103" y="5469839"/>
                  <a:pt x="3075117" y="5470149"/>
                  <a:pt x="3077130" y="5470355"/>
                </a:cubicBezTo>
                <a:lnTo>
                  <a:pt x="3081932" y="5471285"/>
                </a:lnTo>
                <a:lnTo>
                  <a:pt x="3081623" y="5470872"/>
                </a:lnTo>
                <a:cubicBezTo>
                  <a:pt x="3083172" y="5468084"/>
                  <a:pt x="3081313" y="5463953"/>
                  <a:pt x="3086579" y="5463644"/>
                </a:cubicBezTo>
                <a:cubicBezTo>
                  <a:pt x="3089987" y="5465812"/>
                  <a:pt x="3090761" y="5470665"/>
                  <a:pt x="3088593" y="5473453"/>
                </a:cubicBezTo>
                <a:lnTo>
                  <a:pt x="3087354" y="5474073"/>
                </a:lnTo>
                <a:lnTo>
                  <a:pt x="3087663" y="5474279"/>
                </a:lnTo>
                <a:cubicBezTo>
                  <a:pt x="3088593" y="5475621"/>
                  <a:pt x="3088903" y="5477583"/>
                  <a:pt x="3088128" y="5480371"/>
                </a:cubicBezTo>
                <a:cubicBezTo>
                  <a:pt x="3092775" y="5481197"/>
                  <a:pt x="3098196" y="5483469"/>
                  <a:pt x="3101759" y="5483469"/>
                </a:cubicBezTo>
                <a:lnTo>
                  <a:pt x="3103308" y="5482953"/>
                </a:lnTo>
                <a:lnTo>
                  <a:pt x="3103463" y="5482849"/>
                </a:lnTo>
                <a:lnTo>
                  <a:pt x="3103618" y="5482849"/>
                </a:lnTo>
                <a:lnTo>
                  <a:pt x="3104857" y="5482437"/>
                </a:lnTo>
                <a:lnTo>
                  <a:pt x="3105476" y="5483262"/>
                </a:lnTo>
                <a:lnTo>
                  <a:pt x="3108110" y="5483882"/>
                </a:lnTo>
                <a:cubicBezTo>
                  <a:pt x="3109039" y="5484708"/>
                  <a:pt x="3109039" y="5484708"/>
                  <a:pt x="3109194" y="5485638"/>
                </a:cubicBezTo>
                <a:lnTo>
                  <a:pt x="3110278" y="5488632"/>
                </a:lnTo>
                <a:lnTo>
                  <a:pt x="3112602" y="5489354"/>
                </a:lnTo>
                <a:lnTo>
                  <a:pt x="3112602" y="5487909"/>
                </a:lnTo>
                <a:cubicBezTo>
                  <a:pt x="3113221" y="5486980"/>
                  <a:pt x="3114306" y="5486360"/>
                  <a:pt x="3115855" y="5486463"/>
                </a:cubicBezTo>
                <a:lnTo>
                  <a:pt x="3117559" y="5487703"/>
                </a:lnTo>
                <a:lnTo>
                  <a:pt x="3117559" y="5486154"/>
                </a:lnTo>
                <a:cubicBezTo>
                  <a:pt x="3117559" y="5484502"/>
                  <a:pt x="3117868" y="5482643"/>
                  <a:pt x="3120037" y="5482540"/>
                </a:cubicBezTo>
                <a:cubicBezTo>
                  <a:pt x="3123599" y="5482953"/>
                  <a:pt x="3122051" y="5493794"/>
                  <a:pt x="3125613" y="5487393"/>
                </a:cubicBezTo>
                <a:lnTo>
                  <a:pt x="3128711" y="5489148"/>
                </a:lnTo>
                <a:lnTo>
                  <a:pt x="3132429" y="5481507"/>
                </a:lnTo>
                <a:lnTo>
                  <a:pt x="3130880" y="5478100"/>
                </a:lnTo>
                <a:cubicBezTo>
                  <a:pt x="3131034" y="5476964"/>
                  <a:pt x="3131809" y="5475931"/>
                  <a:pt x="3133048" y="5474692"/>
                </a:cubicBezTo>
                <a:lnTo>
                  <a:pt x="3135062" y="5477790"/>
                </a:lnTo>
                <a:lnTo>
                  <a:pt x="3141412" y="5471801"/>
                </a:lnTo>
                <a:cubicBezTo>
                  <a:pt x="3143271" y="5475621"/>
                  <a:pt x="3143891" y="5479752"/>
                  <a:pt x="3143736" y="5483882"/>
                </a:cubicBezTo>
                <a:lnTo>
                  <a:pt x="3140948" y="5495963"/>
                </a:lnTo>
                <a:lnTo>
                  <a:pt x="3154424" y="5500816"/>
                </a:lnTo>
                <a:lnTo>
                  <a:pt x="3171307" y="5504637"/>
                </a:lnTo>
                <a:lnTo>
                  <a:pt x="3171927" y="5502675"/>
                </a:lnTo>
                <a:cubicBezTo>
                  <a:pt x="3172856" y="5503604"/>
                  <a:pt x="3175025" y="5500713"/>
                  <a:pt x="3175799" y="5499783"/>
                </a:cubicBezTo>
                <a:cubicBezTo>
                  <a:pt x="3176729" y="5500610"/>
                  <a:pt x="3177968" y="5500300"/>
                  <a:pt x="3179207" y="5500093"/>
                </a:cubicBezTo>
                <a:lnTo>
                  <a:pt x="3180911" y="5500093"/>
                </a:lnTo>
                <a:lnTo>
                  <a:pt x="3181530" y="5485844"/>
                </a:lnTo>
                <a:cubicBezTo>
                  <a:pt x="3184474" y="5486877"/>
                  <a:pt x="3186487" y="5485431"/>
                  <a:pt x="3190824" y="5487909"/>
                </a:cubicBezTo>
                <a:lnTo>
                  <a:pt x="3189120" y="5507218"/>
                </a:lnTo>
                <a:lnTo>
                  <a:pt x="3194232" y="5507734"/>
                </a:lnTo>
                <a:cubicBezTo>
                  <a:pt x="3196401" y="5512174"/>
                  <a:pt x="3201357" y="5514446"/>
                  <a:pt x="3207398" y="5515582"/>
                </a:cubicBezTo>
                <a:lnTo>
                  <a:pt x="3214214" y="5516098"/>
                </a:lnTo>
                <a:lnTo>
                  <a:pt x="3214059" y="5515995"/>
                </a:lnTo>
                <a:lnTo>
                  <a:pt x="3214988" y="5516201"/>
                </a:lnTo>
                <a:lnTo>
                  <a:pt x="3215763" y="5516305"/>
                </a:lnTo>
                <a:cubicBezTo>
                  <a:pt x="3218396" y="5516305"/>
                  <a:pt x="3221029" y="5516408"/>
                  <a:pt x="3223043" y="5516614"/>
                </a:cubicBezTo>
                <a:cubicBezTo>
                  <a:pt x="3223817" y="5512381"/>
                  <a:pt x="3212045" y="5517027"/>
                  <a:pt x="3215453" y="5511348"/>
                </a:cubicBezTo>
                <a:cubicBezTo>
                  <a:pt x="3220874" y="5512278"/>
                  <a:pt x="3224747" y="5511865"/>
                  <a:pt x="3228464" y="5511555"/>
                </a:cubicBezTo>
                <a:cubicBezTo>
                  <a:pt x="3221649" y="5520745"/>
                  <a:pt x="3245658" y="5518370"/>
                  <a:pt x="3251234" y="5519299"/>
                </a:cubicBezTo>
                <a:cubicBezTo>
                  <a:pt x="3251234" y="5517027"/>
                  <a:pt x="3249220" y="5516408"/>
                  <a:pt x="3247362" y="5515788"/>
                </a:cubicBezTo>
                <a:cubicBezTo>
                  <a:pt x="3245038" y="5515891"/>
                  <a:pt x="3242250" y="5515788"/>
                  <a:pt x="3239617" y="5514962"/>
                </a:cubicBezTo>
                <a:cubicBezTo>
                  <a:pt x="3242095" y="5514240"/>
                  <a:pt x="3244419" y="5513413"/>
                  <a:pt x="3246587" y="5513413"/>
                </a:cubicBezTo>
                <a:cubicBezTo>
                  <a:pt x="3249065" y="5512587"/>
                  <a:pt x="3251234" y="5512587"/>
                  <a:pt x="3253557" y="5512484"/>
                </a:cubicBezTo>
                <a:cubicBezTo>
                  <a:pt x="3258514" y="5512484"/>
                  <a:pt x="3263471" y="5513310"/>
                  <a:pt x="3267963" y="5514755"/>
                </a:cubicBezTo>
                <a:lnTo>
                  <a:pt x="3275398" y="5516201"/>
                </a:lnTo>
                <a:lnTo>
                  <a:pt x="3278960" y="5513929"/>
                </a:lnTo>
                <a:lnTo>
                  <a:pt x="3280510" y="5517130"/>
                </a:lnTo>
                <a:lnTo>
                  <a:pt x="3283452" y="5517750"/>
                </a:lnTo>
                <a:lnTo>
                  <a:pt x="3289958" y="5518163"/>
                </a:lnTo>
                <a:lnTo>
                  <a:pt x="3291352" y="5516408"/>
                </a:lnTo>
                <a:lnTo>
                  <a:pt x="3293676" y="5518060"/>
                </a:lnTo>
                <a:lnTo>
                  <a:pt x="3298942" y="5517544"/>
                </a:lnTo>
                <a:cubicBezTo>
                  <a:pt x="3298477" y="5521054"/>
                  <a:pt x="3304054" y="5519815"/>
                  <a:pt x="3303899" y="5521984"/>
                </a:cubicBezTo>
                <a:cubicBezTo>
                  <a:pt x="3307771" y="5520228"/>
                  <a:pt x="3311799" y="5519402"/>
                  <a:pt x="3315671" y="5518989"/>
                </a:cubicBezTo>
                <a:lnTo>
                  <a:pt x="3326823" y="5518783"/>
                </a:lnTo>
                <a:lnTo>
                  <a:pt x="3327288" y="5516511"/>
                </a:lnTo>
                <a:lnTo>
                  <a:pt x="3330386" y="5512897"/>
                </a:lnTo>
                <a:lnTo>
                  <a:pt x="3329147" y="5510316"/>
                </a:lnTo>
                <a:cubicBezTo>
                  <a:pt x="3329302" y="5509180"/>
                  <a:pt x="3329302" y="5509180"/>
                  <a:pt x="3329456" y="5507941"/>
                </a:cubicBezTo>
                <a:cubicBezTo>
                  <a:pt x="3330851" y="5507011"/>
                  <a:pt x="3331625" y="5505462"/>
                  <a:pt x="3333484" y="5505256"/>
                </a:cubicBezTo>
                <a:lnTo>
                  <a:pt x="3335343" y="5507115"/>
                </a:lnTo>
                <a:lnTo>
                  <a:pt x="3336891" y="5505359"/>
                </a:lnTo>
                <a:lnTo>
                  <a:pt x="3342623" y="5502365"/>
                </a:lnTo>
                <a:lnTo>
                  <a:pt x="3340919" y="5501022"/>
                </a:lnTo>
                <a:lnTo>
                  <a:pt x="3335188" y="5500816"/>
                </a:lnTo>
                <a:cubicBezTo>
                  <a:pt x="3328217" y="5501642"/>
                  <a:pt x="3326049" y="5508457"/>
                  <a:pt x="3318923" y="5510109"/>
                </a:cubicBezTo>
                <a:cubicBezTo>
                  <a:pt x="3319543" y="5510316"/>
                  <a:pt x="3319233" y="5507218"/>
                  <a:pt x="3319233" y="5507218"/>
                </a:cubicBezTo>
                <a:cubicBezTo>
                  <a:pt x="3315980" y="5508457"/>
                  <a:pt x="3309630" y="5513000"/>
                  <a:pt x="3306377" y="5510935"/>
                </a:cubicBezTo>
                <a:lnTo>
                  <a:pt x="3306067" y="5510419"/>
                </a:lnTo>
                <a:lnTo>
                  <a:pt x="3304983" y="5510729"/>
                </a:lnTo>
                <a:cubicBezTo>
                  <a:pt x="3301266" y="5511245"/>
                  <a:pt x="3297238" y="5511348"/>
                  <a:pt x="3292591" y="5510625"/>
                </a:cubicBezTo>
                <a:lnTo>
                  <a:pt x="3290268" y="5502158"/>
                </a:lnTo>
                <a:lnTo>
                  <a:pt x="3279735" y="5501745"/>
                </a:lnTo>
                <a:cubicBezTo>
                  <a:pt x="3274933" y="5501022"/>
                  <a:pt x="3270441" y="5501126"/>
                  <a:pt x="3265639" y="5502675"/>
                </a:cubicBezTo>
                <a:cubicBezTo>
                  <a:pt x="3264245" y="5502262"/>
                  <a:pt x="3264245" y="5499990"/>
                  <a:pt x="3264400" y="5497718"/>
                </a:cubicBezTo>
                <a:lnTo>
                  <a:pt x="3261147" y="5497925"/>
                </a:lnTo>
                <a:lnTo>
                  <a:pt x="3265175" y="5502365"/>
                </a:lnTo>
                <a:cubicBezTo>
                  <a:pt x="3264245" y="5503811"/>
                  <a:pt x="3263316" y="5504430"/>
                  <a:pt x="3262231" y="5504327"/>
                </a:cubicBezTo>
                <a:cubicBezTo>
                  <a:pt x="3261302" y="5504223"/>
                  <a:pt x="3260373" y="5503604"/>
                  <a:pt x="3259753" y="5502675"/>
                </a:cubicBezTo>
                <a:cubicBezTo>
                  <a:pt x="3259134" y="5501849"/>
                  <a:pt x="3258669" y="5500713"/>
                  <a:pt x="3258824" y="5499783"/>
                </a:cubicBezTo>
                <a:lnTo>
                  <a:pt x="3260683" y="5497925"/>
                </a:lnTo>
                <a:lnTo>
                  <a:pt x="3256191" y="5498131"/>
                </a:lnTo>
                <a:lnTo>
                  <a:pt x="3255571" y="5505049"/>
                </a:lnTo>
                <a:cubicBezTo>
                  <a:pt x="3253557" y="5509593"/>
                  <a:pt x="3248910" y="5513000"/>
                  <a:pt x="3244264" y="5513620"/>
                </a:cubicBezTo>
                <a:cubicBezTo>
                  <a:pt x="3241166" y="5514033"/>
                  <a:pt x="3238068" y="5513207"/>
                  <a:pt x="3235434" y="5510419"/>
                </a:cubicBezTo>
                <a:lnTo>
                  <a:pt x="3239927" y="5496892"/>
                </a:lnTo>
                <a:lnTo>
                  <a:pt x="3233886" y="5495860"/>
                </a:lnTo>
                <a:cubicBezTo>
                  <a:pt x="3229239" y="5494414"/>
                  <a:pt x="3224437" y="5493691"/>
                  <a:pt x="3219635" y="5492969"/>
                </a:cubicBezTo>
                <a:lnTo>
                  <a:pt x="3210342" y="5492452"/>
                </a:lnTo>
                <a:lnTo>
                  <a:pt x="3211580" y="5496170"/>
                </a:lnTo>
                <a:cubicBezTo>
                  <a:pt x="3211580" y="5498131"/>
                  <a:pt x="3211116" y="5500196"/>
                  <a:pt x="3209876" y="5502158"/>
                </a:cubicBezTo>
                <a:cubicBezTo>
                  <a:pt x="3208792" y="5502675"/>
                  <a:pt x="3207708" y="5502881"/>
                  <a:pt x="3206469" y="5502778"/>
                </a:cubicBezTo>
                <a:cubicBezTo>
                  <a:pt x="3204765" y="5502675"/>
                  <a:pt x="3202906" y="5501952"/>
                  <a:pt x="3201357" y="5501022"/>
                </a:cubicBezTo>
                <a:lnTo>
                  <a:pt x="3199189" y="5499061"/>
                </a:lnTo>
                <a:lnTo>
                  <a:pt x="3198259" y="5499783"/>
                </a:lnTo>
                <a:lnTo>
                  <a:pt x="3198414" y="5498441"/>
                </a:lnTo>
                <a:lnTo>
                  <a:pt x="3197020" y="5497305"/>
                </a:lnTo>
                <a:lnTo>
                  <a:pt x="3196246" y="5495653"/>
                </a:lnTo>
                <a:lnTo>
                  <a:pt x="3192993" y="5497305"/>
                </a:lnTo>
                <a:cubicBezTo>
                  <a:pt x="3192838" y="5496686"/>
                  <a:pt x="3193148" y="5496273"/>
                  <a:pt x="3193458" y="5495963"/>
                </a:cubicBezTo>
                <a:cubicBezTo>
                  <a:pt x="3193922" y="5495756"/>
                  <a:pt x="3194542" y="5495550"/>
                  <a:pt x="3195162" y="5495447"/>
                </a:cubicBezTo>
                <a:lnTo>
                  <a:pt x="3196091" y="5495137"/>
                </a:lnTo>
                <a:lnTo>
                  <a:pt x="3195162" y="5493485"/>
                </a:lnTo>
                <a:lnTo>
                  <a:pt x="3197795" y="5489458"/>
                </a:lnTo>
                <a:lnTo>
                  <a:pt x="3191908" y="5486670"/>
                </a:lnTo>
                <a:cubicBezTo>
                  <a:pt x="3197330" y="5486670"/>
                  <a:pt x="3196710" y="5484398"/>
                  <a:pt x="3199963" y="5484088"/>
                </a:cubicBezTo>
                <a:lnTo>
                  <a:pt x="3201822" y="5484295"/>
                </a:lnTo>
                <a:lnTo>
                  <a:pt x="3202132" y="5483985"/>
                </a:lnTo>
                <a:lnTo>
                  <a:pt x="3192219" y="5481197"/>
                </a:lnTo>
                <a:cubicBezTo>
                  <a:pt x="3188036" y="5480061"/>
                  <a:pt x="3184319" y="5478306"/>
                  <a:pt x="3181685" y="5474486"/>
                </a:cubicBezTo>
                <a:cubicBezTo>
                  <a:pt x="3180911" y="5476551"/>
                  <a:pt x="3180137" y="5478513"/>
                  <a:pt x="3182150" y="5479132"/>
                </a:cubicBezTo>
                <a:cubicBezTo>
                  <a:pt x="3179517" y="5480578"/>
                  <a:pt x="3172082" y="5474589"/>
                  <a:pt x="3169294" y="5472214"/>
                </a:cubicBezTo>
                <a:cubicBezTo>
                  <a:pt x="3167590" y="5473143"/>
                  <a:pt x="3157676" y="5472420"/>
                  <a:pt x="3162014" y="5476757"/>
                </a:cubicBezTo>
                <a:cubicBezTo>
                  <a:pt x="3155973" y="5474899"/>
                  <a:pt x="3150861" y="5473247"/>
                  <a:pt x="3144665" y="5472111"/>
                </a:cubicBezTo>
                <a:lnTo>
                  <a:pt x="3137385" y="5470252"/>
                </a:lnTo>
                <a:lnTo>
                  <a:pt x="3136920" y="5471904"/>
                </a:lnTo>
                <a:cubicBezTo>
                  <a:pt x="3135062" y="5471595"/>
                  <a:pt x="3133358" y="5472111"/>
                  <a:pt x="3131499" y="5471801"/>
                </a:cubicBezTo>
                <a:lnTo>
                  <a:pt x="3129795" y="5468187"/>
                </a:lnTo>
                <a:lnTo>
                  <a:pt x="3126697" y="5467361"/>
                </a:lnTo>
                <a:cubicBezTo>
                  <a:pt x="3127162" y="5466019"/>
                  <a:pt x="3127937" y="5465192"/>
                  <a:pt x="3128711" y="5464573"/>
                </a:cubicBezTo>
                <a:lnTo>
                  <a:pt x="3129950" y="5464057"/>
                </a:lnTo>
                <a:lnTo>
                  <a:pt x="3130725" y="5462508"/>
                </a:lnTo>
                <a:lnTo>
                  <a:pt x="3132119" y="5462611"/>
                </a:lnTo>
                <a:lnTo>
                  <a:pt x="3132893" y="5461992"/>
                </a:lnTo>
                <a:cubicBezTo>
                  <a:pt x="3133203" y="5461269"/>
                  <a:pt x="3133048" y="5460236"/>
                  <a:pt x="3132584" y="5458584"/>
                </a:cubicBezTo>
                <a:cubicBezTo>
                  <a:pt x="3138469" y="5460443"/>
                  <a:pt x="3143271" y="5463437"/>
                  <a:pt x="3148538" y="5465089"/>
                </a:cubicBezTo>
                <a:cubicBezTo>
                  <a:pt x="3153185" y="5466432"/>
                  <a:pt x="3157986" y="5467154"/>
                  <a:pt x="3163563" y="5463644"/>
                </a:cubicBezTo>
                <a:cubicBezTo>
                  <a:pt x="3165576" y="5464263"/>
                  <a:pt x="3164182" y="5466122"/>
                  <a:pt x="3164182" y="5468290"/>
                </a:cubicBezTo>
                <a:cubicBezTo>
                  <a:pt x="3165731" y="5468084"/>
                  <a:pt x="3165886" y="5465192"/>
                  <a:pt x="3167900" y="5465709"/>
                </a:cubicBezTo>
                <a:cubicBezTo>
                  <a:pt x="3166351" y="5463747"/>
                  <a:pt x="3161549" y="5460856"/>
                  <a:pt x="3157212" y="5458687"/>
                </a:cubicBezTo>
                <a:cubicBezTo>
                  <a:pt x="3152720" y="5457345"/>
                  <a:pt x="3147763" y="5456519"/>
                  <a:pt x="3145130" y="5460236"/>
                </a:cubicBezTo>
                <a:cubicBezTo>
                  <a:pt x="3143426" y="5458584"/>
                  <a:pt x="3141103" y="5457448"/>
                  <a:pt x="3138934" y="5456416"/>
                </a:cubicBezTo>
                <a:lnTo>
                  <a:pt x="3136146" y="5454660"/>
                </a:lnTo>
                <a:lnTo>
                  <a:pt x="3135527" y="5455177"/>
                </a:lnTo>
                <a:lnTo>
                  <a:pt x="3135527" y="5454247"/>
                </a:lnTo>
                <a:lnTo>
                  <a:pt x="3133203" y="5452802"/>
                </a:lnTo>
                <a:cubicBezTo>
                  <a:pt x="3133977" y="5451150"/>
                  <a:pt x="3134597" y="5449601"/>
                  <a:pt x="3135216" y="5448362"/>
                </a:cubicBezTo>
                <a:lnTo>
                  <a:pt x="3132738" y="5442992"/>
                </a:lnTo>
                <a:lnTo>
                  <a:pt x="3131189" y="5440411"/>
                </a:lnTo>
                <a:lnTo>
                  <a:pt x="3129176" y="5439482"/>
                </a:lnTo>
                <a:cubicBezTo>
                  <a:pt x="3122980" y="5438346"/>
                  <a:pt x="3116939" y="5437210"/>
                  <a:pt x="3111827" y="5434939"/>
                </a:cubicBezTo>
                <a:cubicBezTo>
                  <a:pt x="3110433" y="5432977"/>
                  <a:pt x="3108110" y="5431428"/>
                  <a:pt x="3105941" y="5429259"/>
                </a:cubicBezTo>
                <a:cubicBezTo>
                  <a:pt x="3104857" y="5428227"/>
                  <a:pt x="3102998" y="5426885"/>
                  <a:pt x="3101759" y="5426472"/>
                </a:cubicBezTo>
                <a:cubicBezTo>
                  <a:pt x="3100675" y="5425439"/>
                  <a:pt x="3098971" y="5424097"/>
                  <a:pt x="3097887" y="5423064"/>
                </a:cubicBezTo>
                <a:lnTo>
                  <a:pt x="3089987" y="5417901"/>
                </a:lnTo>
                <a:lnTo>
                  <a:pt x="3089522" y="5417901"/>
                </a:lnTo>
                <a:cubicBezTo>
                  <a:pt x="3087044" y="5417591"/>
                  <a:pt x="3084256" y="5416559"/>
                  <a:pt x="3081468" y="5414597"/>
                </a:cubicBezTo>
                <a:lnTo>
                  <a:pt x="3077750" y="5409847"/>
                </a:lnTo>
                <a:lnTo>
                  <a:pt x="3064584" y="5400761"/>
                </a:lnTo>
                <a:lnTo>
                  <a:pt x="3063035" y="5404788"/>
                </a:lnTo>
                <a:cubicBezTo>
                  <a:pt x="3061950" y="5407473"/>
                  <a:pt x="3060247" y="5410054"/>
                  <a:pt x="3057923" y="5411603"/>
                </a:cubicBezTo>
                <a:lnTo>
                  <a:pt x="3056839" y="5411706"/>
                </a:lnTo>
                <a:lnTo>
                  <a:pt x="3056065" y="5412739"/>
                </a:lnTo>
                <a:lnTo>
                  <a:pt x="3056219" y="5412945"/>
                </a:lnTo>
                <a:cubicBezTo>
                  <a:pt x="3055290" y="5412945"/>
                  <a:pt x="3055445" y="5413771"/>
                  <a:pt x="3056374" y="5413771"/>
                </a:cubicBezTo>
                <a:cubicBezTo>
                  <a:pt x="3055600" y="5415113"/>
                  <a:pt x="3055135" y="5416249"/>
                  <a:pt x="3054671" y="5416765"/>
                </a:cubicBezTo>
                <a:cubicBezTo>
                  <a:pt x="3054051" y="5417385"/>
                  <a:pt x="3053431" y="5417385"/>
                  <a:pt x="3052502" y="5416559"/>
                </a:cubicBezTo>
                <a:cubicBezTo>
                  <a:pt x="3050643" y="5415836"/>
                  <a:pt x="3051263" y="5414081"/>
                  <a:pt x="3049404" y="5412429"/>
                </a:cubicBezTo>
                <a:cubicBezTo>
                  <a:pt x="3045686" y="5409951"/>
                  <a:pt x="3041505" y="5417282"/>
                  <a:pt x="3034069" y="5412429"/>
                </a:cubicBezTo>
                <a:cubicBezTo>
                  <a:pt x="3035618" y="5410674"/>
                  <a:pt x="3031591" y="5406440"/>
                  <a:pt x="3033759" y="5403652"/>
                </a:cubicBezTo>
                <a:cubicBezTo>
                  <a:pt x="3039181" y="5394565"/>
                  <a:pt x="3041969" y="5396217"/>
                  <a:pt x="3048320" y="5398489"/>
                </a:cubicBezTo>
                <a:cubicBezTo>
                  <a:pt x="3047390" y="5398489"/>
                  <a:pt x="3048320" y="5399315"/>
                  <a:pt x="3048320" y="5399315"/>
                </a:cubicBezTo>
                <a:cubicBezTo>
                  <a:pt x="3050333" y="5400967"/>
                  <a:pt x="3050333" y="5395701"/>
                  <a:pt x="3053122" y="5397250"/>
                </a:cubicBezTo>
                <a:lnTo>
                  <a:pt x="3053741" y="5398076"/>
                </a:lnTo>
                <a:lnTo>
                  <a:pt x="3054051" y="5398076"/>
                </a:lnTo>
                <a:lnTo>
                  <a:pt x="3056839" y="5395082"/>
                </a:lnTo>
                <a:lnTo>
                  <a:pt x="3056684" y="5395082"/>
                </a:lnTo>
                <a:lnTo>
                  <a:pt x="3056374" y="5395082"/>
                </a:lnTo>
                <a:cubicBezTo>
                  <a:pt x="3053122" y="5394565"/>
                  <a:pt x="3051572" y="5392500"/>
                  <a:pt x="3050798" y="5390745"/>
                </a:cubicBezTo>
                <a:lnTo>
                  <a:pt x="3050179" y="5388886"/>
                </a:lnTo>
                <a:lnTo>
                  <a:pt x="3048784" y="5387647"/>
                </a:lnTo>
                <a:lnTo>
                  <a:pt x="3049094" y="5388473"/>
                </a:lnTo>
                <a:cubicBezTo>
                  <a:pt x="3049249" y="5389196"/>
                  <a:pt x="3049559" y="5389506"/>
                  <a:pt x="3049559" y="5389506"/>
                </a:cubicBezTo>
                <a:cubicBezTo>
                  <a:pt x="3048939" y="5391364"/>
                  <a:pt x="3048010" y="5391364"/>
                  <a:pt x="3048939" y="5391364"/>
                </a:cubicBezTo>
                <a:cubicBezTo>
                  <a:pt x="3047545" y="5393223"/>
                  <a:pt x="3046151" y="5395805"/>
                  <a:pt x="3044448" y="5395082"/>
                </a:cubicBezTo>
                <a:cubicBezTo>
                  <a:pt x="3042279" y="5393533"/>
                  <a:pt x="3041659" y="5391261"/>
                  <a:pt x="3041814" y="5388783"/>
                </a:cubicBezTo>
                <a:lnTo>
                  <a:pt x="3043208" y="5383311"/>
                </a:lnTo>
                <a:lnTo>
                  <a:pt x="3040885" y="5384240"/>
                </a:lnTo>
                <a:cubicBezTo>
                  <a:pt x="3039955" y="5383930"/>
                  <a:pt x="3039026" y="5383001"/>
                  <a:pt x="3037942" y="5381968"/>
                </a:cubicBezTo>
                <a:cubicBezTo>
                  <a:pt x="3036858" y="5380832"/>
                  <a:pt x="3035463" y="5380419"/>
                  <a:pt x="3033759" y="5379180"/>
                </a:cubicBezTo>
                <a:cubicBezTo>
                  <a:pt x="3031746" y="5378561"/>
                  <a:pt x="3029732" y="5377941"/>
                  <a:pt x="3026944" y="5377838"/>
                </a:cubicBezTo>
                <a:cubicBezTo>
                  <a:pt x="3028648" y="5376806"/>
                  <a:pt x="3030661" y="5377528"/>
                  <a:pt x="3031746" y="5376289"/>
                </a:cubicBezTo>
                <a:cubicBezTo>
                  <a:pt x="3024001" y="5373914"/>
                  <a:pt x="3016566" y="5370094"/>
                  <a:pt x="3009131" y="5366273"/>
                </a:cubicBezTo>
                <a:cubicBezTo>
                  <a:pt x="3001851" y="5361833"/>
                  <a:pt x="2995190" y="5358219"/>
                  <a:pt x="2986671" y="5355535"/>
                </a:cubicBezTo>
                <a:cubicBezTo>
                  <a:pt x="2983263" y="5359045"/>
                  <a:pt x="2995500" y="5361317"/>
                  <a:pt x="2990079" y="5364931"/>
                </a:cubicBezTo>
                <a:cubicBezTo>
                  <a:pt x="2986516" y="5362349"/>
                  <a:pt x="2983728" y="5359871"/>
                  <a:pt x="2981559" y="5357703"/>
                </a:cubicBezTo>
                <a:lnTo>
                  <a:pt x="2976138" y="5351508"/>
                </a:lnTo>
                <a:lnTo>
                  <a:pt x="2974280" y="5352953"/>
                </a:lnTo>
                <a:cubicBezTo>
                  <a:pt x="2973195" y="5353470"/>
                  <a:pt x="2971956" y="5353779"/>
                  <a:pt x="2971026" y="5353366"/>
                </a:cubicBezTo>
                <a:cubicBezTo>
                  <a:pt x="2971026" y="5353366"/>
                  <a:pt x="2970872" y="5353263"/>
                  <a:pt x="2969942" y="5352850"/>
                </a:cubicBezTo>
                <a:cubicBezTo>
                  <a:pt x="2971026" y="5352334"/>
                  <a:pt x="2972421" y="5351817"/>
                  <a:pt x="2973814" y="5351404"/>
                </a:cubicBezTo>
                <a:lnTo>
                  <a:pt x="2975673" y="5350991"/>
                </a:lnTo>
                <a:lnTo>
                  <a:pt x="2975364" y="5350578"/>
                </a:lnTo>
                <a:cubicBezTo>
                  <a:pt x="2973040" y="5348720"/>
                  <a:pt x="2970717" y="5347068"/>
                  <a:pt x="2968083" y="5345725"/>
                </a:cubicBezTo>
                <a:lnTo>
                  <a:pt x="2964056" y="5344280"/>
                </a:lnTo>
                <a:lnTo>
                  <a:pt x="2965605" y="5345932"/>
                </a:lnTo>
                <a:cubicBezTo>
                  <a:pt x="2965450" y="5347893"/>
                  <a:pt x="2961888" y="5348823"/>
                  <a:pt x="2960184" y="5349959"/>
                </a:cubicBezTo>
                <a:cubicBezTo>
                  <a:pt x="2960029" y="5348720"/>
                  <a:pt x="2959874" y="5347481"/>
                  <a:pt x="2959409" y="5348307"/>
                </a:cubicBezTo>
                <a:cubicBezTo>
                  <a:pt x="2959254" y="5347068"/>
                  <a:pt x="2959409" y="5346138"/>
                  <a:pt x="2959719" y="5345312"/>
                </a:cubicBezTo>
                <a:lnTo>
                  <a:pt x="2961578" y="5343453"/>
                </a:lnTo>
                <a:lnTo>
                  <a:pt x="2959100" y="5342627"/>
                </a:lnTo>
                <a:cubicBezTo>
                  <a:pt x="2960029" y="5340976"/>
                  <a:pt x="2959874" y="5339426"/>
                  <a:pt x="2959409" y="5337878"/>
                </a:cubicBezTo>
                <a:lnTo>
                  <a:pt x="2958015" y="5333231"/>
                </a:lnTo>
                <a:lnTo>
                  <a:pt x="2957860" y="5333231"/>
                </a:lnTo>
                <a:lnTo>
                  <a:pt x="2956157" y="5333335"/>
                </a:lnTo>
                <a:cubicBezTo>
                  <a:pt x="2954143" y="5334264"/>
                  <a:pt x="2951974" y="5337052"/>
                  <a:pt x="2950115" y="5333024"/>
                </a:cubicBezTo>
                <a:cubicBezTo>
                  <a:pt x="2951355" y="5330650"/>
                  <a:pt x="2952749" y="5331992"/>
                  <a:pt x="2954298" y="5331889"/>
                </a:cubicBezTo>
                <a:lnTo>
                  <a:pt x="2955382" y="5331269"/>
                </a:lnTo>
                <a:lnTo>
                  <a:pt x="2955227" y="5330856"/>
                </a:lnTo>
                <a:lnTo>
                  <a:pt x="2955537" y="5330753"/>
                </a:lnTo>
                <a:lnTo>
                  <a:pt x="2949031" y="5326210"/>
                </a:lnTo>
                <a:cubicBezTo>
                  <a:pt x="2946863" y="5324351"/>
                  <a:pt x="2944849" y="5321976"/>
                  <a:pt x="2942061" y="5318466"/>
                </a:cubicBezTo>
                <a:cubicBezTo>
                  <a:pt x="2943300" y="5323319"/>
                  <a:pt x="2939273" y="5322183"/>
                  <a:pt x="2937724" y="5326933"/>
                </a:cubicBezTo>
                <a:cubicBezTo>
                  <a:pt x="2940512" y="5331476"/>
                  <a:pt x="2943920" y="5325797"/>
                  <a:pt x="2946863" y="5331992"/>
                </a:cubicBezTo>
                <a:lnTo>
                  <a:pt x="2945624" y="5331889"/>
                </a:lnTo>
                <a:lnTo>
                  <a:pt x="2947947" y="5333644"/>
                </a:lnTo>
                <a:cubicBezTo>
                  <a:pt x="2949651" y="5335400"/>
                  <a:pt x="2951200" y="5337465"/>
                  <a:pt x="2951665" y="5338807"/>
                </a:cubicBezTo>
                <a:cubicBezTo>
                  <a:pt x="2950580" y="5341285"/>
                  <a:pt x="2949031" y="5342421"/>
                  <a:pt x="2947172" y="5342627"/>
                </a:cubicBezTo>
                <a:cubicBezTo>
                  <a:pt x="2943300" y="5342937"/>
                  <a:pt x="2938963" y="5338394"/>
                  <a:pt x="2939737" y="5334264"/>
                </a:cubicBezTo>
                <a:lnTo>
                  <a:pt x="2941596" y="5331373"/>
                </a:lnTo>
                <a:lnTo>
                  <a:pt x="2938189" y="5329824"/>
                </a:lnTo>
                <a:cubicBezTo>
                  <a:pt x="2935246" y="5328275"/>
                  <a:pt x="2932302" y="5326726"/>
                  <a:pt x="2929359" y="5328069"/>
                </a:cubicBezTo>
                <a:cubicBezTo>
                  <a:pt x="2927346" y="5327449"/>
                  <a:pt x="2934006" y="5322802"/>
                  <a:pt x="2935710" y="5326313"/>
                </a:cubicBezTo>
                <a:cubicBezTo>
                  <a:pt x="2937259" y="5324971"/>
                  <a:pt x="2938189" y="5323319"/>
                  <a:pt x="2938498" y="5321563"/>
                </a:cubicBezTo>
                <a:lnTo>
                  <a:pt x="2937879" y="5318156"/>
                </a:lnTo>
                <a:lnTo>
                  <a:pt x="2934316" y="5318466"/>
                </a:lnTo>
                <a:cubicBezTo>
                  <a:pt x="2932922" y="5318259"/>
                  <a:pt x="2931838" y="5317536"/>
                  <a:pt x="2930908" y="5316504"/>
                </a:cubicBezTo>
                <a:lnTo>
                  <a:pt x="2930444" y="5315058"/>
                </a:lnTo>
                <a:lnTo>
                  <a:pt x="2925642" y="5315058"/>
                </a:lnTo>
                <a:cubicBezTo>
                  <a:pt x="2923783" y="5315265"/>
                  <a:pt x="2922079" y="5315265"/>
                  <a:pt x="2920375" y="5314025"/>
                </a:cubicBezTo>
                <a:cubicBezTo>
                  <a:pt x="2922389" y="5312374"/>
                  <a:pt x="2923473" y="5310721"/>
                  <a:pt x="2924093" y="5308656"/>
                </a:cubicBezTo>
                <a:lnTo>
                  <a:pt x="2925177" y="5302357"/>
                </a:lnTo>
                <a:lnTo>
                  <a:pt x="2917587" y="5302151"/>
                </a:lnTo>
                <a:close/>
                <a:moveTo>
                  <a:pt x="2431833" y="5300602"/>
                </a:moveTo>
                <a:cubicBezTo>
                  <a:pt x="2432917" y="5302254"/>
                  <a:pt x="2432297" y="5304010"/>
                  <a:pt x="2431678" y="5305765"/>
                </a:cubicBezTo>
                <a:cubicBezTo>
                  <a:pt x="2431058" y="5307108"/>
                  <a:pt x="2430284" y="5307623"/>
                  <a:pt x="2429354" y="5307520"/>
                </a:cubicBezTo>
                <a:cubicBezTo>
                  <a:pt x="2428580" y="5307520"/>
                  <a:pt x="2427650" y="5306901"/>
                  <a:pt x="2426566" y="5306075"/>
                </a:cubicBezTo>
                <a:cubicBezTo>
                  <a:pt x="2424707" y="5304423"/>
                  <a:pt x="2425327" y="5302668"/>
                  <a:pt x="2425327" y="5302668"/>
                </a:cubicBezTo>
                <a:cubicBezTo>
                  <a:pt x="2426566" y="5299983"/>
                  <a:pt x="2429045" y="5299053"/>
                  <a:pt x="2431833" y="5300602"/>
                </a:cubicBezTo>
                <a:close/>
                <a:moveTo>
                  <a:pt x="1963117" y="5299570"/>
                </a:moveTo>
                <a:cubicBezTo>
                  <a:pt x="1967764" y="5299156"/>
                  <a:pt x="1967764" y="5302048"/>
                  <a:pt x="1967918" y="5304733"/>
                </a:cubicBezTo>
                <a:cubicBezTo>
                  <a:pt x="1965750" y="5304423"/>
                  <a:pt x="1964976" y="5306591"/>
                  <a:pt x="1963581" y="5306694"/>
                </a:cubicBezTo>
                <a:cubicBezTo>
                  <a:pt x="1963117" y="5306694"/>
                  <a:pt x="1962652" y="5306488"/>
                  <a:pt x="1961878" y="5305868"/>
                </a:cubicBezTo>
                <a:cubicBezTo>
                  <a:pt x="1961258" y="5304319"/>
                  <a:pt x="1961413" y="5302357"/>
                  <a:pt x="1963117" y="5299570"/>
                </a:cubicBezTo>
                <a:close/>
                <a:moveTo>
                  <a:pt x="2699958" y="5299053"/>
                </a:moveTo>
                <a:cubicBezTo>
                  <a:pt x="2701507" y="5300809"/>
                  <a:pt x="2705070" y="5298227"/>
                  <a:pt x="2707393" y="5300912"/>
                </a:cubicBezTo>
                <a:cubicBezTo>
                  <a:pt x="2707238" y="5302668"/>
                  <a:pt x="2707083" y="5303493"/>
                  <a:pt x="2705999" y="5305249"/>
                </a:cubicBezTo>
                <a:cubicBezTo>
                  <a:pt x="2698719" y="5311341"/>
                  <a:pt x="2694846" y="5308656"/>
                  <a:pt x="2693917" y="5309585"/>
                </a:cubicBezTo>
                <a:cubicBezTo>
                  <a:pt x="2691594" y="5306798"/>
                  <a:pt x="2693452" y="5305146"/>
                  <a:pt x="2695466" y="5301635"/>
                </a:cubicBezTo>
                <a:cubicBezTo>
                  <a:pt x="2696240" y="5302461"/>
                  <a:pt x="2699028" y="5299879"/>
                  <a:pt x="2699958" y="5299053"/>
                </a:cubicBezTo>
                <a:close/>
                <a:moveTo>
                  <a:pt x="2412161" y="5296782"/>
                </a:moveTo>
                <a:cubicBezTo>
                  <a:pt x="2412161" y="5296782"/>
                  <a:pt x="2412161" y="5296782"/>
                  <a:pt x="2412935" y="5298537"/>
                </a:cubicBezTo>
                <a:cubicBezTo>
                  <a:pt x="2412781" y="5299466"/>
                  <a:pt x="2412625" y="5300396"/>
                  <a:pt x="2411696" y="5301325"/>
                </a:cubicBezTo>
                <a:cubicBezTo>
                  <a:pt x="2410767" y="5302151"/>
                  <a:pt x="2409063" y="5302151"/>
                  <a:pt x="2408134" y="5302151"/>
                </a:cubicBezTo>
                <a:cubicBezTo>
                  <a:pt x="2408288" y="5301222"/>
                  <a:pt x="2407359" y="5301222"/>
                  <a:pt x="2407514" y="5300292"/>
                </a:cubicBezTo>
                <a:cubicBezTo>
                  <a:pt x="2406894" y="5298537"/>
                  <a:pt x="2406894" y="5298537"/>
                  <a:pt x="2407823" y="5297608"/>
                </a:cubicBezTo>
                <a:cubicBezTo>
                  <a:pt x="2408753" y="5296679"/>
                  <a:pt x="2411231" y="5297608"/>
                  <a:pt x="2412161" y="5296782"/>
                </a:cubicBezTo>
                <a:close/>
                <a:moveTo>
                  <a:pt x="2811019" y="5296575"/>
                </a:moveTo>
                <a:cubicBezTo>
                  <a:pt x="2811483" y="5297505"/>
                  <a:pt x="2811948" y="5298744"/>
                  <a:pt x="2812103" y="5300086"/>
                </a:cubicBezTo>
                <a:lnTo>
                  <a:pt x="2811328" y="5302254"/>
                </a:lnTo>
                <a:lnTo>
                  <a:pt x="2812567" y="5302461"/>
                </a:lnTo>
                <a:cubicBezTo>
                  <a:pt x="2815201" y="5304319"/>
                  <a:pt x="2817060" y="5308553"/>
                  <a:pt x="2814891" y="5312477"/>
                </a:cubicBezTo>
                <a:cubicBezTo>
                  <a:pt x="2813187" y="5312890"/>
                  <a:pt x="2811638" y="5312786"/>
                  <a:pt x="2810244" y="5312683"/>
                </a:cubicBezTo>
                <a:cubicBezTo>
                  <a:pt x="2809005" y="5312580"/>
                  <a:pt x="2807920" y="5312374"/>
                  <a:pt x="2806991" y="5312270"/>
                </a:cubicBezTo>
                <a:cubicBezTo>
                  <a:pt x="2806217" y="5309792"/>
                  <a:pt x="2805133" y="5308140"/>
                  <a:pt x="2804513" y="5305765"/>
                </a:cubicBezTo>
                <a:lnTo>
                  <a:pt x="2804668" y="5305455"/>
                </a:lnTo>
                <a:lnTo>
                  <a:pt x="2804513" y="5305352"/>
                </a:lnTo>
                <a:cubicBezTo>
                  <a:pt x="2803429" y="5304216"/>
                  <a:pt x="2802964" y="5303287"/>
                  <a:pt x="2803119" y="5302357"/>
                </a:cubicBezTo>
                <a:cubicBezTo>
                  <a:pt x="2803274" y="5301325"/>
                  <a:pt x="2804048" y="5300396"/>
                  <a:pt x="2804978" y="5299156"/>
                </a:cubicBezTo>
                <a:cubicBezTo>
                  <a:pt x="2806836" y="5296782"/>
                  <a:pt x="2809315" y="5298124"/>
                  <a:pt x="2811019" y="5296575"/>
                </a:cubicBezTo>
                <a:close/>
                <a:moveTo>
                  <a:pt x="1702891" y="5295956"/>
                </a:moveTo>
                <a:cubicBezTo>
                  <a:pt x="1704285" y="5297814"/>
                  <a:pt x="1706609" y="5300396"/>
                  <a:pt x="1704595" y="5303080"/>
                </a:cubicBezTo>
                <a:cubicBezTo>
                  <a:pt x="1703820" y="5302977"/>
                  <a:pt x="1703665" y="5303907"/>
                  <a:pt x="1702891" y="5303907"/>
                </a:cubicBezTo>
                <a:cubicBezTo>
                  <a:pt x="1702891" y="5303907"/>
                  <a:pt x="1701962" y="5304319"/>
                  <a:pt x="1700722" y="5304423"/>
                </a:cubicBezTo>
                <a:cubicBezTo>
                  <a:pt x="1699484" y="5304526"/>
                  <a:pt x="1697934" y="5304216"/>
                  <a:pt x="1696385" y="5302874"/>
                </a:cubicBezTo>
                <a:cubicBezTo>
                  <a:pt x="1696076" y="5302461"/>
                  <a:pt x="1695456" y="5301532"/>
                  <a:pt x="1695146" y="5300809"/>
                </a:cubicBezTo>
                <a:cubicBezTo>
                  <a:pt x="1694836" y="5299983"/>
                  <a:pt x="1694681" y="5299363"/>
                  <a:pt x="1695146" y="5299363"/>
                </a:cubicBezTo>
                <a:cubicBezTo>
                  <a:pt x="1695920" y="5298537"/>
                  <a:pt x="1695146" y="5298537"/>
                  <a:pt x="1695146" y="5297608"/>
                </a:cubicBezTo>
                <a:cubicBezTo>
                  <a:pt x="1697934" y="5295026"/>
                  <a:pt x="1700568" y="5294200"/>
                  <a:pt x="1702891" y="5295956"/>
                </a:cubicBezTo>
                <a:close/>
                <a:moveTo>
                  <a:pt x="2649348" y="5295895"/>
                </a:moveTo>
                <a:cubicBezTo>
                  <a:pt x="2651843" y="5295162"/>
                  <a:pt x="2654186" y="5295285"/>
                  <a:pt x="2655967" y="5296679"/>
                </a:cubicBezTo>
                <a:lnTo>
                  <a:pt x="2652870" y="5299570"/>
                </a:lnTo>
                <a:lnTo>
                  <a:pt x="2653334" y="5299466"/>
                </a:lnTo>
                <a:cubicBezTo>
                  <a:pt x="2657052" y="5303803"/>
                  <a:pt x="2655658" y="5307004"/>
                  <a:pt x="2651011" y="5309379"/>
                </a:cubicBezTo>
                <a:cubicBezTo>
                  <a:pt x="2649462" y="5308140"/>
                  <a:pt x="2647913" y="5307830"/>
                  <a:pt x="2645435" y="5306384"/>
                </a:cubicBezTo>
                <a:lnTo>
                  <a:pt x="2645744" y="5305972"/>
                </a:lnTo>
                <a:lnTo>
                  <a:pt x="2640633" y="5310515"/>
                </a:lnTo>
                <a:cubicBezTo>
                  <a:pt x="2638619" y="5311960"/>
                  <a:pt x="2636451" y="5313200"/>
                  <a:pt x="2633817" y="5314335"/>
                </a:cubicBezTo>
                <a:cubicBezTo>
                  <a:pt x="2633004" y="5307985"/>
                  <a:pt x="2641862" y="5298092"/>
                  <a:pt x="2649348" y="5295895"/>
                </a:cubicBezTo>
                <a:close/>
                <a:moveTo>
                  <a:pt x="2857488" y="5295646"/>
                </a:moveTo>
                <a:cubicBezTo>
                  <a:pt x="2859036" y="5297711"/>
                  <a:pt x="2862134" y="5299879"/>
                  <a:pt x="2861050" y="5303184"/>
                </a:cubicBezTo>
                <a:cubicBezTo>
                  <a:pt x="2859966" y="5301738"/>
                  <a:pt x="2857488" y="5299053"/>
                  <a:pt x="2857023" y="5297195"/>
                </a:cubicBezTo>
                <a:cubicBezTo>
                  <a:pt x="2856868" y="5296575"/>
                  <a:pt x="2857023" y="5296059"/>
                  <a:pt x="2857488" y="5295646"/>
                </a:cubicBezTo>
                <a:close/>
                <a:moveTo>
                  <a:pt x="2724586" y="5293890"/>
                </a:moveTo>
                <a:lnTo>
                  <a:pt x="2725516" y="5295440"/>
                </a:lnTo>
                <a:lnTo>
                  <a:pt x="2726290" y="5293890"/>
                </a:lnTo>
                <a:cubicBezTo>
                  <a:pt x="2737908" y="5308140"/>
                  <a:pt x="2730937" y="5322492"/>
                  <a:pt x="2724122" y="5336948"/>
                </a:cubicBezTo>
                <a:cubicBezTo>
                  <a:pt x="2713589" y="5331063"/>
                  <a:pt x="2715448" y="5316917"/>
                  <a:pt x="2720559" y="5304836"/>
                </a:cubicBezTo>
                <a:lnTo>
                  <a:pt x="2722573" y="5300809"/>
                </a:lnTo>
                <a:lnTo>
                  <a:pt x="2720404" y="5299466"/>
                </a:lnTo>
                <a:lnTo>
                  <a:pt x="2720404" y="5299156"/>
                </a:lnTo>
                <a:lnTo>
                  <a:pt x="2719940" y="5299156"/>
                </a:lnTo>
                <a:cubicBezTo>
                  <a:pt x="2719630" y="5299053"/>
                  <a:pt x="2719320" y="5298950"/>
                  <a:pt x="2719010" y="5299156"/>
                </a:cubicBezTo>
                <a:cubicBezTo>
                  <a:pt x="2719010" y="5299156"/>
                  <a:pt x="2718700" y="5298434"/>
                  <a:pt x="2718700" y="5298434"/>
                </a:cubicBezTo>
                <a:cubicBezTo>
                  <a:pt x="2718391" y="5298537"/>
                  <a:pt x="2718391" y="5298641"/>
                  <a:pt x="2718546" y="5298331"/>
                </a:cubicBezTo>
                <a:cubicBezTo>
                  <a:pt x="2718546" y="5298021"/>
                  <a:pt x="2718855" y="5297505"/>
                  <a:pt x="2718855" y="5296472"/>
                </a:cubicBezTo>
                <a:cubicBezTo>
                  <a:pt x="2719320" y="5295440"/>
                  <a:pt x="2719010" y="5294613"/>
                  <a:pt x="2720095" y="5295026"/>
                </a:cubicBezTo>
                <a:cubicBezTo>
                  <a:pt x="2720559" y="5295233"/>
                  <a:pt x="2720869" y="5295336"/>
                  <a:pt x="2721024" y="5295646"/>
                </a:cubicBezTo>
                <a:lnTo>
                  <a:pt x="2721334" y="5296162"/>
                </a:lnTo>
                <a:close/>
                <a:moveTo>
                  <a:pt x="1829596" y="5293787"/>
                </a:moveTo>
                <a:cubicBezTo>
                  <a:pt x="1832694" y="5296472"/>
                  <a:pt x="1834553" y="5293890"/>
                  <a:pt x="1839200" y="5298331"/>
                </a:cubicBezTo>
                <a:cubicBezTo>
                  <a:pt x="1845396" y="5303597"/>
                  <a:pt x="1843072" y="5309689"/>
                  <a:pt x="1840284" y="5313096"/>
                </a:cubicBezTo>
                <a:cubicBezTo>
                  <a:pt x="1839664" y="5312477"/>
                  <a:pt x="1835792" y="5317123"/>
                  <a:pt x="1830835" y="5316813"/>
                </a:cubicBezTo>
                <a:cubicBezTo>
                  <a:pt x="1829287" y="5316710"/>
                  <a:pt x="1827582" y="5316090"/>
                  <a:pt x="1825879" y="5314542"/>
                </a:cubicBezTo>
                <a:cubicBezTo>
                  <a:pt x="1824949" y="5313716"/>
                  <a:pt x="1824020" y="5312683"/>
                  <a:pt x="1823246" y="5311651"/>
                </a:cubicBezTo>
                <a:cubicBezTo>
                  <a:pt x="1821232" y="5308346"/>
                  <a:pt x="1820768" y="5304113"/>
                  <a:pt x="1825724" y="5298950"/>
                </a:cubicBezTo>
                <a:cubicBezTo>
                  <a:pt x="1826809" y="5297195"/>
                  <a:pt x="1826654" y="5298124"/>
                  <a:pt x="1827582" y="5297195"/>
                </a:cubicBezTo>
                <a:cubicBezTo>
                  <a:pt x="1828512" y="5296369"/>
                  <a:pt x="1829596" y="5294717"/>
                  <a:pt x="1829596" y="5293787"/>
                </a:cubicBezTo>
                <a:close/>
                <a:moveTo>
                  <a:pt x="1706454" y="5292755"/>
                </a:moveTo>
                <a:cubicBezTo>
                  <a:pt x="1707228" y="5293581"/>
                  <a:pt x="1708003" y="5295233"/>
                  <a:pt x="1707073" y="5296059"/>
                </a:cubicBezTo>
                <a:cubicBezTo>
                  <a:pt x="1706454" y="5296885"/>
                  <a:pt x="1706144" y="5296885"/>
                  <a:pt x="1705524" y="5296575"/>
                </a:cubicBezTo>
                <a:cubicBezTo>
                  <a:pt x="1705059" y="5296265"/>
                  <a:pt x="1704595" y="5295646"/>
                  <a:pt x="1703665" y="5295233"/>
                </a:cubicBezTo>
                <a:close/>
                <a:moveTo>
                  <a:pt x="2324644" y="5292239"/>
                </a:moveTo>
                <a:cubicBezTo>
                  <a:pt x="2324179" y="5298227"/>
                  <a:pt x="2327587" y="5301222"/>
                  <a:pt x="2324799" y="5305662"/>
                </a:cubicBezTo>
                <a:cubicBezTo>
                  <a:pt x="2316280" y="5306694"/>
                  <a:pt x="2313337" y="5296162"/>
                  <a:pt x="2317674" y="5292651"/>
                </a:cubicBezTo>
                <a:cubicBezTo>
                  <a:pt x="2319223" y="5291516"/>
                  <a:pt x="2321546" y="5291103"/>
                  <a:pt x="2324644" y="5292239"/>
                </a:cubicBezTo>
                <a:close/>
                <a:moveTo>
                  <a:pt x="2791347" y="5290483"/>
                </a:moveTo>
                <a:cubicBezTo>
                  <a:pt x="2794290" y="5292961"/>
                  <a:pt x="2792276" y="5295130"/>
                  <a:pt x="2790418" y="5297298"/>
                </a:cubicBezTo>
                <a:cubicBezTo>
                  <a:pt x="2788868" y="5296059"/>
                  <a:pt x="2787164" y="5296575"/>
                  <a:pt x="2785925" y="5293581"/>
                </a:cubicBezTo>
                <a:cubicBezTo>
                  <a:pt x="2787784" y="5292342"/>
                  <a:pt x="2789488" y="5291825"/>
                  <a:pt x="2791347" y="5290483"/>
                </a:cubicBezTo>
                <a:close/>
                <a:moveTo>
                  <a:pt x="1716057" y="5289244"/>
                </a:moveTo>
                <a:cubicBezTo>
                  <a:pt x="1716832" y="5289347"/>
                  <a:pt x="1716832" y="5290174"/>
                  <a:pt x="1717606" y="5290999"/>
                </a:cubicBezTo>
                <a:cubicBezTo>
                  <a:pt x="1718226" y="5292755"/>
                  <a:pt x="1717916" y="5295336"/>
                  <a:pt x="1716987" y="5296162"/>
                </a:cubicBezTo>
                <a:cubicBezTo>
                  <a:pt x="1716057" y="5296988"/>
                  <a:pt x="1715283" y="5296988"/>
                  <a:pt x="1715283" y="5296988"/>
                </a:cubicBezTo>
                <a:cubicBezTo>
                  <a:pt x="1714043" y="5296059"/>
                  <a:pt x="1713115" y="5295026"/>
                  <a:pt x="1712960" y="5293787"/>
                </a:cubicBezTo>
                <a:cubicBezTo>
                  <a:pt x="1712649" y="5292651"/>
                  <a:pt x="1712960" y="5291412"/>
                  <a:pt x="1714353" y="5290174"/>
                </a:cubicBezTo>
                <a:cubicBezTo>
                  <a:pt x="1715283" y="5289244"/>
                  <a:pt x="1716212" y="5288418"/>
                  <a:pt x="1716057" y="5289244"/>
                </a:cubicBezTo>
                <a:close/>
                <a:moveTo>
                  <a:pt x="2453363" y="5283772"/>
                </a:moveTo>
                <a:cubicBezTo>
                  <a:pt x="2456616" y="5291929"/>
                  <a:pt x="2450110" y="5302151"/>
                  <a:pt x="2445463" y="5306281"/>
                </a:cubicBezTo>
                <a:cubicBezTo>
                  <a:pt x="2442366" y="5298227"/>
                  <a:pt x="2447787" y="5286663"/>
                  <a:pt x="2453363" y="5283772"/>
                </a:cubicBezTo>
                <a:close/>
                <a:moveTo>
                  <a:pt x="2386603" y="5283358"/>
                </a:moveTo>
                <a:cubicBezTo>
                  <a:pt x="2386603" y="5283358"/>
                  <a:pt x="2386603" y="5283358"/>
                  <a:pt x="2387377" y="5283358"/>
                </a:cubicBezTo>
                <a:cubicBezTo>
                  <a:pt x="2386293" y="5286869"/>
                  <a:pt x="2386603" y="5291309"/>
                  <a:pt x="2384744" y="5293890"/>
                </a:cubicBezTo>
                <a:cubicBezTo>
                  <a:pt x="2384279" y="5294407"/>
                  <a:pt x="2383815" y="5294820"/>
                  <a:pt x="2383195" y="5294923"/>
                </a:cubicBezTo>
                <a:cubicBezTo>
                  <a:pt x="2382730" y="5295026"/>
                  <a:pt x="2382111" y="5294717"/>
                  <a:pt x="2381336" y="5293890"/>
                </a:cubicBezTo>
                <a:cubicBezTo>
                  <a:pt x="2380562" y="5293374"/>
                  <a:pt x="2380252" y="5292961"/>
                  <a:pt x="2380252" y="5292342"/>
                </a:cubicBezTo>
                <a:cubicBezTo>
                  <a:pt x="2380407" y="5291619"/>
                  <a:pt x="2380872" y="5290793"/>
                  <a:pt x="2381801" y="5289450"/>
                </a:cubicBezTo>
                <a:cubicBezTo>
                  <a:pt x="2383660" y="5287798"/>
                  <a:pt x="2384744" y="5285940"/>
                  <a:pt x="2385519" y="5286043"/>
                </a:cubicBezTo>
                <a:cubicBezTo>
                  <a:pt x="2385673" y="5285114"/>
                  <a:pt x="2386448" y="5284184"/>
                  <a:pt x="2386603" y="5283358"/>
                </a:cubicBezTo>
                <a:close/>
                <a:moveTo>
                  <a:pt x="2618483" y="5283049"/>
                </a:moveTo>
                <a:cubicBezTo>
                  <a:pt x="2623129" y="5289141"/>
                  <a:pt x="2615539" y="5297091"/>
                  <a:pt x="2609034" y="5301325"/>
                </a:cubicBezTo>
                <a:lnTo>
                  <a:pt x="2607175" y="5302254"/>
                </a:lnTo>
                <a:lnTo>
                  <a:pt x="2607330" y="5302668"/>
                </a:lnTo>
                <a:cubicBezTo>
                  <a:pt x="2606246" y="5304423"/>
                  <a:pt x="2604387" y="5304526"/>
                  <a:pt x="2602528" y="5304733"/>
                </a:cubicBezTo>
                <a:cubicBezTo>
                  <a:pt x="2601134" y="5304629"/>
                  <a:pt x="2600205" y="5304113"/>
                  <a:pt x="2600050" y="5303287"/>
                </a:cubicBezTo>
                <a:cubicBezTo>
                  <a:pt x="2599740" y="5302461"/>
                  <a:pt x="2599895" y="5301428"/>
                  <a:pt x="2600205" y="5300189"/>
                </a:cubicBezTo>
                <a:cubicBezTo>
                  <a:pt x="2600979" y="5297814"/>
                  <a:pt x="2602838" y="5297608"/>
                  <a:pt x="2602838" y="5297608"/>
                </a:cubicBezTo>
                <a:lnTo>
                  <a:pt x="2606091" y="5298950"/>
                </a:lnTo>
                <a:lnTo>
                  <a:pt x="2609653" y="5292239"/>
                </a:lnTo>
                <a:cubicBezTo>
                  <a:pt x="2612132" y="5288212"/>
                  <a:pt x="2615075" y="5284701"/>
                  <a:pt x="2618483" y="5283049"/>
                </a:cubicBezTo>
                <a:close/>
                <a:moveTo>
                  <a:pt x="1985887" y="5281500"/>
                </a:moveTo>
                <a:cubicBezTo>
                  <a:pt x="1986506" y="5282326"/>
                  <a:pt x="1987281" y="5282326"/>
                  <a:pt x="1986351" y="5284081"/>
                </a:cubicBezTo>
                <a:cubicBezTo>
                  <a:pt x="1986196" y="5284907"/>
                  <a:pt x="1985267" y="5285733"/>
                  <a:pt x="1985267" y="5286663"/>
                </a:cubicBezTo>
                <a:cubicBezTo>
                  <a:pt x="1985267" y="5286663"/>
                  <a:pt x="1984648" y="5286869"/>
                  <a:pt x="1983873" y="5286973"/>
                </a:cubicBezTo>
                <a:cubicBezTo>
                  <a:pt x="1983098" y="5287076"/>
                  <a:pt x="1982324" y="5287076"/>
                  <a:pt x="1982014" y="5286663"/>
                </a:cubicBezTo>
                <a:cubicBezTo>
                  <a:pt x="1981549" y="5286456"/>
                  <a:pt x="1981394" y="5286043"/>
                  <a:pt x="1981394" y="5285630"/>
                </a:cubicBezTo>
                <a:cubicBezTo>
                  <a:pt x="1981549" y="5284494"/>
                  <a:pt x="1983098" y="5282945"/>
                  <a:pt x="1983254" y="5282222"/>
                </a:cubicBezTo>
                <a:cubicBezTo>
                  <a:pt x="1984182" y="5281397"/>
                  <a:pt x="1985112" y="5280571"/>
                  <a:pt x="1985887" y="5281500"/>
                </a:cubicBezTo>
                <a:close/>
                <a:moveTo>
                  <a:pt x="2677963" y="5279022"/>
                </a:moveTo>
                <a:cubicBezTo>
                  <a:pt x="2680751" y="5277989"/>
                  <a:pt x="2686017" y="5280571"/>
                  <a:pt x="2686482" y="5283978"/>
                </a:cubicBezTo>
                <a:cubicBezTo>
                  <a:pt x="2686637" y="5285114"/>
                  <a:pt x="2686327" y="5286353"/>
                  <a:pt x="2685088" y="5287592"/>
                </a:cubicBezTo>
                <a:cubicBezTo>
                  <a:pt x="2684004" y="5288315"/>
                  <a:pt x="2683075" y="5288728"/>
                  <a:pt x="2682300" y="5288831"/>
                </a:cubicBezTo>
                <a:cubicBezTo>
                  <a:pt x="2679667" y="5289141"/>
                  <a:pt x="2677498" y="5286869"/>
                  <a:pt x="2675484" y="5284081"/>
                </a:cubicBezTo>
                <a:cubicBezTo>
                  <a:pt x="2676569" y="5282429"/>
                  <a:pt x="2676878" y="5280674"/>
                  <a:pt x="2677963" y="5279022"/>
                </a:cubicBezTo>
                <a:close/>
                <a:moveTo>
                  <a:pt x="2629171" y="5277989"/>
                </a:moveTo>
                <a:cubicBezTo>
                  <a:pt x="2630874" y="5277163"/>
                  <a:pt x="2633662" y="5275408"/>
                  <a:pt x="2636915" y="5278092"/>
                </a:cubicBezTo>
                <a:cubicBezTo>
                  <a:pt x="2637690" y="5279022"/>
                  <a:pt x="2637690" y="5279022"/>
                  <a:pt x="2637535" y="5279951"/>
                </a:cubicBezTo>
                <a:cubicBezTo>
                  <a:pt x="2638154" y="5281706"/>
                  <a:pt x="2639084" y="5282532"/>
                  <a:pt x="2637999" y="5284288"/>
                </a:cubicBezTo>
                <a:cubicBezTo>
                  <a:pt x="2636915" y="5285630"/>
                  <a:pt x="2636141" y="5286043"/>
                  <a:pt x="2635211" y="5285940"/>
                </a:cubicBezTo>
                <a:cubicBezTo>
                  <a:pt x="2634127" y="5285837"/>
                  <a:pt x="2633198" y="5285114"/>
                  <a:pt x="2631959" y="5284184"/>
                </a:cubicBezTo>
                <a:cubicBezTo>
                  <a:pt x="2630719" y="5283255"/>
                  <a:pt x="2630410" y="5282222"/>
                  <a:pt x="2630255" y="5281087"/>
                </a:cubicBezTo>
                <a:cubicBezTo>
                  <a:pt x="2630100" y="5279951"/>
                  <a:pt x="2629945" y="5278918"/>
                  <a:pt x="2629171" y="5277989"/>
                </a:cubicBezTo>
                <a:close/>
                <a:moveTo>
                  <a:pt x="2410611" y="5276750"/>
                </a:moveTo>
                <a:cubicBezTo>
                  <a:pt x="2410611" y="5276750"/>
                  <a:pt x="2410767" y="5277989"/>
                  <a:pt x="2411541" y="5278402"/>
                </a:cubicBezTo>
                <a:cubicBezTo>
                  <a:pt x="2411541" y="5278402"/>
                  <a:pt x="2411696" y="5279538"/>
                  <a:pt x="2411851" y="5280674"/>
                </a:cubicBezTo>
                <a:cubicBezTo>
                  <a:pt x="2411851" y="5280674"/>
                  <a:pt x="2412625" y="5281087"/>
                  <a:pt x="2413245" y="5281500"/>
                </a:cubicBezTo>
                <a:cubicBezTo>
                  <a:pt x="2414329" y="5284288"/>
                  <a:pt x="2415258" y="5285940"/>
                  <a:pt x="2412625" y="5288418"/>
                </a:cubicBezTo>
                <a:cubicBezTo>
                  <a:pt x="2412315" y="5288212"/>
                  <a:pt x="2412006" y="5287592"/>
                  <a:pt x="2411851" y="5286766"/>
                </a:cubicBezTo>
                <a:cubicBezTo>
                  <a:pt x="2411696" y="5285940"/>
                  <a:pt x="2411541" y="5285114"/>
                  <a:pt x="2411386" y="5284494"/>
                </a:cubicBezTo>
                <a:cubicBezTo>
                  <a:pt x="2410767" y="5284081"/>
                  <a:pt x="2410457" y="5282945"/>
                  <a:pt x="2410922" y="5282222"/>
                </a:cubicBezTo>
                <a:cubicBezTo>
                  <a:pt x="2410922" y="5282222"/>
                  <a:pt x="2410767" y="5280983"/>
                  <a:pt x="2410147" y="5280571"/>
                </a:cubicBezTo>
                <a:cubicBezTo>
                  <a:pt x="2409682" y="5278196"/>
                  <a:pt x="2410147" y="5277473"/>
                  <a:pt x="2410611" y="5276750"/>
                </a:cubicBezTo>
                <a:close/>
                <a:moveTo>
                  <a:pt x="2695776" y="5273136"/>
                </a:moveTo>
                <a:cubicBezTo>
                  <a:pt x="2700423" y="5276853"/>
                  <a:pt x="2701507" y="5281500"/>
                  <a:pt x="2702436" y="5286146"/>
                </a:cubicBezTo>
                <a:cubicBezTo>
                  <a:pt x="2700887" y="5288521"/>
                  <a:pt x="2699493" y="5289450"/>
                  <a:pt x="2698254" y="5289554"/>
                </a:cubicBezTo>
                <a:cubicBezTo>
                  <a:pt x="2694537" y="5289760"/>
                  <a:pt x="2691903" y="5281706"/>
                  <a:pt x="2689270" y="5277783"/>
                </a:cubicBezTo>
                <a:cubicBezTo>
                  <a:pt x="2691284" y="5274685"/>
                  <a:pt x="2692368" y="5274065"/>
                  <a:pt x="2695776" y="5273136"/>
                </a:cubicBezTo>
                <a:close/>
                <a:moveTo>
                  <a:pt x="2373591" y="5271897"/>
                </a:moveTo>
                <a:lnTo>
                  <a:pt x="2374366" y="5273239"/>
                </a:lnTo>
                <a:lnTo>
                  <a:pt x="2377464" y="5273755"/>
                </a:lnTo>
                <a:cubicBezTo>
                  <a:pt x="2379322" y="5272930"/>
                  <a:pt x="2380252" y="5271278"/>
                  <a:pt x="2381956" y="5272104"/>
                </a:cubicBezTo>
                <a:cubicBezTo>
                  <a:pt x="2379168" y="5273755"/>
                  <a:pt x="2378238" y="5274582"/>
                  <a:pt x="2376534" y="5275408"/>
                </a:cubicBezTo>
                <a:lnTo>
                  <a:pt x="2376070" y="5276544"/>
                </a:lnTo>
                <a:lnTo>
                  <a:pt x="2376070" y="5276750"/>
                </a:lnTo>
                <a:lnTo>
                  <a:pt x="2375760" y="5277060"/>
                </a:lnTo>
                <a:lnTo>
                  <a:pt x="2375450" y="5277989"/>
                </a:lnTo>
                <a:lnTo>
                  <a:pt x="2374986" y="5278092"/>
                </a:lnTo>
                <a:lnTo>
                  <a:pt x="2373902" y="5280261"/>
                </a:lnTo>
                <a:cubicBezTo>
                  <a:pt x="2373127" y="5282119"/>
                  <a:pt x="2372352" y="5283978"/>
                  <a:pt x="2372352" y="5283978"/>
                </a:cubicBezTo>
                <a:cubicBezTo>
                  <a:pt x="2371268" y="5284288"/>
                  <a:pt x="2370648" y="5284494"/>
                  <a:pt x="2370184" y="5284288"/>
                </a:cubicBezTo>
                <a:cubicBezTo>
                  <a:pt x="2369874" y="5283978"/>
                  <a:pt x="2369564" y="5283358"/>
                  <a:pt x="2369099" y="5281913"/>
                </a:cubicBezTo>
                <a:lnTo>
                  <a:pt x="2369719" y="5278609"/>
                </a:lnTo>
                <a:lnTo>
                  <a:pt x="2369409" y="5277783"/>
                </a:lnTo>
                <a:cubicBezTo>
                  <a:pt x="2369409" y="5277060"/>
                  <a:pt x="2369719" y="5276234"/>
                  <a:pt x="2370648" y="5275305"/>
                </a:cubicBezTo>
                <a:lnTo>
                  <a:pt x="2371578" y="5274788"/>
                </a:lnTo>
                <a:close/>
                <a:moveTo>
                  <a:pt x="2711575" y="5269522"/>
                </a:moveTo>
                <a:cubicBezTo>
                  <a:pt x="2714518" y="5269729"/>
                  <a:pt x="2714673" y="5272826"/>
                  <a:pt x="2715912" y="5276234"/>
                </a:cubicBezTo>
                <a:cubicBezTo>
                  <a:pt x="2714828" y="5275924"/>
                  <a:pt x="2714518" y="5277060"/>
                  <a:pt x="2714364" y="5278299"/>
                </a:cubicBezTo>
                <a:cubicBezTo>
                  <a:pt x="2713434" y="5277989"/>
                  <a:pt x="2712350" y="5277783"/>
                  <a:pt x="2711265" y="5277370"/>
                </a:cubicBezTo>
                <a:lnTo>
                  <a:pt x="2709717" y="5276027"/>
                </a:lnTo>
                <a:lnTo>
                  <a:pt x="2711421" y="5279848"/>
                </a:lnTo>
                <a:cubicBezTo>
                  <a:pt x="2709871" y="5282326"/>
                  <a:pt x="2712505" y="5286766"/>
                  <a:pt x="2710181" y="5290174"/>
                </a:cubicBezTo>
                <a:cubicBezTo>
                  <a:pt x="2704915" y="5286456"/>
                  <a:pt x="2704295" y="5272516"/>
                  <a:pt x="2706773" y="5270039"/>
                </a:cubicBezTo>
                <a:lnTo>
                  <a:pt x="2708787" y="5273962"/>
                </a:lnTo>
                <a:lnTo>
                  <a:pt x="2708632" y="5272516"/>
                </a:lnTo>
                <a:cubicBezTo>
                  <a:pt x="2708167" y="5271794"/>
                  <a:pt x="2710336" y="5269212"/>
                  <a:pt x="2711575" y="5269522"/>
                </a:cubicBezTo>
                <a:close/>
                <a:moveTo>
                  <a:pt x="2296918" y="5268077"/>
                </a:moveTo>
                <a:cubicBezTo>
                  <a:pt x="2299551" y="5266424"/>
                  <a:pt x="2305747" y="5270761"/>
                  <a:pt x="2307915" y="5273343"/>
                </a:cubicBezTo>
                <a:cubicBezTo>
                  <a:pt x="2307296" y="5273755"/>
                  <a:pt x="2306366" y="5273859"/>
                  <a:pt x="2305437" y="5273652"/>
                </a:cubicBezTo>
                <a:cubicBezTo>
                  <a:pt x="2302494" y="5272930"/>
                  <a:pt x="2298622" y="5270039"/>
                  <a:pt x="2296918" y="5268077"/>
                </a:cubicBezTo>
                <a:close/>
                <a:moveTo>
                  <a:pt x="2441436" y="5266424"/>
                </a:moveTo>
                <a:cubicBezTo>
                  <a:pt x="2441436" y="5266424"/>
                  <a:pt x="2441591" y="5267663"/>
                  <a:pt x="2441901" y="5268799"/>
                </a:cubicBezTo>
                <a:cubicBezTo>
                  <a:pt x="2442056" y="5270039"/>
                  <a:pt x="2442056" y="5270039"/>
                  <a:pt x="2443140" y="5269729"/>
                </a:cubicBezTo>
                <a:cubicBezTo>
                  <a:pt x="2443450" y="5270968"/>
                  <a:pt x="2443450" y="5270968"/>
                  <a:pt x="2442366" y="5272413"/>
                </a:cubicBezTo>
                <a:cubicBezTo>
                  <a:pt x="2442211" y="5271278"/>
                  <a:pt x="2440197" y="5266734"/>
                  <a:pt x="2441436" y="5266424"/>
                </a:cubicBezTo>
                <a:close/>
                <a:moveTo>
                  <a:pt x="2633972" y="5265082"/>
                </a:moveTo>
                <a:cubicBezTo>
                  <a:pt x="2635211" y="5264772"/>
                  <a:pt x="2636296" y="5264463"/>
                  <a:pt x="2636605" y="5265702"/>
                </a:cubicBezTo>
                <a:cubicBezTo>
                  <a:pt x="2636605" y="5265702"/>
                  <a:pt x="2635986" y="5266424"/>
                  <a:pt x="2633662" y="5267044"/>
                </a:cubicBezTo>
                <a:cubicBezTo>
                  <a:pt x="2634127" y="5266321"/>
                  <a:pt x="2633508" y="5265908"/>
                  <a:pt x="2633508" y="5265908"/>
                </a:cubicBezTo>
                <a:cubicBezTo>
                  <a:pt x="2633508" y="5265908"/>
                  <a:pt x="2633508" y="5265805"/>
                  <a:pt x="2633043" y="5266528"/>
                </a:cubicBezTo>
                <a:cubicBezTo>
                  <a:pt x="2633043" y="5266011"/>
                  <a:pt x="2633198" y="5265598"/>
                  <a:pt x="2633508" y="5265392"/>
                </a:cubicBezTo>
                <a:cubicBezTo>
                  <a:pt x="2633662" y="5265185"/>
                  <a:pt x="2633972" y="5265082"/>
                  <a:pt x="2633972" y="5265082"/>
                </a:cubicBezTo>
                <a:close/>
                <a:moveTo>
                  <a:pt x="2640633" y="5263946"/>
                </a:moveTo>
                <a:cubicBezTo>
                  <a:pt x="2642337" y="5262914"/>
                  <a:pt x="2642956" y="5263327"/>
                  <a:pt x="2643421" y="5265702"/>
                </a:cubicBezTo>
                <a:cubicBezTo>
                  <a:pt x="2642646" y="5266218"/>
                  <a:pt x="2641252" y="5266631"/>
                  <a:pt x="2639858" y="5266631"/>
                </a:cubicBezTo>
                <a:cubicBezTo>
                  <a:pt x="2638464" y="5266631"/>
                  <a:pt x="2637070" y="5266321"/>
                  <a:pt x="2636605" y="5265495"/>
                </a:cubicBezTo>
                <a:cubicBezTo>
                  <a:pt x="2638309" y="5264566"/>
                  <a:pt x="2639549" y="5264256"/>
                  <a:pt x="2640633" y="5263946"/>
                </a:cubicBezTo>
                <a:close/>
                <a:moveTo>
                  <a:pt x="2491313" y="5263843"/>
                </a:moveTo>
                <a:cubicBezTo>
                  <a:pt x="2493171" y="5264669"/>
                  <a:pt x="2495495" y="5263533"/>
                  <a:pt x="2497354" y="5265185"/>
                </a:cubicBezTo>
                <a:cubicBezTo>
                  <a:pt x="2497354" y="5265185"/>
                  <a:pt x="2498283" y="5266115"/>
                  <a:pt x="2498593" y="5267767"/>
                </a:cubicBezTo>
                <a:cubicBezTo>
                  <a:pt x="2500606" y="5270348"/>
                  <a:pt x="2498438" y="5273033"/>
                  <a:pt x="2498438" y="5273033"/>
                </a:cubicBezTo>
                <a:cubicBezTo>
                  <a:pt x="2498438" y="5273033"/>
                  <a:pt x="2498438" y="5273033"/>
                  <a:pt x="2499367" y="5273033"/>
                </a:cubicBezTo>
                <a:cubicBezTo>
                  <a:pt x="2497663" y="5273136"/>
                  <a:pt x="2496114" y="5274065"/>
                  <a:pt x="2494411" y="5274169"/>
                </a:cubicBezTo>
                <a:cubicBezTo>
                  <a:pt x="2487130" y="5269419"/>
                  <a:pt x="2489299" y="5267457"/>
                  <a:pt x="2491313" y="5263843"/>
                </a:cubicBezTo>
                <a:close/>
                <a:moveTo>
                  <a:pt x="1541082" y="5263804"/>
                </a:moveTo>
                <a:cubicBezTo>
                  <a:pt x="1542961" y="5263068"/>
                  <a:pt x="1545284" y="5263430"/>
                  <a:pt x="1546291" y="5264669"/>
                </a:cubicBezTo>
                <a:cubicBezTo>
                  <a:pt x="1546291" y="5267973"/>
                  <a:pt x="1543503" y="5270142"/>
                  <a:pt x="1540869" y="5270142"/>
                </a:cubicBezTo>
                <a:cubicBezTo>
                  <a:pt x="1540095" y="5270245"/>
                  <a:pt x="1539165" y="5269935"/>
                  <a:pt x="1538546" y="5269522"/>
                </a:cubicBezTo>
                <a:cubicBezTo>
                  <a:pt x="1537772" y="5266373"/>
                  <a:pt x="1539205" y="5264540"/>
                  <a:pt x="1541082" y="5263804"/>
                </a:cubicBezTo>
                <a:close/>
                <a:moveTo>
                  <a:pt x="2169129" y="5262294"/>
                </a:moveTo>
                <a:cubicBezTo>
                  <a:pt x="2175634" y="5265082"/>
                  <a:pt x="2179042" y="5265082"/>
                  <a:pt x="2183844" y="5267870"/>
                </a:cubicBezTo>
                <a:cubicBezTo>
                  <a:pt x="2183689" y="5268799"/>
                  <a:pt x="2182915" y="5268696"/>
                  <a:pt x="2182760" y="5269625"/>
                </a:cubicBezTo>
                <a:cubicBezTo>
                  <a:pt x="2182295" y="5270039"/>
                  <a:pt x="2181521" y="5270245"/>
                  <a:pt x="2180436" y="5270142"/>
                </a:cubicBezTo>
                <a:cubicBezTo>
                  <a:pt x="2177338" y="5270142"/>
                  <a:pt x="2172846" y="5268386"/>
                  <a:pt x="2172846" y="5267663"/>
                </a:cubicBezTo>
                <a:cubicBezTo>
                  <a:pt x="2172072" y="5267663"/>
                  <a:pt x="2172072" y="5266734"/>
                  <a:pt x="2171298" y="5266734"/>
                </a:cubicBezTo>
                <a:cubicBezTo>
                  <a:pt x="2171298" y="5266734"/>
                  <a:pt x="2170523" y="5266734"/>
                  <a:pt x="2169748" y="5265908"/>
                </a:cubicBezTo>
                <a:cubicBezTo>
                  <a:pt x="2169284" y="5265392"/>
                  <a:pt x="2168974" y="5264979"/>
                  <a:pt x="2168819" y="5264359"/>
                </a:cubicBezTo>
                <a:cubicBezTo>
                  <a:pt x="2168665" y="5263843"/>
                  <a:pt x="2168665" y="5263223"/>
                  <a:pt x="2169129" y="5262294"/>
                </a:cubicBezTo>
                <a:close/>
                <a:moveTo>
                  <a:pt x="2786080" y="5262191"/>
                </a:moveTo>
                <a:cubicBezTo>
                  <a:pt x="2787939" y="5262191"/>
                  <a:pt x="2787164" y="5262604"/>
                  <a:pt x="2788249" y="5262914"/>
                </a:cubicBezTo>
                <a:cubicBezTo>
                  <a:pt x="2789333" y="5263327"/>
                  <a:pt x="2791192" y="5263430"/>
                  <a:pt x="2791966" y="5263017"/>
                </a:cubicBezTo>
                <a:cubicBezTo>
                  <a:pt x="2790882" y="5267354"/>
                  <a:pt x="2793670" y="5267767"/>
                  <a:pt x="2791656" y="5274375"/>
                </a:cubicBezTo>
                <a:cubicBezTo>
                  <a:pt x="2789952" y="5280880"/>
                  <a:pt x="2786235" y="5283049"/>
                  <a:pt x="2782673" y="5283462"/>
                </a:cubicBezTo>
                <a:cubicBezTo>
                  <a:pt x="2781589" y="5283565"/>
                  <a:pt x="2780349" y="5283462"/>
                  <a:pt x="2779420" y="5283255"/>
                </a:cubicBezTo>
                <a:cubicBezTo>
                  <a:pt x="2779730" y="5282429"/>
                  <a:pt x="2774308" y="5281190"/>
                  <a:pt x="2772604" y="5276544"/>
                </a:cubicBezTo>
                <a:cubicBezTo>
                  <a:pt x="2772140" y="5274995"/>
                  <a:pt x="2771985" y="5273136"/>
                  <a:pt x="2772759" y="5270658"/>
                </a:cubicBezTo>
                <a:cubicBezTo>
                  <a:pt x="2774308" y="5265185"/>
                  <a:pt x="2777716" y="5259816"/>
                  <a:pt x="2786080" y="5262191"/>
                </a:cubicBezTo>
                <a:close/>
                <a:moveTo>
                  <a:pt x="1940967" y="5261881"/>
                </a:moveTo>
                <a:cubicBezTo>
                  <a:pt x="1942826" y="5259300"/>
                  <a:pt x="1945149" y="5261055"/>
                  <a:pt x="1948247" y="5261984"/>
                </a:cubicBezTo>
                <a:cubicBezTo>
                  <a:pt x="1947472" y="5262811"/>
                  <a:pt x="1948092" y="5263740"/>
                  <a:pt x="1948866" y="5264566"/>
                </a:cubicBezTo>
                <a:cubicBezTo>
                  <a:pt x="1947472" y="5265908"/>
                  <a:pt x="1945614" y="5268077"/>
                  <a:pt x="1943445" y="5267663"/>
                </a:cubicBezTo>
                <a:cubicBezTo>
                  <a:pt x="1942826" y="5267560"/>
                  <a:pt x="1942051" y="5267044"/>
                  <a:pt x="1941276" y="5266218"/>
                </a:cubicBezTo>
                <a:cubicBezTo>
                  <a:pt x="1940812" y="5266218"/>
                  <a:pt x="1940502" y="5265288"/>
                  <a:pt x="1940502" y="5264359"/>
                </a:cubicBezTo>
                <a:cubicBezTo>
                  <a:pt x="1940347" y="5263327"/>
                  <a:pt x="1940502" y="5262294"/>
                  <a:pt x="1940967" y="5261881"/>
                </a:cubicBezTo>
                <a:close/>
                <a:moveTo>
                  <a:pt x="2278950" y="5261778"/>
                </a:moveTo>
                <a:cubicBezTo>
                  <a:pt x="2279725" y="5262604"/>
                  <a:pt x="2280500" y="5263533"/>
                  <a:pt x="2280344" y="5265288"/>
                </a:cubicBezTo>
                <a:cubicBezTo>
                  <a:pt x="2278486" y="5267044"/>
                  <a:pt x="2276162" y="5266011"/>
                  <a:pt x="2275233" y="5266941"/>
                </a:cubicBezTo>
                <a:cubicBezTo>
                  <a:pt x="2275233" y="5266011"/>
                  <a:pt x="2275388" y="5264359"/>
                  <a:pt x="2273839" y="5263430"/>
                </a:cubicBezTo>
                <a:cubicBezTo>
                  <a:pt x="2275698" y="5261675"/>
                  <a:pt x="2277556" y="5260022"/>
                  <a:pt x="2278950" y="5261778"/>
                </a:cubicBezTo>
                <a:close/>
                <a:moveTo>
                  <a:pt x="2843082" y="5260539"/>
                </a:moveTo>
                <a:cubicBezTo>
                  <a:pt x="2844476" y="5260849"/>
                  <a:pt x="2845560" y="5261778"/>
                  <a:pt x="2846180" y="5263430"/>
                </a:cubicBezTo>
                <a:cubicBezTo>
                  <a:pt x="2845870" y="5264772"/>
                  <a:pt x="2845406" y="5265598"/>
                  <a:pt x="2844786" y="5266115"/>
                </a:cubicBezTo>
                <a:lnTo>
                  <a:pt x="2843856" y="5266528"/>
                </a:lnTo>
                <a:lnTo>
                  <a:pt x="2844011" y="5269109"/>
                </a:lnTo>
                <a:cubicBezTo>
                  <a:pt x="2843392" y="5271587"/>
                  <a:pt x="2841378" y="5273446"/>
                  <a:pt x="2839055" y="5273859"/>
                </a:cubicBezTo>
                <a:cubicBezTo>
                  <a:pt x="2837506" y="5274169"/>
                  <a:pt x="2835802" y="5273755"/>
                  <a:pt x="2834253" y="5272413"/>
                </a:cubicBezTo>
                <a:cubicBezTo>
                  <a:pt x="2834718" y="5268489"/>
                  <a:pt x="2834718" y="5264153"/>
                  <a:pt x="2837196" y="5262294"/>
                </a:cubicBezTo>
                <a:lnTo>
                  <a:pt x="2837351" y="5262294"/>
                </a:lnTo>
                <a:cubicBezTo>
                  <a:pt x="2838900" y="5260745"/>
                  <a:pt x="2841223" y="5260022"/>
                  <a:pt x="2843082" y="5260539"/>
                </a:cubicBezTo>
                <a:close/>
                <a:moveTo>
                  <a:pt x="2677653" y="5260022"/>
                </a:moveTo>
                <a:cubicBezTo>
                  <a:pt x="2678428" y="5260436"/>
                  <a:pt x="2680286" y="5260642"/>
                  <a:pt x="2680441" y="5261778"/>
                </a:cubicBezTo>
                <a:cubicBezTo>
                  <a:pt x="2680596" y="5263017"/>
                  <a:pt x="2680596" y="5262914"/>
                  <a:pt x="2679667" y="5264463"/>
                </a:cubicBezTo>
                <a:cubicBezTo>
                  <a:pt x="2678892" y="5263430"/>
                  <a:pt x="2678428" y="5262914"/>
                  <a:pt x="2678273" y="5262294"/>
                </a:cubicBezTo>
                <a:cubicBezTo>
                  <a:pt x="2677963" y="5261778"/>
                  <a:pt x="2677808" y="5261158"/>
                  <a:pt x="2677653" y="5260022"/>
                </a:cubicBezTo>
                <a:close/>
                <a:moveTo>
                  <a:pt x="2875146" y="5259506"/>
                </a:moveTo>
                <a:cubicBezTo>
                  <a:pt x="2874526" y="5260126"/>
                  <a:pt x="2873907" y="5261778"/>
                  <a:pt x="2872977" y="5262088"/>
                </a:cubicBezTo>
                <a:cubicBezTo>
                  <a:pt x="2872667" y="5262294"/>
                  <a:pt x="2872357" y="5262191"/>
                  <a:pt x="2871893" y="5261984"/>
                </a:cubicBezTo>
                <a:cubicBezTo>
                  <a:pt x="2872667" y="5260332"/>
                  <a:pt x="2873442" y="5259506"/>
                  <a:pt x="2875146" y="5259506"/>
                </a:cubicBezTo>
                <a:close/>
                <a:moveTo>
                  <a:pt x="1612896" y="5258990"/>
                </a:moveTo>
                <a:cubicBezTo>
                  <a:pt x="1614445" y="5259816"/>
                  <a:pt x="1615220" y="5260745"/>
                  <a:pt x="1616769" y="5261572"/>
                </a:cubicBezTo>
                <a:cubicBezTo>
                  <a:pt x="1616614" y="5264256"/>
                  <a:pt x="1618783" y="5266838"/>
                  <a:pt x="1614910" y="5272000"/>
                </a:cubicBezTo>
                <a:cubicBezTo>
                  <a:pt x="1610263" y="5277163"/>
                  <a:pt x="1605617" y="5272723"/>
                  <a:pt x="1605462" y="5273652"/>
                </a:cubicBezTo>
                <a:cubicBezTo>
                  <a:pt x="1604532" y="5274478"/>
                  <a:pt x="1604532" y="5274478"/>
                  <a:pt x="1604532" y="5275305"/>
                </a:cubicBezTo>
                <a:cubicBezTo>
                  <a:pt x="1603602" y="5275305"/>
                  <a:pt x="1601898" y="5276130"/>
                  <a:pt x="1600969" y="5276956"/>
                </a:cubicBezTo>
                <a:cubicBezTo>
                  <a:pt x="1600969" y="5276130"/>
                  <a:pt x="1601124" y="5275201"/>
                  <a:pt x="1600350" y="5275201"/>
                </a:cubicBezTo>
                <a:cubicBezTo>
                  <a:pt x="1602208" y="5273549"/>
                  <a:pt x="1602983" y="5273549"/>
                  <a:pt x="1603913" y="5272723"/>
                </a:cubicBezTo>
                <a:cubicBezTo>
                  <a:pt x="1603138" y="5272723"/>
                  <a:pt x="1603913" y="5271897"/>
                  <a:pt x="1603913" y="5271897"/>
                </a:cubicBezTo>
                <a:cubicBezTo>
                  <a:pt x="1603913" y="5271897"/>
                  <a:pt x="1604067" y="5271794"/>
                  <a:pt x="1602518" y="5270039"/>
                </a:cubicBezTo>
                <a:cubicBezTo>
                  <a:pt x="1602518" y="5270039"/>
                  <a:pt x="1599575" y="5265702"/>
                  <a:pt x="1603448" y="5261365"/>
                </a:cubicBezTo>
                <a:cubicBezTo>
                  <a:pt x="1604222" y="5262294"/>
                  <a:pt x="1609643" y="5257131"/>
                  <a:pt x="1612896" y="5258990"/>
                </a:cubicBezTo>
                <a:close/>
                <a:moveTo>
                  <a:pt x="2675794" y="5258680"/>
                </a:moveTo>
                <a:cubicBezTo>
                  <a:pt x="2676104" y="5257957"/>
                  <a:pt x="2676878" y="5258474"/>
                  <a:pt x="2677188" y="5259610"/>
                </a:cubicBezTo>
                <a:cubicBezTo>
                  <a:pt x="2677188" y="5259610"/>
                  <a:pt x="2676724" y="5260332"/>
                  <a:pt x="2676724" y="5260332"/>
                </a:cubicBezTo>
                <a:cubicBezTo>
                  <a:pt x="2676414" y="5260126"/>
                  <a:pt x="2675949" y="5259816"/>
                  <a:pt x="2675794" y="5259506"/>
                </a:cubicBezTo>
                <a:cubicBezTo>
                  <a:pt x="2675639" y="5259300"/>
                  <a:pt x="2675484" y="5258990"/>
                  <a:pt x="2675794" y="5258680"/>
                </a:cubicBezTo>
                <a:close/>
                <a:moveTo>
                  <a:pt x="2418821" y="5257441"/>
                </a:moveTo>
                <a:cubicBezTo>
                  <a:pt x="2421145" y="5258990"/>
                  <a:pt x="2421919" y="5260952"/>
                  <a:pt x="2421919" y="5262811"/>
                </a:cubicBezTo>
                <a:cubicBezTo>
                  <a:pt x="2421764" y="5265908"/>
                  <a:pt x="2418976" y="5268799"/>
                  <a:pt x="2416033" y="5269625"/>
                </a:cubicBezTo>
                <a:cubicBezTo>
                  <a:pt x="2415104" y="5269832"/>
                  <a:pt x="2414020" y="5269832"/>
                  <a:pt x="2413090" y="5269522"/>
                </a:cubicBezTo>
                <a:cubicBezTo>
                  <a:pt x="2411851" y="5269109"/>
                  <a:pt x="2410611" y="5268180"/>
                  <a:pt x="2409837" y="5266424"/>
                </a:cubicBezTo>
                <a:cubicBezTo>
                  <a:pt x="2410457" y="5262914"/>
                  <a:pt x="2416188" y="5258164"/>
                  <a:pt x="2418821" y="5257441"/>
                </a:cubicBezTo>
                <a:close/>
                <a:moveTo>
                  <a:pt x="2328052" y="5257131"/>
                </a:moveTo>
                <a:lnTo>
                  <a:pt x="2328517" y="5257544"/>
                </a:lnTo>
                <a:lnTo>
                  <a:pt x="2336881" y="5261881"/>
                </a:lnTo>
                <a:cubicBezTo>
                  <a:pt x="2337656" y="5262707"/>
                  <a:pt x="2338895" y="5266218"/>
                  <a:pt x="2337965" y="5267044"/>
                </a:cubicBezTo>
                <a:cubicBezTo>
                  <a:pt x="2337036" y="5267973"/>
                  <a:pt x="2336262" y="5267973"/>
                  <a:pt x="2335487" y="5267973"/>
                </a:cubicBezTo>
                <a:lnTo>
                  <a:pt x="2331615" y="5265702"/>
                </a:lnTo>
                <a:lnTo>
                  <a:pt x="2331615" y="5267560"/>
                </a:lnTo>
                <a:cubicBezTo>
                  <a:pt x="2331150" y="5269625"/>
                  <a:pt x="2330376" y="5271174"/>
                  <a:pt x="2329601" y="5271690"/>
                </a:cubicBezTo>
                <a:cubicBezTo>
                  <a:pt x="2327277" y="5272413"/>
                  <a:pt x="2324025" y="5271381"/>
                  <a:pt x="2323405" y="5267767"/>
                </a:cubicBezTo>
                <a:cubicBezTo>
                  <a:pt x="2322321" y="5264979"/>
                  <a:pt x="2324334" y="5261984"/>
                  <a:pt x="2323715" y="5258371"/>
                </a:cubicBezTo>
                <a:cubicBezTo>
                  <a:pt x="2325729" y="5257544"/>
                  <a:pt x="2326968" y="5257028"/>
                  <a:pt x="2328052" y="5257131"/>
                </a:cubicBezTo>
                <a:close/>
                <a:moveTo>
                  <a:pt x="2376844" y="5256821"/>
                </a:moveTo>
                <a:cubicBezTo>
                  <a:pt x="2378703" y="5258371"/>
                  <a:pt x="2381491" y="5260849"/>
                  <a:pt x="2380252" y="5263637"/>
                </a:cubicBezTo>
                <a:cubicBezTo>
                  <a:pt x="2379478" y="5263637"/>
                  <a:pt x="2379633" y="5264566"/>
                  <a:pt x="2378703" y="5264566"/>
                </a:cubicBezTo>
                <a:cubicBezTo>
                  <a:pt x="2378703" y="5264566"/>
                  <a:pt x="2378083" y="5265082"/>
                  <a:pt x="2376844" y="5265185"/>
                </a:cubicBezTo>
                <a:cubicBezTo>
                  <a:pt x="2376225" y="5265288"/>
                  <a:pt x="2375450" y="5265288"/>
                  <a:pt x="2374676" y="5265185"/>
                </a:cubicBezTo>
                <a:cubicBezTo>
                  <a:pt x="2373902" y="5264979"/>
                  <a:pt x="2372972" y="5264669"/>
                  <a:pt x="2372043" y="5264049"/>
                </a:cubicBezTo>
                <a:cubicBezTo>
                  <a:pt x="2371113" y="5263223"/>
                  <a:pt x="2369099" y="5260745"/>
                  <a:pt x="2369874" y="5260745"/>
                </a:cubicBezTo>
                <a:cubicBezTo>
                  <a:pt x="2370648" y="5259816"/>
                  <a:pt x="2369874" y="5259816"/>
                  <a:pt x="2369719" y="5258887"/>
                </a:cubicBezTo>
                <a:cubicBezTo>
                  <a:pt x="2371733" y="5256099"/>
                  <a:pt x="2374056" y="5255170"/>
                  <a:pt x="2376844" y="5256821"/>
                </a:cubicBezTo>
                <a:close/>
                <a:moveTo>
                  <a:pt x="2436169" y="5256718"/>
                </a:moveTo>
                <a:cubicBezTo>
                  <a:pt x="2437254" y="5256409"/>
                  <a:pt x="2437873" y="5256821"/>
                  <a:pt x="2438648" y="5257338"/>
                </a:cubicBezTo>
                <a:cubicBezTo>
                  <a:pt x="2438803" y="5258474"/>
                  <a:pt x="2438338" y="5259196"/>
                  <a:pt x="2438493" y="5260332"/>
                </a:cubicBezTo>
                <a:cubicBezTo>
                  <a:pt x="2439268" y="5260849"/>
                  <a:pt x="2440507" y="5261675"/>
                  <a:pt x="2440816" y="5262914"/>
                </a:cubicBezTo>
                <a:cubicBezTo>
                  <a:pt x="2440971" y="5264049"/>
                  <a:pt x="2440662" y="5266011"/>
                  <a:pt x="2440662" y="5266011"/>
                </a:cubicBezTo>
                <a:cubicBezTo>
                  <a:pt x="2440042" y="5266115"/>
                  <a:pt x="2439732" y="5266218"/>
                  <a:pt x="2439732" y="5266218"/>
                </a:cubicBezTo>
                <a:cubicBezTo>
                  <a:pt x="2439577" y="5266115"/>
                  <a:pt x="2439732" y="5265908"/>
                  <a:pt x="2440042" y="5265495"/>
                </a:cubicBezTo>
                <a:cubicBezTo>
                  <a:pt x="2439113" y="5263946"/>
                  <a:pt x="2439732" y="5264359"/>
                  <a:pt x="2439577" y="5263223"/>
                </a:cubicBezTo>
                <a:cubicBezTo>
                  <a:pt x="2439423" y="5262088"/>
                  <a:pt x="2436944" y="5258371"/>
                  <a:pt x="2435860" y="5258680"/>
                </a:cubicBezTo>
                <a:cubicBezTo>
                  <a:pt x="2436325" y="5257854"/>
                  <a:pt x="2436169" y="5256718"/>
                  <a:pt x="2436169" y="5256718"/>
                </a:cubicBezTo>
                <a:close/>
                <a:moveTo>
                  <a:pt x="2673471" y="5256202"/>
                </a:moveTo>
                <a:cubicBezTo>
                  <a:pt x="2673781" y="5257338"/>
                  <a:pt x="2674090" y="5256718"/>
                  <a:pt x="2673316" y="5258061"/>
                </a:cubicBezTo>
                <a:cubicBezTo>
                  <a:pt x="2673006" y="5256925"/>
                  <a:pt x="2673006" y="5256925"/>
                  <a:pt x="2672231" y="5256409"/>
                </a:cubicBezTo>
                <a:cubicBezTo>
                  <a:pt x="2672231" y="5256409"/>
                  <a:pt x="2673471" y="5256202"/>
                  <a:pt x="2673471" y="5256202"/>
                </a:cubicBezTo>
                <a:close/>
                <a:moveTo>
                  <a:pt x="1685853" y="5255686"/>
                </a:moveTo>
                <a:cubicBezTo>
                  <a:pt x="1685853" y="5256512"/>
                  <a:pt x="1684768" y="5259196"/>
                  <a:pt x="1685543" y="5259196"/>
                </a:cubicBezTo>
                <a:cubicBezTo>
                  <a:pt x="1683529" y="5261158"/>
                  <a:pt x="1680896" y="5263120"/>
                  <a:pt x="1678882" y="5263120"/>
                </a:cubicBezTo>
                <a:cubicBezTo>
                  <a:pt x="1678108" y="5263223"/>
                  <a:pt x="1677488" y="5263017"/>
                  <a:pt x="1676869" y="5262604"/>
                </a:cubicBezTo>
                <a:cubicBezTo>
                  <a:pt x="1675320" y="5261675"/>
                  <a:pt x="1676404" y="5259919"/>
                  <a:pt x="1678108" y="5258164"/>
                </a:cubicBezTo>
                <a:cubicBezTo>
                  <a:pt x="1681051" y="5253827"/>
                  <a:pt x="1683684" y="5253001"/>
                  <a:pt x="1685853" y="5255686"/>
                </a:cubicBezTo>
                <a:close/>
                <a:moveTo>
                  <a:pt x="2855164" y="5254963"/>
                </a:moveTo>
                <a:cubicBezTo>
                  <a:pt x="2854235" y="5257338"/>
                  <a:pt x="2855629" y="5258474"/>
                  <a:pt x="2854700" y="5260849"/>
                </a:cubicBezTo>
                <a:cubicBezTo>
                  <a:pt x="2852531" y="5260022"/>
                  <a:pt x="2850672" y="5260022"/>
                  <a:pt x="2849588" y="5259610"/>
                </a:cubicBezTo>
                <a:cubicBezTo>
                  <a:pt x="2849898" y="5255686"/>
                  <a:pt x="2851911" y="5253724"/>
                  <a:pt x="2855164" y="5254963"/>
                </a:cubicBezTo>
                <a:close/>
                <a:moveTo>
                  <a:pt x="2532050" y="5254860"/>
                </a:moveTo>
                <a:cubicBezTo>
                  <a:pt x="2541964" y="5255686"/>
                  <a:pt x="2549399" y="5258783"/>
                  <a:pt x="2554665" y="5264049"/>
                </a:cubicBezTo>
                <a:cubicBezTo>
                  <a:pt x="2556369" y="5265805"/>
                  <a:pt x="2557763" y="5267767"/>
                  <a:pt x="2559003" y="5270039"/>
                </a:cubicBezTo>
                <a:cubicBezTo>
                  <a:pt x="2553736" y="5274685"/>
                  <a:pt x="2547850" y="5270245"/>
                  <a:pt x="2542738" y="5268180"/>
                </a:cubicBezTo>
                <a:cubicBezTo>
                  <a:pt x="2542119" y="5274272"/>
                  <a:pt x="2542893" y="5283565"/>
                  <a:pt x="2536388" y="5283978"/>
                </a:cubicBezTo>
                <a:cubicBezTo>
                  <a:pt x="2535148" y="5282842"/>
                  <a:pt x="2534529" y="5281500"/>
                  <a:pt x="2534374" y="5279951"/>
                </a:cubicBezTo>
                <a:cubicBezTo>
                  <a:pt x="2533754" y="5275614"/>
                  <a:pt x="2536542" y="5269832"/>
                  <a:pt x="2536233" y="5264256"/>
                </a:cubicBezTo>
                <a:cubicBezTo>
                  <a:pt x="2534839" y="5261158"/>
                  <a:pt x="2530656" y="5261572"/>
                  <a:pt x="2532050" y="5254860"/>
                </a:cubicBezTo>
                <a:close/>
                <a:moveTo>
                  <a:pt x="2565508" y="5254240"/>
                </a:moveTo>
                <a:cubicBezTo>
                  <a:pt x="2568451" y="5254034"/>
                  <a:pt x="2569226" y="5255582"/>
                  <a:pt x="2570929" y="5258783"/>
                </a:cubicBezTo>
                <a:cubicBezTo>
                  <a:pt x="2568916" y="5258990"/>
                  <a:pt x="2567677" y="5258783"/>
                  <a:pt x="2566902" y="5257957"/>
                </a:cubicBezTo>
                <a:cubicBezTo>
                  <a:pt x="2566128" y="5257235"/>
                  <a:pt x="2565818" y="5255995"/>
                  <a:pt x="2565508" y="5254240"/>
                </a:cubicBezTo>
                <a:close/>
                <a:moveTo>
                  <a:pt x="2465600" y="5254137"/>
                </a:moveTo>
                <a:cubicBezTo>
                  <a:pt x="2469472" y="5253724"/>
                  <a:pt x="2471951" y="5254653"/>
                  <a:pt x="2473345" y="5256305"/>
                </a:cubicBezTo>
                <a:cubicBezTo>
                  <a:pt x="2477682" y="5261365"/>
                  <a:pt x="2472260" y="5272930"/>
                  <a:pt x="2463586" y="5272516"/>
                </a:cubicBezTo>
                <a:cubicBezTo>
                  <a:pt x="2462502" y="5271587"/>
                  <a:pt x="2461882" y="5270142"/>
                  <a:pt x="2461573" y="5268489"/>
                </a:cubicBezTo>
                <a:cubicBezTo>
                  <a:pt x="2460643" y="5263637"/>
                  <a:pt x="2462657" y="5256718"/>
                  <a:pt x="2465600" y="5254137"/>
                </a:cubicBezTo>
                <a:close/>
                <a:moveTo>
                  <a:pt x="2762342" y="5253840"/>
                </a:moveTo>
                <a:cubicBezTo>
                  <a:pt x="2764124" y="5254576"/>
                  <a:pt x="2765789" y="5255841"/>
                  <a:pt x="2767028" y="5256615"/>
                </a:cubicBezTo>
                <a:lnTo>
                  <a:pt x="2766254" y="5258164"/>
                </a:lnTo>
                <a:lnTo>
                  <a:pt x="2768112" y="5257957"/>
                </a:lnTo>
                <a:cubicBezTo>
                  <a:pt x="2769042" y="5258164"/>
                  <a:pt x="2769816" y="5258267"/>
                  <a:pt x="2770900" y="5258474"/>
                </a:cubicBezTo>
                <a:cubicBezTo>
                  <a:pt x="2770746" y="5260436"/>
                  <a:pt x="2772450" y="5262398"/>
                  <a:pt x="2771520" y="5264772"/>
                </a:cubicBezTo>
                <a:cubicBezTo>
                  <a:pt x="2771520" y="5264772"/>
                  <a:pt x="2771055" y="5265908"/>
                  <a:pt x="2769507" y="5266734"/>
                </a:cubicBezTo>
                <a:cubicBezTo>
                  <a:pt x="2767803" y="5269419"/>
                  <a:pt x="2764550" y="5268283"/>
                  <a:pt x="2764550" y="5268283"/>
                </a:cubicBezTo>
                <a:cubicBezTo>
                  <a:pt x="2764550" y="5268283"/>
                  <a:pt x="2764395" y="5268283"/>
                  <a:pt x="2764705" y="5269006"/>
                </a:cubicBezTo>
                <a:cubicBezTo>
                  <a:pt x="2764085" y="5267457"/>
                  <a:pt x="2762846" y="5266321"/>
                  <a:pt x="2762226" y="5264772"/>
                </a:cubicBezTo>
                <a:lnTo>
                  <a:pt x="2762381" y="5264049"/>
                </a:lnTo>
                <a:lnTo>
                  <a:pt x="2761917" y="5264669"/>
                </a:lnTo>
                <a:cubicBezTo>
                  <a:pt x="2759748" y="5263946"/>
                  <a:pt x="2758199" y="5262604"/>
                  <a:pt x="2757270" y="5260849"/>
                </a:cubicBezTo>
                <a:cubicBezTo>
                  <a:pt x="2756340" y="5259196"/>
                  <a:pt x="2756031" y="5256925"/>
                  <a:pt x="2756960" y="5254240"/>
                </a:cubicBezTo>
                <a:cubicBezTo>
                  <a:pt x="2758664" y="5252898"/>
                  <a:pt x="2760561" y="5253104"/>
                  <a:pt x="2762342" y="5253840"/>
                </a:cubicBezTo>
                <a:close/>
                <a:moveTo>
                  <a:pt x="2836422" y="5253827"/>
                </a:moveTo>
                <a:cubicBezTo>
                  <a:pt x="2836422" y="5253827"/>
                  <a:pt x="2836422" y="5253827"/>
                  <a:pt x="2841998" y="5257131"/>
                </a:cubicBezTo>
                <a:cubicBezTo>
                  <a:pt x="2841688" y="5257544"/>
                  <a:pt x="2841223" y="5257544"/>
                  <a:pt x="2840759" y="5257338"/>
                </a:cubicBezTo>
                <a:cubicBezTo>
                  <a:pt x="2840294" y="5257131"/>
                  <a:pt x="2839829" y="5256718"/>
                  <a:pt x="2839210" y="5256305"/>
                </a:cubicBezTo>
                <a:cubicBezTo>
                  <a:pt x="2838280" y="5255479"/>
                  <a:pt x="2837351" y="5254653"/>
                  <a:pt x="2836422" y="5253827"/>
                </a:cubicBezTo>
                <a:close/>
                <a:moveTo>
                  <a:pt x="2445928" y="5253724"/>
                </a:moveTo>
                <a:cubicBezTo>
                  <a:pt x="2447787" y="5263740"/>
                  <a:pt x="2453363" y="5269522"/>
                  <a:pt x="2453208" y="5281087"/>
                </a:cubicBezTo>
                <a:cubicBezTo>
                  <a:pt x="2444999" y="5278609"/>
                  <a:pt x="2438028" y="5257957"/>
                  <a:pt x="2445928" y="5253724"/>
                </a:cubicBezTo>
                <a:close/>
                <a:moveTo>
                  <a:pt x="2377154" y="5253724"/>
                </a:moveTo>
                <a:cubicBezTo>
                  <a:pt x="2377929" y="5252795"/>
                  <a:pt x="2377929" y="5253724"/>
                  <a:pt x="2378548" y="5253724"/>
                </a:cubicBezTo>
                <a:cubicBezTo>
                  <a:pt x="2378238" y="5254240"/>
                  <a:pt x="2377929" y="5254447"/>
                  <a:pt x="2377774" y="5254447"/>
                </a:cubicBezTo>
                <a:cubicBezTo>
                  <a:pt x="2377619" y="5254447"/>
                  <a:pt x="2377464" y="5254240"/>
                  <a:pt x="2377154" y="5253724"/>
                </a:cubicBezTo>
                <a:close/>
                <a:moveTo>
                  <a:pt x="2379633" y="5253208"/>
                </a:moveTo>
                <a:cubicBezTo>
                  <a:pt x="2380717" y="5254034"/>
                  <a:pt x="2381646" y="5255582"/>
                  <a:pt x="2381026" y="5256512"/>
                </a:cubicBezTo>
                <a:cubicBezTo>
                  <a:pt x="2380717" y="5257338"/>
                  <a:pt x="2380252" y="5257441"/>
                  <a:pt x="2379633" y="5257131"/>
                </a:cubicBezTo>
                <a:cubicBezTo>
                  <a:pt x="2379168" y="5256821"/>
                  <a:pt x="2378393" y="5256305"/>
                  <a:pt x="2377464" y="5255892"/>
                </a:cubicBezTo>
                <a:close/>
                <a:moveTo>
                  <a:pt x="1695456" y="5252278"/>
                </a:moveTo>
                <a:cubicBezTo>
                  <a:pt x="1695302" y="5253208"/>
                  <a:pt x="1695920" y="5254963"/>
                  <a:pt x="1695146" y="5254963"/>
                </a:cubicBezTo>
                <a:cubicBezTo>
                  <a:pt x="1694991" y="5255892"/>
                  <a:pt x="1693442" y="5255892"/>
                  <a:pt x="1693442" y="5255892"/>
                </a:cubicBezTo>
                <a:cubicBezTo>
                  <a:pt x="1693442" y="5256821"/>
                  <a:pt x="1693287" y="5257648"/>
                  <a:pt x="1692358" y="5258577"/>
                </a:cubicBezTo>
                <a:cubicBezTo>
                  <a:pt x="1691584" y="5257648"/>
                  <a:pt x="1691584" y="5258577"/>
                  <a:pt x="1690809" y="5258474"/>
                </a:cubicBezTo>
                <a:cubicBezTo>
                  <a:pt x="1691584" y="5257648"/>
                  <a:pt x="1691893" y="5254963"/>
                  <a:pt x="1692978" y="5253208"/>
                </a:cubicBezTo>
                <a:cubicBezTo>
                  <a:pt x="1693752" y="5253208"/>
                  <a:pt x="1694681" y="5252278"/>
                  <a:pt x="1695456" y="5252278"/>
                </a:cubicBezTo>
                <a:close/>
                <a:moveTo>
                  <a:pt x="2388307" y="5249077"/>
                </a:moveTo>
                <a:cubicBezTo>
                  <a:pt x="2389236" y="5249077"/>
                  <a:pt x="2389236" y="5249904"/>
                  <a:pt x="2390166" y="5250729"/>
                </a:cubicBezTo>
                <a:cubicBezTo>
                  <a:pt x="2391250" y="5252382"/>
                  <a:pt x="2391714" y="5254963"/>
                  <a:pt x="2390940" y="5255892"/>
                </a:cubicBezTo>
                <a:cubicBezTo>
                  <a:pt x="2390166" y="5256718"/>
                  <a:pt x="2389391" y="5256821"/>
                  <a:pt x="2389391" y="5256821"/>
                </a:cubicBezTo>
                <a:cubicBezTo>
                  <a:pt x="2386603" y="5255170"/>
                  <a:pt x="2384744" y="5252795"/>
                  <a:pt x="2386758" y="5250110"/>
                </a:cubicBezTo>
                <a:cubicBezTo>
                  <a:pt x="2387532" y="5249181"/>
                  <a:pt x="2388307" y="5248251"/>
                  <a:pt x="2388307" y="5249077"/>
                </a:cubicBezTo>
                <a:close/>
                <a:moveTo>
                  <a:pt x="2021049" y="5248561"/>
                </a:moveTo>
                <a:cubicBezTo>
                  <a:pt x="2026160" y="5249697"/>
                  <a:pt x="2026470" y="5253208"/>
                  <a:pt x="2023836" y="5258267"/>
                </a:cubicBezTo>
                <a:cubicBezTo>
                  <a:pt x="2021977" y="5258267"/>
                  <a:pt x="2020428" y="5258990"/>
                  <a:pt x="2017795" y="5259403"/>
                </a:cubicBezTo>
                <a:cubicBezTo>
                  <a:pt x="2016866" y="5257028"/>
                  <a:pt x="2017330" y="5251246"/>
                  <a:pt x="2021049" y="5248561"/>
                </a:cubicBezTo>
                <a:close/>
                <a:moveTo>
                  <a:pt x="2254341" y="5248509"/>
                </a:moveTo>
                <a:cubicBezTo>
                  <a:pt x="2256568" y="5248329"/>
                  <a:pt x="2258427" y="5249025"/>
                  <a:pt x="2259434" y="5251762"/>
                </a:cubicBezTo>
                <a:cubicBezTo>
                  <a:pt x="2258659" y="5255789"/>
                  <a:pt x="2256335" y="5257648"/>
                  <a:pt x="2253857" y="5258061"/>
                </a:cubicBezTo>
                <a:cubicBezTo>
                  <a:pt x="2251379" y="5258474"/>
                  <a:pt x="2248745" y="5257441"/>
                  <a:pt x="2247507" y="5255479"/>
                </a:cubicBezTo>
                <a:cubicBezTo>
                  <a:pt x="2246577" y="5254137"/>
                  <a:pt x="2246422" y="5252485"/>
                  <a:pt x="2247041" y="5250523"/>
                </a:cubicBezTo>
                <a:cubicBezTo>
                  <a:pt x="2249520" y="5249749"/>
                  <a:pt x="2252114" y="5248690"/>
                  <a:pt x="2254341" y="5248509"/>
                </a:cubicBezTo>
                <a:close/>
                <a:moveTo>
                  <a:pt x="2863838" y="5247115"/>
                </a:moveTo>
                <a:cubicBezTo>
                  <a:pt x="2864923" y="5247322"/>
                  <a:pt x="2865697" y="5248561"/>
                  <a:pt x="2866317" y="5249904"/>
                </a:cubicBezTo>
                <a:lnTo>
                  <a:pt x="2867246" y="5253620"/>
                </a:lnTo>
                <a:lnTo>
                  <a:pt x="2867865" y="5253517"/>
                </a:lnTo>
                <a:cubicBezTo>
                  <a:pt x="2867865" y="5253517"/>
                  <a:pt x="2866936" y="5253311"/>
                  <a:pt x="2867865" y="5252588"/>
                </a:cubicBezTo>
                <a:cubicBezTo>
                  <a:pt x="2867865" y="5253414"/>
                  <a:pt x="2868640" y="5253620"/>
                  <a:pt x="2869414" y="5253724"/>
                </a:cubicBezTo>
                <a:cubicBezTo>
                  <a:pt x="2871118" y="5255789"/>
                  <a:pt x="2872513" y="5258680"/>
                  <a:pt x="2871583" y="5260229"/>
                </a:cubicBezTo>
                <a:cubicBezTo>
                  <a:pt x="2870654" y="5260952"/>
                  <a:pt x="2869879" y="5261055"/>
                  <a:pt x="2869105" y="5260849"/>
                </a:cubicBezTo>
                <a:cubicBezTo>
                  <a:pt x="2868485" y="5260642"/>
                  <a:pt x="2867865" y="5260022"/>
                  <a:pt x="2867401" y="5259506"/>
                </a:cubicBezTo>
                <a:cubicBezTo>
                  <a:pt x="2866162" y="5258887"/>
                  <a:pt x="2865542" y="5257751"/>
                  <a:pt x="2865542" y="5256409"/>
                </a:cubicBezTo>
                <a:lnTo>
                  <a:pt x="2865697" y="5255376"/>
                </a:lnTo>
                <a:lnTo>
                  <a:pt x="2865077" y="5256099"/>
                </a:lnTo>
                <a:cubicBezTo>
                  <a:pt x="2863993" y="5256409"/>
                  <a:pt x="2862754" y="5256512"/>
                  <a:pt x="2861670" y="5256202"/>
                </a:cubicBezTo>
                <a:cubicBezTo>
                  <a:pt x="2860740" y="5256305"/>
                  <a:pt x="2859966" y="5255789"/>
                  <a:pt x="2859501" y="5255066"/>
                </a:cubicBezTo>
                <a:lnTo>
                  <a:pt x="2858727" y="5252691"/>
                </a:lnTo>
                <a:lnTo>
                  <a:pt x="2857023" y="5253001"/>
                </a:lnTo>
                <a:cubicBezTo>
                  <a:pt x="2856093" y="5250626"/>
                  <a:pt x="2855319" y="5248251"/>
                  <a:pt x="2857488" y="5247632"/>
                </a:cubicBezTo>
                <a:cubicBezTo>
                  <a:pt x="2858727" y="5247322"/>
                  <a:pt x="2859811" y="5246909"/>
                  <a:pt x="2861360" y="5247838"/>
                </a:cubicBezTo>
                <a:lnTo>
                  <a:pt x="2861360" y="5248354"/>
                </a:lnTo>
                <a:lnTo>
                  <a:pt x="2861515" y="5248148"/>
                </a:lnTo>
                <a:cubicBezTo>
                  <a:pt x="2862134" y="5247632"/>
                  <a:pt x="2862909" y="5247219"/>
                  <a:pt x="2863838" y="5247115"/>
                </a:cubicBezTo>
                <a:close/>
                <a:moveTo>
                  <a:pt x="2459559" y="5247012"/>
                </a:moveTo>
                <a:cubicBezTo>
                  <a:pt x="2462812" y="5247735"/>
                  <a:pt x="2463741" y="5250936"/>
                  <a:pt x="2463122" y="5254240"/>
                </a:cubicBezTo>
                <a:cubicBezTo>
                  <a:pt x="2462657" y="5257441"/>
                  <a:pt x="2460643" y="5260849"/>
                  <a:pt x="2458010" y="5261881"/>
                </a:cubicBezTo>
                <a:cubicBezTo>
                  <a:pt x="2457235" y="5260539"/>
                  <a:pt x="2456461" y="5259196"/>
                  <a:pt x="2455996" y="5257957"/>
                </a:cubicBezTo>
                <a:cubicBezTo>
                  <a:pt x="2454757" y="5254034"/>
                  <a:pt x="2455222" y="5250626"/>
                  <a:pt x="2459559" y="5247012"/>
                </a:cubicBezTo>
                <a:close/>
                <a:moveTo>
                  <a:pt x="2332699" y="5246393"/>
                </a:moveTo>
                <a:cubicBezTo>
                  <a:pt x="2335642" y="5250626"/>
                  <a:pt x="2340599" y="5252588"/>
                  <a:pt x="2340599" y="5255789"/>
                </a:cubicBezTo>
                <a:cubicBezTo>
                  <a:pt x="2340599" y="5256821"/>
                  <a:pt x="2340134" y="5257957"/>
                  <a:pt x="2338895" y="5259403"/>
                </a:cubicBezTo>
                <a:cubicBezTo>
                  <a:pt x="2337036" y="5258783"/>
                  <a:pt x="2333009" y="5255892"/>
                  <a:pt x="2331150" y="5252898"/>
                </a:cubicBezTo>
                <a:cubicBezTo>
                  <a:pt x="2330530" y="5251865"/>
                  <a:pt x="2330066" y="5250833"/>
                  <a:pt x="2330066" y="5249904"/>
                </a:cubicBezTo>
                <a:cubicBezTo>
                  <a:pt x="2330066" y="5248561"/>
                  <a:pt x="2330840" y="5247322"/>
                  <a:pt x="2332699" y="5246393"/>
                </a:cubicBezTo>
                <a:close/>
                <a:moveTo>
                  <a:pt x="1880422" y="5245902"/>
                </a:moveTo>
                <a:cubicBezTo>
                  <a:pt x="1883229" y="5245721"/>
                  <a:pt x="1885436" y="5246393"/>
                  <a:pt x="1886289" y="5245980"/>
                </a:cubicBezTo>
                <a:cubicBezTo>
                  <a:pt x="1888457" y="5248664"/>
                  <a:pt x="1888457" y="5248664"/>
                  <a:pt x="1883810" y="5253827"/>
                </a:cubicBezTo>
                <a:cubicBezTo>
                  <a:pt x="1882880" y="5254653"/>
                  <a:pt x="1881796" y="5255273"/>
                  <a:pt x="1880713" y="5255582"/>
                </a:cubicBezTo>
                <a:cubicBezTo>
                  <a:pt x="1879473" y="5255892"/>
                  <a:pt x="1878234" y="5255892"/>
                  <a:pt x="1876994" y="5255376"/>
                </a:cubicBezTo>
                <a:cubicBezTo>
                  <a:pt x="1876220" y="5255789"/>
                  <a:pt x="1875135" y="5255995"/>
                  <a:pt x="1874051" y="5255995"/>
                </a:cubicBezTo>
                <a:cubicBezTo>
                  <a:pt x="1873122" y="5255995"/>
                  <a:pt x="1872038" y="5255686"/>
                  <a:pt x="1871263" y="5255273"/>
                </a:cubicBezTo>
                <a:cubicBezTo>
                  <a:pt x="1870489" y="5254447"/>
                  <a:pt x="1870179" y="5253517"/>
                  <a:pt x="1870179" y="5252795"/>
                </a:cubicBezTo>
                <a:cubicBezTo>
                  <a:pt x="1870179" y="5251969"/>
                  <a:pt x="1870489" y="5251349"/>
                  <a:pt x="1870953" y="5250936"/>
                </a:cubicBezTo>
                <a:cubicBezTo>
                  <a:pt x="1874206" y="5247115"/>
                  <a:pt x="1877614" y="5246083"/>
                  <a:pt x="1880422" y="5245902"/>
                </a:cubicBezTo>
                <a:close/>
                <a:moveTo>
                  <a:pt x="1690499" y="5245464"/>
                </a:moveTo>
                <a:cubicBezTo>
                  <a:pt x="1691429" y="5244638"/>
                  <a:pt x="1692203" y="5244638"/>
                  <a:pt x="1692978" y="5245464"/>
                </a:cubicBezTo>
                <a:cubicBezTo>
                  <a:pt x="1692978" y="5245464"/>
                  <a:pt x="1692048" y="5247219"/>
                  <a:pt x="1692048" y="5247219"/>
                </a:cubicBezTo>
                <a:cubicBezTo>
                  <a:pt x="1690034" y="5248974"/>
                  <a:pt x="1689105" y="5249800"/>
                  <a:pt x="1688021" y="5251555"/>
                </a:cubicBezTo>
                <a:cubicBezTo>
                  <a:pt x="1687247" y="5251143"/>
                  <a:pt x="1686937" y="5250626"/>
                  <a:pt x="1686782" y="5250213"/>
                </a:cubicBezTo>
                <a:cubicBezTo>
                  <a:pt x="1686782" y="5249800"/>
                  <a:pt x="1686937" y="5249284"/>
                  <a:pt x="1687401" y="5248871"/>
                </a:cubicBezTo>
                <a:cubicBezTo>
                  <a:pt x="1687401" y="5248871"/>
                  <a:pt x="1688331" y="5248045"/>
                  <a:pt x="1689415" y="5247115"/>
                </a:cubicBezTo>
                <a:cubicBezTo>
                  <a:pt x="1690344" y="5246289"/>
                  <a:pt x="1690499" y="5245464"/>
                  <a:pt x="1690499" y="5245464"/>
                </a:cubicBezTo>
                <a:close/>
                <a:moveTo>
                  <a:pt x="2479250" y="5245218"/>
                </a:moveTo>
                <a:cubicBezTo>
                  <a:pt x="2480857" y="5243553"/>
                  <a:pt x="2483568" y="5243243"/>
                  <a:pt x="2485427" y="5246806"/>
                </a:cubicBezTo>
                <a:cubicBezTo>
                  <a:pt x="2482949" y="5249387"/>
                  <a:pt x="2481399" y="5251039"/>
                  <a:pt x="2479695" y="5251762"/>
                </a:cubicBezTo>
                <a:cubicBezTo>
                  <a:pt x="2477140" y="5249903"/>
                  <a:pt x="2477643" y="5246883"/>
                  <a:pt x="2479250" y="5245218"/>
                </a:cubicBezTo>
                <a:close/>
                <a:moveTo>
                  <a:pt x="2502001" y="5245050"/>
                </a:moveTo>
                <a:cubicBezTo>
                  <a:pt x="2505718" y="5247528"/>
                  <a:pt x="2507112" y="5244844"/>
                  <a:pt x="2512688" y="5248871"/>
                </a:cubicBezTo>
                <a:cubicBezTo>
                  <a:pt x="2518265" y="5252485"/>
                  <a:pt x="2519194" y="5256821"/>
                  <a:pt x="2518420" y="5260229"/>
                </a:cubicBezTo>
                <a:lnTo>
                  <a:pt x="2517490" y="5262914"/>
                </a:lnTo>
                <a:lnTo>
                  <a:pt x="2519504" y="5264669"/>
                </a:lnTo>
                <a:cubicBezTo>
                  <a:pt x="2512998" y="5269522"/>
                  <a:pt x="2522292" y="5273343"/>
                  <a:pt x="2517490" y="5277473"/>
                </a:cubicBezTo>
                <a:cubicBezTo>
                  <a:pt x="2515012" y="5277989"/>
                  <a:pt x="2512688" y="5279538"/>
                  <a:pt x="2509745" y="5279125"/>
                </a:cubicBezTo>
                <a:cubicBezTo>
                  <a:pt x="2508816" y="5278918"/>
                  <a:pt x="2507887" y="5278609"/>
                  <a:pt x="2506802" y="5277886"/>
                </a:cubicBezTo>
                <a:cubicBezTo>
                  <a:pt x="2508661" y="5274891"/>
                  <a:pt x="2509900" y="5272207"/>
                  <a:pt x="2510675" y="5269419"/>
                </a:cubicBezTo>
                <a:lnTo>
                  <a:pt x="2511449" y="5267147"/>
                </a:lnTo>
                <a:lnTo>
                  <a:pt x="2508816" y="5267767"/>
                </a:lnTo>
                <a:cubicBezTo>
                  <a:pt x="2507267" y="5267870"/>
                  <a:pt x="2505408" y="5267354"/>
                  <a:pt x="2503394" y="5265908"/>
                </a:cubicBezTo>
                <a:cubicBezTo>
                  <a:pt x="2498593" y="5262707"/>
                  <a:pt x="2494566" y="5257751"/>
                  <a:pt x="2499522" y="5250420"/>
                </a:cubicBezTo>
                <a:cubicBezTo>
                  <a:pt x="2499987" y="5248664"/>
                  <a:pt x="2500142" y="5249594"/>
                  <a:pt x="2500916" y="5248664"/>
                </a:cubicBezTo>
                <a:cubicBezTo>
                  <a:pt x="2501536" y="5247735"/>
                  <a:pt x="2502156" y="5245980"/>
                  <a:pt x="2502001" y="5245050"/>
                </a:cubicBezTo>
                <a:close/>
                <a:moveTo>
                  <a:pt x="2622355" y="5244534"/>
                </a:moveTo>
                <a:cubicBezTo>
                  <a:pt x="2626382" y="5247012"/>
                  <a:pt x="2624524" y="5251039"/>
                  <a:pt x="2621890" y="5255376"/>
                </a:cubicBezTo>
                <a:cubicBezTo>
                  <a:pt x="2620186" y="5254963"/>
                  <a:pt x="2618483" y="5255479"/>
                  <a:pt x="2616624" y="5255066"/>
                </a:cubicBezTo>
                <a:cubicBezTo>
                  <a:pt x="2614920" y="5252898"/>
                  <a:pt x="2615849" y="5246599"/>
                  <a:pt x="2618792" y="5244638"/>
                </a:cubicBezTo>
                <a:cubicBezTo>
                  <a:pt x="2619722" y="5244018"/>
                  <a:pt x="2620961" y="5243915"/>
                  <a:pt x="2622355" y="5244534"/>
                </a:cubicBezTo>
                <a:close/>
                <a:moveTo>
                  <a:pt x="2194532" y="5243708"/>
                </a:moveTo>
                <a:cubicBezTo>
                  <a:pt x="2195306" y="5243708"/>
                  <a:pt x="2196081" y="5244638"/>
                  <a:pt x="2196081" y="5244638"/>
                </a:cubicBezTo>
                <a:cubicBezTo>
                  <a:pt x="2196855" y="5245567"/>
                  <a:pt x="2196855" y="5245464"/>
                  <a:pt x="2197785" y="5244638"/>
                </a:cubicBezTo>
                <a:cubicBezTo>
                  <a:pt x="2197785" y="5244638"/>
                  <a:pt x="2197630" y="5245567"/>
                  <a:pt x="2197630" y="5245567"/>
                </a:cubicBezTo>
                <a:cubicBezTo>
                  <a:pt x="2196855" y="5245567"/>
                  <a:pt x="2197630" y="5245567"/>
                  <a:pt x="2198404" y="5246496"/>
                </a:cubicBezTo>
                <a:cubicBezTo>
                  <a:pt x="2197320" y="5248148"/>
                  <a:pt x="2197320" y="5249077"/>
                  <a:pt x="2196391" y="5249904"/>
                </a:cubicBezTo>
                <a:cubicBezTo>
                  <a:pt x="2195926" y="5250316"/>
                  <a:pt x="2195306" y="5250729"/>
                  <a:pt x="2194532" y="5250936"/>
                </a:cubicBezTo>
                <a:cubicBezTo>
                  <a:pt x="2193912" y="5251143"/>
                  <a:pt x="2193293" y="5251143"/>
                  <a:pt x="2192983" y="5250729"/>
                </a:cubicBezTo>
                <a:cubicBezTo>
                  <a:pt x="2193138" y="5249800"/>
                  <a:pt x="2192208" y="5249800"/>
                  <a:pt x="2192363" y="5248974"/>
                </a:cubicBezTo>
                <a:cubicBezTo>
                  <a:pt x="2191744" y="5247219"/>
                  <a:pt x="2191744" y="5246289"/>
                  <a:pt x="2192674" y="5245464"/>
                </a:cubicBezTo>
                <a:cubicBezTo>
                  <a:pt x="2192674" y="5244534"/>
                  <a:pt x="2193602" y="5244638"/>
                  <a:pt x="2194532" y="5243708"/>
                </a:cubicBezTo>
                <a:close/>
                <a:moveTo>
                  <a:pt x="2636760" y="5243398"/>
                </a:moveTo>
                <a:cubicBezTo>
                  <a:pt x="2639239" y="5242676"/>
                  <a:pt x="2641717" y="5241953"/>
                  <a:pt x="2645125" y="5244638"/>
                </a:cubicBezTo>
                <a:cubicBezTo>
                  <a:pt x="2646054" y="5248148"/>
                  <a:pt x="2645435" y="5250626"/>
                  <a:pt x="2642182" y="5253931"/>
                </a:cubicBezTo>
                <a:cubicBezTo>
                  <a:pt x="2637999" y="5253724"/>
                  <a:pt x="2632733" y="5247528"/>
                  <a:pt x="2636760" y="5243398"/>
                </a:cubicBezTo>
                <a:close/>
                <a:moveTo>
                  <a:pt x="1653014" y="5242985"/>
                </a:moveTo>
                <a:cubicBezTo>
                  <a:pt x="1646354" y="5250833"/>
                  <a:pt x="1641707" y="5246289"/>
                  <a:pt x="1637990" y="5250729"/>
                </a:cubicBezTo>
                <a:cubicBezTo>
                  <a:pt x="1637215" y="5248871"/>
                  <a:pt x="1637215" y="5248871"/>
                  <a:pt x="1638299" y="5247115"/>
                </a:cubicBezTo>
                <a:cubicBezTo>
                  <a:pt x="1639074" y="5247219"/>
                  <a:pt x="1639229" y="5246289"/>
                  <a:pt x="1640003" y="5247115"/>
                </a:cubicBezTo>
                <a:cubicBezTo>
                  <a:pt x="1641862" y="5244534"/>
                  <a:pt x="1649762" y="5242056"/>
                  <a:pt x="1653014" y="5242985"/>
                </a:cubicBezTo>
                <a:close/>
                <a:moveTo>
                  <a:pt x="2571084" y="5241333"/>
                </a:moveTo>
                <a:cubicBezTo>
                  <a:pt x="2572943" y="5239578"/>
                  <a:pt x="2576971" y="5240507"/>
                  <a:pt x="2578519" y="5241437"/>
                </a:cubicBezTo>
                <a:cubicBezTo>
                  <a:pt x="2579913" y="5243192"/>
                  <a:pt x="2578984" y="5245670"/>
                  <a:pt x="2577125" y="5247425"/>
                </a:cubicBezTo>
                <a:cubicBezTo>
                  <a:pt x="2576505" y="5248251"/>
                  <a:pt x="2575731" y="5248664"/>
                  <a:pt x="2574802" y="5248768"/>
                </a:cubicBezTo>
                <a:cubicBezTo>
                  <a:pt x="2573873" y="5248871"/>
                  <a:pt x="2572788" y="5248664"/>
                  <a:pt x="2572014" y="5248148"/>
                </a:cubicBezTo>
                <a:cubicBezTo>
                  <a:pt x="2571239" y="5247322"/>
                  <a:pt x="2571239" y="5247322"/>
                  <a:pt x="2570620" y="5246496"/>
                </a:cubicBezTo>
                <a:cubicBezTo>
                  <a:pt x="2570774" y="5244741"/>
                  <a:pt x="2570000" y="5242985"/>
                  <a:pt x="2571084" y="5241333"/>
                </a:cubicBezTo>
                <a:close/>
                <a:moveTo>
                  <a:pt x="2635366" y="5241127"/>
                </a:moveTo>
                <a:cubicBezTo>
                  <a:pt x="2636451" y="5241333"/>
                  <a:pt x="2637535" y="5241643"/>
                  <a:pt x="2636760" y="5242159"/>
                </a:cubicBezTo>
                <a:cubicBezTo>
                  <a:pt x="2637225" y="5242882"/>
                  <a:pt x="2636451" y="5243295"/>
                  <a:pt x="2636141" y="5244534"/>
                </a:cubicBezTo>
                <a:cubicBezTo>
                  <a:pt x="2635056" y="5246186"/>
                  <a:pt x="2632888" y="5247528"/>
                  <a:pt x="2631649" y="5247219"/>
                </a:cubicBezTo>
                <a:cubicBezTo>
                  <a:pt x="2630564" y="5246909"/>
                  <a:pt x="2630255" y="5246186"/>
                  <a:pt x="2630255" y="5246186"/>
                </a:cubicBezTo>
                <a:cubicBezTo>
                  <a:pt x="2630564" y="5243088"/>
                  <a:pt x="2631959" y="5240197"/>
                  <a:pt x="2635366" y="5241127"/>
                </a:cubicBezTo>
                <a:close/>
                <a:moveTo>
                  <a:pt x="1949796" y="5240610"/>
                </a:moveTo>
                <a:cubicBezTo>
                  <a:pt x="1951654" y="5242469"/>
                  <a:pt x="1953359" y="5244328"/>
                  <a:pt x="1955062" y="5246083"/>
                </a:cubicBezTo>
                <a:cubicBezTo>
                  <a:pt x="1953513" y="5246909"/>
                  <a:pt x="1952739" y="5248664"/>
                  <a:pt x="1951965" y="5249594"/>
                </a:cubicBezTo>
                <a:cubicBezTo>
                  <a:pt x="1949486" y="5249387"/>
                  <a:pt x="1947782" y="5248458"/>
                  <a:pt x="1946079" y="5245773"/>
                </a:cubicBezTo>
                <a:cubicBezTo>
                  <a:pt x="1947472" y="5242262"/>
                  <a:pt x="1946698" y="5243192"/>
                  <a:pt x="1949796" y="5240610"/>
                </a:cubicBezTo>
                <a:close/>
                <a:moveTo>
                  <a:pt x="2696240" y="5240404"/>
                </a:moveTo>
                <a:cubicBezTo>
                  <a:pt x="2703366" y="5247632"/>
                  <a:pt x="2699493" y="5254756"/>
                  <a:pt x="2700268" y="5256615"/>
                </a:cubicBezTo>
                <a:cubicBezTo>
                  <a:pt x="2698874" y="5257751"/>
                  <a:pt x="2698254" y="5258267"/>
                  <a:pt x="2697325" y="5257854"/>
                </a:cubicBezTo>
                <a:cubicBezTo>
                  <a:pt x="2696396" y="5257544"/>
                  <a:pt x="2695311" y="5256202"/>
                  <a:pt x="2692988" y="5253724"/>
                </a:cubicBezTo>
                <a:cubicBezTo>
                  <a:pt x="2692213" y="5252691"/>
                  <a:pt x="2691594" y="5251555"/>
                  <a:pt x="2691284" y="5250316"/>
                </a:cubicBezTo>
                <a:cubicBezTo>
                  <a:pt x="2691129" y="5249077"/>
                  <a:pt x="2691284" y="5247735"/>
                  <a:pt x="2691749" y="5246599"/>
                </a:cubicBezTo>
                <a:cubicBezTo>
                  <a:pt x="2690974" y="5244741"/>
                  <a:pt x="2691129" y="5242159"/>
                  <a:pt x="2692058" y="5240610"/>
                </a:cubicBezTo>
                <a:cubicBezTo>
                  <a:pt x="2693917" y="5239165"/>
                  <a:pt x="2695466" y="5239475"/>
                  <a:pt x="2696240" y="5240404"/>
                </a:cubicBezTo>
                <a:close/>
                <a:moveTo>
                  <a:pt x="1659985" y="5238855"/>
                </a:moveTo>
                <a:cubicBezTo>
                  <a:pt x="1659055" y="5239784"/>
                  <a:pt x="1657352" y="5240610"/>
                  <a:pt x="1656422" y="5241437"/>
                </a:cubicBezTo>
                <a:cubicBezTo>
                  <a:pt x="1656422" y="5241437"/>
                  <a:pt x="1656422" y="5241437"/>
                  <a:pt x="1655648" y="5240610"/>
                </a:cubicBezTo>
                <a:cubicBezTo>
                  <a:pt x="1657352" y="5240610"/>
                  <a:pt x="1658590" y="5237100"/>
                  <a:pt x="1659985" y="5238855"/>
                </a:cubicBezTo>
                <a:close/>
                <a:moveTo>
                  <a:pt x="2653179" y="5238752"/>
                </a:moveTo>
                <a:cubicBezTo>
                  <a:pt x="2654883" y="5238855"/>
                  <a:pt x="2657981" y="5239784"/>
                  <a:pt x="2658446" y="5242159"/>
                </a:cubicBezTo>
                <a:cubicBezTo>
                  <a:pt x="2658446" y="5242159"/>
                  <a:pt x="2658446" y="5242056"/>
                  <a:pt x="2658601" y="5243192"/>
                </a:cubicBezTo>
                <a:cubicBezTo>
                  <a:pt x="2656587" y="5241953"/>
                  <a:pt x="2653954" y="5240301"/>
                  <a:pt x="2653179" y="5238752"/>
                </a:cubicBezTo>
                <a:close/>
                <a:moveTo>
                  <a:pt x="1646993" y="5238597"/>
                </a:moveTo>
                <a:cubicBezTo>
                  <a:pt x="1649297" y="5238519"/>
                  <a:pt x="1651156" y="5238752"/>
                  <a:pt x="1651621" y="5238752"/>
                </a:cubicBezTo>
                <a:cubicBezTo>
                  <a:pt x="1651466" y="5239578"/>
                  <a:pt x="1651466" y="5239578"/>
                  <a:pt x="1651466" y="5239578"/>
                </a:cubicBezTo>
                <a:cubicBezTo>
                  <a:pt x="1649142" y="5238958"/>
                  <a:pt x="1645889" y="5241127"/>
                  <a:pt x="1642636" y="5241437"/>
                </a:cubicBezTo>
                <a:cubicBezTo>
                  <a:pt x="1641707" y="5241643"/>
                  <a:pt x="1640622" y="5241540"/>
                  <a:pt x="1639539" y="5241127"/>
                </a:cubicBezTo>
                <a:cubicBezTo>
                  <a:pt x="1639539" y="5241127"/>
                  <a:pt x="1639539" y="5241127"/>
                  <a:pt x="1640468" y="5241127"/>
                </a:cubicBezTo>
                <a:cubicBezTo>
                  <a:pt x="1640468" y="5241127"/>
                  <a:pt x="1639539" y="5241127"/>
                  <a:pt x="1639694" y="5240301"/>
                </a:cubicBezTo>
                <a:cubicBezTo>
                  <a:pt x="1641940" y="5239062"/>
                  <a:pt x="1644689" y="5238674"/>
                  <a:pt x="1646993" y="5238597"/>
                </a:cubicBezTo>
                <a:close/>
                <a:moveTo>
                  <a:pt x="2844631" y="5237719"/>
                </a:moveTo>
                <a:cubicBezTo>
                  <a:pt x="2846180" y="5237926"/>
                  <a:pt x="2847884" y="5237306"/>
                  <a:pt x="2849588" y="5238442"/>
                </a:cubicBezTo>
                <a:cubicBezTo>
                  <a:pt x="2851137" y="5240404"/>
                  <a:pt x="2849898" y="5244638"/>
                  <a:pt x="2848968" y="5246186"/>
                </a:cubicBezTo>
                <a:cubicBezTo>
                  <a:pt x="2848194" y="5246909"/>
                  <a:pt x="2847109" y="5246909"/>
                  <a:pt x="2846025" y="5246599"/>
                </a:cubicBezTo>
                <a:cubicBezTo>
                  <a:pt x="2845096" y="5246186"/>
                  <a:pt x="2844011" y="5245360"/>
                  <a:pt x="2843237" y="5244431"/>
                </a:cubicBezTo>
                <a:cubicBezTo>
                  <a:pt x="2842463" y="5243811"/>
                  <a:pt x="2842153" y="5242882"/>
                  <a:pt x="2842153" y="5241953"/>
                </a:cubicBezTo>
                <a:cubicBezTo>
                  <a:pt x="2842153" y="5240920"/>
                  <a:pt x="2842308" y="5239887"/>
                  <a:pt x="2842772" y="5239061"/>
                </a:cubicBezTo>
                <a:cubicBezTo>
                  <a:pt x="2843702" y="5238339"/>
                  <a:pt x="2843702" y="5238442"/>
                  <a:pt x="2844631" y="5237719"/>
                </a:cubicBezTo>
                <a:close/>
                <a:moveTo>
                  <a:pt x="2029877" y="5237306"/>
                </a:moveTo>
                <a:cubicBezTo>
                  <a:pt x="2030651" y="5237926"/>
                  <a:pt x="2031117" y="5238958"/>
                  <a:pt x="2031117" y="5240817"/>
                </a:cubicBezTo>
                <a:cubicBezTo>
                  <a:pt x="2029723" y="5241540"/>
                  <a:pt x="2026470" y="5242676"/>
                  <a:pt x="2023372" y="5242882"/>
                </a:cubicBezTo>
                <a:cubicBezTo>
                  <a:pt x="2020273" y="5243192"/>
                  <a:pt x="2017485" y="5242572"/>
                  <a:pt x="2017021" y="5240301"/>
                </a:cubicBezTo>
                <a:cubicBezTo>
                  <a:pt x="2016866" y="5239578"/>
                  <a:pt x="2017021" y="5238752"/>
                  <a:pt x="2017330" y="5237822"/>
                </a:cubicBezTo>
                <a:cubicBezTo>
                  <a:pt x="2022597" y="5238029"/>
                  <a:pt x="2027554" y="5235448"/>
                  <a:pt x="2029877" y="5237306"/>
                </a:cubicBezTo>
                <a:close/>
                <a:moveTo>
                  <a:pt x="2505718" y="5235035"/>
                </a:moveTo>
                <a:cubicBezTo>
                  <a:pt x="2509745" y="5233795"/>
                  <a:pt x="2512998" y="5237306"/>
                  <a:pt x="2509591" y="5241953"/>
                </a:cubicBezTo>
                <a:cubicBezTo>
                  <a:pt x="2507267" y="5240610"/>
                  <a:pt x="2505098" y="5239165"/>
                  <a:pt x="2504944" y="5237203"/>
                </a:cubicBezTo>
                <a:cubicBezTo>
                  <a:pt x="2504944" y="5236583"/>
                  <a:pt x="2505098" y="5235861"/>
                  <a:pt x="2505718" y="5235035"/>
                </a:cubicBezTo>
                <a:close/>
                <a:moveTo>
                  <a:pt x="2733725" y="5234725"/>
                </a:moveTo>
                <a:cubicBezTo>
                  <a:pt x="2737908" y="5238236"/>
                  <a:pt x="2740541" y="5241643"/>
                  <a:pt x="2741780" y="5244947"/>
                </a:cubicBezTo>
                <a:lnTo>
                  <a:pt x="2742245" y="5253208"/>
                </a:lnTo>
                <a:lnTo>
                  <a:pt x="2746427" y="5257338"/>
                </a:lnTo>
                <a:lnTo>
                  <a:pt x="2748905" y="5256718"/>
                </a:lnTo>
                <a:cubicBezTo>
                  <a:pt x="2750299" y="5256925"/>
                  <a:pt x="2751693" y="5257751"/>
                  <a:pt x="2752623" y="5259093"/>
                </a:cubicBezTo>
                <a:lnTo>
                  <a:pt x="2752313" y="5260022"/>
                </a:lnTo>
                <a:lnTo>
                  <a:pt x="2753397" y="5260126"/>
                </a:lnTo>
                <a:cubicBezTo>
                  <a:pt x="2754327" y="5260436"/>
                  <a:pt x="2755101" y="5260952"/>
                  <a:pt x="2756031" y="5261778"/>
                </a:cubicBezTo>
                <a:cubicBezTo>
                  <a:pt x="2758663" y="5264463"/>
                  <a:pt x="2760677" y="5270658"/>
                  <a:pt x="2758199" y="5273136"/>
                </a:cubicBezTo>
                <a:cubicBezTo>
                  <a:pt x="2755875" y="5276440"/>
                  <a:pt x="2753397" y="5277163"/>
                  <a:pt x="2750764" y="5277060"/>
                </a:cubicBezTo>
                <a:cubicBezTo>
                  <a:pt x="2750764" y="5277060"/>
                  <a:pt x="2750764" y="5277060"/>
                  <a:pt x="2751693" y="5277060"/>
                </a:cubicBezTo>
                <a:cubicBezTo>
                  <a:pt x="2755256" y="5280674"/>
                  <a:pt x="2761297" y="5286973"/>
                  <a:pt x="2760677" y="5289554"/>
                </a:cubicBezTo>
                <a:cubicBezTo>
                  <a:pt x="2759748" y="5289554"/>
                  <a:pt x="2758974" y="5289450"/>
                  <a:pt x="2758044" y="5288624"/>
                </a:cubicBezTo>
                <a:cubicBezTo>
                  <a:pt x="2757115" y="5287695"/>
                  <a:pt x="2758044" y="5287695"/>
                  <a:pt x="2757270" y="5287695"/>
                </a:cubicBezTo>
                <a:lnTo>
                  <a:pt x="2756960" y="5287592"/>
                </a:lnTo>
                <a:lnTo>
                  <a:pt x="2758663" y="5290277"/>
                </a:lnTo>
                <a:cubicBezTo>
                  <a:pt x="2757115" y="5291929"/>
                  <a:pt x="2758044" y="5293684"/>
                  <a:pt x="2756340" y="5295336"/>
                </a:cubicBezTo>
                <a:cubicBezTo>
                  <a:pt x="2751074" y="5289967"/>
                  <a:pt x="2745033" y="5284494"/>
                  <a:pt x="2747356" y="5279435"/>
                </a:cubicBezTo>
                <a:lnTo>
                  <a:pt x="2745652" y="5276853"/>
                </a:lnTo>
                <a:cubicBezTo>
                  <a:pt x="2746427" y="5275098"/>
                  <a:pt x="2746427" y="5275098"/>
                  <a:pt x="2747356" y="5275201"/>
                </a:cubicBezTo>
                <a:lnTo>
                  <a:pt x="2745962" y="5273652"/>
                </a:lnTo>
                <a:lnTo>
                  <a:pt x="2744568" y="5277783"/>
                </a:lnTo>
                <a:lnTo>
                  <a:pt x="2742710" y="5279538"/>
                </a:lnTo>
                <a:lnTo>
                  <a:pt x="2742864" y="5280364"/>
                </a:lnTo>
                <a:cubicBezTo>
                  <a:pt x="2743019" y="5283772"/>
                  <a:pt x="2742554" y="5287076"/>
                  <a:pt x="2741470" y="5290277"/>
                </a:cubicBezTo>
                <a:cubicBezTo>
                  <a:pt x="2739456" y="5290174"/>
                  <a:pt x="2737443" y="5289657"/>
                  <a:pt x="2735584" y="5288934"/>
                </a:cubicBezTo>
                <a:lnTo>
                  <a:pt x="2732641" y="5287695"/>
                </a:lnTo>
                <a:lnTo>
                  <a:pt x="2731402" y="5291206"/>
                </a:lnTo>
                <a:cubicBezTo>
                  <a:pt x="2730473" y="5292342"/>
                  <a:pt x="2729233" y="5292961"/>
                  <a:pt x="2727839" y="5293168"/>
                </a:cubicBezTo>
                <a:cubicBezTo>
                  <a:pt x="2726910" y="5292032"/>
                  <a:pt x="2726445" y="5290896"/>
                  <a:pt x="2726445" y="5289760"/>
                </a:cubicBezTo>
                <a:cubicBezTo>
                  <a:pt x="2726445" y="5288005"/>
                  <a:pt x="2727220" y="5286559"/>
                  <a:pt x="2728459" y="5285733"/>
                </a:cubicBezTo>
                <a:lnTo>
                  <a:pt x="2728769" y="5285630"/>
                </a:lnTo>
                <a:lnTo>
                  <a:pt x="2722418" y="5281810"/>
                </a:lnTo>
                <a:lnTo>
                  <a:pt x="2719784" y="5284494"/>
                </a:lnTo>
                <a:cubicBezTo>
                  <a:pt x="2718546" y="5285423"/>
                  <a:pt x="2716996" y="5285837"/>
                  <a:pt x="2715138" y="5285837"/>
                </a:cubicBezTo>
                <a:cubicBezTo>
                  <a:pt x="2714983" y="5277266"/>
                  <a:pt x="2720559" y="5275614"/>
                  <a:pt x="2725361" y="5273343"/>
                </a:cubicBezTo>
                <a:cubicBezTo>
                  <a:pt x="2725516" y="5274272"/>
                  <a:pt x="2725516" y="5275511"/>
                  <a:pt x="2725051" y="5276853"/>
                </a:cubicBezTo>
                <a:lnTo>
                  <a:pt x="2724122" y="5279228"/>
                </a:lnTo>
                <a:lnTo>
                  <a:pt x="2724897" y="5278918"/>
                </a:lnTo>
                <a:cubicBezTo>
                  <a:pt x="2726600" y="5278712"/>
                  <a:pt x="2728149" y="5278609"/>
                  <a:pt x="2729853" y="5278299"/>
                </a:cubicBezTo>
                <a:lnTo>
                  <a:pt x="2733725" y="5276544"/>
                </a:lnTo>
                <a:lnTo>
                  <a:pt x="2731092" y="5266528"/>
                </a:lnTo>
                <a:lnTo>
                  <a:pt x="2731557" y="5260022"/>
                </a:lnTo>
                <a:lnTo>
                  <a:pt x="2729078" y="5260332"/>
                </a:lnTo>
                <a:cubicBezTo>
                  <a:pt x="2725051" y="5259506"/>
                  <a:pt x="2720559" y="5256718"/>
                  <a:pt x="2716687" y="5251452"/>
                </a:cubicBezTo>
                <a:cubicBezTo>
                  <a:pt x="2716532" y="5249387"/>
                  <a:pt x="2717152" y="5247219"/>
                  <a:pt x="2718236" y="5245050"/>
                </a:cubicBezTo>
                <a:cubicBezTo>
                  <a:pt x="2721488" y="5238752"/>
                  <a:pt x="2728924" y="5233176"/>
                  <a:pt x="2733725" y="5234725"/>
                </a:cubicBezTo>
                <a:close/>
                <a:moveTo>
                  <a:pt x="2765479" y="5231627"/>
                </a:moveTo>
                <a:cubicBezTo>
                  <a:pt x="2766563" y="5231730"/>
                  <a:pt x="2768422" y="5231111"/>
                  <a:pt x="2770126" y="5231834"/>
                </a:cubicBezTo>
                <a:cubicBezTo>
                  <a:pt x="2770746" y="5234105"/>
                  <a:pt x="2769816" y="5235241"/>
                  <a:pt x="2768732" y="5235654"/>
                </a:cubicBezTo>
                <a:cubicBezTo>
                  <a:pt x="2767493" y="5235964"/>
                  <a:pt x="2766099" y="5235448"/>
                  <a:pt x="2765324" y="5234415"/>
                </a:cubicBezTo>
                <a:cubicBezTo>
                  <a:pt x="2764860" y="5233692"/>
                  <a:pt x="2764860" y="5232763"/>
                  <a:pt x="2765479" y="5231627"/>
                </a:cubicBezTo>
                <a:close/>
                <a:moveTo>
                  <a:pt x="2413245" y="5231420"/>
                </a:moveTo>
                <a:cubicBezTo>
                  <a:pt x="2411231" y="5235861"/>
                  <a:pt x="2405345" y="5240920"/>
                  <a:pt x="2400544" y="5240404"/>
                </a:cubicBezTo>
                <a:cubicBezTo>
                  <a:pt x="2398994" y="5240301"/>
                  <a:pt x="2397600" y="5239475"/>
                  <a:pt x="2396361" y="5237822"/>
                </a:cubicBezTo>
                <a:cubicBezTo>
                  <a:pt x="2401628" y="5235654"/>
                  <a:pt x="2407359" y="5231730"/>
                  <a:pt x="2413245" y="5231420"/>
                </a:cubicBezTo>
                <a:close/>
                <a:moveTo>
                  <a:pt x="1880925" y="5230801"/>
                </a:moveTo>
                <a:cubicBezTo>
                  <a:pt x="1883965" y="5229846"/>
                  <a:pt x="1886521" y="5231834"/>
                  <a:pt x="1883810" y="5240920"/>
                </a:cubicBezTo>
                <a:cubicBezTo>
                  <a:pt x="1878079" y="5241437"/>
                  <a:pt x="1875601" y="5240197"/>
                  <a:pt x="1875135" y="5238339"/>
                </a:cubicBezTo>
                <a:cubicBezTo>
                  <a:pt x="1874361" y="5235654"/>
                  <a:pt x="1877885" y="5231756"/>
                  <a:pt x="1880925" y="5230801"/>
                </a:cubicBezTo>
                <a:close/>
                <a:moveTo>
                  <a:pt x="1685388" y="5227910"/>
                </a:moveTo>
                <a:cubicBezTo>
                  <a:pt x="1683994" y="5229872"/>
                  <a:pt x="1681515" y="5233176"/>
                  <a:pt x="1679347" y="5234002"/>
                </a:cubicBezTo>
                <a:cubicBezTo>
                  <a:pt x="1678727" y="5234312"/>
                  <a:pt x="1678108" y="5234209"/>
                  <a:pt x="1677488" y="5233795"/>
                </a:cubicBezTo>
                <a:cubicBezTo>
                  <a:pt x="1676714" y="5232970"/>
                  <a:pt x="1677643" y="5232040"/>
                  <a:pt x="1677798" y="5231214"/>
                </a:cubicBezTo>
                <a:cubicBezTo>
                  <a:pt x="1678727" y="5229562"/>
                  <a:pt x="1684613" y="5227084"/>
                  <a:pt x="1685388" y="5227910"/>
                </a:cubicBezTo>
                <a:close/>
                <a:moveTo>
                  <a:pt x="2558073" y="5227497"/>
                </a:moveTo>
                <a:cubicBezTo>
                  <a:pt x="2559157" y="5227807"/>
                  <a:pt x="2559157" y="5227807"/>
                  <a:pt x="2560551" y="5229975"/>
                </a:cubicBezTo>
                <a:cubicBezTo>
                  <a:pt x="2559467" y="5229665"/>
                  <a:pt x="2559467" y="5229665"/>
                  <a:pt x="2559312" y="5230801"/>
                </a:cubicBezTo>
                <a:cubicBezTo>
                  <a:pt x="2559312" y="5230801"/>
                  <a:pt x="2559312" y="5230904"/>
                  <a:pt x="2559777" y="5231627"/>
                </a:cubicBezTo>
                <a:cubicBezTo>
                  <a:pt x="2559157" y="5232040"/>
                  <a:pt x="2558692" y="5231214"/>
                  <a:pt x="2558073" y="5231627"/>
                </a:cubicBezTo>
                <a:cubicBezTo>
                  <a:pt x="2558073" y="5231627"/>
                  <a:pt x="2557453" y="5231008"/>
                  <a:pt x="2557453" y="5231008"/>
                </a:cubicBezTo>
                <a:cubicBezTo>
                  <a:pt x="2557144" y="5231214"/>
                  <a:pt x="2557299" y="5231214"/>
                  <a:pt x="2557299" y="5230904"/>
                </a:cubicBezTo>
                <a:cubicBezTo>
                  <a:pt x="2557299" y="5230594"/>
                  <a:pt x="2557299" y="5229975"/>
                  <a:pt x="2557144" y="5229046"/>
                </a:cubicBezTo>
                <a:cubicBezTo>
                  <a:pt x="2557299" y="5227910"/>
                  <a:pt x="2556989" y="5227290"/>
                  <a:pt x="2558073" y="5227497"/>
                </a:cubicBezTo>
                <a:close/>
                <a:moveTo>
                  <a:pt x="2738837" y="5227290"/>
                </a:moveTo>
                <a:cubicBezTo>
                  <a:pt x="2741006" y="5231524"/>
                  <a:pt x="2736204" y="5235344"/>
                  <a:pt x="2734500" y="5234931"/>
                </a:cubicBezTo>
                <a:cubicBezTo>
                  <a:pt x="2733571" y="5232763"/>
                  <a:pt x="2734655" y="5229562"/>
                  <a:pt x="2733571" y="5227497"/>
                </a:cubicBezTo>
                <a:cubicBezTo>
                  <a:pt x="2735119" y="5228013"/>
                  <a:pt x="2737288" y="5226774"/>
                  <a:pt x="2738837" y="5227290"/>
                </a:cubicBezTo>
                <a:close/>
                <a:moveTo>
                  <a:pt x="2278796" y="5226877"/>
                </a:moveTo>
                <a:cubicBezTo>
                  <a:pt x="2280500" y="5227600"/>
                  <a:pt x="2281429" y="5228426"/>
                  <a:pt x="2283287" y="5229252"/>
                </a:cubicBezTo>
                <a:cubicBezTo>
                  <a:pt x="2283597" y="5231834"/>
                  <a:pt x="2286541" y="5234209"/>
                  <a:pt x="2283907" y="5239578"/>
                </a:cubicBezTo>
                <a:cubicBezTo>
                  <a:pt x="2280500" y="5245050"/>
                  <a:pt x="2274768" y="5241023"/>
                  <a:pt x="2274923" y="5241849"/>
                </a:cubicBezTo>
                <a:cubicBezTo>
                  <a:pt x="2274149" y="5242779"/>
                  <a:pt x="2274149" y="5242779"/>
                  <a:pt x="2274303" y="5243708"/>
                </a:cubicBezTo>
                <a:cubicBezTo>
                  <a:pt x="2273529" y="5243708"/>
                  <a:pt x="2271980" y="5244741"/>
                  <a:pt x="2271205" y="5245567"/>
                </a:cubicBezTo>
                <a:cubicBezTo>
                  <a:pt x="2271051" y="5244741"/>
                  <a:pt x="2271051" y="5243915"/>
                  <a:pt x="2270121" y="5243915"/>
                </a:cubicBezTo>
                <a:cubicBezTo>
                  <a:pt x="2271515" y="5242056"/>
                  <a:pt x="2272445" y="5242056"/>
                  <a:pt x="2273064" y="5241127"/>
                </a:cubicBezTo>
                <a:cubicBezTo>
                  <a:pt x="2272290" y="5241230"/>
                  <a:pt x="2273064" y="5240301"/>
                  <a:pt x="2273064" y="5240301"/>
                </a:cubicBezTo>
                <a:cubicBezTo>
                  <a:pt x="2273064" y="5240301"/>
                  <a:pt x="2273064" y="5240301"/>
                  <a:pt x="2271051" y="5238648"/>
                </a:cubicBezTo>
                <a:cubicBezTo>
                  <a:pt x="2271051" y="5238648"/>
                  <a:pt x="2267178" y="5234518"/>
                  <a:pt x="2269967" y="5229975"/>
                </a:cubicBezTo>
                <a:cubicBezTo>
                  <a:pt x="2270896" y="5230801"/>
                  <a:pt x="2275078" y="5225328"/>
                  <a:pt x="2278796" y="5226877"/>
                </a:cubicBezTo>
                <a:close/>
                <a:moveTo>
                  <a:pt x="2627776" y="5225742"/>
                </a:moveTo>
                <a:lnTo>
                  <a:pt x="2628241" y="5227600"/>
                </a:lnTo>
                <a:lnTo>
                  <a:pt x="2628860" y="5227084"/>
                </a:lnTo>
                <a:cubicBezTo>
                  <a:pt x="2629945" y="5226154"/>
                  <a:pt x="2631339" y="5225432"/>
                  <a:pt x="2632888" y="5225948"/>
                </a:cubicBezTo>
                <a:cubicBezTo>
                  <a:pt x="2632268" y="5226568"/>
                  <a:pt x="2631184" y="5227600"/>
                  <a:pt x="2630255" y="5228529"/>
                </a:cubicBezTo>
                <a:lnTo>
                  <a:pt x="2628860" y="5229459"/>
                </a:lnTo>
                <a:lnTo>
                  <a:pt x="2629635" y="5231627"/>
                </a:lnTo>
                <a:lnTo>
                  <a:pt x="2627776" y="5235448"/>
                </a:lnTo>
                <a:lnTo>
                  <a:pt x="2629480" y="5235861"/>
                </a:lnTo>
                <a:cubicBezTo>
                  <a:pt x="2629171" y="5237100"/>
                  <a:pt x="2628241" y="5238752"/>
                  <a:pt x="2627002" y="5238442"/>
                </a:cubicBezTo>
                <a:lnTo>
                  <a:pt x="2626382" y="5237822"/>
                </a:lnTo>
                <a:lnTo>
                  <a:pt x="2624059" y="5237306"/>
                </a:lnTo>
                <a:lnTo>
                  <a:pt x="2623594" y="5238545"/>
                </a:lnTo>
                <a:cubicBezTo>
                  <a:pt x="2622820" y="5239784"/>
                  <a:pt x="2621735" y="5240714"/>
                  <a:pt x="2620341" y="5240610"/>
                </a:cubicBezTo>
                <a:cubicBezTo>
                  <a:pt x="2619877" y="5239887"/>
                  <a:pt x="2619257" y="5240301"/>
                  <a:pt x="2618792" y="5239578"/>
                </a:cubicBezTo>
                <a:cubicBezTo>
                  <a:pt x="2618792" y="5239578"/>
                  <a:pt x="2618018" y="5239061"/>
                  <a:pt x="2617398" y="5238029"/>
                </a:cubicBezTo>
                <a:cubicBezTo>
                  <a:pt x="2617088" y="5237513"/>
                  <a:pt x="2616779" y="5236893"/>
                  <a:pt x="2616624" y="5236171"/>
                </a:cubicBezTo>
                <a:cubicBezTo>
                  <a:pt x="2616314" y="5235344"/>
                  <a:pt x="2616314" y="5234415"/>
                  <a:pt x="2616624" y="5233279"/>
                </a:cubicBezTo>
                <a:cubicBezTo>
                  <a:pt x="2616934" y="5232040"/>
                  <a:pt x="2618327" y="5229252"/>
                  <a:pt x="2618792" y="5229975"/>
                </a:cubicBezTo>
                <a:cubicBezTo>
                  <a:pt x="2619877" y="5230285"/>
                  <a:pt x="2619567" y="5229459"/>
                  <a:pt x="2620341" y="5229046"/>
                </a:cubicBezTo>
                <a:lnTo>
                  <a:pt x="2620806" y="5229252"/>
                </a:lnTo>
                <a:lnTo>
                  <a:pt x="2623749" y="5226981"/>
                </a:lnTo>
                <a:cubicBezTo>
                  <a:pt x="2625143" y="5226154"/>
                  <a:pt x="2626537" y="5225638"/>
                  <a:pt x="2627776" y="5225742"/>
                </a:cubicBezTo>
                <a:close/>
                <a:moveTo>
                  <a:pt x="1772285" y="5225638"/>
                </a:moveTo>
                <a:cubicBezTo>
                  <a:pt x="1772285" y="5225638"/>
                  <a:pt x="1772285" y="5225638"/>
                  <a:pt x="1772904" y="5226051"/>
                </a:cubicBezTo>
                <a:cubicBezTo>
                  <a:pt x="1774298" y="5226877"/>
                  <a:pt x="1774918" y="5227394"/>
                  <a:pt x="1775692" y="5227807"/>
                </a:cubicBezTo>
                <a:cubicBezTo>
                  <a:pt x="1775847" y="5228943"/>
                  <a:pt x="1775847" y="5232040"/>
                  <a:pt x="1774608" y="5232350"/>
                </a:cubicBezTo>
                <a:cubicBezTo>
                  <a:pt x="1773524" y="5232660"/>
                  <a:pt x="1772285" y="5232763"/>
                  <a:pt x="1771355" y="5232556"/>
                </a:cubicBezTo>
                <a:cubicBezTo>
                  <a:pt x="1770426" y="5232350"/>
                  <a:pt x="1769651" y="5231834"/>
                  <a:pt x="1769651" y="5231317"/>
                </a:cubicBezTo>
                <a:cubicBezTo>
                  <a:pt x="1769342" y="5229459"/>
                  <a:pt x="1769032" y="5227807"/>
                  <a:pt x="1770426" y="5226568"/>
                </a:cubicBezTo>
                <a:cubicBezTo>
                  <a:pt x="1770890" y="5226154"/>
                  <a:pt x="1771510" y="5225845"/>
                  <a:pt x="1772285" y="5225638"/>
                </a:cubicBezTo>
                <a:close/>
                <a:moveTo>
                  <a:pt x="2723192" y="5224503"/>
                </a:moveTo>
                <a:cubicBezTo>
                  <a:pt x="2724897" y="5225225"/>
                  <a:pt x="2725671" y="5234415"/>
                  <a:pt x="2721643" y="5233692"/>
                </a:cubicBezTo>
                <a:cubicBezTo>
                  <a:pt x="2720714" y="5233382"/>
                  <a:pt x="2720404" y="5232660"/>
                  <a:pt x="2720250" y="5231834"/>
                </a:cubicBezTo>
                <a:cubicBezTo>
                  <a:pt x="2719784" y="5229149"/>
                  <a:pt x="2721798" y="5224915"/>
                  <a:pt x="2723192" y="5224503"/>
                </a:cubicBezTo>
                <a:close/>
                <a:moveTo>
                  <a:pt x="2480160" y="5224296"/>
                </a:moveTo>
                <a:cubicBezTo>
                  <a:pt x="2482793" y="5228839"/>
                  <a:pt x="2479076" y="5234105"/>
                  <a:pt x="2474739" y="5234931"/>
                </a:cubicBezTo>
                <a:cubicBezTo>
                  <a:pt x="2473345" y="5235241"/>
                  <a:pt x="2471796" y="5235035"/>
                  <a:pt x="2470557" y="5234105"/>
                </a:cubicBezTo>
                <a:cubicBezTo>
                  <a:pt x="2466994" y="5227910"/>
                  <a:pt x="2475048" y="5222334"/>
                  <a:pt x="2480160" y="5224296"/>
                </a:cubicBezTo>
                <a:close/>
                <a:moveTo>
                  <a:pt x="2569845" y="5223780"/>
                </a:moveTo>
                <a:cubicBezTo>
                  <a:pt x="2574957" y="5219649"/>
                  <a:pt x="2591531" y="5224606"/>
                  <a:pt x="2591531" y="5233795"/>
                </a:cubicBezTo>
                <a:cubicBezTo>
                  <a:pt x="2585645" y="5231627"/>
                  <a:pt x="2580378" y="5229046"/>
                  <a:pt x="2572014" y="5229046"/>
                </a:cubicBezTo>
                <a:cubicBezTo>
                  <a:pt x="2572169" y="5226568"/>
                  <a:pt x="2569071" y="5226774"/>
                  <a:pt x="2569845" y="5223780"/>
                </a:cubicBezTo>
                <a:close/>
                <a:moveTo>
                  <a:pt x="2535148" y="5223573"/>
                </a:moveTo>
                <a:cubicBezTo>
                  <a:pt x="2539331" y="5228839"/>
                  <a:pt x="2543513" y="5234105"/>
                  <a:pt x="2542893" y="5239061"/>
                </a:cubicBezTo>
                <a:cubicBezTo>
                  <a:pt x="2539331" y="5242056"/>
                  <a:pt x="2535458" y="5243811"/>
                  <a:pt x="2531586" y="5243915"/>
                </a:cubicBezTo>
                <a:cubicBezTo>
                  <a:pt x="2527558" y="5243915"/>
                  <a:pt x="2523841" y="5242469"/>
                  <a:pt x="2520124" y="5238855"/>
                </a:cubicBezTo>
                <a:cubicBezTo>
                  <a:pt x="2519969" y="5236790"/>
                  <a:pt x="2520433" y="5234931"/>
                  <a:pt x="2521517" y="5233382"/>
                </a:cubicBezTo>
                <a:cubicBezTo>
                  <a:pt x="2524305" y="5228529"/>
                  <a:pt x="2531121" y="5225742"/>
                  <a:pt x="2535148" y="5223573"/>
                </a:cubicBezTo>
                <a:close/>
                <a:moveTo>
                  <a:pt x="2446702" y="5220682"/>
                </a:moveTo>
                <a:cubicBezTo>
                  <a:pt x="2447787" y="5220992"/>
                  <a:pt x="2448716" y="5221818"/>
                  <a:pt x="2449336" y="5223367"/>
                </a:cubicBezTo>
                <a:cubicBezTo>
                  <a:pt x="2450575" y="5228219"/>
                  <a:pt x="2446858" y="5229665"/>
                  <a:pt x="2442366" y="5230698"/>
                </a:cubicBezTo>
                <a:cubicBezTo>
                  <a:pt x="2441281" y="5229046"/>
                  <a:pt x="2439732" y="5228116"/>
                  <a:pt x="2438803" y="5226361"/>
                </a:cubicBezTo>
                <a:cubicBezTo>
                  <a:pt x="2438803" y="5223470"/>
                  <a:pt x="2443450" y="5219649"/>
                  <a:pt x="2446702" y="5220682"/>
                </a:cubicBezTo>
                <a:close/>
                <a:moveTo>
                  <a:pt x="2804358" y="5218410"/>
                </a:moveTo>
                <a:cubicBezTo>
                  <a:pt x="2811019" y="5216448"/>
                  <a:pt x="2823565" y="5226877"/>
                  <a:pt x="2819073" y="5235241"/>
                </a:cubicBezTo>
                <a:cubicBezTo>
                  <a:pt x="2814736" y="5231214"/>
                  <a:pt x="2811328" y="5226981"/>
                  <a:pt x="2803739" y="5223883"/>
                </a:cubicBezTo>
                <a:cubicBezTo>
                  <a:pt x="2804978" y="5221818"/>
                  <a:pt x="2802189" y="5220888"/>
                  <a:pt x="2804358" y="5218410"/>
                </a:cubicBezTo>
                <a:close/>
                <a:moveTo>
                  <a:pt x="2350357" y="5218101"/>
                </a:moveTo>
                <a:cubicBezTo>
                  <a:pt x="2350512" y="5219030"/>
                  <a:pt x="2350047" y="5221611"/>
                  <a:pt x="2350822" y="5221611"/>
                </a:cubicBezTo>
                <a:cubicBezTo>
                  <a:pt x="2349273" y="5223676"/>
                  <a:pt x="2347259" y="5225845"/>
                  <a:pt x="2345245" y="5226051"/>
                </a:cubicBezTo>
                <a:cubicBezTo>
                  <a:pt x="2344471" y="5226154"/>
                  <a:pt x="2343851" y="5226051"/>
                  <a:pt x="2343077" y="5225638"/>
                </a:cubicBezTo>
                <a:cubicBezTo>
                  <a:pt x="2341373" y="5224812"/>
                  <a:pt x="2341838" y="5223057"/>
                  <a:pt x="2343387" y="5221198"/>
                </a:cubicBezTo>
                <a:cubicBezTo>
                  <a:pt x="2345245" y="5216655"/>
                  <a:pt x="2347569" y="5215622"/>
                  <a:pt x="2350357" y="5218101"/>
                </a:cubicBezTo>
                <a:close/>
                <a:moveTo>
                  <a:pt x="2260518" y="5217584"/>
                </a:moveTo>
                <a:cubicBezTo>
                  <a:pt x="2264081" y="5216655"/>
                  <a:pt x="2264545" y="5219030"/>
                  <a:pt x="2266249" y="5222334"/>
                </a:cubicBezTo>
                <a:cubicBezTo>
                  <a:pt x="2265165" y="5222747"/>
                  <a:pt x="2265629" y="5226258"/>
                  <a:pt x="2265939" y="5227497"/>
                </a:cubicBezTo>
                <a:cubicBezTo>
                  <a:pt x="2263461" y="5228116"/>
                  <a:pt x="2263770" y="5232453"/>
                  <a:pt x="2260208" y="5233382"/>
                </a:cubicBezTo>
                <a:cubicBezTo>
                  <a:pt x="2258814" y="5232556"/>
                  <a:pt x="2258039" y="5232143"/>
                  <a:pt x="2257110" y="5230491"/>
                </a:cubicBezTo>
                <a:cubicBezTo>
                  <a:pt x="2256181" y="5221302"/>
                  <a:pt x="2260673" y="5218823"/>
                  <a:pt x="2260518" y="5217584"/>
                </a:cubicBezTo>
                <a:close/>
                <a:moveTo>
                  <a:pt x="2655038" y="5217481"/>
                </a:moveTo>
                <a:cubicBezTo>
                  <a:pt x="2659065" y="5217171"/>
                  <a:pt x="2661544" y="5218307"/>
                  <a:pt x="2662938" y="5220269"/>
                </a:cubicBezTo>
                <a:cubicBezTo>
                  <a:pt x="2666965" y="5226051"/>
                  <a:pt x="2660305" y="5238545"/>
                  <a:pt x="2651166" y="5237719"/>
                </a:cubicBezTo>
                <a:cubicBezTo>
                  <a:pt x="2649772" y="5236377"/>
                  <a:pt x="2648997" y="5234828"/>
                  <a:pt x="2648842" y="5232970"/>
                </a:cubicBezTo>
                <a:cubicBezTo>
                  <a:pt x="2648532" y="5230285"/>
                  <a:pt x="2649152" y="5227084"/>
                  <a:pt x="2650391" y="5224296"/>
                </a:cubicBezTo>
                <a:lnTo>
                  <a:pt x="2651475" y="5222850"/>
                </a:lnTo>
                <a:lnTo>
                  <a:pt x="2651630" y="5222127"/>
                </a:lnTo>
                <a:lnTo>
                  <a:pt x="2652560" y="5221198"/>
                </a:lnTo>
                <a:close/>
                <a:moveTo>
                  <a:pt x="2591376" y="5215416"/>
                </a:moveTo>
                <a:lnTo>
                  <a:pt x="2591221" y="5218307"/>
                </a:lnTo>
                <a:lnTo>
                  <a:pt x="2591531" y="5219856"/>
                </a:lnTo>
                <a:cubicBezTo>
                  <a:pt x="2591376" y="5220682"/>
                  <a:pt x="2590911" y="5221302"/>
                  <a:pt x="2590446" y="5221714"/>
                </a:cubicBezTo>
                <a:cubicBezTo>
                  <a:pt x="2589982" y="5223057"/>
                  <a:pt x="2588742" y="5223676"/>
                  <a:pt x="2587503" y="5223883"/>
                </a:cubicBezTo>
                <a:cubicBezTo>
                  <a:pt x="2586109" y="5224089"/>
                  <a:pt x="2584715" y="5223780"/>
                  <a:pt x="2583476" y="5223367"/>
                </a:cubicBezTo>
                <a:cubicBezTo>
                  <a:pt x="2584406" y="5223367"/>
                  <a:pt x="2584406" y="5223367"/>
                  <a:pt x="2584406" y="5223367"/>
                </a:cubicBezTo>
                <a:cubicBezTo>
                  <a:pt x="2585335" y="5222437"/>
                  <a:pt x="2584406" y="5222437"/>
                  <a:pt x="2584560" y="5221611"/>
                </a:cubicBezTo>
                <a:cubicBezTo>
                  <a:pt x="2584560" y="5221611"/>
                  <a:pt x="2584406" y="5222541"/>
                  <a:pt x="2583786" y="5221611"/>
                </a:cubicBezTo>
                <a:cubicBezTo>
                  <a:pt x="2584560" y="5221611"/>
                  <a:pt x="2584560" y="5220785"/>
                  <a:pt x="2584715" y="5219856"/>
                </a:cubicBezTo>
                <a:lnTo>
                  <a:pt x="2587658" y="5217687"/>
                </a:lnTo>
                <a:lnTo>
                  <a:pt x="2586729" y="5215932"/>
                </a:lnTo>
                <a:cubicBezTo>
                  <a:pt x="2588433" y="5215622"/>
                  <a:pt x="2588588" y="5214383"/>
                  <a:pt x="2591376" y="5215416"/>
                </a:cubicBezTo>
                <a:close/>
                <a:moveTo>
                  <a:pt x="2106861" y="5215209"/>
                </a:moveTo>
                <a:cubicBezTo>
                  <a:pt x="2106396" y="5216448"/>
                  <a:pt x="2106241" y="5218410"/>
                  <a:pt x="2105002" y="5219959"/>
                </a:cubicBezTo>
                <a:cubicBezTo>
                  <a:pt x="2100819" y="5221095"/>
                  <a:pt x="2098497" y="5219443"/>
                  <a:pt x="2097102" y="5216139"/>
                </a:cubicBezTo>
                <a:cubicBezTo>
                  <a:pt x="2098961" y="5211492"/>
                  <a:pt x="2105312" y="5211182"/>
                  <a:pt x="2106861" y="5215209"/>
                </a:cubicBezTo>
                <a:close/>
                <a:moveTo>
                  <a:pt x="2540105" y="5214590"/>
                </a:moveTo>
                <a:cubicBezTo>
                  <a:pt x="2541499" y="5217378"/>
                  <a:pt x="2542273" y="5218307"/>
                  <a:pt x="2541189" y="5220992"/>
                </a:cubicBezTo>
                <a:cubicBezTo>
                  <a:pt x="2540415" y="5220062"/>
                  <a:pt x="2539795" y="5219133"/>
                  <a:pt x="2539640" y="5218101"/>
                </a:cubicBezTo>
                <a:cubicBezTo>
                  <a:pt x="2539485" y="5217068"/>
                  <a:pt x="2539640" y="5216036"/>
                  <a:pt x="2540105" y="5214590"/>
                </a:cubicBezTo>
                <a:close/>
                <a:moveTo>
                  <a:pt x="2359031" y="5214074"/>
                </a:moveTo>
                <a:cubicBezTo>
                  <a:pt x="2359186" y="5215003"/>
                  <a:pt x="2360115" y="5216758"/>
                  <a:pt x="2359341" y="5216758"/>
                </a:cubicBezTo>
                <a:cubicBezTo>
                  <a:pt x="2359496" y="5217687"/>
                  <a:pt x="2357947" y="5217687"/>
                  <a:pt x="2357947" y="5217687"/>
                </a:cubicBezTo>
                <a:cubicBezTo>
                  <a:pt x="2357947" y="5218617"/>
                  <a:pt x="2358257" y="5219546"/>
                  <a:pt x="2357482" y="5220476"/>
                </a:cubicBezTo>
                <a:cubicBezTo>
                  <a:pt x="2356553" y="5219649"/>
                  <a:pt x="2356708" y="5220579"/>
                  <a:pt x="2355934" y="5220579"/>
                </a:cubicBezTo>
                <a:cubicBezTo>
                  <a:pt x="2356553" y="5219649"/>
                  <a:pt x="2356243" y="5216965"/>
                  <a:pt x="2356708" y="5215106"/>
                </a:cubicBezTo>
                <a:cubicBezTo>
                  <a:pt x="2357482" y="5215003"/>
                  <a:pt x="2358257" y="5214074"/>
                  <a:pt x="2359031" y="5214074"/>
                </a:cubicBezTo>
                <a:close/>
                <a:moveTo>
                  <a:pt x="1716832" y="5212524"/>
                </a:moveTo>
                <a:cubicBezTo>
                  <a:pt x="1713424" y="5222334"/>
                  <a:pt x="1715747" y="5229562"/>
                  <a:pt x="1709861" y="5240094"/>
                </a:cubicBezTo>
                <a:cubicBezTo>
                  <a:pt x="1708312" y="5238752"/>
                  <a:pt x="1707383" y="5236377"/>
                  <a:pt x="1707073" y="5233692"/>
                </a:cubicBezTo>
                <a:cubicBezTo>
                  <a:pt x="1705989" y="5225432"/>
                  <a:pt x="1709861" y="5213247"/>
                  <a:pt x="1716832" y="5212524"/>
                </a:cubicBezTo>
                <a:close/>
                <a:moveTo>
                  <a:pt x="2805133" y="5210666"/>
                </a:moveTo>
                <a:cubicBezTo>
                  <a:pt x="2805133" y="5213144"/>
                  <a:pt x="2806062" y="5213970"/>
                  <a:pt x="2805287" y="5213970"/>
                </a:cubicBezTo>
                <a:cubicBezTo>
                  <a:pt x="2805287" y="5214383"/>
                  <a:pt x="2804978" y="5214486"/>
                  <a:pt x="2804823" y="5214486"/>
                </a:cubicBezTo>
                <a:cubicBezTo>
                  <a:pt x="2804668" y="5214486"/>
                  <a:pt x="2804358" y="5214280"/>
                  <a:pt x="2804358" y="5213867"/>
                </a:cubicBezTo>
                <a:cubicBezTo>
                  <a:pt x="2802654" y="5212938"/>
                  <a:pt x="2804358" y="5211389"/>
                  <a:pt x="2805133" y="5210666"/>
                </a:cubicBezTo>
                <a:close/>
                <a:moveTo>
                  <a:pt x="1690344" y="5208911"/>
                </a:moveTo>
                <a:cubicBezTo>
                  <a:pt x="1690964" y="5210356"/>
                  <a:pt x="1689415" y="5213867"/>
                  <a:pt x="1688486" y="5216139"/>
                </a:cubicBezTo>
                <a:cubicBezTo>
                  <a:pt x="1687401" y="5216758"/>
                  <a:pt x="1686008" y="5216965"/>
                  <a:pt x="1684768" y="5216861"/>
                </a:cubicBezTo>
                <a:cubicBezTo>
                  <a:pt x="1683374" y="5216758"/>
                  <a:pt x="1681980" y="5216242"/>
                  <a:pt x="1680741" y="5215519"/>
                </a:cubicBezTo>
                <a:cubicBezTo>
                  <a:pt x="1682755" y="5210873"/>
                  <a:pt x="1685853" y="5209324"/>
                  <a:pt x="1690344" y="5208911"/>
                </a:cubicBezTo>
                <a:close/>
                <a:moveTo>
                  <a:pt x="2355004" y="5207569"/>
                </a:moveTo>
                <a:cubicBezTo>
                  <a:pt x="2355004" y="5207569"/>
                  <a:pt x="2354384" y="5209324"/>
                  <a:pt x="2354384" y="5209324"/>
                </a:cubicBezTo>
                <a:cubicBezTo>
                  <a:pt x="2352835" y="5211079"/>
                  <a:pt x="2352061" y="5212112"/>
                  <a:pt x="2351441" y="5213867"/>
                </a:cubicBezTo>
                <a:cubicBezTo>
                  <a:pt x="2349737" y="5213144"/>
                  <a:pt x="2349583" y="5212215"/>
                  <a:pt x="2350357" y="5211285"/>
                </a:cubicBezTo>
                <a:cubicBezTo>
                  <a:pt x="2350357" y="5211285"/>
                  <a:pt x="2350977" y="5210356"/>
                  <a:pt x="2351751" y="5209427"/>
                </a:cubicBezTo>
                <a:cubicBezTo>
                  <a:pt x="2352526" y="5208601"/>
                  <a:pt x="2352371" y="5207672"/>
                  <a:pt x="2352371" y="5207672"/>
                </a:cubicBezTo>
                <a:cubicBezTo>
                  <a:pt x="2353145" y="5206742"/>
                  <a:pt x="2354075" y="5206742"/>
                  <a:pt x="2355004" y="5207569"/>
                </a:cubicBezTo>
                <a:close/>
                <a:moveTo>
                  <a:pt x="2446858" y="5206949"/>
                </a:moveTo>
                <a:cubicBezTo>
                  <a:pt x="2448406" y="5209014"/>
                  <a:pt x="2449181" y="5210563"/>
                  <a:pt x="2450265" y="5213454"/>
                </a:cubicBezTo>
                <a:cubicBezTo>
                  <a:pt x="2450265" y="5213454"/>
                  <a:pt x="2451040" y="5218101"/>
                  <a:pt x="2448252" y="5219546"/>
                </a:cubicBezTo>
                <a:cubicBezTo>
                  <a:pt x="2447787" y="5220269"/>
                  <a:pt x="2444999" y="5218514"/>
                  <a:pt x="2444844" y="5217378"/>
                </a:cubicBezTo>
                <a:cubicBezTo>
                  <a:pt x="2444534" y="5215003"/>
                  <a:pt x="2444379" y="5213867"/>
                  <a:pt x="2445309" y="5212318"/>
                </a:cubicBezTo>
                <a:cubicBezTo>
                  <a:pt x="2445154" y="5211182"/>
                  <a:pt x="2444844" y="5209943"/>
                  <a:pt x="2444999" y="5208911"/>
                </a:cubicBezTo>
                <a:cubicBezTo>
                  <a:pt x="2445154" y="5207981"/>
                  <a:pt x="2445773" y="5207258"/>
                  <a:pt x="2446858" y="5206949"/>
                </a:cubicBezTo>
                <a:close/>
                <a:moveTo>
                  <a:pt x="2503394" y="5204161"/>
                </a:moveTo>
                <a:cubicBezTo>
                  <a:pt x="2506028" y="5201476"/>
                  <a:pt x="2509126" y="5207672"/>
                  <a:pt x="2510675" y="5208085"/>
                </a:cubicBezTo>
                <a:cubicBezTo>
                  <a:pt x="2511759" y="5210150"/>
                  <a:pt x="2512688" y="5212318"/>
                  <a:pt x="2510675" y="5213454"/>
                </a:cubicBezTo>
                <a:cubicBezTo>
                  <a:pt x="2509591" y="5213970"/>
                  <a:pt x="2508816" y="5214590"/>
                  <a:pt x="2508196" y="5214796"/>
                </a:cubicBezTo>
                <a:cubicBezTo>
                  <a:pt x="2507422" y="5215003"/>
                  <a:pt x="2506647" y="5214796"/>
                  <a:pt x="2505408" y="5213557"/>
                </a:cubicBezTo>
                <a:cubicBezTo>
                  <a:pt x="2503859" y="5213041"/>
                  <a:pt x="2502930" y="5210976"/>
                  <a:pt x="2501381" y="5210459"/>
                </a:cubicBezTo>
                <a:cubicBezTo>
                  <a:pt x="2501381" y="5210459"/>
                  <a:pt x="2501381" y="5209220"/>
                  <a:pt x="2501691" y="5207775"/>
                </a:cubicBezTo>
                <a:cubicBezTo>
                  <a:pt x="2502001" y="5206329"/>
                  <a:pt x="2502465" y="5204780"/>
                  <a:pt x="2503394" y="5204161"/>
                </a:cubicBezTo>
                <a:close/>
                <a:moveTo>
                  <a:pt x="2283752" y="5203748"/>
                </a:moveTo>
                <a:cubicBezTo>
                  <a:pt x="2286385" y="5206846"/>
                  <a:pt x="2284527" y="5211802"/>
                  <a:pt x="2279415" y="5211079"/>
                </a:cubicBezTo>
                <a:cubicBezTo>
                  <a:pt x="2279880" y="5207362"/>
                  <a:pt x="2280344" y="5203645"/>
                  <a:pt x="2283752" y="5203748"/>
                </a:cubicBezTo>
                <a:close/>
                <a:moveTo>
                  <a:pt x="2320772" y="5203438"/>
                </a:moveTo>
                <a:cubicBezTo>
                  <a:pt x="2319998" y="5204368"/>
                  <a:pt x="2318448" y="5205297"/>
                  <a:pt x="2317674" y="5206226"/>
                </a:cubicBezTo>
                <a:cubicBezTo>
                  <a:pt x="2317674" y="5206226"/>
                  <a:pt x="2317674" y="5206329"/>
                  <a:pt x="2316744" y="5205503"/>
                </a:cubicBezTo>
                <a:cubicBezTo>
                  <a:pt x="2318448" y="5205400"/>
                  <a:pt x="2318758" y="5201786"/>
                  <a:pt x="2320772" y="5203438"/>
                </a:cubicBezTo>
                <a:close/>
                <a:moveTo>
                  <a:pt x="1581297" y="5201786"/>
                </a:moveTo>
                <a:cubicBezTo>
                  <a:pt x="1583311" y="5201270"/>
                  <a:pt x="1585480" y="5201786"/>
                  <a:pt x="1587958" y="5203954"/>
                </a:cubicBezTo>
                <a:cubicBezTo>
                  <a:pt x="1584550" y="5209324"/>
                  <a:pt x="1586099" y="5213144"/>
                  <a:pt x="1581452" y="5216242"/>
                </a:cubicBezTo>
                <a:cubicBezTo>
                  <a:pt x="1579439" y="5215725"/>
                  <a:pt x="1578044" y="5214693"/>
                  <a:pt x="1577270" y="5213351"/>
                </a:cubicBezTo>
                <a:cubicBezTo>
                  <a:pt x="1574637" y="5209324"/>
                  <a:pt x="1577115" y="5203025"/>
                  <a:pt x="1581297" y="5201786"/>
                </a:cubicBezTo>
                <a:close/>
                <a:moveTo>
                  <a:pt x="2425637" y="5199824"/>
                </a:moveTo>
                <a:cubicBezTo>
                  <a:pt x="2426876" y="5199411"/>
                  <a:pt x="2429819" y="5199205"/>
                  <a:pt x="2430903" y="5201992"/>
                </a:cubicBezTo>
                <a:cubicBezTo>
                  <a:pt x="2431833" y="5204780"/>
                  <a:pt x="2434311" y="5205400"/>
                  <a:pt x="2435395" y="5208188"/>
                </a:cubicBezTo>
                <a:cubicBezTo>
                  <a:pt x="2435395" y="5208188"/>
                  <a:pt x="2435395" y="5208188"/>
                  <a:pt x="2434156" y="5208498"/>
                </a:cubicBezTo>
                <a:cubicBezTo>
                  <a:pt x="2431833" y="5204780"/>
                  <a:pt x="2427495" y="5204264"/>
                  <a:pt x="2425637" y="5199824"/>
                </a:cubicBezTo>
                <a:close/>
                <a:moveTo>
                  <a:pt x="2821242" y="5199618"/>
                </a:moveTo>
                <a:lnTo>
                  <a:pt x="2820157" y="5200444"/>
                </a:lnTo>
                <a:lnTo>
                  <a:pt x="2818918" y="5204677"/>
                </a:lnTo>
                <a:lnTo>
                  <a:pt x="2823411" y="5203438"/>
                </a:lnTo>
                <a:lnTo>
                  <a:pt x="2822016" y="5201889"/>
                </a:lnTo>
                <a:close/>
                <a:moveTo>
                  <a:pt x="1891710" y="5198895"/>
                </a:moveTo>
                <a:cubicBezTo>
                  <a:pt x="1892329" y="5199411"/>
                  <a:pt x="1892949" y="5200341"/>
                  <a:pt x="1893413" y="5201580"/>
                </a:cubicBezTo>
                <a:cubicBezTo>
                  <a:pt x="1892639" y="5208911"/>
                  <a:pt x="1890315" y="5214280"/>
                  <a:pt x="1883191" y="5215209"/>
                </a:cubicBezTo>
                <a:cubicBezTo>
                  <a:pt x="1883346" y="5213970"/>
                  <a:pt x="1882106" y="5213867"/>
                  <a:pt x="1881022" y="5213867"/>
                </a:cubicBezTo>
                <a:cubicBezTo>
                  <a:pt x="1876994" y="5207775"/>
                  <a:pt x="1886753" y="5195281"/>
                  <a:pt x="1891710" y="5198895"/>
                </a:cubicBezTo>
                <a:close/>
                <a:moveTo>
                  <a:pt x="2043973" y="5198482"/>
                </a:moveTo>
                <a:cubicBezTo>
                  <a:pt x="2049549" y="5198585"/>
                  <a:pt x="2052647" y="5201786"/>
                  <a:pt x="2055745" y="5204987"/>
                </a:cubicBezTo>
                <a:cubicBezTo>
                  <a:pt x="2055280" y="5209427"/>
                  <a:pt x="2053886" y="5211079"/>
                  <a:pt x="2052027" y="5211285"/>
                </a:cubicBezTo>
                <a:cubicBezTo>
                  <a:pt x="2051407" y="5211389"/>
                  <a:pt x="2050633" y="5211285"/>
                  <a:pt x="2050014" y="5211079"/>
                </a:cubicBezTo>
                <a:cubicBezTo>
                  <a:pt x="2047071" y="5210253"/>
                  <a:pt x="2043508" y="5207775"/>
                  <a:pt x="2040720" y="5206742"/>
                </a:cubicBezTo>
                <a:cubicBezTo>
                  <a:pt x="2041030" y="5202818"/>
                  <a:pt x="2041494" y="5201580"/>
                  <a:pt x="2043973" y="5198482"/>
                </a:cubicBezTo>
                <a:close/>
                <a:moveTo>
                  <a:pt x="2169788" y="5197991"/>
                </a:moveTo>
                <a:cubicBezTo>
                  <a:pt x="2170949" y="5198249"/>
                  <a:pt x="2172227" y="5199153"/>
                  <a:pt x="2173466" y="5200031"/>
                </a:cubicBezTo>
                <a:cubicBezTo>
                  <a:pt x="2172692" y="5201683"/>
                  <a:pt x="2173621" y="5203541"/>
                  <a:pt x="2171143" y="5205090"/>
                </a:cubicBezTo>
                <a:cubicBezTo>
                  <a:pt x="2169439" y="5203335"/>
                  <a:pt x="2168510" y="5201580"/>
                  <a:pt x="2166805" y="5199824"/>
                </a:cubicBezTo>
                <a:cubicBezTo>
                  <a:pt x="2167580" y="5198120"/>
                  <a:pt x="2168626" y="5197733"/>
                  <a:pt x="2169788" y="5197991"/>
                </a:cubicBezTo>
                <a:close/>
                <a:moveTo>
                  <a:pt x="2425792" y="5196623"/>
                </a:moveTo>
                <a:cubicBezTo>
                  <a:pt x="2426721" y="5198172"/>
                  <a:pt x="2415878" y="5203128"/>
                  <a:pt x="2412935" y="5204471"/>
                </a:cubicBezTo>
                <a:cubicBezTo>
                  <a:pt x="2412315" y="5204057"/>
                  <a:pt x="2412315" y="5204057"/>
                  <a:pt x="2412315" y="5204057"/>
                </a:cubicBezTo>
                <a:cubicBezTo>
                  <a:pt x="2411851" y="5203232"/>
                  <a:pt x="2412006" y="5202612"/>
                  <a:pt x="2412781" y="5201889"/>
                </a:cubicBezTo>
                <a:cubicBezTo>
                  <a:pt x="2413400" y="5201270"/>
                  <a:pt x="2414484" y="5200650"/>
                  <a:pt x="2416033" y="5199927"/>
                </a:cubicBezTo>
                <a:cubicBezTo>
                  <a:pt x="2418821" y="5198482"/>
                  <a:pt x="2423003" y="5197966"/>
                  <a:pt x="2424088" y="5197656"/>
                </a:cubicBezTo>
                <a:cubicBezTo>
                  <a:pt x="2425327" y="5197346"/>
                  <a:pt x="2425792" y="5196623"/>
                  <a:pt x="2425792" y="5196623"/>
                </a:cubicBezTo>
                <a:close/>
                <a:moveTo>
                  <a:pt x="2263770" y="5196417"/>
                </a:moveTo>
                <a:cubicBezTo>
                  <a:pt x="2266094" y="5198998"/>
                  <a:pt x="2264855" y="5202509"/>
                  <a:pt x="2267023" y="5206019"/>
                </a:cubicBezTo>
                <a:cubicBezTo>
                  <a:pt x="2265009" y="5208601"/>
                  <a:pt x="2267178" y="5212938"/>
                  <a:pt x="2264235" y="5216345"/>
                </a:cubicBezTo>
                <a:cubicBezTo>
                  <a:pt x="2263151" y="5215519"/>
                  <a:pt x="2262376" y="5213970"/>
                  <a:pt x="2261757" y="5212112"/>
                </a:cubicBezTo>
                <a:cubicBezTo>
                  <a:pt x="2260363" y="5206639"/>
                  <a:pt x="2261757" y="5198275"/>
                  <a:pt x="2263770" y="5196417"/>
                </a:cubicBezTo>
                <a:close/>
                <a:moveTo>
                  <a:pt x="2132147" y="5195771"/>
                </a:moveTo>
                <a:cubicBezTo>
                  <a:pt x="2137879" y="5193732"/>
                  <a:pt x="2143881" y="5193784"/>
                  <a:pt x="2146049" y="5197862"/>
                </a:cubicBezTo>
                <a:cubicBezTo>
                  <a:pt x="2136446" y="5200031"/>
                  <a:pt x="2131024" y="5206019"/>
                  <a:pt x="2119872" y="5206226"/>
                </a:cubicBezTo>
                <a:cubicBezTo>
                  <a:pt x="2120957" y="5201941"/>
                  <a:pt x="2126417" y="5197811"/>
                  <a:pt x="2132147" y="5195771"/>
                </a:cubicBezTo>
                <a:close/>
                <a:moveTo>
                  <a:pt x="1754471" y="5195694"/>
                </a:moveTo>
                <a:cubicBezTo>
                  <a:pt x="1751064" y="5201167"/>
                  <a:pt x="1747346" y="5205916"/>
                  <a:pt x="1745023" y="5214486"/>
                </a:cubicBezTo>
                <a:cubicBezTo>
                  <a:pt x="1743474" y="5213867"/>
                  <a:pt x="1742699" y="5215519"/>
                  <a:pt x="1741305" y="5215725"/>
                </a:cubicBezTo>
                <a:cubicBezTo>
                  <a:pt x="1740841" y="5215829"/>
                  <a:pt x="1740376" y="5215725"/>
                  <a:pt x="1739756" y="5215313"/>
                </a:cubicBezTo>
                <a:cubicBezTo>
                  <a:pt x="1737278" y="5209014"/>
                  <a:pt x="1746107" y="5193319"/>
                  <a:pt x="1754471" y="5195694"/>
                </a:cubicBezTo>
                <a:close/>
                <a:moveTo>
                  <a:pt x="2568451" y="5195178"/>
                </a:moveTo>
                <a:cubicBezTo>
                  <a:pt x="2570155" y="5196004"/>
                  <a:pt x="2571394" y="5197966"/>
                  <a:pt x="2571704" y="5201373"/>
                </a:cubicBezTo>
                <a:cubicBezTo>
                  <a:pt x="2565973" y="5203438"/>
                  <a:pt x="2564579" y="5207672"/>
                  <a:pt x="2559467" y="5207052"/>
                </a:cubicBezTo>
                <a:cubicBezTo>
                  <a:pt x="2554975" y="5199618"/>
                  <a:pt x="2563494" y="5192493"/>
                  <a:pt x="2568451" y="5195178"/>
                </a:cubicBezTo>
                <a:close/>
                <a:moveTo>
                  <a:pt x="2035143" y="5194661"/>
                </a:moveTo>
                <a:cubicBezTo>
                  <a:pt x="2033130" y="5204368"/>
                  <a:pt x="2036383" y="5211699"/>
                  <a:pt x="2032046" y="5222024"/>
                </a:cubicBezTo>
                <a:cubicBezTo>
                  <a:pt x="2025075" y="5216552"/>
                  <a:pt x="2025850" y="5195281"/>
                  <a:pt x="2035143" y="5194661"/>
                </a:cubicBezTo>
                <a:close/>
                <a:moveTo>
                  <a:pt x="1803883" y="5194351"/>
                </a:moveTo>
                <a:cubicBezTo>
                  <a:pt x="1809614" y="5191564"/>
                  <a:pt x="1816275" y="5195901"/>
                  <a:pt x="1818134" y="5203438"/>
                </a:cubicBezTo>
                <a:cubicBezTo>
                  <a:pt x="1821077" y="5215003"/>
                  <a:pt x="1817514" y="5222231"/>
                  <a:pt x="1817514" y="5222231"/>
                </a:cubicBezTo>
                <a:cubicBezTo>
                  <a:pt x="1815501" y="5223057"/>
                  <a:pt x="1813797" y="5223263"/>
                  <a:pt x="1812402" y="5223057"/>
                </a:cubicBezTo>
                <a:cubicBezTo>
                  <a:pt x="1808066" y="5222437"/>
                  <a:pt x="1805587" y="5217997"/>
                  <a:pt x="1804038" y="5213351"/>
                </a:cubicBezTo>
                <a:cubicBezTo>
                  <a:pt x="1803264" y="5211285"/>
                  <a:pt x="1802799" y="5209117"/>
                  <a:pt x="1802334" y="5207258"/>
                </a:cubicBezTo>
                <a:cubicBezTo>
                  <a:pt x="1801250" y="5203335"/>
                  <a:pt x="1800476" y="5198998"/>
                  <a:pt x="1801870" y="5196417"/>
                </a:cubicBezTo>
                <a:cubicBezTo>
                  <a:pt x="1802179" y="5195487"/>
                  <a:pt x="1802954" y="5194765"/>
                  <a:pt x="1803883" y="5194351"/>
                </a:cubicBezTo>
                <a:close/>
                <a:moveTo>
                  <a:pt x="2722263" y="5193113"/>
                </a:moveTo>
                <a:lnTo>
                  <a:pt x="2723347" y="5194042"/>
                </a:lnTo>
                <a:lnTo>
                  <a:pt x="2723347" y="5193319"/>
                </a:lnTo>
                <a:close/>
                <a:moveTo>
                  <a:pt x="2431833" y="5193009"/>
                </a:moveTo>
                <a:cubicBezTo>
                  <a:pt x="2431833" y="5193009"/>
                  <a:pt x="2432297" y="5192183"/>
                  <a:pt x="2433381" y="5195074"/>
                </a:cubicBezTo>
                <a:cubicBezTo>
                  <a:pt x="2432142" y="5195384"/>
                  <a:pt x="2428734" y="5196210"/>
                  <a:pt x="2428734" y="5196210"/>
                </a:cubicBezTo>
                <a:cubicBezTo>
                  <a:pt x="2428270" y="5197036"/>
                  <a:pt x="2428270" y="5197036"/>
                  <a:pt x="2427031" y="5197346"/>
                </a:cubicBezTo>
                <a:cubicBezTo>
                  <a:pt x="2426876" y="5196210"/>
                  <a:pt x="2426876" y="5196210"/>
                  <a:pt x="2427341" y="5195384"/>
                </a:cubicBezTo>
                <a:cubicBezTo>
                  <a:pt x="2428580" y="5195074"/>
                  <a:pt x="2429199" y="5195487"/>
                  <a:pt x="2430284" y="5195178"/>
                </a:cubicBezTo>
                <a:cubicBezTo>
                  <a:pt x="2429974" y="5192803"/>
                  <a:pt x="2429509" y="5193629"/>
                  <a:pt x="2430748" y="5193319"/>
                </a:cubicBezTo>
                <a:cubicBezTo>
                  <a:pt x="2430748" y="5193319"/>
                  <a:pt x="2430748" y="5193319"/>
                  <a:pt x="2431833" y="5193009"/>
                </a:cubicBezTo>
                <a:close/>
                <a:moveTo>
                  <a:pt x="2544752" y="5192286"/>
                </a:moveTo>
                <a:lnTo>
                  <a:pt x="2546611" y="5193525"/>
                </a:lnTo>
                <a:lnTo>
                  <a:pt x="2546766" y="5193525"/>
                </a:lnTo>
                <a:cubicBezTo>
                  <a:pt x="2549709" y="5196004"/>
                  <a:pt x="2549554" y="5196004"/>
                  <a:pt x="2546301" y="5201373"/>
                </a:cubicBezTo>
                <a:cubicBezTo>
                  <a:pt x="2545527" y="5202303"/>
                  <a:pt x="2544597" y="5203025"/>
                  <a:pt x="2543513" y="5203438"/>
                </a:cubicBezTo>
                <a:cubicBezTo>
                  <a:pt x="2542428" y="5203851"/>
                  <a:pt x="2541189" y="5203851"/>
                  <a:pt x="2539950" y="5203438"/>
                </a:cubicBezTo>
                <a:cubicBezTo>
                  <a:pt x="2539176" y="5203954"/>
                  <a:pt x="2538092" y="5204264"/>
                  <a:pt x="2537162" y="5204368"/>
                </a:cubicBezTo>
                <a:cubicBezTo>
                  <a:pt x="2536078" y="5204368"/>
                  <a:pt x="2534994" y="5204264"/>
                  <a:pt x="2534219" y="5203851"/>
                </a:cubicBezTo>
                <a:cubicBezTo>
                  <a:pt x="2532360" y="5202199"/>
                  <a:pt x="2532050" y="5200444"/>
                  <a:pt x="2532825" y="5199514"/>
                </a:cubicBezTo>
                <a:lnTo>
                  <a:pt x="2536542" y="5195384"/>
                </a:lnTo>
                <a:lnTo>
                  <a:pt x="2536388" y="5194765"/>
                </a:lnTo>
                <a:cubicBezTo>
                  <a:pt x="2537007" y="5191977"/>
                  <a:pt x="2541809" y="5191151"/>
                  <a:pt x="2544752" y="5192286"/>
                </a:cubicBezTo>
                <a:close/>
                <a:moveTo>
                  <a:pt x="1847874" y="5191254"/>
                </a:moveTo>
                <a:cubicBezTo>
                  <a:pt x="1851281" y="5193939"/>
                  <a:pt x="1851281" y="5196417"/>
                  <a:pt x="1849888" y="5199824"/>
                </a:cubicBezTo>
                <a:cubicBezTo>
                  <a:pt x="1847409" y="5199721"/>
                  <a:pt x="1844157" y="5197036"/>
                  <a:pt x="1844001" y="5194455"/>
                </a:cubicBezTo>
                <a:cubicBezTo>
                  <a:pt x="1845551" y="5191977"/>
                  <a:pt x="1847100" y="5192906"/>
                  <a:pt x="1847874" y="5191254"/>
                </a:cubicBezTo>
                <a:close/>
                <a:moveTo>
                  <a:pt x="2471602" y="5191176"/>
                </a:moveTo>
                <a:cubicBezTo>
                  <a:pt x="2473577" y="5191589"/>
                  <a:pt x="2474894" y="5193422"/>
                  <a:pt x="2475204" y="5195590"/>
                </a:cubicBezTo>
                <a:cubicBezTo>
                  <a:pt x="2475359" y="5196933"/>
                  <a:pt x="2475048" y="5198585"/>
                  <a:pt x="2474274" y="5199927"/>
                </a:cubicBezTo>
                <a:cubicBezTo>
                  <a:pt x="2473190" y="5201786"/>
                  <a:pt x="2471021" y="5203232"/>
                  <a:pt x="2467768" y="5203645"/>
                </a:cubicBezTo>
                <a:cubicBezTo>
                  <a:pt x="2466374" y="5202096"/>
                  <a:pt x="2465755" y="5200753"/>
                  <a:pt x="2465290" y="5199308"/>
                </a:cubicBezTo>
                <a:cubicBezTo>
                  <a:pt x="2464980" y="5197966"/>
                  <a:pt x="2464671" y="5196726"/>
                  <a:pt x="2464051" y="5195281"/>
                </a:cubicBezTo>
                <a:cubicBezTo>
                  <a:pt x="2466994" y="5191770"/>
                  <a:pt x="2469627" y="5190763"/>
                  <a:pt x="2471602" y="5191176"/>
                </a:cubicBezTo>
                <a:close/>
                <a:moveTo>
                  <a:pt x="1737743" y="5191047"/>
                </a:moveTo>
                <a:cubicBezTo>
                  <a:pt x="1738827" y="5191460"/>
                  <a:pt x="1739911" y="5191770"/>
                  <a:pt x="1740996" y="5192183"/>
                </a:cubicBezTo>
                <a:cubicBezTo>
                  <a:pt x="1740066" y="5194455"/>
                  <a:pt x="1739137" y="5196830"/>
                  <a:pt x="1736968" y="5196004"/>
                </a:cubicBezTo>
                <a:cubicBezTo>
                  <a:pt x="1737123" y="5194042"/>
                  <a:pt x="1736194" y="5193732"/>
                  <a:pt x="1737743" y="5191047"/>
                </a:cubicBezTo>
                <a:close/>
                <a:moveTo>
                  <a:pt x="1574173" y="5190738"/>
                </a:moveTo>
                <a:cubicBezTo>
                  <a:pt x="1571384" y="5195797"/>
                  <a:pt x="1573862" y="5199411"/>
                  <a:pt x="1569526" y="5200547"/>
                </a:cubicBezTo>
                <a:cubicBezTo>
                  <a:pt x="1567512" y="5197759"/>
                  <a:pt x="1570764" y="5191460"/>
                  <a:pt x="1574173" y="5190738"/>
                </a:cubicBezTo>
                <a:close/>
                <a:moveTo>
                  <a:pt x="1960793" y="5190428"/>
                </a:moveTo>
                <a:cubicBezTo>
                  <a:pt x="1964511" y="5191977"/>
                  <a:pt x="1963891" y="5197656"/>
                  <a:pt x="1960638" y="5199514"/>
                </a:cubicBezTo>
                <a:cubicBezTo>
                  <a:pt x="1959090" y="5199308"/>
                  <a:pt x="1958160" y="5198688"/>
                  <a:pt x="1957540" y="5197862"/>
                </a:cubicBezTo>
                <a:cubicBezTo>
                  <a:pt x="1955992" y="5195487"/>
                  <a:pt x="1958315" y="5191151"/>
                  <a:pt x="1960793" y="5190428"/>
                </a:cubicBezTo>
                <a:close/>
                <a:moveTo>
                  <a:pt x="2365847" y="5188156"/>
                </a:moveTo>
                <a:cubicBezTo>
                  <a:pt x="2366157" y="5190531"/>
                  <a:pt x="2368015" y="5193835"/>
                  <a:pt x="2365382" y="5196417"/>
                </a:cubicBezTo>
                <a:cubicBezTo>
                  <a:pt x="2365072" y="5194558"/>
                  <a:pt x="2364143" y="5191151"/>
                  <a:pt x="2364762" y="5189395"/>
                </a:cubicBezTo>
                <a:cubicBezTo>
                  <a:pt x="2364917" y="5188776"/>
                  <a:pt x="2365227" y="5188259"/>
                  <a:pt x="2365847" y="5188156"/>
                </a:cubicBezTo>
                <a:close/>
                <a:moveTo>
                  <a:pt x="2308535" y="5184749"/>
                </a:moveTo>
                <a:cubicBezTo>
                  <a:pt x="2311168" y="5184852"/>
                  <a:pt x="2312717" y="5184852"/>
                  <a:pt x="2314266" y="5186607"/>
                </a:cubicBezTo>
                <a:cubicBezTo>
                  <a:pt x="2316590" y="5189292"/>
                  <a:pt x="2317674" y="5195281"/>
                  <a:pt x="2314886" y="5197862"/>
                </a:cubicBezTo>
                <a:cubicBezTo>
                  <a:pt x="2311943" y="5201270"/>
                  <a:pt x="2309310" y="5202096"/>
                  <a:pt x="2306831" y="5202096"/>
                </a:cubicBezTo>
                <a:cubicBezTo>
                  <a:pt x="2306831" y="5202096"/>
                  <a:pt x="2306831" y="5202096"/>
                  <a:pt x="2307761" y="5202096"/>
                </a:cubicBezTo>
                <a:lnTo>
                  <a:pt x="2309154" y="5204057"/>
                </a:lnTo>
                <a:lnTo>
                  <a:pt x="2310704" y="5203954"/>
                </a:lnTo>
                <a:cubicBezTo>
                  <a:pt x="2311478" y="5203954"/>
                  <a:pt x="2312098" y="5203954"/>
                  <a:pt x="2312253" y="5203954"/>
                </a:cubicBezTo>
                <a:cubicBezTo>
                  <a:pt x="2312408" y="5204780"/>
                  <a:pt x="2312408" y="5204780"/>
                  <a:pt x="2312408" y="5204780"/>
                </a:cubicBezTo>
                <a:lnTo>
                  <a:pt x="2310239" y="5205297"/>
                </a:lnTo>
                <a:lnTo>
                  <a:pt x="2312717" y="5208394"/>
                </a:lnTo>
                <a:lnTo>
                  <a:pt x="2314731" y="5207981"/>
                </a:lnTo>
                <a:lnTo>
                  <a:pt x="2313337" y="5209530"/>
                </a:lnTo>
                <a:lnTo>
                  <a:pt x="2314576" y="5211905"/>
                </a:lnTo>
                <a:cubicBezTo>
                  <a:pt x="2315041" y="5212835"/>
                  <a:pt x="2315196" y="5213764"/>
                  <a:pt x="2314886" y="5214383"/>
                </a:cubicBezTo>
                <a:cubicBezTo>
                  <a:pt x="2313956" y="5214383"/>
                  <a:pt x="2313182" y="5214383"/>
                  <a:pt x="2312408" y="5213454"/>
                </a:cubicBezTo>
                <a:cubicBezTo>
                  <a:pt x="2311633" y="5212628"/>
                  <a:pt x="2312562" y="5212628"/>
                  <a:pt x="2311633" y="5212524"/>
                </a:cubicBezTo>
                <a:cubicBezTo>
                  <a:pt x="2311013" y="5211699"/>
                  <a:pt x="2310858" y="5212524"/>
                  <a:pt x="2310858" y="5212524"/>
                </a:cubicBezTo>
                <a:lnTo>
                  <a:pt x="2310858" y="5212215"/>
                </a:lnTo>
                <a:lnTo>
                  <a:pt x="2307451" y="5213764"/>
                </a:lnTo>
                <a:cubicBezTo>
                  <a:pt x="2304972" y="5214280"/>
                  <a:pt x="2302959" y="5214486"/>
                  <a:pt x="2301565" y="5216758"/>
                </a:cubicBezTo>
                <a:cubicBezTo>
                  <a:pt x="2300480" y="5215003"/>
                  <a:pt x="2300480" y="5215003"/>
                  <a:pt x="2301100" y="5213247"/>
                </a:cubicBezTo>
                <a:cubicBezTo>
                  <a:pt x="2302030" y="5213144"/>
                  <a:pt x="2301875" y="5212318"/>
                  <a:pt x="2302804" y="5213144"/>
                </a:cubicBezTo>
                <a:cubicBezTo>
                  <a:pt x="2303423" y="5211802"/>
                  <a:pt x="2305437" y="5210356"/>
                  <a:pt x="2307915" y="5209324"/>
                </a:cubicBezTo>
                <a:lnTo>
                  <a:pt x="2308225" y="5209220"/>
                </a:lnTo>
                <a:lnTo>
                  <a:pt x="2306676" y="5208291"/>
                </a:lnTo>
                <a:cubicBezTo>
                  <a:pt x="2306057" y="5207878"/>
                  <a:pt x="2305437" y="5207672"/>
                  <a:pt x="2304663" y="5207258"/>
                </a:cubicBezTo>
                <a:lnTo>
                  <a:pt x="2304508" y="5207155"/>
                </a:lnTo>
                <a:lnTo>
                  <a:pt x="2304043" y="5207258"/>
                </a:lnTo>
                <a:cubicBezTo>
                  <a:pt x="2303114" y="5207465"/>
                  <a:pt x="2302030" y="5207465"/>
                  <a:pt x="2300945" y="5207155"/>
                </a:cubicBezTo>
                <a:cubicBezTo>
                  <a:pt x="2300945" y="5207155"/>
                  <a:pt x="2300945" y="5207155"/>
                  <a:pt x="2301720" y="5207052"/>
                </a:cubicBezTo>
                <a:cubicBezTo>
                  <a:pt x="2301720" y="5207052"/>
                  <a:pt x="2300945" y="5207155"/>
                  <a:pt x="2300790" y="5206329"/>
                </a:cubicBezTo>
                <a:lnTo>
                  <a:pt x="2303579" y="5205503"/>
                </a:lnTo>
                <a:lnTo>
                  <a:pt x="2303114" y="5204987"/>
                </a:lnTo>
                <a:cubicBezTo>
                  <a:pt x="2302804" y="5204161"/>
                  <a:pt x="2302494" y="5203335"/>
                  <a:pt x="2301720" y="5201992"/>
                </a:cubicBezTo>
                <a:cubicBezTo>
                  <a:pt x="2302804" y="5200237"/>
                  <a:pt x="2302804" y="5200341"/>
                  <a:pt x="2303579" y="5200341"/>
                </a:cubicBezTo>
                <a:cubicBezTo>
                  <a:pt x="2302804" y="5200341"/>
                  <a:pt x="2302959" y="5199411"/>
                  <a:pt x="2302184" y="5198482"/>
                </a:cubicBezTo>
                <a:cubicBezTo>
                  <a:pt x="2298157" y="5195797"/>
                  <a:pt x="2300326" y="5191564"/>
                  <a:pt x="2304043" y="5187330"/>
                </a:cubicBezTo>
                <a:cubicBezTo>
                  <a:pt x="2304818" y="5188156"/>
                  <a:pt x="2306831" y="5185575"/>
                  <a:pt x="2308535" y="5184749"/>
                </a:cubicBezTo>
                <a:close/>
                <a:moveTo>
                  <a:pt x="1634582" y="5184542"/>
                </a:moveTo>
                <a:cubicBezTo>
                  <a:pt x="1636130" y="5185368"/>
                  <a:pt x="1637060" y="5185368"/>
                  <a:pt x="1638764" y="5184542"/>
                </a:cubicBezTo>
                <a:cubicBezTo>
                  <a:pt x="1638764" y="5184542"/>
                  <a:pt x="1638764" y="5184646"/>
                  <a:pt x="1640313" y="5186401"/>
                </a:cubicBezTo>
                <a:lnTo>
                  <a:pt x="1640158" y="5187227"/>
                </a:lnTo>
                <a:cubicBezTo>
                  <a:pt x="1639848" y="5187640"/>
                  <a:pt x="1639229" y="5187846"/>
                  <a:pt x="1638299" y="5187950"/>
                </a:cubicBezTo>
                <a:cubicBezTo>
                  <a:pt x="1635511" y="5188156"/>
                  <a:pt x="1630864" y="5187020"/>
                  <a:pt x="1630245" y="5187020"/>
                </a:cubicBezTo>
                <a:cubicBezTo>
                  <a:pt x="1630245" y="5187020"/>
                  <a:pt x="1629315" y="5187020"/>
                  <a:pt x="1628541" y="5187020"/>
                </a:cubicBezTo>
                <a:cubicBezTo>
                  <a:pt x="1627766" y="5186194"/>
                  <a:pt x="1627921" y="5185265"/>
                  <a:pt x="1626992" y="5185265"/>
                </a:cubicBezTo>
                <a:cubicBezTo>
                  <a:pt x="1629780" y="5182787"/>
                  <a:pt x="1632258" y="5183613"/>
                  <a:pt x="1634582" y="5184542"/>
                </a:cubicBezTo>
                <a:close/>
                <a:moveTo>
                  <a:pt x="1880480" y="5184426"/>
                </a:moveTo>
                <a:cubicBezTo>
                  <a:pt x="1882416" y="5183639"/>
                  <a:pt x="1884817" y="5184388"/>
                  <a:pt x="1886289" y="5186298"/>
                </a:cubicBezTo>
                <a:cubicBezTo>
                  <a:pt x="1887218" y="5187537"/>
                  <a:pt x="1887837" y="5189395"/>
                  <a:pt x="1887682" y="5191564"/>
                </a:cubicBezTo>
                <a:cubicBezTo>
                  <a:pt x="1886598" y="5192390"/>
                  <a:pt x="1884430" y="5192906"/>
                  <a:pt x="1882416" y="5193009"/>
                </a:cubicBezTo>
                <a:cubicBezTo>
                  <a:pt x="1880247" y="5193113"/>
                  <a:pt x="1878234" y="5192700"/>
                  <a:pt x="1877459" y="5191770"/>
                </a:cubicBezTo>
                <a:cubicBezTo>
                  <a:pt x="1877072" y="5187536"/>
                  <a:pt x="1878543" y="5185213"/>
                  <a:pt x="1880480" y="5184426"/>
                </a:cubicBezTo>
                <a:close/>
                <a:moveTo>
                  <a:pt x="2112901" y="5182993"/>
                </a:moveTo>
                <a:cubicBezTo>
                  <a:pt x="2117703" y="5183716"/>
                  <a:pt x="2119562" y="5190118"/>
                  <a:pt x="2116464" y="5192803"/>
                </a:cubicBezTo>
                <a:lnTo>
                  <a:pt x="2114916" y="5192700"/>
                </a:lnTo>
                <a:lnTo>
                  <a:pt x="2112127" y="5196623"/>
                </a:lnTo>
                <a:cubicBezTo>
                  <a:pt x="2111043" y="5197759"/>
                  <a:pt x="2110113" y="5198585"/>
                  <a:pt x="2109804" y="5198379"/>
                </a:cubicBezTo>
                <a:cubicBezTo>
                  <a:pt x="2109339" y="5199101"/>
                  <a:pt x="2108565" y="5198688"/>
                  <a:pt x="2108254" y="5199514"/>
                </a:cubicBezTo>
                <a:cubicBezTo>
                  <a:pt x="2108254" y="5199514"/>
                  <a:pt x="2107945" y="5200237"/>
                  <a:pt x="2106861" y="5200547"/>
                </a:cubicBezTo>
                <a:cubicBezTo>
                  <a:pt x="2106241" y="5200753"/>
                  <a:pt x="2105621" y="5200960"/>
                  <a:pt x="2105157" y="5200857"/>
                </a:cubicBezTo>
                <a:cubicBezTo>
                  <a:pt x="2104537" y="5200753"/>
                  <a:pt x="2103918" y="5200444"/>
                  <a:pt x="2103298" y="5199618"/>
                </a:cubicBezTo>
                <a:cubicBezTo>
                  <a:pt x="2105931" y="5197243"/>
                  <a:pt x="2107480" y="5195178"/>
                  <a:pt x="2109184" y="5193422"/>
                </a:cubicBezTo>
                <a:lnTo>
                  <a:pt x="2111508" y="5191254"/>
                </a:lnTo>
                <a:lnTo>
                  <a:pt x="2110578" y="5186814"/>
                </a:lnTo>
                <a:cubicBezTo>
                  <a:pt x="2110733" y="5185368"/>
                  <a:pt x="2111663" y="5184129"/>
                  <a:pt x="2112901" y="5182993"/>
                </a:cubicBezTo>
                <a:close/>
                <a:moveTo>
                  <a:pt x="1534364" y="5181961"/>
                </a:moveTo>
                <a:cubicBezTo>
                  <a:pt x="1535293" y="5180206"/>
                  <a:pt x="1537462" y="5183716"/>
                  <a:pt x="1538391" y="5181961"/>
                </a:cubicBezTo>
                <a:cubicBezTo>
                  <a:pt x="1541335" y="5185575"/>
                  <a:pt x="1545981" y="5181238"/>
                  <a:pt x="1551403" y="5185781"/>
                </a:cubicBezTo>
                <a:cubicBezTo>
                  <a:pt x="1549234" y="5186401"/>
                  <a:pt x="1547220" y="5186607"/>
                  <a:pt x="1545516" y="5186607"/>
                </a:cubicBezTo>
                <a:cubicBezTo>
                  <a:pt x="1540095" y="5186711"/>
                  <a:pt x="1536069" y="5185058"/>
                  <a:pt x="1532195" y="5186298"/>
                </a:cubicBezTo>
                <a:cubicBezTo>
                  <a:pt x="1532195" y="5186298"/>
                  <a:pt x="1532195" y="5186298"/>
                  <a:pt x="1530801" y="5184542"/>
                </a:cubicBezTo>
                <a:cubicBezTo>
                  <a:pt x="1529872" y="5184542"/>
                  <a:pt x="1529872" y="5184542"/>
                  <a:pt x="1529872" y="5184542"/>
                </a:cubicBezTo>
                <a:cubicBezTo>
                  <a:pt x="1529562" y="5184542"/>
                  <a:pt x="1529252" y="5184026"/>
                  <a:pt x="1529252" y="5183613"/>
                </a:cubicBezTo>
                <a:cubicBezTo>
                  <a:pt x="1529252" y="5183200"/>
                  <a:pt x="1529252" y="5182787"/>
                  <a:pt x="1529252" y="5182787"/>
                </a:cubicBezTo>
                <a:cubicBezTo>
                  <a:pt x="1530337" y="5181032"/>
                  <a:pt x="1532660" y="5181857"/>
                  <a:pt x="1534364" y="5181961"/>
                </a:cubicBezTo>
                <a:close/>
                <a:moveTo>
                  <a:pt x="2276782" y="5180928"/>
                </a:moveTo>
                <a:cubicBezTo>
                  <a:pt x="2280809" y="5182580"/>
                  <a:pt x="2280964" y="5188156"/>
                  <a:pt x="2278021" y="5189912"/>
                </a:cubicBezTo>
                <a:cubicBezTo>
                  <a:pt x="2271670" y="5188879"/>
                  <a:pt x="2273684" y="5181754"/>
                  <a:pt x="2276782" y="5180928"/>
                </a:cubicBezTo>
                <a:close/>
                <a:moveTo>
                  <a:pt x="1715593" y="5180928"/>
                </a:moveTo>
                <a:cubicBezTo>
                  <a:pt x="1716987" y="5184026"/>
                  <a:pt x="1715128" y="5186711"/>
                  <a:pt x="1712649" y="5187434"/>
                </a:cubicBezTo>
                <a:cubicBezTo>
                  <a:pt x="1711875" y="5187640"/>
                  <a:pt x="1710945" y="5187640"/>
                  <a:pt x="1710171" y="5187330"/>
                </a:cubicBezTo>
                <a:cubicBezTo>
                  <a:pt x="1706144" y="5181754"/>
                  <a:pt x="1712649" y="5178966"/>
                  <a:pt x="1715593" y="5180928"/>
                </a:cubicBezTo>
                <a:close/>
                <a:moveTo>
                  <a:pt x="2818299" y="5180722"/>
                </a:moveTo>
                <a:lnTo>
                  <a:pt x="2816905" y="5181135"/>
                </a:lnTo>
                <a:lnTo>
                  <a:pt x="2817369" y="5182167"/>
                </a:lnTo>
                <a:close/>
                <a:moveTo>
                  <a:pt x="2581617" y="5179689"/>
                </a:moveTo>
                <a:cubicBezTo>
                  <a:pt x="2582392" y="5180722"/>
                  <a:pt x="2582392" y="5180618"/>
                  <a:pt x="2582237" y="5183200"/>
                </a:cubicBezTo>
                <a:cubicBezTo>
                  <a:pt x="2581462" y="5182167"/>
                  <a:pt x="2581462" y="5182167"/>
                  <a:pt x="2580688" y="5182890"/>
                </a:cubicBezTo>
                <a:cubicBezTo>
                  <a:pt x="2580688" y="5182890"/>
                  <a:pt x="2580688" y="5182890"/>
                  <a:pt x="2580533" y="5183716"/>
                </a:cubicBezTo>
                <a:cubicBezTo>
                  <a:pt x="2579759" y="5183613"/>
                  <a:pt x="2579913" y="5182787"/>
                  <a:pt x="2579139" y="5182684"/>
                </a:cubicBezTo>
                <a:cubicBezTo>
                  <a:pt x="2579139" y="5182684"/>
                  <a:pt x="2579139" y="5181754"/>
                  <a:pt x="2579139" y="5181754"/>
                </a:cubicBezTo>
                <a:cubicBezTo>
                  <a:pt x="2578674" y="5181754"/>
                  <a:pt x="2578674" y="5181754"/>
                  <a:pt x="2578984" y="5181651"/>
                </a:cubicBezTo>
                <a:cubicBezTo>
                  <a:pt x="2579139" y="5181445"/>
                  <a:pt x="2579604" y="5181032"/>
                  <a:pt x="2579913" y="5180309"/>
                </a:cubicBezTo>
                <a:cubicBezTo>
                  <a:pt x="2580843" y="5179586"/>
                  <a:pt x="2580998" y="5178760"/>
                  <a:pt x="2581617" y="5179689"/>
                </a:cubicBezTo>
                <a:close/>
                <a:moveTo>
                  <a:pt x="1897750" y="5179379"/>
                </a:moveTo>
                <a:cubicBezTo>
                  <a:pt x="1899455" y="5178863"/>
                  <a:pt x="1901778" y="5179379"/>
                  <a:pt x="1904566" y="5181651"/>
                </a:cubicBezTo>
                <a:cubicBezTo>
                  <a:pt x="1901933" y="5186814"/>
                  <a:pt x="1904101" y="5190841"/>
                  <a:pt x="1899919" y="5193835"/>
                </a:cubicBezTo>
                <a:cubicBezTo>
                  <a:pt x="1891245" y="5191357"/>
                  <a:pt x="1892174" y="5180722"/>
                  <a:pt x="1897750" y="5179379"/>
                </a:cubicBezTo>
                <a:close/>
                <a:moveTo>
                  <a:pt x="2755256" y="5178863"/>
                </a:moveTo>
                <a:lnTo>
                  <a:pt x="2751539" y="5181238"/>
                </a:lnTo>
                <a:lnTo>
                  <a:pt x="2752158" y="5181857"/>
                </a:lnTo>
                <a:cubicBezTo>
                  <a:pt x="2753707" y="5182271"/>
                  <a:pt x="2755411" y="5181341"/>
                  <a:pt x="2756960" y="5180928"/>
                </a:cubicBezTo>
                <a:lnTo>
                  <a:pt x="2757579" y="5180928"/>
                </a:lnTo>
                <a:lnTo>
                  <a:pt x="2756031" y="5180102"/>
                </a:lnTo>
                <a:close/>
                <a:moveTo>
                  <a:pt x="2420990" y="5178553"/>
                </a:moveTo>
                <a:cubicBezTo>
                  <a:pt x="2427341" y="5176179"/>
                  <a:pt x="2430903" y="5187020"/>
                  <a:pt x="2432452" y="5189085"/>
                </a:cubicBezTo>
                <a:cubicBezTo>
                  <a:pt x="2432452" y="5189085"/>
                  <a:pt x="2433072" y="5189499"/>
                  <a:pt x="2433226" y="5190738"/>
                </a:cubicBezTo>
                <a:cubicBezTo>
                  <a:pt x="2434156" y="5192286"/>
                  <a:pt x="2431678" y="5191770"/>
                  <a:pt x="2431833" y="5193009"/>
                </a:cubicBezTo>
                <a:cubicBezTo>
                  <a:pt x="2427341" y="5187950"/>
                  <a:pt x="2421764" y="5186401"/>
                  <a:pt x="2421764" y="5186401"/>
                </a:cubicBezTo>
                <a:cubicBezTo>
                  <a:pt x="2420835" y="5184852"/>
                  <a:pt x="2421300" y="5184129"/>
                  <a:pt x="2420835" y="5184852"/>
                </a:cubicBezTo>
                <a:cubicBezTo>
                  <a:pt x="2420370" y="5182477"/>
                  <a:pt x="2419286" y="5179689"/>
                  <a:pt x="2420990" y="5178553"/>
                </a:cubicBezTo>
                <a:close/>
                <a:moveTo>
                  <a:pt x="2467924" y="5177521"/>
                </a:moveTo>
                <a:cubicBezTo>
                  <a:pt x="2471021" y="5181445"/>
                  <a:pt x="2468078" y="5188673"/>
                  <a:pt x="2462192" y="5188363"/>
                </a:cubicBezTo>
                <a:cubicBezTo>
                  <a:pt x="2461727" y="5186401"/>
                  <a:pt x="2460798" y="5185162"/>
                  <a:pt x="2460334" y="5183303"/>
                </a:cubicBezTo>
                <a:cubicBezTo>
                  <a:pt x="2462967" y="5180928"/>
                  <a:pt x="2462657" y="5176591"/>
                  <a:pt x="2467924" y="5177521"/>
                </a:cubicBezTo>
                <a:close/>
                <a:moveTo>
                  <a:pt x="2088738" y="5177521"/>
                </a:moveTo>
                <a:cubicBezTo>
                  <a:pt x="2091526" y="5176695"/>
                  <a:pt x="2093385" y="5177211"/>
                  <a:pt x="2094779" y="5178347"/>
                </a:cubicBezTo>
                <a:cubicBezTo>
                  <a:pt x="2098497" y="5181857"/>
                  <a:pt x="2095864" y="5191564"/>
                  <a:pt x="2088428" y="5189912"/>
                </a:cubicBezTo>
                <a:cubicBezTo>
                  <a:pt x="2087963" y="5189292"/>
                  <a:pt x="2087653" y="5188363"/>
                  <a:pt x="2087498" y="5187330"/>
                </a:cubicBezTo>
                <a:cubicBezTo>
                  <a:pt x="2086879" y="5184026"/>
                  <a:pt x="2087653" y="5179379"/>
                  <a:pt x="2088738" y="5177521"/>
                </a:cubicBezTo>
                <a:close/>
                <a:moveTo>
                  <a:pt x="1683684" y="5177521"/>
                </a:moveTo>
                <a:cubicBezTo>
                  <a:pt x="1685543" y="5176695"/>
                  <a:pt x="1687711" y="5179379"/>
                  <a:pt x="1689260" y="5180206"/>
                </a:cubicBezTo>
                <a:cubicBezTo>
                  <a:pt x="1688331" y="5181135"/>
                  <a:pt x="1687401" y="5181961"/>
                  <a:pt x="1688176" y="5181961"/>
                </a:cubicBezTo>
                <a:cubicBezTo>
                  <a:pt x="1687401" y="5182890"/>
                  <a:pt x="1686472" y="5183303"/>
                  <a:pt x="1685698" y="5183303"/>
                </a:cubicBezTo>
                <a:cubicBezTo>
                  <a:pt x="1684768" y="5183407"/>
                  <a:pt x="1683994" y="5183200"/>
                  <a:pt x="1683219" y="5182787"/>
                </a:cubicBezTo>
                <a:cubicBezTo>
                  <a:pt x="1682444" y="5181857"/>
                  <a:pt x="1682599" y="5180102"/>
                  <a:pt x="1683684" y="5177521"/>
                </a:cubicBezTo>
                <a:close/>
                <a:moveTo>
                  <a:pt x="2159370" y="5177314"/>
                </a:moveTo>
                <a:cubicBezTo>
                  <a:pt x="2163243" y="5179586"/>
                  <a:pt x="2161849" y="5186194"/>
                  <a:pt x="2157667" y="5187434"/>
                </a:cubicBezTo>
                <a:cubicBezTo>
                  <a:pt x="2156737" y="5186814"/>
                  <a:pt x="2154879" y="5186504"/>
                  <a:pt x="2153639" y="5185058"/>
                </a:cubicBezTo>
                <a:cubicBezTo>
                  <a:pt x="2153794" y="5180722"/>
                  <a:pt x="2155963" y="5178244"/>
                  <a:pt x="2159370" y="5177314"/>
                </a:cubicBezTo>
                <a:close/>
                <a:moveTo>
                  <a:pt x="1802644" y="5174423"/>
                </a:moveTo>
                <a:cubicBezTo>
                  <a:pt x="1802025" y="5175249"/>
                  <a:pt x="1802025" y="5175249"/>
                  <a:pt x="1802954" y="5175972"/>
                </a:cubicBezTo>
                <a:cubicBezTo>
                  <a:pt x="1802954" y="5175972"/>
                  <a:pt x="1802954" y="5176075"/>
                  <a:pt x="1803729" y="5175972"/>
                </a:cubicBezTo>
                <a:cubicBezTo>
                  <a:pt x="1803883" y="5176798"/>
                  <a:pt x="1803109" y="5176798"/>
                  <a:pt x="1803109" y="5177624"/>
                </a:cubicBezTo>
                <a:cubicBezTo>
                  <a:pt x="1803109" y="5177624"/>
                  <a:pt x="1802334" y="5177727"/>
                  <a:pt x="1802334" y="5177727"/>
                </a:cubicBezTo>
                <a:cubicBezTo>
                  <a:pt x="1802489" y="5178140"/>
                  <a:pt x="1802489" y="5178140"/>
                  <a:pt x="1802179" y="5177934"/>
                </a:cubicBezTo>
                <a:cubicBezTo>
                  <a:pt x="1802025" y="5177727"/>
                  <a:pt x="1801560" y="5177314"/>
                  <a:pt x="1800631" y="5177005"/>
                </a:cubicBezTo>
                <a:cubicBezTo>
                  <a:pt x="1799701" y="5176179"/>
                  <a:pt x="1798927" y="5176282"/>
                  <a:pt x="1799546" y="5175455"/>
                </a:cubicBezTo>
                <a:cubicBezTo>
                  <a:pt x="1800321" y="5174526"/>
                  <a:pt x="1800321" y="5174526"/>
                  <a:pt x="1802644" y="5174423"/>
                </a:cubicBezTo>
                <a:close/>
                <a:moveTo>
                  <a:pt x="2021668" y="5174217"/>
                </a:moveTo>
                <a:cubicBezTo>
                  <a:pt x="2025385" y="5171429"/>
                  <a:pt x="2030806" y="5175455"/>
                  <a:pt x="2030187" y="5179792"/>
                </a:cubicBezTo>
                <a:cubicBezTo>
                  <a:pt x="2029258" y="5180515"/>
                  <a:pt x="2028173" y="5182064"/>
                  <a:pt x="2026470" y="5182477"/>
                </a:cubicBezTo>
                <a:cubicBezTo>
                  <a:pt x="2022442" y="5180722"/>
                  <a:pt x="2021203" y="5177727"/>
                  <a:pt x="2021668" y="5174217"/>
                </a:cubicBezTo>
                <a:close/>
                <a:moveTo>
                  <a:pt x="2526823" y="5174204"/>
                </a:moveTo>
                <a:cubicBezTo>
                  <a:pt x="2531276" y="5175481"/>
                  <a:pt x="2535381" y="5178192"/>
                  <a:pt x="2538401" y="5182271"/>
                </a:cubicBezTo>
                <a:cubicBezTo>
                  <a:pt x="2537627" y="5183303"/>
                  <a:pt x="2537007" y="5184336"/>
                  <a:pt x="2537936" y="5184955"/>
                </a:cubicBezTo>
                <a:cubicBezTo>
                  <a:pt x="2534064" y="5192286"/>
                  <a:pt x="2526164" y="5196313"/>
                  <a:pt x="2518420" y="5196933"/>
                </a:cubicBezTo>
                <a:cubicBezTo>
                  <a:pt x="2510520" y="5197449"/>
                  <a:pt x="2503085" y="5194351"/>
                  <a:pt x="2499987" y="5187434"/>
                </a:cubicBezTo>
                <a:cubicBezTo>
                  <a:pt x="2502930" y="5180928"/>
                  <a:pt x="2507732" y="5176798"/>
                  <a:pt x="2513153" y="5174733"/>
                </a:cubicBezTo>
                <a:cubicBezTo>
                  <a:pt x="2517568" y="5173081"/>
                  <a:pt x="2522369" y="5172926"/>
                  <a:pt x="2526823" y="5174204"/>
                </a:cubicBezTo>
                <a:close/>
                <a:moveTo>
                  <a:pt x="2205220" y="5173907"/>
                </a:moveTo>
                <a:cubicBezTo>
                  <a:pt x="2207853" y="5178140"/>
                  <a:pt x="2203206" y="5185162"/>
                  <a:pt x="2199953" y="5188673"/>
                </a:cubicBezTo>
                <a:cubicBezTo>
                  <a:pt x="2197785" y="5187846"/>
                  <a:pt x="2196545" y="5189395"/>
                  <a:pt x="2194377" y="5188569"/>
                </a:cubicBezTo>
                <a:cubicBezTo>
                  <a:pt x="2197165" y="5181548"/>
                  <a:pt x="2199643" y="5173804"/>
                  <a:pt x="2205220" y="5173907"/>
                </a:cubicBezTo>
                <a:close/>
                <a:moveTo>
                  <a:pt x="1979149" y="5173636"/>
                </a:moveTo>
                <a:cubicBezTo>
                  <a:pt x="1981085" y="5173984"/>
                  <a:pt x="1982866" y="5175352"/>
                  <a:pt x="1984337" y="5177314"/>
                </a:cubicBezTo>
                <a:cubicBezTo>
                  <a:pt x="1989139" y="5183716"/>
                  <a:pt x="1990379" y="5196520"/>
                  <a:pt x="1982789" y="5199308"/>
                </a:cubicBezTo>
                <a:cubicBezTo>
                  <a:pt x="1980001" y="5196726"/>
                  <a:pt x="1977522" y="5193732"/>
                  <a:pt x="1975818" y="5190015"/>
                </a:cubicBezTo>
                <a:cubicBezTo>
                  <a:pt x="1973959" y="5186194"/>
                  <a:pt x="1972875" y="5181651"/>
                  <a:pt x="1973030" y="5176075"/>
                </a:cubicBezTo>
                <a:cubicBezTo>
                  <a:pt x="1975122" y="5173959"/>
                  <a:pt x="1977213" y="5173287"/>
                  <a:pt x="1979149" y="5173636"/>
                </a:cubicBezTo>
                <a:close/>
                <a:moveTo>
                  <a:pt x="1484487" y="5171739"/>
                </a:moveTo>
                <a:cubicBezTo>
                  <a:pt x="1488204" y="5171739"/>
                  <a:pt x="1487585" y="5174940"/>
                  <a:pt x="1486966" y="5178037"/>
                </a:cubicBezTo>
                <a:cubicBezTo>
                  <a:pt x="1486036" y="5177934"/>
                  <a:pt x="1485261" y="5178347"/>
                  <a:pt x="1484332" y="5178553"/>
                </a:cubicBezTo>
                <a:cubicBezTo>
                  <a:pt x="1483558" y="5178760"/>
                  <a:pt x="1482628" y="5178760"/>
                  <a:pt x="1481389" y="5177934"/>
                </a:cubicBezTo>
                <a:cubicBezTo>
                  <a:pt x="1482319" y="5175559"/>
                  <a:pt x="1483558" y="5174010"/>
                  <a:pt x="1484487" y="5171739"/>
                </a:cubicBezTo>
                <a:close/>
                <a:moveTo>
                  <a:pt x="2012219" y="5170706"/>
                </a:moveTo>
                <a:cubicBezTo>
                  <a:pt x="2013303" y="5171016"/>
                  <a:pt x="2014542" y="5171325"/>
                  <a:pt x="2014387" y="5172461"/>
                </a:cubicBezTo>
                <a:cubicBezTo>
                  <a:pt x="2014078" y="5173700"/>
                  <a:pt x="2014697" y="5174423"/>
                  <a:pt x="2012838" y="5174526"/>
                </a:cubicBezTo>
                <a:cubicBezTo>
                  <a:pt x="2012064" y="5175043"/>
                  <a:pt x="2010980" y="5174733"/>
                  <a:pt x="2010205" y="5175249"/>
                </a:cubicBezTo>
                <a:cubicBezTo>
                  <a:pt x="2010205" y="5175249"/>
                  <a:pt x="2009741" y="5174733"/>
                  <a:pt x="2009276" y="5174113"/>
                </a:cubicBezTo>
                <a:cubicBezTo>
                  <a:pt x="2008656" y="5173494"/>
                  <a:pt x="2008192" y="5172771"/>
                  <a:pt x="2008347" y="5172151"/>
                </a:cubicBezTo>
                <a:cubicBezTo>
                  <a:pt x="2008037" y="5170293"/>
                  <a:pt x="2011599" y="5171119"/>
                  <a:pt x="2012219" y="5170706"/>
                </a:cubicBezTo>
                <a:close/>
                <a:moveTo>
                  <a:pt x="1951809" y="5169880"/>
                </a:moveTo>
                <a:cubicBezTo>
                  <a:pt x="1954443" y="5172461"/>
                  <a:pt x="1957231" y="5174836"/>
                  <a:pt x="1959554" y="5177934"/>
                </a:cubicBezTo>
                <a:cubicBezTo>
                  <a:pt x="1961878" y="5180928"/>
                  <a:pt x="1963737" y="5184646"/>
                  <a:pt x="1964356" y="5189602"/>
                </a:cubicBezTo>
                <a:cubicBezTo>
                  <a:pt x="1959399" y="5189705"/>
                  <a:pt x="1956147" y="5186504"/>
                  <a:pt x="1954288" y="5182374"/>
                </a:cubicBezTo>
                <a:cubicBezTo>
                  <a:pt x="1952274" y="5178244"/>
                  <a:pt x="1951654" y="5173287"/>
                  <a:pt x="1951809" y="5169880"/>
                </a:cubicBezTo>
                <a:close/>
                <a:moveTo>
                  <a:pt x="2350047" y="5166576"/>
                </a:moveTo>
                <a:cubicBezTo>
                  <a:pt x="2355624" y="5166782"/>
                  <a:pt x="2357018" y="5171119"/>
                  <a:pt x="2356088" y="5176179"/>
                </a:cubicBezTo>
                <a:cubicBezTo>
                  <a:pt x="2354694" y="5182477"/>
                  <a:pt x="2349737" y="5190015"/>
                  <a:pt x="2344471" y="5191667"/>
                </a:cubicBezTo>
                <a:lnTo>
                  <a:pt x="2344006" y="5191564"/>
                </a:lnTo>
                <a:lnTo>
                  <a:pt x="2343851" y="5198482"/>
                </a:lnTo>
                <a:cubicBezTo>
                  <a:pt x="2343387" y="5200960"/>
                  <a:pt x="2342613" y="5203541"/>
                  <a:pt x="2341373" y="5206019"/>
                </a:cubicBezTo>
                <a:cubicBezTo>
                  <a:pt x="2340289" y="5205916"/>
                  <a:pt x="2339050" y="5205916"/>
                  <a:pt x="2339050" y="5207155"/>
                </a:cubicBezTo>
                <a:cubicBezTo>
                  <a:pt x="2331305" y="5207465"/>
                  <a:pt x="2324799" y="5202199"/>
                  <a:pt x="2321391" y="5195178"/>
                </a:cubicBezTo>
                <a:cubicBezTo>
                  <a:pt x="2318913" y="5190015"/>
                  <a:pt x="2318139" y="5183819"/>
                  <a:pt x="2319843" y="5178347"/>
                </a:cubicBezTo>
                <a:lnTo>
                  <a:pt x="2320307" y="5177521"/>
                </a:lnTo>
                <a:lnTo>
                  <a:pt x="2319223" y="5178553"/>
                </a:lnTo>
                <a:cubicBezTo>
                  <a:pt x="2317984" y="5178863"/>
                  <a:pt x="2317984" y="5178863"/>
                  <a:pt x="2317364" y="5178347"/>
                </a:cubicBezTo>
                <a:cubicBezTo>
                  <a:pt x="2315505" y="5178244"/>
                  <a:pt x="2314266" y="5178657"/>
                  <a:pt x="2313337" y="5177005"/>
                </a:cubicBezTo>
                <a:cubicBezTo>
                  <a:pt x="2312872" y="5175559"/>
                  <a:pt x="2313027" y="5174526"/>
                  <a:pt x="2313647" y="5173700"/>
                </a:cubicBezTo>
                <a:cubicBezTo>
                  <a:pt x="2314421" y="5172874"/>
                  <a:pt x="2315505" y="5172255"/>
                  <a:pt x="2316899" y="5171532"/>
                </a:cubicBezTo>
                <a:cubicBezTo>
                  <a:pt x="2319687" y="5170086"/>
                  <a:pt x="2321391" y="5172255"/>
                  <a:pt x="2323715" y="5171532"/>
                </a:cubicBezTo>
                <a:lnTo>
                  <a:pt x="2323250" y="5173081"/>
                </a:lnTo>
                <a:lnTo>
                  <a:pt x="2331615" y="5174010"/>
                </a:lnTo>
                <a:cubicBezTo>
                  <a:pt x="2334248" y="5175043"/>
                  <a:pt x="2336571" y="5176591"/>
                  <a:pt x="2338430" y="5178553"/>
                </a:cubicBezTo>
                <a:lnTo>
                  <a:pt x="2341063" y="5182580"/>
                </a:lnTo>
                <a:lnTo>
                  <a:pt x="2341838" y="5178966"/>
                </a:lnTo>
                <a:cubicBezTo>
                  <a:pt x="2343542" y="5174836"/>
                  <a:pt x="2346020" y="5170603"/>
                  <a:pt x="2350047" y="5166576"/>
                </a:cubicBezTo>
                <a:close/>
                <a:moveTo>
                  <a:pt x="2098806" y="5166266"/>
                </a:moveTo>
                <a:cubicBezTo>
                  <a:pt x="2098806" y="5166266"/>
                  <a:pt x="2099426" y="5166782"/>
                  <a:pt x="2099426" y="5166782"/>
                </a:cubicBezTo>
                <a:cubicBezTo>
                  <a:pt x="2099116" y="5167505"/>
                  <a:pt x="2099580" y="5166782"/>
                  <a:pt x="2100665" y="5166473"/>
                </a:cubicBezTo>
                <a:cubicBezTo>
                  <a:pt x="2101904" y="5168021"/>
                  <a:pt x="2102678" y="5168538"/>
                  <a:pt x="2102988" y="5169777"/>
                </a:cubicBezTo>
                <a:cubicBezTo>
                  <a:pt x="2103298" y="5170293"/>
                  <a:pt x="2103298" y="5171016"/>
                  <a:pt x="2103298" y="5171739"/>
                </a:cubicBezTo>
                <a:cubicBezTo>
                  <a:pt x="2103298" y="5172358"/>
                  <a:pt x="2102988" y="5172978"/>
                  <a:pt x="2102369" y="5173184"/>
                </a:cubicBezTo>
                <a:cubicBezTo>
                  <a:pt x="2101594" y="5172668"/>
                  <a:pt x="2101285" y="5173494"/>
                  <a:pt x="2100510" y="5172978"/>
                </a:cubicBezTo>
                <a:cubicBezTo>
                  <a:pt x="2098651" y="5172874"/>
                  <a:pt x="2097877" y="5172461"/>
                  <a:pt x="2097412" y="5171325"/>
                </a:cubicBezTo>
                <a:cubicBezTo>
                  <a:pt x="2096637" y="5170809"/>
                  <a:pt x="2096947" y="5170086"/>
                  <a:pt x="2096637" y="5168847"/>
                </a:cubicBezTo>
                <a:cubicBezTo>
                  <a:pt x="2096947" y="5168124"/>
                  <a:pt x="2098031" y="5167815"/>
                  <a:pt x="2098031" y="5167815"/>
                </a:cubicBezTo>
                <a:cubicBezTo>
                  <a:pt x="2099116" y="5167505"/>
                  <a:pt x="2099271" y="5167505"/>
                  <a:pt x="2098806" y="5166266"/>
                </a:cubicBezTo>
                <a:close/>
                <a:moveTo>
                  <a:pt x="2065813" y="5166163"/>
                </a:moveTo>
                <a:cubicBezTo>
                  <a:pt x="2068137" y="5171842"/>
                  <a:pt x="2066278" y="5183407"/>
                  <a:pt x="2058068" y="5183200"/>
                </a:cubicBezTo>
                <a:cubicBezTo>
                  <a:pt x="2060392" y="5177727"/>
                  <a:pt x="2061786" y="5171016"/>
                  <a:pt x="2065813" y="5166163"/>
                </a:cubicBezTo>
                <a:close/>
                <a:moveTo>
                  <a:pt x="1607785" y="5165646"/>
                </a:moveTo>
                <a:cubicBezTo>
                  <a:pt x="1608714" y="5166163"/>
                  <a:pt x="1609333" y="5167195"/>
                  <a:pt x="1609333" y="5168847"/>
                </a:cubicBezTo>
                <a:cubicBezTo>
                  <a:pt x="1608714" y="5173804"/>
                  <a:pt x="1604532" y="5174320"/>
                  <a:pt x="1599730" y="5174217"/>
                </a:cubicBezTo>
                <a:cubicBezTo>
                  <a:pt x="1599420" y="5172358"/>
                  <a:pt x="1598336" y="5171119"/>
                  <a:pt x="1598026" y="5169260"/>
                </a:cubicBezTo>
                <a:cubicBezTo>
                  <a:pt x="1599265" y="5166473"/>
                  <a:pt x="1605152" y="5163891"/>
                  <a:pt x="1607785" y="5165646"/>
                </a:cubicBezTo>
                <a:close/>
                <a:moveTo>
                  <a:pt x="1938179" y="5164820"/>
                </a:moveTo>
                <a:cubicBezTo>
                  <a:pt x="1939108" y="5165543"/>
                  <a:pt x="1940192" y="5166679"/>
                  <a:pt x="1941276" y="5168228"/>
                </a:cubicBezTo>
                <a:cubicBezTo>
                  <a:pt x="1939572" y="5172978"/>
                  <a:pt x="1937869" y="5181754"/>
                  <a:pt x="1931053" y="5182167"/>
                </a:cubicBezTo>
                <a:cubicBezTo>
                  <a:pt x="1930124" y="5182271"/>
                  <a:pt x="1928885" y="5182167"/>
                  <a:pt x="1927800" y="5181857"/>
                </a:cubicBezTo>
                <a:cubicBezTo>
                  <a:pt x="1923773" y="5173184"/>
                  <a:pt x="1930744" y="5159761"/>
                  <a:pt x="1938179" y="5164820"/>
                </a:cubicBezTo>
                <a:close/>
                <a:moveTo>
                  <a:pt x="2155808" y="5164304"/>
                </a:moveTo>
                <a:cubicBezTo>
                  <a:pt x="2157357" y="5163272"/>
                  <a:pt x="2157976" y="5166885"/>
                  <a:pt x="2158596" y="5167299"/>
                </a:cubicBezTo>
                <a:cubicBezTo>
                  <a:pt x="2158906" y="5168434"/>
                  <a:pt x="2159061" y="5169673"/>
                  <a:pt x="2157821" y="5169983"/>
                </a:cubicBezTo>
                <a:cubicBezTo>
                  <a:pt x="2157357" y="5170190"/>
                  <a:pt x="2156892" y="5170396"/>
                  <a:pt x="2156582" y="5170396"/>
                </a:cubicBezTo>
                <a:cubicBezTo>
                  <a:pt x="2156118" y="5170499"/>
                  <a:pt x="2155808" y="5170190"/>
                  <a:pt x="2155343" y="5169364"/>
                </a:cubicBezTo>
                <a:cubicBezTo>
                  <a:pt x="2154723" y="5168950"/>
                  <a:pt x="2154569" y="5167815"/>
                  <a:pt x="2153794" y="5167299"/>
                </a:cubicBezTo>
                <a:cubicBezTo>
                  <a:pt x="2153794" y="5167299"/>
                  <a:pt x="2153949" y="5166679"/>
                  <a:pt x="2154414" y="5165956"/>
                </a:cubicBezTo>
                <a:cubicBezTo>
                  <a:pt x="2154723" y="5165233"/>
                  <a:pt x="2155188" y="5164511"/>
                  <a:pt x="2155808" y="5164304"/>
                </a:cubicBezTo>
                <a:close/>
                <a:moveTo>
                  <a:pt x="2394347" y="5163168"/>
                </a:moveTo>
                <a:cubicBezTo>
                  <a:pt x="2395277" y="5164923"/>
                  <a:pt x="2394503" y="5166679"/>
                  <a:pt x="2393728" y="5168331"/>
                </a:cubicBezTo>
                <a:cubicBezTo>
                  <a:pt x="2392954" y="5169570"/>
                  <a:pt x="2392024" y="5169983"/>
                  <a:pt x="2391250" y="5169777"/>
                </a:cubicBezTo>
                <a:cubicBezTo>
                  <a:pt x="2390320" y="5169673"/>
                  <a:pt x="2389546" y="5168950"/>
                  <a:pt x="2388616" y="5168021"/>
                </a:cubicBezTo>
                <a:cubicBezTo>
                  <a:pt x="2386758" y="5166266"/>
                  <a:pt x="2387532" y="5164614"/>
                  <a:pt x="2387532" y="5164614"/>
                </a:cubicBezTo>
                <a:cubicBezTo>
                  <a:pt x="2389236" y="5162033"/>
                  <a:pt x="2391714" y="5161310"/>
                  <a:pt x="2394347" y="5163168"/>
                </a:cubicBezTo>
                <a:close/>
                <a:moveTo>
                  <a:pt x="1971017" y="5162342"/>
                </a:moveTo>
                <a:cubicBezTo>
                  <a:pt x="1972875" y="5160587"/>
                  <a:pt x="1975199" y="5162445"/>
                  <a:pt x="1975044" y="5163272"/>
                </a:cubicBezTo>
                <a:cubicBezTo>
                  <a:pt x="1974115" y="5164201"/>
                  <a:pt x="1972411" y="5164201"/>
                  <a:pt x="1971481" y="5165027"/>
                </a:cubicBezTo>
                <a:cubicBezTo>
                  <a:pt x="1971636" y="5164098"/>
                  <a:pt x="1970862" y="5163168"/>
                  <a:pt x="1971017" y="5162342"/>
                </a:cubicBezTo>
                <a:close/>
                <a:moveTo>
                  <a:pt x="2466220" y="5161826"/>
                </a:moveTo>
                <a:cubicBezTo>
                  <a:pt x="2466994" y="5162755"/>
                  <a:pt x="2468388" y="5163788"/>
                  <a:pt x="2469008" y="5165646"/>
                </a:cubicBezTo>
                <a:cubicBezTo>
                  <a:pt x="2468078" y="5167092"/>
                  <a:pt x="2467304" y="5167608"/>
                  <a:pt x="2466529" y="5167712"/>
                </a:cubicBezTo>
                <a:cubicBezTo>
                  <a:pt x="2465755" y="5167712"/>
                  <a:pt x="2465135" y="5167195"/>
                  <a:pt x="2464671" y="5166473"/>
                </a:cubicBezTo>
                <a:cubicBezTo>
                  <a:pt x="2463896" y="5164923"/>
                  <a:pt x="2464051" y="5162549"/>
                  <a:pt x="2466220" y="5161826"/>
                </a:cubicBezTo>
                <a:close/>
                <a:moveTo>
                  <a:pt x="1918507" y="5161619"/>
                </a:moveTo>
                <a:cubicBezTo>
                  <a:pt x="1920365" y="5163375"/>
                  <a:pt x="1922070" y="5165233"/>
                  <a:pt x="1923928" y="5166988"/>
                </a:cubicBezTo>
                <a:cubicBezTo>
                  <a:pt x="1925012" y="5171429"/>
                  <a:pt x="1922689" y="5175146"/>
                  <a:pt x="1919126" y="5175972"/>
                </a:cubicBezTo>
                <a:cubicBezTo>
                  <a:pt x="1918043" y="5176179"/>
                  <a:pt x="1916648" y="5176179"/>
                  <a:pt x="1915254" y="5175766"/>
                </a:cubicBezTo>
                <a:cubicBezTo>
                  <a:pt x="1913550" y="5175146"/>
                  <a:pt x="1911536" y="5173804"/>
                  <a:pt x="1909832" y="5171532"/>
                </a:cubicBezTo>
                <a:cubicBezTo>
                  <a:pt x="1907974" y="5167092"/>
                  <a:pt x="1914325" y="5160587"/>
                  <a:pt x="1918507" y="5161619"/>
                </a:cubicBezTo>
                <a:close/>
                <a:moveTo>
                  <a:pt x="1769032" y="5160277"/>
                </a:moveTo>
                <a:cubicBezTo>
                  <a:pt x="1773214" y="5159761"/>
                  <a:pt x="1774453" y="5163788"/>
                  <a:pt x="1777396" y="5166782"/>
                </a:cubicBezTo>
                <a:cubicBezTo>
                  <a:pt x="1776932" y="5167505"/>
                  <a:pt x="1777086" y="5168744"/>
                  <a:pt x="1777861" y="5169157"/>
                </a:cubicBezTo>
                <a:cubicBezTo>
                  <a:pt x="1778016" y="5170396"/>
                  <a:pt x="1778171" y="5171532"/>
                  <a:pt x="1778635" y="5170809"/>
                </a:cubicBezTo>
                <a:cubicBezTo>
                  <a:pt x="1779255" y="5174320"/>
                  <a:pt x="1780029" y="5174836"/>
                  <a:pt x="1777861" y="5176591"/>
                </a:cubicBezTo>
                <a:cubicBezTo>
                  <a:pt x="1772904" y="5172358"/>
                  <a:pt x="1768567" y="5165337"/>
                  <a:pt x="1767638" y="5163684"/>
                </a:cubicBezTo>
                <a:cubicBezTo>
                  <a:pt x="1767173" y="5162962"/>
                  <a:pt x="1767173" y="5162342"/>
                  <a:pt x="1767328" y="5161826"/>
                </a:cubicBezTo>
                <a:cubicBezTo>
                  <a:pt x="1767638" y="5161310"/>
                  <a:pt x="1768102" y="5160793"/>
                  <a:pt x="1769032" y="5160277"/>
                </a:cubicBezTo>
                <a:close/>
                <a:moveTo>
                  <a:pt x="2415258" y="5158728"/>
                </a:moveTo>
                <a:cubicBezTo>
                  <a:pt x="2415724" y="5161206"/>
                  <a:pt x="2420990" y="5160277"/>
                  <a:pt x="2421609" y="5163891"/>
                </a:cubicBezTo>
                <a:cubicBezTo>
                  <a:pt x="2424552" y="5174320"/>
                  <a:pt x="2421764" y="5175766"/>
                  <a:pt x="2416188" y="5179792"/>
                </a:cubicBezTo>
                <a:cubicBezTo>
                  <a:pt x="2416653" y="5179070"/>
                  <a:pt x="2415569" y="5179379"/>
                  <a:pt x="2415569" y="5179379"/>
                </a:cubicBezTo>
                <a:cubicBezTo>
                  <a:pt x="2413245" y="5179999"/>
                  <a:pt x="2416808" y="5183407"/>
                  <a:pt x="2414020" y="5184852"/>
                </a:cubicBezTo>
                <a:cubicBezTo>
                  <a:pt x="2412781" y="5185265"/>
                  <a:pt x="2411696" y="5185265"/>
                  <a:pt x="2410611" y="5185058"/>
                </a:cubicBezTo>
                <a:cubicBezTo>
                  <a:pt x="2407359" y="5184439"/>
                  <a:pt x="2404726" y="5181548"/>
                  <a:pt x="2403177" y="5179689"/>
                </a:cubicBezTo>
                <a:lnTo>
                  <a:pt x="2402867" y="5179173"/>
                </a:lnTo>
                <a:lnTo>
                  <a:pt x="2401783" y="5178760"/>
                </a:lnTo>
                <a:lnTo>
                  <a:pt x="2401628" y="5179070"/>
                </a:lnTo>
                <a:lnTo>
                  <a:pt x="2401473" y="5178657"/>
                </a:lnTo>
                <a:lnTo>
                  <a:pt x="2399614" y="5177934"/>
                </a:lnTo>
                <a:lnTo>
                  <a:pt x="2400234" y="5176488"/>
                </a:lnTo>
                <a:lnTo>
                  <a:pt x="2399459" y="5173907"/>
                </a:lnTo>
                <a:cubicBezTo>
                  <a:pt x="2399459" y="5172978"/>
                  <a:pt x="2399769" y="5172461"/>
                  <a:pt x="2401008" y="5172151"/>
                </a:cubicBezTo>
                <a:cubicBezTo>
                  <a:pt x="2402557" y="5171016"/>
                  <a:pt x="2403487" y="5172668"/>
                  <a:pt x="2405810" y="5172048"/>
                </a:cubicBezTo>
                <a:cubicBezTo>
                  <a:pt x="2407823" y="5171222"/>
                  <a:pt x="2408134" y="5168744"/>
                  <a:pt x="2409063" y="5166059"/>
                </a:cubicBezTo>
                <a:lnTo>
                  <a:pt x="2410611" y="5163065"/>
                </a:lnTo>
                <a:lnTo>
                  <a:pt x="2409682" y="5163891"/>
                </a:lnTo>
                <a:cubicBezTo>
                  <a:pt x="2405965" y="5165956"/>
                  <a:pt x="2400234" y="5166988"/>
                  <a:pt x="2397290" y="5162755"/>
                </a:cubicBezTo>
                <a:cubicBezTo>
                  <a:pt x="2400234" y="5159554"/>
                  <a:pt x="2402867" y="5158728"/>
                  <a:pt x="2405345" y="5158935"/>
                </a:cubicBezTo>
                <a:lnTo>
                  <a:pt x="2412006" y="5161310"/>
                </a:lnTo>
                <a:close/>
                <a:moveTo>
                  <a:pt x="2287160" y="5157386"/>
                </a:moveTo>
                <a:cubicBezTo>
                  <a:pt x="2290258" y="5156560"/>
                  <a:pt x="2293975" y="5158109"/>
                  <a:pt x="2294905" y="5162755"/>
                </a:cubicBezTo>
                <a:cubicBezTo>
                  <a:pt x="2292891" y="5166059"/>
                  <a:pt x="2290567" y="5167608"/>
                  <a:pt x="2289174" y="5168847"/>
                </a:cubicBezTo>
                <a:cubicBezTo>
                  <a:pt x="2287160" y="5167712"/>
                  <a:pt x="2285456" y="5167299"/>
                  <a:pt x="2283442" y="5166163"/>
                </a:cubicBezTo>
                <a:cubicBezTo>
                  <a:pt x="2281584" y="5161310"/>
                  <a:pt x="2284062" y="5158109"/>
                  <a:pt x="2287160" y="5157386"/>
                </a:cubicBezTo>
                <a:close/>
                <a:moveTo>
                  <a:pt x="2807301" y="5156663"/>
                </a:moveTo>
                <a:lnTo>
                  <a:pt x="2807920" y="5159141"/>
                </a:lnTo>
                <a:lnTo>
                  <a:pt x="2810244" y="5158728"/>
                </a:lnTo>
                <a:close/>
                <a:moveTo>
                  <a:pt x="2562565" y="5156353"/>
                </a:moveTo>
                <a:lnTo>
                  <a:pt x="2563959" y="5159967"/>
                </a:lnTo>
                <a:lnTo>
                  <a:pt x="2564269" y="5159554"/>
                </a:lnTo>
                <a:cubicBezTo>
                  <a:pt x="2570310" y="5166473"/>
                  <a:pt x="2568141" y="5177831"/>
                  <a:pt x="2565353" y="5182787"/>
                </a:cubicBezTo>
                <a:cubicBezTo>
                  <a:pt x="2563804" y="5181135"/>
                  <a:pt x="2562720" y="5179070"/>
                  <a:pt x="2561945" y="5176798"/>
                </a:cubicBezTo>
                <a:lnTo>
                  <a:pt x="2561171" y="5171532"/>
                </a:lnTo>
                <a:lnTo>
                  <a:pt x="2559777" y="5171842"/>
                </a:lnTo>
                <a:lnTo>
                  <a:pt x="2559157" y="5171739"/>
                </a:lnTo>
                <a:lnTo>
                  <a:pt x="2561016" y="5174526"/>
                </a:lnTo>
                <a:cubicBezTo>
                  <a:pt x="2563340" y="5180102"/>
                  <a:pt x="2561636" y="5185781"/>
                  <a:pt x="2560087" y="5191564"/>
                </a:cubicBezTo>
                <a:cubicBezTo>
                  <a:pt x="2558073" y="5190634"/>
                  <a:pt x="2556679" y="5189085"/>
                  <a:pt x="2555904" y="5187330"/>
                </a:cubicBezTo>
                <a:lnTo>
                  <a:pt x="2555595" y="5186504"/>
                </a:lnTo>
                <a:lnTo>
                  <a:pt x="2555595" y="5187846"/>
                </a:lnTo>
                <a:cubicBezTo>
                  <a:pt x="2555595" y="5195178"/>
                  <a:pt x="2558073" y="5202406"/>
                  <a:pt x="2553581" y="5207362"/>
                </a:cubicBezTo>
                <a:cubicBezTo>
                  <a:pt x="2552806" y="5204264"/>
                  <a:pt x="2550948" y="5200650"/>
                  <a:pt x="2549399" y="5197140"/>
                </a:cubicBezTo>
                <a:cubicBezTo>
                  <a:pt x="2547850" y="5193629"/>
                  <a:pt x="2546611" y="5190221"/>
                  <a:pt x="2546920" y="5187330"/>
                </a:cubicBezTo>
                <a:lnTo>
                  <a:pt x="2548005" y="5184336"/>
                </a:lnTo>
                <a:lnTo>
                  <a:pt x="2547385" y="5184026"/>
                </a:lnTo>
                <a:cubicBezTo>
                  <a:pt x="2549399" y="5182374"/>
                  <a:pt x="2548779" y="5180515"/>
                  <a:pt x="2550638" y="5178966"/>
                </a:cubicBezTo>
                <a:lnTo>
                  <a:pt x="2552961" y="5181341"/>
                </a:lnTo>
                <a:lnTo>
                  <a:pt x="2554665" y="5180928"/>
                </a:lnTo>
                <a:lnTo>
                  <a:pt x="2555285" y="5174836"/>
                </a:lnTo>
                <a:lnTo>
                  <a:pt x="2556524" y="5171325"/>
                </a:lnTo>
                <a:lnTo>
                  <a:pt x="2555749" y="5171222"/>
                </a:lnTo>
                <a:cubicBezTo>
                  <a:pt x="2554046" y="5169054"/>
                  <a:pt x="2553581" y="5165956"/>
                  <a:pt x="2554356" y="5163065"/>
                </a:cubicBezTo>
                <a:cubicBezTo>
                  <a:pt x="2556679" y="5163478"/>
                  <a:pt x="2558383" y="5164407"/>
                  <a:pt x="2559777" y="5165750"/>
                </a:cubicBezTo>
                <a:lnTo>
                  <a:pt x="2561171" y="5168331"/>
                </a:lnTo>
                <a:lnTo>
                  <a:pt x="2561481" y="5165956"/>
                </a:lnTo>
                <a:lnTo>
                  <a:pt x="2558538" y="5165027"/>
                </a:lnTo>
                <a:cubicBezTo>
                  <a:pt x="2556524" y="5164098"/>
                  <a:pt x="2554510" y="5162962"/>
                  <a:pt x="2552806" y="5162033"/>
                </a:cubicBezTo>
                <a:cubicBezTo>
                  <a:pt x="2556060" y="5160380"/>
                  <a:pt x="2559467" y="5162342"/>
                  <a:pt x="2562565" y="5156353"/>
                </a:cubicBezTo>
                <a:close/>
                <a:moveTo>
                  <a:pt x="1696696" y="5156353"/>
                </a:moveTo>
                <a:cubicBezTo>
                  <a:pt x="1696076" y="5168847"/>
                  <a:pt x="1708158" y="5174010"/>
                  <a:pt x="1705215" y="5187640"/>
                </a:cubicBezTo>
                <a:cubicBezTo>
                  <a:pt x="1700722" y="5187020"/>
                  <a:pt x="1696076" y="5180928"/>
                  <a:pt x="1693752" y="5174113"/>
                </a:cubicBezTo>
                <a:cubicBezTo>
                  <a:pt x="1691429" y="5167299"/>
                  <a:pt x="1691584" y="5159761"/>
                  <a:pt x="1696696" y="5156353"/>
                </a:cubicBezTo>
                <a:close/>
                <a:moveTo>
                  <a:pt x="1870953" y="5155011"/>
                </a:moveTo>
                <a:cubicBezTo>
                  <a:pt x="1872967" y="5156353"/>
                  <a:pt x="1873742" y="5157696"/>
                  <a:pt x="1873742" y="5158935"/>
                </a:cubicBezTo>
                <a:lnTo>
                  <a:pt x="1872657" y="5162239"/>
                </a:lnTo>
                <a:lnTo>
                  <a:pt x="1873277" y="5162136"/>
                </a:lnTo>
                <a:cubicBezTo>
                  <a:pt x="1873432" y="5162136"/>
                  <a:pt x="1873277" y="5162342"/>
                  <a:pt x="1873122" y="5162755"/>
                </a:cubicBezTo>
                <a:cubicBezTo>
                  <a:pt x="1874981" y="5162858"/>
                  <a:pt x="1875755" y="5163375"/>
                  <a:pt x="1876375" y="5163788"/>
                </a:cubicBezTo>
                <a:cubicBezTo>
                  <a:pt x="1876530" y="5165027"/>
                  <a:pt x="1875601" y="5166576"/>
                  <a:pt x="1873896" y="5167712"/>
                </a:cubicBezTo>
                <a:cubicBezTo>
                  <a:pt x="1873742" y="5166473"/>
                  <a:pt x="1871883" y="5166266"/>
                  <a:pt x="1871573" y="5165130"/>
                </a:cubicBezTo>
                <a:cubicBezTo>
                  <a:pt x="1871573" y="5165130"/>
                  <a:pt x="1871728" y="5164407"/>
                  <a:pt x="1872038" y="5163684"/>
                </a:cubicBezTo>
                <a:lnTo>
                  <a:pt x="1872348" y="5162342"/>
                </a:lnTo>
                <a:lnTo>
                  <a:pt x="1870953" y="5161619"/>
                </a:lnTo>
                <a:cubicBezTo>
                  <a:pt x="1869405" y="5161310"/>
                  <a:pt x="1868011" y="5162342"/>
                  <a:pt x="1867081" y="5159451"/>
                </a:cubicBezTo>
                <a:cubicBezTo>
                  <a:pt x="1867236" y="5157799"/>
                  <a:pt x="1868321" y="5156147"/>
                  <a:pt x="1870953" y="5155011"/>
                </a:cubicBezTo>
                <a:close/>
                <a:moveTo>
                  <a:pt x="2573873" y="5153462"/>
                </a:moveTo>
                <a:cubicBezTo>
                  <a:pt x="2574647" y="5154391"/>
                  <a:pt x="2575267" y="5155321"/>
                  <a:pt x="2575886" y="5156353"/>
                </a:cubicBezTo>
                <a:cubicBezTo>
                  <a:pt x="2571859" y="5160380"/>
                  <a:pt x="2571239" y="5164717"/>
                  <a:pt x="2568141" y="5168021"/>
                </a:cubicBezTo>
                <a:cubicBezTo>
                  <a:pt x="2567212" y="5163478"/>
                  <a:pt x="2566128" y="5155424"/>
                  <a:pt x="2573873" y="5153462"/>
                </a:cubicBezTo>
                <a:close/>
                <a:moveTo>
                  <a:pt x="2395587" y="5152326"/>
                </a:moveTo>
                <a:cubicBezTo>
                  <a:pt x="2394967" y="5153152"/>
                  <a:pt x="2394967" y="5153152"/>
                  <a:pt x="2394967" y="5153152"/>
                </a:cubicBezTo>
                <a:cubicBezTo>
                  <a:pt x="2395122" y="5154391"/>
                  <a:pt x="2395742" y="5153566"/>
                  <a:pt x="2396361" y="5154082"/>
                </a:cubicBezTo>
                <a:cubicBezTo>
                  <a:pt x="2396361" y="5154082"/>
                  <a:pt x="2395742" y="5153566"/>
                  <a:pt x="2396826" y="5153255"/>
                </a:cubicBezTo>
                <a:cubicBezTo>
                  <a:pt x="2396361" y="5154082"/>
                  <a:pt x="2397136" y="5154495"/>
                  <a:pt x="2397755" y="5154908"/>
                </a:cubicBezTo>
                <a:cubicBezTo>
                  <a:pt x="2398220" y="5157283"/>
                  <a:pt x="2398065" y="5160483"/>
                  <a:pt x="2396361" y="5161619"/>
                </a:cubicBezTo>
                <a:cubicBezTo>
                  <a:pt x="2394038" y="5162239"/>
                  <a:pt x="2393109" y="5160587"/>
                  <a:pt x="2392954" y="5159451"/>
                </a:cubicBezTo>
                <a:cubicBezTo>
                  <a:pt x="2392179" y="5158315"/>
                  <a:pt x="2392334" y="5157076"/>
                  <a:pt x="2392799" y="5155837"/>
                </a:cubicBezTo>
                <a:cubicBezTo>
                  <a:pt x="2393418" y="5154495"/>
                  <a:pt x="2394503" y="5153255"/>
                  <a:pt x="2395587" y="5152326"/>
                </a:cubicBezTo>
                <a:close/>
                <a:moveTo>
                  <a:pt x="1721478" y="5151913"/>
                </a:moveTo>
                <a:cubicBezTo>
                  <a:pt x="1722563" y="5153566"/>
                  <a:pt x="1721943" y="5155424"/>
                  <a:pt x="1721478" y="5157179"/>
                </a:cubicBezTo>
                <a:cubicBezTo>
                  <a:pt x="1720704" y="5158521"/>
                  <a:pt x="1719930" y="5158935"/>
                  <a:pt x="1719155" y="5158935"/>
                </a:cubicBezTo>
                <a:cubicBezTo>
                  <a:pt x="1718226" y="5158831"/>
                  <a:pt x="1717297" y="5158212"/>
                  <a:pt x="1716367" y="5157386"/>
                </a:cubicBezTo>
                <a:cubicBezTo>
                  <a:pt x="1714508" y="5155837"/>
                  <a:pt x="1714973" y="5154082"/>
                  <a:pt x="1714973" y="5154082"/>
                </a:cubicBezTo>
                <a:cubicBezTo>
                  <a:pt x="1716367" y="5151397"/>
                  <a:pt x="1718690" y="5150364"/>
                  <a:pt x="1721478" y="5151913"/>
                </a:cubicBezTo>
                <a:close/>
                <a:moveTo>
                  <a:pt x="2286541" y="5151294"/>
                </a:moveTo>
                <a:cubicBezTo>
                  <a:pt x="2286541" y="5151294"/>
                  <a:pt x="2286541" y="5151294"/>
                  <a:pt x="2288399" y="5152843"/>
                </a:cubicBezTo>
                <a:lnTo>
                  <a:pt x="2288554" y="5153772"/>
                </a:lnTo>
                <a:cubicBezTo>
                  <a:pt x="2288399" y="5154288"/>
                  <a:pt x="2287780" y="5154391"/>
                  <a:pt x="2286850" y="5154598"/>
                </a:cubicBezTo>
                <a:cubicBezTo>
                  <a:pt x="2285611" y="5154805"/>
                  <a:pt x="2283597" y="5154701"/>
                  <a:pt x="2282048" y="5154598"/>
                </a:cubicBezTo>
                <a:cubicBezTo>
                  <a:pt x="2280344" y="5154495"/>
                  <a:pt x="2278950" y="5154391"/>
                  <a:pt x="2278641" y="5154391"/>
                </a:cubicBezTo>
                <a:cubicBezTo>
                  <a:pt x="2278641" y="5154391"/>
                  <a:pt x="2277866" y="5154391"/>
                  <a:pt x="2276937" y="5154391"/>
                </a:cubicBezTo>
                <a:cubicBezTo>
                  <a:pt x="2276007" y="5153669"/>
                  <a:pt x="2276007" y="5152739"/>
                  <a:pt x="2275078" y="5152843"/>
                </a:cubicBezTo>
                <a:cubicBezTo>
                  <a:pt x="2277246" y="5150158"/>
                  <a:pt x="2279880" y="5150777"/>
                  <a:pt x="2282358" y="5151500"/>
                </a:cubicBezTo>
                <a:cubicBezTo>
                  <a:pt x="2284217" y="5152326"/>
                  <a:pt x="2284991" y="5152223"/>
                  <a:pt x="2286541" y="5151294"/>
                </a:cubicBezTo>
                <a:close/>
                <a:moveTo>
                  <a:pt x="1942980" y="5150777"/>
                </a:moveTo>
                <a:cubicBezTo>
                  <a:pt x="1946698" y="5155114"/>
                  <a:pt x="1945459" y="5158315"/>
                  <a:pt x="1940812" y="5160793"/>
                </a:cubicBezTo>
                <a:cubicBezTo>
                  <a:pt x="1939263" y="5159554"/>
                  <a:pt x="1937559" y="5159141"/>
                  <a:pt x="1935236" y="5157696"/>
                </a:cubicBezTo>
                <a:cubicBezTo>
                  <a:pt x="1935545" y="5155217"/>
                  <a:pt x="1938798" y="5150674"/>
                  <a:pt x="1942980" y="5150777"/>
                </a:cubicBezTo>
                <a:close/>
                <a:moveTo>
                  <a:pt x="2238058" y="5150468"/>
                </a:moveTo>
                <a:cubicBezTo>
                  <a:pt x="2229693" y="5154805"/>
                  <a:pt x="2226750" y="5161826"/>
                  <a:pt x="2216217" y="5164717"/>
                </a:cubicBezTo>
                <a:cubicBezTo>
                  <a:pt x="2214978" y="5156044"/>
                  <a:pt x="2230777" y="5143756"/>
                  <a:pt x="2238058" y="5150468"/>
                </a:cubicBezTo>
                <a:close/>
                <a:moveTo>
                  <a:pt x="1989759" y="5150364"/>
                </a:moveTo>
                <a:cubicBezTo>
                  <a:pt x="1991308" y="5152223"/>
                  <a:pt x="1994871" y="5149539"/>
                  <a:pt x="1997039" y="5152223"/>
                </a:cubicBezTo>
                <a:cubicBezTo>
                  <a:pt x="1996884" y="5153978"/>
                  <a:pt x="1996884" y="5154908"/>
                  <a:pt x="1995800" y="5156663"/>
                </a:cubicBezTo>
                <a:cubicBezTo>
                  <a:pt x="1988520" y="5162755"/>
                  <a:pt x="1984493" y="5160071"/>
                  <a:pt x="1983563" y="5160897"/>
                </a:cubicBezTo>
                <a:cubicBezTo>
                  <a:pt x="1981394" y="5158212"/>
                  <a:pt x="1983254" y="5156456"/>
                  <a:pt x="1985267" y="5152946"/>
                </a:cubicBezTo>
                <a:cubicBezTo>
                  <a:pt x="1986041" y="5153875"/>
                  <a:pt x="1988829" y="5151294"/>
                  <a:pt x="1989759" y="5150364"/>
                </a:cubicBezTo>
                <a:close/>
                <a:moveTo>
                  <a:pt x="2450730" y="5150054"/>
                </a:moveTo>
                <a:cubicBezTo>
                  <a:pt x="2455222" y="5152533"/>
                  <a:pt x="2454602" y="5159038"/>
                  <a:pt x="2450575" y="5160071"/>
                </a:cubicBezTo>
                <a:cubicBezTo>
                  <a:pt x="2449490" y="5159554"/>
                  <a:pt x="2447632" y="5159141"/>
                  <a:pt x="2446238" y="5157696"/>
                </a:cubicBezTo>
                <a:cubicBezTo>
                  <a:pt x="2445618" y="5153255"/>
                  <a:pt x="2447632" y="5150984"/>
                  <a:pt x="2450730" y="5150054"/>
                </a:cubicBezTo>
                <a:close/>
                <a:moveTo>
                  <a:pt x="1701962" y="5148093"/>
                </a:moveTo>
                <a:cubicBezTo>
                  <a:pt x="1701962" y="5148093"/>
                  <a:pt x="1701962" y="5148093"/>
                  <a:pt x="1702581" y="5149951"/>
                </a:cubicBezTo>
                <a:cubicBezTo>
                  <a:pt x="1702581" y="5150777"/>
                  <a:pt x="1702426" y="5151707"/>
                  <a:pt x="1701497" y="5152636"/>
                </a:cubicBezTo>
                <a:cubicBezTo>
                  <a:pt x="1700568" y="5153566"/>
                  <a:pt x="1698709" y="5153462"/>
                  <a:pt x="1697934" y="5153462"/>
                </a:cubicBezTo>
                <a:cubicBezTo>
                  <a:pt x="1697934" y="5152533"/>
                  <a:pt x="1697160" y="5152533"/>
                  <a:pt x="1697315" y="5151707"/>
                </a:cubicBezTo>
                <a:cubicBezTo>
                  <a:pt x="1696540" y="5149848"/>
                  <a:pt x="1696540" y="5149848"/>
                  <a:pt x="1697470" y="5148919"/>
                </a:cubicBezTo>
                <a:cubicBezTo>
                  <a:pt x="1698554" y="5148093"/>
                  <a:pt x="1701032" y="5149022"/>
                  <a:pt x="1701962" y="5148093"/>
                </a:cubicBezTo>
                <a:close/>
                <a:moveTo>
                  <a:pt x="2341838" y="5145511"/>
                </a:moveTo>
                <a:cubicBezTo>
                  <a:pt x="2341528" y="5149435"/>
                  <a:pt x="2341373" y="5153462"/>
                  <a:pt x="2340599" y="5157489"/>
                </a:cubicBezTo>
                <a:cubicBezTo>
                  <a:pt x="2339824" y="5161619"/>
                  <a:pt x="2338430" y="5165646"/>
                  <a:pt x="2335177" y="5169880"/>
                </a:cubicBezTo>
                <a:cubicBezTo>
                  <a:pt x="2328981" y="5162136"/>
                  <a:pt x="2336881" y="5150364"/>
                  <a:pt x="2341838" y="5145511"/>
                </a:cubicBezTo>
                <a:close/>
                <a:moveTo>
                  <a:pt x="2014387" y="5145305"/>
                </a:moveTo>
                <a:cubicBezTo>
                  <a:pt x="2019034" y="5150364"/>
                  <a:pt x="2018105" y="5152430"/>
                  <a:pt x="2015937" y="5152843"/>
                </a:cubicBezTo>
                <a:cubicBezTo>
                  <a:pt x="2012219" y="5153462"/>
                  <a:pt x="2004939" y="5149125"/>
                  <a:pt x="2014387" y="5145305"/>
                </a:cubicBezTo>
                <a:close/>
                <a:moveTo>
                  <a:pt x="2206614" y="5144272"/>
                </a:moveTo>
                <a:cubicBezTo>
                  <a:pt x="2206304" y="5146544"/>
                  <a:pt x="2205839" y="5148403"/>
                  <a:pt x="2205065" y="5150054"/>
                </a:cubicBezTo>
                <a:cubicBezTo>
                  <a:pt x="2203052" y="5155011"/>
                  <a:pt x="2199798" y="5158006"/>
                  <a:pt x="2199488" y="5162033"/>
                </a:cubicBezTo>
                <a:cubicBezTo>
                  <a:pt x="2199488" y="5162033"/>
                  <a:pt x="2199333" y="5162033"/>
                  <a:pt x="2197165" y="5162652"/>
                </a:cubicBezTo>
                <a:cubicBezTo>
                  <a:pt x="2196855" y="5163478"/>
                  <a:pt x="2196855" y="5163375"/>
                  <a:pt x="2196855" y="5163375"/>
                </a:cubicBezTo>
                <a:cubicBezTo>
                  <a:pt x="2196700" y="5163788"/>
                  <a:pt x="2196236" y="5163788"/>
                  <a:pt x="2195771" y="5163684"/>
                </a:cubicBezTo>
                <a:cubicBezTo>
                  <a:pt x="2195306" y="5163581"/>
                  <a:pt x="2194997" y="5163272"/>
                  <a:pt x="2194997" y="5163272"/>
                </a:cubicBezTo>
                <a:cubicBezTo>
                  <a:pt x="2194377" y="5162445"/>
                  <a:pt x="2194532" y="5161619"/>
                  <a:pt x="2194997" y="5160793"/>
                </a:cubicBezTo>
                <a:lnTo>
                  <a:pt x="2195306" y="5160174"/>
                </a:lnTo>
                <a:lnTo>
                  <a:pt x="2194532" y="5160277"/>
                </a:lnTo>
                <a:cubicBezTo>
                  <a:pt x="2191898" y="5160587"/>
                  <a:pt x="2189420" y="5160380"/>
                  <a:pt x="2187252" y="5160277"/>
                </a:cubicBezTo>
                <a:lnTo>
                  <a:pt x="2181676" y="5161000"/>
                </a:lnTo>
                <a:lnTo>
                  <a:pt x="2180901" y="5162549"/>
                </a:lnTo>
                <a:cubicBezTo>
                  <a:pt x="2180282" y="5163478"/>
                  <a:pt x="2179662" y="5163994"/>
                  <a:pt x="2179042" y="5164201"/>
                </a:cubicBezTo>
                <a:cubicBezTo>
                  <a:pt x="2178577" y="5164511"/>
                  <a:pt x="2178113" y="5164511"/>
                  <a:pt x="2177649" y="5164407"/>
                </a:cubicBezTo>
                <a:cubicBezTo>
                  <a:pt x="2177184" y="5164201"/>
                  <a:pt x="2176874" y="5163891"/>
                  <a:pt x="2176564" y="5163375"/>
                </a:cubicBezTo>
                <a:cubicBezTo>
                  <a:pt x="2175015" y="5161103"/>
                  <a:pt x="2175170" y="5155837"/>
                  <a:pt x="2178422" y="5156250"/>
                </a:cubicBezTo>
                <a:lnTo>
                  <a:pt x="2179042" y="5156663"/>
                </a:lnTo>
                <a:lnTo>
                  <a:pt x="2179507" y="5156456"/>
                </a:lnTo>
                <a:cubicBezTo>
                  <a:pt x="2180436" y="5156353"/>
                  <a:pt x="2181521" y="5156560"/>
                  <a:pt x="2182295" y="5156456"/>
                </a:cubicBezTo>
                <a:cubicBezTo>
                  <a:pt x="2182915" y="5154701"/>
                  <a:pt x="2185858" y="5158006"/>
                  <a:pt x="2186477" y="5156250"/>
                </a:cubicBezTo>
                <a:cubicBezTo>
                  <a:pt x="2189265" y="5158728"/>
                  <a:pt x="2191898" y="5156766"/>
                  <a:pt x="2195771" y="5157386"/>
                </a:cubicBezTo>
                <a:lnTo>
                  <a:pt x="2196545" y="5157696"/>
                </a:lnTo>
                <a:lnTo>
                  <a:pt x="2197165" y="5156456"/>
                </a:lnTo>
                <a:cubicBezTo>
                  <a:pt x="2197940" y="5155940"/>
                  <a:pt x="2198559" y="5155424"/>
                  <a:pt x="2198095" y="5154598"/>
                </a:cubicBezTo>
                <a:cubicBezTo>
                  <a:pt x="2202431" y="5153359"/>
                  <a:pt x="2200418" y="5147370"/>
                  <a:pt x="2206614" y="5144272"/>
                </a:cubicBezTo>
                <a:close/>
                <a:moveTo>
                  <a:pt x="1614445" y="5143549"/>
                </a:moveTo>
                <a:cubicBezTo>
                  <a:pt x="1613981" y="5149642"/>
                  <a:pt x="1617388" y="5152533"/>
                  <a:pt x="1614600" y="5156973"/>
                </a:cubicBezTo>
                <a:cubicBezTo>
                  <a:pt x="1606081" y="5158006"/>
                  <a:pt x="1602983" y="5147473"/>
                  <a:pt x="1607475" y="5143963"/>
                </a:cubicBezTo>
                <a:cubicBezTo>
                  <a:pt x="1608869" y="5142827"/>
                  <a:pt x="1611193" y="5142414"/>
                  <a:pt x="1614445" y="5143549"/>
                </a:cubicBezTo>
                <a:close/>
                <a:moveTo>
                  <a:pt x="2743639" y="5143240"/>
                </a:moveTo>
                <a:lnTo>
                  <a:pt x="2743019" y="5143963"/>
                </a:lnTo>
                <a:lnTo>
                  <a:pt x="2741625" y="5144272"/>
                </a:lnTo>
                <a:lnTo>
                  <a:pt x="2741935" y="5145718"/>
                </a:lnTo>
                <a:lnTo>
                  <a:pt x="2742864" y="5147267"/>
                </a:lnTo>
                <a:lnTo>
                  <a:pt x="2743019" y="5146750"/>
                </a:lnTo>
                <a:lnTo>
                  <a:pt x="2744103" y="5147267"/>
                </a:lnTo>
                <a:lnTo>
                  <a:pt x="2745033" y="5146854"/>
                </a:lnTo>
                <a:lnTo>
                  <a:pt x="2744878" y="5146854"/>
                </a:lnTo>
                <a:close/>
                <a:moveTo>
                  <a:pt x="2530191" y="5141175"/>
                </a:moveTo>
                <a:cubicBezTo>
                  <a:pt x="2533290" y="5141381"/>
                  <a:pt x="2535458" y="5143240"/>
                  <a:pt x="2535613" y="5146338"/>
                </a:cubicBezTo>
                <a:cubicBezTo>
                  <a:pt x="2534684" y="5147989"/>
                  <a:pt x="2532980" y="5148196"/>
                  <a:pt x="2531121" y="5148299"/>
                </a:cubicBezTo>
                <a:cubicBezTo>
                  <a:pt x="2529572" y="5148196"/>
                  <a:pt x="2528643" y="5147680"/>
                  <a:pt x="2528333" y="5146854"/>
                </a:cubicBezTo>
                <a:cubicBezTo>
                  <a:pt x="2527868" y="5146028"/>
                  <a:pt x="2527868" y="5144892"/>
                  <a:pt x="2528023" y="5143756"/>
                </a:cubicBezTo>
                <a:cubicBezTo>
                  <a:pt x="2528333" y="5141278"/>
                  <a:pt x="2530191" y="5141175"/>
                  <a:pt x="2530191" y="5141175"/>
                </a:cubicBezTo>
                <a:close/>
                <a:moveTo>
                  <a:pt x="2329446" y="5140968"/>
                </a:moveTo>
                <a:cubicBezTo>
                  <a:pt x="2330995" y="5140039"/>
                  <a:pt x="2333938" y="5142414"/>
                  <a:pt x="2335642" y="5143240"/>
                </a:cubicBezTo>
                <a:cubicBezTo>
                  <a:pt x="2334868" y="5144169"/>
                  <a:pt x="2334248" y="5144995"/>
                  <a:pt x="2335022" y="5144995"/>
                </a:cubicBezTo>
                <a:cubicBezTo>
                  <a:pt x="2334403" y="5145924"/>
                  <a:pt x="2333628" y="5146338"/>
                  <a:pt x="2332854" y="5146544"/>
                </a:cubicBezTo>
                <a:cubicBezTo>
                  <a:pt x="2331924" y="5146647"/>
                  <a:pt x="2331150" y="5146544"/>
                  <a:pt x="2330221" y="5146131"/>
                </a:cubicBezTo>
                <a:cubicBezTo>
                  <a:pt x="2329291" y="5145305"/>
                  <a:pt x="2328981" y="5143653"/>
                  <a:pt x="2329446" y="5140968"/>
                </a:cubicBezTo>
                <a:close/>
                <a:moveTo>
                  <a:pt x="2111198" y="5139626"/>
                </a:moveTo>
                <a:cubicBezTo>
                  <a:pt x="2113986" y="5137561"/>
                  <a:pt x="2116929" y="5138800"/>
                  <a:pt x="2118942" y="5141175"/>
                </a:cubicBezTo>
                <a:cubicBezTo>
                  <a:pt x="2120801" y="5143549"/>
                  <a:pt x="2121886" y="5147163"/>
                  <a:pt x="2120646" y="5149848"/>
                </a:cubicBezTo>
                <a:cubicBezTo>
                  <a:pt x="2115844" y="5149229"/>
                  <a:pt x="2112437" y="5147886"/>
                  <a:pt x="2111508" y="5144169"/>
                </a:cubicBezTo>
                <a:cubicBezTo>
                  <a:pt x="2111043" y="5142930"/>
                  <a:pt x="2111043" y="5141484"/>
                  <a:pt x="2111198" y="5139626"/>
                </a:cubicBezTo>
                <a:close/>
                <a:moveTo>
                  <a:pt x="2555904" y="5137974"/>
                </a:moveTo>
                <a:cubicBezTo>
                  <a:pt x="2565663" y="5144788"/>
                  <a:pt x="2562255" y="5152533"/>
                  <a:pt x="2555904" y="5151397"/>
                </a:cubicBezTo>
                <a:cubicBezTo>
                  <a:pt x="2553736" y="5151087"/>
                  <a:pt x="2551258" y="5149745"/>
                  <a:pt x="2548779" y="5147060"/>
                </a:cubicBezTo>
                <a:cubicBezTo>
                  <a:pt x="2547850" y="5142723"/>
                  <a:pt x="2552652" y="5136941"/>
                  <a:pt x="2555904" y="5137974"/>
                </a:cubicBezTo>
                <a:close/>
                <a:moveTo>
                  <a:pt x="2063335" y="5137148"/>
                </a:moveTo>
                <a:cubicBezTo>
                  <a:pt x="2067052" y="5137148"/>
                  <a:pt x="2065968" y="5136735"/>
                  <a:pt x="2069530" y="5138593"/>
                </a:cubicBezTo>
                <a:cubicBezTo>
                  <a:pt x="2068602" y="5140968"/>
                  <a:pt x="2067517" y="5143240"/>
                  <a:pt x="2066588" y="5145615"/>
                </a:cubicBezTo>
                <a:cubicBezTo>
                  <a:pt x="2065194" y="5144479"/>
                  <a:pt x="2063335" y="5144479"/>
                  <a:pt x="2062251" y="5144169"/>
                </a:cubicBezTo>
                <a:cubicBezTo>
                  <a:pt x="2061321" y="5141794"/>
                  <a:pt x="2061476" y="5139832"/>
                  <a:pt x="2063335" y="5137148"/>
                </a:cubicBezTo>
                <a:close/>
                <a:moveTo>
                  <a:pt x="2018182" y="5137057"/>
                </a:moveTo>
                <a:cubicBezTo>
                  <a:pt x="2019422" y="5136270"/>
                  <a:pt x="2021125" y="5136218"/>
                  <a:pt x="2022907" y="5137457"/>
                </a:cubicBezTo>
                <a:cubicBezTo>
                  <a:pt x="2022442" y="5142310"/>
                  <a:pt x="2020583" y="5143963"/>
                  <a:pt x="2017485" y="5144479"/>
                </a:cubicBezTo>
                <a:cubicBezTo>
                  <a:pt x="2016711" y="5143446"/>
                  <a:pt x="2016247" y="5142207"/>
                  <a:pt x="2016247" y="5141072"/>
                </a:cubicBezTo>
                <a:cubicBezTo>
                  <a:pt x="2016169" y="5139368"/>
                  <a:pt x="2016943" y="5137845"/>
                  <a:pt x="2018182" y="5137057"/>
                </a:cubicBezTo>
                <a:close/>
                <a:moveTo>
                  <a:pt x="2324025" y="5137044"/>
                </a:moveTo>
                <a:cubicBezTo>
                  <a:pt x="2326503" y="5135702"/>
                  <a:pt x="2330530" y="5143756"/>
                  <a:pt x="2322476" y="5142207"/>
                </a:cubicBezTo>
                <a:cubicBezTo>
                  <a:pt x="2322476" y="5139006"/>
                  <a:pt x="2323250" y="5137457"/>
                  <a:pt x="2324025" y="5137044"/>
                </a:cubicBezTo>
                <a:close/>
                <a:moveTo>
                  <a:pt x="2195926" y="5135702"/>
                </a:moveTo>
                <a:cubicBezTo>
                  <a:pt x="2196391" y="5134876"/>
                  <a:pt x="2199643" y="5135909"/>
                  <a:pt x="2199798" y="5137044"/>
                </a:cubicBezTo>
                <a:cubicBezTo>
                  <a:pt x="2200883" y="5139936"/>
                  <a:pt x="2198095" y="5141278"/>
                  <a:pt x="2195461" y="5143756"/>
                </a:cubicBezTo>
                <a:cubicBezTo>
                  <a:pt x="2195306" y="5142620"/>
                  <a:pt x="2194067" y="5142930"/>
                  <a:pt x="2192983" y="5143240"/>
                </a:cubicBezTo>
                <a:cubicBezTo>
                  <a:pt x="2192674" y="5141484"/>
                  <a:pt x="2191898" y="5138800"/>
                  <a:pt x="2193448" y="5137044"/>
                </a:cubicBezTo>
                <a:cubicBezTo>
                  <a:pt x="2193912" y="5136425"/>
                  <a:pt x="2194842" y="5136012"/>
                  <a:pt x="2195926" y="5135702"/>
                </a:cubicBezTo>
                <a:close/>
                <a:moveTo>
                  <a:pt x="1743164" y="5135186"/>
                </a:moveTo>
                <a:cubicBezTo>
                  <a:pt x="1746262" y="5143240"/>
                  <a:pt x="1739911" y="5153566"/>
                  <a:pt x="1735265" y="5157696"/>
                </a:cubicBezTo>
                <a:cubicBezTo>
                  <a:pt x="1732166" y="5149539"/>
                  <a:pt x="1737588" y="5138077"/>
                  <a:pt x="1743164" y="5135186"/>
                </a:cubicBezTo>
                <a:close/>
                <a:moveTo>
                  <a:pt x="1676404" y="5134670"/>
                </a:moveTo>
                <a:cubicBezTo>
                  <a:pt x="1676404" y="5134670"/>
                  <a:pt x="1676404" y="5134670"/>
                  <a:pt x="1677178" y="5134670"/>
                </a:cubicBezTo>
                <a:cubicBezTo>
                  <a:pt x="1676094" y="5138180"/>
                  <a:pt x="1676404" y="5142620"/>
                  <a:pt x="1674545" y="5145305"/>
                </a:cubicBezTo>
                <a:cubicBezTo>
                  <a:pt x="1674081" y="5145718"/>
                  <a:pt x="1673616" y="5146131"/>
                  <a:pt x="1672996" y="5146234"/>
                </a:cubicBezTo>
                <a:cubicBezTo>
                  <a:pt x="1672531" y="5146338"/>
                  <a:pt x="1671912" y="5146131"/>
                  <a:pt x="1671137" y="5145202"/>
                </a:cubicBezTo>
                <a:cubicBezTo>
                  <a:pt x="1670363" y="5144788"/>
                  <a:pt x="1670053" y="5144376"/>
                  <a:pt x="1670053" y="5143653"/>
                </a:cubicBezTo>
                <a:cubicBezTo>
                  <a:pt x="1670053" y="5143033"/>
                  <a:pt x="1670673" y="5142104"/>
                  <a:pt x="1671602" y="5140865"/>
                </a:cubicBezTo>
                <a:cubicBezTo>
                  <a:pt x="1673461" y="5139110"/>
                  <a:pt x="1674390" y="5137354"/>
                  <a:pt x="1675320" y="5137354"/>
                </a:cubicBezTo>
                <a:cubicBezTo>
                  <a:pt x="1675320" y="5136425"/>
                  <a:pt x="1676249" y="5135599"/>
                  <a:pt x="1676404" y="5134670"/>
                </a:cubicBezTo>
                <a:close/>
                <a:moveTo>
                  <a:pt x="1908129" y="5134463"/>
                </a:moveTo>
                <a:cubicBezTo>
                  <a:pt x="1914480" y="5142517"/>
                  <a:pt x="1898990" y="5153978"/>
                  <a:pt x="1893103" y="5155424"/>
                </a:cubicBezTo>
                <a:cubicBezTo>
                  <a:pt x="1896202" y="5148609"/>
                  <a:pt x="1901623" y="5137664"/>
                  <a:pt x="1908129" y="5134463"/>
                </a:cubicBezTo>
                <a:close/>
                <a:moveTo>
                  <a:pt x="2370803" y="5133843"/>
                </a:moveTo>
                <a:cubicBezTo>
                  <a:pt x="2370494" y="5136321"/>
                  <a:pt x="2371268" y="5137148"/>
                  <a:pt x="2370494" y="5137148"/>
                </a:cubicBezTo>
                <a:cubicBezTo>
                  <a:pt x="2370494" y="5137561"/>
                  <a:pt x="2370184" y="5137767"/>
                  <a:pt x="2370029" y="5137767"/>
                </a:cubicBezTo>
                <a:cubicBezTo>
                  <a:pt x="2369719" y="5137767"/>
                  <a:pt x="2369564" y="5137561"/>
                  <a:pt x="2369564" y="5137148"/>
                </a:cubicBezTo>
                <a:cubicBezTo>
                  <a:pt x="2368015" y="5136321"/>
                  <a:pt x="2369874" y="5134670"/>
                  <a:pt x="2370803" y="5133843"/>
                </a:cubicBezTo>
                <a:close/>
                <a:moveTo>
                  <a:pt x="2457700" y="5133120"/>
                </a:moveTo>
                <a:cubicBezTo>
                  <a:pt x="2459404" y="5134050"/>
                  <a:pt x="2461882" y="5133327"/>
                  <a:pt x="2463586" y="5135186"/>
                </a:cubicBezTo>
                <a:cubicBezTo>
                  <a:pt x="2463586" y="5135186"/>
                  <a:pt x="2464516" y="5136012"/>
                  <a:pt x="2464516" y="5137767"/>
                </a:cubicBezTo>
                <a:cubicBezTo>
                  <a:pt x="2466374" y="5140452"/>
                  <a:pt x="2463896" y="5142930"/>
                  <a:pt x="2463896" y="5142930"/>
                </a:cubicBezTo>
                <a:cubicBezTo>
                  <a:pt x="2463896" y="5142930"/>
                  <a:pt x="2463896" y="5143033"/>
                  <a:pt x="2464671" y="5143033"/>
                </a:cubicBezTo>
                <a:cubicBezTo>
                  <a:pt x="2463122" y="5142930"/>
                  <a:pt x="2461418" y="5143756"/>
                  <a:pt x="2459714" y="5143653"/>
                </a:cubicBezTo>
                <a:lnTo>
                  <a:pt x="2459249" y="5143137"/>
                </a:lnTo>
                <a:lnTo>
                  <a:pt x="2459559" y="5143859"/>
                </a:lnTo>
                <a:cubicBezTo>
                  <a:pt x="2458010" y="5145511"/>
                  <a:pt x="2456151" y="5146544"/>
                  <a:pt x="2454292" y="5146647"/>
                </a:cubicBezTo>
                <a:cubicBezTo>
                  <a:pt x="2452279" y="5146750"/>
                  <a:pt x="2450110" y="5146028"/>
                  <a:pt x="2448097" y="5144169"/>
                </a:cubicBezTo>
                <a:cubicBezTo>
                  <a:pt x="2447012" y="5139832"/>
                  <a:pt x="2451814" y="5137561"/>
                  <a:pt x="2454292" y="5135909"/>
                </a:cubicBezTo>
                <a:lnTo>
                  <a:pt x="2455377" y="5137148"/>
                </a:lnTo>
                <a:lnTo>
                  <a:pt x="2455996" y="5135392"/>
                </a:lnTo>
                <a:cubicBezTo>
                  <a:pt x="2456461" y="5134670"/>
                  <a:pt x="2457081" y="5133947"/>
                  <a:pt x="2457700" y="5133120"/>
                </a:cubicBezTo>
                <a:close/>
                <a:moveTo>
                  <a:pt x="2383505" y="5131055"/>
                </a:moveTo>
                <a:cubicBezTo>
                  <a:pt x="2384744" y="5131882"/>
                  <a:pt x="2386603" y="5132088"/>
                  <a:pt x="2387532" y="5133637"/>
                </a:cubicBezTo>
                <a:cubicBezTo>
                  <a:pt x="2387842" y="5136012"/>
                  <a:pt x="2384899" y="5139316"/>
                  <a:pt x="2383195" y="5140349"/>
                </a:cubicBezTo>
                <a:cubicBezTo>
                  <a:pt x="2380872" y="5140968"/>
                  <a:pt x="2379322" y="5139006"/>
                  <a:pt x="2378858" y="5136632"/>
                </a:cubicBezTo>
                <a:cubicBezTo>
                  <a:pt x="2378548" y="5135805"/>
                  <a:pt x="2378548" y="5134876"/>
                  <a:pt x="2379013" y="5133947"/>
                </a:cubicBezTo>
                <a:cubicBezTo>
                  <a:pt x="2379478" y="5133017"/>
                  <a:pt x="2380252" y="5132191"/>
                  <a:pt x="2381181" y="5131675"/>
                </a:cubicBezTo>
                <a:cubicBezTo>
                  <a:pt x="2382266" y="5131365"/>
                  <a:pt x="2382266" y="5131365"/>
                  <a:pt x="2383505" y="5131055"/>
                </a:cubicBezTo>
                <a:close/>
                <a:moveTo>
                  <a:pt x="2037157" y="5130746"/>
                </a:moveTo>
                <a:cubicBezTo>
                  <a:pt x="2042114" y="5130126"/>
                  <a:pt x="2046606" y="5137251"/>
                  <a:pt x="2048465" y="5141691"/>
                </a:cubicBezTo>
                <a:cubicBezTo>
                  <a:pt x="2046761" y="5143343"/>
                  <a:pt x="2047690" y="5145099"/>
                  <a:pt x="2046141" y="5146750"/>
                </a:cubicBezTo>
                <a:cubicBezTo>
                  <a:pt x="2040875" y="5141278"/>
                  <a:pt x="2034834" y="5135805"/>
                  <a:pt x="2037157" y="5130746"/>
                </a:cubicBezTo>
                <a:close/>
                <a:moveTo>
                  <a:pt x="1918971" y="5129300"/>
                </a:moveTo>
                <a:cubicBezTo>
                  <a:pt x="1920675" y="5128474"/>
                  <a:pt x="1923463" y="5126822"/>
                  <a:pt x="1926716" y="5129507"/>
                </a:cubicBezTo>
                <a:cubicBezTo>
                  <a:pt x="1927336" y="5130333"/>
                  <a:pt x="1927336" y="5130436"/>
                  <a:pt x="1927336" y="5131262"/>
                </a:cubicBezTo>
                <a:cubicBezTo>
                  <a:pt x="1927955" y="5133017"/>
                  <a:pt x="1928730" y="5133947"/>
                  <a:pt x="1927800" y="5135702"/>
                </a:cubicBezTo>
                <a:cubicBezTo>
                  <a:pt x="1926716" y="5136941"/>
                  <a:pt x="1925787" y="5137354"/>
                  <a:pt x="1924858" y="5137251"/>
                </a:cubicBezTo>
                <a:cubicBezTo>
                  <a:pt x="1923928" y="5137148"/>
                  <a:pt x="1922999" y="5136425"/>
                  <a:pt x="1921759" y="5135496"/>
                </a:cubicBezTo>
                <a:cubicBezTo>
                  <a:pt x="1920520" y="5134670"/>
                  <a:pt x="1920211" y="5133534"/>
                  <a:pt x="1920056" y="5132398"/>
                </a:cubicBezTo>
                <a:cubicBezTo>
                  <a:pt x="1919746" y="5131365"/>
                  <a:pt x="1919746" y="5130229"/>
                  <a:pt x="1918971" y="5129300"/>
                </a:cubicBezTo>
                <a:close/>
                <a:moveTo>
                  <a:pt x="2564424" y="5128371"/>
                </a:moveTo>
                <a:cubicBezTo>
                  <a:pt x="2567986" y="5127029"/>
                  <a:pt x="2570774" y="5127338"/>
                  <a:pt x="2572788" y="5128681"/>
                </a:cubicBezTo>
                <a:cubicBezTo>
                  <a:pt x="2574337" y="5129610"/>
                  <a:pt x="2575421" y="5131055"/>
                  <a:pt x="2576041" y="5132811"/>
                </a:cubicBezTo>
                <a:lnTo>
                  <a:pt x="2576196" y="5134463"/>
                </a:lnTo>
                <a:lnTo>
                  <a:pt x="2576351" y="5134463"/>
                </a:lnTo>
                <a:cubicBezTo>
                  <a:pt x="2579294" y="5133740"/>
                  <a:pt x="2583321" y="5135496"/>
                  <a:pt x="2584870" y="5140142"/>
                </a:cubicBezTo>
                <a:cubicBezTo>
                  <a:pt x="2583321" y="5143343"/>
                  <a:pt x="2581152" y="5144788"/>
                  <a:pt x="2579913" y="5146028"/>
                </a:cubicBezTo>
                <a:lnTo>
                  <a:pt x="2574492" y="5143446"/>
                </a:lnTo>
                <a:lnTo>
                  <a:pt x="2572169" y="5144788"/>
                </a:lnTo>
                <a:lnTo>
                  <a:pt x="2569690" y="5148403"/>
                </a:lnTo>
                <a:cubicBezTo>
                  <a:pt x="2568761" y="5146338"/>
                  <a:pt x="2566592" y="5147473"/>
                  <a:pt x="2564579" y="5148609"/>
                </a:cubicBezTo>
                <a:cubicBezTo>
                  <a:pt x="2563030" y="5145511"/>
                  <a:pt x="2560087" y="5140968"/>
                  <a:pt x="2562255" y="5137044"/>
                </a:cubicBezTo>
                <a:lnTo>
                  <a:pt x="2563804" y="5135702"/>
                </a:lnTo>
                <a:lnTo>
                  <a:pt x="2563494" y="5132605"/>
                </a:lnTo>
                <a:cubicBezTo>
                  <a:pt x="2563649" y="5130952"/>
                  <a:pt x="2563959" y="5129404"/>
                  <a:pt x="2564424" y="5128371"/>
                </a:cubicBezTo>
                <a:close/>
                <a:moveTo>
                  <a:pt x="1700413" y="5128164"/>
                </a:moveTo>
                <a:cubicBezTo>
                  <a:pt x="1700413" y="5128164"/>
                  <a:pt x="1700568" y="5129300"/>
                  <a:pt x="1701342" y="5129713"/>
                </a:cubicBezTo>
                <a:cubicBezTo>
                  <a:pt x="1701342" y="5129713"/>
                  <a:pt x="1701497" y="5130849"/>
                  <a:pt x="1701652" y="5132088"/>
                </a:cubicBezTo>
                <a:cubicBezTo>
                  <a:pt x="1701652" y="5132088"/>
                  <a:pt x="1702272" y="5132501"/>
                  <a:pt x="1703046" y="5132914"/>
                </a:cubicBezTo>
                <a:cubicBezTo>
                  <a:pt x="1704130" y="5135702"/>
                  <a:pt x="1705059" y="5137251"/>
                  <a:pt x="1702426" y="5139832"/>
                </a:cubicBezTo>
                <a:cubicBezTo>
                  <a:pt x="1702117" y="5139626"/>
                  <a:pt x="1701807" y="5138903"/>
                  <a:pt x="1701652" y="5138077"/>
                </a:cubicBezTo>
                <a:cubicBezTo>
                  <a:pt x="1701342" y="5137354"/>
                  <a:pt x="1701187" y="5136425"/>
                  <a:pt x="1701187" y="5135909"/>
                </a:cubicBezTo>
                <a:cubicBezTo>
                  <a:pt x="1700413" y="5135392"/>
                  <a:pt x="1700258" y="5134256"/>
                  <a:pt x="1700722" y="5133534"/>
                </a:cubicBezTo>
                <a:cubicBezTo>
                  <a:pt x="1700722" y="5133534"/>
                  <a:pt x="1700568" y="5132398"/>
                  <a:pt x="1699793" y="5131882"/>
                </a:cubicBezTo>
                <a:cubicBezTo>
                  <a:pt x="1699484" y="5129610"/>
                  <a:pt x="1699948" y="5128887"/>
                  <a:pt x="1700413" y="5128164"/>
                </a:cubicBezTo>
                <a:close/>
                <a:moveTo>
                  <a:pt x="2498593" y="5126719"/>
                </a:moveTo>
                <a:cubicBezTo>
                  <a:pt x="2500452" y="5128577"/>
                  <a:pt x="2500916" y="5130436"/>
                  <a:pt x="2500452" y="5132295"/>
                </a:cubicBezTo>
                <a:cubicBezTo>
                  <a:pt x="2499987" y="5134050"/>
                  <a:pt x="2498283" y="5136012"/>
                  <a:pt x="2495960" y="5137974"/>
                </a:cubicBezTo>
                <a:cubicBezTo>
                  <a:pt x="2494875" y="5137044"/>
                  <a:pt x="2494256" y="5136012"/>
                  <a:pt x="2494101" y="5135186"/>
                </a:cubicBezTo>
                <a:cubicBezTo>
                  <a:pt x="2493791" y="5132398"/>
                  <a:pt x="2496889" y="5129816"/>
                  <a:pt x="2498593" y="5126719"/>
                </a:cubicBezTo>
                <a:close/>
                <a:moveTo>
                  <a:pt x="2015162" y="5124653"/>
                </a:moveTo>
                <a:cubicBezTo>
                  <a:pt x="2015937" y="5128371"/>
                  <a:pt x="2011909" y="5137354"/>
                  <a:pt x="2004939" y="5137148"/>
                </a:cubicBezTo>
                <a:cubicBezTo>
                  <a:pt x="2004784" y="5128577"/>
                  <a:pt x="2010205" y="5127029"/>
                  <a:pt x="2015162" y="5124653"/>
                </a:cubicBezTo>
                <a:close/>
                <a:moveTo>
                  <a:pt x="1985577" y="5124447"/>
                </a:moveTo>
                <a:cubicBezTo>
                  <a:pt x="1990069" y="5128164"/>
                  <a:pt x="1991153" y="5132811"/>
                  <a:pt x="1992238" y="5137561"/>
                </a:cubicBezTo>
                <a:cubicBezTo>
                  <a:pt x="1990688" y="5139832"/>
                  <a:pt x="1989294" y="5140865"/>
                  <a:pt x="1988055" y="5140865"/>
                </a:cubicBezTo>
                <a:cubicBezTo>
                  <a:pt x="1984337" y="5141072"/>
                  <a:pt x="1981704" y="5133120"/>
                  <a:pt x="1979071" y="5129197"/>
                </a:cubicBezTo>
                <a:cubicBezTo>
                  <a:pt x="1981085" y="5126099"/>
                  <a:pt x="1982014" y="5125376"/>
                  <a:pt x="1985577" y="5124447"/>
                </a:cubicBezTo>
                <a:close/>
                <a:moveTo>
                  <a:pt x="2445928" y="5123828"/>
                </a:moveTo>
                <a:cubicBezTo>
                  <a:pt x="2446393" y="5125170"/>
                  <a:pt x="2442985" y="5129713"/>
                  <a:pt x="2440507" y="5130333"/>
                </a:cubicBezTo>
                <a:cubicBezTo>
                  <a:pt x="2439577" y="5130539"/>
                  <a:pt x="2438958" y="5130229"/>
                  <a:pt x="2438493" y="5129300"/>
                </a:cubicBezTo>
                <a:cubicBezTo>
                  <a:pt x="2437409" y="5125686"/>
                  <a:pt x="2444534" y="5122898"/>
                  <a:pt x="2445928" y="5123828"/>
                </a:cubicBezTo>
                <a:close/>
                <a:moveTo>
                  <a:pt x="1663392" y="5123311"/>
                </a:moveTo>
                <a:lnTo>
                  <a:pt x="1664167" y="5124653"/>
                </a:lnTo>
                <a:lnTo>
                  <a:pt x="1667265" y="5125067"/>
                </a:lnTo>
                <a:cubicBezTo>
                  <a:pt x="1669124" y="5124241"/>
                  <a:pt x="1670053" y="5122588"/>
                  <a:pt x="1671602" y="5123518"/>
                </a:cubicBezTo>
                <a:cubicBezTo>
                  <a:pt x="1668969" y="5125170"/>
                  <a:pt x="1668039" y="5125893"/>
                  <a:pt x="1666180" y="5126719"/>
                </a:cubicBezTo>
                <a:lnTo>
                  <a:pt x="1665716" y="5127958"/>
                </a:lnTo>
                <a:lnTo>
                  <a:pt x="1665871" y="5128164"/>
                </a:lnTo>
                <a:lnTo>
                  <a:pt x="1665561" y="5128474"/>
                </a:lnTo>
                <a:lnTo>
                  <a:pt x="1665097" y="5129300"/>
                </a:lnTo>
                <a:lnTo>
                  <a:pt x="1664786" y="5129507"/>
                </a:lnTo>
                <a:lnTo>
                  <a:pt x="1663702" y="5131572"/>
                </a:lnTo>
                <a:cubicBezTo>
                  <a:pt x="1662928" y="5133430"/>
                  <a:pt x="1662153" y="5135392"/>
                  <a:pt x="1662153" y="5135392"/>
                </a:cubicBezTo>
                <a:cubicBezTo>
                  <a:pt x="1660914" y="5135702"/>
                  <a:pt x="1660450" y="5135909"/>
                  <a:pt x="1659985" y="5135599"/>
                </a:cubicBezTo>
                <a:cubicBezTo>
                  <a:pt x="1659520" y="5135289"/>
                  <a:pt x="1659365" y="5134670"/>
                  <a:pt x="1658745" y="5133327"/>
                </a:cubicBezTo>
                <a:lnTo>
                  <a:pt x="1659520" y="5130023"/>
                </a:lnTo>
                <a:lnTo>
                  <a:pt x="1659210" y="5129197"/>
                </a:lnTo>
                <a:cubicBezTo>
                  <a:pt x="1659055" y="5128371"/>
                  <a:pt x="1659365" y="5127545"/>
                  <a:pt x="1660295" y="5126719"/>
                </a:cubicBezTo>
                <a:lnTo>
                  <a:pt x="1661224" y="5126099"/>
                </a:lnTo>
                <a:close/>
                <a:moveTo>
                  <a:pt x="2106861" y="5122588"/>
                </a:moveTo>
                <a:cubicBezTo>
                  <a:pt x="2110423" y="5121866"/>
                  <a:pt x="2111663" y="5121969"/>
                  <a:pt x="2115070" y="5123724"/>
                </a:cubicBezTo>
                <a:cubicBezTo>
                  <a:pt x="2116464" y="5129404"/>
                  <a:pt x="2114451" y="5133430"/>
                  <a:pt x="2112282" y="5137457"/>
                </a:cubicBezTo>
                <a:cubicBezTo>
                  <a:pt x="2110888" y="5137664"/>
                  <a:pt x="2109804" y="5137767"/>
                  <a:pt x="2108874" y="5137664"/>
                </a:cubicBezTo>
                <a:cubicBezTo>
                  <a:pt x="2102524" y="5136941"/>
                  <a:pt x="2106396" y="5127854"/>
                  <a:pt x="2106861" y="5122588"/>
                </a:cubicBezTo>
                <a:close/>
                <a:moveTo>
                  <a:pt x="2001221" y="5120937"/>
                </a:moveTo>
                <a:cubicBezTo>
                  <a:pt x="2004319" y="5121040"/>
                  <a:pt x="2004474" y="5124138"/>
                  <a:pt x="2005713" y="5127545"/>
                </a:cubicBezTo>
                <a:cubicBezTo>
                  <a:pt x="2004474" y="5127235"/>
                  <a:pt x="2004319" y="5128371"/>
                  <a:pt x="2004164" y="5129610"/>
                </a:cubicBezTo>
                <a:cubicBezTo>
                  <a:pt x="2002460" y="5129197"/>
                  <a:pt x="1999672" y="5128887"/>
                  <a:pt x="1998588" y="5126719"/>
                </a:cubicBezTo>
                <a:cubicBezTo>
                  <a:pt x="1998278" y="5125996"/>
                  <a:pt x="1998278" y="5125067"/>
                  <a:pt x="1998433" y="5123828"/>
                </a:cubicBezTo>
                <a:cubicBezTo>
                  <a:pt x="1997968" y="5123105"/>
                  <a:pt x="2000137" y="5120627"/>
                  <a:pt x="2001221" y="5120937"/>
                </a:cubicBezTo>
                <a:close/>
                <a:moveTo>
                  <a:pt x="2183224" y="5120110"/>
                </a:moveTo>
                <a:cubicBezTo>
                  <a:pt x="2186942" y="5120730"/>
                  <a:pt x="2187871" y="5121349"/>
                  <a:pt x="2190195" y="5124138"/>
                </a:cubicBezTo>
                <a:cubicBezTo>
                  <a:pt x="2188646" y="5129816"/>
                  <a:pt x="2184773" y="5132708"/>
                  <a:pt x="2180901" y="5135599"/>
                </a:cubicBezTo>
                <a:cubicBezTo>
                  <a:pt x="2178113" y="5135082"/>
                  <a:pt x="2176719" y="5134256"/>
                  <a:pt x="2176254" y="5133120"/>
                </a:cubicBezTo>
                <a:cubicBezTo>
                  <a:pt x="2174550" y="5129713"/>
                  <a:pt x="2180746" y="5124138"/>
                  <a:pt x="2183224" y="5120110"/>
                </a:cubicBezTo>
                <a:close/>
                <a:moveTo>
                  <a:pt x="1586718" y="5119387"/>
                </a:moveTo>
                <a:cubicBezTo>
                  <a:pt x="1589352" y="5117736"/>
                  <a:pt x="1595548" y="5122072"/>
                  <a:pt x="1597717" y="5124653"/>
                </a:cubicBezTo>
                <a:cubicBezTo>
                  <a:pt x="1597097" y="5125067"/>
                  <a:pt x="1596167" y="5125170"/>
                  <a:pt x="1595238" y="5124963"/>
                </a:cubicBezTo>
                <a:cubicBezTo>
                  <a:pt x="1592295" y="5124344"/>
                  <a:pt x="1588422" y="5121349"/>
                  <a:pt x="1586718" y="5119387"/>
                </a:cubicBezTo>
                <a:close/>
                <a:moveTo>
                  <a:pt x="2219470" y="5118975"/>
                </a:moveTo>
                <a:cubicBezTo>
                  <a:pt x="2221794" y="5117219"/>
                  <a:pt x="2226131" y="5117219"/>
                  <a:pt x="2229074" y="5121040"/>
                </a:cubicBezTo>
                <a:cubicBezTo>
                  <a:pt x="2228919" y="5124757"/>
                  <a:pt x="2227525" y="5127029"/>
                  <a:pt x="2226905" y="5128784"/>
                </a:cubicBezTo>
                <a:lnTo>
                  <a:pt x="2223963" y="5128577"/>
                </a:lnTo>
                <a:lnTo>
                  <a:pt x="2225667" y="5129610"/>
                </a:lnTo>
                <a:cubicBezTo>
                  <a:pt x="2227060" y="5130539"/>
                  <a:pt x="2227989" y="5131469"/>
                  <a:pt x="2227680" y="5133637"/>
                </a:cubicBezTo>
                <a:cubicBezTo>
                  <a:pt x="2225976" y="5134050"/>
                  <a:pt x="2223963" y="5132914"/>
                  <a:pt x="2222568" y="5131159"/>
                </a:cubicBezTo>
                <a:lnTo>
                  <a:pt x="2221484" y="5128371"/>
                </a:lnTo>
                <a:lnTo>
                  <a:pt x="2220245" y="5128268"/>
                </a:lnTo>
                <a:cubicBezTo>
                  <a:pt x="2216372" y="5124550"/>
                  <a:pt x="2216992" y="5120833"/>
                  <a:pt x="2219470" y="5118975"/>
                </a:cubicBezTo>
                <a:close/>
                <a:moveTo>
                  <a:pt x="2238058" y="5118252"/>
                </a:moveTo>
                <a:cubicBezTo>
                  <a:pt x="2241621" y="5123518"/>
                  <a:pt x="2245802" y="5123621"/>
                  <a:pt x="2246732" y="5129094"/>
                </a:cubicBezTo>
                <a:cubicBezTo>
                  <a:pt x="2245493" y="5130746"/>
                  <a:pt x="2243944" y="5131572"/>
                  <a:pt x="2242395" y="5131778"/>
                </a:cubicBezTo>
                <a:cubicBezTo>
                  <a:pt x="2237593" y="5132501"/>
                  <a:pt x="2232791" y="5127854"/>
                  <a:pt x="2233566" y="5123415"/>
                </a:cubicBezTo>
                <a:cubicBezTo>
                  <a:pt x="2233720" y="5121453"/>
                  <a:pt x="2235115" y="5119594"/>
                  <a:pt x="2238058" y="5118252"/>
                </a:cubicBezTo>
                <a:close/>
                <a:moveTo>
                  <a:pt x="1111497" y="5117942"/>
                </a:moveTo>
                <a:cubicBezTo>
                  <a:pt x="1110568" y="5118768"/>
                  <a:pt x="1110568" y="5118768"/>
                  <a:pt x="1111342" y="5119594"/>
                </a:cubicBezTo>
                <a:cubicBezTo>
                  <a:pt x="1111342" y="5119594"/>
                  <a:pt x="1111342" y="5119594"/>
                  <a:pt x="1112117" y="5119594"/>
                </a:cubicBezTo>
                <a:cubicBezTo>
                  <a:pt x="1111962" y="5120420"/>
                  <a:pt x="1111187" y="5120420"/>
                  <a:pt x="1111032" y="5121246"/>
                </a:cubicBezTo>
                <a:cubicBezTo>
                  <a:pt x="1111032" y="5121246"/>
                  <a:pt x="1110413" y="5121246"/>
                  <a:pt x="1110413" y="5121246"/>
                </a:cubicBezTo>
                <a:cubicBezTo>
                  <a:pt x="1110258" y="5121659"/>
                  <a:pt x="1110258" y="5121659"/>
                  <a:pt x="1110103" y="5121453"/>
                </a:cubicBezTo>
                <a:cubicBezTo>
                  <a:pt x="1109948" y="5121246"/>
                  <a:pt x="1109483" y="5120833"/>
                  <a:pt x="1108864" y="5120420"/>
                </a:cubicBezTo>
                <a:cubicBezTo>
                  <a:pt x="1108399" y="5120007"/>
                  <a:pt x="1108089" y="5119697"/>
                  <a:pt x="1107934" y="5119491"/>
                </a:cubicBezTo>
                <a:cubicBezTo>
                  <a:pt x="1107780" y="5119284"/>
                  <a:pt x="1107625" y="5119078"/>
                  <a:pt x="1108089" y="5118665"/>
                </a:cubicBezTo>
                <a:cubicBezTo>
                  <a:pt x="1109019" y="5117839"/>
                  <a:pt x="1109019" y="5117839"/>
                  <a:pt x="1111497" y="5117942"/>
                </a:cubicBezTo>
                <a:close/>
                <a:moveTo>
                  <a:pt x="1731082" y="5117736"/>
                </a:moveTo>
                <a:cubicBezTo>
                  <a:pt x="1731082" y="5117736"/>
                  <a:pt x="1731392" y="5118975"/>
                  <a:pt x="1731547" y="5120214"/>
                </a:cubicBezTo>
                <a:cubicBezTo>
                  <a:pt x="1731857" y="5121349"/>
                  <a:pt x="1731702" y="5121349"/>
                  <a:pt x="1732941" y="5121040"/>
                </a:cubicBezTo>
                <a:cubicBezTo>
                  <a:pt x="1733096" y="5122279"/>
                  <a:pt x="1733096" y="5122279"/>
                  <a:pt x="1732166" y="5123828"/>
                </a:cubicBezTo>
                <a:cubicBezTo>
                  <a:pt x="1732011" y="5122588"/>
                  <a:pt x="1729998" y="5118045"/>
                  <a:pt x="1731082" y="5117736"/>
                </a:cubicBezTo>
                <a:close/>
                <a:moveTo>
                  <a:pt x="1923773" y="5116393"/>
                </a:moveTo>
                <a:cubicBezTo>
                  <a:pt x="1925012" y="5116083"/>
                  <a:pt x="1926096" y="5115877"/>
                  <a:pt x="1926251" y="5117013"/>
                </a:cubicBezTo>
                <a:cubicBezTo>
                  <a:pt x="1926251" y="5117013"/>
                  <a:pt x="1925787" y="5117736"/>
                  <a:pt x="1923463" y="5118355"/>
                </a:cubicBezTo>
                <a:cubicBezTo>
                  <a:pt x="1923928" y="5117632"/>
                  <a:pt x="1923308" y="5117219"/>
                  <a:pt x="1923308" y="5117219"/>
                </a:cubicBezTo>
                <a:cubicBezTo>
                  <a:pt x="1923308" y="5117219"/>
                  <a:pt x="1923308" y="5117219"/>
                  <a:pt x="1922844" y="5117942"/>
                </a:cubicBezTo>
                <a:cubicBezTo>
                  <a:pt x="1922689" y="5117322"/>
                  <a:pt x="1922999" y="5117013"/>
                  <a:pt x="1923153" y="5116806"/>
                </a:cubicBezTo>
                <a:cubicBezTo>
                  <a:pt x="1923463" y="5116496"/>
                  <a:pt x="1923773" y="5116393"/>
                  <a:pt x="1923773" y="5116393"/>
                </a:cubicBezTo>
                <a:close/>
                <a:moveTo>
                  <a:pt x="2276724" y="5116238"/>
                </a:moveTo>
                <a:cubicBezTo>
                  <a:pt x="2280732" y="5115670"/>
                  <a:pt x="2284527" y="5116857"/>
                  <a:pt x="2284681" y="5120110"/>
                </a:cubicBezTo>
                <a:cubicBezTo>
                  <a:pt x="2284681" y="5121040"/>
                  <a:pt x="2284527" y="5122176"/>
                  <a:pt x="2283907" y="5123518"/>
                </a:cubicBezTo>
                <a:cubicBezTo>
                  <a:pt x="2282513" y="5124653"/>
                  <a:pt x="2280964" y="5125686"/>
                  <a:pt x="2279570" y="5126512"/>
                </a:cubicBezTo>
                <a:lnTo>
                  <a:pt x="2275698" y="5128164"/>
                </a:lnTo>
                <a:lnTo>
                  <a:pt x="2276007" y="5134360"/>
                </a:lnTo>
                <a:cubicBezTo>
                  <a:pt x="2276007" y="5136632"/>
                  <a:pt x="2275388" y="5138180"/>
                  <a:pt x="2272600" y="5139316"/>
                </a:cubicBezTo>
                <a:cubicBezTo>
                  <a:pt x="2271205" y="5138180"/>
                  <a:pt x="2270586" y="5136115"/>
                  <a:pt x="2270431" y="5133637"/>
                </a:cubicBezTo>
                <a:lnTo>
                  <a:pt x="2270276" y="5127029"/>
                </a:lnTo>
                <a:lnTo>
                  <a:pt x="2267953" y="5125583"/>
                </a:lnTo>
                <a:cubicBezTo>
                  <a:pt x="2268882" y="5124757"/>
                  <a:pt x="2268108" y="5123828"/>
                  <a:pt x="2267488" y="5122898"/>
                </a:cubicBezTo>
                <a:cubicBezTo>
                  <a:pt x="2268495" y="5119130"/>
                  <a:pt x="2272716" y="5116806"/>
                  <a:pt x="2276724" y="5116238"/>
                </a:cubicBezTo>
                <a:close/>
                <a:moveTo>
                  <a:pt x="2470247" y="5115774"/>
                </a:moveTo>
                <a:cubicBezTo>
                  <a:pt x="2473655" y="5118561"/>
                  <a:pt x="2475359" y="5115980"/>
                  <a:pt x="2480625" y="5120523"/>
                </a:cubicBezTo>
                <a:cubicBezTo>
                  <a:pt x="2487595" y="5126099"/>
                  <a:pt x="2486046" y="5132088"/>
                  <a:pt x="2483723" y="5135392"/>
                </a:cubicBezTo>
                <a:cubicBezTo>
                  <a:pt x="2483103" y="5134773"/>
                  <a:pt x="2479850" y="5139316"/>
                  <a:pt x="2474894" y="5138903"/>
                </a:cubicBezTo>
                <a:cubicBezTo>
                  <a:pt x="2473190" y="5138800"/>
                  <a:pt x="2471486" y="5138077"/>
                  <a:pt x="2469472" y="5136425"/>
                </a:cubicBezTo>
                <a:cubicBezTo>
                  <a:pt x="2465135" y="5132811"/>
                  <a:pt x="2461418" y="5127442"/>
                  <a:pt x="2466994" y="5120833"/>
                </a:cubicBezTo>
                <a:cubicBezTo>
                  <a:pt x="2467768" y="5119181"/>
                  <a:pt x="2467924" y="5120007"/>
                  <a:pt x="2468698" y="5119181"/>
                </a:cubicBezTo>
                <a:cubicBezTo>
                  <a:pt x="2469472" y="5118355"/>
                  <a:pt x="2470247" y="5116703"/>
                  <a:pt x="2470247" y="5115774"/>
                </a:cubicBezTo>
                <a:close/>
                <a:moveTo>
                  <a:pt x="2610428" y="5115361"/>
                </a:moveTo>
                <a:cubicBezTo>
                  <a:pt x="2612752" y="5114018"/>
                  <a:pt x="2617863" y="5122279"/>
                  <a:pt x="2609653" y="5120523"/>
                </a:cubicBezTo>
                <a:cubicBezTo>
                  <a:pt x="2609189" y="5117219"/>
                  <a:pt x="2609653" y="5115774"/>
                  <a:pt x="2610428" y="5115361"/>
                </a:cubicBezTo>
                <a:close/>
                <a:moveTo>
                  <a:pt x="1930434" y="5115257"/>
                </a:moveTo>
                <a:cubicBezTo>
                  <a:pt x="1932138" y="5114225"/>
                  <a:pt x="1932757" y="5114741"/>
                  <a:pt x="1933222" y="5117116"/>
                </a:cubicBezTo>
                <a:cubicBezTo>
                  <a:pt x="1932447" y="5117632"/>
                  <a:pt x="1930899" y="5117942"/>
                  <a:pt x="1929504" y="5117942"/>
                </a:cubicBezTo>
                <a:cubicBezTo>
                  <a:pt x="1928110" y="5118045"/>
                  <a:pt x="1926871" y="5117736"/>
                  <a:pt x="1926406" y="5116909"/>
                </a:cubicBezTo>
                <a:cubicBezTo>
                  <a:pt x="1928110" y="5115877"/>
                  <a:pt x="1929194" y="5115567"/>
                  <a:pt x="1930434" y="5115257"/>
                </a:cubicBezTo>
                <a:close/>
                <a:moveTo>
                  <a:pt x="1781114" y="5115257"/>
                </a:moveTo>
                <a:cubicBezTo>
                  <a:pt x="1782817" y="5115980"/>
                  <a:pt x="1785296" y="5114948"/>
                  <a:pt x="1787155" y="5116600"/>
                </a:cubicBezTo>
                <a:cubicBezTo>
                  <a:pt x="1787155" y="5116600"/>
                  <a:pt x="1788084" y="5117426"/>
                  <a:pt x="1788239" y="5119181"/>
                </a:cubicBezTo>
                <a:cubicBezTo>
                  <a:pt x="1790408" y="5121659"/>
                  <a:pt x="1788239" y="5124344"/>
                  <a:pt x="1788239" y="5124344"/>
                </a:cubicBezTo>
                <a:cubicBezTo>
                  <a:pt x="1788239" y="5124344"/>
                  <a:pt x="1788239" y="5124447"/>
                  <a:pt x="1789013" y="5124344"/>
                </a:cubicBezTo>
                <a:cubicBezTo>
                  <a:pt x="1787464" y="5124447"/>
                  <a:pt x="1785915" y="5125480"/>
                  <a:pt x="1784211" y="5125583"/>
                </a:cubicBezTo>
                <a:cubicBezTo>
                  <a:pt x="1776932" y="5120730"/>
                  <a:pt x="1779100" y="5118871"/>
                  <a:pt x="1781114" y="5115257"/>
                </a:cubicBezTo>
                <a:close/>
                <a:moveTo>
                  <a:pt x="2302649" y="5115154"/>
                </a:moveTo>
                <a:cubicBezTo>
                  <a:pt x="2304818" y="5116393"/>
                  <a:pt x="2308225" y="5115464"/>
                  <a:pt x="2311323" y="5121040"/>
                </a:cubicBezTo>
                <a:cubicBezTo>
                  <a:pt x="2314112" y="5127442"/>
                  <a:pt x="2308225" y="5129920"/>
                  <a:pt x="2309000" y="5130333"/>
                </a:cubicBezTo>
                <a:cubicBezTo>
                  <a:pt x="2309310" y="5131572"/>
                  <a:pt x="2309310" y="5131572"/>
                  <a:pt x="2310084" y="5131985"/>
                </a:cubicBezTo>
                <a:cubicBezTo>
                  <a:pt x="2309774" y="5132708"/>
                  <a:pt x="2309774" y="5134773"/>
                  <a:pt x="2310239" y="5135909"/>
                </a:cubicBezTo>
                <a:cubicBezTo>
                  <a:pt x="2309465" y="5135496"/>
                  <a:pt x="2308690" y="5135082"/>
                  <a:pt x="2308380" y="5135805"/>
                </a:cubicBezTo>
                <a:cubicBezTo>
                  <a:pt x="2307606" y="5133430"/>
                  <a:pt x="2307915" y="5132708"/>
                  <a:pt x="2307451" y="5131469"/>
                </a:cubicBezTo>
                <a:cubicBezTo>
                  <a:pt x="2307141" y="5132191"/>
                  <a:pt x="2306676" y="5131055"/>
                  <a:pt x="2306676" y="5131055"/>
                </a:cubicBezTo>
                <a:cubicBezTo>
                  <a:pt x="2306676" y="5131055"/>
                  <a:pt x="2306676" y="5130952"/>
                  <a:pt x="2304508" y="5131675"/>
                </a:cubicBezTo>
                <a:cubicBezTo>
                  <a:pt x="2304508" y="5131675"/>
                  <a:pt x="2299241" y="5132605"/>
                  <a:pt x="2296918" y="5127442"/>
                </a:cubicBezTo>
                <a:cubicBezTo>
                  <a:pt x="2298003" y="5127029"/>
                  <a:pt x="2295679" y="5119904"/>
                  <a:pt x="2298467" y="5117736"/>
                </a:cubicBezTo>
                <a:cubicBezTo>
                  <a:pt x="2300016" y="5116600"/>
                  <a:pt x="2301100" y="5116290"/>
                  <a:pt x="2302649" y="5115154"/>
                </a:cubicBezTo>
                <a:close/>
                <a:moveTo>
                  <a:pt x="2536058" y="5114831"/>
                </a:moveTo>
                <a:cubicBezTo>
                  <a:pt x="2540918" y="5113863"/>
                  <a:pt x="2545759" y="5114947"/>
                  <a:pt x="2549244" y="5118561"/>
                </a:cubicBezTo>
                <a:cubicBezTo>
                  <a:pt x="2551258" y="5121143"/>
                  <a:pt x="2552032" y="5123621"/>
                  <a:pt x="2552187" y="5125893"/>
                </a:cubicBezTo>
                <a:lnTo>
                  <a:pt x="2550638" y="5130643"/>
                </a:lnTo>
                <a:lnTo>
                  <a:pt x="2550948" y="5131262"/>
                </a:lnTo>
                <a:lnTo>
                  <a:pt x="2550328" y="5131469"/>
                </a:lnTo>
                <a:lnTo>
                  <a:pt x="2550173" y="5131985"/>
                </a:lnTo>
                <a:cubicBezTo>
                  <a:pt x="2547540" y="5135496"/>
                  <a:pt x="2542738" y="5137664"/>
                  <a:pt x="2537782" y="5137354"/>
                </a:cubicBezTo>
                <a:cubicBezTo>
                  <a:pt x="2531741" y="5136941"/>
                  <a:pt x="2525545" y="5133017"/>
                  <a:pt x="2522757" y="5123415"/>
                </a:cubicBezTo>
                <a:cubicBezTo>
                  <a:pt x="2526319" y="5118820"/>
                  <a:pt x="2531198" y="5115800"/>
                  <a:pt x="2536058" y="5114831"/>
                </a:cubicBezTo>
                <a:close/>
                <a:moveTo>
                  <a:pt x="2421455" y="5114741"/>
                </a:moveTo>
                <a:cubicBezTo>
                  <a:pt x="2423933" y="5114121"/>
                  <a:pt x="2425792" y="5114225"/>
                  <a:pt x="2427495" y="5116393"/>
                </a:cubicBezTo>
                <a:cubicBezTo>
                  <a:pt x="2425946" y="5116496"/>
                  <a:pt x="2424862" y="5116600"/>
                  <a:pt x="2423933" y="5116393"/>
                </a:cubicBezTo>
                <a:cubicBezTo>
                  <a:pt x="2423003" y="5116290"/>
                  <a:pt x="2422384" y="5115774"/>
                  <a:pt x="2421455" y="5114741"/>
                </a:cubicBezTo>
                <a:close/>
                <a:moveTo>
                  <a:pt x="1458929" y="5113709"/>
                </a:moveTo>
                <a:cubicBezTo>
                  <a:pt x="1465435" y="5116393"/>
                  <a:pt x="1468843" y="5116496"/>
                  <a:pt x="1473645" y="5119181"/>
                </a:cubicBezTo>
                <a:cubicBezTo>
                  <a:pt x="1473490" y="5120110"/>
                  <a:pt x="1472715" y="5120110"/>
                  <a:pt x="1472560" y="5120937"/>
                </a:cubicBezTo>
                <a:cubicBezTo>
                  <a:pt x="1472095" y="5121349"/>
                  <a:pt x="1471321" y="5121556"/>
                  <a:pt x="1470237" y="5121556"/>
                </a:cubicBezTo>
                <a:cubicBezTo>
                  <a:pt x="1467139" y="5121453"/>
                  <a:pt x="1462492" y="5119697"/>
                  <a:pt x="1462647" y="5118975"/>
                </a:cubicBezTo>
                <a:cubicBezTo>
                  <a:pt x="1461717" y="5118975"/>
                  <a:pt x="1461872" y="5118148"/>
                  <a:pt x="1461098" y="5118148"/>
                </a:cubicBezTo>
                <a:cubicBezTo>
                  <a:pt x="1461098" y="5118148"/>
                  <a:pt x="1460169" y="5118148"/>
                  <a:pt x="1459394" y="5117219"/>
                </a:cubicBezTo>
                <a:cubicBezTo>
                  <a:pt x="1459084" y="5116806"/>
                  <a:pt x="1458774" y="5116290"/>
                  <a:pt x="1458620" y="5115774"/>
                </a:cubicBezTo>
                <a:cubicBezTo>
                  <a:pt x="1458465" y="5115154"/>
                  <a:pt x="1458465" y="5114535"/>
                  <a:pt x="1458929" y="5113709"/>
                </a:cubicBezTo>
                <a:close/>
                <a:moveTo>
                  <a:pt x="1568751" y="5113089"/>
                </a:moveTo>
                <a:cubicBezTo>
                  <a:pt x="1569526" y="5114018"/>
                  <a:pt x="1570300" y="5114844"/>
                  <a:pt x="1570145" y="5116600"/>
                </a:cubicBezTo>
                <a:cubicBezTo>
                  <a:pt x="1568286" y="5118355"/>
                  <a:pt x="1565808" y="5117426"/>
                  <a:pt x="1564879" y="5118252"/>
                </a:cubicBezTo>
                <a:cubicBezTo>
                  <a:pt x="1565034" y="5117426"/>
                  <a:pt x="1565188" y="5115671"/>
                  <a:pt x="1563640" y="5114741"/>
                </a:cubicBezTo>
                <a:cubicBezTo>
                  <a:pt x="1565498" y="5113089"/>
                  <a:pt x="1567202" y="5111334"/>
                  <a:pt x="1568751" y="5113089"/>
                </a:cubicBezTo>
                <a:close/>
                <a:moveTo>
                  <a:pt x="2130250" y="5112779"/>
                </a:moveTo>
                <a:cubicBezTo>
                  <a:pt x="2136755" y="5117632"/>
                  <a:pt x="2133503" y="5124447"/>
                  <a:pt x="2128856" y="5125170"/>
                </a:cubicBezTo>
                <a:cubicBezTo>
                  <a:pt x="2127307" y="5125480"/>
                  <a:pt x="2125603" y="5125067"/>
                  <a:pt x="2124054" y="5123724"/>
                </a:cubicBezTo>
                <a:cubicBezTo>
                  <a:pt x="2124674" y="5118561"/>
                  <a:pt x="2124364" y="5112470"/>
                  <a:pt x="2130250" y="5112779"/>
                </a:cubicBezTo>
                <a:close/>
                <a:moveTo>
                  <a:pt x="2053111" y="5112470"/>
                </a:moveTo>
                <a:cubicBezTo>
                  <a:pt x="2054970" y="5110920"/>
                  <a:pt x="2060392" y="5109991"/>
                  <a:pt x="2063799" y="5112986"/>
                </a:cubicBezTo>
                <a:cubicBezTo>
                  <a:pt x="2063954" y="5117116"/>
                  <a:pt x="2062251" y="5118975"/>
                  <a:pt x="2059307" y="5118975"/>
                </a:cubicBezTo>
                <a:cubicBezTo>
                  <a:pt x="2058223" y="5118975"/>
                  <a:pt x="2057139" y="5118768"/>
                  <a:pt x="2055745" y="5118458"/>
                </a:cubicBezTo>
                <a:cubicBezTo>
                  <a:pt x="2055280" y="5116496"/>
                  <a:pt x="2054196" y="5115051"/>
                  <a:pt x="2053111" y="5112470"/>
                </a:cubicBezTo>
                <a:close/>
                <a:moveTo>
                  <a:pt x="1967454" y="5111334"/>
                </a:moveTo>
                <a:cubicBezTo>
                  <a:pt x="1968073" y="5111747"/>
                  <a:pt x="1969932" y="5111953"/>
                  <a:pt x="1970242" y="5113192"/>
                </a:cubicBezTo>
                <a:cubicBezTo>
                  <a:pt x="1970397" y="5114328"/>
                  <a:pt x="1970397" y="5114328"/>
                  <a:pt x="1969468" y="5115774"/>
                </a:cubicBezTo>
                <a:cubicBezTo>
                  <a:pt x="1968693" y="5114741"/>
                  <a:pt x="1968228" y="5114225"/>
                  <a:pt x="1968073" y="5113709"/>
                </a:cubicBezTo>
                <a:cubicBezTo>
                  <a:pt x="1967764" y="5113089"/>
                  <a:pt x="1967609" y="5112573"/>
                  <a:pt x="1967454" y="5111334"/>
                </a:cubicBezTo>
                <a:close/>
                <a:moveTo>
                  <a:pt x="2346640" y="5111024"/>
                </a:moveTo>
                <a:cubicBezTo>
                  <a:pt x="2347569" y="5111850"/>
                  <a:pt x="2348344" y="5113605"/>
                  <a:pt x="2347569" y="5114431"/>
                </a:cubicBezTo>
                <a:cubicBezTo>
                  <a:pt x="2347259" y="5115257"/>
                  <a:pt x="2346794" y="5115257"/>
                  <a:pt x="2346175" y="5114844"/>
                </a:cubicBezTo>
                <a:cubicBezTo>
                  <a:pt x="2345710" y="5114535"/>
                  <a:pt x="2345090" y="5113915"/>
                  <a:pt x="2344161" y="5113502"/>
                </a:cubicBezTo>
                <a:close/>
                <a:moveTo>
                  <a:pt x="2460914" y="5110469"/>
                </a:moveTo>
                <a:cubicBezTo>
                  <a:pt x="2462347" y="5111334"/>
                  <a:pt x="2463277" y="5113192"/>
                  <a:pt x="2462812" y="5115877"/>
                </a:cubicBezTo>
                <a:cubicBezTo>
                  <a:pt x="2459404" y="5115257"/>
                  <a:pt x="2455841" y="5114638"/>
                  <a:pt x="2455996" y="5111024"/>
                </a:cubicBezTo>
                <a:cubicBezTo>
                  <a:pt x="2457545" y="5109733"/>
                  <a:pt x="2459482" y="5109604"/>
                  <a:pt x="2460914" y="5110469"/>
                </a:cubicBezTo>
                <a:close/>
                <a:moveTo>
                  <a:pt x="2340443" y="5110404"/>
                </a:moveTo>
                <a:cubicBezTo>
                  <a:pt x="2340443" y="5110404"/>
                  <a:pt x="2340599" y="5110404"/>
                  <a:pt x="2341683" y="5112160"/>
                </a:cubicBezTo>
                <a:lnTo>
                  <a:pt x="2341373" y="5113709"/>
                </a:lnTo>
                <a:lnTo>
                  <a:pt x="2343387" y="5114225"/>
                </a:lnTo>
                <a:cubicBezTo>
                  <a:pt x="2345090" y="5115980"/>
                  <a:pt x="2347724" y="5118768"/>
                  <a:pt x="2346175" y="5121349"/>
                </a:cubicBezTo>
                <a:cubicBezTo>
                  <a:pt x="2345401" y="5121349"/>
                  <a:pt x="2345401" y="5122176"/>
                  <a:pt x="2344471" y="5122072"/>
                </a:cubicBezTo>
                <a:cubicBezTo>
                  <a:pt x="2344471" y="5122072"/>
                  <a:pt x="2343697" y="5122485"/>
                  <a:pt x="2342457" y="5122588"/>
                </a:cubicBezTo>
                <a:cubicBezTo>
                  <a:pt x="2341218" y="5122588"/>
                  <a:pt x="2339669" y="5122382"/>
                  <a:pt x="2337965" y="5120937"/>
                </a:cubicBezTo>
                <a:cubicBezTo>
                  <a:pt x="2337036" y="5120007"/>
                  <a:pt x="2335177" y="5117322"/>
                  <a:pt x="2335952" y="5117322"/>
                </a:cubicBezTo>
                <a:cubicBezTo>
                  <a:pt x="2336881" y="5116496"/>
                  <a:pt x="2335952" y="5116496"/>
                  <a:pt x="2335952" y="5115567"/>
                </a:cubicBezTo>
                <a:lnTo>
                  <a:pt x="2337191" y="5114844"/>
                </a:lnTo>
                <a:lnTo>
                  <a:pt x="2336726" y="5114328"/>
                </a:lnTo>
                <a:cubicBezTo>
                  <a:pt x="2335487" y="5112573"/>
                  <a:pt x="2335642" y="5112573"/>
                  <a:pt x="2336416" y="5111643"/>
                </a:cubicBezTo>
                <a:cubicBezTo>
                  <a:pt x="2337036" y="5110611"/>
                  <a:pt x="2339669" y="5111334"/>
                  <a:pt x="2340443" y="5110404"/>
                </a:cubicBezTo>
                <a:close/>
                <a:moveTo>
                  <a:pt x="1965440" y="5109991"/>
                </a:moveTo>
                <a:cubicBezTo>
                  <a:pt x="1965905" y="5109269"/>
                  <a:pt x="1966679" y="5109785"/>
                  <a:pt x="1966989" y="5110920"/>
                </a:cubicBezTo>
                <a:cubicBezTo>
                  <a:pt x="1966989" y="5110920"/>
                  <a:pt x="1966525" y="5111643"/>
                  <a:pt x="1966525" y="5111643"/>
                </a:cubicBezTo>
                <a:cubicBezTo>
                  <a:pt x="1966215" y="5111437"/>
                  <a:pt x="1965750" y="5111127"/>
                  <a:pt x="1965595" y="5110920"/>
                </a:cubicBezTo>
                <a:cubicBezTo>
                  <a:pt x="1965285" y="5110611"/>
                  <a:pt x="1965285" y="5110301"/>
                  <a:pt x="1965440" y="5109991"/>
                </a:cubicBezTo>
                <a:close/>
                <a:moveTo>
                  <a:pt x="1708622" y="5108855"/>
                </a:moveTo>
                <a:cubicBezTo>
                  <a:pt x="1710945" y="5110301"/>
                  <a:pt x="1711720" y="5112263"/>
                  <a:pt x="1711720" y="5114121"/>
                </a:cubicBezTo>
                <a:cubicBezTo>
                  <a:pt x="1711565" y="5117219"/>
                  <a:pt x="1708777" y="5120214"/>
                  <a:pt x="1705834" y="5120937"/>
                </a:cubicBezTo>
                <a:cubicBezTo>
                  <a:pt x="1704750" y="5121246"/>
                  <a:pt x="1703820" y="5121246"/>
                  <a:pt x="1702891" y="5120937"/>
                </a:cubicBezTo>
                <a:cubicBezTo>
                  <a:pt x="1701497" y="5120523"/>
                  <a:pt x="1700413" y="5119491"/>
                  <a:pt x="1699638" y="5117839"/>
                </a:cubicBezTo>
                <a:cubicBezTo>
                  <a:pt x="1700103" y="5114328"/>
                  <a:pt x="1705989" y="5109475"/>
                  <a:pt x="1708622" y="5108855"/>
                </a:cubicBezTo>
                <a:close/>
                <a:moveTo>
                  <a:pt x="1617853" y="5108546"/>
                </a:moveTo>
                <a:lnTo>
                  <a:pt x="1618163" y="5108855"/>
                </a:lnTo>
                <a:lnTo>
                  <a:pt x="1626682" y="5113192"/>
                </a:lnTo>
                <a:cubicBezTo>
                  <a:pt x="1627301" y="5114121"/>
                  <a:pt x="1628696" y="5117632"/>
                  <a:pt x="1627766" y="5118458"/>
                </a:cubicBezTo>
                <a:cubicBezTo>
                  <a:pt x="1626837" y="5119284"/>
                  <a:pt x="1626063" y="5119284"/>
                  <a:pt x="1625133" y="5119284"/>
                </a:cubicBezTo>
                <a:lnTo>
                  <a:pt x="1621416" y="5117116"/>
                </a:lnTo>
                <a:lnTo>
                  <a:pt x="1621416" y="5118975"/>
                </a:lnTo>
                <a:cubicBezTo>
                  <a:pt x="1620951" y="5120937"/>
                  <a:pt x="1620176" y="5122588"/>
                  <a:pt x="1619402" y="5123105"/>
                </a:cubicBezTo>
                <a:cubicBezTo>
                  <a:pt x="1617079" y="5123724"/>
                  <a:pt x="1613826" y="5122692"/>
                  <a:pt x="1613206" y="5119181"/>
                </a:cubicBezTo>
                <a:cubicBezTo>
                  <a:pt x="1612122" y="5116290"/>
                  <a:pt x="1613981" y="5113295"/>
                  <a:pt x="1613516" y="5109681"/>
                </a:cubicBezTo>
                <a:cubicBezTo>
                  <a:pt x="1615530" y="5108855"/>
                  <a:pt x="1616769" y="5108339"/>
                  <a:pt x="1617853" y="5108546"/>
                </a:cubicBezTo>
                <a:close/>
                <a:moveTo>
                  <a:pt x="1666645" y="5108133"/>
                </a:moveTo>
                <a:cubicBezTo>
                  <a:pt x="1668504" y="5109785"/>
                  <a:pt x="1671292" y="5112263"/>
                  <a:pt x="1670053" y="5114948"/>
                </a:cubicBezTo>
                <a:cubicBezTo>
                  <a:pt x="1669279" y="5115051"/>
                  <a:pt x="1669279" y="5115877"/>
                  <a:pt x="1668504" y="5115877"/>
                </a:cubicBezTo>
                <a:cubicBezTo>
                  <a:pt x="1668504" y="5115877"/>
                  <a:pt x="1667730" y="5116393"/>
                  <a:pt x="1666490" y="5116600"/>
                </a:cubicBezTo>
                <a:cubicBezTo>
                  <a:pt x="1666026" y="5116703"/>
                  <a:pt x="1665251" y="5116703"/>
                  <a:pt x="1664476" y="5116496"/>
                </a:cubicBezTo>
                <a:cubicBezTo>
                  <a:pt x="1663702" y="5116393"/>
                  <a:pt x="1662774" y="5115980"/>
                  <a:pt x="1661843" y="5115361"/>
                </a:cubicBezTo>
                <a:cubicBezTo>
                  <a:pt x="1660914" y="5114535"/>
                  <a:pt x="1658900" y="5112056"/>
                  <a:pt x="1659675" y="5112056"/>
                </a:cubicBezTo>
                <a:cubicBezTo>
                  <a:pt x="1660295" y="5111127"/>
                  <a:pt x="1659520" y="5111127"/>
                  <a:pt x="1659520" y="5110198"/>
                </a:cubicBezTo>
                <a:cubicBezTo>
                  <a:pt x="1661534" y="5107513"/>
                  <a:pt x="1663857" y="5106481"/>
                  <a:pt x="1666645" y="5108133"/>
                </a:cubicBezTo>
                <a:close/>
                <a:moveTo>
                  <a:pt x="2625143" y="5108029"/>
                </a:moveTo>
                <a:cubicBezTo>
                  <a:pt x="2626072" y="5108855"/>
                  <a:pt x="2626847" y="5108959"/>
                  <a:pt x="2626072" y="5110611"/>
                </a:cubicBezTo>
                <a:cubicBezTo>
                  <a:pt x="2626072" y="5111540"/>
                  <a:pt x="2625298" y="5112366"/>
                  <a:pt x="2625298" y="5113192"/>
                </a:cubicBezTo>
                <a:cubicBezTo>
                  <a:pt x="2625298" y="5113192"/>
                  <a:pt x="2624678" y="5113399"/>
                  <a:pt x="2623904" y="5113502"/>
                </a:cubicBezTo>
                <a:cubicBezTo>
                  <a:pt x="2623284" y="5113502"/>
                  <a:pt x="2622355" y="5113502"/>
                  <a:pt x="2622045" y="5112986"/>
                </a:cubicBezTo>
                <a:cubicBezTo>
                  <a:pt x="2620341" y="5112056"/>
                  <a:pt x="2622665" y="5109681"/>
                  <a:pt x="2622665" y="5108752"/>
                </a:cubicBezTo>
                <a:cubicBezTo>
                  <a:pt x="2623439" y="5107926"/>
                  <a:pt x="2624214" y="5107100"/>
                  <a:pt x="2625143" y="5108029"/>
                </a:cubicBezTo>
                <a:close/>
                <a:moveTo>
                  <a:pt x="1725816" y="5108029"/>
                </a:moveTo>
                <a:cubicBezTo>
                  <a:pt x="1727055" y="5107719"/>
                  <a:pt x="1727674" y="5108236"/>
                  <a:pt x="1728449" y="5108649"/>
                </a:cubicBezTo>
                <a:cubicBezTo>
                  <a:pt x="1728604" y="5109785"/>
                  <a:pt x="1728139" y="5110508"/>
                  <a:pt x="1728294" y="5111747"/>
                </a:cubicBezTo>
                <a:cubicBezTo>
                  <a:pt x="1728913" y="5112160"/>
                  <a:pt x="1730308" y="5113089"/>
                  <a:pt x="1730463" y="5114225"/>
                </a:cubicBezTo>
                <a:cubicBezTo>
                  <a:pt x="1730772" y="5115464"/>
                  <a:pt x="1730463" y="5117322"/>
                  <a:pt x="1730463" y="5117322"/>
                </a:cubicBezTo>
                <a:cubicBezTo>
                  <a:pt x="1729843" y="5117529"/>
                  <a:pt x="1729533" y="5117632"/>
                  <a:pt x="1729533" y="5117529"/>
                </a:cubicBezTo>
                <a:cubicBezTo>
                  <a:pt x="1729379" y="5117529"/>
                  <a:pt x="1729533" y="5117219"/>
                  <a:pt x="1729688" y="5116909"/>
                </a:cubicBezTo>
                <a:cubicBezTo>
                  <a:pt x="1728913" y="5115257"/>
                  <a:pt x="1729533" y="5115774"/>
                  <a:pt x="1729379" y="5114535"/>
                </a:cubicBezTo>
                <a:cubicBezTo>
                  <a:pt x="1729223" y="5113399"/>
                  <a:pt x="1726745" y="5109681"/>
                  <a:pt x="1725661" y="5109991"/>
                </a:cubicBezTo>
                <a:cubicBezTo>
                  <a:pt x="1726125" y="5109269"/>
                  <a:pt x="1725816" y="5108029"/>
                  <a:pt x="1725816" y="5108029"/>
                </a:cubicBezTo>
                <a:close/>
                <a:moveTo>
                  <a:pt x="1963117" y="5107513"/>
                </a:moveTo>
                <a:cubicBezTo>
                  <a:pt x="1963427" y="5108649"/>
                  <a:pt x="1963891" y="5108029"/>
                  <a:pt x="1962962" y="5109372"/>
                </a:cubicBezTo>
                <a:cubicBezTo>
                  <a:pt x="1962807" y="5108236"/>
                  <a:pt x="1962807" y="5108236"/>
                  <a:pt x="1962033" y="5107823"/>
                </a:cubicBezTo>
                <a:cubicBezTo>
                  <a:pt x="1962033" y="5107823"/>
                  <a:pt x="1963117" y="5107513"/>
                  <a:pt x="1963117" y="5107513"/>
                </a:cubicBezTo>
                <a:close/>
                <a:moveTo>
                  <a:pt x="1821696" y="5106171"/>
                </a:moveTo>
                <a:cubicBezTo>
                  <a:pt x="1831765" y="5106997"/>
                  <a:pt x="1839200" y="5110198"/>
                  <a:pt x="1844312" y="5115361"/>
                </a:cubicBezTo>
                <a:cubicBezTo>
                  <a:pt x="1846170" y="5117116"/>
                  <a:pt x="1847564" y="5119181"/>
                  <a:pt x="1848803" y="5121349"/>
                </a:cubicBezTo>
                <a:cubicBezTo>
                  <a:pt x="1843537" y="5126099"/>
                  <a:pt x="1837651" y="5121556"/>
                  <a:pt x="1832539" y="5119491"/>
                </a:cubicBezTo>
                <a:cubicBezTo>
                  <a:pt x="1831920" y="5125686"/>
                  <a:pt x="1832539" y="5134876"/>
                  <a:pt x="1826189" y="5135289"/>
                </a:cubicBezTo>
                <a:cubicBezTo>
                  <a:pt x="1824949" y="5134153"/>
                  <a:pt x="1824330" y="5132811"/>
                  <a:pt x="1824175" y="5131365"/>
                </a:cubicBezTo>
                <a:cubicBezTo>
                  <a:pt x="1823555" y="5126925"/>
                  <a:pt x="1826189" y="5121143"/>
                  <a:pt x="1826034" y="5115567"/>
                </a:cubicBezTo>
                <a:cubicBezTo>
                  <a:pt x="1824639" y="5112470"/>
                  <a:pt x="1820457" y="5112882"/>
                  <a:pt x="1821696" y="5106171"/>
                </a:cubicBezTo>
                <a:close/>
                <a:moveTo>
                  <a:pt x="1855154" y="5105551"/>
                </a:moveTo>
                <a:cubicBezTo>
                  <a:pt x="1858098" y="5105448"/>
                  <a:pt x="1859026" y="5106997"/>
                  <a:pt x="1860731" y="5110094"/>
                </a:cubicBezTo>
                <a:cubicBezTo>
                  <a:pt x="1858717" y="5110404"/>
                  <a:pt x="1857478" y="5110094"/>
                  <a:pt x="1856703" y="5109372"/>
                </a:cubicBezTo>
                <a:cubicBezTo>
                  <a:pt x="1855774" y="5108546"/>
                  <a:pt x="1855464" y="5107307"/>
                  <a:pt x="1855154" y="5105551"/>
                </a:cubicBezTo>
                <a:close/>
                <a:moveTo>
                  <a:pt x="1755401" y="5105448"/>
                </a:moveTo>
                <a:cubicBezTo>
                  <a:pt x="1759119" y="5105035"/>
                  <a:pt x="1761752" y="5105964"/>
                  <a:pt x="1763146" y="5107616"/>
                </a:cubicBezTo>
                <a:cubicBezTo>
                  <a:pt x="1767483" y="5112676"/>
                  <a:pt x="1762061" y="5124241"/>
                  <a:pt x="1753387" y="5123828"/>
                </a:cubicBezTo>
                <a:cubicBezTo>
                  <a:pt x="1752303" y="5122898"/>
                  <a:pt x="1751683" y="5121453"/>
                  <a:pt x="1751374" y="5119904"/>
                </a:cubicBezTo>
                <a:cubicBezTo>
                  <a:pt x="1750444" y="5114948"/>
                  <a:pt x="1752458" y="5108133"/>
                  <a:pt x="1755401" y="5105448"/>
                </a:cubicBezTo>
                <a:close/>
                <a:moveTo>
                  <a:pt x="1735729" y="5105035"/>
                </a:moveTo>
                <a:cubicBezTo>
                  <a:pt x="1737433" y="5115051"/>
                  <a:pt x="1743164" y="5120833"/>
                  <a:pt x="1743009" y="5132398"/>
                </a:cubicBezTo>
                <a:cubicBezTo>
                  <a:pt x="1734799" y="5129920"/>
                  <a:pt x="1727674" y="5109269"/>
                  <a:pt x="1735729" y="5105035"/>
                </a:cubicBezTo>
                <a:close/>
                <a:moveTo>
                  <a:pt x="1666955" y="5105035"/>
                </a:moveTo>
                <a:cubicBezTo>
                  <a:pt x="1667730" y="5104106"/>
                  <a:pt x="1667575" y="5105035"/>
                  <a:pt x="1668349" y="5105035"/>
                </a:cubicBezTo>
                <a:cubicBezTo>
                  <a:pt x="1667885" y="5105551"/>
                  <a:pt x="1667730" y="5105758"/>
                  <a:pt x="1667575" y="5105758"/>
                </a:cubicBezTo>
                <a:cubicBezTo>
                  <a:pt x="1667419" y="5105758"/>
                  <a:pt x="1667265" y="5105551"/>
                  <a:pt x="1666955" y="5105035"/>
                </a:cubicBezTo>
                <a:close/>
                <a:moveTo>
                  <a:pt x="1669433" y="5104519"/>
                </a:moveTo>
                <a:cubicBezTo>
                  <a:pt x="1670363" y="5105345"/>
                  <a:pt x="1671447" y="5106997"/>
                  <a:pt x="1670828" y="5107823"/>
                </a:cubicBezTo>
                <a:cubicBezTo>
                  <a:pt x="1670518" y="5108752"/>
                  <a:pt x="1670053" y="5108752"/>
                  <a:pt x="1669433" y="5108546"/>
                </a:cubicBezTo>
                <a:cubicBezTo>
                  <a:pt x="1668969" y="5108236"/>
                  <a:pt x="1668194" y="5107616"/>
                  <a:pt x="1667265" y="5107307"/>
                </a:cubicBezTo>
                <a:close/>
                <a:moveTo>
                  <a:pt x="2770159" y="5103802"/>
                </a:moveTo>
                <a:lnTo>
                  <a:pt x="2769335" y="5104754"/>
                </a:lnTo>
                <a:lnTo>
                  <a:pt x="2769816" y="5104932"/>
                </a:lnTo>
                <a:cubicBezTo>
                  <a:pt x="2770746" y="5105861"/>
                  <a:pt x="2770746" y="5107204"/>
                  <a:pt x="2770126" y="5108959"/>
                </a:cubicBezTo>
                <a:cubicBezTo>
                  <a:pt x="2769197" y="5109372"/>
                  <a:pt x="2766563" y="5109785"/>
                  <a:pt x="2766873" y="5110611"/>
                </a:cubicBezTo>
                <a:lnTo>
                  <a:pt x="2765250" y="5109472"/>
                </a:lnTo>
                <a:lnTo>
                  <a:pt x="2758990" y="5116703"/>
                </a:lnTo>
                <a:lnTo>
                  <a:pt x="2760213" y="5119904"/>
                </a:lnTo>
                <a:lnTo>
                  <a:pt x="2760522" y="5121246"/>
                </a:lnTo>
                <a:lnTo>
                  <a:pt x="2760832" y="5121453"/>
                </a:lnTo>
                <a:cubicBezTo>
                  <a:pt x="2767028" y="5125583"/>
                  <a:pt x="2772759" y="5129507"/>
                  <a:pt x="2777716" y="5134153"/>
                </a:cubicBezTo>
                <a:cubicBezTo>
                  <a:pt x="2774153" y="5134670"/>
                  <a:pt x="2770746" y="5134153"/>
                  <a:pt x="2767338" y="5133120"/>
                </a:cubicBezTo>
                <a:lnTo>
                  <a:pt x="2763310" y="5131262"/>
                </a:lnTo>
                <a:lnTo>
                  <a:pt x="2765944" y="5137354"/>
                </a:lnTo>
                <a:cubicBezTo>
                  <a:pt x="2767493" y="5140142"/>
                  <a:pt x="2769352" y="5143137"/>
                  <a:pt x="2770900" y="5145924"/>
                </a:cubicBezTo>
                <a:cubicBezTo>
                  <a:pt x="2773999" y="5152120"/>
                  <a:pt x="2776477" y="5157489"/>
                  <a:pt x="2773999" y="5160483"/>
                </a:cubicBezTo>
                <a:cubicBezTo>
                  <a:pt x="2776477" y="5168021"/>
                  <a:pt x="2779265" y="5174836"/>
                  <a:pt x="2781278" y="5181445"/>
                </a:cubicBezTo>
                <a:lnTo>
                  <a:pt x="2783602" y="5186711"/>
                </a:lnTo>
                <a:lnTo>
                  <a:pt x="2790418" y="5183510"/>
                </a:lnTo>
                <a:cubicBezTo>
                  <a:pt x="2794909" y="5188259"/>
                  <a:pt x="2796458" y="5194145"/>
                  <a:pt x="2795994" y="5199927"/>
                </a:cubicBezTo>
                <a:lnTo>
                  <a:pt x="2793206" y="5206639"/>
                </a:lnTo>
                <a:lnTo>
                  <a:pt x="2798937" y="5217068"/>
                </a:lnTo>
                <a:cubicBezTo>
                  <a:pt x="2801415" y="5222437"/>
                  <a:pt x="2804668" y="5227807"/>
                  <a:pt x="2807146" y="5233176"/>
                </a:cubicBezTo>
                <a:cubicBezTo>
                  <a:pt x="2805442" y="5234105"/>
                  <a:pt x="2803893" y="5232143"/>
                  <a:pt x="2802189" y="5233073"/>
                </a:cubicBezTo>
                <a:cubicBezTo>
                  <a:pt x="2801260" y="5233382"/>
                  <a:pt x="2800950" y="5233899"/>
                  <a:pt x="2800950" y="5234415"/>
                </a:cubicBezTo>
                <a:lnTo>
                  <a:pt x="2801725" y="5235964"/>
                </a:lnTo>
                <a:cubicBezTo>
                  <a:pt x="2802499" y="5237410"/>
                  <a:pt x="2804048" y="5238029"/>
                  <a:pt x="2805752" y="5238855"/>
                </a:cubicBezTo>
                <a:lnTo>
                  <a:pt x="2806527" y="5239578"/>
                </a:lnTo>
                <a:lnTo>
                  <a:pt x="2806682" y="5239578"/>
                </a:lnTo>
                <a:cubicBezTo>
                  <a:pt x="2807146" y="5238029"/>
                  <a:pt x="2804048" y="5235448"/>
                  <a:pt x="2807920" y="5234931"/>
                </a:cubicBezTo>
                <a:lnTo>
                  <a:pt x="2814271" y="5243502"/>
                </a:lnTo>
                <a:lnTo>
                  <a:pt x="2816440" y="5243398"/>
                </a:lnTo>
                <a:cubicBezTo>
                  <a:pt x="2816130" y="5244534"/>
                  <a:pt x="2819693" y="5245464"/>
                  <a:pt x="2820932" y="5245773"/>
                </a:cubicBezTo>
                <a:cubicBezTo>
                  <a:pt x="2820467" y="5248148"/>
                  <a:pt x="2824495" y="5249800"/>
                  <a:pt x="2824030" y="5253414"/>
                </a:cubicBezTo>
                <a:lnTo>
                  <a:pt x="2820777" y="5254756"/>
                </a:lnTo>
                <a:lnTo>
                  <a:pt x="2821242" y="5255582"/>
                </a:lnTo>
                <a:cubicBezTo>
                  <a:pt x="2825734" y="5263740"/>
                  <a:pt x="2830226" y="5271897"/>
                  <a:pt x="2835028" y="5277163"/>
                </a:cubicBezTo>
                <a:cubicBezTo>
                  <a:pt x="2832239" y="5278609"/>
                  <a:pt x="2831000" y="5273652"/>
                  <a:pt x="2828832" y="5276027"/>
                </a:cubicBezTo>
                <a:cubicBezTo>
                  <a:pt x="2831620" y="5282842"/>
                  <a:pt x="2839829" y="5275614"/>
                  <a:pt x="2838900" y="5284391"/>
                </a:cubicBezTo>
                <a:cubicBezTo>
                  <a:pt x="2836576" y="5285114"/>
                  <a:pt x="2834873" y="5283875"/>
                  <a:pt x="2833169" y="5280364"/>
                </a:cubicBezTo>
                <a:cubicBezTo>
                  <a:pt x="2831930" y="5288212"/>
                  <a:pt x="2844941" y="5292239"/>
                  <a:pt x="2844321" y="5296575"/>
                </a:cubicBezTo>
                <a:lnTo>
                  <a:pt x="2845251" y="5293581"/>
                </a:lnTo>
                <a:lnTo>
                  <a:pt x="2843237" y="5292858"/>
                </a:lnTo>
                <a:lnTo>
                  <a:pt x="2843702" y="5288831"/>
                </a:lnTo>
                <a:lnTo>
                  <a:pt x="2842772" y="5286456"/>
                </a:lnTo>
                <a:cubicBezTo>
                  <a:pt x="2841533" y="5285320"/>
                  <a:pt x="2840604" y="5282945"/>
                  <a:pt x="2840759" y="5280983"/>
                </a:cubicBezTo>
                <a:cubicBezTo>
                  <a:pt x="2841688" y="5278712"/>
                  <a:pt x="2843237" y="5277886"/>
                  <a:pt x="2844321" y="5278299"/>
                </a:cubicBezTo>
                <a:cubicBezTo>
                  <a:pt x="2853305" y="5280261"/>
                  <a:pt x="2852996" y="5288728"/>
                  <a:pt x="2854389" y="5289967"/>
                </a:cubicBezTo>
                <a:cubicBezTo>
                  <a:pt x="2853305" y="5292548"/>
                  <a:pt x="2852996" y="5293168"/>
                  <a:pt x="2850362" y="5292755"/>
                </a:cubicBezTo>
                <a:lnTo>
                  <a:pt x="2847729" y="5292032"/>
                </a:lnTo>
                <a:lnTo>
                  <a:pt x="2846490" y="5293994"/>
                </a:lnTo>
                <a:lnTo>
                  <a:pt x="2845715" y="5293787"/>
                </a:lnTo>
                <a:lnTo>
                  <a:pt x="2847419" y="5297298"/>
                </a:lnTo>
                <a:cubicBezTo>
                  <a:pt x="2848194" y="5298744"/>
                  <a:pt x="2849123" y="5300292"/>
                  <a:pt x="2850362" y="5302151"/>
                </a:cubicBezTo>
                <a:lnTo>
                  <a:pt x="2852686" y="5306384"/>
                </a:lnTo>
                <a:lnTo>
                  <a:pt x="2853150" y="5305972"/>
                </a:lnTo>
                <a:cubicBezTo>
                  <a:pt x="2854389" y="5305662"/>
                  <a:pt x="2857332" y="5305455"/>
                  <a:pt x="2856868" y="5306178"/>
                </a:cubicBezTo>
                <a:cubicBezTo>
                  <a:pt x="2857023" y="5307417"/>
                  <a:pt x="2857488" y="5306694"/>
                  <a:pt x="2858262" y="5307108"/>
                </a:cubicBezTo>
                <a:cubicBezTo>
                  <a:pt x="2858572" y="5308863"/>
                  <a:pt x="2858572" y="5310412"/>
                  <a:pt x="2858107" y="5311754"/>
                </a:cubicBezTo>
                <a:lnTo>
                  <a:pt x="2856868" y="5312993"/>
                </a:lnTo>
                <a:lnTo>
                  <a:pt x="2863838" y="5320737"/>
                </a:lnTo>
                <a:cubicBezTo>
                  <a:pt x="2866317" y="5322802"/>
                  <a:pt x="2868795" y="5323732"/>
                  <a:pt x="2870809" y="5322802"/>
                </a:cubicBezTo>
                <a:cubicBezTo>
                  <a:pt x="2872822" y="5325693"/>
                  <a:pt x="2868795" y="5326726"/>
                  <a:pt x="2872048" y="5330030"/>
                </a:cubicBezTo>
                <a:lnTo>
                  <a:pt x="2872822" y="5330237"/>
                </a:lnTo>
                <a:lnTo>
                  <a:pt x="2877469" y="5325074"/>
                </a:lnTo>
                <a:lnTo>
                  <a:pt x="2882426" y="5321253"/>
                </a:lnTo>
                <a:lnTo>
                  <a:pt x="2877934" y="5317433"/>
                </a:lnTo>
                <a:cubicBezTo>
                  <a:pt x="2875456" y="5314645"/>
                  <a:pt x="2873132" y="5311651"/>
                  <a:pt x="2871273" y="5308346"/>
                </a:cubicBezTo>
                <a:lnTo>
                  <a:pt x="2869724" y="5304836"/>
                </a:lnTo>
                <a:lnTo>
                  <a:pt x="2866626" y="5305455"/>
                </a:lnTo>
                <a:cubicBezTo>
                  <a:pt x="2865542" y="5305146"/>
                  <a:pt x="2864458" y="5304526"/>
                  <a:pt x="2863683" y="5303287"/>
                </a:cubicBezTo>
                <a:cubicBezTo>
                  <a:pt x="2864768" y="5301635"/>
                  <a:pt x="2864923" y="5299776"/>
                  <a:pt x="2866007" y="5298124"/>
                </a:cubicBezTo>
                <a:lnTo>
                  <a:pt x="2866781" y="5298021"/>
                </a:lnTo>
                <a:lnTo>
                  <a:pt x="2865077" y="5287076"/>
                </a:lnTo>
                <a:cubicBezTo>
                  <a:pt x="2864923" y="5283358"/>
                  <a:pt x="2865387" y="5279641"/>
                  <a:pt x="2866317" y="5276130"/>
                </a:cubicBezTo>
                <a:lnTo>
                  <a:pt x="2867091" y="5274582"/>
                </a:lnTo>
                <a:lnTo>
                  <a:pt x="2865542" y="5271381"/>
                </a:lnTo>
                <a:cubicBezTo>
                  <a:pt x="2865542" y="5269729"/>
                  <a:pt x="2866007" y="5268077"/>
                  <a:pt x="2867401" y="5266941"/>
                </a:cubicBezTo>
                <a:lnTo>
                  <a:pt x="2870189" y="5268077"/>
                </a:lnTo>
                <a:lnTo>
                  <a:pt x="2871118" y="5266011"/>
                </a:lnTo>
                <a:lnTo>
                  <a:pt x="2882735" y="5267044"/>
                </a:lnTo>
                <a:lnTo>
                  <a:pt x="2882890" y="5267044"/>
                </a:lnTo>
                <a:lnTo>
                  <a:pt x="2882890" y="5265185"/>
                </a:lnTo>
                <a:cubicBezTo>
                  <a:pt x="2882890" y="5262914"/>
                  <a:pt x="2882735" y="5261365"/>
                  <a:pt x="2879173" y="5262191"/>
                </a:cubicBezTo>
                <a:cubicBezTo>
                  <a:pt x="2880567" y="5260332"/>
                  <a:pt x="2880258" y="5257235"/>
                  <a:pt x="2879638" y="5254756"/>
                </a:cubicBezTo>
                <a:cubicBezTo>
                  <a:pt x="2878554" y="5251452"/>
                  <a:pt x="2876695" y="5248561"/>
                  <a:pt x="2874991" y="5245050"/>
                </a:cubicBezTo>
                <a:cubicBezTo>
                  <a:pt x="2873132" y="5245980"/>
                  <a:pt x="2873287" y="5247632"/>
                  <a:pt x="2874216" y="5249387"/>
                </a:cubicBezTo>
                <a:cubicBezTo>
                  <a:pt x="2871118" y="5249904"/>
                  <a:pt x="2871428" y="5244741"/>
                  <a:pt x="2870809" y="5239991"/>
                </a:cubicBezTo>
                <a:cubicBezTo>
                  <a:pt x="2870189" y="5235344"/>
                  <a:pt x="2868795" y="5231111"/>
                  <a:pt x="2863529" y="5231730"/>
                </a:cubicBezTo>
                <a:cubicBezTo>
                  <a:pt x="2864613" y="5230594"/>
                  <a:pt x="2865542" y="5230078"/>
                  <a:pt x="2865387" y="5228529"/>
                </a:cubicBezTo>
                <a:cubicBezTo>
                  <a:pt x="2862754" y="5227704"/>
                  <a:pt x="2863064" y="5230801"/>
                  <a:pt x="2859656" y="5228219"/>
                </a:cubicBezTo>
                <a:cubicBezTo>
                  <a:pt x="2858727" y="5224192"/>
                  <a:pt x="2860586" y="5225535"/>
                  <a:pt x="2863838" y="5224296"/>
                </a:cubicBezTo>
                <a:cubicBezTo>
                  <a:pt x="2858417" y="5223367"/>
                  <a:pt x="2853615" y="5220372"/>
                  <a:pt x="2848813" y="5217378"/>
                </a:cubicBezTo>
                <a:cubicBezTo>
                  <a:pt x="2850672" y="5216448"/>
                  <a:pt x="2852996" y="5213454"/>
                  <a:pt x="2849898" y="5207878"/>
                </a:cubicBezTo>
                <a:cubicBezTo>
                  <a:pt x="2848503" y="5218101"/>
                  <a:pt x="2839055" y="5205400"/>
                  <a:pt x="2845406" y="5202096"/>
                </a:cubicBezTo>
                <a:cubicBezTo>
                  <a:pt x="2843547" y="5200753"/>
                  <a:pt x="2837971" y="5198275"/>
                  <a:pt x="2838745" y="5202303"/>
                </a:cubicBezTo>
                <a:cubicBezTo>
                  <a:pt x="2837971" y="5200444"/>
                  <a:pt x="2841223" y="5188673"/>
                  <a:pt x="2831775" y="5188776"/>
                </a:cubicBezTo>
                <a:cubicBezTo>
                  <a:pt x="2832394" y="5185575"/>
                  <a:pt x="2832085" y="5182477"/>
                  <a:pt x="2831155" y="5179586"/>
                </a:cubicBezTo>
                <a:lnTo>
                  <a:pt x="2828367" y="5174526"/>
                </a:lnTo>
                <a:lnTo>
                  <a:pt x="2826973" y="5176282"/>
                </a:lnTo>
                <a:lnTo>
                  <a:pt x="2828212" y="5176901"/>
                </a:lnTo>
                <a:cubicBezTo>
                  <a:pt x="2828987" y="5177624"/>
                  <a:pt x="2829761" y="5178760"/>
                  <a:pt x="2830071" y="5180722"/>
                </a:cubicBezTo>
                <a:cubicBezTo>
                  <a:pt x="2828367" y="5181754"/>
                  <a:pt x="2827747" y="5179276"/>
                  <a:pt x="2826818" y="5177521"/>
                </a:cubicBezTo>
                <a:cubicBezTo>
                  <a:pt x="2823875" y="5181135"/>
                  <a:pt x="2822791" y="5185472"/>
                  <a:pt x="2822791" y="5190221"/>
                </a:cubicBezTo>
                <a:lnTo>
                  <a:pt x="2823875" y="5195074"/>
                </a:lnTo>
                <a:lnTo>
                  <a:pt x="2826354" y="5194868"/>
                </a:lnTo>
                <a:cubicBezTo>
                  <a:pt x="2827438" y="5194868"/>
                  <a:pt x="2828212" y="5195074"/>
                  <a:pt x="2828677" y="5195590"/>
                </a:cubicBezTo>
                <a:cubicBezTo>
                  <a:pt x="2828367" y="5196417"/>
                  <a:pt x="2828057" y="5197140"/>
                  <a:pt x="2826818" y="5197449"/>
                </a:cubicBezTo>
                <a:cubicBezTo>
                  <a:pt x="2825734" y="5197759"/>
                  <a:pt x="2826198" y="5197036"/>
                  <a:pt x="2825734" y="5197759"/>
                </a:cubicBezTo>
                <a:cubicBezTo>
                  <a:pt x="2824650" y="5198172"/>
                  <a:pt x="2825424" y="5198585"/>
                  <a:pt x="2825424" y="5198585"/>
                </a:cubicBezTo>
                <a:cubicBezTo>
                  <a:pt x="2825424" y="5198585"/>
                  <a:pt x="2824650" y="5198172"/>
                  <a:pt x="2824650" y="5198172"/>
                </a:cubicBezTo>
                <a:cubicBezTo>
                  <a:pt x="2824650" y="5198172"/>
                  <a:pt x="2824650" y="5198172"/>
                  <a:pt x="2824495" y="5198275"/>
                </a:cubicBezTo>
                <a:lnTo>
                  <a:pt x="2825424" y="5202818"/>
                </a:lnTo>
                <a:lnTo>
                  <a:pt x="2825579" y="5202818"/>
                </a:lnTo>
                <a:cubicBezTo>
                  <a:pt x="2828522" y="5202612"/>
                  <a:pt x="2831310" y="5203128"/>
                  <a:pt x="2833788" y="5204161"/>
                </a:cubicBezTo>
                <a:cubicBezTo>
                  <a:pt x="2841998" y="5207465"/>
                  <a:pt x="2847574" y="5216758"/>
                  <a:pt x="2846645" y="5227497"/>
                </a:cubicBezTo>
                <a:cubicBezTo>
                  <a:pt x="2845406" y="5227910"/>
                  <a:pt x="2844321" y="5228323"/>
                  <a:pt x="2844631" y="5229459"/>
                </a:cubicBezTo>
                <a:cubicBezTo>
                  <a:pt x="2841843" y="5230698"/>
                  <a:pt x="2839055" y="5231214"/>
                  <a:pt x="2836267" y="5231008"/>
                </a:cubicBezTo>
                <a:cubicBezTo>
                  <a:pt x="2827902" y="5230594"/>
                  <a:pt x="2819848" y="5224503"/>
                  <a:pt x="2817060" y="5216655"/>
                </a:cubicBezTo>
                <a:cubicBezTo>
                  <a:pt x="2816440" y="5214900"/>
                  <a:pt x="2815975" y="5213041"/>
                  <a:pt x="2815821" y="5211182"/>
                </a:cubicBezTo>
                <a:lnTo>
                  <a:pt x="2816440" y="5205813"/>
                </a:lnTo>
                <a:lnTo>
                  <a:pt x="2815356" y="5205710"/>
                </a:lnTo>
                <a:cubicBezTo>
                  <a:pt x="2813962" y="5205193"/>
                  <a:pt x="2813187" y="5204264"/>
                  <a:pt x="2812878" y="5202922"/>
                </a:cubicBezTo>
                <a:lnTo>
                  <a:pt x="2812878" y="5202612"/>
                </a:lnTo>
                <a:lnTo>
                  <a:pt x="2812103" y="5202612"/>
                </a:lnTo>
                <a:cubicBezTo>
                  <a:pt x="2811019" y="5200960"/>
                  <a:pt x="2811019" y="5200960"/>
                  <a:pt x="2811328" y="5200237"/>
                </a:cubicBezTo>
                <a:cubicBezTo>
                  <a:pt x="2811019" y="5200960"/>
                  <a:pt x="2810244" y="5200547"/>
                  <a:pt x="2809160" y="5200857"/>
                </a:cubicBezTo>
                <a:cubicBezTo>
                  <a:pt x="2804978" y="5203335"/>
                  <a:pt x="2802035" y="5199721"/>
                  <a:pt x="2799711" y="5194558"/>
                </a:cubicBezTo>
                <a:cubicBezTo>
                  <a:pt x="2800796" y="5194145"/>
                  <a:pt x="2799246" y="5191357"/>
                  <a:pt x="2799092" y="5189395"/>
                </a:cubicBezTo>
                <a:lnTo>
                  <a:pt x="2799401" y="5188879"/>
                </a:lnTo>
                <a:lnTo>
                  <a:pt x="2795994" y="5188053"/>
                </a:lnTo>
                <a:cubicBezTo>
                  <a:pt x="2796923" y="5185678"/>
                  <a:pt x="2797388" y="5184646"/>
                  <a:pt x="2797543" y="5182684"/>
                </a:cubicBezTo>
                <a:cubicBezTo>
                  <a:pt x="2800796" y="5183922"/>
                  <a:pt x="2803429" y="5183922"/>
                  <a:pt x="2805442" y="5184439"/>
                </a:cubicBezTo>
                <a:lnTo>
                  <a:pt x="2806836" y="5185058"/>
                </a:lnTo>
                <a:lnTo>
                  <a:pt x="2809160" y="5185265"/>
                </a:lnTo>
                <a:cubicBezTo>
                  <a:pt x="2811328" y="5185884"/>
                  <a:pt x="2813032" y="5187124"/>
                  <a:pt x="2813652" y="5188982"/>
                </a:cubicBezTo>
                <a:cubicBezTo>
                  <a:pt x="2814581" y="5190944"/>
                  <a:pt x="2815046" y="5192700"/>
                  <a:pt x="2815046" y="5194145"/>
                </a:cubicBezTo>
                <a:lnTo>
                  <a:pt x="2814426" y="5197036"/>
                </a:lnTo>
                <a:lnTo>
                  <a:pt x="2818764" y="5194868"/>
                </a:lnTo>
                <a:lnTo>
                  <a:pt x="2819073" y="5196107"/>
                </a:lnTo>
                <a:lnTo>
                  <a:pt x="2820157" y="5195797"/>
                </a:lnTo>
                <a:lnTo>
                  <a:pt x="2819383" y="5193525"/>
                </a:lnTo>
                <a:cubicBezTo>
                  <a:pt x="2819073" y="5190738"/>
                  <a:pt x="2819228" y="5188156"/>
                  <a:pt x="2819538" y="5186504"/>
                </a:cubicBezTo>
                <a:cubicBezTo>
                  <a:pt x="2818299" y="5186091"/>
                  <a:pt x="2817369" y="5185368"/>
                  <a:pt x="2816440" y="5184439"/>
                </a:cubicBezTo>
                <a:lnTo>
                  <a:pt x="2814271" y="5181754"/>
                </a:lnTo>
                <a:lnTo>
                  <a:pt x="2813807" y="5181961"/>
                </a:lnTo>
                <a:cubicBezTo>
                  <a:pt x="2808076" y="5182167"/>
                  <a:pt x="2802189" y="5180309"/>
                  <a:pt x="2797853" y="5176488"/>
                </a:cubicBezTo>
                <a:lnTo>
                  <a:pt x="2797233" y="5175766"/>
                </a:lnTo>
                <a:lnTo>
                  <a:pt x="2797697" y="5177108"/>
                </a:lnTo>
                <a:cubicBezTo>
                  <a:pt x="2797543" y="5178347"/>
                  <a:pt x="2797543" y="5178347"/>
                  <a:pt x="2796768" y="5178863"/>
                </a:cubicBezTo>
                <a:cubicBezTo>
                  <a:pt x="2795994" y="5180515"/>
                  <a:pt x="2795839" y="5181651"/>
                  <a:pt x="2793980" y="5181754"/>
                </a:cubicBezTo>
                <a:cubicBezTo>
                  <a:pt x="2792431" y="5181754"/>
                  <a:pt x="2791502" y="5181135"/>
                  <a:pt x="2791037" y="5180206"/>
                </a:cubicBezTo>
                <a:cubicBezTo>
                  <a:pt x="2790572" y="5179379"/>
                  <a:pt x="2790418" y="5178037"/>
                  <a:pt x="2790418" y="5176488"/>
                </a:cubicBezTo>
                <a:cubicBezTo>
                  <a:pt x="2790263" y="5173287"/>
                  <a:pt x="2792741" y="5172668"/>
                  <a:pt x="2793206" y="5170293"/>
                </a:cubicBezTo>
                <a:lnTo>
                  <a:pt x="2794445" y="5171222"/>
                </a:lnTo>
                <a:lnTo>
                  <a:pt x="2795994" y="5168641"/>
                </a:lnTo>
                <a:lnTo>
                  <a:pt x="2795839" y="5168744"/>
                </a:lnTo>
                <a:cubicBezTo>
                  <a:pt x="2796303" y="5165853"/>
                  <a:pt x="2795994" y="5163581"/>
                  <a:pt x="2795064" y="5161826"/>
                </a:cubicBezTo>
                <a:lnTo>
                  <a:pt x="2792431" y="5158728"/>
                </a:lnTo>
                <a:lnTo>
                  <a:pt x="2789488" y="5158521"/>
                </a:lnTo>
                <a:cubicBezTo>
                  <a:pt x="2783292" y="5155940"/>
                  <a:pt x="2778490" y="5148093"/>
                  <a:pt x="2776631" y="5143137"/>
                </a:cubicBezTo>
                <a:cubicBezTo>
                  <a:pt x="2780194" y="5144995"/>
                  <a:pt x="2783757" y="5146647"/>
                  <a:pt x="2787164" y="5149022"/>
                </a:cubicBezTo>
                <a:cubicBezTo>
                  <a:pt x="2788868" y="5150158"/>
                  <a:pt x="2790572" y="5151500"/>
                  <a:pt x="2792122" y="5153152"/>
                </a:cubicBezTo>
                <a:lnTo>
                  <a:pt x="2792896" y="5154288"/>
                </a:lnTo>
                <a:lnTo>
                  <a:pt x="2793515" y="5152739"/>
                </a:lnTo>
                <a:cubicBezTo>
                  <a:pt x="2792276" y="5150054"/>
                  <a:pt x="2784996" y="5147680"/>
                  <a:pt x="2787320" y="5142723"/>
                </a:cubicBezTo>
                <a:cubicBezTo>
                  <a:pt x="2783602" y="5138593"/>
                  <a:pt x="2785151" y="5148816"/>
                  <a:pt x="2780659" y="5145202"/>
                </a:cubicBezTo>
                <a:cubicBezTo>
                  <a:pt x="2778490" y="5138490"/>
                  <a:pt x="2777096" y="5129816"/>
                  <a:pt x="2775857" y="5121040"/>
                </a:cubicBezTo>
                <a:lnTo>
                  <a:pt x="2774928" y="5117116"/>
                </a:lnTo>
                <a:lnTo>
                  <a:pt x="2774153" y="5117219"/>
                </a:lnTo>
                <a:cubicBezTo>
                  <a:pt x="2773379" y="5117632"/>
                  <a:pt x="2772759" y="5116083"/>
                  <a:pt x="2772759" y="5116083"/>
                </a:cubicBezTo>
                <a:cubicBezTo>
                  <a:pt x="2771985" y="5116496"/>
                  <a:pt x="2771210" y="5116909"/>
                  <a:pt x="2770126" y="5116496"/>
                </a:cubicBezTo>
                <a:cubicBezTo>
                  <a:pt x="2770591" y="5115361"/>
                  <a:pt x="2769816" y="5115774"/>
                  <a:pt x="2769507" y="5115051"/>
                </a:cubicBezTo>
                <a:cubicBezTo>
                  <a:pt x="2769971" y="5115154"/>
                  <a:pt x="2770900" y="5114948"/>
                  <a:pt x="2771830" y="5114741"/>
                </a:cubicBezTo>
                <a:lnTo>
                  <a:pt x="2774153" y="5114225"/>
                </a:lnTo>
                <a:lnTo>
                  <a:pt x="2772914" y="5108649"/>
                </a:lnTo>
                <a:close/>
                <a:moveTo>
                  <a:pt x="2020351" y="5103512"/>
                </a:moveTo>
                <a:cubicBezTo>
                  <a:pt x="2022171" y="5104260"/>
                  <a:pt x="2024146" y="5105654"/>
                  <a:pt x="2026779" y="5106274"/>
                </a:cubicBezTo>
                <a:cubicBezTo>
                  <a:pt x="2025850" y="5108546"/>
                  <a:pt x="2023681" y="5109785"/>
                  <a:pt x="2021358" y="5110198"/>
                </a:cubicBezTo>
                <a:cubicBezTo>
                  <a:pt x="2019034" y="5110508"/>
                  <a:pt x="2016711" y="5109991"/>
                  <a:pt x="2015471" y="5108546"/>
                </a:cubicBezTo>
                <a:cubicBezTo>
                  <a:pt x="2014697" y="5107616"/>
                  <a:pt x="2014387" y="5106274"/>
                  <a:pt x="2014852" y="5104622"/>
                </a:cubicBezTo>
                <a:cubicBezTo>
                  <a:pt x="2016866" y="5102660"/>
                  <a:pt x="2018531" y="5102763"/>
                  <a:pt x="2020351" y="5103512"/>
                </a:cubicBezTo>
                <a:close/>
                <a:moveTo>
                  <a:pt x="2288283" y="5100801"/>
                </a:moveTo>
                <a:cubicBezTo>
                  <a:pt x="2289987" y="5101731"/>
                  <a:pt x="2290877" y="5104157"/>
                  <a:pt x="2290413" y="5106687"/>
                </a:cubicBezTo>
                <a:cubicBezTo>
                  <a:pt x="2290103" y="5108442"/>
                  <a:pt x="2289174" y="5110094"/>
                  <a:pt x="2287469" y="5111540"/>
                </a:cubicBezTo>
                <a:cubicBezTo>
                  <a:pt x="2286850" y="5111437"/>
                  <a:pt x="2286231" y="5111127"/>
                  <a:pt x="2285456" y="5110611"/>
                </a:cubicBezTo>
                <a:lnTo>
                  <a:pt x="2285146" y="5110404"/>
                </a:lnTo>
                <a:lnTo>
                  <a:pt x="2282204" y="5114741"/>
                </a:lnTo>
                <a:cubicBezTo>
                  <a:pt x="2281274" y="5114121"/>
                  <a:pt x="2280654" y="5113295"/>
                  <a:pt x="2280344" y="5112263"/>
                </a:cubicBezTo>
                <a:cubicBezTo>
                  <a:pt x="2279880" y="5110714"/>
                  <a:pt x="2279880" y="5108855"/>
                  <a:pt x="2280344" y="5107100"/>
                </a:cubicBezTo>
                <a:lnTo>
                  <a:pt x="2281739" y="5105035"/>
                </a:lnTo>
                <a:lnTo>
                  <a:pt x="2281274" y="5103899"/>
                </a:lnTo>
                <a:cubicBezTo>
                  <a:pt x="2284062" y="5100440"/>
                  <a:pt x="2286579" y="5099872"/>
                  <a:pt x="2288283" y="5100801"/>
                </a:cubicBezTo>
                <a:close/>
                <a:moveTo>
                  <a:pt x="1678108" y="5100388"/>
                </a:moveTo>
                <a:cubicBezTo>
                  <a:pt x="1678882" y="5100388"/>
                  <a:pt x="1679038" y="5101214"/>
                  <a:pt x="1679966" y="5102041"/>
                </a:cubicBezTo>
                <a:cubicBezTo>
                  <a:pt x="1681051" y="5103693"/>
                  <a:pt x="1681360" y="5106274"/>
                  <a:pt x="1680741" y="5107204"/>
                </a:cubicBezTo>
                <a:cubicBezTo>
                  <a:pt x="1679966" y="5108133"/>
                  <a:pt x="1679192" y="5108133"/>
                  <a:pt x="1679192" y="5108133"/>
                </a:cubicBezTo>
                <a:cubicBezTo>
                  <a:pt x="1676404" y="5106584"/>
                  <a:pt x="1674390" y="5104106"/>
                  <a:pt x="1676559" y="5101421"/>
                </a:cubicBezTo>
                <a:cubicBezTo>
                  <a:pt x="1677333" y="5100492"/>
                  <a:pt x="1677953" y="5099562"/>
                  <a:pt x="1678108" y="5100388"/>
                </a:cubicBezTo>
                <a:close/>
                <a:moveTo>
                  <a:pt x="2612287" y="5099872"/>
                </a:moveTo>
                <a:cubicBezTo>
                  <a:pt x="2613526" y="5101008"/>
                  <a:pt x="2614145" y="5102247"/>
                  <a:pt x="2614455" y="5103486"/>
                </a:cubicBezTo>
                <a:lnTo>
                  <a:pt x="2614300" y="5104209"/>
                </a:lnTo>
                <a:lnTo>
                  <a:pt x="2615075" y="5104932"/>
                </a:lnTo>
                <a:lnTo>
                  <a:pt x="2613836" y="5105758"/>
                </a:lnTo>
                <a:lnTo>
                  <a:pt x="2613526" y="5107100"/>
                </a:lnTo>
                <a:cubicBezTo>
                  <a:pt x="2611822" y="5107719"/>
                  <a:pt x="2610118" y="5106584"/>
                  <a:pt x="2608569" y="5105448"/>
                </a:cubicBezTo>
                <a:cubicBezTo>
                  <a:pt x="2607330" y="5104415"/>
                  <a:pt x="2607020" y="5103486"/>
                  <a:pt x="2607175" y="5102660"/>
                </a:cubicBezTo>
                <a:cubicBezTo>
                  <a:pt x="2607330" y="5101731"/>
                  <a:pt x="2607950" y="5101008"/>
                  <a:pt x="2608879" y="5100285"/>
                </a:cubicBezTo>
                <a:cubicBezTo>
                  <a:pt x="2610583" y="5098737"/>
                  <a:pt x="2612287" y="5099872"/>
                  <a:pt x="2612287" y="5099872"/>
                </a:cubicBezTo>
                <a:close/>
                <a:moveTo>
                  <a:pt x="1544006" y="5099833"/>
                </a:moveTo>
                <a:cubicBezTo>
                  <a:pt x="1546252" y="5099666"/>
                  <a:pt x="1548150" y="5100388"/>
                  <a:pt x="1549234" y="5103176"/>
                </a:cubicBezTo>
                <a:cubicBezTo>
                  <a:pt x="1548305" y="5107100"/>
                  <a:pt x="1545981" y="5108959"/>
                  <a:pt x="1543658" y="5109372"/>
                </a:cubicBezTo>
                <a:cubicBezTo>
                  <a:pt x="1541180" y="5109785"/>
                  <a:pt x="1538546" y="5108752"/>
                  <a:pt x="1537307" y="5106790"/>
                </a:cubicBezTo>
                <a:cubicBezTo>
                  <a:pt x="1536378" y="5105551"/>
                  <a:pt x="1536069" y="5103796"/>
                  <a:pt x="1536687" y="5101834"/>
                </a:cubicBezTo>
                <a:cubicBezTo>
                  <a:pt x="1539166" y="5101059"/>
                  <a:pt x="1541760" y="5100001"/>
                  <a:pt x="1544006" y="5099833"/>
                </a:cubicBezTo>
                <a:close/>
                <a:moveTo>
                  <a:pt x="2311943" y="5099046"/>
                </a:moveTo>
                <a:cubicBezTo>
                  <a:pt x="2311943" y="5099046"/>
                  <a:pt x="2311943" y="5099046"/>
                  <a:pt x="2312872" y="5099046"/>
                </a:cubicBezTo>
                <a:cubicBezTo>
                  <a:pt x="2312408" y="5102557"/>
                  <a:pt x="2313956" y="5106893"/>
                  <a:pt x="2312562" y="5109681"/>
                </a:cubicBezTo>
                <a:cubicBezTo>
                  <a:pt x="2312253" y="5110094"/>
                  <a:pt x="2311943" y="5110611"/>
                  <a:pt x="2311323" y="5110714"/>
                </a:cubicBezTo>
                <a:cubicBezTo>
                  <a:pt x="2310858" y="5110920"/>
                  <a:pt x="2310239" y="5110714"/>
                  <a:pt x="2309310" y="5109888"/>
                </a:cubicBezTo>
                <a:cubicBezTo>
                  <a:pt x="2307451" y="5109062"/>
                  <a:pt x="2307451" y="5108236"/>
                  <a:pt x="2308690" y="5105448"/>
                </a:cubicBezTo>
                <a:cubicBezTo>
                  <a:pt x="2310084" y="5103589"/>
                  <a:pt x="2310704" y="5101834"/>
                  <a:pt x="2311478" y="5101834"/>
                </a:cubicBezTo>
                <a:cubicBezTo>
                  <a:pt x="2311323" y="5100905"/>
                  <a:pt x="2312098" y="5099975"/>
                  <a:pt x="2311943" y="5099046"/>
                </a:cubicBezTo>
                <a:close/>
                <a:moveTo>
                  <a:pt x="2147289" y="5098943"/>
                </a:moveTo>
                <a:cubicBezTo>
                  <a:pt x="2148373" y="5098633"/>
                  <a:pt x="2149457" y="5098323"/>
                  <a:pt x="2151006" y="5099149"/>
                </a:cubicBezTo>
                <a:cubicBezTo>
                  <a:pt x="2151935" y="5101524"/>
                  <a:pt x="2150077" y="5103383"/>
                  <a:pt x="2150542" y="5104519"/>
                </a:cubicBezTo>
                <a:cubicBezTo>
                  <a:pt x="2149767" y="5104106"/>
                  <a:pt x="2148218" y="5103280"/>
                  <a:pt x="2146669" y="5104415"/>
                </a:cubicBezTo>
                <a:cubicBezTo>
                  <a:pt x="2145895" y="5102041"/>
                  <a:pt x="2145120" y="5099562"/>
                  <a:pt x="2147289" y="5098943"/>
                </a:cubicBezTo>
                <a:close/>
                <a:moveTo>
                  <a:pt x="1749360" y="5098323"/>
                </a:moveTo>
                <a:cubicBezTo>
                  <a:pt x="1752458" y="5099046"/>
                  <a:pt x="1753387" y="5102247"/>
                  <a:pt x="1752923" y="5105551"/>
                </a:cubicBezTo>
                <a:cubicBezTo>
                  <a:pt x="1752303" y="5108855"/>
                  <a:pt x="1750444" y="5112160"/>
                  <a:pt x="1747656" y="5113295"/>
                </a:cubicBezTo>
                <a:cubicBezTo>
                  <a:pt x="1746882" y="5111850"/>
                  <a:pt x="1746262" y="5110611"/>
                  <a:pt x="1745797" y="5109269"/>
                </a:cubicBezTo>
                <a:cubicBezTo>
                  <a:pt x="1744403" y="5105448"/>
                  <a:pt x="1745023" y="5101937"/>
                  <a:pt x="1749360" y="5098323"/>
                </a:cubicBezTo>
                <a:close/>
                <a:moveTo>
                  <a:pt x="2351287" y="5097807"/>
                </a:moveTo>
                <a:cubicBezTo>
                  <a:pt x="2354075" y="5098840"/>
                  <a:pt x="2356398" y="5097290"/>
                  <a:pt x="2360270" y="5099562"/>
                </a:cubicBezTo>
                <a:lnTo>
                  <a:pt x="2357792" y="5111024"/>
                </a:lnTo>
                <a:lnTo>
                  <a:pt x="2358102" y="5112573"/>
                </a:lnTo>
                <a:cubicBezTo>
                  <a:pt x="2358257" y="5113502"/>
                  <a:pt x="2358102" y="5114328"/>
                  <a:pt x="2357637" y="5114741"/>
                </a:cubicBezTo>
                <a:lnTo>
                  <a:pt x="2356863" y="5115154"/>
                </a:lnTo>
                <a:lnTo>
                  <a:pt x="2355314" y="5122176"/>
                </a:lnTo>
                <a:cubicBezTo>
                  <a:pt x="2353920" y="5129507"/>
                  <a:pt x="2352680" y="5136425"/>
                  <a:pt x="2350357" y="5142723"/>
                </a:cubicBezTo>
                <a:cubicBezTo>
                  <a:pt x="2342922" y="5130952"/>
                  <a:pt x="2349118" y="5113399"/>
                  <a:pt x="2351287" y="5097807"/>
                </a:cubicBezTo>
                <a:close/>
                <a:moveTo>
                  <a:pt x="1622500" y="5097704"/>
                </a:moveTo>
                <a:cubicBezTo>
                  <a:pt x="1625443" y="5102041"/>
                  <a:pt x="1630245" y="5103899"/>
                  <a:pt x="1630400" y="5107100"/>
                </a:cubicBezTo>
                <a:cubicBezTo>
                  <a:pt x="1630400" y="5108133"/>
                  <a:pt x="1629935" y="5109269"/>
                  <a:pt x="1628696" y="5110714"/>
                </a:cubicBezTo>
                <a:cubicBezTo>
                  <a:pt x="1626837" y="5110094"/>
                  <a:pt x="1622810" y="5107307"/>
                  <a:pt x="1620951" y="5104209"/>
                </a:cubicBezTo>
                <a:cubicBezTo>
                  <a:pt x="1620176" y="5103280"/>
                  <a:pt x="1619867" y="5102144"/>
                  <a:pt x="1619867" y="5101214"/>
                </a:cubicBezTo>
                <a:cubicBezTo>
                  <a:pt x="1619867" y="5099872"/>
                  <a:pt x="1620641" y="5098633"/>
                  <a:pt x="1622500" y="5097704"/>
                </a:cubicBezTo>
                <a:close/>
                <a:moveTo>
                  <a:pt x="1768993" y="5096555"/>
                </a:moveTo>
                <a:cubicBezTo>
                  <a:pt x="1770620" y="5094890"/>
                  <a:pt x="1773369" y="5094606"/>
                  <a:pt x="1775228" y="5098220"/>
                </a:cubicBezTo>
                <a:cubicBezTo>
                  <a:pt x="1772749" y="5100698"/>
                  <a:pt x="1771045" y="5102350"/>
                  <a:pt x="1769497" y="5103176"/>
                </a:cubicBezTo>
                <a:cubicBezTo>
                  <a:pt x="1766863" y="5101266"/>
                  <a:pt x="1767367" y="5098220"/>
                  <a:pt x="1768993" y="5096555"/>
                </a:cubicBezTo>
                <a:close/>
                <a:moveTo>
                  <a:pt x="2085795" y="5096465"/>
                </a:moveTo>
                <a:cubicBezTo>
                  <a:pt x="2087034" y="5097187"/>
                  <a:pt x="2087963" y="5098220"/>
                  <a:pt x="2088273" y="5099769"/>
                </a:cubicBezTo>
                <a:cubicBezTo>
                  <a:pt x="2088738" y="5101731"/>
                  <a:pt x="2088273" y="5104209"/>
                  <a:pt x="2086105" y="5107100"/>
                </a:cubicBezTo>
                <a:cubicBezTo>
                  <a:pt x="2081922" y="5107513"/>
                  <a:pt x="2080373" y="5105551"/>
                  <a:pt x="2077430" y="5104828"/>
                </a:cubicBezTo>
                <a:cubicBezTo>
                  <a:pt x="2076656" y="5096052"/>
                  <a:pt x="2082387" y="5094296"/>
                  <a:pt x="2085795" y="5096465"/>
                </a:cubicBezTo>
                <a:close/>
                <a:moveTo>
                  <a:pt x="1791802" y="5096465"/>
                </a:moveTo>
                <a:cubicBezTo>
                  <a:pt x="1795519" y="5098840"/>
                  <a:pt x="1796758" y="5096155"/>
                  <a:pt x="1802489" y="5100182"/>
                </a:cubicBezTo>
                <a:cubicBezTo>
                  <a:pt x="1808066" y="5103796"/>
                  <a:pt x="1808995" y="5108133"/>
                  <a:pt x="1808221" y="5111643"/>
                </a:cubicBezTo>
                <a:lnTo>
                  <a:pt x="1807291" y="5114225"/>
                </a:lnTo>
                <a:lnTo>
                  <a:pt x="1809150" y="5115980"/>
                </a:lnTo>
                <a:cubicBezTo>
                  <a:pt x="1802799" y="5120833"/>
                  <a:pt x="1812093" y="5124757"/>
                  <a:pt x="1807291" y="5128784"/>
                </a:cubicBezTo>
                <a:cubicBezTo>
                  <a:pt x="1804813" y="5129404"/>
                  <a:pt x="1802334" y="5130849"/>
                  <a:pt x="1799546" y="5130436"/>
                </a:cubicBezTo>
                <a:cubicBezTo>
                  <a:pt x="1798617" y="5130333"/>
                  <a:pt x="1797533" y="5129920"/>
                  <a:pt x="1796448" y="5129197"/>
                </a:cubicBezTo>
                <a:cubicBezTo>
                  <a:pt x="1798462" y="5126306"/>
                  <a:pt x="1799546" y="5123518"/>
                  <a:pt x="1800476" y="5120730"/>
                </a:cubicBezTo>
                <a:lnTo>
                  <a:pt x="1801250" y="5118458"/>
                </a:lnTo>
                <a:lnTo>
                  <a:pt x="1798617" y="5119181"/>
                </a:lnTo>
                <a:cubicBezTo>
                  <a:pt x="1797068" y="5119181"/>
                  <a:pt x="1795209" y="5118665"/>
                  <a:pt x="1793041" y="5117322"/>
                </a:cubicBezTo>
                <a:cubicBezTo>
                  <a:pt x="1788394" y="5114018"/>
                  <a:pt x="1784367" y="5109062"/>
                  <a:pt x="1789168" y="5101834"/>
                </a:cubicBezTo>
                <a:cubicBezTo>
                  <a:pt x="1789788" y="5099975"/>
                  <a:pt x="1789943" y="5100905"/>
                  <a:pt x="1790562" y="5099975"/>
                </a:cubicBezTo>
                <a:cubicBezTo>
                  <a:pt x="1791337" y="5099046"/>
                  <a:pt x="1791957" y="5097290"/>
                  <a:pt x="1791802" y="5096465"/>
                </a:cubicBezTo>
                <a:close/>
                <a:moveTo>
                  <a:pt x="2564211" y="5096310"/>
                </a:moveTo>
                <a:cubicBezTo>
                  <a:pt x="2566089" y="5094580"/>
                  <a:pt x="2568529" y="5093883"/>
                  <a:pt x="2570155" y="5096671"/>
                </a:cubicBezTo>
                <a:cubicBezTo>
                  <a:pt x="2570620" y="5097394"/>
                  <a:pt x="2570620" y="5098323"/>
                  <a:pt x="2570155" y="5099252"/>
                </a:cubicBezTo>
                <a:cubicBezTo>
                  <a:pt x="2569071" y="5101421"/>
                  <a:pt x="2565973" y="5103486"/>
                  <a:pt x="2563649" y="5103280"/>
                </a:cubicBezTo>
                <a:cubicBezTo>
                  <a:pt x="2562875" y="5103176"/>
                  <a:pt x="2562100" y="5102867"/>
                  <a:pt x="2561636" y="5102144"/>
                </a:cubicBezTo>
                <a:cubicBezTo>
                  <a:pt x="2561016" y="5100801"/>
                  <a:pt x="2562333" y="5098039"/>
                  <a:pt x="2564211" y="5096310"/>
                </a:cubicBezTo>
                <a:close/>
                <a:moveTo>
                  <a:pt x="1908593" y="5095948"/>
                </a:moveTo>
                <a:cubicBezTo>
                  <a:pt x="1909523" y="5095329"/>
                  <a:pt x="1910762" y="5095226"/>
                  <a:pt x="1912156" y="5095948"/>
                </a:cubicBezTo>
                <a:cubicBezTo>
                  <a:pt x="1916028" y="5098323"/>
                  <a:pt x="1914325" y="5102350"/>
                  <a:pt x="1911691" y="5106687"/>
                </a:cubicBezTo>
                <a:cubicBezTo>
                  <a:pt x="1909832" y="5106377"/>
                  <a:pt x="1908283" y="5106790"/>
                  <a:pt x="1906424" y="5106481"/>
                </a:cubicBezTo>
                <a:cubicBezTo>
                  <a:pt x="1904721" y="5104312"/>
                  <a:pt x="1905650" y="5097910"/>
                  <a:pt x="1908593" y="5095948"/>
                </a:cubicBezTo>
                <a:close/>
                <a:moveTo>
                  <a:pt x="1484332" y="5095122"/>
                </a:moveTo>
                <a:cubicBezTo>
                  <a:pt x="1485107" y="5095122"/>
                  <a:pt x="1485881" y="5095948"/>
                  <a:pt x="1485881" y="5095948"/>
                </a:cubicBezTo>
                <a:cubicBezTo>
                  <a:pt x="1486656" y="5096878"/>
                  <a:pt x="1486656" y="5096878"/>
                  <a:pt x="1487585" y="5095948"/>
                </a:cubicBezTo>
                <a:cubicBezTo>
                  <a:pt x="1487585" y="5095948"/>
                  <a:pt x="1487431" y="5096878"/>
                  <a:pt x="1487431" y="5096878"/>
                </a:cubicBezTo>
                <a:cubicBezTo>
                  <a:pt x="1486501" y="5096878"/>
                  <a:pt x="1487431" y="5096878"/>
                  <a:pt x="1488204" y="5097807"/>
                </a:cubicBezTo>
                <a:cubicBezTo>
                  <a:pt x="1487121" y="5099562"/>
                  <a:pt x="1487121" y="5100388"/>
                  <a:pt x="1486191" y="5101318"/>
                </a:cubicBezTo>
                <a:cubicBezTo>
                  <a:pt x="1485727" y="5101731"/>
                  <a:pt x="1484952" y="5102144"/>
                  <a:pt x="1484332" y="5102350"/>
                </a:cubicBezTo>
                <a:cubicBezTo>
                  <a:pt x="1483713" y="5102557"/>
                  <a:pt x="1483093" y="5102453"/>
                  <a:pt x="1482784" y="5102041"/>
                </a:cubicBezTo>
                <a:cubicBezTo>
                  <a:pt x="1482784" y="5101214"/>
                  <a:pt x="1482009" y="5101214"/>
                  <a:pt x="1482164" y="5100285"/>
                </a:cubicBezTo>
                <a:cubicBezTo>
                  <a:pt x="1481389" y="5098530"/>
                  <a:pt x="1481544" y="5097601"/>
                  <a:pt x="1482474" y="5096775"/>
                </a:cubicBezTo>
                <a:cubicBezTo>
                  <a:pt x="1482474" y="5095845"/>
                  <a:pt x="1483403" y="5095948"/>
                  <a:pt x="1484332" y="5095122"/>
                </a:cubicBezTo>
                <a:close/>
                <a:moveTo>
                  <a:pt x="1926561" y="5094709"/>
                </a:moveTo>
                <a:cubicBezTo>
                  <a:pt x="1929039" y="5093986"/>
                  <a:pt x="1931518" y="5093264"/>
                  <a:pt x="1934926" y="5095948"/>
                </a:cubicBezTo>
                <a:cubicBezTo>
                  <a:pt x="1935855" y="5099459"/>
                  <a:pt x="1935236" y="5102041"/>
                  <a:pt x="1931982" y="5105242"/>
                </a:cubicBezTo>
                <a:cubicBezTo>
                  <a:pt x="1927800" y="5105035"/>
                  <a:pt x="1922534" y="5098840"/>
                  <a:pt x="1926561" y="5094709"/>
                </a:cubicBezTo>
                <a:close/>
                <a:moveTo>
                  <a:pt x="2091217" y="5094606"/>
                </a:moveTo>
                <a:cubicBezTo>
                  <a:pt x="2094779" y="5095742"/>
                  <a:pt x="2097412" y="5096155"/>
                  <a:pt x="2099735" y="5096671"/>
                </a:cubicBezTo>
                <a:lnTo>
                  <a:pt x="2100200" y="5096878"/>
                </a:lnTo>
                <a:lnTo>
                  <a:pt x="2101594" y="5095122"/>
                </a:lnTo>
                <a:cubicBezTo>
                  <a:pt x="2102678" y="5094709"/>
                  <a:pt x="2104227" y="5094813"/>
                  <a:pt x="2106086" y="5094709"/>
                </a:cubicBezTo>
                <a:cubicBezTo>
                  <a:pt x="2105931" y="5095948"/>
                  <a:pt x="2109494" y="5096775"/>
                  <a:pt x="2110733" y="5097084"/>
                </a:cubicBezTo>
                <a:cubicBezTo>
                  <a:pt x="2110268" y="5099459"/>
                  <a:pt x="2114296" y="5101111"/>
                  <a:pt x="2113831" y="5104725"/>
                </a:cubicBezTo>
                <a:cubicBezTo>
                  <a:pt x="2112437" y="5105654"/>
                  <a:pt x="2111663" y="5106171"/>
                  <a:pt x="2109804" y="5106274"/>
                </a:cubicBezTo>
                <a:cubicBezTo>
                  <a:pt x="2107635" y="5105551"/>
                  <a:pt x="2105931" y="5104725"/>
                  <a:pt x="2104692" y="5103899"/>
                </a:cubicBezTo>
                <a:lnTo>
                  <a:pt x="2101749" y="5101214"/>
                </a:lnTo>
                <a:lnTo>
                  <a:pt x="2099116" y="5100905"/>
                </a:lnTo>
                <a:cubicBezTo>
                  <a:pt x="2097412" y="5100492"/>
                  <a:pt x="2096173" y="5099975"/>
                  <a:pt x="2096173" y="5099562"/>
                </a:cubicBezTo>
                <a:cubicBezTo>
                  <a:pt x="2095243" y="5099666"/>
                  <a:pt x="2095243" y="5098737"/>
                  <a:pt x="2094314" y="5098840"/>
                </a:cubicBezTo>
                <a:cubicBezTo>
                  <a:pt x="2094314" y="5098840"/>
                  <a:pt x="2093540" y="5098840"/>
                  <a:pt x="2092455" y="5098014"/>
                </a:cubicBezTo>
                <a:cubicBezTo>
                  <a:pt x="2091526" y="5097187"/>
                  <a:pt x="2090597" y="5096361"/>
                  <a:pt x="2091217" y="5094606"/>
                </a:cubicBezTo>
                <a:close/>
                <a:moveTo>
                  <a:pt x="2640349" y="5093805"/>
                </a:moveTo>
                <a:lnTo>
                  <a:pt x="2639703" y="5101627"/>
                </a:lnTo>
                <a:lnTo>
                  <a:pt x="2638619" y="5113089"/>
                </a:lnTo>
                <a:lnTo>
                  <a:pt x="2641872" y="5112986"/>
                </a:lnTo>
                <a:cubicBezTo>
                  <a:pt x="2646054" y="5113605"/>
                  <a:pt x="2649927" y="5114844"/>
                  <a:pt x="2653334" y="5116806"/>
                </a:cubicBezTo>
                <a:lnTo>
                  <a:pt x="2656277" y="5118871"/>
                </a:lnTo>
                <a:lnTo>
                  <a:pt x="2657981" y="5118458"/>
                </a:lnTo>
                <a:lnTo>
                  <a:pt x="2659065" y="5118665"/>
                </a:lnTo>
                <a:lnTo>
                  <a:pt x="2659443" y="5118413"/>
                </a:lnTo>
                <a:lnTo>
                  <a:pt x="2648386" y="5106891"/>
                </a:lnTo>
                <a:close/>
                <a:moveTo>
                  <a:pt x="2466839" y="5093677"/>
                </a:moveTo>
                <a:lnTo>
                  <a:pt x="2469472" y="5094503"/>
                </a:lnTo>
                <a:lnTo>
                  <a:pt x="2469782" y="5094296"/>
                </a:lnTo>
                <a:cubicBezTo>
                  <a:pt x="2473655" y="5092954"/>
                  <a:pt x="2476907" y="5095948"/>
                  <a:pt x="2476288" y="5099356"/>
                </a:cubicBezTo>
                <a:cubicBezTo>
                  <a:pt x="2475823" y="5100905"/>
                  <a:pt x="2474739" y="5102557"/>
                  <a:pt x="2472416" y="5103899"/>
                </a:cubicBezTo>
                <a:lnTo>
                  <a:pt x="2471951" y="5103486"/>
                </a:lnTo>
                <a:lnTo>
                  <a:pt x="2471486" y="5104519"/>
                </a:lnTo>
                <a:cubicBezTo>
                  <a:pt x="2470092" y="5106274"/>
                  <a:pt x="2468388" y="5107719"/>
                  <a:pt x="2466684" y="5109062"/>
                </a:cubicBezTo>
                <a:cubicBezTo>
                  <a:pt x="2455377" y="5106687"/>
                  <a:pt x="2464206" y="5098943"/>
                  <a:pt x="2466839" y="5093677"/>
                </a:cubicBezTo>
                <a:close/>
                <a:moveTo>
                  <a:pt x="1860885" y="5092644"/>
                </a:moveTo>
                <a:cubicBezTo>
                  <a:pt x="1862744" y="5090889"/>
                  <a:pt x="1866771" y="5091921"/>
                  <a:pt x="1868321" y="5092747"/>
                </a:cubicBezTo>
                <a:cubicBezTo>
                  <a:pt x="1869869" y="5094503"/>
                  <a:pt x="1868630" y="5097084"/>
                  <a:pt x="1866771" y="5098737"/>
                </a:cubicBezTo>
                <a:cubicBezTo>
                  <a:pt x="1866307" y="5099666"/>
                  <a:pt x="1865533" y="5099975"/>
                  <a:pt x="1864448" y="5100079"/>
                </a:cubicBezTo>
                <a:cubicBezTo>
                  <a:pt x="1863518" y="5100182"/>
                  <a:pt x="1862589" y="5099975"/>
                  <a:pt x="1861814" y="5099562"/>
                </a:cubicBezTo>
                <a:cubicBezTo>
                  <a:pt x="1861040" y="5098633"/>
                  <a:pt x="1861040" y="5098633"/>
                  <a:pt x="1860266" y="5097807"/>
                </a:cubicBezTo>
                <a:cubicBezTo>
                  <a:pt x="1860421" y="5096052"/>
                  <a:pt x="1859801" y="5094296"/>
                  <a:pt x="1860885" y="5092644"/>
                </a:cubicBezTo>
                <a:close/>
                <a:moveTo>
                  <a:pt x="2139389" y="5091715"/>
                </a:moveTo>
                <a:cubicBezTo>
                  <a:pt x="2141867" y="5090889"/>
                  <a:pt x="2147289" y="5092025"/>
                  <a:pt x="2148992" y="5095948"/>
                </a:cubicBezTo>
                <a:cubicBezTo>
                  <a:pt x="2147753" y="5098530"/>
                  <a:pt x="2146205" y="5099872"/>
                  <a:pt x="2144500" y="5100182"/>
                </a:cubicBezTo>
                <a:cubicBezTo>
                  <a:pt x="2142797" y="5100492"/>
                  <a:pt x="2140938" y="5099666"/>
                  <a:pt x="2138924" y="5098014"/>
                </a:cubicBezTo>
                <a:cubicBezTo>
                  <a:pt x="2139389" y="5096155"/>
                  <a:pt x="2139079" y="5094400"/>
                  <a:pt x="2139389" y="5091715"/>
                </a:cubicBezTo>
                <a:close/>
                <a:moveTo>
                  <a:pt x="2219315" y="5090682"/>
                </a:moveTo>
                <a:cubicBezTo>
                  <a:pt x="2221639" y="5088823"/>
                  <a:pt x="2228764" y="5092644"/>
                  <a:pt x="2231552" y="5095122"/>
                </a:cubicBezTo>
                <a:cubicBezTo>
                  <a:pt x="2230933" y="5095536"/>
                  <a:pt x="2230003" y="5095639"/>
                  <a:pt x="2229074" y="5095536"/>
                </a:cubicBezTo>
                <a:cubicBezTo>
                  <a:pt x="2225976" y="5095122"/>
                  <a:pt x="2221484" y="5092438"/>
                  <a:pt x="2219315" y="5090682"/>
                </a:cubicBezTo>
                <a:close/>
                <a:moveTo>
                  <a:pt x="1942980" y="5090063"/>
                </a:moveTo>
                <a:cubicBezTo>
                  <a:pt x="1944684" y="5090166"/>
                  <a:pt x="1947782" y="5091199"/>
                  <a:pt x="1948247" y="5093470"/>
                </a:cubicBezTo>
                <a:cubicBezTo>
                  <a:pt x="1948247" y="5093470"/>
                  <a:pt x="1948247" y="5093367"/>
                  <a:pt x="1948402" y="5094606"/>
                </a:cubicBezTo>
                <a:cubicBezTo>
                  <a:pt x="1946388" y="5093264"/>
                  <a:pt x="1943755" y="5091612"/>
                  <a:pt x="1942980" y="5090063"/>
                </a:cubicBezTo>
                <a:close/>
                <a:moveTo>
                  <a:pt x="2127171" y="5089895"/>
                </a:moveTo>
                <a:cubicBezTo>
                  <a:pt x="2131528" y="5090347"/>
                  <a:pt x="2134897" y="5092799"/>
                  <a:pt x="2134122" y="5097187"/>
                </a:cubicBezTo>
                <a:cubicBezTo>
                  <a:pt x="2133813" y="5098427"/>
                  <a:pt x="2133193" y="5099872"/>
                  <a:pt x="2132264" y="5101421"/>
                </a:cubicBezTo>
                <a:cubicBezTo>
                  <a:pt x="2130869" y="5101524"/>
                  <a:pt x="2129011" y="5101731"/>
                  <a:pt x="2127307" y="5101937"/>
                </a:cubicBezTo>
                <a:cubicBezTo>
                  <a:pt x="2125913" y="5102041"/>
                  <a:pt x="2124364" y="5102041"/>
                  <a:pt x="2122970" y="5101937"/>
                </a:cubicBezTo>
                <a:cubicBezTo>
                  <a:pt x="2118942" y="5101731"/>
                  <a:pt x="2115225" y="5100079"/>
                  <a:pt x="2114296" y="5094606"/>
                </a:cubicBezTo>
                <a:cubicBezTo>
                  <a:pt x="2117471" y="5090992"/>
                  <a:pt x="2122815" y="5089443"/>
                  <a:pt x="2127171" y="5089895"/>
                </a:cubicBezTo>
                <a:close/>
                <a:moveTo>
                  <a:pt x="1036528" y="5089650"/>
                </a:moveTo>
                <a:cubicBezTo>
                  <a:pt x="1037147" y="5091302"/>
                  <a:pt x="1036062" y="5093057"/>
                  <a:pt x="1035133" y="5094709"/>
                </a:cubicBezTo>
                <a:cubicBezTo>
                  <a:pt x="1034204" y="5096052"/>
                  <a:pt x="1033274" y="5096465"/>
                  <a:pt x="1032500" y="5096258"/>
                </a:cubicBezTo>
                <a:cubicBezTo>
                  <a:pt x="1031571" y="5096155"/>
                  <a:pt x="1030796" y="5095536"/>
                  <a:pt x="1030022" y="5094606"/>
                </a:cubicBezTo>
                <a:cubicBezTo>
                  <a:pt x="1028628" y="5092851"/>
                  <a:pt x="1029557" y="5091199"/>
                  <a:pt x="1029557" y="5091199"/>
                </a:cubicBezTo>
                <a:cubicBezTo>
                  <a:pt x="1031571" y="5088617"/>
                  <a:pt x="1034204" y="5087791"/>
                  <a:pt x="1036528" y="5089650"/>
                </a:cubicBezTo>
                <a:close/>
                <a:moveTo>
                  <a:pt x="2577280" y="5087069"/>
                </a:moveTo>
                <a:cubicBezTo>
                  <a:pt x="2578829" y="5084487"/>
                  <a:pt x="2581462" y="5086346"/>
                  <a:pt x="2584715" y="5087378"/>
                </a:cubicBezTo>
                <a:cubicBezTo>
                  <a:pt x="2583941" y="5088204"/>
                  <a:pt x="2584715" y="5089134"/>
                  <a:pt x="2585645" y="5090063"/>
                </a:cubicBezTo>
                <a:cubicBezTo>
                  <a:pt x="2584406" y="5091302"/>
                  <a:pt x="2582856" y="5093470"/>
                  <a:pt x="2580688" y="5092954"/>
                </a:cubicBezTo>
                <a:cubicBezTo>
                  <a:pt x="2579913" y="5092747"/>
                  <a:pt x="2579139" y="5092335"/>
                  <a:pt x="2578364" y="5091405"/>
                </a:cubicBezTo>
                <a:cubicBezTo>
                  <a:pt x="2577435" y="5091405"/>
                  <a:pt x="2576505" y="5087894"/>
                  <a:pt x="2577280" y="5087069"/>
                </a:cubicBezTo>
                <a:close/>
                <a:moveTo>
                  <a:pt x="2081303" y="5086449"/>
                </a:moveTo>
                <a:cubicBezTo>
                  <a:pt x="2084710" y="5085416"/>
                  <a:pt x="2087344" y="5087894"/>
                  <a:pt x="2091371" y="5087378"/>
                </a:cubicBezTo>
                <a:cubicBezTo>
                  <a:pt x="2092920" y="5090166"/>
                  <a:pt x="2097877" y="5090063"/>
                  <a:pt x="2099891" y="5094090"/>
                </a:cubicBezTo>
                <a:cubicBezTo>
                  <a:pt x="2098497" y="5094813"/>
                  <a:pt x="2096792" y="5094916"/>
                  <a:pt x="2094934" y="5094606"/>
                </a:cubicBezTo>
                <a:cubicBezTo>
                  <a:pt x="2089357" y="5093677"/>
                  <a:pt x="2082233" y="5089134"/>
                  <a:pt x="2081303" y="5086449"/>
                </a:cubicBezTo>
                <a:close/>
                <a:moveTo>
                  <a:pt x="1795365" y="5086346"/>
                </a:moveTo>
                <a:cubicBezTo>
                  <a:pt x="1799546" y="5085210"/>
                  <a:pt x="1802644" y="5088720"/>
                  <a:pt x="1799236" y="5093264"/>
                </a:cubicBezTo>
                <a:cubicBezTo>
                  <a:pt x="1797068" y="5091921"/>
                  <a:pt x="1794900" y="5090579"/>
                  <a:pt x="1794744" y="5088617"/>
                </a:cubicBezTo>
                <a:cubicBezTo>
                  <a:pt x="1794744" y="5087894"/>
                  <a:pt x="1794900" y="5087172"/>
                  <a:pt x="1795365" y="5086346"/>
                </a:cubicBezTo>
                <a:close/>
                <a:moveTo>
                  <a:pt x="2199953" y="5085829"/>
                </a:moveTo>
                <a:cubicBezTo>
                  <a:pt x="2201037" y="5086655"/>
                  <a:pt x="2201967" y="5087378"/>
                  <a:pt x="2202122" y="5089134"/>
                </a:cubicBezTo>
                <a:cubicBezTo>
                  <a:pt x="2200728" y="5090992"/>
                  <a:pt x="2198095" y="5090269"/>
                  <a:pt x="2197475" y="5091199"/>
                </a:cubicBezTo>
                <a:cubicBezTo>
                  <a:pt x="2197320" y="5090269"/>
                  <a:pt x="2197010" y="5088514"/>
                  <a:pt x="2195306" y="5087791"/>
                </a:cubicBezTo>
                <a:cubicBezTo>
                  <a:pt x="2196700" y="5085933"/>
                  <a:pt x="2198095" y="5084177"/>
                  <a:pt x="2199953" y="5085829"/>
                </a:cubicBezTo>
                <a:close/>
                <a:moveTo>
                  <a:pt x="2554356" y="5085416"/>
                </a:moveTo>
                <a:cubicBezTo>
                  <a:pt x="2555440" y="5085726"/>
                  <a:pt x="2556679" y="5086036"/>
                  <a:pt x="2555904" y="5086449"/>
                </a:cubicBezTo>
                <a:cubicBezTo>
                  <a:pt x="2556524" y="5087172"/>
                  <a:pt x="2555749" y="5087688"/>
                  <a:pt x="2555595" y="5088823"/>
                </a:cubicBezTo>
                <a:cubicBezTo>
                  <a:pt x="2554820" y="5090476"/>
                  <a:pt x="2552806" y="5091818"/>
                  <a:pt x="2551722" y="5091508"/>
                </a:cubicBezTo>
                <a:cubicBezTo>
                  <a:pt x="2550483" y="5091199"/>
                  <a:pt x="2550018" y="5090373"/>
                  <a:pt x="2550018" y="5090373"/>
                </a:cubicBezTo>
                <a:cubicBezTo>
                  <a:pt x="2549863" y="5087275"/>
                  <a:pt x="2550793" y="5084487"/>
                  <a:pt x="2554356" y="5085416"/>
                </a:cubicBezTo>
                <a:close/>
                <a:moveTo>
                  <a:pt x="2211106" y="5084487"/>
                </a:moveTo>
                <a:cubicBezTo>
                  <a:pt x="2212035" y="5083868"/>
                  <a:pt x="2213274" y="5083868"/>
                  <a:pt x="2214668" y="5084590"/>
                </a:cubicBezTo>
                <a:cubicBezTo>
                  <a:pt x="2219006" y="5087069"/>
                  <a:pt x="2217766" y="5091095"/>
                  <a:pt x="2215752" y="5095329"/>
                </a:cubicBezTo>
                <a:cubicBezTo>
                  <a:pt x="2213894" y="5094916"/>
                  <a:pt x="2212345" y="5095329"/>
                  <a:pt x="2210486" y="5094916"/>
                </a:cubicBezTo>
                <a:cubicBezTo>
                  <a:pt x="2208473" y="5092747"/>
                  <a:pt x="2208473" y="5086346"/>
                  <a:pt x="2211106" y="5084487"/>
                </a:cubicBezTo>
                <a:close/>
                <a:moveTo>
                  <a:pt x="2055125" y="5083041"/>
                </a:moveTo>
                <a:cubicBezTo>
                  <a:pt x="2056364" y="5083041"/>
                  <a:pt x="2058223" y="5082525"/>
                  <a:pt x="2059927" y="5083145"/>
                </a:cubicBezTo>
                <a:cubicBezTo>
                  <a:pt x="2060547" y="5085519"/>
                  <a:pt x="2059617" y="5086655"/>
                  <a:pt x="2058533" y="5086965"/>
                </a:cubicBezTo>
                <a:cubicBezTo>
                  <a:pt x="2057294" y="5087275"/>
                  <a:pt x="2055900" y="5086759"/>
                  <a:pt x="2055125" y="5085726"/>
                </a:cubicBezTo>
                <a:cubicBezTo>
                  <a:pt x="2054661" y="5085003"/>
                  <a:pt x="2054661" y="5084074"/>
                  <a:pt x="2055125" y="5083041"/>
                </a:cubicBezTo>
                <a:close/>
                <a:moveTo>
                  <a:pt x="1702891" y="5082732"/>
                </a:moveTo>
                <a:cubicBezTo>
                  <a:pt x="1701032" y="5087172"/>
                  <a:pt x="1695146" y="5092335"/>
                  <a:pt x="1690344" y="5091818"/>
                </a:cubicBezTo>
                <a:cubicBezTo>
                  <a:pt x="1688795" y="5091612"/>
                  <a:pt x="1687247" y="5090889"/>
                  <a:pt x="1686162" y="5089237"/>
                </a:cubicBezTo>
                <a:cubicBezTo>
                  <a:pt x="1691429" y="5087069"/>
                  <a:pt x="1697005" y="5083145"/>
                  <a:pt x="1702891" y="5082732"/>
                </a:cubicBezTo>
                <a:close/>
                <a:moveTo>
                  <a:pt x="2071080" y="5080563"/>
                </a:moveTo>
                <a:cubicBezTo>
                  <a:pt x="2074332" y="5081699"/>
                  <a:pt x="2076036" y="5083661"/>
                  <a:pt x="2077430" y="5084797"/>
                </a:cubicBezTo>
                <a:cubicBezTo>
                  <a:pt x="2076501" y="5087172"/>
                  <a:pt x="2076346" y="5089134"/>
                  <a:pt x="2075417" y="5091508"/>
                </a:cubicBezTo>
                <a:cubicBezTo>
                  <a:pt x="2074332" y="5092231"/>
                  <a:pt x="2073248" y="5092747"/>
                  <a:pt x="2072319" y="5092954"/>
                </a:cubicBezTo>
                <a:cubicBezTo>
                  <a:pt x="2071389" y="5093160"/>
                  <a:pt x="2070615" y="5093160"/>
                  <a:pt x="2069841" y="5092954"/>
                </a:cubicBezTo>
                <a:cubicBezTo>
                  <a:pt x="2068291" y="5092541"/>
                  <a:pt x="2067208" y="5091405"/>
                  <a:pt x="2066742" y="5089960"/>
                </a:cubicBezTo>
                <a:cubicBezTo>
                  <a:pt x="2065658" y="5086965"/>
                  <a:pt x="2066742" y="5082732"/>
                  <a:pt x="2071080" y="5080563"/>
                </a:cubicBezTo>
                <a:close/>
                <a:moveTo>
                  <a:pt x="2509591" y="5080253"/>
                </a:moveTo>
                <a:lnTo>
                  <a:pt x="2510210" y="5082318"/>
                </a:lnTo>
                <a:lnTo>
                  <a:pt x="2511139" y="5081699"/>
                </a:lnTo>
                <a:cubicBezTo>
                  <a:pt x="2514392" y="5082422"/>
                  <a:pt x="2516406" y="5084797"/>
                  <a:pt x="2516716" y="5087481"/>
                </a:cubicBezTo>
                <a:lnTo>
                  <a:pt x="2515786" y="5090992"/>
                </a:lnTo>
                <a:lnTo>
                  <a:pt x="2520278" y="5094400"/>
                </a:lnTo>
                <a:cubicBezTo>
                  <a:pt x="2521827" y="5095536"/>
                  <a:pt x="2523221" y="5096878"/>
                  <a:pt x="2524305" y="5098323"/>
                </a:cubicBezTo>
                <a:cubicBezTo>
                  <a:pt x="2525855" y="5100285"/>
                  <a:pt x="2526784" y="5102557"/>
                  <a:pt x="2526629" y="5105654"/>
                </a:cubicBezTo>
                <a:cubicBezTo>
                  <a:pt x="2527094" y="5119181"/>
                  <a:pt x="2514857" y="5126719"/>
                  <a:pt x="2504479" y="5126099"/>
                </a:cubicBezTo>
                <a:cubicBezTo>
                  <a:pt x="2498128" y="5125686"/>
                  <a:pt x="2492552" y="5122176"/>
                  <a:pt x="2490848" y="5115361"/>
                </a:cubicBezTo>
                <a:cubicBezTo>
                  <a:pt x="2490073" y="5112779"/>
                  <a:pt x="2490073" y="5109681"/>
                  <a:pt x="2490693" y="5106068"/>
                </a:cubicBezTo>
                <a:cubicBezTo>
                  <a:pt x="2493016" y="5096258"/>
                  <a:pt x="2502465" y="5091095"/>
                  <a:pt x="2509591" y="5080253"/>
                </a:cubicBezTo>
                <a:close/>
                <a:moveTo>
                  <a:pt x="2544287" y="5079118"/>
                </a:moveTo>
                <a:lnTo>
                  <a:pt x="2547695" y="5080047"/>
                </a:lnTo>
                <a:cubicBezTo>
                  <a:pt x="2547540" y="5081286"/>
                  <a:pt x="2546766" y="5082938"/>
                  <a:pt x="2545527" y="5082525"/>
                </a:cubicBezTo>
                <a:cubicBezTo>
                  <a:pt x="2544752" y="5082628"/>
                  <a:pt x="2544442" y="5082215"/>
                  <a:pt x="2544287" y="5081596"/>
                </a:cubicBezTo>
                <a:cubicBezTo>
                  <a:pt x="2544287" y="5080976"/>
                  <a:pt x="2544442" y="5080047"/>
                  <a:pt x="2544287" y="5079118"/>
                </a:cubicBezTo>
                <a:close/>
                <a:moveTo>
                  <a:pt x="1847874" y="5078911"/>
                </a:moveTo>
                <a:cubicBezTo>
                  <a:pt x="1848958" y="5079221"/>
                  <a:pt x="1848958" y="5079221"/>
                  <a:pt x="1850352" y="5081389"/>
                </a:cubicBezTo>
                <a:cubicBezTo>
                  <a:pt x="1849268" y="5081079"/>
                  <a:pt x="1849113" y="5081079"/>
                  <a:pt x="1848958" y="5082215"/>
                </a:cubicBezTo>
                <a:cubicBezTo>
                  <a:pt x="1848958" y="5082215"/>
                  <a:pt x="1849113" y="5082215"/>
                  <a:pt x="1849578" y="5082938"/>
                </a:cubicBezTo>
                <a:cubicBezTo>
                  <a:pt x="1848958" y="5083351"/>
                  <a:pt x="1848493" y="5082628"/>
                  <a:pt x="1847874" y="5083041"/>
                </a:cubicBezTo>
                <a:cubicBezTo>
                  <a:pt x="1847874" y="5083041"/>
                  <a:pt x="1847254" y="5082318"/>
                  <a:pt x="1847254" y="5082318"/>
                </a:cubicBezTo>
                <a:cubicBezTo>
                  <a:pt x="1846945" y="5082525"/>
                  <a:pt x="1846945" y="5082525"/>
                  <a:pt x="1847100" y="5082215"/>
                </a:cubicBezTo>
                <a:cubicBezTo>
                  <a:pt x="1847100" y="5082009"/>
                  <a:pt x="1847100" y="5081389"/>
                  <a:pt x="1846945" y="5080460"/>
                </a:cubicBezTo>
                <a:cubicBezTo>
                  <a:pt x="1847100" y="5079324"/>
                  <a:pt x="1846635" y="5078602"/>
                  <a:pt x="1847874" y="5078911"/>
                </a:cubicBezTo>
                <a:close/>
                <a:moveTo>
                  <a:pt x="1568441" y="5078188"/>
                </a:moveTo>
                <a:cubicBezTo>
                  <a:pt x="1570300" y="5078911"/>
                  <a:pt x="1571229" y="5079841"/>
                  <a:pt x="1572933" y="5080563"/>
                </a:cubicBezTo>
                <a:cubicBezTo>
                  <a:pt x="1573397" y="5083145"/>
                  <a:pt x="1576341" y="5085623"/>
                  <a:pt x="1573708" y="5090992"/>
                </a:cubicBezTo>
                <a:cubicBezTo>
                  <a:pt x="1570145" y="5096361"/>
                  <a:pt x="1564569" y="5092335"/>
                  <a:pt x="1564723" y="5093264"/>
                </a:cubicBezTo>
                <a:cubicBezTo>
                  <a:pt x="1563949" y="5094090"/>
                  <a:pt x="1563949" y="5094193"/>
                  <a:pt x="1564104" y="5095019"/>
                </a:cubicBezTo>
                <a:cubicBezTo>
                  <a:pt x="1563329" y="5095019"/>
                  <a:pt x="1561780" y="5096052"/>
                  <a:pt x="1561006" y="5096981"/>
                </a:cubicBezTo>
                <a:cubicBezTo>
                  <a:pt x="1560851" y="5096052"/>
                  <a:pt x="1560696" y="5095226"/>
                  <a:pt x="1559922" y="5095226"/>
                </a:cubicBezTo>
                <a:cubicBezTo>
                  <a:pt x="1561316" y="5093470"/>
                  <a:pt x="1562090" y="5093367"/>
                  <a:pt x="1562865" y="5092541"/>
                </a:cubicBezTo>
                <a:cubicBezTo>
                  <a:pt x="1562090" y="5092541"/>
                  <a:pt x="1562710" y="5091612"/>
                  <a:pt x="1562710" y="5091612"/>
                </a:cubicBezTo>
                <a:cubicBezTo>
                  <a:pt x="1562710" y="5091612"/>
                  <a:pt x="1562865" y="5091612"/>
                  <a:pt x="1560851" y="5089960"/>
                </a:cubicBezTo>
                <a:cubicBezTo>
                  <a:pt x="1560851" y="5089960"/>
                  <a:pt x="1556979" y="5085829"/>
                  <a:pt x="1559612" y="5081389"/>
                </a:cubicBezTo>
                <a:cubicBezTo>
                  <a:pt x="1560541" y="5082112"/>
                  <a:pt x="1564879" y="5076640"/>
                  <a:pt x="1568441" y="5078188"/>
                </a:cubicBezTo>
                <a:close/>
                <a:moveTo>
                  <a:pt x="2566747" y="5077775"/>
                </a:moveTo>
                <a:cubicBezTo>
                  <a:pt x="2569071" y="5078085"/>
                  <a:pt x="2570310" y="5079427"/>
                  <a:pt x="2570929" y="5081183"/>
                </a:cubicBezTo>
                <a:lnTo>
                  <a:pt x="2571239" y="5085107"/>
                </a:lnTo>
                <a:lnTo>
                  <a:pt x="2572633" y="5083971"/>
                </a:lnTo>
                <a:cubicBezTo>
                  <a:pt x="2574647" y="5082835"/>
                  <a:pt x="2575267" y="5084590"/>
                  <a:pt x="2576661" y="5087378"/>
                </a:cubicBezTo>
                <a:cubicBezTo>
                  <a:pt x="2575267" y="5088617"/>
                  <a:pt x="2574182" y="5088927"/>
                  <a:pt x="2573098" y="5088617"/>
                </a:cubicBezTo>
                <a:lnTo>
                  <a:pt x="2571394" y="5087069"/>
                </a:lnTo>
                <a:lnTo>
                  <a:pt x="2571549" y="5087688"/>
                </a:lnTo>
                <a:cubicBezTo>
                  <a:pt x="2569690" y="5087998"/>
                  <a:pt x="2568451" y="5089030"/>
                  <a:pt x="2566592" y="5089340"/>
                </a:cubicBezTo>
                <a:lnTo>
                  <a:pt x="2565353" y="5091612"/>
                </a:lnTo>
                <a:cubicBezTo>
                  <a:pt x="2562255" y="5089856"/>
                  <a:pt x="2561791" y="5085313"/>
                  <a:pt x="2562875" y="5082318"/>
                </a:cubicBezTo>
                <a:lnTo>
                  <a:pt x="2563494" y="5081492"/>
                </a:lnTo>
                <a:lnTo>
                  <a:pt x="2563494" y="5079118"/>
                </a:lnTo>
                <a:cubicBezTo>
                  <a:pt x="2564114" y="5078188"/>
                  <a:pt x="2565043" y="5077569"/>
                  <a:pt x="2566747" y="5077775"/>
                </a:cubicBezTo>
                <a:close/>
                <a:moveTo>
                  <a:pt x="2169594" y="5077259"/>
                </a:moveTo>
                <a:cubicBezTo>
                  <a:pt x="2169748" y="5077982"/>
                  <a:pt x="2169439" y="5078808"/>
                  <a:pt x="2168819" y="5079634"/>
                </a:cubicBezTo>
                <a:cubicBezTo>
                  <a:pt x="2167115" y="5082009"/>
                  <a:pt x="2162778" y="5084384"/>
                  <a:pt x="2160300" y="5085107"/>
                </a:cubicBezTo>
                <a:cubicBezTo>
                  <a:pt x="2159835" y="5082009"/>
                  <a:pt x="2166341" y="5078188"/>
                  <a:pt x="2169594" y="5077259"/>
                </a:cubicBezTo>
                <a:close/>
                <a:moveTo>
                  <a:pt x="1917422" y="5077052"/>
                </a:moveTo>
                <a:lnTo>
                  <a:pt x="1918043" y="5078911"/>
                </a:lnTo>
                <a:lnTo>
                  <a:pt x="1918507" y="5078395"/>
                </a:lnTo>
                <a:cubicBezTo>
                  <a:pt x="1919746" y="5077466"/>
                  <a:pt x="1920985" y="5076846"/>
                  <a:pt x="1922689" y="5077259"/>
                </a:cubicBezTo>
                <a:cubicBezTo>
                  <a:pt x="1921914" y="5077879"/>
                  <a:pt x="1920985" y="5078911"/>
                  <a:pt x="1920056" y="5079841"/>
                </a:cubicBezTo>
                <a:lnTo>
                  <a:pt x="1918662" y="5080770"/>
                </a:lnTo>
                <a:lnTo>
                  <a:pt x="1919436" y="5083041"/>
                </a:lnTo>
                <a:cubicBezTo>
                  <a:pt x="1919281" y="5085107"/>
                  <a:pt x="1918352" y="5087172"/>
                  <a:pt x="1916338" y="5089237"/>
                </a:cubicBezTo>
                <a:cubicBezTo>
                  <a:pt x="1912156" y="5089753"/>
                  <a:pt x="1910607" y="5084280"/>
                  <a:pt x="1909368" y="5081596"/>
                </a:cubicBezTo>
                <a:cubicBezTo>
                  <a:pt x="1912156" y="5079221"/>
                  <a:pt x="1915099" y="5076846"/>
                  <a:pt x="1917422" y="5077052"/>
                </a:cubicBezTo>
                <a:close/>
                <a:moveTo>
                  <a:pt x="2012994" y="5075813"/>
                </a:moveTo>
                <a:cubicBezTo>
                  <a:pt x="2014697" y="5076536"/>
                  <a:pt x="2015317" y="5085829"/>
                  <a:pt x="2011290" y="5085003"/>
                </a:cubicBezTo>
                <a:cubicBezTo>
                  <a:pt x="2010515" y="5084693"/>
                  <a:pt x="2010050" y="5084074"/>
                  <a:pt x="2009895" y="5083145"/>
                </a:cubicBezTo>
                <a:cubicBezTo>
                  <a:pt x="2009431" y="5080460"/>
                  <a:pt x="2011599" y="5076226"/>
                  <a:pt x="2012994" y="5075813"/>
                </a:cubicBezTo>
                <a:close/>
                <a:moveTo>
                  <a:pt x="1769961" y="5075607"/>
                </a:moveTo>
                <a:cubicBezTo>
                  <a:pt x="1772594" y="5080253"/>
                  <a:pt x="1768722" y="5085519"/>
                  <a:pt x="1764540" y="5086346"/>
                </a:cubicBezTo>
                <a:cubicBezTo>
                  <a:pt x="1763146" y="5086552"/>
                  <a:pt x="1761597" y="5086346"/>
                  <a:pt x="1760357" y="5085519"/>
                </a:cubicBezTo>
                <a:cubicBezTo>
                  <a:pt x="1756640" y="5079324"/>
                  <a:pt x="1764850" y="5073645"/>
                  <a:pt x="1769961" y="5075607"/>
                </a:cubicBezTo>
                <a:close/>
                <a:moveTo>
                  <a:pt x="2559003" y="5075194"/>
                </a:moveTo>
                <a:cubicBezTo>
                  <a:pt x="2559932" y="5076020"/>
                  <a:pt x="2559932" y="5075917"/>
                  <a:pt x="2560087" y="5076846"/>
                </a:cubicBezTo>
                <a:cubicBezTo>
                  <a:pt x="2561171" y="5078498"/>
                  <a:pt x="2562100" y="5079324"/>
                  <a:pt x="2561481" y="5081183"/>
                </a:cubicBezTo>
                <a:cubicBezTo>
                  <a:pt x="2560861" y="5082525"/>
                  <a:pt x="2560087" y="5083041"/>
                  <a:pt x="2559003" y="5082938"/>
                </a:cubicBezTo>
                <a:cubicBezTo>
                  <a:pt x="2558073" y="5082938"/>
                  <a:pt x="2556989" y="5082318"/>
                  <a:pt x="2555595" y="5081492"/>
                </a:cubicBezTo>
                <a:cubicBezTo>
                  <a:pt x="2552652" y="5079944"/>
                  <a:pt x="2553271" y="5077259"/>
                  <a:pt x="2551258" y="5075607"/>
                </a:cubicBezTo>
                <a:cubicBezTo>
                  <a:pt x="2552806" y="5074574"/>
                  <a:pt x="2555130" y="5072716"/>
                  <a:pt x="2559003" y="5075194"/>
                </a:cubicBezTo>
                <a:close/>
                <a:moveTo>
                  <a:pt x="2300171" y="5074471"/>
                </a:moveTo>
                <a:cubicBezTo>
                  <a:pt x="2303579" y="5081492"/>
                  <a:pt x="2300945" y="5084590"/>
                  <a:pt x="2300480" y="5087894"/>
                </a:cubicBezTo>
                <a:lnTo>
                  <a:pt x="2300790" y="5089960"/>
                </a:lnTo>
                <a:lnTo>
                  <a:pt x="2302494" y="5088617"/>
                </a:lnTo>
                <a:cubicBezTo>
                  <a:pt x="2303114" y="5088204"/>
                  <a:pt x="2303733" y="5087894"/>
                  <a:pt x="2304663" y="5088308"/>
                </a:cubicBezTo>
                <a:lnTo>
                  <a:pt x="2301100" y="5091199"/>
                </a:lnTo>
                <a:lnTo>
                  <a:pt x="2301100" y="5091405"/>
                </a:lnTo>
                <a:lnTo>
                  <a:pt x="2300790" y="5091405"/>
                </a:lnTo>
                <a:lnTo>
                  <a:pt x="2300016" y="5092025"/>
                </a:lnTo>
                <a:cubicBezTo>
                  <a:pt x="2300171" y="5092851"/>
                  <a:pt x="2300171" y="5093780"/>
                  <a:pt x="2299551" y="5094606"/>
                </a:cubicBezTo>
                <a:cubicBezTo>
                  <a:pt x="2298003" y="5096465"/>
                  <a:pt x="2296299" y="5095639"/>
                  <a:pt x="2294750" y="5096671"/>
                </a:cubicBezTo>
                <a:cubicBezTo>
                  <a:pt x="2293820" y="5095845"/>
                  <a:pt x="2292581" y="5094193"/>
                  <a:pt x="2294130" y="5092335"/>
                </a:cubicBezTo>
                <a:cubicBezTo>
                  <a:pt x="2294750" y="5091095"/>
                  <a:pt x="2295679" y="5090373"/>
                  <a:pt x="2296918" y="5090063"/>
                </a:cubicBezTo>
                <a:lnTo>
                  <a:pt x="2298467" y="5090166"/>
                </a:lnTo>
                <a:lnTo>
                  <a:pt x="2298003" y="5089650"/>
                </a:lnTo>
                <a:cubicBezTo>
                  <a:pt x="2298312" y="5088927"/>
                  <a:pt x="2297538" y="5088514"/>
                  <a:pt x="2298777" y="5088204"/>
                </a:cubicBezTo>
                <a:cubicBezTo>
                  <a:pt x="2297073" y="5085313"/>
                  <a:pt x="2298003" y="5077156"/>
                  <a:pt x="2300171" y="5074471"/>
                </a:cubicBezTo>
                <a:close/>
                <a:moveTo>
                  <a:pt x="2247817" y="5074471"/>
                </a:moveTo>
                <a:cubicBezTo>
                  <a:pt x="2249520" y="5075401"/>
                  <a:pt x="2250295" y="5076330"/>
                  <a:pt x="2252153" y="5077259"/>
                </a:cubicBezTo>
                <a:lnTo>
                  <a:pt x="2252618" y="5079634"/>
                </a:lnTo>
                <a:lnTo>
                  <a:pt x="2257420" y="5081492"/>
                </a:lnTo>
                <a:cubicBezTo>
                  <a:pt x="2258349" y="5082318"/>
                  <a:pt x="2260518" y="5085726"/>
                  <a:pt x="2259898" y="5086655"/>
                </a:cubicBezTo>
                <a:cubicBezTo>
                  <a:pt x="2259124" y="5087585"/>
                  <a:pt x="2258349" y="5087585"/>
                  <a:pt x="2257575" y="5087688"/>
                </a:cubicBezTo>
                <a:lnTo>
                  <a:pt x="2252618" y="5085519"/>
                </a:lnTo>
                <a:lnTo>
                  <a:pt x="2251689" y="5087688"/>
                </a:lnTo>
                <a:cubicBezTo>
                  <a:pt x="2250759" y="5088927"/>
                  <a:pt x="2249675" y="5089547"/>
                  <a:pt x="2248591" y="5089856"/>
                </a:cubicBezTo>
                <a:lnTo>
                  <a:pt x="2247507" y="5089856"/>
                </a:lnTo>
                <a:lnTo>
                  <a:pt x="2247661" y="5090785"/>
                </a:lnTo>
                <a:lnTo>
                  <a:pt x="2245028" y="5092231"/>
                </a:lnTo>
                <a:lnTo>
                  <a:pt x="2244099" y="5093780"/>
                </a:lnTo>
                <a:cubicBezTo>
                  <a:pt x="2242860" y="5094090"/>
                  <a:pt x="2241930" y="5094296"/>
                  <a:pt x="2241311" y="5094090"/>
                </a:cubicBezTo>
                <a:cubicBezTo>
                  <a:pt x="2240846" y="5093883"/>
                  <a:pt x="2240381" y="5093264"/>
                  <a:pt x="2240072" y="5092025"/>
                </a:cubicBezTo>
                <a:lnTo>
                  <a:pt x="2239916" y="5091508"/>
                </a:lnTo>
                <a:lnTo>
                  <a:pt x="2238367" y="5092231"/>
                </a:lnTo>
                <a:cubicBezTo>
                  <a:pt x="2238367" y="5091405"/>
                  <a:pt x="2238367" y="5090476"/>
                  <a:pt x="2237438" y="5090476"/>
                </a:cubicBezTo>
                <a:lnTo>
                  <a:pt x="2239142" y="5089134"/>
                </a:lnTo>
                <a:lnTo>
                  <a:pt x="2238987" y="5088411"/>
                </a:lnTo>
                <a:lnTo>
                  <a:pt x="2239142" y="5085623"/>
                </a:lnTo>
                <a:lnTo>
                  <a:pt x="2238987" y="5085313"/>
                </a:lnTo>
                <a:cubicBezTo>
                  <a:pt x="2238987" y="5085313"/>
                  <a:pt x="2235424" y="5080873"/>
                  <a:pt x="2238678" y="5076743"/>
                </a:cubicBezTo>
                <a:cubicBezTo>
                  <a:pt x="2239452" y="5077569"/>
                  <a:pt x="2244253" y="5072612"/>
                  <a:pt x="2247817" y="5074471"/>
                </a:cubicBezTo>
                <a:close/>
                <a:moveTo>
                  <a:pt x="2295834" y="5074161"/>
                </a:moveTo>
                <a:cubicBezTo>
                  <a:pt x="2296454" y="5074574"/>
                  <a:pt x="2296454" y="5074471"/>
                  <a:pt x="2296454" y="5074471"/>
                </a:cubicBezTo>
                <a:cubicBezTo>
                  <a:pt x="2294905" y="5076433"/>
                  <a:pt x="2295524" y="5080253"/>
                  <a:pt x="2294595" y="5083351"/>
                </a:cubicBezTo>
                <a:cubicBezTo>
                  <a:pt x="2294285" y="5084384"/>
                  <a:pt x="2293820" y="5085313"/>
                  <a:pt x="2293046" y="5086036"/>
                </a:cubicBezTo>
                <a:cubicBezTo>
                  <a:pt x="2293046" y="5086036"/>
                  <a:pt x="2293046" y="5086036"/>
                  <a:pt x="2293355" y="5085313"/>
                </a:cubicBezTo>
                <a:cubicBezTo>
                  <a:pt x="2293355" y="5085313"/>
                  <a:pt x="2293046" y="5086036"/>
                  <a:pt x="2292271" y="5085623"/>
                </a:cubicBezTo>
                <a:cubicBezTo>
                  <a:pt x="2291807" y="5080563"/>
                  <a:pt x="2295370" y="5074884"/>
                  <a:pt x="2295834" y="5074161"/>
                </a:cubicBezTo>
                <a:close/>
                <a:moveTo>
                  <a:pt x="2320617" y="5073439"/>
                </a:moveTo>
                <a:cubicBezTo>
                  <a:pt x="2320617" y="5074265"/>
                  <a:pt x="2319843" y="5076846"/>
                  <a:pt x="2320772" y="5076846"/>
                </a:cubicBezTo>
                <a:cubicBezTo>
                  <a:pt x="2318913" y="5078808"/>
                  <a:pt x="2316590" y="5080563"/>
                  <a:pt x="2314576" y="5080667"/>
                </a:cubicBezTo>
                <a:cubicBezTo>
                  <a:pt x="2313801" y="5080667"/>
                  <a:pt x="2313182" y="5080460"/>
                  <a:pt x="2312408" y="5079944"/>
                </a:cubicBezTo>
                <a:cubicBezTo>
                  <a:pt x="2310704" y="5079014"/>
                  <a:pt x="2311478" y="5077362"/>
                  <a:pt x="2313182" y="5075710"/>
                </a:cubicBezTo>
                <a:cubicBezTo>
                  <a:pt x="2315505" y="5071374"/>
                  <a:pt x="2317984" y="5070651"/>
                  <a:pt x="2320617" y="5073439"/>
                </a:cubicBezTo>
                <a:close/>
                <a:moveTo>
                  <a:pt x="2123745" y="5073026"/>
                </a:moveTo>
                <a:cubicBezTo>
                  <a:pt x="2126417" y="5073929"/>
                  <a:pt x="2128778" y="5075813"/>
                  <a:pt x="2129165" y="5077982"/>
                </a:cubicBezTo>
                <a:cubicBezTo>
                  <a:pt x="2128236" y="5080357"/>
                  <a:pt x="2127152" y="5082732"/>
                  <a:pt x="2126223" y="5085003"/>
                </a:cubicBezTo>
                <a:cubicBezTo>
                  <a:pt x="2124519" y="5086449"/>
                  <a:pt x="2122506" y="5086965"/>
                  <a:pt x="2120646" y="5086862"/>
                </a:cubicBezTo>
                <a:cubicBezTo>
                  <a:pt x="2118942" y="5086655"/>
                  <a:pt x="2117239" y="5085726"/>
                  <a:pt x="2116155" y="5084280"/>
                </a:cubicBezTo>
                <a:cubicBezTo>
                  <a:pt x="2115535" y="5083351"/>
                  <a:pt x="2114916" y="5082112"/>
                  <a:pt x="2114916" y="5080667"/>
                </a:cubicBezTo>
                <a:lnTo>
                  <a:pt x="2114916" y="5080460"/>
                </a:lnTo>
                <a:lnTo>
                  <a:pt x="2113676" y="5081389"/>
                </a:lnTo>
                <a:cubicBezTo>
                  <a:pt x="2113056" y="5081699"/>
                  <a:pt x="2112437" y="5081802"/>
                  <a:pt x="2111972" y="5081389"/>
                </a:cubicBezTo>
                <a:cubicBezTo>
                  <a:pt x="2111817" y="5080460"/>
                  <a:pt x="2111043" y="5080460"/>
                  <a:pt x="2111043" y="5079634"/>
                </a:cubicBezTo>
                <a:cubicBezTo>
                  <a:pt x="2109959" y="5077879"/>
                  <a:pt x="2109804" y="5077052"/>
                  <a:pt x="2110423" y="5076123"/>
                </a:cubicBezTo>
                <a:cubicBezTo>
                  <a:pt x="2110268" y="5075194"/>
                  <a:pt x="2111198" y="5075194"/>
                  <a:pt x="2111817" y="5074265"/>
                </a:cubicBezTo>
                <a:cubicBezTo>
                  <a:pt x="2112747" y="5074161"/>
                  <a:pt x="2113676" y="5074987"/>
                  <a:pt x="2113676" y="5074987"/>
                </a:cubicBezTo>
                <a:cubicBezTo>
                  <a:pt x="2114606" y="5075813"/>
                  <a:pt x="2114606" y="5075917"/>
                  <a:pt x="2115225" y="5074987"/>
                </a:cubicBezTo>
                <a:cubicBezTo>
                  <a:pt x="2115225" y="5074987"/>
                  <a:pt x="2115380" y="5075813"/>
                  <a:pt x="2115380" y="5075813"/>
                </a:cubicBezTo>
                <a:cubicBezTo>
                  <a:pt x="2115070" y="5075813"/>
                  <a:pt x="2115070" y="5075813"/>
                  <a:pt x="2115225" y="5075917"/>
                </a:cubicBezTo>
                <a:lnTo>
                  <a:pt x="2115844" y="5076330"/>
                </a:lnTo>
                <a:lnTo>
                  <a:pt x="2116464" y="5073955"/>
                </a:lnTo>
                <a:cubicBezTo>
                  <a:pt x="2118091" y="5072199"/>
                  <a:pt x="2121072" y="5072122"/>
                  <a:pt x="2123745" y="5073026"/>
                </a:cubicBezTo>
                <a:close/>
                <a:moveTo>
                  <a:pt x="2537317" y="5073025"/>
                </a:moveTo>
                <a:cubicBezTo>
                  <a:pt x="2540880" y="5073851"/>
                  <a:pt x="2543048" y="5075607"/>
                  <a:pt x="2543203" y="5078808"/>
                </a:cubicBezTo>
                <a:cubicBezTo>
                  <a:pt x="2542738" y="5081183"/>
                  <a:pt x="2542273" y="5084693"/>
                  <a:pt x="2539176" y="5084590"/>
                </a:cubicBezTo>
                <a:cubicBezTo>
                  <a:pt x="2538711" y="5083868"/>
                  <a:pt x="2537936" y="5084280"/>
                  <a:pt x="2537472" y="5083558"/>
                </a:cubicBezTo>
                <a:cubicBezTo>
                  <a:pt x="2537472" y="5083558"/>
                  <a:pt x="2536697" y="5083041"/>
                  <a:pt x="2535923" y="5082009"/>
                </a:cubicBezTo>
                <a:cubicBezTo>
                  <a:pt x="2535148" y="5080976"/>
                  <a:pt x="2534219" y="5079324"/>
                  <a:pt x="2534219" y="5077156"/>
                </a:cubicBezTo>
                <a:cubicBezTo>
                  <a:pt x="2534529" y="5075917"/>
                  <a:pt x="2535613" y="5073129"/>
                  <a:pt x="2536078" y="5073955"/>
                </a:cubicBezTo>
                <a:cubicBezTo>
                  <a:pt x="2537162" y="5074265"/>
                  <a:pt x="2536697" y="5073439"/>
                  <a:pt x="2537317" y="5073025"/>
                </a:cubicBezTo>
                <a:close/>
                <a:moveTo>
                  <a:pt x="1736503" y="5071993"/>
                </a:moveTo>
                <a:cubicBezTo>
                  <a:pt x="1737588" y="5072303"/>
                  <a:pt x="1738517" y="5073129"/>
                  <a:pt x="1739137" y="5074781"/>
                </a:cubicBezTo>
                <a:cubicBezTo>
                  <a:pt x="1740376" y="5079634"/>
                  <a:pt x="1736658" y="5081079"/>
                  <a:pt x="1732166" y="5082009"/>
                </a:cubicBezTo>
                <a:cubicBezTo>
                  <a:pt x="1731082" y="5080357"/>
                  <a:pt x="1729533" y="5079427"/>
                  <a:pt x="1728449" y="5077775"/>
                </a:cubicBezTo>
                <a:cubicBezTo>
                  <a:pt x="1728604" y="5074781"/>
                  <a:pt x="1733251" y="5070960"/>
                  <a:pt x="1736503" y="5071993"/>
                </a:cubicBezTo>
                <a:close/>
                <a:moveTo>
                  <a:pt x="2429199" y="5070857"/>
                </a:moveTo>
                <a:lnTo>
                  <a:pt x="2430129" y="5072716"/>
                </a:lnTo>
                <a:lnTo>
                  <a:pt x="2430748" y="5072922"/>
                </a:lnTo>
                <a:lnTo>
                  <a:pt x="2431997" y="5073982"/>
                </a:lnTo>
                <a:lnTo>
                  <a:pt x="2431482" y="5072172"/>
                </a:lnTo>
                <a:close/>
                <a:moveTo>
                  <a:pt x="2296918" y="5070341"/>
                </a:moveTo>
                <a:cubicBezTo>
                  <a:pt x="2296609" y="5070857"/>
                  <a:pt x="2296454" y="5071167"/>
                  <a:pt x="2296299" y="5071167"/>
                </a:cubicBezTo>
                <a:cubicBezTo>
                  <a:pt x="2296144" y="5071167"/>
                  <a:pt x="2295834" y="5070960"/>
                  <a:pt x="2295370" y="5070547"/>
                </a:cubicBezTo>
                <a:cubicBezTo>
                  <a:pt x="2295989" y="5069515"/>
                  <a:pt x="2296144" y="5070444"/>
                  <a:pt x="2296918" y="5070341"/>
                </a:cubicBezTo>
                <a:close/>
                <a:moveTo>
                  <a:pt x="2329601" y="5070238"/>
                </a:moveTo>
                <a:cubicBezTo>
                  <a:pt x="2329601" y="5071167"/>
                  <a:pt x="2330530" y="5073025"/>
                  <a:pt x="2329756" y="5072922"/>
                </a:cubicBezTo>
                <a:cubicBezTo>
                  <a:pt x="2329756" y="5073851"/>
                  <a:pt x="2328207" y="5073748"/>
                  <a:pt x="2328207" y="5073748"/>
                </a:cubicBezTo>
                <a:cubicBezTo>
                  <a:pt x="2328207" y="5074678"/>
                  <a:pt x="2328207" y="5075607"/>
                  <a:pt x="2327432" y="5076433"/>
                </a:cubicBezTo>
                <a:cubicBezTo>
                  <a:pt x="2326658" y="5075504"/>
                  <a:pt x="2326658" y="5076433"/>
                  <a:pt x="2325883" y="5076330"/>
                </a:cubicBezTo>
                <a:cubicBezTo>
                  <a:pt x="2326658" y="5075504"/>
                  <a:pt x="2326503" y="5072819"/>
                  <a:pt x="2327277" y="5071064"/>
                </a:cubicBezTo>
                <a:cubicBezTo>
                  <a:pt x="2328052" y="5071064"/>
                  <a:pt x="2328826" y="5070238"/>
                  <a:pt x="2329601" y="5070238"/>
                </a:cubicBezTo>
                <a:close/>
                <a:moveTo>
                  <a:pt x="1640158" y="5069515"/>
                </a:moveTo>
                <a:cubicBezTo>
                  <a:pt x="1640313" y="5070341"/>
                  <a:pt x="1639848" y="5073025"/>
                  <a:pt x="1640622" y="5072922"/>
                </a:cubicBezTo>
                <a:cubicBezTo>
                  <a:pt x="1639074" y="5074987"/>
                  <a:pt x="1637060" y="5077156"/>
                  <a:pt x="1634891" y="5077362"/>
                </a:cubicBezTo>
                <a:cubicBezTo>
                  <a:pt x="1634272" y="5077466"/>
                  <a:pt x="1633497" y="5077362"/>
                  <a:pt x="1632878" y="5076949"/>
                </a:cubicBezTo>
                <a:cubicBezTo>
                  <a:pt x="1631175" y="5076226"/>
                  <a:pt x="1631639" y="5074368"/>
                  <a:pt x="1633033" y="5072612"/>
                </a:cubicBezTo>
                <a:cubicBezTo>
                  <a:pt x="1634891" y="5068069"/>
                  <a:pt x="1637370" y="5067037"/>
                  <a:pt x="1640158" y="5069515"/>
                </a:cubicBezTo>
                <a:close/>
                <a:moveTo>
                  <a:pt x="2192674" y="5069412"/>
                </a:moveTo>
                <a:cubicBezTo>
                  <a:pt x="2197165" y="5072612"/>
                  <a:pt x="2193912" y="5076433"/>
                  <a:pt x="2194222" y="5082009"/>
                </a:cubicBezTo>
                <a:cubicBezTo>
                  <a:pt x="2189730" y="5081389"/>
                  <a:pt x="2187407" y="5074471"/>
                  <a:pt x="2189265" y="5071167"/>
                </a:cubicBezTo>
                <a:cubicBezTo>
                  <a:pt x="2189885" y="5070031"/>
                  <a:pt x="2190969" y="5069308"/>
                  <a:pt x="2192674" y="5069412"/>
                </a:cubicBezTo>
                <a:close/>
                <a:moveTo>
                  <a:pt x="2514218" y="5069334"/>
                </a:moveTo>
                <a:cubicBezTo>
                  <a:pt x="2516987" y="5069231"/>
                  <a:pt x="2519272" y="5069979"/>
                  <a:pt x="2520124" y="5069618"/>
                </a:cubicBezTo>
                <a:cubicBezTo>
                  <a:pt x="2521982" y="5071580"/>
                  <a:pt x="2522602" y="5072096"/>
                  <a:pt x="2521053" y="5074368"/>
                </a:cubicBezTo>
                <a:lnTo>
                  <a:pt x="2519349" y="5076536"/>
                </a:lnTo>
                <a:lnTo>
                  <a:pt x="2520743" y="5078395"/>
                </a:lnTo>
                <a:cubicBezTo>
                  <a:pt x="2519813" y="5079221"/>
                  <a:pt x="2519039" y="5080047"/>
                  <a:pt x="2518265" y="5080873"/>
                </a:cubicBezTo>
                <a:lnTo>
                  <a:pt x="2514857" y="5078911"/>
                </a:lnTo>
                <a:lnTo>
                  <a:pt x="2512224" y="5078705"/>
                </a:lnTo>
                <a:cubicBezTo>
                  <a:pt x="2510675" y="5079531"/>
                  <a:pt x="2508196" y="5079427"/>
                  <a:pt x="2506493" y="5078395"/>
                </a:cubicBezTo>
                <a:cubicBezTo>
                  <a:pt x="2504789" y="5076640"/>
                  <a:pt x="2504634" y="5074987"/>
                  <a:pt x="2505408" y="5074161"/>
                </a:cubicBezTo>
                <a:cubicBezTo>
                  <a:pt x="2508196" y="5070392"/>
                  <a:pt x="2511449" y="5069437"/>
                  <a:pt x="2514218" y="5069334"/>
                </a:cubicBezTo>
                <a:close/>
                <a:moveTo>
                  <a:pt x="1550163" y="5068999"/>
                </a:moveTo>
                <a:cubicBezTo>
                  <a:pt x="1553726" y="5067966"/>
                  <a:pt x="1554190" y="5070444"/>
                  <a:pt x="1556049" y="5073748"/>
                </a:cubicBezTo>
                <a:cubicBezTo>
                  <a:pt x="1554810" y="5074058"/>
                  <a:pt x="1555429" y="5077569"/>
                  <a:pt x="1555585" y="5078808"/>
                </a:cubicBezTo>
                <a:cubicBezTo>
                  <a:pt x="1553261" y="5079427"/>
                  <a:pt x="1553416" y="5083868"/>
                  <a:pt x="1549853" y="5084797"/>
                </a:cubicBezTo>
                <a:cubicBezTo>
                  <a:pt x="1548459" y="5083868"/>
                  <a:pt x="1547840" y="5083454"/>
                  <a:pt x="1546911" y="5081802"/>
                </a:cubicBezTo>
                <a:cubicBezTo>
                  <a:pt x="1545981" y="5072612"/>
                  <a:pt x="1550473" y="5070135"/>
                  <a:pt x="1550163" y="5068999"/>
                </a:cubicBezTo>
                <a:close/>
                <a:moveTo>
                  <a:pt x="1944839" y="5068792"/>
                </a:moveTo>
                <a:cubicBezTo>
                  <a:pt x="1948866" y="5068482"/>
                  <a:pt x="1951345" y="5069721"/>
                  <a:pt x="1952739" y="5071580"/>
                </a:cubicBezTo>
                <a:cubicBezTo>
                  <a:pt x="1956766" y="5077362"/>
                  <a:pt x="1950105" y="5089856"/>
                  <a:pt x="1940967" y="5089030"/>
                </a:cubicBezTo>
                <a:cubicBezTo>
                  <a:pt x="1939572" y="5087688"/>
                  <a:pt x="1938798" y="5086139"/>
                  <a:pt x="1938643" y="5084280"/>
                </a:cubicBezTo>
                <a:cubicBezTo>
                  <a:pt x="1938179" y="5081596"/>
                  <a:pt x="1938953" y="5078498"/>
                  <a:pt x="1940192" y="5075710"/>
                </a:cubicBezTo>
                <a:lnTo>
                  <a:pt x="1941276" y="5074161"/>
                </a:lnTo>
                <a:lnTo>
                  <a:pt x="1941431" y="5073439"/>
                </a:lnTo>
                <a:lnTo>
                  <a:pt x="1942361" y="5072612"/>
                </a:lnTo>
                <a:close/>
                <a:moveTo>
                  <a:pt x="1880713" y="5068689"/>
                </a:moveTo>
                <a:cubicBezTo>
                  <a:pt x="1882106" y="5070444"/>
                  <a:pt x="1881177" y="5072199"/>
                  <a:pt x="1880247" y="5073129"/>
                </a:cubicBezTo>
                <a:cubicBezTo>
                  <a:pt x="1879628" y="5074368"/>
                  <a:pt x="1878543" y="5074987"/>
                  <a:pt x="1877149" y="5075194"/>
                </a:cubicBezTo>
                <a:cubicBezTo>
                  <a:pt x="1875910" y="5075401"/>
                  <a:pt x="1874516" y="5075194"/>
                  <a:pt x="1873277" y="5074678"/>
                </a:cubicBezTo>
                <a:cubicBezTo>
                  <a:pt x="1874206" y="5074678"/>
                  <a:pt x="1874051" y="5074678"/>
                  <a:pt x="1874051" y="5074678"/>
                </a:cubicBezTo>
                <a:cubicBezTo>
                  <a:pt x="1875135" y="5073851"/>
                  <a:pt x="1874206" y="5073851"/>
                  <a:pt x="1874361" y="5072922"/>
                </a:cubicBezTo>
                <a:cubicBezTo>
                  <a:pt x="1874361" y="5072922"/>
                  <a:pt x="1874206" y="5073851"/>
                  <a:pt x="1873432" y="5072922"/>
                </a:cubicBezTo>
                <a:cubicBezTo>
                  <a:pt x="1874361" y="5072922"/>
                  <a:pt x="1874361" y="5072096"/>
                  <a:pt x="1874516" y="5071167"/>
                </a:cubicBezTo>
                <a:cubicBezTo>
                  <a:pt x="1876375" y="5069515"/>
                  <a:pt x="1879008" y="5067759"/>
                  <a:pt x="1880713" y="5068689"/>
                </a:cubicBezTo>
                <a:close/>
                <a:moveTo>
                  <a:pt x="2477624" y="5067617"/>
                </a:moveTo>
                <a:cubicBezTo>
                  <a:pt x="2482251" y="5066701"/>
                  <a:pt x="2487750" y="5067966"/>
                  <a:pt x="2488060" y="5071270"/>
                </a:cubicBezTo>
                <a:cubicBezTo>
                  <a:pt x="2488215" y="5073748"/>
                  <a:pt x="2485427" y="5077466"/>
                  <a:pt x="2476907" y="5082215"/>
                </a:cubicBezTo>
                <a:cubicBezTo>
                  <a:pt x="2474739" y="5080357"/>
                  <a:pt x="2473345" y="5078602"/>
                  <a:pt x="2472416" y="5077052"/>
                </a:cubicBezTo>
                <a:cubicBezTo>
                  <a:pt x="2469240" y="5071631"/>
                  <a:pt x="2472996" y="5068534"/>
                  <a:pt x="2477624" y="5067617"/>
                </a:cubicBezTo>
                <a:close/>
                <a:moveTo>
                  <a:pt x="2299241" y="5066417"/>
                </a:moveTo>
                <a:cubicBezTo>
                  <a:pt x="2299706" y="5067656"/>
                  <a:pt x="2299861" y="5069618"/>
                  <a:pt x="2300171" y="5070857"/>
                </a:cubicBezTo>
                <a:cubicBezTo>
                  <a:pt x="2300171" y="5070857"/>
                  <a:pt x="2300171" y="5070857"/>
                  <a:pt x="2299087" y="5071167"/>
                </a:cubicBezTo>
                <a:cubicBezTo>
                  <a:pt x="2299706" y="5069618"/>
                  <a:pt x="2297073" y="5067140"/>
                  <a:pt x="2299241" y="5066417"/>
                </a:cubicBezTo>
                <a:close/>
                <a:moveTo>
                  <a:pt x="1829906" y="5066004"/>
                </a:moveTo>
                <a:cubicBezTo>
                  <a:pt x="1831300" y="5068689"/>
                  <a:pt x="1832075" y="5069618"/>
                  <a:pt x="1830835" y="5072303"/>
                </a:cubicBezTo>
                <a:cubicBezTo>
                  <a:pt x="1830216" y="5071374"/>
                  <a:pt x="1829596" y="5070444"/>
                  <a:pt x="1829441" y="5069515"/>
                </a:cubicBezTo>
                <a:cubicBezTo>
                  <a:pt x="1829132" y="5068482"/>
                  <a:pt x="1829441" y="5067346"/>
                  <a:pt x="1829906" y="5066004"/>
                </a:cubicBezTo>
                <a:close/>
                <a:moveTo>
                  <a:pt x="1999207" y="5065591"/>
                </a:moveTo>
                <a:lnTo>
                  <a:pt x="2000912" y="5066417"/>
                </a:lnTo>
                <a:lnTo>
                  <a:pt x="2002460" y="5066727"/>
                </a:lnTo>
                <a:lnTo>
                  <a:pt x="2002460" y="5067450"/>
                </a:lnTo>
                <a:lnTo>
                  <a:pt x="2005249" y="5073129"/>
                </a:lnTo>
                <a:cubicBezTo>
                  <a:pt x="2005249" y="5074574"/>
                  <a:pt x="2004939" y="5076123"/>
                  <a:pt x="2003854" y="5077362"/>
                </a:cubicBezTo>
                <a:cubicBezTo>
                  <a:pt x="2002306" y="5078085"/>
                  <a:pt x="2000912" y="5078085"/>
                  <a:pt x="1999672" y="5077569"/>
                </a:cubicBezTo>
                <a:lnTo>
                  <a:pt x="1998123" y="5076226"/>
                </a:lnTo>
                <a:lnTo>
                  <a:pt x="1996265" y="5077569"/>
                </a:lnTo>
                <a:cubicBezTo>
                  <a:pt x="1994871" y="5078188"/>
                  <a:pt x="1993322" y="5078808"/>
                  <a:pt x="1991927" y="5080150"/>
                </a:cubicBezTo>
                <a:cubicBezTo>
                  <a:pt x="1990379" y="5078808"/>
                  <a:pt x="1989449" y="5077879"/>
                  <a:pt x="1989139" y="5076743"/>
                </a:cubicBezTo>
                <a:cubicBezTo>
                  <a:pt x="1988829" y="5075710"/>
                  <a:pt x="1989139" y="5074368"/>
                  <a:pt x="1990224" y="5072199"/>
                </a:cubicBezTo>
                <a:cubicBezTo>
                  <a:pt x="1990224" y="5072199"/>
                  <a:pt x="1991153" y="5071374"/>
                  <a:pt x="1991153" y="5071374"/>
                </a:cubicBezTo>
                <a:lnTo>
                  <a:pt x="1995490" y="5068276"/>
                </a:lnTo>
                <a:lnTo>
                  <a:pt x="1995800" y="5066004"/>
                </a:lnTo>
                <a:cubicBezTo>
                  <a:pt x="1997039" y="5065488"/>
                  <a:pt x="1998123" y="5065384"/>
                  <a:pt x="1999207" y="5065591"/>
                </a:cubicBezTo>
                <a:close/>
                <a:moveTo>
                  <a:pt x="1648833" y="5065384"/>
                </a:moveTo>
                <a:cubicBezTo>
                  <a:pt x="1648833" y="5066314"/>
                  <a:pt x="1649916" y="5068069"/>
                  <a:pt x="1649142" y="5068069"/>
                </a:cubicBezTo>
                <a:cubicBezTo>
                  <a:pt x="1649297" y="5068999"/>
                  <a:pt x="1647593" y="5069102"/>
                  <a:pt x="1647593" y="5069102"/>
                </a:cubicBezTo>
                <a:cubicBezTo>
                  <a:pt x="1647749" y="5070031"/>
                  <a:pt x="1647903" y="5070857"/>
                  <a:pt x="1647283" y="5071890"/>
                </a:cubicBezTo>
                <a:cubicBezTo>
                  <a:pt x="1646354" y="5070960"/>
                  <a:pt x="1646509" y="5071890"/>
                  <a:pt x="1645734" y="5071890"/>
                </a:cubicBezTo>
                <a:cubicBezTo>
                  <a:pt x="1646354" y="5070960"/>
                  <a:pt x="1645889" y="5068276"/>
                  <a:pt x="1646509" y="5066417"/>
                </a:cubicBezTo>
                <a:cubicBezTo>
                  <a:pt x="1647283" y="5066417"/>
                  <a:pt x="1647903" y="5065488"/>
                  <a:pt x="1648833" y="5065384"/>
                </a:cubicBezTo>
                <a:close/>
                <a:moveTo>
                  <a:pt x="2096541" y="5064984"/>
                </a:moveTo>
                <a:cubicBezTo>
                  <a:pt x="2099348" y="5063552"/>
                  <a:pt x="2102756" y="5063784"/>
                  <a:pt x="2104537" y="5066004"/>
                </a:cubicBezTo>
                <a:cubicBezTo>
                  <a:pt x="2105621" y="5067553"/>
                  <a:pt x="2106086" y="5069928"/>
                  <a:pt x="2105157" y="5073232"/>
                </a:cubicBezTo>
                <a:lnTo>
                  <a:pt x="2101749" y="5073748"/>
                </a:lnTo>
                <a:lnTo>
                  <a:pt x="2102059" y="5074987"/>
                </a:lnTo>
                <a:cubicBezTo>
                  <a:pt x="2102059" y="5075917"/>
                  <a:pt x="2101749" y="5076949"/>
                  <a:pt x="2101130" y="5078085"/>
                </a:cubicBezTo>
                <a:cubicBezTo>
                  <a:pt x="2099580" y="5077052"/>
                  <a:pt x="2097877" y="5076123"/>
                  <a:pt x="2096947" y="5074987"/>
                </a:cubicBezTo>
                <a:lnTo>
                  <a:pt x="2096792" y="5074574"/>
                </a:lnTo>
                <a:lnTo>
                  <a:pt x="2095243" y="5074884"/>
                </a:lnTo>
                <a:cubicBezTo>
                  <a:pt x="2094159" y="5074884"/>
                  <a:pt x="2093230" y="5074574"/>
                  <a:pt x="2092145" y="5073955"/>
                </a:cubicBezTo>
                <a:cubicBezTo>
                  <a:pt x="2091526" y="5069515"/>
                  <a:pt x="2093733" y="5066417"/>
                  <a:pt x="2096541" y="5064984"/>
                </a:cubicBezTo>
                <a:close/>
                <a:moveTo>
                  <a:pt x="2017795" y="5063526"/>
                </a:moveTo>
                <a:cubicBezTo>
                  <a:pt x="2019809" y="5066417"/>
                  <a:pt x="2021203" y="5068276"/>
                  <a:pt x="2021822" y="5070135"/>
                </a:cubicBezTo>
                <a:cubicBezTo>
                  <a:pt x="2020738" y="5071374"/>
                  <a:pt x="2019499" y="5071683"/>
                  <a:pt x="2018260" y="5071580"/>
                </a:cubicBezTo>
                <a:cubicBezTo>
                  <a:pt x="2017176" y="5071374"/>
                  <a:pt x="2016247" y="5070651"/>
                  <a:pt x="2015471" y="5069721"/>
                </a:cubicBezTo>
                <a:cubicBezTo>
                  <a:pt x="2014078" y="5067863"/>
                  <a:pt x="2014078" y="5064972"/>
                  <a:pt x="2017795" y="5063526"/>
                </a:cubicBezTo>
                <a:close/>
                <a:moveTo>
                  <a:pt x="2323560" y="5063319"/>
                </a:moveTo>
                <a:cubicBezTo>
                  <a:pt x="2324334" y="5062493"/>
                  <a:pt x="2325264" y="5062493"/>
                  <a:pt x="2326193" y="5063423"/>
                </a:cubicBezTo>
                <a:cubicBezTo>
                  <a:pt x="2326193" y="5063423"/>
                  <a:pt x="2325419" y="5065075"/>
                  <a:pt x="2325419" y="5065075"/>
                </a:cubicBezTo>
                <a:cubicBezTo>
                  <a:pt x="2323715" y="5066727"/>
                  <a:pt x="2322941" y="5067553"/>
                  <a:pt x="2322166" y="5069308"/>
                </a:cubicBezTo>
                <a:cubicBezTo>
                  <a:pt x="2320307" y="5068379"/>
                  <a:pt x="2320307" y="5067450"/>
                  <a:pt x="2321082" y="5066624"/>
                </a:cubicBezTo>
                <a:cubicBezTo>
                  <a:pt x="2321082" y="5066624"/>
                  <a:pt x="2322011" y="5065798"/>
                  <a:pt x="2322786" y="5064972"/>
                </a:cubicBezTo>
                <a:cubicBezTo>
                  <a:pt x="2323560" y="5064145"/>
                  <a:pt x="2323560" y="5063319"/>
                  <a:pt x="2323560" y="5063319"/>
                </a:cubicBezTo>
                <a:close/>
                <a:moveTo>
                  <a:pt x="2243169" y="5063319"/>
                </a:moveTo>
                <a:lnTo>
                  <a:pt x="2243944" y="5063732"/>
                </a:lnTo>
                <a:cubicBezTo>
                  <a:pt x="2244253" y="5064145"/>
                  <a:pt x="2244099" y="5064765"/>
                  <a:pt x="2243789" y="5065694"/>
                </a:cubicBezTo>
                <a:cubicBezTo>
                  <a:pt x="2242860" y="5068276"/>
                  <a:pt x="2240072" y="5072199"/>
                  <a:pt x="2239762" y="5072716"/>
                </a:cubicBezTo>
                <a:cubicBezTo>
                  <a:pt x="2239762" y="5072716"/>
                  <a:pt x="2239452" y="5073439"/>
                  <a:pt x="2238987" y="5074265"/>
                </a:cubicBezTo>
                <a:cubicBezTo>
                  <a:pt x="2237903" y="5074574"/>
                  <a:pt x="2237283" y="5074161"/>
                  <a:pt x="2236819" y="5074884"/>
                </a:cubicBezTo>
                <a:cubicBezTo>
                  <a:pt x="2235579" y="5071374"/>
                  <a:pt x="2237438" y="5069515"/>
                  <a:pt x="2239297" y="5067759"/>
                </a:cubicBezTo>
                <a:cubicBezTo>
                  <a:pt x="2240691" y="5066624"/>
                  <a:pt x="2241155" y="5065901"/>
                  <a:pt x="2241001" y="5063939"/>
                </a:cubicBezTo>
                <a:cubicBezTo>
                  <a:pt x="2241001" y="5063939"/>
                  <a:pt x="2241001" y="5063939"/>
                  <a:pt x="2243169" y="5063319"/>
                </a:cubicBezTo>
                <a:close/>
                <a:moveTo>
                  <a:pt x="2218851" y="5063216"/>
                </a:moveTo>
                <a:cubicBezTo>
                  <a:pt x="2220090" y="5063526"/>
                  <a:pt x="2221175" y="5063732"/>
                  <a:pt x="2220864" y="5064972"/>
                </a:cubicBezTo>
                <a:cubicBezTo>
                  <a:pt x="2220399" y="5066107"/>
                  <a:pt x="2220864" y="5066934"/>
                  <a:pt x="2218851" y="5067037"/>
                </a:cubicBezTo>
                <a:cubicBezTo>
                  <a:pt x="2218231" y="5067553"/>
                  <a:pt x="2217147" y="5067243"/>
                  <a:pt x="2216372" y="5067759"/>
                </a:cubicBezTo>
                <a:cubicBezTo>
                  <a:pt x="2216372" y="5067759"/>
                  <a:pt x="2215908" y="5067243"/>
                  <a:pt x="2215443" y="5066727"/>
                </a:cubicBezTo>
                <a:cubicBezTo>
                  <a:pt x="2214978" y="5066107"/>
                  <a:pt x="2214668" y="5065384"/>
                  <a:pt x="2214823" y="5064765"/>
                </a:cubicBezTo>
                <a:cubicBezTo>
                  <a:pt x="2214823" y="5062803"/>
                  <a:pt x="2218231" y="5063629"/>
                  <a:pt x="2218851" y="5063216"/>
                </a:cubicBezTo>
                <a:close/>
                <a:moveTo>
                  <a:pt x="2285766" y="5059706"/>
                </a:moveTo>
                <a:cubicBezTo>
                  <a:pt x="2280189" y="5067346"/>
                  <a:pt x="2274923" y="5062700"/>
                  <a:pt x="2271670" y="5066934"/>
                </a:cubicBezTo>
                <a:cubicBezTo>
                  <a:pt x="2270741" y="5065178"/>
                  <a:pt x="2270741" y="5065178"/>
                  <a:pt x="2271515" y="5063423"/>
                </a:cubicBezTo>
                <a:cubicBezTo>
                  <a:pt x="2272290" y="5063423"/>
                  <a:pt x="2272290" y="5062597"/>
                  <a:pt x="2273219" y="5063423"/>
                </a:cubicBezTo>
                <a:cubicBezTo>
                  <a:pt x="2274768" y="5060945"/>
                  <a:pt x="2282358" y="5058673"/>
                  <a:pt x="2285766" y="5059706"/>
                </a:cubicBezTo>
                <a:close/>
                <a:moveTo>
                  <a:pt x="2567522" y="5059086"/>
                </a:moveTo>
                <a:cubicBezTo>
                  <a:pt x="2569845" y="5057434"/>
                  <a:pt x="2578519" y="5063113"/>
                  <a:pt x="2573717" y="5067243"/>
                </a:cubicBezTo>
                <a:cubicBezTo>
                  <a:pt x="2573098" y="5067863"/>
                  <a:pt x="2572169" y="5067966"/>
                  <a:pt x="2571239" y="5067553"/>
                </a:cubicBezTo>
                <a:cubicBezTo>
                  <a:pt x="2568451" y="5066417"/>
                  <a:pt x="2565043" y="5061564"/>
                  <a:pt x="2567522" y="5059086"/>
                </a:cubicBezTo>
                <a:close/>
                <a:moveTo>
                  <a:pt x="1644805" y="5058879"/>
                </a:moveTo>
                <a:cubicBezTo>
                  <a:pt x="1644805" y="5058879"/>
                  <a:pt x="1644185" y="5060635"/>
                  <a:pt x="1644185" y="5060635"/>
                </a:cubicBezTo>
                <a:cubicBezTo>
                  <a:pt x="1642636" y="5062493"/>
                  <a:pt x="1641862" y="5063423"/>
                  <a:pt x="1641242" y="5065178"/>
                </a:cubicBezTo>
                <a:cubicBezTo>
                  <a:pt x="1639384" y="5064455"/>
                  <a:pt x="1639384" y="5063526"/>
                  <a:pt x="1640003" y="5062597"/>
                </a:cubicBezTo>
                <a:cubicBezTo>
                  <a:pt x="1640003" y="5062597"/>
                  <a:pt x="1640778" y="5061771"/>
                  <a:pt x="1641552" y="5060841"/>
                </a:cubicBezTo>
                <a:cubicBezTo>
                  <a:pt x="1642327" y="5059912"/>
                  <a:pt x="1642172" y="5058983"/>
                  <a:pt x="1642172" y="5058983"/>
                </a:cubicBezTo>
                <a:cubicBezTo>
                  <a:pt x="1642946" y="5058053"/>
                  <a:pt x="1643720" y="5058053"/>
                  <a:pt x="1644805" y="5058879"/>
                </a:cubicBezTo>
                <a:close/>
                <a:moveTo>
                  <a:pt x="1736658" y="5058260"/>
                </a:moveTo>
                <a:cubicBezTo>
                  <a:pt x="1738207" y="5060325"/>
                  <a:pt x="1738982" y="5061977"/>
                  <a:pt x="1740066" y="5064765"/>
                </a:cubicBezTo>
                <a:cubicBezTo>
                  <a:pt x="1740066" y="5064765"/>
                  <a:pt x="1740841" y="5069515"/>
                  <a:pt x="1738053" y="5070857"/>
                </a:cubicBezTo>
                <a:cubicBezTo>
                  <a:pt x="1737588" y="5071683"/>
                  <a:pt x="1734799" y="5069928"/>
                  <a:pt x="1734645" y="5068689"/>
                </a:cubicBezTo>
                <a:cubicBezTo>
                  <a:pt x="1734180" y="5066314"/>
                  <a:pt x="1734180" y="5065178"/>
                  <a:pt x="1735110" y="5063629"/>
                </a:cubicBezTo>
                <a:cubicBezTo>
                  <a:pt x="1734954" y="5062493"/>
                  <a:pt x="1734645" y="5061254"/>
                  <a:pt x="1734799" y="5060325"/>
                </a:cubicBezTo>
                <a:cubicBezTo>
                  <a:pt x="1734954" y="5059292"/>
                  <a:pt x="1735419" y="5058673"/>
                  <a:pt x="1736658" y="5058260"/>
                </a:cubicBezTo>
                <a:close/>
                <a:moveTo>
                  <a:pt x="2193448" y="5058157"/>
                </a:moveTo>
                <a:cubicBezTo>
                  <a:pt x="2195152" y="5060118"/>
                  <a:pt x="2196855" y="5062080"/>
                  <a:pt x="2195771" y="5066417"/>
                </a:cubicBezTo>
                <a:cubicBezTo>
                  <a:pt x="2194377" y="5067553"/>
                  <a:pt x="2192983" y="5068173"/>
                  <a:pt x="2191434" y="5068379"/>
                </a:cubicBezTo>
                <a:cubicBezTo>
                  <a:pt x="2189885" y="5068585"/>
                  <a:pt x="2188181" y="5068173"/>
                  <a:pt x="2186012" y="5067450"/>
                </a:cubicBezTo>
                <a:cubicBezTo>
                  <a:pt x="2184618" y="5063526"/>
                  <a:pt x="2188026" y="5056195"/>
                  <a:pt x="2193448" y="5058157"/>
                </a:cubicBezTo>
                <a:close/>
                <a:moveTo>
                  <a:pt x="1104217" y="5057640"/>
                </a:moveTo>
                <a:cubicBezTo>
                  <a:pt x="1105920" y="5058467"/>
                  <a:pt x="1108399" y="5057744"/>
                  <a:pt x="1109948" y="5059499"/>
                </a:cubicBezTo>
                <a:cubicBezTo>
                  <a:pt x="1109948" y="5059499"/>
                  <a:pt x="1110568" y="5060325"/>
                  <a:pt x="1110413" y="5062080"/>
                </a:cubicBezTo>
                <a:cubicBezTo>
                  <a:pt x="1111807" y="5064662"/>
                  <a:pt x="1109174" y="5067243"/>
                  <a:pt x="1109174" y="5067243"/>
                </a:cubicBezTo>
                <a:cubicBezTo>
                  <a:pt x="1109174" y="5067243"/>
                  <a:pt x="1109174" y="5067243"/>
                  <a:pt x="1109948" y="5067243"/>
                </a:cubicBezTo>
                <a:cubicBezTo>
                  <a:pt x="1108244" y="5067243"/>
                  <a:pt x="1106541" y="5068069"/>
                  <a:pt x="1104837" y="5068069"/>
                </a:cubicBezTo>
                <a:cubicBezTo>
                  <a:pt x="1103287" y="5066727"/>
                  <a:pt x="1102358" y="5065694"/>
                  <a:pt x="1101893" y="5064662"/>
                </a:cubicBezTo>
                <a:cubicBezTo>
                  <a:pt x="1100190" y="5061771"/>
                  <a:pt x="1102203" y="5060222"/>
                  <a:pt x="1104217" y="5057640"/>
                </a:cubicBezTo>
                <a:close/>
                <a:moveTo>
                  <a:pt x="2292271" y="5055782"/>
                </a:moveTo>
                <a:cubicBezTo>
                  <a:pt x="2291343" y="5056608"/>
                  <a:pt x="2289793" y="5057434"/>
                  <a:pt x="2288864" y="5058260"/>
                </a:cubicBezTo>
                <a:cubicBezTo>
                  <a:pt x="2288864" y="5058260"/>
                  <a:pt x="2288864" y="5058260"/>
                  <a:pt x="2288089" y="5057331"/>
                </a:cubicBezTo>
                <a:cubicBezTo>
                  <a:pt x="2289793" y="5057434"/>
                  <a:pt x="2290413" y="5053923"/>
                  <a:pt x="2292271" y="5055782"/>
                </a:cubicBezTo>
                <a:close/>
                <a:moveTo>
                  <a:pt x="2279008" y="5055098"/>
                </a:moveTo>
                <a:cubicBezTo>
                  <a:pt x="2281351" y="5055085"/>
                  <a:pt x="2283287" y="5055369"/>
                  <a:pt x="2283752" y="5055369"/>
                </a:cubicBezTo>
                <a:cubicBezTo>
                  <a:pt x="2283752" y="5056195"/>
                  <a:pt x="2283752" y="5056195"/>
                  <a:pt x="2283752" y="5056195"/>
                </a:cubicBezTo>
                <a:cubicBezTo>
                  <a:pt x="2281119" y="5055472"/>
                  <a:pt x="2278176" y="5057537"/>
                  <a:pt x="2275078" y="5057847"/>
                </a:cubicBezTo>
                <a:cubicBezTo>
                  <a:pt x="2274149" y="5057950"/>
                  <a:pt x="2273064" y="5057847"/>
                  <a:pt x="2271980" y="5057434"/>
                </a:cubicBezTo>
                <a:cubicBezTo>
                  <a:pt x="2271980" y="5057434"/>
                  <a:pt x="2271980" y="5057434"/>
                  <a:pt x="2272755" y="5057434"/>
                </a:cubicBezTo>
                <a:cubicBezTo>
                  <a:pt x="2272755" y="5057434"/>
                  <a:pt x="2271980" y="5057434"/>
                  <a:pt x="2271825" y="5056608"/>
                </a:cubicBezTo>
                <a:cubicBezTo>
                  <a:pt x="2273916" y="5055420"/>
                  <a:pt x="2276666" y="5055111"/>
                  <a:pt x="2279008" y="5055098"/>
                </a:cubicBezTo>
                <a:close/>
                <a:moveTo>
                  <a:pt x="1573553" y="5055059"/>
                </a:moveTo>
                <a:cubicBezTo>
                  <a:pt x="1576186" y="5058260"/>
                  <a:pt x="1574328" y="5063216"/>
                  <a:pt x="1569216" y="5062390"/>
                </a:cubicBezTo>
                <a:cubicBezTo>
                  <a:pt x="1569526" y="5058776"/>
                  <a:pt x="1569990" y="5054956"/>
                  <a:pt x="1573553" y="5055059"/>
                </a:cubicBezTo>
                <a:close/>
                <a:moveTo>
                  <a:pt x="2537472" y="5054852"/>
                </a:moveTo>
                <a:cubicBezTo>
                  <a:pt x="2541964" y="5057847"/>
                  <a:pt x="2541809" y="5065384"/>
                  <a:pt x="2536078" y="5066520"/>
                </a:cubicBezTo>
                <a:cubicBezTo>
                  <a:pt x="2534994" y="5064765"/>
                  <a:pt x="2533445" y="5063836"/>
                  <a:pt x="2532360" y="5062184"/>
                </a:cubicBezTo>
                <a:cubicBezTo>
                  <a:pt x="2533909" y="5059396"/>
                  <a:pt x="2532205" y="5055266"/>
                  <a:pt x="2537472" y="5054852"/>
                </a:cubicBezTo>
                <a:close/>
                <a:moveTo>
                  <a:pt x="1610573" y="5054749"/>
                </a:moveTo>
                <a:cubicBezTo>
                  <a:pt x="1609798" y="5055678"/>
                  <a:pt x="1608250" y="5056711"/>
                  <a:pt x="1607475" y="5057640"/>
                </a:cubicBezTo>
                <a:cubicBezTo>
                  <a:pt x="1607475" y="5057640"/>
                  <a:pt x="1607475" y="5057640"/>
                  <a:pt x="1606546" y="5056814"/>
                </a:cubicBezTo>
                <a:cubicBezTo>
                  <a:pt x="1608250" y="5056711"/>
                  <a:pt x="1608559" y="5053097"/>
                  <a:pt x="1610573" y="5054749"/>
                </a:cubicBezTo>
                <a:close/>
                <a:moveTo>
                  <a:pt x="2488524" y="5054646"/>
                </a:moveTo>
                <a:cubicBezTo>
                  <a:pt x="2490228" y="5056401"/>
                  <a:pt x="2491932" y="5055678"/>
                  <a:pt x="2493636" y="5057434"/>
                </a:cubicBezTo>
                <a:cubicBezTo>
                  <a:pt x="2492087" y="5059086"/>
                  <a:pt x="2491313" y="5060841"/>
                  <a:pt x="2490538" y="5061668"/>
                </a:cubicBezTo>
                <a:cubicBezTo>
                  <a:pt x="2486976" y="5059809"/>
                  <a:pt x="2486046" y="5057124"/>
                  <a:pt x="2488524" y="5054646"/>
                </a:cubicBezTo>
                <a:close/>
                <a:moveTo>
                  <a:pt x="2581462" y="5053820"/>
                </a:moveTo>
                <a:cubicBezTo>
                  <a:pt x="2586419" y="5052271"/>
                  <a:pt x="2591066" y="5057847"/>
                  <a:pt x="2587658" y="5063113"/>
                </a:cubicBezTo>
                <a:cubicBezTo>
                  <a:pt x="2585799" y="5062803"/>
                  <a:pt x="2584250" y="5063319"/>
                  <a:pt x="2582392" y="5063010"/>
                </a:cubicBezTo>
                <a:cubicBezTo>
                  <a:pt x="2582082" y="5061357"/>
                  <a:pt x="2580998" y="5060222"/>
                  <a:pt x="2580378" y="5058879"/>
                </a:cubicBezTo>
                <a:cubicBezTo>
                  <a:pt x="2579759" y="5057537"/>
                  <a:pt x="2579759" y="5056091"/>
                  <a:pt x="2581462" y="5053820"/>
                </a:cubicBezTo>
                <a:close/>
                <a:moveTo>
                  <a:pt x="2046393" y="5053394"/>
                </a:moveTo>
                <a:cubicBezTo>
                  <a:pt x="2047961" y="5052632"/>
                  <a:pt x="2049626" y="5053252"/>
                  <a:pt x="2049239" y="5057640"/>
                </a:cubicBezTo>
                <a:cubicBezTo>
                  <a:pt x="2047690" y="5058053"/>
                  <a:pt x="2046451" y="5058157"/>
                  <a:pt x="2045676" y="5058157"/>
                </a:cubicBezTo>
                <a:cubicBezTo>
                  <a:pt x="2044902" y="5058053"/>
                  <a:pt x="2044283" y="5057744"/>
                  <a:pt x="2044127" y="5057434"/>
                </a:cubicBezTo>
                <a:cubicBezTo>
                  <a:pt x="2043353" y="5056298"/>
                  <a:pt x="2044825" y="5054155"/>
                  <a:pt x="2046393" y="5053394"/>
                </a:cubicBezTo>
                <a:close/>
                <a:moveTo>
                  <a:pt x="2124519" y="5052271"/>
                </a:moveTo>
                <a:cubicBezTo>
                  <a:pt x="2131954" y="5052374"/>
                  <a:pt x="2144190" y="5052787"/>
                  <a:pt x="2149767" y="5057537"/>
                </a:cubicBezTo>
                <a:cubicBezTo>
                  <a:pt x="2148528" y="5059809"/>
                  <a:pt x="2146514" y="5060841"/>
                  <a:pt x="2144345" y="5061151"/>
                </a:cubicBezTo>
                <a:cubicBezTo>
                  <a:pt x="2137375" y="5062080"/>
                  <a:pt x="2127307" y="5055885"/>
                  <a:pt x="2124519" y="5052271"/>
                </a:cubicBezTo>
                <a:close/>
                <a:moveTo>
                  <a:pt x="1966834" y="5052168"/>
                </a:moveTo>
                <a:cubicBezTo>
                  <a:pt x="1976283" y="5053407"/>
                  <a:pt x="1977832" y="5061771"/>
                  <a:pt x="1979536" y="5062803"/>
                </a:cubicBezTo>
                <a:cubicBezTo>
                  <a:pt x="1979071" y="5065488"/>
                  <a:pt x="1979071" y="5066107"/>
                  <a:pt x="1976283" y="5065901"/>
                </a:cubicBezTo>
                <a:cubicBezTo>
                  <a:pt x="1975354" y="5065798"/>
                  <a:pt x="1974115" y="5065591"/>
                  <a:pt x="1972565" y="5065384"/>
                </a:cubicBezTo>
                <a:cubicBezTo>
                  <a:pt x="1971326" y="5065075"/>
                  <a:pt x="1970242" y="5064455"/>
                  <a:pt x="1969313" y="5063629"/>
                </a:cubicBezTo>
                <a:cubicBezTo>
                  <a:pt x="1968384" y="5062700"/>
                  <a:pt x="1967764" y="5061668"/>
                  <a:pt x="1967299" y="5060325"/>
                </a:cubicBezTo>
                <a:cubicBezTo>
                  <a:pt x="1965595" y="5059292"/>
                  <a:pt x="1964201" y="5057021"/>
                  <a:pt x="1963891" y="5055162"/>
                </a:cubicBezTo>
                <a:cubicBezTo>
                  <a:pt x="1964201" y="5052787"/>
                  <a:pt x="1965595" y="5051858"/>
                  <a:pt x="1966834" y="5052168"/>
                </a:cubicBezTo>
                <a:close/>
                <a:moveTo>
                  <a:pt x="1715438" y="5051135"/>
                </a:moveTo>
                <a:cubicBezTo>
                  <a:pt x="1716677" y="5050825"/>
                  <a:pt x="1719620" y="5050516"/>
                  <a:pt x="1720704" y="5053304"/>
                </a:cubicBezTo>
                <a:cubicBezTo>
                  <a:pt x="1721634" y="5056195"/>
                  <a:pt x="1724112" y="5056711"/>
                  <a:pt x="1725197" y="5059499"/>
                </a:cubicBezTo>
                <a:cubicBezTo>
                  <a:pt x="1725197" y="5059499"/>
                  <a:pt x="1725197" y="5059499"/>
                  <a:pt x="1723957" y="5059809"/>
                </a:cubicBezTo>
                <a:cubicBezTo>
                  <a:pt x="1721634" y="5056195"/>
                  <a:pt x="1717297" y="5055575"/>
                  <a:pt x="1715438" y="5051135"/>
                </a:cubicBezTo>
                <a:close/>
                <a:moveTo>
                  <a:pt x="2325109" y="5049586"/>
                </a:moveTo>
                <a:cubicBezTo>
                  <a:pt x="2325883" y="5050000"/>
                  <a:pt x="2327897" y="5052065"/>
                  <a:pt x="2328207" y="5051342"/>
                </a:cubicBezTo>
                <a:cubicBezTo>
                  <a:pt x="2329136" y="5054026"/>
                  <a:pt x="2329911" y="5057124"/>
                  <a:pt x="2329136" y="5059086"/>
                </a:cubicBezTo>
                <a:cubicBezTo>
                  <a:pt x="2328826" y="5059706"/>
                  <a:pt x="2328362" y="5060325"/>
                  <a:pt x="2327742" y="5060635"/>
                </a:cubicBezTo>
                <a:cubicBezTo>
                  <a:pt x="2326348" y="5061668"/>
                  <a:pt x="2325109" y="5060015"/>
                  <a:pt x="2324334" y="5057640"/>
                </a:cubicBezTo>
                <a:cubicBezTo>
                  <a:pt x="2321546" y="5053201"/>
                  <a:pt x="2321701" y="5050516"/>
                  <a:pt x="2325109" y="5049586"/>
                </a:cubicBezTo>
                <a:close/>
                <a:moveTo>
                  <a:pt x="2500819" y="5049147"/>
                </a:moveTo>
                <a:cubicBezTo>
                  <a:pt x="2501884" y="5049664"/>
                  <a:pt x="2502620" y="5050877"/>
                  <a:pt x="2502465" y="5052065"/>
                </a:cubicBezTo>
                <a:cubicBezTo>
                  <a:pt x="2502310" y="5052890"/>
                  <a:pt x="2501846" y="5053717"/>
                  <a:pt x="2500606" y="5054233"/>
                </a:cubicBezTo>
                <a:cubicBezTo>
                  <a:pt x="2499213" y="5053201"/>
                  <a:pt x="2498593" y="5052271"/>
                  <a:pt x="2497199" y="5050412"/>
                </a:cubicBezTo>
                <a:cubicBezTo>
                  <a:pt x="2498361" y="5048812"/>
                  <a:pt x="2499755" y="5048631"/>
                  <a:pt x="2500819" y="5049147"/>
                </a:cubicBezTo>
                <a:close/>
                <a:moveTo>
                  <a:pt x="1054185" y="5048038"/>
                </a:moveTo>
                <a:cubicBezTo>
                  <a:pt x="1054805" y="5048967"/>
                  <a:pt x="1055425" y="5050309"/>
                  <a:pt x="1055889" y="5051961"/>
                </a:cubicBezTo>
                <a:cubicBezTo>
                  <a:pt x="1052792" y="5055575"/>
                  <a:pt x="1048764" y="5061874"/>
                  <a:pt x="1043497" y="5062907"/>
                </a:cubicBezTo>
                <a:cubicBezTo>
                  <a:pt x="1041794" y="5063216"/>
                  <a:pt x="1039780" y="5062907"/>
                  <a:pt x="1037767" y="5061771"/>
                </a:cubicBezTo>
                <a:cubicBezTo>
                  <a:pt x="1037302" y="5052581"/>
                  <a:pt x="1049074" y="5041533"/>
                  <a:pt x="1054185" y="5048038"/>
                </a:cubicBezTo>
                <a:close/>
                <a:moveTo>
                  <a:pt x="1715593" y="5047934"/>
                </a:moveTo>
                <a:cubicBezTo>
                  <a:pt x="1716522" y="5049586"/>
                  <a:pt x="1705679" y="5054440"/>
                  <a:pt x="1702736" y="5055885"/>
                </a:cubicBezTo>
                <a:cubicBezTo>
                  <a:pt x="1702117" y="5055369"/>
                  <a:pt x="1702117" y="5055369"/>
                  <a:pt x="1702117" y="5055369"/>
                </a:cubicBezTo>
                <a:cubicBezTo>
                  <a:pt x="1701652" y="5054543"/>
                  <a:pt x="1701807" y="5053923"/>
                  <a:pt x="1702426" y="5053304"/>
                </a:cubicBezTo>
                <a:cubicBezTo>
                  <a:pt x="1703201" y="5052581"/>
                  <a:pt x="1704285" y="5051961"/>
                  <a:pt x="1705679" y="5051239"/>
                </a:cubicBezTo>
                <a:cubicBezTo>
                  <a:pt x="1708622" y="5049896"/>
                  <a:pt x="1712804" y="5049380"/>
                  <a:pt x="1713888" y="5048967"/>
                </a:cubicBezTo>
                <a:cubicBezTo>
                  <a:pt x="1715128" y="5048657"/>
                  <a:pt x="1715593" y="5047934"/>
                  <a:pt x="1715593" y="5047934"/>
                </a:cubicBezTo>
                <a:close/>
                <a:moveTo>
                  <a:pt x="1553571" y="5047728"/>
                </a:moveTo>
                <a:cubicBezTo>
                  <a:pt x="1555739" y="5050412"/>
                  <a:pt x="1554655" y="5053820"/>
                  <a:pt x="1556824" y="5057331"/>
                </a:cubicBezTo>
                <a:cubicBezTo>
                  <a:pt x="1554810" y="5059912"/>
                  <a:pt x="1556979" y="5064352"/>
                  <a:pt x="1554036" y="5067759"/>
                </a:cubicBezTo>
                <a:cubicBezTo>
                  <a:pt x="1552796" y="5066830"/>
                  <a:pt x="1552022" y="5065281"/>
                  <a:pt x="1551557" y="5063423"/>
                </a:cubicBezTo>
                <a:cubicBezTo>
                  <a:pt x="1550163" y="5057950"/>
                  <a:pt x="1551403" y="5049689"/>
                  <a:pt x="1553571" y="5047728"/>
                </a:cubicBezTo>
                <a:close/>
                <a:moveTo>
                  <a:pt x="1421948" y="5047134"/>
                </a:moveTo>
                <a:cubicBezTo>
                  <a:pt x="1427679" y="5045069"/>
                  <a:pt x="1433681" y="5045095"/>
                  <a:pt x="1435850" y="5049173"/>
                </a:cubicBezTo>
                <a:cubicBezTo>
                  <a:pt x="1426246" y="5051342"/>
                  <a:pt x="1420825" y="5057331"/>
                  <a:pt x="1409672" y="5057640"/>
                </a:cubicBezTo>
                <a:cubicBezTo>
                  <a:pt x="1410756" y="5053355"/>
                  <a:pt x="1416217" y="5049199"/>
                  <a:pt x="1421948" y="5047134"/>
                </a:cubicBezTo>
                <a:close/>
                <a:moveTo>
                  <a:pt x="2170833" y="5046076"/>
                </a:moveTo>
                <a:cubicBezTo>
                  <a:pt x="2171917" y="5045766"/>
                  <a:pt x="2175634" y="5045973"/>
                  <a:pt x="2176099" y="5047108"/>
                </a:cubicBezTo>
                <a:cubicBezTo>
                  <a:pt x="2176564" y="5048347"/>
                  <a:pt x="2176099" y="5049070"/>
                  <a:pt x="2175789" y="5049896"/>
                </a:cubicBezTo>
                <a:lnTo>
                  <a:pt x="2172227" y="5052478"/>
                </a:lnTo>
                <a:lnTo>
                  <a:pt x="2173931" y="5053201"/>
                </a:lnTo>
                <a:cubicBezTo>
                  <a:pt x="2175634" y="5054440"/>
                  <a:pt x="2176719" y="5055782"/>
                  <a:pt x="2176874" y="5056711"/>
                </a:cubicBezTo>
                <a:cubicBezTo>
                  <a:pt x="2176719" y="5058570"/>
                  <a:pt x="2175325" y="5060428"/>
                  <a:pt x="2173156" y="5060841"/>
                </a:cubicBezTo>
                <a:cubicBezTo>
                  <a:pt x="2172537" y="5061048"/>
                  <a:pt x="2171762" y="5060945"/>
                  <a:pt x="2170833" y="5060738"/>
                </a:cubicBezTo>
                <a:cubicBezTo>
                  <a:pt x="2167890" y="5060635"/>
                  <a:pt x="2165876" y="5057640"/>
                  <a:pt x="2162313" y="5056711"/>
                </a:cubicBezTo>
                <a:cubicBezTo>
                  <a:pt x="2162313" y="5054543"/>
                  <a:pt x="2162313" y="5053201"/>
                  <a:pt x="2162933" y="5052271"/>
                </a:cubicBezTo>
                <a:lnTo>
                  <a:pt x="2163553" y="5051961"/>
                </a:lnTo>
                <a:close/>
                <a:moveTo>
                  <a:pt x="2315970" y="5045559"/>
                </a:moveTo>
                <a:cubicBezTo>
                  <a:pt x="2314886" y="5047418"/>
                  <a:pt x="2312872" y="5050722"/>
                  <a:pt x="2310858" y="5051445"/>
                </a:cubicBezTo>
                <a:cubicBezTo>
                  <a:pt x="2310239" y="5051755"/>
                  <a:pt x="2309465" y="5051651"/>
                  <a:pt x="2308845" y="5051239"/>
                </a:cubicBezTo>
                <a:cubicBezTo>
                  <a:pt x="2308070" y="5050309"/>
                  <a:pt x="2308845" y="5049483"/>
                  <a:pt x="2308690" y="5048657"/>
                </a:cubicBezTo>
                <a:cubicBezTo>
                  <a:pt x="2309465" y="5047005"/>
                  <a:pt x="2315041" y="5044734"/>
                  <a:pt x="2315970" y="5045559"/>
                </a:cubicBezTo>
                <a:close/>
                <a:moveTo>
                  <a:pt x="1252917" y="5045559"/>
                </a:moveTo>
                <a:cubicBezTo>
                  <a:pt x="1257409" y="5045146"/>
                  <a:pt x="1257564" y="5048038"/>
                  <a:pt x="1257719" y="5050722"/>
                </a:cubicBezTo>
                <a:cubicBezTo>
                  <a:pt x="1255396" y="5050412"/>
                  <a:pt x="1254776" y="5052581"/>
                  <a:pt x="1253382" y="5052581"/>
                </a:cubicBezTo>
                <a:cubicBezTo>
                  <a:pt x="1252763" y="5052684"/>
                  <a:pt x="1252298" y="5052478"/>
                  <a:pt x="1251678" y="5051858"/>
                </a:cubicBezTo>
                <a:cubicBezTo>
                  <a:pt x="1251059" y="5050309"/>
                  <a:pt x="1251213" y="5048244"/>
                  <a:pt x="1252917" y="5045559"/>
                </a:cubicBezTo>
                <a:close/>
                <a:moveTo>
                  <a:pt x="2538866" y="5044734"/>
                </a:moveTo>
                <a:cubicBezTo>
                  <a:pt x="2540880" y="5041945"/>
                  <a:pt x="2547385" y="5043598"/>
                  <a:pt x="2549089" y="5047005"/>
                </a:cubicBezTo>
                <a:cubicBezTo>
                  <a:pt x="2546456" y="5046282"/>
                  <a:pt x="2544287" y="5046799"/>
                  <a:pt x="2542738" y="5046902"/>
                </a:cubicBezTo>
                <a:cubicBezTo>
                  <a:pt x="2541189" y="5047005"/>
                  <a:pt x="2539950" y="5046799"/>
                  <a:pt x="2538866" y="5044734"/>
                </a:cubicBezTo>
                <a:close/>
                <a:moveTo>
                  <a:pt x="1721634" y="5044320"/>
                </a:moveTo>
                <a:cubicBezTo>
                  <a:pt x="1721634" y="5044320"/>
                  <a:pt x="1722098" y="5043598"/>
                  <a:pt x="1723028" y="5046385"/>
                </a:cubicBezTo>
                <a:cubicBezTo>
                  <a:pt x="1721943" y="5046695"/>
                  <a:pt x="1718536" y="5047624"/>
                  <a:pt x="1718536" y="5047624"/>
                </a:cubicBezTo>
                <a:cubicBezTo>
                  <a:pt x="1718071" y="5048347"/>
                  <a:pt x="1717916" y="5048347"/>
                  <a:pt x="1716832" y="5048657"/>
                </a:cubicBezTo>
                <a:cubicBezTo>
                  <a:pt x="1716677" y="5047521"/>
                  <a:pt x="1716677" y="5047521"/>
                  <a:pt x="1717142" y="5046799"/>
                </a:cubicBezTo>
                <a:cubicBezTo>
                  <a:pt x="1718381" y="5046489"/>
                  <a:pt x="1719000" y="5046902"/>
                  <a:pt x="1720085" y="5046592"/>
                </a:cubicBezTo>
                <a:cubicBezTo>
                  <a:pt x="1719775" y="5044217"/>
                  <a:pt x="1719310" y="5044940"/>
                  <a:pt x="1720394" y="5044630"/>
                </a:cubicBezTo>
                <a:cubicBezTo>
                  <a:pt x="1720394" y="5044630"/>
                  <a:pt x="1720394" y="5044630"/>
                  <a:pt x="1721634" y="5044320"/>
                </a:cubicBezTo>
                <a:close/>
                <a:moveTo>
                  <a:pt x="2567831" y="5044217"/>
                </a:moveTo>
                <a:cubicBezTo>
                  <a:pt x="2568296" y="5044940"/>
                  <a:pt x="2569535" y="5045146"/>
                  <a:pt x="2570000" y="5045869"/>
                </a:cubicBezTo>
                <a:cubicBezTo>
                  <a:pt x="2569226" y="5046282"/>
                  <a:pt x="2568451" y="5048038"/>
                  <a:pt x="2567986" y="5047315"/>
                </a:cubicBezTo>
                <a:cubicBezTo>
                  <a:pt x="2567212" y="5047728"/>
                  <a:pt x="2566282" y="5046282"/>
                  <a:pt x="2566282" y="5046282"/>
                </a:cubicBezTo>
                <a:cubicBezTo>
                  <a:pt x="2565508" y="5046799"/>
                  <a:pt x="2564888" y="5047211"/>
                  <a:pt x="2563649" y="5046902"/>
                </a:cubicBezTo>
                <a:cubicBezTo>
                  <a:pt x="2563804" y="5045766"/>
                  <a:pt x="2563184" y="5046179"/>
                  <a:pt x="2562720" y="5045456"/>
                </a:cubicBezTo>
                <a:cubicBezTo>
                  <a:pt x="2563804" y="5045766"/>
                  <a:pt x="2565973" y="5044423"/>
                  <a:pt x="2567831" y="5044217"/>
                </a:cubicBezTo>
                <a:close/>
                <a:moveTo>
                  <a:pt x="1834553" y="5043701"/>
                </a:moveTo>
                <a:lnTo>
                  <a:pt x="1836256" y="5044837"/>
                </a:lnTo>
                <a:lnTo>
                  <a:pt x="1836567" y="5044837"/>
                </a:lnTo>
                <a:cubicBezTo>
                  <a:pt x="1839355" y="5047315"/>
                  <a:pt x="1839355" y="5047315"/>
                  <a:pt x="1835947" y="5052787"/>
                </a:cubicBezTo>
                <a:cubicBezTo>
                  <a:pt x="1835327" y="5053717"/>
                  <a:pt x="1834398" y="5054336"/>
                  <a:pt x="1833314" y="5054749"/>
                </a:cubicBezTo>
                <a:cubicBezTo>
                  <a:pt x="1832229" y="5055162"/>
                  <a:pt x="1830990" y="5055162"/>
                  <a:pt x="1829596" y="5054852"/>
                </a:cubicBezTo>
                <a:cubicBezTo>
                  <a:pt x="1828977" y="5055266"/>
                  <a:pt x="1827892" y="5055575"/>
                  <a:pt x="1826963" y="5055678"/>
                </a:cubicBezTo>
                <a:cubicBezTo>
                  <a:pt x="1825879" y="5055678"/>
                  <a:pt x="1824794" y="5055575"/>
                  <a:pt x="1823865" y="5055162"/>
                </a:cubicBezTo>
                <a:cubicBezTo>
                  <a:pt x="1822006" y="5053613"/>
                  <a:pt x="1821851" y="5051755"/>
                  <a:pt x="1822471" y="5050929"/>
                </a:cubicBezTo>
                <a:lnTo>
                  <a:pt x="1826344" y="5046799"/>
                </a:lnTo>
                <a:lnTo>
                  <a:pt x="1826189" y="5046076"/>
                </a:lnTo>
                <a:cubicBezTo>
                  <a:pt x="1826809" y="5043391"/>
                  <a:pt x="1831610" y="5042462"/>
                  <a:pt x="1834553" y="5043701"/>
                </a:cubicBezTo>
                <a:close/>
                <a:moveTo>
                  <a:pt x="2492242" y="5043184"/>
                </a:moveTo>
                <a:cubicBezTo>
                  <a:pt x="2494256" y="5044734"/>
                  <a:pt x="2493636" y="5047418"/>
                  <a:pt x="2492242" y="5049173"/>
                </a:cubicBezTo>
                <a:cubicBezTo>
                  <a:pt x="2491932" y="5050103"/>
                  <a:pt x="2491158" y="5050619"/>
                  <a:pt x="2490228" y="5050722"/>
                </a:cubicBezTo>
                <a:cubicBezTo>
                  <a:pt x="2489454" y="5050929"/>
                  <a:pt x="2488370" y="5050722"/>
                  <a:pt x="2487440" y="5050412"/>
                </a:cubicBezTo>
                <a:cubicBezTo>
                  <a:pt x="2486511" y="5049586"/>
                  <a:pt x="2486511" y="5049586"/>
                  <a:pt x="2485581" y="5048760"/>
                </a:cubicBezTo>
                <a:cubicBezTo>
                  <a:pt x="2485272" y="5047005"/>
                  <a:pt x="2484188" y="5045353"/>
                  <a:pt x="2484807" y="5043598"/>
                </a:cubicBezTo>
                <a:cubicBezTo>
                  <a:pt x="2486201" y="5041739"/>
                  <a:pt x="2490538" y="5042358"/>
                  <a:pt x="2492242" y="5043184"/>
                </a:cubicBezTo>
                <a:close/>
                <a:moveTo>
                  <a:pt x="1761403" y="5042487"/>
                </a:moveTo>
                <a:cubicBezTo>
                  <a:pt x="1763378" y="5042901"/>
                  <a:pt x="1764695" y="5044733"/>
                  <a:pt x="1765004" y="5046902"/>
                </a:cubicBezTo>
                <a:cubicBezTo>
                  <a:pt x="1765159" y="5048347"/>
                  <a:pt x="1764850" y="5049896"/>
                  <a:pt x="1764075" y="5051239"/>
                </a:cubicBezTo>
                <a:cubicBezTo>
                  <a:pt x="1762991" y="5053097"/>
                  <a:pt x="1760822" y="5054543"/>
                  <a:pt x="1757414" y="5054956"/>
                </a:cubicBezTo>
                <a:cubicBezTo>
                  <a:pt x="1756021" y="5053510"/>
                  <a:pt x="1755556" y="5052065"/>
                  <a:pt x="1755091" y="5050722"/>
                </a:cubicBezTo>
                <a:cubicBezTo>
                  <a:pt x="1754626" y="5049277"/>
                  <a:pt x="1754471" y="5048038"/>
                  <a:pt x="1753852" y="5046592"/>
                </a:cubicBezTo>
                <a:cubicBezTo>
                  <a:pt x="1756795" y="5043081"/>
                  <a:pt x="1759428" y="5042075"/>
                  <a:pt x="1761403" y="5042487"/>
                </a:cubicBezTo>
                <a:close/>
                <a:moveTo>
                  <a:pt x="992537" y="5041945"/>
                </a:moveTo>
                <a:cubicBezTo>
                  <a:pt x="994086" y="5043804"/>
                  <a:pt x="996255" y="5046385"/>
                  <a:pt x="994395" y="5048967"/>
                </a:cubicBezTo>
                <a:cubicBezTo>
                  <a:pt x="993621" y="5048967"/>
                  <a:pt x="993466" y="5049896"/>
                  <a:pt x="992692" y="5049896"/>
                </a:cubicBezTo>
                <a:cubicBezTo>
                  <a:pt x="992692" y="5049896"/>
                  <a:pt x="991762" y="5050309"/>
                  <a:pt x="990523" y="5050412"/>
                </a:cubicBezTo>
                <a:cubicBezTo>
                  <a:pt x="989283" y="5050412"/>
                  <a:pt x="987581" y="5050206"/>
                  <a:pt x="986186" y="5048864"/>
                </a:cubicBezTo>
                <a:cubicBezTo>
                  <a:pt x="985721" y="5048450"/>
                  <a:pt x="985257" y="5047521"/>
                  <a:pt x="984947" y="5046799"/>
                </a:cubicBezTo>
                <a:cubicBezTo>
                  <a:pt x="984637" y="5045973"/>
                  <a:pt x="984482" y="5045353"/>
                  <a:pt x="984792" y="5045353"/>
                </a:cubicBezTo>
                <a:cubicBezTo>
                  <a:pt x="985721" y="5044527"/>
                  <a:pt x="984947" y="5044423"/>
                  <a:pt x="984947" y="5043598"/>
                </a:cubicBezTo>
                <a:cubicBezTo>
                  <a:pt x="987735" y="5041016"/>
                  <a:pt x="990213" y="5040190"/>
                  <a:pt x="992537" y="5041945"/>
                </a:cubicBezTo>
                <a:close/>
                <a:moveTo>
                  <a:pt x="2257730" y="5040293"/>
                </a:moveTo>
                <a:cubicBezTo>
                  <a:pt x="2260982" y="5055988"/>
                  <a:pt x="2267643" y="5069928"/>
                  <a:pt x="2269811" y="5083041"/>
                </a:cubicBezTo>
                <a:cubicBezTo>
                  <a:pt x="2257265" y="5074987"/>
                  <a:pt x="2254322" y="5056917"/>
                  <a:pt x="2248745" y="5041945"/>
                </a:cubicBezTo>
                <a:cubicBezTo>
                  <a:pt x="2251689" y="5041842"/>
                  <a:pt x="2253083" y="5039571"/>
                  <a:pt x="2257730" y="5040293"/>
                </a:cubicBezTo>
                <a:close/>
                <a:moveTo>
                  <a:pt x="2166651" y="5040190"/>
                </a:moveTo>
                <a:cubicBezTo>
                  <a:pt x="2167735" y="5040603"/>
                  <a:pt x="2168510" y="5041533"/>
                  <a:pt x="2169439" y="5043288"/>
                </a:cubicBezTo>
                <a:cubicBezTo>
                  <a:pt x="2168044" y="5044734"/>
                  <a:pt x="2163863" y="5047211"/>
                  <a:pt x="2160300" y="5047728"/>
                </a:cubicBezTo>
                <a:cubicBezTo>
                  <a:pt x="2159216" y="5047934"/>
                  <a:pt x="2157976" y="5047831"/>
                  <a:pt x="2157047" y="5047418"/>
                </a:cubicBezTo>
                <a:cubicBezTo>
                  <a:pt x="2155963" y="5046902"/>
                  <a:pt x="2155188" y="5045662"/>
                  <a:pt x="2155034" y="5043701"/>
                </a:cubicBezTo>
                <a:cubicBezTo>
                  <a:pt x="2160145" y="5042668"/>
                  <a:pt x="2163863" y="5038951"/>
                  <a:pt x="2166651" y="5040190"/>
                </a:cubicBezTo>
                <a:close/>
                <a:moveTo>
                  <a:pt x="1119397" y="5039777"/>
                </a:moveTo>
                <a:cubicBezTo>
                  <a:pt x="1122495" y="5042462"/>
                  <a:pt x="1124353" y="5039880"/>
                  <a:pt x="1129000" y="5044320"/>
                </a:cubicBezTo>
                <a:cubicBezTo>
                  <a:pt x="1135197" y="5049586"/>
                  <a:pt x="1132873" y="5055678"/>
                  <a:pt x="1130085" y="5059086"/>
                </a:cubicBezTo>
                <a:cubicBezTo>
                  <a:pt x="1129465" y="5058467"/>
                  <a:pt x="1125438" y="5063113"/>
                  <a:pt x="1120636" y="5062803"/>
                </a:cubicBezTo>
                <a:cubicBezTo>
                  <a:pt x="1119087" y="5062700"/>
                  <a:pt x="1117383" y="5062080"/>
                  <a:pt x="1115679" y="5060532"/>
                </a:cubicBezTo>
                <a:cubicBezTo>
                  <a:pt x="1114595" y="5059706"/>
                  <a:pt x="1113820" y="5058673"/>
                  <a:pt x="1113046" y="5057640"/>
                </a:cubicBezTo>
                <a:cubicBezTo>
                  <a:pt x="1110877" y="5054336"/>
                  <a:pt x="1110568" y="5050103"/>
                  <a:pt x="1115524" y="5044940"/>
                </a:cubicBezTo>
                <a:cubicBezTo>
                  <a:pt x="1116454" y="5043184"/>
                  <a:pt x="1116454" y="5044114"/>
                  <a:pt x="1117383" y="5043184"/>
                </a:cubicBezTo>
                <a:cubicBezTo>
                  <a:pt x="1118312" y="5042358"/>
                  <a:pt x="1119242" y="5040706"/>
                  <a:pt x="1119397" y="5039777"/>
                </a:cubicBezTo>
                <a:close/>
                <a:moveTo>
                  <a:pt x="2325883" y="5039571"/>
                </a:moveTo>
                <a:cubicBezTo>
                  <a:pt x="2326658" y="5039983"/>
                  <a:pt x="2328517" y="5040087"/>
                  <a:pt x="2328207" y="5040810"/>
                </a:cubicBezTo>
                <a:cubicBezTo>
                  <a:pt x="2328981" y="5041222"/>
                  <a:pt x="2328362" y="5042772"/>
                  <a:pt x="2328362" y="5042772"/>
                </a:cubicBezTo>
                <a:cubicBezTo>
                  <a:pt x="2329136" y="5043184"/>
                  <a:pt x="2329911" y="5043598"/>
                  <a:pt x="2330376" y="5044837"/>
                </a:cubicBezTo>
                <a:cubicBezTo>
                  <a:pt x="2329291" y="5045146"/>
                  <a:pt x="2330066" y="5045559"/>
                  <a:pt x="2329756" y="5046282"/>
                </a:cubicBezTo>
                <a:cubicBezTo>
                  <a:pt x="2329291" y="5045146"/>
                  <a:pt x="2326813" y="5043804"/>
                  <a:pt x="2325574" y="5042152"/>
                </a:cubicBezTo>
                <a:cubicBezTo>
                  <a:pt x="2326038" y="5041429"/>
                  <a:pt x="2325419" y="5040293"/>
                  <a:pt x="2325883" y="5039571"/>
                </a:cubicBezTo>
                <a:close/>
                <a:moveTo>
                  <a:pt x="1655648" y="5039467"/>
                </a:moveTo>
                <a:cubicBezTo>
                  <a:pt x="1655958" y="5041842"/>
                  <a:pt x="1657816" y="5045146"/>
                  <a:pt x="1655183" y="5047728"/>
                </a:cubicBezTo>
                <a:cubicBezTo>
                  <a:pt x="1654873" y="5045973"/>
                  <a:pt x="1653944" y="5042565"/>
                  <a:pt x="1654563" y="5040706"/>
                </a:cubicBezTo>
                <a:cubicBezTo>
                  <a:pt x="1654719" y="5040087"/>
                  <a:pt x="1655028" y="5039674"/>
                  <a:pt x="1655648" y="5039467"/>
                </a:cubicBezTo>
                <a:close/>
                <a:moveTo>
                  <a:pt x="2318603" y="5039054"/>
                </a:moveTo>
                <a:cubicBezTo>
                  <a:pt x="2318603" y="5039054"/>
                  <a:pt x="2319843" y="5040603"/>
                  <a:pt x="2319843" y="5040603"/>
                </a:cubicBezTo>
                <a:cubicBezTo>
                  <a:pt x="2320617" y="5043081"/>
                  <a:pt x="2320927" y="5044320"/>
                  <a:pt x="2322166" y="5045869"/>
                </a:cubicBezTo>
                <a:cubicBezTo>
                  <a:pt x="2321391" y="5046489"/>
                  <a:pt x="2320927" y="5046695"/>
                  <a:pt x="2320462" y="5046592"/>
                </a:cubicBezTo>
                <a:cubicBezTo>
                  <a:pt x="2319998" y="5046489"/>
                  <a:pt x="2319687" y="5045973"/>
                  <a:pt x="2319533" y="5045353"/>
                </a:cubicBezTo>
                <a:cubicBezTo>
                  <a:pt x="2319533" y="5045353"/>
                  <a:pt x="2319068" y="5044217"/>
                  <a:pt x="2318758" y="5042978"/>
                </a:cubicBezTo>
                <a:cubicBezTo>
                  <a:pt x="2318294" y="5041842"/>
                  <a:pt x="2317519" y="5041326"/>
                  <a:pt x="2317519" y="5041326"/>
                </a:cubicBezTo>
                <a:cubicBezTo>
                  <a:pt x="2317209" y="5040087"/>
                  <a:pt x="2317519" y="5039364"/>
                  <a:pt x="2318603" y="5039054"/>
                </a:cubicBezTo>
                <a:close/>
                <a:moveTo>
                  <a:pt x="2299551" y="5038848"/>
                </a:moveTo>
                <a:cubicBezTo>
                  <a:pt x="2300635" y="5040913"/>
                  <a:pt x="2302649" y="5044527"/>
                  <a:pt x="2302649" y="5046799"/>
                </a:cubicBezTo>
                <a:cubicBezTo>
                  <a:pt x="2302494" y="5047521"/>
                  <a:pt x="2302339" y="5048141"/>
                  <a:pt x="2301565" y="5048450"/>
                </a:cubicBezTo>
                <a:cubicBezTo>
                  <a:pt x="2300480" y="5048864"/>
                  <a:pt x="2300171" y="5047624"/>
                  <a:pt x="2299396" y="5047211"/>
                </a:cubicBezTo>
                <a:cubicBezTo>
                  <a:pt x="2298312" y="5045662"/>
                  <a:pt x="2298467" y="5039157"/>
                  <a:pt x="2299551" y="5038848"/>
                </a:cubicBezTo>
                <a:close/>
                <a:moveTo>
                  <a:pt x="996255" y="5038744"/>
                </a:moveTo>
                <a:cubicBezTo>
                  <a:pt x="997028" y="5039571"/>
                  <a:pt x="997648" y="5041222"/>
                  <a:pt x="996719" y="5042049"/>
                </a:cubicBezTo>
                <a:cubicBezTo>
                  <a:pt x="996255" y="5042875"/>
                  <a:pt x="995790" y="5042875"/>
                  <a:pt x="995325" y="5042565"/>
                </a:cubicBezTo>
                <a:cubicBezTo>
                  <a:pt x="994860" y="5042255"/>
                  <a:pt x="994240" y="5041533"/>
                  <a:pt x="993466" y="5041119"/>
                </a:cubicBezTo>
                <a:close/>
                <a:moveTo>
                  <a:pt x="2567522" y="5036783"/>
                </a:moveTo>
                <a:cubicBezTo>
                  <a:pt x="2567522" y="5036783"/>
                  <a:pt x="2568761" y="5037092"/>
                  <a:pt x="2570000" y="5037402"/>
                </a:cubicBezTo>
                <a:cubicBezTo>
                  <a:pt x="2571239" y="5037712"/>
                  <a:pt x="2571859" y="5037299"/>
                  <a:pt x="2571859" y="5037299"/>
                </a:cubicBezTo>
                <a:cubicBezTo>
                  <a:pt x="2573098" y="5037609"/>
                  <a:pt x="2573563" y="5038332"/>
                  <a:pt x="2573408" y="5039571"/>
                </a:cubicBezTo>
                <a:cubicBezTo>
                  <a:pt x="2573408" y="5039571"/>
                  <a:pt x="2571549" y="5039674"/>
                  <a:pt x="2571549" y="5039674"/>
                </a:cubicBezTo>
                <a:cubicBezTo>
                  <a:pt x="2569226" y="5039054"/>
                  <a:pt x="2567986" y="5038744"/>
                  <a:pt x="2566128" y="5038848"/>
                </a:cubicBezTo>
                <a:cubicBezTo>
                  <a:pt x="2565818" y="5036886"/>
                  <a:pt x="2566437" y="5036473"/>
                  <a:pt x="2567522" y="5036783"/>
                </a:cubicBezTo>
                <a:close/>
                <a:moveTo>
                  <a:pt x="2053731" y="5036679"/>
                </a:moveTo>
                <a:cubicBezTo>
                  <a:pt x="2056364" y="5036473"/>
                  <a:pt x="2058068" y="5037092"/>
                  <a:pt x="2058997" y="5038641"/>
                </a:cubicBezTo>
                <a:lnTo>
                  <a:pt x="2059772" y="5044837"/>
                </a:lnTo>
                <a:lnTo>
                  <a:pt x="2063180" y="5044320"/>
                </a:lnTo>
                <a:cubicBezTo>
                  <a:pt x="2065348" y="5047418"/>
                  <a:pt x="2065813" y="5050206"/>
                  <a:pt x="2066433" y="5052065"/>
                </a:cubicBezTo>
                <a:cubicBezTo>
                  <a:pt x="2064574" y="5053407"/>
                  <a:pt x="2063490" y="5054852"/>
                  <a:pt x="2061631" y="5056195"/>
                </a:cubicBezTo>
                <a:cubicBezTo>
                  <a:pt x="2056519" y="5055885"/>
                  <a:pt x="2054661" y="5052374"/>
                  <a:pt x="2055125" y="5049173"/>
                </a:cubicBezTo>
                <a:lnTo>
                  <a:pt x="2057604" y="5045353"/>
                </a:lnTo>
                <a:lnTo>
                  <a:pt x="2056519" y="5045250"/>
                </a:lnTo>
                <a:cubicBezTo>
                  <a:pt x="2055745" y="5044734"/>
                  <a:pt x="2055280" y="5044011"/>
                  <a:pt x="2054970" y="5043184"/>
                </a:cubicBezTo>
                <a:cubicBezTo>
                  <a:pt x="2054506" y="5041326"/>
                  <a:pt x="2054351" y="5038848"/>
                  <a:pt x="2053731" y="5036679"/>
                </a:cubicBezTo>
                <a:close/>
                <a:moveTo>
                  <a:pt x="1598336" y="5036163"/>
                </a:moveTo>
                <a:cubicBezTo>
                  <a:pt x="1600814" y="5036163"/>
                  <a:pt x="1602518" y="5036266"/>
                  <a:pt x="1604067" y="5038022"/>
                </a:cubicBezTo>
                <a:cubicBezTo>
                  <a:pt x="1606236" y="5040603"/>
                  <a:pt x="1607475" y="5046695"/>
                  <a:pt x="1604686" y="5049173"/>
                </a:cubicBezTo>
                <a:cubicBezTo>
                  <a:pt x="1601744" y="5052581"/>
                  <a:pt x="1599111" y="5053407"/>
                  <a:pt x="1596632" y="5053407"/>
                </a:cubicBezTo>
                <a:cubicBezTo>
                  <a:pt x="1596632" y="5053407"/>
                  <a:pt x="1596632" y="5053407"/>
                  <a:pt x="1597407" y="5053510"/>
                </a:cubicBezTo>
                <a:lnTo>
                  <a:pt x="1598956" y="5055369"/>
                </a:lnTo>
                <a:lnTo>
                  <a:pt x="1600505" y="5055266"/>
                </a:lnTo>
                <a:cubicBezTo>
                  <a:pt x="1601280" y="5055266"/>
                  <a:pt x="1601898" y="5055266"/>
                  <a:pt x="1602053" y="5055266"/>
                </a:cubicBezTo>
                <a:cubicBezTo>
                  <a:pt x="1602208" y="5056091"/>
                  <a:pt x="1602208" y="5056091"/>
                  <a:pt x="1602208" y="5056091"/>
                </a:cubicBezTo>
                <a:lnTo>
                  <a:pt x="1600040" y="5056608"/>
                </a:lnTo>
                <a:lnTo>
                  <a:pt x="1602363" y="5059706"/>
                </a:lnTo>
                <a:lnTo>
                  <a:pt x="1604377" y="5059292"/>
                </a:lnTo>
                <a:lnTo>
                  <a:pt x="1603138" y="5060841"/>
                </a:lnTo>
                <a:lnTo>
                  <a:pt x="1604377" y="5063216"/>
                </a:lnTo>
                <a:cubicBezTo>
                  <a:pt x="1604686" y="5064249"/>
                  <a:pt x="1604841" y="5065075"/>
                  <a:pt x="1604686" y="5065694"/>
                </a:cubicBezTo>
                <a:cubicBezTo>
                  <a:pt x="1603758" y="5065694"/>
                  <a:pt x="1602983" y="5065694"/>
                  <a:pt x="1602208" y="5064869"/>
                </a:cubicBezTo>
                <a:cubicBezTo>
                  <a:pt x="1601434" y="5063939"/>
                  <a:pt x="1602363" y="5063939"/>
                  <a:pt x="1601434" y="5063939"/>
                </a:cubicBezTo>
                <a:cubicBezTo>
                  <a:pt x="1600659" y="5063010"/>
                  <a:pt x="1600659" y="5063939"/>
                  <a:pt x="1600659" y="5063939"/>
                </a:cubicBezTo>
                <a:lnTo>
                  <a:pt x="1600659" y="5063629"/>
                </a:lnTo>
                <a:lnTo>
                  <a:pt x="1597097" y="5065075"/>
                </a:lnTo>
                <a:cubicBezTo>
                  <a:pt x="1594774" y="5065694"/>
                  <a:pt x="1592760" y="5065798"/>
                  <a:pt x="1591366" y="5068069"/>
                </a:cubicBezTo>
                <a:cubicBezTo>
                  <a:pt x="1590282" y="5066417"/>
                  <a:pt x="1590282" y="5066417"/>
                  <a:pt x="1590901" y="5064558"/>
                </a:cubicBezTo>
                <a:cubicBezTo>
                  <a:pt x="1591675" y="5064558"/>
                  <a:pt x="1591675" y="5063629"/>
                  <a:pt x="1592605" y="5064455"/>
                </a:cubicBezTo>
                <a:cubicBezTo>
                  <a:pt x="1593225" y="5063113"/>
                  <a:pt x="1595238" y="5061668"/>
                  <a:pt x="1597717" y="5060635"/>
                </a:cubicBezTo>
                <a:lnTo>
                  <a:pt x="1598026" y="5060532"/>
                </a:lnTo>
                <a:lnTo>
                  <a:pt x="1596477" y="5059602"/>
                </a:lnTo>
                <a:cubicBezTo>
                  <a:pt x="1595858" y="5059292"/>
                  <a:pt x="1595238" y="5058983"/>
                  <a:pt x="1594464" y="5058570"/>
                </a:cubicBezTo>
                <a:lnTo>
                  <a:pt x="1594309" y="5058467"/>
                </a:lnTo>
                <a:lnTo>
                  <a:pt x="1593844" y="5058673"/>
                </a:lnTo>
                <a:cubicBezTo>
                  <a:pt x="1592760" y="5058879"/>
                  <a:pt x="1591830" y="5058879"/>
                  <a:pt x="1590746" y="5058467"/>
                </a:cubicBezTo>
                <a:cubicBezTo>
                  <a:pt x="1590746" y="5058467"/>
                  <a:pt x="1590746" y="5058467"/>
                  <a:pt x="1591521" y="5058467"/>
                </a:cubicBezTo>
                <a:cubicBezTo>
                  <a:pt x="1591521" y="5058467"/>
                  <a:pt x="1590746" y="5058467"/>
                  <a:pt x="1590591" y="5057640"/>
                </a:cubicBezTo>
                <a:lnTo>
                  <a:pt x="1593225" y="5056814"/>
                </a:lnTo>
                <a:lnTo>
                  <a:pt x="1592915" y="5056298"/>
                </a:lnTo>
                <a:cubicBezTo>
                  <a:pt x="1592605" y="5055575"/>
                  <a:pt x="1592295" y="5054646"/>
                  <a:pt x="1591521" y="5053304"/>
                </a:cubicBezTo>
                <a:cubicBezTo>
                  <a:pt x="1592605" y="5051651"/>
                  <a:pt x="1592605" y="5051651"/>
                  <a:pt x="1593379" y="5051651"/>
                </a:cubicBezTo>
                <a:cubicBezTo>
                  <a:pt x="1592605" y="5051651"/>
                  <a:pt x="1592605" y="5050722"/>
                  <a:pt x="1591985" y="5049896"/>
                </a:cubicBezTo>
                <a:cubicBezTo>
                  <a:pt x="1587958" y="5047211"/>
                  <a:pt x="1590127" y="5042875"/>
                  <a:pt x="1593844" y="5038641"/>
                </a:cubicBezTo>
                <a:cubicBezTo>
                  <a:pt x="1594618" y="5039467"/>
                  <a:pt x="1596632" y="5036989"/>
                  <a:pt x="1598336" y="5036163"/>
                </a:cubicBezTo>
                <a:close/>
                <a:moveTo>
                  <a:pt x="1005858" y="5035234"/>
                </a:moveTo>
                <a:cubicBezTo>
                  <a:pt x="1006632" y="5035337"/>
                  <a:pt x="1006477" y="5036163"/>
                  <a:pt x="1007252" y="5036989"/>
                </a:cubicBezTo>
                <a:cubicBezTo>
                  <a:pt x="1008026" y="5038744"/>
                  <a:pt x="1007717" y="5041222"/>
                  <a:pt x="1006787" y="5042152"/>
                </a:cubicBezTo>
                <a:cubicBezTo>
                  <a:pt x="1005858" y="5042978"/>
                  <a:pt x="1005084" y="5042978"/>
                  <a:pt x="1005084" y="5042978"/>
                </a:cubicBezTo>
                <a:cubicBezTo>
                  <a:pt x="1003844" y="5042049"/>
                  <a:pt x="1002915" y="5041016"/>
                  <a:pt x="1002605" y="5039777"/>
                </a:cubicBezTo>
                <a:cubicBezTo>
                  <a:pt x="1002295" y="5038641"/>
                  <a:pt x="1002760" y="5037402"/>
                  <a:pt x="1003999" y="5036163"/>
                </a:cubicBezTo>
                <a:cubicBezTo>
                  <a:pt x="1004928" y="5035234"/>
                  <a:pt x="1005858" y="5034408"/>
                  <a:pt x="1005858" y="5035234"/>
                </a:cubicBezTo>
                <a:close/>
                <a:moveTo>
                  <a:pt x="2147753" y="5034821"/>
                </a:moveTo>
                <a:cubicBezTo>
                  <a:pt x="2149457" y="5035956"/>
                  <a:pt x="2150851" y="5038125"/>
                  <a:pt x="2151316" y="5041533"/>
                </a:cubicBezTo>
                <a:cubicBezTo>
                  <a:pt x="2146979" y="5042358"/>
                  <a:pt x="2145120" y="5044940"/>
                  <a:pt x="2142332" y="5045456"/>
                </a:cubicBezTo>
                <a:cubicBezTo>
                  <a:pt x="2141402" y="5045662"/>
                  <a:pt x="2140318" y="5045662"/>
                  <a:pt x="2139079" y="5045250"/>
                </a:cubicBezTo>
                <a:cubicBezTo>
                  <a:pt x="2134432" y="5037092"/>
                  <a:pt x="2142797" y="5031413"/>
                  <a:pt x="2147753" y="5034821"/>
                </a:cubicBezTo>
                <a:close/>
                <a:moveTo>
                  <a:pt x="1402702" y="5034408"/>
                </a:moveTo>
                <a:cubicBezTo>
                  <a:pt x="1407504" y="5035027"/>
                  <a:pt x="1409363" y="5041429"/>
                  <a:pt x="1406110" y="5044114"/>
                </a:cubicBezTo>
                <a:cubicBezTo>
                  <a:pt x="1405490" y="5044011"/>
                  <a:pt x="1404871" y="5044114"/>
                  <a:pt x="1403942" y="5044011"/>
                </a:cubicBezTo>
                <a:cubicBezTo>
                  <a:pt x="1403167" y="5044011"/>
                  <a:pt x="1402237" y="5043907"/>
                  <a:pt x="1401463" y="5043494"/>
                </a:cubicBezTo>
                <a:cubicBezTo>
                  <a:pt x="1399294" y="5039467"/>
                  <a:pt x="1400069" y="5036473"/>
                  <a:pt x="1402702" y="5034408"/>
                </a:cubicBezTo>
                <a:close/>
                <a:moveTo>
                  <a:pt x="2555285" y="5034098"/>
                </a:moveTo>
                <a:cubicBezTo>
                  <a:pt x="2560241" y="5034098"/>
                  <a:pt x="2562410" y="5035853"/>
                  <a:pt x="2561791" y="5039467"/>
                </a:cubicBezTo>
                <a:cubicBezTo>
                  <a:pt x="2561171" y="5039880"/>
                  <a:pt x="2558538" y="5040500"/>
                  <a:pt x="2559003" y="5041222"/>
                </a:cubicBezTo>
                <a:cubicBezTo>
                  <a:pt x="2556369" y="5040603"/>
                  <a:pt x="2553581" y="5039571"/>
                  <a:pt x="2552187" y="5037712"/>
                </a:cubicBezTo>
                <a:cubicBezTo>
                  <a:pt x="2551722" y="5037092"/>
                  <a:pt x="2551413" y="5036370"/>
                  <a:pt x="2551413" y="5035647"/>
                </a:cubicBezTo>
                <a:cubicBezTo>
                  <a:pt x="2551103" y="5033685"/>
                  <a:pt x="2552961" y="5033478"/>
                  <a:pt x="2555285" y="5034098"/>
                </a:cubicBezTo>
                <a:close/>
                <a:moveTo>
                  <a:pt x="2087344" y="5033995"/>
                </a:moveTo>
                <a:cubicBezTo>
                  <a:pt x="2090441" y="5035234"/>
                  <a:pt x="2093230" y="5035234"/>
                  <a:pt x="2095243" y="5035750"/>
                </a:cubicBezTo>
                <a:lnTo>
                  <a:pt x="2096483" y="5036473"/>
                </a:lnTo>
                <a:lnTo>
                  <a:pt x="2098961" y="5036576"/>
                </a:lnTo>
                <a:cubicBezTo>
                  <a:pt x="2100975" y="5037299"/>
                  <a:pt x="2102833" y="5038538"/>
                  <a:pt x="2103453" y="5040293"/>
                </a:cubicBezTo>
                <a:cubicBezTo>
                  <a:pt x="2105466" y="5044320"/>
                  <a:pt x="2105002" y="5047005"/>
                  <a:pt x="2104073" y="5049380"/>
                </a:cubicBezTo>
                <a:cubicBezTo>
                  <a:pt x="2104073" y="5049380"/>
                  <a:pt x="2104073" y="5049277"/>
                  <a:pt x="2104382" y="5048554"/>
                </a:cubicBezTo>
                <a:cubicBezTo>
                  <a:pt x="2108874" y="5047211"/>
                  <a:pt x="2116619" y="5044940"/>
                  <a:pt x="2118478" y="5046902"/>
                </a:cubicBezTo>
                <a:cubicBezTo>
                  <a:pt x="2118168" y="5047728"/>
                  <a:pt x="2117703" y="5048450"/>
                  <a:pt x="2116619" y="5048864"/>
                </a:cubicBezTo>
                <a:cubicBezTo>
                  <a:pt x="2115535" y="5049173"/>
                  <a:pt x="2115844" y="5048347"/>
                  <a:pt x="2115535" y="5049173"/>
                </a:cubicBezTo>
                <a:cubicBezTo>
                  <a:pt x="2114451" y="5049483"/>
                  <a:pt x="2115225" y="5049896"/>
                  <a:pt x="2115225" y="5049896"/>
                </a:cubicBezTo>
                <a:cubicBezTo>
                  <a:pt x="2115225" y="5049896"/>
                  <a:pt x="2114451" y="5049483"/>
                  <a:pt x="2114451" y="5049483"/>
                </a:cubicBezTo>
                <a:cubicBezTo>
                  <a:pt x="2114451" y="5049483"/>
                  <a:pt x="2114451" y="5049483"/>
                  <a:pt x="2112282" y="5050206"/>
                </a:cubicBezTo>
                <a:cubicBezTo>
                  <a:pt x="2109649" y="5051651"/>
                  <a:pt x="2109339" y="5052374"/>
                  <a:pt x="2107790" y="5053510"/>
                </a:cubicBezTo>
                <a:cubicBezTo>
                  <a:pt x="2105621" y="5054129"/>
                  <a:pt x="2104848" y="5053717"/>
                  <a:pt x="2101904" y="5053923"/>
                </a:cubicBezTo>
                <a:cubicBezTo>
                  <a:pt x="2100665" y="5052271"/>
                  <a:pt x="2100819" y="5052271"/>
                  <a:pt x="2101130" y="5051548"/>
                </a:cubicBezTo>
                <a:cubicBezTo>
                  <a:pt x="2100819" y="5052271"/>
                  <a:pt x="2099891" y="5051858"/>
                  <a:pt x="2098806" y="5052168"/>
                </a:cubicBezTo>
                <a:cubicBezTo>
                  <a:pt x="2094779" y="5054749"/>
                  <a:pt x="2091836" y="5051032"/>
                  <a:pt x="2089357" y="5045869"/>
                </a:cubicBezTo>
                <a:cubicBezTo>
                  <a:pt x="2090597" y="5045559"/>
                  <a:pt x="2088893" y="5042668"/>
                  <a:pt x="2088893" y="5040706"/>
                </a:cubicBezTo>
                <a:lnTo>
                  <a:pt x="2089202" y="5040190"/>
                </a:lnTo>
                <a:lnTo>
                  <a:pt x="2085795" y="5039364"/>
                </a:lnTo>
                <a:cubicBezTo>
                  <a:pt x="2086724" y="5037092"/>
                  <a:pt x="2087189" y="5035956"/>
                  <a:pt x="2087344" y="5033995"/>
                </a:cubicBezTo>
                <a:close/>
                <a:moveTo>
                  <a:pt x="1710791" y="5029968"/>
                </a:moveTo>
                <a:cubicBezTo>
                  <a:pt x="1716987" y="5027593"/>
                  <a:pt x="1720704" y="5038435"/>
                  <a:pt x="1722253" y="5040397"/>
                </a:cubicBezTo>
                <a:cubicBezTo>
                  <a:pt x="1722253" y="5040397"/>
                  <a:pt x="1722873" y="5040913"/>
                  <a:pt x="1723028" y="5042049"/>
                </a:cubicBezTo>
                <a:cubicBezTo>
                  <a:pt x="1723957" y="5043701"/>
                  <a:pt x="1721478" y="5043081"/>
                  <a:pt x="1721634" y="5044320"/>
                </a:cubicBezTo>
                <a:cubicBezTo>
                  <a:pt x="1717142" y="5039364"/>
                  <a:pt x="1711410" y="5037815"/>
                  <a:pt x="1711410" y="5037815"/>
                </a:cubicBezTo>
                <a:cubicBezTo>
                  <a:pt x="1710636" y="5036163"/>
                  <a:pt x="1711100" y="5035440"/>
                  <a:pt x="1710636" y="5036163"/>
                </a:cubicBezTo>
                <a:cubicBezTo>
                  <a:pt x="1710171" y="5033788"/>
                  <a:pt x="1709087" y="5031000"/>
                  <a:pt x="1710791" y="5029968"/>
                </a:cubicBezTo>
                <a:close/>
                <a:moveTo>
                  <a:pt x="1757724" y="5028935"/>
                </a:moveTo>
                <a:cubicBezTo>
                  <a:pt x="1760822" y="5032755"/>
                  <a:pt x="1757724" y="5039983"/>
                  <a:pt x="1751993" y="5039674"/>
                </a:cubicBezTo>
                <a:cubicBezTo>
                  <a:pt x="1751528" y="5037815"/>
                  <a:pt x="1750599" y="5036473"/>
                  <a:pt x="1750134" y="5034614"/>
                </a:cubicBezTo>
                <a:cubicBezTo>
                  <a:pt x="1752768" y="5032343"/>
                  <a:pt x="1752458" y="5028006"/>
                  <a:pt x="1757724" y="5028935"/>
                </a:cubicBezTo>
                <a:close/>
                <a:moveTo>
                  <a:pt x="1449016" y="5028625"/>
                </a:moveTo>
                <a:cubicBezTo>
                  <a:pt x="1453043" y="5030897"/>
                  <a:pt x="1451649" y="5037506"/>
                  <a:pt x="1447467" y="5038744"/>
                </a:cubicBezTo>
                <a:cubicBezTo>
                  <a:pt x="1446382" y="5038228"/>
                  <a:pt x="1444679" y="5037815"/>
                  <a:pt x="1443439" y="5036473"/>
                </a:cubicBezTo>
                <a:cubicBezTo>
                  <a:pt x="1443439" y="5032033"/>
                  <a:pt x="1445763" y="5029658"/>
                  <a:pt x="1449016" y="5028625"/>
                </a:cubicBezTo>
                <a:close/>
                <a:moveTo>
                  <a:pt x="2134897" y="5027386"/>
                </a:moveTo>
                <a:cubicBezTo>
                  <a:pt x="2135671" y="5031104"/>
                  <a:pt x="2134122" y="5033582"/>
                  <a:pt x="2130715" y="5033375"/>
                </a:cubicBezTo>
                <a:cubicBezTo>
                  <a:pt x="2130869" y="5030897"/>
                  <a:pt x="2129165" y="5030174"/>
                  <a:pt x="2129475" y="5027696"/>
                </a:cubicBezTo>
                <a:cubicBezTo>
                  <a:pt x="2131799" y="5027799"/>
                  <a:pt x="2133658" y="5027283"/>
                  <a:pt x="2134897" y="5027386"/>
                </a:cubicBezTo>
                <a:close/>
                <a:moveTo>
                  <a:pt x="1275533" y="5027386"/>
                </a:moveTo>
                <a:cubicBezTo>
                  <a:pt x="1276307" y="5028316"/>
                  <a:pt x="1277081" y="5028316"/>
                  <a:pt x="1276152" y="5030071"/>
                </a:cubicBezTo>
                <a:cubicBezTo>
                  <a:pt x="1275997" y="5030897"/>
                  <a:pt x="1275067" y="5031723"/>
                  <a:pt x="1275067" y="5032652"/>
                </a:cubicBezTo>
                <a:cubicBezTo>
                  <a:pt x="1275067" y="5032652"/>
                  <a:pt x="1274448" y="5032859"/>
                  <a:pt x="1273674" y="5032962"/>
                </a:cubicBezTo>
                <a:cubicBezTo>
                  <a:pt x="1272899" y="5033066"/>
                  <a:pt x="1272124" y="5033066"/>
                  <a:pt x="1271660" y="5032652"/>
                </a:cubicBezTo>
                <a:cubicBezTo>
                  <a:pt x="1271350" y="5032446"/>
                  <a:pt x="1271195" y="5032033"/>
                  <a:pt x="1271195" y="5031620"/>
                </a:cubicBezTo>
                <a:cubicBezTo>
                  <a:pt x="1271350" y="5030484"/>
                  <a:pt x="1272899" y="5028935"/>
                  <a:pt x="1273054" y="5028212"/>
                </a:cubicBezTo>
                <a:cubicBezTo>
                  <a:pt x="1273983" y="5027386"/>
                  <a:pt x="1274758" y="5026560"/>
                  <a:pt x="1275533" y="5027386"/>
                </a:cubicBezTo>
                <a:close/>
                <a:moveTo>
                  <a:pt x="2250914" y="5026767"/>
                </a:moveTo>
                <a:cubicBezTo>
                  <a:pt x="2256181" y="5028729"/>
                  <a:pt x="2259743" y="5026147"/>
                  <a:pt x="2263151" y="5030071"/>
                </a:cubicBezTo>
                <a:cubicBezTo>
                  <a:pt x="2262531" y="5034614"/>
                  <a:pt x="2259589" y="5036886"/>
                  <a:pt x="2256646" y="5037506"/>
                </a:cubicBezTo>
                <a:cubicBezTo>
                  <a:pt x="2253547" y="5038022"/>
                  <a:pt x="2250449" y="5036783"/>
                  <a:pt x="2249520" y="5034098"/>
                </a:cubicBezTo>
                <a:cubicBezTo>
                  <a:pt x="2248900" y="5032239"/>
                  <a:pt x="2249055" y="5029761"/>
                  <a:pt x="2250914" y="5026767"/>
                </a:cubicBezTo>
                <a:close/>
                <a:moveTo>
                  <a:pt x="2284217" y="5026560"/>
                </a:moveTo>
                <a:cubicBezTo>
                  <a:pt x="2285766" y="5026664"/>
                  <a:pt x="2288399" y="5029348"/>
                  <a:pt x="2289948" y="5031207"/>
                </a:cubicBezTo>
                <a:lnTo>
                  <a:pt x="2286385" y="5038022"/>
                </a:lnTo>
                <a:lnTo>
                  <a:pt x="2287935" y="5037092"/>
                </a:lnTo>
                <a:cubicBezTo>
                  <a:pt x="2288864" y="5036886"/>
                  <a:pt x="2289948" y="5036886"/>
                  <a:pt x="2290723" y="5037299"/>
                </a:cubicBezTo>
                <a:cubicBezTo>
                  <a:pt x="2292271" y="5041119"/>
                  <a:pt x="2288244" y="5045250"/>
                  <a:pt x="2284991" y="5044527"/>
                </a:cubicBezTo>
                <a:cubicBezTo>
                  <a:pt x="2282978" y="5042049"/>
                  <a:pt x="2283752" y="5039880"/>
                  <a:pt x="2285301" y="5038538"/>
                </a:cubicBezTo>
                <a:lnTo>
                  <a:pt x="2286231" y="5038022"/>
                </a:lnTo>
                <a:lnTo>
                  <a:pt x="2283442" y="5032549"/>
                </a:lnTo>
                <a:cubicBezTo>
                  <a:pt x="2283132" y="5030690"/>
                  <a:pt x="2283442" y="5028729"/>
                  <a:pt x="2284217" y="5026560"/>
                </a:cubicBezTo>
                <a:close/>
                <a:moveTo>
                  <a:pt x="1816604" y="5025566"/>
                </a:moveTo>
                <a:cubicBezTo>
                  <a:pt x="1821038" y="5026844"/>
                  <a:pt x="1825104" y="5029555"/>
                  <a:pt x="1828047" y="5033582"/>
                </a:cubicBezTo>
                <a:cubicBezTo>
                  <a:pt x="1827428" y="5034717"/>
                  <a:pt x="1826809" y="5035750"/>
                  <a:pt x="1827737" y="5036266"/>
                </a:cubicBezTo>
                <a:cubicBezTo>
                  <a:pt x="1823865" y="5043598"/>
                  <a:pt x="1815965" y="5047728"/>
                  <a:pt x="1808066" y="5048244"/>
                </a:cubicBezTo>
                <a:cubicBezTo>
                  <a:pt x="1800321" y="5048760"/>
                  <a:pt x="1792886" y="5045766"/>
                  <a:pt x="1789788" y="5038744"/>
                </a:cubicBezTo>
                <a:cubicBezTo>
                  <a:pt x="1792731" y="5032239"/>
                  <a:pt x="1797533" y="5028109"/>
                  <a:pt x="1802954" y="5026147"/>
                </a:cubicBezTo>
                <a:cubicBezTo>
                  <a:pt x="1807369" y="5024444"/>
                  <a:pt x="1812171" y="5024289"/>
                  <a:pt x="1816604" y="5025566"/>
                </a:cubicBezTo>
                <a:close/>
                <a:moveTo>
                  <a:pt x="1495020" y="5025218"/>
                </a:moveTo>
                <a:cubicBezTo>
                  <a:pt x="1497653" y="5029451"/>
                  <a:pt x="1492851" y="5036473"/>
                  <a:pt x="1489599" y="5039983"/>
                </a:cubicBezTo>
                <a:cubicBezTo>
                  <a:pt x="1487431" y="5039157"/>
                  <a:pt x="1486191" y="5040706"/>
                  <a:pt x="1484177" y="5039880"/>
                </a:cubicBezTo>
                <a:cubicBezTo>
                  <a:pt x="1486966" y="5032962"/>
                  <a:pt x="1489444" y="5025218"/>
                  <a:pt x="1495020" y="5025218"/>
                </a:cubicBezTo>
                <a:close/>
                <a:moveTo>
                  <a:pt x="2213894" y="5024392"/>
                </a:moveTo>
                <a:lnTo>
                  <a:pt x="2213274" y="5024598"/>
                </a:lnTo>
                <a:lnTo>
                  <a:pt x="2214049" y="5024598"/>
                </a:lnTo>
                <a:close/>
                <a:moveTo>
                  <a:pt x="2542428" y="5023772"/>
                </a:moveTo>
                <a:cubicBezTo>
                  <a:pt x="2541499" y="5025115"/>
                  <a:pt x="2539640" y="5028006"/>
                  <a:pt x="2538092" y="5028729"/>
                </a:cubicBezTo>
                <a:cubicBezTo>
                  <a:pt x="2537472" y="5028935"/>
                  <a:pt x="2537007" y="5028935"/>
                  <a:pt x="2536542" y="5028522"/>
                </a:cubicBezTo>
                <a:cubicBezTo>
                  <a:pt x="2537936" y="5026664"/>
                  <a:pt x="2539021" y="5023049"/>
                  <a:pt x="2542428" y="5023772"/>
                </a:cubicBezTo>
                <a:close/>
                <a:moveTo>
                  <a:pt x="2068911" y="5023049"/>
                </a:moveTo>
                <a:cubicBezTo>
                  <a:pt x="2071854" y="5023463"/>
                  <a:pt x="2071544" y="5025321"/>
                  <a:pt x="2073403" y="5025321"/>
                </a:cubicBezTo>
                <a:cubicBezTo>
                  <a:pt x="2072319" y="5029451"/>
                  <a:pt x="2069996" y="5030587"/>
                  <a:pt x="2066278" y="5030587"/>
                </a:cubicBezTo>
                <a:cubicBezTo>
                  <a:pt x="2065503" y="5028316"/>
                  <a:pt x="2066588" y="5024185"/>
                  <a:pt x="2068911" y="5023049"/>
                </a:cubicBezTo>
                <a:close/>
                <a:moveTo>
                  <a:pt x="2169284" y="5022223"/>
                </a:moveTo>
                <a:cubicBezTo>
                  <a:pt x="2172072" y="5024702"/>
                  <a:pt x="2171762" y="5028109"/>
                  <a:pt x="2174705" y="5031516"/>
                </a:cubicBezTo>
                <a:cubicBezTo>
                  <a:pt x="2173466" y="5034201"/>
                  <a:pt x="2176564" y="5038332"/>
                  <a:pt x="2174550" y="5041945"/>
                </a:cubicBezTo>
                <a:cubicBezTo>
                  <a:pt x="2168974" y="5038744"/>
                  <a:pt x="2167115" y="5025011"/>
                  <a:pt x="2169284" y="5022223"/>
                </a:cubicBezTo>
                <a:close/>
                <a:moveTo>
                  <a:pt x="1847100" y="5020365"/>
                </a:moveTo>
                <a:cubicBezTo>
                  <a:pt x="1854224" y="5027593"/>
                  <a:pt x="1852057" y="5035234"/>
                  <a:pt x="1849733" y="5042875"/>
                </a:cubicBezTo>
                <a:cubicBezTo>
                  <a:pt x="1847874" y="5041945"/>
                  <a:pt x="1846480" y="5040500"/>
                  <a:pt x="1845551" y="5038744"/>
                </a:cubicBezTo>
                <a:lnTo>
                  <a:pt x="1845396" y="5037815"/>
                </a:lnTo>
                <a:lnTo>
                  <a:pt x="1845241" y="5039157"/>
                </a:lnTo>
                <a:cubicBezTo>
                  <a:pt x="1845396" y="5046592"/>
                  <a:pt x="1847719" y="5053820"/>
                  <a:pt x="1843227" y="5058673"/>
                </a:cubicBezTo>
                <a:cubicBezTo>
                  <a:pt x="1842607" y="5055575"/>
                  <a:pt x="1840749" y="5051961"/>
                  <a:pt x="1839200" y="5048450"/>
                </a:cubicBezTo>
                <a:cubicBezTo>
                  <a:pt x="1837651" y="5045043"/>
                  <a:pt x="1836412" y="5041533"/>
                  <a:pt x="1836567" y="5038744"/>
                </a:cubicBezTo>
                <a:lnTo>
                  <a:pt x="1837806" y="5035647"/>
                </a:lnTo>
                <a:lnTo>
                  <a:pt x="1837186" y="5035337"/>
                </a:lnTo>
                <a:cubicBezTo>
                  <a:pt x="1839045" y="5033685"/>
                  <a:pt x="1838580" y="5031930"/>
                  <a:pt x="1840439" y="5030277"/>
                </a:cubicBezTo>
                <a:lnTo>
                  <a:pt x="1842762" y="5032652"/>
                </a:lnTo>
                <a:lnTo>
                  <a:pt x="1844312" y="5032239"/>
                </a:lnTo>
                <a:lnTo>
                  <a:pt x="1845086" y="5026147"/>
                </a:lnTo>
                <a:cubicBezTo>
                  <a:pt x="1845551" y="5024082"/>
                  <a:pt x="1846325" y="5022017"/>
                  <a:pt x="1847100" y="5020365"/>
                </a:cubicBezTo>
                <a:close/>
                <a:moveTo>
                  <a:pt x="1890006" y="5018610"/>
                </a:moveTo>
                <a:cubicBezTo>
                  <a:pt x="1890935" y="5016854"/>
                  <a:pt x="1891555" y="5019436"/>
                  <a:pt x="1892484" y="5018610"/>
                </a:cubicBezTo>
                <a:cubicBezTo>
                  <a:pt x="1890160" y="5025528"/>
                  <a:pt x="1891090" y="5031516"/>
                  <a:pt x="1891090" y="5031516"/>
                </a:cubicBezTo>
                <a:cubicBezTo>
                  <a:pt x="1890160" y="5033272"/>
                  <a:pt x="1889386" y="5033169"/>
                  <a:pt x="1890160" y="5033169"/>
                </a:cubicBezTo>
                <a:cubicBezTo>
                  <a:pt x="1888302" y="5034924"/>
                  <a:pt x="1886443" y="5037402"/>
                  <a:pt x="1884894" y="5036576"/>
                </a:cubicBezTo>
                <a:cubicBezTo>
                  <a:pt x="1880247" y="5032136"/>
                  <a:pt x="1887837" y="5022843"/>
                  <a:pt x="1888921" y="5020262"/>
                </a:cubicBezTo>
                <a:cubicBezTo>
                  <a:pt x="1888921" y="5020262"/>
                  <a:pt x="1889076" y="5019436"/>
                  <a:pt x="1890006" y="5018610"/>
                </a:cubicBezTo>
                <a:close/>
                <a:moveTo>
                  <a:pt x="1639848" y="5017887"/>
                </a:moveTo>
                <a:cubicBezTo>
                  <a:pt x="1645425" y="5018093"/>
                  <a:pt x="1646819" y="5022430"/>
                  <a:pt x="1645734" y="5027489"/>
                </a:cubicBezTo>
                <a:cubicBezTo>
                  <a:pt x="1644495" y="5033891"/>
                  <a:pt x="1639539" y="5041326"/>
                  <a:pt x="1634272" y="5042978"/>
                </a:cubicBezTo>
                <a:lnTo>
                  <a:pt x="1633808" y="5042978"/>
                </a:lnTo>
                <a:lnTo>
                  <a:pt x="1633652" y="5049793"/>
                </a:lnTo>
                <a:cubicBezTo>
                  <a:pt x="1633187" y="5052271"/>
                  <a:pt x="1632413" y="5054852"/>
                  <a:pt x="1631175" y="5057331"/>
                </a:cubicBezTo>
                <a:cubicBezTo>
                  <a:pt x="1630090" y="5057331"/>
                  <a:pt x="1628851" y="5057227"/>
                  <a:pt x="1628696" y="5058467"/>
                </a:cubicBezTo>
                <a:cubicBezTo>
                  <a:pt x="1621106" y="5058776"/>
                  <a:pt x="1614445" y="5053510"/>
                  <a:pt x="1611193" y="5046592"/>
                </a:cubicBezTo>
                <a:cubicBezTo>
                  <a:pt x="1608559" y="5041326"/>
                  <a:pt x="1607785" y="5035234"/>
                  <a:pt x="1609643" y="5029658"/>
                </a:cubicBezTo>
                <a:lnTo>
                  <a:pt x="1610108" y="5028832"/>
                </a:lnTo>
                <a:lnTo>
                  <a:pt x="1609024" y="5029865"/>
                </a:lnTo>
                <a:cubicBezTo>
                  <a:pt x="1607785" y="5030174"/>
                  <a:pt x="1607785" y="5030174"/>
                  <a:pt x="1607010" y="5029761"/>
                </a:cubicBezTo>
                <a:cubicBezTo>
                  <a:pt x="1605152" y="5029658"/>
                  <a:pt x="1604067" y="5029968"/>
                  <a:pt x="1603138" y="5028316"/>
                </a:cubicBezTo>
                <a:cubicBezTo>
                  <a:pt x="1602673" y="5026870"/>
                  <a:pt x="1602828" y="5025941"/>
                  <a:pt x="1603448" y="5025115"/>
                </a:cubicBezTo>
                <a:cubicBezTo>
                  <a:pt x="1604067" y="5024288"/>
                  <a:pt x="1605152" y="5023566"/>
                  <a:pt x="1606700" y="5022843"/>
                </a:cubicBezTo>
                <a:cubicBezTo>
                  <a:pt x="1609489" y="5021398"/>
                  <a:pt x="1611037" y="5023566"/>
                  <a:pt x="1613516" y="5022843"/>
                </a:cubicBezTo>
                <a:lnTo>
                  <a:pt x="1613051" y="5024392"/>
                </a:lnTo>
                <a:lnTo>
                  <a:pt x="1621416" y="5025424"/>
                </a:lnTo>
                <a:cubicBezTo>
                  <a:pt x="1624049" y="5026354"/>
                  <a:pt x="1626372" y="5027903"/>
                  <a:pt x="1628231" y="5029865"/>
                </a:cubicBezTo>
                <a:lnTo>
                  <a:pt x="1630864" y="5033891"/>
                </a:lnTo>
                <a:lnTo>
                  <a:pt x="1631639" y="5030277"/>
                </a:lnTo>
                <a:cubicBezTo>
                  <a:pt x="1633343" y="5026147"/>
                  <a:pt x="1635821" y="5021914"/>
                  <a:pt x="1639848" y="5017887"/>
                </a:cubicBezTo>
                <a:close/>
                <a:moveTo>
                  <a:pt x="1445453" y="5015615"/>
                </a:moveTo>
                <a:cubicBezTo>
                  <a:pt x="1447157" y="5014582"/>
                  <a:pt x="1447777" y="5018197"/>
                  <a:pt x="1448396" y="5018610"/>
                </a:cubicBezTo>
                <a:cubicBezTo>
                  <a:pt x="1448551" y="5019848"/>
                  <a:pt x="1448861" y="5020984"/>
                  <a:pt x="1447622" y="5021294"/>
                </a:cubicBezTo>
                <a:cubicBezTo>
                  <a:pt x="1447003" y="5021501"/>
                  <a:pt x="1446693" y="5021810"/>
                  <a:pt x="1446228" y="5021810"/>
                </a:cubicBezTo>
                <a:cubicBezTo>
                  <a:pt x="1445918" y="5021810"/>
                  <a:pt x="1445608" y="5021604"/>
                  <a:pt x="1445143" y="5020778"/>
                </a:cubicBezTo>
                <a:cubicBezTo>
                  <a:pt x="1444524" y="5020365"/>
                  <a:pt x="1444214" y="5019126"/>
                  <a:pt x="1443595" y="5018713"/>
                </a:cubicBezTo>
                <a:cubicBezTo>
                  <a:pt x="1443595" y="5018713"/>
                  <a:pt x="1443750" y="5017990"/>
                  <a:pt x="1444059" y="5017267"/>
                </a:cubicBezTo>
                <a:cubicBezTo>
                  <a:pt x="1444369" y="5016544"/>
                  <a:pt x="1444989" y="5015821"/>
                  <a:pt x="1445453" y="5015615"/>
                </a:cubicBezTo>
                <a:close/>
                <a:moveTo>
                  <a:pt x="2548934" y="5015305"/>
                </a:moveTo>
                <a:cubicBezTo>
                  <a:pt x="2549554" y="5015512"/>
                  <a:pt x="2549709" y="5015925"/>
                  <a:pt x="2549554" y="5016441"/>
                </a:cubicBezTo>
                <a:cubicBezTo>
                  <a:pt x="2549554" y="5016957"/>
                  <a:pt x="2549244" y="5017577"/>
                  <a:pt x="2548934" y="5018093"/>
                </a:cubicBezTo>
                <a:cubicBezTo>
                  <a:pt x="2548470" y="5019229"/>
                  <a:pt x="2547850" y="5020468"/>
                  <a:pt x="2547230" y="5021604"/>
                </a:cubicBezTo>
                <a:cubicBezTo>
                  <a:pt x="2547230" y="5021604"/>
                  <a:pt x="2547230" y="5021604"/>
                  <a:pt x="2548934" y="5015305"/>
                </a:cubicBezTo>
                <a:close/>
                <a:moveTo>
                  <a:pt x="2045367" y="5015305"/>
                </a:moveTo>
                <a:cubicBezTo>
                  <a:pt x="2045212" y="5016544"/>
                  <a:pt x="2045057" y="5017783"/>
                  <a:pt x="2044902" y="5019022"/>
                </a:cubicBezTo>
                <a:cubicBezTo>
                  <a:pt x="2043508" y="5019848"/>
                  <a:pt x="2041959" y="5020365"/>
                  <a:pt x="2040720" y="5020468"/>
                </a:cubicBezTo>
                <a:cubicBezTo>
                  <a:pt x="2039326" y="5020468"/>
                  <a:pt x="2038086" y="5020055"/>
                  <a:pt x="2037313" y="5018919"/>
                </a:cubicBezTo>
                <a:cubicBezTo>
                  <a:pt x="2036847" y="5018093"/>
                  <a:pt x="2036693" y="5017061"/>
                  <a:pt x="2036693" y="5015718"/>
                </a:cubicBezTo>
                <a:cubicBezTo>
                  <a:pt x="2038552" y="5013963"/>
                  <a:pt x="2043973" y="5013447"/>
                  <a:pt x="2045367" y="5015305"/>
                </a:cubicBezTo>
                <a:close/>
                <a:moveTo>
                  <a:pt x="1683994" y="5014479"/>
                </a:moveTo>
                <a:cubicBezTo>
                  <a:pt x="1684923" y="5016235"/>
                  <a:pt x="1684303" y="5017990"/>
                  <a:pt x="1683529" y="5019642"/>
                </a:cubicBezTo>
                <a:cubicBezTo>
                  <a:pt x="1682599" y="5020881"/>
                  <a:pt x="1681825" y="5021294"/>
                  <a:pt x="1680896" y="5021191"/>
                </a:cubicBezTo>
                <a:cubicBezTo>
                  <a:pt x="1680121" y="5020984"/>
                  <a:pt x="1679192" y="5020262"/>
                  <a:pt x="1678417" y="5019436"/>
                </a:cubicBezTo>
                <a:cubicBezTo>
                  <a:pt x="1676559" y="5017577"/>
                  <a:pt x="1677333" y="5015925"/>
                  <a:pt x="1677333" y="5015925"/>
                </a:cubicBezTo>
                <a:cubicBezTo>
                  <a:pt x="1678882" y="5013447"/>
                  <a:pt x="1681360" y="5012620"/>
                  <a:pt x="1683994" y="5014479"/>
                </a:cubicBezTo>
                <a:close/>
                <a:moveTo>
                  <a:pt x="1756021" y="5013240"/>
                </a:moveTo>
                <a:cubicBezTo>
                  <a:pt x="1756795" y="5014170"/>
                  <a:pt x="1758189" y="5015202"/>
                  <a:pt x="1758809" y="5016957"/>
                </a:cubicBezTo>
                <a:cubicBezTo>
                  <a:pt x="1757879" y="5018403"/>
                  <a:pt x="1756950" y="5019022"/>
                  <a:pt x="1756175" y="5019022"/>
                </a:cubicBezTo>
                <a:cubicBezTo>
                  <a:pt x="1755401" y="5019022"/>
                  <a:pt x="1754781" y="5018506"/>
                  <a:pt x="1754471" y="5017783"/>
                </a:cubicBezTo>
                <a:cubicBezTo>
                  <a:pt x="1753697" y="5016338"/>
                  <a:pt x="1753852" y="5013860"/>
                  <a:pt x="1756021" y="5013240"/>
                </a:cubicBezTo>
                <a:close/>
                <a:moveTo>
                  <a:pt x="2263925" y="5011588"/>
                </a:moveTo>
                <a:cubicBezTo>
                  <a:pt x="2263616" y="5014066"/>
                  <a:pt x="2263616" y="5015305"/>
                  <a:pt x="2263925" y="5017164"/>
                </a:cubicBezTo>
                <a:lnTo>
                  <a:pt x="2258659" y="5017577"/>
                </a:lnTo>
                <a:lnTo>
                  <a:pt x="2258814" y="5020571"/>
                </a:lnTo>
                <a:cubicBezTo>
                  <a:pt x="2258659" y="5021398"/>
                  <a:pt x="2258039" y="5022017"/>
                  <a:pt x="2257265" y="5022533"/>
                </a:cubicBezTo>
                <a:cubicBezTo>
                  <a:pt x="2256181" y="5022843"/>
                  <a:pt x="2254786" y="5022017"/>
                  <a:pt x="2252773" y="5019952"/>
                </a:cubicBezTo>
                <a:lnTo>
                  <a:pt x="2254477" y="5017680"/>
                </a:lnTo>
                <a:lnTo>
                  <a:pt x="2252773" y="5017371"/>
                </a:lnTo>
                <a:cubicBezTo>
                  <a:pt x="2251998" y="5016854"/>
                  <a:pt x="2251379" y="5016028"/>
                  <a:pt x="2250759" y="5014582"/>
                </a:cubicBezTo>
                <a:cubicBezTo>
                  <a:pt x="2252773" y="5011691"/>
                  <a:pt x="2258659" y="5011898"/>
                  <a:pt x="2263925" y="5011588"/>
                </a:cubicBezTo>
                <a:close/>
                <a:moveTo>
                  <a:pt x="2006333" y="5011485"/>
                </a:moveTo>
                <a:cubicBezTo>
                  <a:pt x="2007727" y="5012517"/>
                  <a:pt x="2008502" y="5015202"/>
                  <a:pt x="2007417" y="5020468"/>
                </a:cubicBezTo>
                <a:lnTo>
                  <a:pt x="2006488" y="5024598"/>
                </a:lnTo>
                <a:lnTo>
                  <a:pt x="2006797" y="5024495"/>
                </a:lnTo>
                <a:cubicBezTo>
                  <a:pt x="2007882" y="5024598"/>
                  <a:pt x="2009121" y="5025011"/>
                  <a:pt x="2010205" y="5025734"/>
                </a:cubicBezTo>
                <a:lnTo>
                  <a:pt x="2012994" y="5029761"/>
                </a:lnTo>
                <a:lnTo>
                  <a:pt x="2027244" y="5029245"/>
                </a:lnTo>
                <a:cubicBezTo>
                  <a:pt x="2034214" y="5028625"/>
                  <a:pt x="2040875" y="5028109"/>
                  <a:pt x="2047226" y="5028729"/>
                </a:cubicBezTo>
                <a:lnTo>
                  <a:pt x="2041339" y="5032652"/>
                </a:lnTo>
                <a:lnTo>
                  <a:pt x="2041959" y="5033169"/>
                </a:lnTo>
                <a:cubicBezTo>
                  <a:pt x="2045057" y="5033995"/>
                  <a:pt x="2048310" y="5029865"/>
                  <a:pt x="2050788" y="5033995"/>
                </a:cubicBezTo>
                <a:cubicBezTo>
                  <a:pt x="2050943" y="5036576"/>
                  <a:pt x="2052027" y="5039364"/>
                  <a:pt x="2051253" y="5042255"/>
                </a:cubicBezTo>
                <a:cubicBezTo>
                  <a:pt x="2051098" y="5043184"/>
                  <a:pt x="2050479" y="5044217"/>
                  <a:pt x="2049704" y="5045250"/>
                </a:cubicBezTo>
                <a:cubicBezTo>
                  <a:pt x="2044748" y="5040500"/>
                  <a:pt x="2039945" y="5039157"/>
                  <a:pt x="2034679" y="5036060"/>
                </a:cubicBezTo>
                <a:lnTo>
                  <a:pt x="2034834" y="5035647"/>
                </a:lnTo>
                <a:lnTo>
                  <a:pt x="2027554" y="5037506"/>
                </a:lnTo>
                <a:lnTo>
                  <a:pt x="2022288" y="5038125"/>
                </a:lnTo>
                <a:lnTo>
                  <a:pt x="2022752" y="5038538"/>
                </a:lnTo>
                <a:cubicBezTo>
                  <a:pt x="2024921" y="5045662"/>
                  <a:pt x="2024766" y="5051445"/>
                  <a:pt x="2018260" y="5054026"/>
                </a:cubicBezTo>
                <a:cubicBezTo>
                  <a:pt x="2017950" y="5052787"/>
                  <a:pt x="2016866" y="5052994"/>
                  <a:pt x="2015627" y="5053201"/>
                </a:cubicBezTo>
                <a:cubicBezTo>
                  <a:pt x="2014232" y="5051961"/>
                  <a:pt x="2013303" y="5050206"/>
                  <a:pt x="2012838" y="5048244"/>
                </a:cubicBezTo>
                <a:lnTo>
                  <a:pt x="2013148" y="5044630"/>
                </a:lnTo>
                <a:lnTo>
                  <a:pt x="2008656" y="5044114"/>
                </a:lnTo>
                <a:cubicBezTo>
                  <a:pt x="2008347" y="5042255"/>
                  <a:pt x="2008656" y="5040706"/>
                  <a:pt x="2009276" y="5039467"/>
                </a:cubicBezTo>
                <a:lnTo>
                  <a:pt x="2009431" y="5039261"/>
                </a:lnTo>
                <a:lnTo>
                  <a:pt x="2004474" y="5039674"/>
                </a:lnTo>
                <a:cubicBezTo>
                  <a:pt x="2004784" y="5038228"/>
                  <a:pt x="2004629" y="5036886"/>
                  <a:pt x="2004474" y="5035440"/>
                </a:cubicBezTo>
                <a:lnTo>
                  <a:pt x="2004784" y="5032962"/>
                </a:lnTo>
                <a:lnTo>
                  <a:pt x="2003854" y="5032962"/>
                </a:lnTo>
                <a:cubicBezTo>
                  <a:pt x="2002925" y="5031000"/>
                  <a:pt x="2002460" y="5029348"/>
                  <a:pt x="2002460" y="5028109"/>
                </a:cubicBezTo>
                <a:lnTo>
                  <a:pt x="2003235" y="5026870"/>
                </a:lnTo>
                <a:lnTo>
                  <a:pt x="1998898" y="5027077"/>
                </a:lnTo>
                <a:cubicBezTo>
                  <a:pt x="1997194" y="5026870"/>
                  <a:pt x="1995800" y="5026250"/>
                  <a:pt x="1995026" y="5025528"/>
                </a:cubicBezTo>
                <a:lnTo>
                  <a:pt x="1994251" y="5023669"/>
                </a:lnTo>
                <a:lnTo>
                  <a:pt x="1993012" y="5025424"/>
                </a:lnTo>
                <a:cubicBezTo>
                  <a:pt x="1992082" y="5026250"/>
                  <a:pt x="1990224" y="5027077"/>
                  <a:pt x="1988211" y="5027489"/>
                </a:cubicBezTo>
                <a:cubicBezTo>
                  <a:pt x="1986041" y="5027903"/>
                  <a:pt x="1984028" y="5027799"/>
                  <a:pt x="1982789" y="5026973"/>
                </a:cubicBezTo>
                <a:cubicBezTo>
                  <a:pt x="1983718" y="5025321"/>
                  <a:pt x="1984802" y="5023566"/>
                  <a:pt x="1985887" y="5021914"/>
                </a:cubicBezTo>
                <a:cubicBezTo>
                  <a:pt x="1985732" y="5022740"/>
                  <a:pt x="1993477" y="5021191"/>
                  <a:pt x="1993477" y="5021191"/>
                </a:cubicBezTo>
                <a:lnTo>
                  <a:pt x="1994251" y="5022533"/>
                </a:lnTo>
                <a:lnTo>
                  <a:pt x="1995026" y="5018919"/>
                </a:lnTo>
                <a:cubicBezTo>
                  <a:pt x="1997504" y="5014170"/>
                  <a:pt x="2003390" y="5009523"/>
                  <a:pt x="2006333" y="5011485"/>
                </a:cubicBezTo>
                <a:close/>
                <a:moveTo>
                  <a:pt x="1705059" y="5010143"/>
                </a:moveTo>
                <a:cubicBezTo>
                  <a:pt x="1705524" y="5012517"/>
                  <a:pt x="1710791" y="5011588"/>
                  <a:pt x="1711410" y="5015202"/>
                </a:cubicBezTo>
                <a:cubicBezTo>
                  <a:pt x="1714353" y="5025631"/>
                  <a:pt x="1711410" y="5027077"/>
                  <a:pt x="1705989" y="5031104"/>
                </a:cubicBezTo>
                <a:cubicBezTo>
                  <a:pt x="1706454" y="5030381"/>
                  <a:pt x="1705370" y="5030690"/>
                  <a:pt x="1705370" y="5030690"/>
                </a:cubicBezTo>
                <a:cubicBezTo>
                  <a:pt x="1703046" y="5031310"/>
                  <a:pt x="1706609" y="5034717"/>
                  <a:pt x="1703665" y="5036163"/>
                </a:cubicBezTo>
                <a:cubicBezTo>
                  <a:pt x="1702581" y="5036576"/>
                  <a:pt x="1701342" y="5036679"/>
                  <a:pt x="1700258" y="5036473"/>
                </a:cubicBezTo>
                <a:cubicBezTo>
                  <a:pt x="1697005" y="5035853"/>
                  <a:pt x="1694527" y="5032859"/>
                  <a:pt x="1692978" y="5031000"/>
                </a:cubicBezTo>
                <a:lnTo>
                  <a:pt x="1692513" y="5030587"/>
                </a:lnTo>
                <a:lnTo>
                  <a:pt x="1691584" y="5030071"/>
                </a:lnTo>
                <a:lnTo>
                  <a:pt x="1691274" y="5030381"/>
                </a:lnTo>
                <a:lnTo>
                  <a:pt x="1691274" y="5030071"/>
                </a:lnTo>
                <a:lnTo>
                  <a:pt x="1689415" y="5029245"/>
                </a:lnTo>
                <a:lnTo>
                  <a:pt x="1690034" y="5027799"/>
                </a:lnTo>
                <a:lnTo>
                  <a:pt x="1689260" y="5025218"/>
                </a:lnTo>
                <a:cubicBezTo>
                  <a:pt x="1689105" y="5024392"/>
                  <a:pt x="1689570" y="5023772"/>
                  <a:pt x="1690654" y="5023463"/>
                </a:cubicBezTo>
                <a:cubicBezTo>
                  <a:pt x="1692358" y="5022430"/>
                  <a:pt x="1693287" y="5024082"/>
                  <a:pt x="1695611" y="5023359"/>
                </a:cubicBezTo>
                <a:cubicBezTo>
                  <a:pt x="1697624" y="5022533"/>
                  <a:pt x="1697934" y="5020055"/>
                  <a:pt x="1698864" y="5017371"/>
                </a:cubicBezTo>
                <a:lnTo>
                  <a:pt x="1700258" y="5014376"/>
                </a:lnTo>
                <a:lnTo>
                  <a:pt x="1699328" y="5015202"/>
                </a:lnTo>
                <a:cubicBezTo>
                  <a:pt x="1695766" y="5017371"/>
                  <a:pt x="1690034" y="5018300"/>
                  <a:pt x="1687092" y="5014066"/>
                </a:cubicBezTo>
                <a:cubicBezTo>
                  <a:pt x="1690034" y="5010865"/>
                  <a:pt x="1692668" y="5010039"/>
                  <a:pt x="1695146" y="5010246"/>
                </a:cubicBezTo>
                <a:lnTo>
                  <a:pt x="1701652" y="5012724"/>
                </a:lnTo>
                <a:close/>
                <a:moveTo>
                  <a:pt x="830767" y="5009794"/>
                </a:moveTo>
                <a:cubicBezTo>
                  <a:pt x="832645" y="5009058"/>
                  <a:pt x="835007" y="5009420"/>
                  <a:pt x="836092" y="5010659"/>
                </a:cubicBezTo>
                <a:cubicBezTo>
                  <a:pt x="836092" y="5013963"/>
                  <a:pt x="833303" y="5016131"/>
                  <a:pt x="830670" y="5016131"/>
                </a:cubicBezTo>
                <a:cubicBezTo>
                  <a:pt x="829896" y="5016235"/>
                  <a:pt x="828966" y="5015925"/>
                  <a:pt x="828346" y="5015512"/>
                </a:cubicBezTo>
                <a:cubicBezTo>
                  <a:pt x="827494" y="5012363"/>
                  <a:pt x="828889" y="5010530"/>
                  <a:pt x="830767" y="5009794"/>
                </a:cubicBezTo>
                <a:close/>
                <a:moveTo>
                  <a:pt x="2198404" y="5009110"/>
                </a:moveTo>
                <a:cubicBezTo>
                  <a:pt x="2198869" y="5012208"/>
                  <a:pt x="2199333" y="5013343"/>
                  <a:pt x="2199333" y="5015305"/>
                </a:cubicBezTo>
                <a:lnTo>
                  <a:pt x="2200109" y="5016235"/>
                </a:lnTo>
                <a:lnTo>
                  <a:pt x="2200263" y="5016235"/>
                </a:lnTo>
                <a:lnTo>
                  <a:pt x="2200573" y="5016648"/>
                </a:lnTo>
                <a:lnTo>
                  <a:pt x="2201192" y="5017371"/>
                </a:lnTo>
                <a:lnTo>
                  <a:pt x="2201192" y="5017783"/>
                </a:lnTo>
                <a:lnTo>
                  <a:pt x="2202587" y="5019642"/>
                </a:lnTo>
                <a:cubicBezTo>
                  <a:pt x="2203981" y="5021087"/>
                  <a:pt x="2205530" y="5022637"/>
                  <a:pt x="2205530" y="5022637"/>
                </a:cubicBezTo>
                <a:cubicBezTo>
                  <a:pt x="2205220" y="5025011"/>
                  <a:pt x="2205220" y="5025011"/>
                  <a:pt x="2202277" y="5024805"/>
                </a:cubicBezTo>
                <a:lnTo>
                  <a:pt x="2199488" y="5022843"/>
                </a:lnTo>
                <a:lnTo>
                  <a:pt x="2198559" y="5022843"/>
                </a:lnTo>
                <a:cubicBezTo>
                  <a:pt x="2197785" y="5022533"/>
                  <a:pt x="2197165" y="5021914"/>
                  <a:pt x="2196855" y="5020778"/>
                </a:cubicBezTo>
                <a:lnTo>
                  <a:pt x="2196700" y="5019642"/>
                </a:lnTo>
                <a:lnTo>
                  <a:pt x="2194997" y="5016544"/>
                </a:lnTo>
                <a:lnTo>
                  <a:pt x="2196545" y="5016544"/>
                </a:lnTo>
                <a:lnTo>
                  <a:pt x="2198095" y="5013756"/>
                </a:lnTo>
                <a:cubicBezTo>
                  <a:pt x="2198095" y="5011795"/>
                  <a:pt x="2197010" y="5010143"/>
                  <a:pt x="2198404" y="5009110"/>
                </a:cubicBezTo>
                <a:close/>
                <a:moveTo>
                  <a:pt x="1576960" y="5008697"/>
                </a:moveTo>
                <a:cubicBezTo>
                  <a:pt x="1580058" y="5007871"/>
                  <a:pt x="1583776" y="5009523"/>
                  <a:pt x="1584705" y="5014066"/>
                </a:cubicBezTo>
                <a:cubicBezTo>
                  <a:pt x="1582692" y="5017371"/>
                  <a:pt x="1580368" y="5018919"/>
                  <a:pt x="1578819" y="5020262"/>
                </a:cubicBezTo>
                <a:cubicBezTo>
                  <a:pt x="1576960" y="5019022"/>
                  <a:pt x="1575102" y="5018713"/>
                  <a:pt x="1573243" y="5017474"/>
                </a:cubicBezTo>
                <a:cubicBezTo>
                  <a:pt x="1571384" y="5012620"/>
                  <a:pt x="1573862" y="5009523"/>
                  <a:pt x="1576960" y="5008697"/>
                </a:cubicBezTo>
                <a:close/>
                <a:moveTo>
                  <a:pt x="1230612" y="5007871"/>
                </a:moveTo>
                <a:cubicBezTo>
                  <a:pt x="1232626" y="5005289"/>
                  <a:pt x="1234950" y="5007045"/>
                  <a:pt x="1238047" y="5007974"/>
                </a:cubicBezTo>
                <a:cubicBezTo>
                  <a:pt x="1237118" y="5008800"/>
                  <a:pt x="1237892" y="5009730"/>
                  <a:pt x="1238666" y="5010555"/>
                </a:cubicBezTo>
                <a:cubicBezTo>
                  <a:pt x="1237273" y="5011898"/>
                  <a:pt x="1235414" y="5014066"/>
                  <a:pt x="1233245" y="5013653"/>
                </a:cubicBezTo>
                <a:cubicBezTo>
                  <a:pt x="1232471" y="5013550"/>
                  <a:pt x="1231852" y="5013034"/>
                  <a:pt x="1231077" y="5012208"/>
                </a:cubicBezTo>
                <a:cubicBezTo>
                  <a:pt x="1230612" y="5012208"/>
                  <a:pt x="1230302" y="5011278"/>
                  <a:pt x="1230148" y="5010349"/>
                </a:cubicBezTo>
                <a:cubicBezTo>
                  <a:pt x="1230148" y="5009316"/>
                  <a:pt x="1230148" y="5008284"/>
                  <a:pt x="1230612" y="5007871"/>
                </a:cubicBezTo>
                <a:close/>
                <a:moveTo>
                  <a:pt x="1852366" y="5007768"/>
                </a:moveTo>
                <a:lnTo>
                  <a:pt x="1853760" y="5011381"/>
                </a:lnTo>
                <a:lnTo>
                  <a:pt x="1854070" y="5010865"/>
                </a:lnTo>
                <a:cubicBezTo>
                  <a:pt x="1860111" y="5017887"/>
                  <a:pt x="1857942" y="5029142"/>
                  <a:pt x="1855154" y="5034201"/>
                </a:cubicBezTo>
                <a:cubicBezTo>
                  <a:pt x="1852057" y="5030690"/>
                  <a:pt x="1850662" y="5025941"/>
                  <a:pt x="1850662" y="5021501"/>
                </a:cubicBezTo>
                <a:lnTo>
                  <a:pt x="1851281" y="5017267"/>
                </a:lnTo>
                <a:lnTo>
                  <a:pt x="1848184" y="5016338"/>
                </a:lnTo>
                <a:cubicBezTo>
                  <a:pt x="1846170" y="5015409"/>
                  <a:pt x="1844312" y="5014273"/>
                  <a:pt x="1842607" y="5013343"/>
                </a:cubicBezTo>
                <a:cubicBezTo>
                  <a:pt x="1845860" y="5011795"/>
                  <a:pt x="1849268" y="5013653"/>
                  <a:pt x="1852366" y="5007768"/>
                </a:cubicBezTo>
                <a:close/>
                <a:moveTo>
                  <a:pt x="1468223" y="5007561"/>
                </a:moveTo>
                <a:lnTo>
                  <a:pt x="1468843" y="5008077"/>
                </a:lnTo>
                <a:lnTo>
                  <a:pt x="1469307" y="5007768"/>
                </a:lnTo>
                <a:cubicBezTo>
                  <a:pt x="1470237" y="5007768"/>
                  <a:pt x="1471321" y="5007871"/>
                  <a:pt x="1472095" y="5007871"/>
                </a:cubicBezTo>
                <a:cubicBezTo>
                  <a:pt x="1472715" y="5006012"/>
                  <a:pt x="1475658" y="5009420"/>
                  <a:pt x="1476278" y="5007561"/>
                </a:cubicBezTo>
                <a:cubicBezTo>
                  <a:pt x="1479995" y="5010865"/>
                  <a:pt x="1483558" y="5006322"/>
                  <a:pt x="1489909" y="5010349"/>
                </a:cubicBezTo>
                <a:cubicBezTo>
                  <a:pt x="1487895" y="5011175"/>
                  <a:pt x="1486036" y="5011485"/>
                  <a:pt x="1484332" y="5011691"/>
                </a:cubicBezTo>
                <a:cubicBezTo>
                  <a:pt x="1481699" y="5011898"/>
                  <a:pt x="1479221" y="5011795"/>
                  <a:pt x="1477052" y="5011691"/>
                </a:cubicBezTo>
                <a:lnTo>
                  <a:pt x="1471476" y="5012311"/>
                </a:lnTo>
                <a:lnTo>
                  <a:pt x="1470547" y="5013963"/>
                </a:lnTo>
                <a:cubicBezTo>
                  <a:pt x="1469927" y="5014789"/>
                  <a:pt x="1469462" y="5015305"/>
                  <a:pt x="1468843" y="5015615"/>
                </a:cubicBezTo>
                <a:cubicBezTo>
                  <a:pt x="1468378" y="5015925"/>
                  <a:pt x="1467758" y="5015925"/>
                  <a:pt x="1467449" y="5015718"/>
                </a:cubicBezTo>
                <a:cubicBezTo>
                  <a:pt x="1466984" y="5015512"/>
                  <a:pt x="1466674" y="5015202"/>
                  <a:pt x="1466364" y="5014789"/>
                </a:cubicBezTo>
                <a:cubicBezTo>
                  <a:pt x="1464816" y="5012414"/>
                  <a:pt x="1464971" y="5007148"/>
                  <a:pt x="1468223" y="5007561"/>
                </a:cubicBezTo>
                <a:close/>
                <a:moveTo>
                  <a:pt x="2203748" y="5007432"/>
                </a:moveTo>
                <a:cubicBezTo>
                  <a:pt x="2205762" y="5008181"/>
                  <a:pt x="2207233" y="5010246"/>
                  <a:pt x="2205220" y="5012208"/>
                </a:cubicBezTo>
                <a:cubicBezTo>
                  <a:pt x="2203361" y="5012208"/>
                  <a:pt x="2201192" y="5011381"/>
                  <a:pt x="2199024" y="5010555"/>
                </a:cubicBezTo>
                <a:cubicBezTo>
                  <a:pt x="2199179" y="5007251"/>
                  <a:pt x="2201734" y="5006683"/>
                  <a:pt x="2203748" y="5007432"/>
                </a:cubicBezTo>
                <a:close/>
                <a:moveTo>
                  <a:pt x="2210951" y="5007354"/>
                </a:moveTo>
                <a:cubicBezTo>
                  <a:pt x="2213429" y="5007148"/>
                  <a:pt x="2215133" y="5007148"/>
                  <a:pt x="2216992" y="5008800"/>
                </a:cubicBezTo>
                <a:lnTo>
                  <a:pt x="2219006" y="5011795"/>
                </a:lnTo>
                <a:lnTo>
                  <a:pt x="2220709" y="5010452"/>
                </a:lnTo>
                <a:cubicBezTo>
                  <a:pt x="2225821" y="5008387"/>
                  <a:pt x="2231862" y="5007974"/>
                  <a:pt x="2233876" y="5016854"/>
                </a:cubicBezTo>
                <a:cubicBezTo>
                  <a:pt x="2234805" y="5018403"/>
                  <a:pt x="2234031" y="5017990"/>
                  <a:pt x="2234341" y="5019229"/>
                </a:cubicBezTo>
                <a:cubicBezTo>
                  <a:pt x="2234495" y="5020365"/>
                  <a:pt x="2235270" y="5022017"/>
                  <a:pt x="2236044" y="5022430"/>
                </a:cubicBezTo>
                <a:cubicBezTo>
                  <a:pt x="2232017" y="5024185"/>
                  <a:pt x="2233101" y="5026973"/>
                  <a:pt x="2226750" y="5029348"/>
                </a:cubicBezTo>
                <a:cubicBezTo>
                  <a:pt x="2224737" y="5030174"/>
                  <a:pt x="2223033" y="5030587"/>
                  <a:pt x="2221639" y="5030587"/>
                </a:cubicBezTo>
                <a:lnTo>
                  <a:pt x="2220399" y="5030277"/>
                </a:lnTo>
                <a:lnTo>
                  <a:pt x="2220864" y="5030587"/>
                </a:lnTo>
                <a:cubicBezTo>
                  <a:pt x="2222878" y="5032755"/>
                  <a:pt x="2224427" y="5034821"/>
                  <a:pt x="2224272" y="5036163"/>
                </a:cubicBezTo>
                <a:cubicBezTo>
                  <a:pt x="2223343" y="5036266"/>
                  <a:pt x="2222568" y="5036266"/>
                  <a:pt x="2221639" y="5035440"/>
                </a:cubicBezTo>
                <a:cubicBezTo>
                  <a:pt x="2220709" y="5034614"/>
                  <a:pt x="2221484" y="5034614"/>
                  <a:pt x="2220709" y="5034614"/>
                </a:cubicBezTo>
                <a:cubicBezTo>
                  <a:pt x="2219780" y="5033788"/>
                  <a:pt x="2219780" y="5034717"/>
                  <a:pt x="2219780" y="5034717"/>
                </a:cubicBezTo>
                <a:cubicBezTo>
                  <a:pt x="2219780" y="5034717"/>
                  <a:pt x="2219625" y="5033788"/>
                  <a:pt x="2219625" y="5033788"/>
                </a:cubicBezTo>
                <a:cubicBezTo>
                  <a:pt x="2219625" y="5033788"/>
                  <a:pt x="2219625" y="5033788"/>
                  <a:pt x="2217766" y="5032136"/>
                </a:cubicBezTo>
                <a:cubicBezTo>
                  <a:pt x="2214978" y="5030587"/>
                  <a:pt x="2214204" y="5030690"/>
                  <a:pt x="2212345" y="5029968"/>
                </a:cubicBezTo>
                <a:cubicBezTo>
                  <a:pt x="2210486" y="5028316"/>
                  <a:pt x="2210331" y="5027386"/>
                  <a:pt x="2208318" y="5024908"/>
                </a:cubicBezTo>
                <a:cubicBezTo>
                  <a:pt x="2208938" y="5023153"/>
                  <a:pt x="2208938" y="5023153"/>
                  <a:pt x="2209712" y="5023049"/>
                </a:cubicBezTo>
                <a:cubicBezTo>
                  <a:pt x="2208938" y="5023153"/>
                  <a:pt x="2208783" y="5022327"/>
                  <a:pt x="2207853" y="5021501"/>
                </a:cubicBezTo>
                <a:cubicBezTo>
                  <a:pt x="2203206" y="5019126"/>
                  <a:pt x="2204445" y="5014686"/>
                  <a:pt x="2207078" y="5010143"/>
                </a:cubicBezTo>
                <a:cubicBezTo>
                  <a:pt x="2208008" y="5010969"/>
                  <a:pt x="2209402" y="5008284"/>
                  <a:pt x="2210951" y="5007354"/>
                </a:cubicBezTo>
                <a:close/>
                <a:moveTo>
                  <a:pt x="2055203" y="5005418"/>
                </a:moveTo>
                <a:cubicBezTo>
                  <a:pt x="2056829" y="5005831"/>
                  <a:pt x="2057913" y="5007458"/>
                  <a:pt x="2055590" y="5010865"/>
                </a:cubicBezTo>
                <a:cubicBezTo>
                  <a:pt x="2052647" y="5009523"/>
                  <a:pt x="2051562" y="5008181"/>
                  <a:pt x="2051562" y="5007251"/>
                </a:cubicBezTo>
                <a:cubicBezTo>
                  <a:pt x="2051407" y="5005806"/>
                  <a:pt x="2053576" y="5005005"/>
                  <a:pt x="2055203" y="5005418"/>
                </a:cubicBezTo>
                <a:close/>
                <a:moveTo>
                  <a:pt x="902697" y="5004980"/>
                </a:moveTo>
                <a:cubicBezTo>
                  <a:pt x="904246" y="5005806"/>
                  <a:pt x="905021" y="5006735"/>
                  <a:pt x="906569" y="5007561"/>
                </a:cubicBezTo>
                <a:cubicBezTo>
                  <a:pt x="906259" y="5010143"/>
                  <a:pt x="908583" y="5012827"/>
                  <a:pt x="904711" y="5017990"/>
                </a:cubicBezTo>
                <a:cubicBezTo>
                  <a:pt x="899909" y="5023153"/>
                  <a:pt x="895417" y="5018713"/>
                  <a:pt x="895261" y="5019642"/>
                </a:cubicBezTo>
                <a:cubicBezTo>
                  <a:pt x="894332" y="5020468"/>
                  <a:pt x="894332" y="5020365"/>
                  <a:pt x="894332" y="5021294"/>
                </a:cubicBezTo>
                <a:cubicBezTo>
                  <a:pt x="893404" y="5021294"/>
                  <a:pt x="891699" y="5022120"/>
                  <a:pt x="890770" y="5022946"/>
                </a:cubicBezTo>
                <a:cubicBezTo>
                  <a:pt x="890770" y="5022120"/>
                  <a:pt x="890925" y="5021191"/>
                  <a:pt x="889995" y="5021191"/>
                </a:cubicBezTo>
                <a:cubicBezTo>
                  <a:pt x="891854" y="5019539"/>
                  <a:pt x="892783" y="5019539"/>
                  <a:pt x="893713" y="5018713"/>
                </a:cubicBezTo>
                <a:cubicBezTo>
                  <a:pt x="892783" y="5018713"/>
                  <a:pt x="893868" y="5017783"/>
                  <a:pt x="893868" y="5017783"/>
                </a:cubicBezTo>
                <a:cubicBezTo>
                  <a:pt x="893868" y="5017783"/>
                  <a:pt x="893713" y="5017783"/>
                  <a:pt x="892319" y="5016028"/>
                </a:cubicBezTo>
                <a:cubicBezTo>
                  <a:pt x="892319" y="5016028"/>
                  <a:pt x="889376" y="5011691"/>
                  <a:pt x="893093" y="5007354"/>
                </a:cubicBezTo>
                <a:cubicBezTo>
                  <a:pt x="893868" y="5008284"/>
                  <a:pt x="899444" y="5003121"/>
                  <a:pt x="902697" y="5004980"/>
                </a:cubicBezTo>
                <a:close/>
                <a:moveTo>
                  <a:pt x="1863674" y="5004773"/>
                </a:moveTo>
                <a:cubicBezTo>
                  <a:pt x="1864293" y="5005806"/>
                  <a:pt x="1865068" y="5006735"/>
                  <a:pt x="1865687" y="5007664"/>
                </a:cubicBezTo>
                <a:cubicBezTo>
                  <a:pt x="1861660" y="5011691"/>
                  <a:pt x="1861040" y="5016028"/>
                  <a:pt x="1857942" y="5019332"/>
                </a:cubicBezTo>
                <a:cubicBezTo>
                  <a:pt x="1857013" y="5014789"/>
                  <a:pt x="1855774" y="5006735"/>
                  <a:pt x="1863674" y="5004773"/>
                </a:cubicBezTo>
                <a:close/>
                <a:moveTo>
                  <a:pt x="1685233" y="5003741"/>
                </a:moveTo>
                <a:cubicBezTo>
                  <a:pt x="1684768" y="5004463"/>
                  <a:pt x="1684768" y="5004463"/>
                  <a:pt x="1684768" y="5004463"/>
                </a:cubicBezTo>
                <a:cubicBezTo>
                  <a:pt x="1684923" y="5005703"/>
                  <a:pt x="1685543" y="5004980"/>
                  <a:pt x="1686162" y="5005393"/>
                </a:cubicBezTo>
                <a:cubicBezTo>
                  <a:pt x="1686162" y="5005393"/>
                  <a:pt x="1685388" y="5004980"/>
                  <a:pt x="1686627" y="5004670"/>
                </a:cubicBezTo>
                <a:cubicBezTo>
                  <a:pt x="1686162" y="5005393"/>
                  <a:pt x="1686782" y="5005806"/>
                  <a:pt x="1687556" y="5006219"/>
                </a:cubicBezTo>
                <a:cubicBezTo>
                  <a:pt x="1687866" y="5008697"/>
                  <a:pt x="1687866" y="5011898"/>
                  <a:pt x="1686162" y="5012931"/>
                </a:cubicBezTo>
                <a:cubicBezTo>
                  <a:pt x="1683839" y="5013550"/>
                  <a:pt x="1682909" y="5012001"/>
                  <a:pt x="1682755" y="5010762"/>
                </a:cubicBezTo>
                <a:cubicBezTo>
                  <a:pt x="1681980" y="5009730"/>
                  <a:pt x="1682135" y="5008387"/>
                  <a:pt x="1682599" y="5007148"/>
                </a:cubicBezTo>
                <a:cubicBezTo>
                  <a:pt x="1683219" y="5005909"/>
                  <a:pt x="1684149" y="5004670"/>
                  <a:pt x="1685233" y="5003741"/>
                </a:cubicBezTo>
                <a:close/>
                <a:moveTo>
                  <a:pt x="2554356" y="5003534"/>
                </a:moveTo>
                <a:cubicBezTo>
                  <a:pt x="2555440" y="5005083"/>
                  <a:pt x="2558538" y="5004050"/>
                  <a:pt x="2558228" y="5006425"/>
                </a:cubicBezTo>
                <a:cubicBezTo>
                  <a:pt x="2556989" y="5006115"/>
                  <a:pt x="2555285" y="5005083"/>
                  <a:pt x="2554201" y="5004773"/>
                </a:cubicBezTo>
                <a:cubicBezTo>
                  <a:pt x="2554201" y="5004773"/>
                  <a:pt x="2554201" y="5004773"/>
                  <a:pt x="2554356" y="5003534"/>
                </a:cubicBezTo>
                <a:close/>
                <a:moveTo>
                  <a:pt x="1576341" y="5002605"/>
                </a:moveTo>
                <a:cubicBezTo>
                  <a:pt x="1576341" y="5002605"/>
                  <a:pt x="1576341" y="5002605"/>
                  <a:pt x="1578200" y="5004257"/>
                </a:cubicBezTo>
                <a:lnTo>
                  <a:pt x="1578354" y="5005186"/>
                </a:lnTo>
                <a:cubicBezTo>
                  <a:pt x="1578200" y="5005599"/>
                  <a:pt x="1577580" y="5005806"/>
                  <a:pt x="1576651" y="5005909"/>
                </a:cubicBezTo>
                <a:cubicBezTo>
                  <a:pt x="1575411" y="5006115"/>
                  <a:pt x="1573397" y="5006115"/>
                  <a:pt x="1571849" y="5006012"/>
                </a:cubicBezTo>
                <a:cubicBezTo>
                  <a:pt x="1570145" y="5005909"/>
                  <a:pt x="1568751" y="5005703"/>
                  <a:pt x="1568441" y="5005703"/>
                </a:cubicBezTo>
                <a:cubicBezTo>
                  <a:pt x="1568441" y="5005703"/>
                  <a:pt x="1567512" y="5005703"/>
                  <a:pt x="1566737" y="5005806"/>
                </a:cubicBezTo>
                <a:cubicBezTo>
                  <a:pt x="1565808" y="5004980"/>
                  <a:pt x="1565653" y="5004153"/>
                  <a:pt x="1564879" y="5004153"/>
                </a:cubicBezTo>
                <a:cubicBezTo>
                  <a:pt x="1567047" y="5001469"/>
                  <a:pt x="1569526" y="5002192"/>
                  <a:pt x="1572158" y="5002914"/>
                </a:cubicBezTo>
                <a:cubicBezTo>
                  <a:pt x="1574017" y="5003638"/>
                  <a:pt x="1574792" y="5003534"/>
                  <a:pt x="1576341" y="5002605"/>
                </a:cubicBezTo>
                <a:close/>
                <a:moveTo>
                  <a:pt x="1527858" y="5001882"/>
                </a:moveTo>
                <a:cubicBezTo>
                  <a:pt x="1519339" y="5006219"/>
                  <a:pt x="1516550" y="5013137"/>
                  <a:pt x="1506018" y="5016028"/>
                </a:cubicBezTo>
                <a:cubicBezTo>
                  <a:pt x="1504779" y="5007354"/>
                  <a:pt x="1520423" y="4995067"/>
                  <a:pt x="1527858" y="5001882"/>
                </a:cubicBezTo>
                <a:close/>
                <a:moveTo>
                  <a:pt x="975653" y="5001676"/>
                </a:moveTo>
                <a:cubicBezTo>
                  <a:pt x="975653" y="5002502"/>
                  <a:pt x="974414" y="5005186"/>
                  <a:pt x="975343" y="5005186"/>
                </a:cubicBezTo>
                <a:cubicBezTo>
                  <a:pt x="973175" y="5007148"/>
                  <a:pt x="970696" y="5009007"/>
                  <a:pt x="968528" y="5009110"/>
                </a:cubicBezTo>
                <a:cubicBezTo>
                  <a:pt x="967908" y="5009213"/>
                  <a:pt x="967288" y="5009007"/>
                  <a:pt x="966669" y="5008594"/>
                </a:cubicBezTo>
                <a:cubicBezTo>
                  <a:pt x="965120" y="5007664"/>
                  <a:pt x="966049" y="5005909"/>
                  <a:pt x="967908" y="5004153"/>
                </a:cubicBezTo>
                <a:cubicBezTo>
                  <a:pt x="970851" y="4999817"/>
                  <a:pt x="973484" y="4998991"/>
                  <a:pt x="975653" y="5001676"/>
                </a:cubicBezTo>
                <a:close/>
                <a:moveTo>
                  <a:pt x="1740531" y="5001366"/>
                </a:moveTo>
                <a:cubicBezTo>
                  <a:pt x="1744868" y="5003844"/>
                  <a:pt x="1744403" y="5010349"/>
                  <a:pt x="1740376" y="5011485"/>
                </a:cubicBezTo>
                <a:cubicBezTo>
                  <a:pt x="1739292" y="5010865"/>
                  <a:pt x="1737278" y="5010452"/>
                  <a:pt x="1736039" y="5009007"/>
                </a:cubicBezTo>
                <a:cubicBezTo>
                  <a:pt x="1735419" y="5004567"/>
                  <a:pt x="1737278" y="5002295"/>
                  <a:pt x="1740531" y="5001366"/>
                </a:cubicBezTo>
                <a:close/>
                <a:moveTo>
                  <a:pt x="2311355" y="5000070"/>
                </a:moveTo>
                <a:lnTo>
                  <a:pt x="2310239" y="5000643"/>
                </a:lnTo>
                <a:lnTo>
                  <a:pt x="2311168" y="5002605"/>
                </a:lnTo>
                <a:lnTo>
                  <a:pt x="2312098" y="5001572"/>
                </a:lnTo>
                <a:lnTo>
                  <a:pt x="2312252" y="5001472"/>
                </a:lnTo>
                <a:close/>
                <a:moveTo>
                  <a:pt x="2238678" y="4999507"/>
                </a:moveTo>
                <a:cubicBezTo>
                  <a:pt x="2241311" y="5000849"/>
                  <a:pt x="2244099" y="5001366"/>
                  <a:pt x="2246732" y="5001469"/>
                </a:cubicBezTo>
                <a:lnTo>
                  <a:pt x="2251379" y="5001159"/>
                </a:lnTo>
                <a:lnTo>
                  <a:pt x="2251224" y="5001159"/>
                </a:lnTo>
                <a:cubicBezTo>
                  <a:pt x="2253702" y="4998681"/>
                  <a:pt x="2256181" y="4999610"/>
                  <a:pt x="2258659" y="5000643"/>
                </a:cubicBezTo>
                <a:cubicBezTo>
                  <a:pt x="2260363" y="5001572"/>
                  <a:pt x="2261292" y="5001572"/>
                  <a:pt x="2262996" y="5000849"/>
                </a:cubicBezTo>
                <a:cubicBezTo>
                  <a:pt x="2262996" y="5000849"/>
                  <a:pt x="2262841" y="5000849"/>
                  <a:pt x="2263151" y="5001056"/>
                </a:cubicBezTo>
                <a:lnTo>
                  <a:pt x="2263461" y="5001366"/>
                </a:lnTo>
                <a:lnTo>
                  <a:pt x="2270741" y="5004463"/>
                </a:lnTo>
                <a:cubicBezTo>
                  <a:pt x="2268263" y="5008181"/>
                  <a:pt x="2260827" y="5010039"/>
                  <a:pt x="2253702" y="5009316"/>
                </a:cubicBezTo>
                <a:cubicBezTo>
                  <a:pt x="2246577" y="5008697"/>
                  <a:pt x="2239762" y="5005599"/>
                  <a:pt x="2238678" y="4999507"/>
                </a:cubicBezTo>
                <a:close/>
                <a:moveTo>
                  <a:pt x="2039016" y="4998991"/>
                </a:moveTo>
                <a:cubicBezTo>
                  <a:pt x="2041184" y="5000333"/>
                  <a:pt x="2042114" y="5003224"/>
                  <a:pt x="2040410" y="5007561"/>
                </a:cubicBezTo>
                <a:cubicBezTo>
                  <a:pt x="2039171" y="5008387"/>
                  <a:pt x="2037932" y="5009007"/>
                  <a:pt x="2036693" y="5009213"/>
                </a:cubicBezTo>
                <a:cubicBezTo>
                  <a:pt x="2033130" y="5009936"/>
                  <a:pt x="2029877" y="5008077"/>
                  <a:pt x="2029567" y="5004773"/>
                </a:cubicBezTo>
                <a:cubicBezTo>
                  <a:pt x="2029258" y="5003431"/>
                  <a:pt x="2029567" y="5001676"/>
                  <a:pt x="2030651" y="4999817"/>
                </a:cubicBezTo>
                <a:cubicBezTo>
                  <a:pt x="2033595" y="4997752"/>
                  <a:pt x="2037002" y="4997545"/>
                  <a:pt x="2039016" y="4998991"/>
                </a:cubicBezTo>
                <a:close/>
                <a:moveTo>
                  <a:pt x="2573098" y="4998784"/>
                </a:moveTo>
                <a:cubicBezTo>
                  <a:pt x="2575770" y="4998242"/>
                  <a:pt x="2578752" y="4999662"/>
                  <a:pt x="2580223" y="5003638"/>
                </a:cubicBezTo>
                <a:cubicBezTo>
                  <a:pt x="2579913" y="5007148"/>
                  <a:pt x="2577900" y="5009626"/>
                  <a:pt x="2575421" y="5010349"/>
                </a:cubicBezTo>
                <a:cubicBezTo>
                  <a:pt x="2572943" y="5010969"/>
                  <a:pt x="2570000" y="5009730"/>
                  <a:pt x="2567831" y="5005703"/>
                </a:cubicBezTo>
                <a:cubicBezTo>
                  <a:pt x="2568064" y="5001831"/>
                  <a:pt x="2570426" y="4999326"/>
                  <a:pt x="2573098" y="4998784"/>
                </a:cubicBezTo>
                <a:close/>
                <a:moveTo>
                  <a:pt x="985257" y="4998268"/>
                </a:moveTo>
                <a:cubicBezTo>
                  <a:pt x="985102" y="4999094"/>
                  <a:pt x="985721" y="5000953"/>
                  <a:pt x="984947" y="5000953"/>
                </a:cubicBezTo>
                <a:cubicBezTo>
                  <a:pt x="984792" y="5001882"/>
                  <a:pt x="983243" y="5001882"/>
                  <a:pt x="983243" y="5001882"/>
                </a:cubicBezTo>
                <a:cubicBezTo>
                  <a:pt x="983088" y="5002708"/>
                  <a:pt x="983088" y="5003638"/>
                  <a:pt x="982159" y="5004567"/>
                </a:cubicBezTo>
                <a:cubicBezTo>
                  <a:pt x="981384" y="5003638"/>
                  <a:pt x="981384" y="5004463"/>
                  <a:pt x="980455" y="5004463"/>
                </a:cubicBezTo>
                <a:cubicBezTo>
                  <a:pt x="981384" y="5003638"/>
                  <a:pt x="981694" y="5000953"/>
                  <a:pt x="982778" y="4999094"/>
                </a:cubicBezTo>
                <a:cubicBezTo>
                  <a:pt x="983552" y="4999197"/>
                  <a:pt x="984482" y="4998268"/>
                  <a:pt x="985257" y="4998268"/>
                </a:cubicBezTo>
                <a:close/>
                <a:moveTo>
                  <a:pt x="1631484" y="4996822"/>
                </a:moveTo>
                <a:cubicBezTo>
                  <a:pt x="1631329" y="5000849"/>
                  <a:pt x="1631175" y="5004876"/>
                  <a:pt x="1630400" y="5008904"/>
                </a:cubicBezTo>
                <a:cubicBezTo>
                  <a:pt x="1629625" y="5012931"/>
                  <a:pt x="1628231" y="5017061"/>
                  <a:pt x="1624978" y="5021191"/>
                </a:cubicBezTo>
                <a:cubicBezTo>
                  <a:pt x="1618783" y="5013550"/>
                  <a:pt x="1626528" y="5001779"/>
                  <a:pt x="1631484" y="4996822"/>
                </a:cubicBezTo>
                <a:close/>
                <a:moveTo>
                  <a:pt x="2219625" y="4996203"/>
                </a:moveTo>
                <a:lnTo>
                  <a:pt x="2222103" y="4997029"/>
                </a:lnTo>
                <a:lnTo>
                  <a:pt x="2225047" y="4996203"/>
                </a:lnTo>
                <a:cubicBezTo>
                  <a:pt x="2228454" y="4995790"/>
                  <a:pt x="2228610" y="4998371"/>
                  <a:pt x="2229693" y="5001366"/>
                </a:cubicBezTo>
                <a:cubicBezTo>
                  <a:pt x="2228764" y="5001882"/>
                  <a:pt x="2228144" y="5002811"/>
                  <a:pt x="2227525" y="5003741"/>
                </a:cubicBezTo>
                <a:lnTo>
                  <a:pt x="2227370" y="5003844"/>
                </a:lnTo>
                <a:lnTo>
                  <a:pt x="2227525" y="5004360"/>
                </a:lnTo>
                <a:cubicBezTo>
                  <a:pt x="2226131" y="5006115"/>
                  <a:pt x="2224117" y="5006632"/>
                  <a:pt x="2222258" y="5006425"/>
                </a:cubicBezTo>
                <a:cubicBezTo>
                  <a:pt x="2220245" y="5006322"/>
                  <a:pt x="2218231" y="5005599"/>
                  <a:pt x="2216837" y="5005186"/>
                </a:cubicBezTo>
                <a:cubicBezTo>
                  <a:pt x="2217301" y="5001572"/>
                  <a:pt x="2217612" y="4997958"/>
                  <a:pt x="2219625" y="4996203"/>
                </a:cubicBezTo>
                <a:close/>
                <a:moveTo>
                  <a:pt x="2157821" y="4995067"/>
                </a:moveTo>
                <a:cubicBezTo>
                  <a:pt x="2158441" y="4993312"/>
                  <a:pt x="2161074" y="4997029"/>
                  <a:pt x="2161849" y="4995274"/>
                </a:cubicBezTo>
                <a:cubicBezTo>
                  <a:pt x="2165411" y="4998887"/>
                  <a:pt x="2169284" y="4994757"/>
                  <a:pt x="2175325" y="4999404"/>
                </a:cubicBezTo>
                <a:cubicBezTo>
                  <a:pt x="2173311" y="4999920"/>
                  <a:pt x="2171453" y="5000230"/>
                  <a:pt x="2169594" y="5000127"/>
                </a:cubicBezTo>
                <a:cubicBezTo>
                  <a:pt x="2164327" y="5000127"/>
                  <a:pt x="2159990" y="4998268"/>
                  <a:pt x="2156273" y="4999404"/>
                </a:cubicBezTo>
                <a:cubicBezTo>
                  <a:pt x="2156273" y="4999404"/>
                  <a:pt x="2156273" y="4999404"/>
                  <a:pt x="2154569" y="4997545"/>
                </a:cubicBezTo>
                <a:cubicBezTo>
                  <a:pt x="2153639" y="4997545"/>
                  <a:pt x="2153639" y="4997545"/>
                  <a:pt x="2153639" y="4997545"/>
                </a:cubicBezTo>
                <a:cubicBezTo>
                  <a:pt x="2152865" y="4997442"/>
                  <a:pt x="2152865" y="4995686"/>
                  <a:pt x="2152865" y="4995686"/>
                </a:cubicBezTo>
                <a:cubicBezTo>
                  <a:pt x="2153484" y="4994035"/>
                  <a:pt x="2156118" y="4994964"/>
                  <a:pt x="2157821" y="4995067"/>
                </a:cubicBezTo>
                <a:close/>
                <a:moveTo>
                  <a:pt x="2066433" y="4994447"/>
                </a:moveTo>
                <a:cubicBezTo>
                  <a:pt x="2069996" y="4996306"/>
                  <a:pt x="2073558" y="4998061"/>
                  <a:pt x="2076965" y="5000333"/>
                </a:cubicBezTo>
                <a:cubicBezTo>
                  <a:pt x="2080373" y="5002708"/>
                  <a:pt x="2083471" y="5005703"/>
                  <a:pt x="2085950" y="5010349"/>
                </a:cubicBezTo>
                <a:cubicBezTo>
                  <a:pt x="2084866" y="5010659"/>
                  <a:pt x="2083627" y="5010762"/>
                  <a:pt x="2082542" y="5010659"/>
                </a:cubicBezTo>
                <a:cubicBezTo>
                  <a:pt x="2074642" y="5009936"/>
                  <a:pt x="2068602" y="5000230"/>
                  <a:pt x="2066433" y="4994447"/>
                </a:cubicBezTo>
                <a:close/>
                <a:moveTo>
                  <a:pt x="1310694" y="4994447"/>
                </a:moveTo>
                <a:cubicBezTo>
                  <a:pt x="1315805" y="4995686"/>
                  <a:pt x="1316270" y="4999197"/>
                  <a:pt x="1313636" y="5004257"/>
                </a:cubicBezTo>
                <a:cubicBezTo>
                  <a:pt x="1311778" y="5004257"/>
                  <a:pt x="1310229" y="5004980"/>
                  <a:pt x="1307441" y="5005393"/>
                </a:cubicBezTo>
                <a:cubicBezTo>
                  <a:pt x="1306666" y="5003018"/>
                  <a:pt x="1307131" y="4997236"/>
                  <a:pt x="1310694" y="4994447"/>
                </a:cubicBezTo>
                <a:close/>
                <a:moveTo>
                  <a:pt x="2128391" y="4994344"/>
                </a:moveTo>
                <a:cubicBezTo>
                  <a:pt x="2129475" y="4994447"/>
                  <a:pt x="2130715" y="4994447"/>
                  <a:pt x="2131799" y="4994447"/>
                </a:cubicBezTo>
                <a:cubicBezTo>
                  <a:pt x="2131799" y="5000023"/>
                  <a:pt x="2134432" y="5003224"/>
                  <a:pt x="2134432" y="5007561"/>
                </a:cubicBezTo>
                <a:cubicBezTo>
                  <a:pt x="2132574" y="5006632"/>
                  <a:pt x="2129941" y="5005083"/>
                  <a:pt x="2128236" y="5002914"/>
                </a:cubicBezTo>
                <a:cubicBezTo>
                  <a:pt x="2126687" y="5000849"/>
                  <a:pt x="2126223" y="4997958"/>
                  <a:pt x="2128391" y="4994344"/>
                </a:cubicBezTo>
                <a:close/>
                <a:moveTo>
                  <a:pt x="1819992" y="4992589"/>
                </a:moveTo>
                <a:cubicBezTo>
                  <a:pt x="1822935" y="4992796"/>
                  <a:pt x="1825259" y="4994551"/>
                  <a:pt x="1825414" y="4997752"/>
                </a:cubicBezTo>
                <a:cubicBezTo>
                  <a:pt x="1824485" y="4999404"/>
                  <a:pt x="1822626" y="4999507"/>
                  <a:pt x="1820768" y="4999610"/>
                </a:cubicBezTo>
                <a:cubicBezTo>
                  <a:pt x="1819373" y="4999610"/>
                  <a:pt x="1818444" y="4998991"/>
                  <a:pt x="1818134" y="4998165"/>
                </a:cubicBezTo>
                <a:cubicBezTo>
                  <a:pt x="1817669" y="4997339"/>
                  <a:pt x="1817669" y="4996306"/>
                  <a:pt x="1817824" y="4995067"/>
                </a:cubicBezTo>
                <a:cubicBezTo>
                  <a:pt x="1818134" y="4992692"/>
                  <a:pt x="1819992" y="4992589"/>
                  <a:pt x="1819992" y="4992589"/>
                </a:cubicBezTo>
                <a:close/>
                <a:moveTo>
                  <a:pt x="1619247" y="4992279"/>
                </a:moveTo>
                <a:cubicBezTo>
                  <a:pt x="1620796" y="4991350"/>
                  <a:pt x="1623584" y="4993828"/>
                  <a:pt x="1625443" y="4994551"/>
                </a:cubicBezTo>
                <a:cubicBezTo>
                  <a:pt x="1624668" y="4995480"/>
                  <a:pt x="1624049" y="4996306"/>
                  <a:pt x="1624823" y="4996306"/>
                </a:cubicBezTo>
                <a:cubicBezTo>
                  <a:pt x="1624049" y="4997236"/>
                  <a:pt x="1623430" y="4997648"/>
                  <a:pt x="1622500" y="4997855"/>
                </a:cubicBezTo>
                <a:cubicBezTo>
                  <a:pt x="1621726" y="4997958"/>
                  <a:pt x="1620796" y="4997855"/>
                  <a:pt x="1620021" y="4997442"/>
                </a:cubicBezTo>
                <a:cubicBezTo>
                  <a:pt x="1619092" y="4996616"/>
                  <a:pt x="1618783" y="4994964"/>
                  <a:pt x="1619247" y="4992279"/>
                </a:cubicBezTo>
                <a:close/>
                <a:moveTo>
                  <a:pt x="1170145" y="4991892"/>
                </a:moveTo>
                <a:cubicBezTo>
                  <a:pt x="1172952" y="4991711"/>
                  <a:pt x="1175159" y="4992383"/>
                  <a:pt x="1176088" y="4991970"/>
                </a:cubicBezTo>
                <a:cubicBezTo>
                  <a:pt x="1178257" y="4994654"/>
                  <a:pt x="1178257" y="4994654"/>
                  <a:pt x="1173611" y="4999817"/>
                </a:cubicBezTo>
                <a:cubicBezTo>
                  <a:pt x="1172681" y="5000643"/>
                  <a:pt x="1171597" y="5001263"/>
                  <a:pt x="1170357" y="5001572"/>
                </a:cubicBezTo>
                <a:cubicBezTo>
                  <a:pt x="1169274" y="5001882"/>
                  <a:pt x="1168034" y="5001882"/>
                  <a:pt x="1166795" y="5001366"/>
                </a:cubicBezTo>
                <a:cubicBezTo>
                  <a:pt x="1165865" y="5001779"/>
                  <a:pt x="1164937" y="5001985"/>
                  <a:pt x="1163852" y="5001985"/>
                </a:cubicBezTo>
                <a:cubicBezTo>
                  <a:pt x="1162923" y="5001985"/>
                  <a:pt x="1161839" y="5001676"/>
                  <a:pt x="1161064" y="5001263"/>
                </a:cubicBezTo>
                <a:cubicBezTo>
                  <a:pt x="1160289" y="5000437"/>
                  <a:pt x="1159980" y="4999507"/>
                  <a:pt x="1159980" y="4998784"/>
                </a:cubicBezTo>
                <a:cubicBezTo>
                  <a:pt x="1159980" y="4997958"/>
                  <a:pt x="1160134" y="4997339"/>
                  <a:pt x="1160599" y="4996925"/>
                </a:cubicBezTo>
                <a:cubicBezTo>
                  <a:pt x="1163929" y="4993105"/>
                  <a:pt x="1167337" y="4992073"/>
                  <a:pt x="1170145" y="4991892"/>
                </a:cubicBezTo>
                <a:close/>
                <a:moveTo>
                  <a:pt x="2093985" y="4991685"/>
                </a:moveTo>
                <a:cubicBezTo>
                  <a:pt x="2095940" y="4991556"/>
                  <a:pt x="2098109" y="4992434"/>
                  <a:pt x="2100200" y="4993931"/>
                </a:cubicBezTo>
                <a:cubicBezTo>
                  <a:pt x="2102833" y="4995790"/>
                  <a:pt x="2105466" y="4998578"/>
                  <a:pt x="2107170" y="5001676"/>
                </a:cubicBezTo>
                <a:lnTo>
                  <a:pt x="2107635" y="5002811"/>
                </a:lnTo>
                <a:lnTo>
                  <a:pt x="2109339" y="5001366"/>
                </a:lnTo>
                <a:cubicBezTo>
                  <a:pt x="2110423" y="5001056"/>
                  <a:pt x="2111972" y="5000953"/>
                  <a:pt x="2113676" y="5001263"/>
                </a:cubicBezTo>
                <a:cubicBezTo>
                  <a:pt x="2114606" y="5004050"/>
                  <a:pt x="2116310" y="5007664"/>
                  <a:pt x="2116774" y="5011381"/>
                </a:cubicBezTo>
                <a:lnTo>
                  <a:pt x="2116619" y="5014789"/>
                </a:lnTo>
                <a:lnTo>
                  <a:pt x="2121575" y="5019229"/>
                </a:lnTo>
                <a:cubicBezTo>
                  <a:pt x="2121111" y="5020365"/>
                  <a:pt x="2120492" y="5021398"/>
                  <a:pt x="2121575" y="5022017"/>
                </a:cubicBezTo>
                <a:cubicBezTo>
                  <a:pt x="2120182" y="5025631"/>
                  <a:pt x="2117703" y="5028316"/>
                  <a:pt x="2114451" y="5030277"/>
                </a:cubicBezTo>
                <a:lnTo>
                  <a:pt x="2113676" y="5030484"/>
                </a:lnTo>
                <a:lnTo>
                  <a:pt x="2115844" y="5031826"/>
                </a:lnTo>
                <a:cubicBezTo>
                  <a:pt x="2114916" y="5036576"/>
                  <a:pt x="2112282" y="5036473"/>
                  <a:pt x="2109649" y="5036370"/>
                </a:cubicBezTo>
                <a:cubicBezTo>
                  <a:pt x="2110268" y="5034821"/>
                  <a:pt x="2109649" y="5033891"/>
                  <a:pt x="2109184" y="5033066"/>
                </a:cubicBezTo>
                <a:lnTo>
                  <a:pt x="2109029" y="5031826"/>
                </a:lnTo>
                <a:lnTo>
                  <a:pt x="2103608" y="5033272"/>
                </a:lnTo>
                <a:cubicBezTo>
                  <a:pt x="2097877" y="5033478"/>
                  <a:pt x="2091836" y="5031723"/>
                  <a:pt x="2087498" y="5027799"/>
                </a:cubicBezTo>
                <a:lnTo>
                  <a:pt x="2087034" y="5027077"/>
                </a:lnTo>
                <a:lnTo>
                  <a:pt x="2087498" y="5028522"/>
                </a:lnTo>
                <a:cubicBezTo>
                  <a:pt x="2087344" y="5029761"/>
                  <a:pt x="2087344" y="5029761"/>
                  <a:pt x="2086569" y="5030174"/>
                </a:cubicBezTo>
                <a:cubicBezTo>
                  <a:pt x="2085795" y="5031826"/>
                  <a:pt x="2085485" y="5033066"/>
                  <a:pt x="2083627" y="5033169"/>
                </a:cubicBezTo>
                <a:cubicBezTo>
                  <a:pt x="2082233" y="5033066"/>
                  <a:pt x="2081303" y="5032549"/>
                  <a:pt x="2080838" y="5031620"/>
                </a:cubicBezTo>
                <a:cubicBezTo>
                  <a:pt x="2080373" y="5030690"/>
                  <a:pt x="2080219" y="5029348"/>
                  <a:pt x="2080063" y="5027799"/>
                </a:cubicBezTo>
                <a:cubicBezTo>
                  <a:pt x="2079909" y="5024598"/>
                  <a:pt x="2082542" y="5024082"/>
                  <a:pt x="2082852" y="5021604"/>
                </a:cubicBezTo>
                <a:lnTo>
                  <a:pt x="2084246" y="5022533"/>
                </a:lnTo>
                <a:lnTo>
                  <a:pt x="2088428" y="5015305"/>
                </a:lnTo>
                <a:cubicBezTo>
                  <a:pt x="2090441" y="5013343"/>
                  <a:pt x="2092765" y="5011898"/>
                  <a:pt x="2095243" y="5010969"/>
                </a:cubicBezTo>
                <a:lnTo>
                  <a:pt x="2100045" y="5010143"/>
                </a:lnTo>
                <a:lnTo>
                  <a:pt x="2097102" y="5007974"/>
                </a:lnTo>
                <a:cubicBezTo>
                  <a:pt x="2093849" y="5004773"/>
                  <a:pt x="2091061" y="5000746"/>
                  <a:pt x="2089048" y="4995480"/>
                </a:cubicBezTo>
                <a:cubicBezTo>
                  <a:pt x="2090287" y="4992950"/>
                  <a:pt x="2092029" y="4991814"/>
                  <a:pt x="2093985" y="4991685"/>
                </a:cubicBezTo>
                <a:close/>
                <a:moveTo>
                  <a:pt x="980145" y="4991453"/>
                </a:moveTo>
                <a:cubicBezTo>
                  <a:pt x="981074" y="4990627"/>
                  <a:pt x="982004" y="4990627"/>
                  <a:pt x="982778" y="4991453"/>
                </a:cubicBezTo>
                <a:cubicBezTo>
                  <a:pt x="982778" y="4991453"/>
                  <a:pt x="981694" y="4993209"/>
                  <a:pt x="981694" y="4993209"/>
                </a:cubicBezTo>
                <a:cubicBezTo>
                  <a:pt x="979835" y="4994964"/>
                  <a:pt x="978906" y="4995790"/>
                  <a:pt x="977822" y="4997545"/>
                </a:cubicBezTo>
                <a:cubicBezTo>
                  <a:pt x="977047" y="4997029"/>
                  <a:pt x="976582" y="4996616"/>
                  <a:pt x="976582" y="4996203"/>
                </a:cubicBezTo>
                <a:cubicBezTo>
                  <a:pt x="976582" y="4995686"/>
                  <a:pt x="976737" y="4995274"/>
                  <a:pt x="977202" y="4994861"/>
                </a:cubicBezTo>
                <a:cubicBezTo>
                  <a:pt x="977202" y="4994861"/>
                  <a:pt x="978131" y="4994035"/>
                  <a:pt x="979061" y="4993105"/>
                </a:cubicBezTo>
                <a:cubicBezTo>
                  <a:pt x="979990" y="4992279"/>
                  <a:pt x="980145" y="4991453"/>
                  <a:pt x="980145" y="4991453"/>
                </a:cubicBezTo>
                <a:close/>
                <a:moveTo>
                  <a:pt x="2233256" y="4991350"/>
                </a:moveTo>
                <a:cubicBezTo>
                  <a:pt x="2233256" y="4991350"/>
                  <a:pt x="2233256" y="4991453"/>
                  <a:pt x="2235115" y="4991556"/>
                </a:cubicBezTo>
                <a:cubicBezTo>
                  <a:pt x="2235889" y="4991970"/>
                  <a:pt x="2236819" y="4992382"/>
                  <a:pt x="2237128" y="4993621"/>
                </a:cubicBezTo>
                <a:cubicBezTo>
                  <a:pt x="2237593" y="4994861"/>
                  <a:pt x="2236974" y="4996409"/>
                  <a:pt x="2236509" y="4997236"/>
                </a:cubicBezTo>
                <a:cubicBezTo>
                  <a:pt x="2235734" y="4996719"/>
                  <a:pt x="2235424" y="4997545"/>
                  <a:pt x="2234650" y="4997029"/>
                </a:cubicBezTo>
                <a:cubicBezTo>
                  <a:pt x="2232636" y="4996925"/>
                  <a:pt x="2232636" y="4997029"/>
                  <a:pt x="2232172" y="4995790"/>
                </a:cubicBezTo>
                <a:cubicBezTo>
                  <a:pt x="2231862" y="4994551"/>
                  <a:pt x="2233720" y="4992589"/>
                  <a:pt x="2233256" y="4991350"/>
                </a:cubicBezTo>
                <a:close/>
                <a:moveTo>
                  <a:pt x="2122660" y="4989904"/>
                </a:moveTo>
                <a:cubicBezTo>
                  <a:pt x="2123434" y="4989595"/>
                  <a:pt x="2123589" y="4990420"/>
                  <a:pt x="2124519" y="4990111"/>
                </a:cubicBezTo>
                <a:cubicBezTo>
                  <a:pt x="2124984" y="4990317"/>
                  <a:pt x="2125448" y="4991143"/>
                  <a:pt x="2125758" y="4992073"/>
                </a:cubicBezTo>
                <a:cubicBezTo>
                  <a:pt x="2126532" y="4995067"/>
                  <a:pt x="2126377" y="5000333"/>
                  <a:pt x="2125758" y="5000540"/>
                </a:cubicBezTo>
                <a:cubicBezTo>
                  <a:pt x="2126068" y="5001366"/>
                  <a:pt x="2125293" y="5001779"/>
                  <a:pt x="2125448" y="5002605"/>
                </a:cubicBezTo>
                <a:cubicBezTo>
                  <a:pt x="2125448" y="5002605"/>
                  <a:pt x="2125758" y="5003328"/>
                  <a:pt x="2125139" y="5004463"/>
                </a:cubicBezTo>
                <a:cubicBezTo>
                  <a:pt x="2124674" y="5005599"/>
                  <a:pt x="2124054" y="5006735"/>
                  <a:pt x="2122195" y="5006632"/>
                </a:cubicBezTo>
                <a:lnTo>
                  <a:pt x="2122195" y="5000333"/>
                </a:lnTo>
                <a:lnTo>
                  <a:pt x="2120957" y="5002502"/>
                </a:lnTo>
                <a:cubicBezTo>
                  <a:pt x="2119872" y="5003534"/>
                  <a:pt x="2118478" y="5004257"/>
                  <a:pt x="2117239" y="5004153"/>
                </a:cubicBezTo>
                <a:cubicBezTo>
                  <a:pt x="2115225" y="5002295"/>
                  <a:pt x="2116310" y="5000746"/>
                  <a:pt x="2114760" y="4999714"/>
                </a:cubicBezTo>
                <a:cubicBezTo>
                  <a:pt x="2116310" y="4998165"/>
                  <a:pt x="2117703" y="4997339"/>
                  <a:pt x="2118942" y="4997236"/>
                </a:cubicBezTo>
                <a:lnTo>
                  <a:pt x="2122195" y="4998475"/>
                </a:lnTo>
                <a:lnTo>
                  <a:pt x="2122195" y="4997648"/>
                </a:lnTo>
                <a:lnTo>
                  <a:pt x="2122350" y="4993415"/>
                </a:lnTo>
                <a:close/>
                <a:moveTo>
                  <a:pt x="2115225" y="4989801"/>
                </a:moveTo>
                <a:cubicBezTo>
                  <a:pt x="2116310" y="4990111"/>
                  <a:pt x="2117858" y="4990111"/>
                  <a:pt x="2119252" y="4990524"/>
                </a:cubicBezTo>
                <a:lnTo>
                  <a:pt x="2122350" y="4993415"/>
                </a:lnTo>
                <a:lnTo>
                  <a:pt x="2119097" y="4992692"/>
                </a:lnTo>
                <a:cubicBezTo>
                  <a:pt x="2117858" y="4992382"/>
                  <a:pt x="2116619" y="4991866"/>
                  <a:pt x="2115844" y="4991247"/>
                </a:cubicBezTo>
                <a:cubicBezTo>
                  <a:pt x="2115380" y="4990834"/>
                  <a:pt x="2115070" y="4990420"/>
                  <a:pt x="2115225" y="4989801"/>
                </a:cubicBezTo>
                <a:close/>
                <a:moveTo>
                  <a:pt x="1845705" y="4989285"/>
                </a:moveTo>
                <a:cubicBezTo>
                  <a:pt x="1855464" y="4996203"/>
                  <a:pt x="1852057" y="5003844"/>
                  <a:pt x="1845551" y="5002708"/>
                </a:cubicBezTo>
                <a:cubicBezTo>
                  <a:pt x="1843537" y="5002398"/>
                  <a:pt x="1841058" y="5001056"/>
                  <a:pt x="1838580" y="4998475"/>
                </a:cubicBezTo>
                <a:cubicBezTo>
                  <a:pt x="1837496" y="4994138"/>
                  <a:pt x="1842298" y="4988355"/>
                  <a:pt x="1845705" y="4989285"/>
                </a:cubicBezTo>
                <a:close/>
                <a:moveTo>
                  <a:pt x="942815" y="4988975"/>
                </a:moveTo>
                <a:cubicBezTo>
                  <a:pt x="936155" y="4996822"/>
                  <a:pt x="931507" y="4992279"/>
                  <a:pt x="927635" y="4996719"/>
                </a:cubicBezTo>
                <a:cubicBezTo>
                  <a:pt x="927015" y="4994861"/>
                  <a:pt x="927015" y="4994861"/>
                  <a:pt x="928100" y="4993105"/>
                </a:cubicBezTo>
                <a:cubicBezTo>
                  <a:pt x="928874" y="4993105"/>
                  <a:pt x="929029" y="4992279"/>
                  <a:pt x="929804" y="4993105"/>
                </a:cubicBezTo>
                <a:cubicBezTo>
                  <a:pt x="931662" y="4990524"/>
                  <a:pt x="939562" y="4988046"/>
                  <a:pt x="942815" y="4988975"/>
                </a:cubicBezTo>
                <a:close/>
                <a:moveTo>
                  <a:pt x="2003235" y="4988665"/>
                </a:moveTo>
                <a:cubicBezTo>
                  <a:pt x="2003700" y="4989285"/>
                  <a:pt x="2003700" y="4990214"/>
                  <a:pt x="2003390" y="4991350"/>
                </a:cubicBezTo>
                <a:cubicBezTo>
                  <a:pt x="2002460" y="4991660"/>
                  <a:pt x="2001686" y="4991763"/>
                  <a:pt x="2000912" y="4991763"/>
                </a:cubicBezTo>
                <a:cubicBezTo>
                  <a:pt x="2000137" y="4991866"/>
                  <a:pt x="1999207" y="4991763"/>
                  <a:pt x="1998123" y="4991763"/>
                </a:cubicBezTo>
                <a:cubicBezTo>
                  <a:pt x="1997504" y="4988046"/>
                  <a:pt x="2001686" y="4986910"/>
                  <a:pt x="2003235" y="4988665"/>
                </a:cubicBezTo>
                <a:close/>
                <a:moveTo>
                  <a:pt x="1353135" y="4988458"/>
                </a:moveTo>
                <a:cubicBezTo>
                  <a:pt x="1356853" y="4988458"/>
                  <a:pt x="1355769" y="4988046"/>
                  <a:pt x="1359331" y="4990008"/>
                </a:cubicBezTo>
                <a:cubicBezTo>
                  <a:pt x="1358402" y="4992279"/>
                  <a:pt x="1357317" y="4994654"/>
                  <a:pt x="1356388" y="4996925"/>
                </a:cubicBezTo>
                <a:cubicBezTo>
                  <a:pt x="1354994" y="4995790"/>
                  <a:pt x="1352980" y="4995893"/>
                  <a:pt x="1351896" y="4995480"/>
                </a:cubicBezTo>
                <a:cubicBezTo>
                  <a:pt x="1351122" y="4993105"/>
                  <a:pt x="1351276" y="4991247"/>
                  <a:pt x="1353135" y="4988458"/>
                </a:cubicBezTo>
                <a:close/>
                <a:moveTo>
                  <a:pt x="1613826" y="4988355"/>
                </a:moveTo>
                <a:cubicBezTo>
                  <a:pt x="1616304" y="4987013"/>
                  <a:pt x="1620332" y="4995171"/>
                  <a:pt x="1612276" y="4993621"/>
                </a:cubicBezTo>
                <a:cubicBezTo>
                  <a:pt x="1612276" y="4990317"/>
                  <a:pt x="1612896" y="4988872"/>
                  <a:pt x="1613826" y="4988355"/>
                </a:cubicBezTo>
                <a:close/>
                <a:moveTo>
                  <a:pt x="1485727" y="4987013"/>
                </a:moveTo>
                <a:cubicBezTo>
                  <a:pt x="1486191" y="4986290"/>
                  <a:pt x="1489444" y="4987219"/>
                  <a:pt x="1489599" y="4988458"/>
                </a:cubicBezTo>
                <a:cubicBezTo>
                  <a:pt x="1490683" y="4991247"/>
                  <a:pt x="1487895" y="4992589"/>
                  <a:pt x="1485261" y="4995171"/>
                </a:cubicBezTo>
                <a:cubicBezTo>
                  <a:pt x="1485107" y="4993931"/>
                  <a:pt x="1483868" y="4994344"/>
                  <a:pt x="1482784" y="4994654"/>
                </a:cubicBezTo>
                <a:cubicBezTo>
                  <a:pt x="1482474" y="4992899"/>
                  <a:pt x="1481544" y="4990111"/>
                  <a:pt x="1483248" y="4988355"/>
                </a:cubicBezTo>
                <a:cubicBezTo>
                  <a:pt x="1483713" y="4987736"/>
                  <a:pt x="1484487" y="4987323"/>
                  <a:pt x="1485727" y="4987013"/>
                </a:cubicBezTo>
                <a:close/>
                <a:moveTo>
                  <a:pt x="1239596" y="4986600"/>
                </a:moveTo>
                <a:cubicBezTo>
                  <a:pt x="1241300" y="4988458"/>
                  <a:pt x="1243159" y="4990317"/>
                  <a:pt x="1244863" y="4992073"/>
                </a:cubicBezTo>
                <a:cubicBezTo>
                  <a:pt x="1243314" y="4992899"/>
                  <a:pt x="1242539" y="4994654"/>
                  <a:pt x="1241765" y="4995480"/>
                </a:cubicBezTo>
                <a:cubicBezTo>
                  <a:pt x="1239287" y="4995377"/>
                  <a:pt x="1237582" y="4994447"/>
                  <a:pt x="1235724" y="4991763"/>
                </a:cubicBezTo>
                <a:cubicBezTo>
                  <a:pt x="1237273" y="4988252"/>
                  <a:pt x="1236498" y="4989078"/>
                  <a:pt x="1239596" y="4986600"/>
                </a:cubicBezTo>
                <a:close/>
                <a:moveTo>
                  <a:pt x="2099116" y="4986084"/>
                </a:moveTo>
                <a:cubicBezTo>
                  <a:pt x="2100975" y="4986290"/>
                  <a:pt x="2101594" y="4985877"/>
                  <a:pt x="2102678" y="4986394"/>
                </a:cubicBezTo>
                <a:cubicBezTo>
                  <a:pt x="2103298" y="4986600"/>
                  <a:pt x="2103918" y="4987116"/>
                  <a:pt x="2104227" y="4987633"/>
                </a:cubicBezTo>
                <a:cubicBezTo>
                  <a:pt x="2104692" y="4988149"/>
                  <a:pt x="2104848" y="4988665"/>
                  <a:pt x="2104537" y="4989285"/>
                </a:cubicBezTo>
                <a:cubicBezTo>
                  <a:pt x="2103763" y="4989595"/>
                  <a:pt x="2103918" y="4990420"/>
                  <a:pt x="2103143" y="4990730"/>
                </a:cubicBezTo>
                <a:cubicBezTo>
                  <a:pt x="2102524" y="4991453"/>
                  <a:pt x="2101904" y="4991866"/>
                  <a:pt x="2101439" y="4992073"/>
                </a:cubicBezTo>
                <a:cubicBezTo>
                  <a:pt x="2100975" y="4992279"/>
                  <a:pt x="2100510" y="4992279"/>
                  <a:pt x="2099891" y="4992073"/>
                </a:cubicBezTo>
                <a:cubicBezTo>
                  <a:pt x="2099116" y="4992382"/>
                  <a:pt x="2098806" y="4991660"/>
                  <a:pt x="2097877" y="4991143"/>
                </a:cubicBezTo>
                <a:cubicBezTo>
                  <a:pt x="2097567" y="4990317"/>
                  <a:pt x="2098186" y="4989181"/>
                  <a:pt x="2098186" y="4989181"/>
                </a:cubicBezTo>
                <a:cubicBezTo>
                  <a:pt x="2098651" y="4988046"/>
                  <a:pt x="2098806" y="4988046"/>
                  <a:pt x="2097722" y="4987633"/>
                </a:cubicBezTo>
                <a:cubicBezTo>
                  <a:pt x="2097722" y="4987633"/>
                  <a:pt x="2098497" y="4987219"/>
                  <a:pt x="2098497" y="4987219"/>
                </a:cubicBezTo>
                <a:cubicBezTo>
                  <a:pt x="2098651" y="4988046"/>
                  <a:pt x="2098497" y="4987219"/>
                  <a:pt x="2099116" y="4986084"/>
                </a:cubicBezTo>
                <a:close/>
                <a:moveTo>
                  <a:pt x="1660604" y="4985154"/>
                </a:moveTo>
                <a:cubicBezTo>
                  <a:pt x="1660295" y="4987633"/>
                  <a:pt x="1661069" y="4988562"/>
                  <a:pt x="1660295" y="4988458"/>
                </a:cubicBezTo>
                <a:cubicBezTo>
                  <a:pt x="1660140" y="4988872"/>
                  <a:pt x="1659985" y="4989078"/>
                  <a:pt x="1659675" y="4989078"/>
                </a:cubicBezTo>
                <a:cubicBezTo>
                  <a:pt x="1659520" y="4989078"/>
                  <a:pt x="1659365" y="4988872"/>
                  <a:pt x="1659365" y="4988458"/>
                </a:cubicBezTo>
                <a:cubicBezTo>
                  <a:pt x="1657816" y="4987633"/>
                  <a:pt x="1659675" y="4985980"/>
                  <a:pt x="1660604" y="4985154"/>
                </a:cubicBezTo>
                <a:close/>
                <a:moveTo>
                  <a:pt x="949785" y="4984845"/>
                </a:moveTo>
                <a:cubicBezTo>
                  <a:pt x="948856" y="4985774"/>
                  <a:pt x="947152" y="4986600"/>
                  <a:pt x="946223" y="4987426"/>
                </a:cubicBezTo>
                <a:cubicBezTo>
                  <a:pt x="946223" y="4987426"/>
                  <a:pt x="946223" y="4987426"/>
                  <a:pt x="945448" y="4986600"/>
                </a:cubicBezTo>
                <a:cubicBezTo>
                  <a:pt x="947152" y="4986600"/>
                  <a:pt x="948237" y="4983089"/>
                  <a:pt x="949785" y="4984845"/>
                </a:cubicBezTo>
                <a:close/>
                <a:moveTo>
                  <a:pt x="936735" y="4984574"/>
                </a:moveTo>
                <a:cubicBezTo>
                  <a:pt x="939059" y="4984509"/>
                  <a:pt x="940956" y="4984742"/>
                  <a:pt x="941421" y="4984742"/>
                </a:cubicBezTo>
                <a:cubicBezTo>
                  <a:pt x="941266" y="4985568"/>
                  <a:pt x="941266" y="4985568"/>
                  <a:pt x="941266" y="4985568"/>
                </a:cubicBezTo>
                <a:cubicBezTo>
                  <a:pt x="938788" y="4984948"/>
                  <a:pt x="935690" y="4987116"/>
                  <a:pt x="932437" y="4987426"/>
                </a:cubicBezTo>
                <a:cubicBezTo>
                  <a:pt x="931353" y="4987633"/>
                  <a:pt x="930423" y="4987529"/>
                  <a:pt x="929339" y="4987116"/>
                </a:cubicBezTo>
                <a:cubicBezTo>
                  <a:pt x="929339" y="4987116"/>
                  <a:pt x="929339" y="4987013"/>
                  <a:pt x="930269" y="4987116"/>
                </a:cubicBezTo>
                <a:cubicBezTo>
                  <a:pt x="930269" y="4987116"/>
                  <a:pt x="929339" y="4987116"/>
                  <a:pt x="929494" y="4986187"/>
                </a:cubicBezTo>
                <a:cubicBezTo>
                  <a:pt x="931662" y="4985000"/>
                  <a:pt x="934412" y="4984638"/>
                  <a:pt x="936735" y="4984574"/>
                </a:cubicBezTo>
                <a:close/>
                <a:moveTo>
                  <a:pt x="1747346" y="4984535"/>
                </a:moveTo>
                <a:cubicBezTo>
                  <a:pt x="1749050" y="4985464"/>
                  <a:pt x="1751528" y="4984638"/>
                  <a:pt x="1753387" y="4986497"/>
                </a:cubicBezTo>
                <a:cubicBezTo>
                  <a:pt x="1753387" y="4986497"/>
                  <a:pt x="1754162" y="4987426"/>
                  <a:pt x="1754317" y="4989181"/>
                </a:cubicBezTo>
                <a:cubicBezTo>
                  <a:pt x="1756021" y="4991866"/>
                  <a:pt x="1753697" y="4994344"/>
                  <a:pt x="1753697" y="4994344"/>
                </a:cubicBezTo>
                <a:cubicBezTo>
                  <a:pt x="1753697" y="4994344"/>
                  <a:pt x="1753697" y="4994344"/>
                  <a:pt x="1754471" y="4994344"/>
                </a:cubicBezTo>
                <a:cubicBezTo>
                  <a:pt x="1752768" y="4994241"/>
                  <a:pt x="1751219" y="4995067"/>
                  <a:pt x="1749515" y="4994964"/>
                </a:cubicBezTo>
                <a:lnTo>
                  <a:pt x="1749050" y="4994447"/>
                </a:lnTo>
                <a:lnTo>
                  <a:pt x="1749360" y="4995171"/>
                </a:lnTo>
                <a:cubicBezTo>
                  <a:pt x="1747811" y="4996822"/>
                  <a:pt x="1745952" y="4997855"/>
                  <a:pt x="1743938" y="4997958"/>
                </a:cubicBezTo>
                <a:cubicBezTo>
                  <a:pt x="1742080" y="4998061"/>
                  <a:pt x="1739911" y="4997339"/>
                  <a:pt x="1737743" y="4995480"/>
                </a:cubicBezTo>
                <a:cubicBezTo>
                  <a:pt x="1736813" y="4991247"/>
                  <a:pt x="1741615" y="4988872"/>
                  <a:pt x="1744093" y="4987219"/>
                </a:cubicBezTo>
                <a:lnTo>
                  <a:pt x="1745177" y="4988458"/>
                </a:lnTo>
                <a:lnTo>
                  <a:pt x="1745797" y="4986704"/>
                </a:lnTo>
                <a:cubicBezTo>
                  <a:pt x="1746262" y="4986084"/>
                  <a:pt x="1746882" y="4985361"/>
                  <a:pt x="1747346" y="4984535"/>
                </a:cubicBezTo>
                <a:close/>
                <a:moveTo>
                  <a:pt x="2219780" y="4984225"/>
                </a:moveTo>
                <a:cubicBezTo>
                  <a:pt x="2222878" y="4984328"/>
                  <a:pt x="2224582" y="4984225"/>
                  <a:pt x="2225821" y="4987633"/>
                </a:cubicBezTo>
                <a:cubicBezTo>
                  <a:pt x="2225511" y="4987839"/>
                  <a:pt x="2224737" y="4987736"/>
                  <a:pt x="2223963" y="4987633"/>
                </a:cubicBezTo>
                <a:cubicBezTo>
                  <a:pt x="2223187" y="4987529"/>
                  <a:pt x="2222413" y="4987323"/>
                  <a:pt x="2221794" y="4987116"/>
                </a:cubicBezTo>
                <a:cubicBezTo>
                  <a:pt x="2221019" y="4987633"/>
                  <a:pt x="2219935" y="4987323"/>
                  <a:pt x="2219470" y="4986600"/>
                </a:cubicBezTo>
                <a:cubicBezTo>
                  <a:pt x="2219470" y="4986600"/>
                  <a:pt x="2218231" y="4986290"/>
                  <a:pt x="2217612" y="4986704"/>
                </a:cubicBezTo>
                <a:cubicBezTo>
                  <a:pt x="2215288" y="4986187"/>
                  <a:pt x="2214823" y="4985464"/>
                  <a:pt x="2214358" y="4984742"/>
                </a:cubicBezTo>
                <a:cubicBezTo>
                  <a:pt x="2214358" y="4984742"/>
                  <a:pt x="2215443" y="4985051"/>
                  <a:pt x="2216217" y="4984535"/>
                </a:cubicBezTo>
                <a:cubicBezTo>
                  <a:pt x="2216217" y="4984535"/>
                  <a:pt x="2217301" y="4984845"/>
                  <a:pt x="2218541" y="4985154"/>
                </a:cubicBezTo>
                <a:cubicBezTo>
                  <a:pt x="2218541" y="4985154"/>
                  <a:pt x="2219160" y="4984638"/>
                  <a:pt x="2219780" y="4984225"/>
                </a:cubicBezTo>
                <a:close/>
                <a:moveTo>
                  <a:pt x="1319678" y="4983296"/>
                </a:moveTo>
                <a:cubicBezTo>
                  <a:pt x="1320452" y="4983915"/>
                  <a:pt x="1320762" y="4984948"/>
                  <a:pt x="1320917" y="4986807"/>
                </a:cubicBezTo>
                <a:cubicBezTo>
                  <a:pt x="1319523" y="4987529"/>
                  <a:pt x="1316270" y="4988665"/>
                  <a:pt x="1313172" y="4988872"/>
                </a:cubicBezTo>
                <a:cubicBezTo>
                  <a:pt x="1310074" y="4989181"/>
                  <a:pt x="1307286" y="4988562"/>
                  <a:pt x="1306821" y="4986187"/>
                </a:cubicBezTo>
                <a:cubicBezTo>
                  <a:pt x="1306666" y="4985568"/>
                  <a:pt x="1306821" y="4984742"/>
                  <a:pt x="1307131" y="4983812"/>
                </a:cubicBezTo>
                <a:cubicBezTo>
                  <a:pt x="1312397" y="4984019"/>
                  <a:pt x="1317354" y="4981437"/>
                  <a:pt x="1319678" y="4983296"/>
                </a:cubicBezTo>
                <a:close/>
                <a:moveTo>
                  <a:pt x="1673151" y="4982367"/>
                </a:moveTo>
                <a:cubicBezTo>
                  <a:pt x="1674545" y="4983193"/>
                  <a:pt x="1676404" y="4983399"/>
                  <a:pt x="1677333" y="4985051"/>
                </a:cubicBezTo>
                <a:cubicBezTo>
                  <a:pt x="1677643" y="4987426"/>
                  <a:pt x="1674545" y="4990627"/>
                  <a:pt x="1672996" y="4991763"/>
                </a:cubicBezTo>
                <a:cubicBezTo>
                  <a:pt x="1670673" y="4992382"/>
                  <a:pt x="1669124" y="4990317"/>
                  <a:pt x="1668659" y="4987942"/>
                </a:cubicBezTo>
                <a:cubicBezTo>
                  <a:pt x="1668194" y="4987219"/>
                  <a:pt x="1668349" y="4986187"/>
                  <a:pt x="1668814" y="4985258"/>
                </a:cubicBezTo>
                <a:cubicBezTo>
                  <a:pt x="1669279" y="4984328"/>
                  <a:pt x="1670053" y="4983503"/>
                  <a:pt x="1670828" y="4982986"/>
                </a:cubicBezTo>
                <a:cubicBezTo>
                  <a:pt x="1672067" y="4982676"/>
                  <a:pt x="1672067" y="4982676"/>
                  <a:pt x="1673151" y="4982367"/>
                </a:cubicBezTo>
                <a:close/>
                <a:moveTo>
                  <a:pt x="2299861" y="4982263"/>
                </a:moveTo>
                <a:cubicBezTo>
                  <a:pt x="2301410" y="4983503"/>
                  <a:pt x="2298777" y="4988355"/>
                  <a:pt x="2296609" y="4987116"/>
                </a:cubicBezTo>
                <a:cubicBezTo>
                  <a:pt x="2295834" y="4986704"/>
                  <a:pt x="2295214" y="4985671"/>
                  <a:pt x="2294750" y="4983606"/>
                </a:cubicBezTo>
                <a:cubicBezTo>
                  <a:pt x="2297693" y="4981850"/>
                  <a:pt x="2299241" y="4981644"/>
                  <a:pt x="2299861" y="4982263"/>
                </a:cubicBezTo>
                <a:close/>
                <a:moveTo>
                  <a:pt x="1980620" y="4981953"/>
                </a:moveTo>
                <a:cubicBezTo>
                  <a:pt x="1980620" y="4982367"/>
                  <a:pt x="1980155" y="4982986"/>
                  <a:pt x="1979536" y="4983606"/>
                </a:cubicBezTo>
                <a:lnTo>
                  <a:pt x="1978916" y="4984328"/>
                </a:lnTo>
                <a:lnTo>
                  <a:pt x="1977987" y="4987633"/>
                </a:lnTo>
                <a:cubicBezTo>
                  <a:pt x="1977058" y="4996719"/>
                  <a:pt x="1986041" y="5004050"/>
                  <a:pt x="1980001" y="5011381"/>
                </a:cubicBezTo>
                <a:cubicBezTo>
                  <a:pt x="1977832" y="5007974"/>
                  <a:pt x="1975199" y="5004773"/>
                  <a:pt x="1973340" y="5000953"/>
                </a:cubicBezTo>
                <a:cubicBezTo>
                  <a:pt x="1971481" y="4997132"/>
                  <a:pt x="1970397" y="4992589"/>
                  <a:pt x="1971171" y="4986497"/>
                </a:cubicBezTo>
                <a:cubicBezTo>
                  <a:pt x="1972411" y="4985877"/>
                  <a:pt x="1973495" y="4984535"/>
                  <a:pt x="1974889" y="4983709"/>
                </a:cubicBezTo>
                <a:lnTo>
                  <a:pt x="1976593" y="4982986"/>
                </a:lnTo>
                <a:lnTo>
                  <a:pt x="1977213" y="4982263"/>
                </a:lnTo>
                <a:cubicBezTo>
                  <a:pt x="1977987" y="4981644"/>
                  <a:pt x="1979071" y="4981437"/>
                  <a:pt x="1980620" y="4981953"/>
                </a:cubicBezTo>
                <a:close/>
                <a:moveTo>
                  <a:pt x="1854224" y="4979682"/>
                </a:moveTo>
                <a:cubicBezTo>
                  <a:pt x="1857787" y="4978340"/>
                  <a:pt x="1860576" y="4978752"/>
                  <a:pt x="1862589" y="4979992"/>
                </a:cubicBezTo>
                <a:cubicBezTo>
                  <a:pt x="1864138" y="4980921"/>
                  <a:pt x="1865222" y="4982367"/>
                  <a:pt x="1865842" y="4984122"/>
                </a:cubicBezTo>
                <a:lnTo>
                  <a:pt x="1865997" y="4985877"/>
                </a:lnTo>
                <a:lnTo>
                  <a:pt x="1865997" y="4985774"/>
                </a:lnTo>
                <a:cubicBezTo>
                  <a:pt x="1869095" y="4985051"/>
                  <a:pt x="1872967" y="4986807"/>
                  <a:pt x="1874516" y="4991453"/>
                </a:cubicBezTo>
                <a:cubicBezTo>
                  <a:pt x="1873122" y="4994654"/>
                  <a:pt x="1870953" y="4996100"/>
                  <a:pt x="1869714" y="4997442"/>
                </a:cubicBezTo>
                <a:lnTo>
                  <a:pt x="1864293" y="4994757"/>
                </a:lnTo>
                <a:lnTo>
                  <a:pt x="1859491" y="4997752"/>
                </a:lnTo>
                <a:cubicBezTo>
                  <a:pt x="1853915" y="4995067"/>
                  <a:pt x="1851901" y="4984019"/>
                  <a:pt x="1854224" y="4979682"/>
                </a:cubicBezTo>
                <a:close/>
                <a:moveTo>
                  <a:pt x="1788394" y="4978030"/>
                </a:moveTo>
                <a:cubicBezTo>
                  <a:pt x="1790098" y="4979992"/>
                  <a:pt x="1790717" y="4981747"/>
                  <a:pt x="1790253" y="4983606"/>
                </a:cubicBezTo>
                <a:cubicBezTo>
                  <a:pt x="1789633" y="4985464"/>
                  <a:pt x="1788084" y="4987323"/>
                  <a:pt x="1785606" y="4989285"/>
                </a:cubicBezTo>
                <a:cubicBezTo>
                  <a:pt x="1784521" y="4988355"/>
                  <a:pt x="1784056" y="4987426"/>
                  <a:pt x="1783902" y="4986497"/>
                </a:cubicBezTo>
                <a:cubicBezTo>
                  <a:pt x="1783592" y="4983812"/>
                  <a:pt x="1786535" y="4981231"/>
                  <a:pt x="1788394" y="4978030"/>
                </a:cubicBezTo>
                <a:close/>
                <a:moveTo>
                  <a:pt x="1170590" y="4976791"/>
                </a:moveTo>
                <a:cubicBezTo>
                  <a:pt x="1173649" y="4975836"/>
                  <a:pt x="1176243" y="4977823"/>
                  <a:pt x="1173611" y="4986910"/>
                </a:cubicBezTo>
                <a:cubicBezTo>
                  <a:pt x="1167724" y="4987426"/>
                  <a:pt x="1165401" y="4986187"/>
                  <a:pt x="1164781" y="4984328"/>
                </a:cubicBezTo>
                <a:cubicBezTo>
                  <a:pt x="1164007" y="4981644"/>
                  <a:pt x="1167531" y="4977746"/>
                  <a:pt x="1170590" y="4976791"/>
                </a:cubicBezTo>
                <a:close/>
                <a:moveTo>
                  <a:pt x="6732364" y="4976602"/>
                </a:moveTo>
                <a:cubicBezTo>
                  <a:pt x="6739489" y="4983314"/>
                  <a:pt x="6741503" y="4989715"/>
                  <a:pt x="6739954" y="4996117"/>
                </a:cubicBezTo>
                <a:cubicBezTo>
                  <a:pt x="6739179" y="4999318"/>
                  <a:pt x="6737630" y="5002519"/>
                  <a:pt x="6735152" y="5005720"/>
                </a:cubicBezTo>
                <a:lnTo>
                  <a:pt x="6725858" y="5015530"/>
                </a:lnTo>
                <a:lnTo>
                  <a:pt x="6720902" y="5005307"/>
                </a:lnTo>
                <a:cubicBezTo>
                  <a:pt x="6719817" y="5000351"/>
                  <a:pt x="6720592" y="4995498"/>
                  <a:pt x="6722605" y="4990748"/>
                </a:cubicBezTo>
                <a:cubicBezTo>
                  <a:pt x="6724774" y="4985999"/>
                  <a:pt x="6728182" y="4981352"/>
                  <a:pt x="6732364" y="4976602"/>
                </a:cubicBezTo>
                <a:close/>
                <a:moveTo>
                  <a:pt x="1735729" y="4975242"/>
                </a:moveTo>
                <a:cubicBezTo>
                  <a:pt x="1736194" y="4976584"/>
                  <a:pt x="1732786" y="4981024"/>
                  <a:pt x="1730308" y="4981644"/>
                </a:cubicBezTo>
                <a:cubicBezTo>
                  <a:pt x="1729379" y="4981850"/>
                  <a:pt x="1728604" y="4981644"/>
                  <a:pt x="1728139" y="4980714"/>
                </a:cubicBezTo>
                <a:cubicBezTo>
                  <a:pt x="1727055" y="4977101"/>
                  <a:pt x="1734180" y="4974209"/>
                  <a:pt x="1735729" y="4975242"/>
                </a:cubicBezTo>
                <a:close/>
                <a:moveTo>
                  <a:pt x="2068291" y="4974829"/>
                </a:moveTo>
                <a:cubicBezTo>
                  <a:pt x="2069376" y="4975139"/>
                  <a:pt x="2069376" y="4975036"/>
                  <a:pt x="2070460" y="4977204"/>
                </a:cubicBezTo>
                <a:cubicBezTo>
                  <a:pt x="2069530" y="4976894"/>
                  <a:pt x="2069376" y="4976997"/>
                  <a:pt x="2069066" y="4978133"/>
                </a:cubicBezTo>
                <a:cubicBezTo>
                  <a:pt x="2069066" y="4978133"/>
                  <a:pt x="2069066" y="4978133"/>
                  <a:pt x="2069376" y="4978856"/>
                </a:cubicBezTo>
                <a:cubicBezTo>
                  <a:pt x="2068756" y="4979269"/>
                  <a:pt x="2068446" y="4978546"/>
                  <a:pt x="2067672" y="4978959"/>
                </a:cubicBezTo>
                <a:cubicBezTo>
                  <a:pt x="2067672" y="4978959"/>
                  <a:pt x="2067363" y="4978236"/>
                  <a:pt x="2067363" y="4978236"/>
                </a:cubicBezTo>
                <a:cubicBezTo>
                  <a:pt x="2066897" y="4978443"/>
                  <a:pt x="2066897" y="4978443"/>
                  <a:pt x="2067052" y="4978133"/>
                </a:cubicBezTo>
                <a:cubicBezTo>
                  <a:pt x="2067052" y="4977927"/>
                  <a:pt x="2067363" y="4977307"/>
                  <a:pt x="2067363" y="4976378"/>
                </a:cubicBezTo>
                <a:cubicBezTo>
                  <a:pt x="2067672" y="4975242"/>
                  <a:pt x="2067208" y="4974519"/>
                  <a:pt x="2068291" y="4974829"/>
                </a:cubicBezTo>
                <a:close/>
                <a:moveTo>
                  <a:pt x="1964801" y="4974764"/>
                </a:moveTo>
                <a:cubicBezTo>
                  <a:pt x="1968384" y="4975216"/>
                  <a:pt x="1971869" y="4976894"/>
                  <a:pt x="1975354" y="4978546"/>
                </a:cubicBezTo>
                <a:cubicBezTo>
                  <a:pt x="1973030" y="4982367"/>
                  <a:pt x="1969158" y="4983296"/>
                  <a:pt x="1964976" y="4982780"/>
                </a:cubicBezTo>
                <a:cubicBezTo>
                  <a:pt x="1960948" y="4982367"/>
                  <a:pt x="1956766" y="4980405"/>
                  <a:pt x="1953668" y="4978340"/>
                </a:cubicBezTo>
                <a:cubicBezTo>
                  <a:pt x="1957541" y="4975087"/>
                  <a:pt x="1961220" y="4974313"/>
                  <a:pt x="1964801" y="4974764"/>
                </a:cubicBezTo>
                <a:close/>
                <a:moveTo>
                  <a:pt x="1396661" y="4973900"/>
                </a:moveTo>
                <a:cubicBezTo>
                  <a:pt x="1400224" y="4973177"/>
                  <a:pt x="1401463" y="4973383"/>
                  <a:pt x="1404871" y="4975036"/>
                </a:cubicBezTo>
                <a:cubicBezTo>
                  <a:pt x="1406264" y="4980818"/>
                  <a:pt x="1404096" y="4984742"/>
                  <a:pt x="1402082" y="4988769"/>
                </a:cubicBezTo>
                <a:cubicBezTo>
                  <a:pt x="1400688" y="4988975"/>
                  <a:pt x="1399449" y="4989078"/>
                  <a:pt x="1398675" y="4988975"/>
                </a:cubicBezTo>
                <a:cubicBezTo>
                  <a:pt x="1392324" y="4988252"/>
                  <a:pt x="1396196" y="4979269"/>
                  <a:pt x="1396661" y="4973900"/>
                </a:cubicBezTo>
                <a:close/>
                <a:moveTo>
                  <a:pt x="975188" y="4973900"/>
                </a:moveTo>
                <a:cubicBezTo>
                  <a:pt x="973794" y="4975861"/>
                  <a:pt x="971316" y="4979062"/>
                  <a:pt x="969148" y="4979888"/>
                </a:cubicBezTo>
                <a:cubicBezTo>
                  <a:pt x="968528" y="4980198"/>
                  <a:pt x="967753" y="4980198"/>
                  <a:pt x="967288" y="4979785"/>
                </a:cubicBezTo>
                <a:cubicBezTo>
                  <a:pt x="966514" y="4978959"/>
                  <a:pt x="967444" y="4978030"/>
                  <a:pt x="967444" y="4977204"/>
                </a:cubicBezTo>
                <a:cubicBezTo>
                  <a:pt x="968528" y="4975552"/>
                  <a:pt x="974414" y="4973074"/>
                  <a:pt x="975188" y="4973900"/>
                </a:cubicBezTo>
                <a:close/>
                <a:moveTo>
                  <a:pt x="2289328" y="4973486"/>
                </a:moveTo>
                <a:cubicBezTo>
                  <a:pt x="2291032" y="4975242"/>
                  <a:pt x="2292891" y="4977101"/>
                  <a:pt x="2291187" y="4978649"/>
                </a:cubicBezTo>
                <a:cubicBezTo>
                  <a:pt x="2289638" y="4977823"/>
                  <a:pt x="2288709" y="4978546"/>
                  <a:pt x="2287005" y="4975965"/>
                </a:cubicBezTo>
                <a:cubicBezTo>
                  <a:pt x="2287780" y="4975139"/>
                  <a:pt x="2288554" y="4974313"/>
                  <a:pt x="2289328" y="4973486"/>
                </a:cubicBezTo>
                <a:close/>
                <a:moveTo>
                  <a:pt x="6178145" y="4971956"/>
                </a:moveTo>
                <a:cubicBezTo>
                  <a:pt x="6177216" y="4972678"/>
                  <a:pt x="6177216" y="4972678"/>
                  <a:pt x="6177990" y="4973504"/>
                </a:cubicBezTo>
                <a:cubicBezTo>
                  <a:pt x="6177990" y="4973504"/>
                  <a:pt x="6177990" y="4973504"/>
                  <a:pt x="6178765" y="4973504"/>
                </a:cubicBezTo>
                <a:cubicBezTo>
                  <a:pt x="6178610" y="4974331"/>
                  <a:pt x="6177836" y="4974434"/>
                  <a:pt x="6177836" y="4975157"/>
                </a:cubicBezTo>
                <a:cubicBezTo>
                  <a:pt x="6177836" y="4975157"/>
                  <a:pt x="6177061" y="4975157"/>
                  <a:pt x="6177061" y="4975157"/>
                </a:cubicBezTo>
                <a:cubicBezTo>
                  <a:pt x="6176906" y="4975570"/>
                  <a:pt x="6176906" y="4975570"/>
                  <a:pt x="6176751" y="4975363"/>
                </a:cubicBezTo>
                <a:cubicBezTo>
                  <a:pt x="6176596" y="4975157"/>
                  <a:pt x="6176286" y="4974743"/>
                  <a:pt x="6175512" y="4974331"/>
                </a:cubicBezTo>
                <a:cubicBezTo>
                  <a:pt x="6175047" y="4973917"/>
                  <a:pt x="6174737" y="4973711"/>
                  <a:pt x="6174582" y="4973504"/>
                </a:cubicBezTo>
                <a:cubicBezTo>
                  <a:pt x="6174428" y="4973298"/>
                  <a:pt x="6174428" y="4973091"/>
                  <a:pt x="6174737" y="4972678"/>
                </a:cubicBezTo>
                <a:cubicBezTo>
                  <a:pt x="6175667" y="4971852"/>
                  <a:pt x="6175667" y="4971852"/>
                  <a:pt x="6178145" y="4971956"/>
                </a:cubicBezTo>
                <a:close/>
                <a:moveTo>
                  <a:pt x="1062085" y="4971628"/>
                </a:moveTo>
                <a:cubicBezTo>
                  <a:pt x="1062085" y="4971628"/>
                  <a:pt x="1062085" y="4971628"/>
                  <a:pt x="1062705" y="4972041"/>
                </a:cubicBezTo>
                <a:cubicBezTo>
                  <a:pt x="1064099" y="4972867"/>
                  <a:pt x="1064718" y="4973383"/>
                  <a:pt x="1065493" y="4973796"/>
                </a:cubicBezTo>
                <a:cubicBezTo>
                  <a:pt x="1065648" y="4974932"/>
                  <a:pt x="1065493" y="4978030"/>
                  <a:pt x="1064408" y="4978340"/>
                </a:cubicBezTo>
                <a:cubicBezTo>
                  <a:pt x="1063169" y="4978649"/>
                  <a:pt x="1062085" y="4978752"/>
                  <a:pt x="1061155" y="4978546"/>
                </a:cubicBezTo>
                <a:cubicBezTo>
                  <a:pt x="1060227" y="4978340"/>
                  <a:pt x="1059451" y="4977823"/>
                  <a:pt x="1059297" y="4977307"/>
                </a:cubicBezTo>
                <a:cubicBezTo>
                  <a:pt x="1059142" y="4975448"/>
                  <a:pt x="1058832" y="4973693"/>
                  <a:pt x="1060071" y="4972557"/>
                </a:cubicBezTo>
                <a:cubicBezTo>
                  <a:pt x="1060537" y="4972144"/>
                  <a:pt x="1061155" y="4971834"/>
                  <a:pt x="1062085" y="4971628"/>
                </a:cubicBezTo>
                <a:close/>
                <a:moveTo>
                  <a:pt x="1473025" y="4971421"/>
                </a:moveTo>
                <a:cubicBezTo>
                  <a:pt x="1476587" y="4972144"/>
                  <a:pt x="1477672" y="4972764"/>
                  <a:pt x="1479995" y="4975552"/>
                </a:cubicBezTo>
                <a:cubicBezTo>
                  <a:pt x="1478447" y="4981231"/>
                  <a:pt x="1474574" y="4984122"/>
                  <a:pt x="1470702" y="4986910"/>
                </a:cubicBezTo>
                <a:cubicBezTo>
                  <a:pt x="1467913" y="4986497"/>
                  <a:pt x="1466519" y="4985568"/>
                  <a:pt x="1465900" y="4984432"/>
                </a:cubicBezTo>
                <a:cubicBezTo>
                  <a:pt x="1464351" y="4981024"/>
                  <a:pt x="1470392" y="4975448"/>
                  <a:pt x="1473025" y="4971421"/>
                </a:cubicBezTo>
                <a:close/>
                <a:moveTo>
                  <a:pt x="2165876" y="4970389"/>
                </a:moveTo>
                <a:cubicBezTo>
                  <a:pt x="2165566" y="4972867"/>
                  <a:pt x="2165876" y="4974726"/>
                  <a:pt x="2165102" y="4976584"/>
                </a:cubicBezTo>
                <a:cubicBezTo>
                  <a:pt x="2164172" y="4976997"/>
                  <a:pt x="2163243" y="4977101"/>
                  <a:pt x="2162469" y="4976997"/>
                </a:cubicBezTo>
                <a:cubicBezTo>
                  <a:pt x="2161849" y="4976791"/>
                  <a:pt x="2161230" y="4976481"/>
                  <a:pt x="2160920" y="4975965"/>
                </a:cubicBezTo>
                <a:cubicBezTo>
                  <a:pt x="2160145" y="4974829"/>
                  <a:pt x="2159990" y="4972970"/>
                  <a:pt x="2160454" y="4970802"/>
                </a:cubicBezTo>
                <a:cubicBezTo>
                  <a:pt x="2162313" y="4970285"/>
                  <a:pt x="2164172" y="4969769"/>
                  <a:pt x="2165876" y="4970389"/>
                </a:cubicBezTo>
                <a:close/>
                <a:moveTo>
                  <a:pt x="1509271" y="4970389"/>
                </a:moveTo>
                <a:cubicBezTo>
                  <a:pt x="1511594" y="4968530"/>
                  <a:pt x="1515776" y="4968530"/>
                  <a:pt x="1518874" y="4972454"/>
                </a:cubicBezTo>
                <a:cubicBezTo>
                  <a:pt x="1518720" y="4976068"/>
                  <a:pt x="1517325" y="4978340"/>
                  <a:pt x="1516550" y="4980095"/>
                </a:cubicBezTo>
                <a:cubicBezTo>
                  <a:pt x="1514227" y="4979682"/>
                  <a:pt x="1512369" y="4979992"/>
                  <a:pt x="1510045" y="4979682"/>
                </a:cubicBezTo>
                <a:cubicBezTo>
                  <a:pt x="1506018" y="4975965"/>
                  <a:pt x="1506792" y="4972247"/>
                  <a:pt x="1509271" y="4970389"/>
                </a:cubicBezTo>
                <a:close/>
                <a:moveTo>
                  <a:pt x="2206149" y="4968737"/>
                </a:moveTo>
                <a:cubicBezTo>
                  <a:pt x="2211106" y="4971215"/>
                  <a:pt x="2212190" y="4981024"/>
                  <a:pt x="2204600" y="4981231"/>
                </a:cubicBezTo>
                <a:cubicBezTo>
                  <a:pt x="2201657" y="4979269"/>
                  <a:pt x="2199643" y="4972041"/>
                  <a:pt x="2200109" y="4969356"/>
                </a:cubicBezTo>
                <a:cubicBezTo>
                  <a:pt x="2202431" y="4967911"/>
                  <a:pt x="2204445" y="4967911"/>
                  <a:pt x="2206149" y="4968737"/>
                </a:cubicBezTo>
                <a:close/>
                <a:moveTo>
                  <a:pt x="1566466" y="4967549"/>
                </a:moveTo>
                <a:cubicBezTo>
                  <a:pt x="1570455" y="4966981"/>
                  <a:pt x="1574250" y="4968169"/>
                  <a:pt x="1574482" y="4971421"/>
                </a:cubicBezTo>
                <a:cubicBezTo>
                  <a:pt x="1574482" y="4972351"/>
                  <a:pt x="1574328" y="4973590"/>
                  <a:pt x="1573708" y="4974829"/>
                </a:cubicBezTo>
                <a:cubicBezTo>
                  <a:pt x="1572158" y="4976068"/>
                  <a:pt x="1570764" y="4976997"/>
                  <a:pt x="1569370" y="4977823"/>
                </a:cubicBezTo>
                <a:lnTo>
                  <a:pt x="1565343" y="4979475"/>
                </a:lnTo>
                <a:lnTo>
                  <a:pt x="1565653" y="4985671"/>
                </a:lnTo>
                <a:cubicBezTo>
                  <a:pt x="1565808" y="4987942"/>
                  <a:pt x="1565188" y="4989491"/>
                  <a:pt x="1562400" y="4990627"/>
                </a:cubicBezTo>
                <a:cubicBezTo>
                  <a:pt x="1561006" y="4989491"/>
                  <a:pt x="1560387" y="4987529"/>
                  <a:pt x="1560232" y="4985051"/>
                </a:cubicBezTo>
                <a:lnTo>
                  <a:pt x="1559922" y="4978340"/>
                </a:lnTo>
                <a:lnTo>
                  <a:pt x="1557598" y="4976894"/>
                </a:lnTo>
                <a:cubicBezTo>
                  <a:pt x="1558683" y="4976068"/>
                  <a:pt x="1557908" y="4975139"/>
                  <a:pt x="1557288" y="4974209"/>
                </a:cubicBezTo>
                <a:cubicBezTo>
                  <a:pt x="1558296" y="4970440"/>
                  <a:pt x="1562478" y="4968117"/>
                  <a:pt x="1566466" y="4967549"/>
                </a:cubicBezTo>
                <a:close/>
                <a:moveTo>
                  <a:pt x="1760048" y="4967188"/>
                </a:moveTo>
                <a:cubicBezTo>
                  <a:pt x="1763455" y="4969873"/>
                  <a:pt x="1765004" y="4967394"/>
                  <a:pt x="1770271" y="4971938"/>
                </a:cubicBezTo>
                <a:cubicBezTo>
                  <a:pt x="1777241" y="4977410"/>
                  <a:pt x="1775847" y="4983399"/>
                  <a:pt x="1773524" y="4986704"/>
                </a:cubicBezTo>
                <a:cubicBezTo>
                  <a:pt x="1772749" y="4986084"/>
                  <a:pt x="1769497" y="4990627"/>
                  <a:pt x="1764695" y="4990214"/>
                </a:cubicBezTo>
                <a:cubicBezTo>
                  <a:pt x="1762991" y="4990111"/>
                  <a:pt x="1761132" y="4989388"/>
                  <a:pt x="1759273" y="4987736"/>
                </a:cubicBezTo>
                <a:cubicBezTo>
                  <a:pt x="1754781" y="4984122"/>
                  <a:pt x="1751219" y="4978856"/>
                  <a:pt x="1756795" y="4972144"/>
                </a:cubicBezTo>
                <a:cubicBezTo>
                  <a:pt x="1757569" y="4970492"/>
                  <a:pt x="1757569" y="4971318"/>
                  <a:pt x="1758499" y="4970492"/>
                </a:cubicBezTo>
                <a:cubicBezTo>
                  <a:pt x="1759273" y="4969666"/>
                  <a:pt x="1760048" y="4968014"/>
                  <a:pt x="1760048" y="4967188"/>
                </a:cubicBezTo>
                <a:close/>
                <a:moveTo>
                  <a:pt x="1900229" y="4966672"/>
                </a:moveTo>
                <a:cubicBezTo>
                  <a:pt x="1902552" y="4965433"/>
                  <a:pt x="1907664" y="4973693"/>
                  <a:pt x="1899300" y="4971834"/>
                </a:cubicBezTo>
                <a:cubicBezTo>
                  <a:pt x="1898990" y="4968530"/>
                  <a:pt x="1899455" y="4967085"/>
                  <a:pt x="1900229" y="4966672"/>
                </a:cubicBezTo>
                <a:close/>
                <a:moveTo>
                  <a:pt x="1825782" y="4966142"/>
                </a:moveTo>
                <a:cubicBezTo>
                  <a:pt x="1830681" y="4965174"/>
                  <a:pt x="1835560" y="4966259"/>
                  <a:pt x="1839045" y="4969873"/>
                </a:cubicBezTo>
                <a:cubicBezTo>
                  <a:pt x="1840903" y="4972454"/>
                  <a:pt x="1841833" y="4974932"/>
                  <a:pt x="1841988" y="4977204"/>
                </a:cubicBezTo>
                <a:lnTo>
                  <a:pt x="1840439" y="4981953"/>
                </a:lnTo>
                <a:lnTo>
                  <a:pt x="1840594" y="4982676"/>
                </a:lnTo>
                <a:lnTo>
                  <a:pt x="1840129" y="4982780"/>
                </a:lnTo>
                <a:lnTo>
                  <a:pt x="1839974" y="4983296"/>
                </a:lnTo>
                <a:cubicBezTo>
                  <a:pt x="1837341" y="4986807"/>
                  <a:pt x="1832539" y="4988975"/>
                  <a:pt x="1827582" y="4988665"/>
                </a:cubicBezTo>
                <a:cubicBezTo>
                  <a:pt x="1821542" y="4988252"/>
                  <a:pt x="1815345" y="4984328"/>
                  <a:pt x="1812402" y="4974726"/>
                </a:cubicBezTo>
                <a:cubicBezTo>
                  <a:pt x="1815965" y="4970131"/>
                  <a:pt x="1820883" y="4967110"/>
                  <a:pt x="1825782" y="4966142"/>
                </a:cubicBezTo>
                <a:close/>
                <a:moveTo>
                  <a:pt x="1711255" y="4966052"/>
                </a:moveTo>
                <a:cubicBezTo>
                  <a:pt x="1713734" y="4965433"/>
                  <a:pt x="1715593" y="4965639"/>
                  <a:pt x="1717142" y="4967704"/>
                </a:cubicBezTo>
                <a:cubicBezTo>
                  <a:pt x="1715593" y="4967808"/>
                  <a:pt x="1714508" y="4967911"/>
                  <a:pt x="1713734" y="4967808"/>
                </a:cubicBezTo>
                <a:cubicBezTo>
                  <a:pt x="1712804" y="4967601"/>
                  <a:pt x="1712030" y="4967085"/>
                  <a:pt x="1711255" y="4966052"/>
                </a:cubicBezTo>
                <a:close/>
                <a:moveTo>
                  <a:pt x="2173931" y="4963987"/>
                </a:moveTo>
                <a:cubicBezTo>
                  <a:pt x="2177184" y="4967601"/>
                  <a:pt x="2179507" y="4974932"/>
                  <a:pt x="2177029" y="4979166"/>
                </a:cubicBezTo>
                <a:lnTo>
                  <a:pt x="2176099" y="4979888"/>
                </a:lnTo>
                <a:lnTo>
                  <a:pt x="2175944" y="4981024"/>
                </a:lnTo>
                <a:cubicBezTo>
                  <a:pt x="2175789" y="4981437"/>
                  <a:pt x="2175480" y="4981953"/>
                  <a:pt x="2174861" y="4983089"/>
                </a:cubicBezTo>
                <a:cubicBezTo>
                  <a:pt x="2174705" y="4981953"/>
                  <a:pt x="2174705" y="4981953"/>
                  <a:pt x="2173621" y="4982263"/>
                </a:cubicBezTo>
                <a:cubicBezTo>
                  <a:pt x="2173621" y="4982263"/>
                  <a:pt x="2173466" y="4982263"/>
                  <a:pt x="2173001" y="4982986"/>
                </a:cubicBezTo>
                <a:cubicBezTo>
                  <a:pt x="2172382" y="4982573"/>
                  <a:pt x="2172846" y="4981850"/>
                  <a:pt x="2172227" y="4981437"/>
                </a:cubicBezTo>
                <a:cubicBezTo>
                  <a:pt x="2172227" y="4981437"/>
                  <a:pt x="2172692" y="4980714"/>
                  <a:pt x="2172692" y="4980714"/>
                </a:cubicBezTo>
                <a:cubicBezTo>
                  <a:pt x="2172382" y="4980508"/>
                  <a:pt x="2172382" y="4980508"/>
                  <a:pt x="2172692" y="4980405"/>
                </a:cubicBezTo>
                <a:lnTo>
                  <a:pt x="2172846" y="4980302"/>
                </a:lnTo>
                <a:lnTo>
                  <a:pt x="2172692" y="4972867"/>
                </a:lnTo>
                <a:cubicBezTo>
                  <a:pt x="2172692" y="4969769"/>
                  <a:pt x="2172846" y="4966775"/>
                  <a:pt x="2173931" y="4963987"/>
                </a:cubicBezTo>
                <a:close/>
                <a:moveTo>
                  <a:pt x="1954907" y="4963884"/>
                </a:moveTo>
                <a:cubicBezTo>
                  <a:pt x="1953978" y="4964710"/>
                  <a:pt x="1951035" y="4969150"/>
                  <a:pt x="1950260" y="4968220"/>
                </a:cubicBezTo>
                <a:cubicBezTo>
                  <a:pt x="1950260" y="4968220"/>
                  <a:pt x="1951190" y="4967394"/>
                  <a:pt x="1952119" y="4966465"/>
                </a:cubicBezTo>
                <a:cubicBezTo>
                  <a:pt x="1953048" y="4965639"/>
                  <a:pt x="1953048" y="4965639"/>
                  <a:pt x="1952274" y="4964710"/>
                </a:cubicBezTo>
                <a:cubicBezTo>
                  <a:pt x="1953203" y="4963780"/>
                  <a:pt x="1953203" y="4963780"/>
                  <a:pt x="1954907" y="4963884"/>
                </a:cubicBezTo>
                <a:close/>
                <a:moveTo>
                  <a:pt x="1342912" y="4963780"/>
                </a:moveTo>
                <a:cubicBezTo>
                  <a:pt x="1344771" y="4962232"/>
                  <a:pt x="1350192" y="4961302"/>
                  <a:pt x="1353600" y="4964297"/>
                </a:cubicBezTo>
                <a:cubicBezTo>
                  <a:pt x="1353755" y="4968530"/>
                  <a:pt x="1352051" y="4970285"/>
                  <a:pt x="1348953" y="4970285"/>
                </a:cubicBezTo>
                <a:cubicBezTo>
                  <a:pt x="1348024" y="4970285"/>
                  <a:pt x="1346785" y="4970182"/>
                  <a:pt x="1345546" y="4969769"/>
                </a:cubicBezTo>
                <a:cubicBezTo>
                  <a:pt x="1345080" y="4967911"/>
                  <a:pt x="1343842" y="4966465"/>
                  <a:pt x="1342912" y="4963780"/>
                </a:cubicBezTo>
                <a:close/>
                <a:moveTo>
                  <a:pt x="2067517" y="4963264"/>
                </a:moveTo>
                <a:cubicBezTo>
                  <a:pt x="2069685" y="4964503"/>
                  <a:pt x="2070770" y="4964090"/>
                  <a:pt x="2070460" y="4964916"/>
                </a:cubicBezTo>
                <a:cubicBezTo>
                  <a:pt x="2071080" y="4965329"/>
                  <a:pt x="2070770" y="4966052"/>
                  <a:pt x="2070150" y="4965639"/>
                </a:cubicBezTo>
                <a:cubicBezTo>
                  <a:pt x="2068602" y="4966775"/>
                  <a:pt x="2067982" y="4964400"/>
                  <a:pt x="2067517" y="4963264"/>
                </a:cubicBezTo>
                <a:close/>
                <a:moveTo>
                  <a:pt x="2085020" y="4963058"/>
                </a:moveTo>
                <a:cubicBezTo>
                  <a:pt x="2085795" y="4963058"/>
                  <a:pt x="2086414" y="4963677"/>
                  <a:pt x="2086724" y="4964607"/>
                </a:cubicBezTo>
                <a:cubicBezTo>
                  <a:pt x="2087653" y="4967498"/>
                  <a:pt x="2086105" y="4972970"/>
                  <a:pt x="2082542" y="4972867"/>
                </a:cubicBezTo>
                <a:cubicBezTo>
                  <a:pt x="2081922" y="4972661"/>
                  <a:pt x="2081303" y="4971938"/>
                  <a:pt x="2080838" y="4970905"/>
                </a:cubicBezTo>
                <a:cubicBezTo>
                  <a:pt x="2079599" y="4967911"/>
                  <a:pt x="2080219" y="4962438"/>
                  <a:pt x="2085020" y="4963058"/>
                </a:cubicBezTo>
                <a:close/>
                <a:moveTo>
                  <a:pt x="1636441" y="4962335"/>
                </a:moveTo>
                <a:cubicBezTo>
                  <a:pt x="1637215" y="4963264"/>
                  <a:pt x="1638144" y="4965019"/>
                  <a:pt x="1637370" y="4965742"/>
                </a:cubicBezTo>
                <a:cubicBezTo>
                  <a:pt x="1636905" y="4966569"/>
                  <a:pt x="1636596" y="4966569"/>
                  <a:pt x="1635976" y="4966259"/>
                </a:cubicBezTo>
                <a:cubicBezTo>
                  <a:pt x="1635511" y="4965846"/>
                  <a:pt x="1634737" y="4965329"/>
                  <a:pt x="1633962" y="4964813"/>
                </a:cubicBezTo>
                <a:close/>
                <a:moveTo>
                  <a:pt x="1750715" y="4961818"/>
                </a:moveTo>
                <a:cubicBezTo>
                  <a:pt x="1752148" y="4962670"/>
                  <a:pt x="1753078" y="4964503"/>
                  <a:pt x="1752613" y="4967188"/>
                </a:cubicBezTo>
                <a:cubicBezTo>
                  <a:pt x="1749050" y="4966569"/>
                  <a:pt x="1745488" y="4966052"/>
                  <a:pt x="1745797" y="4962335"/>
                </a:cubicBezTo>
                <a:cubicBezTo>
                  <a:pt x="1747346" y="4961096"/>
                  <a:pt x="1749282" y="4960967"/>
                  <a:pt x="1750715" y="4961818"/>
                </a:cubicBezTo>
                <a:close/>
                <a:moveTo>
                  <a:pt x="1630245" y="4961818"/>
                </a:moveTo>
                <a:cubicBezTo>
                  <a:pt x="1630245" y="4961818"/>
                  <a:pt x="1630245" y="4961818"/>
                  <a:pt x="1631329" y="4963574"/>
                </a:cubicBezTo>
                <a:lnTo>
                  <a:pt x="1631019" y="4965123"/>
                </a:lnTo>
                <a:lnTo>
                  <a:pt x="1633187" y="4965536"/>
                </a:lnTo>
                <a:cubicBezTo>
                  <a:pt x="1634891" y="4967394"/>
                  <a:pt x="1637525" y="4970182"/>
                  <a:pt x="1635976" y="4972661"/>
                </a:cubicBezTo>
                <a:cubicBezTo>
                  <a:pt x="1635046" y="4972661"/>
                  <a:pt x="1635202" y="4973486"/>
                  <a:pt x="1634272" y="4973486"/>
                </a:cubicBezTo>
                <a:cubicBezTo>
                  <a:pt x="1634272" y="4973486"/>
                  <a:pt x="1633497" y="4973900"/>
                  <a:pt x="1632258" y="4973900"/>
                </a:cubicBezTo>
                <a:cubicBezTo>
                  <a:pt x="1631019" y="4974003"/>
                  <a:pt x="1629315" y="4973693"/>
                  <a:pt x="1627611" y="4972351"/>
                </a:cubicBezTo>
                <a:cubicBezTo>
                  <a:pt x="1626837" y="4971421"/>
                  <a:pt x="1624978" y="4968634"/>
                  <a:pt x="1625753" y="4968737"/>
                </a:cubicBezTo>
                <a:cubicBezTo>
                  <a:pt x="1626528" y="4967808"/>
                  <a:pt x="1625753" y="4967808"/>
                  <a:pt x="1625753" y="4966981"/>
                </a:cubicBezTo>
                <a:lnTo>
                  <a:pt x="1626837" y="4966259"/>
                </a:lnTo>
                <a:lnTo>
                  <a:pt x="1626372" y="4965639"/>
                </a:lnTo>
                <a:cubicBezTo>
                  <a:pt x="1625288" y="4963884"/>
                  <a:pt x="1625443" y="4963884"/>
                  <a:pt x="1626063" y="4962954"/>
                </a:cubicBezTo>
                <a:cubicBezTo>
                  <a:pt x="1626837" y="4962025"/>
                  <a:pt x="1629470" y="4962748"/>
                  <a:pt x="1630245" y="4961818"/>
                </a:cubicBezTo>
                <a:close/>
                <a:moveTo>
                  <a:pt x="1396661" y="4961096"/>
                </a:moveTo>
                <a:cubicBezTo>
                  <a:pt x="1396196" y="4962335"/>
                  <a:pt x="1396042" y="4964297"/>
                  <a:pt x="1394803" y="4965949"/>
                </a:cubicBezTo>
                <a:cubicBezTo>
                  <a:pt x="1390620" y="4966981"/>
                  <a:pt x="1388142" y="4965433"/>
                  <a:pt x="1386902" y="4962128"/>
                </a:cubicBezTo>
                <a:cubicBezTo>
                  <a:pt x="1388761" y="4957379"/>
                  <a:pt x="1395112" y="4957172"/>
                  <a:pt x="1396661" y="4961096"/>
                </a:cubicBezTo>
                <a:close/>
                <a:moveTo>
                  <a:pt x="1914944" y="4959341"/>
                </a:moveTo>
                <a:cubicBezTo>
                  <a:pt x="1915719" y="4960270"/>
                  <a:pt x="1916493" y="4960270"/>
                  <a:pt x="1915874" y="4962025"/>
                </a:cubicBezTo>
                <a:cubicBezTo>
                  <a:pt x="1915874" y="4962851"/>
                  <a:pt x="1915099" y="4963677"/>
                  <a:pt x="1915099" y="4964607"/>
                </a:cubicBezTo>
                <a:cubicBezTo>
                  <a:pt x="1915099" y="4964607"/>
                  <a:pt x="1914480" y="4964710"/>
                  <a:pt x="1913705" y="4964813"/>
                </a:cubicBezTo>
                <a:cubicBezTo>
                  <a:pt x="1913085" y="4964916"/>
                  <a:pt x="1912156" y="4964813"/>
                  <a:pt x="1911691" y="4964400"/>
                </a:cubicBezTo>
                <a:cubicBezTo>
                  <a:pt x="1909987" y="4963471"/>
                  <a:pt x="1912466" y="4960993"/>
                  <a:pt x="1912311" y="4960063"/>
                </a:cubicBezTo>
                <a:cubicBezTo>
                  <a:pt x="1913240" y="4959237"/>
                  <a:pt x="1914015" y="4958411"/>
                  <a:pt x="1914944" y="4959341"/>
                </a:cubicBezTo>
                <a:close/>
                <a:moveTo>
                  <a:pt x="2031891" y="4958927"/>
                </a:moveTo>
                <a:lnTo>
                  <a:pt x="2034679" y="4960993"/>
                </a:lnTo>
                <a:lnTo>
                  <a:pt x="2034989" y="4960270"/>
                </a:lnTo>
                <a:cubicBezTo>
                  <a:pt x="2037157" y="4958721"/>
                  <a:pt x="2041649" y="4961302"/>
                  <a:pt x="2043353" y="4964193"/>
                </a:cubicBezTo>
                <a:lnTo>
                  <a:pt x="2043198" y="4967291"/>
                </a:lnTo>
                <a:lnTo>
                  <a:pt x="2050633" y="4972764"/>
                </a:lnTo>
                <a:cubicBezTo>
                  <a:pt x="2056674" y="4976894"/>
                  <a:pt x="2062560" y="4980818"/>
                  <a:pt x="2067363" y="4985464"/>
                </a:cubicBezTo>
                <a:cubicBezTo>
                  <a:pt x="2065658" y="4985671"/>
                  <a:pt x="2063954" y="4985774"/>
                  <a:pt x="2062251" y="4985568"/>
                </a:cubicBezTo>
                <a:cubicBezTo>
                  <a:pt x="2050169" y="4984432"/>
                  <a:pt x="2038397" y="4973693"/>
                  <a:pt x="2026779" y="4966465"/>
                </a:cubicBezTo>
                <a:cubicBezTo>
                  <a:pt x="2028793" y="4964297"/>
                  <a:pt x="2028173" y="4961612"/>
                  <a:pt x="2031891" y="4958927"/>
                </a:cubicBezTo>
                <a:close/>
                <a:moveTo>
                  <a:pt x="1954598" y="4958514"/>
                </a:moveTo>
                <a:cubicBezTo>
                  <a:pt x="1963271" y="4958618"/>
                  <a:pt x="1968693" y="4968427"/>
                  <a:pt x="1969777" y="4974313"/>
                </a:cubicBezTo>
                <a:cubicBezTo>
                  <a:pt x="1963271" y="4974209"/>
                  <a:pt x="1957695" y="4968943"/>
                  <a:pt x="1955682" y="4963677"/>
                </a:cubicBezTo>
                <a:cubicBezTo>
                  <a:pt x="1954907" y="4961922"/>
                  <a:pt x="1954443" y="4960167"/>
                  <a:pt x="1954598" y="4958514"/>
                </a:cubicBezTo>
                <a:close/>
                <a:moveTo>
                  <a:pt x="1006632" y="4958514"/>
                </a:moveTo>
                <a:cubicBezTo>
                  <a:pt x="1003225" y="4968324"/>
                  <a:pt x="1005393" y="4975552"/>
                  <a:pt x="999662" y="4986084"/>
                </a:cubicBezTo>
                <a:cubicBezTo>
                  <a:pt x="998113" y="4984742"/>
                  <a:pt x="997183" y="4982367"/>
                  <a:pt x="996873" y="4979682"/>
                </a:cubicBezTo>
                <a:cubicBezTo>
                  <a:pt x="995790" y="4971421"/>
                  <a:pt x="999507" y="4959237"/>
                  <a:pt x="1006632" y="4958514"/>
                </a:cubicBezTo>
                <a:close/>
                <a:moveTo>
                  <a:pt x="1900539" y="4955623"/>
                </a:moveTo>
                <a:cubicBezTo>
                  <a:pt x="1902088" y="4953764"/>
                  <a:pt x="1904721" y="4955417"/>
                  <a:pt x="1904876" y="4956346"/>
                </a:cubicBezTo>
                <a:cubicBezTo>
                  <a:pt x="1904256" y="4957275"/>
                  <a:pt x="1902552" y="4957275"/>
                  <a:pt x="1901778" y="4958205"/>
                </a:cubicBezTo>
                <a:cubicBezTo>
                  <a:pt x="1901623" y="4957379"/>
                  <a:pt x="1900694" y="4956552"/>
                  <a:pt x="1900539" y="4955623"/>
                </a:cubicBezTo>
                <a:close/>
                <a:moveTo>
                  <a:pt x="980145" y="4954901"/>
                </a:moveTo>
                <a:cubicBezTo>
                  <a:pt x="980764" y="4956346"/>
                  <a:pt x="979216" y="4959857"/>
                  <a:pt x="978286" y="4962128"/>
                </a:cubicBezTo>
                <a:cubicBezTo>
                  <a:pt x="977047" y="4962748"/>
                  <a:pt x="975808" y="4962954"/>
                  <a:pt x="974414" y="4962851"/>
                </a:cubicBezTo>
                <a:cubicBezTo>
                  <a:pt x="973175" y="4962645"/>
                  <a:pt x="971780" y="4962232"/>
                  <a:pt x="970541" y="4961509"/>
                </a:cubicBezTo>
                <a:cubicBezTo>
                  <a:pt x="972555" y="4956862"/>
                  <a:pt x="975653" y="4955313"/>
                  <a:pt x="980145" y="4954901"/>
                </a:cubicBezTo>
                <a:close/>
                <a:moveTo>
                  <a:pt x="2217301" y="4952319"/>
                </a:moveTo>
                <a:lnTo>
                  <a:pt x="2219653" y="4952922"/>
                </a:lnTo>
                <a:lnTo>
                  <a:pt x="2219625" y="4952939"/>
                </a:lnTo>
                <a:cubicBezTo>
                  <a:pt x="2218541" y="4952629"/>
                  <a:pt x="2217301" y="4952319"/>
                  <a:pt x="2217301" y="4952319"/>
                </a:cubicBezTo>
                <a:close/>
                <a:moveTo>
                  <a:pt x="1578084" y="4952112"/>
                </a:moveTo>
                <a:cubicBezTo>
                  <a:pt x="1579787" y="4953042"/>
                  <a:pt x="1580678" y="4955468"/>
                  <a:pt x="1580213" y="4957998"/>
                </a:cubicBezTo>
                <a:cubicBezTo>
                  <a:pt x="1579903" y="4959753"/>
                  <a:pt x="1578974" y="4961509"/>
                  <a:pt x="1577270" y="4962851"/>
                </a:cubicBezTo>
                <a:cubicBezTo>
                  <a:pt x="1576651" y="4962851"/>
                  <a:pt x="1575876" y="4962541"/>
                  <a:pt x="1575257" y="4962025"/>
                </a:cubicBezTo>
                <a:lnTo>
                  <a:pt x="1574947" y="4961818"/>
                </a:lnTo>
                <a:lnTo>
                  <a:pt x="1572004" y="4966052"/>
                </a:lnTo>
                <a:cubicBezTo>
                  <a:pt x="1571074" y="4965536"/>
                  <a:pt x="1570454" y="4964607"/>
                  <a:pt x="1570145" y="4963574"/>
                </a:cubicBezTo>
                <a:cubicBezTo>
                  <a:pt x="1569526" y="4962025"/>
                  <a:pt x="1569680" y="4960167"/>
                  <a:pt x="1570145" y="4958514"/>
                </a:cubicBezTo>
                <a:lnTo>
                  <a:pt x="1571539" y="4956346"/>
                </a:lnTo>
                <a:lnTo>
                  <a:pt x="1571074" y="4955210"/>
                </a:lnTo>
                <a:cubicBezTo>
                  <a:pt x="1573863" y="4951751"/>
                  <a:pt x="1576379" y="4951183"/>
                  <a:pt x="1578084" y="4952112"/>
                </a:cubicBezTo>
                <a:close/>
                <a:moveTo>
                  <a:pt x="2221175" y="4952009"/>
                </a:moveTo>
                <a:cubicBezTo>
                  <a:pt x="2222258" y="4952319"/>
                  <a:pt x="2222258" y="4952319"/>
                  <a:pt x="2223343" y="4953868"/>
                </a:cubicBezTo>
                <a:lnTo>
                  <a:pt x="2219653" y="4952922"/>
                </a:lnTo>
                <a:close/>
                <a:moveTo>
                  <a:pt x="2207853" y="4951183"/>
                </a:moveTo>
                <a:cubicBezTo>
                  <a:pt x="2208938" y="4951493"/>
                  <a:pt x="2209557" y="4952216"/>
                  <a:pt x="2210641" y="4952525"/>
                </a:cubicBezTo>
                <a:cubicBezTo>
                  <a:pt x="2211261" y="4952112"/>
                  <a:pt x="2212655" y="4951183"/>
                  <a:pt x="2213894" y="4951493"/>
                </a:cubicBezTo>
                <a:cubicBezTo>
                  <a:pt x="2214978" y="4951803"/>
                  <a:pt x="2216682" y="4952835"/>
                  <a:pt x="2216682" y="4952835"/>
                </a:cubicBezTo>
                <a:cubicBezTo>
                  <a:pt x="2216528" y="4954074"/>
                  <a:pt x="2216372" y="4954074"/>
                  <a:pt x="2215908" y="4953351"/>
                </a:cubicBezTo>
                <a:cubicBezTo>
                  <a:pt x="2214049" y="4953455"/>
                  <a:pt x="2214823" y="4953042"/>
                  <a:pt x="2213584" y="4952732"/>
                </a:cubicBezTo>
                <a:cubicBezTo>
                  <a:pt x="2212500" y="4952422"/>
                  <a:pt x="2208163" y="4953145"/>
                  <a:pt x="2208008" y="4954281"/>
                </a:cubicBezTo>
                <a:cubicBezTo>
                  <a:pt x="2207388" y="4953558"/>
                  <a:pt x="2206304" y="4953248"/>
                  <a:pt x="2206304" y="4953248"/>
                </a:cubicBezTo>
                <a:cubicBezTo>
                  <a:pt x="2206459" y="4952112"/>
                  <a:pt x="2207078" y="4951596"/>
                  <a:pt x="2207853" y="4951183"/>
                </a:cubicBezTo>
                <a:close/>
                <a:moveTo>
                  <a:pt x="1602518" y="4950357"/>
                </a:moveTo>
                <a:cubicBezTo>
                  <a:pt x="1602208" y="4953971"/>
                  <a:pt x="1603602" y="4958308"/>
                  <a:pt x="1602363" y="4960993"/>
                </a:cubicBezTo>
                <a:cubicBezTo>
                  <a:pt x="1602053" y="4961509"/>
                  <a:pt x="1601589" y="4961922"/>
                  <a:pt x="1601124" y="4962128"/>
                </a:cubicBezTo>
                <a:cubicBezTo>
                  <a:pt x="1600659" y="4962232"/>
                  <a:pt x="1599885" y="4962025"/>
                  <a:pt x="1598956" y="4961199"/>
                </a:cubicBezTo>
                <a:cubicBezTo>
                  <a:pt x="1597252" y="4960373"/>
                  <a:pt x="1597097" y="4959547"/>
                  <a:pt x="1598491" y="4956862"/>
                </a:cubicBezTo>
                <a:cubicBezTo>
                  <a:pt x="1599885" y="4955004"/>
                  <a:pt x="1600505" y="4953145"/>
                  <a:pt x="1601280" y="4953145"/>
                </a:cubicBezTo>
                <a:cubicBezTo>
                  <a:pt x="1601124" y="4952216"/>
                  <a:pt x="1601898" y="4951286"/>
                  <a:pt x="1601744" y="4950460"/>
                </a:cubicBezTo>
                <a:cubicBezTo>
                  <a:pt x="1601744" y="4950460"/>
                  <a:pt x="1601744" y="4950460"/>
                  <a:pt x="1602518" y="4950357"/>
                </a:cubicBezTo>
                <a:close/>
                <a:moveTo>
                  <a:pt x="1641087" y="4949221"/>
                </a:moveTo>
                <a:cubicBezTo>
                  <a:pt x="1643876" y="4950150"/>
                  <a:pt x="1646199" y="4948602"/>
                  <a:pt x="1650072" y="4950977"/>
                </a:cubicBezTo>
                <a:lnTo>
                  <a:pt x="1647593" y="4962335"/>
                </a:lnTo>
                <a:lnTo>
                  <a:pt x="1647903" y="4963884"/>
                </a:lnTo>
                <a:cubicBezTo>
                  <a:pt x="1647903" y="4964916"/>
                  <a:pt x="1647749" y="4965742"/>
                  <a:pt x="1647438" y="4966155"/>
                </a:cubicBezTo>
                <a:lnTo>
                  <a:pt x="1646509" y="4966465"/>
                </a:lnTo>
                <a:lnTo>
                  <a:pt x="1644960" y="4973486"/>
                </a:lnTo>
                <a:cubicBezTo>
                  <a:pt x="1643720" y="4980818"/>
                  <a:pt x="1642482" y="4987736"/>
                  <a:pt x="1640158" y="4994138"/>
                </a:cubicBezTo>
                <a:cubicBezTo>
                  <a:pt x="1632723" y="4982263"/>
                  <a:pt x="1638919" y="4964710"/>
                  <a:pt x="1641087" y="4949221"/>
                </a:cubicBezTo>
                <a:close/>
                <a:moveTo>
                  <a:pt x="2238058" y="4948395"/>
                </a:moveTo>
                <a:cubicBezTo>
                  <a:pt x="2246732" y="4948808"/>
                  <a:pt x="2253547" y="4958927"/>
                  <a:pt x="2255561" y="4964710"/>
                </a:cubicBezTo>
                <a:cubicBezTo>
                  <a:pt x="2251069" y="4964607"/>
                  <a:pt x="2246887" y="4962025"/>
                  <a:pt x="2243634" y="4958824"/>
                </a:cubicBezTo>
                <a:lnTo>
                  <a:pt x="2241775" y="4956346"/>
                </a:lnTo>
                <a:lnTo>
                  <a:pt x="2240226" y="4957895"/>
                </a:lnTo>
                <a:lnTo>
                  <a:pt x="2240846" y="4957895"/>
                </a:lnTo>
                <a:lnTo>
                  <a:pt x="2237438" y="4962128"/>
                </a:lnTo>
                <a:lnTo>
                  <a:pt x="2237128" y="4963367"/>
                </a:lnTo>
                <a:cubicBezTo>
                  <a:pt x="2237128" y="4964813"/>
                  <a:pt x="2237128" y="4966362"/>
                  <a:pt x="2235734" y="4967498"/>
                </a:cubicBezTo>
                <a:lnTo>
                  <a:pt x="2231862" y="4965949"/>
                </a:lnTo>
                <a:lnTo>
                  <a:pt x="2231088" y="4966465"/>
                </a:lnTo>
                <a:cubicBezTo>
                  <a:pt x="2227060" y="4968117"/>
                  <a:pt x="2222723" y="4968634"/>
                  <a:pt x="2219935" y="4968324"/>
                </a:cubicBezTo>
                <a:cubicBezTo>
                  <a:pt x="2220864" y="4966259"/>
                  <a:pt x="2222258" y="4964400"/>
                  <a:pt x="2223963" y="4962851"/>
                </a:cubicBezTo>
                <a:lnTo>
                  <a:pt x="2228610" y="4959857"/>
                </a:lnTo>
                <a:lnTo>
                  <a:pt x="2228144" y="4957275"/>
                </a:lnTo>
                <a:lnTo>
                  <a:pt x="2225821" y="4961096"/>
                </a:lnTo>
                <a:cubicBezTo>
                  <a:pt x="2221639" y="4965433"/>
                  <a:pt x="2215752" y="4966155"/>
                  <a:pt x="2209866" y="4966981"/>
                </a:cubicBezTo>
                <a:cubicBezTo>
                  <a:pt x="2210021" y="4962645"/>
                  <a:pt x="2212964" y="4959753"/>
                  <a:pt x="2216837" y="4957895"/>
                </a:cubicBezTo>
                <a:lnTo>
                  <a:pt x="2228144" y="4955623"/>
                </a:lnTo>
                <a:lnTo>
                  <a:pt x="2228144" y="4953042"/>
                </a:lnTo>
                <a:cubicBezTo>
                  <a:pt x="2229384" y="4952009"/>
                  <a:pt x="2230623" y="4951906"/>
                  <a:pt x="2231707" y="4952422"/>
                </a:cubicBezTo>
                <a:lnTo>
                  <a:pt x="2233566" y="4953764"/>
                </a:lnTo>
                <a:lnTo>
                  <a:pt x="2234031" y="4948499"/>
                </a:lnTo>
                <a:cubicBezTo>
                  <a:pt x="2236044" y="4950254"/>
                  <a:pt x="2236354" y="4952835"/>
                  <a:pt x="2239142" y="4954281"/>
                </a:cubicBezTo>
                <a:lnTo>
                  <a:pt x="2240381" y="4954487"/>
                </a:lnTo>
                <a:lnTo>
                  <a:pt x="2239762" y="4953558"/>
                </a:lnTo>
                <a:cubicBezTo>
                  <a:pt x="2238678" y="4951803"/>
                  <a:pt x="2238212" y="4950047"/>
                  <a:pt x="2238058" y="4948395"/>
                </a:cubicBezTo>
                <a:close/>
                <a:moveTo>
                  <a:pt x="2074023" y="4947879"/>
                </a:moveTo>
                <a:cubicBezTo>
                  <a:pt x="2075262" y="4948189"/>
                  <a:pt x="2076346" y="4949428"/>
                  <a:pt x="2077120" y="4950770"/>
                </a:cubicBezTo>
                <a:lnTo>
                  <a:pt x="2077895" y="4952939"/>
                </a:lnTo>
                <a:lnTo>
                  <a:pt x="2078670" y="4952009"/>
                </a:lnTo>
                <a:cubicBezTo>
                  <a:pt x="2079599" y="4951596"/>
                  <a:pt x="2080993" y="4952009"/>
                  <a:pt x="2083007" y="4952319"/>
                </a:cubicBezTo>
                <a:cubicBezTo>
                  <a:pt x="2082697" y="4956036"/>
                  <a:pt x="2080838" y="4956552"/>
                  <a:pt x="2077276" y="4956449"/>
                </a:cubicBezTo>
                <a:lnTo>
                  <a:pt x="2077430" y="4956036"/>
                </a:lnTo>
                <a:lnTo>
                  <a:pt x="2076656" y="4956862"/>
                </a:lnTo>
                <a:cubicBezTo>
                  <a:pt x="2075726" y="4957275"/>
                  <a:pt x="2074487" y="4957275"/>
                  <a:pt x="2073403" y="4956966"/>
                </a:cubicBezTo>
                <a:cubicBezTo>
                  <a:pt x="2072474" y="4956966"/>
                  <a:pt x="2071544" y="4956552"/>
                  <a:pt x="2070925" y="4955726"/>
                </a:cubicBezTo>
                <a:cubicBezTo>
                  <a:pt x="2070305" y="4954901"/>
                  <a:pt x="2069841" y="4953868"/>
                  <a:pt x="2069685" y="4952835"/>
                </a:cubicBezTo>
                <a:cubicBezTo>
                  <a:pt x="2069996" y="4951700"/>
                  <a:pt x="2069841" y="4951700"/>
                  <a:pt x="2070150" y="4950460"/>
                </a:cubicBezTo>
                <a:cubicBezTo>
                  <a:pt x="2071389" y="4949635"/>
                  <a:pt x="2072164" y="4947982"/>
                  <a:pt x="2074023" y="4947879"/>
                </a:cubicBezTo>
                <a:close/>
                <a:moveTo>
                  <a:pt x="871098" y="4947776"/>
                </a:moveTo>
                <a:cubicBezTo>
                  <a:pt x="872957" y="4947259"/>
                  <a:pt x="875280" y="4947673"/>
                  <a:pt x="877603" y="4949841"/>
                </a:cubicBezTo>
                <a:cubicBezTo>
                  <a:pt x="874351" y="4955210"/>
                  <a:pt x="875900" y="4959134"/>
                  <a:pt x="871253" y="4962232"/>
                </a:cubicBezTo>
                <a:cubicBezTo>
                  <a:pt x="869239" y="4961715"/>
                  <a:pt x="867845" y="4960579"/>
                  <a:pt x="866915" y="4959237"/>
                </a:cubicBezTo>
                <a:cubicBezTo>
                  <a:pt x="864438" y="4955313"/>
                  <a:pt x="866761" y="4949015"/>
                  <a:pt x="871098" y="4947776"/>
                </a:cubicBezTo>
                <a:close/>
                <a:moveTo>
                  <a:pt x="1854012" y="4947647"/>
                </a:moveTo>
                <a:cubicBezTo>
                  <a:pt x="1855890" y="4945917"/>
                  <a:pt x="1858329" y="4945246"/>
                  <a:pt x="1859956" y="4948085"/>
                </a:cubicBezTo>
                <a:cubicBezTo>
                  <a:pt x="1860421" y="4948705"/>
                  <a:pt x="1860421" y="4949635"/>
                  <a:pt x="1859801" y="4950667"/>
                </a:cubicBezTo>
                <a:cubicBezTo>
                  <a:pt x="1858717" y="4952732"/>
                  <a:pt x="1855774" y="4954901"/>
                  <a:pt x="1853450" y="4954591"/>
                </a:cubicBezTo>
                <a:cubicBezTo>
                  <a:pt x="1852676" y="4954487"/>
                  <a:pt x="1851901" y="4954281"/>
                  <a:pt x="1851436" y="4953558"/>
                </a:cubicBezTo>
                <a:cubicBezTo>
                  <a:pt x="1850817" y="4952164"/>
                  <a:pt x="1852133" y="4949376"/>
                  <a:pt x="1854012" y="4947647"/>
                </a:cubicBezTo>
                <a:close/>
                <a:moveTo>
                  <a:pt x="2097722" y="4947053"/>
                </a:moveTo>
                <a:cubicBezTo>
                  <a:pt x="2100045" y="4947673"/>
                  <a:pt x="2102988" y="4949118"/>
                  <a:pt x="2103298" y="4951080"/>
                </a:cubicBezTo>
                <a:cubicBezTo>
                  <a:pt x="2102988" y="4953455"/>
                  <a:pt x="2101130" y="4953661"/>
                  <a:pt x="2099891" y="4953351"/>
                </a:cubicBezTo>
                <a:cubicBezTo>
                  <a:pt x="2098651" y="4953661"/>
                  <a:pt x="2097412" y="4953042"/>
                  <a:pt x="2096483" y="4952009"/>
                </a:cubicBezTo>
                <a:cubicBezTo>
                  <a:pt x="2095553" y="4950977"/>
                  <a:pt x="2094934" y="4949531"/>
                  <a:pt x="2094469" y="4948189"/>
                </a:cubicBezTo>
                <a:cubicBezTo>
                  <a:pt x="2094934" y="4948912"/>
                  <a:pt x="2094934" y="4948912"/>
                  <a:pt x="2094934" y="4948912"/>
                </a:cubicBezTo>
                <a:cubicBezTo>
                  <a:pt x="2096173" y="4949221"/>
                  <a:pt x="2095708" y="4948395"/>
                  <a:pt x="2096328" y="4947982"/>
                </a:cubicBezTo>
                <a:cubicBezTo>
                  <a:pt x="2096328" y="4947982"/>
                  <a:pt x="2095708" y="4948499"/>
                  <a:pt x="2095864" y="4947259"/>
                </a:cubicBezTo>
                <a:cubicBezTo>
                  <a:pt x="2096328" y="4947982"/>
                  <a:pt x="2096947" y="4947569"/>
                  <a:pt x="2097722" y="4947053"/>
                </a:cubicBezTo>
                <a:close/>
                <a:moveTo>
                  <a:pt x="1381017" y="4945917"/>
                </a:moveTo>
                <a:cubicBezTo>
                  <a:pt x="1388142" y="4948189"/>
                  <a:pt x="1391395" y="4947982"/>
                  <a:pt x="1396816" y="4950254"/>
                </a:cubicBezTo>
                <a:cubicBezTo>
                  <a:pt x="1396971" y="4951183"/>
                  <a:pt x="1396042" y="4951183"/>
                  <a:pt x="1396196" y="4952112"/>
                </a:cubicBezTo>
                <a:cubicBezTo>
                  <a:pt x="1395887" y="4952525"/>
                  <a:pt x="1395112" y="4952835"/>
                  <a:pt x="1394028" y="4952835"/>
                </a:cubicBezTo>
                <a:cubicBezTo>
                  <a:pt x="1390930" y="4953042"/>
                  <a:pt x="1385973" y="4951596"/>
                  <a:pt x="1385973" y="4950977"/>
                </a:cubicBezTo>
                <a:cubicBezTo>
                  <a:pt x="1385044" y="4950977"/>
                  <a:pt x="1384889" y="4950150"/>
                  <a:pt x="1384114" y="4950150"/>
                </a:cubicBezTo>
                <a:cubicBezTo>
                  <a:pt x="1384114" y="4950150"/>
                  <a:pt x="1383185" y="4950254"/>
                  <a:pt x="1382256" y="4949428"/>
                </a:cubicBezTo>
                <a:cubicBezTo>
                  <a:pt x="1381326" y="4948602"/>
                  <a:pt x="1380397" y="4947776"/>
                  <a:pt x="1381017" y="4945917"/>
                </a:cubicBezTo>
                <a:close/>
                <a:moveTo>
                  <a:pt x="2191434" y="4945297"/>
                </a:moveTo>
                <a:lnTo>
                  <a:pt x="2196855" y="4947156"/>
                </a:lnTo>
                <a:lnTo>
                  <a:pt x="2197320" y="4946743"/>
                </a:lnTo>
                <a:cubicBezTo>
                  <a:pt x="2200109" y="4946227"/>
                  <a:pt x="2202741" y="4950150"/>
                  <a:pt x="2202896" y="4953351"/>
                </a:cubicBezTo>
                <a:lnTo>
                  <a:pt x="2202431" y="4955520"/>
                </a:lnTo>
                <a:lnTo>
                  <a:pt x="2202587" y="4955726"/>
                </a:lnTo>
                <a:cubicBezTo>
                  <a:pt x="2201812" y="4958411"/>
                  <a:pt x="2201502" y="4959134"/>
                  <a:pt x="2198869" y="4958927"/>
                </a:cubicBezTo>
                <a:cubicBezTo>
                  <a:pt x="2197940" y="4958824"/>
                  <a:pt x="2196855" y="4958618"/>
                  <a:pt x="2195306" y="4958411"/>
                </a:cubicBezTo>
                <a:cubicBezTo>
                  <a:pt x="2194067" y="4958205"/>
                  <a:pt x="2193138" y="4957585"/>
                  <a:pt x="2192208" y="4956759"/>
                </a:cubicBezTo>
                <a:cubicBezTo>
                  <a:pt x="2191434" y="4955933"/>
                  <a:pt x="2190969" y="4954797"/>
                  <a:pt x="2190659" y="4953455"/>
                </a:cubicBezTo>
                <a:cubicBezTo>
                  <a:pt x="2189265" y="4952422"/>
                  <a:pt x="2188026" y="4950254"/>
                  <a:pt x="2188026" y="4948395"/>
                </a:cubicBezTo>
                <a:cubicBezTo>
                  <a:pt x="2188801" y="4946020"/>
                  <a:pt x="2190350" y="4945091"/>
                  <a:pt x="2191434" y="4945297"/>
                </a:cubicBezTo>
                <a:close/>
                <a:moveTo>
                  <a:pt x="6418680" y="4945096"/>
                </a:moveTo>
                <a:cubicBezTo>
                  <a:pt x="6422107" y="4945058"/>
                  <a:pt x="6425437" y="4946555"/>
                  <a:pt x="6428458" y="4950169"/>
                </a:cubicBezTo>
                <a:cubicBezTo>
                  <a:pt x="6426909" y="4955022"/>
                  <a:pt x="6423656" y="4959255"/>
                  <a:pt x="6416841" y="4964211"/>
                </a:cubicBezTo>
                <a:cubicBezTo>
                  <a:pt x="6413433" y="4961423"/>
                  <a:pt x="6411419" y="4959048"/>
                  <a:pt x="6410025" y="4956674"/>
                </a:cubicBezTo>
                <a:cubicBezTo>
                  <a:pt x="6408786" y="4954196"/>
                  <a:pt x="6408321" y="4951821"/>
                  <a:pt x="6408321" y="4949239"/>
                </a:cubicBezTo>
                <a:cubicBezTo>
                  <a:pt x="6411729" y="4946710"/>
                  <a:pt x="6415253" y="4945135"/>
                  <a:pt x="6418680" y="4945096"/>
                </a:cubicBezTo>
                <a:close/>
                <a:moveTo>
                  <a:pt x="1756640" y="4944988"/>
                </a:moveTo>
                <a:lnTo>
                  <a:pt x="1759273" y="4945814"/>
                </a:lnTo>
                <a:lnTo>
                  <a:pt x="1759583" y="4945607"/>
                </a:lnTo>
                <a:cubicBezTo>
                  <a:pt x="1763300" y="4944265"/>
                  <a:pt x="1766708" y="4947259"/>
                  <a:pt x="1765934" y="4950770"/>
                </a:cubicBezTo>
                <a:cubicBezTo>
                  <a:pt x="1765624" y="4952319"/>
                  <a:pt x="1764540" y="4953971"/>
                  <a:pt x="1762216" y="4955313"/>
                </a:cubicBezTo>
                <a:lnTo>
                  <a:pt x="1761597" y="4954901"/>
                </a:lnTo>
                <a:lnTo>
                  <a:pt x="1761287" y="4955933"/>
                </a:lnTo>
                <a:cubicBezTo>
                  <a:pt x="1759893" y="4957688"/>
                  <a:pt x="1758034" y="4959031"/>
                  <a:pt x="1756331" y="4960476"/>
                </a:cubicBezTo>
                <a:cubicBezTo>
                  <a:pt x="1745023" y="4958102"/>
                  <a:pt x="1753852" y="4950254"/>
                  <a:pt x="1756640" y="4944988"/>
                </a:cubicBezTo>
                <a:close/>
                <a:moveTo>
                  <a:pt x="1181510" y="4944884"/>
                </a:moveTo>
                <a:cubicBezTo>
                  <a:pt x="1182130" y="4945401"/>
                  <a:pt x="1182749" y="4946227"/>
                  <a:pt x="1183214" y="4947569"/>
                </a:cubicBezTo>
                <a:cubicBezTo>
                  <a:pt x="1182439" y="4954901"/>
                  <a:pt x="1180116" y="4960270"/>
                  <a:pt x="1172991" y="4961199"/>
                </a:cubicBezTo>
                <a:cubicBezTo>
                  <a:pt x="1172991" y="4959960"/>
                  <a:pt x="1171907" y="4959857"/>
                  <a:pt x="1170667" y="4959857"/>
                </a:cubicBezTo>
                <a:cubicBezTo>
                  <a:pt x="1166795" y="4953764"/>
                  <a:pt x="1176554" y="4941271"/>
                  <a:pt x="1181510" y="4944884"/>
                </a:cubicBezTo>
                <a:close/>
                <a:moveTo>
                  <a:pt x="1333773" y="4944472"/>
                </a:moveTo>
                <a:cubicBezTo>
                  <a:pt x="1339349" y="4944575"/>
                  <a:pt x="1342447" y="4947776"/>
                  <a:pt x="1345391" y="4950977"/>
                </a:cubicBezTo>
                <a:cubicBezTo>
                  <a:pt x="1345080" y="4955417"/>
                  <a:pt x="1343686" y="4957069"/>
                  <a:pt x="1341828" y="4957275"/>
                </a:cubicBezTo>
                <a:cubicBezTo>
                  <a:pt x="1341053" y="4957379"/>
                  <a:pt x="1340434" y="4957275"/>
                  <a:pt x="1339660" y="4957069"/>
                </a:cubicBezTo>
                <a:cubicBezTo>
                  <a:pt x="1336716" y="4956243"/>
                  <a:pt x="1333153" y="4953764"/>
                  <a:pt x="1330521" y="4952732"/>
                </a:cubicBezTo>
                <a:cubicBezTo>
                  <a:pt x="1330830" y="4948808"/>
                  <a:pt x="1331295" y="4947569"/>
                  <a:pt x="1333773" y="4944472"/>
                </a:cubicBezTo>
                <a:close/>
                <a:moveTo>
                  <a:pt x="1459472" y="4943981"/>
                </a:moveTo>
                <a:cubicBezTo>
                  <a:pt x="1460633" y="4944239"/>
                  <a:pt x="1461950" y="4945142"/>
                  <a:pt x="1463266" y="4946020"/>
                </a:cubicBezTo>
                <a:cubicBezTo>
                  <a:pt x="1462492" y="4947673"/>
                  <a:pt x="1463421" y="4949531"/>
                  <a:pt x="1460943" y="4951080"/>
                </a:cubicBezTo>
                <a:cubicBezTo>
                  <a:pt x="1459239" y="4949324"/>
                  <a:pt x="1458310" y="4947569"/>
                  <a:pt x="1456606" y="4945814"/>
                </a:cubicBezTo>
                <a:cubicBezTo>
                  <a:pt x="1457303" y="4944110"/>
                  <a:pt x="1458310" y="4943723"/>
                  <a:pt x="1459472" y="4943981"/>
                </a:cubicBezTo>
                <a:close/>
                <a:moveTo>
                  <a:pt x="6103175" y="4943560"/>
                </a:moveTo>
                <a:cubicBezTo>
                  <a:pt x="6103795" y="4945315"/>
                  <a:pt x="6102711" y="4946968"/>
                  <a:pt x="6101781" y="4948723"/>
                </a:cubicBezTo>
                <a:cubicBezTo>
                  <a:pt x="6100852" y="4949962"/>
                  <a:pt x="6099923" y="4950375"/>
                  <a:pt x="6099148" y="4950272"/>
                </a:cubicBezTo>
                <a:cubicBezTo>
                  <a:pt x="6098219" y="4950169"/>
                  <a:pt x="6097444" y="4949549"/>
                  <a:pt x="6096670" y="4948620"/>
                </a:cubicBezTo>
                <a:cubicBezTo>
                  <a:pt x="6095276" y="4946865"/>
                  <a:pt x="6096205" y="4945109"/>
                  <a:pt x="6096205" y="4945109"/>
                </a:cubicBezTo>
                <a:cubicBezTo>
                  <a:pt x="6098219" y="4942528"/>
                  <a:pt x="6100852" y="4941805"/>
                  <a:pt x="6103175" y="4943560"/>
                </a:cubicBezTo>
                <a:close/>
                <a:moveTo>
                  <a:pt x="1429189" y="4943026"/>
                </a:moveTo>
                <a:cubicBezTo>
                  <a:pt x="1431668" y="4942303"/>
                  <a:pt x="1437089" y="4943336"/>
                  <a:pt x="1438638" y="4947363"/>
                </a:cubicBezTo>
                <a:cubicBezTo>
                  <a:pt x="1437399" y="4949944"/>
                  <a:pt x="1436005" y="4951286"/>
                  <a:pt x="1434301" y="4951493"/>
                </a:cubicBezTo>
                <a:cubicBezTo>
                  <a:pt x="1432597" y="4951803"/>
                  <a:pt x="1430738" y="4950977"/>
                  <a:pt x="1428725" y="4949428"/>
                </a:cubicBezTo>
                <a:cubicBezTo>
                  <a:pt x="1429189" y="4947466"/>
                  <a:pt x="1428879" y="4945814"/>
                  <a:pt x="1429189" y="4943026"/>
                </a:cubicBezTo>
                <a:close/>
                <a:moveTo>
                  <a:pt x="1509116" y="4941993"/>
                </a:moveTo>
                <a:cubicBezTo>
                  <a:pt x="1511284" y="4940135"/>
                  <a:pt x="1518409" y="4944058"/>
                  <a:pt x="1521198" y="4946434"/>
                </a:cubicBezTo>
                <a:cubicBezTo>
                  <a:pt x="1520733" y="4946846"/>
                  <a:pt x="1519804" y="4947053"/>
                  <a:pt x="1518874" y="4946846"/>
                </a:cubicBezTo>
                <a:cubicBezTo>
                  <a:pt x="1515776" y="4946434"/>
                  <a:pt x="1511284" y="4943749"/>
                  <a:pt x="1509116" y="4941993"/>
                </a:cubicBezTo>
                <a:close/>
                <a:moveTo>
                  <a:pt x="1044272" y="4941683"/>
                </a:moveTo>
                <a:cubicBezTo>
                  <a:pt x="1040864" y="4947156"/>
                  <a:pt x="1036992" y="4951906"/>
                  <a:pt x="1034823" y="4960476"/>
                </a:cubicBezTo>
                <a:cubicBezTo>
                  <a:pt x="1033274" y="4959857"/>
                  <a:pt x="1032500" y="4961509"/>
                  <a:pt x="1031106" y="4961612"/>
                </a:cubicBezTo>
                <a:cubicBezTo>
                  <a:pt x="1030641" y="4961715"/>
                  <a:pt x="1030176" y="4961715"/>
                  <a:pt x="1029557" y="4961302"/>
                </a:cubicBezTo>
                <a:cubicBezTo>
                  <a:pt x="1027078" y="4955004"/>
                  <a:pt x="1035907" y="4939309"/>
                  <a:pt x="1044272" y="4941683"/>
                </a:cubicBezTo>
                <a:close/>
                <a:moveTo>
                  <a:pt x="1416894" y="4941258"/>
                </a:moveTo>
                <a:cubicBezTo>
                  <a:pt x="1421251" y="4941735"/>
                  <a:pt x="1424620" y="4944213"/>
                  <a:pt x="1423768" y="4948602"/>
                </a:cubicBezTo>
                <a:cubicBezTo>
                  <a:pt x="1423613" y="4949841"/>
                  <a:pt x="1422993" y="4951183"/>
                  <a:pt x="1422064" y="4952732"/>
                </a:cubicBezTo>
                <a:cubicBezTo>
                  <a:pt x="1420515" y="4952835"/>
                  <a:pt x="1418811" y="4953145"/>
                  <a:pt x="1416953" y="4953248"/>
                </a:cubicBezTo>
                <a:cubicBezTo>
                  <a:pt x="1415558" y="4953351"/>
                  <a:pt x="1414164" y="4953455"/>
                  <a:pt x="1412770" y="4953351"/>
                </a:cubicBezTo>
                <a:cubicBezTo>
                  <a:pt x="1408743" y="4953042"/>
                  <a:pt x="1405025" y="4951493"/>
                  <a:pt x="1404096" y="4945917"/>
                </a:cubicBezTo>
                <a:cubicBezTo>
                  <a:pt x="1407194" y="4942303"/>
                  <a:pt x="1412538" y="4940780"/>
                  <a:pt x="1416894" y="4941258"/>
                </a:cubicBezTo>
                <a:close/>
                <a:moveTo>
                  <a:pt x="1324789" y="4940548"/>
                </a:moveTo>
                <a:cubicBezTo>
                  <a:pt x="1322930" y="4950254"/>
                  <a:pt x="1326184" y="4957585"/>
                  <a:pt x="1321846" y="4967911"/>
                </a:cubicBezTo>
                <a:cubicBezTo>
                  <a:pt x="1314876" y="4962438"/>
                  <a:pt x="1315650" y="4941271"/>
                  <a:pt x="1324789" y="4940548"/>
                </a:cubicBezTo>
                <a:close/>
                <a:moveTo>
                  <a:pt x="1093684" y="4940341"/>
                </a:moveTo>
                <a:cubicBezTo>
                  <a:pt x="1099260" y="4937553"/>
                  <a:pt x="1106075" y="4941890"/>
                  <a:pt x="1107780" y="4949428"/>
                </a:cubicBezTo>
                <a:cubicBezTo>
                  <a:pt x="1110877" y="4960993"/>
                  <a:pt x="1107315" y="4968220"/>
                  <a:pt x="1107315" y="4968220"/>
                </a:cubicBezTo>
                <a:cubicBezTo>
                  <a:pt x="1105301" y="4969046"/>
                  <a:pt x="1103597" y="4969253"/>
                  <a:pt x="1102203" y="4969046"/>
                </a:cubicBezTo>
                <a:cubicBezTo>
                  <a:pt x="1097711" y="4968427"/>
                  <a:pt x="1095388" y="4963987"/>
                  <a:pt x="1093684" y="4959341"/>
                </a:cubicBezTo>
                <a:cubicBezTo>
                  <a:pt x="1093064" y="4957275"/>
                  <a:pt x="1092599" y="4955107"/>
                  <a:pt x="1092135" y="4953248"/>
                </a:cubicBezTo>
                <a:cubicBezTo>
                  <a:pt x="1091051" y="4949324"/>
                  <a:pt x="1090276" y="4944988"/>
                  <a:pt x="1091516" y="4942407"/>
                </a:cubicBezTo>
                <a:cubicBezTo>
                  <a:pt x="1091980" y="4941477"/>
                  <a:pt x="1092755" y="4940754"/>
                  <a:pt x="1093684" y="4940341"/>
                </a:cubicBezTo>
                <a:close/>
                <a:moveTo>
                  <a:pt x="2001531" y="4940238"/>
                </a:moveTo>
                <a:cubicBezTo>
                  <a:pt x="2002925" y="4941271"/>
                  <a:pt x="2004319" y="4943129"/>
                  <a:pt x="2005713" y="4944988"/>
                </a:cubicBezTo>
                <a:cubicBezTo>
                  <a:pt x="2004784" y="4946434"/>
                  <a:pt x="2003854" y="4946950"/>
                  <a:pt x="2002770" y="4946846"/>
                </a:cubicBezTo>
                <a:cubicBezTo>
                  <a:pt x="2001841" y="4946846"/>
                  <a:pt x="2000912" y="4946124"/>
                  <a:pt x="2000292" y="4945297"/>
                </a:cubicBezTo>
                <a:cubicBezTo>
                  <a:pt x="1999053" y="4943542"/>
                  <a:pt x="1998898" y="4940857"/>
                  <a:pt x="2001531" y="4940238"/>
                </a:cubicBezTo>
                <a:close/>
                <a:moveTo>
                  <a:pt x="2227370" y="4939928"/>
                </a:moveTo>
                <a:cubicBezTo>
                  <a:pt x="2228919" y="4941890"/>
                  <a:pt x="2227060" y="4944265"/>
                  <a:pt x="2226285" y="4944058"/>
                </a:cubicBezTo>
                <a:cubicBezTo>
                  <a:pt x="2225356" y="4943129"/>
                  <a:pt x="2225511" y="4941374"/>
                  <a:pt x="2224737" y="4940341"/>
                </a:cubicBezTo>
                <a:cubicBezTo>
                  <a:pt x="2225511" y="4940548"/>
                  <a:pt x="2226596" y="4939825"/>
                  <a:pt x="2227370" y="4939928"/>
                </a:cubicBezTo>
                <a:close/>
                <a:moveTo>
                  <a:pt x="1594309" y="4939618"/>
                </a:moveTo>
                <a:cubicBezTo>
                  <a:pt x="1592140" y="4941477"/>
                  <a:pt x="1591366" y="4942407"/>
                  <a:pt x="1589817" y="4943336"/>
                </a:cubicBezTo>
                <a:cubicBezTo>
                  <a:pt x="1589972" y="4944162"/>
                  <a:pt x="1589972" y="4945091"/>
                  <a:pt x="1589197" y="4946020"/>
                </a:cubicBezTo>
                <a:cubicBezTo>
                  <a:pt x="1587803" y="4947776"/>
                  <a:pt x="1586099" y="4947053"/>
                  <a:pt x="1584550" y="4947982"/>
                </a:cubicBezTo>
                <a:cubicBezTo>
                  <a:pt x="1583466" y="4947156"/>
                  <a:pt x="1582382" y="4945504"/>
                  <a:pt x="1583776" y="4943749"/>
                </a:cubicBezTo>
                <a:cubicBezTo>
                  <a:pt x="1585170" y="4941064"/>
                  <a:pt x="1587649" y="4940857"/>
                  <a:pt x="1590437" y="4941580"/>
                </a:cubicBezTo>
                <a:cubicBezTo>
                  <a:pt x="1591985" y="4940651"/>
                  <a:pt x="1592605" y="4938896"/>
                  <a:pt x="1594309" y="4939618"/>
                </a:cubicBezTo>
                <a:close/>
                <a:moveTo>
                  <a:pt x="1867081" y="4938379"/>
                </a:moveTo>
                <a:cubicBezTo>
                  <a:pt x="1868630" y="4935798"/>
                  <a:pt x="1871108" y="4937760"/>
                  <a:pt x="1874516" y="4938792"/>
                </a:cubicBezTo>
                <a:cubicBezTo>
                  <a:pt x="1873742" y="4939618"/>
                  <a:pt x="1874516" y="4940445"/>
                  <a:pt x="1875446" y="4941374"/>
                </a:cubicBezTo>
                <a:cubicBezTo>
                  <a:pt x="1874206" y="4942613"/>
                  <a:pt x="1872657" y="4944781"/>
                  <a:pt x="1870489" y="4944265"/>
                </a:cubicBezTo>
                <a:cubicBezTo>
                  <a:pt x="1869714" y="4944162"/>
                  <a:pt x="1868940" y="4943645"/>
                  <a:pt x="1868011" y="4942716"/>
                </a:cubicBezTo>
                <a:cubicBezTo>
                  <a:pt x="1867236" y="4942716"/>
                  <a:pt x="1866307" y="4939206"/>
                  <a:pt x="1867081" y="4938379"/>
                </a:cubicBezTo>
                <a:close/>
                <a:moveTo>
                  <a:pt x="2252638" y="4937863"/>
                </a:moveTo>
                <a:cubicBezTo>
                  <a:pt x="2254942" y="4938457"/>
                  <a:pt x="2256877" y="4939825"/>
                  <a:pt x="2257110" y="4941580"/>
                </a:cubicBezTo>
                <a:cubicBezTo>
                  <a:pt x="2256026" y="4947466"/>
                  <a:pt x="2253238" y="4950357"/>
                  <a:pt x="2250604" y="4950977"/>
                </a:cubicBezTo>
                <a:cubicBezTo>
                  <a:pt x="2248126" y="4951700"/>
                  <a:pt x="2245648" y="4950047"/>
                  <a:pt x="2244718" y="4946950"/>
                </a:cubicBezTo>
                <a:cubicBezTo>
                  <a:pt x="2244253" y="4944884"/>
                  <a:pt x="2244409" y="4942097"/>
                  <a:pt x="2245957" y="4938792"/>
                </a:cubicBezTo>
                <a:cubicBezTo>
                  <a:pt x="2247661" y="4937450"/>
                  <a:pt x="2250333" y="4937269"/>
                  <a:pt x="2252638" y="4937863"/>
                </a:cubicBezTo>
                <a:close/>
                <a:moveTo>
                  <a:pt x="1137674" y="4937244"/>
                </a:moveTo>
                <a:cubicBezTo>
                  <a:pt x="1140927" y="4939928"/>
                  <a:pt x="1141082" y="4942407"/>
                  <a:pt x="1139688" y="4945814"/>
                </a:cubicBezTo>
                <a:cubicBezTo>
                  <a:pt x="1137209" y="4945711"/>
                  <a:pt x="1133802" y="4943026"/>
                  <a:pt x="1133802" y="4940445"/>
                </a:cubicBezTo>
                <a:cubicBezTo>
                  <a:pt x="1135197" y="4937967"/>
                  <a:pt x="1136900" y="4938896"/>
                  <a:pt x="1137674" y="4937244"/>
                </a:cubicBezTo>
                <a:close/>
                <a:moveTo>
                  <a:pt x="1489754" y="4937140"/>
                </a:moveTo>
                <a:cubicBezTo>
                  <a:pt x="1490683" y="4937967"/>
                  <a:pt x="1491612" y="4938792"/>
                  <a:pt x="1491922" y="4940445"/>
                </a:cubicBezTo>
                <a:cubicBezTo>
                  <a:pt x="1490528" y="4942303"/>
                  <a:pt x="1487895" y="4941580"/>
                  <a:pt x="1487276" y="4942510"/>
                </a:cubicBezTo>
                <a:cubicBezTo>
                  <a:pt x="1487121" y="4941580"/>
                  <a:pt x="1486811" y="4939928"/>
                  <a:pt x="1485107" y="4939102"/>
                </a:cubicBezTo>
                <a:cubicBezTo>
                  <a:pt x="1486501" y="4937347"/>
                  <a:pt x="1487895" y="4935488"/>
                  <a:pt x="1489754" y="4937140"/>
                </a:cubicBezTo>
                <a:close/>
                <a:moveTo>
                  <a:pt x="2051873" y="4937037"/>
                </a:moveTo>
                <a:cubicBezTo>
                  <a:pt x="2050323" y="4943233"/>
                  <a:pt x="2037467" y="4948395"/>
                  <a:pt x="2034369" y="4946950"/>
                </a:cubicBezTo>
                <a:cubicBezTo>
                  <a:pt x="2036073" y="4943542"/>
                  <a:pt x="2039481" y="4943129"/>
                  <a:pt x="2041805" y="4939309"/>
                </a:cubicBezTo>
                <a:cubicBezTo>
                  <a:pt x="2044748" y="4939928"/>
                  <a:pt x="2048000" y="4935901"/>
                  <a:pt x="2051873" y="4937037"/>
                </a:cubicBezTo>
                <a:close/>
                <a:moveTo>
                  <a:pt x="1027543" y="4937037"/>
                </a:moveTo>
                <a:cubicBezTo>
                  <a:pt x="1028628" y="4937450"/>
                  <a:pt x="1029712" y="4937760"/>
                  <a:pt x="1030641" y="4938173"/>
                </a:cubicBezTo>
                <a:cubicBezTo>
                  <a:pt x="1029866" y="4940445"/>
                  <a:pt x="1028937" y="4942716"/>
                  <a:pt x="1026769" y="4941993"/>
                </a:cubicBezTo>
                <a:cubicBezTo>
                  <a:pt x="1026923" y="4940032"/>
                  <a:pt x="1025839" y="4939722"/>
                  <a:pt x="1027543" y="4937037"/>
                </a:cubicBezTo>
                <a:close/>
                <a:moveTo>
                  <a:pt x="1844001" y="4936727"/>
                </a:moveTo>
                <a:cubicBezTo>
                  <a:pt x="1845241" y="4937037"/>
                  <a:pt x="1846325" y="4937347"/>
                  <a:pt x="1845705" y="4937760"/>
                </a:cubicBezTo>
                <a:cubicBezTo>
                  <a:pt x="1846170" y="4938483"/>
                  <a:pt x="1845551" y="4938999"/>
                  <a:pt x="1845396" y="4940135"/>
                </a:cubicBezTo>
                <a:cubicBezTo>
                  <a:pt x="1844466" y="4941787"/>
                  <a:pt x="1842607" y="4943129"/>
                  <a:pt x="1841368" y="4942819"/>
                </a:cubicBezTo>
                <a:cubicBezTo>
                  <a:pt x="1840284" y="4942510"/>
                  <a:pt x="1839664" y="4941683"/>
                  <a:pt x="1839664" y="4941683"/>
                </a:cubicBezTo>
                <a:cubicBezTo>
                  <a:pt x="1839664" y="4938586"/>
                  <a:pt x="1840594" y="4935798"/>
                  <a:pt x="1844001" y="4936727"/>
                </a:cubicBezTo>
                <a:close/>
                <a:moveTo>
                  <a:pt x="863972" y="4936727"/>
                </a:moveTo>
                <a:cubicBezTo>
                  <a:pt x="861185" y="4941787"/>
                  <a:pt x="863508" y="4945401"/>
                  <a:pt x="859325" y="4946537"/>
                </a:cubicBezTo>
                <a:cubicBezTo>
                  <a:pt x="857313" y="4943749"/>
                  <a:pt x="860410" y="4937450"/>
                  <a:pt x="863972" y="4936727"/>
                </a:cubicBezTo>
                <a:close/>
                <a:moveTo>
                  <a:pt x="1250594" y="4936417"/>
                </a:moveTo>
                <a:cubicBezTo>
                  <a:pt x="1254311" y="4937967"/>
                  <a:pt x="1253537" y="4943645"/>
                  <a:pt x="1250439" y="4945504"/>
                </a:cubicBezTo>
                <a:cubicBezTo>
                  <a:pt x="1248890" y="4945297"/>
                  <a:pt x="1247960" y="4944678"/>
                  <a:pt x="1247341" y="4943852"/>
                </a:cubicBezTo>
                <a:cubicBezTo>
                  <a:pt x="1245792" y="4941477"/>
                  <a:pt x="1248116" y="4937140"/>
                  <a:pt x="1250594" y="4936417"/>
                </a:cubicBezTo>
                <a:close/>
                <a:moveTo>
                  <a:pt x="2179662" y="4936314"/>
                </a:moveTo>
                <a:cubicBezTo>
                  <a:pt x="2179662" y="4936314"/>
                  <a:pt x="2180127" y="4937037"/>
                  <a:pt x="2179817" y="4938070"/>
                </a:cubicBezTo>
                <a:cubicBezTo>
                  <a:pt x="2179817" y="4938070"/>
                  <a:pt x="2179662" y="4938070"/>
                  <a:pt x="2179352" y="4937863"/>
                </a:cubicBezTo>
                <a:cubicBezTo>
                  <a:pt x="2179197" y="4937657"/>
                  <a:pt x="2178888" y="4937244"/>
                  <a:pt x="2179042" y="4936727"/>
                </a:cubicBezTo>
                <a:cubicBezTo>
                  <a:pt x="2179042" y="4936727"/>
                  <a:pt x="2179042" y="4936727"/>
                  <a:pt x="2179662" y="4936314"/>
                </a:cubicBezTo>
                <a:close/>
                <a:moveTo>
                  <a:pt x="1686782" y="4936314"/>
                </a:moveTo>
                <a:cubicBezTo>
                  <a:pt x="1692978" y="4934146"/>
                  <a:pt x="1698864" y="4934972"/>
                  <a:pt x="1703976" y="4937863"/>
                </a:cubicBezTo>
                <a:cubicBezTo>
                  <a:pt x="1712340" y="4942613"/>
                  <a:pt x="1718071" y="4952732"/>
                  <a:pt x="1717297" y="4963264"/>
                </a:cubicBezTo>
                <a:cubicBezTo>
                  <a:pt x="1716212" y="4963471"/>
                  <a:pt x="1715128" y="4963780"/>
                  <a:pt x="1715438" y="4964916"/>
                </a:cubicBezTo>
                <a:cubicBezTo>
                  <a:pt x="1713579" y="4965433"/>
                  <a:pt x="1711720" y="4965639"/>
                  <a:pt x="1709861" y="4965536"/>
                </a:cubicBezTo>
                <a:cubicBezTo>
                  <a:pt x="1696696" y="4964710"/>
                  <a:pt x="1683064" y="4949428"/>
                  <a:pt x="1686782" y="4936314"/>
                </a:cubicBezTo>
                <a:close/>
                <a:moveTo>
                  <a:pt x="1404096" y="4934456"/>
                </a:moveTo>
                <a:cubicBezTo>
                  <a:pt x="1404871" y="4934869"/>
                  <a:pt x="1404560" y="4935695"/>
                  <a:pt x="1405335" y="4936108"/>
                </a:cubicBezTo>
                <a:cubicBezTo>
                  <a:pt x="1405490" y="4936727"/>
                  <a:pt x="1405335" y="4937553"/>
                  <a:pt x="1404871" y="4938379"/>
                </a:cubicBezTo>
                <a:cubicBezTo>
                  <a:pt x="1403477" y="4941168"/>
                  <a:pt x="1400069" y="4944678"/>
                  <a:pt x="1399449" y="4944368"/>
                </a:cubicBezTo>
                <a:cubicBezTo>
                  <a:pt x="1399139" y="4945091"/>
                  <a:pt x="1398365" y="4944678"/>
                  <a:pt x="1398055" y="4945504"/>
                </a:cubicBezTo>
                <a:cubicBezTo>
                  <a:pt x="1398055" y="4945504"/>
                  <a:pt x="1397745" y="4946227"/>
                  <a:pt x="1396506" y="4946537"/>
                </a:cubicBezTo>
                <a:cubicBezTo>
                  <a:pt x="1396042" y="4946743"/>
                  <a:pt x="1395422" y="4946950"/>
                  <a:pt x="1394803" y="4946846"/>
                </a:cubicBezTo>
                <a:cubicBezTo>
                  <a:pt x="1394338" y="4946743"/>
                  <a:pt x="1393718" y="4946330"/>
                  <a:pt x="1393099" y="4945504"/>
                </a:cubicBezTo>
                <a:cubicBezTo>
                  <a:pt x="1398210" y="4940754"/>
                  <a:pt x="1399604" y="4937657"/>
                  <a:pt x="1404096" y="4934456"/>
                </a:cubicBezTo>
                <a:close/>
                <a:moveTo>
                  <a:pt x="2161694" y="4934249"/>
                </a:moveTo>
                <a:cubicBezTo>
                  <a:pt x="2161694" y="4934249"/>
                  <a:pt x="2161694" y="4934249"/>
                  <a:pt x="2161539" y="4935488"/>
                </a:cubicBezTo>
                <a:cubicBezTo>
                  <a:pt x="2159370" y="4935798"/>
                  <a:pt x="2157667" y="4936831"/>
                  <a:pt x="2155963" y="4937863"/>
                </a:cubicBezTo>
                <a:lnTo>
                  <a:pt x="2154259" y="4938379"/>
                </a:lnTo>
                <a:lnTo>
                  <a:pt x="2157821" y="4938999"/>
                </a:lnTo>
                <a:cubicBezTo>
                  <a:pt x="2159990" y="4939928"/>
                  <a:pt x="2162004" y="4941477"/>
                  <a:pt x="2163398" y="4943439"/>
                </a:cubicBezTo>
                <a:cubicBezTo>
                  <a:pt x="2166960" y="4947982"/>
                  <a:pt x="2168044" y="4955107"/>
                  <a:pt x="2162469" y="4963574"/>
                </a:cubicBezTo>
                <a:cubicBezTo>
                  <a:pt x="2153484" y="4964090"/>
                  <a:pt x="2145430" y="4960270"/>
                  <a:pt x="2142332" y="4954074"/>
                </a:cubicBezTo>
                <a:cubicBezTo>
                  <a:pt x="2141402" y="4952112"/>
                  <a:pt x="2140938" y="4949841"/>
                  <a:pt x="2141248" y="4947363"/>
                </a:cubicBezTo>
                <a:cubicBezTo>
                  <a:pt x="2142022" y="4944265"/>
                  <a:pt x="2143261" y="4941993"/>
                  <a:pt x="2145120" y="4940445"/>
                </a:cubicBezTo>
                <a:lnTo>
                  <a:pt x="2147444" y="4939412"/>
                </a:lnTo>
                <a:lnTo>
                  <a:pt x="2147133" y="4938276"/>
                </a:lnTo>
                <a:lnTo>
                  <a:pt x="2147753" y="4939309"/>
                </a:lnTo>
                <a:lnTo>
                  <a:pt x="2150696" y="4938070"/>
                </a:lnTo>
                <a:lnTo>
                  <a:pt x="2151006" y="4937244"/>
                </a:lnTo>
                <a:cubicBezTo>
                  <a:pt x="2151626" y="4936417"/>
                  <a:pt x="2152710" y="4935695"/>
                  <a:pt x="2154104" y="4935798"/>
                </a:cubicBezTo>
                <a:cubicBezTo>
                  <a:pt x="2157202" y="4936108"/>
                  <a:pt x="2158596" y="4934043"/>
                  <a:pt x="2161694" y="4934249"/>
                </a:cubicBezTo>
                <a:close/>
                <a:moveTo>
                  <a:pt x="2201347" y="4934043"/>
                </a:moveTo>
                <a:cubicBezTo>
                  <a:pt x="2203671" y="4932494"/>
                  <a:pt x="2210486" y="4936934"/>
                  <a:pt x="2213120" y="4939618"/>
                </a:cubicBezTo>
                <a:cubicBezTo>
                  <a:pt x="2212500" y="4940032"/>
                  <a:pt x="2211571" y="4940135"/>
                  <a:pt x="2210641" y="4939825"/>
                </a:cubicBezTo>
                <a:cubicBezTo>
                  <a:pt x="2207544" y="4939102"/>
                  <a:pt x="2203206" y="4936005"/>
                  <a:pt x="2201347" y="4934043"/>
                </a:cubicBezTo>
                <a:close/>
                <a:moveTo>
                  <a:pt x="1799236" y="4931565"/>
                </a:moveTo>
                <a:lnTo>
                  <a:pt x="1800011" y="4933630"/>
                </a:lnTo>
                <a:lnTo>
                  <a:pt x="1800940" y="4933113"/>
                </a:lnTo>
                <a:cubicBezTo>
                  <a:pt x="1804194" y="4933836"/>
                  <a:pt x="1806207" y="4936211"/>
                  <a:pt x="1806517" y="4938792"/>
                </a:cubicBezTo>
                <a:lnTo>
                  <a:pt x="1805587" y="4942303"/>
                </a:lnTo>
                <a:lnTo>
                  <a:pt x="1810079" y="4945711"/>
                </a:lnTo>
                <a:cubicBezTo>
                  <a:pt x="1811628" y="4946950"/>
                  <a:pt x="1812868" y="4948189"/>
                  <a:pt x="1814106" y="4949635"/>
                </a:cubicBezTo>
                <a:cubicBezTo>
                  <a:pt x="1815501" y="4951596"/>
                  <a:pt x="1816430" y="4953971"/>
                  <a:pt x="1816430" y="4956966"/>
                </a:cubicBezTo>
                <a:cubicBezTo>
                  <a:pt x="1816895" y="4970595"/>
                  <a:pt x="1804658" y="4978133"/>
                  <a:pt x="1794125" y="4977410"/>
                </a:cubicBezTo>
                <a:cubicBezTo>
                  <a:pt x="1787929" y="4976997"/>
                  <a:pt x="1782353" y="4973590"/>
                  <a:pt x="1780494" y="4966775"/>
                </a:cubicBezTo>
                <a:cubicBezTo>
                  <a:pt x="1779875" y="4964193"/>
                  <a:pt x="1779875" y="4961096"/>
                  <a:pt x="1780494" y="4957482"/>
                </a:cubicBezTo>
                <a:cubicBezTo>
                  <a:pt x="1782663" y="4947673"/>
                  <a:pt x="1792111" y="4942407"/>
                  <a:pt x="1799236" y="4931565"/>
                </a:cubicBezTo>
                <a:close/>
                <a:moveTo>
                  <a:pt x="2148838" y="4930842"/>
                </a:moveTo>
                <a:cubicBezTo>
                  <a:pt x="2148683" y="4931978"/>
                  <a:pt x="2148063" y="4935488"/>
                  <a:pt x="2148063" y="4935488"/>
                </a:cubicBezTo>
                <a:cubicBezTo>
                  <a:pt x="2148528" y="4936314"/>
                  <a:pt x="2148528" y="4936314"/>
                  <a:pt x="2148373" y="4937450"/>
                </a:cubicBezTo>
                <a:cubicBezTo>
                  <a:pt x="2147289" y="4937140"/>
                  <a:pt x="2147289" y="4937140"/>
                  <a:pt x="2146669" y="4936417"/>
                </a:cubicBezTo>
                <a:cubicBezTo>
                  <a:pt x="2146824" y="4935282"/>
                  <a:pt x="2147598" y="4934869"/>
                  <a:pt x="2147753" y="4933630"/>
                </a:cubicBezTo>
                <a:cubicBezTo>
                  <a:pt x="2145430" y="4933010"/>
                  <a:pt x="2145895" y="4933733"/>
                  <a:pt x="2146049" y="4932597"/>
                </a:cubicBezTo>
                <a:cubicBezTo>
                  <a:pt x="2146049" y="4932597"/>
                  <a:pt x="2146049" y="4932597"/>
                  <a:pt x="2146205" y="4931358"/>
                </a:cubicBezTo>
                <a:cubicBezTo>
                  <a:pt x="2146205" y="4931358"/>
                  <a:pt x="2145740" y="4930635"/>
                  <a:pt x="2148838" y="4930842"/>
                </a:cubicBezTo>
                <a:close/>
                <a:moveTo>
                  <a:pt x="924382" y="4930532"/>
                </a:moveTo>
                <a:cubicBezTo>
                  <a:pt x="925931" y="4931358"/>
                  <a:pt x="926706" y="4931358"/>
                  <a:pt x="928565" y="4930532"/>
                </a:cubicBezTo>
                <a:cubicBezTo>
                  <a:pt x="928565" y="4930532"/>
                  <a:pt x="928565" y="4930532"/>
                  <a:pt x="929959" y="4932287"/>
                </a:cubicBezTo>
                <a:lnTo>
                  <a:pt x="929959" y="4933216"/>
                </a:lnTo>
                <a:cubicBezTo>
                  <a:pt x="929649" y="4933630"/>
                  <a:pt x="929029" y="4933836"/>
                  <a:pt x="928100" y="4933940"/>
                </a:cubicBezTo>
                <a:cubicBezTo>
                  <a:pt x="925312" y="4934146"/>
                  <a:pt x="920510" y="4933010"/>
                  <a:pt x="919890" y="4933010"/>
                </a:cubicBezTo>
                <a:cubicBezTo>
                  <a:pt x="919890" y="4933010"/>
                  <a:pt x="919115" y="4933010"/>
                  <a:pt x="918186" y="4933010"/>
                </a:cubicBezTo>
                <a:cubicBezTo>
                  <a:pt x="917567" y="4932184"/>
                  <a:pt x="917567" y="4931255"/>
                  <a:pt x="916792" y="4931255"/>
                </a:cubicBezTo>
                <a:cubicBezTo>
                  <a:pt x="919580" y="4928777"/>
                  <a:pt x="922059" y="4929603"/>
                  <a:pt x="924382" y="4930532"/>
                </a:cubicBezTo>
                <a:close/>
                <a:moveTo>
                  <a:pt x="1834088" y="4930429"/>
                </a:moveTo>
                <a:lnTo>
                  <a:pt x="1837496" y="4931358"/>
                </a:lnTo>
                <a:cubicBezTo>
                  <a:pt x="1837341" y="4932597"/>
                  <a:pt x="1836567" y="4934249"/>
                  <a:pt x="1835327" y="4933940"/>
                </a:cubicBezTo>
                <a:cubicBezTo>
                  <a:pt x="1834398" y="4933940"/>
                  <a:pt x="1834244" y="4933630"/>
                  <a:pt x="1834088" y="4932907"/>
                </a:cubicBezTo>
                <a:cubicBezTo>
                  <a:pt x="1834088" y="4932287"/>
                  <a:pt x="1834244" y="4931358"/>
                  <a:pt x="1834088" y="4930429"/>
                </a:cubicBezTo>
                <a:close/>
                <a:moveTo>
                  <a:pt x="1170164" y="4930416"/>
                </a:moveTo>
                <a:cubicBezTo>
                  <a:pt x="1172101" y="4929628"/>
                  <a:pt x="1174540" y="4930377"/>
                  <a:pt x="1176088" y="4932287"/>
                </a:cubicBezTo>
                <a:cubicBezTo>
                  <a:pt x="1177018" y="4933526"/>
                  <a:pt x="1177638" y="4935385"/>
                  <a:pt x="1177328" y="4937553"/>
                </a:cubicBezTo>
                <a:cubicBezTo>
                  <a:pt x="1176398" y="4938379"/>
                  <a:pt x="1174230" y="4938896"/>
                  <a:pt x="1172216" y="4938999"/>
                </a:cubicBezTo>
                <a:cubicBezTo>
                  <a:pt x="1170048" y="4939102"/>
                  <a:pt x="1168034" y="4938689"/>
                  <a:pt x="1167260" y="4937760"/>
                </a:cubicBezTo>
                <a:cubicBezTo>
                  <a:pt x="1166795" y="4933526"/>
                  <a:pt x="1168228" y="4931203"/>
                  <a:pt x="1170164" y="4930416"/>
                </a:cubicBezTo>
                <a:close/>
                <a:moveTo>
                  <a:pt x="1941741" y="4929603"/>
                </a:moveTo>
                <a:cubicBezTo>
                  <a:pt x="1948402" y="4927434"/>
                  <a:pt x="1955372" y="4936727"/>
                  <a:pt x="1950415" y="4944781"/>
                </a:cubicBezTo>
                <a:cubicBezTo>
                  <a:pt x="1949331" y="4945194"/>
                  <a:pt x="1948247" y="4945401"/>
                  <a:pt x="1947163" y="4945297"/>
                </a:cubicBezTo>
                <a:cubicBezTo>
                  <a:pt x="1943600" y="4945091"/>
                  <a:pt x="1939882" y="4942613"/>
                  <a:pt x="1937559" y="4939825"/>
                </a:cubicBezTo>
                <a:lnTo>
                  <a:pt x="1936784" y="4938276"/>
                </a:lnTo>
                <a:lnTo>
                  <a:pt x="1933532" y="4939825"/>
                </a:lnTo>
                <a:cubicBezTo>
                  <a:pt x="1933377" y="4939206"/>
                  <a:pt x="1933687" y="4938896"/>
                  <a:pt x="1933996" y="4938586"/>
                </a:cubicBezTo>
                <a:cubicBezTo>
                  <a:pt x="1934461" y="4938379"/>
                  <a:pt x="1935081" y="4938173"/>
                  <a:pt x="1935701" y="4937967"/>
                </a:cubicBezTo>
                <a:lnTo>
                  <a:pt x="1936630" y="4937760"/>
                </a:lnTo>
                <a:lnTo>
                  <a:pt x="1935701" y="4936005"/>
                </a:lnTo>
                <a:cubicBezTo>
                  <a:pt x="1937404" y="4932287"/>
                  <a:pt x="1939572" y="4930325"/>
                  <a:pt x="1941741" y="4929603"/>
                </a:cubicBezTo>
                <a:close/>
                <a:moveTo>
                  <a:pt x="1856393" y="4929086"/>
                </a:moveTo>
                <a:cubicBezTo>
                  <a:pt x="1858871" y="4929500"/>
                  <a:pt x="1860111" y="4930739"/>
                  <a:pt x="1860731" y="4932597"/>
                </a:cubicBezTo>
                <a:lnTo>
                  <a:pt x="1861040" y="4936417"/>
                </a:lnTo>
                <a:lnTo>
                  <a:pt x="1862434" y="4935282"/>
                </a:lnTo>
                <a:cubicBezTo>
                  <a:pt x="1864448" y="4934249"/>
                  <a:pt x="1865068" y="4936005"/>
                  <a:pt x="1866461" y="4938792"/>
                </a:cubicBezTo>
                <a:cubicBezTo>
                  <a:pt x="1865068" y="4939928"/>
                  <a:pt x="1863828" y="4940238"/>
                  <a:pt x="1862899" y="4939928"/>
                </a:cubicBezTo>
                <a:lnTo>
                  <a:pt x="1861195" y="4938379"/>
                </a:lnTo>
                <a:lnTo>
                  <a:pt x="1861350" y="4939102"/>
                </a:lnTo>
                <a:cubicBezTo>
                  <a:pt x="1859491" y="4939412"/>
                  <a:pt x="1858252" y="4940341"/>
                  <a:pt x="1856393" y="4940651"/>
                </a:cubicBezTo>
                <a:lnTo>
                  <a:pt x="1855154" y="4942923"/>
                </a:lnTo>
                <a:cubicBezTo>
                  <a:pt x="1852057" y="4941168"/>
                  <a:pt x="1851436" y="4936727"/>
                  <a:pt x="1852676" y="4933630"/>
                </a:cubicBezTo>
                <a:lnTo>
                  <a:pt x="1853296" y="4932804"/>
                </a:lnTo>
                <a:lnTo>
                  <a:pt x="1853296" y="4930429"/>
                </a:lnTo>
                <a:cubicBezTo>
                  <a:pt x="1853760" y="4929500"/>
                  <a:pt x="1854844" y="4928983"/>
                  <a:pt x="1856393" y="4929086"/>
                </a:cubicBezTo>
                <a:close/>
                <a:moveTo>
                  <a:pt x="1733096" y="4929022"/>
                </a:moveTo>
                <a:cubicBezTo>
                  <a:pt x="1737588" y="4927305"/>
                  <a:pt x="1742700" y="4927383"/>
                  <a:pt x="1745642" y="4931151"/>
                </a:cubicBezTo>
                <a:cubicBezTo>
                  <a:pt x="1740222" y="4933423"/>
                  <a:pt x="1734954" y="4934869"/>
                  <a:pt x="1729068" y="4940548"/>
                </a:cubicBezTo>
                <a:cubicBezTo>
                  <a:pt x="1727520" y="4938483"/>
                  <a:pt x="1725661" y="4940651"/>
                  <a:pt x="1724267" y="4937657"/>
                </a:cubicBezTo>
                <a:cubicBezTo>
                  <a:pt x="1724732" y="4934249"/>
                  <a:pt x="1728604" y="4930738"/>
                  <a:pt x="1733096" y="4929022"/>
                </a:cubicBezTo>
                <a:close/>
                <a:moveTo>
                  <a:pt x="2115535" y="4928983"/>
                </a:moveTo>
                <a:cubicBezTo>
                  <a:pt x="2120957" y="4929706"/>
                  <a:pt x="2123745" y="4930842"/>
                  <a:pt x="2125293" y="4932701"/>
                </a:cubicBezTo>
                <a:lnTo>
                  <a:pt x="2126223" y="4935591"/>
                </a:lnTo>
                <a:lnTo>
                  <a:pt x="2128856" y="4935488"/>
                </a:lnTo>
                <a:cubicBezTo>
                  <a:pt x="2129165" y="4928777"/>
                  <a:pt x="2140473" y="4929809"/>
                  <a:pt x="2142952" y="4929293"/>
                </a:cubicBezTo>
                <a:cubicBezTo>
                  <a:pt x="2142952" y="4929293"/>
                  <a:pt x="2143571" y="4928880"/>
                  <a:pt x="2144810" y="4929190"/>
                </a:cubicBezTo>
                <a:cubicBezTo>
                  <a:pt x="2146669" y="4928983"/>
                  <a:pt x="2145120" y="4931048"/>
                  <a:pt x="2146205" y="4931358"/>
                </a:cubicBezTo>
                <a:cubicBezTo>
                  <a:pt x="2143106" y="4932390"/>
                  <a:pt x="2140628" y="4934043"/>
                  <a:pt x="2138924" y="4935488"/>
                </a:cubicBezTo>
                <a:lnTo>
                  <a:pt x="2137530" y="4936727"/>
                </a:lnTo>
                <a:lnTo>
                  <a:pt x="2138150" y="4940445"/>
                </a:lnTo>
                <a:cubicBezTo>
                  <a:pt x="2138614" y="4941890"/>
                  <a:pt x="2138924" y="4943542"/>
                  <a:pt x="2138305" y="4946950"/>
                </a:cubicBezTo>
                <a:cubicBezTo>
                  <a:pt x="2137220" y="4953455"/>
                  <a:pt x="2133658" y="4956036"/>
                  <a:pt x="2130095" y="4956862"/>
                </a:cubicBezTo>
                <a:lnTo>
                  <a:pt x="2127307" y="4956966"/>
                </a:lnTo>
                <a:lnTo>
                  <a:pt x="2126532" y="4959547"/>
                </a:lnTo>
                <a:cubicBezTo>
                  <a:pt x="2121266" y="4956656"/>
                  <a:pt x="2120027" y="4961509"/>
                  <a:pt x="2117394" y="4963058"/>
                </a:cubicBezTo>
                <a:cubicBezTo>
                  <a:pt x="2116464" y="4963471"/>
                  <a:pt x="2115380" y="4963677"/>
                  <a:pt x="2113986" y="4963058"/>
                </a:cubicBezTo>
                <a:cubicBezTo>
                  <a:pt x="2112592" y="4960993"/>
                  <a:pt x="2110113" y="4959341"/>
                  <a:pt x="2109339" y="4956552"/>
                </a:cubicBezTo>
                <a:cubicBezTo>
                  <a:pt x="2109184" y="4955623"/>
                  <a:pt x="2109029" y="4954487"/>
                  <a:pt x="2109339" y="4953248"/>
                </a:cubicBezTo>
                <a:lnTo>
                  <a:pt x="2118013" y="4953455"/>
                </a:lnTo>
                <a:lnTo>
                  <a:pt x="2115690" y="4953248"/>
                </a:lnTo>
                <a:cubicBezTo>
                  <a:pt x="2114916" y="4952939"/>
                  <a:pt x="2114606" y="4952422"/>
                  <a:pt x="2114760" y="4951183"/>
                </a:cubicBezTo>
                <a:cubicBezTo>
                  <a:pt x="2114451" y="4949221"/>
                  <a:pt x="2116310" y="4949118"/>
                  <a:pt x="2116619" y="4946640"/>
                </a:cubicBezTo>
                <a:cubicBezTo>
                  <a:pt x="2116619" y="4945607"/>
                  <a:pt x="2116155" y="4944678"/>
                  <a:pt x="2115380" y="4943852"/>
                </a:cubicBezTo>
                <a:lnTo>
                  <a:pt x="2113986" y="4942613"/>
                </a:lnTo>
                <a:lnTo>
                  <a:pt x="2112282" y="4943749"/>
                </a:lnTo>
                <a:cubicBezTo>
                  <a:pt x="2111198" y="4943955"/>
                  <a:pt x="2110268" y="4943749"/>
                  <a:pt x="2110268" y="4943749"/>
                </a:cubicBezTo>
                <a:cubicBezTo>
                  <a:pt x="2110268" y="4943749"/>
                  <a:pt x="2110268" y="4943749"/>
                  <a:pt x="2110733" y="4944472"/>
                </a:cubicBezTo>
                <a:lnTo>
                  <a:pt x="2110113" y="4943749"/>
                </a:lnTo>
                <a:lnTo>
                  <a:pt x="2109959" y="4945297"/>
                </a:lnTo>
                <a:lnTo>
                  <a:pt x="2111043" y="4946124"/>
                </a:lnTo>
                <a:cubicBezTo>
                  <a:pt x="2111817" y="4947156"/>
                  <a:pt x="2112592" y="4948189"/>
                  <a:pt x="2111663" y="4948912"/>
                </a:cubicBezTo>
                <a:cubicBezTo>
                  <a:pt x="2111198" y="4949221"/>
                  <a:pt x="2111043" y="4949635"/>
                  <a:pt x="2110733" y="4949738"/>
                </a:cubicBezTo>
                <a:cubicBezTo>
                  <a:pt x="2110423" y="4949944"/>
                  <a:pt x="2109959" y="4949944"/>
                  <a:pt x="2109184" y="4949324"/>
                </a:cubicBezTo>
                <a:lnTo>
                  <a:pt x="2108100" y="4948705"/>
                </a:lnTo>
                <a:lnTo>
                  <a:pt x="2107790" y="4949221"/>
                </a:lnTo>
                <a:cubicBezTo>
                  <a:pt x="2107016" y="4949944"/>
                  <a:pt x="2105931" y="4950460"/>
                  <a:pt x="2104692" y="4950770"/>
                </a:cubicBezTo>
                <a:cubicBezTo>
                  <a:pt x="2102988" y="4946743"/>
                  <a:pt x="2103143" y="4943955"/>
                  <a:pt x="2104382" y="4941890"/>
                </a:cubicBezTo>
                <a:lnTo>
                  <a:pt x="2108409" y="4937553"/>
                </a:lnTo>
                <a:lnTo>
                  <a:pt x="2109029" y="4935695"/>
                </a:lnTo>
                <a:lnTo>
                  <a:pt x="2108409" y="4932597"/>
                </a:lnTo>
                <a:cubicBezTo>
                  <a:pt x="2110733" y="4933216"/>
                  <a:pt x="2111972" y="4928054"/>
                  <a:pt x="2115535" y="4928983"/>
                </a:cubicBezTo>
                <a:close/>
                <a:moveTo>
                  <a:pt x="1922070" y="4928467"/>
                </a:moveTo>
                <a:cubicBezTo>
                  <a:pt x="1925012" y="4929500"/>
                  <a:pt x="1927181" y="4928054"/>
                  <a:pt x="1931363" y="4930532"/>
                </a:cubicBezTo>
                <a:cubicBezTo>
                  <a:pt x="1929969" y="4938173"/>
                  <a:pt x="1929659" y="4945711"/>
                  <a:pt x="1929349" y="4952939"/>
                </a:cubicBezTo>
                <a:lnTo>
                  <a:pt x="1928265" y="4964400"/>
                </a:lnTo>
                <a:lnTo>
                  <a:pt x="1931673" y="4964400"/>
                </a:lnTo>
                <a:cubicBezTo>
                  <a:pt x="1935855" y="4964916"/>
                  <a:pt x="1939572" y="4966259"/>
                  <a:pt x="1943135" y="4968117"/>
                </a:cubicBezTo>
                <a:lnTo>
                  <a:pt x="1946079" y="4970285"/>
                </a:lnTo>
                <a:lnTo>
                  <a:pt x="1947627" y="4969873"/>
                </a:lnTo>
                <a:lnTo>
                  <a:pt x="1948866" y="4969976"/>
                </a:lnTo>
                <a:lnTo>
                  <a:pt x="1949176" y="4969666"/>
                </a:lnTo>
                <a:cubicBezTo>
                  <a:pt x="1949796" y="4969356"/>
                  <a:pt x="1950260" y="4969150"/>
                  <a:pt x="1950260" y="4969150"/>
                </a:cubicBezTo>
                <a:cubicBezTo>
                  <a:pt x="1951035" y="4969976"/>
                  <a:pt x="1951035" y="4969976"/>
                  <a:pt x="1950105" y="4969976"/>
                </a:cubicBezTo>
                <a:lnTo>
                  <a:pt x="1950105" y="4970079"/>
                </a:lnTo>
                <a:lnTo>
                  <a:pt x="1952584" y="4970389"/>
                </a:lnTo>
                <a:cubicBezTo>
                  <a:pt x="1952274" y="4972557"/>
                  <a:pt x="1951345" y="4974622"/>
                  <a:pt x="1950105" y="4976584"/>
                </a:cubicBezTo>
                <a:lnTo>
                  <a:pt x="1946543" y="4982057"/>
                </a:lnTo>
                <a:lnTo>
                  <a:pt x="1946079" y="4977720"/>
                </a:lnTo>
                <a:cubicBezTo>
                  <a:pt x="1945303" y="4977720"/>
                  <a:pt x="1944374" y="4978546"/>
                  <a:pt x="1944374" y="4978546"/>
                </a:cubicBezTo>
                <a:lnTo>
                  <a:pt x="1943755" y="4975965"/>
                </a:lnTo>
                <a:lnTo>
                  <a:pt x="1942361" y="4976171"/>
                </a:lnTo>
                <a:lnTo>
                  <a:pt x="1936939" y="4975345"/>
                </a:lnTo>
                <a:lnTo>
                  <a:pt x="1936939" y="4976791"/>
                </a:lnTo>
                <a:lnTo>
                  <a:pt x="1940812" y="4978340"/>
                </a:lnTo>
                <a:lnTo>
                  <a:pt x="1946543" y="4982057"/>
                </a:lnTo>
                <a:lnTo>
                  <a:pt x="1947627" y="4982780"/>
                </a:lnTo>
                <a:cubicBezTo>
                  <a:pt x="1950105" y="4984225"/>
                  <a:pt x="1952584" y="4985774"/>
                  <a:pt x="1955682" y="4987013"/>
                </a:cubicBezTo>
                <a:cubicBezTo>
                  <a:pt x="1953203" y="4998061"/>
                  <a:pt x="1958780" y="5000746"/>
                  <a:pt x="1961723" y="5005806"/>
                </a:cubicBezTo>
                <a:cubicBezTo>
                  <a:pt x="1956922" y="5012414"/>
                  <a:pt x="1956302" y="5022843"/>
                  <a:pt x="1952893" y="5031413"/>
                </a:cubicBezTo>
                <a:cubicBezTo>
                  <a:pt x="1942980" y="5035956"/>
                  <a:pt x="1935855" y="5042565"/>
                  <a:pt x="1925942" y="5047108"/>
                </a:cubicBezTo>
                <a:cubicBezTo>
                  <a:pt x="1923618" y="5045559"/>
                  <a:pt x="1920985" y="5044527"/>
                  <a:pt x="1918043" y="5043701"/>
                </a:cubicBezTo>
                <a:lnTo>
                  <a:pt x="1911381" y="5042255"/>
                </a:lnTo>
                <a:lnTo>
                  <a:pt x="1912466" y="5046076"/>
                </a:lnTo>
                <a:cubicBezTo>
                  <a:pt x="1913240" y="5047521"/>
                  <a:pt x="1913860" y="5049173"/>
                  <a:pt x="1913705" y="5052581"/>
                </a:cubicBezTo>
                <a:cubicBezTo>
                  <a:pt x="1913550" y="5061254"/>
                  <a:pt x="1907974" y="5062803"/>
                  <a:pt x="1903791" y="5062390"/>
                </a:cubicBezTo>
                <a:cubicBezTo>
                  <a:pt x="1903791" y="5062184"/>
                  <a:pt x="1903327" y="5061977"/>
                  <a:pt x="1902862" y="5061771"/>
                </a:cubicBezTo>
                <a:lnTo>
                  <a:pt x="1901158" y="5060945"/>
                </a:lnTo>
                <a:lnTo>
                  <a:pt x="1898525" y="5062080"/>
                </a:lnTo>
                <a:cubicBezTo>
                  <a:pt x="1897750" y="5061977"/>
                  <a:pt x="1896976" y="5061564"/>
                  <a:pt x="1896046" y="5060738"/>
                </a:cubicBezTo>
                <a:cubicBezTo>
                  <a:pt x="1895117" y="5060738"/>
                  <a:pt x="1893878" y="5057331"/>
                  <a:pt x="1894653" y="5056401"/>
                </a:cubicBezTo>
                <a:lnTo>
                  <a:pt x="1895272" y="5055678"/>
                </a:lnTo>
                <a:lnTo>
                  <a:pt x="1893878" y="5050516"/>
                </a:lnTo>
                <a:cubicBezTo>
                  <a:pt x="1894033" y="5049380"/>
                  <a:pt x="1894188" y="5048347"/>
                  <a:pt x="1894343" y="5047315"/>
                </a:cubicBezTo>
                <a:cubicBezTo>
                  <a:pt x="1894033" y="5049070"/>
                  <a:pt x="1893568" y="5051032"/>
                  <a:pt x="1893103" y="5052271"/>
                </a:cubicBezTo>
                <a:lnTo>
                  <a:pt x="1892329" y="5054026"/>
                </a:lnTo>
                <a:lnTo>
                  <a:pt x="1893258" y="5054026"/>
                </a:lnTo>
                <a:lnTo>
                  <a:pt x="1892329" y="5054956"/>
                </a:lnTo>
                <a:lnTo>
                  <a:pt x="1892174" y="5055162"/>
                </a:lnTo>
                <a:cubicBezTo>
                  <a:pt x="1891400" y="5055162"/>
                  <a:pt x="1891245" y="5055988"/>
                  <a:pt x="1892174" y="5055988"/>
                </a:cubicBezTo>
                <a:cubicBezTo>
                  <a:pt x="1891090" y="5057227"/>
                  <a:pt x="1890470" y="5058363"/>
                  <a:pt x="1889696" y="5058879"/>
                </a:cubicBezTo>
                <a:lnTo>
                  <a:pt x="1888921" y="5058776"/>
                </a:lnTo>
                <a:lnTo>
                  <a:pt x="1889076" y="5063629"/>
                </a:lnTo>
                <a:lnTo>
                  <a:pt x="1888767" y="5064972"/>
                </a:lnTo>
                <a:lnTo>
                  <a:pt x="1889231" y="5065384"/>
                </a:lnTo>
                <a:lnTo>
                  <a:pt x="1888612" y="5066107"/>
                </a:lnTo>
                <a:lnTo>
                  <a:pt x="1887837" y="5070444"/>
                </a:lnTo>
                <a:cubicBezTo>
                  <a:pt x="1887063" y="5072303"/>
                  <a:pt x="1885979" y="5073542"/>
                  <a:pt x="1884120" y="5073748"/>
                </a:cubicBezTo>
                <a:lnTo>
                  <a:pt x="1883346" y="5067966"/>
                </a:lnTo>
                <a:lnTo>
                  <a:pt x="1883035" y="5067553"/>
                </a:lnTo>
                <a:lnTo>
                  <a:pt x="1883191" y="5067243"/>
                </a:lnTo>
                <a:lnTo>
                  <a:pt x="1882571" y="5060325"/>
                </a:lnTo>
                <a:lnTo>
                  <a:pt x="1883655" y="5053820"/>
                </a:lnTo>
                <a:lnTo>
                  <a:pt x="1882726" y="5053613"/>
                </a:lnTo>
                <a:cubicBezTo>
                  <a:pt x="1879628" y="5054129"/>
                  <a:pt x="1875135" y="5057021"/>
                  <a:pt x="1870489" y="5052994"/>
                </a:cubicBezTo>
                <a:cubicBezTo>
                  <a:pt x="1872348" y="5051342"/>
                  <a:pt x="1869405" y="5046902"/>
                  <a:pt x="1872193" y="5044320"/>
                </a:cubicBezTo>
                <a:cubicBezTo>
                  <a:pt x="1877924" y="5037918"/>
                  <a:pt x="1880713" y="5037299"/>
                  <a:pt x="1884120" y="5038538"/>
                </a:cubicBezTo>
                <a:lnTo>
                  <a:pt x="1884275" y="5038641"/>
                </a:lnTo>
                <a:lnTo>
                  <a:pt x="1889231" y="5038641"/>
                </a:lnTo>
                <a:lnTo>
                  <a:pt x="1890006" y="5040293"/>
                </a:lnTo>
                <a:cubicBezTo>
                  <a:pt x="1890780" y="5039467"/>
                  <a:pt x="1891865" y="5038538"/>
                  <a:pt x="1892949" y="5039467"/>
                </a:cubicBezTo>
                <a:cubicBezTo>
                  <a:pt x="1894653" y="5041119"/>
                  <a:pt x="1894963" y="5043494"/>
                  <a:pt x="1894807" y="5045869"/>
                </a:cubicBezTo>
                <a:cubicBezTo>
                  <a:pt x="1896046" y="5042358"/>
                  <a:pt x="1898835" y="5039777"/>
                  <a:pt x="1905031" y="5041016"/>
                </a:cubicBezTo>
                <a:cubicBezTo>
                  <a:pt x="1906890" y="5040913"/>
                  <a:pt x="1906270" y="5041326"/>
                  <a:pt x="1907354" y="5041636"/>
                </a:cubicBezTo>
                <a:lnTo>
                  <a:pt x="1908593" y="5041636"/>
                </a:lnTo>
                <a:lnTo>
                  <a:pt x="1900384" y="5038744"/>
                </a:lnTo>
                <a:cubicBezTo>
                  <a:pt x="1897905" y="5037299"/>
                  <a:pt x="1895737" y="5035337"/>
                  <a:pt x="1894498" y="5032343"/>
                </a:cubicBezTo>
                <a:cubicBezTo>
                  <a:pt x="1895737" y="5026870"/>
                  <a:pt x="1895117" y="5023256"/>
                  <a:pt x="1894033" y="5020158"/>
                </a:cubicBezTo>
                <a:lnTo>
                  <a:pt x="1893878" y="5019745"/>
                </a:lnTo>
                <a:lnTo>
                  <a:pt x="1893723" y="5020055"/>
                </a:lnTo>
                <a:cubicBezTo>
                  <a:pt x="1893568" y="5020158"/>
                  <a:pt x="1893568" y="5019952"/>
                  <a:pt x="1893258" y="5019436"/>
                </a:cubicBezTo>
                <a:cubicBezTo>
                  <a:pt x="1893258" y="5019436"/>
                  <a:pt x="1893258" y="5019539"/>
                  <a:pt x="1892484" y="5018610"/>
                </a:cubicBezTo>
                <a:cubicBezTo>
                  <a:pt x="1892484" y="5018610"/>
                  <a:pt x="1892329" y="5018610"/>
                  <a:pt x="1892329" y="5018300"/>
                </a:cubicBezTo>
                <a:lnTo>
                  <a:pt x="1892949" y="5017267"/>
                </a:lnTo>
                <a:lnTo>
                  <a:pt x="1892329" y="5015821"/>
                </a:lnTo>
                <a:cubicBezTo>
                  <a:pt x="1891710" y="5014376"/>
                  <a:pt x="1891245" y="5012931"/>
                  <a:pt x="1890935" y="5011175"/>
                </a:cubicBezTo>
                <a:cubicBezTo>
                  <a:pt x="1892329" y="5007561"/>
                  <a:pt x="1894033" y="5003638"/>
                  <a:pt x="1896046" y="4999817"/>
                </a:cubicBezTo>
                <a:lnTo>
                  <a:pt x="1898215" y="4996513"/>
                </a:lnTo>
                <a:lnTo>
                  <a:pt x="1899765" y="4993518"/>
                </a:lnTo>
                <a:lnTo>
                  <a:pt x="1899919" y="4993209"/>
                </a:lnTo>
                <a:lnTo>
                  <a:pt x="1901003" y="4986084"/>
                </a:lnTo>
                <a:cubicBezTo>
                  <a:pt x="1901778" y="4983812"/>
                  <a:pt x="1903172" y="4981850"/>
                  <a:pt x="1905185" y="4980198"/>
                </a:cubicBezTo>
                <a:cubicBezTo>
                  <a:pt x="1907819" y="4978546"/>
                  <a:pt x="1910297" y="4977927"/>
                  <a:pt x="1912311" y="4978133"/>
                </a:cubicBezTo>
                <a:lnTo>
                  <a:pt x="1914789" y="4979372"/>
                </a:lnTo>
                <a:lnTo>
                  <a:pt x="1924547" y="4975345"/>
                </a:lnTo>
                <a:lnTo>
                  <a:pt x="1924858" y="4975345"/>
                </a:lnTo>
                <a:lnTo>
                  <a:pt x="1926096" y="4974313"/>
                </a:lnTo>
                <a:lnTo>
                  <a:pt x="1925477" y="4972661"/>
                </a:lnTo>
                <a:cubicBezTo>
                  <a:pt x="1922999" y="4969976"/>
                  <a:pt x="1919281" y="4971421"/>
                  <a:pt x="1917887" y="4964710"/>
                </a:cubicBezTo>
                <a:lnTo>
                  <a:pt x="1923308" y="4964607"/>
                </a:lnTo>
                <a:lnTo>
                  <a:pt x="1922844" y="4963367"/>
                </a:lnTo>
                <a:cubicBezTo>
                  <a:pt x="1922070" y="4960683"/>
                  <a:pt x="1921759" y="4957998"/>
                  <a:pt x="1921449" y="4955107"/>
                </a:cubicBezTo>
                <a:lnTo>
                  <a:pt x="1921449" y="4950254"/>
                </a:lnTo>
                <a:lnTo>
                  <a:pt x="1919746" y="4951700"/>
                </a:lnTo>
                <a:cubicBezTo>
                  <a:pt x="1916028" y="4953764"/>
                  <a:pt x="1913240" y="4952525"/>
                  <a:pt x="1912775" y="4953248"/>
                </a:cubicBezTo>
                <a:cubicBezTo>
                  <a:pt x="1909832" y="4950770"/>
                  <a:pt x="1911381" y="4948912"/>
                  <a:pt x="1912466" y="4945297"/>
                </a:cubicBezTo>
                <a:cubicBezTo>
                  <a:pt x="1913550" y="4946124"/>
                  <a:pt x="1915564" y="4943336"/>
                  <a:pt x="1916338" y="4942407"/>
                </a:cubicBezTo>
                <a:cubicBezTo>
                  <a:pt x="1917268" y="4943233"/>
                  <a:pt x="1918507" y="4942923"/>
                  <a:pt x="1919746" y="4942716"/>
                </a:cubicBezTo>
                <a:lnTo>
                  <a:pt x="1921604" y="4942716"/>
                </a:lnTo>
                <a:close/>
                <a:moveTo>
                  <a:pt x="824009" y="4927950"/>
                </a:moveTo>
                <a:cubicBezTo>
                  <a:pt x="825094" y="4926195"/>
                  <a:pt x="827108" y="4929706"/>
                  <a:pt x="828191" y="4927950"/>
                </a:cubicBezTo>
                <a:cubicBezTo>
                  <a:pt x="831135" y="4931565"/>
                  <a:pt x="835781" y="4927228"/>
                  <a:pt x="841048" y="4931668"/>
                </a:cubicBezTo>
                <a:cubicBezTo>
                  <a:pt x="838880" y="4932390"/>
                  <a:pt x="837021" y="4932597"/>
                  <a:pt x="835162" y="4932597"/>
                </a:cubicBezTo>
                <a:cubicBezTo>
                  <a:pt x="829896" y="4932701"/>
                  <a:pt x="825868" y="4931048"/>
                  <a:pt x="821996" y="4932287"/>
                </a:cubicBezTo>
                <a:cubicBezTo>
                  <a:pt x="821996" y="4932287"/>
                  <a:pt x="821996" y="4932287"/>
                  <a:pt x="820446" y="4930532"/>
                </a:cubicBezTo>
                <a:cubicBezTo>
                  <a:pt x="819672" y="4930429"/>
                  <a:pt x="819672" y="4930532"/>
                  <a:pt x="819672" y="4930532"/>
                </a:cubicBezTo>
                <a:cubicBezTo>
                  <a:pt x="819208" y="4930532"/>
                  <a:pt x="819053" y="4930016"/>
                  <a:pt x="819053" y="4929603"/>
                </a:cubicBezTo>
                <a:cubicBezTo>
                  <a:pt x="818898" y="4929190"/>
                  <a:pt x="819053" y="4928777"/>
                  <a:pt x="819053" y="4928777"/>
                </a:cubicBezTo>
                <a:cubicBezTo>
                  <a:pt x="819982" y="4927021"/>
                  <a:pt x="822460" y="4927847"/>
                  <a:pt x="824009" y="4927950"/>
                </a:cubicBezTo>
                <a:close/>
                <a:moveTo>
                  <a:pt x="2214978" y="4927538"/>
                </a:moveTo>
                <a:cubicBezTo>
                  <a:pt x="2217766" y="4929293"/>
                  <a:pt x="2220090" y="4932494"/>
                  <a:pt x="2219935" y="4935385"/>
                </a:cubicBezTo>
                <a:cubicBezTo>
                  <a:pt x="2218386" y="4935591"/>
                  <a:pt x="2216837" y="4935591"/>
                  <a:pt x="2215443" y="4935488"/>
                </a:cubicBezTo>
                <a:cubicBezTo>
                  <a:pt x="2211416" y="4935178"/>
                  <a:pt x="2208473" y="4933320"/>
                  <a:pt x="2206923" y="4927950"/>
                </a:cubicBezTo>
                <a:cubicBezTo>
                  <a:pt x="2208938" y="4925266"/>
                  <a:pt x="2212190" y="4925679"/>
                  <a:pt x="2214978" y="4927538"/>
                </a:cubicBezTo>
                <a:close/>
                <a:moveTo>
                  <a:pt x="2182295" y="4927228"/>
                </a:moveTo>
                <a:cubicBezTo>
                  <a:pt x="2183224" y="4928157"/>
                  <a:pt x="2184154" y="4928983"/>
                  <a:pt x="2184154" y="4930739"/>
                </a:cubicBezTo>
                <a:cubicBezTo>
                  <a:pt x="2182605" y="4932390"/>
                  <a:pt x="2179972" y="4931358"/>
                  <a:pt x="2179197" y="4932184"/>
                </a:cubicBezTo>
                <a:cubicBezTo>
                  <a:pt x="2179197" y="4931358"/>
                  <a:pt x="2179197" y="4929603"/>
                  <a:pt x="2177494" y="4928673"/>
                </a:cubicBezTo>
                <a:cubicBezTo>
                  <a:pt x="2179042" y="4927021"/>
                  <a:pt x="2180591" y="4925369"/>
                  <a:pt x="2182295" y="4927228"/>
                </a:cubicBezTo>
                <a:close/>
                <a:moveTo>
                  <a:pt x="1566582" y="4926918"/>
                </a:moveTo>
                <a:cubicBezTo>
                  <a:pt x="1570609" y="4928570"/>
                  <a:pt x="1570764" y="4934146"/>
                  <a:pt x="1567821" y="4935798"/>
                </a:cubicBezTo>
                <a:cubicBezTo>
                  <a:pt x="1561471" y="4934766"/>
                  <a:pt x="1563329" y="4927744"/>
                  <a:pt x="1566582" y="4926918"/>
                </a:cubicBezTo>
                <a:close/>
                <a:moveTo>
                  <a:pt x="1005393" y="4926918"/>
                </a:moveTo>
                <a:cubicBezTo>
                  <a:pt x="1006787" y="4930016"/>
                  <a:pt x="1004928" y="4932701"/>
                  <a:pt x="1002450" y="4933423"/>
                </a:cubicBezTo>
                <a:cubicBezTo>
                  <a:pt x="1001675" y="4933630"/>
                  <a:pt x="1000746" y="4933630"/>
                  <a:pt x="999817" y="4933320"/>
                </a:cubicBezTo>
                <a:cubicBezTo>
                  <a:pt x="995944" y="4927744"/>
                  <a:pt x="1002450" y="4924956"/>
                  <a:pt x="1005393" y="4926918"/>
                </a:cubicBezTo>
                <a:close/>
                <a:moveTo>
                  <a:pt x="1848648" y="4926505"/>
                </a:moveTo>
                <a:cubicBezTo>
                  <a:pt x="1849733" y="4927331"/>
                  <a:pt x="1849733" y="4927331"/>
                  <a:pt x="1849733" y="4928157"/>
                </a:cubicBezTo>
                <a:cubicBezTo>
                  <a:pt x="1850972" y="4929912"/>
                  <a:pt x="1851901" y="4930739"/>
                  <a:pt x="1851281" y="4932494"/>
                </a:cubicBezTo>
                <a:cubicBezTo>
                  <a:pt x="1850662" y="4933836"/>
                  <a:pt x="1849733" y="4934352"/>
                  <a:pt x="1848803" y="4934249"/>
                </a:cubicBezTo>
                <a:cubicBezTo>
                  <a:pt x="1847874" y="4934249"/>
                  <a:pt x="1846635" y="4933630"/>
                  <a:pt x="1845241" y="4932907"/>
                </a:cubicBezTo>
                <a:cubicBezTo>
                  <a:pt x="1842453" y="4931255"/>
                  <a:pt x="1842917" y="4928570"/>
                  <a:pt x="1841058" y="4926918"/>
                </a:cubicBezTo>
                <a:cubicBezTo>
                  <a:pt x="1842607" y="4925989"/>
                  <a:pt x="1844931" y="4924027"/>
                  <a:pt x="1848648" y="4926505"/>
                </a:cubicBezTo>
                <a:close/>
                <a:moveTo>
                  <a:pt x="1537462" y="4925885"/>
                </a:moveTo>
                <a:cubicBezTo>
                  <a:pt x="1539320" y="4926815"/>
                  <a:pt x="1540095" y="4927641"/>
                  <a:pt x="1541799" y="4928673"/>
                </a:cubicBezTo>
                <a:lnTo>
                  <a:pt x="1542418" y="4931048"/>
                </a:lnTo>
                <a:lnTo>
                  <a:pt x="1547220" y="4932907"/>
                </a:lnTo>
                <a:cubicBezTo>
                  <a:pt x="1548150" y="4933733"/>
                  <a:pt x="1550318" y="4937037"/>
                  <a:pt x="1549543" y="4937967"/>
                </a:cubicBezTo>
                <a:cubicBezTo>
                  <a:pt x="1548924" y="4938896"/>
                  <a:pt x="1548150" y="4938999"/>
                  <a:pt x="1547220" y="4938999"/>
                </a:cubicBezTo>
                <a:lnTo>
                  <a:pt x="1542418" y="4936831"/>
                </a:lnTo>
                <a:lnTo>
                  <a:pt x="1541489" y="4938999"/>
                </a:lnTo>
                <a:cubicBezTo>
                  <a:pt x="1540405" y="4940238"/>
                  <a:pt x="1539475" y="4940961"/>
                  <a:pt x="1538391" y="4941168"/>
                </a:cubicBezTo>
                <a:lnTo>
                  <a:pt x="1537152" y="4941168"/>
                </a:lnTo>
                <a:lnTo>
                  <a:pt x="1537462" y="4942200"/>
                </a:lnTo>
                <a:lnTo>
                  <a:pt x="1534828" y="4943542"/>
                </a:lnTo>
                <a:lnTo>
                  <a:pt x="1533899" y="4945091"/>
                </a:lnTo>
                <a:cubicBezTo>
                  <a:pt x="1532505" y="4945401"/>
                  <a:pt x="1531730" y="4945711"/>
                  <a:pt x="1531111" y="4945504"/>
                </a:cubicBezTo>
                <a:cubicBezTo>
                  <a:pt x="1530491" y="4945297"/>
                  <a:pt x="1530182" y="4944678"/>
                  <a:pt x="1529717" y="4943336"/>
                </a:cubicBezTo>
                <a:lnTo>
                  <a:pt x="1529717" y="4942923"/>
                </a:lnTo>
                <a:lnTo>
                  <a:pt x="1528168" y="4943542"/>
                </a:lnTo>
                <a:cubicBezTo>
                  <a:pt x="1528168" y="4942716"/>
                  <a:pt x="1528168" y="4941787"/>
                  <a:pt x="1527239" y="4941787"/>
                </a:cubicBezTo>
                <a:lnTo>
                  <a:pt x="1528943" y="4940445"/>
                </a:lnTo>
                <a:lnTo>
                  <a:pt x="1528788" y="4939722"/>
                </a:lnTo>
                <a:lnTo>
                  <a:pt x="1528943" y="4936934"/>
                </a:lnTo>
                <a:lnTo>
                  <a:pt x="1528633" y="4936727"/>
                </a:lnTo>
                <a:cubicBezTo>
                  <a:pt x="1528633" y="4936727"/>
                  <a:pt x="1525225" y="4932184"/>
                  <a:pt x="1528323" y="4928054"/>
                </a:cubicBezTo>
                <a:cubicBezTo>
                  <a:pt x="1529252" y="4928983"/>
                  <a:pt x="1534054" y="4923923"/>
                  <a:pt x="1537462" y="4925885"/>
                </a:cubicBezTo>
                <a:close/>
                <a:moveTo>
                  <a:pt x="1187396" y="4925266"/>
                </a:moveTo>
                <a:cubicBezTo>
                  <a:pt x="1189255" y="4924749"/>
                  <a:pt x="1191578" y="4925369"/>
                  <a:pt x="1194212" y="4927641"/>
                </a:cubicBezTo>
                <a:cubicBezTo>
                  <a:pt x="1191733" y="4932804"/>
                  <a:pt x="1193902" y="4936831"/>
                  <a:pt x="1189565" y="4939825"/>
                </a:cubicBezTo>
                <a:cubicBezTo>
                  <a:pt x="1181045" y="4937347"/>
                  <a:pt x="1181975" y="4926711"/>
                  <a:pt x="1187396" y="4925266"/>
                </a:cubicBezTo>
                <a:close/>
                <a:moveTo>
                  <a:pt x="1610263" y="4924749"/>
                </a:moveTo>
                <a:cubicBezTo>
                  <a:pt x="1610418" y="4925576"/>
                  <a:pt x="1609643" y="4928157"/>
                  <a:pt x="1610573" y="4928260"/>
                </a:cubicBezTo>
                <a:cubicBezTo>
                  <a:pt x="1608714" y="4930119"/>
                  <a:pt x="1606391" y="4931978"/>
                  <a:pt x="1604377" y="4931978"/>
                </a:cubicBezTo>
                <a:cubicBezTo>
                  <a:pt x="1603602" y="4931978"/>
                  <a:pt x="1602828" y="4931771"/>
                  <a:pt x="1602208" y="4931358"/>
                </a:cubicBezTo>
                <a:cubicBezTo>
                  <a:pt x="1600505" y="4930429"/>
                  <a:pt x="1601280" y="4928673"/>
                  <a:pt x="1602828" y="4927021"/>
                </a:cubicBezTo>
                <a:cubicBezTo>
                  <a:pt x="1605152" y="4922788"/>
                  <a:pt x="1607630" y="4921962"/>
                  <a:pt x="1610263" y="4924749"/>
                </a:cubicBezTo>
                <a:close/>
                <a:moveTo>
                  <a:pt x="2072319" y="4924543"/>
                </a:moveTo>
                <a:cubicBezTo>
                  <a:pt x="2079134" y="4927434"/>
                  <a:pt x="2082542" y="4927641"/>
                  <a:pt x="2087808" y="4930532"/>
                </a:cubicBezTo>
                <a:cubicBezTo>
                  <a:pt x="2087808" y="4931461"/>
                  <a:pt x="2086879" y="4931358"/>
                  <a:pt x="2087034" y="4932184"/>
                </a:cubicBezTo>
                <a:cubicBezTo>
                  <a:pt x="2086569" y="4932701"/>
                  <a:pt x="2085795" y="4932804"/>
                  <a:pt x="2084710" y="4932701"/>
                </a:cubicBezTo>
                <a:cubicBezTo>
                  <a:pt x="2081612" y="4932597"/>
                  <a:pt x="2076811" y="4930739"/>
                  <a:pt x="2076656" y="4930016"/>
                </a:cubicBezTo>
                <a:lnTo>
                  <a:pt x="2075726" y="4929500"/>
                </a:lnTo>
                <a:lnTo>
                  <a:pt x="2080838" y="4934146"/>
                </a:lnTo>
                <a:cubicBezTo>
                  <a:pt x="2084246" y="4938689"/>
                  <a:pt x="2086569" y="4944678"/>
                  <a:pt x="2086879" y="4947776"/>
                </a:cubicBezTo>
                <a:cubicBezTo>
                  <a:pt x="2080838" y="4943749"/>
                  <a:pt x="2071234" y="4936624"/>
                  <a:pt x="2069066" y="4929293"/>
                </a:cubicBezTo>
                <a:cubicBezTo>
                  <a:pt x="2070150" y="4928673"/>
                  <a:pt x="2071080" y="4928364"/>
                  <a:pt x="2072164" y="4928260"/>
                </a:cubicBezTo>
                <a:lnTo>
                  <a:pt x="2074797" y="4928983"/>
                </a:lnTo>
                <a:lnTo>
                  <a:pt x="2073248" y="4928157"/>
                </a:lnTo>
                <a:cubicBezTo>
                  <a:pt x="2072474" y="4927228"/>
                  <a:pt x="2071544" y="4926195"/>
                  <a:pt x="2072319" y="4924543"/>
                </a:cubicBezTo>
                <a:close/>
                <a:moveTo>
                  <a:pt x="1413525" y="4924427"/>
                </a:moveTo>
                <a:cubicBezTo>
                  <a:pt x="1416178" y="4925317"/>
                  <a:pt x="1418502" y="4927176"/>
                  <a:pt x="1418811" y="4929293"/>
                </a:cubicBezTo>
                <a:cubicBezTo>
                  <a:pt x="1417882" y="4931668"/>
                  <a:pt x="1416953" y="4934043"/>
                  <a:pt x="1416023" y="4936314"/>
                </a:cubicBezTo>
                <a:cubicBezTo>
                  <a:pt x="1414164" y="4937760"/>
                  <a:pt x="1412306" y="4938379"/>
                  <a:pt x="1410447" y="4938173"/>
                </a:cubicBezTo>
                <a:cubicBezTo>
                  <a:pt x="1408743" y="4937967"/>
                  <a:pt x="1407039" y="4937140"/>
                  <a:pt x="1405955" y="4935695"/>
                </a:cubicBezTo>
                <a:cubicBezTo>
                  <a:pt x="1405180" y="4934662"/>
                  <a:pt x="1404716" y="4933423"/>
                  <a:pt x="1404560" y="4932081"/>
                </a:cubicBezTo>
                <a:lnTo>
                  <a:pt x="1404716" y="4931874"/>
                </a:lnTo>
                <a:lnTo>
                  <a:pt x="1403477" y="4932701"/>
                </a:lnTo>
                <a:cubicBezTo>
                  <a:pt x="1402857" y="4933010"/>
                  <a:pt x="1402237" y="4933113"/>
                  <a:pt x="1401773" y="4932701"/>
                </a:cubicBezTo>
                <a:cubicBezTo>
                  <a:pt x="1401618" y="4931771"/>
                  <a:pt x="1400844" y="4931771"/>
                  <a:pt x="1400688" y="4930945"/>
                </a:cubicBezTo>
                <a:cubicBezTo>
                  <a:pt x="1399604" y="4929190"/>
                  <a:pt x="1399449" y="4928364"/>
                  <a:pt x="1400224" y="4927434"/>
                </a:cubicBezTo>
                <a:cubicBezTo>
                  <a:pt x="1400069" y="4926608"/>
                  <a:pt x="1400998" y="4926505"/>
                  <a:pt x="1401618" y="4925576"/>
                </a:cubicBezTo>
                <a:cubicBezTo>
                  <a:pt x="1402547" y="4925576"/>
                  <a:pt x="1403322" y="4926402"/>
                  <a:pt x="1403322" y="4926402"/>
                </a:cubicBezTo>
                <a:cubicBezTo>
                  <a:pt x="1404406" y="4927228"/>
                  <a:pt x="1404406" y="4927228"/>
                  <a:pt x="1405025" y="4926299"/>
                </a:cubicBezTo>
                <a:cubicBezTo>
                  <a:pt x="1405025" y="4926299"/>
                  <a:pt x="1405180" y="4927124"/>
                  <a:pt x="1405180" y="4927124"/>
                </a:cubicBezTo>
                <a:cubicBezTo>
                  <a:pt x="1404716" y="4927124"/>
                  <a:pt x="1404716" y="4927124"/>
                  <a:pt x="1405025" y="4927228"/>
                </a:cubicBezTo>
                <a:lnTo>
                  <a:pt x="1405645" y="4927744"/>
                </a:lnTo>
                <a:lnTo>
                  <a:pt x="1406264" y="4925369"/>
                </a:lnTo>
                <a:cubicBezTo>
                  <a:pt x="1407891" y="4923613"/>
                  <a:pt x="1410873" y="4923536"/>
                  <a:pt x="1413525" y="4924427"/>
                </a:cubicBezTo>
                <a:close/>
                <a:moveTo>
                  <a:pt x="1827118" y="4924337"/>
                </a:moveTo>
                <a:cubicBezTo>
                  <a:pt x="1830681" y="4925266"/>
                  <a:pt x="1832849" y="4927021"/>
                  <a:pt x="1832849" y="4930119"/>
                </a:cubicBezTo>
                <a:cubicBezTo>
                  <a:pt x="1832539" y="4932494"/>
                  <a:pt x="1831920" y="4936005"/>
                  <a:pt x="1828977" y="4935901"/>
                </a:cubicBezTo>
                <a:cubicBezTo>
                  <a:pt x="1828512" y="4935178"/>
                  <a:pt x="1827737" y="4935591"/>
                  <a:pt x="1827273" y="4934869"/>
                </a:cubicBezTo>
                <a:cubicBezTo>
                  <a:pt x="1827273" y="4934869"/>
                  <a:pt x="1826498" y="4934352"/>
                  <a:pt x="1825724" y="4933320"/>
                </a:cubicBezTo>
                <a:cubicBezTo>
                  <a:pt x="1824794" y="4932287"/>
                  <a:pt x="1824020" y="4930635"/>
                  <a:pt x="1824020" y="4928467"/>
                </a:cubicBezTo>
                <a:cubicBezTo>
                  <a:pt x="1824175" y="4927331"/>
                  <a:pt x="1825259" y="4924543"/>
                  <a:pt x="1825724" y="4925266"/>
                </a:cubicBezTo>
                <a:cubicBezTo>
                  <a:pt x="1826963" y="4925576"/>
                  <a:pt x="1826498" y="4924853"/>
                  <a:pt x="1827118" y="4924337"/>
                </a:cubicBezTo>
                <a:close/>
                <a:moveTo>
                  <a:pt x="973484" y="4923511"/>
                </a:moveTo>
                <a:cubicBezTo>
                  <a:pt x="975188" y="4922684"/>
                  <a:pt x="977512" y="4925369"/>
                  <a:pt x="979061" y="4926195"/>
                </a:cubicBezTo>
                <a:cubicBezTo>
                  <a:pt x="978131" y="4927124"/>
                  <a:pt x="977202" y="4927950"/>
                  <a:pt x="977976" y="4927950"/>
                </a:cubicBezTo>
                <a:cubicBezTo>
                  <a:pt x="977047" y="4928880"/>
                  <a:pt x="976272" y="4929190"/>
                  <a:pt x="975498" y="4929293"/>
                </a:cubicBezTo>
                <a:cubicBezTo>
                  <a:pt x="974569" y="4929396"/>
                  <a:pt x="973794" y="4929190"/>
                  <a:pt x="973019" y="4928777"/>
                </a:cubicBezTo>
                <a:cubicBezTo>
                  <a:pt x="972245" y="4927847"/>
                  <a:pt x="972400" y="4926092"/>
                  <a:pt x="973484" y="4923511"/>
                </a:cubicBezTo>
                <a:close/>
                <a:moveTo>
                  <a:pt x="2172537" y="4922788"/>
                </a:moveTo>
                <a:cubicBezTo>
                  <a:pt x="2172537" y="4922788"/>
                  <a:pt x="2177029" y="4924027"/>
                  <a:pt x="2177184" y="4927124"/>
                </a:cubicBezTo>
                <a:cubicBezTo>
                  <a:pt x="2177803" y="4927847"/>
                  <a:pt x="2175015" y="4929603"/>
                  <a:pt x="2173931" y="4929293"/>
                </a:cubicBezTo>
                <a:cubicBezTo>
                  <a:pt x="2171607" y="4928673"/>
                  <a:pt x="2170368" y="4928364"/>
                  <a:pt x="2169439" y="4926918"/>
                </a:cubicBezTo>
                <a:cubicBezTo>
                  <a:pt x="2168199" y="4926608"/>
                  <a:pt x="2167115" y="4926299"/>
                  <a:pt x="2166341" y="4925782"/>
                </a:cubicBezTo>
                <a:cubicBezTo>
                  <a:pt x="2165411" y="4925266"/>
                  <a:pt x="2164947" y="4924543"/>
                  <a:pt x="2165102" y="4923304"/>
                </a:cubicBezTo>
                <a:cubicBezTo>
                  <a:pt x="2167735" y="4922788"/>
                  <a:pt x="2169439" y="4922581"/>
                  <a:pt x="2172537" y="4922788"/>
                </a:cubicBezTo>
                <a:close/>
                <a:moveTo>
                  <a:pt x="1586718" y="4921755"/>
                </a:moveTo>
                <a:cubicBezTo>
                  <a:pt x="1586409" y="4922168"/>
                  <a:pt x="1586254" y="4922478"/>
                  <a:pt x="1586099" y="4922478"/>
                </a:cubicBezTo>
                <a:cubicBezTo>
                  <a:pt x="1585790" y="4922478"/>
                  <a:pt x="1585635" y="4922272"/>
                  <a:pt x="1585170" y="4921858"/>
                </a:cubicBezTo>
                <a:cubicBezTo>
                  <a:pt x="1585790" y="4920826"/>
                  <a:pt x="1585944" y="4921755"/>
                  <a:pt x="1586718" y="4921755"/>
                </a:cubicBezTo>
                <a:close/>
                <a:moveTo>
                  <a:pt x="1619402" y="4921549"/>
                </a:moveTo>
                <a:cubicBezTo>
                  <a:pt x="1619402" y="4922478"/>
                  <a:pt x="1620332" y="4924337"/>
                  <a:pt x="1619402" y="4924337"/>
                </a:cubicBezTo>
                <a:cubicBezTo>
                  <a:pt x="1619557" y="4925163"/>
                  <a:pt x="1617853" y="4925163"/>
                  <a:pt x="1617853" y="4925163"/>
                </a:cubicBezTo>
                <a:cubicBezTo>
                  <a:pt x="1618008" y="4925989"/>
                  <a:pt x="1618008" y="4926918"/>
                  <a:pt x="1617233" y="4927744"/>
                </a:cubicBezTo>
                <a:cubicBezTo>
                  <a:pt x="1616304" y="4926815"/>
                  <a:pt x="1616459" y="4927744"/>
                  <a:pt x="1615530" y="4927744"/>
                </a:cubicBezTo>
                <a:cubicBezTo>
                  <a:pt x="1616304" y="4926815"/>
                  <a:pt x="1616304" y="4924130"/>
                  <a:pt x="1617079" y="4922375"/>
                </a:cubicBezTo>
                <a:cubicBezTo>
                  <a:pt x="1617853" y="4922375"/>
                  <a:pt x="1618627" y="4921549"/>
                  <a:pt x="1619402" y="4921549"/>
                </a:cubicBezTo>
                <a:close/>
                <a:moveTo>
                  <a:pt x="1482319" y="4920723"/>
                </a:moveTo>
                <a:cubicBezTo>
                  <a:pt x="1486966" y="4923923"/>
                  <a:pt x="1483713" y="4927744"/>
                  <a:pt x="1483868" y="4933423"/>
                </a:cubicBezTo>
                <a:cubicBezTo>
                  <a:pt x="1479375" y="4932701"/>
                  <a:pt x="1477052" y="4925782"/>
                  <a:pt x="1479066" y="4922478"/>
                </a:cubicBezTo>
                <a:cubicBezTo>
                  <a:pt x="1479685" y="4921445"/>
                  <a:pt x="1480770" y="4920619"/>
                  <a:pt x="1482319" y="4920723"/>
                </a:cubicBezTo>
                <a:close/>
                <a:moveTo>
                  <a:pt x="1803961" y="4920684"/>
                </a:moveTo>
                <a:cubicBezTo>
                  <a:pt x="1806749" y="4920593"/>
                  <a:pt x="1809072" y="4921342"/>
                  <a:pt x="1809924" y="4920929"/>
                </a:cubicBezTo>
                <a:cubicBezTo>
                  <a:pt x="1811783" y="4922994"/>
                  <a:pt x="1812402" y="4923511"/>
                  <a:pt x="1810854" y="4925679"/>
                </a:cubicBezTo>
                <a:lnTo>
                  <a:pt x="1809150" y="4927847"/>
                </a:lnTo>
                <a:lnTo>
                  <a:pt x="1810389" y="4929809"/>
                </a:lnTo>
                <a:cubicBezTo>
                  <a:pt x="1809614" y="4930635"/>
                  <a:pt x="1808840" y="4931358"/>
                  <a:pt x="1808066" y="4932184"/>
                </a:cubicBezTo>
                <a:lnTo>
                  <a:pt x="1804503" y="4930222"/>
                </a:lnTo>
                <a:lnTo>
                  <a:pt x="1802025" y="4930016"/>
                </a:lnTo>
                <a:cubicBezTo>
                  <a:pt x="1800476" y="4930842"/>
                  <a:pt x="1797997" y="4930739"/>
                  <a:pt x="1796293" y="4929809"/>
                </a:cubicBezTo>
                <a:cubicBezTo>
                  <a:pt x="1794589" y="4927950"/>
                  <a:pt x="1794435" y="4926299"/>
                  <a:pt x="1795209" y="4925473"/>
                </a:cubicBezTo>
                <a:cubicBezTo>
                  <a:pt x="1797920" y="4921704"/>
                  <a:pt x="1801173" y="4920774"/>
                  <a:pt x="1803961" y="4920684"/>
                </a:cubicBezTo>
                <a:close/>
                <a:moveTo>
                  <a:pt x="1092445" y="4920413"/>
                </a:moveTo>
                <a:cubicBezTo>
                  <a:pt x="1091825" y="4921239"/>
                  <a:pt x="1091671" y="4921239"/>
                  <a:pt x="1092599" y="4921962"/>
                </a:cubicBezTo>
                <a:cubicBezTo>
                  <a:pt x="1092599" y="4921962"/>
                  <a:pt x="1092755" y="4922065"/>
                  <a:pt x="1093529" y="4921962"/>
                </a:cubicBezTo>
                <a:cubicBezTo>
                  <a:pt x="1093684" y="4922788"/>
                  <a:pt x="1092755" y="4922788"/>
                  <a:pt x="1092909" y="4923614"/>
                </a:cubicBezTo>
                <a:cubicBezTo>
                  <a:pt x="1092909" y="4923614"/>
                  <a:pt x="1092135" y="4923614"/>
                  <a:pt x="1092135" y="4923614"/>
                </a:cubicBezTo>
                <a:cubicBezTo>
                  <a:pt x="1092135" y="4924027"/>
                  <a:pt x="1092135" y="4924130"/>
                  <a:pt x="1091980" y="4923923"/>
                </a:cubicBezTo>
                <a:cubicBezTo>
                  <a:pt x="1091671" y="4923717"/>
                  <a:pt x="1091206" y="4923304"/>
                  <a:pt x="1090431" y="4922994"/>
                </a:cubicBezTo>
                <a:cubicBezTo>
                  <a:pt x="1089502" y="4922168"/>
                  <a:pt x="1088727" y="4922272"/>
                  <a:pt x="1089347" y="4921445"/>
                </a:cubicBezTo>
                <a:cubicBezTo>
                  <a:pt x="1090121" y="4920516"/>
                  <a:pt x="1090121" y="4920516"/>
                  <a:pt x="1092445" y="4920413"/>
                </a:cubicBezTo>
                <a:close/>
                <a:moveTo>
                  <a:pt x="1311313" y="4920206"/>
                </a:moveTo>
                <a:cubicBezTo>
                  <a:pt x="1315185" y="4917418"/>
                  <a:pt x="1320607" y="4921445"/>
                  <a:pt x="1319988" y="4925782"/>
                </a:cubicBezTo>
                <a:cubicBezTo>
                  <a:pt x="1319058" y="4926505"/>
                  <a:pt x="1317974" y="4927950"/>
                  <a:pt x="1316270" y="4928467"/>
                </a:cubicBezTo>
                <a:cubicBezTo>
                  <a:pt x="1312243" y="4926711"/>
                  <a:pt x="1310849" y="4923614"/>
                  <a:pt x="1311313" y="4920206"/>
                </a:cubicBezTo>
                <a:close/>
                <a:moveTo>
                  <a:pt x="1268910" y="4919626"/>
                </a:moveTo>
                <a:cubicBezTo>
                  <a:pt x="1270846" y="4919974"/>
                  <a:pt x="1272589" y="4921342"/>
                  <a:pt x="1273983" y="4923304"/>
                </a:cubicBezTo>
                <a:cubicBezTo>
                  <a:pt x="1278785" y="4929706"/>
                  <a:pt x="1280179" y="4942407"/>
                  <a:pt x="1272434" y="4945297"/>
                </a:cubicBezTo>
                <a:cubicBezTo>
                  <a:pt x="1269801" y="4942716"/>
                  <a:pt x="1267322" y="4939722"/>
                  <a:pt x="1265619" y="4935901"/>
                </a:cubicBezTo>
                <a:cubicBezTo>
                  <a:pt x="1263760" y="4932184"/>
                  <a:pt x="1262676" y="4927641"/>
                  <a:pt x="1262676" y="4922065"/>
                </a:cubicBezTo>
                <a:cubicBezTo>
                  <a:pt x="1264844" y="4919948"/>
                  <a:pt x="1266974" y="4919277"/>
                  <a:pt x="1268910" y="4919626"/>
                </a:cubicBezTo>
                <a:close/>
                <a:moveTo>
                  <a:pt x="2155866" y="4919019"/>
                </a:moveTo>
                <a:cubicBezTo>
                  <a:pt x="2158248" y="4917625"/>
                  <a:pt x="2161152" y="4918348"/>
                  <a:pt x="2162778" y="4921033"/>
                </a:cubicBezTo>
                <a:cubicBezTo>
                  <a:pt x="2163863" y="4922788"/>
                  <a:pt x="2164482" y="4925473"/>
                  <a:pt x="2163863" y="4928983"/>
                </a:cubicBezTo>
                <a:cubicBezTo>
                  <a:pt x="2162469" y="4930842"/>
                  <a:pt x="2159990" y="4931771"/>
                  <a:pt x="2157512" y="4931874"/>
                </a:cubicBezTo>
                <a:cubicBezTo>
                  <a:pt x="2155188" y="4932081"/>
                  <a:pt x="2152865" y="4931255"/>
                  <a:pt x="2152090" y="4929706"/>
                </a:cubicBezTo>
                <a:cubicBezTo>
                  <a:pt x="2151626" y="4923923"/>
                  <a:pt x="2153484" y="4920413"/>
                  <a:pt x="2155866" y="4919019"/>
                </a:cubicBezTo>
                <a:close/>
                <a:moveTo>
                  <a:pt x="2221019" y="4918967"/>
                </a:moveTo>
                <a:cubicBezTo>
                  <a:pt x="2224272" y="4918038"/>
                  <a:pt x="2227989" y="4920000"/>
                  <a:pt x="2230313" y="4923098"/>
                </a:cubicBezTo>
                <a:lnTo>
                  <a:pt x="2231088" y="4924853"/>
                </a:lnTo>
                <a:lnTo>
                  <a:pt x="2231088" y="4924233"/>
                </a:lnTo>
                <a:cubicBezTo>
                  <a:pt x="2234495" y="4926092"/>
                  <a:pt x="2236974" y="4927124"/>
                  <a:pt x="2240381" y="4928983"/>
                </a:cubicBezTo>
                <a:cubicBezTo>
                  <a:pt x="2241311" y="4929912"/>
                  <a:pt x="2243169" y="4933423"/>
                  <a:pt x="2242395" y="4934249"/>
                </a:cubicBezTo>
                <a:cubicBezTo>
                  <a:pt x="2241621" y="4935178"/>
                  <a:pt x="2240691" y="4935075"/>
                  <a:pt x="2239916" y="4935075"/>
                </a:cubicBezTo>
                <a:cubicBezTo>
                  <a:pt x="2238212" y="4934146"/>
                  <a:pt x="2236509" y="4933216"/>
                  <a:pt x="2234805" y="4932184"/>
                </a:cubicBezTo>
                <a:lnTo>
                  <a:pt x="2232636" y="4929706"/>
                </a:lnTo>
                <a:lnTo>
                  <a:pt x="2231862" y="4934559"/>
                </a:lnTo>
                <a:cubicBezTo>
                  <a:pt x="2230623" y="4935178"/>
                  <a:pt x="2228919" y="4935075"/>
                  <a:pt x="2227370" y="4934766"/>
                </a:cubicBezTo>
                <a:cubicBezTo>
                  <a:pt x="2222568" y="4933630"/>
                  <a:pt x="2217147" y="4929086"/>
                  <a:pt x="2215908" y="4925369"/>
                </a:cubicBezTo>
                <a:cubicBezTo>
                  <a:pt x="2216992" y="4921652"/>
                  <a:pt x="2219006" y="4919690"/>
                  <a:pt x="2221019" y="4918967"/>
                </a:cubicBezTo>
                <a:close/>
                <a:moveTo>
                  <a:pt x="1767425" y="4918967"/>
                </a:moveTo>
                <a:cubicBezTo>
                  <a:pt x="1772052" y="4918064"/>
                  <a:pt x="1777551" y="4919329"/>
                  <a:pt x="1777861" y="4922581"/>
                </a:cubicBezTo>
                <a:cubicBezTo>
                  <a:pt x="1778016" y="4925163"/>
                  <a:pt x="1775228" y="4928777"/>
                  <a:pt x="1766708" y="4933630"/>
                </a:cubicBezTo>
                <a:cubicBezTo>
                  <a:pt x="1764540" y="4931668"/>
                  <a:pt x="1763146" y="4929912"/>
                  <a:pt x="1762216" y="4928364"/>
                </a:cubicBezTo>
                <a:cubicBezTo>
                  <a:pt x="1759041" y="4922943"/>
                  <a:pt x="1762797" y="4919871"/>
                  <a:pt x="1767425" y="4918967"/>
                </a:cubicBezTo>
                <a:close/>
                <a:moveTo>
                  <a:pt x="1292261" y="4918038"/>
                </a:moveTo>
                <a:cubicBezTo>
                  <a:pt x="1293810" y="4922581"/>
                  <a:pt x="1291332" y="4923407"/>
                  <a:pt x="1288853" y="4924337"/>
                </a:cubicBezTo>
                <a:cubicBezTo>
                  <a:pt x="1288389" y="4921136"/>
                  <a:pt x="1284671" y="4921858"/>
                  <a:pt x="1286220" y="4918348"/>
                </a:cubicBezTo>
                <a:cubicBezTo>
                  <a:pt x="1287459" y="4917212"/>
                  <a:pt x="1289318" y="4917006"/>
                  <a:pt x="1292261" y="4918038"/>
                </a:cubicBezTo>
                <a:close/>
                <a:moveTo>
                  <a:pt x="774288" y="4917728"/>
                </a:moveTo>
                <a:cubicBezTo>
                  <a:pt x="777850" y="4917728"/>
                  <a:pt x="777386" y="4920929"/>
                  <a:pt x="776766" y="4924027"/>
                </a:cubicBezTo>
                <a:cubicBezTo>
                  <a:pt x="775837" y="4923923"/>
                  <a:pt x="774907" y="4924337"/>
                  <a:pt x="774133" y="4924543"/>
                </a:cubicBezTo>
                <a:cubicBezTo>
                  <a:pt x="773203" y="4924749"/>
                  <a:pt x="772429" y="4924749"/>
                  <a:pt x="771190" y="4923923"/>
                </a:cubicBezTo>
                <a:cubicBezTo>
                  <a:pt x="772119" y="4921549"/>
                  <a:pt x="773358" y="4920000"/>
                  <a:pt x="774288" y="4917728"/>
                </a:cubicBezTo>
                <a:close/>
                <a:moveTo>
                  <a:pt x="2101749" y="4917315"/>
                </a:moveTo>
                <a:cubicBezTo>
                  <a:pt x="2106086" y="4916696"/>
                  <a:pt x="2109184" y="4919587"/>
                  <a:pt x="2109494" y="4923304"/>
                </a:cubicBezTo>
                <a:cubicBezTo>
                  <a:pt x="2109649" y="4924543"/>
                  <a:pt x="2109494" y="4925989"/>
                  <a:pt x="2108874" y="4927331"/>
                </a:cubicBezTo>
                <a:cubicBezTo>
                  <a:pt x="2108100" y="4929190"/>
                  <a:pt x="2106551" y="4930945"/>
                  <a:pt x="2104227" y="4932494"/>
                </a:cubicBezTo>
                <a:cubicBezTo>
                  <a:pt x="2100975" y="4933526"/>
                  <a:pt x="2097102" y="4929500"/>
                  <a:pt x="2096018" y="4925679"/>
                </a:cubicBezTo>
                <a:cubicBezTo>
                  <a:pt x="2095708" y="4924337"/>
                  <a:pt x="2095553" y="4923098"/>
                  <a:pt x="2096018" y="4922065"/>
                </a:cubicBezTo>
                <a:cubicBezTo>
                  <a:pt x="2097877" y="4920413"/>
                  <a:pt x="2099891" y="4918864"/>
                  <a:pt x="2101749" y="4917315"/>
                </a:cubicBezTo>
                <a:close/>
                <a:moveTo>
                  <a:pt x="1699793" y="4917109"/>
                </a:moveTo>
                <a:cubicBezTo>
                  <a:pt x="1702426" y="4920000"/>
                  <a:pt x="1703046" y="4922788"/>
                  <a:pt x="1702426" y="4925266"/>
                </a:cubicBezTo>
                <a:cubicBezTo>
                  <a:pt x="1701652" y="4928983"/>
                  <a:pt x="1697934" y="4931771"/>
                  <a:pt x="1693908" y="4932701"/>
                </a:cubicBezTo>
                <a:cubicBezTo>
                  <a:pt x="1689725" y="4933733"/>
                  <a:pt x="1685233" y="4932804"/>
                  <a:pt x="1682755" y="4928880"/>
                </a:cubicBezTo>
                <a:cubicBezTo>
                  <a:pt x="1683374" y="4920929"/>
                  <a:pt x="1694063" y="4916592"/>
                  <a:pt x="1699793" y="4917109"/>
                </a:cubicBezTo>
                <a:close/>
                <a:moveTo>
                  <a:pt x="1302020" y="4916696"/>
                </a:moveTo>
                <a:cubicBezTo>
                  <a:pt x="1303104" y="4917006"/>
                  <a:pt x="1304343" y="4917315"/>
                  <a:pt x="1304033" y="4918451"/>
                </a:cubicBezTo>
                <a:cubicBezTo>
                  <a:pt x="1303878" y="4919690"/>
                  <a:pt x="1304343" y="4920413"/>
                  <a:pt x="1302484" y="4920516"/>
                </a:cubicBezTo>
                <a:cubicBezTo>
                  <a:pt x="1301864" y="4921033"/>
                  <a:pt x="1300625" y="4920723"/>
                  <a:pt x="1300006" y="4921239"/>
                </a:cubicBezTo>
                <a:cubicBezTo>
                  <a:pt x="1300006" y="4921239"/>
                  <a:pt x="1299541" y="4920723"/>
                  <a:pt x="1298922" y="4920103"/>
                </a:cubicBezTo>
                <a:cubicBezTo>
                  <a:pt x="1298457" y="4919483"/>
                  <a:pt x="1297992" y="4918761"/>
                  <a:pt x="1298147" y="4918141"/>
                </a:cubicBezTo>
                <a:cubicBezTo>
                  <a:pt x="1297837" y="4916283"/>
                  <a:pt x="1301245" y="4917109"/>
                  <a:pt x="1302020" y="4916696"/>
                </a:cubicBezTo>
                <a:close/>
                <a:moveTo>
                  <a:pt x="1241455" y="4915870"/>
                </a:moveTo>
                <a:cubicBezTo>
                  <a:pt x="1244244" y="4918451"/>
                  <a:pt x="1247032" y="4920826"/>
                  <a:pt x="1249355" y="4923923"/>
                </a:cubicBezTo>
                <a:cubicBezTo>
                  <a:pt x="1251678" y="4926918"/>
                  <a:pt x="1253537" y="4930635"/>
                  <a:pt x="1254156" y="4935591"/>
                </a:cubicBezTo>
                <a:cubicBezTo>
                  <a:pt x="1249045" y="4935695"/>
                  <a:pt x="1245947" y="4932494"/>
                  <a:pt x="1244089" y="4928364"/>
                </a:cubicBezTo>
                <a:cubicBezTo>
                  <a:pt x="1242075" y="4924233"/>
                  <a:pt x="1241455" y="4919277"/>
                  <a:pt x="1241455" y="4915870"/>
                </a:cubicBezTo>
                <a:close/>
                <a:moveTo>
                  <a:pt x="2127985" y="4914850"/>
                </a:moveTo>
                <a:cubicBezTo>
                  <a:pt x="2130173" y="4915637"/>
                  <a:pt x="2131566" y="4917986"/>
                  <a:pt x="2129011" y="4921136"/>
                </a:cubicBezTo>
                <a:cubicBezTo>
                  <a:pt x="2125758" y="4920000"/>
                  <a:pt x="2123589" y="4919174"/>
                  <a:pt x="2122195" y="4917935"/>
                </a:cubicBezTo>
                <a:cubicBezTo>
                  <a:pt x="2122815" y="4914837"/>
                  <a:pt x="2125797" y="4914063"/>
                  <a:pt x="2127985" y="4914850"/>
                </a:cubicBezTo>
                <a:close/>
                <a:moveTo>
                  <a:pt x="1613361" y="4914631"/>
                </a:moveTo>
                <a:cubicBezTo>
                  <a:pt x="1614136" y="4913805"/>
                  <a:pt x="1615065" y="4913805"/>
                  <a:pt x="1615839" y="4914734"/>
                </a:cubicBezTo>
                <a:cubicBezTo>
                  <a:pt x="1615839" y="4914734"/>
                  <a:pt x="1615065" y="4916386"/>
                  <a:pt x="1615065" y="4916386"/>
                </a:cubicBezTo>
                <a:cubicBezTo>
                  <a:pt x="1613516" y="4918038"/>
                  <a:pt x="1612587" y="4918967"/>
                  <a:pt x="1611812" y="4920619"/>
                </a:cubicBezTo>
                <a:cubicBezTo>
                  <a:pt x="1610108" y="4919690"/>
                  <a:pt x="1610108" y="4918761"/>
                  <a:pt x="1610883" y="4917935"/>
                </a:cubicBezTo>
                <a:cubicBezTo>
                  <a:pt x="1610883" y="4917935"/>
                  <a:pt x="1611657" y="4917109"/>
                  <a:pt x="1612587" y="4916283"/>
                </a:cubicBezTo>
                <a:cubicBezTo>
                  <a:pt x="1613361" y="4915456"/>
                  <a:pt x="1613361" y="4914631"/>
                  <a:pt x="1613361" y="4914631"/>
                </a:cubicBezTo>
                <a:close/>
                <a:moveTo>
                  <a:pt x="1508651" y="4914527"/>
                </a:moveTo>
                <a:cubicBezTo>
                  <a:pt x="1509735" y="4914837"/>
                  <a:pt x="1510974" y="4915147"/>
                  <a:pt x="1510510" y="4916283"/>
                </a:cubicBezTo>
                <a:cubicBezTo>
                  <a:pt x="1510200" y="4917522"/>
                  <a:pt x="1510510" y="4918245"/>
                  <a:pt x="1508651" y="4918451"/>
                </a:cubicBezTo>
                <a:cubicBezTo>
                  <a:pt x="1507876" y="4918864"/>
                  <a:pt x="1506792" y="4918657"/>
                  <a:pt x="1506173" y="4919071"/>
                </a:cubicBezTo>
                <a:cubicBezTo>
                  <a:pt x="1506173" y="4919071"/>
                  <a:pt x="1505553" y="4918657"/>
                  <a:pt x="1505243" y="4918038"/>
                </a:cubicBezTo>
                <a:cubicBezTo>
                  <a:pt x="1504779" y="4917418"/>
                  <a:pt x="1504314" y="4916696"/>
                  <a:pt x="1504624" y="4916076"/>
                </a:cubicBezTo>
                <a:cubicBezTo>
                  <a:pt x="1504469" y="4914217"/>
                  <a:pt x="1507876" y="4915044"/>
                  <a:pt x="1508651" y="4914527"/>
                </a:cubicBezTo>
                <a:close/>
                <a:moveTo>
                  <a:pt x="1388607" y="4912255"/>
                </a:moveTo>
                <a:cubicBezTo>
                  <a:pt x="1388607" y="4912255"/>
                  <a:pt x="1389226" y="4912772"/>
                  <a:pt x="1389226" y="4912772"/>
                </a:cubicBezTo>
                <a:cubicBezTo>
                  <a:pt x="1388916" y="4913495"/>
                  <a:pt x="1389226" y="4912772"/>
                  <a:pt x="1390465" y="4912462"/>
                </a:cubicBezTo>
                <a:cubicBezTo>
                  <a:pt x="1391549" y="4914011"/>
                  <a:pt x="1392324" y="4914424"/>
                  <a:pt x="1392789" y="4915663"/>
                </a:cubicBezTo>
                <a:lnTo>
                  <a:pt x="1392944" y="4916696"/>
                </a:lnTo>
                <a:lnTo>
                  <a:pt x="1394183" y="4917418"/>
                </a:lnTo>
                <a:cubicBezTo>
                  <a:pt x="1395422" y="4918864"/>
                  <a:pt x="1395887" y="4921239"/>
                  <a:pt x="1394803" y="4924646"/>
                </a:cubicBezTo>
                <a:cubicBezTo>
                  <a:pt x="1392634" y="4924543"/>
                  <a:pt x="1390930" y="4924956"/>
                  <a:pt x="1389381" y="4925369"/>
                </a:cubicBezTo>
                <a:lnTo>
                  <a:pt x="1385354" y="4926195"/>
                </a:lnTo>
                <a:lnTo>
                  <a:pt x="1386128" y="4927950"/>
                </a:lnTo>
                <a:cubicBezTo>
                  <a:pt x="1386592" y="4932081"/>
                  <a:pt x="1383804" y="4937140"/>
                  <a:pt x="1378228" y="4935901"/>
                </a:cubicBezTo>
                <a:cubicBezTo>
                  <a:pt x="1377764" y="4935282"/>
                  <a:pt x="1377454" y="4934352"/>
                  <a:pt x="1377145" y="4933216"/>
                </a:cubicBezTo>
                <a:cubicBezTo>
                  <a:pt x="1376680" y="4930016"/>
                  <a:pt x="1377454" y="4925369"/>
                  <a:pt x="1378538" y="4923511"/>
                </a:cubicBezTo>
                <a:cubicBezTo>
                  <a:pt x="1379932" y="4923098"/>
                  <a:pt x="1381017" y="4922994"/>
                  <a:pt x="1382101" y="4923201"/>
                </a:cubicBezTo>
                <a:lnTo>
                  <a:pt x="1382256" y="4923304"/>
                </a:lnTo>
                <a:lnTo>
                  <a:pt x="1382875" y="4919690"/>
                </a:lnTo>
                <a:cubicBezTo>
                  <a:pt x="1383650" y="4918245"/>
                  <a:pt x="1384889" y="4917109"/>
                  <a:pt x="1386283" y="4916386"/>
                </a:cubicBezTo>
                <a:lnTo>
                  <a:pt x="1386748" y="4916283"/>
                </a:lnTo>
                <a:lnTo>
                  <a:pt x="1386283" y="4914837"/>
                </a:lnTo>
                <a:cubicBezTo>
                  <a:pt x="1386748" y="4914114"/>
                  <a:pt x="1387832" y="4913805"/>
                  <a:pt x="1387832" y="4913805"/>
                </a:cubicBezTo>
                <a:cubicBezTo>
                  <a:pt x="1388916" y="4913495"/>
                  <a:pt x="1388916" y="4913495"/>
                  <a:pt x="1388607" y="4912255"/>
                </a:cubicBezTo>
                <a:close/>
                <a:moveTo>
                  <a:pt x="1355613" y="4912152"/>
                </a:moveTo>
                <a:cubicBezTo>
                  <a:pt x="1357937" y="4917832"/>
                  <a:pt x="1356078" y="4929396"/>
                  <a:pt x="1347869" y="4929190"/>
                </a:cubicBezTo>
                <a:cubicBezTo>
                  <a:pt x="1350192" y="4923717"/>
                  <a:pt x="1351586" y="4916902"/>
                  <a:pt x="1355613" y="4912152"/>
                </a:cubicBezTo>
                <a:close/>
                <a:moveTo>
                  <a:pt x="897585" y="4911636"/>
                </a:moveTo>
                <a:cubicBezTo>
                  <a:pt x="898514" y="4912152"/>
                  <a:pt x="899134" y="4913185"/>
                  <a:pt x="898979" y="4914837"/>
                </a:cubicBezTo>
                <a:cubicBezTo>
                  <a:pt x="898360" y="4919793"/>
                  <a:pt x="894177" y="4920310"/>
                  <a:pt x="889530" y="4920206"/>
                </a:cubicBezTo>
                <a:cubicBezTo>
                  <a:pt x="889221" y="4918348"/>
                  <a:pt x="888136" y="4917109"/>
                  <a:pt x="887826" y="4915250"/>
                </a:cubicBezTo>
                <a:cubicBezTo>
                  <a:pt x="889066" y="4912462"/>
                  <a:pt x="894797" y="4909881"/>
                  <a:pt x="897585" y="4911636"/>
                </a:cubicBezTo>
                <a:close/>
                <a:moveTo>
                  <a:pt x="6170865" y="4911551"/>
                </a:moveTo>
                <a:cubicBezTo>
                  <a:pt x="6172569" y="4912480"/>
                  <a:pt x="6175047" y="4911654"/>
                  <a:pt x="6176596" y="4913409"/>
                </a:cubicBezTo>
                <a:cubicBezTo>
                  <a:pt x="6176596" y="4913409"/>
                  <a:pt x="6177371" y="4914339"/>
                  <a:pt x="6177061" y="4915991"/>
                </a:cubicBezTo>
                <a:cubicBezTo>
                  <a:pt x="6178455" y="4918675"/>
                  <a:pt x="6175822" y="4921257"/>
                  <a:pt x="6175822" y="4921257"/>
                </a:cubicBezTo>
                <a:cubicBezTo>
                  <a:pt x="6175822" y="4921257"/>
                  <a:pt x="6175822" y="4921257"/>
                  <a:pt x="6176596" y="4921257"/>
                </a:cubicBezTo>
                <a:cubicBezTo>
                  <a:pt x="6174893" y="4921257"/>
                  <a:pt x="6173189" y="4922083"/>
                  <a:pt x="6171485" y="4922083"/>
                </a:cubicBezTo>
                <a:cubicBezTo>
                  <a:pt x="6169936" y="4920740"/>
                  <a:pt x="6169006" y="4919605"/>
                  <a:pt x="6168542" y="4918572"/>
                </a:cubicBezTo>
                <a:cubicBezTo>
                  <a:pt x="6166838" y="4915784"/>
                  <a:pt x="6168851" y="4914132"/>
                  <a:pt x="6170865" y="4911551"/>
                </a:cubicBezTo>
                <a:close/>
                <a:moveTo>
                  <a:pt x="1575411" y="4911016"/>
                </a:moveTo>
                <a:cubicBezTo>
                  <a:pt x="1569835" y="4918657"/>
                  <a:pt x="1564569" y="4914011"/>
                  <a:pt x="1561471" y="4918348"/>
                </a:cubicBezTo>
                <a:cubicBezTo>
                  <a:pt x="1560541" y="4916489"/>
                  <a:pt x="1560541" y="4916489"/>
                  <a:pt x="1561316" y="4914734"/>
                </a:cubicBezTo>
                <a:cubicBezTo>
                  <a:pt x="1562090" y="4914837"/>
                  <a:pt x="1562090" y="4913908"/>
                  <a:pt x="1563020" y="4914837"/>
                </a:cubicBezTo>
                <a:cubicBezTo>
                  <a:pt x="1564569" y="4912255"/>
                  <a:pt x="1572004" y="4909984"/>
                  <a:pt x="1575411" y="4911016"/>
                </a:cubicBezTo>
                <a:close/>
                <a:moveTo>
                  <a:pt x="1227824" y="4910810"/>
                </a:moveTo>
                <a:cubicBezTo>
                  <a:pt x="1228908" y="4911533"/>
                  <a:pt x="1229992" y="4912669"/>
                  <a:pt x="1231077" y="4914217"/>
                </a:cubicBezTo>
                <a:cubicBezTo>
                  <a:pt x="1229218" y="4918967"/>
                  <a:pt x="1227669" y="4927744"/>
                  <a:pt x="1220854" y="4928157"/>
                </a:cubicBezTo>
                <a:cubicBezTo>
                  <a:pt x="1219769" y="4928260"/>
                  <a:pt x="1218685" y="4928054"/>
                  <a:pt x="1217446" y="4927744"/>
                </a:cubicBezTo>
                <a:cubicBezTo>
                  <a:pt x="1213419" y="4919174"/>
                  <a:pt x="1220544" y="4905750"/>
                  <a:pt x="1227824" y="4910810"/>
                </a:cubicBezTo>
                <a:close/>
                <a:moveTo>
                  <a:pt x="1857168" y="4910397"/>
                </a:moveTo>
                <a:cubicBezTo>
                  <a:pt x="1859646" y="4908745"/>
                  <a:pt x="1868321" y="4914424"/>
                  <a:pt x="1863518" y="4918657"/>
                </a:cubicBezTo>
                <a:cubicBezTo>
                  <a:pt x="1862899" y="4919277"/>
                  <a:pt x="1861969" y="4919277"/>
                  <a:pt x="1861040" y="4918864"/>
                </a:cubicBezTo>
                <a:cubicBezTo>
                  <a:pt x="1858252" y="4917728"/>
                  <a:pt x="1854844" y="4912978"/>
                  <a:pt x="1857168" y="4910397"/>
                </a:cubicBezTo>
                <a:close/>
                <a:moveTo>
                  <a:pt x="1483248" y="4909571"/>
                </a:moveTo>
                <a:cubicBezTo>
                  <a:pt x="1484952" y="4911430"/>
                  <a:pt x="1486501" y="4913495"/>
                  <a:pt x="1485417" y="4917728"/>
                </a:cubicBezTo>
                <a:cubicBezTo>
                  <a:pt x="1484023" y="4918864"/>
                  <a:pt x="1482784" y="4919587"/>
                  <a:pt x="1481235" y="4919690"/>
                </a:cubicBezTo>
                <a:cubicBezTo>
                  <a:pt x="1479685" y="4919897"/>
                  <a:pt x="1477982" y="4919587"/>
                  <a:pt x="1475813" y="4918761"/>
                </a:cubicBezTo>
                <a:cubicBezTo>
                  <a:pt x="1474264" y="4914837"/>
                  <a:pt x="1477827" y="4907506"/>
                  <a:pt x="1483248" y="4909571"/>
                </a:cubicBezTo>
                <a:close/>
                <a:moveTo>
                  <a:pt x="1260662" y="4908332"/>
                </a:moveTo>
                <a:cubicBezTo>
                  <a:pt x="1262676" y="4906577"/>
                  <a:pt x="1265000" y="4908332"/>
                  <a:pt x="1264844" y="4909261"/>
                </a:cubicBezTo>
                <a:cubicBezTo>
                  <a:pt x="1263915" y="4910087"/>
                  <a:pt x="1262211" y="4910087"/>
                  <a:pt x="1261281" y="4911016"/>
                </a:cubicBezTo>
                <a:cubicBezTo>
                  <a:pt x="1261436" y="4910087"/>
                  <a:pt x="1260662" y="4909158"/>
                  <a:pt x="1260662" y="4908332"/>
                </a:cubicBezTo>
                <a:close/>
                <a:moveTo>
                  <a:pt x="6738715" y="4908246"/>
                </a:moveTo>
                <a:cubicBezTo>
                  <a:pt x="6746460" y="4922186"/>
                  <a:pt x="6746150" y="4930756"/>
                  <a:pt x="6742432" y="4935300"/>
                </a:cubicBezTo>
                <a:cubicBezTo>
                  <a:pt x="6740728" y="4937468"/>
                  <a:pt x="6738250" y="4938810"/>
                  <a:pt x="6735617" y="4939430"/>
                </a:cubicBezTo>
                <a:cubicBezTo>
                  <a:pt x="6733448" y="4939843"/>
                  <a:pt x="6731280" y="4939843"/>
                  <a:pt x="6729111" y="4939533"/>
                </a:cubicBezTo>
                <a:cubicBezTo>
                  <a:pt x="6722605" y="4938604"/>
                  <a:pt x="6716255" y="4934577"/>
                  <a:pt x="6715635" y="4929104"/>
                </a:cubicBezTo>
                <a:cubicBezTo>
                  <a:pt x="6715480" y="4927555"/>
                  <a:pt x="6715635" y="4926007"/>
                  <a:pt x="6716255" y="4924354"/>
                </a:cubicBezTo>
                <a:cubicBezTo>
                  <a:pt x="6718423" y="4919398"/>
                  <a:pt x="6725084" y="4913719"/>
                  <a:pt x="6738715" y="4908246"/>
                </a:cubicBezTo>
                <a:close/>
                <a:moveTo>
                  <a:pt x="1208307" y="4907609"/>
                </a:moveTo>
                <a:cubicBezTo>
                  <a:pt x="1210166" y="4909365"/>
                  <a:pt x="1211870" y="4911223"/>
                  <a:pt x="1213574" y="4912978"/>
                </a:cubicBezTo>
                <a:cubicBezTo>
                  <a:pt x="1214813" y="4917418"/>
                  <a:pt x="1212489" y="4921136"/>
                  <a:pt x="1208927" y="4921962"/>
                </a:cubicBezTo>
                <a:cubicBezTo>
                  <a:pt x="1207687" y="4922168"/>
                  <a:pt x="1206448" y="4922168"/>
                  <a:pt x="1205054" y="4921755"/>
                </a:cubicBezTo>
                <a:cubicBezTo>
                  <a:pt x="1203196" y="4921136"/>
                  <a:pt x="1201337" y="4919793"/>
                  <a:pt x="1199633" y="4917522"/>
                </a:cubicBezTo>
                <a:cubicBezTo>
                  <a:pt x="1197774" y="4913082"/>
                  <a:pt x="1204125" y="4906577"/>
                  <a:pt x="1208307" y="4907609"/>
                </a:cubicBezTo>
                <a:close/>
                <a:moveTo>
                  <a:pt x="1581917" y="4907093"/>
                </a:moveTo>
                <a:cubicBezTo>
                  <a:pt x="1581143" y="4908022"/>
                  <a:pt x="1579439" y="4908848"/>
                  <a:pt x="1578665" y="4909674"/>
                </a:cubicBezTo>
                <a:cubicBezTo>
                  <a:pt x="1578665" y="4909674"/>
                  <a:pt x="1578665" y="4909571"/>
                  <a:pt x="1577735" y="4908642"/>
                </a:cubicBezTo>
                <a:cubicBezTo>
                  <a:pt x="1579439" y="4908745"/>
                  <a:pt x="1580213" y="4905338"/>
                  <a:pt x="1581917" y="4907093"/>
                </a:cubicBezTo>
                <a:close/>
                <a:moveTo>
                  <a:pt x="2094934" y="4906680"/>
                </a:moveTo>
                <a:cubicBezTo>
                  <a:pt x="2095864" y="4906680"/>
                  <a:pt x="2096637" y="4907609"/>
                  <a:pt x="2096637" y="4907609"/>
                </a:cubicBezTo>
                <a:cubicBezTo>
                  <a:pt x="2097567" y="4908539"/>
                  <a:pt x="2097567" y="4908539"/>
                  <a:pt x="2098342" y="4907712"/>
                </a:cubicBezTo>
                <a:cubicBezTo>
                  <a:pt x="2098342" y="4907712"/>
                  <a:pt x="2098342" y="4908539"/>
                  <a:pt x="2098342" y="4908539"/>
                </a:cubicBezTo>
                <a:cubicBezTo>
                  <a:pt x="2097567" y="4908539"/>
                  <a:pt x="2098342" y="4908539"/>
                  <a:pt x="2099271" y="4909468"/>
                </a:cubicBezTo>
                <a:cubicBezTo>
                  <a:pt x="2098497" y="4911223"/>
                  <a:pt x="2098497" y="4912152"/>
                  <a:pt x="2097722" y="4912978"/>
                </a:cubicBezTo>
                <a:cubicBezTo>
                  <a:pt x="2097412" y="4913391"/>
                  <a:pt x="2096792" y="4913701"/>
                  <a:pt x="2096173" y="4913908"/>
                </a:cubicBezTo>
                <a:cubicBezTo>
                  <a:pt x="2095553" y="4914114"/>
                  <a:pt x="2094934" y="4914114"/>
                  <a:pt x="2094469" y="4913701"/>
                </a:cubicBezTo>
                <a:cubicBezTo>
                  <a:pt x="2094469" y="4912772"/>
                  <a:pt x="2093540" y="4912772"/>
                  <a:pt x="2093540" y="4911843"/>
                </a:cubicBezTo>
                <a:cubicBezTo>
                  <a:pt x="2092610" y="4910087"/>
                  <a:pt x="2092610" y="4909158"/>
                  <a:pt x="2093385" y="4908332"/>
                </a:cubicBezTo>
                <a:cubicBezTo>
                  <a:pt x="2093385" y="4907506"/>
                  <a:pt x="2094159" y="4907506"/>
                  <a:pt x="2094934" y="4906680"/>
                </a:cubicBezTo>
                <a:close/>
                <a:moveTo>
                  <a:pt x="1568789" y="4906422"/>
                </a:moveTo>
                <a:cubicBezTo>
                  <a:pt x="1571113" y="4906422"/>
                  <a:pt x="1573011" y="4906732"/>
                  <a:pt x="1573397" y="4906783"/>
                </a:cubicBezTo>
                <a:cubicBezTo>
                  <a:pt x="1573553" y="4907609"/>
                  <a:pt x="1573397" y="4907609"/>
                  <a:pt x="1573397" y="4907609"/>
                </a:cubicBezTo>
                <a:cubicBezTo>
                  <a:pt x="1570919" y="4906886"/>
                  <a:pt x="1567976" y="4908951"/>
                  <a:pt x="1564879" y="4909158"/>
                </a:cubicBezTo>
                <a:lnTo>
                  <a:pt x="1562555" y="4908848"/>
                </a:lnTo>
                <a:lnTo>
                  <a:pt x="1561626" y="4907919"/>
                </a:lnTo>
                <a:cubicBezTo>
                  <a:pt x="1563717" y="4906731"/>
                  <a:pt x="1566466" y="4906422"/>
                  <a:pt x="1568789" y="4906422"/>
                </a:cubicBezTo>
                <a:close/>
                <a:moveTo>
                  <a:pt x="1827273" y="4906267"/>
                </a:moveTo>
                <a:cubicBezTo>
                  <a:pt x="1831765" y="4909158"/>
                  <a:pt x="1831610" y="4916799"/>
                  <a:pt x="1825879" y="4917832"/>
                </a:cubicBezTo>
                <a:cubicBezTo>
                  <a:pt x="1824794" y="4916179"/>
                  <a:pt x="1823246" y="4915250"/>
                  <a:pt x="1822161" y="4913495"/>
                </a:cubicBezTo>
                <a:cubicBezTo>
                  <a:pt x="1823710" y="4910707"/>
                  <a:pt x="1821851" y="4906577"/>
                  <a:pt x="1827273" y="4906267"/>
                </a:cubicBezTo>
                <a:close/>
                <a:moveTo>
                  <a:pt x="1058677" y="4906267"/>
                </a:moveTo>
                <a:cubicBezTo>
                  <a:pt x="1062860" y="4905750"/>
                  <a:pt x="1064254" y="4909778"/>
                  <a:pt x="1067196" y="4912772"/>
                </a:cubicBezTo>
                <a:cubicBezTo>
                  <a:pt x="1066732" y="4913495"/>
                  <a:pt x="1066887" y="4914734"/>
                  <a:pt x="1067507" y="4915147"/>
                </a:cubicBezTo>
                <a:cubicBezTo>
                  <a:pt x="1067816" y="4916386"/>
                  <a:pt x="1067971" y="4917522"/>
                  <a:pt x="1068436" y="4916799"/>
                </a:cubicBezTo>
                <a:cubicBezTo>
                  <a:pt x="1069056" y="4920310"/>
                  <a:pt x="1069830" y="4920826"/>
                  <a:pt x="1067662" y="4922581"/>
                </a:cubicBezTo>
                <a:cubicBezTo>
                  <a:pt x="1062550" y="4918348"/>
                  <a:pt x="1058367" y="4911326"/>
                  <a:pt x="1057438" y="4909674"/>
                </a:cubicBezTo>
                <a:cubicBezTo>
                  <a:pt x="1056973" y="4908848"/>
                  <a:pt x="1056818" y="4908332"/>
                  <a:pt x="1057128" y="4907816"/>
                </a:cubicBezTo>
                <a:cubicBezTo>
                  <a:pt x="1057284" y="4907299"/>
                  <a:pt x="1057903" y="4906783"/>
                  <a:pt x="1058677" y="4906267"/>
                </a:cubicBezTo>
                <a:close/>
                <a:moveTo>
                  <a:pt x="1778325" y="4905957"/>
                </a:moveTo>
                <a:cubicBezTo>
                  <a:pt x="1780029" y="4907816"/>
                  <a:pt x="1781733" y="4906989"/>
                  <a:pt x="1783437" y="4908848"/>
                </a:cubicBezTo>
                <a:cubicBezTo>
                  <a:pt x="1781888" y="4910500"/>
                  <a:pt x="1781114" y="4912152"/>
                  <a:pt x="1780184" y="4912978"/>
                </a:cubicBezTo>
                <a:cubicBezTo>
                  <a:pt x="1776777" y="4911120"/>
                  <a:pt x="1775847" y="4908435"/>
                  <a:pt x="1778325" y="4905957"/>
                </a:cubicBezTo>
                <a:close/>
                <a:moveTo>
                  <a:pt x="1871263" y="4905131"/>
                </a:moveTo>
                <a:cubicBezTo>
                  <a:pt x="1876220" y="4903685"/>
                  <a:pt x="1880867" y="4909158"/>
                  <a:pt x="1877459" y="4914527"/>
                </a:cubicBezTo>
                <a:cubicBezTo>
                  <a:pt x="1875601" y="4914217"/>
                  <a:pt x="1873896" y="4914734"/>
                  <a:pt x="1872193" y="4914321"/>
                </a:cubicBezTo>
                <a:cubicBezTo>
                  <a:pt x="1871883" y="4912772"/>
                  <a:pt x="1870644" y="4911533"/>
                  <a:pt x="1870179" y="4910190"/>
                </a:cubicBezTo>
                <a:cubicBezTo>
                  <a:pt x="1869560" y="4908848"/>
                  <a:pt x="1869405" y="4907403"/>
                  <a:pt x="1871263" y="4905131"/>
                </a:cubicBezTo>
                <a:close/>
                <a:moveTo>
                  <a:pt x="1414164" y="4903685"/>
                </a:moveTo>
                <a:cubicBezTo>
                  <a:pt x="1421754" y="4903685"/>
                  <a:pt x="1433991" y="4904202"/>
                  <a:pt x="1439567" y="4908848"/>
                </a:cubicBezTo>
                <a:cubicBezTo>
                  <a:pt x="1438328" y="4911120"/>
                  <a:pt x="1436315" y="4912152"/>
                  <a:pt x="1433991" y="4912462"/>
                </a:cubicBezTo>
                <a:cubicBezTo>
                  <a:pt x="1427021" y="4913391"/>
                  <a:pt x="1416953" y="4907196"/>
                  <a:pt x="1414164" y="4903685"/>
                </a:cubicBezTo>
                <a:close/>
                <a:moveTo>
                  <a:pt x="2133038" y="4903479"/>
                </a:moveTo>
                <a:cubicBezTo>
                  <a:pt x="2135362" y="4905647"/>
                  <a:pt x="2133503" y="4907919"/>
                  <a:pt x="2132419" y="4911223"/>
                </a:cubicBezTo>
                <a:cubicBezTo>
                  <a:pt x="2131644" y="4910190"/>
                  <a:pt x="2130715" y="4910913"/>
                  <a:pt x="2129941" y="4911636"/>
                </a:cubicBezTo>
                <a:cubicBezTo>
                  <a:pt x="2128701" y="4910190"/>
                  <a:pt x="2126687" y="4908022"/>
                  <a:pt x="2127152" y="4905854"/>
                </a:cubicBezTo>
                <a:cubicBezTo>
                  <a:pt x="2127307" y="4905131"/>
                  <a:pt x="2127772" y="4904408"/>
                  <a:pt x="2128701" y="4903685"/>
                </a:cubicBezTo>
                <a:cubicBezTo>
                  <a:pt x="2128856" y="4902859"/>
                  <a:pt x="2132264" y="4902549"/>
                  <a:pt x="2133038" y="4903479"/>
                </a:cubicBezTo>
                <a:close/>
                <a:moveTo>
                  <a:pt x="986496" y="4902343"/>
                </a:moveTo>
                <a:cubicBezTo>
                  <a:pt x="985721" y="4914837"/>
                  <a:pt x="997958" y="4919897"/>
                  <a:pt x="994860" y="4933630"/>
                </a:cubicBezTo>
                <a:cubicBezTo>
                  <a:pt x="990523" y="4933010"/>
                  <a:pt x="985876" y="4926815"/>
                  <a:pt x="983552" y="4920000"/>
                </a:cubicBezTo>
                <a:cubicBezTo>
                  <a:pt x="981229" y="4913288"/>
                  <a:pt x="981384" y="4905750"/>
                  <a:pt x="986496" y="4902343"/>
                </a:cubicBezTo>
                <a:close/>
                <a:moveTo>
                  <a:pt x="6120834" y="4901948"/>
                </a:moveTo>
                <a:cubicBezTo>
                  <a:pt x="6121453" y="4902877"/>
                  <a:pt x="6122073" y="4904219"/>
                  <a:pt x="6122537" y="4905975"/>
                </a:cubicBezTo>
                <a:cubicBezTo>
                  <a:pt x="6119439" y="4909589"/>
                  <a:pt x="6115412" y="4915784"/>
                  <a:pt x="6110146" y="4916817"/>
                </a:cubicBezTo>
                <a:cubicBezTo>
                  <a:pt x="6108442" y="4917127"/>
                  <a:pt x="6106428" y="4916920"/>
                  <a:pt x="6104414" y="4915681"/>
                </a:cubicBezTo>
                <a:cubicBezTo>
                  <a:pt x="6103950" y="4906491"/>
                  <a:pt x="6115722" y="4895443"/>
                  <a:pt x="6120834" y="4901948"/>
                </a:cubicBezTo>
                <a:close/>
                <a:moveTo>
                  <a:pt x="1160754" y="4901001"/>
                </a:moveTo>
                <a:cubicBezTo>
                  <a:pt x="1162767" y="4902343"/>
                  <a:pt x="1163387" y="4903685"/>
                  <a:pt x="1163542" y="4904924"/>
                </a:cubicBezTo>
                <a:lnTo>
                  <a:pt x="1162458" y="4908229"/>
                </a:lnTo>
                <a:lnTo>
                  <a:pt x="1163077" y="4908125"/>
                </a:lnTo>
                <a:cubicBezTo>
                  <a:pt x="1163232" y="4908125"/>
                  <a:pt x="1163077" y="4908332"/>
                  <a:pt x="1162923" y="4908745"/>
                </a:cubicBezTo>
                <a:cubicBezTo>
                  <a:pt x="1164781" y="4908848"/>
                  <a:pt x="1165401" y="4909365"/>
                  <a:pt x="1166175" y="4909778"/>
                </a:cubicBezTo>
                <a:cubicBezTo>
                  <a:pt x="1166330" y="4911016"/>
                  <a:pt x="1165401" y="4912566"/>
                  <a:pt x="1163697" y="4913701"/>
                </a:cubicBezTo>
                <a:cubicBezTo>
                  <a:pt x="1163542" y="4912462"/>
                  <a:pt x="1161529" y="4912255"/>
                  <a:pt x="1161374" y="4911120"/>
                </a:cubicBezTo>
                <a:cubicBezTo>
                  <a:pt x="1161374" y="4911120"/>
                  <a:pt x="1161529" y="4910294"/>
                  <a:pt x="1161684" y="4909674"/>
                </a:cubicBezTo>
                <a:lnTo>
                  <a:pt x="1162148" y="4908332"/>
                </a:lnTo>
                <a:lnTo>
                  <a:pt x="1160754" y="4907609"/>
                </a:lnTo>
                <a:cubicBezTo>
                  <a:pt x="1159050" y="4907299"/>
                  <a:pt x="1157656" y="4908332"/>
                  <a:pt x="1156727" y="4905441"/>
                </a:cubicBezTo>
                <a:cubicBezTo>
                  <a:pt x="1157037" y="4903685"/>
                  <a:pt x="1158121" y="4902137"/>
                  <a:pt x="1160754" y="4901001"/>
                </a:cubicBezTo>
                <a:close/>
                <a:moveTo>
                  <a:pt x="2142545" y="4900600"/>
                </a:moveTo>
                <a:cubicBezTo>
                  <a:pt x="2145236" y="4901826"/>
                  <a:pt x="2147444" y="4904459"/>
                  <a:pt x="2147598" y="4907196"/>
                </a:cubicBezTo>
                <a:cubicBezTo>
                  <a:pt x="2146049" y="4909365"/>
                  <a:pt x="2143571" y="4910190"/>
                  <a:pt x="2141248" y="4909881"/>
                </a:cubicBezTo>
                <a:cubicBezTo>
                  <a:pt x="2139079" y="4909674"/>
                  <a:pt x="2136755" y="4908435"/>
                  <a:pt x="2135516" y="4906577"/>
                </a:cubicBezTo>
                <a:cubicBezTo>
                  <a:pt x="2134743" y="4905441"/>
                  <a:pt x="2134277" y="4903995"/>
                  <a:pt x="2134587" y="4902446"/>
                </a:cubicBezTo>
                <a:cubicBezTo>
                  <a:pt x="2136678" y="4899555"/>
                  <a:pt x="2139853" y="4899374"/>
                  <a:pt x="2142545" y="4900600"/>
                </a:cubicBezTo>
                <a:close/>
                <a:moveTo>
                  <a:pt x="1790601" y="4900549"/>
                </a:moveTo>
                <a:cubicBezTo>
                  <a:pt x="1791647" y="4901078"/>
                  <a:pt x="1792344" y="4902291"/>
                  <a:pt x="1792111" y="4903479"/>
                </a:cubicBezTo>
                <a:cubicBezTo>
                  <a:pt x="1792111" y="4904305"/>
                  <a:pt x="1791492" y="4905028"/>
                  <a:pt x="1790408" y="4905544"/>
                </a:cubicBezTo>
                <a:cubicBezTo>
                  <a:pt x="1789013" y="4904615"/>
                  <a:pt x="1788239" y="4903582"/>
                  <a:pt x="1787000" y="4901723"/>
                </a:cubicBezTo>
                <a:cubicBezTo>
                  <a:pt x="1788162" y="4900175"/>
                  <a:pt x="1789556" y="4900020"/>
                  <a:pt x="1790601" y="4900549"/>
                </a:cubicBezTo>
                <a:close/>
                <a:moveTo>
                  <a:pt x="1735303" y="4899594"/>
                </a:moveTo>
                <a:cubicBezTo>
                  <a:pt x="1739989" y="4899142"/>
                  <a:pt x="1745023" y="4900123"/>
                  <a:pt x="1749670" y="4902756"/>
                </a:cubicBezTo>
                <a:cubicBezTo>
                  <a:pt x="1749515" y="4903995"/>
                  <a:pt x="1749515" y="4905131"/>
                  <a:pt x="1750754" y="4905338"/>
                </a:cubicBezTo>
                <a:cubicBezTo>
                  <a:pt x="1750754" y="4917315"/>
                  <a:pt x="1738827" y="4926195"/>
                  <a:pt x="1727674" y="4925369"/>
                </a:cubicBezTo>
                <a:cubicBezTo>
                  <a:pt x="1725816" y="4925266"/>
                  <a:pt x="1724112" y="4924853"/>
                  <a:pt x="1722253" y="4924130"/>
                </a:cubicBezTo>
                <a:lnTo>
                  <a:pt x="1717606" y="4921445"/>
                </a:lnTo>
                <a:lnTo>
                  <a:pt x="1716987" y="4922478"/>
                </a:lnTo>
                <a:cubicBezTo>
                  <a:pt x="1715128" y="4924440"/>
                  <a:pt x="1712340" y="4923820"/>
                  <a:pt x="1708932" y="4921342"/>
                </a:cubicBezTo>
                <a:cubicBezTo>
                  <a:pt x="1709087" y="4919380"/>
                  <a:pt x="1708622" y="4917728"/>
                  <a:pt x="1708622" y="4915044"/>
                </a:cubicBezTo>
                <a:cubicBezTo>
                  <a:pt x="1709706" y="4914734"/>
                  <a:pt x="1711720" y="4914837"/>
                  <a:pt x="1713734" y="4915560"/>
                </a:cubicBezTo>
                <a:lnTo>
                  <a:pt x="1717606" y="4918761"/>
                </a:lnTo>
                <a:lnTo>
                  <a:pt x="1718536" y="4911946"/>
                </a:lnTo>
                <a:cubicBezTo>
                  <a:pt x="1719620" y="4909158"/>
                  <a:pt x="1721169" y="4906886"/>
                  <a:pt x="1723028" y="4905028"/>
                </a:cubicBezTo>
                <a:cubicBezTo>
                  <a:pt x="1726280" y="4901930"/>
                  <a:pt x="1730617" y="4900046"/>
                  <a:pt x="1735303" y="4899594"/>
                </a:cubicBezTo>
                <a:close/>
                <a:moveTo>
                  <a:pt x="6319565" y="4899573"/>
                </a:moveTo>
                <a:cubicBezTo>
                  <a:pt x="6324058" y="4899160"/>
                  <a:pt x="6324212" y="4901948"/>
                  <a:pt x="6324367" y="4904736"/>
                </a:cubicBezTo>
                <a:cubicBezTo>
                  <a:pt x="6322199" y="4904323"/>
                  <a:pt x="6321424" y="4906491"/>
                  <a:pt x="6320030" y="4906595"/>
                </a:cubicBezTo>
                <a:cubicBezTo>
                  <a:pt x="6319565" y="4906698"/>
                  <a:pt x="6318946" y="4906491"/>
                  <a:pt x="6318326" y="4905872"/>
                </a:cubicBezTo>
                <a:cubicBezTo>
                  <a:pt x="6317707" y="4904219"/>
                  <a:pt x="6317862" y="4902258"/>
                  <a:pt x="6319565" y="4899573"/>
                </a:cubicBezTo>
                <a:close/>
                <a:moveTo>
                  <a:pt x="1675009" y="4898936"/>
                </a:moveTo>
                <a:cubicBezTo>
                  <a:pt x="1678727" y="4896457"/>
                  <a:pt x="1682135" y="4897180"/>
                  <a:pt x="1686008" y="4899762"/>
                </a:cubicBezTo>
                <a:cubicBezTo>
                  <a:pt x="1685853" y="4901414"/>
                  <a:pt x="1683064" y="4903272"/>
                  <a:pt x="1681206" y="4904511"/>
                </a:cubicBezTo>
                <a:cubicBezTo>
                  <a:pt x="1678572" y="4903995"/>
                  <a:pt x="1676404" y="4901827"/>
                  <a:pt x="1675009" y="4898936"/>
                </a:cubicBezTo>
                <a:close/>
                <a:moveTo>
                  <a:pt x="1011279" y="4897903"/>
                </a:moveTo>
                <a:cubicBezTo>
                  <a:pt x="1012364" y="4899555"/>
                  <a:pt x="1011744" y="4901414"/>
                  <a:pt x="1011124" y="4903169"/>
                </a:cubicBezTo>
                <a:cubicBezTo>
                  <a:pt x="1010505" y="4904511"/>
                  <a:pt x="1009730" y="4904924"/>
                  <a:pt x="1008956" y="4904924"/>
                </a:cubicBezTo>
                <a:cubicBezTo>
                  <a:pt x="1008026" y="4904821"/>
                  <a:pt x="1007097" y="4904202"/>
                  <a:pt x="1006168" y="4903376"/>
                </a:cubicBezTo>
                <a:cubicBezTo>
                  <a:pt x="1004154" y="4901723"/>
                  <a:pt x="1004773" y="4900072"/>
                  <a:pt x="1004773" y="4900072"/>
                </a:cubicBezTo>
                <a:cubicBezTo>
                  <a:pt x="1006168" y="4897387"/>
                  <a:pt x="1008491" y="4896354"/>
                  <a:pt x="1011279" y="4897903"/>
                </a:cubicBezTo>
                <a:close/>
                <a:moveTo>
                  <a:pt x="1605771" y="4896974"/>
                </a:moveTo>
                <a:cubicBezTo>
                  <a:pt x="1604532" y="4898832"/>
                  <a:pt x="1602673" y="4902033"/>
                  <a:pt x="1600659" y="4902859"/>
                </a:cubicBezTo>
                <a:cubicBezTo>
                  <a:pt x="1599885" y="4903066"/>
                  <a:pt x="1599265" y="4902963"/>
                  <a:pt x="1598646" y="4902549"/>
                </a:cubicBezTo>
                <a:cubicBezTo>
                  <a:pt x="1597717" y="4901620"/>
                  <a:pt x="1598491" y="4900794"/>
                  <a:pt x="1598491" y="4899968"/>
                </a:cubicBezTo>
                <a:cubicBezTo>
                  <a:pt x="1599265" y="4898316"/>
                  <a:pt x="1604841" y="4896044"/>
                  <a:pt x="1605771" y="4896974"/>
                </a:cubicBezTo>
                <a:close/>
                <a:moveTo>
                  <a:pt x="1232781" y="4896767"/>
                </a:moveTo>
                <a:cubicBezTo>
                  <a:pt x="1236498" y="4901104"/>
                  <a:pt x="1235259" y="4904305"/>
                  <a:pt x="1230612" y="4906783"/>
                </a:cubicBezTo>
                <a:cubicBezTo>
                  <a:pt x="1229063" y="4905544"/>
                  <a:pt x="1227359" y="4905131"/>
                  <a:pt x="1225036" y="4903685"/>
                </a:cubicBezTo>
                <a:cubicBezTo>
                  <a:pt x="1225345" y="4901207"/>
                  <a:pt x="1228443" y="4896664"/>
                  <a:pt x="1232781" y="4896767"/>
                </a:cubicBezTo>
                <a:close/>
                <a:moveTo>
                  <a:pt x="2036228" y="4896457"/>
                </a:moveTo>
                <a:cubicBezTo>
                  <a:pt x="2039636" y="4895941"/>
                  <a:pt x="2041959" y="4896974"/>
                  <a:pt x="2044592" y="4900794"/>
                </a:cubicBezTo>
                <a:cubicBezTo>
                  <a:pt x="2044127" y="4903995"/>
                  <a:pt x="2040255" y="4907506"/>
                  <a:pt x="2037002" y="4906989"/>
                </a:cubicBezTo>
                <a:cubicBezTo>
                  <a:pt x="2035918" y="4906886"/>
                  <a:pt x="2034834" y="4906267"/>
                  <a:pt x="2034059" y="4905131"/>
                </a:cubicBezTo>
                <a:cubicBezTo>
                  <a:pt x="2033595" y="4902446"/>
                  <a:pt x="2033285" y="4899762"/>
                  <a:pt x="2036228" y="4896457"/>
                </a:cubicBezTo>
                <a:close/>
                <a:moveTo>
                  <a:pt x="1279560" y="4896251"/>
                </a:moveTo>
                <a:cubicBezTo>
                  <a:pt x="1280953" y="4898110"/>
                  <a:pt x="1284671" y="4895528"/>
                  <a:pt x="1286839" y="4898213"/>
                </a:cubicBezTo>
                <a:cubicBezTo>
                  <a:pt x="1286685" y="4899968"/>
                  <a:pt x="1286530" y="4900898"/>
                  <a:pt x="1285600" y="4902653"/>
                </a:cubicBezTo>
                <a:cubicBezTo>
                  <a:pt x="1278166" y="4908745"/>
                  <a:pt x="1274293" y="4905957"/>
                  <a:pt x="1273364" y="4906886"/>
                </a:cubicBezTo>
                <a:cubicBezTo>
                  <a:pt x="1271195" y="4904202"/>
                  <a:pt x="1273054" y="4902446"/>
                  <a:pt x="1275067" y="4898936"/>
                </a:cubicBezTo>
                <a:cubicBezTo>
                  <a:pt x="1275842" y="4899865"/>
                  <a:pt x="1278630" y="4897180"/>
                  <a:pt x="1279560" y="4896251"/>
                </a:cubicBezTo>
                <a:close/>
                <a:moveTo>
                  <a:pt x="6059185" y="4895959"/>
                </a:moveTo>
                <a:cubicBezTo>
                  <a:pt x="6060734" y="4897714"/>
                  <a:pt x="6062902" y="4900399"/>
                  <a:pt x="6061044" y="4902980"/>
                </a:cubicBezTo>
                <a:cubicBezTo>
                  <a:pt x="6060269" y="4902980"/>
                  <a:pt x="6060114" y="4903910"/>
                  <a:pt x="6059340" y="4903806"/>
                </a:cubicBezTo>
                <a:cubicBezTo>
                  <a:pt x="6059340" y="4903806"/>
                  <a:pt x="6058411" y="4904323"/>
                  <a:pt x="6057171" y="4904323"/>
                </a:cubicBezTo>
                <a:cubicBezTo>
                  <a:pt x="6055932" y="4904426"/>
                  <a:pt x="6054383" y="4904116"/>
                  <a:pt x="6052834" y="4902774"/>
                </a:cubicBezTo>
                <a:cubicBezTo>
                  <a:pt x="6052369" y="4902361"/>
                  <a:pt x="6051905" y="4901535"/>
                  <a:pt x="6051595" y="4900709"/>
                </a:cubicBezTo>
                <a:cubicBezTo>
                  <a:pt x="6051285" y="4899986"/>
                  <a:pt x="6051130" y="4899367"/>
                  <a:pt x="6051440" y="4899367"/>
                </a:cubicBezTo>
                <a:cubicBezTo>
                  <a:pt x="6052369" y="4898437"/>
                  <a:pt x="6051595" y="4898437"/>
                  <a:pt x="6051595" y="4897611"/>
                </a:cubicBezTo>
                <a:cubicBezTo>
                  <a:pt x="6054383" y="4895030"/>
                  <a:pt x="6057016" y="4894101"/>
                  <a:pt x="6059185" y="4895959"/>
                </a:cubicBezTo>
                <a:close/>
                <a:moveTo>
                  <a:pt x="1857632" y="4895528"/>
                </a:moveTo>
                <a:cubicBezTo>
                  <a:pt x="1858098" y="4896251"/>
                  <a:pt x="1859336" y="4896457"/>
                  <a:pt x="1859801" y="4897180"/>
                </a:cubicBezTo>
                <a:cubicBezTo>
                  <a:pt x="1859026" y="4897696"/>
                  <a:pt x="1858098" y="4899349"/>
                  <a:pt x="1857632" y="4898626"/>
                </a:cubicBezTo>
                <a:cubicBezTo>
                  <a:pt x="1857013" y="4899039"/>
                  <a:pt x="1855928" y="4897696"/>
                  <a:pt x="1855928" y="4897696"/>
                </a:cubicBezTo>
                <a:cubicBezTo>
                  <a:pt x="1855309" y="4898110"/>
                  <a:pt x="1854535" y="4898522"/>
                  <a:pt x="1853450" y="4898316"/>
                </a:cubicBezTo>
                <a:cubicBezTo>
                  <a:pt x="1853605" y="4897077"/>
                  <a:pt x="1852985" y="4897490"/>
                  <a:pt x="1852521" y="4896767"/>
                </a:cubicBezTo>
                <a:cubicBezTo>
                  <a:pt x="1853605" y="4897077"/>
                  <a:pt x="1855774" y="4895735"/>
                  <a:pt x="1857632" y="4895528"/>
                </a:cubicBezTo>
                <a:close/>
                <a:moveTo>
                  <a:pt x="1960174" y="4895218"/>
                </a:moveTo>
                <a:cubicBezTo>
                  <a:pt x="1962188" y="4900587"/>
                  <a:pt x="1971481" y="4916386"/>
                  <a:pt x="1965130" y="4918967"/>
                </a:cubicBezTo>
                <a:cubicBezTo>
                  <a:pt x="1962188" y="4913288"/>
                  <a:pt x="1951809" y="4899452"/>
                  <a:pt x="1960174" y="4895218"/>
                </a:cubicBezTo>
                <a:close/>
                <a:moveTo>
                  <a:pt x="1782043" y="4894496"/>
                </a:moveTo>
                <a:cubicBezTo>
                  <a:pt x="1783902" y="4896148"/>
                  <a:pt x="1783437" y="4898729"/>
                  <a:pt x="1782043" y="4900587"/>
                </a:cubicBezTo>
                <a:cubicBezTo>
                  <a:pt x="1781733" y="4901414"/>
                  <a:pt x="1780959" y="4901930"/>
                  <a:pt x="1780029" y="4902137"/>
                </a:cubicBezTo>
                <a:cubicBezTo>
                  <a:pt x="1779100" y="4902240"/>
                  <a:pt x="1778171" y="4902137"/>
                  <a:pt x="1777241" y="4901723"/>
                </a:cubicBezTo>
                <a:cubicBezTo>
                  <a:pt x="1776312" y="4900898"/>
                  <a:pt x="1776157" y="4900898"/>
                  <a:pt x="1775228" y="4900072"/>
                </a:cubicBezTo>
                <a:cubicBezTo>
                  <a:pt x="1775073" y="4898419"/>
                  <a:pt x="1773989" y="4896664"/>
                  <a:pt x="1774608" y="4894909"/>
                </a:cubicBezTo>
                <a:cubicBezTo>
                  <a:pt x="1776002" y="4893153"/>
                  <a:pt x="1780339" y="4893773"/>
                  <a:pt x="1782043" y="4894496"/>
                </a:cubicBezTo>
                <a:close/>
                <a:moveTo>
                  <a:pt x="991607" y="4894082"/>
                </a:moveTo>
                <a:cubicBezTo>
                  <a:pt x="991607" y="4894082"/>
                  <a:pt x="991762" y="4894082"/>
                  <a:pt x="992382" y="4895941"/>
                </a:cubicBezTo>
                <a:cubicBezTo>
                  <a:pt x="992227" y="4896767"/>
                  <a:pt x="992227" y="4897696"/>
                  <a:pt x="991297" y="4898626"/>
                </a:cubicBezTo>
                <a:cubicBezTo>
                  <a:pt x="990213" y="4899452"/>
                  <a:pt x="988509" y="4899452"/>
                  <a:pt x="987735" y="4899452"/>
                </a:cubicBezTo>
                <a:cubicBezTo>
                  <a:pt x="987735" y="4898522"/>
                  <a:pt x="986960" y="4898522"/>
                  <a:pt x="986960" y="4897696"/>
                </a:cubicBezTo>
                <a:cubicBezTo>
                  <a:pt x="986341" y="4895838"/>
                  <a:pt x="986341" y="4895838"/>
                  <a:pt x="987270" y="4894909"/>
                </a:cubicBezTo>
                <a:cubicBezTo>
                  <a:pt x="988199" y="4894082"/>
                  <a:pt x="990678" y="4895012"/>
                  <a:pt x="991607" y="4894082"/>
                </a:cubicBezTo>
                <a:close/>
                <a:moveTo>
                  <a:pt x="6186045" y="4893791"/>
                </a:moveTo>
                <a:cubicBezTo>
                  <a:pt x="6189143" y="4896475"/>
                  <a:pt x="6191002" y="4893791"/>
                  <a:pt x="6195648" y="4898231"/>
                </a:cubicBezTo>
                <a:cubicBezTo>
                  <a:pt x="6201844" y="4903600"/>
                  <a:pt x="6199521" y="4909692"/>
                  <a:pt x="6196733" y="4913100"/>
                </a:cubicBezTo>
                <a:cubicBezTo>
                  <a:pt x="6196113" y="4912377"/>
                  <a:pt x="6192241" y="4917023"/>
                  <a:pt x="6187284" y="4916817"/>
                </a:cubicBezTo>
                <a:cubicBezTo>
                  <a:pt x="6185735" y="4916713"/>
                  <a:pt x="6184031" y="4916094"/>
                  <a:pt x="6182327" y="4914545"/>
                </a:cubicBezTo>
                <a:cubicBezTo>
                  <a:pt x="6181398" y="4913719"/>
                  <a:pt x="6180469" y="4912686"/>
                  <a:pt x="6179694" y="4911551"/>
                </a:cubicBezTo>
                <a:cubicBezTo>
                  <a:pt x="6177526" y="4908246"/>
                  <a:pt x="6177216" y="4904013"/>
                  <a:pt x="6182172" y="4898850"/>
                </a:cubicBezTo>
                <a:cubicBezTo>
                  <a:pt x="6183102" y="4897198"/>
                  <a:pt x="6183102" y="4898024"/>
                  <a:pt x="6184031" y="4897198"/>
                </a:cubicBezTo>
                <a:cubicBezTo>
                  <a:pt x="6184961" y="4896372"/>
                  <a:pt x="6185890" y="4894616"/>
                  <a:pt x="6186045" y="4893791"/>
                </a:cubicBezTo>
                <a:close/>
                <a:moveTo>
                  <a:pt x="6062902" y="4892655"/>
                </a:moveTo>
                <a:cubicBezTo>
                  <a:pt x="6063677" y="4893481"/>
                  <a:pt x="6064296" y="4895236"/>
                  <a:pt x="6063367" y="4896062"/>
                </a:cubicBezTo>
                <a:cubicBezTo>
                  <a:pt x="6062902" y="4896888"/>
                  <a:pt x="6062592" y="4896888"/>
                  <a:pt x="6061973" y="4896578"/>
                </a:cubicBezTo>
                <a:cubicBezTo>
                  <a:pt x="6061508" y="4896269"/>
                  <a:pt x="6060889" y="4895546"/>
                  <a:pt x="6060114" y="4895133"/>
                </a:cubicBezTo>
                <a:close/>
                <a:moveTo>
                  <a:pt x="1980620" y="4892224"/>
                </a:moveTo>
                <a:lnTo>
                  <a:pt x="1979691" y="4895115"/>
                </a:lnTo>
                <a:lnTo>
                  <a:pt x="1980465" y="4895115"/>
                </a:lnTo>
                <a:cubicBezTo>
                  <a:pt x="1981704" y="4896974"/>
                  <a:pt x="1981549" y="4898316"/>
                  <a:pt x="1980775" y="4899245"/>
                </a:cubicBezTo>
                <a:lnTo>
                  <a:pt x="1977832" y="4900278"/>
                </a:lnTo>
                <a:lnTo>
                  <a:pt x="1977058" y="4902446"/>
                </a:lnTo>
                <a:cubicBezTo>
                  <a:pt x="1975663" y="4905544"/>
                  <a:pt x="1974424" y="4907919"/>
                  <a:pt x="1973804" y="4908848"/>
                </a:cubicBezTo>
                <a:cubicBezTo>
                  <a:pt x="1973340" y="4909674"/>
                  <a:pt x="1972875" y="4910087"/>
                  <a:pt x="1972411" y="4910190"/>
                </a:cubicBezTo>
                <a:cubicBezTo>
                  <a:pt x="1971791" y="4910294"/>
                  <a:pt x="1971171" y="4910087"/>
                  <a:pt x="1970397" y="4909674"/>
                </a:cubicBezTo>
                <a:cubicBezTo>
                  <a:pt x="1968228" y="4906060"/>
                  <a:pt x="1971171" y="4902653"/>
                  <a:pt x="1972411" y="4898213"/>
                </a:cubicBezTo>
                <a:cubicBezTo>
                  <a:pt x="1973340" y="4898213"/>
                  <a:pt x="1974269" y="4897387"/>
                  <a:pt x="1974269" y="4896561"/>
                </a:cubicBezTo>
                <a:cubicBezTo>
                  <a:pt x="1975199" y="4895735"/>
                  <a:pt x="1976128" y="4894805"/>
                  <a:pt x="1975354" y="4894805"/>
                </a:cubicBezTo>
                <a:cubicBezTo>
                  <a:pt x="1978142" y="4892224"/>
                  <a:pt x="1978142" y="4891295"/>
                  <a:pt x="1980620" y="4892224"/>
                </a:cubicBezTo>
                <a:close/>
                <a:moveTo>
                  <a:pt x="1547530" y="4891605"/>
                </a:moveTo>
                <a:cubicBezTo>
                  <a:pt x="1550628" y="4907403"/>
                  <a:pt x="1557444" y="4921239"/>
                  <a:pt x="1559612" y="4934352"/>
                </a:cubicBezTo>
                <a:cubicBezTo>
                  <a:pt x="1547065" y="4926299"/>
                  <a:pt x="1544122" y="4908229"/>
                  <a:pt x="1538546" y="4893360"/>
                </a:cubicBezTo>
                <a:cubicBezTo>
                  <a:pt x="1541489" y="4893153"/>
                  <a:pt x="1542884" y="4890882"/>
                  <a:pt x="1547530" y="4891605"/>
                </a:cubicBezTo>
                <a:close/>
                <a:moveTo>
                  <a:pt x="1304033" y="4891295"/>
                </a:moveTo>
                <a:cubicBezTo>
                  <a:pt x="1308680" y="4896354"/>
                  <a:pt x="1307906" y="4898419"/>
                  <a:pt x="1305582" y="4898832"/>
                </a:cubicBezTo>
                <a:cubicBezTo>
                  <a:pt x="1302020" y="4899452"/>
                  <a:pt x="1294739" y="4895115"/>
                  <a:pt x="1304033" y="4891295"/>
                </a:cubicBezTo>
                <a:close/>
                <a:moveTo>
                  <a:pt x="1496414" y="4890262"/>
                </a:moveTo>
                <a:cubicBezTo>
                  <a:pt x="1496105" y="4892534"/>
                  <a:pt x="1495639" y="4894392"/>
                  <a:pt x="1494865" y="4896044"/>
                </a:cubicBezTo>
                <a:cubicBezTo>
                  <a:pt x="1492851" y="4901001"/>
                  <a:pt x="1489599" y="4903995"/>
                  <a:pt x="1489134" y="4908022"/>
                </a:cubicBezTo>
                <a:cubicBezTo>
                  <a:pt x="1489134" y="4908022"/>
                  <a:pt x="1489134" y="4908022"/>
                  <a:pt x="1486966" y="4908642"/>
                </a:cubicBezTo>
                <a:cubicBezTo>
                  <a:pt x="1486656" y="4909365"/>
                  <a:pt x="1486656" y="4909365"/>
                  <a:pt x="1486656" y="4909365"/>
                </a:cubicBezTo>
                <a:cubicBezTo>
                  <a:pt x="1486501" y="4909778"/>
                  <a:pt x="1485881" y="4909778"/>
                  <a:pt x="1485571" y="4909674"/>
                </a:cubicBezTo>
                <a:cubicBezTo>
                  <a:pt x="1485107" y="4909571"/>
                  <a:pt x="1484797" y="4909261"/>
                  <a:pt x="1484797" y="4909261"/>
                </a:cubicBezTo>
                <a:cubicBezTo>
                  <a:pt x="1483558" y="4907609"/>
                  <a:pt x="1485417" y="4905854"/>
                  <a:pt x="1486036" y="4904408"/>
                </a:cubicBezTo>
                <a:cubicBezTo>
                  <a:pt x="1484797" y="4902756"/>
                  <a:pt x="1488979" y="4902137"/>
                  <a:pt x="1487740" y="4900587"/>
                </a:cubicBezTo>
                <a:cubicBezTo>
                  <a:pt x="1492232" y="4899245"/>
                  <a:pt x="1490218" y="4893360"/>
                  <a:pt x="1496414" y="4890262"/>
                </a:cubicBezTo>
                <a:close/>
                <a:moveTo>
                  <a:pt x="904246" y="4889539"/>
                </a:moveTo>
                <a:cubicBezTo>
                  <a:pt x="903781" y="4895632"/>
                  <a:pt x="907034" y="4898522"/>
                  <a:pt x="904401" y="4902963"/>
                </a:cubicBezTo>
                <a:cubicBezTo>
                  <a:pt x="895881" y="4903995"/>
                  <a:pt x="892783" y="4893463"/>
                  <a:pt x="897276" y="4889952"/>
                </a:cubicBezTo>
                <a:cubicBezTo>
                  <a:pt x="898670" y="4888816"/>
                  <a:pt x="900993" y="4888404"/>
                  <a:pt x="904246" y="4889539"/>
                </a:cubicBezTo>
                <a:close/>
                <a:moveTo>
                  <a:pt x="6072506" y="4889247"/>
                </a:moveTo>
                <a:cubicBezTo>
                  <a:pt x="6073280" y="4889247"/>
                  <a:pt x="6073280" y="4890073"/>
                  <a:pt x="6073900" y="4890900"/>
                </a:cubicBezTo>
                <a:cubicBezTo>
                  <a:pt x="6074675" y="4892655"/>
                  <a:pt x="6074365" y="4895236"/>
                  <a:pt x="6073435" y="4896062"/>
                </a:cubicBezTo>
                <a:cubicBezTo>
                  <a:pt x="6072506" y="4896992"/>
                  <a:pt x="6071732" y="4896992"/>
                  <a:pt x="6071732" y="4896992"/>
                </a:cubicBezTo>
                <a:cubicBezTo>
                  <a:pt x="6070492" y="4896062"/>
                  <a:pt x="6069563" y="4894927"/>
                  <a:pt x="6069253" y="4893791"/>
                </a:cubicBezTo>
                <a:cubicBezTo>
                  <a:pt x="6068943" y="4892551"/>
                  <a:pt x="6069408" y="4891312"/>
                  <a:pt x="6070802" y="4890073"/>
                </a:cubicBezTo>
                <a:cubicBezTo>
                  <a:pt x="6071577" y="4889247"/>
                  <a:pt x="6072506" y="4888318"/>
                  <a:pt x="6072506" y="4889247"/>
                </a:cubicBezTo>
                <a:close/>
                <a:moveTo>
                  <a:pt x="2034524" y="4889230"/>
                </a:moveTo>
                <a:cubicBezTo>
                  <a:pt x="2034679" y="4890055"/>
                  <a:pt x="2034989" y="4890882"/>
                  <a:pt x="2034369" y="4892017"/>
                </a:cubicBezTo>
                <a:cubicBezTo>
                  <a:pt x="2033905" y="4893153"/>
                  <a:pt x="2033595" y="4892431"/>
                  <a:pt x="2033905" y="4893153"/>
                </a:cubicBezTo>
                <a:cubicBezTo>
                  <a:pt x="2033285" y="4894392"/>
                  <a:pt x="2034059" y="4894082"/>
                  <a:pt x="2034059" y="4894082"/>
                </a:cubicBezTo>
                <a:cubicBezTo>
                  <a:pt x="2034059" y="4894082"/>
                  <a:pt x="2033285" y="4894392"/>
                  <a:pt x="2033285" y="4894392"/>
                </a:cubicBezTo>
                <a:cubicBezTo>
                  <a:pt x="2033285" y="4894392"/>
                  <a:pt x="2033285" y="4894289"/>
                  <a:pt x="2032201" y="4896664"/>
                </a:cubicBezTo>
                <a:cubicBezTo>
                  <a:pt x="2031426" y="4899762"/>
                  <a:pt x="2031736" y="4900484"/>
                  <a:pt x="2031426" y="4902446"/>
                </a:cubicBezTo>
                <a:lnTo>
                  <a:pt x="2031117" y="4902859"/>
                </a:lnTo>
                <a:lnTo>
                  <a:pt x="2032820" y="4905441"/>
                </a:lnTo>
                <a:cubicBezTo>
                  <a:pt x="2034524" y="4911223"/>
                  <a:pt x="2031891" y="4919071"/>
                  <a:pt x="2025075" y="4920103"/>
                </a:cubicBezTo>
                <a:cubicBezTo>
                  <a:pt x="2023216" y="4919174"/>
                  <a:pt x="2021977" y="4917728"/>
                  <a:pt x="2021049" y="4916076"/>
                </a:cubicBezTo>
                <a:lnTo>
                  <a:pt x="2020273" y="4913185"/>
                </a:lnTo>
                <a:lnTo>
                  <a:pt x="2013768" y="4912462"/>
                </a:lnTo>
                <a:cubicBezTo>
                  <a:pt x="2014387" y="4911326"/>
                  <a:pt x="2011445" y="4910604"/>
                  <a:pt x="2010205" y="4909365"/>
                </a:cubicBezTo>
                <a:cubicBezTo>
                  <a:pt x="2009431" y="4906886"/>
                  <a:pt x="2008966" y="4905338"/>
                  <a:pt x="2010050" y="4902963"/>
                </a:cubicBezTo>
                <a:cubicBezTo>
                  <a:pt x="2011754" y="4899555"/>
                  <a:pt x="2016711" y="4895632"/>
                  <a:pt x="2019809" y="4897180"/>
                </a:cubicBezTo>
                <a:lnTo>
                  <a:pt x="2021203" y="4897800"/>
                </a:lnTo>
                <a:lnTo>
                  <a:pt x="2023991" y="4895218"/>
                </a:lnTo>
                <a:cubicBezTo>
                  <a:pt x="2024921" y="4894909"/>
                  <a:pt x="2025850" y="4895115"/>
                  <a:pt x="2026779" y="4895632"/>
                </a:cubicBezTo>
                <a:lnTo>
                  <a:pt x="2028328" y="4897180"/>
                </a:lnTo>
                <a:lnTo>
                  <a:pt x="2030032" y="4893979"/>
                </a:lnTo>
                <a:cubicBezTo>
                  <a:pt x="2031581" y="4891398"/>
                  <a:pt x="2033130" y="4889333"/>
                  <a:pt x="2034524" y="4889230"/>
                </a:cubicBezTo>
                <a:close/>
                <a:moveTo>
                  <a:pt x="2053577" y="4888816"/>
                </a:moveTo>
                <a:cubicBezTo>
                  <a:pt x="2056674" y="4888920"/>
                  <a:pt x="2058378" y="4890778"/>
                  <a:pt x="2058068" y="4893876"/>
                </a:cubicBezTo>
                <a:cubicBezTo>
                  <a:pt x="2056984" y="4895528"/>
                  <a:pt x="2055280" y="4895735"/>
                  <a:pt x="2053421" y="4895941"/>
                </a:cubicBezTo>
                <a:cubicBezTo>
                  <a:pt x="2051873" y="4895838"/>
                  <a:pt x="2051098" y="4895321"/>
                  <a:pt x="2050788" y="4894599"/>
                </a:cubicBezTo>
                <a:cubicBezTo>
                  <a:pt x="2050479" y="4893773"/>
                  <a:pt x="2050633" y="4892637"/>
                  <a:pt x="2051098" y="4891398"/>
                </a:cubicBezTo>
                <a:cubicBezTo>
                  <a:pt x="2051718" y="4889023"/>
                  <a:pt x="2053577" y="4888816"/>
                  <a:pt x="2053577" y="4888816"/>
                </a:cubicBezTo>
                <a:close/>
                <a:moveTo>
                  <a:pt x="1580368" y="4888610"/>
                </a:moveTo>
                <a:cubicBezTo>
                  <a:pt x="1582072" y="4892534"/>
                  <a:pt x="1578044" y="4896561"/>
                  <a:pt x="1574637" y="4895941"/>
                </a:cubicBezTo>
                <a:cubicBezTo>
                  <a:pt x="1570919" y="4890882"/>
                  <a:pt x="1577580" y="4887164"/>
                  <a:pt x="1580368" y="4888610"/>
                </a:cubicBezTo>
                <a:close/>
                <a:moveTo>
                  <a:pt x="1857323" y="4888093"/>
                </a:moveTo>
                <a:cubicBezTo>
                  <a:pt x="1857323" y="4888093"/>
                  <a:pt x="1858562" y="4888404"/>
                  <a:pt x="1859801" y="4888713"/>
                </a:cubicBezTo>
                <a:cubicBezTo>
                  <a:pt x="1860885" y="4889126"/>
                  <a:pt x="1861660" y="4888610"/>
                  <a:pt x="1861660" y="4888610"/>
                </a:cubicBezTo>
                <a:cubicBezTo>
                  <a:pt x="1862744" y="4888920"/>
                  <a:pt x="1863364" y="4889746"/>
                  <a:pt x="1863209" y="4890985"/>
                </a:cubicBezTo>
                <a:cubicBezTo>
                  <a:pt x="1863209" y="4890985"/>
                  <a:pt x="1861350" y="4891088"/>
                  <a:pt x="1861350" y="4891088"/>
                </a:cubicBezTo>
                <a:cubicBezTo>
                  <a:pt x="1858871" y="4890365"/>
                  <a:pt x="1857787" y="4890159"/>
                  <a:pt x="1855928" y="4890262"/>
                </a:cubicBezTo>
                <a:cubicBezTo>
                  <a:pt x="1855464" y="4888197"/>
                  <a:pt x="1856238" y="4887784"/>
                  <a:pt x="1857323" y="4888093"/>
                </a:cubicBezTo>
                <a:close/>
                <a:moveTo>
                  <a:pt x="1912930" y="4887887"/>
                </a:moveTo>
                <a:lnTo>
                  <a:pt x="1914015" y="4892740"/>
                </a:lnTo>
                <a:lnTo>
                  <a:pt x="1915254" y="4891811"/>
                </a:lnTo>
                <a:cubicBezTo>
                  <a:pt x="1915719" y="4891088"/>
                  <a:pt x="1917422" y="4893153"/>
                  <a:pt x="1917422" y="4893153"/>
                </a:cubicBezTo>
                <a:cubicBezTo>
                  <a:pt x="1917577" y="4893773"/>
                  <a:pt x="1916803" y="4894496"/>
                  <a:pt x="1916028" y="4895115"/>
                </a:cubicBezTo>
                <a:lnTo>
                  <a:pt x="1915099" y="4895941"/>
                </a:lnTo>
                <a:lnTo>
                  <a:pt x="1918043" y="4902033"/>
                </a:lnTo>
                <a:cubicBezTo>
                  <a:pt x="1920211" y="4906370"/>
                  <a:pt x="1921914" y="4910500"/>
                  <a:pt x="1920365" y="4914321"/>
                </a:cubicBezTo>
                <a:cubicBezTo>
                  <a:pt x="1918816" y="4912049"/>
                  <a:pt x="1916493" y="4909778"/>
                  <a:pt x="1914325" y="4907403"/>
                </a:cubicBezTo>
                <a:lnTo>
                  <a:pt x="1909987" y="4902653"/>
                </a:lnTo>
                <a:lnTo>
                  <a:pt x="1909987" y="4902859"/>
                </a:lnTo>
                <a:cubicBezTo>
                  <a:pt x="1909678" y="4903376"/>
                  <a:pt x="1908748" y="4903685"/>
                  <a:pt x="1907664" y="4903995"/>
                </a:cubicBezTo>
                <a:cubicBezTo>
                  <a:pt x="1907199" y="4903169"/>
                  <a:pt x="1906890" y="4902446"/>
                  <a:pt x="1907199" y="4901827"/>
                </a:cubicBezTo>
                <a:lnTo>
                  <a:pt x="1908439" y="4900587"/>
                </a:lnTo>
                <a:lnTo>
                  <a:pt x="1908129" y="4900278"/>
                </a:lnTo>
                <a:cubicBezTo>
                  <a:pt x="1904876" y="4895632"/>
                  <a:pt x="1904566" y="4891191"/>
                  <a:pt x="1912930" y="4887887"/>
                </a:cubicBezTo>
                <a:close/>
                <a:moveTo>
                  <a:pt x="2100142" y="4887138"/>
                </a:moveTo>
                <a:cubicBezTo>
                  <a:pt x="2102640" y="4886390"/>
                  <a:pt x="2105002" y="4886493"/>
                  <a:pt x="2106861" y="4887887"/>
                </a:cubicBezTo>
                <a:cubicBezTo>
                  <a:pt x="2102524" y="4890778"/>
                  <a:pt x="2099735" y="4894082"/>
                  <a:pt x="2096483" y="4897180"/>
                </a:cubicBezTo>
                <a:lnTo>
                  <a:pt x="2092455" y="4900898"/>
                </a:lnTo>
                <a:lnTo>
                  <a:pt x="2093385" y="4902549"/>
                </a:lnTo>
                <a:cubicBezTo>
                  <a:pt x="2092610" y="4902859"/>
                  <a:pt x="2091061" y="4903479"/>
                  <a:pt x="2090752" y="4905441"/>
                </a:cubicBezTo>
                <a:cubicBezTo>
                  <a:pt x="2089667" y="4905028"/>
                  <a:pt x="2088583" y="4904511"/>
                  <a:pt x="2087963" y="4903892"/>
                </a:cubicBezTo>
                <a:lnTo>
                  <a:pt x="2087963" y="4903685"/>
                </a:lnTo>
                <a:lnTo>
                  <a:pt x="2084555" y="4905647"/>
                </a:lnTo>
                <a:cubicBezTo>
                  <a:pt x="2084401" y="4903479"/>
                  <a:pt x="2085175" y="4901001"/>
                  <a:pt x="2086724" y="4898522"/>
                </a:cubicBezTo>
                <a:lnTo>
                  <a:pt x="2088428" y="4896457"/>
                </a:lnTo>
                <a:lnTo>
                  <a:pt x="2087808" y="4893670"/>
                </a:lnTo>
                <a:cubicBezTo>
                  <a:pt x="2087808" y="4892120"/>
                  <a:pt x="2088273" y="4890882"/>
                  <a:pt x="2088893" y="4890469"/>
                </a:cubicBezTo>
                <a:cubicBezTo>
                  <a:pt x="2089202" y="4890572"/>
                  <a:pt x="2089667" y="4890882"/>
                  <a:pt x="2090132" y="4891398"/>
                </a:cubicBezTo>
                <a:lnTo>
                  <a:pt x="2091217" y="4893153"/>
                </a:lnTo>
                <a:lnTo>
                  <a:pt x="2092610" y="4891501"/>
                </a:lnTo>
                <a:cubicBezTo>
                  <a:pt x="2095011" y="4889488"/>
                  <a:pt x="2097644" y="4887887"/>
                  <a:pt x="2100142" y="4887138"/>
                </a:cubicBezTo>
                <a:close/>
                <a:moveTo>
                  <a:pt x="1437554" y="4886132"/>
                </a:moveTo>
                <a:cubicBezTo>
                  <a:pt x="1439258" y="4887268"/>
                  <a:pt x="1440651" y="4889436"/>
                  <a:pt x="1440961" y="4892843"/>
                </a:cubicBezTo>
                <a:cubicBezTo>
                  <a:pt x="1436779" y="4893773"/>
                  <a:pt x="1434921" y="4896251"/>
                  <a:pt x="1432132" y="4896767"/>
                </a:cubicBezTo>
                <a:cubicBezTo>
                  <a:pt x="1431203" y="4896974"/>
                  <a:pt x="1430119" y="4896974"/>
                  <a:pt x="1428879" y="4896664"/>
                </a:cubicBezTo>
                <a:cubicBezTo>
                  <a:pt x="1424233" y="4888507"/>
                  <a:pt x="1432442" y="4882724"/>
                  <a:pt x="1437554" y="4886132"/>
                </a:cubicBezTo>
                <a:close/>
                <a:moveTo>
                  <a:pt x="1845086" y="4885409"/>
                </a:moveTo>
                <a:cubicBezTo>
                  <a:pt x="1850043" y="4885409"/>
                  <a:pt x="1852057" y="4887268"/>
                  <a:pt x="1851591" y="4890778"/>
                </a:cubicBezTo>
                <a:cubicBezTo>
                  <a:pt x="1850817" y="4891295"/>
                  <a:pt x="1848339" y="4891914"/>
                  <a:pt x="1848803" y="4892637"/>
                </a:cubicBezTo>
                <a:cubicBezTo>
                  <a:pt x="1846170" y="4891914"/>
                  <a:pt x="1843227" y="4890882"/>
                  <a:pt x="1841988" y="4889023"/>
                </a:cubicBezTo>
                <a:cubicBezTo>
                  <a:pt x="1841523" y="4888507"/>
                  <a:pt x="1841213" y="4887681"/>
                  <a:pt x="1841213" y="4886958"/>
                </a:cubicBezTo>
                <a:cubicBezTo>
                  <a:pt x="1840903" y="4884996"/>
                  <a:pt x="1842762" y="4884893"/>
                  <a:pt x="1845086" y="4885409"/>
                </a:cubicBezTo>
                <a:close/>
                <a:moveTo>
                  <a:pt x="1307964" y="4883034"/>
                </a:moveTo>
                <a:cubicBezTo>
                  <a:pt x="1309222" y="4882234"/>
                  <a:pt x="1310926" y="4882156"/>
                  <a:pt x="1312707" y="4883344"/>
                </a:cubicBezTo>
                <a:cubicBezTo>
                  <a:pt x="1312243" y="4888300"/>
                  <a:pt x="1310229" y="4889952"/>
                  <a:pt x="1307286" y="4890469"/>
                </a:cubicBezTo>
                <a:cubicBezTo>
                  <a:pt x="1306356" y="4889436"/>
                  <a:pt x="1306046" y="4888197"/>
                  <a:pt x="1305892" y="4887061"/>
                </a:cubicBezTo>
                <a:cubicBezTo>
                  <a:pt x="1305892" y="4885357"/>
                  <a:pt x="1306705" y="4883834"/>
                  <a:pt x="1307964" y="4883034"/>
                </a:cubicBezTo>
                <a:close/>
                <a:moveTo>
                  <a:pt x="6342180" y="4881400"/>
                </a:moveTo>
                <a:cubicBezTo>
                  <a:pt x="6342955" y="4882226"/>
                  <a:pt x="6343730" y="4882329"/>
                  <a:pt x="6342800" y="4884084"/>
                </a:cubicBezTo>
                <a:cubicBezTo>
                  <a:pt x="6342645" y="4884910"/>
                  <a:pt x="6341716" y="4885737"/>
                  <a:pt x="6341716" y="4886666"/>
                </a:cubicBezTo>
                <a:cubicBezTo>
                  <a:pt x="6341716" y="4886666"/>
                  <a:pt x="6341096" y="4886872"/>
                  <a:pt x="6340322" y="4886976"/>
                </a:cubicBezTo>
                <a:cubicBezTo>
                  <a:pt x="6339547" y="4887079"/>
                  <a:pt x="6338773" y="4886976"/>
                  <a:pt x="6338308" y="4886563"/>
                </a:cubicBezTo>
                <a:cubicBezTo>
                  <a:pt x="6337998" y="4886356"/>
                  <a:pt x="6337843" y="4886046"/>
                  <a:pt x="6337843" y="4885634"/>
                </a:cubicBezTo>
                <a:cubicBezTo>
                  <a:pt x="6337998" y="4884498"/>
                  <a:pt x="6339547" y="4882845"/>
                  <a:pt x="6339702" y="4882226"/>
                </a:cubicBezTo>
                <a:cubicBezTo>
                  <a:pt x="6340631" y="4881400"/>
                  <a:pt x="6341561" y="4880471"/>
                  <a:pt x="6342180" y="4881400"/>
                </a:cubicBezTo>
                <a:close/>
                <a:moveTo>
                  <a:pt x="1399914" y="4881279"/>
                </a:moveTo>
                <a:cubicBezTo>
                  <a:pt x="1401618" y="4880866"/>
                  <a:pt x="1403477" y="4881176"/>
                  <a:pt x="1405645" y="4883241"/>
                </a:cubicBezTo>
                <a:lnTo>
                  <a:pt x="1405025" y="4884789"/>
                </a:lnTo>
                <a:lnTo>
                  <a:pt x="1405180" y="4884686"/>
                </a:lnTo>
                <a:cubicBezTo>
                  <a:pt x="1406574" y="4884996"/>
                  <a:pt x="1407659" y="4885925"/>
                  <a:pt x="1408743" y="4887164"/>
                </a:cubicBezTo>
                <a:cubicBezTo>
                  <a:pt x="1410602" y="4889539"/>
                  <a:pt x="1411531" y="4893153"/>
                  <a:pt x="1410447" y="4895838"/>
                </a:cubicBezTo>
                <a:cubicBezTo>
                  <a:pt x="1405645" y="4895218"/>
                  <a:pt x="1402237" y="4893876"/>
                  <a:pt x="1401153" y="4890159"/>
                </a:cubicBezTo>
                <a:lnTo>
                  <a:pt x="1400998" y="4887474"/>
                </a:lnTo>
                <a:lnTo>
                  <a:pt x="1399449" y="4887681"/>
                </a:lnTo>
                <a:cubicBezTo>
                  <a:pt x="1400533" y="4884686"/>
                  <a:pt x="1396971" y="4883964"/>
                  <a:pt x="1399914" y="4881279"/>
                </a:cubicBezTo>
                <a:close/>
                <a:moveTo>
                  <a:pt x="1032964" y="4881176"/>
                </a:moveTo>
                <a:cubicBezTo>
                  <a:pt x="1036062" y="4889230"/>
                  <a:pt x="1029557" y="4899452"/>
                  <a:pt x="1025065" y="4903685"/>
                </a:cubicBezTo>
                <a:cubicBezTo>
                  <a:pt x="1021812" y="4895528"/>
                  <a:pt x="1027233" y="4884067"/>
                  <a:pt x="1032964" y="4881176"/>
                </a:cubicBezTo>
                <a:close/>
                <a:moveTo>
                  <a:pt x="966205" y="4880659"/>
                </a:moveTo>
                <a:cubicBezTo>
                  <a:pt x="966205" y="4880659"/>
                  <a:pt x="966205" y="4880659"/>
                  <a:pt x="966979" y="4880659"/>
                </a:cubicBezTo>
                <a:cubicBezTo>
                  <a:pt x="965739" y="4884170"/>
                  <a:pt x="966205" y="4888610"/>
                  <a:pt x="964191" y="4891295"/>
                </a:cubicBezTo>
                <a:cubicBezTo>
                  <a:pt x="963726" y="4891708"/>
                  <a:pt x="963261" y="4892120"/>
                  <a:pt x="962796" y="4892224"/>
                </a:cubicBezTo>
                <a:cubicBezTo>
                  <a:pt x="962177" y="4892327"/>
                  <a:pt x="961712" y="4892120"/>
                  <a:pt x="960938" y="4891191"/>
                </a:cubicBezTo>
                <a:cubicBezTo>
                  <a:pt x="960163" y="4890778"/>
                  <a:pt x="959698" y="4890262"/>
                  <a:pt x="959854" y="4889643"/>
                </a:cubicBezTo>
                <a:cubicBezTo>
                  <a:pt x="959854" y="4889023"/>
                  <a:pt x="960318" y="4888093"/>
                  <a:pt x="961403" y="4886854"/>
                </a:cubicBezTo>
                <a:cubicBezTo>
                  <a:pt x="963261" y="4885099"/>
                  <a:pt x="964191" y="4883344"/>
                  <a:pt x="964965" y="4883344"/>
                </a:cubicBezTo>
                <a:cubicBezTo>
                  <a:pt x="965120" y="4882415"/>
                  <a:pt x="966049" y="4881588"/>
                  <a:pt x="966205" y="4880659"/>
                </a:cubicBezTo>
                <a:close/>
                <a:moveTo>
                  <a:pt x="1197929" y="4880349"/>
                </a:moveTo>
                <a:cubicBezTo>
                  <a:pt x="1204125" y="4888507"/>
                  <a:pt x="1188790" y="4899968"/>
                  <a:pt x="1182904" y="4901414"/>
                </a:cubicBezTo>
                <a:cubicBezTo>
                  <a:pt x="1186002" y="4894599"/>
                  <a:pt x="1191423" y="4883550"/>
                  <a:pt x="1197929" y="4880349"/>
                </a:cubicBezTo>
                <a:close/>
                <a:moveTo>
                  <a:pt x="1774453" y="4876942"/>
                </a:moveTo>
                <a:cubicBezTo>
                  <a:pt x="1776777" y="4877975"/>
                  <a:pt x="1781114" y="4876632"/>
                  <a:pt x="1781268" y="4880969"/>
                </a:cubicBezTo>
                <a:cubicBezTo>
                  <a:pt x="1770581" y="4885306"/>
                  <a:pt x="1772130" y="4901207"/>
                  <a:pt x="1762061" y="4902137"/>
                </a:cubicBezTo>
                <a:cubicBezTo>
                  <a:pt x="1764230" y="4893566"/>
                  <a:pt x="1764850" y="4884893"/>
                  <a:pt x="1774453" y="4876942"/>
                </a:cubicBezTo>
                <a:close/>
                <a:moveTo>
                  <a:pt x="1326803" y="4876736"/>
                </a:moveTo>
                <a:cubicBezTo>
                  <a:pt x="1331915" y="4876116"/>
                  <a:pt x="1336251" y="4883241"/>
                  <a:pt x="1338110" y="4887681"/>
                </a:cubicBezTo>
                <a:cubicBezTo>
                  <a:pt x="1336561" y="4889333"/>
                  <a:pt x="1337490" y="4890985"/>
                  <a:pt x="1335942" y="4892637"/>
                </a:cubicBezTo>
                <a:cubicBezTo>
                  <a:pt x="1330676" y="4887268"/>
                  <a:pt x="1324635" y="4881795"/>
                  <a:pt x="1326803" y="4876736"/>
                </a:cubicBezTo>
                <a:close/>
                <a:moveTo>
                  <a:pt x="1503694" y="4875806"/>
                </a:moveTo>
                <a:lnTo>
                  <a:pt x="1503075" y="4876013"/>
                </a:lnTo>
                <a:lnTo>
                  <a:pt x="1503850" y="4875909"/>
                </a:lnTo>
                <a:close/>
                <a:moveTo>
                  <a:pt x="1208617" y="4875290"/>
                </a:moveTo>
                <a:cubicBezTo>
                  <a:pt x="1210476" y="4874464"/>
                  <a:pt x="1213264" y="4872812"/>
                  <a:pt x="1216362" y="4875497"/>
                </a:cubicBezTo>
                <a:cubicBezTo>
                  <a:pt x="1217136" y="4876322"/>
                  <a:pt x="1217136" y="4876426"/>
                  <a:pt x="1216981" y="4877252"/>
                </a:cubicBezTo>
                <a:cubicBezTo>
                  <a:pt x="1217756" y="4879007"/>
                  <a:pt x="1218530" y="4879937"/>
                  <a:pt x="1217446" y="4881692"/>
                </a:cubicBezTo>
                <a:cubicBezTo>
                  <a:pt x="1216517" y="4882931"/>
                  <a:pt x="1215588" y="4883344"/>
                  <a:pt x="1214658" y="4883241"/>
                </a:cubicBezTo>
                <a:cubicBezTo>
                  <a:pt x="1213728" y="4883034"/>
                  <a:pt x="1212644" y="4882415"/>
                  <a:pt x="1211560" y="4881485"/>
                </a:cubicBezTo>
                <a:cubicBezTo>
                  <a:pt x="1210321" y="4880659"/>
                  <a:pt x="1210011" y="4879523"/>
                  <a:pt x="1209701" y="4878387"/>
                </a:cubicBezTo>
                <a:cubicBezTo>
                  <a:pt x="1209546" y="4877355"/>
                  <a:pt x="1209392" y="4876219"/>
                  <a:pt x="1208617" y="4875290"/>
                </a:cubicBezTo>
                <a:close/>
                <a:moveTo>
                  <a:pt x="1832229" y="4875083"/>
                </a:moveTo>
                <a:cubicBezTo>
                  <a:pt x="1831145" y="4876426"/>
                  <a:pt x="1829441" y="4879420"/>
                  <a:pt x="1827737" y="4880040"/>
                </a:cubicBezTo>
                <a:cubicBezTo>
                  <a:pt x="1827273" y="4880246"/>
                  <a:pt x="1826654" y="4880246"/>
                  <a:pt x="1826189" y="4879833"/>
                </a:cubicBezTo>
                <a:cubicBezTo>
                  <a:pt x="1827737" y="4877975"/>
                  <a:pt x="1828822" y="4874361"/>
                  <a:pt x="1832229" y="4875083"/>
                </a:cubicBezTo>
                <a:close/>
                <a:moveTo>
                  <a:pt x="1358711" y="4874464"/>
                </a:moveTo>
                <a:cubicBezTo>
                  <a:pt x="1361500" y="4874774"/>
                  <a:pt x="1361345" y="4876736"/>
                  <a:pt x="1363203" y="4876632"/>
                </a:cubicBezTo>
                <a:cubicBezTo>
                  <a:pt x="1362119" y="4880866"/>
                  <a:pt x="1359796" y="4882002"/>
                  <a:pt x="1356078" y="4882002"/>
                </a:cubicBezTo>
                <a:cubicBezTo>
                  <a:pt x="1355149" y="4879730"/>
                  <a:pt x="1356388" y="4875600"/>
                  <a:pt x="1358711" y="4874464"/>
                </a:cubicBezTo>
                <a:close/>
                <a:moveTo>
                  <a:pt x="990058" y="4874154"/>
                </a:moveTo>
                <a:cubicBezTo>
                  <a:pt x="990058" y="4874154"/>
                  <a:pt x="990368" y="4875290"/>
                  <a:pt x="990987" y="4875703"/>
                </a:cubicBezTo>
                <a:cubicBezTo>
                  <a:pt x="990987" y="4875703"/>
                  <a:pt x="991297" y="4876839"/>
                  <a:pt x="991452" y="4878078"/>
                </a:cubicBezTo>
                <a:cubicBezTo>
                  <a:pt x="991452" y="4878078"/>
                  <a:pt x="992072" y="4878491"/>
                  <a:pt x="992846" y="4878904"/>
                </a:cubicBezTo>
                <a:cubicBezTo>
                  <a:pt x="993931" y="4881692"/>
                  <a:pt x="994705" y="4883241"/>
                  <a:pt x="992227" y="4885822"/>
                </a:cubicBezTo>
                <a:cubicBezTo>
                  <a:pt x="991917" y="4885512"/>
                  <a:pt x="991607" y="4884893"/>
                  <a:pt x="991297" y="4884067"/>
                </a:cubicBezTo>
                <a:cubicBezTo>
                  <a:pt x="991143" y="4883344"/>
                  <a:pt x="990987" y="4882415"/>
                  <a:pt x="990833" y="4881795"/>
                </a:cubicBezTo>
                <a:cubicBezTo>
                  <a:pt x="990213" y="4881382"/>
                  <a:pt x="990058" y="4880246"/>
                  <a:pt x="990523" y="4879523"/>
                </a:cubicBezTo>
                <a:cubicBezTo>
                  <a:pt x="990523" y="4879523"/>
                  <a:pt x="990368" y="4878387"/>
                  <a:pt x="989594" y="4877871"/>
                </a:cubicBezTo>
                <a:cubicBezTo>
                  <a:pt x="989283" y="4875600"/>
                  <a:pt x="989594" y="4874877"/>
                  <a:pt x="990058" y="4874154"/>
                </a:cubicBezTo>
                <a:close/>
                <a:moveTo>
                  <a:pt x="1685581" y="4873870"/>
                </a:moveTo>
                <a:cubicBezTo>
                  <a:pt x="1686937" y="4874877"/>
                  <a:pt x="1687866" y="4876735"/>
                  <a:pt x="1687711" y="4878078"/>
                </a:cubicBezTo>
                <a:cubicBezTo>
                  <a:pt x="1686472" y="4879937"/>
                  <a:pt x="1685078" y="4880349"/>
                  <a:pt x="1683994" y="4879937"/>
                </a:cubicBezTo>
                <a:cubicBezTo>
                  <a:pt x="1682909" y="4879626"/>
                  <a:pt x="1681825" y="4878387"/>
                  <a:pt x="1681360" y="4877148"/>
                </a:cubicBezTo>
                <a:cubicBezTo>
                  <a:pt x="1681051" y="4876322"/>
                  <a:pt x="1680741" y="4875497"/>
                  <a:pt x="1680896" y="4874774"/>
                </a:cubicBezTo>
                <a:cubicBezTo>
                  <a:pt x="1682445" y="4872709"/>
                  <a:pt x="1684226" y="4872863"/>
                  <a:pt x="1685581" y="4873870"/>
                </a:cubicBezTo>
                <a:close/>
                <a:moveTo>
                  <a:pt x="1458929" y="4873638"/>
                </a:moveTo>
                <a:cubicBezTo>
                  <a:pt x="1461872" y="4876013"/>
                  <a:pt x="1461562" y="4879523"/>
                  <a:pt x="1464506" y="4882828"/>
                </a:cubicBezTo>
                <a:cubicBezTo>
                  <a:pt x="1463111" y="4885512"/>
                  <a:pt x="1466364" y="4889643"/>
                  <a:pt x="1464351" y="4893256"/>
                </a:cubicBezTo>
                <a:cubicBezTo>
                  <a:pt x="1458774" y="4890055"/>
                  <a:pt x="1456915" y="4876322"/>
                  <a:pt x="1458929" y="4873638"/>
                </a:cubicBezTo>
                <a:close/>
                <a:moveTo>
                  <a:pt x="1948712" y="4872399"/>
                </a:moveTo>
                <a:cubicBezTo>
                  <a:pt x="1949486" y="4872089"/>
                  <a:pt x="1949796" y="4872915"/>
                  <a:pt x="1949021" y="4873225"/>
                </a:cubicBezTo>
                <a:cubicBezTo>
                  <a:pt x="1948866" y="4874257"/>
                  <a:pt x="1948402" y="4874464"/>
                  <a:pt x="1947627" y="4874361"/>
                </a:cubicBezTo>
                <a:cubicBezTo>
                  <a:pt x="1947008" y="4874257"/>
                  <a:pt x="1946233" y="4873948"/>
                  <a:pt x="1945769" y="4873638"/>
                </a:cubicBezTo>
                <a:cubicBezTo>
                  <a:pt x="1947937" y="4872709"/>
                  <a:pt x="1948557" y="4871573"/>
                  <a:pt x="1948712" y="4872399"/>
                </a:cubicBezTo>
                <a:close/>
                <a:moveTo>
                  <a:pt x="1304962" y="4870643"/>
                </a:moveTo>
                <a:cubicBezTo>
                  <a:pt x="1305737" y="4874361"/>
                  <a:pt x="1301710" y="4883344"/>
                  <a:pt x="1294739" y="4883138"/>
                </a:cubicBezTo>
                <a:cubicBezTo>
                  <a:pt x="1294585" y="4874567"/>
                  <a:pt x="1300006" y="4872915"/>
                  <a:pt x="1304962" y="4870643"/>
                </a:cubicBezTo>
                <a:close/>
                <a:moveTo>
                  <a:pt x="1275377" y="4870437"/>
                </a:moveTo>
                <a:cubicBezTo>
                  <a:pt x="1279869" y="4874154"/>
                  <a:pt x="1280953" y="4878801"/>
                  <a:pt x="1282038" y="4883550"/>
                </a:cubicBezTo>
                <a:cubicBezTo>
                  <a:pt x="1280489" y="4885822"/>
                  <a:pt x="1279095" y="4886854"/>
                  <a:pt x="1277856" y="4886854"/>
                </a:cubicBezTo>
                <a:cubicBezTo>
                  <a:pt x="1274138" y="4887061"/>
                  <a:pt x="1271505" y="4879110"/>
                  <a:pt x="1268872" y="4875083"/>
                </a:cubicBezTo>
                <a:cubicBezTo>
                  <a:pt x="1270885" y="4872089"/>
                  <a:pt x="1271815" y="4871366"/>
                  <a:pt x="1275377" y="4870437"/>
                </a:cubicBezTo>
                <a:close/>
                <a:moveTo>
                  <a:pt x="1788549" y="4869714"/>
                </a:moveTo>
                <a:cubicBezTo>
                  <a:pt x="1790408" y="4871366"/>
                  <a:pt x="1789943" y="4873225"/>
                  <a:pt x="1789168" y="4874154"/>
                </a:cubicBezTo>
                <a:cubicBezTo>
                  <a:pt x="1788858" y="4875393"/>
                  <a:pt x="1787929" y="4876116"/>
                  <a:pt x="1786690" y="4876426"/>
                </a:cubicBezTo>
                <a:cubicBezTo>
                  <a:pt x="1785451" y="4876736"/>
                  <a:pt x="1783902" y="4876632"/>
                  <a:pt x="1782663" y="4876219"/>
                </a:cubicBezTo>
                <a:cubicBezTo>
                  <a:pt x="1783437" y="4876219"/>
                  <a:pt x="1783437" y="4876219"/>
                  <a:pt x="1783437" y="4876219"/>
                </a:cubicBezTo>
                <a:cubicBezTo>
                  <a:pt x="1784211" y="4875290"/>
                  <a:pt x="1783437" y="4875290"/>
                  <a:pt x="1783282" y="4874464"/>
                </a:cubicBezTo>
                <a:cubicBezTo>
                  <a:pt x="1783282" y="4874464"/>
                  <a:pt x="1783437" y="4875290"/>
                  <a:pt x="1782508" y="4874464"/>
                </a:cubicBezTo>
                <a:cubicBezTo>
                  <a:pt x="1783282" y="4874464"/>
                  <a:pt x="1783128" y="4873535"/>
                  <a:pt x="1782972" y="4872709"/>
                </a:cubicBezTo>
                <a:cubicBezTo>
                  <a:pt x="1784521" y="4870850"/>
                  <a:pt x="1786690" y="4868888"/>
                  <a:pt x="1788549" y="4869714"/>
                </a:cubicBezTo>
                <a:close/>
                <a:moveTo>
                  <a:pt x="953193" y="4869301"/>
                </a:moveTo>
                <a:lnTo>
                  <a:pt x="953813" y="4870643"/>
                </a:lnTo>
                <a:lnTo>
                  <a:pt x="957065" y="4871056"/>
                </a:lnTo>
                <a:cubicBezTo>
                  <a:pt x="958770" y="4870230"/>
                  <a:pt x="959854" y="4868578"/>
                  <a:pt x="961403" y="4869508"/>
                </a:cubicBezTo>
                <a:cubicBezTo>
                  <a:pt x="958770" y="4871160"/>
                  <a:pt x="957840" y="4871882"/>
                  <a:pt x="955981" y="4872709"/>
                </a:cubicBezTo>
                <a:lnTo>
                  <a:pt x="955516" y="4873948"/>
                </a:lnTo>
                <a:lnTo>
                  <a:pt x="955671" y="4874051"/>
                </a:lnTo>
                <a:lnTo>
                  <a:pt x="955361" y="4874464"/>
                </a:lnTo>
                <a:lnTo>
                  <a:pt x="954897" y="4875290"/>
                </a:lnTo>
                <a:lnTo>
                  <a:pt x="954587" y="4875497"/>
                </a:lnTo>
                <a:lnTo>
                  <a:pt x="953503" y="4877562"/>
                </a:lnTo>
                <a:cubicBezTo>
                  <a:pt x="952573" y="4879420"/>
                  <a:pt x="951799" y="4881279"/>
                  <a:pt x="951799" y="4881279"/>
                </a:cubicBezTo>
                <a:cubicBezTo>
                  <a:pt x="950715" y="4881692"/>
                  <a:pt x="950095" y="4881898"/>
                  <a:pt x="949785" y="4881588"/>
                </a:cubicBezTo>
                <a:cubicBezTo>
                  <a:pt x="949321" y="4881279"/>
                  <a:pt x="949011" y="4880556"/>
                  <a:pt x="948546" y="4879214"/>
                </a:cubicBezTo>
                <a:lnTo>
                  <a:pt x="949321" y="4876013"/>
                </a:lnTo>
                <a:lnTo>
                  <a:pt x="948856" y="4875083"/>
                </a:lnTo>
                <a:cubicBezTo>
                  <a:pt x="948856" y="4874361"/>
                  <a:pt x="949166" y="4873535"/>
                  <a:pt x="950095" y="4872709"/>
                </a:cubicBezTo>
                <a:lnTo>
                  <a:pt x="951024" y="4872089"/>
                </a:lnTo>
                <a:close/>
                <a:moveTo>
                  <a:pt x="2088893" y="4867959"/>
                </a:moveTo>
                <a:cubicBezTo>
                  <a:pt x="2089512" y="4868372"/>
                  <a:pt x="2089822" y="4869198"/>
                  <a:pt x="2089977" y="4870230"/>
                </a:cubicBezTo>
                <a:cubicBezTo>
                  <a:pt x="2090286" y="4873328"/>
                  <a:pt x="2088893" y="4878491"/>
                  <a:pt x="2087653" y="4880969"/>
                </a:cubicBezTo>
                <a:cubicBezTo>
                  <a:pt x="2087034" y="4880556"/>
                  <a:pt x="2086724" y="4879730"/>
                  <a:pt x="2086724" y="4878697"/>
                </a:cubicBezTo>
                <a:cubicBezTo>
                  <a:pt x="2086260" y="4875600"/>
                  <a:pt x="2087653" y="4870437"/>
                  <a:pt x="2088893" y="4867959"/>
                </a:cubicBezTo>
                <a:close/>
                <a:moveTo>
                  <a:pt x="1909987" y="4866926"/>
                </a:moveTo>
                <a:cubicBezTo>
                  <a:pt x="1909987" y="4867855"/>
                  <a:pt x="1910762" y="4869714"/>
                  <a:pt x="1909832" y="4870540"/>
                </a:cubicBezTo>
                <a:cubicBezTo>
                  <a:pt x="1909368" y="4870850"/>
                  <a:pt x="1909213" y="4871056"/>
                  <a:pt x="1908903" y="4871160"/>
                </a:cubicBezTo>
                <a:cubicBezTo>
                  <a:pt x="1908593" y="4871160"/>
                  <a:pt x="1908129" y="4871056"/>
                  <a:pt x="1907354" y="4871056"/>
                </a:cubicBezTo>
                <a:cubicBezTo>
                  <a:pt x="1908283" y="4868475"/>
                  <a:pt x="1908283" y="4868475"/>
                  <a:pt x="1909987" y="4866926"/>
                </a:cubicBezTo>
                <a:close/>
                <a:moveTo>
                  <a:pt x="1291022" y="4866926"/>
                </a:moveTo>
                <a:cubicBezTo>
                  <a:pt x="1294120" y="4867029"/>
                  <a:pt x="1294120" y="4870127"/>
                  <a:pt x="1295513" y="4873535"/>
                </a:cubicBezTo>
                <a:cubicBezTo>
                  <a:pt x="1294275" y="4873225"/>
                  <a:pt x="1294120" y="4874361"/>
                  <a:pt x="1293965" y="4875600"/>
                </a:cubicBezTo>
                <a:cubicBezTo>
                  <a:pt x="1292106" y="4875186"/>
                  <a:pt x="1289318" y="4874877"/>
                  <a:pt x="1288389" y="4872709"/>
                </a:cubicBezTo>
                <a:cubicBezTo>
                  <a:pt x="1288078" y="4871986"/>
                  <a:pt x="1287924" y="4871056"/>
                  <a:pt x="1288078" y="4869817"/>
                </a:cubicBezTo>
                <a:cubicBezTo>
                  <a:pt x="1287614" y="4869095"/>
                  <a:pt x="1289937" y="4866616"/>
                  <a:pt x="1291022" y="4866926"/>
                </a:cubicBezTo>
                <a:close/>
                <a:moveTo>
                  <a:pt x="1838735" y="4866616"/>
                </a:moveTo>
                <a:cubicBezTo>
                  <a:pt x="1839355" y="4866823"/>
                  <a:pt x="1839355" y="4867236"/>
                  <a:pt x="1839355" y="4867752"/>
                </a:cubicBezTo>
                <a:cubicBezTo>
                  <a:pt x="1839200" y="4868269"/>
                  <a:pt x="1839045" y="4868888"/>
                  <a:pt x="1838735" y="4869508"/>
                </a:cubicBezTo>
                <a:cubicBezTo>
                  <a:pt x="1838271" y="4870643"/>
                  <a:pt x="1837651" y="4871779"/>
                  <a:pt x="1837031" y="4872915"/>
                </a:cubicBezTo>
                <a:cubicBezTo>
                  <a:pt x="1837031" y="4872915"/>
                  <a:pt x="1837031" y="4872915"/>
                  <a:pt x="1838735" y="4866616"/>
                </a:cubicBezTo>
                <a:close/>
                <a:moveTo>
                  <a:pt x="6593422" y="4865395"/>
                </a:moveTo>
                <a:cubicBezTo>
                  <a:pt x="6598069" y="4872004"/>
                  <a:pt x="6598379" y="4881297"/>
                  <a:pt x="6595126" y="4889557"/>
                </a:cubicBezTo>
                <a:cubicBezTo>
                  <a:pt x="6591873" y="4897714"/>
                  <a:pt x="6585213" y="4904839"/>
                  <a:pt x="6575764" y="4907214"/>
                </a:cubicBezTo>
                <a:cubicBezTo>
                  <a:pt x="6577158" y="4900606"/>
                  <a:pt x="6577933" y="4891209"/>
                  <a:pt x="6580101" y="4882949"/>
                </a:cubicBezTo>
                <a:cubicBezTo>
                  <a:pt x="6582269" y="4874688"/>
                  <a:pt x="6585987" y="4867460"/>
                  <a:pt x="6593422" y="4865395"/>
                </a:cubicBezTo>
                <a:close/>
                <a:moveTo>
                  <a:pt x="876519" y="4865377"/>
                </a:moveTo>
                <a:cubicBezTo>
                  <a:pt x="879152" y="4863725"/>
                  <a:pt x="885348" y="4868062"/>
                  <a:pt x="887517" y="4870643"/>
                </a:cubicBezTo>
                <a:cubicBezTo>
                  <a:pt x="886897" y="4871056"/>
                  <a:pt x="885968" y="4871160"/>
                  <a:pt x="885039" y="4870953"/>
                </a:cubicBezTo>
                <a:cubicBezTo>
                  <a:pt x="882096" y="4870334"/>
                  <a:pt x="878223" y="4867339"/>
                  <a:pt x="876519" y="4865377"/>
                </a:cubicBezTo>
                <a:close/>
                <a:moveTo>
                  <a:pt x="1910142" y="4864448"/>
                </a:moveTo>
                <a:cubicBezTo>
                  <a:pt x="1910917" y="4864551"/>
                  <a:pt x="1910917" y="4865481"/>
                  <a:pt x="1909987" y="4866307"/>
                </a:cubicBezTo>
                <a:cubicBezTo>
                  <a:pt x="1909987" y="4866307"/>
                  <a:pt x="1909213" y="4866204"/>
                  <a:pt x="1909213" y="4866204"/>
                </a:cubicBezTo>
                <a:cubicBezTo>
                  <a:pt x="1909368" y="4865274"/>
                  <a:pt x="1909368" y="4864345"/>
                  <a:pt x="1910142" y="4864448"/>
                </a:cubicBezTo>
                <a:close/>
                <a:moveTo>
                  <a:pt x="1020883" y="4863725"/>
                </a:moveTo>
                <a:cubicBezTo>
                  <a:pt x="1020883" y="4863725"/>
                  <a:pt x="1021193" y="4864964"/>
                  <a:pt x="1021348" y="4866204"/>
                </a:cubicBezTo>
                <a:cubicBezTo>
                  <a:pt x="1021502" y="4867339"/>
                  <a:pt x="1021502" y="4867339"/>
                  <a:pt x="1022741" y="4867029"/>
                </a:cubicBezTo>
                <a:cubicBezTo>
                  <a:pt x="1022896" y="4868269"/>
                  <a:pt x="1022896" y="4868269"/>
                  <a:pt x="1021967" y="4869817"/>
                </a:cubicBezTo>
                <a:cubicBezTo>
                  <a:pt x="1021657" y="4868578"/>
                  <a:pt x="1019643" y="4864035"/>
                  <a:pt x="1020883" y="4863725"/>
                </a:cubicBezTo>
                <a:close/>
                <a:moveTo>
                  <a:pt x="5897415" y="4863704"/>
                </a:moveTo>
                <a:cubicBezTo>
                  <a:pt x="5899293" y="4862969"/>
                  <a:pt x="5901655" y="4863330"/>
                  <a:pt x="5902740" y="4864569"/>
                </a:cubicBezTo>
                <a:cubicBezTo>
                  <a:pt x="5902740" y="4867873"/>
                  <a:pt x="5899951" y="4870042"/>
                  <a:pt x="5897318" y="4870145"/>
                </a:cubicBezTo>
                <a:cubicBezTo>
                  <a:pt x="5896544" y="4870145"/>
                  <a:pt x="5895614" y="4869835"/>
                  <a:pt x="5894995" y="4869422"/>
                </a:cubicBezTo>
                <a:cubicBezTo>
                  <a:pt x="5894143" y="4866273"/>
                  <a:pt x="5895537" y="4864440"/>
                  <a:pt x="5897415" y="4863704"/>
                </a:cubicBezTo>
                <a:close/>
                <a:moveTo>
                  <a:pt x="2028793" y="4863622"/>
                </a:moveTo>
                <a:cubicBezTo>
                  <a:pt x="2030342" y="4865377"/>
                  <a:pt x="2030806" y="4867855"/>
                  <a:pt x="2029877" y="4868785"/>
                </a:cubicBezTo>
                <a:cubicBezTo>
                  <a:pt x="2028638" y="4870024"/>
                  <a:pt x="2027089" y="4871263"/>
                  <a:pt x="2025695" y="4870747"/>
                </a:cubicBezTo>
                <a:cubicBezTo>
                  <a:pt x="2025075" y="4870540"/>
                  <a:pt x="2024611" y="4870230"/>
                  <a:pt x="2023991" y="4869508"/>
                </a:cubicBezTo>
                <a:cubicBezTo>
                  <a:pt x="2023991" y="4869508"/>
                  <a:pt x="2023991" y="4869508"/>
                  <a:pt x="2024146" y="4868681"/>
                </a:cubicBezTo>
                <a:cubicBezTo>
                  <a:pt x="2024301" y="4866926"/>
                  <a:pt x="2024301" y="4866100"/>
                  <a:pt x="2024456" y="4865171"/>
                </a:cubicBezTo>
                <a:cubicBezTo>
                  <a:pt x="2025385" y="4864345"/>
                  <a:pt x="2028018" y="4862693"/>
                  <a:pt x="2028793" y="4863622"/>
                </a:cubicBezTo>
                <a:close/>
                <a:moveTo>
                  <a:pt x="1553726" y="4862899"/>
                </a:moveTo>
                <a:cubicBezTo>
                  <a:pt x="1553416" y="4865377"/>
                  <a:pt x="1553261" y="4866616"/>
                  <a:pt x="1553726" y="4868475"/>
                </a:cubicBezTo>
                <a:cubicBezTo>
                  <a:pt x="1550163" y="4868269"/>
                  <a:pt x="1547530" y="4869095"/>
                  <a:pt x="1545361" y="4869198"/>
                </a:cubicBezTo>
                <a:cubicBezTo>
                  <a:pt x="1543193" y="4869301"/>
                  <a:pt x="1541644" y="4868785"/>
                  <a:pt x="1540560" y="4865997"/>
                </a:cubicBezTo>
                <a:cubicBezTo>
                  <a:pt x="1542573" y="4863002"/>
                  <a:pt x="1548305" y="4863312"/>
                  <a:pt x="1553726" y="4862899"/>
                </a:cubicBezTo>
                <a:close/>
                <a:moveTo>
                  <a:pt x="1213574" y="4862383"/>
                </a:moveTo>
                <a:cubicBezTo>
                  <a:pt x="1214658" y="4862073"/>
                  <a:pt x="1215897" y="4861867"/>
                  <a:pt x="1216052" y="4863002"/>
                </a:cubicBezTo>
                <a:cubicBezTo>
                  <a:pt x="1216052" y="4863002"/>
                  <a:pt x="1215588" y="4863725"/>
                  <a:pt x="1213264" y="4864345"/>
                </a:cubicBezTo>
                <a:cubicBezTo>
                  <a:pt x="1213728" y="4863622"/>
                  <a:pt x="1213109" y="4863209"/>
                  <a:pt x="1213109" y="4863209"/>
                </a:cubicBezTo>
                <a:cubicBezTo>
                  <a:pt x="1213109" y="4863209"/>
                  <a:pt x="1213109" y="4863106"/>
                  <a:pt x="1212644" y="4863932"/>
                </a:cubicBezTo>
                <a:cubicBezTo>
                  <a:pt x="1212489" y="4863312"/>
                  <a:pt x="1212644" y="4863002"/>
                  <a:pt x="1212955" y="4862796"/>
                </a:cubicBezTo>
                <a:cubicBezTo>
                  <a:pt x="1213264" y="4862486"/>
                  <a:pt x="1213574" y="4862383"/>
                  <a:pt x="1213574" y="4862383"/>
                </a:cubicBezTo>
                <a:close/>
                <a:moveTo>
                  <a:pt x="6297261" y="4861781"/>
                </a:moveTo>
                <a:cubicBezTo>
                  <a:pt x="6299274" y="4859200"/>
                  <a:pt x="6301597" y="4860955"/>
                  <a:pt x="6304695" y="4861884"/>
                </a:cubicBezTo>
                <a:cubicBezTo>
                  <a:pt x="6303766" y="4862814"/>
                  <a:pt x="6304540" y="4863640"/>
                  <a:pt x="6305315" y="4864569"/>
                </a:cubicBezTo>
                <a:cubicBezTo>
                  <a:pt x="6303921" y="4865808"/>
                  <a:pt x="6302062" y="4868080"/>
                  <a:pt x="6299894" y="4867667"/>
                </a:cubicBezTo>
                <a:lnTo>
                  <a:pt x="6297880" y="4866221"/>
                </a:lnTo>
                <a:lnTo>
                  <a:pt x="6299894" y="4870145"/>
                </a:lnTo>
                <a:cubicBezTo>
                  <a:pt x="6300204" y="4871797"/>
                  <a:pt x="6299894" y="4873346"/>
                  <a:pt x="6299274" y="4874998"/>
                </a:cubicBezTo>
                <a:cubicBezTo>
                  <a:pt x="6295712" y="4884704"/>
                  <a:pt x="6278363" y="4893997"/>
                  <a:pt x="6270618" y="4894204"/>
                </a:cubicBezTo>
                <a:cubicBezTo>
                  <a:pt x="6268915" y="4890590"/>
                  <a:pt x="6269069" y="4887079"/>
                  <a:pt x="6270308" y="4883878"/>
                </a:cubicBezTo>
                <a:cubicBezTo>
                  <a:pt x="6273406" y="4876547"/>
                  <a:pt x="6282545" y="4870661"/>
                  <a:pt x="6290290" y="4867564"/>
                </a:cubicBezTo>
                <a:lnTo>
                  <a:pt x="6297416" y="4865395"/>
                </a:lnTo>
                <a:lnTo>
                  <a:pt x="6296951" y="4864259"/>
                </a:lnTo>
                <a:cubicBezTo>
                  <a:pt x="6296796" y="4863330"/>
                  <a:pt x="6296796" y="4862194"/>
                  <a:pt x="6297261" y="4861781"/>
                </a:cubicBezTo>
                <a:close/>
                <a:moveTo>
                  <a:pt x="1796758" y="4861660"/>
                </a:moveTo>
                <a:cubicBezTo>
                  <a:pt x="1796758" y="4861660"/>
                  <a:pt x="1796758" y="4861660"/>
                  <a:pt x="1797533" y="4861763"/>
                </a:cubicBezTo>
                <a:cubicBezTo>
                  <a:pt x="1799236" y="4862073"/>
                  <a:pt x="1800011" y="4862176"/>
                  <a:pt x="1800786" y="4862383"/>
                </a:cubicBezTo>
                <a:cubicBezTo>
                  <a:pt x="1801560" y="4863312"/>
                  <a:pt x="1803109" y="4866204"/>
                  <a:pt x="1802179" y="4866926"/>
                </a:cubicBezTo>
                <a:cubicBezTo>
                  <a:pt x="1801405" y="4867649"/>
                  <a:pt x="1800321" y="4868165"/>
                  <a:pt x="1799392" y="4868269"/>
                </a:cubicBezTo>
                <a:cubicBezTo>
                  <a:pt x="1798462" y="4868475"/>
                  <a:pt x="1797533" y="4868372"/>
                  <a:pt x="1797223" y="4867855"/>
                </a:cubicBezTo>
                <a:cubicBezTo>
                  <a:pt x="1795984" y="4866307"/>
                  <a:pt x="1794900" y="4864861"/>
                  <a:pt x="1795519" y="4863312"/>
                </a:cubicBezTo>
                <a:cubicBezTo>
                  <a:pt x="1795674" y="4862693"/>
                  <a:pt x="1795984" y="4862176"/>
                  <a:pt x="1796758" y="4861660"/>
                </a:cubicBezTo>
                <a:close/>
                <a:moveTo>
                  <a:pt x="1220234" y="4861247"/>
                </a:moveTo>
                <a:cubicBezTo>
                  <a:pt x="1221938" y="4860214"/>
                  <a:pt x="1222557" y="4860628"/>
                  <a:pt x="1223022" y="4863106"/>
                </a:cubicBezTo>
                <a:cubicBezTo>
                  <a:pt x="1222093" y="4863622"/>
                  <a:pt x="1220699" y="4863932"/>
                  <a:pt x="1219305" y="4863932"/>
                </a:cubicBezTo>
                <a:cubicBezTo>
                  <a:pt x="1217910" y="4864035"/>
                  <a:pt x="1216671" y="4863725"/>
                  <a:pt x="1216207" y="4862899"/>
                </a:cubicBezTo>
                <a:cubicBezTo>
                  <a:pt x="1217756" y="4861867"/>
                  <a:pt x="1218995" y="4861557"/>
                  <a:pt x="1220234" y="4861247"/>
                </a:cubicBezTo>
                <a:close/>
                <a:moveTo>
                  <a:pt x="1070914" y="4861247"/>
                </a:moveTo>
                <a:cubicBezTo>
                  <a:pt x="1072618" y="4861970"/>
                  <a:pt x="1074941" y="4860937"/>
                  <a:pt x="1076955" y="4862589"/>
                </a:cubicBezTo>
                <a:cubicBezTo>
                  <a:pt x="1076955" y="4862589"/>
                  <a:pt x="1077885" y="4863415"/>
                  <a:pt x="1078039" y="4865171"/>
                </a:cubicBezTo>
                <a:cubicBezTo>
                  <a:pt x="1080053" y="4867649"/>
                  <a:pt x="1078039" y="4870334"/>
                  <a:pt x="1078039" y="4870334"/>
                </a:cubicBezTo>
                <a:cubicBezTo>
                  <a:pt x="1078039" y="4870334"/>
                  <a:pt x="1078039" y="4870437"/>
                  <a:pt x="1078814" y="4870334"/>
                </a:cubicBezTo>
                <a:cubicBezTo>
                  <a:pt x="1077265" y="4870437"/>
                  <a:pt x="1075716" y="4871470"/>
                  <a:pt x="1074012" y="4871573"/>
                </a:cubicBezTo>
                <a:cubicBezTo>
                  <a:pt x="1066732" y="4866719"/>
                  <a:pt x="1068901" y="4864861"/>
                  <a:pt x="1070914" y="4861247"/>
                </a:cubicBezTo>
                <a:close/>
                <a:moveTo>
                  <a:pt x="1910297" y="4860008"/>
                </a:moveTo>
                <a:cubicBezTo>
                  <a:pt x="1910297" y="4860008"/>
                  <a:pt x="1910917" y="4861041"/>
                  <a:pt x="1910917" y="4861041"/>
                </a:cubicBezTo>
                <a:cubicBezTo>
                  <a:pt x="1910607" y="4861453"/>
                  <a:pt x="1910607" y="4861763"/>
                  <a:pt x="1910452" y="4861867"/>
                </a:cubicBezTo>
                <a:cubicBezTo>
                  <a:pt x="1910297" y="4861970"/>
                  <a:pt x="1910142" y="4861970"/>
                  <a:pt x="1909368" y="4861867"/>
                </a:cubicBezTo>
                <a:cubicBezTo>
                  <a:pt x="1910142" y="4861041"/>
                  <a:pt x="1910297" y="4860937"/>
                  <a:pt x="1910297" y="4860008"/>
                </a:cubicBezTo>
                <a:close/>
                <a:moveTo>
                  <a:pt x="748730" y="4859698"/>
                </a:moveTo>
                <a:cubicBezTo>
                  <a:pt x="755235" y="4862383"/>
                  <a:pt x="758489" y="4862486"/>
                  <a:pt x="763290" y="4865171"/>
                </a:cubicBezTo>
                <a:cubicBezTo>
                  <a:pt x="763290" y="4866100"/>
                  <a:pt x="762361" y="4866100"/>
                  <a:pt x="762361" y="4866926"/>
                </a:cubicBezTo>
                <a:cubicBezTo>
                  <a:pt x="761896" y="4867339"/>
                  <a:pt x="760967" y="4867546"/>
                  <a:pt x="760037" y="4867546"/>
                </a:cubicBezTo>
                <a:cubicBezTo>
                  <a:pt x="756940" y="4867442"/>
                  <a:pt x="752293" y="4865687"/>
                  <a:pt x="752447" y="4864964"/>
                </a:cubicBezTo>
                <a:cubicBezTo>
                  <a:pt x="751518" y="4864964"/>
                  <a:pt x="751673" y="4864138"/>
                  <a:pt x="750899" y="4864138"/>
                </a:cubicBezTo>
                <a:cubicBezTo>
                  <a:pt x="750899" y="4864138"/>
                  <a:pt x="749969" y="4864138"/>
                  <a:pt x="749194" y="4863209"/>
                </a:cubicBezTo>
                <a:cubicBezTo>
                  <a:pt x="748885" y="4862796"/>
                  <a:pt x="748420" y="4862280"/>
                  <a:pt x="748265" y="4861763"/>
                </a:cubicBezTo>
                <a:cubicBezTo>
                  <a:pt x="748111" y="4861144"/>
                  <a:pt x="748265" y="4860524"/>
                  <a:pt x="748730" y="4859698"/>
                </a:cubicBezTo>
                <a:close/>
                <a:moveTo>
                  <a:pt x="858551" y="4859079"/>
                </a:moveTo>
                <a:cubicBezTo>
                  <a:pt x="859325" y="4859905"/>
                  <a:pt x="860100" y="4860834"/>
                  <a:pt x="859946" y="4862589"/>
                </a:cubicBezTo>
                <a:cubicBezTo>
                  <a:pt x="858087" y="4864345"/>
                  <a:pt x="855608" y="4863415"/>
                  <a:pt x="854679" y="4864242"/>
                </a:cubicBezTo>
                <a:cubicBezTo>
                  <a:pt x="854834" y="4863312"/>
                  <a:pt x="854989" y="4861660"/>
                  <a:pt x="853285" y="4860731"/>
                </a:cubicBezTo>
                <a:cubicBezTo>
                  <a:pt x="855144" y="4859079"/>
                  <a:pt x="857002" y="4857323"/>
                  <a:pt x="858551" y="4859079"/>
                </a:cubicBezTo>
                <a:close/>
                <a:moveTo>
                  <a:pt x="5969345" y="4858890"/>
                </a:moveTo>
                <a:cubicBezTo>
                  <a:pt x="5970894" y="4859819"/>
                  <a:pt x="5971668" y="4860645"/>
                  <a:pt x="5973217" y="4861575"/>
                </a:cubicBezTo>
                <a:cubicBezTo>
                  <a:pt x="5972908" y="4864156"/>
                  <a:pt x="5975231" y="4866841"/>
                  <a:pt x="5971359" y="4872004"/>
                </a:cubicBezTo>
                <a:cubicBezTo>
                  <a:pt x="5966712" y="4877063"/>
                  <a:pt x="5962065" y="4872623"/>
                  <a:pt x="5961910" y="4873552"/>
                </a:cubicBezTo>
                <a:cubicBezTo>
                  <a:pt x="5960981" y="4874378"/>
                  <a:pt x="5960981" y="4874378"/>
                  <a:pt x="5960981" y="4875308"/>
                </a:cubicBezTo>
                <a:cubicBezTo>
                  <a:pt x="5960051" y="4875205"/>
                  <a:pt x="5958347" y="4876134"/>
                  <a:pt x="5957418" y="4876960"/>
                </a:cubicBezTo>
                <a:cubicBezTo>
                  <a:pt x="5957418" y="4876031"/>
                  <a:pt x="5957573" y="4875205"/>
                  <a:pt x="5956798" y="4875205"/>
                </a:cubicBezTo>
                <a:cubicBezTo>
                  <a:pt x="5958502" y="4873449"/>
                  <a:pt x="5959432" y="4873552"/>
                  <a:pt x="5960361" y="4872726"/>
                </a:cubicBezTo>
                <a:cubicBezTo>
                  <a:pt x="5959432" y="4872623"/>
                  <a:pt x="5960361" y="4871797"/>
                  <a:pt x="5960361" y="4871797"/>
                </a:cubicBezTo>
                <a:cubicBezTo>
                  <a:pt x="5960361" y="4871797"/>
                  <a:pt x="5960361" y="4871797"/>
                  <a:pt x="5958967" y="4870042"/>
                </a:cubicBezTo>
                <a:cubicBezTo>
                  <a:pt x="5958967" y="4870042"/>
                  <a:pt x="5956024" y="4865705"/>
                  <a:pt x="5959896" y="4861368"/>
                </a:cubicBezTo>
                <a:cubicBezTo>
                  <a:pt x="5960516" y="4862298"/>
                  <a:pt x="5966092" y="4857135"/>
                  <a:pt x="5969345" y="4858890"/>
                </a:cubicBezTo>
                <a:close/>
                <a:moveTo>
                  <a:pt x="1420050" y="4858769"/>
                </a:moveTo>
                <a:cubicBezTo>
                  <a:pt x="1426556" y="4863622"/>
                  <a:pt x="1423304" y="4870437"/>
                  <a:pt x="1418657" y="4871160"/>
                </a:cubicBezTo>
                <a:cubicBezTo>
                  <a:pt x="1417108" y="4871470"/>
                  <a:pt x="1415248" y="4871056"/>
                  <a:pt x="1413700" y="4869611"/>
                </a:cubicBezTo>
                <a:cubicBezTo>
                  <a:pt x="1414319" y="4864551"/>
                  <a:pt x="1414164" y="4858459"/>
                  <a:pt x="1420050" y="4858769"/>
                </a:cubicBezTo>
                <a:close/>
                <a:moveTo>
                  <a:pt x="1493491" y="4858743"/>
                </a:moveTo>
                <a:cubicBezTo>
                  <a:pt x="1495524" y="4859492"/>
                  <a:pt x="1497034" y="4861557"/>
                  <a:pt x="1495020" y="4863519"/>
                </a:cubicBezTo>
                <a:cubicBezTo>
                  <a:pt x="1493161" y="4863519"/>
                  <a:pt x="1490993" y="4862693"/>
                  <a:pt x="1488824" y="4861867"/>
                </a:cubicBezTo>
                <a:cubicBezTo>
                  <a:pt x="1488902" y="4858563"/>
                  <a:pt x="1491458" y="4857995"/>
                  <a:pt x="1493491" y="4858743"/>
                </a:cubicBezTo>
                <a:close/>
                <a:moveTo>
                  <a:pt x="1500751" y="4858666"/>
                </a:moveTo>
                <a:cubicBezTo>
                  <a:pt x="1503229" y="4858562"/>
                  <a:pt x="1504779" y="4858459"/>
                  <a:pt x="1506792" y="4860111"/>
                </a:cubicBezTo>
                <a:lnTo>
                  <a:pt x="1508806" y="4863106"/>
                </a:lnTo>
                <a:lnTo>
                  <a:pt x="1510510" y="4861763"/>
                </a:lnTo>
                <a:cubicBezTo>
                  <a:pt x="1515621" y="4859698"/>
                  <a:pt x="1521662" y="4859388"/>
                  <a:pt x="1523676" y="4868165"/>
                </a:cubicBezTo>
                <a:lnTo>
                  <a:pt x="1523831" y="4868681"/>
                </a:lnTo>
                <a:lnTo>
                  <a:pt x="1527858" y="4864242"/>
                </a:lnTo>
                <a:cubicBezTo>
                  <a:pt x="1531421" y="4869404"/>
                  <a:pt x="1535603" y="4869508"/>
                  <a:pt x="1536532" y="4874980"/>
                </a:cubicBezTo>
                <a:cubicBezTo>
                  <a:pt x="1535293" y="4876632"/>
                  <a:pt x="1533589" y="4877562"/>
                  <a:pt x="1532040" y="4877768"/>
                </a:cubicBezTo>
                <a:cubicBezTo>
                  <a:pt x="1529717" y="4878181"/>
                  <a:pt x="1527394" y="4877148"/>
                  <a:pt x="1525690" y="4875497"/>
                </a:cubicBezTo>
                <a:lnTo>
                  <a:pt x="1525225" y="4874257"/>
                </a:lnTo>
                <a:lnTo>
                  <a:pt x="1521972" y="4877045"/>
                </a:lnTo>
                <a:cubicBezTo>
                  <a:pt x="1521043" y="4878181"/>
                  <a:pt x="1519649" y="4879523"/>
                  <a:pt x="1516550" y="4880659"/>
                </a:cubicBezTo>
                <a:cubicBezTo>
                  <a:pt x="1514537" y="4881588"/>
                  <a:pt x="1512833" y="4881898"/>
                  <a:pt x="1511284" y="4881898"/>
                </a:cubicBezTo>
                <a:lnTo>
                  <a:pt x="1510200" y="4881692"/>
                </a:lnTo>
                <a:lnTo>
                  <a:pt x="1510510" y="4881898"/>
                </a:lnTo>
                <a:cubicBezTo>
                  <a:pt x="1512679" y="4884067"/>
                  <a:pt x="1514227" y="4886235"/>
                  <a:pt x="1513918" y="4887474"/>
                </a:cubicBezTo>
                <a:cubicBezTo>
                  <a:pt x="1513143" y="4887577"/>
                  <a:pt x="1512369" y="4887577"/>
                  <a:pt x="1511439" y="4886854"/>
                </a:cubicBezTo>
                <a:cubicBezTo>
                  <a:pt x="1510510" y="4886029"/>
                  <a:pt x="1511284" y="4885925"/>
                  <a:pt x="1510355" y="4885925"/>
                </a:cubicBezTo>
                <a:cubicBezTo>
                  <a:pt x="1509426" y="4885203"/>
                  <a:pt x="1509581" y="4886029"/>
                  <a:pt x="1509581" y="4886029"/>
                </a:cubicBezTo>
                <a:cubicBezTo>
                  <a:pt x="1509581" y="4886029"/>
                  <a:pt x="1509426" y="4885099"/>
                  <a:pt x="1509426" y="4885099"/>
                </a:cubicBezTo>
                <a:cubicBezTo>
                  <a:pt x="1509426" y="4885099"/>
                  <a:pt x="1509426" y="4885099"/>
                  <a:pt x="1507567" y="4883550"/>
                </a:cubicBezTo>
                <a:cubicBezTo>
                  <a:pt x="1504779" y="4881898"/>
                  <a:pt x="1504004" y="4882002"/>
                  <a:pt x="1502145" y="4881279"/>
                </a:cubicBezTo>
                <a:cubicBezTo>
                  <a:pt x="1500286" y="4879626"/>
                  <a:pt x="1500132" y="4878697"/>
                  <a:pt x="1497963" y="4876219"/>
                </a:cubicBezTo>
                <a:cubicBezTo>
                  <a:pt x="1498582" y="4874464"/>
                  <a:pt x="1498738" y="4874464"/>
                  <a:pt x="1499512" y="4874464"/>
                </a:cubicBezTo>
                <a:cubicBezTo>
                  <a:pt x="1498738" y="4874464"/>
                  <a:pt x="1498582" y="4873638"/>
                  <a:pt x="1497653" y="4872812"/>
                </a:cubicBezTo>
                <a:cubicBezTo>
                  <a:pt x="1493006" y="4870437"/>
                  <a:pt x="1494091" y="4865997"/>
                  <a:pt x="1496879" y="4861557"/>
                </a:cubicBezTo>
                <a:cubicBezTo>
                  <a:pt x="1497808" y="4862383"/>
                  <a:pt x="1499202" y="4859595"/>
                  <a:pt x="1500751" y="4858666"/>
                </a:cubicBezTo>
                <a:close/>
                <a:moveTo>
                  <a:pt x="1673635" y="4858478"/>
                </a:moveTo>
                <a:cubicBezTo>
                  <a:pt x="1675494" y="4857820"/>
                  <a:pt x="1677372" y="4857994"/>
                  <a:pt x="1679192" y="4859492"/>
                </a:cubicBezTo>
                <a:cubicBezTo>
                  <a:pt x="1675784" y="4863002"/>
                  <a:pt x="1667110" y="4874877"/>
                  <a:pt x="1661689" y="4874567"/>
                </a:cubicBezTo>
                <a:cubicBezTo>
                  <a:pt x="1660914" y="4874464"/>
                  <a:pt x="1660140" y="4874257"/>
                  <a:pt x="1659520" y="4873638"/>
                </a:cubicBezTo>
                <a:cubicBezTo>
                  <a:pt x="1662657" y="4869920"/>
                  <a:pt x="1668059" y="4860453"/>
                  <a:pt x="1673635" y="4858478"/>
                </a:cubicBezTo>
                <a:close/>
                <a:moveTo>
                  <a:pt x="1257254" y="4857323"/>
                </a:moveTo>
                <a:cubicBezTo>
                  <a:pt x="1257874" y="4857737"/>
                  <a:pt x="1259733" y="4857840"/>
                  <a:pt x="1259888" y="4859079"/>
                </a:cubicBezTo>
                <a:cubicBezTo>
                  <a:pt x="1260197" y="4860318"/>
                  <a:pt x="1260197" y="4860318"/>
                  <a:pt x="1259113" y="4861763"/>
                </a:cubicBezTo>
                <a:cubicBezTo>
                  <a:pt x="1258339" y="4860731"/>
                  <a:pt x="1258029" y="4860214"/>
                  <a:pt x="1257719" y="4859698"/>
                </a:cubicBezTo>
                <a:cubicBezTo>
                  <a:pt x="1257564" y="4859079"/>
                  <a:pt x="1257409" y="4858562"/>
                  <a:pt x="1257254" y="4857323"/>
                </a:cubicBezTo>
                <a:close/>
                <a:moveTo>
                  <a:pt x="1255241" y="4855981"/>
                </a:moveTo>
                <a:cubicBezTo>
                  <a:pt x="1255706" y="4855258"/>
                  <a:pt x="1256480" y="4855775"/>
                  <a:pt x="1256790" y="4856910"/>
                </a:cubicBezTo>
                <a:cubicBezTo>
                  <a:pt x="1256790" y="4856910"/>
                  <a:pt x="1256325" y="4857633"/>
                  <a:pt x="1256325" y="4857633"/>
                </a:cubicBezTo>
                <a:cubicBezTo>
                  <a:pt x="1255860" y="4857323"/>
                  <a:pt x="1255551" y="4857117"/>
                  <a:pt x="1255241" y="4856910"/>
                </a:cubicBezTo>
                <a:cubicBezTo>
                  <a:pt x="1255086" y="4856601"/>
                  <a:pt x="1255086" y="4856291"/>
                  <a:pt x="1255241" y="4855981"/>
                </a:cubicBezTo>
                <a:close/>
                <a:moveTo>
                  <a:pt x="6042301" y="4855689"/>
                </a:moveTo>
                <a:cubicBezTo>
                  <a:pt x="6042301" y="4856515"/>
                  <a:pt x="6041062" y="4859097"/>
                  <a:pt x="6041991" y="4859097"/>
                </a:cubicBezTo>
                <a:cubicBezTo>
                  <a:pt x="6039823" y="4861059"/>
                  <a:pt x="6037345" y="4863020"/>
                  <a:pt x="6035176" y="4863124"/>
                </a:cubicBezTo>
                <a:cubicBezTo>
                  <a:pt x="6034556" y="4863124"/>
                  <a:pt x="6033937" y="4862917"/>
                  <a:pt x="6033317" y="4862504"/>
                </a:cubicBezTo>
                <a:cubicBezTo>
                  <a:pt x="6031768" y="4861575"/>
                  <a:pt x="6032698" y="4859923"/>
                  <a:pt x="6034556" y="4858167"/>
                </a:cubicBezTo>
                <a:cubicBezTo>
                  <a:pt x="6037500" y="4853831"/>
                  <a:pt x="6040133" y="4853004"/>
                  <a:pt x="6042301" y="4855689"/>
                </a:cubicBezTo>
                <a:close/>
                <a:moveTo>
                  <a:pt x="1844157" y="4854845"/>
                </a:moveTo>
                <a:cubicBezTo>
                  <a:pt x="1845086" y="4856394"/>
                  <a:pt x="1848339" y="4855361"/>
                  <a:pt x="1848029" y="4857737"/>
                </a:cubicBezTo>
                <a:cubicBezTo>
                  <a:pt x="1846790" y="4857427"/>
                  <a:pt x="1845086" y="4856394"/>
                  <a:pt x="1844001" y="4856084"/>
                </a:cubicBezTo>
                <a:cubicBezTo>
                  <a:pt x="1844001" y="4856084"/>
                  <a:pt x="1844001" y="4856084"/>
                  <a:pt x="1844157" y="4854845"/>
                </a:cubicBezTo>
                <a:close/>
                <a:moveTo>
                  <a:pt x="998423" y="4854845"/>
                </a:moveTo>
                <a:cubicBezTo>
                  <a:pt x="1000591" y="4856291"/>
                  <a:pt x="1001521" y="4858252"/>
                  <a:pt x="1001366" y="4860111"/>
                </a:cubicBezTo>
                <a:cubicBezTo>
                  <a:pt x="1001211" y="4863209"/>
                  <a:pt x="998577" y="4866204"/>
                  <a:pt x="995480" y="4866926"/>
                </a:cubicBezTo>
                <a:cubicBezTo>
                  <a:pt x="994550" y="4867236"/>
                  <a:pt x="993466" y="4867236"/>
                  <a:pt x="992537" y="4866926"/>
                </a:cubicBezTo>
                <a:cubicBezTo>
                  <a:pt x="991297" y="4866513"/>
                  <a:pt x="990213" y="4865481"/>
                  <a:pt x="989283" y="4863829"/>
                </a:cubicBezTo>
                <a:cubicBezTo>
                  <a:pt x="989904" y="4860318"/>
                  <a:pt x="995790" y="4855465"/>
                  <a:pt x="998423" y="4854845"/>
                </a:cubicBezTo>
                <a:close/>
                <a:moveTo>
                  <a:pt x="907653" y="4854535"/>
                </a:moveTo>
                <a:lnTo>
                  <a:pt x="907963" y="4854845"/>
                </a:lnTo>
                <a:lnTo>
                  <a:pt x="916328" y="4859182"/>
                </a:lnTo>
                <a:cubicBezTo>
                  <a:pt x="917102" y="4860111"/>
                  <a:pt x="918496" y="4863519"/>
                  <a:pt x="917567" y="4864448"/>
                </a:cubicBezTo>
                <a:cubicBezTo>
                  <a:pt x="916637" y="4865274"/>
                  <a:pt x="915863" y="4865274"/>
                  <a:pt x="914934" y="4865274"/>
                </a:cubicBezTo>
                <a:lnTo>
                  <a:pt x="911216" y="4863106"/>
                </a:lnTo>
                <a:lnTo>
                  <a:pt x="911216" y="4864964"/>
                </a:lnTo>
                <a:cubicBezTo>
                  <a:pt x="910751" y="4866926"/>
                  <a:pt x="909977" y="4868578"/>
                  <a:pt x="909048" y="4869095"/>
                </a:cubicBezTo>
                <a:cubicBezTo>
                  <a:pt x="906724" y="4869714"/>
                  <a:pt x="903626" y="4868681"/>
                  <a:pt x="903006" y="4865171"/>
                </a:cubicBezTo>
                <a:cubicBezTo>
                  <a:pt x="901922" y="4862280"/>
                  <a:pt x="903781" y="4859285"/>
                  <a:pt x="903161" y="4855671"/>
                </a:cubicBezTo>
                <a:cubicBezTo>
                  <a:pt x="905175" y="4854845"/>
                  <a:pt x="906569" y="4854329"/>
                  <a:pt x="907653" y="4854535"/>
                </a:cubicBezTo>
                <a:close/>
                <a:moveTo>
                  <a:pt x="956446" y="4854122"/>
                </a:moveTo>
                <a:cubicBezTo>
                  <a:pt x="958304" y="4855775"/>
                  <a:pt x="961093" y="4858252"/>
                  <a:pt x="959854" y="4860937"/>
                </a:cubicBezTo>
                <a:cubicBezTo>
                  <a:pt x="958924" y="4860937"/>
                  <a:pt x="959079" y="4861867"/>
                  <a:pt x="958304" y="4861867"/>
                </a:cubicBezTo>
                <a:cubicBezTo>
                  <a:pt x="958304" y="4861867"/>
                  <a:pt x="957530" y="4862383"/>
                  <a:pt x="956291" y="4862589"/>
                </a:cubicBezTo>
                <a:cubicBezTo>
                  <a:pt x="955671" y="4862693"/>
                  <a:pt x="955052" y="4862693"/>
                  <a:pt x="954122" y="4862486"/>
                </a:cubicBezTo>
                <a:cubicBezTo>
                  <a:pt x="953348" y="4862280"/>
                  <a:pt x="952419" y="4861970"/>
                  <a:pt x="951489" y="4861350"/>
                </a:cubicBezTo>
                <a:cubicBezTo>
                  <a:pt x="950560" y="4860524"/>
                  <a:pt x="948546" y="4858046"/>
                  <a:pt x="949475" y="4857943"/>
                </a:cubicBezTo>
                <a:cubicBezTo>
                  <a:pt x="950095" y="4857014"/>
                  <a:pt x="949321" y="4857117"/>
                  <a:pt x="949166" y="4856187"/>
                </a:cubicBezTo>
                <a:cubicBezTo>
                  <a:pt x="951334" y="4853503"/>
                  <a:pt x="953658" y="4852470"/>
                  <a:pt x="956446" y="4854122"/>
                </a:cubicBezTo>
                <a:close/>
                <a:moveTo>
                  <a:pt x="1015616" y="4854019"/>
                </a:moveTo>
                <a:cubicBezTo>
                  <a:pt x="1016855" y="4853709"/>
                  <a:pt x="1017475" y="4854226"/>
                  <a:pt x="1018095" y="4854639"/>
                </a:cubicBezTo>
                <a:cubicBezTo>
                  <a:pt x="1018404" y="4855775"/>
                  <a:pt x="1017939" y="4856497"/>
                  <a:pt x="1018095" y="4857737"/>
                </a:cubicBezTo>
                <a:cubicBezTo>
                  <a:pt x="1018714" y="4858149"/>
                  <a:pt x="1020108" y="4859079"/>
                  <a:pt x="1020263" y="4860214"/>
                </a:cubicBezTo>
                <a:cubicBezTo>
                  <a:pt x="1020418" y="4861453"/>
                  <a:pt x="1020263" y="4863312"/>
                  <a:pt x="1020263" y="4863312"/>
                </a:cubicBezTo>
                <a:cubicBezTo>
                  <a:pt x="1019643" y="4863519"/>
                  <a:pt x="1019334" y="4863622"/>
                  <a:pt x="1019179" y="4863519"/>
                </a:cubicBezTo>
                <a:cubicBezTo>
                  <a:pt x="1019179" y="4863415"/>
                  <a:pt x="1019179" y="4863209"/>
                  <a:pt x="1019488" y="4862899"/>
                </a:cubicBezTo>
                <a:cubicBezTo>
                  <a:pt x="1018559" y="4861247"/>
                  <a:pt x="1019334" y="4861660"/>
                  <a:pt x="1019179" y="4860524"/>
                </a:cubicBezTo>
                <a:cubicBezTo>
                  <a:pt x="1018870" y="4859285"/>
                  <a:pt x="1016546" y="4855671"/>
                  <a:pt x="1015307" y="4855981"/>
                </a:cubicBezTo>
                <a:cubicBezTo>
                  <a:pt x="1015771" y="4855258"/>
                  <a:pt x="1015616" y="4854019"/>
                  <a:pt x="1015616" y="4854019"/>
                </a:cubicBezTo>
                <a:close/>
                <a:moveTo>
                  <a:pt x="1880228" y="4853645"/>
                </a:moveTo>
                <a:cubicBezTo>
                  <a:pt x="1886172" y="4851928"/>
                  <a:pt x="1892794" y="4852987"/>
                  <a:pt x="1897441" y="4856394"/>
                </a:cubicBezTo>
                <a:lnTo>
                  <a:pt x="1901623" y="4861350"/>
                </a:lnTo>
                <a:lnTo>
                  <a:pt x="1903172" y="4860008"/>
                </a:lnTo>
                <a:cubicBezTo>
                  <a:pt x="1904721" y="4859182"/>
                  <a:pt x="1906424" y="4858872"/>
                  <a:pt x="1907354" y="4859285"/>
                </a:cubicBezTo>
                <a:cubicBezTo>
                  <a:pt x="1909213" y="4860937"/>
                  <a:pt x="1910452" y="4864345"/>
                  <a:pt x="1908439" y="4867029"/>
                </a:cubicBezTo>
                <a:cubicBezTo>
                  <a:pt x="1907664" y="4868372"/>
                  <a:pt x="1906580" y="4869095"/>
                  <a:pt x="1905340" y="4869817"/>
                </a:cubicBezTo>
                <a:lnTo>
                  <a:pt x="1902398" y="4872089"/>
                </a:lnTo>
                <a:lnTo>
                  <a:pt x="1900849" y="4877975"/>
                </a:lnTo>
                <a:cubicBezTo>
                  <a:pt x="1896046" y="4886958"/>
                  <a:pt x="1885824" y="4889230"/>
                  <a:pt x="1876065" y="4897696"/>
                </a:cubicBezTo>
                <a:cubicBezTo>
                  <a:pt x="1877769" y="4887784"/>
                  <a:pt x="1869869" y="4882621"/>
                  <a:pt x="1867391" y="4875497"/>
                </a:cubicBezTo>
                <a:lnTo>
                  <a:pt x="1866926" y="4873225"/>
                </a:lnTo>
                <a:lnTo>
                  <a:pt x="1863209" y="4871882"/>
                </a:lnTo>
                <a:cubicBezTo>
                  <a:pt x="1862589" y="4871470"/>
                  <a:pt x="1862124" y="4870850"/>
                  <a:pt x="1862124" y="4870127"/>
                </a:cubicBezTo>
                <a:cubicBezTo>
                  <a:pt x="1862279" y="4868888"/>
                  <a:pt x="1863518" y="4869301"/>
                  <a:pt x="1864138" y="4868785"/>
                </a:cubicBezTo>
                <a:lnTo>
                  <a:pt x="1866771" y="4870024"/>
                </a:lnTo>
                <a:lnTo>
                  <a:pt x="1867081" y="4867546"/>
                </a:lnTo>
                <a:cubicBezTo>
                  <a:pt x="1869017" y="4859853"/>
                  <a:pt x="1874284" y="4855362"/>
                  <a:pt x="1880228" y="4853645"/>
                </a:cubicBezTo>
                <a:close/>
                <a:moveTo>
                  <a:pt x="1252917" y="4853503"/>
                </a:moveTo>
                <a:cubicBezTo>
                  <a:pt x="1253227" y="4854639"/>
                  <a:pt x="1253692" y="4854019"/>
                  <a:pt x="1252763" y="4855361"/>
                </a:cubicBezTo>
                <a:cubicBezTo>
                  <a:pt x="1252453" y="4854226"/>
                  <a:pt x="1252453" y="4854226"/>
                  <a:pt x="1251833" y="4853709"/>
                </a:cubicBezTo>
                <a:cubicBezTo>
                  <a:pt x="1251833" y="4853709"/>
                  <a:pt x="1252917" y="4853503"/>
                  <a:pt x="1252917" y="4853503"/>
                </a:cubicBezTo>
                <a:close/>
                <a:moveTo>
                  <a:pt x="1670518" y="4852264"/>
                </a:moveTo>
                <a:cubicBezTo>
                  <a:pt x="1672067" y="4851747"/>
                  <a:pt x="1674081" y="4852161"/>
                  <a:pt x="1676559" y="4854329"/>
                </a:cubicBezTo>
                <a:cubicBezTo>
                  <a:pt x="1676249" y="4858975"/>
                  <a:pt x="1673616" y="4858769"/>
                  <a:pt x="1670828" y="4858666"/>
                </a:cubicBezTo>
                <a:cubicBezTo>
                  <a:pt x="1671602" y="4855671"/>
                  <a:pt x="1667885" y="4854845"/>
                  <a:pt x="1670518" y="4852264"/>
                </a:cubicBezTo>
                <a:close/>
                <a:moveTo>
                  <a:pt x="6051905" y="4852178"/>
                </a:moveTo>
                <a:cubicBezTo>
                  <a:pt x="6051750" y="4853108"/>
                  <a:pt x="6052369" y="4854966"/>
                  <a:pt x="6051595" y="4854966"/>
                </a:cubicBezTo>
                <a:cubicBezTo>
                  <a:pt x="6051440" y="4855792"/>
                  <a:pt x="6049891" y="4855792"/>
                  <a:pt x="6049891" y="4855792"/>
                </a:cubicBezTo>
                <a:cubicBezTo>
                  <a:pt x="6049736" y="4856722"/>
                  <a:pt x="6049736" y="4857548"/>
                  <a:pt x="6048807" y="4858477"/>
                </a:cubicBezTo>
                <a:cubicBezTo>
                  <a:pt x="6048032" y="4857548"/>
                  <a:pt x="6048032" y="4858477"/>
                  <a:pt x="6047258" y="4858477"/>
                </a:cubicBezTo>
                <a:cubicBezTo>
                  <a:pt x="6048032" y="4857548"/>
                  <a:pt x="6048342" y="4854863"/>
                  <a:pt x="6049426" y="4853108"/>
                </a:cubicBezTo>
                <a:cubicBezTo>
                  <a:pt x="6050201" y="4853108"/>
                  <a:pt x="6051130" y="4852178"/>
                  <a:pt x="6051905" y="4852178"/>
                </a:cubicBezTo>
                <a:close/>
                <a:moveTo>
                  <a:pt x="1111497" y="4852161"/>
                </a:moveTo>
                <a:cubicBezTo>
                  <a:pt x="1121565" y="4852986"/>
                  <a:pt x="1129000" y="4856187"/>
                  <a:pt x="1134112" y="4861350"/>
                </a:cubicBezTo>
                <a:cubicBezTo>
                  <a:pt x="1135816" y="4863106"/>
                  <a:pt x="1137364" y="4865171"/>
                  <a:pt x="1138604" y="4867339"/>
                </a:cubicBezTo>
                <a:cubicBezTo>
                  <a:pt x="1133337" y="4872089"/>
                  <a:pt x="1127452" y="4867546"/>
                  <a:pt x="1122340" y="4865481"/>
                </a:cubicBezTo>
                <a:cubicBezTo>
                  <a:pt x="1121720" y="4871676"/>
                  <a:pt x="1122340" y="4880866"/>
                  <a:pt x="1115834" y="4881279"/>
                </a:cubicBezTo>
                <a:cubicBezTo>
                  <a:pt x="1114750" y="4880143"/>
                  <a:pt x="1114130" y="4878801"/>
                  <a:pt x="1113820" y="4877355"/>
                </a:cubicBezTo>
                <a:cubicBezTo>
                  <a:pt x="1113201" y="4872915"/>
                  <a:pt x="1115989" y="4867133"/>
                  <a:pt x="1115679" y="4861557"/>
                </a:cubicBezTo>
                <a:cubicBezTo>
                  <a:pt x="1114285" y="4858459"/>
                  <a:pt x="1110103" y="4858872"/>
                  <a:pt x="1111497" y="4852161"/>
                </a:cubicBezTo>
                <a:close/>
                <a:moveTo>
                  <a:pt x="1548459" y="4851954"/>
                </a:moveTo>
                <a:cubicBezTo>
                  <a:pt x="1550163" y="4852883"/>
                  <a:pt x="1551093" y="4852986"/>
                  <a:pt x="1552642" y="4852161"/>
                </a:cubicBezTo>
                <a:cubicBezTo>
                  <a:pt x="1552642" y="4852161"/>
                  <a:pt x="1552642" y="4852161"/>
                  <a:pt x="1554500" y="4854019"/>
                </a:cubicBezTo>
                <a:lnTo>
                  <a:pt x="1554500" y="4854845"/>
                </a:lnTo>
                <a:cubicBezTo>
                  <a:pt x="1554345" y="4855258"/>
                  <a:pt x="1553571" y="4855465"/>
                  <a:pt x="1552642" y="4855465"/>
                </a:cubicBezTo>
                <a:cubicBezTo>
                  <a:pt x="1550008" y="4855568"/>
                  <a:pt x="1545052" y="4854432"/>
                  <a:pt x="1544432" y="4854329"/>
                </a:cubicBezTo>
                <a:cubicBezTo>
                  <a:pt x="1544432" y="4854329"/>
                  <a:pt x="1543658" y="4854329"/>
                  <a:pt x="1542728" y="4854329"/>
                </a:cubicBezTo>
                <a:cubicBezTo>
                  <a:pt x="1541954" y="4853400"/>
                  <a:pt x="1541799" y="4852574"/>
                  <a:pt x="1541024" y="4852470"/>
                </a:cubicBezTo>
                <a:cubicBezTo>
                  <a:pt x="1543348" y="4849992"/>
                  <a:pt x="1545981" y="4851025"/>
                  <a:pt x="1548459" y="4851954"/>
                </a:cubicBezTo>
                <a:close/>
                <a:moveTo>
                  <a:pt x="1144954" y="4851541"/>
                </a:moveTo>
                <a:cubicBezTo>
                  <a:pt x="1147898" y="4851438"/>
                  <a:pt x="1148827" y="4852986"/>
                  <a:pt x="1150531" y="4856084"/>
                </a:cubicBezTo>
                <a:cubicBezTo>
                  <a:pt x="1148517" y="4856394"/>
                  <a:pt x="1147123" y="4856084"/>
                  <a:pt x="1146349" y="4855361"/>
                </a:cubicBezTo>
                <a:cubicBezTo>
                  <a:pt x="1145574" y="4854535"/>
                  <a:pt x="1145265" y="4853296"/>
                  <a:pt x="1144954" y="4851541"/>
                </a:cubicBezTo>
                <a:close/>
                <a:moveTo>
                  <a:pt x="1045046" y="4851438"/>
                </a:moveTo>
                <a:cubicBezTo>
                  <a:pt x="1048919" y="4851025"/>
                  <a:pt x="1051397" y="4851954"/>
                  <a:pt x="1052946" y="4853606"/>
                </a:cubicBezTo>
                <a:cubicBezTo>
                  <a:pt x="1057284" y="4858666"/>
                  <a:pt x="1051862" y="4870230"/>
                  <a:pt x="1043033" y="4869817"/>
                </a:cubicBezTo>
                <a:cubicBezTo>
                  <a:pt x="1042103" y="4868888"/>
                  <a:pt x="1041484" y="4867442"/>
                  <a:pt x="1041174" y="4865894"/>
                </a:cubicBezTo>
                <a:cubicBezTo>
                  <a:pt x="1040090" y="4860937"/>
                  <a:pt x="1042258" y="4854122"/>
                  <a:pt x="1045046" y="4851438"/>
                </a:cubicBezTo>
                <a:close/>
                <a:moveTo>
                  <a:pt x="1025529" y="4851025"/>
                </a:moveTo>
                <a:cubicBezTo>
                  <a:pt x="1027233" y="4861041"/>
                  <a:pt x="1032810" y="4866823"/>
                  <a:pt x="1032655" y="4878387"/>
                </a:cubicBezTo>
                <a:cubicBezTo>
                  <a:pt x="1024600" y="4875909"/>
                  <a:pt x="1017475" y="4855258"/>
                  <a:pt x="1025529" y="4851025"/>
                </a:cubicBezTo>
                <a:close/>
                <a:moveTo>
                  <a:pt x="956601" y="4851025"/>
                </a:moveTo>
                <a:cubicBezTo>
                  <a:pt x="957530" y="4850095"/>
                  <a:pt x="957375" y="4851025"/>
                  <a:pt x="958149" y="4851025"/>
                </a:cubicBezTo>
                <a:cubicBezTo>
                  <a:pt x="957685" y="4851541"/>
                  <a:pt x="957530" y="4851747"/>
                  <a:pt x="957220" y="4851747"/>
                </a:cubicBezTo>
                <a:cubicBezTo>
                  <a:pt x="957065" y="4851747"/>
                  <a:pt x="956911" y="4851541"/>
                  <a:pt x="956601" y="4851025"/>
                </a:cubicBezTo>
                <a:close/>
                <a:moveTo>
                  <a:pt x="959234" y="4850508"/>
                </a:moveTo>
                <a:cubicBezTo>
                  <a:pt x="960163" y="4851335"/>
                  <a:pt x="961248" y="4852986"/>
                  <a:pt x="960473" y="4853813"/>
                </a:cubicBezTo>
                <a:cubicBezTo>
                  <a:pt x="960163" y="4854742"/>
                  <a:pt x="959854" y="4854742"/>
                  <a:pt x="959234" y="4854535"/>
                </a:cubicBezTo>
                <a:cubicBezTo>
                  <a:pt x="958615" y="4854226"/>
                  <a:pt x="957995" y="4853606"/>
                  <a:pt x="957065" y="4853193"/>
                </a:cubicBezTo>
                <a:close/>
                <a:moveTo>
                  <a:pt x="1862861" y="4850121"/>
                </a:moveTo>
                <a:cubicBezTo>
                  <a:pt x="1865532" y="4849579"/>
                  <a:pt x="1868475" y="4851025"/>
                  <a:pt x="1869869" y="4855052"/>
                </a:cubicBezTo>
                <a:cubicBezTo>
                  <a:pt x="1869714" y="4858459"/>
                  <a:pt x="1867701" y="4861041"/>
                  <a:pt x="1865222" y="4861660"/>
                </a:cubicBezTo>
                <a:cubicBezTo>
                  <a:pt x="1862744" y="4862280"/>
                  <a:pt x="1859801" y="4861041"/>
                  <a:pt x="1857478" y="4857117"/>
                </a:cubicBezTo>
                <a:cubicBezTo>
                  <a:pt x="1857787" y="4853193"/>
                  <a:pt x="1860188" y="4850663"/>
                  <a:pt x="1862861" y="4850121"/>
                </a:cubicBezTo>
                <a:close/>
                <a:moveTo>
                  <a:pt x="1310132" y="4849502"/>
                </a:moveTo>
                <a:cubicBezTo>
                  <a:pt x="1311933" y="4850250"/>
                  <a:pt x="1313869" y="4851644"/>
                  <a:pt x="1316424" y="4852264"/>
                </a:cubicBezTo>
                <a:cubicBezTo>
                  <a:pt x="1315650" y="4854535"/>
                  <a:pt x="1313327" y="4855775"/>
                  <a:pt x="1311158" y="4856187"/>
                </a:cubicBezTo>
                <a:cubicBezTo>
                  <a:pt x="1308835" y="4856497"/>
                  <a:pt x="1306511" y="4855981"/>
                  <a:pt x="1305272" y="4854535"/>
                </a:cubicBezTo>
                <a:cubicBezTo>
                  <a:pt x="1304498" y="4853606"/>
                  <a:pt x="1304033" y="4852264"/>
                  <a:pt x="1304653" y="4850612"/>
                </a:cubicBezTo>
                <a:cubicBezTo>
                  <a:pt x="1306666" y="4848650"/>
                  <a:pt x="1308331" y="4848753"/>
                  <a:pt x="1310132" y="4849502"/>
                </a:cubicBezTo>
                <a:close/>
                <a:moveTo>
                  <a:pt x="6377342" y="4848461"/>
                </a:moveTo>
                <a:cubicBezTo>
                  <a:pt x="6382453" y="4849700"/>
                  <a:pt x="6382918" y="4853211"/>
                  <a:pt x="6380285" y="4858271"/>
                </a:cubicBezTo>
                <a:cubicBezTo>
                  <a:pt x="6378426" y="4858271"/>
                  <a:pt x="6376877" y="4858993"/>
                  <a:pt x="6374244" y="4859406"/>
                </a:cubicBezTo>
                <a:cubicBezTo>
                  <a:pt x="6373315" y="4857032"/>
                  <a:pt x="6373779" y="4851249"/>
                  <a:pt x="6377342" y="4848461"/>
                </a:cubicBezTo>
                <a:close/>
                <a:moveTo>
                  <a:pt x="1517325" y="4848030"/>
                </a:moveTo>
                <a:cubicBezTo>
                  <a:pt x="1518448" y="4848882"/>
                  <a:pt x="1518720" y="4850663"/>
                  <a:pt x="1519339" y="4852677"/>
                </a:cubicBezTo>
                <a:cubicBezTo>
                  <a:pt x="1517790" y="4853709"/>
                  <a:pt x="1517016" y="4856394"/>
                  <a:pt x="1514692" y="4857117"/>
                </a:cubicBezTo>
                <a:cubicBezTo>
                  <a:pt x="1514692" y="4857117"/>
                  <a:pt x="1514382" y="4857117"/>
                  <a:pt x="1513918" y="4857117"/>
                </a:cubicBezTo>
                <a:cubicBezTo>
                  <a:pt x="1513453" y="4857117"/>
                  <a:pt x="1512833" y="4856910"/>
                  <a:pt x="1512059" y="4856497"/>
                </a:cubicBezTo>
                <a:cubicBezTo>
                  <a:pt x="1509116" y="4856704"/>
                  <a:pt x="1508496" y="4853090"/>
                  <a:pt x="1508496" y="4853090"/>
                </a:cubicBezTo>
                <a:cubicBezTo>
                  <a:pt x="1508496" y="4853090"/>
                  <a:pt x="1508496" y="4853193"/>
                  <a:pt x="1508032" y="4853916"/>
                </a:cubicBezTo>
                <a:cubicBezTo>
                  <a:pt x="1508961" y="4852367"/>
                  <a:pt x="1509271" y="4850405"/>
                  <a:pt x="1510200" y="4848960"/>
                </a:cubicBezTo>
                <a:cubicBezTo>
                  <a:pt x="1514227" y="4847256"/>
                  <a:pt x="1516202" y="4847179"/>
                  <a:pt x="1517325" y="4848030"/>
                </a:cubicBezTo>
                <a:close/>
                <a:moveTo>
                  <a:pt x="1913240" y="4846585"/>
                </a:moveTo>
                <a:cubicBezTo>
                  <a:pt x="1913240" y="4848237"/>
                  <a:pt x="1912001" y="4857633"/>
                  <a:pt x="1910452" y="4860008"/>
                </a:cubicBezTo>
                <a:cubicBezTo>
                  <a:pt x="1911381" y="4855775"/>
                  <a:pt x="1910762" y="4849682"/>
                  <a:pt x="1913240" y="4846585"/>
                </a:cubicBezTo>
                <a:close/>
                <a:moveTo>
                  <a:pt x="1447467" y="4846378"/>
                </a:moveTo>
                <a:cubicBezTo>
                  <a:pt x="1448241" y="4844726"/>
                  <a:pt x="1450875" y="4848340"/>
                  <a:pt x="1451649" y="4846585"/>
                </a:cubicBezTo>
                <a:cubicBezTo>
                  <a:pt x="1455057" y="4850302"/>
                  <a:pt x="1459084" y="4846069"/>
                  <a:pt x="1465125" y="4850715"/>
                </a:cubicBezTo>
                <a:cubicBezTo>
                  <a:pt x="1463111" y="4851335"/>
                  <a:pt x="1461253" y="4851541"/>
                  <a:pt x="1459394" y="4851541"/>
                </a:cubicBezTo>
                <a:cubicBezTo>
                  <a:pt x="1453972" y="4851438"/>
                  <a:pt x="1449791" y="4849579"/>
                  <a:pt x="1446073" y="4850715"/>
                </a:cubicBezTo>
                <a:cubicBezTo>
                  <a:pt x="1446073" y="4850715"/>
                  <a:pt x="1446073" y="4850818"/>
                  <a:pt x="1444369" y="4848960"/>
                </a:cubicBezTo>
                <a:cubicBezTo>
                  <a:pt x="1443439" y="4848856"/>
                  <a:pt x="1443439" y="4848856"/>
                  <a:pt x="1443439" y="4848856"/>
                </a:cubicBezTo>
                <a:cubicBezTo>
                  <a:pt x="1442665" y="4848856"/>
                  <a:pt x="1442510" y="4847101"/>
                  <a:pt x="1442510" y="4847101"/>
                </a:cubicBezTo>
                <a:cubicBezTo>
                  <a:pt x="1443285" y="4845346"/>
                  <a:pt x="1445918" y="4846378"/>
                  <a:pt x="1447467" y="4846378"/>
                </a:cubicBezTo>
                <a:close/>
                <a:moveTo>
                  <a:pt x="967908" y="4846378"/>
                </a:moveTo>
                <a:cubicBezTo>
                  <a:pt x="968682" y="4846378"/>
                  <a:pt x="968838" y="4847204"/>
                  <a:pt x="969767" y="4848030"/>
                </a:cubicBezTo>
                <a:cubicBezTo>
                  <a:pt x="970851" y="4849682"/>
                  <a:pt x="971161" y="4852264"/>
                  <a:pt x="970386" y="4853193"/>
                </a:cubicBezTo>
                <a:cubicBezTo>
                  <a:pt x="969767" y="4854122"/>
                  <a:pt x="968838" y="4854122"/>
                  <a:pt x="968838" y="4854122"/>
                </a:cubicBezTo>
                <a:cubicBezTo>
                  <a:pt x="966205" y="4852574"/>
                  <a:pt x="964191" y="4850095"/>
                  <a:pt x="966360" y="4847411"/>
                </a:cubicBezTo>
                <a:cubicBezTo>
                  <a:pt x="966979" y="4846481"/>
                  <a:pt x="967753" y="4845552"/>
                  <a:pt x="967908" y="4846378"/>
                </a:cubicBezTo>
                <a:close/>
                <a:moveTo>
                  <a:pt x="6236793" y="4845906"/>
                </a:moveTo>
                <a:cubicBezTo>
                  <a:pt x="6239600" y="4845725"/>
                  <a:pt x="6241808" y="4846396"/>
                  <a:pt x="6242737" y="4845983"/>
                </a:cubicBezTo>
                <a:cubicBezTo>
                  <a:pt x="6244905" y="4848565"/>
                  <a:pt x="6244905" y="4848565"/>
                  <a:pt x="6240259" y="4853727"/>
                </a:cubicBezTo>
                <a:cubicBezTo>
                  <a:pt x="6239329" y="4854553"/>
                  <a:pt x="6238245" y="4855173"/>
                  <a:pt x="6237006" y="4855482"/>
                </a:cubicBezTo>
                <a:cubicBezTo>
                  <a:pt x="6235922" y="4855792"/>
                  <a:pt x="6234683" y="4855792"/>
                  <a:pt x="6233443" y="4855276"/>
                </a:cubicBezTo>
                <a:cubicBezTo>
                  <a:pt x="6232514" y="4855792"/>
                  <a:pt x="6231584" y="4855999"/>
                  <a:pt x="6230500" y="4855999"/>
                </a:cubicBezTo>
                <a:cubicBezTo>
                  <a:pt x="6229571" y="4855999"/>
                  <a:pt x="6228486" y="4855689"/>
                  <a:pt x="6227712" y="4855276"/>
                </a:cubicBezTo>
                <a:cubicBezTo>
                  <a:pt x="6226938" y="4854347"/>
                  <a:pt x="6226628" y="4853521"/>
                  <a:pt x="6226628" y="4852695"/>
                </a:cubicBezTo>
                <a:cubicBezTo>
                  <a:pt x="6226628" y="4851972"/>
                  <a:pt x="6226938" y="4851352"/>
                  <a:pt x="6227247" y="4850939"/>
                </a:cubicBezTo>
                <a:cubicBezTo>
                  <a:pt x="6230577" y="4847119"/>
                  <a:pt x="6233985" y="4846086"/>
                  <a:pt x="6236793" y="4845906"/>
                </a:cubicBezTo>
                <a:close/>
                <a:moveTo>
                  <a:pt x="833807" y="4845823"/>
                </a:moveTo>
                <a:cubicBezTo>
                  <a:pt x="836053" y="4845655"/>
                  <a:pt x="837950" y="4846378"/>
                  <a:pt x="839035" y="4849166"/>
                </a:cubicBezTo>
                <a:cubicBezTo>
                  <a:pt x="838105" y="4853090"/>
                  <a:pt x="835781" y="4854948"/>
                  <a:pt x="833303" y="4855361"/>
                </a:cubicBezTo>
                <a:cubicBezTo>
                  <a:pt x="830980" y="4855775"/>
                  <a:pt x="828346" y="4854742"/>
                  <a:pt x="826953" y="4852780"/>
                </a:cubicBezTo>
                <a:cubicBezTo>
                  <a:pt x="826178" y="4851541"/>
                  <a:pt x="825868" y="4849785"/>
                  <a:pt x="826488" y="4847824"/>
                </a:cubicBezTo>
                <a:cubicBezTo>
                  <a:pt x="828966" y="4847049"/>
                  <a:pt x="831561" y="4845991"/>
                  <a:pt x="833807" y="4845823"/>
                </a:cubicBezTo>
                <a:close/>
                <a:moveTo>
                  <a:pt x="6046793" y="4845364"/>
                </a:moveTo>
                <a:cubicBezTo>
                  <a:pt x="6047878" y="4844537"/>
                  <a:pt x="6048652" y="4844537"/>
                  <a:pt x="6049426" y="4845467"/>
                </a:cubicBezTo>
                <a:cubicBezTo>
                  <a:pt x="6049426" y="4845467"/>
                  <a:pt x="6048342" y="4847222"/>
                  <a:pt x="6048342" y="4847222"/>
                </a:cubicBezTo>
                <a:cubicBezTo>
                  <a:pt x="6046483" y="4848874"/>
                  <a:pt x="6045554" y="4849700"/>
                  <a:pt x="6044470" y="4851456"/>
                </a:cubicBezTo>
                <a:cubicBezTo>
                  <a:pt x="6043695" y="4851042"/>
                  <a:pt x="6043385" y="4850630"/>
                  <a:pt x="6043231" y="4850216"/>
                </a:cubicBezTo>
                <a:cubicBezTo>
                  <a:pt x="6043231" y="4849700"/>
                  <a:pt x="6043385" y="4849287"/>
                  <a:pt x="6043850" y="4848771"/>
                </a:cubicBezTo>
                <a:cubicBezTo>
                  <a:pt x="6043850" y="4848771"/>
                  <a:pt x="6044779" y="4847945"/>
                  <a:pt x="6045709" y="4847119"/>
                </a:cubicBezTo>
                <a:cubicBezTo>
                  <a:pt x="6046638" y="4846293"/>
                  <a:pt x="6046793" y="4845364"/>
                  <a:pt x="6046793" y="4845364"/>
                </a:cubicBezTo>
                <a:close/>
                <a:moveTo>
                  <a:pt x="1437089" y="4844933"/>
                </a:moveTo>
                <a:cubicBezTo>
                  <a:pt x="1438173" y="4844623"/>
                  <a:pt x="1439258" y="4844313"/>
                  <a:pt x="1440806" y="4845139"/>
                </a:cubicBezTo>
                <a:cubicBezTo>
                  <a:pt x="1441581" y="4847514"/>
                  <a:pt x="1439877" y="4849373"/>
                  <a:pt x="1440187" y="4850508"/>
                </a:cubicBezTo>
                <a:cubicBezTo>
                  <a:pt x="1439413" y="4850095"/>
                  <a:pt x="1438018" y="4849270"/>
                  <a:pt x="1436469" y="4850302"/>
                </a:cubicBezTo>
                <a:cubicBezTo>
                  <a:pt x="1435695" y="4847927"/>
                  <a:pt x="1434921" y="4845552"/>
                  <a:pt x="1437089" y="4844933"/>
                </a:cubicBezTo>
                <a:close/>
                <a:moveTo>
                  <a:pt x="1039160" y="4844313"/>
                </a:moveTo>
                <a:cubicBezTo>
                  <a:pt x="1042258" y="4845036"/>
                  <a:pt x="1043187" y="4848237"/>
                  <a:pt x="1042723" y="4851541"/>
                </a:cubicBezTo>
                <a:cubicBezTo>
                  <a:pt x="1042103" y="4854742"/>
                  <a:pt x="1040090" y="4858149"/>
                  <a:pt x="1037457" y="4859285"/>
                </a:cubicBezTo>
                <a:cubicBezTo>
                  <a:pt x="1036682" y="4857840"/>
                  <a:pt x="1036062" y="4856497"/>
                  <a:pt x="1035598" y="4855258"/>
                </a:cubicBezTo>
                <a:cubicBezTo>
                  <a:pt x="1034204" y="4851438"/>
                  <a:pt x="1034823" y="4847927"/>
                  <a:pt x="1039160" y="4844313"/>
                </a:cubicBezTo>
                <a:close/>
                <a:moveTo>
                  <a:pt x="1879008" y="4844107"/>
                </a:moveTo>
                <a:cubicBezTo>
                  <a:pt x="1880713" y="4842971"/>
                  <a:pt x="1880867" y="4845346"/>
                  <a:pt x="1881022" y="4846481"/>
                </a:cubicBezTo>
                <a:cubicBezTo>
                  <a:pt x="1879163" y="4845242"/>
                  <a:pt x="1878079" y="4845655"/>
                  <a:pt x="1878543" y="4844829"/>
                </a:cubicBezTo>
                <a:cubicBezTo>
                  <a:pt x="1877924" y="4844416"/>
                  <a:pt x="1878389" y="4843694"/>
                  <a:pt x="1879008" y="4844107"/>
                </a:cubicBezTo>
                <a:close/>
                <a:moveTo>
                  <a:pt x="912145" y="4843694"/>
                </a:moveTo>
                <a:cubicBezTo>
                  <a:pt x="915243" y="4848030"/>
                  <a:pt x="920045" y="4849889"/>
                  <a:pt x="920200" y="4853090"/>
                </a:cubicBezTo>
                <a:cubicBezTo>
                  <a:pt x="920200" y="4854122"/>
                  <a:pt x="919735" y="4855258"/>
                  <a:pt x="918341" y="4856704"/>
                </a:cubicBezTo>
                <a:cubicBezTo>
                  <a:pt x="916637" y="4856084"/>
                  <a:pt x="912610" y="4853296"/>
                  <a:pt x="910596" y="4850199"/>
                </a:cubicBezTo>
                <a:cubicBezTo>
                  <a:pt x="909977" y="4849270"/>
                  <a:pt x="909668" y="4848134"/>
                  <a:pt x="909668" y="4847204"/>
                </a:cubicBezTo>
                <a:cubicBezTo>
                  <a:pt x="909668" y="4845862"/>
                  <a:pt x="910441" y="4844623"/>
                  <a:pt x="912145" y="4843694"/>
                </a:cubicBezTo>
                <a:close/>
                <a:moveTo>
                  <a:pt x="2091991" y="4843487"/>
                </a:moveTo>
                <a:cubicBezTo>
                  <a:pt x="2097877" y="4846998"/>
                  <a:pt x="2101285" y="4851231"/>
                  <a:pt x="2098186" y="4858149"/>
                </a:cubicBezTo>
                <a:cubicBezTo>
                  <a:pt x="2097257" y="4857633"/>
                  <a:pt x="2096483" y="4858666"/>
                  <a:pt x="2095864" y="4859698"/>
                </a:cubicBezTo>
                <a:cubicBezTo>
                  <a:pt x="2092145" y="4860421"/>
                  <a:pt x="2089048" y="4857323"/>
                  <a:pt x="2087498" y="4853606"/>
                </a:cubicBezTo>
                <a:cubicBezTo>
                  <a:pt x="2085795" y="4849992"/>
                  <a:pt x="2085795" y="4845759"/>
                  <a:pt x="2088738" y="4844210"/>
                </a:cubicBezTo>
                <a:cubicBezTo>
                  <a:pt x="2089512" y="4843694"/>
                  <a:pt x="2090597" y="4843487"/>
                  <a:pt x="2091991" y="4843487"/>
                </a:cubicBezTo>
                <a:close/>
                <a:moveTo>
                  <a:pt x="6009463" y="4842885"/>
                </a:moveTo>
                <a:cubicBezTo>
                  <a:pt x="6002803" y="4850733"/>
                  <a:pt x="5998156" y="4846293"/>
                  <a:pt x="5994283" y="4850630"/>
                </a:cubicBezTo>
                <a:cubicBezTo>
                  <a:pt x="5993664" y="4848874"/>
                  <a:pt x="5993664" y="4848874"/>
                  <a:pt x="5994748" y="4847119"/>
                </a:cubicBezTo>
                <a:cubicBezTo>
                  <a:pt x="5995523" y="4847119"/>
                  <a:pt x="5995677" y="4846190"/>
                  <a:pt x="5996452" y="4847119"/>
                </a:cubicBezTo>
                <a:cubicBezTo>
                  <a:pt x="5998311" y="4844537"/>
                  <a:pt x="6006210" y="4841956"/>
                  <a:pt x="6009463" y="4842885"/>
                </a:cubicBezTo>
                <a:close/>
                <a:moveTo>
                  <a:pt x="1058774" y="4842493"/>
                </a:moveTo>
                <a:cubicBezTo>
                  <a:pt x="1060381" y="4840803"/>
                  <a:pt x="1063092" y="4840493"/>
                  <a:pt x="1064874" y="4844107"/>
                </a:cubicBezTo>
                <a:cubicBezTo>
                  <a:pt x="1062550" y="4846585"/>
                  <a:pt x="1060846" y="4848340"/>
                  <a:pt x="1059297" y="4849166"/>
                </a:cubicBezTo>
                <a:cubicBezTo>
                  <a:pt x="1056664" y="4847256"/>
                  <a:pt x="1057167" y="4844184"/>
                  <a:pt x="1058774" y="4842493"/>
                </a:cubicBezTo>
                <a:close/>
                <a:moveTo>
                  <a:pt x="1375595" y="4842454"/>
                </a:moveTo>
                <a:cubicBezTo>
                  <a:pt x="1376680" y="4843177"/>
                  <a:pt x="1377609" y="4844210"/>
                  <a:pt x="1378074" y="4845759"/>
                </a:cubicBezTo>
                <a:cubicBezTo>
                  <a:pt x="1378538" y="4847720"/>
                  <a:pt x="1378074" y="4850199"/>
                  <a:pt x="1375905" y="4853090"/>
                </a:cubicBezTo>
                <a:cubicBezTo>
                  <a:pt x="1371723" y="4853503"/>
                  <a:pt x="1370019" y="4851541"/>
                  <a:pt x="1367231" y="4850818"/>
                </a:cubicBezTo>
                <a:cubicBezTo>
                  <a:pt x="1366456" y="4842041"/>
                  <a:pt x="1372033" y="4840286"/>
                  <a:pt x="1375595" y="4842454"/>
                </a:cubicBezTo>
                <a:close/>
                <a:moveTo>
                  <a:pt x="1081602" y="4842454"/>
                </a:moveTo>
                <a:cubicBezTo>
                  <a:pt x="1085319" y="4844829"/>
                  <a:pt x="1086559" y="4842145"/>
                  <a:pt x="1092135" y="4846172"/>
                </a:cubicBezTo>
                <a:cubicBezTo>
                  <a:pt x="1097711" y="4849785"/>
                  <a:pt x="1098641" y="4854122"/>
                  <a:pt x="1098021" y="4857633"/>
                </a:cubicBezTo>
                <a:lnTo>
                  <a:pt x="1096937" y="4860214"/>
                </a:lnTo>
                <a:lnTo>
                  <a:pt x="1098951" y="4861970"/>
                </a:lnTo>
                <a:cubicBezTo>
                  <a:pt x="1092599" y="4866823"/>
                  <a:pt x="1101893" y="4870747"/>
                  <a:pt x="1097091" y="4874774"/>
                </a:cubicBezTo>
                <a:cubicBezTo>
                  <a:pt x="1094613" y="4875393"/>
                  <a:pt x="1092135" y="4876839"/>
                  <a:pt x="1089347" y="4876426"/>
                </a:cubicBezTo>
                <a:cubicBezTo>
                  <a:pt x="1088417" y="4876322"/>
                  <a:pt x="1087333" y="4875909"/>
                  <a:pt x="1086249" y="4875186"/>
                </a:cubicBezTo>
                <a:cubicBezTo>
                  <a:pt x="1088263" y="4872296"/>
                  <a:pt x="1089347" y="4869508"/>
                  <a:pt x="1090276" y="4866719"/>
                </a:cubicBezTo>
                <a:lnTo>
                  <a:pt x="1091051" y="4864448"/>
                </a:lnTo>
                <a:lnTo>
                  <a:pt x="1088417" y="4865171"/>
                </a:lnTo>
                <a:cubicBezTo>
                  <a:pt x="1086714" y="4865171"/>
                  <a:pt x="1085010" y="4864654"/>
                  <a:pt x="1082841" y="4863312"/>
                </a:cubicBezTo>
                <a:cubicBezTo>
                  <a:pt x="1078195" y="4860008"/>
                  <a:pt x="1074167" y="4855052"/>
                  <a:pt x="1078969" y="4847824"/>
                </a:cubicBezTo>
                <a:cubicBezTo>
                  <a:pt x="1079588" y="4845965"/>
                  <a:pt x="1079743" y="4846894"/>
                  <a:pt x="1080363" y="4845965"/>
                </a:cubicBezTo>
                <a:cubicBezTo>
                  <a:pt x="1081137" y="4845036"/>
                  <a:pt x="1081757" y="4843280"/>
                  <a:pt x="1081602" y="4842454"/>
                </a:cubicBezTo>
                <a:close/>
                <a:moveTo>
                  <a:pt x="1600659" y="4842145"/>
                </a:moveTo>
                <a:cubicBezTo>
                  <a:pt x="1601744" y="4842454"/>
                  <a:pt x="1602828" y="4842868"/>
                  <a:pt x="1602363" y="4844003"/>
                </a:cubicBezTo>
                <a:cubicBezTo>
                  <a:pt x="1601898" y="4845242"/>
                  <a:pt x="1602208" y="4845965"/>
                  <a:pt x="1600350" y="4845965"/>
                </a:cubicBezTo>
                <a:cubicBezTo>
                  <a:pt x="1599575" y="4846378"/>
                  <a:pt x="1598491" y="4845965"/>
                  <a:pt x="1597717" y="4846378"/>
                </a:cubicBezTo>
                <a:cubicBezTo>
                  <a:pt x="1597717" y="4846378"/>
                  <a:pt x="1597252" y="4845862"/>
                  <a:pt x="1596942" y="4845242"/>
                </a:cubicBezTo>
                <a:cubicBezTo>
                  <a:pt x="1596477" y="4844623"/>
                  <a:pt x="1596167" y="4843797"/>
                  <a:pt x="1596477" y="4843280"/>
                </a:cubicBezTo>
                <a:cubicBezTo>
                  <a:pt x="1596632" y="4841318"/>
                  <a:pt x="1599885" y="4842454"/>
                  <a:pt x="1600659" y="4842145"/>
                </a:cubicBezTo>
                <a:close/>
                <a:moveTo>
                  <a:pt x="1198394" y="4841938"/>
                </a:moveTo>
                <a:cubicBezTo>
                  <a:pt x="1199323" y="4841318"/>
                  <a:pt x="1200563" y="4841215"/>
                  <a:pt x="1201957" y="4841938"/>
                </a:cubicBezTo>
                <a:cubicBezTo>
                  <a:pt x="1205829" y="4844313"/>
                  <a:pt x="1204125" y="4848340"/>
                  <a:pt x="1201492" y="4852677"/>
                </a:cubicBezTo>
                <a:cubicBezTo>
                  <a:pt x="1199633" y="4852367"/>
                  <a:pt x="1197929" y="4852780"/>
                  <a:pt x="1196226" y="4852470"/>
                </a:cubicBezTo>
                <a:cubicBezTo>
                  <a:pt x="1194521" y="4850302"/>
                  <a:pt x="1195451" y="4843900"/>
                  <a:pt x="1198394" y="4841938"/>
                </a:cubicBezTo>
                <a:close/>
                <a:moveTo>
                  <a:pt x="1906270" y="4841732"/>
                </a:moveTo>
                <a:cubicBezTo>
                  <a:pt x="1907974" y="4842868"/>
                  <a:pt x="1907354" y="4846378"/>
                  <a:pt x="1907664" y="4848340"/>
                </a:cubicBezTo>
                <a:cubicBezTo>
                  <a:pt x="1906580" y="4848030"/>
                  <a:pt x="1905340" y="4847720"/>
                  <a:pt x="1905805" y="4848443"/>
                </a:cubicBezTo>
                <a:cubicBezTo>
                  <a:pt x="1904566" y="4848237"/>
                  <a:pt x="1903791" y="4847720"/>
                  <a:pt x="1903172" y="4846998"/>
                </a:cubicBezTo>
                <a:cubicBezTo>
                  <a:pt x="1902707" y="4846275"/>
                  <a:pt x="1902398" y="4845449"/>
                  <a:pt x="1902243" y="4844519"/>
                </a:cubicBezTo>
                <a:cubicBezTo>
                  <a:pt x="1902398" y="4843280"/>
                  <a:pt x="1903791" y="4842351"/>
                  <a:pt x="1906270" y="4841732"/>
                </a:cubicBezTo>
                <a:close/>
                <a:moveTo>
                  <a:pt x="774133" y="4841112"/>
                </a:moveTo>
                <a:cubicBezTo>
                  <a:pt x="774907" y="4841112"/>
                  <a:pt x="775682" y="4841938"/>
                  <a:pt x="775682" y="4841938"/>
                </a:cubicBezTo>
                <a:cubicBezTo>
                  <a:pt x="776301" y="4842868"/>
                  <a:pt x="776301" y="4842868"/>
                  <a:pt x="777231" y="4841938"/>
                </a:cubicBezTo>
                <a:cubicBezTo>
                  <a:pt x="777231" y="4841938"/>
                  <a:pt x="777231" y="4842868"/>
                  <a:pt x="777231" y="4842868"/>
                </a:cubicBezTo>
                <a:cubicBezTo>
                  <a:pt x="776456" y="4842868"/>
                  <a:pt x="777231" y="4842868"/>
                  <a:pt x="777850" y="4843694"/>
                </a:cubicBezTo>
                <a:cubicBezTo>
                  <a:pt x="776921" y="4845449"/>
                  <a:pt x="776921" y="4846378"/>
                  <a:pt x="775992" y="4847308"/>
                </a:cubicBezTo>
                <a:cubicBezTo>
                  <a:pt x="775527" y="4847720"/>
                  <a:pt x="774753" y="4848134"/>
                  <a:pt x="774133" y="4848340"/>
                </a:cubicBezTo>
                <a:cubicBezTo>
                  <a:pt x="773513" y="4848547"/>
                  <a:pt x="772893" y="4848443"/>
                  <a:pt x="772584" y="4848030"/>
                </a:cubicBezTo>
                <a:cubicBezTo>
                  <a:pt x="772584" y="4847204"/>
                  <a:pt x="771809" y="4847204"/>
                  <a:pt x="771809" y="4846275"/>
                </a:cubicBezTo>
                <a:cubicBezTo>
                  <a:pt x="771190" y="4844519"/>
                  <a:pt x="771190" y="4843590"/>
                  <a:pt x="772119" y="4842764"/>
                </a:cubicBezTo>
                <a:cubicBezTo>
                  <a:pt x="772274" y="4841835"/>
                  <a:pt x="773203" y="4841938"/>
                  <a:pt x="774133" y="4841112"/>
                </a:cubicBezTo>
                <a:close/>
                <a:moveTo>
                  <a:pt x="1395887" y="4840699"/>
                </a:moveTo>
                <a:cubicBezTo>
                  <a:pt x="1395732" y="4841938"/>
                  <a:pt x="1399294" y="4842764"/>
                  <a:pt x="1400379" y="4843074"/>
                </a:cubicBezTo>
                <a:cubicBezTo>
                  <a:pt x="1400069" y="4845449"/>
                  <a:pt x="1404096" y="4847101"/>
                  <a:pt x="1403477" y="4850715"/>
                </a:cubicBezTo>
                <a:cubicBezTo>
                  <a:pt x="1402082" y="4851644"/>
                  <a:pt x="1401463" y="4852057"/>
                  <a:pt x="1399604" y="4852264"/>
                </a:cubicBezTo>
                <a:cubicBezTo>
                  <a:pt x="1390775" y="4849373"/>
                  <a:pt x="1390310" y="4844313"/>
                  <a:pt x="1389226" y="4844003"/>
                </a:cubicBezTo>
                <a:cubicBezTo>
                  <a:pt x="1389691" y="4840389"/>
                  <a:pt x="1392170" y="4841009"/>
                  <a:pt x="1395887" y="4840699"/>
                </a:cubicBezTo>
                <a:close/>
                <a:moveTo>
                  <a:pt x="1216207" y="4840699"/>
                </a:moveTo>
                <a:cubicBezTo>
                  <a:pt x="1218685" y="4839976"/>
                  <a:pt x="1221164" y="4839253"/>
                  <a:pt x="1224726" y="4841938"/>
                </a:cubicBezTo>
                <a:cubicBezTo>
                  <a:pt x="1225655" y="4845449"/>
                  <a:pt x="1224881" y="4848030"/>
                  <a:pt x="1221784" y="4851231"/>
                </a:cubicBezTo>
                <a:cubicBezTo>
                  <a:pt x="1217601" y="4851025"/>
                  <a:pt x="1212334" y="4844829"/>
                  <a:pt x="1216207" y="4840699"/>
                </a:cubicBezTo>
                <a:close/>
                <a:moveTo>
                  <a:pt x="6306244" y="4840510"/>
                </a:moveTo>
                <a:cubicBezTo>
                  <a:pt x="6308103" y="4842369"/>
                  <a:pt x="6309807" y="4844228"/>
                  <a:pt x="6311511" y="4846086"/>
                </a:cubicBezTo>
                <a:cubicBezTo>
                  <a:pt x="6309962" y="4846912"/>
                  <a:pt x="6309187" y="4848565"/>
                  <a:pt x="6308413" y="4849494"/>
                </a:cubicBezTo>
                <a:cubicBezTo>
                  <a:pt x="6305935" y="4849390"/>
                  <a:pt x="6304231" y="4848461"/>
                  <a:pt x="6302372" y="4845673"/>
                </a:cubicBezTo>
                <a:cubicBezTo>
                  <a:pt x="6303921" y="4842266"/>
                  <a:pt x="6303147" y="4843092"/>
                  <a:pt x="6306244" y="4840510"/>
                </a:cubicBezTo>
                <a:close/>
                <a:moveTo>
                  <a:pt x="1880713" y="4839150"/>
                </a:moveTo>
                <a:cubicBezTo>
                  <a:pt x="1882571" y="4838427"/>
                  <a:pt x="1884120" y="4838531"/>
                  <a:pt x="1885514" y="4839150"/>
                </a:cubicBezTo>
                <a:lnTo>
                  <a:pt x="1886443" y="4840079"/>
                </a:lnTo>
                <a:lnTo>
                  <a:pt x="1887063" y="4840699"/>
                </a:lnTo>
                <a:lnTo>
                  <a:pt x="1888612" y="4842454"/>
                </a:lnTo>
                <a:cubicBezTo>
                  <a:pt x="1887992" y="4843590"/>
                  <a:pt x="1887372" y="4844313"/>
                  <a:pt x="1886443" y="4844623"/>
                </a:cubicBezTo>
                <a:cubicBezTo>
                  <a:pt x="1885669" y="4844933"/>
                  <a:pt x="1884894" y="4844933"/>
                  <a:pt x="1884120" y="4844519"/>
                </a:cubicBezTo>
                <a:cubicBezTo>
                  <a:pt x="1882416" y="4843900"/>
                  <a:pt x="1881022" y="4841938"/>
                  <a:pt x="1880713" y="4839150"/>
                </a:cubicBezTo>
                <a:close/>
                <a:moveTo>
                  <a:pt x="6016434" y="4838858"/>
                </a:moveTo>
                <a:cubicBezTo>
                  <a:pt x="6015504" y="4839684"/>
                  <a:pt x="6013800" y="4840614"/>
                  <a:pt x="6012871" y="4841440"/>
                </a:cubicBezTo>
                <a:cubicBezTo>
                  <a:pt x="6012871" y="4841440"/>
                  <a:pt x="6012871" y="4841440"/>
                  <a:pt x="6012096" y="4840510"/>
                </a:cubicBezTo>
                <a:cubicBezTo>
                  <a:pt x="6013800" y="4840614"/>
                  <a:pt x="6014885" y="4837000"/>
                  <a:pt x="6016434" y="4838858"/>
                </a:cubicBezTo>
                <a:close/>
                <a:moveTo>
                  <a:pt x="1150531" y="4838634"/>
                </a:moveTo>
                <a:cubicBezTo>
                  <a:pt x="1152390" y="4836879"/>
                  <a:pt x="1156572" y="4837808"/>
                  <a:pt x="1158121" y="4838737"/>
                </a:cubicBezTo>
                <a:cubicBezTo>
                  <a:pt x="1159515" y="4840493"/>
                  <a:pt x="1158431" y="4843074"/>
                  <a:pt x="1156572" y="4844726"/>
                </a:cubicBezTo>
                <a:cubicBezTo>
                  <a:pt x="1156107" y="4845552"/>
                  <a:pt x="1155177" y="4845965"/>
                  <a:pt x="1154248" y="4846069"/>
                </a:cubicBezTo>
                <a:cubicBezTo>
                  <a:pt x="1153319" y="4846172"/>
                  <a:pt x="1152390" y="4845965"/>
                  <a:pt x="1151615" y="4845552"/>
                </a:cubicBezTo>
                <a:cubicBezTo>
                  <a:pt x="1150841" y="4844623"/>
                  <a:pt x="1150841" y="4844623"/>
                  <a:pt x="1150066" y="4843797"/>
                </a:cubicBezTo>
                <a:cubicBezTo>
                  <a:pt x="1150221" y="4842041"/>
                  <a:pt x="1149601" y="4840286"/>
                  <a:pt x="1150531" y="4838634"/>
                </a:cubicBezTo>
                <a:close/>
                <a:moveTo>
                  <a:pt x="6003384" y="4838497"/>
                </a:moveTo>
                <a:cubicBezTo>
                  <a:pt x="6005707" y="4838420"/>
                  <a:pt x="6007605" y="4838652"/>
                  <a:pt x="6008069" y="4838652"/>
                </a:cubicBezTo>
                <a:cubicBezTo>
                  <a:pt x="6007914" y="4839478"/>
                  <a:pt x="6007914" y="4839581"/>
                  <a:pt x="6007914" y="4839581"/>
                </a:cubicBezTo>
                <a:cubicBezTo>
                  <a:pt x="6005436" y="4838858"/>
                  <a:pt x="6002338" y="4841027"/>
                  <a:pt x="5999085" y="4841440"/>
                </a:cubicBezTo>
                <a:cubicBezTo>
                  <a:pt x="5998001" y="4841543"/>
                  <a:pt x="5997071" y="4841543"/>
                  <a:pt x="5995987" y="4841027"/>
                </a:cubicBezTo>
                <a:cubicBezTo>
                  <a:pt x="5995987" y="4841027"/>
                  <a:pt x="5995987" y="4841027"/>
                  <a:pt x="5996917" y="4841027"/>
                </a:cubicBezTo>
                <a:cubicBezTo>
                  <a:pt x="5996917" y="4841027"/>
                  <a:pt x="5995987" y="4841027"/>
                  <a:pt x="5996142" y="4840201"/>
                </a:cubicBezTo>
                <a:cubicBezTo>
                  <a:pt x="5998311" y="4838962"/>
                  <a:pt x="6001060" y="4838574"/>
                  <a:pt x="6003384" y="4838497"/>
                </a:cubicBezTo>
                <a:close/>
                <a:moveTo>
                  <a:pt x="6386326" y="4837206"/>
                </a:moveTo>
                <a:cubicBezTo>
                  <a:pt x="6387100" y="4837826"/>
                  <a:pt x="6387565" y="4838962"/>
                  <a:pt x="6387565" y="4840820"/>
                </a:cubicBezTo>
                <a:cubicBezTo>
                  <a:pt x="6386171" y="4841543"/>
                  <a:pt x="6382918" y="4842575"/>
                  <a:pt x="6379820" y="4842782"/>
                </a:cubicBezTo>
                <a:cubicBezTo>
                  <a:pt x="6376722" y="4843092"/>
                  <a:pt x="6373934" y="4842575"/>
                  <a:pt x="6373469" y="4840201"/>
                </a:cubicBezTo>
                <a:cubicBezTo>
                  <a:pt x="6373315" y="4839581"/>
                  <a:pt x="6373469" y="4838755"/>
                  <a:pt x="6373779" y="4837723"/>
                </a:cubicBezTo>
                <a:cubicBezTo>
                  <a:pt x="6379046" y="4837929"/>
                  <a:pt x="6384002" y="4835347"/>
                  <a:pt x="6386326" y="4837206"/>
                </a:cubicBezTo>
                <a:close/>
                <a:moveTo>
                  <a:pt x="1935081" y="4836775"/>
                </a:moveTo>
                <a:cubicBezTo>
                  <a:pt x="1936165" y="4837085"/>
                  <a:pt x="1937095" y="4839873"/>
                  <a:pt x="1938334" y="4840183"/>
                </a:cubicBezTo>
                <a:cubicBezTo>
                  <a:pt x="1938334" y="4840183"/>
                  <a:pt x="1938334" y="4840286"/>
                  <a:pt x="1937404" y="4841938"/>
                </a:cubicBezTo>
                <a:cubicBezTo>
                  <a:pt x="1936784" y="4842454"/>
                  <a:pt x="1936010" y="4842868"/>
                  <a:pt x="1934771" y="4842558"/>
                </a:cubicBezTo>
                <a:cubicBezTo>
                  <a:pt x="1933687" y="4842248"/>
                  <a:pt x="1932602" y="4840699"/>
                  <a:pt x="1932138" y="4839873"/>
                </a:cubicBezTo>
                <a:cubicBezTo>
                  <a:pt x="1932757" y="4839460"/>
                  <a:pt x="1932292" y="4838737"/>
                  <a:pt x="1932912" y="4838221"/>
                </a:cubicBezTo>
                <a:cubicBezTo>
                  <a:pt x="1933841" y="4836569"/>
                  <a:pt x="1933841" y="4836466"/>
                  <a:pt x="1935081" y="4836775"/>
                </a:cubicBezTo>
                <a:close/>
                <a:moveTo>
                  <a:pt x="1614136" y="4836156"/>
                </a:moveTo>
                <a:cubicBezTo>
                  <a:pt x="1613826" y="4837395"/>
                  <a:pt x="1617233" y="4838221"/>
                  <a:pt x="1618318" y="4838531"/>
                </a:cubicBezTo>
                <a:cubicBezTo>
                  <a:pt x="1618008" y="4839667"/>
                  <a:pt x="1618783" y="4840699"/>
                  <a:pt x="1619402" y="4841835"/>
                </a:cubicBezTo>
                <a:lnTo>
                  <a:pt x="1620176" y="4843384"/>
                </a:lnTo>
                <a:lnTo>
                  <a:pt x="1633497" y="4838118"/>
                </a:lnTo>
                <a:cubicBezTo>
                  <a:pt x="1633652" y="4841215"/>
                  <a:pt x="1635821" y="4842454"/>
                  <a:pt x="1635356" y="4847411"/>
                </a:cubicBezTo>
                <a:cubicBezTo>
                  <a:pt x="1627766" y="4849270"/>
                  <a:pt x="1620796" y="4852057"/>
                  <a:pt x="1613981" y="4854742"/>
                </a:cubicBezTo>
                <a:lnTo>
                  <a:pt x="1603138" y="4858459"/>
                </a:lnTo>
                <a:lnTo>
                  <a:pt x="1604377" y="4861350"/>
                </a:lnTo>
                <a:cubicBezTo>
                  <a:pt x="1605617" y="4865481"/>
                  <a:pt x="1606081" y="4869508"/>
                  <a:pt x="1605771" y="4873431"/>
                </a:cubicBezTo>
                <a:cubicBezTo>
                  <a:pt x="1605462" y="4876013"/>
                  <a:pt x="1604996" y="4878594"/>
                  <a:pt x="1604067" y="4881176"/>
                </a:cubicBezTo>
                <a:cubicBezTo>
                  <a:pt x="1602518" y="4880969"/>
                  <a:pt x="1601280" y="4880349"/>
                  <a:pt x="1600195" y="4879420"/>
                </a:cubicBezTo>
                <a:lnTo>
                  <a:pt x="1599730" y="4878697"/>
                </a:lnTo>
                <a:lnTo>
                  <a:pt x="1599730" y="4879730"/>
                </a:lnTo>
                <a:cubicBezTo>
                  <a:pt x="1599730" y="4880556"/>
                  <a:pt x="1599730" y="4881279"/>
                  <a:pt x="1600040" y="4881795"/>
                </a:cubicBezTo>
                <a:cubicBezTo>
                  <a:pt x="1599265" y="4881382"/>
                  <a:pt x="1598491" y="4880969"/>
                  <a:pt x="1598181" y="4881795"/>
                </a:cubicBezTo>
                <a:cubicBezTo>
                  <a:pt x="1597252" y="4879420"/>
                  <a:pt x="1597562" y="4878697"/>
                  <a:pt x="1597252" y="4877458"/>
                </a:cubicBezTo>
                <a:cubicBezTo>
                  <a:pt x="1596787" y="4878181"/>
                  <a:pt x="1596477" y="4877045"/>
                  <a:pt x="1596477" y="4877045"/>
                </a:cubicBezTo>
                <a:cubicBezTo>
                  <a:pt x="1596477" y="4877045"/>
                  <a:pt x="1596477" y="4876942"/>
                  <a:pt x="1594309" y="4877665"/>
                </a:cubicBezTo>
                <a:cubicBezTo>
                  <a:pt x="1594309" y="4877665"/>
                  <a:pt x="1591366" y="4878181"/>
                  <a:pt x="1588887" y="4876219"/>
                </a:cubicBezTo>
                <a:lnTo>
                  <a:pt x="1587184" y="4874051"/>
                </a:lnTo>
                <a:lnTo>
                  <a:pt x="1583931" y="4875290"/>
                </a:lnTo>
                <a:cubicBezTo>
                  <a:pt x="1582692" y="4875393"/>
                  <a:pt x="1581607" y="4874980"/>
                  <a:pt x="1580523" y="4873741"/>
                </a:cubicBezTo>
                <a:cubicBezTo>
                  <a:pt x="1580678" y="4870230"/>
                  <a:pt x="1582847" y="4868062"/>
                  <a:pt x="1585790" y="4865997"/>
                </a:cubicBezTo>
                <a:lnTo>
                  <a:pt x="1587958" y="4864242"/>
                </a:lnTo>
                <a:lnTo>
                  <a:pt x="1588268" y="4863622"/>
                </a:lnTo>
                <a:lnTo>
                  <a:pt x="1590437" y="4862383"/>
                </a:lnTo>
                <a:lnTo>
                  <a:pt x="1594464" y="4859182"/>
                </a:lnTo>
                <a:cubicBezTo>
                  <a:pt x="1595548" y="4856601"/>
                  <a:pt x="1594154" y="4854432"/>
                  <a:pt x="1595858" y="4851747"/>
                </a:cubicBezTo>
                <a:lnTo>
                  <a:pt x="1596942" y="4850715"/>
                </a:lnTo>
                <a:lnTo>
                  <a:pt x="1596787" y="4846378"/>
                </a:lnTo>
                <a:cubicBezTo>
                  <a:pt x="1598336" y="4845655"/>
                  <a:pt x="1600969" y="4848340"/>
                  <a:pt x="1602828" y="4849373"/>
                </a:cubicBezTo>
                <a:cubicBezTo>
                  <a:pt x="1601898" y="4850199"/>
                  <a:pt x="1601124" y="4850921"/>
                  <a:pt x="1602053" y="4851025"/>
                </a:cubicBezTo>
                <a:lnTo>
                  <a:pt x="1600040" y="4852057"/>
                </a:lnTo>
                <a:lnTo>
                  <a:pt x="1600969" y="4853916"/>
                </a:lnTo>
                <a:lnTo>
                  <a:pt x="1601744" y="4852986"/>
                </a:lnTo>
                <a:cubicBezTo>
                  <a:pt x="1603913" y="4851231"/>
                  <a:pt x="1606391" y="4849682"/>
                  <a:pt x="1608869" y="4848340"/>
                </a:cubicBezTo>
                <a:lnTo>
                  <a:pt x="1613206" y="4846378"/>
                </a:lnTo>
                <a:lnTo>
                  <a:pt x="1611347" y="4845346"/>
                </a:lnTo>
                <a:cubicBezTo>
                  <a:pt x="1607785" y="4842764"/>
                  <a:pt x="1607940" y="4839873"/>
                  <a:pt x="1607010" y="4839667"/>
                </a:cubicBezTo>
                <a:cubicBezTo>
                  <a:pt x="1608095" y="4836052"/>
                  <a:pt x="1610418" y="4836569"/>
                  <a:pt x="1614136" y="4836156"/>
                </a:cubicBezTo>
                <a:close/>
                <a:moveTo>
                  <a:pt x="1232626" y="4836052"/>
                </a:moveTo>
                <a:cubicBezTo>
                  <a:pt x="1234485" y="4836156"/>
                  <a:pt x="1237582" y="4837188"/>
                  <a:pt x="1237892" y="4839460"/>
                </a:cubicBezTo>
                <a:cubicBezTo>
                  <a:pt x="1237892" y="4839460"/>
                  <a:pt x="1237892" y="4839357"/>
                  <a:pt x="1238202" y="4840596"/>
                </a:cubicBezTo>
                <a:cubicBezTo>
                  <a:pt x="1236188" y="4839253"/>
                  <a:pt x="1233555" y="4837602"/>
                  <a:pt x="1232626" y="4836052"/>
                </a:cubicBezTo>
                <a:close/>
                <a:moveTo>
                  <a:pt x="1915254" y="4833265"/>
                </a:moveTo>
                <a:cubicBezTo>
                  <a:pt x="1916028" y="4835020"/>
                  <a:pt x="1916803" y="4838531"/>
                  <a:pt x="1915099" y="4839976"/>
                </a:cubicBezTo>
                <a:cubicBezTo>
                  <a:pt x="1915099" y="4839976"/>
                  <a:pt x="1915099" y="4839976"/>
                  <a:pt x="1914325" y="4840699"/>
                </a:cubicBezTo>
                <a:cubicBezTo>
                  <a:pt x="1914325" y="4838221"/>
                  <a:pt x="1914480" y="4834813"/>
                  <a:pt x="1915254" y="4833265"/>
                </a:cubicBezTo>
                <a:close/>
                <a:moveTo>
                  <a:pt x="1371103" y="4832439"/>
                </a:moveTo>
                <a:cubicBezTo>
                  <a:pt x="1374511" y="4831406"/>
                  <a:pt x="1377145" y="4833884"/>
                  <a:pt x="1381171" y="4833368"/>
                </a:cubicBezTo>
                <a:cubicBezTo>
                  <a:pt x="1382721" y="4836156"/>
                  <a:pt x="1387677" y="4836052"/>
                  <a:pt x="1389536" y="4840079"/>
                </a:cubicBezTo>
                <a:cubicBezTo>
                  <a:pt x="1388296" y="4840699"/>
                  <a:pt x="1386592" y="4840906"/>
                  <a:pt x="1384734" y="4840596"/>
                </a:cubicBezTo>
                <a:cubicBezTo>
                  <a:pt x="1379158" y="4839667"/>
                  <a:pt x="1372033" y="4835123"/>
                  <a:pt x="1371103" y="4832439"/>
                </a:cubicBezTo>
                <a:close/>
                <a:moveTo>
                  <a:pt x="1085165" y="4832336"/>
                </a:moveTo>
                <a:cubicBezTo>
                  <a:pt x="1089192" y="4831200"/>
                  <a:pt x="1092445" y="4834710"/>
                  <a:pt x="1089037" y="4839253"/>
                </a:cubicBezTo>
                <a:cubicBezTo>
                  <a:pt x="1086869" y="4837911"/>
                  <a:pt x="1084700" y="4836569"/>
                  <a:pt x="1084545" y="4834504"/>
                </a:cubicBezTo>
                <a:cubicBezTo>
                  <a:pt x="1084545" y="4833884"/>
                  <a:pt x="1084700" y="4833161"/>
                  <a:pt x="1085165" y="4832336"/>
                </a:cubicBezTo>
                <a:close/>
                <a:moveTo>
                  <a:pt x="1583156" y="4831303"/>
                </a:moveTo>
                <a:cubicBezTo>
                  <a:pt x="1582847" y="4832026"/>
                  <a:pt x="1582692" y="4832026"/>
                  <a:pt x="1582692" y="4832026"/>
                </a:cubicBezTo>
                <a:lnTo>
                  <a:pt x="1583149" y="4831305"/>
                </a:lnTo>
                <a:close/>
                <a:moveTo>
                  <a:pt x="1464041" y="4830993"/>
                </a:moveTo>
                <a:cubicBezTo>
                  <a:pt x="1465125" y="4830683"/>
                  <a:pt x="1465590" y="4829960"/>
                  <a:pt x="1465900" y="4831096"/>
                </a:cubicBezTo>
                <a:cubicBezTo>
                  <a:pt x="1466055" y="4832232"/>
                  <a:pt x="1466055" y="4832232"/>
                  <a:pt x="1464660" y="4834401"/>
                </a:cubicBezTo>
                <a:cubicBezTo>
                  <a:pt x="1464506" y="4833265"/>
                  <a:pt x="1464506" y="4833265"/>
                  <a:pt x="1463266" y="4833574"/>
                </a:cubicBezTo>
                <a:cubicBezTo>
                  <a:pt x="1463266" y="4833574"/>
                  <a:pt x="1463266" y="4833678"/>
                  <a:pt x="1462802" y="4834401"/>
                </a:cubicBezTo>
                <a:cubicBezTo>
                  <a:pt x="1462182" y="4833987"/>
                  <a:pt x="1462647" y="4833265"/>
                  <a:pt x="1462027" y="4832851"/>
                </a:cubicBezTo>
                <a:cubicBezTo>
                  <a:pt x="1462027" y="4832851"/>
                  <a:pt x="1462492" y="4832026"/>
                  <a:pt x="1462492" y="4832026"/>
                </a:cubicBezTo>
                <a:cubicBezTo>
                  <a:pt x="1462182" y="4831819"/>
                  <a:pt x="1462182" y="4831819"/>
                  <a:pt x="1462492" y="4831819"/>
                </a:cubicBezTo>
                <a:cubicBezTo>
                  <a:pt x="1462647" y="4831716"/>
                  <a:pt x="1463266" y="4831509"/>
                  <a:pt x="1464041" y="4830993"/>
                </a:cubicBezTo>
                <a:close/>
                <a:moveTo>
                  <a:pt x="6237258" y="4830753"/>
                </a:moveTo>
                <a:cubicBezTo>
                  <a:pt x="6240297" y="4829772"/>
                  <a:pt x="6242892" y="4831734"/>
                  <a:pt x="6240259" y="4840820"/>
                </a:cubicBezTo>
                <a:cubicBezTo>
                  <a:pt x="6234372" y="4841337"/>
                  <a:pt x="6232049" y="4840098"/>
                  <a:pt x="6231584" y="4838342"/>
                </a:cubicBezTo>
                <a:cubicBezTo>
                  <a:pt x="6230732" y="4835658"/>
                  <a:pt x="6234218" y="4831734"/>
                  <a:pt x="6237258" y="4830753"/>
                </a:cubicBezTo>
                <a:close/>
                <a:moveTo>
                  <a:pt x="1500906" y="4830477"/>
                </a:moveTo>
                <a:cubicBezTo>
                  <a:pt x="1501836" y="4829857"/>
                  <a:pt x="1502920" y="4829857"/>
                  <a:pt x="1504469" y="4830580"/>
                </a:cubicBezTo>
                <a:cubicBezTo>
                  <a:pt x="1508806" y="4833058"/>
                  <a:pt x="1507567" y="4837085"/>
                  <a:pt x="1505553" y="4841318"/>
                </a:cubicBezTo>
                <a:cubicBezTo>
                  <a:pt x="1503694" y="4840906"/>
                  <a:pt x="1502145" y="4841318"/>
                  <a:pt x="1500286" y="4840906"/>
                </a:cubicBezTo>
                <a:cubicBezTo>
                  <a:pt x="1498273" y="4838634"/>
                  <a:pt x="1498118" y="4832336"/>
                  <a:pt x="1500906" y="4830477"/>
                </a:cubicBezTo>
                <a:close/>
                <a:moveTo>
                  <a:pt x="1885824" y="4830270"/>
                </a:moveTo>
                <a:cubicBezTo>
                  <a:pt x="1887372" y="4831406"/>
                  <a:pt x="1888302" y="4832439"/>
                  <a:pt x="1889076" y="4833368"/>
                </a:cubicBezTo>
                <a:cubicBezTo>
                  <a:pt x="1890625" y="4834504"/>
                  <a:pt x="1890625" y="4835433"/>
                  <a:pt x="1888921" y="4836982"/>
                </a:cubicBezTo>
                <a:cubicBezTo>
                  <a:pt x="1887218" y="4835949"/>
                  <a:pt x="1884894" y="4832026"/>
                  <a:pt x="1885824" y="4830270"/>
                </a:cubicBezTo>
                <a:close/>
                <a:moveTo>
                  <a:pt x="6284637" y="4829694"/>
                </a:moveTo>
                <a:cubicBezTo>
                  <a:pt x="6289980" y="4826777"/>
                  <a:pt x="6295634" y="4826623"/>
                  <a:pt x="6299739" y="4831217"/>
                </a:cubicBezTo>
                <a:cubicBezTo>
                  <a:pt x="6301288" y="4832973"/>
                  <a:pt x="6302527" y="4835451"/>
                  <a:pt x="6303611" y="4838755"/>
                </a:cubicBezTo>
                <a:cubicBezTo>
                  <a:pt x="6297880" y="4845880"/>
                  <a:pt x="6290600" y="4858374"/>
                  <a:pt x="6279912" y="4860026"/>
                </a:cubicBezTo>
                <a:cubicBezTo>
                  <a:pt x="6278363" y="4860233"/>
                  <a:pt x="6276814" y="4860336"/>
                  <a:pt x="6275110" y="4860026"/>
                </a:cubicBezTo>
                <a:cubicBezTo>
                  <a:pt x="6273097" y="4859716"/>
                  <a:pt x="6271083" y="4859097"/>
                  <a:pt x="6269069" y="4858064"/>
                </a:cubicBezTo>
                <a:cubicBezTo>
                  <a:pt x="6268450" y="4853624"/>
                  <a:pt x="6269379" y="4849081"/>
                  <a:pt x="6271393" y="4844744"/>
                </a:cubicBezTo>
                <a:cubicBezTo>
                  <a:pt x="6274259" y="4838290"/>
                  <a:pt x="6279293" y="4832611"/>
                  <a:pt x="6284637" y="4829694"/>
                </a:cubicBezTo>
                <a:close/>
                <a:moveTo>
                  <a:pt x="1599885" y="4829444"/>
                </a:moveTo>
                <a:cubicBezTo>
                  <a:pt x="1602208" y="4830064"/>
                  <a:pt x="1601898" y="4833265"/>
                  <a:pt x="1601124" y="4833678"/>
                </a:cubicBezTo>
                <a:cubicBezTo>
                  <a:pt x="1599885" y="4833471"/>
                  <a:pt x="1599111" y="4831922"/>
                  <a:pt x="1598026" y="4831612"/>
                </a:cubicBezTo>
                <a:cubicBezTo>
                  <a:pt x="1598801" y="4831200"/>
                  <a:pt x="1599111" y="4829960"/>
                  <a:pt x="1599885" y="4829444"/>
                </a:cubicBezTo>
                <a:close/>
                <a:moveTo>
                  <a:pt x="1344925" y="4829031"/>
                </a:moveTo>
                <a:cubicBezTo>
                  <a:pt x="1346165" y="4829031"/>
                  <a:pt x="1348024" y="4828515"/>
                  <a:pt x="1349573" y="4829135"/>
                </a:cubicBezTo>
                <a:cubicBezTo>
                  <a:pt x="1350192" y="4831509"/>
                  <a:pt x="1349418" y="4832645"/>
                  <a:pt x="1348179" y="4832955"/>
                </a:cubicBezTo>
                <a:cubicBezTo>
                  <a:pt x="1347094" y="4833265"/>
                  <a:pt x="1345546" y="4832748"/>
                  <a:pt x="1344925" y="4831716"/>
                </a:cubicBezTo>
                <a:cubicBezTo>
                  <a:pt x="1344461" y="4830993"/>
                  <a:pt x="1344306" y="4830064"/>
                  <a:pt x="1344925" y="4829031"/>
                </a:cubicBezTo>
                <a:close/>
                <a:moveTo>
                  <a:pt x="992692" y="4828721"/>
                </a:moveTo>
                <a:cubicBezTo>
                  <a:pt x="990678" y="4833161"/>
                  <a:pt x="984947" y="4838324"/>
                  <a:pt x="980145" y="4837808"/>
                </a:cubicBezTo>
                <a:cubicBezTo>
                  <a:pt x="978596" y="4837602"/>
                  <a:pt x="977047" y="4836879"/>
                  <a:pt x="975808" y="4835226"/>
                </a:cubicBezTo>
                <a:cubicBezTo>
                  <a:pt x="981229" y="4833058"/>
                  <a:pt x="986806" y="4829135"/>
                  <a:pt x="992692" y="4828721"/>
                </a:cubicBezTo>
                <a:close/>
                <a:moveTo>
                  <a:pt x="1899919" y="4828205"/>
                </a:moveTo>
                <a:cubicBezTo>
                  <a:pt x="1901623" y="4830064"/>
                  <a:pt x="1904876" y="4827585"/>
                  <a:pt x="1907509" y="4830374"/>
                </a:cubicBezTo>
                <a:cubicBezTo>
                  <a:pt x="1907664" y="4832129"/>
                  <a:pt x="1907664" y="4832955"/>
                  <a:pt x="1906890" y="4834710"/>
                </a:cubicBezTo>
                <a:cubicBezTo>
                  <a:pt x="1905185" y="4836156"/>
                  <a:pt x="1903791" y="4837085"/>
                  <a:pt x="1902398" y="4837602"/>
                </a:cubicBezTo>
                <a:lnTo>
                  <a:pt x="1899145" y="4838531"/>
                </a:lnTo>
                <a:lnTo>
                  <a:pt x="1899300" y="4840183"/>
                </a:lnTo>
                <a:cubicBezTo>
                  <a:pt x="1898835" y="4841318"/>
                  <a:pt x="1897905" y="4842248"/>
                  <a:pt x="1896666" y="4842145"/>
                </a:cubicBezTo>
                <a:cubicBezTo>
                  <a:pt x="1895892" y="4842145"/>
                  <a:pt x="1895117" y="4841732"/>
                  <a:pt x="1894498" y="4840596"/>
                </a:cubicBezTo>
                <a:lnTo>
                  <a:pt x="1896046" y="4838531"/>
                </a:lnTo>
                <a:lnTo>
                  <a:pt x="1895272" y="4838634"/>
                </a:lnTo>
                <a:cubicBezTo>
                  <a:pt x="1892639" y="4835846"/>
                  <a:pt x="1894188" y="4834091"/>
                  <a:pt x="1895737" y="4830683"/>
                </a:cubicBezTo>
                <a:cubicBezTo>
                  <a:pt x="1896666" y="4831612"/>
                  <a:pt x="1898990" y="4829031"/>
                  <a:pt x="1899919" y="4828205"/>
                </a:cubicBezTo>
                <a:close/>
                <a:moveTo>
                  <a:pt x="6041836" y="4827913"/>
                </a:moveTo>
                <a:cubicBezTo>
                  <a:pt x="6040443" y="4829772"/>
                  <a:pt x="6037964" y="4833076"/>
                  <a:pt x="6035796" y="4833902"/>
                </a:cubicBezTo>
                <a:cubicBezTo>
                  <a:pt x="6035176" y="4834212"/>
                  <a:pt x="6034401" y="4834108"/>
                  <a:pt x="6033937" y="4833696"/>
                </a:cubicBezTo>
                <a:cubicBezTo>
                  <a:pt x="6033162" y="4832870"/>
                  <a:pt x="6034092" y="4832043"/>
                  <a:pt x="6034092" y="4831217"/>
                </a:cubicBezTo>
                <a:cubicBezTo>
                  <a:pt x="6035176" y="4829462"/>
                  <a:pt x="6041062" y="4827087"/>
                  <a:pt x="6041836" y="4827913"/>
                </a:cubicBezTo>
                <a:close/>
                <a:moveTo>
                  <a:pt x="1884430" y="4827173"/>
                </a:moveTo>
                <a:cubicBezTo>
                  <a:pt x="1884739" y="4827379"/>
                  <a:pt x="1884894" y="4827585"/>
                  <a:pt x="1884894" y="4827585"/>
                </a:cubicBezTo>
                <a:cubicBezTo>
                  <a:pt x="1885669" y="4828515"/>
                  <a:pt x="1886598" y="4829547"/>
                  <a:pt x="1885669" y="4830270"/>
                </a:cubicBezTo>
                <a:cubicBezTo>
                  <a:pt x="1885669" y="4830270"/>
                  <a:pt x="1884739" y="4830167"/>
                  <a:pt x="1883191" y="4828205"/>
                </a:cubicBezTo>
                <a:cubicBezTo>
                  <a:pt x="1883965" y="4828308"/>
                  <a:pt x="1884120" y="4827482"/>
                  <a:pt x="1884120" y="4827482"/>
                </a:cubicBezTo>
                <a:cubicBezTo>
                  <a:pt x="1884120" y="4827482"/>
                  <a:pt x="1884120" y="4827482"/>
                  <a:pt x="1883191" y="4827379"/>
                </a:cubicBezTo>
                <a:cubicBezTo>
                  <a:pt x="1883655" y="4826966"/>
                  <a:pt x="1884120" y="4827069"/>
                  <a:pt x="1884430" y="4827173"/>
                </a:cubicBezTo>
                <a:close/>
                <a:moveTo>
                  <a:pt x="1358092" y="4826140"/>
                </a:moveTo>
                <a:cubicBezTo>
                  <a:pt x="1358557" y="4826346"/>
                  <a:pt x="1358866" y="4826346"/>
                  <a:pt x="1359176" y="4826656"/>
                </a:cubicBezTo>
                <a:lnTo>
                  <a:pt x="1359796" y="4827689"/>
                </a:lnTo>
                <a:lnTo>
                  <a:pt x="1360880" y="4826553"/>
                </a:lnTo>
                <a:cubicBezTo>
                  <a:pt x="1364133" y="4827689"/>
                  <a:pt x="1365837" y="4829651"/>
                  <a:pt x="1367231" y="4830786"/>
                </a:cubicBezTo>
                <a:cubicBezTo>
                  <a:pt x="1366301" y="4833161"/>
                  <a:pt x="1366147" y="4835123"/>
                  <a:pt x="1365062" y="4837498"/>
                </a:cubicBezTo>
                <a:cubicBezTo>
                  <a:pt x="1363978" y="4838221"/>
                  <a:pt x="1363049" y="4838737"/>
                  <a:pt x="1362119" y="4838944"/>
                </a:cubicBezTo>
                <a:cubicBezTo>
                  <a:pt x="1361190" y="4839150"/>
                  <a:pt x="1360260" y="4839150"/>
                  <a:pt x="1359641" y="4838944"/>
                </a:cubicBezTo>
                <a:cubicBezTo>
                  <a:pt x="1358092" y="4838531"/>
                  <a:pt x="1357007" y="4837395"/>
                  <a:pt x="1356543" y="4835949"/>
                </a:cubicBezTo>
                <a:cubicBezTo>
                  <a:pt x="1355924" y="4834401"/>
                  <a:pt x="1355924" y="4832645"/>
                  <a:pt x="1356698" y="4830890"/>
                </a:cubicBezTo>
                <a:lnTo>
                  <a:pt x="1357317" y="4830167"/>
                </a:lnTo>
                <a:lnTo>
                  <a:pt x="1357007" y="4829547"/>
                </a:lnTo>
                <a:cubicBezTo>
                  <a:pt x="1356698" y="4829754"/>
                  <a:pt x="1356698" y="4829857"/>
                  <a:pt x="1356853" y="4829547"/>
                </a:cubicBezTo>
                <a:cubicBezTo>
                  <a:pt x="1356853" y="4829238"/>
                  <a:pt x="1357007" y="4828618"/>
                  <a:pt x="1357007" y="4827689"/>
                </a:cubicBezTo>
                <a:cubicBezTo>
                  <a:pt x="1357472" y="4826553"/>
                  <a:pt x="1357007" y="4825934"/>
                  <a:pt x="1358092" y="4826140"/>
                </a:cubicBezTo>
                <a:close/>
                <a:moveTo>
                  <a:pt x="1731857" y="4826101"/>
                </a:moveTo>
                <a:cubicBezTo>
                  <a:pt x="1740066" y="4825494"/>
                  <a:pt x="1748121" y="4827069"/>
                  <a:pt x="1754317" y="4832439"/>
                </a:cubicBezTo>
                <a:cubicBezTo>
                  <a:pt x="1764540" y="4841318"/>
                  <a:pt x="1760977" y="4852574"/>
                  <a:pt x="1764695" y="4865274"/>
                </a:cubicBezTo>
                <a:cubicBezTo>
                  <a:pt x="1755401" y="4871470"/>
                  <a:pt x="1756795" y="4877768"/>
                  <a:pt x="1755091" y="4883860"/>
                </a:cubicBezTo>
                <a:cubicBezTo>
                  <a:pt x="1747346" y="4884893"/>
                  <a:pt x="1739446" y="4892224"/>
                  <a:pt x="1731392" y="4895941"/>
                </a:cubicBezTo>
                <a:cubicBezTo>
                  <a:pt x="1726745" y="4893773"/>
                  <a:pt x="1722253" y="4892431"/>
                  <a:pt x="1717606" y="4891088"/>
                </a:cubicBezTo>
                <a:lnTo>
                  <a:pt x="1710171" y="4888507"/>
                </a:lnTo>
                <a:lnTo>
                  <a:pt x="1708312" y="4891811"/>
                </a:lnTo>
                <a:lnTo>
                  <a:pt x="1706454" y="4887371"/>
                </a:lnTo>
                <a:lnTo>
                  <a:pt x="1703820" y="4886338"/>
                </a:lnTo>
                <a:cubicBezTo>
                  <a:pt x="1703201" y="4874774"/>
                  <a:pt x="1689880" y="4863932"/>
                  <a:pt x="1695456" y="4851128"/>
                </a:cubicBezTo>
                <a:cubicBezTo>
                  <a:pt x="1704750" y="4844933"/>
                  <a:pt x="1704130" y="4838737"/>
                  <a:pt x="1708467" y="4832851"/>
                </a:cubicBezTo>
                <a:cubicBezTo>
                  <a:pt x="1715283" y="4829496"/>
                  <a:pt x="1723647" y="4826708"/>
                  <a:pt x="1731857" y="4826101"/>
                </a:cubicBezTo>
                <a:close/>
                <a:moveTo>
                  <a:pt x="6128733" y="4825538"/>
                </a:moveTo>
                <a:cubicBezTo>
                  <a:pt x="6128733" y="4825538"/>
                  <a:pt x="6128733" y="4825538"/>
                  <a:pt x="6129353" y="4825951"/>
                </a:cubicBezTo>
                <a:cubicBezTo>
                  <a:pt x="6130747" y="4826880"/>
                  <a:pt x="6131367" y="4827294"/>
                  <a:pt x="6132141" y="4827707"/>
                </a:cubicBezTo>
                <a:cubicBezTo>
                  <a:pt x="6132296" y="4828946"/>
                  <a:pt x="6132141" y="4832043"/>
                  <a:pt x="6131057" y="4832353"/>
                </a:cubicBezTo>
                <a:cubicBezTo>
                  <a:pt x="6129972" y="4832663"/>
                  <a:pt x="6128733" y="4832663"/>
                  <a:pt x="6127804" y="4832456"/>
                </a:cubicBezTo>
                <a:cubicBezTo>
                  <a:pt x="6126875" y="4832250"/>
                  <a:pt x="6126100" y="4831837"/>
                  <a:pt x="6126100" y="4831217"/>
                </a:cubicBezTo>
                <a:cubicBezTo>
                  <a:pt x="6125790" y="4829462"/>
                  <a:pt x="6125481" y="4827707"/>
                  <a:pt x="6126875" y="4826468"/>
                </a:cubicBezTo>
                <a:cubicBezTo>
                  <a:pt x="6127184" y="4826055"/>
                  <a:pt x="6127804" y="4825848"/>
                  <a:pt x="6128733" y="4825538"/>
                </a:cubicBezTo>
                <a:close/>
                <a:moveTo>
                  <a:pt x="1137519" y="4824901"/>
                </a:moveTo>
                <a:cubicBezTo>
                  <a:pt x="1138604" y="4825211"/>
                  <a:pt x="1138604" y="4825107"/>
                  <a:pt x="1140154" y="4827276"/>
                </a:cubicBezTo>
                <a:cubicBezTo>
                  <a:pt x="1138914" y="4827069"/>
                  <a:pt x="1138914" y="4827069"/>
                  <a:pt x="1138759" y="4828205"/>
                </a:cubicBezTo>
                <a:cubicBezTo>
                  <a:pt x="1138759" y="4828205"/>
                  <a:pt x="1138759" y="4828102"/>
                  <a:pt x="1139378" y="4828825"/>
                </a:cubicBezTo>
                <a:cubicBezTo>
                  <a:pt x="1138604" y="4829341"/>
                  <a:pt x="1138139" y="4828618"/>
                  <a:pt x="1137519" y="4829031"/>
                </a:cubicBezTo>
                <a:cubicBezTo>
                  <a:pt x="1137519" y="4829031"/>
                  <a:pt x="1137055" y="4828308"/>
                  <a:pt x="1137055" y="4828308"/>
                </a:cubicBezTo>
                <a:cubicBezTo>
                  <a:pt x="1136745" y="4828515"/>
                  <a:pt x="1136745" y="4828515"/>
                  <a:pt x="1136745" y="4828205"/>
                </a:cubicBezTo>
                <a:cubicBezTo>
                  <a:pt x="1136900" y="4827895"/>
                  <a:pt x="1136900" y="4827379"/>
                  <a:pt x="1136745" y="4826450"/>
                </a:cubicBezTo>
                <a:cubicBezTo>
                  <a:pt x="1136900" y="4825314"/>
                  <a:pt x="1136435" y="4824591"/>
                  <a:pt x="1137519" y="4824901"/>
                </a:cubicBezTo>
                <a:close/>
                <a:moveTo>
                  <a:pt x="858241" y="4824178"/>
                </a:moveTo>
                <a:cubicBezTo>
                  <a:pt x="860100" y="4824901"/>
                  <a:pt x="861030" y="4825830"/>
                  <a:pt x="862733" y="4826553"/>
                </a:cubicBezTo>
                <a:cubicBezTo>
                  <a:pt x="863198" y="4829135"/>
                  <a:pt x="865987" y="4831509"/>
                  <a:pt x="863353" y="4836982"/>
                </a:cubicBezTo>
                <a:cubicBezTo>
                  <a:pt x="859946" y="4842351"/>
                  <a:pt x="854369" y="4838324"/>
                  <a:pt x="854524" y="4839150"/>
                </a:cubicBezTo>
                <a:cubicBezTo>
                  <a:pt x="853750" y="4840079"/>
                  <a:pt x="853750" y="4840183"/>
                  <a:pt x="853904" y="4841009"/>
                </a:cubicBezTo>
                <a:cubicBezTo>
                  <a:pt x="852975" y="4841009"/>
                  <a:pt x="851426" y="4842041"/>
                  <a:pt x="850806" y="4842971"/>
                </a:cubicBezTo>
                <a:cubicBezTo>
                  <a:pt x="850651" y="4842041"/>
                  <a:pt x="850497" y="4841215"/>
                  <a:pt x="849723" y="4841215"/>
                </a:cubicBezTo>
                <a:cubicBezTo>
                  <a:pt x="851117" y="4839460"/>
                  <a:pt x="851891" y="4839357"/>
                  <a:pt x="852665" y="4838531"/>
                </a:cubicBezTo>
                <a:cubicBezTo>
                  <a:pt x="851736" y="4838531"/>
                  <a:pt x="852511" y="4837602"/>
                  <a:pt x="852511" y="4837602"/>
                </a:cubicBezTo>
                <a:cubicBezTo>
                  <a:pt x="852511" y="4837602"/>
                  <a:pt x="852511" y="4837602"/>
                  <a:pt x="850651" y="4835949"/>
                </a:cubicBezTo>
                <a:cubicBezTo>
                  <a:pt x="850651" y="4835949"/>
                  <a:pt x="846624" y="4831819"/>
                  <a:pt x="849412" y="4827276"/>
                </a:cubicBezTo>
                <a:cubicBezTo>
                  <a:pt x="850342" y="4828102"/>
                  <a:pt x="854679" y="4822629"/>
                  <a:pt x="858241" y="4824178"/>
                </a:cubicBezTo>
                <a:close/>
                <a:moveTo>
                  <a:pt x="1459394" y="4823145"/>
                </a:moveTo>
                <a:cubicBezTo>
                  <a:pt x="1459549" y="4823972"/>
                  <a:pt x="1459239" y="4824798"/>
                  <a:pt x="1458620" y="4825624"/>
                </a:cubicBezTo>
                <a:cubicBezTo>
                  <a:pt x="1456761" y="4827999"/>
                  <a:pt x="1452579" y="4830374"/>
                  <a:pt x="1450100" y="4831096"/>
                </a:cubicBezTo>
                <a:cubicBezTo>
                  <a:pt x="1449636" y="4827999"/>
                  <a:pt x="1456141" y="4824178"/>
                  <a:pt x="1459394" y="4823145"/>
                </a:cubicBezTo>
                <a:close/>
                <a:moveTo>
                  <a:pt x="1207223" y="4823042"/>
                </a:moveTo>
                <a:lnTo>
                  <a:pt x="1207843" y="4824901"/>
                </a:lnTo>
                <a:lnTo>
                  <a:pt x="1208307" y="4824384"/>
                </a:lnTo>
                <a:cubicBezTo>
                  <a:pt x="1209546" y="4823352"/>
                  <a:pt x="1210785" y="4822836"/>
                  <a:pt x="1212334" y="4823249"/>
                </a:cubicBezTo>
                <a:cubicBezTo>
                  <a:pt x="1211715" y="4823869"/>
                  <a:pt x="1210785" y="4824901"/>
                  <a:pt x="1209701" y="4825830"/>
                </a:cubicBezTo>
                <a:lnTo>
                  <a:pt x="1208462" y="4826759"/>
                </a:lnTo>
                <a:lnTo>
                  <a:pt x="1209237" y="4829031"/>
                </a:lnTo>
                <a:cubicBezTo>
                  <a:pt x="1209081" y="4831096"/>
                  <a:pt x="1207998" y="4833161"/>
                  <a:pt x="1206138" y="4835226"/>
                </a:cubicBezTo>
                <a:cubicBezTo>
                  <a:pt x="1201957" y="4835743"/>
                  <a:pt x="1200253" y="4830270"/>
                  <a:pt x="1199169" y="4827585"/>
                </a:cubicBezTo>
                <a:cubicBezTo>
                  <a:pt x="1201957" y="4825211"/>
                  <a:pt x="1204744" y="4822836"/>
                  <a:pt x="1207223" y="4823042"/>
                </a:cubicBezTo>
                <a:close/>
                <a:moveTo>
                  <a:pt x="1302794" y="4821803"/>
                </a:moveTo>
                <a:cubicBezTo>
                  <a:pt x="1304343" y="4822526"/>
                  <a:pt x="1305117" y="4831819"/>
                  <a:pt x="1301090" y="4830993"/>
                </a:cubicBezTo>
                <a:cubicBezTo>
                  <a:pt x="1300316" y="4830683"/>
                  <a:pt x="1299851" y="4830064"/>
                  <a:pt x="1299696" y="4829135"/>
                </a:cubicBezTo>
                <a:cubicBezTo>
                  <a:pt x="1299231" y="4826450"/>
                  <a:pt x="1301400" y="4822216"/>
                  <a:pt x="1302794" y="4821803"/>
                </a:cubicBezTo>
                <a:close/>
                <a:moveTo>
                  <a:pt x="1059762" y="4821597"/>
                </a:moveTo>
                <a:cubicBezTo>
                  <a:pt x="1062395" y="4826243"/>
                  <a:pt x="1058522" y="4831509"/>
                  <a:pt x="1054340" y="4832336"/>
                </a:cubicBezTo>
                <a:cubicBezTo>
                  <a:pt x="1052792" y="4832542"/>
                  <a:pt x="1051397" y="4832336"/>
                  <a:pt x="1050003" y="4831406"/>
                </a:cubicBezTo>
                <a:cubicBezTo>
                  <a:pt x="1046441" y="4825211"/>
                  <a:pt x="1054650" y="4819635"/>
                  <a:pt x="1059762" y="4821597"/>
                </a:cubicBezTo>
                <a:close/>
                <a:moveTo>
                  <a:pt x="1756795" y="4820564"/>
                </a:moveTo>
                <a:cubicBezTo>
                  <a:pt x="1764230" y="4825727"/>
                  <a:pt x="1761907" y="4830993"/>
                  <a:pt x="1758034" y="4832129"/>
                </a:cubicBezTo>
                <a:cubicBezTo>
                  <a:pt x="1756640" y="4832542"/>
                  <a:pt x="1755246" y="4832439"/>
                  <a:pt x="1753852" y="4831819"/>
                </a:cubicBezTo>
                <a:cubicBezTo>
                  <a:pt x="1751993" y="4830890"/>
                  <a:pt x="1750289" y="4828825"/>
                  <a:pt x="1749515" y="4825417"/>
                </a:cubicBezTo>
                <a:cubicBezTo>
                  <a:pt x="1751839" y="4822113"/>
                  <a:pt x="1754317" y="4822113"/>
                  <a:pt x="1756795" y="4820564"/>
                </a:cubicBezTo>
                <a:close/>
                <a:moveTo>
                  <a:pt x="1589972" y="4820461"/>
                </a:moveTo>
                <a:cubicBezTo>
                  <a:pt x="1594464" y="4829754"/>
                  <a:pt x="1588422" y="4832129"/>
                  <a:pt x="1590901" y="4837395"/>
                </a:cubicBezTo>
                <a:lnTo>
                  <a:pt x="1589197" y="4837085"/>
                </a:lnTo>
                <a:lnTo>
                  <a:pt x="1588113" y="4838427"/>
                </a:lnTo>
                <a:cubicBezTo>
                  <a:pt x="1587494" y="4838737"/>
                  <a:pt x="1586874" y="4838737"/>
                  <a:pt x="1586409" y="4838531"/>
                </a:cubicBezTo>
                <a:cubicBezTo>
                  <a:pt x="1585635" y="4838118"/>
                  <a:pt x="1585015" y="4836982"/>
                  <a:pt x="1584550" y="4834917"/>
                </a:cubicBezTo>
                <a:cubicBezTo>
                  <a:pt x="1585944" y="4834091"/>
                  <a:pt x="1587029" y="4833574"/>
                  <a:pt x="1587958" y="4833368"/>
                </a:cubicBezTo>
                <a:lnTo>
                  <a:pt x="1588268" y="4833471"/>
                </a:lnTo>
                <a:lnTo>
                  <a:pt x="1587649" y="4831200"/>
                </a:lnTo>
                <a:cubicBezTo>
                  <a:pt x="1587338" y="4827585"/>
                  <a:pt x="1588268" y="4822423"/>
                  <a:pt x="1589972" y="4820461"/>
                </a:cubicBezTo>
                <a:close/>
                <a:moveTo>
                  <a:pt x="1585480" y="4820151"/>
                </a:moveTo>
                <a:cubicBezTo>
                  <a:pt x="1586254" y="4820564"/>
                  <a:pt x="1586254" y="4820461"/>
                  <a:pt x="1586254" y="4820461"/>
                </a:cubicBezTo>
                <a:cubicBezTo>
                  <a:pt x="1584550" y="4822423"/>
                  <a:pt x="1585325" y="4826243"/>
                  <a:pt x="1584395" y="4829341"/>
                </a:cubicBezTo>
                <a:lnTo>
                  <a:pt x="1583149" y="4831305"/>
                </a:lnTo>
                <a:lnTo>
                  <a:pt x="1582072" y="4831612"/>
                </a:lnTo>
                <a:cubicBezTo>
                  <a:pt x="1581607" y="4826553"/>
                  <a:pt x="1585170" y="4820874"/>
                  <a:pt x="1585480" y="4820151"/>
                </a:cubicBezTo>
                <a:close/>
                <a:moveTo>
                  <a:pt x="1700239" y="4819054"/>
                </a:moveTo>
                <a:cubicBezTo>
                  <a:pt x="1702543" y="4818860"/>
                  <a:pt x="1704905" y="4819841"/>
                  <a:pt x="1707538" y="4822526"/>
                </a:cubicBezTo>
                <a:cubicBezTo>
                  <a:pt x="1707228" y="4825934"/>
                  <a:pt x="1704285" y="4827276"/>
                  <a:pt x="1701187" y="4827173"/>
                </a:cubicBezTo>
                <a:cubicBezTo>
                  <a:pt x="1698089" y="4826966"/>
                  <a:pt x="1694681" y="4825314"/>
                  <a:pt x="1693287" y="4822629"/>
                </a:cubicBezTo>
                <a:cubicBezTo>
                  <a:pt x="1695688" y="4820616"/>
                  <a:pt x="1697935" y="4819248"/>
                  <a:pt x="1700239" y="4819054"/>
                </a:cubicBezTo>
                <a:close/>
                <a:moveTo>
                  <a:pt x="1026304" y="4817983"/>
                </a:moveTo>
                <a:cubicBezTo>
                  <a:pt x="1027388" y="4818292"/>
                  <a:pt x="1028317" y="4819118"/>
                  <a:pt x="1028783" y="4820771"/>
                </a:cubicBezTo>
                <a:cubicBezTo>
                  <a:pt x="1030176" y="4825520"/>
                  <a:pt x="1026459" y="4827069"/>
                  <a:pt x="1021812" y="4827999"/>
                </a:cubicBezTo>
                <a:cubicBezTo>
                  <a:pt x="1020883" y="4826346"/>
                  <a:pt x="1019334" y="4825417"/>
                  <a:pt x="1018249" y="4823662"/>
                </a:cubicBezTo>
                <a:cubicBezTo>
                  <a:pt x="1018404" y="4820771"/>
                  <a:pt x="1023051" y="4816950"/>
                  <a:pt x="1026304" y="4817983"/>
                </a:cubicBezTo>
                <a:close/>
                <a:moveTo>
                  <a:pt x="1610728" y="4817570"/>
                </a:moveTo>
                <a:cubicBezTo>
                  <a:pt x="1610728" y="4817570"/>
                  <a:pt x="1610728" y="4817570"/>
                  <a:pt x="1611657" y="4819428"/>
                </a:cubicBezTo>
                <a:cubicBezTo>
                  <a:pt x="1611812" y="4820254"/>
                  <a:pt x="1611812" y="4821184"/>
                  <a:pt x="1610883" y="4822010"/>
                </a:cubicBezTo>
                <a:cubicBezTo>
                  <a:pt x="1610108" y="4822939"/>
                  <a:pt x="1608404" y="4822836"/>
                  <a:pt x="1607475" y="4822733"/>
                </a:cubicBezTo>
                <a:cubicBezTo>
                  <a:pt x="1607475" y="4821803"/>
                  <a:pt x="1606700" y="4821803"/>
                  <a:pt x="1606700" y="4820977"/>
                </a:cubicBezTo>
                <a:cubicBezTo>
                  <a:pt x="1605617" y="4819118"/>
                  <a:pt x="1605617" y="4819118"/>
                  <a:pt x="1606546" y="4818189"/>
                </a:cubicBezTo>
                <a:cubicBezTo>
                  <a:pt x="1607320" y="4817363"/>
                  <a:pt x="1609953" y="4818396"/>
                  <a:pt x="1610728" y="4817570"/>
                </a:cubicBezTo>
                <a:close/>
                <a:moveTo>
                  <a:pt x="1788703" y="4816640"/>
                </a:moveTo>
                <a:cubicBezTo>
                  <a:pt x="1789633" y="4817467"/>
                  <a:pt x="1792576" y="4819945"/>
                  <a:pt x="1792576" y="4819945"/>
                </a:cubicBezTo>
                <a:cubicBezTo>
                  <a:pt x="1793350" y="4819841"/>
                  <a:pt x="1793350" y="4819841"/>
                  <a:pt x="1794280" y="4820668"/>
                </a:cubicBezTo>
                <a:cubicBezTo>
                  <a:pt x="1793505" y="4821597"/>
                  <a:pt x="1793660" y="4821493"/>
                  <a:pt x="1792731" y="4821597"/>
                </a:cubicBezTo>
                <a:cubicBezTo>
                  <a:pt x="1791802" y="4820771"/>
                  <a:pt x="1791646" y="4819945"/>
                  <a:pt x="1790717" y="4819118"/>
                </a:cubicBezTo>
                <a:cubicBezTo>
                  <a:pt x="1789323" y="4820977"/>
                  <a:pt x="1790098" y="4820874"/>
                  <a:pt x="1789168" y="4820151"/>
                </a:cubicBezTo>
                <a:cubicBezTo>
                  <a:pt x="1789168" y="4820151"/>
                  <a:pt x="1789168" y="4820048"/>
                  <a:pt x="1788239" y="4819222"/>
                </a:cubicBezTo>
                <a:lnTo>
                  <a:pt x="1788084" y="4819118"/>
                </a:lnTo>
                <a:lnTo>
                  <a:pt x="1787929" y="4819222"/>
                </a:lnTo>
                <a:lnTo>
                  <a:pt x="1788239" y="4819222"/>
                </a:lnTo>
                <a:lnTo>
                  <a:pt x="1788858" y="4827792"/>
                </a:lnTo>
                <a:lnTo>
                  <a:pt x="1789788" y="4828308"/>
                </a:lnTo>
                <a:cubicBezTo>
                  <a:pt x="1789323" y="4827585"/>
                  <a:pt x="1790562" y="4827792"/>
                  <a:pt x="1790562" y="4827792"/>
                </a:cubicBezTo>
                <a:cubicBezTo>
                  <a:pt x="1790562" y="4827792"/>
                  <a:pt x="1790408" y="4827895"/>
                  <a:pt x="1790873" y="4825417"/>
                </a:cubicBezTo>
                <a:cubicBezTo>
                  <a:pt x="1790873" y="4825417"/>
                  <a:pt x="1792266" y="4820254"/>
                  <a:pt x="1797533" y="4820977"/>
                </a:cubicBezTo>
                <a:cubicBezTo>
                  <a:pt x="1797533" y="4821907"/>
                  <a:pt x="1801405" y="4823145"/>
                  <a:pt x="1803574" y="4825417"/>
                </a:cubicBezTo>
                <a:lnTo>
                  <a:pt x="1804038" y="4826037"/>
                </a:lnTo>
                <a:lnTo>
                  <a:pt x="1804967" y="4826553"/>
                </a:lnTo>
                <a:cubicBezTo>
                  <a:pt x="1806207" y="4827379"/>
                  <a:pt x="1807446" y="4828102"/>
                  <a:pt x="1808066" y="4828515"/>
                </a:cubicBezTo>
                <a:cubicBezTo>
                  <a:pt x="1808221" y="4829341"/>
                  <a:pt x="1808221" y="4829341"/>
                  <a:pt x="1808221" y="4829341"/>
                </a:cubicBezTo>
                <a:cubicBezTo>
                  <a:pt x="1807911" y="4830270"/>
                  <a:pt x="1807291" y="4830477"/>
                  <a:pt x="1806517" y="4830270"/>
                </a:cubicBezTo>
                <a:lnTo>
                  <a:pt x="1805278" y="4829754"/>
                </a:lnTo>
                <a:lnTo>
                  <a:pt x="1805587" y="4833058"/>
                </a:lnTo>
                <a:cubicBezTo>
                  <a:pt x="1804503" y="4833781"/>
                  <a:pt x="1803883" y="4834917"/>
                  <a:pt x="1802799" y="4835949"/>
                </a:cubicBezTo>
                <a:lnTo>
                  <a:pt x="1801405" y="4836775"/>
                </a:lnTo>
                <a:lnTo>
                  <a:pt x="1803419" y="4836672"/>
                </a:lnTo>
                <a:cubicBezTo>
                  <a:pt x="1804503" y="4837188"/>
                  <a:pt x="1805433" y="4838118"/>
                  <a:pt x="1806517" y="4839563"/>
                </a:cubicBezTo>
                <a:cubicBezTo>
                  <a:pt x="1804813" y="4843900"/>
                  <a:pt x="1803264" y="4851128"/>
                  <a:pt x="1798462" y="4854122"/>
                </a:cubicBezTo>
                <a:lnTo>
                  <a:pt x="1797533" y="4854329"/>
                </a:lnTo>
                <a:lnTo>
                  <a:pt x="1796758" y="4855258"/>
                </a:lnTo>
                <a:lnTo>
                  <a:pt x="1796758" y="4855465"/>
                </a:lnTo>
                <a:cubicBezTo>
                  <a:pt x="1795984" y="4855465"/>
                  <a:pt x="1795984" y="4856394"/>
                  <a:pt x="1796913" y="4856394"/>
                </a:cubicBezTo>
                <a:cubicBezTo>
                  <a:pt x="1796293" y="4857737"/>
                  <a:pt x="1795829" y="4858769"/>
                  <a:pt x="1795209" y="4859388"/>
                </a:cubicBezTo>
                <a:cubicBezTo>
                  <a:pt x="1794900" y="4859698"/>
                  <a:pt x="1794589" y="4859802"/>
                  <a:pt x="1794280" y="4859802"/>
                </a:cubicBezTo>
                <a:cubicBezTo>
                  <a:pt x="1793970" y="4859802"/>
                  <a:pt x="1793505" y="4859595"/>
                  <a:pt x="1793041" y="4859182"/>
                </a:cubicBezTo>
                <a:cubicBezTo>
                  <a:pt x="1791182" y="4858459"/>
                  <a:pt x="1791802" y="4856601"/>
                  <a:pt x="1789943" y="4855052"/>
                </a:cubicBezTo>
                <a:cubicBezTo>
                  <a:pt x="1786225" y="4852574"/>
                  <a:pt x="1782198" y="4859802"/>
                  <a:pt x="1774763" y="4855052"/>
                </a:cubicBezTo>
                <a:cubicBezTo>
                  <a:pt x="1776157" y="4853193"/>
                  <a:pt x="1772130" y="4849063"/>
                  <a:pt x="1774298" y="4846275"/>
                </a:cubicBezTo>
                <a:cubicBezTo>
                  <a:pt x="1779875" y="4837188"/>
                  <a:pt x="1782663" y="4838841"/>
                  <a:pt x="1788858" y="4841112"/>
                </a:cubicBezTo>
                <a:cubicBezTo>
                  <a:pt x="1787929" y="4841112"/>
                  <a:pt x="1789013" y="4841938"/>
                  <a:pt x="1789013" y="4841938"/>
                </a:cubicBezTo>
                <a:cubicBezTo>
                  <a:pt x="1790873" y="4843590"/>
                  <a:pt x="1791027" y="4838324"/>
                  <a:pt x="1793660" y="4839873"/>
                </a:cubicBezTo>
                <a:lnTo>
                  <a:pt x="1794280" y="4840596"/>
                </a:lnTo>
                <a:lnTo>
                  <a:pt x="1794589" y="4840596"/>
                </a:lnTo>
                <a:lnTo>
                  <a:pt x="1797378" y="4837602"/>
                </a:lnTo>
                <a:lnTo>
                  <a:pt x="1796913" y="4837602"/>
                </a:lnTo>
                <a:cubicBezTo>
                  <a:pt x="1790408" y="4836569"/>
                  <a:pt x="1790717" y="4829754"/>
                  <a:pt x="1790098" y="4830270"/>
                </a:cubicBezTo>
                <a:lnTo>
                  <a:pt x="1789478" y="4830064"/>
                </a:lnTo>
                <a:lnTo>
                  <a:pt x="1789633" y="4831096"/>
                </a:lnTo>
                <a:cubicBezTo>
                  <a:pt x="1789943" y="4831819"/>
                  <a:pt x="1790098" y="4832129"/>
                  <a:pt x="1790098" y="4832129"/>
                </a:cubicBezTo>
                <a:cubicBezTo>
                  <a:pt x="1789478" y="4833884"/>
                  <a:pt x="1788703" y="4833987"/>
                  <a:pt x="1789478" y="4833884"/>
                </a:cubicBezTo>
                <a:cubicBezTo>
                  <a:pt x="1788084" y="4835743"/>
                  <a:pt x="1786690" y="4838427"/>
                  <a:pt x="1784986" y="4837602"/>
                </a:cubicBezTo>
                <a:cubicBezTo>
                  <a:pt x="1780804" y="4834607"/>
                  <a:pt x="1782817" y="4828308"/>
                  <a:pt x="1784211" y="4824281"/>
                </a:cubicBezTo>
                <a:lnTo>
                  <a:pt x="1785141" y="4821493"/>
                </a:lnTo>
                <a:lnTo>
                  <a:pt x="1783128" y="4819532"/>
                </a:lnTo>
                <a:cubicBezTo>
                  <a:pt x="1782972" y="4817879"/>
                  <a:pt x="1784676" y="4816537"/>
                  <a:pt x="1786380" y="4816744"/>
                </a:cubicBezTo>
                <a:lnTo>
                  <a:pt x="1788239" y="4818189"/>
                </a:lnTo>
                <a:close/>
                <a:moveTo>
                  <a:pt x="1602983" y="4815917"/>
                </a:moveTo>
                <a:cubicBezTo>
                  <a:pt x="1602983" y="4815917"/>
                  <a:pt x="1603758" y="4816847"/>
                  <a:pt x="1603758" y="4816847"/>
                </a:cubicBezTo>
                <a:cubicBezTo>
                  <a:pt x="1607010" y="4820048"/>
                  <a:pt x="1608250" y="4825520"/>
                  <a:pt x="1607320" y="4827069"/>
                </a:cubicBezTo>
                <a:cubicBezTo>
                  <a:pt x="1606391" y="4827792"/>
                  <a:pt x="1605152" y="4828308"/>
                  <a:pt x="1603758" y="4828205"/>
                </a:cubicBezTo>
                <a:cubicBezTo>
                  <a:pt x="1602363" y="4827999"/>
                  <a:pt x="1600969" y="4827379"/>
                  <a:pt x="1599885" y="4825830"/>
                </a:cubicBezTo>
                <a:cubicBezTo>
                  <a:pt x="1597407" y="4823662"/>
                  <a:pt x="1597717" y="4820254"/>
                  <a:pt x="1595393" y="4817260"/>
                </a:cubicBezTo>
                <a:cubicBezTo>
                  <a:pt x="1598026" y="4814266"/>
                  <a:pt x="1598956" y="4813543"/>
                  <a:pt x="1602983" y="4815917"/>
                </a:cubicBezTo>
                <a:close/>
                <a:moveTo>
                  <a:pt x="929959" y="4815505"/>
                </a:moveTo>
                <a:cubicBezTo>
                  <a:pt x="930114" y="4816331"/>
                  <a:pt x="929494" y="4819015"/>
                  <a:pt x="930423" y="4818912"/>
                </a:cubicBezTo>
                <a:cubicBezTo>
                  <a:pt x="928874" y="4820977"/>
                  <a:pt x="926861" y="4823145"/>
                  <a:pt x="924693" y="4823352"/>
                </a:cubicBezTo>
                <a:cubicBezTo>
                  <a:pt x="924072" y="4823455"/>
                  <a:pt x="923298" y="4823352"/>
                  <a:pt x="922678" y="4822939"/>
                </a:cubicBezTo>
                <a:cubicBezTo>
                  <a:pt x="920819" y="4822113"/>
                  <a:pt x="921439" y="4820358"/>
                  <a:pt x="922833" y="4818602"/>
                </a:cubicBezTo>
                <a:cubicBezTo>
                  <a:pt x="924693" y="4814059"/>
                  <a:pt x="927015" y="4813026"/>
                  <a:pt x="929959" y="4815505"/>
                </a:cubicBezTo>
                <a:close/>
                <a:moveTo>
                  <a:pt x="6463310" y="4815109"/>
                </a:moveTo>
                <a:cubicBezTo>
                  <a:pt x="6462844" y="4816348"/>
                  <a:pt x="6462690" y="4818310"/>
                  <a:pt x="6461451" y="4819859"/>
                </a:cubicBezTo>
                <a:cubicBezTo>
                  <a:pt x="6457268" y="4820995"/>
                  <a:pt x="6454790" y="4819343"/>
                  <a:pt x="6453551" y="4816142"/>
                </a:cubicBezTo>
                <a:cubicBezTo>
                  <a:pt x="6455410" y="4811392"/>
                  <a:pt x="6461760" y="4811082"/>
                  <a:pt x="6463310" y="4815109"/>
                </a:cubicBezTo>
                <a:close/>
                <a:moveTo>
                  <a:pt x="839964" y="4814988"/>
                </a:moveTo>
                <a:cubicBezTo>
                  <a:pt x="843526" y="4813956"/>
                  <a:pt x="843991" y="4816434"/>
                  <a:pt x="845850" y="4819738"/>
                </a:cubicBezTo>
                <a:cubicBezTo>
                  <a:pt x="844611" y="4820048"/>
                  <a:pt x="845230" y="4823559"/>
                  <a:pt x="845385" y="4824798"/>
                </a:cubicBezTo>
                <a:cubicBezTo>
                  <a:pt x="843061" y="4825417"/>
                  <a:pt x="843217" y="4829754"/>
                  <a:pt x="839654" y="4830786"/>
                </a:cubicBezTo>
                <a:cubicBezTo>
                  <a:pt x="838260" y="4829857"/>
                  <a:pt x="837485" y="4829444"/>
                  <a:pt x="836711" y="4827792"/>
                </a:cubicBezTo>
                <a:cubicBezTo>
                  <a:pt x="835626" y="4818602"/>
                  <a:pt x="840273" y="4816124"/>
                  <a:pt x="839964" y="4814988"/>
                </a:cubicBezTo>
                <a:close/>
                <a:moveTo>
                  <a:pt x="1234639" y="4814782"/>
                </a:moveTo>
                <a:cubicBezTo>
                  <a:pt x="1238666" y="4814472"/>
                  <a:pt x="1241145" y="4815608"/>
                  <a:pt x="1242539" y="4817570"/>
                </a:cubicBezTo>
                <a:cubicBezTo>
                  <a:pt x="1246412" y="4823352"/>
                  <a:pt x="1239906" y="4835846"/>
                  <a:pt x="1230612" y="4835020"/>
                </a:cubicBezTo>
                <a:cubicBezTo>
                  <a:pt x="1229373" y="4833678"/>
                  <a:pt x="1228599" y="4832129"/>
                  <a:pt x="1228289" y="4830270"/>
                </a:cubicBezTo>
                <a:cubicBezTo>
                  <a:pt x="1227979" y="4827585"/>
                  <a:pt x="1228753" y="4824488"/>
                  <a:pt x="1229992" y="4821597"/>
                </a:cubicBezTo>
                <a:lnTo>
                  <a:pt x="1230922" y="4820151"/>
                </a:lnTo>
                <a:lnTo>
                  <a:pt x="1231232" y="4819428"/>
                </a:lnTo>
                <a:lnTo>
                  <a:pt x="1232161" y="4818602"/>
                </a:lnTo>
                <a:close/>
                <a:moveTo>
                  <a:pt x="1982673" y="4814730"/>
                </a:moveTo>
                <a:cubicBezTo>
                  <a:pt x="1988055" y="4816176"/>
                  <a:pt x="1993554" y="4818550"/>
                  <a:pt x="2000137" y="4819428"/>
                </a:cubicBezTo>
                <a:cubicBezTo>
                  <a:pt x="2001996" y="4830477"/>
                  <a:pt x="2008347" y="4831716"/>
                  <a:pt x="2013148" y="4835846"/>
                </a:cubicBezTo>
                <a:cubicBezTo>
                  <a:pt x="2010980" y="4843280"/>
                  <a:pt x="2014542" y="4853400"/>
                  <a:pt x="2014542" y="4862383"/>
                </a:cubicBezTo>
                <a:cubicBezTo>
                  <a:pt x="2010670" y="4865687"/>
                  <a:pt x="2007727" y="4869301"/>
                  <a:pt x="2004629" y="4873018"/>
                </a:cubicBezTo>
                <a:lnTo>
                  <a:pt x="1999363" y="4878594"/>
                </a:lnTo>
                <a:lnTo>
                  <a:pt x="1999053" y="4881279"/>
                </a:lnTo>
                <a:lnTo>
                  <a:pt x="1996729" y="4881485"/>
                </a:lnTo>
                <a:lnTo>
                  <a:pt x="1994715" y="4883757"/>
                </a:lnTo>
                <a:cubicBezTo>
                  <a:pt x="1983873" y="4879626"/>
                  <a:pt x="1968538" y="4887268"/>
                  <a:pt x="1959090" y="4877045"/>
                </a:cubicBezTo>
                <a:cubicBezTo>
                  <a:pt x="1957231" y="4865997"/>
                  <a:pt x="1951190" y="4864035"/>
                  <a:pt x="1947627" y="4857737"/>
                </a:cubicBezTo>
                <a:cubicBezTo>
                  <a:pt x="1947008" y="4842558"/>
                  <a:pt x="1951035" y="4822629"/>
                  <a:pt x="1965905" y="4815608"/>
                </a:cubicBezTo>
                <a:cubicBezTo>
                  <a:pt x="1972023" y="4812768"/>
                  <a:pt x="1977290" y="4813285"/>
                  <a:pt x="1982673" y="4814730"/>
                </a:cubicBezTo>
                <a:close/>
                <a:moveTo>
                  <a:pt x="1170357" y="4814575"/>
                </a:moveTo>
                <a:cubicBezTo>
                  <a:pt x="1171907" y="4816434"/>
                  <a:pt x="1170977" y="4818189"/>
                  <a:pt x="1170048" y="4819118"/>
                </a:cubicBezTo>
                <a:cubicBezTo>
                  <a:pt x="1169428" y="4820358"/>
                  <a:pt x="1168344" y="4820977"/>
                  <a:pt x="1166950" y="4821184"/>
                </a:cubicBezTo>
                <a:cubicBezTo>
                  <a:pt x="1165711" y="4821390"/>
                  <a:pt x="1164317" y="4821184"/>
                  <a:pt x="1163077" y="4820668"/>
                </a:cubicBezTo>
                <a:cubicBezTo>
                  <a:pt x="1163852" y="4820668"/>
                  <a:pt x="1163852" y="4820668"/>
                  <a:pt x="1163852" y="4820668"/>
                </a:cubicBezTo>
                <a:cubicBezTo>
                  <a:pt x="1164781" y="4819841"/>
                  <a:pt x="1164007" y="4819841"/>
                  <a:pt x="1164007" y="4818912"/>
                </a:cubicBezTo>
                <a:cubicBezTo>
                  <a:pt x="1164007" y="4818912"/>
                  <a:pt x="1164007" y="4819841"/>
                  <a:pt x="1163232" y="4818912"/>
                </a:cubicBezTo>
                <a:cubicBezTo>
                  <a:pt x="1164162" y="4818912"/>
                  <a:pt x="1164162" y="4818086"/>
                  <a:pt x="1164162" y="4817157"/>
                </a:cubicBezTo>
                <a:cubicBezTo>
                  <a:pt x="1166020" y="4815505"/>
                  <a:pt x="1168809" y="4813749"/>
                  <a:pt x="1170357" y="4814575"/>
                </a:cubicBezTo>
                <a:close/>
                <a:moveTo>
                  <a:pt x="1889076" y="4814266"/>
                </a:moveTo>
                <a:cubicBezTo>
                  <a:pt x="1890935" y="4815814"/>
                  <a:pt x="1890935" y="4815814"/>
                  <a:pt x="1889696" y="4818499"/>
                </a:cubicBezTo>
                <a:cubicBezTo>
                  <a:pt x="1888921" y="4819428"/>
                  <a:pt x="1887218" y="4820358"/>
                  <a:pt x="1885204" y="4820874"/>
                </a:cubicBezTo>
                <a:cubicBezTo>
                  <a:pt x="1884275" y="4821184"/>
                  <a:pt x="1883191" y="4821287"/>
                  <a:pt x="1882261" y="4821287"/>
                </a:cubicBezTo>
                <a:cubicBezTo>
                  <a:pt x="1881332" y="4821287"/>
                  <a:pt x="1880558" y="4821080"/>
                  <a:pt x="1879937" y="4820771"/>
                </a:cubicBezTo>
                <a:cubicBezTo>
                  <a:pt x="1880402" y="4819015"/>
                  <a:pt x="1881022" y="4817260"/>
                  <a:pt x="1881641" y="4815505"/>
                </a:cubicBezTo>
                <a:cubicBezTo>
                  <a:pt x="1881796" y="4816331"/>
                  <a:pt x="1889076" y="4814266"/>
                  <a:pt x="1889076" y="4814266"/>
                </a:cubicBezTo>
                <a:close/>
                <a:moveTo>
                  <a:pt x="6073280" y="4812425"/>
                </a:moveTo>
                <a:cubicBezTo>
                  <a:pt x="6069873" y="4822234"/>
                  <a:pt x="6072196" y="4829462"/>
                  <a:pt x="6066310" y="4839994"/>
                </a:cubicBezTo>
                <a:cubicBezTo>
                  <a:pt x="6064761" y="4838652"/>
                  <a:pt x="6063832" y="4836380"/>
                  <a:pt x="6063522" y="4833592"/>
                </a:cubicBezTo>
                <a:cubicBezTo>
                  <a:pt x="6062438" y="4825332"/>
                  <a:pt x="6066310" y="4813147"/>
                  <a:pt x="6073280" y="4812425"/>
                </a:cubicBezTo>
                <a:close/>
                <a:moveTo>
                  <a:pt x="1589042" y="4812407"/>
                </a:moveTo>
                <a:cubicBezTo>
                  <a:pt x="1589507" y="4813646"/>
                  <a:pt x="1589507" y="4815608"/>
                  <a:pt x="1589972" y="4816847"/>
                </a:cubicBezTo>
                <a:cubicBezTo>
                  <a:pt x="1589972" y="4816847"/>
                  <a:pt x="1589972" y="4816847"/>
                  <a:pt x="1588887" y="4817157"/>
                </a:cubicBezTo>
                <a:cubicBezTo>
                  <a:pt x="1589507" y="4815608"/>
                  <a:pt x="1586874" y="4813026"/>
                  <a:pt x="1589042" y="4812407"/>
                </a:cubicBezTo>
                <a:close/>
                <a:moveTo>
                  <a:pt x="1285600" y="4811994"/>
                </a:moveTo>
                <a:cubicBezTo>
                  <a:pt x="1290247" y="4809825"/>
                  <a:pt x="1294739" y="4814472"/>
                  <a:pt x="1295049" y="4819118"/>
                </a:cubicBezTo>
                <a:cubicBezTo>
                  <a:pt x="1295049" y="4820564"/>
                  <a:pt x="1294739" y="4822113"/>
                  <a:pt x="1293655" y="4823352"/>
                </a:cubicBezTo>
                <a:cubicBezTo>
                  <a:pt x="1292106" y="4824075"/>
                  <a:pt x="1290557" y="4824075"/>
                  <a:pt x="1289318" y="4823559"/>
                </a:cubicBezTo>
                <a:lnTo>
                  <a:pt x="1287924" y="4822216"/>
                </a:lnTo>
                <a:lnTo>
                  <a:pt x="1286065" y="4823559"/>
                </a:lnTo>
                <a:cubicBezTo>
                  <a:pt x="1284671" y="4824178"/>
                  <a:pt x="1283123" y="4824798"/>
                  <a:pt x="1281728" y="4826140"/>
                </a:cubicBezTo>
                <a:cubicBezTo>
                  <a:pt x="1280179" y="4824798"/>
                  <a:pt x="1279095" y="4823869"/>
                  <a:pt x="1278785" y="4822733"/>
                </a:cubicBezTo>
                <a:cubicBezTo>
                  <a:pt x="1278630" y="4821700"/>
                  <a:pt x="1278940" y="4820358"/>
                  <a:pt x="1280024" y="4818189"/>
                </a:cubicBezTo>
                <a:cubicBezTo>
                  <a:pt x="1280024" y="4818189"/>
                  <a:pt x="1280799" y="4817363"/>
                  <a:pt x="1280799" y="4817363"/>
                </a:cubicBezTo>
                <a:lnTo>
                  <a:pt x="1285291" y="4814266"/>
                </a:lnTo>
                <a:close/>
                <a:moveTo>
                  <a:pt x="1119706" y="4811994"/>
                </a:moveTo>
                <a:cubicBezTo>
                  <a:pt x="1121101" y="4814678"/>
                  <a:pt x="1121720" y="4815608"/>
                  <a:pt x="1120636" y="4818292"/>
                </a:cubicBezTo>
                <a:cubicBezTo>
                  <a:pt x="1119861" y="4817363"/>
                  <a:pt x="1119397" y="4816434"/>
                  <a:pt x="1119242" y="4815505"/>
                </a:cubicBezTo>
                <a:cubicBezTo>
                  <a:pt x="1118932" y="4814472"/>
                  <a:pt x="1119087" y="4813336"/>
                  <a:pt x="1119706" y="4811994"/>
                </a:cubicBezTo>
                <a:close/>
                <a:moveTo>
                  <a:pt x="1324789" y="4811581"/>
                </a:moveTo>
                <a:cubicBezTo>
                  <a:pt x="1329126" y="4808586"/>
                  <a:pt x="1342602" y="4822010"/>
                  <a:pt x="1324789" y="4821184"/>
                </a:cubicBezTo>
                <a:cubicBezTo>
                  <a:pt x="1322776" y="4815402"/>
                  <a:pt x="1323240" y="4812613"/>
                  <a:pt x="1324789" y="4811581"/>
                </a:cubicBezTo>
                <a:close/>
                <a:moveTo>
                  <a:pt x="1718381" y="4811374"/>
                </a:moveTo>
                <a:cubicBezTo>
                  <a:pt x="1719155" y="4811891"/>
                  <a:pt x="1719620" y="4811065"/>
                  <a:pt x="1720394" y="4811478"/>
                </a:cubicBezTo>
                <a:cubicBezTo>
                  <a:pt x="1722253" y="4811684"/>
                  <a:pt x="1722253" y="4811684"/>
                  <a:pt x="1722563" y="4812923"/>
                </a:cubicBezTo>
                <a:cubicBezTo>
                  <a:pt x="1722718" y="4814059"/>
                  <a:pt x="1720549" y="4816021"/>
                  <a:pt x="1720704" y="4817260"/>
                </a:cubicBezTo>
                <a:cubicBezTo>
                  <a:pt x="1720704" y="4817260"/>
                  <a:pt x="1720704" y="4817260"/>
                  <a:pt x="1718690" y="4817157"/>
                </a:cubicBezTo>
                <a:cubicBezTo>
                  <a:pt x="1718071" y="4816640"/>
                  <a:pt x="1717297" y="4816227"/>
                  <a:pt x="1717142" y="4814988"/>
                </a:cubicBezTo>
                <a:cubicBezTo>
                  <a:pt x="1716987" y="4813749"/>
                  <a:pt x="1717916" y="4812201"/>
                  <a:pt x="1718381" y="4811374"/>
                </a:cubicBezTo>
                <a:close/>
                <a:moveTo>
                  <a:pt x="938478" y="4811374"/>
                </a:moveTo>
                <a:cubicBezTo>
                  <a:pt x="938633" y="4812304"/>
                  <a:pt x="939717" y="4814059"/>
                  <a:pt x="938943" y="4814059"/>
                </a:cubicBezTo>
                <a:cubicBezTo>
                  <a:pt x="939097" y="4814988"/>
                  <a:pt x="937393" y="4815091"/>
                  <a:pt x="937393" y="4815091"/>
                </a:cubicBezTo>
                <a:cubicBezTo>
                  <a:pt x="937549" y="4815917"/>
                  <a:pt x="937703" y="4816847"/>
                  <a:pt x="937083" y="4817879"/>
                </a:cubicBezTo>
                <a:cubicBezTo>
                  <a:pt x="936155" y="4816950"/>
                  <a:pt x="936155" y="4817879"/>
                  <a:pt x="935380" y="4817879"/>
                </a:cubicBezTo>
                <a:cubicBezTo>
                  <a:pt x="936155" y="4816950"/>
                  <a:pt x="935690" y="4814266"/>
                  <a:pt x="936309" y="4812407"/>
                </a:cubicBezTo>
                <a:cubicBezTo>
                  <a:pt x="937083" y="4812407"/>
                  <a:pt x="937703" y="4811478"/>
                  <a:pt x="938478" y="4811374"/>
                </a:cubicBezTo>
                <a:close/>
                <a:moveTo>
                  <a:pt x="2021203" y="4810651"/>
                </a:moveTo>
                <a:lnTo>
                  <a:pt x="2022288" y="4814575"/>
                </a:lnTo>
                <a:lnTo>
                  <a:pt x="2026315" y="4813543"/>
                </a:lnTo>
                <a:cubicBezTo>
                  <a:pt x="2032975" y="4813646"/>
                  <a:pt x="2042269" y="4818086"/>
                  <a:pt x="2042269" y="4825107"/>
                </a:cubicBezTo>
                <a:cubicBezTo>
                  <a:pt x="2039326" y="4823972"/>
                  <a:pt x="2036538" y="4822836"/>
                  <a:pt x="2033439" y="4821907"/>
                </a:cubicBezTo>
                <a:lnTo>
                  <a:pt x="2025075" y="4820564"/>
                </a:lnTo>
                <a:lnTo>
                  <a:pt x="2028018" y="4824488"/>
                </a:lnTo>
                <a:cubicBezTo>
                  <a:pt x="2031271" y="4828412"/>
                  <a:pt x="2034369" y="4832026"/>
                  <a:pt x="2032665" y="4836775"/>
                </a:cubicBezTo>
                <a:cubicBezTo>
                  <a:pt x="2025695" y="4831303"/>
                  <a:pt x="2017950" y="4827173"/>
                  <a:pt x="2014697" y="4815195"/>
                </a:cubicBezTo>
                <a:cubicBezTo>
                  <a:pt x="2016556" y="4813543"/>
                  <a:pt x="2017176" y="4809000"/>
                  <a:pt x="2021203" y="4810651"/>
                </a:cubicBezTo>
                <a:close/>
                <a:moveTo>
                  <a:pt x="1894033" y="4810445"/>
                </a:moveTo>
                <a:cubicBezTo>
                  <a:pt x="1902398" y="4811684"/>
                  <a:pt x="1910762" y="4811271"/>
                  <a:pt x="1919436" y="4820254"/>
                </a:cubicBezTo>
                <a:cubicBezTo>
                  <a:pt x="1918662" y="4822836"/>
                  <a:pt x="1920520" y="4827276"/>
                  <a:pt x="1916338" y="4827895"/>
                </a:cubicBezTo>
                <a:cubicBezTo>
                  <a:pt x="1910917" y="4817260"/>
                  <a:pt x="1896046" y="4820977"/>
                  <a:pt x="1894033" y="4810445"/>
                </a:cubicBezTo>
                <a:close/>
                <a:moveTo>
                  <a:pt x="1875755" y="4810445"/>
                </a:moveTo>
                <a:lnTo>
                  <a:pt x="1875601" y="4813233"/>
                </a:lnTo>
                <a:lnTo>
                  <a:pt x="1876065" y="4813336"/>
                </a:lnTo>
                <a:cubicBezTo>
                  <a:pt x="1880247" y="4816950"/>
                  <a:pt x="1881177" y="4828515"/>
                  <a:pt x="1876839" y="4829547"/>
                </a:cubicBezTo>
                <a:cubicBezTo>
                  <a:pt x="1874516" y="4830167"/>
                  <a:pt x="1870644" y="4827689"/>
                  <a:pt x="1865068" y="4819428"/>
                </a:cubicBezTo>
                <a:lnTo>
                  <a:pt x="1868630" y="4814885"/>
                </a:lnTo>
                <a:lnTo>
                  <a:pt x="1868011" y="4814575"/>
                </a:lnTo>
                <a:cubicBezTo>
                  <a:pt x="1868940" y="4812510"/>
                  <a:pt x="1870179" y="4811271"/>
                  <a:pt x="1871573" y="4810651"/>
                </a:cubicBezTo>
                <a:cubicBezTo>
                  <a:pt x="1872967" y="4810032"/>
                  <a:pt x="1874361" y="4810032"/>
                  <a:pt x="1875755" y="4810445"/>
                </a:cubicBezTo>
                <a:close/>
                <a:moveTo>
                  <a:pt x="2046141" y="4809825"/>
                </a:moveTo>
                <a:cubicBezTo>
                  <a:pt x="2046761" y="4810239"/>
                  <a:pt x="2047226" y="4810961"/>
                  <a:pt x="2047381" y="4812201"/>
                </a:cubicBezTo>
                <a:cubicBezTo>
                  <a:pt x="2045831" y="4813130"/>
                  <a:pt x="2044592" y="4813440"/>
                  <a:pt x="2042424" y="4813852"/>
                </a:cubicBezTo>
                <a:cubicBezTo>
                  <a:pt x="2040565" y="4810445"/>
                  <a:pt x="2044127" y="4808483"/>
                  <a:pt x="2046141" y="4809825"/>
                </a:cubicBezTo>
                <a:close/>
                <a:moveTo>
                  <a:pt x="1307441" y="4809516"/>
                </a:moveTo>
                <a:cubicBezTo>
                  <a:pt x="1309610" y="4812407"/>
                  <a:pt x="1311003" y="4814266"/>
                  <a:pt x="1311468" y="4816124"/>
                </a:cubicBezTo>
                <a:cubicBezTo>
                  <a:pt x="1310384" y="4817363"/>
                  <a:pt x="1309300" y="4817673"/>
                  <a:pt x="1308060" y="4817570"/>
                </a:cubicBezTo>
                <a:cubicBezTo>
                  <a:pt x="1306976" y="4817363"/>
                  <a:pt x="1305892" y="4816640"/>
                  <a:pt x="1305272" y="4815711"/>
                </a:cubicBezTo>
                <a:cubicBezTo>
                  <a:pt x="1303878" y="4813852"/>
                  <a:pt x="1303878" y="4810961"/>
                  <a:pt x="1307441" y="4809516"/>
                </a:cubicBezTo>
                <a:close/>
                <a:moveTo>
                  <a:pt x="1658804" y="4809464"/>
                </a:moveTo>
                <a:cubicBezTo>
                  <a:pt x="1660953" y="4809129"/>
                  <a:pt x="1663547" y="4810187"/>
                  <a:pt x="1666800" y="4813336"/>
                </a:cubicBezTo>
                <a:cubicBezTo>
                  <a:pt x="1657662" y="4817776"/>
                  <a:pt x="1653944" y="4830580"/>
                  <a:pt x="1645734" y="4830786"/>
                </a:cubicBezTo>
                <a:lnTo>
                  <a:pt x="1649607" y="4822526"/>
                </a:lnTo>
                <a:lnTo>
                  <a:pt x="1648058" y="4821287"/>
                </a:lnTo>
                <a:cubicBezTo>
                  <a:pt x="1647283" y="4820358"/>
                  <a:pt x="1646509" y="4818292"/>
                  <a:pt x="1646354" y="4816124"/>
                </a:cubicBezTo>
                <a:cubicBezTo>
                  <a:pt x="1646044" y="4814059"/>
                  <a:pt x="1646199" y="4811891"/>
                  <a:pt x="1647128" y="4810651"/>
                </a:cubicBezTo>
                <a:cubicBezTo>
                  <a:pt x="1648677" y="4811787"/>
                  <a:pt x="1650226" y="4812923"/>
                  <a:pt x="1651775" y="4814059"/>
                </a:cubicBezTo>
                <a:cubicBezTo>
                  <a:pt x="1651311" y="4813956"/>
                  <a:pt x="1651466" y="4815917"/>
                  <a:pt x="1651621" y="4817983"/>
                </a:cubicBezTo>
                <a:lnTo>
                  <a:pt x="1653479" y="4813956"/>
                </a:lnTo>
                <a:cubicBezTo>
                  <a:pt x="1654951" y="4811529"/>
                  <a:pt x="1656654" y="4809800"/>
                  <a:pt x="1658804" y="4809464"/>
                </a:cubicBezTo>
                <a:close/>
                <a:moveTo>
                  <a:pt x="2049549" y="4809309"/>
                </a:moveTo>
                <a:cubicBezTo>
                  <a:pt x="2050788" y="4809619"/>
                  <a:pt x="2050788" y="4809619"/>
                  <a:pt x="2050014" y="4810755"/>
                </a:cubicBezTo>
                <a:cubicBezTo>
                  <a:pt x="2049549" y="4810548"/>
                  <a:pt x="2049549" y="4810342"/>
                  <a:pt x="2049549" y="4810135"/>
                </a:cubicBezTo>
                <a:cubicBezTo>
                  <a:pt x="2049549" y="4809929"/>
                  <a:pt x="2049704" y="4809619"/>
                  <a:pt x="2049549" y="4809309"/>
                </a:cubicBezTo>
                <a:close/>
                <a:moveTo>
                  <a:pt x="6046793" y="4808914"/>
                </a:moveTo>
                <a:cubicBezTo>
                  <a:pt x="6047413" y="4810360"/>
                  <a:pt x="6045864" y="4813767"/>
                  <a:pt x="6044935" y="4816142"/>
                </a:cubicBezTo>
                <a:cubicBezTo>
                  <a:pt x="6043695" y="4816658"/>
                  <a:pt x="6042456" y="4816865"/>
                  <a:pt x="6041062" y="4816762"/>
                </a:cubicBezTo>
                <a:cubicBezTo>
                  <a:pt x="6039823" y="4816658"/>
                  <a:pt x="6038429" y="4816245"/>
                  <a:pt x="6037190" y="4815419"/>
                </a:cubicBezTo>
                <a:cubicBezTo>
                  <a:pt x="6039203" y="4810876"/>
                  <a:pt x="6042301" y="4809327"/>
                  <a:pt x="6046793" y="4808914"/>
                </a:cubicBezTo>
                <a:close/>
                <a:moveTo>
                  <a:pt x="1597717" y="4808070"/>
                </a:moveTo>
                <a:cubicBezTo>
                  <a:pt x="1594309" y="4809929"/>
                  <a:pt x="1593534" y="4812820"/>
                  <a:pt x="1591675" y="4813440"/>
                </a:cubicBezTo>
                <a:cubicBezTo>
                  <a:pt x="1591056" y="4813646"/>
                  <a:pt x="1590282" y="4813543"/>
                  <a:pt x="1589197" y="4813130"/>
                </a:cubicBezTo>
                <a:cubicBezTo>
                  <a:pt x="1588887" y="4809516"/>
                  <a:pt x="1594464" y="4806418"/>
                  <a:pt x="1597717" y="4808070"/>
                </a:cubicBezTo>
                <a:close/>
                <a:moveTo>
                  <a:pt x="2042269" y="4806728"/>
                </a:moveTo>
                <a:cubicBezTo>
                  <a:pt x="2042114" y="4807864"/>
                  <a:pt x="2041959" y="4809000"/>
                  <a:pt x="2041959" y="4810239"/>
                </a:cubicBezTo>
                <a:cubicBezTo>
                  <a:pt x="2039636" y="4809929"/>
                  <a:pt x="2037313" y="4809516"/>
                  <a:pt x="2037467" y="4807141"/>
                </a:cubicBezTo>
                <a:cubicBezTo>
                  <a:pt x="2039326" y="4806831"/>
                  <a:pt x="2039326" y="4805695"/>
                  <a:pt x="2042269" y="4806728"/>
                </a:cubicBezTo>
                <a:close/>
                <a:moveTo>
                  <a:pt x="934450" y="4804766"/>
                </a:moveTo>
                <a:cubicBezTo>
                  <a:pt x="934450" y="4804766"/>
                  <a:pt x="933831" y="4806624"/>
                  <a:pt x="933831" y="4806624"/>
                </a:cubicBezTo>
                <a:cubicBezTo>
                  <a:pt x="932437" y="4808483"/>
                  <a:pt x="931662" y="4809412"/>
                  <a:pt x="931043" y="4811168"/>
                </a:cubicBezTo>
                <a:cubicBezTo>
                  <a:pt x="929184" y="4810445"/>
                  <a:pt x="929029" y="4809516"/>
                  <a:pt x="929804" y="4808586"/>
                </a:cubicBezTo>
                <a:cubicBezTo>
                  <a:pt x="929804" y="4808586"/>
                  <a:pt x="930578" y="4807760"/>
                  <a:pt x="931353" y="4806831"/>
                </a:cubicBezTo>
                <a:cubicBezTo>
                  <a:pt x="931972" y="4805902"/>
                  <a:pt x="931972" y="4804973"/>
                  <a:pt x="931972" y="4804973"/>
                </a:cubicBezTo>
                <a:cubicBezTo>
                  <a:pt x="932747" y="4804043"/>
                  <a:pt x="933521" y="4803940"/>
                  <a:pt x="934450" y="4804766"/>
                </a:cubicBezTo>
                <a:close/>
                <a:moveTo>
                  <a:pt x="1026459" y="4804250"/>
                </a:moveTo>
                <a:cubicBezTo>
                  <a:pt x="1028008" y="4806315"/>
                  <a:pt x="1028783" y="4807967"/>
                  <a:pt x="1029866" y="4810755"/>
                </a:cubicBezTo>
                <a:cubicBezTo>
                  <a:pt x="1029866" y="4810755"/>
                  <a:pt x="1030641" y="4815505"/>
                  <a:pt x="1027853" y="4816847"/>
                </a:cubicBezTo>
                <a:cubicBezTo>
                  <a:pt x="1027388" y="4817673"/>
                  <a:pt x="1024600" y="4815814"/>
                  <a:pt x="1024445" y="4814678"/>
                </a:cubicBezTo>
                <a:cubicBezTo>
                  <a:pt x="1023981" y="4812304"/>
                  <a:pt x="1023826" y="4811168"/>
                  <a:pt x="1024910" y="4809619"/>
                </a:cubicBezTo>
                <a:cubicBezTo>
                  <a:pt x="1024600" y="4808483"/>
                  <a:pt x="1024445" y="4807244"/>
                  <a:pt x="1024600" y="4806315"/>
                </a:cubicBezTo>
                <a:cubicBezTo>
                  <a:pt x="1024755" y="4805282"/>
                  <a:pt x="1025220" y="4804663"/>
                  <a:pt x="1026459" y="4804250"/>
                </a:cubicBezTo>
                <a:close/>
                <a:moveTo>
                  <a:pt x="1829596" y="4803734"/>
                </a:moveTo>
                <a:lnTo>
                  <a:pt x="1829906" y="4804043"/>
                </a:lnTo>
                <a:lnTo>
                  <a:pt x="1830990" y="4804146"/>
                </a:lnTo>
                <a:cubicBezTo>
                  <a:pt x="1831765" y="4804353"/>
                  <a:pt x="1832539" y="4804766"/>
                  <a:pt x="1833468" y="4805489"/>
                </a:cubicBezTo>
                <a:cubicBezTo>
                  <a:pt x="1834398" y="4806418"/>
                  <a:pt x="1834398" y="4806418"/>
                  <a:pt x="1834398" y="4807244"/>
                </a:cubicBezTo>
                <a:cubicBezTo>
                  <a:pt x="1834863" y="4808173"/>
                  <a:pt x="1835327" y="4808896"/>
                  <a:pt x="1835637" y="4809516"/>
                </a:cubicBezTo>
                <a:lnTo>
                  <a:pt x="1835637" y="4809929"/>
                </a:lnTo>
                <a:lnTo>
                  <a:pt x="1836722" y="4810858"/>
                </a:lnTo>
                <a:cubicBezTo>
                  <a:pt x="1839510" y="4812407"/>
                  <a:pt x="1842453" y="4813440"/>
                  <a:pt x="1845396" y="4814575"/>
                </a:cubicBezTo>
                <a:lnTo>
                  <a:pt x="1846170" y="4813026"/>
                </a:lnTo>
                <a:cubicBezTo>
                  <a:pt x="1847409" y="4811994"/>
                  <a:pt x="1848803" y="4811271"/>
                  <a:pt x="1849578" y="4810032"/>
                </a:cubicBezTo>
                <a:cubicBezTo>
                  <a:pt x="1852831" y="4812097"/>
                  <a:pt x="1853605" y="4814988"/>
                  <a:pt x="1853296" y="4817157"/>
                </a:cubicBezTo>
                <a:lnTo>
                  <a:pt x="1852366" y="4818809"/>
                </a:lnTo>
                <a:lnTo>
                  <a:pt x="1853605" y="4820048"/>
                </a:lnTo>
                <a:cubicBezTo>
                  <a:pt x="1854535" y="4821080"/>
                  <a:pt x="1855154" y="4822319"/>
                  <a:pt x="1855774" y="4823765"/>
                </a:cubicBezTo>
                <a:cubicBezTo>
                  <a:pt x="1856858" y="4826553"/>
                  <a:pt x="1857478" y="4829135"/>
                  <a:pt x="1857478" y="4831612"/>
                </a:cubicBezTo>
                <a:lnTo>
                  <a:pt x="1856703" y="4835536"/>
                </a:lnTo>
                <a:lnTo>
                  <a:pt x="1856858" y="4835743"/>
                </a:lnTo>
                <a:cubicBezTo>
                  <a:pt x="1857787" y="4837085"/>
                  <a:pt x="1857632" y="4839357"/>
                  <a:pt x="1856393" y="4841938"/>
                </a:cubicBezTo>
                <a:lnTo>
                  <a:pt x="1854380" y="4840699"/>
                </a:lnTo>
                <a:lnTo>
                  <a:pt x="1852057" y="4843694"/>
                </a:lnTo>
                <a:lnTo>
                  <a:pt x="1849113" y="4845552"/>
                </a:lnTo>
                <a:lnTo>
                  <a:pt x="1848339" y="4847927"/>
                </a:lnTo>
                <a:lnTo>
                  <a:pt x="1850662" y="4847411"/>
                </a:lnTo>
                <a:cubicBezTo>
                  <a:pt x="1851591" y="4847514"/>
                  <a:pt x="1852521" y="4848030"/>
                  <a:pt x="1853605" y="4848960"/>
                </a:cubicBezTo>
                <a:cubicBezTo>
                  <a:pt x="1853760" y="4851541"/>
                  <a:pt x="1850662" y="4855775"/>
                  <a:pt x="1848184" y="4855671"/>
                </a:cubicBezTo>
                <a:cubicBezTo>
                  <a:pt x="1847254" y="4854742"/>
                  <a:pt x="1846325" y="4853813"/>
                  <a:pt x="1845551" y="4852986"/>
                </a:cubicBezTo>
                <a:lnTo>
                  <a:pt x="1846170" y="4851747"/>
                </a:lnTo>
                <a:lnTo>
                  <a:pt x="1843537" y="4855568"/>
                </a:lnTo>
                <a:cubicBezTo>
                  <a:pt x="1839974" y="4859079"/>
                  <a:pt x="1835327" y="4861247"/>
                  <a:pt x="1830061" y="4860524"/>
                </a:cubicBezTo>
                <a:cubicBezTo>
                  <a:pt x="1827582" y="4860111"/>
                  <a:pt x="1824794" y="4859079"/>
                  <a:pt x="1822006" y="4857117"/>
                </a:cubicBezTo>
                <a:cubicBezTo>
                  <a:pt x="1820302" y="4855671"/>
                  <a:pt x="1818908" y="4853916"/>
                  <a:pt x="1817979" y="4851954"/>
                </a:cubicBezTo>
                <a:lnTo>
                  <a:pt x="1816275" y="4847308"/>
                </a:lnTo>
                <a:lnTo>
                  <a:pt x="1815036" y="4846378"/>
                </a:lnTo>
                <a:lnTo>
                  <a:pt x="1815811" y="4845759"/>
                </a:lnTo>
                <a:lnTo>
                  <a:pt x="1814261" y="4841732"/>
                </a:lnTo>
                <a:cubicBezTo>
                  <a:pt x="1813177" y="4837911"/>
                  <a:pt x="1811938" y="4833884"/>
                  <a:pt x="1809924" y="4829857"/>
                </a:cubicBezTo>
                <a:lnTo>
                  <a:pt x="1811318" y="4829960"/>
                </a:lnTo>
                <a:lnTo>
                  <a:pt x="1810544" y="4829031"/>
                </a:lnTo>
                <a:cubicBezTo>
                  <a:pt x="1809460" y="4827379"/>
                  <a:pt x="1808685" y="4825727"/>
                  <a:pt x="1808530" y="4824281"/>
                </a:cubicBezTo>
                <a:cubicBezTo>
                  <a:pt x="1808530" y="4823352"/>
                  <a:pt x="1808840" y="4822423"/>
                  <a:pt x="1809460" y="4821597"/>
                </a:cubicBezTo>
                <a:cubicBezTo>
                  <a:pt x="1812248" y="4818189"/>
                  <a:pt x="1817514" y="4818086"/>
                  <a:pt x="1822316" y="4820771"/>
                </a:cubicBezTo>
                <a:lnTo>
                  <a:pt x="1823091" y="4821493"/>
                </a:lnTo>
                <a:lnTo>
                  <a:pt x="1826963" y="4811891"/>
                </a:lnTo>
                <a:lnTo>
                  <a:pt x="1827892" y="4809103"/>
                </a:lnTo>
                <a:lnTo>
                  <a:pt x="1827273" y="4808277"/>
                </a:lnTo>
                <a:cubicBezTo>
                  <a:pt x="1826963" y="4807141"/>
                  <a:pt x="1826654" y="4806005"/>
                  <a:pt x="1825724" y="4805179"/>
                </a:cubicBezTo>
                <a:cubicBezTo>
                  <a:pt x="1826654" y="4804766"/>
                  <a:pt x="1827582" y="4804146"/>
                  <a:pt x="1828822" y="4803940"/>
                </a:cubicBezTo>
                <a:lnTo>
                  <a:pt x="1829596" y="4804043"/>
                </a:lnTo>
                <a:close/>
                <a:moveTo>
                  <a:pt x="1583156" y="4803320"/>
                </a:moveTo>
                <a:cubicBezTo>
                  <a:pt x="1583156" y="4803320"/>
                  <a:pt x="1583156" y="4803320"/>
                  <a:pt x="1584085" y="4803423"/>
                </a:cubicBezTo>
                <a:cubicBezTo>
                  <a:pt x="1583311" y="4806831"/>
                  <a:pt x="1584395" y="4811271"/>
                  <a:pt x="1582847" y="4813852"/>
                </a:cubicBezTo>
                <a:cubicBezTo>
                  <a:pt x="1582382" y="4814266"/>
                  <a:pt x="1582072" y="4814678"/>
                  <a:pt x="1581452" y="4814782"/>
                </a:cubicBezTo>
                <a:cubicBezTo>
                  <a:pt x="1580987" y="4814885"/>
                  <a:pt x="1580368" y="4814678"/>
                  <a:pt x="1579439" y="4813749"/>
                </a:cubicBezTo>
                <a:cubicBezTo>
                  <a:pt x="1577735" y="4812717"/>
                  <a:pt x="1577735" y="4811891"/>
                  <a:pt x="1579284" y="4809309"/>
                </a:cubicBezTo>
                <a:cubicBezTo>
                  <a:pt x="1580833" y="4807657"/>
                  <a:pt x="1581607" y="4805902"/>
                  <a:pt x="1582537" y="4806005"/>
                </a:cubicBezTo>
                <a:cubicBezTo>
                  <a:pt x="1582382" y="4805076"/>
                  <a:pt x="1583311" y="4804250"/>
                  <a:pt x="1583156" y="4803320"/>
                </a:cubicBezTo>
                <a:close/>
                <a:moveTo>
                  <a:pt x="5937746" y="4801789"/>
                </a:moveTo>
                <a:cubicBezTo>
                  <a:pt x="5939605" y="4801273"/>
                  <a:pt x="5941928" y="4801686"/>
                  <a:pt x="5944407" y="4803854"/>
                </a:cubicBezTo>
                <a:cubicBezTo>
                  <a:pt x="5940999" y="4809224"/>
                  <a:pt x="5942548" y="4813147"/>
                  <a:pt x="5937901" y="4816245"/>
                </a:cubicBezTo>
                <a:cubicBezTo>
                  <a:pt x="5935888" y="4815729"/>
                  <a:pt x="5934493" y="4814593"/>
                  <a:pt x="5933564" y="4813251"/>
                </a:cubicBezTo>
                <a:cubicBezTo>
                  <a:pt x="5931086" y="4809224"/>
                  <a:pt x="5933409" y="4802925"/>
                  <a:pt x="5937746" y="4801789"/>
                </a:cubicBezTo>
                <a:close/>
                <a:moveTo>
                  <a:pt x="1685233" y="4801255"/>
                </a:moveTo>
                <a:cubicBezTo>
                  <a:pt x="1686008" y="4800945"/>
                  <a:pt x="1686937" y="4800533"/>
                  <a:pt x="1687092" y="4801255"/>
                </a:cubicBezTo>
                <a:cubicBezTo>
                  <a:pt x="1687247" y="4801668"/>
                  <a:pt x="1687092" y="4801875"/>
                  <a:pt x="1686782" y="4802081"/>
                </a:cubicBezTo>
                <a:cubicBezTo>
                  <a:pt x="1686472" y="4802184"/>
                  <a:pt x="1686008" y="4802184"/>
                  <a:pt x="1685388" y="4801978"/>
                </a:cubicBezTo>
                <a:cubicBezTo>
                  <a:pt x="1685388" y="4801978"/>
                  <a:pt x="1685233" y="4801255"/>
                  <a:pt x="1685233" y="4801255"/>
                </a:cubicBezTo>
                <a:close/>
                <a:moveTo>
                  <a:pt x="2073566" y="4801102"/>
                </a:moveTo>
                <a:lnTo>
                  <a:pt x="2072938" y="4801668"/>
                </a:lnTo>
                <a:lnTo>
                  <a:pt x="2073868" y="4802907"/>
                </a:lnTo>
                <a:cubicBezTo>
                  <a:pt x="2074332" y="4803630"/>
                  <a:pt x="2074487" y="4804456"/>
                  <a:pt x="2075107" y="4805179"/>
                </a:cubicBezTo>
                <a:cubicBezTo>
                  <a:pt x="2074642" y="4806315"/>
                  <a:pt x="2073248" y="4807760"/>
                  <a:pt x="2071234" y="4806728"/>
                </a:cubicBezTo>
                <a:lnTo>
                  <a:pt x="2069221" y="4805179"/>
                </a:lnTo>
                <a:lnTo>
                  <a:pt x="2065194" y="4808793"/>
                </a:lnTo>
                <a:cubicBezTo>
                  <a:pt x="2062096" y="4811994"/>
                  <a:pt x="2060082" y="4815814"/>
                  <a:pt x="2058688" y="4819635"/>
                </a:cubicBezTo>
                <a:lnTo>
                  <a:pt x="2056055" y="4830890"/>
                </a:lnTo>
                <a:lnTo>
                  <a:pt x="2057759" y="4830786"/>
                </a:lnTo>
                <a:cubicBezTo>
                  <a:pt x="2058997" y="4831200"/>
                  <a:pt x="2060082" y="4832336"/>
                  <a:pt x="2061166" y="4834710"/>
                </a:cubicBezTo>
                <a:lnTo>
                  <a:pt x="2061786" y="4836775"/>
                </a:lnTo>
                <a:lnTo>
                  <a:pt x="2063335" y="4831612"/>
                </a:lnTo>
                <a:lnTo>
                  <a:pt x="2067363" y="4825417"/>
                </a:lnTo>
                <a:lnTo>
                  <a:pt x="2067363" y="4824591"/>
                </a:lnTo>
                <a:cubicBezTo>
                  <a:pt x="2067672" y="4823352"/>
                  <a:pt x="2069221" y="4820461"/>
                  <a:pt x="2069685" y="4821184"/>
                </a:cubicBezTo>
                <a:cubicBezTo>
                  <a:pt x="2070770" y="4821493"/>
                  <a:pt x="2070305" y="4820771"/>
                  <a:pt x="2071080" y="4820254"/>
                </a:cubicBezTo>
                <a:cubicBezTo>
                  <a:pt x="2074487" y="4821080"/>
                  <a:pt x="2076346" y="4822733"/>
                  <a:pt x="2076036" y="4825934"/>
                </a:cubicBezTo>
                <a:lnTo>
                  <a:pt x="2075417" y="4827482"/>
                </a:lnTo>
                <a:lnTo>
                  <a:pt x="2076811" y="4828412"/>
                </a:lnTo>
                <a:lnTo>
                  <a:pt x="2076965" y="4826243"/>
                </a:lnTo>
                <a:lnTo>
                  <a:pt x="2080373" y="4827173"/>
                </a:lnTo>
                <a:cubicBezTo>
                  <a:pt x="2080219" y="4827689"/>
                  <a:pt x="2079909" y="4828412"/>
                  <a:pt x="2079444" y="4828928"/>
                </a:cubicBezTo>
                <a:lnTo>
                  <a:pt x="2077895" y="4829651"/>
                </a:lnTo>
                <a:lnTo>
                  <a:pt x="2081612" y="4835536"/>
                </a:lnTo>
                <a:lnTo>
                  <a:pt x="2082387" y="4833368"/>
                </a:lnTo>
                <a:lnTo>
                  <a:pt x="2083781" y="4832955"/>
                </a:lnTo>
                <a:lnTo>
                  <a:pt x="2082387" y="4830374"/>
                </a:lnTo>
                <a:cubicBezTo>
                  <a:pt x="2080219" y="4825520"/>
                  <a:pt x="2078205" y="4820151"/>
                  <a:pt x="2074642" y="4814782"/>
                </a:cubicBezTo>
                <a:lnTo>
                  <a:pt x="2076811" y="4814885"/>
                </a:lnTo>
                <a:lnTo>
                  <a:pt x="2076656" y="4813852"/>
                </a:lnTo>
                <a:lnTo>
                  <a:pt x="2082039" y="4811802"/>
                </a:lnTo>
                <a:close/>
                <a:moveTo>
                  <a:pt x="1682909" y="4801049"/>
                </a:moveTo>
                <a:lnTo>
                  <a:pt x="1684149" y="4801875"/>
                </a:lnTo>
                <a:lnTo>
                  <a:pt x="1684768" y="4802184"/>
                </a:lnTo>
                <a:lnTo>
                  <a:pt x="1684613" y="4802288"/>
                </a:lnTo>
                <a:lnTo>
                  <a:pt x="1686008" y="4804146"/>
                </a:lnTo>
                <a:cubicBezTo>
                  <a:pt x="1686008" y="4804146"/>
                  <a:pt x="1686937" y="4804250"/>
                  <a:pt x="1687711" y="4804456"/>
                </a:cubicBezTo>
                <a:cubicBezTo>
                  <a:pt x="1690034" y="4806521"/>
                  <a:pt x="1691739" y="4807657"/>
                  <a:pt x="1690654" y="4810858"/>
                </a:cubicBezTo>
                <a:cubicBezTo>
                  <a:pt x="1689880" y="4810755"/>
                  <a:pt x="1688176" y="4808793"/>
                  <a:pt x="1687401" y="4807760"/>
                </a:cubicBezTo>
                <a:cubicBezTo>
                  <a:pt x="1686627" y="4807657"/>
                  <a:pt x="1685853" y="4806728"/>
                  <a:pt x="1685853" y="4805799"/>
                </a:cubicBezTo>
                <a:cubicBezTo>
                  <a:pt x="1685853" y="4805799"/>
                  <a:pt x="1685078" y="4804766"/>
                  <a:pt x="1684303" y="4804663"/>
                </a:cubicBezTo>
                <a:lnTo>
                  <a:pt x="1683374" y="4803114"/>
                </a:lnTo>
                <a:lnTo>
                  <a:pt x="1683219" y="4803114"/>
                </a:lnTo>
                <a:cubicBezTo>
                  <a:pt x="1682755" y="4803527"/>
                  <a:pt x="1682135" y="4803734"/>
                  <a:pt x="1681515" y="4803527"/>
                </a:cubicBezTo>
                <a:cubicBezTo>
                  <a:pt x="1681051" y="4803320"/>
                  <a:pt x="1680741" y="4803114"/>
                  <a:pt x="1680586" y="4802907"/>
                </a:cubicBezTo>
                <a:cubicBezTo>
                  <a:pt x="1680431" y="4802598"/>
                  <a:pt x="1680276" y="4802184"/>
                  <a:pt x="1679966" y="4801358"/>
                </a:cubicBezTo>
                <a:cubicBezTo>
                  <a:pt x="1681360" y="4801255"/>
                  <a:pt x="1681980" y="4801255"/>
                  <a:pt x="1682599" y="4801358"/>
                </a:cubicBezTo>
                <a:lnTo>
                  <a:pt x="1682909" y="4801462"/>
                </a:lnTo>
                <a:close/>
                <a:moveTo>
                  <a:pt x="863353" y="4801049"/>
                </a:moveTo>
                <a:cubicBezTo>
                  <a:pt x="865832" y="4804250"/>
                  <a:pt x="864127" y="4809206"/>
                  <a:pt x="858861" y="4808380"/>
                </a:cubicBezTo>
                <a:cubicBezTo>
                  <a:pt x="859325" y="4804766"/>
                  <a:pt x="859791" y="4800945"/>
                  <a:pt x="863353" y="4801049"/>
                </a:cubicBezTo>
                <a:close/>
                <a:moveTo>
                  <a:pt x="900218" y="4800739"/>
                </a:moveTo>
                <a:cubicBezTo>
                  <a:pt x="899599" y="4801668"/>
                  <a:pt x="897895" y="4802701"/>
                  <a:pt x="897276" y="4803630"/>
                </a:cubicBezTo>
                <a:cubicBezTo>
                  <a:pt x="897276" y="4803630"/>
                  <a:pt x="897276" y="4803527"/>
                  <a:pt x="896192" y="4802701"/>
                </a:cubicBezTo>
                <a:cubicBezTo>
                  <a:pt x="897895" y="4802598"/>
                  <a:pt x="898360" y="4799087"/>
                  <a:pt x="900218" y="4800739"/>
                </a:cubicBezTo>
                <a:close/>
                <a:moveTo>
                  <a:pt x="1823246" y="4800326"/>
                </a:moveTo>
                <a:cubicBezTo>
                  <a:pt x="1824175" y="4801255"/>
                  <a:pt x="1824175" y="4801255"/>
                  <a:pt x="1823246" y="4801152"/>
                </a:cubicBezTo>
                <a:cubicBezTo>
                  <a:pt x="1824020" y="4803114"/>
                  <a:pt x="1824020" y="4803940"/>
                  <a:pt x="1824020" y="4804869"/>
                </a:cubicBezTo>
                <a:cubicBezTo>
                  <a:pt x="1823555" y="4805282"/>
                  <a:pt x="1822935" y="4805385"/>
                  <a:pt x="1822161" y="4805282"/>
                </a:cubicBezTo>
                <a:cubicBezTo>
                  <a:pt x="1821387" y="4805282"/>
                  <a:pt x="1820612" y="4804869"/>
                  <a:pt x="1819838" y="4804353"/>
                </a:cubicBezTo>
                <a:cubicBezTo>
                  <a:pt x="1820612" y="4803527"/>
                  <a:pt x="1819838" y="4801668"/>
                  <a:pt x="1820768" y="4800842"/>
                </a:cubicBezTo>
                <a:cubicBezTo>
                  <a:pt x="1820768" y="4800842"/>
                  <a:pt x="1823246" y="4800326"/>
                  <a:pt x="1823246" y="4800326"/>
                </a:cubicBezTo>
                <a:close/>
                <a:moveTo>
                  <a:pt x="1523676" y="4799810"/>
                </a:moveTo>
                <a:cubicBezTo>
                  <a:pt x="1526464" y="4802184"/>
                  <a:pt x="1526155" y="4806005"/>
                  <a:pt x="1532815" y="4806418"/>
                </a:cubicBezTo>
                <a:lnTo>
                  <a:pt x="1530027" y="4809206"/>
                </a:lnTo>
                <a:lnTo>
                  <a:pt x="1530491" y="4809309"/>
                </a:lnTo>
                <a:lnTo>
                  <a:pt x="1527239" y="4813543"/>
                </a:lnTo>
                <a:lnTo>
                  <a:pt x="1526929" y="4814782"/>
                </a:lnTo>
                <a:cubicBezTo>
                  <a:pt x="1526929" y="4815298"/>
                  <a:pt x="1526929" y="4815917"/>
                  <a:pt x="1526774" y="4816537"/>
                </a:cubicBezTo>
                <a:cubicBezTo>
                  <a:pt x="1527239" y="4815402"/>
                  <a:pt x="1528168" y="4814575"/>
                  <a:pt x="1529098" y="4813749"/>
                </a:cubicBezTo>
                <a:cubicBezTo>
                  <a:pt x="1530491" y="4812613"/>
                  <a:pt x="1530801" y="4811891"/>
                  <a:pt x="1530801" y="4809929"/>
                </a:cubicBezTo>
                <a:cubicBezTo>
                  <a:pt x="1530801" y="4809929"/>
                  <a:pt x="1530801" y="4809929"/>
                  <a:pt x="1532970" y="4809309"/>
                </a:cubicBezTo>
                <a:lnTo>
                  <a:pt x="1533744" y="4809722"/>
                </a:lnTo>
                <a:cubicBezTo>
                  <a:pt x="1534054" y="4810135"/>
                  <a:pt x="1533899" y="4810755"/>
                  <a:pt x="1533589" y="4811684"/>
                </a:cubicBezTo>
                <a:cubicBezTo>
                  <a:pt x="1532660" y="4814266"/>
                  <a:pt x="1529717" y="4818189"/>
                  <a:pt x="1529562" y="4818706"/>
                </a:cubicBezTo>
                <a:cubicBezTo>
                  <a:pt x="1529562" y="4818706"/>
                  <a:pt x="1529252" y="4819428"/>
                  <a:pt x="1528943" y="4820254"/>
                </a:cubicBezTo>
                <a:cubicBezTo>
                  <a:pt x="1527703" y="4820564"/>
                  <a:pt x="1526929" y="4820151"/>
                  <a:pt x="1526619" y="4820874"/>
                </a:cubicBezTo>
                <a:cubicBezTo>
                  <a:pt x="1526000" y="4819222"/>
                  <a:pt x="1526309" y="4817983"/>
                  <a:pt x="1526774" y="4816950"/>
                </a:cubicBezTo>
                <a:cubicBezTo>
                  <a:pt x="1526619" y="4817673"/>
                  <a:pt x="1526155" y="4818292"/>
                  <a:pt x="1525535" y="4818809"/>
                </a:cubicBezTo>
                <a:lnTo>
                  <a:pt x="1521662" y="4817363"/>
                </a:lnTo>
                <a:lnTo>
                  <a:pt x="1520888" y="4817879"/>
                </a:lnTo>
                <a:cubicBezTo>
                  <a:pt x="1516861" y="4819428"/>
                  <a:pt x="1512524" y="4819945"/>
                  <a:pt x="1509581" y="4819738"/>
                </a:cubicBezTo>
                <a:cubicBezTo>
                  <a:pt x="1510665" y="4817570"/>
                  <a:pt x="1512059" y="4815711"/>
                  <a:pt x="1513763" y="4814162"/>
                </a:cubicBezTo>
                <a:lnTo>
                  <a:pt x="1518409" y="4811168"/>
                </a:lnTo>
                <a:lnTo>
                  <a:pt x="1517945" y="4808586"/>
                </a:lnTo>
                <a:lnTo>
                  <a:pt x="1515466" y="4812407"/>
                </a:lnTo>
                <a:cubicBezTo>
                  <a:pt x="1511439" y="4816744"/>
                  <a:pt x="1505553" y="4817570"/>
                  <a:pt x="1499512" y="4818396"/>
                </a:cubicBezTo>
                <a:cubicBezTo>
                  <a:pt x="1499667" y="4814059"/>
                  <a:pt x="1502765" y="4811065"/>
                  <a:pt x="1506638" y="4809309"/>
                </a:cubicBezTo>
                <a:lnTo>
                  <a:pt x="1517790" y="4807038"/>
                </a:lnTo>
                <a:lnTo>
                  <a:pt x="1517790" y="4804456"/>
                </a:lnTo>
                <a:cubicBezTo>
                  <a:pt x="1519184" y="4803320"/>
                  <a:pt x="1520268" y="4803217"/>
                  <a:pt x="1521507" y="4803734"/>
                </a:cubicBezTo>
                <a:lnTo>
                  <a:pt x="1523211" y="4805076"/>
                </a:lnTo>
                <a:close/>
                <a:moveTo>
                  <a:pt x="1689260" y="4799603"/>
                </a:moveTo>
                <a:cubicBezTo>
                  <a:pt x="1690344" y="4799913"/>
                  <a:pt x="1690344" y="4799913"/>
                  <a:pt x="1691274" y="4799603"/>
                </a:cubicBezTo>
                <a:cubicBezTo>
                  <a:pt x="1691274" y="4799603"/>
                  <a:pt x="1690499" y="4800636"/>
                  <a:pt x="1690499" y="4800636"/>
                </a:cubicBezTo>
                <a:cubicBezTo>
                  <a:pt x="1689415" y="4800326"/>
                  <a:pt x="1689725" y="4801049"/>
                  <a:pt x="1689260" y="4799603"/>
                </a:cubicBezTo>
                <a:close/>
                <a:moveTo>
                  <a:pt x="1336116" y="4799383"/>
                </a:moveTo>
                <a:cubicBezTo>
                  <a:pt x="1337684" y="4798622"/>
                  <a:pt x="1339349" y="4799242"/>
                  <a:pt x="1339039" y="4803630"/>
                </a:cubicBezTo>
                <a:cubicBezTo>
                  <a:pt x="1337490" y="4804043"/>
                  <a:pt x="1336251" y="4804146"/>
                  <a:pt x="1335477" y="4804146"/>
                </a:cubicBezTo>
                <a:cubicBezTo>
                  <a:pt x="1334548" y="4804043"/>
                  <a:pt x="1334083" y="4803734"/>
                  <a:pt x="1333773" y="4803423"/>
                </a:cubicBezTo>
                <a:cubicBezTo>
                  <a:pt x="1333076" y="4802288"/>
                  <a:pt x="1334548" y="4800145"/>
                  <a:pt x="1336116" y="4799383"/>
                </a:cubicBezTo>
                <a:close/>
                <a:moveTo>
                  <a:pt x="6248158" y="4798898"/>
                </a:moveTo>
                <a:cubicBezTo>
                  <a:pt x="6248778" y="4799414"/>
                  <a:pt x="6249397" y="4800240"/>
                  <a:pt x="6249862" y="4801479"/>
                </a:cubicBezTo>
                <a:cubicBezTo>
                  <a:pt x="6249088" y="4808811"/>
                  <a:pt x="6246764" y="4814180"/>
                  <a:pt x="6239639" y="4815109"/>
                </a:cubicBezTo>
                <a:cubicBezTo>
                  <a:pt x="6239639" y="4813870"/>
                  <a:pt x="6238555" y="4813870"/>
                  <a:pt x="6237316" y="4813870"/>
                </a:cubicBezTo>
                <a:cubicBezTo>
                  <a:pt x="6233443" y="4807778"/>
                  <a:pt x="6243202" y="4795181"/>
                  <a:pt x="6248158" y="4798898"/>
                </a:cubicBezTo>
                <a:close/>
                <a:moveTo>
                  <a:pt x="6400421" y="4798485"/>
                </a:moveTo>
                <a:cubicBezTo>
                  <a:pt x="6405997" y="4798588"/>
                  <a:pt x="6409096" y="4801789"/>
                  <a:pt x="6412039" y="4804990"/>
                </a:cubicBezTo>
                <a:cubicBezTo>
                  <a:pt x="6411729" y="4809430"/>
                  <a:pt x="6410335" y="4811082"/>
                  <a:pt x="6408476" y="4811289"/>
                </a:cubicBezTo>
                <a:cubicBezTo>
                  <a:pt x="6407856" y="4811289"/>
                  <a:pt x="6407082" y="4811289"/>
                  <a:pt x="6406308" y="4811082"/>
                </a:cubicBezTo>
                <a:cubicBezTo>
                  <a:pt x="6403364" y="4810256"/>
                  <a:pt x="6399957" y="4807675"/>
                  <a:pt x="6397169" y="4806642"/>
                </a:cubicBezTo>
                <a:cubicBezTo>
                  <a:pt x="6397478" y="4802719"/>
                  <a:pt x="6397943" y="4801583"/>
                  <a:pt x="6400421" y="4798485"/>
                </a:cubicBezTo>
                <a:close/>
                <a:moveTo>
                  <a:pt x="1256480" y="4798157"/>
                </a:moveTo>
                <a:cubicBezTo>
                  <a:pt x="1265928" y="4799397"/>
                  <a:pt x="1267632" y="4807760"/>
                  <a:pt x="1269336" y="4808793"/>
                </a:cubicBezTo>
                <a:cubicBezTo>
                  <a:pt x="1268872" y="4811478"/>
                  <a:pt x="1268872" y="4812097"/>
                  <a:pt x="1266084" y="4811891"/>
                </a:cubicBezTo>
                <a:cubicBezTo>
                  <a:pt x="1265154" y="4811787"/>
                  <a:pt x="1263915" y="4811581"/>
                  <a:pt x="1262211" y="4811374"/>
                </a:cubicBezTo>
                <a:cubicBezTo>
                  <a:pt x="1261127" y="4811065"/>
                  <a:pt x="1260043" y="4810445"/>
                  <a:pt x="1259113" y="4809619"/>
                </a:cubicBezTo>
                <a:cubicBezTo>
                  <a:pt x="1258184" y="4808690"/>
                  <a:pt x="1257409" y="4807657"/>
                  <a:pt x="1257100" y="4806315"/>
                </a:cubicBezTo>
                <a:cubicBezTo>
                  <a:pt x="1255396" y="4805282"/>
                  <a:pt x="1254002" y="4803011"/>
                  <a:pt x="1253692" y="4801152"/>
                </a:cubicBezTo>
                <a:cubicBezTo>
                  <a:pt x="1254002" y="4798777"/>
                  <a:pt x="1255396" y="4797848"/>
                  <a:pt x="1256480" y="4798157"/>
                </a:cubicBezTo>
                <a:close/>
                <a:moveTo>
                  <a:pt x="6526177" y="4797943"/>
                </a:moveTo>
                <a:cubicBezTo>
                  <a:pt x="6527320" y="4798201"/>
                  <a:pt x="6528597" y="4799105"/>
                  <a:pt x="6529914" y="4800034"/>
                </a:cubicBezTo>
                <a:cubicBezTo>
                  <a:pt x="6529140" y="4801686"/>
                  <a:pt x="6530069" y="4803441"/>
                  <a:pt x="6527591" y="4805094"/>
                </a:cubicBezTo>
                <a:cubicBezTo>
                  <a:pt x="6525887" y="4803235"/>
                  <a:pt x="6524958" y="4801479"/>
                  <a:pt x="6523254" y="4799724"/>
                </a:cubicBezTo>
                <a:cubicBezTo>
                  <a:pt x="6524029" y="4798072"/>
                  <a:pt x="6525035" y="4797685"/>
                  <a:pt x="6526177" y="4797943"/>
                </a:cubicBezTo>
                <a:close/>
                <a:moveTo>
                  <a:pt x="1005238" y="4797125"/>
                </a:moveTo>
                <a:cubicBezTo>
                  <a:pt x="1006322" y="4796815"/>
                  <a:pt x="1009421" y="4796506"/>
                  <a:pt x="1010350" y="4799293"/>
                </a:cubicBezTo>
                <a:cubicBezTo>
                  <a:pt x="1011434" y="4802184"/>
                  <a:pt x="1013913" y="4802701"/>
                  <a:pt x="1014841" y="4805489"/>
                </a:cubicBezTo>
                <a:cubicBezTo>
                  <a:pt x="1014841" y="4805489"/>
                  <a:pt x="1014841" y="4805489"/>
                  <a:pt x="1013758" y="4805799"/>
                </a:cubicBezTo>
                <a:cubicBezTo>
                  <a:pt x="1011434" y="4802184"/>
                  <a:pt x="1007097" y="4801565"/>
                  <a:pt x="1005238" y="4797125"/>
                </a:cubicBezTo>
                <a:close/>
                <a:moveTo>
                  <a:pt x="1704750" y="4796815"/>
                </a:moveTo>
                <a:cubicBezTo>
                  <a:pt x="1703201" y="4797435"/>
                  <a:pt x="1694217" y="4800326"/>
                  <a:pt x="1691274" y="4799706"/>
                </a:cubicBezTo>
                <a:cubicBezTo>
                  <a:pt x="1695456" y="4798880"/>
                  <a:pt x="1700877" y="4795783"/>
                  <a:pt x="1704750" y="4796815"/>
                </a:cubicBezTo>
                <a:close/>
                <a:moveTo>
                  <a:pt x="1481235" y="4796712"/>
                </a:moveTo>
                <a:lnTo>
                  <a:pt x="1486501" y="4798571"/>
                </a:lnTo>
                <a:lnTo>
                  <a:pt x="1487121" y="4798054"/>
                </a:lnTo>
                <a:cubicBezTo>
                  <a:pt x="1489754" y="4797538"/>
                  <a:pt x="1492542" y="4801462"/>
                  <a:pt x="1492697" y="4804766"/>
                </a:cubicBezTo>
                <a:lnTo>
                  <a:pt x="1492232" y="4806831"/>
                </a:lnTo>
                <a:lnTo>
                  <a:pt x="1492387" y="4807038"/>
                </a:lnTo>
                <a:cubicBezTo>
                  <a:pt x="1491612" y="4809722"/>
                  <a:pt x="1491303" y="4810445"/>
                  <a:pt x="1488670" y="4810239"/>
                </a:cubicBezTo>
                <a:cubicBezTo>
                  <a:pt x="1487740" y="4810135"/>
                  <a:pt x="1486656" y="4810032"/>
                  <a:pt x="1484952" y="4809825"/>
                </a:cubicBezTo>
                <a:cubicBezTo>
                  <a:pt x="1483868" y="4809516"/>
                  <a:pt x="1482784" y="4808896"/>
                  <a:pt x="1482009" y="4808070"/>
                </a:cubicBezTo>
                <a:cubicBezTo>
                  <a:pt x="1481235" y="4807244"/>
                  <a:pt x="1480615" y="4806108"/>
                  <a:pt x="1480460" y="4804766"/>
                </a:cubicBezTo>
                <a:cubicBezTo>
                  <a:pt x="1479066" y="4803837"/>
                  <a:pt x="1477827" y="4801668"/>
                  <a:pt x="1477827" y="4799706"/>
                </a:cubicBezTo>
                <a:cubicBezTo>
                  <a:pt x="1478602" y="4797332"/>
                  <a:pt x="1480150" y="4796402"/>
                  <a:pt x="1481235" y="4796712"/>
                </a:cubicBezTo>
                <a:close/>
                <a:moveTo>
                  <a:pt x="1658590" y="4796402"/>
                </a:moveTo>
                <a:cubicBezTo>
                  <a:pt x="1660759" y="4795783"/>
                  <a:pt x="1664167" y="4794853"/>
                  <a:pt x="1665716" y="4797641"/>
                </a:cubicBezTo>
                <a:cubicBezTo>
                  <a:pt x="1665406" y="4798364"/>
                  <a:pt x="1666180" y="4798880"/>
                  <a:pt x="1665716" y="4799603"/>
                </a:cubicBezTo>
                <a:cubicBezTo>
                  <a:pt x="1665716" y="4799603"/>
                  <a:pt x="1665871" y="4800533"/>
                  <a:pt x="1665406" y="4801668"/>
                </a:cubicBezTo>
                <a:cubicBezTo>
                  <a:pt x="1664942" y="4802907"/>
                  <a:pt x="1664012" y="4804250"/>
                  <a:pt x="1662308" y="4805179"/>
                </a:cubicBezTo>
                <a:cubicBezTo>
                  <a:pt x="1661689" y="4805282"/>
                  <a:pt x="1660759" y="4805385"/>
                  <a:pt x="1659830" y="4805385"/>
                </a:cubicBezTo>
                <a:cubicBezTo>
                  <a:pt x="1659055" y="4805385"/>
                  <a:pt x="1658281" y="4805282"/>
                  <a:pt x="1658436" y="4804869"/>
                </a:cubicBezTo>
                <a:cubicBezTo>
                  <a:pt x="1658126" y="4803734"/>
                  <a:pt x="1657816" y="4804456"/>
                  <a:pt x="1657042" y="4804043"/>
                </a:cubicBezTo>
                <a:cubicBezTo>
                  <a:pt x="1655803" y="4800429"/>
                  <a:pt x="1655958" y="4797848"/>
                  <a:pt x="1658590" y="4796402"/>
                </a:cubicBezTo>
                <a:close/>
                <a:moveTo>
                  <a:pt x="1866461" y="4796196"/>
                </a:moveTo>
                <a:cubicBezTo>
                  <a:pt x="1869869" y="4797125"/>
                  <a:pt x="1870799" y="4799706"/>
                  <a:pt x="1871573" y="4802391"/>
                </a:cubicBezTo>
                <a:cubicBezTo>
                  <a:pt x="1871883" y="4804353"/>
                  <a:pt x="1872348" y="4805076"/>
                  <a:pt x="1874051" y="4806211"/>
                </a:cubicBezTo>
                <a:cubicBezTo>
                  <a:pt x="1874051" y="4806211"/>
                  <a:pt x="1874051" y="4806108"/>
                  <a:pt x="1873742" y="4808483"/>
                </a:cubicBezTo>
                <a:lnTo>
                  <a:pt x="1872967" y="4808896"/>
                </a:lnTo>
                <a:cubicBezTo>
                  <a:pt x="1872502" y="4809000"/>
                  <a:pt x="1871883" y="4808483"/>
                  <a:pt x="1871418" y="4807760"/>
                </a:cubicBezTo>
                <a:cubicBezTo>
                  <a:pt x="1869560" y="4805385"/>
                  <a:pt x="1867391" y="4800636"/>
                  <a:pt x="1867081" y="4800016"/>
                </a:cubicBezTo>
                <a:cubicBezTo>
                  <a:pt x="1867081" y="4800016"/>
                  <a:pt x="1866616" y="4799190"/>
                  <a:pt x="1865997" y="4798467"/>
                </a:cubicBezTo>
                <a:cubicBezTo>
                  <a:pt x="1866307" y="4797332"/>
                  <a:pt x="1866926" y="4796918"/>
                  <a:pt x="1866461" y="4796196"/>
                </a:cubicBezTo>
                <a:close/>
                <a:moveTo>
                  <a:pt x="6110920" y="4795697"/>
                </a:moveTo>
                <a:cubicBezTo>
                  <a:pt x="6107513" y="4801170"/>
                  <a:pt x="6103795" y="4805816"/>
                  <a:pt x="6101471" y="4814490"/>
                </a:cubicBezTo>
                <a:cubicBezTo>
                  <a:pt x="6099923" y="4813870"/>
                  <a:pt x="6099148" y="4815522"/>
                  <a:pt x="6097754" y="4815626"/>
                </a:cubicBezTo>
                <a:cubicBezTo>
                  <a:pt x="6097290" y="4815729"/>
                  <a:pt x="6096824" y="4815626"/>
                  <a:pt x="6096205" y="4815213"/>
                </a:cubicBezTo>
                <a:cubicBezTo>
                  <a:pt x="6093727" y="4808914"/>
                  <a:pt x="6102556" y="4793219"/>
                  <a:pt x="6110920" y="4795697"/>
                </a:cubicBezTo>
                <a:close/>
                <a:moveTo>
                  <a:pt x="1614910" y="4795576"/>
                </a:moveTo>
                <a:cubicBezTo>
                  <a:pt x="1615684" y="4795989"/>
                  <a:pt x="1617699" y="4798054"/>
                  <a:pt x="1618008" y="4797332"/>
                </a:cubicBezTo>
                <a:cubicBezTo>
                  <a:pt x="1618937" y="4800016"/>
                  <a:pt x="1619712" y="4803114"/>
                  <a:pt x="1618937" y="4805076"/>
                </a:cubicBezTo>
                <a:cubicBezTo>
                  <a:pt x="1618627" y="4805695"/>
                  <a:pt x="1618163" y="4806315"/>
                  <a:pt x="1617544" y="4806624"/>
                </a:cubicBezTo>
                <a:cubicBezTo>
                  <a:pt x="1615994" y="4807657"/>
                  <a:pt x="1614910" y="4806005"/>
                  <a:pt x="1613981" y="4803630"/>
                </a:cubicBezTo>
                <a:cubicBezTo>
                  <a:pt x="1611193" y="4799190"/>
                  <a:pt x="1611502" y="4796506"/>
                  <a:pt x="1614910" y="4795576"/>
                </a:cubicBezTo>
                <a:close/>
                <a:moveTo>
                  <a:pt x="6391592" y="4794562"/>
                </a:moveTo>
                <a:cubicBezTo>
                  <a:pt x="6389579" y="4804268"/>
                  <a:pt x="6392831" y="4811599"/>
                  <a:pt x="6388495" y="4821924"/>
                </a:cubicBezTo>
                <a:cubicBezTo>
                  <a:pt x="6381524" y="4816452"/>
                  <a:pt x="6382298" y="4795181"/>
                  <a:pt x="6391592" y="4794562"/>
                </a:cubicBezTo>
                <a:close/>
                <a:moveTo>
                  <a:pt x="6160332" y="4794252"/>
                </a:moveTo>
                <a:cubicBezTo>
                  <a:pt x="6165908" y="4791464"/>
                  <a:pt x="6172724" y="4795801"/>
                  <a:pt x="6174428" y="4803338"/>
                </a:cubicBezTo>
                <a:cubicBezTo>
                  <a:pt x="6177526" y="4815006"/>
                  <a:pt x="6173963" y="4822234"/>
                  <a:pt x="6173963" y="4822234"/>
                </a:cubicBezTo>
                <a:cubicBezTo>
                  <a:pt x="6171949" y="4822957"/>
                  <a:pt x="6170246" y="4823164"/>
                  <a:pt x="6168851" y="4822957"/>
                </a:cubicBezTo>
                <a:cubicBezTo>
                  <a:pt x="6164359" y="4822441"/>
                  <a:pt x="6162036" y="4818001"/>
                  <a:pt x="6160487" y="4813354"/>
                </a:cubicBezTo>
                <a:cubicBezTo>
                  <a:pt x="6159713" y="4811289"/>
                  <a:pt x="6159248" y="4809121"/>
                  <a:pt x="6158783" y="4807159"/>
                </a:cubicBezTo>
                <a:cubicBezTo>
                  <a:pt x="6157699" y="4803338"/>
                  <a:pt x="6156925" y="4799002"/>
                  <a:pt x="6158164" y="4796317"/>
                </a:cubicBezTo>
                <a:cubicBezTo>
                  <a:pt x="6158628" y="4795491"/>
                  <a:pt x="6159403" y="4794768"/>
                  <a:pt x="6160332" y="4794252"/>
                </a:cubicBezTo>
                <a:close/>
                <a:moveTo>
                  <a:pt x="1005393" y="4793924"/>
                </a:moveTo>
                <a:cubicBezTo>
                  <a:pt x="1006168" y="4795576"/>
                  <a:pt x="995325" y="4800429"/>
                  <a:pt x="992537" y="4801875"/>
                </a:cubicBezTo>
                <a:cubicBezTo>
                  <a:pt x="991762" y="4801358"/>
                  <a:pt x="991762" y="4801358"/>
                  <a:pt x="991762" y="4801358"/>
                </a:cubicBezTo>
                <a:cubicBezTo>
                  <a:pt x="991297" y="4800533"/>
                  <a:pt x="991607" y="4799913"/>
                  <a:pt x="992227" y="4799293"/>
                </a:cubicBezTo>
                <a:cubicBezTo>
                  <a:pt x="993001" y="4798571"/>
                  <a:pt x="994086" y="4797951"/>
                  <a:pt x="995480" y="4797228"/>
                </a:cubicBezTo>
                <a:cubicBezTo>
                  <a:pt x="998268" y="4795886"/>
                  <a:pt x="1002450" y="4795370"/>
                  <a:pt x="1003690" y="4794956"/>
                </a:cubicBezTo>
                <a:cubicBezTo>
                  <a:pt x="1004928" y="4794647"/>
                  <a:pt x="1005393" y="4793924"/>
                  <a:pt x="1005393" y="4793924"/>
                </a:cubicBezTo>
                <a:close/>
                <a:moveTo>
                  <a:pt x="843217" y="4793717"/>
                </a:moveTo>
                <a:cubicBezTo>
                  <a:pt x="845540" y="4796402"/>
                  <a:pt x="844301" y="4799810"/>
                  <a:pt x="846469" y="4803320"/>
                </a:cubicBezTo>
                <a:cubicBezTo>
                  <a:pt x="844611" y="4805902"/>
                  <a:pt x="846624" y="4810239"/>
                  <a:pt x="843836" y="4813749"/>
                </a:cubicBezTo>
                <a:cubicBezTo>
                  <a:pt x="842597" y="4812820"/>
                  <a:pt x="841823" y="4811271"/>
                  <a:pt x="841357" y="4809412"/>
                </a:cubicBezTo>
                <a:cubicBezTo>
                  <a:pt x="839964" y="4803940"/>
                  <a:pt x="841203" y="4795679"/>
                  <a:pt x="843217" y="4793717"/>
                </a:cubicBezTo>
                <a:close/>
                <a:moveTo>
                  <a:pt x="1717761" y="4793305"/>
                </a:moveTo>
                <a:cubicBezTo>
                  <a:pt x="1716367" y="4794750"/>
                  <a:pt x="1713579" y="4796815"/>
                  <a:pt x="1711565" y="4795886"/>
                </a:cubicBezTo>
                <a:cubicBezTo>
                  <a:pt x="1711565" y="4795886"/>
                  <a:pt x="1711565" y="4795886"/>
                  <a:pt x="1710481" y="4795473"/>
                </a:cubicBezTo>
                <a:cubicBezTo>
                  <a:pt x="1712804" y="4794544"/>
                  <a:pt x="1715902" y="4793201"/>
                  <a:pt x="1717761" y="4793305"/>
                </a:cubicBezTo>
                <a:close/>
                <a:moveTo>
                  <a:pt x="711690" y="4793124"/>
                </a:moveTo>
                <a:cubicBezTo>
                  <a:pt x="717441" y="4791059"/>
                  <a:pt x="723482" y="4791084"/>
                  <a:pt x="725650" y="4795163"/>
                </a:cubicBezTo>
                <a:cubicBezTo>
                  <a:pt x="715892" y="4797332"/>
                  <a:pt x="710625" y="4803320"/>
                  <a:pt x="699473" y="4803630"/>
                </a:cubicBezTo>
                <a:cubicBezTo>
                  <a:pt x="700480" y="4799345"/>
                  <a:pt x="705940" y="4795189"/>
                  <a:pt x="711690" y="4793124"/>
                </a:cubicBezTo>
                <a:close/>
                <a:moveTo>
                  <a:pt x="1460633" y="4792066"/>
                </a:moveTo>
                <a:cubicBezTo>
                  <a:pt x="1461717" y="4791756"/>
                  <a:pt x="1465435" y="4791962"/>
                  <a:pt x="1465900" y="4793098"/>
                </a:cubicBezTo>
                <a:cubicBezTo>
                  <a:pt x="1466210" y="4794337"/>
                  <a:pt x="1465900" y="4795060"/>
                  <a:pt x="1465590" y="4795886"/>
                </a:cubicBezTo>
                <a:lnTo>
                  <a:pt x="1462027" y="4798467"/>
                </a:lnTo>
                <a:lnTo>
                  <a:pt x="1463731" y="4799190"/>
                </a:lnTo>
                <a:cubicBezTo>
                  <a:pt x="1465280" y="4800429"/>
                  <a:pt x="1466519" y="4801772"/>
                  <a:pt x="1466674" y="4802701"/>
                </a:cubicBezTo>
                <a:cubicBezTo>
                  <a:pt x="1466364" y="4804559"/>
                  <a:pt x="1465125" y="4806418"/>
                  <a:pt x="1462957" y="4806831"/>
                </a:cubicBezTo>
                <a:cubicBezTo>
                  <a:pt x="1462182" y="4807038"/>
                  <a:pt x="1461562" y="4806935"/>
                  <a:pt x="1460633" y="4806728"/>
                </a:cubicBezTo>
                <a:cubicBezTo>
                  <a:pt x="1457535" y="4806624"/>
                  <a:pt x="1455677" y="4803630"/>
                  <a:pt x="1452114" y="4802701"/>
                </a:cubicBezTo>
                <a:cubicBezTo>
                  <a:pt x="1452114" y="4800533"/>
                  <a:pt x="1452114" y="4799087"/>
                  <a:pt x="1452734" y="4798157"/>
                </a:cubicBezTo>
                <a:lnTo>
                  <a:pt x="1453198" y="4797951"/>
                </a:lnTo>
                <a:close/>
                <a:moveTo>
                  <a:pt x="1602053" y="4791859"/>
                </a:moveTo>
                <a:cubicBezTo>
                  <a:pt x="1604996" y="4792272"/>
                  <a:pt x="1604377" y="4795267"/>
                  <a:pt x="1604841" y="4798777"/>
                </a:cubicBezTo>
                <a:cubicBezTo>
                  <a:pt x="1603758" y="4798364"/>
                  <a:pt x="1603293" y="4799500"/>
                  <a:pt x="1602828" y="4800636"/>
                </a:cubicBezTo>
                <a:cubicBezTo>
                  <a:pt x="1601124" y="4800119"/>
                  <a:pt x="1598491" y="4799500"/>
                  <a:pt x="1598026" y="4797332"/>
                </a:cubicBezTo>
                <a:cubicBezTo>
                  <a:pt x="1597871" y="4796609"/>
                  <a:pt x="1598026" y="4795679"/>
                  <a:pt x="1598491" y="4794544"/>
                </a:cubicBezTo>
                <a:cubicBezTo>
                  <a:pt x="1598181" y="4793821"/>
                  <a:pt x="1600969" y="4791446"/>
                  <a:pt x="1602053" y="4791859"/>
                </a:cubicBezTo>
                <a:close/>
                <a:moveTo>
                  <a:pt x="1576806" y="4791859"/>
                </a:moveTo>
                <a:cubicBezTo>
                  <a:pt x="1574482" y="4793511"/>
                  <a:pt x="1573553" y="4794337"/>
                  <a:pt x="1571849" y="4795163"/>
                </a:cubicBezTo>
                <a:cubicBezTo>
                  <a:pt x="1572004" y="4795989"/>
                  <a:pt x="1572004" y="4796815"/>
                  <a:pt x="1571074" y="4797641"/>
                </a:cubicBezTo>
                <a:lnTo>
                  <a:pt x="1569526" y="4798364"/>
                </a:lnTo>
                <a:lnTo>
                  <a:pt x="1569835" y="4799397"/>
                </a:lnTo>
                <a:cubicBezTo>
                  <a:pt x="1570145" y="4800223"/>
                  <a:pt x="1570454" y="4800945"/>
                  <a:pt x="1571074" y="4801772"/>
                </a:cubicBezTo>
                <a:cubicBezTo>
                  <a:pt x="1568596" y="4802288"/>
                  <a:pt x="1566582" y="4803114"/>
                  <a:pt x="1564879" y="4803837"/>
                </a:cubicBezTo>
                <a:lnTo>
                  <a:pt x="1562245" y="4804250"/>
                </a:lnTo>
                <a:lnTo>
                  <a:pt x="1562245" y="4804559"/>
                </a:lnTo>
                <a:cubicBezTo>
                  <a:pt x="1561935" y="4806315"/>
                  <a:pt x="1561006" y="4807864"/>
                  <a:pt x="1559767" y="4809206"/>
                </a:cubicBezTo>
                <a:lnTo>
                  <a:pt x="1558373" y="4810135"/>
                </a:lnTo>
                <a:cubicBezTo>
                  <a:pt x="1560232" y="4812510"/>
                  <a:pt x="1560232" y="4816950"/>
                  <a:pt x="1556669" y="4820254"/>
                </a:cubicBezTo>
                <a:cubicBezTo>
                  <a:pt x="1553106" y="4820151"/>
                  <a:pt x="1550938" y="4818809"/>
                  <a:pt x="1549234" y="4818086"/>
                </a:cubicBezTo>
                <a:lnTo>
                  <a:pt x="1549389" y="4812097"/>
                </a:lnTo>
                <a:lnTo>
                  <a:pt x="1544742" y="4808896"/>
                </a:lnTo>
                <a:cubicBezTo>
                  <a:pt x="1544897" y="4802701"/>
                  <a:pt x="1554190" y="4796402"/>
                  <a:pt x="1559147" y="4796918"/>
                </a:cubicBezTo>
                <a:lnTo>
                  <a:pt x="1560696" y="4799293"/>
                </a:lnTo>
                <a:lnTo>
                  <a:pt x="1561626" y="4798777"/>
                </a:lnTo>
                <a:lnTo>
                  <a:pt x="1565343" y="4797641"/>
                </a:lnTo>
                <a:lnTo>
                  <a:pt x="1565034" y="4797228"/>
                </a:lnTo>
                <a:cubicBezTo>
                  <a:pt x="1564879" y="4796506"/>
                  <a:pt x="1565188" y="4795576"/>
                  <a:pt x="1565963" y="4794853"/>
                </a:cubicBezTo>
                <a:cubicBezTo>
                  <a:pt x="1567512" y="4792375"/>
                  <a:pt x="1570145" y="4792478"/>
                  <a:pt x="1572623" y="4793408"/>
                </a:cubicBezTo>
                <a:cubicBezTo>
                  <a:pt x="1574328" y="4792685"/>
                  <a:pt x="1575102" y="4790930"/>
                  <a:pt x="1576806" y="4791859"/>
                </a:cubicBezTo>
                <a:close/>
                <a:moveTo>
                  <a:pt x="1657042" y="4791756"/>
                </a:moveTo>
                <a:cubicBezTo>
                  <a:pt x="1658126" y="4791343"/>
                  <a:pt x="1659985" y="4791446"/>
                  <a:pt x="1660295" y="4792582"/>
                </a:cubicBezTo>
                <a:cubicBezTo>
                  <a:pt x="1660914" y="4793408"/>
                  <a:pt x="1660759" y="4793821"/>
                  <a:pt x="1660295" y="4794131"/>
                </a:cubicBezTo>
                <a:cubicBezTo>
                  <a:pt x="1659675" y="4794440"/>
                  <a:pt x="1658900" y="4794750"/>
                  <a:pt x="1658281" y="4795267"/>
                </a:cubicBezTo>
                <a:close/>
                <a:moveTo>
                  <a:pt x="1517170" y="4791239"/>
                </a:moveTo>
                <a:cubicBezTo>
                  <a:pt x="1518720" y="4793305"/>
                  <a:pt x="1516861" y="4795576"/>
                  <a:pt x="1515931" y="4795473"/>
                </a:cubicBezTo>
                <a:cubicBezTo>
                  <a:pt x="1515157" y="4794440"/>
                  <a:pt x="1515311" y="4792685"/>
                  <a:pt x="1514537" y="4791756"/>
                </a:cubicBezTo>
                <a:cubicBezTo>
                  <a:pt x="1515311" y="4791859"/>
                  <a:pt x="1516241" y="4791136"/>
                  <a:pt x="1517170" y="4791239"/>
                </a:cubicBezTo>
                <a:close/>
                <a:moveTo>
                  <a:pt x="6204323" y="4791154"/>
                </a:moveTo>
                <a:cubicBezTo>
                  <a:pt x="6207575" y="4793839"/>
                  <a:pt x="6207730" y="4796420"/>
                  <a:pt x="6206337" y="4799724"/>
                </a:cubicBezTo>
                <a:cubicBezTo>
                  <a:pt x="6203858" y="4799621"/>
                  <a:pt x="6200605" y="4796936"/>
                  <a:pt x="6200450" y="4794355"/>
                </a:cubicBezTo>
                <a:cubicBezTo>
                  <a:pt x="6201999" y="4791877"/>
                  <a:pt x="6203548" y="4792806"/>
                  <a:pt x="6204323" y="4791154"/>
                </a:cubicBezTo>
                <a:close/>
                <a:moveTo>
                  <a:pt x="6094191" y="4790947"/>
                </a:moveTo>
                <a:cubicBezTo>
                  <a:pt x="6095276" y="4791361"/>
                  <a:pt x="6096360" y="4791773"/>
                  <a:pt x="6097444" y="4792186"/>
                </a:cubicBezTo>
                <a:cubicBezTo>
                  <a:pt x="6096515" y="4794458"/>
                  <a:pt x="6095586" y="4796730"/>
                  <a:pt x="6093417" y="4795904"/>
                </a:cubicBezTo>
                <a:cubicBezTo>
                  <a:pt x="6093572" y="4793942"/>
                  <a:pt x="6092488" y="4793632"/>
                  <a:pt x="6094191" y="4790947"/>
                </a:cubicBezTo>
                <a:close/>
                <a:moveTo>
                  <a:pt x="5930621" y="4790638"/>
                </a:moveTo>
                <a:cubicBezTo>
                  <a:pt x="5927833" y="4795801"/>
                  <a:pt x="5930156" y="4799414"/>
                  <a:pt x="5925974" y="4800550"/>
                </a:cubicBezTo>
                <a:cubicBezTo>
                  <a:pt x="5923960" y="4797763"/>
                  <a:pt x="5927058" y="4791464"/>
                  <a:pt x="5930621" y="4790638"/>
                </a:cubicBezTo>
                <a:close/>
                <a:moveTo>
                  <a:pt x="1869405" y="4790620"/>
                </a:moveTo>
                <a:cubicBezTo>
                  <a:pt x="1869405" y="4790620"/>
                  <a:pt x="1870179" y="4790620"/>
                  <a:pt x="1871728" y="4792375"/>
                </a:cubicBezTo>
                <a:cubicBezTo>
                  <a:pt x="1870953" y="4792375"/>
                  <a:pt x="1870799" y="4793305"/>
                  <a:pt x="1870799" y="4793305"/>
                </a:cubicBezTo>
                <a:cubicBezTo>
                  <a:pt x="1870799" y="4793305"/>
                  <a:pt x="1870799" y="4793305"/>
                  <a:pt x="1871573" y="4793305"/>
                </a:cubicBezTo>
                <a:cubicBezTo>
                  <a:pt x="1871108" y="4793717"/>
                  <a:pt x="1870799" y="4793717"/>
                  <a:pt x="1870489" y="4793614"/>
                </a:cubicBezTo>
                <a:cubicBezTo>
                  <a:pt x="1870179" y="4793511"/>
                  <a:pt x="1870024" y="4793305"/>
                  <a:pt x="1870024" y="4793305"/>
                </a:cubicBezTo>
                <a:cubicBezTo>
                  <a:pt x="1869560" y="4792788"/>
                  <a:pt x="1869249" y="4792375"/>
                  <a:pt x="1869095" y="4791962"/>
                </a:cubicBezTo>
                <a:cubicBezTo>
                  <a:pt x="1868940" y="4791549"/>
                  <a:pt x="1868940" y="4791033"/>
                  <a:pt x="1869405" y="4790620"/>
                </a:cubicBezTo>
                <a:close/>
                <a:moveTo>
                  <a:pt x="1681670" y="4790516"/>
                </a:moveTo>
                <a:cubicBezTo>
                  <a:pt x="1681670" y="4790516"/>
                  <a:pt x="1682755" y="4790723"/>
                  <a:pt x="1682755" y="4790723"/>
                </a:cubicBezTo>
                <a:cubicBezTo>
                  <a:pt x="1686937" y="4791136"/>
                  <a:pt x="1690809" y="4794647"/>
                  <a:pt x="1690809" y="4796506"/>
                </a:cubicBezTo>
                <a:cubicBezTo>
                  <a:pt x="1690190" y="4798364"/>
                  <a:pt x="1688641" y="4800223"/>
                  <a:pt x="1686472" y="4800739"/>
                </a:cubicBezTo>
                <a:cubicBezTo>
                  <a:pt x="1685698" y="4800945"/>
                  <a:pt x="1684923" y="4800945"/>
                  <a:pt x="1683994" y="4800739"/>
                </a:cubicBezTo>
                <a:cubicBezTo>
                  <a:pt x="1681051" y="4800636"/>
                  <a:pt x="1679501" y="4797744"/>
                  <a:pt x="1676249" y="4796918"/>
                </a:cubicBezTo>
                <a:cubicBezTo>
                  <a:pt x="1676869" y="4792478"/>
                  <a:pt x="1677178" y="4791343"/>
                  <a:pt x="1681670" y="4790516"/>
                </a:cubicBezTo>
                <a:close/>
                <a:moveTo>
                  <a:pt x="6317242" y="4790431"/>
                </a:moveTo>
                <a:cubicBezTo>
                  <a:pt x="6320960" y="4791980"/>
                  <a:pt x="6320340" y="4797556"/>
                  <a:pt x="6317087" y="4799414"/>
                </a:cubicBezTo>
                <a:cubicBezTo>
                  <a:pt x="6315538" y="4799208"/>
                  <a:pt x="6314609" y="4798588"/>
                  <a:pt x="6313989" y="4797763"/>
                </a:cubicBezTo>
                <a:cubicBezTo>
                  <a:pt x="6312440" y="4795387"/>
                  <a:pt x="6314764" y="4791154"/>
                  <a:pt x="6317242" y="4790431"/>
                </a:cubicBezTo>
                <a:close/>
                <a:moveTo>
                  <a:pt x="1740531" y="4790310"/>
                </a:moveTo>
                <a:cubicBezTo>
                  <a:pt x="1742234" y="4789277"/>
                  <a:pt x="1742855" y="4789794"/>
                  <a:pt x="1743938" y="4792582"/>
                </a:cubicBezTo>
                <a:cubicBezTo>
                  <a:pt x="1744403" y="4794956"/>
                  <a:pt x="1745332" y="4796609"/>
                  <a:pt x="1744868" y="4797435"/>
                </a:cubicBezTo>
                <a:cubicBezTo>
                  <a:pt x="1745488" y="4797848"/>
                  <a:pt x="1745797" y="4798983"/>
                  <a:pt x="1746417" y="4799500"/>
                </a:cubicBezTo>
                <a:cubicBezTo>
                  <a:pt x="1746417" y="4799500"/>
                  <a:pt x="1746417" y="4799500"/>
                  <a:pt x="1745952" y="4800223"/>
                </a:cubicBezTo>
                <a:cubicBezTo>
                  <a:pt x="1743784" y="4797744"/>
                  <a:pt x="1739756" y="4796196"/>
                  <a:pt x="1738672" y="4793408"/>
                </a:cubicBezTo>
                <a:cubicBezTo>
                  <a:pt x="1738517" y="4792788"/>
                  <a:pt x="1738362" y="4792169"/>
                  <a:pt x="1738672" y="4791652"/>
                </a:cubicBezTo>
                <a:cubicBezTo>
                  <a:pt x="1738827" y="4791136"/>
                  <a:pt x="1739446" y="4790620"/>
                  <a:pt x="1740531" y="4790310"/>
                </a:cubicBezTo>
                <a:close/>
                <a:moveTo>
                  <a:pt x="1011434" y="4790310"/>
                </a:moveTo>
                <a:cubicBezTo>
                  <a:pt x="1011434" y="4790310"/>
                  <a:pt x="1011744" y="4789587"/>
                  <a:pt x="1012828" y="4792375"/>
                </a:cubicBezTo>
                <a:cubicBezTo>
                  <a:pt x="1011744" y="4792685"/>
                  <a:pt x="1008336" y="4793614"/>
                  <a:pt x="1008336" y="4793614"/>
                </a:cubicBezTo>
                <a:cubicBezTo>
                  <a:pt x="1007717" y="4794337"/>
                  <a:pt x="1007717" y="4794337"/>
                  <a:pt x="1006632" y="4794647"/>
                </a:cubicBezTo>
                <a:cubicBezTo>
                  <a:pt x="1006322" y="4793511"/>
                  <a:pt x="1006477" y="4793511"/>
                  <a:pt x="1006942" y="4792788"/>
                </a:cubicBezTo>
                <a:cubicBezTo>
                  <a:pt x="1008026" y="4792375"/>
                  <a:pt x="1008646" y="4792891"/>
                  <a:pt x="1009885" y="4792582"/>
                </a:cubicBezTo>
                <a:cubicBezTo>
                  <a:pt x="1009421" y="4790207"/>
                  <a:pt x="1009111" y="4790930"/>
                  <a:pt x="1010195" y="4790620"/>
                </a:cubicBezTo>
                <a:cubicBezTo>
                  <a:pt x="1010195" y="4790620"/>
                  <a:pt x="1010195" y="4790620"/>
                  <a:pt x="1011434" y="4790310"/>
                </a:cubicBezTo>
                <a:close/>
                <a:moveTo>
                  <a:pt x="1124353" y="4789690"/>
                </a:moveTo>
                <a:lnTo>
                  <a:pt x="1126058" y="4790826"/>
                </a:lnTo>
                <a:lnTo>
                  <a:pt x="1126367" y="4790826"/>
                </a:lnTo>
                <a:cubicBezTo>
                  <a:pt x="1129155" y="4793305"/>
                  <a:pt x="1129155" y="4793305"/>
                  <a:pt x="1125748" y="4798777"/>
                </a:cubicBezTo>
                <a:cubicBezTo>
                  <a:pt x="1125128" y="4799603"/>
                  <a:pt x="1124198" y="4800326"/>
                  <a:pt x="1123114" y="4800739"/>
                </a:cubicBezTo>
                <a:cubicBezTo>
                  <a:pt x="1122030" y="4801152"/>
                  <a:pt x="1120791" y="4801152"/>
                  <a:pt x="1119397" y="4800842"/>
                </a:cubicBezTo>
                <a:cubicBezTo>
                  <a:pt x="1118622" y="4801255"/>
                  <a:pt x="1117693" y="4801565"/>
                  <a:pt x="1116608" y="4801668"/>
                </a:cubicBezTo>
                <a:cubicBezTo>
                  <a:pt x="1115679" y="4801668"/>
                  <a:pt x="1114595" y="4801565"/>
                  <a:pt x="1113665" y="4801152"/>
                </a:cubicBezTo>
                <a:cubicBezTo>
                  <a:pt x="1111807" y="4799500"/>
                  <a:pt x="1111497" y="4797744"/>
                  <a:pt x="1112271" y="4796918"/>
                </a:cubicBezTo>
                <a:lnTo>
                  <a:pt x="1116144" y="4792788"/>
                </a:lnTo>
                <a:lnTo>
                  <a:pt x="1115989" y="4792066"/>
                </a:lnTo>
                <a:cubicBezTo>
                  <a:pt x="1116608" y="4789381"/>
                  <a:pt x="1121410" y="4788451"/>
                  <a:pt x="1124353" y="4789690"/>
                </a:cubicBezTo>
                <a:close/>
                <a:moveTo>
                  <a:pt x="1542419" y="4789174"/>
                </a:moveTo>
                <a:cubicBezTo>
                  <a:pt x="1544743" y="4789768"/>
                  <a:pt x="1546678" y="4791136"/>
                  <a:pt x="1546911" y="4792891"/>
                </a:cubicBezTo>
                <a:cubicBezTo>
                  <a:pt x="1545671" y="4798777"/>
                  <a:pt x="1543038" y="4801668"/>
                  <a:pt x="1540405" y="4802391"/>
                </a:cubicBezTo>
                <a:cubicBezTo>
                  <a:pt x="1537772" y="4803011"/>
                  <a:pt x="1535293" y="4801462"/>
                  <a:pt x="1534518" y="4798261"/>
                </a:cubicBezTo>
                <a:cubicBezTo>
                  <a:pt x="1534054" y="4796196"/>
                  <a:pt x="1534209" y="4793408"/>
                  <a:pt x="1535603" y="4790104"/>
                </a:cubicBezTo>
                <a:cubicBezTo>
                  <a:pt x="1537384" y="4788761"/>
                  <a:pt x="1540095" y="4788581"/>
                  <a:pt x="1542419" y="4789174"/>
                </a:cubicBezTo>
                <a:close/>
                <a:moveTo>
                  <a:pt x="1051126" y="4788477"/>
                </a:moveTo>
                <a:cubicBezTo>
                  <a:pt x="1053101" y="4788890"/>
                  <a:pt x="1054418" y="4790723"/>
                  <a:pt x="1054650" y="4792891"/>
                </a:cubicBezTo>
                <a:cubicBezTo>
                  <a:pt x="1054960" y="4794337"/>
                  <a:pt x="1054650" y="4795886"/>
                  <a:pt x="1053876" y="4797228"/>
                </a:cubicBezTo>
                <a:cubicBezTo>
                  <a:pt x="1052637" y="4799087"/>
                  <a:pt x="1050623" y="4800533"/>
                  <a:pt x="1047215" y="4800945"/>
                </a:cubicBezTo>
                <a:cubicBezTo>
                  <a:pt x="1045821" y="4799500"/>
                  <a:pt x="1045202" y="4798054"/>
                  <a:pt x="1044891" y="4796712"/>
                </a:cubicBezTo>
                <a:cubicBezTo>
                  <a:pt x="1044427" y="4795267"/>
                  <a:pt x="1044272" y="4793924"/>
                  <a:pt x="1043652" y="4792582"/>
                </a:cubicBezTo>
                <a:cubicBezTo>
                  <a:pt x="1046518" y="4789071"/>
                  <a:pt x="1049151" y="4788064"/>
                  <a:pt x="1051126" y="4788477"/>
                </a:cubicBezTo>
                <a:close/>
                <a:moveTo>
                  <a:pt x="6470745" y="4788469"/>
                </a:moveTo>
                <a:cubicBezTo>
                  <a:pt x="6471519" y="4788882"/>
                  <a:pt x="6471209" y="4789605"/>
                  <a:pt x="6471984" y="4790018"/>
                </a:cubicBezTo>
                <a:cubicBezTo>
                  <a:pt x="6472138" y="4790638"/>
                  <a:pt x="6471984" y="4791464"/>
                  <a:pt x="6471519" y="4792393"/>
                </a:cubicBezTo>
                <a:cubicBezTo>
                  <a:pt x="6470125" y="4795181"/>
                  <a:pt x="6466717" y="4798692"/>
                  <a:pt x="6466252" y="4798382"/>
                </a:cubicBezTo>
                <a:cubicBezTo>
                  <a:pt x="6465787" y="4799105"/>
                  <a:pt x="6465013" y="4798692"/>
                  <a:pt x="6464703" y="4799414"/>
                </a:cubicBezTo>
                <a:cubicBezTo>
                  <a:pt x="6464703" y="4799414"/>
                  <a:pt x="6464394" y="4800240"/>
                  <a:pt x="6463155" y="4800550"/>
                </a:cubicBezTo>
                <a:cubicBezTo>
                  <a:pt x="6462690" y="4800757"/>
                  <a:pt x="6462070" y="4800860"/>
                  <a:pt x="6461606" y="4800757"/>
                </a:cubicBezTo>
                <a:cubicBezTo>
                  <a:pt x="6460986" y="4800654"/>
                  <a:pt x="6460366" y="4800344"/>
                  <a:pt x="6459747" y="4799518"/>
                </a:cubicBezTo>
                <a:cubicBezTo>
                  <a:pt x="6465013" y="4794768"/>
                  <a:pt x="6466252" y="4791670"/>
                  <a:pt x="6470745" y="4788469"/>
                </a:cubicBezTo>
                <a:close/>
                <a:moveTo>
                  <a:pt x="1421135" y="4786903"/>
                </a:moveTo>
                <a:cubicBezTo>
                  <a:pt x="1422993" y="4786696"/>
                  <a:pt x="1422219" y="4787109"/>
                  <a:pt x="1423458" y="4787419"/>
                </a:cubicBezTo>
                <a:cubicBezTo>
                  <a:pt x="1424542" y="4787625"/>
                  <a:pt x="1426401" y="4787522"/>
                  <a:pt x="1427176" y="4787109"/>
                </a:cubicBezTo>
                <a:cubicBezTo>
                  <a:pt x="1426401" y="4791446"/>
                  <a:pt x="1429499" y="4791549"/>
                  <a:pt x="1428105" y="4798261"/>
                </a:cubicBezTo>
                <a:cubicBezTo>
                  <a:pt x="1427021" y="4804869"/>
                  <a:pt x="1423458" y="4807450"/>
                  <a:pt x="1419896" y="4808173"/>
                </a:cubicBezTo>
                <a:lnTo>
                  <a:pt x="1417108" y="4808277"/>
                </a:lnTo>
                <a:lnTo>
                  <a:pt x="1416333" y="4810858"/>
                </a:lnTo>
                <a:cubicBezTo>
                  <a:pt x="1411067" y="4807967"/>
                  <a:pt x="1409827" y="4812820"/>
                  <a:pt x="1407194" y="4814369"/>
                </a:cubicBezTo>
                <a:cubicBezTo>
                  <a:pt x="1406264" y="4814885"/>
                  <a:pt x="1405180" y="4814988"/>
                  <a:pt x="1403786" y="4814369"/>
                </a:cubicBezTo>
                <a:cubicBezTo>
                  <a:pt x="1402237" y="4812304"/>
                  <a:pt x="1399914" y="4810755"/>
                  <a:pt x="1399139" y="4807864"/>
                </a:cubicBezTo>
                <a:cubicBezTo>
                  <a:pt x="1398829" y="4806935"/>
                  <a:pt x="1398829" y="4805902"/>
                  <a:pt x="1399139" y="4804663"/>
                </a:cubicBezTo>
                <a:cubicBezTo>
                  <a:pt x="1402547" y="4805179"/>
                  <a:pt x="1405490" y="4805179"/>
                  <a:pt x="1408279" y="4804869"/>
                </a:cubicBezTo>
                <a:lnTo>
                  <a:pt x="1410757" y="4804663"/>
                </a:lnTo>
                <a:lnTo>
                  <a:pt x="1409053" y="4802494"/>
                </a:lnTo>
                <a:cubicBezTo>
                  <a:pt x="1408434" y="4801049"/>
                  <a:pt x="1408124" y="4799087"/>
                  <a:pt x="1408588" y="4796609"/>
                </a:cubicBezTo>
                <a:cubicBezTo>
                  <a:pt x="1409672" y="4791033"/>
                  <a:pt x="1412460" y="4785354"/>
                  <a:pt x="1421135" y="4786903"/>
                </a:cubicBezTo>
                <a:close/>
                <a:moveTo>
                  <a:pt x="1456451" y="4786180"/>
                </a:moveTo>
                <a:cubicBezTo>
                  <a:pt x="1457381" y="4786593"/>
                  <a:pt x="1458310" y="4787522"/>
                  <a:pt x="1459084" y="4789277"/>
                </a:cubicBezTo>
                <a:cubicBezTo>
                  <a:pt x="1457845" y="4790620"/>
                  <a:pt x="1453663" y="4793201"/>
                  <a:pt x="1450100" y="4793717"/>
                </a:cubicBezTo>
                <a:cubicBezTo>
                  <a:pt x="1448861" y="4793924"/>
                  <a:pt x="1447777" y="4793821"/>
                  <a:pt x="1446848" y="4793408"/>
                </a:cubicBezTo>
                <a:cubicBezTo>
                  <a:pt x="1445608" y="4792891"/>
                  <a:pt x="1444834" y="4791652"/>
                  <a:pt x="1444679" y="4789690"/>
                </a:cubicBezTo>
                <a:cubicBezTo>
                  <a:pt x="1449946" y="4788555"/>
                  <a:pt x="1453663" y="4784941"/>
                  <a:pt x="1456451" y="4786180"/>
                </a:cubicBezTo>
                <a:close/>
                <a:moveTo>
                  <a:pt x="1702117" y="4785870"/>
                </a:moveTo>
                <a:cubicBezTo>
                  <a:pt x="1703356" y="4785560"/>
                  <a:pt x="1704750" y="4786489"/>
                  <a:pt x="1706298" y="4788555"/>
                </a:cubicBezTo>
                <a:cubicBezTo>
                  <a:pt x="1705989" y="4790516"/>
                  <a:pt x="1702426" y="4791446"/>
                  <a:pt x="1700877" y="4792478"/>
                </a:cubicBezTo>
                <a:cubicBezTo>
                  <a:pt x="1700568" y="4791343"/>
                  <a:pt x="1700413" y="4790104"/>
                  <a:pt x="1699948" y="4790826"/>
                </a:cubicBezTo>
                <a:cubicBezTo>
                  <a:pt x="1699793" y="4789690"/>
                  <a:pt x="1699948" y="4788761"/>
                  <a:pt x="1700258" y="4787935"/>
                </a:cubicBezTo>
                <a:cubicBezTo>
                  <a:pt x="1700722" y="4787109"/>
                  <a:pt x="1701342" y="4786386"/>
                  <a:pt x="1702117" y="4785870"/>
                </a:cubicBezTo>
                <a:close/>
                <a:moveTo>
                  <a:pt x="1615530" y="4785457"/>
                </a:moveTo>
                <a:cubicBezTo>
                  <a:pt x="1616459" y="4785870"/>
                  <a:pt x="1618318" y="4786077"/>
                  <a:pt x="1618008" y="4786800"/>
                </a:cubicBezTo>
                <a:cubicBezTo>
                  <a:pt x="1618783" y="4787212"/>
                  <a:pt x="1618163" y="4788761"/>
                  <a:pt x="1618163" y="4788761"/>
                </a:cubicBezTo>
                <a:lnTo>
                  <a:pt x="1619092" y="4789794"/>
                </a:lnTo>
                <a:lnTo>
                  <a:pt x="1620021" y="4788658"/>
                </a:lnTo>
                <a:cubicBezTo>
                  <a:pt x="1621106" y="4788348"/>
                  <a:pt x="1622345" y="4788658"/>
                  <a:pt x="1624049" y="4789277"/>
                </a:cubicBezTo>
                <a:cubicBezTo>
                  <a:pt x="1623274" y="4791962"/>
                  <a:pt x="1622500" y="4793098"/>
                  <a:pt x="1621571" y="4793305"/>
                </a:cubicBezTo>
                <a:cubicBezTo>
                  <a:pt x="1620486" y="4793408"/>
                  <a:pt x="1619247" y="4792582"/>
                  <a:pt x="1617388" y="4791549"/>
                </a:cubicBezTo>
                <a:lnTo>
                  <a:pt x="1618163" y="4790826"/>
                </a:lnTo>
                <a:lnTo>
                  <a:pt x="1617699" y="4790310"/>
                </a:lnTo>
                <a:cubicBezTo>
                  <a:pt x="1616924" y="4789690"/>
                  <a:pt x="1615994" y="4788865"/>
                  <a:pt x="1615375" y="4788142"/>
                </a:cubicBezTo>
                <a:cubicBezTo>
                  <a:pt x="1615684" y="4787316"/>
                  <a:pt x="1615220" y="4786180"/>
                  <a:pt x="1615530" y="4785457"/>
                </a:cubicBezTo>
                <a:close/>
                <a:moveTo>
                  <a:pt x="945293" y="4785457"/>
                </a:moveTo>
                <a:cubicBezTo>
                  <a:pt x="945758" y="4787832"/>
                  <a:pt x="947462" y="4791033"/>
                  <a:pt x="944829" y="4793614"/>
                </a:cubicBezTo>
                <a:cubicBezTo>
                  <a:pt x="944673" y="4791859"/>
                  <a:pt x="943745" y="4788555"/>
                  <a:pt x="944209" y="4786696"/>
                </a:cubicBezTo>
                <a:cubicBezTo>
                  <a:pt x="944519" y="4786077"/>
                  <a:pt x="944829" y="4785560"/>
                  <a:pt x="945293" y="4785457"/>
                </a:cubicBezTo>
                <a:close/>
                <a:moveTo>
                  <a:pt x="1490993" y="4785354"/>
                </a:moveTo>
                <a:cubicBezTo>
                  <a:pt x="1493472" y="4783805"/>
                  <a:pt x="1500286" y="4788348"/>
                  <a:pt x="1502765" y="4791033"/>
                </a:cubicBezTo>
                <a:cubicBezTo>
                  <a:pt x="1502145" y="4791446"/>
                  <a:pt x="1501371" y="4791446"/>
                  <a:pt x="1500286" y="4791239"/>
                </a:cubicBezTo>
                <a:cubicBezTo>
                  <a:pt x="1497344" y="4790413"/>
                  <a:pt x="1493006" y="4787419"/>
                  <a:pt x="1490993" y="4785354"/>
                </a:cubicBezTo>
                <a:close/>
                <a:moveTo>
                  <a:pt x="1815656" y="4785250"/>
                </a:moveTo>
                <a:cubicBezTo>
                  <a:pt x="1818908" y="4783702"/>
                  <a:pt x="1822471" y="4790723"/>
                  <a:pt x="1821696" y="4792375"/>
                </a:cubicBezTo>
                <a:cubicBezTo>
                  <a:pt x="1820147" y="4793201"/>
                  <a:pt x="1812402" y="4787729"/>
                  <a:pt x="1815656" y="4785250"/>
                </a:cubicBezTo>
                <a:close/>
                <a:moveTo>
                  <a:pt x="1608404" y="4785044"/>
                </a:moveTo>
                <a:cubicBezTo>
                  <a:pt x="1608404" y="4785044"/>
                  <a:pt x="1609643" y="4786593"/>
                  <a:pt x="1609643" y="4786593"/>
                </a:cubicBezTo>
                <a:cubicBezTo>
                  <a:pt x="1610418" y="4789071"/>
                  <a:pt x="1610728" y="4790207"/>
                  <a:pt x="1611967" y="4791859"/>
                </a:cubicBezTo>
                <a:cubicBezTo>
                  <a:pt x="1611193" y="4792478"/>
                  <a:pt x="1610728" y="4792685"/>
                  <a:pt x="1610263" y="4792582"/>
                </a:cubicBezTo>
                <a:cubicBezTo>
                  <a:pt x="1609798" y="4792478"/>
                  <a:pt x="1609489" y="4791962"/>
                  <a:pt x="1609333" y="4791343"/>
                </a:cubicBezTo>
                <a:cubicBezTo>
                  <a:pt x="1609333" y="4791343"/>
                  <a:pt x="1608869" y="4790207"/>
                  <a:pt x="1608559" y="4788968"/>
                </a:cubicBezTo>
                <a:cubicBezTo>
                  <a:pt x="1608095" y="4787832"/>
                  <a:pt x="1607320" y="4787316"/>
                  <a:pt x="1607320" y="4787316"/>
                </a:cubicBezTo>
                <a:cubicBezTo>
                  <a:pt x="1607010" y="4786077"/>
                  <a:pt x="1607320" y="4785354"/>
                  <a:pt x="1608404" y="4785044"/>
                </a:cubicBezTo>
                <a:close/>
                <a:moveTo>
                  <a:pt x="1589197" y="4784838"/>
                </a:moveTo>
                <a:cubicBezTo>
                  <a:pt x="1590437" y="4786903"/>
                  <a:pt x="1592450" y="4790516"/>
                  <a:pt x="1592295" y="4792788"/>
                </a:cubicBezTo>
                <a:cubicBezTo>
                  <a:pt x="1592295" y="4793511"/>
                  <a:pt x="1591985" y="4794131"/>
                  <a:pt x="1591366" y="4794440"/>
                </a:cubicBezTo>
                <a:cubicBezTo>
                  <a:pt x="1590282" y="4794750"/>
                  <a:pt x="1589972" y="4793614"/>
                  <a:pt x="1589197" y="4793201"/>
                </a:cubicBezTo>
                <a:cubicBezTo>
                  <a:pt x="1588113" y="4791652"/>
                  <a:pt x="1588113" y="4785147"/>
                  <a:pt x="1589197" y="4784838"/>
                </a:cubicBezTo>
                <a:close/>
                <a:moveTo>
                  <a:pt x="5991031" y="4784442"/>
                </a:moveTo>
                <a:cubicBezTo>
                  <a:pt x="5992579" y="4785372"/>
                  <a:pt x="5993354" y="4785372"/>
                  <a:pt x="5995213" y="4784545"/>
                </a:cubicBezTo>
                <a:cubicBezTo>
                  <a:pt x="5995213" y="4784545"/>
                  <a:pt x="5995213" y="4784545"/>
                  <a:pt x="5996607" y="4786301"/>
                </a:cubicBezTo>
                <a:lnTo>
                  <a:pt x="5996607" y="4787127"/>
                </a:lnTo>
                <a:cubicBezTo>
                  <a:pt x="5996297" y="4787540"/>
                  <a:pt x="5995677" y="4787746"/>
                  <a:pt x="5994748" y="4787850"/>
                </a:cubicBezTo>
                <a:cubicBezTo>
                  <a:pt x="5991960" y="4788056"/>
                  <a:pt x="5987158" y="4787024"/>
                  <a:pt x="5986539" y="4787024"/>
                </a:cubicBezTo>
                <a:cubicBezTo>
                  <a:pt x="5986539" y="4787024"/>
                  <a:pt x="5985764" y="4786920"/>
                  <a:pt x="5984989" y="4786920"/>
                </a:cubicBezTo>
                <a:cubicBezTo>
                  <a:pt x="5984215" y="4786095"/>
                  <a:pt x="5984215" y="4785165"/>
                  <a:pt x="5983441" y="4785165"/>
                </a:cubicBezTo>
                <a:cubicBezTo>
                  <a:pt x="5986229" y="4782687"/>
                  <a:pt x="5988707" y="4783616"/>
                  <a:pt x="5991031" y="4784442"/>
                </a:cubicBezTo>
                <a:close/>
                <a:moveTo>
                  <a:pt x="6236812" y="4784365"/>
                </a:moveTo>
                <a:cubicBezTo>
                  <a:pt x="6238748" y="4783590"/>
                  <a:pt x="6241188" y="4784339"/>
                  <a:pt x="6242737" y="4786198"/>
                </a:cubicBezTo>
                <a:cubicBezTo>
                  <a:pt x="6243666" y="4787540"/>
                  <a:pt x="6244286" y="4789295"/>
                  <a:pt x="6243976" y="4791464"/>
                </a:cubicBezTo>
                <a:cubicBezTo>
                  <a:pt x="6243047" y="4792393"/>
                  <a:pt x="6240878" y="4792909"/>
                  <a:pt x="6238865" y="4792909"/>
                </a:cubicBezTo>
                <a:cubicBezTo>
                  <a:pt x="6236696" y="4793012"/>
                  <a:pt x="6234683" y="4792600"/>
                  <a:pt x="6233908" y="4791670"/>
                </a:cubicBezTo>
                <a:cubicBezTo>
                  <a:pt x="6233443" y="4787437"/>
                  <a:pt x="6234876" y="4785139"/>
                  <a:pt x="6236812" y="4784365"/>
                </a:cubicBezTo>
                <a:close/>
                <a:moveTo>
                  <a:pt x="1841523" y="4783185"/>
                </a:moveTo>
                <a:cubicBezTo>
                  <a:pt x="1841368" y="4784424"/>
                  <a:pt x="1841213" y="4785973"/>
                  <a:pt x="1840903" y="4787316"/>
                </a:cubicBezTo>
                <a:lnTo>
                  <a:pt x="1839974" y="4790516"/>
                </a:lnTo>
                <a:lnTo>
                  <a:pt x="1840284" y="4790620"/>
                </a:lnTo>
                <a:cubicBezTo>
                  <a:pt x="1844157" y="4792582"/>
                  <a:pt x="1847564" y="4795576"/>
                  <a:pt x="1849578" y="4798054"/>
                </a:cubicBezTo>
                <a:cubicBezTo>
                  <a:pt x="1847564" y="4798777"/>
                  <a:pt x="1845396" y="4798983"/>
                  <a:pt x="1843227" y="4798777"/>
                </a:cubicBezTo>
                <a:cubicBezTo>
                  <a:pt x="1836722" y="4798054"/>
                  <a:pt x="1830061" y="4793614"/>
                  <a:pt x="1828047" y="4789174"/>
                </a:cubicBezTo>
                <a:cubicBezTo>
                  <a:pt x="1830061" y="4788348"/>
                  <a:pt x="1832229" y="4788245"/>
                  <a:pt x="1834244" y="4788555"/>
                </a:cubicBezTo>
                <a:lnTo>
                  <a:pt x="1839819" y="4790413"/>
                </a:lnTo>
                <a:lnTo>
                  <a:pt x="1839355" y="4787419"/>
                </a:lnTo>
                <a:cubicBezTo>
                  <a:pt x="1839355" y="4786077"/>
                  <a:pt x="1839664" y="4784838"/>
                  <a:pt x="1840594" y="4784011"/>
                </a:cubicBezTo>
                <a:cubicBezTo>
                  <a:pt x="1840594" y="4784011"/>
                  <a:pt x="1840594" y="4784011"/>
                  <a:pt x="1841523" y="4783185"/>
                </a:cubicBezTo>
                <a:close/>
                <a:moveTo>
                  <a:pt x="1343532" y="4782669"/>
                </a:moveTo>
                <a:cubicBezTo>
                  <a:pt x="1346165" y="4782463"/>
                  <a:pt x="1347869" y="4783082"/>
                  <a:pt x="1348798" y="4784631"/>
                </a:cubicBezTo>
                <a:lnTo>
                  <a:pt x="1349573" y="4790826"/>
                </a:lnTo>
                <a:lnTo>
                  <a:pt x="1352980" y="4790310"/>
                </a:lnTo>
                <a:cubicBezTo>
                  <a:pt x="1355149" y="4793408"/>
                  <a:pt x="1355613" y="4796196"/>
                  <a:pt x="1356233" y="4798054"/>
                </a:cubicBezTo>
                <a:cubicBezTo>
                  <a:pt x="1354374" y="4799293"/>
                  <a:pt x="1353291" y="4800842"/>
                  <a:pt x="1351431" y="4802184"/>
                </a:cubicBezTo>
                <a:cubicBezTo>
                  <a:pt x="1346320" y="4801875"/>
                  <a:pt x="1344461" y="4798364"/>
                  <a:pt x="1344925" y="4795163"/>
                </a:cubicBezTo>
                <a:lnTo>
                  <a:pt x="1347249" y="4791343"/>
                </a:lnTo>
                <a:lnTo>
                  <a:pt x="1346320" y="4791239"/>
                </a:lnTo>
                <a:cubicBezTo>
                  <a:pt x="1345546" y="4790723"/>
                  <a:pt x="1345080" y="4790000"/>
                  <a:pt x="1344771" y="4789174"/>
                </a:cubicBezTo>
                <a:cubicBezTo>
                  <a:pt x="1344151" y="4787316"/>
                  <a:pt x="1344151" y="4784838"/>
                  <a:pt x="1343532" y="4782669"/>
                </a:cubicBezTo>
                <a:close/>
                <a:moveTo>
                  <a:pt x="888136" y="4782049"/>
                </a:moveTo>
                <a:cubicBezTo>
                  <a:pt x="890615" y="4782153"/>
                  <a:pt x="892319" y="4782153"/>
                  <a:pt x="893868" y="4783908"/>
                </a:cubicBezTo>
                <a:cubicBezTo>
                  <a:pt x="896037" y="4786593"/>
                  <a:pt x="897120" y="4792685"/>
                  <a:pt x="894332" y="4795163"/>
                </a:cubicBezTo>
                <a:cubicBezTo>
                  <a:pt x="891544" y="4798571"/>
                  <a:pt x="888911" y="4799397"/>
                  <a:pt x="886433" y="4799397"/>
                </a:cubicBezTo>
                <a:cubicBezTo>
                  <a:pt x="886433" y="4799397"/>
                  <a:pt x="886433" y="4799397"/>
                  <a:pt x="887207" y="4799500"/>
                </a:cubicBezTo>
                <a:lnTo>
                  <a:pt x="888756" y="4801358"/>
                </a:lnTo>
                <a:lnTo>
                  <a:pt x="890150" y="4801255"/>
                </a:lnTo>
                <a:cubicBezTo>
                  <a:pt x="891080" y="4801255"/>
                  <a:pt x="891544" y="4801255"/>
                  <a:pt x="891854" y="4801255"/>
                </a:cubicBezTo>
                <a:cubicBezTo>
                  <a:pt x="891854" y="4802081"/>
                  <a:pt x="892009" y="4802081"/>
                  <a:pt x="892009" y="4802081"/>
                </a:cubicBezTo>
                <a:lnTo>
                  <a:pt x="889685" y="4802598"/>
                </a:lnTo>
                <a:lnTo>
                  <a:pt x="892164" y="4805695"/>
                </a:lnTo>
                <a:lnTo>
                  <a:pt x="894177" y="4805282"/>
                </a:lnTo>
                <a:lnTo>
                  <a:pt x="892938" y="4806831"/>
                </a:lnTo>
                <a:lnTo>
                  <a:pt x="894177" y="4809206"/>
                </a:lnTo>
                <a:cubicBezTo>
                  <a:pt x="894487" y="4810239"/>
                  <a:pt x="894642" y="4811065"/>
                  <a:pt x="894332" y="4811684"/>
                </a:cubicBezTo>
                <a:cubicBezTo>
                  <a:pt x="893558" y="4811684"/>
                  <a:pt x="892628" y="4811581"/>
                  <a:pt x="892009" y="4810755"/>
                </a:cubicBezTo>
                <a:cubicBezTo>
                  <a:pt x="891235" y="4809825"/>
                  <a:pt x="892009" y="4809929"/>
                  <a:pt x="891235" y="4809929"/>
                </a:cubicBezTo>
                <a:cubicBezTo>
                  <a:pt x="890460" y="4809000"/>
                  <a:pt x="890460" y="4809929"/>
                  <a:pt x="890460" y="4809929"/>
                </a:cubicBezTo>
                <a:lnTo>
                  <a:pt x="890460" y="4809619"/>
                </a:lnTo>
                <a:lnTo>
                  <a:pt x="886897" y="4811065"/>
                </a:lnTo>
                <a:cubicBezTo>
                  <a:pt x="884574" y="4811684"/>
                  <a:pt x="882406" y="4811787"/>
                  <a:pt x="881166" y="4814059"/>
                </a:cubicBezTo>
                <a:cubicBezTo>
                  <a:pt x="880082" y="4812407"/>
                  <a:pt x="880082" y="4812407"/>
                  <a:pt x="880701" y="4810548"/>
                </a:cubicBezTo>
                <a:cubicBezTo>
                  <a:pt x="881476" y="4810548"/>
                  <a:pt x="881321" y="4809619"/>
                  <a:pt x="882251" y="4810445"/>
                </a:cubicBezTo>
                <a:cubicBezTo>
                  <a:pt x="883025" y="4809103"/>
                  <a:pt x="885039" y="4807657"/>
                  <a:pt x="887362" y="4806624"/>
                </a:cubicBezTo>
                <a:lnTo>
                  <a:pt x="887826" y="4806521"/>
                </a:lnTo>
                <a:lnTo>
                  <a:pt x="886278" y="4805592"/>
                </a:lnTo>
                <a:cubicBezTo>
                  <a:pt x="885503" y="4805282"/>
                  <a:pt x="885039" y="4804973"/>
                  <a:pt x="884264" y="4804559"/>
                </a:cubicBezTo>
                <a:lnTo>
                  <a:pt x="884109" y="4804456"/>
                </a:lnTo>
                <a:lnTo>
                  <a:pt x="883645" y="4804663"/>
                </a:lnTo>
                <a:cubicBezTo>
                  <a:pt x="882560" y="4804869"/>
                  <a:pt x="881631" y="4804869"/>
                  <a:pt x="880392" y="4804456"/>
                </a:cubicBezTo>
                <a:cubicBezTo>
                  <a:pt x="880392" y="4804456"/>
                  <a:pt x="880392" y="4804456"/>
                  <a:pt x="881321" y="4804456"/>
                </a:cubicBezTo>
                <a:cubicBezTo>
                  <a:pt x="881321" y="4804456"/>
                  <a:pt x="880392" y="4804456"/>
                  <a:pt x="880392" y="4803630"/>
                </a:cubicBezTo>
                <a:lnTo>
                  <a:pt x="883025" y="4802804"/>
                </a:lnTo>
                <a:lnTo>
                  <a:pt x="882715" y="4802288"/>
                </a:lnTo>
                <a:cubicBezTo>
                  <a:pt x="882406" y="4801565"/>
                  <a:pt x="881940" y="4800636"/>
                  <a:pt x="881321" y="4799293"/>
                </a:cubicBezTo>
                <a:cubicBezTo>
                  <a:pt x="882251" y="4797641"/>
                  <a:pt x="882251" y="4797641"/>
                  <a:pt x="883180" y="4797641"/>
                </a:cubicBezTo>
                <a:cubicBezTo>
                  <a:pt x="882251" y="4797641"/>
                  <a:pt x="882406" y="4796712"/>
                  <a:pt x="881631" y="4795886"/>
                </a:cubicBezTo>
                <a:cubicBezTo>
                  <a:pt x="877758" y="4793201"/>
                  <a:pt x="879772" y="4788865"/>
                  <a:pt x="883645" y="4784631"/>
                </a:cubicBezTo>
                <a:cubicBezTo>
                  <a:pt x="884419" y="4785457"/>
                  <a:pt x="886433" y="4782979"/>
                  <a:pt x="888136" y="4782049"/>
                </a:cubicBezTo>
                <a:close/>
                <a:moveTo>
                  <a:pt x="5890658" y="4781861"/>
                </a:moveTo>
                <a:cubicBezTo>
                  <a:pt x="5891742" y="4780209"/>
                  <a:pt x="5893910" y="4783719"/>
                  <a:pt x="5894840" y="4781964"/>
                </a:cubicBezTo>
                <a:cubicBezTo>
                  <a:pt x="5897783" y="4785578"/>
                  <a:pt x="5902430" y="4781241"/>
                  <a:pt x="5907696" y="4785681"/>
                </a:cubicBezTo>
                <a:cubicBezTo>
                  <a:pt x="5905683" y="4786301"/>
                  <a:pt x="5903669" y="4786611"/>
                  <a:pt x="5901810" y="4786611"/>
                </a:cubicBezTo>
                <a:cubicBezTo>
                  <a:pt x="5896544" y="4786714"/>
                  <a:pt x="5892517" y="4784959"/>
                  <a:pt x="5888644" y="4786198"/>
                </a:cubicBezTo>
                <a:cubicBezTo>
                  <a:pt x="5888644" y="4786198"/>
                  <a:pt x="5888644" y="4786301"/>
                  <a:pt x="5887095" y="4784442"/>
                </a:cubicBezTo>
                <a:cubicBezTo>
                  <a:pt x="5886321" y="4784442"/>
                  <a:pt x="5886321" y="4784442"/>
                  <a:pt x="5886321" y="4784442"/>
                </a:cubicBezTo>
                <a:cubicBezTo>
                  <a:pt x="5885856" y="4784442"/>
                  <a:pt x="5885701" y="4784029"/>
                  <a:pt x="5885701" y="4783616"/>
                </a:cubicBezTo>
                <a:cubicBezTo>
                  <a:pt x="5885701" y="4783100"/>
                  <a:pt x="5885701" y="4782687"/>
                  <a:pt x="5885701" y="4782687"/>
                </a:cubicBezTo>
                <a:cubicBezTo>
                  <a:pt x="5886630" y="4780932"/>
                  <a:pt x="5889109" y="4781861"/>
                  <a:pt x="5890658" y="4781861"/>
                </a:cubicBezTo>
                <a:close/>
                <a:moveTo>
                  <a:pt x="1659985" y="4780914"/>
                </a:moveTo>
                <a:cubicBezTo>
                  <a:pt x="1661843" y="4781017"/>
                  <a:pt x="1664167" y="4782359"/>
                  <a:pt x="1664476" y="4783495"/>
                </a:cubicBezTo>
                <a:cubicBezTo>
                  <a:pt x="1664942" y="4784734"/>
                  <a:pt x="1664476" y="4785457"/>
                  <a:pt x="1664476" y="4785457"/>
                </a:cubicBezTo>
                <a:cubicBezTo>
                  <a:pt x="1663237" y="4786180"/>
                  <a:pt x="1661843" y="4786593"/>
                  <a:pt x="1660759" y="4786386"/>
                </a:cubicBezTo>
                <a:cubicBezTo>
                  <a:pt x="1659520" y="4786180"/>
                  <a:pt x="1658436" y="4785354"/>
                  <a:pt x="1657816" y="4783599"/>
                </a:cubicBezTo>
                <a:cubicBezTo>
                  <a:pt x="1657506" y="4782359"/>
                  <a:pt x="1657042" y="4781223"/>
                  <a:pt x="1657816" y="4781637"/>
                </a:cubicBezTo>
                <a:cubicBezTo>
                  <a:pt x="1658126" y="4780914"/>
                  <a:pt x="1658900" y="4781223"/>
                  <a:pt x="1659985" y="4780914"/>
                </a:cubicBezTo>
                <a:close/>
                <a:moveTo>
                  <a:pt x="6633230" y="4780828"/>
                </a:moveTo>
                <a:cubicBezTo>
                  <a:pt x="6637258" y="4782480"/>
                  <a:pt x="6637413" y="4788160"/>
                  <a:pt x="6634469" y="4789811"/>
                </a:cubicBezTo>
                <a:cubicBezTo>
                  <a:pt x="6628119" y="4788779"/>
                  <a:pt x="6629978" y="4781654"/>
                  <a:pt x="6633230" y="4780828"/>
                </a:cubicBezTo>
                <a:close/>
                <a:moveTo>
                  <a:pt x="6072041" y="4780828"/>
                </a:moveTo>
                <a:cubicBezTo>
                  <a:pt x="6073435" y="4784029"/>
                  <a:pt x="6071577" y="4786714"/>
                  <a:pt x="6069098" y="4787437"/>
                </a:cubicBezTo>
                <a:cubicBezTo>
                  <a:pt x="6068324" y="4787643"/>
                  <a:pt x="6067394" y="4787540"/>
                  <a:pt x="6066465" y="4787230"/>
                </a:cubicBezTo>
                <a:cubicBezTo>
                  <a:pt x="6062592" y="4781654"/>
                  <a:pt x="6069098" y="4778970"/>
                  <a:pt x="6072041" y="4780828"/>
                </a:cubicBezTo>
                <a:close/>
                <a:moveTo>
                  <a:pt x="1706454" y="4780707"/>
                </a:moveTo>
                <a:lnTo>
                  <a:pt x="1705989" y="4780914"/>
                </a:lnTo>
                <a:lnTo>
                  <a:pt x="1707073" y="4782153"/>
                </a:lnTo>
                <a:lnTo>
                  <a:pt x="1707693" y="4782256"/>
                </a:lnTo>
                <a:close/>
                <a:moveTo>
                  <a:pt x="692502" y="4780398"/>
                </a:moveTo>
                <a:cubicBezTo>
                  <a:pt x="697150" y="4781017"/>
                  <a:pt x="699163" y="4787419"/>
                  <a:pt x="695910" y="4790104"/>
                </a:cubicBezTo>
                <a:cubicBezTo>
                  <a:pt x="695291" y="4790000"/>
                  <a:pt x="694516" y="4790104"/>
                  <a:pt x="693742" y="4790000"/>
                </a:cubicBezTo>
                <a:cubicBezTo>
                  <a:pt x="692967" y="4790000"/>
                  <a:pt x="692038" y="4789897"/>
                  <a:pt x="691108" y="4789484"/>
                </a:cubicBezTo>
                <a:cubicBezTo>
                  <a:pt x="689095" y="4785457"/>
                  <a:pt x="689869" y="4782463"/>
                  <a:pt x="692502" y="4780398"/>
                </a:cubicBezTo>
                <a:close/>
                <a:moveTo>
                  <a:pt x="6254044" y="4779279"/>
                </a:moveTo>
                <a:cubicBezTo>
                  <a:pt x="6255903" y="4778763"/>
                  <a:pt x="6258227" y="4779383"/>
                  <a:pt x="6260860" y="4781551"/>
                </a:cubicBezTo>
                <a:cubicBezTo>
                  <a:pt x="6258382" y="4786817"/>
                  <a:pt x="6260550" y="4790741"/>
                  <a:pt x="6256368" y="4793735"/>
                </a:cubicBezTo>
                <a:cubicBezTo>
                  <a:pt x="6247694" y="4791257"/>
                  <a:pt x="6248623" y="4780622"/>
                  <a:pt x="6254044" y="4779279"/>
                </a:cubicBezTo>
                <a:close/>
                <a:moveTo>
                  <a:pt x="1472095" y="4778539"/>
                </a:moveTo>
                <a:cubicBezTo>
                  <a:pt x="1473025" y="4779468"/>
                  <a:pt x="1473954" y="4780398"/>
                  <a:pt x="1473954" y="4782049"/>
                </a:cubicBezTo>
                <a:cubicBezTo>
                  <a:pt x="1472405" y="4783805"/>
                  <a:pt x="1469772" y="4782772"/>
                  <a:pt x="1468997" y="4783599"/>
                </a:cubicBezTo>
                <a:cubicBezTo>
                  <a:pt x="1468997" y="4782669"/>
                  <a:pt x="1468843" y="4781017"/>
                  <a:pt x="1467139" y="4779984"/>
                </a:cubicBezTo>
                <a:cubicBezTo>
                  <a:pt x="1468843" y="4778333"/>
                  <a:pt x="1470392" y="4776783"/>
                  <a:pt x="1472095" y="4778539"/>
                </a:cubicBezTo>
                <a:close/>
                <a:moveTo>
                  <a:pt x="6445187" y="4777524"/>
                </a:moveTo>
                <a:cubicBezTo>
                  <a:pt x="6447975" y="4776698"/>
                  <a:pt x="6449833" y="4777214"/>
                  <a:pt x="6451073" y="4778350"/>
                </a:cubicBezTo>
                <a:cubicBezTo>
                  <a:pt x="6454945" y="4781861"/>
                  <a:pt x="6452157" y="4791567"/>
                  <a:pt x="6444876" y="4789915"/>
                </a:cubicBezTo>
                <a:cubicBezTo>
                  <a:pt x="6444412" y="4789295"/>
                  <a:pt x="6444102" y="4788263"/>
                  <a:pt x="6443792" y="4787230"/>
                </a:cubicBezTo>
                <a:cubicBezTo>
                  <a:pt x="6443328" y="4783926"/>
                  <a:pt x="6444102" y="4779383"/>
                  <a:pt x="6445187" y="4777524"/>
                </a:cubicBezTo>
                <a:close/>
                <a:moveTo>
                  <a:pt x="6040133" y="4777421"/>
                </a:moveTo>
                <a:cubicBezTo>
                  <a:pt x="6041836" y="4776595"/>
                  <a:pt x="6044160" y="4779279"/>
                  <a:pt x="6045709" y="4780209"/>
                </a:cubicBezTo>
                <a:cubicBezTo>
                  <a:pt x="6044779" y="4781035"/>
                  <a:pt x="6043850" y="4781861"/>
                  <a:pt x="6044624" y="4781861"/>
                </a:cubicBezTo>
                <a:cubicBezTo>
                  <a:pt x="6043695" y="4782790"/>
                  <a:pt x="6042921" y="4783203"/>
                  <a:pt x="6042146" y="4783306"/>
                </a:cubicBezTo>
                <a:cubicBezTo>
                  <a:pt x="6041217" y="4783306"/>
                  <a:pt x="6040443" y="4783100"/>
                  <a:pt x="6039668" y="4782687"/>
                </a:cubicBezTo>
                <a:cubicBezTo>
                  <a:pt x="6038893" y="4781758"/>
                  <a:pt x="6039048" y="4780002"/>
                  <a:pt x="6040133" y="4777421"/>
                </a:cubicBezTo>
                <a:close/>
                <a:moveTo>
                  <a:pt x="1603758" y="4775957"/>
                </a:moveTo>
                <a:cubicBezTo>
                  <a:pt x="1604841" y="4776164"/>
                  <a:pt x="1605771" y="4776783"/>
                  <a:pt x="1606236" y="4778333"/>
                </a:cubicBezTo>
                <a:cubicBezTo>
                  <a:pt x="1607475" y="4782979"/>
                  <a:pt x="1603758" y="4785044"/>
                  <a:pt x="1599111" y="4786800"/>
                </a:cubicBezTo>
                <a:cubicBezTo>
                  <a:pt x="1598181" y="4785250"/>
                  <a:pt x="1596632" y="4784631"/>
                  <a:pt x="1595703" y="4783082"/>
                </a:cubicBezTo>
                <a:lnTo>
                  <a:pt x="1595703" y="4782979"/>
                </a:lnTo>
                <a:lnTo>
                  <a:pt x="1593069" y="4782772"/>
                </a:lnTo>
                <a:cubicBezTo>
                  <a:pt x="1593534" y="4779262"/>
                  <a:pt x="1597252" y="4776887"/>
                  <a:pt x="1600505" y="4776680"/>
                </a:cubicBezTo>
                <a:lnTo>
                  <a:pt x="1601589" y="4776887"/>
                </a:lnTo>
                <a:close/>
                <a:moveTo>
                  <a:pt x="1361965" y="4775854"/>
                </a:moveTo>
                <a:cubicBezTo>
                  <a:pt x="1365527" y="4777300"/>
                  <a:pt x="1368005" y="4778126"/>
                  <a:pt x="1370483" y="4778849"/>
                </a:cubicBezTo>
                <a:lnTo>
                  <a:pt x="1376680" y="4781533"/>
                </a:lnTo>
                <a:lnTo>
                  <a:pt x="1376989" y="4779881"/>
                </a:lnTo>
                <a:cubicBezTo>
                  <a:pt x="1380242" y="4781120"/>
                  <a:pt x="1383030" y="4781223"/>
                  <a:pt x="1385044" y="4781740"/>
                </a:cubicBezTo>
                <a:lnTo>
                  <a:pt x="1386283" y="4782463"/>
                </a:lnTo>
                <a:lnTo>
                  <a:pt x="1388761" y="4782566"/>
                </a:lnTo>
                <a:cubicBezTo>
                  <a:pt x="1390775" y="4783288"/>
                  <a:pt x="1392634" y="4784528"/>
                  <a:pt x="1393253" y="4786283"/>
                </a:cubicBezTo>
                <a:cubicBezTo>
                  <a:pt x="1395112" y="4790310"/>
                  <a:pt x="1394803" y="4792995"/>
                  <a:pt x="1393718" y="4795370"/>
                </a:cubicBezTo>
                <a:cubicBezTo>
                  <a:pt x="1393718" y="4795370"/>
                  <a:pt x="1393873" y="4795267"/>
                  <a:pt x="1394183" y="4794544"/>
                </a:cubicBezTo>
                <a:lnTo>
                  <a:pt x="1398675" y="4793408"/>
                </a:lnTo>
                <a:lnTo>
                  <a:pt x="1397436" y="4791859"/>
                </a:lnTo>
                <a:cubicBezTo>
                  <a:pt x="1398829" y="4783185"/>
                  <a:pt x="1401463" y="4784528"/>
                  <a:pt x="1405645" y="4784838"/>
                </a:cubicBezTo>
                <a:cubicBezTo>
                  <a:pt x="1405645" y="4786800"/>
                  <a:pt x="1407504" y="4788555"/>
                  <a:pt x="1406729" y="4790930"/>
                </a:cubicBezTo>
                <a:cubicBezTo>
                  <a:pt x="1406729" y="4790930"/>
                  <a:pt x="1406729" y="4791239"/>
                  <a:pt x="1406419" y="4791652"/>
                </a:cubicBezTo>
                <a:lnTo>
                  <a:pt x="1405955" y="4792169"/>
                </a:lnTo>
                <a:lnTo>
                  <a:pt x="1408279" y="4792891"/>
                </a:lnTo>
                <a:cubicBezTo>
                  <a:pt x="1407814" y="4793717"/>
                  <a:pt x="1407504" y="4794440"/>
                  <a:pt x="1406419" y="4794853"/>
                </a:cubicBezTo>
                <a:cubicBezTo>
                  <a:pt x="1405335" y="4795163"/>
                  <a:pt x="1405645" y="4794337"/>
                  <a:pt x="1405335" y="4795163"/>
                </a:cubicBezTo>
                <a:cubicBezTo>
                  <a:pt x="1404251" y="4795473"/>
                  <a:pt x="1405025" y="4795886"/>
                  <a:pt x="1405025" y="4795886"/>
                </a:cubicBezTo>
                <a:cubicBezTo>
                  <a:pt x="1405025" y="4795886"/>
                  <a:pt x="1404251" y="4795473"/>
                  <a:pt x="1404251" y="4795473"/>
                </a:cubicBezTo>
                <a:cubicBezTo>
                  <a:pt x="1404251" y="4795473"/>
                  <a:pt x="1404251" y="4795473"/>
                  <a:pt x="1401928" y="4796196"/>
                </a:cubicBezTo>
                <a:lnTo>
                  <a:pt x="1400379" y="4797228"/>
                </a:lnTo>
                <a:lnTo>
                  <a:pt x="1400844" y="4797538"/>
                </a:lnTo>
                <a:cubicBezTo>
                  <a:pt x="1401618" y="4798467"/>
                  <a:pt x="1402392" y="4799500"/>
                  <a:pt x="1401463" y="4800223"/>
                </a:cubicBezTo>
                <a:cubicBezTo>
                  <a:pt x="1400998" y="4800636"/>
                  <a:pt x="1400844" y="4800945"/>
                  <a:pt x="1400533" y="4801152"/>
                </a:cubicBezTo>
                <a:cubicBezTo>
                  <a:pt x="1400224" y="4801255"/>
                  <a:pt x="1399759" y="4801255"/>
                  <a:pt x="1398985" y="4800636"/>
                </a:cubicBezTo>
                <a:lnTo>
                  <a:pt x="1396816" y="4799603"/>
                </a:lnTo>
                <a:lnTo>
                  <a:pt x="1394957" y="4799810"/>
                </a:lnTo>
                <a:cubicBezTo>
                  <a:pt x="1394028" y="4799810"/>
                  <a:pt x="1393099" y="4799810"/>
                  <a:pt x="1391704" y="4799913"/>
                </a:cubicBezTo>
                <a:cubicBezTo>
                  <a:pt x="1390465" y="4798261"/>
                  <a:pt x="1390465" y="4798261"/>
                  <a:pt x="1390930" y="4797538"/>
                </a:cubicBezTo>
                <a:cubicBezTo>
                  <a:pt x="1390465" y="4798261"/>
                  <a:pt x="1389691" y="4797848"/>
                  <a:pt x="1388607" y="4798157"/>
                </a:cubicBezTo>
                <a:cubicBezTo>
                  <a:pt x="1384579" y="4800636"/>
                  <a:pt x="1381481" y="4797022"/>
                  <a:pt x="1379158" y="4791859"/>
                </a:cubicBezTo>
                <a:cubicBezTo>
                  <a:pt x="1380242" y="4791549"/>
                  <a:pt x="1378693" y="4788658"/>
                  <a:pt x="1378693" y="4786696"/>
                </a:cubicBezTo>
                <a:lnTo>
                  <a:pt x="1379003" y="4786180"/>
                </a:lnTo>
                <a:lnTo>
                  <a:pt x="1375595" y="4785354"/>
                </a:lnTo>
                <a:lnTo>
                  <a:pt x="1376214" y="4783702"/>
                </a:lnTo>
                <a:lnTo>
                  <a:pt x="1374511" y="4784115"/>
                </a:lnTo>
                <a:cubicBezTo>
                  <a:pt x="1371413" y="4783908"/>
                  <a:pt x="1366456" y="4782049"/>
                  <a:pt x="1366456" y="4781430"/>
                </a:cubicBezTo>
                <a:cubicBezTo>
                  <a:pt x="1365682" y="4781327"/>
                  <a:pt x="1365682" y="4780501"/>
                  <a:pt x="1364753" y="4780398"/>
                </a:cubicBezTo>
                <a:cubicBezTo>
                  <a:pt x="1364753" y="4780398"/>
                  <a:pt x="1363978" y="4780398"/>
                  <a:pt x="1363049" y="4779468"/>
                </a:cubicBezTo>
                <a:cubicBezTo>
                  <a:pt x="1362119" y="4778539"/>
                  <a:pt x="1361190" y="4777610"/>
                  <a:pt x="1361965" y="4775854"/>
                </a:cubicBezTo>
                <a:close/>
                <a:moveTo>
                  <a:pt x="1000591" y="4775854"/>
                </a:moveTo>
                <a:cubicBezTo>
                  <a:pt x="1006787" y="4773582"/>
                  <a:pt x="1010350" y="4784321"/>
                  <a:pt x="1011898" y="4786386"/>
                </a:cubicBezTo>
                <a:cubicBezTo>
                  <a:pt x="1011898" y="4786386"/>
                  <a:pt x="1012518" y="4786800"/>
                  <a:pt x="1012828" y="4788039"/>
                </a:cubicBezTo>
                <a:cubicBezTo>
                  <a:pt x="1013602" y="4789690"/>
                  <a:pt x="1011124" y="4789071"/>
                  <a:pt x="1011434" y="4790310"/>
                </a:cubicBezTo>
                <a:cubicBezTo>
                  <a:pt x="1006942" y="4785354"/>
                  <a:pt x="1001211" y="4783805"/>
                  <a:pt x="1001211" y="4783805"/>
                </a:cubicBezTo>
                <a:cubicBezTo>
                  <a:pt x="1000437" y="4782153"/>
                  <a:pt x="1000746" y="4781430"/>
                  <a:pt x="1000282" y="4782153"/>
                </a:cubicBezTo>
                <a:cubicBezTo>
                  <a:pt x="999972" y="4779778"/>
                  <a:pt x="998887" y="4776990"/>
                  <a:pt x="1000591" y="4775854"/>
                </a:cubicBezTo>
                <a:close/>
                <a:moveTo>
                  <a:pt x="1719930" y="4775544"/>
                </a:moveTo>
                <a:cubicBezTo>
                  <a:pt x="1721788" y="4775648"/>
                  <a:pt x="1722873" y="4777197"/>
                  <a:pt x="1724112" y="4778849"/>
                </a:cubicBezTo>
                <a:cubicBezTo>
                  <a:pt x="1724886" y="4780294"/>
                  <a:pt x="1724886" y="4781327"/>
                  <a:pt x="1724421" y="4782049"/>
                </a:cubicBezTo>
                <a:cubicBezTo>
                  <a:pt x="1723957" y="4782772"/>
                  <a:pt x="1723028" y="4783185"/>
                  <a:pt x="1721943" y="4783495"/>
                </a:cubicBezTo>
                <a:cubicBezTo>
                  <a:pt x="1719775" y="4784218"/>
                  <a:pt x="1718536" y="4782566"/>
                  <a:pt x="1718536" y="4782566"/>
                </a:cubicBezTo>
                <a:cubicBezTo>
                  <a:pt x="1716987" y="4779778"/>
                  <a:pt x="1717297" y="4776990"/>
                  <a:pt x="1719930" y="4775544"/>
                </a:cubicBezTo>
                <a:close/>
                <a:moveTo>
                  <a:pt x="1520888" y="4775544"/>
                </a:moveTo>
                <a:cubicBezTo>
                  <a:pt x="1524295" y="4777506"/>
                  <a:pt x="1526774" y="4778436"/>
                  <a:pt x="1530182" y="4780398"/>
                </a:cubicBezTo>
                <a:cubicBezTo>
                  <a:pt x="1531111" y="4781223"/>
                  <a:pt x="1532970" y="4784838"/>
                  <a:pt x="1532040" y="4785664"/>
                </a:cubicBezTo>
                <a:cubicBezTo>
                  <a:pt x="1531266" y="4786489"/>
                  <a:pt x="1530491" y="4786489"/>
                  <a:pt x="1529717" y="4786386"/>
                </a:cubicBezTo>
                <a:cubicBezTo>
                  <a:pt x="1528013" y="4785457"/>
                  <a:pt x="1526155" y="4784528"/>
                  <a:pt x="1524450" y="4783599"/>
                </a:cubicBezTo>
                <a:cubicBezTo>
                  <a:pt x="1521817" y="4780810"/>
                  <a:pt x="1519184" y="4778126"/>
                  <a:pt x="1520888" y="4775544"/>
                </a:cubicBezTo>
                <a:close/>
                <a:moveTo>
                  <a:pt x="1047370" y="4774821"/>
                </a:moveTo>
                <a:cubicBezTo>
                  <a:pt x="1050623" y="4778745"/>
                  <a:pt x="1047525" y="4785973"/>
                  <a:pt x="1041639" y="4785664"/>
                </a:cubicBezTo>
                <a:cubicBezTo>
                  <a:pt x="1041329" y="4783805"/>
                  <a:pt x="1040245" y="4782463"/>
                  <a:pt x="1039935" y="4780604"/>
                </a:cubicBezTo>
                <a:cubicBezTo>
                  <a:pt x="1042413" y="4778333"/>
                  <a:pt x="1042258" y="4773996"/>
                  <a:pt x="1047370" y="4774821"/>
                </a:cubicBezTo>
                <a:close/>
                <a:moveTo>
                  <a:pt x="738817" y="4774615"/>
                </a:moveTo>
                <a:cubicBezTo>
                  <a:pt x="742844" y="4776887"/>
                  <a:pt x="741450" y="4783495"/>
                  <a:pt x="737267" y="4784734"/>
                </a:cubicBezTo>
                <a:cubicBezTo>
                  <a:pt x="736183" y="4784115"/>
                  <a:pt x="734324" y="4783805"/>
                  <a:pt x="733240" y="4782463"/>
                </a:cubicBezTo>
                <a:cubicBezTo>
                  <a:pt x="733240" y="4778022"/>
                  <a:pt x="735409" y="4775648"/>
                  <a:pt x="738817" y="4774615"/>
                </a:cubicBezTo>
                <a:close/>
                <a:moveTo>
                  <a:pt x="6159093" y="4774323"/>
                </a:moveTo>
                <a:cubicBezTo>
                  <a:pt x="6158473" y="4775149"/>
                  <a:pt x="6158473" y="4775149"/>
                  <a:pt x="6159248" y="4775975"/>
                </a:cubicBezTo>
                <a:cubicBezTo>
                  <a:pt x="6159248" y="4775975"/>
                  <a:pt x="6159403" y="4775975"/>
                  <a:pt x="6160177" y="4775872"/>
                </a:cubicBezTo>
                <a:cubicBezTo>
                  <a:pt x="6160332" y="4776698"/>
                  <a:pt x="6159403" y="4776801"/>
                  <a:pt x="6159558" y="4777628"/>
                </a:cubicBezTo>
                <a:cubicBezTo>
                  <a:pt x="6159558" y="4777628"/>
                  <a:pt x="6158783" y="4777628"/>
                  <a:pt x="6158783" y="4777628"/>
                </a:cubicBezTo>
                <a:cubicBezTo>
                  <a:pt x="6158783" y="4778040"/>
                  <a:pt x="6158783" y="4778040"/>
                  <a:pt x="6158628" y="4777834"/>
                </a:cubicBezTo>
                <a:cubicBezTo>
                  <a:pt x="6158318" y="4777628"/>
                  <a:pt x="6157854" y="4777318"/>
                  <a:pt x="6157079" y="4776905"/>
                </a:cubicBezTo>
                <a:cubicBezTo>
                  <a:pt x="6156150" y="4776182"/>
                  <a:pt x="6155375" y="4776182"/>
                  <a:pt x="6155995" y="4775356"/>
                </a:cubicBezTo>
                <a:cubicBezTo>
                  <a:pt x="6156770" y="4774427"/>
                  <a:pt x="6156770" y="4774427"/>
                  <a:pt x="6159093" y="4774323"/>
                </a:cubicBezTo>
                <a:close/>
                <a:moveTo>
                  <a:pt x="6378116" y="4774116"/>
                </a:moveTo>
                <a:cubicBezTo>
                  <a:pt x="6381834" y="4771432"/>
                  <a:pt x="6387255" y="4775356"/>
                  <a:pt x="6386636" y="4779693"/>
                </a:cubicBezTo>
                <a:cubicBezTo>
                  <a:pt x="6385706" y="4780415"/>
                  <a:pt x="6384622" y="4781964"/>
                  <a:pt x="6382918" y="4782480"/>
                </a:cubicBezTo>
                <a:cubicBezTo>
                  <a:pt x="6378891" y="4780622"/>
                  <a:pt x="6377652" y="4777628"/>
                  <a:pt x="6378116" y="4774116"/>
                </a:cubicBezTo>
                <a:close/>
                <a:moveTo>
                  <a:pt x="6335559" y="4773626"/>
                </a:moveTo>
                <a:cubicBezTo>
                  <a:pt x="6337495" y="4773962"/>
                  <a:pt x="6339237" y="4775304"/>
                  <a:pt x="6340631" y="4777214"/>
                </a:cubicBezTo>
                <a:cubicBezTo>
                  <a:pt x="6345433" y="4783719"/>
                  <a:pt x="6346827" y="4796420"/>
                  <a:pt x="6339083" y="4799208"/>
                </a:cubicBezTo>
                <a:cubicBezTo>
                  <a:pt x="6336449" y="4796730"/>
                  <a:pt x="6333971" y="4793632"/>
                  <a:pt x="6332267" y="4789915"/>
                </a:cubicBezTo>
                <a:cubicBezTo>
                  <a:pt x="6330408" y="4786095"/>
                  <a:pt x="6329324" y="4781654"/>
                  <a:pt x="6329324" y="4776078"/>
                </a:cubicBezTo>
                <a:cubicBezTo>
                  <a:pt x="6331493" y="4773962"/>
                  <a:pt x="6333622" y="4773291"/>
                  <a:pt x="6335559" y="4773626"/>
                </a:cubicBezTo>
                <a:close/>
                <a:moveTo>
                  <a:pt x="1569370" y="4773376"/>
                </a:moveTo>
                <a:cubicBezTo>
                  <a:pt x="1570145" y="4772447"/>
                  <a:pt x="1570145" y="4773376"/>
                  <a:pt x="1570919" y="4773479"/>
                </a:cubicBezTo>
                <a:cubicBezTo>
                  <a:pt x="1570454" y="4773892"/>
                  <a:pt x="1570300" y="4774202"/>
                  <a:pt x="1570145" y="4774202"/>
                </a:cubicBezTo>
                <a:cubicBezTo>
                  <a:pt x="1569990" y="4774202"/>
                  <a:pt x="1569835" y="4773892"/>
                  <a:pt x="1569370" y="4773376"/>
                </a:cubicBezTo>
                <a:close/>
                <a:moveTo>
                  <a:pt x="1424542" y="4773273"/>
                </a:moveTo>
                <a:cubicBezTo>
                  <a:pt x="1425317" y="4777093"/>
                  <a:pt x="1423923" y="4779572"/>
                  <a:pt x="1420360" y="4779365"/>
                </a:cubicBezTo>
                <a:cubicBezTo>
                  <a:pt x="1420670" y="4776887"/>
                  <a:pt x="1418967" y="4776164"/>
                  <a:pt x="1419276" y="4773686"/>
                </a:cubicBezTo>
                <a:cubicBezTo>
                  <a:pt x="1421600" y="4773789"/>
                  <a:pt x="1423458" y="4773273"/>
                  <a:pt x="1424542" y="4773273"/>
                </a:cubicBezTo>
                <a:close/>
                <a:moveTo>
                  <a:pt x="1682755" y="4773066"/>
                </a:moveTo>
                <a:cubicBezTo>
                  <a:pt x="1686162" y="4773170"/>
                  <a:pt x="1691429" y="4778642"/>
                  <a:pt x="1692358" y="4781327"/>
                </a:cubicBezTo>
                <a:cubicBezTo>
                  <a:pt x="1691119" y="4783908"/>
                  <a:pt x="1689570" y="4784941"/>
                  <a:pt x="1687866" y="4785147"/>
                </a:cubicBezTo>
                <a:cubicBezTo>
                  <a:pt x="1682599" y="4785560"/>
                  <a:pt x="1676714" y="4777403"/>
                  <a:pt x="1682755" y="4773066"/>
                </a:cubicBezTo>
                <a:close/>
                <a:moveTo>
                  <a:pt x="1698244" y="4772963"/>
                </a:moveTo>
                <a:cubicBezTo>
                  <a:pt x="1699019" y="4773996"/>
                  <a:pt x="1699019" y="4774821"/>
                  <a:pt x="1699793" y="4775854"/>
                </a:cubicBezTo>
                <a:cubicBezTo>
                  <a:pt x="1700568" y="4775957"/>
                  <a:pt x="1702272" y="4776267"/>
                  <a:pt x="1703046" y="4777300"/>
                </a:cubicBezTo>
                <a:lnTo>
                  <a:pt x="1703201" y="4777403"/>
                </a:lnTo>
                <a:lnTo>
                  <a:pt x="1705059" y="4777919"/>
                </a:lnTo>
                <a:lnTo>
                  <a:pt x="1704750" y="4777197"/>
                </a:lnTo>
                <a:cubicBezTo>
                  <a:pt x="1706144" y="4773686"/>
                  <a:pt x="1708467" y="4774409"/>
                  <a:pt x="1712185" y="4774409"/>
                </a:cubicBezTo>
                <a:cubicBezTo>
                  <a:pt x="1711720" y="4775648"/>
                  <a:pt x="1714973" y="4776783"/>
                  <a:pt x="1716057" y="4777197"/>
                </a:cubicBezTo>
                <a:cubicBezTo>
                  <a:pt x="1715128" y="4779572"/>
                  <a:pt x="1718690" y="4781533"/>
                  <a:pt x="1717297" y="4785044"/>
                </a:cubicBezTo>
                <a:cubicBezTo>
                  <a:pt x="1715747" y="4785870"/>
                  <a:pt x="1714973" y="4786180"/>
                  <a:pt x="1712960" y="4786180"/>
                </a:cubicBezTo>
                <a:lnTo>
                  <a:pt x="1709397" y="4784011"/>
                </a:lnTo>
                <a:lnTo>
                  <a:pt x="1709397" y="4785147"/>
                </a:lnTo>
                <a:cubicBezTo>
                  <a:pt x="1708932" y="4784734"/>
                  <a:pt x="1707848" y="4783599"/>
                  <a:pt x="1706764" y="4782566"/>
                </a:cubicBezTo>
                <a:lnTo>
                  <a:pt x="1705524" y="4781223"/>
                </a:lnTo>
                <a:lnTo>
                  <a:pt x="1704905" y="4781430"/>
                </a:lnTo>
                <a:cubicBezTo>
                  <a:pt x="1703665" y="4781637"/>
                  <a:pt x="1702426" y="4781017"/>
                  <a:pt x="1702117" y="4779984"/>
                </a:cubicBezTo>
                <a:lnTo>
                  <a:pt x="1702426" y="4778436"/>
                </a:lnTo>
                <a:lnTo>
                  <a:pt x="1702117" y="4777919"/>
                </a:lnTo>
                <a:cubicBezTo>
                  <a:pt x="1701342" y="4776990"/>
                  <a:pt x="1697315" y="4774512"/>
                  <a:pt x="1696540" y="4775235"/>
                </a:cubicBezTo>
                <a:cubicBezTo>
                  <a:pt x="1696540" y="4774409"/>
                  <a:pt x="1695766" y="4773479"/>
                  <a:pt x="1695766" y="4773479"/>
                </a:cubicBezTo>
                <a:cubicBezTo>
                  <a:pt x="1696696" y="4772756"/>
                  <a:pt x="1697470" y="4772860"/>
                  <a:pt x="1698244" y="4772963"/>
                </a:cubicBezTo>
                <a:close/>
                <a:moveTo>
                  <a:pt x="1573862" y="4772550"/>
                </a:moveTo>
                <a:cubicBezTo>
                  <a:pt x="1575566" y="4772653"/>
                  <a:pt x="1578044" y="4775338"/>
                  <a:pt x="1579748" y="4777197"/>
                </a:cubicBezTo>
                <a:cubicBezTo>
                  <a:pt x="1579903" y="4779778"/>
                  <a:pt x="1578354" y="4782359"/>
                  <a:pt x="1576031" y="4784011"/>
                </a:cubicBezTo>
                <a:cubicBezTo>
                  <a:pt x="1572623" y="4780294"/>
                  <a:pt x="1572469" y="4776887"/>
                  <a:pt x="1573862" y="4772550"/>
                </a:cubicBezTo>
                <a:close/>
                <a:moveTo>
                  <a:pt x="1106385" y="4771518"/>
                </a:moveTo>
                <a:cubicBezTo>
                  <a:pt x="1110839" y="4772782"/>
                  <a:pt x="1114905" y="4775493"/>
                  <a:pt x="1117848" y="4779572"/>
                </a:cubicBezTo>
                <a:cubicBezTo>
                  <a:pt x="1117228" y="4780604"/>
                  <a:pt x="1116454" y="4781740"/>
                  <a:pt x="1117538" y="4782256"/>
                </a:cubicBezTo>
                <a:cubicBezTo>
                  <a:pt x="1113665" y="4789587"/>
                  <a:pt x="1105611" y="4793717"/>
                  <a:pt x="1097866" y="4794234"/>
                </a:cubicBezTo>
                <a:cubicBezTo>
                  <a:pt x="1090121" y="4794750"/>
                  <a:pt x="1082531" y="4791756"/>
                  <a:pt x="1079433" y="4784734"/>
                </a:cubicBezTo>
                <a:cubicBezTo>
                  <a:pt x="1082531" y="4778229"/>
                  <a:pt x="1087333" y="4774099"/>
                  <a:pt x="1092599" y="4772137"/>
                </a:cubicBezTo>
                <a:cubicBezTo>
                  <a:pt x="1097092" y="4770433"/>
                  <a:pt x="1101932" y="4770253"/>
                  <a:pt x="1106385" y="4771518"/>
                </a:cubicBezTo>
                <a:close/>
                <a:moveTo>
                  <a:pt x="784821" y="4771208"/>
                </a:moveTo>
                <a:cubicBezTo>
                  <a:pt x="787299" y="4775441"/>
                  <a:pt x="782652" y="4782463"/>
                  <a:pt x="779399" y="4785973"/>
                </a:cubicBezTo>
                <a:cubicBezTo>
                  <a:pt x="777231" y="4785147"/>
                  <a:pt x="775992" y="4786696"/>
                  <a:pt x="773823" y="4785870"/>
                </a:cubicBezTo>
                <a:cubicBezTo>
                  <a:pt x="776766" y="4778952"/>
                  <a:pt x="779244" y="4771208"/>
                  <a:pt x="784821" y="4771208"/>
                </a:cubicBezTo>
                <a:close/>
                <a:moveTo>
                  <a:pt x="6368668" y="4770709"/>
                </a:moveTo>
                <a:cubicBezTo>
                  <a:pt x="6369752" y="4771019"/>
                  <a:pt x="6370991" y="4771329"/>
                  <a:pt x="6370681" y="4772465"/>
                </a:cubicBezTo>
                <a:cubicBezTo>
                  <a:pt x="6370527" y="4773704"/>
                  <a:pt x="6370991" y="4774427"/>
                  <a:pt x="6369132" y="4774530"/>
                </a:cubicBezTo>
                <a:cubicBezTo>
                  <a:pt x="6368513" y="4774943"/>
                  <a:pt x="6367429" y="4774633"/>
                  <a:pt x="6366654" y="4775149"/>
                </a:cubicBezTo>
                <a:cubicBezTo>
                  <a:pt x="6366654" y="4775149"/>
                  <a:pt x="6366189" y="4774736"/>
                  <a:pt x="6365725" y="4774116"/>
                </a:cubicBezTo>
                <a:cubicBezTo>
                  <a:pt x="6365105" y="4773497"/>
                  <a:pt x="6364641" y="4772774"/>
                  <a:pt x="6364795" y="4772155"/>
                </a:cubicBezTo>
                <a:cubicBezTo>
                  <a:pt x="6364486" y="4770193"/>
                  <a:pt x="6367893" y="4771122"/>
                  <a:pt x="6368668" y="4770709"/>
                </a:cubicBezTo>
                <a:close/>
                <a:moveTo>
                  <a:pt x="6308103" y="4769780"/>
                </a:moveTo>
                <a:cubicBezTo>
                  <a:pt x="6310891" y="4772361"/>
                  <a:pt x="6313680" y="4774839"/>
                  <a:pt x="6316003" y="4777937"/>
                </a:cubicBezTo>
                <a:cubicBezTo>
                  <a:pt x="6318326" y="4780932"/>
                  <a:pt x="6320185" y="4784545"/>
                  <a:pt x="6320805" y="4789605"/>
                </a:cubicBezTo>
                <a:cubicBezTo>
                  <a:pt x="6315848" y="4789708"/>
                  <a:pt x="6312595" y="4786404"/>
                  <a:pt x="6310737" y="4782274"/>
                </a:cubicBezTo>
                <a:cubicBezTo>
                  <a:pt x="6308723" y="4778144"/>
                  <a:pt x="6308103" y="4773187"/>
                  <a:pt x="6308103" y="4769780"/>
                </a:cubicBezTo>
                <a:close/>
                <a:moveTo>
                  <a:pt x="1530337" y="4769762"/>
                </a:moveTo>
                <a:cubicBezTo>
                  <a:pt x="1532660" y="4769143"/>
                  <a:pt x="1533589" y="4770691"/>
                  <a:pt x="1533589" y="4770691"/>
                </a:cubicBezTo>
                <a:cubicBezTo>
                  <a:pt x="1534518" y="4773582"/>
                  <a:pt x="1533744" y="4776267"/>
                  <a:pt x="1530956" y="4777713"/>
                </a:cubicBezTo>
                <a:cubicBezTo>
                  <a:pt x="1529098" y="4777610"/>
                  <a:pt x="1528323" y="4775957"/>
                  <a:pt x="1527394" y="4774305"/>
                </a:cubicBezTo>
                <a:cubicBezTo>
                  <a:pt x="1526929" y="4772963"/>
                  <a:pt x="1527083" y="4771931"/>
                  <a:pt x="1527549" y="4771208"/>
                </a:cubicBezTo>
                <a:cubicBezTo>
                  <a:pt x="1528168" y="4770588"/>
                  <a:pt x="1529098" y="4770072"/>
                  <a:pt x="1530337" y="4769762"/>
                </a:cubicBezTo>
                <a:close/>
                <a:moveTo>
                  <a:pt x="1587958" y="4768213"/>
                </a:moveTo>
                <a:cubicBezTo>
                  <a:pt x="1590746" y="4766871"/>
                  <a:pt x="1593689" y="4766665"/>
                  <a:pt x="1594309" y="4770175"/>
                </a:cubicBezTo>
                <a:cubicBezTo>
                  <a:pt x="1594464" y="4771311"/>
                  <a:pt x="1594618" y="4772550"/>
                  <a:pt x="1593999" y="4772137"/>
                </a:cubicBezTo>
                <a:cubicBezTo>
                  <a:pt x="1593534" y="4772860"/>
                  <a:pt x="1592760" y="4772447"/>
                  <a:pt x="1591675" y="4772756"/>
                </a:cubicBezTo>
                <a:cubicBezTo>
                  <a:pt x="1589817" y="4772653"/>
                  <a:pt x="1587803" y="4771311"/>
                  <a:pt x="1587649" y="4770175"/>
                </a:cubicBezTo>
                <a:cubicBezTo>
                  <a:pt x="1587494" y="4768936"/>
                  <a:pt x="1587958" y="4768213"/>
                  <a:pt x="1587958" y="4768213"/>
                </a:cubicBezTo>
                <a:close/>
                <a:moveTo>
                  <a:pt x="1136900" y="4766354"/>
                </a:moveTo>
                <a:cubicBezTo>
                  <a:pt x="1144025" y="4773582"/>
                  <a:pt x="1141702" y="4781223"/>
                  <a:pt x="1139533" y="4788865"/>
                </a:cubicBezTo>
                <a:cubicBezTo>
                  <a:pt x="1137674" y="4787935"/>
                  <a:pt x="1136280" y="4786489"/>
                  <a:pt x="1135351" y="4784631"/>
                </a:cubicBezTo>
                <a:lnTo>
                  <a:pt x="1135197" y="4783805"/>
                </a:lnTo>
                <a:lnTo>
                  <a:pt x="1135041" y="4785147"/>
                </a:lnTo>
                <a:cubicBezTo>
                  <a:pt x="1135041" y="4792582"/>
                  <a:pt x="1137519" y="4799810"/>
                  <a:pt x="1133028" y="4804663"/>
                </a:cubicBezTo>
                <a:cubicBezTo>
                  <a:pt x="1132253" y="4801565"/>
                  <a:pt x="1130549" y="4797951"/>
                  <a:pt x="1129000" y="4794440"/>
                </a:cubicBezTo>
                <a:cubicBezTo>
                  <a:pt x="1127452" y="4791033"/>
                  <a:pt x="1126212" y="4787522"/>
                  <a:pt x="1126367" y="4784631"/>
                </a:cubicBezTo>
                <a:lnTo>
                  <a:pt x="1127452" y="4781637"/>
                </a:lnTo>
                <a:lnTo>
                  <a:pt x="1126986" y="4781327"/>
                </a:lnTo>
                <a:cubicBezTo>
                  <a:pt x="1128845" y="4779675"/>
                  <a:pt x="1128226" y="4777919"/>
                  <a:pt x="1130240" y="4776267"/>
                </a:cubicBezTo>
                <a:lnTo>
                  <a:pt x="1132408" y="4778642"/>
                </a:lnTo>
                <a:lnTo>
                  <a:pt x="1134112" y="4778229"/>
                </a:lnTo>
                <a:lnTo>
                  <a:pt x="1134886" y="4772137"/>
                </a:lnTo>
                <a:cubicBezTo>
                  <a:pt x="1135351" y="4770072"/>
                  <a:pt x="1136126" y="4768007"/>
                  <a:pt x="1136900" y="4766354"/>
                </a:cubicBezTo>
                <a:close/>
                <a:moveTo>
                  <a:pt x="6455255" y="4766269"/>
                </a:moveTo>
                <a:cubicBezTo>
                  <a:pt x="6455255" y="4766269"/>
                  <a:pt x="6455874" y="4766785"/>
                  <a:pt x="6455874" y="4766785"/>
                </a:cubicBezTo>
                <a:cubicBezTo>
                  <a:pt x="6455565" y="4767508"/>
                  <a:pt x="6456029" y="4766785"/>
                  <a:pt x="6457113" y="4766372"/>
                </a:cubicBezTo>
                <a:cubicBezTo>
                  <a:pt x="6458198" y="4768025"/>
                  <a:pt x="6458972" y="4768438"/>
                  <a:pt x="6459437" y="4769677"/>
                </a:cubicBezTo>
                <a:cubicBezTo>
                  <a:pt x="6459747" y="4770193"/>
                  <a:pt x="6459747" y="4771019"/>
                  <a:pt x="6459747" y="4771742"/>
                </a:cubicBezTo>
                <a:cubicBezTo>
                  <a:pt x="6459592" y="4772361"/>
                  <a:pt x="6459437" y="4772981"/>
                  <a:pt x="6458817" y="4773084"/>
                </a:cubicBezTo>
                <a:cubicBezTo>
                  <a:pt x="6458043" y="4772671"/>
                  <a:pt x="6457733" y="4773394"/>
                  <a:pt x="6456959" y="4772981"/>
                </a:cubicBezTo>
                <a:cubicBezTo>
                  <a:pt x="6455100" y="4772877"/>
                  <a:pt x="6454325" y="4772465"/>
                  <a:pt x="6453861" y="4771226"/>
                </a:cubicBezTo>
                <a:cubicBezTo>
                  <a:pt x="6453086" y="4770812"/>
                  <a:pt x="6453396" y="4770090"/>
                  <a:pt x="6453086" y="4768850"/>
                </a:cubicBezTo>
                <a:cubicBezTo>
                  <a:pt x="6453396" y="4768128"/>
                  <a:pt x="6454480" y="4767818"/>
                  <a:pt x="6454480" y="4767818"/>
                </a:cubicBezTo>
                <a:cubicBezTo>
                  <a:pt x="6455565" y="4767405"/>
                  <a:pt x="6455565" y="4767508"/>
                  <a:pt x="6455255" y="4766269"/>
                </a:cubicBezTo>
                <a:close/>
                <a:moveTo>
                  <a:pt x="1417766" y="4766213"/>
                </a:moveTo>
                <a:cubicBezTo>
                  <a:pt x="1419973" y="4767000"/>
                  <a:pt x="1421367" y="4769349"/>
                  <a:pt x="1418811" y="4772447"/>
                </a:cubicBezTo>
                <a:cubicBezTo>
                  <a:pt x="1415558" y="4771311"/>
                  <a:pt x="1413235" y="4770485"/>
                  <a:pt x="1411841" y="4769349"/>
                </a:cubicBezTo>
                <a:cubicBezTo>
                  <a:pt x="1412538" y="4766200"/>
                  <a:pt x="1415558" y="4765425"/>
                  <a:pt x="1417766" y="4766213"/>
                </a:cubicBezTo>
                <a:close/>
                <a:moveTo>
                  <a:pt x="6422262" y="4766166"/>
                </a:moveTo>
                <a:cubicBezTo>
                  <a:pt x="6424585" y="4771742"/>
                  <a:pt x="6422727" y="4783410"/>
                  <a:pt x="6414517" y="4783100"/>
                </a:cubicBezTo>
                <a:cubicBezTo>
                  <a:pt x="6416841" y="4777628"/>
                  <a:pt x="6418234" y="4770916"/>
                  <a:pt x="6422262" y="4766166"/>
                </a:cubicBezTo>
                <a:close/>
                <a:moveTo>
                  <a:pt x="1833779" y="4765942"/>
                </a:moveTo>
                <a:cubicBezTo>
                  <a:pt x="1834708" y="4766768"/>
                  <a:pt x="1834708" y="4766768"/>
                  <a:pt x="1833933" y="4766768"/>
                </a:cubicBezTo>
                <a:cubicBezTo>
                  <a:pt x="1833314" y="4768626"/>
                  <a:pt x="1833159" y="4767800"/>
                  <a:pt x="1832384" y="4768626"/>
                </a:cubicBezTo>
                <a:cubicBezTo>
                  <a:pt x="1831765" y="4769555"/>
                  <a:pt x="1830681" y="4773892"/>
                  <a:pt x="1831610" y="4774718"/>
                </a:cubicBezTo>
                <a:cubicBezTo>
                  <a:pt x="1830835" y="4774821"/>
                  <a:pt x="1830061" y="4775751"/>
                  <a:pt x="1830061" y="4775751"/>
                </a:cubicBezTo>
                <a:cubicBezTo>
                  <a:pt x="1829132" y="4774925"/>
                  <a:pt x="1828977" y="4774099"/>
                  <a:pt x="1828822" y="4773170"/>
                </a:cubicBezTo>
                <a:cubicBezTo>
                  <a:pt x="1829596" y="4772240"/>
                  <a:pt x="1830525" y="4772240"/>
                  <a:pt x="1831145" y="4771311"/>
                </a:cubicBezTo>
                <a:cubicBezTo>
                  <a:pt x="1830990" y="4770485"/>
                  <a:pt x="1830835" y="4768730"/>
                  <a:pt x="1831455" y="4767800"/>
                </a:cubicBezTo>
                <a:cubicBezTo>
                  <a:pt x="1832229" y="4766974"/>
                  <a:pt x="1833779" y="4765942"/>
                  <a:pt x="1833779" y="4765942"/>
                </a:cubicBezTo>
                <a:close/>
                <a:moveTo>
                  <a:pt x="6294627" y="4764824"/>
                </a:moveTo>
                <a:cubicBezTo>
                  <a:pt x="6295557" y="4765546"/>
                  <a:pt x="6296641" y="4766579"/>
                  <a:pt x="6297725" y="4768128"/>
                </a:cubicBezTo>
                <a:cubicBezTo>
                  <a:pt x="6295866" y="4772981"/>
                  <a:pt x="6294318" y="4781654"/>
                  <a:pt x="6287502" y="4782068"/>
                </a:cubicBezTo>
                <a:cubicBezTo>
                  <a:pt x="6286418" y="4782171"/>
                  <a:pt x="6285333" y="4782068"/>
                  <a:pt x="6284094" y="4781758"/>
                </a:cubicBezTo>
                <a:cubicBezTo>
                  <a:pt x="6280067" y="4773084"/>
                  <a:pt x="6287192" y="4759764"/>
                  <a:pt x="6294627" y="4764824"/>
                </a:cubicBezTo>
                <a:close/>
                <a:moveTo>
                  <a:pt x="1729998" y="4764703"/>
                </a:moveTo>
                <a:lnTo>
                  <a:pt x="1731392" y="4769969"/>
                </a:lnTo>
                <a:lnTo>
                  <a:pt x="1732941" y="4770381"/>
                </a:lnTo>
                <a:cubicBezTo>
                  <a:pt x="1734954" y="4771517"/>
                  <a:pt x="1736658" y="4773892"/>
                  <a:pt x="1736503" y="4776887"/>
                </a:cubicBezTo>
                <a:lnTo>
                  <a:pt x="1733251" y="4778126"/>
                </a:lnTo>
                <a:lnTo>
                  <a:pt x="1733406" y="4783805"/>
                </a:lnTo>
                <a:cubicBezTo>
                  <a:pt x="1733096" y="4786283"/>
                  <a:pt x="1732476" y="4788968"/>
                  <a:pt x="1731237" y="4791859"/>
                </a:cubicBezTo>
                <a:cubicBezTo>
                  <a:pt x="1729379" y="4792169"/>
                  <a:pt x="1726900" y="4794234"/>
                  <a:pt x="1724886" y="4793717"/>
                </a:cubicBezTo>
                <a:cubicBezTo>
                  <a:pt x="1724267" y="4793511"/>
                  <a:pt x="1723647" y="4793098"/>
                  <a:pt x="1723028" y="4792272"/>
                </a:cubicBezTo>
                <a:cubicBezTo>
                  <a:pt x="1726900" y="4787625"/>
                  <a:pt x="1726435" y="4782256"/>
                  <a:pt x="1726125" y="4777300"/>
                </a:cubicBezTo>
                <a:lnTo>
                  <a:pt x="1726280" y="4772240"/>
                </a:lnTo>
                <a:lnTo>
                  <a:pt x="1726125" y="4770691"/>
                </a:lnTo>
                <a:lnTo>
                  <a:pt x="1726280" y="4770588"/>
                </a:lnTo>
                <a:lnTo>
                  <a:pt x="1726280" y="4770278"/>
                </a:lnTo>
                <a:cubicBezTo>
                  <a:pt x="1726745" y="4768110"/>
                  <a:pt x="1727830" y="4766251"/>
                  <a:pt x="1729998" y="4764703"/>
                </a:cubicBezTo>
                <a:close/>
                <a:moveTo>
                  <a:pt x="1179806" y="4764599"/>
                </a:moveTo>
                <a:cubicBezTo>
                  <a:pt x="1180736" y="4762844"/>
                  <a:pt x="1181355" y="4765425"/>
                  <a:pt x="1182285" y="4764599"/>
                </a:cubicBezTo>
                <a:cubicBezTo>
                  <a:pt x="1179806" y="4771414"/>
                  <a:pt x="1180890" y="4777506"/>
                  <a:pt x="1180890" y="4777506"/>
                </a:cubicBezTo>
                <a:cubicBezTo>
                  <a:pt x="1179961" y="4779262"/>
                  <a:pt x="1179187" y="4779158"/>
                  <a:pt x="1179961" y="4779158"/>
                </a:cubicBezTo>
                <a:cubicBezTo>
                  <a:pt x="1178102" y="4780914"/>
                  <a:pt x="1176243" y="4783392"/>
                  <a:pt x="1174540" y="4782566"/>
                </a:cubicBezTo>
                <a:cubicBezTo>
                  <a:pt x="1170048" y="4778126"/>
                  <a:pt x="1177638" y="4768833"/>
                  <a:pt x="1178722" y="4766251"/>
                </a:cubicBezTo>
                <a:cubicBezTo>
                  <a:pt x="1178722" y="4766251"/>
                  <a:pt x="1178877" y="4765425"/>
                  <a:pt x="1179806" y="4764599"/>
                </a:cubicBezTo>
                <a:close/>
                <a:moveTo>
                  <a:pt x="1698244" y="4764083"/>
                </a:moveTo>
                <a:cubicBezTo>
                  <a:pt x="1699793" y="4765529"/>
                  <a:pt x="1700413" y="4767077"/>
                  <a:pt x="1700258" y="4768523"/>
                </a:cubicBezTo>
                <a:lnTo>
                  <a:pt x="1699793" y="4769659"/>
                </a:lnTo>
                <a:lnTo>
                  <a:pt x="1699484" y="4770588"/>
                </a:lnTo>
                <a:lnTo>
                  <a:pt x="1698554" y="4772756"/>
                </a:lnTo>
                <a:cubicBezTo>
                  <a:pt x="1696076" y="4772550"/>
                  <a:pt x="1694836" y="4771105"/>
                  <a:pt x="1694836" y="4769349"/>
                </a:cubicBezTo>
                <a:cubicBezTo>
                  <a:pt x="1694681" y="4767697"/>
                  <a:pt x="1695920" y="4765632"/>
                  <a:pt x="1698244" y="4764083"/>
                </a:cubicBezTo>
                <a:close/>
                <a:moveTo>
                  <a:pt x="929494" y="4763876"/>
                </a:moveTo>
                <a:cubicBezTo>
                  <a:pt x="935070" y="4764083"/>
                  <a:pt x="936619" y="4768420"/>
                  <a:pt x="935535" y="4773479"/>
                </a:cubicBezTo>
                <a:cubicBezTo>
                  <a:pt x="934296" y="4779881"/>
                  <a:pt x="929184" y="4787212"/>
                  <a:pt x="924072" y="4788968"/>
                </a:cubicBezTo>
                <a:lnTo>
                  <a:pt x="923608" y="4788968"/>
                </a:lnTo>
                <a:lnTo>
                  <a:pt x="923298" y="4795783"/>
                </a:lnTo>
                <a:cubicBezTo>
                  <a:pt x="922988" y="4798261"/>
                  <a:pt x="922214" y="4800842"/>
                  <a:pt x="920975" y="4803320"/>
                </a:cubicBezTo>
                <a:cubicBezTo>
                  <a:pt x="919735" y="4803320"/>
                  <a:pt x="918651" y="4803217"/>
                  <a:pt x="918496" y="4804456"/>
                </a:cubicBezTo>
                <a:cubicBezTo>
                  <a:pt x="910751" y="4804766"/>
                  <a:pt x="904246" y="4799500"/>
                  <a:pt x="900838" y="4792582"/>
                </a:cubicBezTo>
                <a:cubicBezTo>
                  <a:pt x="898360" y="4787316"/>
                  <a:pt x="897585" y="4781223"/>
                  <a:pt x="899444" y="4775648"/>
                </a:cubicBezTo>
                <a:lnTo>
                  <a:pt x="899754" y="4774821"/>
                </a:lnTo>
                <a:lnTo>
                  <a:pt x="898670" y="4775854"/>
                </a:lnTo>
                <a:cubicBezTo>
                  <a:pt x="897585" y="4776164"/>
                  <a:pt x="897585" y="4776164"/>
                  <a:pt x="896811" y="4775751"/>
                </a:cubicBezTo>
                <a:cubicBezTo>
                  <a:pt x="894952" y="4775648"/>
                  <a:pt x="893713" y="4775957"/>
                  <a:pt x="892938" y="4774305"/>
                </a:cubicBezTo>
                <a:cubicBezTo>
                  <a:pt x="892319" y="4772860"/>
                  <a:pt x="892628" y="4771931"/>
                  <a:pt x="893248" y="4771105"/>
                </a:cubicBezTo>
                <a:cubicBezTo>
                  <a:pt x="893868" y="4770278"/>
                  <a:pt x="894952" y="4769555"/>
                  <a:pt x="896347" y="4768833"/>
                </a:cubicBezTo>
                <a:cubicBezTo>
                  <a:pt x="899289" y="4767387"/>
                  <a:pt x="900838" y="4769555"/>
                  <a:pt x="903161" y="4768833"/>
                </a:cubicBezTo>
                <a:lnTo>
                  <a:pt x="902851" y="4770381"/>
                </a:lnTo>
                <a:lnTo>
                  <a:pt x="911216" y="4771414"/>
                </a:lnTo>
                <a:cubicBezTo>
                  <a:pt x="913849" y="4772343"/>
                  <a:pt x="916018" y="4773892"/>
                  <a:pt x="917876" y="4775854"/>
                </a:cubicBezTo>
                <a:lnTo>
                  <a:pt x="920665" y="4779881"/>
                </a:lnTo>
                <a:lnTo>
                  <a:pt x="921439" y="4776267"/>
                </a:lnTo>
                <a:cubicBezTo>
                  <a:pt x="922988" y="4772137"/>
                  <a:pt x="925622" y="4767904"/>
                  <a:pt x="929494" y="4763876"/>
                </a:cubicBezTo>
                <a:close/>
                <a:moveTo>
                  <a:pt x="1846790" y="4763360"/>
                </a:moveTo>
                <a:cubicBezTo>
                  <a:pt x="1845551" y="4767697"/>
                  <a:pt x="1845705" y="4773789"/>
                  <a:pt x="1842917" y="4777197"/>
                </a:cubicBezTo>
                <a:cubicBezTo>
                  <a:pt x="1843072" y="4775441"/>
                  <a:pt x="1844931" y="4765942"/>
                  <a:pt x="1846790" y="4763360"/>
                </a:cubicBezTo>
                <a:close/>
                <a:moveTo>
                  <a:pt x="5953081" y="4762759"/>
                </a:moveTo>
                <a:lnTo>
                  <a:pt x="5956643" y="4767405"/>
                </a:lnTo>
                <a:lnTo>
                  <a:pt x="5958812" y="4765753"/>
                </a:lnTo>
                <a:cubicBezTo>
                  <a:pt x="5960671" y="4764927"/>
                  <a:pt x="5962839" y="4764617"/>
                  <a:pt x="5964233" y="4765546"/>
                </a:cubicBezTo>
                <a:cubicBezTo>
                  <a:pt x="5965163" y="4766063"/>
                  <a:pt x="5965782" y="4767199"/>
                  <a:pt x="5965628" y="4768850"/>
                </a:cubicBezTo>
                <a:cubicBezTo>
                  <a:pt x="5965318" y="4771329"/>
                  <a:pt x="5964233" y="4772671"/>
                  <a:pt x="5962530" y="4773394"/>
                </a:cubicBezTo>
                <a:lnTo>
                  <a:pt x="5961445" y="4773497"/>
                </a:lnTo>
                <a:lnTo>
                  <a:pt x="5961445" y="4773704"/>
                </a:lnTo>
                <a:cubicBezTo>
                  <a:pt x="5958038" y="4775149"/>
                  <a:pt x="5956024" y="4778350"/>
                  <a:pt x="5954165" y="4779899"/>
                </a:cubicBezTo>
                <a:cubicBezTo>
                  <a:pt x="5949364" y="4779486"/>
                  <a:pt x="5946421" y="4777524"/>
                  <a:pt x="5943787" y="4772258"/>
                </a:cubicBezTo>
                <a:cubicBezTo>
                  <a:pt x="5947814" y="4765753"/>
                  <a:pt x="5945956" y="4767302"/>
                  <a:pt x="5953081" y="4762759"/>
                </a:cubicBezTo>
                <a:close/>
                <a:moveTo>
                  <a:pt x="6327465" y="4762242"/>
                </a:moveTo>
                <a:cubicBezTo>
                  <a:pt x="6329324" y="4760590"/>
                  <a:pt x="6331648" y="4762345"/>
                  <a:pt x="6331493" y="4763275"/>
                </a:cubicBezTo>
                <a:cubicBezTo>
                  <a:pt x="6330563" y="4764101"/>
                  <a:pt x="6328859" y="4764101"/>
                  <a:pt x="6327930" y="4764927"/>
                </a:cubicBezTo>
                <a:cubicBezTo>
                  <a:pt x="6328085" y="4763998"/>
                  <a:pt x="6327310" y="4763172"/>
                  <a:pt x="6327465" y="4762242"/>
                </a:cubicBezTo>
                <a:close/>
                <a:moveTo>
                  <a:pt x="1641552" y="4762121"/>
                </a:moveTo>
                <a:cubicBezTo>
                  <a:pt x="1643256" y="4760985"/>
                  <a:pt x="1644030" y="4761398"/>
                  <a:pt x="1644185" y="4762638"/>
                </a:cubicBezTo>
                <a:cubicBezTo>
                  <a:pt x="1644185" y="4762638"/>
                  <a:pt x="1644340" y="4763876"/>
                  <a:pt x="1644495" y="4765115"/>
                </a:cubicBezTo>
                <a:cubicBezTo>
                  <a:pt x="1644650" y="4766251"/>
                  <a:pt x="1645425" y="4766768"/>
                  <a:pt x="1645425" y="4766768"/>
                </a:cubicBezTo>
                <a:cubicBezTo>
                  <a:pt x="1645579" y="4768007"/>
                  <a:pt x="1644960" y="4768730"/>
                  <a:pt x="1643876" y="4769039"/>
                </a:cubicBezTo>
                <a:cubicBezTo>
                  <a:pt x="1643876" y="4769039"/>
                  <a:pt x="1642946" y="4767387"/>
                  <a:pt x="1642946" y="4767387"/>
                </a:cubicBezTo>
                <a:cubicBezTo>
                  <a:pt x="1642636" y="4764909"/>
                  <a:pt x="1642482" y="4763773"/>
                  <a:pt x="1641552" y="4762121"/>
                </a:cubicBezTo>
                <a:close/>
                <a:moveTo>
                  <a:pt x="735254" y="4761605"/>
                </a:moveTo>
                <a:cubicBezTo>
                  <a:pt x="736957" y="4760572"/>
                  <a:pt x="737577" y="4764186"/>
                  <a:pt x="738197" y="4764599"/>
                </a:cubicBezTo>
                <a:cubicBezTo>
                  <a:pt x="738352" y="4765838"/>
                  <a:pt x="738507" y="4766974"/>
                  <a:pt x="737422" y="4767284"/>
                </a:cubicBezTo>
                <a:cubicBezTo>
                  <a:pt x="736803" y="4767490"/>
                  <a:pt x="736493" y="4767800"/>
                  <a:pt x="736028" y="4767800"/>
                </a:cubicBezTo>
                <a:cubicBezTo>
                  <a:pt x="735719" y="4767800"/>
                  <a:pt x="735409" y="4767594"/>
                  <a:pt x="734944" y="4766768"/>
                </a:cubicBezTo>
                <a:cubicBezTo>
                  <a:pt x="734170" y="4766354"/>
                  <a:pt x="734014" y="4765115"/>
                  <a:pt x="733395" y="4764703"/>
                </a:cubicBezTo>
                <a:cubicBezTo>
                  <a:pt x="733395" y="4764703"/>
                  <a:pt x="733550" y="4763980"/>
                  <a:pt x="733860" y="4763257"/>
                </a:cubicBezTo>
                <a:cubicBezTo>
                  <a:pt x="734170" y="4762534"/>
                  <a:pt x="734634" y="4761811"/>
                  <a:pt x="735254" y="4761605"/>
                </a:cubicBezTo>
                <a:close/>
                <a:moveTo>
                  <a:pt x="6274955" y="4761519"/>
                </a:moveTo>
                <a:cubicBezTo>
                  <a:pt x="6276814" y="4763275"/>
                  <a:pt x="6278518" y="4765133"/>
                  <a:pt x="6280222" y="4766889"/>
                </a:cubicBezTo>
                <a:cubicBezTo>
                  <a:pt x="6281461" y="4771329"/>
                  <a:pt x="6279138" y="4775046"/>
                  <a:pt x="6275575" y="4775872"/>
                </a:cubicBezTo>
                <a:cubicBezTo>
                  <a:pt x="6274336" y="4776182"/>
                  <a:pt x="6273097" y="4776078"/>
                  <a:pt x="6271703" y="4775666"/>
                </a:cubicBezTo>
                <a:cubicBezTo>
                  <a:pt x="6269844" y="4775046"/>
                  <a:pt x="6267985" y="4773704"/>
                  <a:pt x="6266281" y="4771535"/>
                </a:cubicBezTo>
                <a:cubicBezTo>
                  <a:pt x="6264422" y="4767095"/>
                  <a:pt x="6270773" y="4760487"/>
                  <a:pt x="6274955" y="4761519"/>
                </a:cubicBezTo>
                <a:close/>
                <a:moveTo>
                  <a:pt x="1335167" y="4761295"/>
                </a:moveTo>
                <a:cubicBezTo>
                  <a:pt x="1335012" y="4762534"/>
                  <a:pt x="1334858" y="4763670"/>
                  <a:pt x="1334703" y="4764909"/>
                </a:cubicBezTo>
                <a:cubicBezTo>
                  <a:pt x="1333309" y="4765838"/>
                  <a:pt x="1331759" y="4766354"/>
                  <a:pt x="1330366" y="4766458"/>
                </a:cubicBezTo>
                <a:cubicBezTo>
                  <a:pt x="1328971" y="4766458"/>
                  <a:pt x="1327887" y="4765942"/>
                  <a:pt x="1327113" y="4764909"/>
                </a:cubicBezTo>
                <a:cubicBezTo>
                  <a:pt x="1326648" y="4764083"/>
                  <a:pt x="1326338" y="4763050"/>
                  <a:pt x="1326338" y="4761708"/>
                </a:cubicBezTo>
                <a:cubicBezTo>
                  <a:pt x="1328352" y="4759953"/>
                  <a:pt x="1333618" y="4759437"/>
                  <a:pt x="1335167" y="4761295"/>
                </a:cubicBezTo>
                <a:close/>
                <a:moveTo>
                  <a:pt x="973794" y="4760469"/>
                </a:moveTo>
                <a:cubicBezTo>
                  <a:pt x="974724" y="4762224"/>
                  <a:pt x="973949" y="4763876"/>
                  <a:pt x="973175" y="4765529"/>
                </a:cubicBezTo>
                <a:cubicBezTo>
                  <a:pt x="972400" y="4766871"/>
                  <a:pt x="971626" y="4767284"/>
                  <a:pt x="970696" y="4767077"/>
                </a:cubicBezTo>
                <a:cubicBezTo>
                  <a:pt x="969922" y="4766974"/>
                  <a:pt x="968992" y="4766251"/>
                  <a:pt x="968063" y="4765425"/>
                </a:cubicBezTo>
                <a:cubicBezTo>
                  <a:pt x="966360" y="4763567"/>
                  <a:pt x="967134" y="4761914"/>
                  <a:pt x="967134" y="4761914"/>
                </a:cubicBezTo>
                <a:cubicBezTo>
                  <a:pt x="968682" y="4759437"/>
                  <a:pt x="971161" y="4758610"/>
                  <a:pt x="973794" y="4760469"/>
                </a:cubicBezTo>
                <a:close/>
                <a:moveTo>
                  <a:pt x="1837031" y="4760366"/>
                </a:moveTo>
                <a:cubicBezTo>
                  <a:pt x="1836412" y="4761295"/>
                  <a:pt x="1834553" y="4765942"/>
                  <a:pt x="1833468" y="4765115"/>
                </a:cubicBezTo>
                <a:cubicBezTo>
                  <a:pt x="1833468" y="4765115"/>
                  <a:pt x="1834244" y="4764186"/>
                  <a:pt x="1835017" y="4763153"/>
                </a:cubicBezTo>
                <a:cubicBezTo>
                  <a:pt x="1835637" y="4762224"/>
                  <a:pt x="1835637" y="4762224"/>
                  <a:pt x="1834708" y="4761398"/>
                </a:cubicBezTo>
                <a:cubicBezTo>
                  <a:pt x="1835483" y="4760469"/>
                  <a:pt x="1835483" y="4760469"/>
                  <a:pt x="1837031" y="4760366"/>
                </a:cubicBezTo>
                <a:close/>
                <a:moveTo>
                  <a:pt x="6125325" y="4760177"/>
                </a:moveTo>
                <a:cubicBezTo>
                  <a:pt x="6129663" y="4759764"/>
                  <a:pt x="6130902" y="4763688"/>
                  <a:pt x="6133845" y="4766682"/>
                </a:cubicBezTo>
                <a:cubicBezTo>
                  <a:pt x="6133380" y="4767405"/>
                  <a:pt x="6133535" y="4768644"/>
                  <a:pt x="6134155" y="4769057"/>
                </a:cubicBezTo>
                <a:cubicBezTo>
                  <a:pt x="6134464" y="4770296"/>
                  <a:pt x="6134619" y="4771535"/>
                  <a:pt x="6135084" y="4770709"/>
                </a:cubicBezTo>
                <a:cubicBezTo>
                  <a:pt x="6135703" y="4774323"/>
                  <a:pt x="6136478" y="4774736"/>
                  <a:pt x="6134310" y="4776595"/>
                </a:cubicBezTo>
                <a:cubicBezTo>
                  <a:pt x="6129198" y="4772361"/>
                  <a:pt x="6125016" y="4765237"/>
                  <a:pt x="6124086" y="4763688"/>
                </a:cubicBezTo>
                <a:cubicBezTo>
                  <a:pt x="6123622" y="4762862"/>
                  <a:pt x="6123622" y="4762242"/>
                  <a:pt x="6123777" y="4761726"/>
                </a:cubicBezTo>
                <a:cubicBezTo>
                  <a:pt x="6123932" y="4761210"/>
                  <a:pt x="6124551" y="4760797"/>
                  <a:pt x="6125325" y="4760177"/>
                </a:cubicBezTo>
                <a:close/>
                <a:moveTo>
                  <a:pt x="1662618" y="4759746"/>
                </a:moveTo>
                <a:cubicBezTo>
                  <a:pt x="1663702" y="4759437"/>
                  <a:pt x="1663857" y="4760572"/>
                  <a:pt x="1664632" y="4760985"/>
                </a:cubicBezTo>
                <a:cubicBezTo>
                  <a:pt x="1665406" y="4762638"/>
                  <a:pt x="1664167" y="4769039"/>
                  <a:pt x="1662928" y="4769349"/>
                </a:cubicBezTo>
                <a:cubicBezTo>
                  <a:pt x="1662153" y="4767284"/>
                  <a:pt x="1660759" y="4763670"/>
                  <a:pt x="1661224" y="4761398"/>
                </a:cubicBezTo>
                <a:cubicBezTo>
                  <a:pt x="1661379" y="4760676"/>
                  <a:pt x="1661843" y="4760056"/>
                  <a:pt x="1662618" y="4759746"/>
                </a:cubicBezTo>
                <a:close/>
                <a:moveTo>
                  <a:pt x="1045821" y="4759230"/>
                </a:moveTo>
                <a:cubicBezTo>
                  <a:pt x="1046441" y="4760159"/>
                  <a:pt x="1047990" y="4761192"/>
                  <a:pt x="1048454" y="4762947"/>
                </a:cubicBezTo>
                <a:cubicBezTo>
                  <a:pt x="1047680" y="4764393"/>
                  <a:pt x="1046750" y="4765012"/>
                  <a:pt x="1045976" y="4765012"/>
                </a:cubicBezTo>
                <a:cubicBezTo>
                  <a:pt x="1045202" y="4765012"/>
                  <a:pt x="1044582" y="4764496"/>
                  <a:pt x="1044272" y="4763773"/>
                </a:cubicBezTo>
                <a:cubicBezTo>
                  <a:pt x="1043343" y="4762328"/>
                  <a:pt x="1043652" y="4759849"/>
                  <a:pt x="1045821" y="4759230"/>
                </a:cubicBezTo>
                <a:close/>
                <a:moveTo>
                  <a:pt x="1295978" y="4757475"/>
                </a:moveTo>
                <a:cubicBezTo>
                  <a:pt x="1297527" y="4758404"/>
                  <a:pt x="1298147" y="4761192"/>
                  <a:pt x="1297218" y="4766458"/>
                </a:cubicBezTo>
                <a:lnTo>
                  <a:pt x="1296288" y="4770588"/>
                </a:lnTo>
                <a:lnTo>
                  <a:pt x="1296598" y="4770485"/>
                </a:lnTo>
                <a:cubicBezTo>
                  <a:pt x="1297682" y="4770588"/>
                  <a:pt x="1298767" y="4771001"/>
                  <a:pt x="1299851" y="4771724"/>
                </a:cubicBezTo>
                <a:lnTo>
                  <a:pt x="1302794" y="4775751"/>
                </a:lnTo>
                <a:lnTo>
                  <a:pt x="1317045" y="4775235"/>
                </a:lnTo>
                <a:cubicBezTo>
                  <a:pt x="1324014" y="4774615"/>
                  <a:pt x="1330676" y="4774099"/>
                  <a:pt x="1336871" y="4774718"/>
                </a:cubicBezTo>
                <a:lnTo>
                  <a:pt x="1331140" y="4778539"/>
                </a:lnTo>
                <a:lnTo>
                  <a:pt x="1331759" y="4779158"/>
                </a:lnTo>
                <a:cubicBezTo>
                  <a:pt x="1334858" y="4779881"/>
                  <a:pt x="1338110" y="4775854"/>
                  <a:pt x="1340589" y="4779984"/>
                </a:cubicBezTo>
                <a:cubicBezTo>
                  <a:pt x="1340744" y="4782566"/>
                  <a:pt x="1341828" y="4785250"/>
                  <a:pt x="1341053" y="4788245"/>
                </a:cubicBezTo>
                <a:cubicBezTo>
                  <a:pt x="1340744" y="4789174"/>
                  <a:pt x="1340279" y="4790207"/>
                  <a:pt x="1339504" y="4791239"/>
                </a:cubicBezTo>
                <a:cubicBezTo>
                  <a:pt x="1334548" y="4786489"/>
                  <a:pt x="1329746" y="4785147"/>
                  <a:pt x="1324479" y="4782049"/>
                </a:cubicBezTo>
                <a:lnTo>
                  <a:pt x="1324635" y="4781533"/>
                </a:lnTo>
                <a:lnTo>
                  <a:pt x="1317199" y="4783495"/>
                </a:lnTo>
                <a:lnTo>
                  <a:pt x="1312088" y="4784115"/>
                </a:lnTo>
                <a:lnTo>
                  <a:pt x="1312553" y="4784528"/>
                </a:lnTo>
                <a:cubicBezTo>
                  <a:pt x="1314566" y="4791652"/>
                  <a:pt x="1314412" y="4797435"/>
                  <a:pt x="1308060" y="4800016"/>
                </a:cubicBezTo>
                <a:cubicBezTo>
                  <a:pt x="1307750" y="4798777"/>
                  <a:pt x="1306511" y="4798983"/>
                  <a:pt x="1305427" y="4799190"/>
                </a:cubicBezTo>
                <a:cubicBezTo>
                  <a:pt x="1303878" y="4797951"/>
                  <a:pt x="1302949" y="4796196"/>
                  <a:pt x="1302639" y="4794234"/>
                </a:cubicBezTo>
                <a:lnTo>
                  <a:pt x="1302949" y="4790516"/>
                </a:lnTo>
                <a:lnTo>
                  <a:pt x="1298457" y="4790104"/>
                </a:lnTo>
                <a:cubicBezTo>
                  <a:pt x="1298147" y="4788245"/>
                  <a:pt x="1298457" y="4786696"/>
                  <a:pt x="1299076" y="4785457"/>
                </a:cubicBezTo>
                <a:lnTo>
                  <a:pt x="1299231" y="4785250"/>
                </a:lnTo>
                <a:lnTo>
                  <a:pt x="1294275" y="4785664"/>
                </a:lnTo>
                <a:cubicBezTo>
                  <a:pt x="1294585" y="4784115"/>
                  <a:pt x="1294275" y="4782876"/>
                  <a:pt x="1294275" y="4781430"/>
                </a:cubicBezTo>
                <a:lnTo>
                  <a:pt x="1294585" y="4778952"/>
                </a:lnTo>
                <a:lnTo>
                  <a:pt x="1293655" y="4778952"/>
                </a:lnTo>
                <a:cubicBezTo>
                  <a:pt x="1292571" y="4776990"/>
                  <a:pt x="1292261" y="4775338"/>
                  <a:pt x="1292261" y="4774099"/>
                </a:cubicBezTo>
                <a:lnTo>
                  <a:pt x="1292880" y="4772756"/>
                </a:lnTo>
                <a:lnTo>
                  <a:pt x="1288699" y="4773066"/>
                </a:lnTo>
                <a:cubicBezTo>
                  <a:pt x="1286839" y="4772860"/>
                  <a:pt x="1285600" y="4772240"/>
                  <a:pt x="1284826" y="4771517"/>
                </a:cubicBezTo>
                <a:lnTo>
                  <a:pt x="1283896" y="4769659"/>
                </a:lnTo>
                <a:lnTo>
                  <a:pt x="1282812" y="4771414"/>
                </a:lnTo>
                <a:cubicBezTo>
                  <a:pt x="1281883" y="4772240"/>
                  <a:pt x="1279869" y="4772963"/>
                  <a:pt x="1277856" y="4773376"/>
                </a:cubicBezTo>
                <a:cubicBezTo>
                  <a:pt x="1275842" y="4773789"/>
                  <a:pt x="1273674" y="4773789"/>
                  <a:pt x="1272589" y="4772963"/>
                </a:cubicBezTo>
                <a:cubicBezTo>
                  <a:pt x="1273518" y="4771311"/>
                  <a:pt x="1274603" y="4769555"/>
                  <a:pt x="1275533" y="4767904"/>
                </a:cubicBezTo>
                <a:cubicBezTo>
                  <a:pt x="1275533" y="4768730"/>
                  <a:pt x="1283277" y="4767181"/>
                  <a:pt x="1283277" y="4767181"/>
                </a:cubicBezTo>
                <a:lnTo>
                  <a:pt x="1284052" y="4768523"/>
                </a:lnTo>
                <a:lnTo>
                  <a:pt x="1284826" y="4764909"/>
                </a:lnTo>
                <a:cubicBezTo>
                  <a:pt x="1287304" y="4760159"/>
                  <a:pt x="1293190" y="4755513"/>
                  <a:pt x="1295978" y="4757475"/>
                </a:cubicBezTo>
                <a:close/>
                <a:moveTo>
                  <a:pt x="1847564" y="4756958"/>
                </a:moveTo>
                <a:cubicBezTo>
                  <a:pt x="1847564" y="4756958"/>
                  <a:pt x="1848339" y="4756958"/>
                  <a:pt x="1848339" y="4756958"/>
                </a:cubicBezTo>
                <a:cubicBezTo>
                  <a:pt x="1848184" y="4757991"/>
                  <a:pt x="1848184" y="4758920"/>
                  <a:pt x="1847409" y="4758920"/>
                </a:cubicBezTo>
                <a:cubicBezTo>
                  <a:pt x="1847100" y="4758920"/>
                  <a:pt x="1846790" y="4758610"/>
                  <a:pt x="1846945" y="4758301"/>
                </a:cubicBezTo>
                <a:cubicBezTo>
                  <a:pt x="1846945" y="4757887"/>
                  <a:pt x="1847254" y="4757475"/>
                  <a:pt x="1847564" y="4756958"/>
                </a:cubicBezTo>
                <a:close/>
                <a:moveTo>
                  <a:pt x="1546755" y="4756648"/>
                </a:moveTo>
                <a:cubicBezTo>
                  <a:pt x="1558063" y="4759437"/>
                  <a:pt x="1565653" y="4769555"/>
                  <a:pt x="1561935" y="4778952"/>
                </a:cubicBezTo>
                <a:cubicBezTo>
                  <a:pt x="1559612" y="4783185"/>
                  <a:pt x="1556514" y="4785147"/>
                  <a:pt x="1553261" y="4785457"/>
                </a:cubicBezTo>
                <a:cubicBezTo>
                  <a:pt x="1552177" y="4785560"/>
                  <a:pt x="1551093" y="4785457"/>
                  <a:pt x="1550008" y="4785250"/>
                </a:cubicBezTo>
                <a:lnTo>
                  <a:pt x="1546601" y="4783392"/>
                </a:lnTo>
                <a:lnTo>
                  <a:pt x="1546291" y="4783495"/>
                </a:lnTo>
                <a:cubicBezTo>
                  <a:pt x="1543348" y="4784011"/>
                  <a:pt x="1540250" y="4782772"/>
                  <a:pt x="1539320" y="4779984"/>
                </a:cubicBezTo>
                <a:lnTo>
                  <a:pt x="1540095" y="4775648"/>
                </a:lnTo>
                <a:lnTo>
                  <a:pt x="1539785" y="4766768"/>
                </a:lnTo>
                <a:cubicBezTo>
                  <a:pt x="1540715" y="4763360"/>
                  <a:pt x="1543038" y="4759849"/>
                  <a:pt x="1546755" y="4756648"/>
                </a:cubicBezTo>
                <a:close/>
                <a:moveTo>
                  <a:pt x="6053144" y="4756253"/>
                </a:moveTo>
                <a:cubicBezTo>
                  <a:pt x="6052369" y="4768747"/>
                  <a:pt x="6064606" y="4773910"/>
                  <a:pt x="6061508" y="4787540"/>
                </a:cubicBezTo>
                <a:cubicBezTo>
                  <a:pt x="6057171" y="4786920"/>
                  <a:pt x="6052524" y="4780828"/>
                  <a:pt x="6050201" y="4774013"/>
                </a:cubicBezTo>
                <a:cubicBezTo>
                  <a:pt x="6047878" y="4767199"/>
                  <a:pt x="6048032" y="4759661"/>
                  <a:pt x="6053144" y="4756253"/>
                </a:cubicBezTo>
                <a:close/>
                <a:moveTo>
                  <a:pt x="994860" y="4756132"/>
                </a:moveTo>
                <a:cubicBezTo>
                  <a:pt x="995170" y="4758507"/>
                  <a:pt x="1000591" y="4757578"/>
                  <a:pt x="1001211" y="4761192"/>
                </a:cubicBezTo>
                <a:cubicBezTo>
                  <a:pt x="1003999" y="4771621"/>
                  <a:pt x="1001211" y="4773066"/>
                  <a:pt x="995790" y="4777093"/>
                </a:cubicBezTo>
                <a:cubicBezTo>
                  <a:pt x="996255" y="4776371"/>
                  <a:pt x="995170" y="4776680"/>
                  <a:pt x="995170" y="4776680"/>
                </a:cubicBezTo>
                <a:cubicBezTo>
                  <a:pt x="992692" y="4777300"/>
                  <a:pt x="996255" y="4780707"/>
                  <a:pt x="993466" y="4782153"/>
                </a:cubicBezTo>
                <a:cubicBezTo>
                  <a:pt x="992227" y="4782566"/>
                  <a:pt x="991143" y="4782669"/>
                  <a:pt x="990058" y="4782463"/>
                </a:cubicBezTo>
                <a:cubicBezTo>
                  <a:pt x="986806" y="4781843"/>
                  <a:pt x="984172" y="4778849"/>
                  <a:pt x="982778" y="4776990"/>
                </a:cubicBezTo>
                <a:lnTo>
                  <a:pt x="982313" y="4776577"/>
                </a:lnTo>
                <a:lnTo>
                  <a:pt x="981229" y="4776061"/>
                </a:lnTo>
                <a:lnTo>
                  <a:pt x="981074" y="4776371"/>
                </a:lnTo>
                <a:lnTo>
                  <a:pt x="981074" y="4776061"/>
                </a:lnTo>
                <a:lnTo>
                  <a:pt x="979061" y="4775235"/>
                </a:lnTo>
                <a:lnTo>
                  <a:pt x="979835" y="4773789"/>
                </a:lnTo>
                <a:lnTo>
                  <a:pt x="978906" y="4771208"/>
                </a:lnTo>
                <a:cubicBezTo>
                  <a:pt x="978906" y="4770381"/>
                  <a:pt x="979216" y="4769762"/>
                  <a:pt x="980455" y="4769452"/>
                </a:cubicBezTo>
                <a:cubicBezTo>
                  <a:pt x="982159" y="4768316"/>
                  <a:pt x="983088" y="4770072"/>
                  <a:pt x="985411" y="4769349"/>
                </a:cubicBezTo>
                <a:cubicBezTo>
                  <a:pt x="987425" y="4768523"/>
                  <a:pt x="987735" y="4766045"/>
                  <a:pt x="988509" y="4763360"/>
                </a:cubicBezTo>
                <a:lnTo>
                  <a:pt x="990058" y="4760366"/>
                </a:lnTo>
                <a:lnTo>
                  <a:pt x="989129" y="4761192"/>
                </a:lnTo>
                <a:cubicBezTo>
                  <a:pt x="985566" y="4763360"/>
                  <a:pt x="979835" y="4764289"/>
                  <a:pt x="976737" y="4760056"/>
                </a:cubicBezTo>
                <a:cubicBezTo>
                  <a:pt x="979835" y="4756855"/>
                  <a:pt x="982469" y="4756029"/>
                  <a:pt x="984792" y="4756236"/>
                </a:cubicBezTo>
                <a:lnTo>
                  <a:pt x="991452" y="4758714"/>
                </a:lnTo>
                <a:close/>
                <a:moveTo>
                  <a:pt x="1862899" y="4755616"/>
                </a:moveTo>
                <a:cubicBezTo>
                  <a:pt x="1863828" y="4757165"/>
                  <a:pt x="1863828" y="4757165"/>
                  <a:pt x="1863364" y="4757991"/>
                </a:cubicBezTo>
                <a:cubicBezTo>
                  <a:pt x="1863828" y="4757165"/>
                  <a:pt x="1864448" y="4757681"/>
                  <a:pt x="1865687" y="4757371"/>
                </a:cubicBezTo>
                <a:cubicBezTo>
                  <a:pt x="1870179" y="4754790"/>
                  <a:pt x="1872502" y="4758507"/>
                  <a:pt x="1874051" y="4763670"/>
                </a:cubicBezTo>
                <a:cubicBezTo>
                  <a:pt x="1872812" y="4764083"/>
                  <a:pt x="1873896" y="4766871"/>
                  <a:pt x="1873587" y="4768833"/>
                </a:cubicBezTo>
                <a:cubicBezTo>
                  <a:pt x="1872812" y="4769969"/>
                  <a:pt x="1872193" y="4770898"/>
                  <a:pt x="1871418" y="4771621"/>
                </a:cubicBezTo>
                <a:lnTo>
                  <a:pt x="1871418" y="4771724"/>
                </a:lnTo>
                <a:lnTo>
                  <a:pt x="1871728" y="4777403"/>
                </a:lnTo>
                <a:cubicBezTo>
                  <a:pt x="1871728" y="4780088"/>
                  <a:pt x="1870953" y="4782463"/>
                  <a:pt x="1869249" y="4783805"/>
                </a:cubicBezTo>
                <a:lnTo>
                  <a:pt x="1867081" y="4784734"/>
                </a:lnTo>
                <a:lnTo>
                  <a:pt x="1868940" y="4787109"/>
                </a:lnTo>
                <a:cubicBezTo>
                  <a:pt x="1869560" y="4788348"/>
                  <a:pt x="1869714" y="4789690"/>
                  <a:pt x="1869249" y="4790620"/>
                </a:cubicBezTo>
                <a:cubicBezTo>
                  <a:pt x="1867701" y="4789690"/>
                  <a:pt x="1866926" y="4788865"/>
                  <a:pt x="1866307" y="4787935"/>
                </a:cubicBezTo>
                <a:cubicBezTo>
                  <a:pt x="1865533" y="4787419"/>
                  <a:pt x="1865068" y="4786903"/>
                  <a:pt x="1865222" y="4786386"/>
                </a:cubicBezTo>
                <a:lnTo>
                  <a:pt x="1865997" y="4785147"/>
                </a:lnTo>
                <a:lnTo>
                  <a:pt x="1865687" y="4785250"/>
                </a:lnTo>
                <a:lnTo>
                  <a:pt x="1861350" y="4785044"/>
                </a:lnTo>
                <a:lnTo>
                  <a:pt x="1861350" y="4785147"/>
                </a:lnTo>
                <a:cubicBezTo>
                  <a:pt x="1860885" y="4785354"/>
                  <a:pt x="1860421" y="4785354"/>
                  <a:pt x="1860111" y="4785354"/>
                </a:cubicBezTo>
                <a:lnTo>
                  <a:pt x="1860111" y="4785044"/>
                </a:lnTo>
                <a:lnTo>
                  <a:pt x="1860266" y="4784941"/>
                </a:lnTo>
                <a:lnTo>
                  <a:pt x="1860576" y="4783599"/>
                </a:lnTo>
                <a:lnTo>
                  <a:pt x="1861040" y="4783185"/>
                </a:lnTo>
                <a:lnTo>
                  <a:pt x="1861814" y="4781120"/>
                </a:lnTo>
                <a:lnTo>
                  <a:pt x="1861814" y="4780088"/>
                </a:lnTo>
                <a:lnTo>
                  <a:pt x="1863364" y="4777300"/>
                </a:lnTo>
                <a:lnTo>
                  <a:pt x="1864293" y="4772963"/>
                </a:lnTo>
                <a:lnTo>
                  <a:pt x="1862744" y="4772963"/>
                </a:lnTo>
                <a:cubicBezTo>
                  <a:pt x="1861814" y="4772550"/>
                  <a:pt x="1860885" y="4772034"/>
                  <a:pt x="1860266" y="4771414"/>
                </a:cubicBezTo>
                <a:lnTo>
                  <a:pt x="1859181" y="4769555"/>
                </a:lnTo>
                <a:lnTo>
                  <a:pt x="1859181" y="4771208"/>
                </a:lnTo>
                <a:cubicBezTo>
                  <a:pt x="1858407" y="4770278"/>
                  <a:pt x="1856548" y="4770898"/>
                  <a:pt x="1855774" y="4769865"/>
                </a:cubicBezTo>
                <a:cubicBezTo>
                  <a:pt x="1855774" y="4769865"/>
                  <a:pt x="1855154" y="4767077"/>
                  <a:pt x="1855154" y="4767077"/>
                </a:cubicBezTo>
                <a:cubicBezTo>
                  <a:pt x="1856083" y="4766354"/>
                  <a:pt x="1855928" y="4766354"/>
                  <a:pt x="1855928" y="4767181"/>
                </a:cubicBezTo>
                <a:lnTo>
                  <a:pt x="1858717" y="4766974"/>
                </a:lnTo>
                <a:lnTo>
                  <a:pt x="1858562" y="4763980"/>
                </a:lnTo>
                <a:lnTo>
                  <a:pt x="1859026" y="4762534"/>
                </a:lnTo>
                <a:lnTo>
                  <a:pt x="1858717" y="4761088"/>
                </a:lnTo>
                <a:lnTo>
                  <a:pt x="1853296" y="4762534"/>
                </a:lnTo>
                <a:cubicBezTo>
                  <a:pt x="1851127" y="4762947"/>
                  <a:pt x="1848958" y="4763257"/>
                  <a:pt x="1847409" y="4763153"/>
                </a:cubicBezTo>
                <a:lnTo>
                  <a:pt x="1847100" y="4763050"/>
                </a:lnTo>
                <a:lnTo>
                  <a:pt x="1846945" y="4763360"/>
                </a:lnTo>
                <a:lnTo>
                  <a:pt x="1846635" y="4763050"/>
                </a:lnTo>
                <a:lnTo>
                  <a:pt x="1845086" y="4762431"/>
                </a:lnTo>
                <a:cubicBezTo>
                  <a:pt x="1845705" y="4761708"/>
                  <a:pt x="1846170" y="4760882"/>
                  <a:pt x="1847254" y="4760572"/>
                </a:cubicBezTo>
                <a:cubicBezTo>
                  <a:pt x="1848493" y="4760263"/>
                  <a:pt x="1848029" y="4760985"/>
                  <a:pt x="1848493" y="4760263"/>
                </a:cubicBezTo>
                <a:cubicBezTo>
                  <a:pt x="1849578" y="4759849"/>
                  <a:pt x="1848958" y="4759437"/>
                  <a:pt x="1848958" y="4759437"/>
                </a:cubicBezTo>
                <a:cubicBezTo>
                  <a:pt x="1848958" y="4759437"/>
                  <a:pt x="1849578" y="4759953"/>
                  <a:pt x="1849578" y="4759953"/>
                </a:cubicBezTo>
                <a:cubicBezTo>
                  <a:pt x="1849578" y="4759953"/>
                  <a:pt x="1849578" y="4759953"/>
                  <a:pt x="1851901" y="4759230"/>
                </a:cubicBezTo>
                <a:cubicBezTo>
                  <a:pt x="1854689" y="4757887"/>
                  <a:pt x="1855309" y="4757062"/>
                  <a:pt x="1856858" y="4755926"/>
                </a:cubicBezTo>
                <a:cubicBezTo>
                  <a:pt x="1859181" y="4755306"/>
                  <a:pt x="1859956" y="4755822"/>
                  <a:pt x="1862899" y="4755616"/>
                </a:cubicBezTo>
                <a:close/>
                <a:moveTo>
                  <a:pt x="1720240" y="4755409"/>
                </a:moveTo>
                <a:cubicBezTo>
                  <a:pt x="1719620" y="4755926"/>
                  <a:pt x="1724576" y="4761708"/>
                  <a:pt x="1724576" y="4761708"/>
                </a:cubicBezTo>
                <a:cubicBezTo>
                  <a:pt x="1723802" y="4764083"/>
                  <a:pt x="1723802" y="4764083"/>
                  <a:pt x="1720859" y="4763980"/>
                </a:cubicBezTo>
                <a:cubicBezTo>
                  <a:pt x="1719775" y="4763670"/>
                  <a:pt x="1718226" y="4762431"/>
                  <a:pt x="1716987" y="4760882"/>
                </a:cubicBezTo>
                <a:cubicBezTo>
                  <a:pt x="1715747" y="4759333"/>
                  <a:pt x="1714663" y="4757475"/>
                  <a:pt x="1714818" y="4755926"/>
                </a:cubicBezTo>
                <a:cubicBezTo>
                  <a:pt x="1716677" y="4755719"/>
                  <a:pt x="1718536" y="4755616"/>
                  <a:pt x="1720240" y="4755409"/>
                </a:cubicBezTo>
                <a:close/>
                <a:moveTo>
                  <a:pt x="1488204" y="4755100"/>
                </a:moveTo>
                <a:cubicBezTo>
                  <a:pt x="1488670" y="4758197"/>
                  <a:pt x="1488979" y="4759333"/>
                  <a:pt x="1489134" y="4761295"/>
                </a:cubicBezTo>
                <a:lnTo>
                  <a:pt x="1489909" y="4762224"/>
                </a:lnTo>
                <a:lnTo>
                  <a:pt x="1490064" y="4762224"/>
                </a:lnTo>
                <a:lnTo>
                  <a:pt x="1490218" y="4762638"/>
                </a:lnTo>
                <a:lnTo>
                  <a:pt x="1490993" y="4763360"/>
                </a:lnTo>
                <a:lnTo>
                  <a:pt x="1490993" y="4763773"/>
                </a:lnTo>
                <a:lnTo>
                  <a:pt x="1492387" y="4765529"/>
                </a:lnTo>
                <a:cubicBezTo>
                  <a:pt x="1493781" y="4767077"/>
                  <a:pt x="1495330" y="4768626"/>
                  <a:pt x="1495330" y="4768626"/>
                </a:cubicBezTo>
                <a:cubicBezTo>
                  <a:pt x="1495020" y="4771001"/>
                  <a:pt x="1494865" y="4771001"/>
                  <a:pt x="1491922" y="4770691"/>
                </a:cubicBezTo>
                <a:lnTo>
                  <a:pt x="1489289" y="4768833"/>
                </a:lnTo>
                <a:lnTo>
                  <a:pt x="1488360" y="4768833"/>
                </a:lnTo>
                <a:cubicBezTo>
                  <a:pt x="1487585" y="4768523"/>
                  <a:pt x="1486966" y="4767904"/>
                  <a:pt x="1486501" y="4766768"/>
                </a:cubicBezTo>
                <a:lnTo>
                  <a:pt x="1486501" y="4765632"/>
                </a:lnTo>
                <a:lnTo>
                  <a:pt x="1484642" y="4762534"/>
                </a:lnTo>
                <a:lnTo>
                  <a:pt x="1486191" y="4762534"/>
                </a:lnTo>
                <a:lnTo>
                  <a:pt x="1487895" y="4759746"/>
                </a:lnTo>
                <a:cubicBezTo>
                  <a:pt x="1487895" y="4757784"/>
                  <a:pt x="1486811" y="4756132"/>
                  <a:pt x="1488204" y="4755100"/>
                </a:cubicBezTo>
                <a:close/>
                <a:moveTo>
                  <a:pt x="6227402" y="4755014"/>
                </a:moveTo>
                <a:cubicBezTo>
                  <a:pt x="6229416" y="4756357"/>
                  <a:pt x="6230036" y="4757596"/>
                  <a:pt x="6230190" y="4758835"/>
                </a:cubicBezTo>
                <a:lnTo>
                  <a:pt x="6229106" y="4762242"/>
                </a:lnTo>
                <a:lnTo>
                  <a:pt x="6229726" y="4762139"/>
                </a:lnTo>
                <a:cubicBezTo>
                  <a:pt x="6229881" y="4762139"/>
                  <a:pt x="6229726" y="4762345"/>
                  <a:pt x="6229571" y="4762759"/>
                </a:cubicBezTo>
                <a:cubicBezTo>
                  <a:pt x="6231429" y="4762862"/>
                  <a:pt x="6232049" y="4763275"/>
                  <a:pt x="6232824" y="4763791"/>
                </a:cubicBezTo>
                <a:cubicBezTo>
                  <a:pt x="6232979" y="4765030"/>
                  <a:pt x="6232049" y="4766476"/>
                  <a:pt x="6230345" y="4767611"/>
                </a:cubicBezTo>
                <a:cubicBezTo>
                  <a:pt x="6230190" y="4766372"/>
                  <a:pt x="6228177" y="4766166"/>
                  <a:pt x="6228022" y="4765030"/>
                </a:cubicBezTo>
                <a:cubicBezTo>
                  <a:pt x="6228022" y="4765030"/>
                  <a:pt x="6228177" y="4764307"/>
                  <a:pt x="6228486" y="4763688"/>
                </a:cubicBezTo>
                <a:lnTo>
                  <a:pt x="6228796" y="4762345"/>
                </a:lnTo>
                <a:lnTo>
                  <a:pt x="6227402" y="4761623"/>
                </a:lnTo>
                <a:cubicBezTo>
                  <a:pt x="6225698" y="4761313"/>
                  <a:pt x="6224305" y="4762242"/>
                  <a:pt x="6223375" y="4759351"/>
                </a:cubicBezTo>
                <a:cubicBezTo>
                  <a:pt x="6223685" y="4757699"/>
                  <a:pt x="6224769" y="4756150"/>
                  <a:pt x="6227402" y="4755014"/>
                </a:cubicBezTo>
                <a:close/>
                <a:moveTo>
                  <a:pt x="1422683" y="4754893"/>
                </a:moveTo>
                <a:cubicBezTo>
                  <a:pt x="1425162" y="4756958"/>
                  <a:pt x="1423304" y="4759230"/>
                  <a:pt x="1422219" y="4762534"/>
                </a:cubicBezTo>
                <a:cubicBezTo>
                  <a:pt x="1421444" y="4761605"/>
                  <a:pt x="1420515" y="4762328"/>
                  <a:pt x="1419586" y="4763050"/>
                </a:cubicBezTo>
                <a:cubicBezTo>
                  <a:pt x="1418502" y="4761502"/>
                  <a:pt x="1416333" y="4759333"/>
                  <a:pt x="1416953" y="4757165"/>
                </a:cubicBezTo>
                <a:cubicBezTo>
                  <a:pt x="1417108" y="4756442"/>
                  <a:pt x="1417572" y="4755822"/>
                  <a:pt x="1418502" y="4755100"/>
                </a:cubicBezTo>
                <a:cubicBezTo>
                  <a:pt x="1418502" y="4754171"/>
                  <a:pt x="1421909" y="4753861"/>
                  <a:pt x="1422683" y="4754893"/>
                </a:cubicBezTo>
                <a:close/>
                <a:moveTo>
                  <a:pt x="866761" y="4754686"/>
                </a:moveTo>
                <a:cubicBezTo>
                  <a:pt x="869859" y="4753861"/>
                  <a:pt x="873577" y="4755409"/>
                  <a:pt x="874506" y="4760056"/>
                </a:cubicBezTo>
                <a:cubicBezTo>
                  <a:pt x="872492" y="4763257"/>
                  <a:pt x="870169" y="4764909"/>
                  <a:pt x="868620" y="4766251"/>
                </a:cubicBezTo>
                <a:cubicBezTo>
                  <a:pt x="866606" y="4765012"/>
                  <a:pt x="864902" y="4764599"/>
                  <a:pt x="862888" y="4763464"/>
                </a:cubicBezTo>
                <a:cubicBezTo>
                  <a:pt x="861185" y="4758610"/>
                  <a:pt x="863663" y="4755513"/>
                  <a:pt x="866761" y="4754686"/>
                </a:cubicBezTo>
                <a:close/>
                <a:moveTo>
                  <a:pt x="1500751" y="4754583"/>
                </a:moveTo>
                <a:cubicBezTo>
                  <a:pt x="1503539" y="4757062"/>
                  <a:pt x="1507722" y="4758507"/>
                  <a:pt x="1509271" y="4761295"/>
                </a:cubicBezTo>
                <a:cubicBezTo>
                  <a:pt x="1509426" y="4761914"/>
                  <a:pt x="1509735" y="4762534"/>
                  <a:pt x="1509581" y="4763050"/>
                </a:cubicBezTo>
                <a:cubicBezTo>
                  <a:pt x="1509426" y="4763567"/>
                  <a:pt x="1508961" y="4764083"/>
                  <a:pt x="1507876" y="4764393"/>
                </a:cubicBezTo>
                <a:cubicBezTo>
                  <a:pt x="1507102" y="4764909"/>
                  <a:pt x="1506638" y="4765012"/>
                  <a:pt x="1506018" y="4764703"/>
                </a:cubicBezTo>
                <a:cubicBezTo>
                  <a:pt x="1505398" y="4764393"/>
                  <a:pt x="1504779" y="4763567"/>
                  <a:pt x="1504004" y="4762121"/>
                </a:cubicBezTo>
                <a:cubicBezTo>
                  <a:pt x="1503229" y="4759746"/>
                  <a:pt x="1501991" y="4758094"/>
                  <a:pt x="1502300" y="4757371"/>
                </a:cubicBezTo>
                <a:cubicBezTo>
                  <a:pt x="1501526" y="4756958"/>
                  <a:pt x="1501216" y="4755719"/>
                  <a:pt x="1500441" y="4755306"/>
                </a:cubicBezTo>
                <a:cubicBezTo>
                  <a:pt x="1500441" y="4755306"/>
                  <a:pt x="1500441" y="4755306"/>
                  <a:pt x="1500751" y="4754583"/>
                </a:cubicBezTo>
                <a:close/>
                <a:moveTo>
                  <a:pt x="1142011" y="4753757"/>
                </a:moveTo>
                <a:lnTo>
                  <a:pt x="1143560" y="4757371"/>
                </a:lnTo>
                <a:lnTo>
                  <a:pt x="1143716" y="4756855"/>
                </a:lnTo>
                <a:cubicBezTo>
                  <a:pt x="1149911" y="4763876"/>
                  <a:pt x="1147588" y="4775132"/>
                  <a:pt x="1144799" y="4780191"/>
                </a:cubicBezTo>
                <a:cubicBezTo>
                  <a:pt x="1141702" y="4776680"/>
                  <a:pt x="1140463" y="4771827"/>
                  <a:pt x="1140463" y="4767387"/>
                </a:cubicBezTo>
                <a:lnTo>
                  <a:pt x="1140927" y="4763257"/>
                </a:lnTo>
                <a:lnTo>
                  <a:pt x="1137984" y="4762328"/>
                </a:lnTo>
                <a:cubicBezTo>
                  <a:pt x="1135971" y="4761398"/>
                  <a:pt x="1134112" y="4760263"/>
                  <a:pt x="1132408" y="4759333"/>
                </a:cubicBezTo>
                <a:cubicBezTo>
                  <a:pt x="1135661" y="4757784"/>
                  <a:pt x="1139069" y="4759643"/>
                  <a:pt x="1142011" y="4753757"/>
                </a:cubicBezTo>
                <a:close/>
                <a:moveTo>
                  <a:pt x="758023" y="4753551"/>
                </a:moveTo>
                <a:lnTo>
                  <a:pt x="758643" y="4754067"/>
                </a:lnTo>
                <a:lnTo>
                  <a:pt x="758953" y="4753757"/>
                </a:lnTo>
                <a:cubicBezTo>
                  <a:pt x="759882" y="4753757"/>
                  <a:pt x="760967" y="4753861"/>
                  <a:pt x="761896" y="4753861"/>
                </a:cubicBezTo>
                <a:cubicBezTo>
                  <a:pt x="762515" y="4752002"/>
                  <a:pt x="765459" y="4755409"/>
                  <a:pt x="765923" y="4753551"/>
                </a:cubicBezTo>
                <a:cubicBezTo>
                  <a:pt x="769796" y="4756855"/>
                  <a:pt x="773358" y="4752312"/>
                  <a:pt x="779709" y="4756339"/>
                </a:cubicBezTo>
                <a:cubicBezTo>
                  <a:pt x="777696" y="4757165"/>
                  <a:pt x="775837" y="4757475"/>
                  <a:pt x="774133" y="4757681"/>
                </a:cubicBezTo>
                <a:cubicBezTo>
                  <a:pt x="771345" y="4757887"/>
                  <a:pt x="769021" y="4757681"/>
                  <a:pt x="766698" y="4757578"/>
                </a:cubicBezTo>
                <a:lnTo>
                  <a:pt x="761276" y="4758301"/>
                </a:lnTo>
                <a:lnTo>
                  <a:pt x="760347" y="4759953"/>
                </a:lnTo>
                <a:cubicBezTo>
                  <a:pt x="759728" y="4760779"/>
                  <a:pt x="759108" y="4761192"/>
                  <a:pt x="758643" y="4761502"/>
                </a:cubicBezTo>
                <a:cubicBezTo>
                  <a:pt x="758023" y="4761811"/>
                  <a:pt x="757559" y="4761914"/>
                  <a:pt x="757094" y="4761708"/>
                </a:cubicBezTo>
                <a:cubicBezTo>
                  <a:pt x="756785" y="4761502"/>
                  <a:pt x="756320" y="4761192"/>
                  <a:pt x="756010" y="4760779"/>
                </a:cubicBezTo>
                <a:cubicBezTo>
                  <a:pt x="754461" y="4758404"/>
                  <a:pt x="754771" y="4753138"/>
                  <a:pt x="758023" y="4753551"/>
                </a:cubicBezTo>
                <a:close/>
                <a:moveTo>
                  <a:pt x="1822006" y="4753035"/>
                </a:moveTo>
                <a:cubicBezTo>
                  <a:pt x="1820768" y="4754274"/>
                  <a:pt x="1818599" y="4757062"/>
                  <a:pt x="1816895" y="4757475"/>
                </a:cubicBezTo>
                <a:cubicBezTo>
                  <a:pt x="1816430" y="4757681"/>
                  <a:pt x="1815965" y="4757578"/>
                  <a:pt x="1815501" y="4757165"/>
                </a:cubicBezTo>
                <a:cubicBezTo>
                  <a:pt x="1817050" y="4755513"/>
                  <a:pt x="1818599" y="4752002"/>
                  <a:pt x="1822006" y="4753035"/>
                </a:cubicBezTo>
                <a:close/>
                <a:moveTo>
                  <a:pt x="1850662" y="4752002"/>
                </a:moveTo>
                <a:cubicBezTo>
                  <a:pt x="1849578" y="4754583"/>
                  <a:pt x="1849578" y="4754583"/>
                  <a:pt x="1847719" y="4756339"/>
                </a:cubicBezTo>
                <a:cubicBezTo>
                  <a:pt x="1847874" y="4755513"/>
                  <a:pt x="1847100" y="4753654"/>
                  <a:pt x="1848029" y="4752828"/>
                </a:cubicBezTo>
                <a:cubicBezTo>
                  <a:pt x="1848958" y="4751899"/>
                  <a:pt x="1848958" y="4751899"/>
                  <a:pt x="1850662" y="4752002"/>
                </a:cubicBezTo>
                <a:close/>
                <a:moveTo>
                  <a:pt x="1432345" y="4751950"/>
                </a:moveTo>
                <a:cubicBezTo>
                  <a:pt x="1435037" y="4753189"/>
                  <a:pt x="1437244" y="4755823"/>
                  <a:pt x="1437399" y="4758507"/>
                </a:cubicBezTo>
                <a:cubicBezTo>
                  <a:pt x="1435695" y="4760676"/>
                  <a:pt x="1433371" y="4761502"/>
                  <a:pt x="1431048" y="4761295"/>
                </a:cubicBezTo>
                <a:cubicBezTo>
                  <a:pt x="1428725" y="4760985"/>
                  <a:pt x="1426556" y="4759746"/>
                  <a:pt x="1425317" y="4757991"/>
                </a:cubicBezTo>
                <a:cubicBezTo>
                  <a:pt x="1424542" y="4756752"/>
                  <a:pt x="1424078" y="4755306"/>
                  <a:pt x="1424388" y="4753757"/>
                </a:cubicBezTo>
                <a:cubicBezTo>
                  <a:pt x="1426479" y="4750866"/>
                  <a:pt x="1429654" y="4750711"/>
                  <a:pt x="1432345" y="4751950"/>
                </a:cubicBezTo>
                <a:close/>
                <a:moveTo>
                  <a:pt x="6077927" y="4751916"/>
                </a:moveTo>
                <a:cubicBezTo>
                  <a:pt x="6079012" y="4753569"/>
                  <a:pt x="6078392" y="4755324"/>
                  <a:pt x="6077772" y="4757079"/>
                </a:cubicBezTo>
                <a:cubicBezTo>
                  <a:pt x="6077153" y="4758422"/>
                  <a:pt x="6076378" y="4758938"/>
                  <a:pt x="6075604" y="4758835"/>
                </a:cubicBezTo>
                <a:cubicBezTo>
                  <a:pt x="6074675" y="4758835"/>
                  <a:pt x="6073745" y="4758215"/>
                  <a:pt x="6072816" y="4757389"/>
                </a:cubicBezTo>
                <a:cubicBezTo>
                  <a:pt x="6070802" y="4755737"/>
                  <a:pt x="6071422" y="4753982"/>
                  <a:pt x="6071422" y="4753982"/>
                </a:cubicBezTo>
                <a:cubicBezTo>
                  <a:pt x="6072816" y="4751297"/>
                  <a:pt x="6075139" y="4750368"/>
                  <a:pt x="6077927" y="4751916"/>
                </a:cubicBezTo>
                <a:close/>
                <a:moveTo>
                  <a:pt x="1344984" y="4751408"/>
                </a:moveTo>
                <a:cubicBezTo>
                  <a:pt x="1346629" y="4751821"/>
                  <a:pt x="1347714" y="4753447"/>
                  <a:pt x="1345391" y="4756855"/>
                </a:cubicBezTo>
                <a:cubicBezTo>
                  <a:pt x="1342447" y="4755409"/>
                  <a:pt x="1341363" y="4754171"/>
                  <a:pt x="1341208" y="4753241"/>
                </a:cubicBezTo>
                <a:cubicBezTo>
                  <a:pt x="1341131" y="4751796"/>
                  <a:pt x="1343338" y="4750995"/>
                  <a:pt x="1344984" y="4751408"/>
                </a:cubicBezTo>
                <a:close/>
                <a:moveTo>
                  <a:pt x="6299429" y="4750781"/>
                </a:moveTo>
                <a:cubicBezTo>
                  <a:pt x="6303147" y="4755117"/>
                  <a:pt x="6301907" y="4758318"/>
                  <a:pt x="6297261" y="4760694"/>
                </a:cubicBezTo>
                <a:cubicBezTo>
                  <a:pt x="6295712" y="4759454"/>
                  <a:pt x="6294008" y="4759041"/>
                  <a:pt x="6291684" y="4757596"/>
                </a:cubicBezTo>
                <a:cubicBezTo>
                  <a:pt x="6291994" y="4755117"/>
                  <a:pt x="6295247" y="4750574"/>
                  <a:pt x="6299429" y="4750781"/>
                </a:cubicBezTo>
                <a:close/>
                <a:moveTo>
                  <a:pt x="1153474" y="4750763"/>
                </a:moveTo>
                <a:cubicBezTo>
                  <a:pt x="1154094" y="4751796"/>
                  <a:pt x="1154713" y="4752725"/>
                  <a:pt x="1155487" y="4753654"/>
                </a:cubicBezTo>
                <a:cubicBezTo>
                  <a:pt x="1151460" y="4757681"/>
                  <a:pt x="1150686" y="4762018"/>
                  <a:pt x="1147743" y="4765322"/>
                </a:cubicBezTo>
                <a:cubicBezTo>
                  <a:pt x="1146813" y="4760779"/>
                  <a:pt x="1145574" y="4752725"/>
                  <a:pt x="1153474" y="4750763"/>
                </a:cubicBezTo>
                <a:close/>
                <a:moveTo>
                  <a:pt x="6346208" y="4750265"/>
                </a:moveTo>
                <a:cubicBezTo>
                  <a:pt x="6347602" y="4752123"/>
                  <a:pt x="6351319" y="4749542"/>
                  <a:pt x="6353488" y="4752227"/>
                </a:cubicBezTo>
                <a:cubicBezTo>
                  <a:pt x="6353333" y="4753982"/>
                  <a:pt x="6353178" y="4754808"/>
                  <a:pt x="6352249" y="4756563"/>
                </a:cubicBezTo>
                <a:cubicBezTo>
                  <a:pt x="6344969" y="4762655"/>
                  <a:pt x="6340941" y="4759971"/>
                  <a:pt x="6340012" y="4760900"/>
                </a:cubicBezTo>
                <a:cubicBezTo>
                  <a:pt x="6337843" y="4758215"/>
                  <a:pt x="6339702" y="4756357"/>
                  <a:pt x="6341716" y="4752846"/>
                </a:cubicBezTo>
                <a:cubicBezTo>
                  <a:pt x="6342490" y="4753775"/>
                  <a:pt x="6345278" y="4751194"/>
                  <a:pt x="6346208" y="4750265"/>
                </a:cubicBezTo>
                <a:close/>
                <a:moveTo>
                  <a:pt x="1672687" y="4750247"/>
                </a:moveTo>
                <a:cubicBezTo>
                  <a:pt x="1679966" y="4747459"/>
                  <a:pt x="1685543" y="4754893"/>
                  <a:pt x="1679501" y="4760676"/>
                </a:cubicBezTo>
                <a:cubicBezTo>
                  <a:pt x="1677798" y="4761295"/>
                  <a:pt x="1676249" y="4761398"/>
                  <a:pt x="1674855" y="4761088"/>
                </a:cubicBezTo>
                <a:cubicBezTo>
                  <a:pt x="1673461" y="4760779"/>
                  <a:pt x="1672376" y="4760056"/>
                  <a:pt x="1671602" y="4759023"/>
                </a:cubicBezTo>
                <a:cubicBezTo>
                  <a:pt x="1669898" y="4757062"/>
                  <a:pt x="1669898" y="4753861"/>
                  <a:pt x="1672687" y="4750247"/>
                </a:cubicBezTo>
                <a:close/>
                <a:moveTo>
                  <a:pt x="975034" y="4749730"/>
                </a:moveTo>
                <a:cubicBezTo>
                  <a:pt x="974569" y="4750453"/>
                  <a:pt x="974569" y="4750453"/>
                  <a:pt x="974569" y="4750453"/>
                </a:cubicBezTo>
                <a:cubicBezTo>
                  <a:pt x="974724" y="4751692"/>
                  <a:pt x="975188" y="4750970"/>
                  <a:pt x="975962" y="4751382"/>
                </a:cubicBezTo>
                <a:cubicBezTo>
                  <a:pt x="975962" y="4751382"/>
                  <a:pt x="975188" y="4750970"/>
                  <a:pt x="976427" y="4750660"/>
                </a:cubicBezTo>
                <a:cubicBezTo>
                  <a:pt x="975962" y="4751382"/>
                  <a:pt x="976582" y="4751796"/>
                  <a:pt x="977357" y="4752209"/>
                </a:cubicBezTo>
                <a:cubicBezTo>
                  <a:pt x="977667" y="4754686"/>
                  <a:pt x="977667" y="4757887"/>
                  <a:pt x="975962" y="4758920"/>
                </a:cubicBezTo>
                <a:cubicBezTo>
                  <a:pt x="973639" y="4759540"/>
                  <a:pt x="972710" y="4757991"/>
                  <a:pt x="972400" y="4756752"/>
                </a:cubicBezTo>
                <a:cubicBezTo>
                  <a:pt x="971626" y="4755719"/>
                  <a:pt x="971780" y="4754377"/>
                  <a:pt x="972400" y="4753138"/>
                </a:cubicBezTo>
                <a:cubicBezTo>
                  <a:pt x="973019" y="4751899"/>
                  <a:pt x="973949" y="4750660"/>
                  <a:pt x="975034" y="4749730"/>
                </a:cubicBezTo>
                <a:close/>
                <a:moveTo>
                  <a:pt x="1593689" y="4748595"/>
                </a:moveTo>
                <a:cubicBezTo>
                  <a:pt x="1594929" y="4748285"/>
                  <a:pt x="1597871" y="4748078"/>
                  <a:pt x="1597407" y="4748801"/>
                </a:cubicBezTo>
                <a:cubicBezTo>
                  <a:pt x="1597562" y="4750040"/>
                  <a:pt x="1598026" y="4749214"/>
                  <a:pt x="1598801" y="4749627"/>
                </a:cubicBezTo>
                <a:cubicBezTo>
                  <a:pt x="1599111" y="4751382"/>
                  <a:pt x="1599111" y="4753035"/>
                  <a:pt x="1598646" y="4754274"/>
                </a:cubicBezTo>
                <a:lnTo>
                  <a:pt x="1596942" y="4756132"/>
                </a:lnTo>
                <a:lnTo>
                  <a:pt x="1599265" y="4757578"/>
                </a:lnTo>
                <a:cubicBezTo>
                  <a:pt x="1602983" y="4759849"/>
                  <a:pt x="1606700" y="4762534"/>
                  <a:pt x="1610263" y="4767284"/>
                </a:cubicBezTo>
                <a:lnTo>
                  <a:pt x="1604996" y="4767284"/>
                </a:lnTo>
                <a:lnTo>
                  <a:pt x="1605462" y="4770175"/>
                </a:lnTo>
                <a:cubicBezTo>
                  <a:pt x="1605152" y="4771414"/>
                  <a:pt x="1605152" y="4771414"/>
                  <a:pt x="1604377" y="4771931"/>
                </a:cubicBezTo>
                <a:cubicBezTo>
                  <a:pt x="1603293" y="4773582"/>
                  <a:pt x="1602983" y="4774821"/>
                  <a:pt x="1601124" y="4775028"/>
                </a:cubicBezTo>
                <a:cubicBezTo>
                  <a:pt x="1599575" y="4774925"/>
                  <a:pt x="1598801" y="4774409"/>
                  <a:pt x="1598491" y="4773479"/>
                </a:cubicBezTo>
                <a:cubicBezTo>
                  <a:pt x="1598026" y="4772653"/>
                  <a:pt x="1598181" y="4771311"/>
                  <a:pt x="1598336" y="4769659"/>
                </a:cubicBezTo>
                <a:cubicBezTo>
                  <a:pt x="1598491" y="4768110"/>
                  <a:pt x="1599265" y="4767181"/>
                  <a:pt x="1600040" y="4766251"/>
                </a:cubicBezTo>
                <a:lnTo>
                  <a:pt x="1600350" y="4765942"/>
                </a:lnTo>
                <a:lnTo>
                  <a:pt x="1597252" y="4764599"/>
                </a:lnTo>
                <a:lnTo>
                  <a:pt x="1592915" y="4761088"/>
                </a:lnTo>
                <a:lnTo>
                  <a:pt x="1593069" y="4761295"/>
                </a:lnTo>
                <a:cubicBezTo>
                  <a:pt x="1593534" y="4763050"/>
                  <a:pt x="1592605" y="4765942"/>
                  <a:pt x="1590746" y="4765425"/>
                </a:cubicBezTo>
                <a:cubicBezTo>
                  <a:pt x="1589972" y="4765219"/>
                  <a:pt x="1588887" y="4764393"/>
                  <a:pt x="1587649" y="4762534"/>
                </a:cubicBezTo>
                <a:cubicBezTo>
                  <a:pt x="1588732" y="4761295"/>
                  <a:pt x="1589507" y="4760572"/>
                  <a:pt x="1590282" y="4760263"/>
                </a:cubicBezTo>
                <a:lnTo>
                  <a:pt x="1591675" y="4760056"/>
                </a:lnTo>
                <a:lnTo>
                  <a:pt x="1588268" y="4755100"/>
                </a:lnTo>
                <a:cubicBezTo>
                  <a:pt x="1587494" y="4753241"/>
                  <a:pt x="1587338" y="4751486"/>
                  <a:pt x="1587958" y="4749834"/>
                </a:cubicBezTo>
                <a:lnTo>
                  <a:pt x="1590282" y="4751692"/>
                </a:lnTo>
                <a:close/>
                <a:moveTo>
                  <a:pt x="865987" y="4748595"/>
                </a:moveTo>
                <a:cubicBezTo>
                  <a:pt x="865987" y="4748595"/>
                  <a:pt x="866141" y="4748595"/>
                  <a:pt x="868000" y="4750247"/>
                </a:cubicBezTo>
                <a:lnTo>
                  <a:pt x="868155" y="4751176"/>
                </a:lnTo>
                <a:cubicBezTo>
                  <a:pt x="868000" y="4751589"/>
                  <a:pt x="867380" y="4751796"/>
                  <a:pt x="866451" y="4751899"/>
                </a:cubicBezTo>
                <a:cubicBezTo>
                  <a:pt x="865057" y="4752105"/>
                  <a:pt x="863198" y="4752105"/>
                  <a:pt x="861494" y="4752002"/>
                </a:cubicBezTo>
                <a:cubicBezTo>
                  <a:pt x="859946" y="4751899"/>
                  <a:pt x="858551" y="4751692"/>
                  <a:pt x="858241" y="4751692"/>
                </a:cubicBezTo>
                <a:cubicBezTo>
                  <a:pt x="858241" y="4751692"/>
                  <a:pt x="857313" y="4751692"/>
                  <a:pt x="856538" y="4751796"/>
                </a:cubicBezTo>
                <a:cubicBezTo>
                  <a:pt x="855608" y="4750970"/>
                  <a:pt x="855453" y="4750143"/>
                  <a:pt x="854679" y="4750143"/>
                </a:cubicBezTo>
                <a:cubicBezTo>
                  <a:pt x="856692" y="4747459"/>
                  <a:pt x="859325" y="4748181"/>
                  <a:pt x="861959" y="4748904"/>
                </a:cubicBezTo>
                <a:cubicBezTo>
                  <a:pt x="863663" y="4749627"/>
                  <a:pt x="864592" y="4749524"/>
                  <a:pt x="865987" y="4748595"/>
                </a:cubicBezTo>
                <a:close/>
                <a:moveTo>
                  <a:pt x="1778016" y="4748181"/>
                </a:moveTo>
                <a:lnTo>
                  <a:pt x="1776777" y="4749214"/>
                </a:lnTo>
                <a:lnTo>
                  <a:pt x="1777706" y="4749008"/>
                </a:lnTo>
                <a:close/>
                <a:moveTo>
                  <a:pt x="6058411" y="4748096"/>
                </a:moveTo>
                <a:cubicBezTo>
                  <a:pt x="6058411" y="4748096"/>
                  <a:pt x="6058411" y="4748096"/>
                  <a:pt x="6059030" y="4749851"/>
                </a:cubicBezTo>
                <a:cubicBezTo>
                  <a:pt x="6059030" y="4750781"/>
                  <a:pt x="6058875" y="4751710"/>
                  <a:pt x="6057946" y="4752536"/>
                </a:cubicBezTo>
                <a:cubicBezTo>
                  <a:pt x="6056861" y="4753466"/>
                  <a:pt x="6055157" y="4753362"/>
                  <a:pt x="6054383" y="4753362"/>
                </a:cubicBezTo>
                <a:cubicBezTo>
                  <a:pt x="6054383" y="4752536"/>
                  <a:pt x="6053609" y="4752433"/>
                  <a:pt x="6053764" y="4751607"/>
                </a:cubicBezTo>
                <a:cubicBezTo>
                  <a:pt x="6052989" y="4749748"/>
                  <a:pt x="6052989" y="4749851"/>
                  <a:pt x="6053918" y="4748922"/>
                </a:cubicBezTo>
                <a:cubicBezTo>
                  <a:pt x="6054848" y="4748096"/>
                  <a:pt x="6057326" y="4749025"/>
                  <a:pt x="6058411" y="4748096"/>
                </a:cubicBezTo>
                <a:close/>
                <a:moveTo>
                  <a:pt x="817504" y="4747872"/>
                </a:moveTo>
                <a:cubicBezTo>
                  <a:pt x="809139" y="4752105"/>
                  <a:pt x="806351" y="4759127"/>
                  <a:pt x="795664" y="4762018"/>
                </a:cubicBezTo>
                <a:cubicBezTo>
                  <a:pt x="794579" y="4753344"/>
                  <a:pt x="810223" y="4741057"/>
                  <a:pt x="817504" y="4747872"/>
                </a:cubicBezTo>
                <a:close/>
                <a:moveTo>
                  <a:pt x="1638609" y="4747355"/>
                </a:moveTo>
                <a:cubicBezTo>
                  <a:pt x="1640313" y="4746323"/>
                  <a:pt x="1641242" y="4747872"/>
                  <a:pt x="1641552" y="4750247"/>
                </a:cubicBezTo>
                <a:cubicBezTo>
                  <a:pt x="1643565" y="4754790"/>
                  <a:pt x="1642791" y="4757475"/>
                  <a:pt x="1639384" y="4758404"/>
                </a:cubicBezTo>
                <a:lnTo>
                  <a:pt x="1638299" y="4757578"/>
                </a:lnTo>
                <a:lnTo>
                  <a:pt x="1640932" y="4762328"/>
                </a:lnTo>
                <a:lnTo>
                  <a:pt x="1636905" y="4765115"/>
                </a:lnTo>
                <a:lnTo>
                  <a:pt x="1637525" y="4765838"/>
                </a:lnTo>
                <a:cubicBezTo>
                  <a:pt x="1637060" y="4766561"/>
                  <a:pt x="1637215" y="4767800"/>
                  <a:pt x="1636751" y="4768523"/>
                </a:cubicBezTo>
                <a:cubicBezTo>
                  <a:pt x="1635976" y="4768007"/>
                  <a:pt x="1634272" y="4767904"/>
                  <a:pt x="1634737" y="4767077"/>
                </a:cubicBezTo>
                <a:lnTo>
                  <a:pt x="1634582" y="4766665"/>
                </a:lnTo>
                <a:lnTo>
                  <a:pt x="1624514" y="4773582"/>
                </a:lnTo>
                <a:lnTo>
                  <a:pt x="1624823" y="4773996"/>
                </a:lnTo>
                <a:cubicBezTo>
                  <a:pt x="1625133" y="4777403"/>
                  <a:pt x="1622964" y="4782566"/>
                  <a:pt x="1618627" y="4780501"/>
                </a:cubicBezTo>
                <a:cubicBezTo>
                  <a:pt x="1617853" y="4780294"/>
                  <a:pt x="1617544" y="4779468"/>
                  <a:pt x="1617388" y="4778436"/>
                </a:cubicBezTo>
                <a:lnTo>
                  <a:pt x="1607320" y="4785147"/>
                </a:lnTo>
                <a:cubicBezTo>
                  <a:pt x="1609333" y="4770795"/>
                  <a:pt x="1624514" y="4763153"/>
                  <a:pt x="1635666" y="4753861"/>
                </a:cubicBezTo>
                <a:lnTo>
                  <a:pt x="1636441" y="4754893"/>
                </a:lnTo>
                <a:lnTo>
                  <a:pt x="1636130" y="4752518"/>
                </a:lnTo>
                <a:cubicBezTo>
                  <a:pt x="1636285" y="4751176"/>
                  <a:pt x="1636441" y="4749834"/>
                  <a:pt x="1637060" y="4748904"/>
                </a:cubicBezTo>
                <a:cubicBezTo>
                  <a:pt x="1637370" y="4748181"/>
                  <a:pt x="1637990" y="4747769"/>
                  <a:pt x="1638609" y="4747355"/>
                </a:cubicBezTo>
                <a:close/>
                <a:moveTo>
                  <a:pt x="1030331" y="4747355"/>
                </a:moveTo>
                <a:cubicBezTo>
                  <a:pt x="1034669" y="4749834"/>
                  <a:pt x="1034204" y="4756339"/>
                  <a:pt x="1030022" y="4757475"/>
                </a:cubicBezTo>
                <a:cubicBezTo>
                  <a:pt x="1028937" y="4756855"/>
                  <a:pt x="1027078" y="4756442"/>
                  <a:pt x="1025684" y="4754997"/>
                </a:cubicBezTo>
                <a:cubicBezTo>
                  <a:pt x="1025220" y="4750556"/>
                  <a:pt x="1027078" y="4748285"/>
                  <a:pt x="1030331" y="4747355"/>
                </a:cubicBezTo>
                <a:close/>
                <a:moveTo>
                  <a:pt x="1316483" y="4746930"/>
                </a:moveTo>
                <a:cubicBezTo>
                  <a:pt x="1318129" y="4747846"/>
                  <a:pt x="1319290" y="4749937"/>
                  <a:pt x="1319058" y="4751692"/>
                </a:cubicBezTo>
                <a:cubicBezTo>
                  <a:pt x="1318284" y="4752415"/>
                  <a:pt x="1317354" y="4753035"/>
                  <a:pt x="1316424" y="4753241"/>
                </a:cubicBezTo>
                <a:cubicBezTo>
                  <a:pt x="1313791" y="4753757"/>
                  <a:pt x="1311158" y="4751899"/>
                  <a:pt x="1311003" y="4749214"/>
                </a:cubicBezTo>
                <a:cubicBezTo>
                  <a:pt x="1312707" y="4746271"/>
                  <a:pt x="1314837" y="4746013"/>
                  <a:pt x="1316483" y="4746930"/>
                </a:cubicBezTo>
                <a:close/>
                <a:moveTo>
                  <a:pt x="1898835" y="4745290"/>
                </a:moveTo>
                <a:cubicBezTo>
                  <a:pt x="1900539" y="4747046"/>
                  <a:pt x="1901623" y="4750556"/>
                  <a:pt x="1899145" y="4753035"/>
                </a:cubicBezTo>
                <a:cubicBezTo>
                  <a:pt x="1897596" y="4755616"/>
                  <a:pt x="1894343" y="4755513"/>
                  <a:pt x="1891865" y="4757991"/>
                </a:cubicBezTo>
                <a:cubicBezTo>
                  <a:pt x="1888457" y="4755203"/>
                  <a:pt x="1887527" y="4754274"/>
                  <a:pt x="1888921" y="4750040"/>
                </a:cubicBezTo>
                <a:cubicBezTo>
                  <a:pt x="1888921" y="4750040"/>
                  <a:pt x="1889851" y="4749214"/>
                  <a:pt x="1889851" y="4749214"/>
                </a:cubicBezTo>
                <a:cubicBezTo>
                  <a:pt x="1892174" y="4745807"/>
                  <a:pt x="1897131" y="4744361"/>
                  <a:pt x="1898835" y="4745290"/>
                </a:cubicBezTo>
                <a:close/>
                <a:moveTo>
                  <a:pt x="6370681" y="4745205"/>
                </a:moveTo>
                <a:cubicBezTo>
                  <a:pt x="6375328" y="4750265"/>
                  <a:pt x="6374554" y="4752433"/>
                  <a:pt x="6372230" y="4752846"/>
                </a:cubicBezTo>
                <a:cubicBezTo>
                  <a:pt x="6368668" y="4753466"/>
                  <a:pt x="6361387" y="4749025"/>
                  <a:pt x="6370681" y="4745205"/>
                </a:cubicBezTo>
                <a:close/>
                <a:moveTo>
                  <a:pt x="1328816" y="4744980"/>
                </a:moveTo>
                <a:cubicBezTo>
                  <a:pt x="1330985" y="4746323"/>
                  <a:pt x="1331915" y="4749214"/>
                  <a:pt x="1330211" y="4753551"/>
                </a:cubicBezTo>
                <a:cubicBezTo>
                  <a:pt x="1328971" y="4754377"/>
                  <a:pt x="1327732" y="4754997"/>
                  <a:pt x="1326493" y="4755203"/>
                </a:cubicBezTo>
                <a:cubicBezTo>
                  <a:pt x="1322930" y="4755926"/>
                  <a:pt x="1319678" y="4753964"/>
                  <a:pt x="1319213" y="4750763"/>
                </a:cubicBezTo>
                <a:cubicBezTo>
                  <a:pt x="1319058" y="4749317"/>
                  <a:pt x="1319367" y="4747665"/>
                  <a:pt x="1320452" y="4745807"/>
                </a:cubicBezTo>
                <a:cubicBezTo>
                  <a:pt x="1323395" y="4743742"/>
                  <a:pt x="1326648" y="4743535"/>
                  <a:pt x="1328816" y="4744980"/>
                </a:cubicBezTo>
                <a:close/>
                <a:moveTo>
                  <a:pt x="1573708" y="4744671"/>
                </a:moveTo>
                <a:cubicBezTo>
                  <a:pt x="1573397" y="4745497"/>
                  <a:pt x="1573088" y="4746219"/>
                  <a:pt x="1572469" y="4746426"/>
                </a:cubicBezTo>
                <a:cubicBezTo>
                  <a:pt x="1571849" y="4746633"/>
                  <a:pt x="1570919" y="4746426"/>
                  <a:pt x="1569526" y="4745704"/>
                </a:cubicBezTo>
                <a:cubicBezTo>
                  <a:pt x="1569526" y="4745704"/>
                  <a:pt x="1569526" y="4744877"/>
                  <a:pt x="1569526" y="4744877"/>
                </a:cubicBezTo>
                <a:cubicBezTo>
                  <a:pt x="1570764" y="4742296"/>
                  <a:pt x="1571849" y="4743122"/>
                  <a:pt x="1573708" y="4744671"/>
                </a:cubicBezTo>
                <a:close/>
                <a:moveTo>
                  <a:pt x="6563062" y="4744276"/>
                </a:moveTo>
                <a:cubicBezTo>
                  <a:pt x="6562753" y="4746444"/>
                  <a:pt x="6562288" y="4748406"/>
                  <a:pt x="6561513" y="4750058"/>
                </a:cubicBezTo>
                <a:cubicBezTo>
                  <a:pt x="6559500" y="4755014"/>
                  <a:pt x="6556247" y="4757905"/>
                  <a:pt x="6555782" y="4761933"/>
                </a:cubicBezTo>
                <a:cubicBezTo>
                  <a:pt x="6555782" y="4761933"/>
                  <a:pt x="6555782" y="4761933"/>
                  <a:pt x="6553613" y="4762655"/>
                </a:cubicBezTo>
                <a:cubicBezTo>
                  <a:pt x="6553304" y="4763378"/>
                  <a:pt x="6553304" y="4763378"/>
                  <a:pt x="6553304" y="4763378"/>
                </a:cubicBezTo>
                <a:cubicBezTo>
                  <a:pt x="6553149" y="4763791"/>
                  <a:pt x="6552684" y="4763688"/>
                  <a:pt x="6552220" y="4763584"/>
                </a:cubicBezTo>
                <a:cubicBezTo>
                  <a:pt x="6551755" y="4763481"/>
                  <a:pt x="6551445" y="4763275"/>
                  <a:pt x="6551445" y="4763275"/>
                </a:cubicBezTo>
                <a:cubicBezTo>
                  <a:pt x="6550206" y="4761623"/>
                  <a:pt x="6552065" y="4759764"/>
                  <a:pt x="6552684" y="4758318"/>
                </a:cubicBezTo>
                <a:cubicBezTo>
                  <a:pt x="6551445" y="4756666"/>
                  <a:pt x="6555627" y="4756150"/>
                  <a:pt x="6554388" y="4754498"/>
                </a:cubicBezTo>
                <a:cubicBezTo>
                  <a:pt x="6558880" y="4753259"/>
                  <a:pt x="6556867" y="4747373"/>
                  <a:pt x="6563062" y="4744276"/>
                </a:cubicBezTo>
                <a:close/>
                <a:moveTo>
                  <a:pt x="5970894" y="4743449"/>
                </a:moveTo>
                <a:cubicBezTo>
                  <a:pt x="5970429" y="4749542"/>
                  <a:pt x="5973682" y="4752433"/>
                  <a:pt x="5971049" y="4756976"/>
                </a:cubicBezTo>
                <a:cubicBezTo>
                  <a:pt x="5962530" y="4757905"/>
                  <a:pt x="5959432" y="4747373"/>
                  <a:pt x="5963924" y="4743863"/>
                </a:cubicBezTo>
                <a:cubicBezTo>
                  <a:pt x="5965318" y="4742727"/>
                  <a:pt x="5967641" y="4742314"/>
                  <a:pt x="5970894" y="4743449"/>
                </a:cubicBezTo>
                <a:close/>
                <a:moveTo>
                  <a:pt x="1683529" y="4743432"/>
                </a:moveTo>
                <a:cubicBezTo>
                  <a:pt x="1683529" y="4743432"/>
                  <a:pt x="1683529" y="4743432"/>
                  <a:pt x="1684303" y="4743535"/>
                </a:cubicBezTo>
                <a:cubicBezTo>
                  <a:pt x="1684303" y="4743535"/>
                  <a:pt x="1684149" y="4744361"/>
                  <a:pt x="1683374" y="4744980"/>
                </a:cubicBezTo>
                <a:cubicBezTo>
                  <a:pt x="1683374" y="4744980"/>
                  <a:pt x="1683219" y="4744774"/>
                  <a:pt x="1683219" y="4744464"/>
                </a:cubicBezTo>
                <a:cubicBezTo>
                  <a:pt x="1683064" y="4744154"/>
                  <a:pt x="1683064" y="4743742"/>
                  <a:pt x="1683529" y="4743432"/>
                </a:cubicBezTo>
                <a:close/>
                <a:moveTo>
                  <a:pt x="1778635" y="4743225"/>
                </a:moveTo>
                <a:cubicBezTo>
                  <a:pt x="1779410" y="4744154"/>
                  <a:pt x="1779720" y="4744980"/>
                  <a:pt x="1779720" y="4745807"/>
                </a:cubicBezTo>
                <a:lnTo>
                  <a:pt x="1779100" y="4746942"/>
                </a:lnTo>
                <a:lnTo>
                  <a:pt x="1780339" y="4748388"/>
                </a:lnTo>
                <a:lnTo>
                  <a:pt x="1790253" y="4745910"/>
                </a:lnTo>
                <a:cubicBezTo>
                  <a:pt x="1796603" y="4754893"/>
                  <a:pt x="1813952" y="4756648"/>
                  <a:pt x="1815345" y="4769865"/>
                </a:cubicBezTo>
                <a:lnTo>
                  <a:pt x="1815036" y="4771001"/>
                </a:lnTo>
                <a:lnTo>
                  <a:pt x="1816120" y="4772137"/>
                </a:lnTo>
                <a:cubicBezTo>
                  <a:pt x="1817204" y="4773892"/>
                  <a:pt x="1817669" y="4775957"/>
                  <a:pt x="1817514" y="4778229"/>
                </a:cubicBezTo>
                <a:cubicBezTo>
                  <a:pt x="1816585" y="4779262"/>
                  <a:pt x="1815191" y="4779881"/>
                  <a:pt x="1813642" y="4780191"/>
                </a:cubicBezTo>
                <a:lnTo>
                  <a:pt x="1812712" y="4780191"/>
                </a:lnTo>
                <a:lnTo>
                  <a:pt x="1812557" y="4781946"/>
                </a:lnTo>
                <a:cubicBezTo>
                  <a:pt x="1812712" y="4785250"/>
                  <a:pt x="1813332" y="4788245"/>
                  <a:pt x="1812868" y="4791756"/>
                </a:cubicBezTo>
                <a:cubicBezTo>
                  <a:pt x="1810544" y="4794956"/>
                  <a:pt x="1807911" y="4798261"/>
                  <a:pt x="1804967" y="4801358"/>
                </a:cubicBezTo>
                <a:lnTo>
                  <a:pt x="1797533" y="4807760"/>
                </a:lnTo>
                <a:lnTo>
                  <a:pt x="1797533" y="4813852"/>
                </a:lnTo>
                <a:cubicBezTo>
                  <a:pt x="1797688" y="4815917"/>
                  <a:pt x="1797843" y="4818086"/>
                  <a:pt x="1796758" y="4820254"/>
                </a:cubicBezTo>
                <a:cubicBezTo>
                  <a:pt x="1795829" y="4819532"/>
                  <a:pt x="1793815" y="4817053"/>
                  <a:pt x="1795209" y="4814472"/>
                </a:cubicBezTo>
                <a:cubicBezTo>
                  <a:pt x="1795829" y="4813130"/>
                  <a:pt x="1795829" y="4811787"/>
                  <a:pt x="1795829" y="4810548"/>
                </a:cubicBezTo>
                <a:lnTo>
                  <a:pt x="1796138" y="4809000"/>
                </a:lnTo>
                <a:lnTo>
                  <a:pt x="1795055" y="4809929"/>
                </a:lnTo>
                <a:cubicBezTo>
                  <a:pt x="1787929" y="4814885"/>
                  <a:pt x="1779875" y="4817983"/>
                  <a:pt x="1771665" y="4816950"/>
                </a:cubicBezTo>
                <a:cubicBezTo>
                  <a:pt x="1758034" y="4815298"/>
                  <a:pt x="1755556" y="4804353"/>
                  <a:pt x="1745797" y="4795989"/>
                </a:cubicBezTo>
                <a:cubicBezTo>
                  <a:pt x="1748586" y="4790930"/>
                  <a:pt x="1748740" y="4787419"/>
                  <a:pt x="1748121" y="4784321"/>
                </a:cubicBezTo>
                <a:lnTo>
                  <a:pt x="1747501" y="4782153"/>
                </a:lnTo>
                <a:lnTo>
                  <a:pt x="1742699" y="4780501"/>
                </a:lnTo>
                <a:cubicBezTo>
                  <a:pt x="1742855" y="4777506"/>
                  <a:pt x="1743164" y="4775441"/>
                  <a:pt x="1743784" y="4774099"/>
                </a:cubicBezTo>
                <a:lnTo>
                  <a:pt x="1746107" y="4771931"/>
                </a:lnTo>
                <a:lnTo>
                  <a:pt x="1745332" y="4770485"/>
                </a:lnTo>
                <a:cubicBezTo>
                  <a:pt x="1744249" y="4764496"/>
                  <a:pt x="1749670" y="4758714"/>
                  <a:pt x="1753542" y="4754790"/>
                </a:cubicBezTo>
                <a:cubicBezTo>
                  <a:pt x="1756175" y="4751796"/>
                  <a:pt x="1759273" y="4749008"/>
                  <a:pt x="1762061" y="4749008"/>
                </a:cubicBezTo>
                <a:cubicBezTo>
                  <a:pt x="1762836" y="4749008"/>
                  <a:pt x="1763765" y="4749317"/>
                  <a:pt x="1764695" y="4750143"/>
                </a:cubicBezTo>
                <a:lnTo>
                  <a:pt x="1765470" y="4751176"/>
                </a:lnTo>
                <a:lnTo>
                  <a:pt x="1766708" y="4751692"/>
                </a:lnTo>
                <a:lnTo>
                  <a:pt x="1775383" y="4749627"/>
                </a:lnTo>
                <a:lnTo>
                  <a:pt x="1772130" y="4749111"/>
                </a:lnTo>
                <a:cubicBezTo>
                  <a:pt x="1772904" y="4749111"/>
                  <a:pt x="1772904" y="4749111"/>
                  <a:pt x="1772904" y="4749111"/>
                </a:cubicBezTo>
                <a:cubicBezTo>
                  <a:pt x="1773679" y="4748285"/>
                  <a:pt x="1772904" y="4748181"/>
                  <a:pt x="1772904" y="4747355"/>
                </a:cubicBezTo>
                <a:cubicBezTo>
                  <a:pt x="1772904" y="4747355"/>
                  <a:pt x="1772904" y="4748285"/>
                  <a:pt x="1771975" y="4747355"/>
                </a:cubicBezTo>
                <a:cubicBezTo>
                  <a:pt x="1772904" y="4747355"/>
                  <a:pt x="1772749" y="4746426"/>
                  <a:pt x="1772749" y="4745600"/>
                </a:cubicBezTo>
                <a:cubicBezTo>
                  <a:pt x="1774453" y="4743948"/>
                  <a:pt x="1776777" y="4742296"/>
                  <a:pt x="1778635" y="4743225"/>
                </a:cubicBezTo>
                <a:close/>
                <a:moveTo>
                  <a:pt x="1560077" y="4742915"/>
                </a:moveTo>
                <a:cubicBezTo>
                  <a:pt x="1560696" y="4741986"/>
                  <a:pt x="1563640" y="4743535"/>
                  <a:pt x="1564414" y="4743432"/>
                </a:cubicBezTo>
                <a:cubicBezTo>
                  <a:pt x="1564569" y="4744361"/>
                  <a:pt x="1563795" y="4745290"/>
                  <a:pt x="1563949" y="4746116"/>
                </a:cubicBezTo>
                <a:cubicBezTo>
                  <a:pt x="1563175" y="4746219"/>
                  <a:pt x="1561471" y="4746323"/>
                  <a:pt x="1560387" y="4745497"/>
                </a:cubicBezTo>
                <a:cubicBezTo>
                  <a:pt x="1559612" y="4745600"/>
                  <a:pt x="1560077" y="4742915"/>
                  <a:pt x="1560077" y="4742915"/>
                </a:cubicBezTo>
                <a:close/>
                <a:moveTo>
                  <a:pt x="921284" y="4742812"/>
                </a:moveTo>
                <a:cubicBezTo>
                  <a:pt x="920975" y="4746839"/>
                  <a:pt x="920975" y="4750763"/>
                  <a:pt x="920200" y="4754790"/>
                </a:cubicBezTo>
                <a:cubicBezTo>
                  <a:pt x="919426" y="4758817"/>
                  <a:pt x="918032" y="4763050"/>
                  <a:pt x="914779" y="4767181"/>
                </a:cubicBezTo>
                <a:cubicBezTo>
                  <a:pt x="908583" y="4759540"/>
                  <a:pt x="916328" y="4747665"/>
                  <a:pt x="921284" y="4742812"/>
                </a:cubicBezTo>
                <a:close/>
                <a:moveTo>
                  <a:pt x="1689105" y="4742606"/>
                </a:moveTo>
                <a:cubicBezTo>
                  <a:pt x="1690190" y="4742296"/>
                  <a:pt x="1691584" y="4742296"/>
                  <a:pt x="1693287" y="4742606"/>
                </a:cubicBezTo>
                <a:cubicBezTo>
                  <a:pt x="1696076" y="4748285"/>
                  <a:pt x="1702581" y="4757475"/>
                  <a:pt x="1694991" y="4763153"/>
                </a:cubicBezTo>
                <a:cubicBezTo>
                  <a:pt x="1686317" y="4759953"/>
                  <a:pt x="1681051" y="4744671"/>
                  <a:pt x="1689105" y="4742606"/>
                </a:cubicBezTo>
                <a:close/>
                <a:moveTo>
                  <a:pt x="1509426" y="4742193"/>
                </a:moveTo>
                <a:cubicBezTo>
                  <a:pt x="1511749" y="4742296"/>
                  <a:pt x="1513763" y="4742915"/>
                  <a:pt x="1515002" y="4744258"/>
                </a:cubicBezTo>
                <a:cubicBezTo>
                  <a:pt x="1516396" y="4745600"/>
                  <a:pt x="1517325" y="4747562"/>
                  <a:pt x="1517325" y="4750350"/>
                </a:cubicBezTo>
                <a:cubicBezTo>
                  <a:pt x="1515931" y="4752105"/>
                  <a:pt x="1513918" y="4752518"/>
                  <a:pt x="1511904" y="4752415"/>
                </a:cubicBezTo>
                <a:cubicBezTo>
                  <a:pt x="1510045" y="4752312"/>
                  <a:pt x="1508032" y="4751589"/>
                  <a:pt x="1506638" y="4751176"/>
                </a:cubicBezTo>
                <a:cubicBezTo>
                  <a:pt x="1507102" y="4747562"/>
                  <a:pt x="1507412" y="4743948"/>
                  <a:pt x="1509426" y="4742193"/>
                </a:cubicBezTo>
                <a:close/>
                <a:moveTo>
                  <a:pt x="1710016" y="4741780"/>
                </a:moveTo>
                <a:cubicBezTo>
                  <a:pt x="1727674" y="4744051"/>
                  <a:pt x="1718690" y="4754480"/>
                  <a:pt x="1711410" y="4757165"/>
                </a:cubicBezTo>
                <a:lnTo>
                  <a:pt x="1709242" y="4757475"/>
                </a:lnTo>
                <a:lnTo>
                  <a:pt x="1712649" y="4763360"/>
                </a:lnTo>
                <a:cubicBezTo>
                  <a:pt x="1714353" y="4766148"/>
                  <a:pt x="1715593" y="4769039"/>
                  <a:pt x="1716212" y="4772137"/>
                </a:cubicBezTo>
                <a:cubicBezTo>
                  <a:pt x="1714663" y="4771621"/>
                  <a:pt x="1713115" y="4770691"/>
                  <a:pt x="1711565" y="4769452"/>
                </a:cubicBezTo>
                <a:lnTo>
                  <a:pt x="1708312" y="4765735"/>
                </a:lnTo>
                <a:lnTo>
                  <a:pt x="1707073" y="4769349"/>
                </a:lnTo>
                <a:cubicBezTo>
                  <a:pt x="1706609" y="4771311"/>
                  <a:pt x="1705834" y="4771621"/>
                  <a:pt x="1703665" y="4770691"/>
                </a:cubicBezTo>
                <a:cubicBezTo>
                  <a:pt x="1703820" y="4769762"/>
                  <a:pt x="1704595" y="4768316"/>
                  <a:pt x="1705524" y="4767181"/>
                </a:cubicBezTo>
                <a:lnTo>
                  <a:pt x="1708003" y="4765425"/>
                </a:lnTo>
                <a:lnTo>
                  <a:pt x="1707693" y="4765115"/>
                </a:lnTo>
                <a:cubicBezTo>
                  <a:pt x="1706764" y="4763567"/>
                  <a:pt x="1706144" y="4761811"/>
                  <a:pt x="1705989" y="4760056"/>
                </a:cubicBezTo>
                <a:lnTo>
                  <a:pt x="1707073" y="4757371"/>
                </a:lnTo>
                <a:lnTo>
                  <a:pt x="1705524" y="4756648"/>
                </a:lnTo>
                <a:cubicBezTo>
                  <a:pt x="1704130" y="4754686"/>
                  <a:pt x="1704750" y="4750247"/>
                  <a:pt x="1710016" y="4741780"/>
                </a:cubicBezTo>
                <a:close/>
                <a:moveTo>
                  <a:pt x="1812694" y="4740334"/>
                </a:moveTo>
                <a:cubicBezTo>
                  <a:pt x="1814455" y="4740515"/>
                  <a:pt x="1816275" y="4741728"/>
                  <a:pt x="1816740" y="4742915"/>
                </a:cubicBezTo>
                <a:cubicBezTo>
                  <a:pt x="1816430" y="4745497"/>
                  <a:pt x="1814726" y="4746323"/>
                  <a:pt x="1813023" y="4746219"/>
                </a:cubicBezTo>
                <a:cubicBezTo>
                  <a:pt x="1811164" y="4746116"/>
                  <a:pt x="1809460" y="4745084"/>
                  <a:pt x="1808995" y="4743948"/>
                </a:cubicBezTo>
                <a:cubicBezTo>
                  <a:pt x="1809227" y="4741005"/>
                  <a:pt x="1810931" y="4740153"/>
                  <a:pt x="1812694" y="4740334"/>
                </a:cubicBezTo>
                <a:close/>
                <a:moveTo>
                  <a:pt x="1418036" y="4740334"/>
                </a:moveTo>
                <a:cubicBezTo>
                  <a:pt x="1419276" y="4740437"/>
                  <a:pt x="1420360" y="4740437"/>
                  <a:pt x="1421600" y="4740437"/>
                </a:cubicBezTo>
                <a:cubicBezTo>
                  <a:pt x="1421600" y="4746013"/>
                  <a:pt x="1424078" y="4749214"/>
                  <a:pt x="1424233" y="4753551"/>
                </a:cubicBezTo>
                <a:cubicBezTo>
                  <a:pt x="1422219" y="4752621"/>
                  <a:pt x="1419586" y="4751073"/>
                  <a:pt x="1418036" y="4748904"/>
                </a:cubicBezTo>
                <a:cubicBezTo>
                  <a:pt x="1416488" y="4746736"/>
                  <a:pt x="1415868" y="4743948"/>
                  <a:pt x="1418036" y="4740334"/>
                </a:cubicBezTo>
                <a:close/>
                <a:moveTo>
                  <a:pt x="1343377" y="4740128"/>
                </a:moveTo>
                <a:cubicBezTo>
                  <a:pt x="1346320" y="4740334"/>
                  <a:pt x="1348179" y="4742089"/>
                  <a:pt x="1347869" y="4745290"/>
                </a:cubicBezTo>
                <a:cubicBezTo>
                  <a:pt x="1346785" y="4746942"/>
                  <a:pt x="1344925" y="4747046"/>
                  <a:pt x="1343067" y="4747252"/>
                </a:cubicBezTo>
                <a:cubicBezTo>
                  <a:pt x="1341673" y="4747149"/>
                  <a:pt x="1340899" y="4746736"/>
                  <a:pt x="1340589" y="4745910"/>
                </a:cubicBezTo>
                <a:cubicBezTo>
                  <a:pt x="1340279" y="4745084"/>
                  <a:pt x="1340434" y="4743948"/>
                  <a:pt x="1340744" y="4742709"/>
                </a:cubicBezTo>
                <a:cubicBezTo>
                  <a:pt x="1341518" y="4740334"/>
                  <a:pt x="1343377" y="4740128"/>
                  <a:pt x="1343377" y="4740128"/>
                </a:cubicBezTo>
                <a:close/>
                <a:moveTo>
                  <a:pt x="1611328" y="4739856"/>
                </a:moveTo>
                <a:cubicBezTo>
                  <a:pt x="1612780" y="4739663"/>
                  <a:pt x="1614135" y="4740024"/>
                  <a:pt x="1615375" y="4742399"/>
                </a:cubicBezTo>
                <a:cubicBezTo>
                  <a:pt x="1614910" y="4745290"/>
                  <a:pt x="1612432" y="4747562"/>
                  <a:pt x="1609798" y="4748078"/>
                </a:cubicBezTo>
                <a:cubicBezTo>
                  <a:pt x="1608869" y="4748285"/>
                  <a:pt x="1608095" y="4748285"/>
                  <a:pt x="1607165" y="4748078"/>
                </a:cubicBezTo>
                <a:cubicBezTo>
                  <a:pt x="1606081" y="4747769"/>
                  <a:pt x="1604996" y="4747046"/>
                  <a:pt x="1604222" y="4745807"/>
                </a:cubicBezTo>
                <a:cubicBezTo>
                  <a:pt x="1605307" y="4744154"/>
                  <a:pt x="1605617" y="4742399"/>
                  <a:pt x="1606700" y="4740644"/>
                </a:cubicBezTo>
                <a:cubicBezTo>
                  <a:pt x="1608327" y="4740798"/>
                  <a:pt x="1609876" y="4740050"/>
                  <a:pt x="1611328" y="4739856"/>
                </a:cubicBezTo>
                <a:close/>
                <a:moveTo>
                  <a:pt x="6467646" y="4739526"/>
                </a:moveTo>
                <a:cubicBezTo>
                  <a:pt x="6470434" y="4737461"/>
                  <a:pt x="6473377" y="4738700"/>
                  <a:pt x="6475391" y="4741075"/>
                </a:cubicBezTo>
                <a:cubicBezTo>
                  <a:pt x="6477250" y="4743553"/>
                  <a:pt x="6478179" y="4747064"/>
                  <a:pt x="6477095" y="4749748"/>
                </a:cubicBezTo>
                <a:cubicBezTo>
                  <a:pt x="6472293" y="4749129"/>
                  <a:pt x="6468886" y="4747786"/>
                  <a:pt x="6467801" y="4744069"/>
                </a:cubicBezTo>
                <a:cubicBezTo>
                  <a:pt x="6467491" y="4742830"/>
                  <a:pt x="6467337" y="4741384"/>
                  <a:pt x="6467646" y="4739526"/>
                </a:cubicBezTo>
                <a:close/>
                <a:moveTo>
                  <a:pt x="1551712" y="4739198"/>
                </a:moveTo>
                <a:cubicBezTo>
                  <a:pt x="1552022" y="4740128"/>
                  <a:pt x="1552487" y="4741263"/>
                  <a:pt x="1552642" y="4742709"/>
                </a:cubicBezTo>
                <a:lnTo>
                  <a:pt x="1551867" y="4744774"/>
                </a:lnTo>
                <a:lnTo>
                  <a:pt x="1553106" y="4745084"/>
                </a:lnTo>
                <a:lnTo>
                  <a:pt x="1555429" y="4748285"/>
                </a:lnTo>
                <a:lnTo>
                  <a:pt x="1560387" y="4750453"/>
                </a:lnTo>
                <a:lnTo>
                  <a:pt x="1555585" y="4753344"/>
                </a:lnTo>
                <a:lnTo>
                  <a:pt x="1555429" y="4755100"/>
                </a:lnTo>
                <a:cubicBezTo>
                  <a:pt x="1553726" y="4755409"/>
                  <a:pt x="1552177" y="4755409"/>
                  <a:pt x="1550938" y="4755306"/>
                </a:cubicBezTo>
                <a:lnTo>
                  <a:pt x="1548305" y="4754893"/>
                </a:lnTo>
                <a:lnTo>
                  <a:pt x="1543503" y="4755306"/>
                </a:lnTo>
                <a:cubicBezTo>
                  <a:pt x="1536378" y="4754686"/>
                  <a:pt x="1529407" y="4751486"/>
                  <a:pt x="1528323" y="4745497"/>
                </a:cubicBezTo>
                <a:cubicBezTo>
                  <a:pt x="1533899" y="4748285"/>
                  <a:pt x="1539165" y="4747459"/>
                  <a:pt x="1544432" y="4746942"/>
                </a:cubicBezTo>
                <a:lnTo>
                  <a:pt x="1544742" y="4746942"/>
                </a:lnTo>
                <a:lnTo>
                  <a:pt x="1543658" y="4744980"/>
                </a:lnTo>
                <a:cubicBezTo>
                  <a:pt x="1543813" y="4743948"/>
                  <a:pt x="1544587" y="4742915"/>
                  <a:pt x="1545516" y="4741780"/>
                </a:cubicBezTo>
                <a:cubicBezTo>
                  <a:pt x="1547375" y="4739405"/>
                  <a:pt x="1549853" y="4740644"/>
                  <a:pt x="1551712" y="4739198"/>
                </a:cubicBezTo>
                <a:close/>
                <a:moveTo>
                  <a:pt x="1109793" y="4738579"/>
                </a:moveTo>
                <a:cubicBezTo>
                  <a:pt x="1112736" y="4738785"/>
                  <a:pt x="1114905" y="4740541"/>
                  <a:pt x="1115060" y="4743742"/>
                </a:cubicBezTo>
                <a:cubicBezTo>
                  <a:pt x="1114285" y="4745394"/>
                  <a:pt x="1112427" y="4745497"/>
                  <a:pt x="1110568" y="4745600"/>
                </a:cubicBezTo>
                <a:cubicBezTo>
                  <a:pt x="1109019" y="4745497"/>
                  <a:pt x="1108244" y="4744980"/>
                  <a:pt x="1107780" y="4744154"/>
                </a:cubicBezTo>
                <a:cubicBezTo>
                  <a:pt x="1107470" y="4743329"/>
                  <a:pt x="1107315" y="4742296"/>
                  <a:pt x="1107625" y="4741057"/>
                </a:cubicBezTo>
                <a:cubicBezTo>
                  <a:pt x="1107934" y="4738682"/>
                  <a:pt x="1109793" y="4738579"/>
                  <a:pt x="1109793" y="4738579"/>
                </a:cubicBezTo>
                <a:close/>
                <a:moveTo>
                  <a:pt x="1598026" y="4738269"/>
                </a:moveTo>
                <a:cubicBezTo>
                  <a:pt x="1599575" y="4740231"/>
                  <a:pt x="1602673" y="4742503"/>
                  <a:pt x="1601589" y="4745807"/>
                </a:cubicBezTo>
                <a:cubicBezTo>
                  <a:pt x="1600505" y="4744258"/>
                  <a:pt x="1598026" y="4741676"/>
                  <a:pt x="1597562" y="4739818"/>
                </a:cubicBezTo>
                <a:cubicBezTo>
                  <a:pt x="1597407" y="4739198"/>
                  <a:pt x="1597562" y="4738579"/>
                  <a:pt x="1598026" y="4738269"/>
                </a:cubicBezTo>
                <a:close/>
                <a:moveTo>
                  <a:pt x="909048" y="4738269"/>
                </a:moveTo>
                <a:cubicBezTo>
                  <a:pt x="910596" y="4737236"/>
                  <a:pt x="913385" y="4739818"/>
                  <a:pt x="915089" y="4740541"/>
                </a:cubicBezTo>
                <a:cubicBezTo>
                  <a:pt x="914469" y="4741470"/>
                  <a:pt x="913694" y="4742296"/>
                  <a:pt x="914624" y="4742296"/>
                </a:cubicBezTo>
                <a:cubicBezTo>
                  <a:pt x="913849" y="4743225"/>
                  <a:pt x="913075" y="4743638"/>
                  <a:pt x="912301" y="4743845"/>
                </a:cubicBezTo>
                <a:cubicBezTo>
                  <a:pt x="911525" y="4743948"/>
                  <a:pt x="910596" y="4743845"/>
                  <a:pt x="909668" y="4743432"/>
                </a:cubicBezTo>
                <a:cubicBezTo>
                  <a:pt x="908738" y="4742606"/>
                  <a:pt x="908583" y="4740850"/>
                  <a:pt x="909048" y="4738269"/>
                </a:cubicBezTo>
                <a:close/>
                <a:moveTo>
                  <a:pt x="1383804" y="4737649"/>
                </a:moveTo>
                <a:lnTo>
                  <a:pt x="1388452" y="4739302"/>
                </a:lnTo>
                <a:lnTo>
                  <a:pt x="1390001" y="4738475"/>
                </a:lnTo>
                <a:cubicBezTo>
                  <a:pt x="1392479" y="4737752"/>
                  <a:pt x="1394803" y="4737856"/>
                  <a:pt x="1396506" y="4739302"/>
                </a:cubicBezTo>
                <a:lnTo>
                  <a:pt x="1392634" y="4742812"/>
                </a:lnTo>
                <a:lnTo>
                  <a:pt x="1396971" y="4747665"/>
                </a:lnTo>
                <a:lnTo>
                  <a:pt x="1397436" y="4748801"/>
                </a:lnTo>
                <a:lnTo>
                  <a:pt x="1399139" y="4747355"/>
                </a:lnTo>
                <a:cubicBezTo>
                  <a:pt x="1400224" y="4747046"/>
                  <a:pt x="1401773" y="4746942"/>
                  <a:pt x="1403322" y="4747252"/>
                </a:cubicBezTo>
                <a:cubicBezTo>
                  <a:pt x="1404406" y="4750040"/>
                  <a:pt x="1406110" y="4753654"/>
                  <a:pt x="1406574" y="4757371"/>
                </a:cubicBezTo>
                <a:lnTo>
                  <a:pt x="1406419" y="4760779"/>
                </a:lnTo>
                <a:lnTo>
                  <a:pt x="1411376" y="4765219"/>
                </a:lnTo>
                <a:cubicBezTo>
                  <a:pt x="1410912" y="4766354"/>
                  <a:pt x="1410292" y="4767387"/>
                  <a:pt x="1411376" y="4768007"/>
                </a:cubicBezTo>
                <a:cubicBezTo>
                  <a:pt x="1408588" y="4775132"/>
                  <a:pt x="1401153" y="4778952"/>
                  <a:pt x="1393408" y="4779262"/>
                </a:cubicBezTo>
                <a:cubicBezTo>
                  <a:pt x="1387522" y="4779468"/>
                  <a:pt x="1381636" y="4777713"/>
                  <a:pt x="1377299" y="4773789"/>
                </a:cubicBezTo>
                <a:lnTo>
                  <a:pt x="1376680" y="4773066"/>
                </a:lnTo>
                <a:lnTo>
                  <a:pt x="1377299" y="4774512"/>
                </a:lnTo>
                <a:cubicBezTo>
                  <a:pt x="1377145" y="4775751"/>
                  <a:pt x="1376989" y="4775751"/>
                  <a:pt x="1376370" y="4776164"/>
                </a:cubicBezTo>
                <a:cubicBezTo>
                  <a:pt x="1375440" y="4777816"/>
                  <a:pt x="1375285" y="4778952"/>
                  <a:pt x="1373427" y="4779158"/>
                </a:cubicBezTo>
                <a:cubicBezTo>
                  <a:pt x="1371878" y="4779055"/>
                  <a:pt x="1371103" y="4778539"/>
                  <a:pt x="1370638" y="4777610"/>
                </a:cubicBezTo>
                <a:cubicBezTo>
                  <a:pt x="1370174" y="4776680"/>
                  <a:pt x="1370019" y="4775338"/>
                  <a:pt x="1369864" y="4773789"/>
                </a:cubicBezTo>
                <a:cubicBezTo>
                  <a:pt x="1369709" y="4770588"/>
                  <a:pt x="1372342" y="4769969"/>
                  <a:pt x="1372652" y="4767594"/>
                </a:cubicBezTo>
                <a:lnTo>
                  <a:pt x="1373891" y="4768523"/>
                </a:lnTo>
                <a:lnTo>
                  <a:pt x="1378228" y="4761295"/>
                </a:lnTo>
                <a:cubicBezTo>
                  <a:pt x="1380242" y="4759333"/>
                  <a:pt x="1382565" y="4757887"/>
                  <a:pt x="1385044" y="4756958"/>
                </a:cubicBezTo>
                <a:lnTo>
                  <a:pt x="1389846" y="4756132"/>
                </a:lnTo>
                <a:lnTo>
                  <a:pt x="1386748" y="4753861"/>
                </a:lnTo>
                <a:lnTo>
                  <a:pt x="1383959" y="4750453"/>
                </a:lnTo>
                <a:lnTo>
                  <a:pt x="1381171" y="4753035"/>
                </a:lnTo>
                <a:lnTo>
                  <a:pt x="1375750" y="4756236"/>
                </a:lnTo>
                <a:lnTo>
                  <a:pt x="1375750" y="4756339"/>
                </a:lnTo>
                <a:lnTo>
                  <a:pt x="1375595" y="4756339"/>
                </a:lnTo>
                <a:lnTo>
                  <a:pt x="1374356" y="4756958"/>
                </a:lnTo>
                <a:lnTo>
                  <a:pt x="1374666" y="4756236"/>
                </a:lnTo>
                <a:lnTo>
                  <a:pt x="1369090" y="4755822"/>
                </a:lnTo>
                <a:cubicBezTo>
                  <a:pt x="1362739" y="4753241"/>
                  <a:pt x="1358092" y="4745394"/>
                  <a:pt x="1356233" y="4740437"/>
                </a:cubicBezTo>
                <a:cubicBezTo>
                  <a:pt x="1359641" y="4742296"/>
                  <a:pt x="1363358" y="4744051"/>
                  <a:pt x="1366766" y="4746323"/>
                </a:cubicBezTo>
                <a:cubicBezTo>
                  <a:pt x="1368470" y="4747562"/>
                  <a:pt x="1370019" y="4748904"/>
                  <a:pt x="1371568" y="4750453"/>
                </a:cubicBezTo>
                <a:lnTo>
                  <a:pt x="1374975" y="4755100"/>
                </a:lnTo>
                <a:lnTo>
                  <a:pt x="1376370" y="4749834"/>
                </a:lnTo>
                <a:lnTo>
                  <a:pt x="1380552" y="4744980"/>
                </a:lnTo>
                <a:lnTo>
                  <a:pt x="1378848" y="4741470"/>
                </a:lnTo>
                <a:cubicBezTo>
                  <a:pt x="1380087" y="4738888"/>
                  <a:pt x="1381791" y="4737752"/>
                  <a:pt x="1383804" y="4737649"/>
                </a:cubicBezTo>
                <a:close/>
                <a:moveTo>
                  <a:pt x="1460633" y="4737546"/>
                </a:moveTo>
                <a:cubicBezTo>
                  <a:pt x="1461717" y="4737959"/>
                  <a:pt x="1461717" y="4738062"/>
                  <a:pt x="1462492" y="4740334"/>
                </a:cubicBezTo>
                <a:cubicBezTo>
                  <a:pt x="1461562" y="4739921"/>
                  <a:pt x="1461562" y="4739921"/>
                  <a:pt x="1461098" y="4740953"/>
                </a:cubicBezTo>
                <a:cubicBezTo>
                  <a:pt x="1461098" y="4740953"/>
                  <a:pt x="1461098" y="4741057"/>
                  <a:pt x="1461408" y="4741780"/>
                </a:cubicBezTo>
                <a:cubicBezTo>
                  <a:pt x="1460633" y="4742089"/>
                  <a:pt x="1460323" y="4741367"/>
                  <a:pt x="1459549" y="4741676"/>
                </a:cubicBezTo>
                <a:cubicBezTo>
                  <a:pt x="1459549" y="4741676"/>
                  <a:pt x="1459394" y="4740953"/>
                  <a:pt x="1459394" y="4740953"/>
                </a:cubicBezTo>
                <a:cubicBezTo>
                  <a:pt x="1458929" y="4741160"/>
                  <a:pt x="1458929" y="4741160"/>
                  <a:pt x="1459084" y="4740850"/>
                </a:cubicBezTo>
                <a:cubicBezTo>
                  <a:pt x="1459239" y="4740541"/>
                  <a:pt x="1459394" y="4740024"/>
                  <a:pt x="1459394" y="4739095"/>
                </a:cubicBezTo>
                <a:cubicBezTo>
                  <a:pt x="1459859" y="4737959"/>
                  <a:pt x="1459549" y="4737236"/>
                  <a:pt x="1460633" y="4737546"/>
                </a:cubicBezTo>
                <a:close/>
                <a:moveTo>
                  <a:pt x="1523056" y="4737340"/>
                </a:moveTo>
                <a:cubicBezTo>
                  <a:pt x="1523056" y="4737340"/>
                  <a:pt x="1523056" y="4737443"/>
                  <a:pt x="1524915" y="4737546"/>
                </a:cubicBezTo>
                <a:cubicBezTo>
                  <a:pt x="1525690" y="4737959"/>
                  <a:pt x="1526464" y="4738372"/>
                  <a:pt x="1526929" y="4739611"/>
                </a:cubicBezTo>
                <a:cubicBezTo>
                  <a:pt x="1527394" y="4740850"/>
                  <a:pt x="1526619" y="4742399"/>
                  <a:pt x="1526309" y="4743225"/>
                </a:cubicBezTo>
                <a:cubicBezTo>
                  <a:pt x="1525535" y="4742709"/>
                  <a:pt x="1525070" y="4743535"/>
                  <a:pt x="1524295" y="4743019"/>
                </a:cubicBezTo>
                <a:cubicBezTo>
                  <a:pt x="1522437" y="4742915"/>
                  <a:pt x="1522437" y="4743019"/>
                  <a:pt x="1521972" y="4741780"/>
                </a:cubicBezTo>
                <a:cubicBezTo>
                  <a:pt x="1521507" y="4740541"/>
                  <a:pt x="1523366" y="4738579"/>
                  <a:pt x="1523056" y="4737340"/>
                </a:cubicBezTo>
                <a:close/>
                <a:moveTo>
                  <a:pt x="6374631" y="4737048"/>
                </a:moveTo>
                <a:cubicBezTo>
                  <a:pt x="6375870" y="4736247"/>
                  <a:pt x="6377574" y="4736170"/>
                  <a:pt x="6379355" y="4737358"/>
                </a:cubicBezTo>
                <a:cubicBezTo>
                  <a:pt x="6378891" y="4742210"/>
                  <a:pt x="6376877" y="4743966"/>
                  <a:pt x="6373934" y="4744482"/>
                </a:cubicBezTo>
                <a:cubicBezTo>
                  <a:pt x="6373005" y="4743346"/>
                  <a:pt x="6372695" y="4742210"/>
                  <a:pt x="6372695" y="4741075"/>
                </a:cubicBezTo>
                <a:cubicBezTo>
                  <a:pt x="6372618" y="4739371"/>
                  <a:pt x="6373392" y="4737848"/>
                  <a:pt x="6374631" y="4737048"/>
                </a:cubicBezTo>
                <a:close/>
                <a:moveTo>
                  <a:pt x="1412306" y="4735894"/>
                </a:moveTo>
                <a:cubicBezTo>
                  <a:pt x="1413235" y="4735584"/>
                  <a:pt x="1413390" y="4736410"/>
                  <a:pt x="1414164" y="4736101"/>
                </a:cubicBezTo>
                <a:cubicBezTo>
                  <a:pt x="1414784" y="4736307"/>
                  <a:pt x="1415093" y="4737133"/>
                  <a:pt x="1415403" y="4738062"/>
                </a:cubicBezTo>
                <a:cubicBezTo>
                  <a:pt x="1416333" y="4741057"/>
                  <a:pt x="1416178" y="4746323"/>
                  <a:pt x="1415558" y="4746530"/>
                </a:cubicBezTo>
                <a:cubicBezTo>
                  <a:pt x="1415868" y="4747355"/>
                  <a:pt x="1414939" y="4747665"/>
                  <a:pt x="1415248" y="4748491"/>
                </a:cubicBezTo>
                <a:cubicBezTo>
                  <a:pt x="1415248" y="4748491"/>
                  <a:pt x="1415558" y="4749317"/>
                  <a:pt x="1414939" y="4750453"/>
                </a:cubicBezTo>
                <a:cubicBezTo>
                  <a:pt x="1414319" y="4751589"/>
                  <a:pt x="1413854" y="4752725"/>
                  <a:pt x="1411841" y="4752621"/>
                </a:cubicBezTo>
                <a:lnTo>
                  <a:pt x="1411841" y="4746323"/>
                </a:lnTo>
                <a:lnTo>
                  <a:pt x="1410757" y="4748491"/>
                </a:lnTo>
                <a:cubicBezTo>
                  <a:pt x="1409672" y="4749524"/>
                  <a:pt x="1408279" y="4750247"/>
                  <a:pt x="1407039" y="4750143"/>
                </a:cubicBezTo>
                <a:cubicBezTo>
                  <a:pt x="1404871" y="4748285"/>
                  <a:pt x="1405955" y="4746736"/>
                  <a:pt x="1404560" y="4745704"/>
                </a:cubicBezTo>
                <a:cubicBezTo>
                  <a:pt x="1406110" y="4744154"/>
                  <a:pt x="1407349" y="4743329"/>
                  <a:pt x="1408743" y="4743225"/>
                </a:cubicBezTo>
                <a:lnTo>
                  <a:pt x="1411996" y="4744464"/>
                </a:lnTo>
                <a:lnTo>
                  <a:pt x="1411996" y="4743638"/>
                </a:lnTo>
                <a:lnTo>
                  <a:pt x="1412150" y="4739405"/>
                </a:lnTo>
                <a:close/>
                <a:moveTo>
                  <a:pt x="1404871" y="4735791"/>
                </a:moveTo>
                <a:cubicBezTo>
                  <a:pt x="1406110" y="4736101"/>
                  <a:pt x="1407659" y="4736101"/>
                  <a:pt x="1409053" y="4736513"/>
                </a:cubicBezTo>
                <a:lnTo>
                  <a:pt x="1412150" y="4739405"/>
                </a:lnTo>
                <a:lnTo>
                  <a:pt x="1408743" y="4738682"/>
                </a:lnTo>
                <a:cubicBezTo>
                  <a:pt x="1407504" y="4738372"/>
                  <a:pt x="1406264" y="4737856"/>
                  <a:pt x="1405645" y="4737236"/>
                </a:cubicBezTo>
                <a:cubicBezTo>
                  <a:pt x="1405025" y="4736823"/>
                  <a:pt x="1404871" y="4736410"/>
                  <a:pt x="1404871" y="4735791"/>
                </a:cubicBezTo>
                <a:close/>
                <a:moveTo>
                  <a:pt x="1783282" y="4735584"/>
                </a:moveTo>
                <a:cubicBezTo>
                  <a:pt x="1783282" y="4735584"/>
                  <a:pt x="1784211" y="4735997"/>
                  <a:pt x="1784211" y="4735997"/>
                </a:cubicBezTo>
                <a:cubicBezTo>
                  <a:pt x="1788239" y="4736720"/>
                  <a:pt x="1791646" y="4740747"/>
                  <a:pt x="1791492" y="4742709"/>
                </a:cubicBezTo>
                <a:cubicBezTo>
                  <a:pt x="1790873" y="4744464"/>
                  <a:pt x="1789013" y="4746116"/>
                  <a:pt x="1786845" y="4746426"/>
                </a:cubicBezTo>
                <a:cubicBezTo>
                  <a:pt x="1786070" y="4746530"/>
                  <a:pt x="1785296" y="4746426"/>
                  <a:pt x="1784521" y="4746116"/>
                </a:cubicBezTo>
                <a:cubicBezTo>
                  <a:pt x="1781579" y="4745704"/>
                  <a:pt x="1780339" y="4742606"/>
                  <a:pt x="1777086" y="4741470"/>
                </a:cubicBezTo>
                <a:cubicBezTo>
                  <a:pt x="1778171" y="4737133"/>
                  <a:pt x="1778790" y="4735894"/>
                  <a:pt x="1783282" y="4735584"/>
                </a:cubicBezTo>
                <a:close/>
                <a:moveTo>
                  <a:pt x="6655071" y="4735499"/>
                </a:moveTo>
                <a:cubicBezTo>
                  <a:pt x="6655690" y="4737461"/>
                  <a:pt x="6655225" y="4739939"/>
                  <a:pt x="6654141" y="4742520"/>
                </a:cubicBezTo>
                <a:cubicBezTo>
                  <a:pt x="6650889" y="4750161"/>
                  <a:pt x="6641595" y="4758732"/>
                  <a:pt x="6635399" y="4758112"/>
                </a:cubicBezTo>
                <a:cubicBezTo>
                  <a:pt x="6633850" y="4756563"/>
                  <a:pt x="6632766" y="4755014"/>
                  <a:pt x="6632301" y="4753569"/>
                </a:cubicBezTo>
                <a:cubicBezTo>
                  <a:pt x="6631371" y="4750987"/>
                  <a:pt x="6631991" y="4748612"/>
                  <a:pt x="6633540" y="4746547"/>
                </a:cubicBezTo>
                <a:cubicBezTo>
                  <a:pt x="6637877" y="4740248"/>
                  <a:pt x="6650269" y="4736428"/>
                  <a:pt x="6655071" y="4735499"/>
                </a:cubicBezTo>
                <a:close/>
                <a:moveTo>
                  <a:pt x="1135506" y="4735275"/>
                </a:moveTo>
                <a:cubicBezTo>
                  <a:pt x="1145265" y="4742193"/>
                  <a:pt x="1141702" y="4749834"/>
                  <a:pt x="1135351" y="4748698"/>
                </a:cubicBezTo>
                <a:cubicBezTo>
                  <a:pt x="1133183" y="4748388"/>
                  <a:pt x="1130704" y="4747046"/>
                  <a:pt x="1128381" y="4744464"/>
                </a:cubicBezTo>
                <a:cubicBezTo>
                  <a:pt x="1127296" y="4740128"/>
                  <a:pt x="1132098" y="4734345"/>
                  <a:pt x="1135506" y="4735275"/>
                </a:cubicBezTo>
                <a:close/>
                <a:moveTo>
                  <a:pt x="6099613" y="4735086"/>
                </a:moveTo>
                <a:cubicBezTo>
                  <a:pt x="6102711" y="4743140"/>
                  <a:pt x="6096360" y="4753466"/>
                  <a:pt x="6091713" y="4757596"/>
                </a:cubicBezTo>
                <a:cubicBezTo>
                  <a:pt x="6088460" y="4749438"/>
                  <a:pt x="6093882" y="4737977"/>
                  <a:pt x="6099613" y="4735086"/>
                </a:cubicBezTo>
                <a:close/>
                <a:moveTo>
                  <a:pt x="6032853" y="4734673"/>
                </a:moveTo>
                <a:cubicBezTo>
                  <a:pt x="6032853" y="4734673"/>
                  <a:pt x="6032853" y="4734673"/>
                  <a:pt x="6033627" y="4734673"/>
                </a:cubicBezTo>
                <a:cubicBezTo>
                  <a:pt x="6032388" y="4738183"/>
                  <a:pt x="6032853" y="4742624"/>
                  <a:pt x="6030994" y="4745205"/>
                </a:cubicBezTo>
                <a:cubicBezTo>
                  <a:pt x="6030529" y="4745618"/>
                  <a:pt x="6029910" y="4746031"/>
                  <a:pt x="6029445" y="4746134"/>
                </a:cubicBezTo>
                <a:cubicBezTo>
                  <a:pt x="6028980" y="4746238"/>
                  <a:pt x="6028360" y="4746134"/>
                  <a:pt x="6027586" y="4745205"/>
                </a:cubicBezTo>
                <a:cubicBezTo>
                  <a:pt x="6026812" y="4744689"/>
                  <a:pt x="6026347" y="4744276"/>
                  <a:pt x="6026502" y="4743553"/>
                </a:cubicBezTo>
                <a:cubicBezTo>
                  <a:pt x="6026502" y="4742933"/>
                  <a:pt x="6027121" y="4742004"/>
                  <a:pt x="6028051" y="4740765"/>
                </a:cubicBezTo>
                <a:cubicBezTo>
                  <a:pt x="6029910" y="4739009"/>
                  <a:pt x="6030839" y="4737358"/>
                  <a:pt x="6031768" y="4737358"/>
                </a:cubicBezTo>
                <a:cubicBezTo>
                  <a:pt x="6031768" y="4736428"/>
                  <a:pt x="6032698" y="4735602"/>
                  <a:pt x="6032853" y="4734673"/>
                </a:cubicBezTo>
                <a:close/>
                <a:moveTo>
                  <a:pt x="1292880" y="4734655"/>
                </a:moveTo>
                <a:cubicBezTo>
                  <a:pt x="1293345" y="4735275"/>
                  <a:pt x="1293500" y="4736204"/>
                  <a:pt x="1293190" y="4737340"/>
                </a:cubicBezTo>
                <a:cubicBezTo>
                  <a:pt x="1292261" y="4737649"/>
                  <a:pt x="1291487" y="4737752"/>
                  <a:pt x="1290712" y="4737752"/>
                </a:cubicBezTo>
                <a:cubicBezTo>
                  <a:pt x="1289937" y="4737856"/>
                  <a:pt x="1289008" y="4737752"/>
                  <a:pt x="1287769" y="4737752"/>
                </a:cubicBezTo>
                <a:cubicBezTo>
                  <a:pt x="1287304" y="4734036"/>
                  <a:pt x="1291487" y="4732900"/>
                  <a:pt x="1292880" y="4734655"/>
                </a:cubicBezTo>
                <a:close/>
                <a:moveTo>
                  <a:pt x="642781" y="4734448"/>
                </a:moveTo>
                <a:cubicBezTo>
                  <a:pt x="646654" y="4734448"/>
                  <a:pt x="645569" y="4734036"/>
                  <a:pt x="649131" y="4735997"/>
                </a:cubicBezTo>
                <a:cubicBezTo>
                  <a:pt x="648047" y="4738269"/>
                  <a:pt x="647118" y="4740644"/>
                  <a:pt x="646188" y="4742915"/>
                </a:cubicBezTo>
                <a:cubicBezTo>
                  <a:pt x="644794" y="4741780"/>
                  <a:pt x="642781" y="4741780"/>
                  <a:pt x="641697" y="4741470"/>
                </a:cubicBezTo>
                <a:cubicBezTo>
                  <a:pt x="640767" y="4739095"/>
                  <a:pt x="641077" y="4737236"/>
                  <a:pt x="642781" y="4734448"/>
                </a:cubicBezTo>
                <a:close/>
                <a:moveTo>
                  <a:pt x="6264577" y="4734363"/>
                </a:moveTo>
                <a:cubicBezTo>
                  <a:pt x="6270773" y="4742417"/>
                  <a:pt x="6255439" y="4753878"/>
                  <a:pt x="6249552" y="4755427"/>
                </a:cubicBezTo>
                <a:cubicBezTo>
                  <a:pt x="6252650" y="4748612"/>
                  <a:pt x="6258072" y="4737564"/>
                  <a:pt x="6264577" y="4734363"/>
                </a:cubicBezTo>
                <a:close/>
                <a:moveTo>
                  <a:pt x="903471" y="4734345"/>
                </a:moveTo>
                <a:cubicBezTo>
                  <a:pt x="906104" y="4733003"/>
                  <a:pt x="910132" y="4741160"/>
                  <a:pt x="901922" y="4739611"/>
                </a:cubicBezTo>
                <a:cubicBezTo>
                  <a:pt x="902077" y="4736307"/>
                  <a:pt x="902697" y="4734758"/>
                  <a:pt x="903471" y="4734345"/>
                </a:cubicBezTo>
                <a:close/>
                <a:moveTo>
                  <a:pt x="1731857" y="4733622"/>
                </a:moveTo>
                <a:cubicBezTo>
                  <a:pt x="1732166" y="4735378"/>
                  <a:pt x="1731857" y="4736823"/>
                  <a:pt x="1731082" y="4737856"/>
                </a:cubicBezTo>
                <a:lnTo>
                  <a:pt x="1728294" y="4740850"/>
                </a:lnTo>
                <a:lnTo>
                  <a:pt x="1729223" y="4742296"/>
                </a:lnTo>
                <a:cubicBezTo>
                  <a:pt x="1729533" y="4743225"/>
                  <a:pt x="1729533" y="4744154"/>
                  <a:pt x="1729223" y="4745497"/>
                </a:cubicBezTo>
                <a:cubicBezTo>
                  <a:pt x="1728294" y="4744464"/>
                  <a:pt x="1727674" y="4743535"/>
                  <a:pt x="1727210" y="4742503"/>
                </a:cubicBezTo>
                <a:lnTo>
                  <a:pt x="1727210" y="4741676"/>
                </a:lnTo>
                <a:lnTo>
                  <a:pt x="1726435" y="4742399"/>
                </a:lnTo>
                <a:cubicBezTo>
                  <a:pt x="1726125" y="4743019"/>
                  <a:pt x="1725970" y="4743638"/>
                  <a:pt x="1725816" y="4744568"/>
                </a:cubicBezTo>
                <a:cubicBezTo>
                  <a:pt x="1725816" y="4744568"/>
                  <a:pt x="1725816" y="4744568"/>
                  <a:pt x="1723492" y="4745290"/>
                </a:cubicBezTo>
                <a:lnTo>
                  <a:pt x="1722873" y="4744774"/>
                </a:lnTo>
                <a:cubicBezTo>
                  <a:pt x="1722563" y="4744361"/>
                  <a:pt x="1722873" y="4743742"/>
                  <a:pt x="1723337" y="4742915"/>
                </a:cubicBezTo>
                <a:cubicBezTo>
                  <a:pt x="1724732" y="4740231"/>
                  <a:pt x="1728294" y="4736410"/>
                  <a:pt x="1728604" y="4735791"/>
                </a:cubicBezTo>
                <a:cubicBezTo>
                  <a:pt x="1728604" y="4735791"/>
                  <a:pt x="1729068" y="4735068"/>
                  <a:pt x="1729533" y="4734242"/>
                </a:cubicBezTo>
                <a:cubicBezTo>
                  <a:pt x="1730772" y="4733932"/>
                  <a:pt x="1731392" y="4734345"/>
                  <a:pt x="1731857" y="4733622"/>
                </a:cubicBezTo>
                <a:close/>
                <a:moveTo>
                  <a:pt x="1722563" y="4733416"/>
                </a:moveTo>
                <a:cubicBezTo>
                  <a:pt x="1723182" y="4733622"/>
                  <a:pt x="1723802" y="4734036"/>
                  <a:pt x="1724421" y="4734758"/>
                </a:cubicBezTo>
                <a:cubicBezTo>
                  <a:pt x="1724421" y="4734758"/>
                  <a:pt x="1724267" y="4734758"/>
                  <a:pt x="1724267" y="4735687"/>
                </a:cubicBezTo>
                <a:cubicBezTo>
                  <a:pt x="1724267" y="4737340"/>
                  <a:pt x="1724267" y="4738166"/>
                  <a:pt x="1724267" y="4739095"/>
                </a:cubicBezTo>
                <a:cubicBezTo>
                  <a:pt x="1723802" y="4739405"/>
                  <a:pt x="1723028" y="4739921"/>
                  <a:pt x="1722098" y="4740334"/>
                </a:cubicBezTo>
                <a:cubicBezTo>
                  <a:pt x="1721323" y="4740644"/>
                  <a:pt x="1720394" y="4740747"/>
                  <a:pt x="1719930" y="4740334"/>
                </a:cubicBezTo>
                <a:cubicBezTo>
                  <a:pt x="1718381" y="4738372"/>
                  <a:pt x="1717606" y="4735687"/>
                  <a:pt x="1718381" y="4734965"/>
                </a:cubicBezTo>
                <a:cubicBezTo>
                  <a:pt x="1719775" y="4733829"/>
                  <a:pt x="1721014" y="4732693"/>
                  <a:pt x="1722563" y="4733416"/>
                </a:cubicBezTo>
                <a:close/>
                <a:moveTo>
                  <a:pt x="1852831" y="4733209"/>
                </a:moveTo>
                <a:cubicBezTo>
                  <a:pt x="1853140" y="4734139"/>
                  <a:pt x="1854380" y="4735481"/>
                  <a:pt x="1853760" y="4736617"/>
                </a:cubicBezTo>
                <a:cubicBezTo>
                  <a:pt x="1853140" y="4737752"/>
                  <a:pt x="1853140" y="4737752"/>
                  <a:pt x="1851591" y="4738372"/>
                </a:cubicBezTo>
                <a:cubicBezTo>
                  <a:pt x="1851746" y="4735584"/>
                  <a:pt x="1851746" y="4735481"/>
                  <a:pt x="1852831" y="4733209"/>
                </a:cubicBezTo>
                <a:close/>
                <a:moveTo>
                  <a:pt x="1531885" y="4733106"/>
                </a:moveTo>
                <a:cubicBezTo>
                  <a:pt x="1534828" y="4735481"/>
                  <a:pt x="1532970" y="4737752"/>
                  <a:pt x="1530956" y="4739921"/>
                </a:cubicBezTo>
                <a:cubicBezTo>
                  <a:pt x="1529407" y="4738682"/>
                  <a:pt x="1527703" y="4739095"/>
                  <a:pt x="1526464" y="4736204"/>
                </a:cubicBezTo>
                <a:cubicBezTo>
                  <a:pt x="1528323" y="4734862"/>
                  <a:pt x="1530027" y="4734345"/>
                  <a:pt x="1531885" y="4733106"/>
                </a:cubicBezTo>
                <a:close/>
                <a:moveTo>
                  <a:pt x="775527" y="4733003"/>
                </a:moveTo>
                <a:cubicBezTo>
                  <a:pt x="775992" y="4732280"/>
                  <a:pt x="779090" y="4733209"/>
                  <a:pt x="779399" y="4734448"/>
                </a:cubicBezTo>
                <a:cubicBezTo>
                  <a:pt x="780483" y="4737236"/>
                  <a:pt x="777696" y="4738579"/>
                  <a:pt x="775062" y="4741160"/>
                </a:cubicBezTo>
                <a:cubicBezTo>
                  <a:pt x="774753" y="4739921"/>
                  <a:pt x="773668" y="4740334"/>
                  <a:pt x="772584" y="4740644"/>
                </a:cubicBezTo>
                <a:cubicBezTo>
                  <a:pt x="772274" y="4738785"/>
                  <a:pt x="771345" y="4736101"/>
                  <a:pt x="772893" y="4734345"/>
                </a:cubicBezTo>
                <a:cubicBezTo>
                  <a:pt x="773513" y="4733726"/>
                  <a:pt x="774288" y="4733313"/>
                  <a:pt x="775527" y="4733003"/>
                </a:cubicBezTo>
                <a:close/>
                <a:moveTo>
                  <a:pt x="1836567" y="4732280"/>
                </a:moveTo>
                <a:cubicBezTo>
                  <a:pt x="1835327" y="4738475"/>
                  <a:pt x="1835483" y="4755203"/>
                  <a:pt x="1825879" y="4754377"/>
                </a:cubicBezTo>
                <a:cubicBezTo>
                  <a:pt x="1827428" y="4748904"/>
                  <a:pt x="1829752" y="4731041"/>
                  <a:pt x="1836567" y="4732280"/>
                </a:cubicBezTo>
                <a:close/>
                <a:moveTo>
                  <a:pt x="1388761" y="4732074"/>
                </a:moveTo>
                <a:cubicBezTo>
                  <a:pt x="1390620" y="4732280"/>
                  <a:pt x="1391395" y="4731867"/>
                  <a:pt x="1392479" y="4732383"/>
                </a:cubicBezTo>
                <a:cubicBezTo>
                  <a:pt x="1392944" y="4732590"/>
                  <a:pt x="1393718" y="4733106"/>
                  <a:pt x="1394028" y="4733622"/>
                </a:cubicBezTo>
                <a:cubicBezTo>
                  <a:pt x="1394492" y="4734139"/>
                  <a:pt x="1394492" y="4734655"/>
                  <a:pt x="1394338" y="4735275"/>
                </a:cubicBezTo>
                <a:cubicBezTo>
                  <a:pt x="1393408" y="4735584"/>
                  <a:pt x="1393718" y="4736410"/>
                  <a:pt x="1392944" y="4736720"/>
                </a:cubicBezTo>
                <a:cubicBezTo>
                  <a:pt x="1392324" y="4737443"/>
                  <a:pt x="1391704" y="4737856"/>
                  <a:pt x="1391239" y="4738062"/>
                </a:cubicBezTo>
                <a:cubicBezTo>
                  <a:pt x="1390620" y="4738269"/>
                  <a:pt x="1390310" y="4738269"/>
                  <a:pt x="1389691" y="4738062"/>
                </a:cubicBezTo>
                <a:cubicBezTo>
                  <a:pt x="1388916" y="4738372"/>
                  <a:pt x="1388607" y="4737649"/>
                  <a:pt x="1387522" y="4737133"/>
                </a:cubicBezTo>
                <a:cubicBezTo>
                  <a:pt x="1387368" y="4736307"/>
                  <a:pt x="1387832" y="4735171"/>
                  <a:pt x="1387832" y="4735171"/>
                </a:cubicBezTo>
                <a:cubicBezTo>
                  <a:pt x="1388452" y="4734036"/>
                  <a:pt x="1388452" y="4734036"/>
                  <a:pt x="1387522" y="4733622"/>
                </a:cubicBezTo>
                <a:cubicBezTo>
                  <a:pt x="1387522" y="4733622"/>
                  <a:pt x="1388296" y="4733209"/>
                  <a:pt x="1388296" y="4733209"/>
                </a:cubicBezTo>
                <a:cubicBezTo>
                  <a:pt x="1388452" y="4734036"/>
                  <a:pt x="1388296" y="4733209"/>
                  <a:pt x="1388761" y="4732074"/>
                </a:cubicBezTo>
                <a:close/>
                <a:moveTo>
                  <a:pt x="1858562" y="4731247"/>
                </a:moveTo>
                <a:cubicBezTo>
                  <a:pt x="1865997" y="4730731"/>
                  <a:pt x="1871573" y="4741367"/>
                  <a:pt x="1871728" y="4747355"/>
                </a:cubicBezTo>
                <a:cubicBezTo>
                  <a:pt x="1869405" y="4750556"/>
                  <a:pt x="1866926" y="4751589"/>
                  <a:pt x="1864448" y="4751279"/>
                </a:cubicBezTo>
                <a:cubicBezTo>
                  <a:pt x="1857323" y="4750453"/>
                  <a:pt x="1851901" y="4737443"/>
                  <a:pt x="1858562" y="4731247"/>
                </a:cubicBezTo>
                <a:close/>
                <a:moveTo>
                  <a:pt x="950250" y="4731144"/>
                </a:moveTo>
                <a:cubicBezTo>
                  <a:pt x="950095" y="4733622"/>
                  <a:pt x="950870" y="4734448"/>
                  <a:pt x="949940" y="4734448"/>
                </a:cubicBezTo>
                <a:cubicBezTo>
                  <a:pt x="949940" y="4734862"/>
                  <a:pt x="949630" y="4735068"/>
                  <a:pt x="949475" y="4735068"/>
                </a:cubicBezTo>
                <a:cubicBezTo>
                  <a:pt x="949321" y="4735068"/>
                  <a:pt x="949166" y="4734862"/>
                  <a:pt x="949166" y="4734448"/>
                </a:cubicBezTo>
                <a:cubicBezTo>
                  <a:pt x="947617" y="4733622"/>
                  <a:pt x="949475" y="4731970"/>
                  <a:pt x="950250" y="4731144"/>
                </a:cubicBezTo>
                <a:close/>
                <a:moveTo>
                  <a:pt x="1852366" y="4730835"/>
                </a:moveTo>
                <a:cubicBezTo>
                  <a:pt x="1852985" y="4730628"/>
                  <a:pt x="1853296" y="4731557"/>
                  <a:pt x="1852831" y="4732693"/>
                </a:cubicBezTo>
                <a:cubicBezTo>
                  <a:pt x="1852831" y="4732693"/>
                  <a:pt x="1852057" y="4732900"/>
                  <a:pt x="1852057" y="4732900"/>
                </a:cubicBezTo>
                <a:cubicBezTo>
                  <a:pt x="1851901" y="4732074"/>
                  <a:pt x="1851591" y="4731144"/>
                  <a:pt x="1852366" y="4730835"/>
                </a:cubicBezTo>
                <a:close/>
                <a:moveTo>
                  <a:pt x="6393451" y="4730749"/>
                </a:moveTo>
                <a:cubicBezTo>
                  <a:pt x="6398563" y="4730130"/>
                  <a:pt x="6402900" y="4737151"/>
                  <a:pt x="6404759" y="4741591"/>
                </a:cubicBezTo>
                <a:cubicBezTo>
                  <a:pt x="6403209" y="4743243"/>
                  <a:pt x="6404139" y="4744999"/>
                  <a:pt x="6402590" y="4746650"/>
                </a:cubicBezTo>
                <a:cubicBezTo>
                  <a:pt x="6397323" y="4741281"/>
                  <a:pt x="6391283" y="4735809"/>
                  <a:pt x="6393451" y="4730749"/>
                </a:cubicBezTo>
                <a:close/>
                <a:moveTo>
                  <a:pt x="1037147" y="4730525"/>
                </a:moveTo>
                <a:cubicBezTo>
                  <a:pt x="1038851" y="4731454"/>
                  <a:pt x="1041329" y="4730628"/>
                  <a:pt x="1043033" y="4732486"/>
                </a:cubicBezTo>
                <a:cubicBezTo>
                  <a:pt x="1043033" y="4732486"/>
                  <a:pt x="1043962" y="4733416"/>
                  <a:pt x="1044117" y="4735171"/>
                </a:cubicBezTo>
                <a:cubicBezTo>
                  <a:pt x="1045821" y="4737856"/>
                  <a:pt x="1043497" y="4740334"/>
                  <a:pt x="1043497" y="4740334"/>
                </a:cubicBezTo>
                <a:cubicBezTo>
                  <a:pt x="1043497" y="4740334"/>
                  <a:pt x="1043497" y="4740334"/>
                  <a:pt x="1044272" y="4740334"/>
                </a:cubicBezTo>
                <a:cubicBezTo>
                  <a:pt x="1042568" y="4740231"/>
                  <a:pt x="1041019" y="4741057"/>
                  <a:pt x="1039316" y="4740953"/>
                </a:cubicBezTo>
                <a:lnTo>
                  <a:pt x="1038851" y="4740437"/>
                </a:lnTo>
                <a:lnTo>
                  <a:pt x="1039160" y="4741160"/>
                </a:lnTo>
                <a:cubicBezTo>
                  <a:pt x="1037457" y="4742812"/>
                  <a:pt x="1035752" y="4743845"/>
                  <a:pt x="1033739" y="4743948"/>
                </a:cubicBezTo>
                <a:cubicBezTo>
                  <a:pt x="1031725" y="4744051"/>
                  <a:pt x="1029712" y="4743329"/>
                  <a:pt x="1027543" y="4741470"/>
                </a:cubicBezTo>
                <a:cubicBezTo>
                  <a:pt x="1026614" y="4737236"/>
                  <a:pt x="1031416" y="4734862"/>
                  <a:pt x="1033739" y="4733209"/>
                </a:cubicBezTo>
                <a:lnTo>
                  <a:pt x="1034979" y="4734448"/>
                </a:lnTo>
                <a:lnTo>
                  <a:pt x="1035598" y="4732693"/>
                </a:lnTo>
                <a:cubicBezTo>
                  <a:pt x="1036062" y="4732074"/>
                  <a:pt x="1036528" y="4731351"/>
                  <a:pt x="1037147" y="4730525"/>
                </a:cubicBezTo>
                <a:close/>
                <a:moveTo>
                  <a:pt x="1509581" y="4730215"/>
                </a:moveTo>
                <a:cubicBezTo>
                  <a:pt x="1512524" y="4730318"/>
                  <a:pt x="1514382" y="4730215"/>
                  <a:pt x="1515621" y="4733622"/>
                </a:cubicBezTo>
                <a:cubicBezTo>
                  <a:pt x="1515311" y="4733829"/>
                  <a:pt x="1514537" y="4733726"/>
                  <a:pt x="1513763" y="4733622"/>
                </a:cubicBezTo>
                <a:cubicBezTo>
                  <a:pt x="1512989" y="4733519"/>
                  <a:pt x="1512059" y="4733313"/>
                  <a:pt x="1511594" y="4733106"/>
                </a:cubicBezTo>
                <a:cubicBezTo>
                  <a:pt x="1510819" y="4733519"/>
                  <a:pt x="1509735" y="4733313"/>
                  <a:pt x="1509271" y="4732590"/>
                </a:cubicBezTo>
                <a:cubicBezTo>
                  <a:pt x="1509271" y="4732590"/>
                  <a:pt x="1508032" y="4732280"/>
                  <a:pt x="1507412" y="4732693"/>
                </a:cubicBezTo>
                <a:cubicBezTo>
                  <a:pt x="1505089" y="4732074"/>
                  <a:pt x="1504624" y="4731454"/>
                  <a:pt x="1504159" y="4730628"/>
                </a:cubicBezTo>
                <a:cubicBezTo>
                  <a:pt x="1504159" y="4730628"/>
                  <a:pt x="1505243" y="4730938"/>
                  <a:pt x="1505863" y="4730525"/>
                </a:cubicBezTo>
                <a:cubicBezTo>
                  <a:pt x="1505863" y="4730525"/>
                  <a:pt x="1507102" y="4730731"/>
                  <a:pt x="1508186" y="4731041"/>
                </a:cubicBezTo>
                <a:cubicBezTo>
                  <a:pt x="1508186" y="4731041"/>
                  <a:pt x="1508961" y="4730628"/>
                  <a:pt x="1509581" y="4730215"/>
                </a:cubicBezTo>
                <a:close/>
                <a:moveTo>
                  <a:pt x="6275265" y="4729304"/>
                </a:moveTo>
                <a:cubicBezTo>
                  <a:pt x="6277124" y="4728477"/>
                  <a:pt x="6279912" y="4726722"/>
                  <a:pt x="6283010" y="4729407"/>
                </a:cubicBezTo>
                <a:cubicBezTo>
                  <a:pt x="6283784" y="4730336"/>
                  <a:pt x="6283784" y="4730336"/>
                  <a:pt x="6283784" y="4731162"/>
                </a:cubicBezTo>
                <a:cubicBezTo>
                  <a:pt x="6284404" y="4732917"/>
                  <a:pt x="6285179" y="4733847"/>
                  <a:pt x="6284094" y="4735602"/>
                </a:cubicBezTo>
                <a:cubicBezTo>
                  <a:pt x="6283165" y="4736841"/>
                  <a:pt x="6282236" y="4737358"/>
                  <a:pt x="6281306" y="4737151"/>
                </a:cubicBezTo>
                <a:cubicBezTo>
                  <a:pt x="6280377" y="4737048"/>
                  <a:pt x="6279293" y="4736428"/>
                  <a:pt x="6278208" y="4735499"/>
                </a:cubicBezTo>
                <a:cubicBezTo>
                  <a:pt x="6276969" y="4734570"/>
                  <a:pt x="6276659" y="4733537"/>
                  <a:pt x="6276350" y="4732401"/>
                </a:cubicBezTo>
                <a:cubicBezTo>
                  <a:pt x="6276195" y="4731265"/>
                  <a:pt x="6276040" y="4730233"/>
                  <a:pt x="6275265" y="4729304"/>
                </a:cubicBezTo>
                <a:close/>
                <a:moveTo>
                  <a:pt x="962951" y="4728356"/>
                </a:moveTo>
                <a:cubicBezTo>
                  <a:pt x="964345" y="4729182"/>
                  <a:pt x="966205" y="4729285"/>
                  <a:pt x="966979" y="4730938"/>
                </a:cubicBezTo>
                <a:cubicBezTo>
                  <a:pt x="967444" y="4733313"/>
                  <a:pt x="964345" y="4736617"/>
                  <a:pt x="962642" y="4737752"/>
                </a:cubicBezTo>
                <a:cubicBezTo>
                  <a:pt x="960318" y="4738372"/>
                  <a:pt x="958770" y="4736307"/>
                  <a:pt x="958459" y="4733932"/>
                </a:cubicBezTo>
                <a:cubicBezTo>
                  <a:pt x="957995" y="4733106"/>
                  <a:pt x="958149" y="4732177"/>
                  <a:pt x="958615" y="4731247"/>
                </a:cubicBezTo>
                <a:cubicBezTo>
                  <a:pt x="959079" y="4730318"/>
                  <a:pt x="959854" y="4729492"/>
                  <a:pt x="960628" y="4728976"/>
                </a:cubicBezTo>
                <a:cubicBezTo>
                  <a:pt x="961867" y="4728666"/>
                  <a:pt x="961867" y="4728666"/>
                  <a:pt x="962951" y="4728356"/>
                </a:cubicBezTo>
                <a:close/>
                <a:moveTo>
                  <a:pt x="6056861" y="4728065"/>
                </a:moveTo>
                <a:cubicBezTo>
                  <a:pt x="6056861" y="4728065"/>
                  <a:pt x="6057016" y="4729200"/>
                  <a:pt x="6057636" y="4729613"/>
                </a:cubicBezTo>
                <a:cubicBezTo>
                  <a:pt x="6057636" y="4729613"/>
                  <a:pt x="6057946" y="4730852"/>
                  <a:pt x="6058100" y="4731988"/>
                </a:cubicBezTo>
                <a:cubicBezTo>
                  <a:pt x="6058100" y="4731988"/>
                  <a:pt x="6058720" y="4732401"/>
                  <a:pt x="6059495" y="4732917"/>
                </a:cubicBezTo>
                <a:cubicBezTo>
                  <a:pt x="6060579" y="4735602"/>
                  <a:pt x="6061508" y="4737254"/>
                  <a:pt x="6058875" y="4739732"/>
                </a:cubicBezTo>
                <a:cubicBezTo>
                  <a:pt x="6058565" y="4739526"/>
                  <a:pt x="6058256" y="4738906"/>
                  <a:pt x="6057946" y="4738080"/>
                </a:cubicBezTo>
                <a:cubicBezTo>
                  <a:pt x="6057791" y="4737358"/>
                  <a:pt x="6057636" y="4736428"/>
                  <a:pt x="6057636" y="4735809"/>
                </a:cubicBezTo>
                <a:cubicBezTo>
                  <a:pt x="6056861" y="4735396"/>
                  <a:pt x="6056707" y="4734157"/>
                  <a:pt x="6057171" y="4733434"/>
                </a:cubicBezTo>
                <a:cubicBezTo>
                  <a:pt x="6057171" y="4733434"/>
                  <a:pt x="6057016" y="4732298"/>
                  <a:pt x="6056242" y="4731885"/>
                </a:cubicBezTo>
                <a:cubicBezTo>
                  <a:pt x="6055932" y="4729510"/>
                  <a:pt x="6056397" y="4728787"/>
                  <a:pt x="6056861" y="4728065"/>
                </a:cubicBezTo>
                <a:close/>
                <a:moveTo>
                  <a:pt x="1270421" y="4727943"/>
                </a:moveTo>
                <a:cubicBezTo>
                  <a:pt x="1270421" y="4728356"/>
                  <a:pt x="1269956" y="4728976"/>
                  <a:pt x="1269336" y="4729595"/>
                </a:cubicBezTo>
                <a:lnTo>
                  <a:pt x="1268717" y="4730318"/>
                </a:lnTo>
                <a:lnTo>
                  <a:pt x="1267787" y="4733622"/>
                </a:lnTo>
                <a:cubicBezTo>
                  <a:pt x="1266858" y="4742709"/>
                  <a:pt x="1275687" y="4750040"/>
                  <a:pt x="1269801" y="4757371"/>
                </a:cubicBezTo>
                <a:cubicBezTo>
                  <a:pt x="1267478" y="4753964"/>
                  <a:pt x="1265000" y="4750763"/>
                  <a:pt x="1263141" y="4746942"/>
                </a:cubicBezTo>
                <a:cubicBezTo>
                  <a:pt x="1261281" y="4743122"/>
                  <a:pt x="1260197" y="4738579"/>
                  <a:pt x="1260817" y="4732486"/>
                </a:cubicBezTo>
                <a:cubicBezTo>
                  <a:pt x="1262056" y="4731867"/>
                  <a:pt x="1263295" y="4730525"/>
                  <a:pt x="1264534" y="4729595"/>
                </a:cubicBezTo>
                <a:lnTo>
                  <a:pt x="1266393" y="4728976"/>
                </a:lnTo>
                <a:lnTo>
                  <a:pt x="1266858" y="4728253"/>
                </a:lnTo>
                <a:cubicBezTo>
                  <a:pt x="1267787" y="4727634"/>
                  <a:pt x="1268872" y="4727427"/>
                  <a:pt x="1270421" y="4727943"/>
                </a:cubicBezTo>
                <a:close/>
                <a:moveTo>
                  <a:pt x="1851281" y="4726704"/>
                </a:moveTo>
                <a:cubicBezTo>
                  <a:pt x="1851281" y="4726704"/>
                  <a:pt x="1852211" y="4727324"/>
                  <a:pt x="1852211" y="4727324"/>
                </a:cubicBezTo>
                <a:cubicBezTo>
                  <a:pt x="1851746" y="4728460"/>
                  <a:pt x="1852366" y="4728253"/>
                  <a:pt x="1850972" y="4728769"/>
                </a:cubicBezTo>
                <a:cubicBezTo>
                  <a:pt x="1851436" y="4727530"/>
                  <a:pt x="1851436" y="4727530"/>
                  <a:pt x="1851281" y="4726704"/>
                </a:cubicBezTo>
                <a:close/>
                <a:moveTo>
                  <a:pt x="6565076" y="4726619"/>
                </a:moveTo>
                <a:cubicBezTo>
                  <a:pt x="6567245" y="4733227"/>
                  <a:pt x="6568793" y="4737667"/>
                  <a:pt x="6568948" y="4741384"/>
                </a:cubicBezTo>
                <a:cubicBezTo>
                  <a:pt x="6567864" y="4742004"/>
                  <a:pt x="6566935" y="4742417"/>
                  <a:pt x="6566005" y="4742520"/>
                </a:cubicBezTo>
                <a:cubicBezTo>
                  <a:pt x="6565076" y="4742727"/>
                  <a:pt x="6564301" y="4742624"/>
                  <a:pt x="6563372" y="4742520"/>
                </a:cubicBezTo>
                <a:cubicBezTo>
                  <a:pt x="6558415" y="4741384"/>
                  <a:pt x="6555317" y="4734466"/>
                  <a:pt x="6557951" y="4730130"/>
                </a:cubicBezTo>
                <a:cubicBezTo>
                  <a:pt x="6559035" y="4728271"/>
                  <a:pt x="6561358" y="4726825"/>
                  <a:pt x="6565076" y="4726619"/>
                </a:cubicBezTo>
                <a:close/>
                <a:moveTo>
                  <a:pt x="1144025" y="4725672"/>
                </a:moveTo>
                <a:cubicBezTo>
                  <a:pt x="1147588" y="4724329"/>
                  <a:pt x="1150376" y="4724742"/>
                  <a:pt x="1152390" y="4725981"/>
                </a:cubicBezTo>
                <a:cubicBezTo>
                  <a:pt x="1153784" y="4726911"/>
                  <a:pt x="1154868" y="4728356"/>
                  <a:pt x="1155487" y="4730112"/>
                </a:cubicBezTo>
                <a:lnTo>
                  <a:pt x="1155798" y="4731867"/>
                </a:lnTo>
                <a:lnTo>
                  <a:pt x="1155798" y="4731764"/>
                </a:lnTo>
                <a:cubicBezTo>
                  <a:pt x="1158741" y="4731041"/>
                  <a:pt x="1162767" y="4732796"/>
                  <a:pt x="1164317" y="4737443"/>
                </a:cubicBezTo>
                <a:cubicBezTo>
                  <a:pt x="1162767" y="4740644"/>
                  <a:pt x="1160754" y="4742089"/>
                  <a:pt x="1159360" y="4743432"/>
                </a:cubicBezTo>
                <a:lnTo>
                  <a:pt x="1153938" y="4740747"/>
                </a:lnTo>
                <a:lnTo>
                  <a:pt x="1149137" y="4743638"/>
                </a:lnTo>
                <a:cubicBezTo>
                  <a:pt x="1143560" y="4740953"/>
                  <a:pt x="1141702" y="4730008"/>
                  <a:pt x="1144025" y="4725672"/>
                </a:cubicBezTo>
                <a:close/>
                <a:moveTo>
                  <a:pt x="6576848" y="4725380"/>
                </a:moveTo>
                <a:cubicBezTo>
                  <a:pt x="6580566" y="4729923"/>
                  <a:pt x="6584748" y="4729304"/>
                  <a:pt x="6584128" y="4733640"/>
                </a:cubicBezTo>
                <a:cubicBezTo>
                  <a:pt x="6580721" y="4734363"/>
                  <a:pt x="6576229" y="4728891"/>
                  <a:pt x="6576848" y="4725380"/>
                </a:cubicBezTo>
                <a:close/>
                <a:moveTo>
                  <a:pt x="6371611" y="4724657"/>
                </a:moveTo>
                <a:cubicBezTo>
                  <a:pt x="6372385" y="4728271"/>
                  <a:pt x="6368358" y="4737358"/>
                  <a:pt x="6361387" y="4737151"/>
                </a:cubicBezTo>
                <a:cubicBezTo>
                  <a:pt x="6361233" y="4728581"/>
                  <a:pt x="6366654" y="4726929"/>
                  <a:pt x="6371611" y="4724657"/>
                </a:cubicBezTo>
                <a:close/>
                <a:moveTo>
                  <a:pt x="6342026" y="4724450"/>
                </a:moveTo>
                <a:cubicBezTo>
                  <a:pt x="6346518" y="4728168"/>
                  <a:pt x="6347602" y="4732814"/>
                  <a:pt x="6348686" y="4737564"/>
                </a:cubicBezTo>
                <a:cubicBezTo>
                  <a:pt x="6347137" y="4739836"/>
                  <a:pt x="6345743" y="4740765"/>
                  <a:pt x="6344504" y="4740765"/>
                </a:cubicBezTo>
                <a:cubicBezTo>
                  <a:pt x="6340786" y="4740971"/>
                  <a:pt x="6338153" y="4733021"/>
                  <a:pt x="6335520" y="4729097"/>
                </a:cubicBezTo>
                <a:cubicBezTo>
                  <a:pt x="6337533" y="4726103"/>
                  <a:pt x="6338463" y="4725380"/>
                  <a:pt x="6342026" y="4724450"/>
                </a:cubicBezTo>
                <a:close/>
                <a:moveTo>
                  <a:pt x="1810079" y="4724019"/>
                </a:moveTo>
                <a:cubicBezTo>
                  <a:pt x="1810079" y="4727117"/>
                  <a:pt x="1802799" y="4730938"/>
                  <a:pt x="1799392" y="4731867"/>
                </a:cubicBezTo>
                <a:cubicBezTo>
                  <a:pt x="1799392" y="4731041"/>
                  <a:pt x="1799856" y="4730215"/>
                  <a:pt x="1800631" y="4729492"/>
                </a:cubicBezTo>
                <a:cubicBezTo>
                  <a:pt x="1802799" y="4727014"/>
                  <a:pt x="1807601" y="4724742"/>
                  <a:pt x="1810079" y="4724019"/>
                </a:cubicBezTo>
                <a:close/>
                <a:moveTo>
                  <a:pt x="1078195" y="4724019"/>
                </a:moveTo>
                <a:cubicBezTo>
                  <a:pt x="1079898" y="4725981"/>
                  <a:pt x="1080518" y="4727737"/>
                  <a:pt x="1079898" y="4729595"/>
                </a:cubicBezTo>
                <a:cubicBezTo>
                  <a:pt x="1079433" y="4731454"/>
                  <a:pt x="1077885" y="4733209"/>
                  <a:pt x="1075406" y="4735275"/>
                </a:cubicBezTo>
                <a:cubicBezTo>
                  <a:pt x="1074322" y="4734242"/>
                  <a:pt x="1073857" y="4733416"/>
                  <a:pt x="1073702" y="4732486"/>
                </a:cubicBezTo>
                <a:cubicBezTo>
                  <a:pt x="1073238" y="4729699"/>
                  <a:pt x="1076335" y="4727220"/>
                  <a:pt x="1078195" y="4724019"/>
                </a:cubicBezTo>
                <a:close/>
                <a:moveTo>
                  <a:pt x="6019841" y="4723211"/>
                </a:moveTo>
                <a:lnTo>
                  <a:pt x="6020461" y="4724657"/>
                </a:lnTo>
                <a:lnTo>
                  <a:pt x="6023713" y="4725070"/>
                </a:lnTo>
                <a:cubicBezTo>
                  <a:pt x="6025417" y="4724244"/>
                  <a:pt x="6026502" y="4722489"/>
                  <a:pt x="6028051" y="4723418"/>
                </a:cubicBezTo>
                <a:cubicBezTo>
                  <a:pt x="6025417" y="4725070"/>
                  <a:pt x="6024488" y="4725896"/>
                  <a:pt x="6022629" y="4726722"/>
                </a:cubicBezTo>
                <a:lnTo>
                  <a:pt x="6022165" y="4727858"/>
                </a:lnTo>
                <a:lnTo>
                  <a:pt x="6022320" y="4728065"/>
                </a:lnTo>
                <a:lnTo>
                  <a:pt x="6022010" y="4728374"/>
                </a:lnTo>
                <a:lnTo>
                  <a:pt x="6021545" y="4729304"/>
                </a:lnTo>
                <a:lnTo>
                  <a:pt x="6021235" y="4729407"/>
                </a:lnTo>
                <a:lnTo>
                  <a:pt x="6020151" y="4731472"/>
                </a:lnTo>
                <a:cubicBezTo>
                  <a:pt x="6019222" y="4733434"/>
                  <a:pt x="6018602" y="4735292"/>
                  <a:pt x="6018602" y="4735292"/>
                </a:cubicBezTo>
                <a:cubicBezTo>
                  <a:pt x="6017363" y="4735705"/>
                  <a:pt x="6016743" y="4735809"/>
                  <a:pt x="6016434" y="4735602"/>
                </a:cubicBezTo>
                <a:cubicBezTo>
                  <a:pt x="6015969" y="4735292"/>
                  <a:pt x="6015814" y="4734570"/>
                  <a:pt x="6015194" y="4733227"/>
                </a:cubicBezTo>
                <a:lnTo>
                  <a:pt x="6015969" y="4729923"/>
                </a:lnTo>
                <a:lnTo>
                  <a:pt x="6015504" y="4729097"/>
                </a:lnTo>
                <a:cubicBezTo>
                  <a:pt x="6015504" y="4728271"/>
                  <a:pt x="6015814" y="4727445"/>
                  <a:pt x="6016743" y="4726619"/>
                </a:cubicBezTo>
                <a:lnTo>
                  <a:pt x="6017673" y="4725999"/>
                </a:lnTo>
                <a:close/>
                <a:moveTo>
                  <a:pt x="1744558" y="4722884"/>
                </a:moveTo>
                <a:cubicBezTo>
                  <a:pt x="1747656" y="4722987"/>
                  <a:pt x="1749515" y="4722780"/>
                  <a:pt x="1750289" y="4726085"/>
                </a:cubicBezTo>
                <a:cubicBezTo>
                  <a:pt x="1749825" y="4726291"/>
                  <a:pt x="1749050" y="4726291"/>
                  <a:pt x="1748276" y="4726188"/>
                </a:cubicBezTo>
                <a:cubicBezTo>
                  <a:pt x="1747501" y="4726085"/>
                  <a:pt x="1746727" y="4725878"/>
                  <a:pt x="1746107" y="4725775"/>
                </a:cubicBezTo>
                <a:cubicBezTo>
                  <a:pt x="1745332" y="4726188"/>
                  <a:pt x="1744249" y="4725981"/>
                  <a:pt x="1743938" y="4725259"/>
                </a:cubicBezTo>
                <a:cubicBezTo>
                  <a:pt x="1743938" y="4725259"/>
                  <a:pt x="1742855" y="4724949"/>
                  <a:pt x="1742080" y="4725465"/>
                </a:cubicBezTo>
                <a:cubicBezTo>
                  <a:pt x="1739756" y="4724949"/>
                  <a:pt x="1739446" y="4724123"/>
                  <a:pt x="1739137" y="4723400"/>
                </a:cubicBezTo>
                <a:cubicBezTo>
                  <a:pt x="1739137" y="4723400"/>
                  <a:pt x="1740222" y="4723710"/>
                  <a:pt x="1740996" y="4723297"/>
                </a:cubicBezTo>
                <a:cubicBezTo>
                  <a:pt x="1740996" y="4723297"/>
                  <a:pt x="1742080" y="4723503"/>
                  <a:pt x="1743164" y="4723813"/>
                </a:cubicBezTo>
                <a:cubicBezTo>
                  <a:pt x="1743164" y="4723813"/>
                  <a:pt x="1743938" y="4723297"/>
                  <a:pt x="1744558" y="4722884"/>
                </a:cubicBezTo>
                <a:close/>
                <a:moveTo>
                  <a:pt x="1418502" y="4721541"/>
                </a:moveTo>
                <a:cubicBezTo>
                  <a:pt x="1421290" y="4720509"/>
                  <a:pt x="1426711" y="4723194"/>
                  <a:pt x="1427021" y="4726498"/>
                </a:cubicBezTo>
                <a:cubicBezTo>
                  <a:pt x="1427176" y="4727634"/>
                  <a:pt x="1426866" y="4728873"/>
                  <a:pt x="1425627" y="4730112"/>
                </a:cubicBezTo>
                <a:cubicBezTo>
                  <a:pt x="1424542" y="4730835"/>
                  <a:pt x="1423613" y="4731247"/>
                  <a:pt x="1422838" y="4731351"/>
                </a:cubicBezTo>
                <a:cubicBezTo>
                  <a:pt x="1420205" y="4731764"/>
                  <a:pt x="1418036" y="4729389"/>
                  <a:pt x="1416023" y="4726601"/>
                </a:cubicBezTo>
                <a:cubicBezTo>
                  <a:pt x="1417108" y="4724949"/>
                  <a:pt x="1417417" y="4723194"/>
                  <a:pt x="1418502" y="4721541"/>
                </a:cubicBezTo>
                <a:close/>
                <a:moveTo>
                  <a:pt x="1025529" y="4721232"/>
                </a:moveTo>
                <a:cubicBezTo>
                  <a:pt x="1025839" y="4722574"/>
                  <a:pt x="1022587" y="4727014"/>
                  <a:pt x="1019953" y="4727634"/>
                </a:cubicBezTo>
                <a:cubicBezTo>
                  <a:pt x="1019179" y="4727840"/>
                  <a:pt x="1018404" y="4727634"/>
                  <a:pt x="1017939" y="4726704"/>
                </a:cubicBezTo>
                <a:cubicBezTo>
                  <a:pt x="1016855" y="4723090"/>
                  <a:pt x="1023981" y="4720199"/>
                  <a:pt x="1025529" y="4721232"/>
                </a:cubicBezTo>
                <a:close/>
                <a:moveTo>
                  <a:pt x="6357670" y="4720837"/>
                </a:moveTo>
                <a:cubicBezTo>
                  <a:pt x="6360768" y="4720940"/>
                  <a:pt x="6360768" y="4724141"/>
                  <a:pt x="6362162" y="4727548"/>
                </a:cubicBezTo>
                <a:cubicBezTo>
                  <a:pt x="6360923" y="4727238"/>
                  <a:pt x="6360768" y="4728374"/>
                  <a:pt x="6360613" y="4729613"/>
                </a:cubicBezTo>
                <a:cubicBezTo>
                  <a:pt x="6358754" y="4729097"/>
                  <a:pt x="6355966" y="4728787"/>
                  <a:pt x="6355037" y="4726619"/>
                </a:cubicBezTo>
                <a:cubicBezTo>
                  <a:pt x="6354727" y="4725896"/>
                  <a:pt x="6354572" y="4724967"/>
                  <a:pt x="6354882" y="4723728"/>
                </a:cubicBezTo>
                <a:cubicBezTo>
                  <a:pt x="6354262" y="4723005"/>
                  <a:pt x="6356586" y="4720527"/>
                  <a:pt x="6357670" y="4720837"/>
                </a:cubicBezTo>
                <a:close/>
                <a:moveTo>
                  <a:pt x="1584860" y="4720818"/>
                </a:moveTo>
                <a:cubicBezTo>
                  <a:pt x="1593844" y="4722780"/>
                  <a:pt x="1593534" y="4731351"/>
                  <a:pt x="1594929" y="4732486"/>
                </a:cubicBezTo>
                <a:cubicBezTo>
                  <a:pt x="1593844" y="4735068"/>
                  <a:pt x="1593534" y="4735791"/>
                  <a:pt x="1590901" y="4735275"/>
                </a:cubicBezTo>
                <a:lnTo>
                  <a:pt x="1588268" y="4734655"/>
                </a:lnTo>
                <a:lnTo>
                  <a:pt x="1587029" y="4736617"/>
                </a:lnTo>
                <a:cubicBezTo>
                  <a:pt x="1585944" y="4736204"/>
                  <a:pt x="1584860" y="4735791"/>
                  <a:pt x="1583776" y="4735378"/>
                </a:cubicBezTo>
                <a:lnTo>
                  <a:pt x="1584240" y="4731351"/>
                </a:lnTo>
                <a:lnTo>
                  <a:pt x="1583466" y="4728976"/>
                </a:lnTo>
                <a:cubicBezTo>
                  <a:pt x="1582072" y="4727840"/>
                  <a:pt x="1581143" y="4725465"/>
                  <a:pt x="1581297" y="4723607"/>
                </a:cubicBezTo>
                <a:cubicBezTo>
                  <a:pt x="1582227" y="4721232"/>
                  <a:pt x="1583776" y="4720509"/>
                  <a:pt x="1584860" y="4720818"/>
                </a:cubicBezTo>
                <a:close/>
                <a:moveTo>
                  <a:pt x="1254582" y="4720741"/>
                </a:moveTo>
                <a:cubicBezTo>
                  <a:pt x="1258145" y="4721180"/>
                  <a:pt x="1261592" y="4722832"/>
                  <a:pt x="1265000" y="4724433"/>
                </a:cubicBezTo>
                <a:cubicBezTo>
                  <a:pt x="1262831" y="4728356"/>
                  <a:pt x="1258803" y="4729285"/>
                  <a:pt x="1254776" y="4728769"/>
                </a:cubicBezTo>
                <a:cubicBezTo>
                  <a:pt x="1250749" y="4728356"/>
                  <a:pt x="1246412" y="4726395"/>
                  <a:pt x="1243469" y="4724329"/>
                </a:cubicBezTo>
                <a:cubicBezTo>
                  <a:pt x="1247341" y="4721077"/>
                  <a:pt x="1251020" y="4720302"/>
                  <a:pt x="1254582" y="4720741"/>
                </a:cubicBezTo>
                <a:close/>
                <a:moveTo>
                  <a:pt x="686307" y="4719889"/>
                </a:moveTo>
                <a:cubicBezTo>
                  <a:pt x="690024" y="4719167"/>
                  <a:pt x="691108" y="4719373"/>
                  <a:pt x="694671" y="4721025"/>
                </a:cubicBezTo>
                <a:cubicBezTo>
                  <a:pt x="695910" y="4726808"/>
                  <a:pt x="693897" y="4730731"/>
                  <a:pt x="691728" y="4734758"/>
                </a:cubicBezTo>
                <a:cubicBezTo>
                  <a:pt x="690489" y="4734965"/>
                  <a:pt x="689250" y="4735068"/>
                  <a:pt x="688321" y="4734965"/>
                </a:cubicBezTo>
                <a:cubicBezTo>
                  <a:pt x="681970" y="4734242"/>
                  <a:pt x="685997" y="4725155"/>
                  <a:pt x="686307" y="4719889"/>
                </a:cubicBezTo>
                <a:close/>
                <a:moveTo>
                  <a:pt x="6551600" y="4719494"/>
                </a:moveTo>
                <a:cubicBezTo>
                  <a:pt x="6551445" y="4724864"/>
                  <a:pt x="6551290" y="4732814"/>
                  <a:pt x="6548967" y="4739836"/>
                </a:cubicBezTo>
                <a:cubicBezTo>
                  <a:pt x="6546489" y="4746857"/>
                  <a:pt x="6541842" y="4753052"/>
                  <a:pt x="6532703" y="4754601"/>
                </a:cubicBezTo>
                <a:cubicBezTo>
                  <a:pt x="6531928" y="4751710"/>
                  <a:pt x="6532238" y="4748303"/>
                  <a:pt x="6533322" y="4744689"/>
                </a:cubicBezTo>
                <a:lnTo>
                  <a:pt x="6535955" y="4738080"/>
                </a:lnTo>
                <a:lnTo>
                  <a:pt x="6537040" y="4736428"/>
                </a:lnTo>
                <a:lnTo>
                  <a:pt x="6537040" y="4735705"/>
                </a:lnTo>
                <a:lnTo>
                  <a:pt x="6541377" y="4728891"/>
                </a:lnTo>
                <a:cubicBezTo>
                  <a:pt x="6544785" y="4724244"/>
                  <a:pt x="6548502" y="4720630"/>
                  <a:pt x="6551600" y="4719494"/>
                </a:cubicBezTo>
                <a:close/>
                <a:moveTo>
                  <a:pt x="1579129" y="4719476"/>
                </a:moveTo>
                <a:cubicBezTo>
                  <a:pt x="1580833" y="4721232"/>
                  <a:pt x="1582537" y="4723090"/>
                  <a:pt x="1580987" y="4724639"/>
                </a:cubicBezTo>
                <a:cubicBezTo>
                  <a:pt x="1579284" y="4723710"/>
                  <a:pt x="1578509" y="4724536"/>
                  <a:pt x="1576806" y="4721954"/>
                </a:cubicBezTo>
                <a:cubicBezTo>
                  <a:pt x="1577580" y="4721128"/>
                  <a:pt x="1578354" y="4720302"/>
                  <a:pt x="1579129" y="4719476"/>
                </a:cubicBezTo>
                <a:close/>
                <a:moveTo>
                  <a:pt x="5943167" y="4719288"/>
                </a:moveTo>
                <a:cubicBezTo>
                  <a:pt x="5945801" y="4717636"/>
                  <a:pt x="5951997" y="4722075"/>
                  <a:pt x="5954165" y="4724657"/>
                </a:cubicBezTo>
                <a:cubicBezTo>
                  <a:pt x="5953545" y="4725070"/>
                  <a:pt x="5952616" y="4725070"/>
                  <a:pt x="5951687" y="4724864"/>
                </a:cubicBezTo>
                <a:cubicBezTo>
                  <a:pt x="5948744" y="4724244"/>
                  <a:pt x="5944871" y="4721249"/>
                  <a:pt x="5943167" y="4719288"/>
                </a:cubicBezTo>
                <a:close/>
                <a:moveTo>
                  <a:pt x="6594506" y="4718152"/>
                </a:moveTo>
                <a:cubicBezTo>
                  <a:pt x="6598069" y="4723418"/>
                  <a:pt x="6602251" y="4723521"/>
                  <a:pt x="6603180" y="4728994"/>
                </a:cubicBezTo>
                <a:cubicBezTo>
                  <a:pt x="6601941" y="4730646"/>
                  <a:pt x="6600392" y="4731575"/>
                  <a:pt x="6598689" y="4731781"/>
                </a:cubicBezTo>
                <a:cubicBezTo>
                  <a:pt x="6594042" y="4732504"/>
                  <a:pt x="6589240" y="4727755"/>
                  <a:pt x="6589859" y="4723314"/>
                </a:cubicBezTo>
                <a:cubicBezTo>
                  <a:pt x="6590169" y="4721353"/>
                  <a:pt x="6591563" y="4719494"/>
                  <a:pt x="6594506" y="4718152"/>
                </a:cubicBezTo>
                <a:close/>
                <a:moveTo>
                  <a:pt x="6087531" y="4717636"/>
                </a:moveTo>
                <a:cubicBezTo>
                  <a:pt x="6087531" y="4717636"/>
                  <a:pt x="6087841" y="4718875"/>
                  <a:pt x="6087996" y="4720114"/>
                </a:cubicBezTo>
                <a:cubicBezTo>
                  <a:pt x="6088305" y="4721353"/>
                  <a:pt x="6088150" y="4721353"/>
                  <a:pt x="6089390" y="4721043"/>
                </a:cubicBezTo>
                <a:cubicBezTo>
                  <a:pt x="6089545" y="4722179"/>
                  <a:pt x="6089545" y="4722282"/>
                  <a:pt x="6088615" y="4723728"/>
                </a:cubicBezTo>
                <a:cubicBezTo>
                  <a:pt x="6088460" y="4722592"/>
                  <a:pt x="6086446" y="4717945"/>
                  <a:pt x="6087531" y="4717636"/>
                </a:cubicBezTo>
                <a:close/>
                <a:moveTo>
                  <a:pt x="6523409" y="4717429"/>
                </a:moveTo>
                <a:cubicBezTo>
                  <a:pt x="6530844" y="4716500"/>
                  <a:pt x="6535955" y="4722798"/>
                  <a:pt x="6537195" y="4729613"/>
                </a:cubicBezTo>
                <a:lnTo>
                  <a:pt x="6537040" y="4735705"/>
                </a:lnTo>
                <a:lnTo>
                  <a:pt x="6536575" y="4736532"/>
                </a:lnTo>
                <a:lnTo>
                  <a:pt x="6535955" y="4738080"/>
                </a:lnTo>
                <a:lnTo>
                  <a:pt x="6532238" y="4743553"/>
                </a:lnTo>
                <a:cubicBezTo>
                  <a:pt x="6522479" y="4744689"/>
                  <a:pt x="6518297" y="4733743"/>
                  <a:pt x="6519846" y="4724967"/>
                </a:cubicBezTo>
                <a:cubicBezTo>
                  <a:pt x="6520466" y="4721972"/>
                  <a:pt x="6521705" y="4719391"/>
                  <a:pt x="6523409" y="4717429"/>
                </a:cubicBezTo>
                <a:close/>
                <a:moveTo>
                  <a:pt x="762825" y="4717411"/>
                </a:moveTo>
                <a:cubicBezTo>
                  <a:pt x="766389" y="4718134"/>
                  <a:pt x="767472" y="4718753"/>
                  <a:pt x="769796" y="4721541"/>
                </a:cubicBezTo>
                <a:cubicBezTo>
                  <a:pt x="768247" y="4727220"/>
                  <a:pt x="764374" y="4730008"/>
                  <a:pt x="760502" y="4732900"/>
                </a:cubicBezTo>
                <a:cubicBezTo>
                  <a:pt x="757714" y="4732486"/>
                  <a:pt x="756320" y="4731557"/>
                  <a:pt x="755701" y="4730421"/>
                </a:cubicBezTo>
                <a:cubicBezTo>
                  <a:pt x="753996" y="4727014"/>
                  <a:pt x="760192" y="4721438"/>
                  <a:pt x="762825" y="4717411"/>
                </a:cubicBezTo>
                <a:close/>
                <a:moveTo>
                  <a:pt x="6280222" y="4716397"/>
                </a:moveTo>
                <a:cubicBezTo>
                  <a:pt x="6281461" y="4716087"/>
                  <a:pt x="6282545" y="4715777"/>
                  <a:pt x="6282700" y="4716913"/>
                </a:cubicBezTo>
                <a:cubicBezTo>
                  <a:pt x="6282700" y="4716913"/>
                  <a:pt x="6282236" y="4717739"/>
                  <a:pt x="6279912" y="4718358"/>
                </a:cubicBezTo>
                <a:cubicBezTo>
                  <a:pt x="6280377" y="4717636"/>
                  <a:pt x="6279757" y="4717119"/>
                  <a:pt x="6279757" y="4717119"/>
                </a:cubicBezTo>
                <a:cubicBezTo>
                  <a:pt x="6279757" y="4717119"/>
                  <a:pt x="6279757" y="4717119"/>
                  <a:pt x="6279293" y="4717945"/>
                </a:cubicBezTo>
                <a:cubicBezTo>
                  <a:pt x="6279138" y="4717326"/>
                  <a:pt x="6279448" y="4716913"/>
                  <a:pt x="6279602" y="4716706"/>
                </a:cubicBezTo>
                <a:cubicBezTo>
                  <a:pt x="6279912" y="4716397"/>
                  <a:pt x="6280222" y="4716397"/>
                  <a:pt x="6280222" y="4716397"/>
                </a:cubicBezTo>
                <a:close/>
                <a:moveTo>
                  <a:pt x="798916" y="4716379"/>
                </a:moveTo>
                <a:cubicBezTo>
                  <a:pt x="801394" y="4714520"/>
                  <a:pt x="805577" y="4714520"/>
                  <a:pt x="808675" y="4718444"/>
                </a:cubicBezTo>
                <a:cubicBezTo>
                  <a:pt x="808365" y="4722058"/>
                  <a:pt x="807126" y="4724329"/>
                  <a:pt x="806351" y="4725981"/>
                </a:cubicBezTo>
                <a:cubicBezTo>
                  <a:pt x="804028" y="4725672"/>
                  <a:pt x="802169" y="4725981"/>
                  <a:pt x="799846" y="4725672"/>
                </a:cubicBezTo>
                <a:cubicBezTo>
                  <a:pt x="795973" y="4721954"/>
                  <a:pt x="796593" y="4718237"/>
                  <a:pt x="798916" y="4716379"/>
                </a:cubicBezTo>
                <a:close/>
                <a:moveTo>
                  <a:pt x="6659098" y="4715157"/>
                </a:moveTo>
                <a:cubicBezTo>
                  <a:pt x="6661267" y="4716397"/>
                  <a:pt x="6664674" y="4715467"/>
                  <a:pt x="6667772" y="4721043"/>
                </a:cubicBezTo>
                <a:cubicBezTo>
                  <a:pt x="6670560" y="4727445"/>
                  <a:pt x="6664519" y="4729820"/>
                  <a:pt x="6665294" y="4730336"/>
                </a:cubicBezTo>
                <a:cubicBezTo>
                  <a:pt x="6665758" y="4731472"/>
                  <a:pt x="6665758" y="4731472"/>
                  <a:pt x="6666533" y="4731885"/>
                </a:cubicBezTo>
                <a:cubicBezTo>
                  <a:pt x="6666223" y="4732711"/>
                  <a:pt x="6666223" y="4734673"/>
                  <a:pt x="6666688" y="4735809"/>
                </a:cubicBezTo>
                <a:cubicBezTo>
                  <a:pt x="6665914" y="4735396"/>
                  <a:pt x="6665139" y="4734982"/>
                  <a:pt x="6664829" y="4735809"/>
                </a:cubicBezTo>
                <a:cubicBezTo>
                  <a:pt x="6663900" y="4733434"/>
                  <a:pt x="6664210" y="4732608"/>
                  <a:pt x="6663900" y="4731369"/>
                </a:cubicBezTo>
                <a:cubicBezTo>
                  <a:pt x="6663435" y="4732195"/>
                  <a:pt x="6663126" y="4730956"/>
                  <a:pt x="6663126" y="4730956"/>
                </a:cubicBezTo>
                <a:cubicBezTo>
                  <a:pt x="6663126" y="4730956"/>
                  <a:pt x="6663126" y="4730956"/>
                  <a:pt x="6660957" y="4731678"/>
                </a:cubicBezTo>
                <a:cubicBezTo>
                  <a:pt x="6660957" y="4731678"/>
                  <a:pt x="6655690" y="4732504"/>
                  <a:pt x="6653367" y="4727342"/>
                </a:cubicBezTo>
                <a:cubicBezTo>
                  <a:pt x="6654451" y="4727032"/>
                  <a:pt x="6651973" y="4719804"/>
                  <a:pt x="6654916" y="4717636"/>
                </a:cubicBezTo>
                <a:cubicBezTo>
                  <a:pt x="6656465" y="4716500"/>
                  <a:pt x="6657549" y="4716190"/>
                  <a:pt x="6659098" y="4715157"/>
                </a:cubicBezTo>
                <a:close/>
                <a:moveTo>
                  <a:pt x="6286883" y="4715157"/>
                </a:moveTo>
                <a:cubicBezTo>
                  <a:pt x="6288586" y="4714125"/>
                  <a:pt x="6289206" y="4714641"/>
                  <a:pt x="6289671" y="4717016"/>
                </a:cubicBezTo>
                <a:cubicBezTo>
                  <a:pt x="6288741" y="4717532"/>
                  <a:pt x="6287347" y="4717945"/>
                  <a:pt x="6285953" y="4717945"/>
                </a:cubicBezTo>
                <a:cubicBezTo>
                  <a:pt x="6284559" y="4717945"/>
                  <a:pt x="6283320" y="4717636"/>
                  <a:pt x="6282855" y="4716809"/>
                </a:cubicBezTo>
                <a:cubicBezTo>
                  <a:pt x="6284404" y="4715777"/>
                  <a:pt x="6285643" y="4715467"/>
                  <a:pt x="6286883" y="4715157"/>
                </a:cubicBezTo>
                <a:close/>
                <a:moveTo>
                  <a:pt x="6137562" y="4715157"/>
                </a:moveTo>
                <a:cubicBezTo>
                  <a:pt x="6139266" y="4715880"/>
                  <a:pt x="6141745" y="4714951"/>
                  <a:pt x="6143603" y="4716500"/>
                </a:cubicBezTo>
                <a:cubicBezTo>
                  <a:pt x="6143603" y="4716500"/>
                  <a:pt x="6144533" y="4717326"/>
                  <a:pt x="6144688" y="4719081"/>
                </a:cubicBezTo>
                <a:cubicBezTo>
                  <a:pt x="6146701" y="4721559"/>
                  <a:pt x="6144688" y="4724347"/>
                  <a:pt x="6144688" y="4724347"/>
                </a:cubicBezTo>
                <a:cubicBezTo>
                  <a:pt x="6144688" y="4724347"/>
                  <a:pt x="6144688" y="4724347"/>
                  <a:pt x="6145462" y="4724244"/>
                </a:cubicBezTo>
                <a:cubicBezTo>
                  <a:pt x="6143913" y="4724347"/>
                  <a:pt x="6142209" y="4725380"/>
                  <a:pt x="6140660" y="4725483"/>
                </a:cubicBezTo>
                <a:cubicBezTo>
                  <a:pt x="6133225" y="4720630"/>
                  <a:pt x="6135549" y="4718771"/>
                  <a:pt x="6137562" y="4715157"/>
                </a:cubicBezTo>
                <a:close/>
                <a:moveTo>
                  <a:pt x="5815378" y="4713608"/>
                </a:moveTo>
                <a:cubicBezTo>
                  <a:pt x="5821884" y="4716397"/>
                  <a:pt x="5825291" y="4716397"/>
                  <a:pt x="5829938" y="4719184"/>
                </a:cubicBezTo>
                <a:cubicBezTo>
                  <a:pt x="5829938" y="4720114"/>
                  <a:pt x="5829009" y="4720010"/>
                  <a:pt x="5829009" y="4720940"/>
                </a:cubicBezTo>
                <a:cubicBezTo>
                  <a:pt x="5828544" y="4721353"/>
                  <a:pt x="5827615" y="4721456"/>
                  <a:pt x="5826686" y="4721456"/>
                </a:cubicBezTo>
                <a:cubicBezTo>
                  <a:pt x="5823587" y="4721353"/>
                  <a:pt x="5818941" y="4719701"/>
                  <a:pt x="5819095" y="4718978"/>
                </a:cubicBezTo>
                <a:cubicBezTo>
                  <a:pt x="5818166" y="4718978"/>
                  <a:pt x="5818321" y="4718152"/>
                  <a:pt x="5817547" y="4718048"/>
                </a:cubicBezTo>
                <a:cubicBezTo>
                  <a:pt x="5817547" y="4718048"/>
                  <a:pt x="5816617" y="4718048"/>
                  <a:pt x="5815843" y="4717119"/>
                </a:cubicBezTo>
                <a:cubicBezTo>
                  <a:pt x="5815533" y="4716706"/>
                  <a:pt x="5815068" y="4716293"/>
                  <a:pt x="5814913" y="4715674"/>
                </a:cubicBezTo>
                <a:cubicBezTo>
                  <a:pt x="5814759" y="4715157"/>
                  <a:pt x="5814913" y="4714435"/>
                  <a:pt x="5815378" y="4713608"/>
                </a:cubicBezTo>
                <a:close/>
                <a:moveTo>
                  <a:pt x="856189" y="4713539"/>
                </a:moveTo>
                <a:cubicBezTo>
                  <a:pt x="860178" y="4712971"/>
                  <a:pt x="863973" y="4714158"/>
                  <a:pt x="864127" y="4717411"/>
                </a:cubicBezTo>
                <a:cubicBezTo>
                  <a:pt x="864282" y="4718341"/>
                  <a:pt x="863972" y="4719476"/>
                  <a:pt x="863353" y="4720715"/>
                </a:cubicBezTo>
                <a:cubicBezTo>
                  <a:pt x="861959" y="4721954"/>
                  <a:pt x="860565" y="4722987"/>
                  <a:pt x="859171" y="4723813"/>
                </a:cubicBezTo>
                <a:lnTo>
                  <a:pt x="855144" y="4725465"/>
                </a:lnTo>
                <a:lnTo>
                  <a:pt x="855453" y="4731661"/>
                </a:lnTo>
                <a:cubicBezTo>
                  <a:pt x="855453" y="4733932"/>
                  <a:pt x="854989" y="4735481"/>
                  <a:pt x="852201" y="4736617"/>
                </a:cubicBezTo>
                <a:cubicBezTo>
                  <a:pt x="850806" y="4735481"/>
                  <a:pt x="850187" y="4733519"/>
                  <a:pt x="849877" y="4731041"/>
                </a:cubicBezTo>
                <a:lnTo>
                  <a:pt x="849723" y="4724329"/>
                </a:lnTo>
                <a:lnTo>
                  <a:pt x="847399" y="4722884"/>
                </a:lnTo>
                <a:cubicBezTo>
                  <a:pt x="848328" y="4722058"/>
                  <a:pt x="847709" y="4721128"/>
                  <a:pt x="847089" y="4720199"/>
                </a:cubicBezTo>
                <a:cubicBezTo>
                  <a:pt x="848018" y="4716430"/>
                  <a:pt x="852201" y="4714107"/>
                  <a:pt x="856189" y="4713539"/>
                </a:cubicBezTo>
                <a:close/>
                <a:moveTo>
                  <a:pt x="5925199" y="4713092"/>
                </a:moveTo>
                <a:cubicBezTo>
                  <a:pt x="5925974" y="4713918"/>
                  <a:pt x="5926749" y="4714847"/>
                  <a:pt x="5926594" y="4716500"/>
                </a:cubicBezTo>
                <a:cubicBezTo>
                  <a:pt x="5924735" y="4718255"/>
                  <a:pt x="5922256" y="4717326"/>
                  <a:pt x="5921327" y="4718255"/>
                </a:cubicBezTo>
                <a:cubicBezTo>
                  <a:pt x="5921482" y="4717326"/>
                  <a:pt x="5921637" y="4715674"/>
                  <a:pt x="5920088" y="4714744"/>
                </a:cubicBezTo>
                <a:cubicBezTo>
                  <a:pt x="5921792" y="4712989"/>
                  <a:pt x="5923651" y="4711337"/>
                  <a:pt x="5925199" y="4713092"/>
                </a:cubicBezTo>
                <a:close/>
                <a:moveTo>
                  <a:pt x="1772130" y="4713074"/>
                </a:moveTo>
                <a:lnTo>
                  <a:pt x="1771355" y="4713797"/>
                </a:lnTo>
                <a:lnTo>
                  <a:pt x="1772130" y="4713487"/>
                </a:lnTo>
                <a:close/>
                <a:moveTo>
                  <a:pt x="1049693" y="4713074"/>
                </a:moveTo>
                <a:cubicBezTo>
                  <a:pt x="1053256" y="4715862"/>
                  <a:pt x="1054805" y="4713384"/>
                  <a:pt x="1060071" y="4717927"/>
                </a:cubicBezTo>
                <a:cubicBezTo>
                  <a:pt x="1067041" y="4723400"/>
                  <a:pt x="1065648" y="4729389"/>
                  <a:pt x="1063169" y="4732693"/>
                </a:cubicBezTo>
                <a:cubicBezTo>
                  <a:pt x="1062550" y="4732074"/>
                  <a:pt x="1059297" y="4736617"/>
                  <a:pt x="1054340" y="4736204"/>
                </a:cubicBezTo>
                <a:cubicBezTo>
                  <a:pt x="1052792" y="4736101"/>
                  <a:pt x="1050932" y="4735378"/>
                  <a:pt x="1048919" y="4733726"/>
                </a:cubicBezTo>
                <a:cubicBezTo>
                  <a:pt x="1044582" y="4730112"/>
                  <a:pt x="1041019" y="4724846"/>
                  <a:pt x="1046595" y="4718134"/>
                </a:cubicBezTo>
                <a:cubicBezTo>
                  <a:pt x="1047370" y="4716482"/>
                  <a:pt x="1047370" y="4717308"/>
                  <a:pt x="1048144" y="4716482"/>
                </a:cubicBezTo>
                <a:cubicBezTo>
                  <a:pt x="1049074" y="4715656"/>
                  <a:pt x="1049848" y="4714004"/>
                  <a:pt x="1049693" y="4713074"/>
                </a:cubicBezTo>
                <a:close/>
                <a:moveTo>
                  <a:pt x="6486699" y="4712782"/>
                </a:moveTo>
                <a:cubicBezTo>
                  <a:pt x="6493204" y="4717532"/>
                  <a:pt x="6489952" y="4724347"/>
                  <a:pt x="6485305" y="4725173"/>
                </a:cubicBezTo>
                <a:cubicBezTo>
                  <a:pt x="6483755" y="4725380"/>
                  <a:pt x="6481897" y="4724967"/>
                  <a:pt x="6480503" y="4723624"/>
                </a:cubicBezTo>
                <a:cubicBezTo>
                  <a:pt x="6481122" y="4718462"/>
                  <a:pt x="6480812" y="4712473"/>
                  <a:pt x="6486699" y="4712782"/>
                </a:cubicBezTo>
                <a:close/>
                <a:moveTo>
                  <a:pt x="1850352" y="4712661"/>
                </a:moveTo>
                <a:cubicBezTo>
                  <a:pt x="1850817" y="4714313"/>
                  <a:pt x="1852366" y="4723607"/>
                  <a:pt x="1851436" y="4726704"/>
                </a:cubicBezTo>
                <a:cubicBezTo>
                  <a:pt x="1851127" y="4722264"/>
                  <a:pt x="1848803" y="4716792"/>
                  <a:pt x="1850352" y="4712661"/>
                </a:cubicBezTo>
                <a:close/>
                <a:moveTo>
                  <a:pt x="1447312" y="4712661"/>
                </a:moveTo>
                <a:cubicBezTo>
                  <a:pt x="1448706" y="4714004"/>
                  <a:pt x="1449171" y="4715552"/>
                  <a:pt x="1449636" y="4717205"/>
                </a:cubicBezTo>
                <a:lnTo>
                  <a:pt x="1450410" y="4718960"/>
                </a:lnTo>
                <a:lnTo>
                  <a:pt x="1450255" y="4716792"/>
                </a:lnTo>
                <a:cubicBezTo>
                  <a:pt x="1452114" y="4716275"/>
                  <a:pt x="1453972" y="4715759"/>
                  <a:pt x="1455522" y="4716379"/>
                </a:cubicBezTo>
                <a:cubicBezTo>
                  <a:pt x="1455367" y="4718857"/>
                  <a:pt x="1455677" y="4720715"/>
                  <a:pt x="1454902" y="4722574"/>
                </a:cubicBezTo>
                <a:cubicBezTo>
                  <a:pt x="1453818" y="4722987"/>
                  <a:pt x="1453043" y="4723090"/>
                  <a:pt x="1452269" y="4722884"/>
                </a:cubicBezTo>
                <a:lnTo>
                  <a:pt x="1451959" y="4722780"/>
                </a:lnTo>
                <a:lnTo>
                  <a:pt x="1451649" y="4727220"/>
                </a:lnTo>
                <a:cubicBezTo>
                  <a:pt x="1451804" y="4729079"/>
                  <a:pt x="1451959" y="4731041"/>
                  <a:pt x="1450720" y="4732693"/>
                </a:cubicBezTo>
                <a:cubicBezTo>
                  <a:pt x="1445453" y="4728976"/>
                  <a:pt x="1444834" y="4715140"/>
                  <a:pt x="1447312" y="4712661"/>
                </a:cubicBezTo>
                <a:close/>
                <a:moveTo>
                  <a:pt x="1190029" y="4712661"/>
                </a:moveTo>
                <a:cubicBezTo>
                  <a:pt x="1192353" y="4711422"/>
                  <a:pt x="1197464" y="4719683"/>
                  <a:pt x="1189100" y="4717824"/>
                </a:cubicBezTo>
                <a:cubicBezTo>
                  <a:pt x="1188635" y="4714520"/>
                  <a:pt x="1189100" y="4713074"/>
                  <a:pt x="1190029" y="4712661"/>
                </a:cubicBezTo>
                <a:close/>
                <a:moveTo>
                  <a:pt x="1765624" y="4712351"/>
                </a:moveTo>
                <a:cubicBezTo>
                  <a:pt x="1764695" y="4713591"/>
                  <a:pt x="1763765" y="4714210"/>
                  <a:pt x="1762681" y="4714417"/>
                </a:cubicBezTo>
                <a:cubicBezTo>
                  <a:pt x="1761442" y="4714623"/>
                  <a:pt x="1760202" y="4714520"/>
                  <a:pt x="1758344" y="4714417"/>
                </a:cubicBezTo>
                <a:cubicBezTo>
                  <a:pt x="1760822" y="4710803"/>
                  <a:pt x="1762526" y="4711009"/>
                  <a:pt x="1765624" y="4712351"/>
                </a:cubicBezTo>
                <a:close/>
                <a:moveTo>
                  <a:pt x="1115524" y="4712132"/>
                </a:moveTo>
                <a:cubicBezTo>
                  <a:pt x="1120404" y="4711164"/>
                  <a:pt x="1125283" y="4712248"/>
                  <a:pt x="1128845" y="4715862"/>
                </a:cubicBezTo>
                <a:cubicBezTo>
                  <a:pt x="1130704" y="4718444"/>
                  <a:pt x="1131634" y="4720922"/>
                  <a:pt x="1131634" y="4723194"/>
                </a:cubicBezTo>
                <a:lnTo>
                  <a:pt x="1130085" y="4727943"/>
                </a:lnTo>
                <a:lnTo>
                  <a:pt x="1130395" y="4728563"/>
                </a:lnTo>
                <a:lnTo>
                  <a:pt x="1129930" y="4728769"/>
                </a:lnTo>
                <a:lnTo>
                  <a:pt x="1129619" y="4729285"/>
                </a:lnTo>
                <a:cubicBezTo>
                  <a:pt x="1127141" y="4732796"/>
                  <a:pt x="1122340" y="4734965"/>
                  <a:pt x="1117228" y="4734655"/>
                </a:cubicBezTo>
                <a:cubicBezTo>
                  <a:pt x="1111342" y="4734242"/>
                  <a:pt x="1105146" y="4730318"/>
                  <a:pt x="1102203" y="4720715"/>
                </a:cubicBezTo>
                <a:cubicBezTo>
                  <a:pt x="1105766" y="4716120"/>
                  <a:pt x="1110645" y="4713100"/>
                  <a:pt x="1115524" y="4712132"/>
                </a:cubicBezTo>
                <a:close/>
                <a:moveTo>
                  <a:pt x="1001056" y="4712042"/>
                </a:moveTo>
                <a:cubicBezTo>
                  <a:pt x="1003379" y="4711422"/>
                  <a:pt x="1005393" y="4711629"/>
                  <a:pt x="1006942" y="4713694"/>
                </a:cubicBezTo>
                <a:cubicBezTo>
                  <a:pt x="1005393" y="4713797"/>
                  <a:pt x="1004308" y="4713901"/>
                  <a:pt x="1003379" y="4713694"/>
                </a:cubicBezTo>
                <a:cubicBezTo>
                  <a:pt x="1002605" y="4713487"/>
                  <a:pt x="1001830" y="4713074"/>
                  <a:pt x="1001056" y="4712042"/>
                </a:cubicBezTo>
                <a:close/>
                <a:moveTo>
                  <a:pt x="1753852" y="4711526"/>
                </a:moveTo>
                <a:cubicBezTo>
                  <a:pt x="1754936" y="4712042"/>
                  <a:pt x="1754936" y="4712042"/>
                  <a:pt x="1754162" y="4712351"/>
                </a:cubicBezTo>
                <a:cubicBezTo>
                  <a:pt x="1755401" y="4713694"/>
                  <a:pt x="1755556" y="4714520"/>
                  <a:pt x="1755866" y="4715346"/>
                </a:cubicBezTo>
                <a:cubicBezTo>
                  <a:pt x="1755246" y="4716482"/>
                  <a:pt x="1753542" y="4717205"/>
                  <a:pt x="1751683" y="4716895"/>
                </a:cubicBezTo>
                <a:cubicBezTo>
                  <a:pt x="1752303" y="4715759"/>
                  <a:pt x="1751064" y="4714417"/>
                  <a:pt x="1751683" y="4713281"/>
                </a:cubicBezTo>
                <a:cubicBezTo>
                  <a:pt x="1751683" y="4713281"/>
                  <a:pt x="1753852" y="4711526"/>
                  <a:pt x="1753852" y="4711526"/>
                </a:cubicBezTo>
                <a:close/>
                <a:moveTo>
                  <a:pt x="6323903" y="4711234"/>
                </a:moveTo>
                <a:cubicBezTo>
                  <a:pt x="6324522" y="4711750"/>
                  <a:pt x="6326381" y="4711853"/>
                  <a:pt x="6326691" y="4713092"/>
                </a:cubicBezTo>
                <a:cubicBezTo>
                  <a:pt x="6326846" y="4714228"/>
                  <a:pt x="6326846" y="4714228"/>
                  <a:pt x="6325916" y="4715777"/>
                </a:cubicBezTo>
                <a:cubicBezTo>
                  <a:pt x="6324987" y="4714744"/>
                  <a:pt x="6324677" y="4714228"/>
                  <a:pt x="6324367" y="4713608"/>
                </a:cubicBezTo>
                <a:cubicBezTo>
                  <a:pt x="6324212" y="4713092"/>
                  <a:pt x="6324058" y="4712473"/>
                  <a:pt x="6323903" y="4711234"/>
                </a:cubicBezTo>
                <a:close/>
                <a:moveTo>
                  <a:pt x="6321889" y="4709995"/>
                </a:moveTo>
                <a:cubicBezTo>
                  <a:pt x="6322354" y="4709272"/>
                  <a:pt x="6323128" y="4709685"/>
                  <a:pt x="6323438" y="4710821"/>
                </a:cubicBezTo>
                <a:cubicBezTo>
                  <a:pt x="6323438" y="4710821"/>
                  <a:pt x="6322973" y="4711543"/>
                  <a:pt x="6322973" y="4711543"/>
                </a:cubicBezTo>
                <a:cubicBezTo>
                  <a:pt x="6322508" y="4711337"/>
                  <a:pt x="6322199" y="4711131"/>
                  <a:pt x="6322044" y="4710821"/>
                </a:cubicBezTo>
                <a:cubicBezTo>
                  <a:pt x="6321734" y="4710614"/>
                  <a:pt x="6321734" y="4710304"/>
                  <a:pt x="6321889" y="4709995"/>
                </a:cubicBezTo>
                <a:close/>
                <a:moveTo>
                  <a:pt x="1463576" y="4709977"/>
                </a:moveTo>
                <a:cubicBezTo>
                  <a:pt x="1468068" y="4714830"/>
                  <a:pt x="1470702" y="4726291"/>
                  <a:pt x="1462802" y="4727943"/>
                </a:cubicBezTo>
                <a:cubicBezTo>
                  <a:pt x="1462957" y="4722161"/>
                  <a:pt x="1461562" y="4715449"/>
                  <a:pt x="1463576" y="4709977"/>
                </a:cubicBezTo>
                <a:close/>
                <a:moveTo>
                  <a:pt x="1244708" y="4709770"/>
                </a:moveTo>
                <a:cubicBezTo>
                  <a:pt x="1243778" y="4710700"/>
                  <a:pt x="1240835" y="4715140"/>
                  <a:pt x="1240061" y="4714210"/>
                </a:cubicBezTo>
                <a:cubicBezTo>
                  <a:pt x="1240061" y="4714210"/>
                  <a:pt x="1240990" y="4713384"/>
                  <a:pt x="1241920" y="4712455"/>
                </a:cubicBezTo>
                <a:cubicBezTo>
                  <a:pt x="1242849" y="4711629"/>
                  <a:pt x="1242849" y="4711629"/>
                  <a:pt x="1242075" y="4710700"/>
                </a:cubicBezTo>
                <a:cubicBezTo>
                  <a:pt x="1243004" y="4709770"/>
                  <a:pt x="1243004" y="4709770"/>
                  <a:pt x="1244708" y="4709770"/>
                </a:cubicBezTo>
                <a:close/>
                <a:moveTo>
                  <a:pt x="632558" y="4709770"/>
                </a:moveTo>
                <a:cubicBezTo>
                  <a:pt x="634571" y="4708221"/>
                  <a:pt x="639993" y="4707292"/>
                  <a:pt x="643400" y="4710286"/>
                </a:cubicBezTo>
                <a:cubicBezTo>
                  <a:pt x="643555" y="4714520"/>
                  <a:pt x="641852" y="4716275"/>
                  <a:pt x="638753" y="4716275"/>
                </a:cubicBezTo>
                <a:cubicBezTo>
                  <a:pt x="637669" y="4716275"/>
                  <a:pt x="636585" y="4716172"/>
                  <a:pt x="635346" y="4715759"/>
                </a:cubicBezTo>
                <a:cubicBezTo>
                  <a:pt x="634726" y="4713797"/>
                  <a:pt x="633642" y="4712351"/>
                  <a:pt x="632558" y="4709770"/>
                </a:cubicBezTo>
                <a:close/>
                <a:moveTo>
                  <a:pt x="1607940" y="4709460"/>
                </a:moveTo>
                <a:cubicBezTo>
                  <a:pt x="1612741" y="4711422"/>
                  <a:pt x="1618627" y="4712765"/>
                  <a:pt x="1617853" y="4718753"/>
                </a:cubicBezTo>
                <a:cubicBezTo>
                  <a:pt x="1616614" y="4720199"/>
                  <a:pt x="1615220" y="4720818"/>
                  <a:pt x="1613826" y="4721025"/>
                </a:cubicBezTo>
                <a:cubicBezTo>
                  <a:pt x="1609953" y="4721645"/>
                  <a:pt x="1606391" y="4717721"/>
                  <a:pt x="1606236" y="4714004"/>
                </a:cubicBezTo>
                <a:cubicBezTo>
                  <a:pt x="1606081" y="4712248"/>
                  <a:pt x="1606546" y="4710700"/>
                  <a:pt x="1607940" y="4709460"/>
                </a:cubicBezTo>
                <a:close/>
                <a:moveTo>
                  <a:pt x="1357317" y="4709254"/>
                </a:moveTo>
                <a:cubicBezTo>
                  <a:pt x="1359486" y="4710493"/>
                  <a:pt x="1360570" y="4710080"/>
                  <a:pt x="1360106" y="4710906"/>
                </a:cubicBezTo>
                <a:cubicBezTo>
                  <a:pt x="1360880" y="4711319"/>
                  <a:pt x="1360570" y="4712042"/>
                  <a:pt x="1359796" y="4711629"/>
                </a:cubicBezTo>
                <a:cubicBezTo>
                  <a:pt x="1358402" y="4712765"/>
                  <a:pt x="1357627" y="4710390"/>
                  <a:pt x="1357317" y="4709254"/>
                </a:cubicBezTo>
                <a:close/>
                <a:moveTo>
                  <a:pt x="1374666" y="4709047"/>
                </a:moveTo>
                <a:cubicBezTo>
                  <a:pt x="1375595" y="4709047"/>
                  <a:pt x="1376214" y="4709667"/>
                  <a:pt x="1376524" y="4710596"/>
                </a:cubicBezTo>
                <a:cubicBezTo>
                  <a:pt x="1377454" y="4713487"/>
                  <a:pt x="1375905" y="4718960"/>
                  <a:pt x="1372342" y="4718857"/>
                </a:cubicBezTo>
                <a:cubicBezTo>
                  <a:pt x="1371568" y="4718650"/>
                  <a:pt x="1371103" y="4717927"/>
                  <a:pt x="1370638" y="4716895"/>
                </a:cubicBezTo>
                <a:cubicBezTo>
                  <a:pt x="1369399" y="4713901"/>
                  <a:pt x="1369864" y="4708428"/>
                  <a:pt x="1374666" y="4709047"/>
                </a:cubicBezTo>
                <a:close/>
                <a:moveTo>
                  <a:pt x="6065071" y="4708755"/>
                </a:moveTo>
                <a:cubicBezTo>
                  <a:pt x="6067239" y="4710304"/>
                  <a:pt x="6068169" y="4712266"/>
                  <a:pt x="6068014" y="4714125"/>
                </a:cubicBezTo>
                <a:cubicBezTo>
                  <a:pt x="6068014" y="4717223"/>
                  <a:pt x="6065226" y="4720114"/>
                  <a:pt x="6062283" y="4720837"/>
                </a:cubicBezTo>
                <a:cubicBezTo>
                  <a:pt x="6061199" y="4721146"/>
                  <a:pt x="6060269" y="4721146"/>
                  <a:pt x="6059185" y="4720837"/>
                </a:cubicBezTo>
                <a:cubicBezTo>
                  <a:pt x="6057946" y="4720424"/>
                  <a:pt x="6056861" y="4719391"/>
                  <a:pt x="6056087" y="4717739"/>
                </a:cubicBezTo>
                <a:cubicBezTo>
                  <a:pt x="6056552" y="4714228"/>
                  <a:pt x="6062438" y="4709478"/>
                  <a:pt x="6065071" y="4708755"/>
                </a:cubicBezTo>
                <a:close/>
                <a:moveTo>
                  <a:pt x="1587803" y="4708635"/>
                </a:moveTo>
                <a:cubicBezTo>
                  <a:pt x="1591521" y="4714004"/>
                  <a:pt x="1594154" y="4719270"/>
                  <a:pt x="1601280" y="4724846"/>
                </a:cubicBezTo>
                <a:cubicBezTo>
                  <a:pt x="1599575" y="4726498"/>
                  <a:pt x="1602208" y="4728356"/>
                  <a:pt x="1599730" y="4730008"/>
                </a:cubicBezTo>
                <a:cubicBezTo>
                  <a:pt x="1592915" y="4729699"/>
                  <a:pt x="1582227" y="4715243"/>
                  <a:pt x="1587803" y="4708635"/>
                </a:cubicBezTo>
                <a:close/>
                <a:moveTo>
                  <a:pt x="5974302" y="4708446"/>
                </a:moveTo>
                <a:lnTo>
                  <a:pt x="5974611" y="4708755"/>
                </a:lnTo>
                <a:lnTo>
                  <a:pt x="5982976" y="4713092"/>
                </a:lnTo>
                <a:cubicBezTo>
                  <a:pt x="5983750" y="4714022"/>
                  <a:pt x="5985144" y="4717532"/>
                  <a:pt x="5984215" y="4718462"/>
                </a:cubicBezTo>
                <a:cubicBezTo>
                  <a:pt x="5983286" y="4719288"/>
                  <a:pt x="5982511" y="4719288"/>
                  <a:pt x="5981582" y="4719288"/>
                </a:cubicBezTo>
                <a:lnTo>
                  <a:pt x="5977864" y="4717016"/>
                </a:lnTo>
                <a:lnTo>
                  <a:pt x="5977864" y="4718875"/>
                </a:lnTo>
                <a:cubicBezTo>
                  <a:pt x="5977399" y="4720837"/>
                  <a:pt x="5976625" y="4722489"/>
                  <a:pt x="5975696" y="4723005"/>
                </a:cubicBezTo>
                <a:cubicBezTo>
                  <a:pt x="5973372" y="4723624"/>
                  <a:pt x="5970275" y="4722592"/>
                  <a:pt x="5969655" y="4719081"/>
                </a:cubicBezTo>
                <a:cubicBezTo>
                  <a:pt x="5968571" y="4716190"/>
                  <a:pt x="5970429" y="4713196"/>
                  <a:pt x="5969809" y="4709685"/>
                </a:cubicBezTo>
                <a:cubicBezTo>
                  <a:pt x="5971823" y="4708755"/>
                  <a:pt x="5973217" y="4708342"/>
                  <a:pt x="5974302" y="4708446"/>
                </a:cubicBezTo>
                <a:close/>
                <a:moveTo>
                  <a:pt x="926086" y="4708325"/>
                </a:moveTo>
                <a:cubicBezTo>
                  <a:pt x="927015" y="4709254"/>
                  <a:pt x="927945" y="4711009"/>
                  <a:pt x="927170" y="4711732"/>
                </a:cubicBezTo>
                <a:cubicBezTo>
                  <a:pt x="926706" y="4712558"/>
                  <a:pt x="926241" y="4712558"/>
                  <a:pt x="925776" y="4712248"/>
                </a:cubicBezTo>
                <a:cubicBezTo>
                  <a:pt x="925157" y="4711835"/>
                  <a:pt x="924537" y="4711216"/>
                  <a:pt x="923608" y="4710803"/>
                </a:cubicBezTo>
                <a:close/>
                <a:moveTo>
                  <a:pt x="1818134" y="4708118"/>
                </a:moveTo>
                <a:cubicBezTo>
                  <a:pt x="1818444" y="4708118"/>
                  <a:pt x="1818753" y="4708221"/>
                  <a:pt x="1818753" y="4708221"/>
                </a:cubicBezTo>
                <a:cubicBezTo>
                  <a:pt x="1819838" y="4708738"/>
                  <a:pt x="1820768" y="4709254"/>
                  <a:pt x="1820147" y="4710390"/>
                </a:cubicBezTo>
                <a:cubicBezTo>
                  <a:pt x="1820147" y="4710390"/>
                  <a:pt x="1819992" y="4710390"/>
                  <a:pt x="1819528" y="4710390"/>
                </a:cubicBezTo>
                <a:cubicBezTo>
                  <a:pt x="1819063" y="4710286"/>
                  <a:pt x="1818444" y="4710183"/>
                  <a:pt x="1817359" y="4709667"/>
                </a:cubicBezTo>
                <a:cubicBezTo>
                  <a:pt x="1818134" y="4709357"/>
                  <a:pt x="1817979" y="4708531"/>
                  <a:pt x="1817979" y="4708531"/>
                </a:cubicBezTo>
                <a:cubicBezTo>
                  <a:pt x="1817979" y="4708531"/>
                  <a:pt x="1817979" y="4708531"/>
                  <a:pt x="1817204" y="4708841"/>
                </a:cubicBezTo>
                <a:cubicBezTo>
                  <a:pt x="1817514" y="4708221"/>
                  <a:pt x="1817824" y="4708118"/>
                  <a:pt x="1818134" y="4708118"/>
                </a:cubicBezTo>
                <a:close/>
                <a:moveTo>
                  <a:pt x="6082264" y="4708033"/>
                </a:moveTo>
                <a:cubicBezTo>
                  <a:pt x="6083503" y="4707723"/>
                  <a:pt x="6084123" y="4708136"/>
                  <a:pt x="6084743" y="4708549"/>
                </a:cubicBezTo>
                <a:cubicBezTo>
                  <a:pt x="6085053" y="4709685"/>
                  <a:pt x="6084588" y="4710511"/>
                  <a:pt x="6084743" y="4711750"/>
                </a:cubicBezTo>
                <a:cubicBezTo>
                  <a:pt x="6085362" y="4712163"/>
                  <a:pt x="6086757" y="4712989"/>
                  <a:pt x="6086911" y="4714125"/>
                </a:cubicBezTo>
                <a:cubicBezTo>
                  <a:pt x="6087066" y="4715364"/>
                  <a:pt x="6086911" y="4717326"/>
                  <a:pt x="6086911" y="4717326"/>
                </a:cubicBezTo>
                <a:cubicBezTo>
                  <a:pt x="6086292" y="4717429"/>
                  <a:pt x="6085982" y="4717532"/>
                  <a:pt x="6085827" y="4717429"/>
                </a:cubicBezTo>
                <a:cubicBezTo>
                  <a:pt x="6085827" y="4717429"/>
                  <a:pt x="6085982" y="4717223"/>
                  <a:pt x="6086137" y="4716913"/>
                </a:cubicBezTo>
                <a:cubicBezTo>
                  <a:pt x="6085207" y="4715261"/>
                  <a:pt x="6085982" y="4715674"/>
                  <a:pt x="6085827" y="4714435"/>
                </a:cubicBezTo>
                <a:cubicBezTo>
                  <a:pt x="6085517" y="4713299"/>
                  <a:pt x="6083194" y="4709685"/>
                  <a:pt x="6081955" y="4709995"/>
                </a:cubicBezTo>
                <a:cubicBezTo>
                  <a:pt x="6082574" y="4709169"/>
                  <a:pt x="6082264" y="4708033"/>
                  <a:pt x="6082264" y="4708033"/>
                </a:cubicBezTo>
                <a:close/>
                <a:moveTo>
                  <a:pt x="6022939" y="4708033"/>
                </a:moveTo>
                <a:cubicBezTo>
                  <a:pt x="6024953" y="4709685"/>
                  <a:pt x="6027741" y="4712163"/>
                  <a:pt x="6026502" y="4714847"/>
                </a:cubicBezTo>
                <a:cubicBezTo>
                  <a:pt x="6025572" y="4714951"/>
                  <a:pt x="6025727" y="4715777"/>
                  <a:pt x="6024953" y="4715880"/>
                </a:cubicBezTo>
                <a:cubicBezTo>
                  <a:pt x="6024953" y="4715880"/>
                  <a:pt x="6024179" y="4716397"/>
                  <a:pt x="6022939" y="4716500"/>
                </a:cubicBezTo>
                <a:cubicBezTo>
                  <a:pt x="6022320" y="4716603"/>
                  <a:pt x="6021700" y="4716603"/>
                  <a:pt x="6020925" y="4716500"/>
                </a:cubicBezTo>
                <a:cubicBezTo>
                  <a:pt x="6019996" y="4716293"/>
                  <a:pt x="6019067" y="4715983"/>
                  <a:pt x="6018137" y="4715364"/>
                </a:cubicBezTo>
                <a:cubicBezTo>
                  <a:pt x="6017208" y="4714538"/>
                  <a:pt x="6015194" y="4712060"/>
                  <a:pt x="6016124" y="4711957"/>
                </a:cubicBezTo>
                <a:cubicBezTo>
                  <a:pt x="6016743" y="4711027"/>
                  <a:pt x="6015969" y="4711131"/>
                  <a:pt x="6015814" y="4710201"/>
                </a:cubicBezTo>
                <a:cubicBezTo>
                  <a:pt x="6017982" y="4707413"/>
                  <a:pt x="6020306" y="4706380"/>
                  <a:pt x="6022939" y="4708033"/>
                </a:cubicBezTo>
                <a:close/>
                <a:moveTo>
                  <a:pt x="1809150" y="4707808"/>
                </a:moveTo>
                <a:cubicBezTo>
                  <a:pt x="1811009" y="4707705"/>
                  <a:pt x="1811783" y="4710390"/>
                  <a:pt x="1812712" y="4711835"/>
                </a:cubicBezTo>
                <a:cubicBezTo>
                  <a:pt x="1814571" y="4711629"/>
                  <a:pt x="1813332" y="4715656"/>
                  <a:pt x="1815191" y="4715552"/>
                </a:cubicBezTo>
                <a:cubicBezTo>
                  <a:pt x="1814416" y="4720302"/>
                  <a:pt x="1820302" y="4721748"/>
                  <a:pt x="1820302" y="4729285"/>
                </a:cubicBezTo>
                <a:lnTo>
                  <a:pt x="1816430" y="4724846"/>
                </a:lnTo>
                <a:lnTo>
                  <a:pt x="1814261" y="4725362"/>
                </a:lnTo>
                <a:cubicBezTo>
                  <a:pt x="1813177" y="4724949"/>
                  <a:pt x="1812248" y="4723916"/>
                  <a:pt x="1811164" y="4722471"/>
                </a:cubicBezTo>
                <a:cubicBezTo>
                  <a:pt x="1812402" y="4721851"/>
                  <a:pt x="1813487" y="4721851"/>
                  <a:pt x="1814571" y="4722264"/>
                </a:cubicBezTo>
                <a:lnTo>
                  <a:pt x="1814881" y="4722368"/>
                </a:lnTo>
                <a:lnTo>
                  <a:pt x="1812248" y="4717824"/>
                </a:lnTo>
                <a:cubicBezTo>
                  <a:pt x="1811164" y="4715759"/>
                  <a:pt x="1809924" y="4713901"/>
                  <a:pt x="1808375" y="4712558"/>
                </a:cubicBezTo>
                <a:cubicBezTo>
                  <a:pt x="1808375" y="4712558"/>
                  <a:pt x="1808375" y="4712661"/>
                  <a:pt x="1808840" y="4710183"/>
                </a:cubicBezTo>
                <a:cubicBezTo>
                  <a:pt x="1808221" y="4709460"/>
                  <a:pt x="1808221" y="4709460"/>
                  <a:pt x="1808221" y="4709460"/>
                </a:cubicBezTo>
                <a:cubicBezTo>
                  <a:pt x="1807756" y="4708738"/>
                  <a:pt x="1809150" y="4707808"/>
                  <a:pt x="1809150" y="4707808"/>
                </a:cubicBezTo>
                <a:close/>
                <a:moveTo>
                  <a:pt x="1040438" y="4707808"/>
                </a:moveTo>
                <a:cubicBezTo>
                  <a:pt x="1041910" y="4708660"/>
                  <a:pt x="1042878" y="4710493"/>
                  <a:pt x="1042413" y="4713178"/>
                </a:cubicBezTo>
                <a:cubicBezTo>
                  <a:pt x="1038851" y="4712558"/>
                  <a:pt x="1035288" y="4712042"/>
                  <a:pt x="1035443" y="4708325"/>
                </a:cubicBezTo>
                <a:cubicBezTo>
                  <a:pt x="1036992" y="4707086"/>
                  <a:pt x="1038967" y="4706956"/>
                  <a:pt x="1040438" y="4707808"/>
                </a:cubicBezTo>
                <a:close/>
                <a:moveTo>
                  <a:pt x="920045" y="4707808"/>
                </a:moveTo>
                <a:cubicBezTo>
                  <a:pt x="920045" y="4707808"/>
                  <a:pt x="920045" y="4707808"/>
                  <a:pt x="921129" y="4709564"/>
                </a:cubicBezTo>
                <a:lnTo>
                  <a:pt x="920819" y="4711009"/>
                </a:lnTo>
                <a:lnTo>
                  <a:pt x="922833" y="4711526"/>
                </a:lnTo>
                <a:cubicBezTo>
                  <a:pt x="924693" y="4713384"/>
                  <a:pt x="927170" y="4716172"/>
                  <a:pt x="925622" y="4718650"/>
                </a:cubicBezTo>
                <a:cubicBezTo>
                  <a:pt x="924847" y="4718650"/>
                  <a:pt x="924847" y="4719476"/>
                  <a:pt x="924072" y="4719476"/>
                </a:cubicBezTo>
                <a:cubicBezTo>
                  <a:pt x="924072" y="4719476"/>
                  <a:pt x="923298" y="4719889"/>
                  <a:pt x="922059" y="4719889"/>
                </a:cubicBezTo>
                <a:cubicBezTo>
                  <a:pt x="920819" y="4719993"/>
                  <a:pt x="919115" y="4719683"/>
                  <a:pt x="917412" y="4718237"/>
                </a:cubicBezTo>
                <a:cubicBezTo>
                  <a:pt x="916482" y="4717411"/>
                  <a:pt x="914779" y="4714623"/>
                  <a:pt x="915553" y="4714623"/>
                </a:cubicBezTo>
                <a:cubicBezTo>
                  <a:pt x="916328" y="4713797"/>
                  <a:pt x="915553" y="4713797"/>
                  <a:pt x="915553" y="4712971"/>
                </a:cubicBezTo>
                <a:lnTo>
                  <a:pt x="916637" y="4712248"/>
                </a:lnTo>
                <a:lnTo>
                  <a:pt x="916173" y="4711629"/>
                </a:lnTo>
                <a:cubicBezTo>
                  <a:pt x="915089" y="4709874"/>
                  <a:pt x="915089" y="4709874"/>
                  <a:pt x="915863" y="4708944"/>
                </a:cubicBezTo>
                <a:cubicBezTo>
                  <a:pt x="916637" y="4708015"/>
                  <a:pt x="919270" y="4708738"/>
                  <a:pt x="920045" y="4707808"/>
                </a:cubicBezTo>
                <a:close/>
                <a:moveTo>
                  <a:pt x="6319565" y="4707516"/>
                </a:moveTo>
                <a:cubicBezTo>
                  <a:pt x="6319875" y="4708652"/>
                  <a:pt x="6320340" y="4708033"/>
                  <a:pt x="6319411" y="4709375"/>
                </a:cubicBezTo>
                <a:cubicBezTo>
                  <a:pt x="6319101" y="4708239"/>
                  <a:pt x="6319101" y="4708136"/>
                  <a:pt x="6318481" y="4707723"/>
                </a:cubicBezTo>
                <a:cubicBezTo>
                  <a:pt x="6318481" y="4707723"/>
                  <a:pt x="6319565" y="4707516"/>
                  <a:pt x="6319565" y="4707516"/>
                </a:cubicBezTo>
                <a:close/>
                <a:moveTo>
                  <a:pt x="6178145" y="4706174"/>
                </a:moveTo>
                <a:cubicBezTo>
                  <a:pt x="6188214" y="4707000"/>
                  <a:pt x="6195648" y="4710098"/>
                  <a:pt x="6200760" y="4715364"/>
                </a:cubicBezTo>
                <a:cubicBezTo>
                  <a:pt x="6202464" y="4717119"/>
                  <a:pt x="6204013" y="4719081"/>
                  <a:pt x="6205252" y="4721353"/>
                </a:cubicBezTo>
                <a:cubicBezTo>
                  <a:pt x="6199986" y="4725999"/>
                  <a:pt x="6194100" y="4721456"/>
                  <a:pt x="6188988" y="4719494"/>
                </a:cubicBezTo>
                <a:cubicBezTo>
                  <a:pt x="6188369" y="4725586"/>
                  <a:pt x="6188988" y="4734776"/>
                  <a:pt x="6182482" y="4735189"/>
                </a:cubicBezTo>
                <a:cubicBezTo>
                  <a:pt x="6181398" y="4734053"/>
                  <a:pt x="6180779" y="4732711"/>
                  <a:pt x="6180469" y="4731265"/>
                </a:cubicBezTo>
                <a:cubicBezTo>
                  <a:pt x="6179849" y="4726825"/>
                  <a:pt x="6182637" y="4721043"/>
                  <a:pt x="6182482" y="4715467"/>
                </a:cubicBezTo>
                <a:cubicBezTo>
                  <a:pt x="6180933" y="4712370"/>
                  <a:pt x="6176751" y="4712886"/>
                  <a:pt x="6178145" y="4706174"/>
                </a:cubicBezTo>
                <a:close/>
                <a:moveTo>
                  <a:pt x="1880867" y="4705950"/>
                </a:moveTo>
                <a:cubicBezTo>
                  <a:pt x="1880867" y="4705950"/>
                  <a:pt x="1880867" y="4706879"/>
                  <a:pt x="1879008" y="4708325"/>
                </a:cubicBezTo>
                <a:cubicBezTo>
                  <a:pt x="1879163" y="4707395"/>
                  <a:pt x="1878234" y="4707292"/>
                  <a:pt x="1878234" y="4707292"/>
                </a:cubicBezTo>
                <a:cubicBezTo>
                  <a:pt x="1878234" y="4707292"/>
                  <a:pt x="1878234" y="4707292"/>
                  <a:pt x="1878234" y="4708118"/>
                </a:cubicBezTo>
                <a:cubicBezTo>
                  <a:pt x="1877769" y="4707705"/>
                  <a:pt x="1877924" y="4707189"/>
                  <a:pt x="1877924" y="4706982"/>
                </a:cubicBezTo>
                <a:cubicBezTo>
                  <a:pt x="1878079" y="4706673"/>
                  <a:pt x="1878389" y="4706466"/>
                  <a:pt x="1878389" y="4706466"/>
                </a:cubicBezTo>
                <a:cubicBezTo>
                  <a:pt x="1879163" y="4705743"/>
                  <a:pt x="1880092" y="4704917"/>
                  <a:pt x="1880867" y="4705950"/>
                </a:cubicBezTo>
                <a:close/>
                <a:moveTo>
                  <a:pt x="6211603" y="4705555"/>
                </a:moveTo>
                <a:cubicBezTo>
                  <a:pt x="6214546" y="4705348"/>
                  <a:pt x="6215475" y="4706897"/>
                  <a:pt x="6217179" y="4710098"/>
                </a:cubicBezTo>
                <a:cubicBezTo>
                  <a:pt x="6215165" y="4710304"/>
                  <a:pt x="6213926" y="4710098"/>
                  <a:pt x="6212997" y="4709272"/>
                </a:cubicBezTo>
                <a:cubicBezTo>
                  <a:pt x="6212222" y="4708549"/>
                  <a:pt x="6211913" y="4707207"/>
                  <a:pt x="6211603" y="4705555"/>
                </a:cubicBezTo>
                <a:close/>
                <a:moveTo>
                  <a:pt x="6111695" y="4705451"/>
                </a:moveTo>
                <a:cubicBezTo>
                  <a:pt x="6115567" y="4705038"/>
                  <a:pt x="6118200" y="4705968"/>
                  <a:pt x="6119594" y="4707620"/>
                </a:cubicBezTo>
                <a:cubicBezTo>
                  <a:pt x="6123932" y="4712679"/>
                  <a:pt x="6118510" y="4724141"/>
                  <a:pt x="6109836" y="4723728"/>
                </a:cubicBezTo>
                <a:cubicBezTo>
                  <a:pt x="6108752" y="4722798"/>
                  <a:pt x="6108132" y="4721353"/>
                  <a:pt x="6107822" y="4719804"/>
                </a:cubicBezTo>
                <a:cubicBezTo>
                  <a:pt x="6106738" y="4714847"/>
                  <a:pt x="6108907" y="4708136"/>
                  <a:pt x="6111695" y="4705451"/>
                </a:cubicBezTo>
                <a:close/>
                <a:moveTo>
                  <a:pt x="1204590" y="4705330"/>
                </a:moveTo>
                <a:cubicBezTo>
                  <a:pt x="1205519" y="4706259"/>
                  <a:pt x="1206293" y="4706259"/>
                  <a:pt x="1205519" y="4708015"/>
                </a:cubicBezTo>
                <a:cubicBezTo>
                  <a:pt x="1205674" y="4708841"/>
                  <a:pt x="1204744" y="4709667"/>
                  <a:pt x="1204900" y="4710493"/>
                </a:cubicBezTo>
                <a:cubicBezTo>
                  <a:pt x="1204900" y="4710493"/>
                  <a:pt x="1204280" y="4710700"/>
                  <a:pt x="1203506" y="4710803"/>
                </a:cubicBezTo>
                <a:cubicBezTo>
                  <a:pt x="1202731" y="4710906"/>
                  <a:pt x="1201957" y="4710803"/>
                  <a:pt x="1201492" y="4710390"/>
                </a:cubicBezTo>
                <a:cubicBezTo>
                  <a:pt x="1199788" y="4709357"/>
                  <a:pt x="1202111" y="4706982"/>
                  <a:pt x="1202111" y="4706053"/>
                </a:cubicBezTo>
                <a:cubicBezTo>
                  <a:pt x="1202886" y="4705227"/>
                  <a:pt x="1203816" y="4704401"/>
                  <a:pt x="1204590" y="4705330"/>
                </a:cubicBezTo>
                <a:close/>
                <a:moveTo>
                  <a:pt x="6023249" y="4705038"/>
                </a:moveTo>
                <a:cubicBezTo>
                  <a:pt x="6024179" y="4704109"/>
                  <a:pt x="6024023" y="4705038"/>
                  <a:pt x="6024798" y="4705038"/>
                </a:cubicBezTo>
                <a:cubicBezTo>
                  <a:pt x="6024333" y="4705555"/>
                  <a:pt x="6024179" y="4705761"/>
                  <a:pt x="6024023" y="4705761"/>
                </a:cubicBezTo>
                <a:cubicBezTo>
                  <a:pt x="6023713" y="4705761"/>
                  <a:pt x="6023713" y="4705555"/>
                  <a:pt x="6023249" y="4705038"/>
                </a:cubicBezTo>
                <a:close/>
                <a:moveTo>
                  <a:pt x="6092178" y="4704935"/>
                </a:moveTo>
                <a:cubicBezTo>
                  <a:pt x="6093882" y="4715054"/>
                  <a:pt x="6099458" y="4720837"/>
                  <a:pt x="6099303" y="4732401"/>
                </a:cubicBezTo>
                <a:cubicBezTo>
                  <a:pt x="6091248" y="4729923"/>
                  <a:pt x="6084123" y="4709169"/>
                  <a:pt x="6092178" y="4704935"/>
                </a:cubicBezTo>
                <a:close/>
                <a:moveTo>
                  <a:pt x="1824639" y="4704917"/>
                </a:moveTo>
                <a:lnTo>
                  <a:pt x="1824794" y="4705227"/>
                </a:lnTo>
                <a:lnTo>
                  <a:pt x="1824949" y="4705227"/>
                </a:lnTo>
                <a:lnTo>
                  <a:pt x="1826344" y="4705020"/>
                </a:lnTo>
                <a:close/>
                <a:moveTo>
                  <a:pt x="1321691" y="4704917"/>
                </a:moveTo>
                <a:cubicBezTo>
                  <a:pt x="1333928" y="4715552"/>
                  <a:pt x="1347404" y="4722264"/>
                  <a:pt x="1357163" y="4731454"/>
                </a:cubicBezTo>
                <a:cubicBezTo>
                  <a:pt x="1355459" y="4731661"/>
                  <a:pt x="1353755" y="4731764"/>
                  <a:pt x="1352051" y="4731557"/>
                </a:cubicBezTo>
                <a:cubicBezTo>
                  <a:pt x="1339969" y="4730421"/>
                  <a:pt x="1328197" y="4719683"/>
                  <a:pt x="1316580" y="4712455"/>
                </a:cubicBezTo>
                <a:cubicBezTo>
                  <a:pt x="1318593" y="4710286"/>
                  <a:pt x="1317974" y="4707499"/>
                  <a:pt x="1321691" y="4704917"/>
                </a:cubicBezTo>
                <a:close/>
                <a:moveTo>
                  <a:pt x="1526619" y="4704711"/>
                </a:moveTo>
                <a:cubicBezTo>
                  <a:pt x="1528478" y="4704711"/>
                  <a:pt x="1527703" y="4705227"/>
                  <a:pt x="1528788" y="4705537"/>
                </a:cubicBezTo>
                <a:cubicBezTo>
                  <a:pt x="1529872" y="4705950"/>
                  <a:pt x="1531730" y="4705950"/>
                  <a:pt x="1532505" y="4705537"/>
                </a:cubicBezTo>
                <a:cubicBezTo>
                  <a:pt x="1531421" y="4709874"/>
                  <a:pt x="1534209" y="4710286"/>
                  <a:pt x="1532195" y="4716895"/>
                </a:cubicBezTo>
                <a:cubicBezTo>
                  <a:pt x="1530647" y="4723400"/>
                  <a:pt x="1526774" y="4725672"/>
                  <a:pt x="1523211" y="4725981"/>
                </a:cubicBezTo>
                <a:cubicBezTo>
                  <a:pt x="1522127" y="4726188"/>
                  <a:pt x="1521043" y="4726085"/>
                  <a:pt x="1519959" y="4725878"/>
                </a:cubicBezTo>
                <a:cubicBezTo>
                  <a:pt x="1520268" y="4724949"/>
                  <a:pt x="1514847" y="4723813"/>
                  <a:pt x="1513143" y="4719167"/>
                </a:cubicBezTo>
                <a:cubicBezTo>
                  <a:pt x="1512679" y="4717618"/>
                  <a:pt x="1512524" y="4715656"/>
                  <a:pt x="1513298" y="4713281"/>
                </a:cubicBezTo>
                <a:cubicBezTo>
                  <a:pt x="1514847" y="4707808"/>
                  <a:pt x="1518254" y="4702336"/>
                  <a:pt x="1526619" y="4704711"/>
                </a:cubicBezTo>
                <a:close/>
                <a:moveTo>
                  <a:pt x="6025882" y="4704522"/>
                </a:moveTo>
                <a:cubicBezTo>
                  <a:pt x="6026812" y="4705348"/>
                  <a:pt x="6027896" y="4706897"/>
                  <a:pt x="6027121" y="4707826"/>
                </a:cubicBezTo>
                <a:cubicBezTo>
                  <a:pt x="6026812" y="4708652"/>
                  <a:pt x="6026502" y="4708652"/>
                  <a:pt x="6025882" y="4708446"/>
                </a:cubicBezTo>
                <a:cubicBezTo>
                  <a:pt x="6025263" y="4708136"/>
                  <a:pt x="6024643" y="4707516"/>
                  <a:pt x="6023713" y="4707207"/>
                </a:cubicBezTo>
                <a:close/>
                <a:moveTo>
                  <a:pt x="1244398" y="4704504"/>
                </a:moveTo>
                <a:cubicBezTo>
                  <a:pt x="1253072" y="4704607"/>
                  <a:pt x="1258493" y="4714417"/>
                  <a:pt x="1259578" y="4720302"/>
                </a:cubicBezTo>
                <a:cubicBezTo>
                  <a:pt x="1253072" y="4720199"/>
                  <a:pt x="1247496" y="4714933"/>
                  <a:pt x="1245327" y="4709667"/>
                </a:cubicBezTo>
                <a:cubicBezTo>
                  <a:pt x="1244708" y="4707912"/>
                  <a:pt x="1244244" y="4706053"/>
                  <a:pt x="1244398" y="4704504"/>
                </a:cubicBezTo>
                <a:close/>
                <a:moveTo>
                  <a:pt x="1583776" y="4703059"/>
                </a:moveTo>
                <a:cubicBezTo>
                  <a:pt x="1585015" y="4703368"/>
                  <a:pt x="1586099" y="4704298"/>
                  <a:pt x="1586718" y="4705950"/>
                </a:cubicBezTo>
                <a:cubicBezTo>
                  <a:pt x="1585790" y="4711319"/>
                  <a:pt x="1580833" y="4709047"/>
                  <a:pt x="1575876" y="4710700"/>
                </a:cubicBezTo>
                <a:cubicBezTo>
                  <a:pt x="1574482" y="4706156"/>
                  <a:pt x="1579903" y="4702026"/>
                  <a:pt x="1583776" y="4703059"/>
                </a:cubicBezTo>
                <a:close/>
                <a:moveTo>
                  <a:pt x="1615684" y="4702129"/>
                </a:moveTo>
                <a:cubicBezTo>
                  <a:pt x="1615065" y="4702749"/>
                  <a:pt x="1614445" y="4704298"/>
                  <a:pt x="1613516" y="4704711"/>
                </a:cubicBezTo>
                <a:cubicBezTo>
                  <a:pt x="1613206" y="4704814"/>
                  <a:pt x="1612896" y="4704814"/>
                  <a:pt x="1612432" y="4704504"/>
                </a:cubicBezTo>
                <a:cubicBezTo>
                  <a:pt x="1613206" y="4702852"/>
                  <a:pt x="1613981" y="4702026"/>
                  <a:pt x="1615684" y="4702129"/>
                </a:cubicBezTo>
                <a:close/>
                <a:moveTo>
                  <a:pt x="1190340" y="4701613"/>
                </a:moveTo>
                <a:cubicBezTo>
                  <a:pt x="1191733" y="4699754"/>
                  <a:pt x="1194521" y="4701407"/>
                  <a:pt x="1194676" y="4702336"/>
                </a:cubicBezTo>
                <a:cubicBezTo>
                  <a:pt x="1193902" y="4703265"/>
                  <a:pt x="1192353" y="4703265"/>
                  <a:pt x="1191578" y="4704194"/>
                </a:cubicBezTo>
                <a:cubicBezTo>
                  <a:pt x="1191423" y="4703368"/>
                  <a:pt x="1190494" y="4702542"/>
                  <a:pt x="1190340" y="4701613"/>
                </a:cubicBezTo>
                <a:close/>
                <a:moveTo>
                  <a:pt x="1484487" y="4700580"/>
                </a:moveTo>
                <a:cubicBezTo>
                  <a:pt x="1488204" y="4698309"/>
                  <a:pt x="1491148" y="4699135"/>
                  <a:pt x="1493316" y="4701716"/>
                </a:cubicBezTo>
                <a:lnTo>
                  <a:pt x="1492851" y="4702645"/>
                </a:lnTo>
                <a:lnTo>
                  <a:pt x="1493936" y="4702749"/>
                </a:lnTo>
                <a:cubicBezTo>
                  <a:pt x="1494865" y="4702955"/>
                  <a:pt x="1495794" y="4703472"/>
                  <a:pt x="1496569" y="4704401"/>
                </a:cubicBezTo>
                <a:cubicBezTo>
                  <a:pt x="1499202" y="4707085"/>
                  <a:pt x="1501216" y="4713178"/>
                  <a:pt x="1498738" y="4715656"/>
                </a:cubicBezTo>
                <a:lnTo>
                  <a:pt x="1497653" y="4716585"/>
                </a:lnTo>
                <a:lnTo>
                  <a:pt x="1498738" y="4717721"/>
                </a:lnTo>
                <a:cubicBezTo>
                  <a:pt x="1500132" y="4720302"/>
                  <a:pt x="1500286" y="4723503"/>
                  <a:pt x="1498428" y="4725465"/>
                </a:cubicBezTo>
                <a:lnTo>
                  <a:pt x="1497808" y="4725775"/>
                </a:lnTo>
                <a:lnTo>
                  <a:pt x="1498273" y="4726291"/>
                </a:lnTo>
                <a:cubicBezTo>
                  <a:pt x="1500132" y="4728666"/>
                  <a:pt x="1501526" y="4730835"/>
                  <a:pt x="1501216" y="4732177"/>
                </a:cubicBezTo>
                <a:cubicBezTo>
                  <a:pt x="1500286" y="4732074"/>
                  <a:pt x="1499512" y="4732074"/>
                  <a:pt x="1498582" y="4731144"/>
                </a:cubicBezTo>
                <a:cubicBezTo>
                  <a:pt x="1497808" y="4730318"/>
                  <a:pt x="1498582" y="4730318"/>
                  <a:pt x="1497808" y="4730318"/>
                </a:cubicBezTo>
                <a:cubicBezTo>
                  <a:pt x="1496879" y="4729389"/>
                  <a:pt x="1496879" y="4730215"/>
                  <a:pt x="1496879" y="4730215"/>
                </a:cubicBezTo>
                <a:cubicBezTo>
                  <a:pt x="1496879" y="4730215"/>
                  <a:pt x="1496879" y="4729389"/>
                  <a:pt x="1496879" y="4729389"/>
                </a:cubicBezTo>
                <a:cubicBezTo>
                  <a:pt x="1496879" y="4729389"/>
                  <a:pt x="1496879" y="4729389"/>
                  <a:pt x="1495175" y="4727530"/>
                </a:cubicBezTo>
                <a:lnTo>
                  <a:pt x="1494401" y="4727220"/>
                </a:lnTo>
                <a:lnTo>
                  <a:pt x="1494091" y="4727014"/>
                </a:lnTo>
                <a:lnTo>
                  <a:pt x="1492232" y="4725878"/>
                </a:lnTo>
                <a:cubicBezTo>
                  <a:pt x="1491458" y="4725465"/>
                  <a:pt x="1490838" y="4725259"/>
                  <a:pt x="1489909" y="4724742"/>
                </a:cubicBezTo>
                <a:cubicBezTo>
                  <a:pt x="1488204" y="4722884"/>
                  <a:pt x="1488050" y="4722058"/>
                  <a:pt x="1486346" y="4719373"/>
                </a:cubicBezTo>
                <a:cubicBezTo>
                  <a:pt x="1487121" y="4717721"/>
                  <a:pt x="1487121" y="4717721"/>
                  <a:pt x="1487895" y="4717721"/>
                </a:cubicBezTo>
                <a:cubicBezTo>
                  <a:pt x="1487121" y="4717721"/>
                  <a:pt x="1487121" y="4716895"/>
                  <a:pt x="1486191" y="4715966"/>
                </a:cubicBezTo>
                <a:cubicBezTo>
                  <a:pt x="1484023" y="4714623"/>
                  <a:pt x="1483248" y="4712765"/>
                  <a:pt x="1483558" y="4710906"/>
                </a:cubicBezTo>
                <a:lnTo>
                  <a:pt x="1485727" y="4706569"/>
                </a:lnTo>
                <a:lnTo>
                  <a:pt x="1484023" y="4705537"/>
                </a:lnTo>
                <a:cubicBezTo>
                  <a:pt x="1484023" y="4704298"/>
                  <a:pt x="1483713" y="4702439"/>
                  <a:pt x="1484487" y="4700580"/>
                </a:cubicBezTo>
                <a:close/>
                <a:moveTo>
                  <a:pt x="6034556" y="4700392"/>
                </a:moveTo>
                <a:cubicBezTo>
                  <a:pt x="6035331" y="4700392"/>
                  <a:pt x="6035486" y="4701218"/>
                  <a:pt x="6036415" y="4702044"/>
                </a:cubicBezTo>
                <a:cubicBezTo>
                  <a:pt x="6037500" y="4703696"/>
                  <a:pt x="6037809" y="4706174"/>
                  <a:pt x="6037190" y="4707103"/>
                </a:cubicBezTo>
                <a:cubicBezTo>
                  <a:pt x="6036415" y="4708033"/>
                  <a:pt x="6035641" y="4708136"/>
                  <a:pt x="6035641" y="4708136"/>
                </a:cubicBezTo>
                <a:cubicBezTo>
                  <a:pt x="6032853" y="4706484"/>
                  <a:pt x="6030839" y="4704109"/>
                  <a:pt x="6033007" y="4701424"/>
                </a:cubicBezTo>
                <a:cubicBezTo>
                  <a:pt x="6033627" y="4700495"/>
                  <a:pt x="6034401" y="4699566"/>
                  <a:pt x="6034556" y="4700392"/>
                </a:cubicBezTo>
                <a:close/>
                <a:moveTo>
                  <a:pt x="5900455" y="4699772"/>
                </a:moveTo>
                <a:cubicBezTo>
                  <a:pt x="5902701" y="4699592"/>
                  <a:pt x="5904598" y="4700289"/>
                  <a:pt x="5905683" y="4703076"/>
                </a:cubicBezTo>
                <a:cubicBezTo>
                  <a:pt x="5904753" y="4707000"/>
                  <a:pt x="5902430" y="4708962"/>
                  <a:pt x="5899951" y="4709375"/>
                </a:cubicBezTo>
                <a:cubicBezTo>
                  <a:pt x="5897628" y="4709788"/>
                  <a:pt x="5894995" y="4708755"/>
                  <a:pt x="5893756" y="4706794"/>
                </a:cubicBezTo>
                <a:cubicBezTo>
                  <a:pt x="5892826" y="4705451"/>
                  <a:pt x="5892517" y="4703696"/>
                  <a:pt x="5893136" y="4701734"/>
                </a:cubicBezTo>
                <a:cubicBezTo>
                  <a:pt x="5895615" y="4701011"/>
                  <a:pt x="5898209" y="4699953"/>
                  <a:pt x="5900455" y="4699772"/>
                </a:cubicBezTo>
                <a:close/>
                <a:moveTo>
                  <a:pt x="1848648" y="4699341"/>
                </a:moveTo>
                <a:cubicBezTo>
                  <a:pt x="1849888" y="4700580"/>
                  <a:pt x="1851436" y="4703472"/>
                  <a:pt x="1850352" y="4705640"/>
                </a:cubicBezTo>
                <a:cubicBezTo>
                  <a:pt x="1850352" y="4705640"/>
                  <a:pt x="1850352" y="4705640"/>
                  <a:pt x="1849733" y="4706776"/>
                </a:cubicBezTo>
                <a:cubicBezTo>
                  <a:pt x="1849113" y="4704401"/>
                  <a:pt x="1848339" y="4701200"/>
                  <a:pt x="1848648" y="4699341"/>
                </a:cubicBezTo>
                <a:close/>
                <a:moveTo>
                  <a:pt x="6503737" y="4698946"/>
                </a:moveTo>
                <a:cubicBezTo>
                  <a:pt x="6504821" y="4698636"/>
                  <a:pt x="6505906" y="4698223"/>
                  <a:pt x="6507455" y="4699153"/>
                </a:cubicBezTo>
                <a:cubicBezTo>
                  <a:pt x="6508229" y="4701528"/>
                  <a:pt x="6506525" y="4703283"/>
                  <a:pt x="6506835" y="4704522"/>
                </a:cubicBezTo>
                <a:cubicBezTo>
                  <a:pt x="6506060" y="4704006"/>
                  <a:pt x="6504666" y="4703179"/>
                  <a:pt x="6503117" y="4704315"/>
                </a:cubicBezTo>
                <a:cubicBezTo>
                  <a:pt x="6502343" y="4701941"/>
                  <a:pt x="6501568" y="4699566"/>
                  <a:pt x="6503737" y="4698946"/>
                </a:cubicBezTo>
                <a:close/>
                <a:moveTo>
                  <a:pt x="6105809" y="4698327"/>
                </a:moveTo>
                <a:cubicBezTo>
                  <a:pt x="6108907" y="4699049"/>
                  <a:pt x="6109836" y="4702250"/>
                  <a:pt x="6109371" y="4705555"/>
                </a:cubicBezTo>
                <a:cubicBezTo>
                  <a:pt x="6108752" y="4708755"/>
                  <a:pt x="6106738" y="4712060"/>
                  <a:pt x="6104105" y="4713196"/>
                </a:cubicBezTo>
                <a:cubicBezTo>
                  <a:pt x="6103330" y="4711750"/>
                  <a:pt x="6102711" y="4710511"/>
                  <a:pt x="6102246" y="4709169"/>
                </a:cubicBezTo>
                <a:cubicBezTo>
                  <a:pt x="6100852" y="4705348"/>
                  <a:pt x="6101471" y="4701941"/>
                  <a:pt x="6105809" y="4698327"/>
                </a:cubicBezTo>
                <a:close/>
                <a:moveTo>
                  <a:pt x="1507102" y="4698309"/>
                </a:moveTo>
                <a:lnTo>
                  <a:pt x="1509452" y="4698911"/>
                </a:lnTo>
                <a:lnTo>
                  <a:pt x="1509426" y="4698928"/>
                </a:lnTo>
                <a:cubicBezTo>
                  <a:pt x="1508186" y="4698618"/>
                  <a:pt x="1507102" y="4698309"/>
                  <a:pt x="1507102" y="4698309"/>
                </a:cubicBezTo>
                <a:close/>
                <a:moveTo>
                  <a:pt x="867826" y="4698102"/>
                </a:moveTo>
                <a:cubicBezTo>
                  <a:pt x="869549" y="4699032"/>
                  <a:pt x="870479" y="4701458"/>
                  <a:pt x="870014" y="4703988"/>
                </a:cubicBezTo>
                <a:cubicBezTo>
                  <a:pt x="869704" y="4705743"/>
                  <a:pt x="868775" y="4707499"/>
                  <a:pt x="867070" y="4708841"/>
                </a:cubicBezTo>
                <a:cubicBezTo>
                  <a:pt x="866451" y="4708841"/>
                  <a:pt x="865676" y="4708531"/>
                  <a:pt x="864902" y="4708015"/>
                </a:cubicBezTo>
                <a:lnTo>
                  <a:pt x="864747" y="4707808"/>
                </a:lnTo>
                <a:lnTo>
                  <a:pt x="861804" y="4712042"/>
                </a:lnTo>
                <a:cubicBezTo>
                  <a:pt x="860875" y="4711422"/>
                  <a:pt x="860255" y="4710596"/>
                  <a:pt x="859946" y="4709564"/>
                </a:cubicBezTo>
                <a:cubicBezTo>
                  <a:pt x="859325" y="4708015"/>
                  <a:pt x="859480" y="4706156"/>
                  <a:pt x="859946" y="4704401"/>
                </a:cubicBezTo>
                <a:lnTo>
                  <a:pt x="861339" y="4702336"/>
                </a:lnTo>
                <a:lnTo>
                  <a:pt x="860875" y="4701200"/>
                </a:lnTo>
                <a:cubicBezTo>
                  <a:pt x="863585" y="4697741"/>
                  <a:pt x="866102" y="4697173"/>
                  <a:pt x="867826" y="4698102"/>
                </a:cubicBezTo>
                <a:close/>
                <a:moveTo>
                  <a:pt x="1510819" y="4697999"/>
                </a:moveTo>
                <a:cubicBezTo>
                  <a:pt x="1512059" y="4698309"/>
                  <a:pt x="1512059" y="4698309"/>
                  <a:pt x="1513143" y="4699858"/>
                </a:cubicBezTo>
                <a:lnTo>
                  <a:pt x="1509452" y="4698911"/>
                </a:lnTo>
                <a:close/>
                <a:moveTo>
                  <a:pt x="5978794" y="4697707"/>
                </a:moveTo>
                <a:cubicBezTo>
                  <a:pt x="5981892" y="4701941"/>
                  <a:pt x="5986693" y="4703903"/>
                  <a:pt x="5986848" y="4707000"/>
                </a:cubicBezTo>
                <a:cubicBezTo>
                  <a:pt x="5986848" y="4708033"/>
                  <a:pt x="5986384" y="4709272"/>
                  <a:pt x="5984989" y="4710717"/>
                </a:cubicBezTo>
                <a:cubicBezTo>
                  <a:pt x="5983286" y="4709995"/>
                  <a:pt x="5979258" y="4707207"/>
                  <a:pt x="5977245" y="4704109"/>
                </a:cubicBezTo>
                <a:cubicBezTo>
                  <a:pt x="5976625" y="4703179"/>
                  <a:pt x="5976315" y="4702147"/>
                  <a:pt x="5976315" y="4701114"/>
                </a:cubicBezTo>
                <a:cubicBezTo>
                  <a:pt x="5976315" y="4699772"/>
                  <a:pt x="5977090" y="4698636"/>
                  <a:pt x="5978794" y="4697707"/>
                </a:cubicBezTo>
                <a:close/>
                <a:moveTo>
                  <a:pt x="6397769" y="4697591"/>
                </a:moveTo>
                <a:cubicBezTo>
                  <a:pt x="6399957" y="4698198"/>
                  <a:pt x="6402203" y="4700030"/>
                  <a:pt x="6404449" y="4701837"/>
                </a:cubicBezTo>
                <a:cubicBezTo>
                  <a:pt x="6402435" y="4704935"/>
                  <a:pt x="6403674" y="4708342"/>
                  <a:pt x="6398408" y="4711234"/>
                </a:cubicBezTo>
                <a:cubicBezTo>
                  <a:pt x="6395465" y="4707723"/>
                  <a:pt x="6394226" y="4704212"/>
                  <a:pt x="6391437" y="4700702"/>
                </a:cubicBezTo>
                <a:cubicBezTo>
                  <a:pt x="6393451" y="4697604"/>
                  <a:pt x="6395581" y="4696984"/>
                  <a:pt x="6397769" y="4697591"/>
                </a:cubicBezTo>
                <a:close/>
                <a:moveTo>
                  <a:pt x="1595858" y="4697586"/>
                </a:moveTo>
                <a:cubicBezTo>
                  <a:pt x="1594774" y="4699961"/>
                  <a:pt x="1596167" y="4701097"/>
                  <a:pt x="1595238" y="4703472"/>
                </a:cubicBezTo>
                <a:cubicBezTo>
                  <a:pt x="1593069" y="4702645"/>
                  <a:pt x="1591211" y="4702645"/>
                  <a:pt x="1590127" y="4702233"/>
                </a:cubicBezTo>
                <a:cubicBezTo>
                  <a:pt x="1590437" y="4698309"/>
                  <a:pt x="1592605" y="4696347"/>
                  <a:pt x="1595858" y="4697586"/>
                </a:cubicBezTo>
                <a:close/>
                <a:moveTo>
                  <a:pt x="6804507" y="4697126"/>
                </a:moveTo>
                <a:cubicBezTo>
                  <a:pt x="6808766" y="4696313"/>
                  <a:pt x="6812290" y="4695900"/>
                  <a:pt x="6814614" y="4697604"/>
                </a:cubicBezTo>
                <a:cubicBezTo>
                  <a:pt x="6816163" y="4698740"/>
                  <a:pt x="6817247" y="4700805"/>
                  <a:pt x="6817712" y="4704315"/>
                </a:cubicBezTo>
                <a:cubicBezTo>
                  <a:pt x="6814614" y="4706071"/>
                  <a:pt x="6806714" y="4708549"/>
                  <a:pt x="6800054" y="4708652"/>
                </a:cubicBezTo>
                <a:cubicBezTo>
                  <a:pt x="6793238" y="4708859"/>
                  <a:pt x="6787817" y="4706690"/>
                  <a:pt x="6789985" y="4699049"/>
                </a:cubicBezTo>
                <a:cubicBezTo>
                  <a:pt x="6795252" y="4699152"/>
                  <a:pt x="6800247" y="4697939"/>
                  <a:pt x="6804507" y="4697126"/>
                </a:cubicBezTo>
                <a:close/>
                <a:moveTo>
                  <a:pt x="1789168" y="4696967"/>
                </a:moveTo>
                <a:cubicBezTo>
                  <a:pt x="1789943" y="4695314"/>
                  <a:pt x="1799546" y="4702749"/>
                  <a:pt x="1802179" y="4704607"/>
                </a:cubicBezTo>
                <a:cubicBezTo>
                  <a:pt x="1802179" y="4705434"/>
                  <a:pt x="1802179" y="4705434"/>
                  <a:pt x="1802179" y="4705434"/>
                </a:cubicBezTo>
                <a:cubicBezTo>
                  <a:pt x="1801870" y="4706259"/>
                  <a:pt x="1801250" y="4706466"/>
                  <a:pt x="1800321" y="4706259"/>
                </a:cubicBezTo>
                <a:cubicBezTo>
                  <a:pt x="1799546" y="4705950"/>
                  <a:pt x="1798462" y="4705330"/>
                  <a:pt x="1797068" y="4704401"/>
                </a:cubicBezTo>
                <a:cubicBezTo>
                  <a:pt x="1794435" y="4702439"/>
                  <a:pt x="1791802" y="4698825"/>
                  <a:pt x="1790873" y="4697999"/>
                </a:cubicBezTo>
                <a:cubicBezTo>
                  <a:pt x="1789943" y="4697070"/>
                  <a:pt x="1789168" y="4696967"/>
                  <a:pt x="1789168" y="4696967"/>
                </a:cubicBezTo>
                <a:close/>
                <a:moveTo>
                  <a:pt x="6125422" y="4696494"/>
                </a:moveTo>
                <a:cubicBezTo>
                  <a:pt x="6127029" y="4694816"/>
                  <a:pt x="6129740" y="4694506"/>
                  <a:pt x="6131522" y="4698120"/>
                </a:cubicBezTo>
                <a:cubicBezTo>
                  <a:pt x="6129198" y="4700598"/>
                  <a:pt x="6127494" y="4702354"/>
                  <a:pt x="6125945" y="4703076"/>
                </a:cubicBezTo>
                <a:cubicBezTo>
                  <a:pt x="6123312" y="4701218"/>
                  <a:pt x="6123815" y="4698172"/>
                  <a:pt x="6125422" y="4696494"/>
                </a:cubicBezTo>
                <a:close/>
                <a:moveTo>
                  <a:pt x="1576960" y="4696450"/>
                </a:moveTo>
                <a:cubicBezTo>
                  <a:pt x="1576960" y="4696450"/>
                  <a:pt x="1576960" y="4696450"/>
                  <a:pt x="1582537" y="4699651"/>
                </a:cubicBezTo>
                <a:cubicBezTo>
                  <a:pt x="1582227" y="4700064"/>
                  <a:pt x="1581762" y="4700168"/>
                  <a:pt x="1581297" y="4699961"/>
                </a:cubicBezTo>
                <a:cubicBezTo>
                  <a:pt x="1580833" y="4699754"/>
                  <a:pt x="1580368" y="4699341"/>
                  <a:pt x="1579903" y="4698928"/>
                </a:cubicBezTo>
                <a:cubicBezTo>
                  <a:pt x="1578819" y="4698102"/>
                  <a:pt x="1577890" y="4697276"/>
                  <a:pt x="1576960" y="4696450"/>
                </a:cubicBezTo>
                <a:close/>
                <a:moveTo>
                  <a:pt x="1502939" y="4696373"/>
                </a:moveTo>
                <a:cubicBezTo>
                  <a:pt x="1504701" y="4697121"/>
                  <a:pt x="1506328" y="4698412"/>
                  <a:pt x="1507567" y="4699238"/>
                </a:cubicBezTo>
                <a:lnTo>
                  <a:pt x="1506947" y="4700683"/>
                </a:lnTo>
                <a:lnTo>
                  <a:pt x="1508806" y="4700580"/>
                </a:lnTo>
                <a:cubicBezTo>
                  <a:pt x="1509581" y="4700683"/>
                  <a:pt x="1510510" y="4700890"/>
                  <a:pt x="1511439" y="4701097"/>
                </a:cubicBezTo>
                <a:cubicBezTo>
                  <a:pt x="1511284" y="4703059"/>
                  <a:pt x="1512989" y="4705020"/>
                  <a:pt x="1512059" y="4707292"/>
                </a:cubicBezTo>
                <a:cubicBezTo>
                  <a:pt x="1512059" y="4707292"/>
                  <a:pt x="1511594" y="4708531"/>
                  <a:pt x="1510045" y="4709357"/>
                </a:cubicBezTo>
                <a:cubicBezTo>
                  <a:pt x="1508341" y="4712042"/>
                  <a:pt x="1505089" y="4710803"/>
                  <a:pt x="1505089" y="4710803"/>
                </a:cubicBezTo>
                <a:cubicBezTo>
                  <a:pt x="1505089" y="4710803"/>
                  <a:pt x="1505089" y="4710803"/>
                  <a:pt x="1505398" y="4711526"/>
                </a:cubicBezTo>
                <a:cubicBezTo>
                  <a:pt x="1504779" y="4709977"/>
                  <a:pt x="1503385" y="4708841"/>
                  <a:pt x="1502765" y="4707292"/>
                </a:cubicBezTo>
                <a:lnTo>
                  <a:pt x="1503075" y="4706673"/>
                </a:lnTo>
                <a:lnTo>
                  <a:pt x="1502455" y="4707292"/>
                </a:lnTo>
                <a:cubicBezTo>
                  <a:pt x="1500286" y="4706466"/>
                  <a:pt x="1498738" y="4705227"/>
                  <a:pt x="1497808" y="4703472"/>
                </a:cubicBezTo>
                <a:lnTo>
                  <a:pt x="1497653" y="4700271"/>
                </a:lnTo>
                <a:lnTo>
                  <a:pt x="1496105" y="4699238"/>
                </a:lnTo>
                <a:lnTo>
                  <a:pt x="1497499" y="4697276"/>
                </a:lnTo>
                <a:lnTo>
                  <a:pt x="1497499" y="4696760"/>
                </a:lnTo>
                <a:cubicBezTo>
                  <a:pt x="1499280" y="4695418"/>
                  <a:pt x="1501177" y="4695624"/>
                  <a:pt x="1502939" y="4696373"/>
                </a:cubicBezTo>
                <a:close/>
                <a:moveTo>
                  <a:pt x="6442243" y="4696365"/>
                </a:moveTo>
                <a:cubicBezTo>
                  <a:pt x="6443328" y="4697087"/>
                  <a:pt x="6444257" y="4698223"/>
                  <a:pt x="6444722" y="4699669"/>
                </a:cubicBezTo>
                <a:cubicBezTo>
                  <a:pt x="6445187" y="4701631"/>
                  <a:pt x="6444722" y="4704212"/>
                  <a:pt x="6442553" y="4707103"/>
                </a:cubicBezTo>
                <a:cubicBezTo>
                  <a:pt x="6438371" y="4707516"/>
                  <a:pt x="6436667" y="4705555"/>
                  <a:pt x="6433879" y="4704832"/>
                </a:cubicBezTo>
                <a:cubicBezTo>
                  <a:pt x="6433105" y="4696055"/>
                  <a:pt x="6438681" y="4694197"/>
                  <a:pt x="6442243" y="4696365"/>
                </a:cubicBezTo>
                <a:close/>
                <a:moveTo>
                  <a:pt x="6148250" y="4696365"/>
                </a:moveTo>
                <a:cubicBezTo>
                  <a:pt x="6151968" y="4698740"/>
                  <a:pt x="6153207" y="4696055"/>
                  <a:pt x="6158938" y="4700082"/>
                </a:cubicBezTo>
                <a:cubicBezTo>
                  <a:pt x="6164359" y="4703696"/>
                  <a:pt x="6165289" y="4708136"/>
                  <a:pt x="6164669" y="4711543"/>
                </a:cubicBezTo>
                <a:lnTo>
                  <a:pt x="6163585" y="4714228"/>
                </a:lnTo>
                <a:lnTo>
                  <a:pt x="6165599" y="4715983"/>
                </a:lnTo>
                <a:cubicBezTo>
                  <a:pt x="6159248" y="4720837"/>
                  <a:pt x="6168542" y="4724657"/>
                  <a:pt x="6163740" y="4728787"/>
                </a:cubicBezTo>
                <a:cubicBezTo>
                  <a:pt x="6161261" y="4729304"/>
                  <a:pt x="6158783" y="4730852"/>
                  <a:pt x="6155995" y="4730336"/>
                </a:cubicBezTo>
                <a:cubicBezTo>
                  <a:pt x="6155066" y="4730233"/>
                  <a:pt x="6153981" y="4729923"/>
                  <a:pt x="6152897" y="4729200"/>
                </a:cubicBezTo>
                <a:cubicBezTo>
                  <a:pt x="6154911" y="4726309"/>
                  <a:pt x="6155995" y="4723521"/>
                  <a:pt x="6156925" y="4720733"/>
                </a:cubicBezTo>
                <a:lnTo>
                  <a:pt x="6157699" y="4718462"/>
                </a:lnTo>
                <a:lnTo>
                  <a:pt x="6155066" y="4719081"/>
                </a:lnTo>
                <a:cubicBezTo>
                  <a:pt x="6153362" y="4719184"/>
                  <a:pt x="6151658" y="4718668"/>
                  <a:pt x="6149490" y="4717223"/>
                </a:cubicBezTo>
                <a:cubicBezTo>
                  <a:pt x="6144843" y="4714022"/>
                  <a:pt x="6140815" y="4709065"/>
                  <a:pt x="6145617" y="4701734"/>
                </a:cubicBezTo>
                <a:cubicBezTo>
                  <a:pt x="6146236" y="4699979"/>
                  <a:pt x="6146392" y="4700908"/>
                  <a:pt x="6147011" y="4699979"/>
                </a:cubicBezTo>
                <a:cubicBezTo>
                  <a:pt x="6147786" y="4699049"/>
                  <a:pt x="6148405" y="4697191"/>
                  <a:pt x="6148250" y="4696365"/>
                </a:cubicBezTo>
                <a:close/>
                <a:moveTo>
                  <a:pt x="892319" y="4696347"/>
                </a:moveTo>
                <a:cubicBezTo>
                  <a:pt x="892009" y="4699961"/>
                  <a:pt x="893404" y="4704298"/>
                  <a:pt x="892164" y="4706982"/>
                </a:cubicBezTo>
                <a:cubicBezTo>
                  <a:pt x="891699" y="4707499"/>
                  <a:pt x="891390" y="4707912"/>
                  <a:pt x="890925" y="4708118"/>
                </a:cubicBezTo>
                <a:cubicBezTo>
                  <a:pt x="890460" y="4708221"/>
                  <a:pt x="889685" y="4708015"/>
                  <a:pt x="888756" y="4707189"/>
                </a:cubicBezTo>
                <a:cubicBezTo>
                  <a:pt x="887052" y="4706363"/>
                  <a:pt x="886897" y="4705537"/>
                  <a:pt x="888136" y="4702852"/>
                </a:cubicBezTo>
                <a:cubicBezTo>
                  <a:pt x="889530" y="4700993"/>
                  <a:pt x="890150" y="4699135"/>
                  <a:pt x="891080" y="4699135"/>
                </a:cubicBezTo>
                <a:cubicBezTo>
                  <a:pt x="890925" y="4698206"/>
                  <a:pt x="891544" y="4697276"/>
                  <a:pt x="891544" y="4696450"/>
                </a:cubicBezTo>
                <a:cubicBezTo>
                  <a:pt x="891544" y="4696450"/>
                  <a:pt x="891544" y="4696450"/>
                  <a:pt x="892319" y="4696347"/>
                </a:cubicBezTo>
                <a:close/>
                <a:moveTo>
                  <a:pt x="6268605" y="4695848"/>
                </a:moveTo>
                <a:cubicBezTo>
                  <a:pt x="6272477" y="4698223"/>
                  <a:pt x="6270773" y="4702354"/>
                  <a:pt x="6268140" y="4706690"/>
                </a:cubicBezTo>
                <a:cubicBezTo>
                  <a:pt x="6266281" y="4706277"/>
                  <a:pt x="6264732" y="4706794"/>
                  <a:pt x="6262873" y="4706380"/>
                </a:cubicBezTo>
                <a:cubicBezTo>
                  <a:pt x="6261170" y="4704212"/>
                  <a:pt x="6262099" y="4697913"/>
                  <a:pt x="6265042" y="4695952"/>
                </a:cubicBezTo>
                <a:cubicBezTo>
                  <a:pt x="6265972" y="4695332"/>
                  <a:pt x="6267211" y="4695126"/>
                  <a:pt x="6268605" y="4695848"/>
                </a:cubicBezTo>
                <a:close/>
                <a:moveTo>
                  <a:pt x="1722718" y="4695727"/>
                </a:moveTo>
                <a:lnTo>
                  <a:pt x="1723028" y="4696244"/>
                </a:lnTo>
                <a:lnTo>
                  <a:pt x="1724732" y="4696760"/>
                </a:lnTo>
                <a:cubicBezTo>
                  <a:pt x="1727674" y="4696553"/>
                  <a:pt x="1728913" y="4700168"/>
                  <a:pt x="1728913" y="4700168"/>
                </a:cubicBezTo>
                <a:cubicBezTo>
                  <a:pt x="1728913" y="4700168"/>
                  <a:pt x="1728913" y="4700168"/>
                  <a:pt x="1729223" y="4699341"/>
                </a:cubicBezTo>
                <a:cubicBezTo>
                  <a:pt x="1728604" y="4700890"/>
                  <a:pt x="1728604" y="4702852"/>
                  <a:pt x="1727985" y="4704401"/>
                </a:cubicBezTo>
                <a:lnTo>
                  <a:pt x="1726125" y="4704917"/>
                </a:lnTo>
                <a:lnTo>
                  <a:pt x="1726435" y="4707602"/>
                </a:lnTo>
                <a:cubicBezTo>
                  <a:pt x="1726125" y="4711939"/>
                  <a:pt x="1724732" y="4716275"/>
                  <a:pt x="1723337" y="4718960"/>
                </a:cubicBezTo>
                <a:cubicBezTo>
                  <a:pt x="1721788" y="4717514"/>
                  <a:pt x="1720859" y="4715552"/>
                  <a:pt x="1720085" y="4713487"/>
                </a:cubicBezTo>
                <a:cubicBezTo>
                  <a:pt x="1719155" y="4710390"/>
                  <a:pt x="1719000" y="4706879"/>
                  <a:pt x="1719465" y="4703678"/>
                </a:cubicBezTo>
                <a:lnTo>
                  <a:pt x="1719465" y="4703368"/>
                </a:lnTo>
                <a:lnTo>
                  <a:pt x="1718071" y="4700683"/>
                </a:lnTo>
                <a:cubicBezTo>
                  <a:pt x="1719620" y="4699548"/>
                  <a:pt x="1719775" y="4696863"/>
                  <a:pt x="1722098" y="4696244"/>
                </a:cubicBezTo>
                <a:lnTo>
                  <a:pt x="1722563" y="4696244"/>
                </a:lnTo>
                <a:close/>
                <a:moveTo>
                  <a:pt x="930888" y="4695211"/>
                </a:moveTo>
                <a:cubicBezTo>
                  <a:pt x="933676" y="4696140"/>
                  <a:pt x="935844" y="4694592"/>
                  <a:pt x="939872" y="4696967"/>
                </a:cubicBezTo>
                <a:lnTo>
                  <a:pt x="937238" y="4708325"/>
                </a:lnTo>
                <a:lnTo>
                  <a:pt x="937703" y="4709874"/>
                </a:lnTo>
                <a:cubicBezTo>
                  <a:pt x="937703" y="4710906"/>
                  <a:pt x="937549" y="4711732"/>
                  <a:pt x="937238" y="4712042"/>
                </a:cubicBezTo>
                <a:lnTo>
                  <a:pt x="936309" y="4712455"/>
                </a:lnTo>
                <a:lnTo>
                  <a:pt x="934760" y="4719476"/>
                </a:lnTo>
                <a:cubicBezTo>
                  <a:pt x="933521" y="4726808"/>
                  <a:pt x="932127" y="4733726"/>
                  <a:pt x="929959" y="4740128"/>
                </a:cubicBezTo>
                <a:cubicBezTo>
                  <a:pt x="922524" y="4728253"/>
                  <a:pt x="928565" y="4710700"/>
                  <a:pt x="930888" y="4695211"/>
                </a:cubicBezTo>
                <a:close/>
                <a:moveTo>
                  <a:pt x="5840781" y="4695022"/>
                </a:moveTo>
                <a:cubicBezTo>
                  <a:pt x="5841555" y="4695022"/>
                  <a:pt x="5842330" y="4695848"/>
                  <a:pt x="5842330" y="4695848"/>
                </a:cubicBezTo>
                <a:cubicBezTo>
                  <a:pt x="5842950" y="4696778"/>
                  <a:pt x="5842950" y="4696778"/>
                  <a:pt x="5843879" y="4695952"/>
                </a:cubicBezTo>
                <a:cubicBezTo>
                  <a:pt x="5843879" y="4695952"/>
                  <a:pt x="5843879" y="4696778"/>
                  <a:pt x="5843879" y="4696778"/>
                </a:cubicBezTo>
                <a:cubicBezTo>
                  <a:pt x="5842950" y="4696778"/>
                  <a:pt x="5843879" y="4696778"/>
                  <a:pt x="5844653" y="4697707"/>
                </a:cubicBezTo>
                <a:cubicBezTo>
                  <a:pt x="5843569" y="4699463"/>
                  <a:pt x="5843569" y="4700288"/>
                  <a:pt x="5842640" y="4701218"/>
                </a:cubicBezTo>
                <a:cubicBezTo>
                  <a:pt x="5842175" y="4701631"/>
                  <a:pt x="5841401" y="4702044"/>
                  <a:pt x="5840781" y="4702250"/>
                </a:cubicBezTo>
                <a:cubicBezTo>
                  <a:pt x="5840162" y="4702457"/>
                  <a:pt x="5839542" y="4702457"/>
                  <a:pt x="5839232" y="4702044"/>
                </a:cubicBezTo>
                <a:cubicBezTo>
                  <a:pt x="5839232" y="4701114"/>
                  <a:pt x="5838458" y="4701114"/>
                  <a:pt x="5838458" y="4700185"/>
                </a:cubicBezTo>
                <a:cubicBezTo>
                  <a:pt x="5837838" y="4698430"/>
                  <a:pt x="5837993" y="4697604"/>
                  <a:pt x="5838922" y="4696778"/>
                </a:cubicBezTo>
                <a:cubicBezTo>
                  <a:pt x="5838922" y="4695848"/>
                  <a:pt x="5839851" y="4695848"/>
                  <a:pt x="5840781" y="4695022"/>
                </a:cubicBezTo>
                <a:close/>
                <a:moveTo>
                  <a:pt x="6283010" y="4694712"/>
                </a:moveTo>
                <a:cubicBezTo>
                  <a:pt x="6285333" y="4693887"/>
                  <a:pt x="6287812" y="4693164"/>
                  <a:pt x="6291374" y="4695848"/>
                </a:cubicBezTo>
                <a:cubicBezTo>
                  <a:pt x="6292304" y="4699359"/>
                  <a:pt x="6291684" y="4701941"/>
                  <a:pt x="6288431" y="4705141"/>
                </a:cubicBezTo>
                <a:cubicBezTo>
                  <a:pt x="6284249" y="4705038"/>
                  <a:pt x="6278983" y="4698740"/>
                  <a:pt x="6283010" y="4694712"/>
                </a:cubicBezTo>
                <a:close/>
                <a:moveTo>
                  <a:pt x="6462535" y="4694609"/>
                </a:moveTo>
                <a:cubicBezTo>
                  <a:pt x="6462380" y="4695848"/>
                  <a:pt x="6465943" y="4696674"/>
                  <a:pt x="6467027" y="4696984"/>
                </a:cubicBezTo>
                <a:cubicBezTo>
                  <a:pt x="6466717" y="4699359"/>
                  <a:pt x="6470745" y="4701114"/>
                  <a:pt x="6470125" y="4704729"/>
                </a:cubicBezTo>
                <a:cubicBezTo>
                  <a:pt x="6468731" y="4705658"/>
                  <a:pt x="6468111" y="4706071"/>
                  <a:pt x="6466252" y="4706174"/>
                </a:cubicBezTo>
                <a:cubicBezTo>
                  <a:pt x="6457423" y="4703386"/>
                  <a:pt x="6457113" y="4698223"/>
                  <a:pt x="6455874" y="4697913"/>
                </a:cubicBezTo>
                <a:cubicBezTo>
                  <a:pt x="6456494" y="4694300"/>
                  <a:pt x="6458817" y="4694919"/>
                  <a:pt x="6462535" y="4694609"/>
                </a:cubicBezTo>
                <a:close/>
                <a:moveTo>
                  <a:pt x="1363823" y="4693869"/>
                </a:moveTo>
                <a:cubicBezTo>
                  <a:pt x="1365062" y="4694178"/>
                  <a:pt x="1366147" y="4695417"/>
                  <a:pt x="1366921" y="4696760"/>
                </a:cubicBezTo>
                <a:lnTo>
                  <a:pt x="1367695" y="4698928"/>
                </a:lnTo>
                <a:lnTo>
                  <a:pt x="1368470" y="4697999"/>
                </a:lnTo>
                <a:cubicBezTo>
                  <a:pt x="1369399" y="4697483"/>
                  <a:pt x="1370793" y="4697896"/>
                  <a:pt x="1372807" y="4698309"/>
                </a:cubicBezTo>
                <a:cubicBezTo>
                  <a:pt x="1372342" y="4702026"/>
                  <a:pt x="1370638" y="4702542"/>
                  <a:pt x="1367076" y="4702439"/>
                </a:cubicBezTo>
                <a:lnTo>
                  <a:pt x="1367076" y="4702026"/>
                </a:lnTo>
                <a:lnTo>
                  <a:pt x="1366456" y="4702852"/>
                </a:lnTo>
                <a:cubicBezTo>
                  <a:pt x="1365527" y="4703265"/>
                  <a:pt x="1364288" y="4703265"/>
                  <a:pt x="1363049" y="4702955"/>
                </a:cubicBezTo>
                <a:cubicBezTo>
                  <a:pt x="1362274" y="4702955"/>
                  <a:pt x="1361345" y="4702439"/>
                  <a:pt x="1360725" y="4701716"/>
                </a:cubicBezTo>
                <a:cubicBezTo>
                  <a:pt x="1360106" y="4700890"/>
                  <a:pt x="1359641" y="4699858"/>
                  <a:pt x="1359486" y="4698825"/>
                </a:cubicBezTo>
                <a:cubicBezTo>
                  <a:pt x="1359641" y="4697689"/>
                  <a:pt x="1359641" y="4697689"/>
                  <a:pt x="1359796" y="4696450"/>
                </a:cubicBezTo>
                <a:cubicBezTo>
                  <a:pt x="1361190" y="4695624"/>
                  <a:pt x="1361965" y="4693972"/>
                  <a:pt x="1363823" y="4693869"/>
                </a:cubicBezTo>
                <a:close/>
                <a:moveTo>
                  <a:pt x="1709087" y="4693766"/>
                </a:moveTo>
                <a:cubicBezTo>
                  <a:pt x="1709087" y="4693766"/>
                  <a:pt x="1710636" y="4695934"/>
                  <a:pt x="1710636" y="4695934"/>
                </a:cubicBezTo>
                <a:cubicBezTo>
                  <a:pt x="1710016" y="4697070"/>
                  <a:pt x="1710016" y="4697070"/>
                  <a:pt x="1709861" y="4696244"/>
                </a:cubicBezTo>
                <a:cubicBezTo>
                  <a:pt x="1708467" y="4697689"/>
                  <a:pt x="1707538" y="4698102"/>
                  <a:pt x="1706764" y="4698412"/>
                </a:cubicBezTo>
                <a:cubicBezTo>
                  <a:pt x="1705679" y="4697896"/>
                  <a:pt x="1705215" y="4696347"/>
                  <a:pt x="1705524" y="4694385"/>
                </a:cubicBezTo>
                <a:cubicBezTo>
                  <a:pt x="1706609" y="4694798"/>
                  <a:pt x="1708003" y="4693249"/>
                  <a:pt x="1709087" y="4693766"/>
                </a:cubicBezTo>
                <a:close/>
                <a:moveTo>
                  <a:pt x="1143754" y="4693636"/>
                </a:moveTo>
                <a:cubicBezTo>
                  <a:pt x="1145613" y="4691907"/>
                  <a:pt x="1148053" y="4691236"/>
                  <a:pt x="1149756" y="4694075"/>
                </a:cubicBezTo>
                <a:cubicBezTo>
                  <a:pt x="1150221" y="4694695"/>
                  <a:pt x="1150066" y="4695624"/>
                  <a:pt x="1149601" y="4696657"/>
                </a:cubicBezTo>
                <a:cubicBezTo>
                  <a:pt x="1148517" y="4698722"/>
                  <a:pt x="1145574" y="4700890"/>
                  <a:pt x="1143251" y="4700580"/>
                </a:cubicBezTo>
                <a:cubicBezTo>
                  <a:pt x="1142476" y="4700477"/>
                  <a:pt x="1141702" y="4700271"/>
                  <a:pt x="1141237" y="4699548"/>
                </a:cubicBezTo>
                <a:cubicBezTo>
                  <a:pt x="1140618" y="4698154"/>
                  <a:pt x="1141896" y="4695366"/>
                  <a:pt x="1143754" y="4693636"/>
                </a:cubicBezTo>
                <a:close/>
                <a:moveTo>
                  <a:pt x="1780649" y="4693352"/>
                </a:moveTo>
                <a:cubicBezTo>
                  <a:pt x="1781423" y="4691701"/>
                  <a:pt x="1782353" y="4694282"/>
                  <a:pt x="1783128" y="4693456"/>
                </a:cubicBezTo>
                <a:lnTo>
                  <a:pt x="1782972" y="4699858"/>
                </a:lnTo>
                <a:lnTo>
                  <a:pt x="1788084" y="4700168"/>
                </a:lnTo>
                <a:cubicBezTo>
                  <a:pt x="1790717" y="4705124"/>
                  <a:pt x="1787155" y="4711629"/>
                  <a:pt x="1782817" y="4715656"/>
                </a:cubicBezTo>
                <a:lnTo>
                  <a:pt x="1782508" y="4716069"/>
                </a:lnTo>
                <a:lnTo>
                  <a:pt x="1782817" y="4716172"/>
                </a:lnTo>
                <a:cubicBezTo>
                  <a:pt x="1783902" y="4715552"/>
                  <a:pt x="1784676" y="4712971"/>
                  <a:pt x="1786690" y="4714313"/>
                </a:cubicBezTo>
                <a:cubicBezTo>
                  <a:pt x="1790562" y="4717824"/>
                  <a:pt x="1789478" y="4723916"/>
                  <a:pt x="1788703" y="4727117"/>
                </a:cubicBezTo>
                <a:lnTo>
                  <a:pt x="1788239" y="4728976"/>
                </a:lnTo>
                <a:lnTo>
                  <a:pt x="1789013" y="4728976"/>
                </a:lnTo>
                <a:lnTo>
                  <a:pt x="1788239" y="4729802"/>
                </a:lnTo>
                <a:lnTo>
                  <a:pt x="1788239" y="4730008"/>
                </a:lnTo>
                <a:cubicBezTo>
                  <a:pt x="1787310" y="4730008"/>
                  <a:pt x="1787464" y="4730938"/>
                  <a:pt x="1788239" y="4730938"/>
                </a:cubicBezTo>
                <a:cubicBezTo>
                  <a:pt x="1787464" y="4732177"/>
                  <a:pt x="1786845" y="4733209"/>
                  <a:pt x="1786225" y="4733726"/>
                </a:cubicBezTo>
                <a:cubicBezTo>
                  <a:pt x="1785915" y="4734036"/>
                  <a:pt x="1785606" y="4734139"/>
                  <a:pt x="1785296" y="4734139"/>
                </a:cubicBezTo>
                <a:cubicBezTo>
                  <a:pt x="1784986" y="4734036"/>
                  <a:pt x="1784521" y="4733726"/>
                  <a:pt x="1784056" y="4733313"/>
                </a:cubicBezTo>
                <a:cubicBezTo>
                  <a:pt x="1782353" y="4732383"/>
                  <a:pt x="1783128" y="4730731"/>
                  <a:pt x="1781423" y="4728873"/>
                </a:cubicBezTo>
                <a:cubicBezTo>
                  <a:pt x="1777861" y="4726085"/>
                  <a:pt x="1773059" y="4732796"/>
                  <a:pt x="1766088" y="4727324"/>
                </a:cubicBezTo>
                <a:cubicBezTo>
                  <a:pt x="1767792" y="4725672"/>
                  <a:pt x="1764075" y="4721128"/>
                  <a:pt x="1766553" y="4718650"/>
                </a:cubicBezTo>
                <a:lnTo>
                  <a:pt x="1768257" y="4716895"/>
                </a:lnTo>
                <a:lnTo>
                  <a:pt x="1766244" y="4716585"/>
                </a:lnTo>
                <a:cubicBezTo>
                  <a:pt x="1767328" y="4709770"/>
                  <a:pt x="1770890" y="4702336"/>
                  <a:pt x="1771820" y="4700683"/>
                </a:cubicBezTo>
                <a:cubicBezTo>
                  <a:pt x="1772285" y="4699858"/>
                  <a:pt x="1772749" y="4699445"/>
                  <a:pt x="1773214" y="4699445"/>
                </a:cubicBezTo>
                <a:cubicBezTo>
                  <a:pt x="1773679" y="4699445"/>
                  <a:pt x="1774453" y="4699651"/>
                  <a:pt x="1775228" y="4700271"/>
                </a:cubicBezTo>
                <a:cubicBezTo>
                  <a:pt x="1775847" y="4701200"/>
                  <a:pt x="1776157" y="4702129"/>
                  <a:pt x="1776157" y="4702955"/>
                </a:cubicBezTo>
                <a:lnTo>
                  <a:pt x="1776777" y="4702645"/>
                </a:lnTo>
                <a:lnTo>
                  <a:pt x="1776777" y="4702439"/>
                </a:lnTo>
                <a:cubicBezTo>
                  <a:pt x="1777706" y="4699238"/>
                  <a:pt x="1779565" y="4696347"/>
                  <a:pt x="1779875" y="4695108"/>
                </a:cubicBezTo>
                <a:cubicBezTo>
                  <a:pt x="1779875" y="4695108"/>
                  <a:pt x="1779875" y="4694178"/>
                  <a:pt x="1780649" y="4693352"/>
                </a:cubicBezTo>
                <a:close/>
                <a:moveTo>
                  <a:pt x="1387522" y="4693043"/>
                </a:moveTo>
                <a:cubicBezTo>
                  <a:pt x="1389846" y="4693662"/>
                  <a:pt x="1392789" y="4695108"/>
                  <a:pt x="1393099" y="4697070"/>
                </a:cubicBezTo>
                <a:cubicBezTo>
                  <a:pt x="1392634" y="4699445"/>
                  <a:pt x="1390775" y="4699651"/>
                  <a:pt x="1389691" y="4699341"/>
                </a:cubicBezTo>
                <a:cubicBezTo>
                  <a:pt x="1388296" y="4699651"/>
                  <a:pt x="1387213" y="4699032"/>
                  <a:pt x="1386283" y="4697999"/>
                </a:cubicBezTo>
                <a:cubicBezTo>
                  <a:pt x="1385354" y="4696967"/>
                  <a:pt x="1384579" y="4695417"/>
                  <a:pt x="1384269" y="4694075"/>
                </a:cubicBezTo>
                <a:cubicBezTo>
                  <a:pt x="1384734" y="4694901"/>
                  <a:pt x="1384734" y="4694901"/>
                  <a:pt x="1384734" y="4694901"/>
                </a:cubicBezTo>
                <a:cubicBezTo>
                  <a:pt x="1385973" y="4695211"/>
                  <a:pt x="1385354" y="4694385"/>
                  <a:pt x="1386128" y="4693972"/>
                </a:cubicBezTo>
                <a:cubicBezTo>
                  <a:pt x="1386128" y="4693972"/>
                  <a:pt x="1385508" y="4694488"/>
                  <a:pt x="1385664" y="4693249"/>
                </a:cubicBezTo>
                <a:cubicBezTo>
                  <a:pt x="1386128" y="4693972"/>
                  <a:pt x="1386902" y="4693559"/>
                  <a:pt x="1387522" y="4693043"/>
                </a:cubicBezTo>
                <a:close/>
                <a:moveTo>
                  <a:pt x="6217179" y="4692544"/>
                </a:moveTo>
                <a:cubicBezTo>
                  <a:pt x="6219038" y="4690892"/>
                  <a:pt x="6223065" y="4691821"/>
                  <a:pt x="6224614" y="4692647"/>
                </a:cubicBezTo>
                <a:cubicBezTo>
                  <a:pt x="6226163" y="4694403"/>
                  <a:pt x="6225079" y="4697087"/>
                  <a:pt x="6223220" y="4698740"/>
                </a:cubicBezTo>
                <a:cubicBezTo>
                  <a:pt x="6222755" y="4699566"/>
                  <a:pt x="6221826" y="4699979"/>
                  <a:pt x="6220897" y="4700082"/>
                </a:cubicBezTo>
                <a:cubicBezTo>
                  <a:pt x="6219967" y="4700185"/>
                  <a:pt x="6219038" y="4699979"/>
                  <a:pt x="6218263" y="4699463"/>
                </a:cubicBezTo>
                <a:cubicBezTo>
                  <a:pt x="6217489" y="4698636"/>
                  <a:pt x="6217489" y="4698636"/>
                  <a:pt x="6216715" y="4697810"/>
                </a:cubicBezTo>
                <a:cubicBezTo>
                  <a:pt x="6216869" y="4696055"/>
                  <a:pt x="6216250" y="4694300"/>
                  <a:pt x="6217179" y="4692544"/>
                </a:cubicBezTo>
                <a:close/>
                <a:moveTo>
                  <a:pt x="1865068" y="4692113"/>
                </a:moveTo>
                <a:cubicBezTo>
                  <a:pt x="1866152" y="4692423"/>
                  <a:pt x="1868940" y="4693766"/>
                  <a:pt x="1868476" y="4694901"/>
                </a:cubicBezTo>
                <a:cubicBezTo>
                  <a:pt x="1867856" y="4697276"/>
                  <a:pt x="1865997" y="4699445"/>
                  <a:pt x="1864758" y="4699238"/>
                </a:cubicBezTo>
                <a:cubicBezTo>
                  <a:pt x="1863209" y="4698722"/>
                  <a:pt x="1861505" y="4698309"/>
                  <a:pt x="1861195" y="4696657"/>
                </a:cubicBezTo>
                <a:cubicBezTo>
                  <a:pt x="1861195" y="4696037"/>
                  <a:pt x="1861195" y="4695417"/>
                  <a:pt x="1861350" y="4694488"/>
                </a:cubicBezTo>
                <a:cubicBezTo>
                  <a:pt x="1861350" y="4694488"/>
                  <a:pt x="1861505" y="4694488"/>
                  <a:pt x="1862124" y="4694075"/>
                </a:cubicBezTo>
                <a:cubicBezTo>
                  <a:pt x="1863674" y="4693146"/>
                  <a:pt x="1864293" y="4692630"/>
                  <a:pt x="1865068" y="4692113"/>
                </a:cubicBezTo>
                <a:close/>
                <a:moveTo>
                  <a:pt x="670817" y="4691907"/>
                </a:moveTo>
                <a:cubicBezTo>
                  <a:pt x="677788" y="4694178"/>
                  <a:pt x="681195" y="4693972"/>
                  <a:pt x="686617" y="4696244"/>
                </a:cubicBezTo>
                <a:cubicBezTo>
                  <a:pt x="686617" y="4697173"/>
                  <a:pt x="685842" y="4697173"/>
                  <a:pt x="685997" y="4698102"/>
                </a:cubicBezTo>
                <a:cubicBezTo>
                  <a:pt x="685687" y="4698515"/>
                  <a:pt x="684757" y="4698825"/>
                  <a:pt x="683828" y="4698825"/>
                </a:cubicBezTo>
                <a:cubicBezTo>
                  <a:pt x="680731" y="4699032"/>
                  <a:pt x="675774" y="4697586"/>
                  <a:pt x="675619" y="4696967"/>
                </a:cubicBezTo>
                <a:cubicBezTo>
                  <a:pt x="674844" y="4696967"/>
                  <a:pt x="674689" y="4696140"/>
                  <a:pt x="673915" y="4696140"/>
                </a:cubicBezTo>
                <a:cubicBezTo>
                  <a:pt x="673915" y="4696140"/>
                  <a:pt x="672986" y="4696244"/>
                  <a:pt x="672056" y="4695417"/>
                </a:cubicBezTo>
                <a:cubicBezTo>
                  <a:pt x="671127" y="4694592"/>
                  <a:pt x="670197" y="4693766"/>
                  <a:pt x="670817" y="4691907"/>
                </a:cubicBezTo>
                <a:close/>
                <a:moveTo>
                  <a:pt x="1783902" y="4690978"/>
                </a:moveTo>
                <a:cubicBezTo>
                  <a:pt x="1784676" y="4691804"/>
                  <a:pt x="1787310" y="4694592"/>
                  <a:pt x="1787310" y="4694592"/>
                </a:cubicBezTo>
                <a:cubicBezTo>
                  <a:pt x="1788239" y="4694592"/>
                  <a:pt x="1788239" y="4694592"/>
                  <a:pt x="1789013" y="4695417"/>
                </a:cubicBezTo>
                <a:cubicBezTo>
                  <a:pt x="1788239" y="4696244"/>
                  <a:pt x="1788239" y="4696244"/>
                  <a:pt x="1787464" y="4696244"/>
                </a:cubicBezTo>
                <a:cubicBezTo>
                  <a:pt x="1786535" y="4695314"/>
                  <a:pt x="1786535" y="4694488"/>
                  <a:pt x="1785606" y="4693559"/>
                </a:cubicBezTo>
                <a:cubicBezTo>
                  <a:pt x="1784056" y="4695211"/>
                  <a:pt x="1784986" y="4695211"/>
                  <a:pt x="1784056" y="4694385"/>
                </a:cubicBezTo>
                <a:cubicBezTo>
                  <a:pt x="1784056" y="4694385"/>
                  <a:pt x="1784056" y="4694385"/>
                  <a:pt x="1783128" y="4693456"/>
                </a:cubicBezTo>
                <a:cubicBezTo>
                  <a:pt x="1783128" y="4693456"/>
                  <a:pt x="1782353" y="4693456"/>
                  <a:pt x="1783902" y="4690978"/>
                </a:cubicBezTo>
                <a:close/>
                <a:moveTo>
                  <a:pt x="1046285" y="4690978"/>
                </a:moveTo>
                <a:lnTo>
                  <a:pt x="1048919" y="4691804"/>
                </a:lnTo>
                <a:lnTo>
                  <a:pt x="1049384" y="4691597"/>
                </a:lnTo>
                <a:cubicBezTo>
                  <a:pt x="1053101" y="4690255"/>
                  <a:pt x="1056509" y="4693249"/>
                  <a:pt x="1055734" y="4696760"/>
                </a:cubicBezTo>
                <a:cubicBezTo>
                  <a:pt x="1055425" y="4698309"/>
                  <a:pt x="1054185" y="4699858"/>
                  <a:pt x="1052017" y="4701303"/>
                </a:cubicBezTo>
                <a:lnTo>
                  <a:pt x="1051397" y="4700890"/>
                </a:lnTo>
                <a:lnTo>
                  <a:pt x="1050932" y="4701923"/>
                </a:lnTo>
                <a:cubicBezTo>
                  <a:pt x="1049538" y="4703678"/>
                  <a:pt x="1047835" y="4705020"/>
                  <a:pt x="1046130" y="4706363"/>
                </a:cubicBezTo>
                <a:cubicBezTo>
                  <a:pt x="1034823" y="4703988"/>
                  <a:pt x="1043652" y="4696244"/>
                  <a:pt x="1046285" y="4690978"/>
                </a:cubicBezTo>
                <a:close/>
                <a:moveTo>
                  <a:pt x="1530956" y="4690565"/>
                </a:moveTo>
                <a:cubicBezTo>
                  <a:pt x="1532815" y="4691494"/>
                  <a:pt x="1533744" y="4693249"/>
                  <a:pt x="1533589" y="4694901"/>
                </a:cubicBezTo>
                <a:lnTo>
                  <a:pt x="1532505" y="4695831"/>
                </a:lnTo>
                <a:lnTo>
                  <a:pt x="1533899" y="4696244"/>
                </a:lnTo>
                <a:lnTo>
                  <a:pt x="1537152" y="4698928"/>
                </a:lnTo>
                <a:lnTo>
                  <a:pt x="1537462" y="4693869"/>
                </a:lnTo>
                <a:cubicBezTo>
                  <a:pt x="1539785" y="4690461"/>
                  <a:pt x="1546911" y="4693249"/>
                  <a:pt x="1551248" y="4693456"/>
                </a:cubicBezTo>
                <a:cubicBezTo>
                  <a:pt x="1552022" y="4697173"/>
                  <a:pt x="1552022" y="4698412"/>
                  <a:pt x="1550473" y="4702129"/>
                </a:cubicBezTo>
                <a:cubicBezTo>
                  <a:pt x="1547685" y="4702852"/>
                  <a:pt x="1545361" y="4702749"/>
                  <a:pt x="1543193" y="4702129"/>
                </a:cubicBezTo>
                <a:lnTo>
                  <a:pt x="1538856" y="4700271"/>
                </a:lnTo>
                <a:lnTo>
                  <a:pt x="1539011" y="4700477"/>
                </a:lnTo>
                <a:cubicBezTo>
                  <a:pt x="1542108" y="4703781"/>
                  <a:pt x="1544277" y="4707808"/>
                  <a:pt x="1545207" y="4710700"/>
                </a:cubicBezTo>
                <a:cubicBezTo>
                  <a:pt x="1536532" y="4710390"/>
                  <a:pt x="1528168" y="4700683"/>
                  <a:pt x="1527858" y="4694385"/>
                </a:cubicBezTo>
                <a:lnTo>
                  <a:pt x="1528633" y="4694695"/>
                </a:lnTo>
                <a:lnTo>
                  <a:pt x="1528633" y="4693869"/>
                </a:lnTo>
                <a:cubicBezTo>
                  <a:pt x="1528633" y="4692423"/>
                  <a:pt x="1529252" y="4691287"/>
                  <a:pt x="1530956" y="4690565"/>
                </a:cubicBezTo>
                <a:close/>
                <a:moveTo>
                  <a:pt x="6299274" y="4690066"/>
                </a:moveTo>
                <a:cubicBezTo>
                  <a:pt x="6301133" y="4690169"/>
                  <a:pt x="6304231" y="4691099"/>
                  <a:pt x="6304540" y="4693370"/>
                </a:cubicBezTo>
                <a:cubicBezTo>
                  <a:pt x="6304540" y="4693370"/>
                  <a:pt x="6304540" y="4693370"/>
                  <a:pt x="6304851" y="4694506"/>
                </a:cubicBezTo>
                <a:cubicBezTo>
                  <a:pt x="6302837" y="4693267"/>
                  <a:pt x="6300204" y="4691615"/>
                  <a:pt x="6299274" y="4690066"/>
                </a:cubicBezTo>
                <a:close/>
                <a:moveTo>
                  <a:pt x="1691584" y="4689945"/>
                </a:moveTo>
                <a:lnTo>
                  <a:pt x="1688486" y="4694488"/>
                </a:lnTo>
                <a:lnTo>
                  <a:pt x="1690344" y="4695934"/>
                </a:lnTo>
                <a:cubicBezTo>
                  <a:pt x="1691274" y="4697999"/>
                  <a:pt x="1691739" y="4700580"/>
                  <a:pt x="1691429" y="4703368"/>
                </a:cubicBezTo>
                <a:lnTo>
                  <a:pt x="1691274" y="4704298"/>
                </a:lnTo>
                <a:lnTo>
                  <a:pt x="1701497" y="4703988"/>
                </a:lnTo>
                <a:lnTo>
                  <a:pt x="1704440" y="4703678"/>
                </a:lnTo>
                <a:lnTo>
                  <a:pt x="1704905" y="4702749"/>
                </a:lnTo>
                <a:cubicBezTo>
                  <a:pt x="1705834" y="4701923"/>
                  <a:pt x="1706764" y="4701303"/>
                  <a:pt x="1707228" y="4700064"/>
                </a:cubicBezTo>
                <a:cubicBezTo>
                  <a:pt x="1707848" y="4700683"/>
                  <a:pt x="1708932" y="4701407"/>
                  <a:pt x="1709552" y="4702542"/>
                </a:cubicBezTo>
                <a:lnTo>
                  <a:pt x="1709706" y="4703059"/>
                </a:lnTo>
                <a:lnTo>
                  <a:pt x="1710171" y="4703059"/>
                </a:lnTo>
                <a:lnTo>
                  <a:pt x="1709861" y="4703472"/>
                </a:lnTo>
                <a:lnTo>
                  <a:pt x="1710171" y="4704504"/>
                </a:lnTo>
                <a:cubicBezTo>
                  <a:pt x="1710326" y="4705330"/>
                  <a:pt x="1710326" y="4706259"/>
                  <a:pt x="1710016" y="4707292"/>
                </a:cubicBezTo>
                <a:cubicBezTo>
                  <a:pt x="1709552" y="4708531"/>
                  <a:pt x="1709552" y="4708531"/>
                  <a:pt x="1708777" y="4708944"/>
                </a:cubicBezTo>
                <a:cubicBezTo>
                  <a:pt x="1708158" y="4709770"/>
                  <a:pt x="1707693" y="4710390"/>
                  <a:pt x="1707228" y="4710906"/>
                </a:cubicBezTo>
                <a:lnTo>
                  <a:pt x="1706764" y="4711009"/>
                </a:lnTo>
                <a:lnTo>
                  <a:pt x="1706454" y="4712455"/>
                </a:lnTo>
                <a:cubicBezTo>
                  <a:pt x="1706144" y="4715552"/>
                  <a:pt x="1706298" y="4718753"/>
                  <a:pt x="1706454" y="4721851"/>
                </a:cubicBezTo>
                <a:lnTo>
                  <a:pt x="1708158" y="4721954"/>
                </a:lnTo>
                <a:cubicBezTo>
                  <a:pt x="1709552" y="4722677"/>
                  <a:pt x="1710945" y="4723607"/>
                  <a:pt x="1712340" y="4723813"/>
                </a:cubicBezTo>
                <a:cubicBezTo>
                  <a:pt x="1711720" y="4727634"/>
                  <a:pt x="1709552" y="4729595"/>
                  <a:pt x="1707383" y="4730112"/>
                </a:cubicBezTo>
                <a:lnTo>
                  <a:pt x="1705370" y="4729905"/>
                </a:lnTo>
                <a:lnTo>
                  <a:pt x="1704750" y="4731557"/>
                </a:lnTo>
                <a:cubicBezTo>
                  <a:pt x="1704285" y="4732796"/>
                  <a:pt x="1703356" y="4734036"/>
                  <a:pt x="1702272" y="4735171"/>
                </a:cubicBezTo>
                <a:cubicBezTo>
                  <a:pt x="1694217" y="4743948"/>
                  <a:pt x="1683684" y="4742193"/>
                  <a:pt x="1677178" y="4736204"/>
                </a:cubicBezTo>
                <a:lnTo>
                  <a:pt x="1676714" y="4735687"/>
                </a:lnTo>
                <a:lnTo>
                  <a:pt x="1675474" y="4737856"/>
                </a:lnTo>
                <a:lnTo>
                  <a:pt x="1677178" y="4737959"/>
                </a:lnTo>
                <a:cubicBezTo>
                  <a:pt x="1678572" y="4738888"/>
                  <a:pt x="1679192" y="4740644"/>
                  <a:pt x="1678417" y="4743329"/>
                </a:cubicBezTo>
                <a:cubicBezTo>
                  <a:pt x="1677333" y="4743948"/>
                  <a:pt x="1675474" y="4743845"/>
                  <a:pt x="1673770" y="4743432"/>
                </a:cubicBezTo>
                <a:lnTo>
                  <a:pt x="1671912" y="4742193"/>
                </a:lnTo>
                <a:lnTo>
                  <a:pt x="1667110" y="4744980"/>
                </a:lnTo>
                <a:cubicBezTo>
                  <a:pt x="1665871" y="4745187"/>
                  <a:pt x="1664476" y="4745394"/>
                  <a:pt x="1662928" y="4745394"/>
                </a:cubicBezTo>
                <a:cubicBezTo>
                  <a:pt x="1661534" y="4745394"/>
                  <a:pt x="1659830" y="4745084"/>
                  <a:pt x="1658126" y="4744774"/>
                </a:cubicBezTo>
                <a:cubicBezTo>
                  <a:pt x="1653479" y="4743432"/>
                  <a:pt x="1649916" y="4740231"/>
                  <a:pt x="1646199" y="4736513"/>
                </a:cubicBezTo>
                <a:lnTo>
                  <a:pt x="1643720" y="4733932"/>
                </a:lnTo>
                <a:lnTo>
                  <a:pt x="1642636" y="4733622"/>
                </a:lnTo>
                <a:cubicBezTo>
                  <a:pt x="1641397" y="4733313"/>
                  <a:pt x="1640158" y="4732900"/>
                  <a:pt x="1639539" y="4732280"/>
                </a:cubicBezTo>
                <a:cubicBezTo>
                  <a:pt x="1639074" y="4731867"/>
                  <a:pt x="1638919" y="4731454"/>
                  <a:pt x="1639074" y="4730835"/>
                </a:cubicBezTo>
                <a:lnTo>
                  <a:pt x="1641242" y="4731144"/>
                </a:lnTo>
                <a:lnTo>
                  <a:pt x="1640622" y="4730525"/>
                </a:lnTo>
                <a:cubicBezTo>
                  <a:pt x="1638609" y="4728460"/>
                  <a:pt x="1636285" y="4726395"/>
                  <a:pt x="1633652" y="4724433"/>
                </a:cubicBezTo>
                <a:cubicBezTo>
                  <a:pt x="1638454" y="4724019"/>
                  <a:pt x="1641552" y="4721438"/>
                  <a:pt x="1644030" y="4718444"/>
                </a:cubicBezTo>
                <a:lnTo>
                  <a:pt x="1646819" y="4715036"/>
                </a:lnTo>
                <a:lnTo>
                  <a:pt x="1646044" y="4714313"/>
                </a:lnTo>
                <a:cubicBezTo>
                  <a:pt x="1645889" y="4714107"/>
                  <a:pt x="1645889" y="4714107"/>
                  <a:pt x="1645889" y="4714520"/>
                </a:cubicBezTo>
                <a:cubicBezTo>
                  <a:pt x="1644340" y="4712558"/>
                  <a:pt x="1642017" y="4710493"/>
                  <a:pt x="1642946" y="4708841"/>
                </a:cubicBezTo>
                <a:cubicBezTo>
                  <a:pt x="1645115" y="4706673"/>
                  <a:pt x="1648522" y="4707602"/>
                  <a:pt x="1651466" y="4709254"/>
                </a:cubicBezTo>
                <a:lnTo>
                  <a:pt x="1651931" y="4709564"/>
                </a:lnTo>
                <a:lnTo>
                  <a:pt x="1654719" y="4707912"/>
                </a:lnTo>
                <a:cubicBezTo>
                  <a:pt x="1655958" y="4707499"/>
                  <a:pt x="1657197" y="4707292"/>
                  <a:pt x="1658745" y="4707395"/>
                </a:cubicBezTo>
                <a:lnTo>
                  <a:pt x="1664786" y="4708841"/>
                </a:lnTo>
                <a:lnTo>
                  <a:pt x="1665097" y="4706982"/>
                </a:lnTo>
                <a:cubicBezTo>
                  <a:pt x="1668039" y="4707292"/>
                  <a:pt x="1668814" y="4708841"/>
                  <a:pt x="1668969" y="4710803"/>
                </a:cubicBezTo>
                <a:lnTo>
                  <a:pt x="1668814" y="4711009"/>
                </a:lnTo>
                <a:lnTo>
                  <a:pt x="1672222" y="4713797"/>
                </a:lnTo>
                <a:lnTo>
                  <a:pt x="1673770" y="4707602"/>
                </a:lnTo>
                <a:cubicBezTo>
                  <a:pt x="1674545" y="4705434"/>
                  <a:pt x="1675629" y="4703265"/>
                  <a:pt x="1676404" y="4701407"/>
                </a:cubicBezTo>
                <a:cubicBezTo>
                  <a:pt x="1678108" y="4697483"/>
                  <a:pt x="1680121" y="4693456"/>
                  <a:pt x="1682755" y="4692113"/>
                </a:cubicBezTo>
                <a:lnTo>
                  <a:pt x="1683064" y="4692113"/>
                </a:lnTo>
                <a:lnTo>
                  <a:pt x="1684458" y="4690048"/>
                </a:lnTo>
                <a:cubicBezTo>
                  <a:pt x="1686627" y="4687570"/>
                  <a:pt x="1689260" y="4686434"/>
                  <a:pt x="1691584" y="4689945"/>
                </a:cubicBezTo>
                <a:close/>
                <a:moveTo>
                  <a:pt x="1744558" y="4689739"/>
                </a:moveTo>
                <a:cubicBezTo>
                  <a:pt x="1751993" y="4689222"/>
                  <a:pt x="1760357" y="4690565"/>
                  <a:pt x="1769032" y="4697792"/>
                </a:cubicBezTo>
                <a:cubicBezTo>
                  <a:pt x="1769651" y="4703678"/>
                  <a:pt x="1765624" y="4705640"/>
                  <a:pt x="1760822" y="4705227"/>
                </a:cubicBezTo>
                <a:cubicBezTo>
                  <a:pt x="1754626" y="4704711"/>
                  <a:pt x="1747036" y="4700477"/>
                  <a:pt x="1744713" y="4695211"/>
                </a:cubicBezTo>
                <a:lnTo>
                  <a:pt x="1744558" y="4691907"/>
                </a:lnTo>
                <a:lnTo>
                  <a:pt x="1744093" y="4691907"/>
                </a:lnTo>
                <a:cubicBezTo>
                  <a:pt x="1743938" y="4691804"/>
                  <a:pt x="1743784" y="4691597"/>
                  <a:pt x="1743319" y="4691494"/>
                </a:cubicBezTo>
                <a:cubicBezTo>
                  <a:pt x="1742234" y="4691184"/>
                  <a:pt x="1737743" y="4692010"/>
                  <a:pt x="1737278" y="4693146"/>
                </a:cubicBezTo>
                <a:cubicBezTo>
                  <a:pt x="1736968" y="4692423"/>
                  <a:pt x="1735884" y="4692113"/>
                  <a:pt x="1735884" y="4692113"/>
                </a:cubicBezTo>
                <a:cubicBezTo>
                  <a:pt x="1736194" y="4690978"/>
                  <a:pt x="1736968" y="4690461"/>
                  <a:pt x="1737743" y="4690048"/>
                </a:cubicBezTo>
                <a:cubicBezTo>
                  <a:pt x="1738827" y="4690255"/>
                  <a:pt x="1739137" y="4691081"/>
                  <a:pt x="1740376" y="4691287"/>
                </a:cubicBezTo>
                <a:cubicBezTo>
                  <a:pt x="1740996" y="4690874"/>
                  <a:pt x="1742544" y="4689945"/>
                  <a:pt x="1743629" y="4690255"/>
                </a:cubicBezTo>
                <a:lnTo>
                  <a:pt x="1744558" y="4690565"/>
                </a:lnTo>
                <a:close/>
                <a:moveTo>
                  <a:pt x="1604377" y="4689739"/>
                </a:moveTo>
                <a:cubicBezTo>
                  <a:pt x="1605462" y="4689945"/>
                  <a:pt x="1606236" y="4691081"/>
                  <a:pt x="1606855" y="4692526"/>
                </a:cubicBezTo>
                <a:lnTo>
                  <a:pt x="1607785" y="4696140"/>
                </a:lnTo>
                <a:lnTo>
                  <a:pt x="1608404" y="4696037"/>
                </a:lnTo>
                <a:cubicBezTo>
                  <a:pt x="1608404" y="4696037"/>
                  <a:pt x="1607475" y="4695934"/>
                  <a:pt x="1608404" y="4695211"/>
                </a:cubicBezTo>
                <a:cubicBezTo>
                  <a:pt x="1608404" y="4696037"/>
                  <a:pt x="1609179" y="4696140"/>
                  <a:pt x="1610108" y="4696244"/>
                </a:cubicBezTo>
                <a:cubicBezTo>
                  <a:pt x="1611657" y="4698309"/>
                  <a:pt x="1613206" y="4701303"/>
                  <a:pt x="1612122" y="4702852"/>
                </a:cubicBezTo>
                <a:cubicBezTo>
                  <a:pt x="1611347" y="4703575"/>
                  <a:pt x="1610418" y="4703678"/>
                  <a:pt x="1609798" y="4703472"/>
                </a:cubicBezTo>
                <a:cubicBezTo>
                  <a:pt x="1609024" y="4703265"/>
                  <a:pt x="1608404" y="4702645"/>
                  <a:pt x="1607940" y="4702129"/>
                </a:cubicBezTo>
                <a:cubicBezTo>
                  <a:pt x="1606700" y="4701510"/>
                  <a:pt x="1606236" y="4700374"/>
                  <a:pt x="1606081" y="4699032"/>
                </a:cubicBezTo>
                <a:lnTo>
                  <a:pt x="1606236" y="4697999"/>
                </a:lnTo>
                <a:lnTo>
                  <a:pt x="1605617" y="4698722"/>
                </a:lnTo>
                <a:cubicBezTo>
                  <a:pt x="1604532" y="4699032"/>
                  <a:pt x="1603293" y="4699032"/>
                  <a:pt x="1602208" y="4698825"/>
                </a:cubicBezTo>
                <a:cubicBezTo>
                  <a:pt x="1601280" y="4698928"/>
                  <a:pt x="1600505" y="4698309"/>
                  <a:pt x="1600040" y="4697586"/>
                </a:cubicBezTo>
                <a:cubicBezTo>
                  <a:pt x="1599575" y="4696760"/>
                  <a:pt x="1599265" y="4695727"/>
                  <a:pt x="1599265" y="4694798"/>
                </a:cubicBezTo>
                <a:cubicBezTo>
                  <a:pt x="1599575" y="4693559"/>
                  <a:pt x="1599575" y="4693559"/>
                  <a:pt x="1599885" y="4692423"/>
                </a:cubicBezTo>
                <a:cubicBezTo>
                  <a:pt x="1601434" y="4691494"/>
                  <a:pt x="1602518" y="4689842"/>
                  <a:pt x="1604377" y="4689739"/>
                </a:cubicBezTo>
                <a:close/>
                <a:moveTo>
                  <a:pt x="718989" y="4689016"/>
                </a:moveTo>
                <a:cubicBezTo>
                  <a:pt x="721468" y="4688293"/>
                  <a:pt x="726889" y="4689325"/>
                  <a:pt x="728439" y="4693352"/>
                </a:cubicBezTo>
                <a:cubicBezTo>
                  <a:pt x="727200" y="4695934"/>
                  <a:pt x="725805" y="4697276"/>
                  <a:pt x="724101" y="4697483"/>
                </a:cubicBezTo>
                <a:cubicBezTo>
                  <a:pt x="722397" y="4697792"/>
                  <a:pt x="720539" y="4696967"/>
                  <a:pt x="718370" y="4695417"/>
                </a:cubicBezTo>
                <a:cubicBezTo>
                  <a:pt x="718989" y="4693456"/>
                  <a:pt x="718680" y="4691804"/>
                  <a:pt x="718989" y="4689016"/>
                </a:cubicBezTo>
                <a:close/>
                <a:moveTo>
                  <a:pt x="1679501" y="4688396"/>
                </a:moveTo>
                <a:lnTo>
                  <a:pt x="1679347" y="4688706"/>
                </a:lnTo>
                <a:lnTo>
                  <a:pt x="1679192" y="4689429"/>
                </a:lnTo>
                <a:close/>
                <a:moveTo>
                  <a:pt x="1628076" y="4688396"/>
                </a:moveTo>
                <a:cubicBezTo>
                  <a:pt x="1630400" y="4688912"/>
                  <a:pt x="1633033" y="4690255"/>
                  <a:pt x="1633033" y="4692216"/>
                </a:cubicBezTo>
                <a:lnTo>
                  <a:pt x="1631794" y="4693869"/>
                </a:lnTo>
                <a:lnTo>
                  <a:pt x="1633962" y="4694075"/>
                </a:lnTo>
                <a:cubicBezTo>
                  <a:pt x="1634737" y="4694178"/>
                  <a:pt x="1635511" y="4694592"/>
                  <a:pt x="1635976" y="4695417"/>
                </a:cubicBezTo>
                <a:lnTo>
                  <a:pt x="1638764" y="4698722"/>
                </a:lnTo>
                <a:lnTo>
                  <a:pt x="1639694" y="4697070"/>
                </a:lnTo>
                <a:cubicBezTo>
                  <a:pt x="1640313" y="4696450"/>
                  <a:pt x="1640932" y="4696037"/>
                  <a:pt x="1641862" y="4695934"/>
                </a:cubicBezTo>
                <a:cubicBezTo>
                  <a:pt x="1642327" y="4695934"/>
                  <a:pt x="1642946" y="4696140"/>
                  <a:pt x="1643720" y="4696450"/>
                </a:cubicBezTo>
                <a:cubicBezTo>
                  <a:pt x="1643720" y="4696450"/>
                  <a:pt x="1643720" y="4696450"/>
                  <a:pt x="1644030" y="4697276"/>
                </a:cubicBezTo>
                <a:cubicBezTo>
                  <a:pt x="1644340" y="4698928"/>
                  <a:pt x="1644650" y="4699754"/>
                  <a:pt x="1644805" y="4700580"/>
                </a:cubicBezTo>
                <a:cubicBezTo>
                  <a:pt x="1644495" y="4701097"/>
                  <a:pt x="1643876" y="4701923"/>
                  <a:pt x="1643101" y="4702645"/>
                </a:cubicBezTo>
                <a:lnTo>
                  <a:pt x="1641397" y="4703575"/>
                </a:lnTo>
                <a:lnTo>
                  <a:pt x="1641707" y="4704504"/>
                </a:lnTo>
                <a:cubicBezTo>
                  <a:pt x="1641862" y="4706879"/>
                  <a:pt x="1640622" y="4708841"/>
                  <a:pt x="1639229" y="4711732"/>
                </a:cubicBezTo>
                <a:cubicBezTo>
                  <a:pt x="1639229" y="4710803"/>
                  <a:pt x="1638299" y="4711526"/>
                  <a:pt x="1638299" y="4711526"/>
                </a:cubicBezTo>
                <a:cubicBezTo>
                  <a:pt x="1636596" y="4713074"/>
                  <a:pt x="1641552" y="4714727"/>
                  <a:pt x="1639694" y="4717102"/>
                </a:cubicBezTo>
                <a:cubicBezTo>
                  <a:pt x="1638919" y="4717927"/>
                  <a:pt x="1637835" y="4718444"/>
                  <a:pt x="1636751" y="4718650"/>
                </a:cubicBezTo>
                <a:cubicBezTo>
                  <a:pt x="1635666" y="4718857"/>
                  <a:pt x="1634582" y="4718857"/>
                  <a:pt x="1633343" y="4718650"/>
                </a:cubicBezTo>
                <a:cubicBezTo>
                  <a:pt x="1631175" y="4718341"/>
                  <a:pt x="1629006" y="4717308"/>
                  <a:pt x="1627456" y="4716585"/>
                </a:cubicBezTo>
                <a:lnTo>
                  <a:pt x="1625598" y="4715759"/>
                </a:lnTo>
                <a:lnTo>
                  <a:pt x="1625598" y="4716585"/>
                </a:lnTo>
                <a:lnTo>
                  <a:pt x="1624823" y="4715552"/>
                </a:lnTo>
                <a:lnTo>
                  <a:pt x="1624668" y="4715552"/>
                </a:lnTo>
                <a:cubicBezTo>
                  <a:pt x="1624668" y="4714623"/>
                  <a:pt x="1623894" y="4714520"/>
                  <a:pt x="1623739" y="4715346"/>
                </a:cubicBezTo>
                <a:cubicBezTo>
                  <a:pt x="1622655" y="4714313"/>
                  <a:pt x="1621571" y="4713487"/>
                  <a:pt x="1621106" y="4712765"/>
                </a:cubicBezTo>
                <a:cubicBezTo>
                  <a:pt x="1620641" y="4712042"/>
                  <a:pt x="1620641" y="4711319"/>
                  <a:pt x="1621571" y="4710596"/>
                </a:cubicBezTo>
                <a:cubicBezTo>
                  <a:pt x="1622035" y="4709770"/>
                  <a:pt x="1622655" y="4709667"/>
                  <a:pt x="1623430" y="4709564"/>
                </a:cubicBezTo>
                <a:lnTo>
                  <a:pt x="1625443" y="4708841"/>
                </a:lnTo>
                <a:lnTo>
                  <a:pt x="1624049" y="4708325"/>
                </a:lnTo>
                <a:cubicBezTo>
                  <a:pt x="1623274" y="4708015"/>
                  <a:pt x="1622655" y="4707395"/>
                  <a:pt x="1622500" y="4706569"/>
                </a:cubicBezTo>
                <a:cubicBezTo>
                  <a:pt x="1622190" y="4705950"/>
                  <a:pt x="1622190" y="4705330"/>
                  <a:pt x="1622345" y="4704401"/>
                </a:cubicBezTo>
                <a:cubicBezTo>
                  <a:pt x="1622345" y="4704401"/>
                  <a:pt x="1622345" y="4704401"/>
                  <a:pt x="1622964" y="4703988"/>
                </a:cubicBezTo>
                <a:cubicBezTo>
                  <a:pt x="1624358" y="4703059"/>
                  <a:pt x="1624978" y="4702645"/>
                  <a:pt x="1625753" y="4702129"/>
                </a:cubicBezTo>
                <a:lnTo>
                  <a:pt x="1626063" y="4702336"/>
                </a:lnTo>
                <a:lnTo>
                  <a:pt x="1625598" y="4697689"/>
                </a:lnTo>
                <a:lnTo>
                  <a:pt x="1627456" y="4693869"/>
                </a:lnTo>
                <a:lnTo>
                  <a:pt x="1626217" y="4693352"/>
                </a:lnTo>
                <a:cubicBezTo>
                  <a:pt x="1625443" y="4692320"/>
                  <a:pt x="1624978" y="4690874"/>
                  <a:pt x="1624823" y="4689532"/>
                </a:cubicBezTo>
                <a:cubicBezTo>
                  <a:pt x="1625133" y="4690255"/>
                  <a:pt x="1625133" y="4690255"/>
                  <a:pt x="1625133" y="4690255"/>
                </a:cubicBezTo>
                <a:cubicBezTo>
                  <a:pt x="1626217" y="4690461"/>
                  <a:pt x="1625907" y="4689739"/>
                  <a:pt x="1626682" y="4689325"/>
                </a:cubicBezTo>
                <a:cubicBezTo>
                  <a:pt x="1626682" y="4689325"/>
                  <a:pt x="1625907" y="4689739"/>
                  <a:pt x="1626217" y="4688500"/>
                </a:cubicBezTo>
                <a:cubicBezTo>
                  <a:pt x="1626682" y="4689325"/>
                  <a:pt x="1627301" y="4688809"/>
                  <a:pt x="1628076" y="4688396"/>
                </a:cubicBezTo>
                <a:close/>
                <a:moveTo>
                  <a:pt x="798916" y="4687983"/>
                </a:moveTo>
                <a:cubicBezTo>
                  <a:pt x="801085" y="4686124"/>
                  <a:pt x="808210" y="4690048"/>
                  <a:pt x="810998" y="4692423"/>
                </a:cubicBezTo>
                <a:cubicBezTo>
                  <a:pt x="810533" y="4692836"/>
                  <a:pt x="809604" y="4693043"/>
                  <a:pt x="808520" y="4692836"/>
                </a:cubicBezTo>
                <a:cubicBezTo>
                  <a:pt x="805577" y="4692423"/>
                  <a:pt x="800930" y="4689739"/>
                  <a:pt x="798916" y="4687983"/>
                </a:cubicBezTo>
                <a:close/>
                <a:moveTo>
                  <a:pt x="6373934" y="4687795"/>
                </a:moveTo>
                <a:cubicBezTo>
                  <a:pt x="6375483" y="4692131"/>
                  <a:pt x="6375638" y="4696365"/>
                  <a:pt x="6374244" y="4700185"/>
                </a:cubicBezTo>
                <a:lnTo>
                  <a:pt x="6371765" y="4704315"/>
                </a:lnTo>
                <a:lnTo>
                  <a:pt x="6374089" y="4702973"/>
                </a:lnTo>
                <a:cubicBezTo>
                  <a:pt x="6376877" y="4702664"/>
                  <a:pt x="6379201" y="4705348"/>
                  <a:pt x="6383073" y="4706277"/>
                </a:cubicBezTo>
                <a:cubicBezTo>
                  <a:pt x="6382298" y="4708549"/>
                  <a:pt x="6379975" y="4709685"/>
                  <a:pt x="6377807" y="4710098"/>
                </a:cubicBezTo>
                <a:cubicBezTo>
                  <a:pt x="6375483" y="4710408"/>
                  <a:pt x="6373160" y="4709891"/>
                  <a:pt x="6371920" y="4708446"/>
                </a:cubicBezTo>
                <a:lnTo>
                  <a:pt x="6371301" y="4705038"/>
                </a:lnTo>
                <a:lnTo>
                  <a:pt x="6371146" y="4705348"/>
                </a:lnTo>
                <a:cubicBezTo>
                  <a:pt x="6369597" y="4707000"/>
                  <a:pt x="6367738" y="4708446"/>
                  <a:pt x="6365415" y="4709685"/>
                </a:cubicBezTo>
                <a:cubicBezTo>
                  <a:pt x="6357360" y="4707930"/>
                  <a:pt x="6357360" y="4696881"/>
                  <a:pt x="6356586" y="4691099"/>
                </a:cubicBezTo>
                <a:cubicBezTo>
                  <a:pt x="6363091" y="4688517"/>
                  <a:pt x="6369597" y="4685833"/>
                  <a:pt x="6373934" y="4687795"/>
                </a:cubicBezTo>
                <a:close/>
                <a:moveTo>
                  <a:pt x="1845396" y="4687570"/>
                </a:moveTo>
                <a:cubicBezTo>
                  <a:pt x="1845551" y="4694592"/>
                  <a:pt x="1843382" y="4702645"/>
                  <a:pt x="1842762" y="4704504"/>
                </a:cubicBezTo>
                <a:cubicBezTo>
                  <a:pt x="1842453" y="4705330"/>
                  <a:pt x="1842143" y="4705846"/>
                  <a:pt x="1841678" y="4706053"/>
                </a:cubicBezTo>
                <a:cubicBezTo>
                  <a:pt x="1841058" y="4706156"/>
                  <a:pt x="1840439" y="4705950"/>
                  <a:pt x="1839510" y="4705537"/>
                </a:cubicBezTo>
                <a:cubicBezTo>
                  <a:pt x="1836567" y="4702233"/>
                  <a:pt x="1838580" y="4698618"/>
                  <a:pt x="1838735" y="4694178"/>
                </a:cubicBezTo>
                <a:cubicBezTo>
                  <a:pt x="1839664" y="4694075"/>
                  <a:pt x="1840284" y="4693146"/>
                  <a:pt x="1840129" y="4692320"/>
                </a:cubicBezTo>
                <a:cubicBezTo>
                  <a:pt x="1840903" y="4691391"/>
                  <a:pt x="1841678" y="4690461"/>
                  <a:pt x="1840749" y="4690461"/>
                </a:cubicBezTo>
                <a:cubicBezTo>
                  <a:pt x="1842917" y="4687673"/>
                  <a:pt x="1842762" y="4686847"/>
                  <a:pt x="1845396" y="4687570"/>
                </a:cubicBezTo>
                <a:close/>
                <a:moveTo>
                  <a:pt x="706695" y="4687209"/>
                </a:moveTo>
                <a:cubicBezTo>
                  <a:pt x="711051" y="4687673"/>
                  <a:pt x="714420" y="4690151"/>
                  <a:pt x="713568" y="4694592"/>
                </a:cubicBezTo>
                <a:cubicBezTo>
                  <a:pt x="713414" y="4695831"/>
                  <a:pt x="712794" y="4697173"/>
                  <a:pt x="711865" y="4698722"/>
                </a:cubicBezTo>
                <a:cubicBezTo>
                  <a:pt x="710315" y="4698825"/>
                  <a:pt x="708612" y="4699135"/>
                  <a:pt x="706753" y="4699238"/>
                </a:cubicBezTo>
                <a:cubicBezTo>
                  <a:pt x="705359" y="4699341"/>
                  <a:pt x="703965" y="4699445"/>
                  <a:pt x="702571" y="4699341"/>
                </a:cubicBezTo>
                <a:cubicBezTo>
                  <a:pt x="698389" y="4699032"/>
                  <a:pt x="694826" y="4697483"/>
                  <a:pt x="693897" y="4691907"/>
                </a:cubicBezTo>
                <a:cubicBezTo>
                  <a:pt x="696995" y="4688293"/>
                  <a:pt x="702338" y="4686744"/>
                  <a:pt x="706695" y="4687209"/>
                </a:cubicBezTo>
                <a:close/>
                <a:moveTo>
                  <a:pt x="6437752" y="4686349"/>
                </a:moveTo>
                <a:cubicBezTo>
                  <a:pt x="6441159" y="4685316"/>
                  <a:pt x="6443792" y="4687898"/>
                  <a:pt x="6447820" y="4687278"/>
                </a:cubicBezTo>
                <a:cubicBezTo>
                  <a:pt x="6449369" y="4690169"/>
                  <a:pt x="6454325" y="4690066"/>
                  <a:pt x="6456184" y="4693990"/>
                </a:cubicBezTo>
                <a:cubicBezTo>
                  <a:pt x="6454945" y="4694712"/>
                  <a:pt x="6453241" y="4694816"/>
                  <a:pt x="6451382" y="4694506"/>
                </a:cubicBezTo>
                <a:cubicBezTo>
                  <a:pt x="6445651" y="4693680"/>
                  <a:pt x="6438681" y="4689034"/>
                  <a:pt x="6437752" y="4686349"/>
                </a:cubicBezTo>
                <a:close/>
                <a:moveTo>
                  <a:pt x="6151813" y="4686349"/>
                </a:moveTo>
                <a:cubicBezTo>
                  <a:pt x="6155840" y="4685110"/>
                  <a:pt x="6159093" y="4688724"/>
                  <a:pt x="6155685" y="4693267"/>
                </a:cubicBezTo>
                <a:cubicBezTo>
                  <a:pt x="6153517" y="4691925"/>
                  <a:pt x="6151348" y="4690479"/>
                  <a:pt x="6151193" y="4688517"/>
                </a:cubicBezTo>
                <a:cubicBezTo>
                  <a:pt x="6151193" y="4687898"/>
                  <a:pt x="6151348" y="4687175"/>
                  <a:pt x="6151813" y="4686349"/>
                </a:cubicBezTo>
                <a:close/>
                <a:moveTo>
                  <a:pt x="1291177" y="4686228"/>
                </a:moveTo>
                <a:cubicBezTo>
                  <a:pt x="1292725" y="4687260"/>
                  <a:pt x="1294120" y="4689119"/>
                  <a:pt x="1295513" y="4690978"/>
                </a:cubicBezTo>
                <a:cubicBezTo>
                  <a:pt x="1294585" y="4692423"/>
                  <a:pt x="1293500" y="4692940"/>
                  <a:pt x="1292571" y="4692836"/>
                </a:cubicBezTo>
                <a:cubicBezTo>
                  <a:pt x="1291642" y="4692836"/>
                  <a:pt x="1290712" y="4692113"/>
                  <a:pt x="1290092" y="4691287"/>
                </a:cubicBezTo>
                <a:cubicBezTo>
                  <a:pt x="1288853" y="4689532"/>
                  <a:pt x="1288699" y="4686847"/>
                  <a:pt x="1291177" y="4686228"/>
                </a:cubicBezTo>
                <a:close/>
                <a:moveTo>
                  <a:pt x="884109" y="4685608"/>
                </a:moveTo>
                <a:cubicBezTo>
                  <a:pt x="881786" y="4687467"/>
                  <a:pt x="881166" y="4688396"/>
                  <a:pt x="879617" y="4689325"/>
                </a:cubicBezTo>
                <a:cubicBezTo>
                  <a:pt x="879617" y="4690151"/>
                  <a:pt x="879772" y="4690978"/>
                  <a:pt x="878997" y="4691907"/>
                </a:cubicBezTo>
                <a:cubicBezTo>
                  <a:pt x="877603" y="4693662"/>
                  <a:pt x="875745" y="4692940"/>
                  <a:pt x="874196" y="4693869"/>
                </a:cubicBezTo>
                <a:cubicBezTo>
                  <a:pt x="873266" y="4693146"/>
                  <a:pt x="872182" y="4691494"/>
                  <a:pt x="873577" y="4689635"/>
                </a:cubicBezTo>
                <a:cubicBezTo>
                  <a:pt x="874970" y="4686950"/>
                  <a:pt x="877449" y="4686847"/>
                  <a:pt x="880082" y="4687570"/>
                </a:cubicBezTo>
                <a:cubicBezTo>
                  <a:pt x="881631" y="4686641"/>
                  <a:pt x="882251" y="4684885"/>
                  <a:pt x="884109" y="4685608"/>
                </a:cubicBezTo>
                <a:close/>
                <a:moveTo>
                  <a:pt x="6567554" y="4684490"/>
                </a:moveTo>
                <a:cubicBezTo>
                  <a:pt x="6568484" y="4683871"/>
                  <a:pt x="6569568" y="4683768"/>
                  <a:pt x="6571117" y="4684490"/>
                </a:cubicBezTo>
                <a:cubicBezTo>
                  <a:pt x="6575454" y="4686969"/>
                  <a:pt x="6574215" y="4691099"/>
                  <a:pt x="6572201" y="4695332"/>
                </a:cubicBezTo>
                <a:cubicBezTo>
                  <a:pt x="6570343" y="4694919"/>
                  <a:pt x="6568793" y="4695332"/>
                  <a:pt x="6566935" y="4694816"/>
                </a:cubicBezTo>
                <a:cubicBezTo>
                  <a:pt x="6564921" y="4692647"/>
                  <a:pt x="6564921" y="4686245"/>
                  <a:pt x="6567554" y="4684490"/>
                </a:cubicBezTo>
                <a:close/>
                <a:moveTo>
                  <a:pt x="1156727" y="4684369"/>
                </a:moveTo>
                <a:cubicBezTo>
                  <a:pt x="1158275" y="4681788"/>
                  <a:pt x="1160909" y="4683749"/>
                  <a:pt x="1164317" y="4684782"/>
                </a:cubicBezTo>
                <a:cubicBezTo>
                  <a:pt x="1163542" y="4685608"/>
                  <a:pt x="1164317" y="4686434"/>
                  <a:pt x="1165246" y="4687364"/>
                </a:cubicBezTo>
                <a:cubicBezTo>
                  <a:pt x="1164007" y="4688603"/>
                  <a:pt x="1162458" y="4690771"/>
                  <a:pt x="1160134" y="4690255"/>
                </a:cubicBezTo>
                <a:cubicBezTo>
                  <a:pt x="1159515" y="4690151"/>
                  <a:pt x="1158741" y="4689635"/>
                  <a:pt x="1157811" y="4688706"/>
                </a:cubicBezTo>
                <a:cubicBezTo>
                  <a:pt x="1157037" y="4688706"/>
                  <a:pt x="1155952" y="4685195"/>
                  <a:pt x="1156727" y="4684369"/>
                </a:cubicBezTo>
                <a:close/>
                <a:moveTo>
                  <a:pt x="779555" y="4683130"/>
                </a:moveTo>
                <a:cubicBezTo>
                  <a:pt x="780483" y="4683956"/>
                  <a:pt x="781413" y="4684782"/>
                  <a:pt x="781723" y="4686434"/>
                </a:cubicBezTo>
                <a:cubicBezTo>
                  <a:pt x="780329" y="4688293"/>
                  <a:pt x="777696" y="4687570"/>
                  <a:pt x="776921" y="4688500"/>
                </a:cubicBezTo>
                <a:cubicBezTo>
                  <a:pt x="776766" y="4687570"/>
                  <a:pt x="776611" y="4685918"/>
                  <a:pt x="774907" y="4685092"/>
                </a:cubicBezTo>
                <a:cubicBezTo>
                  <a:pt x="776301" y="4683337"/>
                  <a:pt x="777696" y="4681478"/>
                  <a:pt x="779555" y="4683130"/>
                </a:cubicBezTo>
                <a:close/>
                <a:moveTo>
                  <a:pt x="6411574" y="4683045"/>
                </a:moveTo>
                <a:cubicBezTo>
                  <a:pt x="6412813" y="4683045"/>
                  <a:pt x="6414672" y="4682425"/>
                  <a:pt x="6416376" y="4683148"/>
                </a:cubicBezTo>
                <a:cubicBezTo>
                  <a:pt x="6416841" y="4685420"/>
                  <a:pt x="6416066" y="4686555"/>
                  <a:pt x="6414827" y="4686969"/>
                </a:cubicBezTo>
                <a:cubicBezTo>
                  <a:pt x="6413742" y="4687278"/>
                  <a:pt x="6412194" y="4686762"/>
                  <a:pt x="6411574" y="4685730"/>
                </a:cubicBezTo>
                <a:cubicBezTo>
                  <a:pt x="6411109" y="4685007"/>
                  <a:pt x="6410954" y="4684077"/>
                  <a:pt x="6411574" y="4683045"/>
                </a:cubicBezTo>
                <a:close/>
                <a:moveTo>
                  <a:pt x="1341673" y="4683027"/>
                </a:moveTo>
                <a:cubicBezTo>
                  <a:pt x="1339969" y="4689222"/>
                  <a:pt x="1327268" y="4694385"/>
                  <a:pt x="1324169" y="4692940"/>
                </a:cubicBezTo>
                <a:cubicBezTo>
                  <a:pt x="1325874" y="4689532"/>
                  <a:pt x="1329126" y="4689016"/>
                  <a:pt x="1331605" y="4685299"/>
                </a:cubicBezTo>
                <a:cubicBezTo>
                  <a:pt x="1334548" y="4685918"/>
                  <a:pt x="1337800" y="4681891"/>
                  <a:pt x="1341673" y="4683027"/>
                </a:cubicBezTo>
                <a:close/>
                <a:moveTo>
                  <a:pt x="6059340" y="4682735"/>
                </a:moveTo>
                <a:cubicBezTo>
                  <a:pt x="6057326" y="4687175"/>
                  <a:pt x="6051595" y="4692235"/>
                  <a:pt x="6046793" y="4691718"/>
                </a:cubicBezTo>
                <a:cubicBezTo>
                  <a:pt x="6045244" y="4691615"/>
                  <a:pt x="6043695" y="4690789"/>
                  <a:pt x="6042611" y="4689137"/>
                </a:cubicBezTo>
                <a:cubicBezTo>
                  <a:pt x="6047878" y="4686969"/>
                  <a:pt x="6053454" y="4683148"/>
                  <a:pt x="6059340" y="4682735"/>
                </a:cubicBezTo>
                <a:close/>
                <a:moveTo>
                  <a:pt x="1133802" y="4682717"/>
                </a:moveTo>
                <a:cubicBezTo>
                  <a:pt x="1135041" y="4683027"/>
                  <a:pt x="1136126" y="4683337"/>
                  <a:pt x="1135506" y="4683749"/>
                </a:cubicBezTo>
                <a:cubicBezTo>
                  <a:pt x="1135971" y="4684473"/>
                  <a:pt x="1135351" y="4684989"/>
                  <a:pt x="1135041" y="4686124"/>
                </a:cubicBezTo>
                <a:cubicBezTo>
                  <a:pt x="1134267" y="4687777"/>
                  <a:pt x="1132408" y="4689119"/>
                  <a:pt x="1131169" y="4688809"/>
                </a:cubicBezTo>
                <a:cubicBezTo>
                  <a:pt x="1130085" y="4688500"/>
                  <a:pt x="1129465" y="4687673"/>
                  <a:pt x="1129465" y="4687673"/>
                </a:cubicBezTo>
                <a:cubicBezTo>
                  <a:pt x="1129310" y="4684576"/>
                  <a:pt x="1130395" y="4681788"/>
                  <a:pt x="1133802" y="4682717"/>
                </a:cubicBezTo>
                <a:close/>
                <a:moveTo>
                  <a:pt x="1469462" y="4682304"/>
                </a:moveTo>
                <a:cubicBezTo>
                  <a:pt x="1469462" y="4682304"/>
                  <a:pt x="1469772" y="4683027"/>
                  <a:pt x="1469617" y="4684059"/>
                </a:cubicBezTo>
                <a:cubicBezTo>
                  <a:pt x="1469617" y="4684059"/>
                  <a:pt x="1469307" y="4684059"/>
                  <a:pt x="1469153" y="4683853"/>
                </a:cubicBezTo>
                <a:cubicBezTo>
                  <a:pt x="1468843" y="4683646"/>
                  <a:pt x="1468688" y="4683234"/>
                  <a:pt x="1468688" y="4682717"/>
                </a:cubicBezTo>
                <a:cubicBezTo>
                  <a:pt x="1468688" y="4682717"/>
                  <a:pt x="1468843" y="4682717"/>
                  <a:pt x="1469462" y="4682304"/>
                </a:cubicBezTo>
                <a:close/>
                <a:moveTo>
                  <a:pt x="976582" y="4682304"/>
                </a:moveTo>
                <a:cubicBezTo>
                  <a:pt x="982623" y="4680136"/>
                  <a:pt x="988664" y="4680962"/>
                  <a:pt x="993621" y="4683853"/>
                </a:cubicBezTo>
                <a:cubicBezTo>
                  <a:pt x="1002140" y="4688603"/>
                  <a:pt x="1007871" y="4698722"/>
                  <a:pt x="1007097" y="4709254"/>
                </a:cubicBezTo>
                <a:cubicBezTo>
                  <a:pt x="1006013" y="4709460"/>
                  <a:pt x="1004773" y="4709770"/>
                  <a:pt x="1005238" y="4710906"/>
                </a:cubicBezTo>
                <a:cubicBezTo>
                  <a:pt x="1003379" y="4711422"/>
                  <a:pt x="1001521" y="4711629"/>
                  <a:pt x="999662" y="4711526"/>
                </a:cubicBezTo>
                <a:cubicBezTo>
                  <a:pt x="986496" y="4710700"/>
                  <a:pt x="972865" y="4695417"/>
                  <a:pt x="976582" y="4682304"/>
                </a:cubicBezTo>
                <a:close/>
                <a:moveTo>
                  <a:pt x="1792731" y="4681891"/>
                </a:moveTo>
                <a:cubicBezTo>
                  <a:pt x="1792731" y="4681891"/>
                  <a:pt x="1792731" y="4681891"/>
                  <a:pt x="1793660" y="4682820"/>
                </a:cubicBezTo>
                <a:cubicBezTo>
                  <a:pt x="1792111" y="4686950"/>
                  <a:pt x="1794125" y="4691287"/>
                  <a:pt x="1791646" y="4695417"/>
                </a:cubicBezTo>
                <a:cubicBezTo>
                  <a:pt x="1790717" y="4694488"/>
                  <a:pt x="1788858" y="4691804"/>
                  <a:pt x="1790562" y="4689429"/>
                </a:cubicBezTo>
                <a:cubicBezTo>
                  <a:pt x="1792111" y="4686950"/>
                  <a:pt x="1791182" y="4684369"/>
                  <a:pt x="1792731" y="4681891"/>
                </a:cubicBezTo>
                <a:close/>
                <a:moveTo>
                  <a:pt x="6427528" y="4680463"/>
                </a:moveTo>
                <a:cubicBezTo>
                  <a:pt x="6430781" y="4681599"/>
                  <a:pt x="6432485" y="4683664"/>
                  <a:pt x="6433879" y="4684800"/>
                </a:cubicBezTo>
                <a:cubicBezTo>
                  <a:pt x="6432950" y="4687175"/>
                  <a:pt x="6432795" y="4689034"/>
                  <a:pt x="6431710" y="4691408"/>
                </a:cubicBezTo>
                <a:cubicBezTo>
                  <a:pt x="6429542" y="4692957"/>
                  <a:pt x="6427683" y="4693370"/>
                  <a:pt x="6426289" y="4692957"/>
                </a:cubicBezTo>
                <a:cubicBezTo>
                  <a:pt x="6424740" y="4692544"/>
                  <a:pt x="6423656" y="4691408"/>
                  <a:pt x="6423191" y="4689860"/>
                </a:cubicBezTo>
                <a:cubicBezTo>
                  <a:pt x="6422107" y="4686969"/>
                  <a:pt x="6423191" y="4682632"/>
                  <a:pt x="6427528" y="4680463"/>
                </a:cubicBezTo>
                <a:close/>
                <a:moveTo>
                  <a:pt x="1585170" y="4680239"/>
                </a:moveTo>
                <a:cubicBezTo>
                  <a:pt x="1586718" y="4680445"/>
                  <a:pt x="1588578" y="4679929"/>
                  <a:pt x="1590127" y="4681065"/>
                </a:cubicBezTo>
                <a:cubicBezTo>
                  <a:pt x="1591675" y="4683027"/>
                  <a:pt x="1590591" y="4687157"/>
                  <a:pt x="1589662" y="4688706"/>
                </a:cubicBezTo>
                <a:cubicBezTo>
                  <a:pt x="1588732" y="4689429"/>
                  <a:pt x="1587649" y="4689532"/>
                  <a:pt x="1586564" y="4689119"/>
                </a:cubicBezTo>
                <a:cubicBezTo>
                  <a:pt x="1585635" y="4688706"/>
                  <a:pt x="1584550" y="4687880"/>
                  <a:pt x="1583776" y="4686950"/>
                </a:cubicBezTo>
                <a:cubicBezTo>
                  <a:pt x="1583001" y="4686331"/>
                  <a:pt x="1582692" y="4685505"/>
                  <a:pt x="1582692" y="4684473"/>
                </a:cubicBezTo>
                <a:cubicBezTo>
                  <a:pt x="1582692" y="4683543"/>
                  <a:pt x="1583001" y="4682407"/>
                  <a:pt x="1583466" y="4681684"/>
                </a:cubicBezTo>
                <a:cubicBezTo>
                  <a:pt x="1584240" y="4680962"/>
                  <a:pt x="1584240" y="4680962"/>
                  <a:pt x="1585170" y="4680239"/>
                </a:cubicBezTo>
                <a:close/>
                <a:moveTo>
                  <a:pt x="1451339" y="4680239"/>
                </a:moveTo>
                <a:cubicBezTo>
                  <a:pt x="1451339" y="4680239"/>
                  <a:pt x="1451339" y="4680239"/>
                  <a:pt x="1451185" y="4681478"/>
                </a:cubicBezTo>
                <a:cubicBezTo>
                  <a:pt x="1449171" y="4681788"/>
                  <a:pt x="1447467" y="4682820"/>
                  <a:pt x="1445763" y="4683853"/>
                </a:cubicBezTo>
                <a:lnTo>
                  <a:pt x="1443904" y="4684369"/>
                </a:lnTo>
                <a:lnTo>
                  <a:pt x="1447622" y="4684989"/>
                </a:lnTo>
                <a:cubicBezTo>
                  <a:pt x="1449791" y="4685918"/>
                  <a:pt x="1451649" y="4687467"/>
                  <a:pt x="1453198" y="4689429"/>
                </a:cubicBezTo>
                <a:cubicBezTo>
                  <a:pt x="1456761" y="4693972"/>
                  <a:pt x="1457690" y="4701097"/>
                  <a:pt x="1452114" y="4709564"/>
                </a:cubicBezTo>
                <a:cubicBezTo>
                  <a:pt x="1443285" y="4710080"/>
                  <a:pt x="1435231" y="4706259"/>
                  <a:pt x="1432132" y="4700064"/>
                </a:cubicBezTo>
                <a:cubicBezTo>
                  <a:pt x="1431203" y="4697999"/>
                  <a:pt x="1430738" y="4695831"/>
                  <a:pt x="1431048" y="4693352"/>
                </a:cubicBezTo>
                <a:lnTo>
                  <a:pt x="1432132" y="4691391"/>
                </a:lnTo>
                <a:lnTo>
                  <a:pt x="1432287" y="4689222"/>
                </a:lnTo>
                <a:cubicBezTo>
                  <a:pt x="1431513" y="4687364"/>
                  <a:pt x="1431668" y="4684782"/>
                  <a:pt x="1432752" y="4683234"/>
                </a:cubicBezTo>
                <a:cubicBezTo>
                  <a:pt x="1434456" y="4681788"/>
                  <a:pt x="1436160" y="4682098"/>
                  <a:pt x="1436934" y="4683027"/>
                </a:cubicBezTo>
                <a:lnTo>
                  <a:pt x="1438173" y="4684989"/>
                </a:lnTo>
                <a:lnTo>
                  <a:pt x="1440497" y="4684059"/>
                </a:lnTo>
                <a:lnTo>
                  <a:pt x="1440806" y="4683234"/>
                </a:lnTo>
                <a:cubicBezTo>
                  <a:pt x="1441426" y="4682407"/>
                  <a:pt x="1442510" y="4681684"/>
                  <a:pt x="1443904" y="4681788"/>
                </a:cubicBezTo>
                <a:cubicBezTo>
                  <a:pt x="1447003" y="4682098"/>
                  <a:pt x="1448396" y="4680033"/>
                  <a:pt x="1451339" y="4680239"/>
                </a:cubicBezTo>
                <a:close/>
                <a:moveTo>
                  <a:pt x="1776409" y="4680084"/>
                </a:moveTo>
                <a:cubicBezTo>
                  <a:pt x="1780920" y="4681374"/>
                  <a:pt x="1785296" y="4684162"/>
                  <a:pt x="1787929" y="4686434"/>
                </a:cubicBezTo>
                <a:cubicBezTo>
                  <a:pt x="1784056" y="4686641"/>
                  <a:pt x="1780339" y="4687157"/>
                  <a:pt x="1776312" y="4686847"/>
                </a:cubicBezTo>
                <a:cubicBezTo>
                  <a:pt x="1772440" y="4686538"/>
                  <a:pt x="1768412" y="4685505"/>
                  <a:pt x="1764075" y="4682717"/>
                </a:cubicBezTo>
                <a:cubicBezTo>
                  <a:pt x="1767251" y="4679000"/>
                  <a:pt x="1771897" y="4678793"/>
                  <a:pt x="1776409" y="4680084"/>
                </a:cubicBezTo>
                <a:close/>
                <a:moveTo>
                  <a:pt x="1818134" y="4679206"/>
                </a:moveTo>
                <a:cubicBezTo>
                  <a:pt x="1822471" y="4684782"/>
                  <a:pt x="1817979" y="4690771"/>
                  <a:pt x="1815811" y="4695934"/>
                </a:cubicBezTo>
                <a:cubicBezTo>
                  <a:pt x="1821696" y="4696760"/>
                  <a:pt x="1830681" y="4696347"/>
                  <a:pt x="1830835" y="4703162"/>
                </a:cubicBezTo>
                <a:lnTo>
                  <a:pt x="1827118" y="4704917"/>
                </a:lnTo>
                <a:lnTo>
                  <a:pt x="1827428" y="4708118"/>
                </a:lnTo>
                <a:lnTo>
                  <a:pt x="1826654" y="4708944"/>
                </a:lnTo>
                <a:lnTo>
                  <a:pt x="1827428" y="4710183"/>
                </a:lnTo>
                <a:cubicBezTo>
                  <a:pt x="1827892" y="4710803"/>
                  <a:pt x="1828202" y="4711216"/>
                  <a:pt x="1828202" y="4711216"/>
                </a:cubicBezTo>
                <a:cubicBezTo>
                  <a:pt x="1827737" y="4712351"/>
                  <a:pt x="1827428" y="4712971"/>
                  <a:pt x="1826963" y="4713178"/>
                </a:cubicBezTo>
                <a:lnTo>
                  <a:pt x="1825569" y="4713074"/>
                </a:lnTo>
                <a:lnTo>
                  <a:pt x="1825104" y="4715140"/>
                </a:lnTo>
                <a:cubicBezTo>
                  <a:pt x="1823246" y="4714830"/>
                  <a:pt x="1819992" y="4712248"/>
                  <a:pt x="1820302" y="4710286"/>
                </a:cubicBezTo>
                <a:lnTo>
                  <a:pt x="1822316" y="4711009"/>
                </a:lnTo>
                <a:lnTo>
                  <a:pt x="1820768" y="4709564"/>
                </a:lnTo>
                <a:cubicBezTo>
                  <a:pt x="1819683" y="4707912"/>
                  <a:pt x="1818908" y="4705950"/>
                  <a:pt x="1819218" y="4704401"/>
                </a:cubicBezTo>
                <a:lnTo>
                  <a:pt x="1821387" y="4704401"/>
                </a:lnTo>
                <a:lnTo>
                  <a:pt x="1817204" y="4703368"/>
                </a:lnTo>
                <a:cubicBezTo>
                  <a:pt x="1815345" y="4702852"/>
                  <a:pt x="1813642" y="4702542"/>
                  <a:pt x="1811938" y="4702645"/>
                </a:cubicBezTo>
                <a:cubicBezTo>
                  <a:pt x="1809614" y="4703678"/>
                  <a:pt x="1809150" y="4706363"/>
                  <a:pt x="1806362" y="4706982"/>
                </a:cubicBezTo>
                <a:cubicBezTo>
                  <a:pt x="1805433" y="4707085"/>
                  <a:pt x="1804194" y="4707189"/>
                  <a:pt x="1802644" y="4706776"/>
                </a:cubicBezTo>
                <a:cubicBezTo>
                  <a:pt x="1803729" y="4696347"/>
                  <a:pt x="1806982" y="4688706"/>
                  <a:pt x="1812248" y="4683543"/>
                </a:cubicBezTo>
                <a:cubicBezTo>
                  <a:pt x="1813952" y="4681891"/>
                  <a:pt x="1815965" y="4680342"/>
                  <a:pt x="1818134" y="4679206"/>
                </a:cubicBezTo>
                <a:close/>
                <a:moveTo>
                  <a:pt x="6204168" y="4678811"/>
                </a:moveTo>
                <a:cubicBezTo>
                  <a:pt x="6205407" y="4679121"/>
                  <a:pt x="6205252" y="4679121"/>
                  <a:pt x="6206801" y="4681289"/>
                </a:cubicBezTo>
                <a:cubicBezTo>
                  <a:pt x="6205562" y="4680979"/>
                  <a:pt x="6205562" y="4680979"/>
                  <a:pt x="6205407" y="4682115"/>
                </a:cubicBezTo>
                <a:cubicBezTo>
                  <a:pt x="6205407" y="4682115"/>
                  <a:pt x="6205562" y="4682115"/>
                  <a:pt x="6206027" y="4682838"/>
                </a:cubicBezTo>
                <a:cubicBezTo>
                  <a:pt x="6205252" y="4683251"/>
                  <a:pt x="6204787" y="4682529"/>
                  <a:pt x="6204168" y="4683045"/>
                </a:cubicBezTo>
                <a:cubicBezTo>
                  <a:pt x="6204168" y="4683045"/>
                  <a:pt x="6203703" y="4682322"/>
                  <a:pt x="6203703" y="4682322"/>
                </a:cubicBezTo>
                <a:cubicBezTo>
                  <a:pt x="6203394" y="4682529"/>
                  <a:pt x="6203394" y="4682529"/>
                  <a:pt x="6203394" y="4682219"/>
                </a:cubicBezTo>
                <a:cubicBezTo>
                  <a:pt x="6203548" y="4681909"/>
                  <a:pt x="6203548" y="4681393"/>
                  <a:pt x="6203394" y="4680463"/>
                </a:cubicBezTo>
                <a:cubicBezTo>
                  <a:pt x="6203548" y="4679224"/>
                  <a:pt x="6203083" y="4678501"/>
                  <a:pt x="6204168" y="4678811"/>
                </a:cubicBezTo>
                <a:close/>
                <a:moveTo>
                  <a:pt x="6621458" y="4678295"/>
                </a:moveTo>
                <a:cubicBezTo>
                  <a:pt x="6624401" y="4694403"/>
                  <a:pt x="6638342" y="4680257"/>
                  <a:pt x="6641285" y="4692647"/>
                </a:cubicBezTo>
                <a:cubicBezTo>
                  <a:pt x="6640201" y="4697707"/>
                  <a:pt x="6640820" y="4703489"/>
                  <a:pt x="6637722" y="4708446"/>
                </a:cubicBezTo>
                <a:cubicBezTo>
                  <a:pt x="6636793" y="4710098"/>
                  <a:pt x="6635399" y="4711646"/>
                  <a:pt x="6633385" y="4712989"/>
                </a:cubicBezTo>
                <a:cubicBezTo>
                  <a:pt x="6630133" y="4706897"/>
                  <a:pt x="6626415" y="4702560"/>
                  <a:pt x="6622543" y="4698430"/>
                </a:cubicBezTo>
                <a:lnTo>
                  <a:pt x="6621303" y="4697294"/>
                </a:lnTo>
                <a:lnTo>
                  <a:pt x="6621303" y="4698327"/>
                </a:lnTo>
                <a:cubicBezTo>
                  <a:pt x="6619290" y="4699463"/>
                  <a:pt x="6616657" y="4702354"/>
                  <a:pt x="6613094" y="4702973"/>
                </a:cubicBezTo>
                <a:cubicBezTo>
                  <a:pt x="6605969" y="4698946"/>
                  <a:pt x="6604575" y="4693061"/>
                  <a:pt x="6606743" y="4686555"/>
                </a:cubicBezTo>
                <a:lnTo>
                  <a:pt x="6611080" y="4685730"/>
                </a:lnTo>
                <a:lnTo>
                  <a:pt x="6614023" y="4682115"/>
                </a:lnTo>
                <a:cubicBezTo>
                  <a:pt x="6615727" y="4680773"/>
                  <a:pt x="6618205" y="4679534"/>
                  <a:pt x="6621458" y="4678295"/>
                </a:cubicBezTo>
                <a:close/>
                <a:moveTo>
                  <a:pt x="5924890" y="4678192"/>
                </a:moveTo>
                <a:cubicBezTo>
                  <a:pt x="5926749" y="4678914"/>
                  <a:pt x="5927678" y="4679740"/>
                  <a:pt x="5929382" y="4680463"/>
                </a:cubicBezTo>
                <a:cubicBezTo>
                  <a:pt x="5929846" y="4683045"/>
                  <a:pt x="5932634" y="4685523"/>
                  <a:pt x="5930001" y="4690892"/>
                </a:cubicBezTo>
                <a:cubicBezTo>
                  <a:pt x="5926594" y="4696365"/>
                  <a:pt x="5921017" y="4692338"/>
                  <a:pt x="5921172" y="4693164"/>
                </a:cubicBezTo>
                <a:cubicBezTo>
                  <a:pt x="5920398" y="4694093"/>
                  <a:pt x="5920398" y="4694093"/>
                  <a:pt x="5920552" y="4695022"/>
                </a:cubicBezTo>
                <a:cubicBezTo>
                  <a:pt x="5919623" y="4695022"/>
                  <a:pt x="5918074" y="4695952"/>
                  <a:pt x="5917455" y="4696881"/>
                </a:cubicBezTo>
                <a:cubicBezTo>
                  <a:pt x="5917300" y="4695952"/>
                  <a:pt x="5917145" y="4695126"/>
                  <a:pt x="5916370" y="4695229"/>
                </a:cubicBezTo>
                <a:cubicBezTo>
                  <a:pt x="5917764" y="4693370"/>
                  <a:pt x="5918539" y="4693370"/>
                  <a:pt x="5919313" y="4692441"/>
                </a:cubicBezTo>
                <a:cubicBezTo>
                  <a:pt x="5918539" y="4692441"/>
                  <a:pt x="5919159" y="4691615"/>
                  <a:pt x="5919159" y="4691615"/>
                </a:cubicBezTo>
                <a:cubicBezTo>
                  <a:pt x="5919159" y="4691615"/>
                  <a:pt x="5919159" y="4691512"/>
                  <a:pt x="5917300" y="4689860"/>
                </a:cubicBezTo>
                <a:cubicBezTo>
                  <a:pt x="5917300" y="4689860"/>
                  <a:pt x="5913273" y="4685730"/>
                  <a:pt x="5916061" y="4681289"/>
                </a:cubicBezTo>
                <a:cubicBezTo>
                  <a:pt x="5916990" y="4682115"/>
                  <a:pt x="5921327" y="4676643"/>
                  <a:pt x="5924890" y="4678192"/>
                </a:cubicBezTo>
                <a:close/>
                <a:moveTo>
                  <a:pt x="1089037" y="4677554"/>
                </a:moveTo>
                <a:lnTo>
                  <a:pt x="1089811" y="4679619"/>
                </a:lnTo>
                <a:lnTo>
                  <a:pt x="1090586" y="4679103"/>
                </a:lnTo>
                <a:cubicBezTo>
                  <a:pt x="1093839" y="4679826"/>
                  <a:pt x="1096007" y="4682201"/>
                  <a:pt x="1096317" y="4684782"/>
                </a:cubicBezTo>
                <a:lnTo>
                  <a:pt x="1095388" y="4688293"/>
                </a:lnTo>
                <a:lnTo>
                  <a:pt x="1099880" y="4691701"/>
                </a:lnTo>
                <a:cubicBezTo>
                  <a:pt x="1101274" y="4692940"/>
                  <a:pt x="1102668" y="4694178"/>
                  <a:pt x="1103752" y="4695624"/>
                </a:cubicBezTo>
                <a:cubicBezTo>
                  <a:pt x="1105301" y="4697586"/>
                  <a:pt x="1106230" y="4699858"/>
                  <a:pt x="1106230" y="4702955"/>
                </a:cubicBezTo>
                <a:cubicBezTo>
                  <a:pt x="1106695" y="4716585"/>
                  <a:pt x="1094303" y="4724019"/>
                  <a:pt x="1083926" y="4723297"/>
                </a:cubicBezTo>
                <a:cubicBezTo>
                  <a:pt x="1077729" y="4722884"/>
                  <a:pt x="1071998" y="4719579"/>
                  <a:pt x="1070295" y="4712765"/>
                </a:cubicBezTo>
                <a:cubicBezTo>
                  <a:pt x="1069675" y="4710183"/>
                  <a:pt x="1069520" y="4707085"/>
                  <a:pt x="1070140" y="4703472"/>
                </a:cubicBezTo>
                <a:cubicBezTo>
                  <a:pt x="1072463" y="4693662"/>
                  <a:pt x="1081912" y="4688396"/>
                  <a:pt x="1089037" y="4677554"/>
                </a:cubicBezTo>
                <a:close/>
                <a:moveTo>
                  <a:pt x="6273871" y="4676953"/>
                </a:moveTo>
                <a:lnTo>
                  <a:pt x="6274491" y="4678914"/>
                </a:lnTo>
                <a:lnTo>
                  <a:pt x="6274955" y="4678398"/>
                </a:lnTo>
                <a:cubicBezTo>
                  <a:pt x="6276195" y="4677366"/>
                  <a:pt x="6277434" y="4676746"/>
                  <a:pt x="6279138" y="4677263"/>
                </a:cubicBezTo>
                <a:cubicBezTo>
                  <a:pt x="6278363" y="4677882"/>
                  <a:pt x="6277434" y="4678811"/>
                  <a:pt x="6276350" y="4679740"/>
                </a:cubicBezTo>
                <a:lnTo>
                  <a:pt x="6275110" y="4680670"/>
                </a:lnTo>
                <a:lnTo>
                  <a:pt x="6275885" y="4683045"/>
                </a:lnTo>
                <a:cubicBezTo>
                  <a:pt x="6275730" y="4685110"/>
                  <a:pt x="6274801" y="4687175"/>
                  <a:pt x="6272787" y="4689137"/>
                </a:cubicBezTo>
                <a:cubicBezTo>
                  <a:pt x="6268605" y="4689653"/>
                  <a:pt x="6266901" y="4684284"/>
                  <a:pt x="6265817" y="4681599"/>
                </a:cubicBezTo>
                <a:cubicBezTo>
                  <a:pt x="6268605" y="4679224"/>
                  <a:pt x="6271393" y="4676746"/>
                  <a:pt x="6273871" y="4676953"/>
                </a:cubicBezTo>
                <a:close/>
                <a:moveTo>
                  <a:pt x="1438483" y="4676832"/>
                </a:moveTo>
                <a:cubicBezTo>
                  <a:pt x="1438328" y="4677967"/>
                  <a:pt x="1437864" y="4681478"/>
                  <a:pt x="1437864" y="4681478"/>
                </a:cubicBezTo>
                <a:cubicBezTo>
                  <a:pt x="1438328" y="4682304"/>
                  <a:pt x="1438328" y="4682304"/>
                  <a:pt x="1438173" y="4683440"/>
                </a:cubicBezTo>
                <a:cubicBezTo>
                  <a:pt x="1436934" y="4683130"/>
                  <a:pt x="1436934" y="4683130"/>
                  <a:pt x="1436469" y="4682407"/>
                </a:cubicBezTo>
                <a:cubicBezTo>
                  <a:pt x="1436624" y="4681272"/>
                  <a:pt x="1437399" y="4680755"/>
                  <a:pt x="1437554" y="4679619"/>
                </a:cubicBezTo>
                <a:cubicBezTo>
                  <a:pt x="1435231" y="4679000"/>
                  <a:pt x="1435695" y="4679723"/>
                  <a:pt x="1435850" y="4678587"/>
                </a:cubicBezTo>
                <a:cubicBezTo>
                  <a:pt x="1435850" y="4678587"/>
                  <a:pt x="1435850" y="4678587"/>
                  <a:pt x="1436005" y="4677348"/>
                </a:cubicBezTo>
                <a:cubicBezTo>
                  <a:pt x="1436005" y="4677348"/>
                  <a:pt x="1435540" y="4676625"/>
                  <a:pt x="1438483" y="4676832"/>
                </a:cubicBezTo>
                <a:close/>
                <a:moveTo>
                  <a:pt x="1123888" y="4676418"/>
                </a:moveTo>
                <a:lnTo>
                  <a:pt x="1127296" y="4677348"/>
                </a:lnTo>
                <a:cubicBezTo>
                  <a:pt x="1127141" y="4678587"/>
                  <a:pt x="1126212" y="4680239"/>
                  <a:pt x="1125128" y="4679929"/>
                </a:cubicBezTo>
                <a:cubicBezTo>
                  <a:pt x="1124198" y="4679929"/>
                  <a:pt x="1123888" y="4679516"/>
                  <a:pt x="1123888" y="4678897"/>
                </a:cubicBezTo>
                <a:cubicBezTo>
                  <a:pt x="1123888" y="4678277"/>
                  <a:pt x="1124044" y="4677348"/>
                  <a:pt x="1123888" y="4676418"/>
                </a:cubicBezTo>
                <a:close/>
                <a:moveTo>
                  <a:pt x="6369442" y="4675817"/>
                </a:moveTo>
                <a:cubicBezTo>
                  <a:pt x="6371146" y="4676540"/>
                  <a:pt x="6371765" y="4685730"/>
                  <a:pt x="6367738" y="4685007"/>
                </a:cubicBezTo>
                <a:cubicBezTo>
                  <a:pt x="6366964" y="4684697"/>
                  <a:pt x="6366499" y="4683974"/>
                  <a:pt x="6366344" y="4683045"/>
                </a:cubicBezTo>
                <a:cubicBezTo>
                  <a:pt x="6365880" y="4680463"/>
                  <a:pt x="6368048" y="4676230"/>
                  <a:pt x="6369442" y="4675817"/>
                </a:cubicBezTo>
                <a:close/>
                <a:moveTo>
                  <a:pt x="1231542" y="4675592"/>
                </a:moveTo>
                <a:cubicBezTo>
                  <a:pt x="1238202" y="4673424"/>
                  <a:pt x="1245172" y="4682717"/>
                  <a:pt x="1240216" y="4690771"/>
                </a:cubicBezTo>
                <a:cubicBezTo>
                  <a:pt x="1239132" y="4691184"/>
                  <a:pt x="1238047" y="4691391"/>
                  <a:pt x="1236808" y="4691287"/>
                </a:cubicBezTo>
                <a:cubicBezTo>
                  <a:pt x="1233400" y="4691081"/>
                  <a:pt x="1229528" y="4688603"/>
                  <a:pt x="1227359" y="4685815"/>
                </a:cubicBezTo>
                <a:lnTo>
                  <a:pt x="1226585" y="4684266"/>
                </a:lnTo>
                <a:lnTo>
                  <a:pt x="1223177" y="4685815"/>
                </a:lnTo>
                <a:cubicBezTo>
                  <a:pt x="1223177" y="4685195"/>
                  <a:pt x="1223332" y="4684885"/>
                  <a:pt x="1223797" y="4684576"/>
                </a:cubicBezTo>
                <a:cubicBezTo>
                  <a:pt x="1224262" y="4684369"/>
                  <a:pt x="1224881" y="4684163"/>
                  <a:pt x="1225501" y="4683956"/>
                </a:cubicBezTo>
                <a:lnTo>
                  <a:pt x="1226275" y="4683749"/>
                </a:lnTo>
                <a:lnTo>
                  <a:pt x="1225501" y="4681994"/>
                </a:lnTo>
                <a:cubicBezTo>
                  <a:pt x="1227204" y="4678277"/>
                  <a:pt x="1229373" y="4676315"/>
                  <a:pt x="1231542" y="4675592"/>
                </a:cubicBezTo>
                <a:close/>
                <a:moveTo>
                  <a:pt x="6126410" y="4675507"/>
                </a:moveTo>
                <a:cubicBezTo>
                  <a:pt x="6129043" y="4680154"/>
                  <a:pt x="6125171" y="4685523"/>
                  <a:pt x="6120989" y="4686245"/>
                </a:cubicBezTo>
                <a:cubicBezTo>
                  <a:pt x="6119439" y="4686555"/>
                  <a:pt x="6118046" y="4686349"/>
                  <a:pt x="6116806" y="4685420"/>
                </a:cubicBezTo>
                <a:cubicBezTo>
                  <a:pt x="6113089" y="4679224"/>
                  <a:pt x="6121298" y="4673545"/>
                  <a:pt x="6126410" y="4675507"/>
                </a:cubicBezTo>
                <a:close/>
                <a:moveTo>
                  <a:pt x="1434611" y="4675076"/>
                </a:moveTo>
                <a:cubicBezTo>
                  <a:pt x="1436315" y="4674973"/>
                  <a:pt x="1434921" y="4677038"/>
                  <a:pt x="1436005" y="4677348"/>
                </a:cubicBezTo>
                <a:cubicBezTo>
                  <a:pt x="1429654" y="4679413"/>
                  <a:pt x="1426092" y="4683956"/>
                  <a:pt x="1426092" y="4683956"/>
                </a:cubicBezTo>
                <a:cubicBezTo>
                  <a:pt x="1424233" y="4684059"/>
                  <a:pt x="1423613" y="4683440"/>
                  <a:pt x="1424233" y="4684163"/>
                </a:cubicBezTo>
                <a:cubicBezTo>
                  <a:pt x="1421909" y="4683543"/>
                  <a:pt x="1418811" y="4683337"/>
                  <a:pt x="1418502" y="4681478"/>
                </a:cubicBezTo>
                <a:cubicBezTo>
                  <a:pt x="1418967" y="4674767"/>
                  <a:pt x="1430274" y="4675799"/>
                  <a:pt x="1432752" y="4675282"/>
                </a:cubicBezTo>
                <a:cubicBezTo>
                  <a:pt x="1432752" y="4675282"/>
                  <a:pt x="1433371" y="4674870"/>
                  <a:pt x="1434611" y="4675076"/>
                </a:cubicBezTo>
                <a:close/>
                <a:moveTo>
                  <a:pt x="1146194" y="4675076"/>
                </a:moveTo>
                <a:cubicBezTo>
                  <a:pt x="1148517" y="4675489"/>
                  <a:pt x="1149911" y="4676728"/>
                  <a:pt x="1150531" y="4678483"/>
                </a:cubicBezTo>
                <a:lnTo>
                  <a:pt x="1150841" y="4682407"/>
                </a:lnTo>
                <a:lnTo>
                  <a:pt x="1152234" y="4681272"/>
                </a:lnTo>
                <a:cubicBezTo>
                  <a:pt x="1154094" y="4680239"/>
                  <a:pt x="1154868" y="4681994"/>
                  <a:pt x="1156262" y="4684782"/>
                </a:cubicBezTo>
                <a:cubicBezTo>
                  <a:pt x="1154713" y="4685918"/>
                  <a:pt x="1153629" y="4686228"/>
                  <a:pt x="1152699" y="4685918"/>
                </a:cubicBezTo>
                <a:lnTo>
                  <a:pt x="1150996" y="4684369"/>
                </a:lnTo>
                <a:lnTo>
                  <a:pt x="1150996" y="4685092"/>
                </a:lnTo>
                <a:cubicBezTo>
                  <a:pt x="1149292" y="4685402"/>
                  <a:pt x="1148053" y="4686331"/>
                  <a:pt x="1146194" y="4686641"/>
                </a:cubicBezTo>
                <a:lnTo>
                  <a:pt x="1144799" y="4688912"/>
                </a:lnTo>
                <a:cubicBezTo>
                  <a:pt x="1141857" y="4687157"/>
                  <a:pt x="1141237" y="4682717"/>
                  <a:pt x="1142476" y="4679619"/>
                </a:cubicBezTo>
                <a:lnTo>
                  <a:pt x="1142941" y="4678793"/>
                </a:lnTo>
                <a:lnTo>
                  <a:pt x="1142941" y="4676418"/>
                </a:lnTo>
                <a:cubicBezTo>
                  <a:pt x="1143560" y="4675489"/>
                  <a:pt x="1144645" y="4674973"/>
                  <a:pt x="1146194" y="4675076"/>
                </a:cubicBezTo>
                <a:close/>
                <a:moveTo>
                  <a:pt x="1022896" y="4674973"/>
                </a:moveTo>
                <a:cubicBezTo>
                  <a:pt x="1027388" y="4673269"/>
                  <a:pt x="1032500" y="4673372"/>
                  <a:pt x="1035443" y="4677141"/>
                </a:cubicBezTo>
                <a:cubicBezTo>
                  <a:pt x="1030022" y="4679413"/>
                  <a:pt x="1024600" y="4680858"/>
                  <a:pt x="1018714" y="4686538"/>
                </a:cubicBezTo>
                <a:cubicBezTo>
                  <a:pt x="1017320" y="4684473"/>
                  <a:pt x="1015461" y="4686641"/>
                  <a:pt x="1014067" y="4683646"/>
                </a:cubicBezTo>
                <a:cubicBezTo>
                  <a:pt x="1014532" y="4680187"/>
                  <a:pt x="1018404" y="4676676"/>
                  <a:pt x="1022896" y="4674973"/>
                </a:cubicBezTo>
                <a:close/>
                <a:moveTo>
                  <a:pt x="1405335" y="4674870"/>
                </a:moveTo>
                <a:cubicBezTo>
                  <a:pt x="1416023" y="4676418"/>
                  <a:pt x="1416178" y="4679619"/>
                  <a:pt x="1417727" y="4686331"/>
                </a:cubicBezTo>
                <a:cubicBezTo>
                  <a:pt x="1417262" y="4685505"/>
                  <a:pt x="1416953" y="4686744"/>
                  <a:pt x="1416953" y="4686744"/>
                </a:cubicBezTo>
                <a:cubicBezTo>
                  <a:pt x="1416643" y="4689119"/>
                  <a:pt x="1421290" y="4687157"/>
                  <a:pt x="1421444" y="4690358"/>
                </a:cubicBezTo>
                <a:cubicBezTo>
                  <a:pt x="1421135" y="4695417"/>
                  <a:pt x="1415403" y="4697379"/>
                  <a:pt x="1412306" y="4698206"/>
                </a:cubicBezTo>
                <a:lnTo>
                  <a:pt x="1411686" y="4698309"/>
                </a:lnTo>
                <a:lnTo>
                  <a:pt x="1410912" y="4699135"/>
                </a:lnTo>
                <a:lnTo>
                  <a:pt x="1411067" y="4699341"/>
                </a:lnTo>
                <a:lnTo>
                  <a:pt x="1410757" y="4699341"/>
                </a:lnTo>
                <a:lnTo>
                  <a:pt x="1409208" y="4700787"/>
                </a:lnTo>
                <a:lnTo>
                  <a:pt x="1408124" y="4699548"/>
                </a:lnTo>
                <a:lnTo>
                  <a:pt x="1405490" y="4699238"/>
                </a:lnTo>
                <a:cubicBezTo>
                  <a:pt x="1404716" y="4698928"/>
                  <a:pt x="1404251" y="4698309"/>
                  <a:pt x="1404406" y="4697173"/>
                </a:cubicBezTo>
                <a:cubicBezTo>
                  <a:pt x="1404096" y="4695211"/>
                  <a:pt x="1406110" y="4695108"/>
                  <a:pt x="1406419" y="4692630"/>
                </a:cubicBezTo>
                <a:cubicBezTo>
                  <a:pt x="1406419" y="4690461"/>
                  <a:pt x="1404251" y="4689119"/>
                  <a:pt x="1402237" y="4687260"/>
                </a:cubicBezTo>
                <a:lnTo>
                  <a:pt x="1400069" y="4684782"/>
                </a:lnTo>
                <a:lnTo>
                  <a:pt x="1400379" y="4685918"/>
                </a:lnTo>
                <a:cubicBezTo>
                  <a:pt x="1400844" y="4690048"/>
                  <a:pt x="1399449" y="4695624"/>
                  <a:pt x="1394492" y="4696760"/>
                </a:cubicBezTo>
                <a:cubicBezTo>
                  <a:pt x="1392634" y="4692733"/>
                  <a:pt x="1392944" y="4689945"/>
                  <a:pt x="1394183" y="4687777"/>
                </a:cubicBezTo>
                <a:lnTo>
                  <a:pt x="1399139" y="4682717"/>
                </a:lnTo>
                <a:lnTo>
                  <a:pt x="1398055" y="4678587"/>
                </a:lnTo>
                <a:cubicBezTo>
                  <a:pt x="1400379" y="4679206"/>
                  <a:pt x="1401773" y="4673940"/>
                  <a:pt x="1405335" y="4674870"/>
                </a:cubicBezTo>
                <a:close/>
                <a:moveTo>
                  <a:pt x="6656620" y="4674474"/>
                </a:moveTo>
                <a:cubicBezTo>
                  <a:pt x="6661112" y="4683768"/>
                  <a:pt x="6655071" y="4686142"/>
                  <a:pt x="6657549" y="4691408"/>
                </a:cubicBezTo>
                <a:cubicBezTo>
                  <a:pt x="6655690" y="4691305"/>
                  <a:pt x="6655690" y="4691305"/>
                  <a:pt x="6654451" y="4689653"/>
                </a:cubicBezTo>
                <a:cubicBezTo>
                  <a:pt x="6654761" y="4688827"/>
                  <a:pt x="6653986" y="4688414"/>
                  <a:pt x="6655225" y="4688104"/>
                </a:cubicBezTo>
                <a:cubicBezTo>
                  <a:pt x="6653522" y="4685213"/>
                  <a:pt x="6654451" y="4677056"/>
                  <a:pt x="6656620" y="4674474"/>
                </a:cubicBezTo>
                <a:close/>
                <a:moveTo>
                  <a:pt x="1211870" y="4674457"/>
                </a:moveTo>
                <a:cubicBezTo>
                  <a:pt x="1214813" y="4675489"/>
                  <a:pt x="1216827" y="4674044"/>
                  <a:pt x="1221164" y="4676522"/>
                </a:cubicBezTo>
                <a:cubicBezTo>
                  <a:pt x="1219769" y="4684163"/>
                  <a:pt x="1219460" y="4691701"/>
                  <a:pt x="1219150" y="4698928"/>
                </a:cubicBezTo>
                <a:lnTo>
                  <a:pt x="1218066" y="4710390"/>
                </a:lnTo>
                <a:lnTo>
                  <a:pt x="1221318" y="4710390"/>
                </a:lnTo>
                <a:cubicBezTo>
                  <a:pt x="1225501" y="4710906"/>
                  <a:pt x="1229373" y="4712248"/>
                  <a:pt x="1232935" y="4714107"/>
                </a:cubicBezTo>
                <a:lnTo>
                  <a:pt x="1235879" y="4716172"/>
                </a:lnTo>
                <a:lnTo>
                  <a:pt x="1237428" y="4715862"/>
                </a:lnTo>
                <a:lnTo>
                  <a:pt x="1238666" y="4715862"/>
                </a:lnTo>
                <a:lnTo>
                  <a:pt x="1238977" y="4715656"/>
                </a:lnTo>
                <a:cubicBezTo>
                  <a:pt x="1239596" y="4715346"/>
                  <a:pt x="1240061" y="4715140"/>
                  <a:pt x="1240061" y="4715140"/>
                </a:cubicBezTo>
                <a:cubicBezTo>
                  <a:pt x="1240835" y="4715966"/>
                  <a:pt x="1240680" y="4715966"/>
                  <a:pt x="1239906" y="4715966"/>
                </a:cubicBezTo>
                <a:lnTo>
                  <a:pt x="1239751" y="4716069"/>
                </a:lnTo>
                <a:lnTo>
                  <a:pt x="1242384" y="4716379"/>
                </a:lnTo>
                <a:cubicBezTo>
                  <a:pt x="1242075" y="4718547"/>
                  <a:pt x="1240990" y="4720612"/>
                  <a:pt x="1239906" y="4722574"/>
                </a:cubicBezTo>
                <a:lnTo>
                  <a:pt x="1236343" y="4728046"/>
                </a:lnTo>
                <a:lnTo>
                  <a:pt x="1235879" y="4723710"/>
                </a:lnTo>
                <a:cubicBezTo>
                  <a:pt x="1234950" y="4723710"/>
                  <a:pt x="1234020" y="4724536"/>
                  <a:pt x="1234020" y="4724536"/>
                </a:cubicBezTo>
                <a:lnTo>
                  <a:pt x="1233555" y="4721954"/>
                </a:lnTo>
                <a:lnTo>
                  <a:pt x="1232161" y="4722161"/>
                </a:lnTo>
                <a:lnTo>
                  <a:pt x="1226740" y="4721335"/>
                </a:lnTo>
                <a:lnTo>
                  <a:pt x="1226740" y="4722780"/>
                </a:lnTo>
                <a:lnTo>
                  <a:pt x="1230612" y="4724329"/>
                </a:lnTo>
                <a:lnTo>
                  <a:pt x="1236343" y="4728046"/>
                </a:lnTo>
                <a:lnTo>
                  <a:pt x="1237428" y="4728769"/>
                </a:lnTo>
                <a:cubicBezTo>
                  <a:pt x="1239906" y="4730215"/>
                  <a:pt x="1242384" y="4731764"/>
                  <a:pt x="1245327" y="4732900"/>
                </a:cubicBezTo>
                <a:cubicBezTo>
                  <a:pt x="1243004" y="4743948"/>
                  <a:pt x="1248580" y="4746736"/>
                  <a:pt x="1251523" y="4751796"/>
                </a:cubicBezTo>
                <a:cubicBezTo>
                  <a:pt x="1246566" y="4758404"/>
                  <a:pt x="1246102" y="4768833"/>
                  <a:pt x="1242694" y="4777403"/>
                </a:cubicBezTo>
                <a:cubicBezTo>
                  <a:pt x="1232781" y="4781946"/>
                  <a:pt x="1225655" y="4788451"/>
                  <a:pt x="1215588" y="4793098"/>
                </a:cubicBezTo>
                <a:cubicBezTo>
                  <a:pt x="1213419" y="4791446"/>
                  <a:pt x="1210631" y="4790516"/>
                  <a:pt x="1207687" y="4789690"/>
                </a:cubicBezTo>
                <a:lnTo>
                  <a:pt x="1201182" y="4788245"/>
                </a:lnTo>
                <a:lnTo>
                  <a:pt x="1202266" y="4792066"/>
                </a:lnTo>
                <a:cubicBezTo>
                  <a:pt x="1203041" y="4793511"/>
                  <a:pt x="1203660" y="4795163"/>
                  <a:pt x="1203506" y="4798571"/>
                </a:cubicBezTo>
                <a:cubicBezTo>
                  <a:pt x="1203350" y="4807244"/>
                  <a:pt x="1197619" y="4808793"/>
                  <a:pt x="1193437" y="4808380"/>
                </a:cubicBezTo>
                <a:cubicBezTo>
                  <a:pt x="1193592" y="4808173"/>
                  <a:pt x="1193127" y="4807967"/>
                  <a:pt x="1192663" y="4807760"/>
                </a:cubicBezTo>
                <a:lnTo>
                  <a:pt x="1190959" y="4806935"/>
                </a:lnTo>
                <a:lnTo>
                  <a:pt x="1188325" y="4808070"/>
                </a:lnTo>
                <a:cubicBezTo>
                  <a:pt x="1187552" y="4807967"/>
                  <a:pt x="1186777" y="4807450"/>
                  <a:pt x="1185692" y="4806728"/>
                </a:cubicBezTo>
                <a:cubicBezTo>
                  <a:pt x="1184918" y="4806728"/>
                  <a:pt x="1183678" y="4803320"/>
                  <a:pt x="1184298" y="4802391"/>
                </a:cubicBezTo>
                <a:lnTo>
                  <a:pt x="1184918" y="4801668"/>
                </a:lnTo>
                <a:lnTo>
                  <a:pt x="1183678" y="4796506"/>
                </a:lnTo>
                <a:cubicBezTo>
                  <a:pt x="1183678" y="4795370"/>
                  <a:pt x="1183988" y="4794337"/>
                  <a:pt x="1184143" y="4793305"/>
                </a:cubicBezTo>
                <a:cubicBezTo>
                  <a:pt x="1183833" y="4795060"/>
                  <a:pt x="1183369" y="4797022"/>
                  <a:pt x="1182904" y="4798261"/>
                </a:cubicBezTo>
                <a:lnTo>
                  <a:pt x="1182130" y="4800016"/>
                </a:lnTo>
                <a:lnTo>
                  <a:pt x="1183059" y="4800016"/>
                </a:lnTo>
                <a:lnTo>
                  <a:pt x="1181975" y="4800945"/>
                </a:lnTo>
                <a:lnTo>
                  <a:pt x="1181975" y="4801152"/>
                </a:lnTo>
                <a:cubicBezTo>
                  <a:pt x="1181045" y="4801152"/>
                  <a:pt x="1181045" y="4801978"/>
                  <a:pt x="1181820" y="4801978"/>
                </a:cubicBezTo>
                <a:cubicBezTo>
                  <a:pt x="1180890" y="4803217"/>
                  <a:pt x="1180116" y="4804353"/>
                  <a:pt x="1179496" y="4804869"/>
                </a:cubicBezTo>
                <a:lnTo>
                  <a:pt x="1178722" y="4804766"/>
                </a:lnTo>
                <a:lnTo>
                  <a:pt x="1178722" y="4809619"/>
                </a:lnTo>
                <a:lnTo>
                  <a:pt x="1178567" y="4810961"/>
                </a:lnTo>
                <a:lnTo>
                  <a:pt x="1179031" y="4811374"/>
                </a:lnTo>
                <a:lnTo>
                  <a:pt x="1178412" y="4812097"/>
                </a:lnTo>
                <a:lnTo>
                  <a:pt x="1177638" y="4816434"/>
                </a:lnTo>
                <a:cubicBezTo>
                  <a:pt x="1176863" y="4818292"/>
                  <a:pt x="1175779" y="4819532"/>
                  <a:pt x="1173920" y="4819738"/>
                </a:cubicBezTo>
                <a:lnTo>
                  <a:pt x="1173146" y="4813956"/>
                </a:lnTo>
                <a:lnTo>
                  <a:pt x="1172836" y="4813543"/>
                </a:lnTo>
                <a:lnTo>
                  <a:pt x="1172991" y="4813233"/>
                </a:lnTo>
                <a:lnTo>
                  <a:pt x="1172371" y="4806315"/>
                </a:lnTo>
                <a:lnTo>
                  <a:pt x="1173455" y="4799810"/>
                </a:lnTo>
                <a:lnTo>
                  <a:pt x="1172526" y="4799603"/>
                </a:lnTo>
                <a:cubicBezTo>
                  <a:pt x="1169274" y="4800119"/>
                  <a:pt x="1164937" y="4803011"/>
                  <a:pt x="1160289" y="4798983"/>
                </a:cubicBezTo>
                <a:cubicBezTo>
                  <a:pt x="1162148" y="4797332"/>
                  <a:pt x="1159205" y="4792891"/>
                  <a:pt x="1161993" y="4790310"/>
                </a:cubicBezTo>
                <a:cubicBezTo>
                  <a:pt x="1167724" y="4783908"/>
                  <a:pt x="1170357" y="4783288"/>
                  <a:pt x="1173765" y="4784528"/>
                </a:cubicBezTo>
                <a:lnTo>
                  <a:pt x="1174076" y="4784631"/>
                </a:lnTo>
                <a:lnTo>
                  <a:pt x="1179031" y="4784631"/>
                </a:lnTo>
                <a:lnTo>
                  <a:pt x="1179806" y="4786283"/>
                </a:lnTo>
                <a:cubicBezTo>
                  <a:pt x="1180581" y="4785457"/>
                  <a:pt x="1181510" y="4784528"/>
                  <a:pt x="1182749" y="4785457"/>
                </a:cubicBezTo>
                <a:cubicBezTo>
                  <a:pt x="1184453" y="4787109"/>
                  <a:pt x="1184763" y="4789484"/>
                  <a:pt x="1184608" y="4791859"/>
                </a:cubicBezTo>
                <a:cubicBezTo>
                  <a:pt x="1185692" y="4788348"/>
                  <a:pt x="1188635" y="4785767"/>
                  <a:pt x="1194831" y="4786903"/>
                </a:cubicBezTo>
                <a:cubicBezTo>
                  <a:pt x="1196691" y="4786800"/>
                  <a:pt x="1196070" y="4787316"/>
                  <a:pt x="1197154" y="4787625"/>
                </a:cubicBezTo>
                <a:lnTo>
                  <a:pt x="1198394" y="4787625"/>
                </a:lnTo>
                <a:lnTo>
                  <a:pt x="1190184" y="4784734"/>
                </a:lnTo>
                <a:cubicBezTo>
                  <a:pt x="1187706" y="4783288"/>
                  <a:pt x="1185538" y="4781327"/>
                  <a:pt x="1184298" y="4778333"/>
                </a:cubicBezTo>
                <a:cubicBezTo>
                  <a:pt x="1185538" y="4772756"/>
                  <a:pt x="1184918" y="4769246"/>
                  <a:pt x="1183833" y="4766148"/>
                </a:cubicBezTo>
                <a:lnTo>
                  <a:pt x="1183678" y="4765735"/>
                </a:lnTo>
                <a:lnTo>
                  <a:pt x="1183369" y="4765942"/>
                </a:lnTo>
                <a:cubicBezTo>
                  <a:pt x="1183369" y="4766045"/>
                  <a:pt x="1183369" y="4765838"/>
                  <a:pt x="1183059" y="4765425"/>
                </a:cubicBezTo>
                <a:cubicBezTo>
                  <a:pt x="1183059" y="4765425"/>
                  <a:pt x="1182904" y="4765425"/>
                  <a:pt x="1182285" y="4764599"/>
                </a:cubicBezTo>
                <a:cubicBezTo>
                  <a:pt x="1182285" y="4764599"/>
                  <a:pt x="1181975" y="4764599"/>
                  <a:pt x="1182130" y="4764186"/>
                </a:cubicBezTo>
                <a:lnTo>
                  <a:pt x="1182595" y="4763153"/>
                </a:lnTo>
                <a:lnTo>
                  <a:pt x="1182130" y="4761811"/>
                </a:lnTo>
                <a:cubicBezTo>
                  <a:pt x="1181510" y="4760366"/>
                  <a:pt x="1181045" y="4758817"/>
                  <a:pt x="1180736" y="4757165"/>
                </a:cubicBezTo>
                <a:cubicBezTo>
                  <a:pt x="1181975" y="4753447"/>
                  <a:pt x="1183833" y="4749627"/>
                  <a:pt x="1185847" y="4745807"/>
                </a:cubicBezTo>
                <a:lnTo>
                  <a:pt x="1188016" y="4742503"/>
                </a:lnTo>
                <a:lnTo>
                  <a:pt x="1189565" y="4739508"/>
                </a:lnTo>
                <a:lnTo>
                  <a:pt x="1189720" y="4739198"/>
                </a:lnTo>
                <a:lnTo>
                  <a:pt x="1190804" y="4732074"/>
                </a:lnTo>
                <a:cubicBezTo>
                  <a:pt x="1191578" y="4729802"/>
                  <a:pt x="1192973" y="4727840"/>
                  <a:pt x="1194986" y="4726188"/>
                </a:cubicBezTo>
                <a:cubicBezTo>
                  <a:pt x="1197619" y="4724536"/>
                  <a:pt x="1199943" y="4723916"/>
                  <a:pt x="1202111" y="4724123"/>
                </a:cubicBezTo>
                <a:lnTo>
                  <a:pt x="1204590" y="4725362"/>
                </a:lnTo>
                <a:lnTo>
                  <a:pt x="1214348" y="4721335"/>
                </a:lnTo>
                <a:lnTo>
                  <a:pt x="1214658" y="4721335"/>
                </a:lnTo>
                <a:lnTo>
                  <a:pt x="1215897" y="4720302"/>
                </a:lnTo>
                <a:lnTo>
                  <a:pt x="1215277" y="4718650"/>
                </a:lnTo>
                <a:cubicBezTo>
                  <a:pt x="1212799" y="4715966"/>
                  <a:pt x="1208927" y="4717411"/>
                  <a:pt x="1207687" y="4710700"/>
                </a:cubicBezTo>
                <a:lnTo>
                  <a:pt x="1213109" y="4710493"/>
                </a:lnTo>
                <a:lnTo>
                  <a:pt x="1212489" y="4709357"/>
                </a:lnTo>
                <a:cubicBezTo>
                  <a:pt x="1211870" y="4706673"/>
                  <a:pt x="1211405" y="4703884"/>
                  <a:pt x="1211250" y="4701097"/>
                </a:cubicBezTo>
                <a:lnTo>
                  <a:pt x="1211250" y="4696244"/>
                </a:lnTo>
                <a:lnTo>
                  <a:pt x="1209546" y="4697586"/>
                </a:lnTo>
                <a:cubicBezTo>
                  <a:pt x="1205829" y="4699754"/>
                  <a:pt x="1203041" y="4698515"/>
                  <a:pt x="1202576" y="4699238"/>
                </a:cubicBezTo>
                <a:cubicBezTo>
                  <a:pt x="1199633" y="4696760"/>
                  <a:pt x="1201027" y="4694901"/>
                  <a:pt x="1202266" y="4691287"/>
                </a:cubicBezTo>
                <a:cubicBezTo>
                  <a:pt x="1203196" y="4692113"/>
                  <a:pt x="1205365" y="4689325"/>
                  <a:pt x="1206138" y="4688396"/>
                </a:cubicBezTo>
                <a:cubicBezTo>
                  <a:pt x="1207068" y="4689222"/>
                  <a:pt x="1208152" y="4688912"/>
                  <a:pt x="1209546" y="4688706"/>
                </a:cubicBezTo>
                <a:lnTo>
                  <a:pt x="1211250" y="4688706"/>
                </a:lnTo>
                <a:close/>
                <a:moveTo>
                  <a:pt x="1846325" y="4674353"/>
                </a:moveTo>
                <a:cubicBezTo>
                  <a:pt x="1846325" y="4674353"/>
                  <a:pt x="1847254" y="4674767"/>
                  <a:pt x="1848029" y="4674353"/>
                </a:cubicBezTo>
                <a:cubicBezTo>
                  <a:pt x="1848029" y="4674353"/>
                  <a:pt x="1849113" y="4674663"/>
                  <a:pt x="1850197" y="4675076"/>
                </a:cubicBezTo>
                <a:cubicBezTo>
                  <a:pt x="1850197" y="4675076"/>
                  <a:pt x="1850972" y="4674767"/>
                  <a:pt x="1851746" y="4674353"/>
                </a:cubicBezTo>
                <a:cubicBezTo>
                  <a:pt x="1854689" y="4674767"/>
                  <a:pt x="1856548" y="4674663"/>
                  <a:pt x="1857013" y="4678174"/>
                </a:cubicBezTo>
                <a:cubicBezTo>
                  <a:pt x="1856238" y="4678587"/>
                  <a:pt x="1854070" y="4677761"/>
                  <a:pt x="1852985" y="4677348"/>
                </a:cubicBezTo>
                <a:cubicBezTo>
                  <a:pt x="1852211" y="4677761"/>
                  <a:pt x="1851127" y="4677348"/>
                  <a:pt x="1850817" y="4676625"/>
                </a:cubicBezTo>
                <a:cubicBezTo>
                  <a:pt x="1850817" y="4676625"/>
                  <a:pt x="1849733" y="4676212"/>
                  <a:pt x="1848958" y="4676625"/>
                </a:cubicBezTo>
                <a:cubicBezTo>
                  <a:pt x="1846790" y="4675799"/>
                  <a:pt x="1846480" y="4675076"/>
                  <a:pt x="1846325" y="4674353"/>
                </a:cubicBezTo>
                <a:close/>
                <a:moveTo>
                  <a:pt x="6652128" y="4674062"/>
                </a:moveTo>
                <a:cubicBezTo>
                  <a:pt x="6652902" y="4674474"/>
                  <a:pt x="6652902" y="4674474"/>
                  <a:pt x="6652902" y="4674474"/>
                </a:cubicBezTo>
                <a:cubicBezTo>
                  <a:pt x="6651353" y="4676436"/>
                  <a:pt x="6651973" y="4680257"/>
                  <a:pt x="6651043" y="4683354"/>
                </a:cubicBezTo>
                <a:cubicBezTo>
                  <a:pt x="6650734" y="4684284"/>
                  <a:pt x="6650269" y="4685316"/>
                  <a:pt x="6649339" y="4686039"/>
                </a:cubicBezTo>
                <a:cubicBezTo>
                  <a:pt x="6649339" y="4686039"/>
                  <a:pt x="6649494" y="4686039"/>
                  <a:pt x="6649804" y="4685213"/>
                </a:cubicBezTo>
                <a:cubicBezTo>
                  <a:pt x="6649804" y="4685213"/>
                  <a:pt x="6649494" y="4686039"/>
                  <a:pt x="6648720" y="4685626"/>
                </a:cubicBezTo>
                <a:cubicBezTo>
                  <a:pt x="6648255" y="4680463"/>
                  <a:pt x="6651818" y="4674784"/>
                  <a:pt x="6652128" y="4674062"/>
                </a:cubicBezTo>
                <a:close/>
                <a:moveTo>
                  <a:pt x="1694063" y="4674044"/>
                </a:moveTo>
                <a:cubicBezTo>
                  <a:pt x="1694063" y="4674044"/>
                  <a:pt x="1694063" y="4674147"/>
                  <a:pt x="1693597" y="4675282"/>
                </a:cubicBezTo>
                <a:cubicBezTo>
                  <a:pt x="1689260" y="4676109"/>
                  <a:pt x="1686472" y="4679826"/>
                  <a:pt x="1681670" y="4679723"/>
                </a:cubicBezTo>
                <a:cubicBezTo>
                  <a:pt x="1681980" y="4678587"/>
                  <a:pt x="1683374" y="4675696"/>
                  <a:pt x="1686317" y="4675799"/>
                </a:cubicBezTo>
                <a:cubicBezTo>
                  <a:pt x="1689260" y="4676006"/>
                  <a:pt x="1691119" y="4673940"/>
                  <a:pt x="1694063" y="4674044"/>
                </a:cubicBezTo>
                <a:close/>
                <a:moveTo>
                  <a:pt x="1504779" y="4673527"/>
                </a:moveTo>
                <a:cubicBezTo>
                  <a:pt x="1507567" y="4675282"/>
                  <a:pt x="1509735" y="4678483"/>
                  <a:pt x="1509735" y="4681375"/>
                </a:cubicBezTo>
                <a:cubicBezTo>
                  <a:pt x="1508186" y="4681581"/>
                  <a:pt x="1506638" y="4681581"/>
                  <a:pt x="1505243" y="4681478"/>
                </a:cubicBezTo>
                <a:cubicBezTo>
                  <a:pt x="1501216" y="4681168"/>
                  <a:pt x="1498273" y="4679206"/>
                  <a:pt x="1496724" y="4673837"/>
                </a:cubicBezTo>
                <a:cubicBezTo>
                  <a:pt x="1498738" y="4671256"/>
                  <a:pt x="1501991" y="4671669"/>
                  <a:pt x="1504779" y="4673527"/>
                </a:cubicBezTo>
                <a:close/>
                <a:moveTo>
                  <a:pt x="1138449" y="4672495"/>
                </a:moveTo>
                <a:cubicBezTo>
                  <a:pt x="1139378" y="4673321"/>
                  <a:pt x="1139378" y="4673321"/>
                  <a:pt x="1139533" y="4674147"/>
                </a:cubicBezTo>
                <a:cubicBezTo>
                  <a:pt x="1140618" y="4675902"/>
                  <a:pt x="1141702" y="4676728"/>
                  <a:pt x="1141082" y="4678483"/>
                </a:cubicBezTo>
                <a:cubicBezTo>
                  <a:pt x="1140308" y="4679826"/>
                  <a:pt x="1139533" y="4680342"/>
                  <a:pt x="1138604" y="4680239"/>
                </a:cubicBezTo>
                <a:cubicBezTo>
                  <a:pt x="1137674" y="4680239"/>
                  <a:pt x="1136435" y="4679619"/>
                  <a:pt x="1135041" y="4678793"/>
                </a:cubicBezTo>
                <a:cubicBezTo>
                  <a:pt x="1132253" y="4677244"/>
                  <a:pt x="1132718" y="4674560"/>
                  <a:pt x="1130859" y="4672908"/>
                </a:cubicBezTo>
                <a:cubicBezTo>
                  <a:pt x="1132408" y="4671978"/>
                  <a:pt x="1134731" y="4670016"/>
                  <a:pt x="1138449" y="4672495"/>
                </a:cubicBezTo>
                <a:close/>
                <a:moveTo>
                  <a:pt x="6092952" y="4671893"/>
                </a:moveTo>
                <a:cubicBezTo>
                  <a:pt x="6094036" y="4672203"/>
                  <a:pt x="6094966" y="4673132"/>
                  <a:pt x="6095431" y="4674784"/>
                </a:cubicBezTo>
                <a:cubicBezTo>
                  <a:pt x="6096824" y="4679534"/>
                  <a:pt x="6093107" y="4681083"/>
                  <a:pt x="6088615" y="4682012"/>
                </a:cubicBezTo>
                <a:cubicBezTo>
                  <a:pt x="6087531" y="4680360"/>
                  <a:pt x="6085982" y="4679431"/>
                  <a:pt x="6084898" y="4677675"/>
                </a:cubicBezTo>
                <a:cubicBezTo>
                  <a:pt x="6085053" y="4674784"/>
                  <a:pt x="6089700" y="4670861"/>
                  <a:pt x="6092952" y="4671893"/>
                </a:cubicBezTo>
                <a:close/>
                <a:moveTo>
                  <a:pt x="827262" y="4671875"/>
                </a:moveTo>
                <a:cubicBezTo>
                  <a:pt x="828966" y="4672805"/>
                  <a:pt x="829896" y="4673631"/>
                  <a:pt x="831599" y="4674560"/>
                </a:cubicBezTo>
                <a:lnTo>
                  <a:pt x="832219" y="4677038"/>
                </a:lnTo>
                <a:lnTo>
                  <a:pt x="837021" y="4678897"/>
                </a:lnTo>
                <a:cubicBezTo>
                  <a:pt x="837950" y="4679723"/>
                  <a:pt x="840119" y="4683027"/>
                  <a:pt x="839344" y="4683956"/>
                </a:cubicBezTo>
                <a:cubicBezTo>
                  <a:pt x="838570" y="4684885"/>
                  <a:pt x="837795" y="4684989"/>
                  <a:pt x="837021" y="4684989"/>
                </a:cubicBezTo>
                <a:lnTo>
                  <a:pt x="832065" y="4682820"/>
                </a:lnTo>
                <a:lnTo>
                  <a:pt x="831290" y="4684989"/>
                </a:lnTo>
                <a:cubicBezTo>
                  <a:pt x="830205" y="4686228"/>
                  <a:pt x="829121" y="4686950"/>
                  <a:pt x="828191" y="4687157"/>
                </a:cubicBezTo>
                <a:lnTo>
                  <a:pt x="826953" y="4687157"/>
                </a:lnTo>
                <a:lnTo>
                  <a:pt x="827108" y="4688190"/>
                </a:lnTo>
                <a:lnTo>
                  <a:pt x="824629" y="4689429"/>
                </a:lnTo>
                <a:lnTo>
                  <a:pt x="823545" y="4691081"/>
                </a:lnTo>
                <a:cubicBezTo>
                  <a:pt x="822306" y="4691391"/>
                  <a:pt x="821531" y="4691597"/>
                  <a:pt x="820912" y="4691494"/>
                </a:cubicBezTo>
                <a:cubicBezTo>
                  <a:pt x="820292" y="4691287"/>
                  <a:pt x="819982" y="4690668"/>
                  <a:pt x="819517" y="4689325"/>
                </a:cubicBezTo>
                <a:lnTo>
                  <a:pt x="819363" y="4688912"/>
                </a:lnTo>
                <a:lnTo>
                  <a:pt x="817969" y="4689532"/>
                </a:lnTo>
                <a:cubicBezTo>
                  <a:pt x="817969" y="4688603"/>
                  <a:pt x="817813" y="4687777"/>
                  <a:pt x="817039" y="4687777"/>
                </a:cubicBezTo>
                <a:lnTo>
                  <a:pt x="818743" y="4686434"/>
                </a:lnTo>
                <a:lnTo>
                  <a:pt x="818434" y="4685711"/>
                </a:lnTo>
                <a:lnTo>
                  <a:pt x="818743" y="4682924"/>
                </a:lnTo>
                <a:lnTo>
                  <a:pt x="818434" y="4682717"/>
                </a:lnTo>
                <a:cubicBezTo>
                  <a:pt x="818434" y="4682717"/>
                  <a:pt x="814871" y="4678174"/>
                  <a:pt x="818123" y="4674044"/>
                </a:cubicBezTo>
                <a:cubicBezTo>
                  <a:pt x="819053" y="4674973"/>
                  <a:pt x="823855" y="4669913"/>
                  <a:pt x="827262" y="4671875"/>
                </a:cubicBezTo>
                <a:close/>
                <a:moveTo>
                  <a:pt x="1360880" y="4671669"/>
                </a:moveTo>
                <a:cubicBezTo>
                  <a:pt x="1362584" y="4672082"/>
                  <a:pt x="1363823" y="4672701"/>
                  <a:pt x="1364598" y="4673527"/>
                </a:cubicBezTo>
                <a:lnTo>
                  <a:pt x="1365062" y="4675076"/>
                </a:lnTo>
                <a:lnTo>
                  <a:pt x="1368315" y="4677967"/>
                </a:lnTo>
                <a:lnTo>
                  <a:pt x="1370019" y="4678483"/>
                </a:lnTo>
                <a:lnTo>
                  <a:pt x="1369709" y="4679206"/>
                </a:lnTo>
                <a:lnTo>
                  <a:pt x="1370638" y="4680136"/>
                </a:lnTo>
                <a:lnTo>
                  <a:pt x="1373117" y="4684473"/>
                </a:lnTo>
                <a:lnTo>
                  <a:pt x="1375905" y="4683749"/>
                </a:lnTo>
                <a:cubicBezTo>
                  <a:pt x="1376989" y="4683956"/>
                  <a:pt x="1378074" y="4684266"/>
                  <a:pt x="1377454" y="4684679"/>
                </a:cubicBezTo>
                <a:cubicBezTo>
                  <a:pt x="1377764" y="4685402"/>
                  <a:pt x="1376989" y="4685918"/>
                  <a:pt x="1376680" y="4687054"/>
                </a:cubicBezTo>
                <a:lnTo>
                  <a:pt x="1375130" y="4688500"/>
                </a:lnTo>
                <a:lnTo>
                  <a:pt x="1376680" y="4693766"/>
                </a:lnTo>
                <a:cubicBezTo>
                  <a:pt x="1373736" y="4691701"/>
                  <a:pt x="1369709" y="4688912"/>
                  <a:pt x="1366301" y="4685815"/>
                </a:cubicBezTo>
                <a:lnTo>
                  <a:pt x="1362739" y="4681994"/>
                </a:lnTo>
                <a:lnTo>
                  <a:pt x="1360880" y="4683234"/>
                </a:lnTo>
                <a:cubicBezTo>
                  <a:pt x="1360415" y="4682407"/>
                  <a:pt x="1359796" y="4682924"/>
                  <a:pt x="1359331" y="4682201"/>
                </a:cubicBezTo>
                <a:cubicBezTo>
                  <a:pt x="1359331" y="4682201"/>
                  <a:pt x="1358557" y="4681684"/>
                  <a:pt x="1357937" y="4680652"/>
                </a:cubicBezTo>
                <a:cubicBezTo>
                  <a:pt x="1357627" y="4680136"/>
                  <a:pt x="1357317" y="4679516"/>
                  <a:pt x="1357163" y="4678690"/>
                </a:cubicBezTo>
                <a:cubicBezTo>
                  <a:pt x="1357007" y="4677864"/>
                  <a:pt x="1357007" y="4676935"/>
                  <a:pt x="1357163" y="4675902"/>
                </a:cubicBezTo>
                <a:cubicBezTo>
                  <a:pt x="1357472" y="4674663"/>
                  <a:pt x="1359021" y="4671772"/>
                  <a:pt x="1359331" y="4672495"/>
                </a:cubicBezTo>
                <a:cubicBezTo>
                  <a:pt x="1360570" y="4672805"/>
                  <a:pt x="1360106" y="4672082"/>
                  <a:pt x="1360880" y="4671669"/>
                </a:cubicBezTo>
                <a:close/>
                <a:moveTo>
                  <a:pt x="1746882" y="4671256"/>
                </a:moveTo>
                <a:cubicBezTo>
                  <a:pt x="1749050" y="4672082"/>
                  <a:pt x="1752768" y="4672082"/>
                  <a:pt x="1753232" y="4675592"/>
                </a:cubicBezTo>
                <a:cubicBezTo>
                  <a:pt x="1751528" y="4674973"/>
                  <a:pt x="1748276" y="4674147"/>
                  <a:pt x="1747191" y="4672805"/>
                </a:cubicBezTo>
                <a:cubicBezTo>
                  <a:pt x="1746882" y="4672391"/>
                  <a:pt x="1746727" y="4671875"/>
                  <a:pt x="1746882" y="4671256"/>
                </a:cubicBezTo>
                <a:close/>
                <a:moveTo>
                  <a:pt x="900064" y="4670739"/>
                </a:moveTo>
                <a:cubicBezTo>
                  <a:pt x="900064" y="4671566"/>
                  <a:pt x="899444" y="4674147"/>
                  <a:pt x="900218" y="4674250"/>
                </a:cubicBezTo>
                <a:cubicBezTo>
                  <a:pt x="898514" y="4676109"/>
                  <a:pt x="896192" y="4677967"/>
                  <a:pt x="894023" y="4677967"/>
                </a:cubicBezTo>
                <a:cubicBezTo>
                  <a:pt x="893404" y="4677967"/>
                  <a:pt x="892628" y="4677761"/>
                  <a:pt x="892009" y="4677348"/>
                </a:cubicBezTo>
                <a:cubicBezTo>
                  <a:pt x="890305" y="4676315"/>
                  <a:pt x="891080" y="4674663"/>
                  <a:pt x="892628" y="4673011"/>
                </a:cubicBezTo>
                <a:cubicBezTo>
                  <a:pt x="894952" y="4668777"/>
                  <a:pt x="897430" y="4667951"/>
                  <a:pt x="900064" y="4670739"/>
                </a:cubicBezTo>
                <a:close/>
                <a:moveTo>
                  <a:pt x="703249" y="4670417"/>
                </a:moveTo>
                <a:cubicBezTo>
                  <a:pt x="705901" y="4671307"/>
                  <a:pt x="708225" y="4673166"/>
                  <a:pt x="708612" y="4675282"/>
                </a:cubicBezTo>
                <a:cubicBezTo>
                  <a:pt x="707682" y="4677657"/>
                  <a:pt x="706753" y="4680033"/>
                  <a:pt x="705824" y="4682304"/>
                </a:cubicBezTo>
                <a:cubicBezTo>
                  <a:pt x="703965" y="4683749"/>
                  <a:pt x="702106" y="4684369"/>
                  <a:pt x="700247" y="4684163"/>
                </a:cubicBezTo>
                <a:cubicBezTo>
                  <a:pt x="698389" y="4683956"/>
                  <a:pt x="696839" y="4683130"/>
                  <a:pt x="695755" y="4681684"/>
                </a:cubicBezTo>
                <a:cubicBezTo>
                  <a:pt x="694981" y="4680652"/>
                  <a:pt x="694516" y="4679413"/>
                  <a:pt x="694361" y="4678071"/>
                </a:cubicBezTo>
                <a:lnTo>
                  <a:pt x="694361" y="4677864"/>
                </a:lnTo>
                <a:lnTo>
                  <a:pt x="693277" y="4678690"/>
                </a:lnTo>
                <a:cubicBezTo>
                  <a:pt x="692657" y="4679000"/>
                  <a:pt x="692038" y="4679000"/>
                  <a:pt x="691573" y="4678587"/>
                </a:cubicBezTo>
                <a:cubicBezTo>
                  <a:pt x="691418" y="4677761"/>
                  <a:pt x="690644" y="4677761"/>
                  <a:pt x="690489" y="4676935"/>
                </a:cubicBezTo>
                <a:cubicBezTo>
                  <a:pt x="689405" y="4675179"/>
                  <a:pt x="689250" y="4674353"/>
                  <a:pt x="690024" y="4673424"/>
                </a:cubicBezTo>
                <a:cubicBezTo>
                  <a:pt x="689869" y="4672598"/>
                  <a:pt x="690644" y="4672495"/>
                  <a:pt x="691418" y="4671566"/>
                </a:cubicBezTo>
                <a:cubicBezTo>
                  <a:pt x="692193" y="4671566"/>
                  <a:pt x="693122" y="4672391"/>
                  <a:pt x="693122" y="4672391"/>
                </a:cubicBezTo>
                <a:cubicBezTo>
                  <a:pt x="694051" y="4673217"/>
                  <a:pt x="694051" y="4673217"/>
                  <a:pt x="694826" y="4672288"/>
                </a:cubicBezTo>
                <a:cubicBezTo>
                  <a:pt x="694826" y="4672288"/>
                  <a:pt x="694981" y="4673114"/>
                  <a:pt x="694981" y="4673114"/>
                </a:cubicBezTo>
                <a:cubicBezTo>
                  <a:pt x="694516" y="4673114"/>
                  <a:pt x="694516" y="4673114"/>
                  <a:pt x="694826" y="4673217"/>
                </a:cubicBezTo>
                <a:lnTo>
                  <a:pt x="695445" y="4673734"/>
                </a:lnTo>
                <a:lnTo>
                  <a:pt x="695910" y="4671359"/>
                </a:lnTo>
                <a:cubicBezTo>
                  <a:pt x="697614" y="4669603"/>
                  <a:pt x="700596" y="4669526"/>
                  <a:pt x="703249" y="4670417"/>
                </a:cubicBezTo>
                <a:close/>
                <a:moveTo>
                  <a:pt x="1116918" y="4670326"/>
                </a:moveTo>
                <a:cubicBezTo>
                  <a:pt x="1120481" y="4671256"/>
                  <a:pt x="1122495" y="4673011"/>
                  <a:pt x="1122649" y="4676109"/>
                </a:cubicBezTo>
                <a:cubicBezTo>
                  <a:pt x="1122340" y="4678483"/>
                  <a:pt x="1121720" y="4681994"/>
                  <a:pt x="1118777" y="4681891"/>
                </a:cubicBezTo>
                <a:cubicBezTo>
                  <a:pt x="1118157" y="4681168"/>
                  <a:pt x="1117538" y="4681581"/>
                  <a:pt x="1117074" y="4680858"/>
                </a:cubicBezTo>
                <a:cubicBezTo>
                  <a:pt x="1117074" y="4680858"/>
                  <a:pt x="1116299" y="4680342"/>
                  <a:pt x="1115369" y="4679310"/>
                </a:cubicBezTo>
                <a:cubicBezTo>
                  <a:pt x="1114595" y="4678277"/>
                  <a:pt x="1113820" y="4676625"/>
                  <a:pt x="1113820" y="4674457"/>
                </a:cubicBezTo>
                <a:cubicBezTo>
                  <a:pt x="1113975" y="4673321"/>
                  <a:pt x="1115060" y="4670430"/>
                  <a:pt x="1115524" y="4671152"/>
                </a:cubicBezTo>
                <a:cubicBezTo>
                  <a:pt x="1116763" y="4671462"/>
                  <a:pt x="1116299" y="4670843"/>
                  <a:pt x="1116918" y="4670326"/>
                </a:cubicBezTo>
                <a:close/>
                <a:moveTo>
                  <a:pt x="1648833" y="4669810"/>
                </a:moveTo>
                <a:cubicBezTo>
                  <a:pt x="1659210" y="4671152"/>
                  <a:pt x="1658900" y="4674250"/>
                  <a:pt x="1659365" y="4680858"/>
                </a:cubicBezTo>
                <a:cubicBezTo>
                  <a:pt x="1659055" y="4680136"/>
                  <a:pt x="1658590" y="4681272"/>
                  <a:pt x="1658590" y="4681272"/>
                </a:cubicBezTo>
                <a:cubicBezTo>
                  <a:pt x="1657971" y="4683749"/>
                  <a:pt x="1662774" y="4681684"/>
                  <a:pt x="1662463" y="4684885"/>
                </a:cubicBezTo>
                <a:cubicBezTo>
                  <a:pt x="1661379" y="4689945"/>
                  <a:pt x="1655493" y="4692010"/>
                  <a:pt x="1652240" y="4692940"/>
                </a:cubicBezTo>
                <a:lnTo>
                  <a:pt x="1650381" y="4693456"/>
                </a:lnTo>
                <a:lnTo>
                  <a:pt x="1650846" y="4694178"/>
                </a:lnTo>
                <a:lnTo>
                  <a:pt x="1649607" y="4693869"/>
                </a:lnTo>
                <a:lnTo>
                  <a:pt x="1649452" y="4693972"/>
                </a:lnTo>
                <a:cubicBezTo>
                  <a:pt x="1649142" y="4693249"/>
                  <a:pt x="1648367" y="4693662"/>
                  <a:pt x="1648677" y="4694385"/>
                </a:cubicBezTo>
                <a:cubicBezTo>
                  <a:pt x="1647128" y="4694385"/>
                  <a:pt x="1645889" y="4694385"/>
                  <a:pt x="1645270" y="4694178"/>
                </a:cubicBezTo>
                <a:cubicBezTo>
                  <a:pt x="1644495" y="4693869"/>
                  <a:pt x="1644185" y="4693352"/>
                  <a:pt x="1644495" y="4692113"/>
                </a:cubicBezTo>
                <a:cubicBezTo>
                  <a:pt x="1644495" y="4690151"/>
                  <a:pt x="1646354" y="4689945"/>
                  <a:pt x="1647128" y="4687467"/>
                </a:cubicBezTo>
                <a:cubicBezTo>
                  <a:pt x="1647749" y="4683130"/>
                  <a:pt x="1639539" y="4682407"/>
                  <a:pt x="1640932" y="4673631"/>
                </a:cubicBezTo>
                <a:cubicBezTo>
                  <a:pt x="1643256" y="4674250"/>
                  <a:pt x="1645425" y="4668881"/>
                  <a:pt x="1648833" y="4669810"/>
                </a:cubicBezTo>
                <a:close/>
                <a:moveTo>
                  <a:pt x="5996607" y="4669415"/>
                </a:moveTo>
                <a:cubicBezTo>
                  <a:pt x="5996762" y="4670344"/>
                  <a:pt x="5996297" y="4673029"/>
                  <a:pt x="5997071" y="4672926"/>
                </a:cubicBezTo>
                <a:cubicBezTo>
                  <a:pt x="5995523" y="4674991"/>
                  <a:pt x="5993509" y="4677159"/>
                  <a:pt x="5991340" y="4677366"/>
                </a:cubicBezTo>
                <a:cubicBezTo>
                  <a:pt x="5990721" y="4677469"/>
                  <a:pt x="5989946" y="4677366"/>
                  <a:pt x="5989327" y="4676953"/>
                </a:cubicBezTo>
                <a:cubicBezTo>
                  <a:pt x="5987468" y="4676127"/>
                  <a:pt x="5988087" y="4674371"/>
                  <a:pt x="5989481" y="4672512"/>
                </a:cubicBezTo>
                <a:cubicBezTo>
                  <a:pt x="5991340" y="4667969"/>
                  <a:pt x="5993819" y="4666937"/>
                  <a:pt x="5996607" y="4669415"/>
                </a:cubicBezTo>
                <a:close/>
                <a:moveTo>
                  <a:pt x="5906612" y="4668899"/>
                </a:moveTo>
                <a:cubicBezTo>
                  <a:pt x="5910174" y="4667969"/>
                  <a:pt x="5910639" y="4670344"/>
                  <a:pt x="5912498" y="4673648"/>
                </a:cubicBezTo>
                <a:cubicBezTo>
                  <a:pt x="5911259" y="4673958"/>
                  <a:pt x="5911878" y="4677572"/>
                  <a:pt x="5912033" y="4678811"/>
                </a:cubicBezTo>
                <a:cubicBezTo>
                  <a:pt x="5909710" y="4679431"/>
                  <a:pt x="5909865" y="4683768"/>
                  <a:pt x="5906302" y="4684697"/>
                </a:cubicBezTo>
                <a:cubicBezTo>
                  <a:pt x="5904908" y="4683871"/>
                  <a:pt x="5904134" y="4683458"/>
                  <a:pt x="5903359" y="4681806"/>
                </a:cubicBezTo>
                <a:cubicBezTo>
                  <a:pt x="5902275" y="4672616"/>
                  <a:pt x="5906922" y="4670034"/>
                  <a:pt x="5906612" y="4668899"/>
                </a:cubicBezTo>
                <a:close/>
                <a:moveTo>
                  <a:pt x="1462182" y="4668777"/>
                </a:moveTo>
                <a:cubicBezTo>
                  <a:pt x="1462182" y="4668777"/>
                  <a:pt x="1466829" y="4669913"/>
                  <a:pt x="1466984" y="4673011"/>
                </a:cubicBezTo>
                <a:cubicBezTo>
                  <a:pt x="1467449" y="4673837"/>
                  <a:pt x="1464816" y="4675592"/>
                  <a:pt x="1463576" y="4675282"/>
                </a:cubicBezTo>
                <a:cubicBezTo>
                  <a:pt x="1461253" y="4674663"/>
                  <a:pt x="1460169" y="4674353"/>
                  <a:pt x="1459239" y="4672908"/>
                </a:cubicBezTo>
                <a:cubicBezTo>
                  <a:pt x="1458000" y="4672598"/>
                  <a:pt x="1456915" y="4672288"/>
                  <a:pt x="1455986" y="4671772"/>
                </a:cubicBezTo>
                <a:cubicBezTo>
                  <a:pt x="1455212" y="4671256"/>
                  <a:pt x="1454747" y="4670533"/>
                  <a:pt x="1454902" y="4669294"/>
                </a:cubicBezTo>
                <a:cubicBezTo>
                  <a:pt x="1457381" y="4668777"/>
                  <a:pt x="1459239" y="4668571"/>
                  <a:pt x="1462182" y="4668777"/>
                </a:cubicBezTo>
                <a:close/>
                <a:moveTo>
                  <a:pt x="6301288" y="4668692"/>
                </a:moveTo>
                <a:cubicBezTo>
                  <a:pt x="6305315" y="4668382"/>
                  <a:pt x="6307794" y="4669621"/>
                  <a:pt x="6309187" y="4671583"/>
                </a:cubicBezTo>
                <a:cubicBezTo>
                  <a:pt x="6313060" y="4677366"/>
                  <a:pt x="6306554" y="4689860"/>
                  <a:pt x="6297261" y="4689034"/>
                </a:cubicBezTo>
                <a:cubicBezTo>
                  <a:pt x="6296021" y="4687691"/>
                  <a:pt x="6295247" y="4686039"/>
                  <a:pt x="6294937" y="4684180"/>
                </a:cubicBezTo>
                <a:cubicBezTo>
                  <a:pt x="6294627" y="4681496"/>
                  <a:pt x="6295402" y="4678398"/>
                  <a:pt x="6296641" y="4675610"/>
                </a:cubicBezTo>
                <a:lnTo>
                  <a:pt x="6297725" y="4674062"/>
                </a:lnTo>
                <a:lnTo>
                  <a:pt x="6297880" y="4673442"/>
                </a:lnTo>
                <a:lnTo>
                  <a:pt x="6298809" y="4672512"/>
                </a:lnTo>
                <a:close/>
                <a:moveTo>
                  <a:pt x="6237006" y="4668589"/>
                </a:moveTo>
                <a:cubicBezTo>
                  <a:pt x="6238555" y="4670344"/>
                  <a:pt x="6237626" y="4672100"/>
                  <a:pt x="6236696" y="4673029"/>
                </a:cubicBezTo>
                <a:cubicBezTo>
                  <a:pt x="6236076" y="4674268"/>
                  <a:pt x="6234992" y="4674887"/>
                  <a:pt x="6233598" y="4675094"/>
                </a:cubicBezTo>
                <a:cubicBezTo>
                  <a:pt x="6232359" y="4675301"/>
                  <a:pt x="6230965" y="4675094"/>
                  <a:pt x="6229726" y="4674681"/>
                </a:cubicBezTo>
                <a:cubicBezTo>
                  <a:pt x="6230500" y="4674681"/>
                  <a:pt x="6230500" y="4674681"/>
                  <a:pt x="6230500" y="4674681"/>
                </a:cubicBezTo>
                <a:cubicBezTo>
                  <a:pt x="6231429" y="4673855"/>
                  <a:pt x="6230655" y="4673855"/>
                  <a:pt x="6230810" y="4672926"/>
                </a:cubicBezTo>
                <a:cubicBezTo>
                  <a:pt x="6230810" y="4672926"/>
                  <a:pt x="6230655" y="4673752"/>
                  <a:pt x="6229881" y="4672822"/>
                </a:cubicBezTo>
                <a:cubicBezTo>
                  <a:pt x="6230810" y="4672926"/>
                  <a:pt x="6230810" y="4671996"/>
                  <a:pt x="6230810" y="4671170"/>
                </a:cubicBezTo>
                <a:cubicBezTo>
                  <a:pt x="6232669" y="4669415"/>
                  <a:pt x="6235457" y="4667660"/>
                  <a:pt x="6237006" y="4668589"/>
                </a:cubicBezTo>
                <a:close/>
                <a:moveTo>
                  <a:pt x="6785610" y="4667879"/>
                </a:moveTo>
                <a:cubicBezTo>
                  <a:pt x="6788127" y="4668563"/>
                  <a:pt x="6790296" y="4670447"/>
                  <a:pt x="6792464" y="4673235"/>
                </a:cubicBezTo>
                <a:cubicBezTo>
                  <a:pt x="6790915" y="4676540"/>
                  <a:pt x="6786578" y="4679637"/>
                  <a:pt x="6782550" y="4680050"/>
                </a:cubicBezTo>
                <a:cubicBezTo>
                  <a:pt x="6781311" y="4680257"/>
                  <a:pt x="6779917" y="4680154"/>
                  <a:pt x="6778833" y="4679740"/>
                </a:cubicBezTo>
                <a:cubicBezTo>
                  <a:pt x="6776045" y="4674784"/>
                  <a:pt x="6778833" y="4672512"/>
                  <a:pt x="6776664" y="4669725"/>
                </a:cubicBezTo>
                <a:cubicBezTo>
                  <a:pt x="6780227" y="4667711"/>
                  <a:pt x="6783093" y="4667195"/>
                  <a:pt x="6785610" y="4667879"/>
                </a:cubicBezTo>
                <a:close/>
                <a:moveTo>
                  <a:pt x="874970" y="4667745"/>
                </a:moveTo>
                <a:cubicBezTo>
                  <a:pt x="875590" y="4666815"/>
                  <a:pt x="875745" y="4667745"/>
                  <a:pt x="876519" y="4667745"/>
                </a:cubicBezTo>
                <a:cubicBezTo>
                  <a:pt x="876210" y="4668158"/>
                  <a:pt x="876055" y="4668468"/>
                  <a:pt x="875745" y="4668468"/>
                </a:cubicBezTo>
                <a:cubicBezTo>
                  <a:pt x="875590" y="4668468"/>
                  <a:pt x="875435" y="4668261"/>
                  <a:pt x="874970" y="4667745"/>
                </a:cubicBezTo>
                <a:close/>
                <a:moveTo>
                  <a:pt x="1802954" y="4667538"/>
                </a:moveTo>
                <a:cubicBezTo>
                  <a:pt x="1802954" y="4667538"/>
                  <a:pt x="1803729" y="4667538"/>
                  <a:pt x="1804503" y="4668365"/>
                </a:cubicBezTo>
                <a:cubicBezTo>
                  <a:pt x="1804503" y="4668365"/>
                  <a:pt x="1804348" y="4668571"/>
                  <a:pt x="1804194" y="4668674"/>
                </a:cubicBezTo>
                <a:cubicBezTo>
                  <a:pt x="1803883" y="4668777"/>
                  <a:pt x="1803419" y="4668777"/>
                  <a:pt x="1802954" y="4668365"/>
                </a:cubicBezTo>
                <a:cubicBezTo>
                  <a:pt x="1802954" y="4668365"/>
                  <a:pt x="1803109" y="4668365"/>
                  <a:pt x="1802954" y="4667538"/>
                </a:cubicBezTo>
                <a:close/>
                <a:moveTo>
                  <a:pt x="909202" y="4667538"/>
                </a:moveTo>
                <a:cubicBezTo>
                  <a:pt x="909202" y="4668468"/>
                  <a:pt x="909977" y="4670326"/>
                  <a:pt x="909202" y="4670326"/>
                </a:cubicBezTo>
                <a:cubicBezTo>
                  <a:pt x="909202" y="4671152"/>
                  <a:pt x="907653" y="4671152"/>
                  <a:pt x="907653" y="4671152"/>
                </a:cubicBezTo>
                <a:cubicBezTo>
                  <a:pt x="907653" y="4671978"/>
                  <a:pt x="907808" y="4672908"/>
                  <a:pt x="907034" y="4673734"/>
                </a:cubicBezTo>
                <a:cubicBezTo>
                  <a:pt x="906104" y="4672805"/>
                  <a:pt x="906104" y="4673734"/>
                  <a:pt x="905330" y="4673734"/>
                </a:cubicBezTo>
                <a:cubicBezTo>
                  <a:pt x="906104" y="4672805"/>
                  <a:pt x="906104" y="4670120"/>
                  <a:pt x="906724" y="4668365"/>
                </a:cubicBezTo>
                <a:cubicBezTo>
                  <a:pt x="907653" y="4668365"/>
                  <a:pt x="908428" y="4667538"/>
                  <a:pt x="909202" y="4667538"/>
                </a:cubicBezTo>
                <a:close/>
                <a:moveTo>
                  <a:pt x="1813952" y="4667022"/>
                </a:moveTo>
                <a:cubicBezTo>
                  <a:pt x="1814261" y="4667848"/>
                  <a:pt x="1815501" y="4668055"/>
                  <a:pt x="1816120" y="4667642"/>
                </a:cubicBezTo>
                <a:cubicBezTo>
                  <a:pt x="1817359" y="4667951"/>
                  <a:pt x="1818444" y="4668158"/>
                  <a:pt x="1818134" y="4667435"/>
                </a:cubicBezTo>
                <a:cubicBezTo>
                  <a:pt x="1821542" y="4668261"/>
                  <a:pt x="1822316" y="4667745"/>
                  <a:pt x="1822626" y="4670430"/>
                </a:cubicBezTo>
                <a:cubicBezTo>
                  <a:pt x="1816275" y="4673424"/>
                  <a:pt x="1808066" y="4674663"/>
                  <a:pt x="1806052" y="4674870"/>
                </a:cubicBezTo>
                <a:cubicBezTo>
                  <a:pt x="1805122" y="4674973"/>
                  <a:pt x="1804658" y="4674870"/>
                  <a:pt x="1804194" y="4674457"/>
                </a:cubicBezTo>
                <a:cubicBezTo>
                  <a:pt x="1803883" y="4674044"/>
                  <a:pt x="1803729" y="4673321"/>
                  <a:pt x="1803729" y="4672391"/>
                </a:cubicBezTo>
                <a:cubicBezTo>
                  <a:pt x="1805587" y="4668261"/>
                  <a:pt x="1809769" y="4668674"/>
                  <a:pt x="1813952" y="4667022"/>
                </a:cubicBezTo>
                <a:close/>
                <a:moveTo>
                  <a:pt x="1676869" y="4667022"/>
                </a:moveTo>
                <a:cubicBezTo>
                  <a:pt x="1678108" y="4666093"/>
                  <a:pt x="1680276" y="4667229"/>
                  <a:pt x="1680741" y="4668881"/>
                </a:cubicBezTo>
                <a:lnTo>
                  <a:pt x="1680121" y="4671152"/>
                </a:lnTo>
                <a:lnTo>
                  <a:pt x="1681670" y="4670946"/>
                </a:lnTo>
                <a:cubicBezTo>
                  <a:pt x="1681360" y="4672082"/>
                  <a:pt x="1680276" y="4675696"/>
                  <a:pt x="1680276" y="4675696"/>
                </a:cubicBezTo>
                <a:cubicBezTo>
                  <a:pt x="1680586" y="4676418"/>
                  <a:pt x="1680586" y="4676418"/>
                  <a:pt x="1680276" y="4677657"/>
                </a:cubicBezTo>
                <a:cubicBezTo>
                  <a:pt x="1679192" y="4677348"/>
                  <a:pt x="1679192" y="4677348"/>
                  <a:pt x="1678727" y="4676625"/>
                </a:cubicBezTo>
                <a:cubicBezTo>
                  <a:pt x="1679192" y="4675386"/>
                  <a:pt x="1679811" y="4674973"/>
                  <a:pt x="1680276" y="4673734"/>
                </a:cubicBezTo>
                <a:cubicBezTo>
                  <a:pt x="1677953" y="4673217"/>
                  <a:pt x="1678417" y="4673940"/>
                  <a:pt x="1678727" y="4672701"/>
                </a:cubicBezTo>
                <a:cubicBezTo>
                  <a:pt x="1678727" y="4672701"/>
                  <a:pt x="1678727" y="4672701"/>
                  <a:pt x="1679038" y="4671462"/>
                </a:cubicBezTo>
                <a:lnTo>
                  <a:pt x="1679192" y="4671359"/>
                </a:lnTo>
                <a:lnTo>
                  <a:pt x="1679038" y="4671152"/>
                </a:lnTo>
                <a:lnTo>
                  <a:pt x="1679038" y="4671462"/>
                </a:lnTo>
                <a:lnTo>
                  <a:pt x="1671602" y="4675592"/>
                </a:lnTo>
                <a:lnTo>
                  <a:pt x="1671447" y="4676625"/>
                </a:lnTo>
                <a:cubicBezTo>
                  <a:pt x="1671912" y="4675799"/>
                  <a:pt x="1672222" y="4677038"/>
                  <a:pt x="1672222" y="4677038"/>
                </a:cubicBezTo>
                <a:cubicBezTo>
                  <a:pt x="1672222" y="4677038"/>
                  <a:pt x="1672222" y="4677038"/>
                  <a:pt x="1674545" y="4676418"/>
                </a:cubicBezTo>
                <a:cubicBezTo>
                  <a:pt x="1674545" y="4676418"/>
                  <a:pt x="1679811" y="4675592"/>
                  <a:pt x="1681206" y="4680755"/>
                </a:cubicBezTo>
                <a:cubicBezTo>
                  <a:pt x="1680896" y="4680962"/>
                  <a:pt x="1680741" y="4681994"/>
                  <a:pt x="1680586" y="4683337"/>
                </a:cubicBezTo>
                <a:lnTo>
                  <a:pt x="1680121" y="4685918"/>
                </a:lnTo>
                <a:lnTo>
                  <a:pt x="1680431" y="4684782"/>
                </a:lnTo>
                <a:cubicBezTo>
                  <a:pt x="1681360" y="4683749"/>
                  <a:pt x="1682755" y="4683234"/>
                  <a:pt x="1684149" y="4683234"/>
                </a:cubicBezTo>
                <a:cubicBezTo>
                  <a:pt x="1686627" y="4686331"/>
                  <a:pt x="1685543" y="4689222"/>
                  <a:pt x="1682599" y="4689842"/>
                </a:cubicBezTo>
                <a:lnTo>
                  <a:pt x="1679192" y="4689635"/>
                </a:lnTo>
                <a:lnTo>
                  <a:pt x="1679192" y="4689739"/>
                </a:lnTo>
                <a:cubicBezTo>
                  <a:pt x="1679038" y="4691287"/>
                  <a:pt x="1678882" y="4692630"/>
                  <a:pt x="1678727" y="4693456"/>
                </a:cubicBezTo>
                <a:cubicBezTo>
                  <a:pt x="1677953" y="4693869"/>
                  <a:pt x="1677953" y="4693869"/>
                  <a:pt x="1677953" y="4693869"/>
                </a:cubicBezTo>
                <a:cubicBezTo>
                  <a:pt x="1677023" y="4693972"/>
                  <a:pt x="1676559" y="4693559"/>
                  <a:pt x="1676404" y="4692630"/>
                </a:cubicBezTo>
                <a:lnTo>
                  <a:pt x="1676404" y="4691287"/>
                </a:lnTo>
                <a:lnTo>
                  <a:pt x="1673461" y="4692940"/>
                </a:lnTo>
                <a:cubicBezTo>
                  <a:pt x="1671447" y="4691597"/>
                  <a:pt x="1667885" y="4692630"/>
                  <a:pt x="1665716" y="4686950"/>
                </a:cubicBezTo>
                <a:cubicBezTo>
                  <a:pt x="1664167" y="4680549"/>
                  <a:pt x="1670518" y="4678174"/>
                  <a:pt x="1669898" y="4677657"/>
                </a:cubicBezTo>
                <a:lnTo>
                  <a:pt x="1669588" y="4676935"/>
                </a:lnTo>
                <a:lnTo>
                  <a:pt x="1668814" y="4677657"/>
                </a:lnTo>
                <a:cubicBezTo>
                  <a:pt x="1668349" y="4678071"/>
                  <a:pt x="1668039" y="4678380"/>
                  <a:pt x="1668039" y="4678380"/>
                </a:cubicBezTo>
                <a:cubicBezTo>
                  <a:pt x="1666180" y="4678587"/>
                  <a:pt x="1665871" y="4677864"/>
                  <a:pt x="1666180" y="4678587"/>
                </a:cubicBezTo>
                <a:cubicBezTo>
                  <a:pt x="1664012" y="4678071"/>
                  <a:pt x="1660914" y="4677864"/>
                  <a:pt x="1660914" y="4676006"/>
                </a:cubicBezTo>
                <a:cubicBezTo>
                  <a:pt x="1661998" y="4670946"/>
                  <a:pt x="1668504" y="4670223"/>
                  <a:pt x="1672841" y="4669810"/>
                </a:cubicBezTo>
                <a:lnTo>
                  <a:pt x="1675784" y="4669604"/>
                </a:lnTo>
                <a:close/>
                <a:moveTo>
                  <a:pt x="772119" y="4666712"/>
                </a:moveTo>
                <a:cubicBezTo>
                  <a:pt x="776766" y="4669913"/>
                  <a:pt x="773513" y="4673734"/>
                  <a:pt x="773668" y="4679413"/>
                </a:cubicBezTo>
                <a:cubicBezTo>
                  <a:pt x="769176" y="4678690"/>
                  <a:pt x="766853" y="4671772"/>
                  <a:pt x="768712" y="4668468"/>
                </a:cubicBezTo>
                <a:cubicBezTo>
                  <a:pt x="769332" y="4667332"/>
                  <a:pt x="770415" y="4666609"/>
                  <a:pt x="772119" y="4666712"/>
                </a:cubicBezTo>
                <a:close/>
                <a:moveTo>
                  <a:pt x="1093742" y="4666674"/>
                </a:moveTo>
                <a:cubicBezTo>
                  <a:pt x="1096511" y="4666583"/>
                  <a:pt x="1098795" y="4667332"/>
                  <a:pt x="1099570" y="4666919"/>
                </a:cubicBezTo>
                <a:cubicBezTo>
                  <a:pt x="1101584" y="4668984"/>
                  <a:pt x="1102048" y="4669500"/>
                  <a:pt x="1100654" y="4671669"/>
                </a:cubicBezTo>
                <a:lnTo>
                  <a:pt x="1098951" y="4673837"/>
                </a:lnTo>
                <a:lnTo>
                  <a:pt x="1100190" y="4675799"/>
                </a:lnTo>
                <a:cubicBezTo>
                  <a:pt x="1099415" y="4676625"/>
                  <a:pt x="1098641" y="4677348"/>
                  <a:pt x="1097866" y="4678174"/>
                </a:cubicBezTo>
                <a:lnTo>
                  <a:pt x="1094303" y="4676212"/>
                </a:lnTo>
                <a:lnTo>
                  <a:pt x="1091825" y="4676006"/>
                </a:lnTo>
                <a:cubicBezTo>
                  <a:pt x="1090276" y="4676832"/>
                  <a:pt x="1087643" y="4676728"/>
                  <a:pt x="1085939" y="4675799"/>
                </a:cubicBezTo>
                <a:cubicBezTo>
                  <a:pt x="1084235" y="4673940"/>
                  <a:pt x="1084235" y="4672288"/>
                  <a:pt x="1085010" y="4671462"/>
                </a:cubicBezTo>
                <a:cubicBezTo>
                  <a:pt x="1087720" y="4667693"/>
                  <a:pt x="1090973" y="4666764"/>
                  <a:pt x="1093742" y="4666674"/>
                </a:cubicBezTo>
                <a:close/>
                <a:moveTo>
                  <a:pt x="6655690" y="4666317"/>
                </a:moveTo>
                <a:cubicBezTo>
                  <a:pt x="6656155" y="4667556"/>
                  <a:pt x="6656155" y="4669518"/>
                  <a:pt x="6656620" y="4670757"/>
                </a:cubicBezTo>
                <a:cubicBezTo>
                  <a:pt x="6656620" y="4670757"/>
                  <a:pt x="6656620" y="4670757"/>
                  <a:pt x="6655536" y="4671067"/>
                </a:cubicBezTo>
                <a:cubicBezTo>
                  <a:pt x="6656155" y="4669518"/>
                  <a:pt x="6653522" y="4667040"/>
                  <a:pt x="6655690" y="4666317"/>
                </a:cubicBezTo>
                <a:close/>
                <a:moveTo>
                  <a:pt x="6352249" y="4666007"/>
                </a:moveTo>
                <a:cubicBezTo>
                  <a:pt x="6356896" y="4663839"/>
                  <a:pt x="6361387" y="4668486"/>
                  <a:pt x="6361697" y="4673029"/>
                </a:cubicBezTo>
                <a:cubicBezTo>
                  <a:pt x="6361697" y="4674578"/>
                  <a:pt x="6361387" y="4676127"/>
                  <a:pt x="6360303" y="4677366"/>
                </a:cubicBezTo>
                <a:cubicBezTo>
                  <a:pt x="6358754" y="4678088"/>
                  <a:pt x="6357360" y="4677985"/>
                  <a:pt x="6355966" y="4677469"/>
                </a:cubicBezTo>
                <a:lnTo>
                  <a:pt x="6354572" y="4676127"/>
                </a:lnTo>
                <a:lnTo>
                  <a:pt x="6352713" y="4677469"/>
                </a:lnTo>
                <a:cubicBezTo>
                  <a:pt x="6351319" y="4678088"/>
                  <a:pt x="6349770" y="4678708"/>
                  <a:pt x="6348376" y="4680050"/>
                </a:cubicBezTo>
                <a:cubicBezTo>
                  <a:pt x="6346827" y="4678708"/>
                  <a:pt x="6345898" y="4677778"/>
                  <a:pt x="6345588" y="4676746"/>
                </a:cubicBezTo>
                <a:cubicBezTo>
                  <a:pt x="6345278" y="4675610"/>
                  <a:pt x="6345588" y="4674268"/>
                  <a:pt x="6346673" y="4672203"/>
                </a:cubicBezTo>
                <a:cubicBezTo>
                  <a:pt x="6346673" y="4672203"/>
                  <a:pt x="6347447" y="4671273"/>
                  <a:pt x="6347447" y="4671273"/>
                </a:cubicBezTo>
                <a:lnTo>
                  <a:pt x="6351939" y="4668176"/>
                </a:lnTo>
                <a:close/>
                <a:moveTo>
                  <a:pt x="6186355" y="4666007"/>
                </a:moveTo>
                <a:cubicBezTo>
                  <a:pt x="6187749" y="4668692"/>
                  <a:pt x="6188369" y="4669621"/>
                  <a:pt x="6187284" y="4672306"/>
                </a:cubicBezTo>
                <a:cubicBezTo>
                  <a:pt x="6186510" y="4671377"/>
                  <a:pt x="6186045" y="4670447"/>
                  <a:pt x="6185890" y="4669415"/>
                </a:cubicBezTo>
                <a:cubicBezTo>
                  <a:pt x="6185580" y="4668382"/>
                  <a:pt x="6185735" y="4667350"/>
                  <a:pt x="6186355" y="4666007"/>
                </a:cubicBezTo>
                <a:close/>
                <a:moveTo>
                  <a:pt x="6005126" y="4665284"/>
                </a:moveTo>
                <a:cubicBezTo>
                  <a:pt x="6005281" y="4666214"/>
                  <a:pt x="6006365" y="4667969"/>
                  <a:pt x="6005591" y="4668073"/>
                </a:cubicBezTo>
                <a:cubicBezTo>
                  <a:pt x="6005745" y="4668899"/>
                  <a:pt x="6004042" y="4669105"/>
                  <a:pt x="6004042" y="4669105"/>
                </a:cubicBezTo>
                <a:cubicBezTo>
                  <a:pt x="6004197" y="4669931"/>
                  <a:pt x="6004352" y="4670861"/>
                  <a:pt x="6003732" y="4671790"/>
                </a:cubicBezTo>
                <a:cubicBezTo>
                  <a:pt x="6002803" y="4670964"/>
                  <a:pt x="6002957" y="4671893"/>
                  <a:pt x="6002028" y="4671893"/>
                </a:cubicBezTo>
                <a:cubicBezTo>
                  <a:pt x="6002803" y="4670964"/>
                  <a:pt x="6002338" y="4668176"/>
                  <a:pt x="6002957" y="4666317"/>
                </a:cubicBezTo>
                <a:cubicBezTo>
                  <a:pt x="6003732" y="4666317"/>
                  <a:pt x="6004352" y="4665388"/>
                  <a:pt x="6005126" y="4665284"/>
                </a:cubicBezTo>
                <a:close/>
                <a:moveTo>
                  <a:pt x="1445608" y="4665008"/>
                </a:moveTo>
                <a:cubicBezTo>
                  <a:pt x="1447971" y="4663615"/>
                  <a:pt x="1450875" y="4664337"/>
                  <a:pt x="1452579" y="4667022"/>
                </a:cubicBezTo>
                <a:cubicBezTo>
                  <a:pt x="1453663" y="4668777"/>
                  <a:pt x="1454127" y="4671462"/>
                  <a:pt x="1453663" y="4674973"/>
                </a:cubicBezTo>
                <a:cubicBezTo>
                  <a:pt x="1452269" y="4676728"/>
                  <a:pt x="1449791" y="4677657"/>
                  <a:pt x="1447312" y="4677864"/>
                </a:cubicBezTo>
                <a:cubicBezTo>
                  <a:pt x="1444834" y="4677967"/>
                  <a:pt x="1442665" y="4677244"/>
                  <a:pt x="1441891" y="4675696"/>
                </a:cubicBezTo>
                <a:cubicBezTo>
                  <a:pt x="1441426" y="4669913"/>
                  <a:pt x="1443246" y="4666403"/>
                  <a:pt x="1445608" y="4665008"/>
                </a:cubicBezTo>
                <a:close/>
                <a:moveTo>
                  <a:pt x="1510819" y="4664957"/>
                </a:moveTo>
                <a:cubicBezTo>
                  <a:pt x="1515621" y="4663511"/>
                  <a:pt x="1521507" y="4668571"/>
                  <a:pt x="1522437" y="4674457"/>
                </a:cubicBezTo>
                <a:lnTo>
                  <a:pt x="1521972" y="4678380"/>
                </a:lnTo>
                <a:lnTo>
                  <a:pt x="1522282" y="4678793"/>
                </a:lnTo>
                <a:lnTo>
                  <a:pt x="1521817" y="4679723"/>
                </a:lnTo>
                <a:lnTo>
                  <a:pt x="1521662" y="4680445"/>
                </a:lnTo>
                <a:cubicBezTo>
                  <a:pt x="1520268" y="4681065"/>
                  <a:pt x="1518720" y="4681065"/>
                  <a:pt x="1517170" y="4680755"/>
                </a:cubicBezTo>
                <a:cubicBezTo>
                  <a:pt x="1512214" y="4679619"/>
                  <a:pt x="1506947" y="4674973"/>
                  <a:pt x="1505708" y="4671256"/>
                </a:cubicBezTo>
                <a:cubicBezTo>
                  <a:pt x="1506792" y="4667538"/>
                  <a:pt x="1508651" y="4665680"/>
                  <a:pt x="1510819" y="4664957"/>
                </a:cubicBezTo>
                <a:close/>
                <a:moveTo>
                  <a:pt x="1057206" y="4664957"/>
                </a:moveTo>
                <a:cubicBezTo>
                  <a:pt x="1061814" y="4664053"/>
                  <a:pt x="1067274" y="4665318"/>
                  <a:pt x="1067507" y="4668571"/>
                </a:cubicBezTo>
                <a:cubicBezTo>
                  <a:pt x="1067816" y="4671152"/>
                  <a:pt x="1064874" y="4674767"/>
                  <a:pt x="1056509" y="4679619"/>
                </a:cubicBezTo>
                <a:cubicBezTo>
                  <a:pt x="1054340" y="4677657"/>
                  <a:pt x="1052792" y="4675902"/>
                  <a:pt x="1052017" y="4674353"/>
                </a:cubicBezTo>
                <a:cubicBezTo>
                  <a:pt x="1048841" y="4668932"/>
                  <a:pt x="1052598" y="4665860"/>
                  <a:pt x="1057206" y="4664957"/>
                </a:cubicBezTo>
                <a:close/>
                <a:moveTo>
                  <a:pt x="581907" y="4663924"/>
                </a:moveTo>
                <a:cubicBezTo>
                  <a:pt x="583455" y="4668571"/>
                  <a:pt x="580977" y="4669397"/>
                  <a:pt x="578499" y="4670326"/>
                </a:cubicBezTo>
                <a:cubicBezTo>
                  <a:pt x="578189" y="4667125"/>
                  <a:pt x="574472" y="4667745"/>
                  <a:pt x="575865" y="4664234"/>
                </a:cubicBezTo>
                <a:cubicBezTo>
                  <a:pt x="577260" y="4663202"/>
                  <a:pt x="578963" y="4662892"/>
                  <a:pt x="581907" y="4663924"/>
                </a:cubicBezTo>
                <a:close/>
                <a:moveTo>
                  <a:pt x="1794435" y="4663821"/>
                </a:moveTo>
                <a:cubicBezTo>
                  <a:pt x="1795209" y="4663821"/>
                  <a:pt x="1795365" y="4667229"/>
                  <a:pt x="1794589" y="4668055"/>
                </a:cubicBezTo>
                <a:cubicBezTo>
                  <a:pt x="1793041" y="4669707"/>
                  <a:pt x="1792266" y="4670533"/>
                  <a:pt x="1790562" y="4670430"/>
                </a:cubicBezTo>
                <a:cubicBezTo>
                  <a:pt x="1789788" y="4671256"/>
                  <a:pt x="1789013" y="4672185"/>
                  <a:pt x="1788084" y="4672495"/>
                </a:cubicBezTo>
                <a:cubicBezTo>
                  <a:pt x="1787774" y="4672701"/>
                  <a:pt x="1787310" y="4672805"/>
                  <a:pt x="1786845" y="4672701"/>
                </a:cubicBezTo>
                <a:cubicBezTo>
                  <a:pt x="1786535" y="4672701"/>
                  <a:pt x="1786070" y="4672391"/>
                  <a:pt x="1785606" y="4671978"/>
                </a:cubicBezTo>
                <a:cubicBezTo>
                  <a:pt x="1786380" y="4669397"/>
                  <a:pt x="1787155" y="4667745"/>
                  <a:pt x="1788703" y="4665267"/>
                </a:cubicBezTo>
                <a:cubicBezTo>
                  <a:pt x="1788703" y="4665267"/>
                  <a:pt x="1791802" y="4661963"/>
                  <a:pt x="1794435" y="4663821"/>
                </a:cubicBezTo>
                <a:close/>
                <a:moveTo>
                  <a:pt x="6374244" y="4663529"/>
                </a:moveTo>
                <a:cubicBezTo>
                  <a:pt x="6376258" y="4666317"/>
                  <a:pt x="6377652" y="4668176"/>
                  <a:pt x="6378116" y="4670034"/>
                </a:cubicBezTo>
                <a:cubicBezTo>
                  <a:pt x="6377187" y="4671273"/>
                  <a:pt x="6375948" y="4671686"/>
                  <a:pt x="6374708" y="4671480"/>
                </a:cubicBezTo>
                <a:cubicBezTo>
                  <a:pt x="6373624" y="4671377"/>
                  <a:pt x="6372540" y="4670654"/>
                  <a:pt x="6371920" y="4669725"/>
                </a:cubicBezTo>
                <a:cubicBezTo>
                  <a:pt x="6370527" y="4667763"/>
                  <a:pt x="6370527" y="4664975"/>
                  <a:pt x="6374244" y="4663529"/>
                </a:cubicBezTo>
                <a:close/>
                <a:moveTo>
                  <a:pt x="1732011" y="4663408"/>
                </a:moveTo>
                <a:cubicBezTo>
                  <a:pt x="1736503" y="4665473"/>
                  <a:pt x="1737123" y="4673011"/>
                  <a:pt x="1733561" y="4677864"/>
                </a:cubicBezTo>
                <a:lnTo>
                  <a:pt x="1732166" y="4678897"/>
                </a:lnTo>
                <a:lnTo>
                  <a:pt x="1738827" y="4680239"/>
                </a:lnTo>
                <a:cubicBezTo>
                  <a:pt x="1745952" y="4680342"/>
                  <a:pt x="1752923" y="4678071"/>
                  <a:pt x="1757569" y="4682820"/>
                </a:cubicBezTo>
                <a:cubicBezTo>
                  <a:pt x="1751528" y="4684266"/>
                  <a:pt x="1743629" y="4689842"/>
                  <a:pt x="1738053" y="4689119"/>
                </a:cubicBezTo>
                <a:cubicBezTo>
                  <a:pt x="1736503" y="4688912"/>
                  <a:pt x="1734954" y="4688190"/>
                  <a:pt x="1733870" y="4686538"/>
                </a:cubicBezTo>
                <a:lnTo>
                  <a:pt x="1731857" y="4679206"/>
                </a:lnTo>
                <a:lnTo>
                  <a:pt x="1730153" y="4680445"/>
                </a:lnTo>
                <a:lnTo>
                  <a:pt x="1730308" y="4681168"/>
                </a:lnTo>
                <a:cubicBezTo>
                  <a:pt x="1730463" y="4683130"/>
                  <a:pt x="1730617" y="4685608"/>
                  <a:pt x="1729533" y="4687777"/>
                </a:cubicBezTo>
                <a:cubicBezTo>
                  <a:pt x="1728759" y="4689222"/>
                  <a:pt x="1727520" y="4690565"/>
                  <a:pt x="1725351" y="4691494"/>
                </a:cubicBezTo>
                <a:cubicBezTo>
                  <a:pt x="1724267" y="4692010"/>
                  <a:pt x="1723028" y="4692423"/>
                  <a:pt x="1721634" y="4692630"/>
                </a:cubicBezTo>
                <a:cubicBezTo>
                  <a:pt x="1720704" y="4692733"/>
                  <a:pt x="1719775" y="4692836"/>
                  <a:pt x="1718690" y="4692630"/>
                </a:cubicBezTo>
                <a:cubicBezTo>
                  <a:pt x="1715902" y="4692216"/>
                  <a:pt x="1713115" y="4690151"/>
                  <a:pt x="1711100" y="4685299"/>
                </a:cubicBezTo>
                <a:cubicBezTo>
                  <a:pt x="1709861" y="4683646"/>
                  <a:pt x="1710636" y="4684059"/>
                  <a:pt x="1710171" y="4682820"/>
                </a:cubicBezTo>
                <a:cubicBezTo>
                  <a:pt x="1709861" y="4681684"/>
                  <a:pt x="1708622" y="4680033"/>
                  <a:pt x="1707848" y="4679619"/>
                </a:cubicBezTo>
                <a:lnTo>
                  <a:pt x="1711100" y="4676418"/>
                </a:lnTo>
                <a:lnTo>
                  <a:pt x="1710945" y="4676212"/>
                </a:lnTo>
                <a:lnTo>
                  <a:pt x="1711565" y="4675799"/>
                </a:lnTo>
                <a:lnTo>
                  <a:pt x="1712649" y="4674560"/>
                </a:lnTo>
                <a:cubicBezTo>
                  <a:pt x="1713424" y="4673940"/>
                  <a:pt x="1714508" y="4673321"/>
                  <a:pt x="1715902" y="4672701"/>
                </a:cubicBezTo>
                <a:cubicBezTo>
                  <a:pt x="1717761" y="4671772"/>
                  <a:pt x="1719465" y="4671359"/>
                  <a:pt x="1721014" y="4671359"/>
                </a:cubicBezTo>
                <a:lnTo>
                  <a:pt x="1723028" y="4671875"/>
                </a:lnTo>
                <a:lnTo>
                  <a:pt x="1722718" y="4668881"/>
                </a:lnTo>
                <a:cubicBezTo>
                  <a:pt x="1722873" y="4667229"/>
                  <a:pt x="1723182" y="4665680"/>
                  <a:pt x="1723802" y="4664441"/>
                </a:cubicBezTo>
                <a:cubicBezTo>
                  <a:pt x="1727365" y="4662582"/>
                  <a:pt x="1729998" y="4662479"/>
                  <a:pt x="1732011" y="4663408"/>
                </a:cubicBezTo>
                <a:close/>
                <a:moveTo>
                  <a:pt x="6599618" y="4663219"/>
                </a:moveTo>
                <a:lnTo>
                  <a:pt x="6600392" y="4663633"/>
                </a:lnTo>
                <a:cubicBezTo>
                  <a:pt x="6600702" y="4664045"/>
                  <a:pt x="6600547" y="4664768"/>
                  <a:pt x="6600237" y="4665595"/>
                </a:cubicBezTo>
                <a:cubicBezTo>
                  <a:pt x="6599308" y="4668279"/>
                  <a:pt x="6596520" y="4672100"/>
                  <a:pt x="6596210" y="4672719"/>
                </a:cubicBezTo>
                <a:cubicBezTo>
                  <a:pt x="6596210" y="4672719"/>
                  <a:pt x="6595746" y="4673442"/>
                  <a:pt x="6595435" y="4674268"/>
                </a:cubicBezTo>
                <a:cubicBezTo>
                  <a:pt x="6594351" y="4674578"/>
                  <a:pt x="6593577" y="4674062"/>
                  <a:pt x="6593267" y="4674887"/>
                </a:cubicBezTo>
                <a:cubicBezTo>
                  <a:pt x="6592028" y="4671273"/>
                  <a:pt x="6593887" y="4669518"/>
                  <a:pt x="6595590" y="4667660"/>
                </a:cubicBezTo>
                <a:cubicBezTo>
                  <a:pt x="6597139" y="4666524"/>
                  <a:pt x="6597449" y="4665801"/>
                  <a:pt x="6597449" y="4663942"/>
                </a:cubicBezTo>
                <a:cubicBezTo>
                  <a:pt x="6597449" y="4663942"/>
                  <a:pt x="6597449" y="4663942"/>
                  <a:pt x="6599618" y="4663219"/>
                </a:cubicBezTo>
                <a:close/>
                <a:moveTo>
                  <a:pt x="1391549" y="4663202"/>
                </a:moveTo>
                <a:cubicBezTo>
                  <a:pt x="1395887" y="4662685"/>
                  <a:pt x="1398985" y="4665577"/>
                  <a:pt x="1399294" y="4669294"/>
                </a:cubicBezTo>
                <a:cubicBezTo>
                  <a:pt x="1399449" y="4670533"/>
                  <a:pt x="1399139" y="4671978"/>
                  <a:pt x="1398675" y="4673321"/>
                </a:cubicBezTo>
                <a:cubicBezTo>
                  <a:pt x="1397745" y="4675076"/>
                  <a:pt x="1396351" y="4676935"/>
                  <a:pt x="1394028" y="4678483"/>
                </a:cubicBezTo>
                <a:cubicBezTo>
                  <a:pt x="1390620" y="4679516"/>
                  <a:pt x="1386902" y="4675489"/>
                  <a:pt x="1385819" y="4671669"/>
                </a:cubicBezTo>
                <a:cubicBezTo>
                  <a:pt x="1385354" y="4670326"/>
                  <a:pt x="1385354" y="4669087"/>
                  <a:pt x="1385664" y="4668055"/>
                </a:cubicBezTo>
                <a:cubicBezTo>
                  <a:pt x="1387677" y="4666403"/>
                  <a:pt x="1389536" y="4664854"/>
                  <a:pt x="1391549" y="4663202"/>
                </a:cubicBezTo>
                <a:close/>
                <a:moveTo>
                  <a:pt x="989438" y="4663099"/>
                </a:moveTo>
                <a:cubicBezTo>
                  <a:pt x="992072" y="4665989"/>
                  <a:pt x="992846" y="4668777"/>
                  <a:pt x="992227" y="4671256"/>
                </a:cubicBezTo>
                <a:cubicBezTo>
                  <a:pt x="991297" y="4674973"/>
                  <a:pt x="987735" y="4677761"/>
                  <a:pt x="983552" y="4678690"/>
                </a:cubicBezTo>
                <a:cubicBezTo>
                  <a:pt x="979525" y="4679723"/>
                  <a:pt x="975034" y="4678690"/>
                  <a:pt x="972555" y="4674870"/>
                </a:cubicBezTo>
                <a:cubicBezTo>
                  <a:pt x="973019" y="4666919"/>
                  <a:pt x="983708" y="4662582"/>
                  <a:pt x="989438" y="4663099"/>
                </a:cubicBezTo>
                <a:close/>
                <a:moveTo>
                  <a:pt x="675987" y="4662337"/>
                </a:moveTo>
                <a:cubicBezTo>
                  <a:pt x="678795" y="4660930"/>
                  <a:pt x="682202" y="4661188"/>
                  <a:pt x="683983" y="4663408"/>
                </a:cubicBezTo>
                <a:cubicBezTo>
                  <a:pt x="685222" y="4664854"/>
                  <a:pt x="685532" y="4667229"/>
                  <a:pt x="684603" y="4670636"/>
                </a:cubicBezTo>
                <a:cubicBezTo>
                  <a:pt x="680265" y="4670430"/>
                  <a:pt x="677632" y="4672391"/>
                  <a:pt x="674689" y="4672185"/>
                </a:cubicBezTo>
                <a:cubicBezTo>
                  <a:pt x="673760" y="4672185"/>
                  <a:pt x="672831" y="4671875"/>
                  <a:pt x="671591" y="4671256"/>
                </a:cubicBezTo>
                <a:cubicBezTo>
                  <a:pt x="670972" y="4666816"/>
                  <a:pt x="673179" y="4663744"/>
                  <a:pt x="675987" y="4662337"/>
                </a:cubicBezTo>
                <a:close/>
                <a:moveTo>
                  <a:pt x="1706609" y="4662272"/>
                </a:moveTo>
                <a:cubicBezTo>
                  <a:pt x="1706609" y="4662272"/>
                  <a:pt x="1711100" y="4663408"/>
                  <a:pt x="1710636" y="4666506"/>
                </a:cubicBezTo>
                <a:cubicBezTo>
                  <a:pt x="1711100" y="4667229"/>
                  <a:pt x="1708158" y="4669190"/>
                  <a:pt x="1707073" y="4668881"/>
                </a:cubicBezTo>
                <a:cubicBezTo>
                  <a:pt x="1704750" y="4668261"/>
                  <a:pt x="1703665" y="4668055"/>
                  <a:pt x="1702891" y="4666506"/>
                </a:cubicBezTo>
                <a:cubicBezTo>
                  <a:pt x="1701807" y="4666300"/>
                  <a:pt x="1700722" y="4665989"/>
                  <a:pt x="1699948" y="4665473"/>
                </a:cubicBezTo>
                <a:cubicBezTo>
                  <a:pt x="1699174" y="4664957"/>
                  <a:pt x="1698864" y="4664234"/>
                  <a:pt x="1699174" y="4662995"/>
                </a:cubicBezTo>
                <a:cubicBezTo>
                  <a:pt x="1701807" y="4662376"/>
                  <a:pt x="1703665" y="4662169"/>
                  <a:pt x="1706609" y="4662272"/>
                </a:cubicBezTo>
                <a:close/>
                <a:moveTo>
                  <a:pt x="5769219" y="4661361"/>
                </a:moveTo>
                <a:cubicBezTo>
                  <a:pt x="5774950" y="4666730"/>
                  <a:pt x="5774330" y="4671686"/>
                  <a:pt x="5770303" y="4677882"/>
                </a:cubicBezTo>
                <a:cubicBezTo>
                  <a:pt x="5765656" y="4677469"/>
                  <a:pt x="5759925" y="4672100"/>
                  <a:pt x="5760545" y="4667246"/>
                </a:cubicBezTo>
                <a:cubicBezTo>
                  <a:pt x="5764263" y="4662600"/>
                  <a:pt x="5767205" y="4664459"/>
                  <a:pt x="5769219" y="4661361"/>
                </a:cubicBezTo>
                <a:close/>
                <a:moveTo>
                  <a:pt x="903161" y="4660620"/>
                </a:moveTo>
                <a:cubicBezTo>
                  <a:pt x="903936" y="4659794"/>
                  <a:pt x="904711" y="4659794"/>
                  <a:pt x="905640" y="4660723"/>
                </a:cubicBezTo>
                <a:cubicBezTo>
                  <a:pt x="905640" y="4660723"/>
                  <a:pt x="904866" y="4662376"/>
                  <a:pt x="904866" y="4662376"/>
                </a:cubicBezTo>
                <a:cubicBezTo>
                  <a:pt x="903316" y="4664028"/>
                  <a:pt x="902387" y="4664957"/>
                  <a:pt x="901612" y="4666609"/>
                </a:cubicBezTo>
                <a:cubicBezTo>
                  <a:pt x="899909" y="4665680"/>
                  <a:pt x="899754" y="4664750"/>
                  <a:pt x="900683" y="4663924"/>
                </a:cubicBezTo>
                <a:cubicBezTo>
                  <a:pt x="900683" y="4663924"/>
                  <a:pt x="901458" y="4663099"/>
                  <a:pt x="902387" y="4662272"/>
                </a:cubicBezTo>
                <a:cubicBezTo>
                  <a:pt x="903161" y="4661446"/>
                  <a:pt x="903161" y="4660620"/>
                  <a:pt x="903161" y="4660620"/>
                </a:cubicBezTo>
                <a:close/>
                <a:moveTo>
                  <a:pt x="798452" y="4660517"/>
                </a:moveTo>
                <a:cubicBezTo>
                  <a:pt x="799536" y="4660827"/>
                  <a:pt x="800621" y="4661033"/>
                  <a:pt x="800311" y="4662272"/>
                </a:cubicBezTo>
                <a:cubicBezTo>
                  <a:pt x="800001" y="4663511"/>
                  <a:pt x="800311" y="4664234"/>
                  <a:pt x="798452" y="4664441"/>
                </a:cubicBezTo>
                <a:cubicBezTo>
                  <a:pt x="797677" y="4664854"/>
                  <a:pt x="796593" y="4664544"/>
                  <a:pt x="795818" y="4665060"/>
                </a:cubicBezTo>
                <a:cubicBezTo>
                  <a:pt x="795818" y="4665060"/>
                  <a:pt x="795354" y="4664647"/>
                  <a:pt x="794889" y="4664028"/>
                </a:cubicBezTo>
                <a:cubicBezTo>
                  <a:pt x="794579" y="4663408"/>
                  <a:pt x="794114" y="4662685"/>
                  <a:pt x="794269" y="4662066"/>
                </a:cubicBezTo>
                <a:cubicBezTo>
                  <a:pt x="794269" y="4660104"/>
                  <a:pt x="797677" y="4661033"/>
                  <a:pt x="798452" y="4660517"/>
                </a:cubicBezTo>
                <a:close/>
                <a:moveTo>
                  <a:pt x="6001254" y="4658779"/>
                </a:moveTo>
                <a:cubicBezTo>
                  <a:pt x="6001254" y="4658779"/>
                  <a:pt x="6000479" y="4660638"/>
                  <a:pt x="6000479" y="4660638"/>
                </a:cubicBezTo>
                <a:cubicBezTo>
                  <a:pt x="5999085" y="4662394"/>
                  <a:pt x="5998311" y="4663323"/>
                  <a:pt x="5997691" y="4665078"/>
                </a:cubicBezTo>
                <a:cubicBezTo>
                  <a:pt x="5995832" y="4664355"/>
                  <a:pt x="5995677" y="4663529"/>
                  <a:pt x="5996452" y="4662600"/>
                </a:cubicBezTo>
                <a:cubicBezTo>
                  <a:pt x="5996452" y="4662600"/>
                  <a:pt x="5997226" y="4661671"/>
                  <a:pt x="5998001" y="4660741"/>
                </a:cubicBezTo>
                <a:cubicBezTo>
                  <a:pt x="5998620" y="4659812"/>
                  <a:pt x="5998620" y="4658883"/>
                  <a:pt x="5998620" y="4658883"/>
                </a:cubicBezTo>
                <a:cubicBezTo>
                  <a:pt x="5999395" y="4658057"/>
                  <a:pt x="6000169" y="4657953"/>
                  <a:pt x="6001254" y="4658779"/>
                </a:cubicBezTo>
                <a:close/>
                <a:moveTo>
                  <a:pt x="6093107" y="4658263"/>
                </a:moveTo>
                <a:cubicBezTo>
                  <a:pt x="6094656" y="4660225"/>
                  <a:pt x="6095431" y="4661877"/>
                  <a:pt x="6096515" y="4664665"/>
                </a:cubicBezTo>
                <a:cubicBezTo>
                  <a:pt x="6096515" y="4664665"/>
                  <a:pt x="6097290" y="4669415"/>
                  <a:pt x="6094501" y="4670757"/>
                </a:cubicBezTo>
                <a:cubicBezTo>
                  <a:pt x="6094036" y="4671583"/>
                  <a:pt x="6091248" y="4669828"/>
                  <a:pt x="6091093" y="4668692"/>
                </a:cubicBezTo>
                <a:cubicBezTo>
                  <a:pt x="6090629" y="4666317"/>
                  <a:pt x="6090474" y="4665181"/>
                  <a:pt x="6091558" y="4663633"/>
                </a:cubicBezTo>
                <a:cubicBezTo>
                  <a:pt x="6091248" y="4662497"/>
                  <a:pt x="6091093" y="4661258"/>
                  <a:pt x="6091248" y="4660329"/>
                </a:cubicBezTo>
                <a:cubicBezTo>
                  <a:pt x="6091403" y="4659296"/>
                  <a:pt x="6091868" y="4658573"/>
                  <a:pt x="6093107" y="4658263"/>
                </a:cubicBezTo>
                <a:close/>
                <a:moveTo>
                  <a:pt x="1331915" y="4658039"/>
                </a:moveTo>
                <a:cubicBezTo>
                  <a:pt x="1331915" y="4659175"/>
                  <a:pt x="1331759" y="4660414"/>
                  <a:pt x="1331759" y="4661549"/>
                </a:cubicBezTo>
                <a:cubicBezTo>
                  <a:pt x="1329436" y="4661240"/>
                  <a:pt x="1327113" y="4660827"/>
                  <a:pt x="1327268" y="4658452"/>
                </a:cubicBezTo>
                <a:cubicBezTo>
                  <a:pt x="1328971" y="4658142"/>
                  <a:pt x="1329126" y="4657006"/>
                  <a:pt x="1331915" y="4658039"/>
                </a:cubicBezTo>
                <a:close/>
                <a:moveTo>
                  <a:pt x="1449481" y="4657213"/>
                </a:moveTo>
                <a:cubicBezTo>
                  <a:pt x="1450565" y="4660827"/>
                  <a:pt x="1448086" y="4663718"/>
                  <a:pt x="1445143" y="4663924"/>
                </a:cubicBezTo>
                <a:cubicBezTo>
                  <a:pt x="1444059" y="4663924"/>
                  <a:pt x="1443130" y="4663718"/>
                  <a:pt x="1442201" y="4663099"/>
                </a:cubicBezTo>
                <a:cubicBezTo>
                  <a:pt x="1441736" y="4661859"/>
                  <a:pt x="1440651" y="4660104"/>
                  <a:pt x="1440651" y="4658245"/>
                </a:cubicBezTo>
                <a:cubicBezTo>
                  <a:pt x="1443439" y="4655148"/>
                  <a:pt x="1446538" y="4655148"/>
                  <a:pt x="1449481" y="4657213"/>
                </a:cubicBezTo>
                <a:close/>
                <a:moveTo>
                  <a:pt x="865212" y="4657006"/>
                </a:moveTo>
                <a:cubicBezTo>
                  <a:pt x="859636" y="4664647"/>
                  <a:pt x="854369" y="4660001"/>
                  <a:pt x="851271" y="4664234"/>
                </a:cubicBezTo>
                <a:cubicBezTo>
                  <a:pt x="850342" y="4662479"/>
                  <a:pt x="850187" y="4662479"/>
                  <a:pt x="850962" y="4660723"/>
                </a:cubicBezTo>
                <a:cubicBezTo>
                  <a:pt x="851891" y="4660723"/>
                  <a:pt x="851891" y="4659898"/>
                  <a:pt x="852820" y="4660827"/>
                </a:cubicBezTo>
                <a:cubicBezTo>
                  <a:pt x="854369" y="4658245"/>
                  <a:pt x="861804" y="4655974"/>
                  <a:pt x="865212" y="4657006"/>
                </a:cubicBezTo>
                <a:close/>
                <a:moveTo>
                  <a:pt x="1146968" y="4656387"/>
                </a:moveTo>
                <a:cubicBezTo>
                  <a:pt x="1149446" y="4654735"/>
                  <a:pt x="1158121" y="4660414"/>
                  <a:pt x="1153164" y="4664647"/>
                </a:cubicBezTo>
                <a:cubicBezTo>
                  <a:pt x="1152699" y="4665267"/>
                  <a:pt x="1151770" y="4665267"/>
                  <a:pt x="1150841" y="4664854"/>
                </a:cubicBezTo>
                <a:cubicBezTo>
                  <a:pt x="1147898" y="4663718"/>
                  <a:pt x="1144645" y="4658968"/>
                  <a:pt x="1146968" y="4656387"/>
                </a:cubicBezTo>
                <a:close/>
                <a:moveTo>
                  <a:pt x="772893" y="4655457"/>
                </a:moveTo>
                <a:cubicBezTo>
                  <a:pt x="774598" y="4657419"/>
                  <a:pt x="776301" y="4659381"/>
                  <a:pt x="775217" y="4663615"/>
                </a:cubicBezTo>
                <a:cubicBezTo>
                  <a:pt x="773823" y="4664750"/>
                  <a:pt x="772429" y="4665473"/>
                  <a:pt x="771035" y="4665680"/>
                </a:cubicBezTo>
                <a:cubicBezTo>
                  <a:pt x="769486" y="4665783"/>
                  <a:pt x="767782" y="4665577"/>
                  <a:pt x="765614" y="4664750"/>
                </a:cubicBezTo>
                <a:cubicBezTo>
                  <a:pt x="764065" y="4660827"/>
                  <a:pt x="767627" y="4653496"/>
                  <a:pt x="772893" y="4655457"/>
                </a:cubicBezTo>
                <a:close/>
                <a:moveTo>
                  <a:pt x="5930001" y="4655062"/>
                </a:moveTo>
                <a:cubicBezTo>
                  <a:pt x="5932634" y="4658160"/>
                  <a:pt x="5930776" y="4663116"/>
                  <a:pt x="5925509" y="4662394"/>
                </a:cubicBezTo>
                <a:cubicBezTo>
                  <a:pt x="5925974" y="4658676"/>
                  <a:pt x="5926439" y="4654959"/>
                  <a:pt x="5930001" y="4655062"/>
                </a:cubicBezTo>
                <a:close/>
                <a:moveTo>
                  <a:pt x="5966867" y="4654752"/>
                </a:moveTo>
                <a:cubicBezTo>
                  <a:pt x="5966247" y="4655682"/>
                  <a:pt x="5964543" y="4656611"/>
                  <a:pt x="5963924" y="4657540"/>
                </a:cubicBezTo>
                <a:cubicBezTo>
                  <a:pt x="5963924" y="4657540"/>
                  <a:pt x="5963924" y="4657540"/>
                  <a:pt x="5962994" y="4656714"/>
                </a:cubicBezTo>
                <a:cubicBezTo>
                  <a:pt x="5964543" y="4656611"/>
                  <a:pt x="5965008" y="4653100"/>
                  <a:pt x="5966867" y="4654752"/>
                </a:cubicBezTo>
                <a:close/>
                <a:moveTo>
                  <a:pt x="6402764" y="4653333"/>
                </a:moveTo>
                <a:cubicBezTo>
                  <a:pt x="6404333" y="4652584"/>
                  <a:pt x="6405998" y="4653204"/>
                  <a:pt x="6405688" y="4657540"/>
                </a:cubicBezTo>
                <a:cubicBezTo>
                  <a:pt x="6404139" y="4657953"/>
                  <a:pt x="6402900" y="4658057"/>
                  <a:pt x="6402125" y="4658057"/>
                </a:cubicBezTo>
                <a:cubicBezTo>
                  <a:pt x="6401351" y="4657953"/>
                  <a:pt x="6400731" y="4657644"/>
                  <a:pt x="6400421" y="4657334"/>
                </a:cubicBezTo>
                <a:cubicBezTo>
                  <a:pt x="6399724" y="4656198"/>
                  <a:pt x="6401196" y="4654081"/>
                  <a:pt x="6402764" y="4653333"/>
                </a:cubicBezTo>
                <a:close/>
                <a:moveTo>
                  <a:pt x="1545671" y="4653186"/>
                </a:moveTo>
                <a:cubicBezTo>
                  <a:pt x="1545826" y="4655664"/>
                  <a:pt x="1546601" y="4656490"/>
                  <a:pt x="1545826" y="4656490"/>
                </a:cubicBezTo>
                <a:cubicBezTo>
                  <a:pt x="1545826" y="4656903"/>
                  <a:pt x="1545671" y="4657110"/>
                  <a:pt x="1545361" y="4657110"/>
                </a:cubicBezTo>
                <a:cubicBezTo>
                  <a:pt x="1545207" y="4657110"/>
                  <a:pt x="1544897" y="4656903"/>
                  <a:pt x="1544897" y="4656490"/>
                </a:cubicBezTo>
                <a:cubicBezTo>
                  <a:pt x="1543193" y="4655561"/>
                  <a:pt x="1544897" y="4654012"/>
                  <a:pt x="1545671" y="4653186"/>
                </a:cubicBezTo>
                <a:close/>
                <a:moveTo>
                  <a:pt x="871717" y="4653082"/>
                </a:moveTo>
                <a:cubicBezTo>
                  <a:pt x="870943" y="4654012"/>
                  <a:pt x="869239" y="4654838"/>
                  <a:pt x="868465" y="4655664"/>
                </a:cubicBezTo>
                <a:cubicBezTo>
                  <a:pt x="868465" y="4655664"/>
                  <a:pt x="868465" y="4655561"/>
                  <a:pt x="867536" y="4654632"/>
                </a:cubicBezTo>
                <a:cubicBezTo>
                  <a:pt x="869239" y="4654735"/>
                  <a:pt x="870014" y="4651327"/>
                  <a:pt x="871717" y="4653082"/>
                </a:cubicBezTo>
                <a:close/>
                <a:moveTo>
                  <a:pt x="858590" y="4652412"/>
                </a:moveTo>
                <a:cubicBezTo>
                  <a:pt x="860913" y="4652412"/>
                  <a:pt x="862811" y="4652721"/>
                  <a:pt x="863198" y="4652773"/>
                </a:cubicBezTo>
                <a:cubicBezTo>
                  <a:pt x="863198" y="4653599"/>
                  <a:pt x="863198" y="4653599"/>
                  <a:pt x="863198" y="4653599"/>
                </a:cubicBezTo>
                <a:cubicBezTo>
                  <a:pt x="860720" y="4652876"/>
                  <a:pt x="857777" y="4654941"/>
                  <a:pt x="854679" y="4655148"/>
                </a:cubicBezTo>
                <a:cubicBezTo>
                  <a:pt x="853595" y="4655251"/>
                  <a:pt x="852511" y="4655251"/>
                  <a:pt x="851426" y="4654735"/>
                </a:cubicBezTo>
                <a:cubicBezTo>
                  <a:pt x="851426" y="4654735"/>
                  <a:pt x="851426" y="4654735"/>
                  <a:pt x="852356" y="4654838"/>
                </a:cubicBezTo>
                <a:cubicBezTo>
                  <a:pt x="852356" y="4654838"/>
                  <a:pt x="851426" y="4654735"/>
                  <a:pt x="851426" y="4653909"/>
                </a:cubicBezTo>
                <a:cubicBezTo>
                  <a:pt x="853517" y="4652721"/>
                  <a:pt x="856267" y="4652412"/>
                  <a:pt x="858590" y="4652412"/>
                </a:cubicBezTo>
                <a:close/>
                <a:moveTo>
                  <a:pt x="6323128" y="4652171"/>
                </a:moveTo>
                <a:cubicBezTo>
                  <a:pt x="6332732" y="4653307"/>
                  <a:pt x="6334281" y="4661774"/>
                  <a:pt x="6335985" y="4662806"/>
                </a:cubicBezTo>
                <a:cubicBezTo>
                  <a:pt x="6335520" y="4665491"/>
                  <a:pt x="6335520" y="4666111"/>
                  <a:pt x="6332732" y="4665801"/>
                </a:cubicBezTo>
                <a:cubicBezTo>
                  <a:pt x="6331802" y="4665698"/>
                  <a:pt x="6330563" y="4665595"/>
                  <a:pt x="6329014" y="4665284"/>
                </a:cubicBezTo>
                <a:cubicBezTo>
                  <a:pt x="6327775" y="4664975"/>
                  <a:pt x="6326691" y="4664459"/>
                  <a:pt x="6325762" y="4663529"/>
                </a:cubicBezTo>
                <a:cubicBezTo>
                  <a:pt x="6324832" y="4662703"/>
                  <a:pt x="6324058" y="4661567"/>
                  <a:pt x="6323748" y="4660329"/>
                </a:cubicBezTo>
                <a:cubicBezTo>
                  <a:pt x="6322044" y="4659296"/>
                  <a:pt x="6320650" y="4657024"/>
                  <a:pt x="6320340" y="4655062"/>
                </a:cubicBezTo>
                <a:cubicBezTo>
                  <a:pt x="6320650" y="4652687"/>
                  <a:pt x="6322044" y="4651862"/>
                  <a:pt x="6323128" y="4652171"/>
                </a:cubicBezTo>
                <a:close/>
                <a:moveTo>
                  <a:pt x="1116918" y="4652153"/>
                </a:moveTo>
                <a:cubicBezTo>
                  <a:pt x="1121410" y="4655148"/>
                  <a:pt x="1121255" y="4662789"/>
                  <a:pt x="1115679" y="4663821"/>
                </a:cubicBezTo>
                <a:cubicBezTo>
                  <a:pt x="1114595" y="4662169"/>
                  <a:pt x="1113046" y="4661240"/>
                  <a:pt x="1111807" y="4659484"/>
                </a:cubicBezTo>
                <a:cubicBezTo>
                  <a:pt x="1113511" y="4656697"/>
                  <a:pt x="1111652" y="4652566"/>
                  <a:pt x="1116918" y="4652153"/>
                </a:cubicBezTo>
                <a:close/>
                <a:moveTo>
                  <a:pt x="1067971" y="4651947"/>
                </a:moveTo>
                <a:cubicBezTo>
                  <a:pt x="1069830" y="4653805"/>
                  <a:pt x="1071534" y="4652979"/>
                  <a:pt x="1073238" y="4654838"/>
                </a:cubicBezTo>
                <a:cubicBezTo>
                  <a:pt x="1071689" y="4656490"/>
                  <a:pt x="1070759" y="4658142"/>
                  <a:pt x="1069985" y="4658968"/>
                </a:cubicBezTo>
                <a:cubicBezTo>
                  <a:pt x="1066577" y="4657110"/>
                  <a:pt x="1065648" y="4654425"/>
                  <a:pt x="1067971" y="4651947"/>
                </a:cubicBezTo>
                <a:close/>
                <a:moveTo>
                  <a:pt x="1160909" y="4651121"/>
                </a:moveTo>
                <a:cubicBezTo>
                  <a:pt x="1166020" y="4649675"/>
                  <a:pt x="1170513" y="4655148"/>
                  <a:pt x="1167105" y="4660517"/>
                </a:cubicBezTo>
                <a:cubicBezTo>
                  <a:pt x="1165401" y="4660104"/>
                  <a:pt x="1163697" y="4660723"/>
                  <a:pt x="1161839" y="4660310"/>
                </a:cubicBezTo>
                <a:cubicBezTo>
                  <a:pt x="1161529" y="4658762"/>
                  <a:pt x="1160444" y="4657522"/>
                  <a:pt x="1159824" y="4656180"/>
                </a:cubicBezTo>
                <a:cubicBezTo>
                  <a:pt x="1159360" y="4654838"/>
                  <a:pt x="1159205" y="4653392"/>
                  <a:pt x="1160909" y="4651121"/>
                </a:cubicBezTo>
                <a:close/>
                <a:moveTo>
                  <a:pt x="6071886" y="4651035"/>
                </a:moveTo>
                <a:cubicBezTo>
                  <a:pt x="6073125" y="4650726"/>
                  <a:pt x="6076068" y="4650519"/>
                  <a:pt x="6076998" y="4653307"/>
                </a:cubicBezTo>
                <a:cubicBezTo>
                  <a:pt x="6078082" y="4656198"/>
                  <a:pt x="6080560" y="4656611"/>
                  <a:pt x="6081645" y="4659399"/>
                </a:cubicBezTo>
                <a:cubicBezTo>
                  <a:pt x="6081645" y="4659399"/>
                  <a:pt x="6081645" y="4659502"/>
                  <a:pt x="6080406" y="4659812"/>
                </a:cubicBezTo>
                <a:cubicBezTo>
                  <a:pt x="6078082" y="4656095"/>
                  <a:pt x="6073745" y="4655475"/>
                  <a:pt x="6071886" y="4651035"/>
                </a:cubicBezTo>
                <a:close/>
                <a:moveTo>
                  <a:pt x="1617388" y="4650501"/>
                </a:moveTo>
                <a:cubicBezTo>
                  <a:pt x="1615994" y="4651121"/>
                  <a:pt x="1615065" y="4651637"/>
                  <a:pt x="1614290" y="4651843"/>
                </a:cubicBezTo>
                <a:cubicBezTo>
                  <a:pt x="1613361" y="4652050"/>
                  <a:pt x="1612432" y="4651843"/>
                  <a:pt x="1611193" y="4651224"/>
                </a:cubicBezTo>
                <a:cubicBezTo>
                  <a:pt x="1613051" y="4649778"/>
                  <a:pt x="1614910" y="4649159"/>
                  <a:pt x="1617388" y="4650501"/>
                </a:cubicBezTo>
                <a:close/>
                <a:moveTo>
                  <a:pt x="6725239" y="4650416"/>
                </a:moveTo>
                <a:cubicBezTo>
                  <a:pt x="6727407" y="4649796"/>
                  <a:pt x="6730815" y="4648867"/>
                  <a:pt x="6732364" y="4651655"/>
                </a:cubicBezTo>
                <a:cubicBezTo>
                  <a:pt x="6732054" y="4652377"/>
                  <a:pt x="6732829" y="4652791"/>
                  <a:pt x="6732519" y="4653617"/>
                </a:cubicBezTo>
                <a:cubicBezTo>
                  <a:pt x="6732519" y="4653617"/>
                  <a:pt x="6732519" y="4654546"/>
                  <a:pt x="6732054" y="4655682"/>
                </a:cubicBezTo>
                <a:cubicBezTo>
                  <a:pt x="6731590" y="4656921"/>
                  <a:pt x="6730815" y="4658263"/>
                  <a:pt x="6728956" y="4659089"/>
                </a:cubicBezTo>
                <a:cubicBezTo>
                  <a:pt x="6728337" y="4659296"/>
                  <a:pt x="6727407" y="4659399"/>
                  <a:pt x="6726478" y="4659399"/>
                </a:cubicBezTo>
                <a:cubicBezTo>
                  <a:pt x="6725704" y="4659399"/>
                  <a:pt x="6724929" y="4659193"/>
                  <a:pt x="6725084" y="4658883"/>
                </a:cubicBezTo>
                <a:cubicBezTo>
                  <a:pt x="6724774" y="4657644"/>
                  <a:pt x="6724464" y="4658470"/>
                  <a:pt x="6723690" y="4658057"/>
                </a:cubicBezTo>
                <a:cubicBezTo>
                  <a:pt x="6722450" y="4654443"/>
                  <a:pt x="6722605" y="4651758"/>
                  <a:pt x="6725239" y="4650416"/>
                </a:cubicBezTo>
                <a:close/>
                <a:moveTo>
                  <a:pt x="703965" y="4649675"/>
                </a:moveTo>
                <a:cubicBezTo>
                  <a:pt x="711399" y="4649675"/>
                  <a:pt x="723636" y="4650088"/>
                  <a:pt x="729213" y="4654838"/>
                </a:cubicBezTo>
                <a:cubicBezTo>
                  <a:pt x="728129" y="4657006"/>
                  <a:pt x="726115" y="4658142"/>
                  <a:pt x="723791" y="4658452"/>
                </a:cubicBezTo>
                <a:cubicBezTo>
                  <a:pt x="716821" y="4659381"/>
                  <a:pt x="706753" y="4653186"/>
                  <a:pt x="703965" y="4649675"/>
                </a:cubicBezTo>
                <a:close/>
                <a:moveTo>
                  <a:pt x="6681558" y="4649590"/>
                </a:moveTo>
                <a:cubicBezTo>
                  <a:pt x="6682333" y="4650003"/>
                  <a:pt x="6684346" y="4652068"/>
                  <a:pt x="6684656" y="4651345"/>
                </a:cubicBezTo>
                <a:cubicBezTo>
                  <a:pt x="6685585" y="4654030"/>
                  <a:pt x="6686360" y="4657128"/>
                  <a:pt x="6685585" y="4659089"/>
                </a:cubicBezTo>
                <a:cubicBezTo>
                  <a:pt x="6685275" y="4659709"/>
                  <a:pt x="6684811" y="4660225"/>
                  <a:pt x="6684191" y="4660535"/>
                </a:cubicBezTo>
                <a:cubicBezTo>
                  <a:pt x="6682797" y="4661567"/>
                  <a:pt x="6681558" y="4660019"/>
                  <a:pt x="6680629" y="4657644"/>
                </a:cubicBezTo>
                <a:cubicBezTo>
                  <a:pt x="6677995" y="4653204"/>
                  <a:pt x="6678150" y="4650519"/>
                  <a:pt x="6681558" y="4649590"/>
                </a:cubicBezTo>
                <a:close/>
                <a:moveTo>
                  <a:pt x="6072041" y="4647834"/>
                </a:moveTo>
                <a:cubicBezTo>
                  <a:pt x="6072971" y="4649486"/>
                  <a:pt x="6061973" y="4654443"/>
                  <a:pt x="6059185" y="4655785"/>
                </a:cubicBezTo>
                <a:cubicBezTo>
                  <a:pt x="6058565" y="4655372"/>
                  <a:pt x="6058411" y="4655372"/>
                  <a:pt x="6058411" y="4655372"/>
                </a:cubicBezTo>
                <a:cubicBezTo>
                  <a:pt x="6058100" y="4654546"/>
                  <a:pt x="6058256" y="4653823"/>
                  <a:pt x="6058875" y="4653204"/>
                </a:cubicBezTo>
                <a:cubicBezTo>
                  <a:pt x="6059650" y="4652481"/>
                  <a:pt x="6060734" y="4651965"/>
                  <a:pt x="6062128" y="4651242"/>
                </a:cubicBezTo>
                <a:cubicBezTo>
                  <a:pt x="6065071" y="4649796"/>
                  <a:pt x="6069098" y="4649280"/>
                  <a:pt x="6070337" y="4648970"/>
                </a:cubicBezTo>
                <a:cubicBezTo>
                  <a:pt x="6071577" y="4648557"/>
                  <a:pt x="6072041" y="4647834"/>
                  <a:pt x="6072041" y="4647834"/>
                </a:cubicBezTo>
                <a:close/>
                <a:moveTo>
                  <a:pt x="5910020" y="4647731"/>
                </a:moveTo>
                <a:cubicBezTo>
                  <a:pt x="5912188" y="4650312"/>
                  <a:pt x="5910949" y="4653720"/>
                  <a:pt x="5913118" y="4657231"/>
                </a:cubicBezTo>
                <a:cubicBezTo>
                  <a:pt x="5911259" y="4659812"/>
                  <a:pt x="5913273" y="4664252"/>
                  <a:pt x="5910485" y="4667660"/>
                </a:cubicBezTo>
                <a:cubicBezTo>
                  <a:pt x="5909245" y="4666730"/>
                  <a:pt x="5908471" y="4665181"/>
                  <a:pt x="5908006" y="4663426"/>
                </a:cubicBezTo>
                <a:cubicBezTo>
                  <a:pt x="5906612" y="4657850"/>
                  <a:pt x="5907851" y="4649590"/>
                  <a:pt x="5910020" y="4647731"/>
                </a:cubicBezTo>
                <a:close/>
                <a:moveTo>
                  <a:pt x="5778397" y="4647086"/>
                </a:moveTo>
                <a:cubicBezTo>
                  <a:pt x="5784128" y="4645046"/>
                  <a:pt x="5790130" y="4645098"/>
                  <a:pt x="5792298" y="4649177"/>
                </a:cubicBezTo>
                <a:cubicBezTo>
                  <a:pt x="5782540" y="4651345"/>
                  <a:pt x="5777273" y="4657334"/>
                  <a:pt x="5766121" y="4657540"/>
                </a:cubicBezTo>
                <a:cubicBezTo>
                  <a:pt x="5767205" y="4653255"/>
                  <a:pt x="5772665" y="4649125"/>
                  <a:pt x="5778397" y="4647086"/>
                </a:cubicBezTo>
                <a:close/>
                <a:moveTo>
                  <a:pt x="1080382" y="4646539"/>
                </a:moveTo>
                <a:cubicBezTo>
                  <a:pt x="1081447" y="4647068"/>
                  <a:pt x="1082144" y="4648281"/>
                  <a:pt x="1081912" y="4649469"/>
                </a:cubicBezTo>
                <a:cubicBezTo>
                  <a:pt x="1081757" y="4650191"/>
                  <a:pt x="1081292" y="4651017"/>
                  <a:pt x="1080208" y="4651534"/>
                </a:cubicBezTo>
                <a:cubicBezTo>
                  <a:pt x="1078659" y="4650604"/>
                  <a:pt x="1078039" y="4649572"/>
                  <a:pt x="1076645" y="4647713"/>
                </a:cubicBezTo>
                <a:cubicBezTo>
                  <a:pt x="1077885" y="4646164"/>
                  <a:pt x="1079317" y="4646009"/>
                  <a:pt x="1080382" y="4646539"/>
                </a:cubicBezTo>
                <a:close/>
                <a:moveTo>
                  <a:pt x="6723690" y="4645666"/>
                </a:moveTo>
                <a:cubicBezTo>
                  <a:pt x="6724774" y="4645356"/>
                  <a:pt x="6726633" y="4645460"/>
                  <a:pt x="6727097" y="4646595"/>
                </a:cubicBezTo>
                <a:cubicBezTo>
                  <a:pt x="6727562" y="4647421"/>
                  <a:pt x="6727407" y="4647731"/>
                  <a:pt x="6726943" y="4648041"/>
                </a:cubicBezTo>
                <a:cubicBezTo>
                  <a:pt x="6726478" y="4648454"/>
                  <a:pt x="6725549" y="4648661"/>
                  <a:pt x="6724929" y="4649280"/>
                </a:cubicBezTo>
                <a:close/>
                <a:moveTo>
                  <a:pt x="1833933" y="4645648"/>
                </a:moveTo>
                <a:cubicBezTo>
                  <a:pt x="1834863" y="4646577"/>
                  <a:pt x="1834863" y="4646577"/>
                  <a:pt x="1833933" y="4646577"/>
                </a:cubicBezTo>
                <a:cubicBezTo>
                  <a:pt x="1833159" y="4648230"/>
                  <a:pt x="1833159" y="4647300"/>
                  <a:pt x="1832384" y="4648126"/>
                </a:cubicBezTo>
                <a:cubicBezTo>
                  <a:pt x="1831610" y="4648952"/>
                  <a:pt x="1830061" y="4653186"/>
                  <a:pt x="1830990" y="4654115"/>
                </a:cubicBezTo>
                <a:cubicBezTo>
                  <a:pt x="1830061" y="4654012"/>
                  <a:pt x="1829287" y="4654838"/>
                  <a:pt x="1829287" y="4654838"/>
                </a:cubicBezTo>
                <a:cubicBezTo>
                  <a:pt x="1828512" y="4654012"/>
                  <a:pt x="1828357" y="4653186"/>
                  <a:pt x="1828357" y="4652256"/>
                </a:cubicBezTo>
                <a:cubicBezTo>
                  <a:pt x="1829132" y="4651431"/>
                  <a:pt x="1830061" y="4651534"/>
                  <a:pt x="1830835" y="4650708"/>
                </a:cubicBezTo>
                <a:cubicBezTo>
                  <a:pt x="1830835" y="4649778"/>
                  <a:pt x="1830681" y="4648023"/>
                  <a:pt x="1831610" y="4647300"/>
                </a:cubicBezTo>
                <a:cubicBezTo>
                  <a:pt x="1832384" y="4646474"/>
                  <a:pt x="1833933" y="4645648"/>
                  <a:pt x="1833933" y="4645648"/>
                </a:cubicBezTo>
                <a:close/>
                <a:moveTo>
                  <a:pt x="1025046" y="4645545"/>
                </a:moveTo>
                <a:cubicBezTo>
                  <a:pt x="1029712" y="4645106"/>
                  <a:pt x="1034746" y="4646113"/>
                  <a:pt x="1039470" y="4648746"/>
                </a:cubicBezTo>
                <a:cubicBezTo>
                  <a:pt x="1039316" y="4649985"/>
                  <a:pt x="1039316" y="4651121"/>
                  <a:pt x="1040400" y="4651327"/>
                </a:cubicBezTo>
                <a:cubicBezTo>
                  <a:pt x="1040554" y="4663305"/>
                  <a:pt x="1028628" y="4672082"/>
                  <a:pt x="1017475" y="4671359"/>
                </a:cubicBezTo>
                <a:cubicBezTo>
                  <a:pt x="1015616" y="4671256"/>
                  <a:pt x="1013913" y="4670843"/>
                  <a:pt x="1012054" y="4670120"/>
                </a:cubicBezTo>
                <a:lnTo>
                  <a:pt x="1007407" y="4667332"/>
                </a:lnTo>
                <a:lnTo>
                  <a:pt x="1006787" y="4668468"/>
                </a:lnTo>
                <a:cubicBezTo>
                  <a:pt x="1004928" y="4670430"/>
                  <a:pt x="1002140" y="4669810"/>
                  <a:pt x="998577" y="4667332"/>
                </a:cubicBezTo>
                <a:cubicBezTo>
                  <a:pt x="998887" y="4665370"/>
                  <a:pt x="998423" y="4663718"/>
                  <a:pt x="998268" y="4661033"/>
                </a:cubicBezTo>
                <a:cubicBezTo>
                  <a:pt x="999507" y="4660723"/>
                  <a:pt x="1001521" y="4660723"/>
                  <a:pt x="1003379" y="4661549"/>
                </a:cubicBezTo>
                <a:lnTo>
                  <a:pt x="1007407" y="4664750"/>
                </a:lnTo>
                <a:lnTo>
                  <a:pt x="1008336" y="4657936"/>
                </a:lnTo>
                <a:cubicBezTo>
                  <a:pt x="1009421" y="4655148"/>
                  <a:pt x="1010969" y="4652876"/>
                  <a:pt x="1012828" y="4651017"/>
                </a:cubicBezTo>
                <a:cubicBezTo>
                  <a:pt x="1016081" y="4647868"/>
                  <a:pt x="1020379" y="4645984"/>
                  <a:pt x="1025046" y="4645545"/>
                </a:cubicBezTo>
                <a:close/>
                <a:moveTo>
                  <a:pt x="964810" y="4644925"/>
                </a:moveTo>
                <a:cubicBezTo>
                  <a:pt x="968528" y="4642447"/>
                  <a:pt x="971780" y="4643170"/>
                  <a:pt x="975808" y="4645751"/>
                </a:cubicBezTo>
                <a:cubicBezTo>
                  <a:pt x="975653" y="4647404"/>
                  <a:pt x="972865" y="4649262"/>
                  <a:pt x="970851" y="4650501"/>
                </a:cubicBezTo>
                <a:cubicBezTo>
                  <a:pt x="968372" y="4649985"/>
                  <a:pt x="966049" y="4647816"/>
                  <a:pt x="964810" y="4644925"/>
                </a:cubicBezTo>
                <a:close/>
                <a:moveTo>
                  <a:pt x="6078082" y="4644220"/>
                </a:moveTo>
                <a:cubicBezTo>
                  <a:pt x="6078082" y="4644220"/>
                  <a:pt x="6078392" y="4643498"/>
                  <a:pt x="6079476" y="4646285"/>
                </a:cubicBezTo>
                <a:cubicBezTo>
                  <a:pt x="6078392" y="4646595"/>
                  <a:pt x="6074984" y="4647525"/>
                  <a:pt x="6074984" y="4647525"/>
                </a:cubicBezTo>
                <a:cubicBezTo>
                  <a:pt x="6074365" y="4648350"/>
                  <a:pt x="6074365" y="4648350"/>
                  <a:pt x="6073280" y="4648661"/>
                </a:cubicBezTo>
                <a:cubicBezTo>
                  <a:pt x="6073125" y="4647525"/>
                  <a:pt x="6073125" y="4647525"/>
                  <a:pt x="6073590" y="4646699"/>
                </a:cubicBezTo>
                <a:cubicBezTo>
                  <a:pt x="6074675" y="4646389"/>
                  <a:pt x="6075449" y="4646802"/>
                  <a:pt x="6076533" y="4646492"/>
                </a:cubicBezTo>
                <a:cubicBezTo>
                  <a:pt x="6076224" y="4644117"/>
                  <a:pt x="6075759" y="4644840"/>
                  <a:pt x="6076843" y="4644530"/>
                </a:cubicBezTo>
                <a:cubicBezTo>
                  <a:pt x="6076843" y="4644530"/>
                  <a:pt x="6076843" y="4644530"/>
                  <a:pt x="6078082" y="4644220"/>
                </a:cubicBezTo>
                <a:close/>
                <a:moveTo>
                  <a:pt x="6191002" y="4643601"/>
                </a:moveTo>
                <a:lnTo>
                  <a:pt x="6192705" y="4644840"/>
                </a:lnTo>
                <a:lnTo>
                  <a:pt x="6193015" y="4644840"/>
                </a:lnTo>
                <a:cubicBezTo>
                  <a:pt x="6195804" y="4647215"/>
                  <a:pt x="6195804" y="4647215"/>
                  <a:pt x="6192396" y="4652687"/>
                </a:cubicBezTo>
                <a:cubicBezTo>
                  <a:pt x="6191776" y="4653617"/>
                  <a:pt x="6190847" y="4654236"/>
                  <a:pt x="6189762" y="4654649"/>
                </a:cubicBezTo>
                <a:cubicBezTo>
                  <a:pt x="6188678" y="4655062"/>
                  <a:pt x="6187439" y="4655166"/>
                  <a:pt x="6186045" y="4654752"/>
                </a:cubicBezTo>
                <a:cubicBezTo>
                  <a:pt x="6185271" y="4655269"/>
                  <a:pt x="6184341" y="4655475"/>
                  <a:pt x="6183257" y="4655578"/>
                </a:cubicBezTo>
                <a:cubicBezTo>
                  <a:pt x="6182327" y="4655682"/>
                  <a:pt x="6181243" y="4655475"/>
                  <a:pt x="6180314" y="4655166"/>
                </a:cubicBezTo>
                <a:cubicBezTo>
                  <a:pt x="6178455" y="4653513"/>
                  <a:pt x="6178300" y="4651758"/>
                  <a:pt x="6178920" y="4650829"/>
                </a:cubicBezTo>
                <a:lnTo>
                  <a:pt x="6182792" y="4646699"/>
                </a:lnTo>
                <a:lnTo>
                  <a:pt x="6182637" y="4646079"/>
                </a:lnTo>
                <a:cubicBezTo>
                  <a:pt x="6183257" y="4643291"/>
                  <a:pt x="6188059" y="4642465"/>
                  <a:pt x="6191002" y="4643601"/>
                </a:cubicBezTo>
                <a:close/>
                <a:moveTo>
                  <a:pt x="895417" y="4642964"/>
                </a:moveTo>
                <a:cubicBezTo>
                  <a:pt x="894332" y="4644822"/>
                  <a:pt x="892319" y="4648023"/>
                  <a:pt x="890460" y="4648849"/>
                </a:cubicBezTo>
                <a:cubicBezTo>
                  <a:pt x="889685" y="4649055"/>
                  <a:pt x="889066" y="4648952"/>
                  <a:pt x="888447" y="4648539"/>
                </a:cubicBezTo>
                <a:cubicBezTo>
                  <a:pt x="887517" y="4647610"/>
                  <a:pt x="888291" y="4646784"/>
                  <a:pt x="888291" y="4645958"/>
                </a:cubicBezTo>
                <a:cubicBezTo>
                  <a:pt x="889066" y="4644306"/>
                  <a:pt x="894642" y="4642034"/>
                  <a:pt x="895417" y="4642964"/>
                </a:cubicBezTo>
                <a:close/>
                <a:moveTo>
                  <a:pt x="1326028" y="4642447"/>
                </a:moveTo>
                <a:cubicBezTo>
                  <a:pt x="1329436" y="4641931"/>
                  <a:pt x="1331605" y="4642964"/>
                  <a:pt x="1334392" y="4646784"/>
                </a:cubicBezTo>
                <a:cubicBezTo>
                  <a:pt x="1333773" y="4649985"/>
                  <a:pt x="1330056" y="4653496"/>
                  <a:pt x="1326803" y="4652979"/>
                </a:cubicBezTo>
                <a:cubicBezTo>
                  <a:pt x="1325564" y="4652876"/>
                  <a:pt x="1324635" y="4652256"/>
                  <a:pt x="1323705" y="4651017"/>
                </a:cubicBezTo>
                <a:cubicBezTo>
                  <a:pt x="1323395" y="4648333"/>
                  <a:pt x="1323085" y="4645751"/>
                  <a:pt x="1326028" y="4642447"/>
                </a:cubicBezTo>
                <a:close/>
                <a:moveTo>
                  <a:pt x="6117794" y="4642439"/>
                </a:moveTo>
                <a:cubicBezTo>
                  <a:pt x="6119788" y="4642878"/>
                  <a:pt x="6121144" y="4644737"/>
                  <a:pt x="6121453" y="4646905"/>
                </a:cubicBezTo>
                <a:cubicBezTo>
                  <a:pt x="6121608" y="4648247"/>
                  <a:pt x="6121298" y="4649796"/>
                  <a:pt x="6120524" y="4651139"/>
                </a:cubicBezTo>
                <a:cubicBezTo>
                  <a:pt x="6119439" y="4652997"/>
                  <a:pt x="6117271" y="4654546"/>
                  <a:pt x="6113863" y="4654959"/>
                </a:cubicBezTo>
                <a:cubicBezTo>
                  <a:pt x="6112469" y="4653513"/>
                  <a:pt x="6111850" y="4652068"/>
                  <a:pt x="6111540" y="4650622"/>
                </a:cubicBezTo>
                <a:cubicBezTo>
                  <a:pt x="6111075" y="4649280"/>
                  <a:pt x="6110920" y="4647938"/>
                  <a:pt x="6110301" y="4646492"/>
                </a:cubicBezTo>
                <a:cubicBezTo>
                  <a:pt x="6113166" y="4642981"/>
                  <a:pt x="6115800" y="4642000"/>
                  <a:pt x="6117794" y="4642439"/>
                </a:cubicBezTo>
                <a:close/>
                <a:moveTo>
                  <a:pt x="1147433" y="4641518"/>
                </a:moveTo>
                <a:cubicBezTo>
                  <a:pt x="1147898" y="4642241"/>
                  <a:pt x="1148982" y="4642447"/>
                  <a:pt x="1149446" y="4643170"/>
                </a:cubicBezTo>
                <a:cubicBezTo>
                  <a:pt x="1148827" y="4643686"/>
                  <a:pt x="1147898" y="4645338"/>
                  <a:pt x="1147433" y="4644615"/>
                </a:cubicBezTo>
                <a:cubicBezTo>
                  <a:pt x="1146659" y="4645029"/>
                  <a:pt x="1145729" y="4643583"/>
                  <a:pt x="1145729" y="4643583"/>
                </a:cubicBezTo>
                <a:cubicBezTo>
                  <a:pt x="1145109" y="4643996"/>
                  <a:pt x="1144335" y="4644512"/>
                  <a:pt x="1143251" y="4644306"/>
                </a:cubicBezTo>
                <a:cubicBezTo>
                  <a:pt x="1143406" y="4643067"/>
                  <a:pt x="1142631" y="4643480"/>
                  <a:pt x="1142166" y="4642757"/>
                </a:cubicBezTo>
                <a:cubicBezTo>
                  <a:pt x="1143406" y="4643067"/>
                  <a:pt x="1145420" y="4641724"/>
                  <a:pt x="1147433" y="4641518"/>
                </a:cubicBezTo>
                <a:close/>
                <a:moveTo>
                  <a:pt x="1249819" y="4641208"/>
                </a:moveTo>
                <a:cubicBezTo>
                  <a:pt x="1251988" y="4646474"/>
                  <a:pt x="1261281" y="4662376"/>
                  <a:pt x="1254931" y="4664957"/>
                </a:cubicBezTo>
                <a:cubicBezTo>
                  <a:pt x="1251988" y="4659278"/>
                  <a:pt x="1241455" y="4645442"/>
                  <a:pt x="1249819" y="4641208"/>
                </a:cubicBezTo>
                <a:close/>
                <a:moveTo>
                  <a:pt x="1071843" y="4640485"/>
                </a:moveTo>
                <a:cubicBezTo>
                  <a:pt x="1073702" y="4642137"/>
                  <a:pt x="1073238" y="4644719"/>
                  <a:pt x="1071843" y="4646577"/>
                </a:cubicBezTo>
                <a:cubicBezTo>
                  <a:pt x="1071534" y="4647404"/>
                  <a:pt x="1070759" y="4647920"/>
                  <a:pt x="1069830" y="4648126"/>
                </a:cubicBezTo>
                <a:cubicBezTo>
                  <a:pt x="1068901" y="4648230"/>
                  <a:pt x="1067816" y="4648126"/>
                  <a:pt x="1067041" y="4647713"/>
                </a:cubicBezTo>
                <a:cubicBezTo>
                  <a:pt x="1065957" y="4646887"/>
                  <a:pt x="1065957" y="4646887"/>
                  <a:pt x="1065028" y="4646061"/>
                </a:cubicBezTo>
                <a:cubicBezTo>
                  <a:pt x="1064874" y="4644409"/>
                  <a:pt x="1063789" y="4642654"/>
                  <a:pt x="1064408" y="4640898"/>
                </a:cubicBezTo>
                <a:cubicBezTo>
                  <a:pt x="1065802" y="4639143"/>
                  <a:pt x="1069985" y="4639763"/>
                  <a:pt x="1071843" y="4640485"/>
                </a:cubicBezTo>
                <a:close/>
                <a:moveTo>
                  <a:pt x="1681825" y="4640382"/>
                </a:moveTo>
                <a:cubicBezTo>
                  <a:pt x="1685078" y="4642757"/>
                  <a:pt x="1683529" y="4646990"/>
                  <a:pt x="1683839" y="4651431"/>
                </a:cubicBezTo>
                <a:cubicBezTo>
                  <a:pt x="1682909" y="4651637"/>
                  <a:pt x="1682290" y="4652773"/>
                  <a:pt x="1682599" y="4653599"/>
                </a:cubicBezTo>
                <a:cubicBezTo>
                  <a:pt x="1681980" y="4654735"/>
                  <a:pt x="1681360" y="4655871"/>
                  <a:pt x="1682290" y="4655561"/>
                </a:cubicBezTo>
                <a:cubicBezTo>
                  <a:pt x="1680431" y="4658968"/>
                  <a:pt x="1680586" y="4659794"/>
                  <a:pt x="1677953" y="4659794"/>
                </a:cubicBezTo>
                <a:cubicBezTo>
                  <a:pt x="1677023" y="4652979"/>
                  <a:pt x="1678417" y="4644306"/>
                  <a:pt x="1678727" y="4642344"/>
                </a:cubicBezTo>
                <a:cubicBezTo>
                  <a:pt x="1678882" y="4641414"/>
                  <a:pt x="1679192" y="4640795"/>
                  <a:pt x="1679656" y="4640588"/>
                </a:cubicBezTo>
                <a:cubicBezTo>
                  <a:pt x="1680276" y="4640279"/>
                  <a:pt x="1680896" y="4640279"/>
                  <a:pt x="1681825" y="4640382"/>
                </a:cubicBezTo>
                <a:close/>
                <a:moveTo>
                  <a:pt x="6682178" y="4639471"/>
                </a:moveTo>
                <a:cubicBezTo>
                  <a:pt x="6683107" y="4639883"/>
                  <a:pt x="6684966" y="4640090"/>
                  <a:pt x="6684656" y="4640813"/>
                </a:cubicBezTo>
                <a:cubicBezTo>
                  <a:pt x="6685430" y="4641226"/>
                  <a:pt x="6684811" y="4642775"/>
                  <a:pt x="6684811" y="4642775"/>
                </a:cubicBezTo>
                <a:cubicBezTo>
                  <a:pt x="6685585" y="4643188"/>
                  <a:pt x="6686360" y="4643601"/>
                  <a:pt x="6686825" y="4644840"/>
                </a:cubicBezTo>
                <a:cubicBezTo>
                  <a:pt x="6685585" y="4645046"/>
                  <a:pt x="6686515" y="4645563"/>
                  <a:pt x="6686050" y="4646285"/>
                </a:cubicBezTo>
                <a:cubicBezTo>
                  <a:pt x="6685740" y="4645150"/>
                  <a:pt x="6683262" y="4643704"/>
                  <a:pt x="6682023" y="4642052"/>
                </a:cubicBezTo>
                <a:cubicBezTo>
                  <a:pt x="6682333" y="4641329"/>
                  <a:pt x="6681868" y="4640193"/>
                  <a:pt x="6682178" y="4639471"/>
                </a:cubicBezTo>
                <a:close/>
                <a:moveTo>
                  <a:pt x="6011942" y="4639471"/>
                </a:moveTo>
                <a:cubicBezTo>
                  <a:pt x="6012406" y="4641845"/>
                  <a:pt x="6014110" y="4645046"/>
                  <a:pt x="6011631" y="4647628"/>
                </a:cubicBezTo>
                <a:cubicBezTo>
                  <a:pt x="6011322" y="4645872"/>
                  <a:pt x="6010392" y="4642465"/>
                  <a:pt x="6010857" y="4640710"/>
                </a:cubicBezTo>
                <a:cubicBezTo>
                  <a:pt x="6011167" y="4640090"/>
                  <a:pt x="6011477" y="4639574"/>
                  <a:pt x="6011942" y="4639471"/>
                </a:cubicBezTo>
                <a:close/>
                <a:moveTo>
                  <a:pt x="6675052" y="4638954"/>
                </a:moveTo>
                <a:cubicBezTo>
                  <a:pt x="6675052" y="4638954"/>
                  <a:pt x="6676292" y="4640606"/>
                  <a:pt x="6676292" y="4640606"/>
                </a:cubicBezTo>
                <a:cubicBezTo>
                  <a:pt x="6677066" y="4643084"/>
                  <a:pt x="6677376" y="4644220"/>
                  <a:pt x="6678615" y="4645872"/>
                </a:cubicBezTo>
                <a:cubicBezTo>
                  <a:pt x="6677840" y="4646492"/>
                  <a:pt x="6677376" y="4646699"/>
                  <a:pt x="6676911" y="4646492"/>
                </a:cubicBezTo>
                <a:cubicBezTo>
                  <a:pt x="6676447" y="4646389"/>
                  <a:pt x="6676137" y="4645976"/>
                  <a:pt x="6675982" y="4645356"/>
                </a:cubicBezTo>
                <a:cubicBezTo>
                  <a:pt x="6675982" y="4645356"/>
                  <a:pt x="6675517" y="4644117"/>
                  <a:pt x="6675207" y="4642878"/>
                </a:cubicBezTo>
                <a:cubicBezTo>
                  <a:pt x="6674743" y="4641742"/>
                  <a:pt x="6673968" y="4641329"/>
                  <a:pt x="6673968" y="4641329"/>
                </a:cubicBezTo>
                <a:cubicBezTo>
                  <a:pt x="6673658" y="4640090"/>
                  <a:pt x="6673968" y="4639264"/>
                  <a:pt x="6675052" y="4638954"/>
                </a:cubicBezTo>
                <a:close/>
                <a:moveTo>
                  <a:pt x="6656000" y="4638748"/>
                </a:moveTo>
                <a:cubicBezTo>
                  <a:pt x="6657084" y="4640813"/>
                  <a:pt x="6659098" y="4644427"/>
                  <a:pt x="6659098" y="4646699"/>
                </a:cubicBezTo>
                <a:cubicBezTo>
                  <a:pt x="6658943" y="4647525"/>
                  <a:pt x="6658633" y="4648041"/>
                  <a:pt x="6658014" y="4648454"/>
                </a:cubicBezTo>
                <a:cubicBezTo>
                  <a:pt x="6656929" y="4648764"/>
                  <a:pt x="6656620" y="4647525"/>
                  <a:pt x="6655845" y="4647111"/>
                </a:cubicBezTo>
                <a:cubicBezTo>
                  <a:pt x="6654761" y="4645563"/>
                  <a:pt x="6654916" y="4639161"/>
                  <a:pt x="6656000" y="4638748"/>
                </a:cubicBezTo>
                <a:close/>
                <a:moveTo>
                  <a:pt x="1270421" y="4638214"/>
                </a:moveTo>
                <a:lnTo>
                  <a:pt x="1269336" y="4641105"/>
                </a:lnTo>
                <a:lnTo>
                  <a:pt x="1270266" y="4641105"/>
                </a:lnTo>
                <a:cubicBezTo>
                  <a:pt x="1271505" y="4642964"/>
                  <a:pt x="1271350" y="4644306"/>
                  <a:pt x="1270576" y="4645235"/>
                </a:cubicBezTo>
                <a:lnTo>
                  <a:pt x="1267632" y="4646268"/>
                </a:lnTo>
                <a:lnTo>
                  <a:pt x="1266858" y="4648436"/>
                </a:lnTo>
                <a:cubicBezTo>
                  <a:pt x="1265464" y="4651534"/>
                  <a:pt x="1264070" y="4653909"/>
                  <a:pt x="1263605" y="4654838"/>
                </a:cubicBezTo>
                <a:cubicBezTo>
                  <a:pt x="1263141" y="4655664"/>
                  <a:pt x="1262676" y="4656077"/>
                  <a:pt x="1262211" y="4656180"/>
                </a:cubicBezTo>
                <a:cubicBezTo>
                  <a:pt x="1261591" y="4656283"/>
                  <a:pt x="1260972" y="4656077"/>
                  <a:pt x="1260197" y="4655664"/>
                </a:cubicBezTo>
                <a:cubicBezTo>
                  <a:pt x="1258029" y="4652050"/>
                  <a:pt x="1260972" y="4648539"/>
                  <a:pt x="1262211" y="4644203"/>
                </a:cubicBezTo>
                <a:cubicBezTo>
                  <a:pt x="1262985" y="4644203"/>
                  <a:pt x="1264070" y="4643376"/>
                  <a:pt x="1264070" y="4642550"/>
                </a:cubicBezTo>
                <a:cubicBezTo>
                  <a:pt x="1265000" y="4641724"/>
                  <a:pt x="1265928" y="4640795"/>
                  <a:pt x="1265000" y="4640795"/>
                </a:cubicBezTo>
                <a:cubicBezTo>
                  <a:pt x="1267787" y="4638214"/>
                  <a:pt x="1267942" y="4637284"/>
                  <a:pt x="1270421" y="4638214"/>
                </a:cubicBezTo>
                <a:close/>
                <a:moveTo>
                  <a:pt x="1436624" y="4638110"/>
                </a:moveTo>
                <a:cubicBezTo>
                  <a:pt x="1441426" y="4636768"/>
                  <a:pt x="1446693" y="4642447"/>
                  <a:pt x="1444059" y="4647713"/>
                </a:cubicBezTo>
                <a:cubicBezTo>
                  <a:pt x="1442201" y="4647300"/>
                  <a:pt x="1440651" y="4647816"/>
                  <a:pt x="1438793" y="4647404"/>
                </a:cubicBezTo>
                <a:cubicBezTo>
                  <a:pt x="1437708" y="4644099"/>
                  <a:pt x="1433681" y="4642447"/>
                  <a:pt x="1436624" y="4638110"/>
                </a:cubicBezTo>
                <a:close/>
                <a:moveTo>
                  <a:pt x="1481389" y="4637801"/>
                </a:moveTo>
                <a:cubicBezTo>
                  <a:pt x="1483403" y="4645958"/>
                  <a:pt x="1472715" y="4652256"/>
                  <a:pt x="1465435" y="4654425"/>
                </a:cubicBezTo>
                <a:lnTo>
                  <a:pt x="1466984" y="4649262"/>
                </a:lnTo>
                <a:lnTo>
                  <a:pt x="1465900" y="4648643"/>
                </a:lnTo>
                <a:cubicBezTo>
                  <a:pt x="1465435" y="4648126"/>
                  <a:pt x="1465125" y="4647507"/>
                  <a:pt x="1464196" y="4645648"/>
                </a:cubicBezTo>
                <a:cubicBezTo>
                  <a:pt x="1466210" y="4644099"/>
                  <a:pt x="1468068" y="4642447"/>
                  <a:pt x="1470082" y="4640898"/>
                </a:cubicBezTo>
                <a:cubicBezTo>
                  <a:pt x="1470392" y="4641724"/>
                  <a:pt x="1470856" y="4642447"/>
                  <a:pt x="1471321" y="4643067"/>
                </a:cubicBezTo>
                <a:lnTo>
                  <a:pt x="1471631" y="4643273"/>
                </a:lnTo>
                <a:close/>
                <a:moveTo>
                  <a:pt x="6464703" y="4637715"/>
                </a:moveTo>
                <a:lnTo>
                  <a:pt x="6464084" y="4642672"/>
                </a:lnTo>
                <a:lnTo>
                  <a:pt x="6461141" y="4645976"/>
                </a:lnTo>
                <a:lnTo>
                  <a:pt x="6460366" y="4649280"/>
                </a:lnTo>
                <a:cubicBezTo>
                  <a:pt x="6460366" y="4649280"/>
                  <a:pt x="6460521" y="4649280"/>
                  <a:pt x="6460831" y="4648557"/>
                </a:cubicBezTo>
                <a:cubicBezTo>
                  <a:pt x="6463000" y="4647834"/>
                  <a:pt x="6466098" y="4647008"/>
                  <a:pt x="6468886" y="4646492"/>
                </a:cubicBezTo>
                <a:lnTo>
                  <a:pt x="6470125" y="4646389"/>
                </a:lnTo>
                <a:close/>
                <a:moveTo>
                  <a:pt x="837331" y="4637594"/>
                </a:moveTo>
                <a:cubicBezTo>
                  <a:pt x="840428" y="4653392"/>
                  <a:pt x="847244" y="4667229"/>
                  <a:pt x="849412" y="4680342"/>
                </a:cubicBezTo>
                <a:cubicBezTo>
                  <a:pt x="836866" y="4672288"/>
                  <a:pt x="833768" y="4654218"/>
                  <a:pt x="828191" y="4639349"/>
                </a:cubicBezTo>
                <a:cubicBezTo>
                  <a:pt x="831290" y="4639143"/>
                  <a:pt x="832529" y="4636871"/>
                  <a:pt x="837331" y="4637594"/>
                </a:cubicBezTo>
                <a:close/>
                <a:moveTo>
                  <a:pt x="1550202" y="4636807"/>
                </a:moveTo>
                <a:cubicBezTo>
                  <a:pt x="1554384" y="4636251"/>
                  <a:pt x="1558683" y="4635993"/>
                  <a:pt x="1563949" y="4637594"/>
                </a:cubicBezTo>
                <a:lnTo>
                  <a:pt x="1560232" y="4640485"/>
                </a:lnTo>
                <a:lnTo>
                  <a:pt x="1560851" y="4642344"/>
                </a:lnTo>
                <a:lnTo>
                  <a:pt x="1559457" y="4647300"/>
                </a:lnTo>
                <a:lnTo>
                  <a:pt x="1566117" y="4645338"/>
                </a:lnTo>
                <a:cubicBezTo>
                  <a:pt x="1569061" y="4645235"/>
                  <a:pt x="1571849" y="4645648"/>
                  <a:pt x="1574328" y="4646681"/>
                </a:cubicBezTo>
                <a:cubicBezTo>
                  <a:pt x="1582537" y="4650088"/>
                  <a:pt x="1588113" y="4659381"/>
                  <a:pt x="1587184" y="4670016"/>
                </a:cubicBezTo>
                <a:cubicBezTo>
                  <a:pt x="1585944" y="4670430"/>
                  <a:pt x="1584860" y="4670843"/>
                  <a:pt x="1585170" y="4671978"/>
                </a:cubicBezTo>
                <a:cubicBezTo>
                  <a:pt x="1582537" y="4673217"/>
                  <a:pt x="1579594" y="4673734"/>
                  <a:pt x="1576806" y="4673527"/>
                </a:cubicBezTo>
                <a:lnTo>
                  <a:pt x="1571694" y="4672495"/>
                </a:lnTo>
                <a:lnTo>
                  <a:pt x="1573243" y="4675179"/>
                </a:lnTo>
                <a:lnTo>
                  <a:pt x="1572158" y="4676315"/>
                </a:lnTo>
                <a:lnTo>
                  <a:pt x="1572933" y="4676522"/>
                </a:lnTo>
                <a:cubicBezTo>
                  <a:pt x="1574173" y="4676728"/>
                  <a:pt x="1575257" y="4677141"/>
                  <a:pt x="1574792" y="4676315"/>
                </a:cubicBezTo>
                <a:cubicBezTo>
                  <a:pt x="1578354" y="4677244"/>
                  <a:pt x="1578974" y="4676832"/>
                  <a:pt x="1579903" y="4679516"/>
                </a:cubicBezTo>
                <a:cubicBezTo>
                  <a:pt x="1573862" y="4682407"/>
                  <a:pt x="1565808" y="4683440"/>
                  <a:pt x="1563949" y="4683543"/>
                </a:cubicBezTo>
                <a:cubicBezTo>
                  <a:pt x="1563020" y="4683646"/>
                  <a:pt x="1562400" y="4683440"/>
                  <a:pt x="1561935" y="4683027"/>
                </a:cubicBezTo>
                <a:cubicBezTo>
                  <a:pt x="1561626" y="4682614"/>
                  <a:pt x="1561471" y="4681994"/>
                  <a:pt x="1561316" y="4680962"/>
                </a:cubicBezTo>
                <a:lnTo>
                  <a:pt x="1563795" y="4678587"/>
                </a:lnTo>
                <a:lnTo>
                  <a:pt x="1561780" y="4677761"/>
                </a:lnTo>
                <a:lnTo>
                  <a:pt x="1559767" y="4675386"/>
                </a:lnTo>
                <a:lnTo>
                  <a:pt x="1559612" y="4677864"/>
                </a:lnTo>
                <a:cubicBezTo>
                  <a:pt x="1555275" y="4673837"/>
                  <a:pt x="1551867" y="4669500"/>
                  <a:pt x="1544277" y="4666506"/>
                </a:cubicBezTo>
                <a:cubicBezTo>
                  <a:pt x="1545516" y="4664338"/>
                  <a:pt x="1542728" y="4663408"/>
                  <a:pt x="1544897" y="4661033"/>
                </a:cubicBezTo>
                <a:cubicBezTo>
                  <a:pt x="1549853" y="4659484"/>
                  <a:pt x="1558218" y="4665060"/>
                  <a:pt x="1560077" y="4671462"/>
                </a:cubicBezTo>
                <a:lnTo>
                  <a:pt x="1559922" y="4674044"/>
                </a:lnTo>
                <a:lnTo>
                  <a:pt x="1564569" y="4670326"/>
                </a:lnTo>
                <a:lnTo>
                  <a:pt x="1568441" y="4671049"/>
                </a:lnTo>
                <a:lnTo>
                  <a:pt x="1565034" y="4669190"/>
                </a:lnTo>
                <a:cubicBezTo>
                  <a:pt x="1561626" y="4666609"/>
                  <a:pt x="1558992" y="4663099"/>
                  <a:pt x="1557598" y="4659175"/>
                </a:cubicBezTo>
                <a:cubicBezTo>
                  <a:pt x="1556979" y="4657419"/>
                  <a:pt x="1556514" y="4655561"/>
                  <a:pt x="1556360" y="4653702"/>
                </a:cubicBezTo>
                <a:lnTo>
                  <a:pt x="1557133" y="4648333"/>
                </a:lnTo>
                <a:lnTo>
                  <a:pt x="1555895" y="4648230"/>
                </a:lnTo>
                <a:cubicBezTo>
                  <a:pt x="1554500" y="4647713"/>
                  <a:pt x="1553726" y="4646887"/>
                  <a:pt x="1553416" y="4645545"/>
                </a:cubicBezTo>
                <a:lnTo>
                  <a:pt x="1553571" y="4643273"/>
                </a:lnTo>
                <a:lnTo>
                  <a:pt x="1549543" y="4644099"/>
                </a:lnTo>
                <a:cubicBezTo>
                  <a:pt x="1543658" y="4644306"/>
                  <a:pt x="1538081" y="4642550"/>
                  <a:pt x="1537152" y="4637801"/>
                </a:cubicBezTo>
                <a:cubicBezTo>
                  <a:pt x="1541954" y="4638214"/>
                  <a:pt x="1546020" y="4637362"/>
                  <a:pt x="1550202" y="4636807"/>
                </a:cubicBezTo>
                <a:close/>
                <a:moveTo>
                  <a:pt x="6410180" y="4636579"/>
                </a:moveTo>
                <a:cubicBezTo>
                  <a:pt x="6412813" y="4636373"/>
                  <a:pt x="6414517" y="4637096"/>
                  <a:pt x="6415446" y="4638644"/>
                </a:cubicBezTo>
                <a:lnTo>
                  <a:pt x="6416221" y="4644840"/>
                </a:lnTo>
                <a:lnTo>
                  <a:pt x="6419629" y="4644324"/>
                </a:lnTo>
                <a:cubicBezTo>
                  <a:pt x="6421797" y="4647421"/>
                  <a:pt x="6422262" y="4650106"/>
                  <a:pt x="6422881" y="4652068"/>
                </a:cubicBezTo>
                <a:cubicBezTo>
                  <a:pt x="6421023" y="4653307"/>
                  <a:pt x="6419938" y="4654856"/>
                  <a:pt x="6418080" y="4656198"/>
                </a:cubicBezTo>
                <a:cubicBezTo>
                  <a:pt x="6412968" y="4655888"/>
                  <a:pt x="6411109" y="4652377"/>
                  <a:pt x="6411574" y="4649177"/>
                </a:cubicBezTo>
                <a:lnTo>
                  <a:pt x="6414052" y="4645356"/>
                </a:lnTo>
                <a:lnTo>
                  <a:pt x="6412968" y="4645150"/>
                </a:lnTo>
                <a:cubicBezTo>
                  <a:pt x="6412194" y="4644737"/>
                  <a:pt x="6411729" y="4644014"/>
                  <a:pt x="6411419" y="4643084"/>
                </a:cubicBezTo>
                <a:cubicBezTo>
                  <a:pt x="6410799" y="4641329"/>
                  <a:pt x="6410799" y="4638748"/>
                  <a:pt x="6410180" y="4636579"/>
                </a:cubicBezTo>
                <a:close/>
                <a:moveTo>
                  <a:pt x="5954785" y="4636063"/>
                </a:moveTo>
                <a:cubicBezTo>
                  <a:pt x="5957263" y="4636166"/>
                  <a:pt x="5958967" y="4636166"/>
                  <a:pt x="5960516" y="4637922"/>
                </a:cubicBezTo>
                <a:cubicBezTo>
                  <a:pt x="5962685" y="4640503"/>
                  <a:pt x="5963769" y="4646595"/>
                  <a:pt x="5960981" y="4649177"/>
                </a:cubicBezTo>
                <a:cubicBezTo>
                  <a:pt x="5958192" y="4652584"/>
                  <a:pt x="5955559" y="4653410"/>
                  <a:pt x="5953081" y="4653410"/>
                </a:cubicBezTo>
                <a:cubicBezTo>
                  <a:pt x="5953081" y="4653410"/>
                  <a:pt x="5953081" y="4653410"/>
                  <a:pt x="5953855" y="4653410"/>
                </a:cubicBezTo>
                <a:lnTo>
                  <a:pt x="5955404" y="4655269"/>
                </a:lnTo>
                <a:lnTo>
                  <a:pt x="5956798" y="4655269"/>
                </a:lnTo>
                <a:cubicBezTo>
                  <a:pt x="5957728" y="4655269"/>
                  <a:pt x="5958192" y="4655269"/>
                  <a:pt x="5958502" y="4655269"/>
                </a:cubicBezTo>
                <a:cubicBezTo>
                  <a:pt x="5958657" y="4656095"/>
                  <a:pt x="5958657" y="4656095"/>
                  <a:pt x="5958657" y="4656095"/>
                </a:cubicBezTo>
                <a:lnTo>
                  <a:pt x="5956334" y="4656508"/>
                </a:lnTo>
                <a:lnTo>
                  <a:pt x="5958812" y="4659606"/>
                </a:lnTo>
                <a:lnTo>
                  <a:pt x="5960826" y="4659296"/>
                </a:lnTo>
                <a:lnTo>
                  <a:pt x="5959586" y="4660844"/>
                </a:lnTo>
                <a:lnTo>
                  <a:pt x="5960826" y="4663116"/>
                </a:lnTo>
                <a:cubicBezTo>
                  <a:pt x="5961135" y="4664149"/>
                  <a:pt x="5961290" y="4664975"/>
                  <a:pt x="5960981" y="4665595"/>
                </a:cubicBezTo>
                <a:cubicBezTo>
                  <a:pt x="5960206" y="4665595"/>
                  <a:pt x="5959277" y="4665595"/>
                  <a:pt x="5958657" y="4664768"/>
                </a:cubicBezTo>
                <a:cubicBezTo>
                  <a:pt x="5957883" y="4663839"/>
                  <a:pt x="5958657" y="4663839"/>
                  <a:pt x="5957883" y="4663839"/>
                </a:cubicBezTo>
                <a:cubicBezTo>
                  <a:pt x="5957108" y="4662910"/>
                  <a:pt x="5957108" y="4663839"/>
                  <a:pt x="5957108" y="4663839"/>
                </a:cubicBezTo>
                <a:lnTo>
                  <a:pt x="5957108" y="4663529"/>
                </a:lnTo>
                <a:lnTo>
                  <a:pt x="5953545" y="4665078"/>
                </a:lnTo>
                <a:cubicBezTo>
                  <a:pt x="5951222" y="4665595"/>
                  <a:pt x="5949053" y="4665801"/>
                  <a:pt x="5947814" y="4668073"/>
                </a:cubicBezTo>
                <a:cubicBezTo>
                  <a:pt x="5946730" y="4666420"/>
                  <a:pt x="5946730" y="4666317"/>
                  <a:pt x="5947350" y="4664562"/>
                </a:cubicBezTo>
                <a:cubicBezTo>
                  <a:pt x="5948124" y="4664459"/>
                  <a:pt x="5947969" y="4663529"/>
                  <a:pt x="5949053" y="4664459"/>
                </a:cubicBezTo>
                <a:cubicBezTo>
                  <a:pt x="5949673" y="4663013"/>
                  <a:pt x="5951687" y="4661567"/>
                  <a:pt x="5954010" y="4660535"/>
                </a:cubicBezTo>
                <a:lnTo>
                  <a:pt x="5954475" y="4660432"/>
                </a:lnTo>
                <a:lnTo>
                  <a:pt x="5952926" y="4659606"/>
                </a:lnTo>
                <a:cubicBezTo>
                  <a:pt x="5952152" y="4659193"/>
                  <a:pt x="5951687" y="4658986"/>
                  <a:pt x="5950912" y="4658573"/>
                </a:cubicBezTo>
                <a:lnTo>
                  <a:pt x="5950757" y="4658367"/>
                </a:lnTo>
                <a:lnTo>
                  <a:pt x="5950293" y="4658573"/>
                </a:lnTo>
                <a:cubicBezTo>
                  <a:pt x="5949209" y="4658779"/>
                  <a:pt x="5948279" y="4658883"/>
                  <a:pt x="5947040" y="4658470"/>
                </a:cubicBezTo>
                <a:cubicBezTo>
                  <a:pt x="5947040" y="4658470"/>
                  <a:pt x="5947040" y="4658470"/>
                  <a:pt x="5947969" y="4658367"/>
                </a:cubicBezTo>
                <a:cubicBezTo>
                  <a:pt x="5947969" y="4658367"/>
                  <a:pt x="5947040" y="4658470"/>
                  <a:pt x="5947040" y="4657644"/>
                </a:cubicBezTo>
                <a:lnTo>
                  <a:pt x="5949673" y="4656714"/>
                </a:lnTo>
                <a:lnTo>
                  <a:pt x="5949364" y="4656198"/>
                </a:lnTo>
                <a:cubicBezTo>
                  <a:pt x="5949053" y="4655475"/>
                  <a:pt x="5948589" y="4654649"/>
                  <a:pt x="5947969" y="4653307"/>
                </a:cubicBezTo>
                <a:cubicBezTo>
                  <a:pt x="5948899" y="4651551"/>
                  <a:pt x="5949053" y="4651551"/>
                  <a:pt x="5949828" y="4651551"/>
                </a:cubicBezTo>
                <a:cubicBezTo>
                  <a:pt x="5949053" y="4651551"/>
                  <a:pt x="5949053" y="4650726"/>
                  <a:pt x="5948279" y="4649796"/>
                </a:cubicBezTo>
                <a:cubicBezTo>
                  <a:pt x="5944407" y="4647215"/>
                  <a:pt x="5946421" y="4642878"/>
                  <a:pt x="5950293" y="4638644"/>
                </a:cubicBezTo>
                <a:cubicBezTo>
                  <a:pt x="5951067" y="4639471"/>
                  <a:pt x="5953081" y="4636889"/>
                  <a:pt x="5954785" y="4636063"/>
                </a:cubicBezTo>
                <a:close/>
                <a:moveTo>
                  <a:pt x="1501836" y="4635632"/>
                </a:moveTo>
                <a:cubicBezTo>
                  <a:pt x="1504004" y="4639040"/>
                  <a:pt x="1504314" y="4640176"/>
                  <a:pt x="1504314" y="4643996"/>
                </a:cubicBezTo>
                <a:cubicBezTo>
                  <a:pt x="1501991" y="4645442"/>
                  <a:pt x="1499667" y="4645854"/>
                  <a:pt x="1497344" y="4645854"/>
                </a:cubicBezTo>
                <a:cubicBezTo>
                  <a:pt x="1495175" y="4645751"/>
                  <a:pt x="1492851" y="4645235"/>
                  <a:pt x="1490683" y="4644719"/>
                </a:cubicBezTo>
                <a:cubicBezTo>
                  <a:pt x="1484023" y="4634600"/>
                  <a:pt x="1496105" y="4636768"/>
                  <a:pt x="1501836" y="4635632"/>
                </a:cubicBezTo>
                <a:close/>
                <a:moveTo>
                  <a:pt x="1324169" y="4635219"/>
                </a:moveTo>
                <a:cubicBezTo>
                  <a:pt x="1324479" y="4636045"/>
                  <a:pt x="1324635" y="4636871"/>
                  <a:pt x="1324169" y="4638007"/>
                </a:cubicBezTo>
                <a:cubicBezTo>
                  <a:pt x="1323550" y="4639143"/>
                  <a:pt x="1323395" y="4638420"/>
                  <a:pt x="1323705" y="4639143"/>
                </a:cubicBezTo>
                <a:cubicBezTo>
                  <a:pt x="1323085" y="4640279"/>
                  <a:pt x="1323860" y="4640072"/>
                  <a:pt x="1323860" y="4640072"/>
                </a:cubicBezTo>
                <a:cubicBezTo>
                  <a:pt x="1323860" y="4640072"/>
                  <a:pt x="1323085" y="4640382"/>
                  <a:pt x="1323085" y="4640382"/>
                </a:cubicBezTo>
                <a:cubicBezTo>
                  <a:pt x="1323085" y="4640382"/>
                  <a:pt x="1323085" y="4640279"/>
                  <a:pt x="1322002" y="4642654"/>
                </a:cubicBezTo>
                <a:cubicBezTo>
                  <a:pt x="1321227" y="4645751"/>
                  <a:pt x="1321381" y="4646474"/>
                  <a:pt x="1321071" y="4648436"/>
                </a:cubicBezTo>
                <a:lnTo>
                  <a:pt x="1320917" y="4648849"/>
                </a:lnTo>
                <a:lnTo>
                  <a:pt x="1322466" y="4651431"/>
                </a:lnTo>
                <a:cubicBezTo>
                  <a:pt x="1323860" y="4655767"/>
                  <a:pt x="1322621" y="4661240"/>
                  <a:pt x="1319058" y="4664131"/>
                </a:cubicBezTo>
                <a:lnTo>
                  <a:pt x="1317045" y="4665060"/>
                </a:lnTo>
                <a:lnTo>
                  <a:pt x="1323240" y="4666300"/>
                </a:lnTo>
                <a:cubicBezTo>
                  <a:pt x="1327887" y="4668261"/>
                  <a:pt x="1332069" y="4671772"/>
                  <a:pt x="1332069" y="4676418"/>
                </a:cubicBezTo>
                <a:cubicBezTo>
                  <a:pt x="1326184" y="4674250"/>
                  <a:pt x="1320917" y="4671669"/>
                  <a:pt x="1312553" y="4671566"/>
                </a:cubicBezTo>
                <a:cubicBezTo>
                  <a:pt x="1312707" y="4669087"/>
                  <a:pt x="1309610" y="4669294"/>
                  <a:pt x="1310539" y="4666300"/>
                </a:cubicBezTo>
                <a:lnTo>
                  <a:pt x="1314101" y="4665370"/>
                </a:lnTo>
                <a:lnTo>
                  <a:pt x="1310849" y="4662066"/>
                </a:lnTo>
                <a:lnTo>
                  <a:pt x="1309919" y="4659175"/>
                </a:lnTo>
                <a:lnTo>
                  <a:pt x="1303569" y="4658452"/>
                </a:lnTo>
                <a:cubicBezTo>
                  <a:pt x="1304188" y="4657316"/>
                  <a:pt x="1301245" y="4656593"/>
                  <a:pt x="1300006" y="4655354"/>
                </a:cubicBezTo>
                <a:cubicBezTo>
                  <a:pt x="1299231" y="4652876"/>
                  <a:pt x="1298767" y="4651327"/>
                  <a:pt x="1299851" y="4648952"/>
                </a:cubicBezTo>
                <a:lnTo>
                  <a:pt x="1298767" y="4644203"/>
                </a:lnTo>
                <a:cubicBezTo>
                  <a:pt x="1299541" y="4639246"/>
                  <a:pt x="1305272" y="4635736"/>
                  <a:pt x="1308989" y="4637698"/>
                </a:cubicBezTo>
                <a:cubicBezTo>
                  <a:pt x="1310694" y="4638523"/>
                  <a:pt x="1311933" y="4640485"/>
                  <a:pt x="1312243" y="4643893"/>
                </a:cubicBezTo>
                <a:lnTo>
                  <a:pt x="1311778" y="4644203"/>
                </a:lnTo>
                <a:lnTo>
                  <a:pt x="1313946" y="4645442"/>
                </a:lnTo>
                <a:lnTo>
                  <a:pt x="1315805" y="4645235"/>
                </a:lnTo>
                <a:lnTo>
                  <a:pt x="1316734" y="4645648"/>
                </a:lnTo>
                <a:lnTo>
                  <a:pt x="1319833" y="4639969"/>
                </a:lnTo>
                <a:cubicBezTo>
                  <a:pt x="1321381" y="4637387"/>
                  <a:pt x="1322930" y="4635322"/>
                  <a:pt x="1324169" y="4635219"/>
                </a:cubicBezTo>
                <a:close/>
                <a:moveTo>
                  <a:pt x="6726633" y="4634928"/>
                </a:moveTo>
                <a:cubicBezTo>
                  <a:pt x="6728492" y="4635031"/>
                  <a:pt x="6730815" y="4636373"/>
                  <a:pt x="6731125" y="4637509"/>
                </a:cubicBezTo>
                <a:cubicBezTo>
                  <a:pt x="6731590" y="4638644"/>
                  <a:pt x="6731125" y="4639471"/>
                  <a:pt x="6731125" y="4639471"/>
                </a:cubicBezTo>
                <a:cubicBezTo>
                  <a:pt x="6729886" y="4640193"/>
                  <a:pt x="6728492" y="4640503"/>
                  <a:pt x="6727407" y="4640297"/>
                </a:cubicBezTo>
                <a:cubicBezTo>
                  <a:pt x="6726168" y="4640090"/>
                  <a:pt x="6725084" y="4639264"/>
                  <a:pt x="6724464" y="4637509"/>
                </a:cubicBezTo>
                <a:cubicBezTo>
                  <a:pt x="6724154" y="4636373"/>
                  <a:pt x="6723690" y="4635134"/>
                  <a:pt x="6724464" y="4635547"/>
                </a:cubicBezTo>
                <a:cubicBezTo>
                  <a:pt x="6724774" y="4634824"/>
                  <a:pt x="6725549" y="4635237"/>
                  <a:pt x="6726633" y="4634928"/>
                </a:cubicBezTo>
                <a:close/>
                <a:moveTo>
                  <a:pt x="1760048" y="4634909"/>
                </a:moveTo>
                <a:lnTo>
                  <a:pt x="1759893" y="4635529"/>
                </a:lnTo>
                <a:lnTo>
                  <a:pt x="1761597" y="4635529"/>
                </a:lnTo>
                <a:lnTo>
                  <a:pt x="1760822" y="4635219"/>
                </a:lnTo>
                <a:lnTo>
                  <a:pt x="1760668" y="4635426"/>
                </a:lnTo>
                <a:cubicBezTo>
                  <a:pt x="1760513" y="4635013"/>
                  <a:pt x="1760202" y="4634806"/>
                  <a:pt x="1760048" y="4634909"/>
                </a:cubicBezTo>
                <a:close/>
                <a:moveTo>
                  <a:pt x="870169" y="4634600"/>
                </a:moveTo>
                <a:cubicBezTo>
                  <a:pt x="871872" y="4638523"/>
                  <a:pt x="867845" y="4642550"/>
                  <a:pt x="864438" y="4641931"/>
                </a:cubicBezTo>
                <a:cubicBezTo>
                  <a:pt x="860565" y="4636871"/>
                  <a:pt x="867225" y="4633154"/>
                  <a:pt x="870169" y="4634600"/>
                </a:cubicBezTo>
                <a:close/>
                <a:moveTo>
                  <a:pt x="5759151" y="4634308"/>
                </a:moveTo>
                <a:cubicBezTo>
                  <a:pt x="5763952" y="4634928"/>
                  <a:pt x="5765811" y="4641433"/>
                  <a:pt x="5762559" y="4644117"/>
                </a:cubicBezTo>
                <a:cubicBezTo>
                  <a:pt x="5761939" y="4644014"/>
                  <a:pt x="5761164" y="4644014"/>
                  <a:pt x="5760390" y="4644014"/>
                </a:cubicBezTo>
                <a:cubicBezTo>
                  <a:pt x="5759615" y="4644014"/>
                  <a:pt x="5758686" y="4643807"/>
                  <a:pt x="5757757" y="4643395"/>
                </a:cubicBezTo>
                <a:cubicBezTo>
                  <a:pt x="5755743" y="4639367"/>
                  <a:pt x="5756518" y="4636373"/>
                  <a:pt x="5759151" y="4634308"/>
                </a:cubicBezTo>
                <a:close/>
                <a:moveTo>
                  <a:pt x="1147123" y="4634083"/>
                </a:moveTo>
                <a:cubicBezTo>
                  <a:pt x="1147123" y="4634083"/>
                  <a:pt x="1148363" y="4634393"/>
                  <a:pt x="1149446" y="4634703"/>
                </a:cubicBezTo>
                <a:cubicBezTo>
                  <a:pt x="1150686" y="4635013"/>
                  <a:pt x="1151305" y="4634600"/>
                  <a:pt x="1151305" y="4634600"/>
                </a:cubicBezTo>
                <a:cubicBezTo>
                  <a:pt x="1152544" y="4634909"/>
                  <a:pt x="1153009" y="4635736"/>
                  <a:pt x="1152854" y="4636975"/>
                </a:cubicBezTo>
                <a:cubicBezTo>
                  <a:pt x="1152854" y="4636975"/>
                  <a:pt x="1150996" y="4637078"/>
                  <a:pt x="1150996" y="4637078"/>
                </a:cubicBezTo>
                <a:cubicBezTo>
                  <a:pt x="1148672" y="4636355"/>
                  <a:pt x="1147433" y="4636148"/>
                  <a:pt x="1145574" y="4636252"/>
                </a:cubicBezTo>
                <a:cubicBezTo>
                  <a:pt x="1145265" y="4634186"/>
                  <a:pt x="1145884" y="4633774"/>
                  <a:pt x="1147123" y="4634083"/>
                </a:cubicBezTo>
                <a:close/>
                <a:moveTo>
                  <a:pt x="1202731" y="4633877"/>
                </a:moveTo>
                <a:lnTo>
                  <a:pt x="1203816" y="4638730"/>
                </a:lnTo>
                <a:lnTo>
                  <a:pt x="1205054" y="4637801"/>
                </a:lnTo>
                <a:cubicBezTo>
                  <a:pt x="1205519" y="4637078"/>
                  <a:pt x="1207223" y="4639143"/>
                  <a:pt x="1207223" y="4639143"/>
                </a:cubicBezTo>
                <a:cubicBezTo>
                  <a:pt x="1207223" y="4639763"/>
                  <a:pt x="1206603" y="4640485"/>
                  <a:pt x="1205829" y="4641105"/>
                </a:cubicBezTo>
                <a:lnTo>
                  <a:pt x="1204744" y="4641931"/>
                </a:lnTo>
                <a:lnTo>
                  <a:pt x="1207687" y="4648023"/>
                </a:lnTo>
                <a:cubicBezTo>
                  <a:pt x="1210011" y="4652360"/>
                  <a:pt x="1211715" y="4656490"/>
                  <a:pt x="1210011" y="4660310"/>
                </a:cubicBezTo>
                <a:cubicBezTo>
                  <a:pt x="1208617" y="4658039"/>
                  <a:pt x="1206293" y="4655664"/>
                  <a:pt x="1203970" y="4653289"/>
                </a:cubicBezTo>
                <a:lnTo>
                  <a:pt x="1199788" y="4648539"/>
                </a:lnTo>
                <a:lnTo>
                  <a:pt x="1199788" y="4648849"/>
                </a:lnTo>
                <a:cubicBezTo>
                  <a:pt x="1199323" y="4649366"/>
                  <a:pt x="1198549" y="4649572"/>
                  <a:pt x="1197310" y="4649985"/>
                </a:cubicBezTo>
                <a:cubicBezTo>
                  <a:pt x="1197000" y="4649159"/>
                  <a:pt x="1196691" y="4648436"/>
                  <a:pt x="1196845" y="4647816"/>
                </a:cubicBezTo>
                <a:lnTo>
                  <a:pt x="1198084" y="4646577"/>
                </a:lnTo>
                <a:lnTo>
                  <a:pt x="1197774" y="4646268"/>
                </a:lnTo>
                <a:cubicBezTo>
                  <a:pt x="1194676" y="4641621"/>
                  <a:pt x="1194366" y="4637181"/>
                  <a:pt x="1202731" y="4633877"/>
                </a:cubicBezTo>
                <a:close/>
                <a:moveTo>
                  <a:pt x="1426092" y="4632328"/>
                </a:moveTo>
                <a:cubicBezTo>
                  <a:pt x="1428105" y="4635013"/>
                  <a:pt x="1426866" y="4636458"/>
                  <a:pt x="1425162" y="4636562"/>
                </a:cubicBezTo>
                <a:cubicBezTo>
                  <a:pt x="1423458" y="4636768"/>
                  <a:pt x="1421290" y="4635529"/>
                  <a:pt x="1421600" y="4633257"/>
                </a:cubicBezTo>
                <a:cubicBezTo>
                  <a:pt x="1422683" y="4632947"/>
                  <a:pt x="1424233" y="4632018"/>
                  <a:pt x="1426092" y="4632328"/>
                </a:cubicBezTo>
                <a:close/>
                <a:moveTo>
                  <a:pt x="727354" y="4632121"/>
                </a:moveTo>
                <a:cubicBezTo>
                  <a:pt x="729058" y="4633257"/>
                  <a:pt x="730452" y="4635426"/>
                  <a:pt x="730762" y="4638833"/>
                </a:cubicBezTo>
                <a:cubicBezTo>
                  <a:pt x="726580" y="4639763"/>
                  <a:pt x="724721" y="4642241"/>
                  <a:pt x="721933" y="4642757"/>
                </a:cubicBezTo>
                <a:cubicBezTo>
                  <a:pt x="720849" y="4642964"/>
                  <a:pt x="719919" y="4642964"/>
                  <a:pt x="718525" y="4642550"/>
                </a:cubicBezTo>
                <a:cubicBezTo>
                  <a:pt x="714033" y="4634393"/>
                  <a:pt x="722243" y="4628714"/>
                  <a:pt x="727354" y="4632121"/>
                </a:cubicBezTo>
                <a:close/>
                <a:moveTo>
                  <a:pt x="1644805" y="4631605"/>
                </a:moveTo>
                <a:cubicBezTo>
                  <a:pt x="1647283" y="4631915"/>
                  <a:pt x="1649916" y="4632844"/>
                  <a:pt x="1652240" y="4634497"/>
                </a:cubicBezTo>
                <a:lnTo>
                  <a:pt x="1656887" y="4639556"/>
                </a:lnTo>
                <a:lnTo>
                  <a:pt x="1657816" y="4638523"/>
                </a:lnTo>
                <a:cubicBezTo>
                  <a:pt x="1661843" y="4639349"/>
                  <a:pt x="1662774" y="4641724"/>
                  <a:pt x="1665251" y="4643376"/>
                </a:cubicBezTo>
                <a:cubicBezTo>
                  <a:pt x="1663857" y="4649985"/>
                  <a:pt x="1660295" y="4651740"/>
                  <a:pt x="1657506" y="4650811"/>
                </a:cubicBezTo>
                <a:cubicBezTo>
                  <a:pt x="1656577" y="4650501"/>
                  <a:pt x="1655803" y="4649881"/>
                  <a:pt x="1655028" y="4649159"/>
                </a:cubicBezTo>
                <a:lnTo>
                  <a:pt x="1654253" y="4646474"/>
                </a:lnTo>
                <a:lnTo>
                  <a:pt x="1651931" y="4648436"/>
                </a:lnTo>
                <a:lnTo>
                  <a:pt x="1650381" y="4650604"/>
                </a:lnTo>
                <a:lnTo>
                  <a:pt x="1652240" y="4651017"/>
                </a:lnTo>
                <a:cubicBezTo>
                  <a:pt x="1652240" y="4651843"/>
                  <a:pt x="1652395" y="4651843"/>
                  <a:pt x="1651466" y="4651947"/>
                </a:cubicBezTo>
                <a:cubicBezTo>
                  <a:pt x="1651621" y="4652050"/>
                  <a:pt x="1651621" y="4652050"/>
                  <a:pt x="1651775" y="4652050"/>
                </a:cubicBezTo>
                <a:cubicBezTo>
                  <a:pt x="1651155" y="4652566"/>
                  <a:pt x="1650536" y="4652979"/>
                  <a:pt x="1649916" y="4652979"/>
                </a:cubicBezTo>
                <a:lnTo>
                  <a:pt x="1648833" y="4652566"/>
                </a:lnTo>
                <a:lnTo>
                  <a:pt x="1647128" y="4654632"/>
                </a:lnTo>
                <a:cubicBezTo>
                  <a:pt x="1645579" y="4656490"/>
                  <a:pt x="1644030" y="4658245"/>
                  <a:pt x="1642017" y="4659588"/>
                </a:cubicBezTo>
                <a:lnTo>
                  <a:pt x="1637370" y="4661549"/>
                </a:lnTo>
                <a:lnTo>
                  <a:pt x="1637525" y="4661756"/>
                </a:lnTo>
                <a:cubicBezTo>
                  <a:pt x="1637370" y="4667951"/>
                  <a:pt x="1633497" y="4670120"/>
                  <a:pt x="1628851" y="4670533"/>
                </a:cubicBezTo>
                <a:cubicBezTo>
                  <a:pt x="1627301" y="4670636"/>
                  <a:pt x="1625598" y="4670636"/>
                  <a:pt x="1624049" y="4670430"/>
                </a:cubicBezTo>
                <a:cubicBezTo>
                  <a:pt x="1621726" y="4670326"/>
                  <a:pt x="1619712" y="4669913"/>
                  <a:pt x="1617699" y="4669500"/>
                </a:cubicBezTo>
                <a:cubicBezTo>
                  <a:pt x="1613671" y="4668881"/>
                  <a:pt x="1609489" y="4667951"/>
                  <a:pt x="1607630" y="4665680"/>
                </a:cubicBezTo>
                <a:cubicBezTo>
                  <a:pt x="1607010" y="4664854"/>
                  <a:pt x="1606546" y="4663924"/>
                  <a:pt x="1606700" y="4662892"/>
                </a:cubicBezTo>
                <a:cubicBezTo>
                  <a:pt x="1606391" y="4656593"/>
                  <a:pt x="1612896" y="4652153"/>
                  <a:pt x="1620641" y="4653599"/>
                </a:cubicBezTo>
                <a:lnTo>
                  <a:pt x="1627456" y="4655457"/>
                </a:lnTo>
                <a:lnTo>
                  <a:pt x="1625907" y="4652463"/>
                </a:lnTo>
                <a:cubicBezTo>
                  <a:pt x="1622810" y="4641621"/>
                  <a:pt x="1633497" y="4630263"/>
                  <a:pt x="1644805" y="4631605"/>
                </a:cubicBezTo>
                <a:close/>
                <a:moveTo>
                  <a:pt x="1134886" y="4631399"/>
                </a:moveTo>
                <a:cubicBezTo>
                  <a:pt x="1139688" y="4631399"/>
                  <a:pt x="1141857" y="4633257"/>
                  <a:pt x="1141237" y="4636768"/>
                </a:cubicBezTo>
                <a:cubicBezTo>
                  <a:pt x="1140618" y="4637284"/>
                  <a:pt x="1138139" y="4637904"/>
                  <a:pt x="1138604" y="4638627"/>
                </a:cubicBezTo>
                <a:cubicBezTo>
                  <a:pt x="1135971" y="4637904"/>
                  <a:pt x="1133028" y="4636768"/>
                  <a:pt x="1131634" y="4635013"/>
                </a:cubicBezTo>
                <a:cubicBezTo>
                  <a:pt x="1131169" y="4634393"/>
                  <a:pt x="1131014" y="4633670"/>
                  <a:pt x="1131014" y="4632947"/>
                </a:cubicBezTo>
                <a:cubicBezTo>
                  <a:pt x="1130704" y="4630986"/>
                  <a:pt x="1132563" y="4630882"/>
                  <a:pt x="1134886" y="4631399"/>
                </a:cubicBezTo>
                <a:close/>
                <a:moveTo>
                  <a:pt x="6320030" y="4629868"/>
                </a:moveTo>
                <a:cubicBezTo>
                  <a:pt x="6326691" y="4635443"/>
                  <a:pt x="6323438" y="4639883"/>
                  <a:pt x="6320185" y="4644220"/>
                </a:cubicBezTo>
                <a:cubicBezTo>
                  <a:pt x="6316622" y="4639574"/>
                  <a:pt x="6311201" y="4645046"/>
                  <a:pt x="6310427" y="4637612"/>
                </a:cubicBezTo>
                <a:cubicBezTo>
                  <a:pt x="6311511" y="4634308"/>
                  <a:pt x="6314144" y="4631623"/>
                  <a:pt x="6320030" y="4629868"/>
                </a:cubicBezTo>
                <a:close/>
                <a:moveTo>
                  <a:pt x="6067239" y="4629868"/>
                </a:moveTo>
                <a:cubicBezTo>
                  <a:pt x="6073435" y="4627596"/>
                  <a:pt x="6076998" y="4638335"/>
                  <a:pt x="6078547" y="4640297"/>
                </a:cubicBezTo>
                <a:cubicBezTo>
                  <a:pt x="6078547" y="4640297"/>
                  <a:pt x="6079322" y="4640813"/>
                  <a:pt x="6079476" y="4641949"/>
                </a:cubicBezTo>
                <a:cubicBezTo>
                  <a:pt x="6080251" y="4643601"/>
                  <a:pt x="6077772" y="4642981"/>
                  <a:pt x="6078082" y="4644220"/>
                </a:cubicBezTo>
                <a:cubicBezTo>
                  <a:pt x="6073590" y="4639264"/>
                  <a:pt x="6067859" y="4637715"/>
                  <a:pt x="6067859" y="4637715"/>
                </a:cubicBezTo>
                <a:cubicBezTo>
                  <a:pt x="6067085" y="4636166"/>
                  <a:pt x="6067394" y="4635443"/>
                  <a:pt x="6066930" y="4636166"/>
                </a:cubicBezTo>
                <a:cubicBezTo>
                  <a:pt x="6066620" y="4633792"/>
                  <a:pt x="6065535" y="4631004"/>
                  <a:pt x="6067239" y="4629868"/>
                </a:cubicBezTo>
                <a:close/>
                <a:moveTo>
                  <a:pt x="1447157" y="4629540"/>
                </a:moveTo>
                <a:cubicBezTo>
                  <a:pt x="1448396" y="4631296"/>
                  <a:pt x="1449326" y="4633051"/>
                  <a:pt x="1449791" y="4634806"/>
                </a:cubicBezTo>
                <a:lnTo>
                  <a:pt x="1451030" y="4640072"/>
                </a:lnTo>
                <a:lnTo>
                  <a:pt x="1455986" y="4638730"/>
                </a:lnTo>
                <a:cubicBezTo>
                  <a:pt x="1457381" y="4639143"/>
                  <a:pt x="1458774" y="4639969"/>
                  <a:pt x="1459704" y="4641311"/>
                </a:cubicBezTo>
                <a:cubicBezTo>
                  <a:pt x="1460943" y="4643067"/>
                  <a:pt x="1461253" y="4645648"/>
                  <a:pt x="1460323" y="4648849"/>
                </a:cubicBezTo>
                <a:cubicBezTo>
                  <a:pt x="1458310" y="4649572"/>
                  <a:pt x="1456915" y="4649469"/>
                  <a:pt x="1455522" y="4649366"/>
                </a:cubicBezTo>
                <a:lnTo>
                  <a:pt x="1453043" y="4648952"/>
                </a:lnTo>
                <a:lnTo>
                  <a:pt x="1452579" y="4649985"/>
                </a:lnTo>
                <a:lnTo>
                  <a:pt x="1452734" y="4650708"/>
                </a:lnTo>
                <a:lnTo>
                  <a:pt x="1453353" y="4649985"/>
                </a:lnTo>
                <a:cubicBezTo>
                  <a:pt x="1453972" y="4649778"/>
                  <a:pt x="1454282" y="4649778"/>
                  <a:pt x="1454282" y="4649778"/>
                </a:cubicBezTo>
                <a:lnTo>
                  <a:pt x="1457690" y="4651534"/>
                </a:lnTo>
                <a:lnTo>
                  <a:pt x="1458929" y="4650501"/>
                </a:lnTo>
                <a:cubicBezTo>
                  <a:pt x="1461408" y="4653599"/>
                  <a:pt x="1462027" y="4658555"/>
                  <a:pt x="1462802" y="4662272"/>
                </a:cubicBezTo>
                <a:cubicBezTo>
                  <a:pt x="1459394" y="4660930"/>
                  <a:pt x="1458620" y="4657213"/>
                  <a:pt x="1451959" y="4658865"/>
                </a:cubicBezTo>
                <a:lnTo>
                  <a:pt x="1453198" y="4656697"/>
                </a:lnTo>
                <a:lnTo>
                  <a:pt x="1451030" y="4655148"/>
                </a:lnTo>
                <a:lnTo>
                  <a:pt x="1451649" y="4652153"/>
                </a:lnTo>
                <a:lnTo>
                  <a:pt x="1451339" y="4652256"/>
                </a:lnTo>
                <a:cubicBezTo>
                  <a:pt x="1450410" y="4652256"/>
                  <a:pt x="1450100" y="4651534"/>
                  <a:pt x="1449791" y="4650604"/>
                </a:cubicBezTo>
                <a:cubicBezTo>
                  <a:pt x="1449481" y="4649675"/>
                  <a:pt x="1449326" y="4648539"/>
                  <a:pt x="1449171" y="4647816"/>
                </a:cubicBezTo>
                <a:cubicBezTo>
                  <a:pt x="1447312" y="4647610"/>
                  <a:pt x="1449791" y="4643893"/>
                  <a:pt x="1447932" y="4643789"/>
                </a:cubicBezTo>
                <a:cubicBezTo>
                  <a:pt x="1450100" y="4639246"/>
                  <a:pt x="1444834" y="4636871"/>
                  <a:pt x="1447157" y="4629540"/>
                </a:cubicBezTo>
                <a:close/>
                <a:moveTo>
                  <a:pt x="1384424" y="4629321"/>
                </a:moveTo>
                <a:cubicBezTo>
                  <a:pt x="1386980" y="4629101"/>
                  <a:pt x="1389846" y="4630263"/>
                  <a:pt x="1392944" y="4633877"/>
                </a:cubicBezTo>
                <a:cubicBezTo>
                  <a:pt x="1394492" y="4635013"/>
                  <a:pt x="1393718" y="4634806"/>
                  <a:pt x="1394492" y="4635839"/>
                </a:cubicBezTo>
                <a:lnTo>
                  <a:pt x="1394803" y="4636045"/>
                </a:lnTo>
                <a:lnTo>
                  <a:pt x="1395267" y="4634806"/>
                </a:lnTo>
                <a:cubicBezTo>
                  <a:pt x="1395577" y="4634497"/>
                  <a:pt x="1396042" y="4634497"/>
                  <a:pt x="1396506" y="4634600"/>
                </a:cubicBezTo>
                <a:cubicBezTo>
                  <a:pt x="1396506" y="4634600"/>
                  <a:pt x="1397745" y="4634909"/>
                  <a:pt x="1398829" y="4635219"/>
                </a:cubicBezTo>
                <a:cubicBezTo>
                  <a:pt x="1400069" y="4635529"/>
                  <a:pt x="1400688" y="4635013"/>
                  <a:pt x="1400688" y="4635013"/>
                </a:cubicBezTo>
                <a:cubicBezTo>
                  <a:pt x="1401928" y="4635322"/>
                  <a:pt x="1402237" y="4636045"/>
                  <a:pt x="1401928" y="4637284"/>
                </a:cubicBezTo>
                <a:cubicBezTo>
                  <a:pt x="1401928" y="4637284"/>
                  <a:pt x="1400069" y="4637491"/>
                  <a:pt x="1400069" y="4637491"/>
                </a:cubicBezTo>
                <a:cubicBezTo>
                  <a:pt x="1398829" y="4637181"/>
                  <a:pt x="1398055" y="4636975"/>
                  <a:pt x="1397281" y="4636871"/>
                </a:cubicBezTo>
                <a:lnTo>
                  <a:pt x="1395887" y="4636768"/>
                </a:lnTo>
                <a:lnTo>
                  <a:pt x="1397745" y="4638110"/>
                </a:lnTo>
                <a:cubicBezTo>
                  <a:pt x="1396971" y="4638833"/>
                  <a:pt x="1396661" y="4639556"/>
                  <a:pt x="1396351" y="4640279"/>
                </a:cubicBezTo>
                <a:lnTo>
                  <a:pt x="1396042" y="4642241"/>
                </a:lnTo>
                <a:lnTo>
                  <a:pt x="1397590" y="4643686"/>
                </a:lnTo>
                <a:cubicBezTo>
                  <a:pt x="1396816" y="4644203"/>
                  <a:pt x="1395577" y="4645854"/>
                  <a:pt x="1395267" y="4645132"/>
                </a:cubicBezTo>
                <a:lnTo>
                  <a:pt x="1394957" y="4645029"/>
                </a:lnTo>
                <a:lnTo>
                  <a:pt x="1392944" y="4647816"/>
                </a:lnTo>
                <a:cubicBezTo>
                  <a:pt x="1390155" y="4650811"/>
                  <a:pt x="1387368" y="4651637"/>
                  <a:pt x="1384889" y="4651431"/>
                </a:cubicBezTo>
                <a:cubicBezTo>
                  <a:pt x="1383650" y="4651224"/>
                  <a:pt x="1382411" y="4650811"/>
                  <a:pt x="1381326" y="4650191"/>
                </a:cubicBezTo>
                <a:lnTo>
                  <a:pt x="1381171" y="4650088"/>
                </a:lnTo>
                <a:lnTo>
                  <a:pt x="1380552" y="4651431"/>
                </a:lnTo>
                <a:cubicBezTo>
                  <a:pt x="1379468" y="4651017"/>
                  <a:pt x="1378383" y="4650501"/>
                  <a:pt x="1377764" y="4649881"/>
                </a:cubicBezTo>
                <a:cubicBezTo>
                  <a:pt x="1376989" y="4649159"/>
                  <a:pt x="1376835" y="4648436"/>
                  <a:pt x="1377454" y="4647300"/>
                </a:cubicBezTo>
                <a:lnTo>
                  <a:pt x="1377919" y="4646681"/>
                </a:lnTo>
                <a:lnTo>
                  <a:pt x="1376989" y="4644822"/>
                </a:lnTo>
                <a:cubicBezTo>
                  <a:pt x="1376060" y="4643067"/>
                  <a:pt x="1375130" y="4640692"/>
                  <a:pt x="1375440" y="4638214"/>
                </a:cubicBezTo>
                <a:cubicBezTo>
                  <a:pt x="1375595" y="4636562"/>
                  <a:pt x="1376214" y="4634806"/>
                  <a:pt x="1377764" y="4633051"/>
                </a:cubicBezTo>
                <a:cubicBezTo>
                  <a:pt x="1379623" y="4631141"/>
                  <a:pt x="1381868" y="4629540"/>
                  <a:pt x="1384424" y="4629321"/>
                </a:cubicBezTo>
                <a:close/>
                <a:moveTo>
                  <a:pt x="6114018" y="4628835"/>
                </a:moveTo>
                <a:cubicBezTo>
                  <a:pt x="6117271" y="4632656"/>
                  <a:pt x="6114173" y="4639987"/>
                  <a:pt x="6108287" y="4639677"/>
                </a:cubicBezTo>
                <a:cubicBezTo>
                  <a:pt x="6107977" y="4637715"/>
                  <a:pt x="6106893" y="4636476"/>
                  <a:pt x="6106583" y="4634617"/>
                </a:cubicBezTo>
                <a:cubicBezTo>
                  <a:pt x="6109061" y="4632243"/>
                  <a:pt x="6108907" y="4627906"/>
                  <a:pt x="6114018" y="4628835"/>
                </a:cubicBezTo>
                <a:close/>
                <a:moveTo>
                  <a:pt x="5805465" y="4628629"/>
                </a:moveTo>
                <a:cubicBezTo>
                  <a:pt x="5809492" y="4630900"/>
                  <a:pt x="5808098" y="4637509"/>
                  <a:pt x="5803916" y="4638748"/>
                </a:cubicBezTo>
                <a:cubicBezTo>
                  <a:pt x="5802831" y="4638128"/>
                  <a:pt x="5800972" y="4637818"/>
                  <a:pt x="5799888" y="4636373"/>
                </a:cubicBezTo>
                <a:cubicBezTo>
                  <a:pt x="5799888" y="4632036"/>
                  <a:pt x="5802057" y="4629558"/>
                  <a:pt x="5805465" y="4628629"/>
                </a:cubicBezTo>
                <a:close/>
                <a:moveTo>
                  <a:pt x="1738362" y="4627475"/>
                </a:moveTo>
                <a:cubicBezTo>
                  <a:pt x="1738672" y="4628301"/>
                  <a:pt x="1739446" y="4627888"/>
                  <a:pt x="1740222" y="4627475"/>
                </a:cubicBezTo>
                <a:cubicBezTo>
                  <a:pt x="1742389" y="4628301"/>
                  <a:pt x="1744868" y="4629953"/>
                  <a:pt x="1744713" y="4631915"/>
                </a:cubicBezTo>
                <a:cubicBezTo>
                  <a:pt x="1744249" y="4633051"/>
                  <a:pt x="1743474" y="4633670"/>
                  <a:pt x="1742699" y="4633877"/>
                </a:cubicBezTo>
                <a:lnTo>
                  <a:pt x="1741460" y="4633877"/>
                </a:lnTo>
                <a:lnTo>
                  <a:pt x="1739446" y="4638317"/>
                </a:lnTo>
                <a:cubicBezTo>
                  <a:pt x="1736658" y="4641931"/>
                  <a:pt x="1732631" y="4642137"/>
                  <a:pt x="1728759" y="4642654"/>
                </a:cubicBezTo>
                <a:cubicBezTo>
                  <a:pt x="1729068" y="4639763"/>
                  <a:pt x="1732476" y="4634703"/>
                  <a:pt x="1736968" y="4633361"/>
                </a:cubicBezTo>
                <a:lnTo>
                  <a:pt x="1739911" y="4633464"/>
                </a:lnTo>
                <a:lnTo>
                  <a:pt x="1737743" y="4632328"/>
                </a:lnTo>
                <a:cubicBezTo>
                  <a:pt x="1737123" y="4631192"/>
                  <a:pt x="1736813" y="4629643"/>
                  <a:pt x="1736658" y="4628301"/>
                </a:cubicBezTo>
                <a:cubicBezTo>
                  <a:pt x="1736968" y="4629024"/>
                  <a:pt x="1736968" y="4629024"/>
                  <a:pt x="1736968" y="4629024"/>
                </a:cubicBezTo>
                <a:cubicBezTo>
                  <a:pt x="1738053" y="4629437"/>
                  <a:pt x="1737743" y="4628714"/>
                  <a:pt x="1738517" y="4628301"/>
                </a:cubicBezTo>
                <a:cubicBezTo>
                  <a:pt x="1738517" y="4628301"/>
                  <a:pt x="1737898" y="4628714"/>
                  <a:pt x="1738362" y="4627475"/>
                </a:cubicBezTo>
                <a:close/>
                <a:moveTo>
                  <a:pt x="689714" y="4627269"/>
                </a:moveTo>
                <a:cubicBezTo>
                  <a:pt x="691418" y="4626855"/>
                  <a:pt x="693122" y="4627165"/>
                  <a:pt x="695291" y="4629231"/>
                </a:cubicBezTo>
                <a:cubicBezTo>
                  <a:pt x="694516" y="4633877"/>
                  <a:pt x="691883" y="4633774"/>
                  <a:pt x="689095" y="4633670"/>
                </a:cubicBezTo>
                <a:cubicBezTo>
                  <a:pt x="690334" y="4630676"/>
                  <a:pt x="686771" y="4629953"/>
                  <a:pt x="689714" y="4627269"/>
                </a:cubicBezTo>
                <a:close/>
                <a:moveTo>
                  <a:pt x="6607208" y="4626770"/>
                </a:moveTo>
                <a:cubicBezTo>
                  <a:pt x="6612629" y="4628732"/>
                  <a:pt x="6616192" y="4626047"/>
                  <a:pt x="6619600" y="4629971"/>
                </a:cubicBezTo>
                <a:cubicBezTo>
                  <a:pt x="6618980" y="4634514"/>
                  <a:pt x="6616037" y="4636889"/>
                  <a:pt x="6613094" y="4637405"/>
                </a:cubicBezTo>
                <a:cubicBezTo>
                  <a:pt x="6609996" y="4638025"/>
                  <a:pt x="6606898" y="4636786"/>
                  <a:pt x="6605969" y="4633998"/>
                </a:cubicBezTo>
                <a:cubicBezTo>
                  <a:pt x="6605194" y="4632243"/>
                  <a:pt x="6605504" y="4629765"/>
                  <a:pt x="6607208" y="4626770"/>
                </a:cubicBezTo>
                <a:close/>
                <a:moveTo>
                  <a:pt x="6640511" y="4626564"/>
                </a:moveTo>
                <a:cubicBezTo>
                  <a:pt x="6642214" y="4626564"/>
                  <a:pt x="6644693" y="4629248"/>
                  <a:pt x="6646397" y="4631107"/>
                </a:cubicBezTo>
                <a:cubicBezTo>
                  <a:pt x="6646551" y="4633792"/>
                  <a:pt x="6645003" y="4636373"/>
                  <a:pt x="6642679" y="4637922"/>
                </a:cubicBezTo>
                <a:cubicBezTo>
                  <a:pt x="6639271" y="4634308"/>
                  <a:pt x="6639116" y="4630797"/>
                  <a:pt x="6640511" y="4626564"/>
                </a:cubicBezTo>
                <a:close/>
                <a:moveTo>
                  <a:pt x="1530956" y="4626133"/>
                </a:moveTo>
                <a:cubicBezTo>
                  <a:pt x="1535448" y="4630882"/>
                  <a:pt x="1537152" y="4636665"/>
                  <a:pt x="1536532" y="4642447"/>
                </a:cubicBezTo>
                <a:cubicBezTo>
                  <a:pt x="1535603" y="4652050"/>
                  <a:pt x="1528633" y="4661446"/>
                  <a:pt x="1518720" y="4665060"/>
                </a:cubicBezTo>
                <a:cubicBezTo>
                  <a:pt x="1517945" y="4664131"/>
                  <a:pt x="1517325" y="4663202"/>
                  <a:pt x="1516396" y="4663924"/>
                </a:cubicBezTo>
                <a:cubicBezTo>
                  <a:pt x="1515157" y="4662479"/>
                  <a:pt x="1514227" y="4660930"/>
                  <a:pt x="1513607" y="4659071"/>
                </a:cubicBezTo>
                <a:cubicBezTo>
                  <a:pt x="1508961" y="4646784"/>
                  <a:pt x="1517635" y="4628095"/>
                  <a:pt x="1530956" y="4626133"/>
                </a:cubicBezTo>
                <a:close/>
                <a:moveTo>
                  <a:pt x="6173034" y="4625518"/>
                </a:moveTo>
                <a:cubicBezTo>
                  <a:pt x="6177487" y="4626796"/>
                  <a:pt x="6181553" y="4629506"/>
                  <a:pt x="6184496" y="4633585"/>
                </a:cubicBezTo>
                <a:cubicBezTo>
                  <a:pt x="6183876" y="4634617"/>
                  <a:pt x="6183102" y="4635650"/>
                  <a:pt x="6184186" y="4636270"/>
                </a:cubicBezTo>
                <a:cubicBezTo>
                  <a:pt x="6180314" y="4643601"/>
                  <a:pt x="6172259" y="4647731"/>
                  <a:pt x="6164515" y="4648247"/>
                </a:cubicBezTo>
                <a:cubicBezTo>
                  <a:pt x="6156770" y="4648764"/>
                  <a:pt x="6149180" y="4645666"/>
                  <a:pt x="6146082" y="4638748"/>
                </a:cubicBezTo>
                <a:cubicBezTo>
                  <a:pt x="6149180" y="4632243"/>
                  <a:pt x="6153981" y="4628112"/>
                  <a:pt x="6159248" y="4626047"/>
                </a:cubicBezTo>
                <a:cubicBezTo>
                  <a:pt x="6163740" y="4624395"/>
                  <a:pt x="6168581" y="4624240"/>
                  <a:pt x="6173034" y="4625518"/>
                </a:cubicBezTo>
                <a:close/>
                <a:moveTo>
                  <a:pt x="5851469" y="4625221"/>
                </a:moveTo>
                <a:cubicBezTo>
                  <a:pt x="5853947" y="4629455"/>
                  <a:pt x="5849300" y="4636373"/>
                  <a:pt x="5846048" y="4639883"/>
                </a:cubicBezTo>
                <a:cubicBezTo>
                  <a:pt x="5843879" y="4639058"/>
                  <a:pt x="5842640" y="4640710"/>
                  <a:pt x="5840471" y="4639883"/>
                </a:cubicBezTo>
                <a:cubicBezTo>
                  <a:pt x="5843414" y="4632862"/>
                  <a:pt x="5845893" y="4625118"/>
                  <a:pt x="5851469" y="4625221"/>
                </a:cubicBezTo>
                <a:close/>
                <a:moveTo>
                  <a:pt x="1507489" y="4623100"/>
                </a:moveTo>
                <a:cubicBezTo>
                  <a:pt x="1509039" y="4622803"/>
                  <a:pt x="1510897" y="4623655"/>
                  <a:pt x="1512369" y="4626133"/>
                </a:cubicBezTo>
                <a:cubicBezTo>
                  <a:pt x="1510200" y="4627578"/>
                  <a:pt x="1508032" y="4629024"/>
                  <a:pt x="1506173" y="4628301"/>
                </a:cubicBezTo>
                <a:cubicBezTo>
                  <a:pt x="1505553" y="4628095"/>
                  <a:pt x="1504934" y="4627681"/>
                  <a:pt x="1504469" y="4626959"/>
                </a:cubicBezTo>
                <a:cubicBezTo>
                  <a:pt x="1504701" y="4624842"/>
                  <a:pt x="1505940" y="4623396"/>
                  <a:pt x="1507489" y="4623100"/>
                </a:cubicBezTo>
                <a:close/>
                <a:moveTo>
                  <a:pt x="1791182" y="4622829"/>
                </a:moveTo>
                <a:cubicBezTo>
                  <a:pt x="1792576" y="4622829"/>
                  <a:pt x="1791337" y="4629540"/>
                  <a:pt x="1790408" y="4634186"/>
                </a:cubicBezTo>
                <a:lnTo>
                  <a:pt x="1789788" y="4637284"/>
                </a:lnTo>
                <a:lnTo>
                  <a:pt x="1790873" y="4637387"/>
                </a:lnTo>
                <a:lnTo>
                  <a:pt x="1792266" y="4638317"/>
                </a:lnTo>
                <a:lnTo>
                  <a:pt x="1794125" y="4638007"/>
                </a:lnTo>
                <a:lnTo>
                  <a:pt x="1794435" y="4637594"/>
                </a:lnTo>
                <a:cubicBezTo>
                  <a:pt x="1794900" y="4636355"/>
                  <a:pt x="1795055" y="4635116"/>
                  <a:pt x="1794589" y="4634600"/>
                </a:cubicBezTo>
                <a:cubicBezTo>
                  <a:pt x="1795519" y="4634703"/>
                  <a:pt x="1796448" y="4633877"/>
                  <a:pt x="1796448" y="4633877"/>
                </a:cubicBezTo>
                <a:cubicBezTo>
                  <a:pt x="1797223" y="4634806"/>
                  <a:pt x="1797223" y="4635736"/>
                  <a:pt x="1797223" y="4636562"/>
                </a:cubicBezTo>
                <a:lnTo>
                  <a:pt x="1794900" y="4637904"/>
                </a:lnTo>
                <a:lnTo>
                  <a:pt x="1801560" y="4636665"/>
                </a:lnTo>
                <a:lnTo>
                  <a:pt x="1804194" y="4637078"/>
                </a:lnTo>
                <a:lnTo>
                  <a:pt x="1804038" y="4636045"/>
                </a:lnTo>
                <a:cubicBezTo>
                  <a:pt x="1805742" y="4636458"/>
                  <a:pt x="1806207" y="4635529"/>
                  <a:pt x="1808685" y="4637491"/>
                </a:cubicBezTo>
                <a:lnTo>
                  <a:pt x="1808530" y="4637801"/>
                </a:lnTo>
                <a:lnTo>
                  <a:pt x="1812868" y="4638523"/>
                </a:lnTo>
                <a:cubicBezTo>
                  <a:pt x="1815191" y="4639453"/>
                  <a:pt x="1817359" y="4640588"/>
                  <a:pt x="1819218" y="4642137"/>
                </a:cubicBezTo>
                <a:cubicBezTo>
                  <a:pt x="1815965" y="4648333"/>
                  <a:pt x="1808685" y="4646681"/>
                  <a:pt x="1802954" y="4646784"/>
                </a:cubicBezTo>
                <a:cubicBezTo>
                  <a:pt x="1804503" y="4652566"/>
                  <a:pt x="1808685" y="4660517"/>
                  <a:pt x="1802489" y="4663408"/>
                </a:cubicBezTo>
                <a:cubicBezTo>
                  <a:pt x="1797843" y="4661756"/>
                  <a:pt x="1797843" y="4656387"/>
                  <a:pt x="1796758" y="4651017"/>
                </a:cubicBezTo>
                <a:lnTo>
                  <a:pt x="1796138" y="4648849"/>
                </a:lnTo>
                <a:lnTo>
                  <a:pt x="1794744" y="4647713"/>
                </a:lnTo>
                <a:lnTo>
                  <a:pt x="1789788" y="4644822"/>
                </a:lnTo>
                <a:lnTo>
                  <a:pt x="1789478" y="4645235"/>
                </a:lnTo>
                <a:lnTo>
                  <a:pt x="1789478" y="4645442"/>
                </a:lnTo>
                <a:lnTo>
                  <a:pt x="1789478" y="4645545"/>
                </a:lnTo>
                <a:lnTo>
                  <a:pt x="1789323" y="4646165"/>
                </a:lnTo>
                <a:lnTo>
                  <a:pt x="1789323" y="4646990"/>
                </a:lnTo>
                <a:lnTo>
                  <a:pt x="1789168" y="4647094"/>
                </a:lnTo>
                <a:lnTo>
                  <a:pt x="1789013" y="4648023"/>
                </a:lnTo>
                <a:cubicBezTo>
                  <a:pt x="1788549" y="4648849"/>
                  <a:pt x="1787774" y="4649778"/>
                  <a:pt x="1787310" y="4650501"/>
                </a:cubicBezTo>
                <a:cubicBezTo>
                  <a:pt x="1788239" y="4652153"/>
                  <a:pt x="1783902" y="4652566"/>
                  <a:pt x="1784831" y="4654218"/>
                </a:cubicBezTo>
                <a:cubicBezTo>
                  <a:pt x="1780184" y="4655457"/>
                  <a:pt x="1781114" y="4661343"/>
                  <a:pt x="1774453" y="4664441"/>
                </a:cubicBezTo>
                <a:lnTo>
                  <a:pt x="1776777" y="4659071"/>
                </a:lnTo>
                <a:lnTo>
                  <a:pt x="1775537" y="4657316"/>
                </a:lnTo>
                <a:cubicBezTo>
                  <a:pt x="1775383" y="4656180"/>
                  <a:pt x="1776002" y="4654838"/>
                  <a:pt x="1776777" y="4653289"/>
                </a:cubicBezTo>
                <a:cubicBezTo>
                  <a:pt x="1777861" y="4654115"/>
                  <a:pt x="1778480" y="4655044"/>
                  <a:pt x="1778480" y="4656180"/>
                </a:cubicBezTo>
                <a:lnTo>
                  <a:pt x="1778480" y="4656697"/>
                </a:lnTo>
                <a:lnTo>
                  <a:pt x="1781579" y="4652360"/>
                </a:lnTo>
                <a:cubicBezTo>
                  <a:pt x="1782972" y="4650501"/>
                  <a:pt x="1784211" y="4648746"/>
                  <a:pt x="1784831" y="4646784"/>
                </a:cubicBezTo>
                <a:cubicBezTo>
                  <a:pt x="1784831" y="4646784"/>
                  <a:pt x="1784831" y="4646784"/>
                  <a:pt x="1787155" y="4646165"/>
                </a:cubicBezTo>
                <a:cubicBezTo>
                  <a:pt x="1787619" y="4645442"/>
                  <a:pt x="1787619" y="4645338"/>
                  <a:pt x="1787619" y="4645338"/>
                </a:cubicBezTo>
                <a:cubicBezTo>
                  <a:pt x="1787774" y="4645029"/>
                  <a:pt x="1788239" y="4645029"/>
                  <a:pt x="1788703" y="4645235"/>
                </a:cubicBezTo>
                <a:lnTo>
                  <a:pt x="1789013" y="4644925"/>
                </a:lnTo>
                <a:lnTo>
                  <a:pt x="1789323" y="4644512"/>
                </a:lnTo>
                <a:lnTo>
                  <a:pt x="1785141" y="4642034"/>
                </a:lnTo>
                <a:cubicBezTo>
                  <a:pt x="1786070" y="4639866"/>
                  <a:pt x="1783128" y="4638833"/>
                  <a:pt x="1784986" y="4636562"/>
                </a:cubicBezTo>
                <a:lnTo>
                  <a:pt x="1787310" y="4636871"/>
                </a:lnTo>
                <a:cubicBezTo>
                  <a:pt x="1787310" y="4635942"/>
                  <a:pt x="1787464" y="4634703"/>
                  <a:pt x="1787774" y="4633154"/>
                </a:cubicBezTo>
                <a:cubicBezTo>
                  <a:pt x="1788394" y="4629953"/>
                  <a:pt x="1790562" y="4626030"/>
                  <a:pt x="1791027" y="4624790"/>
                </a:cubicBezTo>
                <a:cubicBezTo>
                  <a:pt x="1791492" y="4623654"/>
                  <a:pt x="1791182" y="4622829"/>
                  <a:pt x="1791182" y="4622829"/>
                </a:cubicBezTo>
                <a:close/>
                <a:moveTo>
                  <a:pt x="1064254" y="4622829"/>
                </a:moveTo>
                <a:cubicBezTo>
                  <a:pt x="1066577" y="4623964"/>
                  <a:pt x="1070914" y="4622622"/>
                  <a:pt x="1071069" y="4626959"/>
                </a:cubicBezTo>
                <a:cubicBezTo>
                  <a:pt x="1060381" y="4631296"/>
                  <a:pt x="1061930" y="4647197"/>
                  <a:pt x="1051707" y="4648126"/>
                </a:cubicBezTo>
                <a:cubicBezTo>
                  <a:pt x="1054030" y="4639556"/>
                  <a:pt x="1054650" y="4630779"/>
                  <a:pt x="1064254" y="4622829"/>
                </a:cubicBezTo>
                <a:close/>
                <a:moveTo>
                  <a:pt x="1322156" y="4622312"/>
                </a:moveTo>
                <a:cubicBezTo>
                  <a:pt x="1322930" y="4623242"/>
                  <a:pt x="1322930" y="4623242"/>
                  <a:pt x="1322776" y="4625719"/>
                </a:cubicBezTo>
                <a:cubicBezTo>
                  <a:pt x="1322002" y="4624790"/>
                  <a:pt x="1322002" y="4624790"/>
                  <a:pt x="1321227" y="4625513"/>
                </a:cubicBezTo>
                <a:cubicBezTo>
                  <a:pt x="1321227" y="4625513"/>
                  <a:pt x="1321227" y="4625513"/>
                  <a:pt x="1321071" y="4626339"/>
                </a:cubicBezTo>
                <a:cubicBezTo>
                  <a:pt x="1320297" y="4626236"/>
                  <a:pt x="1320452" y="4625410"/>
                  <a:pt x="1319678" y="4625203"/>
                </a:cubicBezTo>
                <a:cubicBezTo>
                  <a:pt x="1319678" y="4625203"/>
                  <a:pt x="1319678" y="4624377"/>
                  <a:pt x="1319678" y="4624377"/>
                </a:cubicBezTo>
                <a:cubicBezTo>
                  <a:pt x="1319213" y="4624377"/>
                  <a:pt x="1319367" y="4624377"/>
                  <a:pt x="1319523" y="4624171"/>
                </a:cubicBezTo>
                <a:cubicBezTo>
                  <a:pt x="1319678" y="4623964"/>
                  <a:pt x="1320142" y="4623654"/>
                  <a:pt x="1320607" y="4622829"/>
                </a:cubicBezTo>
                <a:cubicBezTo>
                  <a:pt x="1321381" y="4622209"/>
                  <a:pt x="1321536" y="4621280"/>
                  <a:pt x="1322156" y="4622312"/>
                </a:cubicBezTo>
                <a:close/>
                <a:moveTo>
                  <a:pt x="793495" y="4621796"/>
                </a:moveTo>
                <a:lnTo>
                  <a:pt x="792875" y="4622003"/>
                </a:lnTo>
                <a:lnTo>
                  <a:pt x="793495" y="4621899"/>
                </a:lnTo>
                <a:close/>
                <a:moveTo>
                  <a:pt x="1122030" y="4621073"/>
                </a:moveTo>
                <a:cubicBezTo>
                  <a:pt x="1120945" y="4622415"/>
                  <a:pt x="1119242" y="4625307"/>
                  <a:pt x="1117538" y="4626030"/>
                </a:cubicBezTo>
                <a:cubicBezTo>
                  <a:pt x="1117074" y="4626236"/>
                  <a:pt x="1116454" y="4626236"/>
                  <a:pt x="1115989" y="4625823"/>
                </a:cubicBezTo>
                <a:cubicBezTo>
                  <a:pt x="1117383" y="4623964"/>
                  <a:pt x="1118622" y="4620350"/>
                  <a:pt x="1122030" y="4621073"/>
                </a:cubicBezTo>
                <a:close/>
                <a:moveTo>
                  <a:pt x="648512" y="4620453"/>
                </a:moveTo>
                <a:cubicBezTo>
                  <a:pt x="651300" y="4620763"/>
                  <a:pt x="651145" y="4622622"/>
                  <a:pt x="653004" y="4622622"/>
                </a:cubicBezTo>
                <a:cubicBezTo>
                  <a:pt x="651765" y="4626855"/>
                  <a:pt x="649442" y="4627991"/>
                  <a:pt x="645879" y="4627991"/>
                </a:cubicBezTo>
                <a:cubicBezTo>
                  <a:pt x="644949" y="4625719"/>
                  <a:pt x="646188" y="4621589"/>
                  <a:pt x="648512" y="4620453"/>
                </a:cubicBezTo>
                <a:close/>
                <a:moveTo>
                  <a:pt x="6203548" y="4620368"/>
                </a:moveTo>
                <a:cubicBezTo>
                  <a:pt x="6210673" y="4627596"/>
                  <a:pt x="6208505" y="4635134"/>
                  <a:pt x="6206182" y="4642775"/>
                </a:cubicBezTo>
                <a:cubicBezTo>
                  <a:pt x="6204323" y="4641845"/>
                  <a:pt x="6202929" y="4640400"/>
                  <a:pt x="6201999" y="4638644"/>
                </a:cubicBezTo>
                <a:lnTo>
                  <a:pt x="6201844" y="4637818"/>
                </a:lnTo>
                <a:lnTo>
                  <a:pt x="6201690" y="4639058"/>
                </a:lnTo>
                <a:cubicBezTo>
                  <a:pt x="6201844" y="4646492"/>
                  <a:pt x="6204168" y="4653720"/>
                  <a:pt x="6199676" y="4658573"/>
                </a:cubicBezTo>
                <a:cubicBezTo>
                  <a:pt x="6198901" y="4655475"/>
                  <a:pt x="6197197" y="4651965"/>
                  <a:pt x="6195648" y="4648454"/>
                </a:cubicBezTo>
                <a:cubicBezTo>
                  <a:pt x="6194100" y="4644943"/>
                  <a:pt x="6192860" y="4641536"/>
                  <a:pt x="6193015" y="4638644"/>
                </a:cubicBezTo>
                <a:lnTo>
                  <a:pt x="6194100" y="4635547"/>
                </a:lnTo>
                <a:lnTo>
                  <a:pt x="6193635" y="4635237"/>
                </a:lnTo>
                <a:cubicBezTo>
                  <a:pt x="6195493" y="4633688"/>
                  <a:pt x="6194874" y="4631830"/>
                  <a:pt x="6196888" y="4630177"/>
                </a:cubicBezTo>
                <a:lnTo>
                  <a:pt x="6199056" y="4632656"/>
                </a:lnTo>
                <a:lnTo>
                  <a:pt x="6200760" y="4632243"/>
                </a:lnTo>
                <a:lnTo>
                  <a:pt x="6201535" y="4626150"/>
                </a:lnTo>
                <a:cubicBezTo>
                  <a:pt x="6201999" y="4623982"/>
                  <a:pt x="6202774" y="4622020"/>
                  <a:pt x="6203548" y="4620368"/>
                </a:cubicBezTo>
                <a:close/>
                <a:moveTo>
                  <a:pt x="975363" y="4619860"/>
                </a:moveTo>
                <a:cubicBezTo>
                  <a:pt x="976698" y="4620867"/>
                  <a:pt x="977589" y="4622725"/>
                  <a:pt x="977357" y="4624068"/>
                </a:cubicBezTo>
                <a:cubicBezTo>
                  <a:pt x="976272" y="4625926"/>
                  <a:pt x="974879" y="4626339"/>
                  <a:pt x="973794" y="4625926"/>
                </a:cubicBezTo>
                <a:cubicBezTo>
                  <a:pt x="972555" y="4625513"/>
                  <a:pt x="971626" y="4624377"/>
                  <a:pt x="971161" y="4623138"/>
                </a:cubicBezTo>
                <a:cubicBezTo>
                  <a:pt x="970696" y="4622312"/>
                  <a:pt x="970541" y="4621486"/>
                  <a:pt x="970696" y="4620763"/>
                </a:cubicBezTo>
                <a:cubicBezTo>
                  <a:pt x="972245" y="4618698"/>
                  <a:pt x="974026" y="4618853"/>
                  <a:pt x="975363" y="4619860"/>
                </a:cubicBezTo>
                <a:close/>
                <a:moveTo>
                  <a:pt x="748730" y="4619524"/>
                </a:moveTo>
                <a:cubicBezTo>
                  <a:pt x="751673" y="4622003"/>
                  <a:pt x="751208" y="4625513"/>
                  <a:pt x="754306" y="4628817"/>
                </a:cubicBezTo>
                <a:cubicBezTo>
                  <a:pt x="752912" y="4631502"/>
                  <a:pt x="756010" y="4635632"/>
                  <a:pt x="753996" y="4639246"/>
                </a:cubicBezTo>
                <a:cubicBezTo>
                  <a:pt x="748575" y="4636045"/>
                  <a:pt x="746561" y="4622209"/>
                  <a:pt x="748730" y="4619524"/>
                </a:cubicBezTo>
                <a:close/>
                <a:moveTo>
                  <a:pt x="6246454" y="4618509"/>
                </a:moveTo>
                <a:cubicBezTo>
                  <a:pt x="6247384" y="4616754"/>
                  <a:pt x="6248004" y="4619336"/>
                  <a:pt x="6248933" y="4618509"/>
                </a:cubicBezTo>
                <a:cubicBezTo>
                  <a:pt x="6246454" y="4625428"/>
                  <a:pt x="6247539" y="4631416"/>
                  <a:pt x="6247539" y="4631416"/>
                </a:cubicBezTo>
                <a:cubicBezTo>
                  <a:pt x="6246609" y="4633172"/>
                  <a:pt x="6245835" y="4633172"/>
                  <a:pt x="6246609" y="4633172"/>
                </a:cubicBezTo>
                <a:cubicBezTo>
                  <a:pt x="6244750" y="4634928"/>
                  <a:pt x="6242892" y="4637405"/>
                  <a:pt x="6241188" y="4636579"/>
                </a:cubicBezTo>
                <a:cubicBezTo>
                  <a:pt x="6236696" y="4632139"/>
                  <a:pt x="6244286" y="4622743"/>
                  <a:pt x="6245370" y="4620265"/>
                </a:cubicBezTo>
                <a:cubicBezTo>
                  <a:pt x="6245370" y="4620265"/>
                  <a:pt x="6245525" y="4619336"/>
                  <a:pt x="6246454" y="4618509"/>
                </a:cubicBezTo>
                <a:close/>
                <a:moveTo>
                  <a:pt x="1238512" y="4618388"/>
                </a:moveTo>
                <a:cubicBezTo>
                  <a:pt x="1239287" y="4618079"/>
                  <a:pt x="1239596" y="4618905"/>
                  <a:pt x="1238822" y="4619214"/>
                </a:cubicBezTo>
                <a:cubicBezTo>
                  <a:pt x="1238666" y="4620247"/>
                  <a:pt x="1238047" y="4620453"/>
                  <a:pt x="1237428" y="4620350"/>
                </a:cubicBezTo>
                <a:cubicBezTo>
                  <a:pt x="1236808" y="4620247"/>
                  <a:pt x="1236033" y="4619834"/>
                  <a:pt x="1235569" y="4619628"/>
                </a:cubicBezTo>
                <a:cubicBezTo>
                  <a:pt x="1237738" y="4618698"/>
                  <a:pt x="1238357" y="4617563"/>
                  <a:pt x="1238512" y="4618388"/>
                </a:cubicBezTo>
                <a:close/>
                <a:moveTo>
                  <a:pt x="1481912" y="4617730"/>
                </a:moveTo>
                <a:cubicBezTo>
                  <a:pt x="1483248" y="4617201"/>
                  <a:pt x="1484487" y="4617304"/>
                  <a:pt x="1485571" y="4618698"/>
                </a:cubicBezTo>
                <a:cubicBezTo>
                  <a:pt x="1485107" y="4620867"/>
                  <a:pt x="1483868" y="4622519"/>
                  <a:pt x="1482319" y="4623035"/>
                </a:cubicBezTo>
                <a:cubicBezTo>
                  <a:pt x="1480770" y="4623551"/>
                  <a:pt x="1478911" y="4622932"/>
                  <a:pt x="1477672" y="4620557"/>
                </a:cubicBezTo>
                <a:cubicBezTo>
                  <a:pt x="1479143" y="4619421"/>
                  <a:pt x="1480577" y="4618259"/>
                  <a:pt x="1481912" y="4617730"/>
                </a:cubicBezTo>
                <a:close/>
                <a:moveTo>
                  <a:pt x="1606197" y="4616930"/>
                </a:moveTo>
                <a:cubicBezTo>
                  <a:pt x="1609101" y="4617614"/>
                  <a:pt x="1611347" y="4619215"/>
                  <a:pt x="1612276" y="4622003"/>
                </a:cubicBezTo>
                <a:lnTo>
                  <a:pt x="1607165" y="4622415"/>
                </a:lnTo>
                <a:lnTo>
                  <a:pt x="1604996" y="4624377"/>
                </a:lnTo>
                <a:cubicBezTo>
                  <a:pt x="1602673" y="4625823"/>
                  <a:pt x="1599885" y="4626649"/>
                  <a:pt x="1597717" y="4627062"/>
                </a:cubicBezTo>
                <a:lnTo>
                  <a:pt x="1596323" y="4625926"/>
                </a:lnTo>
                <a:lnTo>
                  <a:pt x="1588887" y="4628508"/>
                </a:lnTo>
                <a:cubicBezTo>
                  <a:pt x="1587494" y="4628817"/>
                  <a:pt x="1586099" y="4628920"/>
                  <a:pt x="1584705" y="4628817"/>
                </a:cubicBezTo>
                <a:cubicBezTo>
                  <a:pt x="1583311" y="4628714"/>
                  <a:pt x="1581917" y="4628404"/>
                  <a:pt x="1580368" y="4627888"/>
                </a:cubicBezTo>
                <a:cubicBezTo>
                  <a:pt x="1582072" y="4623448"/>
                  <a:pt x="1589197" y="4619111"/>
                  <a:pt x="1596167" y="4617356"/>
                </a:cubicBezTo>
                <a:cubicBezTo>
                  <a:pt x="1599730" y="4616478"/>
                  <a:pt x="1603293" y="4616246"/>
                  <a:pt x="1606197" y="4616930"/>
                </a:cubicBezTo>
                <a:close/>
                <a:moveTo>
                  <a:pt x="6613868" y="4615928"/>
                </a:moveTo>
                <a:cubicBezTo>
                  <a:pt x="6614333" y="4617064"/>
                  <a:pt x="6614798" y="4618303"/>
                  <a:pt x="6615107" y="4617477"/>
                </a:cubicBezTo>
                <a:cubicBezTo>
                  <a:pt x="6615572" y="4618716"/>
                  <a:pt x="6615572" y="4619645"/>
                  <a:pt x="6615262" y="4620471"/>
                </a:cubicBezTo>
                <a:cubicBezTo>
                  <a:pt x="6614953" y="4621298"/>
                  <a:pt x="6614488" y="4621917"/>
                  <a:pt x="6613713" y="4622433"/>
                </a:cubicBezTo>
                <a:cubicBezTo>
                  <a:pt x="6612629" y="4622846"/>
                  <a:pt x="6611080" y="4621917"/>
                  <a:pt x="6609222" y="4619852"/>
                </a:cubicBezTo>
                <a:cubicBezTo>
                  <a:pt x="6609222" y="4617993"/>
                  <a:pt x="6612474" y="4616961"/>
                  <a:pt x="6613868" y="4615928"/>
                </a:cubicBezTo>
                <a:close/>
                <a:moveTo>
                  <a:pt x="1078195" y="4615704"/>
                </a:moveTo>
                <a:cubicBezTo>
                  <a:pt x="1080208" y="4617356"/>
                  <a:pt x="1079588" y="4619111"/>
                  <a:pt x="1078969" y="4620041"/>
                </a:cubicBezTo>
                <a:cubicBezTo>
                  <a:pt x="1078659" y="4621383"/>
                  <a:pt x="1077729" y="4622106"/>
                  <a:pt x="1076491" y="4622415"/>
                </a:cubicBezTo>
                <a:cubicBezTo>
                  <a:pt x="1075252" y="4622725"/>
                  <a:pt x="1073702" y="4622622"/>
                  <a:pt x="1072463" y="4622209"/>
                </a:cubicBezTo>
                <a:cubicBezTo>
                  <a:pt x="1073238" y="4622209"/>
                  <a:pt x="1073238" y="4622106"/>
                  <a:pt x="1073238" y="4622106"/>
                </a:cubicBezTo>
                <a:cubicBezTo>
                  <a:pt x="1074012" y="4621176"/>
                  <a:pt x="1073238" y="4621280"/>
                  <a:pt x="1073083" y="4620453"/>
                </a:cubicBezTo>
                <a:cubicBezTo>
                  <a:pt x="1073083" y="4620453"/>
                  <a:pt x="1073238" y="4621280"/>
                  <a:pt x="1072153" y="4620453"/>
                </a:cubicBezTo>
                <a:cubicBezTo>
                  <a:pt x="1073083" y="4620453"/>
                  <a:pt x="1072928" y="4619524"/>
                  <a:pt x="1072773" y="4618698"/>
                </a:cubicBezTo>
                <a:cubicBezTo>
                  <a:pt x="1074167" y="4616840"/>
                  <a:pt x="1076491" y="4614878"/>
                  <a:pt x="1078195" y="4615704"/>
                </a:cubicBezTo>
                <a:close/>
                <a:moveTo>
                  <a:pt x="5801902" y="4615618"/>
                </a:moveTo>
                <a:cubicBezTo>
                  <a:pt x="5803606" y="4614586"/>
                  <a:pt x="5804226" y="4618097"/>
                  <a:pt x="5804845" y="4618509"/>
                </a:cubicBezTo>
                <a:cubicBezTo>
                  <a:pt x="5805000" y="4619748"/>
                  <a:pt x="5805310" y="4620884"/>
                  <a:pt x="5804071" y="4621298"/>
                </a:cubicBezTo>
                <a:cubicBezTo>
                  <a:pt x="5803451" y="4621401"/>
                  <a:pt x="5803141" y="4621710"/>
                  <a:pt x="5802676" y="4621710"/>
                </a:cubicBezTo>
                <a:cubicBezTo>
                  <a:pt x="5802367" y="4621710"/>
                  <a:pt x="5802057" y="4621504"/>
                  <a:pt x="5801592" y="4620678"/>
                </a:cubicBezTo>
                <a:cubicBezTo>
                  <a:pt x="5800818" y="4620265"/>
                  <a:pt x="5800663" y="4619026"/>
                  <a:pt x="5800043" y="4618613"/>
                </a:cubicBezTo>
                <a:cubicBezTo>
                  <a:pt x="5800043" y="4618613"/>
                  <a:pt x="5800198" y="4617993"/>
                  <a:pt x="5800508" y="4617270"/>
                </a:cubicBezTo>
                <a:cubicBezTo>
                  <a:pt x="5800818" y="4616547"/>
                  <a:pt x="5801283" y="4615825"/>
                  <a:pt x="5801902" y="4615618"/>
                </a:cubicBezTo>
                <a:close/>
                <a:moveTo>
                  <a:pt x="1794589" y="4615601"/>
                </a:moveTo>
                <a:cubicBezTo>
                  <a:pt x="1794125" y="4616736"/>
                  <a:pt x="1792886" y="4620247"/>
                  <a:pt x="1792886" y="4620247"/>
                </a:cubicBezTo>
                <a:cubicBezTo>
                  <a:pt x="1793196" y="4620970"/>
                  <a:pt x="1793041" y="4620970"/>
                  <a:pt x="1792576" y="4622106"/>
                </a:cubicBezTo>
                <a:cubicBezTo>
                  <a:pt x="1791492" y="4621796"/>
                  <a:pt x="1791646" y="4621796"/>
                  <a:pt x="1791337" y="4620970"/>
                </a:cubicBezTo>
                <a:cubicBezTo>
                  <a:pt x="1791802" y="4619834"/>
                  <a:pt x="1792421" y="4619421"/>
                  <a:pt x="1792886" y="4618285"/>
                </a:cubicBezTo>
                <a:cubicBezTo>
                  <a:pt x="1790873" y="4617459"/>
                  <a:pt x="1791182" y="4618285"/>
                  <a:pt x="1791646" y="4617149"/>
                </a:cubicBezTo>
                <a:cubicBezTo>
                  <a:pt x="1791646" y="4617149"/>
                  <a:pt x="1791646" y="4617149"/>
                  <a:pt x="1792111" y="4615910"/>
                </a:cubicBezTo>
                <a:cubicBezTo>
                  <a:pt x="1792111" y="4615910"/>
                  <a:pt x="1791646" y="4615187"/>
                  <a:pt x="1794589" y="4615601"/>
                </a:cubicBezTo>
                <a:close/>
                <a:moveTo>
                  <a:pt x="6401816" y="4615205"/>
                </a:moveTo>
                <a:cubicBezTo>
                  <a:pt x="6401661" y="4616444"/>
                  <a:pt x="6401506" y="4617683"/>
                  <a:pt x="6401351" y="4618923"/>
                </a:cubicBezTo>
                <a:cubicBezTo>
                  <a:pt x="6399957" y="4619852"/>
                  <a:pt x="6398408" y="4620368"/>
                  <a:pt x="6397014" y="4620368"/>
                </a:cubicBezTo>
                <a:cubicBezTo>
                  <a:pt x="6395775" y="4620471"/>
                  <a:pt x="6394535" y="4619955"/>
                  <a:pt x="6393761" y="4618819"/>
                </a:cubicBezTo>
                <a:cubicBezTo>
                  <a:pt x="6393296" y="4618097"/>
                  <a:pt x="6392986" y="4617064"/>
                  <a:pt x="6393141" y="4615722"/>
                </a:cubicBezTo>
                <a:cubicBezTo>
                  <a:pt x="6395000" y="4613863"/>
                  <a:pt x="6400266" y="4613347"/>
                  <a:pt x="6401816" y="4615205"/>
                </a:cubicBezTo>
                <a:close/>
                <a:moveTo>
                  <a:pt x="1406264" y="4615084"/>
                </a:moveTo>
                <a:cubicBezTo>
                  <a:pt x="1408124" y="4614878"/>
                  <a:pt x="1412925" y="4618595"/>
                  <a:pt x="1412615" y="4619731"/>
                </a:cubicBezTo>
                <a:cubicBezTo>
                  <a:pt x="1410292" y="4619731"/>
                  <a:pt x="1406419" y="4619628"/>
                  <a:pt x="1404871" y="4618285"/>
                </a:cubicBezTo>
                <a:cubicBezTo>
                  <a:pt x="1404251" y="4617872"/>
                  <a:pt x="1403942" y="4617252"/>
                  <a:pt x="1404096" y="4616427"/>
                </a:cubicBezTo>
                <a:cubicBezTo>
                  <a:pt x="1404406" y="4615291"/>
                  <a:pt x="1405490" y="4615497"/>
                  <a:pt x="1406264" y="4615084"/>
                </a:cubicBezTo>
                <a:close/>
                <a:moveTo>
                  <a:pt x="6040443" y="4614482"/>
                </a:moveTo>
                <a:cubicBezTo>
                  <a:pt x="6041372" y="4616238"/>
                  <a:pt x="6040597" y="4617890"/>
                  <a:pt x="6039823" y="4619542"/>
                </a:cubicBezTo>
                <a:cubicBezTo>
                  <a:pt x="6039048" y="4620781"/>
                  <a:pt x="6038274" y="4621194"/>
                  <a:pt x="6037345" y="4621091"/>
                </a:cubicBezTo>
                <a:cubicBezTo>
                  <a:pt x="6036570" y="4620884"/>
                  <a:pt x="6035641" y="4620162"/>
                  <a:pt x="6034866" y="4619336"/>
                </a:cubicBezTo>
                <a:cubicBezTo>
                  <a:pt x="6033007" y="4617477"/>
                  <a:pt x="6033782" y="4615825"/>
                  <a:pt x="6033782" y="4615825"/>
                </a:cubicBezTo>
                <a:cubicBezTo>
                  <a:pt x="6035331" y="4613347"/>
                  <a:pt x="6037809" y="4612624"/>
                  <a:pt x="6040443" y="4614482"/>
                </a:cubicBezTo>
                <a:close/>
                <a:moveTo>
                  <a:pt x="1378693" y="4613845"/>
                </a:moveTo>
                <a:cubicBezTo>
                  <a:pt x="1379313" y="4614362"/>
                  <a:pt x="1379623" y="4615187"/>
                  <a:pt x="1379778" y="4616220"/>
                </a:cubicBezTo>
                <a:lnTo>
                  <a:pt x="1379313" y="4619524"/>
                </a:lnTo>
                <a:lnTo>
                  <a:pt x="1381326" y="4621486"/>
                </a:lnTo>
                <a:cubicBezTo>
                  <a:pt x="1380397" y="4623138"/>
                  <a:pt x="1381017" y="4625823"/>
                  <a:pt x="1379313" y="4627269"/>
                </a:cubicBezTo>
                <a:cubicBezTo>
                  <a:pt x="1379313" y="4627269"/>
                  <a:pt x="1378383" y="4627991"/>
                  <a:pt x="1376680" y="4627681"/>
                </a:cubicBezTo>
                <a:cubicBezTo>
                  <a:pt x="1376060" y="4627991"/>
                  <a:pt x="1375440" y="4628095"/>
                  <a:pt x="1374821" y="4627991"/>
                </a:cubicBezTo>
                <a:cubicBezTo>
                  <a:pt x="1373117" y="4627681"/>
                  <a:pt x="1371723" y="4626030"/>
                  <a:pt x="1371723" y="4626030"/>
                </a:cubicBezTo>
                <a:cubicBezTo>
                  <a:pt x="1371723" y="4626030"/>
                  <a:pt x="1371723" y="4626030"/>
                  <a:pt x="1371723" y="4626855"/>
                </a:cubicBezTo>
                <a:cubicBezTo>
                  <a:pt x="1371878" y="4625100"/>
                  <a:pt x="1371103" y="4623242"/>
                  <a:pt x="1371258" y="4621589"/>
                </a:cubicBezTo>
                <a:cubicBezTo>
                  <a:pt x="1373891" y="4618595"/>
                  <a:pt x="1375750" y="4617769"/>
                  <a:pt x="1377145" y="4618079"/>
                </a:cubicBezTo>
                <a:lnTo>
                  <a:pt x="1377299" y="4618182"/>
                </a:lnTo>
                <a:close/>
                <a:moveTo>
                  <a:pt x="5974147" y="4613657"/>
                </a:moveTo>
                <a:cubicBezTo>
                  <a:pt x="5975851" y="4615825"/>
                  <a:pt x="5976780" y="4617890"/>
                  <a:pt x="5977245" y="4619852"/>
                </a:cubicBezTo>
                <a:lnTo>
                  <a:pt x="5976935" y="4625221"/>
                </a:lnTo>
                <a:lnTo>
                  <a:pt x="5977864" y="4625428"/>
                </a:lnTo>
                <a:cubicBezTo>
                  <a:pt x="5980498" y="4626357"/>
                  <a:pt x="5982666" y="4627906"/>
                  <a:pt x="5984525" y="4629868"/>
                </a:cubicBezTo>
                <a:lnTo>
                  <a:pt x="5987313" y="4633895"/>
                </a:lnTo>
                <a:lnTo>
                  <a:pt x="5988087" y="4630177"/>
                </a:lnTo>
                <a:cubicBezTo>
                  <a:pt x="5989636" y="4626047"/>
                  <a:pt x="5992270" y="4621917"/>
                  <a:pt x="5996142" y="4617890"/>
                </a:cubicBezTo>
                <a:cubicBezTo>
                  <a:pt x="6001873" y="4618097"/>
                  <a:pt x="6003268" y="4622433"/>
                  <a:pt x="6002183" y="4627493"/>
                </a:cubicBezTo>
                <a:cubicBezTo>
                  <a:pt x="6000944" y="4633895"/>
                  <a:pt x="5995832" y="4641226"/>
                  <a:pt x="5990721" y="4642878"/>
                </a:cubicBezTo>
                <a:lnTo>
                  <a:pt x="5990256" y="4642878"/>
                </a:lnTo>
                <a:lnTo>
                  <a:pt x="5989946" y="4649796"/>
                </a:lnTo>
                <a:cubicBezTo>
                  <a:pt x="5989636" y="4652274"/>
                  <a:pt x="5988862" y="4654856"/>
                  <a:pt x="5987623" y="4657334"/>
                </a:cubicBezTo>
                <a:cubicBezTo>
                  <a:pt x="5986384" y="4657231"/>
                  <a:pt x="5985300" y="4657231"/>
                  <a:pt x="5985144" y="4658367"/>
                </a:cubicBezTo>
                <a:cubicBezTo>
                  <a:pt x="5977554" y="4658676"/>
                  <a:pt x="5970894" y="4653513"/>
                  <a:pt x="5967486" y="4646492"/>
                </a:cubicBezTo>
                <a:cubicBezTo>
                  <a:pt x="5966247" y="4643910"/>
                  <a:pt x="5965473" y="4641123"/>
                  <a:pt x="5965163" y="4638232"/>
                </a:cubicBezTo>
                <a:lnTo>
                  <a:pt x="5965628" y="4633998"/>
                </a:lnTo>
                <a:lnTo>
                  <a:pt x="5964543" y="4634411"/>
                </a:lnTo>
                <a:cubicBezTo>
                  <a:pt x="5959277" y="4634824"/>
                  <a:pt x="5954010" y="4632036"/>
                  <a:pt x="5952926" y="4624499"/>
                </a:cubicBezTo>
                <a:cubicBezTo>
                  <a:pt x="5955869" y="4618406"/>
                  <a:pt x="5969035" y="4613243"/>
                  <a:pt x="5974147" y="4613657"/>
                </a:cubicBezTo>
                <a:close/>
                <a:moveTo>
                  <a:pt x="1789323" y="4613536"/>
                </a:moveTo>
                <a:cubicBezTo>
                  <a:pt x="1789323" y="4613536"/>
                  <a:pt x="1790098" y="4613122"/>
                  <a:pt x="1791182" y="4613536"/>
                </a:cubicBezTo>
                <a:cubicBezTo>
                  <a:pt x="1793041" y="4613536"/>
                  <a:pt x="1791027" y="4615601"/>
                  <a:pt x="1792111" y="4615910"/>
                </a:cubicBezTo>
                <a:cubicBezTo>
                  <a:pt x="1785296" y="4617459"/>
                  <a:pt x="1780494" y="4621693"/>
                  <a:pt x="1780494" y="4621693"/>
                </a:cubicBezTo>
                <a:cubicBezTo>
                  <a:pt x="1778635" y="4621693"/>
                  <a:pt x="1778325" y="4620867"/>
                  <a:pt x="1778635" y="4621589"/>
                </a:cubicBezTo>
                <a:cubicBezTo>
                  <a:pt x="1776466" y="4620867"/>
                  <a:pt x="1773524" y="4620453"/>
                  <a:pt x="1773679" y="4618492"/>
                </a:cubicBezTo>
                <a:cubicBezTo>
                  <a:pt x="1775692" y="4611986"/>
                  <a:pt x="1786690" y="4613948"/>
                  <a:pt x="1789323" y="4613536"/>
                </a:cubicBezTo>
                <a:close/>
                <a:moveTo>
                  <a:pt x="6112469" y="4613140"/>
                </a:moveTo>
                <a:cubicBezTo>
                  <a:pt x="6113089" y="4614070"/>
                  <a:pt x="6114638" y="4615102"/>
                  <a:pt x="6115258" y="4616961"/>
                </a:cubicBezTo>
                <a:cubicBezTo>
                  <a:pt x="6114328" y="4618406"/>
                  <a:pt x="6113399" y="4618923"/>
                  <a:pt x="6112624" y="4619026"/>
                </a:cubicBezTo>
                <a:cubicBezTo>
                  <a:pt x="6111850" y="4619026"/>
                  <a:pt x="6111230" y="4618509"/>
                  <a:pt x="6110920" y="4617787"/>
                </a:cubicBezTo>
                <a:cubicBezTo>
                  <a:pt x="6109991" y="4616238"/>
                  <a:pt x="6110301" y="4613863"/>
                  <a:pt x="6112469" y="4613140"/>
                </a:cubicBezTo>
                <a:close/>
                <a:moveTo>
                  <a:pt x="1199788" y="4612916"/>
                </a:moveTo>
                <a:cubicBezTo>
                  <a:pt x="1199788" y="4613845"/>
                  <a:pt x="1200563" y="4615601"/>
                  <a:pt x="1199633" y="4616427"/>
                </a:cubicBezTo>
                <a:cubicBezTo>
                  <a:pt x="1199169" y="4616840"/>
                  <a:pt x="1199013" y="4617046"/>
                  <a:pt x="1198703" y="4617149"/>
                </a:cubicBezTo>
                <a:cubicBezTo>
                  <a:pt x="1198394" y="4617149"/>
                  <a:pt x="1197929" y="4617046"/>
                  <a:pt x="1197154" y="4616943"/>
                </a:cubicBezTo>
                <a:cubicBezTo>
                  <a:pt x="1198084" y="4614465"/>
                  <a:pt x="1198084" y="4614465"/>
                  <a:pt x="1199788" y="4612916"/>
                </a:cubicBezTo>
                <a:close/>
                <a:moveTo>
                  <a:pt x="1842453" y="4612813"/>
                </a:moveTo>
                <a:lnTo>
                  <a:pt x="1841678" y="4614258"/>
                </a:lnTo>
                <a:cubicBezTo>
                  <a:pt x="1841523" y="4614465"/>
                  <a:pt x="1841368" y="4614568"/>
                  <a:pt x="1841213" y="4614671"/>
                </a:cubicBezTo>
                <a:cubicBezTo>
                  <a:pt x="1841523" y="4614465"/>
                  <a:pt x="1841988" y="4614362"/>
                  <a:pt x="1842453" y="4614465"/>
                </a:cubicBezTo>
                <a:cubicBezTo>
                  <a:pt x="1843072" y="4614051"/>
                  <a:pt x="1843537" y="4614775"/>
                  <a:pt x="1844776" y="4615084"/>
                </a:cubicBezTo>
                <a:lnTo>
                  <a:pt x="1845086" y="4616013"/>
                </a:lnTo>
                <a:lnTo>
                  <a:pt x="1846015" y="4615807"/>
                </a:lnTo>
                <a:lnTo>
                  <a:pt x="1846170" y="4615807"/>
                </a:lnTo>
                <a:lnTo>
                  <a:pt x="1844312" y="4613845"/>
                </a:lnTo>
                <a:close/>
                <a:moveTo>
                  <a:pt x="1128535" y="4612606"/>
                </a:moveTo>
                <a:cubicBezTo>
                  <a:pt x="1129000" y="4612813"/>
                  <a:pt x="1129155" y="4613226"/>
                  <a:pt x="1129155" y="4613742"/>
                </a:cubicBezTo>
                <a:cubicBezTo>
                  <a:pt x="1129000" y="4614258"/>
                  <a:pt x="1128845" y="4614878"/>
                  <a:pt x="1128535" y="4615394"/>
                </a:cubicBezTo>
                <a:cubicBezTo>
                  <a:pt x="1127916" y="4616633"/>
                  <a:pt x="1127296" y="4617769"/>
                  <a:pt x="1126832" y="4618905"/>
                </a:cubicBezTo>
                <a:cubicBezTo>
                  <a:pt x="1126832" y="4618905"/>
                  <a:pt x="1126832" y="4618905"/>
                  <a:pt x="1128535" y="4612606"/>
                </a:cubicBezTo>
                <a:close/>
                <a:moveTo>
                  <a:pt x="1576651" y="4612503"/>
                </a:moveTo>
                <a:cubicBezTo>
                  <a:pt x="1578665" y="4613948"/>
                  <a:pt x="1581452" y="4614775"/>
                  <a:pt x="1583001" y="4617149"/>
                </a:cubicBezTo>
                <a:cubicBezTo>
                  <a:pt x="1583466" y="4617975"/>
                  <a:pt x="1583776" y="4618905"/>
                  <a:pt x="1583931" y="4620144"/>
                </a:cubicBezTo>
                <a:cubicBezTo>
                  <a:pt x="1576806" y="4621176"/>
                  <a:pt x="1572313" y="4624068"/>
                  <a:pt x="1566273" y="4626339"/>
                </a:cubicBezTo>
                <a:cubicBezTo>
                  <a:pt x="1565653" y="4625719"/>
                  <a:pt x="1565343" y="4624997"/>
                  <a:pt x="1565188" y="4623861"/>
                </a:cubicBezTo>
                <a:cubicBezTo>
                  <a:pt x="1565034" y="4622829"/>
                  <a:pt x="1565034" y="4621383"/>
                  <a:pt x="1565343" y="4619524"/>
                </a:cubicBezTo>
                <a:cubicBezTo>
                  <a:pt x="1573243" y="4621073"/>
                  <a:pt x="1570300" y="4611677"/>
                  <a:pt x="1576651" y="4612503"/>
                </a:cubicBezTo>
                <a:close/>
                <a:moveTo>
                  <a:pt x="6362627" y="4611488"/>
                </a:moveTo>
                <a:cubicBezTo>
                  <a:pt x="6364176" y="4612417"/>
                  <a:pt x="6364795" y="4615205"/>
                  <a:pt x="6363866" y="4620471"/>
                </a:cubicBezTo>
                <a:lnTo>
                  <a:pt x="6362937" y="4624499"/>
                </a:lnTo>
                <a:lnTo>
                  <a:pt x="6363246" y="4624499"/>
                </a:lnTo>
                <a:cubicBezTo>
                  <a:pt x="6364330" y="4624499"/>
                  <a:pt x="6365415" y="4624911"/>
                  <a:pt x="6366499" y="4625634"/>
                </a:cubicBezTo>
                <a:lnTo>
                  <a:pt x="6369442" y="4629661"/>
                </a:lnTo>
                <a:lnTo>
                  <a:pt x="6383693" y="4629145"/>
                </a:lnTo>
                <a:cubicBezTo>
                  <a:pt x="6390663" y="4628629"/>
                  <a:pt x="6397323" y="4628009"/>
                  <a:pt x="6403520" y="4628629"/>
                </a:cubicBezTo>
                <a:lnTo>
                  <a:pt x="6397788" y="4632552"/>
                </a:lnTo>
                <a:lnTo>
                  <a:pt x="6398408" y="4633069"/>
                </a:lnTo>
                <a:cubicBezTo>
                  <a:pt x="6401506" y="4633895"/>
                  <a:pt x="6404759" y="4629765"/>
                  <a:pt x="6407237" y="4633895"/>
                </a:cubicBezTo>
                <a:cubicBezTo>
                  <a:pt x="6407392" y="4636579"/>
                  <a:pt x="6408476" y="4639264"/>
                  <a:pt x="6407702" y="4642259"/>
                </a:cubicBezTo>
                <a:cubicBezTo>
                  <a:pt x="6407392" y="4643188"/>
                  <a:pt x="6406927" y="4644117"/>
                  <a:pt x="6406153" y="4645150"/>
                </a:cubicBezTo>
                <a:cubicBezTo>
                  <a:pt x="6401196" y="4640400"/>
                  <a:pt x="6396394" y="4639058"/>
                  <a:pt x="6391128" y="4635960"/>
                </a:cubicBezTo>
                <a:lnTo>
                  <a:pt x="6391283" y="4635547"/>
                </a:lnTo>
                <a:lnTo>
                  <a:pt x="6383848" y="4637509"/>
                </a:lnTo>
                <a:lnTo>
                  <a:pt x="6378736" y="4638025"/>
                </a:lnTo>
                <a:lnTo>
                  <a:pt x="6379201" y="4638438"/>
                </a:lnTo>
                <a:cubicBezTo>
                  <a:pt x="6381214" y="4645666"/>
                  <a:pt x="6381059" y="4651345"/>
                  <a:pt x="6374708" y="4653927"/>
                </a:cubicBezTo>
                <a:cubicBezTo>
                  <a:pt x="6374399" y="4652687"/>
                  <a:pt x="6373160" y="4652997"/>
                  <a:pt x="6372075" y="4653204"/>
                </a:cubicBezTo>
                <a:cubicBezTo>
                  <a:pt x="6370527" y="4651965"/>
                  <a:pt x="6369752" y="4650106"/>
                  <a:pt x="6369287" y="4648144"/>
                </a:cubicBezTo>
                <a:lnTo>
                  <a:pt x="6369597" y="4644530"/>
                </a:lnTo>
                <a:lnTo>
                  <a:pt x="6365105" y="4644117"/>
                </a:lnTo>
                <a:cubicBezTo>
                  <a:pt x="6364795" y="4642259"/>
                  <a:pt x="6365105" y="4640710"/>
                  <a:pt x="6365725" y="4639471"/>
                </a:cubicBezTo>
                <a:lnTo>
                  <a:pt x="6365880" y="4639264"/>
                </a:lnTo>
                <a:lnTo>
                  <a:pt x="6360923" y="4639677"/>
                </a:lnTo>
                <a:cubicBezTo>
                  <a:pt x="6361233" y="4638128"/>
                  <a:pt x="6360923" y="4636786"/>
                  <a:pt x="6360923" y="4635340"/>
                </a:cubicBezTo>
                <a:lnTo>
                  <a:pt x="6361233" y="4632966"/>
                </a:lnTo>
                <a:lnTo>
                  <a:pt x="6360303" y="4632862"/>
                </a:lnTo>
                <a:cubicBezTo>
                  <a:pt x="6359219" y="4630900"/>
                  <a:pt x="6358909" y="4629248"/>
                  <a:pt x="6358909" y="4628009"/>
                </a:cubicBezTo>
                <a:lnTo>
                  <a:pt x="6359529" y="4626770"/>
                </a:lnTo>
                <a:lnTo>
                  <a:pt x="6355347" y="4626976"/>
                </a:lnTo>
                <a:cubicBezTo>
                  <a:pt x="6353488" y="4626770"/>
                  <a:pt x="6352249" y="4626254"/>
                  <a:pt x="6351474" y="4625428"/>
                </a:cubicBezTo>
                <a:lnTo>
                  <a:pt x="6350545" y="4623569"/>
                </a:lnTo>
                <a:lnTo>
                  <a:pt x="6349461" y="4625428"/>
                </a:lnTo>
                <a:cubicBezTo>
                  <a:pt x="6348531" y="4626254"/>
                  <a:pt x="6346673" y="4626976"/>
                  <a:pt x="6344504" y="4627390"/>
                </a:cubicBezTo>
                <a:cubicBezTo>
                  <a:pt x="6342490" y="4627803"/>
                  <a:pt x="6340322" y="4627699"/>
                  <a:pt x="6339237" y="4626873"/>
                </a:cubicBezTo>
                <a:cubicBezTo>
                  <a:pt x="6340167" y="4625221"/>
                  <a:pt x="6341251" y="4623466"/>
                  <a:pt x="6342180" y="4621814"/>
                </a:cubicBezTo>
                <a:cubicBezTo>
                  <a:pt x="6342180" y="4622640"/>
                  <a:pt x="6349925" y="4621091"/>
                  <a:pt x="6349925" y="4621091"/>
                </a:cubicBezTo>
                <a:lnTo>
                  <a:pt x="6350700" y="4622433"/>
                </a:lnTo>
                <a:lnTo>
                  <a:pt x="6351474" y="4618819"/>
                </a:lnTo>
                <a:cubicBezTo>
                  <a:pt x="6353952" y="4614070"/>
                  <a:pt x="6359839" y="4609423"/>
                  <a:pt x="6362627" y="4611488"/>
                </a:cubicBezTo>
                <a:close/>
                <a:moveTo>
                  <a:pt x="1199943" y="4610438"/>
                </a:moveTo>
                <a:cubicBezTo>
                  <a:pt x="1200717" y="4610541"/>
                  <a:pt x="1200563" y="4611470"/>
                  <a:pt x="1199788" y="4612296"/>
                </a:cubicBezTo>
                <a:cubicBezTo>
                  <a:pt x="1199788" y="4612296"/>
                  <a:pt x="1199013" y="4612193"/>
                  <a:pt x="1199013" y="4612193"/>
                </a:cubicBezTo>
                <a:cubicBezTo>
                  <a:pt x="1199013" y="4611264"/>
                  <a:pt x="1199169" y="4610335"/>
                  <a:pt x="1199943" y="4610438"/>
                </a:cubicBezTo>
                <a:close/>
                <a:moveTo>
                  <a:pt x="5917455" y="4610249"/>
                </a:moveTo>
                <a:cubicBezTo>
                  <a:pt x="5920243" y="4613760"/>
                  <a:pt x="5923186" y="4617270"/>
                  <a:pt x="5925974" y="4620884"/>
                </a:cubicBezTo>
                <a:cubicBezTo>
                  <a:pt x="5926749" y="4629351"/>
                  <a:pt x="5921017" y="4636270"/>
                  <a:pt x="5913892" y="4637612"/>
                </a:cubicBezTo>
                <a:cubicBezTo>
                  <a:pt x="5912653" y="4637818"/>
                  <a:pt x="5911414" y="4637818"/>
                  <a:pt x="5910174" y="4637715"/>
                </a:cubicBezTo>
                <a:cubicBezTo>
                  <a:pt x="5908935" y="4637612"/>
                  <a:pt x="5907696" y="4637302"/>
                  <a:pt x="5906457" y="4636889"/>
                </a:cubicBezTo>
                <a:cubicBezTo>
                  <a:pt x="5903049" y="4635547"/>
                  <a:pt x="5899797" y="4632862"/>
                  <a:pt x="5897008" y="4628526"/>
                </a:cubicBezTo>
                <a:cubicBezTo>
                  <a:pt x="5896544" y="4626357"/>
                  <a:pt x="5897008" y="4623982"/>
                  <a:pt x="5898093" y="4621710"/>
                </a:cubicBezTo>
                <a:cubicBezTo>
                  <a:pt x="5901655" y="4614792"/>
                  <a:pt x="5911414" y="4608494"/>
                  <a:pt x="5917455" y="4610249"/>
                </a:cubicBezTo>
                <a:close/>
                <a:moveTo>
                  <a:pt x="6061508" y="4610042"/>
                </a:moveTo>
                <a:cubicBezTo>
                  <a:pt x="6061818" y="4612417"/>
                  <a:pt x="6067239" y="4611592"/>
                  <a:pt x="6067859" y="4615205"/>
                </a:cubicBezTo>
                <a:cubicBezTo>
                  <a:pt x="6070802" y="4625634"/>
                  <a:pt x="6067859" y="4627080"/>
                  <a:pt x="6062438" y="4631107"/>
                </a:cubicBezTo>
                <a:cubicBezTo>
                  <a:pt x="6062902" y="4630384"/>
                  <a:pt x="6061818" y="4630694"/>
                  <a:pt x="6061818" y="4630694"/>
                </a:cubicBezTo>
                <a:cubicBezTo>
                  <a:pt x="6059495" y="4631313"/>
                  <a:pt x="6063057" y="4634721"/>
                  <a:pt x="6060114" y="4636063"/>
                </a:cubicBezTo>
                <a:cubicBezTo>
                  <a:pt x="6059030" y="4636579"/>
                  <a:pt x="6057791" y="4636579"/>
                  <a:pt x="6056707" y="4636373"/>
                </a:cubicBezTo>
                <a:lnTo>
                  <a:pt x="6051440" y="4643395"/>
                </a:lnTo>
                <a:cubicBezTo>
                  <a:pt x="6048962" y="4645356"/>
                  <a:pt x="6046174" y="4646699"/>
                  <a:pt x="6043540" y="4646905"/>
                </a:cubicBezTo>
                <a:cubicBezTo>
                  <a:pt x="6041991" y="4640606"/>
                  <a:pt x="6041527" y="4635340"/>
                  <a:pt x="6042921" y="4630900"/>
                </a:cubicBezTo>
                <a:lnTo>
                  <a:pt x="6046019" y="4626150"/>
                </a:lnTo>
                <a:lnTo>
                  <a:pt x="6045709" y="4625221"/>
                </a:lnTo>
                <a:cubicBezTo>
                  <a:pt x="6045554" y="4624292"/>
                  <a:pt x="6046019" y="4623776"/>
                  <a:pt x="6047103" y="4623466"/>
                </a:cubicBezTo>
                <a:cubicBezTo>
                  <a:pt x="6047878" y="4622949"/>
                  <a:pt x="6048652" y="4622949"/>
                  <a:pt x="6049271" y="4623156"/>
                </a:cubicBezTo>
                <a:lnTo>
                  <a:pt x="6049426" y="4623156"/>
                </a:lnTo>
                <a:lnTo>
                  <a:pt x="6054228" y="4620265"/>
                </a:lnTo>
                <a:lnTo>
                  <a:pt x="6055312" y="4617270"/>
                </a:lnTo>
                <a:lnTo>
                  <a:pt x="6056707" y="4614379"/>
                </a:lnTo>
                <a:lnTo>
                  <a:pt x="6055777" y="4615102"/>
                </a:lnTo>
                <a:cubicBezTo>
                  <a:pt x="6052214" y="4617270"/>
                  <a:pt x="6046483" y="4618200"/>
                  <a:pt x="6043385" y="4614070"/>
                </a:cubicBezTo>
                <a:cubicBezTo>
                  <a:pt x="6046483" y="4610765"/>
                  <a:pt x="6049117" y="4610042"/>
                  <a:pt x="6051440" y="4610249"/>
                </a:cubicBezTo>
                <a:lnTo>
                  <a:pt x="6058100" y="4612624"/>
                </a:lnTo>
                <a:close/>
                <a:moveTo>
                  <a:pt x="1318593" y="4609612"/>
                </a:moveTo>
                <a:cubicBezTo>
                  <a:pt x="1319988" y="4611367"/>
                  <a:pt x="1320607" y="4613845"/>
                  <a:pt x="1319678" y="4614775"/>
                </a:cubicBezTo>
                <a:cubicBezTo>
                  <a:pt x="1318284" y="4616013"/>
                  <a:pt x="1316890" y="4617252"/>
                  <a:pt x="1315341" y="4616736"/>
                </a:cubicBezTo>
                <a:cubicBezTo>
                  <a:pt x="1314876" y="4616530"/>
                  <a:pt x="1314257" y="4616117"/>
                  <a:pt x="1313791" y="4615497"/>
                </a:cubicBezTo>
                <a:cubicBezTo>
                  <a:pt x="1313791" y="4615497"/>
                  <a:pt x="1313791" y="4615497"/>
                  <a:pt x="1313946" y="4614671"/>
                </a:cubicBezTo>
                <a:cubicBezTo>
                  <a:pt x="1314101" y="4612916"/>
                  <a:pt x="1314101" y="4612090"/>
                  <a:pt x="1314257" y="4611161"/>
                </a:cubicBezTo>
                <a:cubicBezTo>
                  <a:pt x="1315185" y="4610335"/>
                  <a:pt x="1317819" y="4608682"/>
                  <a:pt x="1318593" y="4609612"/>
                </a:cubicBezTo>
                <a:close/>
                <a:moveTo>
                  <a:pt x="843371" y="4608889"/>
                </a:moveTo>
                <a:cubicBezTo>
                  <a:pt x="843217" y="4611367"/>
                  <a:pt x="843061" y="4612606"/>
                  <a:pt x="843526" y="4614465"/>
                </a:cubicBezTo>
                <a:cubicBezTo>
                  <a:pt x="839964" y="4614258"/>
                  <a:pt x="837176" y="4615084"/>
                  <a:pt x="835162" y="4615187"/>
                </a:cubicBezTo>
                <a:cubicBezTo>
                  <a:pt x="832993" y="4615291"/>
                  <a:pt x="831444" y="4614775"/>
                  <a:pt x="830205" y="4611986"/>
                </a:cubicBezTo>
                <a:cubicBezTo>
                  <a:pt x="832374" y="4608992"/>
                  <a:pt x="838105" y="4609302"/>
                  <a:pt x="843371" y="4608889"/>
                </a:cubicBezTo>
                <a:close/>
                <a:moveTo>
                  <a:pt x="5933409" y="4608700"/>
                </a:moveTo>
                <a:cubicBezTo>
                  <a:pt x="5936507" y="4607874"/>
                  <a:pt x="5940224" y="4609423"/>
                  <a:pt x="5941154" y="4614070"/>
                </a:cubicBezTo>
                <a:cubicBezTo>
                  <a:pt x="5939140" y="4617270"/>
                  <a:pt x="5936817" y="4618819"/>
                  <a:pt x="5935268" y="4620162"/>
                </a:cubicBezTo>
                <a:cubicBezTo>
                  <a:pt x="5933409" y="4618923"/>
                  <a:pt x="5931550" y="4618613"/>
                  <a:pt x="5929692" y="4617477"/>
                </a:cubicBezTo>
                <a:cubicBezTo>
                  <a:pt x="5927833" y="4612624"/>
                  <a:pt x="5930311" y="4609423"/>
                  <a:pt x="5933409" y="4608700"/>
                </a:cubicBezTo>
                <a:close/>
                <a:moveTo>
                  <a:pt x="1774240" y="4608463"/>
                </a:moveTo>
                <a:cubicBezTo>
                  <a:pt x="1777357" y="4608321"/>
                  <a:pt x="1779874" y="4608424"/>
                  <a:pt x="1780804" y="4608476"/>
                </a:cubicBezTo>
                <a:cubicBezTo>
                  <a:pt x="1781733" y="4608579"/>
                  <a:pt x="1782353" y="4608785"/>
                  <a:pt x="1782508" y="4609199"/>
                </a:cubicBezTo>
                <a:cubicBezTo>
                  <a:pt x="1782817" y="4609715"/>
                  <a:pt x="1782817" y="4610438"/>
                  <a:pt x="1782663" y="4611367"/>
                </a:cubicBezTo>
                <a:cubicBezTo>
                  <a:pt x="1780184" y="4615187"/>
                  <a:pt x="1776157" y="4614051"/>
                  <a:pt x="1771975" y="4614878"/>
                </a:cubicBezTo>
                <a:cubicBezTo>
                  <a:pt x="1771665" y="4614051"/>
                  <a:pt x="1770581" y="4613639"/>
                  <a:pt x="1769806" y="4613948"/>
                </a:cubicBezTo>
                <a:lnTo>
                  <a:pt x="1768722" y="4613432"/>
                </a:lnTo>
                <a:lnTo>
                  <a:pt x="1770890" y="4615497"/>
                </a:lnTo>
                <a:cubicBezTo>
                  <a:pt x="1772130" y="4617459"/>
                  <a:pt x="1771820" y="4619937"/>
                  <a:pt x="1771665" y="4623242"/>
                </a:cubicBezTo>
                <a:cubicBezTo>
                  <a:pt x="1771355" y="4622415"/>
                  <a:pt x="1770890" y="4623654"/>
                  <a:pt x="1770890" y="4623654"/>
                </a:cubicBezTo>
                <a:cubicBezTo>
                  <a:pt x="1769961" y="4626030"/>
                  <a:pt x="1775073" y="4624480"/>
                  <a:pt x="1774453" y="4627681"/>
                </a:cubicBezTo>
                <a:cubicBezTo>
                  <a:pt x="1772904" y="4632638"/>
                  <a:pt x="1766708" y="4634083"/>
                  <a:pt x="1763455" y="4634600"/>
                </a:cubicBezTo>
                <a:lnTo>
                  <a:pt x="1761597" y="4634909"/>
                </a:lnTo>
                <a:lnTo>
                  <a:pt x="1761907" y="4635529"/>
                </a:lnTo>
                <a:lnTo>
                  <a:pt x="1763765" y="4635529"/>
                </a:lnTo>
                <a:cubicBezTo>
                  <a:pt x="1768722" y="4635942"/>
                  <a:pt x="1773059" y="4637181"/>
                  <a:pt x="1773369" y="4640898"/>
                </a:cubicBezTo>
                <a:cubicBezTo>
                  <a:pt x="1770426" y="4641105"/>
                  <a:pt x="1765159" y="4642344"/>
                  <a:pt x="1760357" y="4642241"/>
                </a:cubicBezTo>
                <a:cubicBezTo>
                  <a:pt x="1755711" y="4642137"/>
                  <a:pt x="1751374" y="4640692"/>
                  <a:pt x="1750599" y="4635736"/>
                </a:cubicBezTo>
                <a:cubicBezTo>
                  <a:pt x="1751839" y="4635736"/>
                  <a:pt x="1754007" y="4635632"/>
                  <a:pt x="1756331" y="4635529"/>
                </a:cubicBezTo>
                <a:lnTo>
                  <a:pt x="1758964" y="4635529"/>
                </a:lnTo>
                <a:lnTo>
                  <a:pt x="1756486" y="4635013"/>
                </a:lnTo>
                <a:cubicBezTo>
                  <a:pt x="1755866" y="4634703"/>
                  <a:pt x="1755556" y="4634083"/>
                  <a:pt x="1756021" y="4632947"/>
                </a:cubicBezTo>
                <a:cubicBezTo>
                  <a:pt x="1756175" y="4630986"/>
                  <a:pt x="1758034" y="4630986"/>
                  <a:pt x="1758964" y="4628714"/>
                </a:cubicBezTo>
                <a:cubicBezTo>
                  <a:pt x="1759583" y="4626546"/>
                  <a:pt x="1757724" y="4624997"/>
                  <a:pt x="1756175" y="4623035"/>
                </a:cubicBezTo>
                <a:lnTo>
                  <a:pt x="1755866" y="4622519"/>
                </a:lnTo>
                <a:cubicBezTo>
                  <a:pt x="1755246" y="4622003"/>
                  <a:pt x="1754781" y="4621073"/>
                  <a:pt x="1754626" y="4620247"/>
                </a:cubicBezTo>
                <a:lnTo>
                  <a:pt x="1754626" y="4620144"/>
                </a:lnTo>
                <a:lnTo>
                  <a:pt x="1754162" y="4619421"/>
                </a:lnTo>
                <a:cubicBezTo>
                  <a:pt x="1753697" y="4617975"/>
                  <a:pt x="1753697" y="4616220"/>
                  <a:pt x="1754317" y="4614051"/>
                </a:cubicBezTo>
                <a:cubicBezTo>
                  <a:pt x="1756486" y="4614878"/>
                  <a:pt x="1759119" y="4609818"/>
                  <a:pt x="1762371" y="4610954"/>
                </a:cubicBezTo>
                <a:lnTo>
                  <a:pt x="1764695" y="4611780"/>
                </a:lnTo>
                <a:lnTo>
                  <a:pt x="1764075" y="4609921"/>
                </a:lnTo>
                <a:cubicBezTo>
                  <a:pt x="1767406" y="4608992"/>
                  <a:pt x="1771123" y="4608605"/>
                  <a:pt x="1774240" y="4608463"/>
                </a:cubicBezTo>
                <a:close/>
                <a:moveTo>
                  <a:pt x="6208815" y="4607668"/>
                </a:moveTo>
                <a:lnTo>
                  <a:pt x="6210209" y="4611281"/>
                </a:lnTo>
                <a:lnTo>
                  <a:pt x="6210364" y="4610765"/>
                </a:lnTo>
                <a:cubicBezTo>
                  <a:pt x="6216560" y="4617787"/>
                  <a:pt x="6214236" y="4629145"/>
                  <a:pt x="6211448" y="4634101"/>
                </a:cubicBezTo>
                <a:cubicBezTo>
                  <a:pt x="6208505" y="4630694"/>
                  <a:pt x="6207111" y="4625841"/>
                  <a:pt x="6207111" y="4621401"/>
                </a:cubicBezTo>
                <a:lnTo>
                  <a:pt x="6207575" y="4617167"/>
                </a:lnTo>
                <a:lnTo>
                  <a:pt x="6204633" y="4616341"/>
                </a:lnTo>
                <a:cubicBezTo>
                  <a:pt x="6202619" y="4615412"/>
                  <a:pt x="6200760" y="4614173"/>
                  <a:pt x="6199056" y="4613243"/>
                </a:cubicBezTo>
                <a:cubicBezTo>
                  <a:pt x="6202309" y="4611695"/>
                  <a:pt x="6205717" y="4613553"/>
                  <a:pt x="6208815" y="4607668"/>
                </a:cubicBezTo>
                <a:close/>
                <a:moveTo>
                  <a:pt x="1086404" y="4607650"/>
                </a:moveTo>
                <a:cubicBezTo>
                  <a:pt x="1086404" y="4607650"/>
                  <a:pt x="1086404" y="4607650"/>
                  <a:pt x="1087333" y="4607753"/>
                </a:cubicBezTo>
                <a:cubicBezTo>
                  <a:pt x="1088882" y="4608063"/>
                  <a:pt x="1089811" y="4608166"/>
                  <a:pt x="1090586" y="4608373"/>
                </a:cubicBezTo>
                <a:cubicBezTo>
                  <a:pt x="1091360" y="4609302"/>
                  <a:pt x="1092909" y="4612090"/>
                  <a:pt x="1091980" y="4612813"/>
                </a:cubicBezTo>
                <a:cubicBezTo>
                  <a:pt x="1091051" y="4613536"/>
                  <a:pt x="1090121" y="4614155"/>
                  <a:pt x="1089037" y="4614258"/>
                </a:cubicBezTo>
                <a:cubicBezTo>
                  <a:pt x="1088108" y="4614465"/>
                  <a:pt x="1087333" y="4614258"/>
                  <a:pt x="1086869" y="4613742"/>
                </a:cubicBezTo>
                <a:cubicBezTo>
                  <a:pt x="1085784" y="4612296"/>
                  <a:pt x="1084700" y="4610851"/>
                  <a:pt x="1085165" y="4609199"/>
                </a:cubicBezTo>
                <a:cubicBezTo>
                  <a:pt x="1085474" y="4608682"/>
                  <a:pt x="1085784" y="4608166"/>
                  <a:pt x="1086404" y="4607650"/>
                </a:cubicBezTo>
                <a:close/>
                <a:moveTo>
                  <a:pt x="5824672" y="4607565"/>
                </a:moveTo>
                <a:lnTo>
                  <a:pt x="5825291" y="4607977"/>
                </a:lnTo>
                <a:lnTo>
                  <a:pt x="5825756" y="4607771"/>
                </a:lnTo>
                <a:cubicBezTo>
                  <a:pt x="5826686" y="4607668"/>
                  <a:pt x="5827770" y="4607874"/>
                  <a:pt x="5828544" y="4607874"/>
                </a:cubicBezTo>
                <a:cubicBezTo>
                  <a:pt x="5829164" y="4606015"/>
                  <a:pt x="5832107" y="4609320"/>
                  <a:pt x="5832727" y="4607565"/>
                </a:cubicBezTo>
                <a:cubicBezTo>
                  <a:pt x="5836444" y="4610869"/>
                  <a:pt x="5840006" y="4606222"/>
                  <a:pt x="5846357" y="4610249"/>
                </a:cubicBezTo>
                <a:cubicBezTo>
                  <a:pt x="5844344" y="4611075"/>
                  <a:pt x="5842485" y="4611488"/>
                  <a:pt x="5840781" y="4611592"/>
                </a:cubicBezTo>
                <a:cubicBezTo>
                  <a:pt x="5837993" y="4611901"/>
                  <a:pt x="5835670" y="4611695"/>
                  <a:pt x="5833501" y="4611592"/>
                </a:cubicBezTo>
                <a:lnTo>
                  <a:pt x="5827925" y="4612211"/>
                </a:lnTo>
                <a:lnTo>
                  <a:pt x="5826995" y="4613863"/>
                </a:lnTo>
                <a:cubicBezTo>
                  <a:pt x="5826376" y="4614689"/>
                  <a:pt x="5825911" y="4615205"/>
                  <a:pt x="5825291" y="4615515"/>
                </a:cubicBezTo>
                <a:cubicBezTo>
                  <a:pt x="5824827" y="4615825"/>
                  <a:pt x="5824207" y="4615825"/>
                  <a:pt x="5823742" y="4615618"/>
                </a:cubicBezTo>
                <a:cubicBezTo>
                  <a:pt x="5823433" y="4615515"/>
                  <a:pt x="5822968" y="4615102"/>
                  <a:pt x="5822658" y="4614689"/>
                </a:cubicBezTo>
                <a:cubicBezTo>
                  <a:pt x="5821109" y="4612314"/>
                  <a:pt x="5821419" y="4607151"/>
                  <a:pt x="5824672" y="4607565"/>
                </a:cubicBezTo>
                <a:close/>
                <a:moveTo>
                  <a:pt x="1199943" y="4605998"/>
                </a:moveTo>
                <a:cubicBezTo>
                  <a:pt x="1199943" y="4605998"/>
                  <a:pt x="1200717" y="4607030"/>
                  <a:pt x="1200717" y="4607030"/>
                </a:cubicBezTo>
                <a:cubicBezTo>
                  <a:pt x="1200408" y="4607443"/>
                  <a:pt x="1200253" y="4607753"/>
                  <a:pt x="1200253" y="4607856"/>
                </a:cubicBezTo>
                <a:cubicBezTo>
                  <a:pt x="1200098" y="4607960"/>
                  <a:pt x="1199943" y="4607960"/>
                  <a:pt x="1199169" y="4607856"/>
                </a:cubicBezTo>
                <a:cubicBezTo>
                  <a:pt x="1199943" y="4607030"/>
                  <a:pt x="1199943" y="4606927"/>
                  <a:pt x="1199943" y="4605998"/>
                </a:cubicBezTo>
                <a:close/>
                <a:moveTo>
                  <a:pt x="6411632" y="4605370"/>
                </a:moveTo>
                <a:cubicBezTo>
                  <a:pt x="6413278" y="4605757"/>
                  <a:pt x="6414362" y="4607358"/>
                  <a:pt x="6412039" y="4610765"/>
                </a:cubicBezTo>
                <a:cubicBezTo>
                  <a:pt x="6409096" y="4609423"/>
                  <a:pt x="6408011" y="4608184"/>
                  <a:pt x="6407856" y="4607255"/>
                </a:cubicBezTo>
                <a:cubicBezTo>
                  <a:pt x="6407779" y="4605809"/>
                  <a:pt x="6409986" y="4604983"/>
                  <a:pt x="6411632" y="4605370"/>
                </a:cubicBezTo>
                <a:close/>
                <a:moveTo>
                  <a:pt x="6220122" y="4604776"/>
                </a:moveTo>
                <a:cubicBezTo>
                  <a:pt x="6220742" y="4605706"/>
                  <a:pt x="6221361" y="4606738"/>
                  <a:pt x="6222136" y="4607668"/>
                </a:cubicBezTo>
                <a:cubicBezTo>
                  <a:pt x="6218108" y="4611695"/>
                  <a:pt x="6217334" y="4616032"/>
                  <a:pt x="6214391" y="4619336"/>
                </a:cubicBezTo>
                <a:cubicBezTo>
                  <a:pt x="6213461" y="4614792"/>
                  <a:pt x="6212222" y="4606738"/>
                  <a:pt x="6220122" y="4604776"/>
                </a:cubicBezTo>
                <a:close/>
                <a:moveTo>
                  <a:pt x="783291" y="4604720"/>
                </a:moveTo>
                <a:cubicBezTo>
                  <a:pt x="785324" y="4605455"/>
                  <a:pt x="786834" y="4607495"/>
                  <a:pt x="784821" y="4609405"/>
                </a:cubicBezTo>
                <a:cubicBezTo>
                  <a:pt x="782962" y="4609405"/>
                  <a:pt x="780793" y="4608682"/>
                  <a:pt x="778625" y="4607856"/>
                </a:cubicBezTo>
                <a:cubicBezTo>
                  <a:pt x="778702" y="4604552"/>
                  <a:pt x="781258" y="4603984"/>
                  <a:pt x="783291" y="4604720"/>
                </a:cubicBezTo>
                <a:close/>
                <a:moveTo>
                  <a:pt x="790397" y="4604655"/>
                </a:moveTo>
                <a:cubicBezTo>
                  <a:pt x="793030" y="4604552"/>
                  <a:pt x="794579" y="4604449"/>
                  <a:pt x="796438" y="4606101"/>
                </a:cubicBezTo>
                <a:lnTo>
                  <a:pt x="798452" y="4609095"/>
                </a:lnTo>
                <a:lnTo>
                  <a:pt x="800311" y="4607753"/>
                </a:lnTo>
                <a:cubicBezTo>
                  <a:pt x="805422" y="4605688"/>
                  <a:pt x="811308" y="4605275"/>
                  <a:pt x="813477" y="4614051"/>
                </a:cubicBezTo>
                <a:cubicBezTo>
                  <a:pt x="814251" y="4615704"/>
                  <a:pt x="813632" y="4615291"/>
                  <a:pt x="813786" y="4616427"/>
                </a:cubicBezTo>
                <a:cubicBezTo>
                  <a:pt x="813941" y="4617666"/>
                  <a:pt x="814871" y="4619318"/>
                  <a:pt x="815490" y="4619731"/>
                </a:cubicBezTo>
                <a:cubicBezTo>
                  <a:pt x="811618" y="4621486"/>
                  <a:pt x="812702" y="4624274"/>
                  <a:pt x="806351" y="4626649"/>
                </a:cubicBezTo>
                <a:cubicBezTo>
                  <a:pt x="804338" y="4627578"/>
                  <a:pt x="802634" y="4627888"/>
                  <a:pt x="801085" y="4627888"/>
                </a:cubicBezTo>
                <a:lnTo>
                  <a:pt x="800001" y="4627681"/>
                </a:lnTo>
                <a:lnTo>
                  <a:pt x="800311" y="4627888"/>
                </a:lnTo>
                <a:cubicBezTo>
                  <a:pt x="802479" y="4630056"/>
                  <a:pt x="804028" y="4632225"/>
                  <a:pt x="803718" y="4633464"/>
                </a:cubicBezTo>
                <a:cubicBezTo>
                  <a:pt x="802944" y="4633567"/>
                  <a:pt x="802169" y="4633567"/>
                  <a:pt x="801085" y="4632844"/>
                </a:cubicBezTo>
                <a:cubicBezTo>
                  <a:pt x="800155" y="4632018"/>
                  <a:pt x="801085" y="4631915"/>
                  <a:pt x="800155" y="4631915"/>
                </a:cubicBezTo>
                <a:cubicBezTo>
                  <a:pt x="799226" y="4631192"/>
                  <a:pt x="799381" y="4632018"/>
                  <a:pt x="799381" y="4632018"/>
                </a:cubicBezTo>
                <a:cubicBezTo>
                  <a:pt x="799381" y="4632018"/>
                  <a:pt x="799226" y="4631089"/>
                  <a:pt x="799226" y="4631089"/>
                </a:cubicBezTo>
                <a:cubicBezTo>
                  <a:pt x="799226" y="4631089"/>
                  <a:pt x="799226" y="4631089"/>
                  <a:pt x="797213" y="4629540"/>
                </a:cubicBezTo>
                <a:cubicBezTo>
                  <a:pt x="794579" y="4627888"/>
                  <a:pt x="793650" y="4627991"/>
                  <a:pt x="791946" y="4627269"/>
                </a:cubicBezTo>
                <a:cubicBezTo>
                  <a:pt x="790087" y="4625616"/>
                  <a:pt x="789778" y="4624687"/>
                  <a:pt x="787764" y="4622209"/>
                </a:cubicBezTo>
                <a:cubicBezTo>
                  <a:pt x="788383" y="4620453"/>
                  <a:pt x="788383" y="4620453"/>
                  <a:pt x="789312" y="4620453"/>
                </a:cubicBezTo>
                <a:cubicBezTo>
                  <a:pt x="788383" y="4620453"/>
                  <a:pt x="788383" y="4619628"/>
                  <a:pt x="787299" y="4618802"/>
                </a:cubicBezTo>
                <a:cubicBezTo>
                  <a:pt x="782807" y="4616427"/>
                  <a:pt x="783891" y="4611986"/>
                  <a:pt x="786680" y="4607546"/>
                </a:cubicBezTo>
                <a:cubicBezTo>
                  <a:pt x="787609" y="4608269"/>
                  <a:pt x="788848" y="4605584"/>
                  <a:pt x="790397" y="4604655"/>
                </a:cubicBezTo>
                <a:close/>
                <a:moveTo>
                  <a:pt x="963414" y="4604468"/>
                </a:moveTo>
                <a:cubicBezTo>
                  <a:pt x="965285" y="4603810"/>
                  <a:pt x="967173" y="4603984"/>
                  <a:pt x="968992" y="4605481"/>
                </a:cubicBezTo>
                <a:cubicBezTo>
                  <a:pt x="965430" y="4608992"/>
                  <a:pt x="956911" y="4620867"/>
                  <a:pt x="951489" y="4620557"/>
                </a:cubicBezTo>
                <a:cubicBezTo>
                  <a:pt x="950715" y="4620453"/>
                  <a:pt x="949940" y="4620247"/>
                  <a:pt x="949321" y="4619628"/>
                </a:cubicBezTo>
                <a:cubicBezTo>
                  <a:pt x="952341" y="4615910"/>
                  <a:pt x="957801" y="4606443"/>
                  <a:pt x="963414" y="4604468"/>
                </a:cubicBezTo>
                <a:close/>
                <a:moveTo>
                  <a:pt x="1673734" y="4604391"/>
                </a:moveTo>
                <a:cubicBezTo>
                  <a:pt x="1675397" y="4604365"/>
                  <a:pt x="1677914" y="4605507"/>
                  <a:pt x="1681515" y="4608579"/>
                </a:cubicBezTo>
                <a:cubicBezTo>
                  <a:pt x="1679656" y="4614155"/>
                  <a:pt x="1677488" y="4615910"/>
                  <a:pt x="1675629" y="4615601"/>
                </a:cubicBezTo>
                <a:cubicBezTo>
                  <a:pt x="1671447" y="4615058"/>
                  <a:pt x="1668746" y="4604468"/>
                  <a:pt x="1673734" y="4604391"/>
                </a:cubicBezTo>
                <a:close/>
                <a:moveTo>
                  <a:pt x="1344636" y="4604371"/>
                </a:moveTo>
                <a:cubicBezTo>
                  <a:pt x="1347598" y="4603932"/>
                  <a:pt x="1350425" y="4604552"/>
                  <a:pt x="1352670" y="4606720"/>
                </a:cubicBezTo>
                <a:cubicBezTo>
                  <a:pt x="1341208" y="4609302"/>
                  <a:pt x="1339660" y="4623138"/>
                  <a:pt x="1326493" y="4623551"/>
                </a:cubicBezTo>
                <a:cubicBezTo>
                  <a:pt x="1326028" y="4618905"/>
                  <a:pt x="1330211" y="4612503"/>
                  <a:pt x="1335787" y="4608373"/>
                </a:cubicBezTo>
                <a:cubicBezTo>
                  <a:pt x="1338575" y="4606307"/>
                  <a:pt x="1341673" y="4604810"/>
                  <a:pt x="1344636" y="4604371"/>
                </a:cubicBezTo>
                <a:close/>
                <a:moveTo>
                  <a:pt x="6654606" y="4603847"/>
                </a:moveTo>
                <a:cubicBezTo>
                  <a:pt x="6662196" y="4610869"/>
                  <a:pt x="6669631" y="4611695"/>
                  <a:pt x="6676911" y="4621298"/>
                </a:cubicBezTo>
                <a:cubicBezTo>
                  <a:pt x="6675982" y="4621710"/>
                  <a:pt x="6675052" y="4621917"/>
                  <a:pt x="6673813" y="4621917"/>
                </a:cubicBezTo>
                <a:cubicBezTo>
                  <a:pt x="6672574" y="4621917"/>
                  <a:pt x="6671335" y="4621607"/>
                  <a:pt x="6669941" y="4621298"/>
                </a:cubicBezTo>
                <a:cubicBezTo>
                  <a:pt x="6662041" y="4618923"/>
                  <a:pt x="6652437" y="4610559"/>
                  <a:pt x="6654606" y="4603847"/>
                </a:cubicBezTo>
                <a:close/>
                <a:moveTo>
                  <a:pt x="6041681" y="4603744"/>
                </a:moveTo>
                <a:cubicBezTo>
                  <a:pt x="6041217" y="4604467"/>
                  <a:pt x="6041217" y="4604467"/>
                  <a:pt x="6041217" y="4604467"/>
                </a:cubicBezTo>
                <a:cubicBezTo>
                  <a:pt x="6041372" y="4605706"/>
                  <a:pt x="6041836" y="4604880"/>
                  <a:pt x="6042611" y="4605293"/>
                </a:cubicBezTo>
                <a:cubicBezTo>
                  <a:pt x="6042611" y="4605293"/>
                  <a:pt x="6041836" y="4604880"/>
                  <a:pt x="6043076" y="4604570"/>
                </a:cubicBezTo>
                <a:cubicBezTo>
                  <a:pt x="6042611" y="4605293"/>
                  <a:pt x="6043231" y="4605809"/>
                  <a:pt x="6044005" y="4606222"/>
                </a:cubicBezTo>
                <a:cubicBezTo>
                  <a:pt x="6044315" y="4608597"/>
                  <a:pt x="6044315" y="4611798"/>
                  <a:pt x="6042611" y="4612934"/>
                </a:cubicBezTo>
                <a:cubicBezTo>
                  <a:pt x="6040288" y="4613553"/>
                  <a:pt x="6039358" y="4611901"/>
                  <a:pt x="6039048" y="4610662"/>
                </a:cubicBezTo>
                <a:cubicBezTo>
                  <a:pt x="6038274" y="4609630"/>
                  <a:pt x="6038429" y="4608391"/>
                  <a:pt x="6039048" y="4607151"/>
                </a:cubicBezTo>
                <a:cubicBezTo>
                  <a:pt x="6039668" y="4605809"/>
                  <a:pt x="6040597" y="4604673"/>
                  <a:pt x="6041681" y="4603744"/>
                </a:cubicBezTo>
                <a:close/>
                <a:moveTo>
                  <a:pt x="5932789" y="4602608"/>
                </a:moveTo>
                <a:cubicBezTo>
                  <a:pt x="5932789" y="4602608"/>
                  <a:pt x="5932789" y="4602608"/>
                  <a:pt x="5934648" y="4604260"/>
                </a:cubicBezTo>
                <a:lnTo>
                  <a:pt x="5934803" y="4605086"/>
                </a:lnTo>
                <a:cubicBezTo>
                  <a:pt x="5934648" y="4605499"/>
                  <a:pt x="5934029" y="4605809"/>
                  <a:pt x="5933099" y="4605912"/>
                </a:cubicBezTo>
                <a:cubicBezTo>
                  <a:pt x="5931705" y="4606119"/>
                  <a:pt x="5929846" y="4606015"/>
                  <a:pt x="5928143" y="4605912"/>
                </a:cubicBezTo>
                <a:cubicBezTo>
                  <a:pt x="5926594" y="4605809"/>
                  <a:pt x="5925199" y="4605603"/>
                  <a:pt x="5924890" y="4605603"/>
                </a:cubicBezTo>
                <a:cubicBezTo>
                  <a:pt x="5924890" y="4605603"/>
                  <a:pt x="5923960" y="4605706"/>
                  <a:pt x="5923186" y="4605809"/>
                </a:cubicBezTo>
                <a:cubicBezTo>
                  <a:pt x="5922256" y="4604983"/>
                  <a:pt x="5922102" y="4604054"/>
                  <a:pt x="5921327" y="4604157"/>
                </a:cubicBezTo>
                <a:cubicBezTo>
                  <a:pt x="5923496" y="4601472"/>
                  <a:pt x="5925974" y="4602195"/>
                  <a:pt x="5928607" y="4602814"/>
                </a:cubicBezTo>
                <a:cubicBezTo>
                  <a:pt x="5930311" y="4603641"/>
                  <a:pt x="5931241" y="4603537"/>
                  <a:pt x="5932789" y="4602608"/>
                </a:cubicBezTo>
                <a:close/>
                <a:moveTo>
                  <a:pt x="5884152" y="4601782"/>
                </a:moveTo>
                <a:cubicBezTo>
                  <a:pt x="5875788" y="4606119"/>
                  <a:pt x="5872999" y="4613140"/>
                  <a:pt x="5862466" y="4615928"/>
                </a:cubicBezTo>
                <a:cubicBezTo>
                  <a:pt x="5861228" y="4607255"/>
                  <a:pt x="5876872" y="4595070"/>
                  <a:pt x="5884152" y="4601782"/>
                </a:cubicBezTo>
                <a:close/>
                <a:moveTo>
                  <a:pt x="6096980" y="4601369"/>
                </a:moveTo>
                <a:cubicBezTo>
                  <a:pt x="6101317" y="4603847"/>
                  <a:pt x="6100852" y="4610352"/>
                  <a:pt x="6096670" y="4611488"/>
                </a:cubicBezTo>
                <a:cubicBezTo>
                  <a:pt x="6095586" y="4610869"/>
                  <a:pt x="6093727" y="4610456"/>
                  <a:pt x="6092333" y="4609010"/>
                </a:cubicBezTo>
                <a:cubicBezTo>
                  <a:pt x="6091868" y="4604570"/>
                  <a:pt x="6093727" y="4602298"/>
                  <a:pt x="6096980" y="4601369"/>
                </a:cubicBezTo>
                <a:close/>
                <a:moveTo>
                  <a:pt x="1133957" y="4600835"/>
                </a:moveTo>
                <a:cubicBezTo>
                  <a:pt x="1134886" y="4602384"/>
                  <a:pt x="1138139" y="4601351"/>
                  <a:pt x="1137830" y="4603726"/>
                </a:cubicBezTo>
                <a:cubicBezTo>
                  <a:pt x="1136590" y="4603416"/>
                  <a:pt x="1134886" y="4602384"/>
                  <a:pt x="1133647" y="4602074"/>
                </a:cubicBezTo>
                <a:cubicBezTo>
                  <a:pt x="1133647" y="4602074"/>
                  <a:pt x="1133647" y="4602074"/>
                  <a:pt x="1133957" y="4600835"/>
                </a:cubicBezTo>
                <a:close/>
                <a:moveTo>
                  <a:pt x="1560387" y="4600318"/>
                </a:moveTo>
                <a:cubicBezTo>
                  <a:pt x="1564259" y="4602694"/>
                  <a:pt x="1564879" y="4606101"/>
                  <a:pt x="1564104" y="4610747"/>
                </a:cubicBezTo>
                <a:cubicBezTo>
                  <a:pt x="1562555" y="4611161"/>
                  <a:pt x="1559612" y="4609405"/>
                  <a:pt x="1557753" y="4608166"/>
                </a:cubicBezTo>
                <a:cubicBezTo>
                  <a:pt x="1557288" y="4605584"/>
                  <a:pt x="1558373" y="4602694"/>
                  <a:pt x="1560387" y="4600318"/>
                </a:cubicBezTo>
                <a:close/>
                <a:moveTo>
                  <a:pt x="1170028" y="4599635"/>
                </a:moveTo>
                <a:cubicBezTo>
                  <a:pt x="1175973" y="4597918"/>
                  <a:pt x="1182595" y="4598976"/>
                  <a:pt x="1187242" y="4602384"/>
                </a:cubicBezTo>
                <a:lnTo>
                  <a:pt x="1191423" y="4607340"/>
                </a:lnTo>
                <a:lnTo>
                  <a:pt x="1192818" y="4605998"/>
                </a:lnTo>
                <a:cubicBezTo>
                  <a:pt x="1194521" y="4605172"/>
                  <a:pt x="1196226" y="4604862"/>
                  <a:pt x="1197000" y="4605275"/>
                </a:cubicBezTo>
                <a:cubicBezTo>
                  <a:pt x="1199013" y="4606927"/>
                  <a:pt x="1200253" y="4610335"/>
                  <a:pt x="1198084" y="4613019"/>
                </a:cubicBezTo>
                <a:cubicBezTo>
                  <a:pt x="1197464" y="4614362"/>
                  <a:pt x="1196380" y="4615084"/>
                  <a:pt x="1195141" y="4615807"/>
                </a:cubicBezTo>
                <a:lnTo>
                  <a:pt x="1192198" y="4618079"/>
                </a:lnTo>
                <a:lnTo>
                  <a:pt x="1190649" y="4623964"/>
                </a:lnTo>
                <a:cubicBezTo>
                  <a:pt x="1185692" y="4632947"/>
                  <a:pt x="1175469" y="4635116"/>
                  <a:pt x="1165865" y="4643686"/>
                </a:cubicBezTo>
                <a:cubicBezTo>
                  <a:pt x="1167569" y="4633774"/>
                  <a:pt x="1159670" y="4628611"/>
                  <a:pt x="1157037" y="4621486"/>
                </a:cubicBezTo>
                <a:lnTo>
                  <a:pt x="1156727" y="4619214"/>
                </a:lnTo>
                <a:lnTo>
                  <a:pt x="1152854" y="4617872"/>
                </a:lnTo>
                <a:cubicBezTo>
                  <a:pt x="1152234" y="4617459"/>
                  <a:pt x="1151925" y="4616840"/>
                  <a:pt x="1151925" y="4616117"/>
                </a:cubicBezTo>
                <a:cubicBezTo>
                  <a:pt x="1152080" y="4614878"/>
                  <a:pt x="1153164" y="4615187"/>
                  <a:pt x="1153938" y="4614775"/>
                </a:cubicBezTo>
                <a:lnTo>
                  <a:pt x="1156572" y="4615910"/>
                </a:lnTo>
                <a:lnTo>
                  <a:pt x="1156882" y="4613536"/>
                </a:lnTo>
                <a:cubicBezTo>
                  <a:pt x="1158818" y="4605843"/>
                  <a:pt x="1164084" y="4601351"/>
                  <a:pt x="1170028" y="4599635"/>
                </a:cubicBezTo>
                <a:close/>
                <a:moveTo>
                  <a:pt x="960318" y="4598253"/>
                </a:moveTo>
                <a:cubicBezTo>
                  <a:pt x="961867" y="4597737"/>
                  <a:pt x="963881" y="4598150"/>
                  <a:pt x="966205" y="4600318"/>
                </a:cubicBezTo>
                <a:cubicBezTo>
                  <a:pt x="966049" y="4604965"/>
                  <a:pt x="963261" y="4604759"/>
                  <a:pt x="960628" y="4604552"/>
                </a:cubicBezTo>
                <a:cubicBezTo>
                  <a:pt x="961403" y="4601661"/>
                  <a:pt x="957685" y="4600835"/>
                  <a:pt x="960318" y="4598253"/>
                </a:cubicBezTo>
                <a:close/>
                <a:moveTo>
                  <a:pt x="838260" y="4597944"/>
                </a:moveTo>
                <a:cubicBezTo>
                  <a:pt x="839964" y="4598873"/>
                  <a:pt x="840738" y="4598976"/>
                  <a:pt x="842442" y="4598150"/>
                </a:cubicBezTo>
                <a:cubicBezTo>
                  <a:pt x="842442" y="4598150"/>
                  <a:pt x="842442" y="4598150"/>
                  <a:pt x="844146" y="4600009"/>
                </a:cubicBezTo>
                <a:lnTo>
                  <a:pt x="844301" y="4600835"/>
                </a:lnTo>
                <a:cubicBezTo>
                  <a:pt x="843991" y="4601248"/>
                  <a:pt x="843371" y="4601351"/>
                  <a:pt x="842442" y="4601454"/>
                </a:cubicBezTo>
                <a:cubicBezTo>
                  <a:pt x="839654" y="4601558"/>
                  <a:pt x="834852" y="4600422"/>
                  <a:pt x="834233" y="4600318"/>
                </a:cubicBezTo>
                <a:cubicBezTo>
                  <a:pt x="834233" y="4600318"/>
                  <a:pt x="833303" y="4600318"/>
                  <a:pt x="832529" y="4600318"/>
                </a:cubicBezTo>
                <a:cubicBezTo>
                  <a:pt x="831599" y="4599389"/>
                  <a:pt x="831599" y="4598460"/>
                  <a:pt x="830825" y="4598460"/>
                </a:cubicBezTo>
                <a:cubicBezTo>
                  <a:pt x="833148" y="4595982"/>
                  <a:pt x="835781" y="4597014"/>
                  <a:pt x="838260" y="4597944"/>
                </a:cubicBezTo>
                <a:close/>
                <a:moveTo>
                  <a:pt x="1570764" y="4597324"/>
                </a:moveTo>
                <a:cubicBezTo>
                  <a:pt x="1572313" y="4594846"/>
                  <a:pt x="1573243" y="4595775"/>
                  <a:pt x="1574947" y="4597531"/>
                </a:cubicBezTo>
                <a:cubicBezTo>
                  <a:pt x="1574482" y="4598357"/>
                  <a:pt x="1574173" y="4598976"/>
                  <a:pt x="1573553" y="4599079"/>
                </a:cubicBezTo>
                <a:cubicBezTo>
                  <a:pt x="1572933" y="4599286"/>
                  <a:pt x="1572004" y="4599079"/>
                  <a:pt x="1570764" y="4598150"/>
                </a:cubicBezTo>
                <a:cubicBezTo>
                  <a:pt x="1570764" y="4598150"/>
                  <a:pt x="1570764" y="4597324"/>
                  <a:pt x="1570764" y="4597324"/>
                </a:cubicBezTo>
                <a:close/>
                <a:moveTo>
                  <a:pt x="5987932" y="4596723"/>
                </a:moveTo>
                <a:cubicBezTo>
                  <a:pt x="5987778" y="4600749"/>
                  <a:pt x="5987623" y="4604776"/>
                  <a:pt x="5986848" y="4608803"/>
                </a:cubicBezTo>
                <a:cubicBezTo>
                  <a:pt x="5986074" y="4612831"/>
                  <a:pt x="5984680" y="4616961"/>
                  <a:pt x="5981427" y="4621091"/>
                </a:cubicBezTo>
                <a:cubicBezTo>
                  <a:pt x="5975231" y="4613450"/>
                  <a:pt x="5982976" y="4601679"/>
                  <a:pt x="5987932" y="4596723"/>
                </a:cubicBezTo>
                <a:close/>
                <a:moveTo>
                  <a:pt x="6755753" y="4596619"/>
                </a:moveTo>
                <a:cubicBezTo>
                  <a:pt x="6756838" y="4596309"/>
                  <a:pt x="6758232" y="4596309"/>
                  <a:pt x="6759936" y="4596619"/>
                </a:cubicBezTo>
                <a:cubicBezTo>
                  <a:pt x="6762724" y="4602298"/>
                  <a:pt x="6769229" y="4611385"/>
                  <a:pt x="6761639" y="4617167"/>
                </a:cubicBezTo>
                <a:cubicBezTo>
                  <a:pt x="6752965" y="4613863"/>
                  <a:pt x="6747699" y="4598581"/>
                  <a:pt x="6755753" y="4596619"/>
                </a:cubicBezTo>
                <a:close/>
                <a:moveTo>
                  <a:pt x="1491922" y="4596498"/>
                </a:moveTo>
                <a:cubicBezTo>
                  <a:pt x="1493006" y="4596911"/>
                  <a:pt x="1494091" y="4597221"/>
                  <a:pt x="1493316" y="4597634"/>
                </a:cubicBezTo>
                <a:cubicBezTo>
                  <a:pt x="1493626" y="4598460"/>
                  <a:pt x="1492851" y="4598770"/>
                  <a:pt x="1492387" y="4600009"/>
                </a:cubicBezTo>
                <a:cubicBezTo>
                  <a:pt x="1491148" y="4601454"/>
                  <a:pt x="1488824" y="4602590"/>
                  <a:pt x="1487740" y="4602177"/>
                </a:cubicBezTo>
                <a:cubicBezTo>
                  <a:pt x="1486656" y="4601868"/>
                  <a:pt x="1486346" y="4601041"/>
                  <a:pt x="1486346" y="4601041"/>
                </a:cubicBezTo>
                <a:cubicBezTo>
                  <a:pt x="1486966" y="4597944"/>
                  <a:pt x="1488670" y="4595259"/>
                  <a:pt x="1491922" y="4596498"/>
                </a:cubicBezTo>
                <a:close/>
                <a:moveTo>
                  <a:pt x="1152602" y="4596085"/>
                </a:moveTo>
                <a:cubicBezTo>
                  <a:pt x="1155294" y="4595543"/>
                  <a:pt x="1158276" y="4596963"/>
                  <a:pt x="1159670" y="4600938"/>
                </a:cubicBezTo>
                <a:cubicBezTo>
                  <a:pt x="1159360" y="4604449"/>
                  <a:pt x="1157501" y="4607030"/>
                  <a:pt x="1155023" y="4607650"/>
                </a:cubicBezTo>
                <a:cubicBezTo>
                  <a:pt x="1152544" y="4608269"/>
                  <a:pt x="1149601" y="4607030"/>
                  <a:pt x="1147278" y="4603003"/>
                </a:cubicBezTo>
                <a:cubicBezTo>
                  <a:pt x="1147510" y="4599131"/>
                  <a:pt x="1149911" y="4596627"/>
                  <a:pt x="1152602" y="4596085"/>
                </a:cubicBezTo>
                <a:close/>
                <a:moveTo>
                  <a:pt x="1561471" y="4594330"/>
                </a:moveTo>
                <a:cubicBezTo>
                  <a:pt x="1562245" y="4593504"/>
                  <a:pt x="1564879" y="4595362"/>
                  <a:pt x="1565808" y="4595362"/>
                </a:cubicBezTo>
                <a:cubicBezTo>
                  <a:pt x="1565808" y="4596292"/>
                  <a:pt x="1565034" y="4597117"/>
                  <a:pt x="1565034" y="4598047"/>
                </a:cubicBezTo>
                <a:cubicBezTo>
                  <a:pt x="1564104" y="4597944"/>
                  <a:pt x="1562400" y="4597944"/>
                  <a:pt x="1561471" y="4597014"/>
                </a:cubicBezTo>
                <a:cubicBezTo>
                  <a:pt x="1560696" y="4596911"/>
                  <a:pt x="1561471" y="4594330"/>
                  <a:pt x="1561471" y="4594330"/>
                </a:cubicBezTo>
                <a:close/>
                <a:moveTo>
                  <a:pt x="1794125" y="4594123"/>
                </a:moveTo>
                <a:cubicBezTo>
                  <a:pt x="1798772" y="4595569"/>
                  <a:pt x="1800940" y="4599699"/>
                  <a:pt x="1801560" y="4604346"/>
                </a:cubicBezTo>
                <a:lnTo>
                  <a:pt x="1801560" y="4607340"/>
                </a:lnTo>
                <a:lnTo>
                  <a:pt x="1804194" y="4609095"/>
                </a:lnTo>
                <a:cubicBezTo>
                  <a:pt x="1808066" y="4613948"/>
                  <a:pt x="1808840" y="4622725"/>
                  <a:pt x="1804348" y="4623654"/>
                </a:cubicBezTo>
                <a:cubicBezTo>
                  <a:pt x="1803419" y="4623758"/>
                  <a:pt x="1802489" y="4623654"/>
                  <a:pt x="1801095" y="4623138"/>
                </a:cubicBezTo>
                <a:lnTo>
                  <a:pt x="1800786" y="4622829"/>
                </a:lnTo>
                <a:lnTo>
                  <a:pt x="1800011" y="4623138"/>
                </a:lnTo>
                <a:cubicBezTo>
                  <a:pt x="1798152" y="4623964"/>
                  <a:pt x="1796138" y="4624687"/>
                  <a:pt x="1793660" y="4624480"/>
                </a:cubicBezTo>
                <a:cubicBezTo>
                  <a:pt x="1794125" y="4623345"/>
                  <a:pt x="1795829" y="4620557"/>
                  <a:pt x="1798772" y="4621073"/>
                </a:cubicBezTo>
                <a:lnTo>
                  <a:pt x="1799236" y="4620970"/>
                </a:lnTo>
                <a:lnTo>
                  <a:pt x="1797688" y="4619214"/>
                </a:lnTo>
                <a:cubicBezTo>
                  <a:pt x="1795829" y="4616530"/>
                  <a:pt x="1794900" y="4613845"/>
                  <a:pt x="1795209" y="4611057"/>
                </a:cubicBezTo>
                <a:lnTo>
                  <a:pt x="1796138" y="4608889"/>
                </a:lnTo>
                <a:lnTo>
                  <a:pt x="1795365" y="4607134"/>
                </a:lnTo>
                <a:cubicBezTo>
                  <a:pt x="1793970" y="4603416"/>
                  <a:pt x="1793350" y="4599286"/>
                  <a:pt x="1794125" y="4594123"/>
                </a:cubicBezTo>
                <a:close/>
                <a:moveTo>
                  <a:pt x="807068" y="4594020"/>
                </a:moveTo>
                <a:cubicBezTo>
                  <a:pt x="808210" y="4594872"/>
                  <a:pt x="808520" y="4596653"/>
                  <a:pt x="809139" y="4598667"/>
                </a:cubicBezTo>
                <a:cubicBezTo>
                  <a:pt x="807435" y="4599699"/>
                  <a:pt x="806816" y="4602384"/>
                  <a:pt x="804492" y="4603003"/>
                </a:cubicBezTo>
                <a:cubicBezTo>
                  <a:pt x="804492" y="4603003"/>
                  <a:pt x="804182" y="4603107"/>
                  <a:pt x="803718" y="4603107"/>
                </a:cubicBezTo>
                <a:cubicBezTo>
                  <a:pt x="803253" y="4603107"/>
                  <a:pt x="802479" y="4602900"/>
                  <a:pt x="801859" y="4602487"/>
                </a:cubicBezTo>
                <a:cubicBezTo>
                  <a:pt x="798916" y="4602694"/>
                  <a:pt x="798297" y="4599079"/>
                  <a:pt x="798297" y="4599079"/>
                </a:cubicBezTo>
                <a:cubicBezTo>
                  <a:pt x="798297" y="4599079"/>
                  <a:pt x="798297" y="4599183"/>
                  <a:pt x="797832" y="4599906"/>
                </a:cubicBezTo>
                <a:cubicBezTo>
                  <a:pt x="798761" y="4598357"/>
                  <a:pt x="799071" y="4596395"/>
                  <a:pt x="800001" y="4594949"/>
                </a:cubicBezTo>
                <a:cubicBezTo>
                  <a:pt x="803951" y="4593246"/>
                  <a:pt x="805926" y="4593168"/>
                  <a:pt x="807068" y="4594020"/>
                </a:cubicBezTo>
                <a:close/>
                <a:moveTo>
                  <a:pt x="1475658" y="4592884"/>
                </a:moveTo>
                <a:lnTo>
                  <a:pt x="1475349" y="4594227"/>
                </a:lnTo>
                <a:lnTo>
                  <a:pt x="1476742" y="4594123"/>
                </a:lnTo>
                <a:lnTo>
                  <a:pt x="1476433" y="4593813"/>
                </a:lnTo>
                <a:cubicBezTo>
                  <a:pt x="1476278" y="4593710"/>
                  <a:pt x="1475968" y="4593607"/>
                  <a:pt x="1475813" y="4593297"/>
                </a:cubicBezTo>
                <a:close/>
                <a:moveTo>
                  <a:pt x="1203041" y="4592574"/>
                </a:moveTo>
                <a:cubicBezTo>
                  <a:pt x="1202886" y="4594227"/>
                  <a:pt x="1201802" y="4603623"/>
                  <a:pt x="1200098" y="4605998"/>
                </a:cubicBezTo>
                <a:cubicBezTo>
                  <a:pt x="1201027" y="4601764"/>
                  <a:pt x="1200408" y="4595672"/>
                  <a:pt x="1203041" y="4592574"/>
                </a:cubicBezTo>
                <a:close/>
                <a:moveTo>
                  <a:pt x="6176441" y="4592489"/>
                </a:moveTo>
                <a:cubicBezTo>
                  <a:pt x="6179384" y="4592696"/>
                  <a:pt x="6181553" y="4594554"/>
                  <a:pt x="6181708" y="4597652"/>
                </a:cubicBezTo>
                <a:cubicBezTo>
                  <a:pt x="6180933" y="4599304"/>
                  <a:pt x="6179075" y="4599407"/>
                  <a:pt x="6177216" y="4599613"/>
                </a:cubicBezTo>
                <a:cubicBezTo>
                  <a:pt x="6175822" y="4599510"/>
                  <a:pt x="6174893" y="4598994"/>
                  <a:pt x="6174428" y="4598168"/>
                </a:cubicBezTo>
                <a:cubicBezTo>
                  <a:pt x="6174118" y="4597342"/>
                  <a:pt x="6174118" y="4596206"/>
                  <a:pt x="6174273" y="4595070"/>
                </a:cubicBezTo>
                <a:cubicBezTo>
                  <a:pt x="6174582" y="4592696"/>
                  <a:pt x="6176441" y="4592489"/>
                  <a:pt x="6176441" y="4592489"/>
                </a:cubicBezTo>
                <a:close/>
                <a:moveTo>
                  <a:pt x="737267" y="4592368"/>
                </a:moveTo>
                <a:cubicBezTo>
                  <a:pt x="738042" y="4590716"/>
                  <a:pt x="740676" y="4594330"/>
                  <a:pt x="741450" y="4592574"/>
                </a:cubicBezTo>
                <a:cubicBezTo>
                  <a:pt x="744857" y="4596292"/>
                  <a:pt x="748885" y="4592058"/>
                  <a:pt x="754925" y="4596705"/>
                </a:cubicBezTo>
                <a:cubicBezTo>
                  <a:pt x="752912" y="4597324"/>
                  <a:pt x="750899" y="4597531"/>
                  <a:pt x="749194" y="4597531"/>
                </a:cubicBezTo>
                <a:cubicBezTo>
                  <a:pt x="743774" y="4597428"/>
                  <a:pt x="739436" y="4595569"/>
                  <a:pt x="735719" y="4596705"/>
                </a:cubicBezTo>
                <a:cubicBezTo>
                  <a:pt x="735719" y="4596705"/>
                  <a:pt x="735874" y="4596705"/>
                  <a:pt x="734014" y="4594949"/>
                </a:cubicBezTo>
                <a:cubicBezTo>
                  <a:pt x="733240" y="4594846"/>
                  <a:pt x="733240" y="4594846"/>
                  <a:pt x="733240" y="4594846"/>
                </a:cubicBezTo>
                <a:cubicBezTo>
                  <a:pt x="732311" y="4594846"/>
                  <a:pt x="732311" y="4593091"/>
                  <a:pt x="732311" y="4593091"/>
                </a:cubicBezTo>
                <a:cubicBezTo>
                  <a:pt x="733085" y="4591335"/>
                  <a:pt x="735564" y="4592368"/>
                  <a:pt x="737267" y="4592368"/>
                </a:cubicBezTo>
                <a:close/>
                <a:moveTo>
                  <a:pt x="1558063" y="4592265"/>
                </a:moveTo>
                <a:cubicBezTo>
                  <a:pt x="1560232" y="4598976"/>
                  <a:pt x="1553726" y="4602590"/>
                  <a:pt x="1549853" y="4606307"/>
                </a:cubicBezTo>
                <a:cubicBezTo>
                  <a:pt x="1555120" y="4609405"/>
                  <a:pt x="1563949" y="4612503"/>
                  <a:pt x="1561626" y="4618595"/>
                </a:cubicBezTo>
                <a:cubicBezTo>
                  <a:pt x="1560077" y="4619214"/>
                  <a:pt x="1558528" y="4619214"/>
                  <a:pt x="1557133" y="4618802"/>
                </a:cubicBezTo>
                <a:cubicBezTo>
                  <a:pt x="1552796" y="4617563"/>
                  <a:pt x="1548770" y="4612709"/>
                  <a:pt x="1543503" y="4610747"/>
                </a:cubicBezTo>
                <a:cubicBezTo>
                  <a:pt x="1540095" y="4610747"/>
                  <a:pt x="1538856" y="4614775"/>
                  <a:pt x="1533125" y="4610747"/>
                </a:cubicBezTo>
                <a:cubicBezTo>
                  <a:pt x="1538081" y="4601971"/>
                  <a:pt x="1543967" y="4596498"/>
                  <a:pt x="1550783" y="4593917"/>
                </a:cubicBezTo>
                <a:cubicBezTo>
                  <a:pt x="1553106" y="4592987"/>
                  <a:pt x="1555585" y="4592471"/>
                  <a:pt x="1558063" y="4592265"/>
                </a:cubicBezTo>
                <a:close/>
                <a:moveTo>
                  <a:pt x="5975696" y="4592179"/>
                </a:moveTo>
                <a:cubicBezTo>
                  <a:pt x="5977245" y="4591250"/>
                  <a:pt x="5980033" y="4593728"/>
                  <a:pt x="5981892" y="4594451"/>
                </a:cubicBezTo>
                <a:cubicBezTo>
                  <a:pt x="5981117" y="4595380"/>
                  <a:pt x="5980342" y="4596309"/>
                  <a:pt x="5981272" y="4596309"/>
                </a:cubicBezTo>
                <a:cubicBezTo>
                  <a:pt x="5980498" y="4597239"/>
                  <a:pt x="5979723" y="4597652"/>
                  <a:pt x="5978949" y="4597858"/>
                </a:cubicBezTo>
                <a:cubicBezTo>
                  <a:pt x="5978174" y="4597962"/>
                  <a:pt x="5977245" y="4597858"/>
                  <a:pt x="5976470" y="4597445"/>
                </a:cubicBezTo>
                <a:cubicBezTo>
                  <a:pt x="5975386" y="4596619"/>
                  <a:pt x="5975231" y="4594864"/>
                  <a:pt x="5975696" y="4592179"/>
                </a:cubicBezTo>
                <a:close/>
                <a:moveTo>
                  <a:pt x="6463464" y="4591663"/>
                </a:moveTo>
                <a:lnTo>
                  <a:pt x="6453861" y="4592799"/>
                </a:lnTo>
                <a:lnTo>
                  <a:pt x="6456649" y="4593831"/>
                </a:lnTo>
                <a:lnTo>
                  <a:pt x="6460676" y="4598271"/>
                </a:lnTo>
                <a:lnTo>
                  <a:pt x="6460676" y="4597962"/>
                </a:lnTo>
                <a:close/>
                <a:moveTo>
                  <a:pt x="1846325" y="4590200"/>
                </a:moveTo>
                <a:lnTo>
                  <a:pt x="1837960" y="4592368"/>
                </a:lnTo>
                <a:lnTo>
                  <a:pt x="1840903" y="4593091"/>
                </a:lnTo>
                <a:lnTo>
                  <a:pt x="1846015" y="4593091"/>
                </a:lnTo>
                <a:lnTo>
                  <a:pt x="1846325" y="4590303"/>
                </a:lnTo>
                <a:close/>
                <a:moveTo>
                  <a:pt x="1168809" y="4590096"/>
                </a:moveTo>
                <a:cubicBezTo>
                  <a:pt x="1170357" y="4588960"/>
                  <a:pt x="1170667" y="4591335"/>
                  <a:pt x="1170822" y="4592471"/>
                </a:cubicBezTo>
                <a:cubicBezTo>
                  <a:pt x="1168964" y="4591232"/>
                  <a:pt x="1167724" y="4591645"/>
                  <a:pt x="1168344" y="4590819"/>
                </a:cubicBezTo>
                <a:cubicBezTo>
                  <a:pt x="1167569" y="4590406"/>
                  <a:pt x="1168189" y="4589683"/>
                  <a:pt x="1168809" y="4590096"/>
                </a:cubicBezTo>
                <a:close/>
                <a:moveTo>
                  <a:pt x="1402547" y="4589477"/>
                </a:moveTo>
                <a:cubicBezTo>
                  <a:pt x="1405025" y="4588650"/>
                  <a:pt x="1406884" y="4588857"/>
                  <a:pt x="1408279" y="4590096"/>
                </a:cubicBezTo>
                <a:cubicBezTo>
                  <a:pt x="1409827" y="4591335"/>
                  <a:pt x="1410912" y="4593401"/>
                  <a:pt x="1411686" y="4596498"/>
                </a:cubicBezTo>
                <a:cubicBezTo>
                  <a:pt x="1410447" y="4597117"/>
                  <a:pt x="1409363" y="4597221"/>
                  <a:pt x="1408434" y="4596911"/>
                </a:cubicBezTo>
                <a:cubicBezTo>
                  <a:pt x="1405800" y="4596188"/>
                  <a:pt x="1404716" y="4592368"/>
                  <a:pt x="1402547" y="4589477"/>
                </a:cubicBezTo>
                <a:close/>
                <a:moveTo>
                  <a:pt x="1483558" y="4589373"/>
                </a:moveTo>
                <a:lnTo>
                  <a:pt x="1486811" y="4590612"/>
                </a:lnTo>
                <a:cubicBezTo>
                  <a:pt x="1486346" y="4591748"/>
                  <a:pt x="1485107" y="4593297"/>
                  <a:pt x="1484023" y="4592884"/>
                </a:cubicBezTo>
                <a:cubicBezTo>
                  <a:pt x="1483093" y="4592884"/>
                  <a:pt x="1482938" y="4592471"/>
                  <a:pt x="1483093" y="4591851"/>
                </a:cubicBezTo>
                <a:cubicBezTo>
                  <a:pt x="1483093" y="4591232"/>
                  <a:pt x="1483403" y="4590406"/>
                  <a:pt x="1483558" y="4589373"/>
                </a:cubicBezTo>
                <a:close/>
                <a:moveTo>
                  <a:pt x="6202154" y="4589288"/>
                </a:moveTo>
                <a:cubicBezTo>
                  <a:pt x="6211913" y="4596206"/>
                  <a:pt x="6208505" y="4603847"/>
                  <a:pt x="6201999" y="4602711"/>
                </a:cubicBezTo>
                <a:cubicBezTo>
                  <a:pt x="6199831" y="4602402"/>
                  <a:pt x="6197352" y="4601059"/>
                  <a:pt x="6195029" y="4598375"/>
                </a:cubicBezTo>
                <a:cubicBezTo>
                  <a:pt x="6193945" y="4594038"/>
                  <a:pt x="6198747" y="4588255"/>
                  <a:pt x="6202154" y="4589288"/>
                </a:cubicBezTo>
                <a:close/>
                <a:moveTo>
                  <a:pt x="5709429" y="4588359"/>
                </a:moveTo>
                <a:cubicBezTo>
                  <a:pt x="5713301" y="4588359"/>
                  <a:pt x="5712217" y="4587946"/>
                  <a:pt x="5715780" y="4589908"/>
                </a:cubicBezTo>
                <a:cubicBezTo>
                  <a:pt x="5714695" y="4592179"/>
                  <a:pt x="5713766" y="4594554"/>
                  <a:pt x="5712836" y="4596929"/>
                </a:cubicBezTo>
                <a:cubicBezTo>
                  <a:pt x="5711443" y="4595793"/>
                  <a:pt x="5709429" y="4595793"/>
                  <a:pt x="5708345" y="4595380"/>
                </a:cubicBezTo>
                <a:cubicBezTo>
                  <a:pt x="5707416" y="4593005"/>
                  <a:pt x="5707725" y="4591146"/>
                  <a:pt x="5709429" y="4588359"/>
                </a:cubicBezTo>
                <a:close/>
                <a:moveTo>
                  <a:pt x="890460" y="4588135"/>
                </a:moveTo>
                <a:cubicBezTo>
                  <a:pt x="891544" y="4588444"/>
                  <a:pt x="892474" y="4588857"/>
                  <a:pt x="892009" y="4589993"/>
                </a:cubicBezTo>
                <a:cubicBezTo>
                  <a:pt x="891544" y="4591232"/>
                  <a:pt x="891854" y="4591955"/>
                  <a:pt x="889995" y="4591955"/>
                </a:cubicBezTo>
                <a:cubicBezTo>
                  <a:pt x="889221" y="4592368"/>
                  <a:pt x="888136" y="4591955"/>
                  <a:pt x="887362" y="4592368"/>
                </a:cubicBezTo>
                <a:cubicBezTo>
                  <a:pt x="887362" y="4592368"/>
                  <a:pt x="887052" y="4591851"/>
                  <a:pt x="886587" y="4591232"/>
                </a:cubicBezTo>
                <a:cubicBezTo>
                  <a:pt x="886278" y="4590612"/>
                  <a:pt x="885968" y="4589786"/>
                  <a:pt x="886123" y="4589270"/>
                </a:cubicBezTo>
                <a:cubicBezTo>
                  <a:pt x="886433" y="4587308"/>
                  <a:pt x="889530" y="4588444"/>
                  <a:pt x="890460" y="4588135"/>
                </a:cubicBezTo>
                <a:close/>
                <a:moveTo>
                  <a:pt x="1196070" y="4587721"/>
                </a:moveTo>
                <a:cubicBezTo>
                  <a:pt x="1197619" y="4588857"/>
                  <a:pt x="1197154" y="4592368"/>
                  <a:pt x="1197464" y="4594330"/>
                </a:cubicBezTo>
                <a:cubicBezTo>
                  <a:pt x="1196226" y="4594020"/>
                  <a:pt x="1195141" y="4593710"/>
                  <a:pt x="1195606" y="4594433"/>
                </a:cubicBezTo>
                <a:cubicBezTo>
                  <a:pt x="1194366" y="4594123"/>
                  <a:pt x="1193592" y="4593710"/>
                  <a:pt x="1192973" y="4592987"/>
                </a:cubicBezTo>
                <a:cubicBezTo>
                  <a:pt x="1192353" y="4592265"/>
                  <a:pt x="1192043" y="4591439"/>
                  <a:pt x="1191888" y="4590509"/>
                </a:cubicBezTo>
                <a:cubicBezTo>
                  <a:pt x="1192198" y="4589270"/>
                  <a:pt x="1193437" y="4588341"/>
                  <a:pt x="1196070" y="4587721"/>
                </a:cubicBezTo>
                <a:close/>
                <a:moveTo>
                  <a:pt x="1853605" y="4587618"/>
                </a:moveTo>
                <a:lnTo>
                  <a:pt x="1853296" y="4587721"/>
                </a:lnTo>
                <a:lnTo>
                  <a:pt x="1853140" y="4588031"/>
                </a:lnTo>
                <a:close/>
                <a:moveTo>
                  <a:pt x="1499667" y="4587102"/>
                </a:moveTo>
                <a:cubicBezTo>
                  <a:pt x="1502765" y="4586999"/>
                  <a:pt x="1504004" y="4586585"/>
                  <a:pt x="1506018" y="4588754"/>
                </a:cubicBezTo>
                <a:cubicBezTo>
                  <a:pt x="1504779" y="4589064"/>
                  <a:pt x="1503694" y="4589167"/>
                  <a:pt x="1502765" y="4588960"/>
                </a:cubicBezTo>
                <a:cubicBezTo>
                  <a:pt x="1501681" y="4588650"/>
                  <a:pt x="1500751" y="4588135"/>
                  <a:pt x="1499667" y="4587102"/>
                </a:cubicBezTo>
                <a:close/>
                <a:moveTo>
                  <a:pt x="5842175" y="4587016"/>
                </a:moveTo>
                <a:cubicBezTo>
                  <a:pt x="5842640" y="4586294"/>
                  <a:pt x="5845738" y="4587223"/>
                  <a:pt x="5846048" y="4588359"/>
                </a:cubicBezTo>
                <a:cubicBezTo>
                  <a:pt x="5847132" y="4591250"/>
                  <a:pt x="5844344" y="4592592"/>
                  <a:pt x="5841710" y="4595070"/>
                </a:cubicBezTo>
                <a:cubicBezTo>
                  <a:pt x="5841555" y="4593935"/>
                  <a:pt x="5840317" y="4594244"/>
                  <a:pt x="5839232" y="4594554"/>
                </a:cubicBezTo>
                <a:cubicBezTo>
                  <a:pt x="5838922" y="4592799"/>
                  <a:pt x="5837993" y="4590114"/>
                  <a:pt x="5839542" y="4588359"/>
                </a:cubicBezTo>
                <a:cubicBezTo>
                  <a:pt x="5840162" y="4587739"/>
                  <a:pt x="5840936" y="4587326"/>
                  <a:pt x="5842175" y="4587016"/>
                </a:cubicBezTo>
                <a:close/>
                <a:moveTo>
                  <a:pt x="1592450" y="4585411"/>
                </a:moveTo>
                <a:cubicBezTo>
                  <a:pt x="1593960" y="4584701"/>
                  <a:pt x="1595857" y="4585811"/>
                  <a:pt x="1597252" y="4591129"/>
                </a:cubicBezTo>
                <a:cubicBezTo>
                  <a:pt x="1594618" y="4592781"/>
                  <a:pt x="1592915" y="4593297"/>
                  <a:pt x="1591675" y="4593091"/>
                </a:cubicBezTo>
                <a:cubicBezTo>
                  <a:pt x="1590591" y="4592781"/>
                  <a:pt x="1590127" y="4591748"/>
                  <a:pt x="1589972" y="4590612"/>
                </a:cubicBezTo>
                <a:cubicBezTo>
                  <a:pt x="1589817" y="4588651"/>
                  <a:pt x="1590940" y="4586121"/>
                  <a:pt x="1592450" y="4585411"/>
                </a:cubicBezTo>
                <a:close/>
                <a:moveTo>
                  <a:pt x="6017053" y="4585158"/>
                </a:moveTo>
                <a:cubicBezTo>
                  <a:pt x="6016743" y="4587636"/>
                  <a:pt x="6017518" y="4588462"/>
                  <a:pt x="6016589" y="4588359"/>
                </a:cubicBezTo>
                <a:cubicBezTo>
                  <a:pt x="6016589" y="4588772"/>
                  <a:pt x="6016278" y="4589081"/>
                  <a:pt x="6016124" y="4589081"/>
                </a:cubicBezTo>
                <a:cubicBezTo>
                  <a:pt x="6015969" y="4589081"/>
                  <a:pt x="6015814" y="4588772"/>
                  <a:pt x="6015814" y="4588359"/>
                </a:cubicBezTo>
                <a:cubicBezTo>
                  <a:pt x="6014265" y="4587533"/>
                  <a:pt x="6016124" y="4585880"/>
                  <a:pt x="6017053" y="4585158"/>
                </a:cubicBezTo>
                <a:close/>
                <a:moveTo>
                  <a:pt x="1170357" y="4585140"/>
                </a:moveTo>
                <a:cubicBezTo>
                  <a:pt x="1172216" y="4584417"/>
                  <a:pt x="1173920" y="4584520"/>
                  <a:pt x="1175314" y="4585140"/>
                </a:cubicBezTo>
                <a:lnTo>
                  <a:pt x="1176088" y="4586069"/>
                </a:lnTo>
                <a:lnTo>
                  <a:pt x="1176863" y="4586689"/>
                </a:lnTo>
                <a:lnTo>
                  <a:pt x="1178412" y="4588444"/>
                </a:lnTo>
                <a:cubicBezTo>
                  <a:pt x="1177792" y="4589580"/>
                  <a:pt x="1177018" y="4590200"/>
                  <a:pt x="1176243" y="4590509"/>
                </a:cubicBezTo>
                <a:cubicBezTo>
                  <a:pt x="1175469" y="4590819"/>
                  <a:pt x="1174695" y="4590922"/>
                  <a:pt x="1173765" y="4590509"/>
                </a:cubicBezTo>
                <a:cubicBezTo>
                  <a:pt x="1172216" y="4589890"/>
                  <a:pt x="1170822" y="4587928"/>
                  <a:pt x="1170357" y="4585140"/>
                </a:cubicBezTo>
                <a:close/>
                <a:moveTo>
                  <a:pt x="1416643" y="4584624"/>
                </a:moveTo>
                <a:cubicBezTo>
                  <a:pt x="1415558" y="4587205"/>
                  <a:pt x="1414474" y="4589890"/>
                  <a:pt x="1412615" y="4590509"/>
                </a:cubicBezTo>
                <a:cubicBezTo>
                  <a:pt x="1411996" y="4590716"/>
                  <a:pt x="1411221" y="4590716"/>
                  <a:pt x="1410447" y="4590509"/>
                </a:cubicBezTo>
                <a:cubicBezTo>
                  <a:pt x="1409053" y="4586585"/>
                  <a:pt x="1411996" y="4582249"/>
                  <a:pt x="1416643" y="4584624"/>
                </a:cubicBezTo>
                <a:close/>
                <a:moveTo>
                  <a:pt x="6103795" y="4584435"/>
                </a:moveTo>
                <a:cubicBezTo>
                  <a:pt x="6104725" y="4584951"/>
                  <a:pt x="6105809" y="4584951"/>
                  <a:pt x="6106738" y="4585158"/>
                </a:cubicBezTo>
                <a:lnTo>
                  <a:pt x="6109681" y="4586397"/>
                </a:lnTo>
                <a:lnTo>
                  <a:pt x="6110456" y="4586087"/>
                </a:lnTo>
                <a:cubicBezTo>
                  <a:pt x="6117891" y="4596000"/>
                  <a:pt x="6115412" y="4600027"/>
                  <a:pt x="6110920" y="4600543"/>
                </a:cubicBezTo>
                <a:cubicBezTo>
                  <a:pt x="6108132" y="4600853"/>
                  <a:pt x="6104569" y="4599923"/>
                  <a:pt x="6102401" y="4598168"/>
                </a:cubicBezTo>
                <a:lnTo>
                  <a:pt x="6101626" y="4597239"/>
                </a:lnTo>
                <a:lnTo>
                  <a:pt x="6100387" y="4597962"/>
                </a:lnTo>
                <a:cubicBezTo>
                  <a:pt x="6098374" y="4598065"/>
                  <a:pt x="6096360" y="4597342"/>
                  <a:pt x="6094191" y="4595483"/>
                </a:cubicBezTo>
                <a:cubicBezTo>
                  <a:pt x="6093262" y="4591146"/>
                  <a:pt x="6098064" y="4588875"/>
                  <a:pt x="6100542" y="4587223"/>
                </a:cubicBezTo>
                <a:lnTo>
                  <a:pt x="6101626" y="4588462"/>
                </a:lnTo>
                <a:lnTo>
                  <a:pt x="6102246" y="4586707"/>
                </a:lnTo>
                <a:cubicBezTo>
                  <a:pt x="6102711" y="4585984"/>
                  <a:pt x="6103175" y="4585261"/>
                  <a:pt x="6103795" y="4584435"/>
                </a:cubicBezTo>
                <a:close/>
                <a:moveTo>
                  <a:pt x="1632568" y="4584314"/>
                </a:moveTo>
                <a:cubicBezTo>
                  <a:pt x="1634117" y="4583901"/>
                  <a:pt x="1635976" y="4584107"/>
                  <a:pt x="1637835" y="4585140"/>
                </a:cubicBezTo>
                <a:lnTo>
                  <a:pt x="1637680" y="4586276"/>
                </a:lnTo>
                <a:lnTo>
                  <a:pt x="1643720" y="4590922"/>
                </a:lnTo>
                <a:cubicBezTo>
                  <a:pt x="1644805" y="4592987"/>
                  <a:pt x="1644805" y="4595466"/>
                  <a:pt x="1643411" y="4598976"/>
                </a:cubicBezTo>
                <a:cubicBezTo>
                  <a:pt x="1642636" y="4599286"/>
                  <a:pt x="1641862" y="4599389"/>
                  <a:pt x="1641242" y="4599286"/>
                </a:cubicBezTo>
                <a:cubicBezTo>
                  <a:pt x="1639074" y="4599079"/>
                  <a:pt x="1637525" y="4597324"/>
                  <a:pt x="1636751" y="4595156"/>
                </a:cubicBezTo>
                <a:lnTo>
                  <a:pt x="1636285" y="4592265"/>
                </a:lnTo>
                <a:lnTo>
                  <a:pt x="1635666" y="4593091"/>
                </a:lnTo>
                <a:cubicBezTo>
                  <a:pt x="1635202" y="4593813"/>
                  <a:pt x="1634582" y="4594330"/>
                  <a:pt x="1633962" y="4594536"/>
                </a:cubicBezTo>
                <a:cubicBezTo>
                  <a:pt x="1625907" y="4591955"/>
                  <a:pt x="1627921" y="4585450"/>
                  <a:pt x="1632568" y="4584314"/>
                </a:cubicBezTo>
                <a:close/>
                <a:moveTo>
                  <a:pt x="1607940" y="4584211"/>
                </a:moveTo>
                <a:cubicBezTo>
                  <a:pt x="1609179" y="4584520"/>
                  <a:pt x="1610263" y="4586069"/>
                  <a:pt x="1610573" y="4588031"/>
                </a:cubicBezTo>
                <a:cubicBezTo>
                  <a:pt x="1609333" y="4587721"/>
                  <a:pt x="1608404" y="4589373"/>
                  <a:pt x="1607165" y="4589167"/>
                </a:cubicBezTo>
                <a:cubicBezTo>
                  <a:pt x="1607165" y="4589167"/>
                  <a:pt x="1604996" y="4587308"/>
                  <a:pt x="1604996" y="4587308"/>
                </a:cubicBezTo>
                <a:cubicBezTo>
                  <a:pt x="1605152" y="4586069"/>
                  <a:pt x="1605152" y="4586069"/>
                  <a:pt x="1605771" y="4586895"/>
                </a:cubicBezTo>
                <a:cubicBezTo>
                  <a:pt x="1606546" y="4585140"/>
                  <a:pt x="1607320" y="4584624"/>
                  <a:pt x="1607940" y="4584211"/>
                </a:cubicBezTo>
                <a:close/>
                <a:moveTo>
                  <a:pt x="1649452" y="4584004"/>
                </a:moveTo>
                <a:cubicBezTo>
                  <a:pt x="1655803" y="4587618"/>
                  <a:pt x="1659830" y="4591955"/>
                  <a:pt x="1657816" y="4598873"/>
                </a:cubicBezTo>
                <a:cubicBezTo>
                  <a:pt x="1656732" y="4598253"/>
                  <a:pt x="1656112" y="4599286"/>
                  <a:pt x="1655648" y="4600318"/>
                </a:cubicBezTo>
                <a:cubicBezTo>
                  <a:pt x="1648522" y="4601454"/>
                  <a:pt x="1640932" y="4587515"/>
                  <a:pt x="1646354" y="4584520"/>
                </a:cubicBezTo>
                <a:cubicBezTo>
                  <a:pt x="1647128" y="4584004"/>
                  <a:pt x="1648058" y="4583901"/>
                  <a:pt x="1649452" y="4584004"/>
                </a:cubicBezTo>
                <a:close/>
                <a:moveTo>
                  <a:pt x="1224726" y="4582765"/>
                </a:moveTo>
                <a:cubicBezTo>
                  <a:pt x="1225965" y="4583075"/>
                  <a:pt x="1226895" y="4585863"/>
                  <a:pt x="1228134" y="4586173"/>
                </a:cubicBezTo>
                <a:cubicBezTo>
                  <a:pt x="1228134" y="4586173"/>
                  <a:pt x="1228134" y="4586276"/>
                  <a:pt x="1227204" y="4587928"/>
                </a:cubicBezTo>
                <a:cubicBezTo>
                  <a:pt x="1226430" y="4588444"/>
                  <a:pt x="1225810" y="4588857"/>
                  <a:pt x="1224571" y="4588547"/>
                </a:cubicBezTo>
                <a:cubicBezTo>
                  <a:pt x="1223332" y="4588238"/>
                  <a:pt x="1222402" y="4586689"/>
                  <a:pt x="1221784" y="4585863"/>
                </a:cubicBezTo>
                <a:cubicBezTo>
                  <a:pt x="1222557" y="4585450"/>
                  <a:pt x="1222093" y="4584624"/>
                  <a:pt x="1222712" y="4584211"/>
                </a:cubicBezTo>
                <a:cubicBezTo>
                  <a:pt x="1223642" y="4582559"/>
                  <a:pt x="1223642" y="4582455"/>
                  <a:pt x="1224726" y="4582765"/>
                </a:cubicBezTo>
                <a:close/>
                <a:moveTo>
                  <a:pt x="6029600" y="4582370"/>
                </a:moveTo>
                <a:cubicBezTo>
                  <a:pt x="6030994" y="4583196"/>
                  <a:pt x="6032853" y="4583299"/>
                  <a:pt x="6033627" y="4584951"/>
                </a:cubicBezTo>
                <a:cubicBezTo>
                  <a:pt x="6034092" y="4587326"/>
                  <a:pt x="6030994" y="4590631"/>
                  <a:pt x="6029445" y="4591663"/>
                </a:cubicBezTo>
                <a:cubicBezTo>
                  <a:pt x="6027121" y="4592386"/>
                  <a:pt x="6025572" y="4590217"/>
                  <a:pt x="6025108" y="4587842"/>
                </a:cubicBezTo>
                <a:cubicBezTo>
                  <a:pt x="6024643" y="4587120"/>
                  <a:pt x="6024798" y="4586190"/>
                  <a:pt x="6025263" y="4585261"/>
                </a:cubicBezTo>
                <a:cubicBezTo>
                  <a:pt x="6025727" y="4584332"/>
                  <a:pt x="6026502" y="4583506"/>
                  <a:pt x="6027276" y="4582989"/>
                </a:cubicBezTo>
                <a:cubicBezTo>
                  <a:pt x="6028515" y="4582679"/>
                  <a:pt x="6028515" y="4582679"/>
                  <a:pt x="6029600" y="4582370"/>
                </a:cubicBezTo>
                <a:close/>
                <a:moveTo>
                  <a:pt x="903936" y="4582145"/>
                </a:moveTo>
                <a:cubicBezTo>
                  <a:pt x="903626" y="4583384"/>
                  <a:pt x="907034" y="4584211"/>
                  <a:pt x="908118" y="4584520"/>
                </a:cubicBezTo>
                <a:cubicBezTo>
                  <a:pt x="907808" y="4585656"/>
                  <a:pt x="908583" y="4586689"/>
                  <a:pt x="909202" y="4587825"/>
                </a:cubicBezTo>
                <a:lnTo>
                  <a:pt x="909977" y="4589373"/>
                </a:lnTo>
                <a:lnTo>
                  <a:pt x="923298" y="4584107"/>
                </a:lnTo>
                <a:cubicBezTo>
                  <a:pt x="923453" y="4587205"/>
                  <a:pt x="925622" y="4588444"/>
                  <a:pt x="925157" y="4593401"/>
                </a:cubicBezTo>
                <a:cubicBezTo>
                  <a:pt x="917567" y="4595259"/>
                  <a:pt x="910596" y="4598047"/>
                  <a:pt x="903781" y="4600732"/>
                </a:cubicBezTo>
                <a:lnTo>
                  <a:pt x="892783" y="4604449"/>
                </a:lnTo>
                <a:lnTo>
                  <a:pt x="894177" y="4607340"/>
                </a:lnTo>
                <a:cubicBezTo>
                  <a:pt x="895417" y="4611470"/>
                  <a:pt x="895727" y="4615497"/>
                  <a:pt x="895417" y="4619421"/>
                </a:cubicBezTo>
                <a:cubicBezTo>
                  <a:pt x="895261" y="4622003"/>
                  <a:pt x="894642" y="4624584"/>
                  <a:pt x="893868" y="4627165"/>
                </a:cubicBezTo>
                <a:cubicBezTo>
                  <a:pt x="887362" y="4626546"/>
                  <a:pt x="887052" y="4618595"/>
                  <a:pt x="885348" y="4613226"/>
                </a:cubicBezTo>
                <a:cubicBezTo>
                  <a:pt x="880547" y="4617149"/>
                  <a:pt x="874506" y="4624584"/>
                  <a:pt x="870324" y="4619731"/>
                </a:cubicBezTo>
                <a:cubicBezTo>
                  <a:pt x="870633" y="4612709"/>
                  <a:pt x="879152" y="4610851"/>
                  <a:pt x="884264" y="4605172"/>
                </a:cubicBezTo>
                <a:cubicBezTo>
                  <a:pt x="885348" y="4602590"/>
                  <a:pt x="883954" y="4600422"/>
                  <a:pt x="885658" y="4597737"/>
                </a:cubicBezTo>
                <a:lnTo>
                  <a:pt x="886743" y="4596705"/>
                </a:lnTo>
                <a:lnTo>
                  <a:pt x="886587" y="4592368"/>
                </a:lnTo>
                <a:cubicBezTo>
                  <a:pt x="888136" y="4591645"/>
                  <a:pt x="890770" y="4594330"/>
                  <a:pt x="892474" y="4595362"/>
                </a:cubicBezTo>
                <a:cubicBezTo>
                  <a:pt x="891699" y="4596188"/>
                  <a:pt x="890925" y="4596911"/>
                  <a:pt x="891699" y="4597014"/>
                </a:cubicBezTo>
                <a:lnTo>
                  <a:pt x="889840" y="4597944"/>
                </a:lnTo>
                <a:lnTo>
                  <a:pt x="890770" y="4599906"/>
                </a:lnTo>
                <a:lnTo>
                  <a:pt x="891544" y="4598976"/>
                </a:lnTo>
                <a:cubicBezTo>
                  <a:pt x="893713" y="4597221"/>
                  <a:pt x="896037" y="4595672"/>
                  <a:pt x="898670" y="4594330"/>
                </a:cubicBezTo>
                <a:lnTo>
                  <a:pt x="903006" y="4592368"/>
                </a:lnTo>
                <a:lnTo>
                  <a:pt x="901148" y="4591335"/>
                </a:lnTo>
                <a:cubicBezTo>
                  <a:pt x="897585" y="4588754"/>
                  <a:pt x="897585" y="4585863"/>
                  <a:pt x="896811" y="4585656"/>
                </a:cubicBezTo>
                <a:cubicBezTo>
                  <a:pt x="897895" y="4581939"/>
                  <a:pt x="900064" y="4582559"/>
                  <a:pt x="903936" y="4582145"/>
                </a:cubicBezTo>
                <a:close/>
                <a:moveTo>
                  <a:pt x="1351896" y="4581733"/>
                </a:moveTo>
                <a:lnTo>
                  <a:pt x="1351276" y="4582145"/>
                </a:lnTo>
                <a:lnTo>
                  <a:pt x="1351586" y="4582765"/>
                </a:lnTo>
                <a:close/>
                <a:moveTo>
                  <a:pt x="6210673" y="4579685"/>
                </a:moveTo>
                <a:cubicBezTo>
                  <a:pt x="6214236" y="4578343"/>
                  <a:pt x="6217024" y="4578653"/>
                  <a:pt x="6219038" y="4579892"/>
                </a:cubicBezTo>
                <a:cubicBezTo>
                  <a:pt x="6220587" y="4580821"/>
                  <a:pt x="6221516" y="4582267"/>
                  <a:pt x="6222291" y="4584022"/>
                </a:cubicBezTo>
                <a:lnTo>
                  <a:pt x="6222446" y="4585777"/>
                </a:lnTo>
                <a:cubicBezTo>
                  <a:pt x="6225543" y="4585055"/>
                  <a:pt x="6229416" y="4586707"/>
                  <a:pt x="6230965" y="4591353"/>
                </a:cubicBezTo>
                <a:cubicBezTo>
                  <a:pt x="6229416" y="4594554"/>
                  <a:pt x="6227402" y="4596000"/>
                  <a:pt x="6226163" y="4597342"/>
                </a:cubicBezTo>
                <a:lnTo>
                  <a:pt x="6220742" y="4594761"/>
                </a:lnTo>
                <a:lnTo>
                  <a:pt x="6215785" y="4597652"/>
                </a:lnTo>
                <a:cubicBezTo>
                  <a:pt x="6210209" y="4594967"/>
                  <a:pt x="6208350" y="4584022"/>
                  <a:pt x="6210673" y="4579685"/>
                </a:cubicBezTo>
                <a:close/>
                <a:moveTo>
                  <a:pt x="6854112" y="4579582"/>
                </a:moveTo>
                <a:cubicBezTo>
                  <a:pt x="6858295" y="4600853"/>
                  <a:pt x="6863871" y="4623569"/>
                  <a:pt x="6854577" y="4641123"/>
                </a:cubicBezTo>
                <a:cubicBezTo>
                  <a:pt x="6851479" y="4647008"/>
                  <a:pt x="6846677" y="4652274"/>
                  <a:pt x="6839552" y="4656714"/>
                </a:cubicBezTo>
                <a:cubicBezTo>
                  <a:pt x="6834596" y="4659606"/>
                  <a:pt x="6829639" y="4661154"/>
                  <a:pt x="6824992" y="4661671"/>
                </a:cubicBezTo>
                <a:cubicBezTo>
                  <a:pt x="6810741" y="4663013"/>
                  <a:pt x="6798195" y="4654339"/>
                  <a:pt x="6791689" y="4641536"/>
                </a:cubicBezTo>
                <a:lnTo>
                  <a:pt x="6790140" y="4636476"/>
                </a:lnTo>
                <a:lnTo>
                  <a:pt x="6788591" y="4637405"/>
                </a:lnTo>
                <a:cubicBezTo>
                  <a:pt x="6786423" y="4638128"/>
                  <a:pt x="6785184" y="4636579"/>
                  <a:pt x="6785184" y="4636579"/>
                </a:cubicBezTo>
                <a:cubicBezTo>
                  <a:pt x="6783635" y="4633688"/>
                  <a:pt x="6783944" y="4631004"/>
                  <a:pt x="6786578" y="4629558"/>
                </a:cubicBezTo>
                <a:lnTo>
                  <a:pt x="6788437" y="4630384"/>
                </a:lnTo>
                <a:lnTo>
                  <a:pt x="6786733" y="4624499"/>
                </a:lnTo>
                <a:cubicBezTo>
                  <a:pt x="6786268" y="4618406"/>
                  <a:pt x="6786887" y="4612004"/>
                  <a:pt x="6789056" y="4605706"/>
                </a:cubicBezTo>
                <a:cubicBezTo>
                  <a:pt x="6812290" y="4582679"/>
                  <a:pt x="6831652" y="4590424"/>
                  <a:pt x="6854112" y="4579582"/>
                </a:cubicBezTo>
                <a:close/>
                <a:moveTo>
                  <a:pt x="879462" y="4579564"/>
                </a:moveTo>
                <a:cubicBezTo>
                  <a:pt x="881011" y="4580803"/>
                  <a:pt x="878223" y="4585656"/>
                  <a:pt x="876055" y="4584520"/>
                </a:cubicBezTo>
                <a:cubicBezTo>
                  <a:pt x="875435" y="4584107"/>
                  <a:pt x="874815" y="4582972"/>
                  <a:pt x="874351" y="4580906"/>
                </a:cubicBezTo>
                <a:cubicBezTo>
                  <a:pt x="877139" y="4579151"/>
                  <a:pt x="878688" y="4579048"/>
                  <a:pt x="879462" y="4579564"/>
                </a:cubicBezTo>
                <a:close/>
                <a:moveTo>
                  <a:pt x="1205054" y="4579254"/>
                </a:moveTo>
                <a:cubicBezTo>
                  <a:pt x="1205829" y="4581010"/>
                  <a:pt x="1206448" y="4584520"/>
                  <a:pt x="1204900" y="4585966"/>
                </a:cubicBezTo>
                <a:cubicBezTo>
                  <a:pt x="1204900" y="4585966"/>
                  <a:pt x="1204900" y="4585966"/>
                  <a:pt x="1203970" y="4586689"/>
                </a:cubicBezTo>
                <a:cubicBezTo>
                  <a:pt x="1204125" y="4584107"/>
                  <a:pt x="1204125" y="4580803"/>
                  <a:pt x="1205054" y="4579254"/>
                </a:cubicBezTo>
                <a:close/>
                <a:moveTo>
                  <a:pt x="6707348" y="4578511"/>
                </a:moveTo>
                <a:cubicBezTo>
                  <a:pt x="6711182" y="4579066"/>
                  <a:pt x="6714784" y="4581544"/>
                  <a:pt x="6717804" y="4585158"/>
                </a:cubicBezTo>
                <a:cubicBezTo>
                  <a:pt x="6728027" y="4597239"/>
                  <a:pt x="6732054" y="4621504"/>
                  <a:pt x="6717339" y="4627080"/>
                </a:cubicBezTo>
                <a:cubicBezTo>
                  <a:pt x="6706341" y="4617580"/>
                  <a:pt x="6696738" y="4604570"/>
                  <a:pt x="6695499" y="4583402"/>
                </a:cubicBezTo>
                <a:cubicBezTo>
                  <a:pt x="6699448" y="4579324"/>
                  <a:pt x="6703514" y="4577956"/>
                  <a:pt x="6707348" y="4578511"/>
                </a:cubicBezTo>
                <a:close/>
                <a:moveTo>
                  <a:pt x="6144843" y="4577930"/>
                </a:moveTo>
                <a:cubicBezTo>
                  <a:pt x="6146547" y="4579892"/>
                  <a:pt x="6147166" y="4581750"/>
                  <a:pt x="6146547" y="4583609"/>
                </a:cubicBezTo>
                <a:cubicBezTo>
                  <a:pt x="6146082" y="4585364"/>
                  <a:pt x="6144533" y="4587223"/>
                  <a:pt x="6142054" y="4589288"/>
                </a:cubicBezTo>
                <a:cubicBezTo>
                  <a:pt x="6140970" y="4588255"/>
                  <a:pt x="6140505" y="4587326"/>
                  <a:pt x="6140350" y="4586397"/>
                </a:cubicBezTo>
                <a:cubicBezTo>
                  <a:pt x="6139886" y="4583712"/>
                  <a:pt x="6142984" y="4581131"/>
                  <a:pt x="6144843" y="4577930"/>
                </a:cubicBezTo>
                <a:close/>
                <a:moveTo>
                  <a:pt x="5975696" y="4577517"/>
                </a:moveTo>
                <a:cubicBezTo>
                  <a:pt x="5977554" y="4578653"/>
                  <a:pt x="5978794" y="4580614"/>
                  <a:pt x="5978794" y="4583815"/>
                </a:cubicBezTo>
                <a:cubicBezTo>
                  <a:pt x="5978484" y="4588565"/>
                  <a:pt x="5976315" y="4591146"/>
                  <a:pt x="5973063" y="4592592"/>
                </a:cubicBezTo>
                <a:lnTo>
                  <a:pt x="5972908" y="4592696"/>
                </a:lnTo>
                <a:lnTo>
                  <a:pt x="5972598" y="4593212"/>
                </a:lnTo>
                <a:lnTo>
                  <a:pt x="5969809" y="4593418"/>
                </a:lnTo>
                <a:lnTo>
                  <a:pt x="5967486" y="4594038"/>
                </a:lnTo>
                <a:cubicBezTo>
                  <a:pt x="5965473" y="4594244"/>
                  <a:pt x="5963149" y="4594244"/>
                  <a:pt x="5960826" y="4594244"/>
                </a:cubicBezTo>
                <a:cubicBezTo>
                  <a:pt x="5959896" y="4590734"/>
                  <a:pt x="5957728" y="4588359"/>
                  <a:pt x="5956798" y="4584848"/>
                </a:cubicBezTo>
                <a:cubicBezTo>
                  <a:pt x="5958967" y="4579582"/>
                  <a:pt x="5970120" y="4574419"/>
                  <a:pt x="5975696" y="4577517"/>
                </a:cubicBezTo>
                <a:close/>
                <a:moveTo>
                  <a:pt x="1601280" y="4577293"/>
                </a:moveTo>
                <a:cubicBezTo>
                  <a:pt x="1602363" y="4578532"/>
                  <a:pt x="1602673" y="4580390"/>
                  <a:pt x="1601744" y="4583488"/>
                </a:cubicBezTo>
                <a:cubicBezTo>
                  <a:pt x="1600659" y="4583901"/>
                  <a:pt x="1599730" y="4584107"/>
                  <a:pt x="1599111" y="4584107"/>
                </a:cubicBezTo>
                <a:cubicBezTo>
                  <a:pt x="1596942" y="4584004"/>
                  <a:pt x="1596323" y="4582042"/>
                  <a:pt x="1595548" y="4580183"/>
                </a:cubicBezTo>
                <a:cubicBezTo>
                  <a:pt x="1598646" y="4579668"/>
                  <a:pt x="1597871" y="4575847"/>
                  <a:pt x="1601280" y="4577293"/>
                </a:cubicBezTo>
                <a:close/>
                <a:moveTo>
                  <a:pt x="753841" y="4576983"/>
                </a:moveTo>
                <a:cubicBezTo>
                  <a:pt x="754925" y="4576673"/>
                  <a:pt x="755390" y="4575950"/>
                  <a:pt x="755545" y="4577086"/>
                </a:cubicBezTo>
                <a:cubicBezTo>
                  <a:pt x="755855" y="4578222"/>
                  <a:pt x="755855" y="4578222"/>
                  <a:pt x="754306" y="4580390"/>
                </a:cubicBezTo>
                <a:cubicBezTo>
                  <a:pt x="754151" y="4579254"/>
                  <a:pt x="754151" y="4579254"/>
                  <a:pt x="753067" y="4579564"/>
                </a:cubicBezTo>
                <a:cubicBezTo>
                  <a:pt x="753067" y="4579564"/>
                  <a:pt x="753067" y="4579564"/>
                  <a:pt x="752602" y="4580390"/>
                </a:cubicBezTo>
                <a:cubicBezTo>
                  <a:pt x="751982" y="4579977"/>
                  <a:pt x="752447" y="4579151"/>
                  <a:pt x="751828" y="4578738"/>
                </a:cubicBezTo>
                <a:cubicBezTo>
                  <a:pt x="751828" y="4578738"/>
                  <a:pt x="752293" y="4578015"/>
                  <a:pt x="752293" y="4578015"/>
                </a:cubicBezTo>
                <a:cubicBezTo>
                  <a:pt x="751982" y="4577809"/>
                  <a:pt x="751982" y="4577809"/>
                  <a:pt x="752138" y="4577809"/>
                </a:cubicBezTo>
                <a:cubicBezTo>
                  <a:pt x="752447" y="4577706"/>
                  <a:pt x="753067" y="4577499"/>
                  <a:pt x="753841" y="4576983"/>
                </a:cubicBezTo>
                <a:close/>
                <a:moveTo>
                  <a:pt x="1552487" y="4576776"/>
                </a:moveTo>
                <a:cubicBezTo>
                  <a:pt x="1552022" y="4578738"/>
                  <a:pt x="1551248" y="4579771"/>
                  <a:pt x="1550163" y="4580183"/>
                </a:cubicBezTo>
                <a:cubicBezTo>
                  <a:pt x="1549234" y="4580597"/>
                  <a:pt x="1547995" y="4580390"/>
                  <a:pt x="1546291" y="4579977"/>
                </a:cubicBezTo>
                <a:cubicBezTo>
                  <a:pt x="1547220" y="4577189"/>
                  <a:pt x="1548924" y="4577086"/>
                  <a:pt x="1552487" y="4576776"/>
                </a:cubicBezTo>
                <a:close/>
                <a:moveTo>
                  <a:pt x="1175624" y="4576260"/>
                </a:moveTo>
                <a:cubicBezTo>
                  <a:pt x="1177173" y="4577396"/>
                  <a:pt x="1177948" y="4578428"/>
                  <a:pt x="1178722" y="4579358"/>
                </a:cubicBezTo>
                <a:cubicBezTo>
                  <a:pt x="1180426" y="4580493"/>
                  <a:pt x="1180426" y="4581423"/>
                  <a:pt x="1178722" y="4582972"/>
                </a:cubicBezTo>
                <a:cubicBezTo>
                  <a:pt x="1177018" y="4581939"/>
                  <a:pt x="1174695" y="4578015"/>
                  <a:pt x="1175624" y="4576260"/>
                </a:cubicBezTo>
                <a:close/>
                <a:moveTo>
                  <a:pt x="1469462" y="4575640"/>
                </a:moveTo>
                <a:cubicBezTo>
                  <a:pt x="1470082" y="4576673"/>
                  <a:pt x="1470856" y="4577706"/>
                  <a:pt x="1471786" y="4577086"/>
                </a:cubicBezTo>
                <a:lnTo>
                  <a:pt x="1475038" y="4585140"/>
                </a:lnTo>
                <a:lnTo>
                  <a:pt x="1475504" y="4584314"/>
                </a:lnTo>
                <a:cubicBezTo>
                  <a:pt x="1475968" y="4583591"/>
                  <a:pt x="1476587" y="4583178"/>
                  <a:pt x="1476742" y="4583591"/>
                </a:cubicBezTo>
                <a:cubicBezTo>
                  <a:pt x="1477827" y="4584004"/>
                  <a:pt x="1477517" y="4583178"/>
                  <a:pt x="1478292" y="4582765"/>
                </a:cubicBezTo>
                <a:lnTo>
                  <a:pt x="1479375" y="4583488"/>
                </a:lnTo>
                <a:lnTo>
                  <a:pt x="1479840" y="4582868"/>
                </a:lnTo>
                <a:cubicBezTo>
                  <a:pt x="1480925" y="4581113"/>
                  <a:pt x="1480925" y="4581113"/>
                  <a:pt x="1482009" y="4581423"/>
                </a:cubicBezTo>
                <a:cubicBezTo>
                  <a:pt x="1482628" y="4581629"/>
                  <a:pt x="1482938" y="4582352"/>
                  <a:pt x="1483403" y="4583075"/>
                </a:cubicBezTo>
                <a:lnTo>
                  <a:pt x="1484177" y="4584004"/>
                </a:lnTo>
                <a:lnTo>
                  <a:pt x="1485727" y="4582662"/>
                </a:lnTo>
                <a:cubicBezTo>
                  <a:pt x="1486346" y="4581939"/>
                  <a:pt x="1486966" y="4581216"/>
                  <a:pt x="1487895" y="4580390"/>
                </a:cubicBezTo>
                <a:cubicBezTo>
                  <a:pt x="1490218" y="4581836"/>
                  <a:pt x="1493316" y="4586895"/>
                  <a:pt x="1492077" y="4591026"/>
                </a:cubicBezTo>
                <a:cubicBezTo>
                  <a:pt x="1490838" y="4591439"/>
                  <a:pt x="1489754" y="4591542"/>
                  <a:pt x="1488824" y="4591439"/>
                </a:cubicBezTo>
                <a:cubicBezTo>
                  <a:pt x="1487431" y="4591335"/>
                  <a:pt x="1486346" y="4590612"/>
                  <a:pt x="1485417" y="4589373"/>
                </a:cubicBezTo>
                <a:lnTo>
                  <a:pt x="1484177" y="4585760"/>
                </a:lnTo>
                <a:lnTo>
                  <a:pt x="1483713" y="4586585"/>
                </a:lnTo>
                <a:lnTo>
                  <a:pt x="1482164" y="4586895"/>
                </a:lnTo>
                <a:lnTo>
                  <a:pt x="1482474" y="4588960"/>
                </a:lnTo>
                <a:cubicBezTo>
                  <a:pt x="1482009" y="4590200"/>
                  <a:pt x="1481389" y="4591542"/>
                  <a:pt x="1480615" y="4592678"/>
                </a:cubicBezTo>
                <a:lnTo>
                  <a:pt x="1477827" y="4594020"/>
                </a:lnTo>
                <a:lnTo>
                  <a:pt x="1479840" y="4593917"/>
                </a:lnTo>
                <a:cubicBezTo>
                  <a:pt x="1480460" y="4596292"/>
                  <a:pt x="1479221" y="4597634"/>
                  <a:pt x="1477672" y="4598047"/>
                </a:cubicBezTo>
                <a:lnTo>
                  <a:pt x="1475038" y="4597531"/>
                </a:lnTo>
                <a:lnTo>
                  <a:pt x="1474729" y="4599802"/>
                </a:lnTo>
                <a:cubicBezTo>
                  <a:pt x="1472095" y="4607134"/>
                  <a:pt x="1466210" y="4612813"/>
                  <a:pt x="1458620" y="4612813"/>
                </a:cubicBezTo>
                <a:cubicBezTo>
                  <a:pt x="1453972" y="4607443"/>
                  <a:pt x="1451959" y="4601351"/>
                  <a:pt x="1452424" y="4595672"/>
                </a:cubicBezTo>
                <a:cubicBezTo>
                  <a:pt x="1452424" y="4594949"/>
                  <a:pt x="1452734" y="4594330"/>
                  <a:pt x="1452734" y="4593607"/>
                </a:cubicBezTo>
                <a:cubicBezTo>
                  <a:pt x="1451649" y="4593401"/>
                  <a:pt x="1450565" y="4593091"/>
                  <a:pt x="1451030" y="4593813"/>
                </a:cubicBezTo>
                <a:cubicBezTo>
                  <a:pt x="1449946" y="4593504"/>
                  <a:pt x="1449171" y="4592987"/>
                  <a:pt x="1448706" y="4592368"/>
                </a:cubicBezTo>
                <a:cubicBezTo>
                  <a:pt x="1448241" y="4591645"/>
                  <a:pt x="1447932" y="4590819"/>
                  <a:pt x="1447932" y="4589786"/>
                </a:cubicBezTo>
                <a:cubicBezTo>
                  <a:pt x="1448396" y="4588650"/>
                  <a:pt x="1449946" y="4587721"/>
                  <a:pt x="1452424" y="4587102"/>
                </a:cubicBezTo>
                <a:cubicBezTo>
                  <a:pt x="1453818" y="4587928"/>
                  <a:pt x="1453043" y="4590819"/>
                  <a:pt x="1452889" y="4592884"/>
                </a:cubicBezTo>
                <a:cubicBezTo>
                  <a:pt x="1454592" y="4584624"/>
                  <a:pt x="1460633" y="4577499"/>
                  <a:pt x="1469462" y="4575640"/>
                </a:cubicBezTo>
                <a:close/>
                <a:moveTo>
                  <a:pt x="889685" y="4575434"/>
                </a:moveTo>
                <a:cubicBezTo>
                  <a:pt x="891854" y="4575950"/>
                  <a:pt x="891544" y="4579254"/>
                  <a:pt x="890770" y="4579668"/>
                </a:cubicBezTo>
                <a:cubicBezTo>
                  <a:pt x="889685" y="4579461"/>
                  <a:pt x="888911" y="4577912"/>
                  <a:pt x="887672" y="4577602"/>
                </a:cubicBezTo>
                <a:cubicBezTo>
                  <a:pt x="888447" y="4577189"/>
                  <a:pt x="888911" y="4575950"/>
                  <a:pt x="889685" y="4575434"/>
                </a:cubicBezTo>
                <a:close/>
                <a:moveTo>
                  <a:pt x="6092178" y="4575142"/>
                </a:moveTo>
                <a:cubicBezTo>
                  <a:pt x="6092488" y="4576484"/>
                  <a:pt x="6089235" y="4581028"/>
                  <a:pt x="6086602" y="4581647"/>
                </a:cubicBezTo>
                <a:cubicBezTo>
                  <a:pt x="6085827" y="4581854"/>
                  <a:pt x="6085053" y="4581544"/>
                  <a:pt x="6084588" y="4580614"/>
                </a:cubicBezTo>
                <a:cubicBezTo>
                  <a:pt x="6083503" y="4577104"/>
                  <a:pt x="6090629" y="4574212"/>
                  <a:pt x="6092178" y="4575142"/>
                </a:cubicBezTo>
                <a:close/>
                <a:moveTo>
                  <a:pt x="1189565" y="4574195"/>
                </a:moveTo>
                <a:cubicBezTo>
                  <a:pt x="1191423" y="4576053"/>
                  <a:pt x="1194676" y="4573472"/>
                  <a:pt x="1197310" y="4576260"/>
                </a:cubicBezTo>
                <a:cubicBezTo>
                  <a:pt x="1197310" y="4578015"/>
                  <a:pt x="1197310" y="4578945"/>
                  <a:pt x="1196535" y="4580700"/>
                </a:cubicBezTo>
                <a:cubicBezTo>
                  <a:pt x="1194986" y="4582145"/>
                  <a:pt x="1193592" y="4583075"/>
                  <a:pt x="1192198" y="4583591"/>
                </a:cubicBezTo>
                <a:lnTo>
                  <a:pt x="1188945" y="4584520"/>
                </a:lnTo>
                <a:lnTo>
                  <a:pt x="1188945" y="4586173"/>
                </a:lnTo>
                <a:cubicBezTo>
                  <a:pt x="1188635" y="4587308"/>
                  <a:pt x="1187552" y="4588238"/>
                  <a:pt x="1186466" y="4588135"/>
                </a:cubicBezTo>
                <a:cubicBezTo>
                  <a:pt x="1185692" y="4588135"/>
                  <a:pt x="1184918" y="4587618"/>
                  <a:pt x="1184143" y="4586585"/>
                </a:cubicBezTo>
                <a:lnTo>
                  <a:pt x="1185692" y="4584520"/>
                </a:lnTo>
                <a:lnTo>
                  <a:pt x="1184918" y="4584520"/>
                </a:lnTo>
                <a:cubicBezTo>
                  <a:pt x="1182285" y="4581733"/>
                  <a:pt x="1183988" y="4580080"/>
                  <a:pt x="1185538" y="4576673"/>
                </a:cubicBezTo>
                <a:cubicBezTo>
                  <a:pt x="1186312" y="4577602"/>
                  <a:pt x="1188790" y="4575021"/>
                  <a:pt x="1189565" y="4574195"/>
                </a:cubicBezTo>
                <a:close/>
                <a:moveTo>
                  <a:pt x="5753110" y="4573800"/>
                </a:moveTo>
                <a:cubicBezTo>
                  <a:pt x="5756672" y="4573077"/>
                  <a:pt x="5757912" y="4573283"/>
                  <a:pt x="5761319" y="4575039"/>
                </a:cubicBezTo>
                <a:cubicBezTo>
                  <a:pt x="5762713" y="4580718"/>
                  <a:pt x="5760545" y="4584745"/>
                  <a:pt x="5758376" y="4588772"/>
                </a:cubicBezTo>
                <a:cubicBezTo>
                  <a:pt x="5757137" y="4588978"/>
                  <a:pt x="5755898" y="4588978"/>
                  <a:pt x="5754969" y="4588875"/>
                </a:cubicBezTo>
                <a:cubicBezTo>
                  <a:pt x="5748618" y="4588152"/>
                  <a:pt x="5752645" y="4579169"/>
                  <a:pt x="5753110" y="4573800"/>
                </a:cubicBezTo>
                <a:close/>
                <a:moveTo>
                  <a:pt x="6645777" y="4573490"/>
                </a:moveTo>
                <a:cubicBezTo>
                  <a:pt x="6647481" y="4575245"/>
                  <a:pt x="6649185" y="4577001"/>
                  <a:pt x="6647636" y="4578549"/>
                </a:cubicBezTo>
                <a:cubicBezTo>
                  <a:pt x="6645932" y="4577723"/>
                  <a:pt x="6645158" y="4578446"/>
                  <a:pt x="6643454" y="4575865"/>
                </a:cubicBezTo>
                <a:cubicBezTo>
                  <a:pt x="6644228" y="4575039"/>
                  <a:pt x="6645003" y="4574316"/>
                  <a:pt x="6645777" y="4573490"/>
                </a:cubicBezTo>
                <a:close/>
                <a:moveTo>
                  <a:pt x="1174076" y="4573162"/>
                </a:moveTo>
                <a:cubicBezTo>
                  <a:pt x="1174385" y="4573369"/>
                  <a:pt x="1174695" y="4573575"/>
                  <a:pt x="1174695" y="4573575"/>
                </a:cubicBezTo>
                <a:cubicBezTo>
                  <a:pt x="1175469" y="4574505"/>
                  <a:pt x="1176243" y="4575537"/>
                  <a:pt x="1175469" y="4576260"/>
                </a:cubicBezTo>
                <a:cubicBezTo>
                  <a:pt x="1175469" y="4576260"/>
                  <a:pt x="1174540" y="4576157"/>
                  <a:pt x="1172991" y="4574195"/>
                </a:cubicBezTo>
                <a:cubicBezTo>
                  <a:pt x="1173765" y="4574298"/>
                  <a:pt x="1173765" y="4573472"/>
                  <a:pt x="1173765" y="4573472"/>
                </a:cubicBezTo>
                <a:cubicBezTo>
                  <a:pt x="1173765" y="4573472"/>
                  <a:pt x="1173765" y="4573472"/>
                  <a:pt x="1172991" y="4573369"/>
                </a:cubicBezTo>
                <a:cubicBezTo>
                  <a:pt x="1173455" y="4572956"/>
                  <a:pt x="1173765" y="4573059"/>
                  <a:pt x="1174076" y="4573162"/>
                </a:cubicBezTo>
                <a:close/>
                <a:moveTo>
                  <a:pt x="6842805" y="4572457"/>
                </a:moveTo>
                <a:cubicBezTo>
                  <a:pt x="6843270" y="4573593"/>
                  <a:pt x="6843270" y="4573593"/>
                  <a:pt x="6844199" y="4573283"/>
                </a:cubicBezTo>
                <a:cubicBezTo>
                  <a:pt x="6844199" y="4573283"/>
                  <a:pt x="6844199" y="4573283"/>
                  <a:pt x="6844509" y="4572561"/>
                </a:cubicBezTo>
                <a:cubicBezTo>
                  <a:pt x="6845284" y="4572974"/>
                  <a:pt x="6844974" y="4573697"/>
                  <a:pt x="6845748" y="4574109"/>
                </a:cubicBezTo>
                <a:cubicBezTo>
                  <a:pt x="6845748" y="4574109"/>
                  <a:pt x="6845284" y="4574832"/>
                  <a:pt x="6845284" y="4574832"/>
                </a:cubicBezTo>
                <a:cubicBezTo>
                  <a:pt x="6845748" y="4575039"/>
                  <a:pt x="6845748" y="4575039"/>
                  <a:pt x="6845438" y="4575142"/>
                </a:cubicBezTo>
                <a:cubicBezTo>
                  <a:pt x="6845284" y="4575245"/>
                  <a:pt x="6844664" y="4575348"/>
                  <a:pt x="6843889" y="4575865"/>
                </a:cubicBezTo>
                <a:cubicBezTo>
                  <a:pt x="6843425" y="4576071"/>
                  <a:pt x="6843115" y="4576278"/>
                  <a:pt x="6842805" y="4576381"/>
                </a:cubicBezTo>
                <a:cubicBezTo>
                  <a:pt x="6842650" y="4576484"/>
                  <a:pt x="6842341" y="4576381"/>
                  <a:pt x="6842185" y="4575865"/>
                </a:cubicBezTo>
                <a:cubicBezTo>
                  <a:pt x="6841876" y="4574729"/>
                  <a:pt x="6841876" y="4574626"/>
                  <a:pt x="6842805" y="4572457"/>
                </a:cubicBezTo>
                <a:close/>
                <a:moveTo>
                  <a:pt x="647892" y="4572130"/>
                </a:moveTo>
                <a:cubicBezTo>
                  <a:pt x="648976" y="4572336"/>
                  <a:pt x="648976" y="4572439"/>
                  <a:pt x="650061" y="4574505"/>
                </a:cubicBezTo>
                <a:cubicBezTo>
                  <a:pt x="648976" y="4574298"/>
                  <a:pt x="648976" y="4574298"/>
                  <a:pt x="648667" y="4575434"/>
                </a:cubicBezTo>
                <a:cubicBezTo>
                  <a:pt x="648667" y="4575434"/>
                  <a:pt x="648512" y="4575434"/>
                  <a:pt x="648976" y="4576157"/>
                </a:cubicBezTo>
                <a:cubicBezTo>
                  <a:pt x="648202" y="4576570"/>
                  <a:pt x="647892" y="4575847"/>
                  <a:pt x="647273" y="4576260"/>
                </a:cubicBezTo>
                <a:cubicBezTo>
                  <a:pt x="647273" y="4576260"/>
                  <a:pt x="646809" y="4575537"/>
                  <a:pt x="646809" y="4575537"/>
                </a:cubicBezTo>
                <a:cubicBezTo>
                  <a:pt x="646498" y="4575744"/>
                  <a:pt x="646498" y="4575744"/>
                  <a:pt x="646498" y="4575537"/>
                </a:cubicBezTo>
                <a:cubicBezTo>
                  <a:pt x="646654" y="4575227"/>
                  <a:pt x="646809" y="4574608"/>
                  <a:pt x="646809" y="4573678"/>
                </a:cubicBezTo>
                <a:cubicBezTo>
                  <a:pt x="647118" y="4572543"/>
                  <a:pt x="646809" y="4571820"/>
                  <a:pt x="647892" y="4572130"/>
                </a:cubicBezTo>
                <a:close/>
                <a:moveTo>
                  <a:pt x="1021599" y="4572091"/>
                </a:moveTo>
                <a:cubicBezTo>
                  <a:pt x="1029828" y="4571484"/>
                  <a:pt x="1037921" y="4573059"/>
                  <a:pt x="1044117" y="4578428"/>
                </a:cubicBezTo>
                <a:cubicBezTo>
                  <a:pt x="1054340" y="4587308"/>
                  <a:pt x="1050777" y="4598563"/>
                  <a:pt x="1054495" y="4611264"/>
                </a:cubicBezTo>
                <a:cubicBezTo>
                  <a:pt x="1045202" y="4617459"/>
                  <a:pt x="1046595" y="4623758"/>
                  <a:pt x="1044737" y="4629850"/>
                </a:cubicBezTo>
                <a:cubicBezTo>
                  <a:pt x="1037147" y="4630882"/>
                  <a:pt x="1029247" y="4638214"/>
                  <a:pt x="1021038" y="4641931"/>
                </a:cubicBezTo>
                <a:cubicBezTo>
                  <a:pt x="1016391" y="4639763"/>
                  <a:pt x="1011898" y="4638420"/>
                  <a:pt x="1007407" y="4637078"/>
                </a:cubicBezTo>
                <a:lnTo>
                  <a:pt x="999817" y="4634497"/>
                </a:lnTo>
                <a:lnTo>
                  <a:pt x="998113" y="4637801"/>
                </a:lnTo>
                <a:lnTo>
                  <a:pt x="996255" y="4633361"/>
                </a:lnTo>
                <a:lnTo>
                  <a:pt x="993621" y="4632328"/>
                </a:lnTo>
                <a:cubicBezTo>
                  <a:pt x="993001" y="4620763"/>
                  <a:pt x="979680" y="4609921"/>
                  <a:pt x="985102" y="4597117"/>
                </a:cubicBezTo>
                <a:cubicBezTo>
                  <a:pt x="994550" y="4590819"/>
                  <a:pt x="993931" y="4584624"/>
                  <a:pt x="998268" y="4578841"/>
                </a:cubicBezTo>
                <a:cubicBezTo>
                  <a:pt x="1005006" y="4575486"/>
                  <a:pt x="1013370" y="4572698"/>
                  <a:pt x="1021599" y="4572091"/>
                </a:cubicBezTo>
                <a:close/>
                <a:moveTo>
                  <a:pt x="5829474" y="4571425"/>
                </a:moveTo>
                <a:cubicBezTo>
                  <a:pt x="5833036" y="4572147"/>
                  <a:pt x="5834120" y="4572664"/>
                  <a:pt x="5836444" y="4575555"/>
                </a:cubicBezTo>
                <a:cubicBezTo>
                  <a:pt x="5834895" y="4581131"/>
                  <a:pt x="5831023" y="4584022"/>
                  <a:pt x="5827150" y="4586913"/>
                </a:cubicBezTo>
                <a:cubicBezTo>
                  <a:pt x="5824362" y="4586397"/>
                  <a:pt x="5822968" y="4585571"/>
                  <a:pt x="5822348" y="4584435"/>
                </a:cubicBezTo>
                <a:cubicBezTo>
                  <a:pt x="5820644" y="4581028"/>
                  <a:pt x="5826840" y="4575452"/>
                  <a:pt x="5829474" y="4571425"/>
                </a:cubicBezTo>
                <a:close/>
                <a:moveTo>
                  <a:pt x="5865565" y="4570289"/>
                </a:moveTo>
                <a:cubicBezTo>
                  <a:pt x="5868043" y="4568430"/>
                  <a:pt x="5872225" y="4568534"/>
                  <a:pt x="5875323" y="4572457"/>
                </a:cubicBezTo>
                <a:cubicBezTo>
                  <a:pt x="5875013" y="4576071"/>
                  <a:pt x="5873774" y="4578240"/>
                  <a:pt x="5872999" y="4579995"/>
                </a:cubicBezTo>
                <a:cubicBezTo>
                  <a:pt x="5870676" y="4579685"/>
                  <a:pt x="5868817" y="4579995"/>
                  <a:pt x="5866494" y="4579582"/>
                </a:cubicBezTo>
                <a:cubicBezTo>
                  <a:pt x="5862466" y="4575865"/>
                  <a:pt x="5863241" y="4572147"/>
                  <a:pt x="5865565" y="4570289"/>
                </a:cubicBezTo>
                <a:close/>
                <a:moveTo>
                  <a:pt x="1210785" y="4569651"/>
                </a:moveTo>
                <a:cubicBezTo>
                  <a:pt x="1217291" y="4576467"/>
                  <a:pt x="1229838" y="4574505"/>
                  <a:pt x="1232316" y="4582559"/>
                </a:cubicBezTo>
                <a:cubicBezTo>
                  <a:pt x="1228599" y="4581939"/>
                  <a:pt x="1223487" y="4582559"/>
                  <a:pt x="1219150" y="4582559"/>
                </a:cubicBezTo>
                <a:cubicBezTo>
                  <a:pt x="1214658" y="4582559"/>
                  <a:pt x="1210785" y="4581939"/>
                  <a:pt x="1209546" y="4579048"/>
                </a:cubicBezTo>
                <a:cubicBezTo>
                  <a:pt x="1208617" y="4577086"/>
                  <a:pt x="1208927" y="4574195"/>
                  <a:pt x="1210785" y="4569651"/>
                </a:cubicBezTo>
                <a:close/>
                <a:moveTo>
                  <a:pt x="1810854" y="4568103"/>
                </a:moveTo>
                <a:cubicBezTo>
                  <a:pt x="1810079" y="4570065"/>
                  <a:pt x="1809150" y="4571097"/>
                  <a:pt x="1808066" y="4571510"/>
                </a:cubicBezTo>
                <a:cubicBezTo>
                  <a:pt x="1806982" y="4571923"/>
                  <a:pt x="1805742" y="4571820"/>
                  <a:pt x="1804038" y="4571407"/>
                </a:cubicBezTo>
                <a:cubicBezTo>
                  <a:pt x="1805433" y="4568619"/>
                  <a:pt x="1807291" y="4568412"/>
                  <a:pt x="1810854" y="4568103"/>
                </a:cubicBezTo>
                <a:close/>
                <a:moveTo>
                  <a:pt x="1682444" y="4568103"/>
                </a:moveTo>
                <a:cubicBezTo>
                  <a:pt x="1681825" y="4569032"/>
                  <a:pt x="1681825" y="4569032"/>
                  <a:pt x="1681980" y="4570065"/>
                </a:cubicBezTo>
                <a:cubicBezTo>
                  <a:pt x="1681980" y="4570065"/>
                  <a:pt x="1681051" y="4569135"/>
                  <a:pt x="1681051" y="4569135"/>
                </a:cubicBezTo>
                <a:cubicBezTo>
                  <a:pt x="1681670" y="4568103"/>
                  <a:pt x="1680896" y="4568206"/>
                  <a:pt x="1682444" y="4568103"/>
                </a:cubicBezTo>
                <a:close/>
                <a:moveTo>
                  <a:pt x="1653014" y="4567793"/>
                </a:moveTo>
                <a:cubicBezTo>
                  <a:pt x="1653014" y="4567793"/>
                  <a:pt x="1652550" y="4568929"/>
                  <a:pt x="1652705" y="4569755"/>
                </a:cubicBezTo>
                <a:cubicBezTo>
                  <a:pt x="1652705" y="4569755"/>
                  <a:pt x="1652085" y="4570891"/>
                  <a:pt x="1651466" y="4571923"/>
                </a:cubicBezTo>
                <a:cubicBezTo>
                  <a:pt x="1651466" y="4571923"/>
                  <a:pt x="1651775" y="4572749"/>
                  <a:pt x="1651931" y="4573575"/>
                </a:cubicBezTo>
                <a:cubicBezTo>
                  <a:pt x="1651001" y="4576570"/>
                  <a:pt x="1650691" y="4578532"/>
                  <a:pt x="1647283" y="4578841"/>
                </a:cubicBezTo>
                <a:cubicBezTo>
                  <a:pt x="1647128" y="4578015"/>
                  <a:pt x="1648212" y="4575847"/>
                  <a:pt x="1648833" y="4574711"/>
                </a:cubicBezTo>
                <a:cubicBezTo>
                  <a:pt x="1648677" y="4573885"/>
                  <a:pt x="1649142" y="4572852"/>
                  <a:pt x="1649916" y="4572543"/>
                </a:cubicBezTo>
                <a:cubicBezTo>
                  <a:pt x="1649916" y="4572543"/>
                  <a:pt x="1650536" y="4571407"/>
                  <a:pt x="1650381" y="4570581"/>
                </a:cubicBezTo>
                <a:cubicBezTo>
                  <a:pt x="1651466" y="4568412"/>
                  <a:pt x="1652240" y="4568103"/>
                  <a:pt x="1653014" y="4567793"/>
                </a:cubicBezTo>
                <a:close/>
                <a:moveTo>
                  <a:pt x="5922837" y="4567501"/>
                </a:moveTo>
                <a:cubicBezTo>
                  <a:pt x="5926826" y="4566959"/>
                  <a:pt x="5930621" y="4568172"/>
                  <a:pt x="5930776" y="4571425"/>
                </a:cubicBezTo>
                <a:cubicBezTo>
                  <a:pt x="5930931" y="4572354"/>
                  <a:pt x="5930621" y="4573490"/>
                  <a:pt x="5930001" y="4574729"/>
                </a:cubicBezTo>
                <a:cubicBezTo>
                  <a:pt x="5928607" y="4575968"/>
                  <a:pt x="5927213" y="4577001"/>
                  <a:pt x="5925819" y="4577723"/>
                </a:cubicBezTo>
                <a:lnTo>
                  <a:pt x="5921792" y="4579375"/>
                </a:lnTo>
                <a:lnTo>
                  <a:pt x="5922102" y="4585674"/>
                </a:lnTo>
                <a:cubicBezTo>
                  <a:pt x="5922256" y="4587842"/>
                  <a:pt x="5921637" y="4589495"/>
                  <a:pt x="5918849" y="4590631"/>
                </a:cubicBezTo>
                <a:cubicBezTo>
                  <a:pt x="5917455" y="4589495"/>
                  <a:pt x="5916835" y="4587430"/>
                  <a:pt x="5916525" y="4584951"/>
                </a:cubicBezTo>
                <a:lnTo>
                  <a:pt x="5916370" y="4578343"/>
                </a:lnTo>
                <a:lnTo>
                  <a:pt x="5914047" y="4576897"/>
                </a:lnTo>
                <a:cubicBezTo>
                  <a:pt x="5914976" y="4576071"/>
                  <a:pt x="5914357" y="4575142"/>
                  <a:pt x="5913737" y="4574109"/>
                </a:cubicBezTo>
                <a:cubicBezTo>
                  <a:pt x="5914667" y="4570340"/>
                  <a:pt x="5918849" y="4568043"/>
                  <a:pt x="5922837" y="4567501"/>
                </a:cubicBezTo>
                <a:close/>
                <a:moveTo>
                  <a:pt x="6116342" y="4567088"/>
                </a:moveTo>
                <a:cubicBezTo>
                  <a:pt x="6119904" y="4569773"/>
                  <a:pt x="6121453" y="4567295"/>
                  <a:pt x="6126720" y="4571838"/>
                </a:cubicBezTo>
                <a:cubicBezTo>
                  <a:pt x="6133690" y="4577310"/>
                  <a:pt x="6132296" y="4583299"/>
                  <a:pt x="6129972" y="4586707"/>
                </a:cubicBezTo>
                <a:cubicBezTo>
                  <a:pt x="6129198" y="4585984"/>
                  <a:pt x="6125945" y="4590527"/>
                  <a:pt x="6120989" y="4590114"/>
                </a:cubicBezTo>
                <a:cubicBezTo>
                  <a:pt x="6119439" y="4590011"/>
                  <a:pt x="6117581" y="4589391"/>
                  <a:pt x="6115567" y="4587739"/>
                </a:cubicBezTo>
                <a:cubicBezTo>
                  <a:pt x="6111230" y="4584125"/>
                  <a:pt x="6107668" y="4578756"/>
                  <a:pt x="6113244" y="4572044"/>
                </a:cubicBezTo>
                <a:cubicBezTo>
                  <a:pt x="6114018" y="4570392"/>
                  <a:pt x="6114018" y="4571322"/>
                  <a:pt x="6114792" y="4570496"/>
                </a:cubicBezTo>
                <a:cubicBezTo>
                  <a:pt x="6115722" y="4569669"/>
                  <a:pt x="6116496" y="4567914"/>
                  <a:pt x="6116342" y="4567088"/>
                </a:cubicBezTo>
                <a:close/>
                <a:moveTo>
                  <a:pt x="1046595" y="4566554"/>
                </a:moveTo>
                <a:cubicBezTo>
                  <a:pt x="1054030" y="4571716"/>
                  <a:pt x="1051707" y="4576983"/>
                  <a:pt x="1047680" y="4578118"/>
                </a:cubicBezTo>
                <a:cubicBezTo>
                  <a:pt x="1046441" y="4578532"/>
                  <a:pt x="1044891" y="4578428"/>
                  <a:pt x="1043497" y="4577809"/>
                </a:cubicBezTo>
                <a:cubicBezTo>
                  <a:pt x="1041639" y="4576879"/>
                  <a:pt x="1040090" y="4574814"/>
                  <a:pt x="1039160" y="4571407"/>
                </a:cubicBezTo>
                <a:cubicBezTo>
                  <a:pt x="1041639" y="4568000"/>
                  <a:pt x="1044117" y="4568103"/>
                  <a:pt x="1046595" y="4566554"/>
                </a:cubicBezTo>
                <a:close/>
                <a:moveTo>
                  <a:pt x="6067704" y="4566055"/>
                </a:moveTo>
                <a:cubicBezTo>
                  <a:pt x="6070028" y="4565436"/>
                  <a:pt x="6072041" y="4565539"/>
                  <a:pt x="6073590" y="4567707"/>
                </a:cubicBezTo>
                <a:cubicBezTo>
                  <a:pt x="6072041" y="4567811"/>
                  <a:pt x="6070957" y="4567914"/>
                  <a:pt x="6070028" y="4567707"/>
                </a:cubicBezTo>
                <a:cubicBezTo>
                  <a:pt x="6069253" y="4567501"/>
                  <a:pt x="6068479" y="4567088"/>
                  <a:pt x="6067704" y="4566055"/>
                </a:cubicBezTo>
                <a:close/>
                <a:moveTo>
                  <a:pt x="989962" y="4565044"/>
                </a:moveTo>
                <a:cubicBezTo>
                  <a:pt x="992227" y="4564850"/>
                  <a:pt x="994550" y="4565831"/>
                  <a:pt x="997183" y="4568516"/>
                </a:cubicBezTo>
                <a:cubicBezTo>
                  <a:pt x="997028" y="4571923"/>
                  <a:pt x="994086" y="4573266"/>
                  <a:pt x="990987" y="4573162"/>
                </a:cubicBezTo>
                <a:cubicBezTo>
                  <a:pt x="987890" y="4572956"/>
                  <a:pt x="984482" y="4571304"/>
                  <a:pt x="983088" y="4568619"/>
                </a:cubicBezTo>
                <a:cubicBezTo>
                  <a:pt x="985489" y="4566605"/>
                  <a:pt x="987696" y="4565237"/>
                  <a:pt x="989962" y="4565044"/>
                </a:cubicBezTo>
                <a:close/>
                <a:moveTo>
                  <a:pt x="5699361" y="4563784"/>
                </a:moveTo>
                <a:cubicBezTo>
                  <a:pt x="5701219" y="4562235"/>
                  <a:pt x="5706641" y="4561306"/>
                  <a:pt x="5710048" y="4564300"/>
                </a:cubicBezTo>
                <a:cubicBezTo>
                  <a:pt x="5710204" y="4568430"/>
                  <a:pt x="5708500" y="4570289"/>
                  <a:pt x="5705402" y="4570289"/>
                </a:cubicBezTo>
                <a:cubicBezTo>
                  <a:pt x="5704317" y="4570289"/>
                  <a:pt x="5703233" y="4570082"/>
                  <a:pt x="5701994" y="4569669"/>
                </a:cubicBezTo>
                <a:cubicBezTo>
                  <a:pt x="5701374" y="4567811"/>
                  <a:pt x="5700290" y="4566365"/>
                  <a:pt x="5699361" y="4563784"/>
                </a:cubicBezTo>
                <a:close/>
                <a:moveTo>
                  <a:pt x="1681051" y="4563663"/>
                </a:moveTo>
                <a:cubicBezTo>
                  <a:pt x="1681051" y="4563663"/>
                  <a:pt x="1681825" y="4563663"/>
                  <a:pt x="1681825" y="4563663"/>
                </a:cubicBezTo>
                <a:cubicBezTo>
                  <a:pt x="1681980" y="4564592"/>
                  <a:pt x="1682135" y="4565521"/>
                  <a:pt x="1681360" y="4565521"/>
                </a:cubicBezTo>
                <a:cubicBezTo>
                  <a:pt x="1680586" y="4565625"/>
                  <a:pt x="1680431" y="4564695"/>
                  <a:pt x="1681051" y="4563663"/>
                </a:cubicBezTo>
                <a:close/>
                <a:moveTo>
                  <a:pt x="900528" y="4563456"/>
                </a:moveTo>
                <a:cubicBezTo>
                  <a:pt x="900528" y="4563456"/>
                  <a:pt x="900528" y="4563456"/>
                  <a:pt x="901458" y="4565315"/>
                </a:cubicBezTo>
                <a:cubicBezTo>
                  <a:pt x="901458" y="4566244"/>
                  <a:pt x="901612" y="4567070"/>
                  <a:pt x="900683" y="4568000"/>
                </a:cubicBezTo>
                <a:cubicBezTo>
                  <a:pt x="899909" y="4568825"/>
                  <a:pt x="898204" y="4568722"/>
                  <a:pt x="897276" y="4568722"/>
                </a:cubicBezTo>
                <a:cubicBezTo>
                  <a:pt x="897276" y="4567793"/>
                  <a:pt x="896501" y="4567793"/>
                  <a:pt x="896347" y="4566864"/>
                </a:cubicBezTo>
                <a:cubicBezTo>
                  <a:pt x="895417" y="4565005"/>
                  <a:pt x="895417" y="4565108"/>
                  <a:pt x="896192" y="4564179"/>
                </a:cubicBezTo>
                <a:cubicBezTo>
                  <a:pt x="897120" y="4563353"/>
                  <a:pt x="899754" y="4564385"/>
                  <a:pt x="900528" y="4563456"/>
                </a:cubicBezTo>
                <a:close/>
                <a:moveTo>
                  <a:pt x="5628883" y="4563164"/>
                </a:moveTo>
                <a:cubicBezTo>
                  <a:pt x="5627954" y="4563887"/>
                  <a:pt x="5628108" y="4563990"/>
                  <a:pt x="5628728" y="4564816"/>
                </a:cubicBezTo>
                <a:cubicBezTo>
                  <a:pt x="5628728" y="4564816"/>
                  <a:pt x="5628728" y="4564816"/>
                  <a:pt x="5629503" y="4564816"/>
                </a:cubicBezTo>
                <a:cubicBezTo>
                  <a:pt x="5629503" y="4565642"/>
                  <a:pt x="5628728" y="4565539"/>
                  <a:pt x="5628573" y="4566365"/>
                </a:cubicBezTo>
                <a:cubicBezTo>
                  <a:pt x="5628573" y="4566365"/>
                  <a:pt x="5627799" y="4566365"/>
                  <a:pt x="5627799" y="4566365"/>
                </a:cubicBezTo>
                <a:cubicBezTo>
                  <a:pt x="5627799" y="4566778"/>
                  <a:pt x="5627799" y="4566778"/>
                  <a:pt x="5627489" y="4566572"/>
                </a:cubicBezTo>
                <a:cubicBezTo>
                  <a:pt x="5627334" y="4566365"/>
                  <a:pt x="5627024" y="4565952"/>
                  <a:pt x="5626250" y="4565539"/>
                </a:cubicBezTo>
                <a:cubicBezTo>
                  <a:pt x="5625940" y="4565126"/>
                  <a:pt x="5625475" y="4564919"/>
                  <a:pt x="5625320" y="4564713"/>
                </a:cubicBezTo>
                <a:cubicBezTo>
                  <a:pt x="5625165" y="4564507"/>
                  <a:pt x="5625165" y="4564300"/>
                  <a:pt x="5625630" y="4563887"/>
                </a:cubicBezTo>
                <a:cubicBezTo>
                  <a:pt x="5626560" y="4563061"/>
                  <a:pt x="5626404" y="4563061"/>
                  <a:pt x="5628883" y="4563164"/>
                </a:cubicBezTo>
                <a:close/>
                <a:moveTo>
                  <a:pt x="1784521" y="4562940"/>
                </a:moveTo>
                <a:cubicBezTo>
                  <a:pt x="1784676" y="4568000"/>
                  <a:pt x="1787310" y="4572233"/>
                  <a:pt x="1789323" y="4576260"/>
                </a:cubicBezTo>
                <a:lnTo>
                  <a:pt x="1790562" y="4579358"/>
                </a:lnTo>
                <a:lnTo>
                  <a:pt x="1791957" y="4576260"/>
                </a:lnTo>
                <a:cubicBezTo>
                  <a:pt x="1796138" y="4578841"/>
                  <a:pt x="1797223" y="4582249"/>
                  <a:pt x="1797223" y="4586895"/>
                </a:cubicBezTo>
                <a:cubicBezTo>
                  <a:pt x="1796448" y="4587102"/>
                  <a:pt x="1795209" y="4586689"/>
                  <a:pt x="1793970" y="4586069"/>
                </a:cubicBezTo>
                <a:lnTo>
                  <a:pt x="1791646" y="4584830"/>
                </a:lnTo>
                <a:lnTo>
                  <a:pt x="1791337" y="4588238"/>
                </a:lnTo>
                <a:cubicBezTo>
                  <a:pt x="1790562" y="4586999"/>
                  <a:pt x="1789323" y="4585760"/>
                  <a:pt x="1787929" y="4584520"/>
                </a:cubicBezTo>
                <a:lnTo>
                  <a:pt x="1787310" y="4583901"/>
                </a:lnTo>
                <a:lnTo>
                  <a:pt x="1785141" y="4584830"/>
                </a:lnTo>
                <a:lnTo>
                  <a:pt x="1781423" y="4584004"/>
                </a:lnTo>
                <a:lnTo>
                  <a:pt x="1783592" y="4590406"/>
                </a:lnTo>
                <a:cubicBezTo>
                  <a:pt x="1784211" y="4594640"/>
                  <a:pt x="1783902" y="4599389"/>
                  <a:pt x="1782353" y="4604759"/>
                </a:cubicBezTo>
                <a:cubicBezTo>
                  <a:pt x="1781114" y="4605481"/>
                  <a:pt x="1779875" y="4605895"/>
                  <a:pt x="1778790" y="4605998"/>
                </a:cubicBezTo>
                <a:cubicBezTo>
                  <a:pt x="1775692" y="4606204"/>
                  <a:pt x="1773369" y="4603726"/>
                  <a:pt x="1772130" y="4600318"/>
                </a:cubicBezTo>
                <a:cubicBezTo>
                  <a:pt x="1770116" y="4594433"/>
                  <a:pt x="1771045" y="4585656"/>
                  <a:pt x="1774918" y="4581526"/>
                </a:cubicBezTo>
                <a:lnTo>
                  <a:pt x="1775073" y="4581423"/>
                </a:lnTo>
                <a:lnTo>
                  <a:pt x="1770426" y="4577912"/>
                </a:lnTo>
                <a:cubicBezTo>
                  <a:pt x="1770271" y="4573678"/>
                  <a:pt x="1771510" y="4571097"/>
                  <a:pt x="1773369" y="4569858"/>
                </a:cubicBezTo>
                <a:lnTo>
                  <a:pt x="1778325" y="4568825"/>
                </a:lnTo>
                <a:lnTo>
                  <a:pt x="1778480" y="4568103"/>
                </a:lnTo>
                <a:cubicBezTo>
                  <a:pt x="1779410" y="4566450"/>
                  <a:pt x="1781423" y="4564695"/>
                  <a:pt x="1784521" y="4562940"/>
                </a:cubicBezTo>
                <a:close/>
                <a:moveTo>
                  <a:pt x="1539785" y="4562837"/>
                </a:moveTo>
                <a:cubicBezTo>
                  <a:pt x="1541954" y="4562217"/>
                  <a:pt x="1543813" y="4564282"/>
                  <a:pt x="1544742" y="4566554"/>
                </a:cubicBezTo>
                <a:cubicBezTo>
                  <a:pt x="1545207" y="4567380"/>
                  <a:pt x="1545361" y="4568309"/>
                  <a:pt x="1545052" y="4569239"/>
                </a:cubicBezTo>
                <a:cubicBezTo>
                  <a:pt x="1544742" y="4570168"/>
                  <a:pt x="1544122" y="4570994"/>
                  <a:pt x="1543348" y="4571613"/>
                </a:cubicBezTo>
                <a:cubicBezTo>
                  <a:pt x="1542264" y="4571923"/>
                  <a:pt x="1542264" y="4571923"/>
                  <a:pt x="1541180" y="4572233"/>
                </a:cubicBezTo>
                <a:cubicBezTo>
                  <a:pt x="1539630" y="4571407"/>
                  <a:pt x="1537772" y="4571201"/>
                  <a:pt x="1536687" y="4569651"/>
                </a:cubicBezTo>
                <a:cubicBezTo>
                  <a:pt x="1535758" y="4567277"/>
                  <a:pt x="1538391" y="4563972"/>
                  <a:pt x="1539785" y="4562837"/>
                </a:cubicBezTo>
                <a:close/>
                <a:moveTo>
                  <a:pt x="1078504" y="4562630"/>
                </a:moveTo>
                <a:cubicBezTo>
                  <a:pt x="1079433" y="4563456"/>
                  <a:pt x="1082222" y="4565934"/>
                  <a:pt x="1082222" y="4565934"/>
                </a:cubicBezTo>
                <a:cubicBezTo>
                  <a:pt x="1083151" y="4565831"/>
                  <a:pt x="1082996" y="4565831"/>
                  <a:pt x="1084081" y="4566554"/>
                </a:cubicBezTo>
                <a:cubicBezTo>
                  <a:pt x="1083306" y="4567483"/>
                  <a:pt x="1083306" y="4567483"/>
                  <a:pt x="1082531" y="4567586"/>
                </a:cubicBezTo>
                <a:cubicBezTo>
                  <a:pt x="1081602" y="4566760"/>
                  <a:pt x="1081447" y="4565934"/>
                  <a:pt x="1080518" y="4565108"/>
                </a:cubicBezTo>
                <a:cubicBezTo>
                  <a:pt x="1079124" y="4566967"/>
                  <a:pt x="1079898" y="4566864"/>
                  <a:pt x="1078969" y="4566038"/>
                </a:cubicBezTo>
                <a:cubicBezTo>
                  <a:pt x="1078969" y="4566038"/>
                  <a:pt x="1078969" y="4566038"/>
                  <a:pt x="1078039" y="4565211"/>
                </a:cubicBezTo>
                <a:lnTo>
                  <a:pt x="1077885" y="4565005"/>
                </a:lnTo>
                <a:lnTo>
                  <a:pt x="1077729" y="4565211"/>
                </a:lnTo>
                <a:lnTo>
                  <a:pt x="1078039" y="4565211"/>
                </a:lnTo>
                <a:lnTo>
                  <a:pt x="1078659" y="4573782"/>
                </a:lnTo>
                <a:lnTo>
                  <a:pt x="1079588" y="4574298"/>
                </a:lnTo>
                <a:cubicBezTo>
                  <a:pt x="1079124" y="4573575"/>
                  <a:pt x="1080208" y="4573782"/>
                  <a:pt x="1080208" y="4573782"/>
                </a:cubicBezTo>
                <a:cubicBezTo>
                  <a:pt x="1080208" y="4573782"/>
                  <a:pt x="1080208" y="4573885"/>
                  <a:pt x="1080518" y="4571407"/>
                </a:cubicBezTo>
                <a:cubicBezTo>
                  <a:pt x="1080518" y="4571407"/>
                  <a:pt x="1082066" y="4566141"/>
                  <a:pt x="1087333" y="4566967"/>
                </a:cubicBezTo>
                <a:cubicBezTo>
                  <a:pt x="1087178" y="4567896"/>
                  <a:pt x="1091051" y="4569135"/>
                  <a:pt x="1093374" y="4571407"/>
                </a:cubicBezTo>
                <a:lnTo>
                  <a:pt x="1093684" y="4572026"/>
                </a:lnTo>
                <a:lnTo>
                  <a:pt x="1094613" y="4572543"/>
                </a:lnTo>
                <a:cubicBezTo>
                  <a:pt x="1096007" y="4573369"/>
                  <a:pt x="1097246" y="4573988"/>
                  <a:pt x="1097866" y="4574401"/>
                </a:cubicBezTo>
                <a:cubicBezTo>
                  <a:pt x="1098021" y="4575331"/>
                  <a:pt x="1098021" y="4575331"/>
                  <a:pt x="1098021" y="4575331"/>
                </a:cubicBezTo>
                <a:cubicBezTo>
                  <a:pt x="1097711" y="4576260"/>
                  <a:pt x="1097091" y="4576467"/>
                  <a:pt x="1096163" y="4576260"/>
                </a:cubicBezTo>
                <a:lnTo>
                  <a:pt x="1094923" y="4575744"/>
                </a:lnTo>
                <a:lnTo>
                  <a:pt x="1095233" y="4579048"/>
                </a:lnTo>
                <a:cubicBezTo>
                  <a:pt x="1094303" y="4579771"/>
                  <a:pt x="1093684" y="4580906"/>
                  <a:pt x="1092599" y="4581939"/>
                </a:cubicBezTo>
                <a:lnTo>
                  <a:pt x="1091206" y="4582765"/>
                </a:lnTo>
                <a:lnTo>
                  <a:pt x="1093219" y="4582662"/>
                </a:lnTo>
                <a:cubicBezTo>
                  <a:pt x="1094149" y="4583178"/>
                  <a:pt x="1095233" y="4584107"/>
                  <a:pt x="1096163" y="4585553"/>
                </a:cubicBezTo>
                <a:cubicBezTo>
                  <a:pt x="1094613" y="4589890"/>
                  <a:pt x="1093064" y="4597117"/>
                  <a:pt x="1088263" y="4600112"/>
                </a:cubicBezTo>
                <a:lnTo>
                  <a:pt x="1087178" y="4600318"/>
                </a:lnTo>
                <a:lnTo>
                  <a:pt x="1086404" y="4601248"/>
                </a:lnTo>
                <a:lnTo>
                  <a:pt x="1086559" y="4601454"/>
                </a:lnTo>
                <a:cubicBezTo>
                  <a:pt x="1085629" y="4601454"/>
                  <a:pt x="1085784" y="4602384"/>
                  <a:pt x="1086714" y="4602384"/>
                </a:cubicBezTo>
                <a:cubicBezTo>
                  <a:pt x="1085939" y="4603726"/>
                  <a:pt x="1085474" y="4604759"/>
                  <a:pt x="1085010" y="4605378"/>
                </a:cubicBezTo>
                <a:cubicBezTo>
                  <a:pt x="1084700" y="4605688"/>
                  <a:pt x="1084390" y="4605791"/>
                  <a:pt x="1084081" y="4605791"/>
                </a:cubicBezTo>
                <a:cubicBezTo>
                  <a:pt x="1083616" y="4605791"/>
                  <a:pt x="1083306" y="4605584"/>
                  <a:pt x="1082841" y="4605172"/>
                </a:cubicBezTo>
                <a:cubicBezTo>
                  <a:pt x="1080982" y="4604449"/>
                  <a:pt x="1081602" y="4602590"/>
                  <a:pt x="1079743" y="4600938"/>
                </a:cubicBezTo>
                <a:cubicBezTo>
                  <a:pt x="1076026" y="4598563"/>
                  <a:pt x="1071843" y="4605791"/>
                  <a:pt x="1064408" y="4600938"/>
                </a:cubicBezTo>
                <a:cubicBezTo>
                  <a:pt x="1065957" y="4599183"/>
                  <a:pt x="1061930" y="4595052"/>
                  <a:pt x="1064099" y="4592265"/>
                </a:cubicBezTo>
                <a:cubicBezTo>
                  <a:pt x="1069520" y="4583178"/>
                  <a:pt x="1072308" y="4584830"/>
                  <a:pt x="1078659" y="4587102"/>
                </a:cubicBezTo>
                <a:cubicBezTo>
                  <a:pt x="1077729" y="4587102"/>
                  <a:pt x="1078659" y="4587928"/>
                  <a:pt x="1078659" y="4587928"/>
                </a:cubicBezTo>
                <a:cubicBezTo>
                  <a:pt x="1080673" y="4589580"/>
                  <a:pt x="1080673" y="4584314"/>
                  <a:pt x="1083461" y="4585863"/>
                </a:cubicBezTo>
                <a:lnTo>
                  <a:pt x="1084081" y="4586585"/>
                </a:lnTo>
                <a:lnTo>
                  <a:pt x="1084390" y="4586585"/>
                </a:lnTo>
                <a:lnTo>
                  <a:pt x="1087178" y="4583591"/>
                </a:lnTo>
                <a:lnTo>
                  <a:pt x="1086714" y="4583591"/>
                </a:lnTo>
                <a:cubicBezTo>
                  <a:pt x="1080208" y="4582559"/>
                  <a:pt x="1080518" y="4575744"/>
                  <a:pt x="1079898" y="4576260"/>
                </a:cubicBezTo>
                <a:lnTo>
                  <a:pt x="1079124" y="4576053"/>
                </a:lnTo>
                <a:lnTo>
                  <a:pt x="1079433" y="4577086"/>
                </a:lnTo>
                <a:cubicBezTo>
                  <a:pt x="1079588" y="4577809"/>
                  <a:pt x="1079743" y="4578118"/>
                  <a:pt x="1079743" y="4578118"/>
                </a:cubicBezTo>
                <a:cubicBezTo>
                  <a:pt x="1079278" y="4579874"/>
                  <a:pt x="1078349" y="4579977"/>
                  <a:pt x="1079278" y="4579874"/>
                </a:cubicBezTo>
                <a:cubicBezTo>
                  <a:pt x="1077885" y="4581733"/>
                  <a:pt x="1076491" y="4584417"/>
                  <a:pt x="1074786" y="4583591"/>
                </a:cubicBezTo>
                <a:cubicBezTo>
                  <a:pt x="1070604" y="4580597"/>
                  <a:pt x="1072463" y="4574298"/>
                  <a:pt x="1074012" y="4570271"/>
                </a:cubicBezTo>
                <a:lnTo>
                  <a:pt x="1074786" y="4567483"/>
                </a:lnTo>
                <a:lnTo>
                  <a:pt x="1072928" y="4565521"/>
                </a:lnTo>
                <a:cubicBezTo>
                  <a:pt x="1072618" y="4563869"/>
                  <a:pt x="1074477" y="4562527"/>
                  <a:pt x="1076181" y="4562734"/>
                </a:cubicBezTo>
                <a:lnTo>
                  <a:pt x="1078039" y="4564179"/>
                </a:lnTo>
                <a:close/>
                <a:moveTo>
                  <a:pt x="6654451" y="4562545"/>
                </a:moveTo>
                <a:cubicBezTo>
                  <a:pt x="6658169" y="4567914"/>
                  <a:pt x="6660802" y="4573283"/>
                  <a:pt x="6667927" y="4578756"/>
                </a:cubicBezTo>
                <a:cubicBezTo>
                  <a:pt x="6666223" y="4580408"/>
                  <a:pt x="6668857" y="4582267"/>
                  <a:pt x="6666378" y="4583919"/>
                </a:cubicBezTo>
                <a:lnTo>
                  <a:pt x="6665449" y="4583506"/>
                </a:lnTo>
                <a:lnTo>
                  <a:pt x="6669476" y="4587326"/>
                </a:lnTo>
                <a:cubicBezTo>
                  <a:pt x="6674433" y="4593108"/>
                  <a:pt x="6678460" y="4599923"/>
                  <a:pt x="6680319" y="4609423"/>
                </a:cubicBezTo>
                <a:cubicBezTo>
                  <a:pt x="6660492" y="4610146"/>
                  <a:pt x="6653522" y="4585261"/>
                  <a:pt x="6653057" y="4572251"/>
                </a:cubicBezTo>
                <a:lnTo>
                  <a:pt x="6655225" y="4574109"/>
                </a:lnTo>
                <a:lnTo>
                  <a:pt x="6653057" y="4568637"/>
                </a:lnTo>
                <a:cubicBezTo>
                  <a:pt x="6652747" y="4566365"/>
                  <a:pt x="6653057" y="4564197"/>
                  <a:pt x="6654451" y="4562545"/>
                </a:cubicBezTo>
                <a:close/>
                <a:moveTo>
                  <a:pt x="5992734" y="4562338"/>
                </a:moveTo>
                <a:cubicBezTo>
                  <a:pt x="5993664" y="4563268"/>
                  <a:pt x="5994593" y="4564919"/>
                  <a:pt x="5993819" y="4565745"/>
                </a:cubicBezTo>
                <a:cubicBezTo>
                  <a:pt x="5993354" y="4566572"/>
                  <a:pt x="5992889" y="4566572"/>
                  <a:pt x="5992424" y="4566262"/>
                </a:cubicBezTo>
                <a:cubicBezTo>
                  <a:pt x="5991805" y="4565849"/>
                  <a:pt x="5991185" y="4565230"/>
                  <a:pt x="5990411" y="4564713"/>
                </a:cubicBezTo>
                <a:close/>
                <a:moveTo>
                  <a:pt x="892783" y="4561907"/>
                </a:moveTo>
                <a:cubicBezTo>
                  <a:pt x="892783" y="4561907"/>
                  <a:pt x="893558" y="4562837"/>
                  <a:pt x="893558" y="4562837"/>
                </a:cubicBezTo>
                <a:cubicBezTo>
                  <a:pt x="896656" y="4566038"/>
                  <a:pt x="898050" y="4571510"/>
                  <a:pt x="897120" y="4573059"/>
                </a:cubicBezTo>
                <a:cubicBezTo>
                  <a:pt x="896192" y="4573782"/>
                  <a:pt x="894952" y="4574195"/>
                  <a:pt x="893558" y="4574092"/>
                </a:cubicBezTo>
                <a:cubicBezTo>
                  <a:pt x="892164" y="4573988"/>
                  <a:pt x="890770" y="4573369"/>
                  <a:pt x="889685" y="4571820"/>
                </a:cubicBezTo>
                <a:cubicBezTo>
                  <a:pt x="887207" y="4569651"/>
                  <a:pt x="887362" y="4566244"/>
                  <a:pt x="885039" y="4563249"/>
                </a:cubicBezTo>
                <a:cubicBezTo>
                  <a:pt x="887826" y="4560255"/>
                  <a:pt x="888756" y="4559533"/>
                  <a:pt x="892783" y="4561907"/>
                </a:cubicBezTo>
                <a:close/>
                <a:moveTo>
                  <a:pt x="6107087" y="4561783"/>
                </a:moveTo>
                <a:cubicBezTo>
                  <a:pt x="6108558" y="4562648"/>
                  <a:pt x="6109526" y="4564506"/>
                  <a:pt x="6109061" y="4567191"/>
                </a:cubicBezTo>
                <a:cubicBezTo>
                  <a:pt x="6105499" y="4566572"/>
                  <a:pt x="6101936" y="4565952"/>
                  <a:pt x="6102091" y="4562338"/>
                </a:cubicBezTo>
                <a:cubicBezTo>
                  <a:pt x="6103640" y="4561047"/>
                  <a:pt x="6105615" y="4560918"/>
                  <a:pt x="6107087" y="4561783"/>
                </a:cubicBezTo>
                <a:close/>
                <a:moveTo>
                  <a:pt x="5986693" y="4561719"/>
                </a:moveTo>
                <a:cubicBezTo>
                  <a:pt x="5986693" y="4561719"/>
                  <a:pt x="5986693" y="4561719"/>
                  <a:pt x="5987778" y="4563474"/>
                </a:cubicBezTo>
                <a:lnTo>
                  <a:pt x="5987468" y="4565023"/>
                </a:lnTo>
                <a:lnTo>
                  <a:pt x="5989636" y="4565539"/>
                </a:lnTo>
                <a:cubicBezTo>
                  <a:pt x="5991340" y="4567295"/>
                  <a:pt x="5993819" y="4570082"/>
                  <a:pt x="5992270" y="4572561"/>
                </a:cubicBezTo>
                <a:cubicBezTo>
                  <a:pt x="5991495" y="4572561"/>
                  <a:pt x="5991495" y="4573490"/>
                  <a:pt x="5990721" y="4573490"/>
                </a:cubicBezTo>
                <a:cubicBezTo>
                  <a:pt x="5990721" y="4573490"/>
                  <a:pt x="5989946" y="4573800"/>
                  <a:pt x="5988707" y="4573903"/>
                </a:cubicBezTo>
                <a:cubicBezTo>
                  <a:pt x="5987468" y="4573903"/>
                  <a:pt x="5985764" y="4573593"/>
                  <a:pt x="5984060" y="4572251"/>
                </a:cubicBezTo>
                <a:cubicBezTo>
                  <a:pt x="5983286" y="4571322"/>
                  <a:pt x="5981427" y="4568637"/>
                  <a:pt x="5982201" y="4568637"/>
                </a:cubicBezTo>
                <a:cubicBezTo>
                  <a:pt x="5982976" y="4567811"/>
                  <a:pt x="5982201" y="4567811"/>
                  <a:pt x="5982201" y="4566881"/>
                </a:cubicBezTo>
                <a:lnTo>
                  <a:pt x="5983286" y="4566262"/>
                </a:lnTo>
                <a:lnTo>
                  <a:pt x="5982821" y="4565539"/>
                </a:lnTo>
                <a:cubicBezTo>
                  <a:pt x="5981737" y="4563784"/>
                  <a:pt x="5981737" y="4563887"/>
                  <a:pt x="5982511" y="4562958"/>
                </a:cubicBezTo>
                <a:cubicBezTo>
                  <a:pt x="5983286" y="4562029"/>
                  <a:pt x="5985919" y="4562751"/>
                  <a:pt x="5986693" y="4561719"/>
                </a:cubicBezTo>
                <a:close/>
                <a:moveTo>
                  <a:pt x="6877192" y="4560893"/>
                </a:moveTo>
                <a:cubicBezTo>
                  <a:pt x="6882304" y="4571528"/>
                  <a:pt x="6879980" y="4593728"/>
                  <a:pt x="6863871" y="4593522"/>
                </a:cubicBezTo>
                <a:cubicBezTo>
                  <a:pt x="6865885" y="4588255"/>
                  <a:pt x="6867279" y="4582370"/>
                  <a:pt x="6869292" y="4576691"/>
                </a:cubicBezTo>
                <a:cubicBezTo>
                  <a:pt x="6871151" y="4571012"/>
                  <a:pt x="6873474" y="4565539"/>
                  <a:pt x="6877192" y="4560893"/>
                </a:cubicBezTo>
                <a:close/>
                <a:moveTo>
                  <a:pt x="1272454" y="4560720"/>
                </a:moveTo>
                <a:cubicBezTo>
                  <a:pt x="1277817" y="4562165"/>
                  <a:pt x="1283277" y="4564540"/>
                  <a:pt x="1289782" y="4565418"/>
                </a:cubicBezTo>
                <a:cubicBezTo>
                  <a:pt x="1291797" y="4576467"/>
                  <a:pt x="1298147" y="4577706"/>
                  <a:pt x="1302794" y="4581836"/>
                </a:cubicBezTo>
                <a:cubicBezTo>
                  <a:pt x="1300780" y="4589270"/>
                  <a:pt x="1304188" y="4599389"/>
                  <a:pt x="1304343" y="4608373"/>
                </a:cubicBezTo>
                <a:lnTo>
                  <a:pt x="1301710" y="4611057"/>
                </a:lnTo>
                <a:lnTo>
                  <a:pt x="1303413" y="4613845"/>
                </a:lnTo>
                <a:cubicBezTo>
                  <a:pt x="1302794" y="4614362"/>
                  <a:pt x="1301555" y="4614465"/>
                  <a:pt x="1300316" y="4614362"/>
                </a:cubicBezTo>
                <a:lnTo>
                  <a:pt x="1298922" y="4614155"/>
                </a:lnTo>
                <a:lnTo>
                  <a:pt x="1294430" y="4619008"/>
                </a:lnTo>
                <a:lnTo>
                  <a:pt x="1289163" y="4624584"/>
                </a:lnTo>
                <a:lnTo>
                  <a:pt x="1288853" y="4627269"/>
                </a:lnTo>
                <a:lnTo>
                  <a:pt x="1286530" y="4627475"/>
                </a:lnTo>
                <a:lnTo>
                  <a:pt x="1284516" y="4629747"/>
                </a:lnTo>
                <a:cubicBezTo>
                  <a:pt x="1273674" y="4625513"/>
                  <a:pt x="1258339" y="4633257"/>
                  <a:pt x="1248890" y="4623035"/>
                </a:cubicBezTo>
                <a:cubicBezTo>
                  <a:pt x="1246877" y="4611986"/>
                  <a:pt x="1240990" y="4610025"/>
                  <a:pt x="1237428" y="4603726"/>
                </a:cubicBezTo>
                <a:cubicBezTo>
                  <a:pt x="1236653" y="4588547"/>
                  <a:pt x="1240680" y="4568516"/>
                  <a:pt x="1255706" y="4561598"/>
                </a:cubicBezTo>
                <a:cubicBezTo>
                  <a:pt x="1261824" y="4558758"/>
                  <a:pt x="1267090" y="4559274"/>
                  <a:pt x="1272454" y="4560720"/>
                </a:cubicBezTo>
                <a:close/>
                <a:moveTo>
                  <a:pt x="1178877" y="4560255"/>
                </a:moveTo>
                <a:cubicBezTo>
                  <a:pt x="1180736" y="4561804"/>
                  <a:pt x="1180736" y="4561804"/>
                  <a:pt x="1179496" y="4564489"/>
                </a:cubicBezTo>
                <a:cubicBezTo>
                  <a:pt x="1178722" y="4565315"/>
                  <a:pt x="1176863" y="4566244"/>
                  <a:pt x="1175004" y="4566760"/>
                </a:cubicBezTo>
                <a:cubicBezTo>
                  <a:pt x="1174076" y="4567070"/>
                  <a:pt x="1172991" y="4567277"/>
                  <a:pt x="1172061" y="4567277"/>
                </a:cubicBezTo>
                <a:cubicBezTo>
                  <a:pt x="1171132" y="4567277"/>
                  <a:pt x="1170357" y="4567070"/>
                  <a:pt x="1169583" y="4566760"/>
                </a:cubicBezTo>
                <a:cubicBezTo>
                  <a:pt x="1170203" y="4565005"/>
                  <a:pt x="1170822" y="4563249"/>
                  <a:pt x="1171443" y="4561494"/>
                </a:cubicBezTo>
                <a:cubicBezTo>
                  <a:pt x="1171597" y="4562320"/>
                  <a:pt x="1178877" y="4560255"/>
                  <a:pt x="1178877" y="4560255"/>
                </a:cubicBezTo>
                <a:close/>
                <a:moveTo>
                  <a:pt x="1682909" y="4558500"/>
                </a:moveTo>
                <a:cubicBezTo>
                  <a:pt x="1682444" y="4561184"/>
                  <a:pt x="1682444" y="4561184"/>
                  <a:pt x="1681051" y="4563043"/>
                </a:cubicBezTo>
                <a:cubicBezTo>
                  <a:pt x="1680896" y="4562217"/>
                  <a:pt x="1679811" y="4560462"/>
                  <a:pt x="1680586" y="4559533"/>
                </a:cubicBezTo>
                <a:cubicBezTo>
                  <a:pt x="1681206" y="4558603"/>
                  <a:pt x="1681206" y="4558603"/>
                  <a:pt x="1682909" y="4558500"/>
                </a:cubicBezTo>
                <a:close/>
                <a:moveTo>
                  <a:pt x="1726900" y="4558190"/>
                </a:moveTo>
                <a:cubicBezTo>
                  <a:pt x="1727365" y="4559429"/>
                  <a:pt x="1728449" y="4559016"/>
                  <a:pt x="1729533" y="4558706"/>
                </a:cubicBezTo>
                <a:cubicBezTo>
                  <a:pt x="1730153" y="4560462"/>
                  <a:pt x="1731392" y="4563146"/>
                  <a:pt x="1730153" y="4564902"/>
                </a:cubicBezTo>
                <a:lnTo>
                  <a:pt x="1728294" y="4566038"/>
                </a:lnTo>
                <a:lnTo>
                  <a:pt x="1734645" y="4568309"/>
                </a:lnTo>
                <a:cubicBezTo>
                  <a:pt x="1736813" y="4573472"/>
                  <a:pt x="1739292" y="4578015"/>
                  <a:pt x="1741925" y="4582559"/>
                </a:cubicBezTo>
                <a:lnTo>
                  <a:pt x="1742544" y="4584004"/>
                </a:lnTo>
                <a:lnTo>
                  <a:pt x="1743784" y="4581733"/>
                </a:lnTo>
                <a:cubicBezTo>
                  <a:pt x="1744713" y="4581010"/>
                  <a:pt x="1746727" y="4580493"/>
                  <a:pt x="1748740" y="4580287"/>
                </a:cubicBezTo>
                <a:cubicBezTo>
                  <a:pt x="1750754" y="4580080"/>
                  <a:pt x="1752768" y="4580287"/>
                  <a:pt x="1754007" y="4581319"/>
                </a:cubicBezTo>
                <a:cubicBezTo>
                  <a:pt x="1753232" y="4582868"/>
                  <a:pt x="1752303" y="4584417"/>
                  <a:pt x="1751374" y="4586069"/>
                </a:cubicBezTo>
                <a:cubicBezTo>
                  <a:pt x="1751374" y="4585140"/>
                  <a:pt x="1743784" y="4585966"/>
                  <a:pt x="1743784" y="4585966"/>
                </a:cubicBezTo>
                <a:lnTo>
                  <a:pt x="1742699" y="4584417"/>
                </a:lnTo>
                <a:lnTo>
                  <a:pt x="1749050" y="4596911"/>
                </a:lnTo>
                <a:cubicBezTo>
                  <a:pt x="1742544" y="4605688"/>
                  <a:pt x="1745488" y="4623964"/>
                  <a:pt x="1733870" y="4628920"/>
                </a:cubicBezTo>
                <a:lnTo>
                  <a:pt x="1730927" y="4628508"/>
                </a:lnTo>
                <a:lnTo>
                  <a:pt x="1730772" y="4628817"/>
                </a:lnTo>
                <a:cubicBezTo>
                  <a:pt x="1729843" y="4629437"/>
                  <a:pt x="1728913" y="4629850"/>
                  <a:pt x="1727985" y="4629747"/>
                </a:cubicBezTo>
                <a:lnTo>
                  <a:pt x="1726280" y="4628714"/>
                </a:lnTo>
                <a:lnTo>
                  <a:pt x="1721478" y="4629643"/>
                </a:lnTo>
                <a:lnTo>
                  <a:pt x="1720549" y="4629540"/>
                </a:lnTo>
                <a:lnTo>
                  <a:pt x="1719000" y="4630056"/>
                </a:lnTo>
                <a:lnTo>
                  <a:pt x="1719310" y="4633361"/>
                </a:lnTo>
                <a:cubicBezTo>
                  <a:pt x="1718845" y="4634497"/>
                  <a:pt x="1718071" y="4635219"/>
                  <a:pt x="1716987" y="4635529"/>
                </a:cubicBezTo>
                <a:cubicBezTo>
                  <a:pt x="1715902" y="4635839"/>
                  <a:pt x="1714663" y="4635632"/>
                  <a:pt x="1713734" y="4635219"/>
                </a:cubicBezTo>
                <a:cubicBezTo>
                  <a:pt x="1712804" y="4635219"/>
                  <a:pt x="1712030" y="4634703"/>
                  <a:pt x="1711565" y="4633877"/>
                </a:cubicBezTo>
                <a:cubicBezTo>
                  <a:pt x="1711100" y="4633051"/>
                  <a:pt x="1710945" y="4631915"/>
                  <a:pt x="1711100" y="4630986"/>
                </a:cubicBezTo>
                <a:lnTo>
                  <a:pt x="1711100" y="4630779"/>
                </a:lnTo>
                <a:lnTo>
                  <a:pt x="1702426" y="4626236"/>
                </a:lnTo>
                <a:lnTo>
                  <a:pt x="1693287" y="4618285"/>
                </a:lnTo>
                <a:lnTo>
                  <a:pt x="1692048" y="4620660"/>
                </a:lnTo>
                <a:cubicBezTo>
                  <a:pt x="1692048" y="4622622"/>
                  <a:pt x="1691119" y="4624894"/>
                  <a:pt x="1689570" y="4625926"/>
                </a:cubicBezTo>
                <a:cubicBezTo>
                  <a:pt x="1688486" y="4626236"/>
                  <a:pt x="1687556" y="4626133"/>
                  <a:pt x="1686937" y="4625926"/>
                </a:cubicBezTo>
                <a:cubicBezTo>
                  <a:pt x="1686162" y="4625616"/>
                  <a:pt x="1685698" y="4625100"/>
                  <a:pt x="1685543" y="4624584"/>
                </a:cubicBezTo>
                <a:cubicBezTo>
                  <a:pt x="1683219" y="4619937"/>
                  <a:pt x="1683684" y="4616427"/>
                  <a:pt x="1684768" y="4613845"/>
                </a:cubicBezTo>
                <a:lnTo>
                  <a:pt x="1686008" y="4610851"/>
                </a:lnTo>
                <a:lnTo>
                  <a:pt x="1682599" y="4605275"/>
                </a:lnTo>
                <a:cubicBezTo>
                  <a:pt x="1681206" y="4602384"/>
                  <a:pt x="1680276" y="4599286"/>
                  <a:pt x="1679811" y="4595982"/>
                </a:cubicBezTo>
                <a:cubicBezTo>
                  <a:pt x="1679347" y="4592368"/>
                  <a:pt x="1679501" y="4589270"/>
                  <a:pt x="1680121" y="4586585"/>
                </a:cubicBezTo>
                <a:lnTo>
                  <a:pt x="1681360" y="4583798"/>
                </a:lnTo>
                <a:lnTo>
                  <a:pt x="1681206" y="4581526"/>
                </a:lnTo>
                <a:lnTo>
                  <a:pt x="1681051" y="4580390"/>
                </a:lnTo>
                <a:lnTo>
                  <a:pt x="1680121" y="4582249"/>
                </a:lnTo>
                <a:cubicBezTo>
                  <a:pt x="1679501" y="4583384"/>
                  <a:pt x="1679501" y="4583384"/>
                  <a:pt x="1680586" y="4583901"/>
                </a:cubicBezTo>
                <a:cubicBezTo>
                  <a:pt x="1679966" y="4585037"/>
                  <a:pt x="1679966" y="4585037"/>
                  <a:pt x="1678263" y="4585656"/>
                </a:cubicBezTo>
                <a:cubicBezTo>
                  <a:pt x="1678727" y="4584727"/>
                  <a:pt x="1679656" y="4581733"/>
                  <a:pt x="1680431" y="4580493"/>
                </a:cubicBezTo>
                <a:lnTo>
                  <a:pt x="1681051" y="4580080"/>
                </a:lnTo>
                <a:lnTo>
                  <a:pt x="1681051" y="4579151"/>
                </a:lnTo>
                <a:cubicBezTo>
                  <a:pt x="1679966" y="4578635"/>
                  <a:pt x="1679966" y="4578635"/>
                  <a:pt x="1680896" y="4578325"/>
                </a:cubicBezTo>
                <a:lnTo>
                  <a:pt x="1681051" y="4577602"/>
                </a:lnTo>
                <a:lnTo>
                  <a:pt x="1681051" y="4575227"/>
                </a:lnTo>
                <a:cubicBezTo>
                  <a:pt x="1681051" y="4573059"/>
                  <a:pt x="1681360" y="4570994"/>
                  <a:pt x="1681825" y="4570065"/>
                </a:cubicBezTo>
                <a:lnTo>
                  <a:pt x="1682135" y="4575537"/>
                </a:lnTo>
                <a:lnTo>
                  <a:pt x="1682755" y="4572749"/>
                </a:lnTo>
                <a:cubicBezTo>
                  <a:pt x="1682755" y="4571407"/>
                  <a:pt x="1682599" y="4570065"/>
                  <a:pt x="1682135" y="4569858"/>
                </a:cubicBezTo>
                <a:cubicBezTo>
                  <a:pt x="1682909" y="4569548"/>
                  <a:pt x="1683529" y="4568412"/>
                  <a:pt x="1683529" y="4568412"/>
                </a:cubicBezTo>
                <a:cubicBezTo>
                  <a:pt x="1684613" y="4568929"/>
                  <a:pt x="1684768" y="4569755"/>
                  <a:pt x="1685078" y="4570581"/>
                </a:cubicBezTo>
                <a:cubicBezTo>
                  <a:pt x="1684458" y="4571613"/>
                  <a:pt x="1683684" y="4571923"/>
                  <a:pt x="1683064" y="4573059"/>
                </a:cubicBezTo>
                <a:cubicBezTo>
                  <a:pt x="1683219" y="4573885"/>
                  <a:pt x="1683684" y="4575537"/>
                  <a:pt x="1683064" y="4576570"/>
                </a:cubicBezTo>
                <a:lnTo>
                  <a:pt x="1682135" y="4577809"/>
                </a:lnTo>
                <a:lnTo>
                  <a:pt x="1681360" y="4583591"/>
                </a:lnTo>
                <a:lnTo>
                  <a:pt x="1683219" y="4579151"/>
                </a:lnTo>
                <a:cubicBezTo>
                  <a:pt x="1685853" y="4574505"/>
                  <a:pt x="1689570" y="4570168"/>
                  <a:pt x="1692048" y="4564076"/>
                </a:cubicBezTo>
                <a:cubicBezTo>
                  <a:pt x="1702581" y="4566967"/>
                  <a:pt x="1705215" y="4561288"/>
                  <a:pt x="1710171" y="4558293"/>
                </a:cubicBezTo>
                <a:cubicBezTo>
                  <a:pt x="1713424" y="4560978"/>
                  <a:pt x="1717451" y="4562527"/>
                  <a:pt x="1721788" y="4563869"/>
                </a:cubicBezTo>
                <a:lnTo>
                  <a:pt x="1723802" y="4564489"/>
                </a:lnTo>
                <a:lnTo>
                  <a:pt x="1723957" y="4561391"/>
                </a:lnTo>
                <a:cubicBezTo>
                  <a:pt x="1724576" y="4560462"/>
                  <a:pt x="1725816" y="4559533"/>
                  <a:pt x="1726900" y="4558190"/>
                </a:cubicBezTo>
                <a:close/>
                <a:moveTo>
                  <a:pt x="5905992" y="4557795"/>
                </a:moveTo>
                <a:cubicBezTo>
                  <a:pt x="5915596" y="4573593"/>
                  <a:pt x="5881519" y="4594347"/>
                  <a:pt x="5869592" y="4596723"/>
                </a:cubicBezTo>
                <a:cubicBezTo>
                  <a:pt x="5877801" y="4584022"/>
                  <a:pt x="5892052" y="4563371"/>
                  <a:pt x="5905992" y="4557795"/>
                </a:cubicBezTo>
                <a:close/>
                <a:moveTo>
                  <a:pt x="614435" y="4557467"/>
                </a:moveTo>
                <a:cubicBezTo>
                  <a:pt x="618927" y="4554473"/>
                  <a:pt x="632403" y="4568000"/>
                  <a:pt x="614589" y="4567173"/>
                </a:cubicBezTo>
                <a:cubicBezTo>
                  <a:pt x="612576" y="4561391"/>
                  <a:pt x="613041" y="4558500"/>
                  <a:pt x="614435" y="4557467"/>
                </a:cubicBezTo>
                <a:close/>
                <a:moveTo>
                  <a:pt x="1008181" y="4557364"/>
                </a:moveTo>
                <a:cubicBezTo>
                  <a:pt x="1008956" y="4557777"/>
                  <a:pt x="1009421" y="4557054"/>
                  <a:pt x="1010195" y="4557467"/>
                </a:cubicBezTo>
                <a:cubicBezTo>
                  <a:pt x="1012054" y="4557674"/>
                  <a:pt x="1012054" y="4557674"/>
                  <a:pt x="1012208" y="4558810"/>
                </a:cubicBezTo>
                <a:cubicBezTo>
                  <a:pt x="1012518" y="4560049"/>
                  <a:pt x="1010195" y="4562011"/>
                  <a:pt x="1010505" y="4563249"/>
                </a:cubicBezTo>
                <a:cubicBezTo>
                  <a:pt x="1010505" y="4563249"/>
                  <a:pt x="1010505" y="4563249"/>
                  <a:pt x="1008491" y="4563146"/>
                </a:cubicBezTo>
                <a:cubicBezTo>
                  <a:pt x="1007871" y="4562630"/>
                  <a:pt x="1007097" y="4562217"/>
                  <a:pt x="1006942" y="4560978"/>
                </a:cubicBezTo>
                <a:cubicBezTo>
                  <a:pt x="1006632" y="4559739"/>
                  <a:pt x="1007717" y="4558190"/>
                  <a:pt x="1008181" y="4557364"/>
                </a:cubicBezTo>
                <a:close/>
                <a:moveTo>
                  <a:pt x="1515466" y="4556744"/>
                </a:moveTo>
                <a:cubicBezTo>
                  <a:pt x="1515776" y="4557467"/>
                  <a:pt x="1516861" y="4557880"/>
                  <a:pt x="1517170" y="4558603"/>
                </a:cubicBezTo>
                <a:cubicBezTo>
                  <a:pt x="1516396" y="4559016"/>
                  <a:pt x="1515002" y="4560565"/>
                  <a:pt x="1514692" y="4559739"/>
                </a:cubicBezTo>
                <a:cubicBezTo>
                  <a:pt x="1513918" y="4560152"/>
                  <a:pt x="1513298" y="4558706"/>
                  <a:pt x="1513298" y="4558706"/>
                </a:cubicBezTo>
                <a:cubicBezTo>
                  <a:pt x="1512524" y="4559016"/>
                  <a:pt x="1511749" y="4559429"/>
                  <a:pt x="1510665" y="4559119"/>
                </a:cubicBezTo>
                <a:cubicBezTo>
                  <a:pt x="1511129" y="4557983"/>
                  <a:pt x="1510355" y="4558397"/>
                  <a:pt x="1510045" y="4557674"/>
                </a:cubicBezTo>
                <a:cubicBezTo>
                  <a:pt x="1511129" y="4557983"/>
                  <a:pt x="1513607" y="4556744"/>
                  <a:pt x="1515466" y="4556744"/>
                </a:cubicBezTo>
                <a:close/>
                <a:moveTo>
                  <a:pt x="1770193" y="4556732"/>
                </a:moveTo>
                <a:cubicBezTo>
                  <a:pt x="1771355" y="4556564"/>
                  <a:pt x="1772672" y="4557054"/>
                  <a:pt x="1773989" y="4557571"/>
                </a:cubicBezTo>
                <a:cubicBezTo>
                  <a:pt x="1772440" y="4560152"/>
                  <a:pt x="1775847" y="4562011"/>
                  <a:pt x="1772440" y="4563663"/>
                </a:cubicBezTo>
                <a:cubicBezTo>
                  <a:pt x="1770736" y="4563559"/>
                  <a:pt x="1769032" y="4562630"/>
                  <a:pt x="1767328" y="4559842"/>
                </a:cubicBezTo>
                <a:cubicBezTo>
                  <a:pt x="1768025" y="4557726"/>
                  <a:pt x="1769032" y="4556899"/>
                  <a:pt x="1770193" y="4556732"/>
                </a:cubicBezTo>
                <a:close/>
                <a:moveTo>
                  <a:pt x="1311003" y="4556641"/>
                </a:moveTo>
                <a:cubicBezTo>
                  <a:pt x="1310539" y="4568206"/>
                  <a:pt x="1325719" y="4573162"/>
                  <a:pt x="1322466" y="4582765"/>
                </a:cubicBezTo>
                <a:cubicBezTo>
                  <a:pt x="1315495" y="4577293"/>
                  <a:pt x="1307750" y="4573162"/>
                  <a:pt x="1304343" y="4561184"/>
                </a:cubicBezTo>
                <a:cubicBezTo>
                  <a:pt x="1306356" y="4559533"/>
                  <a:pt x="1306821" y="4554989"/>
                  <a:pt x="1311003" y="4556641"/>
                </a:cubicBezTo>
                <a:close/>
                <a:moveTo>
                  <a:pt x="1183833" y="4556435"/>
                </a:moveTo>
                <a:cubicBezTo>
                  <a:pt x="1192198" y="4557674"/>
                  <a:pt x="1200408" y="4557157"/>
                  <a:pt x="1209237" y="4566244"/>
                </a:cubicBezTo>
                <a:cubicBezTo>
                  <a:pt x="1208462" y="4568722"/>
                  <a:pt x="1210321" y="4573266"/>
                  <a:pt x="1206138" y="4573885"/>
                </a:cubicBezTo>
                <a:cubicBezTo>
                  <a:pt x="1200717" y="4563249"/>
                  <a:pt x="1185847" y="4566967"/>
                  <a:pt x="1183833" y="4556435"/>
                </a:cubicBezTo>
                <a:close/>
                <a:moveTo>
                  <a:pt x="1165556" y="4556435"/>
                </a:moveTo>
                <a:lnTo>
                  <a:pt x="1165401" y="4559223"/>
                </a:lnTo>
                <a:lnTo>
                  <a:pt x="1165711" y="4559326"/>
                </a:lnTo>
                <a:cubicBezTo>
                  <a:pt x="1170048" y="4562940"/>
                  <a:pt x="1170822" y="4574505"/>
                  <a:pt x="1166486" y="4575537"/>
                </a:cubicBezTo>
                <a:cubicBezTo>
                  <a:pt x="1164162" y="4576157"/>
                  <a:pt x="1160444" y="4573678"/>
                  <a:pt x="1154713" y="4565418"/>
                </a:cubicBezTo>
                <a:lnTo>
                  <a:pt x="1158431" y="4560875"/>
                </a:lnTo>
                <a:lnTo>
                  <a:pt x="1157811" y="4560565"/>
                </a:lnTo>
                <a:cubicBezTo>
                  <a:pt x="1158741" y="4558500"/>
                  <a:pt x="1159980" y="4557261"/>
                  <a:pt x="1161374" y="4556641"/>
                </a:cubicBezTo>
                <a:cubicBezTo>
                  <a:pt x="1162767" y="4556022"/>
                  <a:pt x="1164162" y="4556022"/>
                  <a:pt x="1165556" y="4556435"/>
                </a:cubicBezTo>
                <a:close/>
                <a:moveTo>
                  <a:pt x="1678572" y="4556332"/>
                </a:moveTo>
                <a:cubicBezTo>
                  <a:pt x="1679811" y="4559429"/>
                  <a:pt x="1677023" y="4566554"/>
                  <a:pt x="1675009" y="4568516"/>
                </a:cubicBezTo>
                <a:cubicBezTo>
                  <a:pt x="1672222" y="4568412"/>
                  <a:pt x="1670518" y="4567380"/>
                  <a:pt x="1669588" y="4565831"/>
                </a:cubicBezTo>
                <a:cubicBezTo>
                  <a:pt x="1667110" y="4561184"/>
                  <a:pt x="1672222" y="4552511"/>
                  <a:pt x="1678572" y="4556332"/>
                </a:cubicBezTo>
                <a:close/>
                <a:moveTo>
                  <a:pt x="6692401" y="4556143"/>
                </a:moveTo>
                <a:cubicBezTo>
                  <a:pt x="6693485" y="4556452"/>
                  <a:pt x="6696428" y="4557795"/>
                  <a:pt x="6696118" y="4559034"/>
                </a:cubicBezTo>
                <a:cubicBezTo>
                  <a:pt x="6695808" y="4561409"/>
                  <a:pt x="6694260" y="4563371"/>
                  <a:pt x="6693175" y="4563164"/>
                </a:cubicBezTo>
                <a:cubicBezTo>
                  <a:pt x="6691471" y="4562648"/>
                  <a:pt x="6689613" y="4562235"/>
                  <a:pt x="6689148" y="4560583"/>
                </a:cubicBezTo>
                <a:cubicBezTo>
                  <a:pt x="6688838" y="4559963"/>
                  <a:pt x="6688838" y="4559240"/>
                  <a:pt x="6688993" y="4558311"/>
                </a:cubicBezTo>
                <a:cubicBezTo>
                  <a:pt x="6688993" y="4558311"/>
                  <a:pt x="6688993" y="4558311"/>
                  <a:pt x="6689613" y="4557898"/>
                </a:cubicBezTo>
                <a:cubicBezTo>
                  <a:pt x="6691007" y="4556969"/>
                  <a:pt x="6691781" y="4556556"/>
                  <a:pt x="6692401" y="4556143"/>
                </a:cubicBezTo>
                <a:close/>
                <a:moveTo>
                  <a:pt x="1335942" y="4555712"/>
                </a:moveTo>
                <a:cubicBezTo>
                  <a:pt x="1336561" y="4556228"/>
                  <a:pt x="1337026" y="4556951"/>
                  <a:pt x="1337181" y="4558190"/>
                </a:cubicBezTo>
                <a:cubicBezTo>
                  <a:pt x="1335633" y="4559119"/>
                  <a:pt x="1334392" y="4559429"/>
                  <a:pt x="1332224" y="4559842"/>
                </a:cubicBezTo>
                <a:cubicBezTo>
                  <a:pt x="1330211" y="4556435"/>
                  <a:pt x="1333928" y="4554473"/>
                  <a:pt x="1335942" y="4555712"/>
                </a:cubicBezTo>
                <a:close/>
                <a:moveTo>
                  <a:pt x="948585" y="4555441"/>
                </a:moveTo>
                <a:cubicBezTo>
                  <a:pt x="950714" y="4555118"/>
                  <a:pt x="953270" y="4556177"/>
                  <a:pt x="956446" y="4559326"/>
                </a:cubicBezTo>
                <a:cubicBezTo>
                  <a:pt x="947462" y="4563766"/>
                  <a:pt x="943745" y="4576570"/>
                  <a:pt x="935380" y="4576776"/>
                </a:cubicBezTo>
                <a:lnTo>
                  <a:pt x="939252" y="4568516"/>
                </a:lnTo>
                <a:lnTo>
                  <a:pt x="937858" y="4567277"/>
                </a:lnTo>
                <a:cubicBezTo>
                  <a:pt x="937083" y="4566347"/>
                  <a:pt x="936309" y="4564179"/>
                  <a:pt x="935999" y="4562114"/>
                </a:cubicBezTo>
                <a:cubicBezTo>
                  <a:pt x="935844" y="4559945"/>
                  <a:pt x="935999" y="4557880"/>
                  <a:pt x="936774" y="4556641"/>
                </a:cubicBezTo>
                <a:cubicBezTo>
                  <a:pt x="938478" y="4557777"/>
                  <a:pt x="940027" y="4558913"/>
                  <a:pt x="941576" y="4560049"/>
                </a:cubicBezTo>
                <a:cubicBezTo>
                  <a:pt x="941111" y="4559945"/>
                  <a:pt x="941111" y="4561907"/>
                  <a:pt x="941421" y="4563972"/>
                </a:cubicBezTo>
                <a:lnTo>
                  <a:pt x="943280" y="4559842"/>
                </a:lnTo>
                <a:cubicBezTo>
                  <a:pt x="944751" y="4557467"/>
                  <a:pt x="946455" y="4555763"/>
                  <a:pt x="948585" y="4555441"/>
                </a:cubicBezTo>
                <a:close/>
                <a:moveTo>
                  <a:pt x="1339349" y="4555196"/>
                </a:moveTo>
                <a:cubicBezTo>
                  <a:pt x="1340434" y="4555609"/>
                  <a:pt x="1340434" y="4555609"/>
                  <a:pt x="1339814" y="4556744"/>
                </a:cubicBezTo>
                <a:cubicBezTo>
                  <a:pt x="1339349" y="4556538"/>
                  <a:pt x="1339195" y="4556332"/>
                  <a:pt x="1339349" y="4556125"/>
                </a:cubicBezTo>
                <a:cubicBezTo>
                  <a:pt x="1339349" y="4555815"/>
                  <a:pt x="1339504" y="4555609"/>
                  <a:pt x="1339349" y="4555196"/>
                </a:cubicBezTo>
                <a:close/>
                <a:moveTo>
                  <a:pt x="1214967" y="4554886"/>
                </a:moveTo>
                <a:cubicBezTo>
                  <a:pt x="1216207" y="4555196"/>
                  <a:pt x="1217136" y="4555299"/>
                  <a:pt x="1218066" y="4555402"/>
                </a:cubicBezTo>
                <a:lnTo>
                  <a:pt x="1218995" y="4555815"/>
                </a:lnTo>
                <a:lnTo>
                  <a:pt x="1218995" y="4555609"/>
                </a:lnTo>
                <a:lnTo>
                  <a:pt x="1221474" y="4555712"/>
                </a:lnTo>
                <a:lnTo>
                  <a:pt x="1222248" y="4555505"/>
                </a:lnTo>
                <a:lnTo>
                  <a:pt x="1222402" y="4555712"/>
                </a:lnTo>
                <a:lnTo>
                  <a:pt x="1223332" y="4555712"/>
                </a:lnTo>
                <a:cubicBezTo>
                  <a:pt x="1222402" y="4556538"/>
                  <a:pt x="1223022" y="4558397"/>
                  <a:pt x="1222093" y="4559223"/>
                </a:cubicBezTo>
                <a:cubicBezTo>
                  <a:pt x="1222093" y="4559223"/>
                  <a:pt x="1219460" y="4560152"/>
                  <a:pt x="1219460" y="4560152"/>
                </a:cubicBezTo>
                <a:cubicBezTo>
                  <a:pt x="1218995" y="4559739"/>
                  <a:pt x="1218840" y="4559429"/>
                  <a:pt x="1218995" y="4559326"/>
                </a:cubicBezTo>
                <a:cubicBezTo>
                  <a:pt x="1218995" y="4559223"/>
                  <a:pt x="1219150" y="4559223"/>
                  <a:pt x="1219614" y="4559223"/>
                </a:cubicBezTo>
                <a:lnTo>
                  <a:pt x="1219305" y="4557983"/>
                </a:lnTo>
                <a:lnTo>
                  <a:pt x="1218066" y="4558706"/>
                </a:lnTo>
                <a:cubicBezTo>
                  <a:pt x="1216517" y="4559533"/>
                  <a:pt x="1214967" y="4560255"/>
                  <a:pt x="1213574" y="4560152"/>
                </a:cubicBezTo>
                <a:cubicBezTo>
                  <a:pt x="1212955" y="4560049"/>
                  <a:pt x="1212334" y="4559842"/>
                  <a:pt x="1212025" y="4559429"/>
                </a:cubicBezTo>
                <a:cubicBezTo>
                  <a:pt x="1211560" y="4559016"/>
                  <a:pt x="1211405" y="4558397"/>
                  <a:pt x="1211560" y="4557157"/>
                </a:cubicBezTo>
                <a:cubicBezTo>
                  <a:pt x="1211250" y="4555196"/>
                  <a:pt x="1212025" y="4554782"/>
                  <a:pt x="1214967" y="4554886"/>
                </a:cubicBezTo>
                <a:close/>
                <a:moveTo>
                  <a:pt x="1386902" y="4554473"/>
                </a:moveTo>
                <a:cubicBezTo>
                  <a:pt x="1389381" y="4553853"/>
                  <a:pt x="1391859" y="4553957"/>
                  <a:pt x="1394647" y="4555196"/>
                </a:cubicBezTo>
                <a:cubicBezTo>
                  <a:pt x="1414784" y="4563353"/>
                  <a:pt x="1407504" y="4595156"/>
                  <a:pt x="1389071" y="4592058"/>
                </a:cubicBezTo>
                <a:lnTo>
                  <a:pt x="1382875" y="4589373"/>
                </a:lnTo>
                <a:lnTo>
                  <a:pt x="1385819" y="4592781"/>
                </a:lnTo>
                <a:lnTo>
                  <a:pt x="1386438" y="4593917"/>
                </a:lnTo>
                <a:lnTo>
                  <a:pt x="1388142" y="4595466"/>
                </a:lnTo>
                <a:lnTo>
                  <a:pt x="1387987" y="4602487"/>
                </a:lnTo>
                <a:lnTo>
                  <a:pt x="1388296" y="4601558"/>
                </a:lnTo>
                <a:cubicBezTo>
                  <a:pt x="1389071" y="4603107"/>
                  <a:pt x="1392479" y="4601971"/>
                  <a:pt x="1391704" y="4604449"/>
                </a:cubicBezTo>
                <a:lnTo>
                  <a:pt x="1387987" y="4602797"/>
                </a:lnTo>
                <a:lnTo>
                  <a:pt x="1387987" y="4604139"/>
                </a:lnTo>
                <a:cubicBezTo>
                  <a:pt x="1387058" y="4603519"/>
                  <a:pt x="1386283" y="4604655"/>
                  <a:pt x="1385664" y="4605688"/>
                </a:cubicBezTo>
                <a:cubicBezTo>
                  <a:pt x="1381946" y="4606411"/>
                  <a:pt x="1378848" y="4603313"/>
                  <a:pt x="1377145" y="4599596"/>
                </a:cubicBezTo>
                <a:lnTo>
                  <a:pt x="1376524" y="4595879"/>
                </a:lnTo>
                <a:lnTo>
                  <a:pt x="1374821" y="4593813"/>
                </a:lnTo>
                <a:lnTo>
                  <a:pt x="1373117" y="4592884"/>
                </a:lnTo>
                <a:lnTo>
                  <a:pt x="1372342" y="4599286"/>
                </a:lnTo>
                <a:lnTo>
                  <a:pt x="1370174" y="4602384"/>
                </a:lnTo>
                <a:lnTo>
                  <a:pt x="1371103" y="4604139"/>
                </a:lnTo>
                <a:cubicBezTo>
                  <a:pt x="1370638" y="4605069"/>
                  <a:pt x="1370019" y="4605584"/>
                  <a:pt x="1369244" y="4605998"/>
                </a:cubicBezTo>
                <a:lnTo>
                  <a:pt x="1367540" y="4606411"/>
                </a:lnTo>
                <a:lnTo>
                  <a:pt x="1365837" y="4608992"/>
                </a:lnTo>
                <a:cubicBezTo>
                  <a:pt x="1359486" y="4607650"/>
                  <a:pt x="1354994" y="4603726"/>
                  <a:pt x="1352670" y="4598770"/>
                </a:cubicBezTo>
                <a:cubicBezTo>
                  <a:pt x="1351586" y="4596705"/>
                  <a:pt x="1350967" y="4594433"/>
                  <a:pt x="1350657" y="4592058"/>
                </a:cubicBezTo>
                <a:lnTo>
                  <a:pt x="1350657" y="4591955"/>
                </a:lnTo>
                <a:lnTo>
                  <a:pt x="1346475" y="4593297"/>
                </a:lnTo>
                <a:cubicBezTo>
                  <a:pt x="1340279" y="4594020"/>
                  <a:pt x="1339039" y="4589270"/>
                  <a:pt x="1339969" y="4584727"/>
                </a:cubicBezTo>
                <a:lnTo>
                  <a:pt x="1340434" y="4583798"/>
                </a:lnTo>
                <a:lnTo>
                  <a:pt x="1340279" y="4583798"/>
                </a:lnTo>
                <a:cubicBezTo>
                  <a:pt x="1337955" y="4581423"/>
                  <a:pt x="1338575" y="4577706"/>
                  <a:pt x="1337955" y="4578118"/>
                </a:cubicBezTo>
                <a:cubicBezTo>
                  <a:pt x="1336871" y="4577809"/>
                  <a:pt x="1336871" y="4577809"/>
                  <a:pt x="1336096" y="4578325"/>
                </a:cubicBezTo>
                <a:cubicBezTo>
                  <a:pt x="1335787" y="4577499"/>
                  <a:pt x="1334238" y="4576467"/>
                  <a:pt x="1333153" y="4576260"/>
                </a:cubicBezTo>
                <a:cubicBezTo>
                  <a:pt x="1333928" y="4575744"/>
                  <a:pt x="1334703" y="4575331"/>
                  <a:pt x="1334238" y="4574505"/>
                </a:cubicBezTo>
                <a:cubicBezTo>
                  <a:pt x="1336561" y="4575124"/>
                  <a:pt x="1336871" y="4575847"/>
                  <a:pt x="1337955" y="4576157"/>
                </a:cubicBezTo>
                <a:cubicBezTo>
                  <a:pt x="1337646" y="4575434"/>
                  <a:pt x="1338730" y="4575744"/>
                  <a:pt x="1338730" y="4575744"/>
                </a:cubicBezTo>
                <a:cubicBezTo>
                  <a:pt x="1338730" y="4575744"/>
                  <a:pt x="1338730" y="4575640"/>
                  <a:pt x="1339504" y="4573266"/>
                </a:cubicBezTo>
                <a:cubicBezTo>
                  <a:pt x="1339504" y="4573266"/>
                  <a:pt x="1341673" y="4568000"/>
                  <a:pt x="1346939" y="4568619"/>
                </a:cubicBezTo>
                <a:cubicBezTo>
                  <a:pt x="1346475" y="4569858"/>
                  <a:pt x="1353291" y="4571510"/>
                  <a:pt x="1353291" y="4575434"/>
                </a:cubicBezTo>
                <a:lnTo>
                  <a:pt x="1353291" y="4577396"/>
                </a:lnTo>
                <a:lnTo>
                  <a:pt x="1357472" y="4570891"/>
                </a:lnTo>
                <a:cubicBezTo>
                  <a:pt x="1358557" y="4571304"/>
                  <a:pt x="1359641" y="4571613"/>
                  <a:pt x="1360106" y="4570478"/>
                </a:cubicBezTo>
                <a:cubicBezTo>
                  <a:pt x="1368315" y="4572749"/>
                  <a:pt x="1373117" y="4581526"/>
                  <a:pt x="1373427" y="4590509"/>
                </a:cubicBezTo>
                <a:lnTo>
                  <a:pt x="1373427" y="4590716"/>
                </a:lnTo>
                <a:lnTo>
                  <a:pt x="1374821" y="4590406"/>
                </a:lnTo>
                <a:cubicBezTo>
                  <a:pt x="1375285" y="4591129"/>
                  <a:pt x="1376060" y="4590716"/>
                  <a:pt x="1375595" y="4591851"/>
                </a:cubicBezTo>
                <a:lnTo>
                  <a:pt x="1377145" y="4592368"/>
                </a:lnTo>
                <a:lnTo>
                  <a:pt x="1378538" y="4590200"/>
                </a:lnTo>
                <a:lnTo>
                  <a:pt x="1381017" y="4589683"/>
                </a:lnTo>
                <a:lnTo>
                  <a:pt x="1380552" y="4588444"/>
                </a:lnTo>
                <a:cubicBezTo>
                  <a:pt x="1372497" y="4582352"/>
                  <a:pt x="1371568" y="4571613"/>
                  <a:pt x="1364443" y="4560772"/>
                </a:cubicBezTo>
                <a:lnTo>
                  <a:pt x="1366611" y="4560875"/>
                </a:lnTo>
                <a:lnTo>
                  <a:pt x="1366456" y="4559842"/>
                </a:lnTo>
                <a:cubicBezTo>
                  <a:pt x="1368470" y="4557157"/>
                  <a:pt x="1371413" y="4556228"/>
                  <a:pt x="1373891" y="4556951"/>
                </a:cubicBezTo>
                <a:lnTo>
                  <a:pt x="1376835" y="4559223"/>
                </a:lnTo>
                <a:lnTo>
                  <a:pt x="1381791" y="4556641"/>
                </a:lnTo>
                <a:cubicBezTo>
                  <a:pt x="1383495" y="4555712"/>
                  <a:pt x="1385199" y="4554886"/>
                  <a:pt x="1386902" y="4554473"/>
                </a:cubicBezTo>
                <a:close/>
                <a:moveTo>
                  <a:pt x="887517" y="4554060"/>
                </a:moveTo>
                <a:cubicBezTo>
                  <a:pt x="884109" y="4555918"/>
                  <a:pt x="883335" y="4558810"/>
                  <a:pt x="881476" y="4559429"/>
                </a:cubicBezTo>
                <a:cubicBezTo>
                  <a:pt x="880856" y="4559636"/>
                  <a:pt x="880082" y="4559533"/>
                  <a:pt x="878997" y="4559119"/>
                </a:cubicBezTo>
                <a:cubicBezTo>
                  <a:pt x="878688" y="4555505"/>
                  <a:pt x="884264" y="4552408"/>
                  <a:pt x="887517" y="4554060"/>
                </a:cubicBezTo>
                <a:close/>
                <a:moveTo>
                  <a:pt x="1476433" y="4553647"/>
                </a:moveTo>
                <a:cubicBezTo>
                  <a:pt x="1478756" y="4554267"/>
                  <a:pt x="1480615" y="4554060"/>
                  <a:pt x="1481080" y="4554782"/>
                </a:cubicBezTo>
                <a:cubicBezTo>
                  <a:pt x="1481699" y="4554370"/>
                  <a:pt x="1482784" y="4554576"/>
                  <a:pt x="1483558" y="4554060"/>
                </a:cubicBezTo>
                <a:cubicBezTo>
                  <a:pt x="1483558" y="4554060"/>
                  <a:pt x="1483558" y="4554163"/>
                  <a:pt x="1484023" y="4554886"/>
                </a:cubicBezTo>
                <a:cubicBezTo>
                  <a:pt x="1482319" y="4555402"/>
                  <a:pt x="1480615" y="4556435"/>
                  <a:pt x="1478911" y="4557364"/>
                </a:cubicBezTo>
                <a:lnTo>
                  <a:pt x="1475658" y="4558500"/>
                </a:lnTo>
                <a:lnTo>
                  <a:pt x="1481389" y="4562217"/>
                </a:lnTo>
                <a:cubicBezTo>
                  <a:pt x="1488204" y="4565108"/>
                  <a:pt x="1495794" y="4565831"/>
                  <a:pt x="1498428" y="4571923"/>
                </a:cubicBezTo>
                <a:cubicBezTo>
                  <a:pt x="1495330" y="4571304"/>
                  <a:pt x="1491303" y="4571510"/>
                  <a:pt x="1487585" y="4571510"/>
                </a:cubicBezTo>
                <a:cubicBezTo>
                  <a:pt x="1483713" y="4571510"/>
                  <a:pt x="1479995" y="4571304"/>
                  <a:pt x="1477517" y="4569858"/>
                </a:cubicBezTo>
                <a:lnTo>
                  <a:pt x="1475193" y="4567586"/>
                </a:lnTo>
                <a:lnTo>
                  <a:pt x="1474574" y="4568103"/>
                </a:lnTo>
                <a:cubicBezTo>
                  <a:pt x="1473954" y="4565625"/>
                  <a:pt x="1472095" y="4565418"/>
                  <a:pt x="1471321" y="4562940"/>
                </a:cubicBezTo>
                <a:lnTo>
                  <a:pt x="1474419" y="4561907"/>
                </a:lnTo>
                <a:lnTo>
                  <a:pt x="1475038" y="4558706"/>
                </a:lnTo>
                <a:lnTo>
                  <a:pt x="1474109" y="4559016"/>
                </a:lnTo>
                <a:cubicBezTo>
                  <a:pt x="1473645" y="4558810"/>
                  <a:pt x="1473025" y="4558706"/>
                  <a:pt x="1472715" y="4558293"/>
                </a:cubicBezTo>
                <a:cubicBezTo>
                  <a:pt x="1472405" y="4557880"/>
                  <a:pt x="1472250" y="4557261"/>
                  <a:pt x="1472715" y="4556022"/>
                </a:cubicBezTo>
                <a:cubicBezTo>
                  <a:pt x="1472715" y="4554060"/>
                  <a:pt x="1473335" y="4553647"/>
                  <a:pt x="1476433" y="4553647"/>
                </a:cubicBezTo>
                <a:close/>
                <a:moveTo>
                  <a:pt x="5934474" y="4552077"/>
                </a:moveTo>
                <a:cubicBezTo>
                  <a:pt x="5936197" y="4552994"/>
                  <a:pt x="5937127" y="4555420"/>
                  <a:pt x="5936662" y="4558001"/>
                </a:cubicBezTo>
                <a:cubicBezTo>
                  <a:pt x="5936352" y="4559653"/>
                  <a:pt x="5935423" y="4561409"/>
                  <a:pt x="5933719" y="4562855"/>
                </a:cubicBezTo>
                <a:cubicBezTo>
                  <a:pt x="5933099" y="4562855"/>
                  <a:pt x="5932325" y="4562441"/>
                  <a:pt x="5931550" y="4561925"/>
                </a:cubicBezTo>
                <a:lnTo>
                  <a:pt x="5931396" y="4561719"/>
                </a:lnTo>
                <a:lnTo>
                  <a:pt x="5928452" y="4566055"/>
                </a:lnTo>
                <a:cubicBezTo>
                  <a:pt x="5927523" y="4565436"/>
                  <a:pt x="5926903" y="4564610"/>
                  <a:pt x="5926594" y="4563577"/>
                </a:cubicBezTo>
                <a:cubicBezTo>
                  <a:pt x="5925974" y="4562029"/>
                  <a:pt x="5926129" y="4560170"/>
                  <a:pt x="5926594" y="4558414"/>
                </a:cubicBezTo>
                <a:lnTo>
                  <a:pt x="5927988" y="4556246"/>
                </a:lnTo>
                <a:lnTo>
                  <a:pt x="5927523" y="4555213"/>
                </a:lnTo>
                <a:cubicBezTo>
                  <a:pt x="5930233" y="4551755"/>
                  <a:pt x="5932751" y="4551161"/>
                  <a:pt x="5934474" y="4552077"/>
                </a:cubicBezTo>
                <a:close/>
                <a:moveTo>
                  <a:pt x="1240061" y="4551685"/>
                </a:moveTo>
                <a:cubicBezTo>
                  <a:pt x="1239906" y="4553647"/>
                  <a:pt x="1240526" y="4555299"/>
                  <a:pt x="1240370" y="4557261"/>
                </a:cubicBezTo>
                <a:cubicBezTo>
                  <a:pt x="1238047" y="4558397"/>
                  <a:pt x="1236963" y="4561081"/>
                  <a:pt x="1234485" y="4561288"/>
                </a:cubicBezTo>
                <a:cubicBezTo>
                  <a:pt x="1233710" y="4561391"/>
                  <a:pt x="1232781" y="4561184"/>
                  <a:pt x="1231696" y="4560565"/>
                </a:cubicBezTo>
                <a:cubicBezTo>
                  <a:pt x="1229838" y="4555815"/>
                  <a:pt x="1234639" y="4549620"/>
                  <a:pt x="1240061" y="4551685"/>
                </a:cubicBezTo>
                <a:close/>
                <a:moveTo>
                  <a:pt x="5958192" y="4550361"/>
                </a:moveTo>
                <a:cubicBezTo>
                  <a:pt x="5958192" y="4550361"/>
                  <a:pt x="5958192" y="4550361"/>
                  <a:pt x="5958967" y="4550361"/>
                </a:cubicBezTo>
                <a:cubicBezTo>
                  <a:pt x="5958812" y="4552116"/>
                  <a:pt x="5959122" y="4554078"/>
                  <a:pt x="5959277" y="4555936"/>
                </a:cubicBezTo>
                <a:lnTo>
                  <a:pt x="5958812" y="4560893"/>
                </a:lnTo>
                <a:lnTo>
                  <a:pt x="5960361" y="4560686"/>
                </a:lnTo>
                <a:cubicBezTo>
                  <a:pt x="5966247" y="4560067"/>
                  <a:pt x="5972133" y="4559963"/>
                  <a:pt x="5977554" y="4561512"/>
                </a:cubicBezTo>
                <a:cubicBezTo>
                  <a:pt x="5973527" y="4566159"/>
                  <a:pt x="5966247" y="4570289"/>
                  <a:pt x="5959432" y="4571425"/>
                </a:cubicBezTo>
                <a:cubicBezTo>
                  <a:pt x="5957573" y="4571631"/>
                  <a:pt x="5956024" y="4571631"/>
                  <a:pt x="5954320" y="4571528"/>
                </a:cubicBezTo>
                <a:cubicBezTo>
                  <a:pt x="5949364" y="4571012"/>
                  <a:pt x="5945181" y="4568430"/>
                  <a:pt x="5943322" y="4562751"/>
                </a:cubicBezTo>
                <a:lnTo>
                  <a:pt x="5955714" y="4561202"/>
                </a:lnTo>
                <a:lnTo>
                  <a:pt x="5955404" y="4561202"/>
                </a:lnTo>
                <a:cubicBezTo>
                  <a:pt x="5953700" y="4560376"/>
                  <a:pt x="5953545" y="4559550"/>
                  <a:pt x="5954785" y="4556763"/>
                </a:cubicBezTo>
                <a:cubicBezTo>
                  <a:pt x="5956334" y="4554904"/>
                  <a:pt x="5956798" y="4553148"/>
                  <a:pt x="5957728" y="4553045"/>
                </a:cubicBezTo>
                <a:cubicBezTo>
                  <a:pt x="5957573" y="4552219"/>
                  <a:pt x="5958192" y="4551290"/>
                  <a:pt x="5958192" y="4550361"/>
                </a:cubicBezTo>
                <a:close/>
                <a:moveTo>
                  <a:pt x="1582847" y="4550343"/>
                </a:moveTo>
                <a:cubicBezTo>
                  <a:pt x="1582847" y="4550343"/>
                  <a:pt x="1582847" y="4550343"/>
                  <a:pt x="1588113" y="4554060"/>
                </a:cubicBezTo>
                <a:cubicBezTo>
                  <a:pt x="1587803" y="4554473"/>
                  <a:pt x="1587338" y="4554473"/>
                  <a:pt x="1586874" y="4554267"/>
                </a:cubicBezTo>
                <a:cubicBezTo>
                  <a:pt x="1586409" y="4554060"/>
                  <a:pt x="1586099" y="4553544"/>
                  <a:pt x="1585635" y="4553027"/>
                </a:cubicBezTo>
                <a:cubicBezTo>
                  <a:pt x="1584705" y="4552098"/>
                  <a:pt x="1583776" y="4551272"/>
                  <a:pt x="1582847" y="4550343"/>
                </a:cubicBezTo>
                <a:close/>
                <a:moveTo>
                  <a:pt x="6788746" y="4550257"/>
                </a:moveTo>
                <a:cubicBezTo>
                  <a:pt x="6788746" y="4550257"/>
                  <a:pt x="6789830" y="4549844"/>
                  <a:pt x="6791380" y="4550773"/>
                </a:cubicBezTo>
                <a:cubicBezTo>
                  <a:pt x="6794322" y="4550567"/>
                  <a:pt x="6795561" y="4554078"/>
                  <a:pt x="6795561" y="4554078"/>
                </a:cubicBezTo>
                <a:cubicBezTo>
                  <a:pt x="6795561" y="4554078"/>
                  <a:pt x="6795561" y="4554078"/>
                  <a:pt x="6795872" y="4553355"/>
                </a:cubicBezTo>
                <a:cubicBezTo>
                  <a:pt x="6795252" y="4554904"/>
                  <a:pt x="6795252" y="4556763"/>
                  <a:pt x="6794632" y="4558311"/>
                </a:cubicBezTo>
                <a:cubicBezTo>
                  <a:pt x="6792773" y="4559137"/>
                  <a:pt x="6791380" y="4559653"/>
                  <a:pt x="6790140" y="4559757"/>
                </a:cubicBezTo>
                <a:cubicBezTo>
                  <a:pt x="6786887" y="4560170"/>
                  <a:pt x="6786268" y="4557588"/>
                  <a:pt x="6784719" y="4554594"/>
                </a:cubicBezTo>
                <a:cubicBezTo>
                  <a:pt x="6786268" y="4553562"/>
                  <a:pt x="6786423" y="4550877"/>
                  <a:pt x="6788746" y="4550257"/>
                </a:cubicBezTo>
                <a:close/>
                <a:moveTo>
                  <a:pt x="1525686" y="4550237"/>
                </a:moveTo>
                <a:lnTo>
                  <a:pt x="1525690" y="4550239"/>
                </a:lnTo>
                <a:cubicBezTo>
                  <a:pt x="1525690" y="4550239"/>
                  <a:pt x="1525690" y="4550239"/>
                  <a:pt x="1525225" y="4550962"/>
                </a:cubicBezTo>
                <a:close/>
                <a:moveTo>
                  <a:pt x="1119397" y="4549723"/>
                </a:moveTo>
                <a:lnTo>
                  <a:pt x="1119552" y="4550033"/>
                </a:lnTo>
                <a:lnTo>
                  <a:pt x="1120791" y="4550033"/>
                </a:lnTo>
                <a:cubicBezTo>
                  <a:pt x="1121565" y="4550343"/>
                  <a:pt x="1122340" y="4550756"/>
                  <a:pt x="1123269" y="4551478"/>
                </a:cubicBezTo>
                <a:cubicBezTo>
                  <a:pt x="1124198" y="4552305"/>
                  <a:pt x="1124198" y="4552408"/>
                  <a:pt x="1124198" y="4553234"/>
                </a:cubicBezTo>
                <a:cubicBezTo>
                  <a:pt x="1124663" y="4554163"/>
                  <a:pt x="1125128" y="4554886"/>
                  <a:pt x="1125438" y="4555505"/>
                </a:cubicBezTo>
                <a:lnTo>
                  <a:pt x="1125438" y="4555918"/>
                </a:lnTo>
                <a:lnTo>
                  <a:pt x="1126522" y="4556744"/>
                </a:lnTo>
                <a:cubicBezTo>
                  <a:pt x="1129155" y="4558397"/>
                  <a:pt x="1132253" y="4559429"/>
                  <a:pt x="1135041" y="4560565"/>
                </a:cubicBezTo>
                <a:lnTo>
                  <a:pt x="1135816" y="4559016"/>
                </a:lnTo>
                <a:cubicBezTo>
                  <a:pt x="1137055" y="4557983"/>
                  <a:pt x="1138449" y="4557261"/>
                  <a:pt x="1139378" y="4556022"/>
                </a:cubicBezTo>
                <a:cubicBezTo>
                  <a:pt x="1142476" y="4558087"/>
                  <a:pt x="1143406" y="4560978"/>
                  <a:pt x="1142941" y="4563146"/>
                </a:cubicBezTo>
                <a:lnTo>
                  <a:pt x="1142011" y="4564799"/>
                </a:lnTo>
                <a:lnTo>
                  <a:pt x="1143406" y="4566038"/>
                </a:lnTo>
                <a:cubicBezTo>
                  <a:pt x="1144180" y="4567070"/>
                  <a:pt x="1144954" y="4568309"/>
                  <a:pt x="1145574" y="4569755"/>
                </a:cubicBezTo>
                <a:cubicBezTo>
                  <a:pt x="1146659" y="4572543"/>
                  <a:pt x="1147278" y="4575124"/>
                  <a:pt x="1147278" y="4577602"/>
                </a:cubicBezTo>
                <a:lnTo>
                  <a:pt x="1146349" y="4581526"/>
                </a:lnTo>
                <a:lnTo>
                  <a:pt x="1146659" y="4581733"/>
                </a:lnTo>
                <a:cubicBezTo>
                  <a:pt x="1147433" y="4583075"/>
                  <a:pt x="1147433" y="4585346"/>
                  <a:pt x="1146039" y="4587928"/>
                </a:cubicBezTo>
                <a:lnTo>
                  <a:pt x="1144025" y="4586689"/>
                </a:lnTo>
                <a:lnTo>
                  <a:pt x="1141857" y="4589683"/>
                </a:lnTo>
                <a:lnTo>
                  <a:pt x="1138914" y="4591542"/>
                </a:lnTo>
                <a:lnTo>
                  <a:pt x="1138139" y="4593917"/>
                </a:lnTo>
                <a:lnTo>
                  <a:pt x="1140463" y="4593401"/>
                </a:lnTo>
                <a:cubicBezTo>
                  <a:pt x="1141237" y="4593504"/>
                  <a:pt x="1142321" y="4594020"/>
                  <a:pt x="1143406" y="4594949"/>
                </a:cubicBezTo>
                <a:cubicBezTo>
                  <a:pt x="1143560" y="4597531"/>
                  <a:pt x="1140308" y="4601764"/>
                  <a:pt x="1137830" y="4601661"/>
                </a:cubicBezTo>
                <a:cubicBezTo>
                  <a:pt x="1137055" y="4600732"/>
                  <a:pt x="1136126" y="4599802"/>
                  <a:pt x="1135351" y="4598976"/>
                </a:cubicBezTo>
                <a:lnTo>
                  <a:pt x="1135971" y="4597737"/>
                </a:lnTo>
                <a:lnTo>
                  <a:pt x="1133183" y="4601454"/>
                </a:lnTo>
                <a:cubicBezTo>
                  <a:pt x="1129619" y="4605069"/>
                  <a:pt x="1124973" y="4607134"/>
                  <a:pt x="1119861" y="4606514"/>
                </a:cubicBezTo>
                <a:cubicBezTo>
                  <a:pt x="1117383" y="4606101"/>
                  <a:pt x="1114595" y="4605069"/>
                  <a:pt x="1111807" y="4603107"/>
                </a:cubicBezTo>
                <a:cubicBezTo>
                  <a:pt x="1109948" y="4601661"/>
                  <a:pt x="1108709" y="4599906"/>
                  <a:pt x="1107625" y="4597944"/>
                </a:cubicBezTo>
                <a:lnTo>
                  <a:pt x="1106075" y="4593297"/>
                </a:lnTo>
                <a:lnTo>
                  <a:pt x="1104681" y="4592368"/>
                </a:lnTo>
                <a:lnTo>
                  <a:pt x="1105456" y="4591748"/>
                </a:lnTo>
                <a:lnTo>
                  <a:pt x="1104062" y="4587721"/>
                </a:lnTo>
                <a:cubicBezTo>
                  <a:pt x="1102978" y="4583901"/>
                  <a:pt x="1101739" y="4579874"/>
                  <a:pt x="1099725" y="4575847"/>
                </a:cubicBezTo>
                <a:lnTo>
                  <a:pt x="1101119" y="4575950"/>
                </a:lnTo>
                <a:lnTo>
                  <a:pt x="1100345" y="4575021"/>
                </a:lnTo>
                <a:cubicBezTo>
                  <a:pt x="1099105" y="4573369"/>
                  <a:pt x="1098330" y="4571716"/>
                  <a:pt x="1098330" y="4570271"/>
                </a:cubicBezTo>
                <a:cubicBezTo>
                  <a:pt x="1098330" y="4569342"/>
                  <a:pt x="1098485" y="4568412"/>
                  <a:pt x="1099260" y="4567586"/>
                </a:cubicBezTo>
                <a:cubicBezTo>
                  <a:pt x="1102048" y="4564179"/>
                  <a:pt x="1107315" y="4564076"/>
                  <a:pt x="1112117" y="4566760"/>
                </a:cubicBezTo>
                <a:lnTo>
                  <a:pt x="1112891" y="4567483"/>
                </a:lnTo>
                <a:lnTo>
                  <a:pt x="1116763" y="4557880"/>
                </a:lnTo>
                <a:lnTo>
                  <a:pt x="1117693" y="4555092"/>
                </a:lnTo>
                <a:lnTo>
                  <a:pt x="1117074" y="4554163"/>
                </a:lnTo>
                <a:cubicBezTo>
                  <a:pt x="1116608" y="4553131"/>
                  <a:pt x="1116454" y="4551995"/>
                  <a:pt x="1115524" y="4551066"/>
                </a:cubicBezTo>
                <a:cubicBezTo>
                  <a:pt x="1116299" y="4550756"/>
                  <a:pt x="1117383" y="4550136"/>
                  <a:pt x="1118622" y="4549930"/>
                </a:cubicBezTo>
                <a:lnTo>
                  <a:pt x="1119242" y="4550033"/>
                </a:lnTo>
                <a:close/>
                <a:moveTo>
                  <a:pt x="1517016" y="4549310"/>
                </a:moveTo>
                <a:cubicBezTo>
                  <a:pt x="1517016" y="4549310"/>
                  <a:pt x="1518100" y="4549826"/>
                  <a:pt x="1519184" y="4550239"/>
                </a:cubicBezTo>
                <a:cubicBezTo>
                  <a:pt x="1520268" y="4550652"/>
                  <a:pt x="1521043" y="4550239"/>
                  <a:pt x="1521043" y="4550239"/>
                </a:cubicBezTo>
                <a:cubicBezTo>
                  <a:pt x="1522127" y="4550652"/>
                  <a:pt x="1522437" y="4551478"/>
                  <a:pt x="1521972" y="4552614"/>
                </a:cubicBezTo>
                <a:cubicBezTo>
                  <a:pt x="1521972" y="4552614"/>
                  <a:pt x="1520114" y="4552614"/>
                  <a:pt x="1520114" y="4552614"/>
                </a:cubicBezTo>
                <a:cubicBezTo>
                  <a:pt x="1517945" y="4551788"/>
                  <a:pt x="1516861" y="4551375"/>
                  <a:pt x="1515002" y="4551272"/>
                </a:cubicBezTo>
                <a:cubicBezTo>
                  <a:pt x="1515157" y="4549310"/>
                  <a:pt x="1515931" y="4548897"/>
                  <a:pt x="1517016" y="4549310"/>
                </a:cubicBezTo>
                <a:close/>
                <a:moveTo>
                  <a:pt x="872957" y="4549310"/>
                </a:moveTo>
                <a:cubicBezTo>
                  <a:pt x="872957" y="4549310"/>
                  <a:pt x="872957" y="4549310"/>
                  <a:pt x="873732" y="4549413"/>
                </a:cubicBezTo>
                <a:cubicBezTo>
                  <a:pt x="873112" y="4552821"/>
                  <a:pt x="874196" y="4557261"/>
                  <a:pt x="872647" y="4559842"/>
                </a:cubicBezTo>
                <a:cubicBezTo>
                  <a:pt x="872182" y="4560255"/>
                  <a:pt x="871872" y="4560668"/>
                  <a:pt x="871253" y="4560772"/>
                </a:cubicBezTo>
                <a:cubicBezTo>
                  <a:pt x="870788" y="4560875"/>
                  <a:pt x="870169" y="4560565"/>
                  <a:pt x="869239" y="4559739"/>
                </a:cubicBezTo>
                <a:cubicBezTo>
                  <a:pt x="867536" y="4558706"/>
                  <a:pt x="867536" y="4557880"/>
                  <a:pt x="869084" y="4555299"/>
                </a:cubicBezTo>
                <a:cubicBezTo>
                  <a:pt x="870633" y="4553647"/>
                  <a:pt x="871408" y="4551891"/>
                  <a:pt x="872182" y="4551995"/>
                </a:cubicBezTo>
                <a:cubicBezTo>
                  <a:pt x="872182" y="4551066"/>
                  <a:pt x="872957" y="4550239"/>
                  <a:pt x="872957" y="4549310"/>
                </a:cubicBezTo>
                <a:close/>
                <a:moveTo>
                  <a:pt x="5997536" y="4549225"/>
                </a:moveTo>
                <a:cubicBezTo>
                  <a:pt x="6000324" y="4550154"/>
                  <a:pt x="6002493" y="4548605"/>
                  <a:pt x="6006520" y="4550877"/>
                </a:cubicBezTo>
                <a:lnTo>
                  <a:pt x="6003887" y="4562338"/>
                </a:lnTo>
                <a:lnTo>
                  <a:pt x="6004352" y="4563887"/>
                </a:lnTo>
                <a:cubicBezTo>
                  <a:pt x="6004352" y="4564816"/>
                  <a:pt x="6004197" y="4565642"/>
                  <a:pt x="6003887" y="4566055"/>
                </a:cubicBezTo>
                <a:lnTo>
                  <a:pt x="6002957" y="4566468"/>
                </a:lnTo>
                <a:lnTo>
                  <a:pt x="6001409" y="4573490"/>
                </a:lnTo>
                <a:cubicBezTo>
                  <a:pt x="6000169" y="4580821"/>
                  <a:pt x="5998775" y="4587739"/>
                  <a:pt x="5996607" y="4594038"/>
                </a:cubicBezTo>
                <a:cubicBezTo>
                  <a:pt x="5989172" y="4582267"/>
                  <a:pt x="5995367" y="4564713"/>
                  <a:pt x="5997536" y="4549225"/>
                </a:cubicBezTo>
                <a:close/>
                <a:moveTo>
                  <a:pt x="6210402" y="4547585"/>
                </a:moveTo>
                <a:cubicBezTo>
                  <a:pt x="6212261" y="4545869"/>
                  <a:pt x="6214701" y="4545197"/>
                  <a:pt x="6216405" y="4547985"/>
                </a:cubicBezTo>
                <a:cubicBezTo>
                  <a:pt x="6216869" y="4548708"/>
                  <a:pt x="6216715" y="4549638"/>
                  <a:pt x="6216250" y="4550567"/>
                </a:cubicBezTo>
                <a:cubicBezTo>
                  <a:pt x="6215165" y="4552735"/>
                  <a:pt x="6212222" y="4554904"/>
                  <a:pt x="6209899" y="4554594"/>
                </a:cubicBezTo>
                <a:cubicBezTo>
                  <a:pt x="6209125" y="4554491"/>
                  <a:pt x="6208350" y="4554181"/>
                  <a:pt x="6207885" y="4553458"/>
                </a:cubicBezTo>
                <a:cubicBezTo>
                  <a:pt x="6207266" y="4552064"/>
                  <a:pt x="6208544" y="4549302"/>
                  <a:pt x="6210402" y="4547585"/>
                </a:cubicBezTo>
                <a:close/>
                <a:moveTo>
                  <a:pt x="975034" y="4547245"/>
                </a:moveTo>
                <a:cubicBezTo>
                  <a:pt x="975808" y="4546935"/>
                  <a:pt x="976737" y="4546522"/>
                  <a:pt x="976892" y="4547245"/>
                </a:cubicBezTo>
                <a:cubicBezTo>
                  <a:pt x="977047" y="4547658"/>
                  <a:pt x="976892" y="4547865"/>
                  <a:pt x="976582" y="4547968"/>
                </a:cubicBezTo>
                <a:cubicBezTo>
                  <a:pt x="976118" y="4548174"/>
                  <a:pt x="975653" y="4548174"/>
                  <a:pt x="975188" y="4547968"/>
                </a:cubicBezTo>
                <a:cubicBezTo>
                  <a:pt x="975188" y="4547968"/>
                  <a:pt x="975034" y="4547245"/>
                  <a:pt x="975034" y="4547245"/>
                </a:cubicBezTo>
                <a:close/>
                <a:moveTo>
                  <a:pt x="972710" y="4547038"/>
                </a:moveTo>
                <a:lnTo>
                  <a:pt x="973949" y="4547865"/>
                </a:lnTo>
                <a:lnTo>
                  <a:pt x="974569" y="4548174"/>
                </a:lnTo>
                <a:lnTo>
                  <a:pt x="974259" y="4548277"/>
                </a:lnTo>
                <a:lnTo>
                  <a:pt x="975808" y="4550033"/>
                </a:lnTo>
                <a:cubicBezTo>
                  <a:pt x="975808" y="4550033"/>
                  <a:pt x="976737" y="4550239"/>
                  <a:pt x="977512" y="4550446"/>
                </a:cubicBezTo>
                <a:cubicBezTo>
                  <a:pt x="979835" y="4552511"/>
                  <a:pt x="981384" y="4553544"/>
                  <a:pt x="980455" y="4556744"/>
                </a:cubicBezTo>
                <a:cubicBezTo>
                  <a:pt x="979525" y="4556641"/>
                  <a:pt x="977976" y="4554782"/>
                  <a:pt x="977202" y="4553750"/>
                </a:cubicBezTo>
                <a:cubicBezTo>
                  <a:pt x="976427" y="4553647"/>
                  <a:pt x="975653" y="4552717"/>
                  <a:pt x="975653" y="4551788"/>
                </a:cubicBezTo>
                <a:cubicBezTo>
                  <a:pt x="975653" y="4551788"/>
                  <a:pt x="974879" y="4550756"/>
                  <a:pt x="974104" y="4550652"/>
                </a:cubicBezTo>
                <a:lnTo>
                  <a:pt x="973175" y="4549000"/>
                </a:lnTo>
                <a:lnTo>
                  <a:pt x="973019" y="4549104"/>
                </a:lnTo>
                <a:cubicBezTo>
                  <a:pt x="972400" y="4549516"/>
                  <a:pt x="971780" y="4549723"/>
                  <a:pt x="971316" y="4549413"/>
                </a:cubicBezTo>
                <a:cubicBezTo>
                  <a:pt x="970696" y="4549207"/>
                  <a:pt x="970541" y="4549104"/>
                  <a:pt x="970386" y="4548897"/>
                </a:cubicBezTo>
                <a:cubicBezTo>
                  <a:pt x="970077" y="4548587"/>
                  <a:pt x="969922" y="4548174"/>
                  <a:pt x="969767" y="4547348"/>
                </a:cubicBezTo>
                <a:cubicBezTo>
                  <a:pt x="971161" y="4547245"/>
                  <a:pt x="971780" y="4547245"/>
                  <a:pt x="972400" y="4547348"/>
                </a:cubicBezTo>
                <a:lnTo>
                  <a:pt x="972710" y="4547451"/>
                </a:lnTo>
                <a:close/>
                <a:moveTo>
                  <a:pt x="1113046" y="4546315"/>
                </a:moveTo>
                <a:cubicBezTo>
                  <a:pt x="1113820" y="4547245"/>
                  <a:pt x="1113820" y="4547245"/>
                  <a:pt x="1113046" y="4547142"/>
                </a:cubicBezTo>
                <a:cubicBezTo>
                  <a:pt x="1113820" y="4549104"/>
                  <a:pt x="1113820" y="4549930"/>
                  <a:pt x="1113820" y="4550859"/>
                </a:cubicBezTo>
                <a:cubicBezTo>
                  <a:pt x="1113356" y="4551272"/>
                  <a:pt x="1112736" y="4551375"/>
                  <a:pt x="1111962" y="4551272"/>
                </a:cubicBezTo>
                <a:cubicBezTo>
                  <a:pt x="1111187" y="4551169"/>
                  <a:pt x="1110413" y="4550859"/>
                  <a:pt x="1109638" y="4550343"/>
                </a:cubicBezTo>
                <a:cubicBezTo>
                  <a:pt x="1110413" y="4549516"/>
                  <a:pt x="1109638" y="4547658"/>
                  <a:pt x="1110413" y="4546832"/>
                </a:cubicBezTo>
                <a:cubicBezTo>
                  <a:pt x="1110413" y="4546832"/>
                  <a:pt x="1113046" y="4546315"/>
                  <a:pt x="1113046" y="4546315"/>
                </a:cubicBezTo>
                <a:close/>
                <a:moveTo>
                  <a:pt x="5737465" y="4545817"/>
                </a:moveTo>
                <a:cubicBezTo>
                  <a:pt x="5744436" y="4548089"/>
                  <a:pt x="5747843" y="4547882"/>
                  <a:pt x="5753265" y="4550257"/>
                </a:cubicBezTo>
                <a:cubicBezTo>
                  <a:pt x="5753419" y="4551186"/>
                  <a:pt x="5752490" y="4551186"/>
                  <a:pt x="5752645" y="4552116"/>
                </a:cubicBezTo>
                <a:cubicBezTo>
                  <a:pt x="5752335" y="4552529"/>
                  <a:pt x="5751406" y="4552735"/>
                  <a:pt x="5750476" y="4552839"/>
                </a:cubicBezTo>
                <a:cubicBezTo>
                  <a:pt x="5747379" y="4552942"/>
                  <a:pt x="5742422" y="4551600"/>
                  <a:pt x="5742267" y="4550877"/>
                </a:cubicBezTo>
                <a:cubicBezTo>
                  <a:pt x="5741493" y="4550980"/>
                  <a:pt x="5741337" y="4550051"/>
                  <a:pt x="5740563" y="4550154"/>
                </a:cubicBezTo>
                <a:cubicBezTo>
                  <a:pt x="5740563" y="4550154"/>
                  <a:pt x="5739634" y="4550154"/>
                  <a:pt x="5738705" y="4549328"/>
                </a:cubicBezTo>
                <a:cubicBezTo>
                  <a:pt x="5737775" y="4548502"/>
                  <a:pt x="5736846" y="4547676"/>
                  <a:pt x="5737465" y="4545817"/>
                </a:cubicBezTo>
                <a:close/>
                <a:moveTo>
                  <a:pt x="813477" y="4545800"/>
                </a:moveTo>
                <a:cubicBezTo>
                  <a:pt x="816265" y="4548174"/>
                  <a:pt x="815800" y="4551995"/>
                  <a:pt x="822460" y="4552408"/>
                </a:cubicBezTo>
                <a:lnTo>
                  <a:pt x="819672" y="4555196"/>
                </a:lnTo>
                <a:lnTo>
                  <a:pt x="820292" y="4555196"/>
                </a:lnTo>
                <a:lnTo>
                  <a:pt x="817039" y="4559533"/>
                </a:lnTo>
                <a:lnTo>
                  <a:pt x="816729" y="4560772"/>
                </a:lnTo>
                <a:cubicBezTo>
                  <a:pt x="816729" y="4562114"/>
                  <a:pt x="816575" y="4563663"/>
                  <a:pt x="815180" y="4564799"/>
                </a:cubicBezTo>
                <a:lnTo>
                  <a:pt x="811308" y="4563353"/>
                </a:lnTo>
                <a:lnTo>
                  <a:pt x="810533" y="4563869"/>
                </a:lnTo>
                <a:cubicBezTo>
                  <a:pt x="806506" y="4565418"/>
                  <a:pt x="802324" y="4565934"/>
                  <a:pt x="799381" y="4565728"/>
                </a:cubicBezTo>
                <a:cubicBezTo>
                  <a:pt x="800311" y="4563559"/>
                  <a:pt x="801859" y="4561701"/>
                  <a:pt x="803563" y="4560152"/>
                </a:cubicBezTo>
                <a:lnTo>
                  <a:pt x="808055" y="4557157"/>
                </a:lnTo>
                <a:lnTo>
                  <a:pt x="807745" y="4554576"/>
                </a:lnTo>
                <a:lnTo>
                  <a:pt x="805267" y="4558397"/>
                </a:lnTo>
                <a:cubicBezTo>
                  <a:pt x="801085" y="4562734"/>
                  <a:pt x="795199" y="4563559"/>
                  <a:pt x="789312" y="4564385"/>
                </a:cubicBezTo>
                <a:cubicBezTo>
                  <a:pt x="789467" y="4560049"/>
                  <a:pt x="792411" y="4557054"/>
                  <a:pt x="796438" y="4555196"/>
                </a:cubicBezTo>
                <a:lnTo>
                  <a:pt x="807590" y="4553027"/>
                </a:lnTo>
                <a:lnTo>
                  <a:pt x="807590" y="4550446"/>
                </a:lnTo>
                <a:cubicBezTo>
                  <a:pt x="808985" y="4549310"/>
                  <a:pt x="810068" y="4549207"/>
                  <a:pt x="811153" y="4549723"/>
                </a:cubicBezTo>
                <a:lnTo>
                  <a:pt x="813012" y="4551066"/>
                </a:lnTo>
                <a:close/>
                <a:moveTo>
                  <a:pt x="1505553" y="4545696"/>
                </a:moveTo>
                <a:cubicBezTo>
                  <a:pt x="1510355" y="4546109"/>
                  <a:pt x="1512059" y="4548071"/>
                  <a:pt x="1510665" y="4551582"/>
                </a:cubicBezTo>
                <a:cubicBezTo>
                  <a:pt x="1509891" y="4551995"/>
                  <a:pt x="1507102" y="4552305"/>
                  <a:pt x="1507412" y="4553131"/>
                </a:cubicBezTo>
                <a:cubicBezTo>
                  <a:pt x="1505089" y="4552201"/>
                  <a:pt x="1502455" y="4550859"/>
                  <a:pt x="1501526" y="4549000"/>
                </a:cubicBezTo>
                <a:cubicBezTo>
                  <a:pt x="1501216" y="4548381"/>
                  <a:pt x="1501216" y="4547658"/>
                  <a:pt x="1501371" y="4546832"/>
                </a:cubicBezTo>
                <a:cubicBezTo>
                  <a:pt x="1501526" y="4544870"/>
                  <a:pt x="1503385" y="4544870"/>
                  <a:pt x="1505553" y="4545696"/>
                </a:cubicBezTo>
                <a:close/>
                <a:moveTo>
                  <a:pt x="979061" y="4545593"/>
                </a:moveTo>
                <a:cubicBezTo>
                  <a:pt x="980145" y="4545903"/>
                  <a:pt x="980145" y="4545903"/>
                  <a:pt x="980919" y="4545593"/>
                </a:cubicBezTo>
                <a:cubicBezTo>
                  <a:pt x="980919" y="4545593"/>
                  <a:pt x="980300" y="4546625"/>
                  <a:pt x="980300" y="4546625"/>
                </a:cubicBezTo>
                <a:cubicBezTo>
                  <a:pt x="979216" y="4546315"/>
                  <a:pt x="979525" y="4547038"/>
                  <a:pt x="979061" y="4545593"/>
                </a:cubicBezTo>
                <a:close/>
                <a:moveTo>
                  <a:pt x="6498625" y="4545507"/>
                </a:moveTo>
                <a:lnTo>
                  <a:pt x="6494753" y="4546850"/>
                </a:lnTo>
                <a:lnTo>
                  <a:pt x="6497386" y="4547572"/>
                </a:lnTo>
                <a:lnTo>
                  <a:pt x="6497696" y="4547366"/>
                </a:lnTo>
                <a:lnTo>
                  <a:pt x="6497696" y="4547263"/>
                </a:lnTo>
                <a:close/>
                <a:moveTo>
                  <a:pt x="6112934" y="4544888"/>
                </a:moveTo>
                <a:lnTo>
                  <a:pt x="6115567" y="4545817"/>
                </a:lnTo>
                <a:lnTo>
                  <a:pt x="6116032" y="4545507"/>
                </a:lnTo>
                <a:cubicBezTo>
                  <a:pt x="6119749" y="4544165"/>
                  <a:pt x="6123157" y="4547263"/>
                  <a:pt x="6122382" y="4550773"/>
                </a:cubicBezTo>
                <a:cubicBezTo>
                  <a:pt x="6122073" y="4552219"/>
                  <a:pt x="6120834" y="4553871"/>
                  <a:pt x="6118665" y="4555213"/>
                </a:cubicBezTo>
                <a:lnTo>
                  <a:pt x="6118046" y="4554801"/>
                </a:lnTo>
                <a:lnTo>
                  <a:pt x="6117581" y="4555936"/>
                </a:lnTo>
                <a:cubicBezTo>
                  <a:pt x="6116187" y="4557588"/>
                  <a:pt x="6114483" y="4558931"/>
                  <a:pt x="6112779" y="4560376"/>
                </a:cubicBezTo>
                <a:cubicBezTo>
                  <a:pt x="6101471" y="4558001"/>
                  <a:pt x="6110301" y="4550154"/>
                  <a:pt x="6112934" y="4544888"/>
                </a:cubicBezTo>
                <a:close/>
                <a:moveTo>
                  <a:pt x="1354685" y="4543424"/>
                </a:moveTo>
                <a:cubicBezTo>
                  <a:pt x="1357007" y="4545180"/>
                  <a:pt x="1357937" y="4545696"/>
                  <a:pt x="1359331" y="4546935"/>
                </a:cubicBezTo>
                <a:cubicBezTo>
                  <a:pt x="1360106" y="4546625"/>
                  <a:pt x="1360880" y="4546315"/>
                  <a:pt x="1361965" y="4546832"/>
                </a:cubicBezTo>
                <a:cubicBezTo>
                  <a:pt x="1363978" y="4547865"/>
                  <a:pt x="1363668" y="4549826"/>
                  <a:pt x="1364907" y="4551066"/>
                </a:cubicBezTo>
                <a:cubicBezTo>
                  <a:pt x="1364598" y="4551685"/>
                  <a:pt x="1364288" y="4552305"/>
                  <a:pt x="1363513" y="4552717"/>
                </a:cubicBezTo>
                <a:cubicBezTo>
                  <a:pt x="1362894" y="4553131"/>
                  <a:pt x="1361965" y="4553234"/>
                  <a:pt x="1361035" y="4552717"/>
                </a:cubicBezTo>
                <a:cubicBezTo>
                  <a:pt x="1358092" y="4552098"/>
                  <a:pt x="1357472" y="4549620"/>
                  <a:pt x="1357472" y="4546832"/>
                </a:cubicBezTo>
                <a:cubicBezTo>
                  <a:pt x="1356233" y="4545490"/>
                  <a:pt x="1354374" y="4545386"/>
                  <a:pt x="1354685" y="4543424"/>
                </a:cubicBezTo>
                <a:close/>
                <a:moveTo>
                  <a:pt x="5785638" y="4542926"/>
                </a:moveTo>
                <a:cubicBezTo>
                  <a:pt x="5788116" y="4542203"/>
                  <a:pt x="5793538" y="4543236"/>
                  <a:pt x="5795087" y="4547263"/>
                </a:cubicBezTo>
                <a:cubicBezTo>
                  <a:pt x="5793848" y="4549844"/>
                  <a:pt x="5792453" y="4551186"/>
                  <a:pt x="5790749" y="4551393"/>
                </a:cubicBezTo>
                <a:cubicBezTo>
                  <a:pt x="5789046" y="4551703"/>
                  <a:pt x="5787187" y="4550980"/>
                  <a:pt x="5785173" y="4549328"/>
                </a:cubicBezTo>
                <a:cubicBezTo>
                  <a:pt x="5785638" y="4547366"/>
                  <a:pt x="5785328" y="4545714"/>
                  <a:pt x="5785638" y="4542926"/>
                </a:cubicBezTo>
                <a:close/>
                <a:moveTo>
                  <a:pt x="994550" y="4542805"/>
                </a:moveTo>
                <a:cubicBezTo>
                  <a:pt x="993001" y="4543424"/>
                  <a:pt x="983862" y="4546315"/>
                  <a:pt x="981074" y="4545696"/>
                </a:cubicBezTo>
                <a:cubicBezTo>
                  <a:pt x="985257" y="4544870"/>
                  <a:pt x="990678" y="4541772"/>
                  <a:pt x="994550" y="4542805"/>
                </a:cubicBezTo>
                <a:close/>
                <a:moveTo>
                  <a:pt x="771035" y="4542702"/>
                </a:moveTo>
                <a:lnTo>
                  <a:pt x="776301" y="4544560"/>
                </a:lnTo>
                <a:lnTo>
                  <a:pt x="776766" y="4544044"/>
                </a:lnTo>
                <a:cubicBezTo>
                  <a:pt x="779555" y="4543528"/>
                  <a:pt x="782343" y="4547451"/>
                  <a:pt x="782497" y="4550756"/>
                </a:cubicBezTo>
                <a:lnTo>
                  <a:pt x="782033" y="4552821"/>
                </a:lnTo>
                <a:lnTo>
                  <a:pt x="782188" y="4553027"/>
                </a:lnTo>
                <a:cubicBezTo>
                  <a:pt x="781258" y="4555712"/>
                  <a:pt x="781103" y="4556435"/>
                  <a:pt x="778315" y="4556228"/>
                </a:cubicBezTo>
                <a:cubicBezTo>
                  <a:pt x="777540" y="4556125"/>
                  <a:pt x="776301" y="4556022"/>
                  <a:pt x="774753" y="4555712"/>
                </a:cubicBezTo>
                <a:cubicBezTo>
                  <a:pt x="773668" y="4555505"/>
                  <a:pt x="772584" y="4554886"/>
                  <a:pt x="771809" y="4554060"/>
                </a:cubicBezTo>
                <a:cubicBezTo>
                  <a:pt x="771035" y="4553234"/>
                  <a:pt x="770415" y="4552098"/>
                  <a:pt x="770260" y="4550756"/>
                </a:cubicBezTo>
                <a:cubicBezTo>
                  <a:pt x="768712" y="4549826"/>
                  <a:pt x="767627" y="4547658"/>
                  <a:pt x="767627" y="4545696"/>
                </a:cubicBezTo>
                <a:cubicBezTo>
                  <a:pt x="768402" y="4543321"/>
                  <a:pt x="769796" y="4542392"/>
                  <a:pt x="771035" y="4542702"/>
                </a:cubicBezTo>
                <a:close/>
                <a:moveTo>
                  <a:pt x="1352825" y="4542495"/>
                </a:moveTo>
                <a:cubicBezTo>
                  <a:pt x="1355303" y="4544664"/>
                  <a:pt x="1355924" y="4547451"/>
                  <a:pt x="1354064" y="4549723"/>
                </a:cubicBezTo>
                <a:cubicBezTo>
                  <a:pt x="1352361" y="4550343"/>
                  <a:pt x="1350657" y="4549207"/>
                  <a:pt x="1349108" y="4548071"/>
                </a:cubicBezTo>
                <a:cubicBezTo>
                  <a:pt x="1347869" y="4547038"/>
                  <a:pt x="1347559" y="4546006"/>
                  <a:pt x="1347714" y="4545180"/>
                </a:cubicBezTo>
                <a:cubicBezTo>
                  <a:pt x="1347869" y="4544354"/>
                  <a:pt x="1348489" y="4543528"/>
                  <a:pt x="1349418" y="4542805"/>
                </a:cubicBezTo>
                <a:cubicBezTo>
                  <a:pt x="1351276" y="4541359"/>
                  <a:pt x="1352825" y="4542495"/>
                  <a:pt x="1352825" y="4542495"/>
                </a:cubicBezTo>
                <a:close/>
                <a:moveTo>
                  <a:pt x="1419586" y="4542185"/>
                </a:moveTo>
                <a:cubicBezTo>
                  <a:pt x="1421290" y="4542599"/>
                  <a:pt x="1422219" y="4543528"/>
                  <a:pt x="1422683" y="4544560"/>
                </a:cubicBezTo>
                <a:lnTo>
                  <a:pt x="1423613" y="4543528"/>
                </a:lnTo>
                <a:cubicBezTo>
                  <a:pt x="1425007" y="4542908"/>
                  <a:pt x="1426401" y="4543011"/>
                  <a:pt x="1427795" y="4543528"/>
                </a:cubicBezTo>
                <a:cubicBezTo>
                  <a:pt x="1429034" y="4547348"/>
                  <a:pt x="1427021" y="4549516"/>
                  <a:pt x="1423923" y="4548897"/>
                </a:cubicBezTo>
                <a:lnTo>
                  <a:pt x="1423768" y="4548794"/>
                </a:lnTo>
                <a:lnTo>
                  <a:pt x="1424078" y="4550549"/>
                </a:lnTo>
                <a:cubicBezTo>
                  <a:pt x="1424388" y="4551066"/>
                  <a:pt x="1424852" y="4551478"/>
                  <a:pt x="1425627" y="4551995"/>
                </a:cubicBezTo>
                <a:cubicBezTo>
                  <a:pt x="1425627" y="4551995"/>
                  <a:pt x="1425627" y="4551995"/>
                  <a:pt x="1424852" y="4554370"/>
                </a:cubicBezTo>
                <a:lnTo>
                  <a:pt x="1424388" y="4554679"/>
                </a:lnTo>
                <a:cubicBezTo>
                  <a:pt x="1423923" y="4555918"/>
                  <a:pt x="1423148" y="4556228"/>
                  <a:pt x="1423304" y="4556951"/>
                </a:cubicBezTo>
                <a:cubicBezTo>
                  <a:pt x="1421754" y="4556228"/>
                  <a:pt x="1420980" y="4555196"/>
                  <a:pt x="1420670" y="4554060"/>
                </a:cubicBezTo>
                <a:cubicBezTo>
                  <a:pt x="1420205" y="4552821"/>
                  <a:pt x="1420205" y="4551478"/>
                  <a:pt x="1420360" y="4550033"/>
                </a:cubicBezTo>
                <a:lnTo>
                  <a:pt x="1420360" y="4547968"/>
                </a:lnTo>
                <a:lnTo>
                  <a:pt x="1420205" y="4547658"/>
                </a:lnTo>
                <a:lnTo>
                  <a:pt x="1419121" y="4546006"/>
                </a:lnTo>
                <a:cubicBezTo>
                  <a:pt x="1419121" y="4546006"/>
                  <a:pt x="1419121" y="4546006"/>
                  <a:pt x="1419121" y="4545800"/>
                </a:cubicBezTo>
                <a:lnTo>
                  <a:pt x="1419276" y="4545490"/>
                </a:lnTo>
                <a:lnTo>
                  <a:pt x="1418811" y="4544560"/>
                </a:lnTo>
                <a:cubicBezTo>
                  <a:pt x="1419276" y="4543321"/>
                  <a:pt x="1419896" y="4542908"/>
                  <a:pt x="1419586" y="4542185"/>
                </a:cubicBezTo>
                <a:close/>
                <a:moveTo>
                  <a:pt x="5865565" y="4541997"/>
                </a:moveTo>
                <a:cubicBezTo>
                  <a:pt x="5867733" y="4540138"/>
                  <a:pt x="5874858" y="4543959"/>
                  <a:pt x="5877646" y="4546437"/>
                </a:cubicBezTo>
                <a:cubicBezTo>
                  <a:pt x="5877182" y="4546850"/>
                  <a:pt x="5876253" y="4546953"/>
                  <a:pt x="5875168" y="4546746"/>
                </a:cubicBezTo>
                <a:cubicBezTo>
                  <a:pt x="5872225" y="4546334"/>
                  <a:pt x="5867733" y="4543752"/>
                  <a:pt x="5865565" y="4541997"/>
                </a:cubicBezTo>
                <a:close/>
                <a:moveTo>
                  <a:pt x="686462" y="4541979"/>
                </a:moveTo>
                <a:cubicBezTo>
                  <a:pt x="687391" y="4540327"/>
                  <a:pt x="689714" y="4543321"/>
                  <a:pt x="690644" y="4543528"/>
                </a:cubicBezTo>
                <a:cubicBezTo>
                  <a:pt x="691418" y="4544457"/>
                  <a:pt x="692038" y="4545490"/>
                  <a:pt x="691264" y="4546212"/>
                </a:cubicBezTo>
                <a:cubicBezTo>
                  <a:pt x="690799" y="4546522"/>
                  <a:pt x="690644" y="4546935"/>
                  <a:pt x="690179" y="4547142"/>
                </a:cubicBezTo>
                <a:cubicBezTo>
                  <a:pt x="689869" y="4547245"/>
                  <a:pt x="689560" y="4547245"/>
                  <a:pt x="688630" y="4546625"/>
                </a:cubicBezTo>
                <a:cubicBezTo>
                  <a:pt x="687855" y="4546522"/>
                  <a:pt x="687081" y="4545490"/>
                  <a:pt x="686307" y="4545386"/>
                </a:cubicBezTo>
                <a:cubicBezTo>
                  <a:pt x="686307" y="4545386"/>
                  <a:pt x="685997" y="4544767"/>
                  <a:pt x="685997" y="4543941"/>
                </a:cubicBezTo>
                <a:cubicBezTo>
                  <a:pt x="685997" y="4543218"/>
                  <a:pt x="685997" y="4542289"/>
                  <a:pt x="686462" y="4541979"/>
                </a:cubicBezTo>
                <a:close/>
                <a:moveTo>
                  <a:pt x="1522747" y="4541772"/>
                </a:moveTo>
                <a:cubicBezTo>
                  <a:pt x="1525070" y="4541049"/>
                  <a:pt x="1526155" y="4542702"/>
                  <a:pt x="1526619" y="4543941"/>
                </a:cubicBezTo>
                <a:cubicBezTo>
                  <a:pt x="1527549" y="4544973"/>
                  <a:pt x="1527703" y="4546315"/>
                  <a:pt x="1527394" y="4547555"/>
                </a:cubicBezTo>
                <a:lnTo>
                  <a:pt x="1525686" y="4550237"/>
                </a:lnTo>
                <a:lnTo>
                  <a:pt x="1524140" y="4549310"/>
                </a:lnTo>
                <a:cubicBezTo>
                  <a:pt x="1524140" y="4549310"/>
                  <a:pt x="1524915" y="4549723"/>
                  <a:pt x="1523676" y="4550033"/>
                </a:cubicBezTo>
                <a:cubicBezTo>
                  <a:pt x="1524140" y="4549310"/>
                  <a:pt x="1523366" y="4548897"/>
                  <a:pt x="1522592" y="4548484"/>
                </a:cubicBezTo>
                <a:cubicBezTo>
                  <a:pt x="1521662" y="4546109"/>
                  <a:pt x="1521198" y="4542908"/>
                  <a:pt x="1522747" y="4541772"/>
                </a:cubicBezTo>
                <a:close/>
                <a:moveTo>
                  <a:pt x="5773343" y="4541196"/>
                </a:moveTo>
                <a:cubicBezTo>
                  <a:pt x="5777699" y="4541661"/>
                  <a:pt x="5781068" y="4544113"/>
                  <a:pt x="5780216" y="4548502"/>
                </a:cubicBezTo>
                <a:cubicBezTo>
                  <a:pt x="5780062" y="4549741"/>
                  <a:pt x="5779442" y="4551186"/>
                  <a:pt x="5778513" y="4552735"/>
                </a:cubicBezTo>
                <a:cubicBezTo>
                  <a:pt x="5776964" y="4552839"/>
                  <a:pt x="5775260" y="4553045"/>
                  <a:pt x="5773401" y="4553148"/>
                </a:cubicBezTo>
                <a:cubicBezTo>
                  <a:pt x="5772007" y="4553252"/>
                  <a:pt x="5770613" y="4553355"/>
                  <a:pt x="5769219" y="4553252"/>
                </a:cubicBezTo>
                <a:cubicBezTo>
                  <a:pt x="5765192" y="4552942"/>
                  <a:pt x="5761474" y="4551393"/>
                  <a:pt x="5760545" y="4545817"/>
                </a:cubicBezTo>
                <a:cubicBezTo>
                  <a:pt x="5763643" y="4542255"/>
                  <a:pt x="5768986" y="4540732"/>
                  <a:pt x="5773343" y="4541196"/>
                </a:cubicBezTo>
                <a:close/>
                <a:moveTo>
                  <a:pt x="6468731" y="4541067"/>
                </a:moveTo>
                <a:lnTo>
                  <a:pt x="6466872" y="4541790"/>
                </a:lnTo>
                <a:lnTo>
                  <a:pt x="6466252" y="4546437"/>
                </a:lnTo>
                <a:cubicBezTo>
                  <a:pt x="6465168" y="4548502"/>
                  <a:pt x="6463619" y="4550154"/>
                  <a:pt x="6461141" y="4550773"/>
                </a:cubicBezTo>
                <a:cubicBezTo>
                  <a:pt x="6460211" y="4548708"/>
                  <a:pt x="6459902" y="4546953"/>
                  <a:pt x="6459902" y="4545507"/>
                </a:cubicBezTo>
                <a:lnTo>
                  <a:pt x="6460676" y="4542203"/>
                </a:lnTo>
                <a:lnTo>
                  <a:pt x="6460366" y="4542203"/>
                </a:lnTo>
                <a:lnTo>
                  <a:pt x="6458043" y="4542513"/>
                </a:lnTo>
                <a:lnTo>
                  <a:pt x="6458972" y="4542823"/>
                </a:lnTo>
                <a:lnTo>
                  <a:pt x="6454170" y="4547056"/>
                </a:lnTo>
                <a:lnTo>
                  <a:pt x="6457733" y="4548502"/>
                </a:lnTo>
                <a:cubicBezTo>
                  <a:pt x="6458663" y="4549225"/>
                  <a:pt x="6459592" y="4550051"/>
                  <a:pt x="6459747" y="4550980"/>
                </a:cubicBezTo>
                <a:cubicBezTo>
                  <a:pt x="6459282" y="4553355"/>
                  <a:pt x="6457423" y="4553562"/>
                  <a:pt x="6456339" y="4553252"/>
                </a:cubicBezTo>
                <a:cubicBezTo>
                  <a:pt x="6455100" y="4553562"/>
                  <a:pt x="6453861" y="4552942"/>
                  <a:pt x="6452931" y="4551909"/>
                </a:cubicBezTo>
                <a:lnTo>
                  <a:pt x="6451537" y="4549328"/>
                </a:lnTo>
                <a:lnTo>
                  <a:pt x="6449678" y="4551083"/>
                </a:lnTo>
                <a:cubicBezTo>
                  <a:pt x="6446735" y="4553562"/>
                  <a:pt x="6443638" y="4555833"/>
                  <a:pt x="6440695" y="4558001"/>
                </a:cubicBezTo>
                <a:lnTo>
                  <a:pt x="6434963" y="4561719"/>
                </a:lnTo>
                <a:lnTo>
                  <a:pt x="6436048" y="4561822"/>
                </a:lnTo>
                <a:cubicBezTo>
                  <a:pt x="6439765" y="4561512"/>
                  <a:pt x="6444102" y="4561306"/>
                  <a:pt x="6447510" y="4560067"/>
                </a:cubicBezTo>
                <a:cubicBezTo>
                  <a:pt x="6459902" y="4561719"/>
                  <a:pt x="6468731" y="4561409"/>
                  <a:pt x="6477715" y="4560376"/>
                </a:cubicBezTo>
                <a:lnTo>
                  <a:pt x="6484530" y="4558828"/>
                </a:lnTo>
                <a:lnTo>
                  <a:pt x="6484840" y="4558621"/>
                </a:lnTo>
                <a:lnTo>
                  <a:pt x="6492895" y="4551600"/>
                </a:lnTo>
                <a:lnTo>
                  <a:pt x="6490881" y="4551703"/>
                </a:lnTo>
                <a:cubicBezTo>
                  <a:pt x="6489022" y="4547676"/>
                  <a:pt x="6491191" y="4544991"/>
                  <a:pt x="6487783" y="4544991"/>
                </a:cubicBezTo>
                <a:lnTo>
                  <a:pt x="6487628" y="4544991"/>
                </a:lnTo>
                <a:lnTo>
                  <a:pt x="6484530" y="4549844"/>
                </a:lnTo>
                <a:cubicBezTo>
                  <a:pt x="6482671" y="4551083"/>
                  <a:pt x="6480503" y="4551703"/>
                  <a:pt x="6478954" y="4552116"/>
                </a:cubicBezTo>
                <a:lnTo>
                  <a:pt x="6478334" y="4552322"/>
                </a:lnTo>
                <a:lnTo>
                  <a:pt x="6477560" y="4553045"/>
                </a:lnTo>
                <a:lnTo>
                  <a:pt x="6477715" y="4553355"/>
                </a:lnTo>
                <a:lnTo>
                  <a:pt x="6477405" y="4553252"/>
                </a:lnTo>
                <a:lnTo>
                  <a:pt x="6475856" y="4554697"/>
                </a:lnTo>
                <a:lnTo>
                  <a:pt x="6474772" y="4553458"/>
                </a:lnTo>
                <a:lnTo>
                  <a:pt x="6472138" y="4553148"/>
                </a:lnTo>
                <a:cubicBezTo>
                  <a:pt x="6471364" y="4552942"/>
                  <a:pt x="6470899" y="4552322"/>
                  <a:pt x="6471209" y="4551083"/>
                </a:cubicBezTo>
                <a:cubicBezTo>
                  <a:pt x="6470745" y="4549121"/>
                  <a:pt x="6472758" y="4549018"/>
                  <a:pt x="6473068" y="4546643"/>
                </a:cubicBezTo>
                <a:cubicBezTo>
                  <a:pt x="6473068" y="4544372"/>
                  <a:pt x="6470899" y="4543133"/>
                  <a:pt x="6468886" y="4541274"/>
                </a:cubicBezTo>
                <a:close/>
                <a:moveTo>
                  <a:pt x="5950757" y="4539518"/>
                </a:moveTo>
                <a:cubicBezTo>
                  <a:pt x="5948434" y="4541377"/>
                  <a:pt x="5947814" y="4542306"/>
                  <a:pt x="5946265" y="4543339"/>
                </a:cubicBezTo>
                <a:cubicBezTo>
                  <a:pt x="5946265" y="4544165"/>
                  <a:pt x="5946421" y="4544991"/>
                  <a:pt x="5945646" y="4545920"/>
                </a:cubicBezTo>
                <a:cubicBezTo>
                  <a:pt x="5944252" y="4547676"/>
                  <a:pt x="5942548" y="4546953"/>
                  <a:pt x="5940844" y="4547882"/>
                </a:cubicBezTo>
                <a:cubicBezTo>
                  <a:pt x="5939915" y="4547056"/>
                  <a:pt x="5938830" y="4545404"/>
                  <a:pt x="5940224" y="4543649"/>
                </a:cubicBezTo>
                <a:cubicBezTo>
                  <a:pt x="5941619" y="4540964"/>
                  <a:pt x="5944097" y="4540758"/>
                  <a:pt x="5946730" y="4541480"/>
                </a:cubicBezTo>
                <a:cubicBezTo>
                  <a:pt x="5948279" y="4540551"/>
                  <a:pt x="5949053" y="4538796"/>
                  <a:pt x="5950757" y="4539518"/>
                </a:cubicBezTo>
                <a:close/>
                <a:moveTo>
                  <a:pt x="1007561" y="4539294"/>
                </a:moveTo>
                <a:cubicBezTo>
                  <a:pt x="1006168" y="4540740"/>
                  <a:pt x="1003379" y="4542805"/>
                  <a:pt x="1001366" y="4541876"/>
                </a:cubicBezTo>
                <a:cubicBezTo>
                  <a:pt x="1001366" y="4541876"/>
                  <a:pt x="1001211" y="4541876"/>
                  <a:pt x="1000282" y="4541463"/>
                </a:cubicBezTo>
                <a:cubicBezTo>
                  <a:pt x="1002605" y="4540533"/>
                  <a:pt x="1005703" y="4539191"/>
                  <a:pt x="1007561" y="4539294"/>
                </a:cubicBezTo>
                <a:close/>
                <a:moveTo>
                  <a:pt x="1802025" y="4539191"/>
                </a:moveTo>
                <a:cubicBezTo>
                  <a:pt x="1802025" y="4539191"/>
                  <a:pt x="1802025" y="4539191"/>
                  <a:pt x="1798307" y="4543941"/>
                </a:cubicBezTo>
                <a:cubicBezTo>
                  <a:pt x="1797843" y="4543424"/>
                  <a:pt x="1797997" y="4542908"/>
                  <a:pt x="1798152" y="4542495"/>
                </a:cubicBezTo>
                <a:cubicBezTo>
                  <a:pt x="1798462" y="4542082"/>
                  <a:pt x="1798927" y="4541772"/>
                  <a:pt x="1799392" y="4541463"/>
                </a:cubicBezTo>
                <a:cubicBezTo>
                  <a:pt x="1800321" y="4540740"/>
                  <a:pt x="1801095" y="4539914"/>
                  <a:pt x="1802025" y="4539191"/>
                </a:cubicBezTo>
                <a:close/>
                <a:moveTo>
                  <a:pt x="6467027" y="4539105"/>
                </a:moveTo>
                <a:lnTo>
                  <a:pt x="6466872" y="4539209"/>
                </a:lnTo>
                <a:lnTo>
                  <a:pt x="6467027" y="4539828"/>
                </a:lnTo>
                <a:lnTo>
                  <a:pt x="6467027" y="4540035"/>
                </a:lnTo>
                <a:lnTo>
                  <a:pt x="6467956" y="4540035"/>
                </a:lnTo>
                <a:close/>
                <a:moveTo>
                  <a:pt x="1629780" y="4538984"/>
                </a:moveTo>
                <a:cubicBezTo>
                  <a:pt x="1629315" y="4540843"/>
                  <a:pt x="1629006" y="4542805"/>
                  <a:pt x="1628541" y="4544664"/>
                </a:cubicBezTo>
                <a:cubicBezTo>
                  <a:pt x="1628386" y="4543838"/>
                  <a:pt x="1621416" y="4548174"/>
                  <a:pt x="1621416" y="4548174"/>
                </a:cubicBezTo>
                <a:cubicBezTo>
                  <a:pt x="1620332" y="4547658"/>
                  <a:pt x="1619867" y="4547451"/>
                  <a:pt x="1619712" y="4546935"/>
                </a:cubicBezTo>
                <a:cubicBezTo>
                  <a:pt x="1619712" y="4546419"/>
                  <a:pt x="1619867" y="4545593"/>
                  <a:pt x="1620332" y="4544147"/>
                </a:cubicBezTo>
                <a:cubicBezTo>
                  <a:pt x="1620951" y="4543011"/>
                  <a:pt x="1622655" y="4541669"/>
                  <a:pt x="1624514" y="4540533"/>
                </a:cubicBezTo>
                <a:cubicBezTo>
                  <a:pt x="1626372" y="4539398"/>
                  <a:pt x="1628386" y="4538675"/>
                  <a:pt x="1629780" y="4538984"/>
                </a:cubicBezTo>
                <a:close/>
                <a:moveTo>
                  <a:pt x="5822039" y="4537970"/>
                </a:moveTo>
                <a:cubicBezTo>
                  <a:pt x="5825291" y="4547882"/>
                  <a:pt x="5833036" y="4554491"/>
                  <a:pt x="5831487" y="4560376"/>
                </a:cubicBezTo>
                <a:cubicBezTo>
                  <a:pt x="5831023" y="4562338"/>
                  <a:pt x="5829474" y="4564300"/>
                  <a:pt x="5826376" y="4566159"/>
                </a:cubicBezTo>
                <a:cubicBezTo>
                  <a:pt x="5822503" y="4563061"/>
                  <a:pt x="5813364" y="4550051"/>
                  <a:pt x="5815533" y="4542823"/>
                </a:cubicBezTo>
                <a:cubicBezTo>
                  <a:pt x="5816152" y="4540344"/>
                  <a:pt x="5818166" y="4538589"/>
                  <a:pt x="5822039" y="4537970"/>
                </a:cubicBezTo>
                <a:close/>
                <a:moveTo>
                  <a:pt x="866606" y="4537848"/>
                </a:moveTo>
                <a:cubicBezTo>
                  <a:pt x="864127" y="4539501"/>
                  <a:pt x="863353" y="4540327"/>
                  <a:pt x="861649" y="4541153"/>
                </a:cubicBezTo>
                <a:cubicBezTo>
                  <a:pt x="861649" y="4541979"/>
                  <a:pt x="861649" y="4542805"/>
                  <a:pt x="860875" y="4543631"/>
                </a:cubicBezTo>
                <a:lnTo>
                  <a:pt x="859325" y="4544250"/>
                </a:lnTo>
                <a:lnTo>
                  <a:pt x="859636" y="4545386"/>
                </a:lnTo>
                <a:cubicBezTo>
                  <a:pt x="859946" y="4546212"/>
                  <a:pt x="860255" y="4546935"/>
                  <a:pt x="860875" y="4547761"/>
                </a:cubicBezTo>
                <a:cubicBezTo>
                  <a:pt x="858241" y="4548277"/>
                  <a:pt x="856383" y="4549104"/>
                  <a:pt x="854679" y="4549826"/>
                </a:cubicBezTo>
                <a:lnTo>
                  <a:pt x="852046" y="4550239"/>
                </a:lnTo>
                <a:lnTo>
                  <a:pt x="852046" y="4550549"/>
                </a:lnTo>
                <a:cubicBezTo>
                  <a:pt x="851736" y="4552305"/>
                  <a:pt x="850962" y="4553853"/>
                  <a:pt x="849567" y="4555196"/>
                </a:cubicBezTo>
                <a:lnTo>
                  <a:pt x="848174" y="4556125"/>
                </a:lnTo>
                <a:cubicBezTo>
                  <a:pt x="850032" y="4558500"/>
                  <a:pt x="850032" y="4562837"/>
                  <a:pt x="846314" y="4566141"/>
                </a:cubicBezTo>
                <a:cubicBezTo>
                  <a:pt x="842907" y="4566038"/>
                  <a:pt x="840583" y="4564799"/>
                  <a:pt x="839035" y="4564076"/>
                </a:cubicBezTo>
                <a:lnTo>
                  <a:pt x="839190" y="4558087"/>
                </a:lnTo>
                <a:lnTo>
                  <a:pt x="834543" y="4554886"/>
                </a:lnTo>
                <a:cubicBezTo>
                  <a:pt x="834697" y="4548690"/>
                  <a:pt x="843991" y="4542392"/>
                  <a:pt x="848793" y="4542908"/>
                </a:cubicBezTo>
                <a:lnTo>
                  <a:pt x="850497" y="4545283"/>
                </a:lnTo>
                <a:lnTo>
                  <a:pt x="851426" y="4544767"/>
                </a:lnTo>
                <a:lnTo>
                  <a:pt x="855144" y="4543631"/>
                </a:lnTo>
                <a:lnTo>
                  <a:pt x="854834" y="4543218"/>
                </a:lnTo>
                <a:cubicBezTo>
                  <a:pt x="854679" y="4542495"/>
                  <a:pt x="854989" y="4541566"/>
                  <a:pt x="855763" y="4540843"/>
                </a:cubicBezTo>
                <a:cubicBezTo>
                  <a:pt x="857313" y="4538262"/>
                  <a:pt x="859791" y="4538468"/>
                  <a:pt x="862424" y="4539398"/>
                </a:cubicBezTo>
                <a:cubicBezTo>
                  <a:pt x="864127" y="4538675"/>
                  <a:pt x="864902" y="4536919"/>
                  <a:pt x="866606" y="4537848"/>
                </a:cubicBezTo>
                <a:close/>
                <a:moveTo>
                  <a:pt x="891854" y="4537745"/>
                </a:moveTo>
                <a:cubicBezTo>
                  <a:pt x="894797" y="4538158"/>
                  <a:pt x="894177" y="4541256"/>
                  <a:pt x="894642" y="4544767"/>
                </a:cubicBezTo>
                <a:cubicBezTo>
                  <a:pt x="893558" y="4544354"/>
                  <a:pt x="892938" y="4545490"/>
                  <a:pt x="892474" y="4546625"/>
                </a:cubicBezTo>
                <a:cubicBezTo>
                  <a:pt x="890925" y="4546109"/>
                  <a:pt x="888291" y="4545490"/>
                  <a:pt x="887826" y="4543321"/>
                </a:cubicBezTo>
                <a:cubicBezTo>
                  <a:pt x="887672" y="4542599"/>
                  <a:pt x="887826" y="4541669"/>
                  <a:pt x="888291" y="4540430"/>
                </a:cubicBezTo>
                <a:cubicBezTo>
                  <a:pt x="887981" y="4539707"/>
                  <a:pt x="890770" y="4537333"/>
                  <a:pt x="891854" y="4537745"/>
                </a:cubicBezTo>
                <a:close/>
                <a:moveTo>
                  <a:pt x="806971" y="4537229"/>
                </a:moveTo>
                <a:cubicBezTo>
                  <a:pt x="808520" y="4539294"/>
                  <a:pt x="806661" y="4541566"/>
                  <a:pt x="805732" y="4541463"/>
                </a:cubicBezTo>
                <a:cubicBezTo>
                  <a:pt x="804957" y="4540430"/>
                  <a:pt x="805112" y="4538675"/>
                  <a:pt x="804182" y="4537745"/>
                </a:cubicBezTo>
                <a:cubicBezTo>
                  <a:pt x="805112" y="4537848"/>
                  <a:pt x="806042" y="4537126"/>
                  <a:pt x="806971" y="4537229"/>
                </a:cubicBezTo>
                <a:close/>
                <a:moveTo>
                  <a:pt x="5846202" y="4537040"/>
                </a:moveTo>
                <a:cubicBezTo>
                  <a:pt x="5847132" y="4537867"/>
                  <a:pt x="5848061" y="4538693"/>
                  <a:pt x="5848371" y="4540448"/>
                </a:cubicBezTo>
                <a:cubicBezTo>
                  <a:pt x="5846977" y="4542306"/>
                  <a:pt x="5844344" y="4541584"/>
                  <a:pt x="5843569" y="4542513"/>
                </a:cubicBezTo>
                <a:cubicBezTo>
                  <a:pt x="5843569" y="4541584"/>
                  <a:pt x="5843260" y="4539932"/>
                  <a:pt x="5841555" y="4539105"/>
                </a:cubicBezTo>
                <a:cubicBezTo>
                  <a:pt x="5842950" y="4537247"/>
                  <a:pt x="5844344" y="4535388"/>
                  <a:pt x="5846202" y="4537040"/>
                </a:cubicBezTo>
                <a:close/>
                <a:moveTo>
                  <a:pt x="1159205" y="4536609"/>
                </a:moveTo>
                <a:cubicBezTo>
                  <a:pt x="1159205" y="4536609"/>
                  <a:pt x="1159360" y="4536609"/>
                  <a:pt x="1159824" y="4536816"/>
                </a:cubicBezTo>
                <a:lnTo>
                  <a:pt x="1160599" y="4537745"/>
                </a:lnTo>
                <a:lnTo>
                  <a:pt x="1163232" y="4537022"/>
                </a:lnTo>
                <a:cubicBezTo>
                  <a:pt x="1166795" y="4540430"/>
                  <a:pt x="1165711" y="4545386"/>
                  <a:pt x="1162613" y="4547968"/>
                </a:cubicBezTo>
                <a:lnTo>
                  <a:pt x="1161374" y="4548587"/>
                </a:lnTo>
                <a:lnTo>
                  <a:pt x="1161993" y="4550549"/>
                </a:lnTo>
                <a:cubicBezTo>
                  <a:pt x="1162458" y="4551169"/>
                  <a:pt x="1162923" y="4551582"/>
                  <a:pt x="1163697" y="4552098"/>
                </a:cubicBezTo>
                <a:cubicBezTo>
                  <a:pt x="1163697" y="4552098"/>
                  <a:pt x="1163852" y="4552098"/>
                  <a:pt x="1163387" y="4554473"/>
                </a:cubicBezTo>
                <a:lnTo>
                  <a:pt x="1162767" y="4554886"/>
                </a:lnTo>
                <a:cubicBezTo>
                  <a:pt x="1162303" y="4554989"/>
                  <a:pt x="1161684" y="4554473"/>
                  <a:pt x="1161064" y="4553647"/>
                </a:cubicBezTo>
                <a:cubicBezTo>
                  <a:pt x="1160134" y="4552511"/>
                  <a:pt x="1159205" y="4550756"/>
                  <a:pt x="1158431" y="4549207"/>
                </a:cubicBezTo>
                <a:lnTo>
                  <a:pt x="1158275" y="4549000"/>
                </a:lnTo>
                <a:lnTo>
                  <a:pt x="1155177" y="4545490"/>
                </a:lnTo>
                <a:cubicBezTo>
                  <a:pt x="1154713" y="4544044"/>
                  <a:pt x="1155023" y="4542599"/>
                  <a:pt x="1155798" y="4541359"/>
                </a:cubicBezTo>
                <a:lnTo>
                  <a:pt x="1159050" y="4538158"/>
                </a:lnTo>
                <a:lnTo>
                  <a:pt x="1158741" y="4537952"/>
                </a:lnTo>
                <a:cubicBezTo>
                  <a:pt x="1158586" y="4537539"/>
                  <a:pt x="1158741" y="4537022"/>
                  <a:pt x="1159205" y="4536609"/>
                </a:cubicBezTo>
                <a:close/>
                <a:moveTo>
                  <a:pt x="971471" y="4536403"/>
                </a:moveTo>
                <a:cubicBezTo>
                  <a:pt x="971471" y="4536403"/>
                  <a:pt x="972555" y="4536713"/>
                  <a:pt x="972555" y="4536713"/>
                </a:cubicBezTo>
                <a:cubicBezTo>
                  <a:pt x="976737" y="4537126"/>
                  <a:pt x="980455" y="4540637"/>
                  <a:pt x="980455" y="4542495"/>
                </a:cubicBezTo>
                <a:cubicBezTo>
                  <a:pt x="979990" y="4544354"/>
                  <a:pt x="978441" y="4546212"/>
                  <a:pt x="976272" y="4546729"/>
                </a:cubicBezTo>
                <a:cubicBezTo>
                  <a:pt x="975498" y="4546935"/>
                  <a:pt x="974724" y="4546935"/>
                  <a:pt x="973794" y="4546729"/>
                </a:cubicBezTo>
                <a:cubicBezTo>
                  <a:pt x="970851" y="4546625"/>
                  <a:pt x="969302" y="4543631"/>
                  <a:pt x="965894" y="4542805"/>
                </a:cubicBezTo>
                <a:cubicBezTo>
                  <a:pt x="966669" y="4538468"/>
                  <a:pt x="966979" y="4537229"/>
                  <a:pt x="971471" y="4536403"/>
                </a:cubicBezTo>
                <a:close/>
                <a:moveTo>
                  <a:pt x="6043231" y="4536317"/>
                </a:moveTo>
                <a:cubicBezTo>
                  <a:pt x="6049271" y="4534046"/>
                  <a:pt x="6055312" y="4534975"/>
                  <a:pt x="6060269" y="4537867"/>
                </a:cubicBezTo>
                <a:cubicBezTo>
                  <a:pt x="6068789" y="4542513"/>
                  <a:pt x="6074520" y="4552735"/>
                  <a:pt x="6073745" y="4563268"/>
                </a:cubicBezTo>
                <a:cubicBezTo>
                  <a:pt x="6072661" y="4563474"/>
                  <a:pt x="6071422" y="4563680"/>
                  <a:pt x="6071886" y="4564919"/>
                </a:cubicBezTo>
                <a:cubicBezTo>
                  <a:pt x="6070028" y="4565436"/>
                  <a:pt x="6068169" y="4565642"/>
                  <a:pt x="6066310" y="4565539"/>
                </a:cubicBezTo>
                <a:cubicBezTo>
                  <a:pt x="6053144" y="4564713"/>
                  <a:pt x="6039513" y="4549328"/>
                  <a:pt x="6043231" y="4536317"/>
                </a:cubicBezTo>
                <a:close/>
                <a:moveTo>
                  <a:pt x="1030331" y="4536300"/>
                </a:moveTo>
                <a:cubicBezTo>
                  <a:pt x="1032035" y="4535267"/>
                  <a:pt x="1032655" y="4535783"/>
                  <a:pt x="1033739" y="4538571"/>
                </a:cubicBezTo>
                <a:cubicBezTo>
                  <a:pt x="1034204" y="4540946"/>
                  <a:pt x="1035133" y="4542599"/>
                  <a:pt x="1034513" y="4543424"/>
                </a:cubicBezTo>
                <a:cubicBezTo>
                  <a:pt x="1035288" y="4543838"/>
                  <a:pt x="1035443" y="4544973"/>
                  <a:pt x="1036217" y="4545490"/>
                </a:cubicBezTo>
                <a:cubicBezTo>
                  <a:pt x="1036217" y="4545490"/>
                  <a:pt x="1036217" y="4545490"/>
                  <a:pt x="1035752" y="4546212"/>
                </a:cubicBezTo>
                <a:cubicBezTo>
                  <a:pt x="1033429" y="4543734"/>
                  <a:pt x="1029557" y="4542185"/>
                  <a:pt x="1028317" y="4539398"/>
                </a:cubicBezTo>
                <a:cubicBezTo>
                  <a:pt x="1028317" y="4538778"/>
                  <a:pt x="1028162" y="4538158"/>
                  <a:pt x="1028317" y="4537642"/>
                </a:cubicBezTo>
                <a:cubicBezTo>
                  <a:pt x="1028628" y="4537126"/>
                  <a:pt x="1029092" y="4536609"/>
                  <a:pt x="1030331" y="4536300"/>
                </a:cubicBezTo>
                <a:close/>
                <a:moveTo>
                  <a:pt x="6486079" y="4536111"/>
                </a:moveTo>
                <a:lnTo>
                  <a:pt x="6482981" y="4536214"/>
                </a:lnTo>
                <a:lnTo>
                  <a:pt x="6484375" y="4540241"/>
                </a:lnTo>
                <a:cubicBezTo>
                  <a:pt x="6483911" y="4539415"/>
                  <a:pt x="6483601" y="4540654"/>
                  <a:pt x="6483601" y="4540654"/>
                </a:cubicBezTo>
                <a:cubicBezTo>
                  <a:pt x="6483446" y="4541894"/>
                  <a:pt x="6484530" y="4541997"/>
                  <a:pt x="6485614" y="4542203"/>
                </a:cubicBezTo>
                <a:lnTo>
                  <a:pt x="6486699" y="4542616"/>
                </a:lnTo>
                <a:lnTo>
                  <a:pt x="6487163" y="4542306"/>
                </a:lnTo>
                <a:cubicBezTo>
                  <a:pt x="6488557" y="4540964"/>
                  <a:pt x="6490261" y="4539828"/>
                  <a:pt x="6493669" y="4539725"/>
                </a:cubicBezTo>
                <a:lnTo>
                  <a:pt x="6492120" y="4537867"/>
                </a:lnTo>
                <a:lnTo>
                  <a:pt x="6490881" y="4537867"/>
                </a:lnTo>
                <a:cubicBezTo>
                  <a:pt x="6490571" y="4537763"/>
                  <a:pt x="6490571" y="4537660"/>
                  <a:pt x="6490881" y="4538073"/>
                </a:cubicBezTo>
                <a:cubicBezTo>
                  <a:pt x="6489642" y="4537763"/>
                  <a:pt x="6488402" y="4537557"/>
                  <a:pt x="6487318" y="4537247"/>
                </a:cubicBezTo>
                <a:close/>
                <a:moveTo>
                  <a:pt x="913849" y="4535267"/>
                </a:moveTo>
                <a:cubicBezTo>
                  <a:pt x="913075" y="4537952"/>
                  <a:pt x="912301" y="4539088"/>
                  <a:pt x="911216" y="4539294"/>
                </a:cubicBezTo>
                <a:cubicBezTo>
                  <a:pt x="910287" y="4539398"/>
                  <a:pt x="909048" y="4538571"/>
                  <a:pt x="907189" y="4537539"/>
                </a:cubicBezTo>
                <a:cubicBezTo>
                  <a:pt x="908583" y="4534028"/>
                  <a:pt x="910596" y="4534028"/>
                  <a:pt x="913849" y="4535267"/>
                </a:cubicBezTo>
                <a:close/>
                <a:moveTo>
                  <a:pt x="1604686" y="4535164"/>
                </a:moveTo>
                <a:cubicBezTo>
                  <a:pt x="1606081" y="4537022"/>
                  <a:pt x="1606236" y="4541256"/>
                  <a:pt x="1604222" y="4543011"/>
                </a:cubicBezTo>
                <a:cubicBezTo>
                  <a:pt x="1601280" y="4543528"/>
                  <a:pt x="1600969" y="4541669"/>
                  <a:pt x="1599111" y="4542185"/>
                </a:cubicBezTo>
                <a:cubicBezTo>
                  <a:pt x="1599111" y="4537952"/>
                  <a:pt x="1600969" y="4536300"/>
                  <a:pt x="1604686" y="4535164"/>
                </a:cubicBezTo>
                <a:close/>
                <a:moveTo>
                  <a:pt x="832219" y="4535164"/>
                </a:moveTo>
                <a:cubicBezTo>
                  <a:pt x="834543" y="4535758"/>
                  <a:pt x="836479" y="4537126"/>
                  <a:pt x="836711" y="4538881"/>
                </a:cubicBezTo>
                <a:cubicBezTo>
                  <a:pt x="835472" y="4544767"/>
                  <a:pt x="832838" y="4547658"/>
                  <a:pt x="830205" y="4548381"/>
                </a:cubicBezTo>
                <a:cubicBezTo>
                  <a:pt x="827572" y="4549000"/>
                  <a:pt x="825094" y="4547451"/>
                  <a:pt x="824319" y="4544250"/>
                </a:cubicBezTo>
                <a:cubicBezTo>
                  <a:pt x="823855" y="4542185"/>
                  <a:pt x="824009" y="4539398"/>
                  <a:pt x="825403" y="4536093"/>
                </a:cubicBezTo>
                <a:cubicBezTo>
                  <a:pt x="827185" y="4534751"/>
                  <a:pt x="829896" y="4534570"/>
                  <a:pt x="832219" y="4535164"/>
                </a:cubicBezTo>
                <a:close/>
                <a:moveTo>
                  <a:pt x="1482628" y="4535061"/>
                </a:moveTo>
                <a:cubicBezTo>
                  <a:pt x="1485571" y="4535164"/>
                  <a:pt x="1486656" y="4537436"/>
                  <a:pt x="1487121" y="4540120"/>
                </a:cubicBezTo>
                <a:cubicBezTo>
                  <a:pt x="1488670" y="4541153"/>
                  <a:pt x="1490374" y="4541049"/>
                  <a:pt x="1490528" y="4543011"/>
                </a:cubicBezTo>
                <a:cubicBezTo>
                  <a:pt x="1487895" y="4541669"/>
                  <a:pt x="1486811" y="4541359"/>
                  <a:pt x="1485261" y="4540327"/>
                </a:cubicBezTo>
                <a:cubicBezTo>
                  <a:pt x="1484487" y="4540843"/>
                  <a:pt x="1483868" y="4541256"/>
                  <a:pt x="1482628" y="4540946"/>
                </a:cubicBezTo>
                <a:cubicBezTo>
                  <a:pt x="1480460" y="4540327"/>
                  <a:pt x="1480460" y="4538365"/>
                  <a:pt x="1478911" y="4537333"/>
                </a:cubicBezTo>
                <a:cubicBezTo>
                  <a:pt x="1479221" y="4536093"/>
                  <a:pt x="1480305" y="4534441"/>
                  <a:pt x="1482628" y="4535061"/>
                </a:cubicBezTo>
                <a:close/>
                <a:moveTo>
                  <a:pt x="5553913" y="4534769"/>
                </a:moveTo>
                <a:cubicBezTo>
                  <a:pt x="5554688" y="4536524"/>
                  <a:pt x="5553603" y="4538279"/>
                  <a:pt x="5552519" y="4539932"/>
                </a:cubicBezTo>
                <a:cubicBezTo>
                  <a:pt x="5551590" y="4541274"/>
                  <a:pt x="5550815" y="4541584"/>
                  <a:pt x="5549886" y="4541480"/>
                </a:cubicBezTo>
                <a:cubicBezTo>
                  <a:pt x="5549112" y="4541377"/>
                  <a:pt x="5548337" y="4540654"/>
                  <a:pt x="5547562" y="4539828"/>
                </a:cubicBezTo>
                <a:cubicBezTo>
                  <a:pt x="5546013" y="4538073"/>
                  <a:pt x="5546943" y="4536421"/>
                  <a:pt x="5546943" y="4536421"/>
                </a:cubicBezTo>
                <a:cubicBezTo>
                  <a:pt x="5548956" y="4533839"/>
                  <a:pt x="5551590" y="4533013"/>
                  <a:pt x="5553913" y="4534769"/>
                </a:cubicBezTo>
                <a:close/>
                <a:moveTo>
                  <a:pt x="1721943" y="4534648"/>
                </a:moveTo>
                <a:cubicBezTo>
                  <a:pt x="1721788" y="4537333"/>
                  <a:pt x="1721478" y="4539294"/>
                  <a:pt x="1720394" y="4542289"/>
                </a:cubicBezTo>
                <a:cubicBezTo>
                  <a:pt x="1720394" y="4542289"/>
                  <a:pt x="1717916" y="4546729"/>
                  <a:pt x="1715128" y="4545903"/>
                </a:cubicBezTo>
                <a:cubicBezTo>
                  <a:pt x="1714818" y="4546109"/>
                  <a:pt x="1714353" y="4545386"/>
                  <a:pt x="1714043" y="4544457"/>
                </a:cubicBezTo>
                <a:cubicBezTo>
                  <a:pt x="1713888" y="4543528"/>
                  <a:pt x="1713888" y="4542392"/>
                  <a:pt x="1714043" y="4541876"/>
                </a:cubicBezTo>
                <a:lnTo>
                  <a:pt x="1716057" y="4539810"/>
                </a:lnTo>
                <a:lnTo>
                  <a:pt x="1705989" y="4546109"/>
                </a:lnTo>
                <a:cubicBezTo>
                  <a:pt x="1704130" y="4547038"/>
                  <a:pt x="1702117" y="4547761"/>
                  <a:pt x="1699793" y="4548071"/>
                </a:cubicBezTo>
                <a:cubicBezTo>
                  <a:pt x="1697470" y="4548484"/>
                  <a:pt x="1694991" y="4548484"/>
                  <a:pt x="1692048" y="4547968"/>
                </a:cubicBezTo>
                <a:cubicBezTo>
                  <a:pt x="1690964" y="4545386"/>
                  <a:pt x="1686937" y="4542908"/>
                  <a:pt x="1689570" y="4539707"/>
                </a:cubicBezTo>
                <a:cubicBezTo>
                  <a:pt x="1698554" y="4544354"/>
                  <a:pt x="1706298" y="4535164"/>
                  <a:pt x="1713269" y="4537745"/>
                </a:cubicBezTo>
                <a:lnTo>
                  <a:pt x="1716212" y="4539604"/>
                </a:lnTo>
                <a:lnTo>
                  <a:pt x="1717606" y="4538055"/>
                </a:lnTo>
                <a:cubicBezTo>
                  <a:pt x="1718071" y="4536919"/>
                  <a:pt x="1718690" y="4535783"/>
                  <a:pt x="1719465" y="4535164"/>
                </a:cubicBezTo>
                <a:cubicBezTo>
                  <a:pt x="1720085" y="4534441"/>
                  <a:pt x="1721014" y="4534132"/>
                  <a:pt x="1721943" y="4534648"/>
                </a:cubicBezTo>
                <a:close/>
                <a:moveTo>
                  <a:pt x="1816120" y="4533202"/>
                </a:moveTo>
                <a:cubicBezTo>
                  <a:pt x="1816585" y="4533099"/>
                  <a:pt x="1817204" y="4533202"/>
                  <a:pt x="1817514" y="4533718"/>
                </a:cubicBezTo>
                <a:cubicBezTo>
                  <a:pt x="1816275" y="4534854"/>
                  <a:pt x="1814881" y="4537022"/>
                  <a:pt x="1813023" y="4537436"/>
                </a:cubicBezTo>
                <a:cubicBezTo>
                  <a:pt x="1812248" y="4537539"/>
                  <a:pt x="1811628" y="4537539"/>
                  <a:pt x="1810699" y="4537229"/>
                </a:cubicBezTo>
                <a:cubicBezTo>
                  <a:pt x="1812093" y="4535990"/>
                  <a:pt x="1814261" y="4533615"/>
                  <a:pt x="1816120" y="4533202"/>
                </a:cubicBezTo>
                <a:close/>
                <a:moveTo>
                  <a:pt x="710935" y="4532892"/>
                </a:moveTo>
                <a:cubicBezTo>
                  <a:pt x="712794" y="4532686"/>
                  <a:pt x="712020" y="4533099"/>
                  <a:pt x="713103" y="4533409"/>
                </a:cubicBezTo>
                <a:cubicBezTo>
                  <a:pt x="714343" y="4533615"/>
                  <a:pt x="716201" y="4533512"/>
                  <a:pt x="716821" y="4533099"/>
                </a:cubicBezTo>
                <a:cubicBezTo>
                  <a:pt x="716201" y="4537436"/>
                  <a:pt x="719144" y="4537539"/>
                  <a:pt x="717750" y="4544250"/>
                </a:cubicBezTo>
                <a:cubicBezTo>
                  <a:pt x="716821" y="4550859"/>
                  <a:pt x="713103" y="4553440"/>
                  <a:pt x="709696" y="4554163"/>
                </a:cubicBezTo>
                <a:lnTo>
                  <a:pt x="706753" y="4554267"/>
                </a:lnTo>
                <a:lnTo>
                  <a:pt x="705978" y="4556848"/>
                </a:lnTo>
                <a:cubicBezTo>
                  <a:pt x="700712" y="4553957"/>
                  <a:pt x="699628" y="4558810"/>
                  <a:pt x="696839" y="4560358"/>
                </a:cubicBezTo>
                <a:cubicBezTo>
                  <a:pt x="696065" y="4560875"/>
                  <a:pt x="694981" y="4560978"/>
                  <a:pt x="693587" y="4560255"/>
                </a:cubicBezTo>
                <a:cubicBezTo>
                  <a:pt x="692038" y="4558190"/>
                  <a:pt x="689560" y="4556641"/>
                  <a:pt x="688940" y="4553853"/>
                </a:cubicBezTo>
                <a:cubicBezTo>
                  <a:pt x="688630" y="4552924"/>
                  <a:pt x="688630" y="4551891"/>
                  <a:pt x="688785" y="4550549"/>
                </a:cubicBezTo>
                <a:cubicBezTo>
                  <a:pt x="692347" y="4551169"/>
                  <a:pt x="695291" y="4551169"/>
                  <a:pt x="698079" y="4550859"/>
                </a:cubicBezTo>
                <a:lnTo>
                  <a:pt x="700557" y="4550549"/>
                </a:lnTo>
                <a:lnTo>
                  <a:pt x="698853" y="4548484"/>
                </a:lnTo>
                <a:cubicBezTo>
                  <a:pt x="698234" y="4547038"/>
                  <a:pt x="697924" y="4545077"/>
                  <a:pt x="698234" y="4542599"/>
                </a:cubicBezTo>
                <a:cubicBezTo>
                  <a:pt x="699318" y="4537022"/>
                  <a:pt x="702261" y="4531343"/>
                  <a:pt x="710935" y="4532892"/>
                </a:cubicBezTo>
                <a:close/>
                <a:moveTo>
                  <a:pt x="1759893" y="4531860"/>
                </a:moveTo>
                <a:cubicBezTo>
                  <a:pt x="1760977" y="4531550"/>
                  <a:pt x="1761287" y="4530827"/>
                  <a:pt x="1762526" y="4532376"/>
                </a:cubicBezTo>
                <a:cubicBezTo>
                  <a:pt x="1763300" y="4532789"/>
                  <a:pt x="1763611" y="4533925"/>
                  <a:pt x="1764385" y="4534441"/>
                </a:cubicBezTo>
                <a:cubicBezTo>
                  <a:pt x="1764385" y="4534441"/>
                  <a:pt x="1764385" y="4535061"/>
                  <a:pt x="1764230" y="4535783"/>
                </a:cubicBezTo>
                <a:cubicBezTo>
                  <a:pt x="1763920" y="4536506"/>
                  <a:pt x="1763611" y="4537229"/>
                  <a:pt x="1762991" y="4537436"/>
                </a:cubicBezTo>
                <a:cubicBezTo>
                  <a:pt x="1762681" y="4537745"/>
                  <a:pt x="1762371" y="4537642"/>
                  <a:pt x="1762061" y="4537539"/>
                </a:cubicBezTo>
                <a:cubicBezTo>
                  <a:pt x="1760977" y="4536919"/>
                  <a:pt x="1760202" y="4534854"/>
                  <a:pt x="1759583" y="4534544"/>
                </a:cubicBezTo>
                <a:cubicBezTo>
                  <a:pt x="1759119" y="4533305"/>
                  <a:pt x="1758809" y="4532170"/>
                  <a:pt x="1759893" y="4531860"/>
                </a:cubicBezTo>
                <a:close/>
                <a:moveTo>
                  <a:pt x="991917" y="4531860"/>
                </a:moveTo>
                <a:cubicBezTo>
                  <a:pt x="993156" y="4531550"/>
                  <a:pt x="994395" y="4532479"/>
                  <a:pt x="995944" y="4534544"/>
                </a:cubicBezTo>
                <a:cubicBezTo>
                  <a:pt x="995790" y="4536506"/>
                  <a:pt x="992227" y="4537436"/>
                  <a:pt x="990523" y="4538468"/>
                </a:cubicBezTo>
                <a:cubicBezTo>
                  <a:pt x="990368" y="4537229"/>
                  <a:pt x="990213" y="4536093"/>
                  <a:pt x="989748" y="4536816"/>
                </a:cubicBezTo>
                <a:cubicBezTo>
                  <a:pt x="989594" y="4535680"/>
                  <a:pt x="989748" y="4534648"/>
                  <a:pt x="990058" y="4533925"/>
                </a:cubicBezTo>
                <a:cubicBezTo>
                  <a:pt x="990523" y="4533099"/>
                  <a:pt x="991143" y="4532376"/>
                  <a:pt x="991917" y="4531860"/>
                </a:cubicBezTo>
                <a:close/>
                <a:moveTo>
                  <a:pt x="6155685" y="4531568"/>
                </a:moveTo>
                <a:lnTo>
                  <a:pt x="6156460" y="4533530"/>
                </a:lnTo>
                <a:lnTo>
                  <a:pt x="6157389" y="4533013"/>
                </a:lnTo>
                <a:cubicBezTo>
                  <a:pt x="6160487" y="4533736"/>
                  <a:pt x="6162656" y="4536111"/>
                  <a:pt x="6162965" y="4538693"/>
                </a:cubicBezTo>
                <a:lnTo>
                  <a:pt x="6162036" y="4542203"/>
                </a:lnTo>
                <a:lnTo>
                  <a:pt x="6166528" y="4545714"/>
                </a:lnTo>
                <a:cubicBezTo>
                  <a:pt x="6167922" y="4546850"/>
                  <a:pt x="6169316" y="4548089"/>
                  <a:pt x="6170555" y="4549534"/>
                </a:cubicBezTo>
                <a:cubicBezTo>
                  <a:pt x="6171949" y="4551496"/>
                  <a:pt x="6172879" y="4553871"/>
                  <a:pt x="6172879" y="4556969"/>
                </a:cubicBezTo>
                <a:cubicBezTo>
                  <a:pt x="6173034" y="4560273"/>
                  <a:pt x="6172259" y="4563371"/>
                  <a:pt x="6171020" y="4565952"/>
                </a:cubicBezTo>
                <a:lnTo>
                  <a:pt x="6170865" y="4566262"/>
                </a:lnTo>
                <a:lnTo>
                  <a:pt x="6171949" y="4567398"/>
                </a:lnTo>
                <a:lnTo>
                  <a:pt x="6173653" y="4570392"/>
                </a:lnTo>
                <a:lnTo>
                  <a:pt x="6175047" y="4569050"/>
                </a:lnTo>
                <a:cubicBezTo>
                  <a:pt x="6181863" y="4564713"/>
                  <a:pt x="6190227" y="4564403"/>
                  <a:pt x="6195493" y="4569876"/>
                </a:cubicBezTo>
                <a:cubicBezTo>
                  <a:pt x="6197352" y="4572354"/>
                  <a:pt x="6198282" y="4574832"/>
                  <a:pt x="6198282" y="4577104"/>
                </a:cubicBezTo>
                <a:lnTo>
                  <a:pt x="6196733" y="4581957"/>
                </a:lnTo>
                <a:lnTo>
                  <a:pt x="6197043" y="4582576"/>
                </a:lnTo>
                <a:lnTo>
                  <a:pt x="6196578" y="4582679"/>
                </a:lnTo>
                <a:lnTo>
                  <a:pt x="6196423" y="4583196"/>
                </a:lnTo>
                <a:cubicBezTo>
                  <a:pt x="6193790" y="4586810"/>
                  <a:pt x="6188988" y="4588978"/>
                  <a:pt x="6184031" y="4588565"/>
                </a:cubicBezTo>
                <a:cubicBezTo>
                  <a:pt x="6182482" y="4588462"/>
                  <a:pt x="6180933" y="4588255"/>
                  <a:pt x="6179539" y="4587636"/>
                </a:cubicBezTo>
                <a:lnTo>
                  <a:pt x="6175822" y="4585468"/>
                </a:lnTo>
                <a:lnTo>
                  <a:pt x="6175357" y="4586397"/>
                </a:lnTo>
                <a:cubicBezTo>
                  <a:pt x="6174737" y="4588049"/>
                  <a:pt x="6174118" y="4589598"/>
                  <a:pt x="6172259" y="4591146"/>
                </a:cubicBezTo>
                <a:cubicBezTo>
                  <a:pt x="6170091" y="4588462"/>
                  <a:pt x="6167922" y="4585777"/>
                  <a:pt x="6165908" y="4583093"/>
                </a:cubicBezTo>
                <a:lnTo>
                  <a:pt x="6160487" y="4575245"/>
                </a:lnTo>
                <a:lnTo>
                  <a:pt x="6158473" y="4576381"/>
                </a:lnTo>
                <a:cubicBezTo>
                  <a:pt x="6155995" y="4577207"/>
                  <a:pt x="6153207" y="4577517"/>
                  <a:pt x="6150574" y="4577310"/>
                </a:cubicBezTo>
                <a:cubicBezTo>
                  <a:pt x="6144378" y="4576897"/>
                  <a:pt x="6138802" y="4573490"/>
                  <a:pt x="6136943" y="4566778"/>
                </a:cubicBezTo>
                <a:cubicBezTo>
                  <a:pt x="6136323" y="4564094"/>
                  <a:pt x="6136168" y="4561099"/>
                  <a:pt x="6136788" y="4557485"/>
                </a:cubicBezTo>
                <a:cubicBezTo>
                  <a:pt x="6139111" y="4547676"/>
                  <a:pt x="6148560" y="4542410"/>
                  <a:pt x="6155685" y="4531568"/>
                </a:cubicBezTo>
                <a:close/>
                <a:moveTo>
                  <a:pt x="780793" y="4531343"/>
                </a:moveTo>
                <a:cubicBezTo>
                  <a:pt x="783272" y="4529795"/>
                  <a:pt x="789932" y="4534338"/>
                  <a:pt x="792565" y="4537022"/>
                </a:cubicBezTo>
                <a:cubicBezTo>
                  <a:pt x="791946" y="4537333"/>
                  <a:pt x="791171" y="4537436"/>
                  <a:pt x="790087" y="4537229"/>
                </a:cubicBezTo>
                <a:cubicBezTo>
                  <a:pt x="787144" y="4536403"/>
                  <a:pt x="782807" y="4533409"/>
                  <a:pt x="780793" y="4531343"/>
                </a:cubicBezTo>
                <a:close/>
                <a:moveTo>
                  <a:pt x="1105301" y="4531240"/>
                </a:moveTo>
                <a:cubicBezTo>
                  <a:pt x="1108709" y="4529691"/>
                  <a:pt x="1112271" y="4536713"/>
                  <a:pt x="1111497" y="4538365"/>
                </a:cubicBezTo>
                <a:cubicBezTo>
                  <a:pt x="1109793" y="4539191"/>
                  <a:pt x="1102203" y="4533718"/>
                  <a:pt x="1105301" y="4531240"/>
                </a:cubicBezTo>
                <a:close/>
                <a:moveTo>
                  <a:pt x="695445" y="4530827"/>
                </a:moveTo>
                <a:cubicBezTo>
                  <a:pt x="695445" y="4532789"/>
                  <a:pt x="697304" y="4534544"/>
                  <a:pt x="696530" y="4536919"/>
                </a:cubicBezTo>
                <a:cubicBezTo>
                  <a:pt x="696530" y="4536919"/>
                  <a:pt x="696220" y="4538158"/>
                  <a:pt x="694671" y="4539088"/>
                </a:cubicBezTo>
                <a:cubicBezTo>
                  <a:pt x="693277" y="4541876"/>
                  <a:pt x="689869" y="4541049"/>
                  <a:pt x="689869" y="4541049"/>
                </a:cubicBezTo>
                <a:cubicBezTo>
                  <a:pt x="689869" y="4541049"/>
                  <a:pt x="689869" y="4541049"/>
                  <a:pt x="690179" y="4541876"/>
                </a:cubicBezTo>
                <a:cubicBezTo>
                  <a:pt x="689560" y="4540327"/>
                  <a:pt x="688010" y="4539294"/>
                  <a:pt x="687236" y="4537848"/>
                </a:cubicBezTo>
                <a:cubicBezTo>
                  <a:pt x="688630" y="4529175"/>
                  <a:pt x="691264" y="4530517"/>
                  <a:pt x="695445" y="4530827"/>
                </a:cubicBezTo>
                <a:close/>
                <a:moveTo>
                  <a:pt x="1460943" y="4530724"/>
                </a:moveTo>
                <a:cubicBezTo>
                  <a:pt x="1461872" y="4533409"/>
                  <a:pt x="1463421" y="4535371"/>
                  <a:pt x="1464816" y="4537126"/>
                </a:cubicBezTo>
                <a:lnTo>
                  <a:pt x="1467604" y="4541463"/>
                </a:lnTo>
                <a:lnTo>
                  <a:pt x="1467449" y="4540946"/>
                </a:lnTo>
                <a:cubicBezTo>
                  <a:pt x="1469617" y="4537952"/>
                  <a:pt x="1472095" y="4536816"/>
                  <a:pt x="1476742" y="4537022"/>
                </a:cubicBezTo>
                <a:cubicBezTo>
                  <a:pt x="1479221" y="4540223"/>
                  <a:pt x="1477827" y="4548174"/>
                  <a:pt x="1472095" y="4547865"/>
                </a:cubicBezTo>
                <a:cubicBezTo>
                  <a:pt x="1471011" y="4547245"/>
                  <a:pt x="1469772" y="4546625"/>
                  <a:pt x="1468997" y="4545593"/>
                </a:cubicBezTo>
                <a:lnTo>
                  <a:pt x="1467913" y="4542392"/>
                </a:lnTo>
                <a:lnTo>
                  <a:pt x="1460788" y="4539604"/>
                </a:lnTo>
                <a:cubicBezTo>
                  <a:pt x="1458465" y="4537952"/>
                  <a:pt x="1456761" y="4535474"/>
                  <a:pt x="1457535" y="4531550"/>
                </a:cubicBezTo>
                <a:cubicBezTo>
                  <a:pt x="1458620" y="4531240"/>
                  <a:pt x="1459704" y="4530931"/>
                  <a:pt x="1460943" y="4530724"/>
                </a:cubicBezTo>
                <a:close/>
                <a:moveTo>
                  <a:pt x="1373117" y="4530311"/>
                </a:moveTo>
                <a:cubicBezTo>
                  <a:pt x="1373582" y="4530621"/>
                  <a:pt x="1374201" y="4530827"/>
                  <a:pt x="1374356" y="4531240"/>
                </a:cubicBezTo>
                <a:cubicBezTo>
                  <a:pt x="1374666" y="4531756"/>
                  <a:pt x="1374666" y="4532376"/>
                  <a:pt x="1374047" y="4533615"/>
                </a:cubicBezTo>
                <a:cubicBezTo>
                  <a:pt x="1373891" y="4534544"/>
                  <a:pt x="1373736" y="4535164"/>
                  <a:pt x="1373117" y="4535371"/>
                </a:cubicBezTo>
                <a:cubicBezTo>
                  <a:pt x="1372497" y="4535577"/>
                  <a:pt x="1371568" y="4535577"/>
                  <a:pt x="1370019" y="4535267"/>
                </a:cubicBezTo>
                <a:cubicBezTo>
                  <a:pt x="1368005" y="4534338"/>
                  <a:pt x="1366147" y="4534132"/>
                  <a:pt x="1365837" y="4533305"/>
                </a:cubicBezTo>
                <a:cubicBezTo>
                  <a:pt x="1365062" y="4533615"/>
                  <a:pt x="1363978" y="4533202"/>
                  <a:pt x="1363203" y="4533512"/>
                </a:cubicBezTo>
                <a:cubicBezTo>
                  <a:pt x="1363203" y="4533512"/>
                  <a:pt x="1363203" y="4533512"/>
                  <a:pt x="1362894" y="4532686"/>
                </a:cubicBezTo>
                <a:cubicBezTo>
                  <a:pt x="1366456" y="4532170"/>
                  <a:pt x="1370174" y="4529691"/>
                  <a:pt x="1373117" y="4530311"/>
                </a:cubicBezTo>
                <a:close/>
                <a:moveTo>
                  <a:pt x="1383650" y="4530001"/>
                </a:moveTo>
                <a:cubicBezTo>
                  <a:pt x="1385044" y="4531860"/>
                  <a:pt x="1386748" y="4531137"/>
                  <a:pt x="1388142" y="4532996"/>
                </a:cubicBezTo>
                <a:cubicBezTo>
                  <a:pt x="1383804" y="4536609"/>
                  <a:pt x="1379313" y="4540637"/>
                  <a:pt x="1375440" y="4541153"/>
                </a:cubicBezTo>
                <a:cubicBezTo>
                  <a:pt x="1374201" y="4541256"/>
                  <a:pt x="1372962" y="4541049"/>
                  <a:pt x="1371878" y="4540327"/>
                </a:cubicBezTo>
                <a:cubicBezTo>
                  <a:pt x="1371878" y="4535061"/>
                  <a:pt x="1379313" y="4531343"/>
                  <a:pt x="1383650" y="4530001"/>
                </a:cubicBezTo>
                <a:close/>
                <a:moveTo>
                  <a:pt x="1131169" y="4529175"/>
                </a:moveTo>
                <a:cubicBezTo>
                  <a:pt x="1131169" y="4530414"/>
                  <a:pt x="1131014" y="4531963"/>
                  <a:pt x="1130704" y="4533305"/>
                </a:cubicBezTo>
                <a:lnTo>
                  <a:pt x="1129775" y="4536506"/>
                </a:lnTo>
                <a:lnTo>
                  <a:pt x="1130085" y="4536609"/>
                </a:lnTo>
                <a:cubicBezTo>
                  <a:pt x="1133957" y="4538571"/>
                  <a:pt x="1137364" y="4541566"/>
                  <a:pt x="1139378" y="4544044"/>
                </a:cubicBezTo>
                <a:cubicBezTo>
                  <a:pt x="1137364" y="4544767"/>
                  <a:pt x="1135197" y="4544973"/>
                  <a:pt x="1133028" y="4544767"/>
                </a:cubicBezTo>
                <a:cubicBezTo>
                  <a:pt x="1126367" y="4544044"/>
                  <a:pt x="1119861" y="4539501"/>
                  <a:pt x="1117848" y="4535164"/>
                </a:cubicBezTo>
                <a:cubicBezTo>
                  <a:pt x="1119861" y="4534338"/>
                  <a:pt x="1121875" y="4534235"/>
                  <a:pt x="1124044" y="4534544"/>
                </a:cubicBezTo>
                <a:lnTo>
                  <a:pt x="1129619" y="4536403"/>
                </a:lnTo>
                <a:lnTo>
                  <a:pt x="1129155" y="4533409"/>
                </a:lnTo>
                <a:cubicBezTo>
                  <a:pt x="1129155" y="4532066"/>
                  <a:pt x="1129465" y="4530827"/>
                  <a:pt x="1130395" y="4530001"/>
                </a:cubicBezTo>
                <a:cubicBezTo>
                  <a:pt x="1130395" y="4530001"/>
                  <a:pt x="1130395" y="4530001"/>
                  <a:pt x="1131169" y="4529175"/>
                </a:cubicBezTo>
                <a:close/>
                <a:moveTo>
                  <a:pt x="1740996" y="4527007"/>
                </a:moveTo>
                <a:cubicBezTo>
                  <a:pt x="1744249" y="4530001"/>
                  <a:pt x="1745023" y="4531034"/>
                  <a:pt x="1743319" y="4535164"/>
                </a:cubicBezTo>
                <a:cubicBezTo>
                  <a:pt x="1743319" y="4535164"/>
                  <a:pt x="1742389" y="4535887"/>
                  <a:pt x="1742389" y="4535887"/>
                </a:cubicBezTo>
                <a:cubicBezTo>
                  <a:pt x="1740996" y="4537436"/>
                  <a:pt x="1739137" y="4538468"/>
                  <a:pt x="1737278" y="4539088"/>
                </a:cubicBezTo>
                <a:cubicBezTo>
                  <a:pt x="1735574" y="4539604"/>
                  <a:pt x="1733870" y="4539604"/>
                  <a:pt x="1733096" y="4539088"/>
                </a:cubicBezTo>
                <a:cubicBezTo>
                  <a:pt x="1731392" y="4537126"/>
                  <a:pt x="1730617" y="4533615"/>
                  <a:pt x="1733251" y="4531343"/>
                </a:cubicBezTo>
                <a:cubicBezTo>
                  <a:pt x="1734954" y="4528969"/>
                  <a:pt x="1738362" y="4529381"/>
                  <a:pt x="1740996" y="4527007"/>
                </a:cubicBezTo>
                <a:close/>
                <a:moveTo>
                  <a:pt x="1442510" y="4526697"/>
                </a:moveTo>
                <a:cubicBezTo>
                  <a:pt x="1443130" y="4528969"/>
                  <a:pt x="1443439" y="4530104"/>
                  <a:pt x="1444524" y="4531550"/>
                </a:cubicBezTo>
                <a:cubicBezTo>
                  <a:pt x="1439413" y="4533409"/>
                  <a:pt x="1436779" y="4536403"/>
                  <a:pt x="1433837" y="4536093"/>
                </a:cubicBezTo>
                <a:cubicBezTo>
                  <a:pt x="1432907" y="4535990"/>
                  <a:pt x="1431977" y="4535474"/>
                  <a:pt x="1430893" y="4534441"/>
                </a:cubicBezTo>
                <a:cubicBezTo>
                  <a:pt x="1431822" y="4531034"/>
                  <a:pt x="1437554" y="4529072"/>
                  <a:pt x="1442510" y="4526697"/>
                </a:cubicBezTo>
                <a:close/>
                <a:moveTo>
                  <a:pt x="996255" y="4526697"/>
                </a:moveTo>
                <a:lnTo>
                  <a:pt x="995790" y="4526904"/>
                </a:lnTo>
                <a:lnTo>
                  <a:pt x="996719" y="4528142"/>
                </a:lnTo>
                <a:lnTo>
                  <a:pt x="997494" y="4528246"/>
                </a:lnTo>
                <a:close/>
                <a:moveTo>
                  <a:pt x="5893910" y="4525785"/>
                </a:moveTo>
                <a:cubicBezTo>
                  <a:pt x="5895614" y="4526715"/>
                  <a:pt x="5896544" y="4527644"/>
                  <a:pt x="5898248" y="4528573"/>
                </a:cubicBezTo>
                <a:lnTo>
                  <a:pt x="5898867" y="4530948"/>
                </a:lnTo>
                <a:lnTo>
                  <a:pt x="5903669" y="4532807"/>
                </a:lnTo>
                <a:cubicBezTo>
                  <a:pt x="5904599" y="4533633"/>
                  <a:pt x="5906767" y="4537040"/>
                  <a:pt x="5905992" y="4537970"/>
                </a:cubicBezTo>
                <a:cubicBezTo>
                  <a:pt x="5905373" y="4538899"/>
                  <a:pt x="5904443" y="4538899"/>
                  <a:pt x="5903669" y="4538899"/>
                </a:cubicBezTo>
                <a:lnTo>
                  <a:pt x="5898712" y="4536834"/>
                </a:lnTo>
                <a:lnTo>
                  <a:pt x="5897938" y="4538899"/>
                </a:lnTo>
                <a:cubicBezTo>
                  <a:pt x="5896854" y="4540138"/>
                  <a:pt x="5895769" y="4540861"/>
                  <a:pt x="5894840" y="4541067"/>
                </a:cubicBezTo>
                <a:lnTo>
                  <a:pt x="5893601" y="4541067"/>
                </a:lnTo>
                <a:lnTo>
                  <a:pt x="5893756" y="4542100"/>
                </a:lnTo>
                <a:lnTo>
                  <a:pt x="5891277" y="4543442"/>
                </a:lnTo>
                <a:lnTo>
                  <a:pt x="5890193" y="4545095"/>
                </a:lnTo>
                <a:cubicBezTo>
                  <a:pt x="5888954" y="4545404"/>
                  <a:pt x="5888179" y="4545611"/>
                  <a:pt x="5887560" y="4545404"/>
                </a:cubicBezTo>
                <a:cubicBezTo>
                  <a:pt x="5886940" y="4545198"/>
                  <a:pt x="5886630" y="4544578"/>
                  <a:pt x="5886166" y="4543339"/>
                </a:cubicBezTo>
                <a:lnTo>
                  <a:pt x="5886011" y="4542823"/>
                </a:lnTo>
                <a:lnTo>
                  <a:pt x="5884617" y="4543545"/>
                </a:lnTo>
                <a:cubicBezTo>
                  <a:pt x="5884617" y="4542616"/>
                  <a:pt x="5884462" y="4541790"/>
                  <a:pt x="5883687" y="4541790"/>
                </a:cubicBezTo>
                <a:lnTo>
                  <a:pt x="5885391" y="4540448"/>
                </a:lnTo>
                <a:lnTo>
                  <a:pt x="5885236" y="4539622"/>
                </a:lnTo>
                <a:lnTo>
                  <a:pt x="5885391" y="4536834"/>
                </a:lnTo>
                <a:lnTo>
                  <a:pt x="5885081" y="4536628"/>
                </a:lnTo>
                <a:cubicBezTo>
                  <a:pt x="5885081" y="4536628"/>
                  <a:pt x="5881519" y="4532084"/>
                  <a:pt x="5884772" y="4527954"/>
                </a:cubicBezTo>
                <a:cubicBezTo>
                  <a:pt x="5885701" y="4528883"/>
                  <a:pt x="5890503" y="4523927"/>
                  <a:pt x="5893910" y="4525785"/>
                </a:cubicBezTo>
                <a:close/>
                <a:moveTo>
                  <a:pt x="5966712" y="4524649"/>
                </a:moveTo>
                <a:cubicBezTo>
                  <a:pt x="5966712" y="4525579"/>
                  <a:pt x="5966092" y="4528161"/>
                  <a:pt x="5966867" y="4528161"/>
                </a:cubicBezTo>
                <a:cubicBezTo>
                  <a:pt x="5965163" y="4530122"/>
                  <a:pt x="5962839" y="4531877"/>
                  <a:pt x="5960671" y="4531981"/>
                </a:cubicBezTo>
                <a:cubicBezTo>
                  <a:pt x="5960051" y="4531981"/>
                  <a:pt x="5959277" y="4531774"/>
                  <a:pt x="5958657" y="4531258"/>
                </a:cubicBezTo>
                <a:cubicBezTo>
                  <a:pt x="5956953" y="4530329"/>
                  <a:pt x="5957728" y="4528677"/>
                  <a:pt x="5959277" y="4527025"/>
                </a:cubicBezTo>
                <a:cubicBezTo>
                  <a:pt x="5961600" y="4522688"/>
                  <a:pt x="5964078" y="4521965"/>
                  <a:pt x="5966712" y="4524649"/>
                </a:cubicBezTo>
                <a:close/>
                <a:moveTo>
                  <a:pt x="761896" y="4524529"/>
                </a:moveTo>
                <a:cubicBezTo>
                  <a:pt x="762671" y="4525458"/>
                  <a:pt x="763600" y="4526387"/>
                  <a:pt x="763755" y="4528039"/>
                </a:cubicBezTo>
                <a:cubicBezTo>
                  <a:pt x="762206" y="4529691"/>
                  <a:pt x="759573" y="4528762"/>
                  <a:pt x="758798" y="4529588"/>
                </a:cubicBezTo>
                <a:cubicBezTo>
                  <a:pt x="758798" y="4528659"/>
                  <a:pt x="758643" y="4527007"/>
                  <a:pt x="756940" y="4525974"/>
                </a:cubicBezTo>
                <a:cubicBezTo>
                  <a:pt x="758489" y="4524322"/>
                  <a:pt x="760037" y="4522670"/>
                  <a:pt x="761896" y="4524529"/>
                </a:cubicBezTo>
                <a:close/>
                <a:moveTo>
                  <a:pt x="1596942" y="4524425"/>
                </a:moveTo>
                <a:cubicBezTo>
                  <a:pt x="1598026" y="4524012"/>
                  <a:pt x="1598181" y="4524012"/>
                  <a:pt x="1598956" y="4524425"/>
                </a:cubicBezTo>
                <a:cubicBezTo>
                  <a:pt x="1600814" y="4524529"/>
                  <a:pt x="1601898" y="4524219"/>
                  <a:pt x="1603138" y="4525871"/>
                </a:cubicBezTo>
                <a:cubicBezTo>
                  <a:pt x="1603913" y="4527316"/>
                  <a:pt x="1603758" y="4528246"/>
                  <a:pt x="1603293" y="4529072"/>
                </a:cubicBezTo>
                <a:cubicBezTo>
                  <a:pt x="1602828" y="4529898"/>
                  <a:pt x="1601898" y="4530621"/>
                  <a:pt x="1600505" y="4531343"/>
                </a:cubicBezTo>
                <a:cubicBezTo>
                  <a:pt x="1599265" y="4532066"/>
                  <a:pt x="1598026" y="4531860"/>
                  <a:pt x="1596942" y="4531653"/>
                </a:cubicBezTo>
                <a:cubicBezTo>
                  <a:pt x="1595858" y="4531343"/>
                  <a:pt x="1594774" y="4531034"/>
                  <a:pt x="1593689" y="4531343"/>
                </a:cubicBezTo>
                <a:cubicBezTo>
                  <a:pt x="1593689" y="4529381"/>
                  <a:pt x="1593225" y="4526181"/>
                  <a:pt x="1596942" y="4524425"/>
                </a:cubicBezTo>
                <a:close/>
                <a:moveTo>
                  <a:pt x="5769916" y="4524379"/>
                </a:moveTo>
                <a:cubicBezTo>
                  <a:pt x="5772549" y="4525269"/>
                  <a:pt x="5774873" y="4527128"/>
                  <a:pt x="5775260" y="4529296"/>
                </a:cubicBezTo>
                <a:cubicBezTo>
                  <a:pt x="5774330" y="4531671"/>
                  <a:pt x="5773401" y="4533943"/>
                  <a:pt x="5772472" y="4536317"/>
                </a:cubicBezTo>
                <a:cubicBezTo>
                  <a:pt x="5770613" y="4537660"/>
                  <a:pt x="5768754" y="4538279"/>
                  <a:pt x="5766895" y="4538073"/>
                </a:cubicBezTo>
                <a:cubicBezTo>
                  <a:pt x="5765037" y="4537867"/>
                  <a:pt x="5763488" y="4537040"/>
                  <a:pt x="5762404" y="4535595"/>
                </a:cubicBezTo>
                <a:cubicBezTo>
                  <a:pt x="5761629" y="4534666"/>
                  <a:pt x="5761164" y="4533427"/>
                  <a:pt x="5761009" y="4531981"/>
                </a:cubicBezTo>
                <a:lnTo>
                  <a:pt x="5761164" y="4531774"/>
                </a:lnTo>
                <a:lnTo>
                  <a:pt x="5759925" y="4532704"/>
                </a:lnTo>
                <a:cubicBezTo>
                  <a:pt x="5759306" y="4533013"/>
                  <a:pt x="5758686" y="4533013"/>
                  <a:pt x="5758221" y="4532600"/>
                </a:cubicBezTo>
                <a:cubicBezTo>
                  <a:pt x="5758066" y="4531671"/>
                  <a:pt x="5757292" y="4531774"/>
                  <a:pt x="5757137" y="4530948"/>
                </a:cubicBezTo>
                <a:cubicBezTo>
                  <a:pt x="5756053" y="4529193"/>
                  <a:pt x="5755898" y="4528264"/>
                  <a:pt x="5756672" y="4527334"/>
                </a:cubicBezTo>
                <a:cubicBezTo>
                  <a:pt x="5756518" y="4526508"/>
                  <a:pt x="5757292" y="4526508"/>
                  <a:pt x="5758066" y="4525579"/>
                </a:cubicBezTo>
                <a:cubicBezTo>
                  <a:pt x="5758841" y="4525476"/>
                  <a:pt x="5759770" y="4526302"/>
                  <a:pt x="5759770" y="4526302"/>
                </a:cubicBezTo>
                <a:cubicBezTo>
                  <a:pt x="5760700" y="4527128"/>
                  <a:pt x="5760855" y="4527128"/>
                  <a:pt x="5761474" y="4526199"/>
                </a:cubicBezTo>
                <a:cubicBezTo>
                  <a:pt x="5761474" y="4526199"/>
                  <a:pt x="5761629" y="4527128"/>
                  <a:pt x="5761629" y="4527128"/>
                </a:cubicBezTo>
                <a:cubicBezTo>
                  <a:pt x="5761164" y="4527128"/>
                  <a:pt x="5761164" y="4527128"/>
                  <a:pt x="5761474" y="4527231"/>
                </a:cubicBezTo>
                <a:lnTo>
                  <a:pt x="5762093" y="4527644"/>
                </a:lnTo>
                <a:lnTo>
                  <a:pt x="5762713" y="4525269"/>
                </a:lnTo>
                <a:cubicBezTo>
                  <a:pt x="5764340" y="4523566"/>
                  <a:pt x="5767283" y="4523488"/>
                  <a:pt x="5769916" y="4524379"/>
                </a:cubicBezTo>
                <a:close/>
                <a:moveTo>
                  <a:pt x="1565614" y="4523922"/>
                </a:moveTo>
                <a:cubicBezTo>
                  <a:pt x="1567202" y="4524941"/>
                  <a:pt x="1568673" y="4526800"/>
                  <a:pt x="1570145" y="4528866"/>
                </a:cubicBezTo>
                <a:cubicBezTo>
                  <a:pt x="1569061" y="4530311"/>
                  <a:pt x="1568906" y="4531963"/>
                  <a:pt x="1567821" y="4533512"/>
                </a:cubicBezTo>
                <a:cubicBezTo>
                  <a:pt x="1565188" y="4534235"/>
                  <a:pt x="1559612" y="4530827"/>
                  <a:pt x="1558992" y="4527420"/>
                </a:cubicBezTo>
                <a:cubicBezTo>
                  <a:pt x="1558838" y="4526181"/>
                  <a:pt x="1559147" y="4525045"/>
                  <a:pt x="1560387" y="4524012"/>
                </a:cubicBezTo>
                <a:cubicBezTo>
                  <a:pt x="1562323" y="4522722"/>
                  <a:pt x="1564027" y="4522902"/>
                  <a:pt x="1565614" y="4523922"/>
                </a:cubicBezTo>
                <a:close/>
                <a:moveTo>
                  <a:pt x="6105963" y="4523862"/>
                </a:moveTo>
                <a:cubicBezTo>
                  <a:pt x="6109332" y="4525914"/>
                  <a:pt x="6110765" y="4530174"/>
                  <a:pt x="6110146" y="4534356"/>
                </a:cubicBezTo>
                <a:cubicBezTo>
                  <a:pt x="6109836" y="4537144"/>
                  <a:pt x="6108597" y="4539828"/>
                  <a:pt x="6106273" y="4541790"/>
                </a:cubicBezTo>
                <a:cubicBezTo>
                  <a:pt x="6104725" y="4543133"/>
                  <a:pt x="6102866" y="4544165"/>
                  <a:pt x="6100542" y="4544681"/>
                </a:cubicBezTo>
                <a:cubicBezTo>
                  <a:pt x="6098219" y="4545198"/>
                  <a:pt x="6095431" y="4545301"/>
                  <a:pt x="6092178" y="4544578"/>
                </a:cubicBezTo>
                <a:lnTo>
                  <a:pt x="6090474" y="4536937"/>
                </a:lnTo>
                <a:lnTo>
                  <a:pt x="6085517" y="4540448"/>
                </a:lnTo>
                <a:cubicBezTo>
                  <a:pt x="6083968" y="4538383"/>
                  <a:pt x="6082110" y="4540551"/>
                  <a:pt x="6080715" y="4537660"/>
                </a:cubicBezTo>
                <a:cubicBezTo>
                  <a:pt x="6081180" y="4534149"/>
                  <a:pt x="6085053" y="4530638"/>
                  <a:pt x="6089545" y="4528883"/>
                </a:cubicBezTo>
                <a:lnTo>
                  <a:pt x="6090164" y="4528883"/>
                </a:lnTo>
                <a:lnTo>
                  <a:pt x="6090164" y="4526611"/>
                </a:lnTo>
                <a:cubicBezTo>
                  <a:pt x="6097289" y="4521965"/>
                  <a:pt x="6102594" y="4521810"/>
                  <a:pt x="6105963" y="4523862"/>
                </a:cubicBezTo>
                <a:close/>
                <a:moveTo>
                  <a:pt x="1746107" y="4523599"/>
                </a:moveTo>
                <a:cubicBezTo>
                  <a:pt x="1749515" y="4522876"/>
                  <a:pt x="1762991" y="4523806"/>
                  <a:pt x="1758189" y="4530827"/>
                </a:cubicBezTo>
                <a:lnTo>
                  <a:pt x="1759119" y="4533202"/>
                </a:lnTo>
                <a:cubicBezTo>
                  <a:pt x="1758964" y="4534338"/>
                  <a:pt x="1758189" y="4535371"/>
                  <a:pt x="1756950" y="4536506"/>
                </a:cubicBezTo>
                <a:cubicBezTo>
                  <a:pt x="1756175" y="4535267"/>
                  <a:pt x="1755866" y="4534235"/>
                  <a:pt x="1756021" y="4533099"/>
                </a:cubicBezTo>
                <a:lnTo>
                  <a:pt x="1756950" y="4530621"/>
                </a:lnTo>
                <a:lnTo>
                  <a:pt x="1751064" y="4529485"/>
                </a:lnTo>
                <a:cubicBezTo>
                  <a:pt x="1748895" y="4529175"/>
                  <a:pt x="1747191" y="4528866"/>
                  <a:pt x="1746417" y="4527523"/>
                </a:cubicBezTo>
                <a:cubicBezTo>
                  <a:pt x="1745797" y="4526697"/>
                  <a:pt x="1745797" y="4525458"/>
                  <a:pt x="1746107" y="4523599"/>
                </a:cubicBezTo>
                <a:close/>
                <a:moveTo>
                  <a:pt x="1618473" y="4523289"/>
                </a:moveTo>
                <a:cubicBezTo>
                  <a:pt x="1621261" y="4525561"/>
                  <a:pt x="1619867" y="4532892"/>
                  <a:pt x="1616614" y="4533718"/>
                </a:cubicBezTo>
                <a:cubicBezTo>
                  <a:pt x="1614755" y="4534235"/>
                  <a:pt x="1612276" y="4532479"/>
                  <a:pt x="1609643" y="4525871"/>
                </a:cubicBezTo>
                <a:cubicBezTo>
                  <a:pt x="1614136" y="4522360"/>
                  <a:pt x="1616924" y="4522154"/>
                  <a:pt x="1618473" y="4523289"/>
                </a:cubicBezTo>
                <a:close/>
                <a:moveTo>
                  <a:pt x="893558" y="4521947"/>
                </a:moveTo>
                <a:cubicBezTo>
                  <a:pt x="894642" y="4522154"/>
                  <a:pt x="895572" y="4522773"/>
                  <a:pt x="896037" y="4524322"/>
                </a:cubicBezTo>
                <a:cubicBezTo>
                  <a:pt x="897276" y="4528969"/>
                  <a:pt x="893404" y="4531034"/>
                  <a:pt x="888911" y="4532789"/>
                </a:cubicBezTo>
                <a:cubicBezTo>
                  <a:pt x="887826" y="4531240"/>
                  <a:pt x="886433" y="4530621"/>
                  <a:pt x="885348" y="4529072"/>
                </a:cubicBezTo>
                <a:lnTo>
                  <a:pt x="885348" y="4528969"/>
                </a:lnTo>
                <a:lnTo>
                  <a:pt x="882870" y="4528762"/>
                </a:lnTo>
                <a:cubicBezTo>
                  <a:pt x="883180" y="4525251"/>
                  <a:pt x="887052" y="4522876"/>
                  <a:pt x="890305" y="4522670"/>
                </a:cubicBezTo>
                <a:lnTo>
                  <a:pt x="891390" y="4522876"/>
                </a:lnTo>
                <a:close/>
                <a:moveTo>
                  <a:pt x="651765" y="4521844"/>
                </a:moveTo>
                <a:cubicBezTo>
                  <a:pt x="658735" y="4524838"/>
                  <a:pt x="662143" y="4524942"/>
                  <a:pt x="667254" y="4527833"/>
                </a:cubicBezTo>
                <a:cubicBezTo>
                  <a:pt x="667254" y="4528659"/>
                  <a:pt x="666480" y="4528659"/>
                  <a:pt x="666480" y="4529588"/>
                </a:cubicBezTo>
                <a:cubicBezTo>
                  <a:pt x="666170" y="4530001"/>
                  <a:pt x="665241" y="4530104"/>
                  <a:pt x="664312" y="4530104"/>
                </a:cubicBezTo>
                <a:cubicBezTo>
                  <a:pt x="661213" y="4529898"/>
                  <a:pt x="656257" y="4528039"/>
                  <a:pt x="656257" y="4527420"/>
                </a:cubicBezTo>
                <a:cubicBezTo>
                  <a:pt x="655328" y="4527316"/>
                  <a:pt x="655482" y="4526490"/>
                  <a:pt x="654553" y="4526387"/>
                </a:cubicBezTo>
                <a:cubicBezTo>
                  <a:pt x="654553" y="4526387"/>
                  <a:pt x="653778" y="4526387"/>
                  <a:pt x="652849" y="4525458"/>
                </a:cubicBezTo>
                <a:cubicBezTo>
                  <a:pt x="651920" y="4524529"/>
                  <a:pt x="650990" y="4523599"/>
                  <a:pt x="651765" y="4521844"/>
                </a:cubicBezTo>
                <a:close/>
                <a:moveTo>
                  <a:pt x="5943167" y="4521655"/>
                </a:moveTo>
                <a:cubicBezTo>
                  <a:pt x="5942858" y="4522171"/>
                  <a:pt x="5942703" y="4522378"/>
                  <a:pt x="5942393" y="4522378"/>
                </a:cubicBezTo>
                <a:cubicBezTo>
                  <a:pt x="5942238" y="4522378"/>
                  <a:pt x="5942083" y="4522171"/>
                  <a:pt x="5941619" y="4521759"/>
                </a:cubicBezTo>
                <a:cubicBezTo>
                  <a:pt x="5942238" y="4520726"/>
                  <a:pt x="5942393" y="4521759"/>
                  <a:pt x="5943167" y="4521655"/>
                </a:cubicBezTo>
                <a:close/>
                <a:moveTo>
                  <a:pt x="5975851" y="4521552"/>
                </a:moveTo>
                <a:cubicBezTo>
                  <a:pt x="5975851" y="4522481"/>
                  <a:pt x="5976625" y="4524237"/>
                  <a:pt x="5975851" y="4524237"/>
                </a:cubicBezTo>
                <a:cubicBezTo>
                  <a:pt x="5975851" y="4525063"/>
                  <a:pt x="5974302" y="4525063"/>
                  <a:pt x="5974302" y="4525063"/>
                </a:cubicBezTo>
                <a:cubicBezTo>
                  <a:pt x="5974302" y="4525992"/>
                  <a:pt x="5974456" y="4526921"/>
                  <a:pt x="5973682" y="4527747"/>
                </a:cubicBezTo>
                <a:cubicBezTo>
                  <a:pt x="5972753" y="4526818"/>
                  <a:pt x="5972753" y="4527747"/>
                  <a:pt x="5971978" y="4527644"/>
                </a:cubicBezTo>
                <a:cubicBezTo>
                  <a:pt x="5972753" y="4526818"/>
                  <a:pt x="5972753" y="4524133"/>
                  <a:pt x="5973372" y="4522378"/>
                </a:cubicBezTo>
                <a:cubicBezTo>
                  <a:pt x="5974302" y="4522378"/>
                  <a:pt x="5975076" y="4521552"/>
                  <a:pt x="5975851" y="4521552"/>
                </a:cubicBezTo>
                <a:close/>
                <a:moveTo>
                  <a:pt x="810533" y="4521534"/>
                </a:moveTo>
                <a:cubicBezTo>
                  <a:pt x="813941" y="4523496"/>
                  <a:pt x="816575" y="4524425"/>
                  <a:pt x="819982" y="4526387"/>
                </a:cubicBezTo>
                <a:cubicBezTo>
                  <a:pt x="820757" y="4527213"/>
                  <a:pt x="822615" y="4530827"/>
                  <a:pt x="821841" y="4531653"/>
                </a:cubicBezTo>
                <a:cubicBezTo>
                  <a:pt x="821067" y="4532479"/>
                  <a:pt x="820292" y="4532479"/>
                  <a:pt x="819363" y="4532376"/>
                </a:cubicBezTo>
                <a:cubicBezTo>
                  <a:pt x="817659" y="4531447"/>
                  <a:pt x="815955" y="4530517"/>
                  <a:pt x="814251" y="4529588"/>
                </a:cubicBezTo>
                <a:cubicBezTo>
                  <a:pt x="811618" y="4526800"/>
                  <a:pt x="808985" y="4524115"/>
                  <a:pt x="810533" y="4521534"/>
                </a:cubicBezTo>
                <a:close/>
                <a:moveTo>
                  <a:pt x="5838767" y="4520726"/>
                </a:moveTo>
                <a:cubicBezTo>
                  <a:pt x="5843414" y="4523927"/>
                  <a:pt x="5840162" y="4527747"/>
                  <a:pt x="5840317" y="4533323"/>
                </a:cubicBezTo>
                <a:cubicBezTo>
                  <a:pt x="5835824" y="4532704"/>
                  <a:pt x="5833501" y="4525682"/>
                  <a:pt x="5835360" y="4522378"/>
                </a:cubicBezTo>
                <a:cubicBezTo>
                  <a:pt x="5835979" y="4521345"/>
                  <a:pt x="5837063" y="4520623"/>
                  <a:pt x="5838767" y="4520726"/>
                </a:cubicBezTo>
                <a:close/>
                <a:moveTo>
                  <a:pt x="1263450" y="4520708"/>
                </a:moveTo>
                <a:cubicBezTo>
                  <a:pt x="1268872" y="4521637"/>
                  <a:pt x="1264844" y="4528039"/>
                  <a:pt x="1262211" y="4528762"/>
                </a:cubicBezTo>
                <a:cubicBezTo>
                  <a:pt x="1261127" y="4528452"/>
                  <a:pt x="1260507" y="4527833"/>
                  <a:pt x="1260197" y="4527110"/>
                </a:cubicBezTo>
                <a:cubicBezTo>
                  <a:pt x="1259268" y="4524838"/>
                  <a:pt x="1261436" y="4521328"/>
                  <a:pt x="1263450" y="4520708"/>
                </a:cubicBezTo>
                <a:close/>
                <a:moveTo>
                  <a:pt x="6160390" y="4520597"/>
                </a:moveTo>
                <a:cubicBezTo>
                  <a:pt x="6163159" y="4520520"/>
                  <a:pt x="6165444" y="4521294"/>
                  <a:pt x="6166218" y="4520933"/>
                </a:cubicBezTo>
                <a:cubicBezTo>
                  <a:pt x="6168232" y="4522998"/>
                  <a:pt x="6168851" y="4523410"/>
                  <a:pt x="6167303" y="4525579"/>
                </a:cubicBezTo>
                <a:lnTo>
                  <a:pt x="6165599" y="4527850"/>
                </a:lnTo>
                <a:lnTo>
                  <a:pt x="6166838" y="4529709"/>
                </a:lnTo>
                <a:cubicBezTo>
                  <a:pt x="6166063" y="4530535"/>
                  <a:pt x="6165289" y="4531361"/>
                  <a:pt x="6164515" y="4532187"/>
                </a:cubicBezTo>
                <a:lnTo>
                  <a:pt x="6160952" y="4530226"/>
                </a:lnTo>
                <a:lnTo>
                  <a:pt x="6158473" y="4530019"/>
                </a:lnTo>
                <a:cubicBezTo>
                  <a:pt x="6156925" y="4530845"/>
                  <a:pt x="6154291" y="4530742"/>
                  <a:pt x="6152742" y="4529709"/>
                </a:cubicBezTo>
                <a:cubicBezTo>
                  <a:pt x="6150883" y="4527954"/>
                  <a:pt x="6150883" y="4526199"/>
                  <a:pt x="6151658" y="4525372"/>
                </a:cubicBezTo>
                <a:cubicBezTo>
                  <a:pt x="6154369" y="4521603"/>
                  <a:pt x="6157622" y="4520674"/>
                  <a:pt x="6160390" y="4520597"/>
                </a:cubicBezTo>
                <a:close/>
                <a:moveTo>
                  <a:pt x="1585480" y="4519675"/>
                </a:moveTo>
                <a:cubicBezTo>
                  <a:pt x="1585480" y="4519675"/>
                  <a:pt x="1585944" y="4520295"/>
                  <a:pt x="1585480" y="4522773"/>
                </a:cubicBezTo>
                <a:cubicBezTo>
                  <a:pt x="1585015" y="4521947"/>
                  <a:pt x="1584395" y="4522464"/>
                  <a:pt x="1584395" y="4522464"/>
                </a:cubicBezTo>
                <a:cubicBezTo>
                  <a:pt x="1584395" y="4522464"/>
                  <a:pt x="1584395" y="4522464"/>
                  <a:pt x="1584860" y="4523186"/>
                </a:cubicBezTo>
                <a:cubicBezTo>
                  <a:pt x="1584240" y="4522980"/>
                  <a:pt x="1584085" y="4522670"/>
                  <a:pt x="1583931" y="4522360"/>
                </a:cubicBezTo>
                <a:cubicBezTo>
                  <a:pt x="1583931" y="4522050"/>
                  <a:pt x="1583931" y="4521741"/>
                  <a:pt x="1583931" y="4521741"/>
                </a:cubicBezTo>
                <a:cubicBezTo>
                  <a:pt x="1584085" y="4520502"/>
                  <a:pt x="1584240" y="4519366"/>
                  <a:pt x="1585480" y="4519675"/>
                </a:cubicBezTo>
                <a:close/>
                <a:moveTo>
                  <a:pt x="859171" y="4519366"/>
                </a:moveTo>
                <a:cubicBezTo>
                  <a:pt x="859946" y="4518437"/>
                  <a:pt x="859946" y="4519366"/>
                  <a:pt x="860565" y="4519469"/>
                </a:cubicBezTo>
                <a:cubicBezTo>
                  <a:pt x="860255" y="4519882"/>
                  <a:pt x="860100" y="4520192"/>
                  <a:pt x="859946" y="4520192"/>
                </a:cubicBezTo>
                <a:cubicBezTo>
                  <a:pt x="859791" y="4520088"/>
                  <a:pt x="859636" y="4519882"/>
                  <a:pt x="859171" y="4519366"/>
                </a:cubicBezTo>
                <a:close/>
                <a:moveTo>
                  <a:pt x="972555" y="4519056"/>
                </a:moveTo>
                <a:cubicBezTo>
                  <a:pt x="975808" y="4519159"/>
                  <a:pt x="981074" y="4524632"/>
                  <a:pt x="982004" y="4527316"/>
                </a:cubicBezTo>
                <a:cubicBezTo>
                  <a:pt x="980919" y="4529898"/>
                  <a:pt x="979370" y="4530931"/>
                  <a:pt x="977512" y="4531137"/>
                </a:cubicBezTo>
                <a:cubicBezTo>
                  <a:pt x="972245" y="4531550"/>
                  <a:pt x="966360" y="4523289"/>
                  <a:pt x="972555" y="4519056"/>
                </a:cubicBezTo>
                <a:close/>
                <a:moveTo>
                  <a:pt x="988044" y="4518953"/>
                </a:moveTo>
                <a:cubicBezTo>
                  <a:pt x="988819" y="4519985"/>
                  <a:pt x="988819" y="4520811"/>
                  <a:pt x="989594" y="4521844"/>
                </a:cubicBezTo>
                <a:cubicBezTo>
                  <a:pt x="990368" y="4521947"/>
                  <a:pt x="992072" y="4522257"/>
                  <a:pt x="992846" y="4523289"/>
                </a:cubicBezTo>
                <a:lnTo>
                  <a:pt x="992846" y="4523393"/>
                </a:lnTo>
                <a:lnTo>
                  <a:pt x="994860" y="4523909"/>
                </a:lnTo>
                <a:lnTo>
                  <a:pt x="994550" y="4523186"/>
                </a:lnTo>
                <a:cubicBezTo>
                  <a:pt x="995944" y="4519675"/>
                  <a:pt x="998113" y="4520399"/>
                  <a:pt x="1001985" y="4520399"/>
                </a:cubicBezTo>
                <a:cubicBezTo>
                  <a:pt x="1001521" y="4521534"/>
                  <a:pt x="1004773" y="4522773"/>
                  <a:pt x="1005858" y="4523186"/>
                </a:cubicBezTo>
                <a:cubicBezTo>
                  <a:pt x="1004928" y="4525561"/>
                  <a:pt x="1008491" y="4527523"/>
                  <a:pt x="1007097" y="4531034"/>
                </a:cubicBezTo>
                <a:cubicBezTo>
                  <a:pt x="1005393" y="4531860"/>
                  <a:pt x="1004618" y="4532170"/>
                  <a:pt x="1002760" y="4532170"/>
                </a:cubicBezTo>
                <a:lnTo>
                  <a:pt x="999197" y="4530001"/>
                </a:lnTo>
                <a:lnTo>
                  <a:pt x="999197" y="4531137"/>
                </a:lnTo>
                <a:cubicBezTo>
                  <a:pt x="998733" y="4530621"/>
                  <a:pt x="997494" y="4529588"/>
                  <a:pt x="996564" y="4528555"/>
                </a:cubicBezTo>
                <a:lnTo>
                  <a:pt x="995325" y="4527213"/>
                </a:lnTo>
                <a:lnTo>
                  <a:pt x="994705" y="4527420"/>
                </a:lnTo>
                <a:cubicBezTo>
                  <a:pt x="993466" y="4527626"/>
                  <a:pt x="992227" y="4527007"/>
                  <a:pt x="991762" y="4525974"/>
                </a:cubicBezTo>
                <a:lnTo>
                  <a:pt x="992072" y="4524425"/>
                </a:lnTo>
                <a:lnTo>
                  <a:pt x="991917" y="4523909"/>
                </a:lnTo>
                <a:cubicBezTo>
                  <a:pt x="991143" y="4522980"/>
                  <a:pt x="987116" y="4520502"/>
                  <a:pt x="986186" y="4521224"/>
                </a:cubicBezTo>
                <a:cubicBezTo>
                  <a:pt x="986341" y="4520399"/>
                  <a:pt x="985566" y="4519469"/>
                  <a:pt x="985566" y="4519469"/>
                </a:cubicBezTo>
                <a:cubicBezTo>
                  <a:pt x="986496" y="4518746"/>
                  <a:pt x="987270" y="4518849"/>
                  <a:pt x="988044" y="4518953"/>
                </a:cubicBezTo>
                <a:close/>
                <a:moveTo>
                  <a:pt x="1276926" y="4518746"/>
                </a:moveTo>
                <a:cubicBezTo>
                  <a:pt x="1276461" y="4519572"/>
                  <a:pt x="1276152" y="4520295"/>
                  <a:pt x="1275842" y="4521018"/>
                </a:cubicBezTo>
                <a:cubicBezTo>
                  <a:pt x="1275377" y="4521224"/>
                  <a:pt x="1275067" y="4521328"/>
                  <a:pt x="1274912" y="4521224"/>
                </a:cubicBezTo>
                <a:cubicBezTo>
                  <a:pt x="1274758" y="4521121"/>
                  <a:pt x="1274603" y="4520811"/>
                  <a:pt x="1274448" y="4520192"/>
                </a:cubicBezTo>
                <a:cubicBezTo>
                  <a:pt x="1274758" y="4519469"/>
                  <a:pt x="1275067" y="4518746"/>
                  <a:pt x="1275842" y="4519159"/>
                </a:cubicBezTo>
                <a:cubicBezTo>
                  <a:pt x="1276152" y="4518333"/>
                  <a:pt x="1276152" y="4518437"/>
                  <a:pt x="1276926" y="4518746"/>
                </a:cubicBezTo>
                <a:close/>
                <a:moveTo>
                  <a:pt x="5648710" y="4517938"/>
                </a:moveTo>
                <a:cubicBezTo>
                  <a:pt x="5650104" y="4522584"/>
                  <a:pt x="5647625" y="4523410"/>
                  <a:pt x="5645147" y="4524237"/>
                </a:cubicBezTo>
                <a:cubicBezTo>
                  <a:pt x="5644837" y="4521139"/>
                  <a:pt x="5641120" y="4521759"/>
                  <a:pt x="5642514" y="4518248"/>
                </a:cubicBezTo>
                <a:cubicBezTo>
                  <a:pt x="5643908" y="4517215"/>
                  <a:pt x="5645612" y="4516905"/>
                  <a:pt x="5648710" y="4517938"/>
                </a:cubicBezTo>
                <a:close/>
                <a:moveTo>
                  <a:pt x="1671641" y="4517288"/>
                </a:moveTo>
                <a:cubicBezTo>
                  <a:pt x="1673267" y="4518101"/>
                  <a:pt x="1674545" y="4519727"/>
                  <a:pt x="1674700" y="4521534"/>
                </a:cubicBezTo>
                <a:cubicBezTo>
                  <a:pt x="1673926" y="4522876"/>
                  <a:pt x="1672996" y="4523496"/>
                  <a:pt x="1672067" y="4523703"/>
                </a:cubicBezTo>
                <a:cubicBezTo>
                  <a:pt x="1669124" y="4524219"/>
                  <a:pt x="1666180" y="4520399"/>
                  <a:pt x="1666490" y="4517920"/>
                </a:cubicBezTo>
                <a:cubicBezTo>
                  <a:pt x="1668039" y="4516474"/>
                  <a:pt x="1670014" y="4516474"/>
                  <a:pt x="1671641" y="4517288"/>
                </a:cubicBezTo>
                <a:close/>
                <a:moveTo>
                  <a:pt x="6056087" y="4517009"/>
                </a:moveTo>
                <a:cubicBezTo>
                  <a:pt x="6058720" y="4519900"/>
                  <a:pt x="6059495" y="4522791"/>
                  <a:pt x="6058875" y="4525269"/>
                </a:cubicBezTo>
                <a:cubicBezTo>
                  <a:pt x="6057946" y="4528883"/>
                  <a:pt x="6054383" y="4531671"/>
                  <a:pt x="6050201" y="4532704"/>
                </a:cubicBezTo>
                <a:cubicBezTo>
                  <a:pt x="6046174" y="4533633"/>
                  <a:pt x="6041681" y="4532704"/>
                  <a:pt x="6039203" y="4528883"/>
                </a:cubicBezTo>
                <a:cubicBezTo>
                  <a:pt x="6039668" y="4520933"/>
                  <a:pt x="6050356" y="4516493"/>
                  <a:pt x="6056087" y="4517009"/>
                </a:cubicBezTo>
                <a:close/>
                <a:moveTo>
                  <a:pt x="1756486" y="4516887"/>
                </a:moveTo>
                <a:cubicBezTo>
                  <a:pt x="1756486" y="4516887"/>
                  <a:pt x="1757260" y="4516991"/>
                  <a:pt x="1757260" y="4516991"/>
                </a:cubicBezTo>
                <a:lnTo>
                  <a:pt x="1758189" y="4518540"/>
                </a:lnTo>
                <a:lnTo>
                  <a:pt x="1758344" y="4518437"/>
                </a:lnTo>
                <a:cubicBezTo>
                  <a:pt x="1759738" y="4518849"/>
                  <a:pt x="1760822" y="4519985"/>
                  <a:pt x="1761442" y="4521328"/>
                </a:cubicBezTo>
                <a:cubicBezTo>
                  <a:pt x="1760513" y="4523083"/>
                  <a:pt x="1759119" y="4524012"/>
                  <a:pt x="1757879" y="4524219"/>
                </a:cubicBezTo>
                <a:cubicBezTo>
                  <a:pt x="1756640" y="4524425"/>
                  <a:pt x="1755556" y="4523806"/>
                  <a:pt x="1754626" y="4522567"/>
                </a:cubicBezTo>
                <a:cubicBezTo>
                  <a:pt x="1754007" y="4521741"/>
                  <a:pt x="1753542" y="4520708"/>
                  <a:pt x="1753387" y="4519263"/>
                </a:cubicBezTo>
                <a:lnTo>
                  <a:pt x="1755711" y="4518953"/>
                </a:lnTo>
                <a:close/>
                <a:moveTo>
                  <a:pt x="1283123" y="4516784"/>
                </a:moveTo>
                <a:cubicBezTo>
                  <a:pt x="1287614" y="4521121"/>
                  <a:pt x="1296753" y="4527523"/>
                  <a:pt x="1292106" y="4535990"/>
                </a:cubicBezTo>
                <a:cubicBezTo>
                  <a:pt x="1289937" y="4535990"/>
                  <a:pt x="1287614" y="4535267"/>
                  <a:pt x="1285445" y="4534028"/>
                </a:cubicBezTo>
                <a:lnTo>
                  <a:pt x="1280644" y="4529795"/>
                </a:lnTo>
                <a:lnTo>
                  <a:pt x="1280179" y="4530311"/>
                </a:lnTo>
                <a:cubicBezTo>
                  <a:pt x="1279405" y="4529898"/>
                  <a:pt x="1279405" y="4529898"/>
                  <a:pt x="1279095" y="4528762"/>
                </a:cubicBezTo>
                <a:lnTo>
                  <a:pt x="1279405" y="4528039"/>
                </a:lnTo>
                <a:lnTo>
                  <a:pt x="1277391" y="4523393"/>
                </a:lnTo>
                <a:cubicBezTo>
                  <a:pt x="1277236" y="4521431"/>
                  <a:pt x="1277701" y="4519779"/>
                  <a:pt x="1279249" y="4518437"/>
                </a:cubicBezTo>
                <a:cubicBezTo>
                  <a:pt x="1280179" y="4517714"/>
                  <a:pt x="1281573" y="4517198"/>
                  <a:pt x="1283123" y="4516784"/>
                </a:cubicBezTo>
                <a:close/>
                <a:moveTo>
                  <a:pt x="5742654" y="4516312"/>
                </a:moveTo>
                <a:cubicBezTo>
                  <a:pt x="5745443" y="4514892"/>
                  <a:pt x="5748850" y="4515150"/>
                  <a:pt x="5750631" y="4517422"/>
                </a:cubicBezTo>
                <a:cubicBezTo>
                  <a:pt x="5751870" y="4518867"/>
                  <a:pt x="5752180" y="4521139"/>
                  <a:pt x="5751251" y="4524546"/>
                </a:cubicBezTo>
                <a:cubicBezTo>
                  <a:pt x="5746914" y="4524340"/>
                  <a:pt x="5744281" y="4526302"/>
                  <a:pt x="5741337" y="4526199"/>
                </a:cubicBezTo>
                <a:cubicBezTo>
                  <a:pt x="5740408" y="4526199"/>
                  <a:pt x="5739479" y="4525889"/>
                  <a:pt x="5738394" y="4525269"/>
                </a:cubicBezTo>
                <a:cubicBezTo>
                  <a:pt x="5737697" y="4520829"/>
                  <a:pt x="5739866" y="4517732"/>
                  <a:pt x="5742654" y="4516312"/>
                </a:cubicBezTo>
                <a:close/>
                <a:moveTo>
                  <a:pt x="819982" y="4515752"/>
                </a:moveTo>
                <a:cubicBezTo>
                  <a:pt x="822460" y="4515132"/>
                  <a:pt x="823235" y="4516681"/>
                  <a:pt x="823235" y="4516681"/>
                </a:cubicBezTo>
                <a:cubicBezTo>
                  <a:pt x="824319" y="4519572"/>
                  <a:pt x="823545" y="4522257"/>
                  <a:pt x="820757" y="4523703"/>
                </a:cubicBezTo>
                <a:cubicBezTo>
                  <a:pt x="818898" y="4523599"/>
                  <a:pt x="817969" y="4521947"/>
                  <a:pt x="817194" y="4520295"/>
                </a:cubicBezTo>
                <a:cubicBezTo>
                  <a:pt x="816575" y="4518953"/>
                  <a:pt x="816729" y="4517920"/>
                  <a:pt x="817349" y="4517198"/>
                </a:cubicBezTo>
                <a:cubicBezTo>
                  <a:pt x="817969" y="4516578"/>
                  <a:pt x="818898" y="4516062"/>
                  <a:pt x="819982" y="4515752"/>
                </a:cubicBezTo>
                <a:close/>
                <a:moveTo>
                  <a:pt x="1512059" y="4515339"/>
                </a:moveTo>
                <a:cubicBezTo>
                  <a:pt x="1512679" y="4516887"/>
                  <a:pt x="1516241" y="4516062"/>
                  <a:pt x="1515157" y="4518437"/>
                </a:cubicBezTo>
                <a:cubicBezTo>
                  <a:pt x="1514072" y="4518023"/>
                  <a:pt x="1512679" y="4516887"/>
                  <a:pt x="1511594" y="4516578"/>
                </a:cubicBezTo>
                <a:cubicBezTo>
                  <a:pt x="1511594" y="4516578"/>
                  <a:pt x="1511594" y="4516475"/>
                  <a:pt x="1512059" y="4515339"/>
                </a:cubicBezTo>
                <a:close/>
                <a:moveTo>
                  <a:pt x="5969809" y="4514531"/>
                </a:moveTo>
                <a:cubicBezTo>
                  <a:pt x="5970584" y="4513704"/>
                  <a:pt x="5971359" y="4513704"/>
                  <a:pt x="5972288" y="4514634"/>
                </a:cubicBezTo>
                <a:cubicBezTo>
                  <a:pt x="5972288" y="4514634"/>
                  <a:pt x="5971513" y="4516389"/>
                  <a:pt x="5971513" y="4516389"/>
                </a:cubicBezTo>
                <a:cubicBezTo>
                  <a:pt x="5969965" y="4518041"/>
                  <a:pt x="5969035" y="4518867"/>
                  <a:pt x="5968261" y="4520519"/>
                </a:cubicBezTo>
                <a:cubicBezTo>
                  <a:pt x="5966557" y="4519590"/>
                  <a:pt x="5966402" y="4518764"/>
                  <a:pt x="5967331" y="4517938"/>
                </a:cubicBezTo>
                <a:cubicBezTo>
                  <a:pt x="5967331" y="4517938"/>
                  <a:pt x="5968106" y="4517112"/>
                  <a:pt x="5969035" y="4516286"/>
                </a:cubicBezTo>
                <a:cubicBezTo>
                  <a:pt x="5969809" y="4515460"/>
                  <a:pt x="5969809" y="4514531"/>
                  <a:pt x="5969809" y="4514531"/>
                </a:cubicBezTo>
                <a:close/>
                <a:moveTo>
                  <a:pt x="5865100" y="4514427"/>
                </a:moveTo>
                <a:cubicBezTo>
                  <a:pt x="5866184" y="4514737"/>
                  <a:pt x="5867268" y="4515047"/>
                  <a:pt x="5866959" y="4516182"/>
                </a:cubicBezTo>
                <a:cubicBezTo>
                  <a:pt x="5866649" y="4517422"/>
                  <a:pt x="5866959" y="4518144"/>
                  <a:pt x="5865100" y="4518351"/>
                </a:cubicBezTo>
                <a:cubicBezTo>
                  <a:pt x="5864325" y="4518764"/>
                  <a:pt x="5863241" y="4518558"/>
                  <a:pt x="5862466" y="4519074"/>
                </a:cubicBezTo>
                <a:cubicBezTo>
                  <a:pt x="5862466" y="4519074"/>
                  <a:pt x="5862002" y="4518558"/>
                  <a:pt x="5861692" y="4518041"/>
                </a:cubicBezTo>
                <a:cubicBezTo>
                  <a:pt x="5861228" y="4517422"/>
                  <a:pt x="5860763" y="4516699"/>
                  <a:pt x="5860917" y="4516079"/>
                </a:cubicBezTo>
                <a:cubicBezTo>
                  <a:pt x="5860917" y="4514118"/>
                  <a:pt x="5864325" y="4514943"/>
                  <a:pt x="5865100" y="4514427"/>
                </a:cubicBezTo>
                <a:close/>
                <a:moveTo>
                  <a:pt x="877758" y="4514203"/>
                </a:moveTo>
                <a:cubicBezTo>
                  <a:pt x="880547" y="4512861"/>
                  <a:pt x="883490" y="4512551"/>
                  <a:pt x="884109" y="4516165"/>
                </a:cubicBezTo>
                <a:cubicBezTo>
                  <a:pt x="884264" y="4517301"/>
                  <a:pt x="884419" y="4518540"/>
                  <a:pt x="883800" y="4518127"/>
                </a:cubicBezTo>
                <a:cubicBezTo>
                  <a:pt x="883335" y="4518849"/>
                  <a:pt x="882560" y="4518437"/>
                  <a:pt x="881476" y="4518746"/>
                </a:cubicBezTo>
                <a:cubicBezTo>
                  <a:pt x="879617" y="4518643"/>
                  <a:pt x="877603" y="4517301"/>
                  <a:pt x="877449" y="4516165"/>
                </a:cubicBezTo>
                <a:cubicBezTo>
                  <a:pt x="877293" y="4514926"/>
                  <a:pt x="877758" y="4514203"/>
                  <a:pt x="877758" y="4514203"/>
                </a:cubicBezTo>
                <a:close/>
                <a:moveTo>
                  <a:pt x="1588268" y="4513274"/>
                </a:moveTo>
                <a:cubicBezTo>
                  <a:pt x="1588578" y="4515236"/>
                  <a:pt x="1587184" y="4519263"/>
                  <a:pt x="1585325" y="4519469"/>
                </a:cubicBezTo>
                <a:cubicBezTo>
                  <a:pt x="1585015" y="4517610"/>
                  <a:pt x="1585325" y="4516371"/>
                  <a:pt x="1585480" y="4515132"/>
                </a:cubicBezTo>
                <a:cubicBezTo>
                  <a:pt x="1585325" y="4513274"/>
                  <a:pt x="1585944" y="4512757"/>
                  <a:pt x="1588268" y="4513274"/>
                </a:cubicBezTo>
                <a:close/>
                <a:moveTo>
                  <a:pt x="1504934" y="4513067"/>
                </a:moveTo>
                <a:cubicBezTo>
                  <a:pt x="1506483" y="4513997"/>
                  <a:pt x="1507567" y="4515752"/>
                  <a:pt x="1507876" y="4518953"/>
                </a:cubicBezTo>
                <a:lnTo>
                  <a:pt x="1506947" y="4519366"/>
                </a:lnTo>
                <a:lnTo>
                  <a:pt x="1507722" y="4519675"/>
                </a:lnTo>
                <a:cubicBezTo>
                  <a:pt x="1509735" y="4520811"/>
                  <a:pt x="1511594" y="4522567"/>
                  <a:pt x="1512679" y="4523806"/>
                </a:cubicBezTo>
                <a:lnTo>
                  <a:pt x="1514072" y="4525148"/>
                </a:lnTo>
                <a:lnTo>
                  <a:pt x="1514537" y="4524425"/>
                </a:lnTo>
                <a:lnTo>
                  <a:pt x="1514847" y="4525665"/>
                </a:lnTo>
                <a:lnTo>
                  <a:pt x="1515002" y="4525768"/>
                </a:lnTo>
                <a:cubicBezTo>
                  <a:pt x="1514692" y="4526490"/>
                  <a:pt x="1515466" y="4526904"/>
                  <a:pt x="1515776" y="4526181"/>
                </a:cubicBezTo>
                <a:cubicBezTo>
                  <a:pt x="1516706" y="4527523"/>
                  <a:pt x="1517325" y="4528762"/>
                  <a:pt x="1517481" y="4529588"/>
                </a:cubicBezTo>
                <a:lnTo>
                  <a:pt x="1517016" y="4530208"/>
                </a:lnTo>
                <a:lnTo>
                  <a:pt x="1518874" y="4531034"/>
                </a:lnTo>
                <a:lnTo>
                  <a:pt x="1519494" y="4530311"/>
                </a:lnTo>
                <a:cubicBezTo>
                  <a:pt x="1526155" y="4527316"/>
                  <a:pt x="1537772" y="4530104"/>
                  <a:pt x="1541489" y="4532582"/>
                </a:cubicBezTo>
                <a:lnTo>
                  <a:pt x="1533125" y="4534544"/>
                </a:lnTo>
                <a:lnTo>
                  <a:pt x="1534209" y="4536197"/>
                </a:lnTo>
                <a:cubicBezTo>
                  <a:pt x="1533125" y="4535990"/>
                  <a:pt x="1531575" y="4535783"/>
                  <a:pt x="1530182" y="4535474"/>
                </a:cubicBezTo>
                <a:lnTo>
                  <a:pt x="1530027" y="4535267"/>
                </a:lnTo>
                <a:lnTo>
                  <a:pt x="1528168" y="4535783"/>
                </a:lnTo>
                <a:lnTo>
                  <a:pt x="1527239" y="4535783"/>
                </a:lnTo>
                <a:lnTo>
                  <a:pt x="1527239" y="4535887"/>
                </a:lnTo>
                <a:cubicBezTo>
                  <a:pt x="1528633" y="4537333"/>
                  <a:pt x="1529407" y="4538881"/>
                  <a:pt x="1528943" y="4540637"/>
                </a:cubicBezTo>
                <a:cubicBezTo>
                  <a:pt x="1526000" y="4539604"/>
                  <a:pt x="1520423" y="4538571"/>
                  <a:pt x="1515931" y="4536713"/>
                </a:cubicBezTo>
                <a:lnTo>
                  <a:pt x="1510355" y="4532996"/>
                </a:lnTo>
                <a:lnTo>
                  <a:pt x="1509891" y="4533718"/>
                </a:lnTo>
                <a:lnTo>
                  <a:pt x="1509426" y="4535887"/>
                </a:lnTo>
                <a:lnTo>
                  <a:pt x="1510200" y="4535990"/>
                </a:lnTo>
                <a:cubicBezTo>
                  <a:pt x="1510355" y="4536816"/>
                  <a:pt x="1511749" y="4538158"/>
                  <a:pt x="1512679" y="4538571"/>
                </a:cubicBezTo>
                <a:cubicBezTo>
                  <a:pt x="1511904" y="4538881"/>
                  <a:pt x="1511129" y="4539191"/>
                  <a:pt x="1511439" y="4540017"/>
                </a:cubicBezTo>
                <a:cubicBezTo>
                  <a:pt x="1510355" y="4539501"/>
                  <a:pt x="1509735" y="4539088"/>
                  <a:pt x="1509271" y="4538778"/>
                </a:cubicBezTo>
                <a:lnTo>
                  <a:pt x="1508961" y="4538571"/>
                </a:lnTo>
                <a:lnTo>
                  <a:pt x="1508806" y="4539398"/>
                </a:lnTo>
                <a:cubicBezTo>
                  <a:pt x="1508341" y="4541463"/>
                  <a:pt x="1507102" y="4543424"/>
                  <a:pt x="1504314" y="4544767"/>
                </a:cubicBezTo>
                <a:cubicBezTo>
                  <a:pt x="1504159" y="4544147"/>
                  <a:pt x="1503694" y="4543734"/>
                  <a:pt x="1503075" y="4543424"/>
                </a:cubicBezTo>
                <a:lnTo>
                  <a:pt x="1502610" y="4543321"/>
                </a:lnTo>
                <a:lnTo>
                  <a:pt x="1501526" y="4543838"/>
                </a:lnTo>
                <a:cubicBezTo>
                  <a:pt x="1500596" y="4544044"/>
                  <a:pt x="1499357" y="4544044"/>
                  <a:pt x="1498118" y="4543631"/>
                </a:cubicBezTo>
                <a:cubicBezTo>
                  <a:pt x="1498582" y="4542805"/>
                  <a:pt x="1495175" y="4540946"/>
                  <a:pt x="1493626" y="4538365"/>
                </a:cubicBezTo>
                <a:cubicBezTo>
                  <a:pt x="1493161" y="4537539"/>
                  <a:pt x="1492851" y="4536609"/>
                  <a:pt x="1493006" y="4535680"/>
                </a:cubicBezTo>
                <a:cubicBezTo>
                  <a:pt x="1493316" y="4533718"/>
                  <a:pt x="1493936" y="4532582"/>
                  <a:pt x="1494091" y="4530621"/>
                </a:cubicBezTo>
                <a:lnTo>
                  <a:pt x="1494865" y="4530208"/>
                </a:lnTo>
                <a:lnTo>
                  <a:pt x="1494865" y="4529278"/>
                </a:lnTo>
                <a:cubicBezTo>
                  <a:pt x="1495485" y="4527110"/>
                  <a:pt x="1497344" y="4525768"/>
                  <a:pt x="1499667" y="4523806"/>
                </a:cubicBezTo>
                <a:cubicBezTo>
                  <a:pt x="1499357" y="4524529"/>
                  <a:pt x="1500441" y="4524115"/>
                  <a:pt x="1500441" y="4524115"/>
                </a:cubicBezTo>
                <a:cubicBezTo>
                  <a:pt x="1502610" y="4523496"/>
                  <a:pt x="1498428" y="4520192"/>
                  <a:pt x="1501061" y="4518746"/>
                </a:cubicBezTo>
                <a:lnTo>
                  <a:pt x="1502145" y="4518643"/>
                </a:lnTo>
                <a:lnTo>
                  <a:pt x="1500751" y="4517198"/>
                </a:lnTo>
                <a:cubicBezTo>
                  <a:pt x="1503385" y="4515958"/>
                  <a:pt x="1501216" y="4512551"/>
                  <a:pt x="1504934" y="4513067"/>
                </a:cubicBezTo>
                <a:close/>
                <a:moveTo>
                  <a:pt x="1646799" y="4512280"/>
                </a:moveTo>
                <a:cubicBezTo>
                  <a:pt x="1648910" y="4511467"/>
                  <a:pt x="1651388" y="4511828"/>
                  <a:pt x="1653169" y="4514409"/>
                </a:cubicBezTo>
                <a:lnTo>
                  <a:pt x="1654563" y="4513790"/>
                </a:lnTo>
                <a:lnTo>
                  <a:pt x="1657971" y="4513480"/>
                </a:lnTo>
                <a:lnTo>
                  <a:pt x="1658436" y="4512447"/>
                </a:lnTo>
                <a:cubicBezTo>
                  <a:pt x="1658436" y="4511621"/>
                  <a:pt x="1661998" y="4513377"/>
                  <a:pt x="1662774" y="4513377"/>
                </a:cubicBezTo>
                <a:lnTo>
                  <a:pt x="1662618" y="4513480"/>
                </a:lnTo>
                <a:lnTo>
                  <a:pt x="1667265" y="4514203"/>
                </a:lnTo>
                <a:cubicBezTo>
                  <a:pt x="1665251" y="4518849"/>
                  <a:pt x="1661069" y="4520399"/>
                  <a:pt x="1656422" y="4520502"/>
                </a:cubicBezTo>
                <a:lnTo>
                  <a:pt x="1652705" y="4520088"/>
                </a:lnTo>
                <a:lnTo>
                  <a:pt x="1651155" y="4522670"/>
                </a:lnTo>
                <a:cubicBezTo>
                  <a:pt x="1647749" y="4522773"/>
                  <a:pt x="1645579" y="4521328"/>
                  <a:pt x="1642636" y="4517198"/>
                </a:cubicBezTo>
                <a:cubicBezTo>
                  <a:pt x="1642946" y="4515081"/>
                  <a:pt x="1644689" y="4513093"/>
                  <a:pt x="1646799" y="4512280"/>
                </a:cubicBezTo>
                <a:close/>
                <a:moveTo>
                  <a:pt x="707566" y="4512203"/>
                </a:moveTo>
                <a:cubicBezTo>
                  <a:pt x="709773" y="4512990"/>
                  <a:pt x="711167" y="4515339"/>
                  <a:pt x="708612" y="4518437"/>
                </a:cubicBezTo>
                <a:cubicBezTo>
                  <a:pt x="705359" y="4517301"/>
                  <a:pt x="703035" y="4516475"/>
                  <a:pt x="701641" y="4515339"/>
                </a:cubicBezTo>
                <a:cubicBezTo>
                  <a:pt x="702338" y="4512190"/>
                  <a:pt x="705359" y="4511415"/>
                  <a:pt x="707566" y="4512203"/>
                </a:cubicBezTo>
                <a:close/>
                <a:moveTo>
                  <a:pt x="1404096" y="4511931"/>
                </a:moveTo>
                <a:cubicBezTo>
                  <a:pt x="1405025" y="4511725"/>
                  <a:pt x="1405800" y="4512138"/>
                  <a:pt x="1406419" y="4512964"/>
                </a:cubicBezTo>
                <a:cubicBezTo>
                  <a:pt x="1407349" y="4514203"/>
                  <a:pt x="1408124" y="4516268"/>
                  <a:pt x="1407969" y="4518127"/>
                </a:cubicBezTo>
                <a:lnTo>
                  <a:pt x="1407969" y="4518746"/>
                </a:lnTo>
                <a:lnTo>
                  <a:pt x="1409363" y="4518953"/>
                </a:lnTo>
                <a:lnTo>
                  <a:pt x="1408124" y="4520192"/>
                </a:lnTo>
                <a:lnTo>
                  <a:pt x="1408279" y="4520399"/>
                </a:lnTo>
                <a:cubicBezTo>
                  <a:pt x="1408434" y="4520708"/>
                  <a:pt x="1408434" y="4521018"/>
                  <a:pt x="1407969" y="4520914"/>
                </a:cubicBezTo>
                <a:cubicBezTo>
                  <a:pt x="1407969" y="4521741"/>
                  <a:pt x="1407194" y="4521637"/>
                  <a:pt x="1406264" y="4522360"/>
                </a:cubicBezTo>
                <a:lnTo>
                  <a:pt x="1405955" y="4522360"/>
                </a:lnTo>
                <a:lnTo>
                  <a:pt x="1404251" y="4523909"/>
                </a:lnTo>
                <a:cubicBezTo>
                  <a:pt x="1402237" y="4525045"/>
                  <a:pt x="1400069" y="4525458"/>
                  <a:pt x="1397745" y="4525665"/>
                </a:cubicBezTo>
                <a:cubicBezTo>
                  <a:pt x="1393253" y="4525871"/>
                  <a:pt x="1388607" y="4524632"/>
                  <a:pt x="1385664" y="4523289"/>
                </a:cubicBezTo>
                <a:cubicBezTo>
                  <a:pt x="1389226" y="4521741"/>
                  <a:pt x="1392944" y="4519985"/>
                  <a:pt x="1396816" y="4518953"/>
                </a:cubicBezTo>
                <a:lnTo>
                  <a:pt x="1401928" y="4518230"/>
                </a:lnTo>
                <a:lnTo>
                  <a:pt x="1401308" y="4517198"/>
                </a:lnTo>
                <a:cubicBezTo>
                  <a:pt x="1400533" y="4514822"/>
                  <a:pt x="1400844" y="4512241"/>
                  <a:pt x="1404096" y="4511931"/>
                </a:cubicBezTo>
                <a:close/>
                <a:moveTo>
                  <a:pt x="1123424" y="4511931"/>
                </a:moveTo>
                <a:cubicBezTo>
                  <a:pt x="1124508" y="4512757"/>
                  <a:pt x="1124508" y="4512757"/>
                  <a:pt x="1123579" y="4512757"/>
                </a:cubicBezTo>
                <a:cubicBezTo>
                  <a:pt x="1123114" y="4514513"/>
                  <a:pt x="1122960" y="4513687"/>
                  <a:pt x="1122185" y="4514616"/>
                </a:cubicBezTo>
                <a:cubicBezTo>
                  <a:pt x="1121565" y="4515545"/>
                  <a:pt x="1120481" y="4519882"/>
                  <a:pt x="1121410" y="4520708"/>
                </a:cubicBezTo>
                <a:cubicBezTo>
                  <a:pt x="1120481" y="4520811"/>
                  <a:pt x="1119861" y="4521741"/>
                  <a:pt x="1119861" y="4521741"/>
                </a:cubicBezTo>
                <a:cubicBezTo>
                  <a:pt x="1118932" y="4520914"/>
                  <a:pt x="1118777" y="4520088"/>
                  <a:pt x="1118622" y="4519159"/>
                </a:cubicBezTo>
                <a:cubicBezTo>
                  <a:pt x="1119397" y="4518230"/>
                  <a:pt x="1120171" y="4518230"/>
                  <a:pt x="1120945" y="4517301"/>
                </a:cubicBezTo>
                <a:cubicBezTo>
                  <a:pt x="1120791" y="4516475"/>
                  <a:pt x="1120481" y="4514719"/>
                  <a:pt x="1121255" y="4513790"/>
                </a:cubicBezTo>
                <a:cubicBezTo>
                  <a:pt x="1121875" y="4512964"/>
                  <a:pt x="1123424" y="4511931"/>
                  <a:pt x="1123424" y="4511931"/>
                </a:cubicBezTo>
                <a:close/>
                <a:moveTo>
                  <a:pt x="1521043" y="4511002"/>
                </a:moveTo>
                <a:cubicBezTo>
                  <a:pt x="1526619" y="4512241"/>
                  <a:pt x="1523366" y="4518437"/>
                  <a:pt x="1521043" y="4519056"/>
                </a:cubicBezTo>
                <a:cubicBezTo>
                  <a:pt x="1516241" y="4517714"/>
                  <a:pt x="1518565" y="4511725"/>
                  <a:pt x="1521043" y="4511002"/>
                </a:cubicBezTo>
                <a:close/>
                <a:moveTo>
                  <a:pt x="5931860" y="4510916"/>
                </a:moveTo>
                <a:cubicBezTo>
                  <a:pt x="5926284" y="4518558"/>
                  <a:pt x="5921017" y="4514014"/>
                  <a:pt x="5917919" y="4518248"/>
                </a:cubicBezTo>
                <a:cubicBezTo>
                  <a:pt x="5916990" y="4516493"/>
                  <a:pt x="5916990" y="4516493"/>
                  <a:pt x="5917764" y="4514737"/>
                </a:cubicBezTo>
                <a:cubicBezTo>
                  <a:pt x="5918539" y="4514737"/>
                  <a:pt x="5918539" y="4513911"/>
                  <a:pt x="5919468" y="4514840"/>
                </a:cubicBezTo>
                <a:cubicBezTo>
                  <a:pt x="5921017" y="4512259"/>
                  <a:pt x="5928452" y="4509884"/>
                  <a:pt x="5931860" y="4510916"/>
                </a:cubicBezTo>
                <a:close/>
                <a:moveTo>
                  <a:pt x="1481854" y="4510692"/>
                </a:moveTo>
                <a:cubicBezTo>
                  <a:pt x="1487121" y="4515648"/>
                  <a:pt x="1493006" y="4517094"/>
                  <a:pt x="1493006" y="4517094"/>
                </a:cubicBezTo>
                <a:cubicBezTo>
                  <a:pt x="1494091" y="4518746"/>
                  <a:pt x="1493781" y="4519469"/>
                  <a:pt x="1494091" y="4518746"/>
                </a:cubicBezTo>
                <a:cubicBezTo>
                  <a:pt x="1495020" y="4521121"/>
                  <a:pt x="1496569" y="4523909"/>
                  <a:pt x="1495020" y="4524942"/>
                </a:cubicBezTo>
                <a:cubicBezTo>
                  <a:pt x="1494401" y="4525251"/>
                  <a:pt x="1493626" y="4525355"/>
                  <a:pt x="1493006" y="4525355"/>
                </a:cubicBezTo>
                <a:cubicBezTo>
                  <a:pt x="1487895" y="4524838"/>
                  <a:pt x="1483558" y="4516371"/>
                  <a:pt x="1481854" y="4514616"/>
                </a:cubicBezTo>
                <a:cubicBezTo>
                  <a:pt x="1481854" y="4514616"/>
                  <a:pt x="1481080" y="4514203"/>
                  <a:pt x="1480615" y="4512964"/>
                </a:cubicBezTo>
                <a:cubicBezTo>
                  <a:pt x="1479530" y="4511415"/>
                  <a:pt x="1482164" y="4511931"/>
                  <a:pt x="1481854" y="4510692"/>
                </a:cubicBezTo>
                <a:close/>
                <a:moveTo>
                  <a:pt x="1019798" y="4510692"/>
                </a:moveTo>
                <a:lnTo>
                  <a:pt x="1021038" y="4515958"/>
                </a:lnTo>
                <a:lnTo>
                  <a:pt x="1022587" y="4516371"/>
                </a:lnTo>
                <a:cubicBezTo>
                  <a:pt x="1024755" y="4517507"/>
                  <a:pt x="1026459" y="4519882"/>
                  <a:pt x="1026149" y="4522876"/>
                </a:cubicBezTo>
                <a:lnTo>
                  <a:pt x="1023051" y="4524115"/>
                </a:lnTo>
                <a:lnTo>
                  <a:pt x="1023206" y="4529795"/>
                </a:lnTo>
                <a:cubicBezTo>
                  <a:pt x="1022896" y="4532273"/>
                  <a:pt x="1022276" y="4534957"/>
                  <a:pt x="1021038" y="4537848"/>
                </a:cubicBezTo>
                <a:cubicBezTo>
                  <a:pt x="1019024" y="4538158"/>
                  <a:pt x="1016701" y="4540120"/>
                  <a:pt x="1014687" y="4539604"/>
                </a:cubicBezTo>
                <a:cubicBezTo>
                  <a:pt x="1014067" y="4539501"/>
                  <a:pt x="1013448" y="4539088"/>
                  <a:pt x="1012828" y="4538262"/>
                </a:cubicBezTo>
                <a:cubicBezTo>
                  <a:pt x="1016546" y="4533615"/>
                  <a:pt x="1016236" y="4528142"/>
                  <a:pt x="1015926" y="4523289"/>
                </a:cubicBezTo>
                <a:lnTo>
                  <a:pt x="1016081" y="4518230"/>
                </a:lnTo>
                <a:lnTo>
                  <a:pt x="1015926" y="4516681"/>
                </a:lnTo>
                <a:lnTo>
                  <a:pt x="1016081" y="4516578"/>
                </a:lnTo>
                <a:lnTo>
                  <a:pt x="1016081" y="4516268"/>
                </a:lnTo>
                <a:cubicBezTo>
                  <a:pt x="1016546" y="4514100"/>
                  <a:pt x="1017630" y="4512241"/>
                  <a:pt x="1019798" y="4510692"/>
                </a:cubicBezTo>
                <a:close/>
                <a:moveTo>
                  <a:pt x="6213616" y="4510400"/>
                </a:moveTo>
                <a:cubicBezTo>
                  <a:pt x="6216095" y="4508748"/>
                  <a:pt x="6224769" y="4514324"/>
                  <a:pt x="6219967" y="4518558"/>
                </a:cubicBezTo>
                <a:cubicBezTo>
                  <a:pt x="6219348" y="4519177"/>
                  <a:pt x="6218418" y="4519177"/>
                  <a:pt x="6217489" y="4518764"/>
                </a:cubicBezTo>
                <a:cubicBezTo>
                  <a:pt x="6214546" y="4517628"/>
                  <a:pt x="6211293" y="4512878"/>
                  <a:pt x="6213616" y="4510400"/>
                </a:cubicBezTo>
                <a:close/>
                <a:moveTo>
                  <a:pt x="988044" y="4509970"/>
                </a:moveTo>
                <a:cubicBezTo>
                  <a:pt x="989594" y="4511415"/>
                  <a:pt x="990058" y="4513067"/>
                  <a:pt x="990058" y="4514513"/>
                </a:cubicBezTo>
                <a:lnTo>
                  <a:pt x="989594" y="4515648"/>
                </a:lnTo>
                <a:lnTo>
                  <a:pt x="989283" y="4516578"/>
                </a:lnTo>
                <a:lnTo>
                  <a:pt x="988354" y="4518746"/>
                </a:lnTo>
                <a:cubicBezTo>
                  <a:pt x="985876" y="4518540"/>
                  <a:pt x="984482" y="4517094"/>
                  <a:pt x="984482" y="4515339"/>
                </a:cubicBezTo>
                <a:cubicBezTo>
                  <a:pt x="984482" y="4513687"/>
                  <a:pt x="985721" y="4511518"/>
                  <a:pt x="988044" y="4509970"/>
                </a:cubicBezTo>
                <a:close/>
                <a:moveTo>
                  <a:pt x="6729886" y="4509574"/>
                </a:moveTo>
                <a:cubicBezTo>
                  <a:pt x="6748318" y="4504825"/>
                  <a:pt x="6755134" y="4543236"/>
                  <a:pt x="6752965" y="4555213"/>
                </a:cubicBezTo>
                <a:cubicBezTo>
                  <a:pt x="6744136" y="4543855"/>
                  <a:pt x="6730040" y="4524443"/>
                  <a:pt x="6729886" y="4509574"/>
                </a:cubicBezTo>
                <a:close/>
                <a:moveTo>
                  <a:pt x="5839542" y="4509471"/>
                </a:moveTo>
                <a:cubicBezTo>
                  <a:pt x="5841246" y="4511433"/>
                  <a:pt x="5842950" y="4513395"/>
                  <a:pt x="5841865" y="4517628"/>
                </a:cubicBezTo>
                <a:cubicBezTo>
                  <a:pt x="5840471" y="4518764"/>
                  <a:pt x="5839077" y="4519487"/>
                  <a:pt x="5837683" y="4519590"/>
                </a:cubicBezTo>
                <a:cubicBezTo>
                  <a:pt x="5836134" y="4519797"/>
                  <a:pt x="5834431" y="4519487"/>
                  <a:pt x="5832262" y="4518764"/>
                </a:cubicBezTo>
                <a:cubicBezTo>
                  <a:pt x="5830713" y="4514840"/>
                  <a:pt x="5834275" y="4507406"/>
                  <a:pt x="5839542" y="4509471"/>
                </a:cubicBezTo>
                <a:close/>
                <a:moveTo>
                  <a:pt x="1136590" y="4509350"/>
                </a:moveTo>
                <a:cubicBezTo>
                  <a:pt x="1135351" y="4513687"/>
                  <a:pt x="1135506" y="4519779"/>
                  <a:pt x="1132718" y="4523186"/>
                </a:cubicBezTo>
                <a:cubicBezTo>
                  <a:pt x="1132873" y="4521431"/>
                  <a:pt x="1134731" y="4511931"/>
                  <a:pt x="1136590" y="4509350"/>
                </a:cubicBezTo>
                <a:close/>
                <a:moveTo>
                  <a:pt x="891854" y="4509350"/>
                </a:moveTo>
                <a:cubicBezTo>
                  <a:pt x="893404" y="4510382"/>
                  <a:pt x="896037" y="4511725"/>
                  <a:pt x="895261" y="4516165"/>
                </a:cubicBezTo>
                <a:cubicBezTo>
                  <a:pt x="894952" y="4517404"/>
                  <a:pt x="894952" y="4517404"/>
                  <a:pt x="894177" y="4517920"/>
                </a:cubicBezTo>
                <a:cubicBezTo>
                  <a:pt x="893093" y="4519572"/>
                  <a:pt x="892783" y="4520811"/>
                  <a:pt x="890770" y="4521018"/>
                </a:cubicBezTo>
                <a:cubicBezTo>
                  <a:pt x="889376" y="4520914"/>
                  <a:pt x="888602" y="4520399"/>
                  <a:pt x="888136" y="4519469"/>
                </a:cubicBezTo>
                <a:cubicBezTo>
                  <a:pt x="887826" y="4518540"/>
                  <a:pt x="887981" y="4517301"/>
                  <a:pt x="888136" y="4515648"/>
                </a:cubicBezTo>
                <a:cubicBezTo>
                  <a:pt x="888447" y="4512447"/>
                  <a:pt x="891080" y="4511828"/>
                  <a:pt x="891854" y="4509350"/>
                </a:cubicBezTo>
                <a:close/>
                <a:moveTo>
                  <a:pt x="5707416" y="4508129"/>
                </a:moveTo>
                <a:cubicBezTo>
                  <a:pt x="5710668" y="4508335"/>
                  <a:pt x="5713766" y="4510194"/>
                  <a:pt x="5717948" y="4515563"/>
                </a:cubicBezTo>
                <a:cubicBezTo>
                  <a:pt x="5703698" y="4524340"/>
                  <a:pt x="5720737" y="4532394"/>
                  <a:pt x="5710048" y="4539932"/>
                </a:cubicBezTo>
                <a:cubicBezTo>
                  <a:pt x="5706176" y="4540551"/>
                  <a:pt x="5702304" y="4542203"/>
                  <a:pt x="5698276" y="4542513"/>
                </a:cubicBezTo>
                <a:cubicBezTo>
                  <a:pt x="5697037" y="4542616"/>
                  <a:pt x="5695643" y="4542616"/>
                  <a:pt x="5694249" y="4542306"/>
                </a:cubicBezTo>
                <a:cubicBezTo>
                  <a:pt x="5692391" y="4541997"/>
                  <a:pt x="5690687" y="4541274"/>
                  <a:pt x="5688828" y="4539828"/>
                </a:cubicBezTo>
                <a:cubicBezTo>
                  <a:pt x="5698276" y="4528986"/>
                  <a:pt x="5701065" y="4519177"/>
                  <a:pt x="5707416" y="4508129"/>
                </a:cubicBezTo>
                <a:close/>
                <a:moveTo>
                  <a:pt x="931353" y="4508111"/>
                </a:moveTo>
                <a:cubicBezTo>
                  <a:pt x="933056" y="4506975"/>
                  <a:pt x="933831" y="4507388"/>
                  <a:pt x="933986" y="4508627"/>
                </a:cubicBezTo>
                <a:cubicBezTo>
                  <a:pt x="933986" y="4508627"/>
                  <a:pt x="934140" y="4509866"/>
                  <a:pt x="934296" y="4511002"/>
                </a:cubicBezTo>
                <a:cubicBezTo>
                  <a:pt x="934450" y="4512241"/>
                  <a:pt x="935225" y="4512654"/>
                  <a:pt x="935225" y="4512654"/>
                </a:cubicBezTo>
                <a:cubicBezTo>
                  <a:pt x="935380" y="4513893"/>
                  <a:pt x="934760" y="4514719"/>
                  <a:pt x="933676" y="4515029"/>
                </a:cubicBezTo>
                <a:cubicBezTo>
                  <a:pt x="933676" y="4515029"/>
                  <a:pt x="932747" y="4513377"/>
                  <a:pt x="932747" y="4513377"/>
                </a:cubicBezTo>
                <a:cubicBezTo>
                  <a:pt x="932437" y="4510899"/>
                  <a:pt x="932282" y="4509763"/>
                  <a:pt x="931353" y="4508111"/>
                </a:cubicBezTo>
                <a:close/>
                <a:moveTo>
                  <a:pt x="1403012" y="4507801"/>
                </a:moveTo>
                <a:lnTo>
                  <a:pt x="1405180" y="4510899"/>
                </a:lnTo>
                <a:cubicBezTo>
                  <a:pt x="1404716" y="4511208"/>
                  <a:pt x="1404096" y="4511621"/>
                  <a:pt x="1403477" y="4511725"/>
                </a:cubicBezTo>
                <a:cubicBezTo>
                  <a:pt x="1402857" y="4511828"/>
                  <a:pt x="1402237" y="4511725"/>
                  <a:pt x="1401928" y="4511208"/>
                </a:cubicBezTo>
                <a:cubicBezTo>
                  <a:pt x="1401153" y="4510692"/>
                  <a:pt x="1401153" y="4510176"/>
                  <a:pt x="1401463" y="4509660"/>
                </a:cubicBezTo>
                <a:cubicBezTo>
                  <a:pt x="1401928" y="4509247"/>
                  <a:pt x="1402547" y="4508627"/>
                  <a:pt x="1403012" y="4507801"/>
                </a:cubicBezTo>
                <a:close/>
                <a:moveTo>
                  <a:pt x="6789366" y="4507715"/>
                </a:moveTo>
                <a:lnTo>
                  <a:pt x="6788437" y="4511020"/>
                </a:lnTo>
                <a:lnTo>
                  <a:pt x="6796336" y="4507922"/>
                </a:lnTo>
                <a:cubicBezTo>
                  <a:pt x="6804546" y="4509471"/>
                  <a:pt x="6808883" y="4517009"/>
                  <a:pt x="6807489" y="4524237"/>
                </a:cubicBezTo>
                <a:cubicBezTo>
                  <a:pt x="6806869" y="4526611"/>
                  <a:pt x="6805940" y="4529090"/>
                  <a:pt x="6804081" y="4531155"/>
                </a:cubicBezTo>
                <a:lnTo>
                  <a:pt x="6796801" y="4535388"/>
                </a:lnTo>
                <a:lnTo>
                  <a:pt x="6796181" y="4541790"/>
                </a:lnTo>
                <a:cubicBezTo>
                  <a:pt x="6795407" y="4543236"/>
                  <a:pt x="6794168" y="4544475"/>
                  <a:pt x="6791999" y="4545404"/>
                </a:cubicBezTo>
                <a:cubicBezTo>
                  <a:pt x="6790915" y="4545920"/>
                  <a:pt x="6789676" y="4546437"/>
                  <a:pt x="6788282" y="4546643"/>
                </a:cubicBezTo>
                <a:cubicBezTo>
                  <a:pt x="6784409" y="4547160"/>
                  <a:pt x="6780382" y="4545817"/>
                  <a:pt x="6777749" y="4539209"/>
                </a:cubicBezTo>
                <a:cubicBezTo>
                  <a:pt x="6776509" y="4537660"/>
                  <a:pt x="6777284" y="4538073"/>
                  <a:pt x="6776974" y="4536834"/>
                </a:cubicBezTo>
                <a:cubicBezTo>
                  <a:pt x="6776509" y="4535698"/>
                  <a:pt x="6775270" y="4534046"/>
                  <a:pt x="6774650" y="4533633"/>
                </a:cubicBezTo>
                <a:cubicBezTo>
                  <a:pt x="6777284" y="4532291"/>
                  <a:pt x="6777129" y="4530329"/>
                  <a:pt x="6779297" y="4528470"/>
                </a:cubicBezTo>
                <a:lnTo>
                  <a:pt x="6782550" y="4526611"/>
                </a:lnTo>
                <a:lnTo>
                  <a:pt x="6781466" y="4520519"/>
                </a:lnTo>
                <a:lnTo>
                  <a:pt x="6779607" y="4521449"/>
                </a:lnTo>
                <a:cubicBezTo>
                  <a:pt x="6775735" y="4517318"/>
                  <a:pt x="6775735" y="4512362"/>
                  <a:pt x="6777904" y="4509265"/>
                </a:cubicBezTo>
                <a:cubicBezTo>
                  <a:pt x="6780072" y="4506064"/>
                  <a:pt x="6784409" y="4504721"/>
                  <a:pt x="6789366" y="4507715"/>
                </a:cubicBezTo>
                <a:close/>
                <a:moveTo>
                  <a:pt x="1463886" y="4507698"/>
                </a:moveTo>
                <a:cubicBezTo>
                  <a:pt x="1464041" y="4510382"/>
                  <a:pt x="1466984" y="4512447"/>
                  <a:pt x="1468223" y="4515339"/>
                </a:cubicBezTo>
                <a:cubicBezTo>
                  <a:pt x="1468688" y="4516268"/>
                  <a:pt x="1468997" y="4517301"/>
                  <a:pt x="1468997" y="4518437"/>
                </a:cubicBezTo>
                <a:cubicBezTo>
                  <a:pt x="1468997" y="4518437"/>
                  <a:pt x="1468997" y="4518437"/>
                  <a:pt x="1468688" y="4517610"/>
                </a:cubicBezTo>
                <a:cubicBezTo>
                  <a:pt x="1468688" y="4517610"/>
                  <a:pt x="1468997" y="4518437"/>
                  <a:pt x="1468223" y="4518746"/>
                </a:cubicBezTo>
                <a:cubicBezTo>
                  <a:pt x="1466364" y="4517198"/>
                  <a:pt x="1465125" y="4514719"/>
                  <a:pt x="1464351" y="4512551"/>
                </a:cubicBezTo>
                <a:cubicBezTo>
                  <a:pt x="1463576" y="4510279"/>
                  <a:pt x="1463266" y="4508420"/>
                  <a:pt x="1463111" y="4508008"/>
                </a:cubicBezTo>
                <a:cubicBezTo>
                  <a:pt x="1463886" y="4507698"/>
                  <a:pt x="1463886" y="4507698"/>
                  <a:pt x="1463886" y="4507698"/>
                </a:cubicBezTo>
                <a:close/>
                <a:moveTo>
                  <a:pt x="1757724" y="4507595"/>
                </a:moveTo>
                <a:cubicBezTo>
                  <a:pt x="1757879" y="4506665"/>
                  <a:pt x="1760357" y="4508008"/>
                  <a:pt x="1760357" y="4508008"/>
                </a:cubicBezTo>
                <a:cubicBezTo>
                  <a:pt x="1761132" y="4509040"/>
                  <a:pt x="1759273" y="4511415"/>
                  <a:pt x="1759273" y="4512241"/>
                </a:cubicBezTo>
                <a:cubicBezTo>
                  <a:pt x="1758344" y="4512138"/>
                  <a:pt x="1757569" y="4511105"/>
                  <a:pt x="1756640" y="4511002"/>
                </a:cubicBezTo>
                <a:cubicBezTo>
                  <a:pt x="1756795" y="4510073"/>
                  <a:pt x="1756950" y="4508317"/>
                  <a:pt x="1757724" y="4507595"/>
                </a:cubicBezTo>
                <a:close/>
                <a:moveTo>
                  <a:pt x="1576651" y="4507491"/>
                </a:moveTo>
                <a:cubicBezTo>
                  <a:pt x="1578044" y="4508627"/>
                  <a:pt x="1576651" y="4512138"/>
                  <a:pt x="1576496" y="4514100"/>
                </a:cubicBezTo>
                <a:cubicBezTo>
                  <a:pt x="1575411" y="4513687"/>
                  <a:pt x="1574328" y="4513274"/>
                  <a:pt x="1574637" y="4514100"/>
                </a:cubicBezTo>
                <a:cubicBezTo>
                  <a:pt x="1573553" y="4513687"/>
                  <a:pt x="1572933" y="4513067"/>
                  <a:pt x="1572469" y="4512344"/>
                </a:cubicBezTo>
                <a:cubicBezTo>
                  <a:pt x="1572158" y="4511621"/>
                  <a:pt x="1572004" y="4510692"/>
                  <a:pt x="1572004" y="4509763"/>
                </a:cubicBezTo>
                <a:cubicBezTo>
                  <a:pt x="1572469" y="4508627"/>
                  <a:pt x="1574017" y="4507904"/>
                  <a:pt x="1576651" y="4507491"/>
                </a:cubicBezTo>
                <a:close/>
                <a:moveTo>
                  <a:pt x="5938366" y="4507096"/>
                </a:moveTo>
                <a:cubicBezTo>
                  <a:pt x="5937591" y="4507922"/>
                  <a:pt x="5935888" y="4508748"/>
                  <a:pt x="5935113" y="4509574"/>
                </a:cubicBezTo>
                <a:cubicBezTo>
                  <a:pt x="5935113" y="4509574"/>
                  <a:pt x="5935113" y="4509574"/>
                  <a:pt x="5934184" y="4508645"/>
                </a:cubicBezTo>
                <a:cubicBezTo>
                  <a:pt x="5935888" y="4508748"/>
                  <a:pt x="5936662" y="4505237"/>
                  <a:pt x="5938366" y="4507096"/>
                </a:cubicBezTo>
                <a:close/>
                <a:moveTo>
                  <a:pt x="1547685" y="4506872"/>
                </a:moveTo>
                <a:cubicBezTo>
                  <a:pt x="1547995" y="4507698"/>
                  <a:pt x="1548459" y="4509040"/>
                  <a:pt x="1548924" y="4510382"/>
                </a:cubicBezTo>
                <a:lnTo>
                  <a:pt x="1549234" y="4511931"/>
                </a:lnTo>
                <a:lnTo>
                  <a:pt x="1551557" y="4512241"/>
                </a:lnTo>
                <a:cubicBezTo>
                  <a:pt x="1553416" y="4513170"/>
                  <a:pt x="1554965" y="4514926"/>
                  <a:pt x="1556049" y="4517507"/>
                </a:cubicBezTo>
                <a:cubicBezTo>
                  <a:pt x="1554810" y="4521534"/>
                  <a:pt x="1549079" y="4520811"/>
                  <a:pt x="1546136" y="4520811"/>
                </a:cubicBezTo>
                <a:cubicBezTo>
                  <a:pt x="1545207" y="4517198"/>
                  <a:pt x="1544122" y="4513687"/>
                  <a:pt x="1545361" y="4511518"/>
                </a:cubicBezTo>
                <a:lnTo>
                  <a:pt x="1547220" y="4511725"/>
                </a:lnTo>
                <a:lnTo>
                  <a:pt x="1547065" y="4511002"/>
                </a:lnTo>
                <a:cubicBezTo>
                  <a:pt x="1546601" y="4509660"/>
                  <a:pt x="1546601" y="4508111"/>
                  <a:pt x="1547685" y="4506872"/>
                </a:cubicBezTo>
                <a:close/>
                <a:moveTo>
                  <a:pt x="5925238" y="4506412"/>
                </a:moveTo>
                <a:cubicBezTo>
                  <a:pt x="5927562" y="4506399"/>
                  <a:pt x="5929459" y="4506683"/>
                  <a:pt x="5929846" y="4506683"/>
                </a:cubicBezTo>
                <a:cubicBezTo>
                  <a:pt x="5929846" y="4507612"/>
                  <a:pt x="5929846" y="4507612"/>
                  <a:pt x="5929846" y="4507612"/>
                </a:cubicBezTo>
                <a:cubicBezTo>
                  <a:pt x="5927368" y="4506786"/>
                  <a:pt x="5924425" y="4508851"/>
                  <a:pt x="5921327" y="4509161"/>
                </a:cubicBezTo>
                <a:cubicBezTo>
                  <a:pt x="5920243" y="4509265"/>
                  <a:pt x="5919159" y="4509161"/>
                  <a:pt x="5918074" y="4508748"/>
                </a:cubicBezTo>
                <a:cubicBezTo>
                  <a:pt x="5918074" y="4508748"/>
                  <a:pt x="5918074" y="4508645"/>
                  <a:pt x="5919004" y="4508748"/>
                </a:cubicBezTo>
                <a:cubicBezTo>
                  <a:pt x="5919004" y="4508748"/>
                  <a:pt x="5918074" y="4508748"/>
                  <a:pt x="5918074" y="4507922"/>
                </a:cubicBezTo>
                <a:cubicBezTo>
                  <a:pt x="5920165" y="4506735"/>
                  <a:pt x="5922915" y="4506425"/>
                  <a:pt x="5925238" y="4506412"/>
                </a:cubicBezTo>
                <a:close/>
                <a:moveTo>
                  <a:pt x="1126832" y="4506355"/>
                </a:moveTo>
                <a:cubicBezTo>
                  <a:pt x="1126212" y="4507285"/>
                  <a:pt x="1124198" y="4511931"/>
                  <a:pt x="1123269" y="4511002"/>
                </a:cubicBezTo>
                <a:cubicBezTo>
                  <a:pt x="1123269" y="4511002"/>
                  <a:pt x="1124044" y="4510073"/>
                  <a:pt x="1124663" y="4509143"/>
                </a:cubicBezTo>
                <a:cubicBezTo>
                  <a:pt x="1125438" y="4508214"/>
                  <a:pt x="1125438" y="4508214"/>
                  <a:pt x="1124508" y="4507388"/>
                </a:cubicBezTo>
                <a:cubicBezTo>
                  <a:pt x="1125128" y="4506459"/>
                  <a:pt x="1125128" y="4506459"/>
                  <a:pt x="1126832" y="4506355"/>
                </a:cubicBezTo>
                <a:close/>
                <a:moveTo>
                  <a:pt x="1784406" y="4506252"/>
                </a:moveTo>
                <a:cubicBezTo>
                  <a:pt x="1786613" y="4506459"/>
                  <a:pt x="1788626" y="4507388"/>
                  <a:pt x="1788239" y="4509453"/>
                </a:cubicBezTo>
                <a:cubicBezTo>
                  <a:pt x="1787774" y="4510279"/>
                  <a:pt x="1787155" y="4510692"/>
                  <a:pt x="1786380" y="4510899"/>
                </a:cubicBezTo>
                <a:cubicBezTo>
                  <a:pt x="1783747" y="4511208"/>
                  <a:pt x="1779720" y="4508834"/>
                  <a:pt x="1779410" y="4507388"/>
                </a:cubicBezTo>
                <a:cubicBezTo>
                  <a:pt x="1779797" y="4506562"/>
                  <a:pt x="1782198" y="4506045"/>
                  <a:pt x="1784406" y="4506252"/>
                </a:cubicBezTo>
                <a:close/>
                <a:moveTo>
                  <a:pt x="6134619" y="4505960"/>
                </a:moveTo>
                <a:cubicBezTo>
                  <a:pt x="6136478" y="4507715"/>
                  <a:pt x="6138182" y="4506993"/>
                  <a:pt x="6139886" y="4508748"/>
                </a:cubicBezTo>
                <a:cubicBezTo>
                  <a:pt x="6138337" y="4510400"/>
                  <a:pt x="6137407" y="4512156"/>
                  <a:pt x="6136633" y="4512981"/>
                </a:cubicBezTo>
                <a:cubicBezTo>
                  <a:pt x="6133225" y="4511123"/>
                  <a:pt x="6132296" y="4508438"/>
                  <a:pt x="6134619" y="4505960"/>
                </a:cubicBezTo>
                <a:close/>
                <a:moveTo>
                  <a:pt x="881786" y="4505942"/>
                </a:moveTo>
                <a:cubicBezTo>
                  <a:pt x="883800" y="4506769"/>
                  <a:pt x="883025" y="4512035"/>
                  <a:pt x="880547" y="4511415"/>
                </a:cubicBezTo>
                <a:cubicBezTo>
                  <a:pt x="879617" y="4511208"/>
                  <a:pt x="878688" y="4510382"/>
                  <a:pt x="877449" y="4508420"/>
                </a:cubicBezTo>
                <a:cubicBezTo>
                  <a:pt x="879462" y="4506149"/>
                  <a:pt x="880856" y="4505633"/>
                  <a:pt x="881786" y="4505942"/>
                </a:cubicBezTo>
                <a:close/>
                <a:moveTo>
                  <a:pt x="952264" y="4505736"/>
                </a:moveTo>
                <a:cubicBezTo>
                  <a:pt x="953503" y="4505426"/>
                  <a:pt x="953658" y="4506459"/>
                  <a:pt x="954277" y="4506872"/>
                </a:cubicBezTo>
                <a:cubicBezTo>
                  <a:pt x="955207" y="4508524"/>
                  <a:pt x="953813" y="4515029"/>
                  <a:pt x="952728" y="4515339"/>
                </a:cubicBezTo>
                <a:cubicBezTo>
                  <a:pt x="951954" y="4513274"/>
                  <a:pt x="950560" y="4509660"/>
                  <a:pt x="951024" y="4507388"/>
                </a:cubicBezTo>
                <a:cubicBezTo>
                  <a:pt x="951179" y="4506665"/>
                  <a:pt x="951644" y="4506046"/>
                  <a:pt x="952264" y="4505736"/>
                </a:cubicBezTo>
                <a:close/>
                <a:moveTo>
                  <a:pt x="1606391" y="4504910"/>
                </a:moveTo>
                <a:cubicBezTo>
                  <a:pt x="1607475" y="4505323"/>
                  <a:pt x="1607630" y="4508214"/>
                  <a:pt x="1608869" y="4508627"/>
                </a:cubicBezTo>
                <a:cubicBezTo>
                  <a:pt x="1608869" y="4508627"/>
                  <a:pt x="1608869" y="4508524"/>
                  <a:pt x="1607475" y="4510176"/>
                </a:cubicBezTo>
                <a:cubicBezTo>
                  <a:pt x="1606700" y="4510589"/>
                  <a:pt x="1605926" y="4510899"/>
                  <a:pt x="1604841" y="4510486"/>
                </a:cubicBezTo>
                <a:cubicBezTo>
                  <a:pt x="1603758" y="4510073"/>
                  <a:pt x="1603138" y="4508524"/>
                  <a:pt x="1602828" y="4507698"/>
                </a:cubicBezTo>
                <a:cubicBezTo>
                  <a:pt x="1603602" y="4507285"/>
                  <a:pt x="1603293" y="4506562"/>
                  <a:pt x="1604067" y="4506149"/>
                </a:cubicBezTo>
                <a:cubicBezTo>
                  <a:pt x="1605307" y="4504497"/>
                  <a:pt x="1605307" y="4504497"/>
                  <a:pt x="1606391" y="4504910"/>
                </a:cubicBezTo>
                <a:close/>
                <a:moveTo>
                  <a:pt x="1466364" y="4504703"/>
                </a:moveTo>
                <a:cubicBezTo>
                  <a:pt x="1475504" y="4507388"/>
                  <a:pt x="1472870" y="4513893"/>
                  <a:pt x="1477982" y="4515545"/>
                </a:cubicBezTo>
                <a:cubicBezTo>
                  <a:pt x="1476587" y="4516991"/>
                  <a:pt x="1476587" y="4516991"/>
                  <a:pt x="1474729" y="4516887"/>
                </a:cubicBezTo>
                <a:cubicBezTo>
                  <a:pt x="1474419" y="4516062"/>
                  <a:pt x="1473645" y="4516371"/>
                  <a:pt x="1474109" y="4515132"/>
                </a:cubicBezTo>
                <a:cubicBezTo>
                  <a:pt x="1471166" y="4514513"/>
                  <a:pt x="1466674" y="4508214"/>
                  <a:pt x="1466364" y="4504703"/>
                </a:cubicBezTo>
                <a:close/>
                <a:moveTo>
                  <a:pt x="885813" y="4504394"/>
                </a:moveTo>
                <a:lnTo>
                  <a:pt x="886278" y="4507904"/>
                </a:lnTo>
                <a:cubicBezTo>
                  <a:pt x="885658" y="4508111"/>
                  <a:pt x="884884" y="4508214"/>
                  <a:pt x="884264" y="4508111"/>
                </a:cubicBezTo>
                <a:cubicBezTo>
                  <a:pt x="883645" y="4507904"/>
                  <a:pt x="883180" y="4507595"/>
                  <a:pt x="883180" y="4507078"/>
                </a:cubicBezTo>
                <a:cubicBezTo>
                  <a:pt x="882715" y="4506252"/>
                  <a:pt x="883025" y="4505839"/>
                  <a:pt x="883490" y="4505530"/>
                </a:cubicBezTo>
                <a:cubicBezTo>
                  <a:pt x="884109" y="4505219"/>
                  <a:pt x="884884" y="4504910"/>
                  <a:pt x="885813" y="4504394"/>
                </a:cubicBezTo>
                <a:close/>
                <a:moveTo>
                  <a:pt x="674535" y="4503980"/>
                </a:moveTo>
                <a:cubicBezTo>
                  <a:pt x="675309" y="4503980"/>
                  <a:pt x="676238" y="4504910"/>
                  <a:pt x="676238" y="4504910"/>
                </a:cubicBezTo>
                <a:cubicBezTo>
                  <a:pt x="677013" y="4505839"/>
                  <a:pt x="677013" y="4505839"/>
                  <a:pt x="677788" y="4505013"/>
                </a:cubicBezTo>
                <a:cubicBezTo>
                  <a:pt x="677788" y="4505013"/>
                  <a:pt x="677943" y="4505839"/>
                  <a:pt x="677943" y="4505839"/>
                </a:cubicBezTo>
                <a:cubicBezTo>
                  <a:pt x="677013" y="4505839"/>
                  <a:pt x="677943" y="4505839"/>
                  <a:pt x="678717" y="4506769"/>
                </a:cubicBezTo>
                <a:cubicBezTo>
                  <a:pt x="677943" y="4508524"/>
                  <a:pt x="678098" y="4509350"/>
                  <a:pt x="677322" y="4510176"/>
                </a:cubicBezTo>
                <a:cubicBezTo>
                  <a:pt x="676858" y="4510589"/>
                  <a:pt x="676238" y="4511002"/>
                  <a:pt x="675619" y="4511208"/>
                </a:cubicBezTo>
                <a:cubicBezTo>
                  <a:pt x="674999" y="4511415"/>
                  <a:pt x="674380" y="4511415"/>
                  <a:pt x="673915" y="4511002"/>
                </a:cubicBezTo>
                <a:cubicBezTo>
                  <a:pt x="673915" y="4510073"/>
                  <a:pt x="673141" y="4510073"/>
                  <a:pt x="673141" y="4509143"/>
                </a:cubicBezTo>
                <a:cubicBezTo>
                  <a:pt x="672211" y="4507388"/>
                  <a:pt x="672056" y="4506459"/>
                  <a:pt x="672831" y="4505633"/>
                </a:cubicBezTo>
                <a:cubicBezTo>
                  <a:pt x="672831" y="4504703"/>
                  <a:pt x="673760" y="4504807"/>
                  <a:pt x="674535" y="4503980"/>
                </a:cubicBezTo>
                <a:close/>
                <a:moveTo>
                  <a:pt x="5770613" y="4503585"/>
                </a:moveTo>
                <a:cubicBezTo>
                  <a:pt x="5778048" y="4503585"/>
                  <a:pt x="5790440" y="4504102"/>
                  <a:pt x="5796016" y="4508748"/>
                </a:cubicBezTo>
                <a:cubicBezTo>
                  <a:pt x="5794777" y="4511020"/>
                  <a:pt x="5792763" y="4512052"/>
                  <a:pt x="5790440" y="4512362"/>
                </a:cubicBezTo>
                <a:cubicBezTo>
                  <a:pt x="5783470" y="4513292"/>
                  <a:pt x="5773401" y="4507096"/>
                  <a:pt x="5770613" y="4503585"/>
                </a:cubicBezTo>
                <a:close/>
                <a:moveTo>
                  <a:pt x="1137364" y="4502948"/>
                </a:moveTo>
                <a:cubicBezTo>
                  <a:pt x="1137364" y="4502948"/>
                  <a:pt x="1138139" y="4502948"/>
                  <a:pt x="1138139" y="4502948"/>
                </a:cubicBezTo>
                <a:cubicBezTo>
                  <a:pt x="1137984" y="4503980"/>
                  <a:pt x="1137984" y="4504910"/>
                  <a:pt x="1137209" y="4504807"/>
                </a:cubicBezTo>
                <a:cubicBezTo>
                  <a:pt x="1136745" y="4504807"/>
                  <a:pt x="1136590" y="4504600"/>
                  <a:pt x="1136590" y="4504290"/>
                </a:cubicBezTo>
                <a:cubicBezTo>
                  <a:pt x="1136745" y="4503877"/>
                  <a:pt x="1136900" y="4503464"/>
                  <a:pt x="1137364" y="4502948"/>
                </a:cubicBezTo>
                <a:close/>
                <a:moveTo>
                  <a:pt x="5621758" y="4502759"/>
                </a:moveTo>
                <a:cubicBezTo>
                  <a:pt x="5623307" y="4503689"/>
                  <a:pt x="5625785" y="4502863"/>
                  <a:pt x="5627334" y="4504618"/>
                </a:cubicBezTo>
                <a:cubicBezTo>
                  <a:pt x="5627334" y="4504618"/>
                  <a:pt x="5628108" y="4505547"/>
                  <a:pt x="5627954" y="4507199"/>
                </a:cubicBezTo>
                <a:cubicBezTo>
                  <a:pt x="5629347" y="4509884"/>
                  <a:pt x="5626560" y="4512466"/>
                  <a:pt x="5626560" y="4512466"/>
                </a:cubicBezTo>
                <a:cubicBezTo>
                  <a:pt x="5626560" y="4512466"/>
                  <a:pt x="5626560" y="4512466"/>
                  <a:pt x="5627489" y="4512466"/>
                </a:cubicBezTo>
                <a:cubicBezTo>
                  <a:pt x="5625785" y="4512466"/>
                  <a:pt x="5623926" y="4513292"/>
                  <a:pt x="5622377" y="4513292"/>
                </a:cubicBezTo>
                <a:cubicBezTo>
                  <a:pt x="5620828" y="4511949"/>
                  <a:pt x="5619899" y="4510813"/>
                  <a:pt x="5619279" y="4509884"/>
                </a:cubicBezTo>
                <a:cubicBezTo>
                  <a:pt x="5617576" y="4506993"/>
                  <a:pt x="5619589" y="4505341"/>
                  <a:pt x="5621758" y="4502759"/>
                </a:cubicBezTo>
                <a:close/>
                <a:moveTo>
                  <a:pt x="836556" y="4502638"/>
                </a:moveTo>
                <a:cubicBezTo>
                  <a:pt x="847864" y="4505426"/>
                  <a:pt x="855453" y="4515545"/>
                  <a:pt x="851736" y="4524942"/>
                </a:cubicBezTo>
                <a:cubicBezTo>
                  <a:pt x="849412" y="4529072"/>
                  <a:pt x="846314" y="4531137"/>
                  <a:pt x="843061" y="4531447"/>
                </a:cubicBezTo>
                <a:cubicBezTo>
                  <a:pt x="841978" y="4531550"/>
                  <a:pt x="840893" y="4531447"/>
                  <a:pt x="839809" y="4531240"/>
                </a:cubicBezTo>
                <a:cubicBezTo>
                  <a:pt x="835472" y="4530311"/>
                  <a:pt x="831599" y="4526800"/>
                  <a:pt x="829896" y="4522050"/>
                </a:cubicBezTo>
                <a:cubicBezTo>
                  <a:pt x="827882" y="4516475"/>
                  <a:pt x="828966" y="4509143"/>
                  <a:pt x="836556" y="4502638"/>
                </a:cubicBezTo>
                <a:close/>
                <a:moveTo>
                  <a:pt x="1152699" y="4501606"/>
                </a:moveTo>
                <a:cubicBezTo>
                  <a:pt x="1153474" y="4503154"/>
                  <a:pt x="1153474" y="4503154"/>
                  <a:pt x="1153009" y="4503980"/>
                </a:cubicBezTo>
                <a:cubicBezTo>
                  <a:pt x="1153474" y="4503154"/>
                  <a:pt x="1154248" y="4503671"/>
                  <a:pt x="1155487" y="4503258"/>
                </a:cubicBezTo>
                <a:cubicBezTo>
                  <a:pt x="1159980" y="4500780"/>
                  <a:pt x="1162303" y="4504497"/>
                  <a:pt x="1163697" y="4509660"/>
                </a:cubicBezTo>
                <a:cubicBezTo>
                  <a:pt x="1162613" y="4509970"/>
                  <a:pt x="1163542" y="4512861"/>
                  <a:pt x="1163232" y="4514822"/>
                </a:cubicBezTo>
                <a:cubicBezTo>
                  <a:pt x="1162613" y="4515958"/>
                  <a:pt x="1161993" y="4516887"/>
                  <a:pt x="1161219" y="4517610"/>
                </a:cubicBezTo>
                <a:lnTo>
                  <a:pt x="1161219" y="4517714"/>
                </a:lnTo>
                <a:lnTo>
                  <a:pt x="1161529" y="4523393"/>
                </a:lnTo>
                <a:cubicBezTo>
                  <a:pt x="1161374" y="4526077"/>
                  <a:pt x="1160754" y="4528349"/>
                  <a:pt x="1159050" y="4529795"/>
                </a:cubicBezTo>
                <a:lnTo>
                  <a:pt x="1156727" y="4530724"/>
                </a:lnTo>
                <a:lnTo>
                  <a:pt x="1158586" y="4533099"/>
                </a:lnTo>
                <a:cubicBezTo>
                  <a:pt x="1159205" y="4534338"/>
                  <a:pt x="1159515" y="4535680"/>
                  <a:pt x="1159050" y="4536609"/>
                </a:cubicBezTo>
                <a:cubicBezTo>
                  <a:pt x="1157501" y="4535680"/>
                  <a:pt x="1156727" y="4534751"/>
                  <a:pt x="1155952" y="4533822"/>
                </a:cubicBezTo>
                <a:cubicBezTo>
                  <a:pt x="1155177" y="4533409"/>
                  <a:pt x="1154868" y="4532892"/>
                  <a:pt x="1154868" y="4532376"/>
                </a:cubicBezTo>
                <a:lnTo>
                  <a:pt x="1155798" y="4531137"/>
                </a:lnTo>
                <a:lnTo>
                  <a:pt x="1155487" y="4531240"/>
                </a:lnTo>
                <a:lnTo>
                  <a:pt x="1151150" y="4531034"/>
                </a:lnTo>
                <a:lnTo>
                  <a:pt x="1150996" y="4531137"/>
                </a:lnTo>
                <a:cubicBezTo>
                  <a:pt x="1150531" y="4531343"/>
                  <a:pt x="1150221" y="4531343"/>
                  <a:pt x="1149756" y="4531343"/>
                </a:cubicBezTo>
                <a:lnTo>
                  <a:pt x="1149911" y="4531034"/>
                </a:lnTo>
                <a:lnTo>
                  <a:pt x="1149911" y="4530931"/>
                </a:lnTo>
                <a:lnTo>
                  <a:pt x="1150376" y="4529588"/>
                </a:lnTo>
                <a:lnTo>
                  <a:pt x="1150686" y="4529072"/>
                </a:lnTo>
                <a:lnTo>
                  <a:pt x="1151615" y="4527110"/>
                </a:lnTo>
                <a:lnTo>
                  <a:pt x="1151460" y="4526077"/>
                </a:lnTo>
                <a:lnTo>
                  <a:pt x="1153164" y="4523289"/>
                </a:lnTo>
                <a:lnTo>
                  <a:pt x="1153938" y="4518953"/>
                </a:lnTo>
                <a:lnTo>
                  <a:pt x="1152544" y="4518953"/>
                </a:lnTo>
                <a:cubicBezTo>
                  <a:pt x="1151615" y="4518540"/>
                  <a:pt x="1150686" y="4518023"/>
                  <a:pt x="1150066" y="4517404"/>
                </a:cubicBezTo>
                <a:lnTo>
                  <a:pt x="1148982" y="4515545"/>
                </a:lnTo>
                <a:lnTo>
                  <a:pt x="1148982" y="4517198"/>
                </a:lnTo>
                <a:cubicBezTo>
                  <a:pt x="1148053" y="4516268"/>
                  <a:pt x="1146349" y="4516887"/>
                  <a:pt x="1145574" y="4515855"/>
                </a:cubicBezTo>
                <a:cubicBezTo>
                  <a:pt x="1145574" y="4515855"/>
                  <a:pt x="1144799" y="4513067"/>
                  <a:pt x="1144799" y="4513067"/>
                </a:cubicBezTo>
                <a:cubicBezTo>
                  <a:pt x="1145729" y="4512344"/>
                  <a:pt x="1145729" y="4512344"/>
                  <a:pt x="1145729" y="4513170"/>
                </a:cubicBezTo>
                <a:lnTo>
                  <a:pt x="1148517" y="4512964"/>
                </a:lnTo>
                <a:lnTo>
                  <a:pt x="1148207" y="4509970"/>
                </a:lnTo>
                <a:lnTo>
                  <a:pt x="1148827" y="4508420"/>
                </a:lnTo>
                <a:lnTo>
                  <a:pt x="1148363" y="4507078"/>
                </a:lnTo>
                <a:lnTo>
                  <a:pt x="1143096" y="4508420"/>
                </a:lnTo>
                <a:cubicBezTo>
                  <a:pt x="1140927" y="4508937"/>
                  <a:pt x="1138759" y="4509247"/>
                  <a:pt x="1137055" y="4509143"/>
                </a:cubicBezTo>
                <a:lnTo>
                  <a:pt x="1136745" y="4509040"/>
                </a:lnTo>
                <a:lnTo>
                  <a:pt x="1136745" y="4509350"/>
                </a:lnTo>
                <a:lnTo>
                  <a:pt x="1136435" y="4508937"/>
                </a:lnTo>
                <a:lnTo>
                  <a:pt x="1134886" y="4508420"/>
                </a:lnTo>
                <a:cubicBezTo>
                  <a:pt x="1135351" y="4507595"/>
                  <a:pt x="1135816" y="4506872"/>
                  <a:pt x="1137055" y="4506562"/>
                </a:cubicBezTo>
                <a:cubicBezTo>
                  <a:pt x="1138139" y="4506252"/>
                  <a:pt x="1137674" y="4506975"/>
                  <a:pt x="1138139" y="4506252"/>
                </a:cubicBezTo>
                <a:cubicBezTo>
                  <a:pt x="1139378" y="4505839"/>
                  <a:pt x="1138759" y="4505426"/>
                  <a:pt x="1138759" y="4505426"/>
                </a:cubicBezTo>
                <a:cubicBezTo>
                  <a:pt x="1138759" y="4505426"/>
                  <a:pt x="1139378" y="4505839"/>
                  <a:pt x="1139378" y="4505839"/>
                </a:cubicBezTo>
                <a:cubicBezTo>
                  <a:pt x="1139378" y="4505839"/>
                  <a:pt x="1139378" y="4505942"/>
                  <a:pt x="1141702" y="4505219"/>
                </a:cubicBezTo>
                <a:cubicBezTo>
                  <a:pt x="1144490" y="4503877"/>
                  <a:pt x="1144954" y="4503051"/>
                  <a:pt x="1146659" y="4501915"/>
                </a:cubicBezTo>
                <a:cubicBezTo>
                  <a:pt x="1148982" y="4501296"/>
                  <a:pt x="1149601" y="4501812"/>
                  <a:pt x="1152699" y="4501606"/>
                </a:cubicBezTo>
                <a:close/>
                <a:moveTo>
                  <a:pt x="1010040" y="4501399"/>
                </a:moveTo>
                <a:cubicBezTo>
                  <a:pt x="1009421" y="4501915"/>
                  <a:pt x="1014222" y="4507698"/>
                  <a:pt x="1014222" y="4507698"/>
                </a:cubicBezTo>
                <a:cubicBezTo>
                  <a:pt x="1013602" y="4510073"/>
                  <a:pt x="1013602" y="4510073"/>
                  <a:pt x="1010659" y="4509866"/>
                </a:cubicBezTo>
                <a:cubicBezTo>
                  <a:pt x="1009575" y="4509556"/>
                  <a:pt x="1008026" y="4508420"/>
                  <a:pt x="1006787" y="4506872"/>
                </a:cubicBezTo>
                <a:cubicBezTo>
                  <a:pt x="1005393" y="4505323"/>
                  <a:pt x="1004464" y="4503464"/>
                  <a:pt x="1004618" y="4501915"/>
                </a:cubicBezTo>
                <a:cubicBezTo>
                  <a:pt x="1006477" y="4501709"/>
                  <a:pt x="1008181" y="4501606"/>
                  <a:pt x="1010040" y="4501399"/>
                </a:cubicBezTo>
                <a:close/>
                <a:moveTo>
                  <a:pt x="1748121" y="4501089"/>
                </a:moveTo>
                <a:cubicBezTo>
                  <a:pt x="1750909" y="4504497"/>
                  <a:pt x="1748276" y="4507801"/>
                  <a:pt x="1748740" y="4510899"/>
                </a:cubicBezTo>
                <a:cubicBezTo>
                  <a:pt x="1741460" y="4511621"/>
                  <a:pt x="1739137" y="4503877"/>
                  <a:pt x="1742699" y="4501296"/>
                </a:cubicBezTo>
                <a:cubicBezTo>
                  <a:pt x="1743938" y="4500470"/>
                  <a:pt x="1745642" y="4500160"/>
                  <a:pt x="1748121" y="4501089"/>
                </a:cubicBezTo>
                <a:close/>
                <a:moveTo>
                  <a:pt x="1371258" y="4500883"/>
                </a:moveTo>
                <a:cubicBezTo>
                  <a:pt x="1372342" y="4501399"/>
                  <a:pt x="1372807" y="4503051"/>
                  <a:pt x="1373117" y="4503877"/>
                </a:cubicBezTo>
                <a:cubicBezTo>
                  <a:pt x="1372342" y="4504187"/>
                  <a:pt x="1372497" y="4505116"/>
                  <a:pt x="1371723" y="4505426"/>
                </a:cubicBezTo>
                <a:cubicBezTo>
                  <a:pt x="1370949" y="4506149"/>
                  <a:pt x="1370638" y="4506562"/>
                  <a:pt x="1370328" y="4506665"/>
                </a:cubicBezTo>
                <a:cubicBezTo>
                  <a:pt x="1370019" y="4506769"/>
                  <a:pt x="1369864" y="4506665"/>
                  <a:pt x="1369244" y="4506355"/>
                </a:cubicBezTo>
                <a:cubicBezTo>
                  <a:pt x="1368160" y="4505942"/>
                  <a:pt x="1368160" y="4503051"/>
                  <a:pt x="1367076" y="4502638"/>
                </a:cubicBezTo>
                <a:cubicBezTo>
                  <a:pt x="1367076" y="4502638"/>
                  <a:pt x="1367231" y="4502535"/>
                  <a:pt x="1368470" y="4501089"/>
                </a:cubicBezTo>
                <a:cubicBezTo>
                  <a:pt x="1369399" y="4500676"/>
                  <a:pt x="1370174" y="4500470"/>
                  <a:pt x="1371258" y="4500883"/>
                </a:cubicBezTo>
                <a:close/>
                <a:moveTo>
                  <a:pt x="712484" y="4500883"/>
                </a:moveTo>
                <a:cubicBezTo>
                  <a:pt x="714962" y="4502948"/>
                  <a:pt x="713103" y="4505219"/>
                  <a:pt x="712020" y="4508524"/>
                </a:cubicBezTo>
                <a:cubicBezTo>
                  <a:pt x="711245" y="4507595"/>
                  <a:pt x="710315" y="4508317"/>
                  <a:pt x="709387" y="4508937"/>
                </a:cubicBezTo>
                <a:cubicBezTo>
                  <a:pt x="708302" y="4507491"/>
                  <a:pt x="706133" y="4505323"/>
                  <a:pt x="706753" y="4503154"/>
                </a:cubicBezTo>
                <a:cubicBezTo>
                  <a:pt x="706908" y="4502432"/>
                  <a:pt x="707372" y="4501812"/>
                  <a:pt x="708302" y="4501089"/>
                </a:cubicBezTo>
                <a:cubicBezTo>
                  <a:pt x="708302" y="4500160"/>
                  <a:pt x="711710" y="4499850"/>
                  <a:pt x="712484" y="4500883"/>
                </a:cubicBezTo>
                <a:close/>
                <a:moveTo>
                  <a:pt x="1540715" y="4500160"/>
                </a:moveTo>
                <a:cubicBezTo>
                  <a:pt x="1541644" y="4500883"/>
                  <a:pt x="1542418" y="4501915"/>
                  <a:pt x="1543038" y="4503154"/>
                </a:cubicBezTo>
                <a:lnTo>
                  <a:pt x="1543193" y="4508420"/>
                </a:lnTo>
                <a:lnTo>
                  <a:pt x="1543348" y="4508317"/>
                </a:lnTo>
                <a:cubicBezTo>
                  <a:pt x="1543658" y="4508420"/>
                  <a:pt x="1543967" y="4508627"/>
                  <a:pt x="1544277" y="4509143"/>
                </a:cubicBezTo>
                <a:cubicBezTo>
                  <a:pt x="1545052" y="4510176"/>
                  <a:pt x="1544122" y="4512757"/>
                  <a:pt x="1544897" y="4513790"/>
                </a:cubicBezTo>
                <a:cubicBezTo>
                  <a:pt x="1544897" y="4513790"/>
                  <a:pt x="1544897" y="4513790"/>
                  <a:pt x="1543038" y="4514409"/>
                </a:cubicBezTo>
                <a:cubicBezTo>
                  <a:pt x="1542264" y="4514306"/>
                  <a:pt x="1541335" y="4514100"/>
                  <a:pt x="1540560" y="4513067"/>
                </a:cubicBezTo>
                <a:lnTo>
                  <a:pt x="1540405" y="4512241"/>
                </a:lnTo>
                <a:lnTo>
                  <a:pt x="1536378" y="4512964"/>
                </a:lnTo>
                <a:cubicBezTo>
                  <a:pt x="1533434" y="4512861"/>
                  <a:pt x="1530647" y="4511931"/>
                  <a:pt x="1529717" y="4509970"/>
                </a:cubicBezTo>
                <a:cubicBezTo>
                  <a:pt x="1530027" y="4507595"/>
                  <a:pt x="1530337" y="4505013"/>
                  <a:pt x="1530491" y="4502638"/>
                </a:cubicBezTo>
                <a:cubicBezTo>
                  <a:pt x="1533280" y="4498921"/>
                  <a:pt x="1537772" y="4498198"/>
                  <a:pt x="1540715" y="4500160"/>
                </a:cubicBezTo>
                <a:close/>
                <a:moveTo>
                  <a:pt x="1460633" y="4499850"/>
                </a:moveTo>
                <a:cubicBezTo>
                  <a:pt x="1461717" y="4500264"/>
                  <a:pt x="1462957" y="4501606"/>
                  <a:pt x="1464041" y="4502122"/>
                </a:cubicBezTo>
                <a:cubicBezTo>
                  <a:pt x="1464041" y="4502122"/>
                  <a:pt x="1464041" y="4502122"/>
                  <a:pt x="1463421" y="4503258"/>
                </a:cubicBezTo>
                <a:cubicBezTo>
                  <a:pt x="1463111" y="4502019"/>
                  <a:pt x="1460943" y="4501915"/>
                  <a:pt x="1460478" y="4501089"/>
                </a:cubicBezTo>
                <a:cubicBezTo>
                  <a:pt x="1460323" y="4500780"/>
                  <a:pt x="1460323" y="4500367"/>
                  <a:pt x="1460633" y="4499850"/>
                </a:cubicBezTo>
                <a:close/>
                <a:moveTo>
                  <a:pt x="1111652" y="4499024"/>
                </a:moveTo>
                <a:cubicBezTo>
                  <a:pt x="1110568" y="4500264"/>
                  <a:pt x="1108399" y="4503051"/>
                  <a:pt x="1106695" y="4503464"/>
                </a:cubicBezTo>
                <a:cubicBezTo>
                  <a:pt x="1106230" y="4503671"/>
                  <a:pt x="1105611" y="4503568"/>
                  <a:pt x="1105301" y="4503154"/>
                </a:cubicBezTo>
                <a:cubicBezTo>
                  <a:pt x="1106850" y="4501503"/>
                  <a:pt x="1108244" y="4497992"/>
                  <a:pt x="1111652" y="4499024"/>
                </a:cubicBezTo>
                <a:close/>
                <a:moveTo>
                  <a:pt x="6031458" y="4498836"/>
                </a:moveTo>
                <a:cubicBezTo>
                  <a:pt x="6035176" y="4496358"/>
                  <a:pt x="6038584" y="4497183"/>
                  <a:pt x="6042456" y="4499765"/>
                </a:cubicBezTo>
                <a:cubicBezTo>
                  <a:pt x="6042301" y="4501417"/>
                  <a:pt x="6039513" y="4503276"/>
                  <a:pt x="6037500" y="4504515"/>
                </a:cubicBezTo>
                <a:cubicBezTo>
                  <a:pt x="6035021" y="4503999"/>
                  <a:pt x="6032853" y="4501727"/>
                  <a:pt x="6031458" y="4498836"/>
                </a:cubicBezTo>
                <a:close/>
                <a:moveTo>
                  <a:pt x="1322311" y="4498198"/>
                </a:moveTo>
                <a:cubicBezTo>
                  <a:pt x="1322776" y="4498508"/>
                  <a:pt x="1323240" y="4498921"/>
                  <a:pt x="1323705" y="4499437"/>
                </a:cubicBezTo>
                <a:cubicBezTo>
                  <a:pt x="1324479" y="4500470"/>
                  <a:pt x="1325254" y="4501399"/>
                  <a:pt x="1326184" y="4502432"/>
                </a:cubicBezTo>
                <a:cubicBezTo>
                  <a:pt x="1326184" y="4502432"/>
                  <a:pt x="1326184" y="4502432"/>
                  <a:pt x="1321071" y="4498302"/>
                </a:cubicBezTo>
                <a:cubicBezTo>
                  <a:pt x="1321536" y="4497888"/>
                  <a:pt x="1322002" y="4497888"/>
                  <a:pt x="1322311" y="4498198"/>
                </a:cubicBezTo>
                <a:close/>
                <a:moveTo>
                  <a:pt x="1140463" y="4497992"/>
                </a:moveTo>
                <a:cubicBezTo>
                  <a:pt x="1139378" y="4500573"/>
                  <a:pt x="1139378" y="4500573"/>
                  <a:pt x="1137519" y="4502329"/>
                </a:cubicBezTo>
                <a:cubicBezTo>
                  <a:pt x="1137519" y="4501503"/>
                  <a:pt x="1136900" y="4499644"/>
                  <a:pt x="1137830" y="4498818"/>
                </a:cubicBezTo>
                <a:cubicBezTo>
                  <a:pt x="1138759" y="4497888"/>
                  <a:pt x="1138759" y="4497888"/>
                  <a:pt x="1140463" y="4497992"/>
                </a:cubicBezTo>
                <a:close/>
                <a:moveTo>
                  <a:pt x="722068" y="4497940"/>
                </a:moveTo>
                <a:cubicBezTo>
                  <a:pt x="724721" y="4499179"/>
                  <a:pt x="726890" y="4501812"/>
                  <a:pt x="727045" y="4504497"/>
                </a:cubicBezTo>
                <a:cubicBezTo>
                  <a:pt x="725496" y="4506665"/>
                  <a:pt x="723172" y="4507491"/>
                  <a:pt x="720849" y="4507285"/>
                </a:cubicBezTo>
                <a:cubicBezTo>
                  <a:pt x="718525" y="4506975"/>
                  <a:pt x="716356" y="4505736"/>
                  <a:pt x="715117" y="4503980"/>
                </a:cubicBezTo>
                <a:cubicBezTo>
                  <a:pt x="714188" y="4502741"/>
                  <a:pt x="713878" y="4501296"/>
                  <a:pt x="714188" y="4499747"/>
                </a:cubicBezTo>
                <a:cubicBezTo>
                  <a:pt x="716279" y="4496856"/>
                  <a:pt x="719416" y="4496701"/>
                  <a:pt x="722068" y="4497940"/>
                </a:cubicBezTo>
                <a:close/>
                <a:moveTo>
                  <a:pt x="1438948" y="4496443"/>
                </a:moveTo>
                <a:cubicBezTo>
                  <a:pt x="1439877" y="4497372"/>
                  <a:pt x="1442356" y="4497785"/>
                  <a:pt x="1444059" y="4498921"/>
                </a:cubicBezTo>
                <a:cubicBezTo>
                  <a:pt x="1444059" y="4499747"/>
                  <a:pt x="1444834" y="4500780"/>
                  <a:pt x="1444834" y="4501606"/>
                </a:cubicBezTo>
                <a:cubicBezTo>
                  <a:pt x="1444369" y="4501503"/>
                  <a:pt x="1443750" y="4501606"/>
                  <a:pt x="1443130" y="4501606"/>
                </a:cubicBezTo>
                <a:cubicBezTo>
                  <a:pt x="1442510" y="4501606"/>
                  <a:pt x="1442201" y="4501503"/>
                  <a:pt x="1442201" y="4501089"/>
                </a:cubicBezTo>
                <a:cubicBezTo>
                  <a:pt x="1441271" y="4500986"/>
                  <a:pt x="1441426" y="4499334"/>
                  <a:pt x="1441426" y="4499334"/>
                </a:cubicBezTo>
                <a:cubicBezTo>
                  <a:pt x="1440651" y="4499128"/>
                  <a:pt x="1439723" y="4499024"/>
                  <a:pt x="1438948" y="4498095"/>
                </a:cubicBezTo>
                <a:cubicBezTo>
                  <a:pt x="1439723" y="4497372"/>
                  <a:pt x="1438948" y="4497269"/>
                  <a:pt x="1438948" y="4496443"/>
                </a:cubicBezTo>
                <a:close/>
                <a:moveTo>
                  <a:pt x="962332" y="4496236"/>
                </a:moveTo>
                <a:cubicBezTo>
                  <a:pt x="969767" y="4493448"/>
                  <a:pt x="975343" y="4500883"/>
                  <a:pt x="969302" y="4506665"/>
                </a:cubicBezTo>
                <a:cubicBezTo>
                  <a:pt x="967598" y="4507285"/>
                  <a:pt x="966049" y="4507388"/>
                  <a:pt x="964655" y="4507078"/>
                </a:cubicBezTo>
                <a:cubicBezTo>
                  <a:pt x="963261" y="4506769"/>
                  <a:pt x="962022" y="4506046"/>
                  <a:pt x="961248" y="4505013"/>
                </a:cubicBezTo>
                <a:cubicBezTo>
                  <a:pt x="959698" y="4503051"/>
                  <a:pt x="959698" y="4499850"/>
                  <a:pt x="962332" y="4496236"/>
                </a:cubicBezTo>
                <a:close/>
                <a:moveTo>
                  <a:pt x="6253270" y="4495944"/>
                </a:moveTo>
                <a:lnTo>
                  <a:pt x="6253270" y="4497080"/>
                </a:lnTo>
                <a:cubicBezTo>
                  <a:pt x="6253270" y="4498009"/>
                  <a:pt x="6253580" y="4498939"/>
                  <a:pt x="6254044" y="4499662"/>
                </a:cubicBezTo>
                <a:lnTo>
                  <a:pt x="6257762" y="4497597"/>
                </a:lnTo>
                <a:lnTo>
                  <a:pt x="6256833" y="4497493"/>
                </a:lnTo>
                <a:close/>
                <a:moveTo>
                  <a:pt x="6263184" y="4495738"/>
                </a:moveTo>
                <a:lnTo>
                  <a:pt x="6262099" y="4496048"/>
                </a:lnTo>
                <a:cubicBezTo>
                  <a:pt x="6261480" y="4496461"/>
                  <a:pt x="6261325" y="4496977"/>
                  <a:pt x="6262254" y="4497597"/>
                </a:cubicBezTo>
                <a:lnTo>
                  <a:pt x="6259311" y="4497597"/>
                </a:lnTo>
                <a:lnTo>
                  <a:pt x="6259930" y="4497803"/>
                </a:lnTo>
                <a:cubicBezTo>
                  <a:pt x="6260550" y="4498113"/>
                  <a:pt x="6261170" y="4498836"/>
                  <a:pt x="6261944" y="4499868"/>
                </a:cubicBezTo>
                <a:lnTo>
                  <a:pt x="6263958" y="4498629"/>
                </a:lnTo>
                <a:close/>
                <a:moveTo>
                  <a:pt x="6214081" y="4495428"/>
                </a:moveTo>
                <a:cubicBezTo>
                  <a:pt x="6214546" y="4496151"/>
                  <a:pt x="6215630" y="4496461"/>
                  <a:pt x="6216095" y="4497183"/>
                </a:cubicBezTo>
                <a:cubicBezTo>
                  <a:pt x="6215475" y="4497597"/>
                  <a:pt x="6214546" y="4499248"/>
                  <a:pt x="6214081" y="4498526"/>
                </a:cubicBezTo>
                <a:cubicBezTo>
                  <a:pt x="6213461" y="4499042"/>
                  <a:pt x="6212377" y="4497597"/>
                  <a:pt x="6212377" y="4497597"/>
                </a:cubicBezTo>
                <a:cubicBezTo>
                  <a:pt x="6211758" y="4498009"/>
                  <a:pt x="6210983" y="4498423"/>
                  <a:pt x="6209899" y="4498216"/>
                </a:cubicBezTo>
                <a:cubicBezTo>
                  <a:pt x="6210054" y="4496977"/>
                  <a:pt x="6209279" y="4497493"/>
                  <a:pt x="6208815" y="4496770"/>
                </a:cubicBezTo>
                <a:cubicBezTo>
                  <a:pt x="6210054" y="4497080"/>
                  <a:pt x="6212222" y="4495635"/>
                  <a:pt x="6214081" y="4495428"/>
                </a:cubicBezTo>
                <a:close/>
                <a:moveTo>
                  <a:pt x="883490" y="4494481"/>
                </a:moveTo>
                <a:cubicBezTo>
                  <a:pt x="884574" y="4494274"/>
                  <a:pt x="887672" y="4494068"/>
                  <a:pt x="887207" y="4494791"/>
                </a:cubicBezTo>
                <a:cubicBezTo>
                  <a:pt x="887362" y="4495927"/>
                  <a:pt x="887826" y="4495204"/>
                  <a:pt x="888447" y="4495617"/>
                </a:cubicBezTo>
                <a:cubicBezTo>
                  <a:pt x="889066" y="4499231"/>
                  <a:pt x="888447" y="4501915"/>
                  <a:pt x="885658" y="4503258"/>
                </a:cubicBezTo>
                <a:cubicBezTo>
                  <a:pt x="884419" y="4503568"/>
                  <a:pt x="883025" y="4503980"/>
                  <a:pt x="881631" y="4503877"/>
                </a:cubicBezTo>
                <a:cubicBezTo>
                  <a:pt x="880392" y="4503877"/>
                  <a:pt x="879152" y="4503361"/>
                  <a:pt x="878688" y="4501915"/>
                </a:cubicBezTo>
                <a:cubicBezTo>
                  <a:pt x="879152" y="4501193"/>
                  <a:pt x="878533" y="4500780"/>
                  <a:pt x="878997" y="4500057"/>
                </a:cubicBezTo>
                <a:cubicBezTo>
                  <a:pt x="878997" y="4500057"/>
                  <a:pt x="879152" y="4499024"/>
                  <a:pt x="879772" y="4497888"/>
                </a:cubicBezTo>
                <a:cubicBezTo>
                  <a:pt x="880392" y="4496752"/>
                  <a:pt x="881476" y="4495410"/>
                  <a:pt x="883490" y="4494481"/>
                </a:cubicBezTo>
                <a:close/>
                <a:moveTo>
                  <a:pt x="1602828" y="4494378"/>
                </a:moveTo>
                <a:cubicBezTo>
                  <a:pt x="1606700" y="4495617"/>
                  <a:pt x="1607630" y="4496133"/>
                  <a:pt x="1607165" y="4500780"/>
                </a:cubicBezTo>
                <a:cubicBezTo>
                  <a:pt x="1607165" y="4500780"/>
                  <a:pt x="1606546" y="4501915"/>
                  <a:pt x="1606546" y="4501915"/>
                </a:cubicBezTo>
                <a:cubicBezTo>
                  <a:pt x="1604996" y="4506149"/>
                  <a:pt x="1600505" y="4509556"/>
                  <a:pt x="1598646" y="4509350"/>
                </a:cubicBezTo>
                <a:cubicBezTo>
                  <a:pt x="1597717" y="4508834"/>
                  <a:pt x="1596787" y="4507801"/>
                  <a:pt x="1596323" y="4506459"/>
                </a:cubicBezTo>
                <a:cubicBezTo>
                  <a:pt x="1595858" y="4505219"/>
                  <a:pt x="1595858" y="4503671"/>
                  <a:pt x="1596787" y="4501915"/>
                </a:cubicBezTo>
                <a:cubicBezTo>
                  <a:pt x="1597717" y="4498921"/>
                  <a:pt x="1600969" y="4497682"/>
                  <a:pt x="1602828" y="4494378"/>
                </a:cubicBezTo>
                <a:close/>
                <a:moveTo>
                  <a:pt x="1067816" y="4494171"/>
                </a:moveTo>
                <a:lnTo>
                  <a:pt x="1066422" y="4495204"/>
                </a:lnTo>
                <a:lnTo>
                  <a:pt x="1067507" y="4494997"/>
                </a:lnTo>
                <a:close/>
                <a:moveTo>
                  <a:pt x="1448551" y="4493448"/>
                </a:moveTo>
                <a:cubicBezTo>
                  <a:pt x="1448551" y="4493448"/>
                  <a:pt x="1449326" y="4494584"/>
                  <a:pt x="1450100" y="4495513"/>
                </a:cubicBezTo>
                <a:cubicBezTo>
                  <a:pt x="1450875" y="4496546"/>
                  <a:pt x="1451649" y="4496752"/>
                  <a:pt x="1451649" y="4496752"/>
                </a:cubicBezTo>
                <a:cubicBezTo>
                  <a:pt x="1452424" y="4497785"/>
                  <a:pt x="1452424" y="4498611"/>
                  <a:pt x="1451495" y="4499334"/>
                </a:cubicBezTo>
                <a:cubicBezTo>
                  <a:pt x="1451495" y="4499334"/>
                  <a:pt x="1449791" y="4498198"/>
                  <a:pt x="1449791" y="4498198"/>
                </a:cubicBezTo>
                <a:cubicBezTo>
                  <a:pt x="1448241" y="4496133"/>
                  <a:pt x="1447467" y="4495101"/>
                  <a:pt x="1445918" y="4493965"/>
                </a:cubicBezTo>
                <a:cubicBezTo>
                  <a:pt x="1446848" y="4492313"/>
                  <a:pt x="1447777" y="4492519"/>
                  <a:pt x="1448551" y="4493448"/>
                </a:cubicBezTo>
                <a:close/>
                <a:moveTo>
                  <a:pt x="928409" y="4493345"/>
                </a:moveTo>
                <a:cubicBezTo>
                  <a:pt x="930114" y="4492209"/>
                  <a:pt x="930888" y="4493862"/>
                  <a:pt x="931353" y="4496236"/>
                </a:cubicBezTo>
                <a:cubicBezTo>
                  <a:pt x="933366" y="4500780"/>
                  <a:pt x="932592" y="4503464"/>
                  <a:pt x="929029" y="4504394"/>
                </a:cubicBezTo>
                <a:lnTo>
                  <a:pt x="928100" y="4503568"/>
                </a:lnTo>
                <a:lnTo>
                  <a:pt x="930733" y="4508317"/>
                </a:lnTo>
                <a:lnTo>
                  <a:pt x="926706" y="4511105"/>
                </a:lnTo>
                <a:lnTo>
                  <a:pt x="927170" y="4511828"/>
                </a:lnTo>
                <a:cubicBezTo>
                  <a:pt x="926706" y="4512551"/>
                  <a:pt x="927015" y="4513790"/>
                  <a:pt x="926551" y="4514513"/>
                </a:cubicBezTo>
                <a:cubicBezTo>
                  <a:pt x="925776" y="4513997"/>
                  <a:pt x="923918" y="4513893"/>
                  <a:pt x="924382" y="4513067"/>
                </a:cubicBezTo>
                <a:lnTo>
                  <a:pt x="924382" y="4512654"/>
                </a:lnTo>
                <a:lnTo>
                  <a:pt x="914314" y="4519572"/>
                </a:lnTo>
                <a:lnTo>
                  <a:pt x="914469" y="4519985"/>
                </a:lnTo>
                <a:cubicBezTo>
                  <a:pt x="914779" y="4523393"/>
                  <a:pt x="912765" y="4528555"/>
                  <a:pt x="908428" y="4526490"/>
                </a:cubicBezTo>
                <a:cubicBezTo>
                  <a:pt x="907653" y="4526284"/>
                  <a:pt x="907189" y="4525458"/>
                  <a:pt x="907189" y="4524425"/>
                </a:cubicBezTo>
                <a:lnTo>
                  <a:pt x="897120" y="4531137"/>
                </a:lnTo>
                <a:cubicBezTo>
                  <a:pt x="898979" y="4516784"/>
                  <a:pt x="914159" y="4509143"/>
                  <a:pt x="925312" y="4499850"/>
                </a:cubicBezTo>
                <a:lnTo>
                  <a:pt x="926241" y="4500883"/>
                </a:lnTo>
                <a:lnTo>
                  <a:pt x="925931" y="4498508"/>
                </a:lnTo>
                <a:cubicBezTo>
                  <a:pt x="925931" y="4497063"/>
                  <a:pt x="926241" y="4495823"/>
                  <a:pt x="926706" y="4494894"/>
                </a:cubicBezTo>
                <a:cubicBezTo>
                  <a:pt x="927170" y="4494171"/>
                  <a:pt x="927635" y="4493655"/>
                  <a:pt x="928409" y="4493345"/>
                </a:cubicBezTo>
                <a:close/>
                <a:moveTo>
                  <a:pt x="5571571" y="4493260"/>
                </a:moveTo>
                <a:cubicBezTo>
                  <a:pt x="5572346" y="4494189"/>
                  <a:pt x="5572965" y="4495428"/>
                  <a:pt x="5573275" y="4497183"/>
                </a:cubicBezTo>
                <a:cubicBezTo>
                  <a:pt x="5570332" y="4500798"/>
                  <a:pt x="5566305" y="4507096"/>
                  <a:pt x="5560883" y="4508129"/>
                </a:cubicBezTo>
                <a:cubicBezTo>
                  <a:pt x="5559179" y="4508438"/>
                  <a:pt x="5557321" y="4508129"/>
                  <a:pt x="5555152" y="4506993"/>
                </a:cubicBezTo>
                <a:cubicBezTo>
                  <a:pt x="5554688" y="4497803"/>
                  <a:pt x="5566460" y="4486651"/>
                  <a:pt x="5571571" y="4493260"/>
                </a:cubicBezTo>
                <a:close/>
                <a:moveTo>
                  <a:pt x="1384889" y="4493139"/>
                </a:moveTo>
                <a:cubicBezTo>
                  <a:pt x="1388607" y="4490764"/>
                  <a:pt x="1394803" y="4492003"/>
                  <a:pt x="1399759" y="4494997"/>
                </a:cubicBezTo>
                <a:lnTo>
                  <a:pt x="1403942" y="4499024"/>
                </a:lnTo>
                <a:lnTo>
                  <a:pt x="1409517" y="4495823"/>
                </a:lnTo>
                <a:cubicBezTo>
                  <a:pt x="1417572" y="4493758"/>
                  <a:pt x="1429189" y="4497269"/>
                  <a:pt x="1427485" y="4505530"/>
                </a:cubicBezTo>
                <a:cubicBezTo>
                  <a:pt x="1423768" y="4506975"/>
                  <a:pt x="1419896" y="4508111"/>
                  <a:pt x="1415713" y="4508420"/>
                </a:cubicBezTo>
                <a:cubicBezTo>
                  <a:pt x="1413700" y="4508524"/>
                  <a:pt x="1411531" y="4508420"/>
                  <a:pt x="1409363" y="4508008"/>
                </a:cubicBezTo>
                <a:lnTo>
                  <a:pt x="1406574" y="4507181"/>
                </a:lnTo>
                <a:lnTo>
                  <a:pt x="1406729" y="4507388"/>
                </a:lnTo>
                <a:lnTo>
                  <a:pt x="1405955" y="4506975"/>
                </a:lnTo>
                <a:lnTo>
                  <a:pt x="1402547" y="4505839"/>
                </a:lnTo>
                <a:lnTo>
                  <a:pt x="1402237" y="4506872"/>
                </a:lnTo>
                <a:cubicBezTo>
                  <a:pt x="1400844" y="4508008"/>
                  <a:pt x="1398985" y="4509453"/>
                  <a:pt x="1397125" y="4509247"/>
                </a:cubicBezTo>
                <a:cubicBezTo>
                  <a:pt x="1396506" y="4509143"/>
                  <a:pt x="1395887" y="4508834"/>
                  <a:pt x="1395267" y="4508317"/>
                </a:cubicBezTo>
                <a:lnTo>
                  <a:pt x="1394803" y="4507181"/>
                </a:lnTo>
                <a:lnTo>
                  <a:pt x="1394338" y="4507388"/>
                </a:lnTo>
                <a:cubicBezTo>
                  <a:pt x="1393253" y="4504807"/>
                  <a:pt x="1393099" y="4503464"/>
                  <a:pt x="1393873" y="4502845"/>
                </a:cubicBezTo>
                <a:lnTo>
                  <a:pt x="1394803" y="4502741"/>
                </a:lnTo>
                <a:lnTo>
                  <a:pt x="1395422" y="4501089"/>
                </a:lnTo>
                <a:lnTo>
                  <a:pt x="1390155" y="4498095"/>
                </a:lnTo>
                <a:cubicBezTo>
                  <a:pt x="1388296" y="4496856"/>
                  <a:pt x="1386592" y="4495204"/>
                  <a:pt x="1384889" y="4493139"/>
                </a:cubicBezTo>
                <a:close/>
                <a:moveTo>
                  <a:pt x="606245" y="4492906"/>
                </a:moveTo>
                <a:cubicBezTo>
                  <a:pt x="607890" y="4493810"/>
                  <a:pt x="609013" y="4495875"/>
                  <a:pt x="608703" y="4497579"/>
                </a:cubicBezTo>
                <a:cubicBezTo>
                  <a:pt x="607930" y="4498405"/>
                  <a:pt x="607155" y="4498921"/>
                  <a:pt x="606225" y="4499128"/>
                </a:cubicBezTo>
                <a:cubicBezTo>
                  <a:pt x="603592" y="4499747"/>
                  <a:pt x="600959" y="4497888"/>
                  <a:pt x="600649" y="4495204"/>
                </a:cubicBezTo>
                <a:cubicBezTo>
                  <a:pt x="602430" y="4492261"/>
                  <a:pt x="604599" y="4492003"/>
                  <a:pt x="606245" y="4492906"/>
                </a:cubicBezTo>
                <a:close/>
                <a:moveTo>
                  <a:pt x="6239484" y="4492434"/>
                </a:moveTo>
                <a:lnTo>
                  <a:pt x="6238555" y="4493157"/>
                </a:lnTo>
                <a:lnTo>
                  <a:pt x="6238865" y="4493673"/>
                </a:lnTo>
                <a:cubicBezTo>
                  <a:pt x="6239329" y="4494189"/>
                  <a:pt x="6239794" y="4494912"/>
                  <a:pt x="6239329" y="4495841"/>
                </a:cubicBezTo>
                <a:cubicBezTo>
                  <a:pt x="6240723" y="4496048"/>
                  <a:pt x="6243047" y="4496358"/>
                  <a:pt x="6245370" y="4496358"/>
                </a:cubicBezTo>
                <a:cubicBezTo>
                  <a:pt x="6247539" y="4496461"/>
                  <a:pt x="6249707" y="4496254"/>
                  <a:pt x="6250482" y="4495325"/>
                </a:cubicBezTo>
                <a:lnTo>
                  <a:pt x="6250637" y="4494809"/>
                </a:lnTo>
                <a:lnTo>
                  <a:pt x="6244131" y="4492743"/>
                </a:lnTo>
                <a:close/>
                <a:moveTo>
                  <a:pt x="1703201" y="4491900"/>
                </a:moveTo>
                <a:cubicBezTo>
                  <a:pt x="1705524" y="4496030"/>
                  <a:pt x="1709087" y="4497785"/>
                  <a:pt x="1712960" y="4498818"/>
                </a:cubicBezTo>
                <a:lnTo>
                  <a:pt x="1717142" y="4499850"/>
                </a:lnTo>
                <a:lnTo>
                  <a:pt x="1717451" y="4499024"/>
                </a:lnTo>
                <a:cubicBezTo>
                  <a:pt x="1717606" y="4498818"/>
                  <a:pt x="1717606" y="4498818"/>
                  <a:pt x="1717142" y="4498921"/>
                </a:cubicBezTo>
                <a:cubicBezTo>
                  <a:pt x="1718381" y="4496752"/>
                  <a:pt x="1719310" y="4493758"/>
                  <a:pt x="1721169" y="4493965"/>
                </a:cubicBezTo>
                <a:cubicBezTo>
                  <a:pt x="1724112" y="4495101"/>
                  <a:pt x="1724576" y="4498405"/>
                  <a:pt x="1724267" y="4501915"/>
                </a:cubicBezTo>
                <a:lnTo>
                  <a:pt x="1724112" y="4502329"/>
                </a:lnTo>
                <a:lnTo>
                  <a:pt x="1726900" y="4504394"/>
                </a:lnTo>
                <a:cubicBezTo>
                  <a:pt x="1727674" y="4505323"/>
                  <a:pt x="1728449" y="4506459"/>
                  <a:pt x="1728913" y="4507801"/>
                </a:cubicBezTo>
                <a:lnTo>
                  <a:pt x="1729843" y="4512551"/>
                </a:lnTo>
                <a:lnTo>
                  <a:pt x="1731857" y="4513170"/>
                </a:lnTo>
                <a:cubicBezTo>
                  <a:pt x="1733096" y="4522464"/>
                  <a:pt x="1730772" y="4525561"/>
                  <a:pt x="1727520" y="4525458"/>
                </a:cubicBezTo>
                <a:lnTo>
                  <a:pt x="1726900" y="4525148"/>
                </a:lnTo>
                <a:lnTo>
                  <a:pt x="1723802" y="4529381"/>
                </a:lnTo>
                <a:cubicBezTo>
                  <a:pt x="1720085" y="4532892"/>
                  <a:pt x="1715128" y="4535267"/>
                  <a:pt x="1710481" y="4535783"/>
                </a:cubicBezTo>
                <a:cubicBezTo>
                  <a:pt x="1705059" y="4536300"/>
                  <a:pt x="1699948" y="4534338"/>
                  <a:pt x="1696850" y="4528969"/>
                </a:cubicBezTo>
                <a:lnTo>
                  <a:pt x="1696076" y="4526697"/>
                </a:lnTo>
                <a:lnTo>
                  <a:pt x="1693908" y="4525458"/>
                </a:lnTo>
                <a:cubicBezTo>
                  <a:pt x="1690964" y="4523289"/>
                  <a:pt x="1688795" y="4520399"/>
                  <a:pt x="1688795" y="4517610"/>
                </a:cubicBezTo>
                <a:cubicBezTo>
                  <a:pt x="1690964" y="4514719"/>
                  <a:pt x="1692978" y="4513687"/>
                  <a:pt x="1694836" y="4512964"/>
                </a:cubicBezTo>
                <a:lnTo>
                  <a:pt x="1695920" y="4512551"/>
                </a:lnTo>
                <a:lnTo>
                  <a:pt x="1698864" y="4504497"/>
                </a:lnTo>
                <a:cubicBezTo>
                  <a:pt x="1700413" y="4500676"/>
                  <a:pt x="1702117" y="4496546"/>
                  <a:pt x="1703201" y="4491900"/>
                </a:cubicBezTo>
                <a:close/>
                <a:moveTo>
                  <a:pt x="5903979" y="4491608"/>
                </a:moveTo>
                <a:cubicBezTo>
                  <a:pt x="5907077" y="4507303"/>
                  <a:pt x="5913892" y="4521242"/>
                  <a:pt x="5916061" y="4534356"/>
                </a:cubicBezTo>
                <a:cubicBezTo>
                  <a:pt x="5903514" y="4526302"/>
                  <a:pt x="5900416" y="4508129"/>
                  <a:pt x="5894840" y="4493260"/>
                </a:cubicBezTo>
                <a:cubicBezTo>
                  <a:pt x="5897938" y="4493053"/>
                  <a:pt x="5899177" y="4490885"/>
                  <a:pt x="5903979" y="4491608"/>
                </a:cubicBezTo>
                <a:close/>
                <a:moveTo>
                  <a:pt x="1188635" y="4491280"/>
                </a:moveTo>
                <a:cubicBezTo>
                  <a:pt x="1190340" y="4493036"/>
                  <a:pt x="1191269" y="4496546"/>
                  <a:pt x="1188945" y="4499024"/>
                </a:cubicBezTo>
                <a:cubicBezTo>
                  <a:pt x="1187396" y="4501606"/>
                  <a:pt x="1183988" y="4501503"/>
                  <a:pt x="1181665" y="4503980"/>
                </a:cubicBezTo>
                <a:cubicBezTo>
                  <a:pt x="1178102" y="4501193"/>
                  <a:pt x="1177173" y="4500264"/>
                  <a:pt x="1178722" y="4496030"/>
                </a:cubicBezTo>
                <a:cubicBezTo>
                  <a:pt x="1178722" y="4496030"/>
                  <a:pt x="1179496" y="4495204"/>
                  <a:pt x="1179496" y="4495204"/>
                </a:cubicBezTo>
                <a:cubicBezTo>
                  <a:pt x="1181975" y="4491796"/>
                  <a:pt x="1186932" y="4490247"/>
                  <a:pt x="1188635" y="4491280"/>
                </a:cubicBezTo>
                <a:close/>
                <a:moveTo>
                  <a:pt x="1664012" y="4491074"/>
                </a:moveTo>
                <a:cubicBezTo>
                  <a:pt x="1671912" y="4489215"/>
                  <a:pt x="1683994" y="4493242"/>
                  <a:pt x="1683529" y="4501399"/>
                </a:cubicBezTo>
                <a:lnTo>
                  <a:pt x="1673461" y="4503568"/>
                </a:lnTo>
                <a:lnTo>
                  <a:pt x="1677023" y="4505530"/>
                </a:lnTo>
                <a:cubicBezTo>
                  <a:pt x="1675009" y="4507904"/>
                  <a:pt x="1675320" y="4510692"/>
                  <a:pt x="1671602" y="4513790"/>
                </a:cubicBezTo>
                <a:cubicBezTo>
                  <a:pt x="1663547" y="4507698"/>
                  <a:pt x="1654873" y="4503568"/>
                  <a:pt x="1647128" y="4499128"/>
                </a:cubicBezTo>
                <a:cubicBezTo>
                  <a:pt x="1648212" y="4501089"/>
                  <a:pt x="1650691" y="4506769"/>
                  <a:pt x="1649916" y="4508317"/>
                </a:cubicBezTo>
                <a:cubicBezTo>
                  <a:pt x="1648212" y="4505736"/>
                  <a:pt x="1646354" y="4500264"/>
                  <a:pt x="1646974" y="4499024"/>
                </a:cubicBezTo>
                <a:cubicBezTo>
                  <a:pt x="1643411" y="4496959"/>
                  <a:pt x="1640003" y="4494791"/>
                  <a:pt x="1637060" y="4492313"/>
                </a:cubicBezTo>
                <a:cubicBezTo>
                  <a:pt x="1644030" y="4490351"/>
                  <a:pt x="1650691" y="4492003"/>
                  <a:pt x="1657352" y="4494997"/>
                </a:cubicBezTo>
                <a:lnTo>
                  <a:pt x="1658590" y="4495720"/>
                </a:lnTo>
                <a:lnTo>
                  <a:pt x="1658590" y="4494274"/>
                </a:lnTo>
                <a:cubicBezTo>
                  <a:pt x="1659675" y="4492622"/>
                  <a:pt x="1661689" y="4491590"/>
                  <a:pt x="1664012" y="4491074"/>
                </a:cubicBezTo>
                <a:close/>
                <a:moveTo>
                  <a:pt x="5770458" y="4490678"/>
                </a:moveTo>
                <a:cubicBezTo>
                  <a:pt x="5774950" y="4490369"/>
                  <a:pt x="5774950" y="4493157"/>
                  <a:pt x="5775105" y="4495944"/>
                </a:cubicBezTo>
                <a:cubicBezTo>
                  <a:pt x="5772937" y="4495635"/>
                  <a:pt x="5772162" y="4497700"/>
                  <a:pt x="5770768" y="4497803"/>
                </a:cubicBezTo>
                <a:cubicBezTo>
                  <a:pt x="5770303" y="4497803"/>
                  <a:pt x="5769839" y="4497597"/>
                  <a:pt x="5769064" y="4497080"/>
                </a:cubicBezTo>
                <a:cubicBezTo>
                  <a:pt x="5768444" y="4495428"/>
                  <a:pt x="5768599" y="4493466"/>
                  <a:pt x="5770458" y="4490678"/>
                </a:cubicBezTo>
                <a:close/>
                <a:moveTo>
                  <a:pt x="863508" y="4490661"/>
                </a:moveTo>
                <a:cubicBezTo>
                  <a:pt x="863198" y="4491486"/>
                  <a:pt x="862733" y="4492106"/>
                  <a:pt x="862114" y="4492416"/>
                </a:cubicBezTo>
                <a:cubicBezTo>
                  <a:pt x="861649" y="4492622"/>
                  <a:pt x="860720" y="4492416"/>
                  <a:pt x="859325" y="4491693"/>
                </a:cubicBezTo>
                <a:cubicBezTo>
                  <a:pt x="859325" y="4491693"/>
                  <a:pt x="859171" y="4490867"/>
                  <a:pt x="859171" y="4490867"/>
                </a:cubicBezTo>
                <a:cubicBezTo>
                  <a:pt x="860565" y="4488182"/>
                  <a:pt x="861494" y="4489112"/>
                  <a:pt x="863508" y="4490661"/>
                </a:cubicBezTo>
                <a:close/>
                <a:moveTo>
                  <a:pt x="1572778" y="4490041"/>
                </a:moveTo>
                <a:cubicBezTo>
                  <a:pt x="1572778" y="4490041"/>
                  <a:pt x="1572778" y="4490041"/>
                  <a:pt x="1573862" y="4490351"/>
                </a:cubicBezTo>
                <a:cubicBezTo>
                  <a:pt x="1572004" y="4491590"/>
                  <a:pt x="1569370" y="4493345"/>
                  <a:pt x="1567512" y="4493448"/>
                </a:cubicBezTo>
                <a:cubicBezTo>
                  <a:pt x="1568286" y="4491900"/>
                  <a:pt x="1570454" y="4489525"/>
                  <a:pt x="1572778" y="4490041"/>
                </a:cubicBezTo>
                <a:close/>
                <a:moveTo>
                  <a:pt x="973175" y="4489421"/>
                </a:moveTo>
                <a:cubicBezTo>
                  <a:pt x="973175" y="4489421"/>
                  <a:pt x="973175" y="4489421"/>
                  <a:pt x="973949" y="4489525"/>
                </a:cubicBezTo>
                <a:cubicBezTo>
                  <a:pt x="973949" y="4489525"/>
                  <a:pt x="973949" y="4490351"/>
                  <a:pt x="973175" y="4490970"/>
                </a:cubicBezTo>
                <a:cubicBezTo>
                  <a:pt x="973175" y="4490970"/>
                  <a:pt x="973019" y="4490661"/>
                  <a:pt x="972865" y="4490454"/>
                </a:cubicBezTo>
                <a:cubicBezTo>
                  <a:pt x="972865" y="4490144"/>
                  <a:pt x="972865" y="4489731"/>
                  <a:pt x="973175" y="4489421"/>
                </a:cubicBezTo>
                <a:close/>
                <a:moveTo>
                  <a:pt x="1068281" y="4489215"/>
                </a:moveTo>
                <a:cubicBezTo>
                  <a:pt x="1069210" y="4490144"/>
                  <a:pt x="1069520" y="4490970"/>
                  <a:pt x="1069365" y="4491796"/>
                </a:cubicBezTo>
                <a:lnTo>
                  <a:pt x="1068901" y="4492932"/>
                </a:lnTo>
                <a:lnTo>
                  <a:pt x="1070140" y="4494378"/>
                </a:lnTo>
                <a:lnTo>
                  <a:pt x="1080053" y="4491900"/>
                </a:lnTo>
                <a:cubicBezTo>
                  <a:pt x="1086404" y="4500883"/>
                  <a:pt x="1103752" y="4502638"/>
                  <a:pt x="1105146" y="4515855"/>
                </a:cubicBezTo>
                <a:lnTo>
                  <a:pt x="1104837" y="4516887"/>
                </a:lnTo>
                <a:lnTo>
                  <a:pt x="1105920" y="4518127"/>
                </a:lnTo>
                <a:cubicBezTo>
                  <a:pt x="1106850" y="4519882"/>
                  <a:pt x="1107470" y="4521844"/>
                  <a:pt x="1107315" y="4524115"/>
                </a:cubicBezTo>
                <a:cubicBezTo>
                  <a:pt x="1106385" y="4525251"/>
                  <a:pt x="1104991" y="4525871"/>
                  <a:pt x="1103442" y="4526181"/>
                </a:cubicBezTo>
                <a:lnTo>
                  <a:pt x="1102358" y="4526181"/>
                </a:lnTo>
                <a:lnTo>
                  <a:pt x="1102203" y="4527936"/>
                </a:lnTo>
                <a:cubicBezTo>
                  <a:pt x="1102358" y="4531240"/>
                  <a:pt x="1103132" y="4534235"/>
                  <a:pt x="1102668" y="4537745"/>
                </a:cubicBezTo>
                <a:cubicBezTo>
                  <a:pt x="1100345" y="4540946"/>
                  <a:pt x="1097711" y="4544250"/>
                  <a:pt x="1094768" y="4547348"/>
                </a:cubicBezTo>
                <a:lnTo>
                  <a:pt x="1087333" y="4553750"/>
                </a:lnTo>
                <a:lnTo>
                  <a:pt x="1087333" y="4559842"/>
                </a:lnTo>
                <a:cubicBezTo>
                  <a:pt x="1087488" y="4561907"/>
                  <a:pt x="1087643" y="4564076"/>
                  <a:pt x="1086559" y="4566244"/>
                </a:cubicBezTo>
                <a:cubicBezTo>
                  <a:pt x="1085629" y="4565521"/>
                  <a:pt x="1083616" y="4563043"/>
                  <a:pt x="1084855" y="4560358"/>
                </a:cubicBezTo>
                <a:cubicBezTo>
                  <a:pt x="1085629" y="4559119"/>
                  <a:pt x="1085629" y="4557777"/>
                  <a:pt x="1085629" y="4556538"/>
                </a:cubicBezTo>
                <a:lnTo>
                  <a:pt x="1085939" y="4554989"/>
                </a:lnTo>
                <a:lnTo>
                  <a:pt x="1084855" y="4555918"/>
                </a:lnTo>
                <a:cubicBezTo>
                  <a:pt x="1077729" y="4560875"/>
                  <a:pt x="1069675" y="4563972"/>
                  <a:pt x="1061311" y="4562940"/>
                </a:cubicBezTo>
                <a:cubicBezTo>
                  <a:pt x="1047680" y="4561288"/>
                  <a:pt x="1045356" y="4550239"/>
                  <a:pt x="1035598" y="4541979"/>
                </a:cubicBezTo>
                <a:cubicBezTo>
                  <a:pt x="1038231" y="4536919"/>
                  <a:pt x="1038541" y="4533409"/>
                  <a:pt x="1037921" y="4530311"/>
                </a:cubicBezTo>
                <a:lnTo>
                  <a:pt x="1037302" y="4528142"/>
                </a:lnTo>
                <a:lnTo>
                  <a:pt x="1032500" y="4526490"/>
                </a:lnTo>
                <a:cubicBezTo>
                  <a:pt x="1032655" y="4523496"/>
                  <a:pt x="1032964" y="4521431"/>
                  <a:pt x="1033584" y="4520088"/>
                </a:cubicBezTo>
                <a:lnTo>
                  <a:pt x="1035907" y="4517920"/>
                </a:lnTo>
                <a:lnTo>
                  <a:pt x="1034979" y="4516475"/>
                </a:lnTo>
                <a:cubicBezTo>
                  <a:pt x="1034049" y="4510486"/>
                  <a:pt x="1039470" y="4504703"/>
                  <a:pt x="1043343" y="4500676"/>
                </a:cubicBezTo>
                <a:cubicBezTo>
                  <a:pt x="1045976" y="4497785"/>
                  <a:pt x="1048919" y="4494997"/>
                  <a:pt x="1051707" y="4494997"/>
                </a:cubicBezTo>
                <a:cubicBezTo>
                  <a:pt x="1052637" y="4494997"/>
                  <a:pt x="1053566" y="4495307"/>
                  <a:pt x="1054340" y="4496030"/>
                </a:cubicBezTo>
                <a:lnTo>
                  <a:pt x="1055270" y="4497166"/>
                </a:lnTo>
                <a:lnTo>
                  <a:pt x="1056509" y="4497579"/>
                </a:lnTo>
                <a:lnTo>
                  <a:pt x="1065183" y="4495513"/>
                </a:lnTo>
                <a:lnTo>
                  <a:pt x="1061775" y="4494997"/>
                </a:lnTo>
                <a:cubicBezTo>
                  <a:pt x="1062705" y="4495101"/>
                  <a:pt x="1062705" y="4495101"/>
                  <a:pt x="1062705" y="4495101"/>
                </a:cubicBezTo>
                <a:cubicBezTo>
                  <a:pt x="1063479" y="4494274"/>
                  <a:pt x="1062705" y="4494171"/>
                  <a:pt x="1062550" y="4493345"/>
                </a:cubicBezTo>
                <a:cubicBezTo>
                  <a:pt x="1062550" y="4493345"/>
                  <a:pt x="1062705" y="4494171"/>
                  <a:pt x="1061775" y="4493345"/>
                </a:cubicBezTo>
                <a:cubicBezTo>
                  <a:pt x="1062550" y="4493345"/>
                  <a:pt x="1062550" y="4492416"/>
                  <a:pt x="1062550" y="4491590"/>
                </a:cubicBezTo>
                <a:cubicBezTo>
                  <a:pt x="1064099" y="4489938"/>
                  <a:pt x="1066577" y="4488285"/>
                  <a:pt x="1068281" y="4489215"/>
                </a:cubicBezTo>
                <a:close/>
                <a:moveTo>
                  <a:pt x="849877" y="4488905"/>
                </a:moveTo>
                <a:cubicBezTo>
                  <a:pt x="850497" y="4487873"/>
                  <a:pt x="853285" y="4489525"/>
                  <a:pt x="854214" y="4489421"/>
                </a:cubicBezTo>
                <a:cubicBezTo>
                  <a:pt x="854369" y="4490351"/>
                  <a:pt x="853595" y="4491280"/>
                  <a:pt x="853750" y="4492106"/>
                </a:cubicBezTo>
                <a:cubicBezTo>
                  <a:pt x="852820" y="4492209"/>
                  <a:pt x="851117" y="4492313"/>
                  <a:pt x="850187" y="4491486"/>
                </a:cubicBezTo>
                <a:cubicBezTo>
                  <a:pt x="849412" y="4491590"/>
                  <a:pt x="849877" y="4488905"/>
                  <a:pt x="849877" y="4488905"/>
                </a:cubicBezTo>
                <a:close/>
                <a:moveTo>
                  <a:pt x="5936817" y="4488613"/>
                </a:moveTo>
                <a:cubicBezTo>
                  <a:pt x="5938520" y="4492434"/>
                  <a:pt x="5934493" y="4496564"/>
                  <a:pt x="5931086" y="4495841"/>
                </a:cubicBezTo>
                <a:cubicBezTo>
                  <a:pt x="5927213" y="4490885"/>
                  <a:pt x="5933874" y="4487168"/>
                  <a:pt x="5936817" y="4488613"/>
                </a:cubicBezTo>
                <a:close/>
                <a:moveTo>
                  <a:pt x="6213771" y="4487994"/>
                </a:moveTo>
                <a:cubicBezTo>
                  <a:pt x="6213771" y="4487994"/>
                  <a:pt x="6215011" y="4488407"/>
                  <a:pt x="6216095" y="4488716"/>
                </a:cubicBezTo>
                <a:cubicBezTo>
                  <a:pt x="6217334" y="4489027"/>
                  <a:pt x="6217954" y="4488613"/>
                  <a:pt x="6217954" y="4488613"/>
                </a:cubicBezTo>
                <a:cubicBezTo>
                  <a:pt x="6219193" y="4488923"/>
                  <a:pt x="6219812" y="4489646"/>
                  <a:pt x="6219503" y="4490885"/>
                </a:cubicBezTo>
                <a:cubicBezTo>
                  <a:pt x="6219503" y="4490885"/>
                  <a:pt x="6217644" y="4491091"/>
                  <a:pt x="6217644" y="4491091"/>
                </a:cubicBezTo>
                <a:cubicBezTo>
                  <a:pt x="6215320" y="4490369"/>
                  <a:pt x="6214081" y="4490059"/>
                  <a:pt x="6212222" y="4490162"/>
                </a:cubicBezTo>
                <a:cubicBezTo>
                  <a:pt x="6211913" y="4488097"/>
                  <a:pt x="6212532" y="4487684"/>
                  <a:pt x="6213771" y="4487994"/>
                </a:cubicBezTo>
                <a:close/>
                <a:moveTo>
                  <a:pt x="999817" y="4487769"/>
                </a:moveTo>
                <a:cubicBezTo>
                  <a:pt x="1017320" y="4490041"/>
                  <a:pt x="1008491" y="4500470"/>
                  <a:pt x="1001056" y="4503154"/>
                </a:cubicBezTo>
                <a:lnTo>
                  <a:pt x="999042" y="4503464"/>
                </a:lnTo>
                <a:lnTo>
                  <a:pt x="1002450" y="4509350"/>
                </a:lnTo>
                <a:cubicBezTo>
                  <a:pt x="1003999" y="4512138"/>
                  <a:pt x="1005393" y="4514926"/>
                  <a:pt x="1006013" y="4518023"/>
                </a:cubicBezTo>
                <a:cubicBezTo>
                  <a:pt x="1004464" y="4517507"/>
                  <a:pt x="1002915" y="4516578"/>
                  <a:pt x="1001366" y="4515339"/>
                </a:cubicBezTo>
                <a:lnTo>
                  <a:pt x="998113" y="4511725"/>
                </a:lnTo>
                <a:lnTo>
                  <a:pt x="996719" y="4515339"/>
                </a:lnTo>
                <a:cubicBezTo>
                  <a:pt x="996409" y="4517301"/>
                  <a:pt x="995634" y="4517610"/>
                  <a:pt x="993466" y="4516681"/>
                </a:cubicBezTo>
                <a:cubicBezTo>
                  <a:pt x="993621" y="4515752"/>
                  <a:pt x="994395" y="4514306"/>
                  <a:pt x="995325" y="4513170"/>
                </a:cubicBezTo>
                <a:lnTo>
                  <a:pt x="997803" y="4511415"/>
                </a:lnTo>
                <a:lnTo>
                  <a:pt x="997494" y="4511105"/>
                </a:lnTo>
                <a:cubicBezTo>
                  <a:pt x="996409" y="4509453"/>
                  <a:pt x="995790" y="4507801"/>
                  <a:pt x="995790" y="4506046"/>
                </a:cubicBezTo>
                <a:lnTo>
                  <a:pt x="996873" y="4503361"/>
                </a:lnTo>
                <a:lnTo>
                  <a:pt x="995325" y="4502638"/>
                </a:lnTo>
                <a:cubicBezTo>
                  <a:pt x="993776" y="4500676"/>
                  <a:pt x="994550" y="4496236"/>
                  <a:pt x="999817" y="4487769"/>
                </a:cubicBezTo>
                <a:close/>
                <a:moveTo>
                  <a:pt x="5510077" y="4487168"/>
                </a:moveTo>
                <a:cubicBezTo>
                  <a:pt x="5511471" y="4488923"/>
                  <a:pt x="5513795" y="4491608"/>
                  <a:pt x="5511781" y="4494189"/>
                </a:cubicBezTo>
                <a:cubicBezTo>
                  <a:pt x="5511007" y="4494189"/>
                  <a:pt x="5511007" y="4495015"/>
                  <a:pt x="5510077" y="4495015"/>
                </a:cubicBezTo>
                <a:cubicBezTo>
                  <a:pt x="5510077" y="4495015"/>
                  <a:pt x="5509303" y="4495428"/>
                  <a:pt x="5507909" y="4495532"/>
                </a:cubicBezTo>
                <a:cubicBezTo>
                  <a:pt x="5506670" y="4495635"/>
                  <a:pt x="5505121" y="4495428"/>
                  <a:pt x="5503572" y="4494086"/>
                </a:cubicBezTo>
                <a:cubicBezTo>
                  <a:pt x="5503262" y="4493673"/>
                  <a:pt x="5502643" y="4492743"/>
                  <a:pt x="5502332" y="4491917"/>
                </a:cubicBezTo>
                <a:cubicBezTo>
                  <a:pt x="5502023" y="4491195"/>
                  <a:pt x="5501868" y="4490575"/>
                  <a:pt x="5502332" y="4490575"/>
                </a:cubicBezTo>
                <a:cubicBezTo>
                  <a:pt x="5503262" y="4489646"/>
                  <a:pt x="5502332" y="4489646"/>
                  <a:pt x="5502488" y="4488820"/>
                </a:cubicBezTo>
                <a:cubicBezTo>
                  <a:pt x="5505121" y="4486238"/>
                  <a:pt x="5507754" y="4485412"/>
                  <a:pt x="5510077" y="4487168"/>
                </a:cubicBezTo>
                <a:close/>
                <a:moveTo>
                  <a:pt x="1604067" y="4487150"/>
                </a:moveTo>
                <a:cubicBezTo>
                  <a:pt x="1607320" y="4485291"/>
                  <a:pt x="1612432" y="4489112"/>
                  <a:pt x="1612276" y="4492829"/>
                </a:cubicBezTo>
                <a:cubicBezTo>
                  <a:pt x="1609179" y="4490351"/>
                  <a:pt x="1606081" y="4490867"/>
                  <a:pt x="1604686" y="4489421"/>
                </a:cubicBezTo>
                <a:cubicBezTo>
                  <a:pt x="1604377" y="4488905"/>
                  <a:pt x="1604067" y="4488285"/>
                  <a:pt x="1604067" y="4487150"/>
                </a:cubicBezTo>
                <a:close/>
                <a:moveTo>
                  <a:pt x="1102494" y="4486324"/>
                </a:moveTo>
                <a:cubicBezTo>
                  <a:pt x="1104256" y="4486504"/>
                  <a:pt x="1106076" y="4487718"/>
                  <a:pt x="1106541" y="4488905"/>
                </a:cubicBezTo>
                <a:cubicBezTo>
                  <a:pt x="1106230" y="4491486"/>
                  <a:pt x="1104372" y="4492313"/>
                  <a:pt x="1102668" y="4492209"/>
                </a:cubicBezTo>
                <a:cubicBezTo>
                  <a:pt x="1100964" y="4492106"/>
                  <a:pt x="1099260" y="4491074"/>
                  <a:pt x="1098796" y="4489938"/>
                </a:cubicBezTo>
                <a:cubicBezTo>
                  <a:pt x="1099028" y="4486995"/>
                  <a:pt x="1100732" y="4486143"/>
                  <a:pt x="1102494" y="4486324"/>
                </a:cubicBezTo>
                <a:close/>
                <a:moveTo>
                  <a:pt x="6492740" y="4486238"/>
                </a:moveTo>
                <a:cubicBezTo>
                  <a:pt x="6494753" y="4489027"/>
                  <a:pt x="6493514" y="4490369"/>
                  <a:pt x="6491810" y="4490575"/>
                </a:cubicBezTo>
                <a:cubicBezTo>
                  <a:pt x="6490106" y="4490678"/>
                  <a:pt x="6487938" y="4489542"/>
                  <a:pt x="6488248" y="4487271"/>
                </a:cubicBezTo>
                <a:cubicBezTo>
                  <a:pt x="6489332" y="4486961"/>
                  <a:pt x="6490881" y="4486032"/>
                  <a:pt x="6492740" y="4486238"/>
                </a:cubicBezTo>
                <a:close/>
                <a:moveTo>
                  <a:pt x="1758499" y="4486220"/>
                </a:moveTo>
                <a:cubicBezTo>
                  <a:pt x="1759428" y="4487873"/>
                  <a:pt x="1760668" y="4487666"/>
                  <a:pt x="1760822" y="4490764"/>
                </a:cubicBezTo>
                <a:cubicBezTo>
                  <a:pt x="1759738" y="4490970"/>
                  <a:pt x="1758654" y="4491177"/>
                  <a:pt x="1757569" y="4491383"/>
                </a:cubicBezTo>
                <a:cubicBezTo>
                  <a:pt x="1756795" y="4489008"/>
                  <a:pt x="1756175" y="4486634"/>
                  <a:pt x="1758499" y="4486220"/>
                </a:cubicBezTo>
                <a:close/>
                <a:moveTo>
                  <a:pt x="633177" y="4486117"/>
                </a:moveTo>
                <a:cubicBezTo>
                  <a:pt x="636120" y="4486220"/>
                  <a:pt x="637979" y="4488079"/>
                  <a:pt x="637669" y="4491280"/>
                </a:cubicBezTo>
                <a:cubicBezTo>
                  <a:pt x="636585" y="4492932"/>
                  <a:pt x="634726" y="4493036"/>
                  <a:pt x="632867" y="4493242"/>
                </a:cubicBezTo>
                <a:cubicBezTo>
                  <a:pt x="631318" y="4493139"/>
                  <a:pt x="630544" y="4492726"/>
                  <a:pt x="630234" y="4491900"/>
                </a:cubicBezTo>
                <a:cubicBezTo>
                  <a:pt x="630079" y="4491074"/>
                  <a:pt x="630234" y="4489938"/>
                  <a:pt x="630544" y="4488699"/>
                </a:cubicBezTo>
                <a:cubicBezTo>
                  <a:pt x="631318" y="4486324"/>
                  <a:pt x="633177" y="4486117"/>
                  <a:pt x="633177" y="4486117"/>
                </a:cubicBezTo>
                <a:close/>
                <a:moveTo>
                  <a:pt x="5794002" y="4486032"/>
                </a:moveTo>
                <a:cubicBezTo>
                  <a:pt x="5795706" y="4487168"/>
                  <a:pt x="5797100" y="4489336"/>
                  <a:pt x="5797410" y="4492743"/>
                </a:cubicBezTo>
                <a:cubicBezTo>
                  <a:pt x="5793228" y="4493673"/>
                  <a:pt x="5791369" y="4496151"/>
                  <a:pt x="5788581" y="4496770"/>
                </a:cubicBezTo>
                <a:cubicBezTo>
                  <a:pt x="5787652" y="4496874"/>
                  <a:pt x="5786567" y="4496874"/>
                  <a:pt x="5785173" y="4496564"/>
                </a:cubicBezTo>
                <a:cubicBezTo>
                  <a:pt x="5780681" y="4488407"/>
                  <a:pt x="5788891" y="4482624"/>
                  <a:pt x="5794002" y="4486032"/>
                </a:cubicBezTo>
                <a:close/>
                <a:moveTo>
                  <a:pt x="901070" y="4485846"/>
                </a:moveTo>
                <a:cubicBezTo>
                  <a:pt x="902542" y="4485653"/>
                  <a:pt x="903936" y="4486014"/>
                  <a:pt x="905175" y="4488389"/>
                </a:cubicBezTo>
                <a:cubicBezTo>
                  <a:pt x="904711" y="4491280"/>
                  <a:pt x="902232" y="4493552"/>
                  <a:pt x="899599" y="4494068"/>
                </a:cubicBezTo>
                <a:cubicBezTo>
                  <a:pt x="898670" y="4494274"/>
                  <a:pt x="897895" y="4494274"/>
                  <a:pt x="896965" y="4493965"/>
                </a:cubicBezTo>
                <a:cubicBezTo>
                  <a:pt x="895881" y="4493655"/>
                  <a:pt x="894797" y="4493036"/>
                  <a:pt x="893868" y="4491796"/>
                </a:cubicBezTo>
                <a:cubicBezTo>
                  <a:pt x="895107" y="4490144"/>
                  <a:pt x="895417" y="4488389"/>
                  <a:pt x="896501" y="4486634"/>
                </a:cubicBezTo>
                <a:cubicBezTo>
                  <a:pt x="898050" y="4486789"/>
                  <a:pt x="899599" y="4486040"/>
                  <a:pt x="901070" y="4485846"/>
                </a:cubicBezTo>
                <a:close/>
                <a:moveTo>
                  <a:pt x="6201535" y="4485412"/>
                </a:moveTo>
                <a:cubicBezTo>
                  <a:pt x="6206337" y="4485412"/>
                  <a:pt x="6208505" y="4487168"/>
                  <a:pt x="6208040" y="4490781"/>
                </a:cubicBezTo>
                <a:cubicBezTo>
                  <a:pt x="6207266" y="4491195"/>
                  <a:pt x="6204787" y="4491814"/>
                  <a:pt x="6205252" y="4492640"/>
                </a:cubicBezTo>
                <a:cubicBezTo>
                  <a:pt x="6202619" y="4491917"/>
                  <a:pt x="6199676" y="4490781"/>
                  <a:pt x="6198282" y="4489027"/>
                </a:cubicBezTo>
                <a:cubicBezTo>
                  <a:pt x="6197972" y="4488407"/>
                  <a:pt x="6197662" y="4487684"/>
                  <a:pt x="6197662" y="4486961"/>
                </a:cubicBezTo>
                <a:cubicBezTo>
                  <a:pt x="6197352" y="4484999"/>
                  <a:pt x="6199211" y="4484793"/>
                  <a:pt x="6201535" y="4485412"/>
                </a:cubicBezTo>
                <a:close/>
                <a:moveTo>
                  <a:pt x="1789788" y="4485395"/>
                </a:moveTo>
                <a:cubicBezTo>
                  <a:pt x="1790562" y="4484465"/>
                  <a:pt x="1792266" y="4484569"/>
                  <a:pt x="1794125" y="4485601"/>
                </a:cubicBezTo>
                <a:cubicBezTo>
                  <a:pt x="1793196" y="4486427"/>
                  <a:pt x="1794125" y="4488285"/>
                  <a:pt x="1793350" y="4489112"/>
                </a:cubicBezTo>
                <a:cubicBezTo>
                  <a:pt x="1793350" y="4489112"/>
                  <a:pt x="1790873" y="4489938"/>
                  <a:pt x="1790873" y="4489938"/>
                </a:cubicBezTo>
                <a:cubicBezTo>
                  <a:pt x="1789943" y="4488905"/>
                  <a:pt x="1789943" y="4488905"/>
                  <a:pt x="1790873" y="4489008"/>
                </a:cubicBezTo>
                <a:cubicBezTo>
                  <a:pt x="1789943" y="4487150"/>
                  <a:pt x="1789788" y="4486220"/>
                  <a:pt x="1789788" y="4485395"/>
                </a:cubicBezTo>
                <a:close/>
                <a:moveTo>
                  <a:pt x="841357" y="4485188"/>
                </a:moveTo>
                <a:cubicBezTo>
                  <a:pt x="841823" y="4486117"/>
                  <a:pt x="842287" y="4487253"/>
                  <a:pt x="842442" y="4488699"/>
                </a:cubicBezTo>
                <a:lnTo>
                  <a:pt x="841668" y="4490764"/>
                </a:lnTo>
                <a:lnTo>
                  <a:pt x="842907" y="4491074"/>
                </a:lnTo>
                <a:cubicBezTo>
                  <a:pt x="845540" y="4492932"/>
                  <a:pt x="847399" y="4497063"/>
                  <a:pt x="845230" y="4501089"/>
                </a:cubicBezTo>
                <a:cubicBezTo>
                  <a:pt x="843526" y="4501399"/>
                  <a:pt x="841978" y="4501399"/>
                  <a:pt x="840583" y="4501296"/>
                </a:cubicBezTo>
                <a:cubicBezTo>
                  <a:pt x="839344" y="4501193"/>
                  <a:pt x="838260" y="4500883"/>
                  <a:pt x="837331" y="4500780"/>
                </a:cubicBezTo>
                <a:cubicBezTo>
                  <a:pt x="836556" y="4498405"/>
                  <a:pt x="835472" y="4496649"/>
                  <a:pt x="834852" y="4494274"/>
                </a:cubicBezTo>
                <a:lnTo>
                  <a:pt x="835007" y="4493965"/>
                </a:lnTo>
                <a:lnTo>
                  <a:pt x="834852" y="4493862"/>
                </a:lnTo>
                <a:cubicBezTo>
                  <a:pt x="833768" y="4492829"/>
                  <a:pt x="833303" y="4491900"/>
                  <a:pt x="833458" y="4490867"/>
                </a:cubicBezTo>
                <a:cubicBezTo>
                  <a:pt x="833613" y="4489938"/>
                  <a:pt x="834387" y="4488905"/>
                  <a:pt x="835317" y="4487769"/>
                </a:cubicBezTo>
                <a:cubicBezTo>
                  <a:pt x="837176" y="4485395"/>
                  <a:pt x="839654" y="4486634"/>
                  <a:pt x="841357" y="4485188"/>
                </a:cubicBezTo>
                <a:close/>
                <a:moveTo>
                  <a:pt x="679687" y="4484463"/>
                </a:moveTo>
                <a:cubicBezTo>
                  <a:pt x="682183" y="4483736"/>
                  <a:pt x="684525" y="4483871"/>
                  <a:pt x="686307" y="4485291"/>
                </a:cubicBezTo>
                <a:cubicBezTo>
                  <a:pt x="677788" y="4490970"/>
                  <a:pt x="674844" y="4498405"/>
                  <a:pt x="664156" y="4502948"/>
                </a:cubicBezTo>
                <a:cubicBezTo>
                  <a:pt x="663344" y="4496597"/>
                  <a:pt x="672201" y="4486646"/>
                  <a:pt x="679687" y="4484463"/>
                </a:cubicBezTo>
                <a:close/>
                <a:moveTo>
                  <a:pt x="887672" y="4484259"/>
                </a:moveTo>
                <a:cubicBezTo>
                  <a:pt x="889221" y="4486220"/>
                  <a:pt x="892474" y="4488492"/>
                  <a:pt x="891390" y="4491796"/>
                </a:cubicBezTo>
                <a:cubicBezTo>
                  <a:pt x="890305" y="4490247"/>
                  <a:pt x="887826" y="4487666"/>
                  <a:pt x="887362" y="4485807"/>
                </a:cubicBezTo>
                <a:cubicBezTo>
                  <a:pt x="887207" y="4485188"/>
                  <a:pt x="887362" y="4484569"/>
                  <a:pt x="887672" y="4484259"/>
                </a:cubicBezTo>
                <a:close/>
                <a:moveTo>
                  <a:pt x="5513795" y="4483864"/>
                </a:moveTo>
                <a:cubicBezTo>
                  <a:pt x="5514414" y="4484793"/>
                  <a:pt x="5515189" y="4486445"/>
                  <a:pt x="5514260" y="4487271"/>
                </a:cubicBezTo>
                <a:cubicBezTo>
                  <a:pt x="5513795" y="4488097"/>
                  <a:pt x="5513330" y="4488097"/>
                  <a:pt x="5512865" y="4487787"/>
                </a:cubicBezTo>
                <a:cubicBezTo>
                  <a:pt x="5512401" y="4487477"/>
                  <a:pt x="5511781" y="4486858"/>
                  <a:pt x="5511007" y="4486445"/>
                </a:cubicBezTo>
                <a:close/>
                <a:moveTo>
                  <a:pt x="750433" y="4483536"/>
                </a:moveTo>
                <a:cubicBezTo>
                  <a:pt x="751363" y="4483949"/>
                  <a:pt x="751363" y="4483949"/>
                  <a:pt x="752293" y="4486220"/>
                </a:cubicBezTo>
                <a:cubicBezTo>
                  <a:pt x="751208" y="4485807"/>
                  <a:pt x="751208" y="4485911"/>
                  <a:pt x="750899" y="4486943"/>
                </a:cubicBezTo>
                <a:cubicBezTo>
                  <a:pt x="750899" y="4486943"/>
                  <a:pt x="750899" y="4486943"/>
                  <a:pt x="751208" y="4487666"/>
                </a:cubicBezTo>
                <a:cubicBezTo>
                  <a:pt x="750433" y="4488079"/>
                  <a:pt x="750124" y="4487356"/>
                  <a:pt x="749349" y="4487666"/>
                </a:cubicBezTo>
                <a:cubicBezTo>
                  <a:pt x="749349" y="4487666"/>
                  <a:pt x="749040" y="4486943"/>
                  <a:pt x="749040" y="4486943"/>
                </a:cubicBezTo>
                <a:cubicBezTo>
                  <a:pt x="748730" y="4487150"/>
                  <a:pt x="748730" y="4487150"/>
                  <a:pt x="748885" y="4486840"/>
                </a:cubicBezTo>
                <a:cubicBezTo>
                  <a:pt x="748885" y="4486530"/>
                  <a:pt x="749194" y="4486014"/>
                  <a:pt x="749194" y="4485084"/>
                </a:cubicBezTo>
                <a:cubicBezTo>
                  <a:pt x="749659" y="4483949"/>
                  <a:pt x="749349" y="4483123"/>
                  <a:pt x="750433" y="4483536"/>
                </a:cubicBezTo>
                <a:close/>
                <a:moveTo>
                  <a:pt x="5962413" y="4482624"/>
                </a:moveTo>
                <a:cubicBezTo>
                  <a:pt x="5965047" y="4482831"/>
                  <a:pt x="5967796" y="4483863"/>
                  <a:pt x="5970739" y="4486548"/>
                </a:cubicBezTo>
                <a:cubicBezTo>
                  <a:pt x="5971668" y="4493260"/>
                  <a:pt x="5969345" y="4498009"/>
                  <a:pt x="5962065" y="4503999"/>
                </a:cubicBezTo>
                <a:cubicBezTo>
                  <a:pt x="5960516" y="4503895"/>
                  <a:pt x="5958967" y="4503379"/>
                  <a:pt x="5957573" y="4502553"/>
                </a:cubicBezTo>
                <a:lnTo>
                  <a:pt x="5957418" y="4502449"/>
                </a:lnTo>
                <a:lnTo>
                  <a:pt x="5957108" y="4502759"/>
                </a:lnTo>
                <a:cubicBezTo>
                  <a:pt x="5956334" y="4502966"/>
                  <a:pt x="5955714" y="4502966"/>
                  <a:pt x="5955095" y="4502449"/>
                </a:cubicBezTo>
                <a:cubicBezTo>
                  <a:pt x="5954630" y="4502037"/>
                  <a:pt x="5954630" y="4501624"/>
                  <a:pt x="5954630" y="4501210"/>
                </a:cubicBezTo>
                <a:lnTo>
                  <a:pt x="5954785" y="4500178"/>
                </a:lnTo>
                <a:lnTo>
                  <a:pt x="5953700" y="4499248"/>
                </a:lnTo>
                <a:cubicBezTo>
                  <a:pt x="5951532" y="4496564"/>
                  <a:pt x="5950293" y="4493157"/>
                  <a:pt x="5950912" y="4489852"/>
                </a:cubicBezTo>
                <a:cubicBezTo>
                  <a:pt x="5951222" y="4487684"/>
                  <a:pt x="5952461" y="4485515"/>
                  <a:pt x="5954785" y="4483657"/>
                </a:cubicBezTo>
                <a:cubicBezTo>
                  <a:pt x="5957263" y="4483037"/>
                  <a:pt x="5959780" y="4482418"/>
                  <a:pt x="5962413" y="4482624"/>
                </a:cubicBezTo>
                <a:close/>
                <a:moveTo>
                  <a:pt x="1591675" y="4482090"/>
                </a:moveTo>
                <a:cubicBezTo>
                  <a:pt x="1592915" y="4482297"/>
                  <a:pt x="1592450" y="4481574"/>
                  <a:pt x="1593379" y="4482916"/>
                </a:cubicBezTo>
                <a:cubicBezTo>
                  <a:pt x="1592140" y="4482710"/>
                  <a:pt x="1592140" y="4482710"/>
                  <a:pt x="1591521" y="4483226"/>
                </a:cubicBezTo>
                <a:cubicBezTo>
                  <a:pt x="1591521" y="4483226"/>
                  <a:pt x="1591675" y="4482090"/>
                  <a:pt x="1591675" y="4482090"/>
                </a:cubicBezTo>
                <a:close/>
                <a:moveTo>
                  <a:pt x="1435850" y="4481780"/>
                </a:moveTo>
                <a:cubicBezTo>
                  <a:pt x="1436779" y="4480232"/>
                  <a:pt x="1438328" y="4481368"/>
                  <a:pt x="1440032" y="4483329"/>
                </a:cubicBezTo>
                <a:cubicBezTo>
                  <a:pt x="1444059" y="4486634"/>
                  <a:pt x="1444679" y="4489318"/>
                  <a:pt x="1442046" y="4491486"/>
                </a:cubicBezTo>
                <a:cubicBezTo>
                  <a:pt x="1441116" y="4491383"/>
                  <a:pt x="1438638" y="4490144"/>
                  <a:pt x="1438638" y="4490970"/>
                </a:cubicBezTo>
                <a:cubicBezTo>
                  <a:pt x="1436779" y="4488699"/>
                  <a:pt x="1435075" y="4486014"/>
                  <a:pt x="1435075" y="4483846"/>
                </a:cubicBezTo>
                <a:cubicBezTo>
                  <a:pt x="1435075" y="4483123"/>
                  <a:pt x="1435385" y="4482400"/>
                  <a:pt x="1435850" y="4481780"/>
                </a:cubicBezTo>
                <a:close/>
                <a:moveTo>
                  <a:pt x="1072928" y="4481574"/>
                </a:moveTo>
                <a:cubicBezTo>
                  <a:pt x="1072928" y="4481574"/>
                  <a:pt x="1074012" y="4481987"/>
                  <a:pt x="1074012" y="4481987"/>
                </a:cubicBezTo>
                <a:cubicBezTo>
                  <a:pt x="1078039" y="4482710"/>
                  <a:pt x="1081447" y="4486737"/>
                  <a:pt x="1081292" y="4488699"/>
                </a:cubicBezTo>
                <a:cubicBezTo>
                  <a:pt x="1080518" y="4490454"/>
                  <a:pt x="1078814" y="4492106"/>
                  <a:pt x="1076645" y="4492416"/>
                </a:cubicBezTo>
                <a:cubicBezTo>
                  <a:pt x="1075871" y="4492519"/>
                  <a:pt x="1075096" y="4492416"/>
                  <a:pt x="1074322" y="4492106"/>
                </a:cubicBezTo>
                <a:cubicBezTo>
                  <a:pt x="1071379" y="4491693"/>
                  <a:pt x="1070140" y="4488596"/>
                  <a:pt x="1066887" y="4487356"/>
                </a:cubicBezTo>
                <a:cubicBezTo>
                  <a:pt x="1067971" y="4483123"/>
                  <a:pt x="1068436" y="4481884"/>
                  <a:pt x="1072928" y="4481574"/>
                </a:cubicBezTo>
                <a:close/>
                <a:moveTo>
                  <a:pt x="5756362" y="4481282"/>
                </a:moveTo>
                <a:cubicBezTo>
                  <a:pt x="5758066" y="4480766"/>
                  <a:pt x="5759770" y="4481179"/>
                  <a:pt x="5761939" y="4483141"/>
                </a:cubicBezTo>
                <a:cubicBezTo>
                  <a:pt x="5761164" y="4487890"/>
                  <a:pt x="5758531" y="4487684"/>
                  <a:pt x="5755743" y="4487581"/>
                </a:cubicBezTo>
                <a:cubicBezTo>
                  <a:pt x="5756982" y="4484586"/>
                  <a:pt x="5753419" y="4483864"/>
                  <a:pt x="5756362" y="4481282"/>
                </a:cubicBezTo>
                <a:close/>
                <a:moveTo>
                  <a:pt x="1443130" y="4480645"/>
                </a:moveTo>
                <a:cubicBezTo>
                  <a:pt x="1445143" y="4481161"/>
                  <a:pt x="1448861" y="4481884"/>
                  <a:pt x="1450255" y="4483536"/>
                </a:cubicBezTo>
                <a:cubicBezTo>
                  <a:pt x="1450720" y="4484155"/>
                  <a:pt x="1450875" y="4484775"/>
                  <a:pt x="1450720" y="4485498"/>
                </a:cubicBezTo>
                <a:cubicBezTo>
                  <a:pt x="1450100" y="4486634"/>
                  <a:pt x="1449171" y="4486117"/>
                  <a:pt x="1448396" y="4486427"/>
                </a:cubicBezTo>
                <a:cubicBezTo>
                  <a:pt x="1447003" y="4486324"/>
                  <a:pt x="1444369" y="4483742"/>
                  <a:pt x="1443439" y="4481987"/>
                </a:cubicBezTo>
                <a:cubicBezTo>
                  <a:pt x="1443130" y="4481471"/>
                  <a:pt x="1442975" y="4480954"/>
                  <a:pt x="1443130" y="4480645"/>
                </a:cubicBezTo>
                <a:close/>
                <a:moveTo>
                  <a:pt x="5523244" y="4480456"/>
                </a:moveTo>
                <a:cubicBezTo>
                  <a:pt x="5524173" y="4480456"/>
                  <a:pt x="5524018" y="4481385"/>
                  <a:pt x="5524793" y="4482211"/>
                </a:cubicBezTo>
                <a:cubicBezTo>
                  <a:pt x="5525412" y="4483967"/>
                  <a:pt x="5525102" y="4486445"/>
                  <a:pt x="5524173" y="4487271"/>
                </a:cubicBezTo>
                <a:cubicBezTo>
                  <a:pt x="5523399" y="4488097"/>
                  <a:pt x="5522469" y="4488097"/>
                  <a:pt x="5522469" y="4488097"/>
                </a:cubicBezTo>
                <a:cubicBezTo>
                  <a:pt x="5521385" y="4487271"/>
                  <a:pt x="5520455" y="4486135"/>
                  <a:pt x="5520146" y="4484999"/>
                </a:cubicBezTo>
                <a:cubicBezTo>
                  <a:pt x="5519836" y="4483760"/>
                  <a:pt x="5520146" y="4482521"/>
                  <a:pt x="5521540" y="4481282"/>
                </a:cubicBezTo>
                <a:cubicBezTo>
                  <a:pt x="5522469" y="4480456"/>
                  <a:pt x="5523399" y="4479630"/>
                  <a:pt x="5523244" y="4480456"/>
                </a:cubicBezTo>
                <a:close/>
                <a:moveTo>
                  <a:pt x="1596323" y="4480025"/>
                </a:moveTo>
                <a:cubicBezTo>
                  <a:pt x="1596323" y="4480025"/>
                  <a:pt x="1596787" y="4480645"/>
                  <a:pt x="1596787" y="4480645"/>
                </a:cubicBezTo>
                <a:cubicBezTo>
                  <a:pt x="1596477" y="4480954"/>
                  <a:pt x="1596012" y="4481161"/>
                  <a:pt x="1595703" y="4481264"/>
                </a:cubicBezTo>
                <a:cubicBezTo>
                  <a:pt x="1595393" y="4481368"/>
                  <a:pt x="1595084" y="4481368"/>
                  <a:pt x="1594929" y="4480954"/>
                </a:cubicBezTo>
                <a:cubicBezTo>
                  <a:pt x="1594464" y="4480335"/>
                  <a:pt x="1595238" y="4479818"/>
                  <a:pt x="1596323" y="4480025"/>
                </a:cubicBezTo>
                <a:close/>
                <a:moveTo>
                  <a:pt x="1021657" y="4479612"/>
                </a:moveTo>
                <a:cubicBezTo>
                  <a:pt x="1021967" y="4481368"/>
                  <a:pt x="1021502" y="4482710"/>
                  <a:pt x="1020883" y="4483846"/>
                </a:cubicBezTo>
                <a:lnTo>
                  <a:pt x="1018095" y="4486840"/>
                </a:lnTo>
                <a:lnTo>
                  <a:pt x="1018870" y="4488285"/>
                </a:lnTo>
                <a:cubicBezTo>
                  <a:pt x="1019334" y="4489215"/>
                  <a:pt x="1019334" y="4490144"/>
                  <a:pt x="1019024" y="4491383"/>
                </a:cubicBezTo>
                <a:cubicBezTo>
                  <a:pt x="1018095" y="4490454"/>
                  <a:pt x="1017320" y="4489525"/>
                  <a:pt x="1017010" y="4488492"/>
                </a:cubicBezTo>
                <a:lnTo>
                  <a:pt x="1017010" y="4487666"/>
                </a:lnTo>
                <a:lnTo>
                  <a:pt x="1016236" y="4488389"/>
                </a:lnTo>
                <a:cubicBezTo>
                  <a:pt x="1015926" y="4489008"/>
                  <a:pt x="1015771" y="4489628"/>
                  <a:pt x="1015616" y="4490557"/>
                </a:cubicBezTo>
                <a:cubicBezTo>
                  <a:pt x="1015616" y="4490557"/>
                  <a:pt x="1015616" y="4490557"/>
                  <a:pt x="1013293" y="4491280"/>
                </a:cubicBezTo>
                <a:lnTo>
                  <a:pt x="1012518" y="4490764"/>
                </a:lnTo>
                <a:cubicBezTo>
                  <a:pt x="1012364" y="4490351"/>
                  <a:pt x="1012518" y="4489731"/>
                  <a:pt x="1012983" y="4488905"/>
                </a:cubicBezTo>
                <a:cubicBezTo>
                  <a:pt x="1014377" y="4486220"/>
                  <a:pt x="1018095" y="4482297"/>
                  <a:pt x="1018404" y="4481780"/>
                </a:cubicBezTo>
                <a:cubicBezTo>
                  <a:pt x="1018404" y="4481780"/>
                  <a:pt x="1018870" y="4481058"/>
                  <a:pt x="1019334" y="4480232"/>
                </a:cubicBezTo>
                <a:cubicBezTo>
                  <a:pt x="1020572" y="4479922"/>
                  <a:pt x="1021193" y="4480335"/>
                  <a:pt x="1021657" y="4479612"/>
                </a:cubicBezTo>
                <a:close/>
                <a:moveTo>
                  <a:pt x="1012364" y="4479406"/>
                </a:moveTo>
                <a:cubicBezTo>
                  <a:pt x="1012983" y="4479612"/>
                  <a:pt x="1013602" y="4480025"/>
                  <a:pt x="1014067" y="4480748"/>
                </a:cubicBezTo>
                <a:cubicBezTo>
                  <a:pt x="1014067" y="4480748"/>
                  <a:pt x="1014067" y="4480748"/>
                  <a:pt x="1014067" y="4481677"/>
                </a:cubicBezTo>
                <a:cubicBezTo>
                  <a:pt x="1014067" y="4483329"/>
                  <a:pt x="1014067" y="4484155"/>
                  <a:pt x="1014067" y="4485084"/>
                </a:cubicBezTo>
                <a:cubicBezTo>
                  <a:pt x="1013602" y="4485395"/>
                  <a:pt x="1012673" y="4485911"/>
                  <a:pt x="1011898" y="4486324"/>
                </a:cubicBezTo>
                <a:cubicBezTo>
                  <a:pt x="1010969" y="4486634"/>
                  <a:pt x="1010195" y="4486737"/>
                  <a:pt x="1009730" y="4486220"/>
                </a:cubicBezTo>
                <a:cubicBezTo>
                  <a:pt x="1008181" y="4484259"/>
                  <a:pt x="1007407" y="4481677"/>
                  <a:pt x="1008181" y="4480954"/>
                </a:cubicBezTo>
                <a:cubicBezTo>
                  <a:pt x="1009421" y="4479818"/>
                  <a:pt x="1010814" y="4478683"/>
                  <a:pt x="1012364" y="4479406"/>
                </a:cubicBezTo>
                <a:close/>
                <a:moveTo>
                  <a:pt x="1373872" y="4479315"/>
                </a:moveTo>
                <a:cubicBezTo>
                  <a:pt x="1376137" y="4478838"/>
                  <a:pt x="1378770" y="4479664"/>
                  <a:pt x="1380552" y="4482297"/>
                </a:cubicBezTo>
                <a:cubicBezTo>
                  <a:pt x="1379468" y="4483846"/>
                  <a:pt x="1379313" y="4485601"/>
                  <a:pt x="1378228" y="4487150"/>
                </a:cubicBezTo>
                <a:cubicBezTo>
                  <a:pt x="1376524" y="4486737"/>
                  <a:pt x="1374975" y="4487253"/>
                  <a:pt x="1373582" y="4487253"/>
                </a:cubicBezTo>
                <a:cubicBezTo>
                  <a:pt x="1372188" y="4487253"/>
                  <a:pt x="1370793" y="4486634"/>
                  <a:pt x="1369399" y="4484155"/>
                </a:cubicBezTo>
                <a:cubicBezTo>
                  <a:pt x="1369709" y="4481574"/>
                  <a:pt x="1371607" y="4479793"/>
                  <a:pt x="1373872" y="4479315"/>
                </a:cubicBezTo>
                <a:close/>
                <a:moveTo>
                  <a:pt x="1142631" y="4479199"/>
                </a:moveTo>
                <a:cubicBezTo>
                  <a:pt x="1142941" y="4480025"/>
                  <a:pt x="1144025" y="4481471"/>
                  <a:pt x="1143560" y="4482607"/>
                </a:cubicBezTo>
                <a:cubicBezTo>
                  <a:pt x="1142941" y="4483742"/>
                  <a:pt x="1142941" y="4483742"/>
                  <a:pt x="1141237" y="4484362"/>
                </a:cubicBezTo>
                <a:cubicBezTo>
                  <a:pt x="1141392" y="4481574"/>
                  <a:pt x="1141547" y="4481471"/>
                  <a:pt x="1142631" y="4479199"/>
                </a:cubicBezTo>
                <a:close/>
                <a:moveTo>
                  <a:pt x="1776622" y="4479096"/>
                </a:moveTo>
                <a:lnTo>
                  <a:pt x="1777086" y="4479406"/>
                </a:lnTo>
                <a:cubicBezTo>
                  <a:pt x="1776777" y="4479612"/>
                  <a:pt x="1776622" y="4479818"/>
                  <a:pt x="1776622" y="4479715"/>
                </a:cubicBezTo>
                <a:close/>
                <a:moveTo>
                  <a:pt x="821531" y="4479096"/>
                </a:moveTo>
                <a:cubicBezTo>
                  <a:pt x="824629" y="4481471"/>
                  <a:pt x="822615" y="4483639"/>
                  <a:pt x="820757" y="4485807"/>
                </a:cubicBezTo>
                <a:cubicBezTo>
                  <a:pt x="819208" y="4484569"/>
                  <a:pt x="817504" y="4485084"/>
                  <a:pt x="816265" y="4482194"/>
                </a:cubicBezTo>
                <a:cubicBezTo>
                  <a:pt x="817969" y="4480851"/>
                  <a:pt x="819828" y="4480335"/>
                  <a:pt x="821531" y="4479096"/>
                </a:cubicBezTo>
                <a:close/>
                <a:moveTo>
                  <a:pt x="1680121" y="4478579"/>
                </a:moveTo>
                <a:cubicBezTo>
                  <a:pt x="1683374" y="4473210"/>
                  <a:pt x="1689570" y="4483433"/>
                  <a:pt x="1684458" y="4483949"/>
                </a:cubicBezTo>
                <a:cubicBezTo>
                  <a:pt x="1682909" y="4482710"/>
                  <a:pt x="1681515" y="4480645"/>
                  <a:pt x="1680121" y="4478579"/>
                </a:cubicBezTo>
                <a:close/>
                <a:moveTo>
                  <a:pt x="1701032" y="4478270"/>
                </a:moveTo>
                <a:cubicBezTo>
                  <a:pt x="1701962" y="4476721"/>
                  <a:pt x="1703510" y="4478683"/>
                  <a:pt x="1704130" y="4479715"/>
                </a:cubicBezTo>
                <a:cubicBezTo>
                  <a:pt x="1703046" y="4479509"/>
                  <a:pt x="1702117" y="4479509"/>
                  <a:pt x="1701652" y="4479612"/>
                </a:cubicBezTo>
                <a:cubicBezTo>
                  <a:pt x="1701187" y="4479612"/>
                  <a:pt x="1701032" y="4479612"/>
                  <a:pt x="1701032" y="4479199"/>
                </a:cubicBezTo>
                <a:cubicBezTo>
                  <a:pt x="1700258" y="4479096"/>
                  <a:pt x="1700258" y="4478167"/>
                  <a:pt x="1701032" y="4478270"/>
                </a:cubicBezTo>
                <a:close/>
                <a:moveTo>
                  <a:pt x="1126367" y="4478270"/>
                </a:moveTo>
                <a:cubicBezTo>
                  <a:pt x="1125128" y="4484465"/>
                  <a:pt x="1125128" y="4501193"/>
                  <a:pt x="1115679" y="4500367"/>
                </a:cubicBezTo>
                <a:cubicBezTo>
                  <a:pt x="1117228" y="4494894"/>
                  <a:pt x="1119397" y="4477031"/>
                  <a:pt x="1126367" y="4478270"/>
                </a:cubicBezTo>
                <a:close/>
                <a:moveTo>
                  <a:pt x="1427950" y="4477547"/>
                </a:moveTo>
                <a:cubicBezTo>
                  <a:pt x="1430583" y="4478993"/>
                  <a:pt x="1432287" y="4482916"/>
                  <a:pt x="1429964" y="4487253"/>
                </a:cubicBezTo>
                <a:cubicBezTo>
                  <a:pt x="1426556" y="4488492"/>
                  <a:pt x="1423923" y="4488182"/>
                  <a:pt x="1422064" y="4488285"/>
                </a:cubicBezTo>
                <a:cubicBezTo>
                  <a:pt x="1421444" y="4485911"/>
                  <a:pt x="1420360" y="4484465"/>
                  <a:pt x="1419741" y="4482194"/>
                </a:cubicBezTo>
                <a:cubicBezTo>
                  <a:pt x="1421600" y="4477031"/>
                  <a:pt x="1425317" y="4476102"/>
                  <a:pt x="1427950" y="4477547"/>
                </a:cubicBezTo>
                <a:close/>
                <a:moveTo>
                  <a:pt x="1148207" y="4477237"/>
                </a:moveTo>
                <a:cubicBezTo>
                  <a:pt x="1155798" y="4476721"/>
                  <a:pt x="1161374" y="4487356"/>
                  <a:pt x="1161529" y="4493345"/>
                </a:cubicBezTo>
                <a:cubicBezTo>
                  <a:pt x="1159205" y="4496443"/>
                  <a:pt x="1156727" y="4497475"/>
                  <a:pt x="1154248" y="4497269"/>
                </a:cubicBezTo>
                <a:cubicBezTo>
                  <a:pt x="1147123" y="4496340"/>
                  <a:pt x="1141547" y="4483433"/>
                  <a:pt x="1148207" y="4477237"/>
                </a:cubicBezTo>
                <a:close/>
                <a:moveTo>
                  <a:pt x="1554655" y="4477031"/>
                </a:moveTo>
                <a:cubicBezTo>
                  <a:pt x="1561471" y="4475688"/>
                  <a:pt x="1570300" y="4486943"/>
                  <a:pt x="1565808" y="4494997"/>
                </a:cubicBezTo>
                <a:cubicBezTo>
                  <a:pt x="1564104" y="4495720"/>
                  <a:pt x="1562245" y="4495617"/>
                  <a:pt x="1560541" y="4495101"/>
                </a:cubicBezTo>
                <a:cubicBezTo>
                  <a:pt x="1557908" y="4494378"/>
                  <a:pt x="1555275" y="4492416"/>
                  <a:pt x="1553261" y="4490247"/>
                </a:cubicBezTo>
                <a:lnTo>
                  <a:pt x="1550938" y="4486324"/>
                </a:lnTo>
                <a:lnTo>
                  <a:pt x="1549079" y="4485601"/>
                </a:lnTo>
                <a:cubicBezTo>
                  <a:pt x="1548615" y="4485084"/>
                  <a:pt x="1548305" y="4484569"/>
                  <a:pt x="1548305" y="4484052"/>
                </a:cubicBezTo>
                <a:cubicBezTo>
                  <a:pt x="1548150" y="4483433"/>
                  <a:pt x="1548305" y="4482813"/>
                  <a:pt x="1549234" y="4482194"/>
                </a:cubicBezTo>
                <a:lnTo>
                  <a:pt x="1549543" y="4481987"/>
                </a:lnTo>
                <a:lnTo>
                  <a:pt x="1551403" y="4478889"/>
                </a:lnTo>
                <a:cubicBezTo>
                  <a:pt x="1552332" y="4477857"/>
                  <a:pt x="1553416" y="4477237"/>
                  <a:pt x="1554655" y="4477031"/>
                </a:cubicBezTo>
                <a:close/>
                <a:moveTo>
                  <a:pt x="1581607" y="4476824"/>
                </a:moveTo>
                <a:cubicBezTo>
                  <a:pt x="1583776" y="4476411"/>
                  <a:pt x="1586254" y="4478270"/>
                  <a:pt x="1588113" y="4480748"/>
                </a:cubicBezTo>
                <a:lnTo>
                  <a:pt x="1588113" y="4480851"/>
                </a:lnTo>
                <a:lnTo>
                  <a:pt x="1588268" y="4479818"/>
                </a:lnTo>
                <a:cubicBezTo>
                  <a:pt x="1588732" y="4480335"/>
                  <a:pt x="1588578" y="4480438"/>
                  <a:pt x="1588422" y="4480645"/>
                </a:cubicBezTo>
                <a:lnTo>
                  <a:pt x="1588268" y="4481161"/>
                </a:lnTo>
                <a:lnTo>
                  <a:pt x="1589662" y="4483742"/>
                </a:lnTo>
                <a:lnTo>
                  <a:pt x="1591366" y="4483123"/>
                </a:lnTo>
                <a:lnTo>
                  <a:pt x="1589662" y="4483949"/>
                </a:lnTo>
                <a:lnTo>
                  <a:pt x="1590127" y="4484775"/>
                </a:lnTo>
                <a:cubicBezTo>
                  <a:pt x="1590591" y="4486117"/>
                  <a:pt x="1590591" y="4487356"/>
                  <a:pt x="1590282" y="4488389"/>
                </a:cubicBezTo>
                <a:cubicBezTo>
                  <a:pt x="1588422" y="4489731"/>
                  <a:pt x="1586564" y="4491074"/>
                  <a:pt x="1584705" y="4492416"/>
                </a:cubicBezTo>
                <a:cubicBezTo>
                  <a:pt x="1580368" y="4492416"/>
                  <a:pt x="1577115" y="4489008"/>
                  <a:pt x="1576651" y="4485188"/>
                </a:cubicBezTo>
                <a:cubicBezTo>
                  <a:pt x="1576496" y="4483949"/>
                  <a:pt x="1576651" y="4482607"/>
                  <a:pt x="1577115" y="4481264"/>
                </a:cubicBezTo>
                <a:cubicBezTo>
                  <a:pt x="1577890" y="4479612"/>
                  <a:pt x="1579439" y="4478063"/>
                  <a:pt x="1581607" y="4476824"/>
                </a:cubicBezTo>
                <a:close/>
                <a:moveTo>
                  <a:pt x="1142011" y="4476824"/>
                </a:moveTo>
                <a:cubicBezTo>
                  <a:pt x="1142786" y="4476617"/>
                  <a:pt x="1143096" y="4477547"/>
                  <a:pt x="1142476" y="4478683"/>
                </a:cubicBezTo>
                <a:cubicBezTo>
                  <a:pt x="1142476" y="4478683"/>
                  <a:pt x="1141857" y="4478889"/>
                  <a:pt x="1141857" y="4478889"/>
                </a:cubicBezTo>
                <a:cubicBezTo>
                  <a:pt x="1141547" y="4478063"/>
                  <a:pt x="1141392" y="4477134"/>
                  <a:pt x="1142011" y="4476824"/>
                </a:cubicBezTo>
                <a:close/>
                <a:moveTo>
                  <a:pt x="1789788" y="4476514"/>
                </a:moveTo>
                <a:cubicBezTo>
                  <a:pt x="1791802" y="4475688"/>
                  <a:pt x="1794744" y="4475792"/>
                  <a:pt x="1797997" y="4476824"/>
                </a:cubicBezTo>
                <a:lnTo>
                  <a:pt x="1801250" y="4478476"/>
                </a:lnTo>
                <a:lnTo>
                  <a:pt x="1801250" y="4478167"/>
                </a:lnTo>
                <a:cubicBezTo>
                  <a:pt x="1802179" y="4476928"/>
                  <a:pt x="1803109" y="4476617"/>
                  <a:pt x="1804038" y="4476824"/>
                </a:cubicBezTo>
                <a:cubicBezTo>
                  <a:pt x="1804967" y="4477031"/>
                  <a:pt x="1806052" y="4477857"/>
                  <a:pt x="1807291" y="4478889"/>
                </a:cubicBezTo>
                <a:cubicBezTo>
                  <a:pt x="1808685" y="4479922"/>
                  <a:pt x="1808995" y="4481058"/>
                  <a:pt x="1809305" y="4482194"/>
                </a:cubicBezTo>
                <a:lnTo>
                  <a:pt x="1810234" y="4484362"/>
                </a:lnTo>
                <a:lnTo>
                  <a:pt x="1815036" y="4489421"/>
                </a:lnTo>
                <a:cubicBezTo>
                  <a:pt x="1816740" y="4492209"/>
                  <a:pt x="1817359" y="4495101"/>
                  <a:pt x="1816275" y="4497785"/>
                </a:cubicBezTo>
                <a:cubicBezTo>
                  <a:pt x="1809150" y="4487253"/>
                  <a:pt x="1795829" y="4489318"/>
                  <a:pt x="1789788" y="4476514"/>
                </a:cubicBezTo>
                <a:close/>
                <a:moveTo>
                  <a:pt x="5860143" y="4475706"/>
                </a:moveTo>
                <a:lnTo>
                  <a:pt x="5859524" y="4475913"/>
                </a:lnTo>
                <a:lnTo>
                  <a:pt x="5860143" y="4475913"/>
                </a:lnTo>
                <a:close/>
                <a:moveTo>
                  <a:pt x="1785606" y="4475172"/>
                </a:moveTo>
                <a:cubicBezTo>
                  <a:pt x="1785915" y="4475895"/>
                  <a:pt x="1786380" y="4476617"/>
                  <a:pt x="1785606" y="4477031"/>
                </a:cubicBezTo>
                <a:cubicBezTo>
                  <a:pt x="1786070" y="4477753"/>
                  <a:pt x="1786070" y="4477753"/>
                  <a:pt x="1785296" y="4478167"/>
                </a:cubicBezTo>
                <a:cubicBezTo>
                  <a:pt x="1784986" y="4477444"/>
                  <a:pt x="1784521" y="4476721"/>
                  <a:pt x="1784211" y="4475998"/>
                </a:cubicBezTo>
                <a:cubicBezTo>
                  <a:pt x="1784521" y="4474862"/>
                  <a:pt x="1784521" y="4474862"/>
                  <a:pt x="1785606" y="4475172"/>
                </a:cubicBezTo>
                <a:close/>
                <a:moveTo>
                  <a:pt x="6188678" y="4475087"/>
                </a:moveTo>
                <a:cubicBezTo>
                  <a:pt x="6187594" y="4476429"/>
                  <a:pt x="6185890" y="4479320"/>
                  <a:pt x="6184186" y="4479940"/>
                </a:cubicBezTo>
                <a:cubicBezTo>
                  <a:pt x="6183722" y="4480146"/>
                  <a:pt x="6183102" y="4480146"/>
                  <a:pt x="6182637" y="4479733"/>
                </a:cubicBezTo>
                <a:cubicBezTo>
                  <a:pt x="6184031" y="4477875"/>
                  <a:pt x="6185271" y="4474364"/>
                  <a:pt x="6188678" y="4475087"/>
                </a:cubicBezTo>
                <a:close/>
                <a:moveTo>
                  <a:pt x="1296303" y="4474767"/>
                </a:moveTo>
                <a:cubicBezTo>
                  <a:pt x="1310636" y="4477889"/>
                  <a:pt x="1323008" y="4499205"/>
                  <a:pt x="1305582" y="4509660"/>
                </a:cubicBezTo>
                <a:cubicBezTo>
                  <a:pt x="1303569" y="4510796"/>
                  <a:pt x="1301400" y="4511208"/>
                  <a:pt x="1299231" y="4511415"/>
                </a:cubicBezTo>
                <a:cubicBezTo>
                  <a:pt x="1292416" y="4511828"/>
                  <a:pt x="1284826" y="4509247"/>
                  <a:pt x="1275842" y="4509763"/>
                </a:cubicBezTo>
                <a:cubicBezTo>
                  <a:pt x="1281883" y="4502638"/>
                  <a:pt x="1277701" y="4493036"/>
                  <a:pt x="1278785" y="4485498"/>
                </a:cubicBezTo>
                <a:cubicBezTo>
                  <a:pt x="1279249" y="4483019"/>
                  <a:pt x="1280179" y="4480748"/>
                  <a:pt x="1282348" y="4478786"/>
                </a:cubicBezTo>
                <a:cubicBezTo>
                  <a:pt x="1286530" y="4474707"/>
                  <a:pt x="1291525" y="4473726"/>
                  <a:pt x="1296303" y="4474767"/>
                </a:cubicBezTo>
                <a:close/>
                <a:moveTo>
                  <a:pt x="1776622" y="4474759"/>
                </a:moveTo>
                <a:cubicBezTo>
                  <a:pt x="1777241" y="4474346"/>
                  <a:pt x="1777396" y="4478270"/>
                  <a:pt x="1777861" y="4478993"/>
                </a:cubicBezTo>
                <a:cubicBezTo>
                  <a:pt x="1777086" y="4479406"/>
                  <a:pt x="1777086" y="4479406"/>
                  <a:pt x="1776777" y="4478683"/>
                </a:cubicBezTo>
                <a:lnTo>
                  <a:pt x="1776622" y="4479096"/>
                </a:lnTo>
                <a:lnTo>
                  <a:pt x="1775228" y="4477650"/>
                </a:lnTo>
                <a:cubicBezTo>
                  <a:pt x="1774918" y="4476824"/>
                  <a:pt x="1774763" y="4475895"/>
                  <a:pt x="1774763" y="4474966"/>
                </a:cubicBezTo>
                <a:cubicBezTo>
                  <a:pt x="1775537" y="4474449"/>
                  <a:pt x="1775537" y="4474449"/>
                  <a:pt x="1776622" y="4474759"/>
                </a:cubicBezTo>
                <a:close/>
                <a:moveTo>
                  <a:pt x="5715160" y="4474364"/>
                </a:moveTo>
                <a:cubicBezTo>
                  <a:pt x="5717948" y="4474674"/>
                  <a:pt x="5717793" y="4476636"/>
                  <a:pt x="5719652" y="4476636"/>
                </a:cubicBezTo>
                <a:cubicBezTo>
                  <a:pt x="5718568" y="4480766"/>
                  <a:pt x="5716090" y="4481902"/>
                  <a:pt x="5712527" y="4481902"/>
                </a:cubicBezTo>
                <a:cubicBezTo>
                  <a:pt x="5711597" y="4479733"/>
                  <a:pt x="5712836" y="4475500"/>
                  <a:pt x="5715160" y="4474364"/>
                </a:cubicBezTo>
                <a:close/>
                <a:moveTo>
                  <a:pt x="5648458" y="4473964"/>
                </a:moveTo>
                <a:cubicBezTo>
                  <a:pt x="5651653" y="4472867"/>
                  <a:pt x="5655138" y="4473951"/>
                  <a:pt x="5656919" y="4479217"/>
                </a:cubicBezTo>
                <a:cubicBezTo>
                  <a:pt x="5654131" y="4481489"/>
                  <a:pt x="5651808" y="4483347"/>
                  <a:pt x="5649794" y="4484896"/>
                </a:cubicBezTo>
                <a:lnTo>
                  <a:pt x="5644527" y="4488097"/>
                </a:lnTo>
                <a:lnTo>
                  <a:pt x="5646386" y="4489542"/>
                </a:lnTo>
                <a:cubicBezTo>
                  <a:pt x="5652582" y="4494809"/>
                  <a:pt x="5650413" y="4500798"/>
                  <a:pt x="5647470" y="4504308"/>
                </a:cubicBezTo>
                <a:cubicBezTo>
                  <a:pt x="5646851" y="4503585"/>
                  <a:pt x="5642979" y="4508232"/>
                  <a:pt x="5638177" y="4508026"/>
                </a:cubicBezTo>
                <a:cubicBezTo>
                  <a:pt x="5636473" y="4507922"/>
                  <a:pt x="5634769" y="4507303"/>
                  <a:pt x="5633065" y="4505754"/>
                </a:cubicBezTo>
                <a:cubicBezTo>
                  <a:pt x="5632136" y="4504825"/>
                  <a:pt x="5631206" y="4503895"/>
                  <a:pt x="5630432" y="4502759"/>
                </a:cubicBezTo>
                <a:cubicBezTo>
                  <a:pt x="5628418" y="4499455"/>
                  <a:pt x="5628108" y="4495325"/>
                  <a:pt x="5632910" y="4490162"/>
                </a:cubicBezTo>
                <a:cubicBezTo>
                  <a:pt x="5633994" y="4488407"/>
                  <a:pt x="5633840" y="4489233"/>
                  <a:pt x="5634769" y="4488407"/>
                </a:cubicBezTo>
                <a:cubicBezTo>
                  <a:pt x="5635698" y="4487581"/>
                  <a:pt x="5636782" y="4485825"/>
                  <a:pt x="5636782" y="4484999"/>
                </a:cubicBezTo>
                <a:cubicBezTo>
                  <a:pt x="5639106" y="4486961"/>
                  <a:pt x="5640810" y="4486032"/>
                  <a:pt x="5643443" y="4487271"/>
                </a:cubicBezTo>
                <a:lnTo>
                  <a:pt x="5644063" y="4487684"/>
                </a:lnTo>
                <a:lnTo>
                  <a:pt x="5641739" y="4481798"/>
                </a:lnTo>
                <a:cubicBezTo>
                  <a:pt x="5642359" y="4478339"/>
                  <a:pt x="5645263" y="4475061"/>
                  <a:pt x="5648458" y="4473964"/>
                </a:cubicBezTo>
                <a:close/>
                <a:moveTo>
                  <a:pt x="6042030" y="4473809"/>
                </a:moveTo>
                <a:cubicBezTo>
                  <a:pt x="6043385" y="4474829"/>
                  <a:pt x="6044315" y="4476687"/>
                  <a:pt x="6044160" y="4477978"/>
                </a:cubicBezTo>
                <a:cubicBezTo>
                  <a:pt x="6042921" y="4479940"/>
                  <a:pt x="6041527" y="4480249"/>
                  <a:pt x="6040443" y="4479836"/>
                </a:cubicBezTo>
                <a:cubicBezTo>
                  <a:pt x="6039203" y="4479527"/>
                  <a:pt x="6038274" y="4478288"/>
                  <a:pt x="6037809" y="4477048"/>
                </a:cubicBezTo>
                <a:cubicBezTo>
                  <a:pt x="6037345" y="4476223"/>
                  <a:pt x="6037190" y="4475397"/>
                  <a:pt x="6037345" y="4474674"/>
                </a:cubicBezTo>
                <a:cubicBezTo>
                  <a:pt x="6038894" y="4472608"/>
                  <a:pt x="6040675" y="4472789"/>
                  <a:pt x="6042030" y="4473809"/>
                </a:cubicBezTo>
                <a:close/>
                <a:moveTo>
                  <a:pt x="5815378" y="4473538"/>
                </a:moveTo>
                <a:cubicBezTo>
                  <a:pt x="5818321" y="4475913"/>
                  <a:pt x="5817856" y="4479527"/>
                  <a:pt x="5820954" y="4482831"/>
                </a:cubicBezTo>
                <a:cubicBezTo>
                  <a:pt x="5819560" y="4485515"/>
                  <a:pt x="5822813" y="4489646"/>
                  <a:pt x="5820644" y="4493260"/>
                </a:cubicBezTo>
                <a:cubicBezTo>
                  <a:pt x="5815223" y="4490059"/>
                  <a:pt x="5813209" y="4476223"/>
                  <a:pt x="5815378" y="4473538"/>
                </a:cubicBezTo>
                <a:close/>
                <a:moveTo>
                  <a:pt x="1140927" y="4472694"/>
                </a:moveTo>
                <a:cubicBezTo>
                  <a:pt x="1140927" y="4472694"/>
                  <a:pt x="1142011" y="4473313"/>
                  <a:pt x="1142011" y="4473313"/>
                </a:cubicBezTo>
                <a:cubicBezTo>
                  <a:pt x="1141392" y="4474449"/>
                  <a:pt x="1142166" y="4474140"/>
                  <a:pt x="1140772" y="4474759"/>
                </a:cubicBezTo>
                <a:cubicBezTo>
                  <a:pt x="1141237" y="4473520"/>
                  <a:pt x="1141237" y="4473520"/>
                  <a:pt x="1140927" y="4472694"/>
                </a:cubicBezTo>
                <a:close/>
                <a:moveTo>
                  <a:pt x="5793073" y="4472608"/>
                </a:moveTo>
                <a:cubicBezTo>
                  <a:pt x="5793848" y="4473538"/>
                  <a:pt x="5794622" y="4473538"/>
                  <a:pt x="5793538" y="4475190"/>
                </a:cubicBezTo>
                <a:cubicBezTo>
                  <a:pt x="5793538" y="4476119"/>
                  <a:pt x="5792608" y="4476945"/>
                  <a:pt x="5792453" y="4477771"/>
                </a:cubicBezTo>
                <a:cubicBezTo>
                  <a:pt x="5792453" y="4477771"/>
                  <a:pt x="5791834" y="4478081"/>
                  <a:pt x="5791059" y="4478184"/>
                </a:cubicBezTo>
                <a:cubicBezTo>
                  <a:pt x="5790440" y="4478288"/>
                  <a:pt x="5789510" y="4478288"/>
                  <a:pt x="5789201" y="4477771"/>
                </a:cubicBezTo>
                <a:cubicBezTo>
                  <a:pt x="5788736" y="4477565"/>
                  <a:pt x="5788581" y="4477255"/>
                  <a:pt x="5788581" y="4476842"/>
                </a:cubicBezTo>
                <a:cubicBezTo>
                  <a:pt x="5788736" y="4475706"/>
                  <a:pt x="5790440" y="4474054"/>
                  <a:pt x="5790440" y="4473435"/>
                </a:cubicBezTo>
                <a:cubicBezTo>
                  <a:pt x="5791369" y="4472608"/>
                  <a:pt x="5792298" y="4471782"/>
                  <a:pt x="5793073" y="4472608"/>
                </a:cubicBezTo>
                <a:close/>
                <a:moveTo>
                  <a:pt x="6305160" y="4472402"/>
                </a:moveTo>
                <a:cubicBezTo>
                  <a:pt x="6305935" y="4472092"/>
                  <a:pt x="6306244" y="4472815"/>
                  <a:pt x="6305470" y="4473125"/>
                </a:cubicBezTo>
                <a:cubicBezTo>
                  <a:pt x="6305315" y="4474157"/>
                  <a:pt x="6304695" y="4474364"/>
                  <a:pt x="6304076" y="4474364"/>
                </a:cubicBezTo>
                <a:cubicBezTo>
                  <a:pt x="6303456" y="4474261"/>
                  <a:pt x="6302682" y="4473847"/>
                  <a:pt x="6302217" y="4473641"/>
                </a:cubicBezTo>
                <a:cubicBezTo>
                  <a:pt x="6304386" y="4472712"/>
                  <a:pt x="6305005" y="4471576"/>
                  <a:pt x="6305160" y="4472402"/>
                </a:cubicBezTo>
                <a:close/>
                <a:moveTo>
                  <a:pt x="1744093" y="4471868"/>
                </a:moveTo>
                <a:cubicBezTo>
                  <a:pt x="1745642" y="4472797"/>
                  <a:pt x="1746882" y="4474656"/>
                  <a:pt x="1747811" y="4476824"/>
                </a:cubicBezTo>
                <a:lnTo>
                  <a:pt x="1749515" y="4484052"/>
                </a:lnTo>
                <a:lnTo>
                  <a:pt x="1751528" y="4484878"/>
                </a:lnTo>
                <a:cubicBezTo>
                  <a:pt x="1752303" y="4485601"/>
                  <a:pt x="1753232" y="4486530"/>
                  <a:pt x="1754007" y="4487666"/>
                </a:cubicBezTo>
                <a:cubicBezTo>
                  <a:pt x="1753232" y="4489421"/>
                  <a:pt x="1753387" y="4491074"/>
                  <a:pt x="1752768" y="4493655"/>
                </a:cubicBezTo>
                <a:lnTo>
                  <a:pt x="1748121" y="4491796"/>
                </a:lnTo>
                <a:lnTo>
                  <a:pt x="1744249" y="4495513"/>
                </a:lnTo>
                <a:cubicBezTo>
                  <a:pt x="1743938" y="4492416"/>
                  <a:pt x="1743784" y="4489318"/>
                  <a:pt x="1743319" y="4486117"/>
                </a:cubicBezTo>
                <a:lnTo>
                  <a:pt x="1740841" y="4477547"/>
                </a:lnTo>
                <a:lnTo>
                  <a:pt x="1739911" y="4481780"/>
                </a:lnTo>
                <a:cubicBezTo>
                  <a:pt x="1738827" y="4484775"/>
                  <a:pt x="1737278" y="4487150"/>
                  <a:pt x="1734954" y="4486634"/>
                </a:cubicBezTo>
                <a:cubicBezTo>
                  <a:pt x="1734180" y="4486427"/>
                  <a:pt x="1733406" y="4486014"/>
                  <a:pt x="1732631" y="4485291"/>
                </a:cubicBezTo>
                <a:cubicBezTo>
                  <a:pt x="1735110" y="4480541"/>
                  <a:pt x="1734799" y="4474966"/>
                  <a:pt x="1737278" y="4473623"/>
                </a:cubicBezTo>
                <a:cubicBezTo>
                  <a:pt x="1738207" y="4473210"/>
                  <a:pt x="1739446" y="4473210"/>
                  <a:pt x="1741151" y="4473933"/>
                </a:cubicBezTo>
                <a:lnTo>
                  <a:pt x="1741151" y="4474243"/>
                </a:lnTo>
                <a:lnTo>
                  <a:pt x="1741925" y="4473417"/>
                </a:lnTo>
                <a:cubicBezTo>
                  <a:pt x="1742234" y="4472591"/>
                  <a:pt x="1742544" y="4471765"/>
                  <a:pt x="1744093" y="4471868"/>
                </a:cubicBezTo>
                <a:close/>
                <a:moveTo>
                  <a:pt x="1722098" y="4471868"/>
                </a:moveTo>
                <a:cubicBezTo>
                  <a:pt x="1723337" y="4472074"/>
                  <a:pt x="1724421" y="4472281"/>
                  <a:pt x="1725661" y="4472487"/>
                </a:cubicBezTo>
                <a:lnTo>
                  <a:pt x="1725816" y="4473623"/>
                </a:lnTo>
                <a:lnTo>
                  <a:pt x="1729379" y="4473727"/>
                </a:lnTo>
                <a:cubicBezTo>
                  <a:pt x="1728139" y="4475998"/>
                  <a:pt x="1732631" y="4478889"/>
                  <a:pt x="1730772" y="4482194"/>
                </a:cubicBezTo>
                <a:cubicBezTo>
                  <a:pt x="1726280" y="4492829"/>
                  <a:pt x="1723492" y="4492003"/>
                  <a:pt x="1717142" y="4491693"/>
                </a:cubicBezTo>
                <a:cubicBezTo>
                  <a:pt x="1717916" y="4491383"/>
                  <a:pt x="1716832" y="4490867"/>
                  <a:pt x="1716832" y="4490867"/>
                </a:cubicBezTo>
                <a:cubicBezTo>
                  <a:pt x="1714818" y="4489835"/>
                  <a:pt x="1715283" y="4495101"/>
                  <a:pt x="1712340" y="4494378"/>
                </a:cubicBezTo>
                <a:cubicBezTo>
                  <a:pt x="1710171" y="4493448"/>
                  <a:pt x="1708932" y="4491486"/>
                  <a:pt x="1708312" y="4489215"/>
                </a:cubicBezTo>
                <a:lnTo>
                  <a:pt x="1708158" y="4487046"/>
                </a:lnTo>
                <a:lnTo>
                  <a:pt x="1706764" y="4486634"/>
                </a:lnTo>
                <a:cubicBezTo>
                  <a:pt x="1704905" y="4483536"/>
                  <a:pt x="1704750" y="4480129"/>
                  <a:pt x="1706144" y="4478063"/>
                </a:cubicBezTo>
                <a:lnTo>
                  <a:pt x="1708467" y="4476411"/>
                </a:lnTo>
                <a:lnTo>
                  <a:pt x="1708777" y="4475585"/>
                </a:lnTo>
                <a:cubicBezTo>
                  <a:pt x="1709242" y="4474862"/>
                  <a:pt x="1709861" y="4474552"/>
                  <a:pt x="1710945" y="4475069"/>
                </a:cubicBezTo>
                <a:cubicBezTo>
                  <a:pt x="1711875" y="4475172"/>
                  <a:pt x="1712185" y="4475792"/>
                  <a:pt x="1712649" y="4476411"/>
                </a:cubicBezTo>
                <a:lnTo>
                  <a:pt x="1712804" y="4476514"/>
                </a:lnTo>
                <a:lnTo>
                  <a:pt x="1714508" y="4476824"/>
                </a:lnTo>
                <a:lnTo>
                  <a:pt x="1714973" y="4478167"/>
                </a:lnTo>
                <a:lnTo>
                  <a:pt x="1717297" y="4477753"/>
                </a:lnTo>
                <a:cubicBezTo>
                  <a:pt x="1718381" y="4477237"/>
                  <a:pt x="1719310" y="4476411"/>
                  <a:pt x="1720549" y="4475585"/>
                </a:cubicBezTo>
                <a:lnTo>
                  <a:pt x="1721169" y="4475275"/>
                </a:lnTo>
                <a:close/>
                <a:moveTo>
                  <a:pt x="1563640" y="4471248"/>
                </a:moveTo>
                <a:cubicBezTo>
                  <a:pt x="1564569" y="4470526"/>
                  <a:pt x="1566273" y="4469906"/>
                  <a:pt x="1567667" y="4471971"/>
                </a:cubicBezTo>
                <a:cubicBezTo>
                  <a:pt x="1569990" y="4474140"/>
                  <a:pt x="1569990" y="4476721"/>
                  <a:pt x="1568906" y="4479199"/>
                </a:cubicBezTo>
                <a:cubicBezTo>
                  <a:pt x="1569680" y="4481058"/>
                  <a:pt x="1571229" y="4482194"/>
                  <a:pt x="1570300" y="4483846"/>
                </a:cubicBezTo>
                <a:cubicBezTo>
                  <a:pt x="1568751" y="4480954"/>
                  <a:pt x="1567976" y="4479922"/>
                  <a:pt x="1567357" y="4478063"/>
                </a:cubicBezTo>
                <a:cubicBezTo>
                  <a:pt x="1566582" y="4477960"/>
                  <a:pt x="1565653" y="4477753"/>
                  <a:pt x="1564879" y="4476824"/>
                </a:cubicBezTo>
                <a:cubicBezTo>
                  <a:pt x="1563484" y="4474759"/>
                  <a:pt x="1564414" y="4473107"/>
                  <a:pt x="1563640" y="4471248"/>
                </a:cubicBezTo>
                <a:close/>
                <a:moveTo>
                  <a:pt x="1099880" y="4470009"/>
                </a:moveTo>
                <a:cubicBezTo>
                  <a:pt x="1099725" y="4473107"/>
                  <a:pt x="1092599" y="4476928"/>
                  <a:pt x="1089192" y="4477857"/>
                </a:cubicBezTo>
                <a:cubicBezTo>
                  <a:pt x="1089192" y="4477031"/>
                  <a:pt x="1089656" y="4476205"/>
                  <a:pt x="1090431" y="4475482"/>
                </a:cubicBezTo>
                <a:cubicBezTo>
                  <a:pt x="1092599" y="4473004"/>
                  <a:pt x="1097246" y="4470732"/>
                  <a:pt x="1099880" y="4470009"/>
                </a:cubicBezTo>
                <a:close/>
                <a:moveTo>
                  <a:pt x="6144997" y="4469717"/>
                </a:moveTo>
                <a:cubicBezTo>
                  <a:pt x="6146856" y="4471369"/>
                  <a:pt x="6146236" y="4473125"/>
                  <a:pt x="6145617" y="4474054"/>
                </a:cubicBezTo>
                <a:cubicBezTo>
                  <a:pt x="6145307" y="4475397"/>
                  <a:pt x="6144378" y="4476119"/>
                  <a:pt x="6143139" y="4476429"/>
                </a:cubicBezTo>
                <a:cubicBezTo>
                  <a:pt x="6141900" y="4476739"/>
                  <a:pt x="6140350" y="4476532"/>
                  <a:pt x="6139111" y="4476223"/>
                </a:cubicBezTo>
                <a:cubicBezTo>
                  <a:pt x="6139886" y="4476119"/>
                  <a:pt x="6139886" y="4476119"/>
                  <a:pt x="6139886" y="4476119"/>
                </a:cubicBezTo>
                <a:cubicBezTo>
                  <a:pt x="6140660" y="4475190"/>
                  <a:pt x="6139886" y="4475293"/>
                  <a:pt x="6139731" y="4474364"/>
                </a:cubicBezTo>
                <a:cubicBezTo>
                  <a:pt x="6139731" y="4474364"/>
                  <a:pt x="6139886" y="4475293"/>
                  <a:pt x="6138802" y="4474467"/>
                </a:cubicBezTo>
                <a:cubicBezTo>
                  <a:pt x="6139731" y="4474467"/>
                  <a:pt x="6139576" y="4473538"/>
                  <a:pt x="6139421" y="4472608"/>
                </a:cubicBezTo>
                <a:cubicBezTo>
                  <a:pt x="6140815" y="4470853"/>
                  <a:pt x="6143139" y="4468891"/>
                  <a:pt x="6144997" y="4469717"/>
                </a:cubicBezTo>
                <a:close/>
                <a:moveTo>
                  <a:pt x="1646354" y="4469183"/>
                </a:moveTo>
                <a:cubicBezTo>
                  <a:pt x="1647903" y="4470009"/>
                  <a:pt x="1648677" y="4470526"/>
                  <a:pt x="1649916" y="4472178"/>
                </a:cubicBezTo>
                <a:cubicBezTo>
                  <a:pt x="1652395" y="4481368"/>
                  <a:pt x="1648367" y="4483742"/>
                  <a:pt x="1648833" y="4484981"/>
                </a:cubicBezTo>
                <a:cubicBezTo>
                  <a:pt x="1647903" y="4485188"/>
                  <a:pt x="1647283" y="4485291"/>
                  <a:pt x="1646664" y="4485084"/>
                </a:cubicBezTo>
                <a:cubicBezTo>
                  <a:pt x="1644805" y="4484672"/>
                  <a:pt x="1644030" y="4482710"/>
                  <a:pt x="1642172" y="4480232"/>
                </a:cubicBezTo>
                <a:cubicBezTo>
                  <a:pt x="1643256" y="4479922"/>
                  <a:pt x="1642017" y="4476308"/>
                  <a:pt x="1641552" y="4475069"/>
                </a:cubicBezTo>
                <a:cubicBezTo>
                  <a:pt x="1643876" y="4474449"/>
                  <a:pt x="1642946" y="4470112"/>
                  <a:pt x="1646354" y="4469183"/>
                </a:cubicBezTo>
                <a:close/>
                <a:moveTo>
                  <a:pt x="1300141" y="4469170"/>
                </a:moveTo>
                <a:cubicBezTo>
                  <a:pt x="1301787" y="4468925"/>
                  <a:pt x="1303878" y="4469906"/>
                  <a:pt x="1305582" y="4472178"/>
                </a:cubicBezTo>
                <a:cubicBezTo>
                  <a:pt x="1304498" y="4473933"/>
                  <a:pt x="1303104" y="4474656"/>
                  <a:pt x="1301710" y="4474862"/>
                </a:cubicBezTo>
                <a:cubicBezTo>
                  <a:pt x="1300161" y="4474966"/>
                  <a:pt x="1298767" y="4474449"/>
                  <a:pt x="1297373" y="4473520"/>
                </a:cubicBezTo>
                <a:cubicBezTo>
                  <a:pt x="1297295" y="4470887"/>
                  <a:pt x="1298496" y="4469416"/>
                  <a:pt x="1300141" y="4469170"/>
                </a:cubicBezTo>
                <a:close/>
                <a:moveTo>
                  <a:pt x="1034359" y="4468873"/>
                </a:moveTo>
                <a:cubicBezTo>
                  <a:pt x="1037302" y="4468873"/>
                  <a:pt x="1039316" y="4468770"/>
                  <a:pt x="1039935" y="4472074"/>
                </a:cubicBezTo>
                <a:cubicBezTo>
                  <a:pt x="1039625" y="4472281"/>
                  <a:pt x="1038851" y="4472281"/>
                  <a:pt x="1038076" y="4472178"/>
                </a:cubicBezTo>
                <a:cubicBezTo>
                  <a:pt x="1037302" y="4472074"/>
                  <a:pt x="1036373" y="4471868"/>
                  <a:pt x="1035907" y="4471765"/>
                </a:cubicBezTo>
                <a:cubicBezTo>
                  <a:pt x="1035133" y="4472178"/>
                  <a:pt x="1034049" y="4471971"/>
                  <a:pt x="1033739" y="4471248"/>
                </a:cubicBezTo>
                <a:cubicBezTo>
                  <a:pt x="1033739" y="4471248"/>
                  <a:pt x="1032500" y="4470939"/>
                  <a:pt x="1031880" y="4471455"/>
                </a:cubicBezTo>
                <a:cubicBezTo>
                  <a:pt x="1029557" y="4470939"/>
                  <a:pt x="1029247" y="4470112"/>
                  <a:pt x="1028783" y="4469390"/>
                </a:cubicBezTo>
                <a:cubicBezTo>
                  <a:pt x="1028783" y="4469390"/>
                  <a:pt x="1030022" y="4469700"/>
                  <a:pt x="1030641" y="4469286"/>
                </a:cubicBezTo>
                <a:cubicBezTo>
                  <a:pt x="1030641" y="4469286"/>
                  <a:pt x="1031725" y="4469493"/>
                  <a:pt x="1032964" y="4469803"/>
                </a:cubicBezTo>
                <a:cubicBezTo>
                  <a:pt x="1032964" y="4469803"/>
                  <a:pt x="1033584" y="4469286"/>
                  <a:pt x="1034359" y="4468873"/>
                </a:cubicBezTo>
                <a:close/>
                <a:moveTo>
                  <a:pt x="1199013" y="4468254"/>
                </a:moveTo>
                <a:cubicBezTo>
                  <a:pt x="1203350" y="4471042"/>
                  <a:pt x="1199323" y="4475895"/>
                  <a:pt x="1196845" y="4475792"/>
                </a:cubicBezTo>
                <a:cubicBezTo>
                  <a:pt x="1191578" y="4473004"/>
                  <a:pt x="1196380" y="4468150"/>
                  <a:pt x="1199013" y="4468254"/>
                </a:cubicBezTo>
                <a:close/>
                <a:moveTo>
                  <a:pt x="708302" y="4467531"/>
                </a:moveTo>
                <a:cubicBezTo>
                  <a:pt x="710935" y="4466499"/>
                  <a:pt x="716356" y="4469183"/>
                  <a:pt x="716821" y="4472487"/>
                </a:cubicBezTo>
                <a:cubicBezTo>
                  <a:pt x="716976" y="4473623"/>
                  <a:pt x="716666" y="4474862"/>
                  <a:pt x="715272" y="4476102"/>
                </a:cubicBezTo>
                <a:cubicBezTo>
                  <a:pt x="714343" y="4476824"/>
                  <a:pt x="713414" y="4477237"/>
                  <a:pt x="712639" y="4477340"/>
                </a:cubicBezTo>
                <a:cubicBezTo>
                  <a:pt x="710006" y="4477753"/>
                  <a:pt x="707837" y="4475379"/>
                  <a:pt x="705824" y="4472591"/>
                </a:cubicBezTo>
                <a:cubicBezTo>
                  <a:pt x="706908" y="4470939"/>
                  <a:pt x="707218" y="4469183"/>
                  <a:pt x="708302" y="4467531"/>
                </a:cubicBezTo>
                <a:close/>
                <a:moveTo>
                  <a:pt x="874506" y="4466808"/>
                </a:moveTo>
                <a:cubicBezTo>
                  <a:pt x="883645" y="4468770"/>
                  <a:pt x="883335" y="4477340"/>
                  <a:pt x="884574" y="4478476"/>
                </a:cubicBezTo>
                <a:cubicBezTo>
                  <a:pt x="883645" y="4481058"/>
                  <a:pt x="883335" y="4481780"/>
                  <a:pt x="880701" y="4481264"/>
                </a:cubicBezTo>
                <a:lnTo>
                  <a:pt x="878069" y="4480645"/>
                </a:lnTo>
                <a:lnTo>
                  <a:pt x="876829" y="4482607"/>
                </a:lnTo>
                <a:cubicBezTo>
                  <a:pt x="875745" y="4482194"/>
                  <a:pt x="874660" y="4481780"/>
                  <a:pt x="873577" y="4481368"/>
                </a:cubicBezTo>
                <a:lnTo>
                  <a:pt x="874041" y="4477340"/>
                </a:lnTo>
                <a:lnTo>
                  <a:pt x="873112" y="4474966"/>
                </a:lnTo>
                <a:cubicBezTo>
                  <a:pt x="871717" y="4473830"/>
                  <a:pt x="870788" y="4471455"/>
                  <a:pt x="871098" y="4469596"/>
                </a:cubicBezTo>
                <a:cubicBezTo>
                  <a:pt x="872027" y="4467221"/>
                  <a:pt x="873577" y="4466499"/>
                  <a:pt x="874506" y="4466808"/>
                </a:cubicBezTo>
                <a:close/>
                <a:moveTo>
                  <a:pt x="1179031" y="4466705"/>
                </a:moveTo>
                <a:cubicBezTo>
                  <a:pt x="1181820" y="4468047"/>
                  <a:pt x="1182439" y="4476102"/>
                  <a:pt x="1181820" y="4479612"/>
                </a:cubicBezTo>
                <a:cubicBezTo>
                  <a:pt x="1181200" y="4479302"/>
                  <a:pt x="1180581" y="4478579"/>
                  <a:pt x="1180271" y="4477547"/>
                </a:cubicBezTo>
                <a:cubicBezTo>
                  <a:pt x="1179573" y="4476050"/>
                  <a:pt x="1179187" y="4474010"/>
                  <a:pt x="1179013" y="4472010"/>
                </a:cubicBezTo>
                <a:lnTo>
                  <a:pt x="1179022" y="4469182"/>
                </a:lnTo>
                <a:lnTo>
                  <a:pt x="1179031" y="4469183"/>
                </a:lnTo>
                <a:lnTo>
                  <a:pt x="1179022" y="4469175"/>
                </a:lnTo>
                <a:close/>
                <a:moveTo>
                  <a:pt x="6195184" y="4466620"/>
                </a:moveTo>
                <a:cubicBezTo>
                  <a:pt x="6195648" y="4466826"/>
                  <a:pt x="6195804" y="4467239"/>
                  <a:pt x="6195804" y="4467755"/>
                </a:cubicBezTo>
                <a:cubicBezTo>
                  <a:pt x="6195648" y="4468272"/>
                  <a:pt x="6195493" y="4468891"/>
                  <a:pt x="6195184" y="4469408"/>
                </a:cubicBezTo>
                <a:cubicBezTo>
                  <a:pt x="6194564" y="4470646"/>
                  <a:pt x="6193945" y="4471782"/>
                  <a:pt x="6193480" y="4472918"/>
                </a:cubicBezTo>
                <a:cubicBezTo>
                  <a:pt x="6193480" y="4472918"/>
                  <a:pt x="6193480" y="4472918"/>
                  <a:pt x="6195184" y="4466620"/>
                </a:cubicBezTo>
                <a:close/>
                <a:moveTo>
                  <a:pt x="1649762" y="4465156"/>
                </a:moveTo>
                <a:cubicBezTo>
                  <a:pt x="1652705" y="4466085"/>
                  <a:pt x="1653789" y="4467221"/>
                  <a:pt x="1653789" y="4468150"/>
                </a:cubicBezTo>
                <a:cubicBezTo>
                  <a:pt x="1653789" y="4469183"/>
                  <a:pt x="1652550" y="4470112"/>
                  <a:pt x="1651311" y="4470422"/>
                </a:cubicBezTo>
                <a:cubicBezTo>
                  <a:pt x="1649916" y="4470732"/>
                  <a:pt x="1648677" y="4470422"/>
                  <a:pt x="1648367" y="4469183"/>
                </a:cubicBezTo>
                <a:cubicBezTo>
                  <a:pt x="1648212" y="4468357"/>
                  <a:pt x="1648522" y="4467015"/>
                  <a:pt x="1649762" y="4465156"/>
                </a:cubicBezTo>
                <a:close/>
                <a:moveTo>
                  <a:pt x="1676094" y="4464743"/>
                </a:moveTo>
                <a:cubicBezTo>
                  <a:pt x="1674855" y="4466911"/>
                  <a:pt x="1674081" y="4470835"/>
                  <a:pt x="1670673" y="4471145"/>
                </a:cubicBezTo>
                <a:cubicBezTo>
                  <a:pt x="1671602" y="4469493"/>
                  <a:pt x="1672996" y="4466085"/>
                  <a:pt x="1674545" y="4464950"/>
                </a:cubicBezTo>
                <a:cubicBezTo>
                  <a:pt x="1675009" y="4464640"/>
                  <a:pt x="1675629" y="4464434"/>
                  <a:pt x="1676094" y="4464743"/>
                </a:cubicBezTo>
                <a:close/>
                <a:moveTo>
                  <a:pt x="1726900" y="4464640"/>
                </a:moveTo>
                <a:cubicBezTo>
                  <a:pt x="1726900" y="4464640"/>
                  <a:pt x="1727830" y="4464640"/>
                  <a:pt x="1729533" y="4466499"/>
                </a:cubicBezTo>
                <a:cubicBezTo>
                  <a:pt x="1728759" y="4466395"/>
                  <a:pt x="1728759" y="4467325"/>
                  <a:pt x="1728759" y="4467325"/>
                </a:cubicBezTo>
                <a:cubicBezTo>
                  <a:pt x="1728759" y="4467325"/>
                  <a:pt x="1728759" y="4467221"/>
                  <a:pt x="1729533" y="4467325"/>
                </a:cubicBezTo>
                <a:cubicBezTo>
                  <a:pt x="1729223" y="4467738"/>
                  <a:pt x="1728759" y="4467635"/>
                  <a:pt x="1728449" y="4467531"/>
                </a:cubicBezTo>
                <a:cubicBezTo>
                  <a:pt x="1728139" y="4467428"/>
                  <a:pt x="1727985" y="4467221"/>
                  <a:pt x="1727985" y="4467221"/>
                </a:cubicBezTo>
                <a:cubicBezTo>
                  <a:pt x="1727055" y="4466292"/>
                  <a:pt x="1726125" y="4465466"/>
                  <a:pt x="1726900" y="4464640"/>
                </a:cubicBezTo>
                <a:close/>
                <a:moveTo>
                  <a:pt x="1819992" y="4464434"/>
                </a:moveTo>
                <a:cubicBezTo>
                  <a:pt x="1822935" y="4462781"/>
                  <a:pt x="1828512" y="4466808"/>
                  <a:pt x="1828822" y="4470422"/>
                </a:cubicBezTo>
                <a:cubicBezTo>
                  <a:pt x="1824330" y="4467015"/>
                  <a:pt x="1820612" y="4468977"/>
                  <a:pt x="1819992" y="4464434"/>
                </a:cubicBezTo>
                <a:close/>
                <a:moveTo>
                  <a:pt x="1413216" y="4464278"/>
                </a:moveTo>
                <a:cubicBezTo>
                  <a:pt x="1415016" y="4464098"/>
                  <a:pt x="1417108" y="4464691"/>
                  <a:pt x="1419276" y="4465466"/>
                </a:cubicBezTo>
                <a:cubicBezTo>
                  <a:pt x="1419121" y="4467325"/>
                  <a:pt x="1419741" y="4468873"/>
                  <a:pt x="1419586" y="4470835"/>
                </a:cubicBezTo>
                <a:cubicBezTo>
                  <a:pt x="1418502" y="4471971"/>
                  <a:pt x="1416488" y="4472797"/>
                  <a:pt x="1414474" y="4473004"/>
                </a:cubicBezTo>
                <a:cubicBezTo>
                  <a:pt x="1412460" y="4473210"/>
                  <a:pt x="1410447" y="4472797"/>
                  <a:pt x="1409363" y="4471455"/>
                </a:cubicBezTo>
                <a:cubicBezTo>
                  <a:pt x="1408743" y="4470629"/>
                  <a:pt x="1408434" y="4469390"/>
                  <a:pt x="1408898" y="4467738"/>
                </a:cubicBezTo>
                <a:cubicBezTo>
                  <a:pt x="1409905" y="4465414"/>
                  <a:pt x="1411415" y="4464459"/>
                  <a:pt x="1413216" y="4464278"/>
                </a:cubicBezTo>
                <a:close/>
                <a:moveTo>
                  <a:pt x="1598336" y="4463917"/>
                </a:moveTo>
                <a:cubicBezTo>
                  <a:pt x="1604532" y="4468873"/>
                  <a:pt x="1614600" y="4477444"/>
                  <a:pt x="1617079" y="4485084"/>
                </a:cubicBezTo>
                <a:cubicBezTo>
                  <a:pt x="1615994" y="4485601"/>
                  <a:pt x="1614910" y="4485704"/>
                  <a:pt x="1613981" y="4485601"/>
                </a:cubicBezTo>
                <a:cubicBezTo>
                  <a:pt x="1612122" y="4485395"/>
                  <a:pt x="1610263" y="4484259"/>
                  <a:pt x="1608559" y="4482710"/>
                </a:cubicBezTo>
                <a:lnTo>
                  <a:pt x="1606546" y="4480129"/>
                </a:lnTo>
                <a:lnTo>
                  <a:pt x="1605771" y="4480438"/>
                </a:lnTo>
                <a:cubicBezTo>
                  <a:pt x="1604067" y="4481161"/>
                  <a:pt x="1602363" y="4481677"/>
                  <a:pt x="1600814" y="4481471"/>
                </a:cubicBezTo>
                <a:cubicBezTo>
                  <a:pt x="1600350" y="4481264"/>
                  <a:pt x="1599730" y="4481161"/>
                  <a:pt x="1599420" y="4480748"/>
                </a:cubicBezTo>
                <a:lnTo>
                  <a:pt x="1599575" y="4480129"/>
                </a:lnTo>
                <a:lnTo>
                  <a:pt x="1599265" y="4480232"/>
                </a:lnTo>
                <a:cubicBezTo>
                  <a:pt x="1598646" y="4480232"/>
                  <a:pt x="1598026" y="4480025"/>
                  <a:pt x="1596942" y="4479715"/>
                </a:cubicBezTo>
                <a:cubicBezTo>
                  <a:pt x="1597562" y="4479302"/>
                  <a:pt x="1598491" y="4477650"/>
                  <a:pt x="1599730" y="4477960"/>
                </a:cubicBezTo>
                <a:lnTo>
                  <a:pt x="1599885" y="4478063"/>
                </a:lnTo>
                <a:lnTo>
                  <a:pt x="1600505" y="4476514"/>
                </a:lnTo>
                <a:cubicBezTo>
                  <a:pt x="1601124" y="4476205"/>
                  <a:pt x="1602053" y="4476308"/>
                  <a:pt x="1603602" y="4476514"/>
                </a:cubicBezTo>
                <a:lnTo>
                  <a:pt x="1600040" y="4469596"/>
                </a:lnTo>
                <a:cubicBezTo>
                  <a:pt x="1599265" y="4467325"/>
                  <a:pt x="1598491" y="4465363"/>
                  <a:pt x="1598336" y="4463917"/>
                </a:cubicBezTo>
                <a:close/>
                <a:moveTo>
                  <a:pt x="5910020" y="4462902"/>
                </a:moveTo>
                <a:cubicBezTo>
                  <a:pt x="5909865" y="4465380"/>
                  <a:pt x="5909710" y="4466620"/>
                  <a:pt x="5910174" y="4468478"/>
                </a:cubicBezTo>
                <a:cubicBezTo>
                  <a:pt x="5906612" y="4468272"/>
                  <a:pt x="5903824" y="4469098"/>
                  <a:pt x="5901810" y="4469201"/>
                </a:cubicBezTo>
                <a:cubicBezTo>
                  <a:pt x="5899641" y="4469304"/>
                  <a:pt x="5898093" y="4468685"/>
                  <a:pt x="5896854" y="4465897"/>
                </a:cubicBezTo>
                <a:cubicBezTo>
                  <a:pt x="5899022" y="4462902"/>
                  <a:pt x="5904753" y="4463212"/>
                  <a:pt x="5910020" y="4462902"/>
                </a:cubicBezTo>
                <a:close/>
                <a:moveTo>
                  <a:pt x="1706454" y="4462265"/>
                </a:moveTo>
                <a:cubicBezTo>
                  <a:pt x="1706609" y="4467531"/>
                  <a:pt x="1707693" y="4473313"/>
                  <a:pt x="1701962" y="4475069"/>
                </a:cubicBezTo>
                <a:cubicBezTo>
                  <a:pt x="1700103" y="4474449"/>
                  <a:pt x="1699019" y="4473417"/>
                  <a:pt x="1698244" y="4472384"/>
                </a:cubicBezTo>
                <a:cubicBezTo>
                  <a:pt x="1696231" y="4468977"/>
                  <a:pt x="1698244" y="4464124"/>
                  <a:pt x="1701652" y="4462368"/>
                </a:cubicBezTo>
                <a:cubicBezTo>
                  <a:pt x="1703046" y="4461645"/>
                  <a:pt x="1704750" y="4461439"/>
                  <a:pt x="1706454" y="4462265"/>
                </a:cubicBezTo>
                <a:close/>
                <a:moveTo>
                  <a:pt x="6153052" y="4461664"/>
                </a:moveTo>
                <a:cubicBezTo>
                  <a:pt x="6153052" y="4461664"/>
                  <a:pt x="6153207" y="4461664"/>
                  <a:pt x="6153981" y="4461767"/>
                </a:cubicBezTo>
                <a:cubicBezTo>
                  <a:pt x="6155685" y="4462076"/>
                  <a:pt x="6156460" y="4462179"/>
                  <a:pt x="6157234" y="4462283"/>
                </a:cubicBezTo>
                <a:cubicBezTo>
                  <a:pt x="6158009" y="4463315"/>
                  <a:pt x="6159558" y="4466103"/>
                  <a:pt x="6158628" y="4466826"/>
                </a:cubicBezTo>
                <a:cubicBezTo>
                  <a:pt x="6157854" y="4467549"/>
                  <a:pt x="6156770" y="4468065"/>
                  <a:pt x="6155840" y="4468169"/>
                </a:cubicBezTo>
                <a:cubicBezTo>
                  <a:pt x="6154756" y="4468375"/>
                  <a:pt x="6153981" y="4468272"/>
                  <a:pt x="6153517" y="4467755"/>
                </a:cubicBezTo>
                <a:cubicBezTo>
                  <a:pt x="6152433" y="4466310"/>
                  <a:pt x="6151348" y="4464761"/>
                  <a:pt x="6151968" y="4463212"/>
                </a:cubicBezTo>
                <a:cubicBezTo>
                  <a:pt x="6152123" y="4462696"/>
                  <a:pt x="6152433" y="4462179"/>
                  <a:pt x="6153052" y="4461664"/>
                </a:cubicBezTo>
                <a:close/>
                <a:moveTo>
                  <a:pt x="1161839" y="4461439"/>
                </a:moveTo>
                <a:cubicBezTo>
                  <a:pt x="1164704" y="4460045"/>
                  <a:pt x="1168847" y="4461078"/>
                  <a:pt x="1172352" y="4462911"/>
                </a:cubicBezTo>
                <a:lnTo>
                  <a:pt x="1179022" y="4469175"/>
                </a:lnTo>
                <a:lnTo>
                  <a:pt x="1179022" y="4469182"/>
                </a:lnTo>
                <a:lnTo>
                  <a:pt x="1174308" y="4468822"/>
                </a:lnTo>
                <a:cubicBezTo>
                  <a:pt x="1172797" y="4468383"/>
                  <a:pt x="1171209" y="4467892"/>
                  <a:pt x="1169119" y="4468150"/>
                </a:cubicBezTo>
                <a:cubicBezTo>
                  <a:pt x="1168034" y="4465363"/>
                  <a:pt x="1163077" y="4465466"/>
                  <a:pt x="1161839" y="4461439"/>
                </a:cubicBezTo>
                <a:close/>
                <a:moveTo>
                  <a:pt x="1787929" y="4459064"/>
                </a:moveTo>
                <a:cubicBezTo>
                  <a:pt x="1792421" y="4458032"/>
                  <a:pt x="1792266" y="4462678"/>
                  <a:pt x="1790253" y="4464124"/>
                </a:cubicBezTo>
                <a:cubicBezTo>
                  <a:pt x="1789633" y="4464537"/>
                  <a:pt x="1788549" y="4464537"/>
                  <a:pt x="1787619" y="4463917"/>
                </a:cubicBezTo>
                <a:cubicBezTo>
                  <a:pt x="1787619" y="4462781"/>
                  <a:pt x="1787155" y="4460819"/>
                  <a:pt x="1787929" y="4459064"/>
                </a:cubicBezTo>
                <a:close/>
                <a:moveTo>
                  <a:pt x="1061930" y="4459064"/>
                </a:moveTo>
                <a:lnTo>
                  <a:pt x="1061155" y="4459787"/>
                </a:lnTo>
                <a:lnTo>
                  <a:pt x="1061930" y="4459477"/>
                </a:lnTo>
                <a:close/>
                <a:moveTo>
                  <a:pt x="1548615" y="4458961"/>
                </a:moveTo>
                <a:cubicBezTo>
                  <a:pt x="1551712" y="4460200"/>
                  <a:pt x="1552022" y="4462884"/>
                  <a:pt x="1552177" y="4465569"/>
                </a:cubicBezTo>
                <a:cubicBezTo>
                  <a:pt x="1551867" y="4467531"/>
                  <a:pt x="1552177" y="4468357"/>
                  <a:pt x="1553571" y="4469493"/>
                </a:cubicBezTo>
                <a:cubicBezTo>
                  <a:pt x="1553571" y="4469493"/>
                  <a:pt x="1553571" y="4469493"/>
                  <a:pt x="1552642" y="4471868"/>
                </a:cubicBezTo>
                <a:lnTo>
                  <a:pt x="1551867" y="4472178"/>
                </a:lnTo>
                <a:cubicBezTo>
                  <a:pt x="1551403" y="4472178"/>
                  <a:pt x="1551093" y="4471661"/>
                  <a:pt x="1550628" y="4470835"/>
                </a:cubicBezTo>
                <a:cubicBezTo>
                  <a:pt x="1549389" y="4468357"/>
                  <a:pt x="1548459" y="4463401"/>
                  <a:pt x="1548305" y="4462884"/>
                </a:cubicBezTo>
                <a:cubicBezTo>
                  <a:pt x="1548305" y="4462884"/>
                  <a:pt x="1547995" y="4462059"/>
                  <a:pt x="1547685" y="4461336"/>
                </a:cubicBezTo>
                <a:cubicBezTo>
                  <a:pt x="1548150" y="4460097"/>
                  <a:pt x="1548924" y="4459787"/>
                  <a:pt x="1548615" y="4458961"/>
                </a:cubicBezTo>
                <a:close/>
                <a:moveTo>
                  <a:pt x="5849939" y="4458734"/>
                </a:moveTo>
                <a:cubicBezTo>
                  <a:pt x="5851973" y="4459469"/>
                  <a:pt x="5853483" y="4461509"/>
                  <a:pt x="5851469" y="4463419"/>
                </a:cubicBezTo>
                <a:cubicBezTo>
                  <a:pt x="5849610" y="4463419"/>
                  <a:pt x="5847442" y="4462696"/>
                  <a:pt x="5845273" y="4461870"/>
                </a:cubicBezTo>
                <a:cubicBezTo>
                  <a:pt x="5845351" y="4458566"/>
                  <a:pt x="5847906" y="4457998"/>
                  <a:pt x="5849939" y="4458734"/>
                </a:cubicBezTo>
                <a:close/>
                <a:moveTo>
                  <a:pt x="5857045" y="4458669"/>
                </a:moveTo>
                <a:cubicBezTo>
                  <a:pt x="5859678" y="4458463"/>
                  <a:pt x="5861228" y="4458359"/>
                  <a:pt x="5863241" y="4460011"/>
                </a:cubicBezTo>
                <a:lnTo>
                  <a:pt x="5865100" y="4463109"/>
                </a:lnTo>
                <a:lnTo>
                  <a:pt x="5866959" y="4461767"/>
                </a:lnTo>
                <a:cubicBezTo>
                  <a:pt x="5872070" y="4459702"/>
                  <a:pt x="5878111" y="4459288"/>
                  <a:pt x="5880125" y="4468065"/>
                </a:cubicBezTo>
                <a:cubicBezTo>
                  <a:pt x="5880899" y="4469717"/>
                  <a:pt x="5880280" y="4469304"/>
                  <a:pt x="5880434" y="4470440"/>
                </a:cubicBezTo>
                <a:cubicBezTo>
                  <a:pt x="5880589" y="4471679"/>
                  <a:pt x="5881519" y="4473331"/>
                  <a:pt x="5882138" y="4473744"/>
                </a:cubicBezTo>
                <a:cubicBezTo>
                  <a:pt x="5878266" y="4475500"/>
                  <a:pt x="5879350" y="4478288"/>
                  <a:pt x="5872999" y="4480663"/>
                </a:cubicBezTo>
                <a:cubicBezTo>
                  <a:pt x="5870986" y="4481489"/>
                  <a:pt x="5869282" y="4481902"/>
                  <a:pt x="5867733" y="4481902"/>
                </a:cubicBezTo>
                <a:lnTo>
                  <a:pt x="5866649" y="4481592"/>
                </a:lnTo>
                <a:lnTo>
                  <a:pt x="5866959" y="4481902"/>
                </a:lnTo>
                <a:cubicBezTo>
                  <a:pt x="5869127" y="4484070"/>
                  <a:pt x="5870676" y="4486135"/>
                  <a:pt x="5870366" y="4487477"/>
                </a:cubicBezTo>
                <a:cubicBezTo>
                  <a:pt x="5869592" y="4487477"/>
                  <a:pt x="5868817" y="4487581"/>
                  <a:pt x="5867888" y="4486755"/>
                </a:cubicBezTo>
                <a:cubicBezTo>
                  <a:pt x="5866804" y="4485929"/>
                  <a:pt x="5867733" y="4485929"/>
                  <a:pt x="5866804" y="4485929"/>
                </a:cubicBezTo>
                <a:cubicBezTo>
                  <a:pt x="5865874" y="4485103"/>
                  <a:pt x="5866029" y="4485929"/>
                  <a:pt x="5866029" y="4485929"/>
                </a:cubicBezTo>
                <a:cubicBezTo>
                  <a:pt x="5866029" y="4485929"/>
                  <a:pt x="5865874" y="4485103"/>
                  <a:pt x="5865874" y="4485103"/>
                </a:cubicBezTo>
                <a:cubicBezTo>
                  <a:pt x="5865874" y="4485103"/>
                  <a:pt x="5865874" y="4485103"/>
                  <a:pt x="5864016" y="4483450"/>
                </a:cubicBezTo>
                <a:cubicBezTo>
                  <a:pt x="5861228" y="4481902"/>
                  <a:pt x="5860453" y="4481902"/>
                  <a:pt x="5858594" y="4481179"/>
                </a:cubicBezTo>
                <a:cubicBezTo>
                  <a:pt x="5856735" y="4479527"/>
                  <a:pt x="5856426" y="4478701"/>
                  <a:pt x="5854412" y="4476223"/>
                </a:cubicBezTo>
                <a:cubicBezTo>
                  <a:pt x="5855031" y="4474467"/>
                  <a:pt x="5855031" y="4474467"/>
                  <a:pt x="5855961" y="4474364"/>
                </a:cubicBezTo>
                <a:cubicBezTo>
                  <a:pt x="5855031" y="4474467"/>
                  <a:pt x="5855031" y="4473538"/>
                  <a:pt x="5853947" y="4472712"/>
                </a:cubicBezTo>
                <a:cubicBezTo>
                  <a:pt x="5849455" y="4470337"/>
                  <a:pt x="5850539" y="4466000"/>
                  <a:pt x="5853328" y="4461457"/>
                </a:cubicBezTo>
                <a:cubicBezTo>
                  <a:pt x="5854257" y="4462283"/>
                  <a:pt x="5855496" y="4459598"/>
                  <a:pt x="5857045" y="4458669"/>
                </a:cubicBezTo>
                <a:close/>
                <a:moveTo>
                  <a:pt x="1140154" y="4458651"/>
                </a:moveTo>
                <a:cubicBezTo>
                  <a:pt x="1140463" y="4460303"/>
                  <a:pt x="1142166" y="4469596"/>
                  <a:pt x="1141237" y="4472694"/>
                </a:cubicBezTo>
                <a:cubicBezTo>
                  <a:pt x="1140927" y="4468254"/>
                  <a:pt x="1138604" y="4462781"/>
                  <a:pt x="1140154" y="4458651"/>
                </a:cubicBezTo>
                <a:close/>
                <a:moveTo>
                  <a:pt x="737113" y="4458651"/>
                </a:moveTo>
                <a:cubicBezTo>
                  <a:pt x="739746" y="4461336"/>
                  <a:pt x="738971" y="4464743"/>
                  <a:pt x="741759" y="4468357"/>
                </a:cubicBezTo>
                <a:cubicBezTo>
                  <a:pt x="740211" y="4470835"/>
                  <a:pt x="742844" y="4475275"/>
                  <a:pt x="740520" y="4478683"/>
                </a:cubicBezTo>
                <a:cubicBezTo>
                  <a:pt x="735254" y="4474966"/>
                  <a:pt x="734634" y="4461129"/>
                  <a:pt x="737113" y="4458651"/>
                </a:cubicBezTo>
                <a:close/>
                <a:moveTo>
                  <a:pt x="1055425" y="4458341"/>
                </a:moveTo>
                <a:cubicBezTo>
                  <a:pt x="1054495" y="4459580"/>
                  <a:pt x="1053566" y="4460200"/>
                  <a:pt x="1052327" y="4460406"/>
                </a:cubicBezTo>
                <a:cubicBezTo>
                  <a:pt x="1051242" y="4460613"/>
                  <a:pt x="1049848" y="4460510"/>
                  <a:pt x="1048144" y="4460406"/>
                </a:cubicBezTo>
                <a:cubicBezTo>
                  <a:pt x="1050468" y="4456793"/>
                  <a:pt x="1052327" y="4456999"/>
                  <a:pt x="1055425" y="4458341"/>
                </a:cubicBezTo>
                <a:close/>
                <a:moveTo>
                  <a:pt x="1782817" y="4458135"/>
                </a:moveTo>
                <a:cubicBezTo>
                  <a:pt x="1781733" y="4459787"/>
                  <a:pt x="1777861" y="4465260"/>
                  <a:pt x="1776002" y="4465466"/>
                </a:cubicBezTo>
                <a:cubicBezTo>
                  <a:pt x="1777396" y="4462575"/>
                  <a:pt x="1781733" y="4457825"/>
                  <a:pt x="1782817" y="4458135"/>
                </a:cubicBezTo>
                <a:close/>
                <a:moveTo>
                  <a:pt x="1723337" y="4458135"/>
                </a:moveTo>
                <a:cubicBezTo>
                  <a:pt x="1725042" y="4459168"/>
                  <a:pt x="1727520" y="4462781"/>
                  <a:pt x="1726900" y="4464640"/>
                </a:cubicBezTo>
                <a:cubicBezTo>
                  <a:pt x="1725197" y="4463607"/>
                  <a:pt x="1724267" y="4462678"/>
                  <a:pt x="1723337" y="4461749"/>
                </a:cubicBezTo>
                <a:cubicBezTo>
                  <a:pt x="1721788" y="4460819"/>
                  <a:pt x="1721634" y="4459890"/>
                  <a:pt x="1723337" y="4458135"/>
                </a:cubicBezTo>
                <a:close/>
                <a:moveTo>
                  <a:pt x="1043652" y="4457515"/>
                </a:moveTo>
                <a:cubicBezTo>
                  <a:pt x="1044737" y="4458032"/>
                  <a:pt x="1044737" y="4458032"/>
                  <a:pt x="1043807" y="4458341"/>
                </a:cubicBezTo>
                <a:cubicBezTo>
                  <a:pt x="1045202" y="4459683"/>
                  <a:pt x="1045356" y="4460510"/>
                  <a:pt x="1045511" y="4461336"/>
                </a:cubicBezTo>
                <a:cubicBezTo>
                  <a:pt x="1044891" y="4462472"/>
                  <a:pt x="1043343" y="4463194"/>
                  <a:pt x="1041484" y="4462884"/>
                </a:cubicBezTo>
                <a:cubicBezTo>
                  <a:pt x="1042103" y="4461749"/>
                  <a:pt x="1040864" y="4460406"/>
                  <a:pt x="1041484" y="4459271"/>
                </a:cubicBezTo>
                <a:cubicBezTo>
                  <a:pt x="1041484" y="4459271"/>
                  <a:pt x="1043652" y="4457515"/>
                  <a:pt x="1043652" y="4457515"/>
                </a:cubicBezTo>
                <a:close/>
                <a:moveTo>
                  <a:pt x="1697779" y="4456379"/>
                </a:moveTo>
                <a:cubicBezTo>
                  <a:pt x="1697934" y="4458858"/>
                  <a:pt x="1698089" y="4462265"/>
                  <a:pt x="1697470" y="4463917"/>
                </a:cubicBezTo>
                <a:cubicBezTo>
                  <a:pt x="1696540" y="4462162"/>
                  <a:pt x="1695611" y="4458754"/>
                  <a:pt x="1697005" y="4457102"/>
                </a:cubicBezTo>
                <a:cubicBezTo>
                  <a:pt x="1697005" y="4457102"/>
                  <a:pt x="1697160" y="4457102"/>
                  <a:pt x="1697779" y="4456379"/>
                </a:cubicBezTo>
                <a:close/>
                <a:moveTo>
                  <a:pt x="6543081" y="4456294"/>
                </a:moveTo>
                <a:cubicBezTo>
                  <a:pt x="6540447" y="4455571"/>
                  <a:pt x="6536265" y="4459495"/>
                  <a:pt x="6537814" y="4459185"/>
                </a:cubicBezTo>
                <a:lnTo>
                  <a:pt x="6537659" y="4459185"/>
                </a:lnTo>
                <a:lnTo>
                  <a:pt x="6535181" y="4463006"/>
                </a:lnTo>
                <a:cubicBezTo>
                  <a:pt x="6532393" y="4465380"/>
                  <a:pt x="6529140" y="4466826"/>
                  <a:pt x="6525267" y="4466826"/>
                </a:cubicBezTo>
                <a:lnTo>
                  <a:pt x="6521860" y="4460941"/>
                </a:lnTo>
                <a:lnTo>
                  <a:pt x="6519691" y="4461147"/>
                </a:lnTo>
                <a:cubicBezTo>
                  <a:pt x="6515819" y="4462179"/>
                  <a:pt x="6512256" y="4464141"/>
                  <a:pt x="6509313" y="4468478"/>
                </a:cubicBezTo>
                <a:cubicBezTo>
                  <a:pt x="6509313" y="4468478"/>
                  <a:pt x="6509158" y="4468478"/>
                  <a:pt x="6508539" y="4468272"/>
                </a:cubicBezTo>
                <a:cubicBezTo>
                  <a:pt x="6508539" y="4468272"/>
                  <a:pt x="6508539" y="4468272"/>
                  <a:pt x="6507764" y="4468685"/>
                </a:cubicBezTo>
                <a:cubicBezTo>
                  <a:pt x="6507764" y="4468685"/>
                  <a:pt x="6507610" y="4468685"/>
                  <a:pt x="6506990" y="4468478"/>
                </a:cubicBezTo>
                <a:cubicBezTo>
                  <a:pt x="6506990" y="4468478"/>
                  <a:pt x="6506990" y="4468478"/>
                  <a:pt x="6503272" y="4468891"/>
                </a:cubicBezTo>
                <a:cubicBezTo>
                  <a:pt x="6501104" y="4468891"/>
                  <a:pt x="6498006" y="4469511"/>
                  <a:pt x="6495837" y="4469511"/>
                </a:cubicBezTo>
                <a:cubicBezTo>
                  <a:pt x="6491191" y="4470440"/>
                  <a:pt x="6485924" y="4471060"/>
                  <a:pt x="6481432" y="4471163"/>
                </a:cubicBezTo>
                <a:cubicBezTo>
                  <a:pt x="6478954" y="4471886"/>
                  <a:pt x="6476785" y="4471989"/>
                  <a:pt x="6474307" y="4472712"/>
                </a:cubicBezTo>
                <a:cubicBezTo>
                  <a:pt x="6474307" y="4472712"/>
                  <a:pt x="6474307" y="4472815"/>
                  <a:pt x="6472758" y="4473022"/>
                </a:cubicBezTo>
                <a:cubicBezTo>
                  <a:pt x="6472758" y="4473022"/>
                  <a:pt x="6472913" y="4473022"/>
                  <a:pt x="6471519" y="4472608"/>
                </a:cubicBezTo>
                <a:cubicBezTo>
                  <a:pt x="6471519" y="4472608"/>
                  <a:pt x="6471519" y="4472608"/>
                  <a:pt x="6468421" y="4473125"/>
                </a:cubicBezTo>
                <a:cubicBezTo>
                  <a:pt x="6464084" y="4473331"/>
                  <a:pt x="6460056" y="4474364"/>
                  <a:pt x="6456339" y="4474674"/>
                </a:cubicBezTo>
                <a:lnTo>
                  <a:pt x="6445806" y="4475397"/>
                </a:lnTo>
                <a:lnTo>
                  <a:pt x="6445806" y="4475809"/>
                </a:lnTo>
                <a:cubicBezTo>
                  <a:pt x="6445342" y="4477771"/>
                  <a:pt x="6444722" y="4479733"/>
                  <a:pt x="6444102" y="4480972"/>
                </a:cubicBezTo>
                <a:cubicBezTo>
                  <a:pt x="6443483" y="4480559"/>
                  <a:pt x="6443173" y="4479733"/>
                  <a:pt x="6443018" y="4478701"/>
                </a:cubicBezTo>
                <a:lnTo>
                  <a:pt x="6443328" y="4475603"/>
                </a:lnTo>
                <a:lnTo>
                  <a:pt x="6437752" y="4475603"/>
                </a:lnTo>
                <a:lnTo>
                  <a:pt x="6444722" y="4483967"/>
                </a:lnTo>
                <a:cubicBezTo>
                  <a:pt x="6434963" y="4493157"/>
                  <a:pt x="6422727" y="4484793"/>
                  <a:pt x="6412658" y="4481075"/>
                </a:cubicBezTo>
                <a:lnTo>
                  <a:pt x="6411729" y="4499145"/>
                </a:lnTo>
                <a:lnTo>
                  <a:pt x="6416841" y="4500384"/>
                </a:lnTo>
                <a:lnTo>
                  <a:pt x="6418699" y="4502243"/>
                </a:lnTo>
                <a:lnTo>
                  <a:pt x="6422881" y="4500488"/>
                </a:lnTo>
                <a:cubicBezTo>
                  <a:pt x="6422881" y="4500488"/>
                  <a:pt x="6421797" y="4503276"/>
                  <a:pt x="6421177" y="4503069"/>
                </a:cubicBezTo>
                <a:cubicBezTo>
                  <a:pt x="6423346" y="4502966"/>
                  <a:pt x="6428148" y="4499868"/>
                  <a:pt x="6430316" y="4499868"/>
                </a:cubicBezTo>
                <a:cubicBezTo>
                  <a:pt x="6432485" y="4499765"/>
                  <a:pt x="6434809" y="4501210"/>
                  <a:pt x="6437132" y="4502553"/>
                </a:cubicBezTo>
                <a:lnTo>
                  <a:pt x="6440075" y="4503585"/>
                </a:lnTo>
                <a:lnTo>
                  <a:pt x="6444102" y="4501933"/>
                </a:lnTo>
                <a:lnTo>
                  <a:pt x="6444102" y="4501210"/>
                </a:lnTo>
                <a:lnTo>
                  <a:pt x="6446271" y="4498836"/>
                </a:lnTo>
                <a:lnTo>
                  <a:pt x="6445187" y="4498009"/>
                </a:lnTo>
                <a:cubicBezTo>
                  <a:pt x="6443638" y="4495635"/>
                  <a:pt x="6444102" y="4491091"/>
                  <a:pt x="6445342" y="4490369"/>
                </a:cubicBezTo>
                <a:cubicBezTo>
                  <a:pt x="6446735" y="4490575"/>
                  <a:pt x="6449369" y="4495428"/>
                  <a:pt x="6448904" y="4498009"/>
                </a:cubicBezTo>
                <a:lnTo>
                  <a:pt x="6447510" y="4499248"/>
                </a:lnTo>
                <a:lnTo>
                  <a:pt x="6448439" y="4500281"/>
                </a:lnTo>
                <a:lnTo>
                  <a:pt x="6452466" y="4498629"/>
                </a:lnTo>
                <a:lnTo>
                  <a:pt x="6453086" y="4498836"/>
                </a:lnTo>
                <a:lnTo>
                  <a:pt x="6456184" y="4496461"/>
                </a:lnTo>
                <a:cubicBezTo>
                  <a:pt x="6460056" y="4495428"/>
                  <a:pt x="6464084" y="4496667"/>
                  <a:pt x="6467337" y="4497700"/>
                </a:cubicBezTo>
                <a:cubicBezTo>
                  <a:pt x="6469350" y="4498319"/>
                  <a:pt x="6470899" y="4498009"/>
                  <a:pt x="6472293" y="4497803"/>
                </a:cubicBezTo>
                <a:cubicBezTo>
                  <a:pt x="6473068" y="4498009"/>
                  <a:pt x="6473688" y="4498113"/>
                  <a:pt x="6473688" y="4498113"/>
                </a:cubicBezTo>
                <a:cubicBezTo>
                  <a:pt x="6474617" y="4497700"/>
                  <a:pt x="6474617" y="4497700"/>
                  <a:pt x="6475391" y="4497183"/>
                </a:cubicBezTo>
                <a:cubicBezTo>
                  <a:pt x="6476321" y="4496667"/>
                  <a:pt x="6477250" y="4496254"/>
                  <a:pt x="6478179" y="4495738"/>
                </a:cubicBezTo>
                <a:cubicBezTo>
                  <a:pt x="6483755" y="4494499"/>
                  <a:pt x="6484530" y="4498526"/>
                  <a:pt x="6488867" y="4498319"/>
                </a:cubicBezTo>
                <a:cubicBezTo>
                  <a:pt x="6493824" y="4496874"/>
                  <a:pt x="6498006" y="4495118"/>
                  <a:pt x="6501878" y="4494086"/>
                </a:cubicBezTo>
                <a:lnTo>
                  <a:pt x="6502498" y="4493879"/>
                </a:lnTo>
                <a:lnTo>
                  <a:pt x="6503272" y="4492124"/>
                </a:lnTo>
                <a:cubicBezTo>
                  <a:pt x="6504356" y="4491711"/>
                  <a:pt x="6505751" y="4491814"/>
                  <a:pt x="6506835" y="4492227"/>
                </a:cubicBezTo>
                <a:lnTo>
                  <a:pt x="6507145" y="4492640"/>
                </a:lnTo>
                <a:lnTo>
                  <a:pt x="6508384" y="4492227"/>
                </a:lnTo>
                <a:cubicBezTo>
                  <a:pt x="6508384" y="4492227"/>
                  <a:pt x="6508384" y="4492227"/>
                  <a:pt x="6510088" y="4491298"/>
                </a:cubicBezTo>
                <a:cubicBezTo>
                  <a:pt x="6510088" y="4491298"/>
                  <a:pt x="6510243" y="4491298"/>
                  <a:pt x="6510862" y="4491504"/>
                </a:cubicBezTo>
                <a:cubicBezTo>
                  <a:pt x="6511017" y="4490781"/>
                  <a:pt x="6511637" y="4491091"/>
                  <a:pt x="6511637" y="4491091"/>
                </a:cubicBezTo>
                <a:cubicBezTo>
                  <a:pt x="6511637" y="4491091"/>
                  <a:pt x="6511637" y="4491091"/>
                  <a:pt x="6513186" y="4490781"/>
                </a:cubicBezTo>
                <a:lnTo>
                  <a:pt x="6513805" y="4490472"/>
                </a:lnTo>
                <a:lnTo>
                  <a:pt x="6513341" y="4488200"/>
                </a:lnTo>
                <a:cubicBezTo>
                  <a:pt x="6513186" y="4486858"/>
                  <a:pt x="6513341" y="4485412"/>
                  <a:pt x="6513805" y="4483554"/>
                </a:cubicBezTo>
                <a:cubicBezTo>
                  <a:pt x="6515045" y="4485309"/>
                  <a:pt x="6515974" y="4487065"/>
                  <a:pt x="6516439" y="4488820"/>
                </a:cubicBezTo>
                <a:lnTo>
                  <a:pt x="6516593" y="4489130"/>
                </a:lnTo>
                <a:lnTo>
                  <a:pt x="6526352" y="4484276"/>
                </a:lnTo>
                <a:cubicBezTo>
                  <a:pt x="6526197" y="4480456"/>
                  <a:pt x="6529914" y="4469511"/>
                  <a:pt x="6524958" y="4471060"/>
                </a:cubicBezTo>
                <a:cubicBezTo>
                  <a:pt x="6525887" y="4470543"/>
                  <a:pt x="6526507" y="4470750"/>
                  <a:pt x="6527436" y="4470234"/>
                </a:cubicBezTo>
                <a:cubicBezTo>
                  <a:pt x="6527436" y="4470234"/>
                  <a:pt x="6527436" y="4470234"/>
                  <a:pt x="6533632" y="4469201"/>
                </a:cubicBezTo>
                <a:cubicBezTo>
                  <a:pt x="6533632" y="4469201"/>
                  <a:pt x="6533632" y="4469201"/>
                  <a:pt x="6534252" y="4469408"/>
                </a:cubicBezTo>
                <a:cubicBezTo>
                  <a:pt x="6534252" y="4469408"/>
                  <a:pt x="6534252" y="4469408"/>
                  <a:pt x="6535181" y="4468891"/>
                </a:cubicBezTo>
                <a:cubicBezTo>
                  <a:pt x="6535491" y="4468272"/>
                  <a:pt x="6536111" y="4468478"/>
                  <a:pt x="6536885" y="4467962"/>
                </a:cubicBezTo>
                <a:cubicBezTo>
                  <a:pt x="6539673" y="4466516"/>
                  <a:pt x="6542151" y="4465794"/>
                  <a:pt x="6544165" y="4464141"/>
                </a:cubicBezTo>
                <a:cubicBezTo>
                  <a:pt x="6547882" y="4461560"/>
                  <a:pt x="6548812" y="4458875"/>
                  <a:pt x="6543081" y="4456294"/>
                </a:cubicBezTo>
                <a:close/>
                <a:moveTo>
                  <a:pt x="897740" y="4455450"/>
                </a:moveTo>
                <a:cubicBezTo>
                  <a:pt x="902542" y="4457412"/>
                  <a:pt x="908428" y="4458754"/>
                  <a:pt x="907653" y="4464743"/>
                </a:cubicBezTo>
                <a:cubicBezTo>
                  <a:pt x="906259" y="4466189"/>
                  <a:pt x="904866" y="4466808"/>
                  <a:pt x="903626" y="4467015"/>
                </a:cubicBezTo>
                <a:cubicBezTo>
                  <a:pt x="899754" y="4467635"/>
                  <a:pt x="896192" y="4463711"/>
                  <a:pt x="895881" y="4459993"/>
                </a:cubicBezTo>
                <a:cubicBezTo>
                  <a:pt x="895881" y="4458238"/>
                  <a:pt x="896347" y="4456689"/>
                  <a:pt x="897740" y="4455450"/>
                </a:cubicBezTo>
                <a:close/>
                <a:moveTo>
                  <a:pt x="1719310" y="4455244"/>
                </a:moveTo>
                <a:cubicBezTo>
                  <a:pt x="1718536" y="4455553"/>
                  <a:pt x="1718536" y="4455450"/>
                  <a:pt x="1718536" y="4455450"/>
                </a:cubicBezTo>
                <a:cubicBezTo>
                  <a:pt x="1717916" y="4456586"/>
                  <a:pt x="1718690" y="4456379"/>
                  <a:pt x="1719000" y="4457206"/>
                </a:cubicBezTo>
                <a:cubicBezTo>
                  <a:pt x="1719000" y="4457206"/>
                  <a:pt x="1718690" y="4456276"/>
                  <a:pt x="1719775" y="4456896"/>
                </a:cubicBezTo>
                <a:cubicBezTo>
                  <a:pt x="1718845" y="4457102"/>
                  <a:pt x="1719155" y="4457928"/>
                  <a:pt x="1719310" y="4458754"/>
                </a:cubicBezTo>
                <a:cubicBezTo>
                  <a:pt x="1718071" y="4461026"/>
                  <a:pt x="1716057" y="4463607"/>
                  <a:pt x="1714199" y="4463401"/>
                </a:cubicBezTo>
                <a:cubicBezTo>
                  <a:pt x="1713269" y="4462884"/>
                  <a:pt x="1712804" y="4462162"/>
                  <a:pt x="1712649" y="4461336"/>
                </a:cubicBezTo>
                <a:cubicBezTo>
                  <a:pt x="1712649" y="4460613"/>
                  <a:pt x="1712804" y="4459787"/>
                  <a:pt x="1713115" y="4459271"/>
                </a:cubicBezTo>
                <a:cubicBezTo>
                  <a:pt x="1713269" y="4457825"/>
                  <a:pt x="1714043" y="4456896"/>
                  <a:pt x="1715283" y="4456173"/>
                </a:cubicBezTo>
                <a:cubicBezTo>
                  <a:pt x="1716522" y="4455553"/>
                  <a:pt x="1718071" y="4455244"/>
                  <a:pt x="1719310" y="4455244"/>
                </a:cubicBezTo>
                <a:close/>
                <a:moveTo>
                  <a:pt x="1375595" y="4454934"/>
                </a:moveTo>
                <a:cubicBezTo>
                  <a:pt x="1377454" y="4454727"/>
                  <a:pt x="1377919" y="4457412"/>
                  <a:pt x="1378538" y="4458858"/>
                </a:cubicBezTo>
                <a:cubicBezTo>
                  <a:pt x="1380552" y="4458651"/>
                  <a:pt x="1378538" y="4462781"/>
                  <a:pt x="1380552" y="4462575"/>
                </a:cubicBezTo>
                <a:cubicBezTo>
                  <a:pt x="1379003" y="4467325"/>
                  <a:pt x="1384734" y="4468667"/>
                  <a:pt x="1383650" y="4476102"/>
                </a:cubicBezTo>
                <a:cubicBezTo>
                  <a:pt x="1382101" y="4474656"/>
                  <a:pt x="1381017" y="4473107"/>
                  <a:pt x="1380087" y="4471558"/>
                </a:cubicBezTo>
                <a:cubicBezTo>
                  <a:pt x="1377454" y="4466911"/>
                  <a:pt x="1376989" y="4462265"/>
                  <a:pt x="1374047" y="4459683"/>
                </a:cubicBezTo>
                <a:cubicBezTo>
                  <a:pt x="1374047" y="4459683"/>
                  <a:pt x="1374047" y="4459683"/>
                  <a:pt x="1374821" y="4457309"/>
                </a:cubicBezTo>
                <a:cubicBezTo>
                  <a:pt x="1374511" y="4456586"/>
                  <a:pt x="1374511" y="4456483"/>
                  <a:pt x="1374511" y="4456483"/>
                </a:cubicBezTo>
                <a:cubicBezTo>
                  <a:pt x="1374047" y="4455760"/>
                  <a:pt x="1375595" y="4454934"/>
                  <a:pt x="1375595" y="4454934"/>
                </a:cubicBezTo>
                <a:close/>
                <a:moveTo>
                  <a:pt x="5348269" y="4454926"/>
                </a:moveTo>
                <a:cubicBezTo>
                  <a:pt x="5350147" y="4454203"/>
                  <a:pt x="5352470" y="4454591"/>
                  <a:pt x="5353477" y="4455881"/>
                </a:cubicBezTo>
                <a:cubicBezTo>
                  <a:pt x="5353632" y="4459185"/>
                  <a:pt x="5350689" y="4461354"/>
                  <a:pt x="5348211" y="4461354"/>
                </a:cubicBezTo>
                <a:cubicBezTo>
                  <a:pt x="5347282" y="4461354"/>
                  <a:pt x="5346507" y="4461147"/>
                  <a:pt x="5345732" y="4460631"/>
                </a:cubicBezTo>
                <a:cubicBezTo>
                  <a:pt x="5344958" y="4457481"/>
                  <a:pt x="5346391" y="4455649"/>
                  <a:pt x="5348269" y="4454926"/>
                </a:cubicBezTo>
                <a:close/>
                <a:moveTo>
                  <a:pt x="1107934" y="4454108"/>
                </a:moveTo>
                <a:cubicBezTo>
                  <a:pt x="1108244" y="4454108"/>
                  <a:pt x="1108554" y="4454211"/>
                  <a:pt x="1108554" y="4454211"/>
                </a:cubicBezTo>
                <a:cubicBezTo>
                  <a:pt x="1109483" y="4454727"/>
                  <a:pt x="1110568" y="4455244"/>
                  <a:pt x="1109948" y="4456379"/>
                </a:cubicBezTo>
                <a:cubicBezTo>
                  <a:pt x="1109948" y="4456379"/>
                  <a:pt x="1109793" y="4456379"/>
                  <a:pt x="1109328" y="4456379"/>
                </a:cubicBezTo>
                <a:cubicBezTo>
                  <a:pt x="1108864" y="4456276"/>
                  <a:pt x="1108089" y="4456070"/>
                  <a:pt x="1107160" y="4455553"/>
                </a:cubicBezTo>
                <a:cubicBezTo>
                  <a:pt x="1107934" y="4455244"/>
                  <a:pt x="1107625" y="4454417"/>
                  <a:pt x="1107625" y="4454417"/>
                </a:cubicBezTo>
                <a:cubicBezTo>
                  <a:pt x="1107625" y="4454417"/>
                  <a:pt x="1107780" y="4454521"/>
                  <a:pt x="1106850" y="4454831"/>
                </a:cubicBezTo>
                <a:cubicBezTo>
                  <a:pt x="1107160" y="4454211"/>
                  <a:pt x="1107625" y="4454108"/>
                  <a:pt x="1107934" y="4454108"/>
                </a:cubicBezTo>
                <a:close/>
                <a:moveTo>
                  <a:pt x="1600969" y="4453798"/>
                </a:moveTo>
                <a:cubicBezTo>
                  <a:pt x="1602673" y="4453488"/>
                  <a:pt x="1604377" y="4454521"/>
                  <a:pt x="1606081" y="4456070"/>
                </a:cubicBezTo>
                <a:lnTo>
                  <a:pt x="1608559" y="4458961"/>
                </a:lnTo>
                <a:lnTo>
                  <a:pt x="1608869" y="4458548"/>
                </a:lnTo>
                <a:cubicBezTo>
                  <a:pt x="1609489" y="4458135"/>
                  <a:pt x="1610263" y="4458032"/>
                  <a:pt x="1611347" y="4458444"/>
                </a:cubicBezTo>
                <a:cubicBezTo>
                  <a:pt x="1614290" y="4458858"/>
                  <a:pt x="1615220" y="4461233"/>
                  <a:pt x="1615375" y="4463917"/>
                </a:cubicBezTo>
                <a:cubicBezTo>
                  <a:pt x="1616769" y="4465156"/>
                  <a:pt x="1618627" y="4465260"/>
                  <a:pt x="1618473" y="4467221"/>
                </a:cubicBezTo>
                <a:cubicBezTo>
                  <a:pt x="1615994" y="4465569"/>
                  <a:pt x="1614910" y="4465156"/>
                  <a:pt x="1613516" y="4463917"/>
                </a:cubicBezTo>
                <a:cubicBezTo>
                  <a:pt x="1612896" y="4464330"/>
                  <a:pt x="1611967" y="4464640"/>
                  <a:pt x="1610883" y="4464227"/>
                </a:cubicBezTo>
                <a:lnTo>
                  <a:pt x="1609643" y="4463091"/>
                </a:lnTo>
                <a:lnTo>
                  <a:pt x="1608869" y="4463814"/>
                </a:lnTo>
                <a:cubicBezTo>
                  <a:pt x="1608250" y="4464434"/>
                  <a:pt x="1607630" y="4465053"/>
                  <a:pt x="1607165" y="4465879"/>
                </a:cubicBezTo>
                <a:cubicBezTo>
                  <a:pt x="1604222" y="4461645"/>
                  <a:pt x="1600659" y="4460303"/>
                  <a:pt x="1600350" y="4457412"/>
                </a:cubicBezTo>
                <a:cubicBezTo>
                  <a:pt x="1600195" y="4456379"/>
                  <a:pt x="1600350" y="4455244"/>
                  <a:pt x="1600969" y="4453798"/>
                </a:cubicBezTo>
                <a:close/>
                <a:moveTo>
                  <a:pt x="1098951" y="4453798"/>
                </a:moveTo>
                <a:cubicBezTo>
                  <a:pt x="1100809" y="4453695"/>
                  <a:pt x="1101584" y="4456379"/>
                  <a:pt x="1102513" y="4457825"/>
                </a:cubicBezTo>
                <a:cubicBezTo>
                  <a:pt x="1104372" y="4457618"/>
                  <a:pt x="1103132" y="4461645"/>
                  <a:pt x="1104991" y="4461542"/>
                </a:cubicBezTo>
                <a:cubicBezTo>
                  <a:pt x="1104217" y="4466292"/>
                  <a:pt x="1110103" y="4467738"/>
                  <a:pt x="1110103" y="4475275"/>
                </a:cubicBezTo>
                <a:lnTo>
                  <a:pt x="1106230" y="4470835"/>
                </a:lnTo>
                <a:lnTo>
                  <a:pt x="1104062" y="4471351"/>
                </a:lnTo>
                <a:cubicBezTo>
                  <a:pt x="1102978" y="4470939"/>
                  <a:pt x="1102048" y="4469906"/>
                  <a:pt x="1100809" y="4468461"/>
                </a:cubicBezTo>
                <a:cubicBezTo>
                  <a:pt x="1102048" y="4467841"/>
                  <a:pt x="1103132" y="4467738"/>
                  <a:pt x="1104217" y="4468150"/>
                </a:cubicBezTo>
                <a:lnTo>
                  <a:pt x="1104681" y="4468357"/>
                </a:lnTo>
                <a:lnTo>
                  <a:pt x="1102048" y="4463814"/>
                </a:lnTo>
                <a:cubicBezTo>
                  <a:pt x="1100964" y="4461749"/>
                  <a:pt x="1099725" y="4459890"/>
                  <a:pt x="1098176" y="4458548"/>
                </a:cubicBezTo>
                <a:cubicBezTo>
                  <a:pt x="1098176" y="4458548"/>
                  <a:pt x="1098176" y="4458548"/>
                  <a:pt x="1098485" y="4456173"/>
                </a:cubicBezTo>
                <a:cubicBezTo>
                  <a:pt x="1098021" y="4455450"/>
                  <a:pt x="1098021" y="4455450"/>
                  <a:pt x="1098021" y="4455450"/>
                </a:cubicBezTo>
                <a:cubicBezTo>
                  <a:pt x="1097556" y="4454727"/>
                  <a:pt x="1098951" y="4453798"/>
                  <a:pt x="1098951" y="4453798"/>
                </a:cubicBezTo>
                <a:close/>
                <a:moveTo>
                  <a:pt x="5748153" y="4453093"/>
                </a:moveTo>
                <a:cubicBezTo>
                  <a:pt x="5750012" y="4450512"/>
                  <a:pt x="5752335" y="4452267"/>
                  <a:pt x="5755588" y="4453197"/>
                </a:cubicBezTo>
                <a:cubicBezTo>
                  <a:pt x="5754659" y="4454023"/>
                  <a:pt x="5755433" y="4454848"/>
                  <a:pt x="5756053" y="4455778"/>
                </a:cubicBezTo>
                <a:cubicBezTo>
                  <a:pt x="5754814" y="4457017"/>
                  <a:pt x="5752800" y="4459288"/>
                  <a:pt x="5750786" y="4458875"/>
                </a:cubicBezTo>
                <a:cubicBezTo>
                  <a:pt x="5750012" y="4458669"/>
                  <a:pt x="5749237" y="4458256"/>
                  <a:pt x="5748463" y="4457327"/>
                </a:cubicBezTo>
                <a:cubicBezTo>
                  <a:pt x="5748153" y="4457327"/>
                  <a:pt x="5747843" y="4456501"/>
                  <a:pt x="5747688" y="4455468"/>
                </a:cubicBezTo>
                <a:cubicBezTo>
                  <a:pt x="5747533" y="4454539"/>
                  <a:pt x="5747688" y="4453506"/>
                  <a:pt x="5748153" y="4453093"/>
                </a:cubicBezTo>
                <a:close/>
                <a:moveTo>
                  <a:pt x="5904908" y="4451957"/>
                </a:moveTo>
                <a:cubicBezTo>
                  <a:pt x="5906612" y="4452887"/>
                  <a:pt x="5907542" y="4452887"/>
                  <a:pt x="5909090" y="4452164"/>
                </a:cubicBezTo>
                <a:cubicBezTo>
                  <a:pt x="5909090" y="4452164"/>
                  <a:pt x="5909090" y="4452164"/>
                  <a:pt x="5910794" y="4453919"/>
                </a:cubicBezTo>
                <a:lnTo>
                  <a:pt x="5910949" y="4454745"/>
                </a:lnTo>
                <a:cubicBezTo>
                  <a:pt x="5910794" y="4455158"/>
                  <a:pt x="5910020" y="4455365"/>
                  <a:pt x="5909090" y="4455468"/>
                </a:cubicBezTo>
                <a:cubicBezTo>
                  <a:pt x="5906302" y="4455571"/>
                  <a:pt x="5901500" y="4454332"/>
                  <a:pt x="5900881" y="4454332"/>
                </a:cubicBezTo>
                <a:cubicBezTo>
                  <a:pt x="5900881" y="4454332"/>
                  <a:pt x="5899951" y="4454229"/>
                  <a:pt x="5899177" y="4454229"/>
                </a:cubicBezTo>
                <a:cubicBezTo>
                  <a:pt x="5898248" y="4453300"/>
                  <a:pt x="5898248" y="4452474"/>
                  <a:pt x="5897473" y="4452474"/>
                </a:cubicBezTo>
                <a:cubicBezTo>
                  <a:pt x="5899797" y="4449996"/>
                  <a:pt x="5902430" y="4450925"/>
                  <a:pt x="5904908" y="4451957"/>
                </a:cubicBezTo>
                <a:close/>
                <a:moveTo>
                  <a:pt x="1170667" y="4451939"/>
                </a:moveTo>
                <a:cubicBezTo>
                  <a:pt x="1170667" y="4451939"/>
                  <a:pt x="1170513" y="4452869"/>
                  <a:pt x="1168809" y="4454314"/>
                </a:cubicBezTo>
                <a:cubicBezTo>
                  <a:pt x="1168809" y="4453385"/>
                  <a:pt x="1168034" y="4453282"/>
                  <a:pt x="1168034" y="4453282"/>
                </a:cubicBezTo>
                <a:cubicBezTo>
                  <a:pt x="1168034" y="4453282"/>
                  <a:pt x="1168034" y="4453282"/>
                  <a:pt x="1167879" y="4454108"/>
                </a:cubicBezTo>
                <a:cubicBezTo>
                  <a:pt x="1167569" y="4453695"/>
                  <a:pt x="1167569" y="4453178"/>
                  <a:pt x="1167724" y="4452869"/>
                </a:cubicBezTo>
                <a:cubicBezTo>
                  <a:pt x="1167879" y="4452559"/>
                  <a:pt x="1168034" y="4452352"/>
                  <a:pt x="1168034" y="4452352"/>
                </a:cubicBezTo>
                <a:cubicBezTo>
                  <a:pt x="1168964" y="4451630"/>
                  <a:pt x="1169893" y="4450907"/>
                  <a:pt x="1170667" y="4451939"/>
                </a:cubicBezTo>
                <a:close/>
                <a:moveTo>
                  <a:pt x="1319833" y="4451320"/>
                </a:moveTo>
                <a:cubicBezTo>
                  <a:pt x="1317974" y="4452662"/>
                  <a:pt x="1317819" y="4453798"/>
                  <a:pt x="1317199" y="4453075"/>
                </a:cubicBezTo>
                <a:cubicBezTo>
                  <a:pt x="1316580" y="4453488"/>
                  <a:pt x="1316115" y="4452766"/>
                  <a:pt x="1316734" y="4452352"/>
                </a:cubicBezTo>
                <a:cubicBezTo>
                  <a:pt x="1316424" y="4450391"/>
                  <a:pt x="1318748" y="4451010"/>
                  <a:pt x="1319833" y="4451320"/>
                </a:cubicBezTo>
                <a:close/>
                <a:moveTo>
                  <a:pt x="1455677" y="4451216"/>
                </a:moveTo>
                <a:lnTo>
                  <a:pt x="1455832" y="4452766"/>
                </a:lnTo>
                <a:lnTo>
                  <a:pt x="1458000" y="4451836"/>
                </a:lnTo>
                <a:lnTo>
                  <a:pt x="1458465" y="4452043"/>
                </a:lnTo>
                <a:lnTo>
                  <a:pt x="1458774" y="4451939"/>
                </a:lnTo>
                <a:lnTo>
                  <a:pt x="1458929" y="4452043"/>
                </a:lnTo>
                <a:lnTo>
                  <a:pt x="1458929" y="4451939"/>
                </a:lnTo>
                <a:lnTo>
                  <a:pt x="1458774" y="4451939"/>
                </a:lnTo>
                <a:lnTo>
                  <a:pt x="1458310" y="4451733"/>
                </a:lnTo>
                <a:lnTo>
                  <a:pt x="1458000" y="4451836"/>
                </a:lnTo>
                <a:close/>
                <a:moveTo>
                  <a:pt x="1114440" y="4450804"/>
                </a:moveTo>
                <a:lnTo>
                  <a:pt x="1114595" y="4451216"/>
                </a:lnTo>
                <a:lnTo>
                  <a:pt x="1116144" y="4451010"/>
                </a:lnTo>
                <a:close/>
                <a:moveTo>
                  <a:pt x="816420" y="4450701"/>
                </a:moveTo>
                <a:cubicBezTo>
                  <a:pt x="818279" y="4450701"/>
                  <a:pt x="817504" y="4451113"/>
                  <a:pt x="818434" y="4451526"/>
                </a:cubicBezTo>
                <a:cubicBezTo>
                  <a:pt x="819517" y="4451939"/>
                  <a:pt x="821531" y="4451939"/>
                  <a:pt x="822306" y="4451526"/>
                </a:cubicBezTo>
                <a:cubicBezTo>
                  <a:pt x="821222" y="4455863"/>
                  <a:pt x="824009" y="4456276"/>
                  <a:pt x="821996" y="4462884"/>
                </a:cubicBezTo>
                <a:cubicBezTo>
                  <a:pt x="820292" y="4469390"/>
                  <a:pt x="816575" y="4471661"/>
                  <a:pt x="813012" y="4471971"/>
                </a:cubicBezTo>
                <a:cubicBezTo>
                  <a:pt x="811927" y="4472178"/>
                  <a:pt x="810689" y="4472074"/>
                  <a:pt x="809759" y="4471868"/>
                </a:cubicBezTo>
                <a:cubicBezTo>
                  <a:pt x="810068" y="4470939"/>
                  <a:pt x="804647" y="4469803"/>
                  <a:pt x="802944" y="4465156"/>
                </a:cubicBezTo>
                <a:cubicBezTo>
                  <a:pt x="802479" y="4463607"/>
                  <a:pt x="802324" y="4461645"/>
                  <a:pt x="803098" y="4459271"/>
                </a:cubicBezTo>
                <a:cubicBezTo>
                  <a:pt x="804647" y="4453798"/>
                  <a:pt x="808055" y="4448326"/>
                  <a:pt x="816420" y="4450701"/>
                </a:cubicBezTo>
                <a:close/>
                <a:moveTo>
                  <a:pt x="5420083" y="4450099"/>
                </a:moveTo>
                <a:cubicBezTo>
                  <a:pt x="5421631" y="4451028"/>
                  <a:pt x="5422406" y="4451854"/>
                  <a:pt x="5424110" y="4452783"/>
                </a:cubicBezTo>
                <a:cubicBezTo>
                  <a:pt x="5423800" y="4455365"/>
                  <a:pt x="5426124" y="4458049"/>
                  <a:pt x="5422096" y="4463212"/>
                </a:cubicBezTo>
                <a:cubicBezTo>
                  <a:pt x="5417450" y="4468272"/>
                  <a:pt x="5412803" y="4463935"/>
                  <a:pt x="5412803" y="4464761"/>
                </a:cubicBezTo>
                <a:cubicBezTo>
                  <a:pt x="5411873" y="4465690"/>
                  <a:pt x="5411873" y="4465690"/>
                  <a:pt x="5411718" y="4466516"/>
                </a:cubicBezTo>
                <a:cubicBezTo>
                  <a:pt x="5410944" y="4466516"/>
                  <a:pt x="5409085" y="4467239"/>
                  <a:pt x="5408156" y="4468169"/>
                </a:cubicBezTo>
                <a:cubicBezTo>
                  <a:pt x="5408310" y="4467239"/>
                  <a:pt x="5408310" y="4466413"/>
                  <a:pt x="5407536" y="4466413"/>
                </a:cubicBezTo>
                <a:cubicBezTo>
                  <a:pt x="5409395" y="4464658"/>
                  <a:pt x="5410169" y="4464761"/>
                  <a:pt x="5411099" y="4463935"/>
                </a:cubicBezTo>
                <a:cubicBezTo>
                  <a:pt x="5410324" y="4463832"/>
                  <a:pt x="5411254" y="4463006"/>
                  <a:pt x="5411254" y="4463006"/>
                </a:cubicBezTo>
                <a:cubicBezTo>
                  <a:pt x="5411254" y="4463006"/>
                  <a:pt x="5411254" y="4463006"/>
                  <a:pt x="5409705" y="4461250"/>
                </a:cubicBezTo>
                <a:cubicBezTo>
                  <a:pt x="5409705" y="4461250"/>
                  <a:pt x="5406762" y="4456913"/>
                  <a:pt x="5410634" y="4452577"/>
                </a:cubicBezTo>
                <a:cubicBezTo>
                  <a:pt x="5411408" y="4453506"/>
                  <a:pt x="5416985" y="4448343"/>
                  <a:pt x="5420083" y="4450099"/>
                </a:cubicBezTo>
                <a:close/>
                <a:moveTo>
                  <a:pt x="6274181" y="4449996"/>
                </a:moveTo>
                <a:lnTo>
                  <a:pt x="6273097" y="4450099"/>
                </a:lnTo>
                <a:lnTo>
                  <a:pt x="6272167" y="4450305"/>
                </a:lnTo>
                <a:lnTo>
                  <a:pt x="6271703" y="4450099"/>
                </a:lnTo>
                <a:lnTo>
                  <a:pt x="6269689" y="4450305"/>
                </a:lnTo>
                <a:cubicBezTo>
                  <a:pt x="6266746" y="4454642"/>
                  <a:pt x="6275885" y="4453609"/>
                  <a:pt x="6270463" y="4456501"/>
                </a:cubicBezTo>
                <a:cubicBezTo>
                  <a:pt x="6274801" y="4458669"/>
                  <a:pt x="6278363" y="4461147"/>
                  <a:pt x="6281771" y="4463729"/>
                </a:cubicBezTo>
                <a:cubicBezTo>
                  <a:pt x="6284404" y="4466826"/>
                  <a:pt x="6287812" y="4469408"/>
                  <a:pt x="6291374" y="4471989"/>
                </a:cubicBezTo>
                <a:cubicBezTo>
                  <a:pt x="6289980" y="4473744"/>
                  <a:pt x="6285798" y="4471473"/>
                  <a:pt x="6281461" y="4469201"/>
                </a:cubicBezTo>
                <a:lnTo>
                  <a:pt x="6277124" y="4467446"/>
                </a:lnTo>
                <a:lnTo>
                  <a:pt x="6278208" y="4470131"/>
                </a:lnTo>
                <a:lnTo>
                  <a:pt x="6277589" y="4472608"/>
                </a:lnTo>
                <a:lnTo>
                  <a:pt x="6282545" y="4476119"/>
                </a:lnTo>
                <a:cubicBezTo>
                  <a:pt x="6287657" y="4478391"/>
                  <a:pt x="6293853" y="4479527"/>
                  <a:pt x="6298654" y="4480249"/>
                </a:cubicBezTo>
                <a:cubicBezTo>
                  <a:pt x="6295247" y="4483760"/>
                  <a:pt x="6290755" y="4483864"/>
                  <a:pt x="6285333" y="4480766"/>
                </a:cubicBezTo>
                <a:cubicBezTo>
                  <a:pt x="6284869" y="4482108"/>
                  <a:pt x="6286263" y="4482418"/>
                  <a:pt x="6287657" y="4482831"/>
                </a:cubicBezTo>
                <a:cubicBezTo>
                  <a:pt x="6286263" y="4484690"/>
                  <a:pt x="6284559" y="4483450"/>
                  <a:pt x="6283165" y="4483037"/>
                </a:cubicBezTo>
                <a:cubicBezTo>
                  <a:pt x="6289051" y="4484896"/>
                  <a:pt x="6292614" y="4487477"/>
                  <a:pt x="6296021" y="4490059"/>
                </a:cubicBezTo>
                <a:cubicBezTo>
                  <a:pt x="6297725" y="4491298"/>
                  <a:pt x="6299584" y="4492537"/>
                  <a:pt x="6301907" y="4494086"/>
                </a:cubicBezTo>
                <a:cubicBezTo>
                  <a:pt x="6304231" y="4495532"/>
                  <a:pt x="6306864" y="4496358"/>
                  <a:pt x="6309962" y="4498113"/>
                </a:cubicBezTo>
                <a:cubicBezTo>
                  <a:pt x="6308568" y="4500488"/>
                  <a:pt x="6308723" y="4501933"/>
                  <a:pt x="6309807" y="4502966"/>
                </a:cubicBezTo>
                <a:lnTo>
                  <a:pt x="6314299" y="4505031"/>
                </a:lnTo>
                <a:lnTo>
                  <a:pt x="6314454" y="4504928"/>
                </a:lnTo>
                <a:lnTo>
                  <a:pt x="6313370" y="4499971"/>
                </a:lnTo>
                <a:cubicBezTo>
                  <a:pt x="6313525" y="4498009"/>
                  <a:pt x="6314454" y="4496254"/>
                  <a:pt x="6316622" y="4495222"/>
                </a:cubicBezTo>
                <a:cubicBezTo>
                  <a:pt x="6317087" y="4496564"/>
                  <a:pt x="6318017" y="4498526"/>
                  <a:pt x="6319101" y="4500798"/>
                </a:cubicBezTo>
                <a:lnTo>
                  <a:pt x="6320805" y="4504825"/>
                </a:lnTo>
                <a:lnTo>
                  <a:pt x="6322508" y="4504928"/>
                </a:lnTo>
                <a:lnTo>
                  <a:pt x="6326691" y="4505341"/>
                </a:lnTo>
                <a:lnTo>
                  <a:pt x="6326691" y="4504205"/>
                </a:lnTo>
                <a:cubicBezTo>
                  <a:pt x="6327155" y="4502346"/>
                  <a:pt x="6328240" y="4500384"/>
                  <a:pt x="6328859" y="4498216"/>
                </a:cubicBezTo>
                <a:cubicBezTo>
                  <a:pt x="6329789" y="4498216"/>
                  <a:pt x="6330718" y="4497390"/>
                  <a:pt x="6330718" y="4496461"/>
                </a:cubicBezTo>
                <a:cubicBezTo>
                  <a:pt x="6331648" y="4495635"/>
                  <a:pt x="6332577" y="4494705"/>
                  <a:pt x="6331648" y="4494705"/>
                </a:cubicBezTo>
                <a:cubicBezTo>
                  <a:pt x="6334436" y="4492124"/>
                  <a:pt x="6334590" y="4491298"/>
                  <a:pt x="6337069" y="4492227"/>
                </a:cubicBezTo>
                <a:lnTo>
                  <a:pt x="6335985" y="4495015"/>
                </a:lnTo>
                <a:lnTo>
                  <a:pt x="6336914" y="4495015"/>
                </a:lnTo>
                <a:cubicBezTo>
                  <a:pt x="6338153" y="4496977"/>
                  <a:pt x="6337998" y="4498319"/>
                  <a:pt x="6337224" y="4499145"/>
                </a:cubicBezTo>
                <a:lnTo>
                  <a:pt x="6334281" y="4500178"/>
                </a:lnTo>
                <a:lnTo>
                  <a:pt x="6333971" y="4501210"/>
                </a:lnTo>
                <a:lnTo>
                  <a:pt x="6337533" y="4501520"/>
                </a:lnTo>
                <a:cubicBezTo>
                  <a:pt x="6340631" y="4501520"/>
                  <a:pt x="6344194" y="4501417"/>
                  <a:pt x="6347757" y="4501417"/>
                </a:cubicBezTo>
                <a:cubicBezTo>
                  <a:pt x="6354572" y="4500488"/>
                  <a:pt x="6362007" y="4499868"/>
                  <a:pt x="6367584" y="4498526"/>
                </a:cubicBezTo>
                <a:lnTo>
                  <a:pt x="6368048" y="4501210"/>
                </a:lnTo>
                <a:lnTo>
                  <a:pt x="6370836" y="4498113"/>
                </a:lnTo>
                <a:cubicBezTo>
                  <a:pt x="6372695" y="4496874"/>
                  <a:pt x="6374708" y="4496358"/>
                  <a:pt x="6376258" y="4497080"/>
                </a:cubicBezTo>
                <a:lnTo>
                  <a:pt x="6380595" y="4499455"/>
                </a:lnTo>
                <a:lnTo>
                  <a:pt x="6382453" y="4499145"/>
                </a:lnTo>
                <a:lnTo>
                  <a:pt x="6383383" y="4499558"/>
                </a:lnTo>
                <a:lnTo>
                  <a:pt x="6386481" y="4493982"/>
                </a:lnTo>
                <a:cubicBezTo>
                  <a:pt x="6388030" y="4491401"/>
                  <a:pt x="6389579" y="4489336"/>
                  <a:pt x="6390818" y="4489233"/>
                </a:cubicBezTo>
                <a:cubicBezTo>
                  <a:pt x="6391128" y="4490059"/>
                  <a:pt x="6391437" y="4490885"/>
                  <a:pt x="6390818" y="4492021"/>
                </a:cubicBezTo>
                <a:cubicBezTo>
                  <a:pt x="6390198" y="4493157"/>
                  <a:pt x="6390043" y="4492331"/>
                  <a:pt x="6390353" y="4493157"/>
                </a:cubicBezTo>
                <a:cubicBezTo>
                  <a:pt x="6389733" y="4494292"/>
                  <a:pt x="6390508" y="4493982"/>
                  <a:pt x="6390508" y="4493982"/>
                </a:cubicBezTo>
                <a:cubicBezTo>
                  <a:pt x="6390508" y="4493982"/>
                  <a:pt x="6389733" y="4494292"/>
                  <a:pt x="6389733" y="4494292"/>
                </a:cubicBezTo>
                <a:cubicBezTo>
                  <a:pt x="6389733" y="4494292"/>
                  <a:pt x="6389733" y="4494292"/>
                  <a:pt x="6388649" y="4496564"/>
                </a:cubicBezTo>
                <a:cubicBezTo>
                  <a:pt x="6387875" y="4499662"/>
                  <a:pt x="6388030" y="4500488"/>
                  <a:pt x="6387720" y="4502449"/>
                </a:cubicBezTo>
                <a:lnTo>
                  <a:pt x="6387565" y="4502759"/>
                </a:lnTo>
                <a:lnTo>
                  <a:pt x="6387720" y="4503172"/>
                </a:lnTo>
                <a:lnTo>
                  <a:pt x="6389733" y="4501933"/>
                </a:lnTo>
                <a:lnTo>
                  <a:pt x="6390353" y="4501004"/>
                </a:lnTo>
                <a:lnTo>
                  <a:pt x="6390198" y="4501004"/>
                </a:lnTo>
                <a:cubicBezTo>
                  <a:pt x="6390508" y="4499558"/>
                  <a:pt x="6391128" y="4498113"/>
                  <a:pt x="6392676" y="4496461"/>
                </a:cubicBezTo>
                <a:cubicBezTo>
                  <a:pt x="6394380" y="4496151"/>
                  <a:pt x="6395775" y="4496358"/>
                  <a:pt x="6397169" y="4496977"/>
                </a:cubicBezTo>
                <a:lnTo>
                  <a:pt x="6397633" y="4497493"/>
                </a:lnTo>
                <a:lnTo>
                  <a:pt x="6398098" y="4489646"/>
                </a:lnTo>
                <a:cubicBezTo>
                  <a:pt x="6398873" y="4484586"/>
                  <a:pt x="6399647" y="4479114"/>
                  <a:pt x="6399182" y="4473847"/>
                </a:cubicBezTo>
                <a:cubicBezTo>
                  <a:pt x="6397633" y="4470853"/>
                  <a:pt x="6394690" y="4469717"/>
                  <a:pt x="6392522" y="4467652"/>
                </a:cubicBezTo>
                <a:lnTo>
                  <a:pt x="6390043" y="4463625"/>
                </a:lnTo>
                <a:lnTo>
                  <a:pt x="6388030" y="4463935"/>
                </a:lnTo>
                <a:lnTo>
                  <a:pt x="6385706" y="4464555"/>
                </a:lnTo>
                <a:lnTo>
                  <a:pt x="6386636" y="4466413"/>
                </a:lnTo>
                <a:cubicBezTo>
                  <a:pt x="6386945" y="4467446"/>
                  <a:pt x="6386791" y="4468272"/>
                  <a:pt x="6386326" y="4468685"/>
                </a:cubicBezTo>
                <a:cubicBezTo>
                  <a:pt x="6384932" y="4470027"/>
                  <a:pt x="6383538" y="4471266"/>
                  <a:pt x="6381989" y="4470750"/>
                </a:cubicBezTo>
                <a:cubicBezTo>
                  <a:pt x="6381524" y="4470543"/>
                  <a:pt x="6381059" y="4470131"/>
                  <a:pt x="6380440" y="4469511"/>
                </a:cubicBezTo>
                <a:cubicBezTo>
                  <a:pt x="6380440" y="4469511"/>
                  <a:pt x="6380440" y="4469408"/>
                  <a:pt x="6380595" y="4468581"/>
                </a:cubicBezTo>
                <a:lnTo>
                  <a:pt x="6380750" y="4466207"/>
                </a:lnTo>
                <a:lnTo>
                  <a:pt x="6379201" y="4466723"/>
                </a:lnTo>
                <a:lnTo>
                  <a:pt x="6368048" y="4465484"/>
                </a:lnTo>
                <a:lnTo>
                  <a:pt x="6361078" y="4473022"/>
                </a:lnTo>
                <a:lnTo>
                  <a:pt x="6355811" y="4478598"/>
                </a:lnTo>
                <a:lnTo>
                  <a:pt x="6355501" y="4481282"/>
                </a:lnTo>
                <a:lnTo>
                  <a:pt x="6353178" y="4481385"/>
                </a:lnTo>
                <a:lnTo>
                  <a:pt x="6351164" y="4483657"/>
                </a:lnTo>
                <a:lnTo>
                  <a:pt x="6350235" y="4483450"/>
                </a:lnTo>
                <a:lnTo>
                  <a:pt x="6350235" y="4485309"/>
                </a:lnTo>
                <a:cubicBezTo>
                  <a:pt x="6350080" y="4486032"/>
                  <a:pt x="6349770" y="4486548"/>
                  <a:pt x="6349306" y="4486858"/>
                </a:cubicBezTo>
                <a:cubicBezTo>
                  <a:pt x="6347137" y="4487994"/>
                  <a:pt x="6344814" y="4488613"/>
                  <a:pt x="6342955" y="4488613"/>
                </a:cubicBezTo>
                <a:cubicBezTo>
                  <a:pt x="6340941" y="4488716"/>
                  <a:pt x="6339547" y="4488303"/>
                  <a:pt x="6339083" y="4487271"/>
                </a:cubicBezTo>
                <a:cubicBezTo>
                  <a:pt x="6338308" y="4485722"/>
                  <a:pt x="6337533" y="4484070"/>
                  <a:pt x="6337224" y="4482624"/>
                </a:cubicBezTo>
                <a:lnTo>
                  <a:pt x="6337224" y="4482418"/>
                </a:lnTo>
                <a:lnTo>
                  <a:pt x="6332886" y="4482624"/>
                </a:lnTo>
                <a:cubicBezTo>
                  <a:pt x="6326381" y="4482728"/>
                  <a:pt x="6320185" y="4482108"/>
                  <a:pt x="6315538" y="4477048"/>
                </a:cubicBezTo>
                <a:cubicBezTo>
                  <a:pt x="6314609" y="4471473"/>
                  <a:pt x="6312595" y="4468272"/>
                  <a:pt x="6310427" y="4465587"/>
                </a:cubicBezTo>
                <a:lnTo>
                  <a:pt x="6306554" y="4460631"/>
                </a:lnTo>
                <a:lnTo>
                  <a:pt x="6302217" y="4460321"/>
                </a:lnTo>
                <a:cubicBezTo>
                  <a:pt x="6300823" y="4458359"/>
                  <a:pt x="6302372" y="4458049"/>
                  <a:pt x="6302992" y="4455984"/>
                </a:cubicBezTo>
                <a:cubicBezTo>
                  <a:pt x="6300513" y="4455158"/>
                  <a:pt x="6298500" y="4456810"/>
                  <a:pt x="6298190" y="4459805"/>
                </a:cubicBezTo>
                <a:cubicBezTo>
                  <a:pt x="6297261" y="4458359"/>
                  <a:pt x="6295247" y="4457430"/>
                  <a:pt x="6292923" y="4456604"/>
                </a:cubicBezTo>
                <a:lnTo>
                  <a:pt x="6291374" y="4456191"/>
                </a:lnTo>
                <a:lnTo>
                  <a:pt x="6288431" y="4456810"/>
                </a:lnTo>
                <a:cubicBezTo>
                  <a:pt x="6287657" y="4456191"/>
                  <a:pt x="6287347" y="4455674"/>
                  <a:pt x="6287502" y="4455262"/>
                </a:cubicBezTo>
                <a:lnTo>
                  <a:pt x="6287657" y="4455055"/>
                </a:lnTo>
                <a:lnTo>
                  <a:pt x="6285643" y="4454539"/>
                </a:lnTo>
                <a:lnTo>
                  <a:pt x="6282390" y="4453093"/>
                </a:lnTo>
                <a:lnTo>
                  <a:pt x="6283010" y="4453609"/>
                </a:lnTo>
                <a:cubicBezTo>
                  <a:pt x="6279912" y="4453197"/>
                  <a:pt x="6277898" y="4450615"/>
                  <a:pt x="6274181" y="4449996"/>
                </a:cubicBezTo>
                <a:close/>
                <a:moveTo>
                  <a:pt x="1752613" y="4449771"/>
                </a:moveTo>
                <a:cubicBezTo>
                  <a:pt x="1756795" y="4449874"/>
                  <a:pt x="1761907" y="4456379"/>
                  <a:pt x="1760513" y="4459580"/>
                </a:cubicBezTo>
                <a:cubicBezTo>
                  <a:pt x="1756950" y="4463607"/>
                  <a:pt x="1753232" y="4464227"/>
                  <a:pt x="1750754" y="4463091"/>
                </a:cubicBezTo>
                <a:lnTo>
                  <a:pt x="1749979" y="4462265"/>
                </a:lnTo>
                <a:lnTo>
                  <a:pt x="1749205" y="4462884"/>
                </a:lnTo>
                <a:cubicBezTo>
                  <a:pt x="1747501" y="4463401"/>
                  <a:pt x="1745023" y="4463401"/>
                  <a:pt x="1742855" y="4463917"/>
                </a:cubicBezTo>
                <a:cubicBezTo>
                  <a:pt x="1742699" y="4461129"/>
                  <a:pt x="1743474" y="4459374"/>
                  <a:pt x="1745023" y="4458444"/>
                </a:cubicBezTo>
                <a:lnTo>
                  <a:pt x="1747966" y="4458238"/>
                </a:lnTo>
                <a:lnTo>
                  <a:pt x="1747811" y="4455863"/>
                </a:lnTo>
                <a:cubicBezTo>
                  <a:pt x="1748276" y="4453695"/>
                  <a:pt x="1749825" y="4451630"/>
                  <a:pt x="1752613" y="4449771"/>
                </a:cubicBezTo>
                <a:close/>
                <a:moveTo>
                  <a:pt x="873422" y="4449048"/>
                </a:moveTo>
                <a:cubicBezTo>
                  <a:pt x="874815" y="4449358"/>
                  <a:pt x="875900" y="4450287"/>
                  <a:pt x="876519" y="4451939"/>
                </a:cubicBezTo>
                <a:cubicBezTo>
                  <a:pt x="875590" y="4457309"/>
                  <a:pt x="870633" y="4455037"/>
                  <a:pt x="865676" y="4456689"/>
                </a:cubicBezTo>
                <a:cubicBezTo>
                  <a:pt x="864282" y="4452146"/>
                  <a:pt x="869704" y="4448016"/>
                  <a:pt x="873422" y="4449048"/>
                </a:cubicBezTo>
                <a:close/>
                <a:moveTo>
                  <a:pt x="5873716" y="4447982"/>
                </a:moveTo>
                <a:cubicBezTo>
                  <a:pt x="5874858" y="4448860"/>
                  <a:pt x="5875168" y="4450667"/>
                  <a:pt x="5875788" y="4452680"/>
                </a:cubicBezTo>
                <a:cubicBezTo>
                  <a:pt x="5874239" y="4453712"/>
                  <a:pt x="5873464" y="4456397"/>
                  <a:pt x="5871141" y="4457017"/>
                </a:cubicBezTo>
                <a:cubicBezTo>
                  <a:pt x="5871141" y="4457017"/>
                  <a:pt x="5870831" y="4457120"/>
                  <a:pt x="5870366" y="4457017"/>
                </a:cubicBezTo>
                <a:cubicBezTo>
                  <a:pt x="5869902" y="4457017"/>
                  <a:pt x="5869282" y="4456913"/>
                  <a:pt x="5868508" y="4456501"/>
                </a:cubicBezTo>
                <a:cubicBezTo>
                  <a:pt x="5865565" y="4456604"/>
                  <a:pt x="5864945" y="4453093"/>
                  <a:pt x="5864945" y="4453093"/>
                </a:cubicBezTo>
                <a:cubicBezTo>
                  <a:pt x="5864945" y="4453093"/>
                  <a:pt x="5864945" y="4453093"/>
                  <a:pt x="5864480" y="4453816"/>
                </a:cubicBezTo>
                <a:cubicBezTo>
                  <a:pt x="5865409" y="4452267"/>
                  <a:pt x="5865720" y="4450305"/>
                  <a:pt x="5866649" y="4448860"/>
                </a:cubicBezTo>
                <a:cubicBezTo>
                  <a:pt x="5870599" y="4447156"/>
                  <a:pt x="5872574" y="4447104"/>
                  <a:pt x="5873716" y="4447982"/>
                </a:cubicBezTo>
                <a:close/>
                <a:moveTo>
                  <a:pt x="1596942" y="4447603"/>
                </a:moveTo>
                <a:cubicBezTo>
                  <a:pt x="1594929" y="4448842"/>
                  <a:pt x="1594618" y="4450081"/>
                  <a:pt x="1594154" y="4449255"/>
                </a:cubicBezTo>
                <a:cubicBezTo>
                  <a:pt x="1593534" y="4449771"/>
                  <a:pt x="1593069" y="4448945"/>
                  <a:pt x="1593844" y="4448532"/>
                </a:cubicBezTo>
                <a:cubicBezTo>
                  <a:pt x="1593689" y="4446570"/>
                  <a:pt x="1595858" y="4447293"/>
                  <a:pt x="1596942" y="4447603"/>
                </a:cubicBezTo>
                <a:close/>
                <a:moveTo>
                  <a:pt x="915243" y="4447190"/>
                </a:moveTo>
                <a:cubicBezTo>
                  <a:pt x="914159" y="4447293"/>
                  <a:pt x="913229" y="4447603"/>
                  <a:pt x="912145" y="4448119"/>
                </a:cubicBezTo>
                <a:cubicBezTo>
                  <a:pt x="913075" y="4449771"/>
                  <a:pt x="913694" y="4451939"/>
                  <a:pt x="914004" y="4454314"/>
                </a:cubicBezTo>
                <a:lnTo>
                  <a:pt x="914004" y="4455244"/>
                </a:lnTo>
                <a:lnTo>
                  <a:pt x="915708" y="4454624"/>
                </a:lnTo>
                <a:cubicBezTo>
                  <a:pt x="916637" y="4453488"/>
                  <a:pt x="916482" y="4451939"/>
                  <a:pt x="916018" y="4449977"/>
                </a:cubicBezTo>
                <a:lnTo>
                  <a:pt x="915708" y="4447190"/>
                </a:lnTo>
                <a:close/>
                <a:moveTo>
                  <a:pt x="5493194" y="4446898"/>
                </a:moveTo>
                <a:cubicBezTo>
                  <a:pt x="5493039" y="4447724"/>
                  <a:pt x="5491955" y="4450408"/>
                  <a:pt x="5492729" y="4450408"/>
                </a:cubicBezTo>
                <a:cubicBezTo>
                  <a:pt x="5490715" y="4452370"/>
                  <a:pt x="5488237" y="4454229"/>
                  <a:pt x="5486068" y="4454332"/>
                </a:cubicBezTo>
                <a:cubicBezTo>
                  <a:pt x="5485294" y="4454332"/>
                  <a:pt x="5484675" y="4454229"/>
                  <a:pt x="5484055" y="4453712"/>
                </a:cubicBezTo>
                <a:cubicBezTo>
                  <a:pt x="5482506" y="4452887"/>
                  <a:pt x="5483590" y="4451131"/>
                  <a:pt x="5485449" y="4449376"/>
                </a:cubicBezTo>
                <a:cubicBezTo>
                  <a:pt x="5488392" y="4445039"/>
                  <a:pt x="5490870" y="4444213"/>
                  <a:pt x="5493194" y="4446898"/>
                </a:cubicBezTo>
                <a:close/>
                <a:moveTo>
                  <a:pt x="1380552" y="4446673"/>
                </a:moveTo>
                <a:cubicBezTo>
                  <a:pt x="1382101" y="4446777"/>
                  <a:pt x="1382721" y="4447086"/>
                  <a:pt x="1383030" y="4447706"/>
                </a:cubicBezTo>
                <a:lnTo>
                  <a:pt x="1383030" y="4448532"/>
                </a:lnTo>
                <a:lnTo>
                  <a:pt x="1383650" y="4448842"/>
                </a:lnTo>
                <a:cubicBezTo>
                  <a:pt x="1386592" y="4451423"/>
                  <a:pt x="1388916" y="4456586"/>
                  <a:pt x="1385973" y="4461439"/>
                </a:cubicBezTo>
                <a:cubicBezTo>
                  <a:pt x="1382256" y="4459890"/>
                  <a:pt x="1380862" y="4457722"/>
                  <a:pt x="1380397" y="4455244"/>
                </a:cubicBezTo>
                <a:lnTo>
                  <a:pt x="1380707" y="4449255"/>
                </a:lnTo>
                <a:lnTo>
                  <a:pt x="1379932" y="4447086"/>
                </a:lnTo>
                <a:cubicBezTo>
                  <a:pt x="1379932" y="4447086"/>
                  <a:pt x="1380552" y="4446673"/>
                  <a:pt x="1380552" y="4446673"/>
                </a:cubicBezTo>
                <a:close/>
                <a:moveTo>
                  <a:pt x="5803916" y="4446381"/>
                </a:moveTo>
                <a:cubicBezTo>
                  <a:pt x="5804690" y="4444730"/>
                  <a:pt x="5807323" y="4448343"/>
                  <a:pt x="5808098" y="4446588"/>
                </a:cubicBezTo>
                <a:cubicBezTo>
                  <a:pt x="5811505" y="4450305"/>
                  <a:pt x="5815533" y="4446072"/>
                  <a:pt x="5821574" y="4450718"/>
                </a:cubicBezTo>
                <a:cubicBezTo>
                  <a:pt x="5819560" y="4451235"/>
                  <a:pt x="5817547" y="4451441"/>
                  <a:pt x="5815843" y="4451441"/>
                </a:cubicBezTo>
                <a:cubicBezTo>
                  <a:pt x="5810421" y="4451441"/>
                  <a:pt x="5806084" y="4449582"/>
                  <a:pt x="5802522" y="4450718"/>
                </a:cubicBezTo>
                <a:cubicBezTo>
                  <a:pt x="5802522" y="4450718"/>
                  <a:pt x="5802522" y="4450718"/>
                  <a:pt x="5800663" y="4448860"/>
                </a:cubicBezTo>
                <a:cubicBezTo>
                  <a:pt x="5799888" y="4448860"/>
                  <a:pt x="5799888" y="4448860"/>
                  <a:pt x="5799888" y="4448860"/>
                </a:cubicBezTo>
                <a:cubicBezTo>
                  <a:pt x="5799114" y="4448860"/>
                  <a:pt x="5798959" y="4447001"/>
                  <a:pt x="5798959" y="4447001"/>
                </a:cubicBezTo>
                <a:cubicBezTo>
                  <a:pt x="5799734" y="4445349"/>
                  <a:pt x="5802212" y="4446278"/>
                  <a:pt x="5803916" y="4446381"/>
                </a:cubicBezTo>
                <a:close/>
                <a:moveTo>
                  <a:pt x="1197310" y="4445847"/>
                </a:moveTo>
                <a:cubicBezTo>
                  <a:pt x="1201802" y="4449048"/>
                  <a:pt x="1214193" y="4454624"/>
                  <a:pt x="1214038" y="4461542"/>
                </a:cubicBezTo>
                <a:lnTo>
                  <a:pt x="1213574" y="4463194"/>
                </a:lnTo>
                <a:lnTo>
                  <a:pt x="1215432" y="4461645"/>
                </a:lnTo>
                <a:cubicBezTo>
                  <a:pt x="1220079" y="4458341"/>
                  <a:pt x="1225501" y="4455657"/>
                  <a:pt x="1230767" y="4451010"/>
                </a:cubicBezTo>
                <a:lnTo>
                  <a:pt x="1232781" y="4452146"/>
                </a:lnTo>
                <a:lnTo>
                  <a:pt x="1232161" y="4451526"/>
                </a:lnTo>
                <a:cubicBezTo>
                  <a:pt x="1231077" y="4450597"/>
                  <a:pt x="1230302" y="4449771"/>
                  <a:pt x="1229838" y="4449151"/>
                </a:cubicBezTo>
                <a:cubicBezTo>
                  <a:pt x="1231696" y="4450597"/>
                  <a:pt x="1233865" y="4451836"/>
                  <a:pt x="1236033" y="4453282"/>
                </a:cubicBezTo>
                <a:lnTo>
                  <a:pt x="1236808" y="4454108"/>
                </a:lnTo>
                <a:lnTo>
                  <a:pt x="1241300" y="4454417"/>
                </a:lnTo>
                <a:cubicBezTo>
                  <a:pt x="1244398" y="4454108"/>
                  <a:pt x="1247186" y="4452869"/>
                  <a:pt x="1250129" y="4452352"/>
                </a:cubicBezTo>
                <a:cubicBezTo>
                  <a:pt x="1253227" y="4459374"/>
                  <a:pt x="1261902" y="4463814"/>
                  <a:pt x="1267478" y="4470112"/>
                </a:cubicBezTo>
                <a:cubicBezTo>
                  <a:pt x="1266084" y="4481161"/>
                  <a:pt x="1267787" y="4490351"/>
                  <a:pt x="1266548" y="4501296"/>
                </a:cubicBezTo>
                <a:cubicBezTo>
                  <a:pt x="1261281" y="4504187"/>
                  <a:pt x="1257254" y="4509970"/>
                  <a:pt x="1252763" y="4515132"/>
                </a:cubicBezTo>
                <a:lnTo>
                  <a:pt x="1251523" y="4516371"/>
                </a:lnTo>
                <a:lnTo>
                  <a:pt x="1252143" y="4527936"/>
                </a:lnTo>
                <a:lnTo>
                  <a:pt x="1249045" y="4537229"/>
                </a:lnTo>
                <a:lnTo>
                  <a:pt x="1254156" y="4539088"/>
                </a:lnTo>
                <a:lnTo>
                  <a:pt x="1256015" y="4539810"/>
                </a:lnTo>
                <a:lnTo>
                  <a:pt x="1255860" y="4538881"/>
                </a:lnTo>
                <a:lnTo>
                  <a:pt x="1256325" y="4539914"/>
                </a:lnTo>
                <a:lnTo>
                  <a:pt x="1260972" y="4541876"/>
                </a:lnTo>
                <a:cubicBezTo>
                  <a:pt x="1265309" y="4543941"/>
                  <a:pt x="1268562" y="4546625"/>
                  <a:pt x="1267168" y="4550136"/>
                </a:cubicBezTo>
                <a:cubicBezTo>
                  <a:pt x="1265928" y="4549723"/>
                  <a:pt x="1264224" y="4549413"/>
                  <a:pt x="1262211" y="4548897"/>
                </a:cubicBezTo>
                <a:lnTo>
                  <a:pt x="1258339" y="4547761"/>
                </a:lnTo>
                <a:lnTo>
                  <a:pt x="1258184" y="4548587"/>
                </a:lnTo>
                <a:lnTo>
                  <a:pt x="1257874" y="4547658"/>
                </a:lnTo>
                <a:lnTo>
                  <a:pt x="1256325" y="4547245"/>
                </a:lnTo>
                <a:cubicBezTo>
                  <a:pt x="1252453" y="4545903"/>
                  <a:pt x="1249045" y="4543838"/>
                  <a:pt x="1248580" y="4540430"/>
                </a:cubicBezTo>
                <a:lnTo>
                  <a:pt x="1248890" y="4538158"/>
                </a:lnTo>
                <a:lnTo>
                  <a:pt x="1248425" y="4539501"/>
                </a:lnTo>
                <a:cubicBezTo>
                  <a:pt x="1241455" y="4551272"/>
                  <a:pt x="1230457" y="4549104"/>
                  <a:pt x="1218995" y="4554576"/>
                </a:cubicBezTo>
                <a:cubicBezTo>
                  <a:pt x="1211870" y="4545593"/>
                  <a:pt x="1205984" y="4547968"/>
                  <a:pt x="1200098" y="4546832"/>
                </a:cubicBezTo>
                <a:cubicBezTo>
                  <a:pt x="1198084" y="4538881"/>
                  <a:pt x="1190184" y="4531653"/>
                  <a:pt x="1185692" y="4523703"/>
                </a:cubicBezTo>
                <a:cubicBezTo>
                  <a:pt x="1188635" y="4513480"/>
                  <a:pt x="1188171" y="4503877"/>
                  <a:pt x="1191113" y="4493655"/>
                </a:cubicBezTo>
                <a:cubicBezTo>
                  <a:pt x="1193747" y="4493139"/>
                  <a:pt x="1196380" y="4491796"/>
                  <a:pt x="1198859" y="4490144"/>
                </a:cubicBezTo>
                <a:lnTo>
                  <a:pt x="1202111" y="4487769"/>
                </a:lnTo>
                <a:lnTo>
                  <a:pt x="1204125" y="4475585"/>
                </a:lnTo>
                <a:cubicBezTo>
                  <a:pt x="1205365" y="4472178"/>
                  <a:pt x="1207068" y="4469493"/>
                  <a:pt x="1208927" y="4467221"/>
                </a:cubicBezTo>
                <a:lnTo>
                  <a:pt x="1212644" y="4464124"/>
                </a:lnTo>
                <a:lnTo>
                  <a:pt x="1208307" y="4460923"/>
                </a:lnTo>
                <a:cubicBezTo>
                  <a:pt x="1202421" y="4456483"/>
                  <a:pt x="1194366" y="4450184"/>
                  <a:pt x="1197310" y="4445847"/>
                </a:cubicBezTo>
                <a:close/>
                <a:moveTo>
                  <a:pt x="1138449" y="4445331"/>
                </a:moveTo>
                <a:cubicBezTo>
                  <a:pt x="1139533" y="4446570"/>
                  <a:pt x="1141237" y="4449461"/>
                  <a:pt x="1140154" y="4451630"/>
                </a:cubicBezTo>
                <a:cubicBezTo>
                  <a:pt x="1140154" y="4451630"/>
                  <a:pt x="1139998" y="4451630"/>
                  <a:pt x="1139533" y="4452766"/>
                </a:cubicBezTo>
                <a:cubicBezTo>
                  <a:pt x="1138914" y="4450391"/>
                  <a:pt x="1137984" y="4447190"/>
                  <a:pt x="1138449" y="4445331"/>
                </a:cubicBezTo>
                <a:close/>
                <a:moveTo>
                  <a:pt x="1224726" y="4445125"/>
                </a:moveTo>
                <a:cubicBezTo>
                  <a:pt x="1225501" y="4445538"/>
                  <a:pt x="1226430" y="4446054"/>
                  <a:pt x="1226120" y="4446673"/>
                </a:cubicBezTo>
                <a:cubicBezTo>
                  <a:pt x="1225965" y="4447086"/>
                  <a:pt x="1225655" y="4447190"/>
                  <a:pt x="1225345" y="4446983"/>
                </a:cubicBezTo>
                <a:cubicBezTo>
                  <a:pt x="1225036" y="4446777"/>
                  <a:pt x="1224726" y="4446364"/>
                  <a:pt x="1224417" y="4445847"/>
                </a:cubicBezTo>
                <a:cubicBezTo>
                  <a:pt x="1224417" y="4445847"/>
                  <a:pt x="1224726" y="4445125"/>
                  <a:pt x="1224726" y="4445125"/>
                </a:cubicBezTo>
                <a:close/>
                <a:moveTo>
                  <a:pt x="1395887" y="4444711"/>
                </a:moveTo>
                <a:cubicBezTo>
                  <a:pt x="1399759" y="4447086"/>
                  <a:pt x="1400224" y="4449565"/>
                  <a:pt x="1399139" y="4452456"/>
                </a:cubicBezTo>
                <a:cubicBezTo>
                  <a:pt x="1396196" y="4453282"/>
                  <a:pt x="1394028" y="4452146"/>
                  <a:pt x="1393253" y="4450494"/>
                </a:cubicBezTo>
                <a:cubicBezTo>
                  <a:pt x="1392634" y="4448739"/>
                  <a:pt x="1393253" y="4446364"/>
                  <a:pt x="1395887" y="4444711"/>
                </a:cubicBezTo>
                <a:close/>
                <a:moveTo>
                  <a:pt x="1755091" y="4444092"/>
                </a:moveTo>
                <a:cubicBezTo>
                  <a:pt x="1755091" y="4444918"/>
                  <a:pt x="1755866" y="4445950"/>
                  <a:pt x="1755866" y="4446777"/>
                </a:cubicBezTo>
                <a:cubicBezTo>
                  <a:pt x="1755401" y="4447190"/>
                  <a:pt x="1754936" y="4447396"/>
                  <a:pt x="1754471" y="4447396"/>
                </a:cubicBezTo>
                <a:cubicBezTo>
                  <a:pt x="1754007" y="4447396"/>
                  <a:pt x="1753542" y="4447190"/>
                  <a:pt x="1753077" y="4446983"/>
                </a:cubicBezTo>
                <a:cubicBezTo>
                  <a:pt x="1752303" y="4446570"/>
                  <a:pt x="1751528" y="4445847"/>
                  <a:pt x="1751528" y="4445331"/>
                </a:cubicBezTo>
                <a:cubicBezTo>
                  <a:pt x="1752458" y="4444608"/>
                  <a:pt x="1754162" y="4444815"/>
                  <a:pt x="1755091" y="4444092"/>
                </a:cubicBezTo>
                <a:close/>
                <a:moveTo>
                  <a:pt x="885503" y="4443472"/>
                </a:moveTo>
                <a:cubicBezTo>
                  <a:pt x="884574" y="4445847"/>
                  <a:pt x="885968" y="4447086"/>
                  <a:pt x="885039" y="4449461"/>
                </a:cubicBezTo>
                <a:cubicBezTo>
                  <a:pt x="882870" y="4448635"/>
                  <a:pt x="881011" y="4448635"/>
                  <a:pt x="879927" y="4448222"/>
                </a:cubicBezTo>
                <a:cubicBezTo>
                  <a:pt x="880236" y="4444299"/>
                  <a:pt x="882251" y="4442337"/>
                  <a:pt x="885503" y="4443472"/>
                </a:cubicBezTo>
                <a:close/>
                <a:moveTo>
                  <a:pt x="5502643" y="4443387"/>
                </a:moveTo>
                <a:cubicBezTo>
                  <a:pt x="5502643" y="4444316"/>
                  <a:pt x="5503107" y="4446175"/>
                  <a:pt x="5502332" y="4446175"/>
                </a:cubicBezTo>
                <a:cubicBezTo>
                  <a:pt x="5502332" y="4447001"/>
                  <a:pt x="5500629" y="4447001"/>
                  <a:pt x="5500629" y="4447001"/>
                </a:cubicBezTo>
                <a:cubicBezTo>
                  <a:pt x="5500629" y="4447930"/>
                  <a:pt x="5500474" y="4448860"/>
                  <a:pt x="5499544" y="4449789"/>
                </a:cubicBezTo>
                <a:cubicBezTo>
                  <a:pt x="5498925" y="4448860"/>
                  <a:pt x="5498770" y="4449686"/>
                  <a:pt x="5497996" y="4449686"/>
                </a:cubicBezTo>
                <a:cubicBezTo>
                  <a:pt x="5498925" y="4448756"/>
                  <a:pt x="5499235" y="4446175"/>
                  <a:pt x="5500164" y="4444316"/>
                </a:cubicBezTo>
                <a:cubicBezTo>
                  <a:pt x="5500939" y="4444316"/>
                  <a:pt x="5501868" y="4443387"/>
                  <a:pt x="5502643" y="4443387"/>
                </a:cubicBezTo>
                <a:close/>
                <a:moveTo>
                  <a:pt x="1078969" y="4442956"/>
                </a:moveTo>
                <a:cubicBezTo>
                  <a:pt x="1079743" y="4441304"/>
                  <a:pt x="1089347" y="4448739"/>
                  <a:pt x="1091980" y="4450597"/>
                </a:cubicBezTo>
                <a:cubicBezTo>
                  <a:pt x="1091980" y="4451423"/>
                  <a:pt x="1091980" y="4451423"/>
                  <a:pt x="1091980" y="4451423"/>
                </a:cubicBezTo>
                <a:cubicBezTo>
                  <a:pt x="1091671" y="4452249"/>
                  <a:pt x="1091051" y="4452456"/>
                  <a:pt x="1090121" y="4452249"/>
                </a:cubicBezTo>
                <a:cubicBezTo>
                  <a:pt x="1089347" y="4451939"/>
                  <a:pt x="1088108" y="4451216"/>
                  <a:pt x="1086869" y="4450287"/>
                </a:cubicBezTo>
                <a:cubicBezTo>
                  <a:pt x="1084235" y="4448429"/>
                  <a:pt x="1081602" y="4444815"/>
                  <a:pt x="1080673" y="4443989"/>
                </a:cubicBezTo>
                <a:cubicBezTo>
                  <a:pt x="1079743" y="4443059"/>
                  <a:pt x="1078969" y="4442956"/>
                  <a:pt x="1078969" y="4442956"/>
                </a:cubicBezTo>
                <a:close/>
                <a:moveTo>
                  <a:pt x="1446693" y="4442853"/>
                </a:moveTo>
                <a:cubicBezTo>
                  <a:pt x="1448861" y="4443369"/>
                  <a:pt x="1451185" y="4443989"/>
                  <a:pt x="1450410" y="4446364"/>
                </a:cubicBezTo>
                <a:cubicBezTo>
                  <a:pt x="1450100" y="4447603"/>
                  <a:pt x="1449791" y="4448739"/>
                  <a:pt x="1448241" y="4449668"/>
                </a:cubicBezTo>
                <a:cubicBezTo>
                  <a:pt x="1445918" y="4449151"/>
                  <a:pt x="1445608" y="4446467"/>
                  <a:pt x="1444524" y="4446157"/>
                </a:cubicBezTo>
                <a:cubicBezTo>
                  <a:pt x="1445298" y="4445744"/>
                  <a:pt x="1446693" y="4444815"/>
                  <a:pt x="1446693" y="4442853"/>
                </a:cubicBezTo>
                <a:close/>
                <a:moveTo>
                  <a:pt x="1806362" y="4442543"/>
                </a:moveTo>
                <a:cubicBezTo>
                  <a:pt x="1813952" y="4448119"/>
                  <a:pt x="1814881" y="4464020"/>
                  <a:pt x="1806362" y="4463401"/>
                </a:cubicBezTo>
                <a:cubicBezTo>
                  <a:pt x="1805122" y="4463401"/>
                  <a:pt x="1803729" y="4462988"/>
                  <a:pt x="1802179" y="4462162"/>
                </a:cubicBezTo>
                <a:cubicBezTo>
                  <a:pt x="1801095" y="4456070"/>
                  <a:pt x="1797223" y="4445538"/>
                  <a:pt x="1806362" y="4442543"/>
                </a:cubicBezTo>
                <a:close/>
                <a:moveTo>
                  <a:pt x="866761" y="4442440"/>
                </a:moveTo>
                <a:cubicBezTo>
                  <a:pt x="866761" y="4442440"/>
                  <a:pt x="866761" y="4442440"/>
                  <a:pt x="872337" y="4445641"/>
                </a:cubicBezTo>
                <a:cubicBezTo>
                  <a:pt x="872027" y="4446054"/>
                  <a:pt x="871562" y="4446157"/>
                  <a:pt x="871098" y="4445950"/>
                </a:cubicBezTo>
                <a:cubicBezTo>
                  <a:pt x="870633" y="4445744"/>
                  <a:pt x="870169" y="4445331"/>
                  <a:pt x="869549" y="4444918"/>
                </a:cubicBezTo>
                <a:cubicBezTo>
                  <a:pt x="868620" y="4444092"/>
                  <a:pt x="867690" y="4443266"/>
                  <a:pt x="866761" y="4442440"/>
                </a:cubicBezTo>
                <a:close/>
                <a:moveTo>
                  <a:pt x="792663" y="4442349"/>
                </a:moveTo>
                <a:cubicBezTo>
                  <a:pt x="794463" y="4443085"/>
                  <a:pt x="796128" y="4444350"/>
                  <a:pt x="797367" y="4445125"/>
                </a:cubicBezTo>
                <a:lnTo>
                  <a:pt x="796593" y="4446673"/>
                </a:lnTo>
                <a:lnTo>
                  <a:pt x="798452" y="4446570"/>
                </a:lnTo>
                <a:cubicBezTo>
                  <a:pt x="799381" y="4446673"/>
                  <a:pt x="800155" y="4446880"/>
                  <a:pt x="801240" y="4447086"/>
                </a:cubicBezTo>
                <a:cubicBezTo>
                  <a:pt x="801085" y="4449048"/>
                  <a:pt x="802789" y="4451010"/>
                  <a:pt x="801859" y="4453282"/>
                </a:cubicBezTo>
                <a:cubicBezTo>
                  <a:pt x="801859" y="4453282"/>
                  <a:pt x="801394" y="4454417"/>
                  <a:pt x="799846" y="4455244"/>
                </a:cubicBezTo>
                <a:cubicBezTo>
                  <a:pt x="798142" y="4457928"/>
                  <a:pt x="794889" y="4456793"/>
                  <a:pt x="794889" y="4456793"/>
                </a:cubicBezTo>
                <a:cubicBezTo>
                  <a:pt x="794889" y="4456793"/>
                  <a:pt x="794734" y="4456793"/>
                  <a:pt x="795044" y="4457515"/>
                </a:cubicBezTo>
                <a:cubicBezTo>
                  <a:pt x="794424" y="4455967"/>
                  <a:pt x="793185" y="4454831"/>
                  <a:pt x="792565" y="4453282"/>
                </a:cubicBezTo>
                <a:lnTo>
                  <a:pt x="792720" y="4452662"/>
                </a:lnTo>
                <a:lnTo>
                  <a:pt x="792256" y="4453282"/>
                </a:lnTo>
                <a:cubicBezTo>
                  <a:pt x="790087" y="4452456"/>
                  <a:pt x="788383" y="4451216"/>
                  <a:pt x="787609" y="4449461"/>
                </a:cubicBezTo>
                <a:cubicBezTo>
                  <a:pt x="786680" y="4447706"/>
                  <a:pt x="786370" y="4445538"/>
                  <a:pt x="787144" y="4442749"/>
                </a:cubicBezTo>
                <a:cubicBezTo>
                  <a:pt x="788926" y="4441407"/>
                  <a:pt x="790862" y="4441614"/>
                  <a:pt x="792663" y="4442349"/>
                </a:cubicBezTo>
                <a:close/>
                <a:moveTo>
                  <a:pt x="5957108" y="4442045"/>
                </a:moveTo>
                <a:cubicBezTo>
                  <a:pt x="5958192" y="4442354"/>
                  <a:pt x="5959277" y="4442871"/>
                  <a:pt x="5958657" y="4444007"/>
                </a:cubicBezTo>
                <a:cubicBezTo>
                  <a:pt x="5958192" y="4445142"/>
                  <a:pt x="5958657" y="4445968"/>
                  <a:pt x="5956798" y="4445968"/>
                </a:cubicBezTo>
                <a:cubicBezTo>
                  <a:pt x="5955869" y="4446381"/>
                  <a:pt x="5954785" y="4445968"/>
                  <a:pt x="5954010" y="4446381"/>
                </a:cubicBezTo>
                <a:cubicBezTo>
                  <a:pt x="5954010" y="4446381"/>
                  <a:pt x="5953700" y="4445762"/>
                  <a:pt x="5953236" y="4445142"/>
                </a:cubicBezTo>
                <a:cubicBezTo>
                  <a:pt x="5952926" y="4444523"/>
                  <a:pt x="5952616" y="4443800"/>
                  <a:pt x="5952926" y="4443180"/>
                </a:cubicBezTo>
                <a:cubicBezTo>
                  <a:pt x="5953081" y="4441219"/>
                  <a:pt x="5956334" y="4442354"/>
                  <a:pt x="5957108" y="4442045"/>
                </a:cubicBezTo>
                <a:close/>
                <a:moveTo>
                  <a:pt x="1012518" y="4441717"/>
                </a:moveTo>
                <a:cubicBezTo>
                  <a:pt x="1018559" y="4447809"/>
                  <a:pt x="1016081" y="4459477"/>
                  <a:pt x="1013138" y="4464950"/>
                </a:cubicBezTo>
                <a:cubicBezTo>
                  <a:pt x="1011589" y="4463504"/>
                  <a:pt x="1010505" y="4461542"/>
                  <a:pt x="1009885" y="4459477"/>
                </a:cubicBezTo>
                <a:cubicBezTo>
                  <a:pt x="1007871" y="4453178"/>
                  <a:pt x="1009265" y="4445331"/>
                  <a:pt x="1012518" y="4441717"/>
                </a:cubicBezTo>
                <a:close/>
                <a:moveTo>
                  <a:pt x="1628386" y="4441510"/>
                </a:moveTo>
                <a:cubicBezTo>
                  <a:pt x="1632103" y="4442337"/>
                  <a:pt x="1638764" y="4449565"/>
                  <a:pt x="1635666" y="4455863"/>
                </a:cubicBezTo>
                <a:lnTo>
                  <a:pt x="1632878" y="4454108"/>
                </a:lnTo>
                <a:lnTo>
                  <a:pt x="1632878" y="4454314"/>
                </a:lnTo>
                <a:cubicBezTo>
                  <a:pt x="1632413" y="4454108"/>
                  <a:pt x="1632103" y="4454108"/>
                  <a:pt x="1632103" y="4453901"/>
                </a:cubicBezTo>
                <a:lnTo>
                  <a:pt x="1632103" y="4453592"/>
                </a:lnTo>
                <a:lnTo>
                  <a:pt x="1631329" y="4452972"/>
                </a:lnTo>
                <a:cubicBezTo>
                  <a:pt x="1628076" y="4449771"/>
                  <a:pt x="1628541" y="4445538"/>
                  <a:pt x="1628386" y="4441510"/>
                </a:cubicBezTo>
                <a:close/>
                <a:moveTo>
                  <a:pt x="1658436" y="4441407"/>
                </a:moveTo>
                <a:cubicBezTo>
                  <a:pt x="1661379" y="4441510"/>
                  <a:pt x="1661069" y="4442749"/>
                  <a:pt x="1660450" y="4445125"/>
                </a:cubicBezTo>
                <a:cubicBezTo>
                  <a:pt x="1659520" y="4445228"/>
                  <a:pt x="1658745" y="4445125"/>
                  <a:pt x="1658281" y="4444711"/>
                </a:cubicBezTo>
                <a:cubicBezTo>
                  <a:pt x="1657816" y="4444299"/>
                  <a:pt x="1657662" y="4443369"/>
                  <a:pt x="1657816" y="4441820"/>
                </a:cubicBezTo>
                <a:cubicBezTo>
                  <a:pt x="1657816" y="4441820"/>
                  <a:pt x="1658436" y="4441407"/>
                  <a:pt x="1658436" y="4441407"/>
                </a:cubicBezTo>
                <a:close/>
                <a:moveTo>
                  <a:pt x="897276" y="4441201"/>
                </a:moveTo>
                <a:lnTo>
                  <a:pt x="897585" y="4442130"/>
                </a:lnTo>
                <a:lnTo>
                  <a:pt x="897895" y="4442027"/>
                </a:lnTo>
                <a:lnTo>
                  <a:pt x="897585" y="4441614"/>
                </a:lnTo>
                <a:close/>
                <a:moveTo>
                  <a:pt x="1221009" y="4440994"/>
                </a:moveTo>
                <a:cubicBezTo>
                  <a:pt x="1223022" y="4443059"/>
                  <a:pt x="1223022" y="4443059"/>
                  <a:pt x="1223952" y="4445434"/>
                </a:cubicBezTo>
                <a:cubicBezTo>
                  <a:pt x="1223177" y="4445021"/>
                  <a:pt x="1221164" y="4444815"/>
                  <a:pt x="1220854" y="4443576"/>
                </a:cubicBezTo>
                <a:cubicBezTo>
                  <a:pt x="1220389" y="4442440"/>
                  <a:pt x="1220389" y="4442440"/>
                  <a:pt x="1221009" y="4440994"/>
                </a:cubicBezTo>
                <a:close/>
                <a:moveTo>
                  <a:pt x="1792576" y="4440891"/>
                </a:moveTo>
                <a:cubicBezTo>
                  <a:pt x="1793815" y="4445744"/>
                  <a:pt x="1792111" y="4448635"/>
                  <a:pt x="1788703" y="4451320"/>
                </a:cubicBezTo>
                <a:cubicBezTo>
                  <a:pt x="1787310" y="4450391"/>
                  <a:pt x="1786380" y="4446777"/>
                  <a:pt x="1785760" y="4444402"/>
                </a:cubicBezTo>
                <a:cubicBezTo>
                  <a:pt x="1787000" y="4442234"/>
                  <a:pt x="1789633" y="4440994"/>
                  <a:pt x="1792576" y="4440891"/>
                </a:cubicBezTo>
                <a:close/>
                <a:moveTo>
                  <a:pt x="1288389" y="4440788"/>
                </a:moveTo>
                <a:lnTo>
                  <a:pt x="1287924" y="4443989"/>
                </a:lnTo>
                <a:lnTo>
                  <a:pt x="1288699" y="4445538"/>
                </a:lnTo>
                <a:cubicBezTo>
                  <a:pt x="1288699" y="4446467"/>
                  <a:pt x="1288389" y="4447396"/>
                  <a:pt x="1287924" y="4448222"/>
                </a:cubicBezTo>
                <a:lnTo>
                  <a:pt x="1286375" y="4449461"/>
                </a:lnTo>
                <a:lnTo>
                  <a:pt x="1284206" y="4453592"/>
                </a:lnTo>
                <a:cubicBezTo>
                  <a:pt x="1281418" y="4457309"/>
                  <a:pt x="1277856" y="4459993"/>
                  <a:pt x="1274758" y="4460510"/>
                </a:cubicBezTo>
                <a:cubicBezTo>
                  <a:pt x="1274293" y="4453798"/>
                  <a:pt x="1279095" y="4447603"/>
                  <a:pt x="1283896" y="4443782"/>
                </a:cubicBezTo>
                <a:lnTo>
                  <a:pt x="1284671" y="4441717"/>
                </a:lnTo>
                <a:lnTo>
                  <a:pt x="1286065" y="4442337"/>
                </a:lnTo>
                <a:close/>
                <a:moveTo>
                  <a:pt x="6369597" y="4440393"/>
                </a:moveTo>
                <a:lnTo>
                  <a:pt x="6369442" y="4448446"/>
                </a:lnTo>
                <a:lnTo>
                  <a:pt x="6370681" y="4460424"/>
                </a:lnTo>
                <a:lnTo>
                  <a:pt x="6376722" y="4461457"/>
                </a:lnTo>
                <a:cubicBezTo>
                  <a:pt x="6380130" y="4461767"/>
                  <a:pt x="6383693" y="4462076"/>
                  <a:pt x="6387410" y="4461767"/>
                </a:cubicBezTo>
                <a:lnTo>
                  <a:pt x="6389888" y="4461354"/>
                </a:lnTo>
                <a:lnTo>
                  <a:pt x="6389733" y="4456191"/>
                </a:lnTo>
                <a:lnTo>
                  <a:pt x="6397943" y="4457740"/>
                </a:lnTo>
                <a:lnTo>
                  <a:pt x="6396084" y="4445349"/>
                </a:lnTo>
                <a:lnTo>
                  <a:pt x="6396859" y="4440599"/>
                </a:lnTo>
                <a:lnTo>
                  <a:pt x="6384777" y="4440599"/>
                </a:lnTo>
                <a:close/>
                <a:moveTo>
                  <a:pt x="998733" y="4439755"/>
                </a:moveTo>
                <a:cubicBezTo>
                  <a:pt x="998733" y="4439755"/>
                  <a:pt x="1000437" y="4441924"/>
                  <a:pt x="1000437" y="4441924"/>
                </a:cubicBezTo>
                <a:cubicBezTo>
                  <a:pt x="999817" y="4443059"/>
                  <a:pt x="999817" y="4443059"/>
                  <a:pt x="999507" y="4442234"/>
                </a:cubicBezTo>
                <a:cubicBezTo>
                  <a:pt x="998113" y="4443679"/>
                  <a:pt x="997339" y="4444092"/>
                  <a:pt x="996564" y="4444402"/>
                </a:cubicBezTo>
                <a:cubicBezTo>
                  <a:pt x="995480" y="4443885"/>
                  <a:pt x="994860" y="4442337"/>
                  <a:pt x="995170" y="4440375"/>
                </a:cubicBezTo>
                <a:cubicBezTo>
                  <a:pt x="996255" y="4440788"/>
                  <a:pt x="997648" y="4439239"/>
                  <a:pt x="998733" y="4439755"/>
                </a:cubicBezTo>
                <a:close/>
                <a:moveTo>
                  <a:pt x="5828234" y="4439670"/>
                </a:moveTo>
                <a:cubicBezTo>
                  <a:pt x="5833346" y="4440909"/>
                  <a:pt x="5833811" y="4444316"/>
                  <a:pt x="5831023" y="4449479"/>
                </a:cubicBezTo>
                <a:cubicBezTo>
                  <a:pt x="5829164" y="4449479"/>
                  <a:pt x="5827615" y="4450202"/>
                  <a:pt x="5824982" y="4450615"/>
                </a:cubicBezTo>
                <a:cubicBezTo>
                  <a:pt x="5824052" y="4448240"/>
                  <a:pt x="5824517" y="4442458"/>
                  <a:pt x="5828234" y="4439670"/>
                </a:cubicBezTo>
                <a:close/>
                <a:moveTo>
                  <a:pt x="1643256" y="4439445"/>
                </a:moveTo>
                <a:cubicBezTo>
                  <a:pt x="1647438" y="4441924"/>
                  <a:pt x="1648212" y="4444402"/>
                  <a:pt x="1647593" y="4447293"/>
                </a:cubicBezTo>
                <a:cubicBezTo>
                  <a:pt x="1646199" y="4447706"/>
                  <a:pt x="1644960" y="4447603"/>
                  <a:pt x="1643876" y="4447190"/>
                </a:cubicBezTo>
                <a:cubicBezTo>
                  <a:pt x="1640778" y="4445950"/>
                  <a:pt x="1639539" y="4441820"/>
                  <a:pt x="1643256" y="4439445"/>
                </a:cubicBezTo>
                <a:close/>
                <a:moveTo>
                  <a:pt x="1070450" y="4439342"/>
                </a:moveTo>
                <a:cubicBezTo>
                  <a:pt x="1071224" y="4437587"/>
                  <a:pt x="1072153" y="4440272"/>
                  <a:pt x="1072928" y="4439445"/>
                </a:cubicBezTo>
                <a:lnTo>
                  <a:pt x="1072773" y="4445847"/>
                </a:lnTo>
                <a:lnTo>
                  <a:pt x="1077885" y="4446157"/>
                </a:lnTo>
                <a:cubicBezTo>
                  <a:pt x="1080518" y="4451113"/>
                  <a:pt x="1076800" y="4457618"/>
                  <a:pt x="1072618" y="4461645"/>
                </a:cubicBezTo>
                <a:lnTo>
                  <a:pt x="1072153" y="4462059"/>
                </a:lnTo>
                <a:lnTo>
                  <a:pt x="1072618" y="4462162"/>
                </a:lnTo>
                <a:cubicBezTo>
                  <a:pt x="1073702" y="4461542"/>
                  <a:pt x="1074477" y="4458961"/>
                  <a:pt x="1076335" y="4460303"/>
                </a:cubicBezTo>
                <a:cubicBezTo>
                  <a:pt x="1080363" y="4463814"/>
                  <a:pt x="1079278" y="4469906"/>
                  <a:pt x="1078349" y="4473107"/>
                </a:cubicBezTo>
                <a:lnTo>
                  <a:pt x="1077885" y="4474966"/>
                </a:lnTo>
                <a:lnTo>
                  <a:pt x="1078814" y="4474966"/>
                </a:lnTo>
                <a:lnTo>
                  <a:pt x="1077885" y="4475792"/>
                </a:lnTo>
                <a:lnTo>
                  <a:pt x="1077885" y="4475998"/>
                </a:lnTo>
                <a:cubicBezTo>
                  <a:pt x="1077110" y="4475998"/>
                  <a:pt x="1077110" y="4476928"/>
                  <a:pt x="1078039" y="4476928"/>
                </a:cubicBezTo>
                <a:cubicBezTo>
                  <a:pt x="1077265" y="4478167"/>
                  <a:pt x="1076645" y="4479199"/>
                  <a:pt x="1076026" y="4479715"/>
                </a:cubicBezTo>
                <a:cubicBezTo>
                  <a:pt x="1075716" y="4479922"/>
                  <a:pt x="1075406" y="4480025"/>
                  <a:pt x="1075096" y="4480025"/>
                </a:cubicBezTo>
                <a:cubicBezTo>
                  <a:pt x="1074631" y="4479922"/>
                  <a:pt x="1074322" y="4479715"/>
                  <a:pt x="1073857" y="4479302"/>
                </a:cubicBezTo>
                <a:cubicBezTo>
                  <a:pt x="1072153" y="4478373"/>
                  <a:pt x="1072928" y="4476617"/>
                  <a:pt x="1071224" y="4474862"/>
                </a:cubicBezTo>
                <a:cubicBezTo>
                  <a:pt x="1067662" y="4472074"/>
                  <a:pt x="1062860" y="4478786"/>
                  <a:pt x="1055889" y="4473313"/>
                </a:cubicBezTo>
                <a:cubicBezTo>
                  <a:pt x="1057438" y="4471661"/>
                  <a:pt x="1053876" y="4467118"/>
                  <a:pt x="1056354" y="4464640"/>
                </a:cubicBezTo>
                <a:lnTo>
                  <a:pt x="1058058" y="4462884"/>
                </a:lnTo>
                <a:lnTo>
                  <a:pt x="1056044" y="4462575"/>
                </a:lnTo>
                <a:cubicBezTo>
                  <a:pt x="1057128" y="4455760"/>
                  <a:pt x="1060691" y="4448326"/>
                  <a:pt x="1061620" y="4446673"/>
                </a:cubicBezTo>
                <a:cubicBezTo>
                  <a:pt x="1061930" y="4445847"/>
                  <a:pt x="1062395" y="4445434"/>
                  <a:pt x="1063014" y="4445434"/>
                </a:cubicBezTo>
                <a:cubicBezTo>
                  <a:pt x="1063479" y="4445434"/>
                  <a:pt x="1064099" y="4445641"/>
                  <a:pt x="1065028" y="4446157"/>
                </a:cubicBezTo>
                <a:cubicBezTo>
                  <a:pt x="1065648" y="4447190"/>
                  <a:pt x="1065802" y="4448119"/>
                  <a:pt x="1065957" y="4448945"/>
                </a:cubicBezTo>
                <a:lnTo>
                  <a:pt x="1066577" y="4448635"/>
                </a:lnTo>
                <a:lnTo>
                  <a:pt x="1066577" y="4448326"/>
                </a:lnTo>
                <a:cubicBezTo>
                  <a:pt x="1067507" y="4445125"/>
                  <a:pt x="1069210" y="4442234"/>
                  <a:pt x="1069675" y="4440994"/>
                </a:cubicBezTo>
                <a:cubicBezTo>
                  <a:pt x="1069675" y="4440994"/>
                  <a:pt x="1069675" y="4440168"/>
                  <a:pt x="1070450" y="4439342"/>
                </a:cubicBezTo>
                <a:close/>
                <a:moveTo>
                  <a:pt x="1341869" y="4438528"/>
                </a:moveTo>
                <a:cubicBezTo>
                  <a:pt x="1346523" y="4438303"/>
                  <a:pt x="1351664" y="4440426"/>
                  <a:pt x="1356543" y="4446054"/>
                </a:cubicBezTo>
                <a:cubicBezTo>
                  <a:pt x="1362739" y="4454108"/>
                  <a:pt x="1360725" y="4464434"/>
                  <a:pt x="1364598" y="4476721"/>
                </a:cubicBezTo>
                <a:cubicBezTo>
                  <a:pt x="1356233" y="4471145"/>
                  <a:pt x="1348179" y="4476308"/>
                  <a:pt x="1340744" y="4475792"/>
                </a:cubicBezTo>
                <a:cubicBezTo>
                  <a:pt x="1338265" y="4475585"/>
                  <a:pt x="1335787" y="4474759"/>
                  <a:pt x="1333309" y="4472694"/>
                </a:cubicBezTo>
                <a:cubicBezTo>
                  <a:pt x="1318322" y="4461000"/>
                  <a:pt x="1327906" y="4439200"/>
                  <a:pt x="1341869" y="4438528"/>
                </a:cubicBezTo>
                <a:close/>
                <a:moveTo>
                  <a:pt x="830864" y="4438155"/>
                </a:moveTo>
                <a:cubicBezTo>
                  <a:pt x="833962" y="4438000"/>
                  <a:pt x="838105" y="4439291"/>
                  <a:pt x="841048" y="4439445"/>
                </a:cubicBezTo>
                <a:cubicBezTo>
                  <a:pt x="841823" y="4443163"/>
                  <a:pt x="841668" y="4444402"/>
                  <a:pt x="840119" y="4448119"/>
                </a:cubicBezTo>
                <a:cubicBezTo>
                  <a:pt x="838880" y="4448429"/>
                  <a:pt x="837640" y="4448635"/>
                  <a:pt x="836401" y="4448635"/>
                </a:cubicBezTo>
                <a:cubicBezTo>
                  <a:pt x="835162" y="4448635"/>
                  <a:pt x="834078" y="4448429"/>
                  <a:pt x="832993" y="4448119"/>
                </a:cubicBezTo>
                <a:cubicBezTo>
                  <a:pt x="830825" y="4447603"/>
                  <a:pt x="828811" y="4446570"/>
                  <a:pt x="826953" y="4445538"/>
                </a:cubicBezTo>
                <a:cubicBezTo>
                  <a:pt x="825713" y="4439910"/>
                  <a:pt x="827766" y="4438309"/>
                  <a:pt x="830864" y="4438155"/>
                </a:cubicBezTo>
                <a:close/>
                <a:moveTo>
                  <a:pt x="1266548" y="4438103"/>
                </a:moveTo>
                <a:cubicBezTo>
                  <a:pt x="1266239" y="4438826"/>
                  <a:pt x="1267013" y="4439239"/>
                  <a:pt x="1267013" y="4439239"/>
                </a:cubicBezTo>
                <a:cubicBezTo>
                  <a:pt x="1267013" y="4439239"/>
                  <a:pt x="1267013" y="4439239"/>
                  <a:pt x="1267322" y="4438516"/>
                </a:cubicBezTo>
                <a:cubicBezTo>
                  <a:pt x="1267478" y="4439136"/>
                  <a:pt x="1267322" y="4439445"/>
                  <a:pt x="1267168" y="4439652"/>
                </a:cubicBezTo>
                <a:cubicBezTo>
                  <a:pt x="1266858" y="4439962"/>
                  <a:pt x="1266548" y="4439962"/>
                  <a:pt x="1266548" y="4439962"/>
                </a:cubicBezTo>
                <a:cubicBezTo>
                  <a:pt x="1266084" y="4440168"/>
                  <a:pt x="1265464" y="4440375"/>
                  <a:pt x="1265000" y="4440375"/>
                </a:cubicBezTo>
                <a:cubicBezTo>
                  <a:pt x="1264534" y="4440272"/>
                  <a:pt x="1264224" y="4440065"/>
                  <a:pt x="1263915" y="4439445"/>
                </a:cubicBezTo>
                <a:cubicBezTo>
                  <a:pt x="1263915" y="4439445"/>
                  <a:pt x="1264380" y="4438723"/>
                  <a:pt x="1266548" y="4438103"/>
                </a:cubicBezTo>
                <a:close/>
                <a:moveTo>
                  <a:pt x="1154868" y="4438103"/>
                </a:moveTo>
                <a:cubicBezTo>
                  <a:pt x="1155952" y="4438413"/>
                  <a:pt x="1158586" y="4439755"/>
                  <a:pt x="1158275" y="4440891"/>
                </a:cubicBezTo>
                <a:cubicBezTo>
                  <a:pt x="1157501" y="4443266"/>
                  <a:pt x="1155642" y="4445434"/>
                  <a:pt x="1154558" y="4445125"/>
                </a:cubicBezTo>
                <a:cubicBezTo>
                  <a:pt x="1152854" y="4444711"/>
                  <a:pt x="1151305" y="4444299"/>
                  <a:pt x="1150996" y="4442543"/>
                </a:cubicBezTo>
                <a:cubicBezTo>
                  <a:pt x="1150841" y="4442027"/>
                  <a:pt x="1150841" y="4441407"/>
                  <a:pt x="1151150" y="4440478"/>
                </a:cubicBezTo>
                <a:cubicBezTo>
                  <a:pt x="1151150" y="4440478"/>
                  <a:pt x="1151150" y="4440478"/>
                  <a:pt x="1151925" y="4439962"/>
                </a:cubicBezTo>
                <a:cubicBezTo>
                  <a:pt x="1153474" y="4439136"/>
                  <a:pt x="1154094" y="4438619"/>
                  <a:pt x="1154868" y="4438103"/>
                </a:cubicBezTo>
                <a:close/>
                <a:moveTo>
                  <a:pt x="5687608" y="4437075"/>
                </a:moveTo>
                <a:cubicBezTo>
                  <a:pt x="5690415" y="4436908"/>
                  <a:pt x="5692623" y="4437605"/>
                  <a:pt x="5693475" y="4437192"/>
                </a:cubicBezTo>
                <a:cubicBezTo>
                  <a:pt x="5695643" y="4439773"/>
                  <a:pt x="5695643" y="4439876"/>
                  <a:pt x="5690996" y="4444936"/>
                </a:cubicBezTo>
                <a:cubicBezTo>
                  <a:pt x="5690067" y="4445865"/>
                  <a:pt x="5688983" y="4446381"/>
                  <a:pt x="5687898" y="4446691"/>
                </a:cubicBezTo>
                <a:cubicBezTo>
                  <a:pt x="5686659" y="4447001"/>
                  <a:pt x="5685420" y="4447001"/>
                  <a:pt x="5684181" y="4446588"/>
                </a:cubicBezTo>
                <a:cubicBezTo>
                  <a:pt x="5683406" y="4447001"/>
                  <a:pt x="5682322" y="4447207"/>
                  <a:pt x="5681393" y="4447207"/>
                </a:cubicBezTo>
                <a:cubicBezTo>
                  <a:pt x="5680308" y="4447207"/>
                  <a:pt x="5679224" y="4446898"/>
                  <a:pt x="5678450" y="4446485"/>
                </a:cubicBezTo>
                <a:cubicBezTo>
                  <a:pt x="5677830" y="4445555"/>
                  <a:pt x="5677365" y="4444730"/>
                  <a:pt x="5677365" y="4443903"/>
                </a:cubicBezTo>
                <a:cubicBezTo>
                  <a:pt x="5677365" y="4443180"/>
                  <a:pt x="5677675" y="4442561"/>
                  <a:pt x="5678140" y="4442148"/>
                </a:cubicBezTo>
                <a:cubicBezTo>
                  <a:pt x="5681393" y="4438276"/>
                  <a:pt x="5684801" y="4437243"/>
                  <a:pt x="5687608" y="4437075"/>
                </a:cubicBezTo>
                <a:close/>
                <a:moveTo>
                  <a:pt x="1377145" y="4437071"/>
                </a:moveTo>
                <a:cubicBezTo>
                  <a:pt x="1378383" y="4437380"/>
                  <a:pt x="1378538" y="4440684"/>
                  <a:pt x="1379003" y="4441407"/>
                </a:cubicBezTo>
                <a:lnTo>
                  <a:pt x="1377764" y="4441717"/>
                </a:lnTo>
                <a:lnTo>
                  <a:pt x="1378383" y="4443885"/>
                </a:lnTo>
                <a:cubicBezTo>
                  <a:pt x="1378538" y="4445538"/>
                  <a:pt x="1377919" y="4447293"/>
                  <a:pt x="1376370" y="4448739"/>
                </a:cubicBezTo>
                <a:cubicBezTo>
                  <a:pt x="1372807" y="4447706"/>
                  <a:pt x="1368780" y="4447190"/>
                  <a:pt x="1367386" y="4444402"/>
                </a:cubicBezTo>
                <a:cubicBezTo>
                  <a:pt x="1366921" y="4443472"/>
                  <a:pt x="1366611" y="4442234"/>
                  <a:pt x="1366921" y="4440684"/>
                </a:cubicBezTo>
                <a:cubicBezTo>
                  <a:pt x="1369555" y="4437587"/>
                  <a:pt x="1372497" y="4437174"/>
                  <a:pt x="1374666" y="4438103"/>
                </a:cubicBezTo>
                <a:lnTo>
                  <a:pt x="1375130" y="4438516"/>
                </a:lnTo>
                <a:lnTo>
                  <a:pt x="1375130" y="4438413"/>
                </a:lnTo>
                <a:cubicBezTo>
                  <a:pt x="1374666" y="4437690"/>
                  <a:pt x="1377145" y="4437071"/>
                  <a:pt x="1377145" y="4437071"/>
                </a:cubicBezTo>
                <a:close/>
                <a:moveTo>
                  <a:pt x="1073548" y="4436864"/>
                </a:moveTo>
                <a:cubicBezTo>
                  <a:pt x="1074477" y="4437793"/>
                  <a:pt x="1077110" y="4440478"/>
                  <a:pt x="1077110" y="4440478"/>
                </a:cubicBezTo>
                <a:cubicBezTo>
                  <a:pt x="1077885" y="4440581"/>
                  <a:pt x="1078039" y="4440581"/>
                  <a:pt x="1078814" y="4441407"/>
                </a:cubicBezTo>
                <a:cubicBezTo>
                  <a:pt x="1078039" y="4442234"/>
                  <a:pt x="1078039" y="4442234"/>
                  <a:pt x="1077265" y="4442234"/>
                </a:cubicBezTo>
                <a:cubicBezTo>
                  <a:pt x="1076335" y="4441304"/>
                  <a:pt x="1076335" y="4440478"/>
                  <a:pt x="1075406" y="4439549"/>
                </a:cubicBezTo>
                <a:cubicBezTo>
                  <a:pt x="1073857" y="4441201"/>
                  <a:pt x="1074631" y="4441201"/>
                  <a:pt x="1073857" y="4440375"/>
                </a:cubicBezTo>
                <a:cubicBezTo>
                  <a:pt x="1073857" y="4440375"/>
                  <a:pt x="1073857" y="4440375"/>
                  <a:pt x="1072928" y="4439445"/>
                </a:cubicBezTo>
                <a:cubicBezTo>
                  <a:pt x="1072928" y="4439445"/>
                  <a:pt x="1071998" y="4439445"/>
                  <a:pt x="1073548" y="4436864"/>
                </a:cubicBezTo>
                <a:close/>
                <a:moveTo>
                  <a:pt x="5497686" y="4436675"/>
                </a:moveTo>
                <a:cubicBezTo>
                  <a:pt x="5498615" y="4435849"/>
                  <a:pt x="5499544" y="4435746"/>
                  <a:pt x="5500319" y="4436675"/>
                </a:cubicBezTo>
                <a:cubicBezTo>
                  <a:pt x="5500319" y="4436675"/>
                  <a:pt x="5499235" y="4438431"/>
                  <a:pt x="5499235" y="4438431"/>
                </a:cubicBezTo>
                <a:cubicBezTo>
                  <a:pt x="5497376" y="4440083"/>
                  <a:pt x="5496292" y="4441012"/>
                  <a:pt x="5495207" y="4442768"/>
                </a:cubicBezTo>
                <a:cubicBezTo>
                  <a:pt x="5494433" y="4442251"/>
                  <a:pt x="5494123" y="4441838"/>
                  <a:pt x="5494123" y="4441322"/>
                </a:cubicBezTo>
                <a:cubicBezTo>
                  <a:pt x="5493968" y="4440909"/>
                  <a:pt x="5494278" y="4440496"/>
                  <a:pt x="5494743" y="4440083"/>
                </a:cubicBezTo>
                <a:cubicBezTo>
                  <a:pt x="5494743" y="4440083"/>
                  <a:pt x="5495672" y="4439153"/>
                  <a:pt x="5496601" y="4438328"/>
                </a:cubicBezTo>
                <a:cubicBezTo>
                  <a:pt x="5497531" y="4437501"/>
                  <a:pt x="5497686" y="4436675"/>
                  <a:pt x="5497686" y="4436675"/>
                </a:cubicBezTo>
                <a:close/>
                <a:moveTo>
                  <a:pt x="5970584" y="4436159"/>
                </a:moveTo>
                <a:cubicBezTo>
                  <a:pt x="5970275" y="4437398"/>
                  <a:pt x="5973682" y="4438224"/>
                  <a:pt x="5974767" y="4438431"/>
                </a:cubicBezTo>
                <a:cubicBezTo>
                  <a:pt x="5974456" y="4439670"/>
                  <a:pt x="5975231" y="4440702"/>
                  <a:pt x="5975851" y="4441838"/>
                </a:cubicBezTo>
                <a:lnTo>
                  <a:pt x="5976625" y="4443284"/>
                </a:lnTo>
                <a:lnTo>
                  <a:pt x="5989946" y="4438121"/>
                </a:lnTo>
                <a:cubicBezTo>
                  <a:pt x="5989946" y="4439567"/>
                  <a:pt x="5990566" y="4440702"/>
                  <a:pt x="5991185" y="4442045"/>
                </a:cubicBezTo>
                <a:lnTo>
                  <a:pt x="5991650" y="4446691"/>
                </a:lnTo>
                <a:lnTo>
                  <a:pt x="5995832" y="4449686"/>
                </a:lnTo>
                <a:cubicBezTo>
                  <a:pt x="5996917" y="4451441"/>
                  <a:pt x="5997226" y="4453712"/>
                  <a:pt x="5996762" y="4456707"/>
                </a:cubicBezTo>
                <a:cubicBezTo>
                  <a:pt x="5994593" y="4457533"/>
                  <a:pt x="5992734" y="4458153"/>
                  <a:pt x="5991031" y="4458359"/>
                </a:cubicBezTo>
                <a:cubicBezTo>
                  <a:pt x="5989327" y="4458566"/>
                  <a:pt x="5987932" y="4458463"/>
                  <a:pt x="5986693" y="4458153"/>
                </a:cubicBezTo>
                <a:cubicBezTo>
                  <a:pt x="5984060" y="4457430"/>
                  <a:pt x="5982356" y="4455674"/>
                  <a:pt x="5980807" y="4453197"/>
                </a:cubicBezTo>
                <a:lnTo>
                  <a:pt x="5983596" y="4450202"/>
                </a:lnTo>
                <a:lnTo>
                  <a:pt x="5970429" y="4454745"/>
                </a:lnTo>
                <a:lnTo>
                  <a:pt x="5959432" y="4458359"/>
                </a:lnTo>
                <a:lnTo>
                  <a:pt x="5960826" y="4461354"/>
                </a:lnTo>
                <a:cubicBezTo>
                  <a:pt x="5962065" y="4465380"/>
                  <a:pt x="5962530" y="4469408"/>
                  <a:pt x="5962220" y="4473331"/>
                </a:cubicBezTo>
                <a:cubicBezTo>
                  <a:pt x="5961910" y="4475913"/>
                  <a:pt x="5961445" y="4478598"/>
                  <a:pt x="5960516" y="4481075"/>
                </a:cubicBezTo>
                <a:cubicBezTo>
                  <a:pt x="5954010" y="4480559"/>
                  <a:pt x="5953700" y="4472608"/>
                  <a:pt x="5952152" y="4467136"/>
                </a:cubicBezTo>
                <a:cubicBezTo>
                  <a:pt x="5947350" y="4471163"/>
                  <a:pt x="5941154" y="4478494"/>
                  <a:pt x="5936972" y="4473744"/>
                </a:cubicBezTo>
                <a:cubicBezTo>
                  <a:pt x="5937281" y="4466723"/>
                  <a:pt x="5945801" y="4464864"/>
                  <a:pt x="5950912" y="4459082"/>
                </a:cubicBezTo>
                <a:cubicBezTo>
                  <a:pt x="5951997" y="4456604"/>
                  <a:pt x="5950603" y="4454332"/>
                  <a:pt x="5952307" y="4451647"/>
                </a:cubicBezTo>
                <a:lnTo>
                  <a:pt x="5953391" y="4450615"/>
                </a:lnTo>
                <a:lnTo>
                  <a:pt x="5953236" y="4446381"/>
                </a:lnTo>
                <a:cubicBezTo>
                  <a:pt x="5954785" y="4445659"/>
                  <a:pt x="5957418" y="4448343"/>
                  <a:pt x="5959122" y="4449273"/>
                </a:cubicBezTo>
                <a:cubicBezTo>
                  <a:pt x="5958347" y="4450099"/>
                  <a:pt x="5957573" y="4450925"/>
                  <a:pt x="5958347" y="4450925"/>
                </a:cubicBezTo>
                <a:lnTo>
                  <a:pt x="5956489" y="4451957"/>
                </a:lnTo>
                <a:lnTo>
                  <a:pt x="5957418" y="4453816"/>
                </a:lnTo>
                <a:lnTo>
                  <a:pt x="5958192" y="4452887"/>
                </a:lnTo>
                <a:cubicBezTo>
                  <a:pt x="5960361" y="4451131"/>
                  <a:pt x="5962685" y="4449686"/>
                  <a:pt x="5965318" y="4448343"/>
                </a:cubicBezTo>
                <a:lnTo>
                  <a:pt x="5969655" y="4446278"/>
                </a:lnTo>
                <a:lnTo>
                  <a:pt x="5967796" y="4445349"/>
                </a:lnTo>
                <a:cubicBezTo>
                  <a:pt x="5964233" y="4442768"/>
                  <a:pt x="5964233" y="4439876"/>
                  <a:pt x="5963459" y="4439670"/>
                </a:cubicBezTo>
                <a:cubicBezTo>
                  <a:pt x="5964543" y="4435953"/>
                  <a:pt x="5966867" y="4436572"/>
                  <a:pt x="5970584" y="4436159"/>
                </a:cubicBezTo>
                <a:close/>
                <a:moveTo>
                  <a:pt x="1462027" y="4436141"/>
                </a:moveTo>
                <a:cubicBezTo>
                  <a:pt x="1463886" y="4437380"/>
                  <a:pt x="1465280" y="4439136"/>
                  <a:pt x="1466674" y="4440994"/>
                </a:cubicBezTo>
                <a:lnTo>
                  <a:pt x="1470237" y="4446467"/>
                </a:lnTo>
                <a:lnTo>
                  <a:pt x="1465900" y="4445021"/>
                </a:lnTo>
                <a:lnTo>
                  <a:pt x="1466055" y="4445125"/>
                </a:lnTo>
                <a:cubicBezTo>
                  <a:pt x="1465745" y="4445950"/>
                  <a:pt x="1466055" y="4447086"/>
                  <a:pt x="1466055" y="4447086"/>
                </a:cubicBezTo>
                <a:cubicBezTo>
                  <a:pt x="1464971" y="4447396"/>
                  <a:pt x="1464196" y="4446983"/>
                  <a:pt x="1463576" y="4446570"/>
                </a:cubicBezTo>
                <a:lnTo>
                  <a:pt x="1463266" y="4444608"/>
                </a:lnTo>
                <a:lnTo>
                  <a:pt x="1462338" y="4444505"/>
                </a:lnTo>
                <a:lnTo>
                  <a:pt x="1459704" y="4445434"/>
                </a:lnTo>
                <a:lnTo>
                  <a:pt x="1461098" y="4447190"/>
                </a:lnTo>
                <a:cubicBezTo>
                  <a:pt x="1461717" y="4448739"/>
                  <a:pt x="1461717" y="4450494"/>
                  <a:pt x="1460788" y="4451320"/>
                </a:cubicBezTo>
                <a:lnTo>
                  <a:pt x="1460478" y="4451526"/>
                </a:lnTo>
                <a:lnTo>
                  <a:pt x="1460478" y="4452249"/>
                </a:lnTo>
                <a:lnTo>
                  <a:pt x="1460478" y="4452662"/>
                </a:lnTo>
                <a:lnTo>
                  <a:pt x="1461562" y="4453075"/>
                </a:lnTo>
                <a:lnTo>
                  <a:pt x="1464506" y="4450184"/>
                </a:lnTo>
                <a:lnTo>
                  <a:pt x="1470237" y="4446467"/>
                </a:lnTo>
                <a:lnTo>
                  <a:pt x="1471321" y="4445641"/>
                </a:lnTo>
                <a:cubicBezTo>
                  <a:pt x="1473800" y="4444092"/>
                  <a:pt x="1476123" y="4442337"/>
                  <a:pt x="1478447" y="4440168"/>
                </a:cubicBezTo>
                <a:cubicBezTo>
                  <a:pt x="1487585" y="4446777"/>
                  <a:pt x="1492232" y="4442853"/>
                  <a:pt x="1498118" y="4442130"/>
                </a:cubicBezTo>
                <a:cubicBezTo>
                  <a:pt x="1502145" y="4449255"/>
                  <a:pt x="1511439" y="4454108"/>
                  <a:pt x="1517945" y="4460613"/>
                </a:cubicBezTo>
                <a:cubicBezTo>
                  <a:pt x="1518100" y="4471558"/>
                  <a:pt x="1521198" y="4480748"/>
                  <a:pt x="1521353" y="4491693"/>
                </a:cubicBezTo>
                <a:lnTo>
                  <a:pt x="1516706" y="4496030"/>
                </a:lnTo>
                <a:lnTo>
                  <a:pt x="1516550" y="4496340"/>
                </a:lnTo>
                <a:cubicBezTo>
                  <a:pt x="1515931" y="4497269"/>
                  <a:pt x="1515002" y="4498198"/>
                  <a:pt x="1514537" y="4499024"/>
                </a:cubicBezTo>
                <a:lnTo>
                  <a:pt x="1514227" y="4498611"/>
                </a:lnTo>
                <a:lnTo>
                  <a:pt x="1509581" y="4505013"/>
                </a:lnTo>
                <a:lnTo>
                  <a:pt x="1510510" y="4506252"/>
                </a:lnTo>
                <a:cubicBezTo>
                  <a:pt x="1511439" y="4508317"/>
                  <a:pt x="1511904" y="4510176"/>
                  <a:pt x="1512059" y="4510589"/>
                </a:cubicBezTo>
                <a:cubicBezTo>
                  <a:pt x="1511284" y="4511002"/>
                  <a:pt x="1511284" y="4510899"/>
                  <a:pt x="1511284" y="4510899"/>
                </a:cubicBezTo>
                <a:cubicBezTo>
                  <a:pt x="1511129" y="4509556"/>
                  <a:pt x="1510355" y="4508524"/>
                  <a:pt x="1509271" y="4507388"/>
                </a:cubicBezTo>
                <a:lnTo>
                  <a:pt x="1508496" y="4506252"/>
                </a:lnTo>
                <a:lnTo>
                  <a:pt x="1506173" y="4508834"/>
                </a:lnTo>
                <a:lnTo>
                  <a:pt x="1508961" y="4514100"/>
                </a:lnTo>
                <a:cubicBezTo>
                  <a:pt x="1506638" y="4513687"/>
                  <a:pt x="1505089" y="4512861"/>
                  <a:pt x="1503850" y="4511931"/>
                </a:cubicBezTo>
                <a:lnTo>
                  <a:pt x="1503539" y="4511518"/>
                </a:lnTo>
                <a:lnTo>
                  <a:pt x="1503385" y="4511621"/>
                </a:lnTo>
                <a:cubicBezTo>
                  <a:pt x="1501061" y="4513377"/>
                  <a:pt x="1498428" y="4514409"/>
                  <a:pt x="1495175" y="4514409"/>
                </a:cubicBezTo>
                <a:cubicBezTo>
                  <a:pt x="1490528" y="4511105"/>
                  <a:pt x="1487121" y="4510176"/>
                  <a:pt x="1483868" y="4509866"/>
                </a:cubicBezTo>
                <a:lnTo>
                  <a:pt x="1483403" y="4509866"/>
                </a:lnTo>
                <a:lnTo>
                  <a:pt x="1483558" y="4510176"/>
                </a:lnTo>
                <a:cubicBezTo>
                  <a:pt x="1483558" y="4510279"/>
                  <a:pt x="1483403" y="4510279"/>
                  <a:pt x="1482938" y="4510382"/>
                </a:cubicBezTo>
                <a:cubicBezTo>
                  <a:pt x="1482938" y="4510382"/>
                  <a:pt x="1482938" y="4510382"/>
                  <a:pt x="1481854" y="4510692"/>
                </a:cubicBezTo>
                <a:cubicBezTo>
                  <a:pt x="1481854" y="4510692"/>
                  <a:pt x="1481699" y="4510899"/>
                  <a:pt x="1481389" y="4510692"/>
                </a:cubicBezTo>
                <a:lnTo>
                  <a:pt x="1480615" y="4509763"/>
                </a:lnTo>
                <a:lnTo>
                  <a:pt x="1479066" y="4509660"/>
                </a:lnTo>
                <a:cubicBezTo>
                  <a:pt x="1477517" y="4509660"/>
                  <a:pt x="1475968" y="4509556"/>
                  <a:pt x="1474419" y="4509040"/>
                </a:cubicBezTo>
                <a:cubicBezTo>
                  <a:pt x="1471476" y="4506355"/>
                  <a:pt x="1468688" y="4503258"/>
                  <a:pt x="1466055" y="4499850"/>
                </a:cubicBezTo>
                <a:lnTo>
                  <a:pt x="1463886" y="4496443"/>
                </a:lnTo>
                <a:lnTo>
                  <a:pt x="1461717" y="4493862"/>
                </a:lnTo>
                <a:lnTo>
                  <a:pt x="1461562" y="4493552"/>
                </a:lnTo>
                <a:lnTo>
                  <a:pt x="1455522" y="4489731"/>
                </a:lnTo>
                <a:cubicBezTo>
                  <a:pt x="1453818" y="4488079"/>
                  <a:pt x="1452424" y="4486014"/>
                  <a:pt x="1451804" y="4483536"/>
                </a:cubicBezTo>
                <a:cubicBezTo>
                  <a:pt x="1451339" y="4480438"/>
                  <a:pt x="1451804" y="4478063"/>
                  <a:pt x="1452889" y="4476102"/>
                </a:cubicBezTo>
                <a:lnTo>
                  <a:pt x="1453198" y="4475792"/>
                </a:lnTo>
                <a:lnTo>
                  <a:pt x="1452889" y="4471351"/>
                </a:lnTo>
                <a:cubicBezTo>
                  <a:pt x="1453043" y="4469390"/>
                  <a:pt x="1453508" y="4467325"/>
                  <a:pt x="1453818" y="4465982"/>
                </a:cubicBezTo>
                <a:lnTo>
                  <a:pt x="1455057" y="4467841"/>
                </a:lnTo>
                <a:lnTo>
                  <a:pt x="1455057" y="4463917"/>
                </a:lnTo>
                <a:lnTo>
                  <a:pt x="1455212" y="4463607"/>
                </a:lnTo>
                <a:lnTo>
                  <a:pt x="1453508" y="4457412"/>
                </a:lnTo>
                <a:lnTo>
                  <a:pt x="1454127" y="4455553"/>
                </a:lnTo>
                <a:lnTo>
                  <a:pt x="1452424" y="4453178"/>
                </a:lnTo>
                <a:cubicBezTo>
                  <a:pt x="1450565" y="4448635"/>
                  <a:pt x="1452269" y="4445331"/>
                  <a:pt x="1449326" y="4442234"/>
                </a:cubicBezTo>
                <a:cubicBezTo>
                  <a:pt x="1451030" y="4441614"/>
                  <a:pt x="1451030" y="4441614"/>
                  <a:pt x="1452734" y="4442749"/>
                </a:cubicBezTo>
                <a:cubicBezTo>
                  <a:pt x="1452734" y="4443576"/>
                  <a:pt x="1453508" y="4443782"/>
                  <a:pt x="1452579" y="4444505"/>
                </a:cubicBezTo>
                <a:cubicBezTo>
                  <a:pt x="1453198" y="4445021"/>
                  <a:pt x="1453818" y="4445950"/>
                  <a:pt x="1454282" y="4447086"/>
                </a:cubicBezTo>
                <a:lnTo>
                  <a:pt x="1454902" y="4448739"/>
                </a:lnTo>
                <a:lnTo>
                  <a:pt x="1455367" y="4446880"/>
                </a:lnTo>
                <a:cubicBezTo>
                  <a:pt x="1455677" y="4445847"/>
                  <a:pt x="1456141" y="4445228"/>
                  <a:pt x="1456606" y="4444815"/>
                </a:cubicBezTo>
                <a:lnTo>
                  <a:pt x="1458465" y="4444815"/>
                </a:lnTo>
                <a:lnTo>
                  <a:pt x="1458929" y="4444815"/>
                </a:lnTo>
                <a:lnTo>
                  <a:pt x="1459549" y="4440478"/>
                </a:lnTo>
                <a:lnTo>
                  <a:pt x="1460169" y="4439445"/>
                </a:lnTo>
                <a:lnTo>
                  <a:pt x="1460014" y="4438929"/>
                </a:lnTo>
                <a:cubicBezTo>
                  <a:pt x="1459859" y="4438310"/>
                  <a:pt x="1459859" y="4437793"/>
                  <a:pt x="1459859" y="4437793"/>
                </a:cubicBezTo>
                <a:cubicBezTo>
                  <a:pt x="1460943" y="4437483"/>
                  <a:pt x="1461098" y="4437483"/>
                  <a:pt x="1460633" y="4438310"/>
                </a:cubicBezTo>
                <a:lnTo>
                  <a:pt x="1460788" y="4438413"/>
                </a:lnTo>
                <a:close/>
                <a:moveTo>
                  <a:pt x="5653976" y="4435849"/>
                </a:moveTo>
                <a:cubicBezTo>
                  <a:pt x="5657849" y="4444833"/>
                  <a:pt x="5648555" y="4454642"/>
                  <a:pt x="5640036" y="4455881"/>
                </a:cubicBezTo>
                <a:cubicBezTo>
                  <a:pt x="5637092" y="4456294"/>
                  <a:pt x="5634304" y="4455778"/>
                  <a:pt x="5631981" y="4453919"/>
                </a:cubicBezTo>
                <a:cubicBezTo>
                  <a:pt x="5630742" y="4450925"/>
                  <a:pt x="5630897" y="4448034"/>
                  <a:pt x="5631981" y="4445452"/>
                </a:cubicBezTo>
                <a:cubicBezTo>
                  <a:pt x="5635389" y="4437811"/>
                  <a:pt x="5647006" y="4432855"/>
                  <a:pt x="5653976" y="4435849"/>
                </a:cubicBezTo>
                <a:close/>
                <a:moveTo>
                  <a:pt x="981384" y="4435832"/>
                </a:moveTo>
                <a:lnTo>
                  <a:pt x="978286" y="4440478"/>
                </a:lnTo>
                <a:lnTo>
                  <a:pt x="980145" y="4441924"/>
                </a:lnTo>
                <a:cubicBezTo>
                  <a:pt x="981074" y="4443989"/>
                  <a:pt x="981539" y="4446570"/>
                  <a:pt x="981229" y="4449255"/>
                </a:cubicBezTo>
                <a:lnTo>
                  <a:pt x="980919" y="4450287"/>
                </a:lnTo>
                <a:lnTo>
                  <a:pt x="991297" y="4449977"/>
                </a:lnTo>
                <a:lnTo>
                  <a:pt x="994240" y="4449668"/>
                </a:lnTo>
                <a:lnTo>
                  <a:pt x="994705" y="4448739"/>
                </a:lnTo>
                <a:cubicBezTo>
                  <a:pt x="995634" y="4447912"/>
                  <a:pt x="996564" y="4447293"/>
                  <a:pt x="997028" y="4446054"/>
                </a:cubicBezTo>
                <a:cubicBezTo>
                  <a:pt x="997648" y="4446673"/>
                  <a:pt x="998577" y="4447396"/>
                  <a:pt x="999352" y="4448532"/>
                </a:cubicBezTo>
                <a:lnTo>
                  <a:pt x="999507" y="4449048"/>
                </a:lnTo>
                <a:lnTo>
                  <a:pt x="999817" y="4449048"/>
                </a:lnTo>
                <a:lnTo>
                  <a:pt x="999662" y="4449461"/>
                </a:lnTo>
                <a:lnTo>
                  <a:pt x="999972" y="4450494"/>
                </a:lnTo>
                <a:cubicBezTo>
                  <a:pt x="1000127" y="4451320"/>
                  <a:pt x="1000127" y="4452249"/>
                  <a:pt x="999817" y="4453282"/>
                </a:cubicBezTo>
                <a:cubicBezTo>
                  <a:pt x="999352" y="4454521"/>
                  <a:pt x="999352" y="4454521"/>
                  <a:pt x="998577" y="4454934"/>
                </a:cubicBezTo>
                <a:cubicBezTo>
                  <a:pt x="997958" y="4455657"/>
                  <a:pt x="997494" y="4456379"/>
                  <a:pt x="997028" y="4456896"/>
                </a:cubicBezTo>
                <a:lnTo>
                  <a:pt x="996564" y="4456999"/>
                </a:lnTo>
                <a:lnTo>
                  <a:pt x="996255" y="4458444"/>
                </a:lnTo>
                <a:cubicBezTo>
                  <a:pt x="995790" y="4461542"/>
                  <a:pt x="996099" y="4464743"/>
                  <a:pt x="996255" y="4467841"/>
                </a:cubicBezTo>
                <a:lnTo>
                  <a:pt x="997958" y="4467944"/>
                </a:lnTo>
                <a:cubicBezTo>
                  <a:pt x="999352" y="4468667"/>
                  <a:pt x="1000591" y="4469596"/>
                  <a:pt x="1002140" y="4469803"/>
                </a:cubicBezTo>
                <a:cubicBezTo>
                  <a:pt x="1001521" y="4473623"/>
                  <a:pt x="999352" y="4475585"/>
                  <a:pt x="997028" y="4476102"/>
                </a:cubicBezTo>
                <a:lnTo>
                  <a:pt x="995170" y="4475895"/>
                </a:lnTo>
                <a:lnTo>
                  <a:pt x="994550" y="4477547"/>
                </a:lnTo>
                <a:cubicBezTo>
                  <a:pt x="993931" y="4478786"/>
                  <a:pt x="993156" y="4480025"/>
                  <a:pt x="992072" y="4481161"/>
                </a:cubicBezTo>
                <a:cubicBezTo>
                  <a:pt x="984017" y="4489938"/>
                  <a:pt x="973329" y="4488182"/>
                  <a:pt x="966979" y="4482194"/>
                </a:cubicBezTo>
                <a:lnTo>
                  <a:pt x="966514" y="4481677"/>
                </a:lnTo>
                <a:lnTo>
                  <a:pt x="965275" y="4483846"/>
                </a:lnTo>
                <a:lnTo>
                  <a:pt x="966979" y="4483949"/>
                </a:lnTo>
                <a:cubicBezTo>
                  <a:pt x="968372" y="4484878"/>
                  <a:pt x="968992" y="4486530"/>
                  <a:pt x="968218" y="4489215"/>
                </a:cubicBezTo>
                <a:cubicBezTo>
                  <a:pt x="966979" y="4489835"/>
                  <a:pt x="965120" y="4489835"/>
                  <a:pt x="963416" y="4489421"/>
                </a:cubicBezTo>
                <a:lnTo>
                  <a:pt x="961712" y="4488182"/>
                </a:lnTo>
                <a:lnTo>
                  <a:pt x="956911" y="4490867"/>
                </a:lnTo>
                <a:cubicBezTo>
                  <a:pt x="955516" y="4491177"/>
                  <a:pt x="954277" y="4491280"/>
                  <a:pt x="952728" y="4491280"/>
                </a:cubicBezTo>
                <a:cubicBezTo>
                  <a:pt x="951179" y="4491280"/>
                  <a:pt x="949630" y="4491074"/>
                  <a:pt x="947927" y="4490764"/>
                </a:cubicBezTo>
                <a:cubicBezTo>
                  <a:pt x="943125" y="4489421"/>
                  <a:pt x="939562" y="4486220"/>
                  <a:pt x="935999" y="4482503"/>
                </a:cubicBezTo>
                <a:lnTo>
                  <a:pt x="933521" y="4479922"/>
                </a:lnTo>
                <a:lnTo>
                  <a:pt x="932282" y="4479612"/>
                </a:lnTo>
                <a:cubicBezTo>
                  <a:pt x="931043" y="4479302"/>
                  <a:pt x="929959" y="4478889"/>
                  <a:pt x="929339" y="4478270"/>
                </a:cubicBezTo>
                <a:cubicBezTo>
                  <a:pt x="928874" y="4477857"/>
                  <a:pt x="928719" y="4477340"/>
                  <a:pt x="928874" y="4476824"/>
                </a:cubicBezTo>
                <a:lnTo>
                  <a:pt x="931043" y="4477134"/>
                </a:lnTo>
                <a:lnTo>
                  <a:pt x="930269" y="4476514"/>
                </a:lnTo>
                <a:cubicBezTo>
                  <a:pt x="928255" y="4474449"/>
                  <a:pt x="926086" y="4472281"/>
                  <a:pt x="923453" y="4470422"/>
                </a:cubicBezTo>
                <a:cubicBezTo>
                  <a:pt x="928255" y="4470009"/>
                  <a:pt x="931198" y="4467428"/>
                  <a:pt x="933831" y="4464434"/>
                </a:cubicBezTo>
                <a:lnTo>
                  <a:pt x="936464" y="4461026"/>
                </a:lnTo>
                <a:lnTo>
                  <a:pt x="935844" y="4460303"/>
                </a:lnTo>
                <a:cubicBezTo>
                  <a:pt x="935690" y="4460097"/>
                  <a:pt x="935690" y="4460097"/>
                  <a:pt x="935690" y="4460510"/>
                </a:cubicBezTo>
                <a:cubicBezTo>
                  <a:pt x="934140" y="4458548"/>
                  <a:pt x="931662" y="4456483"/>
                  <a:pt x="932592" y="4454831"/>
                </a:cubicBezTo>
                <a:cubicBezTo>
                  <a:pt x="934915" y="4452662"/>
                  <a:pt x="938168" y="4453592"/>
                  <a:pt x="941266" y="4455244"/>
                </a:cubicBezTo>
                <a:lnTo>
                  <a:pt x="941576" y="4455450"/>
                </a:lnTo>
                <a:lnTo>
                  <a:pt x="944519" y="4453901"/>
                </a:lnTo>
                <a:cubicBezTo>
                  <a:pt x="945758" y="4453488"/>
                  <a:pt x="946997" y="4453282"/>
                  <a:pt x="948546" y="4453385"/>
                </a:cubicBezTo>
                <a:lnTo>
                  <a:pt x="954587" y="4454831"/>
                </a:lnTo>
                <a:lnTo>
                  <a:pt x="954897" y="4452869"/>
                </a:lnTo>
                <a:cubicBezTo>
                  <a:pt x="957840" y="4453282"/>
                  <a:pt x="958615" y="4454831"/>
                  <a:pt x="958770" y="4456793"/>
                </a:cubicBezTo>
                <a:lnTo>
                  <a:pt x="958615" y="4456999"/>
                </a:lnTo>
                <a:lnTo>
                  <a:pt x="962022" y="4459787"/>
                </a:lnTo>
                <a:lnTo>
                  <a:pt x="963571" y="4453592"/>
                </a:lnTo>
                <a:cubicBezTo>
                  <a:pt x="964345" y="4451423"/>
                  <a:pt x="965275" y="4449255"/>
                  <a:pt x="966205" y="4447396"/>
                </a:cubicBezTo>
                <a:cubicBezTo>
                  <a:pt x="967908" y="4443472"/>
                  <a:pt x="969922" y="4439445"/>
                  <a:pt x="972555" y="4438103"/>
                </a:cubicBezTo>
                <a:lnTo>
                  <a:pt x="972865" y="4438103"/>
                </a:lnTo>
                <a:lnTo>
                  <a:pt x="974259" y="4436038"/>
                </a:lnTo>
                <a:cubicBezTo>
                  <a:pt x="976427" y="4433560"/>
                  <a:pt x="979061" y="4432321"/>
                  <a:pt x="981384" y="4435832"/>
                </a:cubicBezTo>
                <a:close/>
                <a:moveTo>
                  <a:pt x="1034204" y="4435728"/>
                </a:moveTo>
                <a:cubicBezTo>
                  <a:pt x="1041794" y="4435212"/>
                  <a:pt x="1050158" y="4436554"/>
                  <a:pt x="1058832" y="4443782"/>
                </a:cubicBezTo>
                <a:cubicBezTo>
                  <a:pt x="1059451" y="4449668"/>
                  <a:pt x="1055425" y="4451630"/>
                  <a:pt x="1050468" y="4451216"/>
                </a:cubicBezTo>
                <a:cubicBezTo>
                  <a:pt x="1044427" y="4450701"/>
                  <a:pt x="1036837" y="4446467"/>
                  <a:pt x="1034513" y="4441201"/>
                </a:cubicBezTo>
                <a:lnTo>
                  <a:pt x="1034359" y="4437897"/>
                </a:lnTo>
                <a:lnTo>
                  <a:pt x="1033894" y="4437897"/>
                </a:lnTo>
                <a:cubicBezTo>
                  <a:pt x="1033739" y="4437793"/>
                  <a:pt x="1033584" y="4437587"/>
                  <a:pt x="1032964" y="4437380"/>
                </a:cubicBezTo>
                <a:cubicBezTo>
                  <a:pt x="1031880" y="4437174"/>
                  <a:pt x="1027388" y="4438000"/>
                  <a:pt x="1027078" y="4439136"/>
                </a:cubicBezTo>
                <a:cubicBezTo>
                  <a:pt x="1026769" y="4438413"/>
                  <a:pt x="1025684" y="4438103"/>
                  <a:pt x="1025684" y="4438103"/>
                </a:cubicBezTo>
                <a:cubicBezTo>
                  <a:pt x="1025994" y="4436967"/>
                  <a:pt x="1026614" y="4436451"/>
                  <a:pt x="1027388" y="4436038"/>
                </a:cubicBezTo>
                <a:cubicBezTo>
                  <a:pt x="1028473" y="4436244"/>
                  <a:pt x="1028937" y="4437071"/>
                  <a:pt x="1030022" y="4437277"/>
                </a:cubicBezTo>
                <a:cubicBezTo>
                  <a:pt x="1030796" y="4436864"/>
                  <a:pt x="1032190" y="4435935"/>
                  <a:pt x="1033429" y="4436244"/>
                </a:cubicBezTo>
                <a:lnTo>
                  <a:pt x="1034359" y="4436554"/>
                </a:lnTo>
                <a:close/>
                <a:moveTo>
                  <a:pt x="1197619" y="4435418"/>
                </a:moveTo>
                <a:cubicBezTo>
                  <a:pt x="1200717" y="4441201"/>
                  <a:pt x="1193902" y="4447396"/>
                  <a:pt x="1192198" y="4454727"/>
                </a:cubicBezTo>
                <a:cubicBezTo>
                  <a:pt x="1192663" y="4458238"/>
                  <a:pt x="1196691" y="4459064"/>
                  <a:pt x="1193437" y="4465260"/>
                </a:cubicBezTo>
                <a:cubicBezTo>
                  <a:pt x="1188945" y="4463298"/>
                  <a:pt x="1185228" y="4461026"/>
                  <a:pt x="1182130" y="4458341"/>
                </a:cubicBezTo>
                <a:lnTo>
                  <a:pt x="1179806" y="4455347"/>
                </a:lnTo>
                <a:lnTo>
                  <a:pt x="1179651" y="4455450"/>
                </a:lnTo>
                <a:cubicBezTo>
                  <a:pt x="1178722" y="4456586"/>
                  <a:pt x="1177638" y="4457618"/>
                  <a:pt x="1175934" y="4458548"/>
                </a:cubicBezTo>
                <a:cubicBezTo>
                  <a:pt x="1175624" y="4457412"/>
                  <a:pt x="1174540" y="4457825"/>
                  <a:pt x="1173301" y="4458238"/>
                </a:cubicBezTo>
                <a:cubicBezTo>
                  <a:pt x="1171907" y="4457206"/>
                  <a:pt x="1170977" y="4455553"/>
                  <a:pt x="1170667" y="4453592"/>
                </a:cubicBezTo>
                <a:lnTo>
                  <a:pt x="1170822" y="4451836"/>
                </a:lnTo>
                <a:lnTo>
                  <a:pt x="1170667" y="4451836"/>
                </a:lnTo>
                <a:lnTo>
                  <a:pt x="1170977" y="4451526"/>
                </a:lnTo>
                <a:lnTo>
                  <a:pt x="1170977" y="4450804"/>
                </a:lnTo>
                <a:lnTo>
                  <a:pt x="1170203" y="4451113"/>
                </a:lnTo>
                <a:cubicBezTo>
                  <a:pt x="1168189" y="4451423"/>
                  <a:pt x="1166020" y="4451320"/>
                  <a:pt x="1164781" y="4450494"/>
                </a:cubicBezTo>
                <a:cubicBezTo>
                  <a:pt x="1165556" y="4448842"/>
                  <a:pt x="1166330" y="4447190"/>
                  <a:pt x="1167105" y="4445538"/>
                </a:cubicBezTo>
                <a:lnTo>
                  <a:pt x="1167724" y="4445641"/>
                </a:lnTo>
                <a:lnTo>
                  <a:pt x="1167879" y="4445538"/>
                </a:lnTo>
                <a:cubicBezTo>
                  <a:pt x="1168344" y="4445021"/>
                  <a:pt x="1168498" y="4444299"/>
                  <a:pt x="1168344" y="4443369"/>
                </a:cubicBezTo>
                <a:cubicBezTo>
                  <a:pt x="1169583" y="4443679"/>
                  <a:pt x="1170667" y="4443989"/>
                  <a:pt x="1171597" y="4444505"/>
                </a:cubicBezTo>
                <a:lnTo>
                  <a:pt x="1171907" y="4445434"/>
                </a:lnTo>
                <a:lnTo>
                  <a:pt x="1172371" y="4445331"/>
                </a:lnTo>
                <a:lnTo>
                  <a:pt x="1173146" y="4443885"/>
                </a:lnTo>
                <a:lnTo>
                  <a:pt x="1172526" y="4442234"/>
                </a:lnTo>
                <a:lnTo>
                  <a:pt x="1175624" y="4441614"/>
                </a:lnTo>
                <a:lnTo>
                  <a:pt x="1178257" y="4440684"/>
                </a:lnTo>
                <a:cubicBezTo>
                  <a:pt x="1179031" y="4440891"/>
                  <a:pt x="1179961" y="4441304"/>
                  <a:pt x="1180890" y="4442234"/>
                </a:cubicBezTo>
                <a:lnTo>
                  <a:pt x="1180890" y="4443266"/>
                </a:lnTo>
                <a:lnTo>
                  <a:pt x="1187242" y="4448945"/>
                </a:lnTo>
                <a:cubicBezTo>
                  <a:pt x="1189565" y="4443059"/>
                  <a:pt x="1191423" y="4433766"/>
                  <a:pt x="1197619" y="4435418"/>
                </a:cubicBezTo>
                <a:close/>
                <a:moveTo>
                  <a:pt x="969302" y="4434386"/>
                </a:moveTo>
                <a:lnTo>
                  <a:pt x="968992" y="4434696"/>
                </a:lnTo>
                <a:lnTo>
                  <a:pt x="968992" y="4435418"/>
                </a:lnTo>
                <a:close/>
                <a:moveTo>
                  <a:pt x="5460201" y="4434094"/>
                </a:moveTo>
                <a:cubicBezTo>
                  <a:pt x="5453540" y="4442045"/>
                  <a:pt x="5448893" y="4437501"/>
                  <a:pt x="5445176" y="4441838"/>
                </a:cubicBezTo>
                <a:cubicBezTo>
                  <a:pt x="5444556" y="4440083"/>
                  <a:pt x="5444556" y="4440083"/>
                  <a:pt x="5445486" y="4438328"/>
                </a:cubicBezTo>
                <a:cubicBezTo>
                  <a:pt x="5446415" y="4438328"/>
                  <a:pt x="5446415" y="4437398"/>
                  <a:pt x="5447189" y="4438328"/>
                </a:cubicBezTo>
                <a:cubicBezTo>
                  <a:pt x="5449203" y="4435746"/>
                  <a:pt x="5456948" y="4433165"/>
                  <a:pt x="5460201" y="4434094"/>
                </a:cubicBezTo>
                <a:close/>
                <a:moveTo>
                  <a:pt x="1511749" y="4433766"/>
                </a:moveTo>
                <a:cubicBezTo>
                  <a:pt x="1511749" y="4433766"/>
                  <a:pt x="1511749" y="4433766"/>
                  <a:pt x="1512214" y="4434489"/>
                </a:cubicBezTo>
                <a:lnTo>
                  <a:pt x="1511904" y="4435212"/>
                </a:lnTo>
                <a:lnTo>
                  <a:pt x="1512524" y="4434696"/>
                </a:lnTo>
                <a:close/>
                <a:moveTo>
                  <a:pt x="5946110" y="4433578"/>
                </a:moveTo>
                <a:cubicBezTo>
                  <a:pt x="5947660" y="4434817"/>
                  <a:pt x="5945026" y="4439670"/>
                  <a:pt x="5942858" y="4438431"/>
                </a:cubicBezTo>
                <a:cubicBezTo>
                  <a:pt x="5942083" y="4438121"/>
                  <a:pt x="5941463" y="4436985"/>
                  <a:pt x="5940999" y="4434920"/>
                </a:cubicBezTo>
                <a:cubicBezTo>
                  <a:pt x="5943787" y="4433165"/>
                  <a:pt x="5945336" y="4433062"/>
                  <a:pt x="5946110" y="4433578"/>
                </a:cubicBezTo>
                <a:close/>
                <a:moveTo>
                  <a:pt x="1135197" y="4433560"/>
                </a:moveTo>
                <a:cubicBezTo>
                  <a:pt x="1135351" y="4440581"/>
                  <a:pt x="1133183" y="4448635"/>
                  <a:pt x="1132563" y="4450494"/>
                </a:cubicBezTo>
                <a:cubicBezTo>
                  <a:pt x="1132253" y="4451320"/>
                  <a:pt x="1131943" y="4451836"/>
                  <a:pt x="1131324" y="4451939"/>
                </a:cubicBezTo>
                <a:cubicBezTo>
                  <a:pt x="1130859" y="4452043"/>
                  <a:pt x="1130240" y="4451939"/>
                  <a:pt x="1129310" y="4451526"/>
                </a:cubicBezTo>
                <a:cubicBezTo>
                  <a:pt x="1126367" y="4448222"/>
                  <a:pt x="1128381" y="4444608"/>
                  <a:pt x="1128535" y="4440168"/>
                </a:cubicBezTo>
                <a:cubicBezTo>
                  <a:pt x="1129310" y="4440065"/>
                  <a:pt x="1130085" y="4439136"/>
                  <a:pt x="1129930" y="4438310"/>
                </a:cubicBezTo>
                <a:cubicBezTo>
                  <a:pt x="1130704" y="4437380"/>
                  <a:pt x="1131324" y="4436451"/>
                  <a:pt x="1130549" y="4436451"/>
                </a:cubicBezTo>
                <a:cubicBezTo>
                  <a:pt x="1132718" y="4433663"/>
                  <a:pt x="1132563" y="4432837"/>
                  <a:pt x="1135197" y="4433560"/>
                </a:cubicBezTo>
                <a:close/>
                <a:moveTo>
                  <a:pt x="1698554" y="4432837"/>
                </a:moveTo>
                <a:lnTo>
                  <a:pt x="1701187" y="4434696"/>
                </a:lnTo>
                <a:lnTo>
                  <a:pt x="1701187" y="4434799"/>
                </a:lnTo>
                <a:lnTo>
                  <a:pt x="1702426" y="4437483"/>
                </a:lnTo>
                <a:cubicBezTo>
                  <a:pt x="1702736" y="4438826"/>
                  <a:pt x="1702272" y="4440168"/>
                  <a:pt x="1701032" y="4441407"/>
                </a:cubicBezTo>
                <a:lnTo>
                  <a:pt x="1700103" y="4441304"/>
                </a:lnTo>
                <a:lnTo>
                  <a:pt x="1700103" y="4443782"/>
                </a:lnTo>
                <a:cubicBezTo>
                  <a:pt x="1699948" y="4446260"/>
                  <a:pt x="1699638" y="4448739"/>
                  <a:pt x="1698554" y="4450391"/>
                </a:cubicBezTo>
                <a:cubicBezTo>
                  <a:pt x="1698399" y="4449565"/>
                  <a:pt x="1698554" y="4446673"/>
                  <a:pt x="1698864" y="4443782"/>
                </a:cubicBezTo>
                <a:lnTo>
                  <a:pt x="1699174" y="4441304"/>
                </a:lnTo>
                <a:lnTo>
                  <a:pt x="1697934" y="4441201"/>
                </a:lnTo>
                <a:cubicBezTo>
                  <a:pt x="1695611" y="4440065"/>
                  <a:pt x="1694991" y="4436348"/>
                  <a:pt x="1692358" y="4433457"/>
                </a:cubicBezTo>
                <a:cubicBezTo>
                  <a:pt x="1694063" y="4431908"/>
                  <a:pt x="1696540" y="4431908"/>
                  <a:pt x="1698554" y="4432837"/>
                </a:cubicBezTo>
                <a:close/>
                <a:moveTo>
                  <a:pt x="1656577" y="4431908"/>
                </a:moveTo>
                <a:cubicBezTo>
                  <a:pt x="1657662" y="4432217"/>
                  <a:pt x="1657352" y="4435418"/>
                  <a:pt x="1657662" y="4436244"/>
                </a:cubicBezTo>
                <a:cubicBezTo>
                  <a:pt x="1657042" y="4436658"/>
                  <a:pt x="1655803" y="4436348"/>
                  <a:pt x="1655028" y="4436864"/>
                </a:cubicBezTo>
                <a:cubicBezTo>
                  <a:pt x="1654719" y="4436141"/>
                  <a:pt x="1653944" y="4434592"/>
                  <a:pt x="1654253" y="4433353"/>
                </a:cubicBezTo>
                <a:cubicBezTo>
                  <a:pt x="1653944" y="4432631"/>
                  <a:pt x="1656577" y="4431908"/>
                  <a:pt x="1656577" y="4431908"/>
                </a:cubicBezTo>
                <a:close/>
                <a:moveTo>
                  <a:pt x="5757137" y="4431822"/>
                </a:moveTo>
                <a:cubicBezTo>
                  <a:pt x="5758841" y="4433681"/>
                  <a:pt x="5760545" y="4435436"/>
                  <a:pt x="5762249" y="4437295"/>
                </a:cubicBezTo>
                <a:cubicBezTo>
                  <a:pt x="5760700" y="4438121"/>
                  <a:pt x="5759925" y="4439876"/>
                  <a:pt x="5759151" y="4440702"/>
                </a:cubicBezTo>
                <a:cubicBezTo>
                  <a:pt x="5756672" y="4440599"/>
                  <a:pt x="5754969" y="4439670"/>
                  <a:pt x="5753265" y="4436882"/>
                </a:cubicBezTo>
                <a:cubicBezTo>
                  <a:pt x="5754659" y="4433474"/>
                  <a:pt x="5753884" y="4434301"/>
                  <a:pt x="5757137" y="4431822"/>
                </a:cubicBezTo>
                <a:close/>
                <a:moveTo>
                  <a:pt x="1168498" y="4431495"/>
                </a:moveTo>
                <a:cubicBezTo>
                  <a:pt x="1169893" y="4432217"/>
                  <a:pt x="1171132" y="4433560"/>
                  <a:pt x="1171597" y="4435625"/>
                </a:cubicBezTo>
                <a:cubicBezTo>
                  <a:pt x="1170667" y="4437380"/>
                  <a:pt x="1166950" y="4439445"/>
                  <a:pt x="1164317" y="4439858"/>
                </a:cubicBezTo>
                <a:cubicBezTo>
                  <a:pt x="1163387" y="4440065"/>
                  <a:pt x="1162613" y="4440065"/>
                  <a:pt x="1161993" y="4439755"/>
                </a:cubicBezTo>
                <a:cubicBezTo>
                  <a:pt x="1158121" y="4432527"/>
                  <a:pt x="1164317" y="4429223"/>
                  <a:pt x="1168498" y="4431495"/>
                </a:cubicBezTo>
                <a:close/>
                <a:moveTo>
                  <a:pt x="1204900" y="4431391"/>
                </a:moveTo>
                <a:cubicBezTo>
                  <a:pt x="1205674" y="4431495"/>
                  <a:pt x="1207377" y="4430978"/>
                  <a:pt x="1208152" y="4431908"/>
                </a:cubicBezTo>
                <a:cubicBezTo>
                  <a:pt x="1209081" y="4432940"/>
                  <a:pt x="1209081" y="4432940"/>
                  <a:pt x="1208927" y="4434696"/>
                </a:cubicBezTo>
                <a:cubicBezTo>
                  <a:pt x="1206448" y="4433353"/>
                  <a:pt x="1206448" y="4433353"/>
                  <a:pt x="1204900" y="4431391"/>
                </a:cubicBezTo>
                <a:close/>
                <a:moveTo>
                  <a:pt x="5820490" y="4430996"/>
                </a:moveTo>
                <a:cubicBezTo>
                  <a:pt x="5821574" y="4430686"/>
                  <a:pt x="5822039" y="4429861"/>
                  <a:pt x="5822194" y="4430996"/>
                </a:cubicBezTo>
                <a:cubicBezTo>
                  <a:pt x="5822503" y="4432235"/>
                  <a:pt x="5822503" y="4432235"/>
                  <a:pt x="5821109" y="4434404"/>
                </a:cubicBezTo>
                <a:cubicBezTo>
                  <a:pt x="5820799" y="4433268"/>
                  <a:pt x="5820799" y="4433268"/>
                  <a:pt x="5819715" y="4433578"/>
                </a:cubicBezTo>
                <a:cubicBezTo>
                  <a:pt x="5819715" y="4433578"/>
                  <a:pt x="5819715" y="4433578"/>
                  <a:pt x="5819250" y="4434301"/>
                </a:cubicBezTo>
                <a:cubicBezTo>
                  <a:pt x="5818631" y="4433887"/>
                  <a:pt x="5819095" y="4433165"/>
                  <a:pt x="5818476" y="4432752"/>
                </a:cubicBezTo>
                <a:cubicBezTo>
                  <a:pt x="5818476" y="4432752"/>
                  <a:pt x="5818941" y="4432029"/>
                  <a:pt x="5818941" y="4432029"/>
                </a:cubicBezTo>
                <a:cubicBezTo>
                  <a:pt x="5818631" y="4431822"/>
                  <a:pt x="5818631" y="4431719"/>
                  <a:pt x="5818786" y="4431719"/>
                </a:cubicBezTo>
                <a:cubicBezTo>
                  <a:pt x="5819095" y="4431616"/>
                  <a:pt x="5819715" y="4431512"/>
                  <a:pt x="5820490" y="4430996"/>
                </a:cubicBezTo>
                <a:close/>
                <a:moveTo>
                  <a:pt x="1337646" y="4430978"/>
                </a:moveTo>
                <a:cubicBezTo>
                  <a:pt x="1339195" y="4429636"/>
                  <a:pt x="1347559" y="4432527"/>
                  <a:pt x="1344771" y="4435935"/>
                </a:cubicBezTo>
                <a:cubicBezTo>
                  <a:pt x="1344151" y="4436451"/>
                  <a:pt x="1343532" y="4436554"/>
                  <a:pt x="1342912" y="4436554"/>
                </a:cubicBezTo>
                <a:cubicBezTo>
                  <a:pt x="1342292" y="4436554"/>
                  <a:pt x="1341673" y="4436348"/>
                  <a:pt x="1341053" y="4436038"/>
                </a:cubicBezTo>
                <a:cubicBezTo>
                  <a:pt x="1339814" y="4435315"/>
                  <a:pt x="1338730" y="4434076"/>
                  <a:pt x="1338110" y="4432940"/>
                </a:cubicBezTo>
                <a:cubicBezTo>
                  <a:pt x="1337800" y="4432114"/>
                  <a:pt x="1337646" y="4431495"/>
                  <a:pt x="1337646" y="4430978"/>
                </a:cubicBezTo>
                <a:close/>
                <a:moveTo>
                  <a:pt x="1202421" y="4430875"/>
                </a:moveTo>
                <a:cubicBezTo>
                  <a:pt x="1202421" y="4430152"/>
                  <a:pt x="1203350" y="4430256"/>
                  <a:pt x="1204280" y="4431185"/>
                </a:cubicBezTo>
                <a:cubicBezTo>
                  <a:pt x="1204280" y="4431185"/>
                  <a:pt x="1204280" y="4431908"/>
                  <a:pt x="1204280" y="4431908"/>
                </a:cubicBezTo>
                <a:cubicBezTo>
                  <a:pt x="1203350" y="4431805"/>
                  <a:pt x="1202421" y="4431701"/>
                  <a:pt x="1202421" y="4430875"/>
                </a:cubicBezTo>
                <a:close/>
                <a:moveTo>
                  <a:pt x="1459549" y="4430566"/>
                </a:moveTo>
                <a:cubicBezTo>
                  <a:pt x="1460788" y="4430669"/>
                  <a:pt x="1461872" y="4431391"/>
                  <a:pt x="1462492" y="4432940"/>
                </a:cubicBezTo>
                <a:cubicBezTo>
                  <a:pt x="1462182" y="4434386"/>
                  <a:pt x="1461562" y="4435315"/>
                  <a:pt x="1460943" y="4435935"/>
                </a:cubicBezTo>
                <a:lnTo>
                  <a:pt x="1458929" y="4437071"/>
                </a:lnTo>
                <a:lnTo>
                  <a:pt x="1458465" y="4437380"/>
                </a:lnTo>
                <a:cubicBezTo>
                  <a:pt x="1456451" y="4438000"/>
                  <a:pt x="1453972" y="4438206"/>
                  <a:pt x="1451495" y="4439445"/>
                </a:cubicBezTo>
                <a:cubicBezTo>
                  <a:pt x="1450255" y="4435109"/>
                  <a:pt x="1455677" y="4430152"/>
                  <a:pt x="1459549" y="4430566"/>
                </a:cubicBezTo>
                <a:close/>
                <a:moveTo>
                  <a:pt x="1700103" y="4430256"/>
                </a:moveTo>
                <a:cubicBezTo>
                  <a:pt x="1700103" y="4430256"/>
                  <a:pt x="1700877" y="4430359"/>
                  <a:pt x="1700877" y="4430359"/>
                </a:cubicBezTo>
                <a:cubicBezTo>
                  <a:pt x="1701032" y="4431288"/>
                  <a:pt x="1701032" y="4432217"/>
                  <a:pt x="1700258" y="4432217"/>
                </a:cubicBezTo>
                <a:cubicBezTo>
                  <a:pt x="1699484" y="4432217"/>
                  <a:pt x="1699484" y="4431185"/>
                  <a:pt x="1700103" y="4430256"/>
                </a:cubicBezTo>
                <a:close/>
                <a:moveTo>
                  <a:pt x="1804813" y="4430152"/>
                </a:moveTo>
                <a:cubicBezTo>
                  <a:pt x="1806671" y="4429739"/>
                  <a:pt x="1808995" y="4430256"/>
                  <a:pt x="1811783" y="4432631"/>
                </a:cubicBezTo>
                <a:cubicBezTo>
                  <a:pt x="1812093" y="4436967"/>
                  <a:pt x="1810234" y="4438619"/>
                  <a:pt x="1809305" y="4441510"/>
                </a:cubicBezTo>
                <a:cubicBezTo>
                  <a:pt x="1800940" y="4442027"/>
                  <a:pt x="1799236" y="4436141"/>
                  <a:pt x="1801405" y="4432631"/>
                </a:cubicBezTo>
                <a:cubicBezTo>
                  <a:pt x="1802179" y="4431391"/>
                  <a:pt x="1803264" y="4430462"/>
                  <a:pt x="1804813" y="4430152"/>
                </a:cubicBezTo>
                <a:close/>
                <a:moveTo>
                  <a:pt x="5467326" y="4430067"/>
                </a:moveTo>
                <a:cubicBezTo>
                  <a:pt x="5466397" y="4430996"/>
                  <a:pt x="5464538" y="4431822"/>
                  <a:pt x="5463609" y="4432648"/>
                </a:cubicBezTo>
                <a:cubicBezTo>
                  <a:pt x="5463609" y="4432648"/>
                  <a:pt x="5463609" y="4432648"/>
                  <a:pt x="5462834" y="4431719"/>
                </a:cubicBezTo>
                <a:cubicBezTo>
                  <a:pt x="5464538" y="4431822"/>
                  <a:pt x="5465777" y="4428311"/>
                  <a:pt x="5467326" y="4430067"/>
                </a:cubicBezTo>
                <a:close/>
                <a:moveTo>
                  <a:pt x="5454237" y="4429757"/>
                </a:moveTo>
                <a:cubicBezTo>
                  <a:pt x="5456561" y="4429706"/>
                  <a:pt x="5458419" y="4429964"/>
                  <a:pt x="5458807" y="4429964"/>
                </a:cubicBezTo>
                <a:cubicBezTo>
                  <a:pt x="5458807" y="4430790"/>
                  <a:pt x="5458807" y="4430790"/>
                  <a:pt x="5458807" y="4430790"/>
                </a:cubicBezTo>
                <a:cubicBezTo>
                  <a:pt x="5456329" y="4430067"/>
                  <a:pt x="5453076" y="4432235"/>
                  <a:pt x="5449978" y="4432648"/>
                </a:cubicBezTo>
                <a:cubicBezTo>
                  <a:pt x="5448893" y="4432752"/>
                  <a:pt x="5447809" y="4432752"/>
                  <a:pt x="5446880" y="4432235"/>
                </a:cubicBezTo>
                <a:cubicBezTo>
                  <a:pt x="5446880" y="4432235"/>
                  <a:pt x="5446880" y="4432235"/>
                  <a:pt x="5447654" y="4432235"/>
                </a:cubicBezTo>
                <a:cubicBezTo>
                  <a:pt x="5447654" y="4432235"/>
                  <a:pt x="5446725" y="4432235"/>
                  <a:pt x="5446880" y="4431409"/>
                </a:cubicBezTo>
                <a:cubicBezTo>
                  <a:pt x="5449126" y="4430170"/>
                  <a:pt x="5451914" y="4429809"/>
                  <a:pt x="5454237" y="4429757"/>
                </a:cubicBezTo>
                <a:close/>
                <a:moveTo>
                  <a:pt x="665706" y="4429739"/>
                </a:moveTo>
                <a:cubicBezTo>
                  <a:pt x="666789" y="4429946"/>
                  <a:pt x="667874" y="4430152"/>
                  <a:pt x="667099" y="4430669"/>
                </a:cubicBezTo>
                <a:cubicBezTo>
                  <a:pt x="667564" y="4431391"/>
                  <a:pt x="666789" y="4431805"/>
                  <a:pt x="666480" y="4433043"/>
                </a:cubicBezTo>
                <a:cubicBezTo>
                  <a:pt x="665396" y="4434696"/>
                  <a:pt x="663227" y="4436141"/>
                  <a:pt x="661988" y="4435832"/>
                </a:cubicBezTo>
                <a:cubicBezTo>
                  <a:pt x="660904" y="4435522"/>
                  <a:pt x="660594" y="4434799"/>
                  <a:pt x="660594" y="4434799"/>
                </a:cubicBezTo>
                <a:cubicBezTo>
                  <a:pt x="660904" y="4431701"/>
                  <a:pt x="662298" y="4428810"/>
                  <a:pt x="665706" y="4429739"/>
                </a:cubicBezTo>
                <a:close/>
                <a:moveTo>
                  <a:pt x="1199169" y="4429533"/>
                </a:moveTo>
                <a:cubicBezTo>
                  <a:pt x="1199943" y="4430462"/>
                  <a:pt x="1200098" y="4429636"/>
                  <a:pt x="1199943" y="4431288"/>
                </a:cubicBezTo>
                <a:cubicBezTo>
                  <a:pt x="1199169" y="4430359"/>
                  <a:pt x="1199013" y="4430359"/>
                  <a:pt x="1198084" y="4430256"/>
                </a:cubicBezTo>
                <a:cubicBezTo>
                  <a:pt x="1198084" y="4430256"/>
                  <a:pt x="1199169" y="4429533"/>
                  <a:pt x="1199169" y="4429533"/>
                </a:cubicBezTo>
                <a:close/>
                <a:moveTo>
                  <a:pt x="5956334" y="4429447"/>
                </a:moveTo>
                <a:cubicBezTo>
                  <a:pt x="5958502" y="4429964"/>
                  <a:pt x="5958192" y="4433165"/>
                  <a:pt x="5957573" y="4433578"/>
                </a:cubicBezTo>
                <a:cubicBezTo>
                  <a:pt x="5956334" y="4433371"/>
                  <a:pt x="5955559" y="4431822"/>
                  <a:pt x="5954475" y="4431512"/>
                </a:cubicBezTo>
                <a:cubicBezTo>
                  <a:pt x="5955095" y="4431100"/>
                  <a:pt x="5955559" y="4429861"/>
                  <a:pt x="5956334" y="4429447"/>
                </a:cubicBezTo>
                <a:close/>
                <a:moveTo>
                  <a:pt x="1777396" y="4429326"/>
                </a:moveTo>
                <a:cubicBezTo>
                  <a:pt x="1785451" y="4439033"/>
                  <a:pt x="1787155" y="4452662"/>
                  <a:pt x="1779720" y="4457928"/>
                </a:cubicBezTo>
                <a:cubicBezTo>
                  <a:pt x="1778325" y="4458548"/>
                  <a:pt x="1777086" y="4458858"/>
                  <a:pt x="1776002" y="4459064"/>
                </a:cubicBezTo>
                <a:cubicBezTo>
                  <a:pt x="1769651" y="4459890"/>
                  <a:pt x="1764695" y="4454314"/>
                  <a:pt x="1763146" y="4447706"/>
                </a:cubicBezTo>
                <a:lnTo>
                  <a:pt x="1762991" y="4445847"/>
                </a:lnTo>
                <a:lnTo>
                  <a:pt x="1761752" y="4444608"/>
                </a:lnTo>
                <a:cubicBezTo>
                  <a:pt x="1761132" y="4443885"/>
                  <a:pt x="1760977" y="4443059"/>
                  <a:pt x="1761132" y="4441614"/>
                </a:cubicBezTo>
                <a:lnTo>
                  <a:pt x="1762836" y="4443163"/>
                </a:lnTo>
                <a:lnTo>
                  <a:pt x="1762836" y="4441098"/>
                </a:lnTo>
                <a:cubicBezTo>
                  <a:pt x="1763765" y="4435109"/>
                  <a:pt x="1768102" y="4429739"/>
                  <a:pt x="1777396" y="4429326"/>
                </a:cubicBezTo>
                <a:close/>
                <a:moveTo>
                  <a:pt x="726580" y="4429016"/>
                </a:moveTo>
                <a:cubicBezTo>
                  <a:pt x="733705" y="4436244"/>
                  <a:pt x="729833" y="4443369"/>
                  <a:pt x="730607" y="4445125"/>
                </a:cubicBezTo>
                <a:cubicBezTo>
                  <a:pt x="729213" y="4446260"/>
                  <a:pt x="728593" y="4446777"/>
                  <a:pt x="727664" y="4446364"/>
                </a:cubicBezTo>
                <a:cubicBezTo>
                  <a:pt x="726734" y="4446054"/>
                  <a:pt x="725650" y="4444815"/>
                  <a:pt x="723327" y="4442234"/>
                </a:cubicBezTo>
                <a:cubicBezTo>
                  <a:pt x="722553" y="4441304"/>
                  <a:pt x="721933" y="4440065"/>
                  <a:pt x="721623" y="4438826"/>
                </a:cubicBezTo>
                <a:cubicBezTo>
                  <a:pt x="721468" y="4437587"/>
                  <a:pt x="721623" y="4436348"/>
                  <a:pt x="722088" y="4435212"/>
                </a:cubicBezTo>
                <a:cubicBezTo>
                  <a:pt x="721313" y="4433353"/>
                  <a:pt x="721468" y="4430772"/>
                  <a:pt x="722397" y="4429223"/>
                </a:cubicBezTo>
                <a:cubicBezTo>
                  <a:pt x="724256" y="4427777"/>
                  <a:pt x="725805" y="4428087"/>
                  <a:pt x="726580" y="4429016"/>
                </a:cubicBezTo>
                <a:close/>
                <a:moveTo>
                  <a:pt x="1010969" y="4428810"/>
                </a:moveTo>
                <a:cubicBezTo>
                  <a:pt x="1013758" y="4431185"/>
                  <a:pt x="1008801" y="4437277"/>
                  <a:pt x="1006942" y="4437277"/>
                </a:cubicBezTo>
                <a:cubicBezTo>
                  <a:pt x="1005548" y="4436141"/>
                  <a:pt x="1007407" y="4426848"/>
                  <a:pt x="1010969" y="4428810"/>
                </a:cubicBezTo>
                <a:close/>
                <a:moveTo>
                  <a:pt x="1705834" y="4428604"/>
                </a:moveTo>
                <a:cubicBezTo>
                  <a:pt x="1705834" y="4428604"/>
                  <a:pt x="1705834" y="4428604"/>
                  <a:pt x="1705215" y="4435005"/>
                </a:cubicBezTo>
                <a:cubicBezTo>
                  <a:pt x="1704595" y="4434902"/>
                  <a:pt x="1704440" y="4434489"/>
                  <a:pt x="1704440" y="4433973"/>
                </a:cubicBezTo>
                <a:cubicBezTo>
                  <a:pt x="1704440" y="4433560"/>
                  <a:pt x="1704595" y="4432837"/>
                  <a:pt x="1704750" y="4432321"/>
                </a:cubicBezTo>
                <a:cubicBezTo>
                  <a:pt x="1705059" y="4431082"/>
                  <a:pt x="1705524" y="4429843"/>
                  <a:pt x="1705834" y="4428604"/>
                </a:cubicBezTo>
                <a:close/>
                <a:moveTo>
                  <a:pt x="1721943" y="4428500"/>
                </a:moveTo>
                <a:cubicBezTo>
                  <a:pt x="1722873" y="4429016"/>
                  <a:pt x="1723028" y="4429016"/>
                  <a:pt x="1723957" y="4429533"/>
                </a:cubicBezTo>
                <a:cubicBezTo>
                  <a:pt x="1724421" y="4431082"/>
                  <a:pt x="1725661" y="4432527"/>
                  <a:pt x="1725197" y="4434386"/>
                </a:cubicBezTo>
                <a:cubicBezTo>
                  <a:pt x="1724576" y="4435522"/>
                  <a:pt x="1723337" y="4436244"/>
                  <a:pt x="1721788" y="4436658"/>
                </a:cubicBezTo>
                <a:lnTo>
                  <a:pt x="1718381" y="4436967"/>
                </a:lnTo>
                <a:lnTo>
                  <a:pt x="1722563" y="4440994"/>
                </a:lnTo>
                <a:cubicBezTo>
                  <a:pt x="1723028" y="4442234"/>
                  <a:pt x="1722563" y="4443576"/>
                  <a:pt x="1721478" y="4444711"/>
                </a:cubicBezTo>
                <a:lnTo>
                  <a:pt x="1719000" y="4446880"/>
                </a:lnTo>
                <a:lnTo>
                  <a:pt x="1725661" y="4449151"/>
                </a:lnTo>
                <a:lnTo>
                  <a:pt x="1730772" y="4452559"/>
                </a:lnTo>
                <a:lnTo>
                  <a:pt x="1731237" y="4449771"/>
                </a:lnTo>
                <a:cubicBezTo>
                  <a:pt x="1738207" y="4444505"/>
                  <a:pt x="1742389" y="4447706"/>
                  <a:pt x="1743164" y="4446880"/>
                </a:cubicBezTo>
                <a:cubicBezTo>
                  <a:pt x="1745642" y="4449874"/>
                  <a:pt x="1743938" y="4451423"/>
                  <a:pt x="1742234" y="4454727"/>
                </a:cubicBezTo>
                <a:cubicBezTo>
                  <a:pt x="1741770" y="4454211"/>
                  <a:pt x="1740841" y="4454521"/>
                  <a:pt x="1740066" y="4455140"/>
                </a:cubicBezTo>
                <a:lnTo>
                  <a:pt x="1738982" y="4455967"/>
                </a:lnTo>
                <a:lnTo>
                  <a:pt x="1739756" y="4458238"/>
                </a:lnTo>
                <a:cubicBezTo>
                  <a:pt x="1740376" y="4459168"/>
                  <a:pt x="1741151" y="4460303"/>
                  <a:pt x="1742544" y="4461439"/>
                </a:cubicBezTo>
                <a:cubicBezTo>
                  <a:pt x="1740686" y="4461852"/>
                  <a:pt x="1738982" y="4462162"/>
                  <a:pt x="1737278" y="4462059"/>
                </a:cubicBezTo>
                <a:cubicBezTo>
                  <a:pt x="1735574" y="4462059"/>
                  <a:pt x="1734025" y="4461645"/>
                  <a:pt x="1732321" y="4460819"/>
                </a:cubicBezTo>
                <a:lnTo>
                  <a:pt x="1734335" y="4455863"/>
                </a:lnTo>
                <a:lnTo>
                  <a:pt x="1732321" y="4455450"/>
                </a:lnTo>
                <a:cubicBezTo>
                  <a:pt x="1731547" y="4455244"/>
                  <a:pt x="1730927" y="4454831"/>
                  <a:pt x="1730308" y="4454108"/>
                </a:cubicBezTo>
                <a:lnTo>
                  <a:pt x="1730617" y="4452766"/>
                </a:lnTo>
                <a:lnTo>
                  <a:pt x="1725351" y="4455037"/>
                </a:lnTo>
                <a:cubicBezTo>
                  <a:pt x="1724112" y="4455244"/>
                  <a:pt x="1722718" y="4455244"/>
                  <a:pt x="1721323" y="4454934"/>
                </a:cubicBezTo>
                <a:cubicBezTo>
                  <a:pt x="1717297" y="4454314"/>
                  <a:pt x="1713269" y="4451836"/>
                  <a:pt x="1709397" y="4449461"/>
                </a:cubicBezTo>
                <a:lnTo>
                  <a:pt x="1710171" y="4448739"/>
                </a:lnTo>
                <a:lnTo>
                  <a:pt x="1707538" y="4445021"/>
                </a:lnTo>
                <a:cubicBezTo>
                  <a:pt x="1708777" y="4442543"/>
                  <a:pt x="1710326" y="4440891"/>
                  <a:pt x="1712185" y="4439652"/>
                </a:cubicBezTo>
                <a:lnTo>
                  <a:pt x="1718226" y="4437071"/>
                </a:lnTo>
                <a:lnTo>
                  <a:pt x="1717916" y="4437071"/>
                </a:lnTo>
                <a:cubicBezTo>
                  <a:pt x="1716987" y="4436554"/>
                  <a:pt x="1716522" y="4435625"/>
                  <a:pt x="1716367" y="4434489"/>
                </a:cubicBezTo>
                <a:cubicBezTo>
                  <a:pt x="1716367" y="4433457"/>
                  <a:pt x="1716677" y="4432114"/>
                  <a:pt x="1717297" y="4431082"/>
                </a:cubicBezTo>
                <a:cubicBezTo>
                  <a:pt x="1717451" y="4430049"/>
                  <a:pt x="1718226" y="4429430"/>
                  <a:pt x="1719155" y="4429016"/>
                </a:cubicBezTo>
                <a:cubicBezTo>
                  <a:pt x="1719930" y="4428500"/>
                  <a:pt x="1721014" y="4428397"/>
                  <a:pt x="1721943" y="4428500"/>
                </a:cubicBezTo>
                <a:close/>
                <a:moveTo>
                  <a:pt x="5837063" y="4428415"/>
                </a:moveTo>
                <a:cubicBezTo>
                  <a:pt x="5837838" y="4429034"/>
                  <a:pt x="5838303" y="4430170"/>
                  <a:pt x="5838458" y="4432029"/>
                </a:cubicBezTo>
                <a:cubicBezTo>
                  <a:pt x="5837063" y="4432752"/>
                  <a:pt x="5833811" y="4433784"/>
                  <a:pt x="5830713" y="4434094"/>
                </a:cubicBezTo>
                <a:cubicBezTo>
                  <a:pt x="5827615" y="4434301"/>
                  <a:pt x="5824672" y="4433784"/>
                  <a:pt x="5824207" y="4431409"/>
                </a:cubicBezTo>
                <a:cubicBezTo>
                  <a:pt x="5824207" y="4430790"/>
                  <a:pt x="5824207" y="4429964"/>
                  <a:pt x="5824517" y="4428931"/>
                </a:cubicBezTo>
                <a:cubicBezTo>
                  <a:pt x="5829938" y="4429241"/>
                  <a:pt x="5834740" y="4426660"/>
                  <a:pt x="5837063" y="4428415"/>
                </a:cubicBezTo>
                <a:close/>
                <a:moveTo>
                  <a:pt x="1360415" y="4427984"/>
                </a:moveTo>
                <a:cubicBezTo>
                  <a:pt x="1363049" y="4432734"/>
                  <a:pt x="1366921" y="4437587"/>
                  <a:pt x="1362429" y="4441201"/>
                </a:cubicBezTo>
                <a:cubicBezTo>
                  <a:pt x="1354839" y="4441510"/>
                  <a:pt x="1353135" y="4433560"/>
                  <a:pt x="1356078" y="4429843"/>
                </a:cubicBezTo>
                <a:cubicBezTo>
                  <a:pt x="1357007" y="4428604"/>
                  <a:pt x="1358557" y="4427881"/>
                  <a:pt x="1360415" y="4427984"/>
                </a:cubicBezTo>
                <a:close/>
                <a:moveTo>
                  <a:pt x="1082531" y="4427881"/>
                </a:moveTo>
                <a:cubicBezTo>
                  <a:pt x="1082531" y="4427881"/>
                  <a:pt x="1082531" y="4427881"/>
                  <a:pt x="1083461" y="4428707"/>
                </a:cubicBezTo>
                <a:cubicBezTo>
                  <a:pt x="1081912" y="4432837"/>
                  <a:pt x="1083771" y="4437277"/>
                  <a:pt x="1081447" y="4441407"/>
                </a:cubicBezTo>
                <a:cubicBezTo>
                  <a:pt x="1080518" y="4440478"/>
                  <a:pt x="1078659" y="4437793"/>
                  <a:pt x="1080208" y="4435418"/>
                </a:cubicBezTo>
                <a:cubicBezTo>
                  <a:pt x="1081912" y="4432940"/>
                  <a:pt x="1080982" y="4430359"/>
                  <a:pt x="1082531" y="4427881"/>
                </a:cubicBezTo>
                <a:close/>
                <a:moveTo>
                  <a:pt x="6289826" y="4427796"/>
                </a:moveTo>
                <a:lnTo>
                  <a:pt x="6288276" y="4429138"/>
                </a:lnTo>
                <a:lnTo>
                  <a:pt x="6289671" y="4429654"/>
                </a:lnTo>
                <a:cubicBezTo>
                  <a:pt x="6291839" y="4430273"/>
                  <a:pt x="6293853" y="4430996"/>
                  <a:pt x="6295557" y="4432029"/>
                </a:cubicBezTo>
                <a:lnTo>
                  <a:pt x="6298345" y="4435746"/>
                </a:lnTo>
                <a:lnTo>
                  <a:pt x="6298500" y="4435849"/>
                </a:lnTo>
                <a:lnTo>
                  <a:pt x="6306090" y="4438637"/>
                </a:lnTo>
                <a:lnTo>
                  <a:pt x="6307329" y="4433578"/>
                </a:lnTo>
                <a:lnTo>
                  <a:pt x="6307484" y="4433268"/>
                </a:lnTo>
                <a:close/>
                <a:moveTo>
                  <a:pt x="1674545" y="4427468"/>
                </a:moveTo>
                <a:cubicBezTo>
                  <a:pt x="1677333" y="4426538"/>
                  <a:pt x="1682599" y="4428294"/>
                  <a:pt x="1682444" y="4432011"/>
                </a:cubicBezTo>
                <a:cubicBezTo>
                  <a:pt x="1681980" y="4433457"/>
                  <a:pt x="1679347" y="4434489"/>
                  <a:pt x="1677023" y="4434179"/>
                </a:cubicBezTo>
                <a:cubicBezTo>
                  <a:pt x="1674700" y="4433973"/>
                  <a:pt x="1672531" y="4432527"/>
                  <a:pt x="1672996" y="4429223"/>
                </a:cubicBezTo>
                <a:cubicBezTo>
                  <a:pt x="1672996" y="4428294"/>
                  <a:pt x="1673616" y="4427777"/>
                  <a:pt x="1674545" y="4427468"/>
                </a:cubicBezTo>
                <a:close/>
                <a:moveTo>
                  <a:pt x="1066132" y="4426074"/>
                </a:moveTo>
                <a:cubicBezTo>
                  <a:pt x="1070604" y="4427364"/>
                  <a:pt x="1074941" y="4430152"/>
                  <a:pt x="1077575" y="4432424"/>
                </a:cubicBezTo>
                <a:cubicBezTo>
                  <a:pt x="1073857" y="4432631"/>
                  <a:pt x="1069985" y="4433147"/>
                  <a:pt x="1066112" y="4432837"/>
                </a:cubicBezTo>
                <a:cubicBezTo>
                  <a:pt x="1062240" y="4432527"/>
                  <a:pt x="1058213" y="4431495"/>
                  <a:pt x="1053876" y="4428707"/>
                </a:cubicBezTo>
                <a:cubicBezTo>
                  <a:pt x="1057052" y="4424989"/>
                  <a:pt x="1061659" y="4424783"/>
                  <a:pt x="1066132" y="4426074"/>
                </a:cubicBezTo>
                <a:close/>
                <a:moveTo>
                  <a:pt x="5714540" y="4426040"/>
                </a:moveTo>
                <a:cubicBezTo>
                  <a:pt x="5715625" y="4426350"/>
                  <a:pt x="5715625" y="4426350"/>
                  <a:pt x="5716709" y="4428518"/>
                </a:cubicBezTo>
                <a:cubicBezTo>
                  <a:pt x="5715625" y="4428208"/>
                  <a:pt x="5715625" y="4428208"/>
                  <a:pt x="5715315" y="4429344"/>
                </a:cubicBezTo>
                <a:cubicBezTo>
                  <a:pt x="5715315" y="4429344"/>
                  <a:pt x="5715315" y="4429344"/>
                  <a:pt x="5715625" y="4430067"/>
                </a:cubicBezTo>
                <a:cubicBezTo>
                  <a:pt x="5714850" y="4430480"/>
                  <a:pt x="5714540" y="4429861"/>
                  <a:pt x="5713921" y="4430273"/>
                </a:cubicBezTo>
                <a:cubicBezTo>
                  <a:pt x="5713921" y="4430273"/>
                  <a:pt x="5713456" y="4429551"/>
                  <a:pt x="5713456" y="4429551"/>
                </a:cubicBezTo>
                <a:cubicBezTo>
                  <a:pt x="5713147" y="4429757"/>
                  <a:pt x="5713147" y="4429757"/>
                  <a:pt x="5713301" y="4429447"/>
                </a:cubicBezTo>
                <a:cubicBezTo>
                  <a:pt x="5713301" y="4429241"/>
                  <a:pt x="5713456" y="4428621"/>
                  <a:pt x="5713456" y="4427692"/>
                </a:cubicBezTo>
                <a:cubicBezTo>
                  <a:pt x="5713766" y="4426556"/>
                  <a:pt x="5713456" y="4425834"/>
                  <a:pt x="5714540" y="4426040"/>
                </a:cubicBezTo>
                <a:close/>
                <a:moveTo>
                  <a:pt x="1702581" y="4425403"/>
                </a:moveTo>
                <a:cubicBezTo>
                  <a:pt x="1701807" y="4427984"/>
                  <a:pt x="1701807" y="4427984"/>
                  <a:pt x="1700258" y="4429739"/>
                </a:cubicBezTo>
                <a:cubicBezTo>
                  <a:pt x="1700258" y="4428810"/>
                  <a:pt x="1699328" y="4426951"/>
                  <a:pt x="1700103" y="4426125"/>
                </a:cubicBezTo>
                <a:cubicBezTo>
                  <a:pt x="1700877" y="4425299"/>
                  <a:pt x="1700877" y="4425299"/>
                  <a:pt x="1702581" y="4425403"/>
                </a:cubicBezTo>
                <a:close/>
                <a:moveTo>
                  <a:pt x="1184918" y="4425403"/>
                </a:moveTo>
                <a:cubicBezTo>
                  <a:pt x="1186622" y="4425609"/>
                  <a:pt x="1195761" y="4427984"/>
                  <a:pt x="1198084" y="4430049"/>
                </a:cubicBezTo>
                <a:cubicBezTo>
                  <a:pt x="1194056" y="4428500"/>
                  <a:pt x="1188171" y="4428397"/>
                  <a:pt x="1184918" y="4425403"/>
                </a:cubicBezTo>
                <a:close/>
                <a:moveTo>
                  <a:pt x="1107934" y="4425196"/>
                </a:moveTo>
                <a:cubicBezTo>
                  <a:pt x="1112271" y="4430772"/>
                  <a:pt x="1107780" y="4436761"/>
                  <a:pt x="1105611" y="4441924"/>
                </a:cubicBezTo>
                <a:cubicBezTo>
                  <a:pt x="1111497" y="4442749"/>
                  <a:pt x="1120481" y="4442337"/>
                  <a:pt x="1120636" y="4449151"/>
                </a:cubicBezTo>
                <a:lnTo>
                  <a:pt x="1116918" y="4450907"/>
                </a:lnTo>
                <a:lnTo>
                  <a:pt x="1117228" y="4454108"/>
                </a:lnTo>
                <a:lnTo>
                  <a:pt x="1116454" y="4454934"/>
                </a:lnTo>
                <a:lnTo>
                  <a:pt x="1117228" y="4456173"/>
                </a:lnTo>
                <a:cubicBezTo>
                  <a:pt x="1117693" y="4456793"/>
                  <a:pt x="1118003" y="4457206"/>
                  <a:pt x="1118003" y="4457206"/>
                </a:cubicBezTo>
                <a:cubicBezTo>
                  <a:pt x="1117538" y="4458341"/>
                  <a:pt x="1117228" y="4458961"/>
                  <a:pt x="1116763" y="4459168"/>
                </a:cubicBezTo>
                <a:lnTo>
                  <a:pt x="1115369" y="4459064"/>
                </a:lnTo>
                <a:lnTo>
                  <a:pt x="1114905" y="4461026"/>
                </a:lnTo>
                <a:cubicBezTo>
                  <a:pt x="1113046" y="4460819"/>
                  <a:pt x="1109793" y="4458238"/>
                  <a:pt x="1110103" y="4456276"/>
                </a:cubicBezTo>
                <a:lnTo>
                  <a:pt x="1111962" y="4456999"/>
                </a:lnTo>
                <a:lnTo>
                  <a:pt x="1110568" y="4455553"/>
                </a:lnTo>
                <a:cubicBezTo>
                  <a:pt x="1109483" y="4453901"/>
                  <a:pt x="1108709" y="4451939"/>
                  <a:pt x="1109019" y="4450287"/>
                </a:cubicBezTo>
                <a:lnTo>
                  <a:pt x="1111032" y="4450287"/>
                </a:lnTo>
                <a:lnTo>
                  <a:pt x="1106850" y="4449255"/>
                </a:lnTo>
                <a:cubicBezTo>
                  <a:pt x="1105146" y="4448842"/>
                  <a:pt x="1103442" y="4448532"/>
                  <a:pt x="1101584" y="4448635"/>
                </a:cubicBezTo>
                <a:cubicBezTo>
                  <a:pt x="1099260" y="4449565"/>
                  <a:pt x="1098951" y="4452352"/>
                  <a:pt x="1096163" y="4452869"/>
                </a:cubicBezTo>
                <a:cubicBezTo>
                  <a:pt x="1095233" y="4453075"/>
                  <a:pt x="1093994" y="4453075"/>
                  <a:pt x="1092445" y="4452662"/>
                </a:cubicBezTo>
                <a:cubicBezTo>
                  <a:pt x="1093529" y="4442337"/>
                  <a:pt x="1096782" y="4434696"/>
                  <a:pt x="1102048" y="4429533"/>
                </a:cubicBezTo>
                <a:cubicBezTo>
                  <a:pt x="1103752" y="4427777"/>
                  <a:pt x="1105766" y="4426332"/>
                  <a:pt x="1107934" y="4425196"/>
                </a:cubicBezTo>
                <a:close/>
                <a:moveTo>
                  <a:pt x="6275575" y="4424595"/>
                </a:moveTo>
                <a:lnTo>
                  <a:pt x="6275575" y="4424698"/>
                </a:lnTo>
                <a:lnTo>
                  <a:pt x="6274181" y="4426350"/>
                </a:lnTo>
                <a:lnTo>
                  <a:pt x="6276350" y="4427589"/>
                </a:lnTo>
                <a:lnTo>
                  <a:pt x="6276814" y="4425834"/>
                </a:lnTo>
                <a:close/>
                <a:moveTo>
                  <a:pt x="1241145" y="4424370"/>
                </a:moveTo>
                <a:cubicBezTo>
                  <a:pt x="1240990" y="4425609"/>
                  <a:pt x="1244089" y="4425815"/>
                  <a:pt x="1245637" y="4426848"/>
                </a:cubicBezTo>
                <a:cubicBezTo>
                  <a:pt x="1246412" y="4427984"/>
                  <a:pt x="1247186" y="4428913"/>
                  <a:pt x="1247496" y="4429843"/>
                </a:cubicBezTo>
                <a:lnTo>
                  <a:pt x="1247496" y="4430049"/>
                </a:lnTo>
                <a:lnTo>
                  <a:pt x="1252917" y="4431908"/>
                </a:lnTo>
                <a:lnTo>
                  <a:pt x="1253382" y="4432321"/>
                </a:lnTo>
                <a:lnTo>
                  <a:pt x="1253692" y="4432424"/>
                </a:lnTo>
                <a:cubicBezTo>
                  <a:pt x="1258493" y="4432527"/>
                  <a:pt x="1262831" y="4432734"/>
                  <a:pt x="1264689" y="4437483"/>
                </a:cubicBezTo>
                <a:lnTo>
                  <a:pt x="1257564" y="4438826"/>
                </a:lnTo>
                <a:lnTo>
                  <a:pt x="1257564" y="4439342"/>
                </a:lnTo>
                <a:lnTo>
                  <a:pt x="1260507" y="4438516"/>
                </a:lnTo>
                <a:cubicBezTo>
                  <a:pt x="1261902" y="4438516"/>
                  <a:pt x="1263295" y="4438826"/>
                  <a:pt x="1263915" y="4439652"/>
                </a:cubicBezTo>
                <a:cubicBezTo>
                  <a:pt x="1262366" y="4440684"/>
                  <a:pt x="1261281" y="4440994"/>
                  <a:pt x="1260197" y="4441201"/>
                </a:cubicBezTo>
                <a:cubicBezTo>
                  <a:pt x="1259423" y="4441717"/>
                  <a:pt x="1258803" y="4441924"/>
                  <a:pt x="1258339" y="4441614"/>
                </a:cubicBezTo>
                <a:lnTo>
                  <a:pt x="1257564" y="4440375"/>
                </a:lnTo>
                <a:lnTo>
                  <a:pt x="1257564" y="4440684"/>
                </a:lnTo>
                <a:cubicBezTo>
                  <a:pt x="1257100" y="4442130"/>
                  <a:pt x="1256325" y="4443782"/>
                  <a:pt x="1255086" y="4445641"/>
                </a:cubicBezTo>
                <a:cubicBezTo>
                  <a:pt x="1253846" y="4443472"/>
                  <a:pt x="1251988" y="4441717"/>
                  <a:pt x="1249974" y="4440065"/>
                </a:cubicBezTo>
                <a:lnTo>
                  <a:pt x="1249355" y="4439549"/>
                </a:lnTo>
                <a:lnTo>
                  <a:pt x="1245637" y="4439342"/>
                </a:lnTo>
                <a:lnTo>
                  <a:pt x="1244398" y="4438826"/>
                </a:lnTo>
                <a:lnTo>
                  <a:pt x="1242694" y="4440065"/>
                </a:lnTo>
                <a:cubicBezTo>
                  <a:pt x="1241920" y="4440478"/>
                  <a:pt x="1240990" y="4440478"/>
                  <a:pt x="1240061" y="4440272"/>
                </a:cubicBezTo>
                <a:cubicBezTo>
                  <a:pt x="1235879" y="4439755"/>
                  <a:pt x="1233710" y="4438000"/>
                  <a:pt x="1232316" y="4435728"/>
                </a:cubicBezTo>
                <a:cubicBezTo>
                  <a:pt x="1232316" y="4435728"/>
                  <a:pt x="1232316" y="4435728"/>
                  <a:pt x="1232781" y="4436451"/>
                </a:cubicBezTo>
                <a:cubicBezTo>
                  <a:pt x="1232316" y="4440065"/>
                  <a:pt x="1231387" y="4445744"/>
                  <a:pt x="1229992" y="4448532"/>
                </a:cubicBezTo>
                <a:lnTo>
                  <a:pt x="1229683" y="4448739"/>
                </a:lnTo>
                <a:lnTo>
                  <a:pt x="1229838" y="4448945"/>
                </a:lnTo>
                <a:lnTo>
                  <a:pt x="1229528" y="4449048"/>
                </a:lnTo>
                <a:lnTo>
                  <a:pt x="1228289" y="4450184"/>
                </a:lnTo>
                <a:cubicBezTo>
                  <a:pt x="1227824" y="4449461"/>
                  <a:pt x="1227359" y="4448739"/>
                  <a:pt x="1227514" y="4447500"/>
                </a:cubicBezTo>
                <a:cubicBezTo>
                  <a:pt x="1227669" y="4446260"/>
                  <a:pt x="1228134" y="4447086"/>
                  <a:pt x="1227669" y="4446364"/>
                </a:cubicBezTo>
                <a:cubicBezTo>
                  <a:pt x="1227824" y="4445125"/>
                  <a:pt x="1227204" y="4445538"/>
                  <a:pt x="1227204" y="4445538"/>
                </a:cubicBezTo>
                <a:cubicBezTo>
                  <a:pt x="1227204" y="4445538"/>
                  <a:pt x="1227824" y="4445125"/>
                  <a:pt x="1227824" y="4445125"/>
                </a:cubicBezTo>
                <a:cubicBezTo>
                  <a:pt x="1227824" y="4445125"/>
                  <a:pt x="1227824" y="4445125"/>
                  <a:pt x="1228289" y="4442749"/>
                </a:cubicBezTo>
                <a:cubicBezTo>
                  <a:pt x="1228134" y="4439549"/>
                  <a:pt x="1227514" y="4438826"/>
                  <a:pt x="1227204" y="4436864"/>
                </a:cubicBezTo>
                <a:cubicBezTo>
                  <a:pt x="1227669" y="4434489"/>
                  <a:pt x="1228289" y="4433973"/>
                  <a:pt x="1229373" y="4431185"/>
                </a:cubicBezTo>
                <a:cubicBezTo>
                  <a:pt x="1231077" y="4431082"/>
                  <a:pt x="1231077" y="4431082"/>
                  <a:pt x="1231696" y="4431805"/>
                </a:cubicBezTo>
                <a:cubicBezTo>
                  <a:pt x="1231077" y="4431082"/>
                  <a:pt x="1231852" y="4430669"/>
                  <a:pt x="1232006" y="4429430"/>
                </a:cubicBezTo>
                <a:cubicBezTo>
                  <a:pt x="1231542" y="4424370"/>
                  <a:pt x="1235879" y="4423647"/>
                  <a:pt x="1241145" y="4424370"/>
                </a:cubicBezTo>
                <a:close/>
                <a:moveTo>
                  <a:pt x="1616304" y="4423544"/>
                </a:moveTo>
                <a:cubicBezTo>
                  <a:pt x="1619712" y="4426951"/>
                  <a:pt x="1617388" y="4433560"/>
                  <a:pt x="1613826" y="4434696"/>
                </a:cubicBezTo>
                <a:cubicBezTo>
                  <a:pt x="1613206" y="4434799"/>
                  <a:pt x="1612587" y="4434902"/>
                  <a:pt x="1611967" y="4434696"/>
                </a:cubicBezTo>
                <a:cubicBezTo>
                  <a:pt x="1611347" y="4434592"/>
                  <a:pt x="1610573" y="4434179"/>
                  <a:pt x="1609953" y="4433663"/>
                </a:cubicBezTo>
                <a:cubicBezTo>
                  <a:pt x="1608095" y="4428294"/>
                  <a:pt x="1613051" y="4427674"/>
                  <a:pt x="1616304" y="4423544"/>
                </a:cubicBezTo>
                <a:close/>
                <a:moveTo>
                  <a:pt x="656566" y="4423544"/>
                </a:moveTo>
                <a:lnTo>
                  <a:pt x="659819" y="4424473"/>
                </a:lnTo>
                <a:cubicBezTo>
                  <a:pt x="659509" y="4425712"/>
                  <a:pt x="658580" y="4427261"/>
                  <a:pt x="657341" y="4426951"/>
                </a:cubicBezTo>
                <a:cubicBezTo>
                  <a:pt x="656412" y="4427055"/>
                  <a:pt x="656257" y="4426745"/>
                  <a:pt x="656257" y="4426125"/>
                </a:cubicBezTo>
                <a:cubicBezTo>
                  <a:pt x="656412" y="4425403"/>
                  <a:pt x="656566" y="4424576"/>
                  <a:pt x="656566" y="4423544"/>
                </a:cubicBezTo>
                <a:close/>
                <a:moveTo>
                  <a:pt x="1427350" y="4423157"/>
                </a:moveTo>
                <a:cubicBezTo>
                  <a:pt x="1430932" y="4422615"/>
                  <a:pt x="1435075" y="4423905"/>
                  <a:pt x="1437708" y="4427777"/>
                </a:cubicBezTo>
                <a:cubicBezTo>
                  <a:pt x="1437708" y="4430152"/>
                  <a:pt x="1436469" y="4432217"/>
                  <a:pt x="1434611" y="4433973"/>
                </a:cubicBezTo>
                <a:lnTo>
                  <a:pt x="1433681" y="4434489"/>
                </a:lnTo>
                <a:lnTo>
                  <a:pt x="1433217" y="4437277"/>
                </a:lnTo>
                <a:cubicBezTo>
                  <a:pt x="1432287" y="4440478"/>
                  <a:pt x="1430893" y="4442853"/>
                  <a:pt x="1428105" y="4443679"/>
                </a:cubicBezTo>
                <a:cubicBezTo>
                  <a:pt x="1427176" y="4442853"/>
                  <a:pt x="1426711" y="4441820"/>
                  <a:pt x="1426401" y="4440478"/>
                </a:cubicBezTo>
                <a:lnTo>
                  <a:pt x="1426711" y="4437587"/>
                </a:lnTo>
                <a:lnTo>
                  <a:pt x="1426246" y="4437587"/>
                </a:lnTo>
                <a:lnTo>
                  <a:pt x="1426401" y="4441304"/>
                </a:lnTo>
                <a:cubicBezTo>
                  <a:pt x="1425781" y="4441098"/>
                  <a:pt x="1425472" y="4440788"/>
                  <a:pt x="1425472" y="4440272"/>
                </a:cubicBezTo>
                <a:cubicBezTo>
                  <a:pt x="1425317" y="4439755"/>
                  <a:pt x="1425472" y="4439136"/>
                  <a:pt x="1425627" y="4438516"/>
                </a:cubicBezTo>
                <a:lnTo>
                  <a:pt x="1425781" y="4437587"/>
                </a:lnTo>
                <a:lnTo>
                  <a:pt x="1423768" y="4437690"/>
                </a:lnTo>
                <a:cubicBezTo>
                  <a:pt x="1421135" y="4434592"/>
                  <a:pt x="1420050" y="4431908"/>
                  <a:pt x="1420360" y="4429533"/>
                </a:cubicBezTo>
                <a:cubicBezTo>
                  <a:pt x="1420747" y="4426074"/>
                  <a:pt x="1423768" y="4423699"/>
                  <a:pt x="1427350" y="4423157"/>
                </a:cubicBezTo>
                <a:close/>
                <a:moveTo>
                  <a:pt x="5688111" y="4422000"/>
                </a:moveTo>
                <a:cubicBezTo>
                  <a:pt x="5691151" y="4421032"/>
                  <a:pt x="5693707" y="4422994"/>
                  <a:pt x="5690996" y="4432029"/>
                </a:cubicBezTo>
                <a:cubicBezTo>
                  <a:pt x="5685265" y="4432648"/>
                  <a:pt x="5682787" y="4431306"/>
                  <a:pt x="5682322" y="4429551"/>
                </a:cubicBezTo>
                <a:cubicBezTo>
                  <a:pt x="5681548" y="4426866"/>
                  <a:pt x="5685072" y="4422968"/>
                  <a:pt x="5688111" y="4422000"/>
                </a:cubicBezTo>
                <a:close/>
                <a:moveTo>
                  <a:pt x="1001366" y="4421789"/>
                </a:moveTo>
                <a:cubicBezTo>
                  <a:pt x="1001366" y="4421789"/>
                  <a:pt x="1001830" y="4422408"/>
                  <a:pt x="1001521" y="4423544"/>
                </a:cubicBezTo>
                <a:cubicBezTo>
                  <a:pt x="1001521" y="4423544"/>
                  <a:pt x="1001211" y="4423441"/>
                  <a:pt x="1000901" y="4423234"/>
                </a:cubicBezTo>
                <a:cubicBezTo>
                  <a:pt x="1000746" y="4423028"/>
                  <a:pt x="1000591" y="4422718"/>
                  <a:pt x="1000746" y="4422099"/>
                </a:cubicBezTo>
                <a:cubicBezTo>
                  <a:pt x="1000746" y="4422099"/>
                  <a:pt x="1000746" y="4422202"/>
                  <a:pt x="1001366" y="4421789"/>
                </a:cubicBezTo>
                <a:close/>
                <a:moveTo>
                  <a:pt x="1172061" y="4421479"/>
                </a:moveTo>
                <a:cubicBezTo>
                  <a:pt x="1173765" y="4420859"/>
                  <a:pt x="1177018" y="4420549"/>
                  <a:pt x="1178567" y="4422511"/>
                </a:cubicBezTo>
                <a:cubicBezTo>
                  <a:pt x="1178567" y="4422511"/>
                  <a:pt x="1178567" y="4422511"/>
                  <a:pt x="1179342" y="4423544"/>
                </a:cubicBezTo>
                <a:cubicBezTo>
                  <a:pt x="1176863" y="4423131"/>
                  <a:pt x="1173611" y="4422511"/>
                  <a:pt x="1172061" y="4421479"/>
                </a:cubicBezTo>
                <a:close/>
                <a:moveTo>
                  <a:pt x="1324789" y="4420859"/>
                </a:moveTo>
                <a:cubicBezTo>
                  <a:pt x="1325719" y="4421066"/>
                  <a:pt x="1326648" y="4421892"/>
                  <a:pt x="1327422" y="4423544"/>
                </a:cubicBezTo>
                <a:cubicBezTo>
                  <a:pt x="1325874" y="4425299"/>
                  <a:pt x="1320297" y="4429430"/>
                  <a:pt x="1316580" y="4429739"/>
                </a:cubicBezTo>
                <a:cubicBezTo>
                  <a:pt x="1315341" y="4429739"/>
                  <a:pt x="1314257" y="4429533"/>
                  <a:pt x="1313636" y="4428500"/>
                </a:cubicBezTo>
                <a:cubicBezTo>
                  <a:pt x="1313172" y="4427984"/>
                  <a:pt x="1313018" y="4427261"/>
                  <a:pt x="1313018" y="4426229"/>
                </a:cubicBezTo>
                <a:cubicBezTo>
                  <a:pt x="1318128" y="4424370"/>
                  <a:pt x="1322002" y="4420137"/>
                  <a:pt x="1324789" y="4420859"/>
                </a:cubicBezTo>
                <a:close/>
                <a:moveTo>
                  <a:pt x="6113244" y="4420567"/>
                </a:moveTo>
                <a:cubicBezTo>
                  <a:pt x="6120679" y="4425730"/>
                  <a:pt x="6118355" y="4430996"/>
                  <a:pt x="6114483" y="4432132"/>
                </a:cubicBezTo>
                <a:cubicBezTo>
                  <a:pt x="6113089" y="4432545"/>
                  <a:pt x="6111540" y="4432442"/>
                  <a:pt x="6110146" y="4431719"/>
                </a:cubicBezTo>
                <a:cubicBezTo>
                  <a:pt x="6108287" y="4430790"/>
                  <a:pt x="6106738" y="4428725"/>
                  <a:pt x="6105964" y="4425317"/>
                </a:cubicBezTo>
                <a:cubicBezTo>
                  <a:pt x="6108287" y="4422013"/>
                  <a:pt x="6110765" y="4422116"/>
                  <a:pt x="6113244" y="4420567"/>
                </a:cubicBezTo>
                <a:close/>
                <a:moveTo>
                  <a:pt x="983862" y="4420033"/>
                </a:moveTo>
                <a:cubicBezTo>
                  <a:pt x="983862" y="4420033"/>
                  <a:pt x="983708" y="4420033"/>
                  <a:pt x="983398" y="4421272"/>
                </a:cubicBezTo>
                <a:cubicBezTo>
                  <a:pt x="979061" y="4421995"/>
                  <a:pt x="976118" y="4425815"/>
                  <a:pt x="971316" y="4425712"/>
                </a:cubicBezTo>
                <a:cubicBezTo>
                  <a:pt x="971626" y="4424576"/>
                  <a:pt x="973175" y="4421685"/>
                  <a:pt x="976118" y="4421789"/>
                </a:cubicBezTo>
                <a:cubicBezTo>
                  <a:pt x="979061" y="4421995"/>
                  <a:pt x="980919" y="4419930"/>
                  <a:pt x="983862" y="4420033"/>
                </a:cubicBezTo>
                <a:close/>
                <a:moveTo>
                  <a:pt x="5492574" y="4419122"/>
                </a:moveTo>
                <a:cubicBezTo>
                  <a:pt x="5491180" y="4420980"/>
                  <a:pt x="5488702" y="4424388"/>
                  <a:pt x="5486688" y="4425214"/>
                </a:cubicBezTo>
                <a:cubicBezTo>
                  <a:pt x="5485914" y="4425420"/>
                  <a:pt x="5485294" y="4425420"/>
                  <a:pt x="5484675" y="4425007"/>
                </a:cubicBezTo>
                <a:cubicBezTo>
                  <a:pt x="5483900" y="4424078"/>
                  <a:pt x="5484829" y="4423252"/>
                  <a:pt x="5484984" y="4422426"/>
                </a:cubicBezTo>
                <a:cubicBezTo>
                  <a:pt x="5485914" y="4420671"/>
                  <a:pt x="5491955" y="4418193"/>
                  <a:pt x="5492574" y="4419122"/>
                </a:cubicBezTo>
                <a:close/>
                <a:moveTo>
                  <a:pt x="6056610" y="4419006"/>
                </a:moveTo>
                <a:cubicBezTo>
                  <a:pt x="6058875" y="4418786"/>
                  <a:pt x="6061198" y="4419741"/>
                  <a:pt x="6063832" y="4422426"/>
                </a:cubicBezTo>
                <a:cubicBezTo>
                  <a:pt x="6063677" y="4425834"/>
                  <a:pt x="6060734" y="4427176"/>
                  <a:pt x="6057636" y="4427072"/>
                </a:cubicBezTo>
                <a:cubicBezTo>
                  <a:pt x="6054538" y="4426866"/>
                  <a:pt x="6051130" y="4425317"/>
                  <a:pt x="6049736" y="4422633"/>
                </a:cubicBezTo>
                <a:cubicBezTo>
                  <a:pt x="6052137" y="4420619"/>
                  <a:pt x="6054344" y="4419225"/>
                  <a:pt x="6056610" y="4419006"/>
                </a:cubicBezTo>
                <a:close/>
                <a:moveTo>
                  <a:pt x="1478602" y="4418691"/>
                </a:moveTo>
                <a:cubicBezTo>
                  <a:pt x="1483713" y="4426022"/>
                  <a:pt x="1475968" y="4434592"/>
                  <a:pt x="1469772" y="4438413"/>
                </a:cubicBezTo>
                <a:cubicBezTo>
                  <a:pt x="1466984" y="4428707"/>
                  <a:pt x="1472870" y="4423750"/>
                  <a:pt x="1478602" y="4418691"/>
                </a:cubicBezTo>
                <a:close/>
                <a:moveTo>
                  <a:pt x="1583156" y="4418278"/>
                </a:moveTo>
                <a:cubicBezTo>
                  <a:pt x="1584705" y="4419104"/>
                  <a:pt x="1585170" y="4420033"/>
                  <a:pt x="1585170" y="4421272"/>
                </a:cubicBezTo>
                <a:lnTo>
                  <a:pt x="1584705" y="4423544"/>
                </a:lnTo>
                <a:lnTo>
                  <a:pt x="1585015" y="4423544"/>
                </a:lnTo>
                <a:cubicBezTo>
                  <a:pt x="1587958" y="4423957"/>
                  <a:pt x="1592450" y="4426435"/>
                  <a:pt x="1590746" y="4428913"/>
                </a:cubicBezTo>
                <a:cubicBezTo>
                  <a:pt x="1589972" y="4429533"/>
                  <a:pt x="1589197" y="4429636"/>
                  <a:pt x="1588268" y="4429430"/>
                </a:cubicBezTo>
                <a:cubicBezTo>
                  <a:pt x="1587029" y="4429120"/>
                  <a:pt x="1585635" y="4427984"/>
                  <a:pt x="1584550" y="4426848"/>
                </a:cubicBezTo>
                <a:lnTo>
                  <a:pt x="1584240" y="4426125"/>
                </a:lnTo>
                <a:lnTo>
                  <a:pt x="1582382" y="4427468"/>
                </a:lnTo>
                <a:cubicBezTo>
                  <a:pt x="1581762" y="4428397"/>
                  <a:pt x="1581143" y="4429533"/>
                  <a:pt x="1580833" y="4430049"/>
                </a:cubicBezTo>
                <a:cubicBezTo>
                  <a:pt x="1580058" y="4429636"/>
                  <a:pt x="1579284" y="4429946"/>
                  <a:pt x="1578354" y="4430359"/>
                </a:cubicBezTo>
                <a:lnTo>
                  <a:pt x="1578200" y="4430359"/>
                </a:lnTo>
                <a:lnTo>
                  <a:pt x="1578200" y="4430462"/>
                </a:lnTo>
                <a:lnTo>
                  <a:pt x="1579439" y="4431598"/>
                </a:lnTo>
                <a:lnTo>
                  <a:pt x="1579594" y="4431288"/>
                </a:lnTo>
                <a:cubicBezTo>
                  <a:pt x="1582227" y="4429120"/>
                  <a:pt x="1584860" y="4426951"/>
                  <a:pt x="1587338" y="4429016"/>
                </a:cubicBezTo>
                <a:cubicBezTo>
                  <a:pt x="1585325" y="4432217"/>
                  <a:pt x="1584395" y="4434696"/>
                  <a:pt x="1582537" y="4437793"/>
                </a:cubicBezTo>
                <a:cubicBezTo>
                  <a:pt x="1582072" y="4438206"/>
                  <a:pt x="1580987" y="4438619"/>
                  <a:pt x="1579903" y="4438929"/>
                </a:cubicBezTo>
                <a:lnTo>
                  <a:pt x="1577580" y="4438723"/>
                </a:lnTo>
                <a:lnTo>
                  <a:pt x="1577580" y="4439652"/>
                </a:lnTo>
                <a:cubicBezTo>
                  <a:pt x="1577580" y="4441201"/>
                  <a:pt x="1577580" y="4442853"/>
                  <a:pt x="1578200" y="4444608"/>
                </a:cubicBezTo>
                <a:cubicBezTo>
                  <a:pt x="1576341" y="4445538"/>
                  <a:pt x="1575257" y="4446054"/>
                  <a:pt x="1574173" y="4445847"/>
                </a:cubicBezTo>
                <a:cubicBezTo>
                  <a:pt x="1572933" y="4445744"/>
                  <a:pt x="1571849" y="4444918"/>
                  <a:pt x="1570300" y="4443059"/>
                </a:cubicBezTo>
                <a:cubicBezTo>
                  <a:pt x="1570300" y="4443059"/>
                  <a:pt x="1569990" y="4441924"/>
                  <a:pt x="1569990" y="4441924"/>
                </a:cubicBezTo>
                <a:lnTo>
                  <a:pt x="1568906" y="4436658"/>
                </a:lnTo>
                <a:lnTo>
                  <a:pt x="1567047" y="4435418"/>
                </a:lnTo>
                <a:cubicBezTo>
                  <a:pt x="1566892" y="4432837"/>
                  <a:pt x="1568441" y="4430978"/>
                  <a:pt x="1570454" y="4429946"/>
                </a:cubicBezTo>
                <a:lnTo>
                  <a:pt x="1572158" y="4429843"/>
                </a:lnTo>
                <a:lnTo>
                  <a:pt x="1572313" y="4428087"/>
                </a:lnTo>
                <a:lnTo>
                  <a:pt x="1572778" y="4428191"/>
                </a:lnTo>
                <a:lnTo>
                  <a:pt x="1572778" y="4426642"/>
                </a:lnTo>
                <a:cubicBezTo>
                  <a:pt x="1577890" y="4418484"/>
                  <a:pt x="1582537" y="4419414"/>
                  <a:pt x="1583156" y="4418278"/>
                </a:cubicBezTo>
                <a:close/>
                <a:moveTo>
                  <a:pt x="650681" y="4417658"/>
                </a:moveTo>
                <a:cubicBezTo>
                  <a:pt x="653933" y="4418381"/>
                  <a:pt x="655947" y="4420137"/>
                  <a:pt x="655482" y="4423234"/>
                </a:cubicBezTo>
                <a:cubicBezTo>
                  <a:pt x="654863" y="4425609"/>
                  <a:pt x="653623" y="4429223"/>
                  <a:pt x="650681" y="4429223"/>
                </a:cubicBezTo>
                <a:cubicBezTo>
                  <a:pt x="650216" y="4428397"/>
                  <a:pt x="649596" y="4428913"/>
                  <a:pt x="649131" y="4428191"/>
                </a:cubicBezTo>
                <a:cubicBezTo>
                  <a:pt x="649131" y="4428191"/>
                  <a:pt x="648357" y="4427674"/>
                  <a:pt x="647738" y="4426642"/>
                </a:cubicBezTo>
                <a:cubicBezTo>
                  <a:pt x="647428" y="4426125"/>
                  <a:pt x="647118" y="4425403"/>
                  <a:pt x="646963" y="4424680"/>
                </a:cubicBezTo>
                <a:cubicBezTo>
                  <a:pt x="646654" y="4423854"/>
                  <a:pt x="646654" y="4422924"/>
                  <a:pt x="646963" y="4421892"/>
                </a:cubicBezTo>
                <a:cubicBezTo>
                  <a:pt x="647273" y="4420653"/>
                  <a:pt x="648821" y="4417762"/>
                  <a:pt x="649131" y="4418484"/>
                </a:cubicBezTo>
                <a:cubicBezTo>
                  <a:pt x="650216" y="4418794"/>
                  <a:pt x="649906" y="4418071"/>
                  <a:pt x="650681" y="4417658"/>
                </a:cubicBezTo>
                <a:close/>
                <a:moveTo>
                  <a:pt x="5967177" y="4417470"/>
                </a:moveTo>
                <a:cubicBezTo>
                  <a:pt x="5967177" y="4417470"/>
                  <a:pt x="5967177" y="4417470"/>
                  <a:pt x="5968106" y="4419329"/>
                </a:cubicBezTo>
                <a:cubicBezTo>
                  <a:pt x="5968106" y="4420154"/>
                  <a:pt x="5968261" y="4421084"/>
                  <a:pt x="5967331" y="4421910"/>
                </a:cubicBezTo>
                <a:cubicBezTo>
                  <a:pt x="5966557" y="4422839"/>
                  <a:pt x="5964853" y="4422736"/>
                  <a:pt x="5963924" y="4422633"/>
                </a:cubicBezTo>
                <a:cubicBezTo>
                  <a:pt x="5963924" y="4421806"/>
                  <a:pt x="5963149" y="4421703"/>
                  <a:pt x="5962994" y="4420877"/>
                </a:cubicBezTo>
                <a:cubicBezTo>
                  <a:pt x="5962065" y="4419018"/>
                  <a:pt x="5962065" y="4419018"/>
                  <a:pt x="5962994" y="4418089"/>
                </a:cubicBezTo>
                <a:cubicBezTo>
                  <a:pt x="5963769" y="4417263"/>
                  <a:pt x="5966402" y="4418399"/>
                  <a:pt x="5967177" y="4417470"/>
                </a:cubicBezTo>
                <a:close/>
                <a:moveTo>
                  <a:pt x="1036682" y="4417245"/>
                </a:moveTo>
                <a:cubicBezTo>
                  <a:pt x="1038851" y="4418071"/>
                  <a:pt x="1042568" y="4417968"/>
                  <a:pt x="1043033" y="4421479"/>
                </a:cubicBezTo>
                <a:cubicBezTo>
                  <a:pt x="1041329" y="4420859"/>
                  <a:pt x="1038076" y="4420137"/>
                  <a:pt x="1036992" y="4418794"/>
                </a:cubicBezTo>
                <a:cubicBezTo>
                  <a:pt x="1036528" y="4418381"/>
                  <a:pt x="1036528" y="4417865"/>
                  <a:pt x="1036682" y="4417245"/>
                </a:cubicBezTo>
                <a:close/>
                <a:moveTo>
                  <a:pt x="5579471" y="4416747"/>
                </a:moveTo>
                <a:cubicBezTo>
                  <a:pt x="5579471" y="4416747"/>
                  <a:pt x="5579471" y="4416850"/>
                  <a:pt x="5580245" y="4417263"/>
                </a:cubicBezTo>
                <a:cubicBezTo>
                  <a:pt x="5581485" y="4418089"/>
                  <a:pt x="5582259" y="4418502"/>
                  <a:pt x="5582879" y="4419018"/>
                </a:cubicBezTo>
                <a:cubicBezTo>
                  <a:pt x="5583033" y="4420154"/>
                  <a:pt x="5583033" y="4423252"/>
                  <a:pt x="5581794" y="4423562"/>
                </a:cubicBezTo>
                <a:cubicBezTo>
                  <a:pt x="5580710" y="4423872"/>
                  <a:pt x="5579471" y="4423872"/>
                  <a:pt x="5578542" y="4423665"/>
                </a:cubicBezTo>
                <a:cubicBezTo>
                  <a:pt x="5577612" y="4423459"/>
                  <a:pt x="5576993" y="4423045"/>
                  <a:pt x="5576838" y="4422426"/>
                </a:cubicBezTo>
                <a:cubicBezTo>
                  <a:pt x="5576528" y="4420671"/>
                  <a:pt x="5576218" y="4418915"/>
                  <a:pt x="5577612" y="4417779"/>
                </a:cubicBezTo>
                <a:cubicBezTo>
                  <a:pt x="5578077" y="4417367"/>
                  <a:pt x="5578697" y="4417057"/>
                  <a:pt x="5579471" y="4416747"/>
                </a:cubicBezTo>
                <a:close/>
                <a:moveTo>
                  <a:pt x="5959432" y="4415921"/>
                </a:moveTo>
                <a:cubicBezTo>
                  <a:pt x="5959432" y="4415921"/>
                  <a:pt x="5960206" y="4416850"/>
                  <a:pt x="5960206" y="4416850"/>
                </a:cubicBezTo>
                <a:cubicBezTo>
                  <a:pt x="5963304" y="4419948"/>
                  <a:pt x="5964698" y="4425420"/>
                  <a:pt x="5963769" y="4427072"/>
                </a:cubicBezTo>
                <a:cubicBezTo>
                  <a:pt x="5962839" y="4427796"/>
                  <a:pt x="5961600" y="4428208"/>
                  <a:pt x="5960206" y="4428105"/>
                </a:cubicBezTo>
                <a:cubicBezTo>
                  <a:pt x="5958812" y="4428002"/>
                  <a:pt x="5957418" y="4427279"/>
                  <a:pt x="5956334" y="4425834"/>
                </a:cubicBezTo>
                <a:cubicBezTo>
                  <a:pt x="5953855" y="4423665"/>
                  <a:pt x="5954010" y="4420258"/>
                  <a:pt x="5951687" y="4417263"/>
                </a:cubicBezTo>
                <a:cubicBezTo>
                  <a:pt x="5954475" y="4414166"/>
                  <a:pt x="5955404" y="4413443"/>
                  <a:pt x="5959432" y="4415921"/>
                </a:cubicBezTo>
                <a:close/>
                <a:moveTo>
                  <a:pt x="1443595" y="4415593"/>
                </a:moveTo>
                <a:cubicBezTo>
                  <a:pt x="1448086" y="4415593"/>
                  <a:pt x="1454282" y="4419001"/>
                  <a:pt x="1455057" y="4423957"/>
                </a:cubicBezTo>
                <a:lnTo>
                  <a:pt x="1454437" y="4426538"/>
                </a:lnTo>
                <a:lnTo>
                  <a:pt x="1455832" y="4424783"/>
                </a:lnTo>
                <a:cubicBezTo>
                  <a:pt x="1460788" y="4421272"/>
                  <a:pt x="1468223" y="4420963"/>
                  <a:pt x="1472560" y="4421995"/>
                </a:cubicBezTo>
                <a:cubicBezTo>
                  <a:pt x="1469927" y="4427984"/>
                  <a:pt x="1462802" y="4430875"/>
                  <a:pt x="1457071" y="4430772"/>
                </a:cubicBezTo>
                <a:cubicBezTo>
                  <a:pt x="1455212" y="4430669"/>
                  <a:pt x="1453353" y="4430256"/>
                  <a:pt x="1451959" y="4429533"/>
                </a:cubicBezTo>
                <a:lnTo>
                  <a:pt x="1453043" y="4428294"/>
                </a:lnTo>
                <a:lnTo>
                  <a:pt x="1448086" y="4422924"/>
                </a:lnTo>
                <a:cubicBezTo>
                  <a:pt x="1446228" y="4420756"/>
                  <a:pt x="1444524" y="4418381"/>
                  <a:pt x="1443595" y="4415593"/>
                </a:cubicBezTo>
                <a:close/>
                <a:moveTo>
                  <a:pt x="1483868" y="4415283"/>
                </a:moveTo>
                <a:cubicBezTo>
                  <a:pt x="1484332" y="4415490"/>
                  <a:pt x="1484642" y="4416109"/>
                  <a:pt x="1485107" y="4416936"/>
                </a:cubicBezTo>
                <a:lnTo>
                  <a:pt x="1485417" y="4417762"/>
                </a:lnTo>
                <a:lnTo>
                  <a:pt x="1488050" y="4419930"/>
                </a:lnTo>
                <a:lnTo>
                  <a:pt x="1488824" y="4420240"/>
                </a:lnTo>
                <a:lnTo>
                  <a:pt x="1488979" y="4419827"/>
                </a:lnTo>
                <a:cubicBezTo>
                  <a:pt x="1490374" y="4418381"/>
                  <a:pt x="1492697" y="4417348"/>
                  <a:pt x="1493781" y="4417865"/>
                </a:cubicBezTo>
                <a:cubicBezTo>
                  <a:pt x="1494711" y="4418381"/>
                  <a:pt x="1495020" y="4419207"/>
                  <a:pt x="1495020" y="4419207"/>
                </a:cubicBezTo>
                <a:lnTo>
                  <a:pt x="1493626" y="4421685"/>
                </a:lnTo>
                <a:lnTo>
                  <a:pt x="1494401" y="4421892"/>
                </a:lnTo>
                <a:cubicBezTo>
                  <a:pt x="1500751" y="4422718"/>
                  <a:pt x="1507412" y="4421479"/>
                  <a:pt x="1510665" y="4427777"/>
                </a:cubicBezTo>
                <a:lnTo>
                  <a:pt x="1505398" y="4428500"/>
                </a:lnTo>
                <a:lnTo>
                  <a:pt x="1506173" y="4429636"/>
                </a:lnTo>
                <a:cubicBezTo>
                  <a:pt x="1506638" y="4430772"/>
                  <a:pt x="1506792" y="4432424"/>
                  <a:pt x="1506173" y="4434489"/>
                </a:cubicBezTo>
                <a:cubicBezTo>
                  <a:pt x="1505553" y="4435625"/>
                  <a:pt x="1503694" y="4438206"/>
                  <a:pt x="1503385" y="4437380"/>
                </a:cubicBezTo>
                <a:cubicBezTo>
                  <a:pt x="1502300" y="4436967"/>
                  <a:pt x="1502610" y="4437793"/>
                  <a:pt x="1501836" y="4438103"/>
                </a:cubicBezTo>
                <a:cubicBezTo>
                  <a:pt x="1500132" y="4437483"/>
                  <a:pt x="1499048" y="4436554"/>
                  <a:pt x="1498428" y="4435522"/>
                </a:cubicBezTo>
                <a:cubicBezTo>
                  <a:pt x="1497653" y="4434386"/>
                  <a:pt x="1497499" y="4433043"/>
                  <a:pt x="1497963" y="4431598"/>
                </a:cubicBezTo>
                <a:lnTo>
                  <a:pt x="1499202" y="4429533"/>
                </a:lnTo>
                <a:lnTo>
                  <a:pt x="1498428" y="4429636"/>
                </a:lnTo>
                <a:lnTo>
                  <a:pt x="1497344" y="4429533"/>
                </a:lnTo>
                <a:lnTo>
                  <a:pt x="1497034" y="4431082"/>
                </a:lnTo>
                <a:lnTo>
                  <a:pt x="1493936" y="4429533"/>
                </a:lnTo>
                <a:lnTo>
                  <a:pt x="1494246" y="4429223"/>
                </a:lnTo>
                <a:lnTo>
                  <a:pt x="1491767" y="4428913"/>
                </a:lnTo>
                <a:cubicBezTo>
                  <a:pt x="1489444" y="4428294"/>
                  <a:pt x="1486811" y="4427365"/>
                  <a:pt x="1484177" y="4425712"/>
                </a:cubicBezTo>
                <a:cubicBezTo>
                  <a:pt x="1484177" y="4424370"/>
                  <a:pt x="1483558" y="4422821"/>
                  <a:pt x="1483248" y="4421272"/>
                </a:cubicBezTo>
                <a:lnTo>
                  <a:pt x="1483248" y="4419414"/>
                </a:lnTo>
                <a:lnTo>
                  <a:pt x="1482784" y="4418588"/>
                </a:lnTo>
                <a:cubicBezTo>
                  <a:pt x="1482628" y="4417555"/>
                  <a:pt x="1482784" y="4416523"/>
                  <a:pt x="1483868" y="4415283"/>
                </a:cubicBezTo>
                <a:close/>
                <a:moveTo>
                  <a:pt x="6253115" y="4414475"/>
                </a:moveTo>
                <a:lnTo>
                  <a:pt x="6254199" y="4418193"/>
                </a:lnTo>
                <a:lnTo>
                  <a:pt x="6254509" y="4417676"/>
                </a:lnTo>
                <a:lnTo>
                  <a:pt x="6259775" y="4422116"/>
                </a:lnTo>
                <a:lnTo>
                  <a:pt x="6263958" y="4423252"/>
                </a:lnTo>
                <a:cubicBezTo>
                  <a:pt x="6265817" y="4423665"/>
                  <a:pt x="6267520" y="4423975"/>
                  <a:pt x="6269069" y="4424491"/>
                </a:cubicBezTo>
                <a:lnTo>
                  <a:pt x="6269844" y="4424698"/>
                </a:lnTo>
                <a:lnTo>
                  <a:pt x="6267365" y="4422116"/>
                </a:lnTo>
                <a:cubicBezTo>
                  <a:pt x="6262873" y="4419535"/>
                  <a:pt x="6257607" y="4418709"/>
                  <a:pt x="6254044" y="4416024"/>
                </a:cubicBezTo>
                <a:close/>
                <a:moveTo>
                  <a:pt x="4918683" y="4414475"/>
                </a:moveTo>
                <a:cubicBezTo>
                  <a:pt x="4917754" y="4415301"/>
                  <a:pt x="4917754" y="4415301"/>
                  <a:pt x="4918529" y="4416128"/>
                </a:cubicBezTo>
                <a:cubicBezTo>
                  <a:pt x="4918529" y="4416128"/>
                  <a:pt x="4918529" y="4416128"/>
                  <a:pt x="4919303" y="4416128"/>
                </a:cubicBezTo>
                <a:cubicBezTo>
                  <a:pt x="4919148" y="4416953"/>
                  <a:pt x="4918374" y="4416953"/>
                  <a:pt x="4918374" y="4417779"/>
                </a:cubicBezTo>
                <a:cubicBezTo>
                  <a:pt x="4918374" y="4417779"/>
                  <a:pt x="4917599" y="4417779"/>
                  <a:pt x="4917599" y="4417779"/>
                </a:cubicBezTo>
                <a:cubicBezTo>
                  <a:pt x="4917444" y="4418193"/>
                  <a:pt x="4917444" y="4418193"/>
                  <a:pt x="4917289" y="4417986"/>
                </a:cubicBezTo>
                <a:cubicBezTo>
                  <a:pt x="4917134" y="4417779"/>
                  <a:pt x="4916825" y="4417367"/>
                  <a:pt x="4916050" y="4416953"/>
                </a:cubicBezTo>
                <a:cubicBezTo>
                  <a:pt x="4915586" y="4416540"/>
                  <a:pt x="4915276" y="4416334"/>
                  <a:pt x="4915121" y="4416024"/>
                </a:cubicBezTo>
                <a:cubicBezTo>
                  <a:pt x="4914966" y="4415817"/>
                  <a:pt x="4914966" y="4415611"/>
                  <a:pt x="4915431" y="4415198"/>
                </a:cubicBezTo>
                <a:cubicBezTo>
                  <a:pt x="4916205" y="4414475"/>
                  <a:pt x="4916205" y="4414372"/>
                  <a:pt x="4918683" y="4414475"/>
                </a:cubicBezTo>
                <a:close/>
                <a:moveTo>
                  <a:pt x="1779100" y="4413735"/>
                </a:moveTo>
                <a:cubicBezTo>
                  <a:pt x="1784986" y="4417245"/>
                  <a:pt x="1791802" y="4420549"/>
                  <a:pt x="1790253" y="4426229"/>
                </a:cubicBezTo>
                <a:cubicBezTo>
                  <a:pt x="1789013" y="4426848"/>
                  <a:pt x="1787774" y="4426951"/>
                  <a:pt x="1786690" y="4426745"/>
                </a:cubicBezTo>
                <a:lnTo>
                  <a:pt x="1784211" y="4425609"/>
                </a:lnTo>
                <a:lnTo>
                  <a:pt x="1783592" y="4426229"/>
                </a:lnTo>
                <a:cubicBezTo>
                  <a:pt x="1782043" y="4424990"/>
                  <a:pt x="1780649" y="4423750"/>
                  <a:pt x="1780029" y="4421892"/>
                </a:cubicBezTo>
                <a:lnTo>
                  <a:pt x="1777706" y="4419414"/>
                </a:lnTo>
                <a:cubicBezTo>
                  <a:pt x="1778945" y="4417245"/>
                  <a:pt x="1777861" y="4415903"/>
                  <a:pt x="1779100" y="4413735"/>
                </a:cubicBezTo>
                <a:close/>
                <a:moveTo>
                  <a:pt x="1092755" y="4413528"/>
                </a:moveTo>
                <a:cubicBezTo>
                  <a:pt x="1092755" y="4413528"/>
                  <a:pt x="1093529" y="4413528"/>
                  <a:pt x="1094303" y="4414354"/>
                </a:cubicBezTo>
                <a:cubicBezTo>
                  <a:pt x="1094303" y="4414354"/>
                  <a:pt x="1094149" y="4414561"/>
                  <a:pt x="1093839" y="4414664"/>
                </a:cubicBezTo>
                <a:cubicBezTo>
                  <a:pt x="1093529" y="4414767"/>
                  <a:pt x="1093219" y="4414767"/>
                  <a:pt x="1092755" y="4414354"/>
                </a:cubicBezTo>
                <a:cubicBezTo>
                  <a:pt x="1092755" y="4414354"/>
                  <a:pt x="1092755" y="4414251"/>
                  <a:pt x="1092755" y="4413528"/>
                </a:cubicBezTo>
                <a:close/>
                <a:moveTo>
                  <a:pt x="1581143" y="4413322"/>
                </a:moveTo>
                <a:cubicBezTo>
                  <a:pt x="1582537" y="4416316"/>
                  <a:pt x="1580678" y="4418484"/>
                  <a:pt x="1578354" y="4419001"/>
                </a:cubicBezTo>
                <a:cubicBezTo>
                  <a:pt x="1576031" y="4419517"/>
                  <a:pt x="1573397" y="4418278"/>
                  <a:pt x="1573553" y="4414354"/>
                </a:cubicBezTo>
                <a:cubicBezTo>
                  <a:pt x="1576960" y="4413632"/>
                  <a:pt x="1579284" y="4413115"/>
                  <a:pt x="1581143" y="4413322"/>
                </a:cubicBezTo>
                <a:close/>
                <a:moveTo>
                  <a:pt x="1299076" y="4413218"/>
                </a:moveTo>
                <a:cubicBezTo>
                  <a:pt x="1297837" y="4414457"/>
                  <a:pt x="1297837" y="4414457"/>
                  <a:pt x="1299076" y="4415593"/>
                </a:cubicBezTo>
                <a:cubicBezTo>
                  <a:pt x="1299076" y="4415593"/>
                  <a:pt x="1299076" y="4415593"/>
                  <a:pt x="1300470" y="4415593"/>
                </a:cubicBezTo>
                <a:cubicBezTo>
                  <a:pt x="1300470" y="4416832"/>
                  <a:pt x="1299076" y="4416832"/>
                  <a:pt x="1299076" y="4417968"/>
                </a:cubicBezTo>
                <a:cubicBezTo>
                  <a:pt x="1299076" y="4417968"/>
                  <a:pt x="1297837" y="4417968"/>
                  <a:pt x="1297837" y="4417968"/>
                </a:cubicBezTo>
                <a:cubicBezTo>
                  <a:pt x="1297837" y="4418588"/>
                  <a:pt x="1297837" y="4418588"/>
                  <a:pt x="1297527" y="4418381"/>
                </a:cubicBezTo>
                <a:cubicBezTo>
                  <a:pt x="1297218" y="4418071"/>
                  <a:pt x="1296598" y="4417452"/>
                  <a:pt x="1295204" y="4416832"/>
                </a:cubicBezTo>
                <a:cubicBezTo>
                  <a:pt x="1293965" y="4415697"/>
                  <a:pt x="1292725" y="4415593"/>
                  <a:pt x="1293965" y="4414354"/>
                </a:cubicBezTo>
                <a:cubicBezTo>
                  <a:pt x="1295204" y="4413218"/>
                  <a:pt x="1295204" y="4413218"/>
                  <a:pt x="1299076" y="4413218"/>
                </a:cubicBezTo>
                <a:close/>
                <a:moveTo>
                  <a:pt x="1278785" y="4413115"/>
                </a:moveTo>
                <a:cubicBezTo>
                  <a:pt x="1281108" y="4411773"/>
                  <a:pt x="1285135" y="4412909"/>
                  <a:pt x="1291642" y="4419001"/>
                </a:cubicBezTo>
                <a:cubicBezTo>
                  <a:pt x="1289473" y="4424990"/>
                  <a:pt x="1287149" y="4427881"/>
                  <a:pt x="1284981" y="4428707"/>
                </a:cubicBezTo>
                <a:cubicBezTo>
                  <a:pt x="1282812" y="4429636"/>
                  <a:pt x="1280799" y="4428500"/>
                  <a:pt x="1279405" y="4426435"/>
                </a:cubicBezTo>
                <a:cubicBezTo>
                  <a:pt x="1276461" y="4422511"/>
                  <a:pt x="1275533" y="4415077"/>
                  <a:pt x="1278785" y="4413115"/>
                </a:cubicBezTo>
                <a:close/>
                <a:moveTo>
                  <a:pt x="1103752" y="4413012"/>
                </a:moveTo>
                <a:cubicBezTo>
                  <a:pt x="1104062" y="4413735"/>
                  <a:pt x="1105146" y="4414044"/>
                  <a:pt x="1105920" y="4413528"/>
                </a:cubicBezTo>
                <a:cubicBezTo>
                  <a:pt x="1107005" y="4413838"/>
                  <a:pt x="1108244" y="4414148"/>
                  <a:pt x="1107934" y="4413322"/>
                </a:cubicBezTo>
                <a:cubicBezTo>
                  <a:pt x="1111342" y="4414148"/>
                  <a:pt x="1111962" y="4413735"/>
                  <a:pt x="1112427" y="4416419"/>
                </a:cubicBezTo>
                <a:cubicBezTo>
                  <a:pt x="1106075" y="4419414"/>
                  <a:pt x="1097711" y="4420653"/>
                  <a:pt x="1095853" y="4420859"/>
                </a:cubicBezTo>
                <a:cubicBezTo>
                  <a:pt x="1094923" y="4420963"/>
                  <a:pt x="1094303" y="4420756"/>
                  <a:pt x="1093994" y="4420446"/>
                </a:cubicBezTo>
                <a:cubicBezTo>
                  <a:pt x="1093684" y="4420033"/>
                  <a:pt x="1093529" y="4419310"/>
                  <a:pt x="1093529" y="4418381"/>
                </a:cubicBezTo>
                <a:cubicBezTo>
                  <a:pt x="1095388" y="4414251"/>
                  <a:pt x="1099570" y="4414664"/>
                  <a:pt x="1103752" y="4413012"/>
                </a:cubicBezTo>
                <a:close/>
                <a:moveTo>
                  <a:pt x="966514" y="4412909"/>
                </a:moveTo>
                <a:cubicBezTo>
                  <a:pt x="967908" y="4412082"/>
                  <a:pt x="969922" y="4413218"/>
                  <a:pt x="970386" y="4414871"/>
                </a:cubicBezTo>
                <a:lnTo>
                  <a:pt x="969767" y="4417039"/>
                </a:lnTo>
                <a:lnTo>
                  <a:pt x="971471" y="4416832"/>
                </a:lnTo>
                <a:cubicBezTo>
                  <a:pt x="971006" y="4418071"/>
                  <a:pt x="970077" y="4421685"/>
                  <a:pt x="970077" y="4421685"/>
                </a:cubicBezTo>
                <a:cubicBezTo>
                  <a:pt x="970386" y="4422408"/>
                  <a:pt x="970386" y="4422408"/>
                  <a:pt x="970077" y="4423544"/>
                </a:cubicBezTo>
                <a:cubicBezTo>
                  <a:pt x="968838" y="4423234"/>
                  <a:pt x="968838" y="4423338"/>
                  <a:pt x="968528" y="4422615"/>
                </a:cubicBezTo>
                <a:cubicBezTo>
                  <a:pt x="968838" y="4421376"/>
                  <a:pt x="969612" y="4420963"/>
                  <a:pt x="970077" y="4419723"/>
                </a:cubicBezTo>
                <a:cubicBezTo>
                  <a:pt x="967753" y="4419207"/>
                  <a:pt x="968218" y="4419930"/>
                  <a:pt x="968528" y="4418691"/>
                </a:cubicBezTo>
                <a:cubicBezTo>
                  <a:pt x="968528" y="4418691"/>
                  <a:pt x="968528" y="4418691"/>
                  <a:pt x="968838" y="4417452"/>
                </a:cubicBezTo>
                <a:lnTo>
                  <a:pt x="968992" y="4417245"/>
                </a:lnTo>
                <a:lnTo>
                  <a:pt x="968838" y="4417142"/>
                </a:lnTo>
                <a:lnTo>
                  <a:pt x="968838" y="4417452"/>
                </a:lnTo>
                <a:lnTo>
                  <a:pt x="961248" y="4421582"/>
                </a:lnTo>
                <a:lnTo>
                  <a:pt x="961248" y="4422615"/>
                </a:lnTo>
                <a:cubicBezTo>
                  <a:pt x="961712" y="4421789"/>
                  <a:pt x="961867" y="4423028"/>
                  <a:pt x="961867" y="4423028"/>
                </a:cubicBezTo>
                <a:cubicBezTo>
                  <a:pt x="961867" y="4423028"/>
                  <a:pt x="961867" y="4423028"/>
                  <a:pt x="964191" y="4422408"/>
                </a:cubicBezTo>
                <a:cubicBezTo>
                  <a:pt x="964191" y="4422408"/>
                  <a:pt x="969612" y="4421479"/>
                  <a:pt x="971006" y="4426745"/>
                </a:cubicBezTo>
                <a:cubicBezTo>
                  <a:pt x="970541" y="4426848"/>
                  <a:pt x="970541" y="4427984"/>
                  <a:pt x="970386" y="4429326"/>
                </a:cubicBezTo>
                <a:lnTo>
                  <a:pt x="969922" y="4431908"/>
                </a:lnTo>
                <a:lnTo>
                  <a:pt x="970232" y="4430772"/>
                </a:lnTo>
                <a:cubicBezTo>
                  <a:pt x="971161" y="4429739"/>
                  <a:pt x="972400" y="4429223"/>
                  <a:pt x="973949" y="4429223"/>
                </a:cubicBezTo>
                <a:cubicBezTo>
                  <a:pt x="976427" y="4432321"/>
                  <a:pt x="975343" y="4435212"/>
                  <a:pt x="972400" y="4435832"/>
                </a:cubicBezTo>
                <a:lnTo>
                  <a:pt x="968992" y="4435625"/>
                </a:lnTo>
                <a:lnTo>
                  <a:pt x="968838" y="4435728"/>
                </a:lnTo>
                <a:cubicBezTo>
                  <a:pt x="968682" y="4437277"/>
                  <a:pt x="968528" y="4438619"/>
                  <a:pt x="968528" y="4439445"/>
                </a:cubicBezTo>
                <a:cubicBezTo>
                  <a:pt x="967753" y="4439858"/>
                  <a:pt x="967753" y="4439858"/>
                  <a:pt x="967753" y="4439858"/>
                </a:cubicBezTo>
                <a:cubicBezTo>
                  <a:pt x="966824" y="4439962"/>
                  <a:pt x="966360" y="4439549"/>
                  <a:pt x="966205" y="4438619"/>
                </a:cubicBezTo>
                <a:lnTo>
                  <a:pt x="966205" y="4437277"/>
                </a:lnTo>
                <a:lnTo>
                  <a:pt x="963261" y="4438929"/>
                </a:lnTo>
                <a:cubicBezTo>
                  <a:pt x="961248" y="4437587"/>
                  <a:pt x="957685" y="4438619"/>
                  <a:pt x="955516" y="4432940"/>
                </a:cubicBezTo>
                <a:cubicBezTo>
                  <a:pt x="953967" y="4426538"/>
                  <a:pt x="960318" y="4424164"/>
                  <a:pt x="959544" y="4423647"/>
                </a:cubicBezTo>
                <a:lnTo>
                  <a:pt x="959389" y="4422924"/>
                </a:lnTo>
                <a:lnTo>
                  <a:pt x="958615" y="4423647"/>
                </a:lnTo>
                <a:cubicBezTo>
                  <a:pt x="957995" y="4424060"/>
                  <a:pt x="957840" y="4424370"/>
                  <a:pt x="957840" y="4424370"/>
                </a:cubicBezTo>
                <a:cubicBezTo>
                  <a:pt x="955981" y="4424576"/>
                  <a:pt x="955516" y="4423750"/>
                  <a:pt x="955981" y="4424576"/>
                </a:cubicBezTo>
                <a:cubicBezTo>
                  <a:pt x="953658" y="4423957"/>
                  <a:pt x="950715" y="4423854"/>
                  <a:pt x="950715" y="4421995"/>
                </a:cubicBezTo>
                <a:cubicBezTo>
                  <a:pt x="951799" y="4416936"/>
                  <a:pt x="958304" y="4416109"/>
                  <a:pt x="962642" y="4415800"/>
                </a:cubicBezTo>
                <a:lnTo>
                  <a:pt x="965430" y="4415490"/>
                </a:lnTo>
                <a:close/>
                <a:moveTo>
                  <a:pt x="600185" y="4412289"/>
                </a:moveTo>
                <a:cubicBezTo>
                  <a:pt x="605296" y="4408159"/>
                  <a:pt x="621870" y="4413115"/>
                  <a:pt x="621715" y="4422408"/>
                </a:cubicBezTo>
                <a:cubicBezTo>
                  <a:pt x="615984" y="4420240"/>
                  <a:pt x="610717" y="4417555"/>
                  <a:pt x="602352" y="4417555"/>
                </a:cubicBezTo>
                <a:cubicBezTo>
                  <a:pt x="602508" y="4415077"/>
                  <a:pt x="599410" y="4415283"/>
                  <a:pt x="600185" y="4412289"/>
                </a:cubicBezTo>
                <a:close/>
                <a:moveTo>
                  <a:pt x="1307441" y="4412186"/>
                </a:moveTo>
                <a:cubicBezTo>
                  <a:pt x="1308835" y="4411876"/>
                  <a:pt x="1310694" y="4412186"/>
                  <a:pt x="1312553" y="4413838"/>
                </a:cubicBezTo>
                <a:cubicBezTo>
                  <a:pt x="1313327" y="4418071"/>
                  <a:pt x="1309300" y="4420137"/>
                  <a:pt x="1308215" y="4423131"/>
                </a:cubicBezTo>
                <a:cubicBezTo>
                  <a:pt x="1306356" y="4422615"/>
                  <a:pt x="1305272" y="4421789"/>
                  <a:pt x="1304498" y="4420756"/>
                </a:cubicBezTo>
                <a:cubicBezTo>
                  <a:pt x="1302329" y="4417658"/>
                  <a:pt x="1304033" y="4413012"/>
                  <a:pt x="1307441" y="4412186"/>
                </a:cubicBezTo>
                <a:close/>
                <a:moveTo>
                  <a:pt x="1686937" y="4411979"/>
                </a:moveTo>
                <a:cubicBezTo>
                  <a:pt x="1692978" y="4412082"/>
                  <a:pt x="1702891" y="4418588"/>
                  <a:pt x="1699328" y="4425919"/>
                </a:cubicBezTo>
                <a:cubicBezTo>
                  <a:pt x="1695302" y="4421582"/>
                  <a:pt x="1689725" y="4417555"/>
                  <a:pt x="1686937" y="4411979"/>
                </a:cubicBezTo>
                <a:close/>
                <a:moveTo>
                  <a:pt x="5681083" y="4411481"/>
                </a:moveTo>
                <a:cubicBezTo>
                  <a:pt x="5685575" y="4408486"/>
                  <a:pt x="5699051" y="4422013"/>
                  <a:pt x="5681238" y="4421187"/>
                </a:cubicBezTo>
                <a:cubicBezTo>
                  <a:pt x="5679224" y="4415405"/>
                  <a:pt x="5679689" y="4412513"/>
                  <a:pt x="5681083" y="4411481"/>
                </a:cubicBezTo>
                <a:close/>
                <a:moveTo>
                  <a:pt x="6074829" y="4411377"/>
                </a:moveTo>
                <a:cubicBezTo>
                  <a:pt x="6075604" y="4411791"/>
                  <a:pt x="6076068" y="4411068"/>
                  <a:pt x="6076843" y="4411481"/>
                </a:cubicBezTo>
                <a:cubicBezTo>
                  <a:pt x="6078702" y="4411584"/>
                  <a:pt x="6078702" y="4411584"/>
                  <a:pt x="6078857" y="4412823"/>
                </a:cubicBezTo>
                <a:cubicBezTo>
                  <a:pt x="6079167" y="4414062"/>
                  <a:pt x="6076843" y="4415921"/>
                  <a:pt x="6077153" y="4417160"/>
                </a:cubicBezTo>
                <a:cubicBezTo>
                  <a:pt x="6077153" y="4417160"/>
                  <a:pt x="6077153" y="4417160"/>
                  <a:pt x="6075139" y="4417057"/>
                </a:cubicBezTo>
                <a:cubicBezTo>
                  <a:pt x="6074520" y="4416540"/>
                  <a:pt x="6073745" y="4416128"/>
                  <a:pt x="6073590" y="4414888"/>
                </a:cubicBezTo>
                <a:cubicBezTo>
                  <a:pt x="6073435" y="4413649"/>
                  <a:pt x="6074365" y="4412100"/>
                  <a:pt x="6074829" y="4411377"/>
                </a:cubicBezTo>
                <a:close/>
                <a:moveTo>
                  <a:pt x="1593534" y="4410121"/>
                </a:moveTo>
                <a:cubicBezTo>
                  <a:pt x="1593689" y="4410947"/>
                  <a:pt x="1594618" y="4411463"/>
                  <a:pt x="1594929" y="4412289"/>
                </a:cubicBezTo>
                <a:cubicBezTo>
                  <a:pt x="1594309" y="4413425"/>
                  <a:pt x="1593225" y="4413838"/>
                  <a:pt x="1592295" y="4413838"/>
                </a:cubicBezTo>
                <a:cubicBezTo>
                  <a:pt x="1591521" y="4413838"/>
                  <a:pt x="1590591" y="4413425"/>
                  <a:pt x="1590591" y="4413012"/>
                </a:cubicBezTo>
                <a:cubicBezTo>
                  <a:pt x="1591211" y="4411876"/>
                  <a:pt x="1592915" y="4411256"/>
                  <a:pt x="1593534" y="4410121"/>
                </a:cubicBezTo>
                <a:close/>
                <a:moveTo>
                  <a:pt x="1084235" y="4409811"/>
                </a:moveTo>
                <a:cubicBezTo>
                  <a:pt x="1085010" y="4409811"/>
                  <a:pt x="1085165" y="4413218"/>
                  <a:pt x="1084390" y="4414044"/>
                </a:cubicBezTo>
                <a:cubicBezTo>
                  <a:pt x="1082841" y="4415697"/>
                  <a:pt x="1082066" y="4416523"/>
                  <a:pt x="1080363" y="4416419"/>
                </a:cubicBezTo>
                <a:cubicBezTo>
                  <a:pt x="1079588" y="4417245"/>
                  <a:pt x="1078659" y="4418071"/>
                  <a:pt x="1077885" y="4418484"/>
                </a:cubicBezTo>
                <a:cubicBezTo>
                  <a:pt x="1077419" y="4418691"/>
                  <a:pt x="1077110" y="4418794"/>
                  <a:pt x="1076645" y="4418691"/>
                </a:cubicBezTo>
                <a:cubicBezTo>
                  <a:pt x="1076181" y="4418691"/>
                  <a:pt x="1075871" y="4418381"/>
                  <a:pt x="1075406" y="4417968"/>
                </a:cubicBezTo>
                <a:cubicBezTo>
                  <a:pt x="1076026" y="4415387"/>
                  <a:pt x="1076800" y="4413735"/>
                  <a:pt x="1078349" y="4411256"/>
                </a:cubicBezTo>
                <a:cubicBezTo>
                  <a:pt x="1078349" y="4411256"/>
                  <a:pt x="1081602" y="4407952"/>
                  <a:pt x="1084235" y="4409811"/>
                </a:cubicBezTo>
                <a:close/>
                <a:moveTo>
                  <a:pt x="1021812" y="4409398"/>
                </a:moveTo>
                <a:cubicBezTo>
                  <a:pt x="1026304" y="4411463"/>
                  <a:pt x="1026923" y="4419001"/>
                  <a:pt x="1023361" y="4423854"/>
                </a:cubicBezTo>
                <a:lnTo>
                  <a:pt x="1021967" y="4424886"/>
                </a:lnTo>
                <a:lnTo>
                  <a:pt x="1028473" y="4426229"/>
                </a:lnTo>
                <a:cubicBezTo>
                  <a:pt x="1035598" y="4426332"/>
                  <a:pt x="1042723" y="4424060"/>
                  <a:pt x="1047370" y="4428810"/>
                </a:cubicBezTo>
                <a:cubicBezTo>
                  <a:pt x="1041329" y="4430152"/>
                  <a:pt x="1033429" y="4435832"/>
                  <a:pt x="1027853" y="4435109"/>
                </a:cubicBezTo>
                <a:cubicBezTo>
                  <a:pt x="1026149" y="4434902"/>
                  <a:pt x="1024755" y="4434076"/>
                  <a:pt x="1023671" y="4432424"/>
                </a:cubicBezTo>
                <a:lnTo>
                  <a:pt x="1021502" y="4425196"/>
                </a:lnTo>
                <a:lnTo>
                  <a:pt x="1018249" y="4427674"/>
                </a:lnTo>
                <a:cubicBezTo>
                  <a:pt x="1015461" y="4426745"/>
                  <a:pt x="1013758" y="4423647"/>
                  <a:pt x="1012983" y="4420137"/>
                </a:cubicBezTo>
                <a:cubicBezTo>
                  <a:pt x="1012054" y="4416626"/>
                  <a:pt x="1012364" y="4412805"/>
                  <a:pt x="1013602" y="4410431"/>
                </a:cubicBezTo>
                <a:cubicBezTo>
                  <a:pt x="1017165" y="4408572"/>
                  <a:pt x="1019798" y="4408469"/>
                  <a:pt x="1021812" y="4409398"/>
                </a:cubicBezTo>
                <a:close/>
                <a:moveTo>
                  <a:pt x="1610728" y="4409295"/>
                </a:moveTo>
                <a:cubicBezTo>
                  <a:pt x="1610418" y="4413218"/>
                  <a:pt x="1610573" y="4415903"/>
                  <a:pt x="1610108" y="4419827"/>
                </a:cubicBezTo>
                <a:cubicBezTo>
                  <a:pt x="1609643" y="4420963"/>
                  <a:pt x="1607165" y="4424060"/>
                  <a:pt x="1606081" y="4423647"/>
                </a:cubicBezTo>
                <a:cubicBezTo>
                  <a:pt x="1604996" y="4423338"/>
                  <a:pt x="1604686" y="4422511"/>
                  <a:pt x="1604377" y="4421789"/>
                </a:cubicBezTo>
                <a:cubicBezTo>
                  <a:pt x="1604532" y="4419827"/>
                  <a:pt x="1604841" y="4417865"/>
                  <a:pt x="1604996" y="4415903"/>
                </a:cubicBezTo>
                <a:cubicBezTo>
                  <a:pt x="1606391" y="4412496"/>
                  <a:pt x="1607785" y="4408881"/>
                  <a:pt x="1610728" y="4409295"/>
                </a:cubicBezTo>
                <a:close/>
                <a:moveTo>
                  <a:pt x="996255" y="4408262"/>
                </a:moveTo>
                <a:cubicBezTo>
                  <a:pt x="996255" y="4408262"/>
                  <a:pt x="1000746" y="4409398"/>
                  <a:pt x="1000437" y="4412496"/>
                </a:cubicBezTo>
                <a:cubicBezTo>
                  <a:pt x="1000901" y="4413218"/>
                  <a:pt x="997958" y="4415077"/>
                  <a:pt x="996719" y="4414767"/>
                </a:cubicBezTo>
                <a:cubicBezTo>
                  <a:pt x="994550" y="4414251"/>
                  <a:pt x="993466" y="4414044"/>
                  <a:pt x="992692" y="4412496"/>
                </a:cubicBezTo>
                <a:cubicBezTo>
                  <a:pt x="991607" y="4412289"/>
                  <a:pt x="990523" y="4411979"/>
                  <a:pt x="989748" y="4411463"/>
                </a:cubicBezTo>
                <a:cubicBezTo>
                  <a:pt x="988974" y="4410947"/>
                  <a:pt x="988664" y="4410121"/>
                  <a:pt x="988974" y="4408985"/>
                </a:cubicBezTo>
                <a:cubicBezTo>
                  <a:pt x="991607" y="4408365"/>
                  <a:pt x="993311" y="4408159"/>
                  <a:pt x="996255" y="4408262"/>
                </a:cubicBezTo>
                <a:close/>
                <a:moveTo>
                  <a:pt x="5954165" y="4407970"/>
                </a:moveTo>
                <a:cubicBezTo>
                  <a:pt x="5950757" y="4409829"/>
                  <a:pt x="5949983" y="4412823"/>
                  <a:pt x="5948124" y="4413443"/>
                </a:cubicBezTo>
                <a:cubicBezTo>
                  <a:pt x="5947505" y="4413649"/>
                  <a:pt x="5946730" y="4413546"/>
                  <a:pt x="5945646" y="4413133"/>
                </a:cubicBezTo>
                <a:cubicBezTo>
                  <a:pt x="5945336" y="4409416"/>
                  <a:pt x="5950912" y="4406318"/>
                  <a:pt x="5954165" y="4407970"/>
                </a:cubicBezTo>
                <a:close/>
                <a:moveTo>
                  <a:pt x="1257564" y="4407436"/>
                </a:moveTo>
                <a:cubicBezTo>
                  <a:pt x="1258339" y="4407230"/>
                  <a:pt x="1259268" y="4407333"/>
                  <a:pt x="1260043" y="4408159"/>
                </a:cubicBezTo>
                <a:cubicBezTo>
                  <a:pt x="1259578" y="4410121"/>
                  <a:pt x="1258803" y="4411153"/>
                  <a:pt x="1257564" y="4413322"/>
                </a:cubicBezTo>
                <a:cubicBezTo>
                  <a:pt x="1256635" y="4413115"/>
                  <a:pt x="1256015" y="4412599"/>
                  <a:pt x="1255706" y="4412082"/>
                </a:cubicBezTo>
                <a:cubicBezTo>
                  <a:pt x="1254776" y="4410431"/>
                  <a:pt x="1256015" y="4407952"/>
                  <a:pt x="1257564" y="4407436"/>
                </a:cubicBezTo>
                <a:close/>
                <a:moveTo>
                  <a:pt x="1454747" y="4407023"/>
                </a:moveTo>
                <a:cubicBezTo>
                  <a:pt x="1456141" y="4407952"/>
                  <a:pt x="1458000" y="4407230"/>
                  <a:pt x="1459084" y="4410017"/>
                </a:cubicBezTo>
                <a:cubicBezTo>
                  <a:pt x="1457226" y="4411566"/>
                  <a:pt x="1455522" y="4412392"/>
                  <a:pt x="1453508" y="4413941"/>
                </a:cubicBezTo>
                <a:cubicBezTo>
                  <a:pt x="1452889" y="4413425"/>
                  <a:pt x="1452424" y="4412909"/>
                  <a:pt x="1452269" y="4412289"/>
                </a:cubicBezTo>
                <a:cubicBezTo>
                  <a:pt x="1451649" y="4410637"/>
                  <a:pt x="1453198" y="4408778"/>
                  <a:pt x="1454747" y="4407023"/>
                </a:cubicBezTo>
                <a:close/>
                <a:moveTo>
                  <a:pt x="1119087" y="4405577"/>
                </a:moveTo>
                <a:cubicBezTo>
                  <a:pt x="1126212" y="4410121"/>
                  <a:pt x="1134731" y="4410637"/>
                  <a:pt x="1136590" y="4414871"/>
                </a:cubicBezTo>
                <a:lnTo>
                  <a:pt x="1136126" y="4420343"/>
                </a:lnTo>
                <a:lnTo>
                  <a:pt x="1137830" y="4420343"/>
                </a:lnTo>
                <a:cubicBezTo>
                  <a:pt x="1137830" y="4420343"/>
                  <a:pt x="1138914" y="4420653"/>
                  <a:pt x="1139998" y="4421066"/>
                </a:cubicBezTo>
                <a:cubicBezTo>
                  <a:pt x="1139998" y="4421066"/>
                  <a:pt x="1140772" y="4420756"/>
                  <a:pt x="1141547" y="4420343"/>
                </a:cubicBezTo>
                <a:cubicBezTo>
                  <a:pt x="1144335" y="4420756"/>
                  <a:pt x="1146349" y="4420653"/>
                  <a:pt x="1146659" y="4424164"/>
                </a:cubicBezTo>
                <a:cubicBezTo>
                  <a:pt x="1145884" y="4424473"/>
                  <a:pt x="1143870" y="4423750"/>
                  <a:pt x="1142786" y="4423338"/>
                </a:cubicBezTo>
                <a:cubicBezTo>
                  <a:pt x="1142011" y="4423750"/>
                  <a:pt x="1140927" y="4423338"/>
                  <a:pt x="1140618" y="4422615"/>
                </a:cubicBezTo>
                <a:cubicBezTo>
                  <a:pt x="1140618" y="4422615"/>
                  <a:pt x="1139533" y="4422202"/>
                  <a:pt x="1138759" y="4422615"/>
                </a:cubicBezTo>
                <a:cubicBezTo>
                  <a:pt x="1137674" y="4422202"/>
                  <a:pt x="1137055" y="4421789"/>
                  <a:pt x="1136590" y="4421479"/>
                </a:cubicBezTo>
                <a:lnTo>
                  <a:pt x="1136126" y="4420446"/>
                </a:lnTo>
                <a:lnTo>
                  <a:pt x="1135971" y="4420549"/>
                </a:lnTo>
                <a:cubicBezTo>
                  <a:pt x="1130549" y="4420343"/>
                  <a:pt x="1110103" y="4414044"/>
                  <a:pt x="1119087" y="4405577"/>
                </a:cubicBezTo>
                <a:close/>
                <a:moveTo>
                  <a:pt x="621715" y="4404029"/>
                </a:moveTo>
                <a:cubicBezTo>
                  <a:pt x="621715" y="4405165"/>
                  <a:pt x="621560" y="4406404"/>
                  <a:pt x="621405" y="4407539"/>
                </a:cubicBezTo>
                <a:cubicBezTo>
                  <a:pt x="619082" y="4407230"/>
                  <a:pt x="616913" y="4406816"/>
                  <a:pt x="617068" y="4404442"/>
                </a:cubicBezTo>
                <a:cubicBezTo>
                  <a:pt x="618772" y="4404132"/>
                  <a:pt x="618927" y="4402996"/>
                  <a:pt x="621715" y="4404029"/>
                </a:cubicBezTo>
                <a:close/>
                <a:moveTo>
                  <a:pt x="1521353" y="4403822"/>
                </a:moveTo>
                <a:cubicBezTo>
                  <a:pt x="1523366" y="4402583"/>
                  <a:pt x="1527703" y="4403822"/>
                  <a:pt x="1535139" y="4410224"/>
                </a:cubicBezTo>
                <a:cubicBezTo>
                  <a:pt x="1533744" y="4416109"/>
                  <a:pt x="1531730" y="4418794"/>
                  <a:pt x="1529717" y="4419620"/>
                </a:cubicBezTo>
                <a:lnTo>
                  <a:pt x="1527549" y="4419723"/>
                </a:lnTo>
                <a:lnTo>
                  <a:pt x="1528633" y="4421479"/>
                </a:lnTo>
                <a:cubicBezTo>
                  <a:pt x="1529098" y="4422718"/>
                  <a:pt x="1529098" y="4424783"/>
                  <a:pt x="1528633" y="4426848"/>
                </a:cubicBezTo>
                <a:lnTo>
                  <a:pt x="1527549" y="4429636"/>
                </a:lnTo>
                <a:lnTo>
                  <a:pt x="1527858" y="4430772"/>
                </a:lnTo>
                <a:cubicBezTo>
                  <a:pt x="1526774" y="4434386"/>
                  <a:pt x="1522282" y="4439033"/>
                  <a:pt x="1518874" y="4438206"/>
                </a:cubicBezTo>
                <a:cubicBezTo>
                  <a:pt x="1516861" y="4438000"/>
                  <a:pt x="1515311" y="4437380"/>
                  <a:pt x="1514227" y="4436658"/>
                </a:cubicBezTo>
                <a:lnTo>
                  <a:pt x="1513453" y="4435728"/>
                </a:lnTo>
                <a:lnTo>
                  <a:pt x="1514382" y="4438516"/>
                </a:lnTo>
                <a:cubicBezTo>
                  <a:pt x="1514227" y="4439858"/>
                  <a:pt x="1513763" y="4441098"/>
                  <a:pt x="1513298" y="4442234"/>
                </a:cubicBezTo>
                <a:cubicBezTo>
                  <a:pt x="1512369" y="4443885"/>
                  <a:pt x="1512369" y="4444711"/>
                  <a:pt x="1512989" y="4446570"/>
                </a:cubicBezTo>
                <a:cubicBezTo>
                  <a:pt x="1512989" y="4446570"/>
                  <a:pt x="1512989" y="4446570"/>
                  <a:pt x="1511284" y="4448016"/>
                </a:cubicBezTo>
                <a:lnTo>
                  <a:pt x="1510355" y="4447809"/>
                </a:lnTo>
                <a:cubicBezTo>
                  <a:pt x="1510045" y="4447500"/>
                  <a:pt x="1509891" y="4446880"/>
                  <a:pt x="1509891" y="4445847"/>
                </a:cubicBezTo>
                <a:cubicBezTo>
                  <a:pt x="1509891" y="4444505"/>
                  <a:pt x="1510045" y="4442543"/>
                  <a:pt x="1510355" y="4440891"/>
                </a:cubicBezTo>
                <a:lnTo>
                  <a:pt x="1510974" y="4437897"/>
                </a:lnTo>
                <a:lnTo>
                  <a:pt x="1509271" y="4443059"/>
                </a:lnTo>
                <a:cubicBezTo>
                  <a:pt x="1508186" y="4445847"/>
                  <a:pt x="1506947" y="4448119"/>
                  <a:pt x="1505708" y="4448429"/>
                </a:cubicBezTo>
                <a:cubicBezTo>
                  <a:pt x="1505243" y="4447603"/>
                  <a:pt x="1504779" y="4446880"/>
                  <a:pt x="1505243" y="4445641"/>
                </a:cubicBezTo>
                <a:cubicBezTo>
                  <a:pt x="1505553" y="4444505"/>
                  <a:pt x="1506018" y="4445228"/>
                  <a:pt x="1505553" y="4444505"/>
                </a:cubicBezTo>
                <a:cubicBezTo>
                  <a:pt x="1506018" y="4443369"/>
                  <a:pt x="1505243" y="4443782"/>
                  <a:pt x="1505243" y="4443782"/>
                </a:cubicBezTo>
                <a:cubicBezTo>
                  <a:pt x="1505243" y="4443782"/>
                  <a:pt x="1505863" y="4443266"/>
                  <a:pt x="1505863" y="4443266"/>
                </a:cubicBezTo>
                <a:cubicBezTo>
                  <a:pt x="1505863" y="4443266"/>
                  <a:pt x="1505863" y="4443369"/>
                  <a:pt x="1506638" y="4440891"/>
                </a:cubicBezTo>
                <a:cubicBezTo>
                  <a:pt x="1506947" y="4437793"/>
                  <a:pt x="1506638" y="4436967"/>
                  <a:pt x="1506483" y="4435005"/>
                </a:cubicBezTo>
                <a:cubicBezTo>
                  <a:pt x="1507257" y="4432631"/>
                  <a:pt x="1508032" y="4432217"/>
                  <a:pt x="1509426" y="4429326"/>
                </a:cubicBezTo>
                <a:cubicBezTo>
                  <a:pt x="1511284" y="4429120"/>
                  <a:pt x="1511284" y="4429120"/>
                  <a:pt x="1511749" y="4429843"/>
                </a:cubicBezTo>
                <a:cubicBezTo>
                  <a:pt x="1511284" y="4429120"/>
                  <a:pt x="1512059" y="4428604"/>
                  <a:pt x="1512369" y="4427468"/>
                </a:cubicBezTo>
                <a:cubicBezTo>
                  <a:pt x="1512679" y="4422305"/>
                  <a:pt x="1517170" y="4421479"/>
                  <a:pt x="1522437" y="4422202"/>
                </a:cubicBezTo>
                <a:cubicBezTo>
                  <a:pt x="1522282" y="4422821"/>
                  <a:pt x="1522901" y="4423131"/>
                  <a:pt x="1523831" y="4423441"/>
                </a:cubicBezTo>
                <a:lnTo>
                  <a:pt x="1523986" y="4423544"/>
                </a:lnTo>
                <a:lnTo>
                  <a:pt x="1524140" y="4423131"/>
                </a:lnTo>
                <a:cubicBezTo>
                  <a:pt x="1524605" y="4421272"/>
                  <a:pt x="1525070" y="4419414"/>
                  <a:pt x="1525070" y="4419414"/>
                </a:cubicBezTo>
                <a:lnTo>
                  <a:pt x="1526619" y="4419207"/>
                </a:lnTo>
                <a:lnTo>
                  <a:pt x="1523521" y="4417039"/>
                </a:lnTo>
                <a:cubicBezTo>
                  <a:pt x="1520268" y="4412909"/>
                  <a:pt x="1518409" y="4405680"/>
                  <a:pt x="1521353" y="4403822"/>
                </a:cubicBezTo>
                <a:close/>
                <a:moveTo>
                  <a:pt x="5524018" y="4403737"/>
                </a:moveTo>
                <a:cubicBezTo>
                  <a:pt x="5520765" y="4413443"/>
                  <a:pt x="5522934" y="4420774"/>
                  <a:pt x="5517203" y="4431203"/>
                </a:cubicBezTo>
                <a:cubicBezTo>
                  <a:pt x="5515654" y="4429964"/>
                  <a:pt x="5514724" y="4427589"/>
                  <a:pt x="5514260" y="4424801"/>
                </a:cubicBezTo>
                <a:cubicBezTo>
                  <a:pt x="5513175" y="4416644"/>
                  <a:pt x="5517048" y="4404460"/>
                  <a:pt x="5524018" y="4403737"/>
                </a:cubicBezTo>
                <a:close/>
                <a:moveTo>
                  <a:pt x="5939605" y="4403324"/>
                </a:moveTo>
                <a:cubicBezTo>
                  <a:pt x="5939605" y="4403324"/>
                  <a:pt x="5939605" y="4403220"/>
                  <a:pt x="5940534" y="4403324"/>
                </a:cubicBezTo>
                <a:cubicBezTo>
                  <a:pt x="5939760" y="4406731"/>
                  <a:pt x="5940844" y="4411274"/>
                  <a:pt x="5939295" y="4413856"/>
                </a:cubicBezTo>
                <a:cubicBezTo>
                  <a:pt x="5938830" y="4414269"/>
                  <a:pt x="5938520" y="4414682"/>
                  <a:pt x="5937901" y="4414682"/>
                </a:cubicBezTo>
                <a:cubicBezTo>
                  <a:pt x="5937436" y="4414785"/>
                  <a:pt x="5936817" y="4414578"/>
                  <a:pt x="5935888" y="4413649"/>
                </a:cubicBezTo>
                <a:cubicBezTo>
                  <a:pt x="5934184" y="4412617"/>
                  <a:pt x="5934184" y="4411791"/>
                  <a:pt x="5935732" y="4409209"/>
                </a:cubicBezTo>
                <a:cubicBezTo>
                  <a:pt x="5937281" y="4407557"/>
                  <a:pt x="5938056" y="4405802"/>
                  <a:pt x="5938985" y="4405905"/>
                </a:cubicBezTo>
                <a:cubicBezTo>
                  <a:pt x="5938830" y="4404976"/>
                  <a:pt x="5939605" y="4404149"/>
                  <a:pt x="5939605" y="4403324"/>
                </a:cubicBezTo>
                <a:close/>
                <a:moveTo>
                  <a:pt x="739281" y="4403203"/>
                </a:moveTo>
                <a:cubicBezTo>
                  <a:pt x="740365" y="4406816"/>
                  <a:pt x="737732" y="4409708"/>
                  <a:pt x="734789" y="4409914"/>
                </a:cubicBezTo>
                <a:cubicBezTo>
                  <a:pt x="733860" y="4409914"/>
                  <a:pt x="732930" y="4409708"/>
                  <a:pt x="732001" y="4409088"/>
                </a:cubicBezTo>
                <a:cubicBezTo>
                  <a:pt x="731536" y="4407849"/>
                  <a:pt x="730452" y="4406094"/>
                  <a:pt x="730452" y="4404235"/>
                </a:cubicBezTo>
                <a:cubicBezTo>
                  <a:pt x="733240" y="4401137"/>
                  <a:pt x="736183" y="4401137"/>
                  <a:pt x="739281" y="4403203"/>
                </a:cubicBezTo>
                <a:close/>
                <a:moveTo>
                  <a:pt x="1565653" y="4402996"/>
                </a:moveTo>
                <a:cubicBezTo>
                  <a:pt x="1567976" y="4405268"/>
                  <a:pt x="1567047" y="4406713"/>
                  <a:pt x="1568441" y="4407952"/>
                </a:cubicBezTo>
                <a:cubicBezTo>
                  <a:pt x="1567047" y="4409295"/>
                  <a:pt x="1565653" y="4409811"/>
                  <a:pt x="1564414" y="4409708"/>
                </a:cubicBezTo>
                <a:cubicBezTo>
                  <a:pt x="1563020" y="4409604"/>
                  <a:pt x="1561626" y="4408881"/>
                  <a:pt x="1560077" y="4407642"/>
                </a:cubicBezTo>
                <a:cubicBezTo>
                  <a:pt x="1560387" y="4405268"/>
                  <a:pt x="1563329" y="4402480"/>
                  <a:pt x="1565653" y="4402996"/>
                </a:cubicBezTo>
                <a:close/>
                <a:moveTo>
                  <a:pt x="1427640" y="4401964"/>
                </a:moveTo>
                <a:cubicBezTo>
                  <a:pt x="1429189" y="4403925"/>
                  <a:pt x="1429034" y="4404855"/>
                  <a:pt x="1429809" y="4405784"/>
                </a:cubicBezTo>
                <a:cubicBezTo>
                  <a:pt x="1429964" y="4404958"/>
                  <a:pt x="1430738" y="4405990"/>
                  <a:pt x="1430738" y="4405990"/>
                </a:cubicBezTo>
                <a:cubicBezTo>
                  <a:pt x="1430738" y="4405990"/>
                  <a:pt x="1430738" y="4405990"/>
                  <a:pt x="1432442" y="4404545"/>
                </a:cubicBezTo>
                <a:cubicBezTo>
                  <a:pt x="1432442" y="4404545"/>
                  <a:pt x="1436934" y="4401757"/>
                  <a:pt x="1440806" y="4405887"/>
                </a:cubicBezTo>
                <a:cubicBezTo>
                  <a:pt x="1439877" y="4406610"/>
                  <a:pt x="1444524" y="4412599"/>
                  <a:pt x="1442665" y="4415800"/>
                </a:cubicBezTo>
                <a:cubicBezTo>
                  <a:pt x="1441736" y="4417452"/>
                  <a:pt x="1440806" y="4418175"/>
                  <a:pt x="1439877" y="4419723"/>
                </a:cubicBezTo>
                <a:cubicBezTo>
                  <a:pt x="1438638" y="4419517"/>
                  <a:pt x="1437399" y="4420033"/>
                  <a:pt x="1435850" y="4419930"/>
                </a:cubicBezTo>
                <a:cubicBezTo>
                  <a:pt x="1434146" y="4419930"/>
                  <a:pt x="1432287" y="4419414"/>
                  <a:pt x="1429964" y="4417245"/>
                </a:cubicBezTo>
                <a:cubicBezTo>
                  <a:pt x="1425317" y="4412082"/>
                  <a:pt x="1429809" y="4407539"/>
                  <a:pt x="1428879" y="4407436"/>
                </a:cubicBezTo>
                <a:cubicBezTo>
                  <a:pt x="1428105" y="4406404"/>
                  <a:pt x="1428105" y="4406507"/>
                  <a:pt x="1427331" y="4406300"/>
                </a:cubicBezTo>
                <a:cubicBezTo>
                  <a:pt x="1427331" y="4405474"/>
                  <a:pt x="1426711" y="4403512"/>
                  <a:pt x="1425937" y="4402480"/>
                </a:cubicBezTo>
                <a:cubicBezTo>
                  <a:pt x="1426711" y="4402686"/>
                  <a:pt x="1427485" y="4402789"/>
                  <a:pt x="1427640" y="4401964"/>
                </a:cubicBezTo>
                <a:close/>
                <a:moveTo>
                  <a:pt x="1176088" y="4401550"/>
                </a:moveTo>
                <a:cubicBezTo>
                  <a:pt x="1177948" y="4403203"/>
                  <a:pt x="1179187" y="4405680"/>
                  <a:pt x="1178412" y="4406610"/>
                </a:cubicBezTo>
                <a:cubicBezTo>
                  <a:pt x="1177483" y="4407952"/>
                  <a:pt x="1176398" y="4409295"/>
                  <a:pt x="1174695" y="4408881"/>
                </a:cubicBezTo>
                <a:cubicBezTo>
                  <a:pt x="1174230" y="4408778"/>
                  <a:pt x="1173455" y="4408469"/>
                  <a:pt x="1172836" y="4407849"/>
                </a:cubicBezTo>
                <a:cubicBezTo>
                  <a:pt x="1172836" y="4407849"/>
                  <a:pt x="1172836" y="4407849"/>
                  <a:pt x="1172681" y="4407023"/>
                </a:cubicBezTo>
                <a:cubicBezTo>
                  <a:pt x="1172526" y="4405268"/>
                  <a:pt x="1172371" y="4404338"/>
                  <a:pt x="1172216" y="4403512"/>
                </a:cubicBezTo>
                <a:cubicBezTo>
                  <a:pt x="1172991" y="4402583"/>
                  <a:pt x="1175159" y="4400724"/>
                  <a:pt x="1176088" y="4401550"/>
                </a:cubicBezTo>
                <a:close/>
                <a:moveTo>
                  <a:pt x="6041681" y="4401155"/>
                </a:moveTo>
                <a:cubicBezTo>
                  <a:pt x="6042456" y="4400845"/>
                  <a:pt x="6043385" y="4400536"/>
                  <a:pt x="6043540" y="4401259"/>
                </a:cubicBezTo>
                <a:cubicBezTo>
                  <a:pt x="6043695" y="4401568"/>
                  <a:pt x="6043540" y="4401878"/>
                  <a:pt x="6043231" y="4401981"/>
                </a:cubicBezTo>
                <a:cubicBezTo>
                  <a:pt x="6042921" y="4402188"/>
                  <a:pt x="6042301" y="4402084"/>
                  <a:pt x="6041836" y="4401981"/>
                </a:cubicBezTo>
                <a:cubicBezTo>
                  <a:pt x="6041836" y="4401981"/>
                  <a:pt x="6041681" y="4401155"/>
                  <a:pt x="6041681" y="4401155"/>
                </a:cubicBezTo>
                <a:close/>
                <a:moveTo>
                  <a:pt x="6039358" y="4400949"/>
                </a:moveTo>
                <a:lnTo>
                  <a:pt x="6040597" y="4401775"/>
                </a:lnTo>
                <a:lnTo>
                  <a:pt x="6041217" y="4402084"/>
                </a:lnTo>
                <a:lnTo>
                  <a:pt x="6041062" y="4402188"/>
                </a:lnTo>
                <a:lnTo>
                  <a:pt x="6042456" y="4404046"/>
                </a:lnTo>
                <a:cubicBezTo>
                  <a:pt x="6042456" y="4404046"/>
                  <a:pt x="6043385" y="4404149"/>
                  <a:pt x="6044160" y="4404356"/>
                </a:cubicBezTo>
                <a:cubicBezTo>
                  <a:pt x="6046483" y="4406421"/>
                  <a:pt x="6048032" y="4407557"/>
                  <a:pt x="6047103" y="4410758"/>
                </a:cubicBezTo>
                <a:cubicBezTo>
                  <a:pt x="6046174" y="4410655"/>
                  <a:pt x="6044624" y="4408693"/>
                  <a:pt x="6043850" y="4407764"/>
                </a:cubicBezTo>
                <a:cubicBezTo>
                  <a:pt x="6043076" y="4407661"/>
                  <a:pt x="6042301" y="4406628"/>
                  <a:pt x="6042301" y="4405802"/>
                </a:cubicBezTo>
                <a:cubicBezTo>
                  <a:pt x="6042301" y="4405802"/>
                  <a:pt x="6041527" y="4404769"/>
                  <a:pt x="6040752" y="4404666"/>
                </a:cubicBezTo>
                <a:lnTo>
                  <a:pt x="6039823" y="4403014"/>
                </a:lnTo>
                <a:lnTo>
                  <a:pt x="6039668" y="4403014"/>
                </a:lnTo>
                <a:cubicBezTo>
                  <a:pt x="6039048" y="4403427"/>
                  <a:pt x="6038429" y="4403633"/>
                  <a:pt x="6037964" y="4403427"/>
                </a:cubicBezTo>
                <a:cubicBezTo>
                  <a:pt x="6037500" y="4403220"/>
                  <a:pt x="6037190" y="4403117"/>
                  <a:pt x="6037035" y="4402807"/>
                </a:cubicBezTo>
                <a:cubicBezTo>
                  <a:pt x="6036725" y="4402601"/>
                  <a:pt x="6036725" y="4402188"/>
                  <a:pt x="6036415" y="4401362"/>
                </a:cubicBezTo>
                <a:cubicBezTo>
                  <a:pt x="6037809" y="4401259"/>
                  <a:pt x="6038429" y="4401155"/>
                  <a:pt x="6039048" y="4401259"/>
                </a:cubicBezTo>
                <a:lnTo>
                  <a:pt x="6039358" y="4401465"/>
                </a:lnTo>
                <a:close/>
                <a:moveTo>
                  <a:pt x="5497531" y="4400123"/>
                </a:moveTo>
                <a:cubicBezTo>
                  <a:pt x="5498150" y="4401568"/>
                  <a:pt x="5496757" y="4405079"/>
                  <a:pt x="5495672" y="4407350"/>
                </a:cubicBezTo>
                <a:cubicBezTo>
                  <a:pt x="5494588" y="4407970"/>
                  <a:pt x="5493194" y="4408177"/>
                  <a:pt x="5491955" y="4407970"/>
                </a:cubicBezTo>
                <a:cubicBezTo>
                  <a:pt x="5490561" y="4407867"/>
                  <a:pt x="5489167" y="4407350"/>
                  <a:pt x="5487927" y="4406628"/>
                </a:cubicBezTo>
                <a:cubicBezTo>
                  <a:pt x="5489941" y="4402084"/>
                  <a:pt x="5493039" y="4400536"/>
                  <a:pt x="5497531" y="4400123"/>
                </a:cubicBezTo>
                <a:close/>
                <a:moveTo>
                  <a:pt x="1370949" y="4400002"/>
                </a:moveTo>
                <a:cubicBezTo>
                  <a:pt x="1370949" y="4399175"/>
                  <a:pt x="1371723" y="4399279"/>
                  <a:pt x="1371723" y="4400105"/>
                </a:cubicBezTo>
                <a:cubicBezTo>
                  <a:pt x="1373427" y="4401137"/>
                  <a:pt x="1371723" y="4402583"/>
                  <a:pt x="1370793" y="4403306"/>
                </a:cubicBezTo>
                <a:cubicBezTo>
                  <a:pt x="1370793" y="4400828"/>
                  <a:pt x="1370019" y="4399898"/>
                  <a:pt x="1370949" y="4400002"/>
                </a:cubicBezTo>
                <a:close/>
                <a:moveTo>
                  <a:pt x="6045709" y="4399503"/>
                </a:moveTo>
                <a:cubicBezTo>
                  <a:pt x="6046793" y="4399916"/>
                  <a:pt x="6046793" y="4399916"/>
                  <a:pt x="6047568" y="4399606"/>
                </a:cubicBezTo>
                <a:cubicBezTo>
                  <a:pt x="6047568" y="4399606"/>
                  <a:pt x="6046948" y="4400639"/>
                  <a:pt x="6046948" y="4400639"/>
                </a:cubicBezTo>
                <a:cubicBezTo>
                  <a:pt x="6045864" y="4400329"/>
                  <a:pt x="6046174" y="4400949"/>
                  <a:pt x="6045709" y="4399503"/>
                </a:cubicBezTo>
                <a:close/>
                <a:moveTo>
                  <a:pt x="1648987" y="4398556"/>
                </a:moveTo>
                <a:cubicBezTo>
                  <a:pt x="1651001" y="4399692"/>
                  <a:pt x="1652085" y="4401034"/>
                  <a:pt x="1654099" y="4402170"/>
                </a:cubicBezTo>
                <a:lnTo>
                  <a:pt x="1651775" y="4404545"/>
                </a:lnTo>
                <a:lnTo>
                  <a:pt x="1656112" y="4407849"/>
                </a:lnTo>
                <a:cubicBezTo>
                  <a:pt x="1655183" y="4408572"/>
                  <a:pt x="1657662" y="4410740"/>
                  <a:pt x="1658281" y="4412702"/>
                </a:cubicBezTo>
                <a:cubicBezTo>
                  <a:pt x="1658126" y="4415283"/>
                  <a:pt x="1657971" y="4417039"/>
                  <a:pt x="1656267" y="4418484"/>
                </a:cubicBezTo>
                <a:lnTo>
                  <a:pt x="1653324" y="4419517"/>
                </a:lnTo>
                <a:lnTo>
                  <a:pt x="1654408" y="4420446"/>
                </a:lnTo>
                <a:cubicBezTo>
                  <a:pt x="1655028" y="4421272"/>
                  <a:pt x="1655493" y="4422305"/>
                  <a:pt x="1656422" y="4422821"/>
                </a:cubicBezTo>
                <a:cubicBezTo>
                  <a:pt x="1655803" y="4423544"/>
                  <a:pt x="1654873" y="4424473"/>
                  <a:pt x="1653789" y="4425196"/>
                </a:cubicBezTo>
                <a:lnTo>
                  <a:pt x="1651466" y="4425299"/>
                </a:lnTo>
                <a:lnTo>
                  <a:pt x="1651775" y="4426538"/>
                </a:lnTo>
                <a:cubicBezTo>
                  <a:pt x="1651155" y="4429739"/>
                  <a:pt x="1648058" y="4433043"/>
                  <a:pt x="1643411" y="4432631"/>
                </a:cubicBezTo>
                <a:cubicBezTo>
                  <a:pt x="1642482" y="4431288"/>
                  <a:pt x="1641862" y="4429843"/>
                  <a:pt x="1641397" y="4428604"/>
                </a:cubicBezTo>
                <a:cubicBezTo>
                  <a:pt x="1640932" y="4427365"/>
                  <a:pt x="1640778" y="4426229"/>
                  <a:pt x="1640468" y="4425299"/>
                </a:cubicBezTo>
                <a:cubicBezTo>
                  <a:pt x="1642482" y="4423750"/>
                  <a:pt x="1643565" y="4422099"/>
                  <a:pt x="1645579" y="4420446"/>
                </a:cubicBezTo>
                <a:lnTo>
                  <a:pt x="1645889" y="4420549"/>
                </a:lnTo>
                <a:lnTo>
                  <a:pt x="1645889" y="4420343"/>
                </a:lnTo>
                <a:lnTo>
                  <a:pt x="1646974" y="4419001"/>
                </a:lnTo>
                <a:lnTo>
                  <a:pt x="1645270" y="4418381"/>
                </a:lnTo>
                <a:cubicBezTo>
                  <a:pt x="1642172" y="4415283"/>
                  <a:pt x="1641552" y="4412599"/>
                  <a:pt x="1641707" y="4409914"/>
                </a:cubicBezTo>
                <a:cubicBezTo>
                  <a:pt x="1641707" y="4409914"/>
                  <a:pt x="1641707" y="4409914"/>
                  <a:pt x="1641707" y="4410740"/>
                </a:cubicBezTo>
                <a:cubicBezTo>
                  <a:pt x="1638144" y="4413735"/>
                  <a:pt x="1631948" y="4418794"/>
                  <a:pt x="1629470" y="4417555"/>
                </a:cubicBezTo>
                <a:cubicBezTo>
                  <a:pt x="1629470" y="4416729"/>
                  <a:pt x="1629470" y="4415800"/>
                  <a:pt x="1630400" y="4415077"/>
                </a:cubicBezTo>
                <a:cubicBezTo>
                  <a:pt x="1631329" y="4414354"/>
                  <a:pt x="1631329" y="4415283"/>
                  <a:pt x="1631329" y="4414354"/>
                </a:cubicBezTo>
                <a:cubicBezTo>
                  <a:pt x="1632258" y="4413632"/>
                  <a:pt x="1631329" y="4413528"/>
                  <a:pt x="1631329" y="4413528"/>
                </a:cubicBezTo>
                <a:cubicBezTo>
                  <a:pt x="1631329" y="4413528"/>
                  <a:pt x="1632258" y="4413632"/>
                  <a:pt x="1632258" y="4413632"/>
                </a:cubicBezTo>
                <a:cubicBezTo>
                  <a:pt x="1632258" y="4413632"/>
                  <a:pt x="1632258" y="4413632"/>
                  <a:pt x="1633962" y="4412186"/>
                </a:cubicBezTo>
                <a:cubicBezTo>
                  <a:pt x="1635821" y="4409914"/>
                  <a:pt x="1635821" y="4408985"/>
                  <a:pt x="1636751" y="4407333"/>
                </a:cubicBezTo>
                <a:cubicBezTo>
                  <a:pt x="1638609" y="4405887"/>
                  <a:pt x="1639384" y="4406094"/>
                  <a:pt x="1642017" y="4404751"/>
                </a:cubicBezTo>
                <a:cubicBezTo>
                  <a:pt x="1643720" y="4405887"/>
                  <a:pt x="1643720" y="4405887"/>
                  <a:pt x="1643565" y="4406713"/>
                </a:cubicBezTo>
                <a:cubicBezTo>
                  <a:pt x="1643720" y="4405887"/>
                  <a:pt x="1644495" y="4405990"/>
                  <a:pt x="1645425" y="4405268"/>
                </a:cubicBezTo>
                <a:lnTo>
                  <a:pt x="1647593" y="4403512"/>
                </a:lnTo>
                <a:lnTo>
                  <a:pt x="1647593" y="4401447"/>
                </a:lnTo>
                <a:cubicBezTo>
                  <a:pt x="1647749" y="4400621"/>
                  <a:pt x="1647903" y="4399692"/>
                  <a:pt x="1648987" y="4398556"/>
                </a:cubicBezTo>
                <a:close/>
                <a:moveTo>
                  <a:pt x="1499202" y="4397317"/>
                </a:moveTo>
                <a:cubicBezTo>
                  <a:pt x="1499977" y="4397213"/>
                  <a:pt x="1500906" y="4397420"/>
                  <a:pt x="1501836" y="4398246"/>
                </a:cubicBezTo>
                <a:cubicBezTo>
                  <a:pt x="1501526" y="4400105"/>
                  <a:pt x="1501061" y="4401241"/>
                  <a:pt x="1499977" y="4403306"/>
                </a:cubicBezTo>
                <a:cubicBezTo>
                  <a:pt x="1496414" y="4402273"/>
                  <a:pt x="1497034" y="4397937"/>
                  <a:pt x="1499202" y="4397317"/>
                </a:cubicBezTo>
                <a:close/>
                <a:moveTo>
                  <a:pt x="6061199" y="4396818"/>
                </a:moveTo>
                <a:cubicBezTo>
                  <a:pt x="6059650" y="4397438"/>
                  <a:pt x="6050511" y="4400226"/>
                  <a:pt x="6047723" y="4399710"/>
                </a:cubicBezTo>
                <a:cubicBezTo>
                  <a:pt x="6051905" y="4398780"/>
                  <a:pt x="6057326" y="4395786"/>
                  <a:pt x="6061199" y="4396818"/>
                </a:cubicBezTo>
                <a:close/>
                <a:moveTo>
                  <a:pt x="1578665" y="4396284"/>
                </a:moveTo>
                <a:cubicBezTo>
                  <a:pt x="1580058" y="4399072"/>
                  <a:pt x="1575566" y="4405165"/>
                  <a:pt x="1572933" y="4407333"/>
                </a:cubicBezTo>
                <a:cubicBezTo>
                  <a:pt x="1572469" y="4406610"/>
                  <a:pt x="1572623" y="4405680"/>
                  <a:pt x="1572778" y="4404648"/>
                </a:cubicBezTo>
                <a:cubicBezTo>
                  <a:pt x="1573553" y="4401654"/>
                  <a:pt x="1576651" y="4397833"/>
                  <a:pt x="1578665" y="4396284"/>
                </a:cubicBezTo>
                <a:close/>
                <a:moveTo>
                  <a:pt x="5753110" y="4395993"/>
                </a:moveTo>
                <a:cubicBezTo>
                  <a:pt x="5754039" y="4394340"/>
                  <a:pt x="5756362" y="4397335"/>
                  <a:pt x="5757292" y="4397438"/>
                </a:cubicBezTo>
                <a:cubicBezTo>
                  <a:pt x="5758066" y="4398471"/>
                  <a:pt x="5758686" y="4399400"/>
                  <a:pt x="5757912" y="4400123"/>
                </a:cubicBezTo>
                <a:cubicBezTo>
                  <a:pt x="5757447" y="4400536"/>
                  <a:pt x="5757292" y="4400949"/>
                  <a:pt x="5756827" y="4401155"/>
                </a:cubicBezTo>
                <a:cubicBezTo>
                  <a:pt x="5756518" y="4401259"/>
                  <a:pt x="5756208" y="4401155"/>
                  <a:pt x="5755433" y="4400639"/>
                </a:cubicBezTo>
                <a:cubicBezTo>
                  <a:pt x="5754504" y="4400433"/>
                  <a:pt x="5753729" y="4399503"/>
                  <a:pt x="5752955" y="4399400"/>
                </a:cubicBezTo>
                <a:cubicBezTo>
                  <a:pt x="5752955" y="4399400"/>
                  <a:pt x="5752645" y="4398677"/>
                  <a:pt x="5752645" y="4397851"/>
                </a:cubicBezTo>
                <a:cubicBezTo>
                  <a:pt x="5752645" y="4397128"/>
                  <a:pt x="5752645" y="4396302"/>
                  <a:pt x="5753110" y="4395993"/>
                </a:cubicBezTo>
                <a:close/>
                <a:moveTo>
                  <a:pt x="744083" y="4395768"/>
                </a:moveTo>
                <a:cubicBezTo>
                  <a:pt x="747026" y="4396181"/>
                  <a:pt x="748730" y="4398143"/>
                  <a:pt x="748111" y="4401344"/>
                </a:cubicBezTo>
                <a:cubicBezTo>
                  <a:pt x="746871" y="4402893"/>
                  <a:pt x="745012" y="4402893"/>
                  <a:pt x="743154" y="4402893"/>
                </a:cubicBezTo>
                <a:cubicBezTo>
                  <a:pt x="741759" y="4402583"/>
                  <a:pt x="740985" y="4401964"/>
                  <a:pt x="740831" y="4401137"/>
                </a:cubicBezTo>
                <a:cubicBezTo>
                  <a:pt x="740676" y="4400311"/>
                  <a:pt x="740831" y="4399279"/>
                  <a:pt x="741295" y="4398040"/>
                </a:cubicBezTo>
                <a:cubicBezTo>
                  <a:pt x="742224" y="4395768"/>
                  <a:pt x="744083" y="4395768"/>
                  <a:pt x="744083" y="4395768"/>
                </a:cubicBezTo>
                <a:close/>
                <a:moveTo>
                  <a:pt x="1748276" y="4394219"/>
                </a:moveTo>
                <a:cubicBezTo>
                  <a:pt x="1749205" y="4395148"/>
                  <a:pt x="1751064" y="4396078"/>
                  <a:pt x="1751993" y="4397833"/>
                </a:cubicBezTo>
                <a:cubicBezTo>
                  <a:pt x="1751219" y="4402170"/>
                  <a:pt x="1748740" y="4403719"/>
                  <a:pt x="1745332" y="4403512"/>
                </a:cubicBezTo>
                <a:cubicBezTo>
                  <a:pt x="1741770" y="4400002"/>
                  <a:pt x="1743938" y="4394116"/>
                  <a:pt x="1748276" y="4394219"/>
                </a:cubicBezTo>
                <a:close/>
                <a:moveTo>
                  <a:pt x="1210321" y="4394013"/>
                </a:moveTo>
                <a:cubicBezTo>
                  <a:pt x="1209856" y="4397627"/>
                  <a:pt x="1206603" y="4398659"/>
                  <a:pt x="1205365" y="4402686"/>
                </a:cubicBezTo>
                <a:cubicBezTo>
                  <a:pt x="1202421" y="4402583"/>
                  <a:pt x="1200563" y="4407023"/>
                  <a:pt x="1196380" y="4406507"/>
                </a:cubicBezTo>
                <a:cubicBezTo>
                  <a:pt x="1196070" y="4400208"/>
                  <a:pt x="1206758" y="4393083"/>
                  <a:pt x="1210321" y="4394013"/>
                </a:cubicBezTo>
                <a:close/>
                <a:moveTo>
                  <a:pt x="1469307" y="4393290"/>
                </a:moveTo>
                <a:cubicBezTo>
                  <a:pt x="1474419" y="4391121"/>
                  <a:pt x="1481235" y="4397213"/>
                  <a:pt x="1475968" y="4403409"/>
                </a:cubicBezTo>
                <a:cubicBezTo>
                  <a:pt x="1472715" y="4404442"/>
                  <a:pt x="1466829" y="4400828"/>
                  <a:pt x="1465435" y="4398556"/>
                </a:cubicBezTo>
                <a:cubicBezTo>
                  <a:pt x="1466210" y="4395665"/>
                  <a:pt x="1467604" y="4394013"/>
                  <a:pt x="1469307" y="4393290"/>
                </a:cubicBezTo>
                <a:close/>
                <a:moveTo>
                  <a:pt x="5388484" y="4392998"/>
                </a:moveTo>
                <a:cubicBezTo>
                  <a:pt x="5390498" y="4392482"/>
                  <a:pt x="5392821" y="4392998"/>
                  <a:pt x="5395144" y="4395063"/>
                </a:cubicBezTo>
                <a:cubicBezTo>
                  <a:pt x="5391737" y="4400433"/>
                  <a:pt x="5393441" y="4404356"/>
                  <a:pt x="5388794" y="4407454"/>
                </a:cubicBezTo>
                <a:cubicBezTo>
                  <a:pt x="5386625" y="4406938"/>
                  <a:pt x="5385231" y="4405905"/>
                  <a:pt x="5384456" y="4404563"/>
                </a:cubicBezTo>
                <a:cubicBezTo>
                  <a:pt x="5381823" y="4400536"/>
                  <a:pt x="5384302" y="4394134"/>
                  <a:pt x="5388484" y="4392998"/>
                </a:cubicBezTo>
                <a:close/>
                <a:moveTo>
                  <a:pt x="5958502" y="4391759"/>
                </a:moveTo>
                <a:cubicBezTo>
                  <a:pt x="5961445" y="4392172"/>
                  <a:pt x="5960826" y="4395270"/>
                  <a:pt x="5961290" y="4398677"/>
                </a:cubicBezTo>
                <a:cubicBezTo>
                  <a:pt x="5960206" y="4398367"/>
                  <a:pt x="5959586" y="4399503"/>
                  <a:pt x="5959122" y="4400639"/>
                </a:cubicBezTo>
                <a:cubicBezTo>
                  <a:pt x="5957573" y="4400123"/>
                  <a:pt x="5954940" y="4399503"/>
                  <a:pt x="5954475" y="4397335"/>
                </a:cubicBezTo>
                <a:cubicBezTo>
                  <a:pt x="5954320" y="4396612"/>
                  <a:pt x="5954475" y="4395579"/>
                  <a:pt x="5954940" y="4394443"/>
                </a:cubicBezTo>
                <a:cubicBezTo>
                  <a:pt x="5954630" y="4393721"/>
                  <a:pt x="5957418" y="4391346"/>
                  <a:pt x="5958502" y="4391759"/>
                </a:cubicBezTo>
                <a:close/>
                <a:moveTo>
                  <a:pt x="1123734" y="4391638"/>
                </a:moveTo>
                <a:cubicBezTo>
                  <a:pt x="1124508" y="4392567"/>
                  <a:pt x="1124663" y="4392464"/>
                  <a:pt x="1123734" y="4392464"/>
                </a:cubicBezTo>
                <a:cubicBezTo>
                  <a:pt x="1122960" y="4394116"/>
                  <a:pt x="1122960" y="4393290"/>
                  <a:pt x="1122185" y="4394116"/>
                </a:cubicBezTo>
                <a:cubicBezTo>
                  <a:pt x="1121410" y="4394942"/>
                  <a:pt x="1119861" y="4399175"/>
                  <a:pt x="1120791" y="4400105"/>
                </a:cubicBezTo>
                <a:cubicBezTo>
                  <a:pt x="1119861" y="4400002"/>
                  <a:pt x="1119087" y="4400828"/>
                  <a:pt x="1119087" y="4400828"/>
                </a:cubicBezTo>
                <a:cubicBezTo>
                  <a:pt x="1118312" y="4399898"/>
                  <a:pt x="1118157" y="4399175"/>
                  <a:pt x="1118157" y="4398246"/>
                </a:cubicBezTo>
                <a:cubicBezTo>
                  <a:pt x="1118932" y="4397420"/>
                  <a:pt x="1119861" y="4397523"/>
                  <a:pt x="1120636" y="4396698"/>
                </a:cubicBezTo>
                <a:cubicBezTo>
                  <a:pt x="1120481" y="4395768"/>
                  <a:pt x="1120481" y="4394013"/>
                  <a:pt x="1121255" y="4393187"/>
                </a:cubicBezTo>
                <a:cubicBezTo>
                  <a:pt x="1122030" y="4392464"/>
                  <a:pt x="1123734" y="4391638"/>
                  <a:pt x="1123734" y="4391638"/>
                </a:cubicBezTo>
                <a:close/>
                <a:moveTo>
                  <a:pt x="1335633" y="4391225"/>
                </a:moveTo>
                <a:cubicBezTo>
                  <a:pt x="1332534" y="4395975"/>
                  <a:pt x="1330676" y="4404442"/>
                  <a:pt x="1327268" y="4408469"/>
                </a:cubicBezTo>
                <a:lnTo>
                  <a:pt x="1325719" y="4409191"/>
                </a:lnTo>
                <a:lnTo>
                  <a:pt x="1325409" y="4410947"/>
                </a:lnTo>
                <a:cubicBezTo>
                  <a:pt x="1324479" y="4412289"/>
                  <a:pt x="1323240" y="4413218"/>
                  <a:pt x="1321691" y="4413528"/>
                </a:cubicBezTo>
                <a:cubicBezTo>
                  <a:pt x="1320762" y="4413735"/>
                  <a:pt x="1319678" y="4413735"/>
                  <a:pt x="1318748" y="4413218"/>
                </a:cubicBezTo>
                <a:cubicBezTo>
                  <a:pt x="1318593" y="4412702"/>
                  <a:pt x="1318284" y="4411979"/>
                  <a:pt x="1317974" y="4411256"/>
                </a:cubicBezTo>
                <a:cubicBezTo>
                  <a:pt x="1317664" y="4410431"/>
                  <a:pt x="1317354" y="4409604"/>
                  <a:pt x="1317509" y="4408572"/>
                </a:cubicBezTo>
                <a:lnTo>
                  <a:pt x="1317974" y="4408159"/>
                </a:lnTo>
                <a:lnTo>
                  <a:pt x="1315031" y="4405577"/>
                </a:lnTo>
                <a:cubicBezTo>
                  <a:pt x="1324014" y="4402480"/>
                  <a:pt x="1327268" y="4390192"/>
                  <a:pt x="1335633" y="4391225"/>
                </a:cubicBezTo>
                <a:close/>
                <a:moveTo>
                  <a:pt x="1225501" y="4391121"/>
                </a:moveTo>
                <a:cubicBezTo>
                  <a:pt x="1228908" y="4392361"/>
                  <a:pt x="1232626" y="4393497"/>
                  <a:pt x="1235879" y="4395252"/>
                </a:cubicBezTo>
                <a:cubicBezTo>
                  <a:pt x="1239287" y="4397110"/>
                  <a:pt x="1242384" y="4399692"/>
                  <a:pt x="1244708" y="4403925"/>
                </a:cubicBezTo>
                <a:cubicBezTo>
                  <a:pt x="1243469" y="4404442"/>
                  <a:pt x="1242384" y="4404648"/>
                  <a:pt x="1241300" y="4404751"/>
                </a:cubicBezTo>
                <a:cubicBezTo>
                  <a:pt x="1240061" y="4404855"/>
                  <a:pt x="1239132" y="4404751"/>
                  <a:pt x="1238047" y="4404442"/>
                </a:cubicBezTo>
                <a:cubicBezTo>
                  <a:pt x="1231852" y="4402893"/>
                  <a:pt x="1227204" y="4395665"/>
                  <a:pt x="1225501" y="4391121"/>
                </a:cubicBezTo>
                <a:close/>
                <a:moveTo>
                  <a:pt x="1277081" y="4390812"/>
                </a:moveTo>
                <a:cubicBezTo>
                  <a:pt x="1279405" y="4391121"/>
                  <a:pt x="1281108" y="4391947"/>
                  <a:pt x="1283432" y="4392361"/>
                </a:cubicBezTo>
                <a:cubicBezTo>
                  <a:pt x="1284361" y="4396078"/>
                  <a:pt x="1281418" y="4396284"/>
                  <a:pt x="1278475" y="4396491"/>
                </a:cubicBezTo>
                <a:cubicBezTo>
                  <a:pt x="1278011" y="4394529"/>
                  <a:pt x="1276307" y="4393703"/>
                  <a:pt x="1277081" y="4390812"/>
                </a:cubicBezTo>
                <a:close/>
                <a:moveTo>
                  <a:pt x="1709706" y="4390502"/>
                </a:moveTo>
                <a:cubicBezTo>
                  <a:pt x="1714508" y="4388437"/>
                  <a:pt x="1722253" y="4394839"/>
                  <a:pt x="1717761" y="4400828"/>
                </a:cubicBezTo>
                <a:cubicBezTo>
                  <a:pt x="1716987" y="4401034"/>
                  <a:pt x="1716057" y="4401034"/>
                  <a:pt x="1714973" y="4400724"/>
                </a:cubicBezTo>
                <a:cubicBezTo>
                  <a:pt x="1711720" y="4399898"/>
                  <a:pt x="1707848" y="4397317"/>
                  <a:pt x="1706609" y="4395665"/>
                </a:cubicBezTo>
                <a:cubicBezTo>
                  <a:pt x="1706918" y="4392774"/>
                  <a:pt x="1708158" y="4391121"/>
                  <a:pt x="1709706" y="4390502"/>
                </a:cubicBezTo>
                <a:close/>
                <a:moveTo>
                  <a:pt x="6038119" y="4390416"/>
                </a:moveTo>
                <a:cubicBezTo>
                  <a:pt x="6038119" y="4390416"/>
                  <a:pt x="6039203" y="4390623"/>
                  <a:pt x="6039203" y="4390623"/>
                </a:cubicBezTo>
                <a:cubicBezTo>
                  <a:pt x="6043385" y="4391036"/>
                  <a:pt x="6047103" y="4394547"/>
                  <a:pt x="6047258" y="4396509"/>
                </a:cubicBezTo>
                <a:cubicBezTo>
                  <a:pt x="6046638" y="4398367"/>
                  <a:pt x="6045090" y="4400226"/>
                  <a:pt x="6042921" y="4400742"/>
                </a:cubicBezTo>
                <a:cubicBezTo>
                  <a:pt x="6042146" y="4400845"/>
                  <a:pt x="6041372" y="4400845"/>
                  <a:pt x="6040443" y="4400639"/>
                </a:cubicBezTo>
                <a:cubicBezTo>
                  <a:pt x="6037500" y="4400536"/>
                  <a:pt x="6035950" y="4397644"/>
                  <a:pt x="6032543" y="4396818"/>
                </a:cubicBezTo>
                <a:cubicBezTo>
                  <a:pt x="6033317" y="4392482"/>
                  <a:pt x="6033627" y="4391243"/>
                  <a:pt x="6038119" y="4390416"/>
                </a:cubicBezTo>
                <a:close/>
                <a:moveTo>
                  <a:pt x="1502765" y="4390296"/>
                </a:moveTo>
                <a:cubicBezTo>
                  <a:pt x="1502765" y="4393600"/>
                  <a:pt x="1500906" y="4395045"/>
                  <a:pt x="1498893" y="4395148"/>
                </a:cubicBezTo>
                <a:cubicBezTo>
                  <a:pt x="1497963" y="4395252"/>
                  <a:pt x="1496879" y="4394942"/>
                  <a:pt x="1496105" y="4394529"/>
                </a:cubicBezTo>
                <a:lnTo>
                  <a:pt x="1495330" y="4393703"/>
                </a:lnTo>
                <a:lnTo>
                  <a:pt x="1493316" y="4396698"/>
                </a:lnTo>
                <a:cubicBezTo>
                  <a:pt x="1492077" y="4397937"/>
                  <a:pt x="1490838" y="4399175"/>
                  <a:pt x="1489909" y="4401241"/>
                </a:cubicBezTo>
                <a:cubicBezTo>
                  <a:pt x="1486966" y="4401137"/>
                  <a:pt x="1484332" y="4405680"/>
                  <a:pt x="1480305" y="4405268"/>
                </a:cubicBezTo>
                <a:cubicBezTo>
                  <a:pt x="1480770" y="4400518"/>
                  <a:pt x="1487431" y="4395252"/>
                  <a:pt x="1492232" y="4393187"/>
                </a:cubicBezTo>
                <a:lnTo>
                  <a:pt x="1494401" y="4392774"/>
                </a:lnTo>
                <a:lnTo>
                  <a:pt x="1494246" y="4392670"/>
                </a:lnTo>
                <a:cubicBezTo>
                  <a:pt x="1495485" y="4388334"/>
                  <a:pt x="1500751" y="4387508"/>
                  <a:pt x="1502765" y="4390296"/>
                </a:cubicBezTo>
                <a:close/>
                <a:moveTo>
                  <a:pt x="5698896" y="4390107"/>
                </a:moveTo>
                <a:cubicBezTo>
                  <a:pt x="5699671" y="4390623"/>
                  <a:pt x="5700135" y="4391449"/>
                  <a:pt x="5700600" y="4392688"/>
                </a:cubicBezTo>
                <a:cubicBezTo>
                  <a:pt x="5699825" y="4400019"/>
                  <a:pt x="5697502" y="4405492"/>
                  <a:pt x="5690377" y="4406421"/>
                </a:cubicBezTo>
                <a:cubicBezTo>
                  <a:pt x="5690532" y="4405182"/>
                  <a:pt x="5689292" y="4405079"/>
                  <a:pt x="5688208" y="4405079"/>
                </a:cubicBezTo>
                <a:cubicBezTo>
                  <a:pt x="5684181" y="4398987"/>
                  <a:pt x="5693939" y="4386390"/>
                  <a:pt x="5698896" y="4390107"/>
                </a:cubicBezTo>
                <a:close/>
                <a:moveTo>
                  <a:pt x="1368935" y="4390089"/>
                </a:moveTo>
                <a:cubicBezTo>
                  <a:pt x="1373582" y="4390708"/>
                  <a:pt x="1371258" y="4394942"/>
                  <a:pt x="1368625" y="4395458"/>
                </a:cubicBezTo>
                <a:cubicBezTo>
                  <a:pt x="1367850" y="4395562"/>
                  <a:pt x="1366921" y="4395355"/>
                  <a:pt x="1366301" y="4394426"/>
                </a:cubicBezTo>
                <a:cubicBezTo>
                  <a:pt x="1367076" y="4393290"/>
                  <a:pt x="1367540" y="4391431"/>
                  <a:pt x="1368935" y="4390089"/>
                </a:cubicBezTo>
                <a:close/>
                <a:moveTo>
                  <a:pt x="5851159" y="4389694"/>
                </a:moveTo>
                <a:cubicBezTo>
                  <a:pt x="5856735" y="4389797"/>
                  <a:pt x="5859833" y="4392998"/>
                  <a:pt x="5862931" y="4396199"/>
                </a:cubicBezTo>
                <a:cubicBezTo>
                  <a:pt x="5862621" y="4400639"/>
                  <a:pt x="5861228" y="4402291"/>
                  <a:pt x="5859214" y="4402498"/>
                </a:cubicBezTo>
                <a:cubicBezTo>
                  <a:pt x="5858594" y="4402498"/>
                  <a:pt x="5857975" y="4402498"/>
                  <a:pt x="5857200" y="4402291"/>
                </a:cubicBezTo>
                <a:cubicBezTo>
                  <a:pt x="5854257" y="4401465"/>
                  <a:pt x="5850695" y="4398987"/>
                  <a:pt x="5848061" y="4397954"/>
                </a:cubicBezTo>
                <a:cubicBezTo>
                  <a:pt x="5848371" y="4394031"/>
                  <a:pt x="5848836" y="4392792"/>
                  <a:pt x="5851159" y="4389694"/>
                </a:cubicBezTo>
                <a:close/>
                <a:moveTo>
                  <a:pt x="5898867" y="4389177"/>
                </a:moveTo>
                <a:cubicBezTo>
                  <a:pt x="5901191" y="4389771"/>
                  <a:pt x="5903127" y="4391139"/>
                  <a:pt x="5903359" y="4392895"/>
                </a:cubicBezTo>
                <a:cubicBezTo>
                  <a:pt x="5902740" y="4395786"/>
                  <a:pt x="5901655" y="4398058"/>
                  <a:pt x="5900571" y="4399606"/>
                </a:cubicBezTo>
                <a:lnTo>
                  <a:pt x="5897783" y="4401671"/>
                </a:lnTo>
                <a:lnTo>
                  <a:pt x="5901810" y="4404253"/>
                </a:lnTo>
                <a:lnTo>
                  <a:pt x="5902430" y="4405389"/>
                </a:lnTo>
                <a:lnTo>
                  <a:pt x="5902895" y="4404253"/>
                </a:lnTo>
                <a:cubicBezTo>
                  <a:pt x="5905838" y="4399916"/>
                  <a:pt x="5911878" y="4396509"/>
                  <a:pt x="5915441" y="4396818"/>
                </a:cubicBezTo>
                <a:lnTo>
                  <a:pt x="5917145" y="4399297"/>
                </a:lnTo>
                <a:lnTo>
                  <a:pt x="5918074" y="4398780"/>
                </a:lnTo>
                <a:lnTo>
                  <a:pt x="5921792" y="4397644"/>
                </a:lnTo>
                <a:lnTo>
                  <a:pt x="5921482" y="4397128"/>
                </a:lnTo>
                <a:cubicBezTo>
                  <a:pt x="5921327" y="4396405"/>
                  <a:pt x="5921637" y="4395579"/>
                  <a:pt x="5922411" y="4394753"/>
                </a:cubicBezTo>
                <a:cubicBezTo>
                  <a:pt x="5923960" y="4392275"/>
                  <a:pt x="5926594" y="4392378"/>
                  <a:pt x="5929072" y="4393411"/>
                </a:cubicBezTo>
                <a:cubicBezTo>
                  <a:pt x="5930776" y="4392585"/>
                  <a:pt x="5931550" y="4390933"/>
                  <a:pt x="5933254" y="4391862"/>
                </a:cubicBezTo>
                <a:cubicBezTo>
                  <a:pt x="5930776" y="4393514"/>
                  <a:pt x="5930001" y="4394237"/>
                  <a:pt x="5928297" y="4395063"/>
                </a:cubicBezTo>
                <a:cubicBezTo>
                  <a:pt x="5928297" y="4395889"/>
                  <a:pt x="5928297" y="4396715"/>
                  <a:pt x="5927523" y="4397541"/>
                </a:cubicBezTo>
                <a:lnTo>
                  <a:pt x="5925974" y="4398264"/>
                </a:lnTo>
                <a:lnTo>
                  <a:pt x="5926284" y="4399400"/>
                </a:lnTo>
                <a:cubicBezTo>
                  <a:pt x="5926594" y="4400123"/>
                  <a:pt x="5926903" y="4400845"/>
                  <a:pt x="5927523" y="4401671"/>
                </a:cubicBezTo>
                <a:cubicBezTo>
                  <a:pt x="5924890" y="4402188"/>
                  <a:pt x="5923031" y="4403117"/>
                  <a:pt x="5921327" y="4403840"/>
                </a:cubicBezTo>
                <a:lnTo>
                  <a:pt x="5918694" y="4404253"/>
                </a:lnTo>
                <a:lnTo>
                  <a:pt x="5918694" y="4404563"/>
                </a:lnTo>
                <a:cubicBezTo>
                  <a:pt x="5918384" y="4406318"/>
                  <a:pt x="5917455" y="4407867"/>
                  <a:pt x="5916216" y="4409209"/>
                </a:cubicBezTo>
                <a:lnTo>
                  <a:pt x="5914821" y="4410035"/>
                </a:lnTo>
                <a:cubicBezTo>
                  <a:pt x="5916680" y="4412513"/>
                  <a:pt x="5916680" y="4416850"/>
                  <a:pt x="5913118" y="4420154"/>
                </a:cubicBezTo>
                <a:cubicBezTo>
                  <a:pt x="5909555" y="4420051"/>
                  <a:pt x="5907387" y="4418709"/>
                  <a:pt x="5905683" y="4418089"/>
                </a:cubicBezTo>
                <a:lnTo>
                  <a:pt x="5905838" y="4412100"/>
                </a:lnTo>
                <a:lnTo>
                  <a:pt x="5904443" y="4411068"/>
                </a:lnTo>
                <a:lnTo>
                  <a:pt x="5904288" y="4415611"/>
                </a:lnTo>
                <a:cubicBezTo>
                  <a:pt x="5903824" y="4417779"/>
                  <a:pt x="5903049" y="4420051"/>
                  <a:pt x="5901810" y="4422219"/>
                </a:cubicBezTo>
                <a:cubicBezTo>
                  <a:pt x="5896234" y="4433165"/>
                  <a:pt x="5883068" y="4443800"/>
                  <a:pt x="5872535" y="4443594"/>
                </a:cubicBezTo>
                <a:cubicBezTo>
                  <a:pt x="5869127" y="4443594"/>
                  <a:pt x="5865874" y="4442251"/>
                  <a:pt x="5863396" y="4439360"/>
                </a:cubicBezTo>
                <a:cubicBezTo>
                  <a:pt x="5864635" y="4435746"/>
                  <a:pt x="5866184" y="4432235"/>
                  <a:pt x="5867888" y="4428621"/>
                </a:cubicBezTo>
                <a:lnTo>
                  <a:pt x="5874394" y="4418605"/>
                </a:lnTo>
                <a:lnTo>
                  <a:pt x="5871296" y="4419432"/>
                </a:lnTo>
                <a:cubicBezTo>
                  <a:pt x="5869282" y="4419741"/>
                  <a:pt x="5867578" y="4419741"/>
                  <a:pt x="5866029" y="4419638"/>
                </a:cubicBezTo>
                <a:cubicBezTo>
                  <a:pt x="5867113" y="4417470"/>
                  <a:pt x="5868508" y="4415714"/>
                  <a:pt x="5870211" y="4414166"/>
                </a:cubicBezTo>
                <a:lnTo>
                  <a:pt x="5874858" y="4411171"/>
                </a:lnTo>
                <a:lnTo>
                  <a:pt x="5874394" y="4408590"/>
                </a:lnTo>
                <a:lnTo>
                  <a:pt x="5871915" y="4412307"/>
                </a:lnTo>
                <a:cubicBezTo>
                  <a:pt x="5867733" y="4416644"/>
                  <a:pt x="5861847" y="4417470"/>
                  <a:pt x="5855961" y="4418296"/>
                </a:cubicBezTo>
                <a:cubicBezTo>
                  <a:pt x="5856116" y="4413959"/>
                  <a:pt x="5859214" y="4411068"/>
                  <a:pt x="5863086" y="4409209"/>
                </a:cubicBezTo>
                <a:lnTo>
                  <a:pt x="5874239" y="4406938"/>
                </a:lnTo>
                <a:lnTo>
                  <a:pt x="5874239" y="4404356"/>
                </a:lnTo>
                <a:cubicBezTo>
                  <a:pt x="5875633" y="4403220"/>
                  <a:pt x="5876717" y="4403220"/>
                  <a:pt x="5877956" y="4403737"/>
                </a:cubicBezTo>
                <a:lnTo>
                  <a:pt x="5879660" y="4404976"/>
                </a:lnTo>
                <a:lnTo>
                  <a:pt x="5880125" y="4399813"/>
                </a:lnTo>
                <a:cubicBezTo>
                  <a:pt x="5882138" y="4401568"/>
                  <a:pt x="5882603" y="4404149"/>
                  <a:pt x="5885391" y="4405595"/>
                </a:cubicBezTo>
                <a:lnTo>
                  <a:pt x="5887715" y="4406111"/>
                </a:lnTo>
                <a:lnTo>
                  <a:pt x="5894065" y="4401775"/>
                </a:lnTo>
                <a:lnTo>
                  <a:pt x="5893291" y="4401671"/>
                </a:lnTo>
                <a:cubicBezTo>
                  <a:pt x="5892207" y="4400949"/>
                  <a:pt x="5891432" y="4399813"/>
                  <a:pt x="5890967" y="4398264"/>
                </a:cubicBezTo>
                <a:cubicBezTo>
                  <a:pt x="5890503" y="4396199"/>
                  <a:pt x="5890658" y="4393411"/>
                  <a:pt x="5892052" y="4390107"/>
                </a:cubicBezTo>
                <a:cubicBezTo>
                  <a:pt x="5893833" y="4388764"/>
                  <a:pt x="5896544" y="4388584"/>
                  <a:pt x="5898867" y="4389177"/>
                </a:cubicBezTo>
                <a:close/>
                <a:moveTo>
                  <a:pt x="1307441" y="4388540"/>
                </a:moveTo>
                <a:cubicBezTo>
                  <a:pt x="1307750" y="4389779"/>
                  <a:pt x="1309764" y="4389882"/>
                  <a:pt x="1310229" y="4391121"/>
                </a:cubicBezTo>
                <a:cubicBezTo>
                  <a:pt x="1310229" y="4391121"/>
                  <a:pt x="1309919" y="4393909"/>
                  <a:pt x="1309919" y="4393909"/>
                </a:cubicBezTo>
                <a:cubicBezTo>
                  <a:pt x="1309300" y="4394013"/>
                  <a:pt x="1308989" y="4394116"/>
                  <a:pt x="1308989" y="4394116"/>
                </a:cubicBezTo>
                <a:cubicBezTo>
                  <a:pt x="1308835" y="4394013"/>
                  <a:pt x="1308989" y="4393806"/>
                  <a:pt x="1309145" y="4393393"/>
                </a:cubicBezTo>
                <a:cubicBezTo>
                  <a:pt x="1307131" y="4393290"/>
                  <a:pt x="1306356" y="4392877"/>
                  <a:pt x="1305582" y="4392361"/>
                </a:cubicBezTo>
                <a:cubicBezTo>
                  <a:pt x="1305272" y="4391225"/>
                  <a:pt x="1305892" y="4389676"/>
                  <a:pt x="1307441" y="4388540"/>
                </a:cubicBezTo>
                <a:close/>
                <a:moveTo>
                  <a:pt x="5561658" y="4386906"/>
                </a:moveTo>
                <a:cubicBezTo>
                  <a:pt x="5558250" y="4392378"/>
                  <a:pt x="5554533" y="4397025"/>
                  <a:pt x="5552364" y="4405699"/>
                </a:cubicBezTo>
                <a:cubicBezTo>
                  <a:pt x="5550660" y="4405079"/>
                  <a:pt x="5549886" y="4406731"/>
                  <a:pt x="5548492" y="4406938"/>
                </a:cubicBezTo>
                <a:cubicBezTo>
                  <a:pt x="5548182" y="4406938"/>
                  <a:pt x="5547562" y="4406834"/>
                  <a:pt x="5546943" y="4406421"/>
                </a:cubicBezTo>
                <a:cubicBezTo>
                  <a:pt x="5544619" y="4400123"/>
                  <a:pt x="5553293" y="4384531"/>
                  <a:pt x="5561658" y="4386906"/>
                </a:cubicBezTo>
                <a:close/>
                <a:moveTo>
                  <a:pt x="4843714" y="4386183"/>
                </a:moveTo>
                <a:cubicBezTo>
                  <a:pt x="4844488" y="4387835"/>
                  <a:pt x="4843404" y="4389591"/>
                  <a:pt x="4842319" y="4391346"/>
                </a:cubicBezTo>
                <a:cubicBezTo>
                  <a:pt x="4841390" y="4392585"/>
                  <a:pt x="4840461" y="4392998"/>
                  <a:pt x="4839686" y="4392895"/>
                </a:cubicBezTo>
                <a:cubicBezTo>
                  <a:pt x="4838912" y="4392688"/>
                  <a:pt x="4837983" y="4392069"/>
                  <a:pt x="4837363" y="4391139"/>
                </a:cubicBezTo>
                <a:cubicBezTo>
                  <a:pt x="4835814" y="4389384"/>
                  <a:pt x="4836743" y="4387732"/>
                  <a:pt x="4836743" y="4387732"/>
                </a:cubicBezTo>
                <a:cubicBezTo>
                  <a:pt x="4838757" y="4385150"/>
                  <a:pt x="4841390" y="4384325"/>
                  <a:pt x="4843714" y="4386183"/>
                </a:cubicBezTo>
                <a:close/>
                <a:moveTo>
                  <a:pt x="1589662" y="4386062"/>
                </a:moveTo>
                <a:cubicBezTo>
                  <a:pt x="1592140" y="4387611"/>
                  <a:pt x="1590746" y="4395768"/>
                  <a:pt x="1589352" y="4399175"/>
                </a:cubicBezTo>
                <a:cubicBezTo>
                  <a:pt x="1588732" y="4398763"/>
                  <a:pt x="1588422" y="4397937"/>
                  <a:pt x="1588113" y="4396904"/>
                </a:cubicBezTo>
                <a:cubicBezTo>
                  <a:pt x="1587649" y="4393806"/>
                  <a:pt x="1588732" y="4388643"/>
                  <a:pt x="1589662" y="4386062"/>
                </a:cubicBezTo>
                <a:close/>
                <a:moveTo>
                  <a:pt x="5842330" y="4385770"/>
                </a:moveTo>
                <a:lnTo>
                  <a:pt x="5841710" y="4398058"/>
                </a:lnTo>
                <a:lnTo>
                  <a:pt x="5842950" y="4398574"/>
                </a:lnTo>
                <a:lnTo>
                  <a:pt x="5843414" y="4398058"/>
                </a:lnTo>
                <a:cubicBezTo>
                  <a:pt x="5846202" y="4397541"/>
                  <a:pt x="5848991" y="4401465"/>
                  <a:pt x="5849145" y="4404769"/>
                </a:cubicBezTo>
                <a:lnTo>
                  <a:pt x="5848681" y="4406834"/>
                </a:lnTo>
                <a:lnTo>
                  <a:pt x="5848836" y="4407041"/>
                </a:lnTo>
                <a:cubicBezTo>
                  <a:pt x="5847906" y="4409726"/>
                  <a:pt x="5847752" y="4410345"/>
                  <a:pt x="5844964" y="4410138"/>
                </a:cubicBezTo>
                <a:cubicBezTo>
                  <a:pt x="5844189" y="4410035"/>
                  <a:pt x="5842950" y="4409932"/>
                  <a:pt x="5841401" y="4409726"/>
                </a:cubicBezTo>
                <a:lnTo>
                  <a:pt x="5840317" y="4409209"/>
                </a:lnTo>
                <a:lnTo>
                  <a:pt x="5839232" y="4413133"/>
                </a:lnTo>
                <a:cubicBezTo>
                  <a:pt x="5837528" y="4411791"/>
                  <a:pt x="5836289" y="4409416"/>
                  <a:pt x="5835515" y="4406628"/>
                </a:cubicBezTo>
                <a:lnTo>
                  <a:pt x="5835205" y="4402807"/>
                </a:lnTo>
                <a:lnTo>
                  <a:pt x="5835050" y="4402601"/>
                </a:lnTo>
                <a:cubicBezTo>
                  <a:pt x="5834585" y="4401671"/>
                  <a:pt x="5834275" y="4400639"/>
                  <a:pt x="5834275" y="4399710"/>
                </a:cubicBezTo>
                <a:lnTo>
                  <a:pt x="5834895" y="4398677"/>
                </a:lnTo>
                <a:lnTo>
                  <a:pt x="5834740" y="4397644"/>
                </a:lnTo>
                <a:cubicBezTo>
                  <a:pt x="5835205" y="4391656"/>
                  <a:pt x="5837683" y="4386183"/>
                  <a:pt x="5842330" y="4385770"/>
                </a:cubicBezTo>
                <a:close/>
                <a:moveTo>
                  <a:pt x="5611225" y="4385564"/>
                </a:moveTo>
                <a:cubicBezTo>
                  <a:pt x="5616801" y="4382776"/>
                  <a:pt x="5623461" y="4387112"/>
                  <a:pt x="5625320" y="4394650"/>
                </a:cubicBezTo>
                <a:cubicBezTo>
                  <a:pt x="5628418" y="4406215"/>
                  <a:pt x="5624701" y="4413443"/>
                  <a:pt x="5624701" y="4413443"/>
                </a:cubicBezTo>
                <a:cubicBezTo>
                  <a:pt x="5622842" y="4414166"/>
                  <a:pt x="5621138" y="4414372"/>
                  <a:pt x="5619589" y="4414166"/>
                </a:cubicBezTo>
                <a:cubicBezTo>
                  <a:pt x="5615252" y="4413546"/>
                  <a:pt x="5612774" y="4409209"/>
                  <a:pt x="5611225" y="4404563"/>
                </a:cubicBezTo>
                <a:cubicBezTo>
                  <a:pt x="5610450" y="4402394"/>
                  <a:pt x="5609986" y="4400329"/>
                  <a:pt x="5609521" y="4398367"/>
                </a:cubicBezTo>
                <a:cubicBezTo>
                  <a:pt x="5608437" y="4394547"/>
                  <a:pt x="5607662" y="4390210"/>
                  <a:pt x="5609056" y="4387526"/>
                </a:cubicBezTo>
                <a:cubicBezTo>
                  <a:pt x="5609521" y="4386699"/>
                  <a:pt x="5610140" y="4385976"/>
                  <a:pt x="5611225" y="4385564"/>
                </a:cubicBezTo>
                <a:close/>
                <a:moveTo>
                  <a:pt x="5847442" y="4385254"/>
                </a:moveTo>
                <a:cubicBezTo>
                  <a:pt x="5849920" y="4383705"/>
                  <a:pt x="5856581" y="4388351"/>
                  <a:pt x="5859214" y="4390933"/>
                </a:cubicBezTo>
                <a:cubicBezTo>
                  <a:pt x="5858594" y="4391346"/>
                  <a:pt x="5857820" y="4391346"/>
                  <a:pt x="5856735" y="4391139"/>
                </a:cubicBezTo>
                <a:cubicBezTo>
                  <a:pt x="5853792" y="4390416"/>
                  <a:pt x="5849455" y="4387319"/>
                  <a:pt x="5847442" y="4385254"/>
                </a:cubicBezTo>
                <a:close/>
                <a:moveTo>
                  <a:pt x="5762093" y="4384737"/>
                </a:moveTo>
                <a:cubicBezTo>
                  <a:pt x="5762093" y="4386699"/>
                  <a:pt x="5763952" y="4388455"/>
                  <a:pt x="5763178" y="4390830"/>
                </a:cubicBezTo>
                <a:cubicBezTo>
                  <a:pt x="5763178" y="4390830"/>
                  <a:pt x="5762868" y="4392069"/>
                  <a:pt x="5761319" y="4392998"/>
                </a:cubicBezTo>
                <a:cubicBezTo>
                  <a:pt x="5759925" y="4395889"/>
                  <a:pt x="5756518" y="4395063"/>
                  <a:pt x="5756518" y="4395063"/>
                </a:cubicBezTo>
                <a:cubicBezTo>
                  <a:pt x="5756518" y="4395063"/>
                  <a:pt x="5756518" y="4395063"/>
                  <a:pt x="5756827" y="4395786"/>
                </a:cubicBezTo>
                <a:cubicBezTo>
                  <a:pt x="5756208" y="4394237"/>
                  <a:pt x="5754659" y="4393308"/>
                  <a:pt x="5753884" y="4391862"/>
                </a:cubicBezTo>
                <a:cubicBezTo>
                  <a:pt x="5755278" y="4383189"/>
                  <a:pt x="5757912" y="4384428"/>
                  <a:pt x="5762093" y="4384737"/>
                </a:cubicBezTo>
                <a:close/>
                <a:moveTo>
                  <a:pt x="1608559" y="4383790"/>
                </a:moveTo>
                <a:cubicBezTo>
                  <a:pt x="1613361" y="4384616"/>
                  <a:pt x="1611502" y="4388746"/>
                  <a:pt x="1609024" y="4389160"/>
                </a:cubicBezTo>
                <a:cubicBezTo>
                  <a:pt x="1608250" y="4389263"/>
                  <a:pt x="1607320" y="4389056"/>
                  <a:pt x="1606546" y="4388024"/>
                </a:cubicBezTo>
                <a:cubicBezTo>
                  <a:pt x="1607010" y="4386991"/>
                  <a:pt x="1607320" y="4385133"/>
                  <a:pt x="1608559" y="4383790"/>
                </a:cubicBezTo>
                <a:close/>
                <a:moveTo>
                  <a:pt x="598790" y="4383687"/>
                </a:moveTo>
                <a:cubicBezTo>
                  <a:pt x="600495" y="4384513"/>
                  <a:pt x="601734" y="4386475"/>
                  <a:pt x="602043" y="4389882"/>
                </a:cubicBezTo>
                <a:cubicBezTo>
                  <a:pt x="596312" y="4391947"/>
                  <a:pt x="594918" y="4396181"/>
                  <a:pt x="589651" y="4395562"/>
                </a:cubicBezTo>
                <a:cubicBezTo>
                  <a:pt x="585315" y="4388127"/>
                  <a:pt x="593833" y="4381106"/>
                  <a:pt x="598790" y="4383687"/>
                </a:cubicBezTo>
                <a:close/>
                <a:moveTo>
                  <a:pt x="1580833" y="4383171"/>
                </a:moveTo>
                <a:cubicBezTo>
                  <a:pt x="1580368" y="4386372"/>
                  <a:pt x="1579439" y="4387611"/>
                  <a:pt x="1578665" y="4387714"/>
                </a:cubicBezTo>
                <a:cubicBezTo>
                  <a:pt x="1575876" y="4388231"/>
                  <a:pt x="1573243" y="4378937"/>
                  <a:pt x="1580833" y="4383171"/>
                </a:cubicBezTo>
                <a:close/>
                <a:moveTo>
                  <a:pt x="1793970" y="4382758"/>
                </a:moveTo>
                <a:cubicBezTo>
                  <a:pt x="1796758" y="4383171"/>
                  <a:pt x="1796293" y="4384410"/>
                  <a:pt x="1795519" y="4386681"/>
                </a:cubicBezTo>
                <a:cubicBezTo>
                  <a:pt x="1794589" y="4386681"/>
                  <a:pt x="1793815" y="4386578"/>
                  <a:pt x="1793350" y="4386062"/>
                </a:cubicBezTo>
                <a:cubicBezTo>
                  <a:pt x="1793041" y="4385546"/>
                  <a:pt x="1792886" y="4384720"/>
                  <a:pt x="1793196" y="4383068"/>
                </a:cubicBezTo>
                <a:cubicBezTo>
                  <a:pt x="1793196" y="4383068"/>
                  <a:pt x="1793970" y="4382758"/>
                  <a:pt x="1793970" y="4382758"/>
                </a:cubicBezTo>
                <a:close/>
                <a:moveTo>
                  <a:pt x="1732631" y="4382448"/>
                </a:moveTo>
                <a:cubicBezTo>
                  <a:pt x="1730463" y="4383584"/>
                  <a:pt x="1729998" y="4384720"/>
                  <a:pt x="1729688" y="4383894"/>
                </a:cubicBezTo>
                <a:cubicBezTo>
                  <a:pt x="1729068" y="4384307"/>
                  <a:pt x="1728604" y="4383584"/>
                  <a:pt x="1729379" y="4383171"/>
                </a:cubicBezTo>
                <a:cubicBezTo>
                  <a:pt x="1729533" y="4381209"/>
                  <a:pt x="1731702" y="4382035"/>
                  <a:pt x="1732631" y="4382448"/>
                </a:cubicBezTo>
                <a:close/>
                <a:moveTo>
                  <a:pt x="5655060" y="4382363"/>
                </a:moveTo>
                <a:cubicBezTo>
                  <a:pt x="5658468" y="4385150"/>
                  <a:pt x="5658623" y="4387629"/>
                  <a:pt x="5657074" y="4390933"/>
                </a:cubicBezTo>
                <a:cubicBezTo>
                  <a:pt x="5654596" y="4390830"/>
                  <a:pt x="5651343" y="4388145"/>
                  <a:pt x="5651188" y="4385667"/>
                </a:cubicBezTo>
                <a:cubicBezTo>
                  <a:pt x="5652737" y="4383189"/>
                  <a:pt x="5654286" y="4384014"/>
                  <a:pt x="5655060" y="4382363"/>
                </a:cubicBezTo>
                <a:close/>
                <a:moveTo>
                  <a:pt x="5545084" y="4382156"/>
                </a:moveTo>
                <a:cubicBezTo>
                  <a:pt x="5546013" y="4382569"/>
                  <a:pt x="5547098" y="4382982"/>
                  <a:pt x="5548182" y="4383395"/>
                </a:cubicBezTo>
                <a:cubicBezTo>
                  <a:pt x="5547253" y="4385667"/>
                  <a:pt x="5546323" y="4387938"/>
                  <a:pt x="5544310" y="4387216"/>
                </a:cubicBezTo>
                <a:cubicBezTo>
                  <a:pt x="5544465" y="4385254"/>
                  <a:pt x="5543380" y="4384841"/>
                  <a:pt x="5545084" y="4382156"/>
                </a:cubicBezTo>
                <a:close/>
                <a:moveTo>
                  <a:pt x="5381359" y="4381846"/>
                </a:moveTo>
                <a:cubicBezTo>
                  <a:pt x="5378725" y="4387009"/>
                  <a:pt x="5381049" y="4390623"/>
                  <a:pt x="5376712" y="4391759"/>
                </a:cubicBezTo>
                <a:cubicBezTo>
                  <a:pt x="5374698" y="4388971"/>
                  <a:pt x="5377951" y="4382672"/>
                  <a:pt x="5381359" y="4381846"/>
                </a:cubicBezTo>
                <a:close/>
                <a:moveTo>
                  <a:pt x="5767980" y="4381640"/>
                </a:moveTo>
                <a:cubicBezTo>
                  <a:pt x="5769839" y="4382363"/>
                  <a:pt x="5770613" y="4384221"/>
                  <a:pt x="5770613" y="4386080"/>
                </a:cubicBezTo>
                <a:lnTo>
                  <a:pt x="5769064" y="4388661"/>
                </a:lnTo>
                <a:lnTo>
                  <a:pt x="5772162" y="4386906"/>
                </a:lnTo>
                <a:cubicBezTo>
                  <a:pt x="5773556" y="4386493"/>
                  <a:pt x="5775415" y="4386390"/>
                  <a:pt x="5777584" y="4386803"/>
                </a:cubicBezTo>
                <a:cubicBezTo>
                  <a:pt x="5779442" y="4386596"/>
                  <a:pt x="5778668" y="4387112"/>
                  <a:pt x="5779752" y="4387319"/>
                </a:cubicBezTo>
                <a:cubicBezTo>
                  <a:pt x="5780991" y="4387629"/>
                  <a:pt x="5782850" y="4387422"/>
                  <a:pt x="5783624" y="4387009"/>
                </a:cubicBezTo>
                <a:cubicBezTo>
                  <a:pt x="5782850" y="4391346"/>
                  <a:pt x="5785793" y="4391449"/>
                  <a:pt x="5784399" y="4398161"/>
                </a:cubicBezTo>
                <a:cubicBezTo>
                  <a:pt x="5783470" y="4404769"/>
                  <a:pt x="5779752" y="4407454"/>
                  <a:pt x="5776344" y="4408177"/>
                </a:cubicBezTo>
                <a:lnTo>
                  <a:pt x="5773556" y="4408280"/>
                </a:lnTo>
                <a:lnTo>
                  <a:pt x="5772782" y="4410862"/>
                </a:lnTo>
                <a:cubicBezTo>
                  <a:pt x="5767360" y="4407970"/>
                  <a:pt x="5766276" y="4412823"/>
                  <a:pt x="5763488" y="4414372"/>
                </a:cubicBezTo>
                <a:cubicBezTo>
                  <a:pt x="5762713" y="4414785"/>
                  <a:pt x="5761629" y="4414992"/>
                  <a:pt x="5760235" y="4414269"/>
                </a:cubicBezTo>
                <a:cubicBezTo>
                  <a:pt x="5758686" y="4412204"/>
                  <a:pt x="5756362" y="4410655"/>
                  <a:pt x="5755588" y="4407867"/>
                </a:cubicBezTo>
                <a:cubicBezTo>
                  <a:pt x="5755278" y="4406834"/>
                  <a:pt x="5755278" y="4405802"/>
                  <a:pt x="5755433" y="4404563"/>
                </a:cubicBezTo>
                <a:cubicBezTo>
                  <a:pt x="5758996" y="4405182"/>
                  <a:pt x="5761939" y="4405079"/>
                  <a:pt x="5764727" y="4404769"/>
                </a:cubicBezTo>
                <a:lnTo>
                  <a:pt x="5767205" y="4404563"/>
                </a:lnTo>
                <a:lnTo>
                  <a:pt x="5765502" y="4402394"/>
                </a:lnTo>
                <a:cubicBezTo>
                  <a:pt x="5764882" y="4400949"/>
                  <a:pt x="5764572" y="4399090"/>
                  <a:pt x="5765037" y="4396612"/>
                </a:cubicBezTo>
                <a:lnTo>
                  <a:pt x="5767670" y="4390520"/>
                </a:lnTo>
                <a:lnTo>
                  <a:pt x="5764882" y="4389074"/>
                </a:lnTo>
                <a:cubicBezTo>
                  <a:pt x="5763178" y="4386596"/>
                  <a:pt x="5765502" y="4382363"/>
                  <a:pt x="5767980" y="4381640"/>
                </a:cubicBezTo>
                <a:close/>
                <a:moveTo>
                  <a:pt x="1049848" y="4380899"/>
                </a:moveTo>
                <a:lnTo>
                  <a:pt x="1049693" y="4381519"/>
                </a:lnTo>
                <a:lnTo>
                  <a:pt x="1051397" y="4381519"/>
                </a:lnTo>
                <a:lnTo>
                  <a:pt x="1050623" y="4381209"/>
                </a:lnTo>
                <a:lnTo>
                  <a:pt x="1050468" y="4381312"/>
                </a:lnTo>
                <a:cubicBezTo>
                  <a:pt x="1050313" y="4381003"/>
                  <a:pt x="1050003" y="4380796"/>
                  <a:pt x="1049848" y="4380899"/>
                </a:cubicBezTo>
                <a:close/>
                <a:moveTo>
                  <a:pt x="1356969" y="4379880"/>
                </a:moveTo>
                <a:cubicBezTo>
                  <a:pt x="1359253" y="4378731"/>
                  <a:pt x="1362042" y="4378937"/>
                  <a:pt x="1363823" y="4380383"/>
                </a:cubicBezTo>
                <a:cubicBezTo>
                  <a:pt x="1365062" y="4381312"/>
                  <a:pt x="1365837" y="4382861"/>
                  <a:pt x="1365837" y="4384926"/>
                </a:cubicBezTo>
                <a:cubicBezTo>
                  <a:pt x="1362429" y="4387095"/>
                  <a:pt x="1359176" y="4389986"/>
                  <a:pt x="1356078" y="4389366"/>
                </a:cubicBezTo>
                <a:cubicBezTo>
                  <a:pt x="1355149" y="4389160"/>
                  <a:pt x="1354064" y="4388643"/>
                  <a:pt x="1353135" y="4387508"/>
                </a:cubicBezTo>
                <a:cubicBezTo>
                  <a:pt x="1352903" y="4383532"/>
                  <a:pt x="1354684" y="4381028"/>
                  <a:pt x="1356969" y="4379880"/>
                </a:cubicBezTo>
                <a:close/>
                <a:moveTo>
                  <a:pt x="5921637" y="4379575"/>
                </a:moveTo>
                <a:cubicBezTo>
                  <a:pt x="5922256" y="4380091"/>
                  <a:pt x="5921947" y="4380814"/>
                  <a:pt x="5922721" y="4381330"/>
                </a:cubicBezTo>
                <a:cubicBezTo>
                  <a:pt x="5923031" y="4381949"/>
                  <a:pt x="5922721" y="4382672"/>
                  <a:pt x="5922411" y="4383602"/>
                </a:cubicBezTo>
                <a:cubicBezTo>
                  <a:pt x="5921017" y="4386390"/>
                  <a:pt x="5917610" y="4389900"/>
                  <a:pt x="5916990" y="4389591"/>
                </a:cubicBezTo>
                <a:cubicBezTo>
                  <a:pt x="5916680" y="4390313"/>
                  <a:pt x="5915906" y="4389900"/>
                  <a:pt x="5915441" y="4390623"/>
                </a:cubicBezTo>
                <a:cubicBezTo>
                  <a:pt x="5915441" y="4390623"/>
                  <a:pt x="5915132" y="4391449"/>
                  <a:pt x="5914047" y="4391759"/>
                </a:cubicBezTo>
                <a:cubicBezTo>
                  <a:pt x="5913428" y="4391862"/>
                  <a:pt x="5912963" y="4392069"/>
                  <a:pt x="5912343" y="4391966"/>
                </a:cubicBezTo>
                <a:cubicBezTo>
                  <a:pt x="5911724" y="4391966"/>
                  <a:pt x="5911259" y="4391656"/>
                  <a:pt x="5910639" y="4390830"/>
                </a:cubicBezTo>
                <a:cubicBezTo>
                  <a:pt x="5915751" y="4385976"/>
                  <a:pt x="5917145" y="4382879"/>
                  <a:pt x="5921637" y="4379575"/>
                </a:cubicBezTo>
                <a:close/>
                <a:moveTo>
                  <a:pt x="1736503" y="4379557"/>
                </a:moveTo>
                <a:cubicBezTo>
                  <a:pt x="1740066" y="4378834"/>
                  <a:pt x="1742389" y="4380486"/>
                  <a:pt x="1742080" y="4384100"/>
                </a:cubicBezTo>
                <a:cubicBezTo>
                  <a:pt x="1739756" y="4383790"/>
                  <a:pt x="1739137" y="4385442"/>
                  <a:pt x="1736658" y="4385133"/>
                </a:cubicBezTo>
                <a:cubicBezTo>
                  <a:pt x="1736813" y="4382654"/>
                  <a:pt x="1736349" y="4380796"/>
                  <a:pt x="1736503" y="4379557"/>
                </a:cubicBezTo>
                <a:close/>
                <a:moveTo>
                  <a:pt x="1717451" y="4379350"/>
                </a:moveTo>
                <a:cubicBezTo>
                  <a:pt x="1715902" y="4382241"/>
                  <a:pt x="1713269" y="4386785"/>
                  <a:pt x="1709087" y="4386888"/>
                </a:cubicBezTo>
                <a:cubicBezTo>
                  <a:pt x="1707848" y="4386888"/>
                  <a:pt x="1706144" y="4386475"/>
                  <a:pt x="1704440" y="4385236"/>
                </a:cubicBezTo>
                <a:cubicBezTo>
                  <a:pt x="1704595" y="4383997"/>
                  <a:pt x="1704595" y="4382861"/>
                  <a:pt x="1704750" y="4381622"/>
                </a:cubicBezTo>
                <a:cubicBezTo>
                  <a:pt x="1710016" y="4381829"/>
                  <a:pt x="1713269" y="4379247"/>
                  <a:pt x="1717451" y="4379350"/>
                </a:cubicBezTo>
                <a:close/>
                <a:moveTo>
                  <a:pt x="1401928" y="4378937"/>
                </a:moveTo>
                <a:cubicBezTo>
                  <a:pt x="1407659" y="4383274"/>
                  <a:pt x="1413235" y="4390192"/>
                  <a:pt x="1414319" y="4391844"/>
                </a:cubicBezTo>
                <a:cubicBezTo>
                  <a:pt x="1414939" y="4392670"/>
                  <a:pt x="1415248" y="4393187"/>
                  <a:pt x="1415093" y="4393703"/>
                </a:cubicBezTo>
                <a:cubicBezTo>
                  <a:pt x="1414939" y="4394322"/>
                  <a:pt x="1414474" y="4394736"/>
                  <a:pt x="1413700" y="4395252"/>
                </a:cubicBezTo>
                <a:cubicBezTo>
                  <a:pt x="1409517" y="4395768"/>
                  <a:pt x="1407504" y="4391741"/>
                  <a:pt x="1404096" y="4388850"/>
                </a:cubicBezTo>
                <a:cubicBezTo>
                  <a:pt x="1404406" y="4388127"/>
                  <a:pt x="1404096" y="4386888"/>
                  <a:pt x="1403322" y="4386475"/>
                </a:cubicBezTo>
                <a:cubicBezTo>
                  <a:pt x="1402857" y="4385236"/>
                  <a:pt x="1402392" y="4384100"/>
                  <a:pt x="1402082" y="4384823"/>
                </a:cubicBezTo>
                <a:cubicBezTo>
                  <a:pt x="1400844" y="4381312"/>
                  <a:pt x="1400069" y="4380796"/>
                  <a:pt x="1401928" y="4378937"/>
                </a:cubicBezTo>
                <a:close/>
                <a:moveTo>
                  <a:pt x="5828544" y="4378542"/>
                </a:moveTo>
                <a:cubicBezTo>
                  <a:pt x="5829319" y="4379471"/>
                  <a:pt x="5830248" y="4380298"/>
                  <a:pt x="5830403" y="4382053"/>
                </a:cubicBezTo>
                <a:cubicBezTo>
                  <a:pt x="5828854" y="4383705"/>
                  <a:pt x="5826221" y="4382776"/>
                  <a:pt x="5825446" y="4383602"/>
                </a:cubicBezTo>
                <a:cubicBezTo>
                  <a:pt x="5825446" y="4382672"/>
                  <a:pt x="5825291" y="4380917"/>
                  <a:pt x="5823587" y="4379988"/>
                </a:cubicBezTo>
                <a:cubicBezTo>
                  <a:pt x="5825137" y="4378336"/>
                  <a:pt x="5826840" y="4376683"/>
                  <a:pt x="5828544" y="4378542"/>
                </a:cubicBezTo>
                <a:close/>
                <a:moveTo>
                  <a:pt x="1303104" y="4378008"/>
                </a:moveTo>
                <a:cubicBezTo>
                  <a:pt x="1304033" y="4378628"/>
                  <a:pt x="1304962" y="4379247"/>
                  <a:pt x="1305892" y="4379867"/>
                </a:cubicBezTo>
                <a:cubicBezTo>
                  <a:pt x="1305892" y="4383171"/>
                  <a:pt x="1304498" y="4386372"/>
                  <a:pt x="1301710" y="4386888"/>
                </a:cubicBezTo>
                <a:cubicBezTo>
                  <a:pt x="1300935" y="4387095"/>
                  <a:pt x="1299851" y="4386888"/>
                  <a:pt x="1298612" y="4386372"/>
                </a:cubicBezTo>
                <a:cubicBezTo>
                  <a:pt x="1298147" y="4383894"/>
                  <a:pt x="1300625" y="4378731"/>
                  <a:pt x="1303104" y="4378008"/>
                </a:cubicBezTo>
                <a:close/>
                <a:moveTo>
                  <a:pt x="1285445" y="4377905"/>
                </a:moveTo>
                <a:cubicBezTo>
                  <a:pt x="1287769" y="4376459"/>
                  <a:pt x="1290867" y="4376666"/>
                  <a:pt x="1293655" y="4379867"/>
                </a:cubicBezTo>
                <a:cubicBezTo>
                  <a:pt x="1294120" y="4385649"/>
                  <a:pt x="1289473" y="4389986"/>
                  <a:pt x="1285445" y="4388953"/>
                </a:cubicBezTo>
                <a:cubicBezTo>
                  <a:pt x="1284052" y="4388540"/>
                  <a:pt x="1282812" y="4387611"/>
                  <a:pt x="1281883" y="4385959"/>
                </a:cubicBezTo>
                <a:cubicBezTo>
                  <a:pt x="1281728" y="4382448"/>
                  <a:pt x="1283277" y="4379350"/>
                  <a:pt x="1285445" y="4377905"/>
                </a:cubicBezTo>
                <a:close/>
                <a:moveTo>
                  <a:pt x="1379003" y="4376046"/>
                </a:moveTo>
                <a:cubicBezTo>
                  <a:pt x="1381171" y="4379144"/>
                  <a:pt x="1381481" y="4380176"/>
                  <a:pt x="1381326" y="4384100"/>
                </a:cubicBezTo>
                <a:cubicBezTo>
                  <a:pt x="1379003" y="4385855"/>
                  <a:pt x="1376680" y="4386681"/>
                  <a:pt x="1374511" y="4386991"/>
                </a:cubicBezTo>
                <a:cubicBezTo>
                  <a:pt x="1372188" y="4387404"/>
                  <a:pt x="1370019" y="4387198"/>
                  <a:pt x="1367695" y="4386991"/>
                </a:cubicBezTo>
                <a:cubicBezTo>
                  <a:pt x="1361345" y="4377905"/>
                  <a:pt x="1373271" y="4378111"/>
                  <a:pt x="1379003" y="4376046"/>
                </a:cubicBezTo>
                <a:close/>
                <a:moveTo>
                  <a:pt x="5718413" y="4375858"/>
                </a:moveTo>
                <a:cubicBezTo>
                  <a:pt x="5725383" y="4378749"/>
                  <a:pt x="5728791" y="4378955"/>
                  <a:pt x="5733903" y="4381846"/>
                </a:cubicBezTo>
                <a:cubicBezTo>
                  <a:pt x="5733903" y="4382672"/>
                  <a:pt x="5733128" y="4382672"/>
                  <a:pt x="5733128" y="4383602"/>
                </a:cubicBezTo>
                <a:cubicBezTo>
                  <a:pt x="5732818" y="4384014"/>
                  <a:pt x="5731889" y="4384118"/>
                  <a:pt x="5730960" y="4384014"/>
                </a:cubicBezTo>
                <a:cubicBezTo>
                  <a:pt x="5727861" y="4383808"/>
                  <a:pt x="5722905" y="4381949"/>
                  <a:pt x="5722905" y="4381330"/>
                </a:cubicBezTo>
                <a:cubicBezTo>
                  <a:pt x="5722130" y="4381227"/>
                  <a:pt x="5722130" y="4380401"/>
                  <a:pt x="5721201" y="4380298"/>
                </a:cubicBezTo>
                <a:cubicBezTo>
                  <a:pt x="5721201" y="4380298"/>
                  <a:pt x="5720427" y="4380298"/>
                  <a:pt x="5719497" y="4379368"/>
                </a:cubicBezTo>
                <a:cubicBezTo>
                  <a:pt x="5718568" y="4378439"/>
                  <a:pt x="5717638" y="4377509"/>
                  <a:pt x="5718413" y="4375858"/>
                </a:cubicBezTo>
                <a:close/>
                <a:moveTo>
                  <a:pt x="5441923" y="4375651"/>
                </a:moveTo>
                <a:cubicBezTo>
                  <a:pt x="5443472" y="4376580"/>
                  <a:pt x="5444246" y="4376580"/>
                  <a:pt x="5445950" y="4375754"/>
                </a:cubicBezTo>
                <a:cubicBezTo>
                  <a:pt x="5445950" y="4375754"/>
                  <a:pt x="5445950" y="4375858"/>
                  <a:pt x="5447499" y="4377509"/>
                </a:cubicBezTo>
                <a:lnTo>
                  <a:pt x="5447345" y="4378439"/>
                </a:lnTo>
                <a:cubicBezTo>
                  <a:pt x="5447189" y="4378852"/>
                  <a:pt x="5446415" y="4379059"/>
                  <a:pt x="5445486" y="4379059"/>
                </a:cubicBezTo>
                <a:cubicBezTo>
                  <a:pt x="5442853" y="4379265"/>
                  <a:pt x="5438051" y="4378232"/>
                  <a:pt x="5437431" y="4378232"/>
                </a:cubicBezTo>
                <a:cubicBezTo>
                  <a:pt x="5437431" y="4378232"/>
                  <a:pt x="5436502" y="4378232"/>
                  <a:pt x="5435727" y="4378232"/>
                </a:cubicBezTo>
                <a:cubicBezTo>
                  <a:pt x="5434952" y="4377303"/>
                  <a:pt x="5435108" y="4376477"/>
                  <a:pt x="5434178" y="4376477"/>
                </a:cubicBezTo>
                <a:cubicBezTo>
                  <a:pt x="5436966" y="4373896"/>
                  <a:pt x="5439445" y="4374825"/>
                  <a:pt x="5441923" y="4375651"/>
                </a:cubicBezTo>
                <a:close/>
                <a:moveTo>
                  <a:pt x="5687666" y="4375625"/>
                </a:moveTo>
                <a:cubicBezTo>
                  <a:pt x="5689602" y="4374851"/>
                  <a:pt x="5692003" y="4375599"/>
                  <a:pt x="5693475" y="4377509"/>
                </a:cubicBezTo>
                <a:cubicBezTo>
                  <a:pt x="5694404" y="4378749"/>
                  <a:pt x="5695024" y="4380504"/>
                  <a:pt x="5694869" y="4382672"/>
                </a:cubicBezTo>
                <a:cubicBezTo>
                  <a:pt x="5693784" y="4383602"/>
                  <a:pt x="5691616" y="4384118"/>
                  <a:pt x="5689602" y="4384221"/>
                </a:cubicBezTo>
                <a:cubicBezTo>
                  <a:pt x="5687589" y="4384221"/>
                  <a:pt x="5685420" y="4383911"/>
                  <a:pt x="5684646" y="4382879"/>
                </a:cubicBezTo>
                <a:cubicBezTo>
                  <a:pt x="5684258" y="4378697"/>
                  <a:pt x="5685730" y="4376400"/>
                  <a:pt x="5687666" y="4375625"/>
                </a:cubicBezTo>
                <a:close/>
                <a:moveTo>
                  <a:pt x="5884462" y="4375444"/>
                </a:moveTo>
                <a:lnTo>
                  <a:pt x="5883687" y="4377613"/>
                </a:lnTo>
                <a:lnTo>
                  <a:pt x="5883068" y="4378542"/>
                </a:lnTo>
                <a:lnTo>
                  <a:pt x="5886630" y="4380298"/>
                </a:lnTo>
                <a:lnTo>
                  <a:pt x="5887560" y="4382053"/>
                </a:lnTo>
                <a:lnTo>
                  <a:pt x="5888489" y="4376477"/>
                </a:lnTo>
                <a:lnTo>
                  <a:pt x="5887405" y="4377716"/>
                </a:lnTo>
                <a:cubicBezTo>
                  <a:pt x="5886475" y="4377613"/>
                  <a:pt x="5885856" y="4377200"/>
                  <a:pt x="5885236" y="4376580"/>
                </a:cubicBezTo>
                <a:close/>
                <a:moveTo>
                  <a:pt x="674167" y="4375297"/>
                </a:moveTo>
                <a:cubicBezTo>
                  <a:pt x="676703" y="4375065"/>
                  <a:pt x="679568" y="4376201"/>
                  <a:pt x="682744" y="4379764"/>
                </a:cubicBezTo>
                <a:cubicBezTo>
                  <a:pt x="684293" y="4380899"/>
                  <a:pt x="683519" y="4380796"/>
                  <a:pt x="684293" y="4381829"/>
                </a:cubicBezTo>
                <a:lnTo>
                  <a:pt x="684603" y="4382035"/>
                </a:lnTo>
                <a:lnTo>
                  <a:pt x="684912" y="4380796"/>
                </a:lnTo>
                <a:cubicBezTo>
                  <a:pt x="685222" y="4380486"/>
                  <a:pt x="685687" y="4380486"/>
                  <a:pt x="686307" y="4380589"/>
                </a:cubicBezTo>
                <a:cubicBezTo>
                  <a:pt x="686307" y="4380589"/>
                  <a:pt x="687546" y="4380899"/>
                  <a:pt x="688630" y="4381209"/>
                </a:cubicBezTo>
                <a:cubicBezTo>
                  <a:pt x="689714" y="4381519"/>
                  <a:pt x="690489" y="4381003"/>
                  <a:pt x="690489" y="4381003"/>
                </a:cubicBezTo>
                <a:cubicBezTo>
                  <a:pt x="691573" y="4381312"/>
                  <a:pt x="692038" y="4382035"/>
                  <a:pt x="691728" y="4383274"/>
                </a:cubicBezTo>
                <a:cubicBezTo>
                  <a:pt x="691728" y="4383274"/>
                  <a:pt x="689869" y="4383480"/>
                  <a:pt x="689869" y="4383480"/>
                </a:cubicBezTo>
                <a:cubicBezTo>
                  <a:pt x="688630" y="4383171"/>
                  <a:pt x="687855" y="4382964"/>
                  <a:pt x="687081" y="4382861"/>
                </a:cubicBezTo>
                <a:lnTo>
                  <a:pt x="685687" y="4382758"/>
                </a:lnTo>
                <a:lnTo>
                  <a:pt x="687546" y="4384100"/>
                </a:lnTo>
                <a:cubicBezTo>
                  <a:pt x="686771" y="4384823"/>
                  <a:pt x="686462" y="4385546"/>
                  <a:pt x="686152" y="4386165"/>
                </a:cubicBezTo>
                <a:lnTo>
                  <a:pt x="685687" y="4388231"/>
                </a:lnTo>
                <a:lnTo>
                  <a:pt x="687391" y="4389676"/>
                </a:lnTo>
                <a:cubicBezTo>
                  <a:pt x="686617" y="4390192"/>
                  <a:pt x="685377" y="4391844"/>
                  <a:pt x="685067" y="4391121"/>
                </a:cubicBezTo>
                <a:lnTo>
                  <a:pt x="684757" y="4391018"/>
                </a:lnTo>
                <a:lnTo>
                  <a:pt x="682589" y="4393703"/>
                </a:lnTo>
                <a:cubicBezTo>
                  <a:pt x="679956" y="4396801"/>
                  <a:pt x="677168" y="4397627"/>
                  <a:pt x="674689" y="4397317"/>
                </a:cubicBezTo>
                <a:cubicBezTo>
                  <a:pt x="672056" y="4397110"/>
                  <a:pt x="669887" y="4395665"/>
                  <a:pt x="668339" y="4394116"/>
                </a:cubicBezTo>
                <a:cubicBezTo>
                  <a:pt x="668958" y="4393497"/>
                  <a:pt x="664621" y="4389160"/>
                  <a:pt x="665086" y="4384203"/>
                </a:cubicBezTo>
                <a:cubicBezTo>
                  <a:pt x="665241" y="4382551"/>
                  <a:pt x="666015" y="4380796"/>
                  <a:pt x="667564" y="4379041"/>
                </a:cubicBezTo>
                <a:cubicBezTo>
                  <a:pt x="669423" y="4377130"/>
                  <a:pt x="671630" y="4375530"/>
                  <a:pt x="674167" y="4375297"/>
                </a:cubicBezTo>
                <a:close/>
                <a:moveTo>
                  <a:pt x="1330366" y="4374084"/>
                </a:moveTo>
                <a:cubicBezTo>
                  <a:pt x="1332069" y="4373774"/>
                  <a:pt x="1334238" y="4374497"/>
                  <a:pt x="1336716" y="4375943"/>
                </a:cubicBezTo>
                <a:cubicBezTo>
                  <a:pt x="1335477" y="4378937"/>
                  <a:pt x="1333928" y="4379660"/>
                  <a:pt x="1332069" y="4379557"/>
                </a:cubicBezTo>
                <a:cubicBezTo>
                  <a:pt x="1330211" y="4379453"/>
                  <a:pt x="1328042" y="4378524"/>
                  <a:pt x="1325874" y="4378318"/>
                </a:cubicBezTo>
                <a:cubicBezTo>
                  <a:pt x="1327113" y="4375736"/>
                  <a:pt x="1328507" y="4374394"/>
                  <a:pt x="1330366" y="4374084"/>
                </a:cubicBezTo>
                <a:close/>
                <a:moveTo>
                  <a:pt x="1174695" y="4373671"/>
                </a:moveTo>
                <a:cubicBezTo>
                  <a:pt x="1176088" y="4376149"/>
                  <a:pt x="1174695" y="4378731"/>
                  <a:pt x="1173301" y="4381209"/>
                </a:cubicBezTo>
                <a:lnTo>
                  <a:pt x="1171597" y="4382861"/>
                </a:lnTo>
                <a:lnTo>
                  <a:pt x="1171907" y="4383068"/>
                </a:lnTo>
                <a:lnTo>
                  <a:pt x="1172216" y="4385030"/>
                </a:lnTo>
                <a:lnTo>
                  <a:pt x="1172216" y="4383584"/>
                </a:lnTo>
                <a:cubicBezTo>
                  <a:pt x="1172526" y="4382964"/>
                  <a:pt x="1172836" y="4382448"/>
                  <a:pt x="1173455" y="4382241"/>
                </a:cubicBezTo>
                <a:cubicBezTo>
                  <a:pt x="1174076" y="4382758"/>
                  <a:pt x="1174540" y="4381932"/>
                  <a:pt x="1175314" y="4382345"/>
                </a:cubicBezTo>
                <a:cubicBezTo>
                  <a:pt x="1177173" y="4382551"/>
                  <a:pt x="1177792" y="4382964"/>
                  <a:pt x="1177948" y="4384100"/>
                </a:cubicBezTo>
                <a:cubicBezTo>
                  <a:pt x="1178722" y="4384616"/>
                  <a:pt x="1178257" y="4385339"/>
                  <a:pt x="1178412" y="4386475"/>
                </a:cubicBezTo>
                <a:lnTo>
                  <a:pt x="1177638" y="4387198"/>
                </a:lnTo>
                <a:lnTo>
                  <a:pt x="1178412" y="4388024"/>
                </a:lnTo>
                <a:cubicBezTo>
                  <a:pt x="1179342" y="4389676"/>
                  <a:pt x="1179961" y="4391121"/>
                  <a:pt x="1179651" y="4391638"/>
                </a:cubicBezTo>
                <a:lnTo>
                  <a:pt x="1176863" y="4388231"/>
                </a:lnTo>
                <a:lnTo>
                  <a:pt x="1177948" y="4392567"/>
                </a:lnTo>
                <a:cubicBezTo>
                  <a:pt x="1177948" y="4394736"/>
                  <a:pt x="1177483" y="4396801"/>
                  <a:pt x="1176554" y="4397627"/>
                </a:cubicBezTo>
                <a:lnTo>
                  <a:pt x="1172526" y="4397007"/>
                </a:lnTo>
                <a:lnTo>
                  <a:pt x="1172836" y="4397317"/>
                </a:lnTo>
                <a:cubicBezTo>
                  <a:pt x="1171287" y="4405680"/>
                  <a:pt x="1164472" y="4406816"/>
                  <a:pt x="1157966" y="4406404"/>
                </a:cubicBezTo>
                <a:lnTo>
                  <a:pt x="1155642" y="4406094"/>
                </a:lnTo>
                <a:lnTo>
                  <a:pt x="1155177" y="4407023"/>
                </a:lnTo>
                <a:cubicBezTo>
                  <a:pt x="1154713" y="4407642"/>
                  <a:pt x="1154094" y="4408262"/>
                  <a:pt x="1153784" y="4408675"/>
                </a:cubicBezTo>
                <a:cubicBezTo>
                  <a:pt x="1153784" y="4409501"/>
                  <a:pt x="1153009" y="4410327"/>
                  <a:pt x="1152234" y="4410224"/>
                </a:cubicBezTo>
                <a:cubicBezTo>
                  <a:pt x="1152234" y="4410224"/>
                  <a:pt x="1151460" y="4411050"/>
                  <a:pt x="1151460" y="4411979"/>
                </a:cubicBezTo>
                <a:cubicBezTo>
                  <a:pt x="1149911" y="4413632"/>
                  <a:pt x="1149137" y="4413632"/>
                  <a:pt x="1148207" y="4413528"/>
                </a:cubicBezTo>
                <a:cubicBezTo>
                  <a:pt x="1148207" y="4413528"/>
                  <a:pt x="1148982" y="4412702"/>
                  <a:pt x="1148982" y="4411876"/>
                </a:cubicBezTo>
                <a:cubicBezTo>
                  <a:pt x="1148982" y="4411876"/>
                  <a:pt x="1149756" y="4411050"/>
                  <a:pt x="1150531" y="4410224"/>
                </a:cubicBezTo>
                <a:cubicBezTo>
                  <a:pt x="1150531" y="4410224"/>
                  <a:pt x="1150531" y="4409398"/>
                  <a:pt x="1150531" y="4408572"/>
                </a:cubicBezTo>
                <a:lnTo>
                  <a:pt x="1152544" y="4405680"/>
                </a:lnTo>
                <a:lnTo>
                  <a:pt x="1151770" y="4405577"/>
                </a:lnTo>
                <a:cubicBezTo>
                  <a:pt x="1147898" y="4405061"/>
                  <a:pt x="1143870" y="4404132"/>
                  <a:pt x="1142321" y="4401860"/>
                </a:cubicBezTo>
                <a:cubicBezTo>
                  <a:pt x="1141702" y="4401137"/>
                  <a:pt x="1141547" y="4400208"/>
                  <a:pt x="1141702" y="4399175"/>
                </a:cubicBezTo>
                <a:cubicBezTo>
                  <a:pt x="1142011" y="4396078"/>
                  <a:pt x="1144025" y="4393290"/>
                  <a:pt x="1146968" y="4391535"/>
                </a:cubicBezTo>
                <a:lnTo>
                  <a:pt x="1150531" y="4390089"/>
                </a:lnTo>
                <a:lnTo>
                  <a:pt x="1148982" y="4389779"/>
                </a:lnTo>
                <a:cubicBezTo>
                  <a:pt x="1147743" y="4389470"/>
                  <a:pt x="1146659" y="4389160"/>
                  <a:pt x="1146813" y="4388540"/>
                </a:cubicBezTo>
                <a:cubicBezTo>
                  <a:pt x="1146813" y="4388540"/>
                  <a:pt x="1148053" y="4388953"/>
                  <a:pt x="1149137" y="4389263"/>
                </a:cubicBezTo>
                <a:cubicBezTo>
                  <a:pt x="1150221" y="4389676"/>
                  <a:pt x="1150221" y="4389676"/>
                  <a:pt x="1150686" y="4388540"/>
                </a:cubicBezTo>
                <a:cubicBezTo>
                  <a:pt x="1151305" y="4388746"/>
                  <a:pt x="1151615" y="4388746"/>
                  <a:pt x="1151770" y="4389056"/>
                </a:cubicBezTo>
                <a:lnTo>
                  <a:pt x="1152080" y="4389573"/>
                </a:lnTo>
                <a:lnTo>
                  <a:pt x="1157191" y="4389573"/>
                </a:lnTo>
                <a:lnTo>
                  <a:pt x="1162303" y="4390915"/>
                </a:lnTo>
                <a:lnTo>
                  <a:pt x="1162458" y="4390915"/>
                </a:lnTo>
                <a:lnTo>
                  <a:pt x="1164472" y="4391431"/>
                </a:lnTo>
                <a:lnTo>
                  <a:pt x="1169893" y="4394736"/>
                </a:lnTo>
                <a:lnTo>
                  <a:pt x="1169583" y="4394426"/>
                </a:lnTo>
                <a:cubicBezTo>
                  <a:pt x="1168964" y="4392361"/>
                  <a:pt x="1169738" y="4389882"/>
                  <a:pt x="1171597" y="4388437"/>
                </a:cubicBezTo>
                <a:lnTo>
                  <a:pt x="1173455" y="4387920"/>
                </a:lnTo>
                <a:lnTo>
                  <a:pt x="1172216" y="4385649"/>
                </a:lnTo>
                <a:lnTo>
                  <a:pt x="1164937" y="4384926"/>
                </a:lnTo>
                <a:lnTo>
                  <a:pt x="1163232" y="4383790"/>
                </a:lnTo>
                <a:lnTo>
                  <a:pt x="1161529" y="4383894"/>
                </a:lnTo>
                <a:cubicBezTo>
                  <a:pt x="1161374" y="4383171"/>
                  <a:pt x="1161374" y="4383171"/>
                  <a:pt x="1162148" y="4382861"/>
                </a:cubicBezTo>
                <a:cubicBezTo>
                  <a:pt x="1161993" y="4382861"/>
                  <a:pt x="1161993" y="4382861"/>
                  <a:pt x="1161839" y="4382758"/>
                </a:cubicBezTo>
                <a:lnTo>
                  <a:pt x="1162148" y="4382551"/>
                </a:lnTo>
                <a:lnTo>
                  <a:pt x="1161839" y="4382035"/>
                </a:lnTo>
                <a:cubicBezTo>
                  <a:pt x="1161684" y="4381415"/>
                  <a:pt x="1161529" y="4380796"/>
                  <a:pt x="1161684" y="4379970"/>
                </a:cubicBezTo>
                <a:cubicBezTo>
                  <a:pt x="1161529" y="4379557"/>
                  <a:pt x="1162303" y="4379041"/>
                  <a:pt x="1163232" y="4378731"/>
                </a:cubicBezTo>
                <a:lnTo>
                  <a:pt x="1164007" y="4378628"/>
                </a:lnTo>
                <a:lnTo>
                  <a:pt x="1163542" y="4377802"/>
                </a:lnTo>
                <a:cubicBezTo>
                  <a:pt x="1163542" y="4376769"/>
                  <a:pt x="1163852" y="4376253"/>
                  <a:pt x="1163852" y="4376253"/>
                </a:cubicBezTo>
                <a:cubicBezTo>
                  <a:pt x="1166486" y="4372432"/>
                  <a:pt x="1170667" y="4371090"/>
                  <a:pt x="1174695" y="4373671"/>
                </a:cubicBezTo>
                <a:close/>
                <a:moveTo>
                  <a:pt x="1028008" y="4373465"/>
                </a:moveTo>
                <a:cubicBezTo>
                  <a:pt x="1028317" y="4374291"/>
                  <a:pt x="1029092" y="4373878"/>
                  <a:pt x="1029866" y="4373465"/>
                </a:cubicBezTo>
                <a:cubicBezTo>
                  <a:pt x="1032190" y="4374291"/>
                  <a:pt x="1034669" y="4375943"/>
                  <a:pt x="1034513" y="4377905"/>
                </a:cubicBezTo>
                <a:cubicBezTo>
                  <a:pt x="1034049" y="4379041"/>
                  <a:pt x="1033274" y="4379660"/>
                  <a:pt x="1032500" y="4379867"/>
                </a:cubicBezTo>
                <a:lnTo>
                  <a:pt x="1031261" y="4379867"/>
                </a:lnTo>
                <a:lnTo>
                  <a:pt x="1029247" y="4384307"/>
                </a:lnTo>
                <a:cubicBezTo>
                  <a:pt x="1026459" y="4387920"/>
                  <a:pt x="1022432" y="4388127"/>
                  <a:pt x="1018559" y="4388643"/>
                </a:cubicBezTo>
                <a:cubicBezTo>
                  <a:pt x="1018714" y="4385752"/>
                  <a:pt x="1022276" y="4380693"/>
                  <a:pt x="1026769" y="4379350"/>
                </a:cubicBezTo>
                <a:lnTo>
                  <a:pt x="1029712" y="4379453"/>
                </a:lnTo>
                <a:lnTo>
                  <a:pt x="1027543" y="4378214"/>
                </a:lnTo>
                <a:cubicBezTo>
                  <a:pt x="1026923" y="4377079"/>
                  <a:pt x="1026459" y="4375633"/>
                  <a:pt x="1026459" y="4374291"/>
                </a:cubicBezTo>
                <a:cubicBezTo>
                  <a:pt x="1026769" y="4375013"/>
                  <a:pt x="1026769" y="4375013"/>
                  <a:pt x="1026769" y="4375013"/>
                </a:cubicBezTo>
                <a:cubicBezTo>
                  <a:pt x="1027853" y="4375427"/>
                  <a:pt x="1027543" y="4374704"/>
                  <a:pt x="1028317" y="4374291"/>
                </a:cubicBezTo>
                <a:cubicBezTo>
                  <a:pt x="1028317" y="4374291"/>
                  <a:pt x="1027543" y="4374704"/>
                  <a:pt x="1028008" y="4373465"/>
                </a:cubicBezTo>
                <a:close/>
                <a:moveTo>
                  <a:pt x="5925819" y="4373379"/>
                </a:moveTo>
                <a:cubicBezTo>
                  <a:pt x="5926594" y="4372450"/>
                  <a:pt x="5926594" y="4373379"/>
                  <a:pt x="5927368" y="4373379"/>
                </a:cubicBezTo>
                <a:cubicBezTo>
                  <a:pt x="5926903" y="4373896"/>
                  <a:pt x="5926749" y="4374102"/>
                  <a:pt x="5926594" y="4374102"/>
                </a:cubicBezTo>
                <a:cubicBezTo>
                  <a:pt x="5926439" y="4374102"/>
                  <a:pt x="5926284" y="4373896"/>
                  <a:pt x="5925819" y="4373379"/>
                </a:cubicBezTo>
                <a:close/>
                <a:moveTo>
                  <a:pt x="5341550" y="4373070"/>
                </a:moveTo>
                <a:cubicBezTo>
                  <a:pt x="5342480" y="4371314"/>
                  <a:pt x="5344648" y="4374928"/>
                  <a:pt x="5345578" y="4373173"/>
                </a:cubicBezTo>
                <a:cubicBezTo>
                  <a:pt x="5348676" y="4376787"/>
                  <a:pt x="5353167" y="4372450"/>
                  <a:pt x="5358589" y="4376890"/>
                </a:cubicBezTo>
                <a:cubicBezTo>
                  <a:pt x="5356421" y="4377509"/>
                  <a:pt x="5354407" y="4377819"/>
                  <a:pt x="5352703" y="4377819"/>
                </a:cubicBezTo>
                <a:cubicBezTo>
                  <a:pt x="5347282" y="4377923"/>
                  <a:pt x="5343254" y="4376270"/>
                  <a:pt x="5339382" y="4377509"/>
                </a:cubicBezTo>
                <a:cubicBezTo>
                  <a:pt x="5339382" y="4377509"/>
                  <a:pt x="5339382" y="4377509"/>
                  <a:pt x="5337988" y="4375651"/>
                </a:cubicBezTo>
                <a:cubicBezTo>
                  <a:pt x="5337213" y="4375651"/>
                  <a:pt x="5337213" y="4375651"/>
                  <a:pt x="5337213" y="4375651"/>
                </a:cubicBezTo>
                <a:cubicBezTo>
                  <a:pt x="5336749" y="4375651"/>
                  <a:pt x="5336594" y="4375238"/>
                  <a:pt x="5336439" y="4374825"/>
                </a:cubicBezTo>
                <a:cubicBezTo>
                  <a:pt x="5336439" y="4374309"/>
                  <a:pt x="5336439" y="4373896"/>
                  <a:pt x="5336439" y="4373896"/>
                </a:cubicBezTo>
                <a:cubicBezTo>
                  <a:pt x="5337523" y="4372243"/>
                  <a:pt x="5339846" y="4373070"/>
                  <a:pt x="5341550" y="4373070"/>
                </a:cubicBezTo>
                <a:close/>
                <a:moveTo>
                  <a:pt x="5522934" y="4372140"/>
                </a:moveTo>
                <a:cubicBezTo>
                  <a:pt x="5524173" y="4375238"/>
                  <a:pt x="5522314" y="4377923"/>
                  <a:pt x="5519991" y="4378542"/>
                </a:cubicBezTo>
                <a:cubicBezTo>
                  <a:pt x="5519061" y="4378852"/>
                  <a:pt x="5518132" y="4378852"/>
                  <a:pt x="5517357" y="4378542"/>
                </a:cubicBezTo>
                <a:cubicBezTo>
                  <a:pt x="5513330" y="4372966"/>
                  <a:pt x="5519991" y="4370178"/>
                  <a:pt x="5522934" y="4372140"/>
                </a:cubicBezTo>
                <a:close/>
                <a:moveTo>
                  <a:pt x="1559922" y="4372122"/>
                </a:moveTo>
                <a:cubicBezTo>
                  <a:pt x="1562400" y="4373052"/>
                  <a:pt x="1565343" y="4373155"/>
                  <a:pt x="1567667" y="4375013"/>
                </a:cubicBezTo>
                <a:cubicBezTo>
                  <a:pt x="1568441" y="4375633"/>
                  <a:pt x="1569216" y="4376563"/>
                  <a:pt x="1569835" y="4377698"/>
                </a:cubicBezTo>
                <a:cubicBezTo>
                  <a:pt x="1563329" y="4380279"/>
                  <a:pt x="1560232" y="4384100"/>
                  <a:pt x="1555275" y="4387714"/>
                </a:cubicBezTo>
                <a:lnTo>
                  <a:pt x="1554965" y="4387404"/>
                </a:lnTo>
                <a:lnTo>
                  <a:pt x="1553726" y="4394942"/>
                </a:lnTo>
                <a:lnTo>
                  <a:pt x="1550783" y="4403925"/>
                </a:lnTo>
                <a:lnTo>
                  <a:pt x="1552332" y="4404029"/>
                </a:lnTo>
                <a:cubicBezTo>
                  <a:pt x="1553261" y="4404338"/>
                  <a:pt x="1554190" y="4404855"/>
                  <a:pt x="1555275" y="4405784"/>
                </a:cubicBezTo>
                <a:cubicBezTo>
                  <a:pt x="1556514" y="4409914"/>
                  <a:pt x="1552951" y="4411876"/>
                  <a:pt x="1552177" y="4414767"/>
                </a:cubicBezTo>
                <a:cubicBezTo>
                  <a:pt x="1550318" y="4414251"/>
                  <a:pt x="1549079" y="4413425"/>
                  <a:pt x="1548150" y="4412289"/>
                </a:cubicBezTo>
                <a:lnTo>
                  <a:pt x="1547995" y="4412082"/>
                </a:lnTo>
                <a:lnTo>
                  <a:pt x="1546446" y="4416832"/>
                </a:lnTo>
                <a:cubicBezTo>
                  <a:pt x="1543813" y="4414974"/>
                  <a:pt x="1541335" y="4415697"/>
                  <a:pt x="1537927" y="4412186"/>
                </a:cubicBezTo>
                <a:cubicBezTo>
                  <a:pt x="1544742" y="4398763"/>
                  <a:pt x="1547530" y="4384203"/>
                  <a:pt x="1553726" y="4373362"/>
                </a:cubicBezTo>
                <a:lnTo>
                  <a:pt x="1554810" y="4380279"/>
                </a:lnTo>
                <a:lnTo>
                  <a:pt x="1555585" y="4379970"/>
                </a:lnTo>
                <a:cubicBezTo>
                  <a:pt x="1557598" y="4377388"/>
                  <a:pt x="1555120" y="4372639"/>
                  <a:pt x="1559922" y="4372122"/>
                </a:cubicBezTo>
                <a:close/>
                <a:moveTo>
                  <a:pt x="1310539" y="4371606"/>
                </a:moveTo>
                <a:cubicBezTo>
                  <a:pt x="1312243" y="4372535"/>
                  <a:pt x="1313946" y="4372639"/>
                  <a:pt x="1315650" y="4373568"/>
                </a:cubicBezTo>
                <a:cubicBezTo>
                  <a:pt x="1315805" y="4376975"/>
                  <a:pt x="1319367" y="4379660"/>
                  <a:pt x="1315341" y="4382861"/>
                </a:cubicBezTo>
                <a:cubicBezTo>
                  <a:pt x="1310229" y="4382654"/>
                  <a:pt x="1306511" y="4375633"/>
                  <a:pt x="1310539" y="4371606"/>
                </a:cubicBezTo>
                <a:close/>
                <a:moveTo>
                  <a:pt x="1142166" y="4370574"/>
                </a:moveTo>
                <a:cubicBezTo>
                  <a:pt x="1149137" y="4375323"/>
                  <a:pt x="1147433" y="4382035"/>
                  <a:pt x="1144335" y="4387817"/>
                </a:cubicBezTo>
                <a:lnTo>
                  <a:pt x="1145265" y="4388334"/>
                </a:lnTo>
                <a:cubicBezTo>
                  <a:pt x="1145729" y="4388643"/>
                  <a:pt x="1146039" y="4388953"/>
                  <a:pt x="1146039" y="4388953"/>
                </a:cubicBezTo>
                <a:cubicBezTo>
                  <a:pt x="1145574" y="4390089"/>
                  <a:pt x="1145574" y="4390192"/>
                  <a:pt x="1145265" y="4389366"/>
                </a:cubicBezTo>
                <a:cubicBezTo>
                  <a:pt x="1144335" y="4389366"/>
                  <a:pt x="1144180" y="4389263"/>
                  <a:pt x="1144025" y="4389056"/>
                </a:cubicBezTo>
                <a:lnTo>
                  <a:pt x="1143716" y="4388953"/>
                </a:lnTo>
                <a:lnTo>
                  <a:pt x="1141237" y="4393083"/>
                </a:lnTo>
                <a:cubicBezTo>
                  <a:pt x="1139069" y="4396491"/>
                  <a:pt x="1136590" y="4399898"/>
                  <a:pt x="1133957" y="4400414"/>
                </a:cubicBezTo>
                <a:cubicBezTo>
                  <a:pt x="1133028" y="4400518"/>
                  <a:pt x="1132098" y="4400311"/>
                  <a:pt x="1131169" y="4399795"/>
                </a:cubicBezTo>
                <a:cubicBezTo>
                  <a:pt x="1128535" y="4398143"/>
                  <a:pt x="1126832" y="4395252"/>
                  <a:pt x="1126367" y="4391947"/>
                </a:cubicBezTo>
                <a:lnTo>
                  <a:pt x="1126522" y="4389056"/>
                </a:lnTo>
                <a:lnTo>
                  <a:pt x="1126367" y="4389056"/>
                </a:lnTo>
                <a:lnTo>
                  <a:pt x="1125902" y="4388850"/>
                </a:lnTo>
                <a:lnTo>
                  <a:pt x="1125593" y="4389263"/>
                </a:lnTo>
                <a:cubicBezTo>
                  <a:pt x="1124819" y="4390296"/>
                  <a:pt x="1124044" y="4391225"/>
                  <a:pt x="1123579" y="4390708"/>
                </a:cubicBezTo>
                <a:cubicBezTo>
                  <a:pt x="1123579" y="4390708"/>
                  <a:pt x="1124353" y="4389882"/>
                  <a:pt x="1125283" y="4389056"/>
                </a:cubicBezTo>
                <a:lnTo>
                  <a:pt x="1125128" y="4388540"/>
                </a:lnTo>
                <a:lnTo>
                  <a:pt x="1122649" y="4387404"/>
                </a:lnTo>
                <a:cubicBezTo>
                  <a:pt x="1121101" y="4383377"/>
                  <a:pt x="1125438" y="4374910"/>
                  <a:pt x="1130549" y="4373981"/>
                </a:cubicBezTo>
                <a:cubicBezTo>
                  <a:pt x="1131478" y="4373774"/>
                  <a:pt x="1132408" y="4373878"/>
                  <a:pt x="1133183" y="4374187"/>
                </a:cubicBezTo>
                <a:lnTo>
                  <a:pt x="1134576" y="4375013"/>
                </a:lnTo>
                <a:lnTo>
                  <a:pt x="1139533" y="4371503"/>
                </a:lnTo>
                <a:cubicBezTo>
                  <a:pt x="1141237" y="4370780"/>
                  <a:pt x="1142166" y="4370574"/>
                  <a:pt x="1142166" y="4370574"/>
                </a:cubicBezTo>
                <a:close/>
                <a:moveTo>
                  <a:pt x="5704937" y="4370488"/>
                </a:moveTo>
                <a:cubicBezTo>
                  <a:pt x="5706796" y="4370075"/>
                  <a:pt x="5709119" y="4370592"/>
                  <a:pt x="5711752" y="4372760"/>
                </a:cubicBezTo>
                <a:cubicBezTo>
                  <a:pt x="5709119" y="4378026"/>
                  <a:pt x="5711288" y="4382053"/>
                  <a:pt x="5707105" y="4384944"/>
                </a:cubicBezTo>
                <a:cubicBezTo>
                  <a:pt x="5698431" y="4382569"/>
                  <a:pt x="5699361" y="4371934"/>
                  <a:pt x="5704937" y="4370488"/>
                </a:cubicBezTo>
                <a:close/>
                <a:moveTo>
                  <a:pt x="1398365" y="4369851"/>
                </a:moveTo>
                <a:cubicBezTo>
                  <a:pt x="1400379" y="4370057"/>
                  <a:pt x="1402237" y="4371503"/>
                  <a:pt x="1403477" y="4374601"/>
                </a:cubicBezTo>
                <a:cubicBezTo>
                  <a:pt x="1401618" y="4378628"/>
                  <a:pt x="1399139" y="4379453"/>
                  <a:pt x="1396971" y="4381829"/>
                </a:cubicBezTo>
                <a:cubicBezTo>
                  <a:pt x="1393099" y="4380486"/>
                  <a:pt x="1391395" y="4378421"/>
                  <a:pt x="1391239" y="4376253"/>
                </a:cubicBezTo>
                <a:cubicBezTo>
                  <a:pt x="1391085" y="4374187"/>
                  <a:pt x="1392324" y="4372019"/>
                  <a:pt x="1394183" y="4370883"/>
                </a:cubicBezTo>
                <a:cubicBezTo>
                  <a:pt x="1395422" y="4370057"/>
                  <a:pt x="1396971" y="4369644"/>
                  <a:pt x="1398365" y="4369851"/>
                </a:cubicBezTo>
                <a:close/>
                <a:moveTo>
                  <a:pt x="1540715" y="4369541"/>
                </a:moveTo>
                <a:cubicBezTo>
                  <a:pt x="1541799" y="4370161"/>
                  <a:pt x="1542728" y="4370780"/>
                  <a:pt x="1543813" y="4371400"/>
                </a:cubicBezTo>
                <a:cubicBezTo>
                  <a:pt x="1544277" y="4374704"/>
                  <a:pt x="1543348" y="4377905"/>
                  <a:pt x="1540715" y="4378318"/>
                </a:cubicBezTo>
                <a:cubicBezTo>
                  <a:pt x="1539785" y="4378421"/>
                  <a:pt x="1538701" y="4378318"/>
                  <a:pt x="1537462" y="4377802"/>
                </a:cubicBezTo>
                <a:cubicBezTo>
                  <a:pt x="1536687" y="4375220"/>
                  <a:pt x="1538391" y="4370161"/>
                  <a:pt x="1540715" y="4369541"/>
                </a:cubicBezTo>
                <a:close/>
                <a:moveTo>
                  <a:pt x="1080982" y="4368818"/>
                </a:moveTo>
                <a:cubicBezTo>
                  <a:pt x="1082376" y="4368818"/>
                  <a:pt x="1081137" y="4375427"/>
                  <a:pt x="1080208" y="4380176"/>
                </a:cubicBezTo>
                <a:lnTo>
                  <a:pt x="1079433" y="4383274"/>
                </a:lnTo>
                <a:lnTo>
                  <a:pt x="1080518" y="4383377"/>
                </a:lnTo>
                <a:lnTo>
                  <a:pt x="1082066" y="4384307"/>
                </a:lnTo>
                <a:lnTo>
                  <a:pt x="1083926" y="4383894"/>
                </a:lnTo>
                <a:lnTo>
                  <a:pt x="1084081" y="4383584"/>
                </a:lnTo>
                <a:cubicBezTo>
                  <a:pt x="1084545" y="4382345"/>
                  <a:pt x="1084855" y="4381003"/>
                  <a:pt x="1084390" y="4380486"/>
                </a:cubicBezTo>
                <a:cubicBezTo>
                  <a:pt x="1085165" y="4380589"/>
                  <a:pt x="1086094" y="4379867"/>
                  <a:pt x="1086094" y="4379867"/>
                </a:cubicBezTo>
                <a:cubicBezTo>
                  <a:pt x="1087023" y="4380796"/>
                  <a:pt x="1086869" y="4381725"/>
                  <a:pt x="1086869" y="4382551"/>
                </a:cubicBezTo>
                <a:lnTo>
                  <a:pt x="1084545" y="4383894"/>
                </a:lnTo>
                <a:lnTo>
                  <a:pt x="1091360" y="4382654"/>
                </a:lnTo>
                <a:lnTo>
                  <a:pt x="1093839" y="4383068"/>
                </a:lnTo>
                <a:lnTo>
                  <a:pt x="1093684" y="4382035"/>
                </a:lnTo>
                <a:cubicBezTo>
                  <a:pt x="1095543" y="4382448"/>
                  <a:pt x="1096007" y="4381415"/>
                  <a:pt x="1098330" y="4383480"/>
                </a:cubicBezTo>
                <a:lnTo>
                  <a:pt x="1098330" y="4383790"/>
                </a:lnTo>
                <a:lnTo>
                  <a:pt x="1102668" y="4384513"/>
                </a:lnTo>
                <a:cubicBezTo>
                  <a:pt x="1104991" y="4385442"/>
                  <a:pt x="1107005" y="4386578"/>
                  <a:pt x="1109019" y="4388024"/>
                </a:cubicBezTo>
                <a:cubicBezTo>
                  <a:pt x="1105766" y="4394322"/>
                  <a:pt x="1098330" y="4392670"/>
                  <a:pt x="1092755" y="4392774"/>
                </a:cubicBezTo>
                <a:cubicBezTo>
                  <a:pt x="1094303" y="4398556"/>
                  <a:pt x="1098330" y="4406507"/>
                  <a:pt x="1092290" y="4409398"/>
                </a:cubicBezTo>
                <a:cubicBezTo>
                  <a:pt x="1087643" y="4407746"/>
                  <a:pt x="1087643" y="4402376"/>
                  <a:pt x="1086559" y="4397007"/>
                </a:cubicBezTo>
                <a:lnTo>
                  <a:pt x="1085939" y="4394839"/>
                </a:lnTo>
                <a:lnTo>
                  <a:pt x="1084545" y="4393703"/>
                </a:lnTo>
                <a:lnTo>
                  <a:pt x="1079588" y="4390812"/>
                </a:lnTo>
                <a:lnTo>
                  <a:pt x="1079124" y="4391121"/>
                </a:lnTo>
                <a:lnTo>
                  <a:pt x="1079124" y="4391431"/>
                </a:lnTo>
                <a:lnTo>
                  <a:pt x="1079278" y="4391535"/>
                </a:lnTo>
                <a:lnTo>
                  <a:pt x="1079124" y="4392154"/>
                </a:lnTo>
                <a:lnTo>
                  <a:pt x="1079124" y="4392980"/>
                </a:lnTo>
                <a:lnTo>
                  <a:pt x="1078969" y="4393083"/>
                </a:lnTo>
                <a:lnTo>
                  <a:pt x="1078814" y="4394013"/>
                </a:lnTo>
                <a:cubicBezTo>
                  <a:pt x="1078349" y="4394839"/>
                  <a:pt x="1077575" y="4395665"/>
                  <a:pt x="1077110" y="4396388"/>
                </a:cubicBezTo>
                <a:cubicBezTo>
                  <a:pt x="1077885" y="4398040"/>
                  <a:pt x="1073702" y="4398556"/>
                  <a:pt x="1074631" y="4400208"/>
                </a:cubicBezTo>
                <a:cubicBezTo>
                  <a:pt x="1069985" y="4401447"/>
                  <a:pt x="1070914" y="4407333"/>
                  <a:pt x="1064099" y="4410431"/>
                </a:cubicBezTo>
                <a:lnTo>
                  <a:pt x="1066577" y="4405061"/>
                </a:lnTo>
                <a:lnTo>
                  <a:pt x="1065338" y="4403306"/>
                </a:lnTo>
                <a:cubicBezTo>
                  <a:pt x="1065183" y="4402170"/>
                  <a:pt x="1065802" y="4400828"/>
                  <a:pt x="1066577" y="4399279"/>
                </a:cubicBezTo>
                <a:cubicBezTo>
                  <a:pt x="1067662" y="4400105"/>
                  <a:pt x="1068126" y="4401034"/>
                  <a:pt x="1068281" y="4402170"/>
                </a:cubicBezTo>
                <a:lnTo>
                  <a:pt x="1068281" y="4402686"/>
                </a:lnTo>
                <a:lnTo>
                  <a:pt x="1071224" y="4398349"/>
                </a:lnTo>
                <a:cubicBezTo>
                  <a:pt x="1072773" y="4396491"/>
                  <a:pt x="1074012" y="4394736"/>
                  <a:pt x="1074477" y="4392670"/>
                </a:cubicBezTo>
                <a:cubicBezTo>
                  <a:pt x="1074477" y="4392670"/>
                  <a:pt x="1074631" y="4392670"/>
                  <a:pt x="1076955" y="4392051"/>
                </a:cubicBezTo>
                <a:cubicBezTo>
                  <a:pt x="1077419" y="4391328"/>
                  <a:pt x="1077419" y="4391328"/>
                  <a:pt x="1077419" y="4391328"/>
                </a:cubicBezTo>
                <a:cubicBezTo>
                  <a:pt x="1077575" y="4391018"/>
                  <a:pt x="1078039" y="4391018"/>
                  <a:pt x="1078504" y="4391121"/>
                </a:cubicBezTo>
                <a:lnTo>
                  <a:pt x="1078659" y="4390915"/>
                </a:lnTo>
                <a:lnTo>
                  <a:pt x="1079124" y="4390502"/>
                </a:lnTo>
                <a:lnTo>
                  <a:pt x="1074786" y="4388024"/>
                </a:lnTo>
                <a:cubicBezTo>
                  <a:pt x="1075871" y="4385855"/>
                  <a:pt x="1072928" y="4384823"/>
                  <a:pt x="1074786" y="4382551"/>
                </a:cubicBezTo>
                <a:lnTo>
                  <a:pt x="1077110" y="4382861"/>
                </a:lnTo>
                <a:cubicBezTo>
                  <a:pt x="1076955" y="4381932"/>
                  <a:pt x="1077110" y="4380693"/>
                  <a:pt x="1077419" y="4379144"/>
                </a:cubicBezTo>
                <a:cubicBezTo>
                  <a:pt x="1078195" y="4375943"/>
                  <a:pt x="1080363" y="4371916"/>
                  <a:pt x="1080827" y="4370780"/>
                </a:cubicBezTo>
                <a:cubicBezTo>
                  <a:pt x="1081292" y="4369644"/>
                  <a:pt x="1080982" y="4368818"/>
                  <a:pt x="1080982" y="4368818"/>
                </a:cubicBezTo>
                <a:close/>
                <a:moveTo>
                  <a:pt x="5491025" y="4368733"/>
                </a:moveTo>
                <a:cubicBezTo>
                  <a:pt x="5492729" y="4367907"/>
                  <a:pt x="5494898" y="4370488"/>
                  <a:pt x="5496446" y="4371417"/>
                </a:cubicBezTo>
                <a:cubicBezTo>
                  <a:pt x="5495517" y="4372243"/>
                  <a:pt x="5494588" y="4373173"/>
                  <a:pt x="5495517" y="4373173"/>
                </a:cubicBezTo>
                <a:cubicBezTo>
                  <a:pt x="5494588" y="4373999"/>
                  <a:pt x="5493658" y="4374412"/>
                  <a:pt x="5492884" y="4374515"/>
                </a:cubicBezTo>
                <a:cubicBezTo>
                  <a:pt x="5492109" y="4374618"/>
                  <a:pt x="5491180" y="4374412"/>
                  <a:pt x="5490406" y="4373896"/>
                </a:cubicBezTo>
                <a:cubicBezTo>
                  <a:pt x="5489631" y="4373070"/>
                  <a:pt x="5489786" y="4371314"/>
                  <a:pt x="5491025" y="4368733"/>
                </a:cubicBezTo>
                <a:close/>
                <a:moveTo>
                  <a:pt x="611956" y="4368302"/>
                </a:moveTo>
                <a:cubicBezTo>
                  <a:pt x="612731" y="4369231"/>
                  <a:pt x="612731" y="4369231"/>
                  <a:pt x="612576" y="4371709"/>
                </a:cubicBezTo>
                <a:cubicBezTo>
                  <a:pt x="611802" y="4370780"/>
                  <a:pt x="611802" y="4370780"/>
                  <a:pt x="610872" y="4371503"/>
                </a:cubicBezTo>
                <a:cubicBezTo>
                  <a:pt x="610872" y="4371503"/>
                  <a:pt x="610872" y="4371400"/>
                  <a:pt x="610872" y="4372226"/>
                </a:cubicBezTo>
                <a:cubicBezTo>
                  <a:pt x="610098" y="4372122"/>
                  <a:pt x="610253" y="4371400"/>
                  <a:pt x="609323" y="4371193"/>
                </a:cubicBezTo>
                <a:cubicBezTo>
                  <a:pt x="609323" y="4371193"/>
                  <a:pt x="609478" y="4370367"/>
                  <a:pt x="609323" y="4370367"/>
                </a:cubicBezTo>
                <a:cubicBezTo>
                  <a:pt x="609013" y="4370367"/>
                  <a:pt x="609013" y="4370264"/>
                  <a:pt x="609323" y="4370161"/>
                </a:cubicBezTo>
                <a:cubicBezTo>
                  <a:pt x="609478" y="4369954"/>
                  <a:pt x="609788" y="4369644"/>
                  <a:pt x="610253" y="4368818"/>
                </a:cubicBezTo>
                <a:cubicBezTo>
                  <a:pt x="611182" y="4368096"/>
                  <a:pt x="611182" y="4367269"/>
                  <a:pt x="611956" y="4368302"/>
                </a:cubicBezTo>
                <a:close/>
                <a:moveTo>
                  <a:pt x="1513607" y="4366753"/>
                </a:moveTo>
                <a:cubicBezTo>
                  <a:pt x="1515466" y="4366753"/>
                  <a:pt x="1515621" y="4369438"/>
                  <a:pt x="1516241" y="4370986"/>
                </a:cubicBezTo>
                <a:cubicBezTo>
                  <a:pt x="1518100" y="4370986"/>
                  <a:pt x="1515931" y="4374910"/>
                  <a:pt x="1517790" y="4374910"/>
                </a:cubicBezTo>
                <a:cubicBezTo>
                  <a:pt x="1515776" y="4379557"/>
                  <a:pt x="1521198" y="4381415"/>
                  <a:pt x="1519494" y="4388850"/>
                </a:cubicBezTo>
                <a:cubicBezTo>
                  <a:pt x="1518100" y="4387198"/>
                  <a:pt x="1517170" y="4385546"/>
                  <a:pt x="1516396" y="4383894"/>
                </a:cubicBezTo>
                <a:cubicBezTo>
                  <a:pt x="1514227" y="4378937"/>
                  <a:pt x="1514227" y="4374291"/>
                  <a:pt x="1511749" y="4371400"/>
                </a:cubicBezTo>
                <a:cubicBezTo>
                  <a:pt x="1511749" y="4371400"/>
                  <a:pt x="1511749" y="4371400"/>
                  <a:pt x="1512679" y="4369025"/>
                </a:cubicBezTo>
                <a:cubicBezTo>
                  <a:pt x="1512369" y="4368302"/>
                  <a:pt x="1512369" y="4368302"/>
                  <a:pt x="1512369" y="4368302"/>
                </a:cubicBezTo>
                <a:cubicBezTo>
                  <a:pt x="1512059" y="4367476"/>
                  <a:pt x="1513607" y="4366753"/>
                  <a:pt x="1513607" y="4366753"/>
                </a:cubicBezTo>
                <a:close/>
                <a:moveTo>
                  <a:pt x="1567512" y="4366546"/>
                </a:moveTo>
                <a:cubicBezTo>
                  <a:pt x="1569216" y="4366237"/>
                  <a:pt x="1571539" y="4367063"/>
                  <a:pt x="1574173" y="4368612"/>
                </a:cubicBezTo>
                <a:cubicBezTo>
                  <a:pt x="1573397" y="4371503"/>
                  <a:pt x="1572004" y="4372226"/>
                  <a:pt x="1569990" y="4372019"/>
                </a:cubicBezTo>
                <a:cubicBezTo>
                  <a:pt x="1568131" y="4371812"/>
                  <a:pt x="1565808" y="4370883"/>
                  <a:pt x="1563640" y="4370574"/>
                </a:cubicBezTo>
                <a:cubicBezTo>
                  <a:pt x="1564414" y="4368096"/>
                  <a:pt x="1565808" y="4366753"/>
                  <a:pt x="1567512" y="4366546"/>
                </a:cubicBezTo>
                <a:close/>
                <a:moveTo>
                  <a:pt x="5774214" y="4366164"/>
                </a:moveTo>
                <a:cubicBezTo>
                  <a:pt x="5776422" y="4366952"/>
                  <a:pt x="5777816" y="4369300"/>
                  <a:pt x="5775260" y="4372450"/>
                </a:cubicBezTo>
                <a:cubicBezTo>
                  <a:pt x="5772007" y="4371314"/>
                  <a:pt x="5769683" y="4370488"/>
                  <a:pt x="5768290" y="4369249"/>
                </a:cubicBezTo>
                <a:cubicBezTo>
                  <a:pt x="5768986" y="4366152"/>
                  <a:pt x="5772007" y="4365377"/>
                  <a:pt x="5774214" y="4366164"/>
                </a:cubicBezTo>
                <a:close/>
                <a:moveTo>
                  <a:pt x="1531575" y="4365617"/>
                </a:moveTo>
                <a:cubicBezTo>
                  <a:pt x="1532970" y="4365927"/>
                  <a:pt x="1533589" y="4366650"/>
                  <a:pt x="1533744" y="4367476"/>
                </a:cubicBezTo>
                <a:cubicBezTo>
                  <a:pt x="1533899" y="4368302"/>
                  <a:pt x="1533589" y="4369438"/>
                  <a:pt x="1533125" y="4370574"/>
                </a:cubicBezTo>
                <a:lnTo>
                  <a:pt x="1531575" y="4372122"/>
                </a:lnTo>
                <a:lnTo>
                  <a:pt x="1531575" y="4375013"/>
                </a:lnTo>
                <a:cubicBezTo>
                  <a:pt x="1530956" y="4377698"/>
                  <a:pt x="1529098" y="4379557"/>
                  <a:pt x="1526929" y="4379970"/>
                </a:cubicBezTo>
                <a:cubicBezTo>
                  <a:pt x="1526155" y="4380073"/>
                  <a:pt x="1525380" y="4380073"/>
                  <a:pt x="1524605" y="4379867"/>
                </a:cubicBezTo>
                <a:cubicBezTo>
                  <a:pt x="1523211" y="4379453"/>
                  <a:pt x="1521817" y="4378421"/>
                  <a:pt x="1520578" y="4376769"/>
                </a:cubicBezTo>
                <a:cubicBezTo>
                  <a:pt x="1519959" y="4373258"/>
                  <a:pt x="1521043" y="4370161"/>
                  <a:pt x="1523211" y="4368818"/>
                </a:cubicBezTo>
                <a:lnTo>
                  <a:pt x="1526619" y="4368096"/>
                </a:lnTo>
                <a:lnTo>
                  <a:pt x="1526619" y="4366753"/>
                </a:lnTo>
                <a:cubicBezTo>
                  <a:pt x="1527858" y="4365307"/>
                  <a:pt x="1529717" y="4365411"/>
                  <a:pt x="1531575" y="4365617"/>
                </a:cubicBezTo>
                <a:close/>
                <a:moveTo>
                  <a:pt x="5828854" y="4365325"/>
                </a:moveTo>
                <a:cubicBezTo>
                  <a:pt x="5832572" y="4362641"/>
                  <a:pt x="5837993" y="4366565"/>
                  <a:pt x="5837373" y="4371004"/>
                </a:cubicBezTo>
                <a:cubicBezTo>
                  <a:pt x="5836444" y="4371624"/>
                  <a:pt x="5835515" y="4373173"/>
                  <a:pt x="5833656" y="4373689"/>
                </a:cubicBezTo>
                <a:cubicBezTo>
                  <a:pt x="5829629" y="4371831"/>
                  <a:pt x="5828389" y="4368836"/>
                  <a:pt x="5828854" y="4365325"/>
                </a:cubicBezTo>
                <a:close/>
                <a:moveTo>
                  <a:pt x="5786335" y="4364835"/>
                </a:moveTo>
                <a:cubicBezTo>
                  <a:pt x="5788271" y="4365170"/>
                  <a:pt x="5790053" y="4366513"/>
                  <a:pt x="5791524" y="4368423"/>
                </a:cubicBezTo>
                <a:cubicBezTo>
                  <a:pt x="5796326" y="4374825"/>
                  <a:pt x="5797565" y="4387629"/>
                  <a:pt x="5789975" y="4390416"/>
                </a:cubicBezTo>
                <a:cubicBezTo>
                  <a:pt x="5787342" y="4387938"/>
                  <a:pt x="5784863" y="4384944"/>
                  <a:pt x="5783004" y="4381124"/>
                </a:cubicBezTo>
                <a:cubicBezTo>
                  <a:pt x="5781301" y="4377406"/>
                  <a:pt x="5780216" y="4372863"/>
                  <a:pt x="5780216" y="4367287"/>
                </a:cubicBezTo>
                <a:cubicBezTo>
                  <a:pt x="5782308" y="4365170"/>
                  <a:pt x="5784399" y="4364499"/>
                  <a:pt x="5786335" y="4364835"/>
                </a:cubicBezTo>
                <a:close/>
                <a:moveTo>
                  <a:pt x="666886" y="4364081"/>
                </a:moveTo>
                <a:cubicBezTo>
                  <a:pt x="668339" y="4364430"/>
                  <a:pt x="669500" y="4365927"/>
                  <a:pt x="671127" y="4367476"/>
                </a:cubicBezTo>
                <a:cubicBezTo>
                  <a:pt x="670197" y="4369025"/>
                  <a:pt x="670817" y="4371812"/>
                  <a:pt x="668958" y="4373258"/>
                </a:cubicBezTo>
                <a:cubicBezTo>
                  <a:pt x="668958" y="4373258"/>
                  <a:pt x="668029" y="4373981"/>
                  <a:pt x="666480" y="4373671"/>
                </a:cubicBezTo>
                <a:cubicBezTo>
                  <a:pt x="665706" y="4373981"/>
                  <a:pt x="665086" y="4374084"/>
                  <a:pt x="664621" y="4373981"/>
                </a:cubicBezTo>
                <a:cubicBezTo>
                  <a:pt x="662762" y="4373671"/>
                  <a:pt x="661523" y="4372019"/>
                  <a:pt x="661523" y="4372019"/>
                </a:cubicBezTo>
                <a:cubicBezTo>
                  <a:pt x="661523" y="4372019"/>
                  <a:pt x="661523" y="4372019"/>
                  <a:pt x="661523" y="4372845"/>
                </a:cubicBezTo>
                <a:cubicBezTo>
                  <a:pt x="661523" y="4371090"/>
                  <a:pt x="660904" y="4369231"/>
                  <a:pt x="660904" y="4367579"/>
                </a:cubicBezTo>
                <a:cubicBezTo>
                  <a:pt x="663692" y="4364533"/>
                  <a:pt x="665434" y="4363733"/>
                  <a:pt x="666886" y="4364081"/>
                </a:cubicBezTo>
                <a:close/>
                <a:moveTo>
                  <a:pt x="5291673" y="4362950"/>
                </a:moveTo>
                <a:cubicBezTo>
                  <a:pt x="5295391" y="4362950"/>
                  <a:pt x="5294772" y="4366048"/>
                  <a:pt x="5294152" y="4369146"/>
                </a:cubicBezTo>
                <a:cubicBezTo>
                  <a:pt x="5293223" y="4369146"/>
                  <a:pt x="5292448" y="4369559"/>
                  <a:pt x="5291519" y="4369765"/>
                </a:cubicBezTo>
                <a:cubicBezTo>
                  <a:pt x="5290744" y="4369972"/>
                  <a:pt x="5289815" y="4369869"/>
                  <a:pt x="5288576" y="4369146"/>
                </a:cubicBezTo>
                <a:cubicBezTo>
                  <a:pt x="5289505" y="4366771"/>
                  <a:pt x="5290744" y="4365222"/>
                  <a:pt x="5291673" y="4362950"/>
                </a:cubicBezTo>
                <a:close/>
                <a:moveTo>
                  <a:pt x="1084390" y="4361590"/>
                </a:moveTo>
                <a:cubicBezTo>
                  <a:pt x="1083926" y="4362726"/>
                  <a:pt x="1082531" y="4366237"/>
                  <a:pt x="1082531" y="4366237"/>
                </a:cubicBezTo>
                <a:cubicBezTo>
                  <a:pt x="1082841" y="4366960"/>
                  <a:pt x="1082841" y="4366960"/>
                  <a:pt x="1082376" y="4368096"/>
                </a:cubicBezTo>
                <a:cubicBezTo>
                  <a:pt x="1081292" y="4367785"/>
                  <a:pt x="1081292" y="4367785"/>
                  <a:pt x="1080982" y="4366960"/>
                </a:cubicBezTo>
                <a:cubicBezTo>
                  <a:pt x="1081447" y="4365824"/>
                  <a:pt x="1082222" y="4365411"/>
                  <a:pt x="1082686" y="4364275"/>
                </a:cubicBezTo>
                <a:cubicBezTo>
                  <a:pt x="1080518" y="4363449"/>
                  <a:pt x="1080827" y="4364275"/>
                  <a:pt x="1081292" y="4363139"/>
                </a:cubicBezTo>
                <a:cubicBezTo>
                  <a:pt x="1081292" y="4363139"/>
                  <a:pt x="1081292" y="4363139"/>
                  <a:pt x="1081757" y="4361900"/>
                </a:cubicBezTo>
                <a:cubicBezTo>
                  <a:pt x="1081757" y="4361900"/>
                  <a:pt x="1081447" y="4361177"/>
                  <a:pt x="1084390" y="4361590"/>
                </a:cubicBezTo>
                <a:close/>
                <a:moveTo>
                  <a:pt x="1470856" y="4361177"/>
                </a:moveTo>
                <a:cubicBezTo>
                  <a:pt x="1472715" y="4361384"/>
                  <a:pt x="1474884" y="4362210"/>
                  <a:pt x="1477207" y="4363552"/>
                </a:cubicBezTo>
                <a:cubicBezTo>
                  <a:pt x="1477362" y="4367992"/>
                  <a:pt x="1478292" y="4374187"/>
                  <a:pt x="1477207" y="4379660"/>
                </a:cubicBezTo>
                <a:lnTo>
                  <a:pt x="1475193" y="4384307"/>
                </a:lnTo>
                <a:lnTo>
                  <a:pt x="1475193" y="4387404"/>
                </a:lnTo>
                <a:lnTo>
                  <a:pt x="1471786" y="4388231"/>
                </a:lnTo>
                <a:lnTo>
                  <a:pt x="1465590" y="4391535"/>
                </a:lnTo>
                <a:lnTo>
                  <a:pt x="1463421" y="4387920"/>
                </a:lnTo>
                <a:lnTo>
                  <a:pt x="1461872" y="4387301"/>
                </a:lnTo>
                <a:lnTo>
                  <a:pt x="1458310" y="4382345"/>
                </a:lnTo>
                <a:lnTo>
                  <a:pt x="1455367" y="4382035"/>
                </a:lnTo>
                <a:cubicBezTo>
                  <a:pt x="1454437" y="4381519"/>
                  <a:pt x="1453972" y="4380589"/>
                  <a:pt x="1454282" y="4379350"/>
                </a:cubicBezTo>
                <a:lnTo>
                  <a:pt x="1457690" y="4378214"/>
                </a:lnTo>
                <a:lnTo>
                  <a:pt x="1458000" y="4373981"/>
                </a:lnTo>
                <a:lnTo>
                  <a:pt x="1459239" y="4372845"/>
                </a:lnTo>
                <a:lnTo>
                  <a:pt x="1459239" y="4372226"/>
                </a:lnTo>
                <a:cubicBezTo>
                  <a:pt x="1460169" y="4365617"/>
                  <a:pt x="1464196" y="4360248"/>
                  <a:pt x="1470856" y="4361177"/>
                </a:cubicBezTo>
                <a:close/>
                <a:moveTo>
                  <a:pt x="695910" y="4361074"/>
                </a:moveTo>
                <a:cubicBezTo>
                  <a:pt x="697769" y="4360868"/>
                  <a:pt x="702725" y="4364585"/>
                  <a:pt x="702261" y="4365720"/>
                </a:cubicBezTo>
                <a:cubicBezTo>
                  <a:pt x="700092" y="4365720"/>
                  <a:pt x="696220" y="4365514"/>
                  <a:pt x="694516" y="4364172"/>
                </a:cubicBezTo>
                <a:cubicBezTo>
                  <a:pt x="694051" y="4363759"/>
                  <a:pt x="693742" y="4363139"/>
                  <a:pt x="693742" y="4362416"/>
                </a:cubicBezTo>
                <a:cubicBezTo>
                  <a:pt x="694206" y="4361177"/>
                  <a:pt x="695291" y="4361487"/>
                  <a:pt x="695910" y="4361074"/>
                </a:cubicBezTo>
                <a:close/>
                <a:moveTo>
                  <a:pt x="5758996" y="4360989"/>
                </a:moveTo>
                <a:cubicBezTo>
                  <a:pt x="5761629" y="4363673"/>
                  <a:pt x="5764572" y="4366048"/>
                  <a:pt x="5766895" y="4369146"/>
                </a:cubicBezTo>
                <a:cubicBezTo>
                  <a:pt x="5769219" y="4372140"/>
                  <a:pt x="5770923" y="4375754"/>
                  <a:pt x="5771542" y="4380814"/>
                </a:cubicBezTo>
                <a:cubicBezTo>
                  <a:pt x="5766586" y="4380917"/>
                  <a:pt x="5763333" y="4377716"/>
                  <a:pt x="5761474" y="4373586"/>
                </a:cubicBezTo>
                <a:cubicBezTo>
                  <a:pt x="5759615" y="4369456"/>
                  <a:pt x="5758841" y="4364396"/>
                  <a:pt x="5758996" y="4360989"/>
                </a:cubicBezTo>
                <a:close/>
                <a:moveTo>
                  <a:pt x="1422993" y="4360558"/>
                </a:moveTo>
                <a:cubicBezTo>
                  <a:pt x="1423768" y="4360145"/>
                  <a:pt x="1424233" y="4360868"/>
                  <a:pt x="1425317" y="4361074"/>
                </a:cubicBezTo>
                <a:cubicBezTo>
                  <a:pt x="1425627" y="4361797"/>
                  <a:pt x="1425317" y="4363036"/>
                  <a:pt x="1425317" y="4363036"/>
                </a:cubicBezTo>
                <a:cubicBezTo>
                  <a:pt x="1425007" y="4364275"/>
                  <a:pt x="1425007" y="4364275"/>
                  <a:pt x="1426092" y="4364481"/>
                </a:cubicBezTo>
                <a:cubicBezTo>
                  <a:pt x="1426092" y="4364481"/>
                  <a:pt x="1425317" y="4364998"/>
                  <a:pt x="1425317" y="4364998"/>
                </a:cubicBezTo>
                <a:cubicBezTo>
                  <a:pt x="1425007" y="4364275"/>
                  <a:pt x="1425317" y="4364998"/>
                  <a:pt x="1425007" y="4366237"/>
                </a:cubicBezTo>
                <a:cubicBezTo>
                  <a:pt x="1422993" y="4366443"/>
                  <a:pt x="1422374" y="4366856"/>
                  <a:pt x="1421135" y="4366546"/>
                </a:cubicBezTo>
                <a:cubicBezTo>
                  <a:pt x="1420670" y="4366443"/>
                  <a:pt x="1419896" y="4366134"/>
                  <a:pt x="1419431" y="4365720"/>
                </a:cubicBezTo>
                <a:cubicBezTo>
                  <a:pt x="1418967" y="4365204"/>
                  <a:pt x="1418811" y="4364688"/>
                  <a:pt x="1418967" y="4364172"/>
                </a:cubicBezTo>
                <a:cubicBezTo>
                  <a:pt x="1419741" y="4363655"/>
                  <a:pt x="1419276" y="4362933"/>
                  <a:pt x="1420050" y="4362416"/>
                </a:cubicBezTo>
                <a:cubicBezTo>
                  <a:pt x="1421135" y="4360764"/>
                  <a:pt x="1421909" y="4360351"/>
                  <a:pt x="1422993" y="4360558"/>
                </a:cubicBezTo>
                <a:close/>
                <a:moveTo>
                  <a:pt x="6018912" y="4359646"/>
                </a:moveTo>
                <a:cubicBezTo>
                  <a:pt x="6020151" y="4359336"/>
                  <a:pt x="6020306" y="4360472"/>
                  <a:pt x="6020925" y="4360885"/>
                </a:cubicBezTo>
                <a:cubicBezTo>
                  <a:pt x="6021855" y="4362537"/>
                  <a:pt x="6020461" y="4368939"/>
                  <a:pt x="6019377" y="4369249"/>
                </a:cubicBezTo>
                <a:cubicBezTo>
                  <a:pt x="6018602" y="4367184"/>
                  <a:pt x="6017208" y="4363570"/>
                  <a:pt x="6017673" y="4361298"/>
                </a:cubicBezTo>
                <a:cubicBezTo>
                  <a:pt x="6017828" y="4360575"/>
                  <a:pt x="6018292" y="4359956"/>
                  <a:pt x="6018912" y="4359646"/>
                </a:cubicBezTo>
                <a:close/>
                <a:moveTo>
                  <a:pt x="1645221" y="4359554"/>
                </a:moveTo>
                <a:lnTo>
                  <a:pt x="1640880" y="4362631"/>
                </a:lnTo>
                <a:lnTo>
                  <a:pt x="1644495" y="4363345"/>
                </a:lnTo>
                <a:lnTo>
                  <a:pt x="1644650" y="4362933"/>
                </a:lnTo>
                <a:cubicBezTo>
                  <a:pt x="1644650" y="4362107"/>
                  <a:pt x="1644650" y="4361487"/>
                  <a:pt x="1644650" y="4360454"/>
                </a:cubicBezTo>
                <a:close/>
                <a:moveTo>
                  <a:pt x="1078969" y="4359525"/>
                </a:moveTo>
                <a:cubicBezTo>
                  <a:pt x="1078969" y="4359525"/>
                  <a:pt x="1079898" y="4359112"/>
                  <a:pt x="1080982" y="4359525"/>
                </a:cubicBezTo>
                <a:cubicBezTo>
                  <a:pt x="1082686" y="4359525"/>
                  <a:pt x="1080673" y="4361590"/>
                  <a:pt x="1081757" y="4361900"/>
                </a:cubicBezTo>
                <a:cubicBezTo>
                  <a:pt x="1075096" y="4363449"/>
                  <a:pt x="1070295" y="4367579"/>
                  <a:pt x="1070295" y="4367579"/>
                </a:cubicBezTo>
                <a:cubicBezTo>
                  <a:pt x="1068436" y="4367579"/>
                  <a:pt x="1068126" y="4366856"/>
                  <a:pt x="1068436" y="4367579"/>
                </a:cubicBezTo>
                <a:cubicBezTo>
                  <a:pt x="1066267" y="4366856"/>
                  <a:pt x="1063324" y="4366443"/>
                  <a:pt x="1063479" y="4364481"/>
                </a:cubicBezTo>
                <a:cubicBezTo>
                  <a:pt x="1065493" y="4357873"/>
                  <a:pt x="1076491" y="4359938"/>
                  <a:pt x="1078969" y="4359525"/>
                </a:cubicBezTo>
                <a:close/>
                <a:moveTo>
                  <a:pt x="1402857" y="4357873"/>
                </a:moveTo>
                <a:cubicBezTo>
                  <a:pt x="1409827" y="4359009"/>
                  <a:pt x="1417572" y="4359525"/>
                  <a:pt x="1418967" y="4365307"/>
                </a:cubicBezTo>
                <a:cubicBezTo>
                  <a:pt x="1418192" y="4366237"/>
                  <a:pt x="1417108" y="4366753"/>
                  <a:pt x="1415868" y="4366960"/>
                </a:cubicBezTo>
                <a:cubicBezTo>
                  <a:pt x="1414629" y="4367166"/>
                  <a:pt x="1413235" y="4367063"/>
                  <a:pt x="1411841" y="4366753"/>
                </a:cubicBezTo>
                <a:cubicBezTo>
                  <a:pt x="1409053" y="4366237"/>
                  <a:pt x="1406264" y="4364791"/>
                  <a:pt x="1404251" y="4363552"/>
                </a:cubicBezTo>
                <a:cubicBezTo>
                  <a:pt x="1404406" y="4361177"/>
                  <a:pt x="1402702" y="4360351"/>
                  <a:pt x="1402857" y="4357873"/>
                </a:cubicBezTo>
                <a:close/>
                <a:moveTo>
                  <a:pt x="1142786" y="4357667"/>
                </a:moveTo>
                <a:cubicBezTo>
                  <a:pt x="1143096" y="4359525"/>
                  <a:pt x="1144180" y="4359629"/>
                  <a:pt x="1143251" y="4362623"/>
                </a:cubicBezTo>
                <a:cubicBezTo>
                  <a:pt x="1142166" y="4362519"/>
                  <a:pt x="1141082" y="4362416"/>
                  <a:pt x="1139843" y="4362416"/>
                </a:cubicBezTo>
                <a:cubicBezTo>
                  <a:pt x="1140154" y="4359938"/>
                  <a:pt x="1140463" y="4357563"/>
                  <a:pt x="1142786" y="4357667"/>
                </a:cubicBezTo>
                <a:close/>
                <a:moveTo>
                  <a:pt x="5873154" y="4357374"/>
                </a:moveTo>
                <a:cubicBezTo>
                  <a:pt x="5875478" y="4362950"/>
                  <a:pt x="5873464" y="4374618"/>
                  <a:pt x="5865255" y="4374309"/>
                </a:cubicBezTo>
                <a:cubicBezTo>
                  <a:pt x="5867733" y="4368836"/>
                  <a:pt x="5868972" y="4362125"/>
                  <a:pt x="5873154" y="4357374"/>
                </a:cubicBezTo>
                <a:close/>
                <a:moveTo>
                  <a:pt x="5415126" y="4356755"/>
                </a:moveTo>
                <a:cubicBezTo>
                  <a:pt x="5416055" y="4357374"/>
                  <a:pt x="5416520" y="4358407"/>
                  <a:pt x="5416520" y="4360059"/>
                </a:cubicBezTo>
                <a:cubicBezTo>
                  <a:pt x="5415900" y="4365015"/>
                  <a:pt x="5411718" y="4365532"/>
                  <a:pt x="5407071" y="4365325"/>
                </a:cubicBezTo>
                <a:cubicBezTo>
                  <a:pt x="5406607" y="4363467"/>
                  <a:pt x="5405677" y="4362228"/>
                  <a:pt x="5405213" y="4360369"/>
                </a:cubicBezTo>
                <a:cubicBezTo>
                  <a:pt x="5406452" y="4357684"/>
                  <a:pt x="5412338" y="4355103"/>
                  <a:pt x="5415126" y="4356755"/>
                </a:cubicBezTo>
                <a:close/>
                <a:moveTo>
                  <a:pt x="1450410" y="4356737"/>
                </a:moveTo>
                <a:cubicBezTo>
                  <a:pt x="1453508" y="4355911"/>
                  <a:pt x="1456915" y="4356324"/>
                  <a:pt x="1458620" y="4358493"/>
                </a:cubicBezTo>
                <a:cubicBezTo>
                  <a:pt x="1455522" y="4362623"/>
                  <a:pt x="1452734" y="4365307"/>
                  <a:pt x="1448861" y="4364895"/>
                </a:cubicBezTo>
                <a:cubicBezTo>
                  <a:pt x="1447622" y="4364791"/>
                  <a:pt x="1446382" y="4364275"/>
                  <a:pt x="1444834" y="4363449"/>
                </a:cubicBezTo>
                <a:cubicBezTo>
                  <a:pt x="1444679" y="4360041"/>
                  <a:pt x="1447312" y="4357667"/>
                  <a:pt x="1450410" y="4356737"/>
                </a:cubicBezTo>
                <a:close/>
                <a:moveTo>
                  <a:pt x="5745365" y="4356032"/>
                </a:moveTo>
                <a:cubicBezTo>
                  <a:pt x="5746449" y="4356755"/>
                  <a:pt x="5747533" y="4357788"/>
                  <a:pt x="5748463" y="4359336"/>
                </a:cubicBezTo>
                <a:cubicBezTo>
                  <a:pt x="5746759" y="4364190"/>
                  <a:pt x="5745210" y="4372863"/>
                  <a:pt x="5738240" y="4373379"/>
                </a:cubicBezTo>
                <a:cubicBezTo>
                  <a:pt x="5737310" y="4373379"/>
                  <a:pt x="5736226" y="4373379"/>
                  <a:pt x="5734987" y="4373070"/>
                </a:cubicBezTo>
                <a:cubicBezTo>
                  <a:pt x="5730960" y="4364396"/>
                  <a:pt x="5737930" y="4350973"/>
                  <a:pt x="5745365" y="4356032"/>
                </a:cubicBezTo>
                <a:close/>
                <a:moveTo>
                  <a:pt x="5891897" y="4355929"/>
                </a:moveTo>
                <a:lnTo>
                  <a:pt x="5886785" y="4369662"/>
                </a:lnTo>
                <a:cubicBezTo>
                  <a:pt x="5889109" y="4369042"/>
                  <a:pt x="5889883" y="4370695"/>
                  <a:pt x="5889883" y="4370695"/>
                </a:cubicBezTo>
                <a:lnTo>
                  <a:pt x="5889883" y="4371624"/>
                </a:lnTo>
                <a:lnTo>
                  <a:pt x="5891277" y="4369765"/>
                </a:lnTo>
                <a:cubicBezTo>
                  <a:pt x="5892362" y="4368939"/>
                  <a:pt x="5893756" y="4368630"/>
                  <a:pt x="5895460" y="4368630"/>
                </a:cubicBezTo>
                <a:lnTo>
                  <a:pt x="5895769" y="4369249"/>
                </a:lnTo>
                <a:lnTo>
                  <a:pt x="5895924" y="4368733"/>
                </a:lnTo>
                <a:lnTo>
                  <a:pt x="5896234" y="4368733"/>
                </a:lnTo>
                <a:lnTo>
                  <a:pt x="5896234" y="4366668"/>
                </a:lnTo>
                <a:cubicBezTo>
                  <a:pt x="5897163" y="4363260"/>
                  <a:pt x="5899332" y="4359853"/>
                  <a:pt x="5903204" y="4356548"/>
                </a:cubicBezTo>
                <a:lnTo>
                  <a:pt x="5906147" y="4357788"/>
                </a:lnTo>
                <a:lnTo>
                  <a:pt x="5905992" y="4357478"/>
                </a:lnTo>
                <a:cubicBezTo>
                  <a:pt x="5905992" y="4357478"/>
                  <a:pt x="5906767" y="4357891"/>
                  <a:pt x="5906767" y="4357891"/>
                </a:cubicBezTo>
                <a:lnTo>
                  <a:pt x="5906767" y="4358098"/>
                </a:lnTo>
                <a:lnTo>
                  <a:pt x="5907851" y="4357581"/>
                </a:lnTo>
                <a:lnTo>
                  <a:pt x="5909245" y="4359233"/>
                </a:lnTo>
                <a:lnTo>
                  <a:pt x="5910794" y="4359956"/>
                </a:lnTo>
                <a:cubicBezTo>
                  <a:pt x="5917610" y="4364396"/>
                  <a:pt x="5921172" y="4371934"/>
                  <a:pt x="5918384" y="4378955"/>
                </a:cubicBezTo>
                <a:cubicBezTo>
                  <a:pt x="5915286" y="4384531"/>
                  <a:pt x="5910794" y="4386080"/>
                  <a:pt x="5906457" y="4385150"/>
                </a:cubicBezTo>
                <a:cubicBezTo>
                  <a:pt x="5904288" y="4384737"/>
                  <a:pt x="5902275" y="4383602"/>
                  <a:pt x="5900571" y="4382053"/>
                </a:cubicBezTo>
                <a:lnTo>
                  <a:pt x="5899487" y="4380607"/>
                </a:lnTo>
                <a:lnTo>
                  <a:pt x="5895614" y="4381124"/>
                </a:lnTo>
                <a:lnTo>
                  <a:pt x="5895305" y="4380298"/>
                </a:lnTo>
                <a:lnTo>
                  <a:pt x="5893910" y="4381743"/>
                </a:lnTo>
                <a:lnTo>
                  <a:pt x="5887870" y="4382569"/>
                </a:lnTo>
                <a:lnTo>
                  <a:pt x="5888179" y="4382982"/>
                </a:lnTo>
                <a:cubicBezTo>
                  <a:pt x="5888644" y="4384118"/>
                  <a:pt x="5888954" y="4385150"/>
                  <a:pt x="5888489" y="4385564"/>
                </a:cubicBezTo>
                <a:cubicBezTo>
                  <a:pt x="5887715" y="4386390"/>
                  <a:pt x="5886940" y="4386390"/>
                  <a:pt x="5886011" y="4386286"/>
                </a:cubicBezTo>
                <a:cubicBezTo>
                  <a:pt x="5884307" y="4385357"/>
                  <a:pt x="5882603" y="4384428"/>
                  <a:pt x="5880899" y="4383499"/>
                </a:cubicBezTo>
                <a:lnTo>
                  <a:pt x="5880280" y="4382776"/>
                </a:lnTo>
                <a:lnTo>
                  <a:pt x="5877027" y="4387835"/>
                </a:lnTo>
                <a:lnTo>
                  <a:pt x="5873619" y="4391139"/>
                </a:lnTo>
                <a:cubicBezTo>
                  <a:pt x="5875168" y="4393204"/>
                  <a:pt x="5873309" y="4395579"/>
                  <a:pt x="5872380" y="4395476"/>
                </a:cubicBezTo>
                <a:lnTo>
                  <a:pt x="5871451" y="4392998"/>
                </a:lnTo>
                <a:lnTo>
                  <a:pt x="5867113" y="4397128"/>
                </a:lnTo>
                <a:cubicBezTo>
                  <a:pt x="5865255" y="4392585"/>
                  <a:pt x="5865255" y="4388042"/>
                  <a:pt x="5866339" y="4383808"/>
                </a:cubicBezTo>
                <a:cubicBezTo>
                  <a:pt x="5869437" y="4371004"/>
                  <a:pt x="5883223" y="4360369"/>
                  <a:pt x="5891897" y="4355929"/>
                </a:cubicBezTo>
                <a:close/>
                <a:moveTo>
                  <a:pt x="1064041" y="4354414"/>
                </a:moveTo>
                <a:cubicBezTo>
                  <a:pt x="1067158" y="4354259"/>
                  <a:pt x="1069675" y="4354362"/>
                  <a:pt x="1070604" y="4354466"/>
                </a:cubicBezTo>
                <a:cubicBezTo>
                  <a:pt x="1071534" y="4354569"/>
                  <a:pt x="1072153" y="4354775"/>
                  <a:pt x="1072308" y="4355188"/>
                </a:cubicBezTo>
                <a:cubicBezTo>
                  <a:pt x="1072618" y="4355705"/>
                  <a:pt x="1072618" y="4356428"/>
                  <a:pt x="1072463" y="4357357"/>
                </a:cubicBezTo>
                <a:cubicBezTo>
                  <a:pt x="1069985" y="4361074"/>
                  <a:pt x="1065957" y="4360041"/>
                  <a:pt x="1061620" y="4360868"/>
                </a:cubicBezTo>
                <a:cubicBezTo>
                  <a:pt x="1061466" y="4360041"/>
                  <a:pt x="1060381" y="4359525"/>
                  <a:pt x="1059607" y="4359835"/>
                </a:cubicBezTo>
                <a:lnTo>
                  <a:pt x="1058522" y="4359422"/>
                </a:lnTo>
                <a:lnTo>
                  <a:pt x="1060691" y="4361487"/>
                </a:lnTo>
                <a:cubicBezTo>
                  <a:pt x="1061775" y="4363449"/>
                  <a:pt x="1061620" y="4365927"/>
                  <a:pt x="1061466" y="4369231"/>
                </a:cubicBezTo>
                <a:cubicBezTo>
                  <a:pt x="1061155" y="4368405"/>
                  <a:pt x="1060691" y="4369644"/>
                  <a:pt x="1060691" y="4369644"/>
                </a:cubicBezTo>
                <a:cubicBezTo>
                  <a:pt x="1059762" y="4372019"/>
                  <a:pt x="1064718" y="4370367"/>
                  <a:pt x="1064099" y="4373568"/>
                </a:cubicBezTo>
                <a:cubicBezTo>
                  <a:pt x="1062550" y="4378524"/>
                  <a:pt x="1056509" y="4380073"/>
                  <a:pt x="1053256" y="4380589"/>
                </a:cubicBezTo>
                <a:lnTo>
                  <a:pt x="1051397" y="4380899"/>
                </a:lnTo>
                <a:lnTo>
                  <a:pt x="1051707" y="4381519"/>
                </a:lnTo>
                <a:lnTo>
                  <a:pt x="1053566" y="4381519"/>
                </a:lnTo>
                <a:cubicBezTo>
                  <a:pt x="1058367" y="4381932"/>
                  <a:pt x="1062705" y="4383171"/>
                  <a:pt x="1063169" y="4386888"/>
                </a:cubicBezTo>
                <a:cubicBezTo>
                  <a:pt x="1060071" y="4387095"/>
                  <a:pt x="1054805" y="4388231"/>
                  <a:pt x="1050158" y="4388127"/>
                </a:cubicBezTo>
                <a:cubicBezTo>
                  <a:pt x="1045356" y="4388024"/>
                  <a:pt x="1041174" y="4386681"/>
                  <a:pt x="1040400" y="4381725"/>
                </a:cubicBezTo>
                <a:cubicBezTo>
                  <a:pt x="1041639" y="4381725"/>
                  <a:pt x="1043807" y="4381622"/>
                  <a:pt x="1046130" y="4381519"/>
                </a:cubicBezTo>
                <a:lnTo>
                  <a:pt x="1048764" y="4381519"/>
                </a:lnTo>
                <a:lnTo>
                  <a:pt x="1046285" y="4381003"/>
                </a:lnTo>
                <a:cubicBezTo>
                  <a:pt x="1045511" y="4380693"/>
                  <a:pt x="1045356" y="4380073"/>
                  <a:pt x="1045821" y="4378937"/>
                </a:cubicBezTo>
                <a:cubicBezTo>
                  <a:pt x="1045976" y="4376975"/>
                  <a:pt x="1047835" y="4376975"/>
                  <a:pt x="1048764" y="4374704"/>
                </a:cubicBezTo>
                <a:cubicBezTo>
                  <a:pt x="1049229" y="4372535"/>
                  <a:pt x="1047525" y="4370986"/>
                  <a:pt x="1045976" y="4369025"/>
                </a:cubicBezTo>
                <a:lnTo>
                  <a:pt x="1045666" y="4368508"/>
                </a:lnTo>
                <a:cubicBezTo>
                  <a:pt x="1045046" y="4367992"/>
                  <a:pt x="1044582" y="4367063"/>
                  <a:pt x="1044427" y="4366237"/>
                </a:cubicBezTo>
                <a:lnTo>
                  <a:pt x="1044427" y="4366030"/>
                </a:lnTo>
                <a:lnTo>
                  <a:pt x="1043962" y="4365411"/>
                </a:lnTo>
                <a:cubicBezTo>
                  <a:pt x="1043497" y="4363965"/>
                  <a:pt x="1043497" y="4362210"/>
                  <a:pt x="1043962" y="4360041"/>
                </a:cubicBezTo>
                <a:cubicBezTo>
                  <a:pt x="1046130" y="4360764"/>
                  <a:pt x="1048764" y="4355705"/>
                  <a:pt x="1052017" y="4356944"/>
                </a:cubicBezTo>
                <a:lnTo>
                  <a:pt x="1054340" y="4357770"/>
                </a:lnTo>
                <a:lnTo>
                  <a:pt x="1053876" y="4355911"/>
                </a:lnTo>
                <a:cubicBezTo>
                  <a:pt x="1057206" y="4354982"/>
                  <a:pt x="1060924" y="4354569"/>
                  <a:pt x="1064041" y="4354414"/>
                </a:cubicBezTo>
                <a:close/>
                <a:moveTo>
                  <a:pt x="4911558" y="4354174"/>
                </a:moveTo>
                <a:cubicBezTo>
                  <a:pt x="4913107" y="4355000"/>
                  <a:pt x="4915586" y="4354277"/>
                  <a:pt x="4917134" y="4356032"/>
                </a:cubicBezTo>
                <a:cubicBezTo>
                  <a:pt x="4917134" y="4356032"/>
                  <a:pt x="4917909" y="4356858"/>
                  <a:pt x="4917754" y="4358613"/>
                </a:cubicBezTo>
                <a:cubicBezTo>
                  <a:pt x="4919148" y="4361195"/>
                  <a:pt x="4916360" y="4363776"/>
                  <a:pt x="4916360" y="4363776"/>
                </a:cubicBezTo>
                <a:cubicBezTo>
                  <a:pt x="4916360" y="4363776"/>
                  <a:pt x="4916360" y="4363776"/>
                  <a:pt x="4917134" y="4363776"/>
                </a:cubicBezTo>
                <a:cubicBezTo>
                  <a:pt x="4915586" y="4363776"/>
                  <a:pt x="4913727" y="4364603"/>
                  <a:pt x="4912023" y="4364603"/>
                </a:cubicBezTo>
                <a:cubicBezTo>
                  <a:pt x="4910474" y="4363260"/>
                  <a:pt x="4909544" y="4362228"/>
                  <a:pt x="4909080" y="4361195"/>
                </a:cubicBezTo>
                <a:cubicBezTo>
                  <a:pt x="4907376" y="4358304"/>
                  <a:pt x="4909389" y="4356755"/>
                  <a:pt x="4911558" y="4354174"/>
                </a:cubicBezTo>
                <a:close/>
                <a:moveTo>
                  <a:pt x="5725848" y="4352831"/>
                </a:moveTo>
                <a:cubicBezTo>
                  <a:pt x="5727552" y="4354587"/>
                  <a:pt x="5729411" y="4356445"/>
                  <a:pt x="5731115" y="4358201"/>
                </a:cubicBezTo>
                <a:cubicBezTo>
                  <a:pt x="5732199" y="4362641"/>
                  <a:pt x="5729875" y="4366255"/>
                  <a:pt x="5726313" y="4367080"/>
                </a:cubicBezTo>
                <a:cubicBezTo>
                  <a:pt x="5725228" y="4367391"/>
                  <a:pt x="5723834" y="4367391"/>
                  <a:pt x="5722440" y="4366874"/>
                </a:cubicBezTo>
                <a:cubicBezTo>
                  <a:pt x="5720737" y="4366255"/>
                  <a:pt x="5718878" y="4364912"/>
                  <a:pt x="5717019" y="4362744"/>
                </a:cubicBezTo>
                <a:cubicBezTo>
                  <a:pt x="5715160" y="4358304"/>
                  <a:pt x="5721511" y="4351696"/>
                  <a:pt x="5725848" y="4352831"/>
                </a:cubicBezTo>
                <a:close/>
                <a:moveTo>
                  <a:pt x="6025882" y="4352418"/>
                </a:moveTo>
                <a:cubicBezTo>
                  <a:pt x="6025263" y="4353347"/>
                  <a:pt x="6025572" y="4354174"/>
                  <a:pt x="6026037" y="4355000"/>
                </a:cubicBezTo>
                <a:lnTo>
                  <a:pt x="6027276" y="4356755"/>
                </a:lnTo>
                <a:lnTo>
                  <a:pt x="6026812" y="4355206"/>
                </a:lnTo>
                <a:lnTo>
                  <a:pt x="6027741" y="4353141"/>
                </a:lnTo>
                <a:close/>
                <a:moveTo>
                  <a:pt x="584695" y="4351678"/>
                </a:moveTo>
                <a:cubicBezTo>
                  <a:pt x="589341" y="4352504"/>
                  <a:pt x="591510" y="4355292"/>
                  <a:pt x="593214" y="4359835"/>
                </a:cubicBezTo>
                <a:cubicBezTo>
                  <a:pt x="592594" y="4360351"/>
                  <a:pt x="591355" y="4360454"/>
                  <a:pt x="590116" y="4360351"/>
                </a:cubicBezTo>
                <a:cubicBezTo>
                  <a:pt x="588722" y="4360248"/>
                  <a:pt x="587328" y="4360041"/>
                  <a:pt x="586088" y="4359835"/>
                </a:cubicBezTo>
                <a:cubicBezTo>
                  <a:pt x="584385" y="4357667"/>
                  <a:pt x="583920" y="4354569"/>
                  <a:pt x="584695" y="4351678"/>
                </a:cubicBezTo>
                <a:close/>
                <a:moveTo>
                  <a:pt x="5576218" y="4351386"/>
                </a:moveTo>
                <a:cubicBezTo>
                  <a:pt x="5580401" y="4350869"/>
                  <a:pt x="5581640" y="4355000"/>
                  <a:pt x="5584582" y="4357891"/>
                </a:cubicBezTo>
                <a:cubicBezTo>
                  <a:pt x="5584118" y="4358717"/>
                  <a:pt x="5584273" y="4359853"/>
                  <a:pt x="5585047" y="4360369"/>
                </a:cubicBezTo>
                <a:cubicBezTo>
                  <a:pt x="5585202" y="4361505"/>
                  <a:pt x="5585512" y="4362744"/>
                  <a:pt x="5585977" y="4361918"/>
                </a:cubicBezTo>
                <a:lnTo>
                  <a:pt x="5586441" y="4364809"/>
                </a:lnTo>
                <a:lnTo>
                  <a:pt x="5595890" y="4359336"/>
                </a:lnTo>
                <a:cubicBezTo>
                  <a:pt x="5607043" y="4355206"/>
                  <a:pt x="5618814" y="4355103"/>
                  <a:pt x="5623616" y="4362744"/>
                </a:cubicBezTo>
                <a:lnTo>
                  <a:pt x="5610915" y="4367184"/>
                </a:lnTo>
                <a:cubicBezTo>
                  <a:pt x="5611070" y="4368010"/>
                  <a:pt x="5610295" y="4368010"/>
                  <a:pt x="5610450" y="4368836"/>
                </a:cubicBezTo>
                <a:cubicBezTo>
                  <a:pt x="5610450" y="4368836"/>
                  <a:pt x="5609676" y="4368939"/>
                  <a:pt x="5609676" y="4368939"/>
                </a:cubicBezTo>
                <a:cubicBezTo>
                  <a:pt x="5609676" y="4369352"/>
                  <a:pt x="5609676" y="4369249"/>
                  <a:pt x="5609366" y="4369146"/>
                </a:cubicBezTo>
                <a:lnTo>
                  <a:pt x="5608282" y="4368423"/>
                </a:lnTo>
                <a:lnTo>
                  <a:pt x="5599608" y="4372553"/>
                </a:lnTo>
                <a:cubicBezTo>
                  <a:pt x="5592018" y="4376064"/>
                  <a:pt x="5583963" y="4379265"/>
                  <a:pt x="5572965" y="4379678"/>
                </a:cubicBezTo>
                <a:cubicBezTo>
                  <a:pt x="5573895" y="4375547"/>
                  <a:pt x="5576838" y="4371521"/>
                  <a:pt x="5581020" y="4367907"/>
                </a:cubicBezTo>
                <a:lnTo>
                  <a:pt x="5583808" y="4366358"/>
                </a:lnTo>
                <a:lnTo>
                  <a:pt x="5578387" y="4360369"/>
                </a:lnTo>
                <a:cubicBezTo>
                  <a:pt x="5576683" y="4357891"/>
                  <a:pt x="5575289" y="4355723"/>
                  <a:pt x="5574824" y="4354897"/>
                </a:cubicBezTo>
                <a:cubicBezTo>
                  <a:pt x="5574514" y="4354070"/>
                  <a:pt x="5574359" y="4353554"/>
                  <a:pt x="5574514" y="4352935"/>
                </a:cubicBezTo>
                <a:cubicBezTo>
                  <a:pt x="5574824" y="4352418"/>
                  <a:pt x="5575289" y="4352005"/>
                  <a:pt x="5576218" y="4351386"/>
                </a:cubicBezTo>
                <a:close/>
                <a:moveTo>
                  <a:pt x="5784554" y="4351282"/>
                </a:moveTo>
                <a:cubicBezTo>
                  <a:pt x="5788736" y="4350560"/>
                  <a:pt x="5793538" y="4354483"/>
                  <a:pt x="5793693" y="4358510"/>
                </a:cubicBezTo>
                <a:cubicBezTo>
                  <a:pt x="5792144" y="4360679"/>
                  <a:pt x="5789820" y="4361402"/>
                  <a:pt x="5787497" y="4361195"/>
                </a:cubicBezTo>
                <a:cubicBezTo>
                  <a:pt x="5785173" y="4360885"/>
                  <a:pt x="5783004" y="4359749"/>
                  <a:pt x="5781766" y="4357891"/>
                </a:cubicBezTo>
                <a:lnTo>
                  <a:pt x="5781146" y="4355000"/>
                </a:lnTo>
                <a:lnTo>
                  <a:pt x="5779442" y="4355929"/>
                </a:lnTo>
                <a:lnTo>
                  <a:pt x="5780216" y="4358201"/>
                </a:lnTo>
                <a:cubicBezTo>
                  <a:pt x="5779907" y="4359440"/>
                  <a:pt x="5779132" y="4360782"/>
                  <a:pt x="5778668" y="4362434"/>
                </a:cubicBezTo>
                <a:cubicBezTo>
                  <a:pt x="5777893" y="4361505"/>
                  <a:pt x="5776964" y="4362228"/>
                  <a:pt x="5776034" y="4362950"/>
                </a:cubicBezTo>
                <a:cubicBezTo>
                  <a:pt x="5774950" y="4361402"/>
                  <a:pt x="5772782" y="4359336"/>
                  <a:pt x="5773401" y="4357168"/>
                </a:cubicBezTo>
                <a:cubicBezTo>
                  <a:pt x="5773556" y="4356445"/>
                  <a:pt x="5774021" y="4355723"/>
                  <a:pt x="5774950" y="4355000"/>
                </a:cubicBezTo>
                <a:cubicBezTo>
                  <a:pt x="5774950" y="4354587"/>
                  <a:pt x="5775880" y="4354277"/>
                  <a:pt x="5776809" y="4354174"/>
                </a:cubicBezTo>
                <a:lnTo>
                  <a:pt x="5778513" y="4354690"/>
                </a:lnTo>
                <a:lnTo>
                  <a:pt x="5778203" y="4353451"/>
                </a:lnTo>
                <a:cubicBezTo>
                  <a:pt x="5779132" y="4352625"/>
                  <a:pt x="5780216" y="4352625"/>
                  <a:pt x="5780991" y="4352935"/>
                </a:cubicBezTo>
                <a:lnTo>
                  <a:pt x="5781301" y="4353451"/>
                </a:lnTo>
                <a:close/>
                <a:moveTo>
                  <a:pt x="634436" y="4350361"/>
                </a:moveTo>
                <a:cubicBezTo>
                  <a:pt x="637398" y="4349922"/>
                  <a:pt x="640225" y="4350542"/>
                  <a:pt x="642471" y="4352710"/>
                </a:cubicBezTo>
                <a:cubicBezTo>
                  <a:pt x="631008" y="4355292"/>
                  <a:pt x="629460" y="4369128"/>
                  <a:pt x="616293" y="4369541"/>
                </a:cubicBezTo>
                <a:cubicBezTo>
                  <a:pt x="615674" y="4364895"/>
                  <a:pt x="620011" y="4358493"/>
                  <a:pt x="625587" y="4354362"/>
                </a:cubicBezTo>
                <a:cubicBezTo>
                  <a:pt x="628375" y="4352297"/>
                  <a:pt x="631474" y="4350800"/>
                  <a:pt x="634436" y="4350361"/>
                </a:cubicBezTo>
                <a:close/>
                <a:moveTo>
                  <a:pt x="678098" y="4347547"/>
                </a:moveTo>
                <a:cubicBezTo>
                  <a:pt x="678871" y="4349096"/>
                  <a:pt x="682279" y="4347857"/>
                  <a:pt x="681505" y="4350335"/>
                </a:cubicBezTo>
                <a:cubicBezTo>
                  <a:pt x="680421" y="4350026"/>
                  <a:pt x="678871" y="4349096"/>
                  <a:pt x="677788" y="4348786"/>
                </a:cubicBezTo>
                <a:cubicBezTo>
                  <a:pt x="677788" y="4348786"/>
                  <a:pt x="677632" y="4348786"/>
                  <a:pt x="678098" y="4347547"/>
                </a:cubicBezTo>
                <a:close/>
                <a:moveTo>
                  <a:pt x="5503882" y="4347462"/>
                </a:moveTo>
                <a:cubicBezTo>
                  <a:pt x="5503262" y="4359956"/>
                  <a:pt x="5515344" y="4365119"/>
                  <a:pt x="5512401" y="4378749"/>
                </a:cubicBezTo>
                <a:cubicBezTo>
                  <a:pt x="5507909" y="4378129"/>
                  <a:pt x="5503262" y="4372140"/>
                  <a:pt x="5501093" y="4365325"/>
                </a:cubicBezTo>
                <a:cubicBezTo>
                  <a:pt x="5498770" y="4358510"/>
                  <a:pt x="5498770" y="4350973"/>
                  <a:pt x="5503882" y="4347462"/>
                </a:cubicBezTo>
                <a:close/>
                <a:moveTo>
                  <a:pt x="1319988" y="4346308"/>
                </a:moveTo>
                <a:cubicBezTo>
                  <a:pt x="1319213" y="4347238"/>
                  <a:pt x="1318128" y="4348683"/>
                  <a:pt x="1316890" y="4350232"/>
                </a:cubicBezTo>
                <a:lnTo>
                  <a:pt x="1316734" y="4350542"/>
                </a:lnTo>
                <a:lnTo>
                  <a:pt x="1317354" y="4350542"/>
                </a:lnTo>
                <a:cubicBezTo>
                  <a:pt x="1320452" y="4351678"/>
                  <a:pt x="1322466" y="4354775"/>
                  <a:pt x="1323240" y="4358286"/>
                </a:cubicBezTo>
                <a:cubicBezTo>
                  <a:pt x="1324324" y="4363036"/>
                  <a:pt x="1323240" y="4368508"/>
                  <a:pt x="1319833" y="4371193"/>
                </a:cubicBezTo>
                <a:cubicBezTo>
                  <a:pt x="1315650" y="4368096"/>
                  <a:pt x="1312707" y="4365101"/>
                  <a:pt x="1311468" y="4361797"/>
                </a:cubicBezTo>
                <a:lnTo>
                  <a:pt x="1311003" y="4356634"/>
                </a:lnTo>
                <a:lnTo>
                  <a:pt x="1308525" y="4358596"/>
                </a:lnTo>
                <a:cubicBezTo>
                  <a:pt x="1306976" y="4359422"/>
                  <a:pt x="1305272" y="4359835"/>
                  <a:pt x="1303723" y="4359318"/>
                </a:cubicBezTo>
                <a:cubicBezTo>
                  <a:pt x="1302794" y="4359009"/>
                  <a:pt x="1301864" y="4358389"/>
                  <a:pt x="1300935" y="4357563"/>
                </a:cubicBezTo>
                <a:cubicBezTo>
                  <a:pt x="1304653" y="4354052"/>
                  <a:pt x="1314876" y="4340733"/>
                  <a:pt x="1319988" y="4346308"/>
                </a:cubicBezTo>
                <a:close/>
                <a:moveTo>
                  <a:pt x="5678295" y="4346223"/>
                </a:moveTo>
                <a:cubicBezTo>
                  <a:pt x="5680308" y="4347565"/>
                  <a:pt x="5680928" y="4348804"/>
                  <a:pt x="5680928" y="4350043"/>
                </a:cubicBezTo>
                <a:lnTo>
                  <a:pt x="5679999" y="4353451"/>
                </a:lnTo>
                <a:lnTo>
                  <a:pt x="5680618" y="4353347"/>
                </a:lnTo>
                <a:cubicBezTo>
                  <a:pt x="5680618" y="4353347"/>
                  <a:pt x="5680618" y="4353554"/>
                  <a:pt x="5680308" y="4353967"/>
                </a:cubicBezTo>
                <a:cubicBezTo>
                  <a:pt x="5682167" y="4354070"/>
                  <a:pt x="5682942" y="4354483"/>
                  <a:pt x="5683561" y="4355000"/>
                </a:cubicBezTo>
                <a:cubicBezTo>
                  <a:pt x="5683871" y="4356239"/>
                  <a:pt x="5682787" y="4357788"/>
                  <a:pt x="5681083" y="4358820"/>
                </a:cubicBezTo>
                <a:cubicBezTo>
                  <a:pt x="5680928" y="4357581"/>
                  <a:pt x="5679069" y="4357478"/>
                  <a:pt x="5678759" y="4356239"/>
                </a:cubicBezTo>
                <a:cubicBezTo>
                  <a:pt x="5678759" y="4356239"/>
                  <a:pt x="5679069" y="4355619"/>
                  <a:pt x="5679224" y="4354897"/>
                </a:cubicBezTo>
                <a:lnTo>
                  <a:pt x="5679534" y="4353554"/>
                </a:lnTo>
                <a:lnTo>
                  <a:pt x="5678140" y="4352831"/>
                </a:lnTo>
                <a:cubicBezTo>
                  <a:pt x="5677365" y="4352625"/>
                  <a:pt x="5676591" y="4352831"/>
                  <a:pt x="5675971" y="4352625"/>
                </a:cubicBezTo>
                <a:lnTo>
                  <a:pt x="5675197" y="4351799"/>
                </a:lnTo>
                <a:lnTo>
                  <a:pt x="5672873" y="4353141"/>
                </a:lnTo>
                <a:cubicBezTo>
                  <a:pt x="5670240" y="4353658"/>
                  <a:pt x="5667607" y="4351799"/>
                  <a:pt x="5667297" y="4349114"/>
                </a:cubicBezTo>
                <a:cubicBezTo>
                  <a:pt x="5669930" y="4344674"/>
                  <a:pt x="5673493" y="4346326"/>
                  <a:pt x="5674887" y="4348907"/>
                </a:cubicBezTo>
                <a:lnTo>
                  <a:pt x="5674887" y="4349011"/>
                </a:lnTo>
                <a:lnTo>
                  <a:pt x="5675352" y="4348185"/>
                </a:lnTo>
                <a:cubicBezTo>
                  <a:pt x="5675971" y="4347462"/>
                  <a:pt x="5676901" y="4346739"/>
                  <a:pt x="5678295" y="4346223"/>
                </a:cubicBezTo>
                <a:close/>
                <a:moveTo>
                  <a:pt x="1129310" y="4346102"/>
                </a:moveTo>
                <a:lnTo>
                  <a:pt x="1127916" y="4346618"/>
                </a:lnTo>
                <a:lnTo>
                  <a:pt x="1127761" y="4347341"/>
                </a:lnTo>
                <a:lnTo>
                  <a:pt x="1128535" y="4347547"/>
                </a:lnTo>
                <a:lnTo>
                  <a:pt x="1129000" y="4347857"/>
                </a:lnTo>
                <a:close/>
                <a:moveTo>
                  <a:pt x="6012406" y="4343641"/>
                </a:moveTo>
                <a:lnTo>
                  <a:pt x="6012871" y="4356136"/>
                </a:lnTo>
                <a:cubicBezTo>
                  <a:pt x="6012251" y="4360989"/>
                  <a:pt x="6011012" y="4365842"/>
                  <a:pt x="6008999" y="4370592"/>
                </a:cubicBezTo>
                <a:cubicBezTo>
                  <a:pt x="6006675" y="4370488"/>
                  <a:pt x="6004352" y="4370488"/>
                  <a:pt x="6004352" y="4372863"/>
                </a:cubicBezTo>
                <a:cubicBezTo>
                  <a:pt x="6000479" y="4373070"/>
                  <a:pt x="5996762" y="4372657"/>
                  <a:pt x="5993354" y="4371624"/>
                </a:cubicBezTo>
                <a:lnTo>
                  <a:pt x="5987623" y="4368939"/>
                </a:lnTo>
                <a:lnTo>
                  <a:pt x="5980962" y="4373482"/>
                </a:lnTo>
                <a:lnTo>
                  <a:pt x="5981117" y="4373896"/>
                </a:lnTo>
                <a:cubicBezTo>
                  <a:pt x="5981272" y="4375651"/>
                  <a:pt x="5980962" y="4377716"/>
                  <a:pt x="5979878" y="4379265"/>
                </a:cubicBezTo>
                <a:lnTo>
                  <a:pt x="5978949" y="4379988"/>
                </a:lnTo>
                <a:lnTo>
                  <a:pt x="5983441" y="4386080"/>
                </a:lnTo>
                <a:cubicBezTo>
                  <a:pt x="5988397" y="4391759"/>
                  <a:pt x="5993974" y="4397128"/>
                  <a:pt x="5995987" y="4399710"/>
                </a:cubicBezTo>
                <a:cubicBezTo>
                  <a:pt x="5991340" y="4402188"/>
                  <a:pt x="5986229" y="4394031"/>
                  <a:pt x="5981117" y="4390830"/>
                </a:cubicBezTo>
                <a:lnTo>
                  <a:pt x="5980033" y="4390313"/>
                </a:lnTo>
                <a:lnTo>
                  <a:pt x="5979878" y="4390830"/>
                </a:lnTo>
                <a:lnTo>
                  <a:pt x="5980653" y="4391243"/>
                </a:lnTo>
                <a:cubicBezTo>
                  <a:pt x="5980342" y="4392069"/>
                  <a:pt x="5980342" y="4392998"/>
                  <a:pt x="5980188" y="4393824"/>
                </a:cubicBezTo>
                <a:lnTo>
                  <a:pt x="5980033" y="4393927"/>
                </a:lnTo>
                <a:lnTo>
                  <a:pt x="5984215" y="4398264"/>
                </a:lnTo>
                <a:cubicBezTo>
                  <a:pt x="5987003" y="4400639"/>
                  <a:pt x="5989481" y="4403737"/>
                  <a:pt x="5992270" y="4406111"/>
                </a:cubicBezTo>
                <a:cubicBezTo>
                  <a:pt x="5995213" y="4408486"/>
                  <a:pt x="5998001" y="4410655"/>
                  <a:pt x="6000944" y="4412410"/>
                </a:cubicBezTo>
                <a:lnTo>
                  <a:pt x="6003112" y="4413339"/>
                </a:lnTo>
                <a:lnTo>
                  <a:pt x="6003577" y="4410551"/>
                </a:lnTo>
                <a:cubicBezTo>
                  <a:pt x="6005126" y="4411687"/>
                  <a:pt x="6006675" y="4412927"/>
                  <a:pt x="6008224" y="4413959"/>
                </a:cubicBezTo>
                <a:cubicBezTo>
                  <a:pt x="6008069" y="4413959"/>
                  <a:pt x="6007914" y="4414475"/>
                  <a:pt x="6007914" y="4415198"/>
                </a:cubicBezTo>
                <a:lnTo>
                  <a:pt x="6008999" y="4415714"/>
                </a:lnTo>
                <a:lnTo>
                  <a:pt x="6009928" y="4413856"/>
                </a:lnTo>
                <a:cubicBezTo>
                  <a:pt x="6012871" y="4409003"/>
                  <a:pt x="6016743" y="4406938"/>
                  <a:pt x="6023249" y="4413236"/>
                </a:cubicBezTo>
                <a:cubicBezTo>
                  <a:pt x="6020925" y="4414372"/>
                  <a:pt x="6019067" y="4416024"/>
                  <a:pt x="6017208" y="4417883"/>
                </a:cubicBezTo>
                <a:lnTo>
                  <a:pt x="6013335" y="4422529"/>
                </a:lnTo>
                <a:lnTo>
                  <a:pt x="6015349" y="4425834"/>
                </a:lnTo>
                <a:cubicBezTo>
                  <a:pt x="6017518" y="4428931"/>
                  <a:pt x="6020151" y="4432029"/>
                  <a:pt x="6023094" y="4435127"/>
                </a:cubicBezTo>
                <a:cubicBezTo>
                  <a:pt x="6028515" y="4440599"/>
                  <a:pt x="6034711" y="4445555"/>
                  <a:pt x="6041681" y="4450718"/>
                </a:cubicBezTo>
                <a:lnTo>
                  <a:pt x="6051130" y="4457533"/>
                </a:lnTo>
                <a:lnTo>
                  <a:pt x="6051750" y="4451131"/>
                </a:lnTo>
                <a:cubicBezTo>
                  <a:pt x="6061199" y="4444833"/>
                  <a:pt x="6060579" y="4438637"/>
                  <a:pt x="6064916" y="4432752"/>
                </a:cubicBezTo>
                <a:cubicBezTo>
                  <a:pt x="6078547" y="4426040"/>
                  <a:pt x="6098374" y="4421600"/>
                  <a:pt x="6110765" y="4432442"/>
                </a:cubicBezTo>
                <a:cubicBezTo>
                  <a:pt x="6120989" y="4441322"/>
                  <a:pt x="6117426" y="4452474"/>
                  <a:pt x="6121143" y="4465174"/>
                </a:cubicBezTo>
                <a:cubicBezTo>
                  <a:pt x="6118820" y="4466723"/>
                  <a:pt x="6117116" y="4468272"/>
                  <a:pt x="6116032" y="4469924"/>
                </a:cubicBezTo>
                <a:lnTo>
                  <a:pt x="6114328" y="4473022"/>
                </a:lnTo>
                <a:lnTo>
                  <a:pt x="6114792" y="4474674"/>
                </a:lnTo>
                <a:lnTo>
                  <a:pt x="6113244" y="4475397"/>
                </a:lnTo>
                <a:lnTo>
                  <a:pt x="6112159" y="4480663"/>
                </a:lnTo>
                <a:lnTo>
                  <a:pt x="6112469" y="4480766"/>
                </a:lnTo>
                <a:lnTo>
                  <a:pt x="6123002" y="4487065"/>
                </a:lnTo>
                <a:lnTo>
                  <a:pt x="6125171" y="4482934"/>
                </a:lnTo>
                <a:cubicBezTo>
                  <a:pt x="6126565" y="4480869"/>
                  <a:pt x="6128579" y="4478804"/>
                  <a:pt x="6130902" y="4476842"/>
                </a:cubicBezTo>
                <a:cubicBezTo>
                  <a:pt x="6133225" y="4477978"/>
                  <a:pt x="6137562" y="4476636"/>
                  <a:pt x="6137717" y="4480972"/>
                </a:cubicBezTo>
                <a:cubicBezTo>
                  <a:pt x="6135084" y="4482108"/>
                  <a:pt x="6133225" y="4483864"/>
                  <a:pt x="6131676" y="4485929"/>
                </a:cubicBezTo>
                <a:lnTo>
                  <a:pt x="6129043" y="4490678"/>
                </a:lnTo>
                <a:lnTo>
                  <a:pt x="6130592" y="4491608"/>
                </a:lnTo>
                <a:lnTo>
                  <a:pt x="6134310" y="4493776"/>
                </a:lnTo>
                <a:lnTo>
                  <a:pt x="6134619" y="4493673"/>
                </a:lnTo>
                <a:cubicBezTo>
                  <a:pt x="6136013" y="4493673"/>
                  <a:pt x="6137562" y="4494086"/>
                  <a:pt x="6138492" y="4494499"/>
                </a:cubicBezTo>
                <a:lnTo>
                  <a:pt x="6139266" y="4496564"/>
                </a:lnTo>
                <a:lnTo>
                  <a:pt x="6146392" y="4500384"/>
                </a:lnTo>
                <a:lnTo>
                  <a:pt x="6147011" y="4500488"/>
                </a:lnTo>
                <a:lnTo>
                  <a:pt x="6147321" y="4500901"/>
                </a:lnTo>
                <a:lnTo>
                  <a:pt x="6149954" y="4502346"/>
                </a:lnTo>
                <a:cubicBezTo>
                  <a:pt x="6156305" y="4505857"/>
                  <a:pt x="6162656" y="4509058"/>
                  <a:pt x="6168697" y="4511743"/>
                </a:cubicBezTo>
                <a:cubicBezTo>
                  <a:pt x="6170091" y="4512362"/>
                  <a:pt x="6172104" y="4512672"/>
                  <a:pt x="6174118" y="4512878"/>
                </a:cubicBezTo>
                <a:lnTo>
                  <a:pt x="6178920" y="4513808"/>
                </a:lnTo>
                <a:lnTo>
                  <a:pt x="6178610" y="4513395"/>
                </a:lnTo>
                <a:cubicBezTo>
                  <a:pt x="6180159" y="4510607"/>
                  <a:pt x="6178300" y="4506476"/>
                  <a:pt x="6183567" y="4506167"/>
                </a:cubicBezTo>
                <a:cubicBezTo>
                  <a:pt x="6186974" y="4508335"/>
                  <a:pt x="6187749" y="4513188"/>
                  <a:pt x="6185580" y="4515976"/>
                </a:cubicBezTo>
                <a:lnTo>
                  <a:pt x="6184341" y="4516596"/>
                </a:lnTo>
                <a:lnTo>
                  <a:pt x="6184651" y="4516802"/>
                </a:lnTo>
                <a:cubicBezTo>
                  <a:pt x="6185580" y="4518144"/>
                  <a:pt x="6185890" y="4520106"/>
                  <a:pt x="6185115" y="4522894"/>
                </a:cubicBezTo>
                <a:cubicBezTo>
                  <a:pt x="6189762" y="4523720"/>
                  <a:pt x="6195184" y="4525992"/>
                  <a:pt x="6198747" y="4525992"/>
                </a:cubicBezTo>
                <a:lnTo>
                  <a:pt x="6200295" y="4525476"/>
                </a:lnTo>
                <a:lnTo>
                  <a:pt x="6200450" y="4525372"/>
                </a:lnTo>
                <a:lnTo>
                  <a:pt x="6200605" y="4525372"/>
                </a:lnTo>
                <a:lnTo>
                  <a:pt x="6201844" y="4524960"/>
                </a:lnTo>
                <a:lnTo>
                  <a:pt x="6202464" y="4525785"/>
                </a:lnTo>
                <a:lnTo>
                  <a:pt x="6205097" y="4526405"/>
                </a:lnTo>
                <a:cubicBezTo>
                  <a:pt x="6206027" y="4527231"/>
                  <a:pt x="6206027" y="4527231"/>
                  <a:pt x="6206182" y="4528161"/>
                </a:cubicBezTo>
                <a:lnTo>
                  <a:pt x="6207266" y="4531155"/>
                </a:lnTo>
                <a:lnTo>
                  <a:pt x="6209589" y="4531877"/>
                </a:lnTo>
                <a:lnTo>
                  <a:pt x="6209589" y="4530432"/>
                </a:lnTo>
                <a:cubicBezTo>
                  <a:pt x="6210209" y="4529503"/>
                  <a:pt x="6211293" y="4528883"/>
                  <a:pt x="6212842" y="4528986"/>
                </a:cubicBezTo>
                <a:lnTo>
                  <a:pt x="6214546" y="4530226"/>
                </a:lnTo>
                <a:lnTo>
                  <a:pt x="6214546" y="4528677"/>
                </a:lnTo>
                <a:cubicBezTo>
                  <a:pt x="6214546" y="4527025"/>
                  <a:pt x="6214856" y="4525166"/>
                  <a:pt x="6217024" y="4525063"/>
                </a:cubicBezTo>
                <a:cubicBezTo>
                  <a:pt x="6220587" y="4525476"/>
                  <a:pt x="6219038" y="4536317"/>
                  <a:pt x="6222601" y="4529916"/>
                </a:cubicBezTo>
                <a:lnTo>
                  <a:pt x="6225698" y="4531671"/>
                </a:lnTo>
                <a:lnTo>
                  <a:pt x="6229416" y="4524030"/>
                </a:lnTo>
                <a:lnTo>
                  <a:pt x="6227867" y="4520623"/>
                </a:lnTo>
                <a:cubicBezTo>
                  <a:pt x="6228022" y="4519487"/>
                  <a:pt x="6228796" y="4518454"/>
                  <a:pt x="6230036" y="4517215"/>
                </a:cubicBezTo>
                <a:lnTo>
                  <a:pt x="6232049" y="4520313"/>
                </a:lnTo>
                <a:lnTo>
                  <a:pt x="6238400" y="4514324"/>
                </a:lnTo>
                <a:cubicBezTo>
                  <a:pt x="6240259" y="4518144"/>
                  <a:pt x="6240878" y="4522275"/>
                  <a:pt x="6240723" y="4526405"/>
                </a:cubicBezTo>
                <a:lnTo>
                  <a:pt x="6237935" y="4538486"/>
                </a:lnTo>
                <a:lnTo>
                  <a:pt x="6251411" y="4543339"/>
                </a:lnTo>
                <a:lnTo>
                  <a:pt x="6268295" y="4547160"/>
                </a:lnTo>
                <a:lnTo>
                  <a:pt x="6268915" y="4545198"/>
                </a:lnTo>
                <a:cubicBezTo>
                  <a:pt x="6269844" y="4546127"/>
                  <a:pt x="6272012" y="4543236"/>
                  <a:pt x="6272787" y="4542306"/>
                </a:cubicBezTo>
                <a:cubicBezTo>
                  <a:pt x="6273716" y="4543133"/>
                  <a:pt x="6274955" y="4542823"/>
                  <a:pt x="6276195" y="4542616"/>
                </a:cubicBezTo>
                <a:lnTo>
                  <a:pt x="6277898" y="4542616"/>
                </a:lnTo>
                <a:lnTo>
                  <a:pt x="6278518" y="4528367"/>
                </a:lnTo>
                <a:cubicBezTo>
                  <a:pt x="6281461" y="4529400"/>
                  <a:pt x="6283475" y="4527954"/>
                  <a:pt x="6287812" y="4530432"/>
                </a:cubicBezTo>
                <a:lnTo>
                  <a:pt x="6286108" y="4549741"/>
                </a:lnTo>
                <a:lnTo>
                  <a:pt x="6291219" y="4550257"/>
                </a:lnTo>
                <a:cubicBezTo>
                  <a:pt x="6293388" y="4554697"/>
                  <a:pt x="6298345" y="4556969"/>
                  <a:pt x="6304386" y="4558105"/>
                </a:cubicBezTo>
                <a:lnTo>
                  <a:pt x="6311201" y="4558621"/>
                </a:lnTo>
                <a:lnTo>
                  <a:pt x="6311046" y="4558518"/>
                </a:lnTo>
                <a:lnTo>
                  <a:pt x="6311976" y="4558724"/>
                </a:lnTo>
                <a:lnTo>
                  <a:pt x="6312750" y="4558828"/>
                </a:lnTo>
                <a:cubicBezTo>
                  <a:pt x="6315383" y="4558828"/>
                  <a:pt x="6318017" y="4558931"/>
                  <a:pt x="6320030" y="4559137"/>
                </a:cubicBezTo>
                <a:cubicBezTo>
                  <a:pt x="6320805" y="4554904"/>
                  <a:pt x="6309033" y="4559550"/>
                  <a:pt x="6312440" y="4553871"/>
                </a:cubicBezTo>
                <a:cubicBezTo>
                  <a:pt x="6317862" y="4554801"/>
                  <a:pt x="6321734" y="4554388"/>
                  <a:pt x="6325451" y="4554078"/>
                </a:cubicBezTo>
                <a:cubicBezTo>
                  <a:pt x="6318636" y="4563268"/>
                  <a:pt x="6342645" y="4560893"/>
                  <a:pt x="6348221" y="4561822"/>
                </a:cubicBezTo>
                <a:cubicBezTo>
                  <a:pt x="6348221" y="4559550"/>
                  <a:pt x="6346208" y="4558931"/>
                  <a:pt x="6344349" y="4558311"/>
                </a:cubicBezTo>
                <a:cubicBezTo>
                  <a:pt x="6342026" y="4558414"/>
                  <a:pt x="6339237" y="4558311"/>
                  <a:pt x="6336604" y="4557485"/>
                </a:cubicBezTo>
                <a:cubicBezTo>
                  <a:pt x="6339083" y="4556763"/>
                  <a:pt x="6341406" y="4555936"/>
                  <a:pt x="6343574" y="4555936"/>
                </a:cubicBezTo>
                <a:cubicBezTo>
                  <a:pt x="6346053" y="4555110"/>
                  <a:pt x="6348221" y="4555110"/>
                  <a:pt x="6350545" y="4555007"/>
                </a:cubicBezTo>
                <a:cubicBezTo>
                  <a:pt x="6355501" y="4555007"/>
                  <a:pt x="6360458" y="4555833"/>
                  <a:pt x="6364950" y="4557278"/>
                </a:cubicBezTo>
                <a:lnTo>
                  <a:pt x="6372385" y="4558724"/>
                </a:lnTo>
                <a:lnTo>
                  <a:pt x="6375948" y="4556452"/>
                </a:lnTo>
                <a:lnTo>
                  <a:pt x="6377497" y="4559653"/>
                </a:lnTo>
                <a:lnTo>
                  <a:pt x="6380440" y="4560273"/>
                </a:lnTo>
                <a:lnTo>
                  <a:pt x="6386945" y="4560686"/>
                </a:lnTo>
                <a:lnTo>
                  <a:pt x="6388340" y="4558931"/>
                </a:lnTo>
                <a:lnTo>
                  <a:pt x="6390663" y="4560583"/>
                </a:lnTo>
                <a:lnTo>
                  <a:pt x="6395930" y="4560067"/>
                </a:lnTo>
                <a:cubicBezTo>
                  <a:pt x="6395465" y="4563577"/>
                  <a:pt x="6401041" y="4562338"/>
                  <a:pt x="6400886" y="4564507"/>
                </a:cubicBezTo>
                <a:cubicBezTo>
                  <a:pt x="6404759" y="4562751"/>
                  <a:pt x="6408786" y="4561925"/>
                  <a:pt x="6412658" y="4561512"/>
                </a:cubicBezTo>
                <a:lnTo>
                  <a:pt x="6423811" y="4561306"/>
                </a:lnTo>
                <a:lnTo>
                  <a:pt x="6424276" y="4559034"/>
                </a:lnTo>
                <a:lnTo>
                  <a:pt x="6427374" y="4555420"/>
                </a:lnTo>
                <a:lnTo>
                  <a:pt x="6426134" y="4552839"/>
                </a:lnTo>
                <a:cubicBezTo>
                  <a:pt x="6426289" y="4551703"/>
                  <a:pt x="6426289" y="4551703"/>
                  <a:pt x="6426444" y="4550464"/>
                </a:cubicBezTo>
                <a:cubicBezTo>
                  <a:pt x="6427838" y="4549534"/>
                  <a:pt x="6428612" y="4547985"/>
                  <a:pt x="6430471" y="4547779"/>
                </a:cubicBezTo>
                <a:lnTo>
                  <a:pt x="6432330" y="4549638"/>
                </a:lnTo>
                <a:lnTo>
                  <a:pt x="6433879" y="4547882"/>
                </a:lnTo>
                <a:lnTo>
                  <a:pt x="6439610" y="4544888"/>
                </a:lnTo>
                <a:lnTo>
                  <a:pt x="6437906" y="4543545"/>
                </a:lnTo>
                <a:lnTo>
                  <a:pt x="6432175" y="4543339"/>
                </a:lnTo>
                <a:cubicBezTo>
                  <a:pt x="6425205" y="4544165"/>
                  <a:pt x="6423036" y="4550980"/>
                  <a:pt x="6415911" y="4552632"/>
                </a:cubicBezTo>
                <a:cubicBezTo>
                  <a:pt x="6416531" y="4552839"/>
                  <a:pt x="6416221" y="4549741"/>
                  <a:pt x="6416221" y="4549741"/>
                </a:cubicBezTo>
                <a:cubicBezTo>
                  <a:pt x="6412968" y="4550980"/>
                  <a:pt x="6406617" y="4555523"/>
                  <a:pt x="6403364" y="4553458"/>
                </a:cubicBezTo>
                <a:lnTo>
                  <a:pt x="6403055" y="4552942"/>
                </a:lnTo>
                <a:lnTo>
                  <a:pt x="6401970" y="4553252"/>
                </a:lnTo>
                <a:cubicBezTo>
                  <a:pt x="6398253" y="4553768"/>
                  <a:pt x="6394226" y="4553871"/>
                  <a:pt x="6389579" y="4553148"/>
                </a:cubicBezTo>
                <a:lnTo>
                  <a:pt x="6387255" y="4544681"/>
                </a:lnTo>
                <a:lnTo>
                  <a:pt x="6376722" y="4544268"/>
                </a:lnTo>
                <a:cubicBezTo>
                  <a:pt x="6371920" y="4543545"/>
                  <a:pt x="6367429" y="4543649"/>
                  <a:pt x="6362627" y="4545198"/>
                </a:cubicBezTo>
                <a:cubicBezTo>
                  <a:pt x="6361233" y="4544785"/>
                  <a:pt x="6361233" y="4542513"/>
                  <a:pt x="6361387" y="4540241"/>
                </a:cubicBezTo>
                <a:lnTo>
                  <a:pt x="6358135" y="4540448"/>
                </a:lnTo>
                <a:lnTo>
                  <a:pt x="6362162" y="4544888"/>
                </a:lnTo>
                <a:cubicBezTo>
                  <a:pt x="6361233" y="4546334"/>
                  <a:pt x="6360303" y="4546953"/>
                  <a:pt x="6359219" y="4546850"/>
                </a:cubicBezTo>
                <a:cubicBezTo>
                  <a:pt x="6358290" y="4546746"/>
                  <a:pt x="6357360" y="4546127"/>
                  <a:pt x="6356740" y="4545198"/>
                </a:cubicBezTo>
                <a:cubicBezTo>
                  <a:pt x="6356121" y="4544372"/>
                  <a:pt x="6355656" y="4543236"/>
                  <a:pt x="6355811" y="4542306"/>
                </a:cubicBezTo>
                <a:lnTo>
                  <a:pt x="6357670" y="4540448"/>
                </a:lnTo>
                <a:lnTo>
                  <a:pt x="6353178" y="4540654"/>
                </a:lnTo>
                <a:lnTo>
                  <a:pt x="6352558" y="4547572"/>
                </a:lnTo>
                <a:cubicBezTo>
                  <a:pt x="6350545" y="4552116"/>
                  <a:pt x="6345898" y="4555523"/>
                  <a:pt x="6341251" y="4556143"/>
                </a:cubicBezTo>
                <a:cubicBezTo>
                  <a:pt x="6338153" y="4556556"/>
                  <a:pt x="6335055" y="4555730"/>
                  <a:pt x="6332422" y="4552942"/>
                </a:cubicBezTo>
                <a:lnTo>
                  <a:pt x="6336914" y="4539415"/>
                </a:lnTo>
                <a:lnTo>
                  <a:pt x="6330873" y="4538383"/>
                </a:lnTo>
                <a:cubicBezTo>
                  <a:pt x="6326226" y="4536937"/>
                  <a:pt x="6321424" y="4536214"/>
                  <a:pt x="6316622" y="4535492"/>
                </a:cubicBezTo>
                <a:lnTo>
                  <a:pt x="6307329" y="4534975"/>
                </a:lnTo>
                <a:lnTo>
                  <a:pt x="6308568" y="4538693"/>
                </a:lnTo>
                <a:cubicBezTo>
                  <a:pt x="6308568" y="4540654"/>
                  <a:pt x="6308103" y="4542719"/>
                  <a:pt x="6306864" y="4544681"/>
                </a:cubicBezTo>
                <a:cubicBezTo>
                  <a:pt x="6305780" y="4545198"/>
                  <a:pt x="6304695" y="4545404"/>
                  <a:pt x="6303456" y="4545301"/>
                </a:cubicBezTo>
                <a:cubicBezTo>
                  <a:pt x="6301752" y="4545198"/>
                  <a:pt x="6299894" y="4544475"/>
                  <a:pt x="6298345" y="4543545"/>
                </a:cubicBezTo>
                <a:lnTo>
                  <a:pt x="6296176" y="4541584"/>
                </a:lnTo>
                <a:lnTo>
                  <a:pt x="6295247" y="4542306"/>
                </a:lnTo>
                <a:lnTo>
                  <a:pt x="6295402" y="4540964"/>
                </a:lnTo>
                <a:lnTo>
                  <a:pt x="6294008" y="4539828"/>
                </a:lnTo>
                <a:lnTo>
                  <a:pt x="6293233" y="4538176"/>
                </a:lnTo>
                <a:lnTo>
                  <a:pt x="6289980" y="4539828"/>
                </a:lnTo>
                <a:cubicBezTo>
                  <a:pt x="6289826" y="4539209"/>
                  <a:pt x="6290135" y="4538796"/>
                  <a:pt x="6290445" y="4538486"/>
                </a:cubicBezTo>
                <a:cubicBezTo>
                  <a:pt x="6290910" y="4538279"/>
                  <a:pt x="6291529" y="4538073"/>
                  <a:pt x="6292149" y="4537970"/>
                </a:cubicBezTo>
                <a:lnTo>
                  <a:pt x="6293078" y="4537660"/>
                </a:lnTo>
                <a:lnTo>
                  <a:pt x="6292149" y="4536008"/>
                </a:lnTo>
                <a:lnTo>
                  <a:pt x="6294782" y="4531981"/>
                </a:lnTo>
                <a:lnTo>
                  <a:pt x="6288896" y="4529193"/>
                </a:lnTo>
                <a:cubicBezTo>
                  <a:pt x="6294318" y="4529193"/>
                  <a:pt x="6293698" y="4526921"/>
                  <a:pt x="6296951" y="4526611"/>
                </a:cubicBezTo>
                <a:lnTo>
                  <a:pt x="6298809" y="4526818"/>
                </a:lnTo>
                <a:lnTo>
                  <a:pt x="6299119" y="4526508"/>
                </a:lnTo>
                <a:lnTo>
                  <a:pt x="6289206" y="4523720"/>
                </a:lnTo>
                <a:cubicBezTo>
                  <a:pt x="6285024" y="4522584"/>
                  <a:pt x="6281306" y="4520829"/>
                  <a:pt x="6278673" y="4517009"/>
                </a:cubicBezTo>
                <a:cubicBezTo>
                  <a:pt x="6277898" y="4519074"/>
                  <a:pt x="6277124" y="4521036"/>
                  <a:pt x="6279138" y="4521655"/>
                </a:cubicBezTo>
                <a:cubicBezTo>
                  <a:pt x="6276505" y="4523101"/>
                  <a:pt x="6269069" y="4517112"/>
                  <a:pt x="6266281" y="4514737"/>
                </a:cubicBezTo>
                <a:cubicBezTo>
                  <a:pt x="6264577" y="4515666"/>
                  <a:pt x="6254664" y="4514943"/>
                  <a:pt x="6259001" y="4519280"/>
                </a:cubicBezTo>
                <a:cubicBezTo>
                  <a:pt x="6252960" y="4517422"/>
                  <a:pt x="6247849" y="4515770"/>
                  <a:pt x="6241653" y="4514634"/>
                </a:cubicBezTo>
                <a:lnTo>
                  <a:pt x="6234372" y="4512775"/>
                </a:lnTo>
                <a:lnTo>
                  <a:pt x="6233908" y="4514427"/>
                </a:lnTo>
                <a:cubicBezTo>
                  <a:pt x="6232049" y="4514118"/>
                  <a:pt x="6230345" y="4514634"/>
                  <a:pt x="6228486" y="4514324"/>
                </a:cubicBezTo>
                <a:lnTo>
                  <a:pt x="6226783" y="4510710"/>
                </a:lnTo>
                <a:lnTo>
                  <a:pt x="6223685" y="4509884"/>
                </a:lnTo>
                <a:cubicBezTo>
                  <a:pt x="6224149" y="4508542"/>
                  <a:pt x="6224924" y="4507715"/>
                  <a:pt x="6225698" y="4507096"/>
                </a:cubicBezTo>
                <a:lnTo>
                  <a:pt x="6226938" y="4506580"/>
                </a:lnTo>
                <a:lnTo>
                  <a:pt x="6227712" y="4505031"/>
                </a:lnTo>
                <a:lnTo>
                  <a:pt x="6229106" y="4505134"/>
                </a:lnTo>
                <a:lnTo>
                  <a:pt x="6229881" y="4504515"/>
                </a:lnTo>
                <a:cubicBezTo>
                  <a:pt x="6230190" y="4503792"/>
                  <a:pt x="6230036" y="4502759"/>
                  <a:pt x="6229571" y="4501107"/>
                </a:cubicBezTo>
                <a:cubicBezTo>
                  <a:pt x="6235457" y="4502966"/>
                  <a:pt x="6240259" y="4505960"/>
                  <a:pt x="6245525" y="4507612"/>
                </a:cubicBezTo>
                <a:cubicBezTo>
                  <a:pt x="6250172" y="4508955"/>
                  <a:pt x="6254974" y="4509677"/>
                  <a:pt x="6260550" y="4506167"/>
                </a:cubicBezTo>
                <a:cubicBezTo>
                  <a:pt x="6262564" y="4506786"/>
                  <a:pt x="6261170" y="4508645"/>
                  <a:pt x="6261170" y="4510813"/>
                </a:cubicBezTo>
                <a:cubicBezTo>
                  <a:pt x="6262718" y="4510607"/>
                  <a:pt x="6262873" y="4507715"/>
                  <a:pt x="6264887" y="4508232"/>
                </a:cubicBezTo>
                <a:cubicBezTo>
                  <a:pt x="6263338" y="4506270"/>
                  <a:pt x="6258537" y="4503379"/>
                  <a:pt x="6254199" y="4501210"/>
                </a:cubicBezTo>
                <a:cubicBezTo>
                  <a:pt x="6249707" y="4499868"/>
                  <a:pt x="6244750" y="4499042"/>
                  <a:pt x="6242117" y="4502759"/>
                </a:cubicBezTo>
                <a:cubicBezTo>
                  <a:pt x="6240414" y="4501107"/>
                  <a:pt x="6238090" y="4499971"/>
                  <a:pt x="6235922" y="4498939"/>
                </a:cubicBezTo>
                <a:lnTo>
                  <a:pt x="6233133" y="4497183"/>
                </a:lnTo>
                <a:lnTo>
                  <a:pt x="6232514" y="4497700"/>
                </a:lnTo>
                <a:lnTo>
                  <a:pt x="6232514" y="4496770"/>
                </a:lnTo>
                <a:lnTo>
                  <a:pt x="6230190" y="4495325"/>
                </a:lnTo>
                <a:cubicBezTo>
                  <a:pt x="6230965" y="4493673"/>
                  <a:pt x="6231584" y="4492124"/>
                  <a:pt x="6232204" y="4490885"/>
                </a:cubicBezTo>
                <a:lnTo>
                  <a:pt x="6229726" y="4485515"/>
                </a:lnTo>
                <a:lnTo>
                  <a:pt x="6228177" y="4482934"/>
                </a:lnTo>
                <a:lnTo>
                  <a:pt x="6226163" y="4482005"/>
                </a:lnTo>
                <a:cubicBezTo>
                  <a:pt x="6219967" y="4480869"/>
                  <a:pt x="6213926" y="4479733"/>
                  <a:pt x="6208815" y="4477462"/>
                </a:cubicBezTo>
                <a:cubicBezTo>
                  <a:pt x="6207421" y="4475500"/>
                  <a:pt x="6205097" y="4473951"/>
                  <a:pt x="6202929" y="4471782"/>
                </a:cubicBezTo>
                <a:cubicBezTo>
                  <a:pt x="6201844" y="4470750"/>
                  <a:pt x="6199986" y="4469408"/>
                  <a:pt x="6198747" y="4468995"/>
                </a:cubicBezTo>
                <a:cubicBezTo>
                  <a:pt x="6197662" y="4467962"/>
                  <a:pt x="6195958" y="4466620"/>
                  <a:pt x="6194874" y="4465587"/>
                </a:cubicBezTo>
                <a:lnTo>
                  <a:pt x="6186974" y="4460424"/>
                </a:lnTo>
                <a:lnTo>
                  <a:pt x="6186510" y="4460424"/>
                </a:lnTo>
                <a:cubicBezTo>
                  <a:pt x="6184031" y="4460114"/>
                  <a:pt x="6181243" y="4459082"/>
                  <a:pt x="6178455" y="4457120"/>
                </a:cubicBezTo>
                <a:lnTo>
                  <a:pt x="6174737" y="4452370"/>
                </a:lnTo>
                <a:lnTo>
                  <a:pt x="6161571" y="4443284"/>
                </a:lnTo>
                <a:lnTo>
                  <a:pt x="6160022" y="4447311"/>
                </a:lnTo>
                <a:cubicBezTo>
                  <a:pt x="6158938" y="4449996"/>
                  <a:pt x="6157234" y="4452577"/>
                  <a:pt x="6154911" y="4454126"/>
                </a:cubicBezTo>
                <a:lnTo>
                  <a:pt x="6153826" y="4454229"/>
                </a:lnTo>
                <a:lnTo>
                  <a:pt x="6153052" y="4455262"/>
                </a:lnTo>
                <a:lnTo>
                  <a:pt x="6153207" y="4455468"/>
                </a:lnTo>
                <a:cubicBezTo>
                  <a:pt x="6152278" y="4455468"/>
                  <a:pt x="6152433" y="4456294"/>
                  <a:pt x="6153362" y="4456294"/>
                </a:cubicBezTo>
                <a:cubicBezTo>
                  <a:pt x="6152587" y="4457636"/>
                  <a:pt x="6152123" y="4458772"/>
                  <a:pt x="6151658" y="4459288"/>
                </a:cubicBezTo>
                <a:cubicBezTo>
                  <a:pt x="6151038" y="4459908"/>
                  <a:pt x="6150419" y="4459908"/>
                  <a:pt x="6149490" y="4459082"/>
                </a:cubicBezTo>
                <a:cubicBezTo>
                  <a:pt x="6147631" y="4458359"/>
                  <a:pt x="6148250" y="4456604"/>
                  <a:pt x="6146392" y="4454952"/>
                </a:cubicBezTo>
                <a:cubicBezTo>
                  <a:pt x="6142674" y="4452474"/>
                  <a:pt x="6138492" y="4459805"/>
                  <a:pt x="6131057" y="4454952"/>
                </a:cubicBezTo>
                <a:cubicBezTo>
                  <a:pt x="6132606" y="4453197"/>
                  <a:pt x="6128579" y="4448963"/>
                  <a:pt x="6130747" y="4446175"/>
                </a:cubicBezTo>
                <a:cubicBezTo>
                  <a:pt x="6136168" y="4437088"/>
                  <a:pt x="6138957" y="4438740"/>
                  <a:pt x="6145307" y="4441012"/>
                </a:cubicBezTo>
                <a:cubicBezTo>
                  <a:pt x="6144378" y="4441012"/>
                  <a:pt x="6145307" y="4441838"/>
                  <a:pt x="6145307" y="4441838"/>
                </a:cubicBezTo>
                <a:cubicBezTo>
                  <a:pt x="6147321" y="4443490"/>
                  <a:pt x="6147321" y="4438224"/>
                  <a:pt x="6150109" y="4439773"/>
                </a:cubicBezTo>
                <a:lnTo>
                  <a:pt x="6150728" y="4440599"/>
                </a:lnTo>
                <a:lnTo>
                  <a:pt x="6151038" y="4440599"/>
                </a:lnTo>
                <a:lnTo>
                  <a:pt x="6153826" y="4437605"/>
                </a:lnTo>
                <a:lnTo>
                  <a:pt x="6153671" y="4437605"/>
                </a:lnTo>
                <a:lnTo>
                  <a:pt x="6153362" y="4437605"/>
                </a:lnTo>
                <a:cubicBezTo>
                  <a:pt x="6150109" y="4437088"/>
                  <a:pt x="6148560" y="4435023"/>
                  <a:pt x="6147786" y="4433268"/>
                </a:cubicBezTo>
                <a:lnTo>
                  <a:pt x="6147166" y="4431409"/>
                </a:lnTo>
                <a:lnTo>
                  <a:pt x="6145772" y="4430170"/>
                </a:lnTo>
                <a:lnTo>
                  <a:pt x="6146082" y="4430996"/>
                </a:lnTo>
                <a:cubicBezTo>
                  <a:pt x="6146236" y="4431719"/>
                  <a:pt x="6146547" y="4432029"/>
                  <a:pt x="6146547" y="4432029"/>
                </a:cubicBezTo>
                <a:cubicBezTo>
                  <a:pt x="6145927" y="4433887"/>
                  <a:pt x="6144997" y="4433887"/>
                  <a:pt x="6145927" y="4433887"/>
                </a:cubicBezTo>
                <a:cubicBezTo>
                  <a:pt x="6144533" y="4435746"/>
                  <a:pt x="6143139" y="4438328"/>
                  <a:pt x="6141435" y="4437605"/>
                </a:cubicBezTo>
                <a:cubicBezTo>
                  <a:pt x="6139266" y="4436056"/>
                  <a:pt x="6138647" y="4433784"/>
                  <a:pt x="6138802" y="4431306"/>
                </a:cubicBezTo>
                <a:lnTo>
                  <a:pt x="6140196" y="4425834"/>
                </a:lnTo>
                <a:lnTo>
                  <a:pt x="6137872" y="4426763"/>
                </a:lnTo>
                <a:cubicBezTo>
                  <a:pt x="6136943" y="4426453"/>
                  <a:pt x="6136013" y="4425524"/>
                  <a:pt x="6134929" y="4424491"/>
                </a:cubicBezTo>
                <a:cubicBezTo>
                  <a:pt x="6133845" y="4423355"/>
                  <a:pt x="6132451" y="4422942"/>
                  <a:pt x="6130747" y="4421703"/>
                </a:cubicBezTo>
                <a:cubicBezTo>
                  <a:pt x="6128733" y="4421084"/>
                  <a:pt x="6126720" y="4420464"/>
                  <a:pt x="6123932" y="4420361"/>
                </a:cubicBezTo>
                <a:cubicBezTo>
                  <a:pt x="6125636" y="4419329"/>
                  <a:pt x="6127649" y="4420051"/>
                  <a:pt x="6128733" y="4418812"/>
                </a:cubicBezTo>
                <a:cubicBezTo>
                  <a:pt x="6120989" y="4416437"/>
                  <a:pt x="6113554" y="4412617"/>
                  <a:pt x="6106118" y="4408796"/>
                </a:cubicBezTo>
                <a:cubicBezTo>
                  <a:pt x="6098838" y="4404356"/>
                  <a:pt x="6092178" y="4400742"/>
                  <a:pt x="6083658" y="4398058"/>
                </a:cubicBezTo>
                <a:cubicBezTo>
                  <a:pt x="6080251" y="4401568"/>
                  <a:pt x="6092488" y="4403840"/>
                  <a:pt x="6087066" y="4407454"/>
                </a:cubicBezTo>
                <a:cubicBezTo>
                  <a:pt x="6083503" y="4404872"/>
                  <a:pt x="6080715" y="4402394"/>
                  <a:pt x="6078547" y="4400226"/>
                </a:cubicBezTo>
                <a:lnTo>
                  <a:pt x="6073125" y="4394031"/>
                </a:lnTo>
                <a:lnTo>
                  <a:pt x="6071267" y="4395476"/>
                </a:lnTo>
                <a:cubicBezTo>
                  <a:pt x="6070182" y="4395993"/>
                  <a:pt x="6068943" y="4396302"/>
                  <a:pt x="6068014" y="4395889"/>
                </a:cubicBezTo>
                <a:cubicBezTo>
                  <a:pt x="6068014" y="4395889"/>
                  <a:pt x="6067859" y="4395786"/>
                  <a:pt x="6066930" y="4395373"/>
                </a:cubicBezTo>
                <a:cubicBezTo>
                  <a:pt x="6068014" y="4394857"/>
                  <a:pt x="6069408" y="4394340"/>
                  <a:pt x="6070802" y="4393927"/>
                </a:cubicBezTo>
                <a:lnTo>
                  <a:pt x="6072661" y="4393514"/>
                </a:lnTo>
                <a:lnTo>
                  <a:pt x="6072351" y="4393101"/>
                </a:lnTo>
                <a:cubicBezTo>
                  <a:pt x="6070028" y="4391243"/>
                  <a:pt x="6067704" y="4389591"/>
                  <a:pt x="6065071" y="4388248"/>
                </a:cubicBezTo>
                <a:lnTo>
                  <a:pt x="6061044" y="4386803"/>
                </a:lnTo>
                <a:lnTo>
                  <a:pt x="6062592" y="4388455"/>
                </a:lnTo>
                <a:cubicBezTo>
                  <a:pt x="6062438" y="4390416"/>
                  <a:pt x="6058875" y="4391346"/>
                  <a:pt x="6057171" y="4392482"/>
                </a:cubicBezTo>
                <a:cubicBezTo>
                  <a:pt x="6057016" y="4391243"/>
                  <a:pt x="6056861" y="4390004"/>
                  <a:pt x="6056397" y="4390830"/>
                </a:cubicBezTo>
                <a:cubicBezTo>
                  <a:pt x="6056242" y="4389591"/>
                  <a:pt x="6056397" y="4388661"/>
                  <a:pt x="6056707" y="4387835"/>
                </a:cubicBezTo>
                <a:lnTo>
                  <a:pt x="6058565" y="4385976"/>
                </a:lnTo>
                <a:lnTo>
                  <a:pt x="6056087" y="4385150"/>
                </a:lnTo>
                <a:cubicBezTo>
                  <a:pt x="6057016" y="4383499"/>
                  <a:pt x="6056861" y="4381949"/>
                  <a:pt x="6056397" y="4380401"/>
                </a:cubicBezTo>
                <a:lnTo>
                  <a:pt x="6055003" y="4375754"/>
                </a:lnTo>
                <a:lnTo>
                  <a:pt x="6054848" y="4375754"/>
                </a:lnTo>
                <a:lnTo>
                  <a:pt x="6053144" y="4375858"/>
                </a:lnTo>
                <a:cubicBezTo>
                  <a:pt x="6051130" y="4376787"/>
                  <a:pt x="6048962" y="4379575"/>
                  <a:pt x="6047103" y="4375547"/>
                </a:cubicBezTo>
                <a:cubicBezTo>
                  <a:pt x="6048342" y="4373173"/>
                  <a:pt x="6049736" y="4374515"/>
                  <a:pt x="6051285" y="4374412"/>
                </a:cubicBezTo>
                <a:lnTo>
                  <a:pt x="6052369" y="4373792"/>
                </a:lnTo>
                <a:lnTo>
                  <a:pt x="6052214" y="4373379"/>
                </a:lnTo>
                <a:lnTo>
                  <a:pt x="6052524" y="4373276"/>
                </a:lnTo>
                <a:lnTo>
                  <a:pt x="6046019" y="4368733"/>
                </a:lnTo>
                <a:cubicBezTo>
                  <a:pt x="6043850" y="4366874"/>
                  <a:pt x="6041836" y="4364499"/>
                  <a:pt x="6039048" y="4360989"/>
                </a:cubicBezTo>
                <a:cubicBezTo>
                  <a:pt x="6040288" y="4365842"/>
                  <a:pt x="6036260" y="4364706"/>
                  <a:pt x="6034711" y="4369456"/>
                </a:cubicBezTo>
                <a:cubicBezTo>
                  <a:pt x="6037500" y="4373999"/>
                  <a:pt x="6040907" y="4368320"/>
                  <a:pt x="6043850" y="4374515"/>
                </a:cubicBezTo>
                <a:lnTo>
                  <a:pt x="6042611" y="4374412"/>
                </a:lnTo>
                <a:lnTo>
                  <a:pt x="6044935" y="4376167"/>
                </a:lnTo>
                <a:cubicBezTo>
                  <a:pt x="6046638" y="4377923"/>
                  <a:pt x="6048187" y="4379988"/>
                  <a:pt x="6048652" y="4381330"/>
                </a:cubicBezTo>
                <a:cubicBezTo>
                  <a:pt x="6047568" y="4383808"/>
                  <a:pt x="6046019" y="4384944"/>
                  <a:pt x="6044160" y="4385150"/>
                </a:cubicBezTo>
                <a:cubicBezTo>
                  <a:pt x="6040288" y="4385460"/>
                  <a:pt x="6035950" y="4380917"/>
                  <a:pt x="6036725" y="4376787"/>
                </a:cubicBezTo>
                <a:lnTo>
                  <a:pt x="6038584" y="4373896"/>
                </a:lnTo>
                <a:lnTo>
                  <a:pt x="6035176" y="4372347"/>
                </a:lnTo>
                <a:cubicBezTo>
                  <a:pt x="6032233" y="4370798"/>
                  <a:pt x="6029290" y="4369249"/>
                  <a:pt x="6026347" y="4370592"/>
                </a:cubicBezTo>
                <a:cubicBezTo>
                  <a:pt x="6024333" y="4369972"/>
                  <a:pt x="6030994" y="4365325"/>
                  <a:pt x="6032698" y="4368836"/>
                </a:cubicBezTo>
                <a:cubicBezTo>
                  <a:pt x="6034246" y="4367494"/>
                  <a:pt x="6035176" y="4365842"/>
                  <a:pt x="6035486" y="4364086"/>
                </a:cubicBezTo>
                <a:lnTo>
                  <a:pt x="6034866" y="4360679"/>
                </a:lnTo>
                <a:lnTo>
                  <a:pt x="6031303" y="4360989"/>
                </a:lnTo>
                <a:cubicBezTo>
                  <a:pt x="6029910" y="4360782"/>
                  <a:pt x="6028825" y="4360059"/>
                  <a:pt x="6027896" y="4359027"/>
                </a:cubicBezTo>
                <a:lnTo>
                  <a:pt x="6027431" y="4357581"/>
                </a:lnTo>
                <a:lnTo>
                  <a:pt x="6022629" y="4357581"/>
                </a:lnTo>
                <a:cubicBezTo>
                  <a:pt x="6020771" y="4357788"/>
                  <a:pt x="6019067" y="4357788"/>
                  <a:pt x="6017363" y="4356548"/>
                </a:cubicBezTo>
                <a:cubicBezTo>
                  <a:pt x="6019377" y="4354897"/>
                  <a:pt x="6020461" y="4353244"/>
                  <a:pt x="6021080" y="4351179"/>
                </a:cubicBezTo>
                <a:lnTo>
                  <a:pt x="6022165" y="4344880"/>
                </a:lnTo>
                <a:lnTo>
                  <a:pt x="6014575" y="4344674"/>
                </a:lnTo>
                <a:close/>
                <a:moveTo>
                  <a:pt x="1333773" y="4343211"/>
                </a:moveTo>
                <a:cubicBezTo>
                  <a:pt x="1337955" y="4347341"/>
                  <a:pt x="1340434" y="4358493"/>
                  <a:pt x="1332379" y="4361384"/>
                </a:cubicBezTo>
                <a:cubicBezTo>
                  <a:pt x="1332689" y="4355601"/>
                  <a:pt x="1331605" y="4349096"/>
                  <a:pt x="1333773" y="4343211"/>
                </a:cubicBezTo>
                <a:close/>
                <a:moveTo>
                  <a:pt x="5528820" y="4343125"/>
                </a:moveTo>
                <a:cubicBezTo>
                  <a:pt x="5529904" y="4344777"/>
                  <a:pt x="5529285" y="4346533"/>
                  <a:pt x="5528665" y="4348288"/>
                </a:cubicBezTo>
                <a:cubicBezTo>
                  <a:pt x="5528046" y="4349631"/>
                  <a:pt x="5527271" y="4350146"/>
                  <a:pt x="5526342" y="4350043"/>
                </a:cubicBezTo>
                <a:cubicBezTo>
                  <a:pt x="5525567" y="4350043"/>
                  <a:pt x="5524638" y="4349424"/>
                  <a:pt x="5523554" y="4348598"/>
                </a:cubicBezTo>
                <a:cubicBezTo>
                  <a:pt x="5521695" y="4346946"/>
                  <a:pt x="5522314" y="4345191"/>
                  <a:pt x="5522314" y="4345191"/>
                </a:cubicBezTo>
                <a:cubicBezTo>
                  <a:pt x="5523554" y="4342506"/>
                  <a:pt x="5526032" y="4341576"/>
                  <a:pt x="5528820" y="4343125"/>
                </a:cubicBezTo>
                <a:close/>
                <a:moveTo>
                  <a:pt x="5060104" y="4342093"/>
                </a:moveTo>
                <a:cubicBezTo>
                  <a:pt x="5064751" y="4341679"/>
                  <a:pt x="5064751" y="4344571"/>
                  <a:pt x="5064905" y="4347256"/>
                </a:cubicBezTo>
                <a:cubicBezTo>
                  <a:pt x="5062737" y="4346946"/>
                  <a:pt x="5061962" y="4349114"/>
                  <a:pt x="5060568" y="4349217"/>
                </a:cubicBezTo>
                <a:cubicBezTo>
                  <a:pt x="5060104" y="4349217"/>
                  <a:pt x="5059639" y="4349011"/>
                  <a:pt x="5058865" y="4348391"/>
                </a:cubicBezTo>
                <a:cubicBezTo>
                  <a:pt x="5058245" y="4346842"/>
                  <a:pt x="5058400" y="4344880"/>
                  <a:pt x="5060104" y="4342093"/>
                </a:cubicBezTo>
                <a:close/>
                <a:moveTo>
                  <a:pt x="1399139" y="4341868"/>
                </a:moveTo>
                <a:cubicBezTo>
                  <a:pt x="1399294" y="4344553"/>
                  <a:pt x="1396196" y="4347444"/>
                  <a:pt x="1393253" y="4348270"/>
                </a:cubicBezTo>
                <a:cubicBezTo>
                  <a:pt x="1392170" y="4348477"/>
                  <a:pt x="1391239" y="4348580"/>
                  <a:pt x="1390465" y="4348270"/>
                </a:cubicBezTo>
                <a:cubicBezTo>
                  <a:pt x="1395267" y="4345069"/>
                  <a:pt x="1395112" y="4340629"/>
                  <a:pt x="1399139" y="4341868"/>
                </a:cubicBezTo>
                <a:close/>
                <a:moveTo>
                  <a:pt x="5796945" y="4341576"/>
                </a:moveTo>
                <a:cubicBezTo>
                  <a:pt x="5798494" y="4343332"/>
                  <a:pt x="5802057" y="4340750"/>
                  <a:pt x="5804380" y="4343435"/>
                </a:cubicBezTo>
                <a:cubicBezTo>
                  <a:pt x="5804226" y="4345191"/>
                  <a:pt x="5804071" y="4346016"/>
                  <a:pt x="5802986" y="4347772"/>
                </a:cubicBezTo>
                <a:cubicBezTo>
                  <a:pt x="5795706" y="4353864"/>
                  <a:pt x="5791834" y="4351179"/>
                  <a:pt x="5790905" y="4352108"/>
                </a:cubicBezTo>
                <a:cubicBezTo>
                  <a:pt x="5788581" y="4349321"/>
                  <a:pt x="5790440" y="4347669"/>
                  <a:pt x="5792453" y="4344158"/>
                </a:cubicBezTo>
                <a:cubicBezTo>
                  <a:pt x="5793228" y="4344984"/>
                  <a:pt x="5796016" y="4342402"/>
                  <a:pt x="5796945" y="4341576"/>
                </a:cubicBezTo>
                <a:close/>
                <a:moveTo>
                  <a:pt x="1083926" y="4340113"/>
                </a:moveTo>
                <a:cubicBezTo>
                  <a:pt x="1088572" y="4341559"/>
                  <a:pt x="1090586" y="4345689"/>
                  <a:pt x="1091360" y="4350335"/>
                </a:cubicBezTo>
                <a:lnTo>
                  <a:pt x="1091360" y="4353330"/>
                </a:lnTo>
                <a:lnTo>
                  <a:pt x="1093994" y="4355085"/>
                </a:lnTo>
                <a:cubicBezTo>
                  <a:pt x="1097866" y="4359835"/>
                  <a:pt x="1098641" y="4368715"/>
                  <a:pt x="1094149" y="4369644"/>
                </a:cubicBezTo>
                <a:cubicBezTo>
                  <a:pt x="1093219" y="4369747"/>
                  <a:pt x="1092135" y="4369644"/>
                  <a:pt x="1090896" y="4369128"/>
                </a:cubicBezTo>
                <a:lnTo>
                  <a:pt x="1090586" y="4368818"/>
                </a:lnTo>
                <a:lnTo>
                  <a:pt x="1089811" y="4369128"/>
                </a:lnTo>
                <a:cubicBezTo>
                  <a:pt x="1087953" y="4369954"/>
                  <a:pt x="1085939" y="4370677"/>
                  <a:pt x="1083461" y="4370470"/>
                </a:cubicBezTo>
                <a:cubicBezTo>
                  <a:pt x="1083926" y="4369231"/>
                  <a:pt x="1085629" y="4366546"/>
                  <a:pt x="1088572" y="4367063"/>
                </a:cubicBezTo>
                <a:lnTo>
                  <a:pt x="1089037" y="4366960"/>
                </a:lnTo>
                <a:lnTo>
                  <a:pt x="1087488" y="4365204"/>
                </a:lnTo>
                <a:cubicBezTo>
                  <a:pt x="1085629" y="4362519"/>
                  <a:pt x="1084545" y="4359835"/>
                  <a:pt x="1085010" y="4357047"/>
                </a:cubicBezTo>
                <a:lnTo>
                  <a:pt x="1085939" y="4354878"/>
                </a:lnTo>
                <a:lnTo>
                  <a:pt x="1085165" y="4353020"/>
                </a:lnTo>
                <a:cubicBezTo>
                  <a:pt x="1083771" y="4349303"/>
                  <a:pt x="1083151" y="4345276"/>
                  <a:pt x="1083926" y="4340113"/>
                </a:cubicBezTo>
                <a:close/>
                <a:moveTo>
                  <a:pt x="1166640" y="4339494"/>
                </a:moveTo>
                <a:cubicBezTo>
                  <a:pt x="1166175" y="4340629"/>
                  <a:pt x="1167260" y="4341042"/>
                  <a:pt x="1168344" y="4341455"/>
                </a:cubicBezTo>
                <a:cubicBezTo>
                  <a:pt x="1169893" y="4346928"/>
                  <a:pt x="1163077" y="4353536"/>
                  <a:pt x="1158275" y="4354362"/>
                </a:cubicBezTo>
                <a:cubicBezTo>
                  <a:pt x="1156572" y="4354569"/>
                  <a:pt x="1155177" y="4354259"/>
                  <a:pt x="1154248" y="4353020"/>
                </a:cubicBezTo>
                <a:cubicBezTo>
                  <a:pt x="1153784" y="4352297"/>
                  <a:pt x="1153474" y="4351265"/>
                  <a:pt x="1153319" y="4349922"/>
                </a:cubicBezTo>
                <a:cubicBezTo>
                  <a:pt x="1156107" y="4342901"/>
                  <a:pt x="1159824" y="4338254"/>
                  <a:pt x="1166640" y="4339494"/>
                </a:cubicBezTo>
                <a:close/>
                <a:moveTo>
                  <a:pt x="5509148" y="4339305"/>
                </a:moveTo>
                <a:cubicBezTo>
                  <a:pt x="5509148" y="4339305"/>
                  <a:pt x="5509148" y="4339305"/>
                  <a:pt x="5509922" y="4341060"/>
                </a:cubicBezTo>
                <a:cubicBezTo>
                  <a:pt x="5509768" y="4341989"/>
                  <a:pt x="5509613" y="4342919"/>
                  <a:pt x="5508683" y="4343848"/>
                </a:cubicBezTo>
                <a:cubicBezTo>
                  <a:pt x="5507754" y="4344674"/>
                  <a:pt x="5506050" y="4344674"/>
                  <a:pt x="5505121" y="4344674"/>
                </a:cubicBezTo>
                <a:cubicBezTo>
                  <a:pt x="5505276" y="4343745"/>
                  <a:pt x="5504346" y="4343745"/>
                  <a:pt x="5504501" y="4342815"/>
                </a:cubicBezTo>
                <a:cubicBezTo>
                  <a:pt x="5503882" y="4341060"/>
                  <a:pt x="5503882" y="4341060"/>
                  <a:pt x="5504811" y="4340131"/>
                </a:cubicBezTo>
                <a:cubicBezTo>
                  <a:pt x="5505740" y="4339202"/>
                  <a:pt x="5508219" y="4340131"/>
                  <a:pt x="5509148" y="4339305"/>
                </a:cubicBezTo>
                <a:close/>
                <a:moveTo>
                  <a:pt x="5908006" y="4339098"/>
                </a:moveTo>
                <a:cubicBezTo>
                  <a:pt x="5908471" y="4340028"/>
                  <a:pt x="5908935" y="4341267"/>
                  <a:pt x="5909090" y="4342609"/>
                </a:cubicBezTo>
                <a:lnTo>
                  <a:pt x="5908316" y="4344777"/>
                </a:lnTo>
                <a:lnTo>
                  <a:pt x="5909555" y="4344984"/>
                </a:lnTo>
                <a:cubicBezTo>
                  <a:pt x="5912188" y="4346842"/>
                  <a:pt x="5914047" y="4351076"/>
                  <a:pt x="5911878" y="4355000"/>
                </a:cubicBezTo>
                <a:cubicBezTo>
                  <a:pt x="5910174" y="4355413"/>
                  <a:pt x="5908626" y="4355309"/>
                  <a:pt x="5907231" y="4355206"/>
                </a:cubicBezTo>
                <a:cubicBezTo>
                  <a:pt x="5905992" y="4355103"/>
                  <a:pt x="5904908" y="4354897"/>
                  <a:pt x="5903979" y="4354793"/>
                </a:cubicBezTo>
                <a:cubicBezTo>
                  <a:pt x="5903204" y="4352315"/>
                  <a:pt x="5902120" y="4350663"/>
                  <a:pt x="5901500" y="4348288"/>
                </a:cubicBezTo>
                <a:lnTo>
                  <a:pt x="5901655" y="4347978"/>
                </a:lnTo>
                <a:lnTo>
                  <a:pt x="5901500" y="4347875"/>
                </a:lnTo>
                <a:cubicBezTo>
                  <a:pt x="5900416" y="4346739"/>
                  <a:pt x="5899951" y="4345810"/>
                  <a:pt x="5900106" y="4344880"/>
                </a:cubicBezTo>
                <a:cubicBezTo>
                  <a:pt x="5900261" y="4343848"/>
                  <a:pt x="5901036" y="4342919"/>
                  <a:pt x="5901965" y="4341679"/>
                </a:cubicBezTo>
                <a:cubicBezTo>
                  <a:pt x="5903824" y="4339305"/>
                  <a:pt x="5906302" y="4340647"/>
                  <a:pt x="5908006" y="4339098"/>
                </a:cubicBezTo>
                <a:close/>
                <a:moveTo>
                  <a:pt x="4799878" y="4338479"/>
                </a:moveTo>
                <a:cubicBezTo>
                  <a:pt x="4801272" y="4340337"/>
                  <a:pt x="4803596" y="4342919"/>
                  <a:pt x="4801582" y="4345603"/>
                </a:cubicBezTo>
                <a:cubicBezTo>
                  <a:pt x="4800807" y="4345500"/>
                  <a:pt x="4800652" y="4346430"/>
                  <a:pt x="4799878" y="4346430"/>
                </a:cubicBezTo>
                <a:cubicBezTo>
                  <a:pt x="4799878" y="4346430"/>
                  <a:pt x="4798949" y="4346842"/>
                  <a:pt x="4797709" y="4346946"/>
                </a:cubicBezTo>
                <a:cubicBezTo>
                  <a:pt x="4796470" y="4347049"/>
                  <a:pt x="4794921" y="4346739"/>
                  <a:pt x="4793372" y="4345397"/>
                </a:cubicBezTo>
                <a:cubicBezTo>
                  <a:pt x="4793063" y="4344984"/>
                  <a:pt x="4792443" y="4344055"/>
                  <a:pt x="4792133" y="4343332"/>
                </a:cubicBezTo>
                <a:cubicBezTo>
                  <a:pt x="4791823" y="4342506"/>
                  <a:pt x="4791668" y="4341886"/>
                  <a:pt x="4792133" y="4341886"/>
                </a:cubicBezTo>
                <a:cubicBezTo>
                  <a:pt x="4792907" y="4341060"/>
                  <a:pt x="4792133" y="4341060"/>
                  <a:pt x="4792133" y="4340131"/>
                </a:cubicBezTo>
                <a:cubicBezTo>
                  <a:pt x="4794921" y="4337549"/>
                  <a:pt x="4797554" y="4336723"/>
                  <a:pt x="4799878" y="4338479"/>
                </a:cubicBezTo>
                <a:close/>
                <a:moveTo>
                  <a:pt x="5746335" y="4338418"/>
                </a:moveTo>
                <a:cubicBezTo>
                  <a:pt x="5748831" y="4337685"/>
                  <a:pt x="5751173" y="4337808"/>
                  <a:pt x="5752955" y="4339202"/>
                </a:cubicBezTo>
                <a:lnTo>
                  <a:pt x="5749857" y="4342093"/>
                </a:lnTo>
                <a:lnTo>
                  <a:pt x="5750322" y="4341989"/>
                </a:lnTo>
                <a:cubicBezTo>
                  <a:pt x="5754039" y="4346326"/>
                  <a:pt x="5752645" y="4349527"/>
                  <a:pt x="5747998" y="4351902"/>
                </a:cubicBezTo>
                <a:cubicBezTo>
                  <a:pt x="5746449" y="4350663"/>
                  <a:pt x="5744900" y="4350353"/>
                  <a:pt x="5742422" y="4348907"/>
                </a:cubicBezTo>
                <a:lnTo>
                  <a:pt x="5742732" y="4348495"/>
                </a:lnTo>
                <a:lnTo>
                  <a:pt x="5737620" y="4353038"/>
                </a:lnTo>
                <a:cubicBezTo>
                  <a:pt x="5735606" y="4354483"/>
                  <a:pt x="5733438" y="4355723"/>
                  <a:pt x="5730804" y="4356858"/>
                </a:cubicBezTo>
                <a:cubicBezTo>
                  <a:pt x="5729991" y="4350508"/>
                  <a:pt x="5738849" y="4340615"/>
                  <a:pt x="5746335" y="4338418"/>
                </a:cubicBezTo>
                <a:close/>
                <a:moveTo>
                  <a:pt x="5954475" y="4338169"/>
                </a:moveTo>
                <a:cubicBezTo>
                  <a:pt x="5956024" y="4340234"/>
                  <a:pt x="5959122" y="4342402"/>
                  <a:pt x="5958038" y="4345707"/>
                </a:cubicBezTo>
                <a:cubicBezTo>
                  <a:pt x="5956953" y="4344261"/>
                  <a:pt x="5954475" y="4341576"/>
                  <a:pt x="5954010" y="4339718"/>
                </a:cubicBezTo>
                <a:cubicBezTo>
                  <a:pt x="5953855" y="4339098"/>
                  <a:pt x="5954010" y="4338582"/>
                  <a:pt x="5954475" y="4338169"/>
                </a:cubicBezTo>
                <a:close/>
                <a:moveTo>
                  <a:pt x="1296405" y="4337183"/>
                </a:moveTo>
                <a:cubicBezTo>
                  <a:pt x="1297799" y="4338487"/>
                  <a:pt x="1298767" y="4340681"/>
                  <a:pt x="1298612" y="4341972"/>
                </a:cubicBezTo>
                <a:cubicBezTo>
                  <a:pt x="1297837" y="4342901"/>
                  <a:pt x="1296908" y="4343314"/>
                  <a:pt x="1296133" y="4343314"/>
                </a:cubicBezTo>
                <a:cubicBezTo>
                  <a:pt x="1293655" y="4343211"/>
                  <a:pt x="1291332" y="4339700"/>
                  <a:pt x="1291642" y="4337738"/>
                </a:cubicBezTo>
                <a:cubicBezTo>
                  <a:pt x="1293191" y="4335467"/>
                  <a:pt x="1295010" y="4335879"/>
                  <a:pt x="1296405" y="4337183"/>
                </a:cubicBezTo>
                <a:close/>
                <a:moveTo>
                  <a:pt x="1465745" y="4337118"/>
                </a:moveTo>
                <a:cubicBezTo>
                  <a:pt x="1466055" y="4337841"/>
                  <a:pt x="1465745" y="4337118"/>
                  <a:pt x="1465280" y="4338977"/>
                </a:cubicBezTo>
                <a:cubicBezTo>
                  <a:pt x="1464816" y="4338771"/>
                  <a:pt x="1464660" y="4338564"/>
                  <a:pt x="1464816" y="4338358"/>
                </a:cubicBezTo>
                <a:cubicBezTo>
                  <a:pt x="1464971" y="4338048"/>
                  <a:pt x="1465435" y="4337635"/>
                  <a:pt x="1465745" y="4337118"/>
                </a:cubicBezTo>
                <a:close/>
                <a:moveTo>
                  <a:pt x="5821574" y="4336413"/>
                </a:moveTo>
                <a:lnTo>
                  <a:pt x="5822503" y="4337963"/>
                </a:lnTo>
                <a:lnTo>
                  <a:pt x="5823278" y="4336413"/>
                </a:lnTo>
                <a:cubicBezTo>
                  <a:pt x="5834895" y="4350663"/>
                  <a:pt x="5827925" y="4365015"/>
                  <a:pt x="5821109" y="4379471"/>
                </a:cubicBezTo>
                <a:cubicBezTo>
                  <a:pt x="5810576" y="4373586"/>
                  <a:pt x="5812435" y="4359440"/>
                  <a:pt x="5817547" y="4347359"/>
                </a:cubicBezTo>
                <a:lnTo>
                  <a:pt x="5819560" y="4343332"/>
                </a:lnTo>
                <a:lnTo>
                  <a:pt x="5817392" y="4341989"/>
                </a:lnTo>
                <a:lnTo>
                  <a:pt x="5817392" y="4341679"/>
                </a:lnTo>
                <a:lnTo>
                  <a:pt x="5816927" y="4341679"/>
                </a:lnTo>
                <a:cubicBezTo>
                  <a:pt x="5816617" y="4341576"/>
                  <a:pt x="5816307" y="4341473"/>
                  <a:pt x="5815998" y="4341679"/>
                </a:cubicBezTo>
                <a:cubicBezTo>
                  <a:pt x="5815998" y="4341679"/>
                  <a:pt x="5815688" y="4340957"/>
                  <a:pt x="5815688" y="4340957"/>
                </a:cubicBezTo>
                <a:cubicBezTo>
                  <a:pt x="5815378" y="4341060"/>
                  <a:pt x="5815378" y="4341164"/>
                  <a:pt x="5815533" y="4340854"/>
                </a:cubicBezTo>
                <a:cubicBezTo>
                  <a:pt x="5815533" y="4340544"/>
                  <a:pt x="5815843" y="4340028"/>
                  <a:pt x="5815843" y="4338995"/>
                </a:cubicBezTo>
                <a:cubicBezTo>
                  <a:pt x="5816307" y="4337963"/>
                  <a:pt x="5815998" y="4337136"/>
                  <a:pt x="5817082" y="4337549"/>
                </a:cubicBezTo>
                <a:cubicBezTo>
                  <a:pt x="5817547" y="4337756"/>
                  <a:pt x="5817856" y="4337859"/>
                  <a:pt x="5818011" y="4338169"/>
                </a:cubicBezTo>
                <a:lnTo>
                  <a:pt x="5818321" y="4338685"/>
                </a:lnTo>
                <a:close/>
                <a:moveTo>
                  <a:pt x="664621" y="4336396"/>
                </a:moveTo>
                <a:cubicBezTo>
                  <a:pt x="665086" y="4337118"/>
                  <a:pt x="665706" y="4336706"/>
                  <a:pt x="665396" y="4337841"/>
                </a:cubicBezTo>
                <a:cubicBezTo>
                  <a:pt x="668493" y="4337944"/>
                  <a:pt x="674225" y="4343314"/>
                  <a:pt x="674999" y="4346721"/>
                </a:cubicBezTo>
                <a:cubicBezTo>
                  <a:pt x="665396" y="4345792"/>
                  <a:pt x="666945" y="4338874"/>
                  <a:pt x="661523" y="4338254"/>
                </a:cubicBezTo>
                <a:cubicBezTo>
                  <a:pt x="662762" y="4336602"/>
                  <a:pt x="662762" y="4336602"/>
                  <a:pt x="664621" y="4336396"/>
                </a:cubicBezTo>
                <a:close/>
                <a:moveTo>
                  <a:pt x="4926583" y="4336310"/>
                </a:moveTo>
                <a:cubicBezTo>
                  <a:pt x="4929681" y="4338995"/>
                  <a:pt x="4931540" y="4336413"/>
                  <a:pt x="4936187" y="4340854"/>
                </a:cubicBezTo>
                <a:cubicBezTo>
                  <a:pt x="4942383" y="4346120"/>
                  <a:pt x="4940059" y="4352212"/>
                  <a:pt x="4937271" y="4355619"/>
                </a:cubicBezTo>
                <a:cubicBezTo>
                  <a:pt x="4936651" y="4355000"/>
                  <a:pt x="4932779" y="4359646"/>
                  <a:pt x="4927822" y="4359336"/>
                </a:cubicBezTo>
                <a:cubicBezTo>
                  <a:pt x="4926273" y="4359233"/>
                  <a:pt x="4924569" y="4358613"/>
                  <a:pt x="4922865" y="4357065"/>
                </a:cubicBezTo>
                <a:cubicBezTo>
                  <a:pt x="4921936" y="4356239"/>
                  <a:pt x="4921007" y="4355206"/>
                  <a:pt x="4920232" y="4354174"/>
                </a:cubicBezTo>
                <a:cubicBezTo>
                  <a:pt x="4918219" y="4350869"/>
                  <a:pt x="4917754" y="4346636"/>
                  <a:pt x="4922711" y="4341473"/>
                </a:cubicBezTo>
                <a:cubicBezTo>
                  <a:pt x="4923795" y="4339718"/>
                  <a:pt x="4923640" y="4340647"/>
                  <a:pt x="4924569" y="4339718"/>
                </a:cubicBezTo>
                <a:cubicBezTo>
                  <a:pt x="4925499" y="4338892"/>
                  <a:pt x="4926583" y="4337240"/>
                  <a:pt x="4926583" y="4336310"/>
                </a:cubicBezTo>
                <a:close/>
                <a:moveTo>
                  <a:pt x="5421631" y="4334762"/>
                </a:moveTo>
                <a:cubicBezTo>
                  <a:pt x="5421167" y="4340750"/>
                  <a:pt x="5424575" y="4343745"/>
                  <a:pt x="5421787" y="4348185"/>
                </a:cubicBezTo>
                <a:cubicBezTo>
                  <a:pt x="5413267" y="4349217"/>
                  <a:pt x="5410324" y="4338685"/>
                  <a:pt x="5414661" y="4335174"/>
                </a:cubicBezTo>
                <a:cubicBezTo>
                  <a:pt x="5416210" y="4334039"/>
                  <a:pt x="5418534" y="4333626"/>
                  <a:pt x="5421631" y="4334762"/>
                </a:cubicBezTo>
                <a:close/>
                <a:moveTo>
                  <a:pt x="1354219" y="4333711"/>
                </a:moveTo>
                <a:cubicBezTo>
                  <a:pt x="1363668" y="4329477"/>
                  <a:pt x="1368780" y="4341042"/>
                  <a:pt x="1372033" y="4348580"/>
                </a:cubicBezTo>
                <a:lnTo>
                  <a:pt x="1374201" y="4354259"/>
                </a:lnTo>
                <a:lnTo>
                  <a:pt x="1375440" y="4346825"/>
                </a:lnTo>
                <a:cubicBezTo>
                  <a:pt x="1381946" y="4348270"/>
                  <a:pt x="1382565" y="4356324"/>
                  <a:pt x="1384424" y="4362003"/>
                </a:cubicBezTo>
                <a:cubicBezTo>
                  <a:pt x="1386748" y="4360351"/>
                  <a:pt x="1389381" y="4357873"/>
                  <a:pt x="1392014" y="4356531"/>
                </a:cubicBezTo>
                <a:lnTo>
                  <a:pt x="1395732" y="4355601"/>
                </a:lnTo>
                <a:lnTo>
                  <a:pt x="1395732" y="4355085"/>
                </a:lnTo>
                <a:cubicBezTo>
                  <a:pt x="1395732" y="4355085"/>
                  <a:pt x="1395267" y="4354362"/>
                  <a:pt x="1395732" y="4353123"/>
                </a:cubicBezTo>
                <a:cubicBezTo>
                  <a:pt x="1396042" y="4351884"/>
                  <a:pt x="1396506" y="4350645"/>
                  <a:pt x="1398365" y="4350439"/>
                </a:cubicBezTo>
                <a:cubicBezTo>
                  <a:pt x="1399139" y="4357873"/>
                  <a:pt x="1400688" y="4360868"/>
                  <a:pt x="1400688" y="4366753"/>
                </a:cubicBezTo>
                <a:cubicBezTo>
                  <a:pt x="1399914" y="4367166"/>
                  <a:pt x="1399604" y="4366443"/>
                  <a:pt x="1398829" y="4366960"/>
                </a:cubicBezTo>
                <a:cubicBezTo>
                  <a:pt x="1398365" y="4366753"/>
                  <a:pt x="1397745" y="4366134"/>
                  <a:pt x="1397281" y="4365204"/>
                </a:cubicBezTo>
                <a:lnTo>
                  <a:pt x="1396661" y="4362933"/>
                </a:lnTo>
                <a:lnTo>
                  <a:pt x="1394492" y="4364688"/>
                </a:lnTo>
                <a:cubicBezTo>
                  <a:pt x="1391704" y="4366340"/>
                  <a:pt x="1388296" y="4367682"/>
                  <a:pt x="1385973" y="4370161"/>
                </a:cubicBezTo>
                <a:cubicBezTo>
                  <a:pt x="1384579" y="4373362"/>
                  <a:pt x="1387522" y="4376666"/>
                  <a:pt x="1382101" y="4379764"/>
                </a:cubicBezTo>
                <a:cubicBezTo>
                  <a:pt x="1379158" y="4375117"/>
                  <a:pt x="1377145" y="4370780"/>
                  <a:pt x="1375905" y="4366546"/>
                </a:cubicBezTo>
                <a:lnTo>
                  <a:pt x="1374356" y="4355395"/>
                </a:lnTo>
                <a:lnTo>
                  <a:pt x="1374511" y="4359422"/>
                </a:lnTo>
                <a:cubicBezTo>
                  <a:pt x="1374201" y="4360351"/>
                  <a:pt x="1373582" y="4360971"/>
                  <a:pt x="1372652" y="4361384"/>
                </a:cubicBezTo>
                <a:cubicBezTo>
                  <a:pt x="1367540" y="4364275"/>
                  <a:pt x="1359950" y="4360041"/>
                  <a:pt x="1356853" y="4352504"/>
                </a:cubicBezTo>
                <a:cubicBezTo>
                  <a:pt x="1351741" y="4340939"/>
                  <a:pt x="1354219" y="4333711"/>
                  <a:pt x="1354219" y="4333711"/>
                </a:cubicBezTo>
                <a:close/>
                <a:moveTo>
                  <a:pt x="1520578" y="4333401"/>
                </a:moveTo>
                <a:cubicBezTo>
                  <a:pt x="1522127" y="4334537"/>
                  <a:pt x="1521043" y="4336912"/>
                  <a:pt x="1521043" y="4338667"/>
                </a:cubicBezTo>
                <a:cubicBezTo>
                  <a:pt x="1522592" y="4339803"/>
                  <a:pt x="1519184" y="4341868"/>
                  <a:pt x="1520733" y="4343004"/>
                </a:cubicBezTo>
                <a:cubicBezTo>
                  <a:pt x="1517170" y="4345792"/>
                  <a:pt x="1521043" y="4350748"/>
                  <a:pt x="1516550" y="4356117"/>
                </a:cubicBezTo>
                <a:cubicBezTo>
                  <a:pt x="1515931" y="4353846"/>
                  <a:pt x="1515776" y="4351781"/>
                  <a:pt x="1515931" y="4349922"/>
                </a:cubicBezTo>
                <a:cubicBezTo>
                  <a:pt x="1516086" y="4344346"/>
                  <a:pt x="1517945" y="4340319"/>
                  <a:pt x="1517016" y="4336293"/>
                </a:cubicBezTo>
                <a:cubicBezTo>
                  <a:pt x="1517016" y="4336293"/>
                  <a:pt x="1517016" y="4336293"/>
                  <a:pt x="1518720" y="4334847"/>
                </a:cubicBezTo>
                <a:cubicBezTo>
                  <a:pt x="1518874" y="4334021"/>
                  <a:pt x="1518874" y="4334021"/>
                  <a:pt x="1518874" y="4334021"/>
                </a:cubicBezTo>
                <a:cubicBezTo>
                  <a:pt x="1518874" y="4333195"/>
                  <a:pt x="1520578" y="4333401"/>
                  <a:pt x="1520578" y="4333401"/>
                </a:cubicBezTo>
                <a:close/>
                <a:moveTo>
                  <a:pt x="670817" y="4333298"/>
                </a:moveTo>
                <a:cubicBezTo>
                  <a:pt x="674844" y="4335673"/>
                  <a:pt x="677322" y="4342075"/>
                  <a:pt x="677632" y="4342798"/>
                </a:cubicBezTo>
                <a:cubicBezTo>
                  <a:pt x="677013" y="4343314"/>
                  <a:pt x="677013" y="4343314"/>
                  <a:pt x="677013" y="4343314"/>
                </a:cubicBezTo>
                <a:cubicBezTo>
                  <a:pt x="676393" y="4340733"/>
                  <a:pt x="673141" y="4339287"/>
                  <a:pt x="671282" y="4336706"/>
                </a:cubicBezTo>
                <a:cubicBezTo>
                  <a:pt x="670662" y="4335879"/>
                  <a:pt x="670197" y="4334950"/>
                  <a:pt x="670043" y="4333711"/>
                </a:cubicBezTo>
                <a:cubicBezTo>
                  <a:pt x="670043" y="4333711"/>
                  <a:pt x="670043" y="4333814"/>
                  <a:pt x="670508" y="4334537"/>
                </a:cubicBezTo>
                <a:cubicBezTo>
                  <a:pt x="670508" y="4334537"/>
                  <a:pt x="670043" y="4333711"/>
                  <a:pt x="670817" y="4333298"/>
                </a:cubicBezTo>
                <a:close/>
                <a:moveTo>
                  <a:pt x="5888334" y="4333006"/>
                </a:moveTo>
                <a:cubicBezTo>
                  <a:pt x="5891277" y="4335484"/>
                  <a:pt x="5889264" y="4337653"/>
                  <a:pt x="5887405" y="4339821"/>
                </a:cubicBezTo>
                <a:cubicBezTo>
                  <a:pt x="5885856" y="4338582"/>
                  <a:pt x="5884152" y="4339098"/>
                  <a:pt x="5882913" y="4336104"/>
                </a:cubicBezTo>
                <a:cubicBezTo>
                  <a:pt x="5884772" y="4334865"/>
                  <a:pt x="5886475" y="4334348"/>
                  <a:pt x="5888334" y="4333006"/>
                </a:cubicBezTo>
                <a:close/>
                <a:moveTo>
                  <a:pt x="1471786" y="4331852"/>
                </a:moveTo>
                <a:cubicBezTo>
                  <a:pt x="1476742" y="4335982"/>
                  <a:pt x="1476278" y="4349716"/>
                  <a:pt x="1473645" y="4351987"/>
                </a:cubicBezTo>
                <a:cubicBezTo>
                  <a:pt x="1471321" y="4349096"/>
                  <a:pt x="1472250" y="4345689"/>
                  <a:pt x="1469772" y="4341972"/>
                </a:cubicBezTo>
                <a:cubicBezTo>
                  <a:pt x="1471476" y="4339597"/>
                  <a:pt x="1469153" y="4335053"/>
                  <a:pt x="1471786" y="4331852"/>
                </a:cubicBezTo>
                <a:close/>
                <a:moveTo>
                  <a:pt x="1420980" y="4328548"/>
                </a:moveTo>
                <a:cubicBezTo>
                  <a:pt x="1421909" y="4328651"/>
                  <a:pt x="1422683" y="4328755"/>
                  <a:pt x="1423458" y="4329684"/>
                </a:cubicBezTo>
                <a:cubicBezTo>
                  <a:pt x="1424388" y="4330613"/>
                  <a:pt x="1423458" y="4330510"/>
                  <a:pt x="1424388" y="4330613"/>
                </a:cubicBezTo>
                <a:cubicBezTo>
                  <a:pt x="1425162" y="4331646"/>
                  <a:pt x="1425162" y="4330716"/>
                  <a:pt x="1425162" y="4330716"/>
                </a:cubicBezTo>
                <a:lnTo>
                  <a:pt x="1425162" y="4331130"/>
                </a:lnTo>
                <a:lnTo>
                  <a:pt x="1426401" y="4331027"/>
                </a:lnTo>
                <a:cubicBezTo>
                  <a:pt x="1427176" y="4331336"/>
                  <a:pt x="1427795" y="4331956"/>
                  <a:pt x="1427950" y="4333092"/>
                </a:cubicBezTo>
                <a:lnTo>
                  <a:pt x="1427640" y="4334124"/>
                </a:lnTo>
                <a:lnTo>
                  <a:pt x="1429654" y="4335467"/>
                </a:lnTo>
                <a:cubicBezTo>
                  <a:pt x="1430428" y="4335879"/>
                  <a:pt x="1431048" y="4336189"/>
                  <a:pt x="1431822" y="4336706"/>
                </a:cubicBezTo>
                <a:cubicBezTo>
                  <a:pt x="1433526" y="4338667"/>
                  <a:pt x="1433371" y="4339494"/>
                  <a:pt x="1435075" y="4342281"/>
                </a:cubicBezTo>
                <a:cubicBezTo>
                  <a:pt x="1434146" y="4343830"/>
                  <a:pt x="1434146" y="4343830"/>
                  <a:pt x="1433371" y="4343727"/>
                </a:cubicBezTo>
                <a:cubicBezTo>
                  <a:pt x="1434146" y="4343830"/>
                  <a:pt x="1434146" y="4344760"/>
                  <a:pt x="1435075" y="4345689"/>
                </a:cubicBezTo>
                <a:cubicBezTo>
                  <a:pt x="1439103" y="4348786"/>
                  <a:pt x="1437399" y="4352917"/>
                  <a:pt x="1433837" y="4356737"/>
                </a:cubicBezTo>
                <a:cubicBezTo>
                  <a:pt x="1433062" y="4355808"/>
                  <a:pt x="1431203" y="4358183"/>
                  <a:pt x="1429499" y="4358802"/>
                </a:cubicBezTo>
                <a:cubicBezTo>
                  <a:pt x="1427021" y="4358493"/>
                  <a:pt x="1425317" y="4358286"/>
                  <a:pt x="1423613" y="4356428"/>
                </a:cubicBezTo>
                <a:cubicBezTo>
                  <a:pt x="1421135" y="4353536"/>
                  <a:pt x="1419741" y="4347341"/>
                  <a:pt x="1422219" y="4345069"/>
                </a:cubicBezTo>
                <a:cubicBezTo>
                  <a:pt x="1424852" y="4341868"/>
                  <a:pt x="1427485" y="4341352"/>
                  <a:pt x="1429964" y="4341662"/>
                </a:cubicBezTo>
                <a:cubicBezTo>
                  <a:pt x="1429964" y="4341662"/>
                  <a:pt x="1429964" y="4341662"/>
                  <a:pt x="1429189" y="4341559"/>
                </a:cubicBezTo>
                <a:lnTo>
                  <a:pt x="1426556" y="4338151"/>
                </a:lnTo>
                <a:lnTo>
                  <a:pt x="1420980" y="4335776"/>
                </a:lnTo>
                <a:cubicBezTo>
                  <a:pt x="1420205" y="4334847"/>
                  <a:pt x="1420360" y="4333814"/>
                  <a:pt x="1420980" y="4332988"/>
                </a:cubicBezTo>
                <a:lnTo>
                  <a:pt x="1422064" y="4332162"/>
                </a:lnTo>
                <a:lnTo>
                  <a:pt x="1421444" y="4331027"/>
                </a:lnTo>
                <a:cubicBezTo>
                  <a:pt x="1420980" y="4329994"/>
                  <a:pt x="1420825" y="4329168"/>
                  <a:pt x="1420980" y="4328548"/>
                </a:cubicBezTo>
                <a:close/>
                <a:moveTo>
                  <a:pt x="598790" y="4327309"/>
                </a:moveTo>
                <a:cubicBezTo>
                  <a:pt x="601888" y="4327722"/>
                  <a:pt x="604986" y="4329684"/>
                  <a:pt x="607464" y="4334124"/>
                </a:cubicBezTo>
                <a:cubicBezTo>
                  <a:pt x="600029" y="4339597"/>
                  <a:pt x="600649" y="4345999"/>
                  <a:pt x="592439" y="4347650"/>
                </a:cubicBezTo>
                <a:cubicBezTo>
                  <a:pt x="581132" y="4339700"/>
                  <a:pt x="589651" y="4326173"/>
                  <a:pt x="598790" y="4327309"/>
                </a:cubicBezTo>
                <a:close/>
                <a:moveTo>
                  <a:pt x="5550350" y="4326295"/>
                </a:moveTo>
                <a:cubicBezTo>
                  <a:pt x="5553603" y="4334452"/>
                  <a:pt x="5547098" y="4344674"/>
                  <a:pt x="5542451" y="4348804"/>
                </a:cubicBezTo>
                <a:cubicBezTo>
                  <a:pt x="5539353" y="4340750"/>
                  <a:pt x="5544774" y="4329186"/>
                  <a:pt x="5550350" y="4326295"/>
                </a:cubicBezTo>
                <a:close/>
                <a:moveTo>
                  <a:pt x="5483590" y="4325881"/>
                </a:moveTo>
                <a:cubicBezTo>
                  <a:pt x="5483590" y="4325881"/>
                  <a:pt x="5483590" y="4325881"/>
                  <a:pt x="5484365" y="4325881"/>
                </a:cubicBezTo>
                <a:cubicBezTo>
                  <a:pt x="5483280" y="4329392"/>
                  <a:pt x="5483590" y="4333832"/>
                  <a:pt x="5481731" y="4336413"/>
                </a:cubicBezTo>
                <a:cubicBezTo>
                  <a:pt x="5481267" y="4336930"/>
                  <a:pt x="5480802" y="4337343"/>
                  <a:pt x="5480182" y="4337446"/>
                </a:cubicBezTo>
                <a:cubicBezTo>
                  <a:pt x="5479718" y="4337549"/>
                  <a:pt x="5479098" y="4337240"/>
                  <a:pt x="5478324" y="4336413"/>
                </a:cubicBezTo>
                <a:cubicBezTo>
                  <a:pt x="5477549" y="4335897"/>
                  <a:pt x="5477239" y="4335484"/>
                  <a:pt x="5477239" y="4334865"/>
                </a:cubicBezTo>
                <a:cubicBezTo>
                  <a:pt x="5477394" y="4334142"/>
                  <a:pt x="5477859" y="4333316"/>
                  <a:pt x="5478788" y="4331973"/>
                </a:cubicBezTo>
                <a:cubicBezTo>
                  <a:pt x="5480647" y="4330321"/>
                  <a:pt x="5481731" y="4328463"/>
                  <a:pt x="5482506" y="4328566"/>
                </a:cubicBezTo>
                <a:cubicBezTo>
                  <a:pt x="5482661" y="4327637"/>
                  <a:pt x="5483435" y="4326707"/>
                  <a:pt x="5483590" y="4325881"/>
                </a:cubicBezTo>
                <a:close/>
                <a:moveTo>
                  <a:pt x="5715470" y="4325572"/>
                </a:moveTo>
                <a:cubicBezTo>
                  <a:pt x="5720117" y="4331664"/>
                  <a:pt x="5712527" y="4339614"/>
                  <a:pt x="5706021" y="4343848"/>
                </a:cubicBezTo>
                <a:lnTo>
                  <a:pt x="5704162" y="4344777"/>
                </a:lnTo>
                <a:lnTo>
                  <a:pt x="5704317" y="4345191"/>
                </a:lnTo>
                <a:cubicBezTo>
                  <a:pt x="5703233" y="4346946"/>
                  <a:pt x="5701374" y="4347049"/>
                  <a:pt x="5699515" y="4347256"/>
                </a:cubicBezTo>
                <a:cubicBezTo>
                  <a:pt x="5698122" y="4347152"/>
                  <a:pt x="5697192" y="4346636"/>
                  <a:pt x="5697037" y="4345810"/>
                </a:cubicBezTo>
                <a:cubicBezTo>
                  <a:pt x="5696727" y="4344984"/>
                  <a:pt x="5696883" y="4343951"/>
                  <a:pt x="5697192" y="4342712"/>
                </a:cubicBezTo>
                <a:cubicBezTo>
                  <a:pt x="5697967" y="4340337"/>
                  <a:pt x="5699825" y="4340131"/>
                  <a:pt x="5699825" y="4340131"/>
                </a:cubicBezTo>
                <a:lnTo>
                  <a:pt x="5703078" y="4341473"/>
                </a:lnTo>
                <a:lnTo>
                  <a:pt x="5706641" y="4334762"/>
                </a:lnTo>
                <a:cubicBezTo>
                  <a:pt x="5709119" y="4330735"/>
                  <a:pt x="5712062" y="4327224"/>
                  <a:pt x="5715470" y="4325572"/>
                </a:cubicBezTo>
                <a:close/>
                <a:moveTo>
                  <a:pt x="5082873" y="4324023"/>
                </a:moveTo>
                <a:cubicBezTo>
                  <a:pt x="5083493" y="4324849"/>
                  <a:pt x="5084268" y="4324849"/>
                  <a:pt x="5083338" y="4326604"/>
                </a:cubicBezTo>
                <a:cubicBezTo>
                  <a:pt x="5083183" y="4327430"/>
                  <a:pt x="5082254" y="4328256"/>
                  <a:pt x="5082254" y="4329186"/>
                </a:cubicBezTo>
                <a:cubicBezTo>
                  <a:pt x="5082254" y="4329186"/>
                  <a:pt x="5081634" y="4329392"/>
                  <a:pt x="5080860" y="4329496"/>
                </a:cubicBezTo>
                <a:cubicBezTo>
                  <a:pt x="5080085" y="4329599"/>
                  <a:pt x="5079311" y="4329599"/>
                  <a:pt x="5079001" y="4329186"/>
                </a:cubicBezTo>
                <a:cubicBezTo>
                  <a:pt x="5078536" y="4328979"/>
                  <a:pt x="5078381" y="4328566"/>
                  <a:pt x="5078381" y="4328153"/>
                </a:cubicBezTo>
                <a:cubicBezTo>
                  <a:pt x="5078536" y="4327017"/>
                  <a:pt x="5080085" y="4325468"/>
                  <a:pt x="5080240" y="4324745"/>
                </a:cubicBezTo>
                <a:cubicBezTo>
                  <a:pt x="5081169" y="4323920"/>
                  <a:pt x="5082099" y="4323094"/>
                  <a:pt x="5082873" y="4324023"/>
                </a:cubicBezTo>
                <a:close/>
                <a:moveTo>
                  <a:pt x="1435695" y="4323902"/>
                </a:moveTo>
                <a:cubicBezTo>
                  <a:pt x="1439258" y="4326277"/>
                  <a:pt x="1440961" y="4334227"/>
                  <a:pt x="1435385" y="4335363"/>
                </a:cubicBezTo>
                <a:cubicBezTo>
                  <a:pt x="1432752" y="4334640"/>
                  <a:pt x="1430119" y="4333917"/>
                  <a:pt x="1428414" y="4329787"/>
                </a:cubicBezTo>
                <a:cubicBezTo>
                  <a:pt x="1429189" y="4326483"/>
                  <a:pt x="1431203" y="4324831"/>
                  <a:pt x="1435695" y="4323902"/>
                </a:cubicBezTo>
                <a:close/>
                <a:moveTo>
                  <a:pt x="1395267" y="4323282"/>
                </a:moveTo>
                <a:cubicBezTo>
                  <a:pt x="1397436" y="4322663"/>
                  <a:pt x="1400069" y="4323179"/>
                  <a:pt x="1400379" y="4324315"/>
                </a:cubicBezTo>
                <a:cubicBezTo>
                  <a:pt x="1400998" y="4326070"/>
                  <a:pt x="1401618" y="4327929"/>
                  <a:pt x="1400533" y="4329065"/>
                </a:cubicBezTo>
                <a:cubicBezTo>
                  <a:pt x="1400224" y="4329477"/>
                  <a:pt x="1399604" y="4329787"/>
                  <a:pt x="1398675" y="4330097"/>
                </a:cubicBezTo>
                <a:cubicBezTo>
                  <a:pt x="1398675" y="4330097"/>
                  <a:pt x="1398675" y="4330097"/>
                  <a:pt x="1397900" y="4329581"/>
                </a:cubicBezTo>
                <a:cubicBezTo>
                  <a:pt x="1396506" y="4328755"/>
                  <a:pt x="1395732" y="4328342"/>
                  <a:pt x="1394957" y="4327826"/>
                </a:cubicBezTo>
                <a:cubicBezTo>
                  <a:pt x="1394647" y="4326690"/>
                  <a:pt x="1394028" y="4323592"/>
                  <a:pt x="1395267" y="4323282"/>
                </a:cubicBezTo>
                <a:close/>
                <a:moveTo>
                  <a:pt x="1366611" y="4322869"/>
                </a:moveTo>
                <a:cubicBezTo>
                  <a:pt x="1368780" y="4323902"/>
                  <a:pt x="1371723" y="4328548"/>
                  <a:pt x="1370483" y="4332885"/>
                </a:cubicBezTo>
                <a:cubicBezTo>
                  <a:pt x="1369244" y="4333505"/>
                  <a:pt x="1368005" y="4333814"/>
                  <a:pt x="1367076" y="4333917"/>
                </a:cubicBezTo>
                <a:cubicBezTo>
                  <a:pt x="1366147" y="4333917"/>
                  <a:pt x="1365372" y="4333711"/>
                  <a:pt x="1364753" y="4333195"/>
                </a:cubicBezTo>
                <a:cubicBezTo>
                  <a:pt x="1363358" y="4332266"/>
                  <a:pt x="1362584" y="4330407"/>
                  <a:pt x="1362119" y="4327722"/>
                </a:cubicBezTo>
                <a:cubicBezTo>
                  <a:pt x="1363668" y="4326483"/>
                  <a:pt x="1364598" y="4324831"/>
                  <a:pt x="1366611" y="4322869"/>
                </a:cubicBezTo>
                <a:close/>
                <a:moveTo>
                  <a:pt x="1192508" y="4322559"/>
                </a:moveTo>
                <a:cubicBezTo>
                  <a:pt x="1191888" y="4327412"/>
                  <a:pt x="1189255" y="4329787"/>
                  <a:pt x="1184918" y="4331543"/>
                </a:cubicBezTo>
                <a:cubicBezTo>
                  <a:pt x="1183988" y="4330304"/>
                  <a:pt x="1184453" y="4326690"/>
                  <a:pt x="1184763" y="4324315"/>
                </a:cubicBezTo>
                <a:cubicBezTo>
                  <a:pt x="1186777" y="4322456"/>
                  <a:pt x="1189720" y="4321837"/>
                  <a:pt x="1192508" y="4322559"/>
                </a:cubicBezTo>
                <a:close/>
                <a:moveTo>
                  <a:pt x="5774950" y="4321545"/>
                </a:moveTo>
                <a:cubicBezTo>
                  <a:pt x="5777738" y="4320512"/>
                  <a:pt x="5783004" y="4323094"/>
                  <a:pt x="5783470" y="4326501"/>
                </a:cubicBezTo>
                <a:cubicBezTo>
                  <a:pt x="5783624" y="4327637"/>
                  <a:pt x="5783315" y="4328876"/>
                  <a:pt x="5782075" y="4330115"/>
                </a:cubicBezTo>
                <a:cubicBezTo>
                  <a:pt x="5780991" y="4330838"/>
                  <a:pt x="5780062" y="4331251"/>
                  <a:pt x="5779287" y="4331354"/>
                </a:cubicBezTo>
                <a:cubicBezTo>
                  <a:pt x="5776654" y="4331664"/>
                  <a:pt x="5774485" y="4329392"/>
                  <a:pt x="5772472" y="4326604"/>
                </a:cubicBezTo>
                <a:cubicBezTo>
                  <a:pt x="5773556" y="4324952"/>
                  <a:pt x="5773866" y="4323197"/>
                  <a:pt x="5774950" y="4321545"/>
                </a:cubicBezTo>
                <a:close/>
                <a:moveTo>
                  <a:pt x="5726158" y="4320512"/>
                </a:moveTo>
                <a:cubicBezTo>
                  <a:pt x="5727861" y="4319686"/>
                  <a:pt x="5730650" y="4317931"/>
                  <a:pt x="5733903" y="4320615"/>
                </a:cubicBezTo>
                <a:cubicBezTo>
                  <a:pt x="5734677" y="4321545"/>
                  <a:pt x="5734677" y="4321545"/>
                  <a:pt x="5734522" y="4322474"/>
                </a:cubicBezTo>
                <a:cubicBezTo>
                  <a:pt x="5735142" y="4324229"/>
                  <a:pt x="5736071" y="4325055"/>
                  <a:pt x="5734987" y="4326811"/>
                </a:cubicBezTo>
                <a:cubicBezTo>
                  <a:pt x="5733903" y="4328153"/>
                  <a:pt x="5733128" y="4328566"/>
                  <a:pt x="5732199" y="4328463"/>
                </a:cubicBezTo>
                <a:cubicBezTo>
                  <a:pt x="5731115" y="4328360"/>
                  <a:pt x="5730185" y="4327637"/>
                  <a:pt x="5728946" y="4326707"/>
                </a:cubicBezTo>
                <a:cubicBezTo>
                  <a:pt x="5727707" y="4325778"/>
                  <a:pt x="5727397" y="4324745"/>
                  <a:pt x="5727242" y="4323610"/>
                </a:cubicBezTo>
                <a:cubicBezTo>
                  <a:pt x="5727087" y="4322474"/>
                  <a:pt x="5726932" y="4321441"/>
                  <a:pt x="5726158" y="4320512"/>
                </a:cubicBezTo>
                <a:close/>
                <a:moveTo>
                  <a:pt x="5507599" y="4319273"/>
                </a:moveTo>
                <a:cubicBezTo>
                  <a:pt x="5507599" y="4319273"/>
                  <a:pt x="5507754" y="4320512"/>
                  <a:pt x="5508529" y="4320925"/>
                </a:cubicBezTo>
                <a:cubicBezTo>
                  <a:pt x="5508529" y="4320925"/>
                  <a:pt x="5508683" y="4322061"/>
                  <a:pt x="5508838" y="4323197"/>
                </a:cubicBezTo>
                <a:cubicBezTo>
                  <a:pt x="5508838" y="4323197"/>
                  <a:pt x="5509613" y="4323610"/>
                  <a:pt x="5510233" y="4324023"/>
                </a:cubicBezTo>
                <a:cubicBezTo>
                  <a:pt x="5511317" y="4326811"/>
                  <a:pt x="5512246" y="4328463"/>
                  <a:pt x="5509613" y="4330941"/>
                </a:cubicBezTo>
                <a:cubicBezTo>
                  <a:pt x="5509303" y="4330735"/>
                  <a:pt x="5508993" y="4330115"/>
                  <a:pt x="5508838" y="4329289"/>
                </a:cubicBezTo>
                <a:cubicBezTo>
                  <a:pt x="5508683" y="4328463"/>
                  <a:pt x="5508529" y="4327637"/>
                  <a:pt x="5508374" y="4327017"/>
                </a:cubicBezTo>
                <a:cubicBezTo>
                  <a:pt x="5507754" y="4326604"/>
                  <a:pt x="5507444" y="4325468"/>
                  <a:pt x="5507909" y="4324745"/>
                </a:cubicBezTo>
                <a:cubicBezTo>
                  <a:pt x="5507909" y="4324745"/>
                  <a:pt x="5507754" y="4323506"/>
                  <a:pt x="5507134" y="4323094"/>
                </a:cubicBezTo>
                <a:cubicBezTo>
                  <a:pt x="5506670" y="4320719"/>
                  <a:pt x="5507134" y="4319996"/>
                  <a:pt x="5507599" y="4319273"/>
                </a:cubicBezTo>
                <a:close/>
                <a:moveTo>
                  <a:pt x="5792763" y="4315659"/>
                </a:moveTo>
                <a:cubicBezTo>
                  <a:pt x="5797410" y="4319376"/>
                  <a:pt x="5798494" y="4324023"/>
                  <a:pt x="5799424" y="4328669"/>
                </a:cubicBezTo>
                <a:cubicBezTo>
                  <a:pt x="5797875" y="4331044"/>
                  <a:pt x="5796481" y="4331973"/>
                  <a:pt x="5795241" y="4332077"/>
                </a:cubicBezTo>
                <a:cubicBezTo>
                  <a:pt x="5791524" y="4332283"/>
                  <a:pt x="5788891" y="4324229"/>
                  <a:pt x="5786258" y="4320306"/>
                </a:cubicBezTo>
                <a:cubicBezTo>
                  <a:pt x="5788271" y="4317208"/>
                  <a:pt x="5789355" y="4316588"/>
                  <a:pt x="5792763" y="4315659"/>
                </a:cubicBezTo>
                <a:close/>
                <a:moveTo>
                  <a:pt x="636585" y="4314609"/>
                </a:moveTo>
                <a:cubicBezTo>
                  <a:pt x="636275" y="4315848"/>
                  <a:pt x="643091" y="4317500"/>
                  <a:pt x="643091" y="4321424"/>
                </a:cubicBezTo>
                <a:cubicBezTo>
                  <a:pt x="643091" y="4323385"/>
                  <a:pt x="642781" y="4324625"/>
                  <a:pt x="642781" y="4326586"/>
                </a:cubicBezTo>
                <a:cubicBezTo>
                  <a:pt x="640612" y="4327929"/>
                  <a:pt x="639528" y="4331543"/>
                  <a:pt x="633487" y="4331336"/>
                </a:cubicBezTo>
                <a:cubicBezTo>
                  <a:pt x="627136" y="4330407"/>
                  <a:pt x="628530" y="4323592"/>
                  <a:pt x="627756" y="4324108"/>
                </a:cubicBezTo>
                <a:cubicBezTo>
                  <a:pt x="626671" y="4323799"/>
                  <a:pt x="626671" y="4323799"/>
                  <a:pt x="625897" y="4324315"/>
                </a:cubicBezTo>
                <a:cubicBezTo>
                  <a:pt x="625587" y="4323489"/>
                  <a:pt x="624038" y="4322456"/>
                  <a:pt x="622954" y="4322249"/>
                </a:cubicBezTo>
                <a:cubicBezTo>
                  <a:pt x="623729" y="4321733"/>
                  <a:pt x="624503" y="4321217"/>
                  <a:pt x="624038" y="4320494"/>
                </a:cubicBezTo>
                <a:cubicBezTo>
                  <a:pt x="626362" y="4321114"/>
                  <a:pt x="626671" y="4321837"/>
                  <a:pt x="627756" y="4322146"/>
                </a:cubicBezTo>
                <a:cubicBezTo>
                  <a:pt x="627446" y="4321424"/>
                  <a:pt x="628530" y="4321630"/>
                  <a:pt x="628530" y="4321630"/>
                </a:cubicBezTo>
                <a:cubicBezTo>
                  <a:pt x="628530" y="4321630"/>
                  <a:pt x="628530" y="4321630"/>
                  <a:pt x="629305" y="4319255"/>
                </a:cubicBezTo>
                <a:cubicBezTo>
                  <a:pt x="629305" y="4319255"/>
                  <a:pt x="631318" y="4313989"/>
                  <a:pt x="636585" y="4314609"/>
                </a:cubicBezTo>
                <a:close/>
                <a:moveTo>
                  <a:pt x="1225965" y="4314505"/>
                </a:moveTo>
                <a:cubicBezTo>
                  <a:pt x="1226430" y="4314609"/>
                  <a:pt x="1226895" y="4314815"/>
                  <a:pt x="1227359" y="4315125"/>
                </a:cubicBezTo>
                <a:cubicBezTo>
                  <a:pt x="1228443" y="4315641"/>
                  <a:pt x="1229528" y="4316158"/>
                  <a:pt x="1230612" y="4316674"/>
                </a:cubicBezTo>
                <a:cubicBezTo>
                  <a:pt x="1230612" y="4316674"/>
                  <a:pt x="1230457" y="4316777"/>
                  <a:pt x="1224726" y="4315228"/>
                </a:cubicBezTo>
                <a:cubicBezTo>
                  <a:pt x="1225036" y="4314712"/>
                  <a:pt x="1225345" y="4314505"/>
                  <a:pt x="1225965" y="4314505"/>
                </a:cubicBezTo>
                <a:close/>
                <a:moveTo>
                  <a:pt x="5470579" y="4314420"/>
                </a:moveTo>
                <a:lnTo>
                  <a:pt x="5471354" y="4315762"/>
                </a:lnTo>
                <a:lnTo>
                  <a:pt x="5474451" y="4316278"/>
                </a:lnTo>
                <a:cubicBezTo>
                  <a:pt x="5476310" y="4315453"/>
                  <a:pt x="5477239" y="4313801"/>
                  <a:pt x="5478943" y="4314627"/>
                </a:cubicBezTo>
                <a:cubicBezTo>
                  <a:pt x="5476155" y="4316278"/>
                  <a:pt x="5475226" y="4317105"/>
                  <a:pt x="5473522" y="4317931"/>
                </a:cubicBezTo>
                <a:lnTo>
                  <a:pt x="5473057" y="4319067"/>
                </a:lnTo>
                <a:lnTo>
                  <a:pt x="5473057" y="4319273"/>
                </a:lnTo>
                <a:lnTo>
                  <a:pt x="5472747" y="4319583"/>
                </a:lnTo>
                <a:lnTo>
                  <a:pt x="5472438" y="4320512"/>
                </a:lnTo>
                <a:lnTo>
                  <a:pt x="5471973" y="4320615"/>
                </a:lnTo>
                <a:lnTo>
                  <a:pt x="5470889" y="4322784"/>
                </a:lnTo>
                <a:cubicBezTo>
                  <a:pt x="5470114" y="4324642"/>
                  <a:pt x="5469340" y="4326501"/>
                  <a:pt x="5469340" y="4326501"/>
                </a:cubicBezTo>
                <a:cubicBezTo>
                  <a:pt x="5468255" y="4326811"/>
                  <a:pt x="5467636" y="4327017"/>
                  <a:pt x="5467171" y="4326811"/>
                </a:cubicBezTo>
                <a:cubicBezTo>
                  <a:pt x="5466861" y="4326501"/>
                  <a:pt x="5466552" y="4325881"/>
                  <a:pt x="5466087" y="4324436"/>
                </a:cubicBezTo>
                <a:lnTo>
                  <a:pt x="5466707" y="4321132"/>
                </a:lnTo>
                <a:lnTo>
                  <a:pt x="5466397" y="4320306"/>
                </a:lnTo>
                <a:cubicBezTo>
                  <a:pt x="5466397" y="4319583"/>
                  <a:pt x="5466707" y="4318757"/>
                  <a:pt x="5467636" y="4317828"/>
                </a:cubicBezTo>
                <a:lnTo>
                  <a:pt x="5468565" y="4317311"/>
                </a:lnTo>
                <a:close/>
                <a:moveTo>
                  <a:pt x="1247186" y="4313576"/>
                </a:moveTo>
                <a:cubicBezTo>
                  <a:pt x="1251833" y="4316364"/>
                  <a:pt x="1256480" y="4318326"/>
                  <a:pt x="1261127" y="4320288"/>
                </a:cubicBezTo>
                <a:lnTo>
                  <a:pt x="1266703" y="4322972"/>
                </a:lnTo>
                <a:lnTo>
                  <a:pt x="1269027" y="4319359"/>
                </a:lnTo>
                <a:cubicBezTo>
                  <a:pt x="1270576" y="4320288"/>
                  <a:pt x="1271195" y="4321114"/>
                  <a:pt x="1271195" y="4322249"/>
                </a:cubicBezTo>
                <a:lnTo>
                  <a:pt x="1270111" y="4324625"/>
                </a:lnTo>
                <a:lnTo>
                  <a:pt x="1275222" y="4327000"/>
                </a:lnTo>
                <a:lnTo>
                  <a:pt x="1275533" y="4328342"/>
                </a:lnTo>
                <a:lnTo>
                  <a:pt x="1277856" y="4325347"/>
                </a:lnTo>
                <a:lnTo>
                  <a:pt x="1278475" y="4325450"/>
                </a:lnTo>
                <a:lnTo>
                  <a:pt x="1278321" y="4325244"/>
                </a:lnTo>
                <a:cubicBezTo>
                  <a:pt x="1278011" y="4324211"/>
                  <a:pt x="1278166" y="4323076"/>
                  <a:pt x="1279249" y="4321630"/>
                </a:cubicBezTo>
                <a:cubicBezTo>
                  <a:pt x="1279714" y="4320804"/>
                  <a:pt x="1280644" y="4320494"/>
                  <a:pt x="1281573" y="4320494"/>
                </a:cubicBezTo>
                <a:cubicBezTo>
                  <a:pt x="1284516" y="4320701"/>
                  <a:pt x="1288389" y="4324211"/>
                  <a:pt x="1286530" y="4327515"/>
                </a:cubicBezTo>
                <a:lnTo>
                  <a:pt x="1286375" y="4327515"/>
                </a:lnTo>
                <a:lnTo>
                  <a:pt x="1287304" y="4327826"/>
                </a:lnTo>
                <a:cubicBezTo>
                  <a:pt x="1287304" y="4327826"/>
                  <a:pt x="1288543" y="4329168"/>
                  <a:pt x="1288543" y="4331646"/>
                </a:cubicBezTo>
                <a:cubicBezTo>
                  <a:pt x="1291177" y="4335467"/>
                  <a:pt x="1287304" y="4339287"/>
                  <a:pt x="1287304" y="4339287"/>
                </a:cubicBezTo>
                <a:cubicBezTo>
                  <a:pt x="1287304" y="4339287"/>
                  <a:pt x="1287149" y="4339287"/>
                  <a:pt x="1288543" y="4339287"/>
                </a:cubicBezTo>
                <a:cubicBezTo>
                  <a:pt x="1287149" y="4339287"/>
                  <a:pt x="1285910" y="4339597"/>
                  <a:pt x="1284516" y="4339906"/>
                </a:cubicBezTo>
                <a:lnTo>
                  <a:pt x="1281573" y="4340423"/>
                </a:lnTo>
                <a:lnTo>
                  <a:pt x="1280489" y="4341662"/>
                </a:lnTo>
                <a:lnTo>
                  <a:pt x="1282348" y="4345173"/>
                </a:lnTo>
                <a:cubicBezTo>
                  <a:pt x="1285135" y="4351368"/>
                  <a:pt x="1287304" y="4357563"/>
                  <a:pt x="1284826" y="4363552"/>
                </a:cubicBezTo>
                <a:lnTo>
                  <a:pt x="1284361" y="4363965"/>
                </a:lnTo>
                <a:lnTo>
                  <a:pt x="1281263" y="4368818"/>
                </a:lnTo>
                <a:lnTo>
                  <a:pt x="1277856" y="4370057"/>
                </a:lnTo>
                <a:lnTo>
                  <a:pt x="1276771" y="4371709"/>
                </a:lnTo>
                <a:cubicBezTo>
                  <a:pt x="1275377" y="4374497"/>
                  <a:pt x="1274448" y="4377388"/>
                  <a:pt x="1272434" y="4379970"/>
                </a:cubicBezTo>
                <a:cubicBezTo>
                  <a:pt x="1269181" y="4381209"/>
                  <a:pt x="1265309" y="4382241"/>
                  <a:pt x="1261436" y="4382861"/>
                </a:cubicBezTo>
                <a:lnTo>
                  <a:pt x="1258493" y="4382964"/>
                </a:lnTo>
                <a:lnTo>
                  <a:pt x="1262521" y="4384823"/>
                </a:lnTo>
                <a:cubicBezTo>
                  <a:pt x="1263760" y="4385855"/>
                  <a:pt x="1264689" y="4387095"/>
                  <a:pt x="1265154" y="4388334"/>
                </a:cubicBezTo>
                <a:lnTo>
                  <a:pt x="1265309" y="4390812"/>
                </a:lnTo>
                <a:lnTo>
                  <a:pt x="1266084" y="4391741"/>
                </a:lnTo>
                <a:cubicBezTo>
                  <a:pt x="1267787" y="4394529"/>
                  <a:pt x="1268872" y="4397627"/>
                  <a:pt x="1268407" y="4400414"/>
                </a:cubicBezTo>
                <a:lnTo>
                  <a:pt x="1266084" y="4404751"/>
                </a:lnTo>
                <a:lnTo>
                  <a:pt x="1266393" y="4405165"/>
                </a:lnTo>
                <a:cubicBezTo>
                  <a:pt x="1265464" y="4407539"/>
                  <a:pt x="1263295" y="4409398"/>
                  <a:pt x="1262211" y="4409088"/>
                </a:cubicBezTo>
                <a:cubicBezTo>
                  <a:pt x="1260662" y="4408469"/>
                  <a:pt x="1259113" y="4407849"/>
                  <a:pt x="1258958" y="4406094"/>
                </a:cubicBezTo>
                <a:cubicBezTo>
                  <a:pt x="1258958" y="4405577"/>
                  <a:pt x="1259113" y="4404855"/>
                  <a:pt x="1259423" y="4404029"/>
                </a:cubicBezTo>
                <a:cubicBezTo>
                  <a:pt x="1259423" y="4404029"/>
                  <a:pt x="1259423" y="4404029"/>
                  <a:pt x="1260197" y="4403615"/>
                </a:cubicBezTo>
                <a:lnTo>
                  <a:pt x="1261591" y="4402893"/>
                </a:lnTo>
                <a:lnTo>
                  <a:pt x="1257874" y="4400828"/>
                </a:lnTo>
                <a:lnTo>
                  <a:pt x="1255551" y="4401447"/>
                </a:lnTo>
                <a:cubicBezTo>
                  <a:pt x="1253382" y="4401447"/>
                  <a:pt x="1250904" y="4400621"/>
                  <a:pt x="1248735" y="4398659"/>
                </a:cubicBezTo>
                <a:cubicBezTo>
                  <a:pt x="1248425" y="4397420"/>
                  <a:pt x="1248580" y="4395871"/>
                  <a:pt x="1249045" y="4394322"/>
                </a:cubicBezTo>
                <a:lnTo>
                  <a:pt x="1250129" y="4392154"/>
                </a:lnTo>
                <a:lnTo>
                  <a:pt x="1248116" y="4388437"/>
                </a:lnTo>
                <a:cubicBezTo>
                  <a:pt x="1249355" y="4385752"/>
                  <a:pt x="1251213" y="4384307"/>
                  <a:pt x="1253072" y="4383894"/>
                </a:cubicBezTo>
                <a:lnTo>
                  <a:pt x="1255396" y="4384307"/>
                </a:lnTo>
                <a:lnTo>
                  <a:pt x="1256790" y="4383068"/>
                </a:lnTo>
                <a:lnTo>
                  <a:pt x="1249200" y="4383377"/>
                </a:lnTo>
                <a:cubicBezTo>
                  <a:pt x="1245172" y="4383068"/>
                  <a:pt x="1240990" y="4382241"/>
                  <a:pt x="1237118" y="4380693"/>
                </a:cubicBezTo>
                <a:lnTo>
                  <a:pt x="1228289" y="4374807"/>
                </a:lnTo>
                <a:lnTo>
                  <a:pt x="1229218" y="4376459"/>
                </a:lnTo>
                <a:cubicBezTo>
                  <a:pt x="1230767" y="4378628"/>
                  <a:pt x="1232006" y="4381312"/>
                  <a:pt x="1230612" y="4385546"/>
                </a:cubicBezTo>
                <a:cubicBezTo>
                  <a:pt x="1228443" y="4384616"/>
                  <a:pt x="1225501" y="4389470"/>
                  <a:pt x="1222402" y="4388024"/>
                </a:cubicBezTo>
                <a:cubicBezTo>
                  <a:pt x="1214813" y="4385546"/>
                  <a:pt x="1213419" y="4383171"/>
                  <a:pt x="1213574" y="4379350"/>
                </a:cubicBezTo>
                <a:lnTo>
                  <a:pt x="1213574" y="4378008"/>
                </a:lnTo>
                <a:lnTo>
                  <a:pt x="1213264" y="4378111"/>
                </a:lnTo>
                <a:lnTo>
                  <a:pt x="1211560" y="4378214"/>
                </a:lnTo>
                <a:lnTo>
                  <a:pt x="1212644" y="4379144"/>
                </a:lnTo>
                <a:lnTo>
                  <a:pt x="1210321" y="4380693"/>
                </a:lnTo>
                <a:lnTo>
                  <a:pt x="1208307" y="4382861"/>
                </a:lnTo>
                <a:lnTo>
                  <a:pt x="1206913" y="4383068"/>
                </a:lnTo>
                <a:lnTo>
                  <a:pt x="1201646" y="4386785"/>
                </a:lnTo>
                <a:lnTo>
                  <a:pt x="1198084" y="4387714"/>
                </a:lnTo>
                <a:lnTo>
                  <a:pt x="1198084" y="4387817"/>
                </a:lnTo>
                <a:cubicBezTo>
                  <a:pt x="1198703" y="4389160"/>
                  <a:pt x="1199169" y="4390708"/>
                  <a:pt x="1199323" y="4392567"/>
                </a:cubicBezTo>
                <a:cubicBezTo>
                  <a:pt x="1198239" y="4392361"/>
                  <a:pt x="1198084" y="4393600"/>
                  <a:pt x="1198084" y="4394736"/>
                </a:cubicBezTo>
                <a:cubicBezTo>
                  <a:pt x="1196535" y="4395768"/>
                  <a:pt x="1194676" y="4395768"/>
                  <a:pt x="1192818" y="4395252"/>
                </a:cubicBezTo>
                <a:cubicBezTo>
                  <a:pt x="1190959" y="4394839"/>
                  <a:pt x="1188945" y="4393703"/>
                  <a:pt x="1187396" y="4392361"/>
                </a:cubicBezTo>
                <a:lnTo>
                  <a:pt x="1184918" y="4389056"/>
                </a:lnTo>
                <a:lnTo>
                  <a:pt x="1183059" y="4388953"/>
                </a:lnTo>
                <a:lnTo>
                  <a:pt x="1183833" y="4385959"/>
                </a:lnTo>
                <a:lnTo>
                  <a:pt x="1183988" y="4383274"/>
                </a:lnTo>
                <a:cubicBezTo>
                  <a:pt x="1184453" y="4382551"/>
                  <a:pt x="1185383" y="4381932"/>
                  <a:pt x="1186466" y="4381519"/>
                </a:cubicBezTo>
                <a:lnTo>
                  <a:pt x="1187396" y="4381829"/>
                </a:lnTo>
                <a:lnTo>
                  <a:pt x="1190959" y="4380279"/>
                </a:lnTo>
                <a:lnTo>
                  <a:pt x="1191578" y="4378834"/>
                </a:lnTo>
                <a:lnTo>
                  <a:pt x="1190340" y="4376046"/>
                </a:lnTo>
                <a:lnTo>
                  <a:pt x="1188945" y="4374601"/>
                </a:lnTo>
                <a:lnTo>
                  <a:pt x="1186932" y="4375117"/>
                </a:lnTo>
                <a:cubicBezTo>
                  <a:pt x="1184143" y="4374394"/>
                  <a:pt x="1181975" y="4376149"/>
                  <a:pt x="1179187" y="4375530"/>
                </a:cubicBezTo>
                <a:cubicBezTo>
                  <a:pt x="1179187" y="4375530"/>
                  <a:pt x="1179187" y="4375530"/>
                  <a:pt x="1179651" y="4374291"/>
                </a:cubicBezTo>
                <a:cubicBezTo>
                  <a:pt x="1181975" y="4374394"/>
                  <a:pt x="1183833" y="4373568"/>
                  <a:pt x="1185847" y="4372845"/>
                </a:cubicBezTo>
                <a:lnTo>
                  <a:pt x="1187087" y="4372742"/>
                </a:lnTo>
                <a:lnTo>
                  <a:pt x="1185538" y="4371193"/>
                </a:lnTo>
                <a:cubicBezTo>
                  <a:pt x="1182285" y="4368096"/>
                  <a:pt x="1178722" y="4365204"/>
                  <a:pt x="1177173" y="4360454"/>
                </a:cubicBezTo>
                <a:lnTo>
                  <a:pt x="1176398" y="4356428"/>
                </a:lnTo>
                <a:lnTo>
                  <a:pt x="1173301" y="4359112"/>
                </a:lnTo>
                <a:cubicBezTo>
                  <a:pt x="1172216" y="4360145"/>
                  <a:pt x="1171132" y="4360971"/>
                  <a:pt x="1170203" y="4361900"/>
                </a:cubicBezTo>
                <a:lnTo>
                  <a:pt x="1164472" y="4366546"/>
                </a:lnTo>
                <a:lnTo>
                  <a:pt x="1163542" y="4369025"/>
                </a:lnTo>
                <a:lnTo>
                  <a:pt x="1162923" y="4369335"/>
                </a:lnTo>
                <a:lnTo>
                  <a:pt x="1163077" y="4370367"/>
                </a:lnTo>
                <a:cubicBezTo>
                  <a:pt x="1163077" y="4370367"/>
                  <a:pt x="1163077" y="4370264"/>
                  <a:pt x="1162303" y="4370574"/>
                </a:cubicBezTo>
                <a:lnTo>
                  <a:pt x="1162458" y="4369747"/>
                </a:lnTo>
                <a:lnTo>
                  <a:pt x="1161374" y="4370470"/>
                </a:lnTo>
                <a:cubicBezTo>
                  <a:pt x="1159205" y="4371090"/>
                  <a:pt x="1156727" y="4369541"/>
                  <a:pt x="1155798" y="4366960"/>
                </a:cubicBezTo>
                <a:cubicBezTo>
                  <a:pt x="1155177" y="4365411"/>
                  <a:pt x="1155177" y="4363552"/>
                  <a:pt x="1155952" y="4361487"/>
                </a:cubicBezTo>
                <a:cubicBezTo>
                  <a:pt x="1157656" y="4360661"/>
                  <a:pt x="1161684" y="4361280"/>
                  <a:pt x="1163852" y="4362726"/>
                </a:cubicBezTo>
                <a:lnTo>
                  <a:pt x="1164007" y="4362933"/>
                </a:lnTo>
                <a:lnTo>
                  <a:pt x="1164162" y="4362829"/>
                </a:lnTo>
                <a:cubicBezTo>
                  <a:pt x="1166020" y="4360041"/>
                  <a:pt x="1170048" y="4356634"/>
                  <a:pt x="1170513" y="4356944"/>
                </a:cubicBezTo>
                <a:cubicBezTo>
                  <a:pt x="1170977" y="4356221"/>
                  <a:pt x="1171752" y="4356634"/>
                  <a:pt x="1172216" y="4355911"/>
                </a:cubicBezTo>
                <a:cubicBezTo>
                  <a:pt x="1172216" y="4355911"/>
                  <a:pt x="1172681" y="4355085"/>
                  <a:pt x="1173920" y="4354775"/>
                </a:cubicBezTo>
                <a:cubicBezTo>
                  <a:pt x="1175004" y="4354466"/>
                  <a:pt x="1176243" y="4354156"/>
                  <a:pt x="1177173" y="4355808"/>
                </a:cubicBezTo>
                <a:lnTo>
                  <a:pt x="1177018" y="4355911"/>
                </a:lnTo>
                <a:lnTo>
                  <a:pt x="1179961" y="4356221"/>
                </a:lnTo>
                <a:cubicBezTo>
                  <a:pt x="1181975" y="4356737"/>
                  <a:pt x="1183988" y="4357976"/>
                  <a:pt x="1186002" y="4359525"/>
                </a:cubicBezTo>
                <a:lnTo>
                  <a:pt x="1190649" y="4364275"/>
                </a:lnTo>
                <a:lnTo>
                  <a:pt x="1191269" y="4364481"/>
                </a:lnTo>
                <a:lnTo>
                  <a:pt x="1194831" y="4367682"/>
                </a:lnTo>
                <a:lnTo>
                  <a:pt x="1194831" y="4367476"/>
                </a:lnTo>
                <a:cubicBezTo>
                  <a:pt x="1195606" y="4364172"/>
                  <a:pt x="1196691" y="4360454"/>
                  <a:pt x="1197154" y="4358906"/>
                </a:cubicBezTo>
                <a:cubicBezTo>
                  <a:pt x="1197929" y="4358596"/>
                  <a:pt x="1198084" y="4358596"/>
                  <a:pt x="1198084" y="4358596"/>
                </a:cubicBezTo>
                <a:cubicBezTo>
                  <a:pt x="1199013" y="4358699"/>
                  <a:pt x="1199323" y="4359215"/>
                  <a:pt x="1199323" y="4360041"/>
                </a:cubicBezTo>
                <a:cubicBezTo>
                  <a:pt x="1199478" y="4360971"/>
                  <a:pt x="1199169" y="4362210"/>
                  <a:pt x="1198703" y="4363862"/>
                </a:cubicBezTo>
                <a:cubicBezTo>
                  <a:pt x="1198239" y="4365411"/>
                  <a:pt x="1197464" y="4367063"/>
                  <a:pt x="1196535" y="4368612"/>
                </a:cubicBezTo>
                <a:lnTo>
                  <a:pt x="1196226" y="4369231"/>
                </a:lnTo>
                <a:lnTo>
                  <a:pt x="1202576" y="4376149"/>
                </a:lnTo>
                <a:lnTo>
                  <a:pt x="1204744" y="4376046"/>
                </a:lnTo>
                <a:lnTo>
                  <a:pt x="1204744" y="4375840"/>
                </a:lnTo>
                <a:cubicBezTo>
                  <a:pt x="1205829" y="4373878"/>
                  <a:pt x="1207377" y="4373052"/>
                  <a:pt x="1209237" y="4372639"/>
                </a:cubicBezTo>
                <a:lnTo>
                  <a:pt x="1212025" y="4372122"/>
                </a:lnTo>
                <a:lnTo>
                  <a:pt x="1211870" y="4372019"/>
                </a:lnTo>
                <a:cubicBezTo>
                  <a:pt x="1211560" y="4371606"/>
                  <a:pt x="1211405" y="4371193"/>
                  <a:pt x="1211560" y="4370367"/>
                </a:cubicBezTo>
                <a:lnTo>
                  <a:pt x="1215123" y="4367063"/>
                </a:lnTo>
                <a:lnTo>
                  <a:pt x="1211715" y="4365720"/>
                </a:lnTo>
                <a:lnTo>
                  <a:pt x="1218840" y="4359525"/>
                </a:lnTo>
                <a:lnTo>
                  <a:pt x="1218221" y="4357667"/>
                </a:lnTo>
                <a:cubicBezTo>
                  <a:pt x="1217136" y="4351987"/>
                  <a:pt x="1216827" y="4345999"/>
                  <a:pt x="1214658" y="4339390"/>
                </a:cubicBezTo>
                <a:cubicBezTo>
                  <a:pt x="1223952" y="4334434"/>
                  <a:pt x="1222248" y="4327929"/>
                  <a:pt x="1223797" y="4322249"/>
                </a:cubicBezTo>
                <a:cubicBezTo>
                  <a:pt x="1231542" y="4322249"/>
                  <a:pt x="1239132" y="4316054"/>
                  <a:pt x="1247186" y="4313576"/>
                </a:cubicBezTo>
                <a:close/>
                <a:moveTo>
                  <a:pt x="5808562" y="4312045"/>
                </a:moveTo>
                <a:cubicBezTo>
                  <a:pt x="5811505" y="4312252"/>
                  <a:pt x="5811661" y="4315349"/>
                  <a:pt x="5812900" y="4318757"/>
                </a:cubicBezTo>
                <a:cubicBezTo>
                  <a:pt x="5811816" y="4318447"/>
                  <a:pt x="5811505" y="4319583"/>
                  <a:pt x="5811351" y="4320822"/>
                </a:cubicBezTo>
                <a:cubicBezTo>
                  <a:pt x="5810421" y="4320512"/>
                  <a:pt x="5809337" y="4320306"/>
                  <a:pt x="5808253" y="4319893"/>
                </a:cubicBezTo>
                <a:lnTo>
                  <a:pt x="5806704" y="4318550"/>
                </a:lnTo>
                <a:lnTo>
                  <a:pt x="5808408" y="4322371"/>
                </a:lnTo>
                <a:cubicBezTo>
                  <a:pt x="5806859" y="4324849"/>
                  <a:pt x="5809492" y="4329289"/>
                  <a:pt x="5807169" y="4332697"/>
                </a:cubicBezTo>
                <a:cubicBezTo>
                  <a:pt x="5801902" y="4328979"/>
                  <a:pt x="5801283" y="4315039"/>
                  <a:pt x="5803761" y="4312562"/>
                </a:cubicBezTo>
                <a:lnTo>
                  <a:pt x="5805774" y="4316485"/>
                </a:lnTo>
                <a:lnTo>
                  <a:pt x="5805619" y="4315039"/>
                </a:lnTo>
                <a:cubicBezTo>
                  <a:pt x="5805155" y="4314317"/>
                  <a:pt x="5807323" y="4311735"/>
                  <a:pt x="5808562" y="4312045"/>
                </a:cubicBezTo>
                <a:close/>
                <a:moveTo>
                  <a:pt x="5393905" y="4310600"/>
                </a:moveTo>
                <a:cubicBezTo>
                  <a:pt x="5396539" y="4308947"/>
                  <a:pt x="5402734" y="4313284"/>
                  <a:pt x="5404903" y="4315866"/>
                </a:cubicBezTo>
                <a:cubicBezTo>
                  <a:pt x="5404283" y="4316278"/>
                  <a:pt x="5403354" y="4316382"/>
                  <a:pt x="5402424" y="4316175"/>
                </a:cubicBezTo>
                <a:cubicBezTo>
                  <a:pt x="5399482" y="4315453"/>
                  <a:pt x="5395609" y="4312562"/>
                  <a:pt x="5393905" y="4310600"/>
                </a:cubicBezTo>
                <a:close/>
                <a:moveTo>
                  <a:pt x="5538423" y="4308947"/>
                </a:moveTo>
                <a:cubicBezTo>
                  <a:pt x="5538423" y="4308947"/>
                  <a:pt x="5538579" y="4310186"/>
                  <a:pt x="5538888" y="4311322"/>
                </a:cubicBezTo>
                <a:cubicBezTo>
                  <a:pt x="5539043" y="4312562"/>
                  <a:pt x="5539043" y="4312562"/>
                  <a:pt x="5540127" y="4312252"/>
                </a:cubicBezTo>
                <a:cubicBezTo>
                  <a:pt x="5540437" y="4313491"/>
                  <a:pt x="5540437" y="4313491"/>
                  <a:pt x="5539353" y="4314936"/>
                </a:cubicBezTo>
                <a:cubicBezTo>
                  <a:pt x="5539198" y="4313801"/>
                  <a:pt x="5537184" y="4309257"/>
                  <a:pt x="5538423" y="4308947"/>
                </a:cubicBezTo>
                <a:close/>
                <a:moveTo>
                  <a:pt x="1074322" y="4308930"/>
                </a:moveTo>
                <a:cubicBezTo>
                  <a:pt x="1074477" y="4313989"/>
                  <a:pt x="1076955" y="4318223"/>
                  <a:pt x="1079124" y="4322249"/>
                </a:cubicBezTo>
                <a:lnTo>
                  <a:pt x="1080363" y="4325347"/>
                </a:lnTo>
                <a:lnTo>
                  <a:pt x="1081757" y="4322249"/>
                </a:lnTo>
                <a:cubicBezTo>
                  <a:pt x="1085939" y="4324831"/>
                  <a:pt x="1087023" y="4328239"/>
                  <a:pt x="1086869" y="4332885"/>
                </a:cubicBezTo>
                <a:cubicBezTo>
                  <a:pt x="1086094" y="4333092"/>
                  <a:pt x="1085010" y="4332678"/>
                  <a:pt x="1083771" y="4332059"/>
                </a:cubicBezTo>
                <a:lnTo>
                  <a:pt x="1081292" y="4330820"/>
                </a:lnTo>
                <a:lnTo>
                  <a:pt x="1081137" y="4334227"/>
                </a:lnTo>
                <a:cubicBezTo>
                  <a:pt x="1080208" y="4332988"/>
                  <a:pt x="1078969" y="4331749"/>
                  <a:pt x="1077729" y="4330407"/>
                </a:cubicBezTo>
                <a:lnTo>
                  <a:pt x="1077110" y="4329891"/>
                </a:lnTo>
                <a:lnTo>
                  <a:pt x="1074941" y="4330820"/>
                </a:lnTo>
                <a:lnTo>
                  <a:pt x="1071224" y="4329891"/>
                </a:lnTo>
                <a:lnTo>
                  <a:pt x="1073392" y="4336293"/>
                </a:lnTo>
                <a:cubicBezTo>
                  <a:pt x="1074012" y="4340526"/>
                  <a:pt x="1073702" y="4345379"/>
                  <a:pt x="1072153" y="4350748"/>
                </a:cubicBezTo>
                <a:cubicBezTo>
                  <a:pt x="1070914" y="4351471"/>
                  <a:pt x="1069675" y="4351884"/>
                  <a:pt x="1068591" y="4351987"/>
                </a:cubicBezTo>
                <a:cubicBezTo>
                  <a:pt x="1065338" y="4352194"/>
                  <a:pt x="1063169" y="4349716"/>
                  <a:pt x="1061930" y="4346308"/>
                </a:cubicBezTo>
                <a:cubicBezTo>
                  <a:pt x="1059917" y="4340423"/>
                  <a:pt x="1060846" y="4331646"/>
                  <a:pt x="1064718" y="4327515"/>
                </a:cubicBezTo>
                <a:lnTo>
                  <a:pt x="1064718" y="4327412"/>
                </a:lnTo>
                <a:lnTo>
                  <a:pt x="1060227" y="4323799"/>
                </a:lnTo>
                <a:cubicBezTo>
                  <a:pt x="1060071" y="4319668"/>
                  <a:pt x="1061311" y="4317087"/>
                  <a:pt x="1063169" y="4315848"/>
                </a:cubicBezTo>
                <a:lnTo>
                  <a:pt x="1068126" y="4314815"/>
                </a:lnTo>
                <a:lnTo>
                  <a:pt x="1068281" y="4314092"/>
                </a:lnTo>
                <a:cubicBezTo>
                  <a:pt x="1069210" y="4312440"/>
                  <a:pt x="1071224" y="4310685"/>
                  <a:pt x="1074322" y="4308930"/>
                </a:cubicBezTo>
                <a:close/>
                <a:moveTo>
                  <a:pt x="1121410" y="4308723"/>
                </a:moveTo>
                <a:cubicBezTo>
                  <a:pt x="1123424" y="4313679"/>
                  <a:pt x="1132408" y="4328032"/>
                  <a:pt x="1125902" y="4331646"/>
                </a:cubicBezTo>
                <a:cubicBezTo>
                  <a:pt x="1124508" y="4329065"/>
                  <a:pt x="1121255" y="4324728"/>
                  <a:pt x="1119552" y="4320288"/>
                </a:cubicBezTo>
                <a:cubicBezTo>
                  <a:pt x="1117693" y="4315951"/>
                  <a:pt x="1117228" y="4311511"/>
                  <a:pt x="1121410" y="4308723"/>
                </a:cubicBezTo>
                <a:close/>
                <a:moveTo>
                  <a:pt x="5730960" y="4307605"/>
                </a:moveTo>
                <a:cubicBezTo>
                  <a:pt x="5732199" y="4307295"/>
                  <a:pt x="5733283" y="4306986"/>
                  <a:pt x="5733593" y="4308225"/>
                </a:cubicBezTo>
                <a:cubicBezTo>
                  <a:pt x="5733593" y="4308225"/>
                  <a:pt x="5732973" y="4308947"/>
                  <a:pt x="5730650" y="4309567"/>
                </a:cubicBezTo>
                <a:cubicBezTo>
                  <a:pt x="5731115" y="4308844"/>
                  <a:pt x="5730495" y="4308431"/>
                  <a:pt x="5730495" y="4308431"/>
                </a:cubicBezTo>
                <a:cubicBezTo>
                  <a:pt x="5730495" y="4308431"/>
                  <a:pt x="5730495" y="4308328"/>
                  <a:pt x="5730030" y="4309051"/>
                </a:cubicBezTo>
                <a:cubicBezTo>
                  <a:pt x="5730030" y="4308534"/>
                  <a:pt x="5730185" y="4308121"/>
                  <a:pt x="5730495" y="4307915"/>
                </a:cubicBezTo>
                <a:cubicBezTo>
                  <a:pt x="5730650" y="4307708"/>
                  <a:pt x="5730960" y="4307605"/>
                  <a:pt x="5730960" y="4307605"/>
                </a:cubicBezTo>
                <a:close/>
                <a:moveTo>
                  <a:pt x="1177173" y="4307484"/>
                </a:moveTo>
                <a:cubicBezTo>
                  <a:pt x="1177173" y="4317913"/>
                  <a:pt x="1164317" y="4320288"/>
                  <a:pt x="1157811" y="4319978"/>
                </a:cubicBezTo>
                <a:cubicBezTo>
                  <a:pt x="1160444" y="4317293"/>
                  <a:pt x="1162767" y="4314402"/>
                  <a:pt x="1165865" y="4312027"/>
                </a:cubicBezTo>
                <a:cubicBezTo>
                  <a:pt x="1168809" y="4309756"/>
                  <a:pt x="1172371" y="4308000"/>
                  <a:pt x="1177173" y="4307484"/>
                </a:cubicBezTo>
                <a:close/>
                <a:moveTo>
                  <a:pt x="5737620" y="4306469"/>
                </a:moveTo>
                <a:cubicBezTo>
                  <a:pt x="5739324" y="4305437"/>
                  <a:pt x="5739944" y="4305850"/>
                  <a:pt x="5740408" y="4308225"/>
                </a:cubicBezTo>
                <a:cubicBezTo>
                  <a:pt x="5739634" y="4308741"/>
                  <a:pt x="5738240" y="4309154"/>
                  <a:pt x="5736846" y="4309154"/>
                </a:cubicBezTo>
                <a:cubicBezTo>
                  <a:pt x="5735451" y="4309154"/>
                  <a:pt x="5734058" y="4308844"/>
                  <a:pt x="5733593" y="4308018"/>
                </a:cubicBezTo>
                <a:cubicBezTo>
                  <a:pt x="5735297" y="4307089"/>
                  <a:pt x="5736536" y="4306779"/>
                  <a:pt x="5737620" y="4306469"/>
                </a:cubicBezTo>
                <a:close/>
                <a:moveTo>
                  <a:pt x="5588300" y="4306366"/>
                </a:moveTo>
                <a:cubicBezTo>
                  <a:pt x="5590159" y="4307192"/>
                  <a:pt x="5592482" y="4306056"/>
                  <a:pt x="5594341" y="4307708"/>
                </a:cubicBezTo>
                <a:cubicBezTo>
                  <a:pt x="5594341" y="4307708"/>
                  <a:pt x="5595270" y="4308638"/>
                  <a:pt x="5595580" y="4310290"/>
                </a:cubicBezTo>
                <a:cubicBezTo>
                  <a:pt x="5597594" y="4312871"/>
                  <a:pt x="5595426" y="4315556"/>
                  <a:pt x="5595426" y="4315556"/>
                </a:cubicBezTo>
                <a:cubicBezTo>
                  <a:pt x="5595426" y="4315556"/>
                  <a:pt x="5595426" y="4315556"/>
                  <a:pt x="5596355" y="4315556"/>
                </a:cubicBezTo>
                <a:cubicBezTo>
                  <a:pt x="5594651" y="4315659"/>
                  <a:pt x="5593102" y="4316588"/>
                  <a:pt x="5591398" y="4316692"/>
                </a:cubicBezTo>
                <a:cubicBezTo>
                  <a:pt x="5584118" y="4311942"/>
                  <a:pt x="5586286" y="4309980"/>
                  <a:pt x="5588300" y="4306366"/>
                </a:cubicBezTo>
                <a:close/>
                <a:moveTo>
                  <a:pt x="4638070" y="4306327"/>
                </a:moveTo>
                <a:cubicBezTo>
                  <a:pt x="4639948" y="4305591"/>
                  <a:pt x="4642271" y="4305953"/>
                  <a:pt x="4643278" y="4307192"/>
                </a:cubicBezTo>
                <a:cubicBezTo>
                  <a:pt x="4643278" y="4310496"/>
                  <a:pt x="4640490" y="4312665"/>
                  <a:pt x="4637856" y="4312665"/>
                </a:cubicBezTo>
                <a:cubicBezTo>
                  <a:pt x="4637082" y="4312768"/>
                  <a:pt x="4636152" y="4312458"/>
                  <a:pt x="4635533" y="4312045"/>
                </a:cubicBezTo>
                <a:cubicBezTo>
                  <a:pt x="4634759" y="4308896"/>
                  <a:pt x="4636191" y="4307063"/>
                  <a:pt x="4638070" y="4306327"/>
                </a:cubicBezTo>
                <a:close/>
                <a:moveTo>
                  <a:pt x="1135041" y="4305109"/>
                </a:moveTo>
                <a:cubicBezTo>
                  <a:pt x="1135661" y="4304593"/>
                  <a:pt x="1136280" y="4304696"/>
                  <a:pt x="1137055" y="4305729"/>
                </a:cubicBezTo>
                <a:lnTo>
                  <a:pt x="1137364" y="4306142"/>
                </a:lnTo>
                <a:lnTo>
                  <a:pt x="1141857" y="4305212"/>
                </a:lnTo>
                <a:cubicBezTo>
                  <a:pt x="1143406" y="4307484"/>
                  <a:pt x="1142631" y="4309136"/>
                  <a:pt x="1140927" y="4310169"/>
                </a:cubicBezTo>
                <a:lnTo>
                  <a:pt x="1140154" y="4310478"/>
                </a:lnTo>
                <a:lnTo>
                  <a:pt x="1142321" y="4311201"/>
                </a:lnTo>
                <a:cubicBezTo>
                  <a:pt x="1145574" y="4310995"/>
                  <a:pt x="1149756" y="4308516"/>
                  <a:pt x="1154713" y="4313060"/>
                </a:cubicBezTo>
                <a:cubicBezTo>
                  <a:pt x="1153474" y="4314196"/>
                  <a:pt x="1155023" y="4317087"/>
                  <a:pt x="1154713" y="4319462"/>
                </a:cubicBezTo>
                <a:lnTo>
                  <a:pt x="1153938" y="4321114"/>
                </a:lnTo>
                <a:lnTo>
                  <a:pt x="1155023" y="4320288"/>
                </a:lnTo>
                <a:cubicBezTo>
                  <a:pt x="1156262" y="4320494"/>
                  <a:pt x="1156882" y="4322043"/>
                  <a:pt x="1156882" y="4324005"/>
                </a:cubicBezTo>
                <a:cubicBezTo>
                  <a:pt x="1155798" y="4323695"/>
                  <a:pt x="1154713" y="4325450"/>
                  <a:pt x="1153474" y="4325141"/>
                </a:cubicBezTo>
                <a:cubicBezTo>
                  <a:pt x="1153474" y="4325141"/>
                  <a:pt x="1153009" y="4324728"/>
                  <a:pt x="1152544" y="4324315"/>
                </a:cubicBezTo>
                <a:lnTo>
                  <a:pt x="1151770" y="4323489"/>
                </a:lnTo>
                <a:lnTo>
                  <a:pt x="1150221" y="4324934"/>
                </a:lnTo>
                <a:cubicBezTo>
                  <a:pt x="1146968" y="4327412"/>
                  <a:pt x="1144799" y="4327309"/>
                  <a:pt x="1142166" y="4326173"/>
                </a:cubicBezTo>
                <a:lnTo>
                  <a:pt x="1140927" y="4325450"/>
                </a:lnTo>
                <a:lnTo>
                  <a:pt x="1140927" y="4325760"/>
                </a:lnTo>
                <a:lnTo>
                  <a:pt x="1140154" y="4328239"/>
                </a:lnTo>
                <a:lnTo>
                  <a:pt x="1141547" y="4328032"/>
                </a:lnTo>
                <a:cubicBezTo>
                  <a:pt x="1146504" y="4332885"/>
                  <a:pt x="1139533" y="4341455"/>
                  <a:pt x="1138604" y="4343934"/>
                </a:cubicBezTo>
                <a:cubicBezTo>
                  <a:pt x="1138604" y="4343934"/>
                  <a:pt x="1138604" y="4344760"/>
                  <a:pt x="1137830" y="4345585"/>
                </a:cubicBezTo>
                <a:cubicBezTo>
                  <a:pt x="1137519" y="4345999"/>
                  <a:pt x="1137364" y="4346102"/>
                  <a:pt x="1137055" y="4346102"/>
                </a:cubicBezTo>
                <a:lnTo>
                  <a:pt x="1136590" y="4345792"/>
                </a:lnTo>
                <a:lnTo>
                  <a:pt x="1136126" y="4345792"/>
                </a:lnTo>
                <a:lnTo>
                  <a:pt x="1136280" y="4346308"/>
                </a:lnTo>
                <a:lnTo>
                  <a:pt x="1135661" y="4349406"/>
                </a:lnTo>
                <a:lnTo>
                  <a:pt x="1137519" y="4349509"/>
                </a:lnTo>
                <a:cubicBezTo>
                  <a:pt x="1138759" y="4349406"/>
                  <a:pt x="1139998" y="4349200"/>
                  <a:pt x="1140308" y="4348580"/>
                </a:cubicBezTo>
                <a:cubicBezTo>
                  <a:pt x="1140618" y="4349406"/>
                  <a:pt x="1141702" y="4349922"/>
                  <a:pt x="1141702" y="4349922"/>
                </a:cubicBezTo>
                <a:cubicBezTo>
                  <a:pt x="1141082" y="4351058"/>
                  <a:pt x="1140308" y="4351265"/>
                  <a:pt x="1139533" y="4351574"/>
                </a:cubicBezTo>
                <a:cubicBezTo>
                  <a:pt x="1138449" y="4351162"/>
                  <a:pt x="1138139" y="4350335"/>
                  <a:pt x="1137209" y="4349922"/>
                </a:cubicBezTo>
                <a:lnTo>
                  <a:pt x="1135506" y="4350129"/>
                </a:lnTo>
                <a:lnTo>
                  <a:pt x="1135041" y="4353743"/>
                </a:lnTo>
                <a:cubicBezTo>
                  <a:pt x="1134112" y="4356428"/>
                  <a:pt x="1132718" y="4358906"/>
                  <a:pt x="1130859" y="4360661"/>
                </a:cubicBezTo>
                <a:cubicBezTo>
                  <a:pt x="1131324" y="4360454"/>
                  <a:pt x="1131634" y="4360351"/>
                  <a:pt x="1132253" y="4360454"/>
                </a:cubicBezTo>
                <a:cubicBezTo>
                  <a:pt x="1132873" y="4360041"/>
                  <a:pt x="1133337" y="4360764"/>
                  <a:pt x="1134576" y="4361074"/>
                </a:cubicBezTo>
                <a:lnTo>
                  <a:pt x="1134731" y="4362003"/>
                </a:lnTo>
                <a:lnTo>
                  <a:pt x="1135816" y="4361797"/>
                </a:lnTo>
                <a:cubicBezTo>
                  <a:pt x="1137674" y="4361487"/>
                  <a:pt x="1139378" y="4361487"/>
                  <a:pt x="1139843" y="4362003"/>
                </a:cubicBezTo>
                <a:cubicBezTo>
                  <a:pt x="1138914" y="4362313"/>
                  <a:pt x="1137055" y="4362933"/>
                  <a:pt x="1135041" y="4363242"/>
                </a:cubicBezTo>
                <a:lnTo>
                  <a:pt x="1134886" y="4363242"/>
                </a:lnTo>
                <a:lnTo>
                  <a:pt x="1134886" y="4364068"/>
                </a:lnTo>
                <a:cubicBezTo>
                  <a:pt x="1135041" y="4364275"/>
                  <a:pt x="1135197" y="4364378"/>
                  <a:pt x="1135816" y="4364481"/>
                </a:cubicBezTo>
                <a:cubicBezTo>
                  <a:pt x="1135816" y="4364481"/>
                  <a:pt x="1135197" y="4364998"/>
                  <a:pt x="1135197" y="4364998"/>
                </a:cubicBezTo>
                <a:cubicBezTo>
                  <a:pt x="1134731" y="4364275"/>
                  <a:pt x="1135197" y="4364895"/>
                  <a:pt x="1135041" y="4366134"/>
                </a:cubicBezTo>
                <a:cubicBezTo>
                  <a:pt x="1133183" y="4366340"/>
                  <a:pt x="1132408" y="4366753"/>
                  <a:pt x="1131169" y="4366443"/>
                </a:cubicBezTo>
                <a:lnTo>
                  <a:pt x="1127761" y="4372742"/>
                </a:lnTo>
                <a:lnTo>
                  <a:pt x="1125902" y="4373774"/>
                </a:lnTo>
                <a:lnTo>
                  <a:pt x="1125438" y="4375530"/>
                </a:lnTo>
                <a:cubicBezTo>
                  <a:pt x="1124508" y="4375323"/>
                  <a:pt x="1124508" y="4375427"/>
                  <a:pt x="1124663" y="4374497"/>
                </a:cubicBezTo>
                <a:cubicBezTo>
                  <a:pt x="1124508" y="4374601"/>
                  <a:pt x="1124508" y="4374601"/>
                  <a:pt x="1124353" y="4374704"/>
                </a:cubicBezTo>
                <a:lnTo>
                  <a:pt x="1124198" y="4374291"/>
                </a:lnTo>
                <a:lnTo>
                  <a:pt x="1123734" y="4374394"/>
                </a:lnTo>
                <a:cubicBezTo>
                  <a:pt x="1123114" y="4374394"/>
                  <a:pt x="1122495" y="4374291"/>
                  <a:pt x="1121875" y="4373774"/>
                </a:cubicBezTo>
                <a:cubicBezTo>
                  <a:pt x="1120945" y="4373671"/>
                  <a:pt x="1121101" y="4370264"/>
                  <a:pt x="1121875" y="4369541"/>
                </a:cubicBezTo>
                <a:cubicBezTo>
                  <a:pt x="1123734" y="4367992"/>
                  <a:pt x="1124508" y="4367269"/>
                  <a:pt x="1126212" y="4367476"/>
                </a:cubicBezTo>
                <a:cubicBezTo>
                  <a:pt x="1127141" y="4366650"/>
                  <a:pt x="1127916" y="4365927"/>
                  <a:pt x="1128690" y="4365617"/>
                </a:cubicBezTo>
                <a:lnTo>
                  <a:pt x="1130704" y="4366134"/>
                </a:lnTo>
                <a:lnTo>
                  <a:pt x="1129465" y="4365514"/>
                </a:lnTo>
                <a:cubicBezTo>
                  <a:pt x="1128845" y="4365101"/>
                  <a:pt x="1128535" y="4364585"/>
                  <a:pt x="1128535" y="4363965"/>
                </a:cubicBezTo>
                <a:cubicBezTo>
                  <a:pt x="1129310" y="4363449"/>
                  <a:pt x="1128845" y="4362726"/>
                  <a:pt x="1129465" y="4362313"/>
                </a:cubicBezTo>
                <a:cubicBezTo>
                  <a:pt x="1129775" y="4361590"/>
                  <a:pt x="1130085" y="4361280"/>
                  <a:pt x="1130395" y="4360971"/>
                </a:cubicBezTo>
                <a:cubicBezTo>
                  <a:pt x="1129000" y="4362210"/>
                  <a:pt x="1127452" y="4363139"/>
                  <a:pt x="1125593" y="4363242"/>
                </a:cubicBezTo>
                <a:cubicBezTo>
                  <a:pt x="1126522" y="4360145"/>
                  <a:pt x="1127606" y="4357253"/>
                  <a:pt x="1128381" y="4354052"/>
                </a:cubicBezTo>
                <a:lnTo>
                  <a:pt x="1129000" y="4348373"/>
                </a:lnTo>
                <a:lnTo>
                  <a:pt x="1128535" y="4348064"/>
                </a:lnTo>
                <a:lnTo>
                  <a:pt x="1127606" y="4348477"/>
                </a:lnTo>
                <a:lnTo>
                  <a:pt x="1127606" y="4348683"/>
                </a:lnTo>
                <a:cubicBezTo>
                  <a:pt x="1125748" y="4351058"/>
                  <a:pt x="1126522" y="4353640"/>
                  <a:pt x="1124663" y="4355911"/>
                </a:cubicBezTo>
                <a:cubicBezTo>
                  <a:pt x="1124663" y="4355911"/>
                  <a:pt x="1124663" y="4356014"/>
                  <a:pt x="1123888" y="4355085"/>
                </a:cubicBezTo>
                <a:cubicBezTo>
                  <a:pt x="1124819" y="4353020"/>
                  <a:pt x="1124819" y="4350851"/>
                  <a:pt x="1124973" y="4348786"/>
                </a:cubicBezTo>
                <a:lnTo>
                  <a:pt x="1125438" y="4347547"/>
                </a:lnTo>
                <a:lnTo>
                  <a:pt x="1123424" y="4348373"/>
                </a:lnTo>
                <a:cubicBezTo>
                  <a:pt x="1119242" y="4350129"/>
                  <a:pt x="1115215" y="4352091"/>
                  <a:pt x="1110258" y="4351574"/>
                </a:cubicBezTo>
                <a:lnTo>
                  <a:pt x="1106230" y="4350748"/>
                </a:lnTo>
                <a:lnTo>
                  <a:pt x="1106850" y="4353123"/>
                </a:lnTo>
                <a:lnTo>
                  <a:pt x="1109638" y="4353123"/>
                </a:lnTo>
                <a:cubicBezTo>
                  <a:pt x="1114285" y="4354672"/>
                  <a:pt x="1117074" y="4360145"/>
                  <a:pt x="1114595" y="4364378"/>
                </a:cubicBezTo>
                <a:cubicBezTo>
                  <a:pt x="1113665" y="4364688"/>
                  <a:pt x="1112581" y="4365307"/>
                  <a:pt x="1111342" y="4365720"/>
                </a:cubicBezTo>
                <a:lnTo>
                  <a:pt x="1110723" y="4365824"/>
                </a:lnTo>
                <a:lnTo>
                  <a:pt x="1112427" y="4367579"/>
                </a:lnTo>
                <a:lnTo>
                  <a:pt x="1112581" y="4368302"/>
                </a:lnTo>
                <a:lnTo>
                  <a:pt x="1113511" y="4368612"/>
                </a:lnTo>
                <a:cubicBezTo>
                  <a:pt x="1113511" y="4368612"/>
                  <a:pt x="1113511" y="4368612"/>
                  <a:pt x="1113511" y="4369335"/>
                </a:cubicBezTo>
                <a:lnTo>
                  <a:pt x="1112736" y="4368921"/>
                </a:lnTo>
                <a:lnTo>
                  <a:pt x="1112891" y="4369851"/>
                </a:lnTo>
                <a:lnTo>
                  <a:pt x="1113511" y="4369541"/>
                </a:lnTo>
                <a:cubicBezTo>
                  <a:pt x="1113511" y="4369541"/>
                  <a:pt x="1113820" y="4370264"/>
                  <a:pt x="1113356" y="4371400"/>
                </a:cubicBezTo>
                <a:cubicBezTo>
                  <a:pt x="1113356" y="4371400"/>
                  <a:pt x="1113201" y="4371297"/>
                  <a:pt x="1113046" y="4371090"/>
                </a:cubicBezTo>
                <a:lnTo>
                  <a:pt x="1112891" y="4370264"/>
                </a:lnTo>
                <a:lnTo>
                  <a:pt x="1111187" y="4372948"/>
                </a:lnTo>
                <a:cubicBezTo>
                  <a:pt x="1110258" y="4373671"/>
                  <a:pt x="1108864" y="4373981"/>
                  <a:pt x="1107470" y="4373878"/>
                </a:cubicBezTo>
                <a:cubicBezTo>
                  <a:pt x="1105920" y="4373774"/>
                  <a:pt x="1104062" y="4373052"/>
                  <a:pt x="1102513" y="4371503"/>
                </a:cubicBezTo>
                <a:cubicBezTo>
                  <a:pt x="1102513" y="4370470"/>
                  <a:pt x="1103132" y="4369231"/>
                  <a:pt x="1103907" y="4367992"/>
                </a:cubicBezTo>
                <a:lnTo>
                  <a:pt x="1106385" y="4365204"/>
                </a:lnTo>
                <a:lnTo>
                  <a:pt x="1102978" y="4360041"/>
                </a:lnTo>
                <a:lnTo>
                  <a:pt x="1103442" y="4358183"/>
                </a:lnTo>
                <a:lnTo>
                  <a:pt x="1102978" y="4357976"/>
                </a:lnTo>
                <a:cubicBezTo>
                  <a:pt x="1102358" y="4357460"/>
                  <a:pt x="1102048" y="4356634"/>
                  <a:pt x="1102513" y="4355395"/>
                </a:cubicBezTo>
                <a:lnTo>
                  <a:pt x="1103907" y="4355498"/>
                </a:lnTo>
                <a:lnTo>
                  <a:pt x="1104062" y="4354878"/>
                </a:lnTo>
                <a:lnTo>
                  <a:pt x="1104062" y="4354362"/>
                </a:lnTo>
                <a:cubicBezTo>
                  <a:pt x="1104062" y="4354362"/>
                  <a:pt x="1103442" y="4353640"/>
                  <a:pt x="1103752" y="4352401"/>
                </a:cubicBezTo>
                <a:cubicBezTo>
                  <a:pt x="1103907" y="4351162"/>
                  <a:pt x="1104062" y="4349922"/>
                  <a:pt x="1105920" y="4349819"/>
                </a:cubicBezTo>
                <a:lnTo>
                  <a:pt x="1106075" y="4350026"/>
                </a:lnTo>
                <a:lnTo>
                  <a:pt x="1107470" y="4347341"/>
                </a:lnTo>
                <a:cubicBezTo>
                  <a:pt x="1110103" y="4344243"/>
                  <a:pt x="1115060" y="4341765"/>
                  <a:pt x="1120171" y="4340629"/>
                </a:cubicBezTo>
                <a:lnTo>
                  <a:pt x="1126986" y="4340526"/>
                </a:lnTo>
                <a:lnTo>
                  <a:pt x="1123734" y="4338358"/>
                </a:lnTo>
                <a:cubicBezTo>
                  <a:pt x="1121101" y="4336293"/>
                  <a:pt x="1118157" y="4333711"/>
                  <a:pt x="1116918" y="4332678"/>
                </a:cubicBezTo>
                <a:cubicBezTo>
                  <a:pt x="1116918" y="4331852"/>
                  <a:pt x="1116918" y="4331852"/>
                  <a:pt x="1116918" y="4331852"/>
                </a:cubicBezTo>
                <a:cubicBezTo>
                  <a:pt x="1117383" y="4331027"/>
                  <a:pt x="1118003" y="4330923"/>
                  <a:pt x="1118777" y="4331233"/>
                </a:cubicBezTo>
                <a:cubicBezTo>
                  <a:pt x="1119706" y="4331543"/>
                  <a:pt x="1120791" y="4332369"/>
                  <a:pt x="1122030" y="4333401"/>
                </a:cubicBezTo>
                <a:cubicBezTo>
                  <a:pt x="1124508" y="4335363"/>
                  <a:pt x="1126986" y="4339183"/>
                  <a:pt x="1127761" y="4340216"/>
                </a:cubicBezTo>
                <a:lnTo>
                  <a:pt x="1128381" y="4340526"/>
                </a:lnTo>
                <a:lnTo>
                  <a:pt x="1130085" y="4340526"/>
                </a:lnTo>
                <a:lnTo>
                  <a:pt x="1132098" y="4341455"/>
                </a:lnTo>
                <a:lnTo>
                  <a:pt x="1134576" y="4340629"/>
                </a:lnTo>
                <a:lnTo>
                  <a:pt x="1135506" y="4343417"/>
                </a:lnTo>
                <a:lnTo>
                  <a:pt x="1136126" y="4336293"/>
                </a:lnTo>
                <a:cubicBezTo>
                  <a:pt x="1135971" y="4335157"/>
                  <a:pt x="1135816" y="4334124"/>
                  <a:pt x="1135816" y="4333505"/>
                </a:cubicBezTo>
                <a:lnTo>
                  <a:pt x="1135661" y="4332782"/>
                </a:lnTo>
                <a:lnTo>
                  <a:pt x="1135351" y="4332678"/>
                </a:lnTo>
                <a:cubicBezTo>
                  <a:pt x="1133957" y="4330820"/>
                  <a:pt x="1133957" y="4329168"/>
                  <a:pt x="1134267" y="4327309"/>
                </a:cubicBezTo>
                <a:lnTo>
                  <a:pt x="1134886" y="4324625"/>
                </a:lnTo>
                <a:lnTo>
                  <a:pt x="1134731" y="4324625"/>
                </a:lnTo>
                <a:cubicBezTo>
                  <a:pt x="1134267" y="4324831"/>
                  <a:pt x="1133802" y="4324728"/>
                  <a:pt x="1133183" y="4324315"/>
                </a:cubicBezTo>
                <a:cubicBezTo>
                  <a:pt x="1129465" y="4320598"/>
                  <a:pt x="1131014" y="4314505"/>
                  <a:pt x="1132098" y="4311408"/>
                </a:cubicBezTo>
                <a:lnTo>
                  <a:pt x="1132718" y="4309652"/>
                </a:lnTo>
                <a:lnTo>
                  <a:pt x="1131788" y="4309652"/>
                </a:lnTo>
                <a:lnTo>
                  <a:pt x="1132718" y="4308826"/>
                </a:lnTo>
                <a:lnTo>
                  <a:pt x="1132718" y="4308620"/>
                </a:lnTo>
                <a:cubicBezTo>
                  <a:pt x="1133647" y="4308723"/>
                  <a:pt x="1133647" y="4307897"/>
                  <a:pt x="1132718" y="4307794"/>
                </a:cubicBezTo>
                <a:cubicBezTo>
                  <a:pt x="1133647" y="4306555"/>
                  <a:pt x="1134267" y="4305522"/>
                  <a:pt x="1135041" y="4305109"/>
                </a:cubicBezTo>
                <a:close/>
                <a:moveTo>
                  <a:pt x="5266116" y="4304817"/>
                </a:moveTo>
                <a:cubicBezTo>
                  <a:pt x="5272621" y="4307605"/>
                  <a:pt x="5276029" y="4307605"/>
                  <a:pt x="5280831" y="4310393"/>
                </a:cubicBezTo>
                <a:cubicBezTo>
                  <a:pt x="5280676" y="4311322"/>
                  <a:pt x="5279902" y="4311219"/>
                  <a:pt x="5279747" y="4312148"/>
                </a:cubicBezTo>
                <a:cubicBezTo>
                  <a:pt x="5279282" y="4312562"/>
                  <a:pt x="5278508" y="4312768"/>
                  <a:pt x="5277423" y="4312665"/>
                </a:cubicBezTo>
                <a:cubicBezTo>
                  <a:pt x="5274325" y="4312665"/>
                  <a:pt x="5269833" y="4310909"/>
                  <a:pt x="5269833" y="4310186"/>
                </a:cubicBezTo>
                <a:cubicBezTo>
                  <a:pt x="5269059" y="4310186"/>
                  <a:pt x="5269059" y="4309257"/>
                  <a:pt x="5268285" y="4309257"/>
                </a:cubicBezTo>
                <a:cubicBezTo>
                  <a:pt x="5268285" y="4309257"/>
                  <a:pt x="5267510" y="4309257"/>
                  <a:pt x="5266735" y="4308431"/>
                </a:cubicBezTo>
                <a:cubicBezTo>
                  <a:pt x="5266271" y="4307915"/>
                  <a:pt x="5265961" y="4307502"/>
                  <a:pt x="5265806" y="4306882"/>
                </a:cubicBezTo>
                <a:cubicBezTo>
                  <a:pt x="5265651" y="4306366"/>
                  <a:pt x="5265651" y="4305746"/>
                  <a:pt x="5266116" y="4304817"/>
                </a:cubicBezTo>
                <a:close/>
                <a:moveTo>
                  <a:pt x="5883068" y="4304714"/>
                </a:moveTo>
                <a:cubicBezTo>
                  <a:pt x="5884927" y="4304714"/>
                  <a:pt x="5884152" y="4305127"/>
                  <a:pt x="5885236" y="4305437"/>
                </a:cubicBezTo>
                <a:cubicBezTo>
                  <a:pt x="5886321" y="4305850"/>
                  <a:pt x="5888179" y="4305953"/>
                  <a:pt x="5888954" y="4305540"/>
                </a:cubicBezTo>
                <a:cubicBezTo>
                  <a:pt x="5887870" y="4309877"/>
                  <a:pt x="5890658" y="4310290"/>
                  <a:pt x="5888644" y="4316898"/>
                </a:cubicBezTo>
                <a:cubicBezTo>
                  <a:pt x="5886940" y="4323403"/>
                  <a:pt x="5883223" y="4325572"/>
                  <a:pt x="5879660" y="4325985"/>
                </a:cubicBezTo>
                <a:cubicBezTo>
                  <a:pt x="5878576" y="4326088"/>
                  <a:pt x="5877337" y="4325985"/>
                  <a:pt x="5876407" y="4325778"/>
                </a:cubicBezTo>
                <a:cubicBezTo>
                  <a:pt x="5876717" y="4324952"/>
                  <a:pt x="5871296" y="4323713"/>
                  <a:pt x="5869592" y="4319067"/>
                </a:cubicBezTo>
                <a:cubicBezTo>
                  <a:pt x="5869127" y="4317518"/>
                  <a:pt x="5868972" y="4315659"/>
                  <a:pt x="5869747" y="4313181"/>
                </a:cubicBezTo>
                <a:cubicBezTo>
                  <a:pt x="5871296" y="4307708"/>
                  <a:pt x="5874703" y="4302339"/>
                  <a:pt x="5883068" y="4304714"/>
                </a:cubicBezTo>
                <a:close/>
                <a:moveTo>
                  <a:pt x="5037954" y="4304404"/>
                </a:moveTo>
                <a:cubicBezTo>
                  <a:pt x="5039813" y="4301823"/>
                  <a:pt x="5042136" y="4303578"/>
                  <a:pt x="5045234" y="4304507"/>
                </a:cubicBezTo>
                <a:cubicBezTo>
                  <a:pt x="5044459" y="4305334"/>
                  <a:pt x="5045079" y="4306263"/>
                  <a:pt x="5045853" y="4307089"/>
                </a:cubicBezTo>
                <a:cubicBezTo>
                  <a:pt x="5044459" y="4308431"/>
                  <a:pt x="5042601" y="4310600"/>
                  <a:pt x="5040432" y="4310186"/>
                </a:cubicBezTo>
                <a:cubicBezTo>
                  <a:pt x="5039813" y="4310083"/>
                  <a:pt x="5039038" y="4309567"/>
                  <a:pt x="5038263" y="4308741"/>
                </a:cubicBezTo>
                <a:cubicBezTo>
                  <a:pt x="5037799" y="4308741"/>
                  <a:pt x="5037489" y="4307811"/>
                  <a:pt x="5037489" y="4306882"/>
                </a:cubicBezTo>
                <a:cubicBezTo>
                  <a:pt x="5037334" y="4305850"/>
                  <a:pt x="5037489" y="4304817"/>
                  <a:pt x="5037954" y="4304404"/>
                </a:cubicBezTo>
                <a:close/>
                <a:moveTo>
                  <a:pt x="5375937" y="4304301"/>
                </a:moveTo>
                <a:cubicBezTo>
                  <a:pt x="5376712" y="4305127"/>
                  <a:pt x="5377486" y="4306056"/>
                  <a:pt x="5377331" y="4307811"/>
                </a:cubicBezTo>
                <a:cubicBezTo>
                  <a:pt x="5375473" y="4309567"/>
                  <a:pt x="5373149" y="4308534"/>
                  <a:pt x="5372220" y="4309464"/>
                </a:cubicBezTo>
                <a:cubicBezTo>
                  <a:pt x="5372220" y="4308534"/>
                  <a:pt x="5372374" y="4306882"/>
                  <a:pt x="5370826" y="4305953"/>
                </a:cubicBezTo>
                <a:cubicBezTo>
                  <a:pt x="5372685" y="4304198"/>
                  <a:pt x="5374543" y="4302545"/>
                  <a:pt x="5375937" y="4304301"/>
                </a:cubicBezTo>
                <a:close/>
                <a:moveTo>
                  <a:pt x="1541799" y="4304076"/>
                </a:moveTo>
                <a:cubicBezTo>
                  <a:pt x="1543658" y="4304283"/>
                  <a:pt x="1541954" y="4307587"/>
                  <a:pt x="1542108" y="4308413"/>
                </a:cubicBezTo>
                <a:lnTo>
                  <a:pt x="1541489" y="4309343"/>
                </a:lnTo>
                <a:lnTo>
                  <a:pt x="1541489" y="4310272"/>
                </a:lnTo>
                <a:cubicBezTo>
                  <a:pt x="1541489" y="4311098"/>
                  <a:pt x="1540715" y="4310995"/>
                  <a:pt x="1539785" y="4311821"/>
                </a:cubicBezTo>
                <a:cubicBezTo>
                  <a:pt x="1539011" y="4311717"/>
                  <a:pt x="1538237" y="4310685"/>
                  <a:pt x="1538237" y="4310685"/>
                </a:cubicBezTo>
                <a:cubicBezTo>
                  <a:pt x="1537307" y="4309756"/>
                  <a:pt x="1537307" y="4309756"/>
                  <a:pt x="1536532" y="4310478"/>
                </a:cubicBezTo>
                <a:cubicBezTo>
                  <a:pt x="1536532" y="4310478"/>
                  <a:pt x="1536532" y="4309652"/>
                  <a:pt x="1536532" y="4309652"/>
                </a:cubicBezTo>
                <a:cubicBezTo>
                  <a:pt x="1537307" y="4309756"/>
                  <a:pt x="1536532" y="4309652"/>
                  <a:pt x="1535758" y="4308723"/>
                </a:cubicBezTo>
                <a:cubicBezTo>
                  <a:pt x="1536532" y="4307071"/>
                  <a:pt x="1536532" y="4306245"/>
                  <a:pt x="1537462" y="4305419"/>
                </a:cubicBezTo>
                <a:cubicBezTo>
                  <a:pt x="1537927" y="4305006"/>
                  <a:pt x="1538546" y="4304696"/>
                  <a:pt x="1539165" y="4304490"/>
                </a:cubicBezTo>
                <a:lnTo>
                  <a:pt x="1539630" y="4304696"/>
                </a:lnTo>
                <a:lnTo>
                  <a:pt x="1539785" y="4304490"/>
                </a:lnTo>
                <a:cubicBezTo>
                  <a:pt x="1540560" y="4304076"/>
                  <a:pt x="1541335" y="4303767"/>
                  <a:pt x="1541799" y="4304076"/>
                </a:cubicBezTo>
                <a:close/>
                <a:moveTo>
                  <a:pt x="5940070" y="4303062"/>
                </a:moveTo>
                <a:cubicBezTo>
                  <a:pt x="5941463" y="4303372"/>
                  <a:pt x="5942548" y="4304301"/>
                  <a:pt x="5943167" y="4305953"/>
                </a:cubicBezTo>
                <a:cubicBezTo>
                  <a:pt x="5942858" y="4307295"/>
                  <a:pt x="5942393" y="4308121"/>
                  <a:pt x="5941774" y="4308638"/>
                </a:cubicBezTo>
                <a:lnTo>
                  <a:pt x="5940844" y="4309051"/>
                </a:lnTo>
                <a:lnTo>
                  <a:pt x="5940999" y="4311632"/>
                </a:lnTo>
                <a:cubicBezTo>
                  <a:pt x="5940379" y="4314110"/>
                  <a:pt x="5938366" y="4315969"/>
                  <a:pt x="5936042" y="4316382"/>
                </a:cubicBezTo>
                <a:cubicBezTo>
                  <a:pt x="5934493" y="4316692"/>
                  <a:pt x="5932789" y="4316278"/>
                  <a:pt x="5931241" y="4314936"/>
                </a:cubicBezTo>
                <a:cubicBezTo>
                  <a:pt x="5931705" y="4311012"/>
                  <a:pt x="5931705" y="4306676"/>
                  <a:pt x="5934184" y="4304817"/>
                </a:cubicBezTo>
                <a:lnTo>
                  <a:pt x="5934338" y="4304817"/>
                </a:lnTo>
                <a:cubicBezTo>
                  <a:pt x="5935888" y="4303268"/>
                  <a:pt x="5938211" y="4302545"/>
                  <a:pt x="5940070" y="4303062"/>
                </a:cubicBezTo>
                <a:close/>
                <a:moveTo>
                  <a:pt x="1190959" y="4302941"/>
                </a:moveTo>
                <a:cubicBezTo>
                  <a:pt x="1196845" y="4306555"/>
                  <a:pt x="1194986" y="4320288"/>
                  <a:pt x="1185847" y="4323179"/>
                </a:cubicBezTo>
                <a:cubicBezTo>
                  <a:pt x="1184143" y="4322559"/>
                  <a:pt x="1182904" y="4321320"/>
                  <a:pt x="1181975" y="4319772"/>
                </a:cubicBezTo>
                <a:cubicBezTo>
                  <a:pt x="1179342" y="4315228"/>
                  <a:pt x="1180271" y="4307587"/>
                  <a:pt x="1182439" y="4303457"/>
                </a:cubicBezTo>
                <a:cubicBezTo>
                  <a:pt x="1186157" y="4301599"/>
                  <a:pt x="1188945" y="4301702"/>
                  <a:pt x="1190959" y="4302941"/>
                </a:cubicBezTo>
                <a:close/>
                <a:moveTo>
                  <a:pt x="1216052" y="4302837"/>
                </a:moveTo>
                <a:cubicBezTo>
                  <a:pt x="1214193" y="4311098"/>
                  <a:pt x="1213883" y="4319772"/>
                  <a:pt x="1204590" y="4326277"/>
                </a:cubicBezTo>
                <a:cubicBezTo>
                  <a:pt x="1202111" y="4324831"/>
                  <a:pt x="1197774" y="4325554"/>
                  <a:pt x="1197619" y="4321217"/>
                </a:cubicBezTo>
                <a:cubicBezTo>
                  <a:pt x="1208152" y="4318429"/>
                  <a:pt x="1205984" y="4302218"/>
                  <a:pt x="1216052" y="4302837"/>
                </a:cubicBezTo>
                <a:close/>
                <a:moveTo>
                  <a:pt x="5774640" y="4302545"/>
                </a:moveTo>
                <a:cubicBezTo>
                  <a:pt x="5775415" y="4302959"/>
                  <a:pt x="5777273" y="4303165"/>
                  <a:pt x="5777428" y="4304301"/>
                </a:cubicBezTo>
                <a:cubicBezTo>
                  <a:pt x="5777584" y="4305540"/>
                  <a:pt x="5777584" y="4305437"/>
                  <a:pt x="5776654" y="4306986"/>
                </a:cubicBezTo>
                <a:cubicBezTo>
                  <a:pt x="5775880" y="4305953"/>
                  <a:pt x="5775415" y="4305437"/>
                  <a:pt x="5775260" y="4304817"/>
                </a:cubicBezTo>
                <a:cubicBezTo>
                  <a:pt x="5774950" y="4304301"/>
                  <a:pt x="5774795" y="4303681"/>
                  <a:pt x="5774640" y="4302545"/>
                </a:cubicBezTo>
                <a:close/>
                <a:moveTo>
                  <a:pt x="1511459" y="4302257"/>
                </a:moveTo>
                <a:cubicBezTo>
                  <a:pt x="1514344" y="4302502"/>
                  <a:pt x="1517248" y="4304231"/>
                  <a:pt x="1519494" y="4308207"/>
                </a:cubicBezTo>
                <a:lnTo>
                  <a:pt x="1514072" y="4312853"/>
                </a:lnTo>
                <a:lnTo>
                  <a:pt x="1515776" y="4313679"/>
                </a:lnTo>
                <a:lnTo>
                  <a:pt x="1516706" y="4317397"/>
                </a:lnTo>
                <a:lnTo>
                  <a:pt x="1517016" y="4317293"/>
                </a:lnTo>
                <a:cubicBezTo>
                  <a:pt x="1519184" y="4318119"/>
                  <a:pt x="1520888" y="4320184"/>
                  <a:pt x="1520733" y="4323179"/>
                </a:cubicBezTo>
                <a:cubicBezTo>
                  <a:pt x="1519339" y="4325450"/>
                  <a:pt x="1518100" y="4327619"/>
                  <a:pt x="1513918" y="4327619"/>
                </a:cubicBezTo>
                <a:cubicBezTo>
                  <a:pt x="1511129" y="4325347"/>
                  <a:pt x="1510045" y="4322766"/>
                  <a:pt x="1510355" y="4317913"/>
                </a:cubicBezTo>
                <a:lnTo>
                  <a:pt x="1511129" y="4317913"/>
                </a:lnTo>
                <a:lnTo>
                  <a:pt x="1509426" y="4317190"/>
                </a:lnTo>
                <a:lnTo>
                  <a:pt x="1509271" y="4316674"/>
                </a:lnTo>
                <a:lnTo>
                  <a:pt x="1504159" y="4319978"/>
                </a:lnTo>
                <a:cubicBezTo>
                  <a:pt x="1502455" y="4319048"/>
                  <a:pt x="1501216" y="4317810"/>
                  <a:pt x="1500596" y="4316571"/>
                </a:cubicBezTo>
                <a:lnTo>
                  <a:pt x="1500286" y="4315022"/>
                </a:lnTo>
                <a:lnTo>
                  <a:pt x="1499822" y="4316571"/>
                </a:lnTo>
                <a:cubicBezTo>
                  <a:pt x="1494711" y="4314196"/>
                  <a:pt x="1495949" y="4313060"/>
                  <a:pt x="1498428" y="4309652"/>
                </a:cubicBezTo>
                <a:lnTo>
                  <a:pt x="1500132" y="4311717"/>
                </a:lnTo>
                <a:lnTo>
                  <a:pt x="1503539" y="4305212"/>
                </a:lnTo>
                <a:cubicBezTo>
                  <a:pt x="1505708" y="4303251"/>
                  <a:pt x="1508573" y="4302011"/>
                  <a:pt x="1511459" y="4302257"/>
                </a:cubicBezTo>
                <a:close/>
                <a:moveTo>
                  <a:pt x="5972133" y="4302029"/>
                </a:moveTo>
                <a:cubicBezTo>
                  <a:pt x="5971513" y="4302649"/>
                  <a:pt x="5970894" y="4304301"/>
                  <a:pt x="5969965" y="4304611"/>
                </a:cubicBezTo>
                <a:cubicBezTo>
                  <a:pt x="5969655" y="4304817"/>
                  <a:pt x="5969345" y="4304714"/>
                  <a:pt x="5968880" y="4304507"/>
                </a:cubicBezTo>
                <a:cubicBezTo>
                  <a:pt x="5969655" y="4302855"/>
                  <a:pt x="5970429" y="4302029"/>
                  <a:pt x="5972133" y="4302029"/>
                </a:cubicBezTo>
                <a:close/>
                <a:moveTo>
                  <a:pt x="5772782" y="4301203"/>
                </a:moveTo>
                <a:cubicBezTo>
                  <a:pt x="5773091" y="4300480"/>
                  <a:pt x="5773866" y="4300997"/>
                  <a:pt x="5774176" y="4302133"/>
                </a:cubicBezTo>
                <a:cubicBezTo>
                  <a:pt x="5774176" y="4302133"/>
                  <a:pt x="5773711" y="4302855"/>
                  <a:pt x="5773711" y="4302855"/>
                </a:cubicBezTo>
                <a:cubicBezTo>
                  <a:pt x="5773401" y="4302649"/>
                  <a:pt x="5772937" y="4302339"/>
                  <a:pt x="5772782" y="4302029"/>
                </a:cubicBezTo>
                <a:cubicBezTo>
                  <a:pt x="5772626" y="4301823"/>
                  <a:pt x="5772472" y="4301513"/>
                  <a:pt x="5772782" y="4301203"/>
                </a:cubicBezTo>
                <a:close/>
                <a:moveTo>
                  <a:pt x="1375750" y="4300049"/>
                </a:moveTo>
                <a:cubicBezTo>
                  <a:pt x="1378383" y="4301495"/>
                  <a:pt x="1380552" y="4304283"/>
                  <a:pt x="1380552" y="4307174"/>
                </a:cubicBezTo>
                <a:cubicBezTo>
                  <a:pt x="1378848" y="4307587"/>
                  <a:pt x="1377454" y="4307897"/>
                  <a:pt x="1376060" y="4308000"/>
                </a:cubicBezTo>
                <a:cubicBezTo>
                  <a:pt x="1374666" y="4308104"/>
                  <a:pt x="1373427" y="4308000"/>
                  <a:pt x="1372342" y="4307587"/>
                </a:cubicBezTo>
                <a:cubicBezTo>
                  <a:pt x="1370328" y="4306865"/>
                  <a:pt x="1368625" y="4305109"/>
                  <a:pt x="1367695" y="4301702"/>
                </a:cubicBezTo>
                <a:cubicBezTo>
                  <a:pt x="1369709" y="4298707"/>
                  <a:pt x="1372962" y="4298707"/>
                  <a:pt x="1375750" y="4300049"/>
                </a:cubicBezTo>
                <a:close/>
                <a:moveTo>
                  <a:pt x="5515809" y="4299964"/>
                </a:moveTo>
                <a:cubicBezTo>
                  <a:pt x="5518132" y="4301513"/>
                  <a:pt x="5518907" y="4303475"/>
                  <a:pt x="5518907" y="4305334"/>
                </a:cubicBezTo>
                <a:cubicBezTo>
                  <a:pt x="5518752" y="4308431"/>
                  <a:pt x="5515964" y="4311322"/>
                  <a:pt x="5513021" y="4312148"/>
                </a:cubicBezTo>
                <a:cubicBezTo>
                  <a:pt x="5512091" y="4312355"/>
                  <a:pt x="5511007" y="4312355"/>
                  <a:pt x="5510077" y="4312045"/>
                </a:cubicBezTo>
                <a:cubicBezTo>
                  <a:pt x="5508838" y="4311632"/>
                  <a:pt x="5507599" y="4310703"/>
                  <a:pt x="5506825" y="4308947"/>
                </a:cubicBezTo>
                <a:cubicBezTo>
                  <a:pt x="5507444" y="4305437"/>
                  <a:pt x="5513175" y="4300687"/>
                  <a:pt x="5515809" y="4299964"/>
                </a:cubicBezTo>
                <a:close/>
                <a:moveTo>
                  <a:pt x="5425039" y="4299654"/>
                </a:moveTo>
                <a:lnTo>
                  <a:pt x="5425504" y="4300067"/>
                </a:lnTo>
                <a:lnTo>
                  <a:pt x="5433868" y="4304404"/>
                </a:lnTo>
                <a:cubicBezTo>
                  <a:pt x="5434643" y="4305230"/>
                  <a:pt x="5435882" y="4308741"/>
                  <a:pt x="5434952" y="4309567"/>
                </a:cubicBezTo>
                <a:cubicBezTo>
                  <a:pt x="5434023" y="4310496"/>
                  <a:pt x="5433249" y="4310496"/>
                  <a:pt x="5432475" y="4310496"/>
                </a:cubicBezTo>
                <a:lnTo>
                  <a:pt x="5428602" y="4308225"/>
                </a:lnTo>
                <a:lnTo>
                  <a:pt x="5428602" y="4310083"/>
                </a:lnTo>
                <a:cubicBezTo>
                  <a:pt x="5428137" y="4312148"/>
                  <a:pt x="5427363" y="4313697"/>
                  <a:pt x="5426589" y="4314213"/>
                </a:cubicBezTo>
                <a:cubicBezTo>
                  <a:pt x="5424265" y="4314936"/>
                  <a:pt x="5421012" y="4313904"/>
                  <a:pt x="5420392" y="4310290"/>
                </a:cubicBezTo>
                <a:cubicBezTo>
                  <a:pt x="5419308" y="4307502"/>
                  <a:pt x="5421322" y="4304507"/>
                  <a:pt x="5420702" y="4300894"/>
                </a:cubicBezTo>
                <a:cubicBezTo>
                  <a:pt x="5422716" y="4300067"/>
                  <a:pt x="5423955" y="4299551"/>
                  <a:pt x="5425039" y="4299654"/>
                </a:cubicBezTo>
                <a:close/>
                <a:moveTo>
                  <a:pt x="5473831" y="4299344"/>
                </a:moveTo>
                <a:cubicBezTo>
                  <a:pt x="5475690" y="4300894"/>
                  <a:pt x="5478478" y="4303372"/>
                  <a:pt x="5477239" y="4306160"/>
                </a:cubicBezTo>
                <a:cubicBezTo>
                  <a:pt x="5476465" y="4306160"/>
                  <a:pt x="5476620" y="4307089"/>
                  <a:pt x="5475690" y="4307089"/>
                </a:cubicBezTo>
                <a:cubicBezTo>
                  <a:pt x="5475690" y="4307089"/>
                  <a:pt x="5475071" y="4307605"/>
                  <a:pt x="5473831" y="4307708"/>
                </a:cubicBezTo>
                <a:cubicBezTo>
                  <a:pt x="5473212" y="4307811"/>
                  <a:pt x="5472438" y="4307811"/>
                  <a:pt x="5471663" y="4307708"/>
                </a:cubicBezTo>
                <a:cubicBezTo>
                  <a:pt x="5470889" y="4307502"/>
                  <a:pt x="5469959" y="4307192"/>
                  <a:pt x="5469030" y="4306572"/>
                </a:cubicBezTo>
                <a:cubicBezTo>
                  <a:pt x="5468100" y="4305746"/>
                  <a:pt x="5466087" y="4303268"/>
                  <a:pt x="5466861" y="4303268"/>
                </a:cubicBezTo>
                <a:cubicBezTo>
                  <a:pt x="5467636" y="4302339"/>
                  <a:pt x="5466861" y="4302339"/>
                  <a:pt x="5466707" y="4301410"/>
                </a:cubicBezTo>
                <a:cubicBezTo>
                  <a:pt x="5468720" y="4298622"/>
                  <a:pt x="5471043" y="4297693"/>
                  <a:pt x="5473831" y="4299344"/>
                </a:cubicBezTo>
                <a:close/>
                <a:moveTo>
                  <a:pt x="1361190" y="4299327"/>
                </a:moveTo>
                <a:cubicBezTo>
                  <a:pt x="1364753" y="4299946"/>
                  <a:pt x="1365992" y="4302218"/>
                  <a:pt x="1363978" y="4305522"/>
                </a:cubicBezTo>
                <a:cubicBezTo>
                  <a:pt x="1362119" y="4304283"/>
                  <a:pt x="1360570" y="4305625"/>
                  <a:pt x="1358557" y="4304386"/>
                </a:cubicBezTo>
                <a:cubicBezTo>
                  <a:pt x="1359950" y="4302218"/>
                  <a:pt x="1360415" y="4300359"/>
                  <a:pt x="1361190" y="4299327"/>
                </a:cubicBezTo>
                <a:close/>
                <a:moveTo>
                  <a:pt x="5533157" y="4299241"/>
                </a:moveTo>
                <a:cubicBezTo>
                  <a:pt x="5534241" y="4298932"/>
                  <a:pt x="5534861" y="4299344"/>
                  <a:pt x="5535635" y="4299861"/>
                </a:cubicBezTo>
                <a:cubicBezTo>
                  <a:pt x="5535790" y="4300997"/>
                  <a:pt x="5535325" y="4301719"/>
                  <a:pt x="5535480" y="4302855"/>
                </a:cubicBezTo>
                <a:cubicBezTo>
                  <a:pt x="5536255" y="4303372"/>
                  <a:pt x="5537494" y="4304198"/>
                  <a:pt x="5537804" y="4305437"/>
                </a:cubicBezTo>
                <a:cubicBezTo>
                  <a:pt x="5537959" y="4306572"/>
                  <a:pt x="5537649" y="4308534"/>
                  <a:pt x="5537649" y="4308534"/>
                </a:cubicBezTo>
                <a:cubicBezTo>
                  <a:pt x="5537029" y="4308638"/>
                  <a:pt x="5536720" y="4308741"/>
                  <a:pt x="5536720" y="4308741"/>
                </a:cubicBezTo>
                <a:cubicBezTo>
                  <a:pt x="5536565" y="4308638"/>
                  <a:pt x="5536720" y="4308431"/>
                  <a:pt x="5537029" y="4308018"/>
                </a:cubicBezTo>
                <a:cubicBezTo>
                  <a:pt x="5536100" y="4306469"/>
                  <a:pt x="5536720" y="4306882"/>
                  <a:pt x="5536565" y="4305746"/>
                </a:cubicBezTo>
                <a:cubicBezTo>
                  <a:pt x="5536410" y="4304611"/>
                  <a:pt x="5533932" y="4300894"/>
                  <a:pt x="5532847" y="4301203"/>
                </a:cubicBezTo>
                <a:cubicBezTo>
                  <a:pt x="5533312" y="4300377"/>
                  <a:pt x="5533157" y="4299241"/>
                  <a:pt x="5533157" y="4299241"/>
                </a:cubicBezTo>
                <a:close/>
                <a:moveTo>
                  <a:pt x="1299231" y="4299017"/>
                </a:moveTo>
                <a:cubicBezTo>
                  <a:pt x="1304498" y="4302734"/>
                  <a:pt x="1307286" y="4298914"/>
                  <a:pt x="1315341" y="4305315"/>
                </a:cubicBezTo>
                <a:cubicBezTo>
                  <a:pt x="1326028" y="4312853"/>
                  <a:pt x="1323395" y="4321733"/>
                  <a:pt x="1319367" y="4326793"/>
                </a:cubicBezTo>
                <a:cubicBezTo>
                  <a:pt x="1318439" y="4325864"/>
                  <a:pt x="1312862" y="4332782"/>
                  <a:pt x="1304962" y="4332575"/>
                </a:cubicBezTo>
                <a:cubicBezTo>
                  <a:pt x="1302329" y="4332472"/>
                  <a:pt x="1299541" y="4331646"/>
                  <a:pt x="1296598" y="4329374"/>
                </a:cubicBezTo>
                <a:cubicBezTo>
                  <a:pt x="1289782" y="4324315"/>
                  <a:pt x="1284361" y="4316777"/>
                  <a:pt x="1293810" y="4306555"/>
                </a:cubicBezTo>
                <a:cubicBezTo>
                  <a:pt x="1295204" y="4304076"/>
                  <a:pt x="1295204" y="4305315"/>
                  <a:pt x="1296598" y="4304076"/>
                </a:cubicBezTo>
                <a:cubicBezTo>
                  <a:pt x="1297837" y="4302837"/>
                  <a:pt x="1299231" y="4300256"/>
                  <a:pt x="1299231" y="4299017"/>
                </a:cubicBezTo>
                <a:close/>
                <a:moveTo>
                  <a:pt x="5770458" y="4298725"/>
                </a:moveTo>
                <a:cubicBezTo>
                  <a:pt x="5770768" y="4299861"/>
                  <a:pt x="5771078" y="4299241"/>
                  <a:pt x="5770303" y="4300584"/>
                </a:cubicBezTo>
                <a:cubicBezTo>
                  <a:pt x="5769994" y="4299448"/>
                  <a:pt x="5769994" y="4299448"/>
                  <a:pt x="5769219" y="4298932"/>
                </a:cubicBezTo>
                <a:cubicBezTo>
                  <a:pt x="5769219" y="4298932"/>
                  <a:pt x="5770458" y="4298725"/>
                  <a:pt x="5770458" y="4298725"/>
                </a:cubicBezTo>
                <a:close/>
                <a:moveTo>
                  <a:pt x="725960" y="4298501"/>
                </a:moveTo>
                <a:lnTo>
                  <a:pt x="721623" y="4300153"/>
                </a:lnTo>
                <a:lnTo>
                  <a:pt x="716511" y="4301599"/>
                </a:lnTo>
                <a:lnTo>
                  <a:pt x="718216" y="4302114"/>
                </a:lnTo>
                <a:cubicBezTo>
                  <a:pt x="719455" y="4302321"/>
                  <a:pt x="720539" y="4302321"/>
                  <a:pt x="721468" y="4302114"/>
                </a:cubicBezTo>
                <a:cubicBezTo>
                  <a:pt x="722553" y="4301908"/>
                  <a:pt x="723327" y="4301495"/>
                  <a:pt x="724101" y="4300669"/>
                </a:cubicBezTo>
                <a:close/>
                <a:moveTo>
                  <a:pt x="5952152" y="4297486"/>
                </a:moveTo>
                <a:cubicBezTo>
                  <a:pt x="5951222" y="4299861"/>
                  <a:pt x="5952616" y="4300997"/>
                  <a:pt x="5951687" y="4303372"/>
                </a:cubicBezTo>
                <a:cubicBezTo>
                  <a:pt x="5949518" y="4302545"/>
                  <a:pt x="5947660" y="4302545"/>
                  <a:pt x="5946575" y="4302133"/>
                </a:cubicBezTo>
                <a:cubicBezTo>
                  <a:pt x="5946885" y="4298209"/>
                  <a:pt x="5948899" y="4296247"/>
                  <a:pt x="5952152" y="4297486"/>
                </a:cubicBezTo>
                <a:close/>
                <a:moveTo>
                  <a:pt x="5629038" y="4297383"/>
                </a:moveTo>
                <a:cubicBezTo>
                  <a:pt x="5638951" y="4298209"/>
                  <a:pt x="5646386" y="4301306"/>
                  <a:pt x="5651653" y="4306572"/>
                </a:cubicBezTo>
                <a:cubicBezTo>
                  <a:pt x="5653357" y="4308328"/>
                  <a:pt x="5654750" y="4310290"/>
                  <a:pt x="5655990" y="4312562"/>
                </a:cubicBezTo>
                <a:cubicBezTo>
                  <a:pt x="5650723" y="4317208"/>
                  <a:pt x="5644837" y="4312768"/>
                  <a:pt x="5639725" y="4310703"/>
                </a:cubicBezTo>
                <a:cubicBezTo>
                  <a:pt x="5639106" y="4316795"/>
                  <a:pt x="5639880" y="4326088"/>
                  <a:pt x="5633375" y="4326501"/>
                </a:cubicBezTo>
                <a:cubicBezTo>
                  <a:pt x="5632136" y="4325365"/>
                  <a:pt x="5631516" y="4324023"/>
                  <a:pt x="5631361" y="4322474"/>
                </a:cubicBezTo>
                <a:cubicBezTo>
                  <a:pt x="5630742" y="4318137"/>
                  <a:pt x="5633530" y="4312355"/>
                  <a:pt x="5633220" y="4306779"/>
                </a:cubicBezTo>
                <a:cubicBezTo>
                  <a:pt x="5631826" y="4303681"/>
                  <a:pt x="5627644" y="4304095"/>
                  <a:pt x="5629038" y="4297383"/>
                </a:cubicBezTo>
                <a:close/>
                <a:moveTo>
                  <a:pt x="1398985" y="4297262"/>
                </a:moveTo>
                <a:cubicBezTo>
                  <a:pt x="1398675" y="4299740"/>
                  <a:pt x="1397900" y="4301599"/>
                  <a:pt x="1397745" y="4303973"/>
                </a:cubicBezTo>
                <a:cubicBezTo>
                  <a:pt x="1396816" y="4304283"/>
                  <a:pt x="1396042" y="4304283"/>
                  <a:pt x="1395577" y="4304076"/>
                </a:cubicBezTo>
                <a:cubicBezTo>
                  <a:pt x="1395112" y="4303870"/>
                  <a:pt x="1394647" y="4303457"/>
                  <a:pt x="1394492" y="4302941"/>
                </a:cubicBezTo>
                <a:cubicBezTo>
                  <a:pt x="1393873" y="4301908"/>
                  <a:pt x="1393718" y="4300463"/>
                  <a:pt x="1393563" y="4298914"/>
                </a:cubicBezTo>
                <a:cubicBezTo>
                  <a:pt x="1395422" y="4298398"/>
                  <a:pt x="1396196" y="4296539"/>
                  <a:pt x="1398985" y="4297262"/>
                </a:cubicBezTo>
                <a:close/>
                <a:moveTo>
                  <a:pt x="5662495" y="4296763"/>
                </a:moveTo>
                <a:cubicBezTo>
                  <a:pt x="5665438" y="4296557"/>
                  <a:pt x="5666213" y="4298105"/>
                  <a:pt x="5667917" y="4301306"/>
                </a:cubicBezTo>
                <a:cubicBezTo>
                  <a:pt x="5665903" y="4301513"/>
                  <a:pt x="5664664" y="4301306"/>
                  <a:pt x="5663890" y="4300480"/>
                </a:cubicBezTo>
                <a:cubicBezTo>
                  <a:pt x="5663115" y="4299758"/>
                  <a:pt x="5662805" y="4298518"/>
                  <a:pt x="5662495" y="4296763"/>
                </a:cubicBezTo>
                <a:close/>
                <a:moveTo>
                  <a:pt x="5562587" y="4296660"/>
                </a:moveTo>
                <a:cubicBezTo>
                  <a:pt x="5566460" y="4296247"/>
                  <a:pt x="5568938" y="4297176"/>
                  <a:pt x="5570332" y="4298828"/>
                </a:cubicBezTo>
                <a:cubicBezTo>
                  <a:pt x="5574669" y="4303888"/>
                  <a:pt x="5569248" y="4315453"/>
                  <a:pt x="5560574" y="4315039"/>
                </a:cubicBezTo>
                <a:cubicBezTo>
                  <a:pt x="5559489" y="4314110"/>
                  <a:pt x="5558870" y="4312665"/>
                  <a:pt x="5558560" y="4311012"/>
                </a:cubicBezTo>
                <a:cubicBezTo>
                  <a:pt x="5557631" y="4306160"/>
                  <a:pt x="5559644" y="4299241"/>
                  <a:pt x="5562587" y="4296660"/>
                </a:cubicBezTo>
                <a:close/>
                <a:moveTo>
                  <a:pt x="5859330" y="4296363"/>
                </a:moveTo>
                <a:cubicBezTo>
                  <a:pt x="5861111" y="4297099"/>
                  <a:pt x="5862776" y="4298364"/>
                  <a:pt x="5864016" y="4299138"/>
                </a:cubicBezTo>
                <a:lnTo>
                  <a:pt x="5863241" y="4300687"/>
                </a:lnTo>
                <a:lnTo>
                  <a:pt x="5865100" y="4300480"/>
                </a:lnTo>
                <a:cubicBezTo>
                  <a:pt x="5866029" y="4300687"/>
                  <a:pt x="5866804" y="4300790"/>
                  <a:pt x="5867888" y="4300997"/>
                </a:cubicBezTo>
                <a:cubicBezTo>
                  <a:pt x="5867733" y="4302959"/>
                  <a:pt x="5869437" y="4304921"/>
                  <a:pt x="5868508" y="4307295"/>
                </a:cubicBezTo>
                <a:cubicBezTo>
                  <a:pt x="5868508" y="4307295"/>
                  <a:pt x="5868043" y="4308431"/>
                  <a:pt x="5866494" y="4309257"/>
                </a:cubicBezTo>
                <a:cubicBezTo>
                  <a:pt x="5864790" y="4311942"/>
                  <a:pt x="5861537" y="4310806"/>
                  <a:pt x="5861537" y="4310806"/>
                </a:cubicBezTo>
                <a:cubicBezTo>
                  <a:pt x="5861537" y="4310806"/>
                  <a:pt x="5861382" y="4310806"/>
                  <a:pt x="5861692" y="4311529"/>
                </a:cubicBezTo>
                <a:cubicBezTo>
                  <a:pt x="5861073" y="4309980"/>
                  <a:pt x="5859833" y="4308844"/>
                  <a:pt x="5859214" y="4307295"/>
                </a:cubicBezTo>
                <a:lnTo>
                  <a:pt x="5859369" y="4306572"/>
                </a:lnTo>
                <a:lnTo>
                  <a:pt x="5858904" y="4307192"/>
                </a:lnTo>
                <a:cubicBezTo>
                  <a:pt x="5856735" y="4306469"/>
                  <a:pt x="5855186" y="4305127"/>
                  <a:pt x="5854257" y="4303372"/>
                </a:cubicBezTo>
                <a:cubicBezTo>
                  <a:pt x="5853328" y="4301719"/>
                  <a:pt x="5853018" y="4299448"/>
                  <a:pt x="5853947" y="4296763"/>
                </a:cubicBezTo>
                <a:cubicBezTo>
                  <a:pt x="5855651" y="4295421"/>
                  <a:pt x="5857548" y="4295627"/>
                  <a:pt x="5859330" y="4296363"/>
                </a:cubicBezTo>
                <a:close/>
                <a:moveTo>
                  <a:pt x="5933409" y="4296350"/>
                </a:moveTo>
                <a:cubicBezTo>
                  <a:pt x="5933409" y="4296350"/>
                  <a:pt x="5933409" y="4296350"/>
                  <a:pt x="5938985" y="4299654"/>
                </a:cubicBezTo>
                <a:cubicBezTo>
                  <a:pt x="5938676" y="4300067"/>
                  <a:pt x="5938211" y="4300067"/>
                  <a:pt x="5937746" y="4299861"/>
                </a:cubicBezTo>
                <a:cubicBezTo>
                  <a:pt x="5937281" y="4299654"/>
                  <a:pt x="5936817" y="4299241"/>
                  <a:pt x="5936197" y="4298828"/>
                </a:cubicBezTo>
                <a:cubicBezTo>
                  <a:pt x="5935268" y="4298002"/>
                  <a:pt x="5934338" y="4297176"/>
                  <a:pt x="5933409" y="4296350"/>
                </a:cubicBezTo>
                <a:close/>
                <a:moveTo>
                  <a:pt x="5542915" y="4296247"/>
                </a:moveTo>
                <a:cubicBezTo>
                  <a:pt x="5544774" y="4306263"/>
                  <a:pt x="5550350" y="4312045"/>
                  <a:pt x="5550196" y="4323610"/>
                </a:cubicBezTo>
                <a:cubicBezTo>
                  <a:pt x="5541986" y="4321132"/>
                  <a:pt x="5535016" y="4300480"/>
                  <a:pt x="5542915" y="4296247"/>
                </a:cubicBezTo>
                <a:close/>
                <a:moveTo>
                  <a:pt x="5474142" y="4296247"/>
                </a:moveTo>
                <a:cubicBezTo>
                  <a:pt x="5474916" y="4295318"/>
                  <a:pt x="5474916" y="4296247"/>
                  <a:pt x="5475535" y="4296247"/>
                </a:cubicBezTo>
                <a:cubicBezTo>
                  <a:pt x="5475226" y="4296763"/>
                  <a:pt x="5474916" y="4296970"/>
                  <a:pt x="5474761" y="4296970"/>
                </a:cubicBezTo>
                <a:cubicBezTo>
                  <a:pt x="5474606" y="4296970"/>
                  <a:pt x="5474451" y="4296763"/>
                  <a:pt x="5474142" y="4296247"/>
                </a:cubicBezTo>
                <a:close/>
                <a:moveTo>
                  <a:pt x="5476620" y="4295731"/>
                </a:moveTo>
                <a:cubicBezTo>
                  <a:pt x="5477704" y="4296557"/>
                  <a:pt x="5478633" y="4298105"/>
                  <a:pt x="5478014" y="4299035"/>
                </a:cubicBezTo>
                <a:cubicBezTo>
                  <a:pt x="5477704" y="4299861"/>
                  <a:pt x="5477239" y="4299964"/>
                  <a:pt x="5476620" y="4299654"/>
                </a:cubicBezTo>
                <a:cubicBezTo>
                  <a:pt x="5476155" y="4299344"/>
                  <a:pt x="5475381" y="4298828"/>
                  <a:pt x="5474451" y="4298415"/>
                </a:cubicBezTo>
                <a:close/>
                <a:moveTo>
                  <a:pt x="1187396" y="4295197"/>
                </a:moveTo>
                <a:cubicBezTo>
                  <a:pt x="1188945" y="4296436"/>
                  <a:pt x="1189720" y="4297571"/>
                  <a:pt x="1191113" y="4299637"/>
                </a:cubicBezTo>
                <a:cubicBezTo>
                  <a:pt x="1190494" y="4300359"/>
                  <a:pt x="1189875" y="4300669"/>
                  <a:pt x="1189255" y="4300669"/>
                </a:cubicBezTo>
                <a:cubicBezTo>
                  <a:pt x="1187396" y="4300979"/>
                  <a:pt x="1185538" y="4298914"/>
                  <a:pt x="1185692" y="4297158"/>
                </a:cubicBezTo>
                <a:cubicBezTo>
                  <a:pt x="1185847" y="4296436"/>
                  <a:pt x="1186312" y="4295609"/>
                  <a:pt x="1187396" y="4295197"/>
                </a:cubicBezTo>
                <a:close/>
                <a:moveTo>
                  <a:pt x="5485294" y="4291600"/>
                </a:moveTo>
                <a:cubicBezTo>
                  <a:pt x="5486223" y="4291600"/>
                  <a:pt x="5486223" y="4292427"/>
                  <a:pt x="5487153" y="4293252"/>
                </a:cubicBezTo>
                <a:cubicBezTo>
                  <a:pt x="5488237" y="4294905"/>
                  <a:pt x="5488702" y="4297486"/>
                  <a:pt x="5487927" y="4298415"/>
                </a:cubicBezTo>
                <a:cubicBezTo>
                  <a:pt x="5487153" y="4299241"/>
                  <a:pt x="5486378" y="4299344"/>
                  <a:pt x="5486378" y="4299344"/>
                </a:cubicBezTo>
                <a:cubicBezTo>
                  <a:pt x="5483590" y="4297693"/>
                  <a:pt x="5481731" y="4295318"/>
                  <a:pt x="5483745" y="4292633"/>
                </a:cubicBezTo>
                <a:cubicBezTo>
                  <a:pt x="5484520" y="4291704"/>
                  <a:pt x="5485294" y="4290774"/>
                  <a:pt x="5485294" y="4291600"/>
                </a:cubicBezTo>
                <a:close/>
                <a:moveTo>
                  <a:pt x="1470547" y="4291273"/>
                </a:moveTo>
                <a:cubicBezTo>
                  <a:pt x="1470082" y="4292099"/>
                  <a:pt x="1475504" y="4293751"/>
                  <a:pt x="1476742" y="4298501"/>
                </a:cubicBezTo>
                <a:cubicBezTo>
                  <a:pt x="1477207" y="4300153"/>
                  <a:pt x="1477207" y="4302011"/>
                  <a:pt x="1476433" y="4304490"/>
                </a:cubicBezTo>
                <a:lnTo>
                  <a:pt x="1474729" y="4306968"/>
                </a:lnTo>
                <a:lnTo>
                  <a:pt x="1480925" y="4304180"/>
                </a:lnTo>
                <a:cubicBezTo>
                  <a:pt x="1486346" y="4302941"/>
                  <a:pt x="1492697" y="4303250"/>
                  <a:pt x="1495639" y="4304180"/>
                </a:cubicBezTo>
                <a:lnTo>
                  <a:pt x="1485571" y="4309756"/>
                </a:lnTo>
                <a:lnTo>
                  <a:pt x="1486346" y="4311201"/>
                </a:lnTo>
                <a:cubicBezTo>
                  <a:pt x="1484952" y="4315435"/>
                  <a:pt x="1483558" y="4317087"/>
                  <a:pt x="1482164" y="4317603"/>
                </a:cubicBezTo>
                <a:cubicBezTo>
                  <a:pt x="1480770" y="4318016"/>
                  <a:pt x="1479221" y="4317293"/>
                  <a:pt x="1477207" y="4316777"/>
                </a:cubicBezTo>
                <a:cubicBezTo>
                  <a:pt x="1477362" y="4315848"/>
                  <a:pt x="1477052" y="4314815"/>
                  <a:pt x="1476897" y="4313782"/>
                </a:cubicBezTo>
                <a:lnTo>
                  <a:pt x="1476897" y="4312750"/>
                </a:lnTo>
                <a:lnTo>
                  <a:pt x="1471631" y="4313163"/>
                </a:lnTo>
                <a:lnTo>
                  <a:pt x="1471770" y="4311409"/>
                </a:lnTo>
                <a:lnTo>
                  <a:pt x="1471786" y="4311408"/>
                </a:lnTo>
                <a:lnTo>
                  <a:pt x="1471786" y="4311201"/>
                </a:lnTo>
                <a:lnTo>
                  <a:pt x="1471770" y="4311409"/>
                </a:lnTo>
                <a:lnTo>
                  <a:pt x="1462492" y="4311924"/>
                </a:lnTo>
                <a:cubicBezTo>
                  <a:pt x="1460633" y="4311821"/>
                  <a:pt x="1461408" y="4311408"/>
                  <a:pt x="1460478" y="4310995"/>
                </a:cubicBezTo>
                <a:cubicBezTo>
                  <a:pt x="1459394" y="4310478"/>
                  <a:pt x="1457535" y="4310272"/>
                  <a:pt x="1456761" y="4310685"/>
                </a:cubicBezTo>
                <a:cubicBezTo>
                  <a:pt x="1458155" y="4306451"/>
                  <a:pt x="1455212" y="4305832"/>
                  <a:pt x="1457690" y="4299327"/>
                </a:cubicBezTo>
                <a:cubicBezTo>
                  <a:pt x="1460478" y="4290860"/>
                  <a:pt x="1466674" y="4290137"/>
                  <a:pt x="1470547" y="4291273"/>
                </a:cubicBezTo>
                <a:close/>
                <a:moveTo>
                  <a:pt x="5118035" y="4291084"/>
                </a:moveTo>
                <a:cubicBezTo>
                  <a:pt x="5123147" y="4292220"/>
                  <a:pt x="5123456" y="4295731"/>
                  <a:pt x="5120823" y="4300790"/>
                </a:cubicBezTo>
                <a:cubicBezTo>
                  <a:pt x="5118964" y="4300790"/>
                  <a:pt x="5117415" y="4301513"/>
                  <a:pt x="5114782" y="4301926"/>
                </a:cubicBezTo>
                <a:cubicBezTo>
                  <a:pt x="5113853" y="4299551"/>
                  <a:pt x="5114317" y="4293769"/>
                  <a:pt x="5118035" y="4291084"/>
                </a:cubicBezTo>
                <a:close/>
                <a:moveTo>
                  <a:pt x="5351328" y="4291032"/>
                </a:moveTo>
                <a:cubicBezTo>
                  <a:pt x="5353555" y="4290851"/>
                  <a:pt x="5355414" y="4291548"/>
                  <a:pt x="5356421" y="4294285"/>
                </a:cubicBezTo>
                <a:cubicBezTo>
                  <a:pt x="5355646" y="4298312"/>
                  <a:pt x="5353322" y="4300171"/>
                  <a:pt x="5350844" y="4300584"/>
                </a:cubicBezTo>
                <a:cubicBezTo>
                  <a:pt x="5348366" y="4300997"/>
                  <a:pt x="5345732" y="4299964"/>
                  <a:pt x="5344493" y="4298002"/>
                </a:cubicBezTo>
                <a:cubicBezTo>
                  <a:pt x="5343564" y="4296660"/>
                  <a:pt x="5343409" y="4295008"/>
                  <a:pt x="5344028" y="4293046"/>
                </a:cubicBezTo>
                <a:cubicBezTo>
                  <a:pt x="5346507" y="4292271"/>
                  <a:pt x="5349101" y="4291213"/>
                  <a:pt x="5351328" y="4291032"/>
                </a:cubicBezTo>
                <a:close/>
                <a:moveTo>
                  <a:pt x="1331295" y="4289724"/>
                </a:moveTo>
                <a:cubicBezTo>
                  <a:pt x="1336096" y="4291892"/>
                  <a:pt x="1340124" y="4290653"/>
                  <a:pt x="1343996" y="4292202"/>
                </a:cubicBezTo>
                <a:cubicBezTo>
                  <a:pt x="1342138" y="4293647"/>
                  <a:pt x="1339349" y="4295506"/>
                  <a:pt x="1336716" y="4296229"/>
                </a:cubicBezTo>
                <a:cubicBezTo>
                  <a:pt x="1333928" y="4296848"/>
                  <a:pt x="1331295" y="4296332"/>
                  <a:pt x="1329281" y="4292925"/>
                </a:cubicBezTo>
                <a:cubicBezTo>
                  <a:pt x="1330056" y="4291892"/>
                  <a:pt x="1330676" y="4290860"/>
                  <a:pt x="1331295" y="4289724"/>
                </a:cubicBezTo>
                <a:close/>
                <a:moveTo>
                  <a:pt x="5960826" y="4289638"/>
                </a:moveTo>
                <a:cubicBezTo>
                  <a:pt x="5961910" y="4289845"/>
                  <a:pt x="5962685" y="4291084"/>
                  <a:pt x="5963304" y="4292427"/>
                </a:cubicBezTo>
                <a:lnTo>
                  <a:pt x="5964233" y="4296143"/>
                </a:lnTo>
                <a:lnTo>
                  <a:pt x="5964853" y="4296040"/>
                </a:lnTo>
                <a:cubicBezTo>
                  <a:pt x="5964853" y="4296040"/>
                  <a:pt x="5963924" y="4295834"/>
                  <a:pt x="5964853" y="4295111"/>
                </a:cubicBezTo>
                <a:cubicBezTo>
                  <a:pt x="5964853" y="4295937"/>
                  <a:pt x="5965628" y="4296143"/>
                  <a:pt x="5966402" y="4296247"/>
                </a:cubicBezTo>
                <a:cubicBezTo>
                  <a:pt x="5968106" y="4298312"/>
                  <a:pt x="5969500" y="4301203"/>
                  <a:pt x="5968571" y="4302752"/>
                </a:cubicBezTo>
                <a:cubicBezTo>
                  <a:pt x="5967641" y="4303475"/>
                  <a:pt x="5966867" y="4303578"/>
                  <a:pt x="5966092" y="4303372"/>
                </a:cubicBezTo>
                <a:cubicBezTo>
                  <a:pt x="5965473" y="4303165"/>
                  <a:pt x="5964853" y="4302545"/>
                  <a:pt x="5964388" y="4302029"/>
                </a:cubicBezTo>
                <a:cubicBezTo>
                  <a:pt x="5963149" y="4301410"/>
                  <a:pt x="5962530" y="4300274"/>
                  <a:pt x="5962530" y="4298932"/>
                </a:cubicBezTo>
                <a:lnTo>
                  <a:pt x="5962685" y="4297899"/>
                </a:lnTo>
                <a:lnTo>
                  <a:pt x="5962065" y="4298622"/>
                </a:lnTo>
                <a:cubicBezTo>
                  <a:pt x="5960981" y="4298932"/>
                  <a:pt x="5959742" y="4299035"/>
                  <a:pt x="5958657" y="4298725"/>
                </a:cubicBezTo>
                <a:cubicBezTo>
                  <a:pt x="5957728" y="4298828"/>
                  <a:pt x="5956953" y="4298312"/>
                  <a:pt x="5956489" y="4297589"/>
                </a:cubicBezTo>
                <a:lnTo>
                  <a:pt x="5955714" y="4295214"/>
                </a:lnTo>
                <a:lnTo>
                  <a:pt x="5954010" y="4295524"/>
                </a:lnTo>
                <a:cubicBezTo>
                  <a:pt x="5953081" y="4293149"/>
                  <a:pt x="5952307" y="4290774"/>
                  <a:pt x="5954475" y="4290155"/>
                </a:cubicBezTo>
                <a:cubicBezTo>
                  <a:pt x="5955714" y="4289845"/>
                  <a:pt x="5956798" y="4289432"/>
                  <a:pt x="5958347" y="4290361"/>
                </a:cubicBezTo>
                <a:lnTo>
                  <a:pt x="5958347" y="4290877"/>
                </a:lnTo>
                <a:lnTo>
                  <a:pt x="5958502" y="4290671"/>
                </a:lnTo>
                <a:cubicBezTo>
                  <a:pt x="5959122" y="4290155"/>
                  <a:pt x="5959896" y="4289742"/>
                  <a:pt x="5960826" y="4289638"/>
                </a:cubicBezTo>
                <a:close/>
                <a:moveTo>
                  <a:pt x="5556546" y="4289535"/>
                </a:moveTo>
                <a:cubicBezTo>
                  <a:pt x="5559799" y="4290258"/>
                  <a:pt x="5560729" y="4293459"/>
                  <a:pt x="5560109" y="4296763"/>
                </a:cubicBezTo>
                <a:cubicBezTo>
                  <a:pt x="5559644" y="4299964"/>
                  <a:pt x="5557631" y="4303372"/>
                  <a:pt x="5554997" y="4304404"/>
                </a:cubicBezTo>
                <a:cubicBezTo>
                  <a:pt x="5554223" y="4303062"/>
                  <a:pt x="5553448" y="4301719"/>
                  <a:pt x="5552984" y="4300480"/>
                </a:cubicBezTo>
                <a:cubicBezTo>
                  <a:pt x="5551744" y="4296557"/>
                  <a:pt x="5552209" y="4293149"/>
                  <a:pt x="5556546" y="4289535"/>
                </a:cubicBezTo>
                <a:close/>
                <a:moveTo>
                  <a:pt x="1099880" y="4289311"/>
                </a:moveTo>
                <a:cubicBezTo>
                  <a:pt x="1104217" y="4288175"/>
                  <a:pt x="1107470" y="4288898"/>
                  <a:pt x="1109948" y="4290860"/>
                </a:cubicBezTo>
                <a:lnTo>
                  <a:pt x="1113356" y="4297571"/>
                </a:lnTo>
                <a:lnTo>
                  <a:pt x="1114130" y="4296436"/>
                </a:lnTo>
                <a:cubicBezTo>
                  <a:pt x="1115524" y="4295093"/>
                  <a:pt x="1116918" y="4293854"/>
                  <a:pt x="1116918" y="4295093"/>
                </a:cubicBezTo>
                <a:cubicBezTo>
                  <a:pt x="1118312" y="4295093"/>
                  <a:pt x="1118157" y="4296332"/>
                  <a:pt x="1119552" y="4297571"/>
                </a:cubicBezTo>
                <a:cubicBezTo>
                  <a:pt x="1120945" y="4300153"/>
                  <a:pt x="1120945" y="4303870"/>
                  <a:pt x="1119552" y="4305109"/>
                </a:cubicBezTo>
                <a:cubicBezTo>
                  <a:pt x="1118157" y="4306348"/>
                  <a:pt x="1116918" y="4306348"/>
                  <a:pt x="1116918" y="4306348"/>
                </a:cubicBezTo>
                <a:lnTo>
                  <a:pt x="1114595" y="4303870"/>
                </a:lnTo>
                <a:lnTo>
                  <a:pt x="1114595" y="4309549"/>
                </a:lnTo>
                <a:cubicBezTo>
                  <a:pt x="1113046" y="4319668"/>
                  <a:pt x="1106850" y="4329271"/>
                  <a:pt x="1097556" y="4327515"/>
                </a:cubicBezTo>
                <a:lnTo>
                  <a:pt x="1095853" y="4317397"/>
                </a:lnTo>
                <a:lnTo>
                  <a:pt x="1095388" y="4317397"/>
                </a:lnTo>
                <a:lnTo>
                  <a:pt x="1094923" y="4317603"/>
                </a:lnTo>
                <a:cubicBezTo>
                  <a:pt x="1092909" y="4317706"/>
                  <a:pt x="1090276" y="4317397"/>
                  <a:pt x="1087488" y="4315538"/>
                </a:cubicBezTo>
                <a:cubicBezTo>
                  <a:pt x="1086249" y="4314196"/>
                  <a:pt x="1083616" y="4310375"/>
                  <a:pt x="1084855" y="4310375"/>
                </a:cubicBezTo>
                <a:cubicBezTo>
                  <a:pt x="1086249" y="4309033"/>
                  <a:pt x="1084855" y="4309136"/>
                  <a:pt x="1084855" y="4307794"/>
                </a:cubicBezTo>
                <a:cubicBezTo>
                  <a:pt x="1086869" y="4305935"/>
                  <a:pt x="1088882" y="4304593"/>
                  <a:pt x="1090896" y="4304180"/>
                </a:cubicBezTo>
                <a:lnTo>
                  <a:pt x="1095078" y="4304903"/>
                </a:lnTo>
                <a:lnTo>
                  <a:pt x="1095697" y="4299843"/>
                </a:lnTo>
                <a:cubicBezTo>
                  <a:pt x="1096627" y="4296436"/>
                  <a:pt x="1098021" y="4292925"/>
                  <a:pt x="1099880" y="4289311"/>
                </a:cubicBezTo>
                <a:close/>
                <a:moveTo>
                  <a:pt x="5429686" y="4288916"/>
                </a:moveTo>
                <a:cubicBezTo>
                  <a:pt x="5432629" y="4293149"/>
                  <a:pt x="5437586" y="4295111"/>
                  <a:pt x="5437586" y="4298312"/>
                </a:cubicBezTo>
                <a:cubicBezTo>
                  <a:pt x="5437586" y="4299344"/>
                  <a:pt x="5437122" y="4300480"/>
                  <a:pt x="5435882" y="4301926"/>
                </a:cubicBezTo>
                <a:cubicBezTo>
                  <a:pt x="5434023" y="4301306"/>
                  <a:pt x="5429996" y="4298415"/>
                  <a:pt x="5428137" y="4295421"/>
                </a:cubicBezTo>
                <a:cubicBezTo>
                  <a:pt x="5427518" y="4294388"/>
                  <a:pt x="5427053" y="4293356"/>
                  <a:pt x="5427053" y="4292427"/>
                </a:cubicBezTo>
                <a:cubicBezTo>
                  <a:pt x="5427053" y="4291084"/>
                  <a:pt x="5427828" y="4289845"/>
                  <a:pt x="5429686" y="4288916"/>
                </a:cubicBezTo>
                <a:close/>
                <a:moveTo>
                  <a:pt x="642626" y="4288485"/>
                </a:moveTo>
                <a:cubicBezTo>
                  <a:pt x="644949" y="4290653"/>
                  <a:pt x="645569" y="4293441"/>
                  <a:pt x="643865" y="4295713"/>
                </a:cubicBezTo>
                <a:cubicBezTo>
                  <a:pt x="642007" y="4296332"/>
                  <a:pt x="640457" y="4295197"/>
                  <a:pt x="638908" y="4294061"/>
                </a:cubicBezTo>
                <a:cubicBezTo>
                  <a:pt x="637669" y="4293028"/>
                  <a:pt x="637359" y="4291996"/>
                  <a:pt x="637514" y="4291170"/>
                </a:cubicBezTo>
                <a:cubicBezTo>
                  <a:pt x="637669" y="4290343"/>
                  <a:pt x="638289" y="4289517"/>
                  <a:pt x="639218" y="4288795"/>
                </a:cubicBezTo>
                <a:cubicBezTo>
                  <a:pt x="640922" y="4287349"/>
                  <a:pt x="642626" y="4288485"/>
                  <a:pt x="642626" y="4288485"/>
                </a:cubicBezTo>
                <a:close/>
                <a:moveTo>
                  <a:pt x="4977409" y="4288425"/>
                </a:moveTo>
                <a:cubicBezTo>
                  <a:pt x="4980216" y="4288245"/>
                  <a:pt x="4982423" y="4288916"/>
                  <a:pt x="4983275" y="4288503"/>
                </a:cubicBezTo>
                <a:cubicBezTo>
                  <a:pt x="4985444" y="4291187"/>
                  <a:pt x="4985444" y="4291187"/>
                  <a:pt x="4980797" y="4296350"/>
                </a:cubicBezTo>
                <a:cubicBezTo>
                  <a:pt x="4979867" y="4297176"/>
                  <a:pt x="4978783" y="4297796"/>
                  <a:pt x="4977699" y="4298105"/>
                </a:cubicBezTo>
                <a:cubicBezTo>
                  <a:pt x="4976460" y="4298415"/>
                  <a:pt x="4975221" y="4298415"/>
                  <a:pt x="4973981" y="4297899"/>
                </a:cubicBezTo>
                <a:cubicBezTo>
                  <a:pt x="4973207" y="4298312"/>
                  <a:pt x="4972122" y="4298518"/>
                  <a:pt x="4971038" y="4298518"/>
                </a:cubicBezTo>
                <a:cubicBezTo>
                  <a:pt x="4970109" y="4298518"/>
                  <a:pt x="4969025" y="4298209"/>
                  <a:pt x="4968250" y="4297796"/>
                </a:cubicBezTo>
                <a:cubicBezTo>
                  <a:pt x="4967476" y="4296970"/>
                  <a:pt x="4967166" y="4296040"/>
                  <a:pt x="4967166" y="4295318"/>
                </a:cubicBezTo>
                <a:cubicBezTo>
                  <a:pt x="4967166" y="4294492"/>
                  <a:pt x="4967476" y="4293872"/>
                  <a:pt x="4967940" y="4293459"/>
                </a:cubicBezTo>
                <a:cubicBezTo>
                  <a:pt x="4971193" y="4289638"/>
                  <a:pt x="4974601" y="4288606"/>
                  <a:pt x="4977409" y="4288425"/>
                </a:cubicBezTo>
                <a:close/>
                <a:moveTo>
                  <a:pt x="5576238" y="4287741"/>
                </a:moveTo>
                <a:cubicBezTo>
                  <a:pt x="5577845" y="4286076"/>
                  <a:pt x="5580555" y="4285767"/>
                  <a:pt x="5582414" y="4289329"/>
                </a:cubicBezTo>
                <a:cubicBezTo>
                  <a:pt x="5579936" y="4291910"/>
                  <a:pt x="5578387" y="4293562"/>
                  <a:pt x="5576683" y="4294285"/>
                </a:cubicBezTo>
                <a:cubicBezTo>
                  <a:pt x="5574127" y="4292426"/>
                  <a:pt x="5574631" y="4289406"/>
                  <a:pt x="5576238" y="4287741"/>
                </a:cubicBezTo>
                <a:close/>
                <a:moveTo>
                  <a:pt x="5598988" y="4287573"/>
                </a:moveTo>
                <a:cubicBezTo>
                  <a:pt x="5602705" y="4290051"/>
                  <a:pt x="5604100" y="4287367"/>
                  <a:pt x="5609676" y="4291394"/>
                </a:cubicBezTo>
                <a:cubicBezTo>
                  <a:pt x="5615252" y="4295008"/>
                  <a:pt x="5616181" y="4299344"/>
                  <a:pt x="5615407" y="4302752"/>
                </a:cubicBezTo>
                <a:lnTo>
                  <a:pt x="5614478" y="4305437"/>
                </a:lnTo>
                <a:lnTo>
                  <a:pt x="5616491" y="4307192"/>
                </a:lnTo>
                <a:cubicBezTo>
                  <a:pt x="5609986" y="4312045"/>
                  <a:pt x="5619279" y="4315866"/>
                  <a:pt x="5614478" y="4319996"/>
                </a:cubicBezTo>
                <a:cubicBezTo>
                  <a:pt x="5611999" y="4320512"/>
                  <a:pt x="5609676" y="4322061"/>
                  <a:pt x="5606733" y="4321648"/>
                </a:cubicBezTo>
                <a:cubicBezTo>
                  <a:pt x="5605803" y="4321441"/>
                  <a:pt x="5604874" y="4321132"/>
                  <a:pt x="5603789" y="4320409"/>
                </a:cubicBezTo>
                <a:cubicBezTo>
                  <a:pt x="5605648" y="4317414"/>
                  <a:pt x="5606888" y="4314730"/>
                  <a:pt x="5607662" y="4311942"/>
                </a:cubicBezTo>
                <a:lnTo>
                  <a:pt x="5608437" y="4309670"/>
                </a:lnTo>
                <a:lnTo>
                  <a:pt x="5605803" y="4310290"/>
                </a:lnTo>
                <a:cubicBezTo>
                  <a:pt x="5604254" y="4310393"/>
                  <a:pt x="5602396" y="4309877"/>
                  <a:pt x="5600382" y="4308431"/>
                </a:cubicBezTo>
                <a:cubicBezTo>
                  <a:pt x="5595580" y="4305230"/>
                  <a:pt x="5591553" y="4300274"/>
                  <a:pt x="5596510" y="4292943"/>
                </a:cubicBezTo>
                <a:cubicBezTo>
                  <a:pt x="5596974" y="4291187"/>
                  <a:pt x="5597129" y="4292117"/>
                  <a:pt x="5597904" y="4291187"/>
                </a:cubicBezTo>
                <a:cubicBezTo>
                  <a:pt x="5598523" y="4290258"/>
                  <a:pt x="5599143" y="4288503"/>
                  <a:pt x="5598988" y="4287573"/>
                </a:cubicBezTo>
                <a:close/>
                <a:moveTo>
                  <a:pt x="5719342" y="4287057"/>
                </a:moveTo>
                <a:cubicBezTo>
                  <a:pt x="5723370" y="4289535"/>
                  <a:pt x="5721511" y="4293562"/>
                  <a:pt x="5718878" y="4297899"/>
                </a:cubicBezTo>
                <a:cubicBezTo>
                  <a:pt x="5717174" y="4297486"/>
                  <a:pt x="5715470" y="4298002"/>
                  <a:pt x="5713611" y="4297589"/>
                </a:cubicBezTo>
                <a:cubicBezTo>
                  <a:pt x="5711907" y="4295421"/>
                  <a:pt x="5712836" y="4289122"/>
                  <a:pt x="5715780" y="4287161"/>
                </a:cubicBezTo>
                <a:cubicBezTo>
                  <a:pt x="5716709" y="4286541"/>
                  <a:pt x="5717948" y="4286438"/>
                  <a:pt x="5719342" y="4287057"/>
                </a:cubicBezTo>
                <a:close/>
                <a:moveTo>
                  <a:pt x="5291519" y="4286231"/>
                </a:moveTo>
                <a:cubicBezTo>
                  <a:pt x="5292293" y="4286231"/>
                  <a:pt x="5293068" y="4287161"/>
                  <a:pt x="5293068" y="4287161"/>
                </a:cubicBezTo>
                <a:cubicBezTo>
                  <a:pt x="5293842" y="4288090"/>
                  <a:pt x="5293842" y="4287987"/>
                  <a:pt x="5294772" y="4287161"/>
                </a:cubicBezTo>
                <a:cubicBezTo>
                  <a:pt x="5294772" y="4287161"/>
                  <a:pt x="5294616" y="4288090"/>
                  <a:pt x="5294616" y="4288090"/>
                </a:cubicBezTo>
                <a:cubicBezTo>
                  <a:pt x="5293842" y="4288090"/>
                  <a:pt x="5294616" y="4288090"/>
                  <a:pt x="5295391" y="4289019"/>
                </a:cubicBezTo>
                <a:cubicBezTo>
                  <a:pt x="5294307" y="4290671"/>
                  <a:pt x="5294307" y="4291600"/>
                  <a:pt x="5293377" y="4292427"/>
                </a:cubicBezTo>
                <a:cubicBezTo>
                  <a:pt x="5292913" y="4292839"/>
                  <a:pt x="5292293" y="4293252"/>
                  <a:pt x="5291519" y="4293459"/>
                </a:cubicBezTo>
                <a:cubicBezTo>
                  <a:pt x="5290899" y="4293666"/>
                  <a:pt x="5290280" y="4293666"/>
                  <a:pt x="5289970" y="4293252"/>
                </a:cubicBezTo>
                <a:cubicBezTo>
                  <a:pt x="5290125" y="4292323"/>
                  <a:pt x="5289195" y="4292323"/>
                  <a:pt x="5289350" y="4291497"/>
                </a:cubicBezTo>
                <a:cubicBezTo>
                  <a:pt x="5288731" y="4289742"/>
                  <a:pt x="5288731" y="4288812"/>
                  <a:pt x="5289660" y="4287987"/>
                </a:cubicBezTo>
                <a:cubicBezTo>
                  <a:pt x="5289660" y="4287057"/>
                  <a:pt x="5290589" y="4287161"/>
                  <a:pt x="5291519" y="4286231"/>
                </a:cubicBezTo>
                <a:close/>
                <a:moveTo>
                  <a:pt x="5733748" y="4285921"/>
                </a:moveTo>
                <a:cubicBezTo>
                  <a:pt x="5736226" y="4285199"/>
                  <a:pt x="5738705" y="4284476"/>
                  <a:pt x="5742112" y="4287161"/>
                </a:cubicBezTo>
                <a:cubicBezTo>
                  <a:pt x="5743041" y="4290671"/>
                  <a:pt x="5742422" y="4293149"/>
                  <a:pt x="5739169" y="4296454"/>
                </a:cubicBezTo>
                <a:cubicBezTo>
                  <a:pt x="5734987" y="4296247"/>
                  <a:pt x="5729720" y="4290051"/>
                  <a:pt x="5733748" y="4285921"/>
                </a:cubicBezTo>
                <a:close/>
                <a:moveTo>
                  <a:pt x="1091825" y="4285180"/>
                </a:moveTo>
                <a:cubicBezTo>
                  <a:pt x="1091825" y="4285180"/>
                  <a:pt x="1091825" y="4285077"/>
                  <a:pt x="1088108" y="4289827"/>
                </a:cubicBezTo>
                <a:cubicBezTo>
                  <a:pt x="1087643" y="4289414"/>
                  <a:pt x="1087643" y="4288898"/>
                  <a:pt x="1087953" y="4288485"/>
                </a:cubicBezTo>
                <a:cubicBezTo>
                  <a:pt x="1088263" y="4288072"/>
                  <a:pt x="1088727" y="4287762"/>
                  <a:pt x="1089037" y="4287349"/>
                </a:cubicBezTo>
                <a:cubicBezTo>
                  <a:pt x="1089966" y="4286626"/>
                  <a:pt x="1090896" y="4285903"/>
                  <a:pt x="1091825" y="4285180"/>
                </a:cubicBezTo>
                <a:close/>
                <a:moveTo>
                  <a:pt x="5668072" y="4283856"/>
                </a:moveTo>
                <a:cubicBezTo>
                  <a:pt x="5669930" y="4282101"/>
                  <a:pt x="5673958" y="4283030"/>
                  <a:pt x="5675507" y="4283960"/>
                </a:cubicBezTo>
                <a:cubicBezTo>
                  <a:pt x="5676901" y="4285715"/>
                  <a:pt x="5675971" y="4288193"/>
                  <a:pt x="5674113" y="4289948"/>
                </a:cubicBezTo>
                <a:cubicBezTo>
                  <a:pt x="5673493" y="4290774"/>
                  <a:pt x="5672719" y="4291187"/>
                  <a:pt x="5671789" y="4291291"/>
                </a:cubicBezTo>
                <a:cubicBezTo>
                  <a:pt x="5670860" y="4291394"/>
                  <a:pt x="5669776" y="4291187"/>
                  <a:pt x="5669001" y="4290671"/>
                </a:cubicBezTo>
                <a:cubicBezTo>
                  <a:pt x="5668226" y="4289845"/>
                  <a:pt x="5668226" y="4289845"/>
                  <a:pt x="5667607" y="4289019"/>
                </a:cubicBezTo>
                <a:cubicBezTo>
                  <a:pt x="5667762" y="4287264"/>
                  <a:pt x="5666987" y="4285508"/>
                  <a:pt x="5668072" y="4283856"/>
                </a:cubicBezTo>
                <a:close/>
                <a:moveTo>
                  <a:pt x="5732354" y="4283650"/>
                </a:moveTo>
                <a:cubicBezTo>
                  <a:pt x="5733438" y="4283856"/>
                  <a:pt x="5734522" y="4284166"/>
                  <a:pt x="5733748" y="4284682"/>
                </a:cubicBezTo>
                <a:cubicBezTo>
                  <a:pt x="5734212" y="4285405"/>
                  <a:pt x="5733438" y="4285818"/>
                  <a:pt x="5733128" y="4287057"/>
                </a:cubicBezTo>
                <a:cubicBezTo>
                  <a:pt x="5732044" y="4288709"/>
                  <a:pt x="5729875" y="4290051"/>
                  <a:pt x="5728636" y="4289742"/>
                </a:cubicBezTo>
                <a:cubicBezTo>
                  <a:pt x="5727552" y="4289432"/>
                  <a:pt x="5727242" y="4288709"/>
                  <a:pt x="5727242" y="4288709"/>
                </a:cubicBezTo>
                <a:cubicBezTo>
                  <a:pt x="5727552" y="4285611"/>
                  <a:pt x="5728946" y="4282720"/>
                  <a:pt x="5732354" y="4283650"/>
                </a:cubicBezTo>
                <a:close/>
                <a:moveTo>
                  <a:pt x="5046783" y="4283133"/>
                </a:moveTo>
                <a:cubicBezTo>
                  <a:pt x="5048641" y="4284992"/>
                  <a:pt x="5050345" y="4286851"/>
                  <a:pt x="5052049" y="4288606"/>
                </a:cubicBezTo>
                <a:cubicBezTo>
                  <a:pt x="5050500" y="4289432"/>
                  <a:pt x="5049726" y="4291187"/>
                  <a:pt x="5048951" y="4292117"/>
                </a:cubicBezTo>
                <a:cubicBezTo>
                  <a:pt x="5046473" y="4291910"/>
                  <a:pt x="5044769" y="4290981"/>
                  <a:pt x="5043065" y="4288296"/>
                </a:cubicBezTo>
                <a:cubicBezTo>
                  <a:pt x="5044459" y="4284785"/>
                  <a:pt x="5043685" y="4285715"/>
                  <a:pt x="5046783" y="4283133"/>
                </a:cubicBezTo>
                <a:close/>
                <a:moveTo>
                  <a:pt x="1250284" y="4283115"/>
                </a:moveTo>
                <a:cubicBezTo>
                  <a:pt x="1252143" y="4283115"/>
                  <a:pt x="1256325" y="4291066"/>
                  <a:pt x="1252143" y="4291996"/>
                </a:cubicBezTo>
                <a:cubicBezTo>
                  <a:pt x="1251213" y="4291996"/>
                  <a:pt x="1250594" y="4291582"/>
                  <a:pt x="1250129" y="4290860"/>
                </a:cubicBezTo>
                <a:cubicBezTo>
                  <a:pt x="1248735" y="4288691"/>
                  <a:pt x="1249200" y="4284045"/>
                  <a:pt x="1250284" y="4283115"/>
                </a:cubicBezTo>
                <a:close/>
                <a:moveTo>
                  <a:pt x="5793228" y="4282927"/>
                </a:moveTo>
                <a:cubicBezTo>
                  <a:pt x="5800353" y="4290155"/>
                  <a:pt x="5796481" y="4297279"/>
                  <a:pt x="5797255" y="4299138"/>
                </a:cubicBezTo>
                <a:cubicBezTo>
                  <a:pt x="5795861" y="4300274"/>
                  <a:pt x="5795241" y="4300790"/>
                  <a:pt x="5794312" y="4300377"/>
                </a:cubicBezTo>
                <a:cubicBezTo>
                  <a:pt x="5793383" y="4300067"/>
                  <a:pt x="5792298" y="4298725"/>
                  <a:pt x="5789975" y="4296247"/>
                </a:cubicBezTo>
                <a:cubicBezTo>
                  <a:pt x="5789201" y="4295214"/>
                  <a:pt x="5788581" y="4294078"/>
                  <a:pt x="5788271" y="4292839"/>
                </a:cubicBezTo>
                <a:cubicBezTo>
                  <a:pt x="5788116" y="4291600"/>
                  <a:pt x="5788271" y="4290258"/>
                  <a:pt x="5788736" y="4289122"/>
                </a:cubicBezTo>
                <a:cubicBezTo>
                  <a:pt x="5787961" y="4287264"/>
                  <a:pt x="5788116" y="4284682"/>
                  <a:pt x="5789046" y="4283133"/>
                </a:cubicBezTo>
                <a:cubicBezTo>
                  <a:pt x="5790905" y="4281688"/>
                  <a:pt x="5792453" y="4281998"/>
                  <a:pt x="5793228" y="4282927"/>
                </a:cubicBezTo>
                <a:close/>
                <a:moveTo>
                  <a:pt x="1228599" y="4282496"/>
                </a:moveTo>
                <a:cubicBezTo>
                  <a:pt x="1237118" y="4285490"/>
                  <a:pt x="1242694" y="4296952"/>
                  <a:pt x="1241300" y="4302941"/>
                </a:cubicBezTo>
                <a:cubicBezTo>
                  <a:pt x="1232781" y="4299946"/>
                  <a:pt x="1228908" y="4288588"/>
                  <a:pt x="1228599" y="4282496"/>
                </a:cubicBezTo>
                <a:close/>
                <a:moveTo>
                  <a:pt x="1354064" y="4282186"/>
                </a:moveTo>
                <a:cubicBezTo>
                  <a:pt x="1354839" y="4281360"/>
                  <a:pt x="1354839" y="4281360"/>
                  <a:pt x="1355459" y="4282393"/>
                </a:cubicBezTo>
                <a:cubicBezTo>
                  <a:pt x="1355149" y="4282806"/>
                  <a:pt x="1354994" y="4282806"/>
                  <a:pt x="1354685" y="4282599"/>
                </a:cubicBezTo>
                <a:cubicBezTo>
                  <a:pt x="1354530" y="4282496"/>
                  <a:pt x="1354374" y="4282289"/>
                  <a:pt x="1354064" y="4282186"/>
                </a:cubicBezTo>
                <a:close/>
                <a:moveTo>
                  <a:pt x="5750167" y="4281275"/>
                </a:moveTo>
                <a:cubicBezTo>
                  <a:pt x="5751870" y="4281378"/>
                  <a:pt x="5754969" y="4282307"/>
                  <a:pt x="5755433" y="4284682"/>
                </a:cubicBezTo>
                <a:cubicBezTo>
                  <a:pt x="5755433" y="4284682"/>
                  <a:pt x="5755433" y="4284579"/>
                  <a:pt x="5755588" y="4285715"/>
                </a:cubicBezTo>
                <a:cubicBezTo>
                  <a:pt x="5753574" y="4284476"/>
                  <a:pt x="5750941" y="4282824"/>
                  <a:pt x="5750167" y="4281275"/>
                </a:cubicBezTo>
                <a:close/>
                <a:moveTo>
                  <a:pt x="5941619" y="4280242"/>
                </a:moveTo>
                <a:cubicBezTo>
                  <a:pt x="5943167" y="4280449"/>
                  <a:pt x="5944871" y="4279829"/>
                  <a:pt x="5946575" y="4280965"/>
                </a:cubicBezTo>
                <a:cubicBezTo>
                  <a:pt x="5948124" y="4282927"/>
                  <a:pt x="5946885" y="4287161"/>
                  <a:pt x="5945956" y="4288709"/>
                </a:cubicBezTo>
                <a:cubicBezTo>
                  <a:pt x="5945181" y="4289432"/>
                  <a:pt x="5944097" y="4289432"/>
                  <a:pt x="5943013" y="4289122"/>
                </a:cubicBezTo>
                <a:cubicBezTo>
                  <a:pt x="5942083" y="4288709"/>
                  <a:pt x="5940999" y="4287883"/>
                  <a:pt x="5940224" y="4286954"/>
                </a:cubicBezTo>
                <a:cubicBezTo>
                  <a:pt x="5939450" y="4286334"/>
                  <a:pt x="5939140" y="4285405"/>
                  <a:pt x="5939140" y="4284476"/>
                </a:cubicBezTo>
                <a:cubicBezTo>
                  <a:pt x="5939140" y="4283443"/>
                  <a:pt x="5939295" y="4282410"/>
                  <a:pt x="5939760" y="4281584"/>
                </a:cubicBezTo>
                <a:cubicBezTo>
                  <a:pt x="5940689" y="4280862"/>
                  <a:pt x="5940689" y="4280965"/>
                  <a:pt x="5941619" y="4280242"/>
                </a:cubicBezTo>
                <a:close/>
                <a:moveTo>
                  <a:pt x="1282812" y="4280224"/>
                </a:moveTo>
                <a:lnTo>
                  <a:pt x="1284206" y="4282186"/>
                </a:lnTo>
                <a:lnTo>
                  <a:pt x="1289473" y="4283115"/>
                </a:lnTo>
                <a:cubicBezTo>
                  <a:pt x="1291487" y="4283942"/>
                  <a:pt x="1293345" y="4285387"/>
                  <a:pt x="1294585" y="4287556"/>
                </a:cubicBezTo>
                <a:cubicBezTo>
                  <a:pt x="1294585" y="4291479"/>
                  <a:pt x="1291797" y="4294164"/>
                  <a:pt x="1288389" y="4295713"/>
                </a:cubicBezTo>
                <a:lnTo>
                  <a:pt x="1288078" y="4295816"/>
                </a:lnTo>
                <a:lnTo>
                  <a:pt x="1287769" y="4297055"/>
                </a:lnTo>
                <a:cubicBezTo>
                  <a:pt x="1287459" y="4298707"/>
                  <a:pt x="1286530" y="4299533"/>
                  <a:pt x="1285600" y="4300256"/>
                </a:cubicBezTo>
                <a:lnTo>
                  <a:pt x="1283896" y="4302011"/>
                </a:lnTo>
                <a:lnTo>
                  <a:pt x="1281418" y="4308413"/>
                </a:lnTo>
                <a:cubicBezTo>
                  <a:pt x="1279560" y="4310995"/>
                  <a:pt x="1277081" y="4312750"/>
                  <a:pt x="1274138" y="4312957"/>
                </a:cubicBezTo>
                <a:cubicBezTo>
                  <a:pt x="1277546" y="4307484"/>
                  <a:pt x="1277391" y="4302011"/>
                  <a:pt x="1277546" y="4296539"/>
                </a:cubicBezTo>
                <a:lnTo>
                  <a:pt x="1277701" y="4296126"/>
                </a:lnTo>
                <a:lnTo>
                  <a:pt x="1275377" y="4292305"/>
                </a:lnTo>
                <a:cubicBezTo>
                  <a:pt x="1274758" y="4290860"/>
                  <a:pt x="1274758" y="4289517"/>
                  <a:pt x="1275067" y="4288278"/>
                </a:cubicBezTo>
                <a:lnTo>
                  <a:pt x="1275222" y="4287969"/>
                </a:lnTo>
                <a:lnTo>
                  <a:pt x="1274603" y="4288175"/>
                </a:lnTo>
                <a:cubicBezTo>
                  <a:pt x="1273983" y="4288381"/>
                  <a:pt x="1273364" y="4288691"/>
                  <a:pt x="1272744" y="4288485"/>
                </a:cubicBezTo>
                <a:cubicBezTo>
                  <a:pt x="1272744" y="4288485"/>
                  <a:pt x="1271040" y="4286523"/>
                  <a:pt x="1271040" y="4286523"/>
                </a:cubicBezTo>
                <a:cubicBezTo>
                  <a:pt x="1271505" y="4285284"/>
                  <a:pt x="1271505" y="4285387"/>
                  <a:pt x="1271815" y="4286110"/>
                </a:cubicBezTo>
                <a:cubicBezTo>
                  <a:pt x="1273054" y="4284561"/>
                  <a:pt x="1273983" y="4284148"/>
                  <a:pt x="1274758" y="4283735"/>
                </a:cubicBezTo>
                <a:lnTo>
                  <a:pt x="1275997" y="4286936"/>
                </a:lnTo>
                <a:lnTo>
                  <a:pt x="1278011" y="4284045"/>
                </a:lnTo>
                <a:lnTo>
                  <a:pt x="1281573" y="4282703"/>
                </a:lnTo>
                <a:close/>
                <a:moveTo>
                  <a:pt x="1457071" y="4280018"/>
                </a:moveTo>
                <a:cubicBezTo>
                  <a:pt x="1456915" y="4280844"/>
                  <a:pt x="1456915" y="4282599"/>
                  <a:pt x="1458620" y="4283632"/>
                </a:cubicBezTo>
                <a:cubicBezTo>
                  <a:pt x="1457690" y="4284355"/>
                  <a:pt x="1456915" y="4285180"/>
                  <a:pt x="1455986" y="4285490"/>
                </a:cubicBezTo>
                <a:cubicBezTo>
                  <a:pt x="1455677" y="4285697"/>
                  <a:pt x="1455212" y="4285697"/>
                  <a:pt x="1454747" y="4285594"/>
                </a:cubicBezTo>
                <a:cubicBezTo>
                  <a:pt x="1454282" y="4285490"/>
                  <a:pt x="1453972" y="4285284"/>
                  <a:pt x="1453508" y="4284768"/>
                </a:cubicBezTo>
                <a:cubicBezTo>
                  <a:pt x="1452734" y="4283838"/>
                  <a:pt x="1451959" y="4282806"/>
                  <a:pt x="1451959" y="4281050"/>
                </a:cubicBezTo>
                <a:cubicBezTo>
                  <a:pt x="1453663" y="4279605"/>
                  <a:pt x="1456141" y="4280741"/>
                  <a:pt x="1457071" y="4280018"/>
                </a:cubicBezTo>
                <a:close/>
                <a:moveTo>
                  <a:pt x="5126864" y="4279829"/>
                </a:moveTo>
                <a:cubicBezTo>
                  <a:pt x="5127638" y="4280449"/>
                  <a:pt x="5128103" y="4281481"/>
                  <a:pt x="5128103" y="4283340"/>
                </a:cubicBezTo>
                <a:cubicBezTo>
                  <a:pt x="5126709" y="4284063"/>
                  <a:pt x="5123456" y="4285199"/>
                  <a:pt x="5120359" y="4285405"/>
                </a:cubicBezTo>
                <a:cubicBezTo>
                  <a:pt x="5117260" y="4285715"/>
                  <a:pt x="5114472" y="4285095"/>
                  <a:pt x="5114008" y="4282824"/>
                </a:cubicBezTo>
                <a:cubicBezTo>
                  <a:pt x="5113853" y="4282101"/>
                  <a:pt x="5114008" y="4281275"/>
                  <a:pt x="5114317" y="4280345"/>
                </a:cubicBezTo>
                <a:cubicBezTo>
                  <a:pt x="5119584" y="4280552"/>
                  <a:pt x="5124541" y="4277971"/>
                  <a:pt x="5126864" y="4279829"/>
                </a:cubicBezTo>
                <a:close/>
                <a:moveTo>
                  <a:pt x="1529717" y="4279811"/>
                </a:moveTo>
                <a:cubicBezTo>
                  <a:pt x="1530491" y="4279502"/>
                  <a:pt x="1530647" y="4280328"/>
                  <a:pt x="1531421" y="4280018"/>
                </a:cubicBezTo>
                <a:cubicBezTo>
                  <a:pt x="1531421" y="4280018"/>
                  <a:pt x="1531730" y="4280741"/>
                  <a:pt x="1531730" y="4280741"/>
                </a:cubicBezTo>
                <a:cubicBezTo>
                  <a:pt x="1532040" y="4280637"/>
                  <a:pt x="1532040" y="4280637"/>
                  <a:pt x="1532040" y="4280947"/>
                </a:cubicBezTo>
                <a:cubicBezTo>
                  <a:pt x="1531885" y="4281154"/>
                  <a:pt x="1531575" y="4281670"/>
                  <a:pt x="1531421" y="4282599"/>
                </a:cubicBezTo>
                <a:cubicBezTo>
                  <a:pt x="1530956" y="4283735"/>
                  <a:pt x="1531111" y="4284561"/>
                  <a:pt x="1530182" y="4284045"/>
                </a:cubicBezTo>
                <a:cubicBezTo>
                  <a:pt x="1529717" y="4283838"/>
                  <a:pt x="1529407" y="4283735"/>
                  <a:pt x="1529252" y="4283322"/>
                </a:cubicBezTo>
                <a:cubicBezTo>
                  <a:pt x="1528943" y="4283012"/>
                  <a:pt x="1528788" y="4282393"/>
                  <a:pt x="1528478" y="4281257"/>
                </a:cubicBezTo>
                <a:cubicBezTo>
                  <a:pt x="1529407" y="4281670"/>
                  <a:pt x="1529407" y="4281670"/>
                  <a:pt x="1530027" y="4280534"/>
                </a:cubicBezTo>
                <a:cubicBezTo>
                  <a:pt x="1530027" y="4280534"/>
                  <a:pt x="1530027" y="4280637"/>
                  <a:pt x="1529717" y="4279811"/>
                </a:cubicBezTo>
                <a:close/>
                <a:moveTo>
                  <a:pt x="1105766" y="4279192"/>
                </a:moveTo>
                <a:cubicBezTo>
                  <a:pt x="1106385" y="4279089"/>
                  <a:pt x="1106850" y="4279192"/>
                  <a:pt x="1107315" y="4279708"/>
                </a:cubicBezTo>
                <a:cubicBezTo>
                  <a:pt x="1106075" y="4280844"/>
                  <a:pt x="1104681" y="4282909"/>
                  <a:pt x="1102668" y="4283322"/>
                </a:cubicBezTo>
                <a:cubicBezTo>
                  <a:pt x="1102048" y="4283529"/>
                  <a:pt x="1101429" y="4283529"/>
                  <a:pt x="1100499" y="4283115"/>
                </a:cubicBezTo>
                <a:cubicBezTo>
                  <a:pt x="1101893" y="4281980"/>
                  <a:pt x="1104062" y="4279605"/>
                  <a:pt x="1105766" y="4279192"/>
                </a:cubicBezTo>
                <a:close/>
                <a:moveTo>
                  <a:pt x="5602705" y="4277558"/>
                </a:moveTo>
                <a:cubicBezTo>
                  <a:pt x="5606733" y="4276318"/>
                  <a:pt x="5609986" y="4279829"/>
                  <a:pt x="5606578" y="4284476"/>
                </a:cubicBezTo>
                <a:cubicBezTo>
                  <a:pt x="5604254" y="4283133"/>
                  <a:pt x="5602086" y="4281688"/>
                  <a:pt x="5601931" y="4279726"/>
                </a:cubicBezTo>
                <a:cubicBezTo>
                  <a:pt x="5601931" y="4279106"/>
                  <a:pt x="5602086" y="4278384"/>
                  <a:pt x="5602705" y="4277558"/>
                </a:cubicBezTo>
                <a:close/>
                <a:moveTo>
                  <a:pt x="5830713" y="4277248"/>
                </a:moveTo>
                <a:cubicBezTo>
                  <a:pt x="5834895" y="4280759"/>
                  <a:pt x="5837528" y="4284166"/>
                  <a:pt x="5838767" y="4287470"/>
                </a:cubicBezTo>
                <a:lnTo>
                  <a:pt x="5839232" y="4295731"/>
                </a:lnTo>
                <a:lnTo>
                  <a:pt x="5843414" y="4299861"/>
                </a:lnTo>
                <a:lnTo>
                  <a:pt x="5845893" y="4299241"/>
                </a:lnTo>
                <a:cubicBezTo>
                  <a:pt x="5847287" y="4299448"/>
                  <a:pt x="5848681" y="4300274"/>
                  <a:pt x="5849610" y="4301616"/>
                </a:cubicBezTo>
                <a:lnTo>
                  <a:pt x="5849300" y="4302545"/>
                </a:lnTo>
                <a:lnTo>
                  <a:pt x="5850384" y="4302649"/>
                </a:lnTo>
                <a:cubicBezTo>
                  <a:pt x="5851314" y="4302959"/>
                  <a:pt x="5852088" y="4303475"/>
                  <a:pt x="5853018" y="4304301"/>
                </a:cubicBezTo>
                <a:cubicBezTo>
                  <a:pt x="5855651" y="4306986"/>
                  <a:pt x="5857665" y="4313181"/>
                  <a:pt x="5855186" y="4315659"/>
                </a:cubicBezTo>
                <a:cubicBezTo>
                  <a:pt x="5852863" y="4318963"/>
                  <a:pt x="5850384" y="4319686"/>
                  <a:pt x="5847752" y="4319583"/>
                </a:cubicBezTo>
                <a:cubicBezTo>
                  <a:pt x="5847752" y="4319583"/>
                  <a:pt x="5847752" y="4319583"/>
                  <a:pt x="5848681" y="4319583"/>
                </a:cubicBezTo>
                <a:cubicBezTo>
                  <a:pt x="5852243" y="4323197"/>
                  <a:pt x="5858284" y="4329496"/>
                  <a:pt x="5857665" y="4332077"/>
                </a:cubicBezTo>
                <a:cubicBezTo>
                  <a:pt x="5856735" y="4332077"/>
                  <a:pt x="5855961" y="4331973"/>
                  <a:pt x="5855031" y="4331147"/>
                </a:cubicBezTo>
                <a:cubicBezTo>
                  <a:pt x="5854102" y="4330218"/>
                  <a:pt x="5855031" y="4330218"/>
                  <a:pt x="5854257" y="4330218"/>
                </a:cubicBezTo>
                <a:lnTo>
                  <a:pt x="5853947" y="4330115"/>
                </a:lnTo>
                <a:lnTo>
                  <a:pt x="5855651" y="4332800"/>
                </a:lnTo>
                <a:cubicBezTo>
                  <a:pt x="5854102" y="4334452"/>
                  <a:pt x="5855031" y="4336207"/>
                  <a:pt x="5853328" y="4337859"/>
                </a:cubicBezTo>
                <a:cubicBezTo>
                  <a:pt x="5848061" y="4332490"/>
                  <a:pt x="5842020" y="4327017"/>
                  <a:pt x="5844344" y="4321958"/>
                </a:cubicBezTo>
                <a:lnTo>
                  <a:pt x="5842640" y="4319376"/>
                </a:lnTo>
                <a:cubicBezTo>
                  <a:pt x="5843414" y="4317621"/>
                  <a:pt x="5843414" y="4317621"/>
                  <a:pt x="5844344" y="4317724"/>
                </a:cubicBezTo>
                <a:lnTo>
                  <a:pt x="5842950" y="4316175"/>
                </a:lnTo>
                <a:lnTo>
                  <a:pt x="5841555" y="4320306"/>
                </a:lnTo>
                <a:lnTo>
                  <a:pt x="5839697" y="4322061"/>
                </a:lnTo>
                <a:lnTo>
                  <a:pt x="5839851" y="4322887"/>
                </a:lnTo>
                <a:cubicBezTo>
                  <a:pt x="5840006" y="4326295"/>
                  <a:pt x="5839542" y="4329599"/>
                  <a:pt x="5838458" y="4332800"/>
                </a:cubicBezTo>
                <a:cubicBezTo>
                  <a:pt x="5836444" y="4332697"/>
                  <a:pt x="5834431" y="4332180"/>
                  <a:pt x="5832572" y="4331457"/>
                </a:cubicBezTo>
                <a:lnTo>
                  <a:pt x="5829629" y="4330218"/>
                </a:lnTo>
                <a:lnTo>
                  <a:pt x="5828389" y="4333729"/>
                </a:lnTo>
                <a:cubicBezTo>
                  <a:pt x="5827460" y="4334865"/>
                  <a:pt x="5826221" y="4335484"/>
                  <a:pt x="5824827" y="4335691"/>
                </a:cubicBezTo>
                <a:cubicBezTo>
                  <a:pt x="5823897" y="4334555"/>
                  <a:pt x="5823433" y="4333419"/>
                  <a:pt x="5823433" y="4332283"/>
                </a:cubicBezTo>
                <a:cubicBezTo>
                  <a:pt x="5823433" y="4330528"/>
                  <a:pt x="5824207" y="4329082"/>
                  <a:pt x="5825446" y="4328256"/>
                </a:cubicBezTo>
                <a:lnTo>
                  <a:pt x="5825756" y="4328153"/>
                </a:lnTo>
                <a:lnTo>
                  <a:pt x="5819406" y="4324333"/>
                </a:lnTo>
                <a:lnTo>
                  <a:pt x="5816772" y="4327017"/>
                </a:lnTo>
                <a:cubicBezTo>
                  <a:pt x="5815533" y="4327946"/>
                  <a:pt x="5813984" y="4328360"/>
                  <a:pt x="5812125" y="4328360"/>
                </a:cubicBezTo>
                <a:cubicBezTo>
                  <a:pt x="5811970" y="4319789"/>
                  <a:pt x="5817547" y="4318137"/>
                  <a:pt x="5822348" y="4315866"/>
                </a:cubicBezTo>
                <a:cubicBezTo>
                  <a:pt x="5822503" y="4316795"/>
                  <a:pt x="5822503" y="4318034"/>
                  <a:pt x="5822039" y="4319376"/>
                </a:cubicBezTo>
                <a:lnTo>
                  <a:pt x="5821109" y="4321751"/>
                </a:lnTo>
                <a:lnTo>
                  <a:pt x="5821884" y="4321441"/>
                </a:lnTo>
                <a:cubicBezTo>
                  <a:pt x="5823587" y="4321235"/>
                  <a:pt x="5825137" y="4321132"/>
                  <a:pt x="5826840" y="4320822"/>
                </a:cubicBezTo>
                <a:lnTo>
                  <a:pt x="5830713" y="4319067"/>
                </a:lnTo>
                <a:lnTo>
                  <a:pt x="5828080" y="4309051"/>
                </a:lnTo>
                <a:lnTo>
                  <a:pt x="5828544" y="4302545"/>
                </a:lnTo>
                <a:lnTo>
                  <a:pt x="5826066" y="4302855"/>
                </a:lnTo>
                <a:cubicBezTo>
                  <a:pt x="5822039" y="4302029"/>
                  <a:pt x="5817547" y="4299241"/>
                  <a:pt x="5813674" y="4293975"/>
                </a:cubicBezTo>
                <a:cubicBezTo>
                  <a:pt x="5813519" y="4291910"/>
                  <a:pt x="5814139" y="4289742"/>
                  <a:pt x="5815223" y="4287573"/>
                </a:cubicBezTo>
                <a:cubicBezTo>
                  <a:pt x="5818476" y="4281275"/>
                  <a:pt x="5825911" y="4275699"/>
                  <a:pt x="5830713" y="4277248"/>
                </a:cubicBezTo>
                <a:close/>
                <a:moveTo>
                  <a:pt x="5862466" y="4274150"/>
                </a:moveTo>
                <a:cubicBezTo>
                  <a:pt x="5863551" y="4274253"/>
                  <a:pt x="5865409" y="4273634"/>
                  <a:pt x="5867113" y="4274357"/>
                </a:cubicBezTo>
                <a:cubicBezTo>
                  <a:pt x="5867733" y="4276628"/>
                  <a:pt x="5866804" y="4277764"/>
                  <a:pt x="5865720" y="4278177"/>
                </a:cubicBezTo>
                <a:cubicBezTo>
                  <a:pt x="5864480" y="4278487"/>
                  <a:pt x="5863086" y="4277971"/>
                  <a:pt x="5862312" y="4276938"/>
                </a:cubicBezTo>
                <a:cubicBezTo>
                  <a:pt x="5861847" y="4276215"/>
                  <a:pt x="5861847" y="4275286"/>
                  <a:pt x="5862466" y="4274150"/>
                </a:cubicBezTo>
                <a:close/>
                <a:moveTo>
                  <a:pt x="5510233" y="4273943"/>
                </a:moveTo>
                <a:cubicBezTo>
                  <a:pt x="5508219" y="4278384"/>
                  <a:pt x="5502332" y="4283443"/>
                  <a:pt x="5497531" y="4282927"/>
                </a:cubicBezTo>
                <a:cubicBezTo>
                  <a:pt x="5495982" y="4282824"/>
                  <a:pt x="5494588" y="4281998"/>
                  <a:pt x="5493349" y="4280345"/>
                </a:cubicBezTo>
                <a:cubicBezTo>
                  <a:pt x="5498615" y="4278177"/>
                  <a:pt x="5504346" y="4274253"/>
                  <a:pt x="5510233" y="4273943"/>
                </a:cubicBezTo>
                <a:close/>
                <a:moveTo>
                  <a:pt x="1185886" y="4273861"/>
                </a:moveTo>
                <a:cubicBezTo>
                  <a:pt x="1188597" y="4272661"/>
                  <a:pt x="1192120" y="4273564"/>
                  <a:pt x="1194366" y="4277643"/>
                </a:cubicBezTo>
                <a:cubicBezTo>
                  <a:pt x="1192353" y="4280637"/>
                  <a:pt x="1190494" y="4282289"/>
                  <a:pt x="1188480" y="4283012"/>
                </a:cubicBezTo>
                <a:cubicBezTo>
                  <a:pt x="1187396" y="4283425"/>
                  <a:pt x="1186466" y="4283529"/>
                  <a:pt x="1185383" y="4283529"/>
                </a:cubicBezTo>
                <a:cubicBezTo>
                  <a:pt x="1184298" y="4283425"/>
                  <a:pt x="1183369" y="4283115"/>
                  <a:pt x="1182285" y="4282703"/>
                </a:cubicBezTo>
                <a:cubicBezTo>
                  <a:pt x="1181278" y="4278366"/>
                  <a:pt x="1183175" y="4275062"/>
                  <a:pt x="1185886" y="4273861"/>
                </a:cubicBezTo>
                <a:close/>
                <a:moveTo>
                  <a:pt x="4977912" y="4273324"/>
                </a:moveTo>
                <a:cubicBezTo>
                  <a:pt x="4980952" y="4272369"/>
                  <a:pt x="4983508" y="4274357"/>
                  <a:pt x="4980797" y="4283443"/>
                </a:cubicBezTo>
                <a:cubicBezTo>
                  <a:pt x="4975066" y="4283960"/>
                  <a:pt x="4972587" y="4282720"/>
                  <a:pt x="4972122" y="4280862"/>
                </a:cubicBezTo>
                <a:cubicBezTo>
                  <a:pt x="4971348" y="4278177"/>
                  <a:pt x="4974872" y="4274279"/>
                  <a:pt x="4977912" y="4273324"/>
                </a:cubicBezTo>
                <a:close/>
                <a:moveTo>
                  <a:pt x="1327732" y="4272997"/>
                </a:moveTo>
                <a:cubicBezTo>
                  <a:pt x="1329126" y="4273203"/>
                  <a:pt x="1330366" y="4273822"/>
                  <a:pt x="1331295" y="4275062"/>
                </a:cubicBezTo>
                <a:cubicBezTo>
                  <a:pt x="1332534" y="4276610"/>
                  <a:pt x="1332999" y="4279089"/>
                  <a:pt x="1331759" y="4282496"/>
                </a:cubicBezTo>
                <a:cubicBezTo>
                  <a:pt x="1328042" y="4284458"/>
                  <a:pt x="1325719" y="4283322"/>
                  <a:pt x="1322776" y="4283838"/>
                </a:cubicBezTo>
                <a:cubicBezTo>
                  <a:pt x="1318903" y="4276301"/>
                  <a:pt x="1323705" y="4272480"/>
                  <a:pt x="1327732" y="4272997"/>
                </a:cubicBezTo>
                <a:close/>
                <a:moveTo>
                  <a:pt x="1221784" y="4271757"/>
                </a:moveTo>
                <a:cubicBezTo>
                  <a:pt x="1220699" y="4273719"/>
                  <a:pt x="1219769" y="4274648"/>
                  <a:pt x="1218530" y="4274958"/>
                </a:cubicBezTo>
                <a:cubicBezTo>
                  <a:pt x="1217446" y="4275268"/>
                  <a:pt x="1216207" y="4275062"/>
                  <a:pt x="1214658" y="4274442"/>
                </a:cubicBezTo>
                <a:cubicBezTo>
                  <a:pt x="1216362" y="4271861"/>
                  <a:pt x="1218221" y="4271757"/>
                  <a:pt x="1221784" y="4271757"/>
                </a:cubicBezTo>
                <a:close/>
                <a:moveTo>
                  <a:pt x="1210166" y="4270621"/>
                </a:moveTo>
                <a:cubicBezTo>
                  <a:pt x="1219150" y="4279605"/>
                  <a:pt x="1216827" y="4283942"/>
                  <a:pt x="1212025" y="4284974"/>
                </a:cubicBezTo>
                <a:cubicBezTo>
                  <a:pt x="1210785" y="4285180"/>
                  <a:pt x="1209392" y="4285284"/>
                  <a:pt x="1207998" y="4285180"/>
                </a:cubicBezTo>
                <a:cubicBezTo>
                  <a:pt x="1203970" y="4284768"/>
                  <a:pt x="1199788" y="4282909"/>
                  <a:pt x="1199478" y="4280018"/>
                </a:cubicBezTo>
                <a:cubicBezTo>
                  <a:pt x="1199169" y="4277436"/>
                  <a:pt x="1201802" y="4274236"/>
                  <a:pt x="1210166" y="4270621"/>
                </a:cubicBezTo>
                <a:close/>
                <a:moveTo>
                  <a:pt x="1423613" y="4270105"/>
                </a:moveTo>
                <a:cubicBezTo>
                  <a:pt x="1424233" y="4269692"/>
                  <a:pt x="1425162" y="4269796"/>
                  <a:pt x="1426092" y="4270105"/>
                </a:cubicBezTo>
                <a:cubicBezTo>
                  <a:pt x="1429034" y="4271035"/>
                  <a:pt x="1433217" y="4274339"/>
                  <a:pt x="1435075" y="4276507"/>
                </a:cubicBezTo>
                <a:cubicBezTo>
                  <a:pt x="1434301" y="4276817"/>
                  <a:pt x="1433526" y="4276817"/>
                  <a:pt x="1432442" y="4276507"/>
                </a:cubicBezTo>
                <a:cubicBezTo>
                  <a:pt x="1429499" y="4275578"/>
                  <a:pt x="1425317" y="4272170"/>
                  <a:pt x="1423613" y="4270105"/>
                </a:cubicBezTo>
                <a:close/>
                <a:moveTo>
                  <a:pt x="5655060" y="4270020"/>
                </a:moveTo>
                <a:cubicBezTo>
                  <a:pt x="5656145" y="4270330"/>
                  <a:pt x="5656145" y="4270330"/>
                  <a:pt x="5657539" y="4272498"/>
                </a:cubicBezTo>
                <a:cubicBezTo>
                  <a:pt x="5656455" y="4272188"/>
                  <a:pt x="5656455" y="4272188"/>
                  <a:pt x="5656300" y="4273324"/>
                </a:cubicBezTo>
                <a:cubicBezTo>
                  <a:pt x="5656300" y="4273324"/>
                  <a:pt x="5656300" y="4273427"/>
                  <a:pt x="5656764" y="4274150"/>
                </a:cubicBezTo>
                <a:cubicBezTo>
                  <a:pt x="5656145" y="4274563"/>
                  <a:pt x="5655680" y="4273737"/>
                  <a:pt x="5655060" y="4274150"/>
                </a:cubicBezTo>
                <a:cubicBezTo>
                  <a:pt x="5655060" y="4274150"/>
                  <a:pt x="5654441" y="4273531"/>
                  <a:pt x="5654441" y="4273531"/>
                </a:cubicBezTo>
                <a:cubicBezTo>
                  <a:pt x="5654131" y="4273737"/>
                  <a:pt x="5654286" y="4273737"/>
                  <a:pt x="5654286" y="4273427"/>
                </a:cubicBezTo>
                <a:cubicBezTo>
                  <a:pt x="5654286" y="4273117"/>
                  <a:pt x="5654286" y="4272498"/>
                  <a:pt x="5654131" y="4271569"/>
                </a:cubicBezTo>
                <a:cubicBezTo>
                  <a:pt x="5654286" y="4270433"/>
                  <a:pt x="5653976" y="4269813"/>
                  <a:pt x="5655060" y="4270020"/>
                </a:cubicBezTo>
                <a:close/>
                <a:moveTo>
                  <a:pt x="5835824" y="4269813"/>
                </a:moveTo>
                <a:cubicBezTo>
                  <a:pt x="5837993" y="4274047"/>
                  <a:pt x="5833191" y="4277867"/>
                  <a:pt x="5831487" y="4277454"/>
                </a:cubicBezTo>
                <a:cubicBezTo>
                  <a:pt x="5830558" y="4275286"/>
                  <a:pt x="5831642" y="4272085"/>
                  <a:pt x="5830558" y="4270020"/>
                </a:cubicBezTo>
                <a:cubicBezTo>
                  <a:pt x="5832107" y="4270536"/>
                  <a:pt x="5834275" y="4269297"/>
                  <a:pt x="5835824" y="4269813"/>
                </a:cubicBezTo>
                <a:close/>
                <a:moveTo>
                  <a:pt x="1035907" y="4269589"/>
                </a:moveTo>
                <a:cubicBezTo>
                  <a:pt x="1039316" y="4268866"/>
                  <a:pt x="1052637" y="4269796"/>
                  <a:pt x="1047990" y="4276817"/>
                </a:cubicBezTo>
                <a:lnTo>
                  <a:pt x="1048919" y="4279192"/>
                </a:lnTo>
                <a:cubicBezTo>
                  <a:pt x="1048764" y="4280328"/>
                  <a:pt x="1047990" y="4281360"/>
                  <a:pt x="1046750" y="4282496"/>
                </a:cubicBezTo>
                <a:cubicBezTo>
                  <a:pt x="1045976" y="4281257"/>
                  <a:pt x="1045666" y="4280224"/>
                  <a:pt x="1045821" y="4278985"/>
                </a:cubicBezTo>
                <a:lnTo>
                  <a:pt x="1046595" y="4276507"/>
                </a:lnTo>
                <a:lnTo>
                  <a:pt x="1040864" y="4275371"/>
                </a:lnTo>
                <a:cubicBezTo>
                  <a:pt x="1038696" y="4275165"/>
                  <a:pt x="1036992" y="4274752"/>
                  <a:pt x="1036062" y="4273513"/>
                </a:cubicBezTo>
                <a:cubicBezTo>
                  <a:pt x="1035598" y="4272687"/>
                  <a:pt x="1035443" y="4271447"/>
                  <a:pt x="1035907" y="4269589"/>
                </a:cubicBezTo>
                <a:close/>
                <a:moveTo>
                  <a:pt x="5375782" y="4269400"/>
                </a:moveTo>
                <a:cubicBezTo>
                  <a:pt x="5377486" y="4270123"/>
                  <a:pt x="5378416" y="4270949"/>
                  <a:pt x="5380274" y="4271775"/>
                </a:cubicBezTo>
                <a:cubicBezTo>
                  <a:pt x="5380584" y="4274357"/>
                  <a:pt x="5383527" y="4276732"/>
                  <a:pt x="5380894" y="4282101"/>
                </a:cubicBezTo>
                <a:cubicBezTo>
                  <a:pt x="5377486" y="4287573"/>
                  <a:pt x="5371755" y="4283546"/>
                  <a:pt x="5371910" y="4284372"/>
                </a:cubicBezTo>
                <a:cubicBezTo>
                  <a:pt x="5371135" y="4285302"/>
                  <a:pt x="5371135" y="4285302"/>
                  <a:pt x="5371290" y="4286231"/>
                </a:cubicBezTo>
                <a:cubicBezTo>
                  <a:pt x="5370516" y="4286231"/>
                  <a:pt x="5368967" y="4287264"/>
                  <a:pt x="5368192" y="4288090"/>
                </a:cubicBezTo>
                <a:cubicBezTo>
                  <a:pt x="5368038" y="4287264"/>
                  <a:pt x="5368038" y="4286438"/>
                  <a:pt x="5367108" y="4286438"/>
                </a:cubicBezTo>
                <a:cubicBezTo>
                  <a:pt x="5368502" y="4284579"/>
                  <a:pt x="5369432" y="4284579"/>
                  <a:pt x="5370051" y="4283650"/>
                </a:cubicBezTo>
                <a:cubicBezTo>
                  <a:pt x="5369277" y="4283753"/>
                  <a:pt x="5370051" y="4282824"/>
                  <a:pt x="5370051" y="4282824"/>
                </a:cubicBezTo>
                <a:cubicBezTo>
                  <a:pt x="5370051" y="4282824"/>
                  <a:pt x="5370051" y="4282824"/>
                  <a:pt x="5368038" y="4281171"/>
                </a:cubicBezTo>
                <a:cubicBezTo>
                  <a:pt x="5368038" y="4281171"/>
                  <a:pt x="5364165" y="4277041"/>
                  <a:pt x="5366954" y="4272498"/>
                </a:cubicBezTo>
                <a:cubicBezTo>
                  <a:pt x="5367883" y="4273324"/>
                  <a:pt x="5372065" y="4267851"/>
                  <a:pt x="5375782" y="4269400"/>
                </a:cubicBezTo>
                <a:close/>
                <a:moveTo>
                  <a:pt x="1302445" y="4268943"/>
                </a:moveTo>
                <a:cubicBezTo>
                  <a:pt x="1304769" y="4269485"/>
                  <a:pt x="1306821" y="4271086"/>
                  <a:pt x="1308060" y="4273203"/>
                </a:cubicBezTo>
                <a:cubicBezTo>
                  <a:pt x="1309145" y="4275062"/>
                  <a:pt x="1309610" y="4277230"/>
                  <a:pt x="1309145" y="4279502"/>
                </a:cubicBezTo>
                <a:lnTo>
                  <a:pt x="1308525" y="4280637"/>
                </a:lnTo>
                <a:lnTo>
                  <a:pt x="1310384" y="4279605"/>
                </a:lnTo>
                <a:cubicBezTo>
                  <a:pt x="1313791" y="4278159"/>
                  <a:pt x="1317509" y="4277953"/>
                  <a:pt x="1320607" y="4281464"/>
                </a:cubicBezTo>
                <a:cubicBezTo>
                  <a:pt x="1319058" y="4288381"/>
                  <a:pt x="1310694" y="4294267"/>
                  <a:pt x="1305427" y="4293338"/>
                </a:cubicBezTo>
                <a:cubicBezTo>
                  <a:pt x="1303723" y="4293028"/>
                  <a:pt x="1302174" y="4291996"/>
                  <a:pt x="1301555" y="4290034"/>
                </a:cubicBezTo>
                <a:lnTo>
                  <a:pt x="1301245" y="4287452"/>
                </a:lnTo>
                <a:cubicBezTo>
                  <a:pt x="1295204" y="4284665"/>
                  <a:pt x="1294430" y="4280844"/>
                  <a:pt x="1290867" y="4277643"/>
                </a:cubicBezTo>
                <a:lnTo>
                  <a:pt x="1293655" y="4273513"/>
                </a:lnTo>
                <a:lnTo>
                  <a:pt x="1293500" y="4273100"/>
                </a:lnTo>
                <a:lnTo>
                  <a:pt x="1294120" y="4272790"/>
                </a:lnTo>
                <a:lnTo>
                  <a:pt x="1295204" y="4271035"/>
                </a:lnTo>
                <a:cubicBezTo>
                  <a:pt x="1297527" y="4268918"/>
                  <a:pt x="1300122" y="4268401"/>
                  <a:pt x="1302445" y="4268943"/>
                </a:cubicBezTo>
                <a:close/>
                <a:moveTo>
                  <a:pt x="5724764" y="4268265"/>
                </a:moveTo>
                <a:lnTo>
                  <a:pt x="5725228" y="4270123"/>
                </a:lnTo>
                <a:lnTo>
                  <a:pt x="5725848" y="4269607"/>
                </a:lnTo>
                <a:cubicBezTo>
                  <a:pt x="5726932" y="4268677"/>
                  <a:pt x="5728326" y="4267955"/>
                  <a:pt x="5729875" y="4268471"/>
                </a:cubicBezTo>
                <a:cubicBezTo>
                  <a:pt x="5729256" y="4269091"/>
                  <a:pt x="5728172" y="4270123"/>
                  <a:pt x="5727242" y="4271052"/>
                </a:cubicBezTo>
                <a:lnTo>
                  <a:pt x="5725848" y="4271982"/>
                </a:lnTo>
                <a:lnTo>
                  <a:pt x="5726623" y="4274150"/>
                </a:lnTo>
                <a:lnTo>
                  <a:pt x="5724764" y="4277971"/>
                </a:lnTo>
                <a:lnTo>
                  <a:pt x="5726468" y="4278384"/>
                </a:lnTo>
                <a:cubicBezTo>
                  <a:pt x="5726158" y="4279623"/>
                  <a:pt x="5725228" y="4281275"/>
                  <a:pt x="5723989" y="4280965"/>
                </a:cubicBezTo>
                <a:lnTo>
                  <a:pt x="5723370" y="4280345"/>
                </a:lnTo>
                <a:lnTo>
                  <a:pt x="5721046" y="4279829"/>
                </a:lnTo>
                <a:lnTo>
                  <a:pt x="5720581" y="4281068"/>
                </a:lnTo>
                <a:cubicBezTo>
                  <a:pt x="5719807" y="4282307"/>
                  <a:pt x="5718723" y="4283237"/>
                  <a:pt x="5717329" y="4283133"/>
                </a:cubicBezTo>
                <a:cubicBezTo>
                  <a:pt x="5716864" y="4282410"/>
                  <a:pt x="5716244" y="4282824"/>
                  <a:pt x="5715780" y="4282101"/>
                </a:cubicBezTo>
                <a:cubicBezTo>
                  <a:pt x="5715780" y="4282101"/>
                  <a:pt x="5715005" y="4281584"/>
                  <a:pt x="5714386" y="4280552"/>
                </a:cubicBezTo>
                <a:cubicBezTo>
                  <a:pt x="5714076" y="4280036"/>
                  <a:pt x="5713766" y="4279416"/>
                  <a:pt x="5713611" y="4278694"/>
                </a:cubicBezTo>
                <a:cubicBezTo>
                  <a:pt x="5713301" y="4277867"/>
                  <a:pt x="5713301" y="4276938"/>
                  <a:pt x="5713611" y="4275802"/>
                </a:cubicBezTo>
                <a:cubicBezTo>
                  <a:pt x="5713921" y="4274563"/>
                  <a:pt x="5715315" y="4271775"/>
                  <a:pt x="5715780" y="4272498"/>
                </a:cubicBezTo>
                <a:cubicBezTo>
                  <a:pt x="5716864" y="4272808"/>
                  <a:pt x="5716554" y="4271982"/>
                  <a:pt x="5717329" y="4271569"/>
                </a:cubicBezTo>
                <a:lnTo>
                  <a:pt x="5717793" y="4271775"/>
                </a:lnTo>
                <a:lnTo>
                  <a:pt x="5720737" y="4269504"/>
                </a:lnTo>
                <a:cubicBezTo>
                  <a:pt x="5722130" y="4268677"/>
                  <a:pt x="5723525" y="4268161"/>
                  <a:pt x="5724764" y="4268265"/>
                </a:cubicBezTo>
                <a:close/>
                <a:moveTo>
                  <a:pt x="4869272" y="4268161"/>
                </a:moveTo>
                <a:cubicBezTo>
                  <a:pt x="4869272" y="4268161"/>
                  <a:pt x="4869272" y="4268161"/>
                  <a:pt x="4869891" y="4268574"/>
                </a:cubicBezTo>
                <a:cubicBezTo>
                  <a:pt x="4871285" y="4269400"/>
                  <a:pt x="4871905" y="4269917"/>
                  <a:pt x="4872679" y="4270330"/>
                </a:cubicBezTo>
                <a:cubicBezTo>
                  <a:pt x="4872834" y="4271466"/>
                  <a:pt x="4872834" y="4274563"/>
                  <a:pt x="4871595" y="4274873"/>
                </a:cubicBezTo>
                <a:cubicBezTo>
                  <a:pt x="4870511" y="4275183"/>
                  <a:pt x="4869272" y="4275286"/>
                  <a:pt x="4868342" y="4275079"/>
                </a:cubicBezTo>
                <a:cubicBezTo>
                  <a:pt x="4867413" y="4274873"/>
                  <a:pt x="4866638" y="4274357"/>
                  <a:pt x="4866638" y="4273840"/>
                </a:cubicBezTo>
                <a:cubicBezTo>
                  <a:pt x="4866329" y="4271982"/>
                  <a:pt x="4866019" y="4270330"/>
                  <a:pt x="4867413" y="4269091"/>
                </a:cubicBezTo>
                <a:cubicBezTo>
                  <a:pt x="4867877" y="4268677"/>
                  <a:pt x="4868497" y="4268368"/>
                  <a:pt x="4869272" y="4268161"/>
                </a:cubicBezTo>
                <a:close/>
                <a:moveTo>
                  <a:pt x="5820180" y="4267026"/>
                </a:moveTo>
                <a:cubicBezTo>
                  <a:pt x="5821884" y="4267748"/>
                  <a:pt x="5822658" y="4276938"/>
                  <a:pt x="5818631" y="4276215"/>
                </a:cubicBezTo>
                <a:cubicBezTo>
                  <a:pt x="5817702" y="4275905"/>
                  <a:pt x="5817392" y="4275183"/>
                  <a:pt x="5817237" y="4274357"/>
                </a:cubicBezTo>
                <a:cubicBezTo>
                  <a:pt x="5816772" y="4271672"/>
                  <a:pt x="5818786" y="4267438"/>
                  <a:pt x="5820180" y="4267026"/>
                </a:cubicBezTo>
                <a:close/>
                <a:moveTo>
                  <a:pt x="5577147" y="4266819"/>
                </a:moveTo>
                <a:cubicBezTo>
                  <a:pt x="5579781" y="4271362"/>
                  <a:pt x="5576063" y="4276628"/>
                  <a:pt x="5571726" y="4277454"/>
                </a:cubicBezTo>
                <a:cubicBezTo>
                  <a:pt x="5570332" y="4277764"/>
                  <a:pt x="5568783" y="4277558"/>
                  <a:pt x="5567544" y="4276628"/>
                </a:cubicBezTo>
                <a:cubicBezTo>
                  <a:pt x="5563981" y="4270433"/>
                  <a:pt x="5572036" y="4264857"/>
                  <a:pt x="5577147" y="4266819"/>
                </a:cubicBezTo>
                <a:close/>
                <a:moveTo>
                  <a:pt x="5666833" y="4266303"/>
                </a:moveTo>
                <a:cubicBezTo>
                  <a:pt x="5671944" y="4262172"/>
                  <a:pt x="5688518" y="4267129"/>
                  <a:pt x="5688518" y="4276318"/>
                </a:cubicBezTo>
                <a:cubicBezTo>
                  <a:pt x="5682632" y="4274150"/>
                  <a:pt x="5677365" y="4271569"/>
                  <a:pt x="5669001" y="4271569"/>
                </a:cubicBezTo>
                <a:cubicBezTo>
                  <a:pt x="5669156" y="4269091"/>
                  <a:pt x="5666058" y="4269297"/>
                  <a:pt x="5666833" y="4266303"/>
                </a:cubicBezTo>
                <a:close/>
                <a:moveTo>
                  <a:pt x="5632136" y="4266096"/>
                </a:moveTo>
                <a:cubicBezTo>
                  <a:pt x="5636318" y="4271362"/>
                  <a:pt x="5640500" y="4276628"/>
                  <a:pt x="5639880" y="4281584"/>
                </a:cubicBezTo>
                <a:cubicBezTo>
                  <a:pt x="5636318" y="4284579"/>
                  <a:pt x="5632446" y="4286334"/>
                  <a:pt x="5628573" y="4286438"/>
                </a:cubicBezTo>
                <a:cubicBezTo>
                  <a:pt x="5624546" y="4286438"/>
                  <a:pt x="5620828" y="4284992"/>
                  <a:pt x="5617111" y="4281378"/>
                </a:cubicBezTo>
                <a:cubicBezTo>
                  <a:pt x="5616956" y="4279313"/>
                  <a:pt x="5617421" y="4277454"/>
                  <a:pt x="5618505" y="4275905"/>
                </a:cubicBezTo>
                <a:cubicBezTo>
                  <a:pt x="5621293" y="4271052"/>
                  <a:pt x="5628108" y="4268265"/>
                  <a:pt x="5632136" y="4266096"/>
                </a:cubicBezTo>
                <a:close/>
                <a:moveTo>
                  <a:pt x="1232471" y="4265975"/>
                </a:moveTo>
                <a:cubicBezTo>
                  <a:pt x="1232471" y="4265975"/>
                  <a:pt x="1232626" y="4266698"/>
                  <a:pt x="1232626" y="4266698"/>
                </a:cubicBezTo>
                <a:cubicBezTo>
                  <a:pt x="1232161" y="4268246"/>
                  <a:pt x="1231696" y="4268866"/>
                  <a:pt x="1230922" y="4268969"/>
                </a:cubicBezTo>
                <a:cubicBezTo>
                  <a:pt x="1230302" y="4269073"/>
                  <a:pt x="1229528" y="4268763"/>
                  <a:pt x="1228599" y="4268246"/>
                </a:cubicBezTo>
                <a:cubicBezTo>
                  <a:pt x="1228753" y="4267317"/>
                  <a:pt x="1229063" y="4266595"/>
                  <a:pt x="1229528" y="4266181"/>
                </a:cubicBezTo>
                <a:cubicBezTo>
                  <a:pt x="1230148" y="4265665"/>
                  <a:pt x="1231077" y="4265562"/>
                  <a:pt x="1232471" y="4265975"/>
                </a:cubicBezTo>
                <a:close/>
                <a:moveTo>
                  <a:pt x="697150" y="4265046"/>
                </a:moveTo>
                <a:cubicBezTo>
                  <a:pt x="697769" y="4266078"/>
                  <a:pt x="698543" y="4267008"/>
                  <a:pt x="697769" y="4266904"/>
                </a:cubicBezTo>
                <a:cubicBezTo>
                  <a:pt x="697769" y="4267731"/>
                  <a:pt x="696995" y="4267627"/>
                  <a:pt x="696065" y="4268350"/>
                </a:cubicBezTo>
                <a:cubicBezTo>
                  <a:pt x="695135" y="4268660"/>
                  <a:pt x="694206" y="4268660"/>
                  <a:pt x="693277" y="4268556"/>
                </a:cubicBezTo>
                <a:cubicBezTo>
                  <a:pt x="692347" y="4268350"/>
                  <a:pt x="691418" y="4268040"/>
                  <a:pt x="691108" y="4267524"/>
                </a:cubicBezTo>
                <a:cubicBezTo>
                  <a:pt x="690334" y="4266595"/>
                  <a:pt x="690334" y="4265665"/>
                  <a:pt x="690334" y="4265665"/>
                </a:cubicBezTo>
                <a:cubicBezTo>
                  <a:pt x="692193" y="4263394"/>
                  <a:pt x="694826" y="4262051"/>
                  <a:pt x="697150" y="4265046"/>
                </a:cubicBezTo>
                <a:close/>
                <a:moveTo>
                  <a:pt x="1397126" y="4264426"/>
                </a:moveTo>
                <a:cubicBezTo>
                  <a:pt x="1404832" y="4266491"/>
                  <a:pt x="1411841" y="4271964"/>
                  <a:pt x="1413854" y="4279811"/>
                </a:cubicBezTo>
                <a:lnTo>
                  <a:pt x="1408279" y="4284561"/>
                </a:lnTo>
                <a:lnTo>
                  <a:pt x="1409672" y="4288795"/>
                </a:lnTo>
                <a:cubicBezTo>
                  <a:pt x="1408588" y="4291066"/>
                  <a:pt x="1406884" y="4291789"/>
                  <a:pt x="1405955" y="4291273"/>
                </a:cubicBezTo>
                <a:cubicBezTo>
                  <a:pt x="1403632" y="4290653"/>
                  <a:pt x="1402082" y="4289621"/>
                  <a:pt x="1400998" y="4288381"/>
                </a:cubicBezTo>
                <a:lnTo>
                  <a:pt x="1400379" y="4287452"/>
                </a:lnTo>
                <a:lnTo>
                  <a:pt x="1399139" y="4287762"/>
                </a:lnTo>
                <a:cubicBezTo>
                  <a:pt x="1390001" y="4288072"/>
                  <a:pt x="1380242" y="4281980"/>
                  <a:pt x="1375595" y="4272067"/>
                </a:cubicBezTo>
                <a:cubicBezTo>
                  <a:pt x="1376370" y="4271241"/>
                  <a:pt x="1377145" y="4270415"/>
                  <a:pt x="1376214" y="4269486"/>
                </a:cubicBezTo>
                <a:cubicBezTo>
                  <a:pt x="1381017" y="4263703"/>
                  <a:pt x="1389419" y="4262361"/>
                  <a:pt x="1397126" y="4264426"/>
                </a:cubicBezTo>
                <a:close/>
                <a:moveTo>
                  <a:pt x="1074941" y="4264220"/>
                </a:moveTo>
                <a:lnTo>
                  <a:pt x="1076645" y="4269692"/>
                </a:lnTo>
                <a:lnTo>
                  <a:pt x="1077110" y="4269589"/>
                </a:lnTo>
                <a:cubicBezTo>
                  <a:pt x="1079433" y="4273100"/>
                  <a:pt x="1080518" y="4276610"/>
                  <a:pt x="1080673" y="4280018"/>
                </a:cubicBezTo>
                <a:lnTo>
                  <a:pt x="1080518" y="4283322"/>
                </a:lnTo>
                <a:lnTo>
                  <a:pt x="1080982" y="4290240"/>
                </a:lnTo>
                <a:cubicBezTo>
                  <a:pt x="1080827" y="4293338"/>
                  <a:pt x="1080208" y="4296745"/>
                  <a:pt x="1078969" y="4300256"/>
                </a:cubicBezTo>
                <a:lnTo>
                  <a:pt x="1072308" y="4293132"/>
                </a:lnTo>
                <a:lnTo>
                  <a:pt x="1071689" y="4293132"/>
                </a:lnTo>
                <a:cubicBezTo>
                  <a:pt x="1065802" y="4291789"/>
                  <a:pt x="1066267" y="4279811"/>
                  <a:pt x="1064408" y="4273306"/>
                </a:cubicBezTo>
                <a:cubicBezTo>
                  <a:pt x="1066887" y="4271654"/>
                  <a:pt x="1068591" y="4270725"/>
                  <a:pt x="1070450" y="4270208"/>
                </a:cubicBezTo>
                <a:lnTo>
                  <a:pt x="1072618" y="4270002"/>
                </a:lnTo>
                <a:close/>
                <a:moveTo>
                  <a:pt x="1310539" y="4263394"/>
                </a:moveTo>
                <a:cubicBezTo>
                  <a:pt x="1313018" y="4263600"/>
                  <a:pt x="1315341" y="4265562"/>
                  <a:pt x="1316580" y="4268246"/>
                </a:cubicBezTo>
                <a:cubicBezTo>
                  <a:pt x="1314566" y="4269692"/>
                  <a:pt x="1312862" y="4270415"/>
                  <a:pt x="1311003" y="4270518"/>
                </a:cubicBezTo>
                <a:cubicBezTo>
                  <a:pt x="1309145" y="4270621"/>
                  <a:pt x="1307441" y="4270002"/>
                  <a:pt x="1305582" y="4268969"/>
                </a:cubicBezTo>
                <a:cubicBezTo>
                  <a:pt x="1305737" y="4267317"/>
                  <a:pt x="1308680" y="4264942"/>
                  <a:pt x="1310539" y="4263394"/>
                </a:cubicBezTo>
                <a:close/>
                <a:moveTo>
                  <a:pt x="1241455" y="4263394"/>
                </a:moveTo>
                <a:cubicBezTo>
                  <a:pt x="1242384" y="4263084"/>
                  <a:pt x="1242075" y="4265975"/>
                  <a:pt x="1242075" y="4265975"/>
                </a:cubicBezTo>
                <a:cubicBezTo>
                  <a:pt x="1241610" y="4267111"/>
                  <a:pt x="1238666" y="4266388"/>
                  <a:pt x="1237738" y="4266698"/>
                </a:cubicBezTo>
                <a:cubicBezTo>
                  <a:pt x="1237582" y="4265769"/>
                  <a:pt x="1238202" y="4264633"/>
                  <a:pt x="1237892" y="4263807"/>
                </a:cubicBezTo>
                <a:cubicBezTo>
                  <a:pt x="1238822" y="4263497"/>
                  <a:pt x="1240526" y="4262877"/>
                  <a:pt x="1241455" y="4263394"/>
                </a:cubicBezTo>
                <a:close/>
                <a:moveTo>
                  <a:pt x="5543690" y="4263205"/>
                </a:moveTo>
                <a:cubicBezTo>
                  <a:pt x="5544774" y="4263515"/>
                  <a:pt x="5545703" y="4264341"/>
                  <a:pt x="5546323" y="4265890"/>
                </a:cubicBezTo>
                <a:cubicBezTo>
                  <a:pt x="5547562" y="4270742"/>
                  <a:pt x="5543845" y="4272188"/>
                  <a:pt x="5539353" y="4273221"/>
                </a:cubicBezTo>
                <a:cubicBezTo>
                  <a:pt x="5538268" y="4271569"/>
                  <a:pt x="5536720" y="4270639"/>
                  <a:pt x="5535790" y="4268884"/>
                </a:cubicBezTo>
                <a:cubicBezTo>
                  <a:pt x="5535790" y="4265993"/>
                  <a:pt x="5540437" y="4262172"/>
                  <a:pt x="5543690" y="4263205"/>
                </a:cubicBezTo>
                <a:close/>
                <a:moveTo>
                  <a:pt x="1046130" y="4262877"/>
                </a:moveTo>
                <a:cubicBezTo>
                  <a:pt x="1046130" y="4262877"/>
                  <a:pt x="1046905" y="4262980"/>
                  <a:pt x="1046905" y="4262980"/>
                </a:cubicBezTo>
                <a:lnTo>
                  <a:pt x="1047835" y="4264530"/>
                </a:lnTo>
                <a:lnTo>
                  <a:pt x="1048144" y="4264426"/>
                </a:lnTo>
                <a:cubicBezTo>
                  <a:pt x="1049538" y="4264839"/>
                  <a:pt x="1050468" y="4265872"/>
                  <a:pt x="1051242" y="4267214"/>
                </a:cubicBezTo>
                <a:cubicBezTo>
                  <a:pt x="1050158" y="4269073"/>
                  <a:pt x="1048919" y="4270002"/>
                  <a:pt x="1047680" y="4270105"/>
                </a:cubicBezTo>
                <a:cubicBezTo>
                  <a:pt x="1046441" y="4270312"/>
                  <a:pt x="1045202" y="4269692"/>
                  <a:pt x="1044427" y="4268556"/>
                </a:cubicBezTo>
                <a:cubicBezTo>
                  <a:pt x="1043807" y="4267731"/>
                  <a:pt x="1043343" y="4266698"/>
                  <a:pt x="1043187" y="4265252"/>
                </a:cubicBezTo>
                <a:lnTo>
                  <a:pt x="1045356" y="4264942"/>
                </a:lnTo>
                <a:close/>
                <a:moveTo>
                  <a:pt x="5901345" y="4260933"/>
                </a:moveTo>
                <a:cubicBezTo>
                  <a:pt x="5908006" y="4258971"/>
                  <a:pt x="5920552" y="4269400"/>
                  <a:pt x="5916061" y="4277764"/>
                </a:cubicBezTo>
                <a:cubicBezTo>
                  <a:pt x="5911724" y="4273737"/>
                  <a:pt x="5908316" y="4269504"/>
                  <a:pt x="5900726" y="4266406"/>
                </a:cubicBezTo>
                <a:cubicBezTo>
                  <a:pt x="5901965" y="4264341"/>
                  <a:pt x="5899177" y="4263411"/>
                  <a:pt x="5901345" y="4260933"/>
                </a:cubicBezTo>
                <a:close/>
                <a:moveTo>
                  <a:pt x="5447345" y="4260624"/>
                </a:moveTo>
                <a:cubicBezTo>
                  <a:pt x="5447499" y="4261553"/>
                  <a:pt x="5447035" y="4264134"/>
                  <a:pt x="5447809" y="4264134"/>
                </a:cubicBezTo>
                <a:cubicBezTo>
                  <a:pt x="5446260" y="4266199"/>
                  <a:pt x="5444246" y="4268368"/>
                  <a:pt x="5442233" y="4268574"/>
                </a:cubicBezTo>
                <a:cubicBezTo>
                  <a:pt x="5441458" y="4268677"/>
                  <a:pt x="5440839" y="4268574"/>
                  <a:pt x="5440065" y="4268161"/>
                </a:cubicBezTo>
                <a:cubicBezTo>
                  <a:pt x="5438360" y="4267335"/>
                  <a:pt x="5438825" y="4265580"/>
                  <a:pt x="5440374" y="4263721"/>
                </a:cubicBezTo>
                <a:cubicBezTo>
                  <a:pt x="5442233" y="4259178"/>
                  <a:pt x="5444556" y="4258145"/>
                  <a:pt x="5447345" y="4260624"/>
                </a:cubicBezTo>
                <a:close/>
                <a:moveTo>
                  <a:pt x="5357505" y="4260107"/>
                </a:moveTo>
                <a:cubicBezTo>
                  <a:pt x="5361067" y="4259178"/>
                  <a:pt x="5361532" y="4261553"/>
                  <a:pt x="5363236" y="4264857"/>
                </a:cubicBezTo>
                <a:cubicBezTo>
                  <a:pt x="5362152" y="4265270"/>
                  <a:pt x="5362616" y="4268781"/>
                  <a:pt x="5362926" y="4270020"/>
                </a:cubicBezTo>
                <a:cubicBezTo>
                  <a:pt x="5360448" y="4270639"/>
                  <a:pt x="5360757" y="4274976"/>
                  <a:pt x="5357195" y="4275905"/>
                </a:cubicBezTo>
                <a:cubicBezTo>
                  <a:pt x="5355801" y="4275079"/>
                  <a:pt x="5355026" y="4274666"/>
                  <a:pt x="5354097" y="4273014"/>
                </a:cubicBezTo>
                <a:cubicBezTo>
                  <a:pt x="5353167" y="4263825"/>
                  <a:pt x="5357660" y="4261346"/>
                  <a:pt x="5357505" y="4260107"/>
                </a:cubicBezTo>
                <a:close/>
                <a:moveTo>
                  <a:pt x="5752026" y="4260004"/>
                </a:moveTo>
                <a:cubicBezTo>
                  <a:pt x="5756053" y="4259694"/>
                  <a:pt x="5758531" y="4260830"/>
                  <a:pt x="5759925" y="4262792"/>
                </a:cubicBezTo>
                <a:cubicBezTo>
                  <a:pt x="5763952" y="4268574"/>
                  <a:pt x="5757292" y="4281068"/>
                  <a:pt x="5748153" y="4280242"/>
                </a:cubicBezTo>
                <a:cubicBezTo>
                  <a:pt x="5746759" y="4278900"/>
                  <a:pt x="5745984" y="4277351"/>
                  <a:pt x="5745829" y="4275493"/>
                </a:cubicBezTo>
                <a:cubicBezTo>
                  <a:pt x="5745520" y="4272808"/>
                  <a:pt x="5746139" y="4269607"/>
                  <a:pt x="5747379" y="4266819"/>
                </a:cubicBezTo>
                <a:lnTo>
                  <a:pt x="5748463" y="4265373"/>
                </a:lnTo>
                <a:lnTo>
                  <a:pt x="5748618" y="4264650"/>
                </a:lnTo>
                <a:lnTo>
                  <a:pt x="5749547" y="4263721"/>
                </a:lnTo>
                <a:close/>
                <a:moveTo>
                  <a:pt x="5688363" y="4257939"/>
                </a:moveTo>
                <a:lnTo>
                  <a:pt x="5688208" y="4260830"/>
                </a:lnTo>
                <a:lnTo>
                  <a:pt x="5688518" y="4262379"/>
                </a:lnTo>
                <a:cubicBezTo>
                  <a:pt x="5688363" y="4263205"/>
                  <a:pt x="5687898" y="4263825"/>
                  <a:pt x="5687434" y="4264237"/>
                </a:cubicBezTo>
                <a:cubicBezTo>
                  <a:pt x="5686969" y="4265580"/>
                  <a:pt x="5685730" y="4266199"/>
                  <a:pt x="5684491" y="4266406"/>
                </a:cubicBezTo>
                <a:cubicBezTo>
                  <a:pt x="5683097" y="4266612"/>
                  <a:pt x="5681702" y="4266303"/>
                  <a:pt x="5680463" y="4265890"/>
                </a:cubicBezTo>
                <a:cubicBezTo>
                  <a:pt x="5681393" y="4265890"/>
                  <a:pt x="5681393" y="4265890"/>
                  <a:pt x="5681393" y="4265890"/>
                </a:cubicBezTo>
                <a:cubicBezTo>
                  <a:pt x="5682322" y="4264960"/>
                  <a:pt x="5681393" y="4264960"/>
                  <a:pt x="5681547" y="4264134"/>
                </a:cubicBezTo>
                <a:cubicBezTo>
                  <a:pt x="5681547" y="4264134"/>
                  <a:pt x="5681393" y="4265064"/>
                  <a:pt x="5680773" y="4264134"/>
                </a:cubicBezTo>
                <a:cubicBezTo>
                  <a:pt x="5681547" y="4264134"/>
                  <a:pt x="5681547" y="4263308"/>
                  <a:pt x="5681702" y="4262379"/>
                </a:cubicBezTo>
                <a:lnTo>
                  <a:pt x="5684646" y="4260210"/>
                </a:lnTo>
                <a:lnTo>
                  <a:pt x="5683716" y="4258455"/>
                </a:lnTo>
                <a:cubicBezTo>
                  <a:pt x="5685420" y="4258145"/>
                  <a:pt x="5685575" y="4256906"/>
                  <a:pt x="5688363" y="4257939"/>
                </a:cubicBezTo>
                <a:close/>
                <a:moveTo>
                  <a:pt x="1360570" y="4257198"/>
                </a:moveTo>
                <a:cubicBezTo>
                  <a:pt x="1361500" y="4258128"/>
                  <a:pt x="1362274" y="4259883"/>
                  <a:pt x="1360415" y="4261432"/>
                </a:cubicBezTo>
                <a:cubicBezTo>
                  <a:pt x="1358711" y="4263807"/>
                  <a:pt x="1356233" y="4263497"/>
                  <a:pt x="1353600" y="4262361"/>
                </a:cubicBezTo>
                <a:cubicBezTo>
                  <a:pt x="1352825" y="4262671"/>
                  <a:pt x="1352051" y="4263187"/>
                  <a:pt x="1351431" y="4263600"/>
                </a:cubicBezTo>
                <a:cubicBezTo>
                  <a:pt x="1350812" y="4263910"/>
                  <a:pt x="1350192" y="4264013"/>
                  <a:pt x="1349263" y="4263497"/>
                </a:cubicBezTo>
                <a:cubicBezTo>
                  <a:pt x="1351896" y="4262051"/>
                  <a:pt x="1352825" y="4261329"/>
                  <a:pt x="1354530" y="4260709"/>
                </a:cubicBezTo>
                <a:cubicBezTo>
                  <a:pt x="1354530" y="4259883"/>
                  <a:pt x="1354530" y="4258953"/>
                  <a:pt x="1355459" y="4258231"/>
                </a:cubicBezTo>
                <a:cubicBezTo>
                  <a:pt x="1357163" y="4256785"/>
                  <a:pt x="1358866" y="4257818"/>
                  <a:pt x="1360570" y="4257198"/>
                </a:cubicBezTo>
                <a:close/>
                <a:moveTo>
                  <a:pt x="5637092" y="4257113"/>
                </a:moveTo>
                <a:cubicBezTo>
                  <a:pt x="5638486" y="4259901"/>
                  <a:pt x="5639261" y="4260830"/>
                  <a:pt x="5638177" y="4263515"/>
                </a:cubicBezTo>
                <a:cubicBezTo>
                  <a:pt x="5637402" y="4262585"/>
                  <a:pt x="5636782" y="4261656"/>
                  <a:pt x="5636628" y="4260624"/>
                </a:cubicBezTo>
                <a:cubicBezTo>
                  <a:pt x="5636473" y="4259591"/>
                  <a:pt x="5636628" y="4258559"/>
                  <a:pt x="5637092" y="4257113"/>
                </a:cubicBezTo>
                <a:close/>
                <a:moveTo>
                  <a:pt x="5456019" y="4256597"/>
                </a:moveTo>
                <a:cubicBezTo>
                  <a:pt x="5456174" y="4257526"/>
                  <a:pt x="5457103" y="4259281"/>
                  <a:pt x="5456329" y="4259281"/>
                </a:cubicBezTo>
                <a:cubicBezTo>
                  <a:pt x="5456483" y="4260210"/>
                  <a:pt x="5454934" y="4260210"/>
                  <a:pt x="5454934" y="4260210"/>
                </a:cubicBezTo>
                <a:cubicBezTo>
                  <a:pt x="5454934" y="4261140"/>
                  <a:pt x="5455244" y="4262069"/>
                  <a:pt x="5454470" y="4262999"/>
                </a:cubicBezTo>
                <a:cubicBezTo>
                  <a:pt x="5453540" y="4262172"/>
                  <a:pt x="5453695" y="4263102"/>
                  <a:pt x="5452921" y="4263102"/>
                </a:cubicBezTo>
                <a:cubicBezTo>
                  <a:pt x="5453540" y="4262172"/>
                  <a:pt x="5453231" y="4259488"/>
                  <a:pt x="5453695" y="4257629"/>
                </a:cubicBezTo>
                <a:cubicBezTo>
                  <a:pt x="5454470" y="4257526"/>
                  <a:pt x="5455244" y="4256597"/>
                  <a:pt x="5456019" y="4256597"/>
                </a:cubicBezTo>
                <a:close/>
                <a:moveTo>
                  <a:pt x="1261281" y="4255340"/>
                </a:moveTo>
                <a:cubicBezTo>
                  <a:pt x="1260197" y="4256992"/>
                  <a:pt x="1260817" y="4257921"/>
                  <a:pt x="1258184" y="4259470"/>
                </a:cubicBezTo>
                <a:cubicBezTo>
                  <a:pt x="1257564" y="4258541"/>
                  <a:pt x="1256945" y="4257611"/>
                  <a:pt x="1256170" y="4256682"/>
                </a:cubicBezTo>
                <a:cubicBezTo>
                  <a:pt x="1258029" y="4255030"/>
                  <a:pt x="1259888" y="4253481"/>
                  <a:pt x="1261281" y="4255340"/>
                </a:cubicBezTo>
                <a:close/>
                <a:moveTo>
                  <a:pt x="1410544" y="4253946"/>
                </a:moveTo>
                <a:cubicBezTo>
                  <a:pt x="1413197" y="4253791"/>
                  <a:pt x="1415791" y="4254823"/>
                  <a:pt x="1418347" y="4257611"/>
                </a:cubicBezTo>
                <a:cubicBezTo>
                  <a:pt x="1417417" y="4258231"/>
                  <a:pt x="1418192" y="4259264"/>
                  <a:pt x="1418811" y="4260296"/>
                </a:cubicBezTo>
                <a:cubicBezTo>
                  <a:pt x="1418036" y="4264013"/>
                  <a:pt x="1413854" y="4265665"/>
                  <a:pt x="1409827" y="4265665"/>
                </a:cubicBezTo>
                <a:cubicBezTo>
                  <a:pt x="1405955" y="4265665"/>
                  <a:pt x="1402082" y="4263910"/>
                  <a:pt x="1401773" y="4260606"/>
                </a:cubicBezTo>
                <a:cubicBezTo>
                  <a:pt x="1401618" y="4259676"/>
                  <a:pt x="1401773" y="4258644"/>
                  <a:pt x="1402392" y="4257405"/>
                </a:cubicBezTo>
                <a:cubicBezTo>
                  <a:pt x="1405180" y="4255443"/>
                  <a:pt x="1407891" y="4254100"/>
                  <a:pt x="1410544" y="4253946"/>
                </a:cubicBezTo>
                <a:close/>
                <a:moveTo>
                  <a:pt x="692657" y="4253791"/>
                </a:moveTo>
                <a:lnTo>
                  <a:pt x="694981" y="4256888"/>
                </a:lnTo>
                <a:cubicBezTo>
                  <a:pt x="694516" y="4257198"/>
                  <a:pt x="693897" y="4257611"/>
                  <a:pt x="693277" y="4257714"/>
                </a:cubicBezTo>
                <a:cubicBezTo>
                  <a:pt x="692657" y="4257818"/>
                  <a:pt x="692038" y="4257714"/>
                  <a:pt x="691728" y="4257198"/>
                </a:cubicBezTo>
                <a:cubicBezTo>
                  <a:pt x="690954" y="4256579"/>
                  <a:pt x="690954" y="4256166"/>
                  <a:pt x="691264" y="4255649"/>
                </a:cubicBezTo>
                <a:cubicBezTo>
                  <a:pt x="691573" y="4255133"/>
                  <a:pt x="692193" y="4254617"/>
                  <a:pt x="692657" y="4253791"/>
                </a:cubicBezTo>
                <a:close/>
                <a:moveTo>
                  <a:pt x="5902120" y="4253189"/>
                </a:moveTo>
                <a:cubicBezTo>
                  <a:pt x="5902120" y="4255667"/>
                  <a:pt x="5903049" y="4256493"/>
                  <a:pt x="5902275" y="4256493"/>
                </a:cubicBezTo>
                <a:cubicBezTo>
                  <a:pt x="5902275" y="4256906"/>
                  <a:pt x="5901965" y="4257009"/>
                  <a:pt x="5901810" y="4257009"/>
                </a:cubicBezTo>
                <a:cubicBezTo>
                  <a:pt x="5901655" y="4257009"/>
                  <a:pt x="5901345" y="4256803"/>
                  <a:pt x="5901345" y="4256390"/>
                </a:cubicBezTo>
                <a:cubicBezTo>
                  <a:pt x="5899641" y="4255461"/>
                  <a:pt x="5901345" y="4253912"/>
                  <a:pt x="5902120" y="4253189"/>
                </a:cubicBezTo>
                <a:close/>
                <a:moveTo>
                  <a:pt x="1385199" y="4252552"/>
                </a:moveTo>
                <a:cubicBezTo>
                  <a:pt x="1386592" y="4253274"/>
                  <a:pt x="1387832" y="4254823"/>
                  <a:pt x="1387987" y="4258024"/>
                </a:cubicBezTo>
                <a:cubicBezTo>
                  <a:pt x="1386128" y="4259573"/>
                  <a:pt x="1384889" y="4259986"/>
                  <a:pt x="1383650" y="4259676"/>
                </a:cubicBezTo>
                <a:cubicBezTo>
                  <a:pt x="1382565" y="4259367"/>
                  <a:pt x="1381636" y="4258334"/>
                  <a:pt x="1380862" y="4257405"/>
                </a:cubicBezTo>
                <a:cubicBezTo>
                  <a:pt x="1383495" y="4255753"/>
                  <a:pt x="1381326" y="4252655"/>
                  <a:pt x="1385199" y="4252552"/>
                </a:cubicBezTo>
                <a:close/>
                <a:moveTo>
                  <a:pt x="1074128" y="4252242"/>
                </a:moveTo>
                <a:cubicBezTo>
                  <a:pt x="1076335" y="4252448"/>
                  <a:pt x="1078349" y="4253378"/>
                  <a:pt x="1077885" y="4255443"/>
                </a:cubicBezTo>
                <a:cubicBezTo>
                  <a:pt x="1077575" y="4256269"/>
                  <a:pt x="1076955" y="4256682"/>
                  <a:pt x="1076026" y="4256888"/>
                </a:cubicBezTo>
                <a:cubicBezTo>
                  <a:pt x="1073548" y="4257198"/>
                  <a:pt x="1069520" y="4254823"/>
                  <a:pt x="1069210" y="4253378"/>
                </a:cubicBezTo>
                <a:cubicBezTo>
                  <a:pt x="1069520" y="4252552"/>
                  <a:pt x="1071921" y="4252035"/>
                  <a:pt x="1074128" y="4252242"/>
                </a:cubicBezTo>
                <a:close/>
                <a:moveTo>
                  <a:pt x="1508032" y="4250590"/>
                </a:moveTo>
                <a:cubicBezTo>
                  <a:pt x="1510045" y="4258231"/>
                  <a:pt x="1512833" y="4271035"/>
                  <a:pt x="1510045" y="4277953"/>
                </a:cubicBezTo>
                <a:lnTo>
                  <a:pt x="1506173" y="4274339"/>
                </a:lnTo>
                <a:lnTo>
                  <a:pt x="1501061" y="4279295"/>
                </a:lnTo>
                <a:cubicBezTo>
                  <a:pt x="1498582" y="4280947"/>
                  <a:pt x="1495794" y="4282083"/>
                  <a:pt x="1493006" y="4282599"/>
                </a:cubicBezTo>
                <a:lnTo>
                  <a:pt x="1488204" y="4282806"/>
                </a:lnTo>
                <a:lnTo>
                  <a:pt x="1485261" y="4286110"/>
                </a:lnTo>
                <a:cubicBezTo>
                  <a:pt x="1483403" y="4286936"/>
                  <a:pt x="1481235" y="4287246"/>
                  <a:pt x="1479221" y="4286936"/>
                </a:cubicBezTo>
                <a:cubicBezTo>
                  <a:pt x="1477827" y="4286730"/>
                  <a:pt x="1476742" y="4286316"/>
                  <a:pt x="1475968" y="4285594"/>
                </a:cubicBezTo>
                <a:cubicBezTo>
                  <a:pt x="1475193" y="4283115"/>
                  <a:pt x="1474574" y="4280741"/>
                  <a:pt x="1473800" y="4278366"/>
                </a:cubicBezTo>
                <a:cubicBezTo>
                  <a:pt x="1474419" y="4276198"/>
                  <a:pt x="1475813" y="4274752"/>
                  <a:pt x="1477362" y="4273926"/>
                </a:cubicBezTo>
                <a:lnTo>
                  <a:pt x="1480615" y="4273719"/>
                </a:lnTo>
                <a:lnTo>
                  <a:pt x="1480305" y="4272480"/>
                </a:lnTo>
                <a:cubicBezTo>
                  <a:pt x="1482164" y="4264116"/>
                  <a:pt x="1493472" y="4257405"/>
                  <a:pt x="1503075" y="4257302"/>
                </a:cubicBezTo>
                <a:lnTo>
                  <a:pt x="1505553" y="4257611"/>
                </a:lnTo>
                <a:lnTo>
                  <a:pt x="1505708" y="4256682"/>
                </a:lnTo>
                <a:cubicBezTo>
                  <a:pt x="1506328" y="4254101"/>
                  <a:pt x="1507257" y="4251829"/>
                  <a:pt x="1508032" y="4250590"/>
                </a:cubicBezTo>
                <a:close/>
                <a:moveTo>
                  <a:pt x="5451991" y="4250092"/>
                </a:moveTo>
                <a:cubicBezTo>
                  <a:pt x="5451991" y="4250092"/>
                  <a:pt x="5451372" y="4251847"/>
                  <a:pt x="5451372" y="4251847"/>
                </a:cubicBezTo>
                <a:cubicBezTo>
                  <a:pt x="5449823" y="4253602"/>
                  <a:pt x="5449048" y="4254635"/>
                  <a:pt x="5448429" y="4256390"/>
                </a:cubicBezTo>
                <a:cubicBezTo>
                  <a:pt x="5446725" y="4255667"/>
                  <a:pt x="5446570" y="4254738"/>
                  <a:pt x="5447345" y="4253808"/>
                </a:cubicBezTo>
                <a:cubicBezTo>
                  <a:pt x="5447345" y="4253808"/>
                  <a:pt x="5447964" y="4252879"/>
                  <a:pt x="5448739" y="4251950"/>
                </a:cubicBezTo>
                <a:cubicBezTo>
                  <a:pt x="5449513" y="4251124"/>
                  <a:pt x="5449358" y="4250195"/>
                  <a:pt x="5449358" y="4250195"/>
                </a:cubicBezTo>
                <a:cubicBezTo>
                  <a:pt x="5450133" y="4249265"/>
                  <a:pt x="5451062" y="4249265"/>
                  <a:pt x="5451991" y="4250092"/>
                </a:cubicBezTo>
                <a:close/>
                <a:moveTo>
                  <a:pt x="5543845" y="4249472"/>
                </a:moveTo>
                <a:cubicBezTo>
                  <a:pt x="5545394" y="4251537"/>
                  <a:pt x="5546168" y="4253086"/>
                  <a:pt x="5547253" y="4255977"/>
                </a:cubicBezTo>
                <a:cubicBezTo>
                  <a:pt x="5547253" y="4255977"/>
                  <a:pt x="5548027" y="4260624"/>
                  <a:pt x="5545239" y="4262069"/>
                </a:cubicBezTo>
                <a:cubicBezTo>
                  <a:pt x="5544774" y="4262792"/>
                  <a:pt x="5541986" y="4261037"/>
                  <a:pt x="5541831" y="4259901"/>
                </a:cubicBezTo>
                <a:cubicBezTo>
                  <a:pt x="5541522" y="4257526"/>
                  <a:pt x="5541366" y="4256390"/>
                  <a:pt x="5542296" y="4254841"/>
                </a:cubicBezTo>
                <a:cubicBezTo>
                  <a:pt x="5542141" y="4253705"/>
                  <a:pt x="5541831" y="4252466"/>
                  <a:pt x="5541986" y="4251434"/>
                </a:cubicBezTo>
                <a:cubicBezTo>
                  <a:pt x="5542141" y="4250504"/>
                  <a:pt x="5542761" y="4249781"/>
                  <a:pt x="5543845" y="4249472"/>
                </a:cubicBezTo>
                <a:close/>
                <a:moveTo>
                  <a:pt x="1328816" y="4249041"/>
                </a:moveTo>
                <a:cubicBezTo>
                  <a:pt x="1330830" y="4250177"/>
                  <a:pt x="1332689" y="4250590"/>
                  <a:pt x="1333773" y="4251932"/>
                </a:cubicBezTo>
                <a:cubicBezTo>
                  <a:pt x="1333309" y="4254204"/>
                  <a:pt x="1332224" y="4255443"/>
                  <a:pt x="1330830" y="4255753"/>
                </a:cubicBezTo>
                <a:cubicBezTo>
                  <a:pt x="1329436" y="4256063"/>
                  <a:pt x="1327887" y="4255443"/>
                  <a:pt x="1326338" y="4254101"/>
                </a:cubicBezTo>
                <a:cubicBezTo>
                  <a:pt x="1326803" y="4252242"/>
                  <a:pt x="1327422" y="4250383"/>
                  <a:pt x="1328816" y="4249041"/>
                </a:cubicBezTo>
                <a:close/>
                <a:moveTo>
                  <a:pt x="1048919" y="4248938"/>
                </a:moveTo>
                <a:lnTo>
                  <a:pt x="1050932" y="4251209"/>
                </a:lnTo>
                <a:lnTo>
                  <a:pt x="1051242" y="4250693"/>
                </a:lnTo>
                <a:lnTo>
                  <a:pt x="1051862" y="4250177"/>
                </a:lnTo>
                <a:close/>
                <a:moveTo>
                  <a:pt x="1175159" y="4248628"/>
                </a:moveTo>
                <a:lnTo>
                  <a:pt x="1175469" y="4253274"/>
                </a:lnTo>
                <a:lnTo>
                  <a:pt x="1176709" y="4254101"/>
                </a:lnTo>
                <a:lnTo>
                  <a:pt x="1177018" y="4250486"/>
                </a:lnTo>
                <a:close/>
                <a:moveTo>
                  <a:pt x="632093" y="4247802"/>
                </a:moveTo>
                <a:cubicBezTo>
                  <a:pt x="637204" y="4251519"/>
                  <a:pt x="637204" y="4255340"/>
                  <a:pt x="634571" y="4260296"/>
                </a:cubicBezTo>
                <a:cubicBezTo>
                  <a:pt x="630699" y="4260296"/>
                  <a:pt x="625587" y="4256579"/>
                  <a:pt x="625587" y="4252862"/>
                </a:cubicBezTo>
                <a:cubicBezTo>
                  <a:pt x="628220" y="4249144"/>
                  <a:pt x="630699" y="4250280"/>
                  <a:pt x="632093" y="4247802"/>
                </a:cubicBezTo>
                <a:close/>
                <a:moveTo>
                  <a:pt x="1477052" y="4247699"/>
                </a:moveTo>
                <a:lnTo>
                  <a:pt x="1479530" y="4248421"/>
                </a:lnTo>
                <a:lnTo>
                  <a:pt x="1479840" y="4248112"/>
                </a:lnTo>
                <a:cubicBezTo>
                  <a:pt x="1481544" y="4247492"/>
                  <a:pt x="1483713" y="4247286"/>
                  <a:pt x="1486346" y="4248008"/>
                </a:cubicBezTo>
                <a:cubicBezTo>
                  <a:pt x="1490374" y="4250486"/>
                  <a:pt x="1489754" y="4260193"/>
                  <a:pt x="1486036" y="4262051"/>
                </a:cubicBezTo>
                <a:cubicBezTo>
                  <a:pt x="1483713" y="4261741"/>
                  <a:pt x="1481235" y="4261329"/>
                  <a:pt x="1478911" y="4261019"/>
                </a:cubicBezTo>
                <a:lnTo>
                  <a:pt x="1477207" y="4258024"/>
                </a:lnTo>
                <a:cubicBezTo>
                  <a:pt x="1475968" y="4257818"/>
                  <a:pt x="1474729" y="4257198"/>
                  <a:pt x="1473335" y="4255959"/>
                </a:cubicBezTo>
                <a:cubicBezTo>
                  <a:pt x="1472095" y="4255959"/>
                  <a:pt x="1470856" y="4250900"/>
                  <a:pt x="1472095" y="4249661"/>
                </a:cubicBezTo>
                <a:cubicBezTo>
                  <a:pt x="1473490" y="4247699"/>
                  <a:pt x="1475038" y="4247389"/>
                  <a:pt x="1477052" y="4247699"/>
                </a:cubicBezTo>
                <a:close/>
                <a:moveTo>
                  <a:pt x="1241145" y="4247079"/>
                </a:moveTo>
                <a:cubicBezTo>
                  <a:pt x="1242384" y="4247802"/>
                  <a:pt x="1243314" y="4249351"/>
                  <a:pt x="1243623" y="4252035"/>
                </a:cubicBezTo>
                <a:cubicBezTo>
                  <a:pt x="1241455" y="4255959"/>
                  <a:pt x="1237428" y="4254823"/>
                  <a:pt x="1234795" y="4256475"/>
                </a:cubicBezTo>
                <a:cubicBezTo>
                  <a:pt x="1231077" y="4250177"/>
                  <a:pt x="1237428" y="4244911"/>
                  <a:pt x="1241145" y="4247079"/>
                </a:cubicBezTo>
                <a:close/>
                <a:moveTo>
                  <a:pt x="5600382" y="4246684"/>
                </a:moveTo>
                <a:cubicBezTo>
                  <a:pt x="5603015" y="4243999"/>
                  <a:pt x="5606113" y="4250195"/>
                  <a:pt x="5607662" y="4250608"/>
                </a:cubicBezTo>
                <a:cubicBezTo>
                  <a:pt x="5608747" y="4252673"/>
                  <a:pt x="5609676" y="4254841"/>
                  <a:pt x="5607662" y="4255977"/>
                </a:cubicBezTo>
                <a:cubicBezTo>
                  <a:pt x="5606578" y="4256493"/>
                  <a:pt x="5605803" y="4257113"/>
                  <a:pt x="5605184" y="4257319"/>
                </a:cubicBezTo>
                <a:cubicBezTo>
                  <a:pt x="5604409" y="4257526"/>
                  <a:pt x="5603635" y="4257319"/>
                  <a:pt x="5602396" y="4256080"/>
                </a:cubicBezTo>
                <a:cubicBezTo>
                  <a:pt x="5600846" y="4255564"/>
                  <a:pt x="5599917" y="4253499"/>
                  <a:pt x="5598368" y="4252982"/>
                </a:cubicBezTo>
                <a:cubicBezTo>
                  <a:pt x="5598368" y="4252982"/>
                  <a:pt x="5598368" y="4251743"/>
                  <a:pt x="5598678" y="4250298"/>
                </a:cubicBezTo>
                <a:cubicBezTo>
                  <a:pt x="5598988" y="4248852"/>
                  <a:pt x="5599453" y="4247303"/>
                  <a:pt x="5600382" y="4246684"/>
                </a:cubicBezTo>
                <a:close/>
                <a:moveTo>
                  <a:pt x="5380739" y="4246271"/>
                </a:moveTo>
                <a:cubicBezTo>
                  <a:pt x="5383372" y="4249369"/>
                  <a:pt x="5381514" y="4254325"/>
                  <a:pt x="5376402" y="4253602"/>
                </a:cubicBezTo>
                <a:cubicBezTo>
                  <a:pt x="5376867" y="4249885"/>
                  <a:pt x="5377331" y="4246168"/>
                  <a:pt x="5380739" y="4246271"/>
                </a:cubicBezTo>
                <a:close/>
                <a:moveTo>
                  <a:pt x="5417759" y="4245961"/>
                </a:moveTo>
                <a:cubicBezTo>
                  <a:pt x="5416985" y="4246891"/>
                  <a:pt x="5415436" y="4247820"/>
                  <a:pt x="5414661" y="4248749"/>
                </a:cubicBezTo>
                <a:cubicBezTo>
                  <a:pt x="5414661" y="4248749"/>
                  <a:pt x="5414661" y="4248852"/>
                  <a:pt x="5413732" y="4248026"/>
                </a:cubicBezTo>
                <a:cubicBezTo>
                  <a:pt x="5415436" y="4247923"/>
                  <a:pt x="5415746" y="4244309"/>
                  <a:pt x="5417759" y="4245961"/>
                </a:cubicBezTo>
                <a:close/>
                <a:moveTo>
                  <a:pt x="1498428" y="4244601"/>
                </a:moveTo>
                <a:cubicBezTo>
                  <a:pt x="1501216" y="4246460"/>
                  <a:pt x="1499667" y="4253997"/>
                  <a:pt x="1496414" y="4255340"/>
                </a:cubicBezTo>
                <a:cubicBezTo>
                  <a:pt x="1495949" y="4255546"/>
                  <a:pt x="1495485" y="4255649"/>
                  <a:pt x="1494865" y="4255546"/>
                </a:cubicBezTo>
                <a:cubicBezTo>
                  <a:pt x="1493316" y="4255236"/>
                  <a:pt x="1491458" y="4253274"/>
                  <a:pt x="1489599" y="4248628"/>
                </a:cubicBezTo>
                <a:cubicBezTo>
                  <a:pt x="1494091" y="4244395"/>
                  <a:pt x="1496879" y="4243672"/>
                  <a:pt x="1498428" y="4244601"/>
                </a:cubicBezTo>
                <a:close/>
                <a:moveTo>
                  <a:pt x="5522624" y="4242347"/>
                </a:moveTo>
                <a:cubicBezTo>
                  <a:pt x="5523863" y="4241934"/>
                  <a:pt x="5526806" y="4241728"/>
                  <a:pt x="5527890" y="4244515"/>
                </a:cubicBezTo>
                <a:cubicBezTo>
                  <a:pt x="5528820" y="4247303"/>
                  <a:pt x="5531298" y="4247923"/>
                  <a:pt x="5532382" y="4250711"/>
                </a:cubicBezTo>
                <a:cubicBezTo>
                  <a:pt x="5532382" y="4250711"/>
                  <a:pt x="5532382" y="4250711"/>
                  <a:pt x="5531143" y="4251021"/>
                </a:cubicBezTo>
                <a:cubicBezTo>
                  <a:pt x="5528820" y="4247303"/>
                  <a:pt x="5524483" y="4246787"/>
                  <a:pt x="5522624" y="4242347"/>
                </a:cubicBezTo>
                <a:close/>
                <a:moveTo>
                  <a:pt x="5918229" y="4242141"/>
                </a:moveTo>
                <a:lnTo>
                  <a:pt x="5917145" y="4242967"/>
                </a:lnTo>
                <a:lnTo>
                  <a:pt x="5915906" y="4247200"/>
                </a:lnTo>
                <a:lnTo>
                  <a:pt x="5920398" y="4245961"/>
                </a:lnTo>
                <a:lnTo>
                  <a:pt x="5919004" y="4244412"/>
                </a:lnTo>
                <a:close/>
                <a:moveTo>
                  <a:pt x="4988697" y="4241418"/>
                </a:moveTo>
                <a:cubicBezTo>
                  <a:pt x="4989316" y="4241934"/>
                  <a:pt x="4989936" y="4242864"/>
                  <a:pt x="4990400" y="4244103"/>
                </a:cubicBezTo>
                <a:cubicBezTo>
                  <a:pt x="4989626" y="4251434"/>
                  <a:pt x="4987302" y="4256803"/>
                  <a:pt x="4980177" y="4257732"/>
                </a:cubicBezTo>
                <a:cubicBezTo>
                  <a:pt x="4980332" y="4256493"/>
                  <a:pt x="4979093" y="4256390"/>
                  <a:pt x="4978009" y="4256390"/>
                </a:cubicBezTo>
                <a:cubicBezTo>
                  <a:pt x="4973981" y="4250298"/>
                  <a:pt x="4983740" y="4237804"/>
                  <a:pt x="4988697" y="4241418"/>
                </a:cubicBezTo>
                <a:close/>
                <a:moveTo>
                  <a:pt x="1304343" y="4241090"/>
                </a:moveTo>
                <a:cubicBezTo>
                  <a:pt x="1310229" y="4239438"/>
                  <a:pt x="1316890" y="4241297"/>
                  <a:pt x="1321071" y="4249661"/>
                </a:cubicBezTo>
                <a:cubicBezTo>
                  <a:pt x="1316890" y="4258231"/>
                  <a:pt x="1309145" y="4264323"/>
                  <a:pt x="1302329" y="4264736"/>
                </a:cubicBezTo>
                <a:cubicBezTo>
                  <a:pt x="1300006" y="4264942"/>
                  <a:pt x="1297837" y="4264530"/>
                  <a:pt x="1295824" y="4263290"/>
                </a:cubicBezTo>
                <a:cubicBezTo>
                  <a:pt x="1294739" y="4262361"/>
                  <a:pt x="1293810" y="4261432"/>
                  <a:pt x="1293190" y="4260399"/>
                </a:cubicBezTo>
                <a:cubicBezTo>
                  <a:pt x="1288699" y="4253171"/>
                  <a:pt x="1295824" y="4243465"/>
                  <a:pt x="1304343" y="4241090"/>
                </a:cubicBezTo>
                <a:close/>
                <a:moveTo>
                  <a:pt x="5266774" y="4240514"/>
                </a:moveTo>
                <a:cubicBezTo>
                  <a:pt x="5267936" y="4240772"/>
                  <a:pt x="5269214" y="4241676"/>
                  <a:pt x="5270453" y="4242554"/>
                </a:cubicBezTo>
                <a:cubicBezTo>
                  <a:pt x="5269678" y="4244206"/>
                  <a:pt x="5270608" y="4246064"/>
                  <a:pt x="5268130" y="4247613"/>
                </a:cubicBezTo>
                <a:cubicBezTo>
                  <a:pt x="5266426" y="4245858"/>
                  <a:pt x="5265496" y="4244103"/>
                  <a:pt x="5263792" y="4242347"/>
                </a:cubicBezTo>
                <a:cubicBezTo>
                  <a:pt x="5264567" y="4240644"/>
                  <a:pt x="5265612" y="4240256"/>
                  <a:pt x="5266774" y="4240514"/>
                </a:cubicBezTo>
                <a:close/>
                <a:moveTo>
                  <a:pt x="1346320" y="4240471"/>
                </a:moveTo>
                <a:cubicBezTo>
                  <a:pt x="1346785" y="4240368"/>
                  <a:pt x="1347404" y="4240677"/>
                  <a:pt x="1348179" y="4241710"/>
                </a:cubicBezTo>
                <a:cubicBezTo>
                  <a:pt x="1349882" y="4242742"/>
                  <a:pt x="1349882" y="4243672"/>
                  <a:pt x="1348024" y="4246046"/>
                </a:cubicBezTo>
                <a:cubicBezTo>
                  <a:pt x="1346320" y="4247596"/>
                  <a:pt x="1345546" y="4249247"/>
                  <a:pt x="1344616" y="4249144"/>
                </a:cubicBezTo>
                <a:cubicBezTo>
                  <a:pt x="1344616" y="4250074"/>
                  <a:pt x="1343842" y="4250797"/>
                  <a:pt x="1343842" y="4251726"/>
                </a:cubicBezTo>
                <a:cubicBezTo>
                  <a:pt x="1343842" y="4251726"/>
                  <a:pt x="1343842" y="4251726"/>
                  <a:pt x="1342912" y="4251622"/>
                </a:cubicBezTo>
                <a:cubicBezTo>
                  <a:pt x="1343842" y="4248215"/>
                  <a:pt x="1343067" y="4243672"/>
                  <a:pt x="1344925" y="4241297"/>
                </a:cubicBezTo>
                <a:cubicBezTo>
                  <a:pt x="1345235" y="4240884"/>
                  <a:pt x="1345700" y="4240471"/>
                  <a:pt x="1346320" y="4240471"/>
                </a:cubicBezTo>
                <a:close/>
                <a:moveTo>
                  <a:pt x="1383650" y="4240058"/>
                </a:moveTo>
                <a:cubicBezTo>
                  <a:pt x="1387368" y="4241503"/>
                  <a:pt x="1391704" y="4248938"/>
                  <a:pt x="1381326" y="4247079"/>
                </a:cubicBezTo>
                <a:cubicBezTo>
                  <a:pt x="1379623" y="4240471"/>
                  <a:pt x="1381481" y="4239129"/>
                  <a:pt x="1383650" y="4240058"/>
                </a:cubicBezTo>
                <a:close/>
                <a:moveTo>
                  <a:pt x="5522779" y="4239146"/>
                </a:moveTo>
                <a:cubicBezTo>
                  <a:pt x="5523708" y="4240695"/>
                  <a:pt x="5512865" y="4245651"/>
                  <a:pt x="5509922" y="4246994"/>
                </a:cubicBezTo>
                <a:cubicBezTo>
                  <a:pt x="5509303" y="4246580"/>
                  <a:pt x="5509303" y="4246580"/>
                  <a:pt x="5509303" y="4246580"/>
                </a:cubicBezTo>
                <a:cubicBezTo>
                  <a:pt x="5508838" y="4245755"/>
                  <a:pt x="5508993" y="4245135"/>
                  <a:pt x="5509768" y="4244412"/>
                </a:cubicBezTo>
                <a:cubicBezTo>
                  <a:pt x="5510387" y="4243793"/>
                  <a:pt x="5511471" y="4243173"/>
                  <a:pt x="5513021" y="4242450"/>
                </a:cubicBezTo>
                <a:cubicBezTo>
                  <a:pt x="5515809" y="4241005"/>
                  <a:pt x="5519991" y="4240489"/>
                  <a:pt x="5521075" y="4240179"/>
                </a:cubicBezTo>
                <a:cubicBezTo>
                  <a:pt x="5522314" y="4239869"/>
                  <a:pt x="5522779" y="4239146"/>
                  <a:pt x="5522779" y="4239146"/>
                </a:cubicBezTo>
                <a:close/>
                <a:moveTo>
                  <a:pt x="674689" y="4239129"/>
                </a:moveTo>
                <a:cubicBezTo>
                  <a:pt x="682124" y="4234482"/>
                  <a:pt x="699628" y="4243981"/>
                  <a:pt x="696375" y="4253378"/>
                </a:cubicBezTo>
                <a:lnTo>
                  <a:pt x="692502" y="4250797"/>
                </a:lnTo>
                <a:lnTo>
                  <a:pt x="692038" y="4252862"/>
                </a:lnTo>
                <a:cubicBezTo>
                  <a:pt x="690644" y="4253894"/>
                  <a:pt x="688785" y="4255443"/>
                  <a:pt x="686927" y="4255236"/>
                </a:cubicBezTo>
                <a:cubicBezTo>
                  <a:pt x="686307" y="4255133"/>
                  <a:pt x="685687" y="4254823"/>
                  <a:pt x="685067" y="4254307"/>
                </a:cubicBezTo>
                <a:cubicBezTo>
                  <a:pt x="685067" y="4253481"/>
                  <a:pt x="684293" y="4253274"/>
                  <a:pt x="684448" y="4252448"/>
                </a:cubicBezTo>
                <a:cubicBezTo>
                  <a:pt x="684448" y="4252448"/>
                  <a:pt x="683983" y="4251519"/>
                  <a:pt x="683983" y="4250280"/>
                </a:cubicBezTo>
                <a:lnTo>
                  <a:pt x="685222" y="4247079"/>
                </a:lnTo>
                <a:lnTo>
                  <a:pt x="679956" y="4244085"/>
                </a:lnTo>
                <a:cubicBezTo>
                  <a:pt x="678098" y="4242742"/>
                  <a:pt x="676393" y="4241194"/>
                  <a:pt x="674689" y="4239129"/>
                </a:cubicBezTo>
                <a:close/>
                <a:moveTo>
                  <a:pt x="5360757" y="4238940"/>
                </a:moveTo>
                <a:cubicBezTo>
                  <a:pt x="5363081" y="4241521"/>
                  <a:pt x="5361842" y="4245032"/>
                  <a:pt x="5364010" y="4248542"/>
                </a:cubicBezTo>
                <a:cubicBezTo>
                  <a:pt x="5361996" y="4251124"/>
                  <a:pt x="5364165" y="4255461"/>
                  <a:pt x="5361222" y="4258868"/>
                </a:cubicBezTo>
                <a:cubicBezTo>
                  <a:pt x="5360138" y="4258042"/>
                  <a:pt x="5359363" y="4256493"/>
                  <a:pt x="5358744" y="4254635"/>
                </a:cubicBezTo>
                <a:cubicBezTo>
                  <a:pt x="5357350" y="4249162"/>
                  <a:pt x="5358744" y="4240798"/>
                  <a:pt x="5360757" y="4238940"/>
                </a:cubicBezTo>
                <a:close/>
                <a:moveTo>
                  <a:pt x="5229135" y="4238294"/>
                </a:moveTo>
                <a:cubicBezTo>
                  <a:pt x="5234866" y="4236255"/>
                  <a:pt x="5240868" y="4236306"/>
                  <a:pt x="5243036" y="4240385"/>
                </a:cubicBezTo>
                <a:cubicBezTo>
                  <a:pt x="5233433" y="4242554"/>
                  <a:pt x="5228011" y="4248542"/>
                  <a:pt x="5216859" y="4248749"/>
                </a:cubicBezTo>
                <a:cubicBezTo>
                  <a:pt x="5217944" y="4244464"/>
                  <a:pt x="5223403" y="4240334"/>
                  <a:pt x="5229135" y="4238294"/>
                </a:cubicBezTo>
                <a:close/>
                <a:moveTo>
                  <a:pt x="5665438" y="4237701"/>
                </a:moveTo>
                <a:cubicBezTo>
                  <a:pt x="5667142" y="4238527"/>
                  <a:pt x="5668382" y="4240489"/>
                  <a:pt x="5668691" y="4243896"/>
                </a:cubicBezTo>
                <a:cubicBezTo>
                  <a:pt x="5662960" y="4245961"/>
                  <a:pt x="5661566" y="4250195"/>
                  <a:pt x="5656455" y="4249575"/>
                </a:cubicBezTo>
                <a:cubicBezTo>
                  <a:pt x="5651962" y="4242141"/>
                  <a:pt x="5660482" y="4235016"/>
                  <a:pt x="5665438" y="4237701"/>
                </a:cubicBezTo>
                <a:close/>
                <a:moveTo>
                  <a:pt x="4900870" y="4236874"/>
                </a:moveTo>
                <a:cubicBezTo>
                  <a:pt x="4906601" y="4234087"/>
                  <a:pt x="4913262" y="4238424"/>
                  <a:pt x="4915121" y="4245961"/>
                </a:cubicBezTo>
                <a:cubicBezTo>
                  <a:pt x="4918064" y="4257526"/>
                  <a:pt x="4914501" y="4264754"/>
                  <a:pt x="4914501" y="4264754"/>
                </a:cubicBezTo>
                <a:cubicBezTo>
                  <a:pt x="4912487" y="4265580"/>
                  <a:pt x="4910784" y="4265786"/>
                  <a:pt x="4909389" y="4265580"/>
                </a:cubicBezTo>
                <a:cubicBezTo>
                  <a:pt x="4905053" y="4264960"/>
                  <a:pt x="4902574" y="4260520"/>
                  <a:pt x="4901025" y="4255874"/>
                </a:cubicBezTo>
                <a:cubicBezTo>
                  <a:pt x="4900251" y="4253808"/>
                  <a:pt x="4899786" y="4251640"/>
                  <a:pt x="4899321" y="4249781"/>
                </a:cubicBezTo>
                <a:cubicBezTo>
                  <a:pt x="4898237" y="4245858"/>
                  <a:pt x="4897463" y="4241521"/>
                  <a:pt x="4898857" y="4238940"/>
                </a:cubicBezTo>
                <a:cubicBezTo>
                  <a:pt x="4899166" y="4238010"/>
                  <a:pt x="4899941" y="4237288"/>
                  <a:pt x="4900870" y="4236874"/>
                </a:cubicBezTo>
                <a:close/>
                <a:moveTo>
                  <a:pt x="5819250" y="4235636"/>
                </a:moveTo>
                <a:lnTo>
                  <a:pt x="5820335" y="4236565"/>
                </a:lnTo>
                <a:lnTo>
                  <a:pt x="5820335" y="4235842"/>
                </a:lnTo>
                <a:close/>
                <a:moveTo>
                  <a:pt x="5528820" y="4235532"/>
                </a:moveTo>
                <a:cubicBezTo>
                  <a:pt x="5528820" y="4235532"/>
                  <a:pt x="5529285" y="4234706"/>
                  <a:pt x="5530369" y="4237597"/>
                </a:cubicBezTo>
                <a:cubicBezTo>
                  <a:pt x="5529130" y="4237907"/>
                  <a:pt x="5525722" y="4238733"/>
                  <a:pt x="5525722" y="4238733"/>
                </a:cubicBezTo>
                <a:cubicBezTo>
                  <a:pt x="5525258" y="4239559"/>
                  <a:pt x="5525258" y="4239559"/>
                  <a:pt x="5524018" y="4239869"/>
                </a:cubicBezTo>
                <a:cubicBezTo>
                  <a:pt x="5523863" y="4238733"/>
                  <a:pt x="5523863" y="4238733"/>
                  <a:pt x="5524328" y="4237907"/>
                </a:cubicBezTo>
                <a:cubicBezTo>
                  <a:pt x="5525567" y="4237597"/>
                  <a:pt x="5526187" y="4238010"/>
                  <a:pt x="5527271" y="4237701"/>
                </a:cubicBezTo>
                <a:cubicBezTo>
                  <a:pt x="5526961" y="4235326"/>
                  <a:pt x="5526497" y="4236152"/>
                  <a:pt x="5527735" y="4235842"/>
                </a:cubicBezTo>
                <a:cubicBezTo>
                  <a:pt x="5527735" y="4235842"/>
                  <a:pt x="5527735" y="4235842"/>
                  <a:pt x="5528820" y="4235532"/>
                </a:cubicBezTo>
                <a:close/>
                <a:moveTo>
                  <a:pt x="5641739" y="4234809"/>
                </a:moveTo>
                <a:lnTo>
                  <a:pt x="5643598" y="4236048"/>
                </a:lnTo>
                <a:lnTo>
                  <a:pt x="5643753" y="4236048"/>
                </a:lnTo>
                <a:cubicBezTo>
                  <a:pt x="5646696" y="4238527"/>
                  <a:pt x="5646541" y="4238527"/>
                  <a:pt x="5643288" y="4243896"/>
                </a:cubicBezTo>
                <a:cubicBezTo>
                  <a:pt x="5642514" y="4244826"/>
                  <a:pt x="5641584" y="4245548"/>
                  <a:pt x="5640500" y="4245961"/>
                </a:cubicBezTo>
                <a:cubicBezTo>
                  <a:pt x="5639416" y="4246374"/>
                  <a:pt x="5638177" y="4246374"/>
                  <a:pt x="5636937" y="4245961"/>
                </a:cubicBezTo>
                <a:cubicBezTo>
                  <a:pt x="5636163" y="4246477"/>
                  <a:pt x="5635079" y="4246787"/>
                  <a:pt x="5634149" y="4246891"/>
                </a:cubicBezTo>
                <a:cubicBezTo>
                  <a:pt x="5633065" y="4246891"/>
                  <a:pt x="5631981" y="4246787"/>
                  <a:pt x="5631206" y="4246374"/>
                </a:cubicBezTo>
                <a:cubicBezTo>
                  <a:pt x="5629347" y="4244722"/>
                  <a:pt x="5629038" y="4242967"/>
                  <a:pt x="5629812" y="4242037"/>
                </a:cubicBezTo>
                <a:lnTo>
                  <a:pt x="5633530" y="4237907"/>
                </a:lnTo>
                <a:lnTo>
                  <a:pt x="5633375" y="4237288"/>
                </a:lnTo>
                <a:cubicBezTo>
                  <a:pt x="5633994" y="4234500"/>
                  <a:pt x="5638796" y="4233674"/>
                  <a:pt x="5641739" y="4234809"/>
                </a:cubicBezTo>
                <a:close/>
                <a:moveTo>
                  <a:pt x="1264070" y="4234275"/>
                </a:moveTo>
                <a:cubicBezTo>
                  <a:pt x="1265309" y="4236134"/>
                  <a:pt x="1267478" y="4233656"/>
                  <a:pt x="1268717" y="4236444"/>
                </a:cubicBezTo>
                <a:cubicBezTo>
                  <a:pt x="1267787" y="4241710"/>
                  <a:pt x="1259268" y="4248318"/>
                  <a:pt x="1252607" y="4248421"/>
                </a:cubicBezTo>
                <a:cubicBezTo>
                  <a:pt x="1250439" y="4248525"/>
                  <a:pt x="1248425" y="4247802"/>
                  <a:pt x="1247032" y="4246150"/>
                </a:cubicBezTo>
                <a:cubicBezTo>
                  <a:pt x="1252453" y="4243052"/>
                  <a:pt x="1257874" y="4240884"/>
                  <a:pt x="1264070" y="4234275"/>
                </a:cubicBezTo>
                <a:close/>
                <a:moveTo>
                  <a:pt x="4944861" y="4233777"/>
                </a:moveTo>
                <a:cubicBezTo>
                  <a:pt x="4948268" y="4236462"/>
                  <a:pt x="4948268" y="4238940"/>
                  <a:pt x="4946875" y="4242347"/>
                </a:cubicBezTo>
                <a:cubicBezTo>
                  <a:pt x="4944396" y="4242244"/>
                  <a:pt x="4941144" y="4239559"/>
                  <a:pt x="4940988" y="4236978"/>
                </a:cubicBezTo>
                <a:cubicBezTo>
                  <a:pt x="4942537" y="4234500"/>
                  <a:pt x="4944087" y="4235429"/>
                  <a:pt x="4944861" y="4233777"/>
                </a:cubicBezTo>
                <a:close/>
                <a:moveTo>
                  <a:pt x="5568590" y="4233699"/>
                </a:moveTo>
                <a:cubicBezTo>
                  <a:pt x="5570565" y="4234112"/>
                  <a:pt x="5571881" y="4235945"/>
                  <a:pt x="5572191" y="4238113"/>
                </a:cubicBezTo>
                <a:cubicBezTo>
                  <a:pt x="5572346" y="4239456"/>
                  <a:pt x="5572036" y="4241108"/>
                  <a:pt x="5571261" y="4242450"/>
                </a:cubicBezTo>
                <a:cubicBezTo>
                  <a:pt x="5570177" y="4244309"/>
                  <a:pt x="5568009" y="4245755"/>
                  <a:pt x="5564756" y="4246168"/>
                </a:cubicBezTo>
                <a:cubicBezTo>
                  <a:pt x="5563362" y="4244619"/>
                  <a:pt x="5562742" y="4243276"/>
                  <a:pt x="5562278" y="4241831"/>
                </a:cubicBezTo>
                <a:cubicBezTo>
                  <a:pt x="5561968" y="4240489"/>
                  <a:pt x="5561658" y="4239249"/>
                  <a:pt x="5561038" y="4237804"/>
                </a:cubicBezTo>
                <a:cubicBezTo>
                  <a:pt x="5563982" y="4234293"/>
                  <a:pt x="5566615" y="4233286"/>
                  <a:pt x="5568590" y="4233699"/>
                </a:cubicBezTo>
                <a:close/>
                <a:moveTo>
                  <a:pt x="569206" y="4233243"/>
                </a:moveTo>
                <a:cubicBezTo>
                  <a:pt x="571218" y="4230455"/>
                  <a:pt x="577724" y="4232210"/>
                  <a:pt x="579428" y="4235514"/>
                </a:cubicBezTo>
                <a:cubicBezTo>
                  <a:pt x="576641" y="4234792"/>
                  <a:pt x="574627" y="4235308"/>
                  <a:pt x="573077" y="4235411"/>
                </a:cubicBezTo>
                <a:cubicBezTo>
                  <a:pt x="571528" y="4235514"/>
                  <a:pt x="570290" y="4235308"/>
                  <a:pt x="569206" y="4233243"/>
                </a:cubicBezTo>
                <a:close/>
                <a:moveTo>
                  <a:pt x="1295824" y="4232623"/>
                </a:moveTo>
                <a:cubicBezTo>
                  <a:pt x="1296908" y="4233036"/>
                  <a:pt x="1297373" y="4234688"/>
                  <a:pt x="1298457" y="4235205"/>
                </a:cubicBezTo>
                <a:cubicBezTo>
                  <a:pt x="1297682" y="4235514"/>
                  <a:pt x="1297063" y="4236650"/>
                  <a:pt x="1296288" y="4237063"/>
                </a:cubicBezTo>
                <a:cubicBezTo>
                  <a:pt x="1295204" y="4236547"/>
                  <a:pt x="1294894" y="4235514"/>
                  <a:pt x="1295049" y="4234585"/>
                </a:cubicBezTo>
                <a:cubicBezTo>
                  <a:pt x="1295049" y="4233656"/>
                  <a:pt x="1295359" y="4232726"/>
                  <a:pt x="1295824" y="4232623"/>
                </a:cubicBezTo>
                <a:close/>
                <a:moveTo>
                  <a:pt x="5462834" y="4230679"/>
                </a:moveTo>
                <a:cubicBezTo>
                  <a:pt x="5463144" y="4233054"/>
                  <a:pt x="5465003" y="4236358"/>
                  <a:pt x="5462369" y="4238940"/>
                </a:cubicBezTo>
                <a:cubicBezTo>
                  <a:pt x="5462060" y="4237081"/>
                  <a:pt x="5461130" y="4233674"/>
                  <a:pt x="5461750" y="4231918"/>
                </a:cubicBezTo>
                <a:cubicBezTo>
                  <a:pt x="5461905" y="4231299"/>
                  <a:pt x="5462214" y="4230782"/>
                  <a:pt x="5462834" y="4230679"/>
                </a:cubicBezTo>
                <a:close/>
                <a:moveTo>
                  <a:pt x="1320762" y="4230558"/>
                </a:moveTo>
                <a:cubicBezTo>
                  <a:pt x="1320762" y="4231487"/>
                  <a:pt x="1321536" y="4231591"/>
                  <a:pt x="1321536" y="4232520"/>
                </a:cubicBezTo>
                <a:cubicBezTo>
                  <a:pt x="1322311" y="4234378"/>
                  <a:pt x="1322311" y="4234378"/>
                  <a:pt x="1321381" y="4235205"/>
                </a:cubicBezTo>
                <a:cubicBezTo>
                  <a:pt x="1320607" y="4235927"/>
                  <a:pt x="1317974" y="4234792"/>
                  <a:pt x="1317045" y="4235514"/>
                </a:cubicBezTo>
                <a:cubicBezTo>
                  <a:pt x="1317045" y="4235514"/>
                  <a:pt x="1317045" y="4235514"/>
                  <a:pt x="1316270" y="4233656"/>
                </a:cubicBezTo>
                <a:cubicBezTo>
                  <a:pt x="1316270" y="4232726"/>
                  <a:pt x="1316270" y="4231901"/>
                  <a:pt x="1317199" y="4231074"/>
                </a:cubicBezTo>
                <a:cubicBezTo>
                  <a:pt x="1318128" y="4230351"/>
                  <a:pt x="1319833" y="4230455"/>
                  <a:pt x="1320762" y="4230558"/>
                </a:cubicBezTo>
                <a:close/>
                <a:moveTo>
                  <a:pt x="1353445" y="4228596"/>
                </a:moveTo>
                <a:cubicBezTo>
                  <a:pt x="1355459" y="4235824"/>
                  <a:pt x="1358092" y="4243568"/>
                  <a:pt x="1353600" y="4246460"/>
                </a:cubicBezTo>
                <a:cubicBezTo>
                  <a:pt x="1348798" y="4244291"/>
                  <a:pt x="1348334" y="4236134"/>
                  <a:pt x="1348798" y="4231591"/>
                </a:cubicBezTo>
                <a:cubicBezTo>
                  <a:pt x="1351122" y="4231074"/>
                  <a:pt x="1351122" y="4229112"/>
                  <a:pt x="1353445" y="4228596"/>
                </a:cubicBezTo>
                <a:close/>
                <a:moveTo>
                  <a:pt x="1399101" y="4228235"/>
                </a:moveTo>
                <a:cubicBezTo>
                  <a:pt x="1404135" y="4229035"/>
                  <a:pt x="1408975" y="4232623"/>
                  <a:pt x="1409827" y="4236444"/>
                </a:cubicBezTo>
                <a:cubicBezTo>
                  <a:pt x="1407504" y="4240884"/>
                  <a:pt x="1402857" y="4242845"/>
                  <a:pt x="1398365" y="4242742"/>
                </a:cubicBezTo>
                <a:cubicBezTo>
                  <a:pt x="1393718" y="4242536"/>
                  <a:pt x="1389226" y="4240368"/>
                  <a:pt x="1387213" y="4236753"/>
                </a:cubicBezTo>
                <a:cubicBezTo>
                  <a:pt x="1388839" y="4229422"/>
                  <a:pt x="1394067" y="4227434"/>
                  <a:pt x="1399101" y="4228235"/>
                </a:cubicBezTo>
                <a:close/>
                <a:moveTo>
                  <a:pt x="1382101" y="4227770"/>
                </a:moveTo>
                <a:cubicBezTo>
                  <a:pt x="1386128" y="4231591"/>
                  <a:pt x="1385973" y="4231591"/>
                  <a:pt x="1379468" y="4239232"/>
                </a:cubicBezTo>
                <a:cubicBezTo>
                  <a:pt x="1378074" y="4240471"/>
                  <a:pt x="1376524" y="4241400"/>
                  <a:pt x="1374666" y="4241916"/>
                </a:cubicBezTo>
                <a:cubicBezTo>
                  <a:pt x="1372807" y="4242330"/>
                  <a:pt x="1370949" y="4242330"/>
                  <a:pt x="1368935" y="4241710"/>
                </a:cubicBezTo>
                <a:cubicBezTo>
                  <a:pt x="1367540" y="4242330"/>
                  <a:pt x="1365992" y="4242639"/>
                  <a:pt x="1364288" y="4242639"/>
                </a:cubicBezTo>
                <a:cubicBezTo>
                  <a:pt x="1362584" y="4242639"/>
                  <a:pt x="1361035" y="4242330"/>
                  <a:pt x="1359641" y="4241710"/>
                </a:cubicBezTo>
                <a:cubicBezTo>
                  <a:pt x="1357007" y="4239232"/>
                  <a:pt x="1357007" y="4236650"/>
                  <a:pt x="1358402" y="4235411"/>
                </a:cubicBezTo>
                <a:cubicBezTo>
                  <a:pt x="1367540" y="4224053"/>
                  <a:pt x="1379468" y="4229112"/>
                  <a:pt x="1382101" y="4227770"/>
                </a:cubicBezTo>
                <a:close/>
                <a:moveTo>
                  <a:pt x="725650" y="4227770"/>
                </a:moveTo>
                <a:cubicBezTo>
                  <a:pt x="726580" y="4226221"/>
                  <a:pt x="728129" y="4227357"/>
                  <a:pt x="729678" y="4229319"/>
                </a:cubicBezTo>
                <a:cubicBezTo>
                  <a:pt x="733705" y="4232623"/>
                  <a:pt x="734479" y="4235308"/>
                  <a:pt x="731691" y="4237476"/>
                </a:cubicBezTo>
                <a:cubicBezTo>
                  <a:pt x="730917" y="4237373"/>
                  <a:pt x="728439" y="4236134"/>
                  <a:pt x="728439" y="4236960"/>
                </a:cubicBezTo>
                <a:cubicBezTo>
                  <a:pt x="726580" y="4234688"/>
                  <a:pt x="724876" y="4232004"/>
                  <a:pt x="724876" y="4229835"/>
                </a:cubicBezTo>
                <a:cubicBezTo>
                  <a:pt x="724876" y="4229112"/>
                  <a:pt x="725186" y="4228390"/>
                  <a:pt x="725650" y="4227770"/>
                </a:cubicBezTo>
                <a:close/>
                <a:moveTo>
                  <a:pt x="5405522" y="4227272"/>
                </a:moveTo>
                <a:cubicBezTo>
                  <a:pt x="5408156" y="4227375"/>
                  <a:pt x="5409705" y="4227375"/>
                  <a:pt x="5411254" y="4229130"/>
                </a:cubicBezTo>
                <a:cubicBezTo>
                  <a:pt x="5413577" y="4231815"/>
                  <a:pt x="5414661" y="4237804"/>
                  <a:pt x="5411873" y="4240385"/>
                </a:cubicBezTo>
                <a:cubicBezTo>
                  <a:pt x="5408930" y="4243793"/>
                  <a:pt x="5406297" y="4244619"/>
                  <a:pt x="5403819" y="4244619"/>
                </a:cubicBezTo>
                <a:cubicBezTo>
                  <a:pt x="5403819" y="4244619"/>
                  <a:pt x="5403819" y="4244619"/>
                  <a:pt x="5404748" y="4244619"/>
                </a:cubicBezTo>
                <a:lnTo>
                  <a:pt x="5406142" y="4246580"/>
                </a:lnTo>
                <a:lnTo>
                  <a:pt x="5407691" y="4246477"/>
                </a:lnTo>
                <a:cubicBezTo>
                  <a:pt x="5408465" y="4246477"/>
                  <a:pt x="5409085" y="4246477"/>
                  <a:pt x="5409240" y="4246477"/>
                </a:cubicBezTo>
                <a:cubicBezTo>
                  <a:pt x="5409395" y="4247303"/>
                  <a:pt x="5409395" y="4247303"/>
                  <a:pt x="5409395" y="4247303"/>
                </a:cubicBezTo>
                <a:lnTo>
                  <a:pt x="5407226" y="4247820"/>
                </a:lnTo>
                <a:lnTo>
                  <a:pt x="5409705" y="4250917"/>
                </a:lnTo>
                <a:lnTo>
                  <a:pt x="5411718" y="4250504"/>
                </a:lnTo>
                <a:lnTo>
                  <a:pt x="5410324" y="4252053"/>
                </a:lnTo>
                <a:lnTo>
                  <a:pt x="5411564" y="4254428"/>
                </a:lnTo>
                <a:cubicBezTo>
                  <a:pt x="5412028" y="4255358"/>
                  <a:pt x="5412183" y="4256287"/>
                  <a:pt x="5411873" y="4256906"/>
                </a:cubicBezTo>
                <a:cubicBezTo>
                  <a:pt x="5410944" y="4256906"/>
                  <a:pt x="5410169" y="4256906"/>
                  <a:pt x="5409395" y="4255977"/>
                </a:cubicBezTo>
                <a:cubicBezTo>
                  <a:pt x="5408620" y="4255151"/>
                  <a:pt x="5409550" y="4255151"/>
                  <a:pt x="5408620" y="4255047"/>
                </a:cubicBezTo>
                <a:cubicBezTo>
                  <a:pt x="5408001" y="4254222"/>
                  <a:pt x="5407846" y="4255047"/>
                  <a:pt x="5407846" y="4255047"/>
                </a:cubicBezTo>
                <a:lnTo>
                  <a:pt x="5407846" y="4254738"/>
                </a:lnTo>
                <a:lnTo>
                  <a:pt x="5404438" y="4256287"/>
                </a:lnTo>
                <a:cubicBezTo>
                  <a:pt x="5401960" y="4256803"/>
                  <a:pt x="5399946" y="4257009"/>
                  <a:pt x="5398552" y="4259281"/>
                </a:cubicBezTo>
                <a:cubicBezTo>
                  <a:pt x="5397468" y="4257526"/>
                  <a:pt x="5397468" y="4257526"/>
                  <a:pt x="5398087" y="4255770"/>
                </a:cubicBezTo>
                <a:cubicBezTo>
                  <a:pt x="5399017" y="4255667"/>
                  <a:pt x="5398862" y="4254841"/>
                  <a:pt x="5399791" y="4255667"/>
                </a:cubicBezTo>
                <a:cubicBezTo>
                  <a:pt x="5400411" y="4254325"/>
                  <a:pt x="5402424" y="4252879"/>
                  <a:pt x="5404903" y="4251847"/>
                </a:cubicBezTo>
                <a:lnTo>
                  <a:pt x="5405213" y="4251743"/>
                </a:lnTo>
                <a:lnTo>
                  <a:pt x="5403663" y="4250814"/>
                </a:lnTo>
                <a:cubicBezTo>
                  <a:pt x="5403044" y="4250401"/>
                  <a:pt x="5402424" y="4250195"/>
                  <a:pt x="5401650" y="4249781"/>
                </a:cubicBezTo>
                <a:lnTo>
                  <a:pt x="5401495" y="4249678"/>
                </a:lnTo>
                <a:lnTo>
                  <a:pt x="5401031" y="4249781"/>
                </a:lnTo>
                <a:cubicBezTo>
                  <a:pt x="5400101" y="4249988"/>
                  <a:pt x="5399017" y="4249988"/>
                  <a:pt x="5397932" y="4249678"/>
                </a:cubicBezTo>
                <a:cubicBezTo>
                  <a:pt x="5397932" y="4249678"/>
                  <a:pt x="5397932" y="4249678"/>
                  <a:pt x="5398707" y="4249575"/>
                </a:cubicBezTo>
                <a:cubicBezTo>
                  <a:pt x="5398707" y="4249575"/>
                  <a:pt x="5397932" y="4249678"/>
                  <a:pt x="5397778" y="4248852"/>
                </a:cubicBezTo>
                <a:lnTo>
                  <a:pt x="5400566" y="4248026"/>
                </a:lnTo>
                <a:lnTo>
                  <a:pt x="5400101" y="4247510"/>
                </a:lnTo>
                <a:cubicBezTo>
                  <a:pt x="5399791" y="4246684"/>
                  <a:pt x="5399482" y="4245858"/>
                  <a:pt x="5398707" y="4244515"/>
                </a:cubicBezTo>
                <a:cubicBezTo>
                  <a:pt x="5399791" y="4242760"/>
                  <a:pt x="5399791" y="4242864"/>
                  <a:pt x="5400566" y="4242864"/>
                </a:cubicBezTo>
                <a:cubicBezTo>
                  <a:pt x="5399791" y="4242864"/>
                  <a:pt x="5399946" y="4241934"/>
                  <a:pt x="5399172" y="4241005"/>
                </a:cubicBezTo>
                <a:cubicBezTo>
                  <a:pt x="5395144" y="4238320"/>
                  <a:pt x="5397313" y="4234087"/>
                  <a:pt x="5401031" y="4229853"/>
                </a:cubicBezTo>
                <a:cubicBezTo>
                  <a:pt x="5401805" y="4230679"/>
                  <a:pt x="5403819" y="4228098"/>
                  <a:pt x="5405522" y="4227272"/>
                </a:cubicBezTo>
                <a:close/>
                <a:moveTo>
                  <a:pt x="4977467" y="4226949"/>
                </a:moveTo>
                <a:cubicBezTo>
                  <a:pt x="4979403" y="4226162"/>
                  <a:pt x="4981804" y="4226910"/>
                  <a:pt x="4983275" y="4228821"/>
                </a:cubicBezTo>
                <a:cubicBezTo>
                  <a:pt x="4984204" y="4230060"/>
                  <a:pt x="4984824" y="4231918"/>
                  <a:pt x="4984669" y="4234087"/>
                </a:cubicBezTo>
                <a:cubicBezTo>
                  <a:pt x="4983585" y="4234913"/>
                  <a:pt x="4981416" y="4235429"/>
                  <a:pt x="4979403" y="4235532"/>
                </a:cubicBezTo>
                <a:cubicBezTo>
                  <a:pt x="4977234" y="4235636"/>
                  <a:pt x="4975221" y="4235223"/>
                  <a:pt x="4974446" y="4234293"/>
                </a:cubicBezTo>
                <a:cubicBezTo>
                  <a:pt x="4974059" y="4230059"/>
                  <a:pt x="4975530" y="4227736"/>
                  <a:pt x="4977467" y="4226949"/>
                </a:cubicBezTo>
                <a:close/>
                <a:moveTo>
                  <a:pt x="1501991" y="4224053"/>
                </a:moveTo>
                <a:cubicBezTo>
                  <a:pt x="1504159" y="4223743"/>
                  <a:pt x="1506792" y="4224363"/>
                  <a:pt x="1509735" y="4226221"/>
                </a:cubicBezTo>
                <a:cubicBezTo>
                  <a:pt x="1511904" y="4230145"/>
                  <a:pt x="1509116" y="4237270"/>
                  <a:pt x="1505708" y="4237270"/>
                </a:cubicBezTo>
                <a:cubicBezTo>
                  <a:pt x="1494711" y="4233449"/>
                  <a:pt x="1495794" y="4224879"/>
                  <a:pt x="1501991" y="4224053"/>
                </a:cubicBezTo>
                <a:close/>
                <a:moveTo>
                  <a:pt x="717750" y="4223537"/>
                </a:moveTo>
                <a:cubicBezTo>
                  <a:pt x="720384" y="4224982"/>
                  <a:pt x="722088" y="4228906"/>
                  <a:pt x="719764" y="4233243"/>
                </a:cubicBezTo>
                <a:cubicBezTo>
                  <a:pt x="716356" y="4234482"/>
                  <a:pt x="713723" y="4234172"/>
                  <a:pt x="711865" y="4234275"/>
                </a:cubicBezTo>
                <a:cubicBezTo>
                  <a:pt x="711245" y="4231901"/>
                  <a:pt x="710161" y="4230455"/>
                  <a:pt x="709542" y="4228080"/>
                </a:cubicBezTo>
                <a:cubicBezTo>
                  <a:pt x="711399" y="4223020"/>
                  <a:pt x="715117" y="4222091"/>
                  <a:pt x="717750" y="4223537"/>
                </a:cubicBezTo>
                <a:close/>
                <a:moveTo>
                  <a:pt x="5373769" y="4223451"/>
                </a:moveTo>
                <a:cubicBezTo>
                  <a:pt x="5377796" y="4225103"/>
                  <a:pt x="5377951" y="4230679"/>
                  <a:pt x="5375008" y="4232435"/>
                </a:cubicBezTo>
                <a:cubicBezTo>
                  <a:pt x="5368657" y="4231402"/>
                  <a:pt x="5370671" y="4224277"/>
                  <a:pt x="5373769" y="4223451"/>
                </a:cubicBezTo>
                <a:close/>
                <a:moveTo>
                  <a:pt x="5915286" y="4223245"/>
                </a:moveTo>
                <a:lnTo>
                  <a:pt x="5913892" y="4223658"/>
                </a:lnTo>
                <a:lnTo>
                  <a:pt x="5914357" y="4224690"/>
                </a:lnTo>
                <a:close/>
                <a:moveTo>
                  <a:pt x="5678605" y="4222212"/>
                </a:moveTo>
                <a:cubicBezTo>
                  <a:pt x="5679379" y="4223245"/>
                  <a:pt x="5679379" y="4223141"/>
                  <a:pt x="5679224" y="4225723"/>
                </a:cubicBezTo>
                <a:cubicBezTo>
                  <a:pt x="5678450" y="4224690"/>
                  <a:pt x="5678450" y="4224690"/>
                  <a:pt x="5677675" y="4225413"/>
                </a:cubicBezTo>
                <a:cubicBezTo>
                  <a:pt x="5677675" y="4225413"/>
                  <a:pt x="5677675" y="4225413"/>
                  <a:pt x="5677520" y="4226239"/>
                </a:cubicBezTo>
                <a:cubicBezTo>
                  <a:pt x="5676746" y="4226136"/>
                  <a:pt x="5676901" y="4225310"/>
                  <a:pt x="5676127" y="4225207"/>
                </a:cubicBezTo>
                <a:cubicBezTo>
                  <a:pt x="5676127" y="4225207"/>
                  <a:pt x="5676127" y="4224277"/>
                  <a:pt x="5676127" y="4224277"/>
                </a:cubicBezTo>
                <a:cubicBezTo>
                  <a:pt x="5675661" y="4224277"/>
                  <a:pt x="5675661" y="4224277"/>
                  <a:pt x="5675971" y="4224174"/>
                </a:cubicBezTo>
                <a:cubicBezTo>
                  <a:pt x="5676127" y="4223968"/>
                  <a:pt x="5676591" y="4223555"/>
                  <a:pt x="5676901" y="4222832"/>
                </a:cubicBezTo>
                <a:cubicBezTo>
                  <a:pt x="5677830" y="4222109"/>
                  <a:pt x="5677985" y="4221283"/>
                  <a:pt x="5678605" y="4222212"/>
                </a:cubicBezTo>
                <a:close/>
                <a:moveTo>
                  <a:pt x="4994737" y="4221902"/>
                </a:moveTo>
                <a:cubicBezTo>
                  <a:pt x="4996441" y="4221386"/>
                  <a:pt x="4998765" y="4221902"/>
                  <a:pt x="5001553" y="4224174"/>
                </a:cubicBezTo>
                <a:cubicBezTo>
                  <a:pt x="4998920" y="4229337"/>
                  <a:pt x="5001088" y="4233364"/>
                  <a:pt x="4996906" y="4236358"/>
                </a:cubicBezTo>
                <a:cubicBezTo>
                  <a:pt x="4988232" y="4233880"/>
                  <a:pt x="4989161" y="4223245"/>
                  <a:pt x="4994737" y="4221902"/>
                </a:cubicBezTo>
                <a:close/>
                <a:moveTo>
                  <a:pt x="5852243" y="4221386"/>
                </a:moveTo>
                <a:lnTo>
                  <a:pt x="5848526" y="4223761"/>
                </a:lnTo>
                <a:lnTo>
                  <a:pt x="5849145" y="4224380"/>
                </a:lnTo>
                <a:cubicBezTo>
                  <a:pt x="5850695" y="4224794"/>
                  <a:pt x="5852398" y="4223864"/>
                  <a:pt x="5853947" y="4223451"/>
                </a:cubicBezTo>
                <a:lnTo>
                  <a:pt x="5854567" y="4223451"/>
                </a:lnTo>
                <a:lnTo>
                  <a:pt x="5853018" y="4222625"/>
                </a:lnTo>
                <a:close/>
                <a:moveTo>
                  <a:pt x="5517977" y="4221076"/>
                </a:moveTo>
                <a:cubicBezTo>
                  <a:pt x="5524328" y="4218702"/>
                  <a:pt x="5527890" y="4229543"/>
                  <a:pt x="5529439" y="4231608"/>
                </a:cubicBezTo>
                <a:cubicBezTo>
                  <a:pt x="5529439" y="4231608"/>
                  <a:pt x="5530059" y="4232022"/>
                  <a:pt x="5530214" y="4233261"/>
                </a:cubicBezTo>
                <a:cubicBezTo>
                  <a:pt x="5531143" y="4234809"/>
                  <a:pt x="5528665" y="4234293"/>
                  <a:pt x="5528820" y="4235532"/>
                </a:cubicBezTo>
                <a:cubicBezTo>
                  <a:pt x="5524328" y="4230473"/>
                  <a:pt x="5518752" y="4228924"/>
                  <a:pt x="5518752" y="4228924"/>
                </a:cubicBezTo>
                <a:cubicBezTo>
                  <a:pt x="5517822" y="4227375"/>
                  <a:pt x="5518287" y="4226652"/>
                  <a:pt x="5517822" y="4227375"/>
                </a:cubicBezTo>
                <a:cubicBezTo>
                  <a:pt x="5517357" y="4225000"/>
                  <a:pt x="5516273" y="4222212"/>
                  <a:pt x="5517977" y="4221076"/>
                </a:cubicBezTo>
                <a:close/>
                <a:moveTo>
                  <a:pt x="5564911" y="4220044"/>
                </a:moveTo>
                <a:cubicBezTo>
                  <a:pt x="5568009" y="4223968"/>
                  <a:pt x="5565066" y="4231196"/>
                  <a:pt x="5559179" y="4230886"/>
                </a:cubicBezTo>
                <a:cubicBezTo>
                  <a:pt x="5558715" y="4228924"/>
                  <a:pt x="5557786" y="4227685"/>
                  <a:pt x="5557321" y="4225826"/>
                </a:cubicBezTo>
                <a:cubicBezTo>
                  <a:pt x="5559954" y="4223451"/>
                  <a:pt x="5559644" y="4219114"/>
                  <a:pt x="5564911" y="4220044"/>
                </a:cubicBezTo>
                <a:close/>
                <a:moveTo>
                  <a:pt x="5256357" y="4219837"/>
                </a:moveTo>
                <a:cubicBezTo>
                  <a:pt x="5260230" y="4222109"/>
                  <a:pt x="5258836" y="4228717"/>
                  <a:pt x="5254653" y="4229957"/>
                </a:cubicBezTo>
                <a:cubicBezTo>
                  <a:pt x="5253724" y="4229337"/>
                  <a:pt x="5251865" y="4229027"/>
                  <a:pt x="5250626" y="4227581"/>
                </a:cubicBezTo>
                <a:cubicBezTo>
                  <a:pt x="5250781" y="4223245"/>
                  <a:pt x="5252950" y="4220767"/>
                  <a:pt x="5256357" y="4219837"/>
                </a:cubicBezTo>
                <a:close/>
                <a:moveTo>
                  <a:pt x="1414009" y="4217032"/>
                </a:moveTo>
                <a:cubicBezTo>
                  <a:pt x="1417262" y="4218993"/>
                  <a:pt x="1420050" y="4219716"/>
                  <a:pt x="1421754" y="4220749"/>
                </a:cubicBezTo>
                <a:cubicBezTo>
                  <a:pt x="1420980" y="4223537"/>
                  <a:pt x="1419586" y="4225395"/>
                  <a:pt x="1418036" y="4226221"/>
                </a:cubicBezTo>
                <a:cubicBezTo>
                  <a:pt x="1417108" y="4226634"/>
                  <a:pt x="1416178" y="4226738"/>
                  <a:pt x="1415248" y="4226634"/>
                </a:cubicBezTo>
                <a:lnTo>
                  <a:pt x="1414474" y="4226428"/>
                </a:lnTo>
                <a:lnTo>
                  <a:pt x="1415403" y="4227564"/>
                </a:lnTo>
                <a:cubicBezTo>
                  <a:pt x="1416023" y="4228906"/>
                  <a:pt x="1416178" y="4230248"/>
                  <a:pt x="1414939" y="4231487"/>
                </a:cubicBezTo>
                <a:cubicBezTo>
                  <a:pt x="1410757" y="4231281"/>
                  <a:pt x="1408124" y="4226841"/>
                  <a:pt x="1412150" y="4223434"/>
                </a:cubicBezTo>
                <a:lnTo>
                  <a:pt x="1412306" y="4223640"/>
                </a:lnTo>
                <a:lnTo>
                  <a:pt x="1412925" y="4221162"/>
                </a:lnTo>
                <a:cubicBezTo>
                  <a:pt x="1412925" y="4219819"/>
                  <a:pt x="1413080" y="4218580"/>
                  <a:pt x="1414009" y="4217032"/>
                </a:cubicBezTo>
                <a:close/>
                <a:moveTo>
                  <a:pt x="4899631" y="4216946"/>
                </a:moveTo>
                <a:cubicBezTo>
                  <a:pt x="4899011" y="4217772"/>
                  <a:pt x="4899011" y="4217772"/>
                  <a:pt x="4899941" y="4218495"/>
                </a:cubicBezTo>
                <a:cubicBezTo>
                  <a:pt x="4899941" y="4218495"/>
                  <a:pt x="4899941" y="4218598"/>
                  <a:pt x="4900715" y="4218495"/>
                </a:cubicBezTo>
                <a:cubicBezTo>
                  <a:pt x="4900870" y="4219321"/>
                  <a:pt x="4900096" y="4219321"/>
                  <a:pt x="4900096" y="4220147"/>
                </a:cubicBezTo>
                <a:cubicBezTo>
                  <a:pt x="4900096" y="4220147"/>
                  <a:pt x="4899321" y="4220250"/>
                  <a:pt x="4899321" y="4220250"/>
                </a:cubicBezTo>
                <a:cubicBezTo>
                  <a:pt x="4899476" y="4220663"/>
                  <a:pt x="4899476" y="4220663"/>
                  <a:pt x="4899166" y="4220457"/>
                </a:cubicBezTo>
                <a:cubicBezTo>
                  <a:pt x="4899011" y="4220250"/>
                  <a:pt x="4898547" y="4219837"/>
                  <a:pt x="4897618" y="4219528"/>
                </a:cubicBezTo>
                <a:cubicBezTo>
                  <a:pt x="4896688" y="4218702"/>
                  <a:pt x="4895914" y="4218805"/>
                  <a:pt x="4896533" y="4217978"/>
                </a:cubicBezTo>
                <a:cubicBezTo>
                  <a:pt x="4897308" y="4217049"/>
                  <a:pt x="4897308" y="4217049"/>
                  <a:pt x="4899631" y="4216946"/>
                </a:cubicBezTo>
                <a:close/>
                <a:moveTo>
                  <a:pt x="5623810" y="4216727"/>
                </a:moveTo>
                <a:cubicBezTo>
                  <a:pt x="5628263" y="4218004"/>
                  <a:pt x="5632368" y="4220715"/>
                  <a:pt x="5635389" y="4224794"/>
                </a:cubicBezTo>
                <a:cubicBezTo>
                  <a:pt x="5634614" y="4225826"/>
                  <a:pt x="5633994" y="4226859"/>
                  <a:pt x="5634924" y="4227478"/>
                </a:cubicBezTo>
                <a:cubicBezTo>
                  <a:pt x="5631051" y="4234809"/>
                  <a:pt x="5623152" y="4238836"/>
                  <a:pt x="5615407" y="4239456"/>
                </a:cubicBezTo>
                <a:cubicBezTo>
                  <a:pt x="5607507" y="4239972"/>
                  <a:pt x="5600072" y="4236874"/>
                  <a:pt x="5596974" y="4229957"/>
                </a:cubicBezTo>
                <a:cubicBezTo>
                  <a:pt x="5599917" y="4223451"/>
                  <a:pt x="5604719" y="4219321"/>
                  <a:pt x="5610140" y="4217256"/>
                </a:cubicBezTo>
                <a:cubicBezTo>
                  <a:pt x="5614555" y="4215604"/>
                  <a:pt x="5619357" y="4215449"/>
                  <a:pt x="5623810" y="4216727"/>
                </a:cubicBezTo>
                <a:close/>
                <a:moveTo>
                  <a:pt x="5302206" y="4216430"/>
                </a:moveTo>
                <a:cubicBezTo>
                  <a:pt x="5304840" y="4220663"/>
                  <a:pt x="5300193" y="4227685"/>
                  <a:pt x="5296940" y="4231196"/>
                </a:cubicBezTo>
                <a:cubicBezTo>
                  <a:pt x="5294772" y="4230369"/>
                  <a:pt x="5293532" y="4231918"/>
                  <a:pt x="5291364" y="4231092"/>
                </a:cubicBezTo>
                <a:cubicBezTo>
                  <a:pt x="5294152" y="4224071"/>
                  <a:pt x="5296630" y="4216327"/>
                  <a:pt x="5302206" y="4216430"/>
                </a:cubicBezTo>
                <a:close/>
                <a:moveTo>
                  <a:pt x="1471476" y="4213521"/>
                </a:moveTo>
                <a:cubicBezTo>
                  <a:pt x="1476897" y="4213934"/>
                  <a:pt x="1481080" y="4216102"/>
                  <a:pt x="1484797" y="4215276"/>
                </a:cubicBezTo>
                <a:cubicBezTo>
                  <a:pt x="1484797" y="4215276"/>
                  <a:pt x="1484797" y="4215173"/>
                  <a:pt x="1486501" y="4217135"/>
                </a:cubicBezTo>
                <a:cubicBezTo>
                  <a:pt x="1487276" y="4217238"/>
                  <a:pt x="1487276" y="4217238"/>
                  <a:pt x="1487276" y="4217238"/>
                </a:cubicBezTo>
                <a:cubicBezTo>
                  <a:pt x="1488050" y="4217341"/>
                  <a:pt x="1488050" y="4219097"/>
                  <a:pt x="1488050" y="4219097"/>
                </a:cubicBezTo>
                <a:cubicBezTo>
                  <a:pt x="1487585" y="4219923"/>
                  <a:pt x="1486811" y="4220026"/>
                  <a:pt x="1485881" y="4219923"/>
                </a:cubicBezTo>
                <a:cubicBezTo>
                  <a:pt x="1484952" y="4219819"/>
                  <a:pt x="1483868" y="4219406"/>
                  <a:pt x="1483093" y="4219303"/>
                </a:cubicBezTo>
                <a:cubicBezTo>
                  <a:pt x="1482164" y="4220955"/>
                  <a:pt x="1479685" y="4217238"/>
                  <a:pt x="1478911" y="4218890"/>
                </a:cubicBezTo>
                <a:cubicBezTo>
                  <a:pt x="1475658" y="4214967"/>
                  <a:pt x="1471321" y="4218787"/>
                  <a:pt x="1465590" y="4213727"/>
                </a:cubicBezTo>
                <a:cubicBezTo>
                  <a:pt x="1467758" y="4213314"/>
                  <a:pt x="1469617" y="4213314"/>
                  <a:pt x="1471476" y="4213521"/>
                </a:cubicBezTo>
                <a:close/>
                <a:moveTo>
                  <a:pt x="1489444" y="4211559"/>
                </a:moveTo>
                <a:cubicBezTo>
                  <a:pt x="1493316" y="4210526"/>
                  <a:pt x="1498118" y="4211972"/>
                  <a:pt x="1501836" y="4212798"/>
                </a:cubicBezTo>
                <a:cubicBezTo>
                  <a:pt x="1499202" y="4215276"/>
                  <a:pt x="1495485" y="4214450"/>
                  <a:pt x="1494401" y="4221265"/>
                </a:cubicBezTo>
                <a:cubicBezTo>
                  <a:pt x="1491612" y="4218271"/>
                  <a:pt x="1489754" y="4215173"/>
                  <a:pt x="1489444" y="4211559"/>
                </a:cubicBezTo>
                <a:close/>
                <a:moveTo>
                  <a:pt x="1393873" y="4209804"/>
                </a:moveTo>
                <a:cubicBezTo>
                  <a:pt x="1395422" y="4210526"/>
                  <a:pt x="1397900" y="4211249"/>
                  <a:pt x="1398210" y="4213521"/>
                </a:cubicBezTo>
                <a:cubicBezTo>
                  <a:pt x="1398365" y="4214347"/>
                  <a:pt x="1398210" y="4215173"/>
                  <a:pt x="1397590" y="4216309"/>
                </a:cubicBezTo>
                <a:cubicBezTo>
                  <a:pt x="1397900" y="4217135"/>
                  <a:pt x="1394803" y="4219200"/>
                  <a:pt x="1393873" y="4218787"/>
                </a:cubicBezTo>
                <a:cubicBezTo>
                  <a:pt x="1393099" y="4218580"/>
                  <a:pt x="1392634" y="4218271"/>
                  <a:pt x="1392324" y="4217858"/>
                </a:cubicBezTo>
                <a:cubicBezTo>
                  <a:pt x="1391395" y="4216618"/>
                  <a:pt x="1391704" y="4214140"/>
                  <a:pt x="1391704" y="4211559"/>
                </a:cubicBezTo>
                <a:cubicBezTo>
                  <a:pt x="1392634" y="4211972"/>
                  <a:pt x="1393253" y="4210939"/>
                  <a:pt x="1393873" y="4209804"/>
                </a:cubicBezTo>
                <a:close/>
                <a:moveTo>
                  <a:pt x="1415248" y="4209597"/>
                </a:moveTo>
                <a:cubicBezTo>
                  <a:pt x="1416333" y="4213521"/>
                  <a:pt x="1416333" y="4212282"/>
                  <a:pt x="1415558" y="4216412"/>
                </a:cubicBezTo>
                <a:cubicBezTo>
                  <a:pt x="1413235" y="4215999"/>
                  <a:pt x="1410912" y="4215586"/>
                  <a:pt x="1408434" y="4215276"/>
                </a:cubicBezTo>
                <a:cubicBezTo>
                  <a:pt x="1409208" y="4213521"/>
                  <a:pt x="1408588" y="4211559"/>
                  <a:pt x="1408743" y="4210320"/>
                </a:cubicBezTo>
                <a:cubicBezTo>
                  <a:pt x="1410602" y="4208771"/>
                  <a:pt x="1412460" y="4208461"/>
                  <a:pt x="1415248" y="4209597"/>
                </a:cubicBezTo>
                <a:close/>
                <a:moveTo>
                  <a:pt x="5447035" y="4209099"/>
                </a:moveTo>
                <a:cubicBezTo>
                  <a:pt x="5452611" y="4209305"/>
                  <a:pt x="5454005" y="4213642"/>
                  <a:pt x="5453076" y="4218702"/>
                </a:cubicBezTo>
                <a:cubicBezTo>
                  <a:pt x="5451682" y="4225000"/>
                  <a:pt x="5446725" y="4232538"/>
                  <a:pt x="5441458" y="4234190"/>
                </a:cubicBezTo>
                <a:lnTo>
                  <a:pt x="5440994" y="4234087"/>
                </a:lnTo>
                <a:lnTo>
                  <a:pt x="5440839" y="4241005"/>
                </a:lnTo>
                <a:cubicBezTo>
                  <a:pt x="5440374" y="4243483"/>
                  <a:pt x="5439600" y="4246064"/>
                  <a:pt x="5438360" y="4248542"/>
                </a:cubicBezTo>
                <a:cubicBezTo>
                  <a:pt x="5437276" y="4248439"/>
                  <a:pt x="5436037" y="4248439"/>
                  <a:pt x="5436037" y="4249678"/>
                </a:cubicBezTo>
                <a:cubicBezTo>
                  <a:pt x="5428292" y="4249988"/>
                  <a:pt x="5421787" y="4244722"/>
                  <a:pt x="5418379" y="4237701"/>
                </a:cubicBezTo>
                <a:cubicBezTo>
                  <a:pt x="5415900" y="4232538"/>
                  <a:pt x="5415126" y="4226342"/>
                  <a:pt x="5416830" y="4220870"/>
                </a:cubicBezTo>
                <a:lnTo>
                  <a:pt x="5417295" y="4220044"/>
                </a:lnTo>
                <a:lnTo>
                  <a:pt x="5416210" y="4221076"/>
                </a:lnTo>
                <a:cubicBezTo>
                  <a:pt x="5414971" y="4221386"/>
                  <a:pt x="5414971" y="4221386"/>
                  <a:pt x="5414352" y="4220870"/>
                </a:cubicBezTo>
                <a:cubicBezTo>
                  <a:pt x="5412493" y="4220767"/>
                  <a:pt x="5411254" y="4221180"/>
                  <a:pt x="5410324" y="4219528"/>
                </a:cubicBezTo>
                <a:cubicBezTo>
                  <a:pt x="5409860" y="4218082"/>
                  <a:pt x="5410014" y="4217049"/>
                  <a:pt x="5410634" y="4216223"/>
                </a:cubicBezTo>
                <a:cubicBezTo>
                  <a:pt x="5411408" y="4215397"/>
                  <a:pt x="5412493" y="4214778"/>
                  <a:pt x="5413887" y="4214055"/>
                </a:cubicBezTo>
                <a:cubicBezTo>
                  <a:pt x="5416675" y="4212609"/>
                  <a:pt x="5418379" y="4214778"/>
                  <a:pt x="5420702" y="4214055"/>
                </a:cubicBezTo>
                <a:lnTo>
                  <a:pt x="5420238" y="4215604"/>
                </a:lnTo>
                <a:lnTo>
                  <a:pt x="5428602" y="4216533"/>
                </a:lnTo>
                <a:cubicBezTo>
                  <a:pt x="5431235" y="4217566"/>
                  <a:pt x="5433559" y="4219114"/>
                  <a:pt x="5435418" y="4221076"/>
                </a:cubicBezTo>
                <a:lnTo>
                  <a:pt x="5438051" y="4225103"/>
                </a:lnTo>
                <a:lnTo>
                  <a:pt x="5438825" y="4221489"/>
                </a:lnTo>
                <a:cubicBezTo>
                  <a:pt x="5440529" y="4217359"/>
                  <a:pt x="5443007" y="4213126"/>
                  <a:pt x="5447035" y="4209099"/>
                </a:cubicBezTo>
                <a:close/>
                <a:moveTo>
                  <a:pt x="5195793" y="4208789"/>
                </a:moveTo>
                <a:cubicBezTo>
                  <a:pt x="5195793" y="4208789"/>
                  <a:pt x="5196413" y="4209305"/>
                  <a:pt x="5196413" y="4209305"/>
                </a:cubicBezTo>
                <a:cubicBezTo>
                  <a:pt x="5196103" y="4210028"/>
                  <a:pt x="5196567" y="4209305"/>
                  <a:pt x="5197652" y="4208996"/>
                </a:cubicBezTo>
                <a:cubicBezTo>
                  <a:pt x="5198891" y="4210544"/>
                  <a:pt x="5199665" y="4211061"/>
                  <a:pt x="5199975" y="4212300"/>
                </a:cubicBezTo>
                <a:cubicBezTo>
                  <a:pt x="5200285" y="4212816"/>
                  <a:pt x="5200285" y="4213539"/>
                  <a:pt x="5200285" y="4214262"/>
                </a:cubicBezTo>
                <a:cubicBezTo>
                  <a:pt x="5200285" y="4214881"/>
                  <a:pt x="5199975" y="4215501"/>
                  <a:pt x="5199356" y="4215707"/>
                </a:cubicBezTo>
                <a:cubicBezTo>
                  <a:pt x="5198581" y="4215191"/>
                  <a:pt x="5198271" y="4216017"/>
                  <a:pt x="5197497" y="4215501"/>
                </a:cubicBezTo>
                <a:cubicBezTo>
                  <a:pt x="5195638" y="4215397"/>
                  <a:pt x="5194863" y="4214984"/>
                  <a:pt x="5194399" y="4213848"/>
                </a:cubicBezTo>
                <a:cubicBezTo>
                  <a:pt x="5193624" y="4213332"/>
                  <a:pt x="5193934" y="4212609"/>
                  <a:pt x="5193624" y="4211370"/>
                </a:cubicBezTo>
                <a:cubicBezTo>
                  <a:pt x="5193934" y="4210647"/>
                  <a:pt x="5195018" y="4210338"/>
                  <a:pt x="5195018" y="4210338"/>
                </a:cubicBezTo>
                <a:cubicBezTo>
                  <a:pt x="5196103" y="4210028"/>
                  <a:pt x="5196258" y="4210028"/>
                  <a:pt x="5195793" y="4208789"/>
                </a:cubicBezTo>
                <a:close/>
                <a:moveTo>
                  <a:pt x="5252795" y="4206827"/>
                </a:moveTo>
                <a:cubicBezTo>
                  <a:pt x="5254344" y="4205795"/>
                  <a:pt x="5254963" y="4209408"/>
                  <a:pt x="5255583" y="4209822"/>
                </a:cubicBezTo>
                <a:cubicBezTo>
                  <a:pt x="5255893" y="4210957"/>
                  <a:pt x="5256048" y="4212196"/>
                  <a:pt x="5254808" y="4212506"/>
                </a:cubicBezTo>
                <a:cubicBezTo>
                  <a:pt x="5254344" y="4212713"/>
                  <a:pt x="5253879" y="4212919"/>
                  <a:pt x="5253569" y="4212919"/>
                </a:cubicBezTo>
                <a:cubicBezTo>
                  <a:pt x="5253105" y="4213022"/>
                  <a:pt x="5252795" y="4212713"/>
                  <a:pt x="5252330" y="4211887"/>
                </a:cubicBezTo>
                <a:cubicBezTo>
                  <a:pt x="5251710" y="4211473"/>
                  <a:pt x="5251556" y="4210338"/>
                  <a:pt x="5250781" y="4209822"/>
                </a:cubicBezTo>
                <a:cubicBezTo>
                  <a:pt x="5250781" y="4209822"/>
                  <a:pt x="5250936" y="4209202"/>
                  <a:pt x="5251401" y="4208479"/>
                </a:cubicBezTo>
                <a:cubicBezTo>
                  <a:pt x="5251710" y="4207756"/>
                  <a:pt x="5252175" y="4207034"/>
                  <a:pt x="5252795" y="4206827"/>
                </a:cubicBezTo>
                <a:close/>
                <a:moveTo>
                  <a:pt x="1228599" y="4206809"/>
                </a:moveTo>
                <a:lnTo>
                  <a:pt x="1228599" y="4207429"/>
                </a:lnTo>
                <a:lnTo>
                  <a:pt x="1229373" y="4207222"/>
                </a:lnTo>
                <a:close/>
                <a:moveTo>
                  <a:pt x="5491335" y="4205691"/>
                </a:moveTo>
                <a:cubicBezTo>
                  <a:pt x="5492265" y="4207446"/>
                  <a:pt x="5491490" y="4209202"/>
                  <a:pt x="5490715" y="4210854"/>
                </a:cubicBezTo>
                <a:cubicBezTo>
                  <a:pt x="5489941" y="4212093"/>
                  <a:pt x="5489012" y="4212506"/>
                  <a:pt x="5488237" y="4212300"/>
                </a:cubicBezTo>
                <a:cubicBezTo>
                  <a:pt x="5487308" y="4212196"/>
                  <a:pt x="5486533" y="4211473"/>
                  <a:pt x="5485604" y="4210544"/>
                </a:cubicBezTo>
                <a:cubicBezTo>
                  <a:pt x="5483745" y="4208789"/>
                  <a:pt x="5484520" y="4207137"/>
                  <a:pt x="5484520" y="4207137"/>
                </a:cubicBezTo>
                <a:cubicBezTo>
                  <a:pt x="5486223" y="4204556"/>
                  <a:pt x="5488702" y="4203833"/>
                  <a:pt x="5491335" y="4205691"/>
                </a:cubicBezTo>
                <a:close/>
                <a:moveTo>
                  <a:pt x="5563207" y="4204349"/>
                </a:moveTo>
                <a:cubicBezTo>
                  <a:pt x="5563981" y="4205278"/>
                  <a:pt x="5565376" y="4206311"/>
                  <a:pt x="5565995" y="4208169"/>
                </a:cubicBezTo>
                <a:cubicBezTo>
                  <a:pt x="5565066" y="4209615"/>
                  <a:pt x="5564291" y="4210131"/>
                  <a:pt x="5563517" y="4210235"/>
                </a:cubicBezTo>
                <a:cubicBezTo>
                  <a:pt x="5562742" y="4210235"/>
                  <a:pt x="5562123" y="4209718"/>
                  <a:pt x="5561658" y="4208996"/>
                </a:cubicBezTo>
                <a:cubicBezTo>
                  <a:pt x="5560883" y="4207446"/>
                  <a:pt x="5561038" y="4205072"/>
                  <a:pt x="5563207" y="4204349"/>
                </a:cubicBezTo>
                <a:close/>
                <a:moveTo>
                  <a:pt x="1349108" y="4203505"/>
                </a:moveTo>
                <a:cubicBezTo>
                  <a:pt x="1355613" y="4212075"/>
                  <a:pt x="1348334" y="4222814"/>
                  <a:pt x="1343532" y="4226944"/>
                </a:cubicBezTo>
                <a:cubicBezTo>
                  <a:pt x="1343532" y="4223020"/>
                  <a:pt x="1343532" y="4218993"/>
                  <a:pt x="1344151" y="4215070"/>
                </a:cubicBezTo>
                <a:cubicBezTo>
                  <a:pt x="1344771" y="4211043"/>
                  <a:pt x="1346165" y="4207222"/>
                  <a:pt x="1349108" y="4203505"/>
                </a:cubicBezTo>
                <a:close/>
                <a:moveTo>
                  <a:pt x="4866019" y="4202800"/>
                </a:moveTo>
                <a:cubicBezTo>
                  <a:pt x="4870201" y="4202284"/>
                  <a:pt x="4871440" y="4206311"/>
                  <a:pt x="4874383" y="4209305"/>
                </a:cubicBezTo>
                <a:cubicBezTo>
                  <a:pt x="4873919" y="4210028"/>
                  <a:pt x="4874073" y="4211267"/>
                  <a:pt x="4874848" y="4211680"/>
                </a:cubicBezTo>
                <a:cubicBezTo>
                  <a:pt x="4875003" y="4212919"/>
                  <a:pt x="4875157" y="4214055"/>
                  <a:pt x="4875622" y="4213332"/>
                </a:cubicBezTo>
                <a:cubicBezTo>
                  <a:pt x="4876242" y="4216843"/>
                  <a:pt x="4877016" y="4217359"/>
                  <a:pt x="4874848" y="4219114"/>
                </a:cubicBezTo>
                <a:cubicBezTo>
                  <a:pt x="4869891" y="4214881"/>
                  <a:pt x="4865554" y="4207860"/>
                  <a:pt x="4864625" y="4206207"/>
                </a:cubicBezTo>
                <a:cubicBezTo>
                  <a:pt x="4864160" y="4205485"/>
                  <a:pt x="4864160" y="4204865"/>
                  <a:pt x="4864315" y="4204349"/>
                </a:cubicBezTo>
                <a:cubicBezTo>
                  <a:pt x="4864625" y="4203833"/>
                  <a:pt x="4865089" y="4203316"/>
                  <a:pt x="4866019" y="4202800"/>
                </a:cubicBezTo>
                <a:close/>
                <a:moveTo>
                  <a:pt x="1378074" y="4202369"/>
                </a:moveTo>
                <a:cubicBezTo>
                  <a:pt x="1380862" y="4202472"/>
                  <a:pt x="1385664" y="4204021"/>
                  <a:pt x="1386283" y="4204124"/>
                </a:cubicBezTo>
                <a:lnTo>
                  <a:pt x="1387213" y="4204228"/>
                </a:lnTo>
                <a:lnTo>
                  <a:pt x="1390930" y="4204434"/>
                </a:lnTo>
                <a:cubicBezTo>
                  <a:pt x="1392479" y="4208255"/>
                  <a:pt x="1388142" y="4212178"/>
                  <a:pt x="1385973" y="4214553"/>
                </a:cubicBezTo>
                <a:cubicBezTo>
                  <a:pt x="1383030" y="4212798"/>
                  <a:pt x="1380087" y="4211043"/>
                  <a:pt x="1379623" y="4208565"/>
                </a:cubicBezTo>
                <a:lnTo>
                  <a:pt x="1382256" y="4206190"/>
                </a:lnTo>
                <a:lnTo>
                  <a:pt x="1382101" y="4206086"/>
                </a:lnTo>
                <a:cubicBezTo>
                  <a:pt x="1380397" y="4205054"/>
                  <a:pt x="1379468" y="4205054"/>
                  <a:pt x="1377764" y="4205673"/>
                </a:cubicBezTo>
                <a:cubicBezTo>
                  <a:pt x="1377764" y="4205673"/>
                  <a:pt x="1377919" y="4205673"/>
                  <a:pt x="1376214" y="4203711"/>
                </a:cubicBezTo>
                <a:lnTo>
                  <a:pt x="1376214" y="4202885"/>
                </a:lnTo>
                <a:cubicBezTo>
                  <a:pt x="1376524" y="4202472"/>
                  <a:pt x="1377145" y="4202369"/>
                  <a:pt x="1378074" y="4202369"/>
                </a:cubicBezTo>
                <a:close/>
                <a:moveTo>
                  <a:pt x="1225191" y="4202266"/>
                </a:moveTo>
                <a:lnTo>
                  <a:pt x="1221784" y="4203092"/>
                </a:lnTo>
                <a:cubicBezTo>
                  <a:pt x="1216052" y="4204744"/>
                  <a:pt x="1210940" y="4205777"/>
                  <a:pt x="1206293" y="4207945"/>
                </a:cubicBezTo>
                <a:cubicBezTo>
                  <a:pt x="1207533" y="4205777"/>
                  <a:pt x="1206913" y="4204744"/>
                  <a:pt x="1204125" y="4204744"/>
                </a:cubicBezTo>
                <a:cubicBezTo>
                  <a:pt x="1204590" y="4207429"/>
                  <a:pt x="1197154" y="4210630"/>
                  <a:pt x="1201802" y="4212282"/>
                </a:cubicBezTo>
                <a:cubicBezTo>
                  <a:pt x="1200098" y="4213831"/>
                  <a:pt x="1195606" y="4215482"/>
                  <a:pt x="1193902" y="4214967"/>
                </a:cubicBezTo>
                <a:cubicBezTo>
                  <a:pt x="1192663" y="4215999"/>
                  <a:pt x="1193282" y="4217651"/>
                  <a:pt x="1193902" y="4221368"/>
                </a:cubicBezTo>
                <a:cubicBezTo>
                  <a:pt x="1199013" y="4219819"/>
                  <a:pt x="1205674" y="4217961"/>
                  <a:pt x="1207223" y="4215276"/>
                </a:cubicBezTo>
                <a:lnTo>
                  <a:pt x="1207068" y="4213211"/>
                </a:lnTo>
                <a:lnTo>
                  <a:pt x="1205674" y="4213831"/>
                </a:lnTo>
                <a:cubicBezTo>
                  <a:pt x="1203816" y="4210630"/>
                  <a:pt x="1207533" y="4208048"/>
                  <a:pt x="1209546" y="4209081"/>
                </a:cubicBezTo>
                <a:cubicBezTo>
                  <a:pt x="1210166" y="4209391"/>
                  <a:pt x="1210631" y="4210216"/>
                  <a:pt x="1210631" y="4211456"/>
                </a:cubicBezTo>
                <a:lnTo>
                  <a:pt x="1207843" y="4212695"/>
                </a:lnTo>
                <a:lnTo>
                  <a:pt x="1209546" y="4213521"/>
                </a:lnTo>
                <a:cubicBezTo>
                  <a:pt x="1210011" y="4214244"/>
                  <a:pt x="1210631" y="4214967"/>
                  <a:pt x="1212025" y="4214347"/>
                </a:cubicBezTo>
                <a:cubicBezTo>
                  <a:pt x="1216362" y="4211972"/>
                  <a:pt x="1219305" y="4208668"/>
                  <a:pt x="1226120" y="4205570"/>
                </a:cubicBezTo>
                <a:lnTo>
                  <a:pt x="1226740" y="4205260"/>
                </a:lnTo>
                <a:lnTo>
                  <a:pt x="1225191" y="4203092"/>
                </a:lnTo>
                <a:close/>
                <a:moveTo>
                  <a:pt x="5512246" y="4201251"/>
                </a:moveTo>
                <a:cubicBezTo>
                  <a:pt x="5512711" y="4203729"/>
                  <a:pt x="5517977" y="4202800"/>
                  <a:pt x="5518597" y="4206414"/>
                </a:cubicBezTo>
                <a:cubicBezTo>
                  <a:pt x="5521540" y="4216843"/>
                  <a:pt x="5518752" y="4218289"/>
                  <a:pt x="5513175" y="4222315"/>
                </a:cubicBezTo>
                <a:cubicBezTo>
                  <a:pt x="5513640" y="4221593"/>
                  <a:pt x="5512556" y="4221902"/>
                  <a:pt x="5512556" y="4221902"/>
                </a:cubicBezTo>
                <a:cubicBezTo>
                  <a:pt x="5510233" y="4222522"/>
                  <a:pt x="5513795" y="4225930"/>
                  <a:pt x="5511007" y="4227375"/>
                </a:cubicBezTo>
                <a:cubicBezTo>
                  <a:pt x="5509768" y="4227788"/>
                  <a:pt x="5508683" y="4227788"/>
                  <a:pt x="5507599" y="4227581"/>
                </a:cubicBezTo>
                <a:cubicBezTo>
                  <a:pt x="5504346" y="4226962"/>
                  <a:pt x="5501713" y="4224071"/>
                  <a:pt x="5500164" y="4222212"/>
                </a:cubicBezTo>
                <a:lnTo>
                  <a:pt x="5499854" y="4221696"/>
                </a:lnTo>
                <a:lnTo>
                  <a:pt x="5498770" y="4221283"/>
                </a:lnTo>
                <a:lnTo>
                  <a:pt x="5498615" y="4221593"/>
                </a:lnTo>
                <a:lnTo>
                  <a:pt x="5498460" y="4221180"/>
                </a:lnTo>
                <a:lnTo>
                  <a:pt x="5496601" y="4220457"/>
                </a:lnTo>
                <a:lnTo>
                  <a:pt x="5497221" y="4219011"/>
                </a:lnTo>
                <a:lnTo>
                  <a:pt x="5496446" y="4216430"/>
                </a:lnTo>
                <a:cubicBezTo>
                  <a:pt x="5496446" y="4215501"/>
                  <a:pt x="5496757" y="4214984"/>
                  <a:pt x="5497996" y="4214674"/>
                </a:cubicBezTo>
                <a:cubicBezTo>
                  <a:pt x="5499544" y="4213539"/>
                  <a:pt x="5500474" y="4215191"/>
                  <a:pt x="5502797" y="4214571"/>
                </a:cubicBezTo>
                <a:cubicBezTo>
                  <a:pt x="5504811" y="4213745"/>
                  <a:pt x="5505121" y="4211267"/>
                  <a:pt x="5506050" y="4208582"/>
                </a:cubicBezTo>
                <a:lnTo>
                  <a:pt x="5507599" y="4205588"/>
                </a:lnTo>
                <a:lnTo>
                  <a:pt x="5506670" y="4206414"/>
                </a:lnTo>
                <a:cubicBezTo>
                  <a:pt x="5502952" y="4208479"/>
                  <a:pt x="5497221" y="4209511"/>
                  <a:pt x="5494278" y="4205278"/>
                </a:cubicBezTo>
                <a:cubicBezTo>
                  <a:pt x="5497221" y="4202077"/>
                  <a:pt x="5499854" y="4201251"/>
                  <a:pt x="5502332" y="4201458"/>
                </a:cubicBezTo>
                <a:lnTo>
                  <a:pt x="5508993" y="4203833"/>
                </a:lnTo>
                <a:close/>
                <a:moveTo>
                  <a:pt x="665396" y="4200820"/>
                </a:moveTo>
                <a:cubicBezTo>
                  <a:pt x="667254" y="4200614"/>
                  <a:pt x="667564" y="4203402"/>
                  <a:pt x="668339" y="4204847"/>
                </a:cubicBezTo>
                <a:cubicBezTo>
                  <a:pt x="670197" y="4204641"/>
                  <a:pt x="668339" y="4208668"/>
                  <a:pt x="670197" y="4208461"/>
                </a:cubicBezTo>
                <a:cubicBezTo>
                  <a:pt x="668803" y="4213211"/>
                  <a:pt x="674380" y="4214657"/>
                  <a:pt x="673296" y="4222091"/>
                </a:cubicBezTo>
                <a:cubicBezTo>
                  <a:pt x="671901" y="4220645"/>
                  <a:pt x="670662" y="4218993"/>
                  <a:pt x="669887" y="4217444"/>
                </a:cubicBezTo>
                <a:cubicBezTo>
                  <a:pt x="667254" y="4212798"/>
                  <a:pt x="666635" y="4208255"/>
                  <a:pt x="663847" y="4205673"/>
                </a:cubicBezTo>
                <a:cubicBezTo>
                  <a:pt x="663847" y="4205673"/>
                  <a:pt x="663847" y="4205673"/>
                  <a:pt x="664621" y="4203299"/>
                </a:cubicBezTo>
                <a:cubicBezTo>
                  <a:pt x="664312" y="4202576"/>
                  <a:pt x="664312" y="4202472"/>
                  <a:pt x="664312" y="4202472"/>
                </a:cubicBezTo>
                <a:cubicBezTo>
                  <a:pt x="663847" y="4201749"/>
                  <a:pt x="665396" y="4200820"/>
                  <a:pt x="665396" y="4200820"/>
                </a:cubicBezTo>
                <a:close/>
                <a:moveTo>
                  <a:pt x="5384147" y="4199909"/>
                </a:moveTo>
                <a:cubicBezTo>
                  <a:pt x="5387245" y="4199083"/>
                  <a:pt x="5390962" y="4200632"/>
                  <a:pt x="5391892" y="4205278"/>
                </a:cubicBezTo>
                <a:cubicBezTo>
                  <a:pt x="5389878" y="4208582"/>
                  <a:pt x="5387554" y="4210131"/>
                  <a:pt x="5386160" y="4211370"/>
                </a:cubicBezTo>
                <a:cubicBezTo>
                  <a:pt x="5384147" y="4210235"/>
                  <a:pt x="5382443" y="4209822"/>
                  <a:pt x="5380429" y="4208686"/>
                </a:cubicBezTo>
                <a:cubicBezTo>
                  <a:pt x="5378571" y="4203833"/>
                  <a:pt x="5381049" y="4200632"/>
                  <a:pt x="5384147" y="4199909"/>
                </a:cubicBezTo>
                <a:close/>
                <a:moveTo>
                  <a:pt x="5904288" y="4199186"/>
                </a:moveTo>
                <a:lnTo>
                  <a:pt x="5904908" y="4201664"/>
                </a:lnTo>
                <a:lnTo>
                  <a:pt x="5907231" y="4201251"/>
                </a:lnTo>
                <a:close/>
                <a:moveTo>
                  <a:pt x="5659552" y="4198876"/>
                </a:moveTo>
                <a:lnTo>
                  <a:pt x="5660946" y="4202490"/>
                </a:lnTo>
                <a:lnTo>
                  <a:pt x="5661256" y="4202077"/>
                </a:lnTo>
                <a:cubicBezTo>
                  <a:pt x="5667297" y="4208996"/>
                  <a:pt x="5665129" y="4220354"/>
                  <a:pt x="5662340" y="4225310"/>
                </a:cubicBezTo>
                <a:cubicBezTo>
                  <a:pt x="5660792" y="4223658"/>
                  <a:pt x="5659707" y="4221593"/>
                  <a:pt x="5658933" y="4219321"/>
                </a:cubicBezTo>
                <a:lnTo>
                  <a:pt x="5658158" y="4214055"/>
                </a:lnTo>
                <a:lnTo>
                  <a:pt x="5656764" y="4214365"/>
                </a:lnTo>
                <a:lnTo>
                  <a:pt x="5656145" y="4214262"/>
                </a:lnTo>
                <a:lnTo>
                  <a:pt x="5658003" y="4217049"/>
                </a:lnTo>
                <a:cubicBezTo>
                  <a:pt x="5660327" y="4222625"/>
                  <a:pt x="5658623" y="4228304"/>
                  <a:pt x="5657074" y="4234087"/>
                </a:cubicBezTo>
                <a:cubicBezTo>
                  <a:pt x="5655060" y="4233157"/>
                  <a:pt x="5653666" y="4231608"/>
                  <a:pt x="5652892" y="4229853"/>
                </a:cubicBezTo>
                <a:lnTo>
                  <a:pt x="5652582" y="4229027"/>
                </a:lnTo>
                <a:lnTo>
                  <a:pt x="5652582" y="4230369"/>
                </a:lnTo>
                <a:cubicBezTo>
                  <a:pt x="5652582" y="4237701"/>
                  <a:pt x="5655060" y="4244929"/>
                  <a:pt x="5650569" y="4249885"/>
                </a:cubicBezTo>
                <a:cubicBezTo>
                  <a:pt x="5649794" y="4246787"/>
                  <a:pt x="5647935" y="4243173"/>
                  <a:pt x="5646386" y="4239663"/>
                </a:cubicBezTo>
                <a:cubicBezTo>
                  <a:pt x="5644837" y="4236152"/>
                  <a:pt x="5643598" y="4232744"/>
                  <a:pt x="5643908" y="4229853"/>
                </a:cubicBezTo>
                <a:lnTo>
                  <a:pt x="5644992" y="4226859"/>
                </a:lnTo>
                <a:lnTo>
                  <a:pt x="5644372" y="4226549"/>
                </a:lnTo>
                <a:cubicBezTo>
                  <a:pt x="5646386" y="4224897"/>
                  <a:pt x="5645767" y="4223038"/>
                  <a:pt x="5647625" y="4221489"/>
                </a:cubicBezTo>
                <a:lnTo>
                  <a:pt x="5649949" y="4223864"/>
                </a:lnTo>
                <a:lnTo>
                  <a:pt x="5651653" y="4223451"/>
                </a:lnTo>
                <a:lnTo>
                  <a:pt x="5652272" y="4217359"/>
                </a:lnTo>
                <a:lnTo>
                  <a:pt x="5653512" y="4213848"/>
                </a:lnTo>
                <a:lnTo>
                  <a:pt x="5652737" y="4213745"/>
                </a:lnTo>
                <a:cubicBezTo>
                  <a:pt x="5651033" y="4211577"/>
                  <a:pt x="5650569" y="4208479"/>
                  <a:pt x="5651343" y="4205588"/>
                </a:cubicBezTo>
                <a:cubicBezTo>
                  <a:pt x="5653666" y="4206001"/>
                  <a:pt x="5655370" y="4206930"/>
                  <a:pt x="5656764" y="4208273"/>
                </a:cubicBezTo>
                <a:lnTo>
                  <a:pt x="5658158" y="4210854"/>
                </a:lnTo>
                <a:lnTo>
                  <a:pt x="5658468" y="4208479"/>
                </a:lnTo>
                <a:lnTo>
                  <a:pt x="5655525" y="4207550"/>
                </a:lnTo>
                <a:cubicBezTo>
                  <a:pt x="5653512" y="4206621"/>
                  <a:pt x="5651498" y="4205485"/>
                  <a:pt x="5649794" y="4204556"/>
                </a:cubicBezTo>
                <a:cubicBezTo>
                  <a:pt x="5653047" y="4202903"/>
                  <a:pt x="5656455" y="4204865"/>
                  <a:pt x="5659552" y="4198876"/>
                </a:cubicBezTo>
                <a:close/>
                <a:moveTo>
                  <a:pt x="5670860" y="4195985"/>
                </a:moveTo>
                <a:cubicBezTo>
                  <a:pt x="5671634" y="4196914"/>
                  <a:pt x="5672254" y="4197844"/>
                  <a:pt x="5672873" y="4198876"/>
                </a:cubicBezTo>
                <a:cubicBezTo>
                  <a:pt x="5668846" y="4202903"/>
                  <a:pt x="5668226" y="4207240"/>
                  <a:pt x="5665129" y="4210544"/>
                </a:cubicBezTo>
                <a:cubicBezTo>
                  <a:pt x="5664199" y="4206001"/>
                  <a:pt x="5663115" y="4197947"/>
                  <a:pt x="5670860" y="4195985"/>
                </a:cubicBezTo>
                <a:close/>
                <a:moveTo>
                  <a:pt x="5492574" y="4194849"/>
                </a:moveTo>
                <a:cubicBezTo>
                  <a:pt x="5491955" y="4195675"/>
                  <a:pt x="5491955" y="4195675"/>
                  <a:pt x="5491955" y="4195675"/>
                </a:cubicBezTo>
                <a:cubicBezTo>
                  <a:pt x="5492109" y="4196914"/>
                  <a:pt x="5492729" y="4196089"/>
                  <a:pt x="5493349" y="4196605"/>
                </a:cubicBezTo>
                <a:cubicBezTo>
                  <a:pt x="5493349" y="4196605"/>
                  <a:pt x="5492729" y="4196089"/>
                  <a:pt x="5493813" y="4195778"/>
                </a:cubicBezTo>
                <a:cubicBezTo>
                  <a:pt x="5493349" y="4196605"/>
                  <a:pt x="5494123" y="4197018"/>
                  <a:pt x="5494743" y="4197431"/>
                </a:cubicBezTo>
                <a:cubicBezTo>
                  <a:pt x="5495207" y="4199806"/>
                  <a:pt x="5495053" y="4203006"/>
                  <a:pt x="5493349" y="4204142"/>
                </a:cubicBezTo>
                <a:cubicBezTo>
                  <a:pt x="5491025" y="4204762"/>
                  <a:pt x="5490096" y="4203110"/>
                  <a:pt x="5489941" y="4201974"/>
                </a:cubicBezTo>
                <a:cubicBezTo>
                  <a:pt x="5489167" y="4200838"/>
                  <a:pt x="5489321" y="4199599"/>
                  <a:pt x="5489786" y="4198360"/>
                </a:cubicBezTo>
                <a:cubicBezTo>
                  <a:pt x="5490406" y="4197018"/>
                  <a:pt x="5491490" y="4195778"/>
                  <a:pt x="5492574" y="4194849"/>
                </a:cubicBezTo>
                <a:close/>
                <a:moveTo>
                  <a:pt x="5383527" y="4193817"/>
                </a:moveTo>
                <a:cubicBezTo>
                  <a:pt x="5383527" y="4193817"/>
                  <a:pt x="5383527" y="4193817"/>
                  <a:pt x="5385386" y="4195366"/>
                </a:cubicBezTo>
                <a:lnTo>
                  <a:pt x="5385541" y="4196295"/>
                </a:lnTo>
                <a:cubicBezTo>
                  <a:pt x="5385386" y="4196811"/>
                  <a:pt x="5384766" y="4196914"/>
                  <a:pt x="5383837" y="4197121"/>
                </a:cubicBezTo>
                <a:cubicBezTo>
                  <a:pt x="5382598" y="4197328"/>
                  <a:pt x="5380584" y="4197224"/>
                  <a:pt x="5379035" y="4197121"/>
                </a:cubicBezTo>
                <a:cubicBezTo>
                  <a:pt x="5377331" y="4197018"/>
                  <a:pt x="5375937" y="4196914"/>
                  <a:pt x="5375628" y="4196914"/>
                </a:cubicBezTo>
                <a:cubicBezTo>
                  <a:pt x="5375628" y="4196914"/>
                  <a:pt x="5374853" y="4196914"/>
                  <a:pt x="5373924" y="4196914"/>
                </a:cubicBezTo>
                <a:cubicBezTo>
                  <a:pt x="5372994" y="4196192"/>
                  <a:pt x="5372994" y="4195262"/>
                  <a:pt x="5372065" y="4195366"/>
                </a:cubicBezTo>
                <a:cubicBezTo>
                  <a:pt x="5374233" y="4192681"/>
                  <a:pt x="5376867" y="4193300"/>
                  <a:pt x="5379345" y="4194023"/>
                </a:cubicBezTo>
                <a:cubicBezTo>
                  <a:pt x="5381204" y="4194849"/>
                  <a:pt x="5381978" y="4194746"/>
                  <a:pt x="5383527" y="4193817"/>
                </a:cubicBezTo>
                <a:close/>
                <a:moveTo>
                  <a:pt x="5335045" y="4192991"/>
                </a:moveTo>
                <a:cubicBezTo>
                  <a:pt x="5326680" y="4197328"/>
                  <a:pt x="5323737" y="4204349"/>
                  <a:pt x="5313204" y="4207240"/>
                </a:cubicBezTo>
                <a:cubicBezTo>
                  <a:pt x="5311965" y="4198567"/>
                  <a:pt x="5327764" y="4186279"/>
                  <a:pt x="5335045" y="4192991"/>
                </a:cubicBezTo>
                <a:close/>
                <a:moveTo>
                  <a:pt x="5547717" y="4192577"/>
                </a:moveTo>
                <a:cubicBezTo>
                  <a:pt x="5552209" y="4195056"/>
                  <a:pt x="5551590" y="4201561"/>
                  <a:pt x="5547562" y="4202594"/>
                </a:cubicBezTo>
                <a:cubicBezTo>
                  <a:pt x="5546478" y="4202077"/>
                  <a:pt x="5544619" y="4201664"/>
                  <a:pt x="5543225" y="4200219"/>
                </a:cubicBezTo>
                <a:cubicBezTo>
                  <a:pt x="5542606" y="4195778"/>
                  <a:pt x="5544619" y="4193507"/>
                  <a:pt x="5547717" y="4192577"/>
                </a:cubicBezTo>
                <a:close/>
                <a:moveTo>
                  <a:pt x="748265" y="4190391"/>
                </a:moveTo>
                <a:lnTo>
                  <a:pt x="748150" y="4191187"/>
                </a:lnTo>
                <a:lnTo>
                  <a:pt x="748111" y="4191217"/>
                </a:lnTo>
                <a:cubicBezTo>
                  <a:pt x="748265" y="4190391"/>
                  <a:pt x="748265" y="4190391"/>
                  <a:pt x="748265" y="4190391"/>
                </a:cubicBezTo>
                <a:close/>
                <a:moveTo>
                  <a:pt x="736493" y="4188843"/>
                </a:moveTo>
                <a:cubicBezTo>
                  <a:pt x="738661" y="4189359"/>
                  <a:pt x="740985" y="4189978"/>
                  <a:pt x="740211" y="4192353"/>
                </a:cubicBezTo>
                <a:cubicBezTo>
                  <a:pt x="739901" y="4193592"/>
                  <a:pt x="739436" y="4194728"/>
                  <a:pt x="738042" y="4195657"/>
                </a:cubicBezTo>
                <a:cubicBezTo>
                  <a:pt x="735719" y="4195141"/>
                  <a:pt x="735409" y="4192456"/>
                  <a:pt x="734324" y="4192147"/>
                </a:cubicBezTo>
                <a:cubicBezTo>
                  <a:pt x="734944" y="4191734"/>
                  <a:pt x="736493" y="4190804"/>
                  <a:pt x="736493" y="4188843"/>
                </a:cubicBezTo>
                <a:close/>
                <a:moveTo>
                  <a:pt x="5438825" y="4188034"/>
                </a:moveTo>
                <a:cubicBezTo>
                  <a:pt x="5438515" y="4191958"/>
                  <a:pt x="5438360" y="4195985"/>
                  <a:pt x="5437586" y="4200012"/>
                </a:cubicBezTo>
                <a:cubicBezTo>
                  <a:pt x="5436811" y="4204142"/>
                  <a:pt x="5435418" y="4208169"/>
                  <a:pt x="5432164" y="4212403"/>
                </a:cubicBezTo>
                <a:cubicBezTo>
                  <a:pt x="5425969" y="4204659"/>
                  <a:pt x="5433868" y="4192887"/>
                  <a:pt x="5438825" y="4188034"/>
                </a:cubicBezTo>
                <a:close/>
                <a:moveTo>
                  <a:pt x="5808873" y="4187002"/>
                </a:moveTo>
                <a:cubicBezTo>
                  <a:pt x="5810421" y="4188034"/>
                  <a:pt x="5809337" y="4191648"/>
                  <a:pt x="5809337" y="4193507"/>
                </a:cubicBezTo>
                <a:cubicBezTo>
                  <a:pt x="5808098" y="4193300"/>
                  <a:pt x="5807014" y="4192991"/>
                  <a:pt x="5807478" y="4193713"/>
                </a:cubicBezTo>
                <a:cubicBezTo>
                  <a:pt x="5806239" y="4193507"/>
                  <a:pt x="5805619" y="4192991"/>
                  <a:pt x="5805155" y="4192268"/>
                </a:cubicBezTo>
                <a:cubicBezTo>
                  <a:pt x="5804690" y="4191648"/>
                  <a:pt x="5804380" y="4190822"/>
                  <a:pt x="5804380" y="4189790"/>
                </a:cubicBezTo>
                <a:cubicBezTo>
                  <a:pt x="5804690" y="4188654"/>
                  <a:pt x="5806239" y="4187725"/>
                  <a:pt x="5808873" y="4187002"/>
                </a:cubicBezTo>
                <a:close/>
                <a:moveTo>
                  <a:pt x="5303601" y="4186795"/>
                </a:moveTo>
                <a:cubicBezTo>
                  <a:pt x="5303291" y="4189067"/>
                  <a:pt x="5302826" y="4190926"/>
                  <a:pt x="5302052" y="4192577"/>
                </a:cubicBezTo>
                <a:cubicBezTo>
                  <a:pt x="5300038" y="4197534"/>
                  <a:pt x="5296785" y="4200529"/>
                  <a:pt x="5296475" y="4204556"/>
                </a:cubicBezTo>
                <a:cubicBezTo>
                  <a:pt x="5296475" y="4204556"/>
                  <a:pt x="5296320" y="4204556"/>
                  <a:pt x="5294152" y="4205175"/>
                </a:cubicBezTo>
                <a:cubicBezTo>
                  <a:pt x="5293842" y="4206001"/>
                  <a:pt x="5293842" y="4205898"/>
                  <a:pt x="5293842" y="4205898"/>
                </a:cubicBezTo>
                <a:cubicBezTo>
                  <a:pt x="5293687" y="4206311"/>
                  <a:pt x="5293223" y="4206311"/>
                  <a:pt x="5292758" y="4206207"/>
                </a:cubicBezTo>
                <a:cubicBezTo>
                  <a:pt x="5292293" y="4206104"/>
                  <a:pt x="5291984" y="4205795"/>
                  <a:pt x="5291984" y="4205795"/>
                </a:cubicBezTo>
                <a:cubicBezTo>
                  <a:pt x="5291364" y="4204968"/>
                  <a:pt x="5291519" y="4204142"/>
                  <a:pt x="5291984" y="4203316"/>
                </a:cubicBezTo>
                <a:lnTo>
                  <a:pt x="5292293" y="4202697"/>
                </a:lnTo>
                <a:lnTo>
                  <a:pt x="5291519" y="4202800"/>
                </a:lnTo>
                <a:cubicBezTo>
                  <a:pt x="5288885" y="4203110"/>
                  <a:pt x="5286407" y="4202903"/>
                  <a:pt x="5284239" y="4202800"/>
                </a:cubicBezTo>
                <a:lnTo>
                  <a:pt x="5278663" y="4203523"/>
                </a:lnTo>
                <a:lnTo>
                  <a:pt x="5277888" y="4205072"/>
                </a:lnTo>
                <a:cubicBezTo>
                  <a:pt x="5277268" y="4206001"/>
                  <a:pt x="5276649" y="4206517"/>
                  <a:pt x="5276029" y="4206724"/>
                </a:cubicBezTo>
                <a:cubicBezTo>
                  <a:pt x="5275564" y="4207034"/>
                  <a:pt x="5275100" y="4207034"/>
                  <a:pt x="5274635" y="4206930"/>
                </a:cubicBezTo>
                <a:cubicBezTo>
                  <a:pt x="5274171" y="4206724"/>
                  <a:pt x="5273861" y="4206414"/>
                  <a:pt x="5273551" y="4205898"/>
                </a:cubicBezTo>
                <a:cubicBezTo>
                  <a:pt x="5272002" y="4203626"/>
                  <a:pt x="5272157" y="4198360"/>
                  <a:pt x="5275409" y="4198773"/>
                </a:cubicBezTo>
                <a:lnTo>
                  <a:pt x="5276029" y="4199186"/>
                </a:lnTo>
                <a:lnTo>
                  <a:pt x="5276494" y="4198979"/>
                </a:lnTo>
                <a:cubicBezTo>
                  <a:pt x="5277423" y="4198876"/>
                  <a:pt x="5278508" y="4199083"/>
                  <a:pt x="5279282" y="4198979"/>
                </a:cubicBezTo>
                <a:cubicBezTo>
                  <a:pt x="5279902" y="4197224"/>
                  <a:pt x="5282845" y="4200529"/>
                  <a:pt x="5283464" y="4198773"/>
                </a:cubicBezTo>
                <a:cubicBezTo>
                  <a:pt x="5286252" y="4201251"/>
                  <a:pt x="5288885" y="4199289"/>
                  <a:pt x="5292758" y="4199909"/>
                </a:cubicBezTo>
                <a:lnTo>
                  <a:pt x="5293532" y="4200219"/>
                </a:lnTo>
                <a:lnTo>
                  <a:pt x="5294152" y="4198979"/>
                </a:lnTo>
                <a:cubicBezTo>
                  <a:pt x="5294927" y="4198463"/>
                  <a:pt x="5295546" y="4197947"/>
                  <a:pt x="5295081" y="4197121"/>
                </a:cubicBezTo>
                <a:cubicBezTo>
                  <a:pt x="5299418" y="4195882"/>
                  <a:pt x="5297405" y="4189893"/>
                  <a:pt x="5303601" y="4186795"/>
                </a:cubicBezTo>
                <a:close/>
                <a:moveTo>
                  <a:pt x="5840626" y="4185763"/>
                </a:moveTo>
                <a:lnTo>
                  <a:pt x="5840006" y="4186486"/>
                </a:lnTo>
                <a:lnTo>
                  <a:pt x="5838613" y="4186795"/>
                </a:lnTo>
                <a:lnTo>
                  <a:pt x="5838922" y="4188241"/>
                </a:lnTo>
                <a:lnTo>
                  <a:pt x="5839851" y="4189790"/>
                </a:lnTo>
                <a:lnTo>
                  <a:pt x="5840006" y="4189273"/>
                </a:lnTo>
                <a:lnTo>
                  <a:pt x="5841091" y="4189790"/>
                </a:lnTo>
                <a:lnTo>
                  <a:pt x="5842020" y="4189377"/>
                </a:lnTo>
                <a:lnTo>
                  <a:pt x="5841865" y="4189377"/>
                </a:lnTo>
                <a:close/>
                <a:moveTo>
                  <a:pt x="5627179" y="4183698"/>
                </a:moveTo>
                <a:cubicBezTo>
                  <a:pt x="5630277" y="4183904"/>
                  <a:pt x="5632446" y="4185763"/>
                  <a:pt x="5632601" y="4188861"/>
                </a:cubicBezTo>
                <a:cubicBezTo>
                  <a:pt x="5631671" y="4190512"/>
                  <a:pt x="5629967" y="4190719"/>
                  <a:pt x="5628108" y="4190822"/>
                </a:cubicBezTo>
                <a:cubicBezTo>
                  <a:pt x="5626560" y="4190719"/>
                  <a:pt x="5625630" y="4190203"/>
                  <a:pt x="5625320" y="4189377"/>
                </a:cubicBezTo>
                <a:cubicBezTo>
                  <a:pt x="5624856" y="4188551"/>
                  <a:pt x="5624856" y="4187415"/>
                  <a:pt x="5625011" y="4186279"/>
                </a:cubicBezTo>
                <a:cubicBezTo>
                  <a:pt x="5625320" y="4183801"/>
                  <a:pt x="5627179" y="4183698"/>
                  <a:pt x="5627179" y="4183698"/>
                </a:cubicBezTo>
                <a:close/>
                <a:moveTo>
                  <a:pt x="5426433" y="4183491"/>
                </a:moveTo>
                <a:cubicBezTo>
                  <a:pt x="5427982" y="4182562"/>
                  <a:pt x="5430925" y="4184937"/>
                  <a:pt x="5432629" y="4185763"/>
                </a:cubicBezTo>
                <a:cubicBezTo>
                  <a:pt x="5431855" y="4186692"/>
                  <a:pt x="5431235" y="4187518"/>
                  <a:pt x="5432010" y="4187518"/>
                </a:cubicBezTo>
                <a:cubicBezTo>
                  <a:pt x="5431390" y="4188447"/>
                  <a:pt x="5430616" y="4188861"/>
                  <a:pt x="5429841" y="4189067"/>
                </a:cubicBezTo>
                <a:cubicBezTo>
                  <a:pt x="5428912" y="4189170"/>
                  <a:pt x="5428137" y="4189067"/>
                  <a:pt x="5427208" y="4188654"/>
                </a:cubicBezTo>
                <a:cubicBezTo>
                  <a:pt x="5426278" y="4187828"/>
                  <a:pt x="5425969" y="4186176"/>
                  <a:pt x="5426433" y="4183491"/>
                </a:cubicBezTo>
                <a:close/>
                <a:moveTo>
                  <a:pt x="1283123" y="4182234"/>
                </a:moveTo>
                <a:cubicBezTo>
                  <a:pt x="1278940" y="4183370"/>
                  <a:pt x="1273828" y="4186777"/>
                  <a:pt x="1269801" y="4186055"/>
                </a:cubicBezTo>
                <a:cubicBezTo>
                  <a:pt x="1271350" y="4185332"/>
                  <a:pt x="1280179" y="4181821"/>
                  <a:pt x="1283123" y="4182234"/>
                </a:cubicBezTo>
                <a:close/>
                <a:moveTo>
                  <a:pt x="5208184" y="4182149"/>
                </a:moveTo>
                <a:cubicBezTo>
                  <a:pt x="5210973" y="4180084"/>
                  <a:pt x="5213916" y="4181323"/>
                  <a:pt x="5215929" y="4183698"/>
                </a:cubicBezTo>
                <a:cubicBezTo>
                  <a:pt x="5217788" y="4186072"/>
                  <a:pt x="5218873" y="4189686"/>
                  <a:pt x="5217633" y="4192371"/>
                </a:cubicBezTo>
                <a:cubicBezTo>
                  <a:pt x="5212831" y="4191752"/>
                  <a:pt x="5209424" y="4190409"/>
                  <a:pt x="5208495" y="4186692"/>
                </a:cubicBezTo>
                <a:cubicBezTo>
                  <a:pt x="5208030" y="4185453"/>
                  <a:pt x="5208030" y="4184007"/>
                  <a:pt x="5208184" y="4182149"/>
                </a:cubicBezTo>
                <a:close/>
                <a:moveTo>
                  <a:pt x="1283742" y="4181202"/>
                </a:moveTo>
                <a:cubicBezTo>
                  <a:pt x="1284826" y="4181408"/>
                  <a:pt x="1284671" y="4180788"/>
                  <a:pt x="1285135" y="4182234"/>
                </a:cubicBezTo>
                <a:cubicBezTo>
                  <a:pt x="1284052" y="4181924"/>
                  <a:pt x="1284052" y="4181924"/>
                  <a:pt x="1283123" y="4182337"/>
                </a:cubicBezTo>
                <a:cubicBezTo>
                  <a:pt x="1283123" y="4182337"/>
                  <a:pt x="1283742" y="4181202"/>
                  <a:pt x="1283742" y="4181202"/>
                </a:cubicBezTo>
                <a:close/>
                <a:moveTo>
                  <a:pt x="5652892" y="4180497"/>
                </a:moveTo>
                <a:cubicBezTo>
                  <a:pt x="5662650" y="4187311"/>
                  <a:pt x="5659243" y="4195056"/>
                  <a:pt x="5652892" y="4193920"/>
                </a:cubicBezTo>
                <a:cubicBezTo>
                  <a:pt x="5650723" y="4193610"/>
                  <a:pt x="5648245" y="4192268"/>
                  <a:pt x="5645767" y="4189583"/>
                </a:cubicBezTo>
                <a:cubicBezTo>
                  <a:pt x="5644837" y="4185246"/>
                  <a:pt x="5649639" y="4179464"/>
                  <a:pt x="5652892" y="4180497"/>
                </a:cubicBezTo>
                <a:close/>
                <a:moveTo>
                  <a:pt x="5810421" y="4179877"/>
                </a:moveTo>
                <a:cubicBezTo>
                  <a:pt x="5810886" y="4180497"/>
                  <a:pt x="5811041" y="4181323"/>
                  <a:pt x="5810576" y="4182562"/>
                </a:cubicBezTo>
                <a:cubicBezTo>
                  <a:pt x="5809647" y="4182872"/>
                  <a:pt x="5808873" y="4182975"/>
                  <a:pt x="5808098" y="4182975"/>
                </a:cubicBezTo>
                <a:cubicBezTo>
                  <a:pt x="5807323" y="4182975"/>
                  <a:pt x="5806394" y="4182975"/>
                  <a:pt x="5805310" y="4182872"/>
                </a:cubicBezTo>
                <a:cubicBezTo>
                  <a:pt x="5804845" y="4179155"/>
                  <a:pt x="5809027" y="4178122"/>
                  <a:pt x="5810421" y="4179877"/>
                </a:cubicBezTo>
                <a:close/>
                <a:moveTo>
                  <a:pt x="5160322" y="4179671"/>
                </a:moveTo>
                <a:cubicBezTo>
                  <a:pt x="5164039" y="4179671"/>
                  <a:pt x="5162955" y="4179258"/>
                  <a:pt x="5166517" y="4181116"/>
                </a:cubicBezTo>
                <a:cubicBezTo>
                  <a:pt x="5165588" y="4183491"/>
                  <a:pt x="5164504" y="4185763"/>
                  <a:pt x="5163574" y="4188138"/>
                </a:cubicBezTo>
                <a:cubicBezTo>
                  <a:pt x="5162181" y="4187002"/>
                  <a:pt x="5160322" y="4187002"/>
                  <a:pt x="5159238" y="4186692"/>
                </a:cubicBezTo>
                <a:cubicBezTo>
                  <a:pt x="5158308" y="4184317"/>
                  <a:pt x="5158463" y="4182355"/>
                  <a:pt x="5160322" y="4179671"/>
                </a:cubicBezTo>
                <a:close/>
                <a:moveTo>
                  <a:pt x="5115169" y="4179580"/>
                </a:moveTo>
                <a:cubicBezTo>
                  <a:pt x="5116409" y="4178793"/>
                  <a:pt x="5118113" y="4178741"/>
                  <a:pt x="5119894" y="4179980"/>
                </a:cubicBezTo>
                <a:cubicBezTo>
                  <a:pt x="5119429" y="4184833"/>
                  <a:pt x="5117570" y="4186486"/>
                  <a:pt x="5114472" y="4187002"/>
                </a:cubicBezTo>
                <a:cubicBezTo>
                  <a:pt x="5113698" y="4185969"/>
                  <a:pt x="5113233" y="4184730"/>
                  <a:pt x="5113233" y="4183595"/>
                </a:cubicBezTo>
                <a:cubicBezTo>
                  <a:pt x="5113156" y="4181891"/>
                  <a:pt x="5113930" y="4180368"/>
                  <a:pt x="5115169" y="4179580"/>
                </a:cubicBezTo>
                <a:close/>
                <a:moveTo>
                  <a:pt x="5421012" y="4179567"/>
                </a:moveTo>
                <a:cubicBezTo>
                  <a:pt x="5423490" y="4178225"/>
                  <a:pt x="5427518" y="4186279"/>
                  <a:pt x="5419463" y="4184730"/>
                </a:cubicBezTo>
                <a:cubicBezTo>
                  <a:pt x="5419463" y="4181529"/>
                  <a:pt x="5420238" y="4179980"/>
                  <a:pt x="5421012" y="4179567"/>
                </a:cubicBezTo>
                <a:close/>
                <a:moveTo>
                  <a:pt x="1288853" y="4179446"/>
                </a:moveTo>
                <a:cubicBezTo>
                  <a:pt x="1288853" y="4179446"/>
                  <a:pt x="1289163" y="4180169"/>
                  <a:pt x="1289163" y="4180169"/>
                </a:cubicBezTo>
                <a:cubicBezTo>
                  <a:pt x="1288699" y="4180376"/>
                  <a:pt x="1288389" y="4180685"/>
                  <a:pt x="1287924" y="4180685"/>
                </a:cubicBezTo>
                <a:cubicBezTo>
                  <a:pt x="1287614" y="4180788"/>
                  <a:pt x="1287304" y="4180685"/>
                  <a:pt x="1287149" y="4180272"/>
                </a:cubicBezTo>
                <a:cubicBezTo>
                  <a:pt x="1286839" y="4179653"/>
                  <a:pt x="1287769" y="4179240"/>
                  <a:pt x="1288853" y="4179446"/>
                </a:cubicBezTo>
                <a:close/>
                <a:moveTo>
                  <a:pt x="5292913" y="4178225"/>
                </a:moveTo>
                <a:cubicBezTo>
                  <a:pt x="5293377" y="4177399"/>
                  <a:pt x="5296630" y="4178432"/>
                  <a:pt x="5296785" y="4179567"/>
                </a:cubicBezTo>
                <a:cubicBezTo>
                  <a:pt x="5297870" y="4182459"/>
                  <a:pt x="5295081" y="4183801"/>
                  <a:pt x="5292448" y="4186279"/>
                </a:cubicBezTo>
                <a:cubicBezTo>
                  <a:pt x="5292293" y="4185143"/>
                  <a:pt x="5291054" y="4185453"/>
                  <a:pt x="5289970" y="4185763"/>
                </a:cubicBezTo>
                <a:cubicBezTo>
                  <a:pt x="5289660" y="4184007"/>
                  <a:pt x="5288885" y="4181323"/>
                  <a:pt x="5290435" y="4179567"/>
                </a:cubicBezTo>
                <a:cubicBezTo>
                  <a:pt x="5290899" y="4178948"/>
                  <a:pt x="5291829" y="4178535"/>
                  <a:pt x="5292913" y="4178225"/>
                </a:cubicBezTo>
                <a:close/>
                <a:moveTo>
                  <a:pt x="1292571" y="4177691"/>
                </a:moveTo>
                <a:cubicBezTo>
                  <a:pt x="1293655" y="4178104"/>
                  <a:pt x="1293810" y="4178104"/>
                  <a:pt x="1294275" y="4179653"/>
                </a:cubicBezTo>
                <a:cubicBezTo>
                  <a:pt x="1293035" y="4179859"/>
                  <a:pt x="1292261" y="4179963"/>
                  <a:pt x="1291642" y="4179963"/>
                </a:cubicBezTo>
                <a:cubicBezTo>
                  <a:pt x="1291022" y="4179859"/>
                  <a:pt x="1290557" y="4179653"/>
                  <a:pt x="1289473" y="4179240"/>
                </a:cubicBezTo>
                <a:cubicBezTo>
                  <a:pt x="1290247" y="4178930"/>
                  <a:pt x="1291487" y="4177381"/>
                  <a:pt x="1292571" y="4177691"/>
                </a:cubicBezTo>
                <a:close/>
                <a:moveTo>
                  <a:pt x="749349" y="4176555"/>
                </a:moveTo>
                <a:cubicBezTo>
                  <a:pt x="750589" y="4176658"/>
                  <a:pt x="751673" y="4177381"/>
                  <a:pt x="752138" y="4178930"/>
                </a:cubicBezTo>
                <a:cubicBezTo>
                  <a:pt x="751208" y="4184506"/>
                  <a:pt x="746251" y="4182957"/>
                  <a:pt x="741140" y="4185435"/>
                </a:cubicBezTo>
                <a:cubicBezTo>
                  <a:pt x="740056" y="4181099"/>
                  <a:pt x="745477" y="4176142"/>
                  <a:pt x="749349" y="4176555"/>
                </a:cubicBezTo>
                <a:close/>
                <a:moveTo>
                  <a:pt x="5467791" y="4176366"/>
                </a:moveTo>
                <a:cubicBezTo>
                  <a:pt x="5467481" y="4178844"/>
                  <a:pt x="5468255" y="4179671"/>
                  <a:pt x="5467481" y="4179671"/>
                </a:cubicBezTo>
                <a:cubicBezTo>
                  <a:pt x="5467481" y="4180084"/>
                  <a:pt x="5467171" y="4180290"/>
                  <a:pt x="5467016" y="4180290"/>
                </a:cubicBezTo>
                <a:cubicBezTo>
                  <a:pt x="5466707" y="4180290"/>
                  <a:pt x="5466552" y="4180084"/>
                  <a:pt x="5466552" y="4179671"/>
                </a:cubicBezTo>
                <a:cubicBezTo>
                  <a:pt x="5465003" y="4178844"/>
                  <a:pt x="5466861" y="4177193"/>
                  <a:pt x="5467791" y="4176366"/>
                </a:cubicBezTo>
                <a:close/>
                <a:moveTo>
                  <a:pt x="5554688" y="4175643"/>
                </a:moveTo>
                <a:cubicBezTo>
                  <a:pt x="5556391" y="4176573"/>
                  <a:pt x="5558870" y="4175850"/>
                  <a:pt x="5560574" y="4177709"/>
                </a:cubicBezTo>
                <a:cubicBezTo>
                  <a:pt x="5560574" y="4177709"/>
                  <a:pt x="5561503" y="4178535"/>
                  <a:pt x="5561503" y="4180290"/>
                </a:cubicBezTo>
                <a:cubicBezTo>
                  <a:pt x="5563362" y="4182975"/>
                  <a:pt x="5560883" y="4185453"/>
                  <a:pt x="5560883" y="4185453"/>
                </a:cubicBezTo>
                <a:cubicBezTo>
                  <a:pt x="5560883" y="4185453"/>
                  <a:pt x="5560883" y="4185556"/>
                  <a:pt x="5561658" y="4185556"/>
                </a:cubicBezTo>
                <a:cubicBezTo>
                  <a:pt x="5560109" y="4185453"/>
                  <a:pt x="5558405" y="4186279"/>
                  <a:pt x="5556701" y="4186176"/>
                </a:cubicBezTo>
                <a:lnTo>
                  <a:pt x="5556236" y="4185660"/>
                </a:lnTo>
                <a:lnTo>
                  <a:pt x="5556546" y="4186382"/>
                </a:lnTo>
                <a:cubicBezTo>
                  <a:pt x="5554997" y="4188034"/>
                  <a:pt x="5553139" y="4189067"/>
                  <a:pt x="5551280" y="4189170"/>
                </a:cubicBezTo>
                <a:cubicBezTo>
                  <a:pt x="5549266" y="4189273"/>
                  <a:pt x="5547098" y="4188551"/>
                  <a:pt x="5545084" y="4186692"/>
                </a:cubicBezTo>
                <a:cubicBezTo>
                  <a:pt x="5543999" y="4182355"/>
                  <a:pt x="5548802" y="4180084"/>
                  <a:pt x="5551280" y="4178432"/>
                </a:cubicBezTo>
                <a:lnTo>
                  <a:pt x="5552364" y="4179671"/>
                </a:lnTo>
                <a:lnTo>
                  <a:pt x="5552984" y="4177915"/>
                </a:lnTo>
                <a:cubicBezTo>
                  <a:pt x="5553448" y="4177193"/>
                  <a:pt x="5554068" y="4176470"/>
                  <a:pt x="5554688" y="4175643"/>
                </a:cubicBezTo>
                <a:close/>
                <a:moveTo>
                  <a:pt x="650216" y="4173974"/>
                </a:moveTo>
                <a:cubicBezTo>
                  <a:pt x="652849" y="4178723"/>
                  <a:pt x="656721" y="4183576"/>
                  <a:pt x="652229" y="4187190"/>
                </a:cubicBezTo>
                <a:cubicBezTo>
                  <a:pt x="644639" y="4187500"/>
                  <a:pt x="642935" y="4179549"/>
                  <a:pt x="645724" y="4175832"/>
                </a:cubicBezTo>
                <a:cubicBezTo>
                  <a:pt x="646809" y="4174593"/>
                  <a:pt x="648202" y="4173870"/>
                  <a:pt x="650216" y="4173974"/>
                </a:cubicBezTo>
                <a:close/>
                <a:moveTo>
                  <a:pt x="5480492" y="4173578"/>
                </a:moveTo>
                <a:cubicBezTo>
                  <a:pt x="5481731" y="4174405"/>
                  <a:pt x="5483590" y="4174611"/>
                  <a:pt x="5484520" y="4176160"/>
                </a:cubicBezTo>
                <a:cubicBezTo>
                  <a:pt x="5484829" y="4178535"/>
                  <a:pt x="5481886" y="4181839"/>
                  <a:pt x="5480182" y="4182872"/>
                </a:cubicBezTo>
                <a:cubicBezTo>
                  <a:pt x="5477859" y="4183491"/>
                  <a:pt x="5476310" y="4181529"/>
                  <a:pt x="5475845" y="4179155"/>
                </a:cubicBezTo>
                <a:cubicBezTo>
                  <a:pt x="5475535" y="4178328"/>
                  <a:pt x="5475535" y="4177399"/>
                  <a:pt x="5476000" y="4176470"/>
                </a:cubicBezTo>
                <a:cubicBezTo>
                  <a:pt x="5476465" y="4175540"/>
                  <a:pt x="5477239" y="4174714"/>
                  <a:pt x="5478169" y="4174198"/>
                </a:cubicBezTo>
                <a:cubicBezTo>
                  <a:pt x="5479253" y="4173888"/>
                  <a:pt x="5479253" y="4173888"/>
                  <a:pt x="5480492" y="4173578"/>
                </a:cubicBezTo>
                <a:close/>
                <a:moveTo>
                  <a:pt x="5134144" y="4173269"/>
                </a:moveTo>
                <a:cubicBezTo>
                  <a:pt x="5139101" y="4172649"/>
                  <a:pt x="5143593" y="4179774"/>
                  <a:pt x="5145452" y="4184214"/>
                </a:cubicBezTo>
                <a:cubicBezTo>
                  <a:pt x="5143748" y="4185866"/>
                  <a:pt x="5144677" y="4187622"/>
                  <a:pt x="5143128" y="4189273"/>
                </a:cubicBezTo>
                <a:cubicBezTo>
                  <a:pt x="5137862" y="4183801"/>
                  <a:pt x="5131821" y="4178328"/>
                  <a:pt x="5134144" y="4173269"/>
                </a:cubicBezTo>
                <a:close/>
                <a:moveTo>
                  <a:pt x="5787807" y="4173062"/>
                </a:moveTo>
                <a:cubicBezTo>
                  <a:pt x="5787807" y="4173475"/>
                  <a:pt x="5787342" y="4174095"/>
                  <a:pt x="5786722" y="4174818"/>
                </a:cubicBezTo>
                <a:lnTo>
                  <a:pt x="5786103" y="4175437"/>
                </a:lnTo>
                <a:lnTo>
                  <a:pt x="5785173" y="4178844"/>
                </a:lnTo>
                <a:cubicBezTo>
                  <a:pt x="5784399" y="4187828"/>
                  <a:pt x="5793228" y="4195262"/>
                  <a:pt x="5787187" y="4202594"/>
                </a:cubicBezTo>
                <a:cubicBezTo>
                  <a:pt x="5785018" y="4199083"/>
                  <a:pt x="5782385" y="4195985"/>
                  <a:pt x="5780527" y="4192165"/>
                </a:cubicBezTo>
                <a:cubicBezTo>
                  <a:pt x="5778823" y="4188344"/>
                  <a:pt x="5777584" y="4183801"/>
                  <a:pt x="5778358" y="4177709"/>
                </a:cubicBezTo>
                <a:cubicBezTo>
                  <a:pt x="5779597" y="4177089"/>
                  <a:pt x="5780836" y="4175747"/>
                  <a:pt x="5782075" y="4174818"/>
                </a:cubicBezTo>
                <a:lnTo>
                  <a:pt x="5783779" y="4174095"/>
                </a:lnTo>
                <a:lnTo>
                  <a:pt x="5784399" y="4173475"/>
                </a:lnTo>
                <a:cubicBezTo>
                  <a:pt x="5785328" y="4172856"/>
                  <a:pt x="5786258" y="4172649"/>
                  <a:pt x="5787807" y="4173062"/>
                </a:cubicBezTo>
                <a:close/>
                <a:moveTo>
                  <a:pt x="1434921" y="4172012"/>
                </a:moveTo>
                <a:cubicBezTo>
                  <a:pt x="1436469" y="4173044"/>
                  <a:pt x="1438018" y="4173974"/>
                  <a:pt x="1439723" y="4175006"/>
                </a:cubicBezTo>
                <a:cubicBezTo>
                  <a:pt x="1435850" y="4182234"/>
                  <a:pt x="1437244" y="4188533"/>
                  <a:pt x="1434456" y="4194418"/>
                </a:cubicBezTo>
                <a:cubicBezTo>
                  <a:pt x="1430428" y="4188636"/>
                  <a:pt x="1424078" y="4178207"/>
                  <a:pt x="1434921" y="4172012"/>
                </a:cubicBezTo>
                <a:close/>
                <a:moveTo>
                  <a:pt x="5661411" y="4170894"/>
                </a:moveTo>
                <a:cubicBezTo>
                  <a:pt x="5664974" y="4169552"/>
                  <a:pt x="5667762" y="4169861"/>
                  <a:pt x="5669776" y="4171204"/>
                </a:cubicBezTo>
                <a:cubicBezTo>
                  <a:pt x="5671325" y="4172133"/>
                  <a:pt x="5672409" y="4173578"/>
                  <a:pt x="5673028" y="4175334"/>
                </a:cubicBezTo>
                <a:lnTo>
                  <a:pt x="5673183" y="4176986"/>
                </a:lnTo>
                <a:lnTo>
                  <a:pt x="5673338" y="4176986"/>
                </a:lnTo>
                <a:cubicBezTo>
                  <a:pt x="5676281" y="4176263"/>
                  <a:pt x="5680308" y="4178019"/>
                  <a:pt x="5681858" y="4182665"/>
                </a:cubicBezTo>
                <a:cubicBezTo>
                  <a:pt x="5680308" y="4185866"/>
                  <a:pt x="5678140" y="4187311"/>
                  <a:pt x="5676901" y="4188551"/>
                </a:cubicBezTo>
                <a:lnTo>
                  <a:pt x="5671480" y="4185969"/>
                </a:lnTo>
                <a:lnTo>
                  <a:pt x="5669156" y="4187311"/>
                </a:lnTo>
                <a:lnTo>
                  <a:pt x="5666678" y="4190926"/>
                </a:lnTo>
                <a:cubicBezTo>
                  <a:pt x="5665748" y="4188861"/>
                  <a:pt x="5663580" y="4189996"/>
                  <a:pt x="5661566" y="4191132"/>
                </a:cubicBezTo>
                <a:cubicBezTo>
                  <a:pt x="5660017" y="4188034"/>
                  <a:pt x="5657074" y="4183491"/>
                  <a:pt x="5659243" y="4179567"/>
                </a:cubicBezTo>
                <a:lnTo>
                  <a:pt x="5660792" y="4178225"/>
                </a:lnTo>
                <a:lnTo>
                  <a:pt x="5660482" y="4175128"/>
                </a:lnTo>
                <a:cubicBezTo>
                  <a:pt x="5660636" y="4173475"/>
                  <a:pt x="5660946" y="4171927"/>
                  <a:pt x="5661411" y="4170894"/>
                </a:cubicBezTo>
                <a:close/>
                <a:moveTo>
                  <a:pt x="1446228" y="4169534"/>
                </a:moveTo>
                <a:cubicBezTo>
                  <a:pt x="1451030" y="4170360"/>
                  <a:pt x="1449171" y="4176039"/>
                  <a:pt x="1446538" y="4176865"/>
                </a:cubicBezTo>
                <a:cubicBezTo>
                  <a:pt x="1445763" y="4177071"/>
                  <a:pt x="1444679" y="4176865"/>
                  <a:pt x="1443904" y="4175626"/>
                </a:cubicBezTo>
                <a:cubicBezTo>
                  <a:pt x="1444214" y="4173767"/>
                  <a:pt x="1445143" y="4171702"/>
                  <a:pt x="1446228" y="4169534"/>
                </a:cubicBezTo>
                <a:close/>
                <a:moveTo>
                  <a:pt x="5595580" y="4169242"/>
                </a:moveTo>
                <a:cubicBezTo>
                  <a:pt x="5597439" y="4171100"/>
                  <a:pt x="5597904" y="4172959"/>
                  <a:pt x="5597439" y="4174818"/>
                </a:cubicBezTo>
                <a:cubicBezTo>
                  <a:pt x="5596974" y="4176573"/>
                  <a:pt x="5595270" y="4178535"/>
                  <a:pt x="5592947" y="4180497"/>
                </a:cubicBezTo>
                <a:cubicBezTo>
                  <a:pt x="5591863" y="4179567"/>
                  <a:pt x="5591243" y="4178535"/>
                  <a:pt x="5591088" y="4177709"/>
                </a:cubicBezTo>
                <a:cubicBezTo>
                  <a:pt x="5590778" y="4174921"/>
                  <a:pt x="5593876" y="4172339"/>
                  <a:pt x="5595580" y="4169242"/>
                </a:cubicBezTo>
                <a:close/>
                <a:moveTo>
                  <a:pt x="5112149" y="4167176"/>
                </a:moveTo>
                <a:cubicBezTo>
                  <a:pt x="5112923" y="4170894"/>
                  <a:pt x="5108896" y="4179877"/>
                  <a:pt x="5101926" y="4179671"/>
                </a:cubicBezTo>
                <a:cubicBezTo>
                  <a:pt x="5101771" y="4171100"/>
                  <a:pt x="5107192" y="4169552"/>
                  <a:pt x="5112149" y="4167176"/>
                </a:cubicBezTo>
                <a:close/>
                <a:moveTo>
                  <a:pt x="5542915" y="4166351"/>
                </a:moveTo>
                <a:cubicBezTo>
                  <a:pt x="5543380" y="4167693"/>
                  <a:pt x="5539972" y="4172236"/>
                  <a:pt x="5537494" y="4172856"/>
                </a:cubicBezTo>
                <a:cubicBezTo>
                  <a:pt x="5536565" y="4173062"/>
                  <a:pt x="5535945" y="4172752"/>
                  <a:pt x="5535480" y="4171823"/>
                </a:cubicBezTo>
                <a:cubicBezTo>
                  <a:pt x="5534396" y="4168209"/>
                  <a:pt x="5541522" y="4165421"/>
                  <a:pt x="5542915" y="4166351"/>
                </a:cubicBezTo>
                <a:close/>
                <a:moveTo>
                  <a:pt x="5772007" y="4165925"/>
                </a:moveTo>
                <a:cubicBezTo>
                  <a:pt x="5775570" y="4166351"/>
                  <a:pt x="5779055" y="4168003"/>
                  <a:pt x="5782540" y="4169655"/>
                </a:cubicBezTo>
                <a:cubicBezTo>
                  <a:pt x="5780216" y="4173475"/>
                  <a:pt x="5776344" y="4174508"/>
                  <a:pt x="5772317" y="4173992"/>
                </a:cubicBezTo>
                <a:cubicBezTo>
                  <a:pt x="5768135" y="4173475"/>
                  <a:pt x="5763952" y="4171617"/>
                  <a:pt x="5761009" y="4169552"/>
                </a:cubicBezTo>
                <a:cubicBezTo>
                  <a:pt x="5764804" y="4166299"/>
                  <a:pt x="5768444" y="4165499"/>
                  <a:pt x="5772007" y="4165925"/>
                </a:cubicBezTo>
                <a:close/>
                <a:moveTo>
                  <a:pt x="5203848" y="4165111"/>
                </a:moveTo>
                <a:cubicBezTo>
                  <a:pt x="5207410" y="4164389"/>
                  <a:pt x="5208649" y="4164492"/>
                  <a:pt x="5212057" y="4166247"/>
                </a:cubicBezTo>
                <a:cubicBezTo>
                  <a:pt x="5213451" y="4171927"/>
                  <a:pt x="5211438" y="4175953"/>
                  <a:pt x="5209269" y="4179980"/>
                </a:cubicBezTo>
                <a:cubicBezTo>
                  <a:pt x="5207875" y="4180187"/>
                  <a:pt x="5206791" y="4180290"/>
                  <a:pt x="5205861" y="4180187"/>
                </a:cubicBezTo>
                <a:cubicBezTo>
                  <a:pt x="5199510" y="4179464"/>
                  <a:pt x="5203383" y="4170377"/>
                  <a:pt x="5203848" y="4165111"/>
                </a:cubicBezTo>
                <a:close/>
                <a:moveTo>
                  <a:pt x="1402082" y="4164268"/>
                </a:moveTo>
                <a:cubicBezTo>
                  <a:pt x="1402082" y="4164268"/>
                  <a:pt x="1402547" y="4164887"/>
                  <a:pt x="1402857" y="4165507"/>
                </a:cubicBezTo>
                <a:cubicBezTo>
                  <a:pt x="1403167" y="4166230"/>
                  <a:pt x="1403477" y="4166952"/>
                  <a:pt x="1403167" y="4167572"/>
                </a:cubicBezTo>
                <a:cubicBezTo>
                  <a:pt x="1403012" y="4168501"/>
                  <a:pt x="1402082" y="4168604"/>
                  <a:pt x="1401153" y="4168604"/>
                </a:cubicBezTo>
                <a:cubicBezTo>
                  <a:pt x="1400224" y="4168501"/>
                  <a:pt x="1399294" y="4168191"/>
                  <a:pt x="1398829" y="4168398"/>
                </a:cubicBezTo>
                <a:cubicBezTo>
                  <a:pt x="1398365" y="4168191"/>
                  <a:pt x="1397900" y="4167881"/>
                  <a:pt x="1397590" y="4167572"/>
                </a:cubicBezTo>
                <a:cubicBezTo>
                  <a:pt x="1397125" y="4167262"/>
                  <a:pt x="1396971" y="4166849"/>
                  <a:pt x="1397281" y="4166333"/>
                </a:cubicBezTo>
                <a:cubicBezTo>
                  <a:pt x="1397900" y="4165197"/>
                  <a:pt x="1397745" y="4164371"/>
                  <a:pt x="1399449" y="4164474"/>
                </a:cubicBezTo>
                <a:cubicBezTo>
                  <a:pt x="1400379" y="4164165"/>
                  <a:pt x="1401308" y="4164680"/>
                  <a:pt x="1402082" y="4164268"/>
                </a:cubicBezTo>
                <a:close/>
                <a:moveTo>
                  <a:pt x="5098208" y="4163460"/>
                </a:moveTo>
                <a:cubicBezTo>
                  <a:pt x="5101306" y="4163563"/>
                  <a:pt x="5101461" y="4166661"/>
                  <a:pt x="5102700" y="4170068"/>
                </a:cubicBezTo>
                <a:cubicBezTo>
                  <a:pt x="5101461" y="4169758"/>
                  <a:pt x="5101306" y="4170894"/>
                  <a:pt x="5101151" y="4172133"/>
                </a:cubicBezTo>
                <a:cubicBezTo>
                  <a:pt x="5099447" y="4171720"/>
                  <a:pt x="5096659" y="4171410"/>
                  <a:pt x="5095575" y="4169242"/>
                </a:cubicBezTo>
                <a:cubicBezTo>
                  <a:pt x="5095265" y="4168519"/>
                  <a:pt x="5095265" y="4167590"/>
                  <a:pt x="5095420" y="4166351"/>
                </a:cubicBezTo>
                <a:cubicBezTo>
                  <a:pt x="5094955" y="4165628"/>
                  <a:pt x="5097124" y="4163150"/>
                  <a:pt x="5098208" y="4163460"/>
                </a:cubicBezTo>
                <a:close/>
                <a:moveTo>
                  <a:pt x="5280211" y="4162633"/>
                </a:moveTo>
                <a:cubicBezTo>
                  <a:pt x="5283929" y="4163253"/>
                  <a:pt x="5284858" y="4163872"/>
                  <a:pt x="5287182" y="4166661"/>
                </a:cubicBezTo>
                <a:cubicBezTo>
                  <a:pt x="5285633" y="4172339"/>
                  <a:pt x="5281760" y="4175231"/>
                  <a:pt x="5277888" y="4178122"/>
                </a:cubicBezTo>
                <a:cubicBezTo>
                  <a:pt x="5275100" y="4177605"/>
                  <a:pt x="5273706" y="4176779"/>
                  <a:pt x="5273241" y="4175643"/>
                </a:cubicBezTo>
                <a:cubicBezTo>
                  <a:pt x="5271537" y="4172236"/>
                  <a:pt x="5277733" y="4166661"/>
                  <a:pt x="5280211" y="4162633"/>
                </a:cubicBezTo>
                <a:close/>
                <a:moveTo>
                  <a:pt x="5316457" y="4161498"/>
                </a:moveTo>
                <a:cubicBezTo>
                  <a:pt x="5318781" y="4159742"/>
                  <a:pt x="5323118" y="4159742"/>
                  <a:pt x="5326061" y="4163563"/>
                </a:cubicBezTo>
                <a:cubicBezTo>
                  <a:pt x="5325906" y="4167280"/>
                  <a:pt x="5324512" y="4169552"/>
                  <a:pt x="5323892" y="4171307"/>
                </a:cubicBezTo>
                <a:lnTo>
                  <a:pt x="5320949" y="4171100"/>
                </a:lnTo>
                <a:lnTo>
                  <a:pt x="5322653" y="4172133"/>
                </a:lnTo>
                <a:cubicBezTo>
                  <a:pt x="5324047" y="4173062"/>
                  <a:pt x="5324976" y="4173992"/>
                  <a:pt x="5324667" y="4176160"/>
                </a:cubicBezTo>
                <a:cubicBezTo>
                  <a:pt x="5322963" y="4176573"/>
                  <a:pt x="5320949" y="4175437"/>
                  <a:pt x="5319555" y="4173682"/>
                </a:cubicBezTo>
                <a:lnTo>
                  <a:pt x="5318471" y="4170894"/>
                </a:lnTo>
                <a:lnTo>
                  <a:pt x="5317231" y="4170791"/>
                </a:lnTo>
                <a:cubicBezTo>
                  <a:pt x="5313359" y="4167073"/>
                  <a:pt x="5313979" y="4163356"/>
                  <a:pt x="5316457" y="4161498"/>
                </a:cubicBezTo>
                <a:close/>
                <a:moveTo>
                  <a:pt x="5335045" y="4160775"/>
                </a:moveTo>
                <a:cubicBezTo>
                  <a:pt x="5338607" y="4166041"/>
                  <a:pt x="5342789" y="4166144"/>
                  <a:pt x="5343719" y="4171617"/>
                </a:cubicBezTo>
                <a:cubicBezTo>
                  <a:pt x="5342480" y="4173269"/>
                  <a:pt x="5340931" y="4174095"/>
                  <a:pt x="5339382" y="4174301"/>
                </a:cubicBezTo>
                <a:cubicBezTo>
                  <a:pt x="5334580" y="4175024"/>
                  <a:pt x="5329778" y="4170377"/>
                  <a:pt x="5330552" y="4165938"/>
                </a:cubicBezTo>
                <a:cubicBezTo>
                  <a:pt x="5330707" y="4163976"/>
                  <a:pt x="5332102" y="4162117"/>
                  <a:pt x="5335045" y="4160775"/>
                </a:cubicBezTo>
                <a:close/>
                <a:moveTo>
                  <a:pt x="5373711" y="4158761"/>
                </a:moveTo>
                <a:cubicBezTo>
                  <a:pt x="5377718" y="4158193"/>
                  <a:pt x="5381513" y="4159381"/>
                  <a:pt x="5381668" y="4162633"/>
                </a:cubicBezTo>
                <a:cubicBezTo>
                  <a:pt x="5381668" y="4163563"/>
                  <a:pt x="5381514" y="4164699"/>
                  <a:pt x="5380894" y="4166041"/>
                </a:cubicBezTo>
                <a:cubicBezTo>
                  <a:pt x="5379500" y="4167176"/>
                  <a:pt x="5377951" y="4168209"/>
                  <a:pt x="5376557" y="4169035"/>
                </a:cubicBezTo>
                <a:lnTo>
                  <a:pt x="5372685" y="4170687"/>
                </a:lnTo>
                <a:lnTo>
                  <a:pt x="5372994" y="4176883"/>
                </a:lnTo>
                <a:cubicBezTo>
                  <a:pt x="5372994" y="4179155"/>
                  <a:pt x="5372374" y="4180703"/>
                  <a:pt x="5369586" y="4181839"/>
                </a:cubicBezTo>
                <a:cubicBezTo>
                  <a:pt x="5368192" y="4180703"/>
                  <a:pt x="5367573" y="4178638"/>
                  <a:pt x="5367418" y="4176160"/>
                </a:cubicBezTo>
                <a:lnTo>
                  <a:pt x="5367263" y="4169552"/>
                </a:lnTo>
                <a:lnTo>
                  <a:pt x="5364940" y="4168106"/>
                </a:lnTo>
                <a:cubicBezTo>
                  <a:pt x="5365869" y="4167280"/>
                  <a:pt x="5365095" y="4166351"/>
                  <a:pt x="5364475" y="4165421"/>
                </a:cubicBezTo>
                <a:cubicBezTo>
                  <a:pt x="5365482" y="4161652"/>
                  <a:pt x="5369703" y="4159329"/>
                  <a:pt x="5373711" y="4158761"/>
                </a:cubicBezTo>
                <a:close/>
                <a:moveTo>
                  <a:pt x="5567234" y="4158297"/>
                </a:moveTo>
                <a:cubicBezTo>
                  <a:pt x="5570642" y="4161084"/>
                  <a:pt x="5572346" y="4158503"/>
                  <a:pt x="5577612" y="4163046"/>
                </a:cubicBezTo>
                <a:cubicBezTo>
                  <a:pt x="5584582" y="4168622"/>
                  <a:pt x="5583033" y="4174611"/>
                  <a:pt x="5580710" y="4177915"/>
                </a:cubicBezTo>
                <a:cubicBezTo>
                  <a:pt x="5580090" y="4177296"/>
                  <a:pt x="5576838" y="4181839"/>
                  <a:pt x="5571881" y="4181426"/>
                </a:cubicBezTo>
                <a:cubicBezTo>
                  <a:pt x="5570177" y="4181323"/>
                  <a:pt x="5568473" y="4180600"/>
                  <a:pt x="5566460" y="4178948"/>
                </a:cubicBezTo>
                <a:cubicBezTo>
                  <a:pt x="5562123" y="4175334"/>
                  <a:pt x="5558405" y="4169965"/>
                  <a:pt x="5563981" y="4163356"/>
                </a:cubicBezTo>
                <a:cubicBezTo>
                  <a:pt x="5564756" y="4161704"/>
                  <a:pt x="5564911" y="4162530"/>
                  <a:pt x="5565685" y="4161704"/>
                </a:cubicBezTo>
                <a:cubicBezTo>
                  <a:pt x="5566460" y="4160878"/>
                  <a:pt x="5567234" y="4159226"/>
                  <a:pt x="5567234" y="4158297"/>
                </a:cubicBezTo>
                <a:close/>
                <a:moveTo>
                  <a:pt x="5707416" y="4157884"/>
                </a:moveTo>
                <a:cubicBezTo>
                  <a:pt x="5709739" y="4156541"/>
                  <a:pt x="5714850" y="4164802"/>
                  <a:pt x="5706641" y="4163046"/>
                </a:cubicBezTo>
                <a:cubicBezTo>
                  <a:pt x="5706176" y="4159742"/>
                  <a:pt x="5706641" y="4158297"/>
                  <a:pt x="5707416" y="4157884"/>
                </a:cubicBezTo>
                <a:close/>
                <a:moveTo>
                  <a:pt x="5399636" y="4157677"/>
                </a:moveTo>
                <a:cubicBezTo>
                  <a:pt x="5401805" y="4158916"/>
                  <a:pt x="5405213" y="4157987"/>
                  <a:pt x="5408310" y="4163563"/>
                </a:cubicBezTo>
                <a:cubicBezTo>
                  <a:pt x="5411099" y="4169965"/>
                  <a:pt x="5405213" y="4172443"/>
                  <a:pt x="5405987" y="4172856"/>
                </a:cubicBezTo>
                <a:cubicBezTo>
                  <a:pt x="5406297" y="4174095"/>
                  <a:pt x="5406297" y="4174095"/>
                  <a:pt x="5407071" y="4174508"/>
                </a:cubicBezTo>
                <a:cubicBezTo>
                  <a:pt x="5406762" y="4175231"/>
                  <a:pt x="5406762" y="4177296"/>
                  <a:pt x="5407226" y="4178432"/>
                </a:cubicBezTo>
                <a:cubicBezTo>
                  <a:pt x="5406452" y="4178019"/>
                  <a:pt x="5405677" y="4177605"/>
                  <a:pt x="5405367" y="4178328"/>
                </a:cubicBezTo>
                <a:cubicBezTo>
                  <a:pt x="5404593" y="4175953"/>
                  <a:pt x="5404903" y="4175231"/>
                  <a:pt x="5404438" y="4173992"/>
                </a:cubicBezTo>
                <a:cubicBezTo>
                  <a:pt x="5404128" y="4174714"/>
                  <a:pt x="5403663" y="4173578"/>
                  <a:pt x="5403663" y="4173578"/>
                </a:cubicBezTo>
                <a:cubicBezTo>
                  <a:pt x="5403663" y="4173578"/>
                  <a:pt x="5403663" y="4173475"/>
                  <a:pt x="5401495" y="4174198"/>
                </a:cubicBezTo>
                <a:cubicBezTo>
                  <a:pt x="5401495" y="4174198"/>
                  <a:pt x="5396229" y="4175128"/>
                  <a:pt x="5393905" y="4169965"/>
                </a:cubicBezTo>
                <a:cubicBezTo>
                  <a:pt x="5394989" y="4169552"/>
                  <a:pt x="5392666" y="4162427"/>
                  <a:pt x="5395454" y="4160259"/>
                </a:cubicBezTo>
                <a:cubicBezTo>
                  <a:pt x="5397003" y="4159123"/>
                  <a:pt x="5398087" y="4158813"/>
                  <a:pt x="5399636" y="4157677"/>
                </a:cubicBezTo>
                <a:close/>
                <a:moveTo>
                  <a:pt x="5633046" y="4157354"/>
                </a:moveTo>
                <a:cubicBezTo>
                  <a:pt x="5637905" y="4156386"/>
                  <a:pt x="5642746" y="4157471"/>
                  <a:pt x="5646231" y="4161084"/>
                </a:cubicBezTo>
                <a:cubicBezTo>
                  <a:pt x="5648245" y="4163666"/>
                  <a:pt x="5649019" y="4166144"/>
                  <a:pt x="5649174" y="4168416"/>
                </a:cubicBezTo>
                <a:lnTo>
                  <a:pt x="5647625" y="4173166"/>
                </a:lnTo>
                <a:lnTo>
                  <a:pt x="5647935" y="4173785"/>
                </a:lnTo>
                <a:lnTo>
                  <a:pt x="5647315" y="4173992"/>
                </a:lnTo>
                <a:lnTo>
                  <a:pt x="5647161" y="4174508"/>
                </a:lnTo>
                <a:cubicBezTo>
                  <a:pt x="5644527" y="4178019"/>
                  <a:pt x="5639725" y="4180187"/>
                  <a:pt x="5634769" y="4179877"/>
                </a:cubicBezTo>
                <a:cubicBezTo>
                  <a:pt x="5628728" y="4179464"/>
                  <a:pt x="5622532" y="4175540"/>
                  <a:pt x="5619744" y="4165938"/>
                </a:cubicBezTo>
                <a:cubicBezTo>
                  <a:pt x="5623307" y="4161343"/>
                  <a:pt x="5628186" y="4158323"/>
                  <a:pt x="5633046" y="4157354"/>
                </a:cubicBezTo>
                <a:close/>
                <a:moveTo>
                  <a:pt x="5518442" y="4157264"/>
                </a:moveTo>
                <a:cubicBezTo>
                  <a:pt x="5520920" y="4156644"/>
                  <a:pt x="5522779" y="4156748"/>
                  <a:pt x="5524483" y="4158916"/>
                </a:cubicBezTo>
                <a:cubicBezTo>
                  <a:pt x="5522934" y="4159019"/>
                  <a:pt x="5521850" y="4159123"/>
                  <a:pt x="5520920" y="4158916"/>
                </a:cubicBezTo>
                <a:cubicBezTo>
                  <a:pt x="5519991" y="4158813"/>
                  <a:pt x="5519371" y="4158297"/>
                  <a:pt x="5518442" y="4157264"/>
                </a:cubicBezTo>
                <a:close/>
                <a:moveTo>
                  <a:pt x="5227237" y="4155302"/>
                </a:moveTo>
                <a:cubicBezTo>
                  <a:pt x="5233742" y="4160155"/>
                  <a:pt x="5230490" y="4166970"/>
                  <a:pt x="5225843" y="4167693"/>
                </a:cubicBezTo>
                <a:cubicBezTo>
                  <a:pt x="5224294" y="4168003"/>
                  <a:pt x="5222590" y="4167590"/>
                  <a:pt x="5221041" y="4166247"/>
                </a:cubicBezTo>
                <a:cubicBezTo>
                  <a:pt x="5221661" y="4161084"/>
                  <a:pt x="5221351" y="4154993"/>
                  <a:pt x="5227237" y="4155302"/>
                </a:cubicBezTo>
                <a:close/>
                <a:moveTo>
                  <a:pt x="5150098" y="4154993"/>
                </a:moveTo>
                <a:cubicBezTo>
                  <a:pt x="5151957" y="4153443"/>
                  <a:pt x="5157379" y="4152514"/>
                  <a:pt x="5160786" y="4155509"/>
                </a:cubicBezTo>
                <a:cubicBezTo>
                  <a:pt x="5160941" y="4159639"/>
                  <a:pt x="5159238" y="4161498"/>
                  <a:pt x="5156294" y="4161498"/>
                </a:cubicBezTo>
                <a:cubicBezTo>
                  <a:pt x="5155210" y="4161498"/>
                  <a:pt x="5154126" y="4161291"/>
                  <a:pt x="5152732" y="4160981"/>
                </a:cubicBezTo>
                <a:cubicBezTo>
                  <a:pt x="5152267" y="4159019"/>
                  <a:pt x="5151183" y="4157574"/>
                  <a:pt x="5150098" y="4154993"/>
                </a:cubicBezTo>
                <a:close/>
                <a:moveTo>
                  <a:pt x="5064441" y="4153857"/>
                </a:moveTo>
                <a:cubicBezTo>
                  <a:pt x="5065060" y="4154270"/>
                  <a:pt x="5066919" y="4154476"/>
                  <a:pt x="5067229" y="4155715"/>
                </a:cubicBezTo>
                <a:cubicBezTo>
                  <a:pt x="5067384" y="4156851"/>
                  <a:pt x="5067384" y="4156851"/>
                  <a:pt x="5066455" y="4158297"/>
                </a:cubicBezTo>
                <a:cubicBezTo>
                  <a:pt x="5065680" y="4157264"/>
                  <a:pt x="5065215" y="4156748"/>
                  <a:pt x="5065060" y="4156232"/>
                </a:cubicBezTo>
                <a:cubicBezTo>
                  <a:pt x="5064751" y="4155612"/>
                  <a:pt x="5064596" y="4155096"/>
                  <a:pt x="5064441" y="4153857"/>
                </a:cubicBezTo>
                <a:close/>
                <a:moveTo>
                  <a:pt x="5443627" y="4153547"/>
                </a:moveTo>
                <a:cubicBezTo>
                  <a:pt x="5444556" y="4154373"/>
                  <a:pt x="5445331" y="4156128"/>
                  <a:pt x="5444556" y="4156954"/>
                </a:cubicBezTo>
                <a:cubicBezTo>
                  <a:pt x="5444246" y="4157780"/>
                  <a:pt x="5443782" y="4157780"/>
                  <a:pt x="5443162" y="4157367"/>
                </a:cubicBezTo>
                <a:cubicBezTo>
                  <a:pt x="5442697" y="4157058"/>
                  <a:pt x="5442078" y="4156438"/>
                  <a:pt x="5441149" y="4156025"/>
                </a:cubicBezTo>
                <a:close/>
                <a:moveTo>
                  <a:pt x="5557902" y="4152992"/>
                </a:moveTo>
                <a:cubicBezTo>
                  <a:pt x="5559335" y="4153857"/>
                  <a:pt x="5560264" y="4155715"/>
                  <a:pt x="5559799" y="4158400"/>
                </a:cubicBezTo>
                <a:cubicBezTo>
                  <a:pt x="5556391" y="4157780"/>
                  <a:pt x="5552829" y="4157161"/>
                  <a:pt x="5552984" y="4153547"/>
                </a:cubicBezTo>
                <a:cubicBezTo>
                  <a:pt x="5554533" y="4152256"/>
                  <a:pt x="5556469" y="4152127"/>
                  <a:pt x="5557902" y="4152992"/>
                </a:cubicBezTo>
                <a:close/>
                <a:moveTo>
                  <a:pt x="5437431" y="4152927"/>
                </a:moveTo>
                <a:cubicBezTo>
                  <a:pt x="5437431" y="4152927"/>
                  <a:pt x="5437586" y="4152927"/>
                  <a:pt x="5438670" y="4154683"/>
                </a:cubicBezTo>
                <a:lnTo>
                  <a:pt x="5438360" y="4156232"/>
                </a:lnTo>
                <a:lnTo>
                  <a:pt x="5440374" y="4156748"/>
                </a:lnTo>
                <a:cubicBezTo>
                  <a:pt x="5442078" y="4158503"/>
                  <a:pt x="5444711" y="4161291"/>
                  <a:pt x="5443162" y="4163872"/>
                </a:cubicBezTo>
                <a:cubicBezTo>
                  <a:pt x="5442388" y="4163872"/>
                  <a:pt x="5442388" y="4164699"/>
                  <a:pt x="5441458" y="4164595"/>
                </a:cubicBezTo>
                <a:cubicBezTo>
                  <a:pt x="5441458" y="4164595"/>
                  <a:pt x="5440684" y="4165008"/>
                  <a:pt x="5439445" y="4165111"/>
                </a:cubicBezTo>
                <a:cubicBezTo>
                  <a:pt x="5438206" y="4165111"/>
                  <a:pt x="5436656" y="4164905"/>
                  <a:pt x="5434952" y="4163460"/>
                </a:cubicBezTo>
                <a:cubicBezTo>
                  <a:pt x="5434023" y="4162530"/>
                  <a:pt x="5432164" y="4159845"/>
                  <a:pt x="5432939" y="4159845"/>
                </a:cubicBezTo>
                <a:cubicBezTo>
                  <a:pt x="5433868" y="4159019"/>
                  <a:pt x="5432939" y="4159019"/>
                  <a:pt x="5432939" y="4158090"/>
                </a:cubicBezTo>
                <a:lnTo>
                  <a:pt x="5434178" y="4157367"/>
                </a:lnTo>
                <a:lnTo>
                  <a:pt x="5433714" y="4156851"/>
                </a:lnTo>
                <a:cubicBezTo>
                  <a:pt x="5432475" y="4155096"/>
                  <a:pt x="5432629" y="4155096"/>
                  <a:pt x="5433404" y="4154166"/>
                </a:cubicBezTo>
                <a:cubicBezTo>
                  <a:pt x="5434023" y="4153134"/>
                  <a:pt x="5436656" y="4153857"/>
                  <a:pt x="5437431" y="4152927"/>
                </a:cubicBezTo>
                <a:close/>
                <a:moveTo>
                  <a:pt x="5062427" y="4152514"/>
                </a:moveTo>
                <a:cubicBezTo>
                  <a:pt x="5062892" y="4151792"/>
                  <a:pt x="5063666" y="4152308"/>
                  <a:pt x="5063976" y="4153443"/>
                </a:cubicBezTo>
                <a:cubicBezTo>
                  <a:pt x="5063976" y="4153443"/>
                  <a:pt x="5063512" y="4154166"/>
                  <a:pt x="5063512" y="4154166"/>
                </a:cubicBezTo>
                <a:cubicBezTo>
                  <a:pt x="5063202" y="4153960"/>
                  <a:pt x="5062737" y="4153650"/>
                  <a:pt x="5062582" y="4153443"/>
                </a:cubicBezTo>
                <a:cubicBezTo>
                  <a:pt x="5062272" y="4153134"/>
                  <a:pt x="5062272" y="4152824"/>
                  <a:pt x="5062427" y="4152514"/>
                </a:cubicBezTo>
                <a:close/>
                <a:moveTo>
                  <a:pt x="615984" y="4152083"/>
                </a:moveTo>
                <a:cubicBezTo>
                  <a:pt x="617068" y="4155594"/>
                  <a:pt x="614435" y="4158898"/>
                  <a:pt x="611492" y="4159518"/>
                </a:cubicBezTo>
                <a:cubicBezTo>
                  <a:pt x="610408" y="4159724"/>
                  <a:pt x="609478" y="4159724"/>
                  <a:pt x="608549" y="4159208"/>
                </a:cubicBezTo>
                <a:cubicBezTo>
                  <a:pt x="608394" y="4158692"/>
                  <a:pt x="608084" y="4157969"/>
                  <a:pt x="607774" y="4157246"/>
                </a:cubicBezTo>
                <a:cubicBezTo>
                  <a:pt x="607464" y="4156420"/>
                  <a:pt x="607155" y="4155594"/>
                  <a:pt x="607155" y="4154562"/>
                </a:cubicBezTo>
                <a:cubicBezTo>
                  <a:pt x="609943" y="4151051"/>
                  <a:pt x="613041" y="4150638"/>
                  <a:pt x="615984" y="4152083"/>
                </a:cubicBezTo>
                <a:close/>
                <a:moveTo>
                  <a:pt x="5722130" y="4150552"/>
                </a:moveTo>
                <a:cubicBezTo>
                  <a:pt x="5723060" y="4151378"/>
                  <a:pt x="5723834" y="4151482"/>
                  <a:pt x="5723060" y="4153134"/>
                </a:cubicBezTo>
                <a:cubicBezTo>
                  <a:pt x="5723060" y="4154063"/>
                  <a:pt x="5722285" y="4154889"/>
                  <a:pt x="5722285" y="4155715"/>
                </a:cubicBezTo>
                <a:cubicBezTo>
                  <a:pt x="5722285" y="4155715"/>
                  <a:pt x="5721666" y="4155922"/>
                  <a:pt x="5720891" y="4156025"/>
                </a:cubicBezTo>
                <a:cubicBezTo>
                  <a:pt x="5720272" y="4156025"/>
                  <a:pt x="5719342" y="4156025"/>
                  <a:pt x="5719033" y="4155509"/>
                </a:cubicBezTo>
                <a:cubicBezTo>
                  <a:pt x="5717329" y="4154579"/>
                  <a:pt x="5719652" y="4152204"/>
                  <a:pt x="5719652" y="4151275"/>
                </a:cubicBezTo>
                <a:cubicBezTo>
                  <a:pt x="5720427" y="4150449"/>
                  <a:pt x="5721201" y="4149623"/>
                  <a:pt x="5722130" y="4150552"/>
                </a:cubicBezTo>
                <a:close/>
                <a:moveTo>
                  <a:pt x="5060104" y="4150036"/>
                </a:moveTo>
                <a:cubicBezTo>
                  <a:pt x="5060413" y="4151172"/>
                  <a:pt x="5060878" y="4150552"/>
                  <a:pt x="5059949" y="4151895"/>
                </a:cubicBezTo>
                <a:cubicBezTo>
                  <a:pt x="5059794" y="4150759"/>
                  <a:pt x="5059794" y="4150759"/>
                  <a:pt x="5059019" y="4150346"/>
                </a:cubicBezTo>
                <a:cubicBezTo>
                  <a:pt x="5059019" y="4150346"/>
                  <a:pt x="5060104" y="4150036"/>
                  <a:pt x="5060104" y="4150036"/>
                </a:cubicBezTo>
                <a:close/>
                <a:moveTo>
                  <a:pt x="5761939" y="4149727"/>
                </a:moveTo>
                <a:lnTo>
                  <a:pt x="5764727" y="4150552"/>
                </a:lnTo>
                <a:lnTo>
                  <a:pt x="5769529" y="4150242"/>
                </a:lnTo>
                <a:cubicBezTo>
                  <a:pt x="5774795" y="4150862"/>
                  <a:pt x="5779442" y="4153753"/>
                  <a:pt x="5780991" y="4161394"/>
                </a:cubicBezTo>
                <a:lnTo>
                  <a:pt x="5776809" y="4164905"/>
                </a:lnTo>
                <a:lnTo>
                  <a:pt x="5776964" y="4165525"/>
                </a:lnTo>
                <a:lnTo>
                  <a:pt x="5776189" y="4165318"/>
                </a:lnTo>
                <a:lnTo>
                  <a:pt x="5775415" y="4166041"/>
                </a:lnTo>
                <a:lnTo>
                  <a:pt x="5774021" y="4164802"/>
                </a:lnTo>
                <a:lnTo>
                  <a:pt x="5772317" y="4164492"/>
                </a:lnTo>
                <a:cubicBezTo>
                  <a:pt x="5770923" y="4163976"/>
                  <a:pt x="5769529" y="4163150"/>
                  <a:pt x="5768290" y="4162117"/>
                </a:cubicBezTo>
                <a:lnTo>
                  <a:pt x="5766586" y="4159845"/>
                </a:lnTo>
                <a:lnTo>
                  <a:pt x="5764263" y="4158606"/>
                </a:lnTo>
                <a:lnTo>
                  <a:pt x="5760700" y="4156851"/>
                </a:lnTo>
                <a:lnTo>
                  <a:pt x="5759770" y="4157884"/>
                </a:lnTo>
                <a:cubicBezTo>
                  <a:pt x="5758841" y="4159019"/>
                  <a:pt x="5757912" y="4159845"/>
                  <a:pt x="5757447" y="4159432"/>
                </a:cubicBezTo>
                <a:cubicBezTo>
                  <a:pt x="5757447" y="4159432"/>
                  <a:pt x="5758376" y="4158503"/>
                  <a:pt x="5759306" y="4157677"/>
                </a:cubicBezTo>
                <a:lnTo>
                  <a:pt x="5759460" y="4156232"/>
                </a:lnTo>
                <a:lnTo>
                  <a:pt x="5758841" y="4155922"/>
                </a:lnTo>
                <a:cubicBezTo>
                  <a:pt x="5757137" y="4154993"/>
                  <a:pt x="5755433" y="4153857"/>
                  <a:pt x="5754039" y="4152514"/>
                </a:cubicBezTo>
                <a:cubicBezTo>
                  <a:pt x="5756208" y="4151895"/>
                  <a:pt x="5758686" y="4151172"/>
                  <a:pt x="5761474" y="4150656"/>
                </a:cubicBezTo>
                <a:lnTo>
                  <a:pt x="5762093" y="4150656"/>
                </a:lnTo>
                <a:close/>
                <a:moveTo>
                  <a:pt x="775372" y="4149296"/>
                </a:moveTo>
                <a:lnTo>
                  <a:pt x="775217" y="4149399"/>
                </a:lnTo>
                <a:cubicBezTo>
                  <a:pt x="774443" y="4149915"/>
                  <a:pt x="773668" y="4150431"/>
                  <a:pt x="772893" y="4150741"/>
                </a:cubicBezTo>
                <a:lnTo>
                  <a:pt x="771654" y="4151051"/>
                </a:lnTo>
                <a:cubicBezTo>
                  <a:pt x="772739" y="4151464"/>
                  <a:pt x="773823" y="4152083"/>
                  <a:pt x="774907" y="4152290"/>
                </a:cubicBezTo>
                <a:cubicBezTo>
                  <a:pt x="775837" y="4152497"/>
                  <a:pt x="776611" y="4152393"/>
                  <a:pt x="776921" y="4151774"/>
                </a:cubicBezTo>
                <a:close/>
                <a:moveTo>
                  <a:pt x="717286" y="4147953"/>
                </a:moveTo>
                <a:cubicBezTo>
                  <a:pt x="718835" y="4149915"/>
                  <a:pt x="718835" y="4150844"/>
                  <a:pt x="719610" y="4151774"/>
                </a:cubicBezTo>
                <a:cubicBezTo>
                  <a:pt x="719610" y="4150947"/>
                  <a:pt x="720384" y="4151980"/>
                  <a:pt x="720384" y="4151980"/>
                </a:cubicBezTo>
                <a:cubicBezTo>
                  <a:pt x="720384" y="4151980"/>
                  <a:pt x="720539" y="4151980"/>
                  <a:pt x="722243" y="4150535"/>
                </a:cubicBezTo>
                <a:cubicBezTo>
                  <a:pt x="722243" y="4150535"/>
                  <a:pt x="726580" y="4147746"/>
                  <a:pt x="730607" y="4151877"/>
                </a:cubicBezTo>
                <a:cubicBezTo>
                  <a:pt x="729833" y="4152393"/>
                  <a:pt x="732311" y="4155904"/>
                  <a:pt x="732776" y="4159002"/>
                </a:cubicBezTo>
                <a:lnTo>
                  <a:pt x="732621" y="4160757"/>
                </a:lnTo>
                <a:lnTo>
                  <a:pt x="734324" y="4164990"/>
                </a:lnTo>
                <a:cubicBezTo>
                  <a:pt x="735719" y="4176142"/>
                  <a:pt x="715117" y="4190081"/>
                  <a:pt x="706908" y="4192353"/>
                </a:cubicBezTo>
                <a:cubicBezTo>
                  <a:pt x="710935" y="4184609"/>
                  <a:pt x="717286" y="4173457"/>
                  <a:pt x="724566" y="4166126"/>
                </a:cubicBezTo>
                <a:lnTo>
                  <a:pt x="725031" y="4165816"/>
                </a:lnTo>
                <a:lnTo>
                  <a:pt x="722862" y="4165403"/>
                </a:lnTo>
                <a:cubicBezTo>
                  <a:pt x="721933" y="4164990"/>
                  <a:pt x="720849" y="4164268"/>
                  <a:pt x="719764" y="4163235"/>
                </a:cubicBezTo>
                <a:cubicBezTo>
                  <a:pt x="714962" y="4158072"/>
                  <a:pt x="719455" y="4153529"/>
                  <a:pt x="718680" y="4153426"/>
                </a:cubicBezTo>
                <a:cubicBezTo>
                  <a:pt x="717906" y="4152393"/>
                  <a:pt x="717906" y="4152393"/>
                  <a:pt x="717131" y="4152290"/>
                </a:cubicBezTo>
                <a:cubicBezTo>
                  <a:pt x="717131" y="4151361"/>
                  <a:pt x="716511" y="4149502"/>
                  <a:pt x="715737" y="4148469"/>
                </a:cubicBezTo>
                <a:cubicBezTo>
                  <a:pt x="716511" y="4148676"/>
                  <a:pt x="717286" y="4148779"/>
                  <a:pt x="717286" y="4147953"/>
                </a:cubicBezTo>
                <a:close/>
                <a:moveTo>
                  <a:pt x="1355769" y="4146714"/>
                </a:moveTo>
                <a:cubicBezTo>
                  <a:pt x="1355769" y="4146714"/>
                  <a:pt x="1355924" y="4146714"/>
                  <a:pt x="1356698" y="4147746"/>
                </a:cubicBezTo>
                <a:cubicBezTo>
                  <a:pt x="1355459" y="4147540"/>
                  <a:pt x="1354530" y="4149399"/>
                  <a:pt x="1353445" y="4149502"/>
                </a:cubicBezTo>
                <a:cubicBezTo>
                  <a:pt x="1353135" y="4149605"/>
                  <a:pt x="1352825" y="4149502"/>
                  <a:pt x="1352361" y="4148985"/>
                </a:cubicBezTo>
                <a:cubicBezTo>
                  <a:pt x="1353291" y="4148160"/>
                  <a:pt x="1354994" y="4147437"/>
                  <a:pt x="1355769" y="4146714"/>
                </a:cubicBezTo>
                <a:close/>
                <a:moveTo>
                  <a:pt x="5117338" y="4146035"/>
                </a:moveTo>
                <a:cubicBezTo>
                  <a:pt x="5119158" y="4146783"/>
                  <a:pt x="5121133" y="4148177"/>
                  <a:pt x="5123766" y="4148797"/>
                </a:cubicBezTo>
                <a:cubicBezTo>
                  <a:pt x="5122837" y="4151069"/>
                  <a:pt x="5120668" y="4152308"/>
                  <a:pt x="5118345" y="4152721"/>
                </a:cubicBezTo>
                <a:cubicBezTo>
                  <a:pt x="5116021" y="4153031"/>
                  <a:pt x="5113698" y="4152514"/>
                  <a:pt x="5112458" y="4151069"/>
                </a:cubicBezTo>
                <a:cubicBezTo>
                  <a:pt x="5111684" y="4150139"/>
                  <a:pt x="5111374" y="4148797"/>
                  <a:pt x="5111839" y="4147145"/>
                </a:cubicBezTo>
                <a:cubicBezTo>
                  <a:pt x="5113853" y="4145183"/>
                  <a:pt x="5115518" y="4145286"/>
                  <a:pt x="5117338" y="4146035"/>
                </a:cubicBezTo>
                <a:close/>
                <a:moveTo>
                  <a:pt x="5861382" y="4145183"/>
                </a:moveTo>
                <a:lnTo>
                  <a:pt x="5859678" y="4145390"/>
                </a:lnTo>
                <a:lnTo>
                  <a:pt x="5862002" y="4145699"/>
                </a:lnTo>
                <a:lnTo>
                  <a:pt x="5862157" y="4145699"/>
                </a:lnTo>
                <a:close/>
                <a:moveTo>
                  <a:pt x="5385270" y="4143324"/>
                </a:moveTo>
                <a:cubicBezTo>
                  <a:pt x="5386974" y="4144254"/>
                  <a:pt x="5387864" y="4146680"/>
                  <a:pt x="5387399" y="4149210"/>
                </a:cubicBezTo>
                <a:cubicBezTo>
                  <a:pt x="5387090" y="4150965"/>
                  <a:pt x="5386160" y="4152617"/>
                  <a:pt x="5384456" y="4154063"/>
                </a:cubicBezTo>
                <a:cubicBezTo>
                  <a:pt x="5383837" y="4153960"/>
                  <a:pt x="5383218" y="4153650"/>
                  <a:pt x="5382443" y="4153134"/>
                </a:cubicBezTo>
                <a:lnTo>
                  <a:pt x="5382133" y="4152927"/>
                </a:lnTo>
                <a:lnTo>
                  <a:pt x="5379190" y="4157264"/>
                </a:lnTo>
                <a:cubicBezTo>
                  <a:pt x="5378261" y="4156644"/>
                  <a:pt x="5377641" y="4155818"/>
                  <a:pt x="5377331" y="4154786"/>
                </a:cubicBezTo>
                <a:cubicBezTo>
                  <a:pt x="5376867" y="4153237"/>
                  <a:pt x="5376867" y="4151378"/>
                  <a:pt x="5377331" y="4149623"/>
                </a:cubicBezTo>
                <a:lnTo>
                  <a:pt x="5378725" y="4147558"/>
                </a:lnTo>
                <a:lnTo>
                  <a:pt x="5378261" y="4146422"/>
                </a:lnTo>
                <a:cubicBezTo>
                  <a:pt x="5381049" y="4142963"/>
                  <a:pt x="5383566" y="4142395"/>
                  <a:pt x="5385270" y="4143324"/>
                </a:cubicBezTo>
                <a:close/>
                <a:moveTo>
                  <a:pt x="5709274" y="4142395"/>
                </a:moveTo>
                <a:cubicBezTo>
                  <a:pt x="5710513" y="4143531"/>
                  <a:pt x="5711133" y="4144770"/>
                  <a:pt x="5711443" y="4146009"/>
                </a:cubicBezTo>
                <a:lnTo>
                  <a:pt x="5711288" y="4146732"/>
                </a:lnTo>
                <a:lnTo>
                  <a:pt x="5712062" y="4147455"/>
                </a:lnTo>
                <a:lnTo>
                  <a:pt x="5710823" y="4148281"/>
                </a:lnTo>
                <a:lnTo>
                  <a:pt x="5710513" y="4149623"/>
                </a:lnTo>
                <a:cubicBezTo>
                  <a:pt x="5708809" y="4150242"/>
                  <a:pt x="5707105" y="4149107"/>
                  <a:pt x="5705557" y="4147971"/>
                </a:cubicBezTo>
                <a:cubicBezTo>
                  <a:pt x="5704317" y="4146938"/>
                  <a:pt x="5704008" y="4146009"/>
                  <a:pt x="5704162" y="4145183"/>
                </a:cubicBezTo>
                <a:cubicBezTo>
                  <a:pt x="5704317" y="4144254"/>
                  <a:pt x="5704937" y="4143531"/>
                  <a:pt x="5705866" y="4142808"/>
                </a:cubicBezTo>
                <a:cubicBezTo>
                  <a:pt x="5707570" y="4141260"/>
                  <a:pt x="5709274" y="4142395"/>
                  <a:pt x="5709274" y="4142395"/>
                </a:cubicBezTo>
                <a:close/>
                <a:moveTo>
                  <a:pt x="5776034" y="4142085"/>
                </a:moveTo>
                <a:cubicBezTo>
                  <a:pt x="5779287" y="4143015"/>
                  <a:pt x="5779752" y="4145699"/>
                  <a:pt x="5780062" y="4148281"/>
                </a:cubicBezTo>
                <a:cubicBezTo>
                  <a:pt x="5780216" y="4150242"/>
                  <a:pt x="5780527" y="4150965"/>
                  <a:pt x="5782075" y="4151998"/>
                </a:cubicBezTo>
                <a:cubicBezTo>
                  <a:pt x="5782075" y="4151998"/>
                  <a:pt x="5782075" y="4151998"/>
                  <a:pt x="5781301" y="4154373"/>
                </a:cubicBezTo>
                <a:lnTo>
                  <a:pt x="5780527" y="4154786"/>
                </a:lnTo>
                <a:cubicBezTo>
                  <a:pt x="5780062" y="4154889"/>
                  <a:pt x="5779597" y="4154373"/>
                  <a:pt x="5779132" y="4153650"/>
                </a:cubicBezTo>
                <a:cubicBezTo>
                  <a:pt x="5777738" y="4151275"/>
                  <a:pt x="5776344" y="4146526"/>
                  <a:pt x="5776034" y="4146009"/>
                </a:cubicBezTo>
                <a:cubicBezTo>
                  <a:pt x="5776034" y="4146009"/>
                  <a:pt x="5775725" y="4145286"/>
                  <a:pt x="5775260" y="4144460"/>
                </a:cubicBezTo>
                <a:cubicBezTo>
                  <a:pt x="5775725" y="4143325"/>
                  <a:pt x="5776344" y="4142808"/>
                  <a:pt x="5776034" y="4142085"/>
                </a:cubicBezTo>
                <a:close/>
                <a:moveTo>
                  <a:pt x="5408930" y="4141569"/>
                </a:moveTo>
                <a:cubicBezTo>
                  <a:pt x="5408930" y="4141569"/>
                  <a:pt x="5408930" y="4141569"/>
                  <a:pt x="5409860" y="4141569"/>
                </a:cubicBezTo>
                <a:cubicBezTo>
                  <a:pt x="5409395" y="4145080"/>
                  <a:pt x="5410944" y="4149416"/>
                  <a:pt x="5409550" y="4152204"/>
                </a:cubicBezTo>
                <a:cubicBezTo>
                  <a:pt x="5409240" y="4152617"/>
                  <a:pt x="5408930" y="4153134"/>
                  <a:pt x="5408310" y="4153237"/>
                </a:cubicBezTo>
                <a:cubicBezTo>
                  <a:pt x="5407846" y="4153443"/>
                  <a:pt x="5407226" y="4153237"/>
                  <a:pt x="5406297" y="4152411"/>
                </a:cubicBezTo>
                <a:cubicBezTo>
                  <a:pt x="5404438" y="4151585"/>
                  <a:pt x="5404438" y="4150759"/>
                  <a:pt x="5405677" y="4147971"/>
                </a:cubicBezTo>
                <a:cubicBezTo>
                  <a:pt x="5407071" y="4146112"/>
                  <a:pt x="5407691" y="4144357"/>
                  <a:pt x="5408465" y="4144357"/>
                </a:cubicBezTo>
                <a:cubicBezTo>
                  <a:pt x="5408310" y="4143428"/>
                  <a:pt x="5409085" y="4142498"/>
                  <a:pt x="5408930" y="4141569"/>
                </a:cubicBezTo>
                <a:close/>
                <a:moveTo>
                  <a:pt x="5244275" y="4141466"/>
                </a:moveTo>
                <a:cubicBezTo>
                  <a:pt x="5245360" y="4141156"/>
                  <a:pt x="5246444" y="4140846"/>
                  <a:pt x="5247993" y="4141672"/>
                </a:cubicBezTo>
                <a:cubicBezTo>
                  <a:pt x="5248922" y="4144047"/>
                  <a:pt x="5247063" y="4145906"/>
                  <a:pt x="5247528" y="4147042"/>
                </a:cubicBezTo>
                <a:cubicBezTo>
                  <a:pt x="5246754" y="4146629"/>
                  <a:pt x="5245205" y="4145803"/>
                  <a:pt x="5243656" y="4146938"/>
                </a:cubicBezTo>
                <a:cubicBezTo>
                  <a:pt x="5242881" y="4144564"/>
                  <a:pt x="5242107" y="4142085"/>
                  <a:pt x="5244275" y="4141466"/>
                </a:cubicBezTo>
                <a:close/>
                <a:moveTo>
                  <a:pt x="5448274" y="4140330"/>
                </a:moveTo>
                <a:cubicBezTo>
                  <a:pt x="5451062" y="4141363"/>
                  <a:pt x="5453386" y="4139813"/>
                  <a:pt x="5457258" y="4142085"/>
                </a:cubicBezTo>
                <a:lnTo>
                  <a:pt x="5454779" y="4153547"/>
                </a:lnTo>
                <a:lnTo>
                  <a:pt x="5455089" y="4155096"/>
                </a:lnTo>
                <a:cubicBezTo>
                  <a:pt x="5455244" y="4156025"/>
                  <a:pt x="5455089" y="4156851"/>
                  <a:pt x="5454625" y="4157264"/>
                </a:cubicBezTo>
                <a:lnTo>
                  <a:pt x="5453850" y="4157677"/>
                </a:lnTo>
                <a:lnTo>
                  <a:pt x="5452301" y="4164699"/>
                </a:lnTo>
                <a:cubicBezTo>
                  <a:pt x="5450907" y="4172030"/>
                  <a:pt x="5449668" y="4178948"/>
                  <a:pt x="5447345" y="4185246"/>
                </a:cubicBezTo>
                <a:cubicBezTo>
                  <a:pt x="5439909" y="4173475"/>
                  <a:pt x="5446105" y="4155922"/>
                  <a:pt x="5448274" y="4140330"/>
                </a:cubicBezTo>
                <a:close/>
                <a:moveTo>
                  <a:pt x="1373736" y="4139486"/>
                </a:moveTo>
                <a:cubicBezTo>
                  <a:pt x="1374511" y="4141345"/>
                  <a:pt x="1374511" y="4141345"/>
                  <a:pt x="1373582" y="4142997"/>
                </a:cubicBezTo>
                <a:cubicBezTo>
                  <a:pt x="1372807" y="4142894"/>
                  <a:pt x="1372807" y="4143719"/>
                  <a:pt x="1372033" y="4142790"/>
                </a:cubicBezTo>
                <a:cubicBezTo>
                  <a:pt x="1371103" y="4144030"/>
                  <a:pt x="1368780" y="4145062"/>
                  <a:pt x="1366147" y="4145578"/>
                </a:cubicBezTo>
                <a:cubicBezTo>
                  <a:pt x="1363668" y="4146198"/>
                  <a:pt x="1360880" y="4146301"/>
                  <a:pt x="1359176" y="4145578"/>
                </a:cubicBezTo>
                <a:cubicBezTo>
                  <a:pt x="1365372" y="4138453"/>
                  <a:pt x="1370328" y="4143410"/>
                  <a:pt x="1373736" y="4139486"/>
                </a:cubicBezTo>
                <a:close/>
                <a:moveTo>
                  <a:pt x="5182782" y="4138988"/>
                </a:moveTo>
                <a:cubicBezTo>
                  <a:pt x="5184021" y="4139710"/>
                  <a:pt x="5184950" y="4140743"/>
                  <a:pt x="5185260" y="4142292"/>
                </a:cubicBezTo>
                <a:cubicBezTo>
                  <a:pt x="5185725" y="4144254"/>
                  <a:pt x="5185260" y="4146732"/>
                  <a:pt x="5183092" y="4149623"/>
                </a:cubicBezTo>
                <a:cubicBezTo>
                  <a:pt x="5178909" y="4150036"/>
                  <a:pt x="5177360" y="4148074"/>
                  <a:pt x="5174417" y="4147351"/>
                </a:cubicBezTo>
                <a:cubicBezTo>
                  <a:pt x="5173643" y="4138575"/>
                  <a:pt x="5179374" y="4136819"/>
                  <a:pt x="5182782" y="4138988"/>
                </a:cubicBezTo>
                <a:close/>
                <a:moveTo>
                  <a:pt x="5661198" y="4138833"/>
                </a:moveTo>
                <a:cubicBezTo>
                  <a:pt x="5663076" y="4137103"/>
                  <a:pt x="5665516" y="4136406"/>
                  <a:pt x="5667142" y="4139194"/>
                </a:cubicBezTo>
                <a:cubicBezTo>
                  <a:pt x="5667607" y="4139917"/>
                  <a:pt x="5667607" y="4140846"/>
                  <a:pt x="5667142" y="4141775"/>
                </a:cubicBezTo>
                <a:cubicBezTo>
                  <a:pt x="5666058" y="4143944"/>
                  <a:pt x="5662960" y="4146009"/>
                  <a:pt x="5660636" y="4145803"/>
                </a:cubicBezTo>
                <a:cubicBezTo>
                  <a:pt x="5659862" y="4145699"/>
                  <a:pt x="5659088" y="4145390"/>
                  <a:pt x="5658623" y="4144667"/>
                </a:cubicBezTo>
                <a:cubicBezTo>
                  <a:pt x="5658004" y="4143324"/>
                  <a:pt x="5659320" y="4140562"/>
                  <a:pt x="5661198" y="4138833"/>
                </a:cubicBezTo>
                <a:close/>
                <a:moveTo>
                  <a:pt x="5188203" y="4137129"/>
                </a:moveTo>
                <a:cubicBezTo>
                  <a:pt x="5191766" y="4138265"/>
                  <a:pt x="5194399" y="4138678"/>
                  <a:pt x="5196722" y="4139194"/>
                </a:cubicBezTo>
                <a:lnTo>
                  <a:pt x="5197187" y="4139401"/>
                </a:lnTo>
                <a:lnTo>
                  <a:pt x="5198581" y="4137645"/>
                </a:lnTo>
                <a:cubicBezTo>
                  <a:pt x="5199665" y="4137232"/>
                  <a:pt x="5201214" y="4137336"/>
                  <a:pt x="5203073" y="4137232"/>
                </a:cubicBezTo>
                <a:cubicBezTo>
                  <a:pt x="5202918" y="4138471"/>
                  <a:pt x="5206481" y="4139298"/>
                  <a:pt x="5207720" y="4139607"/>
                </a:cubicBezTo>
                <a:cubicBezTo>
                  <a:pt x="5207255" y="4141982"/>
                  <a:pt x="5211283" y="4143634"/>
                  <a:pt x="5210818" y="4147248"/>
                </a:cubicBezTo>
                <a:cubicBezTo>
                  <a:pt x="5209424" y="4148177"/>
                  <a:pt x="5208649" y="4148694"/>
                  <a:pt x="5206791" y="4148797"/>
                </a:cubicBezTo>
                <a:cubicBezTo>
                  <a:pt x="5204622" y="4148074"/>
                  <a:pt x="5202918" y="4147248"/>
                  <a:pt x="5201679" y="4146422"/>
                </a:cubicBezTo>
                <a:lnTo>
                  <a:pt x="5198736" y="4143737"/>
                </a:lnTo>
                <a:lnTo>
                  <a:pt x="5196103" y="4143428"/>
                </a:lnTo>
                <a:cubicBezTo>
                  <a:pt x="5194399" y="4143015"/>
                  <a:pt x="5193160" y="4142498"/>
                  <a:pt x="5193160" y="4142085"/>
                </a:cubicBezTo>
                <a:cubicBezTo>
                  <a:pt x="5192230" y="4142189"/>
                  <a:pt x="5192230" y="4141260"/>
                  <a:pt x="5191301" y="4141363"/>
                </a:cubicBezTo>
                <a:cubicBezTo>
                  <a:pt x="5191301" y="4141363"/>
                  <a:pt x="5190527" y="4141363"/>
                  <a:pt x="5189442" y="4140537"/>
                </a:cubicBezTo>
                <a:cubicBezTo>
                  <a:pt x="5188513" y="4139710"/>
                  <a:pt x="5187584" y="4138884"/>
                  <a:pt x="5188203" y="4137129"/>
                </a:cubicBezTo>
                <a:close/>
                <a:moveTo>
                  <a:pt x="5563826" y="4136200"/>
                </a:moveTo>
                <a:lnTo>
                  <a:pt x="5566460" y="4137026"/>
                </a:lnTo>
                <a:lnTo>
                  <a:pt x="5566769" y="4136819"/>
                </a:lnTo>
                <a:cubicBezTo>
                  <a:pt x="5570642" y="4135477"/>
                  <a:pt x="5573895" y="4138471"/>
                  <a:pt x="5573275" y="4141879"/>
                </a:cubicBezTo>
                <a:cubicBezTo>
                  <a:pt x="5572811" y="4143428"/>
                  <a:pt x="5571726" y="4145080"/>
                  <a:pt x="5569403" y="4146422"/>
                </a:cubicBezTo>
                <a:lnTo>
                  <a:pt x="5568938" y="4146009"/>
                </a:lnTo>
                <a:lnTo>
                  <a:pt x="5568473" y="4147042"/>
                </a:lnTo>
                <a:cubicBezTo>
                  <a:pt x="5567080" y="4148797"/>
                  <a:pt x="5565376" y="4150242"/>
                  <a:pt x="5563672" y="4151585"/>
                </a:cubicBezTo>
                <a:cubicBezTo>
                  <a:pt x="5552364" y="4149210"/>
                  <a:pt x="5561193" y="4141466"/>
                  <a:pt x="5563826" y="4136200"/>
                </a:cubicBezTo>
                <a:close/>
                <a:moveTo>
                  <a:pt x="566417" y="4134943"/>
                </a:moveTo>
                <a:cubicBezTo>
                  <a:pt x="569051" y="4134943"/>
                  <a:pt x="571684" y="4136182"/>
                  <a:pt x="575711" y="4140002"/>
                </a:cubicBezTo>
                <a:cubicBezTo>
                  <a:pt x="565023" y="4147643"/>
                  <a:pt x="579738" y="4152703"/>
                  <a:pt x="571684" y="4159002"/>
                </a:cubicBezTo>
                <a:cubicBezTo>
                  <a:pt x="567811" y="4159931"/>
                  <a:pt x="563784" y="4162306"/>
                  <a:pt x="559137" y="4161893"/>
                </a:cubicBezTo>
                <a:cubicBezTo>
                  <a:pt x="557742" y="4161686"/>
                  <a:pt x="556194" y="4161273"/>
                  <a:pt x="554490" y="4160344"/>
                </a:cubicBezTo>
                <a:cubicBezTo>
                  <a:pt x="561150" y="4151464"/>
                  <a:pt x="562389" y="4143823"/>
                  <a:pt x="566417" y="4134943"/>
                </a:cubicBezTo>
                <a:close/>
                <a:moveTo>
                  <a:pt x="5236376" y="4134238"/>
                </a:moveTo>
                <a:cubicBezTo>
                  <a:pt x="5238854" y="4133412"/>
                  <a:pt x="5244275" y="4134548"/>
                  <a:pt x="5245979" y="4138471"/>
                </a:cubicBezTo>
                <a:cubicBezTo>
                  <a:pt x="5244740" y="4141053"/>
                  <a:pt x="5243191" y="4142395"/>
                  <a:pt x="5241487" y="4142705"/>
                </a:cubicBezTo>
                <a:cubicBezTo>
                  <a:pt x="5239784" y="4143015"/>
                  <a:pt x="5237925" y="4142189"/>
                  <a:pt x="5235911" y="4140537"/>
                </a:cubicBezTo>
                <a:cubicBezTo>
                  <a:pt x="5236376" y="4138678"/>
                  <a:pt x="5236066" y="4136923"/>
                  <a:pt x="5236376" y="4134238"/>
                </a:cubicBezTo>
                <a:close/>
                <a:moveTo>
                  <a:pt x="5316302" y="4133205"/>
                </a:moveTo>
                <a:cubicBezTo>
                  <a:pt x="5318626" y="4131346"/>
                  <a:pt x="5325751" y="4135167"/>
                  <a:pt x="5328539" y="4137645"/>
                </a:cubicBezTo>
                <a:cubicBezTo>
                  <a:pt x="5327920" y="4138059"/>
                  <a:pt x="5326990" y="4138162"/>
                  <a:pt x="5326061" y="4138059"/>
                </a:cubicBezTo>
                <a:cubicBezTo>
                  <a:pt x="5322963" y="4137645"/>
                  <a:pt x="5318471" y="4134961"/>
                  <a:pt x="5316302" y="4133205"/>
                </a:cubicBezTo>
                <a:close/>
                <a:moveTo>
                  <a:pt x="5039967" y="4132586"/>
                </a:moveTo>
                <a:cubicBezTo>
                  <a:pt x="5041671" y="4132689"/>
                  <a:pt x="5044769" y="4133722"/>
                  <a:pt x="5045234" y="4135993"/>
                </a:cubicBezTo>
                <a:cubicBezTo>
                  <a:pt x="5045234" y="4135993"/>
                  <a:pt x="5045234" y="4135890"/>
                  <a:pt x="5045389" y="4137129"/>
                </a:cubicBezTo>
                <a:cubicBezTo>
                  <a:pt x="5043375" y="4135787"/>
                  <a:pt x="5040742" y="4134135"/>
                  <a:pt x="5039967" y="4132586"/>
                </a:cubicBezTo>
                <a:close/>
                <a:moveTo>
                  <a:pt x="5224158" y="4132418"/>
                </a:moveTo>
                <a:cubicBezTo>
                  <a:pt x="5228515" y="4132870"/>
                  <a:pt x="5231884" y="4135322"/>
                  <a:pt x="5231109" y="4139710"/>
                </a:cubicBezTo>
                <a:cubicBezTo>
                  <a:pt x="5230799" y="4140950"/>
                  <a:pt x="5230180" y="4142395"/>
                  <a:pt x="5229251" y="4143944"/>
                </a:cubicBezTo>
                <a:cubicBezTo>
                  <a:pt x="5227856" y="4144047"/>
                  <a:pt x="5225998" y="4144254"/>
                  <a:pt x="5224294" y="4144460"/>
                </a:cubicBezTo>
                <a:cubicBezTo>
                  <a:pt x="5222900" y="4144564"/>
                  <a:pt x="5221351" y="4144564"/>
                  <a:pt x="5219957" y="4144460"/>
                </a:cubicBezTo>
                <a:cubicBezTo>
                  <a:pt x="5215929" y="4144254"/>
                  <a:pt x="5212212" y="4142602"/>
                  <a:pt x="5211283" y="4137129"/>
                </a:cubicBezTo>
                <a:cubicBezTo>
                  <a:pt x="5214458" y="4133515"/>
                  <a:pt x="5219802" y="4131966"/>
                  <a:pt x="5224158" y="4132418"/>
                </a:cubicBezTo>
                <a:close/>
                <a:moveTo>
                  <a:pt x="5856890" y="4131450"/>
                </a:moveTo>
                <a:lnTo>
                  <a:pt x="5856116" y="4132586"/>
                </a:lnTo>
                <a:cubicBezTo>
                  <a:pt x="5854722" y="4133928"/>
                  <a:pt x="5852863" y="4135064"/>
                  <a:pt x="5850849" y="4136097"/>
                </a:cubicBezTo>
                <a:lnTo>
                  <a:pt x="5847752" y="4137232"/>
                </a:lnTo>
                <a:lnTo>
                  <a:pt x="5848371" y="4139504"/>
                </a:lnTo>
                <a:cubicBezTo>
                  <a:pt x="5849300" y="4141260"/>
                  <a:pt x="5850075" y="4143015"/>
                  <a:pt x="5850695" y="4145493"/>
                </a:cubicBezTo>
                <a:cubicBezTo>
                  <a:pt x="5851624" y="4147248"/>
                  <a:pt x="5852398" y="4149004"/>
                  <a:pt x="5853018" y="4151482"/>
                </a:cubicBezTo>
                <a:cubicBezTo>
                  <a:pt x="5854567" y="4155405"/>
                  <a:pt x="5856116" y="4159019"/>
                  <a:pt x="5857200" y="4162427"/>
                </a:cubicBezTo>
                <a:lnTo>
                  <a:pt x="5857510" y="4163769"/>
                </a:lnTo>
                <a:lnTo>
                  <a:pt x="5857820" y="4163976"/>
                </a:lnTo>
                <a:cubicBezTo>
                  <a:pt x="5864016" y="4168106"/>
                  <a:pt x="5869747" y="4172030"/>
                  <a:pt x="5874703" y="4176676"/>
                </a:cubicBezTo>
                <a:cubicBezTo>
                  <a:pt x="5871141" y="4177193"/>
                  <a:pt x="5867733" y="4176676"/>
                  <a:pt x="5864325" y="4175643"/>
                </a:cubicBezTo>
                <a:lnTo>
                  <a:pt x="5860298" y="4173785"/>
                </a:lnTo>
                <a:lnTo>
                  <a:pt x="5862931" y="4179877"/>
                </a:lnTo>
                <a:cubicBezTo>
                  <a:pt x="5864480" y="4182665"/>
                  <a:pt x="5866339" y="4185660"/>
                  <a:pt x="5867888" y="4188447"/>
                </a:cubicBezTo>
                <a:cubicBezTo>
                  <a:pt x="5870986" y="4194643"/>
                  <a:pt x="5873464" y="4200012"/>
                  <a:pt x="5870986" y="4203006"/>
                </a:cubicBezTo>
                <a:cubicBezTo>
                  <a:pt x="5873464" y="4210544"/>
                  <a:pt x="5876253" y="4217359"/>
                  <a:pt x="5878266" y="4223968"/>
                </a:cubicBezTo>
                <a:lnTo>
                  <a:pt x="5880589" y="4229234"/>
                </a:lnTo>
                <a:lnTo>
                  <a:pt x="5887405" y="4226033"/>
                </a:lnTo>
                <a:cubicBezTo>
                  <a:pt x="5891897" y="4230782"/>
                  <a:pt x="5893446" y="4236668"/>
                  <a:pt x="5892981" y="4242450"/>
                </a:cubicBezTo>
                <a:lnTo>
                  <a:pt x="5890193" y="4249162"/>
                </a:lnTo>
                <a:lnTo>
                  <a:pt x="5895924" y="4259591"/>
                </a:lnTo>
                <a:cubicBezTo>
                  <a:pt x="5898402" y="4264960"/>
                  <a:pt x="5901655" y="4270330"/>
                  <a:pt x="5904134" y="4275699"/>
                </a:cubicBezTo>
                <a:cubicBezTo>
                  <a:pt x="5902430" y="4276628"/>
                  <a:pt x="5900881" y="4274666"/>
                  <a:pt x="5899177" y="4275596"/>
                </a:cubicBezTo>
                <a:cubicBezTo>
                  <a:pt x="5898248" y="4275905"/>
                  <a:pt x="5897938" y="4276422"/>
                  <a:pt x="5897938" y="4276938"/>
                </a:cubicBezTo>
                <a:lnTo>
                  <a:pt x="5898712" y="4278487"/>
                </a:lnTo>
                <a:cubicBezTo>
                  <a:pt x="5899487" y="4279933"/>
                  <a:pt x="5901036" y="4280552"/>
                  <a:pt x="5902740" y="4281378"/>
                </a:cubicBezTo>
                <a:lnTo>
                  <a:pt x="5903514" y="4282101"/>
                </a:lnTo>
                <a:lnTo>
                  <a:pt x="5903669" y="4282101"/>
                </a:lnTo>
                <a:cubicBezTo>
                  <a:pt x="5904134" y="4280552"/>
                  <a:pt x="5901036" y="4277971"/>
                  <a:pt x="5904908" y="4277454"/>
                </a:cubicBezTo>
                <a:lnTo>
                  <a:pt x="5911259" y="4286025"/>
                </a:lnTo>
                <a:lnTo>
                  <a:pt x="5913428" y="4285921"/>
                </a:lnTo>
                <a:cubicBezTo>
                  <a:pt x="5913118" y="4287057"/>
                  <a:pt x="5916680" y="4287987"/>
                  <a:pt x="5917919" y="4288296"/>
                </a:cubicBezTo>
                <a:cubicBezTo>
                  <a:pt x="5917455" y="4290671"/>
                  <a:pt x="5921482" y="4292323"/>
                  <a:pt x="5921017" y="4295937"/>
                </a:cubicBezTo>
                <a:lnTo>
                  <a:pt x="5917764" y="4297279"/>
                </a:lnTo>
                <a:lnTo>
                  <a:pt x="5918229" y="4298105"/>
                </a:lnTo>
                <a:cubicBezTo>
                  <a:pt x="5922721" y="4306263"/>
                  <a:pt x="5927213" y="4314420"/>
                  <a:pt x="5932015" y="4319686"/>
                </a:cubicBezTo>
                <a:cubicBezTo>
                  <a:pt x="5929227" y="4321132"/>
                  <a:pt x="5927988" y="4316175"/>
                  <a:pt x="5925819" y="4318550"/>
                </a:cubicBezTo>
                <a:cubicBezTo>
                  <a:pt x="5928607" y="4325365"/>
                  <a:pt x="5936817" y="4318137"/>
                  <a:pt x="5935888" y="4326914"/>
                </a:cubicBezTo>
                <a:cubicBezTo>
                  <a:pt x="5933564" y="4327637"/>
                  <a:pt x="5931860" y="4326398"/>
                  <a:pt x="5930156" y="4322887"/>
                </a:cubicBezTo>
                <a:cubicBezTo>
                  <a:pt x="5928917" y="4330735"/>
                  <a:pt x="5941928" y="4334762"/>
                  <a:pt x="5941309" y="4339098"/>
                </a:cubicBezTo>
                <a:lnTo>
                  <a:pt x="5942238" y="4336104"/>
                </a:lnTo>
                <a:lnTo>
                  <a:pt x="5940224" y="4335381"/>
                </a:lnTo>
                <a:lnTo>
                  <a:pt x="5940689" y="4331354"/>
                </a:lnTo>
                <a:lnTo>
                  <a:pt x="5939760" y="4328979"/>
                </a:lnTo>
                <a:cubicBezTo>
                  <a:pt x="5938520" y="4327843"/>
                  <a:pt x="5937591" y="4325468"/>
                  <a:pt x="5937746" y="4323506"/>
                </a:cubicBezTo>
                <a:cubicBezTo>
                  <a:pt x="5938676" y="4321235"/>
                  <a:pt x="5940224" y="4320409"/>
                  <a:pt x="5941309" y="4320822"/>
                </a:cubicBezTo>
                <a:cubicBezTo>
                  <a:pt x="5950293" y="4322784"/>
                  <a:pt x="5949983" y="4331251"/>
                  <a:pt x="5951377" y="4332490"/>
                </a:cubicBezTo>
                <a:cubicBezTo>
                  <a:pt x="5950293" y="4335071"/>
                  <a:pt x="5949983" y="4335691"/>
                  <a:pt x="5947350" y="4335278"/>
                </a:cubicBezTo>
                <a:lnTo>
                  <a:pt x="5944717" y="4334555"/>
                </a:lnTo>
                <a:lnTo>
                  <a:pt x="5943478" y="4336517"/>
                </a:lnTo>
                <a:lnTo>
                  <a:pt x="5942703" y="4336310"/>
                </a:lnTo>
                <a:lnTo>
                  <a:pt x="5944407" y="4339821"/>
                </a:lnTo>
                <a:cubicBezTo>
                  <a:pt x="5945181" y="4341267"/>
                  <a:pt x="5946110" y="4342815"/>
                  <a:pt x="5947350" y="4344674"/>
                </a:cubicBezTo>
                <a:lnTo>
                  <a:pt x="5949673" y="4348907"/>
                </a:lnTo>
                <a:lnTo>
                  <a:pt x="5950138" y="4348495"/>
                </a:lnTo>
                <a:cubicBezTo>
                  <a:pt x="5951377" y="4348185"/>
                  <a:pt x="5954320" y="4347978"/>
                  <a:pt x="5953855" y="4348701"/>
                </a:cubicBezTo>
                <a:cubicBezTo>
                  <a:pt x="5954010" y="4349940"/>
                  <a:pt x="5954475" y="4349217"/>
                  <a:pt x="5955249" y="4349631"/>
                </a:cubicBezTo>
                <a:cubicBezTo>
                  <a:pt x="5955559" y="4351386"/>
                  <a:pt x="5955559" y="4352935"/>
                  <a:pt x="5955095" y="4354277"/>
                </a:cubicBezTo>
                <a:lnTo>
                  <a:pt x="5953855" y="4355516"/>
                </a:lnTo>
                <a:lnTo>
                  <a:pt x="5960826" y="4363260"/>
                </a:lnTo>
                <a:cubicBezTo>
                  <a:pt x="5963304" y="4365325"/>
                  <a:pt x="5965782" y="4366255"/>
                  <a:pt x="5967796" y="4365325"/>
                </a:cubicBezTo>
                <a:cubicBezTo>
                  <a:pt x="5969809" y="4368216"/>
                  <a:pt x="5965782" y="4369249"/>
                  <a:pt x="5969035" y="4372553"/>
                </a:cubicBezTo>
                <a:lnTo>
                  <a:pt x="5969809" y="4372760"/>
                </a:lnTo>
                <a:lnTo>
                  <a:pt x="5974456" y="4367597"/>
                </a:lnTo>
                <a:lnTo>
                  <a:pt x="5979413" y="4363776"/>
                </a:lnTo>
                <a:lnTo>
                  <a:pt x="5974921" y="4359956"/>
                </a:lnTo>
                <a:cubicBezTo>
                  <a:pt x="5972443" y="4357168"/>
                  <a:pt x="5970120" y="4354174"/>
                  <a:pt x="5968261" y="4350869"/>
                </a:cubicBezTo>
                <a:lnTo>
                  <a:pt x="5966712" y="4347359"/>
                </a:lnTo>
                <a:lnTo>
                  <a:pt x="5963614" y="4347978"/>
                </a:lnTo>
                <a:cubicBezTo>
                  <a:pt x="5962530" y="4347669"/>
                  <a:pt x="5961445" y="4347049"/>
                  <a:pt x="5960671" y="4345810"/>
                </a:cubicBezTo>
                <a:cubicBezTo>
                  <a:pt x="5961755" y="4344158"/>
                  <a:pt x="5961910" y="4342299"/>
                  <a:pt x="5962994" y="4340647"/>
                </a:cubicBezTo>
                <a:lnTo>
                  <a:pt x="5963769" y="4340544"/>
                </a:lnTo>
                <a:lnTo>
                  <a:pt x="5962065" y="4329599"/>
                </a:lnTo>
                <a:cubicBezTo>
                  <a:pt x="5961910" y="4325881"/>
                  <a:pt x="5962375" y="4322164"/>
                  <a:pt x="5963304" y="4318653"/>
                </a:cubicBezTo>
                <a:lnTo>
                  <a:pt x="5964078" y="4317105"/>
                </a:lnTo>
                <a:lnTo>
                  <a:pt x="5962530" y="4313904"/>
                </a:lnTo>
                <a:cubicBezTo>
                  <a:pt x="5962530" y="4312252"/>
                  <a:pt x="5962994" y="4310600"/>
                  <a:pt x="5964388" y="4309464"/>
                </a:cubicBezTo>
                <a:lnTo>
                  <a:pt x="5967177" y="4310600"/>
                </a:lnTo>
                <a:lnTo>
                  <a:pt x="5968106" y="4308534"/>
                </a:lnTo>
                <a:lnTo>
                  <a:pt x="5979723" y="4309567"/>
                </a:lnTo>
                <a:lnTo>
                  <a:pt x="5979878" y="4309567"/>
                </a:lnTo>
                <a:lnTo>
                  <a:pt x="5979878" y="4307708"/>
                </a:lnTo>
                <a:cubicBezTo>
                  <a:pt x="5979878" y="4305437"/>
                  <a:pt x="5979723" y="4303888"/>
                  <a:pt x="5976160" y="4304714"/>
                </a:cubicBezTo>
                <a:cubicBezTo>
                  <a:pt x="5977554" y="4302855"/>
                  <a:pt x="5977245" y="4299758"/>
                  <a:pt x="5976625" y="4297279"/>
                </a:cubicBezTo>
                <a:cubicBezTo>
                  <a:pt x="5975541" y="4293975"/>
                  <a:pt x="5973682" y="4291084"/>
                  <a:pt x="5971978" y="4287573"/>
                </a:cubicBezTo>
                <a:cubicBezTo>
                  <a:pt x="5970120" y="4288503"/>
                  <a:pt x="5970275" y="4290155"/>
                  <a:pt x="5971204" y="4291910"/>
                </a:cubicBezTo>
                <a:cubicBezTo>
                  <a:pt x="5968106" y="4292427"/>
                  <a:pt x="5968416" y="4287264"/>
                  <a:pt x="5967796" y="4282514"/>
                </a:cubicBezTo>
                <a:cubicBezTo>
                  <a:pt x="5967177" y="4277867"/>
                  <a:pt x="5965782" y="4273634"/>
                  <a:pt x="5960516" y="4274253"/>
                </a:cubicBezTo>
                <a:cubicBezTo>
                  <a:pt x="5961600" y="4273117"/>
                  <a:pt x="5962530" y="4272601"/>
                  <a:pt x="5962375" y="4271052"/>
                </a:cubicBezTo>
                <a:cubicBezTo>
                  <a:pt x="5959742" y="4270227"/>
                  <a:pt x="5960051" y="4273324"/>
                  <a:pt x="5956643" y="4270742"/>
                </a:cubicBezTo>
                <a:cubicBezTo>
                  <a:pt x="5955714" y="4266715"/>
                  <a:pt x="5957573" y="4268058"/>
                  <a:pt x="5960826" y="4266819"/>
                </a:cubicBezTo>
                <a:cubicBezTo>
                  <a:pt x="5955404" y="4265890"/>
                  <a:pt x="5950603" y="4262895"/>
                  <a:pt x="5945801" y="4259901"/>
                </a:cubicBezTo>
                <a:cubicBezTo>
                  <a:pt x="5947660" y="4258971"/>
                  <a:pt x="5949983" y="4255977"/>
                  <a:pt x="5946885" y="4250401"/>
                </a:cubicBezTo>
                <a:cubicBezTo>
                  <a:pt x="5945491" y="4260624"/>
                  <a:pt x="5936042" y="4247923"/>
                  <a:pt x="5942393" y="4244619"/>
                </a:cubicBezTo>
                <a:cubicBezTo>
                  <a:pt x="5940534" y="4243276"/>
                  <a:pt x="5934958" y="4240798"/>
                  <a:pt x="5935732" y="4244826"/>
                </a:cubicBezTo>
                <a:cubicBezTo>
                  <a:pt x="5934958" y="4242967"/>
                  <a:pt x="5938211" y="4231196"/>
                  <a:pt x="5928762" y="4231299"/>
                </a:cubicBezTo>
                <a:cubicBezTo>
                  <a:pt x="5929382" y="4228098"/>
                  <a:pt x="5929072" y="4225000"/>
                  <a:pt x="5928143" y="4222109"/>
                </a:cubicBezTo>
                <a:lnTo>
                  <a:pt x="5925355" y="4217049"/>
                </a:lnTo>
                <a:lnTo>
                  <a:pt x="5923960" y="4218805"/>
                </a:lnTo>
                <a:lnTo>
                  <a:pt x="5925199" y="4219424"/>
                </a:lnTo>
                <a:cubicBezTo>
                  <a:pt x="5925974" y="4220147"/>
                  <a:pt x="5926749" y="4221283"/>
                  <a:pt x="5927058" y="4223245"/>
                </a:cubicBezTo>
                <a:cubicBezTo>
                  <a:pt x="5925355" y="4224277"/>
                  <a:pt x="5924735" y="4221799"/>
                  <a:pt x="5923806" y="4220044"/>
                </a:cubicBezTo>
                <a:cubicBezTo>
                  <a:pt x="5920863" y="4223658"/>
                  <a:pt x="5919778" y="4227995"/>
                  <a:pt x="5919778" y="4232744"/>
                </a:cubicBezTo>
                <a:lnTo>
                  <a:pt x="5920863" y="4237597"/>
                </a:lnTo>
                <a:lnTo>
                  <a:pt x="5923341" y="4237391"/>
                </a:lnTo>
                <a:cubicBezTo>
                  <a:pt x="5924425" y="4237391"/>
                  <a:pt x="5925199" y="4237597"/>
                  <a:pt x="5925664" y="4238113"/>
                </a:cubicBezTo>
                <a:cubicBezTo>
                  <a:pt x="5925355" y="4238940"/>
                  <a:pt x="5925045" y="4239663"/>
                  <a:pt x="5923806" y="4239972"/>
                </a:cubicBezTo>
                <a:cubicBezTo>
                  <a:pt x="5922721" y="4240282"/>
                  <a:pt x="5923186" y="4239559"/>
                  <a:pt x="5922721" y="4240282"/>
                </a:cubicBezTo>
                <a:cubicBezTo>
                  <a:pt x="5921637" y="4240695"/>
                  <a:pt x="5922411" y="4241108"/>
                  <a:pt x="5922411" y="4241108"/>
                </a:cubicBezTo>
                <a:cubicBezTo>
                  <a:pt x="5922411" y="4241108"/>
                  <a:pt x="5921637" y="4240695"/>
                  <a:pt x="5921637" y="4240695"/>
                </a:cubicBezTo>
                <a:cubicBezTo>
                  <a:pt x="5921637" y="4240695"/>
                  <a:pt x="5921637" y="4240695"/>
                  <a:pt x="5921482" y="4240798"/>
                </a:cubicBezTo>
                <a:lnTo>
                  <a:pt x="5922411" y="4245341"/>
                </a:lnTo>
                <a:lnTo>
                  <a:pt x="5922566" y="4245341"/>
                </a:lnTo>
                <a:cubicBezTo>
                  <a:pt x="5925509" y="4245135"/>
                  <a:pt x="5928297" y="4245651"/>
                  <a:pt x="5930776" y="4246684"/>
                </a:cubicBezTo>
                <a:cubicBezTo>
                  <a:pt x="5938985" y="4249988"/>
                  <a:pt x="5944562" y="4259281"/>
                  <a:pt x="5943632" y="4270020"/>
                </a:cubicBezTo>
                <a:cubicBezTo>
                  <a:pt x="5942393" y="4270433"/>
                  <a:pt x="5941309" y="4270846"/>
                  <a:pt x="5941619" y="4271982"/>
                </a:cubicBezTo>
                <a:cubicBezTo>
                  <a:pt x="5938830" y="4273221"/>
                  <a:pt x="5936042" y="4273737"/>
                  <a:pt x="5933254" y="4273531"/>
                </a:cubicBezTo>
                <a:cubicBezTo>
                  <a:pt x="5924890" y="4273117"/>
                  <a:pt x="5916835" y="4267026"/>
                  <a:pt x="5914047" y="4259178"/>
                </a:cubicBezTo>
                <a:cubicBezTo>
                  <a:pt x="5913428" y="4257423"/>
                  <a:pt x="5912963" y="4255564"/>
                  <a:pt x="5912808" y="4253705"/>
                </a:cubicBezTo>
                <a:lnTo>
                  <a:pt x="5913428" y="4248336"/>
                </a:lnTo>
                <a:lnTo>
                  <a:pt x="5912343" y="4248233"/>
                </a:lnTo>
                <a:cubicBezTo>
                  <a:pt x="5910949" y="4247716"/>
                  <a:pt x="5910174" y="4246787"/>
                  <a:pt x="5909865" y="4245445"/>
                </a:cubicBezTo>
                <a:lnTo>
                  <a:pt x="5909865" y="4245135"/>
                </a:lnTo>
                <a:lnTo>
                  <a:pt x="5909090" y="4245135"/>
                </a:lnTo>
                <a:cubicBezTo>
                  <a:pt x="5908006" y="4243483"/>
                  <a:pt x="5908006" y="4243483"/>
                  <a:pt x="5908316" y="4242760"/>
                </a:cubicBezTo>
                <a:cubicBezTo>
                  <a:pt x="5908006" y="4243483"/>
                  <a:pt x="5907231" y="4243070"/>
                  <a:pt x="5906147" y="4243380"/>
                </a:cubicBezTo>
                <a:cubicBezTo>
                  <a:pt x="5901965" y="4245858"/>
                  <a:pt x="5899022" y="4242244"/>
                  <a:pt x="5896698" y="4237081"/>
                </a:cubicBezTo>
                <a:cubicBezTo>
                  <a:pt x="5897783" y="4236668"/>
                  <a:pt x="5896234" y="4233880"/>
                  <a:pt x="5896079" y="4231918"/>
                </a:cubicBezTo>
                <a:lnTo>
                  <a:pt x="5896389" y="4231402"/>
                </a:lnTo>
                <a:lnTo>
                  <a:pt x="5892981" y="4230576"/>
                </a:lnTo>
                <a:cubicBezTo>
                  <a:pt x="5893910" y="4228201"/>
                  <a:pt x="5894375" y="4227169"/>
                  <a:pt x="5894530" y="4225207"/>
                </a:cubicBezTo>
                <a:cubicBezTo>
                  <a:pt x="5897783" y="4226445"/>
                  <a:pt x="5900416" y="4226445"/>
                  <a:pt x="5902430" y="4226962"/>
                </a:cubicBezTo>
                <a:lnTo>
                  <a:pt x="5903824" y="4227581"/>
                </a:lnTo>
                <a:lnTo>
                  <a:pt x="5906147" y="4227788"/>
                </a:lnTo>
                <a:cubicBezTo>
                  <a:pt x="5908316" y="4228407"/>
                  <a:pt x="5910020" y="4229647"/>
                  <a:pt x="5910639" y="4231505"/>
                </a:cubicBezTo>
                <a:cubicBezTo>
                  <a:pt x="5911569" y="4233467"/>
                  <a:pt x="5912033" y="4235223"/>
                  <a:pt x="5912033" y="4236668"/>
                </a:cubicBezTo>
                <a:lnTo>
                  <a:pt x="5911414" y="4239559"/>
                </a:lnTo>
                <a:lnTo>
                  <a:pt x="5915751" y="4237391"/>
                </a:lnTo>
                <a:lnTo>
                  <a:pt x="5916061" y="4238630"/>
                </a:lnTo>
                <a:lnTo>
                  <a:pt x="5917145" y="4238320"/>
                </a:lnTo>
                <a:lnTo>
                  <a:pt x="5916370" y="4236048"/>
                </a:lnTo>
                <a:cubicBezTo>
                  <a:pt x="5916061" y="4233261"/>
                  <a:pt x="5916216" y="4230679"/>
                  <a:pt x="5916525" y="4229027"/>
                </a:cubicBezTo>
                <a:cubicBezTo>
                  <a:pt x="5915286" y="4228614"/>
                  <a:pt x="5914357" y="4227891"/>
                  <a:pt x="5913428" y="4226962"/>
                </a:cubicBezTo>
                <a:lnTo>
                  <a:pt x="5911259" y="4224277"/>
                </a:lnTo>
                <a:lnTo>
                  <a:pt x="5910794" y="4224484"/>
                </a:lnTo>
                <a:cubicBezTo>
                  <a:pt x="5905063" y="4224690"/>
                  <a:pt x="5899177" y="4222832"/>
                  <a:pt x="5894840" y="4219011"/>
                </a:cubicBezTo>
                <a:lnTo>
                  <a:pt x="5894220" y="4218289"/>
                </a:lnTo>
                <a:lnTo>
                  <a:pt x="5894685" y="4219631"/>
                </a:lnTo>
                <a:cubicBezTo>
                  <a:pt x="5894530" y="4220870"/>
                  <a:pt x="5894530" y="4220870"/>
                  <a:pt x="5893756" y="4221386"/>
                </a:cubicBezTo>
                <a:cubicBezTo>
                  <a:pt x="5892981" y="4223038"/>
                  <a:pt x="5892826" y="4224174"/>
                  <a:pt x="5890967" y="4224277"/>
                </a:cubicBezTo>
                <a:cubicBezTo>
                  <a:pt x="5889418" y="4224277"/>
                  <a:pt x="5888489" y="4223658"/>
                  <a:pt x="5888024" y="4222729"/>
                </a:cubicBezTo>
                <a:cubicBezTo>
                  <a:pt x="5887560" y="4221902"/>
                  <a:pt x="5887405" y="4220560"/>
                  <a:pt x="5887405" y="4219011"/>
                </a:cubicBezTo>
                <a:cubicBezTo>
                  <a:pt x="5887250" y="4215810"/>
                  <a:pt x="5889728" y="4215191"/>
                  <a:pt x="5890193" y="4212816"/>
                </a:cubicBezTo>
                <a:lnTo>
                  <a:pt x="5891432" y="4213745"/>
                </a:lnTo>
                <a:lnTo>
                  <a:pt x="5892981" y="4211164"/>
                </a:lnTo>
                <a:lnTo>
                  <a:pt x="5892826" y="4211267"/>
                </a:lnTo>
                <a:cubicBezTo>
                  <a:pt x="5893291" y="4208376"/>
                  <a:pt x="5892981" y="4206104"/>
                  <a:pt x="5892052" y="4204349"/>
                </a:cubicBezTo>
                <a:lnTo>
                  <a:pt x="5889418" y="4201251"/>
                </a:lnTo>
                <a:lnTo>
                  <a:pt x="5886475" y="4201044"/>
                </a:lnTo>
                <a:cubicBezTo>
                  <a:pt x="5880280" y="4198463"/>
                  <a:pt x="5875478" y="4190616"/>
                  <a:pt x="5873619" y="4185660"/>
                </a:cubicBezTo>
                <a:cubicBezTo>
                  <a:pt x="5877182" y="4187518"/>
                  <a:pt x="5880744" y="4189170"/>
                  <a:pt x="5884152" y="4191545"/>
                </a:cubicBezTo>
                <a:cubicBezTo>
                  <a:pt x="5885856" y="4192681"/>
                  <a:pt x="5887560" y="4194023"/>
                  <a:pt x="5889109" y="4195675"/>
                </a:cubicBezTo>
                <a:lnTo>
                  <a:pt x="5889883" y="4196811"/>
                </a:lnTo>
                <a:lnTo>
                  <a:pt x="5890503" y="4195262"/>
                </a:lnTo>
                <a:cubicBezTo>
                  <a:pt x="5889264" y="4192577"/>
                  <a:pt x="5881984" y="4190203"/>
                  <a:pt x="5884307" y="4185246"/>
                </a:cubicBezTo>
                <a:cubicBezTo>
                  <a:pt x="5880589" y="4181116"/>
                  <a:pt x="5882138" y="4191339"/>
                  <a:pt x="5877646" y="4187725"/>
                </a:cubicBezTo>
                <a:cubicBezTo>
                  <a:pt x="5875478" y="4181013"/>
                  <a:pt x="5874084" y="4172339"/>
                  <a:pt x="5872845" y="4163563"/>
                </a:cubicBezTo>
                <a:lnTo>
                  <a:pt x="5871915" y="4159639"/>
                </a:lnTo>
                <a:lnTo>
                  <a:pt x="5871141" y="4159742"/>
                </a:lnTo>
                <a:cubicBezTo>
                  <a:pt x="5870366" y="4160155"/>
                  <a:pt x="5869747" y="4158606"/>
                  <a:pt x="5869747" y="4158606"/>
                </a:cubicBezTo>
                <a:cubicBezTo>
                  <a:pt x="5868972" y="4159019"/>
                  <a:pt x="5868198" y="4159432"/>
                  <a:pt x="5867113" y="4159019"/>
                </a:cubicBezTo>
                <a:cubicBezTo>
                  <a:pt x="5867578" y="4157884"/>
                  <a:pt x="5866804" y="4158297"/>
                  <a:pt x="5866494" y="4157574"/>
                </a:cubicBezTo>
                <a:cubicBezTo>
                  <a:pt x="5866959" y="4157677"/>
                  <a:pt x="5867888" y="4157471"/>
                  <a:pt x="5868817" y="4157264"/>
                </a:cubicBezTo>
                <a:lnTo>
                  <a:pt x="5871141" y="4156748"/>
                </a:lnTo>
                <a:lnTo>
                  <a:pt x="5869902" y="4151172"/>
                </a:lnTo>
                <a:cubicBezTo>
                  <a:pt x="5868508" y="4147455"/>
                  <a:pt x="5866804" y="4144047"/>
                  <a:pt x="5864325" y="4141363"/>
                </a:cubicBezTo>
                <a:cubicBezTo>
                  <a:pt x="5863551" y="4141879"/>
                  <a:pt x="5863551" y="4143015"/>
                  <a:pt x="5863706" y="4144357"/>
                </a:cubicBezTo>
                <a:lnTo>
                  <a:pt x="5864016" y="4146422"/>
                </a:lnTo>
                <a:lnTo>
                  <a:pt x="5866804" y="4147455"/>
                </a:lnTo>
                <a:cubicBezTo>
                  <a:pt x="5867733" y="4148384"/>
                  <a:pt x="5867733" y="4149727"/>
                  <a:pt x="5867113" y="4151482"/>
                </a:cubicBezTo>
                <a:cubicBezTo>
                  <a:pt x="5866184" y="4151895"/>
                  <a:pt x="5863551" y="4152308"/>
                  <a:pt x="5863861" y="4153134"/>
                </a:cubicBezTo>
                <a:cubicBezTo>
                  <a:pt x="5861382" y="4152204"/>
                  <a:pt x="5858749" y="4150862"/>
                  <a:pt x="5857975" y="4149004"/>
                </a:cubicBezTo>
                <a:cubicBezTo>
                  <a:pt x="5857665" y="4148281"/>
                  <a:pt x="5857510" y="4147661"/>
                  <a:pt x="5857665" y="4146835"/>
                </a:cubicBezTo>
                <a:lnTo>
                  <a:pt x="5858904" y="4145390"/>
                </a:lnTo>
                <a:lnTo>
                  <a:pt x="5857975" y="4145493"/>
                </a:lnTo>
                <a:cubicBezTo>
                  <a:pt x="5859059" y="4144357"/>
                  <a:pt x="5857200" y="4136923"/>
                  <a:pt x="5856890" y="4142085"/>
                </a:cubicBezTo>
                <a:cubicBezTo>
                  <a:pt x="5855341" y="4140537"/>
                  <a:pt x="5856116" y="4137026"/>
                  <a:pt x="5856735" y="4133308"/>
                </a:cubicBezTo>
                <a:close/>
                <a:moveTo>
                  <a:pt x="5808717" y="4131450"/>
                </a:moveTo>
                <a:cubicBezTo>
                  <a:pt x="5810266" y="4132379"/>
                  <a:pt x="5811505" y="4134341"/>
                  <a:pt x="5812900" y="4136200"/>
                </a:cubicBezTo>
                <a:cubicBezTo>
                  <a:pt x="5811970" y="4137645"/>
                  <a:pt x="5811041" y="4138162"/>
                  <a:pt x="5810112" y="4138059"/>
                </a:cubicBezTo>
                <a:cubicBezTo>
                  <a:pt x="5809027" y="4137955"/>
                  <a:pt x="5808253" y="4137336"/>
                  <a:pt x="5807478" y="4136406"/>
                </a:cubicBezTo>
                <a:cubicBezTo>
                  <a:pt x="5806239" y="4134651"/>
                  <a:pt x="5806084" y="4132070"/>
                  <a:pt x="5808717" y="4131450"/>
                </a:cubicBezTo>
                <a:close/>
                <a:moveTo>
                  <a:pt x="5674268" y="4129592"/>
                </a:moveTo>
                <a:cubicBezTo>
                  <a:pt x="5675816" y="4127010"/>
                  <a:pt x="5678450" y="4128869"/>
                  <a:pt x="5681702" y="4129901"/>
                </a:cubicBezTo>
                <a:cubicBezTo>
                  <a:pt x="5680928" y="4130727"/>
                  <a:pt x="5681702" y="4131657"/>
                  <a:pt x="5682632" y="4132586"/>
                </a:cubicBezTo>
                <a:cubicBezTo>
                  <a:pt x="5681393" y="4133825"/>
                  <a:pt x="5679844" y="4135993"/>
                  <a:pt x="5677675" y="4135477"/>
                </a:cubicBezTo>
                <a:cubicBezTo>
                  <a:pt x="5676901" y="4135270"/>
                  <a:pt x="5676127" y="4134858"/>
                  <a:pt x="5675352" y="4133928"/>
                </a:cubicBezTo>
                <a:cubicBezTo>
                  <a:pt x="5674423" y="4133928"/>
                  <a:pt x="5673493" y="4130417"/>
                  <a:pt x="5674268" y="4129592"/>
                </a:cubicBezTo>
                <a:close/>
                <a:moveTo>
                  <a:pt x="5178290" y="4128972"/>
                </a:moveTo>
                <a:cubicBezTo>
                  <a:pt x="5181697" y="4127939"/>
                  <a:pt x="5184330" y="4130417"/>
                  <a:pt x="5188358" y="4129901"/>
                </a:cubicBezTo>
                <a:cubicBezTo>
                  <a:pt x="5189907" y="4132689"/>
                  <a:pt x="5194863" y="4132586"/>
                  <a:pt x="5196877" y="4136613"/>
                </a:cubicBezTo>
                <a:cubicBezTo>
                  <a:pt x="5195483" y="4137336"/>
                  <a:pt x="5193779" y="4137439"/>
                  <a:pt x="5191920" y="4137129"/>
                </a:cubicBezTo>
                <a:cubicBezTo>
                  <a:pt x="5186344" y="4136200"/>
                  <a:pt x="5179219" y="4131657"/>
                  <a:pt x="5178290" y="4128972"/>
                </a:cubicBezTo>
                <a:close/>
                <a:moveTo>
                  <a:pt x="5296940" y="4128352"/>
                </a:moveTo>
                <a:cubicBezTo>
                  <a:pt x="5298024" y="4129178"/>
                  <a:pt x="5298954" y="4129901"/>
                  <a:pt x="5299109" y="4131657"/>
                </a:cubicBezTo>
                <a:cubicBezTo>
                  <a:pt x="5297715" y="4133515"/>
                  <a:pt x="5295081" y="4132792"/>
                  <a:pt x="5294462" y="4133722"/>
                </a:cubicBezTo>
                <a:cubicBezTo>
                  <a:pt x="5294307" y="4132792"/>
                  <a:pt x="5293997" y="4131037"/>
                  <a:pt x="5292293" y="4130314"/>
                </a:cubicBezTo>
                <a:cubicBezTo>
                  <a:pt x="5293687" y="4128456"/>
                  <a:pt x="5295081" y="4126700"/>
                  <a:pt x="5296940" y="4128352"/>
                </a:cubicBezTo>
                <a:close/>
                <a:moveTo>
                  <a:pt x="5651343" y="4127939"/>
                </a:moveTo>
                <a:cubicBezTo>
                  <a:pt x="5652427" y="4128249"/>
                  <a:pt x="5653666" y="4128559"/>
                  <a:pt x="5652892" y="4128972"/>
                </a:cubicBezTo>
                <a:cubicBezTo>
                  <a:pt x="5653512" y="4129695"/>
                  <a:pt x="5652737" y="4130211"/>
                  <a:pt x="5652582" y="4131346"/>
                </a:cubicBezTo>
                <a:cubicBezTo>
                  <a:pt x="5651808" y="4132999"/>
                  <a:pt x="5649794" y="4134341"/>
                  <a:pt x="5648710" y="4134031"/>
                </a:cubicBezTo>
                <a:cubicBezTo>
                  <a:pt x="5647470" y="4133722"/>
                  <a:pt x="5647006" y="4132896"/>
                  <a:pt x="5647006" y="4132896"/>
                </a:cubicBezTo>
                <a:cubicBezTo>
                  <a:pt x="5646851" y="4129798"/>
                  <a:pt x="5647780" y="4127010"/>
                  <a:pt x="5651343" y="4127939"/>
                </a:cubicBezTo>
                <a:close/>
                <a:moveTo>
                  <a:pt x="5308093" y="4127010"/>
                </a:moveTo>
                <a:cubicBezTo>
                  <a:pt x="5309022" y="4126391"/>
                  <a:pt x="5310261" y="4126391"/>
                  <a:pt x="5311655" y="4127113"/>
                </a:cubicBezTo>
                <a:cubicBezTo>
                  <a:pt x="5315992" y="4129592"/>
                  <a:pt x="5314753" y="4133618"/>
                  <a:pt x="5312739" y="4137852"/>
                </a:cubicBezTo>
                <a:cubicBezTo>
                  <a:pt x="5310881" y="4137439"/>
                  <a:pt x="5309332" y="4137852"/>
                  <a:pt x="5307473" y="4137439"/>
                </a:cubicBezTo>
                <a:cubicBezTo>
                  <a:pt x="5305460" y="4135270"/>
                  <a:pt x="5305460" y="4128869"/>
                  <a:pt x="5308093" y="4127010"/>
                </a:cubicBezTo>
                <a:close/>
                <a:moveTo>
                  <a:pt x="5798959" y="4126597"/>
                </a:moveTo>
                <a:cubicBezTo>
                  <a:pt x="5799579" y="4128869"/>
                  <a:pt x="5799888" y="4130004"/>
                  <a:pt x="5800972" y="4131553"/>
                </a:cubicBezTo>
                <a:cubicBezTo>
                  <a:pt x="5795861" y="4133308"/>
                  <a:pt x="5793228" y="4136406"/>
                  <a:pt x="5790285" y="4136097"/>
                </a:cubicBezTo>
                <a:cubicBezTo>
                  <a:pt x="5789355" y="4135993"/>
                  <a:pt x="5788426" y="4135477"/>
                  <a:pt x="5787342" y="4134444"/>
                </a:cubicBezTo>
                <a:cubicBezTo>
                  <a:pt x="5788271" y="4131037"/>
                  <a:pt x="5794002" y="4128972"/>
                  <a:pt x="5798959" y="4126597"/>
                </a:cubicBezTo>
                <a:close/>
                <a:moveTo>
                  <a:pt x="5152112" y="4125564"/>
                </a:moveTo>
                <a:cubicBezTo>
                  <a:pt x="5153351" y="4125564"/>
                  <a:pt x="5155210" y="4125048"/>
                  <a:pt x="5156914" y="4125668"/>
                </a:cubicBezTo>
                <a:cubicBezTo>
                  <a:pt x="5157534" y="4128042"/>
                  <a:pt x="5156604" y="4129178"/>
                  <a:pt x="5155520" y="4129488"/>
                </a:cubicBezTo>
                <a:cubicBezTo>
                  <a:pt x="5154281" y="4129798"/>
                  <a:pt x="5152887" y="4129282"/>
                  <a:pt x="5152112" y="4128249"/>
                </a:cubicBezTo>
                <a:cubicBezTo>
                  <a:pt x="5151648" y="4127526"/>
                  <a:pt x="5151648" y="4126597"/>
                  <a:pt x="5152112" y="4125564"/>
                </a:cubicBezTo>
                <a:close/>
                <a:moveTo>
                  <a:pt x="5168066" y="4123086"/>
                </a:moveTo>
                <a:cubicBezTo>
                  <a:pt x="5171319" y="4124222"/>
                  <a:pt x="5173023" y="4126184"/>
                  <a:pt x="5174417" y="4127320"/>
                </a:cubicBezTo>
                <a:cubicBezTo>
                  <a:pt x="5173488" y="4129695"/>
                  <a:pt x="5173333" y="4131657"/>
                  <a:pt x="5172404" y="4134031"/>
                </a:cubicBezTo>
                <a:cubicBezTo>
                  <a:pt x="5171319" y="4134754"/>
                  <a:pt x="5170235" y="4135270"/>
                  <a:pt x="5169305" y="4135477"/>
                </a:cubicBezTo>
                <a:cubicBezTo>
                  <a:pt x="5168376" y="4135683"/>
                  <a:pt x="5167602" y="4135683"/>
                  <a:pt x="5166828" y="4135477"/>
                </a:cubicBezTo>
                <a:cubicBezTo>
                  <a:pt x="5165278" y="4135064"/>
                  <a:pt x="5164194" y="4133928"/>
                  <a:pt x="5163729" y="4132483"/>
                </a:cubicBezTo>
                <a:cubicBezTo>
                  <a:pt x="5162645" y="4129488"/>
                  <a:pt x="5163729" y="4125255"/>
                  <a:pt x="5168066" y="4123086"/>
                </a:cubicBezTo>
                <a:close/>
                <a:moveTo>
                  <a:pt x="1388296" y="4123068"/>
                </a:moveTo>
                <a:cubicBezTo>
                  <a:pt x="1386592" y="4123584"/>
                  <a:pt x="1385354" y="4124720"/>
                  <a:pt x="1383650" y="4125753"/>
                </a:cubicBezTo>
                <a:cubicBezTo>
                  <a:pt x="1384889" y="4126373"/>
                  <a:pt x="1385973" y="4126889"/>
                  <a:pt x="1387058" y="4125753"/>
                </a:cubicBezTo>
                <a:cubicBezTo>
                  <a:pt x="1378074" y="4130709"/>
                  <a:pt x="1368315" y="4136079"/>
                  <a:pt x="1358557" y="4141448"/>
                </a:cubicBezTo>
                <a:cubicBezTo>
                  <a:pt x="1356853" y="4142068"/>
                  <a:pt x="1355769" y="4143100"/>
                  <a:pt x="1354685" y="4143616"/>
                </a:cubicBezTo>
                <a:cubicBezTo>
                  <a:pt x="1354685" y="4143616"/>
                  <a:pt x="1354685" y="4143616"/>
                  <a:pt x="1348953" y="4146301"/>
                </a:cubicBezTo>
                <a:cubicBezTo>
                  <a:pt x="1348953" y="4146301"/>
                  <a:pt x="1348953" y="4146301"/>
                  <a:pt x="1348334" y="4146301"/>
                </a:cubicBezTo>
                <a:cubicBezTo>
                  <a:pt x="1348334" y="4146301"/>
                  <a:pt x="1348334" y="4146404"/>
                  <a:pt x="1348334" y="4146920"/>
                </a:cubicBezTo>
                <a:cubicBezTo>
                  <a:pt x="1348334" y="4146920"/>
                  <a:pt x="1348334" y="4146920"/>
                  <a:pt x="1347249" y="4147437"/>
                </a:cubicBezTo>
                <a:cubicBezTo>
                  <a:pt x="1345546" y="4147953"/>
                  <a:pt x="1344461" y="4148469"/>
                  <a:pt x="1342602" y="4148985"/>
                </a:cubicBezTo>
                <a:cubicBezTo>
                  <a:pt x="1341518" y="4149605"/>
                  <a:pt x="1339814" y="4149605"/>
                  <a:pt x="1338730" y="4150121"/>
                </a:cubicBezTo>
                <a:cubicBezTo>
                  <a:pt x="1337490" y="4150121"/>
                  <a:pt x="1336871" y="4150121"/>
                  <a:pt x="1336406" y="4150638"/>
                </a:cubicBezTo>
                <a:cubicBezTo>
                  <a:pt x="1335787" y="4150638"/>
                  <a:pt x="1335322" y="4150638"/>
                  <a:pt x="1335322" y="4150638"/>
                </a:cubicBezTo>
                <a:cubicBezTo>
                  <a:pt x="1334703" y="4150638"/>
                  <a:pt x="1334703" y="4150638"/>
                  <a:pt x="1333463" y="4150638"/>
                </a:cubicBezTo>
                <a:cubicBezTo>
                  <a:pt x="1332689" y="4151154"/>
                  <a:pt x="1332379" y="4151567"/>
                  <a:pt x="1332534" y="4151877"/>
                </a:cubicBezTo>
                <a:lnTo>
                  <a:pt x="1332999" y="4152083"/>
                </a:lnTo>
                <a:lnTo>
                  <a:pt x="1333309" y="4151877"/>
                </a:lnTo>
                <a:cubicBezTo>
                  <a:pt x="1334083" y="4151670"/>
                  <a:pt x="1334703" y="4151774"/>
                  <a:pt x="1335322" y="4152290"/>
                </a:cubicBezTo>
                <a:lnTo>
                  <a:pt x="1335787" y="4152290"/>
                </a:lnTo>
                <a:cubicBezTo>
                  <a:pt x="1335787" y="4152290"/>
                  <a:pt x="1336406" y="4152290"/>
                  <a:pt x="1336406" y="4151774"/>
                </a:cubicBezTo>
                <a:cubicBezTo>
                  <a:pt x="1336406" y="4152806"/>
                  <a:pt x="1336406" y="4152806"/>
                  <a:pt x="1335787" y="4153322"/>
                </a:cubicBezTo>
                <a:lnTo>
                  <a:pt x="1335633" y="4153529"/>
                </a:lnTo>
                <a:cubicBezTo>
                  <a:pt x="1335477" y="4153942"/>
                  <a:pt x="1335322" y="4154355"/>
                  <a:pt x="1335322" y="4154768"/>
                </a:cubicBezTo>
                <a:cubicBezTo>
                  <a:pt x="1334548" y="4156007"/>
                  <a:pt x="1331140" y="4157246"/>
                  <a:pt x="1329126" y="4157453"/>
                </a:cubicBezTo>
                <a:cubicBezTo>
                  <a:pt x="1328507" y="4157556"/>
                  <a:pt x="1328042" y="4157556"/>
                  <a:pt x="1327732" y="4157246"/>
                </a:cubicBezTo>
                <a:lnTo>
                  <a:pt x="1329126" y="4155594"/>
                </a:lnTo>
                <a:lnTo>
                  <a:pt x="1327268" y="4154974"/>
                </a:lnTo>
                <a:cubicBezTo>
                  <a:pt x="1322621" y="4159828"/>
                  <a:pt x="1318128" y="4161996"/>
                  <a:pt x="1313636" y="4163648"/>
                </a:cubicBezTo>
                <a:cubicBezTo>
                  <a:pt x="1311313" y="4164680"/>
                  <a:pt x="1308370" y="4165197"/>
                  <a:pt x="1306201" y="4166333"/>
                </a:cubicBezTo>
                <a:cubicBezTo>
                  <a:pt x="1305582" y="4166849"/>
                  <a:pt x="1304962" y="4166849"/>
                  <a:pt x="1304343" y="4167365"/>
                </a:cubicBezTo>
                <a:cubicBezTo>
                  <a:pt x="1303878" y="4167365"/>
                  <a:pt x="1303259" y="4167985"/>
                  <a:pt x="1302794" y="4168501"/>
                </a:cubicBezTo>
                <a:cubicBezTo>
                  <a:pt x="1301555" y="4169017"/>
                  <a:pt x="1300470" y="4169534"/>
                  <a:pt x="1299386" y="4170670"/>
                </a:cubicBezTo>
                <a:cubicBezTo>
                  <a:pt x="1297063" y="4167365"/>
                  <a:pt x="1293035" y="4169017"/>
                  <a:pt x="1289628" y="4170670"/>
                </a:cubicBezTo>
                <a:cubicBezTo>
                  <a:pt x="1286220" y="4172218"/>
                  <a:pt x="1282812" y="4173870"/>
                  <a:pt x="1282193" y="4171186"/>
                </a:cubicBezTo>
                <a:cubicBezTo>
                  <a:pt x="1275997" y="4172218"/>
                  <a:pt x="1284981" y="4175522"/>
                  <a:pt x="1281573" y="4176039"/>
                </a:cubicBezTo>
                <a:cubicBezTo>
                  <a:pt x="1279869" y="4176865"/>
                  <a:pt x="1275842" y="4178517"/>
                  <a:pt x="1271505" y="4180169"/>
                </a:cubicBezTo>
                <a:lnTo>
                  <a:pt x="1267322" y="4181821"/>
                </a:lnTo>
                <a:lnTo>
                  <a:pt x="1263295" y="4187500"/>
                </a:lnTo>
                <a:lnTo>
                  <a:pt x="1261591" y="4186984"/>
                </a:lnTo>
                <a:lnTo>
                  <a:pt x="1261902" y="4187707"/>
                </a:lnTo>
                <a:lnTo>
                  <a:pt x="1262985" y="4187500"/>
                </a:lnTo>
                <a:cubicBezTo>
                  <a:pt x="1262985" y="4187500"/>
                  <a:pt x="1262985" y="4187604"/>
                  <a:pt x="1264070" y="4187913"/>
                </a:cubicBezTo>
                <a:cubicBezTo>
                  <a:pt x="1261746" y="4189049"/>
                  <a:pt x="1258803" y="4190495"/>
                  <a:pt x="1256945" y="4190495"/>
                </a:cubicBezTo>
                <a:cubicBezTo>
                  <a:pt x="1257564" y="4189772"/>
                  <a:pt x="1258648" y="4188843"/>
                  <a:pt x="1259733" y="4188223"/>
                </a:cubicBezTo>
                <a:lnTo>
                  <a:pt x="1259888" y="4188120"/>
                </a:lnTo>
                <a:lnTo>
                  <a:pt x="1259888" y="4187190"/>
                </a:lnTo>
                <a:cubicBezTo>
                  <a:pt x="1259733" y="4186777"/>
                  <a:pt x="1259268" y="4186468"/>
                  <a:pt x="1258184" y="4186365"/>
                </a:cubicBezTo>
                <a:cubicBezTo>
                  <a:pt x="1258184" y="4187397"/>
                  <a:pt x="1257100" y="4187913"/>
                  <a:pt x="1256015" y="4188430"/>
                </a:cubicBezTo>
                <a:cubicBezTo>
                  <a:pt x="1254776" y="4188946"/>
                  <a:pt x="1253692" y="4189049"/>
                  <a:pt x="1252607" y="4189049"/>
                </a:cubicBezTo>
                <a:cubicBezTo>
                  <a:pt x="1249664" y="4189049"/>
                  <a:pt x="1247496" y="4189566"/>
                  <a:pt x="1246877" y="4193386"/>
                </a:cubicBezTo>
                <a:cubicBezTo>
                  <a:pt x="1243933" y="4193386"/>
                  <a:pt x="1243469" y="4192250"/>
                  <a:pt x="1244553" y="4190598"/>
                </a:cubicBezTo>
                <a:lnTo>
                  <a:pt x="1241145" y="4193386"/>
                </a:lnTo>
                <a:lnTo>
                  <a:pt x="1242075" y="4199994"/>
                </a:lnTo>
                <a:lnTo>
                  <a:pt x="1241920" y="4201337"/>
                </a:lnTo>
                <a:lnTo>
                  <a:pt x="1243933" y="4198755"/>
                </a:lnTo>
                <a:lnTo>
                  <a:pt x="1245172" y="4199788"/>
                </a:lnTo>
                <a:lnTo>
                  <a:pt x="1245327" y="4199788"/>
                </a:lnTo>
                <a:lnTo>
                  <a:pt x="1245637" y="4200304"/>
                </a:lnTo>
                <a:lnTo>
                  <a:pt x="1245947" y="4200614"/>
                </a:lnTo>
                <a:cubicBezTo>
                  <a:pt x="1246722" y="4201233"/>
                  <a:pt x="1247651" y="4201749"/>
                  <a:pt x="1249664" y="4201956"/>
                </a:cubicBezTo>
                <a:cubicBezTo>
                  <a:pt x="1251988" y="4199271"/>
                  <a:pt x="1256480" y="4198755"/>
                  <a:pt x="1259888" y="4197723"/>
                </a:cubicBezTo>
                <a:cubicBezTo>
                  <a:pt x="1263915" y="4197103"/>
                  <a:pt x="1267322" y="4195451"/>
                  <a:pt x="1268562" y="4191114"/>
                </a:cubicBezTo>
                <a:cubicBezTo>
                  <a:pt x="1271350" y="4190598"/>
                  <a:pt x="1273054" y="4192250"/>
                  <a:pt x="1275842" y="4191114"/>
                </a:cubicBezTo>
                <a:cubicBezTo>
                  <a:pt x="1278785" y="4189566"/>
                  <a:pt x="1273674" y="4188533"/>
                  <a:pt x="1271350" y="4190081"/>
                </a:cubicBezTo>
                <a:lnTo>
                  <a:pt x="1276616" y="4187397"/>
                </a:lnTo>
                <a:lnTo>
                  <a:pt x="1275842" y="4185848"/>
                </a:lnTo>
                <a:cubicBezTo>
                  <a:pt x="1279560" y="4183164"/>
                  <a:pt x="1282038" y="4183783"/>
                  <a:pt x="1284206" y="4186055"/>
                </a:cubicBezTo>
                <a:lnTo>
                  <a:pt x="1283896" y="4186881"/>
                </a:lnTo>
                <a:lnTo>
                  <a:pt x="1284516" y="4186881"/>
                </a:lnTo>
                <a:cubicBezTo>
                  <a:pt x="1289628" y="4186881"/>
                  <a:pt x="1294120" y="4186881"/>
                  <a:pt x="1296443" y="4183576"/>
                </a:cubicBezTo>
                <a:cubicBezTo>
                  <a:pt x="1300470" y="4183060"/>
                  <a:pt x="1295824" y="4186261"/>
                  <a:pt x="1298147" y="4187913"/>
                </a:cubicBezTo>
                <a:lnTo>
                  <a:pt x="1304033" y="4183783"/>
                </a:lnTo>
                <a:lnTo>
                  <a:pt x="1302174" y="4183267"/>
                </a:lnTo>
                <a:lnTo>
                  <a:pt x="1301710" y="4181511"/>
                </a:lnTo>
                <a:lnTo>
                  <a:pt x="1295824" y="4182544"/>
                </a:lnTo>
                <a:cubicBezTo>
                  <a:pt x="1296753" y="4181202"/>
                  <a:pt x="1298147" y="4180376"/>
                  <a:pt x="1299851" y="4179756"/>
                </a:cubicBezTo>
                <a:lnTo>
                  <a:pt x="1301090" y="4179446"/>
                </a:lnTo>
                <a:lnTo>
                  <a:pt x="1300780" y="4177898"/>
                </a:lnTo>
                <a:lnTo>
                  <a:pt x="1302639" y="4175213"/>
                </a:lnTo>
                <a:lnTo>
                  <a:pt x="1303104" y="4173251"/>
                </a:lnTo>
                <a:lnTo>
                  <a:pt x="1302949" y="4173044"/>
                </a:lnTo>
                <a:lnTo>
                  <a:pt x="1303259" y="4172941"/>
                </a:lnTo>
                <a:lnTo>
                  <a:pt x="1304343" y="4168914"/>
                </a:lnTo>
                <a:lnTo>
                  <a:pt x="1307750" y="4171392"/>
                </a:lnTo>
                <a:lnTo>
                  <a:pt x="1310849" y="4169843"/>
                </a:lnTo>
                <a:lnTo>
                  <a:pt x="1313018" y="4175522"/>
                </a:lnTo>
                <a:lnTo>
                  <a:pt x="1316424" y="4173354"/>
                </a:lnTo>
                <a:lnTo>
                  <a:pt x="1313482" y="4176555"/>
                </a:lnTo>
                <a:lnTo>
                  <a:pt x="1313636" y="4176865"/>
                </a:lnTo>
                <a:lnTo>
                  <a:pt x="1318284" y="4175522"/>
                </a:lnTo>
                <a:cubicBezTo>
                  <a:pt x="1321381" y="4174077"/>
                  <a:pt x="1319988" y="4173251"/>
                  <a:pt x="1327268" y="4176039"/>
                </a:cubicBezTo>
                <a:cubicBezTo>
                  <a:pt x="1329746" y="4175213"/>
                  <a:pt x="1330676" y="4174283"/>
                  <a:pt x="1331295" y="4173354"/>
                </a:cubicBezTo>
                <a:lnTo>
                  <a:pt x="1333309" y="4170979"/>
                </a:lnTo>
                <a:lnTo>
                  <a:pt x="1332689" y="4170463"/>
                </a:lnTo>
                <a:lnTo>
                  <a:pt x="1331295" y="4170256"/>
                </a:lnTo>
                <a:cubicBezTo>
                  <a:pt x="1328971" y="4170876"/>
                  <a:pt x="1326493" y="4174077"/>
                  <a:pt x="1324479" y="4174490"/>
                </a:cubicBezTo>
                <a:cubicBezTo>
                  <a:pt x="1326184" y="4172321"/>
                  <a:pt x="1327268" y="4169534"/>
                  <a:pt x="1327887" y="4166849"/>
                </a:cubicBezTo>
                <a:lnTo>
                  <a:pt x="1331915" y="4167365"/>
                </a:lnTo>
                <a:lnTo>
                  <a:pt x="1331759" y="4165197"/>
                </a:lnTo>
                <a:cubicBezTo>
                  <a:pt x="1332844" y="4164784"/>
                  <a:pt x="1334083" y="4164371"/>
                  <a:pt x="1335167" y="4163958"/>
                </a:cubicBezTo>
                <a:lnTo>
                  <a:pt x="1337646" y="4167778"/>
                </a:lnTo>
                <a:lnTo>
                  <a:pt x="1340899" y="4167365"/>
                </a:lnTo>
                <a:cubicBezTo>
                  <a:pt x="1341518" y="4167365"/>
                  <a:pt x="1341518" y="4167365"/>
                  <a:pt x="1342138" y="4166849"/>
                </a:cubicBezTo>
                <a:cubicBezTo>
                  <a:pt x="1342138" y="4166849"/>
                  <a:pt x="1342138" y="4166849"/>
                  <a:pt x="1342602" y="4166849"/>
                </a:cubicBezTo>
                <a:cubicBezTo>
                  <a:pt x="1342602" y="4166849"/>
                  <a:pt x="1343222" y="4166849"/>
                  <a:pt x="1343222" y="4166849"/>
                </a:cubicBezTo>
                <a:cubicBezTo>
                  <a:pt x="1343842" y="4166849"/>
                  <a:pt x="1344306" y="4166849"/>
                  <a:pt x="1344306" y="4166333"/>
                </a:cubicBezTo>
                <a:cubicBezTo>
                  <a:pt x="1345546" y="4165816"/>
                  <a:pt x="1343842" y="4163545"/>
                  <a:pt x="1343222" y="4162512"/>
                </a:cubicBezTo>
                <a:cubicBezTo>
                  <a:pt x="1344461" y="4160860"/>
                  <a:pt x="1344925" y="4163132"/>
                  <a:pt x="1346165" y="4164680"/>
                </a:cubicBezTo>
                <a:cubicBezTo>
                  <a:pt x="1347249" y="4161996"/>
                  <a:pt x="1349418" y="4160344"/>
                  <a:pt x="1351122" y="4158795"/>
                </a:cubicBezTo>
                <a:cubicBezTo>
                  <a:pt x="1351741" y="4158279"/>
                  <a:pt x="1352361" y="4158175"/>
                  <a:pt x="1352980" y="4157659"/>
                </a:cubicBezTo>
                <a:cubicBezTo>
                  <a:pt x="1352980" y="4157659"/>
                  <a:pt x="1352825" y="4157659"/>
                  <a:pt x="1354064" y="4157143"/>
                </a:cubicBezTo>
                <a:cubicBezTo>
                  <a:pt x="1354064" y="4157143"/>
                  <a:pt x="1354064" y="4157143"/>
                  <a:pt x="1354064" y="4156627"/>
                </a:cubicBezTo>
                <a:cubicBezTo>
                  <a:pt x="1354064" y="4156627"/>
                  <a:pt x="1354064" y="4156627"/>
                  <a:pt x="1354685" y="4156627"/>
                </a:cubicBezTo>
                <a:cubicBezTo>
                  <a:pt x="1354685" y="4156627"/>
                  <a:pt x="1354685" y="4156523"/>
                  <a:pt x="1360415" y="4153839"/>
                </a:cubicBezTo>
                <a:lnTo>
                  <a:pt x="1366456" y="4150535"/>
                </a:lnTo>
                <a:lnTo>
                  <a:pt x="1365527" y="4150638"/>
                </a:lnTo>
                <a:cubicBezTo>
                  <a:pt x="1363203" y="4150431"/>
                  <a:pt x="1361345" y="4150018"/>
                  <a:pt x="1360880" y="4150018"/>
                </a:cubicBezTo>
                <a:cubicBezTo>
                  <a:pt x="1360880" y="4149192"/>
                  <a:pt x="1360880" y="4149192"/>
                  <a:pt x="1360880" y="4149192"/>
                </a:cubicBezTo>
                <a:cubicBezTo>
                  <a:pt x="1363513" y="4150121"/>
                  <a:pt x="1366456" y="4148263"/>
                  <a:pt x="1369709" y="4148160"/>
                </a:cubicBezTo>
                <a:lnTo>
                  <a:pt x="1370328" y="4148366"/>
                </a:lnTo>
                <a:lnTo>
                  <a:pt x="1380862" y="4142584"/>
                </a:lnTo>
                <a:cubicBezTo>
                  <a:pt x="1385508" y="4139899"/>
                  <a:pt x="1390001" y="4136595"/>
                  <a:pt x="1394028" y="4133394"/>
                </a:cubicBezTo>
                <a:lnTo>
                  <a:pt x="1395887" y="4131948"/>
                </a:lnTo>
                <a:lnTo>
                  <a:pt x="1394183" y="4130709"/>
                </a:lnTo>
                <a:cubicBezTo>
                  <a:pt x="1394183" y="4129367"/>
                  <a:pt x="1393563" y="4128128"/>
                  <a:pt x="1393408" y="4126476"/>
                </a:cubicBezTo>
                <a:lnTo>
                  <a:pt x="1394492" y="4123068"/>
                </a:lnTo>
                <a:lnTo>
                  <a:pt x="1391704" y="4123791"/>
                </a:lnTo>
                <a:cubicBezTo>
                  <a:pt x="1390465" y="4124307"/>
                  <a:pt x="1389381" y="4125134"/>
                  <a:pt x="1388916" y="4126269"/>
                </a:cubicBezTo>
                <a:cubicBezTo>
                  <a:pt x="1389381" y="4125237"/>
                  <a:pt x="1389381" y="4124204"/>
                  <a:pt x="1388296" y="4123068"/>
                </a:cubicBezTo>
                <a:close/>
                <a:moveTo>
                  <a:pt x="5606578" y="4122776"/>
                </a:moveTo>
                <a:lnTo>
                  <a:pt x="5607197" y="4124841"/>
                </a:lnTo>
                <a:lnTo>
                  <a:pt x="5608127" y="4124222"/>
                </a:lnTo>
                <a:cubicBezTo>
                  <a:pt x="5611379" y="4124945"/>
                  <a:pt x="5613393" y="4127320"/>
                  <a:pt x="5613703" y="4130004"/>
                </a:cubicBezTo>
                <a:lnTo>
                  <a:pt x="5612774" y="4133515"/>
                </a:lnTo>
                <a:lnTo>
                  <a:pt x="5617266" y="4136923"/>
                </a:lnTo>
                <a:cubicBezTo>
                  <a:pt x="5618814" y="4138059"/>
                  <a:pt x="5620209" y="4139401"/>
                  <a:pt x="5621293" y="4140846"/>
                </a:cubicBezTo>
                <a:cubicBezTo>
                  <a:pt x="5622842" y="4142808"/>
                  <a:pt x="5623771" y="4145080"/>
                  <a:pt x="5623616" y="4148177"/>
                </a:cubicBezTo>
                <a:cubicBezTo>
                  <a:pt x="5624081" y="4161704"/>
                  <a:pt x="5611844" y="4169242"/>
                  <a:pt x="5601466" y="4168622"/>
                </a:cubicBezTo>
                <a:cubicBezTo>
                  <a:pt x="5595115" y="4168209"/>
                  <a:pt x="5589539" y="4164699"/>
                  <a:pt x="5587835" y="4157884"/>
                </a:cubicBezTo>
                <a:cubicBezTo>
                  <a:pt x="5587061" y="4155302"/>
                  <a:pt x="5587061" y="4152204"/>
                  <a:pt x="5587681" y="4148591"/>
                </a:cubicBezTo>
                <a:cubicBezTo>
                  <a:pt x="5590004" y="4138781"/>
                  <a:pt x="5599453" y="4133618"/>
                  <a:pt x="5606578" y="4122776"/>
                </a:cubicBezTo>
                <a:close/>
                <a:moveTo>
                  <a:pt x="668803" y="4122036"/>
                </a:moveTo>
                <a:cubicBezTo>
                  <a:pt x="670972" y="4125134"/>
                  <a:pt x="671282" y="4126166"/>
                  <a:pt x="671127" y="4130090"/>
                </a:cubicBezTo>
                <a:cubicBezTo>
                  <a:pt x="666480" y="4133601"/>
                  <a:pt x="661988" y="4133291"/>
                  <a:pt x="657496" y="4132981"/>
                </a:cubicBezTo>
                <a:cubicBezTo>
                  <a:pt x="651145" y="4123894"/>
                  <a:pt x="663072" y="4124101"/>
                  <a:pt x="668803" y="4122036"/>
                </a:cubicBezTo>
                <a:close/>
                <a:moveTo>
                  <a:pt x="5641275" y="4121641"/>
                </a:moveTo>
                <a:lnTo>
                  <a:pt x="5644682" y="4122570"/>
                </a:lnTo>
                <a:cubicBezTo>
                  <a:pt x="5644527" y="4123809"/>
                  <a:pt x="5643753" y="4125461"/>
                  <a:pt x="5642514" y="4125048"/>
                </a:cubicBezTo>
                <a:cubicBezTo>
                  <a:pt x="5641739" y="4125151"/>
                  <a:pt x="5641429" y="4124738"/>
                  <a:pt x="5641275" y="4124119"/>
                </a:cubicBezTo>
                <a:cubicBezTo>
                  <a:pt x="5641275" y="4123499"/>
                  <a:pt x="5641429" y="4122570"/>
                  <a:pt x="5641275" y="4121641"/>
                </a:cubicBezTo>
                <a:close/>
                <a:moveTo>
                  <a:pt x="5749082" y="4120815"/>
                </a:moveTo>
                <a:cubicBezTo>
                  <a:pt x="5755743" y="4118646"/>
                  <a:pt x="5762713" y="4127939"/>
                  <a:pt x="5757602" y="4135890"/>
                </a:cubicBezTo>
                <a:cubicBezTo>
                  <a:pt x="5756672" y="4136406"/>
                  <a:pt x="5755433" y="4136613"/>
                  <a:pt x="5754349" y="4136509"/>
                </a:cubicBezTo>
                <a:cubicBezTo>
                  <a:pt x="5750786" y="4136303"/>
                  <a:pt x="5747069" y="4133825"/>
                  <a:pt x="5744900" y="4131037"/>
                </a:cubicBezTo>
                <a:lnTo>
                  <a:pt x="5744126" y="4129385"/>
                </a:lnTo>
                <a:lnTo>
                  <a:pt x="5740718" y="4131037"/>
                </a:lnTo>
                <a:cubicBezTo>
                  <a:pt x="5740563" y="4130417"/>
                  <a:pt x="5740873" y="4130108"/>
                  <a:pt x="5741337" y="4129798"/>
                </a:cubicBezTo>
                <a:cubicBezTo>
                  <a:pt x="5741648" y="4129488"/>
                  <a:pt x="5742267" y="4129282"/>
                  <a:pt x="5742887" y="4129178"/>
                </a:cubicBezTo>
                <a:lnTo>
                  <a:pt x="5743816" y="4128869"/>
                </a:lnTo>
                <a:lnTo>
                  <a:pt x="5743041" y="4127216"/>
                </a:lnTo>
                <a:cubicBezTo>
                  <a:pt x="5744591" y="4123499"/>
                  <a:pt x="5746759" y="4121537"/>
                  <a:pt x="5749082" y="4120815"/>
                </a:cubicBezTo>
                <a:close/>
                <a:moveTo>
                  <a:pt x="5663735" y="4120298"/>
                </a:moveTo>
                <a:cubicBezTo>
                  <a:pt x="5666058" y="4120608"/>
                  <a:pt x="5667297" y="4121950"/>
                  <a:pt x="5667917" y="4123706"/>
                </a:cubicBezTo>
                <a:lnTo>
                  <a:pt x="5668226" y="4127630"/>
                </a:lnTo>
                <a:lnTo>
                  <a:pt x="5669621" y="4126494"/>
                </a:lnTo>
                <a:cubicBezTo>
                  <a:pt x="5671634" y="4125358"/>
                  <a:pt x="5672254" y="4127113"/>
                  <a:pt x="5673648" y="4129901"/>
                </a:cubicBezTo>
                <a:cubicBezTo>
                  <a:pt x="5672254" y="4131140"/>
                  <a:pt x="5671169" y="4131450"/>
                  <a:pt x="5670085" y="4131140"/>
                </a:cubicBezTo>
                <a:lnTo>
                  <a:pt x="5668382" y="4129592"/>
                </a:lnTo>
                <a:lnTo>
                  <a:pt x="5668537" y="4130211"/>
                </a:lnTo>
                <a:cubicBezTo>
                  <a:pt x="5666678" y="4130521"/>
                  <a:pt x="5665438" y="4131553"/>
                  <a:pt x="5663580" y="4131863"/>
                </a:cubicBezTo>
                <a:lnTo>
                  <a:pt x="5662340" y="4134135"/>
                </a:lnTo>
                <a:cubicBezTo>
                  <a:pt x="5659243" y="4132379"/>
                  <a:pt x="5658778" y="4127836"/>
                  <a:pt x="5659862" y="4124841"/>
                </a:cubicBezTo>
                <a:lnTo>
                  <a:pt x="5660482" y="4124015"/>
                </a:lnTo>
                <a:lnTo>
                  <a:pt x="5660482" y="4121641"/>
                </a:lnTo>
                <a:cubicBezTo>
                  <a:pt x="5661101" y="4120711"/>
                  <a:pt x="5662031" y="4120092"/>
                  <a:pt x="5663735" y="4120298"/>
                </a:cubicBezTo>
                <a:close/>
                <a:moveTo>
                  <a:pt x="5266581" y="4119782"/>
                </a:moveTo>
                <a:cubicBezTo>
                  <a:pt x="5266735" y="4120505"/>
                  <a:pt x="5266426" y="4121331"/>
                  <a:pt x="5265806" y="4122157"/>
                </a:cubicBezTo>
                <a:cubicBezTo>
                  <a:pt x="5264102" y="4124532"/>
                  <a:pt x="5259765" y="4126907"/>
                  <a:pt x="5257287" y="4127630"/>
                </a:cubicBezTo>
                <a:cubicBezTo>
                  <a:pt x="5256822" y="4124532"/>
                  <a:pt x="5263328" y="4120711"/>
                  <a:pt x="5266581" y="4119782"/>
                </a:cubicBezTo>
                <a:close/>
                <a:moveTo>
                  <a:pt x="5763798" y="4119059"/>
                </a:moveTo>
                <a:cubicBezTo>
                  <a:pt x="5764572" y="4119989"/>
                  <a:pt x="5765347" y="4120918"/>
                  <a:pt x="5764417" y="4120815"/>
                </a:cubicBezTo>
                <a:cubicBezTo>
                  <a:pt x="5764417" y="4121641"/>
                  <a:pt x="5763643" y="4121641"/>
                  <a:pt x="5762713" y="4122364"/>
                </a:cubicBezTo>
                <a:cubicBezTo>
                  <a:pt x="5761939" y="4122570"/>
                  <a:pt x="5760855" y="4122673"/>
                  <a:pt x="5759925" y="4122467"/>
                </a:cubicBezTo>
                <a:cubicBezTo>
                  <a:pt x="5758996" y="4122364"/>
                  <a:pt x="5758066" y="4121950"/>
                  <a:pt x="5757757" y="4121434"/>
                </a:cubicBezTo>
                <a:cubicBezTo>
                  <a:pt x="5756982" y="4120505"/>
                  <a:pt x="5756982" y="4119679"/>
                  <a:pt x="5756982" y="4119679"/>
                </a:cubicBezTo>
                <a:cubicBezTo>
                  <a:pt x="5758841" y="4117407"/>
                  <a:pt x="5761474" y="4116065"/>
                  <a:pt x="5763798" y="4119059"/>
                </a:cubicBezTo>
                <a:close/>
                <a:moveTo>
                  <a:pt x="5109981" y="4118336"/>
                </a:moveTo>
                <a:cubicBezTo>
                  <a:pt x="5111684" y="4119059"/>
                  <a:pt x="5112304" y="4128352"/>
                  <a:pt x="5108277" y="4127526"/>
                </a:cubicBezTo>
                <a:cubicBezTo>
                  <a:pt x="5107502" y="4127216"/>
                  <a:pt x="5107037" y="4126597"/>
                  <a:pt x="5106882" y="4125668"/>
                </a:cubicBezTo>
                <a:cubicBezTo>
                  <a:pt x="5106418" y="4122983"/>
                  <a:pt x="5108586" y="4118749"/>
                  <a:pt x="5109981" y="4118336"/>
                </a:cubicBezTo>
                <a:close/>
                <a:moveTo>
                  <a:pt x="5655990" y="4117717"/>
                </a:moveTo>
                <a:cubicBezTo>
                  <a:pt x="5656919" y="4118543"/>
                  <a:pt x="5656919" y="4118440"/>
                  <a:pt x="5657074" y="4119369"/>
                </a:cubicBezTo>
                <a:cubicBezTo>
                  <a:pt x="5658158" y="4121021"/>
                  <a:pt x="5659088" y="4121847"/>
                  <a:pt x="5658468" y="4123706"/>
                </a:cubicBezTo>
                <a:cubicBezTo>
                  <a:pt x="5657849" y="4125048"/>
                  <a:pt x="5657074" y="4125564"/>
                  <a:pt x="5655990" y="4125461"/>
                </a:cubicBezTo>
                <a:cubicBezTo>
                  <a:pt x="5655060" y="4125461"/>
                  <a:pt x="5653976" y="4124841"/>
                  <a:pt x="5652582" y="4124015"/>
                </a:cubicBezTo>
                <a:cubicBezTo>
                  <a:pt x="5649639" y="4122467"/>
                  <a:pt x="5650259" y="4119782"/>
                  <a:pt x="5648245" y="4118130"/>
                </a:cubicBezTo>
                <a:cubicBezTo>
                  <a:pt x="5649794" y="4117097"/>
                  <a:pt x="5652117" y="4115239"/>
                  <a:pt x="5655990" y="4117717"/>
                </a:cubicBezTo>
                <a:close/>
                <a:moveTo>
                  <a:pt x="5397158" y="4116994"/>
                </a:moveTo>
                <a:cubicBezTo>
                  <a:pt x="5400566" y="4124015"/>
                  <a:pt x="5397932" y="4127113"/>
                  <a:pt x="5397468" y="4130417"/>
                </a:cubicBezTo>
                <a:lnTo>
                  <a:pt x="5397778" y="4132483"/>
                </a:lnTo>
                <a:lnTo>
                  <a:pt x="5399482" y="4131140"/>
                </a:lnTo>
                <a:cubicBezTo>
                  <a:pt x="5400101" y="4130727"/>
                  <a:pt x="5400720" y="4130417"/>
                  <a:pt x="5401650" y="4130831"/>
                </a:cubicBezTo>
                <a:lnTo>
                  <a:pt x="5398087" y="4133722"/>
                </a:lnTo>
                <a:lnTo>
                  <a:pt x="5398087" y="4133928"/>
                </a:lnTo>
                <a:lnTo>
                  <a:pt x="5397778" y="4133928"/>
                </a:lnTo>
                <a:lnTo>
                  <a:pt x="5397003" y="4134548"/>
                </a:lnTo>
                <a:cubicBezTo>
                  <a:pt x="5397158" y="4135374"/>
                  <a:pt x="5397158" y="4136303"/>
                  <a:pt x="5396539" y="4137129"/>
                </a:cubicBezTo>
                <a:cubicBezTo>
                  <a:pt x="5394989" y="4138988"/>
                  <a:pt x="5393286" y="4138162"/>
                  <a:pt x="5391737" y="4139194"/>
                </a:cubicBezTo>
                <a:cubicBezTo>
                  <a:pt x="5390807" y="4138368"/>
                  <a:pt x="5389568" y="4136716"/>
                  <a:pt x="5391117" y="4134858"/>
                </a:cubicBezTo>
                <a:cubicBezTo>
                  <a:pt x="5391737" y="4133618"/>
                  <a:pt x="5392666" y="4132896"/>
                  <a:pt x="5393905" y="4132586"/>
                </a:cubicBezTo>
                <a:lnTo>
                  <a:pt x="5395454" y="4132689"/>
                </a:lnTo>
                <a:lnTo>
                  <a:pt x="5394989" y="4132173"/>
                </a:lnTo>
                <a:cubicBezTo>
                  <a:pt x="5395299" y="4131450"/>
                  <a:pt x="5394525" y="4131037"/>
                  <a:pt x="5395764" y="4130727"/>
                </a:cubicBezTo>
                <a:cubicBezTo>
                  <a:pt x="5394060" y="4127836"/>
                  <a:pt x="5394989" y="4119679"/>
                  <a:pt x="5397158" y="4116994"/>
                </a:cubicBezTo>
                <a:close/>
                <a:moveTo>
                  <a:pt x="5344803" y="4116994"/>
                </a:moveTo>
                <a:cubicBezTo>
                  <a:pt x="5346507" y="4117924"/>
                  <a:pt x="5347282" y="4118853"/>
                  <a:pt x="5349140" y="4119782"/>
                </a:cubicBezTo>
                <a:lnTo>
                  <a:pt x="5349605" y="4122157"/>
                </a:lnTo>
                <a:lnTo>
                  <a:pt x="5354407" y="4124015"/>
                </a:lnTo>
                <a:cubicBezTo>
                  <a:pt x="5355336" y="4124841"/>
                  <a:pt x="5357505" y="4128249"/>
                  <a:pt x="5356885" y="4129178"/>
                </a:cubicBezTo>
                <a:cubicBezTo>
                  <a:pt x="5356110" y="4130108"/>
                  <a:pt x="5355336" y="4130108"/>
                  <a:pt x="5354562" y="4130211"/>
                </a:cubicBezTo>
                <a:lnTo>
                  <a:pt x="5349605" y="4128042"/>
                </a:lnTo>
                <a:lnTo>
                  <a:pt x="5348676" y="4130211"/>
                </a:lnTo>
                <a:cubicBezTo>
                  <a:pt x="5347746" y="4131450"/>
                  <a:pt x="5346662" y="4132070"/>
                  <a:pt x="5345578" y="4132379"/>
                </a:cubicBezTo>
                <a:lnTo>
                  <a:pt x="5344493" y="4132379"/>
                </a:lnTo>
                <a:lnTo>
                  <a:pt x="5344648" y="4133308"/>
                </a:lnTo>
                <a:lnTo>
                  <a:pt x="5342015" y="4134754"/>
                </a:lnTo>
                <a:lnTo>
                  <a:pt x="5341085" y="4136303"/>
                </a:lnTo>
                <a:cubicBezTo>
                  <a:pt x="5339846" y="4136613"/>
                  <a:pt x="5338917" y="4136819"/>
                  <a:pt x="5338297" y="4136613"/>
                </a:cubicBezTo>
                <a:cubicBezTo>
                  <a:pt x="5337833" y="4136406"/>
                  <a:pt x="5337368" y="4135787"/>
                  <a:pt x="5337058" y="4134548"/>
                </a:cubicBezTo>
                <a:lnTo>
                  <a:pt x="5336903" y="4134031"/>
                </a:lnTo>
                <a:lnTo>
                  <a:pt x="5335354" y="4134754"/>
                </a:lnTo>
                <a:cubicBezTo>
                  <a:pt x="5335354" y="4133928"/>
                  <a:pt x="5335354" y="4132999"/>
                  <a:pt x="5334425" y="4132999"/>
                </a:cubicBezTo>
                <a:lnTo>
                  <a:pt x="5336129" y="4131657"/>
                </a:lnTo>
                <a:lnTo>
                  <a:pt x="5335974" y="4130934"/>
                </a:lnTo>
                <a:lnTo>
                  <a:pt x="5336129" y="4128146"/>
                </a:lnTo>
                <a:lnTo>
                  <a:pt x="5335974" y="4127836"/>
                </a:lnTo>
                <a:cubicBezTo>
                  <a:pt x="5335974" y="4127836"/>
                  <a:pt x="5332411" y="4123396"/>
                  <a:pt x="5335664" y="4119266"/>
                </a:cubicBezTo>
                <a:cubicBezTo>
                  <a:pt x="5336439" y="4120092"/>
                  <a:pt x="5341240" y="4115135"/>
                  <a:pt x="5344803" y="4116994"/>
                </a:cubicBezTo>
                <a:close/>
                <a:moveTo>
                  <a:pt x="5392821" y="4116684"/>
                </a:moveTo>
                <a:cubicBezTo>
                  <a:pt x="5393441" y="4117097"/>
                  <a:pt x="5393441" y="4116994"/>
                  <a:pt x="5393441" y="4116994"/>
                </a:cubicBezTo>
                <a:cubicBezTo>
                  <a:pt x="5391892" y="4118956"/>
                  <a:pt x="5392511" y="4122776"/>
                  <a:pt x="5391582" y="4125874"/>
                </a:cubicBezTo>
                <a:cubicBezTo>
                  <a:pt x="5391272" y="4126907"/>
                  <a:pt x="5390807" y="4127836"/>
                  <a:pt x="5390033" y="4128559"/>
                </a:cubicBezTo>
                <a:cubicBezTo>
                  <a:pt x="5390033" y="4128559"/>
                  <a:pt x="5390033" y="4128559"/>
                  <a:pt x="5390342" y="4127836"/>
                </a:cubicBezTo>
                <a:cubicBezTo>
                  <a:pt x="5390342" y="4127836"/>
                  <a:pt x="5390033" y="4128559"/>
                  <a:pt x="5389258" y="4128146"/>
                </a:cubicBezTo>
                <a:cubicBezTo>
                  <a:pt x="5388794" y="4123086"/>
                  <a:pt x="5392356" y="4117407"/>
                  <a:pt x="5392821" y="4116684"/>
                </a:cubicBezTo>
                <a:close/>
                <a:moveTo>
                  <a:pt x="5417604" y="4115962"/>
                </a:moveTo>
                <a:cubicBezTo>
                  <a:pt x="5417604" y="4116788"/>
                  <a:pt x="5416830" y="4119369"/>
                  <a:pt x="5417759" y="4119369"/>
                </a:cubicBezTo>
                <a:cubicBezTo>
                  <a:pt x="5415900" y="4121331"/>
                  <a:pt x="5413577" y="4123086"/>
                  <a:pt x="5411564" y="4123190"/>
                </a:cubicBezTo>
                <a:cubicBezTo>
                  <a:pt x="5410789" y="4123190"/>
                  <a:pt x="5410169" y="4122983"/>
                  <a:pt x="5409395" y="4122467"/>
                </a:cubicBezTo>
                <a:cubicBezTo>
                  <a:pt x="5407691" y="4121537"/>
                  <a:pt x="5408465" y="4119885"/>
                  <a:pt x="5410169" y="4118233"/>
                </a:cubicBezTo>
                <a:cubicBezTo>
                  <a:pt x="5412493" y="4113897"/>
                  <a:pt x="5414971" y="4113174"/>
                  <a:pt x="5417604" y="4115962"/>
                </a:cubicBezTo>
                <a:close/>
                <a:moveTo>
                  <a:pt x="5220731" y="4115549"/>
                </a:moveTo>
                <a:cubicBezTo>
                  <a:pt x="5223403" y="4116452"/>
                  <a:pt x="5225765" y="4118337"/>
                  <a:pt x="5226152" y="4120505"/>
                </a:cubicBezTo>
                <a:cubicBezTo>
                  <a:pt x="5225223" y="4122880"/>
                  <a:pt x="5224139" y="4125255"/>
                  <a:pt x="5223209" y="4127526"/>
                </a:cubicBezTo>
                <a:cubicBezTo>
                  <a:pt x="5221506" y="4128972"/>
                  <a:pt x="5219492" y="4129488"/>
                  <a:pt x="5217633" y="4129385"/>
                </a:cubicBezTo>
                <a:cubicBezTo>
                  <a:pt x="5215929" y="4129178"/>
                  <a:pt x="5214226" y="4128249"/>
                  <a:pt x="5213141" y="4126803"/>
                </a:cubicBezTo>
                <a:cubicBezTo>
                  <a:pt x="5212522" y="4125874"/>
                  <a:pt x="5211902" y="4124635"/>
                  <a:pt x="5211902" y="4123190"/>
                </a:cubicBezTo>
                <a:lnTo>
                  <a:pt x="5211902" y="4122983"/>
                </a:lnTo>
                <a:lnTo>
                  <a:pt x="5210663" y="4123912"/>
                </a:lnTo>
                <a:cubicBezTo>
                  <a:pt x="5210043" y="4124222"/>
                  <a:pt x="5209424" y="4124325"/>
                  <a:pt x="5208959" y="4123912"/>
                </a:cubicBezTo>
                <a:cubicBezTo>
                  <a:pt x="5208804" y="4122983"/>
                  <a:pt x="5208030" y="4122983"/>
                  <a:pt x="5208030" y="4122157"/>
                </a:cubicBezTo>
                <a:cubicBezTo>
                  <a:pt x="5206945" y="4120402"/>
                  <a:pt x="5206791" y="4119575"/>
                  <a:pt x="5207410" y="4118646"/>
                </a:cubicBezTo>
                <a:cubicBezTo>
                  <a:pt x="5207255" y="4117717"/>
                  <a:pt x="5208184" y="4117717"/>
                  <a:pt x="5208804" y="4116788"/>
                </a:cubicBezTo>
                <a:cubicBezTo>
                  <a:pt x="5209734" y="4116684"/>
                  <a:pt x="5210663" y="4117510"/>
                  <a:pt x="5210663" y="4117510"/>
                </a:cubicBezTo>
                <a:cubicBezTo>
                  <a:pt x="5211592" y="4118336"/>
                  <a:pt x="5211592" y="4118440"/>
                  <a:pt x="5212212" y="4117510"/>
                </a:cubicBezTo>
                <a:cubicBezTo>
                  <a:pt x="5212212" y="4117510"/>
                  <a:pt x="5212367" y="4118336"/>
                  <a:pt x="5212367" y="4118336"/>
                </a:cubicBezTo>
                <a:cubicBezTo>
                  <a:pt x="5212057" y="4118336"/>
                  <a:pt x="5212057" y="4118336"/>
                  <a:pt x="5212212" y="4118440"/>
                </a:cubicBezTo>
                <a:lnTo>
                  <a:pt x="5212831" y="4118853"/>
                </a:lnTo>
                <a:lnTo>
                  <a:pt x="5213451" y="4116478"/>
                </a:lnTo>
                <a:cubicBezTo>
                  <a:pt x="5215078" y="4114723"/>
                  <a:pt x="5218059" y="4114645"/>
                  <a:pt x="5220731" y="4115549"/>
                </a:cubicBezTo>
                <a:close/>
                <a:moveTo>
                  <a:pt x="5634304" y="4115548"/>
                </a:moveTo>
                <a:cubicBezTo>
                  <a:pt x="5637867" y="4116374"/>
                  <a:pt x="5640036" y="4118130"/>
                  <a:pt x="5640190" y="4121331"/>
                </a:cubicBezTo>
                <a:cubicBezTo>
                  <a:pt x="5639725" y="4123706"/>
                  <a:pt x="5639261" y="4127216"/>
                  <a:pt x="5636163" y="4127113"/>
                </a:cubicBezTo>
                <a:cubicBezTo>
                  <a:pt x="5635698" y="4126391"/>
                  <a:pt x="5634924" y="4126803"/>
                  <a:pt x="5634459" y="4126081"/>
                </a:cubicBezTo>
                <a:cubicBezTo>
                  <a:pt x="5634459" y="4126081"/>
                  <a:pt x="5633685" y="4125564"/>
                  <a:pt x="5632910" y="4124532"/>
                </a:cubicBezTo>
                <a:cubicBezTo>
                  <a:pt x="5632136" y="4123499"/>
                  <a:pt x="5631206" y="4121847"/>
                  <a:pt x="5631206" y="4119679"/>
                </a:cubicBezTo>
                <a:cubicBezTo>
                  <a:pt x="5631516" y="4118440"/>
                  <a:pt x="5632601" y="4115652"/>
                  <a:pt x="5633065" y="4116478"/>
                </a:cubicBezTo>
                <a:cubicBezTo>
                  <a:pt x="5634149" y="4116788"/>
                  <a:pt x="5633685" y="4115962"/>
                  <a:pt x="5634304" y="4115548"/>
                </a:cubicBezTo>
                <a:close/>
                <a:moveTo>
                  <a:pt x="5725538" y="4113897"/>
                </a:moveTo>
                <a:cubicBezTo>
                  <a:pt x="5728481" y="4117407"/>
                  <a:pt x="5732044" y="4116065"/>
                  <a:pt x="5734832" y="4119679"/>
                </a:cubicBezTo>
                <a:lnTo>
                  <a:pt x="5734212" y="4120298"/>
                </a:lnTo>
                <a:lnTo>
                  <a:pt x="5738549" y="4121641"/>
                </a:lnTo>
                <a:cubicBezTo>
                  <a:pt x="5737310" y="4129282"/>
                  <a:pt x="5737001" y="4136923"/>
                  <a:pt x="5736691" y="4144150"/>
                </a:cubicBezTo>
                <a:lnTo>
                  <a:pt x="5735606" y="4155612"/>
                </a:lnTo>
                <a:lnTo>
                  <a:pt x="5738859" y="4155509"/>
                </a:lnTo>
                <a:cubicBezTo>
                  <a:pt x="5743041" y="4156128"/>
                  <a:pt x="5746914" y="4157367"/>
                  <a:pt x="5750322" y="4159329"/>
                </a:cubicBezTo>
                <a:lnTo>
                  <a:pt x="5753265" y="4161394"/>
                </a:lnTo>
                <a:lnTo>
                  <a:pt x="5754969" y="4160981"/>
                </a:lnTo>
                <a:lnTo>
                  <a:pt x="5756053" y="4161188"/>
                </a:lnTo>
                <a:lnTo>
                  <a:pt x="5756518" y="4160878"/>
                </a:lnTo>
                <a:cubicBezTo>
                  <a:pt x="5756982" y="4160568"/>
                  <a:pt x="5757447" y="4160362"/>
                  <a:pt x="5757447" y="4160362"/>
                </a:cubicBezTo>
                <a:cubicBezTo>
                  <a:pt x="5758221" y="4161188"/>
                  <a:pt x="5758221" y="4161188"/>
                  <a:pt x="5757292" y="4161188"/>
                </a:cubicBezTo>
                <a:lnTo>
                  <a:pt x="5757292" y="4161291"/>
                </a:lnTo>
                <a:lnTo>
                  <a:pt x="5759925" y="4161498"/>
                </a:lnTo>
                <a:cubicBezTo>
                  <a:pt x="5759460" y="4163666"/>
                  <a:pt x="5758531" y="4165834"/>
                  <a:pt x="5757292" y="4167796"/>
                </a:cubicBezTo>
                <a:lnTo>
                  <a:pt x="5753729" y="4173269"/>
                </a:lnTo>
                <a:lnTo>
                  <a:pt x="5753265" y="4168932"/>
                </a:lnTo>
                <a:cubicBezTo>
                  <a:pt x="5752490" y="4168932"/>
                  <a:pt x="5751561" y="4169758"/>
                  <a:pt x="5751561" y="4169758"/>
                </a:cubicBezTo>
                <a:lnTo>
                  <a:pt x="5750941" y="4167176"/>
                </a:lnTo>
                <a:lnTo>
                  <a:pt x="5749547" y="4167383"/>
                </a:lnTo>
                <a:lnTo>
                  <a:pt x="5744126" y="4166557"/>
                </a:lnTo>
                <a:lnTo>
                  <a:pt x="5744126" y="4168003"/>
                </a:lnTo>
                <a:lnTo>
                  <a:pt x="5747998" y="4169552"/>
                </a:lnTo>
                <a:lnTo>
                  <a:pt x="5753729" y="4173269"/>
                </a:lnTo>
                <a:lnTo>
                  <a:pt x="5754969" y="4173888"/>
                </a:lnTo>
                <a:cubicBezTo>
                  <a:pt x="5757292" y="4175437"/>
                  <a:pt x="5759925" y="4176986"/>
                  <a:pt x="5762868" y="4178225"/>
                </a:cubicBezTo>
                <a:cubicBezTo>
                  <a:pt x="5760390" y="4189273"/>
                  <a:pt x="5765966" y="4191855"/>
                  <a:pt x="5768909" y="4196914"/>
                </a:cubicBezTo>
                <a:cubicBezTo>
                  <a:pt x="5766586" y="4200322"/>
                  <a:pt x="5765192" y="4204556"/>
                  <a:pt x="5763952" y="4208996"/>
                </a:cubicBezTo>
                <a:lnTo>
                  <a:pt x="5762249" y="4215191"/>
                </a:lnTo>
                <a:lnTo>
                  <a:pt x="5762713" y="4214984"/>
                </a:lnTo>
                <a:cubicBezTo>
                  <a:pt x="5764417" y="4214881"/>
                  <a:pt x="5769374" y="4218598"/>
                  <a:pt x="5768909" y="4219734"/>
                </a:cubicBezTo>
                <a:cubicBezTo>
                  <a:pt x="5767825" y="4219734"/>
                  <a:pt x="5766276" y="4219631"/>
                  <a:pt x="5764882" y="4219424"/>
                </a:cubicBezTo>
                <a:lnTo>
                  <a:pt x="5761474" y="4218289"/>
                </a:lnTo>
                <a:lnTo>
                  <a:pt x="5760235" y="4222625"/>
                </a:lnTo>
                <a:cubicBezTo>
                  <a:pt x="5755278" y="4224897"/>
                  <a:pt x="5750941" y="4227685"/>
                  <a:pt x="5746604" y="4230473"/>
                </a:cubicBezTo>
                <a:lnTo>
                  <a:pt x="5745829" y="4230886"/>
                </a:lnTo>
                <a:lnTo>
                  <a:pt x="5749082" y="4233467"/>
                </a:lnTo>
                <a:lnTo>
                  <a:pt x="5752180" y="4229853"/>
                </a:lnTo>
                <a:cubicBezTo>
                  <a:pt x="5755898" y="4227478"/>
                  <a:pt x="5760235" y="4230060"/>
                  <a:pt x="5763333" y="4235223"/>
                </a:cubicBezTo>
                <a:cubicBezTo>
                  <a:pt x="5761319" y="4238320"/>
                  <a:pt x="5759306" y="4241418"/>
                  <a:pt x="5755743" y="4242760"/>
                </a:cubicBezTo>
                <a:lnTo>
                  <a:pt x="5753110" y="4239869"/>
                </a:lnTo>
                <a:lnTo>
                  <a:pt x="5752800" y="4240179"/>
                </a:lnTo>
                <a:lnTo>
                  <a:pt x="5752335" y="4242244"/>
                </a:lnTo>
                <a:lnTo>
                  <a:pt x="5754039" y="4243586"/>
                </a:lnTo>
                <a:cubicBezTo>
                  <a:pt x="5753265" y="4244103"/>
                  <a:pt x="5752026" y="4245858"/>
                  <a:pt x="5751716" y="4245135"/>
                </a:cubicBezTo>
                <a:lnTo>
                  <a:pt x="5751406" y="4244929"/>
                </a:lnTo>
                <a:lnTo>
                  <a:pt x="5749237" y="4247716"/>
                </a:lnTo>
                <a:cubicBezTo>
                  <a:pt x="5746604" y="4250814"/>
                  <a:pt x="5743816" y="4251640"/>
                  <a:pt x="5741337" y="4251331"/>
                </a:cubicBezTo>
                <a:cubicBezTo>
                  <a:pt x="5738859" y="4251021"/>
                  <a:pt x="5736536" y="4249575"/>
                  <a:pt x="5734987" y="4248026"/>
                </a:cubicBezTo>
                <a:cubicBezTo>
                  <a:pt x="5735606" y="4247407"/>
                  <a:pt x="5731269" y="4243173"/>
                  <a:pt x="5731734" y="4238113"/>
                </a:cubicBezTo>
                <a:lnTo>
                  <a:pt x="5732044" y="4237804"/>
                </a:lnTo>
                <a:lnTo>
                  <a:pt x="5725228" y="4234913"/>
                </a:lnTo>
                <a:lnTo>
                  <a:pt x="5718568" y="4233467"/>
                </a:lnTo>
                <a:lnTo>
                  <a:pt x="5719807" y="4237184"/>
                </a:lnTo>
                <a:cubicBezTo>
                  <a:pt x="5720427" y="4238630"/>
                  <a:pt x="5721046" y="4240385"/>
                  <a:pt x="5720891" y="4243793"/>
                </a:cubicBezTo>
                <a:cubicBezTo>
                  <a:pt x="5720891" y="4252466"/>
                  <a:pt x="5715160" y="4254015"/>
                  <a:pt x="5710978" y="4253499"/>
                </a:cubicBezTo>
                <a:cubicBezTo>
                  <a:pt x="5710978" y="4253293"/>
                  <a:pt x="5710668" y="4253189"/>
                  <a:pt x="5710048" y="4252879"/>
                </a:cubicBezTo>
                <a:lnTo>
                  <a:pt x="5708345" y="4252157"/>
                </a:lnTo>
                <a:lnTo>
                  <a:pt x="5705712" y="4253189"/>
                </a:lnTo>
                <a:cubicBezTo>
                  <a:pt x="5704937" y="4253086"/>
                  <a:pt x="5704162" y="4252673"/>
                  <a:pt x="5703233" y="4251847"/>
                </a:cubicBezTo>
                <a:cubicBezTo>
                  <a:pt x="5702458" y="4251950"/>
                  <a:pt x="5701065" y="4248542"/>
                  <a:pt x="5701839" y="4247613"/>
                </a:cubicBezTo>
                <a:lnTo>
                  <a:pt x="5702458" y="4246891"/>
                </a:lnTo>
                <a:lnTo>
                  <a:pt x="5701219" y="4241728"/>
                </a:lnTo>
                <a:cubicBezTo>
                  <a:pt x="5701219" y="4240592"/>
                  <a:pt x="5701374" y="4239559"/>
                  <a:pt x="5701684" y="4238527"/>
                </a:cubicBezTo>
                <a:cubicBezTo>
                  <a:pt x="5701219" y="4240282"/>
                  <a:pt x="5700755" y="4242141"/>
                  <a:pt x="5700290" y="4243380"/>
                </a:cubicBezTo>
                <a:lnTo>
                  <a:pt x="5699671" y="4245238"/>
                </a:lnTo>
                <a:lnTo>
                  <a:pt x="5700445" y="4245238"/>
                </a:lnTo>
                <a:lnTo>
                  <a:pt x="5699515" y="4246168"/>
                </a:lnTo>
                <a:lnTo>
                  <a:pt x="5699361" y="4246374"/>
                </a:lnTo>
                <a:cubicBezTo>
                  <a:pt x="5698586" y="4246271"/>
                  <a:pt x="5698586" y="4247097"/>
                  <a:pt x="5699361" y="4247200"/>
                </a:cubicBezTo>
                <a:cubicBezTo>
                  <a:pt x="5698431" y="4248439"/>
                  <a:pt x="5697657" y="4249575"/>
                  <a:pt x="5697037" y="4250092"/>
                </a:cubicBezTo>
                <a:lnTo>
                  <a:pt x="5696108" y="4249885"/>
                </a:lnTo>
                <a:lnTo>
                  <a:pt x="5696263" y="4254738"/>
                </a:lnTo>
                <a:lnTo>
                  <a:pt x="5695953" y="4256080"/>
                </a:lnTo>
                <a:lnTo>
                  <a:pt x="5696418" y="4256493"/>
                </a:lnTo>
                <a:lnTo>
                  <a:pt x="5695798" y="4257319"/>
                </a:lnTo>
                <a:lnTo>
                  <a:pt x="5695024" y="4261656"/>
                </a:lnTo>
                <a:cubicBezTo>
                  <a:pt x="5694404" y="4263411"/>
                  <a:pt x="5693165" y="4264754"/>
                  <a:pt x="5691461" y="4264960"/>
                </a:cubicBezTo>
                <a:lnTo>
                  <a:pt x="5690532" y="4259075"/>
                </a:lnTo>
                <a:lnTo>
                  <a:pt x="5690377" y="4258765"/>
                </a:lnTo>
                <a:lnTo>
                  <a:pt x="5690377" y="4258352"/>
                </a:lnTo>
                <a:lnTo>
                  <a:pt x="5689757" y="4251434"/>
                </a:lnTo>
                <a:lnTo>
                  <a:pt x="5690841" y="4244929"/>
                </a:lnTo>
                <a:lnTo>
                  <a:pt x="5690067" y="4244826"/>
                </a:lnTo>
                <a:cubicBezTo>
                  <a:pt x="5686814" y="4245341"/>
                  <a:pt x="5682322" y="4248233"/>
                  <a:pt x="5677675" y="4244206"/>
                </a:cubicBezTo>
                <a:cubicBezTo>
                  <a:pt x="5679534" y="4242450"/>
                  <a:pt x="5676591" y="4238113"/>
                  <a:pt x="5679379" y="4235532"/>
                </a:cubicBezTo>
                <a:cubicBezTo>
                  <a:pt x="5685110" y="4229130"/>
                  <a:pt x="5687898" y="4228511"/>
                  <a:pt x="5691306" y="4229750"/>
                </a:cubicBezTo>
                <a:lnTo>
                  <a:pt x="5691616" y="4229853"/>
                </a:lnTo>
                <a:lnTo>
                  <a:pt x="5696418" y="4229853"/>
                </a:lnTo>
                <a:lnTo>
                  <a:pt x="5697192" y="4231505"/>
                </a:lnTo>
                <a:cubicBezTo>
                  <a:pt x="5698122" y="4230576"/>
                  <a:pt x="5699051" y="4229750"/>
                  <a:pt x="5700135" y="4230679"/>
                </a:cubicBezTo>
                <a:cubicBezTo>
                  <a:pt x="5701994" y="4232331"/>
                  <a:pt x="5702304" y="4234706"/>
                  <a:pt x="5701994" y="4237081"/>
                </a:cubicBezTo>
                <a:cubicBezTo>
                  <a:pt x="5703233" y="4233467"/>
                  <a:pt x="5706021" y="4230989"/>
                  <a:pt x="5712372" y="4232228"/>
                </a:cubicBezTo>
                <a:cubicBezTo>
                  <a:pt x="5714231" y="4232022"/>
                  <a:pt x="5713456" y="4232435"/>
                  <a:pt x="5714695" y="4232744"/>
                </a:cubicBezTo>
                <a:lnTo>
                  <a:pt x="5715935" y="4232847"/>
                </a:lnTo>
                <a:lnTo>
                  <a:pt x="5707570" y="4229957"/>
                </a:lnTo>
                <a:cubicBezTo>
                  <a:pt x="5705092" y="4228511"/>
                  <a:pt x="5703078" y="4226549"/>
                  <a:pt x="5701684" y="4223555"/>
                </a:cubicBezTo>
                <a:cubicBezTo>
                  <a:pt x="5702923" y="4217978"/>
                  <a:pt x="5702304" y="4214365"/>
                  <a:pt x="5701219" y="4211370"/>
                </a:cubicBezTo>
                <a:lnTo>
                  <a:pt x="5701219" y="4211164"/>
                </a:lnTo>
                <a:lnTo>
                  <a:pt x="5699051" y="4213332"/>
                </a:lnTo>
                <a:lnTo>
                  <a:pt x="5698122" y="4218805"/>
                </a:lnTo>
                <a:cubicBezTo>
                  <a:pt x="5698122" y="4221180"/>
                  <a:pt x="5698431" y="4222729"/>
                  <a:pt x="5698431" y="4222729"/>
                </a:cubicBezTo>
                <a:cubicBezTo>
                  <a:pt x="5697347" y="4224380"/>
                  <a:pt x="5696572" y="4224380"/>
                  <a:pt x="5697347" y="4224380"/>
                </a:cubicBezTo>
                <a:cubicBezTo>
                  <a:pt x="5695643" y="4226033"/>
                  <a:pt x="5693629" y="4228614"/>
                  <a:pt x="5692081" y="4227788"/>
                </a:cubicBezTo>
                <a:cubicBezTo>
                  <a:pt x="5690996" y="4226652"/>
                  <a:pt x="5690532" y="4225310"/>
                  <a:pt x="5690687" y="4223761"/>
                </a:cubicBezTo>
                <a:lnTo>
                  <a:pt x="5691616" y="4220560"/>
                </a:lnTo>
                <a:lnTo>
                  <a:pt x="5690996" y="4221076"/>
                </a:lnTo>
                <a:cubicBezTo>
                  <a:pt x="5688828" y="4222419"/>
                  <a:pt x="5686194" y="4223348"/>
                  <a:pt x="5682942" y="4223451"/>
                </a:cubicBezTo>
                <a:cubicBezTo>
                  <a:pt x="5682322" y="4218805"/>
                  <a:pt x="5686659" y="4212403"/>
                  <a:pt x="5692236" y="4208273"/>
                </a:cubicBezTo>
                <a:lnTo>
                  <a:pt x="5699051" y="4205175"/>
                </a:lnTo>
                <a:lnTo>
                  <a:pt x="5698122" y="4202387"/>
                </a:lnTo>
                <a:cubicBezTo>
                  <a:pt x="5699515" y="4198670"/>
                  <a:pt x="5701219" y="4194849"/>
                  <a:pt x="5703233" y="4191029"/>
                </a:cubicBezTo>
                <a:lnTo>
                  <a:pt x="5705557" y="4187725"/>
                </a:lnTo>
                <a:lnTo>
                  <a:pt x="5706951" y="4184730"/>
                </a:lnTo>
                <a:lnTo>
                  <a:pt x="5707105" y="4184420"/>
                </a:lnTo>
                <a:lnTo>
                  <a:pt x="5707416" y="4182355"/>
                </a:lnTo>
                <a:lnTo>
                  <a:pt x="5706331" y="4183595"/>
                </a:lnTo>
                <a:cubicBezTo>
                  <a:pt x="5704937" y="4184627"/>
                  <a:pt x="5703233" y="4185350"/>
                  <a:pt x="5700135" y="4185246"/>
                </a:cubicBezTo>
                <a:cubicBezTo>
                  <a:pt x="5693784" y="4184317"/>
                  <a:pt x="5695179" y="4177502"/>
                  <a:pt x="5694404" y="4178019"/>
                </a:cubicBezTo>
                <a:cubicBezTo>
                  <a:pt x="5693320" y="4177709"/>
                  <a:pt x="5693320" y="4177709"/>
                  <a:pt x="5692545" y="4178225"/>
                </a:cubicBezTo>
                <a:cubicBezTo>
                  <a:pt x="5692236" y="4177399"/>
                  <a:pt x="5690687" y="4176366"/>
                  <a:pt x="5689602" y="4176160"/>
                </a:cubicBezTo>
                <a:cubicBezTo>
                  <a:pt x="5690377" y="4175643"/>
                  <a:pt x="5691151" y="4175231"/>
                  <a:pt x="5690687" y="4174405"/>
                </a:cubicBezTo>
                <a:cubicBezTo>
                  <a:pt x="5693010" y="4175024"/>
                  <a:pt x="5693320" y="4175747"/>
                  <a:pt x="5694404" y="4176057"/>
                </a:cubicBezTo>
                <a:cubicBezTo>
                  <a:pt x="5694094" y="4175334"/>
                  <a:pt x="5695179" y="4175643"/>
                  <a:pt x="5695179" y="4175643"/>
                </a:cubicBezTo>
                <a:cubicBezTo>
                  <a:pt x="5695179" y="4175643"/>
                  <a:pt x="5695179" y="4175643"/>
                  <a:pt x="5695953" y="4173269"/>
                </a:cubicBezTo>
                <a:cubicBezTo>
                  <a:pt x="5695953" y="4173269"/>
                  <a:pt x="5698122" y="4167899"/>
                  <a:pt x="5703233" y="4168622"/>
                </a:cubicBezTo>
                <a:cubicBezTo>
                  <a:pt x="5703078" y="4169448"/>
                  <a:pt x="5706796" y="4170687"/>
                  <a:pt x="5708655" y="4172856"/>
                </a:cubicBezTo>
                <a:lnTo>
                  <a:pt x="5709739" y="4175231"/>
                </a:lnTo>
                <a:lnTo>
                  <a:pt x="5712372" y="4171410"/>
                </a:lnTo>
                <a:cubicBezTo>
                  <a:pt x="5715005" y="4169758"/>
                  <a:pt x="5717484" y="4169138"/>
                  <a:pt x="5719652" y="4169345"/>
                </a:cubicBezTo>
                <a:lnTo>
                  <a:pt x="5721976" y="4170584"/>
                </a:lnTo>
                <a:lnTo>
                  <a:pt x="5731734" y="4166557"/>
                </a:lnTo>
                <a:lnTo>
                  <a:pt x="5732044" y="4166557"/>
                </a:lnTo>
                <a:lnTo>
                  <a:pt x="5733283" y="4165525"/>
                </a:lnTo>
                <a:lnTo>
                  <a:pt x="5732818" y="4163769"/>
                </a:lnTo>
                <a:cubicBezTo>
                  <a:pt x="5730185" y="4161188"/>
                  <a:pt x="5726468" y="4162530"/>
                  <a:pt x="5725228" y="4155818"/>
                </a:cubicBezTo>
                <a:lnTo>
                  <a:pt x="5730650" y="4155715"/>
                </a:lnTo>
                <a:lnTo>
                  <a:pt x="5730030" y="4154579"/>
                </a:lnTo>
                <a:cubicBezTo>
                  <a:pt x="5729256" y="4151895"/>
                  <a:pt x="5728946" y="4149107"/>
                  <a:pt x="5728636" y="4146216"/>
                </a:cubicBezTo>
                <a:lnTo>
                  <a:pt x="5728636" y="4141363"/>
                </a:lnTo>
                <a:lnTo>
                  <a:pt x="5726932" y="4142808"/>
                </a:lnTo>
                <a:cubicBezTo>
                  <a:pt x="5723215" y="4144976"/>
                  <a:pt x="5720581" y="4143737"/>
                  <a:pt x="5719962" y="4144460"/>
                </a:cubicBezTo>
                <a:cubicBezTo>
                  <a:pt x="5717174" y="4141982"/>
                  <a:pt x="5718568" y="4140124"/>
                  <a:pt x="5719807" y="4136406"/>
                </a:cubicBezTo>
                <a:cubicBezTo>
                  <a:pt x="5720737" y="4137232"/>
                  <a:pt x="5722905" y="4134444"/>
                  <a:pt x="5723525" y="4133515"/>
                </a:cubicBezTo>
                <a:cubicBezTo>
                  <a:pt x="5724454" y="4134341"/>
                  <a:pt x="5725693" y="4134135"/>
                  <a:pt x="5727087" y="4133928"/>
                </a:cubicBezTo>
                <a:lnTo>
                  <a:pt x="5728791" y="4133825"/>
                </a:lnTo>
                <a:lnTo>
                  <a:pt x="5729101" y="4125461"/>
                </a:lnTo>
                <a:lnTo>
                  <a:pt x="5727242" y="4127423"/>
                </a:lnTo>
                <a:cubicBezTo>
                  <a:pt x="5724144" y="4125461"/>
                  <a:pt x="5722440" y="4123190"/>
                  <a:pt x="5722130" y="4120918"/>
                </a:cubicBezTo>
                <a:cubicBezTo>
                  <a:pt x="5721666" y="4118543"/>
                  <a:pt x="5722905" y="4116168"/>
                  <a:pt x="5725538" y="4113897"/>
                </a:cubicBezTo>
                <a:close/>
                <a:moveTo>
                  <a:pt x="5393905" y="4112864"/>
                </a:moveTo>
                <a:cubicBezTo>
                  <a:pt x="5393596" y="4113380"/>
                  <a:pt x="5393441" y="4113690"/>
                  <a:pt x="5393286" y="4113690"/>
                </a:cubicBezTo>
                <a:cubicBezTo>
                  <a:pt x="5393131" y="4113690"/>
                  <a:pt x="5392821" y="4113483"/>
                  <a:pt x="5392356" y="4113070"/>
                </a:cubicBezTo>
                <a:cubicBezTo>
                  <a:pt x="5392976" y="4112038"/>
                  <a:pt x="5393131" y="4112967"/>
                  <a:pt x="5393905" y="4112864"/>
                </a:cubicBezTo>
                <a:close/>
                <a:moveTo>
                  <a:pt x="5426589" y="4112761"/>
                </a:moveTo>
                <a:cubicBezTo>
                  <a:pt x="5426589" y="4113690"/>
                  <a:pt x="5427518" y="4115548"/>
                  <a:pt x="5426743" y="4115445"/>
                </a:cubicBezTo>
                <a:cubicBezTo>
                  <a:pt x="5426743" y="4116374"/>
                  <a:pt x="5425194" y="4116271"/>
                  <a:pt x="5425194" y="4116271"/>
                </a:cubicBezTo>
                <a:cubicBezTo>
                  <a:pt x="5425194" y="4117201"/>
                  <a:pt x="5425194" y="4118130"/>
                  <a:pt x="5424420" y="4118956"/>
                </a:cubicBezTo>
                <a:cubicBezTo>
                  <a:pt x="5423645" y="4118027"/>
                  <a:pt x="5423645" y="4118956"/>
                  <a:pt x="5422871" y="4118853"/>
                </a:cubicBezTo>
                <a:cubicBezTo>
                  <a:pt x="5423645" y="4118027"/>
                  <a:pt x="5423490" y="4115342"/>
                  <a:pt x="5424265" y="4113587"/>
                </a:cubicBezTo>
                <a:cubicBezTo>
                  <a:pt x="5425039" y="4113587"/>
                  <a:pt x="5425814" y="4112761"/>
                  <a:pt x="5426589" y="4112761"/>
                </a:cubicBezTo>
                <a:close/>
                <a:moveTo>
                  <a:pt x="517685" y="4112278"/>
                </a:moveTo>
                <a:cubicBezTo>
                  <a:pt x="519455" y="4112440"/>
                  <a:pt x="521226" y="4113569"/>
                  <a:pt x="522581" y="4116150"/>
                </a:cubicBezTo>
                <a:cubicBezTo>
                  <a:pt x="518554" y="4119971"/>
                  <a:pt x="515766" y="4122552"/>
                  <a:pt x="513133" y="4123894"/>
                </a:cubicBezTo>
                <a:cubicBezTo>
                  <a:pt x="507092" y="4120022"/>
                  <a:pt x="512377" y="4111794"/>
                  <a:pt x="517685" y="4112278"/>
                </a:cubicBezTo>
                <a:close/>
                <a:moveTo>
                  <a:pt x="5289660" y="4111935"/>
                </a:moveTo>
                <a:cubicBezTo>
                  <a:pt x="5294152" y="4115135"/>
                  <a:pt x="5290899" y="4118956"/>
                  <a:pt x="5291209" y="4124532"/>
                </a:cubicBezTo>
                <a:cubicBezTo>
                  <a:pt x="5286717" y="4123912"/>
                  <a:pt x="5284394" y="4116994"/>
                  <a:pt x="5286252" y="4113690"/>
                </a:cubicBezTo>
                <a:cubicBezTo>
                  <a:pt x="5286872" y="4112554"/>
                  <a:pt x="5287956" y="4111831"/>
                  <a:pt x="5289660" y="4111935"/>
                </a:cubicBezTo>
                <a:close/>
                <a:moveTo>
                  <a:pt x="5611206" y="4111857"/>
                </a:moveTo>
                <a:cubicBezTo>
                  <a:pt x="5613974" y="4111754"/>
                  <a:pt x="5616259" y="4112503"/>
                  <a:pt x="5617111" y="4112141"/>
                </a:cubicBezTo>
                <a:cubicBezTo>
                  <a:pt x="5618970" y="4114103"/>
                  <a:pt x="5619589" y="4114619"/>
                  <a:pt x="5618040" y="4116891"/>
                </a:cubicBezTo>
                <a:lnTo>
                  <a:pt x="5616336" y="4119059"/>
                </a:lnTo>
                <a:lnTo>
                  <a:pt x="5617730" y="4120918"/>
                </a:lnTo>
                <a:cubicBezTo>
                  <a:pt x="5616801" y="4121744"/>
                  <a:pt x="5616026" y="4122570"/>
                  <a:pt x="5615252" y="4123396"/>
                </a:cubicBezTo>
                <a:lnTo>
                  <a:pt x="5611844" y="4121434"/>
                </a:lnTo>
                <a:lnTo>
                  <a:pt x="5609211" y="4121228"/>
                </a:lnTo>
                <a:cubicBezTo>
                  <a:pt x="5607662" y="4122054"/>
                  <a:pt x="5605184" y="4121950"/>
                  <a:pt x="5603480" y="4120918"/>
                </a:cubicBezTo>
                <a:cubicBezTo>
                  <a:pt x="5601776" y="4119163"/>
                  <a:pt x="5601621" y="4117510"/>
                  <a:pt x="5602396" y="4116684"/>
                </a:cubicBezTo>
                <a:cubicBezTo>
                  <a:pt x="5605184" y="4112915"/>
                  <a:pt x="5608437" y="4111960"/>
                  <a:pt x="5611206" y="4111857"/>
                </a:cubicBezTo>
                <a:close/>
                <a:moveTo>
                  <a:pt x="5574611" y="4110140"/>
                </a:moveTo>
                <a:cubicBezTo>
                  <a:pt x="5579239" y="4109224"/>
                  <a:pt x="5584737" y="4110489"/>
                  <a:pt x="5585047" y="4113793"/>
                </a:cubicBezTo>
                <a:cubicBezTo>
                  <a:pt x="5585202" y="4116271"/>
                  <a:pt x="5582414" y="4119989"/>
                  <a:pt x="5573895" y="4124738"/>
                </a:cubicBezTo>
                <a:cubicBezTo>
                  <a:pt x="5571726" y="4122880"/>
                  <a:pt x="5570332" y="4121125"/>
                  <a:pt x="5569403" y="4119575"/>
                </a:cubicBezTo>
                <a:cubicBezTo>
                  <a:pt x="5566228" y="4114155"/>
                  <a:pt x="5569984" y="4111057"/>
                  <a:pt x="5574611" y="4110140"/>
                </a:cubicBezTo>
                <a:close/>
                <a:moveTo>
                  <a:pt x="5396229" y="4108940"/>
                </a:moveTo>
                <a:cubicBezTo>
                  <a:pt x="5396693" y="4110179"/>
                  <a:pt x="5396848" y="4112141"/>
                  <a:pt x="5397158" y="4113380"/>
                </a:cubicBezTo>
                <a:cubicBezTo>
                  <a:pt x="5397158" y="4113380"/>
                  <a:pt x="5397158" y="4113380"/>
                  <a:pt x="5396074" y="4113690"/>
                </a:cubicBezTo>
                <a:cubicBezTo>
                  <a:pt x="5396693" y="4112141"/>
                  <a:pt x="5394060" y="4109663"/>
                  <a:pt x="5396229" y="4108940"/>
                </a:cubicBezTo>
                <a:close/>
                <a:moveTo>
                  <a:pt x="5096194" y="4108114"/>
                </a:moveTo>
                <a:lnTo>
                  <a:pt x="5097898" y="4108940"/>
                </a:lnTo>
                <a:lnTo>
                  <a:pt x="5099447" y="4109250"/>
                </a:lnTo>
                <a:lnTo>
                  <a:pt x="5099447" y="4109973"/>
                </a:lnTo>
                <a:lnTo>
                  <a:pt x="5102236" y="4115652"/>
                </a:lnTo>
                <a:cubicBezTo>
                  <a:pt x="5102236" y="4117097"/>
                  <a:pt x="5101926" y="4118646"/>
                  <a:pt x="5100841" y="4119885"/>
                </a:cubicBezTo>
                <a:cubicBezTo>
                  <a:pt x="5099292" y="4120608"/>
                  <a:pt x="5097898" y="4120608"/>
                  <a:pt x="5096659" y="4120092"/>
                </a:cubicBezTo>
                <a:lnTo>
                  <a:pt x="5095110" y="4118749"/>
                </a:lnTo>
                <a:lnTo>
                  <a:pt x="5093251" y="4120092"/>
                </a:lnTo>
                <a:cubicBezTo>
                  <a:pt x="5091858" y="4120711"/>
                  <a:pt x="5090309" y="4121331"/>
                  <a:pt x="5088914" y="4122673"/>
                </a:cubicBezTo>
                <a:cubicBezTo>
                  <a:pt x="5087366" y="4121331"/>
                  <a:pt x="5086436" y="4120402"/>
                  <a:pt x="5086126" y="4119266"/>
                </a:cubicBezTo>
                <a:cubicBezTo>
                  <a:pt x="5085816" y="4118233"/>
                  <a:pt x="5086126" y="4116891"/>
                  <a:pt x="5087211" y="4114722"/>
                </a:cubicBezTo>
                <a:cubicBezTo>
                  <a:pt x="5087211" y="4114722"/>
                  <a:pt x="5088140" y="4113897"/>
                  <a:pt x="5088140" y="4113897"/>
                </a:cubicBezTo>
                <a:lnTo>
                  <a:pt x="5092477" y="4110799"/>
                </a:lnTo>
                <a:lnTo>
                  <a:pt x="5092787" y="4108527"/>
                </a:lnTo>
                <a:cubicBezTo>
                  <a:pt x="5094026" y="4108011"/>
                  <a:pt x="5095110" y="4107907"/>
                  <a:pt x="5096194" y="4108114"/>
                </a:cubicBezTo>
                <a:close/>
                <a:moveTo>
                  <a:pt x="5759306" y="4107804"/>
                </a:moveTo>
                <a:lnTo>
                  <a:pt x="5761629" y="4110799"/>
                </a:lnTo>
                <a:cubicBezTo>
                  <a:pt x="5761164" y="4111212"/>
                  <a:pt x="5760545" y="4111522"/>
                  <a:pt x="5759925" y="4111625"/>
                </a:cubicBezTo>
                <a:cubicBezTo>
                  <a:pt x="5759306" y="4111831"/>
                  <a:pt x="5758686" y="4111625"/>
                  <a:pt x="5758376" y="4111108"/>
                </a:cubicBezTo>
                <a:cubicBezTo>
                  <a:pt x="5757602" y="4110592"/>
                  <a:pt x="5757602" y="4110179"/>
                  <a:pt x="5757912" y="4109663"/>
                </a:cubicBezTo>
                <a:cubicBezTo>
                  <a:pt x="5758221" y="4109147"/>
                  <a:pt x="5758841" y="4108630"/>
                  <a:pt x="5759306" y="4107804"/>
                </a:cubicBezTo>
                <a:close/>
                <a:moveTo>
                  <a:pt x="5193528" y="4107507"/>
                </a:moveTo>
                <a:cubicBezTo>
                  <a:pt x="5196335" y="4106074"/>
                  <a:pt x="5199743" y="4106307"/>
                  <a:pt x="5201524" y="4108527"/>
                </a:cubicBezTo>
                <a:cubicBezTo>
                  <a:pt x="5202608" y="4110076"/>
                  <a:pt x="5203073" y="4112451"/>
                  <a:pt x="5202144" y="4115755"/>
                </a:cubicBezTo>
                <a:lnTo>
                  <a:pt x="5198736" y="4116271"/>
                </a:lnTo>
                <a:lnTo>
                  <a:pt x="5199046" y="4117510"/>
                </a:lnTo>
                <a:cubicBezTo>
                  <a:pt x="5199046" y="4118440"/>
                  <a:pt x="5198736" y="4119472"/>
                  <a:pt x="5198117" y="4120608"/>
                </a:cubicBezTo>
                <a:cubicBezTo>
                  <a:pt x="5196567" y="4119575"/>
                  <a:pt x="5194863" y="4118646"/>
                  <a:pt x="5193934" y="4117510"/>
                </a:cubicBezTo>
                <a:lnTo>
                  <a:pt x="5193779" y="4117097"/>
                </a:lnTo>
                <a:lnTo>
                  <a:pt x="5192230" y="4117407"/>
                </a:lnTo>
                <a:cubicBezTo>
                  <a:pt x="5191146" y="4117407"/>
                  <a:pt x="5190217" y="4117097"/>
                  <a:pt x="5189132" y="4116478"/>
                </a:cubicBezTo>
                <a:cubicBezTo>
                  <a:pt x="5188513" y="4112038"/>
                  <a:pt x="5190720" y="4108940"/>
                  <a:pt x="5193528" y="4107507"/>
                </a:cubicBezTo>
                <a:close/>
                <a:moveTo>
                  <a:pt x="712794" y="4106547"/>
                </a:moveTo>
                <a:cubicBezTo>
                  <a:pt x="713568" y="4106134"/>
                  <a:pt x="713878" y="4106857"/>
                  <a:pt x="715117" y="4107064"/>
                </a:cubicBezTo>
                <a:cubicBezTo>
                  <a:pt x="715427" y="4107786"/>
                  <a:pt x="715117" y="4109026"/>
                  <a:pt x="715117" y="4109026"/>
                </a:cubicBezTo>
                <a:cubicBezTo>
                  <a:pt x="714653" y="4110265"/>
                  <a:pt x="714653" y="4110265"/>
                  <a:pt x="715892" y="4110471"/>
                </a:cubicBezTo>
                <a:cubicBezTo>
                  <a:pt x="715892" y="4110471"/>
                  <a:pt x="715117" y="4110987"/>
                  <a:pt x="715117" y="4110987"/>
                </a:cubicBezTo>
                <a:cubicBezTo>
                  <a:pt x="714653" y="4110265"/>
                  <a:pt x="715117" y="4110987"/>
                  <a:pt x="714653" y="4112227"/>
                </a:cubicBezTo>
                <a:cubicBezTo>
                  <a:pt x="712794" y="4112433"/>
                  <a:pt x="712020" y="4112846"/>
                  <a:pt x="710935" y="4112536"/>
                </a:cubicBezTo>
                <a:cubicBezTo>
                  <a:pt x="710315" y="4112433"/>
                  <a:pt x="709696" y="4112123"/>
                  <a:pt x="709232" y="4111710"/>
                </a:cubicBezTo>
                <a:cubicBezTo>
                  <a:pt x="708766" y="4111194"/>
                  <a:pt x="708457" y="4110678"/>
                  <a:pt x="708766" y="4110161"/>
                </a:cubicBezTo>
                <a:cubicBezTo>
                  <a:pt x="709387" y="4109645"/>
                  <a:pt x="709077" y="4108922"/>
                  <a:pt x="709851" y="4108406"/>
                </a:cubicBezTo>
                <a:cubicBezTo>
                  <a:pt x="710935" y="4106754"/>
                  <a:pt x="711710" y="4106341"/>
                  <a:pt x="712794" y="4106547"/>
                </a:cubicBezTo>
                <a:close/>
                <a:moveTo>
                  <a:pt x="5114782" y="4106049"/>
                </a:moveTo>
                <a:cubicBezTo>
                  <a:pt x="5116796" y="4108940"/>
                  <a:pt x="5118190" y="4110799"/>
                  <a:pt x="5118809" y="4112658"/>
                </a:cubicBezTo>
                <a:cubicBezTo>
                  <a:pt x="5117725" y="4113897"/>
                  <a:pt x="5116486" y="4114206"/>
                  <a:pt x="5115247" y="4114103"/>
                </a:cubicBezTo>
                <a:cubicBezTo>
                  <a:pt x="5114162" y="4113897"/>
                  <a:pt x="5113233" y="4113174"/>
                  <a:pt x="5112458" y="4112244"/>
                </a:cubicBezTo>
                <a:cubicBezTo>
                  <a:pt x="5111065" y="4110386"/>
                  <a:pt x="5111065" y="4107495"/>
                  <a:pt x="5114782" y="4106049"/>
                </a:cubicBezTo>
                <a:close/>
                <a:moveTo>
                  <a:pt x="5420547" y="4105842"/>
                </a:moveTo>
                <a:cubicBezTo>
                  <a:pt x="5421322" y="4105016"/>
                  <a:pt x="5422251" y="4105016"/>
                  <a:pt x="5423181" y="4105946"/>
                </a:cubicBezTo>
                <a:cubicBezTo>
                  <a:pt x="5423181" y="4105946"/>
                  <a:pt x="5422406" y="4107598"/>
                  <a:pt x="5422406" y="4107598"/>
                </a:cubicBezTo>
                <a:cubicBezTo>
                  <a:pt x="5420702" y="4109250"/>
                  <a:pt x="5419928" y="4110076"/>
                  <a:pt x="5419153" y="4111831"/>
                </a:cubicBezTo>
                <a:cubicBezTo>
                  <a:pt x="5417295" y="4110902"/>
                  <a:pt x="5417295" y="4109973"/>
                  <a:pt x="5418069" y="4109147"/>
                </a:cubicBezTo>
                <a:cubicBezTo>
                  <a:pt x="5418069" y="4109147"/>
                  <a:pt x="5418998" y="4108321"/>
                  <a:pt x="5419773" y="4107495"/>
                </a:cubicBezTo>
                <a:cubicBezTo>
                  <a:pt x="5420547" y="4106668"/>
                  <a:pt x="5420547" y="4105842"/>
                  <a:pt x="5420547" y="4105842"/>
                </a:cubicBezTo>
                <a:close/>
                <a:moveTo>
                  <a:pt x="5340156" y="4105842"/>
                </a:moveTo>
                <a:lnTo>
                  <a:pt x="5340931" y="4106255"/>
                </a:lnTo>
                <a:cubicBezTo>
                  <a:pt x="5341240" y="4106668"/>
                  <a:pt x="5341085" y="4107288"/>
                  <a:pt x="5340776" y="4108217"/>
                </a:cubicBezTo>
                <a:cubicBezTo>
                  <a:pt x="5339846" y="4110799"/>
                  <a:pt x="5337058" y="4114722"/>
                  <a:pt x="5336749" y="4115239"/>
                </a:cubicBezTo>
                <a:cubicBezTo>
                  <a:pt x="5336749" y="4115239"/>
                  <a:pt x="5336439" y="4115962"/>
                  <a:pt x="5335974" y="4116788"/>
                </a:cubicBezTo>
                <a:cubicBezTo>
                  <a:pt x="5334890" y="4117097"/>
                  <a:pt x="5334270" y="4116684"/>
                  <a:pt x="5333806" y="4117407"/>
                </a:cubicBezTo>
                <a:cubicBezTo>
                  <a:pt x="5332566" y="4113897"/>
                  <a:pt x="5334425" y="4112038"/>
                  <a:pt x="5336284" y="4110282"/>
                </a:cubicBezTo>
                <a:cubicBezTo>
                  <a:pt x="5337678" y="4109147"/>
                  <a:pt x="5338142" y="4108424"/>
                  <a:pt x="5337988" y="4106462"/>
                </a:cubicBezTo>
                <a:cubicBezTo>
                  <a:pt x="5337988" y="4106462"/>
                  <a:pt x="5337988" y="4106462"/>
                  <a:pt x="5340156" y="4105842"/>
                </a:cubicBezTo>
                <a:close/>
                <a:moveTo>
                  <a:pt x="5315838" y="4105739"/>
                </a:moveTo>
                <a:cubicBezTo>
                  <a:pt x="5317077" y="4106049"/>
                  <a:pt x="5318161" y="4106255"/>
                  <a:pt x="5317851" y="4107495"/>
                </a:cubicBezTo>
                <a:cubicBezTo>
                  <a:pt x="5317386" y="4108630"/>
                  <a:pt x="5317851" y="4109457"/>
                  <a:pt x="5315838" y="4109560"/>
                </a:cubicBezTo>
                <a:cubicBezTo>
                  <a:pt x="5315218" y="4110076"/>
                  <a:pt x="5314134" y="4109766"/>
                  <a:pt x="5313359" y="4110282"/>
                </a:cubicBezTo>
                <a:cubicBezTo>
                  <a:pt x="5313359" y="4110282"/>
                  <a:pt x="5312895" y="4109766"/>
                  <a:pt x="5312430" y="4109250"/>
                </a:cubicBezTo>
                <a:cubicBezTo>
                  <a:pt x="5311965" y="4108630"/>
                  <a:pt x="5311655" y="4107907"/>
                  <a:pt x="5311810" y="4107288"/>
                </a:cubicBezTo>
                <a:cubicBezTo>
                  <a:pt x="5311810" y="4105326"/>
                  <a:pt x="5315218" y="4106152"/>
                  <a:pt x="5315838" y="4105739"/>
                </a:cubicBezTo>
                <a:close/>
                <a:moveTo>
                  <a:pt x="692502" y="4103863"/>
                </a:moveTo>
                <a:cubicBezTo>
                  <a:pt x="699628" y="4104999"/>
                  <a:pt x="707218" y="4105515"/>
                  <a:pt x="708766" y="4111297"/>
                </a:cubicBezTo>
                <a:cubicBezTo>
                  <a:pt x="707837" y="4112227"/>
                  <a:pt x="706753" y="4112743"/>
                  <a:pt x="705669" y="4112949"/>
                </a:cubicBezTo>
                <a:cubicBezTo>
                  <a:pt x="704430" y="4113156"/>
                  <a:pt x="703035" y="4113052"/>
                  <a:pt x="701641" y="4112743"/>
                </a:cubicBezTo>
                <a:cubicBezTo>
                  <a:pt x="698853" y="4112227"/>
                  <a:pt x="696065" y="4110781"/>
                  <a:pt x="694051" y="4109542"/>
                </a:cubicBezTo>
                <a:cubicBezTo>
                  <a:pt x="694206" y="4107167"/>
                  <a:pt x="692347" y="4106238"/>
                  <a:pt x="692502" y="4103863"/>
                </a:cubicBezTo>
                <a:close/>
                <a:moveTo>
                  <a:pt x="5382753" y="4102229"/>
                </a:moveTo>
                <a:cubicBezTo>
                  <a:pt x="5377176" y="4109869"/>
                  <a:pt x="5371910" y="4105223"/>
                  <a:pt x="5368657" y="4109457"/>
                </a:cubicBezTo>
                <a:cubicBezTo>
                  <a:pt x="5367728" y="4107701"/>
                  <a:pt x="5367728" y="4107701"/>
                  <a:pt x="5368502" y="4105946"/>
                </a:cubicBezTo>
                <a:cubicBezTo>
                  <a:pt x="5369277" y="4105946"/>
                  <a:pt x="5369277" y="4105120"/>
                  <a:pt x="5370206" y="4105946"/>
                </a:cubicBezTo>
                <a:cubicBezTo>
                  <a:pt x="5371755" y="4103468"/>
                  <a:pt x="5379345" y="4101196"/>
                  <a:pt x="5382753" y="4102229"/>
                </a:cubicBezTo>
                <a:close/>
                <a:moveTo>
                  <a:pt x="1416892" y="4102104"/>
                </a:moveTo>
                <a:lnTo>
                  <a:pt x="1415093" y="4103140"/>
                </a:lnTo>
                <a:lnTo>
                  <a:pt x="1411376" y="4105411"/>
                </a:lnTo>
                <a:lnTo>
                  <a:pt x="1410292" y="4108406"/>
                </a:lnTo>
                <a:cubicBezTo>
                  <a:pt x="1409363" y="4110471"/>
                  <a:pt x="1408279" y="4112227"/>
                  <a:pt x="1406884" y="4113466"/>
                </a:cubicBezTo>
                <a:lnTo>
                  <a:pt x="1405180" y="4109748"/>
                </a:lnTo>
                <a:lnTo>
                  <a:pt x="1400224" y="4114911"/>
                </a:lnTo>
                <a:cubicBezTo>
                  <a:pt x="1401308" y="4116047"/>
                  <a:pt x="1403632" y="4113878"/>
                  <a:pt x="1405335" y="4113362"/>
                </a:cubicBezTo>
                <a:cubicBezTo>
                  <a:pt x="1403167" y="4116563"/>
                  <a:pt x="1403632" y="4116047"/>
                  <a:pt x="1404871" y="4118732"/>
                </a:cubicBezTo>
                <a:lnTo>
                  <a:pt x="1403012" y="4119454"/>
                </a:lnTo>
                <a:lnTo>
                  <a:pt x="1403786" y="4119764"/>
                </a:lnTo>
                <a:cubicBezTo>
                  <a:pt x="1404251" y="4119971"/>
                  <a:pt x="1404560" y="4120177"/>
                  <a:pt x="1404560" y="4119971"/>
                </a:cubicBezTo>
                <a:cubicBezTo>
                  <a:pt x="1405490" y="4119145"/>
                  <a:pt x="1405490" y="4119145"/>
                  <a:pt x="1405490" y="4118318"/>
                </a:cubicBezTo>
                <a:cubicBezTo>
                  <a:pt x="1406419" y="4118422"/>
                  <a:pt x="1408124" y="4117802"/>
                  <a:pt x="1408898" y="4116976"/>
                </a:cubicBezTo>
                <a:cubicBezTo>
                  <a:pt x="1408898" y="4117906"/>
                  <a:pt x="1408898" y="4118732"/>
                  <a:pt x="1409827" y="4118835"/>
                </a:cubicBezTo>
                <a:cubicBezTo>
                  <a:pt x="1407969" y="4120383"/>
                  <a:pt x="1407194" y="4120177"/>
                  <a:pt x="1406264" y="4121003"/>
                </a:cubicBezTo>
                <a:cubicBezTo>
                  <a:pt x="1407194" y="4121106"/>
                  <a:pt x="1406264" y="4121829"/>
                  <a:pt x="1406264" y="4121829"/>
                </a:cubicBezTo>
                <a:cubicBezTo>
                  <a:pt x="1406264" y="4121829"/>
                  <a:pt x="1406264" y="4121829"/>
                  <a:pt x="1406419" y="4122036"/>
                </a:cubicBezTo>
                <a:lnTo>
                  <a:pt x="1407504" y="4123378"/>
                </a:lnTo>
                <a:lnTo>
                  <a:pt x="1410602" y="4121003"/>
                </a:lnTo>
                <a:lnTo>
                  <a:pt x="1423543" y="4111626"/>
                </a:lnTo>
                <a:lnTo>
                  <a:pt x="1418401" y="4104184"/>
                </a:lnTo>
                <a:close/>
                <a:moveTo>
                  <a:pt x="5664509" y="4101609"/>
                </a:moveTo>
                <a:cubicBezTo>
                  <a:pt x="5666833" y="4099957"/>
                  <a:pt x="5675507" y="4105636"/>
                  <a:pt x="5670705" y="4109766"/>
                </a:cubicBezTo>
                <a:cubicBezTo>
                  <a:pt x="5670085" y="4110386"/>
                  <a:pt x="5669156" y="4110489"/>
                  <a:pt x="5668226" y="4110076"/>
                </a:cubicBezTo>
                <a:cubicBezTo>
                  <a:pt x="5665438" y="4108940"/>
                  <a:pt x="5662031" y="4104087"/>
                  <a:pt x="5664509" y="4101609"/>
                </a:cubicBezTo>
                <a:close/>
                <a:moveTo>
                  <a:pt x="5290435" y="4100680"/>
                </a:moveTo>
                <a:cubicBezTo>
                  <a:pt x="5292139" y="4102641"/>
                  <a:pt x="5293842" y="4104603"/>
                  <a:pt x="5292758" y="4108940"/>
                </a:cubicBezTo>
                <a:cubicBezTo>
                  <a:pt x="5291364" y="4110076"/>
                  <a:pt x="5289970" y="4110696"/>
                  <a:pt x="5288421" y="4110902"/>
                </a:cubicBezTo>
                <a:cubicBezTo>
                  <a:pt x="5286872" y="4111108"/>
                  <a:pt x="5285168" y="4110696"/>
                  <a:pt x="5282999" y="4109973"/>
                </a:cubicBezTo>
                <a:cubicBezTo>
                  <a:pt x="5281605" y="4106049"/>
                  <a:pt x="5285013" y="4098718"/>
                  <a:pt x="5290435" y="4100680"/>
                </a:cubicBezTo>
                <a:close/>
                <a:moveTo>
                  <a:pt x="5389258" y="4098305"/>
                </a:moveTo>
                <a:cubicBezTo>
                  <a:pt x="5388329" y="4099131"/>
                  <a:pt x="5386780" y="4099957"/>
                  <a:pt x="5385851" y="4100783"/>
                </a:cubicBezTo>
                <a:cubicBezTo>
                  <a:pt x="5385851" y="4100783"/>
                  <a:pt x="5385851" y="4100783"/>
                  <a:pt x="5385076" y="4099854"/>
                </a:cubicBezTo>
                <a:cubicBezTo>
                  <a:pt x="5386780" y="4099957"/>
                  <a:pt x="5387399" y="4096446"/>
                  <a:pt x="5389258" y="4098305"/>
                </a:cubicBezTo>
                <a:close/>
                <a:moveTo>
                  <a:pt x="5375995" y="4097621"/>
                </a:moveTo>
                <a:cubicBezTo>
                  <a:pt x="5378338" y="4097608"/>
                  <a:pt x="5380275" y="4097892"/>
                  <a:pt x="5380739" y="4097892"/>
                </a:cubicBezTo>
                <a:cubicBezTo>
                  <a:pt x="5380739" y="4098718"/>
                  <a:pt x="5380739" y="4098718"/>
                  <a:pt x="5380739" y="4098718"/>
                </a:cubicBezTo>
                <a:cubicBezTo>
                  <a:pt x="5378106" y="4097995"/>
                  <a:pt x="5375163" y="4100060"/>
                  <a:pt x="5372065" y="4100370"/>
                </a:cubicBezTo>
                <a:cubicBezTo>
                  <a:pt x="5371135" y="4100473"/>
                  <a:pt x="5370051" y="4100370"/>
                  <a:pt x="5368967" y="4099957"/>
                </a:cubicBezTo>
                <a:cubicBezTo>
                  <a:pt x="5368967" y="4099957"/>
                  <a:pt x="5368967" y="4099957"/>
                  <a:pt x="5369742" y="4099957"/>
                </a:cubicBezTo>
                <a:cubicBezTo>
                  <a:pt x="5369742" y="4099957"/>
                  <a:pt x="5368967" y="4099957"/>
                  <a:pt x="5368812" y="4099131"/>
                </a:cubicBezTo>
                <a:cubicBezTo>
                  <a:pt x="5370903" y="4097943"/>
                  <a:pt x="5373653" y="4097634"/>
                  <a:pt x="5375995" y="4097621"/>
                </a:cubicBezTo>
                <a:close/>
                <a:moveTo>
                  <a:pt x="5634459" y="4097375"/>
                </a:moveTo>
                <a:cubicBezTo>
                  <a:pt x="5638951" y="4100370"/>
                  <a:pt x="5638796" y="4107907"/>
                  <a:pt x="5633065" y="4109043"/>
                </a:cubicBezTo>
                <a:cubicBezTo>
                  <a:pt x="5631981" y="4107288"/>
                  <a:pt x="5630432" y="4106359"/>
                  <a:pt x="5629347" y="4104707"/>
                </a:cubicBezTo>
                <a:cubicBezTo>
                  <a:pt x="5630897" y="4101919"/>
                  <a:pt x="5629193" y="4097789"/>
                  <a:pt x="5634459" y="4097375"/>
                </a:cubicBezTo>
                <a:close/>
                <a:moveTo>
                  <a:pt x="5852088" y="4097272"/>
                </a:moveTo>
                <a:lnTo>
                  <a:pt x="5845893" y="4102848"/>
                </a:lnTo>
                <a:lnTo>
                  <a:pt x="5838922" y="4108114"/>
                </a:lnTo>
                <a:lnTo>
                  <a:pt x="5844653" y="4127010"/>
                </a:lnTo>
                <a:lnTo>
                  <a:pt x="5846512" y="4133102"/>
                </a:lnTo>
                <a:lnTo>
                  <a:pt x="5849145" y="4130521"/>
                </a:lnTo>
                <a:cubicBezTo>
                  <a:pt x="5851314" y="4131037"/>
                  <a:pt x="5853638" y="4128765"/>
                  <a:pt x="5856271" y="4128146"/>
                </a:cubicBezTo>
                <a:lnTo>
                  <a:pt x="5857200" y="4128146"/>
                </a:lnTo>
                <a:lnTo>
                  <a:pt x="5857200" y="4127939"/>
                </a:lnTo>
                <a:cubicBezTo>
                  <a:pt x="5857045" y="4126184"/>
                  <a:pt x="5856581" y="4124635"/>
                  <a:pt x="5855341" y="4123499"/>
                </a:cubicBezTo>
                <a:cubicBezTo>
                  <a:pt x="5856426" y="4124635"/>
                  <a:pt x="5857665" y="4125048"/>
                  <a:pt x="5859369" y="4124015"/>
                </a:cubicBezTo>
                <a:lnTo>
                  <a:pt x="5858129" y="4118233"/>
                </a:lnTo>
                <a:lnTo>
                  <a:pt x="5857820" y="4117820"/>
                </a:lnTo>
                <a:lnTo>
                  <a:pt x="5856581" y="4119369"/>
                </a:lnTo>
                <a:cubicBezTo>
                  <a:pt x="5856271" y="4120092"/>
                  <a:pt x="5856271" y="4120815"/>
                  <a:pt x="5856581" y="4121744"/>
                </a:cubicBezTo>
                <a:lnTo>
                  <a:pt x="5853483" y="4104397"/>
                </a:lnTo>
                <a:lnTo>
                  <a:pt x="5853173" y="4104294"/>
                </a:lnTo>
                <a:lnTo>
                  <a:pt x="5853328" y="4103984"/>
                </a:lnTo>
                <a:close/>
                <a:moveTo>
                  <a:pt x="5585512" y="4097169"/>
                </a:moveTo>
                <a:cubicBezTo>
                  <a:pt x="5587216" y="4098924"/>
                  <a:pt x="5588920" y="4098201"/>
                  <a:pt x="5590624" y="4099957"/>
                </a:cubicBezTo>
                <a:cubicBezTo>
                  <a:pt x="5589075" y="4101609"/>
                  <a:pt x="5588300" y="4103364"/>
                  <a:pt x="5587525" y="4104191"/>
                </a:cubicBezTo>
                <a:cubicBezTo>
                  <a:pt x="5583963" y="4102332"/>
                  <a:pt x="5583033" y="4099647"/>
                  <a:pt x="5585512" y="4097169"/>
                </a:cubicBezTo>
                <a:close/>
                <a:moveTo>
                  <a:pt x="688166" y="4096428"/>
                </a:moveTo>
                <a:cubicBezTo>
                  <a:pt x="688940" y="4103863"/>
                  <a:pt x="690489" y="4106754"/>
                  <a:pt x="690489" y="4112743"/>
                </a:cubicBezTo>
                <a:cubicBezTo>
                  <a:pt x="689714" y="4113156"/>
                  <a:pt x="689405" y="4112433"/>
                  <a:pt x="688630" y="4112846"/>
                </a:cubicBezTo>
                <a:cubicBezTo>
                  <a:pt x="688010" y="4112743"/>
                  <a:pt x="687546" y="4112123"/>
                  <a:pt x="687081" y="4111194"/>
                </a:cubicBezTo>
                <a:cubicBezTo>
                  <a:pt x="685687" y="4108406"/>
                  <a:pt x="684912" y="4103346"/>
                  <a:pt x="685532" y="4102934"/>
                </a:cubicBezTo>
                <a:cubicBezTo>
                  <a:pt x="685222" y="4102210"/>
                  <a:pt x="685842" y="4101798"/>
                  <a:pt x="685532" y="4101075"/>
                </a:cubicBezTo>
                <a:cubicBezTo>
                  <a:pt x="685532" y="4101075"/>
                  <a:pt x="685067" y="4100352"/>
                  <a:pt x="685532" y="4099113"/>
                </a:cubicBezTo>
                <a:cubicBezTo>
                  <a:pt x="685842" y="4097874"/>
                  <a:pt x="686152" y="4096635"/>
                  <a:pt x="688166" y="4096428"/>
                </a:cubicBezTo>
                <a:close/>
                <a:moveTo>
                  <a:pt x="5795396" y="4096343"/>
                </a:moveTo>
                <a:cubicBezTo>
                  <a:pt x="5796171" y="4097375"/>
                  <a:pt x="5798804" y="4097789"/>
                  <a:pt x="5800508" y="4098924"/>
                </a:cubicBezTo>
                <a:cubicBezTo>
                  <a:pt x="5800508" y="4099750"/>
                  <a:pt x="5801283" y="4100680"/>
                  <a:pt x="5801283" y="4101506"/>
                </a:cubicBezTo>
                <a:cubicBezTo>
                  <a:pt x="5800818" y="4101402"/>
                  <a:pt x="5800043" y="4101506"/>
                  <a:pt x="5799579" y="4101506"/>
                </a:cubicBezTo>
                <a:cubicBezTo>
                  <a:pt x="5798959" y="4101506"/>
                  <a:pt x="5798494" y="4101506"/>
                  <a:pt x="5798649" y="4101093"/>
                </a:cubicBezTo>
                <a:cubicBezTo>
                  <a:pt x="5797720" y="4100990"/>
                  <a:pt x="5797875" y="4099234"/>
                  <a:pt x="5797875" y="4099234"/>
                </a:cubicBezTo>
                <a:cubicBezTo>
                  <a:pt x="5796945" y="4099131"/>
                  <a:pt x="5796171" y="4098924"/>
                  <a:pt x="5795241" y="4097995"/>
                </a:cubicBezTo>
                <a:cubicBezTo>
                  <a:pt x="5796171" y="4097272"/>
                  <a:pt x="5795396" y="4097169"/>
                  <a:pt x="5795396" y="4096343"/>
                </a:cubicBezTo>
                <a:close/>
                <a:moveTo>
                  <a:pt x="5678450" y="4096343"/>
                </a:moveTo>
                <a:cubicBezTo>
                  <a:pt x="5683406" y="4094794"/>
                  <a:pt x="5688053" y="4100370"/>
                  <a:pt x="5684646" y="4105636"/>
                </a:cubicBezTo>
                <a:cubicBezTo>
                  <a:pt x="5682787" y="4105326"/>
                  <a:pt x="5681238" y="4105842"/>
                  <a:pt x="5679379" y="4105533"/>
                </a:cubicBezTo>
                <a:cubicBezTo>
                  <a:pt x="5679069" y="4103880"/>
                  <a:pt x="5677985" y="4102745"/>
                  <a:pt x="5677365" y="4101402"/>
                </a:cubicBezTo>
                <a:cubicBezTo>
                  <a:pt x="5676746" y="4100060"/>
                  <a:pt x="5676746" y="4098614"/>
                  <a:pt x="5678450" y="4096343"/>
                </a:cubicBezTo>
                <a:close/>
                <a:moveTo>
                  <a:pt x="5143380" y="4095917"/>
                </a:moveTo>
                <a:cubicBezTo>
                  <a:pt x="5144948" y="4095156"/>
                  <a:pt x="5146613" y="4095775"/>
                  <a:pt x="5146226" y="4100163"/>
                </a:cubicBezTo>
                <a:cubicBezTo>
                  <a:pt x="5144677" y="4100576"/>
                  <a:pt x="5143438" y="4100680"/>
                  <a:pt x="5142663" y="4100680"/>
                </a:cubicBezTo>
                <a:cubicBezTo>
                  <a:pt x="5141889" y="4100576"/>
                  <a:pt x="5141270" y="4100267"/>
                  <a:pt x="5141114" y="4099957"/>
                </a:cubicBezTo>
                <a:cubicBezTo>
                  <a:pt x="5140340" y="4098821"/>
                  <a:pt x="5141812" y="4096679"/>
                  <a:pt x="5143380" y="4095917"/>
                </a:cubicBezTo>
                <a:close/>
                <a:moveTo>
                  <a:pt x="5221506" y="4094794"/>
                </a:moveTo>
                <a:cubicBezTo>
                  <a:pt x="5228941" y="4094897"/>
                  <a:pt x="5241177" y="4095310"/>
                  <a:pt x="5246754" y="4100060"/>
                </a:cubicBezTo>
                <a:cubicBezTo>
                  <a:pt x="5245515" y="4102332"/>
                  <a:pt x="5243501" y="4103364"/>
                  <a:pt x="5241332" y="4103674"/>
                </a:cubicBezTo>
                <a:cubicBezTo>
                  <a:pt x="5234362" y="4104603"/>
                  <a:pt x="5224294" y="4098408"/>
                  <a:pt x="5221506" y="4094794"/>
                </a:cubicBezTo>
                <a:close/>
                <a:moveTo>
                  <a:pt x="5804845" y="4093452"/>
                </a:moveTo>
                <a:cubicBezTo>
                  <a:pt x="5804845" y="4093452"/>
                  <a:pt x="5805619" y="4094484"/>
                  <a:pt x="5806394" y="4095517"/>
                </a:cubicBezTo>
                <a:cubicBezTo>
                  <a:pt x="5807169" y="4096549"/>
                  <a:pt x="5808098" y="4096652"/>
                  <a:pt x="5808098" y="4096652"/>
                </a:cubicBezTo>
                <a:cubicBezTo>
                  <a:pt x="5808873" y="4097685"/>
                  <a:pt x="5808717" y="4098614"/>
                  <a:pt x="5807943" y="4099337"/>
                </a:cubicBezTo>
                <a:cubicBezTo>
                  <a:pt x="5807943" y="4099337"/>
                  <a:pt x="5806239" y="4098201"/>
                  <a:pt x="5806239" y="4098201"/>
                </a:cubicBezTo>
                <a:cubicBezTo>
                  <a:pt x="5804690" y="4096136"/>
                  <a:pt x="5803916" y="4095104"/>
                  <a:pt x="5802367" y="4093968"/>
                </a:cubicBezTo>
                <a:cubicBezTo>
                  <a:pt x="5803296" y="4092316"/>
                  <a:pt x="5804071" y="4092419"/>
                  <a:pt x="5804845" y="4093452"/>
                </a:cubicBezTo>
                <a:close/>
                <a:moveTo>
                  <a:pt x="5741337" y="4093039"/>
                </a:moveTo>
                <a:cubicBezTo>
                  <a:pt x="5748773" y="4088496"/>
                  <a:pt x="5766276" y="4097892"/>
                  <a:pt x="5763023" y="4107288"/>
                </a:cubicBezTo>
                <a:lnTo>
                  <a:pt x="5759151" y="4104810"/>
                </a:lnTo>
                <a:lnTo>
                  <a:pt x="5758686" y="4106875"/>
                </a:lnTo>
                <a:cubicBezTo>
                  <a:pt x="5757292" y="4107907"/>
                  <a:pt x="5755433" y="4109353"/>
                  <a:pt x="5753574" y="4109147"/>
                </a:cubicBezTo>
                <a:cubicBezTo>
                  <a:pt x="5752955" y="4109043"/>
                  <a:pt x="5752335" y="4108837"/>
                  <a:pt x="5751716" y="4108321"/>
                </a:cubicBezTo>
                <a:cubicBezTo>
                  <a:pt x="5751870" y="4107495"/>
                  <a:pt x="5750941" y="4107288"/>
                  <a:pt x="5751096" y="4106462"/>
                </a:cubicBezTo>
                <a:cubicBezTo>
                  <a:pt x="5751096" y="4106462"/>
                  <a:pt x="5750631" y="4105533"/>
                  <a:pt x="5750631" y="4104294"/>
                </a:cubicBezTo>
                <a:lnTo>
                  <a:pt x="5751870" y="4101093"/>
                </a:lnTo>
                <a:lnTo>
                  <a:pt x="5746604" y="4098098"/>
                </a:lnTo>
                <a:cubicBezTo>
                  <a:pt x="5744745" y="4096756"/>
                  <a:pt x="5743041" y="4095207"/>
                  <a:pt x="5741337" y="4093039"/>
                </a:cubicBezTo>
                <a:close/>
                <a:moveTo>
                  <a:pt x="5465777" y="4092935"/>
                </a:moveTo>
                <a:cubicBezTo>
                  <a:pt x="5467946" y="4092316"/>
                  <a:pt x="5471354" y="4091387"/>
                  <a:pt x="5472902" y="4094174"/>
                </a:cubicBezTo>
                <a:cubicBezTo>
                  <a:pt x="5472593" y="4094897"/>
                  <a:pt x="5473367" y="4095413"/>
                  <a:pt x="5473057" y="4096136"/>
                </a:cubicBezTo>
                <a:cubicBezTo>
                  <a:pt x="5473057" y="4096136"/>
                  <a:pt x="5473057" y="4097066"/>
                  <a:pt x="5472593" y="4098201"/>
                </a:cubicBezTo>
                <a:cubicBezTo>
                  <a:pt x="5472128" y="4099440"/>
                  <a:pt x="5471354" y="4100783"/>
                  <a:pt x="5469495" y="4101712"/>
                </a:cubicBezTo>
                <a:cubicBezTo>
                  <a:pt x="5468875" y="4101815"/>
                  <a:pt x="5467946" y="4102022"/>
                  <a:pt x="5467016" y="4102022"/>
                </a:cubicBezTo>
                <a:cubicBezTo>
                  <a:pt x="5466242" y="4102022"/>
                  <a:pt x="5465622" y="4101815"/>
                  <a:pt x="5465777" y="4101506"/>
                </a:cubicBezTo>
                <a:cubicBezTo>
                  <a:pt x="5465312" y="4100267"/>
                  <a:pt x="5465003" y="4100990"/>
                  <a:pt x="5464228" y="4100576"/>
                </a:cubicBezTo>
                <a:cubicBezTo>
                  <a:pt x="5462989" y="4097066"/>
                  <a:pt x="5463144" y="4094381"/>
                  <a:pt x="5465777" y="4092935"/>
                </a:cubicBezTo>
                <a:close/>
                <a:moveTo>
                  <a:pt x="5422096" y="4092109"/>
                </a:moveTo>
                <a:cubicBezTo>
                  <a:pt x="5422871" y="4092523"/>
                  <a:pt x="5424885" y="4094588"/>
                  <a:pt x="5425194" y="4093865"/>
                </a:cubicBezTo>
                <a:cubicBezTo>
                  <a:pt x="5426124" y="4096549"/>
                  <a:pt x="5426898" y="4099647"/>
                  <a:pt x="5426124" y="4101609"/>
                </a:cubicBezTo>
                <a:cubicBezTo>
                  <a:pt x="5425814" y="4102229"/>
                  <a:pt x="5425349" y="4102848"/>
                  <a:pt x="5424730" y="4103158"/>
                </a:cubicBezTo>
                <a:cubicBezTo>
                  <a:pt x="5423335" y="4104191"/>
                  <a:pt x="5422096" y="4102538"/>
                  <a:pt x="5421322" y="4100163"/>
                </a:cubicBezTo>
                <a:cubicBezTo>
                  <a:pt x="5418534" y="4095724"/>
                  <a:pt x="5418688" y="4093039"/>
                  <a:pt x="5422096" y="4092109"/>
                </a:cubicBezTo>
                <a:close/>
                <a:moveTo>
                  <a:pt x="5597807" y="4091670"/>
                </a:moveTo>
                <a:cubicBezTo>
                  <a:pt x="5598872" y="4092187"/>
                  <a:pt x="5599608" y="4093400"/>
                  <a:pt x="5599453" y="4094588"/>
                </a:cubicBezTo>
                <a:cubicBezTo>
                  <a:pt x="5599298" y="4095413"/>
                  <a:pt x="5598833" y="4096240"/>
                  <a:pt x="5597594" y="4096756"/>
                </a:cubicBezTo>
                <a:cubicBezTo>
                  <a:pt x="5596200" y="4095724"/>
                  <a:pt x="5595580" y="4094794"/>
                  <a:pt x="5594186" y="4092935"/>
                </a:cubicBezTo>
                <a:cubicBezTo>
                  <a:pt x="5595348" y="4091335"/>
                  <a:pt x="5596742" y="4091154"/>
                  <a:pt x="5597807" y="4091670"/>
                </a:cubicBezTo>
                <a:close/>
                <a:moveTo>
                  <a:pt x="5542509" y="4090754"/>
                </a:moveTo>
                <a:cubicBezTo>
                  <a:pt x="5547175" y="4090328"/>
                  <a:pt x="5552209" y="4091335"/>
                  <a:pt x="5556856" y="4093968"/>
                </a:cubicBezTo>
                <a:cubicBezTo>
                  <a:pt x="5556856" y="4095104"/>
                  <a:pt x="5556701" y="4096343"/>
                  <a:pt x="5557940" y="4096549"/>
                </a:cubicBezTo>
                <a:cubicBezTo>
                  <a:pt x="5557940" y="4108527"/>
                  <a:pt x="5546168" y="4117304"/>
                  <a:pt x="5535016" y="4116581"/>
                </a:cubicBezTo>
                <a:cubicBezTo>
                  <a:pt x="5533157" y="4116478"/>
                  <a:pt x="5531298" y="4116065"/>
                  <a:pt x="5529594" y="4115342"/>
                </a:cubicBezTo>
                <a:lnTo>
                  <a:pt x="5526187" y="4113380"/>
                </a:lnTo>
                <a:lnTo>
                  <a:pt x="5527116" y="4115239"/>
                </a:lnTo>
                <a:lnTo>
                  <a:pt x="5527735" y="4115445"/>
                </a:lnTo>
                <a:lnTo>
                  <a:pt x="5536255" y="4122673"/>
                </a:lnTo>
                <a:lnTo>
                  <a:pt x="5540282" y="4120195"/>
                </a:lnTo>
                <a:cubicBezTo>
                  <a:pt x="5544774" y="4118440"/>
                  <a:pt x="5550041" y="4118543"/>
                  <a:pt x="5552829" y="4122364"/>
                </a:cubicBezTo>
                <a:cubicBezTo>
                  <a:pt x="5550196" y="4123499"/>
                  <a:pt x="5547562" y="4124429"/>
                  <a:pt x="5544774" y="4125771"/>
                </a:cubicBezTo>
                <a:lnTo>
                  <a:pt x="5537184" y="4131140"/>
                </a:lnTo>
                <a:lnTo>
                  <a:pt x="5536565" y="4133515"/>
                </a:lnTo>
                <a:cubicBezTo>
                  <a:pt x="5535480" y="4135683"/>
                  <a:pt x="5533777" y="4137852"/>
                  <a:pt x="5531143" y="4140227"/>
                </a:cubicBezTo>
                <a:cubicBezTo>
                  <a:pt x="5528355" y="4139401"/>
                  <a:pt x="5524947" y="4138781"/>
                  <a:pt x="5521540" y="4137852"/>
                </a:cubicBezTo>
                <a:lnTo>
                  <a:pt x="5519526" y="4137129"/>
                </a:lnTo>
                <a:lnTo>
                  <a:pt x="5521385" y="4139607"/>
                </a:lnTo>
                <a:cubicBezTo>
                  <a:pt x="5523708" y="4144047"/>
                  <a:pt x="5524947" y="4149210"/>
                  <a:pt x="5524638" y="4154476"/>
                </a:cubicBezTo>
                <a:cubicBezTo>
                  <a:pt x="5523399" y="4154683"/>
                  <a:pt x="5522314" y="4154889"/>
                  <a:pt x="5522624" y="4156128"/>
                </a:cubicBezTo>
                <a:cubicBezTo>
                  <a:pt x="5520765" y="4156644"/>
                  <a:pt x="5518907" y="4156851"/>
                  <a:pt x="5517048" y="4156748"/>
                </a:cubicBezTo>
                <a:cubicBezTo>
                  <a:pt x="5503882" y="4155922"/>
                  <a:pt x="5490406" y="4140537"/>
                  <a:pt x="5493968" y="4127526"/>
                </a:cubicBezTo>
                <a:cubicBezTo>
                  <a:pt x="5497066" y="4126391"/>
                  <a:pt x="5500009" y="4126081"/>
                  <a:pt x="5502952" y="4126391"/>
                </a:cubicBezTo>
                <a:lnTo>
                  <a:pt x="5503107" y="4126494"/>
                </a:lnTo>
                <a:lnTo>
                  <a:pt x="5503417" y="4124429"/>
                </a:lnTo>
                <a:lnTo>
                  <a:pt x="5503107" y="4122880"/>
                </a:lnTo>
                <a:lnTo>
                  <a:pt x="5501093" y="4123912"/>
                </a:lnTo>
                <a:cubicBezTo>
                  <a:pt x="5497066" y="4124841"/>
                  <a:pt x="5492574" y="4123912"/>
                  <a:pt x="5490096" y="4120092"/>
                </a:cubicBezTo>
                <a:cubicBezTo>
                  <a:pt x="5490561" y="4112141"/>
                  <a:pt x="5501248" y="4107701"/>
                  <a:pt x="5506979" y="4108217"/>
                </a:cubicBezTo>
                <a:lnTo>
                  <a:pt x="5509458" y="4112451"/>
                </a:lnTo>
                <a:lnTo>
                  <a:pt x="5513021" y="4110592"/>
                </a:lnTo>
                <a:lnTo>
                  <a:pt x="5515964" y="4110179"/>
                </a:lnTo>
                <a:lnTo>
                  <a:pt x="5515809" y="4106152"/>
                </a:lnTo>
                <a:cubicBezTo>
                  <a:pt x="5517048" y="4105842"/>
                  <a:pt x="5518907" y="4105946"/>
                  <a:pt x="5520920" y="4106668"/>
                </a:cubicBezTo>
                <a:lnTo>
                  <a:pt x="5524793" y="4109973"/>
                </a:lnTo>
                <a:lnTo>
                  <a:pt x="5525722" y="4103055"/>
                </a:lnTo>
                <a:cubicBezTo>
                  <a:pt x="5526806" y="4100370"/>
                  <a:pt x="5528355" y="4098098"/>
                  <a:pt x="5530369" y="4096136"/>
                </a:cubicBezTo>
                <a:cubicBezTo>
                  <a:pt x="5533544" y="4093039"/>
                  <a:pt x="5537843" y="4091180"/>
                  <a:pt x="5542509" y="4090754"/>
                </a:cubicBezTo>
                <a:close/>
                <a:moveTo>
                  <a:pt x="5482196" y="4090147"/>
                </a:moveTo>
                <a:cubicBezTo>
                  <a:pt x="5486068" y="4087566"/>
                  <a:pt x="5489321" y="4088392"/>
                  <a:pt x="5493349" y="4090973"/>
                </a:cubicBezTo>
                <a:cubicBezTo>
                  <a:pt x="5493039" y="4092626"/>
                  <a:pt x="5490251" y="4094484"/>
                  <a:pt x="5488392" y="4095724"/>
                </a:cubicBezTo>
                <a:cubicBezTo>
                  <a:pt x="5485914" y="4095104"/>
                  <a:pt x="5483590" y="4092935"/>
                  <a:pt x="5482196" y="4090147"/>
                </a:cubicBezTo>
                <a:close/>
                <a:moveTo>
                  <a:pt x="5267820" y="4088599"/>
                </a:moveTo>
                <a:cubicBezTo>
                  <a:pt x="5268904" y="4088289"/>
                  <a:pt x="5272621" y="4088496"/>
                  <a:pt x="5273086" y="4089631"/>
                </a:cubicBezTo>
                <a:cubicBezTo>
                  <a:pt x="5273551" y="4090870"/>
                  <a:pt x="5273086" y="4091593"/>
                  <a:pt x="5272776" y="4092419"/>
                </a:cubicBezTo>
                <a:lnTo>
                  <a:pt x="5269214" y="4095001"/>
                </a:lnTo>
                <a:lnTo>
                  <a:pt x="5270918" y="4095724"/>
                </a:lnTo>
                <a:cubicBezTo>
                  <a:pt x="5272621" y="4096963"/>
                  <a:pt x="5273706" y="4098305"/>
                  <a:pt x="5273861" y="4099234"/>
                </a:cubicBezTo>
                <a:cubicBezTo>
                  <a:pt x="5273706" y="4101093"/>
                  <a:pt x="5272312" y="4102951"/>
                  <a:pt x="5270143" y="4103364"/>
                </a:cubicBezTo>
                <a:cubicBezTo>
                  <a:pt x="5269524" y="4103571"/>
                  <a:pt x="5268749" y="4103468"/>
                  <a:pt x="5267820" y="4103261"/>
                </a:cubicBezTo>
                <a:cubicBezTo>
                  <a:pt x="5264877" y="4103158"/>
                  <a:pt x="5262863" y="4100163"/>
                  <a:pt x="5259300" y="4099234"/>
                </a:cubicBezTo>
                <a:cubicBezTo>
                  <a:pt x="5259300" y="4097066"/>
                  <a:pt x="5259300" y="4095724"/>
                  <a:pt x="5259920" y="4094794"/>
                </a:cubicBezTo>
                <a:lnTo>
                  <a:pt x="5260540" y="4094484"/>
                </a:lnTo>
                <a:close/>
                <a:moveTo>
                  <a:pt x="5464228" y="4088289"/>
                </a:moveTo>
                <a:cubicBezTo>
                  <a:pt x="5465467" y="4087876"/>
                  <a:pt x="5467171" y="4087979"/>
                  <a:pt x="5467636" y="4089115"/>
                </a:cubicBezTo>
                <a:cubicBezTo>
                  <a:pt x="5468100" y="4089941"/>
                  <a:pt x="5467946" y="4090354"/>
                  <a:pt x="5467481" y="4090664"/>
                </a:cubicBezTo>
                <a:cubicBezTo>
                  <a:pt x="5467016" y="4090973"/>
                  <a:pt x="5466242" y="4091283"/>
                  <a:pt x="5465467" y="4091800"/>
                </a:cubicBezTo>
                <a:close/>
                <a:moveTo>
                  <a:pt x="5412957" y="4088082"/>
                </a:moveTo>
                <a:cubicBezTo>
                  <a:pt x="5411873" y="4089941"/>
                  <a:pt x="5409860" y="4093245"/>
                  <a:pt x="5407846" y="4093968"/>
                </a:cubicBezTo>
                <a:cubicBezTo>
                  <a:pt x="5407226" y="4094278"/>
                  <a:pt x="5406452" y="4094174"/>
                  <a:pt x="5405832" y="4093762"/>
                </a:cubicBezTo>
                <a:cubicBezTo>
                  <a:pt x="5405058" y="4092832"/>
                  <a:pt x="5405832" y="4092006"/>
                  <a:pt x="5405677" y="4091180"/>
                </a:cubicBezTo>
                <a:cubicBezTo>
                  <a:pt x="5406452" y="4089528"/>
                  <a:pt x="5412028" y="4087257"/>
                  <a:pt x="5412957" y="4088082"/>
                </a:cubicBezTo>
                <a:close/>
                <a:moveTo>
                  <a:pt x="5635853" y="4087257"/>
                </a:moveTo>
                <a:cubicBezTo>
                  <a:pt x="5637867" y="4084468"/>
                  <a:pt x="5644372" y="4086121"/>
                  <a:pt x="5646076" y="4089528"/>
                </a:cubicBezTo>
                <a:cubicBezTo>
                  <a:pt x="5643443" y="4088805"/>
                  <a:pt x="5641275" y="4089322"/>
                  <a:pt x="5639725" y="4089425"/>
                </a:cubicBezTo>
                <a:cubicBezTo>
                  <a:pt x="5638177" y="4089528"/>
                  <a:pt x="5636937" y="4089322"/>
                  <a:pt x="5635853" y="4087257"/>
                </a:cubicBezTo>
                <a:close/>
                <a:moveTo>
                  <a:pt x="5664819" y="4086740"/>
                </a:moveTo>
                <a:cubicBezTo>
                  <a:pt x="5665283" y="4087463"/>
                  <a:pt x="5666523" y="4087669"/>
                  <a:pt x="5666987" y="4088392"/>
                </a:cubicBezTo>
                <a:cubicBezTo>
                  <a:pt x="5666213" y="4088805"/>
                  <a:pt x="5665438" y="4090561"/>
                  <a:pt x="5664974" y="4089838"/>
                </a:cubicBezTo>
                <a:cubicBezTo>
                  <a:pt x="5664199" y="4090251"/>
                  <a:pt x="5663270" y="4088805"/>
                  <a:pt x="5663270" y="4088805"/>
                </a:cubicBezTo>
                <a:cubicBezTo>
                  <a:pt x="5662495" y="4089322"/>
                  <a:pt x="5661876" y="4089734"/>
                  <a:pt x="5660636" y="4089425"/>
                </a:cubicBezTo>
                <a:cubicBezTo>
                  <a:pt x="5660792" y="4088289"/>
                  <a:pt x="5660172" y="4088702"/>
                  <a:pt x="5659707" y="4087979"/>
                </a:cubicBezTo>
                <a:cubicBezTo>
                  <a:pt x="5660792" y="4088289"/>
                  <a:pt x="5662960" y="4086946"/>
                  <a:pt x="5664819" y="4086740"/>
                </a:cubicBezTo>
                <a:close/>
                <a:moveTo>
                  <a:pt x="5767360" y="4086430"/>
                </a:moveTo>
                <a:cubicBezTo>
                  <a:pt x="5769529" y="4091696"/>
                  <a:pt x="5778823" y="4107598"/>
                  <a:pt x="5772317" y="4110179"/>
                </a:cubicBezTo>
                <a:cubicBezTo>
                  <a:pt x="5769529" y="4104397"/>
                  <a:pt x="5758996" y="4090664"/>
                  <a:pt x="5767360" y="4086430"/>
                </a:cubicBezTo>
                <a:close/>
                <a:moveTo>
                  <a:pt x="5589229" y="4085707"/>
                </a:moveTo>
                <a:cubicBezTo>
                  <a:pt x="5591243" y="4087257"/>
                  <a:pt x="5590624" y="4089941"/>
                  <a:pt x="5589229" y="4091696"/>
                </a:cubicBezTo>
                <a:cubicBezTo>
                  <a:pt x="5588920" y="4092626"/>
                  <a:pt x="5588145" y="4093142"/>
                  <a:pt x="5587216" y="4093245"/>
                </a:cubicBezTo>
                <a:cubicBezTo>
                  <a:pt x="5586441" y="4093452"/>
                  <a:pt x="5585357" y="4093245"/>
                  <a:pt x="5584428" y="4092935"/>
                </a:cubicBezTo>
                <a:cubicBezTo>
                  <a:pt x="5583498" y="4092109"/>
                  <a:pt x="5583498" y="4092109"/>
                  <a:pt x="5582569" y="4091283"/>
                </a:cubicBezTo>
                <a:cubicBezTo>
                  <a:pt x="5582259" y="4089528"/>
                  <a:pt x="5581175" y="4087876"/>
                  <a:pt x="5581794" y="4086121"/>
                </a:cubicBezTo>
                <a:cubicBezTo>
                  <a:pt x="5583189" y="4084262"/>
                  <a:pt x="5587525" y="4084881"/>
                  <a:pt x="5589229" y="4085707"/>
                </a:cubicBezTo>
                <a:close/>
                <a:moveTo>
                  <a:pt x="515766" y="4083315"/>
                </a:moveTo>
                <a:cubicBezTo>
                  <a:pt x="519793" y="4089923"/>
                  <a:pt x="513287" y="4097977"/>
                  <a:pt x="506473" y="4099526"/>
                </a:cubicBezTo>
                <a:cubicBezTo>
                  <a:pt x="505233" y="4099733"/>
                  <a:pt x="504149" y="4099733"/>
                  <a:pt x="503064" y="4099629"/>
                </a:cubicBezTo>
                <a:cubicBezTo>
                  <a:pt x="501825" y="4099423"/>
                  <a:pt x="500741" y="4099113"/>
                  <a:pt x="499812" y="4098493"/>
                </a:cubicBezTo>
                <a:cubicBezTo>
                  <a:pt x="494390" y="4089613"/>
                  <a:pt x="507866" y="4080837"/>
                  <a:pt x="515766" y="4083315"/>
                </a:cubicBezTo>
                <a:close/>
                <a:moveTo>
                  <a:pt x="5354717" y="4082816"/>
                </a:moveTo>
                <a:cubicBezTo>
                  <a:pt x="5357969" y="4098511"/>
                  <a:pt x="5364630" y="4112451"/>
                  <a:pt x="5366798" y="4125564"/>
                </a:cubicBezTo>
                <a:cubicBezTo>
                  <a:pt x="5354252" y="4117510"/>
                  <a:pt x="5351309" y="4099440"/>
                  <a:pt x="5345732" y="4084468"/>
                </a:cubicBezTo>
                <a:cubicBezTo>
                  <a:pt x="5348676" y="4084365"/>
                  <a:pt x="5350070" y="4082094"/>
                  <a:pt x="5354717" y="4082816"/>
                </a:cubicBezTo>
                <a:close/>
                <a:moveTo>
                  <a:pt x="5263638" y="4082713"/>
                </a:moveTo>
                <a:cubicBezTo>
                  <a:pt x="5264722" y="4083126"/>
                  <a:pt x="5265496" y="4084056"/>
                  <a:pt x="5266426" y="4085811"/>
                </a:cubicBezTo>
                <a:cubicBezTo>
                  <a:pt x="5265031" y="4087257"/>
                  <a:pt x="5260849" y="4089734"/>
                  <a:pt x="5257287" y="4090251"/>
                </a:cubicBezTo>
                <a:cubicBezTo>
                  <a:pt x="5256203" y="4090457"/>
                  <a:pt x="5254963" y="4090354"/>
                  <a:pt x="5254034" y="4089941"/>
                </a:cubicBezTo>
                <a:cubicBezTo>
                  <a:pt x="5252950" y="4089425"/>
                  <a:pt x="5252175" y="4088185"/>
                  <a:pt x="5252020" y="4086224"/>
                </a:cubicBezTo>
                <a:cubicBezTo>
                  <a:pt x="5257132" y="4085191"/>
                  <a:pt x="5260849" y="4081474"/>
                  <a:pt x="5263638" y="4082713"/>
                </a:cubicBezTo>
                <a:close/>
                <a:moveTo>
                  <a:pt x="5422871" y="4082094"/>
                </a:moveTo>
                <a:cubicBezTo>
                  <a:pt x="5423645" y="4082506"/>
                  <a:pt x="5425504" y="4082610"/>
                  <a:pt x="5425194" y="4083333"/>
                </a:cubicBezTo>
                <a:cubicBezTo>
                  <a:pt x="5425969" y="4083745"/>
                  <a:pt x="5425349" y="4085295"/>
                  <a:pt x="5425349" y="4085295"/>
                </a:cubicBezTo>
                <a:cubicBezTo>
                  <a:pt x="5426124" y="4085707"/>
                  <a:pt x="5426898" y="4086121"/>
                  <a:pt x="5427363" y="4087360"/>
                </a:cubicBezTo>
                <a:cubicBezTo>
                  <a:pt x="5426278" y="4087669"/>
                  <a:pt x="5427053" y="4088082"/>
                  <a:pt x="5426743" y="4088805"/>
                </a:cubicBezTo>
                <a:cubicBezTo>
                  <a:pt x="5426278" y="4087669"/>
                  <a:pt x="5423800" y="4086327"/>
                  <a:pt x="5422561" y="4084675"/>
                </a:cubicBezTo>
                <a:cubicBezTo>
                  <a:pt x="5423026" y="4083952"/>
                  <a:pt x="5422406" y="4082816"/>
                  <a:pt x="5422871" y="4082094"/>
                </a:cubicBezTo>
                <a:close/>
                <a:moveTo>
                  <a:pt x="5415591" y="4081577"/>
                </a:moveTo>
                <a:cubicBezTo>
                  <a:pt x="5415591" y="4081577"/>
                  <a:pt x="5416830" y="4083126"/>
                  <a:pt x="5416830" y="4083126"/>
                </a:cubicBezTo>
                <a:cubicBezTo>
                  <a:pt x="5417604" y="4085604"/>
                  <a:pt x="5417914" y="4086843"/>
                  <a:pt x="5419153" y="4088392"/>
                </a:cubicBezTo>
                <a:cubicBezTo>
                  <a:pt x="5418379" y="4089012"/>
                  <a:pt x="5417914" y="4089218"/>
                  <a:pt x="5417450" y="4089115"/>
                </a:cubicBezTo>
                <a:cubicBezTo>
                  <a:pt x="5416985" y="4089012"/>
                  <a:pt x="5416675" y="4088496"/>
                  <a:pt x="5416520" y="4087876"/>
                </a:cubicBezTo>
                <a:cubicBezTo>
                  <a:pt x="5416520" y="4087876"/>
                  <a:pt x="5416055" y="4086740"/>
                  <a:pt x="5415746" y="4085501"/>
                </a:cubicBezTo>
                <a:cubicBezTo>
                  <a:pt x="5415281" y="4084365"/>
                  <a:pt x="5414507" y="4083849"/>
                  <a:pt x="5414507" y="4083849"/>
                </a:cubicBezTo>
                <a:cubicBezTo>
                  <a:pt x="5414197" y="4082610"/>
                  <a:pt x="5414507" y="4081887"/>
                  <a:pt x="5415591" y="4081577"/>
                </a:cubicBezTo>
                <a:close/>
                <a:moveTo>
                  <a:pt x="5396539" y="4081371"/>
                </a:moveTo>
                <a:cubicBezTo>
                  <a:pt x="5397623" y="4083436"/>
                  <a:pt x="5399636" y="4087050"/>
                  <a:pt x="5399636" y="4089322"/>
                </a:cubicBezTo>
                <a:cubicBezTo>
                  <a:pt x="5399482" y="4090044"/>
                  <a:pt x="5399327" y="4090664"/>
                  <a:pt x="5398552" y="4090973"/>
                </a:cubicBezTo>
                <a:cubicBezTo>
                  <a:pt x="5397468" y="4091387"/>
                  <a:pt x="5397158" y="4090147"/>
                  <a:pt x="5396384" y="4089734"/>
                </a:cubicBezTo>
                <a:cubicBezTo>
                  <a:pt x="5395299" y="4088185"/>
                  <a:pt x="5395454" y="4081680"/>
                  <a:pt x="5396539" y="4081371"/>
                </a:cubicBezTo>
                <a:close/>
                <a:moveTo>
                  <a:pt x="5664509" y="4079306"/>
                </a:moveTo>
                <a:cubicBezTo>
                  <a:pt x="5664509" y="4079306"/>
                  <a:pt x="5665748" y="4079615"/>
                  <a:pt x="5666987" y="4079925"/>
                </a:cubicBezTo>
                <a:cubicBezTo>
                  <a:pt x="5668226" y="4080235"/>
                  <a:pt x="5668846" y="4079822"/>
                  <a:pt x="5668846" y="4079822"/>
                </a:cubicBezTo>
                <a:cubicBezTo>
                  <a:pt x="5670085" y="4080132"/>
                  <a:pt x="5670550" y="4080855"/>
                  <a:pt x="5670395" y="4082094"/>
                </a:cubicBezTo>
                <a:cubicBezTo>
                  <a:pt x="5670395" y="4082094"/>
                  <a:pt x="5668537" y="4082197"/>
                  <a:pt x="5668537" y="4082197"/>
                </a:cubicBezTo>
                <a:cubicBezTo>
                  <a:pt x="5666213" y="4081577"/>
                  <a:pt x="5664974" y="4081267"/>
                  <a:pt x="5663115" y="4081371"/>
                </a:cubicBezTo>
                <a:cubicBezTo>
                  <a:pt x="5662805" y="4079409"/>
                  <a:pt x="5663425" y="4078996"/>
                  <a:pt x="5664509" y="4079306"/>
                </a:cubicBezTo>
                <a:close/>
                <a:moveTo>
                  <a:pt x="5150718" y="4079202"/>
                </a:moveTo>
                <a:cubicBezTo>
                  <a:pt x="5153351" y="4078996"/>
                  <a:pt x="5155055" y="4079615"/>
                  <a:pt x="5155984" y="4081164"/>
                </a:cubicBezTo>
                <a:lnTo>
                  <a:pt x="5156759" y="4087360"/>
                </a:lnTo>
                <a:lnTo>
                  <a:pt x="5160167" y="4086843"/>
                </a:lnTo>
                <a:cubicBezTo>
                  <a:pt x="5162335" y="4089941"/>
                  <a:pt x="5162800" y="4092729"/>
                  <a:pt x="5163420" y="4094588"/>
                </a:cubicBezTo>
                <a:cubicBezTo>
                  <a:pt x="5161561" y="4095930"/>
                  <a:pt x="5160477" y="4097375"/>
                  <a:pt x="5158618" y="4098718"/>
                </a:cubicBezTo>
                <a:cubicBezTo>
                  <a:pt x="5153506" y="4098408"/>
                  <a:pt x="5151648" y="4094897"/>
                  <a:pt x="5152112" y="4091696"/>
                </a:cubicBezTo>
                <a:lnTo>
                  <a:pt x="5154591" y="4087876"/>
                </a:lnTo>
                <a:lnTo>
                  <a:pt x="5153506" y="4087773"/>
                </a:lnTo>
                <a:cubicBezTo>
                  <a:pt x="5152732" y="4087257"/>
                  <a:pt x="5152267" y="4086534"/>
                  <a:pt x="5151957" y="4085707"/>
                </a:cubicBezTo>
                <a:cubicBezTo>
                  <a:pt x="5151493" y="4083849"/>
                  <a:pt x="5151338" y="4081371"/>
                  <a:pt x="5150718" y="4079202"/>
                </a:cubicBezTo>
                <a:close/>
                <a:moveTo>
                  <a:pt x="5720117" y="4079099"/>
                </a:moveTo>
                <a:lnTo>
                  <a:pt x="5721356" y="4083952"/>
                </a:lnTo>
                <a:lnTo>
                  <a:pt x="5722440" y="4083023"/>
                </a:lnTo>
                <a:cubicBezTo>
                  <a:pt x="5723060" y="4082197"/>
                  <a:pt x="5724609" y="4084365"/>
                  <a:pt x="5724609" y="4084365"/>
                </a:cubicBezTo>
                <a:cubicBezTo>
                  <a:pt x="5724764" y="4084985"/>
                  <a:pt x="5723989" y="4085604"/>
                  <a:pt x="5723215" y="4086224"/>
                </a:cubicBezTo>
                <a:lnTo>
                  <a:pt x="5722285" y="4087050"/>
                </a:lnTo>
                <a:lnTo>
                  <a:pt x="5725228" y="4093245"/>
                </a:lnTo>
                <a:cubicBezTo>
                  <a:pt x="5727397" y="4097582"/>
                  <a:pt x="5729101" y="4101609"/>
                  <a:pt x="5727552" y="4105430"/>
                </a:cubicBezTo>
                <a:cubicBezTo>
                  <a:pt x="5726003" y="4103261"/>
                  <a:pt x="5723834" y="4100990"/>
                  <a:pt x="5721511" y="4098614"/>
                </a:cubicBezTo>
                <a:lnTo>
                  <a:pt x="5717329" y="4093762"/>
                </a:lnTo>
                <a:lnTo>
                  <a:pt x="5717329" y="4093968"/>
                </a:lnTo>
                <a:cubicBezTo>
                  <a:pt x="5716864" y="4094484"/>
                  <a:pt x="5715935" y="4094794"/>
                  <a:pt x="5714850" y="4095104"/>
                </a:cubicBezTo>
                <a:cubicBezTo>
                  <a:pt x="5714386" y="4094381"/>
                  <a:pt x="5714231" y="4093658"/>
                  <a:pt x="5714386" y="4092935"/>
                </a:cubicBezTo>
                <a:lnTo>
                  <a:pt x="5715625" y="4091800"/>
                </a:lnTo>
                <a:lnTo>
                  <a:pt x="5715315" y="4091490"/>
                </a:lnTo>
                <a:cubicBezTo>
                  <a:pt x="5712062" y="4086843"/>
                  <a:pt x="5711752" y="4082403"/>
                  <a:pt x="5720117" y="4079099"/>
                </a:cubicBezTo>
                <a:close/>
                <a:moveTo>
                  <a:pt x="5784399" y="4077550"/>
                </a:moveTo>
                <a:cubicBezTo>
                  <a:pt x="5785793" y="4078273"/>
                  <a:pt x="5786722" y="4079615"/>
                  <a:pt x="5787187" y="4081267"/>
                </a:cubicBezTo>
                <a:lnTo>
                  <a:pt x="5786877" y="4083436"/>
                </a:lnTo>
                <a:lnTo>
                  <a:pt x="5787807" y="4083436"/>
                </a:lnTo>
                <a:lnTo>
                  <a:pt x="5786877" y="4086327"/>
                </a:lnTo>
                <a:lnTo>
                  <a:pt x="5787807" y="4086224"/>
                </a:lnTo>
                <a:cubicBezTo>
                  <a:pt x="5789046" y="4088185"/>
                  <a:pt x="5788891" y="4089528"/>
                  <a:pt x="5787961" y="4090354"/>
                </a:cubicBezTo>
                <a:lnTo>
                  <a:pt x="5785018" y="4091387"/>
                </a:lnTo>
                <a:lnTo>
                  <a:pt x="5784244" y="4093658"/>
                </a:lnTo>
                <a:cubicBezTo>
                  <a:pt x="5782850" y="4096756"/>
                  <a:pt x="5781611" y="4099131"/>
                  <a:pt x="5781146" y="4099957"/>
                </a:cubicBezTo>
                <a:cubicBezTo>
                  <a:pt x="5780527" y="4100886"/>
                  <a:pt x="5780216" y="4101299"/>
                  <a:pt x="5779597" y="4101402"/>
                </a:cubicBezTo>
                <a:cubicBezTo>
                  <a:pt x="5779132" y="4101506"/>
                  <a:pt x="5778513" y="4101299"/>
                  <a:pt x="5777738" y="4100783"/>
                </a:cubicBezTo>
                <a:cubicBezTo>
                  <a:pt x="5775570" y="4097272"/>
                  <a:pt x="5778358" y="4093762"/>
                  <a:pt x="5779752" y="4089425"/>
                </a:cubicBezTo>
                <a:lnTo>
                  <a:pt x="5780991" y="4088185"/>
                </a:lnTo>
                <a:lnTo>
                  <a:pt x="5778513" y="4088289"/>
                </a:lnTo>
                <a:cubicBezTo>
                  <a:pt x="5777893" y="4085914"/>
                  <a:pt x="5776809" y="4084365"/>
                  <a:pt x="5776189" y="4082094"/>
                </a:cubicBezTo>
                <a:cubicBezTo>
                  <a:pt x="5778048" y="4076931"/>
                  <a:pt x="5781766" y="4076105"/>
                  <a:pt x="5784399" y="4077550"/>
                </a:cubicBezTo>
                <a:close/>
                <a:moveTo>
                  <a:pt x="5467171" y="4077550"/>
                </a:moveTo>
                <a:cubicBezTo>
                  <a:pt x="5469030" y="4077654"/>
                  <a:pt x="5471354" y="4078893"/>
                  <a:pt x="5471663" y="4080029"/>
                </a:cubicBezTo>
                <a:cubicBezTo>
                  <a:pt x="5472128" y="4081267"/>
                  <a:pt x="5471663" y="4081990"/>
                  <a:pt x="5471663" y="4081990"/>
                </a:cubicBezTo>
                <a:cubicBezTo>
                  <a:pt x="5470424" y="4082713"/>
                  <a:pt x="5469185" y="4083126"/>
                  <a:pt x="5467946" y="4082920"/>
                </a:cubicBezTo>
                <a:cubicBezTo>
                  <a:pt x="5466707" y="4082713"/>
                  <a:pt x="5465622" y="4081887"/>
                  <a:pt x="5465003" y="4080132"/>
                </a:cubicBezTo>
                <a:cubicBezTo>
                  <a:pt x="5464693" y="4078893"/>
                  <a:pt x="5464228" y="4077757"/>
                  <a:pt x="5465003" y="4078170"/>
                </a:cubicBezTo>
                <a:cubicBezTo>
                  <a:pt x="5465312" y="4077447"/>
                  <a:pt x="5466087" y="4077860"/>
                  <a:pt x="5467171" y="4077550"/>
                </a:cubicBezTo>
                <a:close/>
                <a:moveTo>
                  <a:pt x="5244740" y="4077344"/>
                </a:moveTo>
                <a:cubicBezTo>
                  <a:pt x="5246444" y="4078479"/>
                  <a:pt x="5247838" y="4080648"/>
                  <a:pt x="5248303" y="4084056"/>
                </a:cubicBezTo>
                <a:cubicBezTo>
                  <a:pt x="5243966" y="4084881"/>
                  <a:pt x="5242107" y="4087463"/>
                  <a:pt x="5239319" y="4087979"/>
                </a:cubicBezTo>
                <a:cubicBezTo>
                  <a:pt x="5238389" y="4088185"/>
                  <a:pt x="5237305" y="4088185"/>
                  <a:pt x="5236066" y="4087773"/>
                </a:cubicBezTo>
                <a:cubicBezTo>
                  <a:pt x="5231419" y="4079615"/>
                  <a:pt x="5239784" y="4073936"/>
                  <a:pt x="5244740" y="4077344"/>
                </a:cubicBezTo>
                <a:close/>
                <a:moveTo>
                  <a:pt x="5652272" y="4076621"/>
                </a:moveTo>
                <a:cubicBezTo>
                  <a:pt x="5657229" y="4076621"/>
                  <a:pt x="5659397" y="4078376"/>
                  <a:pt x="5658778" y="4081990"/>
                </a:cubicBezTo>
                <a:cubicBezTo>
                  <a:pt x="5658158" y="4082403"/>
                  <a:pt x="5655525" y="4083023"/>
                  <a:pt x="5655990" y="4083745"/>
                </a:cubicBezTo>
                <a:cubicBezTo>
                  <a:pt x="5653357" y="4083126"/>
                  <a:pt x="5650569" y="4082094"/>
                  <a:pt x="5649174" y="4080235"/>
                </a:cubicBezTo>
                <a:cubicBezTo>
                  <a:pt x="5648710" y="4079615"/>
                  <a:pt x="5648400" y="4078893"/>
                  <a:pt x="5648400" y="4078170"/>
                </a:cubicBezTo>
                <a:cubicBezTo>
                  <a:pt x="5648090" y="4076208"/>
                  <a:pt x="5649949" y="4076001"/>
                  <a:pt x="5652272" y="4076621"/>
                </a:cubicBezTo>
                <a:close/>
                <a:moveTo>
                  <a:pt x="5184330" y="4076518"/>
                </a:moveTo>
                <a:cubicBezTo>
                  <a:pt x="5187428" y="4077757"/>
                  <a:pt x="5190217" y="4077757"/>
                  <a:pt x="5192230" y="4078273"/>
                </a:cubicBezTo>
                <a:lnTo>
                  <a:pt x="5193470" y="4078996"/>
                </a:lnTo>
                <a:lnTo>
                  <a:pt x="5195948" y="4079099"/>
                </a:lnTo>
                <a:cubicBezTo>
                  <a:pt x="5197962" y="4079822"/>
                  <a:pt x="5199820" y="4081061"/>
                  <a:pt x="5200440" y="4082816"/>
                </a:cubicBezTo>
                <a:cubicBezTo>
                  <a:pt x="5202453" y="4086843"/>
                  <a:pt x="5201989" y="4089528"/>
                  <a:pt x="5201060" y="4091903"/>
                </a:cubicBezTo>
                <a:cubicBezTo>
                  <a:pt x="5201060" y="4091903"/>
                  <a:pt x="5201060" y="4091800"/>
                  <a:pt x="5201369" y="4091077"/>
                </a:cubicBezTo>
                <a:cubicBezTo>
                  <a:pt x="5205861" y="4089734"/>
                  <a:pt x="5213606" y="4087463"/>
                  <a:pt x="5215465" y="4089425"/>
                </a:cubicBezTo>
                <a:cubicBezTo>
                  <a:pt x="5215155" y="4090251"/>
                  <a:pt x="5214690" y="4090973"/>
                  <a:pt x="5213606" y="4091387"/>
                </a:cubicBezTo>
                <a:cubicBezTo>
                  <a:pt x="5212522" y="4091696"/>
                  <a:pt x="5212831" y="4090870"/>
                  <a:pt x="5212522" y="4091696"/>
                </a:cubicBezTo>
                <a:cubicBezTo>
                  <a:pt x="5211438" y="4092006"/>
                  <a:pt x="5212212" y="4092419"/>
                  <a:pt x="5212212" y="4092419"/>
                </a:cubicBezTo>
                <a:cubicBezTo>
                  <a:pt x="5212212" y="4092419"/>
                  <a:pt x="5211438" y="4092006"/>
                  <a:pt x="5211438" y="4092006"/>
                </a:cubicBezTo>
                <a:cubicBezTo>
                  <a:pt x="5211438" y="4092006"/>
                  <a:pt x="5211438" y="4092006"/>
                  <a:pt x="5209269" y="4092729"/>
                </a:cubicBezTo>
                <a:cubicBezTo>
                  <a:pt x="5206636" y="4094174"/>
                  <a:pt x="5206326" y="4094897"/>
                  <a:pt x="5204777" y="4096033"/>
                </a:cubicBezTo>
                <a:cubicBezTo>
                  <a:pt x="5202608" y="4096652"/>
                  <a:pt x="5201834" y="4096240"/>
                  <a:pt x="5198891" y="4096446"/>
                </a:cubicBezTo>
                <a:cubicBezTo>
                  <a:pt x="5197652" y="4094794"/>
                  <a:pt x="5197806" y="4094794"/>
                  <a:pt x="5198117" y="4094071"/>
                </a:cubicBezTo>
                <a:cubicBezTo>
                  <a:pt x="5197806" y="4094794"/>
                  <a:pt x="5196877" y="4094381"/>
                  <a:pt x="5195793" y="4094691"/>
                </a:cubicBezTo>
                <a:cubicBezTo>
                  <a:pt x="5191766" y="4097272"/>
                  <a:pt x="5188823" y="4093555"/>
                  <a:pt x="5186344" y="4088392"/>
                </a:cubicBezTo>
                <a:cubicBezTo>
                  <a:pt x="5187584" y="4088082"/>
                  <a:pt x="5185880" y="4085191"/>
                  <a:pt x="5185880" y="4083229"/>
                </a:cubicBezTo>
                <a:lnTo>
                  <a:pt x="5186189" y="4082713"/>
                </a:lnTo>
                <a:lnTo>
                  <a:pt x="5182782" y="4081887"/>
                </a:lnTo>
                <a:cubicBezTo>
                  <a:pt x="5183711" y="4079615"/>
                  <a:pt x="5184176" y="4078479"/>
                  <a:pt x="5184330" y="4076518"/>
                </a:cubicBezTo>
                <a:close/>
                <a:moveTo>
                  <a:pt x="5792918" y="4073523"/>
                </a:moveTo>
                <a:lnTo>
                  <a:pt x="5791369" y="4073627"/>
                </a:lnTo>
                <a:lnTo>
                  <a:pt x="5792453" y="4074039"/>
                </a:lnTo>
                <a:close/>
                <a:moveTo>
                  <a:pt x="5231884" y="4069909"/>
                </a:moveTo>
                <a:cubicBezTo>
                  <a:pt x="5232658" y="4073627"/>
                  <a:pt x="5231109" y="4076105"/>
                  <a:pt x="5227702" y="4075898"/>
                </a:cubicBezTo>
                <a:cubicBezTo>
                  <a:pt x="5227856" y="4073420"/>
                  <a:pt x="5226152" y="4072697"/>
                  <a:pt x="5226462" y="4070219"/>
                </a:cubicBezTo>
                <a:cubicBezTo>
                  <a:pt x="5228786" y="4070322"/>
                  <a:pt x="5230645" y="4069806"/>
                  <a:pt x="5231884" y="4069909"/>
                </a:cubicBezTo>
                <a:close/>
                <a:moveTo>
                  <a:pt x="5347901" y="4069290"/>
                </a:moveTo>
                <a:cubicBezTo>
                  <a:pt x="5353167" y="4071252"/>
                  <a:pt x="5356730" y="4068670"/>
                  <a:pt x="5360138" y="4072594"/>
                </a:cubicBezTo>
                <a:cubicBezTo>
                  <a:pt x="5359518" y="4077137"/>
                  <a:pt x="5356575" y="4079409"/>
                  <a:pt x="5353632" y="4080029"/>
                </a:cubicBezTo>
                <a:cubicBezTo>
                  <a:pt x="5350534" y="4080545"/>
                  <a:pt x="5347436" y="4079306"/>
                  <a:pt x="5346507" y="4076621"/>
                </a:cubicBezTo>
                <a:cubicBezTo>
                  <a:pt x="5345887" y="4074762"/>
                  <a:pt x="5346042" y="4072284"/>
                  <a:pt x="5347901" y="4069290"/>
                </a:cubicBezTo>
                <a:close/>
                <a:moveTo>
                  <a:pt x="5381204" y="4069083"/>
                </a:moveTo>
                <a:cubicBezTo>
                  <a:pt x="5382753" y="4069187"/>
                  <a:pt x="5385386" y="4071871"/>
                  <a:pt x="5386935" y="4073730"/>
                </a:cubicBezTo>
                <a:lnTo>
                  <a:pt x="5383372" y="4080545"/>
                </a:lnTo>
                <a:lnTo>
                  <a:pt x="5384921" y="4079615"/>
                </a:lnTo>
                <a:cubicBezTo>
                  <a:pt x="5385851" y="4079409"/>
                  <a:pt x="5386935" y="4079409"/>
                  <a:pt x="5387710" y="4079822"/>
                </a:cubicBezTo>
                <a:cubicBezTo>
                  <a:pt x="5389258" y="4083642"/>
                  <a:pt x="5385231" y="4087773"/>
                  <a:pt x="5381978" y="4087050"/>
                </a:cubicBezTo>
                <a:cubicBezTo>
                  <a:pt x="5379965" y="4084572"/>
                  <a:pt x="5380739" y="4082403"/>
                  <a:pt x="5382288" y="4081061"/>
                </a:cubicBezTo>
                <a:lnTo>
                  <a:pt x="5383218" y="4080545"/>
                </a:lnTo>
                <a:lnTo>
                  <a:pt x="5380429" y="4075072"/>
                </a:lnTo>
                <a:cubicBezTo>
                  <a:pt x="5380119" y="4073213"/>
                  <a:pt x="5380429" y="4071252"/>
                  <a:pt x="5381204" y="4069083"/>
                </a:cubicBezTo>
                <a:close/>
                <a:moveTo>
                  <a:pt x="656257" y="4068859"/>
                </a:moveTo>
                <a:cubicBezTo>
                  <a:pt x="658425" y="4069891"/>
                  <a:pt x="661523" y="4074538"/>
                  <a:pt x="660129" y="4078875"/>
                </a:cubicBezTo>
                <a:cubicBezTo>
                  <a:pt x="658890" y="4079494"/>
                  <a:pt x="657806" y="4079804"/>
                  <a:pt x="656876" y="4079907"/>
                </a:cubicBezTo>
                <a:cubicBezTo>
                  <a:pt x="655947" y="4079907"/>
                  <a:pt x="655173" y="4079701"/>
                  <a:pt x="654553" y="4079184"/>
                </a:cubicBezTo>
                <a:cubicBezTo>
                  <a:pt x="653159" y="4078255"/>
                  <a:pt x="652385" y="4076397"/>
                  <a:pt x="651920" y="4073712"/>
                </a:cubicBezTo>
                <a:cubicBezTo>
                  <a:pt x="653468" y="4072473"/>
                  <a:pt x="654398" y="4070821"/>
                  <a:pt x="656257" y="4068859"/>
                </a:cubicBezTo>
                <a:close/>
                <a:moveTo>
                  <a:pt x="5581794" y="4068154"/>
                </a:moveTo>
                <a:cubicBezTo>
                  <a:pt x="5584118" y="4069187"/>
                  <a:pt x="5588455" y="4067741"/>
                  <a:pt x="5588455" y="4072181"/>
                </a:cubicBezTo>
                <a:cubicBezTo>
                  <a:pt x="5577767" y="4076518"/>
                  <a:pt x="5579316" y="4092419"/>
                  <a:pt x="5569248" y="4093245"/>
                </a:cubicBezTo>
                <a:cubicBezTo>
                  <a:pt x="5571416" y="4084675"/>
                  <a:pt x="5572036" y="4076001"/>
                  <a:pt x="5581794" y="4068154"/>
                </a:cubicBezTo>
                <a:close/>
                <a:moveTo>
                  <a:pt x="5310881" y="4066915"/>
                </a:moveTo>
                <a:lnTo>
                  <a:pt x="5310261" y="4067121"/>
                </a:lnTo>
                <a:lnTo>
                  <a:pt x="5311036" y="4067121"/>
                </a:lnTo>
                <a:close/>
                <a:moveTo>
                  <a:pt x="5639416" y="4066295"/>
                </a:moveTo>
                <a:cubicBezTo>
                  <a:pt x="5638486" y="4067638"/>
                  <a:pt x="5636628" y="4070529"/>
                  <a:pt x="5635079" y="4071252"/>
                </a:cubicBezTo>
                <a:cubicBezTo>
                  <a:pt x="5634459" y="4071458"/>
                  <a:pt x="5633994" y="4071458"/>
                  <a:pt x="5633530" y="4071045"/>
                </a:cubicBezTo>
                <a:cubicBezTo>
                  <a:pt x="5634924" y="4069187"/>
                  <a:pt x="5636008" y="4065572"/>
                  <a:pt x="5639416" y="4066295"/>
                </a:cubicBezTo>
                <a:close/>
                <a:moveTo>
                  <a:pt x="5492826" y="4065069"/>
                </a:moveTo>
                <a:cubicBezTo>
                  <a:pt x="5494201" y="4066063"/>
                  <a:pt x="5495130" y="4067896"/>
                  <a:pt x="5494898" y="4069187"/>
                </a:cubicBezTo>
                <a:cubicBezTo>
                  <a:pt x="5493658" y="4071148"/>
                  <a:pt x="5492419" y="4071561"/>
                  <a:pt x="5491180" y="4071148"/>
                </a:cubicBezTo>
                <a:cubicBezTo>
                  <a:pt x="5490096" y="4070735"/>
                  <a:pt x="5489167" y="4069600"/>
                  <a:pt x="5488547" y="4068361"/>
                </a:cubicBezTo>
                <a:cubicBezTo>
                  <a:pt x="5488237" y="4067534"/>
                  <a:pt x="5487927" y="4066605"/>
                  <a:pt x="5488082" y="4065986"/>
                </a:cubicBezTo>
                <a:cubicBezTo>
                  <a:pt x="5489631" y="4063921"/>
                  <a:pt x="5491451" y="4064075"/>
                  <a:pt x="5492826" y="4065069"/>
                </a:cubicBezTo>
                <a:close/>
                <a:moveTo>
                  <a:pt x="5266271" y="4064746"/>
                </a:moveTo>
                <a:cubicBezTo>
                  <a:pt x="5269059" y="4067225"/>
                  <a:pt x="5268749" y="4070632"/>
                  <a:pt x="5271692" y="4074039"/>
                </a:cubicBezTo>
                <a:cubicBezTo>
                  <a:pt x="5270453" y="4076724"/>
                  <a:pt x="5273551" y="4080855"/>
                  <a:pt x="5271537" y="4084468"/>
                </a:cubicBezTo>
                <a:cubicBezTo>
                  <a:pt x="5265961" y="4081267"/>
                  <a:pt x="5264102" y="4067534"/>
                  <a:pt x="5266271" y="4064746"/>
                </a:cubicBezTo>
                <a:close/>
                <a:moveTo>
                  <a:pt x="449277" y="4063967"/>
                </a:moveTo>
                <a:cubicBezTo>
                  <a:pt x="452336" y="4064470"/>
                  <a:pt x="455279" y="4066794"/>
                  <a:pt x="455821" y="4069272"/>
                </a:cubicBezTo>
                <a:cubicBezTo>
                  <a:pt x="454427" y="4072163"/>
                  <a:pt x="451639" y="4073402"/>
                  <a:pt x="448851" y="4073299"/>
                </a:cubicBezTo>
                <a:cubicBezTo>
                  <a:pt x="446062" y="4073299"/>
                  <a:pt x="443274" y="4071956"/>
                  <a:pt x="442035" y="4069581"/>
                </a:cubicBezTo>
                <a:cubicBezTo>
                  <a:pt x="443042" y="4064780"/>
                  <a:pt x="446217" y="4063463"/>
                  <a:pt x="449277" y="4063967"/>
                </a:cubicBezTo>
                <a:close/>
                <a:moveTo>
                  <a:pt x="5756053" y="4063610"/>
                </a:moveTo>
                <a:cubicBezTo>
                  <a:pt x="5756827" y="4063301"/>
                  <a:pt x="5756982" y="4064127"/>
                  <a:pt x="5756208" y="4064437"/>
                </a:cubicBezTo>
                <a:cubicBezTo>
                  <a:pt x="5756053" y="4065366"/>
                  <a:pt x="5755588" y="4065572"/>
                  <a:pt x="5754969" y="4065572"/>
                </a:cubicBezTo>
                <a:cubicBezTo>
                  <a:pt x="5754194" y="4065469"/>
                  <a:pt x="5753419" y="4065056"/>
                  <a:pt x="5752955" y="4064850"/>
                </a:cubicBezTo>
                <a:cubicBezTo>
                  <a:pt x="5755278" y="4063921"/>
                  <a:pt x="5755743" y="4062785"/>
                  <a:pt x="5756053" y="4063610"/>
                </a:cubicBezTo>
                <a:close/>
                <a:moveTo>
                  <a:pt x="5595735" y="4060926"/>
                </a:moveTo>
                <a:cubicBezTo>
                  <a:pt x="5597594" y="4062578"/>
                  <a:pt x="5597129" y="4064333"/>
                  <a:pt x="5596355" y="4065263"/>
                </a:cubicBezTo>
                <a:cubicBezTo>
                  <a:pt x="5596200" y="4066605"/>
                  <a:pt x="5595115" y="4067328"/>
                  <a:pt x="5593876" y="4067638"/>
                </a:cubicBezTo>
                <a:cubicBezTo>
                  <a:pt x="5592637" y="4067947"/>
                  <a:pt x="5591243" y="4067741"/>
                  <a:pt x="5589849" y="4067431"/>
                </a:cubicBezTo>
                <a:cubicBezTo>
                  <a:pt x="5590778" y="4067328"/>
                  <a:pt x="5590624" y="4067431"/>
                  <a:pt x="5590624" y="4067431"/>
                </a:cubicBezTo>
                <a:cubicBezTo>
                  <a:pt x="5591398" y="4066502"/>
                  <a:pt x="5590624" y="4066502"/>
                  <a:pt x="5590469" y="4065572"/>
                </a:cubicBezTo>
                <a:cubicBezTo>
                  <a:pt x="5590469" y="4065572"/>
                  <a:pt x="5590624" y="4066502"/>
                  <a:pt x="5589539" y="4065676"/>
                </a:cubicBezTo>
                <a:cubicBezTo>
                  <a:pt x="5590469" y="4065572"/>
                  <a:pt x="5590314" y="4064746"/>
                  <a:pt x="5590314" y="4063817"/>
                </a:cubicBezTo>
                <a:cubicBezTo>
                  <a:pt x="5591708" y="4061959"/>
                  <a:pt x="5593876" y="4060100"/>
                  <a:pt x="5595735" y="4060926"/>
                </a:cubicBezTo>
                <a:close/>
                <a:moveTo>
                  <a:pt x="5717174" y="4058138"/>
                </a:moveTo>
                <a:cubicBezTo>
                  <a:pt x="5717174" y="4058964"/>
                  <a:pt x="5717948" y="4060926"/>
                  <a:pt x="5717019" y="4061649"/>
                </a:cubicBezTo>
                <a:cubicBezTo>
                  <a:pt x="5716709" y="4062062"/>
                  <a:pt x="5716399" y="4062268"/>
                  <a:pt x="5716090" y="4062268"/>
                </a:cubicBezTo>
                <a:cubicBezTo>
                  <a:pt x="5715780" y="4062371"/>
                  <a:pt x="5715470" y="4062268"/>
                  <a:pt x="5714540" y="4062165"/>
                </a:cubicBezTo>
                <a:cubicBezTo>
                  <a:pt x="5715470" y="4059687"/>
                  <a:pt x="5715470" y="4059687"/>
                  <a:pt x="5717174" y="4058138"/>
                </a:cubicBezTo>
                <a:close/>
                <a:moveTo>
                  <a:pt x="5645922" y="4057828"/>
                </a:moveTo>
                <a:cubicBezTo>
                  <a:pt x="5646541" y="4058035"/>
                  <a:pt x="5646696" y="4058448"/>
                  <a:pt x="5646541" y="4058964"/>
                </a:cubicBezTo>
                <a:cubicBezTo>
                  <a:pt x="5646541" y="4059480"/>
                  <a:pt x="5646231" y="4060100"/>
                  <a:pt x="5645922" y="4060616"/>
                </a:cubicBezTo>
                <a:cubicBezTo>
                  <a:pt x="5645457" y="4061752"/>
                  <a:pt x="5644837" y="4062991"/>
                  <a:pt x="5644218" y="4064127"/>
                </a:cubicBezTo>
                <a:cubicBezTo>
                  <a:pt x="5644218" y="4064127"/>
                  <a:pt x="5644218" y="4064127"/>
                  <a:pt x="5645922" y="4057828"/>
                </a:cubicBezTo>
                <a:close/>
                <a:moveTo>
                  <a:pt x="5717329" y="4055557"/>
                </a:moveTo>
                <a:cubicBezTo>
                  <a:pt x="5718103" y="4055660"/>
                  <a:pt x="5718103" y="4056589"/>
                  <a:pt x="5717329" y="4057519"/>
                </a:cubicBezTo>
                <a:cubicBezTo>
                  <a:pt x="5717329" y="4057519"/>
                  <a:pt x="5716554" y="4057415"/>
                  <a:pt x="5716554" y="4057415"/>
                </a:cubicBezTo>
                <a:cubicBezTo>
                  <a:pt x="5716554" y="4056486"/>
                  <a:pt x="5716554" y="4055557"/>
                  <a:pt x="5717329" y="4055557"/>
                </a:cubicBezTo>
                <a:close/>
                <a:moveTo>
                  <a:pt x="5835979" y="4054731"/>
                </a:moveTo>
                <a:cubicBezTo>
                  <a:pt x="5837528" y="4056486"/>
                  <a:pt x="5838148" y="4059067"/>
                  <a:pt x="5837219" y="4059894"/>
                </a:cubicBezTo>
                <a:cubicBezTo>
                  <a:pt x="5835824" y="4061236"/>
                  <a:pt x="5834431" y="4062475"/>
                  <a:pt x="5832881" y="4061959"/>
                </a:cubicBezTo>
                <a:cubicBezTo>
                  <a:pt x="5832262" y="4061752"/>
                  <a:pt x="5831797" y="4061339"/>
                  <a:pt x="5831177" y="4060720"/>
                </a:cubicBezTo>
                <a:cubicBezTo>
                  <a:pt x="5831177" y="4060720"/>
                  <a:pt x="5831332" y="4060720"/>
                  <a:pt x="5831332" y="4059894"/>
                </a:cubicBezTo>
                <a:cubicBezTo>
                  <a:pt x="5831487" y="4058138"/>
                  <a:pt x="5831642" y="4057209"/>
                  <a:pt x="5831642" y="4056383"/>
                </a:cubicBezTo>
                <a:cubicBezTo>
                  <a:pt x="5832572" y="4055557"/>
                  <a:pt x="5835205" y="4053904"/>
                  <a:pt x="5835979" y="4054731"/>
                </a:cubicBezTo>
                <a:close/>
                <a:moveTo>
                  <a:pt x="5360912" y="4054111"/>
                </a:moveTo>
                <a:cubicBezTo>
                  <a:pt x="5360603" y="4056589"/>
                  <a:pt x="5360603" y="4057828"/>
                  <a:pt x="5360912" y="4059687"/>
                </a:cubicBezTo>
                <a:lnTo>
                  <a:pt x="5355646" y="4060100"/>
                </a:lnTo>
                <a:lnTo>
                  <a:pt x="5355801" y="4063094"/>
                </a:lnTo>
                <a:cubicBezTo>
                  <a:pt x="5355646" y="4063921"/>
                  <a:pt x="5355026" y="4064540"/>
                  <a:pt x="5354252" y="4065056"/>
                </a:cubicBezTo>
                <a:cubicBezTo>
                  <a:pt x="5353167" y="4065366"/>
                  <a:pt x="5351773" y="4064540"/>
                  <a:pt x="5349760" y="4062475"/>
                </a:cubicBezTo>
                <a:lnTo>
                  <a:pt x="5351464" y="4060203"/>
                </a:lnTo>
                <a:lnTo>
                  <a:pt x="5349760" y="4059894"/>
                </a:lnTo>
                <a:cubicBezTo>
                  <a:pt x="5348985" y="4059377"/>
                  <a:pt x="5348366" y="4058551"/>
                  <a:pt x="5347746" y="4057105"/>
                </a:cubicBezTo>
                <a:cubicBezTo>
                  <a:pt x="5349760" y="4054214"/>
                  <a:pt x="5355646" y="4054421"/>
                  <a:pt x="5360912" y="4054111"/>
                </a:cubicBezTo>
                <a:close/>
                <a:moveTo>
                  <a:pt x="5603945" y="4052872"/>
                </a:moveTo>
                <a:cubicBezTo>
                  <a:pt x="5603945" y="4052872"/>
                  <a:pt x="5603945" y="4052872"/>
                  <a:pt x="5604719" y="4052975"/>
                </a:cubicBezTo>
                <a:cubicBezTo>
                  <a:pt x="5606423" y="4053182"/>
                  <a:pt x="5607197" y="4053388"/>
                  <a:pt x="5608127" y="4053492"/>
                </a:cubicBezTo>
                <a:cubicBezTo>
                  <a:pt x="5608901" y="4054524"/>
                  <a:pt x="5610295" y="4057415"/>
                  <a:pt x="5609521" y="4058138"/>
                </a:cubicBezTo>
                <a:cubicBezTo>
                  <a:pt x="5608591" y="4058861"/>
                  <a:pt x="5607507" y="4059274"/>
                  <a:pt x="5606578" y="4059480"/>
                </a:cubicBezTo>
                <a:cubicBezTo>
                  <a:pt x="5605648" y="4059687"/>
                  <a:pt x="5604719" y="4059480"/>
                  <a:pt x="5604409" y="4059067"/>
                </a:cubicBezTo>
                <a:cubicBezTo>
                  <a:pt x="5603170" y="4057519"/>
                  <a:pt x="5602086" y="4055970"/>
                  <a:pt x="5602705" y="4054421"/>
                </a:cubicBezTo>
                <a:cubicBezTo>
                  <a:pt x="5602860" y="4053904"/>
                  <a:pt x="5603325" y="4053388"/>
                  <a:pt x="5603945" y="4052872"/>
                </a:cubicBezTo>
                <a:close/>
                <a:moveTo>
                  <a:pt x="5295391" y="4051633"/>
                </a:moveTo>
                <a:cubicBezTo>
                  <a:pt x="5295856" y="4054731"/>
                  <a:pt x="5296320" y="4055866"/>
                  <a:pt x="5296320" y="4057828"/>
                </a:cubicBezTo>
                <a:lnTo>
                  <a:pt x="5297095" y="4058758"/>
                </a:lnTo>
                <a:lnTo>
                  <a:pt x="5297250" y="4058758"/>
                </a:lnTo>
                <a:lnTo>
                  <a:pt x="5297560" y="4059171"/>
                </a:lnTo>
                <a:lnTo>
                  <a:pt x="5298179" y="4059894"/>
                </a:lnTo>
                <a:lnTo>
                  <a:pt x="5298179" y="4060306"/>
                </a:lnTo>
                <a:lnTo>
                  <a:pt x="5299574" y="4062165"/>
                </a:lnTo>
                <a:cubicBezTo>
                  <a:pt x="5300967" y="4063610"/>
                  <a:pt x="5302517" y="4065160"/>
                  <a:pt x="5302517" y="4065160"/>
                </a:cubicBezTo>
                <a:cubicBezTo>
                  <a:pt x="5302206" y="4067534"/>
                  <a:pt x="5302206" y="4067534"/>
                  <a:pt x="5299263" y="4067328"/>
                </a:cubicBezTo>
                <a:lnTo>
                  <a:pt x="5296475" y="4065366"/>
                </a:lnTo>
                <a:lnTo>
                  <a:pt x="5295546" y="4065366"/>
                </a:lnTo>
                <a:cubicBezTo>
                  <a:pt x="5294772" y="4065056"/>
                  <a:pt x="5294152" y="4064437"/>
                  <a:pt x="5293842" y="4063301"/>
                </a:cubicBezTo>
                <a:lnTo>
                  <a:pt x="5293687" y="4062165"/>
                </a:lnTo>
                <a:lnTo>
                  <a:pt x="5291984" y="4059067"/>
                </a:lnTo>
                <a:lnTo>
                  <a:pt x="5293532" y="4059067"/>
                </a:lnTo>
                <a:lnTo>
                  <a:pt x="5295081" y="4056279"/>
                </a:lnTo>
                <a:cubicBezTo>
                  <a:pt x="5295081" y="4054318"/>
                  <a:pt x="5293997" y="4052666"/>
                  <a:pt x="5295391" y="4051633"/>
                </a:cubicBezTo>
                <a:close/>
                <a:moveTo>
                  <a:pt x="5717484" y="4051220"/>
                </a:moveTo>
                <a:cubicBezTo>
                  <a:pt x="5717484" y="4051220"/>
                  <a:pt x="5718258" y="4052253"/>
                  <a:pt x="5718258" y="4052253"/>
                </a:cubicBezTo>
                <a:cubicBezTo>
                  <a:pt x="5717793" y="4052666"/>
                  <a:pt x="5717793" y="4052872"/>
                  <a:pt x="5717638" y="4052975"/>
                </a:cubicBezTo>
                <a:cubicBezTo>
                  <a:pt x="5717638" y="4053078"/>
                  <a:pt x="5717329" y="4053078"/>
                  <a:pt x="5716709" y="4052975"/>
                </a:cubicBezTo>
                <a:cubicBezTo>
                  <a:pt x="5717484" y="4052149"/>
                  <a:pt x="5717484" y="4052149"/>
                  <a:pt x="5717484" y="4051220"/>
                </a:cubicBezTo>
                <a:close/>
                <a:moveTo>
                  <a:pt x="5300735" y="4049955"/>
                </a:moveTo>
                <a:cubicBezTo>
                  <a:pt x="5302749" y="4050704"/>
                  <a:pt x="5304220" y="4052769"/>
                  <a:pt x="5302206" y="4054731"/>
                </a:cubicBezTo>
                <a:cubicBezTo>
                  <a:pt x="5300348" y="4054731"/>
                  <a:pt x="5298179" y="4053904"/>
                  <a:pt x="5296011" y="4053078"/>
                </a:cubicBezTo>
                <a:cubicBezTo>
                  <a:pt x="5296165" y="4049774"/>
                  <a:pt x="5298721" y="4049206"/>
                  <a:pt x="5300735" y="4049955"/>
                </a:cubicBezTo>
                <a:close/>
                <a:moveTo>
                  <a:pt x="5307938" y="4049877"/>
                </a:moveTo>
                <a:cubicBezTo>
                  <a:pt x="5310416" y="4049671"/>
                  <a:pt x="5312120" y="4049671"/>
                  <a:pt x="5313979" y="4051323"/>
                </a:cubicBezTo>
                <a:lnTo>
                  <a:pt x="5315992" y="4054318"/>
                </a:lnTo>
                <a:lnTo>
                  <a:pt x="5317696" y="4052975"/>
                </a:lnTo>
                <a:cubicBezTo>
                  <a:pt x="5322808" y="4050910"/>
                  <a:pt x="5328849" y="4050497"/>
                  <a:pt x="5330863" y="4059377"/>
                </a:cubicBezTo>
                <a:cubicBezTo>
                  <a:pt x="5331792" y="4060926"/>
                  <a:pt x="5331017" y="4060513"/>
                  <a:pt x="5331327" y="4061752"/>
                </a:cubicBezTo>
                <a:cubicBezTo>
                  <a:pt x="5331482" y="4062888"/>
                  <a:pt x="5332256" y="4064540"/>
                  <a:pt x="5333031" y="4064953"/>
                </a:cubicBezTo>
                <a:cubicBezTo>
                  <a:pt x="5329004" y="4066708"/>
                  <a:pt x="5330088" y="4069496"/>
                  <a:pt x="5323737" y="4071871"/>
                </a:cubicBezTo>
                <a:cubicBezTo>
                  <a:pt x="5321724" y="4072697"/>
                  <a:pt x="5320020" y="4073110"/>
                  <a:pt x="5318626" y="4073110"/>
                </a:cubicBezTo>
                <a:lnTo>
                  <a:pt x="5317386" y="4072800"/>
                </a:lnTo>
                <a:lnTo>
                  <a:pt x="5317851" y="4073110"/>
                </a:lnTo>
                <a:cubicBezTo>
                  <a:pt x="5319865" y="4075278"/>
                  <a:pt x="5321414" y="4077344"/>
                  <a:pt x="5321259" y="4078686"/>
                </a:cubicBezTo>
                <a:cubicBezTo>
                  <a:pt x="5320330" y="4078789"/>
                  <a:pt x="5319555" y="4078789"/>
                  <a:pt x="5318626" y="4077963"/>
                </a:cubicBezTo>
                <a:cubicBezTo>
                  <a:pt x="5317696" y="4077137"/>
                  <a:pt x="5318471" y="4077137"/>
                  <a:pt x="5317696" y="4077137"/>
                </a:cubicBezTo>
                <a:cubicBezTo>
                  <a:pt x="5316767" y="4076311"/>
                  <a:pt x="5316767" y="4077240"/>
                  <a:pt x="5316767" y="4077240"/>
                </a:cubicBezTo>
                <a:cubicBezTo>
                  <a:pt x="5316767" y="4077240"/>
                  <a:pt x="5316612" y="4076311"/>
                  <a:pt x="5316612" y="4076311"/>
                </a:cubicBezTo>
                <a:cubicBezTo>
                  <a:pt x="5316612" y="4076311"/>
                  <a:pt x="5316612" y="4076311"/>
                  <a:pt x="5314753" y="4074659"/>
                </a:cubicBezTo>
                <a:cubicBezTo>
                  <a:pt x="5311965" y="4073110"/>
                  <a:pt x="5311191" y="4073213"/>
                  <a:pt x="5309332" y="4072491"/>
                </a:cubicBezTo>
                <a:cubicBezTo>
                  <a:pt x="5307473" y="4070839"/>
                  <a:pt x="5307318" y="4069909"/>
                  <a:pt x="5305305" y="4067431"/>
                </a:cubicBezTo>
                <a:cubicBezTo>
                  <a:pt x="5305924" y="4065676"/>
                  <a:pt x="5305924" y="4065676"/>
                  <a:pt x="5306699" y="4065572"/>
                </a:cubicBezTo>
                <a:cubicBezTo>
                  <a:pt x="5305924" y="4065676"/>
                  <a:pt x="5305769" y="4064850"/>
                  <a:pt x="5304840" y="4064024"/>
                </a:cubicBezTo>
                <a:cubicBezTo>
                  <a:pt x="5300193" y="4061649"/>
                  <a:pt x="5301432" y="4057209"/>
                  <a:pt x="5304065" y="4052666"/>
                </a:cubicBezTo>
                <a:cubicBezTo>
                  <a:pt x="5304995" y="4053492"/>
                  <a:pt x="5306389" y="4050807"/>
                  <a:pt x="5307938" y="4049877"/>
                </a:cubicBezTo>
                <a:close/>
                <a:moveTo>
                  <a:pt x="5480887" y="4049647"/>
                </a:moveTo>
                <a:cubicBezTo>
                  <a:pt x="5482738" y="4048974"/>
                  <a:pt x="5484597" y="4049129"/>
                  <a:pt x="5486378" y="4050600"/>
                </a:cubicBezTo>
                <a:cubicBezTo>
                  <a:pt x="5482971" y="4054214"/>
                  <a:pt x="5474297" y="4066089"/>
                  <a:pt x="5468875" y="4065779"/>
                </a:cubicBezTo>
                <a:cubicBezTo>
                  <a:pt x="5468100" y="4065676"/>
                  <a:pt x="5467326" y="4065469"/>
                  <a:pt x="5466707" y="4064850"/>
                </a:cubicBezTo>
                <a:cubicBezTo>
                  <a:pt x="5469844" y="4061133"/>
                  <a:pt x="5475333" y="4051665"/>
                  <a:pt x="5480887" y="4049647"/>
                </a:cubicBezTo>
                <a:close/>
                <a:moveTo>
                  <a:pt x="5651343" y="4046057"/>
                </a:moveTo>
                <a:cubicBezTo>
                  <a:pt x="5652427" y="4047606"/>
                  <a:pt x="5655525" y="4046573"/>
                  <a:pt x="5655215" y="4048948"/>
                </a:cubicBezTo>
                <a:cubicBezTo>
                  <a:pt x="5653976" y="4048638"/>
                  <a:pt x="5652272" y="4047606"/>
                  <a:pt x="5651188" y="4047296"/>
                </a:cubicBezTo>
                <a:cubicBezTo>
                  <a:pt x="5651188" y="4047296"/>
                  <a:pt x="5651188" y="4047296"/>
                  <a:pt x="5651343" y="4046057"/>
                </a:cubicBezTo>
                <a:close/>
                <a:moveTo>
                  <a:pt x="5727087" y="4045437"/>
                </a:moveTo>
                <a:cubicBezTo>
                  <a:pt x="5731115" y="4043269"/>
                  <a:pt x="5734212" y="4044199"/>
                  <a:pt x="5735297" y="4046264"/>
                </a:cubicBezTo>
                <a:cubicBezTo>
                  <a:pt x="5740253" y="4053904"/>
                  <a:pt x="5739944" y="4060823"/>
                  <a:pt x="5738549" y="4066295"/>
                </a:cubicBezTo>
                <a:lnTo>
                  <a:pt x="5738085" y="4067741"/>
                </a:lnTo>
                <a:lnTo>
                  <a:pt x="5738394" y="4068257"/>
                </a:lnTo>
                <a:cubicBezTo>
                  <a:pt x="5739479" y="4070116"/>
                  <a:pt x="5740563" y="4072284"/>
                  <a:pt x="5739944" y="4076105"/>
                </a:cubicBezTo>
                <a:lnTo>
                  <a:pt x="5736691" y="4071665"/>
                </a:lnTo>
                <a:lnTo>
                  <a:pt x="5736071" y="4073213"/>
                </a:lnTo>
                <a:cubicBezTo>
                  <a:pt x="5735297" y="4075072"/>
                  <a:pt x="5734677" y="4076518"/>
                  <a:pt x="5734832" y="4077447"/>
                </a:cubicBezTo>
                <a:cubicBezTo>
                  <a:pt x="5733283" y="4078273"/>
                  <a:pt x="5732044" y="4078893"/>
                  <a:pt x="5730960" y="4079202"/>
                </a:cubicBezTo>
                <a:cubicBezTo>
                  <a:pt x="5730340" y="4079409"/>
                  <a:pt x="5729720" y="4079512"/>
                  <a:pt x="5729101" y="4079306"/>
                </a:cubicBezTo>
                <a:cubicBezTo>
                  <a:pt x="5727242" y="4078686"/>
                  <a:pt x="5725693" y="4076105"/>
                  <a:pt x="5721976" y="4070012"/>
                </a:cubicBezTo>
                <a:cubicBezTo>
                  <a:pt x="5721046" y="4068051"/>
                  <a:pt x="5720581" y="4065676"/>
                  <a:pt x="5720737" y="4063301"/>
                </a:cubicBezTo>
                <a:cubicBezTo>
                  <a:pt x="5720891" y="4061029"/>
                  <a:pt x="5721666" y="4058654"/>
                  <a:pt x="5723215" y="4056486"/>
                </a:cubicBezTo>
                <a:cubicBezTo>
                  <a:pt x="5722750" y="4052872"/>
                  <a:pt x="5724454" y="4048122"/>
                  <a:pt x="5727087" y="4045437"/>
                </a:cubicBezTo>
                <a:close/>
                <a:moveTo>
                  <a:pt x="5687550" y="4044831"/>
                </a:moveTo>
                <a:cubicBezTo>
                  <a:pt x="5693475" y="4043114"/>
                  <a:pt x="5700058" y="4044147"/>
                  <a:pt x="5704627" y="4047503"/>
                </a:cubicBezTo>
                <a:lnTo>
                  <a:pt x="5708964" y="4052562"/>
                </a:lnTo>
                <a:lnTo>
                  <a:pt x="5710359" y="4051220"/>
                </a:lnTo>
                <a:cubicBezTo>
                  <a:pt x="5711907" y="4050394"/>
                  <a:pt x="5713611" y="4050084"/>
                  <a:pt x="5714540" y="4050394"/>
                </a:cubicBezTo>
                <a:cubicBezTo>
                  <a:pt x="5716399" y="4052046"/>
                  <a:pt x="5717793" y="4055454"/>
                  <a:pt x="5715625" y="4058241"/>
                </a:cubicBezTo>
                <a:cubicBezTo>
                  <a:pt x="5715005" y="4059584"/>
                  <a:pt x="5713766" y="4060306"/>
                  <a:pt x="5712527" y="4061029"/>
                </a:cubicBezTo>
                <a:lnTo>
                  <a:pt x="5709584" y="4063301"/>
                </a:lnTo>
                <a:lnTo>
                  <a:pt x="5708035" y="4069187"/>
                </a:lnTo>
                <a:cubicBezTo>
                  <a:pt x="5703233" y="4078067"/>
                  <a:pt x="5693010" y="4080338"/>
                  <a:pt x="5683406" y="4088908"/>
                </a:cubicBezTo>
                <a:cubicBezTo>
                  <a:pt x="5685110" y="4078893"/>
                  <a:pt x="5677056" y="4073730"/>
                  <a:pt x="5674577" y="4066708"/>
                </a:cubicBezTo>
                <a:lnTo>
                  <a:pt x="5674113" y="4064333"/>
                </a:lnTo>
                <a:lnTo>
                  <a:pt x="5670395" y="4063094"/>
                </a:lnTo>
                <a:cubicBezTo>
                  <a:pt x="5669776" y="4062578"/>
                  <a:pt x="5669311" y="4062062"/>
                  <a:pt x="5669311" y="4061236"/>
                </a:cubicBezTo>
                <a:cubicBezTo>
                  <a:pt x="5669466" y="4060100"/>
                  <a:pt x="5670705" y="4060410"/>
                  <a:pt x="5671325" y="4059997"/>
                </a:cubicBezTo>
                <a:lnTo>
                  <a:pt x="5674113" y="4061236"/>
                </a:lnTo>
                <a:lnTo>
                  <a:pt x="5674423" y="4058654"/>
                </a:lnTo>
                <a:cubicBezTo>
                  <a:pt x="5676359" y="4051013"/>
                  <a:pt x="5681625" y="4046547"/>
                  <a:pt x="5687550" y="4044831"/>
                </a:cubicBezTo>
                <a:close/>
                <a:moveTo>
                  <a:pt x="5477704" y="4043372"/>
                </a:moveTo>
                <a:cubicBezTo>
                  <a:pt x="5479408" y="4042960"/>
                  <a:pt x="5481267" y="4043372"/>
                  <a:pt x="5483745" y="4045437"/>
                </a:cubicBezTo>
                <a:cubicBezTo>
                  <a:pt x="5483590" y="4050187"/>
                  <a:pt x="5480802" y="4049981"/>
                  <a:pt x="5478169" y="4049774"/>
                </a:cubicBezTo>
                <a:cubicBezTo>
                  <a:pt x="5478943" y="4046780"/>
                  <a:pt x="5475071" y="4045954"/>
                  <a:pt x="5477704" y="4043372"/>
                </a:cubicBezTo>
                <a:close/>
                <a:moveTo>
                  <a:pt x="5335664" y="4042030"/>
                </a:moveTo>
                <a:cubicBezTo>
                  <a:pt x="5338297" y="4043372"/>
                  <a:pt x="5341085" y="4043889"/>
                  <a:pt x="5343719" y="4043992"/>
                </a:cubicBezTo>
                <a:lnTo>
                  <a:pt x="5348366" y="4043682"/>
                </a:lnTo>
                <a:lnTo>
                  <a:pt x="5348211" y="4043682"/>
                </a:lnTo>
                <a:cubicBezTo>
                  <a:pt x="5350689" y="4041204"/>
                  <a:pt x="5353167" y="4042133"/>
                  <a:pt x="5355646" y="4043166"/>
                </a:cubicBezTo>
                <a:cubicBezTo>
                  <a:pt x="5357350" y="4044095"/>
                  <a:pt x="5358279" y="4044095"/>
                  <a:pt x="5359983" y="4043372"/>
                </a:cubicBezTo>
                <a:cubicBezTo>
                  <a:pt x="5359983" y="4043372"/>
                  <a:pt x="5359828" y="4043372"/>
                  <a:pt x="5360138" y="4043579"/>
                </a:cubicBezTo>
                <a:lnTo>
                  <a:pt x="5360448" y="4043889"/>
                </a:lnTo>
                <a:lnTo>
                  <a:pt x="5367728" y="4046986"/>
                </a:lnTo>
                <a:cubicBezTo>
                  <a:pt x="5365250" y="4050704"/>
                  <a:pt x="5357814" y="4052562"/>
                  <a:pt x="5350689" y="4051839"/>
                </a:cubicBezTo>
                <a:cubicBezTo>
                  <a:pt x="5343564" y="4051220"/>
                  <a:pt x="5336749" y="4048122"/>
                  <a:pt x="5335664" y="4042030"/>
                </a:cubicBezTo>
                <a:close/>
                <a:moveTo>
                  <a:pt x="5670085" y="4041307"/>
                </a:moveTo>
                <a:cubicBezTo>
                  <a:pt x="5672757" y="4040765"/>
                  <a:pt x="5675739" y="4042185"/>
                  <a:pt x="5677211" y="4046161"/>
                </a:cubicBezTo>
                <a:cubicBezTo>
                  <a:pt x="5676901" y="4049671"/>
                  <a:pt x="5674887" y="4052149"/>
                  <a:pt x="5672409" y="4052872"/>
                </a:cubicBezTo>
                <a:cubicBezTo>
                  <a:pt x="5669930" y="4053492"/>
                  <a:pt x="5666987" y="4052253"/>
                  <a:pt x="5664819" y="4048226"/>
                </a:cubicBezTo>
                <a:cubicBezTo>
                  <a:pt x="5665051" y="4044353"/>
                  <a:pt x="5667413" y="4041849"/>
                  <a:pt x="5670085" y="4041307"/>
                </a:cubicBezTo>
                <a:close/>
                <a:moveTo>
                  <a:pt x="5316612" y="4038726"/>
                </a:moveTo>
                <a:lnTo>
                  <a:pt x="5319090" y="4039552"/>
                </a:lnTo>
                <a:lnTo>
                  <a:pt x="5322033" y="4038726"/>
                </a:lnTo>
                <a:cubicBezTo>
                  <a:pt x="5325441" y="4038313"/>
                  <a:pt x="5325596" y="4040894"/>
                  <a:pt x="5326680" y="4043889"/>
                </a:cubicBezTo>
                <a:cubicBezTo>
                  <a:pt x="5325751" y="4044405"/>
                  <a:pt x="5325131" y="4045334"/>
                  <a:pt x="5324512" y="4046264"/>
                </a:cubicBezTo>
                <a:lnTo>
                  <a:pt x="5324357" y="4046367"/>
                </a:lnTo>
                <a:lnTo>
                  <a:pt x="5324512" y="4046883"/>
                </a:lnTo>
                <a:cubicBezTo>
                  <a:pt x="5323118" y="4048638"/>
                  <a:pt x="5321104" y="4049155"/>
                  <a:pt x="5319245" y="4048948"/>
                </a:cubicBezTo>
                <a:cubicBezTo>
                  <a:pt x="5317231" y="4048845"/>
                  <a:pt x="5315218" y="4048122"/>
                  <a:pt x="5313824" y="4047709"/>
                </a:cubicBezTo>
                <a:cubicBezTo>
                  <a:pt x="5314288" y="4044095"/>
                  <a:pt x="5314598" y="4040481"/>
                  <a:pt x="5316612" y="4038726"/>
                </a:cubicBezTo>
                <a:close/>
                <a:moveTo>
                  <a:pt x="5254808" y="4037590"/>
                </a:moveTo>
                <a:cubicBezTo>
                  <a:pt x="5255428" y="4035835"/>
                  <a:pt x="5258061" y="4039552"/>
                  <a:pt x="5258836" y="4037797"/>
                </a:cubicBezTo>
                <a:cubicBezTo>
                  <a:pt x="5262398" y="4041410"/>
                  <a:pt x="5266271" y="4037280"/>
                  <a:pt x="5272312" y="4041927"/>
                </a:cubicBezTo>
                <a:cubicBezTo>
                  <a:pt x="5270298" y="4042443"/>
                  <a:pt x="5268439" y="4042753"/>
                  <a:pt x="5266581" y="4042650"/>
                </a:cubicBezTo>
                <a:cubicBezTo>
                  <a:pt x="5261314" y="4042650"/>
                  <a:pt x="5256977" y="4040791"/>
                  <a:pt x="5253260" y="4041927"/>
                </a:cubicBezTo>
                <a:cubicBezTo>
                  <a:pt x="5253260" y="4041927"/>
                  <a:pt x="5253260" y="4041927"/>
                  <a:pt x="5251556" y="4040068"/>
                </a:cubicBezTo>
                <a:cubicBezTo>
                  <a:pt x="5250626" y="4040068"/>
                  <a:pt x="5250626" y="4040068"/>
                  <a:pt x="5250626" y="4040068"/>
                </a:cubicBezTo>
                <a:cubicBezTo>
                  <a:pt x="5249852" y="4039965"/>
                  <a:pt x="5249852" y="4038209"/>
                  <a:pt x="5249852" y="4038209"/>
                </a:cubicBezTo>
                <a:cubicBezTo>
                  <a:pt x="5250471" y="4036558"/>
                  <a:pt x="5253105" y="4037487"/>
                  <a:pt x="5254808" y="4037590"/>
                </a:cubicBezTo>
                <a:close/>
                <a:moveTo>
                  <a:pt x="5686194" y="4035319"/>
                </a:moveTo>
                <a:cubicBezTo>
                  <a:pt x="5687898" y="4034183"/>
                  <a:pt x="5688208" y="4036454"/>
                  <a:pt x="5688363" y="4037694"/>
                </a:cubicBezTo>
                <a:cubicBezTo>
                  <a:pt x="5686350" y="4036454"/>
                  <a:pt x="5685265" y="4036764"/>
                  <a:pt x="5685730" y="4036041"/>
                </a:cubicBezTo>
                <a:cubicBezTo>
                  <a:pt x="5685110" y="4035628"/>
                  <a:pt x="5685575" y="4034905"/>
                  <a:pt x="5686194" y="4035319"/>
                </a:cubicBezTo>
                <a:close/>
                <a:moveTo>
                  <a:pt x="5330243" y="4033873"/>
                </a:moveTo>
                <a:cubicBezTo>
                  <a:pt x="5330243" y="4033873"/>
                  <a:pt x="5330243" y="4033976"/>
                  <a:pt x="5332102" y="4034079"/>
                </a:cubicBezTo>
                <a:cubicBezTo>
                  <a:pt x="5332876" y="4034493"/>
                  <a:pt x="5333806" y="4034905"/>
                  <a:pt x="5334115" y="4036144"/>
                </a:cubicBezTo>
                <a:cubicBezTo>
                  <a:pt x="5334580" y="4037384"/>
                  <a:pt x="5333960" y="4038932"/>
                  <a:pt x="5333495" y="4039759"/>
                </a:cubicBezTo>
                <a:cubicBezTo>
                  <a:pt x="5332721" y="4039242"/>
                  <a:pt x="5332411" y="4040068"/>
                  <a:pt x="5331637" y="4039552"/>
                </a:cubicBezTo>
                <a:cubicBezTo>
                  <a:pt x="5329623" y="4039448"/>
                  <a:pt x="5329623" y="4039552"/>
                  <a:pt x="5329159" y="4038313"/>
                </a:cubicBezTo>
                <a:cubicBezTo>
                  <a:pt x="5328849" y="4037074"/>
                  <a:pt x="5330707" y="4035112"/>
                  <a:pt x="5330243" y="4033873"/>
                </a:cubicBezTo>
                <a:close/>
                <a:moveTo>
                  <a:pt x="5407846" y="4033253"/>
                </a:moveTo>
                <a:cubicBezTo>
                  <a:pt x="5408930" y="4033666"/>
                  <a:pt x="5410014" y="4034079"/>
                  <a:pt x="5409550" y="4035215"/>
                </a:cubicBezTo>
                <a:cubicBezTo>
                  <a:pt x="5409085" y="4036351"/>
                  <a:pt x="5409395" y="4037177"/>
                  <a:pt x="5407536" y="4037177"/>
                </a:cubicBezTo>
                <a:cubicBezTo>
                  <a:pt x="5406762" y="4037487"/>
                  <a:pt x="5405677" y="4037177"/>
                  <a:pt x="5404903" y="4037487"/>
                </a:cubicBezTo>
                <a:cubicBezTo>
                  <a:pt x="5404903" y="4037487"/>
                  <a:pt x="5404438" y="4037074"/>
                  <a:pt x="5404128" y="4036454"/>
                </a:cubicBezTo>
                <a:cubicBezTo>
                  <a:pt x="5403819" y="4035835"/>
                  <a:pt x="5403354" y="4035009"/>
                  <a:pt x="5403663" y="4034389"/>
                </a:cubicBezTo>
                <a:cubicBezTo>
                  <a:pt x="5403819" y="4032531"/>
                  <a:pt x="5407071" y="4033666"/>
                  <a:pt x="5407846" y="4033253"/>
                </a:cubicBezTo>
                <a:close/>
                <a:moveTo>
                  <a:pt x="5687898" y="4030362"/>
                </a:moveTo>
                <a:cubicBezTo>
                  <a:pt x="5689757" y="4029639"/>
                  <a:pt x="5691461" y="4029742"/>
                  <a:pt x="5692700" y="4030362"/>
                </a:cubicBezTo>
                <a:lnTo>
                  <a:pt x="5693629" y="4031188"/>
                </a:lnTo>
                <a:lnTo>
                  <a:pt x="5694249" y="4031911"/>
                </a:lnTo>
                <a:lnTo>
                  <a:pt x="5695798" y="4033666"/>
                </a:lnTo>
                <a:cubicBezTo>
                  <a:pt x="5695333" y="4034802"/>
                  <a:pt x="5694559" y="4035422"/>
                  <a:pt x="5693784" y="4035835"/>
                </a:cubicBezTo>
                <a:cubicBezTo>
                  <a:pt x="5693010" y="4036144"/>
                  <a:pt x="5692081" y="4036041"/>
                  <a:pt x="5691306" y="4035732"/>
                </a:cubicBezTo>
                <a:cubicBezTo>
                  <a:pt x="5689757" y="4035009"/>
                  <a:pt x="5688363" y="4033150"/>
                  <a:pt x="5687898" y="4030362"/>
                </a:cubicBezTo>
                <a:close/>
                <a:moveTo>
                  <a:pt x="5742267" y="4027987"/>
                </a:moveTo>
                <a:cubicBezTo>
                  <a:pt x="5743506" y="4028297"/>
                  <a:pt x="5744281" y="4031085"/>
                  <a:pt x="5745520" y="4031395"/>
                </a:cubicBezTo>
                <a:cubicBezTo>
                  <a:pt x="5745520" y="4031395"/>
                  <a:pt x="5745520" y="4031498"/>
                  <a:pt x="5744591" y="4033150"/>
                </a:cubicBezTo>
                <a:cubicBezTo>
                  <a:pt x="5743971" y="4033563"/>
                  <a:pt x="5743196" y="4034079"/>
                  <a:pt x="5742112" y="4033770"/>
                </a:cubicBezTo>
                <a:cubicBezTo>
                  <a:pt x="5740873" y="4033460"/>
                  <a:pt x="5739789" y="4031808"/>
                  <a:pt x="5739324" y="4031085"/>
                </a:cubicBezTo>
                <a:cubicBezTo>
                  <a:pt x="5739944" y="4030672"/>
                  <a:pt x="5739479" y="4029846"/>
                  <a:pt x="5740253" y="4029433"/>
                </a:cubicBezTo>
                <a:cubicBezTo>
                  <a:pt x="5741028" y="4027677"/>
                  <a:pt x="5741028" y="4027677"/>
                  <a:pt x="5742267" y="4027987"/>
                </a:cubicBezTo>
                <a:close/>
                <a:moveTo>
                  <a:pt x="5716864" y="4027884"/>
                </a:moveTo>
                <a:cubicBezTo>
                  <a:pt x="5718878" y="4031498"/>
                  <a:pt x="5721511" y="4035112"/>
                  <a:pt x="5720891" y="4038209"/>
                </a:cubicBezTo>
                <a:lnTo>
                  <a:pt x="5720272" y="4039036"/>
                </a:lnTo>
                <a:lnTo>
                  <a:pt x="5720117" y="4040275"/>
                </a:lnTo>
                <a:cubicBezTo>
                  <a:pt x="5719807" y="4043682"/>
                  <a:pt x="5718878" y="4049465"/>
                  <a:pt x="5717638" y="4051220"/>
                </a:cubicBezTo>
                <a:cubicBezTo>
                  <a:pt x="5718103" y="4049155"/>
                  <a:pt x="5718258" y="4046573"/>
                  <a:pt x="5718413" y="4044095"/>
                </a:cubicBezTo>
                <a:lnTo>
                  <a:pt x="5719807" y="4039862"/>
                </a:lnTo>
                <a:lnTo>
                  <a:pt x="5718878" y="4041101"/>
                </a:lnTo>
                <a:cubicBezTo>
                  <a:pt x="5717019" y="4041204"/>
                  <a:pt x="5715470" y="4040791"/>
                  <a:pt x="5714231" y="4039965"/>
                </a:cubicBezTo>
                <a:lnTo>
                  <a:pt x="5713611" y="4039242"/>
                </a:lnTo>
                <a:lnTo>
                  <a:pt x="5713301" y="4039242"/>
                </a:lnTo>
                <a:cubicBezTo>
                  <a:pt x="5712992" y="4039242"/>
                  <a:pt x="5712836" y="4039242"/>
                  <a:pt x="5712992" y="4039655"/>
                </a:cubicBezTo>
                <a:cubicBezTo>
                  <a:pt x="5711907" y="4039345"/>
                  <a:pt x="5710978" y="4038829"/>
                  <a:pt x="5710513" y="4038209"/>
                </a:cubicBezTo>
                <a:cubicBezTo>
                  <a:pt x="5709894" y="4037487"/>
                  <a:pt x="5709584" y="4036661"/>
                  <a:pt x="5709429" y="4035628"/>
                </a:cubicBezTo>
                <a:lnTo>
                  <a:pt x="5712062" y="4033873"/>
                </a:lnTo>
                <a:lnTo>
                  <a:pt x="5712527" y="4029742"/>
                </a:lnTo>
                <a:cubicBezTo>
                  <a:pt x="5713456" y="4028607"/>
                  <a:pt x="5714850" y="4027781"/>
                  <a:pt x="5716864" y="4027884"/>
                </a:cubicBezTo>
                <a:close/>
                <a:moveTo>
                  <a:pt x="5421322" y="4027368"/>
                </a:moveTo>
                <a:cubicBezTo>
                  <a:pt x="5421012" y="4028607"/>
                  <a:pt x="5424420" y="4029433"/>
                  <a:pt x="5425659" y="4029639"/>
                </a:cubicBezTo>
                <a:cubicBezTo>
                  <a:pt x="5425194" y="4030878"/>
                  <a:pt x="5425969" y="4031911"/>
                  <a:pt x="5426743" y="4033047"/>
                </a:cubicBezTo>
                <a:lnTo>
                  <a:pt x="5427363" y="4034596"/>
                </a:lnTo>
                <a:lnTo>
                  <a:pt x="5440684" y="4029227"/>
                </a:lnTo>
                <a:cubicBezTo>
                  <a:pt x="5440994" y="4032324"/>
                  <a:pt x="5443162" y="4033666"/>
                  <a:pt x="5442542" y="4038519"/>
                </a:cubicBezTo>
                <a:cubicBezTo>
                  <a:pt x="5435108" y="4040481"/>
                  <a:pt x="5427982" y="4043269"/>
                  <a:pt x="5421322" y="4045954"/>
                </a:cubicBezTo>
                <a:lnTo>
                  <a:pt x="5410324" y="4049568"/>
                </a:lnTo>
                <a:lnTo>
                  <a:pt x="5411718" y="4052562"/>
                </a:lnTo>
                <a:lnTo>
                  <a:pt x="5412338" y="4058344"/>
                </a:lnTo>
                <a:lnTo>
                  <a:pt x="5417604" y="4063817"/>
                </a:lnTo>
                <a:lnTo>
                  <a:pt x="5412803" y="4063817"/>
                </a:lnTo>
                <a:lnTo>
                  <a:pt x="5412957" y="4064540"/>
                </a:lnTo>
                <a:cubicBezTo>
                  <a:pt x="5412803" y="4067225"/>
                  <a:pt x="5412183" y="4069703"/>
                  <a:pt x="5411408" y="4072284"/>
                </a:cubicBezTo>
                <a:cubicBezTo>
                  <a:pt x="5408001" y="4071974"/>
                  <a:pt x="5406297" y="4069909"/>
                  <a:pt x="5405213" y="4067121"/>
                </a:cubicBezTo>
                <a:lnTo>
                  <a:pt x="5403354" y="4060203"/>
                </a:lnTo>
                <a:lnTo>
                  <a:pt x="5402115" y="4059171"/>
                </a:lnTo>
                <a:lnTo>
                  <a:pt x="5399017" y="4061752"/>
                </a:lnTo>
                <a:cubicBezTo>
                  <a:pt x="5395144" y="4065263"/>
                  <a:pt x="5390807" y="4068567"/>
                  <a:pt x="5387710" y="4064953"/>
                </a:cubicBezTo>
                <a:cubicBezTo>
                  <a:pt x="5387864" y="4061442"/>
                  <a:pt x="5390188" y="4059171"/>
                  <a:pt x="5392976" y="4057105"/>
                </a:cubicBezTo>
                <a:lnTo>
                  <a:pt x="5397003" y="4053904"/>
                </a:lnTo>
                <a:lnTo>
                  <a:pt x="5395454" y="4051633"/>
                </a:lnTo>
                <a:cubicBezTo>
                  <a:pt x="5394680" y="4049877"/>
                  <a:pt x="5394525" y="4048019"/>
                  <a:pt x="5395144" y="4046367"/>
                </a:cubicBezTo>
                <a:cubicBezTo>
                  <a:pt x="5397003" y="4048122"/>
                  <a:pt x="5398862" y="4049465"/>
                  <a:pt x="5400875" y="4050704"/>
                </a:cubicBezTo>
                <a:lnTo>
                  <a:pt x="5401031" y="4050910"/>
                </a:lnTo>
                <a:lnTo>
                  <a:pt x="5401650" y="4050394"/>
                </a:lnTo>
                <a:cubicBezTo>
                  <a:pt x="5402734" y="4047812"/>
                  <a:pt x="5401495" y="4045541"/>
                  <a:pt x="5403044" y="4042960"/>
                </a:cubicBezTo>
                <a:lnTo>
                  <a:pt x="5404128" y="4041824"/>
                </a:lnTo>
                <a:lnTo>
                  <a:pt x="5403974" y="4037590"/>
                </a:lnTo>
                <a:cubicBezTo>
                  <a:pt x="5405677" y="4036764"/>
                  <a:pt x="5408310" y="4039552"/>
                  <a:pt x="5410014" y="4040481"/>
                </a:cubicBezTo>
                <a:cubicBezTo>
                  <a:pt x="5409240" y="4041307"/>
                  <a:pt x="5408310" y="4042133"/>
                  <a:pt x="5409240" y="4042133"/>
                </a:cubicBezTo>
                <a:lnTo>
                  <a:pt x="5407226" y="4043166"/>
                </a:lnTo>
                <a:lnTo>
                  <a:pt x="5408156" y="4045128"/>
                </a:lnTo>
                <a:lnTo>
                  <a:pt x="5409085" y="4044095"/>
                </a:lnTo>
                <a:cubicBezTo>
                  <a:pt x="5411099" y="4042340"/>
                  <a:pt x="5413577" y="4040894"/>
                  <a:pt x="5416055" y="4039552"/>
                </a:cubicBezTo>
                <a:lnTo>
                  <a:pt x="5420547" y="4037487"/>
                </a:lnTo>
                <a:lnTo>
                  <a:pt x="5418534" y="4036558"/>
                </a:lnTo>
                <a:cubicBezTo>
                  <a:pt x="5415126" y="4033976"/>
                  <a:pt x="5415126" y="4030981"/>
                  <a:pt x="5414197" y="4030775"/>
                </a:cubicBezTo>
                <a:cubicBezTo>
                  <a:pt x="5415436" y="4027161"/>
                  <a:pt x="5417604" y="4027781"/>
                  <a:pt x="5421322" y="4027368"/>
                </a:cubicBezTo>
                <a:close/>
                <a:moveTo>
                  <a:pt x="5316767" y="4026748"/>
                </a:moveTo>
                <a:cubicBezTo>
                  <a:pt x="5319865" y="4026851"/>
                  <a:pt x="5321569" y="4026748"/>
                  <a:pt x="5322808" y="4030156"/>
                </a:cubicBezTo>
                <a:cubicBezTo>
                  <a:pt x="5322498" y="4030362"/>
                  <a:pt x="5321724" y="4030259"/>
                  <a:pt x="5320949" y="4030156"/>
                </a:cubicBezTo>
                <a:cubicBezTo>
                  <a:pt x="5320174" y="4030052"/>
                  <a:pt x="5319400" y="4029846"/>
                  <a:pt x="5318781" y="4029639"/>
                </a:cubicBezTo>
                <a:cubicBezTo>
                  <a:pt x="5318006" y="4030156"/>
                  <a:pt x="5316922" y="4029846"/>
                  <a:pt x="5316457" y="4029123"/>
                </a:cubicBezTo>
                <a:cubicBezTo>
                  <a:pt x="5316457" y="4029123"/>
                  <a:pt x="5315218" y="4028813"/>
                  <a:pt x="5314598" y="4029227"/>
                </a:cubicBezTo>
                <a:cubicBezTo>
                  <a:pt x="5312275" y="4028710"/>
                  <a:pt x="5311810" y="4027987"/>
                  <a:pt x="5311345" y="4027265"/>
                </a:cubicBezTo>
                <a:cubicBezTo>
                  <a:pt x="5311345" y="4027265"/>
                  <a:pt x="5312430" y="4027574"/>
                  <a:pt x="5313204" y="4027058"/>
                </a:cubicBezTo>
                <a:cubicBezTo>
                  <a:pt x="5313204" y="4027058"/>
                  <a:pt x="5314288" y="4027368"/>
                  <a:pt x="5315528" y="4027677"/>
                </a:cubicBezTo>
                <a:cubicBezTo>
                  <a:pt x="5315528" y="4027677"/>
                  <a:pt x="5316147" y="4027161"/>
                  <a:pt x="5316767" y="4026748"/>
                </a:cubicBezTo>
                <a:close/>
                <a:moveTo>
                  <a:pt x="5396848" y="4024786"/>
                </a:moveTo>
                <a:cubicBezTo>
                  <a:pt x="5398397" y="4026026"/>
                  <a:pt x="5395764" y="4030878"/>
                  <a:pt x="5393596" y="4029639"/>
                </a:cubicBezTo>
                <a:cubicBezTo>
                  <a:pt x="5392821" y="4029227"/>
                  <a:pt x="5392201" y="4028194"/>
                  <a:pt x="5391737" y="4026129"/>
                </a:cubicBezTo>
                <a:cubicBezTo>
                  <a:pt x="5394680" y="4024373"/>
                  <a:pt x="5396229" y="4024167"/>
                  <a:pt x="5396848" y="4024786"/>
                </a:cubicBezTo>
                <a:close/>
                <a:moveTo>
                  <a:pt x="5722440" y="4024476"/>
                </a:moveTo>
                <a:cubicBezTo>
                  <a:pt x="5723215" y="4026232"/>
                  <a:pt x="5723989" y="4029639"/>
                  <a:pt x="5722285" y="4031188"/>
                </a:cubicBezTo>
                <a:cubicBezTo>
                  <a:pt x="5722285" y="4031188"/>
                  <a:pt x="5722285" y="4031085"/>
                  <a:pt x="5721511" y="4031808"/>
                </a:cubicBezTo>
                <a:cubicBezTo>
                  <a:pt x="5721511" y="4029330"/>
                  <a:pt x="5721666" y="4026026"/>
                  <a:pt x="5722440" y="4024476"/>
                </a:cubicBezTo>
                <a:close/>
                <a:moveTo>
                  <a:pt x="5693010" y="4021482"/>
                </a:moveTo>
                <a:cubicBezTo>
                  <a:pt x="5694714" y="4022618"/>
                  <a:pt x="5695488" y="4023547"/>
                  <a:pt x="5696263" y="4024580"/>
                </a:cubicBezTo>
                <a:cubicBezTo>
                  <a:pt x="5697812" y="4025716"/>
                  <a:pt x="5697812" y="4026542"/>
                  <a:pt x="5696108" y="4028194"/>
                </a:cubicBezTo>
                <a:cubicBezTo>
                  <a:pt x="5694559" y="4027058"/>
                  <a:pt x="5692081" y="4023134"/>
                  <a:pt x="5693010" y="4021482"/>
                </a:cubicBezTo>
                <a:close/>
                <a:moveTo>
                  <a:pt x="5707105" y="4019417"/>
                </a:moveTo>
                <a:cubicBezTo>
                  <a:pt x="5708809" y="4021275"/>
                  <a:pt x="5712062" y="4018798"/>
                  <a:pt x="5714695" y="4021585"/>
                </a:cubicBezTo>
                <a:cubicBezTo>
                  <a:pt x="5714850" y="4023341"/>
                  <a:pt x="5714850" y="4024167"/>
                  <a:pt x="5714076" y="4025819"/>
                </a:cubicBezTo>
                <a:cubicBezTo>
                  <a:pt x="5712372" y="4027368"/>
                  <a:pt x="5710978" y="4028297"/>
                  <a:pt x="5709739" y="4028813"/>
                </a:cubicBezTo>
                <a:lnTo>
                  <a:pt x="5706331" y="4029639"/>
                </a:lnTo>
                <a:lnTo>
                  <a:pt x="5706486" y="4031292"/>
                </a:lnTo>
                <a:cubicBezTo>
                  <a:pt x="5706021" y="4032531"/>
                  <a:pt x="5705092" y="4033357"/>
                  <a:pt x="5704008" y="4033357"/>
                </a:cubicBezTo>
                <a:cubicBezTo>
                  <a:pt x="5703233" y="4033357"/>
                  <a:pt x="5702304" y="4032840"/>
                  <a:pt x="5701684" y="4031808"/>
                </a:cubicBezTo>
                <a:lnTo>
                  <a:pt x="5703233" y="4029742"/>
                </a:lnTo>
                <a:lnTo>
                  <a:pt x="5702458" y="4029742"/>
                </a:lnTo>
                <a:cubicBezTo>
                  <a:pt x="5699825" y="4027058"/>
                  <a:pt x="5701374" y="4025303"/>
                  <a:pt x="5702923" y="4021895"/>
                </a:cubicBezTo>
                <a:cubicBezTo>
                  <a:pt x="5703853" y="4022825"/>
                  <a:pt x="5706331" y="4020243"/>
                  <a:pt x="5707105" y="4019417"/>
                </a:cubicBezTo>
                <a:close/>
                <a:moveTo>
                  <a:pt x="5691616" y="4018384"/>
                </a:moveTo>
                <a:cubicBezTo>
                  <a:pt x="5691926" y="4018488"/>
                  <a:pt x="5692081" y="4018798"/>
                  <a:pt x="5692081" y="4018798"/>
                </a:cubicBezTo>
                <a:cubicBezTo>
                  <a:pt x="5693010" y="4019727"/>
                  <a:pt x="5693784" y="4020759"/>
                  <a:pt x="5692855" y="4021482"/>
                </a:cubicBezTo>
                <a:cubicBezTo>
                  <a:pt x="5692855" y="4021482"/>
                  <a:pt x="5692081" y="4021379"/>
                  <a:pt x="5690377" y="4019417"/>
                </a:cubicBezTo>
                <a:cubicBezTo>
                  <a:pt x="5691151" y="4019520"/>
                  <a:pt x="5691306" y="4018694"/>
                  <a:pt x="5691306" y="4018694"/>
                </a:cubicBezTo>
                <a:cubicBezTo>
                  <a:pt x="5691306" y="4018694"/>
                  <a:pt x="5691306" y="4018694"/>
                  <a:pt x="5690377" y="4018591"/>
                </a:cubicBezTo>
                <a:cubicBezTo>
                  <a:pt x="5690841" y="4018178"/>
                  <a:pt x="5691306" y="4018178"/>
                  <a:pt x="5691616" y="4018384"/>
                </a:cubicBezTo>
                <a:close/>
                <a:moveTo>
                  <a:pt x="5386315" y="4016009"/>
                </a:moveTo>
                <a:cubicBezTo>
                  <a:pt x="5388019" y="4017765"/>
                  <a:pt x="5389878" y="4019624"/>
                  <a:pt x="5388174" y="4021172"/>
                </a:cubicBezTo>
                <a:cubicBezTo>
                  <a:pt x="5386625" y="4020346"/>
                  <a:pt x="5385696" y="4021069"/>
                  <a:pt x="5383992" y="4018488"/>
                </a:cubicBezTo>
                <a:cubicBezTo>
                  <a:pt x="5384766" y="4017662"/>
                  <a:pt x="5385541" y="4016836"/>
                  <a:pt x="5386315" y="4016009"/>
                </a:cubicBezTo>
                <a:close/>
                <a:moveTo>
                  <a:pt x="5728326" y="4014874"/>
                </a:moveTo>
                <a:cubicBezTo>
                  <a:pt x="5734677" y="4021689"/>
                  <a:pt x="5747379" y="4019727"/>
                  <a:pt x="5749702" y="4027677"/>
                </a:cubicBezTo>
                <a:cubicBezTo>
                  <a:pt x="5746139" y="4027161"/>
                  <a:pt x="5741028" y="4027781"/>
                  <a:pt x="5736536" y="4027781"/>
                </a:cubicBezTo>
                <a:cubicBezTo>
                  <a:pt x="5732199" y="4027781"/>
                  <a:pt x="5728326" y="4027161"/>
                  <a:pt x="5726932" y="4024270"/>
                </a:cubicBezTo>
                <a:cubicBezTo>
                  <a:pt x="5726158" y="4022308"/>
                  <a:pt x="5726313" y="4019314"/>
                  <a:pt x="5728326" y="4014874"/>
                </a:cubicBezTo>
                <a:close/>
                <a:moveTo>
                  <a:pt x="5417914" y="4008678"/>
                </a:moveTo>
                <a:cubicBezTo>
                  <a:pt x="5417914" y="4008678"/>
                  <a:pt x="5418069" y="4008782"/>
                  <a:pt x="5418998" y="4010537"/>
                </a:cubicBezTo>
                <a:cubicBezTo>
                  <a:pt x="5418998" y="4011466"/>
                  <a:pt x="5418998" y="4012396"/>
                  <a:pt x="5418224" y="4013222"/>
                </a:cubicBezTo>
                <a:cubicBezTo>
                  <a:pt x="5417295" y="4014048"/>
                  <a:pt x="5415591" y="4013944"/>
                  <a:pt x="5414816" y="4013944"/>
                </a:cubicBezTo>
                <a:cubicBezTo>
                  <a:pt x="5414661" y="4013015"/>
                  <a:pt x="5413887" y="4013015"/>
                  <a:pt x="5413887" y="4012086"/>
                </a:cubicBezTo>
                <a:cubicBezTo>
                  <a:pt x="5412957" y="4010331"/>
                  <a:pt x="5412957" y="4010227"/>
                  <a:pt x="5413732" y="4009401"/>
                </a:cubicBezTo>
                <a:cubicBezTo>
                  <a:pt x="5414507" y="4008575"/>
                  <a:pt x="5417140" y="4009504"/>
                  <a:pt x="5417914" y="4008678"/>
                </a:cubicBezTo>
                <a:close/>
                <a:moveTo>
                  <a:pt x="5410169" y="4007130"/>
                </a:moveTo>
                <a:cubicBezTo>
                  <a:pt x="5410169" y="4007130"/>
                  <a:pt x="5410944" y="4008059"/>
                  <a:pt x="5410944" y="4008059"/>
                </a:cubicBezTo>
                <a:cubicBezTo>
                  <a:pt x="5414197" y="4011157"/>
                  <a:pt x="5415436" y="4016629"/>
                  <a:pt x="5414507" y="4018281"/>
                </a:cubicBezTo>
                <a:cubicBezTo>
                  <a:pt x="5413732" y="4019004"/>
                  <a:pt x="5412338" y="4019417"/>
                  <a:pt x="5410944" y="4019314"/>
                </a:cubicBezTo>
                <a:cubicBezTo>
                  <a:pt x="5409705" y="4019210"/>
                  <a:pt x="5408310" y="4018488"/>
                  <a:pt x="5407071" y="4017042"/>
                </a:cubicBezTo>
                <a:cubicBezTo>
                  <a:pt x="5404748" y="4014874"/>
                  <a:pt x="5404903" y="4011466"/>
                  <a:pt x="5402579" y="4008472"/>
                </a:cubicBezTo>
                <a:cubicBezTo>
                  <a:pt x="5405367" y="4005374"/>
                  <a:pt x="5406142" y="4004651"/>
                  <a:pt x="5410169" y="4007130"/>
                </a:cubicBezTo>
                <a:close/>
                <a:moveTo>
                  <a:pt x="485251" y="4006595"/>
                </a:moveTo>
                <a:cubicBezTo>
                  <a:pt x="490053" y="4012274"/>
                  <a:pt x="484786" y="4020535"/>
                  <a:pt x="477971" y="4019812"/>
                </a:cubicBezTo>
                <a:cubicBezTo>
                  <a:pt x="476887" y="4018367"/>
                  <a:pt x="474254" y="4016818"/>
                  <a:pt x="473169" y="4014133"/>
                </a:cubicBezTo>
                <a:cubicBezTo>
                  <a:pt x="475338" y="4008041"/>
                  <a:pt x="479830" y="4005976"/>
                  <a:pt x="485251" y="4006595"/>
                </a:cubicBezTo>
                <a:close/>
                <a:moveTo>
                  <a:pt x="5395144" y="4005168"/>
                </a:moveTo>
                <a:cubicBezTo>
                  <a:pt x="5398707" y="4010537"/>
                  <a:pt x="5401495" y="4015803"/>
                  <a:pt x="5408465" y="4021379"/>
                </a:cubicBezTo>
                <a:lnTo>
                  <a:pt x="5408310" y="4022102"/>
                </a:lnTo>
                <a:lnTo>
                  <a:pt x="5408775" y="4022825"/>
                </a:lnTo>
                <a:cubicBezTo>
                  <a:pt x="5408930" y="4023754"/>
                  <a:pt x="5408620" y="4024683"/>
                  <a:pt x="5408310" y="4024890"/>
                </a:cubicBezTo>
                <a:lnTo>
                  <a:pt x="5407846" y="4024476"/>
                </a:lnTo>
                <a:lnTo>
                  <a:pt x="5406917" y="4026542"/>
                </a:lnTo>
                <a:cubicBezTo>
                  <a:pt x="5400256" y="4026232"/>
                  <a:pt x="5389413" y="4011776"/>
                  <a:pt x="5395144" y="4005168"/>
                </a:cubicBezTo>
                <a:close/>
                <a:moveTo>
                  <a:pt x="5466126" y="4000663"/>
                </a:moveTo>
                <a:cubicBezTo>
                  <a:pt x="5468255" y="4000340"/>
                  <a:pt x="5470811" y="4001399"/>
                  <a:pt x="5473987" y="4004548"/>
                </a:cubicBezTo>
                <a:cubicBezTo>
                  <a:pt x="5465003" y="4008988"/>
                  <a:pt x="5461130" y="4021792"/>
                  <a:pt x="5452921" y="4021895"/>
                </a:cubicBezTo>
                <a:lnTo>
                  <a:pt x="5456793" y="4013635"/>
                </a:lnTo>
                <a:lnTo>
                  <a:pt x="5455244" y="4012499"/>
                </a:lnTo>
                <a:cubicBezTo>
                  <a:pt x="5454470" y="4011466"/>
                  <a:pt x="5453850" y="4009504"/>
                  <a:pt x="5453540" y="4007336"/>
                </a:cubicBezTo>
                <a:cubicBezTo>
                  <a:pt x="5453231" y="4005168"/>
                  <a:pt x="5453386" y="4002999"/>
                  <a:pt x="5454315" y="4001864"/>
                </a:cubicBezTo>
                <a:cubicBezTo>
                  <a:pt x="5455864" y="4002999"/>
                  <a:pt x="5457413" y="4004032"/>
                  <a:pt x="5458962" y="4005168"/>
                </a:cubicBezTo>
                <a:cubicBezTo>
                  <a:pt x="5458652" y="4005168"/>
                  <a:pt x="5458652" y="4007130"/>
                  <a:pt x="5458807" y="4009195"/>
                </a:cubicBezTo>
                <a:lnTo>
                  <a:pt x="5460820" y="4005064"/>
                </a:lnTo>
                <a:cubicBezTo>
                  <a:pt x="5462292" y="4002689"/>
                  <a:pt x="5463996" y="4000986"/>
                  <a:pt x="5466126" y="4000663"/>
                </a:cubicBezTo>
                <a:close/>
                <a:moveTo>
                  <a:pt x="5732508" y="4000108"/>
                </a:moveTo>
                <a:cubicBezTo>
                  <a:pt x="5733593" y="4000418"/>
                  <a:pt x="5734677" y="4000521"/>
                  <a:pt x="5735451" y="4000625"/>
                </a:cubicBezTo>
                <a:lnTo>
                  <a:pt x="5736536" y="4001037"/>
                </a:lnTo>
                <a:lnTo>
                  <a:pt x="5736536" y="4000831"/>
                </a:lnTo>
                <a:lnTo>
                  <a:pt x="5738859" y="4000934"/>
                </a:lnTo>
                <a:lnTo>
                  <a:pt x="5739634" y="4000728"/>
                </a:lnTo>
                <a:lnTo>
                  <a:pt x="5739944" y="4000934"/>
                </a:lnTo>
                <a:lnTo>
                  <a:pt x="5740718" y="4000934"/>
                </a:lnTo>
                <a:cubicBezTo>
                  <a:pt x="5739789" y="4001760"/>
                  <a:pt x="5740408" y="4003619"/>
                  <a:pt x="5739479" y="4004548"/>
                </a:cubicBezTo>
                <a:cubicBezTo>
                  <a:pt x="5739479" y="4004548"/>
                  <a:pt x="5736846" y="4005374"/>
                  <a:pt x="5736846" y="4005374"/>
                </a:cubicBezTo>
                <a:cubicBezTo>
                  <a:pt x="5736536" y="4004858"/>
                  <a:pt x="5736381" y="4004651"/>
                  <a:pt x="5736381" y="4004548"/>
                </a:cubicBezTo>
                <a:cubicBezTo>
                  <a:pt x="5736381" y="4004341"/>
                  <a:pt x="5736536" y="4004445"/>
                  <a:pt x="5737001" y="4004445"/>
                </a:cubicBezTo>
                <a:lnTo>
                  <a:pt x="5736846" y="4003102"/>
                </a:lnTo>
                <a:lnTo>
                  <a:pt x="5735606" y="4003825"/>
                </a:lnTo>
                <a:cubicBezTo>
                  <a:pt x="5734058" y="4004755"/>
                  <a:pt x="5732508" y="4005374"/>
                  <a:pt x="5730960" y="4005374"/>
                </a:cubicBezTo>
                <a:cubicBezTo>
                  <a:pt x="5730340" y="4005168"/>
                  <a:pt x="5729875" y="4005064"/>
                  <a:pt x="5729411" y="4004651"/>
                </a:cubicBezTo>
                <a:cubicBezTo>
                  <a:pt x="5729101" y="4004238"/>
                  <a:pt x="5728791" y="4003619"/>
                  <a:pt x="5729101" y="4002380"/>
                </a:cubicBezTo>
                <a:cubicBezTo>
                  <a:pt x="5728791" y="4000418"/>
                  <a:pt x="5729411" y="4000005"/>
                  <a:pt x="5732508" y="4000108"/>
                </a:cubicBezTo>
                <a:close/>
                <a:moveTo>
                  <a:pt x="5405058" y="3999179"/>
                </a:moveTo>
                <a:cubicBezTo>
                  <a:pt x="5401495" y="4001037"/>
                  <a:pt x="5400720" y="4004032"/>
                  <a:pt x="5398862" y="4004651"/>
                </a:cubicBezTo>
                <a:cubicBezTo>
                  <a:pt x="5398243" y="4004858"/>
                  <a:pt x="5397468" y="4004755"/>
                  <a:pt x="5396539" y="4004341"/>
                </a:cubicBezTo>
                <a:cubicBezTo>
                  <a:pt x="5396074" y="4000625"/>
                  <a:pt x="5401805" y="3997527"/>
                  <a:pt x="5405058" y="3999179"/>
                </a:cubicBezTo>
                <a:close/>
                <a:moveTo>
                  <a:pt x="5432939" y="3998766"/>
                </a:moveTo>
                <a:cubicBezTo>
                  <a:pt x="5434178" y="3999075"/>
                  <a:pt x="5436966" y="4000418"/>
                  <a:pt x="5436811" y="4001554"/>
                </a:cubicBezTo>
                <a:cubicBezTo>
                  <a:pt x="5436347" y="4003929"/>
                  <a:pt x="5434952" y="4005994"/>
                  <a:pt x="5433714" y="4005684"/>
                </a:cubicBezTo>
                <a:cubicBezTo>
                  <a:pt x="5432010" y="4005271"/>
                  <a:pt x="5430151" y="4004755"/>
                  <a:pt x="5429686" y="4003102"/>
                </a:cubicBezTo>
                <a:cubicBezTo>
                  <a:pt x="5429532" y="4002483"/>
                  <a:pt x="5429532" y="4001864"/>
                  <a:pt x="5429532" y="4000934"/>
                </a:cubicBezTo>
                <a:cubicBezTo>
                  <a:pt x="5429532" y="4000934"/>
                  <a:pt x="5429532" y="4000934"/>
                  <a:pt x="5430306" y="4000521"/>
                </a:cubicBezTo>
                <a:cubicBezTo>
                  <a:pt x="5431545" y="3999592"/>
                  <a:pt x="5432320" y="3999179"/>
                  <a:pt x="5432939" y="3998766"/>
                </a:cubicBezTo>
                <a:close/>
                <a:moveTo>
                  <a:pt x="5757447" y="3996907"/>
                </a:moveTo>
                <a:cubicBezTo>
                  <a:pt x="5757292" y="3998869"/>
                  <a:pt x="5757912" y="4000521"/>
                  <a:pt x="5757757" y="4002483"/>
                </a:cubicBezTo>
                <a:cubicBezTo>
                  <a:pt x="5755588" y="4003619"/>
                  <a:pt x="5754349" y="4006303"/>
                  <a:pt x="5752026" y="4006510"/>
                </a:cubicBezTo>
                <a:cubicBezTo>
                  <a:pt x="5751251" y="4006613"/>
                  <a:pt x="5750322" y="4006407"/>
                  <a:pt x="5749237" y="4005787"/>
                </a:cubicBezTo>
                <a:cubicBezTo>
                  <a:pt x="5747379" y="4001037"/>
                  <a:pt x="5752180" y="3994842"/>
                  <a:pt x="5757447" y="3996907"/>
                </a:cubicBezTo>
                <a:close/>
                <a:moveTo>
                  <a:pt x="5390498" y="3994532"/>
                </a:moveTo>
                <a:cubicBezTo>
                  <a:pt x="5390498" y="3994532"/>
                  <a:pt x="5390498" y="3994532"/>
                  <a:pt x="5391272" y="3994532"/>
                </a:cubicBezTo>
                <a:cubicBezTo>
                  <a:pt x="5390652" y="3998043"/>
                  <a:pt x="5391582" y="4002483"/>
                  <a:pt x="5390033" y="4005064"/>
                </a:cubicBezTo>
                <a:cubicBezTo>
                  <a:pt x="5389568" y="4005477"/>
                  <a:pt x="5389258" y="4005890"/>
                  <a:pt x="5388794" y="4005994"/>
                </a:cubicBezTo>
                <a:cubicBezTo>
                  <a:pt x="5388174" y="4006097"/>
                  <a:pt x="5387554" y="4005787"/>
                  <a:pt x="5386625" y="4004858"/>
                </a:cubicBezTo>
                <a:cubicBezTo>
                  <a:pt x="5384921" y="4003929"/>
                  <a:pt x="5384921" y="4003102"/>
                  <a:pt x="5386470" y="4000521"/>
                </a:cubicBezTo>
                <a:cubicBezTo>
                  <a:pt x="5388019" y="3998869"/>
                  <a:pt x="5388949" y="3997114"/>
                  <a:pt x="5389723" y="3997114"/>
                </a:cubicBezTo>
                <a:cubicBezTo>
                  <a:pt x="5389723" y="3996287"/>
                  <a:pt x="5390498" y="3995358"/>
                  <a:pt x="5390498" y="3994532"/>
                </a:cubicBezTo>
                <a:close/>
                <a:moveTo>
                  <a:pt x="5409395" y="3982968"/>
                </a:moveTo>
                <a:cubicBezTo>
                  <a:pt x="5412338" y="3983380"/>
                  <a:pt x="5411564" y="3986478"/>
                  <a:pt x="5412028" y="3989886"/>
                </a:cubicBezTo>
                <a:cubicBezTo>
                  <a:pt x="5410944" y="3989576"/>
                  <a:pt x="5410479" y="3990712"/>
                  <a:pt x="5410014" y="3991847"/>
                </a:cubicBezTo>
                <a:cubicBezTo>
                  <a:pt x="5408310" y="3991228"/>
                  <a:pt x="5405677" y="3990712"/>
                  <a:pt x="5405213" y="3988543"/>
                </a:cubicBezTo>
                <a:cubicBezTo>
                  <a:pt x="5405058" y="3987717"/>
                  <a:pt x="5405213" y="3986891"/>
                  <a:pt x="5405677" y="3985756"/>
                </a:cubicBezTo>
                <a:cubicBezTo>
                  <a:pt x="5405367" y="3984930"/>
                  <a:pt x="5408310" y="3982658"/>
                  <a:pt x="5409395" y="3982968"/>
                </a:cubicBezTo>
                <a:close/>
                <a:moveTo>
                  <a:pt x="5431235" y="3980386"/>
                </a:moveTo>
                <a:cubicBezTo>
                  <a:pt x="5430461" y="3983174"/>
                  <a:pt x="5429686" y="3984310"/>
                  <a:pt x="5428757" y="3984413"/>
                </a:cubicBezTo>
                <a:cubicBezTo>
                  <a:pt x="5427828" y="3984620"/>
                  <a:pt x="5426433" y="3983794"/>
                  <a:pt x="5424730" y="3982761"/>
                </a:cubicBezTo>
                <a:cubicBezTo>
                  <a:pt x="5426124" y="3979250"/>
                  <a:pt x="5427982" y="3979250"/>
                  <a:pt x="5431235" y="3980386"/>
                </a:cubicBezTo>
                <a:close/>
                <a:moveTo>
                  <a:pt x="480759" y="3955483"/>
                </a:moveTo>
                <a:cubicBezTo>
                  <a:pt x="484786" y="3959201"/>
                  <a:pt x="488659" y="3963021"/>
                  <a:pt x="488659" y="3966738"/>
                </a:cubicBezTo>
                <a:cubicBezTo>
                  <a:pt x="486026" y="3969320"/>
                  <a:pt x="483083" y="3970869"/>
                  <a:pt x="479985" y="3971178"/>
                </a:cubicBezTo>
                <a:cubicBezTo>
                  <a:pt x="476732" y="3971488"/>
                  <a:pt x="473479" y="3970559"/>
                  <a:pt x="470227" y="3968081"/>
                </a:cubicBezTo>
                <a:cubicBezTo>
                  <a:pt x="468832" y="3961782"/>
                  <a:pt x="476732" y="3957962"/>
                  <a:pt x="480759" y="3955483"/>
                </a:cubicBezTo>
                <a:close/>
                <a:moveTo>
                  <a:pt x="5776809" y="3952610"/>
                </a:moveTo>
                <a:lnTo>
                  <a:pt x="5770303" y="3960251"/>
                </a:lnTo>
                <a:lnTo>
                  <a:pt x="5773246" y="3961800"/>
                </a:lnTo>
                <a:cubicBezTo>
                  <a:pt x="5774330" y="3962626"/>
                  <a:pt x="5774950" y="3963762"/>
                  <a:pt x="5775415" y="3965207"/>
                </a:cubicBezTo>
                <a:cubicBezTo>
                  <a:pt x="5774485" y="3966137"/>
                  <a:pt x="5773556" y="3966653"/>
                  <a:pt x="5772317" y="3966860"/>
                </a:cubicBezTo>
                <a:lnTo>
                  <a:pt x="5769219" y="3966756"/>
                </a:lnTo>
                <a:lnTo>
                  <a:pt x="5769683" y="3973055"/>
                </a:lnTo>
                <a:lnTo>
                  <a:pt x="5766586" y="3982451"/>
                </a:lnTo>
                <a:lnTo>
                  <a:pt x="5771697" y="3984310"/>
                </a:lnTo>
                <a:lnTo>
                  <a:pt x="5773401" y="3985033"/>
                </a:lnTo>
                <a:lnTo>
                  <a:pt x="5773401" y="3984000"/>
                </a:lnTo>
                <a:lnTo>
                  <a:pt x="5773711" y="3985136"/>
                </a:lnTo>
                <a:lnTo>
                  <a:pt x="5777584" y="3986581"/>
                </a:lnTo>
                <a:lnTo>
                  <a:pt x="5777428" y="3983897"/>
                </a:lnTo>
                <a:lnTo>
                  <a:pt x="5776344" y="3983691"/>
                </a:lnTo>
                <a:cubicBezTo>
                  <a:pt x="5775725" y="3983277"/>
                  <a:pt x="5775415" y="3982761"/>
                  <a:pt x="5775105" y="3981935"/>
                </a:cubicBezTo>
                <a:cubicBezTo>
                  <a:pt x="5775570" y="3982245"/>
                  <a:pt x="5776499" y="3982348"/>
                  <a:pt x="5777273" y="3982555"/>
                </a:cubicBezTo>
                <a:lnTo>
                  <a:pt x="5777428" y="3982555"/>
                </a:lnTo>
                <a:lnTo>
                  <a:pt x="5776964" y="3976669"/>
                </a:lnTo>
                <a:cubicBezTo>
                  <a:pt x="5776654" y="3973158"/>
                  <a:pt x="5777428" y="3969544"/>
                  <a:pt x="5777893" y="3968718"/>
                </a:cubicBezTo>
                <a:lnTo>
                  <a:pt x="5778203" y="3968718"/>
                </a:lnTo>
                <a:lnTo>
                  <a:pt x="5778203" y="3968512"/>
                </a:lnTo>
                <a:lnTo>
                  <a:pt x="5778203" y="3968408"/>
                </a:lnTo>
                <a:lnTo>
                  <a:pt x="5778048" y="3966550"/>
                </a:lnTo>
                <a:lnTo>
                  <a:pt x="5777584" y="3966550"/>
                </a:lnTo>
                <a:cubicBezTo>
                  <a:pt x="5777119" y="3966446"/>
                  <a:pt x="5776344" y="3966137"/>
                  <a:pt x="5775880" y="3965621"/>
                </a:cubicBezTo>
                <a:cubicBezTo>
                  <a:pt x="5775415" y="3965207"/>
                  <a:pt x="5775105" y="3964691"/>
                  <a:pt x="5775415" y="3964072"/>
                </a:cubicBezTo>
                <a:cubicBezTo>
                  <a:pt x="5776034" y="3963556"/>
                  <a:pt x="5775725" y="3962833"/>
                  <a:pt x="5776499" y="3962420"/>
                </a:cubicBezTo>
                <a:lnTo>
                  <a:pt x="5777273" y="3961387"/>
                </a:lnTo>
                <a:lnTo>
                  <a:pt x="5776964" y="3959012"/>
                </a:lnTo>
                <a:close/>
                <a:moveTo>
                  <a:pt x="547210" y="3940924"/>
                </a:moveTo>
                <a:cubicBezTo>
                  <a:pt x="552321" y="3944022"/>
                  <a:pt x="553561" y="3945468"/>
                  <a:pt x="555574" y="3950734"/>
                </a:cubicBezTo>
                <a:cubicBezTo>
                  <a:pt x="550618" y="3957755"/>
                  <a:pt x="543647" y="3959510"/>
                  <a:pt x="536522" y="3961163"/>
                </a:cubicBezTo>
                <a:cubicBezTo>
                  <a:pt x="521342" y="3951973"/>
                  <a:pt x="539775" y="3946397"/>
                  <a:pt x="547210" y="3940924"/>
                </a:cubicBezTo>
                <a:close/>
                <a:moveTo>
                  <a:pt x="5824052" y="3919981"/>
                </a:moveTo>
                <a:lnTo>
                  <a:pt x="5826530" y="3923286"/>
                </a:lnTo>
                <a:cubicBezTo>
                  <a:pt x="5825446" y="3924111"/>
                  <a:pt x="5824517" y="3924421"/>
                  <a:pt x="5823433" y="3925041"/>
                </a:cubicBezTo>
                <a:lnTo>
                  <a:pt x="5823278" y="3925247"/>
                </a:lnTo>
                <a:lnTo>
                  <a:pt x="5826376" y="3928035"/>
                </a:lnTo>
                <a:cubicBezTo>
                  <a:pt x="5831332" y="3934024"/>
                  <a:pt x="5833501" y="3942285"/>
                  <a:pt x="5829474" y="3948893"/>
                </a:cubicBezTo>
                <a:lnTo>
                  <a:pt x="5824207" y="3953746"/>
                </a:lnTo>
                <a:lnTo>
                  <a:pt x="5825601" y="3955501"/>
                </a:lnTo>
                <a:cubicBezTo>
                  <a:pt x="5825137" y="3959115"/>
                  <a:pt x="5822503" y="3960561"/>
                  <a:pt x="5822658" y="3964381"/>
                </a:cubicBezTo>
                <a:cubicBezTo>
                  <a:pt x="5823433" y="3968408"/>
                  <a:pt x="5826840" y="3962626"/>
                  <a:pt x="5825756" y="3959322"/>
                </a:cubicBezTo>
                <a:cubicBezTo>
                  <a:pt x="5827460" y="3962110"/>
                  <a:pt x="5827615" y="3965001"/>
                  <a:pt x="5827305" y="3967892"/>
                </a:cubicBezTo>
                <a:lnTo>
                  <a:pt x="5826221" y="3970887"/>
                </a:lnTo>
                <a:lnTo>
                  <a:pt x="5828234" y="3970990"/>
                </a:lnTo>
                <a:cubicBezTo>
                  <a:pt x="5831023" y="3972126"/>
                  <a:pt x="5832881" y="3974913"/>
                  <a:pt x="5832262" y="3977908"/>
                </a:cubicBezTo>
                <a:cubicBezTo>
                  <a:pt x="5831952" y="3979973"/>
                  <a:pt x="5830558" y="3982038"/>
                  <a:pt x="5827615" y="3983794"/>
                </a:cubicBezTo>
                <a:cubicBezTo>
                  <a:pt x="5826376" y="3982038"/>
                  <a:pt x="5824982" y="3980902"/>
                  <a:pt x="5823742" y="3980076"/>
                </a:cubicBezTo>
                <a:lnTo>
                  <a:pt x="5823433" y="3979767"/>
                </a:lnTo>
                <a:lnTo>
                  <a:pt x="5822039" y="3984723"/>
                </a:lnTo>
                <a:cubicBezTo>
                  <a:pt x="5821729" y="3987407"/>
                  <a:pt x="5821884" y="3989782"/>
                  <a:pt x="5823433" y="3991744"/>
                </a:cubicBezTo>
                <a:cubicBezTo>
                  <a:pt x="5822503" y="3996701"/>
                  <a:pt x="5820335" y="3989989"/>
                  <a:pt x="5817547" y="3992158"/>
                </a:cubicBezTo>
                <a:cubicBezTo>
                  <a:pt x="5819250" y="3995668"/>
                  <a:pt x="5819870" y="3998146"/>
                  <a:pt x="5820180" y="4000728"/>
                </a:cubicBezTo>
                <a:lnTo>
                  <a:pt x="5822348" y="3999179"/>
                </a:lnTo>
                <a:lnTo>
                  <a:pt x="5823587" y="3999385"/>
                </a:lnTo>
                <a:lnTo>
                  <a:pt x="5824982" y="3991435"/>
                </a:lnTo>
                <a:cubicBezTo>
                  <a:pt x="5826221" y="3992983"/>
                  <a:pt x="5826686" y="3995048"/>
                  <a:pt x="5826686" y="3997320"/>
                </a:cubicBezTo>
                <a:lnTo>
                  <a:pt x="5826530" y="3999695"/>
                </a:lnTo>
                <a:lnTo>
                  <a:pt x="5827460" y="3999902"/>
                </a:lnTo>
                <a:lnTo>
                  <a:pt x="5833191" y="4003516"/>
                </a:lnTo>
                <a:lnTo>
                  <a:pt x="5833656" y="4003516"/>
                </a:lnTo>
                <a:lnTo>
                  <a:pt x="5833656" y="4003825"/>
                </a:lnTo>
                <a:lnTo>
                  <a:pt x="5837993" y="4006613"/>
                </a:lnTo>
                <a:lnTo>
                  <a:pt x="5833656" y="4009711"/>
                </a:lnTo>
                <a:lnTo>
                  <a:pt x="5834431" y="4014048"/>
                </a:lnTo>
                <a:lnTo>
                  <a:pt x="5833966" y="4014048"/>
                </a:lnTo>
                <a:lnTo>
                  <a:pt x="5835205" y="4015700"/>
                </a:lnTo>
                <a:cubicBezTo>
                  <a:pt x="5838613" y="4019520"/>
                  <a:pt x="5841555" y="4023237"/>
                  <a:pt x="5839851" y="4027987"/>
                </a:cubicBezTo>
                <a:cubicBezTo>
                  <a:pt x="5836444" y="4025199"/>
                  <a:pt x="5832727" y="4022928"/>
                  <a:pt x="5829629" y="4019624"/>
                </a:cubicBezTo>
                <a:lnTo>
                  <a:pt x="5826995" y="4016423"/>
                </a:lnTo>
                <a:lnTo>
                  <a:pt x="5827770" y="4019417"/>
                </a:lnTo>
                <a:lnTo>
                  <a:pt x="5824982" y="4014667"/>
                </a:lnTo>
                <a:lnTo>
                  <a:pt x="5824517" y="4014874"/>
                </a:lnTo>
                <a:lnTo>
                  <a:pt x="5824362" y="4020656"/>
                </a:lnTo>
                <a:cubicBezTo>
                  <a:pt x="5824827" y="4023960"/>
                  <a:pt x="5825756" y="4024064"/>
                  <a:pt x="5823433" y="4027058"/>
                </a:cubicBezTo>
                <a:lnTo>
                  <a:pt x="5820335" y="4030981"/>
                </a:lnTo>
                <a:lnTo>
                  <a:pt x="5820335" y="4033357"/>
                </a:lnTo>
                <a:lnTo>
                  <a:pt x="5820490" y="4035112"/>
                </a:lnTo>
                <a:cubicBezTo>
                  <a:pt x="5821419" y="4037797"/>
                  <a:pt x="5823433" y="4037797"/>
                  <a:pt x="5824052" y="4040791"/>
                </a:cubicBezTo>
                <a:cubicBezTo>
                  <a:pt x="5827925" y="4038209"/>
                  <a:pt x="5822658" y="4032221"/>
                  <a:pt x="5823123" y="4028607"/>
                </a:cubicBezTo>
                <a:cubicBezTo>
                  <a:pt x="5825137" y="4031395"/>
                  <a:pt x="5827925" y="4033770"/>
                  <a:pt x="5831023" y="4035422"/>
                </a:cubicBezTo>
                <a:cubicBezTo>
                  <a:pt x="5828699" y="4037797"/>
                  <a:pt x="5826840" y="4040998"/>
                  <a:pt x="5826376" y="4044611"/>
                </a:cubicBezTo>
                <a:cubicBezTo>
                  <a:pt x="5825756" y="4046573"/>
                  <a:pt x="5824982" y="4048742"/>
                  <a:pt x="5824982" y="4050910"/>
                </a:cubicBezTo>
                <a:cubicBezTo>
                  <a:pt x="5824672" y="4051633"/>
                  <a:pt x="5824672" y="4051633"/>
                  <a:pt x="5825137" y="4052459"/>
                </a:cubicBezTo>
                <a:cubicBezTo>
                  <a:pt x="5825137" y="4052459"/>
                  <a:pt x="5825137" y="4052459"/>
                  <a:pt x="5824982" y="4053182"/>
                </a:cubicBezTo>
                <a:cubicBezTo>
                  <a:pt x="5824982" y="4053182"/>
                  <a:pt x="5824672" y="4053904"/>
                  <a:pt x="5824672" y="4053904"/>
                </a:cubicBezTo>
                <a:cubicBezTo>
                  <a:pt x="5824362" y="4054524"/>
                  <a:pt x="5824207" y="4055247"/>
                  <a:pt x="5824827" y="4055454"/>
                </a:cubicBezTo>
                <a:cubicBezTo>
                  <a:pt x="5824982" y="4057002"/>
                  <a:pt x="5828389" y="4055763"/>
                  <a:pt x="5829938" y="4055454"/>
                </a:cubicBezTo>
                <a:cubicBezTo>
                  <a:pt x="5831487" y="4057415"/>
                  <a:pt x="5828544" y="4057312"/>
                  <a:pt x="5826066" y="4058035"/>
                </a:cubicBezTo>
                <a:cubicBezTo>
                  <a:pt x="5829009" y="4060410"/>
                  <a:pt x="5830093" y="4063817"/>
                  <a:pt x="5831332" y="4066399"/>
                </a:cubicBezTo>
                <a:cubicBezTo>
                  <a:pt x="5831642" y="4067328"/>
                  <a:pt x="5831487" y="4068051"/>
                  <a:pt x="5831952" y="4068877"/>
                </a:cubicBezTo>
                <a:cubicBezTo>
                  <a:pt x="5831952" y="4068877"/>
                  <a:pt x="5831952" y="4068877"/>
                  <a:pt x="5832107" y="4070426"/>
                </a:cubicBezTo>
                <a:cubicBezTo>
                  <a:pt x="5832107" y="4070426"/>
                  <a:pt x="5832107" y="4070426"/>
                  <a:pt x="5832727" y="4070632"/>
                </a:cubicBezTo>
                <a:cubicBezTo>
                  <a:pt x="5832727" y="4070632"/>
                  <a:pt x="5832727" y="4070632"/>
                  <a:pt x="5832572" y="4071355"/>
                </a:cubicBezTo>
                <a:cubicBezTo>
                  <a:pt x="5832572" y="4071355"/>
                  <a:pt x="5832417" y="4071355"/>
                  <a:pt x="5833501" y="4079202"/>
                </a:cubicBezTo>
                <a:lnTo>
                  <a:pt x="5833811" y="4080751"/>
                </a:lnTo>
                <a:lnTo>
                  <a:pt x="5835670" y="4082713"/>
                </a:lnTo>
                <a:cubicBezTo>
                  <a:pt x="5836289" y="4083539"/>
                  <a:pt x="5836599" y="4084468"/>
                  <a:pt x="5836599" y="4085398"/>
                </a:cubicBezTo>
                <a:lnTo>
                  <a:pt x="5836289" y="4087050"/>
                </a:lnTo>
                <a:lnTo>
                  <a:pt x="5837219" y="4085191"/>
                </a:lnTo>
                <a:cubicBezTo>
                  <a:pt x="5838767" y="4082610"/>
                  <a:pt x="5840317" y="4080545"/>
                  <a:pt x="5841710" y="4080441"/>
                </a:cubicBezTo>
                <a:cubicBezTo>
                  <a:pt x="5841865" y="4081267"/>
                  <a:pt x="5842175" y="4082094"/>
                  <a:pt x="5841555" y="4083229"/>
                </a:cubicBezTo>
                <a:cubicBezTo>
                  <a:pt x="5841091" y="4084365"/>
                  <a:pt x="5840781" y="4083539"/>
                  <a:pt x="5841091" y="4084365"/>
                </a:cubicBezTo>
                <a:cubicBezTo>
                  <a:pt x="5840626" y="4085501"/>
                  <a:pt x="5841401" y="4085191"/>
                  <a:pt x="5841401" y="4085191"/>
                </a:cubicBezTo>
                <a:cubicBezTo>
                  <a:pt x="5841401" y="4085191"/>
                  <a:pt x="5840626" y="4085501"/>
                  <a:pt x="5840626" y="4085501"/>
                </a:cubicBezTo>
                <a:cubicBezTo>
                  <a:pt x="5840626" y="4085501"/>
                  <a:pt x="5840626" y="4085501"/>
                  <a:pt x="5839542" y="4087773"/>
                </a:cubicBezTo>
                <a:cubicBezTo>
                  <a:pt x="5838613" y="4090870"/>
                  <a:pt x="5838922" y="4091696"/>
                  <a:pt x="5838613" y="4093658"/>
                </a:cubicBezTo>
                <a:lnTo>
                  <a:pt x="5838303" y="4094071"/>
                </a:lnTo>
                <a:lnTo>
                  <a:pt x="5840006" y="4096652"/>
                </a:lnTo>
                <a:lnTo>
                  <a:pt x="5839387" y="4104397"/>
                </a:lnTo>
                <a:lnTo>
                  <a:pt x="5841555" y="4098718"/>
                </a:lnTo>
                <a:lnTo>
                  <a:pt x="5842794" y="4097272"/>
                </a:lnTo>
                <a:lnTo>
                  <a:pt x="5841246" y="4096343"/>
                </a:lnTo>
                <a:cubicBezTo>
                  <a:pt x="5840781" y="4093658"/>
                  <a:pt x="5840471" y="4090870"/>
                  <a:pt x="5843414" y="4087669"/>
                </a:cubicBezTo>
                <a:cubicBezTo>
                  <a:pt x="5845118" y="4087360"/>
                  <a:pt x="5846667" y="4087566"/>
                  <a:pt x="5847906" y="4088185"/>
                </a:cubicBezTo>
                <a:lnTo>
                  <a:pt x="5849145" y="4089322"/>
                </a:lnTo>
                <a:lnTo>
                  <a:pt x="5850384" y="4088185"/>
                </a:lnTo>
                <a:lnTo>
                  <a:pt x="5849300" y="4081784"/>
                </a:lnTo>
                <a:cubicBezTo>
                  <a:pt x="5849300" y="4079512"/>
                  <a:pt x="5848526" y="4077757"/>
                  <a:pt x="5848216" y="4076208"/>
                </a:cubicBezTo>
                <a:cubicBezTo>
                  <a:pt x="5848216" y="4076208"/>
                  <a:pt x="5848216" y="4076208"/>
                  <a:pt x="5847287" y="4068361"/>
                </a:cubicBezTo>
                <a:cubicBezTo>
                  <a:pt x="5847287" y="4068361"/>
                  <a:pt x="5847287" y="4068361"/>
                  <a:pt x="5847596" y="4067638"/>
                </a:cubicBezTo>
                <a:cubicBezTo>
                  <a:pt x="5847596" y="4067638"/>
                  <a:pt x="5847442" y="4067638"/>
                  <a:pt x="5846822" y="4067431"/>
                </a:cubicBezTo>
                <a:cubicBezTo>
                  <a:pt x="5846822" y="4067431"/>
                  <a:pt x="5846822" y="4067534"/>
                  <a:pt x="5846667" y="4065882"/>
                </a:cubicBezTo>
                <a:cubicBezTo>
                  <a:pt x="5846667" y="4063714"/>
                  <a:pt x="5846512" y="4062062"/>
                  <a:pt x="5846512" y="4059894"/>
                </a:cubicBezTo>
                <a:cubicBezTo>
                  <a:pt x="5846357" y="4058344"/>
                  <a:pt x="5847132" y="4056279"/>
                  <a:pt x="5846977" y="4054731"/>
                </a:cubicBezTo>
                <a:cubicBezTo>
                  <a:pt x="5847442" y="4053285"/>
                  <a:pt x="5847596" y="4052666"/>
                  <a:pt x="5847132" y="4051736"/>
                </a:cubicBezTo>
                <a:cubicBezTo>
                  <a:pt x="5847442" y="4051013"/>
                  <a:pt x="5847596" y="4050394"/>
                  <a:pt x="5847596" y="4050394"/>
                </a:cubicBezTo>
                <a:cubicBezTo>
                  <a:pt x="5847906" y="4049671"/>
                  <a:pt x="5847906" y="4049774"/>
                  <a:pt x="5848371" y="4048329"/>
                </a:cubicBezTo>
                <a:cubicBezTo>
                  <a:pt x="5847752" y="4045954"/>
                  <a:pt x="5846822" y="4046367"/>
                  <a:pt x="5846357" y="4047709"/>
                </a:cubicBezTo>
                <a:cubicBezTo>
                  <a:pt x="5846048" y="4048432"/>
                  <a:pt x="5846048" y="4048432"/>
                  <a:pt x="5845893" y="4049051"/>
                </a:cubicBezTo>
                <a:cubicBezTo>
                  <a:pt x="5845583" y="4049774"/>
                  <a:pt x="5845583" y="4049774"/>
                  <a:pt x="5845428" y="4050394"/>
                </a:cubicBezTo>
                <a:cubicBezTo>
                  <a:pt x="5845428" y="4050394"/>
                  <a:pt x="5845273" y="4051117"/>
                  <a:pt x="5845893" y="4051323"/>
                </a:cubicBezTo>
                <a:cubicBezTo>
                  <a:pt x="5844498" y="4050910"/>
                  <a:pt x="5844498" y="4050910"/>
                  <a:pt x="5844189" y="4050084"/>
                </a:cubicBezTo>
                <a:cubicBezTo>
                  <a:pt x="5843724" y="4049155"/>
                  <a:pt x="5843414" y="4047606"/>
                  <a:pt x="5843260" y="4046057"/>
                </a:cubicBezTo>
                <a:cubicBezTo>
                  <a:pt x="5843879" y="4042443"/>
                  <a:pt x="5844034" y="4039448"/>
                  <a:pt x="5845583" y="4039242"/>
                </a:cubicBezTo>
                <a:cubicBezTo>
                  <a:pt x="5841555" y="4031911"/>
                  <a:pt x="5840781" y="4025716"/>
                  <a:pt x="5840781" y="4019624"/>
                </a:cubicBezTo>
                <a:cubicBezTo>
                  <a:pt x="5840317" y="4016526"/>
                  <a:pt x="5840781" y="4012912"/>
                  <a:pt x="5840471" y="4009814"/>
                </a:cubicBezTo>
                <a:cubicBezTo>
                  <a:pt x="5840006" y="4008885"/>
                  <a:pt x="5840317" y="4008265"/>
                  <a:pt x="5839851" y="4007336"/>
                </a:cubicBezTo>
                <a:cubicBezTo>
                  <a:pt x="5840162" y="4006613"/>
                  <a:pt x="5839697" y="4005787"/>
                  <a:pt x="5839232" y="4004858"/>
                </a:cubicBezTo>
                <a:lnTo>
                  <a:pt x="5836599" y="4005271"/>
                </a:lnTo>
                <a:lnTo>
                  <a:pt x="5838458" y="4001554"/>
                </a:lnTo>
                <a:lnTo>
                  <a:pt x="5837993" y="4000005"/>
                </a:lnTo>
                <a:cubicBezTo>
                  <a:pt x="5842950" y="3998456"/>
                  <a:pt x="5842485" y="3993087"/>
                  <a:pt x="5841865" y="3988337"/>
                </a:cubicBezTo>
                <a:cubicBezTo>
                  <a:pt x="5841401" y="3983691"/>
                  <a:pt x="5840781" y="3979044"/>
                  <a:pt x="5844344" y="3979354"/>
                </a:cubicBezTo>
                <a:cubicBezTo>
                  <a:pt x="5845583" y="3971403"/>
                  <a:pt x="5837838" y="3981109"/>
                  <a:pt x="5838613" y="3976772"/>
                </a:cubicBezTo>
                <a:cubicBezTo>
                  <a:pt x="5838303" y="3974501"/>
                  <a:pt x="5838148" y="3968925"/>
                  <a:pt x="5837838" y="3963246"/>
                </a:cubicBezTo>
                <a:lnTo>
                  <a:pt x="5837528" y="3957567"/>
                </a:lnTo>
                <a:lnTo>
                  <a:pt x="5832262" y="3950648"/>
                </a:lnTo>
                <a:lnTo>
                  <a:pt x="5833501" y="3948790"/>
                </a:lnTo>
                <a:lnTo>
                  <a:pt x="5831487" y="3948996"/>
                </a:lnTo>
                <a:cubicBezTo>
                  <a:pt x="5831023" y="3942078"/>
                  <a:pt x="5833501" y="3949616"/>
                  <a:pt x="5835824" y="3945072"/>
                </a:cubicBezTo>
                <a:cubicBezTo>
                  <a:pt x="5834431" y="3944660"/>
                  <a:pt x="5834275" y="3943110"/>
                  <a:pt x="5834120" y="3941562"/>
                </a:cubicBezTo>
                <a:cubicBezTo>
                  <a:pt x="5833811" y="3940013"/>
                  <a:pt x="5834275" y="3938567"/>
                  <a:pt x="5834740" y="3937225"/>
                </a:cubicBezTo>
                <a:cubicBezTo>
                  <a:pt x="5835979" y="3933818"/>
                  <a:pt x="5836289" y="3930927"/>
                  <a:pt x="5831952" y="3928861"/>
                </a:cubicBezTo>
                <a:cubicBezTo>
                  <a:pt x="5833036" y="3925454"/>
                  <a:pt x="5834585" y="3925144"/>
                  <a:pt x="5836134" y="3927106"/>
                </a:cubicBezTo>
                <a:lnTo>
                  <a:pt x="5834120" y="3921943"/>
                </a:lnTo>
                <a:lnTo>
                  <a:pt x="5825756" y="3920601"/>
                </a:lnTo>
                <a:close/>
                <a:moveTo>
                  <a:pt x="641075" y="3900621"/>
                </a:moveTo>
                <a:lnTo>
                  <a:pt x="641697" y="3901481"/>
                </a:lnTo>
                <a:cubicBezTo>
                  <a:pt x="642935" y="3903133"/>
                  <a:pt x="644020" y="3904269"/>
                  <a:pt x="644639" y="3905817"/>
                </a:cubicBezTo>
                <a:cubicBezTo>
                  <a:pt x="644639" y="3905817"/>
                  <a:pt x="644639" y="3905817"/>
                  <a:pt x="645724" y="3906953"/>
                </a:cubicBezTo>
                <a:cubicBezTo>
                  <a:pt x="645724" y="3906953"/>
                  <a:pt x="645724" y="3906953"/>
                  <a:pt x="645724" y="3907573"/>
                </a:cubicBezTo>
                <a:cubicBezTo>
                  <a:pt x="646343" y="3907573"/>
                  <a:pt x="646343" y="3908089"/>
                  <a:pt x="646343" y="3908089"/>
                </a:cubicBezTo>
                <a:cubicBezTo>
                  <a:pt x="646343" y="3908089"/>
                  <a:pt x="646343" y="3908089"/>
                  <a:pt x="646963" y="3909121"/>
                </a:cubicBezTo>
                <a:cubicBezTo>
                  <a:pt x="649131" y="3911290"/>
                  <a:pt x="652075" y="3914491"/>
                  <a:pt x="654863" y="3917176"/>
                </a:cubicBezTo>
                <a:cubicBezTo>
                  <a:pt x="657806" y="3916143"/>
                  <a:pt x="666789" y="3916143"/>
                  <a:pt x="664621" y="3912839"/>
                </a:cubicBezTo>
                <a:cubicBezTo>
                  <a:pt x="665086" y="3913458"/>
                  <a:pt x="665086" y="3913975"/>
                  <a:pt x="665706" y="3914491"/>
                </a:cubicBezTo>
                <a:cubicBezTo>
                  <a:pt x="665706" y="3914491"/>
                  <a:pt x="665706" y="3914491"/>
                  <a:pt x="668029" y="3918828"/>
                </a:cubicBezTo>
                <a:cubicBezTo>
                  <a:pt x="668029" y="3918828"/>
                  <a:pt x="668029" y="3918828"/>
                  <a:pt x="668029" y="3919447"/>
                </a:cubicBezTo>
                <a:cubicBezTo>
                  <a:pt x="668029" y="3919447"/>
                  <a:pt x="668029" y="3919344"/>
                  <a:pt x="668493" y="3919964"/>
                </a:cubicBezTo>
                <a:cubicBezTo>
                  <a:pt x="669113" y="3919964"/>
                  <a:pt x="669113" y="3920480"/>
                  <a:pt x="669733" y="3920996"/>
                </a:cubicBezTo>
                <a:cubicBezTo>
                  <a:pt x="671436" y="3922648"/>
                  <a:pt x="672521" y="3924300"/>
                  <a:pt x="674225" y="3925333"/>
                </a:cubicBezTo>
                <a:cubicBezTo>
                  <a:pt x="675619" y="3926469"/>
                  <a:pt x="677013" y="3926985"/>
                  <a:pt x="677943" y="3926675"/>
                </a:cubicBezTo>
                <a:cubicBezTo>
                  <a:pt x="679027" y="3926262"/>
                  <a:pt x="679646" y="3925023"/>
                  <a:pt x="679956" y="3922648"/>
                </a:cubicBezTo>
                <a:cubicBezTo>
                  <a:pt x="679956" y="3920480"/>
                  <a:pt x="675929" y="3918311"/>
                  <a:pt x="676548" y="3919447"/>
                </a:cubicBezTo>
                <a:cubicBezTo>
                  <a:pt x="676548" y="3918828"/>
                  <a:pt x="675929" y="3917795"/>
                  <a:pt x="675464" y="3916659"/>
                </a:cubicBezTo>
                <a:cubicBezTo>
                  <a:pt x="675464" y="3916143"/>
                  <a:pt x="674844" y="3915627"/>
                  <a:pt x="674844" y="3915110"/>
                </a:cubicBezTo>
                <a:cubicBezTo>
                  <a:pt x="674844" y="3915110"/>
                  <a:pt x="674844" y="3915110"/>
                  <a:pt x="674225" y="3915110"/>
                </a:cubicBezTo>
                <a:cubicBezTo>
                  <a:pt x="674225" y="3915110"/>
                  <a:pt x="674225" y="3915007"/>
                  <a:pt x="672056" y="3911290"/>
                </a:cubicBezTo>
                <a:cubicBezTo>
                  <a:pt x="672056" y="3911290"/>
                  <a:pt x="672056" y="3911290"/>
                  <a:pt x="672056" y="3910774"/>
                </a:cubicBezTo>
                <a:cubicBezTo>
                  <a:pt x="672056" y="3910774"/>
                  <a:pt x="672056" y="3910774"/>
                  <a:pt x="672521" y="3910774"/>
                </a:cubicBezTo>
                <a:cubicBezTo>
                  <a:pt x="672521" y="3910774"/>
                  <a:pt x="672521" y="3910671"/>
                  <a:pt x="672521" y="3910154"/>
                </a:cubicBezTo>
                <a:cubicBezTo>
                  <a:pt x="672056" y="3908502"/>
                  <a:pt x="671436" y="3907470"/>
                  <a:pt x="670817" y="3906437"/>
                </a:cubicBezTo>
                <a:lnTo>
                  <a:pt x="662995" y="3900621"/>
                </a:lnTo>
                <a:close/>
                <a:moveTo>
                  <a:pt x="5830254" y="3894951"/>
                </a:moveTo>
                <a:lnTo>
                  <a:pt x="5825601" y="3900171"/>
                </a:lnTo>
                <a:lnTo>
                  <a:pt x="5825601" y="3900363"/>
                </a:lnTo>
                <a:lnTo>
                  <a:pt x="5828854" y="3899227"/>
                </a:lnTo>
                <a:lnTo>
                  <a:pt x="5829783" y="3899640"/>
                </a:lnTo>
                <a:lnTo>
                  <a:pt x="5830248" y="3895200"/>
                </a:lnTo>
                <a:close/>
                <a:moveTo>
                  <a:pt x="422008" y="3879710"/>
                </a:moveTo>
                <a:cubicBezTo>
                  <a:pt x="427275" y="3881724"/>
                  <a:pt x="433160" y="3883117"/>
                  <a:pt x="438839" y="3885131"/>
                </a:cubicBezTo>
                <a:cubicBezTo>
                  <a:pt x="444518" y="3886990"/>
                  <a:pt x="449991" y="3889313"/>
                  <a:pt x="454637" y="3893031"/>
                </a:cubicBezTo>
                <a:cubicBezTo>
                  <a:pt x="444002" y="3898143"/>
                  <a:pt x="421802" y="3895819"/>
                  <a:pt x="422008" y="3879710"/>
                </a:cubicBezTo>
                <a:close/>
                <a:moveTo>
                  <a:pt x="496094" y="3875047"/>
                </a:moveTo>
                <a:cubicBezTo>
                  <a:pt x="499966" y="3875563"/>
                  <a:pt x="507401" y="3880210"/>
                  <a:pt x="508021" y="3886715"/>
                </a:cubicBezTo>
                <a:cubicBezTo>
                  <a:pt x="504923" y="3889606"/>
                  <a:pt x="502135" y="3890639"/>
                  <a:pt x="499502" y="3890019"/>
                </a:cubicBezTo>
                <a:cubicBezTo>
                  <a:pt x="496869" y="3889400"/>
                  <a:pt x="494545" y="3887128"/>
                  <a:pt x="492222" y="3883617"/>
                </a:cubicBezTo>
                <a:cubicBezTo>
                  <a:pt x="493926" y="3881242"/>
                  <a:pt x="494235" y="3878764"/>
                  <a:pt x="496094" y="3875047"/>
                </a:cubicBezTo>
                <a:close/>
                <a:moveTo>
                  <a:pt x="573387" y="3863895"/>
                </a:moveTo>
                <a:lnTo>
                  <a:pt x="574936" y="3869678"/>
                </a:lnTo>
                <a:cubicBezTo>
                  <a:pt x="576175" y="3872362"/>
                  <a:pt x="577260" y="3875667"/>
                  <a:pt x="578963" y="3877835"/>
                </a:cubicBezTo>
                <a:cubicBezTo>
                  <a:pt x="580667" y="3887541"/>
                  <a:pt x="582991" y="3894046"/>
                  <a:pt x="585779" y="3900448"/>
                </a:cubicBezTo>
                <a:cubicBezTo>
                  <a:pt x="587792" y="3904269"/>
                  <a:pt x="590116" y="3908089"/>
                  <a:pt x="592749" y="3912219"/>
                </a:cubicBezTo>
                <a:lnTo>
                  <a:pt x="600495" y="3924197"/>
                </a:lnTo>
                <a:lnTo>
                  <a:pt x="600959" y="3923681"/>
                </a:lnTo>
                <a:lnTo>
                  <a:pt x="604521" y="3922338"/>
                </a:lnTo>
                <a:lnTo>
                  <a:pt x="602508" y="3921512"/>
                </a:lnTo>
                <a:cubicBezTo>
                  <a:pt x="601268" y="3919757"/>
                  <a:pt x="603437" y="3916349"/>
                  <a:pt x="602973" y="3913458"/>
                </a:cubicBezTo>
                <a:cubicBezTo>
                  <a:pt x="601734" y="3912426"/>
                  <a:pt x="600649" y="3911290"/>
                  <a:pt x="600185" y="3909638"/>
                </a:cubicBezTo>
                <a:cubicBezTo>
                  <a:pt x="598945" y="3912942"/>
                  <a:pt x="601734" y="3918311"/>
                  <a:pt x="598945" y="3920480"/>
                </a:cubicBezTo>
                <a:cubicBezTo>
                  <a:pt x="597241" y="3916143"/>
                  <a:pt x="599565" y="3913975"/>
                  <a:pt x="595538" y="3908089"/>
                </a:cubicBezTo>
                <a:cubicBezTo>
                  <a:pt x="598945" y="3904785"/>
                  <a:pt x="602352" y="3907470"/>
                  <a:pt x="597861" y="3899932"/>
                </a:cubicBezTo>
                <a:cubicBezTo>
                  <a:pt x="600185" y="3903133"/>
                  <a:pt x="603592" y="3902100"/>
                  <a:pt x="605296" y="3906953"/>
                </a:cubicBezTo>
                <a:cubicBezTo>
                  <a:pt x="607000" y="3906437"/>
                  <a:pt x="607000" y="3903752"/>
                  <a:pt x="606380" y="3900964"/>
                </a:cubicBezTo>
                <a:lnTo>
                  <a:pt x="606257" y="3900621"/>
                </a:lnTo>
                <a:lnTo>
                  <a:pt x="602397" y="3900621"/>
                </a:lnTo>
                <a:lnTo>
                  <a:pt x="602397" y="3900466"/>
                </a:lnTo>
                <a:cubicBezTo>
                  <a:pt x="601674" y="3899381"/>
                  <a:pt x="600642" y="3898143"/>
                  <a:pt x="599506" y="3897058"/>
                </a:cubicBezTo>
                <a:cubicBezTo>
                  <a:pt x="597337" y="3894115"/>
                  <a:pt x="594136" y="3892411"/>
                  <a:pt x="591142" y="3889933"/>
                </a:cubicBezTo>
                <a:cubicBezTo>
                  <a:pt x="588767" y="3887610"/>
                  <a:pt x="585669" y="3885906"/>
                  <a:pt x="583295" y="3883582"/>
                </a:cubicBezTo>
                <a:cubicBezTo>
                  <a:pt x="586495" y="3883272"/>
                  <a:pt x="588974" y="3884821"/>
                  <a:pt x="591555" y="3886370"/>
                </a:cubicBezTo>
                <a:cubicBezTo>
                  <a:pt x="594033" y="3887919"/>
                  <a:pt x="597028" y="3890398"/>
                  <a:pt x="599713" y="3891327"/>
                </a:cubicBezTo>
                <a:cubicBezTo>
                  <a:pt x="599609" y="3889158"/>
                  <a:pt x="598473" y="3885751"/>
                  <a:pt x="595892" y="3884202"/>
                </a:cubicBezTo>
                <a:cubicBezTo>
                  <a:pt x="594240" y="3882188"/>
                  <a:pt x="591555" y="3881259"/>
                  <a:pt x="589180" y="3884047"/>
                </a:cubicBezTo>
                <a:cubicBezTo>
                  <a:pt x="587218" y="3878316"/>
                  <a:pt x="584430" y="3877386"/>
                  <a:pt x="579888" y="3872894"/>
                </a:cubicBezTo>
                <a:cubicBezTo>
                  <a:pt x="578545" y="3867473"/>
                  <a:pt x="586805" y="3879710"/>
                  <a:pt x="589180" y="3876922"/>
                </a:cubicBezTo>
                <a:lnTo>
                  <a:pt x="585818" y="3869948"/>
                </a:lnTo>
                <a:lnTo>
                  <a:pt x="576950" y="3865444"/>
                </a:lnTo>
                <a:close/>
                <a:moveTo>
                  <a:pt x="439665" y="3858024"/>
                </a:moveTo>
                <a:cubicBezTo>
                  <a:pt x="440801" y="3857714"/>
                  <a:pt x="440904" y="3857714"/>
                  <a:pt x="443073" y="3858644"/>
                </a:cubicBezTo>
                <a:cubicBezTo>
                  <a:pt x="441937" y="3859109"/>
                  <a:pt x="441937" y="3859109"/>
                  <a:pt x="442247" y="3860038"/>
                </a:cubicBezTo>
                <a:cubicBezTo>
                  <a:pt x="442247" y="3860038"/>
                  <a:pt x="442247" y="3860038"/>
                  <a:pt x="442969" y="3860348"/>
                </a:cubicBezTo>
                <a:cubicBezTo>
                  <a:pt x="442557" y="3861122"/>
                  <a:pt x="441833" y="3860813"/>
                  <a:pt x="441421" y="3861587"/>
                </a:cubicBezTo>
                <a:cubicBezTo>
                  <a:pt x="441421" y="3861587"/>
                  <a:pt x="440698" y="3861122"/>
                  <a:pt x="440698" y="3861122"/>
                </a:cubicBezTo>
                <a:cubicBezTo>
                  <a:pt x="440491" y="3861587"/>
                  <a:pt x="440491" y="3861587"/>
                  <a:pt x="440388" y="3861277"/>
                </a:cubicBezTo>
                <a:cubicBezTo>
                  <a:pt x="440285" y="3861122"/>
                  <a:pt x="440182" y="3860503"/>
                  <a:pt x="439665" y="3859728"/>
                </a:cubicBezTo>
                <a:cubicBezTo>
                  <a:pt x="439459" y="3859264"/>
                  <a:pt x="439252" y="3858954"/>
                  <a:pt x="439149" y="3858644"/>
                </a:cubicBezTo>
                <a:cubicBezTo>
                  <a:pt x="439046" y="3858489"/>
                  <a:pt x="439149" y="3858179"/>
                  <a:pt x="439665" y="3858024"/>
                </a:cubicBezTo>
                <a:close/>
                <a:moveTo>
                  <a:pt x="565858" y="3841886"/>
                </a:moveTo>
                <a:lnTo>
                  <a:pt x="564713" y="3844277"/>
                </a:lnTo>
                <a:cubicBezTo>
                  <a:pt x="567036" y="3846755"/>
                  <a:pt x="568585" y="3849439"/>
                  <a:pt x="569824" y="3852227"/>
                </a:cubicBezTo>
                <a:lnTo>
                  <a:pt x="572303" y="3860075"/>
                </a:lnTo>
                <a:lnTo>
                  <a:pt x="573852" y="3859559"/>
                </a:lnTo>
                <a:lnTo>
                  <a:pt x="577993" y="3859033"/>
                </a:lnTo>
                <a:lnTo>
                  <a:pt x="575241" y="3856166"/>
                </a:lnTo>
                <a:cubicBezTo>
                  <a:pt x="572556" y="3852448"/>
                  <a:pt x="569871" y="3849195"/>
                  <a:pt x="571007" y="3850435"/>
                </a:cubicBezTo>
                <a:close/>
                <a:moveTo>
                  <a:pt x="316481" y="3805824"/>
                </a:moveTo>
                <a:cubicBezTo>
                  <a:pt x="316274" y="3816357"/>
                  <a:pt x="321333" y="3825806"/>
                  <a:pt x="317926" y="3830453"/>
                </a:cubicBezTo>
                <a:cubicBezTo>
                  <a:pt x="316790" y="3832002"/>
                  <a:pt x="314725" y="3833086"/>
                  <a:pt x="311215" y="3833551"/>
                </a:cubicBezTo>
                <a:cubicBezTo>
                  <a:pt x="309459" y="3830453"/>
                  <a:pt x="306981" y="3822553"/>
                  <a:pt x="306878" y="3815892"/>
                </a:cubicBezTo>
                <a:cubicBezTo>
                  <a:pt x="306671" y="3809077"/>
                  <a:pt x="308840" y="3803656"/>
                  <a:pt x="316481" y="3805824"/>
                </a:cubicBezTo>
                <a:close/>
                <a:moveTo>
                  <a:pt x="378951" y="3801023"/>
                </a:moveTo>
                <a:cubicBezTo>
                  <a:pt x="381842" y="3799474"/>
                  <a:pt x="384527" y="3799783"/>
                  <a:pt x="385972" y="3802417"/>
                </a:cubicBezTo>
                <a:lnTo>
                  <a:pt x="385146" y="3804275"/>
                </a:lnTo>
                <a:lnTo>
                  <a:pt x="391032" y="3802571"/>
                </a:lnTo>
                <a:cubicBezTo>
                  <a:pt x="397124" y="3802107"/>
                  <a:pt x="403525" y="3802726"/>
                  <a:pt x="409824" y="3804895"/>
                </a:cubicBezTo>
                <a:cubicBezTo>
                  <a:pt x="432850" y="3828129"/>
                  <a:pt x="425106" y="3847491"/>
                  <a:pt x="435948" y="3869951"/>
                </a:cubicBezTo>
                <a:cubicBezTo>
                  <a:pt x="414677" y="3874134"/>
                  <a:pt x="391961" y="3879710"/>
                  <a:pt x="374407" y="3870416"/>
                </a:cubicBezTo>
                <a:cubicBezTo>
                  <a:pt x="368522" y="3867318"/>
                  <a:pt x="363256" y="3862516"/>
                  <a:pt x="358816" y="3855391"/>
                </a:cubicBezTo>
                <a:cubicBezTo>
                  <a:pt x="355924" y="3850435"/>
                  <a:pt x="354376" y="3845478"/>
                  <a:pt x="353860" y="3840831"/>
                </a:cubicBezTo>
                <a:cubicBezTo>
                  <a:pt x="352517" y="3826580"/>
                  <a:pt x="361190" y="3814034"/>
                  <a:pt x="373994" y="3807528"/>
                </a:cubicBezTo>
                <a:lnTo>
                  <a:pt x="379054" y="3805979"/>
                </a:lnTo>
                <a:lnTo>
                  <a:pt x="378125" y="3804430"/>
                </a:lnTo>
                <a:cubicBezTo>
                  <a:pt x="377402" y="3802262"/>
                  <a:pt x="378951" y="3801023"/>
                  <a:pt x="378951" y="3801023"/>
                </a:cubicBezTo>
                <a:close/>
                <a:moveTo>
                  <a:pt x="460936" y="3800558"/>
                </a:moveTo>
                <a:cubicBezTo>
                  <a:pt x="461968" y="3802107"/>
                  <a:pt x="464653" y="3802262"/>
                  <a:pt x="465273" y="3804585"/>
                </a:cubicBezTo>
                <a:cubicBezTo>
                  <a:pt x="465273" y="3804585"/>
                  <a:pt x="465686" y="3805669"/>
                  <a:pt x="464756" y="3807218"/>
                </a:cubicBezTo>
                <a:cubicBezTo>
                  <a:pt x="464963" y="3810161"/>
                  <a:pt x="461453" y="3811400"/>
                  <a:pt x="461453" y="3811400"/>
                </a:cubicBezTo>
                <a:cubicBezTo>
                  <a:pt x="461453" y="3811400"/>
                  <a:pt x="461453" y="3811400"/>
                  <a:pt x="462175" y="3811710"/>
                </a:cubicBezTo>
                <a:cubicBezTo>
                  <a:pt x="460626" y="3811091"/>
                  <a:pt x="458767" y="3811091"/>
                  <a:pt x="457219" y="3810471"/>
                </a:cubicBezTo>
                <a:cubicBezTo>
                  <a:pt x="456393" y="3808612"/>
                  <a:pt x="455877" y="3807218"/>
                  <a:pt x="455773" y="3805979"/>
                </a:cubicBezTo>
                <a:cubicBezTo>
                  <a:pt x="455360" y="3802726"/>
                  <a:pt x="457942" y="3802107"/>
                  <a:pt x="460936" y="3800558"/>
                </a:cubicBezTo>
                <a:close/>
                <a:moveTo>
                  <a:pt x="345805" y="3792503"/>
                </a:moveTo>
                <a:cubicBezTo>
                  <a:pt x="349832" y="3799628"/>
                  <a:pt x="347870" y="3803966"/>
                  <a:pt x="342295" y="3808302"/>
                </a:cubicBezTo>
                <a:cubicBezTo>
                  <a:pt x="338990" y="3806754"/>
                  <a:pt x="335893" y="3802417"/>
                  <a:pt x="335480" y="3798389"/>
                </a:cubicBezTo>
                <a:cubicBezTo>
                  <a:pt x="335273" y="3797150"/>
                  <a:pt x="335376" y="3795756"/>
                  <a:pt x="335790" y="3794672"/>
                </a:cubicBezTo>
                <a:cubicBezTo>
                  <a:pt x="340746" y="3791884"/>
                  <a:pt x="343017" y="3794672"/>
                  <a:pt x="345805" y="3792503"/>
                </a:cubicBezTo>
                <a:close/>
                <a:moveTo>
                  <a:pt x="481897" y="3790489"/>
                </a:moveTo>
                <a:cubicBezTo>
                  <a:pt x="483239" y="3793123"/>
                  <a:pt x="485201" y="3792968"/>
                  <a:pt x="487060" y="3795136"/>
                </a:cubicBezTo>
                <a:lnTo>
                  <a:pt x="488918" y="3798389"/>
                </a:lnTo>
                <a:lnTo>
                  <a:pt x="495011" y="3797305"/>
                </a:lnTo>
                <a:lnTo>
                  <a:pt x="494081" y="3795446"/>
                </a:lnTo>
                <a:cubicBezTo>
                  <a:pt x="498212" y="3791574"/>
                  <a:pt x="503168" y="3791574"/>
                  <a:pt x="506265" y="3793742"/>
                </a:cubicBezTo>
                <a:cubicBezTo>
                  <a:pt x="509466" y="3795911"/>
                  <a:pt x="510809" y="3800248"/>
                  <a:pt x="507815" y="3805205"/>
                </a:cubicBezTo>
                <a:lnTo>
                  <a:pt x="504510" y="3804275"/>
                </a:lnTo>
                <a:lnTo>
                  <a:pt x="507608" y="3812175"/>
                </a:lnTo>
                <a:cubicBezTo>
                  <a:pt x="506059" y="3820385"/>
                  <a:pt x="498521" y="3824722"/>
                  <a:pt x="491294" y="3823328"/>
                </a:cubicBezTo>
                <a:cubicBezTo>
                  <a:pt x="488918" y="3822708"/>
                  <a:pt x="486440" y="3821779"/>
                  <a:pt x="484375" y="3819920"/>
                </a:cubicBezTo>
                <a:lnTo>
                  <a:pt x="480142" y="3812640"/>
                </a:lnTo>
                <a:lnTo>
                  <a:pt x="473740" y="3812020"/>
                </a:lnTo>
                <a:cubicBezTo>
                  <a:pt x="472294" y="3811245"/>
                  <a:pt x="471055" y="3810006"/>
                  <a:pt x="470126" y="3807838"/>
                </a:cubicBezTo>
                <a:cubicBezTo>
                  <a:pt x="469610" y="3806754"/>
                  <a:pt x="469093" y="3805514"/>
                  <a:pt x="468887" y="3804121"/>
                </a:cubicBezTo>
                <a:cubicBezTo>
                  <a:pt x="468370" y="3800248"/>
                  <a:pt x="469713" y="3796221"/>
                  <a:pt x="476321" y="3793588"/>
                </a:cubicBezTo>
                <a:cubicBezTo>
                  <a:pt x="477870" y="3792348"/>
                  <a:pt x="477457" y="3793123"/>
                  <a:pt x="478696" y="3792813"/>
                </a:cubicBezTo>
                <a:cubicBezTo>
                  <a:pt x="479832" y="3792348"/>
                  <a:pt x="481484" y="3791109"/>
                  <a:pt x="481897" y="3790489"/>
                </a:cubicBezTo>
                <a:close/>
                <a:moveTo>
                  <a:pt x="481843" y="3771481"/>
                </a:moveTo>
                <a:cubicBezTo>
                  <a:pt x="484631" y="3771791"/>
                  <a:pt x="487110" y="3773340"/>
                  <a:pt x="489278" y="3777470"/>
                </a:cubicBezTo>
                <a:cubicBezTo>
                  <a:pt x="487575" y="3780464"/>
                  <a:pt x="485871" y="3781600"/>
                  <a:pt x="483857" y="3781703"/>
                </a:cubicBezTo>
                <a:cubicBezTo>
                  <a:pt x="481998" y="3781807"/>
                  <a:pt x="479985" y="3780980"/>
                  <a:pt x="478126" y="3780051"/>
                </a:cubicBezTo>
                <a:cubicBezTo>
                  <a:pt x="481224" y="3776541"/>
                  <a:pt x="476267" y="3773443"/>
                  <a:pt x="481843" y="3771481"/>
                </a:cubicBezTo>
                <a:close/>
                <a:moveTo>
                  <a:pt x="409140" y="3768262"/>
                </a:moveTo>
                <a:cubicBezTo>
                  <a:pt x="413619" y="3766868"/>
                  <a:pt x="417930" y="3767565"/>
                  <a:pt x="418911" y="3771592"/>
                </a:cubicBezTo>
                <a:cubicBezTo>
                  <a:pt x="419221" y="3772677"/>
                  <a:pt x="419221" y="3774070"/>
                  <a:pt x="418911" y="3775774"/>
                </a:cubicBezTo>
                <a:cubicBezTo>
                  <a:pt x="413231" y="3778563"/>
                  <a:pt x="404145" y="3785068"/>
                  <a:pt x="398363" y="3777478"/>
                </a:cubicBezTo>
                <a:cubicBezTo>
                  <a:pt x="400015" y="3773141"/>
                  <a:pt x="404661" y="3769656"/>
                  <a:pt x="409140" y="3768262"/>
                </a:cubicBezTo>
                <a:close/>
                <a:moveTo>
                  <a:pt x="505956" y="3745724"/>
                </a:moveTo>
                <a:cubicBezTo>
                  <a:pt x="510705" y="3764157"/>
                  <a:pt x="472294" y="3770973"/>
                  <a:pt x="460317" y="3768804"/>
                </a:cubicBezTo>
                <a:cubicBezTo>
                  <a:pt x="471675" y="3759975"/>
                  <a:pt x="491087" y="3745879"/>
                  <a:pt x="505956" y="3745724"/>
                </a:cubicBezTo>
                <a:close/>
                <a:moveTo>
                  <a:pt x="378022" y="3740303"/>
                </a:moveTo>
                <a:cubicBezTo>
                  <a:pt x="379157" y="3739993"/>
                  <a:pt x="380396" y="3739529"/>
                  <a:pt x="379983" y="3740303"/>
                </a:cubicBezTo>
                <a:cubicBezTo>
                  <a:pt x="380706" y="3740613"/>
                  <a:pt x="380293" y="3741388"/>
                  <a:pt x="380602" y="3742472"/>
                </a:cubicBezTo>
                <a:cubicBezTo>
                  <a:pt x="380499" y="3744331"/>
                  <a:pt x="379157" y="3746654"/>
                  <a:pt x="378022" y="3746964"/>
                </a:cubicBezTo>
                <a:cubicBezTo>
                  <a:pt x="376886" y="3747428"/>
                  <a:pt x="376059" y="3746964"/>
                  <a:pt x="376059" y="3746964"/>
                </a:cubicBezTo>
                <a:cubicBezTo>
                  <a:pt x="375337" y="3745724"/>
                  <a:pt x="375027" y="3744331"/>
                  <a:pt x="375233" y="3743246"/>
                </a:cubicBezTo>
                <a:cubicBezTo>
                  <a:pt x="375440" y="3742007"/>
                  <a:pt x="376266" y="3740923"/>
                  <a:pt x="378022" y="3740303"/>
                </a:cubicBezTo>
                <a:close/>
                <a:moveTo>
                  <a:pt x="369864" y="3739529"/>
                </a:moveTo>
                <a:cubicBezTo>
                  <a:pt x="370174" y="3740613"/>
                  <a:pt x="370070" y="3742472"/>
                  <a:pt x="368935" y="3742936"/>
                </a:cubicBezTo>
                <a:cubicBezTo>
                  <a:pt x="368109" y="3743401"/>
                  <a:pt x="367799" y="3743246"/>
                  <a:pt x="367489" y="3742781"/>
                </a:cubicBezTo>
                <a:cubicBezTo>
                  <a:pt x="367076" y="3742317"/>
                  <a:pt x="366870" y="3741388"/>
                  <a:pt x="366250" y="3740768"/>
                </a:cubicBezTo>
                <a:close/>
                <a:moveTo>
                  <a:pt x="357473" y="3739529"/>
                </a:moveTo>
                <a:cubicBezTo>
                  <a:pt x="361087" y="3738289"/>
                  <a:pt x="363772" y="3738444"/>
                  <a:pt x="365114" y="3741077"/>
                </a:cubicBezTo>
                <a:cubicBezTo>
                  <a:pt x="365734" y="3743246"/>
                  <a:pt x="366663" y="3746654"/>
                  <a:pt x="363875" y="3748203"/>
                </a:cubicBezTo>
                <a:cubicBezTo>
                  <a:pt x="363152" y="3747893"/>
                  <a:pt x="362739" y="3748667"/>
                  <a:pt x="361913" y="3748358"/>
                </a:cubicBezTo>
                <a:cubicBezTo>
                  <a:pt x="361913" y="3748358"/>
                  <a:pt x="360984" y="3748358"/>
                  <a:pt x="359848" y="3747893"/>
                </a:cubicBezTo>
                <a:cubicBezTo>
                  <a:pt x="358609" y="3747428"/>
                  <a:pt x="357267" y="3746654"/>
                  <a:pt x="356441" y="3744795"/>
                </a:cubicBezTo>
                <a:cubicBezTo>
                  <a:pt x="356234" y="3744176"/>
                  <a:pt x="356131" y="3743246"/>
                  <a:pt x="356131" y="3742317"/>
                </a:cubicBezTo>
                <a:cubicBezTo>
                  <a:pt x="356131" y="3741542"/>
                  <a:pt x="356337" y="3740768"/>
                  <a:pt x="356647" y="3740923"/>
                </a:cubicBezTo>
                <a:cubicBezTo>
                  <a:pt x="357886" y="3740613"/>
                  <a:pt x="357060" y="3740303"/>
                  <a:pt x="357473" y="3739529"/>
                </a:cubicBezTo>
                <a:close/>
                <a:moveTo>
                  <a:pt x="10223" y="3736741"/>
                </a:moveTo>
                <a:cubicBezTo>
                  <a:pt x="15179" y="3735656"/>
                  <a:pt x="20032" y="3736431"/>
                  <a:pt x="24782" y="3738444"/>
                </a:cubicBezTo>
                <a:cubicBezTo>
                  <a:pt x="29531" y="3740613"/>
                  <a:pt x="34178" y="3744021"/>
                  <a:pt x="38928" y="3748203"/>
                </a:cubicBezTo>
                <a:cubicBezTo>
                  <a:pt x="32216" y="3755328"/>
                  <a:pt x="25814" y="3757342"/>
                  <a:pt x="19413" y="3755793"/>
                </a:cubicBezTo>
                <a:cubicBezTo>
                  <a:pt x="16212" y="3755018"/>
                  <a:pt x="13011" y="3753469"/>
                  <a:pt x="9810" y="3750991"/>
                </a:cubicBezTo>
                <a:lnTo>
                  <a:pt x="0" y="3741697"/>
                </a:lnTo>
                <a:close/>
                <a:moveTo>
                  <a:pt x="86426" y="3731474"/>
                </a:moveTo>
                <a:cubicBezTo>
                  <a:pt x="87975" y="3731319"/>
                  <a:pt x="89523" y="3731474"/>
                  <a:pt x="91176" y="3732094"/>
                </a:cubicBezTo>
                <a:cubicBezTo>
                  <a:pt x="96132" y="3734262"/>
                  <a:pt x="101811" y="3740923"/>
                  <a:pt x="107284" y="3754554"/>
                </a:cubicBezTo>
                <a:cubicBezTo>
                  <a:pt x="93344" y="3762299"/>
                  <a:pt x="84774" y="3761988"/>
                  <a:pt x="80230" y="3758271"/>
                </a:cubicBezTo>
                <a:cubicBezTo>
                  <a:pt x="78062" y="3756567"/>
                  <a:pt x="76720" y="3754089"/>
                  <a:pt x="76100" y="3751455"/>
                </a:cubicBezTo>
                <a:cubicBezTo>
                  <a:pt x="75687" y="3749287"/>
                  <a:pt x="75687" y="3747119"/>
                  <a:pt x="75997" y="3744950"/>
                </a:cubicBezTo>
                <a:cubicBezTo>
                  <a:pt x="76926" y="3738444"/>
                  <a:pt x="80953" y="3732094"/>
                  <a:pt x="86426" y="3731474"/>
                </a:cubicBezTo>
                <a:close/>
                <a:moveTo>
                  <a:pt x="432128" y="3711338"/>
                </a:moveTo>
                <a:cubicBezTo>
                  <a:pt x="440285" y="3719237"/>
                  <a:pt x="437600" y="3727602"/>
                  <a:pt x="430372" y="3733643"/>
                </a:cubicBezTo>
                <a:cubicBezTo>
                  <a:pt x="418291" y="3743866"/>
                  <a:pt x="394026" y="3747893"/>
                  <a:pt x="388450" y="3733178"/>
                </a:cubicBezTo>
                <a:cubicBezTo>
                  <a:pt x="397950" y="3722180"/>
                  <a:pt x="410960" y="3712577"/>
                  <a:pt x="432128" y="3711338"/>
                </a:cubicBezTo>
                <a:close/>
                <a:moveTo>
                  <a:pt x="457219" y="3704832"/>
                </a:moveTo>
                <a:cubicBezTo>
                  <a:pt x="457219" y="3704832"/>
                  <a:pt x="457219" y="3704832"/>
                  <a:pt x="457632" y="3705452"/>
                </a:cubicBezTo>
                <a:cubicBezTo>
                  <a:pt x="458561" y="3706845"/>
                  <a:pt x="458974" y="3707620"/>
                  <a:pt x="459387" y="3708240"/>
                </a:cubicBezTo>
                <a:cubicBezTo>
                  <a:pt x="459078" y="3709324"/>
                  <a:pt x="457735" y="3712267"/>
                  <a:pt x="456496" y="3711957"/>
                </a:cubicBezTo>
                <a:cubicBezTo>
                  <a:pt x="454121" y="3711647"/>
                  <a:pt x="452159" y="3710099"/>
                  <a:pt x="452366" y="3709014"/>
                </a:cubicBezTo>
                <a:cubicBezTo>
                  <a:pt x="452882" y="3707310"/>
                  <a:pt x="453295" y="3705452"/>
                  <a:pt x="454947" y="3704987"/>
                </a:cubicBezTo>
                <a:cubicBezTo>
                  <a:pt x="455566" y="3704677"/>
                  <a:pt x="456289" y="3704677"/>
                  <a:pt x="457219" y="3704832"/>
                </a:cubicBezTo>
                <a:close/>
                <a:moveTo>
                  <a:pt x="373478" y="3697862"/>
                </a:moveTo>
                <a:cubicBezTo>
                  <a:pt x="374201" y="3698171"/>
                  <a:pt x="375337" y="3697707"/>
                  <a:pt x="376059" y="3698017"/>
                </a:cubicBezTo>
                <a:cubicBezTo>
                  <a:pt x="375647" y="3698946"/>
                  <a:pt x="375440" y="3700805"/>
                  <a:pt x="374717" y="3700495"/>
                </a:cubicBezTo>
                <a:cubicBezTo>
                  <a:pt x="374304" y="3701269"/>
                  <a:pt x="372755" y="3700650"/>
                  <a:pt x="372755" y="3700650"/>
                </a:cubicBezTo>
                <a:cubicBezTo>
                  <a:pt x="372342" y="3701424"/>
                  <a:pt x="371929" y="3702198"/>
                  <a:pt x="370690" y="3702663"/>
                </a:cubicBezTo>
                <a:cubicBezTo>
                  <a:pt x="370484" y="3701424"/>
                  <a:pt x="369967" y="3702354"/>
                  <a:pt x="369245" y="3701889"/>
                </a:cubicBezTo>
                <a:cubicBezTo>
                  <a:pt x="370380" y="3701579"/>
                  <a:pt x="371826" y="3699101"/>
                  <a:pt x="373478" y="3697862"/>
                </a:cubicBezTo>
                <a:close/>
                <a:moveTo>
                  <a:pt x="357886" y="3696467"/>
                </a:moveTo>
                <a:cubicBezTo>
                  <a:pt x="362326" y="3693834"/>
                  <a:pt x="365011" y="3693989"/>
                  <a:pt x="365940" y="3697397"/>
                </a:cubicBezTo>
                <a:cubicBezTo>
                  <a:pt x="365527" y="3698171"/>
                  <a:pt x="363462" y="3700185"/>
                  <a:pt x="364185" y="3700495"/>
                </a:cubicBezTo>
                <a:cubicBezTo>
                  <a:pt x="361500" y="3701424"/>
                  <a:pt x="358402" y="3702198"/>
                  <a:pt x="356441" y="3701424"/>
                </a:cubicBezTo>
                <a:cubicBezTo>
                  <a:pt x="355821" y="3701114"/>
                  <a:pt x="355305" y="3700650"/>
                  <a:pt x="354995" y="3700030"/>
                </a:cubicBezTo>
                <a:cubicBezTo>
                  <a:pt x="353963" y="3698636"/>
                  <a:pt x="355511" y="3697397"/>
                  <a:pt x="357886" y="3696467"/>
                </a:cubicBezTo>
                <a:close/>
                <a:moveTo>
                  <a:pt x="374201" y="3689807"/>
                </a:moveTo>
                <a:cubicBezTo>
                  <a:pt x="375440" y="3689497"/>
                  <a:pt x="376266" y="3689807"/>
                  <a:pt x="376576" y="3690891"/>
                </a:cubicBezTo>
                <a:cubicBezTo>
                  <a:pt x="376576" y="3690891"/>
                  <a:pt x="374923" y="3692131"/>
                  <a:pt x="374923" y="3692131"/>
                </a:cubicBezTo>
                <a:cubicBezTo>
                  <a:pt x="372446" y="3692905"/>
                  <a:pt x="371310" y="3693215"/>
                  <a:pt x="369657" y="3694454"/>
                </a:cubicBezTo>
                <a:cubicBezTo>
                  <a:pt x="369038" y="3693679"/>
                  <a:pt x="368831" y="3693215"/>
                  <a:pt x="369038" y="3692750"/>
                </a:cubicBezTo>
                <a:cubicBezTo>
                  <a:pt x="369141" y="3692285"/>
                  <a:pt x="369554" y="3691976"/>
                  <a:pt x="370174" y="3691821"/>
                </a:cubicBezTo>
                <a:cubicBezTo>
                  <a:pt x="370174" y="3691821"/>
                  <a:pt x="371413" y="3691356"/>
                  <a:pt x="372652" y="3691046"/>
                </a:cubicBezTo>
                <a:cubicBezTo>
                  <a:pt x="373788" y="3690581"/>
                  <a:pt x="374201" y="3689807"/>
                  <a:pt x="374201" y="3689807"/>
                </a:cubicBezTo>
                <a:close/>
                <a:moveTo>
                  <a:pt x="344463" y="3671374"/>
                </a:moveTo>
                <a:cubicBezTo>
                  <a:pt x="346012" y="3671994"/>
                  <a:pt x="348490" y="3669361"/>
                  <a:pt x="349213" y="3671529"/>
                </a:cubicBezTo>
                <a:cubicBezTo>
                  <a:pt x="347974" y="3671994"/>
                  <a:pt x="346012" y="3671994"/>
                  <a:pt x="344773" y="3672459"/>
                </a:cubicBezTo>
                <a:cubicBezTo>
                  <a:pt x="344773" y="3672459"/>
                  <a:pt x="344773" y="3672459"/>
                  <a:pt x="344463" y="3671374"/>
                </a:cubicBezTo>
                <a:close/>
                <a:moveTo>
                  <a:pt x="373026" y="3670948"/>
                </a:moveTo>
                <a:cubicBezTo>
                  <a:pt x="374872" y="3670987"/>
                  <a:pt x="376576" y="3671297"/>
                  <a:pt x="376782" y="3671839"/>
                </a:cubicBezTo>
                <a:cubicBezTo>
                  <a:pt x="374717" y="3672923"/>
                  <a:pt x="371103" y="3674937"/>
                  <a:pt x="368831" y="3674937"/>
                </a:cubicBezTo>
                <a:cubicBezTo>
                  <a:pt x="368005" y="3674782"/>
                  <a:pt x="367489" y="3674472"/>
                  <a:pt x="367076" y="3673853"/>
                </a:cubicBezTo>
                <a:cubicBezTo>
                  <a:pt x="366766" y="3672768"/>
                  <a:pt x="368005" y="3672459"/>
                  <a:pt x="368418" y="3671684"/>
                </a:cubicBezTo>
                <a:cubicBezTo>
                  <a:pt x="369193" y="3671142"/>
                  <a:pt x="371181" y="3670910"/>
                  <a:pt x="373026" y="3670948"/>
                </a:cubicBezTo>
                <a:close/>
                <a:moveTo>
                  <a:pt x="411683" y="3670445"/>
                </a:moveTo>
                <a:cubicBezTo>
                  <a:pt x="404661" y="3678035"/>
                  <a:pt x="403835" y="3685470"/>
                  <a:pt x="394232" y="3692750"/>
                </a:cubicBezTo>
                <a:cubicBezTo>
                  <a:pt x="393819" y="3691821"/>
                  <a:pt x="393613" y="3690891"/>
                  <a:pt x="393613" y="3689652"/>
                </a:cubicBezTo>
                <a:cubicBezTo>
                  <a:pt x="393613" y="3688413"/>
                  <a:pt x="393923" y="3687174"/>
                  <a:pt x="394232" y="3685780"/>
                </a:cubicBezTo>
                <a:cubicBezTo>
                  <a:pt x="396607" y="3677880"/>
                  <a:pt x="404971" y="3668276"/>
                  <a:pt x="411683" y="3670445"/>
                </a:cubicBezTo>
                <a:close/>
                <a:moveTo>
                  <a:pt x="325877" y="3670290"/>
                </a:moveTo>
                <a:cubicBezTo>
                  <a:pt x="326703" y="3670600"/>
                  <a:pt x="327116" y="3669825"/>
                  <a:pt x="327426" y="3671064"/>
                </a:cubicBezTo>
                <a:cubicBezTo>
                  <a:pt x="330317" y="3669361"/>
                  <a:pt x="338474" y="3670290"/>
                  <a:pt x="341056" y="3672459"/>
                </a:cubicBezTo>
                <a:cubicBezTo>
                  <a:pt x="331762" y="3676951"/>
                  <a:pt x="329388" y="3670909"/>
                  <a:pt x="324121" y="3673388"/>
                </a:cubicBezTo>
                <a:cubicBezTo>
                  <a:pt x="324225" y="3671529"/>
                  <a:pt x="324225" y="3671529"/>
                  <a:pt x="325877" y="3670290"/>
                </a:cubicBezTo>
                <a:close/>
                <a:moveTo>
                  <a:pt x="288189" y="3669206"/>
                </a:moveTo>
                <a:cubicBezTo>
                  <a:pt x="288498" y="3670290"/>
                  <a:pt x="295726" y="3667812"/>
                  <a:pt x="297894" y="3670755"/>
                </a:cubicBezTo>
                <a:cubicBezTo>
                  <a:pt x="299030" y="3672304"/>
                  <a:pt x="299340" y="3673388"/>
                  <a:pt x="300373" y="3674937"/>
                </a:cubicBezTo>
                <a:cubicBezTo>
                  <a:pt x="299133" y="3677106"/>
                  <a:pt x="300063" y="3680513"/>
                  <a:pt x="294487" y="3683611"/>
                </a:cubicBezTo>
                <a:cubicBezTo>
                  <a:pt x="288085" y="3686399"/>
                  <a:pt x="285710" y="3680358"/>
                  <a:pt x="285194" y="3681133"/>
                </a:cubicBezTo>
                <a:cubicBezTo>
                  <a:pt x="284058" y="3681597"/>
                  <a:pt x="284058" y="3681597"/>
                  <a:pt x="283645" y="3682372"/>
                </a:cubicBezTo>
                <a:cubicBezTo>
                  <a:pt x="282819" y="3682062"/>
                  <a:pt x="280857" y="3682062"/>
                  <a:pt x="279721" y="3682527"/>
                </a:cubicBezTo>
                <a:cubicBezTo>
                  <a:pt x="280134" y="3681753"/>
                  <a:pt x="280548" y="3680978"/>
                  <a:pt x="279721" y="3680668"/>
                </a:cubicBezTo>
                <a:cubicBezTo>
                  <a:pt x="282096" y="3679739"/>
                  <a:pt x="282922" y="3680049"/>
                  <a:pt x="284161" y="3679739"/>
                </a:cubicBezTo>
                <a:cubicBezTo>
                  <a:pt x="283335" y="3679274"/>
                  <a:pt x="284574" y="3678964"/>
                  <a:pt x="284574" y="3678964"/>
                </a:cubicBezTo>
                <a:cubicBezTo>
                  <a:pt x="284574" y="3678964"/>
                  <a:pt x="284574" y="3678964"/>
                  <a:pt x="283852" y="3676796"/>
                </a:cubicBezTo>
                <a:cubicBezTo>
                  <a:pt x="283852" y="3676796"/>
                  <a:pt x="283025" y="3671529"/>
                  <a:pt x="288189" y="3669206"/>
                </a:cubicBezTo>
                <a:close/>
                <a:moveTo>
                  <a:pt x="443279" y="3668896"/>
                </a:moveTo>
                <a:lnTo>
                  <a:pt x="441421" y="3671064"/>
                </a:lnTo>
                <a:lnTo>
                  <a:pt x="446893" y="3668896"/>
                </a:lnTo>
                <a:cubicBezTo>
                  <a:pt x="449165" y="3668586"/>
                  <a:pt x="451333" y="3668896"/>
                  <a:pt x="452985" y="3670290"/>
                </a:cubicBezTo>
                <a:cubicBezTo>
                  <a:pt x="447616" y="3674008"/>
                  <a:pt x="442247" y="3676641"/>
                  <a:pt x="436774" y="3683766"/>
                </a:cubicBezTo>
                <a:cubicBezTo>
                  <a:pt x="435122" y="3682062"/>
                  <a:pt x="433263" y="3684695"/>
                  <a:pt x="431611" y="3682217"/>
                </a:cubicBezTo>
                <a:lnTo>
                  <a:pt x="432025" y="3681287"/>
                </a:lnTo>
                <a:lnTo>
                  <a:pt x="428204" y="3685315"/>
                </a:lnTo>
                <a:cubicBezTo>
                  <a:pt x="422421" y="3690272"/>
                  <a:pt x="415607" y="3694299"/>
                  <a:pt x="406107" y="3696158"/>
                </a:cubicBezTo>
                <a:cubicBezTo>
                  <a:pt x="405384" y="3676331"/>
                  <a:pt x="430269" y="3669361"/>
                  <a:pt x="443279" y="3668896"/>
                </a:cubicBezTo>
                <a:close/>
                <a:moveTo>
                  <a:pt x="329904" y="3664559"/>
                </a:moveTo>
                <a:cubicBezTo>
                  <a:pt x="335066" y="3664094"/>
                  <a:pt x="340746" y="3667657"/>
                  <a:pt x="341468" y="3667966"/>
                </a:cubicBezTo>
                <a:cubicBezTo>
                  <a:pt x="341056" y="3668741"/>
                  <a:pt x="341056" y="3668741"/>
                  <a:pt x="341056" y="3668741"/>
                </a:cubicBezTo>
                <a:cubicBezTo>
                  <a:pt x="339093" y="3667192"/>
                  <a:pt x="335273" y="3667812"/>
                  <a:pt x="332176" y="3666882"/>
                </a:cubicBezTo>
                <a:cubicBezTo>
                  <a:pt x="331246" y="3666573"/>
                  <a:pt x="330214" y="3666108"/>
                  <a:pt x="329491" y="3665178"/>
                </a:cubicBezTo>
                <a:cubicBezTo>
                  <a:pt x="329491" y="3665178"/>
                  <a:pt x="329491" y="3665333"/>
                  <a:pt x="330317" y="3665643"/>
                </a:cubicBezTo>
                <a:cubicBezTo>
                  <a:pt x="330317" y="3665643"/>
                  <a:pt x="329491" y="3665333"/>
                  <a:pt x="329904" y="3664559"/>
                </a:cubicBezTo>
                <a:close/>
                <a:moveTo>
                  <a:pt x="439665" y="3659292"/>
                </a:moveTo>
                <a:cubicBezTo>
                  <a:pt x="440491" y="3660067"/>
                  <a:pt x="441214" y="3660842"/>
                  <a:pt x="442040" y="3661616"/>
                </a:cubicBezTo>
                <a:cubicBezTo>
                  <a:pt x="440285" y="3663319"/>
                  <a:pt x="438530" y="3665023"/>
                  <a:pt x="436981" y="3663475"/>
                </a:cubicBezTo>
                <a:cubicBezTo>
                  <a:pt x="437807" y="3661771"/>
                  <a:pt x="437084" y="3660996"/>
                  <a:pt x="439665" y="3659292"/>
                </a:cubicBezTo>
                <a:close/>
                <a:moveTo>
                  <a:pt x="388966" y="3656349"/>
                </a:moveTo>
                <a:cubicBezTo>
                  <a:pt x="388966" y="3658053"/>
                  <a:pt x="386282" y="3660531"/>
                  <a:pt x="384423" y="3662235"/>
                </a:cubicBezTo>
                <a:cubicBezTo>
                  <a:pt x="381738" y="3662390"/>
                  <a:pt x="379157" y="3660842"/>
                  <a:pt x="377608" y="3658518"/>
                </a:cubicBezTo>
                <a:cubicBezTo>
                  <a:pt x="381222" y="3655110"/>
                  <a:pt x="384733" y="3654955"/>
                  <a:pt x="388966" y="3656349"/>
                </a:cubicBezTo>
                <a:close/>
                <a:moveTo>
                  <a:pt x="261961" y="3648140"/>
                </a:moveTo>
                <a:cubicBezTo>
                  <a:pt x="264543" y="3647210"/>
                  <a:pt x="266918" y="3647830"/>
                  <a:pt x="268983" y="3649379"/>
                </a:cubicBezTo>
                <a:cubicBezTo>
                  <a:pt x="275281" y="3653716"/>
                  <a:pt x="279102" y="3666108"/>
                  <a:pt x="280031" y="3670909"/>
                </a:cubicBezTo>
                <a:cubicBezTo>
                  <a:pt x="278069" y="3671529"/>
                  <a:pt x="275591" y="3671064"/>
                  <a:pt x="273010" y="3669980"/>
                </a:cubicBezTo>
                <a:cubicBezTo>
                  <a:pt x="265369" y="3666727"/>
                  <a:pt x="256798" y="3657434"/>
                  <a:pt x="257418" y="3651238"/>
                </a:cubicBezTo>
                <a:cubicBezTo>
                  <a:pt x="258967" y="3649689"/>
                  <a:pt x="260516" y="3648605"/>
                  <a:pt x="261961" y="3648140"/>
                </a:cubicBezTo>
                <a:close/>
                <a:moveTo>
                  <a:pt x="230287" y="3646087"/>
                </a:moveTo>
                <a:cubicBezTo>
                  <a:pt x="232301" y="3646165"/>
                  <a:pt x="234289" y="3647443"/>
                  <a:pt x="234702" y="3649069"/>
                </a:cubicBezTo>
                <a:cubicBezTo>
                  <a:pt x="233050" y="3653097"/>
                  <a:pt x="227370" y="3653252"/>
                  <a:pt x="225718" y="3650308"/>
                </a:cubicBezTo>
                <a:cubicBezTo>
                  <a:pt x="226235" y="3647133"/>
                  <a:pt x="228274" y="3646010"/>
                  <a:pt x="230287" y="3646087"/>
                </a:cubicBezTo>
                <a:close/>
                <a:moveTo>
                  <a:pt x="395678" y="3625060"/>
                </a:moveTo>
                <a:cubicBezTo>
                  <a:pt x="397537" y="3625060"/>
                  <a:pt x="398569" y="3628313"/>
                  <a:pt x="399602" y="3629707"/>
                </a:cubicBezTo>
                <a:cubicBezTo>
                  <a:pt x="398466" y="3630172"/>
                  <a:pt x="397227" y="3630637"/>
                  <a:pt x="398053" y="3630946"/>
                </a:cubicBezTo>
                <a:cubicBezTo>
                  <a:pt x="396814" y="3631411"/>
                  <a:pt x="395885" y="3631411"/>
                  <a:pt x="395059" y="3631101"/>
                </a:cubicBezTo>
                <a:cubicBezTo>
                  <a:pt x="394232" y="3630791"/>
                  <a:pt x="393613" y="3630327"/>
                  <a:pt x="393096" y="3629552"/>
                </a:cubicBezTo>
                <a:cubicBezTo>
                  <a:pt x="392684" y="3628468"/>
                  <a:pt x="393613" y="3626919"/>
                  <a:pt x="395678" y="3625060"/>
                </a:cubicBezTo>
                <a:close/>
                <a:moveTo>
                  <a:pt x="319836" y="3622272"/>
                </a:moveTo>
                <a:cubicBezTo>
                  <a:pt x="322624" y="3621304"/>
                  <a:pt x="325722" y="3621498"/>
                  <a:pt x="328975" y="3622582"/>
                </a:cubicBezTo>
                <a:lnTo>
                  <a:pt x="329800" y="3626919"/>
                </a:lnTo>
                <a:lnTo>
                  <a:pt x="333415" y="3629862"/>
                </a:lnTo>
                <a:cubicBezTo>
                  <a:pt x="334757" y="3631566"/>
                  <a:pt x="335996" y="3634044"/>
                  <a:pt x="337235" y="3637297"/>
                </a:cubicBezTo>
                <a:cubicBezTo>
                  <a:pt x="321127" y="3640240"/>
                  <a:pt x="335273" y="3654181"/>
                  <a:pt x="322883" y="3657124"/>
                </a:cubicBezTo>
                <a:cubicBezTo>
                  <a:pt x="317823" y="3656040"/>
                  <a:pt x="312041" y="3656659"/>
                  <a:pt x="307084" y="3653561"/>
                </a:cubicBezTo>
                <a:cubicBezTo>
                  <a:pt x="305432" y="3652632"/>
                  <a:pt x="303884" y="3651238"/>
                  <a:pt x="302541" y="3649224"/>
                </a:cubicBezTo>
                <a:cubicBezTo>
                  <a:pt x="308633" y="3645971"/>
                  <a:pt x="312970" y="3642254"/>
                  <a:pt x="317100" y="3638381"/>
                </a:cubicBezTo>
                <a:lnTo>
                  <a:pt x="318236" y="3637142"/>
                </a:lnTo>
                <a:lnTo>
                  <a:pt x="317203" y="3637142"/>
                </a:lnTo>
                <a:cubicBezTo>
                  <a:pt x="316067" y="3635129"/>
                  <a:pt x="313176" y="3632495"/>
                  <a:pt x="312557" y="3628933"/>
                </a:cubicBezTo>
                <a:cubicBezTo>
                  <a:pt x="314570" y="3625370"/>
                  <a:pt x="317048" y="3623240"/>
                  <a:pt x="319836" y="3622272"/>
                </a:cubicBezTo>
                <a:close/>
                <a:moveTo>
                  <a:pt x="381532" y="3621808"/>
                </a:moveTo>
                <a:cubicBezTo>
                  <a:pt x="383288" y="3621033"/>
                  <a:pt x="385766" y="3621343"/>
                  <a:pt x="388760" y="3623047"/>
                </a:cubicBezTo>
                <a:cubicBezTo>
                  <a:pt x="386798" y="3628468"/>
                  <a:pt x="389483" y="3632030"/>
                  <a:pt x="385559" y="3635438"/>
                </a:cubicBezTo>
                <a:cubicBezTo>
                  <a:pt x="381016" y="3634819"/>
                  <a:pt x="378641" y="3631876"/>
                  <a:pt x="378125" y="3628933"/>
                </a:cubicBezTo>
                <a:cubicBezTo>
                  <a:pt x="377505" y="3625835"/>
                  <a:pt x="378744" y="3622737"/>
                  <a:pt x="381532" y="3621808"/>
                </a:cubicBezTo>
                <a:close/>
                <a:moveTo>
                  <a:pt x="340643" y="3609106"/>
                </a:moveTo>
                <a:cubicBezTo>
                  <a:pt x="344256" y="3607867"/>
                  <a:pt x="346012" y="3609726"/>
                  <a:pt x="347870" y="3611429"/>
                </a:cubicBezTo>
                <a:cubicBezTo>
                  <a:pt x="349006" y="3612978"/>
                  <a:pt x="349729" y="3613288"/>
                  <a:pt x="351588" y="3613288"/>
                </a:cubicBezTo>
                <a:cubicBezTo>
                  <a:pt x="351588" y="3613288"/>
                  <a:pt x="351588" y="3613288"/>
                  <a:pt x="352311" y="3615457"/>
                </a:cubicBezTo>
                <a:lnTo>
                  <a:pt x="351897" y="3616231"/>
                </a:lnTo>
                <a:cubicBezTo>
                  <a:pt x="351484" y="3616541"/>
                  <a:pt x="350761" y="3616386"/>
                  <a:pt x="349936" y="3616076"/>
                </a:cubicBezTo>
                <a:cubicBezTo>
                  <a:pt x="347251" y="3615147"/>
                  <a:pt x="343431" y="3612359"/>
                  <a:pt x="342811" y="3612049"/>
                </a:cubicBezTo>
                <a:cubicBezTo>
                  <a:pt x="342811" y="3612049"/>
                  <a:pt x="342088" y="3611584"/>
                  <a:pt x="341262" y="3611274"/>
                </a:cubicBezTo>
                <a:cubicBezTo>
                  <a:pt x="340953" y="3610190"/>
                  <a:pt x="341468" y="3609416"/>
                  <a:pt x="340643" y="3609106"/>
                </a:cubicBezTo>
                <a:close/>
                <a:moveTo>
                  <a:pt x="292216" y="3605698"/>
                </a:moveTo>
                <a:cubicBezTo>
                  <a:pt x="294177" y="3606008"/>
                  <a:pt x="296036" y="3607402"/>
                  <a:pt x="297378" y="3610345"/>
                </a:cubicBezTo>
                <a:cubicBezTo>
                  <a:pt x="292112" y="3613908"/>
                  <a:pt x="292009" y="3618090"/>
                  <a:pt x="286536" y="3619019"/>
                </a:cubicBezTo>
                <a:cubicBezTo>
                  <a:pt x="284884" y="3617780"/>
                  <a:pt x="283955" y="3616231"/>
                  <a:pt x="283748" y="3614527"/>
                </a:cubicBezTo>
                <a:cubicBezTo>
                  <a:pt x="283025" y="3609880"/>
                  <a:pt x="287775" y="3605079"/>
                  <a:pt x="292216" y="3605698"/>
                </a:cubicBezTo>
                <a:close/>
                <a:moveTo>
                  <a:pt x="290150" y="3592687"/>
                </a:moveTo>
                <a:cubicBezTo>
                  <a:pt x="285607" y="3596405"/>
                  <a:pt x="286226" y="3600587"/>
                  <a:pt x="281890" y="3599967"/>
                </a:cubicBezTo>
                <a:cubicBezTo>
                  <a:pt x="281167" y="3596559"/>
                  <a:pt x="286639" y="3592067"/>
                  <a:pt x="290150" y="3592687"/>
                </a:cubicBezTo>
                <a:close/>
                <a:moveTo>
                  <a:pt x="108316" y="3591603"/>
                </a:moveTo>
                <a:cubicBezTo>
                  <a:pt x="114924" y="3592997"/>
                  <a:pt x="124321" y="3593771"/>
                  <a:pt x="132581" y="3595940"/>
                </a:cubicBezTo>
                <a:cubicBezTo>
                  <a:pt x="140842" y="3598108"/>
                  <a:pt x="148070" y="3601826"/>
                  <a:pt x="150135" y="3609261"/>
                </a:cubicBezTo>
                <a:cubicBezTo>
                  <a:pt x="143526" y="3613908"/>
                  <a:pt x="134233" y="3614218"/>
                  <a:pt x="125973" y="3610965"/>
                </a:cubicBezTo>
                <a:cubicBezTo>
                  <a:pt x="117816" y="3607712"/>
                  <a:pt x="110691" y="3601052"/>
                  <a:pt x="108316" y="3591603"/>
                </a:cubicBezTo>
                <a:close/>
                <a:moveTo>
                  <a:pt x="320714" y="3582773"/>
                </a:moveTo>
                <a:cubicBezTo>
                  <a:pt x="322883" y="3580760"/>
                  <a:pt x="329285" y="3580760"/>
                  <a:pt x="331040" y="3583393"/>
                </a:cubicBezTo>
                <a:cubicBezTo>
                  <a:pt x="331659" y="3584323"/>
                  <a:pt x="331762" y="3585407"/>
                  <a:pt x="331040" y="3586956"/>
                </a:cubicBezTo>
                <a:cubicBezTo>
                  <a:pt x="328561" y="3591293"/>
                  <a:pt x="324431" y="3590054"/>
                  <a:pt x="320198" y="3588040"/>
                </a:cubicBezTo>
                <a:cubicBezTo>
                  <a:pt x="320611" y="3586181"/>
                  <a:pt x="320198" y="3584632"/>
                  <a:pt x="320714" y="3582773"/>
                </a:cubicBezTo>
                <a:close/>
                <a:moveTo>
                  <a:pt x="278005" y="3573654"/>
                </a:moveTo>
                <a:cubicBezTo>
                  <a:pt x="280418" y="3572589"/>
                  <a:pt x="283232" y="3572473"/>
                  <a:pt x="285400" y="3573790"/>
                </a:cubicBezTo>
                <a:cubicBezTo>
                  <a:pt x="287259" y="3574874"/>
                  <a:pt x="288705" y="3577197"/>
                  <a:pt x="288911" y="3580915"/>
                </a:cubicBezTo>
                <a:cubicBezTo>
                  <a:pt x="282303" y="3583084"/>
                  <a:pt x="277863" y="3584632"/>
                  <a:pt x="274146" y="3584787"/>
                </a:cubicBezTo>
                <a:cubicBezTo>
                  <a:pt x="273526" y="3583703"/>
                  <a:pt x="273113" y="3582773"/>
                  <a:pt x="273010" y="3581844"/>
                </a:cubicBezTo>
                <a:cubicBezTo>
                  <a:pt x="272803" y="3580915"/>
                  <a:pt x="272906" y="3580140"/>
                  <a:pt x="273010" y="3579211"/>
                </a:cubicBezTo>
                <a:cubicBezTo>
                  <a:pt x="273578" y="3576732"/>
                  <a:pt x="275591" y="3574719"/>
                  <a:pt x="278005" y="3573654"/>
                </a:cubicBezTo>
                <a:close/>
                <a:moveTo>
                  <a:pt x="252256" y="3567284"/>
                </a:moveTo>
                <a:cubicBezTo>
                  <a:pt x="253907" y="3566045"/>
                  <a:pt x="255766" y="3567904"/>
                  <a:pt x="257212" y="3568523"/>
                </a:cubicBezTo>
                <a:cubicBezTo>
                  <a:pt x="258864" y="3567284"/>
                  <a:pt x="259380" y="3571466"/>
                  <a:pt x="261032" y="3570227"/>
                </a:cubicBezTo>
                <a:cubicBezTo>
                  <a:pt x="262271" y="3574719"/>
                  <a:pt x="268157" y="3572705"/>
                  <a:pt x="271254" y="3578901"/>
                </a:cubicBezTo>
                <a:cubicBezTo>
                  <a:pt x="269086" y="3578591"/>
                  <a:pt x="267124" y="3578127"/>
                  <a:pt x="265472" y="3577352"/>
                </a:cubicBezTo>
                <a:cubicBezTo>
                  <a:pt x="260516" y="3575339"/>
                  <a:pt x="257625" y="3572086"/>
                  <a:pt x="253598" y="3571621"/>
                </a:cubicBezTo>
                <a:cubicBezTo>
                  <a:pt x="253598" y="3571621"/>
                  <a:pt x="253598" y="3571621"/>
                  <a:pt x="252875" y="3569452"/>
                </a:cubicBezTo>
                <a:cubicBezTo>
                  <a:pt x="252152" y="3569143"/>
                  <a:pt x="252152" y="3569143"/>
                  <a:pt x="252152" y="3569143"/>
                </a:cubicBezTo>
                <a:cubicBezTo>
                  <a:pt x="251739" y="3568988"/>
                  <a:pt x="251842" y="3568523"/>
                  <a:pt x="251946" y="3568059"/>
                </a:cubicBezTo>
                <a:cubicBezTo>
                  <a:pt x="252049" y="3567594"/>
                  <a:pt x="252256" y="3567284"/>
                  <a:pt x="252256" y="3567284"/>
                </a:cubicBezTo>
                <a:close/>
                <a:moveTo>
                  <a:pt x="260928" y="3548541"/>
                </a:moveTo>
                <a:cubicBezTo>
                  <a:pt x="263820" y="3547767"/>
                  <a:pt x="267227" y="3548077"/>
                  <a:pt x="270841" y="3549161"/>
                </a:cubicBezTo>
                <a:lnTo>
                  <a:pt x="277450" y="3551794"/>
                </a:lnTo>
                <a:lnTo>
                  <a:pt x="279102" y="3552879"/>
                </a:lnTo>
                <a:lnTo>
                  <a:pt x="279824" y="3552879"/>
                </a:lnTo>
                <a:lnTo>
                  <a:pt x="286639" y="3557216"/>
                </a:lnTo>
                <a:cubicBezTo>
                  <a:pt x="291286" y="3560623"/>
                  <a:pt x="294900" y="3564341"/>
                  <a:pt x="296036" y="3567439"/>
                </a:cubicBezTo>
                <a:cubicBezTo>
                  <a:pt x="290666" y="3567284"/>
                  <a:pt x="282716" y="3567129"/>
                  <a:pt x="275694" y="3564806"/>
                </a:cubicBezTo>
                <a:cubicBezTo>
                  <a:pt x="268673" y="3562327"/>
                  <a:pt x="262478" y="3557680"/>
                  <a:pt x="260928" y="3548541"/>
                </a:cubicBezTo>
                <a:close/>
                <a:moveTo>
                  <a:pt x="215806" y="3539093"/>
                </a:moveTo>
                <a:cubicBezTo>
                  <a:pt x="219110" y="3540642"/>
                  <a:pt x="217355" y="3543120"/>
                  <a:pt x="215496" y="3545753"/>
                </a:cubicBezTo>
                <a:cubicBezTo>
                  <a:pt x="213844" y="3544979"/>
                  <a:pt x="212088" y="3545908"/>
                  <a:pt x="210436" y="3543430"/>
                </a:cubicBezTo>
                <a:cubicBezTo>
                  <a:pt x="212295" y="3541726"/>
                  <a:pt x="214050" y="3540797"/>
                  <a:pt x="215806" y="3539093"/>
                </a:cubicBezTo>
                <a:close/>
                <a:moveTo>
                  <a:pt x="290563" y="3535685"/>
                </a:moveTo>
                <a:cubicBezTo>
                  <a:pt x="293558" y="3536305"/>
                  <a:pt x="296139" y="3537544"/>
                  <a:pt x="298101" y="3539248"/>
                </a:cubicBezTo>
                <a:cubicBezTo>
                  <a:pt x="299030" y="3546683"/>
                  <a:pt x="292731" y="3551794"/>
                  <a:pt x="285917" y="3553033"/>
                </a:cubicBezTo>
                <a:lnTo>
                  <a:pt x="279824" y="3552879"/>
                </a:lnTo>
                <a:lnTo>
                  <a:pt x="278998" y="3552414"/>
                </a:lnTo>
                <a:lnTo>
                  <a:pt x="277450" y="3551794"/>
                </a:lnTo>
                <a:lnTo>
                  <a:pt x="271977" y="3548077"/>
                </a:lnTo>
                <a:cubicBezTo>
                  <a:pt x="270841" y="3538318"/>
                  <a:pt x="281787" y="3534136"/>
                  <a:pt x="290563" y="3535685"/>
                </a:cubicBezTo>
                <a:close/>
                <a:moveTo>
                  <a:pt x="311215" y="3518956"/>
                </a:moveTo>
                <a:cubicBezTo>
                  <a:pt x="313589" y="3518182"/>
                  <a:pt x="315964" y="3517407"/>
                  <a:pt x="316584" y="3519576"/>
                </a:cubicBezTo>
                <a:cubicBezTo>
                  <a:pt x="316893" y="3520660"/>
                  <a:pt x="317307" y="3521744"/>
                  <a:pt x="316377" y="3523294"/>
                </a:cubicBezTo>
                <a:cubicBezTo>
                  <a:pt x="314002" y="3524068"/>
                  <a:pt x="312247" y="3522364"/>
                  <a:pt x="311008" y="3522674"/>
                </a:cubicBezTo>
                <a:cubicBezTo>
                  <a:pt x="311525" y="3521899"/>
                  <a:pt x="312350" y="3520505"/>
                  <a:pt x="311215" y="3518956"/>
                </a:cubicBezTo>
                <a:close/>
                <a:moveTo>
                  <a:pt x="468680" y="3510592"/>
                </a:moveTo>
                <a:lnTo>
                  <a:pt x="467958" y="3513225"/>
                </a:lnTo>
                <a:lnTo>
                  <a:pt x="468164" y="3513535"/>
                </a:lnTo>
                <a:lnTo>
                  <a:pt x="468267" y="3513535"/>
                </a:lnTo>
                <a:lnTo>
                  <a:pt x="470022" y="3514464"/>
                </a:lnTo>
                <a:close/>
                <a:moveTo>
                  <a:pt x="528259" y="3504086"/>
                </a:moveTo>
                <a:cubicBezTo>
                  <a:pt x="528569" y="3505171"/>
                  <a:pt x="529498" y="3506719"/>
                  <a:pt x="529292" y="3508578"/>
                </a:cubicBezTo>
                <a:cubicBezTo>
                  <a:pt x="526503" y="3510592"/>
                  <a:pt x="525161" y="3509353"/>
                  <a:pt x="524955" y="3507649"/>
                </a:cubicBezTo>
                <a:cubicBezTo>
                  <a:pt x="524852" y="3505945"/>
                  <a:pt x="525988" y="3503776"/>
                  <a:pt x="528259" y="3504086"/>
                </a:cubicBezTo>
                <a:close/>
                <a:moveTo>
                  <a:pt x="479316" y="3498820"/>
                </a:moveTo>
                <a:lnTo>
                  <a:pt x="475289" y="3500214"/>
                </a:lnTo>
                <a:cubicBezTo>
                  <a:pt x="476115" y="3499749"/>
                  <a:pt x="474876" y="3499439"/>
                  <a:pt x="474876" y="3499439"/>
                </a:cubicBezTo>
                <a:cubicBezTo>
                  <a:pt x="473636" y="3499284"/>
                  <a:pt x="473533" y="3500369"/>
                  <a:pt x="473327" y="3501453"/>
                </a:cubicBezTo>
                <a:lnTo>
                  <a:pt x="472914" y="3502537"/>
                </a:lnTo>
                <a:lnTo>
                  <a:pt x="473224" y="3503002"/>
                </a:lnTo>
                <a:cubicBezTo>
                  <a:pt x="474566" y="3504396"/>
                  <a:pt x="475702" y="3506100"/>
                  <a:pt x="475805" y="3509508"/>
                </a:cubicBezTo>
                <a:lnTo>
                  <a:pt x="477663" y="3507959"/>
                </a:lnTo>
                <a:lnTo>
                  <a:pt x="477663" y="3506719"/>
                </a:lnTo>
                <a:cubicBezTo>
                  <a:pt x="477766" y="3506410"/>
                  <a:pt x="477870" y="3506410"/>
                  <a:pt x="477457" y="3506719"/>
                </a:cubicBezTo>
                <a:cubicBezTo>
                  <a:pt x="477766" y="3505480"/>
                  <a:pt x="477973" y="3504241"/>
                  <a:pt x="478283" y="3503157"/>
                </a:cubicBezTo>
                <a:lnTo>
                  <a:pt x="479419" y="3501918"/>
                </a:lnTo>
                <a:close/>
                <a:moveTo>
                  <a:pt x="291906" y="3496341"/>
                </a:moveTo>
                <a:cubicBezTo>
                  <a:pt x="297068" y="3496961"/>
                  <a:pt x="303057" y="3496651"/>
                  <a:pt x="302748" y="3502537"/>
                </a:cubicBezTo>
                <a:cubicBezTo>
                  <a:pt x="297997" y="3509043"/>
                  <a:pt x="291183" y="3505790"/>
                  <a:pt x="290357" y="3501143"/>
                </a:cubicBezTo>
                <a:cubicBezTo>
                  <a:pt x="290150" y="3499594"/>
                  <a:pt x="290563" y="3497736"/>
                  <a:pt x="291906" y="3496341"/>
                </a:cubicBezTo>
                <a:close/>
                <a:moveTo>
                  <a:pt x="276004" y="3483485"/>
                </a:moveTo>
                <a:cubicBezTo>
                  <a:pt x="278069" y="3486273"/>
                  <a:pt x="276830" y="3489216"/>
                  <a:pt x="274455" y="3491230"/>
                </a:cubicBezTo>
                <a:cubicBezTo>
                  <a:pt x="271977" y="3493089"/>
                  <a:pt x="268466" y="3494018"/>
                  <a:pt x="265782" y="3492934"/>
                </a:cubicBezTo>
                <a:cubicBezTo>
                  <a:pt x="266401" y="3488132"/>
                  <a:pt x="267744" y="3484724"/>
                  <a:pt x="271461" y="3483640"/>
                </a:cubicBezTo>
                <a:cubicBezTo>
                  <a:pt x="272700" y="3483330"/>
                  <a:pt x="274146" y="3483175"/>
                  <a:pt x="276004" y="3483485"/>
                </a:cubicBezTo>
                <a:close/>
                <a:moveTo>
                  <a:pt x="476321" y="3482711"/>
                </a:moveTo>
                <a:lnTo>
                  <a:pt x="475702" y="3482865"/>
                </a:lnTo>
                <a:lnTo>
                  <a:pt x="475495" y="3482865"/>
                </a:lnTo>
                <a:lnTo>
                  <a:pt x="475495" y="3483795"/>
                </a:lnTo>
                <a:lnTo>
                  <a:pt x="476424" y="3482865"/>
                </a:lnTo>
                <a:close/>
                <a:moveTo>
                  <a:pt x="366250" y="3476205"/>
                </a:moveTo>
                <a:cubicBezTo>
                  <a:pt x="366250" y="3476205"/>
                  <a:pt x="366250" y="3476360"/>
                  <a:pt x="366973" y="3476670"/>
                </a:cubicBezTo>
                <a:cubicBezTo>
                  <a:pt x="367695" y="3478838"/>
                  <a:pt x="368522" y="3481936"/>
                  <a:pt x="369038" y="3484724"/>
                </a:cubicBezTo>
                <a:lnTo>
                  <a:pt x="369141" y="3485963"/>
                </a:lnTo>
                <a:lnTo>
                  <a:pt x="377815" y="3480542"/>
                </a:lnTo>
                <a:lnTo>
                  <a:pt x="372858" y="3479922"/>
                </a:lnTo>
                <a:lnTo>
                  <a:pt x="369554" y="3476980"/>
                </a:lnTo>
                <a:close/>
                <a:moveTo>
                  <a:pt x="216012" y="3475585"/>
                </a:moveTo>
                <a:cubicBezTo>
                  <a:pt x="220762" y="3480852"/>
                  <a:pt x="223860" y="3482091"/>
                  <a:pt x="227060" y="3486583"/>
                </a:cubicBezTo>
                <a:cubicBezTo>
                  <a:pt x="226648" y="3487358"/>
                  <a:pt x="225925" y="3487048"/>
                  <a:pt x="225512" y="3487822"/>
                </a:cubicBezTo>
                <a:cubicBezTo>
                  <a:pt x="224892" y="3487977"/>
                  <a:pt x="224066" y="3487822"/>
                  <a:pt x="223137" y="3487358"/>
                </a:cubicBezTo>
                <a:cubicBezTo>
                  <a:pt x="220349" y="3485963"/>
                  <a:pt x="216838" y="3482556"/>
                  <a:pt x="217148" y="3482091"/>
                </a:cubicBezTo>
                <a:cubicBezTo>
                  <a:pt x="216426" y="3481626"/>
                  <a:pt x="216838" y="3480852"/>
                  <a:pt x="216116" y="3480542"/>
                </a:cubicBezTo>
                <a:cubicBezTo>
                  <a:pt x="216116" y="3480542"/>
                  <a:pt x="215290" y="3480232"/>
                  <a:pt x="214980" y="3478993"/>
                </a:cubicBezTo>
                <a:cubicBezTo>
                  <a:pt x="214773" y="3478528"/>
                  <a:pt x="214670" y="3477909"/>
                  <a:pt x="214773" y="3477444"/>
                </a:cubicBezTo>
                <a:cubicBezTo>
                  <a:pt x="214876" y="3476825"/>
                  <a:pt x="215187" y="3476205"/>
                  <a:pt x="216012" y="3475585"/>
                </a:cubicBezTo>
                <a:close/>
                <a:moveTo>
                  <a:pt x="317616" y="3471713"/>
                </a:moveTo>
                <a:cubicBezTo>
                  <a:pt x="321230" y="3472333"/>
                  <a:pt x="320611" y="3474656"/>
                  <a:pt x="320921" y="3478373"/>
                </a:cubicBezTo>
                <a:cubicBezTo>
                  <a:pt x="319682" y="3478218"/>
                  <a:pt x="318855" y="3481781"/>
                  <a:pt x="318546" y="3482865"/>
                </a:cubicBezTo>
                <a:cubicBezTo>
                  <a:pt x="316171" y="3482556"/>
                  <a:pt x="314416" y="3486583"/>
                  <a:pt x="310801" y="3485963"/>
                </a:cubicBezTo>
                <a:cubicBezTo>
                  <a:pt x="309872" y="3484569"/>
                  <a:pt x="309459" y="3483950"/>
                  <a:pt x="309356" y="3482091"/>
                </a:cubicBezTo>
                <a:cubicBezTo>
                  <a:pt x="312144" y="3473262"/>
                  <a:pt x="317307" y="3472952"/>
                  <a:pt x="317616" y="3471713"/>
                </a:cubicBezTo>
                <a:close/>
                <a:moveTo>
                  <a:pt x="422731" y="3469699"/>
                </a:moveTo>
                <a:lnTo>
                  <a:pt x="421698" y="3472487"/>
                </a:lnTo>
                <a:lnTo>
                  <a:pt x="417259" y="3476515"/>
                </a:lnTo>
                <a:lnTo>
                  <a:pt x="417568" y="3476515"/>
                </a:lnTo>
                <a:lnTo>
                  <a:pt x="423867" y="3479303"/>
                </a:lnTo>
                <a:close/>
                <a:moveTo>
                  <a:pt x="199388" y="3469390"/>
                </a:moveTo>
                <a:cubicBezTo>
                  <a:pt x="204138" y="3471248"/>
                  <a:pt x="204448" y="3477599"/>
                  <a:pt x="200421" y="3479148"/>
                </a:cubicBezTo>
                <a:cubicBezTo>
                  <a:pt x="199182" y="3478683"/>
                  <a:pt x="197220" y="3478528"/>
                  <a:pt x="195671" y="3477289"/>
                </a:cubicBezTo>
                <a:cubicBezTo>
                  <a:pt x="194535" y="3473107"/>
                  <a:pt x="196187" y="3470629"/>
                  <a:pt x="199388" y="3469390"/>
                </a:cubicBezTo>
                <a:close/>
                <a:moveTo>
                  <a:pt x="246679" y="3468925"/>
                </a:moveTo>
                <a:cubicBezTo>
                  <a:pt x="247402" y="3469235"/>
                  <a:pt x="247712" y="3470319"/>
                  <a:pt x="247712" y="3470319"/>
                </a:cubicBezTo>
                <a:cubicBezTo>
                  <a:pt x="248125" y="3471403"/>
                  <a:pt x="248022" y="3471403"/>
                  <a:pt x="249261" y="3471093"/>
                </a:cubicBezTo>
                <a:cubicBezTo>
                  <a:pt x="249261" y="3471093"/>
                  <a:pt x="248745" y="3471713"/>
                  <a:pt x="248745" y="3471713"/>
                </a:cubicBezTo>
                <a:cubicBezTo>
                  <a:pt x="248022" y="3471403"/>
                  <a:pt x="248745" y="3471868"/>
                  <a:pt x="249157" y="3472952"/>
                </a:cubicBezTo>
                <a:cubicBezTo>
                  <a:pt x="247505" y="3474037"/>
                  <a:pt x="247093" y="3474811"/>
                  <a:pt x="245854" y="3475276"/>
                </a:cubicBezTo>
                <a:cubicBezTo>
                  <a:pt x="245337" y="3475585"/>
                  <a:pt x="244511" y="3475585"/>
                  <a:pt x="243788" y="3475585"/>
                </a:cubicBezTo>
                <a:cubicBezTo>
                  <a:pt x="243169" y="3475430"/>
                  <a:pt x="242549" y="3475276"/>
                  <a:pt x="242446" y="3474656"/>
                </a:cubicBezTo>
                <a:cubicBezTo>
                  <a:pt x="242859" y="3473882"/>
                  <a:pt x="242136" y="3473572"/>
                  <a:pt x="242549" y="3472797"/>
                </a:cubicBezTo>
                <a:cubicBezTo>
                  <a:pt x="242652" y="3470938"/>
                  <a:pt x="243065" y="3470164"/>
                  <a:pt x="244304" y="3469699"/>
                </a:cubicBezTo>
                <a:cubicBezTo>
                  <a:pt x="244718" y="3468925"/>
                  <a:pt x="245440" y="3469235"/>
                  <a:pt x="246679" y="3468925"/>
                </a:cubicBezTo>
                <a:close/>
                <a:moveTo>
                  <a:pt x="344566" y="3468460"/>
                </a:moveTo>
                <a:cubicBezTo>
                  <a:pt x="345599" y="3472487"/>
                  <a:pt x="341985" y="3476205"/>
                  <a:pt x="337545" y="3473417"/>
                </a:cubicBezTo>
                <a:cubicBezTo>
                  <a:pt x="339403" y="3470164"/>
                  <a:pt x="341365" y="3467066"/>
                  <a:pt x="344566" y="3468460"/>
                </a:cubicBezTo>
                <a:close/>
                <a:moveTo>
                  <a:pt x="228300" y="3459631"/>
                </a:moveTo>
                <a:cubicBezTo>
                  <a:pt x="231604" y="3459166"/>
                  <a:pt x="236147" y="3459941"/>
                  <a:pt x="238006" y="3461025"/>
                </a:cubicBezTo>
                <a:cubicBezTo>
                  <a:pt x="238832" y="3463813"/>
                  <a:pt x="238316" y="3465672"/>
                  <a:pt x="237180" y="3466911"/>
                </a:cubicBezTo>
                <a:cubicBezTo>
                  <a:pt x="233669" y="3470783"/>
                  <a:pt x="223963" y="3467995"/>
                  <a:pt x="225615" y="3460715"/>
                </a:cubicBezTo>
                <a:cubicBezTo>
                  <a:pt x="226235" y="3460250"/>
                  <a:pt x="227267" y="3459941"/>
                  <a:pt x="228300" y="3459631"/>
                </a:cubicBezTo>
                <a:close/>
                <a:moveTo>
                  <a:pt x="329181" y="3453590"/>
                </a:moveTo>
                <a:cubicBezTo>
                  <a:pt x="330214" y="3456998"/>
                  <a:pt x="327632" y="3459631"/>
                  <a:pt x="328252" y="3463658"/>
                </a:cubicBezTo>
                <a:cubicBezTo>
                  <a:pt x="325360" y="3465207"/>
                  <a:pt x="325464" y="3470164"/>
                  <a:pt x="321540" y="3472023"/>
                </a:cubicBezTo>
                <a:cubicBezTo>
                  <a:pt x="320817" y="3470783"/>
                  <a:pt x="320714" y="3469080"/>
                  <a:pt x="321024" y="3467221"/>
                </a:cubicBezTo>
                <a:cubicBezTo>
                  <a:pt x="321850" y="3461490"/>
                  <a:pt x="326496" y="3454519"/>
                  <a:pt x="329181" y="3453590"/>
                </a:cubicBezTo>
                <a:close/>
                <a:moveTo>
                  <a:pt x="453811" y="3450802"/>
                </a:moveTo>
                <a:lnTo>
                  <a:pt x="453708" y="3451886"/>
                </a:lnTo>
                <a:cubicBezTo>
                  <a:pt x="454018" y="3455604"/>
                  <a:pt x="454224" y="3459941"/>
                  <a:pt x="455463" y="3463348"/>
                </a:cubicBezTo>
                <a:cubicBezTo>
                  <a:pt x="453811" y="3475740"/>
                  <a:pt x="454121" y="3484569"/>
                  <a:pt x="455154" y="3493553"/>
                </a:cubicBezTo>
                <a:lnTo>
                  <a:pt x="456703" y="3500369"/>
                </a:lnTo>
                <a:lnTo>
                  <a:pt x="456909" y="3500679"/>
                </a:lnTo>
                <a:lnTo>
                  <a:pt x="463930" y="3508733"/>
                </a:lnTo>
                <a:lnTo>
                  <a:pt x="463827" y="3506719"/>
                </a:lnTo>
                <a:cubicBezTo>
                  <a:pt x="467854" y="3504861"/>
                  <a:pt x="470539" y="3507029"/>
                  <a:pt x="470539" y="3503622"/>
                </a:cubicBezTo>
                <a:lnTo>
                  <a:pt x="470539" y="3503467"/>
                </a:lnTo>
                <a:lnTo>
                  <a:pt x="465686" y="3500369"/>
                </a:lnTo>
                <a:cubicBezTo>
                  <a:pt x="464447" y="3498510"/>
                  <a:pt x="463827" y="3496341"/>
                  <a:pt x="463414" y="3494793"/>
                </a:cubicBezTo>
                <a:lnTo>
                  <a:pt x="463208" y="3494173"/>
                </a:lnTo>
                <a:lnTo>
                  <a:pt x="462485" y="3493398"/>
                </a:lnTo>
                <a:lnTo>
                  <a:pt x="462175" y="3493553"/>
                </a:lnTo>
                <a:lnTo>
                  <a:pt x="462278" y="3493244"/>
                </a:lnTo>
                <a:lnTo>
                  <a:pt x="460832" y="3491694"/>
                </a:lnTo>
                <a:lnTo>
                  <a:pt x="462072" y="3490610"/>
                </a:lnTo>
                <a:lnTo>
                  <a:pt x="462382" y="3487977"/>
                </a:lnTo>
                <a:cubicBezTo>
                  <a:pt x="462588" y="3487203"/>
                  <a:pt x="463208" y="3486738"/>
                  <a:pt x="464447" y="3487048"/>
                </a:cubicBezTo>
                <a:cubicBezTo>
                  <a:pt x="466409" y="3486583"/>
                  <a:pt x="466512" y="3488597"/>
                  <a:pt x="468887" y="3488906"/>
                </a:cubicBezTo>
                <a:cubicBezTo>
                  <a:pt x="471158" y="3488906"/>
                  <a:pt x="472397" y="3486738"/>
                  <a:pt x="474256" y="3484724"/>
                </a:cubicBezTo>
                <a:lnTo>
                  <a:pt x="474463" y="3484569"/>
                </a:lnTo>
                <a:lnTo>
                  <a:pt x="473740" y="3482711"/>
                </a:lnTo>
                <a:lnTo>
                  <a:pt x="469093" y="3482091"/>
                </a:lnTo>
                <a:cubicBezTo>
                  <a:pt x="467028" y="3481007"/>
                  <a:pt x="465376" y="3479458"/>
                  <a:pt x="464756" y="3476980"/>
                </a:cubicBezTo>
                <a:cubicBezTo>
                  <a:pt x="466822" y="3476050"/>
                  <a:pt x="468577" y="3475740"/>
                  <a:pt x="470022" y="3475740"/>
                </a:cubicBezTo>
                <a:lnTo>
                  <a:pt x="473327" y="3476515"/>
                </a:lnTo>
                <a:lnTo>
                  <a:pt x="473327" y="3476205"/>
                </a:lnTo>
                <a:lnTo>
                  <a:pt x="473017" y="3473882"/>
                </a:lnTo>
                <a:lnTo>
                  <a:pt x="472707" y="3474811"/>
                </a:lnTo>
                <a:lnTo>
                  <a:pt x="468474" y="3470009"/>
                </a:lnTo>
                <a:lnTo>
                  <a:pt x="467028" y="3473572"/>
                </a:lnTo>
                <a:cubicBezTo>
                  <a:pt x="466305" y="3474501"/>
                  <a:pt x="465479" y="3475430"/>
                  <a:pt x="464550" y="3475585"/>
                </a:cubicBezTo>
                <a:cubicBezTo>
                  <a:pt x="462175" y="3475121"/>
                  <a:pt x="461968" y="3473262"/>
                  <a:pt x="462278" y="3472178"/>
                </a:cubicBezTo>
                <a:cubicBezTo>
                  <a:pt x="461968" y="3470938"/>
                  <a:pt x="462588" y="3469699"/>
                  <a:pt x="463621" y="3468770"/>
                </a:cubicBezTo>
                <a:lnTo>
                  <a:pt x="466202" y="3467376"/>
                </a:lnTo>
                <a:lnTo>
                  <a:pt x="464447" y="3465517"/>
                </a:lnTo>
                <a:cubicBezTo>
                  <a:pt x="461968" y="3462574"/>
                  <a:pt x="459697" y="3459476"/>
                  <a:pt x="457528" y="3456533"/>
                </a:cubicBezTo>
                <a:close/>
                <a:moveTo>
                  <a:pt x="310698" y="3449718"/>
                </a:moveTo>
                <a:cubicBezTo>
                  <a:pt x="319475" y="3448943"/>
                  <a:pt x="321333" y="3454519"/>
                  <a:pt x="319165" y="3458082"/>
                </a:cubicBezTo>
                <a:cubicBezTo>
                  <a:pt x="318443" y="3459166"/>
                  <a:pt x="317307" y="3460096"/>
                  <a:pt x="315861" y="3460560"/>
                </a:cubicBezTo>
                <a:cubicBezTo>
                  <a:pt x="313899" y="3461025"/>
                  <a:pt x="311318" y="3460560"/>
                  <a:pt x="308426" y="3458392"/>
                </a:cubicBezTo>
                <a:cubicBezTo>
                  <a:pt x="308014" y="3454210"/>
                  <a:pt x="309975" y="3452506"/>
                  <a:pt x="310698" y="3449718"/>
                </a:cubicBezTo>
                <a:close/>
                <a:moveTo>
                  <a:pt x="325670" y="3439030"/>
                </a:moveTo>
                <a:cubicBezTo>
                  <a:pt x="328561" y="3437946"/>
                  <a:pt x="332898" y="3439030"/>
                  <a:pt x="335066" y="3443367"/>
                </a:cubicBezTo>
                <a:cubicBezTo>
                  <a:pt x="333931" y="3446620"/>
                  <a:pt x="331866" y="3448324"/>
                  <a:pt x="330730" y="3449718"/>
                </a:cubicBezTo>
                <a:cubicBezTo>
                  <a:pt x="328355" y="3448788"/>
                  <a:pt x="326496" y="3448633"/>
                  <a:pt x="324121" y="3447549"/>
                </a:cubicBezTo>
                <a:cubicBezTo>
                  <a:pt x="322573" y="3445381"/>
                  <a:pt x="322159" y="3443522"/>
                  <a:pt x="322573" y="3442128"/>
                </a:cubicBezTo>
                <a:cubicBezTo>
                  <a:pt x="322986" y="3440579"/>
                  <a:pt x="324121" y="3439494"/>
                  <a:pt x="325670" y="3439030"/>
                </a:cubicBezTo>
                <a:close/>
                <a:moveTo>
                  <a:pt x="232430" y="3430356"/>
                </a:moveTo>
                <a:cubicBezTo>
                  <a:pt x="237902" y="3432679"/>
                  <a:pt x="244614" y="3434073"/>
                  <a:pt x="249364" y="3438101"/>
                </a:cubicBezTo>
                <a:cubicBezTo>
                  <a:pt x="243788" y="3440424"/>
                  <a:pt x="232120" y="3438565"/>
                  <a:pt x="232430" y="3430356"/>
                </a:cubicBezTo>
                <a:close/>
                <a:moveTo>
                  <a:pt x="516385" y="3427568"/>
                </a:moveTo>
                <a:lnTo>
                  <a:pt x="515146" y="3432679"/>
                </a:lnTo>
                <a:lnTo>
                  <a:pt x="513287" y="3434538"/>
                </a:lnTo>
                <a:lnTo>
                  <a:pt x="515042" y="3438720"/>
                </a:lnTo>
                <a:cubicBezTo>
                  <a:pt x="515042" y="3438720"/>
                  <a:pt x="512254" y="3437636"/>
                  <a:pt x="512461" y="3437016"/>
                </a:cubicBezTo>
                <a:cubicBezTo>
                  <a:pt x="512564" y="3439185"/>
                  <a:pt x="515662" y="3443986"/>
                  <a:pt x="515662" y="3446155"/>
                </a:cubicBezTo>
                <a:cubicBezTo>
                  <a:pt x="515765" y="3448324"/>
                  <a:pt x="514320" y="3450647"/>
                  <a:pt x="512977" y="3452970"/>
                </a:cubicBezTo>
                <a:lnTo>
                  <a:pt x="511945" y="3455914"/>
                </a:lnTo>
                <a:lnTo>
                  <a:pt x="513596" y="3459941"/>
                </a:lnTo>
                <a:lnTo>
                  <a:pt x="514320" y="3459941"/>
                </a:lnTo>
                <a:lnTo>
                  <a:pt x="516695" y="3462109"/>
                </a:lnTo>
                <a:lnTo>
                  <a:pt x="517520" y="3461025"/>
                </a:lnTo>
                <a:cubicBezTo>
                  <a:pt x="519895" y="3459476"/>
                  <a:pt x="524439" y="3459941"/>
                  <a:pt x="525161" y="3461180"/>
                </a:cubicBezTo>
                <a:cubicBezTo>
                  <a:pt x="524955" y="3462574"/>
                  <a:pt x="520102" y="3465207"/>
                  <a:pt x="517520" y="3464743"/>
                </a:cubicBezTo>
                <a:lnTo>
                  <a:pt x="516281" y="3463348"/>
                </a:lnTo>
                <a:lnTo>
                  <a:pt x="515249" y="3464278"/>
                </a:lnTo>
                <a:lnTo>
                  <a:pt x="516901" y="3468305"/>
                </a:lnTo>
                <a:lnTo>
                  <a:pt x="516695" y="3468925"/>
                </a:lnTo>
                <a:lnTo>
                  <a:pt x="519069" y="3472023"/>
                </a:lnTo>
                <a:cubicBezTo>
                  <a:pt x="520102" y="3475895"/>
                  <a:pt x="518863" y="3479922"/>
                  <a:pt x="517830" y="3483175"/>
                </a:cubicBezTo>
                <a:cubicBezTo>
                  <a:pt x="517211" y="3485189"/>
                  <a:pt x="517520" y="3486738"/>
                  <a:pt x="517727" y="3488132"/>
                </a:cubicBezTo>
                <a:cubicBezTo>
                  <a:pt x="517520" y="3488906"/>
                  <a:pt x="517417" y="3489526"/>
                  <a:pt x="517417" y="3489526"/>
                </a:cubicBezTo>
                <a:cubicBezTo>
                  <a:pt x="517830" y="3490455"/>
                  <a:pt x="517830" y="3490455"/>
                  <a:pt x="518347" y="3491230"/>
                </a:cubicBezTo>
                <a:cubicBezTo>
                  <a:pt x="518863" y="3492159"/>
                  <a:pt x="519276" y="3493089"/>
                  <a:pt x="519792" y="3494018"/>
                </a:cubicBezTo>
                <a:cubicBezTo>
                  <a:pt x="521031" y="3499594"/>
                  <a:pt x="517004" y="3500369"/>
                  <a:pt x="517211" y="3504706"/>
                </a:cubicBezTo>
                <a:cubicBezTo>
                  <a:pt x="518656" y="3509662"/>
                  <a:pt x="520412" y="3513845"/>
                  <a:pt x="521444" y="3517717"/>
                </a:cubicBezTo>
                <a:lnTo>
                  <a:pt x="521651" y="3518337"/>
                </a:lnTo>
                <a:lnTo>
                  <a:pt x="523406" y="3519111"/>
                </a:lnTo>
                <a:cubicBezTo>
                  <a:pt x="523819" y="3520195"/>
                  <a:pt x="523716" y="3521590"/>
                  <a:pt x="523303" y="3522674"/>
                </a:cubicBezTo>
                <a:lnTo>
                  <a:pt x="522890" y="3522983"/>
                </a:lnTo>
                <a:lnTo>
                  <a:pt x="523303" y="3524223"/>
                </a:lnTo>
                <a:cubicBezTo>
                  <a:pt x="523303" y="3524223"/>
                  <a:pt x="523303" y="3524223"/>
                  <a:pt x="524232" y="3525927"/>
                </a:cubicBezTo>
                <a:cubicBezTo>
                  <a:pt x="524232" y="3525927"/>
                  <a:pt x="524232" y="3526082"/>
                  <a:pt x="524025" y="3526701"/>
                </a:cubicBezTo>
                <a:cubicBezTo>
                  <a:pt x="524748" y="3526856"/>
                  <a:pt x="524439" y="3527476"/>
                  <a:pt x="524439" y="3527476"/>
                </a:cubicBezTo>
                <a:cubicBezTo>
                  <a:pt x="524439" y="3527476"/>
                  <a:pt x="524439" y="3527476"/>
                  <a:pt x="524748" y="3529025"/>
                </a:cubicBezTo>
                <a:lnTo>
                  <a:pt x="525058" y="3529644"/>
                </a:lnTo>
                <a:lnTo>
                  <a:pt x="527330" y="3529180"/>
                </a:lnTo>
                <a:cubicBezTo>
                  <a:pt x="528672" y="3529025"/>
                  <a:pt x="530118" y="3529180"/>
                  <a:pt x="531976" y="3529644"/>
                </a:cubicBezTo>
                <a:cubicBezTo>
                  <a:pt x="530221" y="3530884"/>
                  <a:pt x="528466" y="3531813"/>
                  <a:pt x="526710" y="3532277"/>
                </a:cubicBezTo>
                <a:lnTo>
                  <a:pt x="526400" y="3532432"/>
                </a:lnTo>
                <a:lnTo>
                  <a:pt x="531254" y="3542191"/>
                </a:lnTo>
                <a:cubicBezTo>
                  <a:pt x="535074" y="3542036"/>
                  <a:pt x="546019" y="3545753"/>
                  <a:pt x="544470" y="3540797"/>
                </a:cubicBezTo>
                <a:cubicBezTo>
                  <a:pt x="544987" y="3541726"/>
                  <a:pt x="544780" y="3542346"/>
                  <a:pt x="545296" y="3543275"/>
                </a:cubicBezTo>
                <a:cubicBezTo>
                  <a:pt x="545296" y="3543275"/>
                  <a:pt x="545296" y="3543275"/>
                  <a:pt x="546329" y="3549471"/>
                </a:cubicBezTo>
                <a:cubicBezTo>
                  <a:pt x="546329" y="3549471"/>
                  <a:pt x="546329" y="3549471"/>
                  <a:pt x="546122" y="3550091"/>
                </a:cubicBezTo>
                <a:cubicBezTo>
                  <a:pt x="546122" y="3550091"/>
                  <a:pt x="546122" y="3550091"/>
                  <a:pt x="546639" y="3551020"/>
                </a:cubicBezTo>
                <a:cubicBezTo>
                  <a:pt x="547258" y="3551329"/>
                  <a:pt x="547052" y="3551949"/>
                  <a:pt x="547568" y="3552724"/>
                </a:cubicBezTo>
                <a:cubicBezTo>
                  <a:pt x="549014" y="3555512"/>
                  <a:pt x="549736" y="3557990"/>
                  <a:pt x="551389" y="3560004"/>
                </a:cubicBezTo>
                <a:cubicBezTo>
                  <a:pt x="553970" y="3563721"/>
                  <a:pt x="556655" y="3564651"/>
                  <a:pt x="559236" y="3558919"/>
                </a:cubicBezTo>
                <a:cubicBezTo>
                  <a:pt x="559959" y="3556286"/>
                  <a:pt x="556035" y="3552104"/>
                  <a:pt x="556345" y="3553653"/>
                </a:cubicBezTo>
                <a:lnTo>
                  <a:pt x="556345" y="3553498"/>
                </a:lnTo>
                <a:lnTo>
                  <a:pt x="552524" y="3551020"/>
                </a:lnTo>
                <a:cubicBezTo>
                  <a:pt x="550150" y="3548232"/>
                  <a:pt x="548704" y="3544979"/>
                  <a:pt x="548704" y="3541106"/>
                </a:cubicBezTo>
                <a:lnTo>
                  <a:pt x="554589" y="3537699"/>
                </a:lnTo>
                <a:lnTo>
                  <a:pt x="554383" y="3535530"/>
                </a:lnTo>
                <a:cubicBezTo>
                  <a:pt x="553350" y="3531658"/>
                  <a:pt x="551389" y="3528095"/>
                  <a:pt x="547052" y="3525152"/>
                </a:cubicBezTo>
                <a:cubicBezTo>
                  <a:pt x="547052" y="3525152"/>
                  <a:pt x="547052" y="3524997"/>
                  <a:pt x="547258" y="3524378"/>
                </a:cubicBezTo>
                <a:cubicBezTo>
                  <a:pt x="547258" y="3524378"/>
                  <a:pt x="547258" y="3524378"/>
                  <a:pt x="546845" y="3523603"/>
                </a:cubicBezTo>
                <a:cubicBezTo>
                  <a:pt x="546845" y="3523603"/>
                  <a:pt x="546845" y="3523448"/>
                  <a:pt x="547052" y="3522829"/>
                </a:cubicBezTo>
                <a:cubicBezTo>
                  <a:pt x="547052" y="3522829"/>
                  <a:pt x="547052" y="3522829"/>
                  <a:pt x="546639" y="3519111"/>
                </a:cubicBezTo>
                <a:cubicBezTo>
                  <a:pt x="546639" y="3516943"/>
                  <a:pt x="546019" y="3513845"/>
                  <a:pt x="546019" y="3511676"/>
                </a:cubicBezTo>
                <a:cubicBezTo>
                  <a:pt x="545090" y="3507029"/>
                  <a:pt x="544470" y="3501763"/>
                  <a:pt x="544367" y="3497271"/>
                </a:cubicBezTo>
                <a:cubicBezTo>
                  <a:pt x="543644" y="3494793"/>
                  <a:pt x="543541" y="3492624"/>
                  <a:pt x="542818" y="3490146"/>
                </a:cubicBezTo>
                <a:cubicBezTo>
                  <a:pt x="542818" y="3490146"/>
                  <a:pt x="542715" y="3490146"/>
                  <a:pt x="542508" y="3488597"/>
                </a:cubicBezTo>
                <a:cubicBezTo>
                  <a:pt x="542508" y="3488597"/>
                  <a:pt x="542508" y="3488751"/>
                  <a:pt x="542921" y="3487358"/>
                </a:cubicBezTo>
                <a:cubicBezTo>
                  <a:pt x="542921" y="3487358"/>
                  <a:pt x="542921" y="3487358"/>
                  <a:pt x="542405" y="3484260"/>
                </a:cubicBezTo>
                <a:cubicBezTo>
                  <a:pt x="542198" y="3479922"/>
                  <a:pt x="541166" y="3475895"/>
                  <a:pt x="540856" y="3472178"/>
                </a:cubicBezTo>
                <a:lnTo>
                  <a:pt x="540134" y="3461645"/>
                </a:lnTo>
                <a:lnTo>
                  <a:pt x="539721" y="3461645"/>
                </a:lnTo>
                <a:cubicBezTo>
                  <a:pt x="537759" y="3461180"/>
                  <a:pt x="535797" y="3460560"/>
                  <a:pt x="534558" y="3459941"/>
                </a:cubicBezTo>
                <a:cubicBezTo>
                  <a:pt x="534971" y="3459321"/>
                  <a:pt x="535797" y="3459012"/>
                  <a:pt x="536829" y="3458857"/>
                </a:cubicBezTo>
                <a:lnTo>
                  <a:pt x="539927" y="3459166"/>
                </a:lnTo>
                <a:lnTo>
                  <a:pt x="539927" y="3453590"/>
                </a:lnTo>
                <a:lnTo>
                  <a:pt x="531563" y="3460560"/>
                </a:lnTo>
                <a:cubicBezTo>
                  <a:pt x="522373" y="3450802"/>
                  <a:pt x="530737" y="3438565"/>
                  <a:pt x="534454" y="3428497"/>
                </a:cubicBezTo>
                <a:close/>
                <a:moveTo>
                  <a:pt x="329800" y="3427413"/>
                </a:moveTo>
                <a:cubicBezTo>
                  <a:pt x="330523" y="3426948"/>
                  <a:pt x="331453" y="3426793"/>
                  <a:pt x="332485" y="3427413"/>
                </a:cubicBezTo>
                <a:cubicBezTo>
                  <a:pt x="332485" y="3428652"/>
                  <a:pt x="333105" y="3430511"/>
                  <a:pt x="332382" y="3432214"/>
                </a:cubicBezTo>
                <a:cubicBezTo>
                  <a:pt x="330110" y="3432679"/>
                  <a:pt x="328975" y="3431904"/>
                  <a:pt x="328561" y="3430665"/>
                </a:cubicBezTo>
                <a:cubicBezTo>
                  <a:pt x="328252" y="3429581"/>
                  <a:pt x="328768" y="3428032"/>
                  <a:pt x="329800" y="3427413"/>
                </a:cubicBezTo>
                <a:close/>
                <a:moveTo>
                  <a:pt x="378951" y="3426018"/>
                </a:moveTo>
                <a:cubicBezTo>
                  <a:pt x="379157" y="3428652"/>
                  <a:pt x="378434" y="3430356"/>
                  <a:pt x="376886" y="3431285"/>
                </a:cubicBezTo>
                <a:lnTo>
                  <a:pt x="370690" y="3432059"/>
                </a:lnTo>
                <a:lnTo>
                  <a:pt x="371206" y="3435467"/>
                </a:lnTo>
                <a:cubicBezTo>
                  <a:pt x="368109" y="3437636"/>
                  <a:pt x="365424" y="3438101"/>
                  <a:pt x="363462" y="3438720"/>
                </a:cubicBezTo>
                <a:cubicBezTo>
                  <a:pt x="362223" y="3436861"/>
                  <a:pt x="360674" y="3435777"/>
                  <a:pt x="359332" y="3433918"/>
                </a:cubicBezTo>
                <a:cubicBezTo>
                  <a:pt x="359642" y="3428807"/>
                  <a:pt x="363152" y="3426948"/>
                  <a:pt x="366353" y="3427413"/>
                </a:cubicBezTo>
                <a:lnTo>
                  <a:pt x="370174" y="3429891"/>
                </a:lnTo>
                <a:lnTo>
                  <a:pt x="370380" y="3428807"/>
                </a:lnTo>
                <a:cubicBezTo>
                  <a:pt x="370793" y="3428032"/>
                  <a:pt x="371516" y="3427568"/>
                  <a:pt x="372446" y="3427258"/>
                </a:cubicBezTo>
                <a:cubicBezTo>
                  <a:pt x="374201" y="3426638"/>
                  <a:pt x="376782" y="3426638"/>
                  <a:pt x="378951" y="3426018"/>
                </a:cubicBezTo>
                <a:close/>
                <a:moveTo>
                  <a:pt x="66291" y="3424160"/>
                </a:moveTo>
                <a:cubicBezTo>
                  <a:pt x="71350" y="3430975"/>
                  <a:pt x="72589" y="3438255"/>
                  <a:pt x="65361" y="3444296"/>
                </a:cubicBezTo>
                <a:cubicBezTo>
                  <a:pt x="60508" y="3442748"/>
                  <a:pt x="56275" y="3439494"/>
                  <a:pt x="51319" y="3432679"/>
                </a:cubicBezTo>
                <a:cubicBezTo>
                  <a:pt x="54107" y="3429271"/>
                  <a:pt x="56481" y="3427258"/>
                  <a:pt x="58856" y="3425864"/>
                </a:cubicBezTo>
                <a:cubicBezTo>
                  <a:pt x="61334" y="3424625"/>
                  <a:pt x="63709" y="3424160"/>
                  <a:pt x="66291" y="3424160"/>
                </a:cubicBezTo>
                <a:close/>
                <a:moveTo>
                  <a:pt x="408275" y="3423695"/>
                </a:moveTo>
                <a:cubicBezTo>
                  <a:pt x="411166" y="3423540"/>
                  <a:pt x="411580" y="3432524"/>
                  <a:pt x="404764" y="3427877"/>
                </a:cubicBezTo>
                <a:cubicBezTo>
                  <a:pt x="406107" y="3424934"/>
                  <a:pt x="407346" y="3423850"/>
                  <a:pt x="408275" y="3423695"/>
                </a:cubicBezTo>
                <a:close/>
                <a:moveTo>
                  <a:pt x="358196" y="3416260"/>
                </a:moveTo>
                <a:cubicBezTo>
                  <a:pt x="360468" y="3414866"/>
                  <a:pt x="366663" y="3422146"/>
                  <a:pt x="357989" y="3421526"/>
                </a:cubicBezTo>
                <a:cubicBezTo>
                  <a:pt x="357577" y="3419978"/>
                  <a:pt x="357473" y="3418738"/>
                  <a:pt x="357473" y="3417964"/>
                </a:cubicBezTo>
                <a:cubicBezTo>
                  <a:pt x="357577" y="3417190"/>
                  <a:pt x="357886" y="3416570"/>
                  <a:pt x="358196" y="3416260"/>
                </a:cubicBezTo>
                <a:close/>
                <a:moveTo>
                  <a:pt x="208888" y="3413007"/>
                </a:moveTo>
                <a:cubicBezTo>
                  <a:pt x="212811" y="3413317"/>
                  <a:pt x="213947" y="3413782"/>
                  <a:pt x="217045" y="3416260"/>
                </a:cubicBezTo>
                <a:cubicBezTo>
                  <a:pt x="216942" y="3421836"/>
                  <a:pt x="213741" y="3424934"/>
                  <a:pt x="210540" y="3427877"/>
                </a:cubicBezTo>
                <a:cubicBezTo>
                  <a:pt x="206100" y="3427568"/>
                  <a:pt x="204448" y="3426173"/>
                  <a:pt x="204241" y="3424314"/>
                </a:cubicBezTo>
                <a:cubicBezTo>
                  <a:pt x="204241" y="3423695"/>
                  <a:pt x="204241" y="3422921"/>
                  <a:pt x="204448" y="3422146"/>
                </a:cubicBezTo>
                <a:cubicBezTo>
                  <a:pt x="205274" y="3419203"/>
                  <a:pt x="207855" y="3415795"/>
                  <a:pt x="208888" y="3413007"/>
                </a:cubicBezTo>
                <a:close/>
                <a:moveTo>
                  <a:pt x="284781" y="3409290"/>
                </a:moveTo>
                <a:cubicBezTo>
                  <a:pt x="285400" y="3414401"/>
                  <a:pt x="278379" y="3418738"/>
                  <a:pt x="273939" y="3420597"/>
                </a:cubicBezTo>
                <a:cubicBezTo>
                  <a:pt x="272287" y="3419048"/>
                  <a:pt x="270532" y="3419978"/>
                  <a:pt x="268880" y="3418429"/>
                </a:cubicBezTo>
                <a:cubicBezTo>
                  <a:pt x="274249" y="3413162"/>
                  <a:pt x="279721" y="3407121"/>
                  <a:pt x="284781" y="3409290"/>
                </a:cubicBezTo>
                <a:close/>
                <a:moveTo>
                  <a:pt x="399808" y="3408980"/>
                </a:moveTo>
                <a:cubicBezTo>
                  <a:pt x="401667" y="3410839"/>
                  <a:pt x="402183" y="3416105"/>
                  <a:pt x="400324" y="3417654"/>
                </a:cubicBezTo>
                <a:cubicBezTo>
                  <a:pt x="399086" y="3417499"/>
                  <a:pt x="397847" y="3417344"/>
                  <a:pt x="396607" y="3417190"/>
                </a:cubicBezTo>
                <a:cubicBezTo>
                  <a:pt x="395678" y="3415795"/>
                  <a:pt x="395162" y="3414247"/>
                  <a:pt x="395162" y="3412852"/>
                </a:cubicBezTo>
                <a:cubicBezTo>
                  <a:pt x="395059" y="3411613"/>
                  <a:pt x="395575" y="3410374"/>
                  <a:pt x="396711" y="3409600"/>
                </a:cubicBezTo>
                <a:cubicBezTo>
                  <a:pt x="397434" y="3409135"/>
                  <a:pt x="398466" y="3408825"/>
                  <a:pt x="399808" y="3408980"/>
                </a:cubicBezTo>
                <a:close/>
                <a:moveTo>
                  <a:pt x="314828" y="3407276"/>
                </a:moveTo>
                <a:cubicBezTo>
                  <a:pt x="321024" y="3411303"/>
                  <a:pt x="317307" y="3415795"/>
                  <a:pt x="313692" y="3420287"/>
                </a:cubicBezTo>
                <a:cubicBezTo>
                  <a:pt x="310595" y="3418274"/>
                  <a:pt x="307187" y="3419513"/>
                  <a:pt x="304296" y="3414247"/>
                </a:cubicBezTo>
                <a:cubicBezTo>
                  <a:pt x="307807" y="3411303"/>
                  <a:pt x="311318" y="3410064"/>
                  <a:pt x="314828" y="3407276"/>
                </a:cubicBezTo>
                <a:close/>
                <a:moveTo>
                  <a:pt x="209107" y="3399783"/>
                </a:moveTo>
                <a:cubicBezTo>
                  <a:pt x="215186" y="3400267"/>
                  <a:pt x="220659" y="3402784"/>
                  <a:pt x="220968" y="3407431"/>
                </a:cubicBezTo>
                <a:cubicBezTo>
                  <a:pt x="211263" y="3405417"/>
                  <a:pt x="203931" y="3408670"/>
                  <a:pt x="193606" y="3404333"/>
                </a:cubicBezTo>
                <a:cubicBezTo>
                  <a:pt x="196342" y="3400848"/>
                  <a:pt x="203028" y="3399299"/>
                  <a:pt x="209107" y="3399783"/>
                </a:cubicBezTo>
                <a:close/>
                <a:moveTo>
                  <a:pt x="241413" y="3393955"/>
                </a:moveTo>
                <a:cubicBezTo>
                  <a:pt x="244098" y="3397672"/>
                  <a:pt x="240174" y="3403094"/>
                  <a:pt x="235837" y="3402474"/>
                </a:cubicBezTo>
                <a:cubicBezTo>
                  <a:pt x="235115" y="3401545"/>
                  <a:pt x="233566" y="3400461"/>
                  <a:pt x="233050" y="3398757"/>
                </a:cubicBezTo>
                <a:cubicBezTo>
                  <a:pt x="234908" y="3394729"/>
                  <a:pt x="237902" y="3393490"/>
                  <a:pt x="241413" y="3393955"/>
                </a:cubicBezTo>
                <a:close/>
                <a:moveTo>
                  <a:pt x="156124" y="3390082"/>
                </a:moveTo>
                <a:cubicBezTo>
                  <a:pt x="158498" y="3389153"/>
                  <a:pt x="164281" y="3389618"/>
                  <a:pt x="167069" y="3393180"/>
                </a:cubicBezTo>
                <a:cubicBezTo>
                  <a:pt x="165830" y="3398292"/>
                  <a:pt x="162319" y="3398757"/>
                  <a:pt x="157259" y="3396123"/>
                </a:cubicBezTo>
                <a:cubicBezTo>
                  <a:pt x="157259" y="3394265"/>
                  <a:pt x="156537" y="3392716"/>
                  <a:pt x="156124" y="3390082"/>
                </a:cubicBezTo>
                <a:close/>
                <a:moveTo>
                  <a:pt x="175329" y="3389308"/>
                </a:moveTo>
                <a:cubicBezTo>
                  <a:pt x="175949" y="3389153"/>
                  <a:pt x="176775" y="3389308"/>
                  <a:pt x="177807" y="3389618"/>
                </a:cubicBezTo>
                <a:cubicBezTo>
                  <a:pt x="177601" y="3394884"/>
                  <a:pt x="180182" y="3399841"/>
                  <a:pt x="178324" y="3402165"/>
                </a:cubicBezTo>
                <a:cubicBezTo>
                  <a:pt x="177704" y="3402939"/>
                  <a:pt x="176568" y="3403404"/>
                  <a:pt x="174710" y="3403404"/>
                </a:cubicBezTo>
                <a:cubicBezTo>
                  <a:pt x="173987" y="3402010"/>
                  <a:pt x="172954" y="3398757"/>
                  <a:pt x="172748" y="3395659"/>
                </a:cubicBezTo>
                <a:cubicBezTo>
                  <a:pt x="172438" y="3392561"/>
                  <a:pt x="172954" y="3389773"/>
                  <a:pt x="175329" y="3389308"/>
                </a:cubicBezTo>
                <a:close/>
                <a:moveTo>
                  <a:pt x="6884782" y="3389141"/>
                </a:moveTo>
                <a:lnTo>
                  <a:pt x="6884782" y="3401532"/>
                </a:lnTo>
                <a:lnTo>
                  <a:pt x="6884627" y="3401532"/>
                </a:lnTo>
                <a:cubicBezTo>
                  <a:pt x="6881374" y="3400602"/>
                  <a:pt x="6880755" y="3396163"/>
                  <a:pt x="6880135" y="3391723"/>
                </a:cubicBezTo>
                <a:cubicBezTo>
                  <a:pt x="6881839" y="3391206"/>
                  <a:pt x="6883078" y="3390070"/>
                  <a:pt x="6884627" y="3389244"/>
                </a:cubicBezTo>
                <a:close/>
                <a:moveTo>
                  <a:pt x="274455" y="3388534"/>
                </a:moveTo>
                <a:cubicBezTo>
                  <a:pt x="277863" y="3388379"/>
                  <a:pt x="280548" y="3391632"/>
                  <a:pt x="278172" y="3395194"/>
                </a:cubicBezTo>
                <a:cubicBezTo>
                  <a:pt x="273319" y="3394729"/>
                  <a:pt x="271564" y="3392716"/>
                  <a:pt x="271048" y="3389773"/>
                </a:cubicBezTo>
                <a:cubicBezTo>
                  <a:pt x="272184" y="3388844"/>
                  <a:pt x="273319" y="3388534"/>
                  <a:pt x="274455" y="3388534"/>
                </a:cubicBezTo>
                <a:close/>
                <a:moveTo>
                  <a:pt x="345805" y="3387759"/>
                </a:moveTo>
                <a:cubicBezTo>
                  <a:pt x="347767" y="3386365"/>
                  <a:pt x="350555" y="3386365"/>
                  <a:pt x="352001" y="3390082"/>
                </a:cubicBezTo>
                <a:cubicBezTo>
                  <a:pt x="349213" y="3392096"/>
                  <a:pt x="347355" y="3393490"/>
                  <a:pt x="345495" y="3393955"/>
                </a:cubicBezTo>
                <a:cubicBezTo>
                  <a:pt x="344256" y="3393025"/>
                  <a:pt x="343844" y="3391786"/>
                  <a:pt x="344050" y="3390547"/>
                </a:cubicBezTo>
                <a:cubicBezTo>
                  <a:pt x="344153" y="3389463"/>
                  <a:pt x="344876" y="3388379"/>
                  <a:pt x="345805" y="3387759"/>
                </a:cubicBezTo>
                <a:close/>
                <a:moveTo>
                  <a:pt x="6819726" y="3385630"/>
                </a:moveTo>
                <a:cubicBezTo>
                  <a:pt x="6821739" y="3386560"/>
                  <a:pt x="6822823" y="3389761"/>
                  <a:pt x="6824992" y="3390793"/>
                </a:cubicBezTo>
                <a:cubicBezTo>
                  <a:pt x="6823443" y="3391413"/>
                  <a:pt x="6822359" y="3393581"/>
                  <a:pt x="6820655" y="3394097"/>
                </a:cubicBezTo>
                <a:cubicBezTo>
                  <a:pt x="6818641" y="3393168"/>
                  <a:pt x="6817867" y="3391206"/>
                  <a:pt x="6818022" y="3389348"/>
                </a:cubicBezTo>
                <a:cubicBezTo>
                  <a:pt x="6818022" y="3387592"/>
                  <a:pt x="6818951" y="3385940"/>
                  <a:pt x="6819726" y="3385630"/>
                </a:cubicBezTo>
                <a:close/>
                <a:moveTo>
                  <a:pt x="567084" y="3385281"/>
                </a:moveTo>
                <a:lnTo>
                  <a:pt x="555106" y="3386520"/>
                </a:lnTo>
                <a:lnTo>
                  <a:pt x="554073" y="3392561"/>
                </a:lnTo>
                <a:cubicBezTo>
                  <a:pt x="553763" y="3395969"/>
                  <a:pt x="553454" y="3399531"/>
                  <a:pt x="553763" y="3403249"/>
                </a:cubicBezTo>
                <a:lnTo>
                  <a:pt x="554176" y="3405727"/>
                </a:lnTo>
                <a:lnTo>
                  <a:pt x="559339" y="3405572"/>
                </a:lnTo>
                <a:lnTo>
                  <a:pt x="557791" y="3413782"/>
                </a:lnTo>
                <a:lnTo>
                  <a:pt x="570181" y="3411923"/>
                </a:lnTo>
                <a:lnTo>
                  <a:pt x="574931" y="3412697"/>
                </a:lnTo>
                <a:lnTo>
                  <a:pt x="574931" y="3400615"/>
                </a:lnTo>
                <a:lnTo>
                  <a:pt x="575137" y="3385435"/>
                </a:lnTo>
                <a:close/>
                <a:moveTo>
                  <a:pt x="6661576" y="3383256"/>
                </a:moveTo>
                <a:lnTo>
                  <a:pt x="6666688" y="3390793"/>
                </a:lnTo>
                <a:lnTo>
                  <a:pt x="6666688" y="3391516"/>
                </a:lnTo>
                <a:lnTo>
                  <a:pt x="6668702" y="3392445"/>
                </a:lnTo>
                <a:cubicBezTo>
                  <a:pt x="6671335" y="3393271"/>
                  <a:pt x="6668082" y="3390070"/>
                  <a:pt x="6671490" y="3388831"/>
                </a:cubicBezTo>
                <a:cubicBezTo>
                  <a:pt x="6673968" y="3394097"/>
                  <a:pt x="6680164" y="3390793"/>
                  <a:pt x="6682178" y="3395130"/>
                </a:cubicBezTo>
                <a:lnTo>
                  <a:pt x="6681093" y="3391206"/>
                </a:lnTo>
                <a:lnTo>
                  <a:pt x="6680783" y="3391723"/>
                </a:lnTo>
                <a:lnTo>
                  <a:pt x="6675362" y="3387386"/>
                </a:lnTo>
                <a:lnTo>
                  <a:pt x="6671335" y="3386250"/>
                </a:lnTo>
                <a:cubicBezTo>
                  <a:pt x="6669476" y="3385837"/>
                  <a:pt x="6667617" y="3385321"/>
                  <a:pt x="6666223" y="3384907"/>
                </a:cubicBezTo>
                <a:cubicBezTo>
                  <a:pt x="6664829" y="3384804"/>
                  <a:pt x="6663126" y="3384185"/>
                  <a:pt x="6661576" y="3383256"/>
                </a:cubicBezTo>
                <a:close/>
                <a:moveTo>
                  <a:pt x="264840" y="3382473"/>
                </a:moveTo>
                <a:cubicBezTo>
                  <a:pt x="266350" y="3381370"/>
                  <a:pt x="268415" y="3381873"/>
                  <a:pt x="270325" y="3386520"/>
                </a:cubicBezTo>
                <a:cubicBezTo>
                  <a:pt x="265266" y="3391167"/>
                  <a:pt x="263097" y="3390392"/>
                  <a:pt x="262684" y="3388069"/>
                </a:cubicBezTo>
                <a:cubicBezTo>
                  <a:pt x="262374" y="3386288"/>
                  <a:pt x="263329" y="3383577"/>
                  <a:pt x="264840" y="3382473"/>
                </a:cubicBezTo>
                <a:close/>
                <a:moveTo>
                  <a:pt x="332485" y="3382183"/>
                </a:moveTo>
                <a:cubicBezTo>
                  <a:pt x="335066" y="3381718"/>
                  <a:pt x="339300" y="3383887"/>
                  <a:pt x="339713" y="3385281"/>
                </a:cubicBezTo>
                <a:cubicBezTo>
                  <a:pt x="338990" y="3386985"/>
                  <a:pt x="329800" y="3387604"/>
                  <a:pt x="330523" y="3383577"/>
                </a:cubicBezTo>
                <a:cubicBezTo>
                  <a:pt x="330833" y="3382802"/>
                  <a:pt x="331556" y="3382338"/>
                  <a:pt x="332485" y="3382183"/>
                </a:cubicBezTo>
                <a:close/>
                <a:moveTo>
                  <a:pt x="243375" y="3380634"/>
                </a:moveTo>
                <a:cubicBezTo>
                  <a:pt x="245337" y="3380324"/>
                  <a:pt x="244408" y="3383732"/>
                  <a:pt x="244821" y="3384506"/>
                </a:cubicBezTo>
                <a:cubicBezTo>
                  <a:pt x="244511" y="3385590"/>
                  <a:pt x="244201" y="3386830"/>
                  <a:pt x="243065" y="3386520"/>
                </a:cubicBezTo>
                <a:cubicBezTo>
                  <a:pt x="241826" y="3386365"/>
                  <a:pt x="241103" y="3386830"/>
                  <a:pt x="241000" y="3384971"/>
                </a:cubicBezTo>
                <a:cubicBezTo>
                  <a:pt x="240587" y="3384351"/>
                  <a:pt x="240897" y="3383267"/>
                  <a:pt x="240381" y="3382493"/>
                </a:cubicBezTo>
                <a:cubicBezTo>
                  <a:pt x="240381" y="3382493"/>
                  <a:pt x="240794" y="3382028"/>
                  <a:pt x="241413" y="3381563"/>
                </a:cubicBezTo>
                <a:cubicBezTo>
                  <a:pt x="242033" y="3380944"/>
                  <a:pt x="242756" y="3380479"/>
                  <a:pt x="243375" y="3380634"/>
                </a:cubicBezTo>
                <a:close/>
                <a:moveTo>
                  <a:pt x="278379" y="3377226"/>
                </a:moveTo>
                <a:cubicBezTo>
                  <a:pt x="286950" y="3377071"/>
                  <a:pt x="288601" y="3382493"/>
                  <a:pt x="290873" y="3387449"/>
                </a:cubicBezTo>
                <a:cubicBezTo>
                  <a:pt x="287259" y="3388224"/>
                  <a:pt x="278172" y="3384197"/>
                  <a:pt x="278379" y="3377226"/>
                </a:cubicBezTo>
                <a:close/>
                <a:moveTo>
                  <a:pt x="324431" y="3372424"/>
                </a:moveTo>
                <a:cubicBezTo>
                  <a:pt x="327013" y="3378930"/>
                  <a:pt x="329697" y="3385435"/>
                  <a:pt x="327735" y="3389773"/>
                </a:cubicBezTo>
                <a:cubicBezTo>
                  <a:pt x="323398" y="3391322"/>
                  <a:pt x="319165" y="3391477"/>
                  <a:pt x="315345" y="3390082"/>
                </a:cubicBezTo>
                <a:lnTo>
                  <a:pt x="311215" y="3387604"/>
                </a:lnTo>
                <a:lnTo>
                  <a:pt x="312557" y="3389928"/>
                </a:lnTo>
                <a:cubicBezTo>
                  <a:pt x="312867" y="3392716"/>
                  <a:pt x="310182" y="3395039"/>
                  <a:pt x="309253" y="3398912"/>
                </a:cubicBezTo>
                <a:cubicBezTo>
                  <a:pt x="306981" y="3398137"/>
                  <a:pt x="305845" y="3395814"/>
                  <a:pt x="305432" y="3393645"/>
                </a:cubicBezTo>
                <a:cubicBezTo>
                  <a:pt x="305123" y="3391322"/>
                  <a:pt x="305639" y="3388998"/>
                  <a:pt x="307084" y="3387759"/>
                </a:cubicBezTo>
                <a:lnTo>
                  <a:pt x="310492" y="3387140"/>
                </a:lnTo>
                <a:lnTo>
                  <a:pt x="310182" y="3386985"/>
                </a:lnTo>
                <a:cubicBezTo>
                  <a:pt x="308530" y="3385435"/>
                  <a:pt x="307084" y="3383577"/>
                  <a:pt x="305845" y="3381254"/>
                </a:cubicBezTo>
                <a:cubicBezTo>
                  <a:pt x="307601" y="3373199"/>
                  <a:pt x="318649" y="3373199"/>
                  <a:pt x="324431" y="3372424"/>
                </a:cubicBezTo>
                <a:close/>
                <a:moveTo>
                  <a:pt x="291802" y="3370721"/>
                </a:moveTo>
                <a:cubicBezTo>
                  <a:pt x="292525" y="3370101"/>
                  <a:pt x="295003" y="3372424"/>
                  <a:pt x="294694" y="3373509"/>
                </a:cubicBezTo>
                <a:cubicBezTo>
                  <a:pt x="294591" y="3376607"/>
                  <a:pt x="291389" y="3376607"/>
                  <a:pt x="287982" y="3378001"/>
                </a:cubicBezTo>
                <a:cubicBezTo>
                  <a:pt x="288292" y="3376761"/>
                  <a:pt x="287156" y="3376607"/>
                  <a:pt x="285917" y="3376452"/>
                </a:cubicBezTo>
                <a:cubicBezTo>
                  <a:pt x="286433" y="3374593"/>
                  <a:pt x="286743" y="3371805"/>
                  <a:pt x="288911" y="3370875"/>
                </a:cubicBezTo>
                <a:cubicBezTo>
                  <a:pt x="289634" y="3370566"/>
                  <a:pt x="290563" y="3370411"/>
                  <a:pt x="291802" y="3370721"/>
                </a:cubicBezTo>
                <a:close/>
                <a:moveTo>
                  <a:pt x="338784" y="3361427"/>
                </a:moveTo>
                <a:cubicBezTo>
                  <a:pt x="339920" y="3361117"/>
                  <a:pt x="341262" y="3361427"/>
                  <a:pt x="343327" y="3362511"/>
                </a:cubicBezTo>
                <a:cubicBezTo>
                  <a:pt x="343327" y="3362511"/>
                  <a:pt x="344256" y="3363286"/>
                  <a:pt x="344256" y="3363286"/>
                </a:cubicBezTo>
                <a:lnTo>
                  <a:pt x="347355" y="3367778"/>
                </a:lnTo>
                <a:lnTo>
                  <a:pt x="349522" y="3368087"/>
                </a:lnTo>
                <a:cubicBezTo>
                  <a:pt x="351691" y="3372734"/>
                  <a:pt x="347044" y="3377226"/>
                  <a:pt x="342501" y="3377536"/>
                </a:cubicBezTo>
                <a:cubicBezTo>
                  <a:pt x="340953" y="3377536"/>
                  <a:pt x="339403" y="3377226"/>
                  <a:pt x="338164" y="3376142"/>
                </a:cubicBezTo>
                <a:cubicBezTo>
                  <a:pt x="337442" y="3374593"/>
                  <a:pt x="337545" y="3373199"/>
                  <a:pt x="338061" y="3371805"/>
                </a:cubicBezTo>
                <a:lnTo>
                  <a:pt x="339403" y="3370411"/>
                </a:lnTo>
                <a:lnTo>
                  <a:pt x="338061" y="3368552"/>
                </a:lnTo>
                <a:cubicBezTo>
                  <a:pt x="337442" y="3367158"/>
                  <a:pt x="336822" y="3365609"/>
                  <a:pt x="335480" y="3364215"/>
                </a:cubicBezTo>
                <a:cubicBezTo>
                  <a:pt x="336822" y="3362666"/>
                  <a:pt x="337751" y="3361736"/>
                  <a:pt x="338784" y="3361427"/>
                </a:cubicBezTo>
                <a:close/>
                <a:moveTo>
                  <a:pt x="254630" y="3355850"/>
                </a:moveTo>
                <a:cubicBezTo>
                  <a:pt x="257315" y="3353682"/>
                  <a:pt x="259173" y="3355541"/>
                  <a:pt x="262684" y="3357554"/>
                </a:cubicBezTo>
                <a:cubicBezTo>
                  <a:pt x="261755" y="3358329"/>
                  <a:pt x="264336" y="3361117"/>
                  <a:pt x="265266" y="3362046"/>
                </a:cubicBezTo>
                <a:cubicBezTo>
                  <a:pt x="263407" y="3363440"/>
                  <a:pt x="265988" y="3367158"/>
                  <a:pt x="263303" y="3369326"/>
                </a:cubicBezTo>
                <a:cubicBezTo>
                  <a:pt x="261548" y="3369171"/>
                  <a:pt x="260722" y="3369017"/>
                  <a:pt x="258967" y="3368087"/>
                </a:cubicBezTo>
                <a:cubicBezTo>
                  <a:pt x="252875" y="3360807"/>
                  <a:pt x="255559" y="3356780"/>
                  <a:pt x="254630" y="3355850"/>
                </a:cubicBezTo>
                <a:close/>
                <a:moveTo>
                  <a:pt x="388657" y="3355076"/>
                </a:moveTo>
                <a:cubicBezTo>
                  <a:pt x="390309" y="3356005"/>
                  <a:pt x="392064" y="3357090"/>
                  <a:pt x="393716" y="3358019"/>
                </a:cubicBezTo>
                <a:cubicBezTo>
                  <a:pt x="392890" y="3358019"/>
                  <a:pt x="394439" y="3365764"/>
                  <a:pt x="394439" y="3365764"/>
                </a:cubicBezTo>
                <a:lnTo>
                  <a:pt x="393096" y="3366538"/>
                </a:lnTo>
                <a:lnTo>
                  <a:pt x="396711" y="3367313"/>
                </a:lnTo>
                <a:cubicBezTo>
                  <a:pt x="401461" y="3369791"/>
                  <a:pt x="406107" y="3375677"/>
                  <a:pt x="404042" y="3378465"/>
                </a:cubicBezTo>
                <a:cubicBezTo>
                  <a:pt x="403113" y="3380014"/>
                  <a:pt x="400324" y="3380634"/>
                  <a:pt x="395059" y="3379704"/>
                </a:cubicBezTo>
                <a:lnTo>
                  <a:pt x="391032" y="3378775"/>
                </a:lnTo>
                <a:lnTo>
                  <a:pt x="391032" y="3379085"/>
                </a:lnTo>
                <a:cubicBezTo>
                  <a:pt x="391032" y="3380169"/>
                  <a:pt x="390619" y="3381254"/>
                  <a:pt x="389896" y="3382338"/>
                </a:cubicBezTo>
                <a:lnTo>
                  <a:pt x="385869" y="3385281"/>
                </a:lnTo>
                <a:lnTo>
                  <a:pt x="386385" y="3399531"/>
                </a:lnTo>
                <a:cubicBezTo>
                  <a:pt x="386901" y="3406502"/>
                  <a:pt x="387521" y="3413162"/>
                  <a:pt x="386901" y="3419358"/>
                </a:cubicBezTo>
                <a:lnTo>
                  <a:pt x="382978" y="3413627"/>
                </a:lnTo>
                <a:lnTo>
                  <a:pt x="382461" y="3414247"/>
                </a:lnTo>
                <a:cubicBezTo>
                  <a:pt x="381635" y="3417344"/>
                  <a:pt x="385766" y="3420597"/>
                  <a:pt x="381635" y="3423076"/>
                </a:cubicBezTo>
                <a:cubicBezTo>
                  <a:pt x="378951" y="3423230"/>
                  <a:pt x="376266" y="3424314"/>
                  <a:pt x="373271" y="3423540"/>
                </a:cubicBezTo>
                <a:cubicBezTo>
                  <a:pt x="372342" y="3423230"/>
                  <a:pt x="371413" y="3422766"/>
                  <a:pt x="370380" y="3421991"/>
                </a:cubicBezTo>
                <a:cubicBezTo>
                  <a:pt x="375130" y="3417035"/>
                  <a:pt x="376472" y="3412233"/>
                  <a:pt x="379570" y="3406966"/>
                </a:cubicBezTo>
                <a:lnTo>
                  <a:pt x="379983" y="3407121"/>
                </a:lnTo>
                <a:lnTo>
                  <a:pt x="378022" y="3399686"/>
                </a:lnTo>
                <a:lnTo>
                  <a:pt x="377505" y="3394575"/>
                </a:lnTo>
                <a:lnTo>
                  <a:pt x="377092" y="3395039"/>
                </a:lnTo>
                <a:cubicBezTo>
                  <a:pt x="369864" y="3397053"/>
                  <a:pt x="364185" y="3396898"/>
                  <a:pt x="361604" y="3390547"/>
                </a:cubicBezTo>
                <a:cubicBezTo>
                  <a:pt x="362843" y="3390237"/>
                  <a:pt x="362533" y="3388998"/>
                  <a:pt x="362326" y="3387914"/>
                </a:cubicBezTo>
                <a:cubicBezTo>
                  <a:pt x="363565" y="3386365"/>
                  <a:pt x="365424" y="3385590"/>
                  <a:pt x="367386" y="3385126"/>
                </a:cubicBezTo>
                <a:lnTo>
                  <a:pt x="371000" y="3385435"/>
                </a:lnTo>
                <a:lnTo>
                  <a:pt x="371413" y="3380944"/>
                </a:lnTo>
                <a:cubicBezTo>
                  <a:pt x="373271" y="3380634"/>
                  <a:pt x="374820" y="3380944"/>
                  <a:pt x="376059" y="3381563"/>
                </a:cubicBezTo>
                <a:lnTo>
                  <a:pt x="376266" y="3381718"/>
                </a:lnTo>
                <a:lnTo>
                  <a:pt x="375853" y="3376761"/>
                </a:lnTo>
                <a:cubicBezTo>
                  <a:pt x="377402" y="3377071"/>
                  <a:pt x="378744" y="3376761"/>
                  <a:pt x="380190" y="3376761"/>
                </a:cubicBezTo>
                <a:lnTo>
                  <a:pt x="382564" y="3377071"/>
                </a:lnTo>
                <a:lnTo>
                  <a:pt x="382668" y="3376142"/>
                </a:lnTo>
                <a:cubicBezTo>
                  <a:pt x="384630" y="3375057"/>
                  <a:pt x="386282" y="3374748"/>
                  <a:pt x="387521" y="3374748"/>
                </a:cubicBezTo>
                <a:lnTo>
                  <a:pt x="388760" y="3375368"/>
                </a:lnTo>
                <a:lnTo>
                  <a:pt x="388554" y="3371185"/>
                </a:lnTo>
                <a:cubicBezTo>
                  <a:pt x="388760" y="3369326"/>
                  <a:pt x="389276" y="3368087"/>
                  <a:pt x="390102" y="3367313"/>
                </a:cubicBezTo>
                <a:lnTo>
                  <a:pt x="391961" y="3366383"/>
                </a:lnTo>
                <a:lnTo>
                  <a:pt x="390102" y="3365299"/>
                </a:lnTo>
                <a:cubicBezTo>
                  <a:pt x="389276" y="3364370"/>
                  <a:pt x="388554" y="3362511"/>
                  <a:pt x="388140" y="3360343"/>
                </a:cubicBezTo>
                <a:cubicBezTo>
                  <a:pt x="387727" y="3358329"/>
                  <a:pt x="387830" y="3356160"/>
                  <a:pt x="388657" y="3355076"/>
                </a:cubicBezTo>
                <a:close/>
                <a:moveTo>
                  <a:pt x="129896" y="3353682"/>
                </a:moveTo>
                <a:cubicBezTo>
                  <a:pt x="131032" y="3353837"/>
                  <a:pt x="132685" y="3355386"/>
                  <a:pt x="133304" y="3355541"/>
                </a:cubicBezTo>
                <a:cubicBezTo>
                  <a:pt x="134130" y="3356470"/>
                  <a:pt x="135059" y="3357400"/>
                  <a:pt x="134130" y="3358019"/>
                </a:cubicBezTo>
                <a:cubicBezTo>
                  <a:pt x="133304" y="3358793"/>
                  <a:pt x="133201" y="3359568"/>
                  <a:pt x="131446" y="3358639"/>
                </a:cubicBezTo>
                <a:cubicBezTo>
                  <a:pt x="130619" y="3358484"/>
                  <a:pt x="129793" y="3357554"/>
                  <a:pt x="128864" y="3357554"/>
                </a:cubicBezTo>
                <a:cubicBezTo>
                  <a:pt x="128864" y="3357554"/>
                  <a:pt x="128657" y="3356935"/>
                  <a:pt x="128554" y="3356160"/>
                </a:cubicBezTo>
                <a:cubicBezTo>
                  <a:pt x="128451" y="3355386"/>
                  <a:pt x="128554" y="3354611"/>
                  <a:pt x="128967" y="3354146"/>
                </a:cubicBezTo>
                <a:cubicBezTo>
                  <a:pt x="129174" y="3353837"/>
                  <a:pt x="129484" y="3353682"/>
                  <a:pt x="129896" y="3353682"/>
                </a:cubicBezTo>
                <a:close/>
                <a:moveTo>
                  <a:pt x="6794942" y="3353001"/>
                </a:moveTo>
                <a:cubicBezTo>
                  <a:pt x="6810122" y="3361262"/>
                  <a:pt x="6807953" y="3370968"/>
                  <a:pt x="6810122" y="3371897"/>
                </a:cubicBezTo>
                <a:cubicBezTo>
                  <a:pt x="6808418" y="3375201"/>
                  <a:pt x="6806559" y="3376337"/>
                  <a:pt x="6804236" y="3376544"/>
                </a:cubicBezTo>
                <a:cubicBezTo>
                  <a:pt x="6801912" y="3376854"/>
                  <a:pt x="6798969" y="3376131"/>
                  <a:pt x="6795252" y="3375718"/>
                </a:cubicBezTo>
                <a:cubicBezTo>
                  <a:pt x="6796336" y="3373550"/>
                  <a:pt x="6790140" y="3370762"/>
                  <a:pt x="6787972" y="3369729"/>
                </a:cubicBezTo>
                <a:cubicBezTo>
                  <a:pt x="6790140" y="3365392"/>
                  <a:pt x="6783325" y="3360952"/>
                  <a:pt x="6786578" y="3354447"/>
                </a:cubicBezTo>
                <a:cubicBezTo>
                  <a:pt x="6789676" y="3353311"/>
                  <a:pt x="6791225" y="3352589"/>
                  <a:pt x="6794942" y="3353001"/>
                </a:cubicBezTo>
                <a:close/>
                <a:moveTo>
                  <a:pt x="286433" y="3351358"/>
                </a:moveTo>
                <a:cubicBezTo>
                  <a:pt x="289427" y="3353372"/>
                  <a:pt x="290150" y="3354301"/>
                  <a:pt x="291080" y="3357864"/>
                </a:cubicBezTo>
                <a:cubicBezTo>
                  <a:pt x="287362" y="3362356"/>
                  <a:pt x="282716" y="3363440"/>
                  <a:pt x="277966" y="3364525"/>
                </a:cubicBezTo>
                <a:cubicBezTo>
                  <a:pt x="275694" y="3362976"/>
                  <a:pt x="274765" y="3361582"/>
                  <a:pt x="274765" y="3360343"/>
                </a:cubicBezTo>
                <a:cubicBezTo>
                  <a:pt x="274558" y="3356625"/>
                  <a:pt x="282509" y="3353992"/>
                  <a:pt x="286433" y="3351358"/>
                </a:cubicBezTo>
                <a:close/>
                <a:moveTo>
                  <a:pt x="6547728" y="3347735"/>
                </a:moveTo>
                <a:cubicBezTo>
                  <a:pt x="6544630" y="3348252"/>
                  <a:pt x="6541067" y="3348561"/>
                  <a:pt x="6537040" y="3349594"/>
                </a:cubicBezTo>
                <a:cubicBezTo>
                  <a:pt x="6537969" y="3355583"/>
                  <a:pt x="6539053" y="3360023"/>
                  <a:pt x="6539208" y="3364050"/>
                </a:cubicBezTo>
                <a:lnTo>
                  <a:pt x="6538434" y="3368800"/>
                </a:lnTo>
                <a:lnTo>
                  <a:pt x="6550516" y="3368800"/>
                </a:lnTo>
                <a:cubicBezTo>
                  <a:pt x="6559345" y="3368593"/>
                  <a:pt x="6567864" y="3368903"/>
                  <a:pt x="6575764" y="3369109"/>
                </a:cubicBezTo>
                <a:lnTo>
                  <a:pt x="6598998" y="3370658"/>
                </a:lnTo>
                <a:lnTo>
                  <a:pt x="6604575" y="3367767"/>
                </a:lnTo>
                <a:cubicBezTo>
                  <a:pt x="6607053" y="3367148"/>
                  <a:pt x="6609841" y="3367457"/>
                  <a:pt x="6613094" y="3369832"/>
                </a:cubicBezTo>
                <a:lnTo>
                  <a:pt x="6615727" y="3373550"/>
                </a:lnTo>
                <a:lnTo>
                  <a:pt x="6625176" y="3375305"/>
                </a:lnTo>
                <a:cubicBezTo>
                  <a:pt x="6632611" y="3376854"/>
                  <a:pt x="6640511" y="3379332"/>
                  <a:pt x="6647481" y="3382223"/>
                </a:cubicBezTo>
                <a:lnTo>
                  <a:pt x="6653057" y="3384804"/>
                </a:lnTo>
                <a:lnTo>
                  <a:pt x="6658324" y="3381397"/>
                </a:lnTo>
                <a:lnTo>
                  <a:pt x="6656775" y="3380571"/>
                </a:lnTo>
                <a:lnTo>
                  <a:pt x="6653057" y="3378299"/>
                </a:lnTo>
                <a:lnTo>
                  <a:pt x="6651973" y="3378299"/>
                </a:lnTo>
                <a:lnTo>
                  <a:pt x="6652128" y="3377783"/>
                </a:lnTo>
                <a:lnTo>
                  <a:pt x="6651508" y="3377267"/>
                </a:lnTo>
                <a:cubicBezTo>
                  <a:pt x="6649649" y="3376440"/>
                  <a:pt x="6647946" y="3375924"/>
                  <a:pt x="6646087" y="3375718"/>
                </a:cubicBezTo>
                <a:cubicBezTo>
                  <a:pt x="6643299" y="3375615"/>
                  <a:pt x="6640046" y="3374582"/>
                  <a:pt x="6636638" y="3373550"/>
                </a:cubicBezTo>
                <a:cubicBezTo>
                  <a:pt x="6632921" y="3371691"/>
                  <a:pt x="6629048" y="3370452"/>
                  <a:pt x="6625021" y="3369213"/>
                </a:cubicBezTo>
                <a:cubicBezTo>
                  <a:pt x="6621148" y="3367973"/>
                  <a:pt x="6617431" y="3366115"/>
                  <a:pt x="6612939" y="3364772"/>
                </a:cubicBezTo>
                <a:cubicBezTo>
                  <a:pt x="6608912" y="3363533"/>
                  <a:pt x="6604420" y="3362088"/>
                  <a:pt x="6600237" y="3361571"/>
                </a:cubicBezTo>
                <a:cubicBezTo>
                  <a:pt x="6599928" y="3360229"/>
                  <a:pt x="6599618" y="3359197"/>
                  <a:pt x="6599153" y="3358371"/>
                </a:cubicBezTo>
                <a:lnTo>
                  <a:pt x="6597449" y="3356305"/>
                </a:lnTo>
                <a:lnTo>
                  <a:pt x="6587691" y="3354550"/>
                </a:lnTo>
                <a:cubicBezTo>
                  <a:pt x="6584438" y="3353724"/>
                  <a:pt x="6581340" y="3352692"/>
                  <a:pt x="6578242" y="3351866"/>
                </a:cubicBezTo>
                <a:cubicBezTo>
                  <a:pt x="6571581" y="3350523"/>
                  <a:pt x="6564921" y="3348458"/>
                  <a:pt x="6558570" y="3347942"/>
                </a:cubicBezTo>
                <a:cubicBezTo>
                  <a:pt x="6555008" y="3347632"/>
                  <a:pt x="6551600" y="3347322"/>
                  <a:pt x="6547728" y="3347735"/>
                </a:cubicBezTo>
                <a:close/>
                <a:moveTo>
                  <a:pt x="239452" y="3345163"/>
                </a:moveTo>
                <a:cubicBezTo>
                  <a:pt x="243685" y="3349500"/>
                  <a:pt x="242136" y="3353682"/>
                  <a:pt x="238316" y="3356470"/>
                </a:cubicBezTo>
                <a:cubicBezTo>
                  <a:pt x="231811" y="3361272"/>
                  <a:pt x="219110" y="3362666"/>
                  <a:pt x="216322" y="3354921"/>
                </a:cubicBezTo>
                <a:cubicBezTo>
                  <a:pt x="218800" y="3352288"/>
                  <a:pt x="221898" y="3349810"/>
                  <a:pt x="225615" y="3348106"/>
                </a:cubicBezTo>
                <a:cubicBezTo>
                  <a:pt x="229436" y="3346247"/>
                  <a:pt x="233876" y="3345163"/>
                  <a:pt x="239452" y="3345163"/>
                </a:cubicBezTo>
                <a:close/>
                <a:moveTo>
                  <a:pt x="253288" y="3343304"/>
                </a:moveTo>
                <a:cubicBezTo>
                  <a:pt x="254940" y="3345163"/>
                  <a:pt x="253184" y="3347486"/>
                  <a:pt x="252256" y="3347331"/>
                </a:cubicBezTo>
                <a:cubicBezTo>
                  <a:pt x="251429" y="3346402"/>
                  <a:pt x="251429" y="3344698"/>
                  <a:pt x="250603" y="3343768"/>
                </a:cubicBezTo>
                <a:cubicBezTo>
                  <a:pt x="251532" y="3343924"/>
                  <a:pt x="252359" y="3343149"/>
                  <a:pt x="253288" y="3343304"/>
                </a:cubicBezTo>
                <a:close/>
                <a:moveTo>
                  <a:pt x="304296" y="3339741"/>
                </a:moveTo>
                <a:cubicBezTo>
                  <a:pt x="303780" y="3340361"/>
                  <a:pt x="303677" y="3342220"/>
                  <a:pt x="302438" y="3342529"/>
                </a:cubicBezTo>
                <a:cubicBezTo>
                  <a:pt x="301302" y="3342684"/>
                  <a:pt x="301302" y="3342684"/>
                  <a:pt x="299753" y="3341755"/>
                </a:cubicBezTo>
                <a:cubicBezTo>
                  <a:pt x="300786" y="3340825"/>
                  <a:pt x="301302" y="3340516"/>
                  <a:pt x="301921" y="3340206"/>
                </a:cubicBezTo>
                <a:cubicBezTo>
                  <a:pt x="302438" y="3340051"/>
                  <a:pt x="303057" y="3339896"/>
                  <a:pt x="304296" y="3339741"/>
                </a:cubicBezTo>
                <a:close/>
                <a:moveTo>
                  <a:pt x="305535" y="3337728"/>
                </a:moveTo>
                <a:cubicBezTo>
                  <a:pt x="306258" y="3338192"/>
                  <a:pt x="305845" y="3338967"/>
                  <a:pt x="304709" y="3339277"/>
                </a:cubicBezTo>
                <a:cubicBezTo>
                  <a:pt x="304709" y="3339277"/>
                  <a:pt x="303987" y="3338812"/>
                  <a:pt x="303987" y="3338812"/>
                </a:cubicBezTo>
                <a:cubicBezTo>
                  <a:pt x="304193" y="3338347"/>
                  <a:pt x="304399" y="3338037"/>
                  <a:pt x="304709" y="3337882"/>
                </a:cubicBezTo>
                <a:cubicBezTo>
                  <a:pt x="304916" y="3337573"/>
                  <a:pt x="305226" y="3337573"/>
                  <a:pt x="305535" y="3337728"/>
                </a:cubicBezTo>
                <a:close/>
                <a:moveTo>
                  <a:pt x="360468" y="3336179"/>
                </a:moveTo>
                <a:cubicBezTo>
                  <a:pt x="362843" y="3336489"/>
                  <a:pt x="363668" y="3337882"/>
                  <a:pt x="363359" y="3338967"/>
                </a:cubicBezTo>
                <a:cubicBezTo>
                  <a:pt x="362223" y="3348570"/>
                  <a:pt x="353756" y="3350119"/>
                  <a:pt x="352724" y="3351823"/>
                </a:cubicBezTo>
                <a:cubicBezTo>
                  <a:pt x="350039" y="3351358"/>
                  <a:pt x="349419" y="3351358"/>
                  <a:pt x="349729" y="3348570"/>
                </a:cubicBezTo>
                <a:cubicBezTo>
                  <a:pt x="349832" y="3347641"/>
                  <a:pt x="349936" y="3346402"/>
                  <a:pt x="350245" y="3344853"/>
                </a:cubicBezTo>
                <a:cubicBezTo>
                  <a:pt x="350555" y="3343614"/>
                  <a:pt x="351071" y="3342529"/>
                  <a:pt x="352001" y="3341600"/>
                </a:cubicBezTo>
                <a:cubicBezTo>
                  <a:pt x="352827" y="3340671"/>
                  <a:pt x="353963" y="3339896"/>
                  <a:pt x="355202" y="3339586"/>
                </a:cubicBezTo>
                <a:cubicBezTo>
                  <a:pt x="356234" y="3337882"/>
                  <a:pt x="358506" y="3336489"/>
                  <a:pt x="360468" y="3336179"/>
                </a:cubicBezTo>
                <a:close/>
                <a:moveTo>
                  <a:pt x="307807" y="3334320"/>
                </a:moveTo>
                <a:cubicBezTo>
                  <a:pt x="307807" y="3334320"/>
                  <a:pt x="308014" y="3335404"/>
                  <a:pt x="308014" y="3335404"/>
                </a:cubicBezTo>
                <a:cubicBezTo>
                  <a:pt x="306878" y="3335714"/>
                  <a:pt x="307497" y="3336179"/>
                  <a:pt x="306155" y="3335249"/>
                </a:cubicBezTo>
                <a:cubicBezTo>
                  <a:pt x="307291" y="3334939"/>
                  <a:pt x="307394" y="3334939"/>
                  <a:pt x="307807" y="3334320"/>
                </a:cubicBezTo>
                <a:close/>
                <a:moveTo>
                  <a:pt x="109658" y="3334165"/>
                </a:moveTo>
                <a:cubicBezTo>
                  <a:pt x="111311" y="3333546"/>
                  <a:pt x="113272" y="3333701"/>
                  <a:pt x="115957" y="3335404"/>
                </a:cubicBezTo>
                <a:cubicBezTo>
                  <a:pt x="116370" y="3339896"/>
                  <a:pt x="113582" y="3340051"/>
                  <a:pt x="110794" y="3340206"/>
                </a:cubicBezTo>
                <a:cubicBezTo>
                  <a:pt x="111207" y="3338037"/>
                  <a:pt x="109039" y="3337263"/>
                  <a:pt x="108935" y="3335869"/>
                </a:cubicBezTo>
                <a:cubicBezTo>
                  <a:pt x="108832" y="3335404"/>
                  <a:pt x="109039" y="3334785"/>
                  <a:pt x="109658" y="3334165"/>
                </a:cubicBezTo>
                <a:close/>
                <a:moveTo>
                  <a:pt x="6640820" y="3330182"/>
                </a:moveTo>
                <a:lnTo>
                  <a:pt x="6642834" y="3335345"/>
                </a:lnTo>
                <a:cubicBezTo>
                  <a:pt x="6642834" y="3337100"/>
                  <a:pt x="6642059" y="3338649"/>
                  <a:pt x="6640820" y="3340198"/>
                </a:cubicBezTo>
                <a:lnTo>
                  <a:pt x="6632301" y="3349078"/>
                </a:lnTo>
                <a:lnTo>
                  <a:pt x="6632921" y="3349078"/>
                </a:lnTo>
                <a:cubicBezTo>
                  <a:pt x="6634469" y="3351039"/>
                  <a:pt x="6632921" y="3351349"/>
                  <a:pt x="6632146" y="3353414"/>
                </a:cubicBezTo>
                <a:cubicBezTo>
                  <a:pt x="6634779" y="3354137"/>
                  <a:pt x="6636948" y="3352589"/>
                  <a:pt x="6637103" y="3349594"/>
                </a:cubicBezTo>
                <a:cubicBezTo>
                  <a:pt x="6638187" y="3351039"/>
                  <a:pt x="6640046" y="3351969"/>
                  <a:pt x="6642369" y="3352795"/>
                </a:cubicBezTo>
                <a:lnTo>
                  <a:pt x="6643918" y="3353208"/>
                </a:lnTo>
                <a:lnTo>
                  <a:pt x="6646706" y="3352589"/>
                </a:lnTo>
                <a:cubicBezTo>
                  <a:pt x="6647636" y="3353208"/>
                  <a:pt x="6647946" y="3353724"/>
                  <a:pt x="6647791" y="3354240"/>
                </a:cubicBezTo>
                <a:lnTo>
                  <a:pt x="6647636" y="3354344"/>
                </a:lnTo>
                <a:lnTo>
                  <a:pt x="6649649" y="3354963"/>
                </a:lnTo>
                <a:lnTo>
                  <a:pt x="6652902" y="3356305"/>
                </a:lnTo>
                <a:lnTo>
                  <a:pt x="6652128" y="3355789"/>
                </a:lnTo>
                <a:cubicBezTo>
                  <a:pt x="6655381" y="3356202"/>
                  <a:pt x="6657239" y="3358784"/>
                  <a:pt x="6661112" y="3359403"/>
                </a:cubicBezTo>
                <a:lnTo>
                  <a:pt x="6662196" y="3359300"/>
                </a:lnTo>
                <a:lnTo>
                  <a:pt x="6662970" y="3359094"/>
                </a:lnTo>
                <a:lnTo>
                  <a:pt x="6663590" y="3359197"/>
                </a:lnTo>
                <a:lnTo>
                  <a:pt x="6665603" y="3359197"/>
                </a:lnTo>
                <a:cubicBezTo>
                  <a:pt x="6668547" y="3354860"/>
                  <a:pt x="6659563" y="3355789"/>
                  <a:pt x="6664829" y="3352898"/>
                </a:cubicBezTo>
                <a:cubicBezTo>
                  <a:pt x="6660492" y="3350833"/>
                  <a:pt x="6656929" y="3348252"/>
                  <a:pt x="6653522" y="3345670"/>
                </a:cubicBezTo>
                <a:cubicBezTo>
                  <a:pt x="6650889" y="3342572"/>
                  <a:pt x="6647481" y="3339991"/>
                  <a:pt x="6643918" y="3337410"/>
                </a:cubicBezTo>
                <a:cubicBezTo>
                  <a:pt x="6646706" y="3333796"/>
                  <a:pt x="6660337" y="3347013"/>
                  <a:pt x="6664984" y="3341643"/>
                </a:cubicBezTo>
                <a:cubicBezTo>
                  <a:pt x="6662041" y="3337720"/>
                  <a:pt x="6657859" y="3334932"/>
                  <a:pt x="6652592" y="3333279"/>
                </a:cubicBezTo>
                <a:close/>
                <a:moveTo>
                  <a:pt x="217768" y="3329828"/>
                </a:moveTo>
                <a:cubicBezTo>
                  <a:pt x="220143" y="3328279"/>
                  <a:pt x="224376" y="3330602"/>
                  <a:pt x="225099" y="3333081"/>
                </a:cubicBezTo>
                <a:cubicBezTo>
                  <a:pt x="223550" y="3336798"/>
                  <a:pt x="217974" y="3336179"/>
                  <a:pt x="216116" y="3332926"/>
                </a:cubicBezTo>
                <a:cubicBezTo>
                  <a:pt x="216322" y="3331377"/>
                  <a:pt x="216942" y="3330447"/>
                  <a:pt x="217768" y="3329828"/>
                </a:cubicBezTo>
                <a:close/>
                <a:moveTo>
                  <a:pt x="377918" y="3326265"/>
                </a:moveTo>
                <a:cubicBezTo>
                  <a:pt x="381222" y="3327350"/>
                  <a:pt x="383907" y="3329983"/>
                  <a:pt x="385662" y="3335869"/>
                </a:cubicBezTo>
                <a:cubicBezTo>
                  <a:pt x="380086" y="3342529"/>
                  <a:pt x="375647" y="3339277"/>
                  <a:pt x="371310" y="3336024"/>
                </a:cubicBezTo>
                <a:cubicBezTo>
                  <a:pt x="375956" y="3332461"/>
                  <a:pt x="370484" y="3327040"/>
                  <a:pt x="377918" y="3326265"/>
                </a:cubicBezTo>
                <a:close/>
                <a:moveTo>
                  <a:pt x="317100" y="3324871"/>
                </a:moveTo>
                <a:cubicBezTo>
                  <a:pt x="316274" y="3326265"/>
                  <a:pt x="310698" y="3333235"/>
                  <a:pt x="307910" y="3334320"/>
                </a:cubicBezTo>
                <a:cubicBezTo>
                  <a:pt x="310905" y="3331377"/>
                  <a:pt x="313176" y="3326111"/>
                  <a:pt x="317100" y="3324871"/>
                </a:cubicBezTo>
                <a:close/>
                <a:moveTo>
                  <a:pt x="245750" y="3323942"/>
                </a:moveTo>
                <a:cubicBezTo>
                  <a:pt x="243169" y="3326730"/>
                  <a:pt x="240691" y="3329518"/>
                  <a:pt x="237593" y="3331842"/>
                </a:cubicBezTo>
                <a:cubicBezTo>
                  <a:pt x="234598" y="3334165"/>
                  <a:pt x="230984" y="3336024"/>
                  <a:pt x="225925" y="3336643"/>
                </a:cubicBezTo>
                <a:cubicBezTo>
                  <a:pt x="225822" y="3331687"/>
                  <a:pt x="229126" y="3328434"/>
                  <a:pt x="233256" y="3326575"/>
                </a:cubicBezTo>
                <a:cubicBezTo>
                  <a:pt x="237386" y="3324561"/>
                  <a:pt x="242343" y="3323942"/>
                  <a:pt x="245750" y="3323942"/>
                </a:cubicBezTo>
                <a:close/>
                <a:moveTo>
                  <a:pt x="6539363" y="3323677"/>
                </a:moveTo>
                <a:cubicBezTo>
                  <a:pt x="6543545" y="3329046"/>
                  <a:pt x="6547882" y="3334519"/>
                  <a:pt x="6542306" y="3339062"/>
                </a:cubicBezTo>
                <a:cubicBezTo>
                  <a:pt x="6536265" y="3338649"/>
                  <a:pt x="6532703" y="3333589"/>
                  <a:pt x="6535026" y="3328530"/>
                </a:cubicBezTo>
                <a:cubicBezTo>
                  <a:pt x="6535800" y="3326878"/>
                  <a:pt x="6537195" y="3325226"/>
                  <a:pt x="6539363" y="3323677"/>
                </a:cubicBezTo>
                <a:close/>
                <a:moveTo>
                  <a:pt x="169857" y="3318210"/>
                </a:moveTo>
                <a:cubicBezTo>
                  <a:pt x="173264" y="3319760"/>
                  <a:pt x="172438" y="3318985"/>
                  <a:pt x="175020" y="3322083"/>
                </a:cubicBezTo>
                <a:cubicBezTo>
                  <a:pt x="173161" y="3323942"/>
                  <a:pt x="171302" y="3325646"/>
                  <a:pt x="169444" y="3327350"/>
                </a:cubicBezTo>
                <a:cubicBezTo>
                  <a:pt x="168618" y="3325801"/>
                  <a:pt x="166965" y="3325026"/>
                  <a:pt x="166036" y="3324252"/>
                </a:cubicBezTo>
                <a:cubicBezTo>
                  <a:pt x="166140" y="3321773"/>
                  <a:pt x="167069" y="3320069"/>
                  <a:pt x="169857" y="3318210"/>
                </a:cubicBezTo>
                <a:close/>
                <a:moveTo>
                  <a:pt x="541889" y="3318056"/>
                </a:moveTo>
                <a:cubicBezTo>
                  <a:pt x="542818" y="3320224"/>
                  <a:pt x="543954" y="3320844"/>
                  <a:pt x="543128" y="3320999"/>
                </a:cubicBezTo>
                <a:cubicBezTo>
                  <a:pt x="543438" y="3321773"/>
                  <a:pt x="542715" y="3322083"/>
                  <a:pt x="542405" y="3321309"/>
                </a:cubicBezTo>
                <a:cubicBezTo>
                  <a:pt x="541373" y="3321154"/>
                  <a:pt x="541166" y="3320534"/>
                  <a:pt x="541166" y="3319914"/>
                </a:cubicBezTo>
                <a:cubicBezTo>
                  <a:pt x="541269" y="3319295"/>
                  <a:pt x="541682" y="3318521"/>
                  <a:pt x="541889" y="3318056"/>
                </a:cubicBezTo>
                <a:close/>
                <a:moveTo>
                  <a:pt x="6697358" y="3317171"/>
                </a:moveTo>
                <a:lnTo>
                  <a:pt x="6697667" y="3318101"/>
                </a:lnTo>
                <a:lnTo>
                  <a:pt x="6697822" y="3317791"/>
                </a:lnTo>
                <a:close/>
                <a:moveTo>
                  <a:pt x="325464" y="3315113"/>
                </a:moveTo>
                <a:cubicBezTo>
                  <a:pt x="325360" y="3316971"/>
                  <a:pt x="324431" y="3320069"/>
                  <a:pt x="322159" y="3320379"/>
                </a:cubicBezTo>
                <a:cubicBezTo>
                  <a:pt x="322159" y="3320379"/>
                  <a:pt x="322159" y="3320379"/>
                  <a:pt x="321024" y="3320689"/>
                </a:cubicBezTo>
                <a:cubicBezTo>
                  <a:pt x="322263" y="3318675"/>
                  <a:pt x="323915" y="3316042"/>
                  <a:pt x="325464" y="3315113"/>
                </a:cubicBezTo>
                <a:close/>
                <a:moveTo>
                  <a:pt x="6695808" y="3313558"/>
                </a:moveTo>
                <a:cubicBezTo>
                  <a:pt x="6693175" y="3313351"/>
                  <a:pt x="6686515" y="3312112"/>
                  <a:pt x="6684811" y="3313970"/>
                </a:cubicBezTo>
                <a:lnTo>
                  <a:pt x="6684656" y="3314590"/>
                </a:lnTo>
                <a:lnTo>
                  <a:pt x="6691161" y="3316655"/>
                </a:lnTo>
                <a:lnTo>
                  <a:pt x="6697358" y="3316965"/>
                </a:lnTo>
                <a:lnTo>
                  <a:pt x="6696428" y="3315726"/>
                </a:lnTo>
                <a:cubicBezTo>
                  <a:pt x="6695963" y="3315210"/>
                  <a:pt x="6695499" y="3314590"/>
                  <a:pt x="6695808" y="3313558"/>
                </a:cubicBezTo>
                <a:close/>
                <a:moveTo>
                  <a:pt x="331350" y="3310776"/>
                </a:moveTo>
                <a:cubicBezTo>
                  <a:pt x="334034" y="3310466"/>
                  <a:pt x="337132" y="3311240"/>
                  <a:pt x="339920" y="3312479"/>
                </a:cubicBezTo>
                <a:lnTo>
                  <a:pt x="341468" y="3313564"/>
                </a:lnTo>
                <a:lnTo>
                  <a:pt x="342088" y="3313719"/>
                </a:lnTo>
                <a:lnTo>
                  <a:pt x="343017" y="3314648"/>
                </a:lnTo>
                <a:lnTo>
                  <a:pt x="346838" y="3317126"/>
                </a:lnTo>
                <a:cubicBezTo>
                  <a:pt x="347148" y="3321154"/>
                  <a:pt x="345909" y="3323632"/>
                  <a:pt x="343947" y="3325026"/>
                </a:cubicBezTo>
                <a:cubicBezTo>
                  <a:pt x="338164" y="3328899"/>
                  <a:pt x="325670" y="3322393"/>
                  <a:pt x="326496" y="3313099"/>
                </a:cubicBezTo>
                <a:cubicBezTo>
                  <a:pt x="327839" y="3311860"/>
                  <a:pt x="329491" y="3311086"/>
                  <a:pt x="331350" y="3310776"/>
                </a:cubicBezTo>
                <a:close/>
                <a:moveTo>
                  <a:pt x="6681248" y="3309737"/>
                </a:moveTo>
                <a:lnTo>
                  <a:pt x="6677376" y="3311905"/>
                </a:lnTo>
                <a:lnTo>
                  <a:pt x="6678305" y="3311905"/>
                </a:lnTo>
                <a:lnTo>
                  <a:pt x="6682023" y="3313454"/>
                </a:lnTo>
                <a:lnTo>
                  <a:pt x="6682023" y="3312319"/>
                </a:lnTo>
                <a:cubicBezTo>
                  <a:pt x="6681868" y="3311389"/>
                  <a:pt x="6681713" y="3310460"/>
                  <a:pt x="6681248" y="3309737"/>
                </a:cubicBezTo>
                <a:close/>
                <a:moveTo>
                  <a:pt x="6673348" y="3309531"/>
                </a:moveTo>
                <a:cubicBezTo>
                  <a:pt x="6672109" y="3309944"/>
                  <a:pt x="6671180" y="3310563"/>
                  <a:pt x="6670250" y="3311389"/>
                </a:cubicBezTo>
                <a:lnTo>
                  <a:pt x="6668702" y="3312835"/>
                </a:lnTo>
                <a:lnTo>
                  <a:pt x="6670870" y="3314074"/>
                </a:lnTo>
                <a:cubicBezTo>
                  <a:pt x="6672419" y="3313764"/>
                  <a:pt x="6674897" y="3313041"/>
                  <a:pt x="6673039" y="3311802"/>
                </a:cubicBezTo>
                <a:lnTo>
                  <a:pt x="6675982" y="3311802"/>
                </a:lnTo>
                <a:lnTo>
                  <a:pt x="6675362" y="3311596"/>
                </a:lnTo>
                <a:cubicBezTo>
                  <a:pt x="6674743" y="3311183"/>
                  <a:pt x="6673968" y="3310563"/>
                  <a:pt x="6673348" y="3309531"/>
                </a:cubicBezTo>
                <a:close/>
                <a:moveTo>
                  <a:pt x="257934" y="3307523"/>
                </a:moveTo>
                <a:cubicBezTo>
                  <a:pt x="260413" y="3307833"/>
                  <a:pt x="264956" y="3311086"/>
                  <a:pt x="264749" y="3315267"/>
                </a:cubicBezTo>
                <a:cubicBezTo>
                  <a:pt x="260413" y="3318985"/>
                  <a:pt x="257212" y="3317746"/>
                  <a:pt x="254837" y="3313099"/>
                </a:cubicBezTo>
                <a:cubicBezTo>
                  <a:pt x="256076" y="3311550"/>
                  <a:pt x="256489" y="3309846"/>
                  <a:pt x="257934" y="3307523"/>
                </a:cubicBezTo>
                <a:close/>
                <a:moveTo>
                  <a:pt x="586392" y="3304115"/>
                </a:moveTo>
                <a:lnTo>
                  <a:pt x="585876" y="3305509"/>
                </a:lnTo>
                <a:cubicBezTo>
                  <a:pt x="585256" y="3307678"/>
                  <a:pt x="584533" y="3309691"/>
                  <a:pt x="583501" y="3311395"/>
                </a:cubicBezTo>
                <a:lnTo>
                  <a:pt x="579784" y="3314183"/>
                </a:lnTo>
                <a:lnTo>
                  <a:pt x="579681" y="3314338"/>
                </a:lnTo>
                <a:lnTo>
                  <a:pt x="576893" y="3321928"/>
                </a:lnTo>
                <a:lnTo>
                  <a:pt x="581952" y="3323168"/>
                </a:lnTo>
                <a:lnTo>
                  <a:pt x="582262" y="3323322"/>
                </a:lnTo>
                <a:lnTo>
                  <a:pt x="587735" y="3305664"/>
                </a:lnTo>
                <a:close/>
                <a:moveTo>
                  <a:pt x="6627344" y="3303645"/>
                </a:moveTo>
                <a:lnTo>
                  <a:pt x="6627035" y="3303748"/>
                </a:lnTo>
                <a:lnTo>
                  <a:pt x="6627344" y="3303852"/>
                </a:lnTo>
                <a:close/>
                <a:moveTo>
                  <a:pt x="6553768" y="3302819"/>
                </a:moveTo>
                <a:cubicBezTo>
                  <a:pt x="6551290" y="3305813"/>
                  <a:pt x="6544939" y="3305400"/>
                  <a:pt x="6543855" y="3310357"/>
                </a:cubicBezTo>
                <a:cubicBezTo>
                  <a:pt x="6537504" y="3309840"/>
                  <a:pt x="6547263" y="3306846"/>
                  <a:pt x="6542771" y="3303129"/>
                </a:cubicBezTo>
                <a:cubicBezTo>
                  <a:pt x="6536730" y="3303542"/>
                  <a:pt x="6529760" y="3311183"/>
                  <a:pt x="6524183" y="3308704"/>
                </a:cubicBezTo>
                <a:cubicBezTo>
                  <a:pt x="6524183" y="3308704"/>
                  <a:pt x="6523564" y="3304058"/>
                  <a:pt x="6522634" y="3304574"/>
                </a:cubicBezTo>
                <a:cubicBezTo>
                  <a:pt x="6518917" y="3304884"/>
                  <a:pt x="6516903" y="3308808"/>
                  <a:pt x="6512411" y="3308911"/>
                </a:cubicBezTo>
                <a:cubicBezTo>
                  <a:pt x="6512411" y="3308911"/>
                  <a:pt x="6513341" y="3306226"/>
                  <a:pt x="6514115" y="3306433"/>
                </a:cubicBezTo>
                <a:cubicBezTo>
                  <a:pt x="6511792" y="3306433"/>
                  <a:pt x="6507145" y="3309531"/>
                  <a:pt x="6504976" y="3309531"/>
                </a:cubicBezTo>
                <a:cubicBezTo>
                  <a:pt x="6500484" y="3309737"/>
                  <a:pt x="6495992" y="3303852"/>
                  <a:pt x="6490726" y="3304471"/>
                </a:cubicBezTo>
                <a:cubicBezTo>
                  <a:pt x="6486079" y="3305297"/>
                  <a:pt x="6483136" y="3311905"/>
                  <a:pt x="6479109" y="3312938"/>
                </a:cubicBezTo>
                <a:cubicBezTo>
                  <a:pt x="6475236" y="3313970"/>
                  <a:pt x="6471209" y="3312731"/>
                  <a:pt x="6467956" y="3311802"/>
                </a:cubicBezTo>
                <a:cubicBezTo>
                  <a:pt x="6465943" y="3311183"/>
                  <a:pt x="6464394" y="3311389"/>
                  <a:pt x="6462844" y="3311699"/>
                </a:cubicBezTo>
                <a:cubicBezTo>
                  <a:pt x="6462225" y="3311492"/>
                  <a:pt x="6461606" y="3311286"/>
                  <a:pt x="6461606" y="3311286"/>
                </a:cubicBezTo>
                <a:cubicBezTo>
                  <a:pt x="6460676" y="3311699"/>
                  <a:pt x="6460676" y="3311699"/>
                  <a:pt x="6459747" y="3312215"/>
                </a:cubicBezTo>
                <a:cubicBezTo>
                  <a:pt x="6458972" y="3312731"/>
                  <a:pt x="6458043" y="3313248"/>
                  <a:pt x="6457113" y="3313661"/>
                </a:cubicBezTo>
                <a:cubicBezTo>
                  <a:pt x="6451692" y="3315003"/>
                  <a:pt x="6450763" y="3310976"/>
                  <a:pt x="6446426" y="3311079"/>
                </a:cubicBezTo>
                <a:cubicBezTo>
                  <a:pt x="6441469" y="3312628"/>
                  <a:pt x="6437287" y="3314384"/>
                  <a:pt x="6433259" y="3315313"/>
                </a:cubicBezTo>
                <a:cubicBezTo>
                  <a:pt x="6430936" y="3316139"/>
                  <a:pt x="6429077" y="3317068"/>
                  <a:pt x="6426909" y="3317068"/>
                </a:cubicBezTo>
                <a:cubicBezTo>
                  <a:pt x="6426909" y="3317068"/>
                  <a:pt x="6426909" y="3317068"/>
                  <a:pt x="6425205" y="3318101"/>
                </a:cubicBezTo>
                <a:cubicBezTo>
                  <a:pt x="6425205" y="3318101"/>
                  <a:pt x="6425205" y="3318101"/>
                  <a:pt x="6424431" y="3317894"/>
                </a:cubicBezTo>
                <a:cubicBezTo>
                  <a:pt x="6424276" y="3318514"/>
                  <a:pt x="6423656" y="3318411"/>
                  <a:pt x="6423656" y="3318411"/>
                </a:cubicBezTo>
                <a:cubicBezTo>
                  <a:pt x="6423656" y="3318411"/>
                  <a:pt x="6423656" y="3318411"/>
                  <a:pt x="6422107" y="3318617"/>
                </a:cubicBezTo>
                <a:cubicBezTo>
                  <a:pt x="6418544" y="3320579"/>
                  <a:pt x="6413433" y="3322747"/>
                  <a:pt x="6408941" y="3325122"/>
                </a:cubicBezTo>
                <a:cubicBezTo>
                  <a:pt x="6409096" y="3328943"/>
                  <a:pt x="6405378" y="3339888"/>
                  <a:pt x="6410180" y="3338339"/>
                </a:cubicBezTo>
                <a:cubicBezTo>
                  <a:pt x="6409406" y="3338855"/>
                  <a:pt x="6408631" y="3338649"/>
                  <a:pt x="6407856" y="3339062"/>
                </a:cubicBezTo>
                <a:cubicBezTo>
                  <a:pt x="6407856" y="3339062"/>
                  <a:pt x="6407702" y="3339062"/>
                  <a:pt x="6401661" y="3340198"/>
                </a:cubicBezTo>
                <a:cubicBezTo>
                  <a:pt x="6401661" y="3340198"/>
                  <a:pt x="6401661" y="3340198"/>
                  <a:pt x="6400886" y="3339991"/>
                </a:cubicBezTo>
                <a:cubicBezTo>
                  <a:pt x="6400886" y="3339991"/>
                  <a:pt x="6400886" y="3339991"/>
                  <a:pt x="6400112" y="3340507"/>
                </a:cubicBezTo>
                <a:cubicBezTo>
                  <a:pt x="6399802" y="3341127"/>
                  <a:pt x="6399182" y="3340921"/>
                  <a:pt x="6398253" y="3341437"/>
                </a:cubicBezTo>
                <a:cubicBezTo>
                  <a:pt x="6395620" y="3342882"/>
                  <a:pt x="6393141" y="3343605"/>
                  <a:pt x="6391128" y="3345257"/>
                </a:cubicBezTo>
                <a:cubicBezTo>
                  <a:pt x="6389269" y="3346496"/>
                  <a:pt x="6388030" y="3347942"/>
                  <a:pt x="6388030" y="3349284"/>
                </a:cubicBezTo>
                <a:cubicBezTo>
                  <a:pt x="6388185" y="3350523"/>
                  <a:pt x="6389269" y="3351866"/>
                  <a:pt x="6392057" y="3353104"/>
                </a:cubicBezTo>
                <a:cubicBezTo>
                  <a:pt x="6394690" y="3353931"/>
                  <a:pt x="6399027" y="3349904"/>
                  <a:pt x="6397478" y="3350214"/>
                </a:cubicBezTo>
                <a:cubicBezTo>
                  <a:pt x="6398098" y="3350420"/>
                  <a:pt x="6399647" y="3350110"/>
                  <a:pt x="6401196" y="3349904"/>
                </a:cubicBezTo>
                <a:cubicBezTo>
                  <a:pt x="6401816" y="3350110"/>
                  <a:pt x="6402745" y="3349594"/>
                  <a:pt x="6403364" y="3349800"/>
                </a:cubicBezTo>
                <a:cubicBezTo>
                  <a:pt x="6403364" y="3349800"/>
                  <a:pt x="6403364" y="3349800"/>
                  <a:pt x="6403674" y="3349078"/>
                </a:cubicBezTo>
                <a:cubicBezTo>
                  <a:pt x="6403674" y="3349078"/>
                  <a:pt x="6403674" y="3349078"/>
                  <a:pt x="6409251" y="3347838"/>
                </a:cubicBezTo>
                <a:cubicBezTo>
                  <a:pt x="6409251" y="3347838"/>
                  <a:pt x="6409251" y="3347838"/>
                  <a:pt x="6409870" y="3348045"/>
                </a:cubicBezTo>
                <a:cubicBezTo>
                  <a:pt x="6409870" y="3348045"/>
                  <a:pt x="6409870" y="3348045"/>
                  <a:pt x="6409560" y="3348768"/>
                </a:cubicBezTo>
                <a:cubicBezTo>
                  <a:pt x="6409560" y="3348768"/>
                  <a:pt x="6409560" y="3348665"/>
                  <a:pt x="6410180" y="3348871"/>
                </a:cubicBezTo>
                <a:cubicBezTo>
                  <a:pt x="6412503" y="3348871"/>
                  <a:pt x="6414052" y="3348561"/>
                  <a:pt x="6415601" y="3348252"/>
                </a:cubicBezTo>
                <a:cubicBezTo>
                  <a:pt x="6419474" y="3347219"/>
                  <a:pt x="6423036" y="3345360"/>
                  <a:pt x="6425979" y="3341024"/>
                </a:cubicBezTo>
                <a:cubicBezTo>
                  <a:pt x="6425979" y="3341024"/>
                  <a:pt x="6425979" y="3340921"/>
                  <a:pt x="6426754" y="3341127"/>
                </a:cubicBezTo>
                <a:cubicBezTo>
                  <a:pt x="6426754" y="3341127"/>
                  <a:pt x="6426754" y="3341127"/>
                  <a:pt x="6427528" y="3340611"/>
                </a:cubicBezTo>
                <a:cubicBezTo>
                  <a:pt x="6427528" y="3340611"/>
                  <a:pt x="6427528" y="3340714"/>
                  <a:pt x="6428303" y="3340921"/>
                </a:cubicBezTo>
                <a:cubicBezTo>
                  <a:pt x="6428303" y="3340921"/>
                  <a:pt x="6428303" y="3340921"/>
                  <a:pt x="6432020" y="3340507"/>
                </a:cubicBezTo>
                <a:cubicBezTo>
                  <a:pt x="6434189" y="3340404"/>
                  <a:pt x="6437287" y="3339888"/>
                  <a:pt x="6439455" y="3339785"/>
                </a:cubicBezTo>
                <a:cubicBezTo>
                  <a:pt x="6444102" y="3338959"/>
                  <a:pt x="6449369" y="3338442"/>
                  <a:pt x="6453861" y="3338236"/>
                </a:cubicBezTo>
                <a:cubicBezTo>
                  <a:pt x="6456184" y="3337513"/>
                  <a:pt x="6458508" y="3337410"/>
                  <a:pt x="6460831" y="3336687"/>
                </a:cubicBezTo>
                <a:cubicBezTo>
                  <a:pt x="6460831" y="3336687"/>
                  <a:pt x="6460831" y="3336687"/>
                  <a:pt x="6462380" y="3336377"/>
                </a:cubicBezTo>
                <a:cubicBezTo>
                  <a:pt x="6462380" y="3336377"/>
                  <a:pt x="6462380" y="3336377"/>
                  <a:pt x="6463774" y="3336790"/>
                </a:cubicBezTo>
                <a:cubicBezTo>
                  <a:pt x="6463774" y="3336790"/>
                  <a:pt x="6463774" y="3336790"/>
                  <a:pt x="6466872" y="3336170"/>
                </a:cubicBezTo>
                <a:cubicBezTo>
                  <a:pt x="6471209" y="3336067"/>
                  <a:pt x="6475236" y="3335035"/>
                  <a:pt x="6478954" y="3334725"/>
                </a:cubicBezTo>
                <a:cubicBezTo>
                  <a:pt x="6482671" y="3334415"/>
                  <a:pt x="6486544" y="3334002"/>
                  <a:pt x="6490881" y="3333899"/>
                </a:cubicBezTo>
                <a:cubicBezTo>
                  <a:pt x="6494598" y="3333486"/>
                  <a:pt x="6498161" y="3333796"/>
                  <a:pt x="6502498" y="3333693"/>
                </a:cubicBezTo>
                <a:cubicBezTo>
                  <a:pt x="6509778" y="3333693"/>
                  <a:pt x="6517523" y="3334519"/>
                  <a:pt x="6524958" y="3336067"/>
                </a:cubicBezTo>
                <a:cubicBezTo>
                  <a:pt x="6523409" y="3351349"/>
                  <a:pt x="6547418" y="3346806"/>
                  <a:pt x="6556092" y="3342676"/>
                </a:cubicBezTo>
                <a:cubicBezTo>
                  <a:pt x="6562133" y="3343812"/>
                  <a:pt x="6568639" y="3344225"/>
                  <a:pt x="6574989" y="3344741"/>
                </a:cubicBezTo>
                <a:cubicBezTo>
                  <a:pt x="6576538" y="3344431"/>
                  <a:pt x="6577778" y="3344844"/>
                  <a:pt x="6579326" y="3344637"/>
                </a:cubicBezTo>
                <a:cubicBezTo>
                  <a:pt x="6581340" y="3345154"/>
                  <a:pt x="6582889" y="3344947"/>
                  <a:pt x="6584128" y="3345257"/>
                </a:cubicBezTo>
                <a:cubicBezTo>
                  <a:pt x="6587071" y="3345464"/>
                  <a:pt x="6590479" y="3345773"/>
                  <a:pt x="6593422" y="3345980"/>
                </a:cubicBezTo>
                <a:lnTo>
                  <a:pt x="6631526" y="3348974"/>
                </a:lnTo>
                <a:lnTo>
                  <a:pt x="6629358" y="3343399"/>
                </a:lnTo>
                <a:cubicBezTo>
                  <a:pt x="6629048" y="3341540"/>
                  <a:pt x="6629358" y="3339888"/>
                  <a:pt x="6630133" y="3338236"/>
                </a:cubicBezTo>
                <a:cubicBezTo>
                  <a:pt x="6630907" y="3336584"/>
                  <a:pt x="6632146" y="3334932"/>
                  <a:pt x="6633850" y="3333486"/>
                </a:cubicBezTo>
                <a:lnTo>
                  <a:pt x="6639426" y="3329872"/>
                </a:lnTo>
                <a:lnTo>
                  <a:pt x="6636638" y="3329149"/>
                </a:lnTo>
                <a:cubicBezTo>
                  <a:pt x="6640046" y="3325638"/>
                  <a:pt x="6644383" y="3325535"/>
                  <a:pt x="6649804" y="3328736"/>
                </a:cubicBezTo>
                <a:cubicBezTo>
                  <a:pt x="6650269" y="3327394"/>
                  <a:pt x="6649030" y="3326981"/>
                  <a:pt x="6647636" y="3326568"/>
                </a:cubicBezTo>
                <a:cubicBezTo>
                  <a:pt x="6649030" y="3324709"/>
                  <a:pt x="6650734" y="3325948"/>
                  <a:pt x="6652128" y="3326361"/>
                </a:cubicBezTo>
                <a:cubicBezTo>
                  <a:pt x="6646242" y="3324606"/>
                  <a:pt x="6642679" y="3322025"/>
                  <a:pt x="6639271" y="3319443"/>
                </a:cubicBezTo>
                <a:cubicBezTo>
                  <a:pt x="6637413" y="3318101"/>
                  <a:pt x="6635864" y="3316759"/>
                  <a:pt x="6633385" y="3315313"/>
                </a:cubicBezTo>
                <a:cubicBezTo>
                  <a:pt x="6631062" y="3313764"/>
                  <a:pt x="6628429" y="3313041"/>
                  <a:pt x="6625331" y="3311389"/>
                </a:cubicBezTo>
                <a:cubicBezTo>
                  <a:pt x="6626725" y="3308911"/>
                  <a:pt x="6626570" y="3307465"/>
                  <a:pt x="6625486" y="3306433"/>
                </a:cubicBezTo>
                <a:lnTo>
                  <a:pt x="6620839" y="3304471"/>
                </a:lnTo>
                <a:lnTo>
                  <a:pt x="6618050" y="3304781"/>
                </a:lnTo>
                <a:cubicBezTo>
                  <a:pt x="6614953" y="3304781"/>
                  <a:pt x="6611235" y="3304368"/>
                  <a:pt x="6605659" y="3303748"/>
                </a:cubicBezTo>
                <a:cubicBezTo>
                  <a:pt x="6604884" y="3305813"/>
                  <a:pt x="6604884" y="3308085"/>
                  <a:pt x="6606124" y="3308498"/>
                </a:cubicBezTo>
                <a:cubicBezTo>
                  <a:pt x="6601322" y="3307672"/>
                  <a:pt x="6594816" y="3307878"/>
                  <a:pt x="6587536" y="3307982"/>
                </a:cubicBezTo>
                <a:cubicBezTo>
                  <a:pt x="6580721" y="3308808"/>
                  <a:pt x="6573131" y="3309531"/>
                  <a:pt x="6567709" y="3310873"/>
                </a:cubicBezTo>
                <a:cubicBezTo>
                  <a:pt x="6570497" y="3302716"/>
                  <a:pt x="6557331" y="3311389"/>
                  <a:pt x="6553768" y="3302819"/>
                </a:cubicBezTo>
                <a:close/>
                <a:moveTo>
                  <a:pt x="233772" y="3299933"/>
                </a:moveTo>
                <a:cubicBezTo>
                  <a:pt x="242446" y="3295906"/>
                  <a:pt x="255766" y="3303031"/>
                  <a:pt x="250706" y="3310466"/>
                </a:cubicBezTo>
                <a:cubicBezTo>
                  <a:pt x="249984" y="3311395"/>
                  <a:pt x="248951" y="3312479"/>
                  <a:pt x="247402" y="3313564"/>
                </a:cubicBezTo>
                <a:cubicBezTo>
                  <a:pt x="242549" y="3311705"/>
                  <a:pt x="233876" y="3310156"/>
                  <a:pt x="233462" y="3303341"/>
                </a:cubicBezTo>
                <a:cubicBezTo>
                  <a:pt x="233359" y="3302256"/>
                  <a:pt x="233462" y="3301172"/>
                  <a:pt x="233772" y="3299933"/>
                </a:cubicBezTo>
                <a:close/>
                <a:moveTo>
                  <a:pt x="298721" y="3298694"/>
                </a:moveTo>
                <a:cubicBezTo>
                  <a:pt x="299753" y="3300243"/>
                  <a:pt x="300063" y="3301482"/>
                  <a:pt x="300373" y="3302721"/>
                </a:cubicBezTo>
                <a:cubicBezTo>
                  <a:pt x="301405" y="3304425"/>
                  <a:pt x="300889" y="3305045"/>
                  <a:pt x="298514" y="3305509"/>
                </a:cubicBezTo>
                <a:cubicBezTo>
                  <a:pt x="297997" y="3304580"/>
                  <a:pt x="297585" y="3303186"/>
                  <a:pt x="297585" y="3301792"/>
                </a:cubicBezTo>
                <a:cubicBezTo>
                  <a:pt x="297585" y="3300398"/>
                  <a:pt x="297894" y="3299158"/>
                  <a:pt x="298721" y="3298694"/>
                </a:cubicBezTo>
                <a:close/>
                <a:moveTo>
                  <a:pt x="314132" y="3298481"/>
                </a:moveTo>
                <a:cubicBezTo>
                  <a:pt x="316223" y="3297145"/>
                  <a:pt x="318804" y="3296835"/>
                  <a:pt x="320817" y="3298849"/>
                </a:cubicBezTo>
                <a:cubicBezTo>
                  <a:pt x="321643" y="3301172"/>
                  <a:pt x="322366" y="3303650"/>
                  <a:pt x="319682" y="3307213"/>
                </a:cubicBezTo>
                <a:cubicBezTo>
                  <a:pt x="316171" y="3308143"/>
                  <a:pt x="313589" y="3307523"/>
                  <a:pt x="310388" y="3304270"/>
                </a:cubicBezTo>
                <a:cubicBezTo>
                  <a:pt x="310440" y="3302179"/>
                  <a:pt x="312041" y="3299817"/>
                  <a:pt x="314132" y="3298481"/>
                </a:cubicBezTo>
                <a:close/>
                <a:moveTo>
                  <a:pt x="297585" y="3295131"/>
                </a:moveTo>
                <a:cubicBezTo>
                  <a:pt x="298204" y="3294976"/>
                  <a:pt x="298618" y="3295286"/>
                  <a:pt x="298824" y="3295441"/>
                </a:cubicBezTo>
                <a:cubicBezTo>
                  <a:pt x="299133" y="3295751"/>
                  <a:pt x="299133" y="3296060"/>
                  <a:pt x="299133" y="3296060"/>
                </a:cubicBezTo>
                <a:cubicBezTo>
                  <a:pt x="299443" y="3297300"/>
                  <a:pt x="299753" y="3298384"/>
                  <a:pt x="298618" y="3298539"/>
                </a:cubicBezTo>
                <a:cubicBezTo>
                  <a:pt x="298618" y="3298539"/>
                  <a:pt x="297791" y="3298074"/>
                  <a:pt x="297172" y="3295751"/>
                </a:cubicBezTo>
                <a:cubicBezTo>
                  <a:pt x="297894" y="3296215"/>
                  <a:pt x="298411" y="3295596"/>
                  <a:pt x="298411" y="3295596"/>
                </a:cubicBezTo>
                <a:cubicBezTo>
                  <a:pt x="298411" y="3295596"/>
                  <a:pt x="298411" y="3295596"/>
                  <a:pt x="297585" y="3295131"/>
                </a:cubicBezTo>
                <a:close/>
                <a:moveTo>
                  <a:pt x="286226" y="3291104"/>
                </a:moveTo>
                <a:cubicBezTo>
                  <a:pt x="287053" y="3292963"/>
                  <a:pt x="288808" y="3295751"/>
                  <a:pt x="286123" y="3298849"/>
                </a:cubicBezTo>
                <a:cubicBezTo>
                  <a:pt x="285194" y="3299623"/>
                  <a:pt x="285194" y="3299623"/>
                  <a:pt x="284368" y="3299623"/>
                </a:cubicBezTo>
                <a:cubicBezTo>
                  <a:pt x="282613" y="3300243"/>
                  <a:pt x="281684" y="3301017"/>
                  <a:pt x="279928" y="3299933"/>
                </a:cubicBezTo>
                <a:cubicBezTo>
                  <a:pt x="278689" y="3299003"/>
                  <a:pt x="278172" y="3298074"/>
                  <a:pt x="278379" y="3297145"/>
                </a:cubicBezTo>
                <a:cubicBezTo>
                  <a:pt x="278482" y="3296215"/>
                  <a:pt x="279102" y="3295131"/>
                  <a:pt x="280031" y="3294047"/>
                </a:cubicBezTo>
                <a:cubicBezTo>
                  <a:pt x="280960" y="3292808"/>
                  <a:pt x="281993" y="3292498"/>
                  <a:pt x="283129" y="3292188"/>
                </a:cubicBezTo>
                <a:cubicBezTo>
                  <a:pt x="284264" y="3292033"/>
                  <a:pt x="285297" y="3291878"/>
                  <a:pt x="286226" y="3291104"/>
                </a:cubicBezTo>
                <a:close/>
                <a:moveTo>
                  <a:pt x="589180" y="3290020"/>
                </a:moveTo>
                <a:lnTo>
                  <a:pt x="587941" y="3292188"/>
                </a:lnTo>
                <a:lnTo>
                  <a:pt x="589696" y="3292653"/>
                </a:lnTo>
                <a:lnTo>
                  <a:pt x="590935" y="3291414"/>
                </a:lnTo>
                <a:lnTo>
                  <a:pt x="590832" y="3291414"/>
                </a:lnTo>
                <a:close/>
                <a:moveTo>
                  <a:pt x="6751710" y="3289571"/>
                </a:moveTo>
                <a:lnTo>
                  <a:pt x="6780847" y="3302819"/>
                </a:lnTo>
                <a:cubicBezTo>
                  <a:pt x="6790605" y="3308085"/>
                  <a:pt x="6800363" y="3313351"/>
                  <a:pt x="6810122" y="3314797"/>
                </a:cubicBezTo>
                <a:lnTo>
                  <a:pt x="6811516" y="3316345"/>
                </a:lnTo>
                <a:lnTo>
                  <a:pt x="6812910" y="3315520"/>
                </a:lnTo>
                <a:cubicBezTo>
                  <a:pt x="6820500" y="3312938"/>
                  <a:pt x="6831652" y="3313558"/>
                  <a:pt x="6836144" y="3322747"/>
                </a:cubicBezTo>
                <a:cubicBezTo>
                  <a:pt x="6832737" y="3325122"/>
                  <a:pt x="6829794" y="3326465"/>
                  <a:pt x="6827006" y="3327084"/>
                </a:cubicBezTo>
                <a:lnTo>
                  <a:pt x="6823753" y="3326878"/>
                </a:lnTo>
                <a:lnTo>
                  <a:pt x="6830413" y="3330492"/>
                </a:lnTo>
                <a:cubicBezTo>
                  <a:pt x="6833047" y="3332247"/>
                  <a:pt x="6835680" y="3334415"/>
                  <a:pt x="6838778" y="3337203"/>
                </a:cubicBezTo>
                <a:cubicBezTo>
                  <a:pt x="6836299" y="3335758"/>
                  <a:pt x="6833976" y="3334312"/>
                  <a:pt x="6831343" y="3333486"/>
                </a:cubicBezTo>
                <a:cubicBezTo>
                  <a:pt x="6828245" y="3331834"/>
                  <a:pt x="6825766" y="3330285"/>
                  <a:pt x="6822823" y="3328633"/>
                </a:cubicBezTo>
                <a:lnTo>
                  <a:pt x="6819571" y="3326671"/>
                </a:lnTo>
                <a:cubicBezTo>
                  <a:pt x="6817247" y="3325948"/>
                  <a:pt x="6815233" y="3324709"/>
                  <a:pt x="6813065" y="3323367"/>
                </a:cubicBezTo>
                <a:lnTo>
                  <a:pt x="6808573" y="3319959"/>
                </a:lnTo>
                <a:lnTo>
                  <a:pt x="6804701" y="3317791"/>
                </a:lnTo>
                <a:cubicBezTo>
                  <a:pt x="6791844" y="3310769"/>
                  <a:pt x="6778523" y="3302922"/>
                  <a:pt x="6766596" y="3297656"/>
                </a:cubicBezTo>
                <a:cubicBezTo>
                  <a:pt x="6763730" y="3296417"/>
                  <a:pt x="6758812" y="3296417"/>
                  <a:pt x="6754998" y="3295346"/>
                </a:cubicBezTo>
                <a:close/>
                <a:moveTo>
                  <a:pt x="6750642" y="3287697"/>
                </a:moveTo>
                <a:lnTo>
                  <a:pt x="6751710" y="3289571"/>
                </a:lnTo>
                <a:lnTo>
                  <a:pt x="6750642" y="3289086"/>
                </a:lnTo>
                <a:close/>
                <a:moveTo>
                  <a:pt x="131652" y="3286147"/>
                </a:moveTo>
                <a:cubicBezTo>
                  <a:pt x="138983" y="3289245"/>
                  <a:pt x="144869" y="3298384"/>
                  <a:pt x="147966" y="3306129"/>
                </a:cubicBezTo>
                <a:lnTo>
                  <a:pt x="150135" y="3313254"/>
                </a:lnTo>
                <a:lnTo>
                  <a:pt x="151271" y="3312790"/>
                </a:lnTo>
                <a:cubicBezTo>
                  <a:pt x="152200" y="3312634"/>
                  <a:pt x="153336" y="3312634"/>
                  <a:pt x="153749" y="3313099"/>
                </a:cubicBezTo>
                <a:cubicBezTo>
                  <a:pt x="156330" y="3315113"/>
                  <a:pt x="154575" y="3317436"/>
                  <a:pt x="153646" y="3320534"/>
                </a:cubicBezTo>
                <a:cubicBezTo>
                  <a:pt x="152716" y="3319605"/>
                  <a:pt x="151890" y="3320379"/>
                  <a:pt x="150961" y="3321154"/>
                </a:cubicBezTo>
                <a:cubicBezTo>
                  <a:pt x="149722" y="3319760"/>
                  <a:pt x="147450" y="3317901"/>
                  <a:pt x="147863" y="3315732"/>
                </a:cubicBezTo>
                <a:lnTo>
                  <a:pt x="149309" y="3313719"/>
                </a:lnTo>
                <a:lnTo>
                  <a:pt x="145385" y="3315732"/>
                </a:lnTo>
                <a:cubicBezTo>
                  <a:pt x="143733" y="3316042"/>
                  <a:pt x="142184" y="3315732"/>
                  <a:pt x="140532" y="3315113"/>
                </a:cubicBezTo>
                <a:cubicBezTo>
                  <a:pt x="130826" y="3311550"/>
                  <a:pt x="121533" y="3294202"/>
                  <a:pt x="121326" y="3286457"/>
                </a:cubicBezTo>
                <a:cubicBezTo>
                  <a:pt x="124940" y="3284753"/>
                  <a:pt x="128451" y="3284908"/>
                  <a:pt x="131652" y="3286147"/>
                </a:cubicBezTo>
                <a:close/>
                <a:moveTo>
                  <a:pt x="565225" y="3285528"/>
                </a:moveTo>
                <a:cubicBezTo>
                  <a:pt x="560888" y="3282585"/>
                  <a:pt x="561921" y="3291723"/>
                  <a:pt x="559029" y="3286302"/>
                </a:cubicBezTo>
                <a:cubicBezTo>
                  <a:pt x="556861" y="3290639"/>
                  <a:pt x="554383" y="3294202"/>
                  <a:pt x="551801" y="3297610"/>
                </a:cubicBezTo>
                <a:cubicBezTo>
                  <a:pt x="548704" y="3300243"/>
                  <a:pt x="546122" y="3303650"/>
                  <a:pt x="543541" y="3307213"/>
                </a:cubicBezTo>
                <a:cubicBezTo>
                  <a:pt x="541786" y="3305819"/>
                  <a:pt x="544057" y="3301637"/>
                  <a:pt x="546329" y="3297300"/>
                </a:cubicBezTo>
                <a:lnTo>
                  <a:pt x="548084" y="3292963"/>
                </a:lnTo>
                <a:lnTo>
                  <a:pt x="545399" y="3294047"/>
                </a:lnTo>
                <a:lnTo>
                  <a:pt x="542921" y="3293427"/>
                </a:lnTo>
                <a:lnTo>
                  <a:pt x="539411" y="3298384"/>
                </a:lnTo>
                <a:cubicBezTo>
                  <a:pt x="537139" y="3303496"/>
                  <a:pt x="536003" y="3309691"/>
                  <a:pt x="535281" y="3314493"/>
                </a:cubicBezTo>
                <a:cubicBezTo>
                  <a:pt x="531770" y="3311086"/>
                  <a:pt x="531666" y="3306593"/>
                  <a:pt x="534764" y="3301172"/>
                </a:cubicBezTo>
                <a:cubicBezTo>
                  <a:pt x="533422" y="3300707"/>
                  <a:pt x="533112" y="3302101"/>
                  <a:pt x="532699" y="3303496"/>
                </a:cubicBezTo>
                <a:cubicBezTo>
                  <a:pt x="530840" y="3302101"/>
                  <a:pt x="532080" y="3300398"/>
                  <a:pt x="532493" y="3299003"/>
                </a:cubicBezTo>
                <a:cubicBezTo>
                  <a:pt x="530634" y="3304889"/>
                  <a:pt x="528053" y="3308452"/>
                  <a:pt x="525471" y="3311860"/>
                </a:cubicBezTo>
                <a:cubicBezTo>
                  <a:pt x="524232" y="3313564"/>
                  <a:pt x="522993" y="3315423"/>
                  <a:pt x="521444" y="3317746"/>
                </a:cubicBezTo>
                <a:cubicBezTo>
                  <a:pt x="519998" y="3320069"/>
                  <a:pt x="519172" y="3322703"/>
                  <a:pt x="517417" y="3325801"/>
                </a:cubicBezTo>
                <a:cubicBezTo>
                  <a:pt x="515042" y="3324407"/>
                  <a:pt x="513596" y="3324561"/>
                  <a:pt x="512564" y="3325646"/>
                </a:cubicBezTo>
                <a:lnTo>
                  <a:pt x="510499" y="3330138"/>
                </a:lnTo>
                <a:lnTo>
                  <a:pt x="510602" y="3330292"/>
                </a:lnTo>
                <a:lnTo>
                  <a:pt x="515559" y="3329208"/>
                </a:lnTo>
                <a:cubicBezTo>
                  <a:pt x="517520" y="3329363"/>
                  <a:pt x="519276" y="3330292"/>
                  <a:pt x="520308" y="3332461"/>
                </a:cubicBezTo>
                <a:cubicBezTo>
                  <a:pt x="518966" y="3332926"/>
                  <a:pt x="517004" y="3333855"/>
                  <a:pt x="514732" y="3334939"/>
                </a:cubicBezTo>
                <a:lnTo>
                  <a:pt x="510705" y="3336643"/>
                </a:lnTo>
                <a:lnTo>
                  <a:pt x="510602" y="3338347"/>
                </a:lnTo>
                <a:lnTo>
                  <a:pt x="510189" y="3342529"/>
                </a:lnTo>
                <a:lnTo>
                  <a:pt x="511325" y="3342529"/>
                </a:lnTo>
                <a:cubicBezTo>
                  <a:pt x="513184" y="3342994"/>
                  <a:pt x="515146" y="3344079"/>
                  <a:pt x="517314" y="3344698"/>
                </a:cubicBezTo>
                <a:cubicBezTo>
                  <a:pt x="517314" y="3345627"/>
                  <a:pt x="518140" y="3346557"/>
                  <a:pt x="519069" y="3346557"/>
                </a:cubicBezTo>
                <a:cubicBezTo>
                  <a:pt x="519895" y="3347486"/>
                  <a:pt x="520825" y="3348415"/>
                  <a:pt x="520825" y="3347486"/>
                </a:cubicBezTo>
                <a:cubicBezTo>
                  <a:pt x="523406" y="3350274"/>
                  <a:pt x="524232" y="3350429"/>
                  <a:pt x="523303" y="3352907"/>
                </a:cubicBezTo>
                <a:lnTo>
                  <a:pt x="520515" y="3351823"/>
                </a:lnTo>
                <a:lnTo>
                  <a:pt x="520515" y="3352753"/>
                </a:lnTo>
                <a:cubicBezTo>
                  <a:pt x="518553" y="3353992"/>
                  <a:pt x="517211" y="3353837"/>
                  <a:pt x="516385" y="3353062"/>
                </a:cubicBezTo>
                <a:lnTo>
                  <a:pt x="515352" y="3350119"/>
                </a:lnTo>
                <a:lnTo>
                  <a:pt x="514320" y="3349810"/>
                </a:lnTo>
                <a:lnTo>
                  <a:pt x="514010" y="3353372"/>
                </a:lnTo>
                <a:cubicBezTo>
                  <a:pt x="514010" y="3356470"/>
                  <a:pt x="514113" y="3360033"/>
                  <a:pt x="514113" y="3363595"/>
                </a:cubicBezTo>
                <a:cubicBezTo>
                  <a:pt x="515042" y="3370411"/>
                  <a:pt x="515662" y="3377846"/>
                  <a:pt x="517004" y="3383422"/>
                </a:cubicBezTo>
                <a:lnTo>
                  <a:pt x="514320" y="3383887"/>
                </a:lnTo>
                <a:lnTo>
                  <a:pt x="517417" y="3386675"/>
                </a:lnTo>
                <a:cubicBezTo>
                  <a:pt x="518656" y="3388534"/>
                  <a:pt x="519172" y="3390547"/>
                  <a:pt x="518450" y="3392096"/>
                </a:cubicBezTo>
                <a:lnTo>
                  <a:pt x="516075" y="3396433"/>
                </a:lnTo>
                <a:lnTo>
                  <a:pt x="516385" y="3398292"/>
                </a:lnTo>
                <a:lnTo>
                  <a:pt x="515972" y="3399222"/>
                </a:lnTo>
                <a:lnTo>
                  <a:pt x="521548" y="3402319"/>
                </a:lnTo>
                <a:cubicBezTo>
                  <a:pt x="524129" y="3403869"/>
                  <a:pt x="526194" y="3405417"/>
                  <a:pt x="526297" y="3406657"/>
                </a:cubicBezTo>
                <a:cubicBezTo>
                  <a:pt x="525471" y="3406966"/>
                  <a:pt x="524645" y="3407276"/>
                  <a:pt x="523509" y="3406657"/>
                </a:cubicBezTo>
                <a:cubicBezTo>
                  <a:pt x="522373" y="3406037"/>
                  <a:pt x="523200" y="3405882"/>
                  <a:pt x="522373" y="3406192"/>
                </a:cubicBezTo>
                <a:cubicBezTo>
                  <a:pt x="521238" y="3405572"/>
                  <a:pt x="521548" y="3406347"/>
                  <a:pt x="521548" y="3406347"/>
                </a:cubicBezTo>
                <a:cubicBezTo>
                  <a:pt x="521548" y="3406347"/>
                  <a:pt x="521238" y="3405572"/>
                  <a:pt x="521238" y="3405572"/>
                </a:cubicBezTo>
                <a:cubicBezTo>
                  <a:pt x="521238" y="3405572"/>
                  <a:pt x="521238" y="3405572"/>
                  <a:pt x="518966" y="3404488"/>
                </a:cubicBezTo>
                <a:cubicBezTo>
                  <a:pt x="515868" y="3403714"/>
                  <a:pt x="515042" y="3403869"/>
                  <a:pt x="513081" y="3403558"/>
                </a:cubicBezTo>
                <a:lnTo>
                  <a:pt x="512771" y="3403404"/>
                </a:lnTo>
                <a:lnTo>
                  <a:pt x="512358" y="3403558"/>
                </a:lnTo>
                <a:lnTo>
                  <a:pt x="513596" y="3405572"/>
                </a:lnTo>
                <a:lnTo>
                  <a:pt x="514526" y="3406192"/>
                </a:lnTo>
                <a:lnTo>
                  <a:pt x="514526" y="3406037"/>
                </a:lnTo>
                <a:cubicBezTo>
                  <a:pt x="515972" y="3406347"/>
                  <a:pt x="517417" y="3406966"/>
                  <a:pt x="519069" y="3408515"/>
                </a:cubicBezTo>
                <a:cubicBezTo>
                  <a:pt x="519379" y="3410219"/>
                  <a:pt x="519172" y="3411613"/>
                  <a:pt x="518553" y="3413007"/>
                </a:cubicBezTo>
                <a:lnTo>
                  <a:pt x="518037" y="3413472"/>
                </a:lnTo>
                <a:lnTo>
                  <a:pt x="525884" y="3413936"/>
                </a:lnTo>
                <a:cubicBezTo>
                  <a:pt x="530944" y="3414711"/>
                  <a:pt x="536416" y="3415486"/>
                  <a:pt x="541682" y="3415021"/>
                </a:cubicBezTo>
                <a:cubicBezTo>
                  <a:pt x="544677" y="3413472"/>
                  <a:pt x="545813" y="3410529"/>
                  <a:pt x="547878" y="3408360"/>
                </a:cubicBezTo>
                <a:lnTo>
                  <a:pt x="551905" y="3405882"/>
                </a:lnTo>
                <a:lnTo>
                  <a:pt x="551595" y="3403869"/>
                </a:lnTo>
                <a:lnTo>
                  <a:pt x="550975" y="3401545"/>
                </a:lnTo>
                <a:lnTo>
                  <a:pt x="549117" y="3402474"/>
                </a:lnTo>
                <a:cubicBezTo>
                  <a:pt x="548084" y="3402784"/>
                  <a:pt x="547258" y="3402629"/>
                  <a:pt x="546845" y="3402165"/>
                </a:cubicBezTo>
                <a:cubicBezTo>
                  <a:pt x="545503" y="3400770"/>
                  <a:pt x="544264" y="3399376"/>
                  <a:pt x="544780" y="3397827"/>
                </a:cubicBezTo>
                <a:cubicBezTo>
                  <a:pt x="544987" y="3397363"/>
                  <a:pt x="545399" y="3396898"/>
                  <a:pt x="546019" y="3396279"/>
                </a:cubicBezTo>
                <a:cubicBezTo>
                  <a:pt x="546019" y="3396279"/>
                  <a:pt x="546122" y="3396279"/>
                  <a:pt x="546949" y="3396433"/>
                </a:cubicBezTo>
                <a:lnTo>
                  <a:pt x="549323" y="3396588"/>
                </a:lnTo>
                <a:lnTo>
                  <a:pt x="548807" y="3395039"/>
                </a:lnTo>
                <a:lnTo>
                  <a:pt x="550046" y="3383887"/>
                </a:lnTo>
                <a:lnTo>
                  <a:pt x="542508" y="3376916"/>
                </a:lnTo>
                <a:lnTo>
                  <a:pt x="536932" y="3371650"/>
                </a:lnTo>
                <a:lnTo>
                  <a:pt x="534248" y="3371340"/>
                </a:lnTo>
                <a:lnTo>
                  <a:pt x="534145" y="3369017"/>
                </a:lnTo>
                <a:lnTo>
                  <a:pt x="531873" y="3367003"/>
                </a:lnTo>
                <a:lnTo>
                  <a:pt x="532080" y="3366074"/>
                </a:lnTo>
                <a:lnTo>
                  <a:pt x="530221" y="3366074"/>
                </a:lnTo>
                <a:cubicBezTo>
                  <a:pt x="529498" y="3365919"/>
                  <a:pt x="528982" y="3365609"/>
                  <a:pt x="528672" y="3365144"/>
                </a:cubicBezTo>
                <a:cubicBezTo>
                  <a:pt x="527536" y="3362976"/>
                  <a:pt x="526917" y="3360652"/>
                  <a:pt x="526917" y="3358793"/>
                </a:cubicBezTo>
                <a:cubicBezTo>
                  <a:pt x="526814" y="3356780"/>
                  <a:pt x="527227" y="3355386"/>
                  <a:pt x="528259" y="3354921"/>
                </a:cubicBezTo>
                <a:cubicBezTo>
                  <a:pt x="529808" y="3354146"/>
                  <a:pt x="531460" y="3353372"/>
                  <a:pt x="532906" y="3353062"/>
                </a:cubicBezTo>
                <a:lnTo>
                  <a:pt x="533112" y="3353062"/>
                </a:lnTo>
                <a:lnTo>
                  <a:pt x="532906" y="3348725"/>
                </a:lnTo>
                <a:cubicBezTo>
                  <a:pt x="532802" y="3342220"/>
                  <a:pt x="533422" y="3336024"/>
                  <a:pt x="538482" y="3331377"/>
                </a:cubicBezTo>
                <a:cubicBezTo>
                  <a:pt x="544057" y="3330447"/>
                  <a:pt x="547258" y="3328434"/>
                  <a:pt x="549943" y="3326265"/>
                </a:cubicBezTo>
                <a:lnTo>
                  <a:pt x="554899" y="3322393"/>
                </a:lnTo>
                <a:lnTo>
                  <a:pt x="555209" y="3318056"/>
                </a:lnTo>
                <a:cubicBezTo>
                  <a:pt x="557171" y="3316662"/>
                  <a:pt x="557481" y="3318210"/>
                  <a:pt x="559546" y="3318830"/>
                </a:cubicBezTo>
                <a:cubicBezTo>
                  <a:pt x="560372" y="3316352"/>
                  <a:pt x="558720" y="3314338"/>
                  <a:pt x="555725" y="3314028"/>
                </a:cubicBezTo>
                <a:cubicBezTo>
                  <a:pt x="557171" y="3313099"/>
                  <a:pt x="558100" y="3311086"/>
                  <a:pt x="558926" y="3308762"/>
                </a:cubicBezTo>
                <a:lnTo>
                  <a:pt x="559339" y="3307213"/>
                </a:lnTo>
                <a:lnTo>
                  <a:pt x="558720" y="3304270"/>
                </a:lnTo>
                <a:cubicBezTo>
                  <a:pt x="559339" y="3303496"/>
                  <a:pt x="559855" y="3303186"/>
                  <a:pt x="560268" y="3303341"/>
                </a:cubicBezTo>
                <a:lnTo>
                  <a:pt x="560475" y="3303496"/>
                </a:lnTo>
                <a:lnTo>
                  <a:pt x="560991" y="3301482"/>
                </a:lnTo>
                <a:lnTo>
                  <a:pt x="562437" y="3298229"/>
                </a:lnTo>
                <a:lnTo>
                  <a:pt x="561921" y="3298849"/>
                </a:lnTo>
                <a:cubicBezTo>
                  <a:pt x="562333" y="3295751"/>
                  <a:pt x="564915" y="3293737"/>
                  <a:pt x="565535" y="3290020"/>
                </a:cubicBezTo>
                <a:lnTo>
                  <a:pt x="565431" y="3288935"/>
                </a:lnTo>
                <a:lnTo>
                  <a:pt x="565225" y="3288006"/>
                </a:lnTo>
                <a:lnTo>
                  <a:pt x="565431" y="3287541"/>
                </a:lnTo>
                <a:close/>
                <a:moveTo>
                  <a:pt x="157466" y="3284908"/>
                </a:moveTo>
                <a:cubicBezTo>
                  <a:pt x="161906" y="3284289"/>
                  <a:pt x="166449" y="3285218"/>
                  <a:pt x="170786" y="3287232"/>
                </a:cubicBezTo>
                <a:cubicBezTo>
                  <a:pt x="183693" y="3292963"/>
                  <a:pt x="193502" y="3307368"/>
                  <a:pt x="184313" y="3315578"/>
                </a:cubicBezTo>
                <a:cubicBezTo>
                  <a:pt x="182557" y="3317126"/>
                  <a:pt x="180079" y="3318366"/>
                  <a:pt x="176775" y="3319450"/>
                </a:cubicBezTo>
                <a:cubicBezTo>
                  <a:pt x="169650" y="3313719"/>
                  <a:pt x="157156" y="3306439"/>
                  <a:pt x="155504" y="3295751"/>
                </a:cubicBezTo>
                <a:cubicBezTo>
                  <a:pt x="155297" y="3294202"/>
                  <a:pt x="155194" y="3292653"/>
                  <a:pt x="155504" y="3290949"/>
                </a:cubicBezTo>
                <a:cubicBezTo>
                  <a:pt x="155814" y="3288935"/>
                  <a:pt x="156433" y="3286922"/>
                  <a:pt x="157466" y="3284908"/>
                </a:cubicBezTo>
                <a:close/>
                <a:moveTo>
                  <a:pt x="6705722" y="3284822"/>
                </a:moveTo>
                <a:cubicBezTo>
                  <a:pt x="6710137" y="3285639"/>
                  <a:pt x="6711066" y="3295359"/>
                  <a:pt x="6704328" y="3295901"/>
                </a:cubicBezTo>
                <a:cubicBezTo>
                  <a:pt x="6703398" y="3293835"/>
                  <a:pt x="6700765" y="3291358"/>
                  <a:pt x="6700301" y="3287640"/>
                </a:cubicBezTo>
                <a:cubicBezTo>
                  <a:pt x="6702392" y="3285265"/>
                  <a:pt x="6704251" y="3284549"/>
                  <a:pt x="6705722" y="3284822"/>
                </a:cubicBezTo>
                <a:close/>
                <a:moveTo>
                  <a:pt x="243994" y="3282120"/>
                </a:moveTo>
                <a:cubicBezTo>
                  <a:pt x="248435" y="3280261"/>
                  <a:pt x="255043" y="3286612"/>
                  <a:pt x="254011" y="3290794"/>
                </a:cubicBezTo>
                <a:cubicBezTo>
                  <a:pt x="252256" y="3292653"/>
                  <a:pt x="250396" y="3294356"/>
                  <a:pt x="248641" y="3296060"/>
                </a:cubicBezTo>
                <a:cubicBezTo>
                  <a:pt x="244201" y="3297300"/>
                  <a:pt x="240484" y="3294976"/>
                  <a:pt x="239658" y="3291414"/>
                </a:cubicBezTo>
                <a:cubicBezTo>
                  <a:pt x="239348" y="3290175"/>
                  <a:pt x="239452" y="3288935"/>
                  <a:pt x="239864" y="3287541"/>
                </a:cubicBezTo>
                <a:cubicBezTo>
                  <a:pt x="240484" y="3285682"/>
                  <a:pt x="241826" y="3283824"/>
                  <a:pt x="243994" y="3282120"/>
                </a:cubicBezTo>
                <a:close/>
                <a:moveTo>
                  <a:pt x="333931" y="3281655"/>
                </a:moveTo>
                <a:cubicBezTo>
                  <a:pt x="336306" y="3284443"/>
                  <a:pt x="338784" y="3287232"/>
                  <a:pt x="338577" y="3289710"/>
                </a:cubicBezTo>
                <a:lnTo>
                  <a:pt x="336616" y="3290329"/>
                </a:lnTo>
                <a:lnTo>
                  <a:pt x="337132" y="3290794"/>
                </a:lnTo>
                <a:cubicBezTo>
                  <a:pt x="338164" y="3292033"/>
                  <a:pt x="338784" y="3293272"/>
                  <a:pt x="338267" y="3294976"/>
                </a:cubicBezTo>
                <a:cubicBezTo>
                  <a:pt x="337648" y="3294202"/>
                  <a:pt x="336719" y="3293272"/>
                  <a:pt x="335790" y="3292188"/>
                </a:cubicBezTo>
                <a:lnTo>
                  <a:pt x="334860" y="3290949"/>
                </a:lnTo>
                <a:lnTo>
                  <a:pt x="332485" y="3291723"/>
                </a:lnTo>
                <a:cubicBezTo>
                  <a:pt x="330420" y="3291568"/>
                  <a:pt x="328355" y="3290639"/>
                  <a:pt x="326393" y="3288625"/>
                </a:cubicBezTo>
                <a:cubicBezTo>
                  <a:pt x="325877" y="3284443"/>
                  <a:pt x="331246" y="3282739"/>
                  <a:pt x="333931" y="3281655"/>
                </a:cubicBezTo>
                <a:close/>
                <a:moveTo>
                  <a:pt x="309149" y="3278712"/>
                </a:moveTo>
                <a:cubicBezTo>
                  <a:pt x="311318" y="3277008"/>
                  <a:pt x="317616" y="3277938"/>
                  <a:pt x="319578" y="3280881"/>
                </a:cubicBezTo>
                <a:cubicBezTo>
                  <a:pt x="320198" y="3281810"/>
                  <a:pt x="320404" y="3283049"/>
                  <a:pt x="319682" y="3284443"/>
                </a:cubicBezTo>
                <a:cubicBezTo>
                  <a:pt x="317307" y="3288316"/>
                  <a:pt x="313176" y="3286612"/>
                  <a:pt x="308840" y="3283978"/>
                </a:cubicBezTo>
                <a:cubicBezTo>
                  <a:pt x="309253" y="3282120"/>
                  <a:pt x="308736" y="3280571"/>
                  <a:pt x="309149" y="3278712"/>
                </a:cubicBezTo>
                <a:close/>
                <a:moveTo>
                  <a:pt x="6815233" y="3275766"/>
                </a:moveTo>
                <a:cubicBezTo>
                  <a:pt x="6818796" y="3282168"/>
                  <a:pt x="6822823" y="3285678"/>
                  <a:pt x="6826851" y="3288466"/>
                </a:cubicBezTo>
                <a:lnTo>
                  <a:pt x="6828245" y="3289189"/>
                </a:lnTo>
                <a:lnTo>
                  <a:pt x="6830104" y="3288673"/>
                </a:lnTo>
                <a:cubicBezTo>
                  <a:pt x="6832737" y="3289086"/>
                  <a:pt x="6834596" y="3290531"/>
                  <a:pt x="6836454" y="3292803"/>
                </a:cubicBezTo>
                <a:lnTo>
                  <a:pt x="6835835" y="3293732"/>
                </a:lnTo>
                <a:lnTo>
                  <a:pt x="6843889" y="3298172"/>
                </a:lnTo>
                <a:cubicBezTo>
                  <a:pt x="6842495" y="3300031"/>
                  <a:pt x="6838933" y="3295901"/>
                  <a:pt x="6838003" y="3298586"/>
                </a:cubicBezTo>
                <a:cubicBezTo>
                  <a:pt x="6850240" y="3303129"/>
                  <a:pt x="6853183" y="3307053"/>
                  <a:pt x="6863716" y="3310357"/>
                </a:cubicBezTo>
                <a:cubicBezTo>
                  <a:pt x="6865575" y="3315416"/>
                  <a:pt x="6869912" y="3319753"/>
                  <a:pt x="6875798" y="3323780"/>
                </a:cubicBezTo>
                <a:lnTo>
                  <a:pt x="6884782" y="3330285"/>
                </a:lnTo>
                <a:lnTo>
                  <a:pt x="6884782" y="3352382"/>
                </a:lnTo>
                <a:lnTo>
                  <a:pt x="6873784" y="3344328"/>
                </a:lnTo>
                <a:cubicBezTo>
                  <a:pt x="6867588" y="3339371"/>
                  <a:pt x="6861393" y="3333796"/>
                  <a:pt x="6857210" y="3327188"/>
                </a:cubicBezTo>
                <a:cubicBezTo>
                  <a:pt x="6851324" y="3325329"/>
                  <a:pt x="6842960" y="3324296"/>
                  <a:pt x="6839707" y="3318824"/>
                </a:cubicBezTo>
                <a:cubicBezTo>
                  <a:pt x="6840791" y="3317585"/>
                  <a:pt x="6842341" y="3317378"/>
                  <a:pt x="6843734" y="3315520"/>
                </a:cubicBezTo>
                <a:cubicBezTo>
                  <a:pt x="6836144" y="3310150"/>
                  <a:pt x="6829484" y="3308085"/>
                  <a:pt x="6823288" y="3305400"/>
                </a:cubicBezTo>
                <a:cubicBezTo>
                  <a:pt x="6816628" y="3303335"/>
                  <a:pt x="6811826" y="3300341"/>
                  <a:pt x="6807489" y="3292184"/>
                </a:cubicBezTo>
                <a:cubicBezTo>
                  <a:pt x="6811826" y="3289809"/>
                  <a:pt x="6810432" y="3298379"/>
                  <a:pt x="6817867" y="3299928"/>
                </a:cubicBezTo>
                <a:cubicBezTo>
                  <a:pt x="6818022" y="3290944"/>
                  <a:pt x="6809348" y="3284542"/>
                  <a:pt x="6801448" y="3279896"/>
                </a:cubicBezTo>
                <a:cubicBezTo>
                  <a:pt x="6803771" y="3277521"/>
                  <a:pt x="6806405" y="3278347"/>
                  <a:pt x="6809193" y="3278450"/>
                </a:cubicBezTo>
                <a:cubicBezTo>
                  <a:pt x="6811206" y="3279070"/>
                  <a:pt x="6813995" y="3279173"/>
                  <a:pt x="6815233" y="3275766"/>
                </a:cubicBezTo>
                <a:close/>
                <a:moveTo>
                  <a:pt x="517933" y="3275150"/>
                </a:moveTo>
                <a:lnTo>
                  <a:pt x="517727" y="3275769"/>
                </a:lnTo>
                <a:cubicBezTo>
                  <a:pt x="517417" y="3276389"/>
                  <a:pt x="516695" y="3277008"/>
                  <a:pt x="515662" y="3277783"/>
                </a:cubicBezTo>
                <a:lnTo>
                  <a:pt x="516901" y="3279796"/>
                </a:lnTo>
                <a:lnTo>
                  <a:pt x="519792" y="3279022"/>
                </a:lnTo>
                <a:lnTo>
                  <a:pt x="519482" y="3277938"/>
                </a:lnTo>
                <a:cubicBezTo>
                  <a:pt x="519069" y="3277318"/>
                  <a:pt x="518553" y="3277163"/>
                  <a:pt x="517933" y="3278092"/>
                </a:cubicBezTo>
                <a:close/>
                <a:moveTo>
                  <a:pt x="518450" y="3269109"/>
                </a:moveTo>
                <a:cubicBezTo>
                  <a:pt x="517520" y="3269109"/>
                  <a:pt x="516591" y="3269418"/>
                  <a:pt x="515868" y="3269883"/>
                </a:cubicBezTo>
                <a:lnTo>
                  <a:pt x="517933" y="3273600"/>
                </a:lnTo>
                <a:lnTo>
                  <a:pt x="518037" y="3272671"/>
                </a:lnTo>
                <a:lnTo>
                  <a:pt x="519586" y="3269109"/>
                </a:lnTo>
                <a:close/>
                <a:moveTo>
                  <a:pt x="601055" y="3268954"/>
                </a:moveTo>
                <a:lnTo>
                  <a:pt x="597337" y="3270038"/>
                </a:lnTo>
                <a:lnTo>
                  <a:pt x="597854" y="3270348"/>
                </a:lnTo>
                <a:lnTo>
                  <a:pt x="593414" y="3275614"/>
                </a:lnTo>
                <a:lnTo>
                  <a:pt x="592278" y="3279796"/>
                </a:lnTo>
                <a:cubicBezTo>
                  <a:pt x="591865" y="3281655"/>
                  <a:pt x="591555" y="3283359"/>
                  <a:pt x="591039" y="3284908"/>
                </a:cubicBezTo>
                <a:lnTo>
                  <a:pt x="590832" y="3285682"/>
                </a:lnTo>
                <a:lnTo>
                  <a:pt x="593414" y="3283204"/>
                </a:lnTo>
                <a:cubicBezTo>
                  <a:pt x="595995" y="3278712"/>
                  <a:pt x="596821" y="3273446"/>
                  <a:pt x="599506" y="3269883"/>
                </a:cubicBezTo>
                <a:close/>
                <a:moveTo>
                  <a:pt x="229448" y="3265759"/>
                </a:moveTo>
                <a:cubicBezTo>
                  <a:pt x="232585" y="3265585"/>
                  <a:pt x="235579" y="3267173"/>
                  <a:pt x="236250" y="3269883"/>
                </a:cubicBezTo>
                <a:cubicBezTo>
                  <a:pt x="236767" y="3271742"/>
                  <a:pt x="236147" y="3274065"/>
                  <a:pt x="233979" y="3276699"/>
                </a:cubicBezTo>
                <a:cubicBezTo>
                  <a:pt x="228713" y="3274220"/>
                  <a:pt x="224789" y="3276389"/>
                  <a:pt x="221795" y="3272207"/>
                </a:cubicBezTo>
                <a:cubicBezTo>
                  <a:pt x="223034" y="3267870"/>
                  <a:pt x="226312" y="3265933"/>
                  <a:pt x="229448" y="3265759"/>
                </a:cubicBezTo>
                <a:close/>
                <a:moveTo>
                  <a:pt x="260103" y="3265391"/>
                </a:moveTo>
                <a:cubicBezTo>
                  <a:pt x="266918" y="3268489"/>
                  <a:pt x="277966" y="3273911"/>
                  <a:pt x="281167" y="3280416"/>
                </a:cubicBezTo>
                <a:cubicBezTo>
                  <a:pt x="273113" y="3286612"/>
                  <a:pt x="261651" y="3271277"/>
                  <a:pt x="260103" y="3265391"/>
                </a:cubicBezTo>
                <a:close/>
                <a:moveTo>
                  <a:pt x="6505596" y="3264717"/>
                </a:moveTo>
                <a:lnTo>
                  <a:pt x="6501568" y="3265957"/>
                </a:lnTo>
                <a:lnTo>
                  <a:pt x="6503117" y="3266060"/>
                </a:lnTo>
                <a:close/>
                <a:moveTo>
                  <a:pt x="387844" y="3257027"/>
                </a:moveTo>
                <a:cubicBezTo>
                  <a:pt x="391058" y="3258498"/>
                  <a:pt x="394026" y="3260667"/>
                  <a:pt x="395265" y="3261209"/>
                </a:cubicBezTo>
                <a:cubicBezTo>
                  <a:pt x="395265" y="3261209"/>
                  <a:pt x="396195" y="3261364"/>
                  <a:pt x="397020" y="3262293"/>
                </a:cubicBezTo>
                <a:cubicBezTo>
                  <a:pt x="398776" y="3263222"/>
                  <a:pt x="396195" y="3263842"/>
                  <a:pt x="397020" y="3264771"/>
                </a:cubicBezTo>
                <a:cubicBezTo>
                  <a:pt x="390102" y="3262293"/>
                  <a:pt x="384114" y="3263377"/>
                  <a:pt x="384114" y="3263377"/>
                </a:cubicBezTo>
                <a:cubicBezTo>
                  <a:pt x="382358" y="3262448"/>
                  <a:pt x="382358" y="3261674"/>
                  <a:pt x="382358" y="3262448"/>
                </a:cubicBezTo>
                <a:cubicBezTo>
                  <a:pt x="380602" y="3260589"/>
                  <a:pt x="378125" y="3258731"/>
                  <a:pt x="378951" y="3257027"/>
                </a:cubicBezTo>
                <a:cubicBezTo>
                  <a:pt x="381171" y="3254781"/>
                  <a:pt x="384630" y="3255555"/>
                  <a:pt x="387844" y="3257027"/>
                </a:cubicBezTo>
                <a:close/>
                <a:moveTo>
                  <a:pt x="522373" y="3254393"/>
                </a:moveTo>
                <a:lnTo>
                  <a:pt x="521857" y="3254703"/>
                </a:lnTo>
                <a:cubicBezTo>
                  <a:pt x="521341" y="3255168"/>
                  <a:pt x="520618" y="3255633"/>
                  <a:pt x="519689" y="3255168"/>
                </a:cubicBezTo>
                <a:cubicBezTo>
                  <a:pt x="519482" y="3256562"/>
                  <a:pt x="519172" y="3258886"/>
                  <a:pt x="519172" y="3261209"/>
                </a:cubicBezTo>
                <a:cubicBezTo>
                  <a:pt x="519069" y="3263377"/>
                  <a:pt x="519276" y="3265546"/>
                  <a:pt x="520205" y="3266321"/>
                </a:cubicBezTo>
                <a:lnTo>
                  <a:pt x="520722" y="3266475"/>
                </a:lnTo>
                <a:lnTo>
                  <a:pt x="522786" y="3259970"/>
                </a:lnTo>
                <a:lnTo>
                  <a:pt x="523096" y="3255323"/>
                </a:lnTo>
                <a:close/>
                <a:moveTo>
                  <a:pt x="201659" y="3253154"/>
                </a:moveTo>
                <a:cubicBezTo>
                  <a:pt x="207752" y="3249282"/>
                  <a:pt x="220349" y="3259040"/>
                  <a:pt x="216632" y="3263997"/>
                </a:cubicBezTo>
                <a:cubicBezTo>
                  <a:pt x="216116" y="3264617"/>
                  <a:pt x="215290" y="3265236"/>
                  <a:pt x="214050" y="3265701"/>
                </a:cubicBezTo>
                <a:cubicBezTo>
                  <a:pt x="206719" y="3264926"/>
                  <a:pt x="201350" y="3262603"/>
                  <a:pt x="200421" y="3255478"/>
                </a:cubicBezTo>
                <a:cubicBezTo>
                  <a:pt x="201659" y="3255478"/>
                  <a:pt x="201659" y="3254393"/>
                  <a:pt x="201659" y="3253154"/>
                </a:cubicBezTo>
                <a:close/>
                <a:moveTo>
                  <a:pt x="223860" y="3249746"/>
                </a:moveTo>
                <a:cubicBezTo>
                  <a:pt x="232327" y="3248817"/>
                  <a:pt x="233050" y="3255478"/>
                  <a:pt x="229332" y="3258576"/>
                </a:cubicBezTo>
                <a:cubicBezTo>
                  <a:pt x="227990" y="3259505"/>
                  <a:pt x="226235" y="3260124"/>
                  <a:pt x="224066" y="3259815"/>
                </a:cubicBezTo>
                <a:cubicBezTo>
                  <a:pt x="223137" y="3258886"/>
                  <a:pt x="222621" y="3256717"/>
                  <a:pt x="222621" y="3254703"/>
                </a:cubicBezTo>
                <a:cubicBezTo>
                  <a:pt x="222517" y="3252535"/>
                  <a:pt x="222931" y="3250521"/>
                  <a:pt x="223860" y="3249746"/>
                </a:cubicBezTo>
                <a:close/>
                <a:moveTo>
                  <a:pt x="6499245" y="3247577"/>
                </a:moveTo>
                <a:cubicBezTo>
                  <a:pt x="6495528" y="3247990"/>
                  <a:pt x="6491191" y="3248093"/>
                  <a:pt x="6487783" y="3249332"/>
                </a:cubicBezTo>
                <a:cubicBezTo>
                  <a:pt x="6475236" y="3247680"/>
                  <a:pt x="6466562" y="3247990"/>
                  <a:pt x="6457423" y="3249023"/>
                </a:cubicBezTo>
                <a:cubicBezTo>
                  <a:pt x="6452002" y="3249952"/>
                  <a:pt x="6446580" y="3251294"/>
                  <a:pt x="6440385" y="3252843"/>
                </a:cubicBezTo>
                <a:lnTo>
                  <a:pt x="6422572" y="3257490"/>
                </a:lnTo>
                <a:lnTo>
                  <a:pt x="6423036" y="3258419"/>
                </a:lnTo>
                <a:lnTo>
                  <a:pt x="6423346" y="3263065"/>
                </a:lnTo>
                <a:lnTo>
                  <a:pt x="6425050" y="3261000"/>
                </a:lnTo>
                <a:cubicBezTo>
                  <a:pt x="6427838" y="3260174"/>
                  <a:pt x="6431091" y="3263995"/>
                  <a:pt x="6434653" y="3264614"/>
                </a:cubicBezTo>
                <a:cubicBezTo>
                  <a:pt x="6436512" y="3263581"/>
                  <a:pt x="6438371" y="3262652"/>
                  <a:pt x="6440540" y="3262549"/>
                </a:cubicBezTo>
                <a:cubicBezTo>
                  <a:pt x="6436977" y="3259967"/>
                  <a:pt x="6429232" y="3261413"/>
                  <a:pt x="6427838" y="3257180"/>
                </a:cubicBezTo>
                <a:cubicBezTo>
                  <a:pt x="6433724" y="3256767"/>
                  <a:pt x="6435428" y="3260277"/>
                  <a:pt x="6444257" y="3257799"/>
                </a:cubicBezTo>
                <a:cubicBezTo>
                  <a:pt x="6446890" y="3263065"/>
                  <a:pt x="6442088" y="3266060"/>
                  <a:pt x="6453241" y="3263478"/>
                </a:cubicBezTo>
                <a:cubicBezTo>
                  <a:pt x="6448284" y="3265027"/>
                  <a:pt x="6448284" y="3269570"/>
                  <a:pt x="6441624" y="3269777"/>
                </a:cubicBezTo>
                <a:cubicBezTo>
                  <a:pt x="6441624" y="3271945"/>
                  <a:pt x="6444876" y="3272978"/>
                  <a:pt x="6448439" y="3273288"/>
                </a:cubicBezTo>
                <a:cubicBezTo>
                  <a:pt x="6450608" y="3273184"/>
                  <a:pt x="6452776" y="3273184"/>
                  <a:pt x="6454945" y="3273081"/>
                </a:cubicBezTo>
                <a:cubicBezTo>
                  <a:pt x="6455874" y="3272668"/>
                  <a:pt x="6457268" y="3272978"/>
                  <a:pt x="6458043" y="3272565"/>
                </a:cubicBezTo>
                <a:cubicBezTo>
                  <a:pt x="6458817" y="3272771"/>
                  <a:pt x="6459437" y="3272978"/>
                  <a:pt x="6459592" y="3272255"/>
                </a:cubicBezTo>
                <a:cubicBezTo>
                  <a:pt x="6460366" y="3272462"/>
                  <a:pt x="6460366" y="3272462"/>
                  <a:pt x="6461141" y="3272049"/>
                </a:cubicBezTo>
                <a:cubicBezTo>
                  <a:pt x="6468111" y="3271119"/>
                  <a:pt x="6473223" y="3268848"/>
                  <a:pt x="6464394" y="3269157"/>
                </a:cubicBezTo>
                <a:cubicBezTo>
                  <a:pt x="6467956" y="3265027"/>
                  <a:pt x="6483601" y="3269880"/>
                  <a:pt x="6480038" y="3263478"/>
                </a:cubicBezTo>
                <a:cubicBezTo>
                  <a:pt x="6485769" y="3261516"/>
                  <a:pt x="6489177" y="3262549"/>
                  <a:pt x="6492120" y="3264201"/>
                </a:cubicBezTo>
                <a:lnTo>
                  <a:pt x="6495528" y="3265337"/>
                </a:lnTo>
                <a:lnTo>
                  <a:pt x="6493669" y="3261310"/>
                </a:lnTo>
                <a:cubicBezTo>
                  <a:pt x="6498161" y="3258315"/>
                  <a:pt x="6501104" y="3254805"/>
                  <a:pt x="6503737" y="3251397"/>
                </a:cubicBezTo>
                <a:lnTo>
                  <a:pt x="6506990" y="3247990"/>
                </a:lnTo>
                <a:close/>
                <a:moveTo>
                  <a:pt x="177188" y="3247423"/>
                </a:moveTo>
                <a:cubicBezTo>
                  <a:pt x="182557" y="3245719"/>
                  <a:pt x="192883" y="3261364"/>
                  <a:pt x="174710" y="3256097"/>
                </a:cubicBezTo>
                <a:cubicBezTo>
                  <a:pt x="174193" y="3250211"/>
                  <a:pt x="175432" y="3247888"/>
                  <a:pt x="177188" y="3247423"/>
                </a:cubicBezTo>
                <a:close/>
                <a:moveTo>
                  <a:pt x="6749848" y="3247048"/>
                </a:moveTo>
                <a:cubicBezTo>
                  <a:pt x="6753120" y="3245925"/>
                  <a:pt x="6756993" y="3246131"/>
                  <a:pt x="6761639" y="3247164"/>
                </a:cubicBezTo>
                <a:cubicBezTo>
                  <a:pt x="6763033" y="3252739"/>
                  <a:pt x="6758541" y="3261310"/>
                  <a:pt x="6752191" y="3262549"/>
                </a:cubicBezTo>
                <a:cubicBezTo>
                  <a:pt x="6745065" y="3260071"/>
                  <a:pt x="6746305" y="3255940"/>
                  <a:pt x="6741658" y="3254908"/>
                </a:cubicBezTo>
                <a:cubicBezTo>
                  <a:pt x="6743904" y="3250623"/>
                  <a:pt x="6746576" y="3248171"/>
                  <a:pt x="6749848" y="3247048"/>
                </a:cubicBezTo>
                <a:close/>
                <a:moveTo>
                  <a:pt x="340849" y="3245564"/>
                </a:moveTo>
                <a:cubicBezTo>
                  <a:pt x="340849" y="3246339"/>
                  <a:pt x="340849" y="3246339"/>
                  <a:pt x="340849" y="3246339"/>
                </a:cubicBezTo>
                <a:cubicBezTo>
                  <a:pt x="341675" y="3247268"/>
                  <a:pt x="341675" y="3246494"/>
                  <a:pt x="342604" y="3246649"/>
                </a:cubicBezTo>
                <a:cubicBezTo>
                  <a:pt x="342604" y="3246649"/>
                  <a:pt x="341778" y="3246494"/>
                  <a:pt x="342708" y="3245719"/>
                </a:cubicBezTo>
                <a:cubicBezTo>
                  <a:pt x="342604" y="3246649"/>
                  <a:pt x="343534" y="3246649"/>
                  <a:pt x="344360" y="3246649"/>
                </a:cubicBezTo>
                <a:cubicBezTo>
                  <a:pt x="346115" y="3248507"/>
                  <a:pt x="347870" y="3251296"/>
                  <a:pt x="346941" y="3252844"/>
                </a:cubicBezTo>
                <a:cubicBezTo>
                  <a:pt x="345186" y="3254393"/>
                  <a:pt x="343431" y="3253464"/>
                  <a:pt x="342501" y="3252535"/>
                </a:cubicBezTo>
                <a:cubicBezTo>
                  <a:pt x="341262" y="3251915"/>
                  <a:pt x="340643" y="3250831"/>
                  <a:pt x="340436" y="3249437"/>
                </a:cubicBezTo>
                <a:cubicBezTo>
                  <a:pt x="340229" y="3248198"/>
                  <a:pt x="340436" y="3246803"/>
                  <a:pt x="340849" y="3245564"/>
                </a:cubicBezTo>
                <a:close/>
                <a:moveTo>
                  <a:pt x="162835" y="3242466"/>
                </a:moveTo>
                <a:cubicBezTo>
                  <a:pt x="163558" y="3242466"/>
                  <a:pt x="164178" y="3242776"/>
                  <a:pt x="164591" y="3243086"/>
                </a:cubicBezTo>
                <a:cubicBezTo>
                  <a:pt x="172231" y="3249746"/>
                  <a:pt x="168721" y="3256717"/>
                  <a:pt x="169547" y="3258576"/>
                </a:cubicBezTo>
                <a:cubicBezTo>
                  <a:pt x="166965" y="3260744"/>
                  <a:pt x="166965" y="3260744"/>
                  <a:pt x="161803" y="3256097"/>
                </a:cubicBezTo>
                <a:cubicBezTo>
                  <a:pt x="160977" y="3255168"/>
                  <a:pt x="160357" y="3254084"/>
                  <a:pt x="160048" y="3252844"/>
                </a:cubicBezTo>
                <a:cubicBezTo>
                  <a:pt x="159738" y="3251760"/>
                  <a:pt x="159738" y="3250521"/>
                  <a:pt x="160254" y="3249282"/>
                </a:cubicBezTo>
                <a:cubicBezTo>
                  <a:pt x="159738" y="3248353"/>
                  <a:pt x="159531" y="3247423"/>
                  <a:pt x="159531" y="3246339"/>
                </a:cubicBezTo>
                <a:cubicBezTo>
                  <a:pt x="159531" y="3245410"/>
                  <a:pt x="159841" y="3244325"/>
                  <a:pt x="160254" y="3243551"/>
                </a:cubicBezTo>
                <a:cubicBezTo>
                  <a:pt x="161183" y="3242776"/>
                  <a:pt x="162009" y="3242466"/>
                  <a:pt x="162835" y="3242466"/>
                </a:cubicBezTo>
                <a:close/>
                <a:moveTo>
                  <a:pt x="256179" y="3239214"/>
                </a:moveTo>
                <a:cubicBezTo>
                  <a:pt x="257831" y="3239523"/>
                  <a:pt x="259380" y="3240608"/>
                  <a:pt x="260516" y="3243241"/>
                </a:cubicBezTo>
                <a:cubicBezTo>
                  <a:pt x="259173" y="3245255"/>
                  <a:pt x="257934" y="3245874"/>
                  <a:pt x="256695" y="3246029"/>
                </a:cubicBezTo>
                <a:lnTo>
                  <a:pt x="253288" y="3244945"/>
                </a:lnTo>
                <a:lnTo>
                  <a:pt x="253391" y="3245564"/>
                </a:lnTo>
                <a:cubicBezTo>
                  <a:pt x="253391" y="3245719"/>
                  <a:pt x="253184" y="3245564"/>
                  <a:pt x="252771" y="3245410"/>
                </a:cubicBezTo>
                <a:cubicBezTo>
                  <a:pt x="252668" y="3247268"/>
                  <a:pt x="252256" y="3247888"/>
                  <a:pt x="251739" y="3248662"/>
                </a:cubicBezTo>
                <a:cubicBezTo>
                  <a:pt x="250500" y="3248817"/>
                  <a:pt x="249054" y="3247888"/>
                  <a:pt x="247918" y="3246184"/>
                </a:cubicBezTo>
                <a:cubicBezTo>
                  <a:pt x="249157" y="3246029"/>
                  <a:pt x="249364" y="3244015"/>
                  <a:pt x="250500" y="3243860"/>
                </a:cubicBezTo>
                <a:cubicBezTo>
                  <a:pt x="250500" y="3243860"/>
                  <a:pt x="251223" y="3244015"/>
                  <a:pt x="251842" y="3244325"/>
                </a:cubicBezTo>
                <a:lnTo>
                  <a:pt x="253184" y="3244635"/>
                </a:lnTo>
                <a:lnTo>
                  <a:pt x="253907" y="3243241"/>
                </a:lnTo>
                <a:cubicBezTo>
                  <a:pt x="254217" y="3241537"/>
                  <a:pt x="253288" y="3240143"/>
                  <a:pt x="256179" y="3239214"/>
                </a:cubicBezTo>
                <a:close/>
                <a:moveTo>
                  <a:pt x="317720" y="3232553"/>
                </a:moveTo>
                <a:cubicBezTo>
                  <a:pt x="319475" y="3232708"/>
                  <a:pt x="321230" y="3232088"/>
                  <a:pt x="322986" y="3233018"/>
                </a:cubicBezTo>
                <a:cubicBezTo>
                  <a:pt x="324638" y="3234877"/>
                  <a:pt x="323709" y="3238904"/>
                  <a:pt x="322883" y="3240453"/>
                </a:cubicBezTo>
                <a:cubicBezTo>
                  <a:pt x="321127" y="3242002"/>
                  <a:pt x="318443" y="3240918"/>
                  <a:pt x="316790" y="3239059"/>
                </a:cubicBezTo>
                <a:cubicBezTo>
                  <a:pt x="315964" y="3238594"/>
                  <a:pt x="315551" y="3237665"/>
                  <a:pt x="315448" y="3236735"/>
                </a:cubicBezTo>
                <a:cubicBezTo>
                  <a:pt x="315345" y="3235806"/>
                  <a:pt x="315551" y="3234877"/>
                  <a:pt x="316067" y="3234102"/>
                </a:cubicBezTo>
                <a:cubicBezTo>
                  <a:pt x="316893" y="3233328"/>
                  <a:pt x="316893" y="3233328"/>
                  <a:pt x="317720" y="3232553"/>
                </a:cubicBezTo>
                <a:close/>
                <a:moveTo>
                  <a:pt x="404442" y="3229784"/>
                </a:moveTo>
                <a:cubicBezTo>
                  <a:pt x="407269" y="3230346"/>
                  <a:pt x="409773" y="3232011"/>
                  <a:pt x="410753" y="3235961"/>
                </a:cubicBezTo>
                <a:cubicBezTo>
                  <a:pt x="409824" y="3236580"/>
                  <a:pt x="408792" y="3237200"/>
                  <a:pt x="407862" y="3237975"/>
                </a:cubicBezTo>
                <a:cubicBezTo>
                  <a:pt x="403835" y="3233947"/>
                  <a:pt x="399498" y="3233173"/>
                  <a:pt x="396195" y="3230230"/>
                </a:cubicBezTo>
                <a:cubicBezTo>
                  <a:pt x="398466" y="3229765"/>
                  <a:pt x="401615" y="3229223"/>
                  <a:pt x="404442" y="3229784"/>
                </a:cubicBezTo>
                <a:close/>
                <a:moveTo>
                  <a:pt x="500445" y="3229417"/>
                </a:moveTo>
                <a:cubicBezTo>
                  <a:pt x="502084" y="3228526"/>
                  <a:pt x="503891" y="3228293"/>
                  <a:pt x="505129" y="3229455"/>
                </a:cubicBezTo>
                <a:cubicBezTo>
                  <a:pt x="506782" y="3231933"/>
                  <a:pt x="501206" y="3240608"/>
                  <a:pt x="496972" y="3235806"/>
                </a:cubicBezTo>
                <a:cubicBezTo>
                  <a:pt x="496353" y="3235186"/>
                  <a:pt x="496353" y="3234257"/>
                  <a:pt x="496766" y="3233328"/>
                </a:cubicBezTo>
                <a:cubicBezTo>
                  <a:pt x="497334" y="3231856"/>
                  <a:pt x="498805" y="3230307"/>
                  <a:pt x="500445" y="3229417"/>
                </a:cubicBezTo>
                <a:close/>
                <a:moveTo>
                  <a:pt x="525368" y="3228061"/>
                </a:moveTo>
                <a:cubicBezTo>
                  <a:pt x="527433" y="3227751"/>
                  <a:pt x="527846" y="3228371"/>
                  <a:pt x="527536" y="3229610"/>
                </a:cubicBezTo>
                <a:cubicBezTo>
                  <a:pt x="527536" y="3229610"/>
                  <a:pt x="527124" y="3230849"/>
                  <a:pt x="526814" y="3231933"/>
                </a:cubicBezTo>
                <a:cubicBezTo>
                  <a:pt x="526503" y="3233173"/>
                  <a:pt x="526917" y="3233792"/>
                  <a:pt x="526917" y="3233792"/>
                </a:cubicBezTo>
                <a:cubicBezTo>
                  <a:pt x="526607" y="3235031"/>
                  <a:pt x="525884" y="3235651"/>
                  <a:pt x="524645" y="3235341"/>
                </a:cubicBezTo>
                <a:cubicBezTo>
                  <a:pt x="524645" y="3235341"/>
                  <a:pt x="524439" y="3233482"/>
                  <a:pt x="524439" y="3233482"/>
                </a:cubicBezTo>
                <a:cubicBezTo>
                  <a:pt x="525161" y="3231159"/>
                  <a:pt x="525471" y="3229920"/>
                  <a:pt x="525368" y="3228061"/>
                </a:cubicBezTo>
                <a:close/>
                <a:moveTo>
                  <a:pt x="309975" y="3227442"/>
                </a:moveTo>
                <a:cubicBezTo>
                  <a:pt x="310182" y="3230385"/>
                  <a:pt x="308633" y="3231314"/>
                  <a:pt x="305432" y="3233018"/>
                </a:cubicBezTo>
                <a:cubicBezTo>
                  <a:pt x="305226" y="3231004"/>
                  <a:pt x="305432" y="3229765"/>
                  <a:pt x="306258" y="3228835"/>
                </a:cubicBezTo>
                <a:cubicBezTo>
                  <a:pt x="306981" y="3228061"/>
                  <a:pt x="308323" y="3227751"/>
                  <a:pt x="309975" y="3227442"/>
                </a:cubicBezTo>
                <a:close/>
                <a:moveTo>
                  <a:pt x="426242" y="3226105"/>
                </a:moveTo>
                <a:cubicBezTo>
                  <a:pt x="429856" y="3225234"/>
                  <a:pt x="433676" y="3225350"/>
                  <a:pt x="435845" y="3226512"/>
                </a:cubicBezTo>
                <a:cubicBezTo>
                  <a:pt x="437187" y="3230075"/>
                  <a:pt x="436877" y="3232863"/>
                  <a:pt x="435638" y="3234877"/>
                </a:cubicBezTo>
                <a:cubicBezTo>
                  <a:pt x="434709" y="3236425"/>
                  <a:pt x="433263" y="3237355"/>
                  <a:pt x="431508" y="3238129"/>
                </a:cubicBezTo>
                <a:lnTo>
                  <a:pt x="429753" y="3238284"/>
                </a:lnTo>
                <a:cubicBezTo>
                  <a:pt x="430475" y="3241382"/>
                  <a:pt x="428823" y="3245255"/>
                  <a:pt x="424177" y="3246803"/>
                </a:cubicBezTo>
                <a:cubicBezTo>
                  <a:pt x="420976" y="3245255"/>
                  <a:pt x="419530" y="3243241"/>
                  <a:pt x="418188" y="3242002"/>
                </a:cubicBezTo>
                <a:lnTo>
                  <a:pt x="420769" y="3236580"/>
                </a:lnTo>
                <a:lnTo>
                  <a:pt x="417878" y="3231624"/>
                </a:lnTo>
                <a:cubicBezTo>
                  <a:pt x="419220" y="3228835"/>
                  <a:pt x="422628" y="3226977"/>
                  <a:pt x="426242" y="3226105"/>
                </a:cubicBezTo>
                <a:close/>
                <a:moveTo>
                  <a:pt x="518759" y="3224653"/>
                </a:moveTo>
                <a:cubicBezTo>
                  <a:pt x="518450" y="3225892"/>
                  <a:pt x="519895" y="3228061"/>
                  <a:pt x="520102" y="3229920"/>
                </a:cubicBezTo>
                <a:cubicBezTo>
                  <a:pt x="519379" y="3230385"/>
                  <a:pt x="519069" y="3231469"/>
                  <a:pt x="518347" y="3231933"/>
                </a:cubicBezTo>
                <a:cubicBezTo>
                  <a:pt x="517933" y="3231314"/>
                  <a:pt x="516281" y="3230385"/>
                  <a:pt x="517004" y="3229920"/>
                </a:cubicBezTo>
                <a:cubicBezTo>
                  <a:pt x="516488" y="3229300"/>
                  <a:pt x="517933" y="3228216"/>
                  <a:pt x="517933" y="3228216"/>
                </a:cubicBezTo>
                <a:cubicBezTo>
                  <a:pt x="517520" y="3227596"/>
                  <a:pt x="517107" y="3226822"/>
                  <a:pt x="517314" y="3225738"/>
                </a:cubicBezTo>
                <a:cubicBezTo>
                  <a:pt x="518553" y="3225892"/>
                  <a:pt x="518037" y="3225118"/>
                  <a:pt x="518759" y="3224653"/>
                </a:cubicBezTo>
                <a:close/>
                <a:moveTo>
                  <a:pt x="462072" y="3223724"/>
                </a:moveTo>
                <a:cubicBezTo>
                  <a:pt x="464860" y="3222485"/>
                  <a:pt x="473121" y="3228835"/>
                  <a:pt x="467545" y="3232243"/>
                </a:cubicBezTo>
                <a:cubicBezTo>
                  <a:pt x="466822" y="3232708"/>
                  <a:pt x="465892" y="3232553"/>
                  <a:pt x="464963" y="3232088"/>
                </a:cubicBezTo>
                <a:cubicBezTo>
                  <a:pt x="462794" y="3231004"/>
                  <a:pt x="460626" y="3228061"/>
                  <a:pt x="460936" y="3225738"/>
                </a:cubicBezTo>
                <a:cubicBezTo>
                  <a:pt x="461039" y="3224963"/>
                  <a:pt x="461349" y="3224188"/>
                  <a:pt x="462072" y="3223724"/>
                </a:cubicBezTo>
                <a:close/>
                <a:moveTo>
                  <a:pt x="333311" y="3219232"/>
                </a:moveTo>
                <a:cubicBezTo>
                  <a:pt x="333621" y="3219387"/>
                  <a:pt x="334137" y="3219387"/>
                  <a:pt x="335066" y="3219232"/>
                </a:cubicBezTo>
                <a:cubicBezTo>
                  <a:pt x="336306" y="3219387"/>
                  <a:pt x="337029" y="3218922"/>
                  <a:pt x="336719" y="3220007"/>
                </a:cubicBezTo>
                <a:cubicBezTo>
                  <a:pt x="336409" y="3221245"/>
                  <a:pt x="336409" y="3221091"/>
                  <a:pt x="334241" y="3222640"/>
                </a:cubicBezTo>
                <a:cubicBezTo>
                  <a:pt x="334551" y="3221400"/>
                  <a:pt x="334551" y="3221400"/>
                  <a:pt x="333415" y="3221245"/>
                </a:cubicBezTo>
                <a:cubicBezTo>
                  <a:pt x="333415" y="3221245"/>
                  <a:pt x="333415" y="3221400"/>
                  <a:pt x="332692" y="3221865"/>
                </a:cubicBezTo>
                <a:cubicBezTo>
                  <a:pt x="332279" y="3221091"/>
                  <a:pt x="333001" y="3220626"/>
                  <a:pt x="332485" y="3220007"/>
                </a:cubicBezTo>
                <a:cubicBezTo>
                  <a:pt x="332485" y="3220007"/>
                  <a:pt x="333208" y="3219542"/>
                  <a:pt x="333208" y="3219542"/>
                </a:cubicBezTo>
                <a:cubicBezTo>
                  <a:pt x="333001" y="3219232"/>
                  <a:pt x="333001" y="3219232"/>
                  <a:pt x="333311" y="3219232"/>
                </a:cubicBezTo>
                <a:close/>
                <a:moveTo>
                  <a:pt x="221175" y="3216289"/>
                </a:moveTo>
                <a:cubicBezTo>
                  <a:pt x="223653" y="3217838"/>
                  <a:pt x="222724" y="3219387"/>
                  <a:pt x="224376" y="3220161"/>
                </a:cubicBezTo>
                <a:cubicBezTo>
                  <a:pt x="221692" y="3223414"/>
                  <a:pt x="219110" y="3223569"/>
                  <a:pt x="215806" y="3222175"/>
                </a:cubicBezTo>
                <a:cubicBezTo>
                  <a:pt x="215909" y="3219697"/>
                  <a:pt x="218593" y="3216444"/>
                  <a:pt x="221175" y="3216289"/>
                </a:cubicBezTo>
                <a:close/>
                <a:moveTo>
                  <a:pt x="6714551" y="3215980"/>
                </a:moveTo>
                <a:cubicBezTo>
                  <a:pt x="6719043" y="3222692"/>
                  <a:pt x="6717494" y="3227545"/>
                  <a:pt x="6718888" y="3233327"/>
                </a:cubicBezTo>
                <a:cubicBezTo>
                  <a:pt x="6715480" y="3236115"/>
                  <a:pt x="6712537" y="3237664"/>
                  <a:pt x="6709904" y="3238284"/>
                </a:cubicBezTo>
                <a:cubicBezTo>
                  <a:pt x="6708045" y="3238800"/>
                  <a:pt x="6706186" y="3238903"/>
                  <a:pt x="6704637" y="3238490"/>
                </a:cubicBezTo>
                <a:cubicBezTo>
                  <a:pt x="6700146" y="3237458"/>
                  <a:pt x="6697667" y="3232914"/>
                  <a:pt x="6697822" y="3228165"/>
                </a:cubicBezTo>
                <a:cubicBezTo>
                  <a:pt x="6697822" y="3225377"/>
                  <a:pt x="6698906" y="3222486"/>
                  <a:pt x="6700920" y="3220214"/>
                </a:cubicBezTo>
                <a:cubicBezTo>
                  <a:pt x="6703553" y="3217220"/>
                  <a:pt x="6708045" y="3215361"/>
                  <a:pt x="6714551" y="3215980"/>
                </a:cubicBezTo>
                <a:close/>
                <a:moveTo>
                  <a:pt x="402286" y="3214895"/>
                </a:moveTo>
                <a:cubicBezTo>
                  <a:pt x="403835" y="3218148"/>
                  <a:pt x="401977" y="3221555"/>
                  <a:pt x="407862" y="3224653"/>
                </a:cubicBezTo>
                <a:lnTo>
                  <a:pt x="404248" y="3226047"/>
                </a:lnTo>
                <a:lnTo>
                  <a:pt x="404764" y="3226202"/>
                </a:lnTo>
                <a:cubicBezTo>
                  <a:pt x="397743" y="3232398"/>
                  <a:pt x="386385" y="3230075"/>
                  <a:pt x="381429" y="3227287"/>
                </a:cubicBezTo>
                <a:cubicBezTo>
                  <a:pt x="384836" y="3224343"/>
                  <a:pt x="389690" y="3222949"/>
                  <a:pt x="394129" y="3222949"/>
                </a:cubicBezTo>
                <a:lnTo>
                  <a:pt x="398363" y="3223414"/>
                </a:lnTo>
                <a:lnTo>
                  <a:pt x="399189" y="3220471"/>
                </a:lnTo>
                <a:cubicBezTo>
                  <a:pt x="400118" y="3218457"/>
                  <a:pt x="401357" y="3216599"/>
                  <a:pt x="402286" y="3214895"/>
                </a:cubicBezTo>
                <a:close/>
                <a:moveTo>
                  <a:pt x="528569" y="3213501"/>
                </a:moveTo>
                <a:cubicBezTo>
                  <a:pt x="530531" y="3213191"/>
                  <a:pt x="530737" y="3215050"/>
                  <a:pt x="530118" y="3217373"/>
                </a:cubicBezTo>
                <a:cubicBezTo>
                  <a:pt x="530118" y="3222175"/>
                  <a:pt x="528362" y="3224343"/>
                  <a:pt x="524748" y="3223879"/>
                </a:cubicBezTo>
                <a:cubicBezTo>
                  <a:pt x="524335" y="3223104"/>
                  <a:pt x="523716" y="3220626"/>
                  <a:pt x="522890" y="3221091"/>
                </a:cubicBezTo>
                <a:cubicBezTo>
                  <a:pt x="523613" y="3218457"/>
                  <a:pt x="524748" y="3215514"/>
                  <a:pt x="526503" y="3214121"/>
                </a:cubicBezTo>
                <a:cubicBezTo>
                  <a:pt x="527124" y="3213810"/>
                  <a:pt x="527846" y="3213501"/>
                  <a:pt x="528569" y="3213501"/>
                </a:cubicBezTo>
                <a:close/>
                <a:moveTo>
                  <a:pt x="417155" y="3210867"/>
                </a:moveTo>
                <a:cubicBezTo>
                  <a:pt x="421492" y="3209783"/>
                  <a:pt x="427275" y="3214585"/>
                  <a:pt x="426242" y="3217993"/>
                </a:cubicBezTo>
                <a:cubicBezTo>
                  <a:pt x="419324" y="3227751"/>
                  <a:pt x="411683" y="3224343"/>
                  <a:pt x="412819" y="3217838"/>
                </a:cubicBezTo>
                <a:cubicBezTo>
                  <a:pt x="413128" y="3215669"/>
                  <a:pt x="414471" y="3213191"/>
                  <a:pt x="417155" y="3210867"/>
                </a:cubicBezTo>
                <a:close/>
                <a:moveTo>
                  <a:pt x="542612" y="3209319"/>
                </a:moveTo>
                <a:cubicBezTo>
                  <a:pt x="542612" y="3209319"/>
                  <a:pt x="542612" y="3209319"/>
                  <a:pt x="548910" y="3211022"/>
                </a:cubicBezTo>
                <a:cubicBezTo>
                  <a:pt x="548704" y="3211487"/>
                  <a:pt x="548291" y="3211642"/>
                  <a:pt x="547775" y="3211642"/>
                </a:cubicBezTo>
                <a:cubicBezTo>
                  <a:pt x="547258" y="3211487"/>
                  <a:pt x="546639" y="3211332"/>
                  <a:pt x="546122" y="3211022"/>
                </a:cubicBezTo>
                <a:cubicBezTo>
                  <a:pt x="544883" y="3210403"/>
                  <a:pt x="543748" y="3209783"/>
                  <a:pt x="542612" y="3209319"/>
                </a:cubicBezTo>
                <a:close/>
                <a:moveTo>
                  <a:pt x="376886" y="3208854"/>
                </a:moveTo>
                <a:lnTo>
                  <a:pt x="379983" y="3209938"/>
                </a:lnTo>
                <a:lnTo>
                  <a:pt x="380293" y="3209474"/>
                </a:lnTo>
                <a:cubicBezTo>
                  <a:pt x="381842" y="3211332"/>
                  <a:pt x="383700" y="3210713"/>
                  <a:pt x="385352" y="3212726"/>
                </a:cubicBezTo>
                <a:lnTo>
                  <a:pt x="382874" y="3214895"/>
                </a:lnTo>
                <a:lnTo>
                  <a:pt x="383288" y="3216599"/>
                </a:lnTo>
                <a:lnTo>
                  <a:pt x="389380" y="3217373"/>
                </a:lnTo>
                <a:cubicBezTo>
                  <a:pt x="391548" y="3217838"/>
                  <a:pt x="393510" y="3218612"/>
                  <a:pt x="395162" y="3219387"/>
                </a:cubicBezTo>
                <a:cubicBezTo>
                  <a:pt x="387934" y="3226512"/>
                  <a:pt x="380396" y="3224343"/>
                  <a:pt x="372755" y="3222020"/>
                </a:cubicBezTo>
                <a:cubicBezTo>
                  <a:pt x="373685" y="3220161"/>
                  <a:pt x="375130" y="3218767"/>
                  <a:pt x="376886" y="3217838"/>
                </a:cubicBezTo>
                <a:lnTo>
                  <a:pt x="377712" y="3217683"/>
                </a:lnTo>
                <a:lnTo>
                  <a:pt x="376472" y="3217528"/>
                </a:lnTo>
                <a:cubicBezTo>
                  <a:pt x="369038" y="3217683"/>
                  <a:pt x="361810" y="3220007"/>
                  <a:pt x="356957" y="3215514"/>
                </a:cubicBezTo>
                <a:cubicBezTo>
                  <a:pt x="360055" y="3214740"/>
                  <a:pt x="363565" y="3213036"/>
                  <a:pt x="367076" y="3211487"/>
                </a:cubicBezTo>
                <a:cubicBezTo>
                  <a:pt x="370587" y="3209938"/>
                  <a:pt x="373994" y="3208699"/>
                  <a:pt x="376886" y="3208854"/>
                </a:cubicBezTo>
                <a:close/>
                <a:moveTo>
                  <a:pt x="346115" y="3201729"/>
                </a:moveTo>
                <a:cubicBezTo>
                  <a:pt x="347148" y="3201419"/>
                  <a:pt x="348180" y="3201574"/>
                  <a:pt x="349522" y="3202193"/>
                </a:cubicBezTo>
                <a:cubicBezTo>
                  <a:pt x="346838" y="3203587"/>
                  <a:pt x="345909" y="3204207"/>
                  <a:pt x="343224" y="3203123"/>
                </a:cubicBezTo>
                <a:cubicBezTo>
                  <a:pt x="344153" y="3202348"/>
                  <a:pt x="345083" y="3201884"/>
                  <a:pt x="346115" y="3201729"/>
                </a:cubicBezTo>
                <a:close/>
                <a:moveTo>
                  <a:pt x="535797" y="3198476"/>
                </a:moveTo>
                <a:cubicBezTo>
                  <a:pt x="537655" y="3199870"/>
                  <a:pt x="541166" y="3201109"/>
                  <a:pt x="540443" y="3204517"/>
                </a:cubicBezTo>
                <a:cubicBezTo>
                  <a:pt x="539101" y="3203432"/>
                  <a:pt x="536210" y="3201729"/>
                  <a:pt x="535590" y="3200025"/>
                </a:cubicBezTo>
                <a:cubicBezTo>
                  <a:pt x="535384" y="3199560"/>
                  <a:pt x="535384" y="3198941"/>
                  <a:pt x="535797" y="3198476"/>
                </a:cubicBezTo>
                <a:close/>
                <a:moveTo>
                  <a:pt x="364701" y="3194758"/>
                </a:moveTo>
                <a:lnTo>
                  <a:pt x="368831" y="3198631"/>
                </a:lnTo>
                <a:lnTo>
                  <a:pt x="369451" y="3198476"/>
                </a:lnTo>
                <a:cubicBezTo>
                  <a:pt x="372239" y="3199096"/>
                  <a:pt x="373065" y="3203897"/>
                  <a:pt x="371929" y="3206840"/>
                </a:cubicBezTo>
                <a:lnTo>
                  <a:pt x="370690" y="3208544"/>
                </a:lnTo>
                <a:lnTo>
                  <a:pt x="370690" y="3208854"/>
                </a:lnTo>
                <a:cubicBezTo>
                  <a:pt x="368315" y="3211642"/>
                  <a:pt x="368315" y="3211642"/>
                  <a:pt x="362843" y="3208234"/>
                </a:cubicBezTo>
                <a:cubicBezTo>
                  <a:pt x="361913" y="3207615"/>
                  <a:pt x="361294" y="3206685"/>
                  <a:pt x="360881" y="3205601"/>
                </a:cubicBezTo>
                <a:cubicBezTo>
                  <a:pt x="360468" y="3204517"/>
                  <a:pt x="360365" y="3203277"/>
                  <a:pt x="360778" y="3201884"/>
                </a:cubicBezTo>
                <a:cubicBezTo>
                  <a:pt x="360261" y="3201109"/>
                  <a:pt x="360055" y="3200180"/>
                  <a:pt x="359951" y="3199096"/>
                </a:cubicBezTo>
                <a:cubicBezTo>
                  <a:pt x="359848" y="3198166"/>
                  <a:pt x="360055" y="3197082"/>
                  <a:pt x="360365" y="3196153"/>
                </a:cubicBezTo>
                <a:cubicBezTo>
                  <a:pt x="362017" y="3194294"/>
                  <a:pt x="363772" y="3194139"/>
                  <a:pt x="364701" y="3194758"/>
                </a:cubicBezTo>
                <a:close/>
                <a:moveTo>
                  <a:pt x="109632" y="3194100"/>
                </a:moveTo>
                <a:cubicBezTo>
                  <a:pt x="111749" y="3194371"/>
                  <a:pt x="114098" y="3195533"/>
                  <a:pt x="116680" y="3198011"/>
                </a:cubicBezTo>
                <a:cubicBezTo>
                  <a:pt x="118332" y="3198941"/>
                  <a:pt x="117506" y="3198941"/>
                  <a:pt x="118332" y="3199870"/>
                </a:cubicBezTo>
                <a:cubicBezTo>
                  <a:pt x="119158" y="3200799"/>
                  <a:pt x="120913" y="3201729"/>
                  <a:pt x="121739" y="3201884"/>
                </a:cubicBezTo>
                <a:cubicBezTo>
                  <a:pt x="119055" y="3204981"/>
                  <a:pt x="121739" y="3206840"/>
                  <a:pt x="117299" y="3211487"/>
                </a:cubicBezTo>
                <a:cubicBezTo>
                  <a:pt x="111930" y="3217683"/>
                  <a:pt x="105838" y="3215360"/>
                  <a:pt x="102430" y="3212571"/>
                </a:cubicBezTo>
                <a:cubicBezTo>
                  <a:pt x="103153" y="3211952"/>
                  <a:pt x="98507" y="3208079"/>
                  <a:pt x="98713" y="3203123"/>
                </a:cubicBezTo>
                <a:cubicBezTo>
                  <a:pt x="98816" y="3201574"/>
                  <a:pt x="99436" y="3199870"/>
                  <a:pt x="100985" y="3198166"/>
                </a:cubicBezTo>
                <a:cubicBezTo>
                  <a:pt x="101811" y="3197237"/>
                  <a:pt x="102844" y="3196307"/>
                  <a:pt x="103979" y="3195533"/>
                </a:cubicBezTo>
                <a:cubicBezTo>
                  <a:pt x="105631" y="3194448"/>
                  <a:pt x="107516" y="3193829"/>
                  <a:pt x="109632" y="3194100"/>
                </a:cubicBezTo>
                <a:close/>
                <a:moveTo>
                  <a:pt x="309356" y="3193984"/>
                </a:moveTo>
                <a:cubicBezTo>
                  <a:pt x="308530" y="3204052"/>
                  <a:pt x="305432" y="3211487"/>
                  <a:pt x="300166" y="3216599"/>
                </a:cubicBezTo>
                <a:cubicBezTo>
                  <a:pt x="298411" y="3218303"/>
                  <a:pt x="296449" y="3219852"/>
                  <a:pt x="294177" y="3221091"/>
                </a:cubicBezTo>
                <a:cubicBezTo>
                  <a:pt x="289531" y="3215824"/>
                  <a:pt x="294074" y="3209938"/>
                  <a:pt x="296036" y="3204827"/>
                </a:cubicBezTo>
                <a:cubicBezTo>
                  <a:pt x="289944" y="3204207"/>
                  <a:pt x="280754" y="3204827"/>
                  <a:pt x="280341" y="3198321"/>
                </a:cubicBezTo>
                <a:cubicBezTo>
                  <a:pt x="281477" y="3197237"/>
                  <a:pt x="282819" y="3196617"/>
                  <a:pt x="284264" y="3196307"/>
                </a:cubicBezTo>
                <a:cubicBezTo>
                  <a:pt x="288705" y="3195688"/>
                  <a:pt x="294487" y="3198476"/>
                  <a:pt x="300063" y="3198321"/>
                </a:cubicBezTo>
                <a:cubicBezTo>
                  <a:pt x="303160" y="3196772"/>
                  <a:pt x="302644" y="3192590"/>
                  <a:pt x="309356" y="3193984"/>
                </a:cubicBezTo>
                <a:close/>
                <a:moveTo>
                  <a:pt x="42025" y="3190421"/>
                </a:moveTo>
                <a:cubicBezTo>
                  <a:pt x="42232" y="3190266"/>
                  <a:pt x="42439" y="3190266"/>
                  <a:pt x="42852" y="3190576"/>
                </a:cubicBezTo>
                <a:cubicBezTo>
                  <a:pt x="43678" y="3191506"/>
                  <a:pt x="43678" y="3191506"/>
                  <a:pt x="43574" y="3193984"/>
                </a:cubicBezTo>
                <a:cubicBezTo>
                  <a:pt x="42852" y="3193054"/>
                  <a:pt x="42852" y="3193054"/>
                  <a:pt x="42025" y="3193829"/>
                </a:cubicBezTo>
                <a:cubicBezTo>
                  <a:pt x="42025" y="3193829"/>
                  <a:pt x="42025" y="3193829"/>
                  <a:pt x="42025" y="3194603"/>
                </a:cubicBezTo>
                <a:cubicBezTo>
                  <a:pt x="41199" y="3194449"/>
                  <a:pt x="41096" y="3193674"/>
                  <a:pt x="40373" y="3193674"/>
                </a:cubicBezTo>
                <a:cubicBezTo>
                  <a:pt x="40373" y="3193674"/>
                  <a:pt x="40373" y="3192899"/>
                  <a:pt x="40373" y="3192899"/>
                </a:cubicBezTo>
                <a:cubicBezTo>
                  <a:pt x="39960" y="3192745"/>
                  <a:pt x="39960" y="3192745"/>
                  <a:pt x="40167" y="3192590"/>
                </a:cubicBezTo>
                <a:cubicBezTo>
                  <a:pt x="40373" y="3192435"/>
                  <a:pt x="40786" y="3192125"/>
                  <a:pt x="41199" y="3191351"/>
                </a:cubicBezTo>
                <a:cubicBezTo>
                  <a:pt x="41613" y="3190886"/>
                  <a:pt x="41819" y="3190576"/>
                  <a:pt x="42025" y="3190421"/>
                </a:cubicBezTo>
                <a:close/>
                <a:moveTo>
                  <a:pt x="420460" y="3190111"/>
                </a:moveTo>
                <a:cubicBezTo>
                  <a:pt x="422834" y="3190421"/>
                  <a:pt x="423041" y="3192280"/>
                  <a:pt x="423041" y="3192280"/>
                </a:cubicBezTo>
                <a:cubicBezTo>
                  <a:pt x="422834" y="3195223"/>
                  <a:pt x="420976" y="3197392"/>
                  <a:pt x="417878" y="3197546"/>
                </a:cubicBezTo>
                <a:cubicBezTo>
                  <a:pt x="416226" y="3196772"/>
                  <a:pt x="416123" y="3194913"/>
                  <a:pt x="415916" y="3193054"/>
                </a:cubicBezTo>
                <a:cubicBezTo>
                  <a:pt x="416020" y="3191660"/>
                  <a:pt x="416536" y="3190731"/>
                  <a:pt x="417362" y="3190266"/>
                </a:cubicBezTo>
                <a:cubicBezTo>
                  <a:pt x="418188" y="3189956"/>
                  <a:pt x="419324" y="3189956"/>
                  <a:pt x="420460" y="3190111"/>
                </a:cubicBezTo>
                <a:close/>
                <a:moveTo>
                  <a:pt x="96958" y="3184380"/>
                </a:moveTo>
                <a:cubicBezTo>
                  <a:pt x="99746" y="3182676"/>
                  <a:pt x="101398" y="3184690"/>
                  <a:pt x="103979" y="3186704"/>
                </a:cubicBezTo>
                <a:cubicBezTo>
                  <a:pt x="103050" y="3188408"/>
                  <a:pt x="103876" y="3190886"/>
                  <a:pt x="102121" y="3192435"/>
                </a:cubicBezTo>
                <a:cubicBezTo>
                  <a:pt x="102121" y="3192435"/>
                  <a:pt x="101191" y="3193209"/>
                  <a:pt x="99539" y="3192899"/>
                </a:cubicBezTo>
                <a:cubicBezTo>
                  <a:pt x="96855" y="3194294"/>
                  <a:pt x="94273" y="3191660"/>
                  <a:pt x="94273" y="3191660"/>
                </a:cubicBezTo>
                <a:cubicBezTo>
                  <a:pt x="94273" y="3191660"/>
                  <a:pt x="94273" y="3191660"/>
                  <a:pt x="94273" y="3192435"/>
                </a:cubicBezTo>
                <a:cubicBezTo>
                  <a:pt x="94273" y="3190731"/>
                  <a:pt x="93447" y="3189027"/>
                  <a:pt x="93447" y="3187323"/>
                </a:cubicBezTo>
                <a:cubicBezTo>
                  <a:pt x="94789" y="3185775"/>
                  <a:pt x="95925" y="3184845"/>
                  <a:pt x="96958" y="3184380"/>
                </a:cubicBezTo>
                <a:close/>
                <a:moveTo>
                  <a:pt x="219213" y="3174002"/>
                </a:moveTo>
                <a:cubicBezTo>
                  <a:pt x="220039" y="3174467"/>
                  <a:pt x="220762" y="3175242"/>
                  <a:pt x="221278" y="3176171"/>
                </a:cubicBezTo>
                <a:cubicBezTo>
                  <a:pt x="224066" y="3181747"/>
                  <a:pt x="219729" y="3188563"/>
                  <a:pt x="212192" y="3190266"/>
                </a:cubicBezTo>
                <a:cubicBezTo>
                  <a:pt x="200524" y="3193364"/>
                  <a:pt x="193296" y="3189802"/>
                  <a:pt x="193296" y="3189802"/>
                </a:cubicBezTo>
                <a:cubicBezTo>
                  <a:pt x="192573" y="3187788"/>
                  <a:pt x="192366" y="3186084"/>
                  <a:pt x="192573" y="3184690"/>
                </a:cubicBezTo>
                <a:cubicBezTo>
                  <a:pt x="193089" y="3180198"/>
                  <a:pt x="197529" y="3177875"/>
                  <a:pt x="202176" y="3176326"/>
                </a:cubicBezTo>
                <a:cubicBezTo>
                  <a:pt x="204241" y="3175551"/>
                  <a:pt x="206409" y="3175087"/>
                  <a:pt x="208371" y="3174622"/>
                </a:cubicBezTo>
                <a:cubicBezTo>
                  <a:pt x="212192" y="3173538"/>
                  <a:pt x="216529" y="3172763"/>
                  <a:pt x="219213" y="3174002"/>
                </a:cubicBezTo>
                <a:close/>
                <a:moveTo>
                  <a:pt x="6853931" y="3173555"/>
                </a:moveTo>
                <a:cubicBezTo>
                  <a:pt x="6856920" y="3174530"/>
                  <a:pt x="6859495" y="3176640"/>
                  <a:pt x="6861238" y="3180254"/>
                </a:cubicBezTo>
                <a:cubicBezTo>
                  <a:pt x="6853028" y="3181699"/>
                  <a:pt x="6844354" y="3184900"/>
                  <a:pt x="6835680" y="3185726"/>
                </a:cubicBezTo>
                <a:cubicBezTo>
                  <a:pt x="6832737" y="3185933"/>
                  <a:pt x="6829949" y="3185933"/>
                  <a:pt x="6827161" y="3185520"/>
                </a:cubicBezTo>
                <a:cubicBezTo>
                  <a:pt x="6832272" y="3177930"/>
                  <a:pt x="6844964" y="3170632"/>
                  <a:pt x="6853931" y="3173555"/>
                </a:cubicBezTo>
                <a:close/>
                <a:moveTo>
                  <a:pt x="240174" y="3171834"/>
                </a:moveTo>
                <a:cubicBezTo>
                  <a:pt x="241103" y="3172608"/>
                  <a:pt x="241103" y="3172608"/>
                  <a:pt x="241207" y="3174931"/>
                </a:cubicBezTo>
                <a:cubicBezTo>
                  <a:pt x="240381" y="3174312"/>
                  <a:pt x="240381" y="3174312"/>
                  <a:pt x="239555" y="3175087"/>
                </a:cubicBezTo>
                <a:cubicBezTo>
                  <a:pt x="239555" y="3175087"/>
                  <a:pt x="239555" y="3175242"/>
                  <a:pt x="239658" y="3176016"/>
                </a:cubicBezTo>
                <a:cubicBezTo>
                  <a:pt x="238832" y="3176171"/>
                  <a:pt x="238728" y="3175242"/>
                  <a:pt x="237902" y="3175396"/>
                </a:cubicBezTo>
                <a:cubicBezTo>
                  <a:pt x="237902" y="3175396"/>
                  <a:pt x="237902" y="3174622"/>
                  <a:pt x="237902" y="3174622"/>
                </a:cubicBezTo>
                <a:cubicBezTo>
                  <a:pt x="237489" y="3174622"/>
                  <a:pt x="237489" y="3174622"/>
                  <a:pt x="237696" y="3174467"/>
                </a:cubicBezTo>
                <a:cubicBezTo>
                  <a:pt x="237902" y="3174157"/>
                  <a:pt x="238212" y="3173692"/>
                  <a:pt x="238625" y="3172918"/>
                </a:cubicBezTo>
                <a:cubicBezTo>
                  <a:pt x="239348" y="3171988"/>
                  <a:pt x="239348" y="3171214"/>
                  <a:pt x="240174" y="3171834"/>
                </a:cubicBezTo>
                <a:close/>
                <a:moveTo>
                  <a:pt x="552318" y="3167807"/>
                </a:moveTo>
                <a:cubicBezTo>
                  <a:pt x="552834" y="3167961"/>
                  <a:pt x="553350" y="3168271"/>
                  <a:pt x="553866" y="3168891"/>
                </a:cubicBezTo>
                <a:cubicBezTo>
                  <a:pt x="553866" y="3168891"/>
                  <a:pt x="553866" y="3169045"/>
                  <a:pt x="553763" y="3169820"/>
                </a:cubicBezTo>
                <a:cubicBezTo>
                  <a:pt x="553454" y="3171524"/>
                  <a:pt x="553350" y="3172298"/>
                  <a:pt x="553247" y="3173073"/>
                </a:cubicBezTo>
                <a:cubicBezTo>
                  <a:pt x="552215" y="3173847"/>
                  <a:pt x="549426" y="3175396"/>
                  <a:pt x="548704" y="3174467"/>
                </a:cubicBezTo>
                <a:cubicBezTo>
                  <a:pt x="547981" y="3173692"/>
                  <a:pt x="547465" y="3172608"/>
                  <a:pt x="547361" y="3171679"/>
                </a:cubicBezTo>
                <a:cubicBezTo>
                  <a:pt x="547155" y="3170595"/>
                  <a:pt x="547258" y="3169820"/>
                  <a:pt x="547775" y="3169355"/>
                </a:cubicBezTo>
                <a:cubicBezTo>
                  <a:pt x="549220" y="3168271"/>
                  <a:pt x="550769" y="3167187"/>
                  <a:pt x="552318" y="3167807"/>
                </a:cubicBezTo>
                <a:close/>
                <a:moveTo>
                  <a:pt x="490157" y="3167497"/>
                </a:moveTo>
                <a:cubicBezTo>
                  <a:pt x="497695" y="3172918"/>
                  <a:pt x="493875" y="3180508"/>
                  <a:pt x="494597" y="3182057"/>
                </a:cubicBezTo>
                <a:cubicBezTo>
                  <a:pt x="492533" y="3184071"/>
                  <a:pt x="492119" y="3184690"/>
                  <a:pt x="489951" y="3183141"/>
                </a:cubicBezTo>
                <a:lnTo>
                  <a:pt x="487680" y="3181437"/>
                </a:lnTo>
                <a:lnTo>
                  <a:pt x="485821" y="3182676"/>
                </a:lnTo>
                <a:cubicBezTo>
                  <a:pt x="484995" y="3181902"/>
                  <a:pt x="484169" y="3181128"/>
                  <a:pt x="483343" y="3180353"/>
                </a:cubicBezTo>
                <a:lnTo>
                  <a:pt x="485304" y="3176790"/>
                </a:lnTo>
                <a:lnTo>
                  <a:pt x="485511" y="3174312"/>
                </a:lnTo>
                <a:cubicBezTo>
                  <a:pt x="484685" y="3172763"/>
                  <a:pt x="484789" y="3170130"/>
                  <a:pt x="485821" y="3168581"/>
                </a:cubicBezTo>
                <a:cubicBezTo>
                  <a:pt x="487576" y="3166722"/>
                  <a:pt x="489331" y="3166722"/>
                  <a:pt x="490157" y="3167497"/>
                </a:cubicBezTo>
                <a:close/>
                <a:moveTo>
                  <a:pt x="327013" y="3167032"/>
                </a:moveTo>
                <a:cubicBezTo>
                  <a:pt x="327632" y="3167032"/>
                  <a:pt x="328355" y="3167187"/>
                  <a:pt x="329181" y="3167652"/>
                </a:cubicBezTo>
                <a:cubicBezTo>
                  <a:pt x="330420" y="3171679"/>
                  <a:pt x="326806" y="3174931"/>
                  <a:pt x="322263" y="3171524"/>
                </a:cubicBezTo>
                <a:cubicBezTo>
                  <a:pt x="323605" y="3169355"/>
                  <a:pt x="325051" y="3167187"/>
                  <a:pt x="327013" y="3167032"/>
                </a:cubicBezTo>
                <a:close/>
                <a:moveTo>
                  <a:pt x="6647636" y="3165385"/>
                </a:moveTo>
                <a:cubicBezTo>
                  <a:pt x="6650734" y="3170548"/>
                  <a:pt x="6656620" y="3165695"/>
                  <a:pt x="6656620" y="3173232"/>
                </a:cubicBezTo>
                <a:cubicBezTo>
                  <a:pt x="6655225" y="3176330"/>
                  <a:pt x="6652128" y="3178705"/>
                  <a:pt x="6646242" y="3179841"/>
                </a:cubicBezTo>
                <a:cubicBezTo>
                  <a:pt x="6643299" y="3176640"/>
                  <a:pt x="6642679" y="3174058"/>
                  <a:pt x="6643299" y="3171787"/>
                </a:cubicBezTo>
                <a:cubicBezTo>
                  <a:pt x="6643918" y="3169412"/>
                  <a:pt x="6645777" y="3167450"/>
                  <a:pt x="6647636" y="3165385"/>
                </a:cubicBezTo>
                <a:close/>
                <a:moveTo>
                  <a:pt x="6413861" y="3162802"/>
                </a:moveTo>
                <a:cubicBezTo>
                  <a:pt x="6421158" y="3163900"/>
                  <a:pt x="6421332" y="3179505"/>
                  <a:pt x="6424120" y="3187792"/>
                </a:cubicBezTo>
                <a:cubicBezTo>
                  <a:pt x="6418234" y="3192644"/>
                  <a:pt x="6416066" y="3193470"/>
                  <a:pt x="6408786" y="3193987"/>
                </a:cubicBezTo>
                <a:cubicBezTo>
                  <a:pt x="6402280" y="3185417"/>
                  <a:pt x="6403055" y="3176433"/>
                  <a:pt x="6403829" y="3167347"/>
                </a:cubicBezTo>
                <a:cubicBezTo>
                  <a:pt x="6408205" y="3163681"/>
                  <a:pt x="6411429" y="3162436"/>
                  <a:pt x="6413861" y="3162802"/>
                </a:cubicBezTo>
                <a:close/>
                <a:moveTo>
                  <a:pt x="376782" y="3161920"/>
                </a:moveTo>
                <a:cubicBezTo>
                  <a:pt x="383288" y="3165018"/>
                  <a:pt x="387418" y="3169820"/>
                  <a:pt x="389483" y="3175087"/>
                </a:cubicBezTo>
                <a:cubicBezTo>
                  <a:pt x="392787" y="3184071"/>
                  <a:pt x="390102" y="3194449"/>
                  <a:pt x="381945" y="3200335"/>
                </a:cubicBezTo>
                <a:cubicBezTo>
                  <a:pt x="380913" y="3199715"/>
                  <a:pt x="379880" y="3198941"/>
                  <a:pt x="379260" y="3200025"/>
                </a:cubicBezTo>
                <a:cubicBezTo>
                  <a:pt x="371929" y="3196153"/>
                  <a:pt x="367799" y="3188098"/>
                  <a:pt x="367283" y="3180353"/>
                </a:cubicBezTo>
                <a:cubicBezTo>
                  <a:pt x="366766" y="3172608"/>
                  <a:pt x="369864" y="3165018"/>
                  <a:pt x="376782" y="3161920"/>
                </a:cubicBezTo>
                <a:close/>
                <a:moveTo>
                  <a:pt x="304503" y="3159848"/>
                </a:moveTo>
                <a:cubicBezTo>
                  <a:pt x="307058" y="3158861"/>
                  <a:pt x="310130" y="3159055"/>
                  <a:pt x="313796" y="3161456"/>
                </a:cubicBezTo>
                <a:cubicBezTo>
                  <a:pt x="315551" y="3162075"/>
                  <a:pt x="314622" y="3162230"/>
                  <a:pt x="315551" y="3162850"/>
                </a:cubicBezTo>
                <a:cubicBezTo>
                  <a:pt x="316481" y="3163624"/>
                  <a:pt x="318339" y="3164244"/>
                  <a:pt x="319165" y="3164089"/>
                </a:cubicBezTo>
                <a:cubicBezTo>
                  <a:pt x="316790" y="3167807"/>
                  <a:pt x="319475" y="3169045"/>
                  <a:pt x="315448" y="3174777"/>
                </a:cubicBezTo>
                <a:cubicBezTo>
                  <a:pt x="311834" y="3180198"/>
                  <a:pt x="307394" y="3181128"/>
                  <a:pt x="303987" y="3180508"/>
                </a:cubicBezTo>
                <a:lnTo>
                  <a:pt x="301302" y="3179424"/>
                </a:lnTo>
                <a:lnTo>
                  <a:pt x="299547" y="3181437"/>
                </a:lnTo>
                <a:cubicBezTo>
                  <a:pt x="294694" y="3175087"/>
                  <a:pt x="290873" y="3184380"/>
                  <a:pt x="286743" y="3179578"/>
                </a:cubicBezTo>
                <a:cubicBezTo>
                  <a:pt x="286226" y="3177100"/>
                  <a:pt x="284678" y="3174622"/>
                  <a:pt x="285194" y="3171834"/>
                </a:cubicBezTo>
                <a:cubicBezTo>
                  <a:pt x="285297" y="3170904"/>
                  <a:pt x="285607" y="3169820"/>
                  <a:pt x="286330" y="3168736"/>
                </a:cubicBezTo>
                <a:cubicBezTo>
                  <a:pt x="289221" y="3170749"/>
                  <a:pt x="292009" y="3171834"/>
                  <a:pt x="294797" y="3172763"/>
                </a:cubicBezTo>
                <a:lnTo>
                  <a:pt x="297068" y="3173538"/>
                </a:lnTo>
                <a:lnTo>
                  <a:pt x="296449" y="3170904"/>
                </a:lnTo>
                <a:cubicBezTo>
                  <a:pt x="296346" y="3169200"/>
                  <a:pt x="296862" y="3167497"/>
                  <a:pt x="298307" y="3165328"/>
                </a:cubicBezTo>
                <a:cubicBezTo>
                  <a:pt x="299908" y="3163005"/>
                  <a:pt x="301947" y="3160836"/>
                  <a:pt x="304503" y="3159848"/>
                </a:cubicBezTo>
                <a:close/>
                <a:moveTo>
                  <a:pt x="429133" y="3156189"/>
                </a:moveTo>
                <a:cubicBezTo>
                  <a:pt x="431818" y="3155724"/>
                  <a:pt x="434399" y="3158822"/>
                  <a:pt x="437600" y="3160681"/>
                </a:cubicBezTo>
                <a:cubicBezTo>
                  <a:pt x="435638" y="3162385"/>
                  <a:pt x="433780" y="3163005"/>
                  <a:pt x="431921" y="3162385"/>
                </a:cubicBezTo>
                <a:cubicBezTo>
                  <a:pt x="430165" y="3161920"/>
                  <a:pt x="428307" y="3160371"/>
                  <a:pt x="426242" y="3157893"/>
                </a:cubicBezTo>
                <a:cubicBezTo>
                  <a:pt x="427275" y="3156809"/>
                  <a:pt x="428204" y="3156344"/>
                  <a:pt x="429133" y="3156189"/>
                </a:cubicBezTo>
                <a:close/>
                <a:moveTo>
                  <a:pt x="541063" y="3154640"/>
                </a:moveTo>
                <a:cubicBezTo>
                  <a:pt x="541063" y="3155570"/>
                  <a:pt x="541992" y="3155415"/>
                  <a:pt x="542921" y="3155260"/>
                </a:cubicBezTo>
                <a:cubicBezTo>
                  <a:pt x="544677" y="3156654"/>
                  <a:pt x="546639" y="3158977"/>
                  <a:pt x="545813" y="3160836"/>
                </a:cubicBezTo>
                <a:cubicBezTo>
                  <a:pt x="544160" y="3162695"/>
                  <a:pt x="542405" y="3162075"/>
                  <a:pt x="541476" y="3161456"/>
                </a:cubicBezTo>
                <a:cubicBezTo>
                  <a:pt x="540134" y="3161146"/>
                  <a:pt x="539411" y="3160217"/>
                  <a:pt x="539101" y="3158977"/>
                </a:cubicBezTo>
                <a:cubicBezTo>
                  <a:pt x="538791" y="3157738"/>
                  <a:pt x="538998" y="3156189"/>
                  <a:pt x="539307" y="3154950"/>
                </a:cubicBezTo>
                <a:cubicBezTo>
                  <a:pt x="539411" y="3155724"/>
                  <a:pt x="539411" y="3155724"/>
                  <a:pt x="539411" y="3155724"/>
                </a:cubicBezTo>
                <a:cubicBezTo>
                  <a:pt x="540340" y="3156499"/>
                  <a:pt x="540237" y="3155724"/>
                  <a:pt x="541166" y="3155570"/>
                </a:cubicBezTo>
                <a:cubicBezTo>
                  <a:pt x="541166" y="3155570"/>
                  <a:pt x="540237" y="3155724"/>
                  <a:pt x="541063" y="3154640"/>
                </a:cubicBezTo>
                <a:close/>
                <a:moveTo>
                  <a:pt x="458045" y="3152627"/>
                </a:moveTo>
                <a:cubicBezTo>
                  <a:pt x="467854" y="3154950"/>
                  <a:pt x="473121" y="3164399"/>
                  <a:pt x="483962" y="3171524"/>
                </a:cubicBezTo>
                <a:lnTo>
                  <a:pt x="482000" y="3172298"/>
                </a:lnTo>
                <a:lnTo>
                  <a:pt x="482517" y="3173228"/>
                </a:lnTo>
                <a:cubicBezTo>
                  <a:pt x="481794" y="3176326"/>
                  <a:pt x="479419" y="3178494"/>
                  <a:pt x="476837" y="3178804"/>
                </a:cubicBezTo>
                <a:lnTo>
                  <a:pt x="473327" y="3177875"/>
                </a:lnTo>
                <a:lnTo>
                  <a:pt x="469816" y="3182367"/>
                </a:lnTo>
                <a:cubicBezTo>
                  <a:pt x="468680" y="3183761"/>
                  <a:pt x="467441" y="3185155"/>
                  <a:pt x="465995" y="3186394"/>
                </a:cubicBezTo>
                <a:cubicBezTo>
                  <a:pt x="464034" y="3187788"/>
                  <a:pt x="461659" y="3188717"/>
                  <a:pt x="458561" y="3188717"/>
                </a:cubicBezTo>
                <a:cubicBezTo>
                  <a:pt x="455257" y="3188872"/>
                  <a:pt x="452159" y="3188098"/>
                  <a:pt x="449578" y="3186859"/>
                </a:cubicBezTo>
                <a:lnTo>
                  <a:pt x="449268" y="3186704"/>
                </a:lnTo>
                <a:lnTo>
                  <a:pt x="448132" y="3187788"/>
                </a:lnTo>
                <a:lnTo>
                  <a:pt x="445138" y="3189492"/>
                </a:lnTo>
                <a:lnTo>
                  <a:pt x="446480" y="3190886"/>
                </a:lnTo>
                <a:cubicBezTo>
                  <a:pt x="450817" y="3197701"/>
                  <a:pt x="451127" y="3206066"/>
                  <a:pt x="445654" y="3211332"/>
                </a:cubicBezTo>
                <a:cubicBezTo>
                  <a:pt x="443176" y="3213191"/>
                  <a:pt x="440698" y="3214121"/>
                  <a:pt x="438426" y="3214121"/>
                </a:cubicBezTo>
                <a:lnTo>
                  <a:pt x="433573" y="3212571"/>
                </a:lnTo>
                <a:lnTo>
                  <a:pt x="432954" y="3212881"/>
                </a:lnTo>
                <a:lnTo>
                  <a:pt x="432850" y="3212417"/>
                </a:lnTo>
                <a:lnTo>
                  <a:pt x="432334" y="3212262"/>
                </a:lnTo>
                <a:cubicBezTo>
                  <a:pt x="428720" y="3209628"/>
                  <a:pt x="426552" y="3204827"/>
                  <a:pt x="426965" y="3199870"/>
                </a:cubicBezTo>
                <a:cubicBezTo>
                  <a:pt x="427068" y="3198321"/>
                  <a:pt x="427275" y="3196772"/>
                  <a:pt x="427894" y="3195378"/>
                </a:cubicBezTo>
                <a:lnTo>
                  <a:pt x="430062" y="3191660"/>
                </a:lnTo>
                <a:lnTo>
                  <a:pt x="429133" y="3191196"/>
                </a:lnTo>
                <a:cubicBezTo>
                  <a:pt x="427481" y="3190576"/>
                  <a:pt x="425932" y="3189956"/>
                  <a:pt x="424384" y="3188098"/>
                </a:cubicBezTo>
                <a:cubicBezTo>
                  <a:pt x="427068" y="3185929"/>
                  <a:pt x="429753" y="3183761"/>
                  <a:pt x="432437" y="3181747"/>
                </a:cubicBezTo>
                <a:lnTo>
                  <a:pt x="440285" y="3176326"/>
                </a:lnTo>
                <a:lnTo>
                  <a:pt x="439149" y="3174312"/>
                </a:lnTo>
                <a:cubicBezTo>
                  <a:pt x="438323" y="3171834"/>
                  <a:pt x="438013" y="3169045"/>
                  <a:pt x="438220" y="3166412"/>
                </a:cubicBezTo>
                <a:cubicBezTo>
                  <a:pt x="438633" y="3160217"/>
                  <a:pt x="442040" y="3154640"/>
                  <a:pt x="448752" y="3152781"/>
                </a:cubicBezTo>
                <a:cubicBezTo>
                  <a:pt x="451436" y="3152162"/>
                  <a:pt x="454431" y="3152007"/>
                  <a:pt x="458045" y="3152627"/>
                </a:cubicBezTo>
                <a:close/>
                <a:moveTo>
                  <a:pt x="295674" y="3151407"/>
                </a:moveTo>
                <a:cubicBezTo>
                  <a:pt x="297197" y="3151310"/>
                  <a:pt x="298566" y="3152394"/>
                  <a:pt x="300373" y="3153401"/>
                </a:cubicBezTo>
                <a:cubicBezTo>
                  <a:pt x="299650" y="3155105"/>
                  <a:pt x="300579" y="3157583"/>
                  <a:pt x="299030" y="3159442"/>
                </a:cubicBezTo>
                <a:cubicBezTo>
                  <a:pt x="299030" y="3159442"/>
                  <a:pt x="298204" y="3160371"/>
                  <a:pt x="296449" y="3160526"/>
                </a:cubicBezTo>
                <a:cubicBezTo>
                  <a:pt x="293971" y="3162540"/>
                  <a:pt x="291183" y="3160526"/>
                  <a:pt x="291183" y="3160526"/>
                </a:cubicBezTo>
                <a:cubicBezTo>
                  <a:pt x="291183" y="3160526"/>
                  <a:pt x="291183" y="3160526"/>
                  <a:pt x="291286" y="3161301"/>
                </a:cubicBezTo>
                <a:cubicBezTo>
                  <a:pt x="291183" y="3159752"/>
                  <a:pt x="290150" y="3158048"/>
                  <a:pt x="290047" y="3156499"/>
                </a:cubicBezTo>
                <a:cubicBezTo>
                  <a:pt x="292474" y="3152781"/>
                  <a:pt x="294151" y="3151504"/>
                  <a:pt x="295674" y="3151407"/>
                </a:cubicBezTo>
                <a:close/>
                <a:moveTo>
                  <a:pt x="509570" y="3150458"/>
                </a:moveTo>
                <a:cubicBezTo>
                  <a:pt x="507815" y="3152317"/>
                  <a:pt x="508537" y="3154020"/>
                  <a:pt x="506782" y="3155724"/>
                </a:cubicBezTo>
                <a:cubicBezTo>
                  <a:pt x="505129" y="3154175"/>
                  <a:pt x="503374" y="3153246"/>
                  <a:pt x="502549" y="3152472"/>
                </a:cubicBezTo>
                <a:cubicBezTo>
                  <a:pt x="504407" y="3149064"/>
                  <a:pt x="507091" y="3148135"/>
                  <a:pt x="509570" y="3150458"/>
                </a:cubicBezTo>
                <a:close/>
                <a:moveTo>
                  <a:pt x="6515974" y="3143598"/>
                </a:moveTo>
                <a:cubicBezTo>
                  <a:pt x="6518297" y="3146386"/>
                  <a:pt x="6521240" y="3147728"/>
                  <a:pt x="6524958" y="3151239"/>
                </a:cubicBezTo>
                <a:cubicBezTo>
                  <a:pt x="6522789" y="3155782"/>
                  <a:pt x="6514115" y="3162906"/>
                  <a:pt x="6505906" y="3161048"/>
                </a:cubicBezTo>
                <a:cubicBezTo>
                  <a:pt x="6503582" y="3156401"/>
                  <a:pt x="6503582" y="3152684"/>
                  <a:pt x="6505441" y="3149793"/>
                </a:cubicBezTo>
                <a:cubicBezTo>
                  <a:pt x="6507300" y="3146902"/>
                  <a:pt x="6510862" y="3144940"/>
                  <a:pt x="6515974" y="3143598"/>
                </a:cubicBezTo>
                <a:close/>
                <a:moveTo>
                  <a:pt x="184313" y="3141939"/>
                </a:moveTo>
                <a:cubicBezTo>
                  <a:pt x="186068" y="3141629"/>
                  <a:pt x="187823" y="3141319"/>
                  <a:pt x="189062" y="3142713"/>
                </a:cubicBezTo>
                <a:cubicBezTo>
                  <a:pt x="189475" y="3143023"/>
                  <a:pt x="189682" y="3143642"/>
                  <a:pt x="189992" y="3144572"/>
                </a:cubicBezTo>
                <a:cubicBezTo>
                  <a:pt x="189992" y="3144572"/>
                  <a:pt x="189992" y="3144572"/>
                  <a:pt x="189579" y="3145192"/>
                </a:cubicBezTo>
                <a:cubicBezTo>
                  <a:pt x="188649" y="3146585"/>
                  <a:pt x="188236" y="3147205"/>
                  <a:pt x="187823" y="3147980"/>
                </a:cubicBezTo>
                <a:cubicBezTo>
                  <a:pt x="186584" y="3148135"/>
                  <a:pt x="183487" y="3147980"/>
                  <a:pt x="183177" y="3146896"/>
                </a:cubicBezTo>
                <a:cubicBezTo>
                  <a:pt x="182867" y="3145811"/>
                  <a:pt x="182867" y="3144572"/>
                  <a:pt x="183074" y="3143642"/>
                </a:cubicBezTo>
                <a:cubicBezTo>
                  <a:pt x="183280" y="3142713"/>
                  <a:pt x="183693" y="3141939"/>
                  <a:pt x="184313" y="3141939"/>
                </a:cubicBezTo>
                <a:close/>
                <a:moveTo>
                  <a:pt x="319036" y="3141261"/>
                </a:moveTo>
                <a:cubicBezTo>
                  <a:pt x="320714" y="3142868"/>
                  <a:pt x="321024" y="3145579"/>
                  <a:pt x="317410" y="3147360"/>
                </a:cubicBezTo>
                <a:cubicBezTo>
                  <a:pt x="314931" y="3145037"/>
                  <a:pt x="313176" y="3143333"/>
                  <a:pt x="312454" y="3141784"/>
                </a:cubicBezTo>
                <a:cubicBezTo>
                  <a:pt x="314312" y="3139151"/>
                  <a:pt x="317358" y="3139654"/>
                  <a:pt x="319036" y="3141261"/>
                </a:cubicBezTo>
                <a:close/>
                <a:moveTo>
                  <a:pt x="253804" y="3139615"/>
                </a:moveTo>
                <a:cubicBezTo>
                  <a:pt x="254320" y="3139770"/>
                  <a:pt x="254733" y="3140390"/>
                  <a:pt x="255353" y="3141164"/>
                </a:cubicBezTo>
                <a:cubicBezTo>
                  <a:pt x="255766" y="3145501"/>
                  <a:pt x="251842" y="3146741"/>
                  <a:pt x="248848" y="3149684"/>
                </a:cubicBezTo>
                <a:cubicBezTo>
                  <a:pt x="248125" y="3149219"/>
                  <a:pt x="246886" y="3149374"/>
                  <a:pt x="246473" y="3149993"/>
                </a:cubicBezTo>
                <a:cubicBezTo>
                  <a:pt x="245234" y="3150303"/>
                  <a:pt x="243994" y="3150458"/>
                  <a:pt x="244821" y="3150923"/>
                </a:cubicBezTo>
                <a:cubicBezTo>
                  <a:pt x="241207" y="3151542"/>
                  <a:pt x="240794" y="3152317"/>
                  <a:pt x="238935" y="3150148"/>
                </a:cubicBezTo>
                <a:cubicBezTo>
                  <a:pt x="243169" y="3145037"/>
                  <a:pt x="250293" y="3140854"/>
                  <a:pt x="251842" y="3139925"/>
                </a:cubicBezTo>
                <a:cubicBezTo>
                  <a:pt x="252668" y="3139460"/>
                  <a:pt x="253288" y="3139460"/>
                  <a:pt x="253804" y="3139615"/>
                </a:cubicBezTo>
                <a:close/>
                <a:moveTo>
                  <a:pt x="6575623" y="3134445"/>
                </a:moveTo>
                <a:cubicBezTo>
                  <a:pt x="6593703" y="3136434"/>
                  <a:pt x="6616966" y="3156066"/>
                  <a:pt x="6622543" y="3165591"/>
                </a:cubicBezTo>
                <a:cubicBezTo>
                  <a:pt x="6603490" y="3161151"/>
                  <a:pt x="6572511" y="3153097"/>
                  <a:pt x="6560119" y="3139364"/>
                </a:cubicBezTo>
                <a:cubicBezTo>
                  <a:pt x="6564146" y="3135079"/>
                  <a:pt x="6569597" y="3133782"/>
                  <a:pt x="6575623" y="3134445"/>
                </a:cubicBezTo>
                <a:close/>
                <a:moveTo>
                  <a:pt x="330110" y="3132645"/>
                </a:moveTo>
                <a:cubicBezTo>
                  <a:pt x="336306" y="3128928"/>
                  <a:pt x="341985" y="3137137"/>
                  <a:pt x="340023" y="3142249"/>
                </a:cubicBezTo>
                <a:cubicBezTo>
                  <a:pt x="335376" y="3144882"/>
                  <a:pt x="330007" y="3141009"/>
                  <a:pt x="329285" y="3136827"/>
                </a:cubicBezTo>
                <a:cubicBezTo>
                  <a:pt x="328975" y="3135278"/>
                  <a:pt x="329181" y="3133884"/>
                  <a:pt x="330110" y="3132645"/>
                </a:cubicBezTo>
                <a:close/>
                <a:moveTo>
                  <a:pt x="397743" y="3126759"/>
                </a:moveTo>
                <a:cubicBezTo>
                  <a:pt x="399292" y="3125830"/>
                  <a:pt x="401667" y="3126139"/>
                  <a:pt x="402390" y="3128308"/>
                </a:cubicBezTo>
                <a:cubicBezTo>
                  <a:pt x="401461" y="3128928"/>
                  <a:pt x="400428" y="3130476"/>
                  <a:pt x="398569" y="3131096"/>
                </a:cubicBezTo>
                <a:cubicBezTo>
                  <a:pt x="397124" y="3130166"/>
                  <a:pt x="396607" y="3129237"/>
                  <a:pt x="396504" y="3128463"/>
                </a:cubicBezTo>
                <a:cubicBezTo>
                  <a:pt x="396504" y="3127688"/>
                  <a:pt x="397020" y="3127069"/>
                  <a:pt x="397743" y="3126759"/>
                </a:cubicBezTo>
                <a:close/>
                <a:moveTo>
                  <a:pt x="434477" y="3126527"/>
                </a:moveTo>
                <a:cubicBezTo>
                  <a:pt x="437110" y="3125791"/>
                  <a:pt x="440130" y="3126294"/>
                  <a:pt x="443486" y="3129082"/>
                </a:cubicBezTo>
                <a:cubicBezTo>
                  <a:pt x="445138" y="3129857"/>
                  <a:pt x="444208" y="3129857"/>
                  <a:pt x="445035" y="3130631"/>
                </a:cubicBezTo>
                <a:cubicBezTo>
                  <a:pt x="445860" y="3131561"/>
                  <a:pt x="447616" y="3132335"/>
                  <a:pt x="448442" y="3132180"/>
                </a:cubicBezTo>
                <a:cubicBezTo>
                  <a:pt x="445757" y="3135743"/>
                  <a:pt x="448235" y="3137292"/>
                  <a:pt x="443692" y="3142558"/>
                </a:cubicBezTo>
                <a:cubicBezTo>
                  <a:pt x="438220" y="3149529"/>
                  <a:pt x="432231" y="3148135"/>
                  <a:pt x="428823" y="3145811"/>
                </a:cubicBezTo>
                <a:cubicBezTo>
                  <a:pt x="429546" y="3145037"/>
                  <a:pt x="425003" y="3141784"/>
                  <a:pt x="425416" y="3136827"/>
                </a:cubicBezTo>
                <a:cubicBezTo>
                  <a:pt x="425519" y="3135278"/>
                  <a:pt x="426139" y="3133419"/>
                  <a:pt x="427791" y="3131406"/>
                </a:cubicBezTo>
                <a:cubicBezTo>
                  <a:pt x="429598" y="3129237"/>
                  <a:pt x="431844" y="3127262"/>
                  <a:pt x="434477" y="3126527"/>
                </a:cubicBezTo>
                <a:close/>
                <a:moveTo>
                  <a:pt x="369038" y="3126139"/>
                </a:moveTo>
                <a:cubicBezTo>
                  <a:pt x="376059" y="3131871"/>
                  <a:pt x="372962" y="3136672"/>
                  <a:pt x="368625" y="3137292"/>
                </a:cubicBezTo>
                <a:cubicBezTo>
                  <a:pt x="367283" y="3137447"/>
                  <a:pt x="365734" y="3137137"/>
                  <a:pt x="364391" y="3136363"/>
                </a:cubicBezTo>
                <a:cubicBezTo>
                  <a:pt x="362533" y="3135278"/>
                  <a:pt x="360984" y="3133109"/>
                  <a:pt x="360571" y="3129702"/>
                </a:cubicBezTo>
                <a:cubicBezTo>
                  <a:pt x="362017" y="3128308"/>
                  <a:pt x="363462" y="3127688"/>
                  <a:pt x="364908" y="3127378"/>
                </a:cubicBezTo>
                <a:cubicBezTo>
                  <a:pt x="366250" y="3126914"/>
                  <a:pt x="367592" y="3126759"/>
                  <a:pt x="369038" y="3126139"/>
                </a:cubicBezTo>
                <a:close/>
                <a:moveTo>
                  <a:pt x="295726" y="3123661"/>
                </a:moveTo>
                <a:cubicBezTo>
                  <a:pt x="300682" y="3122577"/>
                  <a:pt x="307394" y="3124745"/>
                  <a:pt x="310079" y="3127533"/>
                </a:cubicBezTo>
                <a:cubicBezTo>
                  <a:pt x="310492" y="3131406"/>
                  <a:pt x="309562" y="3134039"/>
                  <a:pt x="307910" y="3135433"/>
                </a:cubicBezTo>
                <a:cubicBezTo>
                  <a:pt x="302851" y="3139770"/>
                  <a:pt x="291389" y="3134349"/>
                  <a:pt x="291802" y="3125674"/>
                </a:cubicBezTo>
                <a:cubicBezTo>
                  <a:pt x="292731" y="3124590"/>
                  <a:pt x="294177" y="3123971"/>
                  <a:pt x="295726" y="3123661"/>
                </a:cubicBezTo>
                <a:close/>
                <a:moveTo>
                  <a:pt x="461814" y="3123467"/>
                </a:moveTo>
                <a:cubicBezTo>
                  <a:pt x="464731" y="3124590"/>
                  <a:pt x="468009" y="3127456"/>
                  <a:pt x="470642" y="3128773"/>
                </a:cubicBezTo>
                <a:lnTo>
                  <a:pt x="469713" y="3131406"/>
                </a:lnTo>
                <a:lnTo>
                  <a:pt x="470022" y="3131871"/>
                </a:lnTo>
                <a:cubicBezTo>
                  <a:pt x="471365" y="3135588"/>
                  <a:pt x="468267" y="3138996"/>
                  <a:pt x="464756" y="3138221"/>
                </a:cubicBezTo>
                <a:cubicBezTo>
                  <a:pt x="463311" y="3137911"/>
                  <a:pt x="461659" y="3136672"/>
                  <a:pt x="460317" y="3134504"/>
                </a:cubicBezTo>
                <a:lnTo>
                  <a:pt x="460729" y="3133884"/>
                </a:lnTo>
                <a:lnTo>
                  <a:pt x="459594" y="3133419"/>
                </a:lnTo>
                <a:cubicBezTo>
                  <a:pt x="457942" y="3132025"/>
                  <a:pt x="456599" y="3130321"/>
                  <a:pt x="455154" y="3128618"/>
                </a:cubicBezTo>
                <a:cubicBezTo>
                  <a:pt x="456341" y="3122964"/>
                  <a:pt x="458897" y="3122344"/>
                  <a:pt x="461814" y="3123467"/>
                </a:cubicBezTo>
                <a:close/>
                <a:moveTo>
                  <a:pt x="380913" y="3122422"/>
                </a:moveTo>
                <a:cubicBezTo>
                  <a:pt x="383288" y="3124900"/>
                  <a:pt x="387624" y="3124745"/>
                  <a:pt x="386695" y="3129857"/>
                </a:cubicBezTo>
                <a:cubicBezTo>
                  <a:pt x="382874" y="3133109"/>
                  <a:pt x="375543" y="3130012"/>
                  <a:pt x="375853" y="3124126"/>
                </a:cubicBezTo>
                <a:cubicBezTo>
                  <a:pt x="377815" y="3123816"/>
                  <a:pt x="379054" y="3122731"/>
                  <a:pt x="380913" y="3122422"/>
                </a:cubicBezTo>
                <a:close/>
                <a:moveTo>
                  <a:pt x="590213" y="3121802"/>
                </a:moveTo>
                <a:cubicBezTo>
                  <a:pt x="593517" y="3124126"/>
                  <a:pt x="593414" y="3126604"/>
                  <a:pt x="594962" y="3129082"/>
                </a:cubicBezTo>
                <a:cubicBezTo>
                  <a:pt x="589800" y="3136517"/>
                  <a:pt x="584533" y="3134194"/>
                  <a:pt x="583398" y="3130321"/>
                </a:cubicBezTo>
                <a:cubicBezTo>
                  <a:pt x="582985" y="3128928"/>
                  <a:pt x="583088" y="3127378"/>
                  <a:pt x="583811" y="3125985"/>
                </a:cubicBezTo>
                <a:cubicBezTo>
                  <a:pt x="584740" y="3124126"/>
                  <a:pt x="586805" y="3122577"/>
                  <a:pt x="590213" y="3121802"/>
                </a:cubicBezTo>
                <a:close/>
                <a:moveTo>
                  <a:pt x="99849" y="3120253"/>
                </a:moveTo>
                <a:cubicBezTo>
                  <a:pt x="109039" y="3119788"/>
                  <a:pt x="120087" y="3131561"/>
                  <a:pt x="113582" y="3136672"/>
                </a:cubicBezTo>
                <a:cubicBezTo>
                  <a:pt x="112653" y="3137292"/>
                  <a:pt x="111311" y="3137911"/>
                  <a:pt x="109555" y="3138376"/>
                </a:cubicBezTo>
                <a:cubicBezTo>
                  <a:pt x="105941" y="3135278"/>
                  <a:pt x="99746" y="3131251"/>
                  <a:pt x="98713" y="3125985"/>
                </a:cubicBezTo>
                <a:cubicBezTo>
                  <a:pt x="98403" y="3124281"/>
                  <a:pt x="98610" y="3122267"/>
                  <a:pt x="99849" y="3120253"/>
                </a:cubicBezTo>
                <a:close/>
                <a:moveTo>
                  <a:pt x="306362" y="3118085"/>
                </a:moveTo>
                <a:cubicBezTo>
                  <a:pt x="310182" y="3116691"/>
                  <a:pt x="313589" y="3117310"/>
                  <a:pt x="317203" y="3121647"/>
                </a:cubicBezTo>
                <a:cubicBezTo>
                  <a:pt x="316481" y="3124745"/>
                  <a:pt x="313280" y="3125674"/>
                  <a:pt x="309975" y="3125210"/>
                </a:cubicBezTo>
                <a:cubicBezTo>
                  <a:pt x="306775" y="3124590"/>
                  <a:pt x="303470" y="3122577"/>
                  <a:pt x="302334" y="3119943"/>
                </a:cubicBezTo>
                <a:cubicBezTo>
                  <a:pt x="303780" y="3119169"/>
                  <a:pt x="305019" y="3118549"/>
                  <a:pt x="306362" y="3118085"/>
                </a:cubicBezTo>
                <a:close/>
                <a:moveTo>
                  <a:pt x="453192" y="3117930"/>
                </a:moveTo>
                <a:cubicBezTo>
                  <a:pt x="455773" y="3121028"/>
                  <a:pt x="453708" y="3125830"/>
                  <a:pt x="448339" y="3124900"/>
                </a:cubicBezTo>
                <a:cubicBezTo>
                  <a:pt x="448959" y="3121338"/>
                  <a:pt x="449578" y="3117775"/>
                  <a:pt x="453192" y="3117930"/>
                </a:cubicBezTo>
                <a:close/>
                <a:moveTo>
                  <a:pt x="6787972" y="3116132"/>
                </a:moveTo>
                <a:cubicBezTo>
                  <a:pt x="6796026" y="3130071"/>
                  <a:pt x="6776819" y="3166934"/>
                  <a:pt x="6759316" y="3162081"/>
                </a:cubicBezTo>
                <a:cubicBezTo>
                  <a:pt x="6771088" y="3146386"/>
                  <a:pt x="6771243" y="3131414"/>
                  <a:pt x="6787972" y="3116132"/>
                </a:cubicBezTo>
                <a:close/>
                <a:moveTo>
                  <a:pt x="200317" y="3112044"/>
                </a:moveTo>
                <a:cubicBezTo>
                  <a:pt x="206616" y="3109565"/>
                  <a:pt x="222311" y="3118395"/>
                  <a:pt x="219833" y="3126759"/>
                </a:cubicBezTo>
                <a:cubicBezTo>
                  <a:pt x="214360" y="3123351"/>
                  <a:pt x="209714" y="3119634"/>
                  <a:pt x="201040" y="3117310"/>
                </a:cubicBezTo>
                <a:cubicBezTo>
                  <a:pt x="201659" y="3115761"/>
                  <a:pt x="200008" y="3114987"/>
                  <a:pt x="199904" y="3113593"/>
                </a:cubicBezTo>
                <a:cubicBezTo>
                  <a:pt x="199801" y="3113128"/>
                  <a:pt x="199904" y="3112663"/>
                  <a:pt x="200317" y="3112044"/>
                </a:cubicBezTo>
                <a:close/>
                <a:moveTo>
                  <a:pt x="70421" y="3112044"/>
                </a:moveTo>
                <a:cubicBezTo>
                  <a:pt x="73002" y="3114057"/>
                  <a:pt x="73725" y="3116691"/>
                  <a:pt x="71970" y="3119014"/>
                </a:cubicBezTo>
                <a:cubicBezTo>
                  <a:pt x="70215" y="3119634"/>
                  <a:pt x="68562" y="3118549"/>
                  <a:pt x="66807" y="3117620"/>
                </a:cubicBezTo>
                <a:cubicBezTo>
                  <a:pt x="65568" y="3116691"/>
                  <a:pt x="65155" y="3115761"/>
                  <a:pt x="65258" y="3114987"/>
                </a:cubicBezTo>
                <a:cubicBezTo>
                  <a:pt x="65361" y="3114057"/>
                  <a:pt x="65981" y="3113283"/>
                  <a:pt x="66910" y="3112508"/>
                </a:cubicBezTo>
                <a:cubicBezTo>
                  <a:pt x="68665" y="3111114"/>
                  <a:pt x="70421" y="3112044"/>
                  <a:pt x="70421" y="3112044"/>
                </a:cubicBezTo>
                <a:close/>
                <a:moveTo>
                  <a:pt x="420047" y="3110030"/>
                </a:moveTo>
                <a:cubicBezTo>
                  <a:pt x="424384" y="3109101"/>
                  <a:pt x="426655" y="3113902"/>
                  <a:pt x="428307" y="3116381"/>
                </a:cubicBezTo>
                <a:lnTo>
                  <a:pt x="427068" y="3117465"/>
                </a:lnTo>
                <a:lnTo>
                  <a:pt x="428823" y="3118085"/>
                </a:lnTo>
                <a:cubicBezTo>
                  <a:pt x="429546" y="3118549"/>
                  <a:pt x="430269" y="3119014"/>
                  <a:pt x="431095" y="3119634"/>
                </a:cubicBezTo>
                <a:cubicBezTo>
                  <a:pt x="430579" y="3120563"/>
                  <a:pt x="430579" y="3121647"/>
                  <a:pt x="430372" y="3122577"/>
                </a:cubicBezTo>
                <a:lnTo>
                  <a:pt x="429133" y="3125520"/>
                </a:lnTo>
                <a:lnTo>
                  <a:pt x="429443" y="3126294"/>
                </a:lnTo>
                <a:cubicBezTo>
                  <a:pt x="419530" y="3133729"/>
                  <a:pt x="415503" y="3131251"/>
                  <a:pt x="414987" y="3126759"/>
                </a:cubicBezTo>
                <a:cubicBezTo>
                  <a:pt x="414677" y="3123971"/>
                  <a:pt x="415607" y="3120408"/>
                  <a:pt x="417362" y="3118240"/>
                </a:cubicBezTo>
                <a:lnTo>
                  <a:pt x="418291" y="3117465"/>
                </a:lnTo>
                <a:lnTo>
                  <a:pt x="417568" y="3116226"/>
                </a:lnTo>
                <a:cubicBezTo>
                  <a:pt x="417465" y="3114212"/>
                  <a:pt x="418188" y="3112198"/>
                  <a:pt x="420047" y="3110030"/>
                </a:cubicBezTo>
                <a:close/>
                <a:moveTo>
                  <a:pt x="219626" y="3109256"/>
                </a:moveTo>
                <a:cubicBezTo>
                  <a:pt x="221588" y="3109410"/>
                  <a:pt x="221898" y="3108326"/>
                  <a:pt x="224583" y="3110030"/>
                </a:cubicBezTo>
                <a:cubicBezTo>
                  <a:pt x="224170" y="3111114"/>
                  <a:pt x="223756" y="3112198"/>
                  <a:pt x="223344" y="3113283"/>
                </a:cubicBezTo>
                <a:cubicBezTo>
                  <a:pt x="221072" y="3112353"/>
                  <a:pt x="218800" y="3111424"/>
                  <a:pt x="219626" y="3109256"/>
                </a:cubicBezTo>
                <a:close/>
                <a:moveTo>
                  <a:pt x="6751416" y="3109110"/>
                </a:moveTo>
                <a:cubicBezTo>
                  <a:pt x="6755753" y="3121088"/>
                  <a:pt x="6756063" y="3129968"/>
                  <a:pt x="6743671" y="3136783"/>
                </a:cubicBezTo>
                <a:cubicBezTo>
                  <a:pt x="6737785" y="3134098"/>
                  <a:pt x="6737011" y="3127696"/>
                  <a:pt x="6739025" y="3121707"/>
                </a:cubicBezTo>
                <a:cubicBezTo>
                  <a:pt x="6741038" y="3115719"/>
                  <a:pt x="6745995" y="3110039"/>
                  <a:pt x="6751416" y="3109110"/>
                </a:cubicBezTo>
                <a:close/>
                <a:moveTo>
                  <a:pt x="406520" y="3108171"/>
                </a:moveTo>
                <a:cubicBezTo>
                  <a:pt x="410960" y="3107707"/>
                  <a:pt x="413231" y="3109565"/>
                  <a:pt x="414161" y="3112818"/>
                </a:cubicBezTo>
                <a:cubicBezTo>
                  <a:pt x="411683" y="3117155"/>
                  <a:pt x="405178" y="3116691"/>
                  <a:pt x="404042" y="3112508"/>
                </a:cubicBezTo>
                <a:cubicBezTo>
                  <a:pt x="404661" y="3111424"/>
                  <a:pt x="405074" y="3109565"/>
                  <a:pt x="406520" y="3108171"/>
                </a:cubicBezTo>
                <a:close/>
                <a:moveTo>
                  <a:pt x="257934" y="3107552"/>
                </a:moveTo>
                <a:cubicBezTo>
                  <a:pt x="266091" y="3104299"/>
                  <a:pt x="277553" y="3109720"/>
                  <a:pt x="280444" y="3115452"/>
                </a:cubicBezTo>
                <a:cubicBezTo>
                  <a:pt x="272390" y="3118549"/>
                  <a:pt x="262064" y="3112198"/>
                  <a:pt x="257934" y="3107552"/>
                </a:cubicBezTo>
                <a:close/>
                <a:moveTo>
                  <a:pt x="346838" y="3106932"/>
                </a:moveTo>
                <a:cubicBezTo>
                  <a:pt x="349213" y="3106467"/>
                  <a:pt x="350349" y="3106313"/>
                  <a:pt x="351897" y="3107397"/>
                </a:cubicBezTo>
                <a:cubicBezTo>
                  <a:pt x="353033" y="3107087"/>
                  <a:pt x="354272" y="3106932"/>
                  <a:pt x="355202" y="3107087"/>
                </a:cubicBezTo>
                <a:cubicBezTo>
                  <a:pt x="356234" y="3107242"/>
                  <a:pt x="356957" y="3107707"/>
                  <a:pt x="357267" y="3108946"/>
                </a:cubicBezTo>
                <a:cubicBezTo>
                  <a:pt x="355305" y="3110495"/>
                  <a:pt x="353653" y="3111269"/>
                  <a:pt x="350865" y="3112353"/>
                </a:cubicBezTo>
                <a:cubicBezTo>
                  <a:pt x="350865" y="3112353"/>
                  <a:pt x="346115" y="3113128"/>
                  <a:pt x="344773" y="3110340"/>
                </a:cubicBezTo>
                <a:cubicBezTo>
                  <a:pt x="343947" y="3109875"/>
                  <a:pt x="345702" y="3107087"/>
                  <a:pt x="346838" y="3106932"/>
                </a:cubicBezTo>
                <a:close/>
                <a:moveTo>
                  <a:pt x="296204" y="3105538"/>
                </a:moveTo>
                <a:cubicBezTo>
                  <a:pt x="302231" y="3103757"/>
                  <a:pt x="308478" y="3103989"/>
                  <a:pt x="310595" y="3108017"/>
                </a:cubicBezTo>
                <a:cubicBezTo>
                  <a:pt x="300476" y="3109720"/>
                  <a:pt x="294694" y="3115296"/>
                  <a:pt x="283129" y="3115141"/>
                </a:cubicBezTo>
                <a:cubicBezTo>
                  <a:pt x="284368" y="3111114"/>
                  <a:pt x="290176" y="3107319"/>
                  <a:pt x="296204" y="3105538"/>
                </a:cubicBezTo>
                <a:close/>
                <a:moveTo>
                  <a:pt x="297894" y="3103370"/>
                </a:moveTo>
                <a:cubicBezTo>
                  <a:pt x="297894" y="3103370"/>
                  <a:pt x="296655" y="3103679"/>
                  <a:pt x="295416" y="3103834"/>
                </a:cubicBezTo>
                <a:cubicBezTo>
                  <a:pt x="294177" y="3104144"/>
                  <a:pt x="294177" y="3103989"/>
                  <a:pt x="294487" y="3105228"/>
                </a:cubicBezTo>
                <a:cubicBezTo>
                  <a:pt x="293352" y="3105383"/>
                  <a:pt x="293248" y="3105383"/>
                  <a:pt x="291802" y="3104454"/>
                </a:cubicBezTo>
                <a:cubicBezTo>
                  <a:pt x="292938" y="3104299"/>
                  <a:pt x="297585" y="3102285"/>
                  <a:pt x="297894" y="3103370"/>
                </a:cubicBezTo>
                <a:close/>
                <a:moveTo>
                  <a:pt x="6837694" y="3102502"/>
                </a:moveTo>
                <a:cubicBezTo>
                  <a:pt x="6847917" y="3098578"/>
                  <a:pt x="6857365" y="3107768"/>
                  <a:pt x="6855042" y="3115512"/>
                </a:cubicBezTo>
                <a:cubicBezTo>
                  <a:pt x="6851789" y="3117784"/>
                  <a:pt x="6848846" y="3118610"/>
                  <a:pt x="6846213" y="3118300"/>
                </a:cubicBezTo>
                <a:lnTo>
                  <a:pt x="6841721" y="3116441"/>
                </a:lnTo>
                <a:lnTo>
                  <a:pt x="6844354" y="3120365"/>
                </a:lnTo>
                <a:cubicBezTo>
                  <a:pt x="6842185" y="3126664"/>
                  <a:pt x="6829639" y="3133479"/>
                  <a:pt x="6824527" y="3133582"/>
                </a:cubicBezTo>
                <a:cubicBezTo>
                  <a:pt x="6820655" y="3129761"/>
                  <a:pt x="6819571" y="3125838"/>
                  <a:pt x="6820345" y="3122327"/>
                </a:cubicBezTo>
                <a:cubicBezTo>
                  <a:pt x="6821429" y="3117164"/>
                  <a:pt x="6826386" y="3113034"/>
                  <a:pt x="6831652" y="3112001"/>
                </a:cubicBezTo>
                <a:lnTo>
                  <a:pt x="6838623" y="3112931"/>
                </a:lnTo>
                <a:lnTo>
                  <a:pt x="6837848" y="3112104"/>
                </a:lnTo>
                <a:cubicBezTo>
                  <a:pt x="6836299" y="3108800"/>
                  <a:pt x="6836144" y="3105083"/>
                  <a:pt x="6837694" y="3102502"/>
                </a:cubicBezTo>
                <a:close/>
                <a:moveTo>
                  <a:pt x="337855" y="3100736"/>
                </a:moveTo>
                <a:cubicBezTo>
                  <a:pt x="340746" y="3100891"/>
                  <a:pt x="344669" y="3105538"/>
                  <a:pt x="343637" y="3108791"/>
                </a:cubicBezTo>
                <a:cubicBezTo>
                  <a:pt x="343327" y="3109875"/>
                  <a:pt x="342398" y="3110805"/>
                  <a:pt x="340746" y="3111269"/>
                </a:cubicBezTo>
                <a:cubicBezTo>
                  <a:pt x="335996" y="3112663"/>
                  <a:pt x="334447" y="3108946"/>
                  <a:pt x="333518" y="3104454"/>
                </a:cubicBezTo>
                <a:cubicBezTo>
                  <a:pt x="335170" y="3103370"/>
                  <a:pt x="336099" y="3101820"/>
                  <a:pt x="337855" y="3100736"/>
                </a:cubicBezTo>
                <a:close/>
                <a:moveTo>
                  <a:pt x="434916" y="3100427"/>
                </a:moveTo>
                <a:cubicBezTo>
                  <a:pt x="438426" y="3099342"/>
                  <a:pt x="441317" y="3106467"/>
                  <a:pt x="440388" y="3108017"/>
                </a:cubicBezTo>
                <a:cubicBezTo>
                  <a:pt x="439046" y="3108326"/>
                  <a:pt x="434502" y="3105074"/>
                  <a:pt x="433883" y="3102440"/>
                </a:cubicBezTo>
                <a:cubicBezTo>
                  <a:pt x="433676" y="3101666"/>
                  <a:pt x="433986" y="3100891"/>
                  <a:pt x="434916" y="3100427"/>
                </a:cubicBezTo>
                <a:close/>
                <a:moveTo>
                  <a:pt x="305535" y="3097793"/>
                </a:moveTo>
                <a:cubicBezTo>
                  <a:pt x="306362" y="3098413"/>
                  <a:pt x="307497" y="3098103"/>
                  <a:pt x="307497" y="3098103"/>
                </a:cubicBezTo>
                <a:cubicBezTo>
                  <a:pt x="307807" y="3099342"/>
                  <a:pt x="307394" y="3099962"/>
                  <a:pt x="306981" y="3100581"/>
                </a:cubicBezTo>
                <a:cubicBezTo>
                  <a:pt x="305845" y="3100891"/>
                  <a:pt x="305019" y="3100427"/>
                  <a:pt x="303780" y="3100581"/>
                </a:cubicBezTo>
                <a:cubicBezTo>
                  <a:pt x="303367" y="3101201"/>
                  <a:pt x="302541" y="3102595"/>
                  <a:pt x="301405" y="3102750"/>
                </a:cubicBezTo>
                <a:cubicBezTo>
                  <a:pt x="300166" y="3102905"/>
                  <a:pt x="298204" y="3102750"/>
                  <a:pt x="298204" y="3102750"/>
                </a:cubicBezTo>
                <a:cubicBezTo>
                  <a:pt x="298101" y="3102130"/>
                  <a:pt x="297997" y="3101820"/>
                  <a:pt x="298101" y="3101666"/>
                </a:cubicBezTo>
                <a:cubicBezTo>
                  <a:pt x="298101" y="3101666"/>
                  <a:pt x="298307" y="3101820"/>
                  <a:pt x="298618" y="3101975"/>
                </a:cubicBezTo>
                <a:cubicBezTo>
                  <a:pt x="300269" y="3101046"/>
                  <a:pt x="299857" y="3101820"/>
                  <a:pt x="301096" y="3101666"/>
                </a:cubicBezTo>
                <a:cubicBezTo>
                  <a:pt x="302231" y="3101356"/>
                  <a:pt x="305845" y="3099032"/>
                  <a:pt x="305535" y="3097793"/>
                </a:cubicBezTo>
                <a:close/>
                <a:moveTo>
                  <a:pt x="477870" y="3096554"/>
                </a:moveTo>
                <a:cubicBezTo>
                  <a:pt x="481381" y="3097019"/>
                  <a:pt x="484892" y="3100891"/>
                  <a:pt x="486647" y="3105383"/>
                </a:cubicBezTo>
                <a:lnTo>
                  <a:pt x="486647" y="3106003"/>
                </a:lnTo>
                <a:lnTo>
                  <a:pt x="488918" y="3106003"/>
                </a:lnTo>
                <a:cubicBezTo>
                  <a:pt x="498212" y="3120253"/>
                  <a:pt x="489538" y="3127224"/>
                  <a:pt x="481174" y="3125985"/>
                </a:cubicBezTo>
                <a:cubicBezTo>
                  <a:pt x="478387" y="3125674"/>
                  <a:pt x="475702" y="3124435"/>
                  <a:pt x="473740" y="3122112"/>
                </a:cubicBezTo>
                <a:cubicBezTo>
                  <a:pt x="472397" y="3120563"/>
                  <a:pt x="471365" y="3118704"/>
                  <a:pt x="470849" y="3116381"/>
                </a:cubicBezTo>
                <a:cubicBezTo>
                  <a:pt x="470332" y="3114057"/>
                  <a:pt x="470229" y="3111269"/>
                  <a:pt x="470952" y="3108017"/>
                </a:cubicBezTo>
                <a:lnTo>
                  <a:pt x="478593" y="3106313"/>
                </a:lnTo>
                <a:lnTo>
                  <a:pt x="475082" y="3101356"/>
                </a:lnTo>
                <a:cubicBezTo>
                  <a:pt x="477147" y="3099807"/>
                  <a:pt x="474979" y="3097948"/>
                  <a:pt x="477870" y="3096554"/>
                </a:cubicBezTo>
                <a:close/>
                <a:moveTo>
                  <a:pt x="6458411" y="3091208"/>
                </a:moveTo>
                <a:cubicBezTo>
                  <a:pt x="6462380" y="3091712"/>
                  <a:pt x="6466640" y="3093415"/>
                  <a:pt x="6471829" y="3096410"/>
                </a:cubicBezTo>
                <a:cubicBezTo>
                  <a:pt x="6473533" y="3103534"/>
                  <a:pt x="6467182" y="3113240"/>
                  <a:pt x="6458508" y="3114583"/>
                </a:cubicBezTo>
                <a:cubicBezTo>
                  <a:pt x="6455565" y="3114996"/>
                  <a:pt x="6452466" y="3114479"/>
                  <a:pt x="6449214" y="3112621"/>
                </a:cubicBezTo>
                <a:cubicBezTo>
                  <a:pt x="6445651" y="3107355"/>
                  <a:pt x="6442243" y="3101986"/>
                  <a:pt x="6446735" y="3093209"/>
                </a:cubicBezTo>
                <a:cubicBezTo>
                  <a:pt x="6450763" y="3091402"/>
                  <a:pt x="6454441" y="3090705"/>
                  <a:pt x="6458411" y="3091208"/>
                </a:cubicBezTo>
                <a:close/>
                <a:moveTo>
                  <a:pt x="6645971" y="3091079"/>
                </a:moveTo>
                <a:cubicBezTo>
                  <a:pt x="6650501" y="3092486"/>
                  <a:pt x="6654296" y="3095377"/>
                  <a:pt x="6656465" y="3099198"/>
                </a:cubicBezTo>
                <a:cubicBezTo>
                  <a:pt x="6657859" y="3101779"/>
                  <a:pt x="6658633" y="3104773"/>
                  <a:pt x="6658324" y="3107974"/>
                </a:cubicBezTo>
                <a:cubicBezTo>
                  <a:pt x="6658014" y="3112311"/>
                  <a:pt x="6656000" y="3117061"/>
                  <a:pt x="6651663" y="3121914"/>
                </a:cubicBezTo>
                <a:cubicBezTo>
                  <a:pt x="6650424" y="3122637"/>
                  <a:pt x="6649030" y="3123153"/>
                  <a:pt x="6647481" y="3123360"/>
                </a:cubicBezTo>
                <a:cubicBezTo>
                  <a:pt x="6645932" y="3123566"/>
                  <a:pt x="6644383" y="3123566"/>
                  <a:pt x="6642834" y="3123256"/>
                </a:cubicBezTo>
                <a:cubicBezTo>
                  <a:pt x="6632766" y="3121914"/>
                  <a:pt x="6621148" y="3113240"/>
                  <a:pt x="6620993" y="3105806"/>
                </a:cubicBezTo>
                <a:cubicBezTo>
                  <a:pt x="6624247" y="3101160"/>
                  <a:pt x="6627654" y="3096513"/>
                  <a:pt x="6631062" y="3091866"/>
                </a:cubicBezTo>
                <a:cubicBezTo>
                  <a:pt x="6636174" y="3089750"/>
                  <a:pt x="6641440" y="3089672"/>
                  <a:pt x="6645971" y="3091079"/>
                </a:cubicBezTo>
                <a:close/>
                <a:moveTo>
                  <a:pt x="600642" y="3089429"/>
                </a:moveTo>
                <a:cubicBezTo>
                  <a:pt x="601881" y="3089274"/>
                  <a:pt x="603429" y="3090203"/>
                  <a:pt x="604153" y="3090668"/>
                </a:cubicBezTo>
                <a:cubicBezTo>
                  <a:pt x="603739" y="3091442"/>
                  <a:pt x="604462" y="3091907"/>
                  <a:pt x="604049" y="3092682"/>
                </a:cubicBezTo>
                <a:cubicBezTo>
                  <a:pt x="603946" y="3094540"/>
                  <a:pt x="603946" y="3094540"/>
                  <a:pt x="602707" y="3094696"/>
                </a:cubicBezTo>
                <a:cubicBezTo>
                  <a:pt x="601468" y="3095005"/>
                  <a:pt x="599609" y="3092682"/>
                  <a:pt x="598370" y="3092992"/>
                </a:cubicBezTo>
                <a:cubicBezTo>
                  <a:pt x="598370" y="3092992"/>
                  <a:pt x="598370" y="3092992"/>
                  <a:pt x="598473" y="3090978"/>
                </a:cubicBezTo>
                <a:cubicBezTo>
                  <a:pt x="598990" y="3090358"/>
                  <a:pt x="599402" y="3089584"/>
                  <a:pt x="600642" y="3089429"/>
                </a:cubicBezTo>
                <a:close/>
                <a:moveTo>
                  <a:pt x="366870" y="3089119"/>
                </a:moveTo>
                <a:cubicBezTo>
                  <a:pt x="368005" y="3088964"/>
                  <a:pt x="368005" y="3088964"/>
                  <a:pt x="368831" y="3089429"/>
                </a:cubicBezTo>
                <a:cubicBezTo>
                  <a:pt x="369141" y="3090513"/>
                  <a:pt x="368728" y="3091288"/>
                  <a:pt x="369038" y="3092372"/>
                </a:cubicBezTo>
                <a:cubicBezTo>
                  <a:pt x="371413" y="3092062"/>
                  <a:pt x="370690" y="3091597"/>
                  <a:pt x="371000" y="3092682"/>
                </a:cubicBezTo>
                <a:cubicBezTo>
                  <a:pt x="371000" y="3092682"/>
                  <a:pt x="371000" y="3092682"/>
                  <a:pt x="371310" y="3093921"/>
                </a:cubicBezTo>
                <a:cubicBezTo>
                  <a:pt x="371310" y="3093921"/>
                  <a:pt x="372032" y="3094230"/>
                  <a:pt x="369245" y="3095315"/>
                </a:cubicBezTo>
                <a:cubicBezTo>
                  <a:pt x="368935" y="3094230"/>
                  <a:pt x="368005" y="3090823"/>
                  <a:pt x="368005" y="3090823"/>
                </a:cubicBezTo>
                <a:cubicBezTo>
                  <a:pt x="367179" y="3090203"/>
                  <a:pt x="367179" y="3090203"/>
                  <a:pt x="366870" y="3089119"/>
                </a:cubicBezTo>
                <a:close/>
                <a:moveTo>
                  <a:pt x="364495" y="3087725"/>
                </a:moveTo>
                <a:cubicBezTo>
                  <a:pt x="364804" y="3088964"/>
                  <a:pt x="365011" y="3091907"/>
                  <a:pt x="362223" y="3092837"/>
                </a:cubicBezTo>
                <a:cubicBezTo>
                  <a:pt x="359332" y="3093921"/>
                  <a:pt x="358919" y="3096399"/>
                  <a:pt x="356131" y="3097484"/>
                </a:cubicBezTo>
                <a:cubicBezTo>
                  <a:pt x="356131" y="3097484"/>
                  <a:pt x="356028" y="3097484"/>
                  <a:pt x="355718" y="3096244"/>
                </a:cubicBezTo>
                <a:cubicBezTo>
                  <a:pt x="359435" y="3093921"/>
                  <a:pt x="360055" y="3089584"/>
                  <a:pt x="364495" y="3087725"/>
                </a:cubicBezTo>
                <a:close/>
                <a:moveTo>
                  <a:pt x="261548" y="3087260"/>
                </a:moveTo>
                <a:cubicBezTo>
                  <a:pt x="264233" y="3088654"/>
                  <a:pt x="265162" y="3090978"/>
                  <a:pt x="263613" y="3093766"/>
                </a:cubicBezTo>
                <a:cubicBezTo>
                  <a:pt x="261961" y="3094850"/>
                  <a:pt x="260206" y="3094230"/>
                  <a:pt x="258451" y="3093611"/>
                </a:cubicBezTo>
                <a:cubicBezTo>
                  <a:pt x="257108" y="3092992"/>
                  <a:pt x="256592" y="3092217"/>
                  <a:pt x="256695" y="3091442"/>
                </a:cubicBezTo>
                <a:cubicBezTo>
                  <a:pt x="256695" y="3090513"/>
                  <a:pt x="257315" y="3089584"/>
                  <a:pt x="258141" y="3088654"/>
                </a:cubicBezTo>
                <a:cubicBezTo>
                  <a:pt x="259793" y="3086641"/>
                  <a:pt x="261548" y="3087260"/>
                  <a:pt x="261548" y="3087260"/>
                </a:cubicBezTo>
                <a:close/>
                <a:moveTo>
                  <a:pt x="6422572" y="3085464"/>
                </a:moveTo>
                <a:cubicBezTo>
                  <a:pt x="6430781" y="3086291"/>
                  <a:pt x="6432175" y="3097132"/>
                  <a:pt x="6433569" y="3102812"/>
                </a:cubicBezTo>
                <a:cubicBezTo>
                  <a:pt x="6428922" y="3105290"/>
                  <a:pt x="6424276" y="3107871"/>
                  <a:pt x="6420248" y="3108284"/>
                </a:cubicBezTo>
                <a:cubicBezTo>
                  <a:pt x="6419009" y="3108491"/>
                  <a:pt x="6417770" y="3108388"/>
                  <a:pt x="6416686" y="3108078"/>
                </a:cubicBezTo>
                <a:cubicBezTo>
                  <a:pt x="6414672" y="3103947"/>
                  <a:pt x="6413898" y="3099817"/>
                  <a:pt x="6414827" y="3095893"/>
                </a:cubicBezTo>
                <a:cubicBezTo>
                  <a:pt x="6415756" y="3092073"/>
                  <a:pt x="6418234" y="3088459"/>
                  <a:pt x="6422572" y="3085464"/>
                </a:cubicBezTo>
                <a:close/>
                <a:moveTo>
                  <a:pt x="121739" y="3085092"/>
                </a:moveTo>
                <a:cubicBezTo>
                  <a:pt x="122979" y="3084782"/>
                  <a:pt x="124218" y="3085247"/>
                  <a:pt x="125457" y="3086641"/>
                </a:cubicBezTo>
                <a:cubicBezTo>
                  <a:pt x="126283" y="3087415"/>
                  <a:pt x="127212" y="3088345"/>
                  <a:pt x="126283" y="3088345"/>
                </a:cubicBezTo>
                <a:cubicBezTo>
                  <a:pt x="126283" y="3089119"/>
                  <a:pt x="125457" y="3089119"/>
                  <a:pt x="124630" y="3089739"/>
                </a:cubicBezTo>
                <a:cubicBezTo>
                  <a:pt x="122875" y="3090513"/>
                  <a:pt x="120294" y="3090203"/>
                  <a:pt x="119468" y="3089274"/>
                </a:cubicBezTo>
                <a:cubicBezTo>
                  <a:pt x="118538" y="3088345"/>
                  <a:pt x="118538" y="3087570"/>
                  <a:pt x="118538" y="3087570"/>
                </a:cubicBezTo>
                <a:cubicBezTo>
                  <a:pt x="119468" y="3086331"/>
                  <a:pt x="120603" y="3085402"/>
                  <a:pt x="121739" y="3085092"/>
                </a:cubicBezTo>
                <a:close/>
                <a:moveTo>
                  <a:pt x="449475" y="3083543"/>
                </a:moveTo>
                <a:cubicBezTo>
                  <a:pt x="450094" y="3085866"/>
                  <a:pt x="449991" y="3087880"/>
                  <a:pt x="447822" y="3089429"/>
                </a:cubicBezTo>
                <a:cubicBezTo>
                  <a:pt x="447719" y="3087880"/>
                  <a:pt x="447616" y="3086796"/>
                  <a:pt x="447822" y="3085866"/>
                </a:cubicBezTo>
                <a:cubicBezTo>
                  <a:pt x="448029" y="3085092"/>
                  <a:pt x="448442" y="3084317"/>
                  <a:pt x="449475" y="3083543"/>
                </a:cubicBezTo>
                <a:close/>
                <a:moveTo>
                  <a:pt x="379363" y="3082768"/>
                </a:moveTo>
                <a:cubicBezTo>
                  <a:pt x="381738" y="3082459"/>
                  <a:pt x="384527" y="3081374"/>
                  <a:pt x="385662" y="3083078"/>
                </a:cubicBezTo>
                <a:cubicBezTo>
                  <a:pt x="387934" y="3089274"/>
                  <a:pt x="377195" y="3092837"/>
                  <a:pt x="375233" y="3094385"/>
                </a:cubicBezTo>
                <a:cubicBezTo>
                  <a:pt x="375233" y="3094385"/>
                  <a:pt x="374717" y="3095160"/>
                  <a:pt x="373581" y="3095315"/>
                </a:cubicBezTo>
                <a:cubicBezTo>
                  <a:pt x="371929" y="3096089"/>
                  <a:pt x="372549" y="3093611"/>
                  <a:pt x="371310" y="3093921"/>
                </a:cubicBezTo>
                <a:cubicBezTo>
                  <a:pt x="376266" y="3089429"/>
                  <a:pt x="377815" y="3083698"/>
                  <a:pt x="377815" y="3083698"/>
                </a:cubicBezTo>
                <a:cubicBezTo>
                  <a:pt x="379363" y="3082923"/>
                  <a:pt x="380086" y="3083233"/>
                  <a:pt x="379363" y="3082768"/>
                </a:cubicBezTo>
                <a:close/>
                <a:moveTo>
                  <a:pt x="228300" y="3082304"/>
                </a:moveTo>
                <a:cubicBezTo>
                  <a:pt x="233876" y="3078431"/>
                  <a:pt x="236560" y="3084937"/>
                  <a:pt x="234702" y="3087880"/>
                </a:cubicBezTo>
                <a:cubicBezTo>
                  <a:pt x="231501" y="3089274"/>
                  <a:pt x="228816" y="3087415"/>
                  <a:pt x="228093" y="3084937"/>
                </a:cubicBezTo>
                <a:cubicBezTo>
                  <a:pt x="227887" y="3084163"/>
                  <a:pt x="227990" y="3083233"/>
                  <a:pt x="228300" y="3082304"/>
                </a:cubicBezTo>
                <a:close/>
                <a:moveTo>
                  <a:pt x="181938" y="3079361"/>
                </a:moveTo>
                <a:cubicBezTo>
                  <a:pt x="190198" y="3078276"/>
                  <a:pt x="202383" y="3082149"/>
                  <a:pt x="203105" y="3089119"/>
                </a:cubicBezTo>
                <a:cubicBezTo>
                  <a:pt x="193296" y="3085711"/>
                  <a:pt x="186068" y="3088035"/>
                  <a:pt x="175536" y="3082149"/>
                </a:cubicBezTo>
                <a:cubicBezTo>
                  <a:pt x="176878" y="3080600"/>
                  <a:pt x="179150" y="3079670"/>
                  <a:pt x="181938" y="3079361"/>
                </a:cubicBezTo>
                <a:close/>
                <a:moveTo>
                  <a:pt x="120397" y="3075953"/>
                </a:moveTo>
                <a:lnTo>
                  <a:pt x="122875" y="3078741"/>
                </a:lnTo>
                <a:cubicBezTo>
                  <a:pt x="122049" y="3079516"/>
                  <a:pt x="120294" y="3080135"/>
                  <a:pt x="119468" y="3079206"/>
                </a:cubicBezTo>
                <a:cubicBezTo>
                  <a:pt x="118642" y="3078741"/>
                  <a:pt x="118642" y="3078431"/>
                  <a:pt x="118951" y="3077812"/>
                </a:cubicBezTo>
                <a:cubicBezTo>
                  <a:pt x="119261" y="3077347"/>
                  <a:pt x="119984" y="3076728"/>
                  <a:pt x="120397" y="3075953"/>
                </a:cubicBezTo>
                <a:close/>
                <a:moveTo>
                  <a:pt x="6399647" y="3075139"/>
                </a:moveTo>
                <a:cubicBezTo>
                  <a:pt x="6407237" y="3083709"/>
                  <a:pt x="6406463" y="3089388"/>
                  <a:pt x="6401351" y="3094654"/>
                </a:cubicBezTo>
                <a:cubicBezTo>
                  <a:pt x="6386326" y="3093002"/>
                  <a:pt x="6384002" y="3077410"/>
                  <a:pt x="6399647" y="3075139"/>
                </a:cubicBezTo>
                <a:close/>
                <a:moveTo>
                  <a:pt x="360158" y="3074249"/>
                </a:moveTo>
                <a:cubicBezTo>
                  <a:pt x="360984" y="3073939"/>
                  <a:pt x="361707" y="3074094"/>
                  <a:pt x="362326" y="3074714"/>
                </a:cubicBezTo>
                <a:cubicBezTo>
                  <a:pt x="363049" y="3075488"/>
                  <a:pt x="363565" y="3076573"/>
                  <a:pt x="364288" y="3077966"/>
                </a:cubicBezTo>
                <a:cubicBezTo>
                  <a:pt x="365734" y="3080909"/>
                  <a:pt x="366250" y="3084937"/>
                  <a:pt x="366560" y="3086176"/>
                </a:cubicBezTo>
                <a:cubicBezTo>
                  <a:pt x="366973" y="3087415"/>
                  <a:pt x="367695" y="3087880"/>
                  <a:pt x="367695" y="3087880"/>
                </a:cubicBezTo>
                <a:cubicBezTo>
                  <a:pt x="366044" y="3088809"/>
                  <a:pt x="361087" y="3077812"/>
                  <a:pt x="359745" y="3075024"/>
                </a:cubicBezTo>
                <a:cubicBezTo>
                  <a:pt x="360158" y="3074404"/>
                  <a:pt x="360158" y="3074249"/>
                  <a:pt x="360158" y="3074249"/>
                </a:cubicBezTo>
                <a:close/>
                <a:moveTo>
                  <a:pt x="283645" y="3072081"/>
                </a:moveTo>
                <a:cubicBezTo>
                  <a:pt x="286020" y="3071771"/>
                  <a:pt x="286743" y="3072235"/>
                  <a:pt x="287465" y="3072700"/>
                </a:cubicBezTo>
                <a:cubicBezTo>
                  <a:pt x="287465" y="3072700"/>
                  <a:pt x="286330" y="3072855"/>
                  <a:pt x="285917" y="3073474"/>
                </a:cubicBezTo>
                <a:cubicBezTo>
                  <a:pt x="285917" y="3073474"/>
                  <a:pt x="284678" y="3073785"/>
                  <a:pt x="283542" y="3073939"/>
                </a:cubicBezTo>
                <a:cubicBezTo>
                  <a:pt x="283542" y="3073939"/>
                  <a:pt x="283129" y="3074559"/>
                  <a:pt x="282613" y="3075333"/>
                </a:cubicBezTo>
                <a:cubicBezTo>
                  <a:pt x="279928" y="3076418"/>
                  <a:pt x="278276" y="3077347"/>
                  <a:pt x="275797" y="3074714"/>
                </a:cubicBezTo>
                <a:cubicBezTo>
                  <a:pt x="276004" y="3074404"/>
                  <a:pt x="276624" y="3074094"/>
                  <a:pt x="277450" y="3073785"/>
                </a:cubicBezTo>
                <a:cubicBezTo>
                  <a:pt x="278172" y="3073629"/>
                  <a:pt x="279102" y="3073474"/>
                  <a:pt x="279721" y="3073474"/>
                </a:cubicBezTo>
                <a:cubicBezTo>
                  <a:pt x="280134" y="3072700"/>
                  <a:pt x="281373" y="3072545"/>
                  <a:pt x="282096" y="3073010"/>
                </a:cubicBezTo>
                <a:cubicBezTo>
                  <a:pt x="282096" y="3073010"/>
                  <a:pt x="283232" y="3072855"/>
                  <a:pt x="283645" y="3072081"/>
                </a:cubicBezTo>
                <a:close/>
                <a:moveTo>
                  <a:pt x="297791" y="3071926"/>
                </a:moveTo>
                <a:cubicBezTo>
                  <a:pt x="301302" y="3072390"/>
                  <a:pt x="306052" y="3078276"/>
                  <a:pt x="306775" y="3080909"/>
                </a:cubicBezTo>
                <a:cubicBezTo>
                  <a:pt x="305226" y="3083078"/>
                  <a:pt x="303264" y="3084007"/>
                  <a:pt x="301405" y="3083852"/>
                </a:cubicBezTo>
                <a:cubicBezTo>
                  <a:pt x="298307" y="3083852"/>
                  <a:pt x="295416" y="3081064"/>
                  <a:pt x="294694" y="3078121"/>
                </a:cubicBezTo>
                <a:cubicBezTo>
                  <a:pt x="294384" y="3077037"/>
                  <a:pt x="294384" y="3076108"/>
                  <a:pt x="294694" y="3075024"/>
                </a:cubicBezTo>
                <a:cubicBezTo>
                  <a:pt x="295106" y="3073785"/>
                  <a:pt x="296139" y="3072700"/>
                  <a:pt x="297791" y="3071926"/>
                </a:cubicBezTo>
                <a:close/>
                <a:moveTo>
                  <a:pt x="263923" y="3069602"/>
                </a:moveTo>
                <a:cubicBezTo>
                  <a:pt x="265782" y="3068828"/>
                  <a:pt x="265679" y="3068828"/>
                  <a:pt x="266608" y="3069757"/>
                </a:cubicBezTo>
                <a:cubicBezTo>
                  <a:pt x="267434" y="3070686"/>
                  <a:pt x="266505" y="3073165"/>
                  <a:pt x="267434" y="3074249"/>
                </a:cubicBezTo>
                <a:cubicBezTo>
                  <a:pt x="267434" y="3074249"/>
                  <a:pt x="267434" y="3074249"/>
                  <a:pt x="265679" y="3074869"/>
                </a:cubicBezTo>
                <a:cubicBezTo>
                  <a:pt x="264749" y="3074869"/>
                  <a:pt x="263820" y="3074714"/>
                  <a:pt x="262994" y="3073785"/>
                </a:cubicBezTo>
                <a:cubicBezTo>
                  <a:pt x="262064" y="3072700"/>
                  <a:pt x="262168" y="3070996"/>
                  <a:pt x="262168" y="3070222"/>
                </a:cubicBezTo>
                <a:cubicBezTo>
                  <a:pt x="262994" y="3070222"/>
                  <a:pt x="263097" y="3069447"/>
                  <a:pt x="263923" y="3069602"/>
                </a:cubicBezTo>
                <a:close/>
                <a:moveTo>
                  <a:pt x="116163" y="3067279"/>
                </a:moveTo>
                <a:cubicBezTo>
                  <a:pt x="117093" y="3068208"/>
                  <a:pt x="117093" y="3067434"/>
                  <a:pt x="117919" y="3067434"/>
                </a:cubicBezTo>
                <a:cubicBezTo>
                  <a:pt x="120500" y="3070222"/>
                  <a:pt x="121429" y="3072855"/>
                  <a:pt x="119571" y="3075024"/>
                </a:cubicBezTo>
                <a:cubicBezTo>
                  <a:pt x="117816" y="3076573"/>
                  <a:pt x="115131" y="3078741"/>
                  <a:pt x="112550" y="3076882"/>
                </a:cubicBezTo>
                <a:cubicBezTo>
                  <a:pt x="112550" y="3076108"/>
                  <a:pt x="111620" y="3075953"/>
                  <a:pt x="111723" y="3075178"/>
                </a:cubicBezTo>
                <a:cubicBezTo>
                  <a:pt x="111723" y="3075178"/>
                  <a:pt x="111207" y="3074249"/>
                  <a:pt x="111207" y="3073010"/>
                </a:cubicBezTo>
                <a:cubicBezTo>
                  <a:pt x="111104" y="3071771"/>
                  <a:pt x="111414" y="3070222"/>
                  <a:pt x="112756" y="3068673"/>
                </a:cubicBezTo>
                <a:cubicBezTo>
                  <a:pt x="113169" y="3068208"/>
                  <a:pt x="113995" y="3067743"/>
                  <a:pt x="114821" y="3067434"/>
                </a:cubicBezTo>
                <a:cubicBezTo>
                  <a:pt x="115544" y="3067124"/>
                  <a:pt x="116163" y="3066969"/>
                  <a:pt x="116163" y="3067279"/>
                </a:cubicBezTo>
                <a:close/>
                <a:moveTo>
                  <a:pt x="241517" y="3066040"/>
                </a:moveTo>
                <a:cubicBezTo>
                  <a:pt x="248331" y="3063716"/>
                  <a:pt x="255869" y="3063871"/>
                  <a:pt x="259277" y="3068983"/>
                </a:cubicBezTo>
                <a:cubicBezTo>
                  <a:pt x="246783" y="3068208"/>
                  <a:pt x="241620" y="3080445"/>
                  <a:pt x="227990" y="3077347"/>
                </a:cubicBezTo>
                <a:cubicBezTo>
                  <a:pt x="228610" y="3073010"/>
                  <a:pt x="234702" y="3068363"/>
                  <a:pt x="241517" y="3066040"/>
                </a:cubicBezTo>
                <a:close/>
                <a:moveTo>
                  <a:pt x="592897" y="3065575"/>
                </a:moveTo>
                <a:cubicBezTo>
                  <a:pt x="596924" y="3070377"/>
                  <a:pt x="598473" y="3074404"/>
                  <a:pt x="593104" y="3079670"/>
                </a:cubicBezTo>
                <a:cubicBezTo>
                  <a:pt x="589696" y="3079516"/>
                  <a:pt x="588354" y="3076573"/>
                  <a:pt x="588457" y="3073474"/>
                </a:cubicBezTo>
                <a:cubicBezTo>
                  <a:pt x="588664" y="3070377"/>
                  <a:pt x="590213" y="3066969"/>
                  <a:pt x="592897" y="3065575"/>
                </a:cubicBezTo>
                <a:close/>
                <a:moveTo>
                  <a:pt x="6298906" y="3064254"/>
                </a:moveTo>
                <a:lnTo>
                  <a:pt x="6291454" y="3098318"/>
                </a:lnTo>
                <a:lnTo>
                  <a:pt x="6292459" y="3099301"/>
                </a:lnTo>
                <a:lnTo>
                  <a:pt x="6292687" y="3106574"/>
                </a:lnTo>
                <a:lnTo>
                  <a:pt x="6302282" y="3102816"/>
                </a:lnTo>
                <a:lnTo>
                  <a:pt x="6319508" y="3092692"/>
                </a:lnTo>
                <a:lnTo>
                  <a:pt x="6339964" y="3085100"/>
                </a:lnTo>
                <a:lnTo>
                  <a:pt x="6342135" y="3084371"/>
                </a:lnTo>
                <a:lnTo>
                  <a:pt x="6344039" y="3076688"/>
                </a:lnTo>
                <a:lnTo>
                  <a:pt x="6347569" y="3072296"/>
                </a:lnTo>
                <a:lnTo>
                  <a:pt x="6344329" y="3072296"/>
                </a:lnTo>
                <a:lnTo>
                  <a:pt x="6344329" y="3072154"/>
                </a:lnTo>
                <a:lnTo>
                  <a:pt x="6344116" y="3072296"/>
                </a:lnTo>
                <a:lnTo>
                  <a:pt x="6326615" y="3072296"/>
                </a:lnTo>
                <a:lnTo>
                  <a:pt x="6321920" y="3070020"/>
                </a:lnTo>
                <a:lnTo>
                  <a:pt x="6322133" y="3070731"/>
                </a:lnTo>
                <a:cubicBezTo>
                  <a:pt x="6320639" y="3073007"/>
                  <a:pt x="6319786" y="3071442"/>
                  <a:pt x="6317438" y="3071442"/>
                </a:cubicBezTo>
                <a:lnTo>
                  <a:pt x="6317865" y="3072296"/>
                </a:lnTo>
                <a:lnTo>
                  <a:pt x="6298444" y="3072296"/>
                </a:lnTo>
                <a:lnTo>
                  <a:pt x="6298657" y="3069735"/>
                </a:lnTo>
                <a:close/>
                <a:moveTo>
                  <a:pt x="615821" y="3063561"/>
                </a:moveTo>
                <a:cubicBezTo>
                  <a:pt x="616750" y="3067743"/>
                  <a:pt x="619744" y="3073165"/>
                  <a:pt x="618712" y="3077037"/>
                </a:cubicBezTo>
                <a:cubicBezTo>
                  <a:pt x="618092" y="3075488"/>
                  <a:pt x="615304" y="3066349"/>
                  <a:pt x="615821" y="3063561"/>
                </a:cubicBezTo>
                <a:close/>
                <a:moveTo>
                  <a:pt x="157053" y="3063096"/>
                </a:moveTo>
                <a:cubicBezTo>
                  <a:pt x="157982" y="3063871"/>
                  <a:pt x="160667" y="3064181"/>
                  <a:pt x="162422" y="3065265"/>
                </a:cubicBezTo>
                <a:cubicBezTo>
                  <a:pt x="162422" y="3066040"/>
                  <a:pt x="163352" y="3066969"/>
                  <a:pt x="163352" y="3067743"/>
                </a:cubicBezTo>
                <a:cubicBezTo>
                  <a:pt x="162422" y="3067588"/>
                  <a:pt x="160563" y="3068208"/>
                  <a:pt x="160563" y="3067434"/>
                </a:cubicBezTo>
                <a:cubicBezTo>
                  <a:pt x="159738" y="3067279"/>
                  <a:pt x="159738" y="3065730"/>
                  <a:pt x="159738" y="3065730"/>
                </a:cubicBezTo>
                <a:cubicBezTo>
                  <a:pt x="158808" y="3065575"/>
                  <a:pt x="157982" y="3065575"/>
                  <a:pt x="157053" y="3064645"/>
                </a:cubicBezTo>
                <a:cubicBezTo>
                  <a:pt x="157982" y="3063871"/>
                  <a:pt x="157053" y="3063871"/>
                  <a:pt x="157053" y="3063096"/>
                </a:cubicBezTo>
                <a:close/>
                <a:moveTo>
                  <a:pt x="616027" y="3061548"/>
                </a:moveTo>
                <a:cubicBezTo>
                  <a:pt x="615614" y="3062632"/>
                  <a:pt x="615614" y="3062632"/>
                  <a:pt x="615924" y="3063406"/>
                </a:cubicBezTo>
                <a:cubicBezTo>
                  <a:pt x="615924" y="3063406"/>
                  <a:pt x="614891" y="3062787"/>
                  <a:pt x="614891" y="3062787"/>
                </a:cubicBezTo>
                <a:cubicBezTo>
                  <a:pt x="615201" y="3061702"/>
                  <a:pt x="614581" y="3062012"/>
                  <a:pt x="616027" y="3061548"/>
                </a:cubicBezTo>
                <a:close/>
                <a:moveTo>
                  <a:pt x="479213" y="3059069"/>
                </a:moveTo>
                <a:cubicBezTo>
                  <a:pt x="481484" y="3065110"/>
                  <a:pt x="480555" y="3071151"/>
                  <a:pt x="477663" y="3076108"/>
                </a:cubicBezTo>
                <a:cubicBezTo>
                  <a:pt x="473017" y="3084627"/>
                  <a:pt x="462794" y="3090358"/>
                  <a:pt x="452262" y="3089584"/>
                </a:cubicBezTo>
                <a:cubicBezTo>
                  <a:pt x="452056" y="3088499"/>
                  <a:pt x="451850" y="3087260"/>
                  <a:pt x="450611" y="3087725"/>
                </a:cubicBezTo>
                <a:cubicBezTo>
                  <a:pt x="450094" y="3085866"/>
                  <a:pt x="449888" y="3084007"/>
                  <a:pt x="449991" y="3082149"/>
                </a:cubicBezTo>
                <a:cubicBezTo>
                  <a:pt x="450817" y="3068983"/>
                  <a:pt x="466202" y="3055352"/>
                  <a:pt x="479213" y="3059069"/>
                </a:cubicBezTo>
                <a:close/>
                <a:moveTo>
                  <a:pt x="165314" y="3059069"/>
                </a:moveTo>
                <a:cubicBezTo>
                  <a:pt x="165830" y="3059069"/>
                  <a:pt x="166243" y="3059224"/>
                  <a:pt x="166759" y="3059689"/>
                </a:cubicBezTo>
                <a:cubicBezTo>
                  <a:pt x="166759" y="3059689"/>
                  <a:pt x="167585" y="3060618"/>
                  <a:pt x="168411" y="3061548"/>
                </a:cubicBezTo>
                <a:cubicBezTo>
                  <a:pt x="169237" y="3062477"/>
                  <a:pt x="170166" y="3062632"/>
                  <a:pt x="170166" y="3062632"/>
                </a:cubicBezTo>
                <a:cubicBezTo>
                  <a:pt x="170992" y="3063716"/>
                  <a:pt x="170992" y="3064491"/>
                  <a:pt x="170063" y="3065265"/>
                </a:cubicBezTo>
                <a:cubicBezTo>
                  <a:pt x="170063" y="3065265"/>
                  <a:pt x="168308" y="3064181"/>
                  <a:pt x="168308" y="3064181"/>
                </a:cubicBezTo>
                <a:cubicBezTo>
                  <a:pt x="166656" y="3062322"/>
                  <a:pt x="165830" y="3061393"/>
                  <a:pt x="164074" y="3060308"/>
                </a:cubicBezTo>
                <a:cubicBezTo>
                  <a:pt x="164487" y="3059534"/>
                  <a:pt x="164900" y="3059224"/>
                  <a:pt x="165314" y="3059069"/>
                </a:cubicBezTo>
                <a:close/>
                <a:moveTo>
                  <a:pt x="384630" y="3058760"/>
                </a:moveTo>
                <a:lnTo>
                  <a:pt x="389380" y="3061857"/>
                </a:lnTo>
                <a:lnTo>
                  <a:pt x="390309" y="3061548"/>
                </a:lnTo>
                <a:cubicBezTo>
                  <a:pt x="391238" y="3061393"/>
                  <a:pt x="391754" y="3061857"/>
                  <a:pt x="392064" y="3062941"/>
                </a:cubicBezTo>
                <a:cubicBezTo>
                  <a:pt x="392581" y="3063716"/>
                  <a:pt x="392581" y="3064491"/>
                  <a:pt x="392374" y="3065110"/>
                </a:cubicBezTo>
                <a:lnTo>
                  <a:pt x="392374" y="3065265"/>
                </a:lnTo>
                <a:lnTo>
                  <a:pt x="395265" y="3070067"/>
                </a:lnTo>
                <a:lnTo>
                  <a:pt x="398259" y="3071151"/>
                </a:lnTo>
                <a:lnTo>
                  <a:pt x="401151" y="3072545"/>
                </a:lnTo>
                <a:lnTo>
                  <a:pt x="400428" y="3071616"/>
                </a:lnTo>
                <a:cubicBezTo>
                  <a:pt x="398259" y="3068053"/>
                  <a:pt x="397330" y="3062322"/>
                  <a:pt x="401461" y="3059224"/>
                </a:cubicBezTo>
                <a:cubicBezTo>
                  <a:pt x="404764" y="3062322"/>
                  <a:pt x="405487" y="3064955"/>
                  <a:pt x="405281" y="3067279"/>
                </a:cubicBezTo>
                <a:lnTo>
                  <a:pt x="402906" y="3073939"/>
                </a:lnTo>
                <a:lnTo>
                  <a:pt x="405487" y="3077347"/>
                </a:lnTo>
                <a:cubicBezTo>
                  <a:pt x="403113" y="3077657"/>
                  <a:pt x="403939" y="3083078"/>
                  <a:pt x="400324" y="3083698"/>
                </a:cubicBezTo>
                <a:cubicBezTo>
                  <a:pt x="389896" y="3086641"/>
                  <a:pt x="388450" y="3083698"/>
                  <a:pt x="384423" y="3078276"/>
                </a:cubicBezTo>
                <a:cubicBezTo>
                  <a:pt x="385146" y="3078741"/>
                  <a:pt x="384836" y="3077657"/>
                  <a:pt x="384836" y="3077657"/>
                </a:cubicBezTo>
                <a:cubicBezTo>
                  <a:pt x="384217" y="3075333"/>
                  <a:pt x="380809" y="3078896"/>
                  <a:pt x="379467" y="3075953"/>
                </a:cubicBezTo>
                <a:cubicBezTo>
                  <a:pt x="378951" y="3074869"/>
                  <a:pt x="378951" y="3073629"/>
                  <a:pt x="379157" y="3072545"/>
                </a:cubicBezTo>
                <a:lnTo>
                  <a:pt x="372135" y="3067279"/>
                </a:lnTo>
                <a:cubicBezTo>
                  <a:pt x="370174" y="3064800"/>
                  <a:pt x="368831" y="3062012"/>
                  <a:pt x="368625" y="3059379"/>
                </a:cubicBezTo>
                <a:cubicBezTo>
                  <a:pt x="374923" y="3057830"/>
                  <a:pt x="380190" y="3057365"/>
                  <a:pt x="384630" y="3058760"/>
                </a:cubicBezTo>
                <a:close/>
                <a:moveTo>
                  <a:pt x="326393" y="3058450"/>
                </a:moveTo>
                <a:cubicBezTo>
                  <a:pt x="328561" y="3063716"/>
                  <a:pt x="332382" y="3069292"/>
                  <a:pt x="332795" y="3075178"/>
                </a:cubicBezTo>
                <a:cubicBezTo>
                  <a:pt x="328355" y="3073165"/>
                  <a:pt x="323295" y="3067434"/>
                  <a:pt x="323812" y="3062632"/>
                </a:cubicBezTo>
                <a:cubicBezTo>
                  <a:pt x="323915" y="3061083"/>
                  <a:pt x="324741" y="3059534"/>
                  <a:pt x="326393" y="3058450"/>
                </a:cubicBezTo>
                <a:close/>
                <a:moveTo>
                  <a:pt x="614375" y="3057520"/>
                </a:moveTo>
                <a:cubicBezTo>
                  <a:pt x="614685" y="3058295"/>
                  <a:pt x="614994" y="3059224"/>
                  <a:pt x="614271" y="3059379"/>
                </a:cubicBezTo>
                <a:cubicBezTo>
                  <a:pt x="613962" y="3059534"/>
                  <a:pt x="613652" y="3059379"/>
                  <a:pt x="613549" y="3059069"/>
                </a:cubicBezTo>
                <a:cubicBezTo>
                  <a:pt x="613342" y="3058760"/>
                  <a:pt x="613446" y="3058140"/>
                  <a:pt x="613549" y="3057675"/>
                </a:cubicBezTo>
                <a:cubicBezTo>
                  <a:pt x="613549" y="3057675"/>
                  <a:pt x="614375" y="3057520"/>
                  <a:pt x="614375" y="3057520"/>
                </a:cubicBezTo>
                <a:close/>
                <a:moveTo>
                  <a:pt x="6537349" y="3056140"/>
                </a:moveTo>
                <a:cubicBezTo>
                  <a:pt x="6552065" y="3061612"/>
                  <a:pt x="6568948" y="3082987"/>
                  <a:pt x="6551910" y="3094861"/>
                </a:cubicBezTo>
                <a:cubicBezTo>
                  <a:pt x="6546953" y="3082573"/>
                  <a:pt x="6537659" y="3069873"/>
                  <a:pt x="6537349" y="3056140"/>
                </a:cubicBezTo>
                <a:close/>
                <a:moveTo>
                  <a:pt x="232843" y="3055506"/>
                </a:moveTo>
                <a:cubicBezTo>
                  <a:pt x="233772" y="3054732"/>
                  <a:pt x="235527" y="3054887"/>
                  <a:pt x="238109" y="3055971"/>
                </a:cubicBezTo>
                <a:cubicBezTo>
                  <a:pt x="238935" y="3057675"/>
                  <a:pt x="236250" y="3059998"/>
                  <a:pt x="235321" y="3061548"/>
                </a:cubicBezTo>
                <a:cubicBezTo>
                  <a:pt x="234495" y="3060618"/>
                  <a:pt x="233669" y="3059689"/>
                  <a:pt x="233669" y="3060463"/>
                </a:cubicBezTo>
                <a:cubicBezTo>
                  <a:pt x="232740" y="3059534"/>
                  <a:pt x="232327" y="3058760"/>
                  <a:pt x="232223" y="3057985"/>
                </a:cubicBezTo>
                <a:cubicBezTo>
                  <a:pt x="232223" y="3057056"/>
                  <a:pt x="232430" y="3056281"/>
                  <a:pt x="232843" y="3055506"/>
                </a:cubicBezTo>
                <a:close/>
                <a:moveTo>
                  <a:pt x="486647" y="3055042"/>
                </a:moveTo>
                <a:cubicBezTo>
                  <a:pt x="494597" y="3055506"/>
                  <a:pt x="499038" y="3066195"/>
                  <a:pt x="498521" y="3071926"/>
                </a:cubicBezTo>
                <a:cubicBezTo>
                  <a:pt x="495630" y="3074559"/>
                  <a:pt x="492739" y="3075333"/>
                  <a:pt x="490261" y="3074714"/>
                </a:cubicBezTo>
                <a:cubicBezTo>
                  <a:pt x="486647" y="3073785"/>
                  <a:pt x="483859" y="3070222"/>
                  <a:pt x="482826" y="3066040"/>
                </a:cubicBezTo>
                <a:cubicBezTo>
                  <a:pt x="481897" y="3062012"/>
                  <a:pt x="482826" y="3057520"/>
                  <a:pt x="486647" y="3055042"/>
                </a:cubicBezTo>
                <a:close/>
                <a:moveTo>
                  <a:pt x="404868" y="3054887"/>
                </a:moveTo>
                <a:cubicBezTo>
                  <a:pt x="405900" y="3054113"/>
                  <a:pt x="407139" y="3054267"/>
                  <a:pt x="408379" y="3054887"/>
                </a:cubicBezTo>
                <a:cubicBezTo>
                  <a:pt x="409721" y="3055506"/>
                  <a:pt x="410857" y="3056436"/>
                  <a:pt x="411786" y="3057520"/>
                </a:cubicBezTo>
                <a:cubicBezTo>
                  <a:pt x="411063" y="3057056"/>
                  <a:pt x="411063" y="3057056"/>
                  <a:pt x="411063" y="3057056"/>
                </a:cubicBezTo>
                <a:cubicBezTo>
                  <a:pt x="409824" y="3057210"/>
                  <a:pt x="410650" y="3057675"/>
                  <a:pt x="410237" y="3058450"/>
                </a:cubicBezTo>
                <a:cubicBezTo>
                  <a:pt x="410237" y="3058450"/>
                  <a:pt x="410650" y="3057675"/>
                  <a:pt x="410960" y="3058914"/>
                </a:cubicBezTo>
                <a:cubicBezTo>
                  <a:pt x="410237" y="3058450"/>
                  <a:pt x="409721" y="3059069"/>
                  <a:pt x="409308" y="3059844"/>
                </a:cubicBezTo>
                <a:cubicBezTo>
                  <a:pt x="406933" y="3060153"/>
                  <a:pt x="403732" y="3060153"/>
                  <a:pt x="402596" y="3058450"/>
                </a:cubicBezTo>
                <a:cubicBezTo>
                  <a:pt x="401977" y="3056126"/>
                  <a:pt x="403629" y="3055197"/>
                  <a:pt x="404868" y="3054887"/>
                </a:cubicBezTo>
                <a:close/>
                <a:moveTo>
                  <a:pt x="540856" y="3053183"/>
                </a:moveTo>
                <a:cubicBezTo>
                  <a:pt x="544987" y="3056281"/>
                  <a:pt x="540134" y="3060308"/>
                  <a:pt x="537552" y="3059998"/>
                </a:cubicBezTo>
                <a:cubicBezTo>
                  <a:pt x="535590" y="3058760"/>
                  <a:pt x="535281" y="3057365"/>
                  <a:pt x="535693" y="3056281"/>
                </a:cubicBezTo>
                <a:cubicBezTo>
                  <a:pt x="536003" y="3055042"/>
                  <a:pt x="537242" y="3054113"/>
                  <a:pt x="538482" y="3053648"/>
                </a:cubicBezTo>
                <a:cubicBezTo>
                  <a:pt x="539307" y="3053183"/>
                  <a:pt x="540134" y="3053028"/>
                  <a:pt x="540856" y="3053183"/>
                </a:cubicBezTo>
                <a:close/>
                <a:moveTo>
                  <a:pt x="200111" y="3053028"/>
                </a:moveTo>
                <a:cubicBezTo>
                  <a:pt x="204654" y="3055042"/>
                  <a:pt x="206203" y="3058140"/>
                  <a:pt x="206616" y="3062632"/>
                </a:cubicBezTo>
                <a:cubicBezTo>
                  <a:pt x="205170" y="3063251"/>
                  <a:pt x="201763" y="3061702"/>
                  <a:pt x="199388" y="3060773"/>
                </a:cubicBezTo>
                <a:cubicBezTo>
                  <a:pt x="198872" y="3059534"/>
                  <a:pt x="198665" y="3058295"/>
                  <a:pt x="198768" y="3056901"/>
                </a:cubicBezTo>
                <a:cubicBezTo>
                  <a:pt x="198872" y="3055661"/>
                  <a:pt x="199285" y="3054267"/>
                  <a:pt x="200111" y="3053028"/>
                </a:cubicBezTo>
                <a:close/>
                <a:moveTo>
                  <a:pt x="614168" y="3052254"/>
                </a:moveTo>
                <a:cubicBezTo>
                  <a:pt x="614271" y="3053648"/>
                  <a:pt x="614375" y="3054267"/>
                  <a:pt x="614271" y="3054887"/>
                </a:cubicBezTo>
                <a:lnTo>
                  <a:pt x="614065" y="3055197"/>
                </a:lnTo>
                <a:lnTo>
                  <a:pt x="614581" y="3055197"/>
                </a:lnTo>
                <a:lnTo>
                  <a:pt x="613755" y="3056436"/>
                </a:lnTo>
                <a:lnTo>
                  <a:pt x="613446" y="3057056"/>
                </a:lnTo>
                <a:lnTo>
                  <a:pt x="613342" y="3056901"/>
                </a:lnTo>
                <a:lnTo>
                  <a:pt x="611484" y="3058295"/>
                </a:lnTo>
                <a:cubicBezTo>
                  <a:pt x="611484" y="3058295"/>
                  <a:pt x="611380" y="3059224"/>
                  <a:pt x="611174" y="3059998"/>
                </a:cubicBezTo>
                <a:cubicBezTo>
                  <a:pt x="609109" y="3062322"/>
                  <a:pt x="607973" y="3063871"/>
                  <a:pt x="604772" y="3062941"/>
                </a:cubicBezTo>
                <a:cubicBezTo>
                  <a:pt x="604875" y="3062012"/>
                  <a:pt x="606837" y="3060463"/>
                  <a:pt x="607766" y="3059689"/>
                </a:cubicBezTo>
                <a:cubicBezTo>
                  <a:pt x="607869" y="3058914"/>
                  <a:pt x="608902" y="3058140"/>
                  <a:pt x="609728" y="3058140"/>
                </a:cubicBezTo>
                <a:cubicBezTo>
                  <a:pt x="609728" y="3058140"/>
                  <a:pt x="610761" y="3057365"/>
                  <a:pt x="610864" y="3056591"/>
                </a:cubicBezTo>
                <a:lnTo>
                  <a:pt x="612516" y="3055661"/>
                </a:lnTo>
                <a:lnTo>
                  <a:pt x="612516" y="3055506"/>
                </a:lnTo>
                <a:cubicBezTo>
                  <a:pt x="612103" y="3054887"/>
                  <a:pt x="611897" y="3054267"/>
                  <a:pt x="612103" y="3053803"/>
                </a:cubicBezTo>
                <a:cubicBezTo>
                  <a:pt x="612310" y="3053338"/>
                  <a:pt x="612413" y="3053028"/>
                  <a:pt x="612723" y="3052873"/>
                </a:cubicBezTo>
                <a:cubicBezTo>
                  <a:pt x="612929" y="3052563"/>
                  <a:pt x="613342" y="3052563"/>
                  <a:pt x="614168" y="3052254"/>
                </a:cubicBezTo>
                <a:close/>
                <a:moveTo>
                  <a:pt x="181834" y="3049775"/>
                </a:moveTo>
                <a:cubicBezTo>
                  <a:pt x="182660" y="3049001"/>
                  <a:pt x="183487" y="3049930"/>
                  <a:pt x="184313" y="3049930"/>
                </a:cubicBezTo>
                <a:cubicBezTo>
                  <a:pt x="186068" y="3051015"/>
                  <a:pt x="188443" y="3056901"/>
                  <a:pt x="187617" y="3057675"/>
                </a:cubicBezTo>
                <a:cubicBezTo>
                  <a:pt x="185758" y="3056281"/>
                  <a:pt x="182454" y="3053803"/>
                  <a:pt x="181628" y="3051634"/>
                </a:cubicBezTo>
                <a:cubicBezTo>
                  <a:pt x="181318" y="3051015"/>
                  <a:pt x="181421" y="3050240"/>
                  <a:pt x="181834" y="3049775"/>
                </a:cubicBezTo>
                <a:close/>
                <a:moveTo>
                  <a:pt x="399705" y="3049620"/>
                </a:moveTo>
                <a:cubicBezTo>
                  <a:pt x="402183" y="3051170"/>
                  <a:pt x="402906" y="3053648"/>
                  <a:pt x="401048" y="3056281"/>
                </a:cubicBezTo>
                <a:cubicBezTo>
                  <a:pt x="399292" y="3057210"/>
                  <a:pt x="397640" y="3056436"/>
                  <a:pt x="395988" y="3055661"/>
                </a:cubicBezTo>
                <a:cubicBezTo>
                  <a:pt x="394749" y="3054887"/>
                  <a:pt x="394336" y="3054113"/>
                  <a:pt x="394439" y="3053183"/>
                </a:cubicBezTo>
                <a:cubicBezTo>
                  <a:pt x="394646" y="3052409"/>
                  <a:pt x="395368" y="3051479"/>
                  <a:pt x="396195" y="3050705"/>
                </a:cubicBezTo>
                <a:cubicBezTo>
                  <a:pt x="398053" y="3048846"/>
                  <a:pt x="399705" y="3049620"/>
                  <a:pt x="399705" y="3049620"/>
                </a:cubicBezTo>
                <a:close/>
                <a:moveTo>
                  <a:pt x="153026" y="3049156"/>
                </a:moveTo>
                <a:cubicBezTo>
                  <a:pt x="153955" y="3047607"/>
                  <a:pt x="155607" y="3048536"/>
                  <a:pt x="157363" y="3050395"/>
                </a:cubicBezTo>
                <a:cubicBezTo>
                  <a:pt x="161699" y="3053338"/>
                  <a:pt x="162525" y="3055971"/>
                  <a:pt x="159841" y="3058140"/>
                </a:cubicBezTo>
                <a:cubicBezTo>
                  <a:pt x="159015" y="3058140"/>
                  <a:pt x="156433" y="3056901"/>
                  <a:pt x="156433" y="3057830"/>
                </a:cubicBezTo>
                <a:cubicBezTo>
                  <a:pt x="154471" y="3055661"/>
                  <a:pt x="152510" y="3053183"/>
                  <a:pt x="152406" y="3051015"/>
                </a:cubicBezTo>
                <a:cubicBezTo>
                  <a:pt x="152406" y="3050395"/>
                  <a:pt x="152613" y="3049775"/>
                  <a:pt x="153026" y="3049156"/>
                </a:cubicBezTo>
                <a:close/>
                <a:moveTo>
                  <a:pt x="314106" y="3048846"/>
                </a:moveTo>
                <a:cubicBezTo>
                  <a:pt x="315035" y="3049466"/>
                  <a:pt x="315964" y="3050240"/>
                  <a:pt x="315138" y="3050395"/>
                </a:cubicBezTo>
                <a:cubicBezTo>
                  <a:pt x="315138" y="3051170"/>
                  <a:pt x="314312" y="3051324"/>
                  <a:pt x="313486" y="3052254"/>
                </a:cubicBezTo>
                <a:cubicBezTo>
                  <a:pt x="311834" y="3053338"/>
                  <a:pt x="309356" y="3053648"/>
                  <a:pt x="308426" y="3053028"/>
                </a:cubicBezTo>
                <a:cubicBezTo>
                  <a:pt x="307497" y="3052254"/>
                  <a:pt x="307394" y="3051479"/>
                  <a:pt x="307394" y="3051479"/>
                </a:cubicBezTo>
                <a:cubicBezTo>
                  <a:pt x="309046" y="3048691"/>
                  <a:pt x="311421" y="3046677"/>
                  <a:pt x="314106" y="3048846"/>
                </a:cubicBezTo>
                <a:close/>
                <a:moveTo>
                  <a:pt x="618712" y="3048381"/>
                </a:moveTo>
                <a:cubicBezTo>
                  <a:pt x="623048" y="3049156"/>
                  <a:pt x="624287" y="3049466"/>
                  <a:pt x="625114" y="3053958"/>
                </a:cubicBezTo>
                <a:cubicBezTo>
                  <a:pt x="625114" y="3053958"/>
                  <a:pt x="624907" y="3055042"/>
                  <a:pt x="624907" y="3055042"/>
                </a:cubicBezTo>
                <a:cubicBezTo>
                  <a:pt x="624494" y="3059224"/>
                  <a:pt x="620983" y="3062941"/>
                  <a:pt x="619021" y="3063096"/>
                </a:cubicBezTo>
                <a:cubicBezTo>
                  <a:pt x="617163" y="3062477"/>
                  <a:pt x="615304" y="3060928"/>
                  <a:pt x="614788" y="3058760"/>
                </a:cubicBezTo>
                <a:cubicBezTo>
                  <a:pt x="614685" y="3057985"/>
                  <a:pt x="614685" y="3057210"/>
                  <a:pt x="614891" y="3056281"/>
                </a:cubicBezTo>
                <a:cubicBezTo>
                  <a:pt x="614994" y="3053338"/>
                  <a:pt x="617886" y="3051789"/>
                  <a:pt x="618712" y="3048381"/>
                </a:cubicBezTo>
                <a:close/>
                <a:moveTo>
                  <a:pt x="516695" y="3047297"/>
                </a:moveTo>
                <a:cubicBezTo>
                  <a:pt x="519172" y="3051015"/>
                  <a:pt x="518347" y="3054422"/>
                  <a:pt x="515765" y="3058295"/>
                </a:cubicBezTo>
                <a:cubicBezTo>
                  <a:pt x="514113" y="3058140"/>
                  <a:pt x="512254" y="3055352"/>
                  <a:pt x="511015" y="3053338"/>
                </a:cubicBezTo>
                <a:cubicBezTo>
                  <a:pt x="511531" y="3050860"/>
                  <a:pt x="513803" y="3048691"/>
                  <a:pt x="516695" y="3047297"/>
                </a:cubicBezTo>
                <a:close/>
                <a:moveTo>
                  <a:pt x="6564611" y="3046021"/>
                </a:moveTo>
                <a:cubicBezTo>
                  <a:pt x="6576538" y="3043026"/>
                  <a:pt x="6581030" y="3051906"/>
                  <a:pt x="6584593" y="3062438"/>
                </a:cubicBezTo>
                <a:cubicBezTo>
                  <a:pt x="6580566" y="3064917"/>
                  <a:pt x="6578397" y="3068324"/>
                  <a:pt x="6574370" y="3070802"/>
                </a:cubicBezTo>
                <a:cubicBezTo>
                  <a:pt x="6567090" y="3070492"/>
                  <a:pt x="6556247" y="3059754"/>
                  <a:pt x="6558106" y="3052113"/>
                </a:cubicBezTo>
                <a:cubicBezTo>
                  <a:pt x="6558725" y="3049531"/>
                  <a:pt x="6560584" y="3047363"/>
                  <a:pt x="6564611" y="3046021"/>
                </a:cubicBezTo>
                <a:close/>
                <a:moveTo>
                  <a:pt x="271977" y="3042340"/>
                </a:moveTo>
                <a:cubicBezTo>
                  <a:pt x="272596" y="3042340"/>
                  <a:pt x="273526" y="3042960"/>
                  <a:pt x="274765" y="3043889"/>
                </a:cubicBezTo>
                <a:cubicBezTo>
                  <a:pt x="276520" y="3045748"/>
                  <a:pt x="278172" y="3046677"/>
                  <a:pt x="278172" y="3047607"/>
                </a:cubicBezTo>
                <a:cubicBezTo>
                  <a:pt x="279102" y="3047607"/>
                  <a:pt x="279928" y="3048536"/>
                  <a:pt x="280857" y="3048691"/>
                </a:cubicBezTo>
                <a:cubicBezTo>
                  <a:pt x="280857" y="3048691"/>
                  <a:pt x="280857" y="3048691"/>
                  <a:pt x="280857" y="3049466"/>
                </a:cubicBezTo>
                <a:cubicBezTo>
                  <a:pt x="277347" y="3048227"/>
                  <a:pt x="272906" y="3048691"/>
                  <a:pt x="270325" y="3046832"/>
                </a:cubicBezTo>
                <a:cubicBezTo>
                  <a:pt x="269912" y="3046368"/>
                  <a:pt x="269499" y="3045748"/>
                  <a:pt x="269395" y="3045284"/>
                </a:cubicBezTo>
                <a:cubicBezTo>
                  <a:pt x="269292" y="3044819"/>
                  <a:pt x="269395" y="3044199"/>
                  <a:pt x="270325" y="3043425"/>
                </a:cubicBezTo>
                <a:cubicBezTo>
                  <a:pt x="270841" y="3042650"/>
                  <a:pt x="271254" y="3042185"/>
                  <a:pt x="271977" y="3042340"/>
                </a:cubicBezTo>
                <a:close/>
                <a:moveTo>
                  <a:pt x="663112" y="3041721"/>
                </a:moveTo>
                <a:cubicBezTo>
                  <a:pt x="662183" y="3041101"/>
                  <a:pt x="661356" y="3041411"/>
                  <a:pt x="660530" y="3041876"/>
                </a:cubicBezTo>
                <a:lnTo>
                  <a:pt x="658775" y="3043115"/>
                </a:lnTo>
                <a:lnTo>
                  <a:pt x="660324" y="3042650"/>
                </a:lnTo>
                <a:lnTo>
                  <a:pt x="662389" y="3043580"/>
                </a:lnTo>
                <a:close/>
                <a:moveTo>
                  <a:pt x="427687" y="3040946"/>
                </a:moveTo>
                <a:cubicBezTo>
                  <a:pt x="428410" y="3040482"/>
                  <a:pt x="429340" y="3040637"/>
                  <a:pt x="430269" y="3041101"/>
                </a:cubicBezTo>
                <a:cubicBezTo>
                  <a:pt x="431198" y="3041566"/>
                  <a:pt x="432025" y="3042340"/>
                  <a:pt x="432541" y="3043115"/>
                </a:cubicBezTo>
                <a:cubicBezTo>
                  <a:pt x="432850" y="3044354"/>
                  <a:pt x="432850" y="3044354"/>
                  <a:pt x="433160" y="3045438"/>
                </a:cubicBezTo>
                <a:cubicBezTo>
                  <a:pt x="432334" y="3046832"/>
                  <a:pt x="432231" y="3048691"/>
                  <a:pt x="430579" y="3049466"/>
                </a:cubicBezTo>
                <a:cubicBezTo>
                  <a:pt x="428204" y="3049930"/>
                  <a:pt x="424899" y="3046832"/>
                  <a:pt x="423867" y="3045284"/>
                </a:cubicBezTo>
                <a:cubicBezTo>
                  <a:pt x="423144" y="3042960"/>
                  <a:pt x="425313" y="3041411"/>
                  <a:pt x="427687" y="3040946"/>
                </a:cubicBezTo>
                <a:close/>
                <a:moveTo>
                  <a:pt x="308323" y="3039552"/>
                </a:moveTo>
                <a:lnTo>
                  <a:pt x="311008" y="3041721"/>
                </a:lnTo>
                <a:cubicBezTo>
                  <a:pt x="310182" y="3042650"/>
                  <a:pt x="308633" y="3043734"/>
                  <a:pt x="307704" y="3042960"/>
                </a:cubicBezTo>
                <a:cubicBezTo>
                  <a:pt x="306878" y="3042650"/>
                  <a:pt x="306878" y="3042340"/>
                  <a:pt x="307084" y="3041721"/>
                </a:cubicBezTo>
                <a:cubicBezTo>
                  <a:pt x="307394" y="3041101"/>
                  <a:pt x="308014" y="3040482"/>
                  <a:pt x="308323" y="3039552"/>
                </a:cubicBezTo>
                <a:close/>
                <a:moveTo>
                  <a:pt x="310492" y="3039088"/>
                </a:moveTo>
                <a:cubicBezTo>
                  <a:pt x="311421" y="3040017"/>
                  <a:pt x="310492" y="3039862"/>
                  <a:pt x="310492" y="3040637"/>
                </a:cubicBezTo>
                <a:cubicBezTo>
                  <a:pt x="309975" y="3040172"/>
                  <a:pt x="309769" y="3040017"/>
                  <a:pt x="309769" y="3039862"/>
                </a:cubicBezTo>
                <a:cubicBezTo>
                  <a:pt x="309769" y="3039552"/>
                  <a:pt x="309975" y="3039552"/>
                  <a:pt x="310492" y="3039088"/>
                </a:cubicBezTo>
                <a:close/>
                <a:moveTo>
                  <a:pt x="654232" y="3033511"/>
                </a:moveTo>
                <a:cubicBezTo>
                  <a:pt x="654954" y="3033666"/>
                  <a:pt x="655574" y="3034131"/>
                  <a:pt x="655884" y="3034750"/>
                </a:cubicBezTo>
                <a:cubicBezTo>
                  <a:pt x="656193" y="3035990"/>
                  <a:pt x="655058" y="3036145"/>
                  <a:pt x="654645" y="3036764"/>
                </a:cubicBezTo>
                <a:cubicBezTo>
                  <a:pt x="652993" y="3037694"/>
                  <a:pt x="646591" y="3036299"/>
                  <a:pt x="646281" y="3035215"/>
                </a:cubicBezTo>
                <a:cubicBezTo>
                  <a:pt x="648346" y="3034441"/>
                  <a:pt x="651960" y="3033047"/>
                  <a:pt x="654232" y="3033511"/>
                </a:cubicBezTo>
                <a:close/>
                <a:moveTo>
                  <a:pt x="432747" y="3032272"/>
                </a:moveTo>
                <a:cubicBezTo>
                  <a:pt x="436361" y="3031343"/>
                  <a:pt x="439975" y="3030413"/>
                  <a:pt x="440698" y="3033821"/>
                </a:cubicBezTo>
                <a:cubicBezTo>
                  <a:pt x="438323" y="3037384"/>
                  <a:pt x="433263" y="3037539"/>
                  <a:pt x="432747" y="3032272"/>
                </a:cubicBezTo>
                <a:close/>
                <a:moveTo>
                  <a:pt x="6617121" y="3031978"/>
                </a:moveTo>
                <a:cubicBezTo>
                  <a:pt x="6631062" y="3031874"/>
                  <a:pt x="6642989" y="3051287"/>
                  <a:pt x="6625176" y="3059754"/>
                </a:cubicBezTo>
                <a:cubicBezTo>
                  <a:pt x="6616502" y="3058825"/>
                  <a:pt x="6604884" y="3045814"/>
                  <a:pt x="6603490" y="3039722"/>
                </a:cubicBezTo>
                <a:cubicBezTo>
                  <a:pt x="6607518" y="3034250"/>
                  <a:pt x="6612474" y="3031978"/>
                  <a:pt x="6617121" y="3031978"/>
                </a:cubicBezTo>
                <a:close/>
                <a:moveTo>
                  <a:pt x="427171" y="3031652"/>
                </a:moveTo>
                <a:cubicBezTo>
                  <a:pt x="427997" y="3030104"/>
                  <a:pt x="429650" y="3031962"/>
                  <a:pt x="430372" y="3032892"/>
                </a:cubicBezTo>
                <a:cubicBezTo>
                  <a:pt x="427894" y="3032582"/>
                  <a:pt x="427068" y="3033356"/>
                  <a:pt x="427171" y="3032427"/>
                </a:cubicBezTo>
                <a:cubicBezTo>
                  <a:pt x="426758" y="3032427"/>
                  <a:pt x="426449" y="3032117"/>
                  <a:pt x="426449" y="3031962"/>
                </a:cubicBezTo>
                <a:cubicBezTo>
                  <a:pt x="426449" y="3031807"/>
                  <a:pt x="426758" y="3031652"/>
                  <a:pt x="427171" y="3031652"/>
                </a:cubicBezTo>
                <a:close/>
                <a:moveTo>
                  <a:pt x="305329" y="3031652"/>
                </a:moveTo>
                <a:cubicBezTo>
                  <a:pt x="308117" y="3033821"/>
                  <a:pt x="309149" y="3036145"/>
                  <a:pt x="307497" y="3038778"/>
                </a:cubicBezTo>
                <a:cubicBezTo>
                  <a:pt x="305845" y="3040792"/>
                  <a:pt x="303367" y="3043580"/>
                  <a:pt x="300682" y="3042340"/>
                </a:cubicBezTo>
                <a:cubicBezTo>
                  <a:pt x="300579" y="3041411"/>
                  <a:pt x="299753" y="3041566"/>
                  <a:pt x="299650" y="3040792"/>
                </a:cubicBezTo>
                <a:cubicBezTo>
                  <a:pt x="299650" y="3040792"/>
                  <a:pt x="299133" y="3040017"/>
                  <a:pt x="299030" y="3038778"/>
                </a:cubicBezTo>
                <a:cubicBezTo>
                  <a:pt x="298927" y="3038158"/>
                  <a:pt x="298927" y="3037539"/>
                  <a:pt x="299030" y="3036764"/>
                </a:cubicBezTo>
                <a:cubicBezTo>
                  <a:pt x="299237" y="3035835"/>
                  <a:pt x="299547" y="3034906"/>
                  <a:pt x="300166" y="3033976"/>
                </a:cubicBezTo>
                <a:cubicBezTo>
                  <a:pt x="300992" y="3033047"/>
                  <a:pt x="303470" y="3031033"/>
                  <a:pt x="303573" y="3031962"/>
                </a:cubicBezTo>
                <a:cubicBezTo>
                  <a:pt x="304503" y="3032582"/>
                  <a:pt x="304399" y="3031807"/>
                  <a:pt x="305329" y="3031652"/>
                </a:cubicBezTo>
                <a:close/>
                <a:moveTo>
                  <a:pt x="282303" y="3031033"/>
                </a:moveTo>
                <a:lnTo>
                  <a:pt x="285607" y="3031807"/>
                </a:lnTo>
                <a:lnTo>
                  <a:pt x="286433" y="3031343"/>
                </a:lnTo>
                <a:cubicBezTo>
                  <a:pt x="287259" y="3031343"/>
                  <a:pt x="288085" y="3031652"/>
                  <a:pt x="288911" y="3032582"/>
                </a:cubicBezTo>
                <a:lnTo>
                  <a:pt x="289531" y="3033511"/>
                </a:lnTo>
                <a:lnTo>
                  <a:pt x="292319" y="3035680"/>
                </a:lnTo>
                <a:lnTo>
                  <a:pt x="290873" y="3036299"/>
                </a:lnTo>
                <a:lnTo>
                  <a:pt x="290460" y="3039552"/>
                </a:lnTo>
                <a:cubicBezTo>
                  <a:pt x="291286" y="3041256"/>
                  <a:pt x="293041" y="3042340"/>
                  <a:pt x="292112" y="3043889"/>
                </a:cubicBezTo>
                <a:cubicBezTo>
                  <a:pt x="290460" y="3041256"/>
                  <a:pt x="289634" y="3040327"/>
                  <a:pt x="288808" y="3038468"/>
                </a:cubicBezTo>
                <a:lnTo>
                  <a:pt x="287672" y="3038003"/>
                </a:lnTo>
                <a:lnTo>
                  <a:pt x="287465" y="3038158"/>
                </a:lnTo>
                <a:lnTo>
                  <a:pt x="287156" y="3037849"/>
                </a:lnTo>
                <a:lnTo>
                  <a:pt x="286226" y="3037384"/>
                </a:lnTo>
                <a:lnTo>
                  <a:pt x="286123" y="3037074"/>
                </a:lnTo>
                <a:lnTo>
                  <a:pt x="284058" y="3035990"/>
                </a:lnTo>
                <a:cubicBezTo>
                  <a:pt x="282096" y="3035060"/>
                  <a:pt x="280238" y="3034441"/>
                  <a:pt x="280238" y="3034441"/>
                </a:cubicBezTo>
                <a:cubicBezTo>
                  <a:pt x="279824" y="3033202"/>
                  <a:pt x="279721" y="3032582"/>
                  <a:pt x="279928" y="3032272"/>
                </a:cubicBezTo>
                <a:cubicBezTo>
                  <a:pt x="280238" y="3031807"/>
                  <a:pt x="280960" y="3031652"/>
                  <a:pt x="282303" y="3031033"/>
                </a:cubicBezTo>
                <a:close/>
                <a:moveTo>
                  <a:pt x="175020" y="3027935"/>
                </a:moveTo>
                <a:cubicBezTo>
                  <a:pt x="174916" y="3029639"/>
                  <a:pt x="178530" y="3030723"/>
                  <a:pt x="176672" y="3032272"/>
                </a:cubicBezTo>
                <a:cubicBezTo>
                  <a:pt x="175846" y="3031343"/>
                  <a:pt x="174916" y="3029639"/>
                  <a:pt x="174090" y="3028709"/>
                </a:cubicBezTo>
                <a:cubicBezTo>
                  <a:pt x="174090" y="3028709"/>
                  <a:pt x="174090" y="3028709"/>
                  <a:pt x="175020" y="3027935"/>
                </a:cubicBezTo>
                <a:close/>
                <a:moveTo>
                  <a:pt x="374820" y="3026696"/>
                </a:moveTo>
                <a:cubicBezTo>
                  <a:pt x="375440" y="3027005"/>
                  <a:pt x="375956" y="3027315"/>
                  <a:pt x="376059" y="3027780"/>
                </a:cubicBezTo>
                <a:cubicBezTo>
                  <a:pt x="373685" y="3028245"/>
                  <a:pt x="370484" y="3029949"/>
                  <a:pt x="367902" y="3027470"/>
                </a:cubicBezTo>
                <a:cubicBezTo>
                  <a:pt x="369657" y="3027161"/>
                  <a:pt x="373065" y="3026231"/>
                  <a:pt x="374820" y="3026696"/>
                </a:cubicBezTo>
                <a:close/>
                <a:moveTo>
                  <a:pt x="6510583" y="3019230"/>
                </a:moveTo>
                <a:cubicBezTo>
                  <a:pt x="6513144" y="3019088"/>
                  <a:pt x="6515919" y="3020226"/>
                  <a:pt x="6518479" y="3021506"/>
                </a:cubicBezTo>
                <a:cubicBezTo>
                  <a:pt x="6514211" y="3026343"/>
                  <a:pt x="6521041" y="3030611"/>
                  <a:pt x="6513357" y="3033314"/>
                </a:cubicBezTo>
                <a:cubicBezTo>
                  <a:pt x="6509516" y="3032887"/>
                  <a:pt x="6506101" y="3030754"/>
                  <a:pt x="6503113" y="3025063"/>
                </a:cubicBezTo>
                <a:cubicBezTo>
                  <a:pt x="6505461" y="3020937"/>
                  <a:pt x="6507808" y="3019372"/>
                  <a:pt x="6510583" y="3019230"/>
                </a:cubicBezTo>
                <a:close/>
                <a:moveTo>
                  <a:pt x="343637" y="3017867"/>
                </a:moveTo>
                <a:cubicBezTo>
                  <a:pt x="344566" y="3018641"/>
                  <a:pt x="347355" y="3018177"/>
                  <a:pt x="349213" y="3018796"/>
                </a:cubicBezTo>
                <a:cubicBezTo>
                  <a:pt x="349213" y="3019570"/>
                  <a:pt x="350142" y="3020190"/>
                  <a:pt x="350245" y="3020965"/>
                </a:cubicBezTo>
                <a:cubicBezTo>
                  <a:pt x="349316" y="3021119"/>
                  <a:pt x="347561" y="3022204"/>
                  <a:pt x="347458" y="3021429"/>
                </a:cubicBezTo>
                <a:cubicBezTo>
                  <a:pt x="346631" y="3021584"/>
                  <a:pt x="346425" y="3019881"/>
                  <a:pt x="346425" y="3019881"/>
                </a:cubicBezTo>
                <a:cubicBezTo>
                  <a:pt x="345599" y="3020035"/>
                  <a:pt x="344669" y="3020190"/>
                  <a:pt x="343740" y="3019570"/>
                </a:cubicBezTo>
                <a:cubicBezTo>
                  <a:pt x="344566" y="3018641"/>
                  <a:pt x="343637" y="3018796"/>
                  <a:pt x="343637" y="3017867"/>
                </a:cubicBezTo>
                <a:close/>
                <a:moveTo>
                  <a:pt x="352930" y="3012291"/>
                </a:moveTo>
                <a:cubicBezTo>
                  <a:pt x="352930" y="3012291"/>
                  <a:pt x="353860" y="3013065"/>
                  <a:pt x="354789" y="3013839"/>
                </a:cubicBezTo>
                <a:cubicBezTo>
                  <a:pt x="355718" y="3014459"/>
                  <a:pt x="356647" y="3014459"/>
                  <a:pt x="356647" y="3014459"/>
                </a:cubicBezTo>
                <a:cubicBezTo>
                  <a:pt x="357473" y="3015234"/>
                  <a:pt x="357577" y="3016008"/>
                  <a:pt x="356751" y="3017092"/>
                </a:cubicBezTo>
                <a:cubicBezTo>
                  <a:pt x="356751" y="3017092"/>
                  <a:pt x="354892" y="3016318"/>
                  <a:pt x="354892" y="3016318"/>
                </a:cubicBezTo>
                <a:cubicBezTo>
                  <a:pt x="353136" y="3014924"/>
                  <a:pt x="352207" y="3014149"/>
                  <a:pt x="350452" y="3013530"/>
                </a:cubicBezTo>
                <a:cubicBezTo>
                  <a:pt x="351175" y="3011671"/>
                  <a:pt x="352001" y="3011516"/>
                  <a:pt x="352930" y="3012291"/>
                </a:cubicBezTo>
                <a:close/>
                <a:moveTo>
                  <a:pt x="174503" y="3011826"/>
                </a:moveTo>
                <a:cubicBezTo>
                  <a:pt x="174503" y="3011826"/>
                  <a:pt x="174503" y="3011826"/>
                  <a:pt x="174503" y="3012755"/>
                </a:cubicBezTo>
                <a:cubicBezTo>
                  <a:pt x="174503" y="3012755"/>
                  <a:pt x="174503" y="3011826"/>
                  <a:pt x="175329" y="3011981"/>
                </a:cubicBezTo>
                <a:cubicBezTo>
                  <a:pt x="177807" y="3016318"/>
                  <a:pt x="176878" y="3022978"/>
                  <a:pt x="176878" y="3023908"/>
                </a:cubicBezTo>
                <a:cubicBezTo>
                  <a:pt x="176052" y="3023753"/>
                  <a:pt x="175949" y="3023753"/>
                  <a:pt x="175949" y="3023753"/>
                </a:cubicBezTo>
                <a:cubicBezTo>
                  <a:pt x="176672" y="3021274"/>
                  <a:pt x="174503" y="3018177"/>
                  <a:pt x="174090" y="3014924"/>
                </a:cubicBezTo>
                <a:cubicBezTo>
                  <a:pt x="173987" y="3013839"/>
                  <a:pt x="173987" y="3012910"/>
                  <a:pt x="174503" y="3011826"/>
                </a:cubicBezTo>
                <a:close/>
                <a:moveTo>
                  <a:pt x="164900" y="3010122"/>
                </a:moveTo>
                <a:cubicBezTo>
                  <a:pt x="166656" y="3009502"/>
                  <a:pt x="166656" y="3009502"/>
                  <a:pt x="168411" y="3010587"/>
                </a:cubicBezTo>
                <a:cubicBezTo>
                  <a:pt x="168411" y="3011361"/>
                  <a:pt x="169340" y="3011516"/>
                  <a:pt x="168411" y="3012291"/>
                </a:cubicBezTo>
                <a:cubicBezTo>
                  <a:pt x="170992" y="3014149"/>
                  <a:pt x="173574" y="3022049"/>
                  <a:pt x="172645" y="3025302"/>
                </a:cubicBezTo>
                <a:cubicBezTo>
                  <a:pt x="164797" y="3018641"/>
                  <a:pt x="169237" y="3013994"/>
                  <a:pt x="164900" y="3010122"/>
                </a:cubicBezTo>
                <a:close/>
                <a:moveTo>
                  <a:pt x="442505" y="3009309"/>
                </a:moveTo>
                <a:cubicBezTo>
                  <a:pt x="450300" y="3010199"/>
                  <a:pt x="458561" y="3012290"/>
                  <a:pt x="466305" y="3013375"/>
                </a:cubicBezTo>
                <a:cubicBezTo>
                  <a:pt x="465376" y="3016163"/>
                  <a:pt x="466925" y="3018331"/>
                  <a:pt x="464653" y="3022359"/>
                </a:cubicBezTo>
                <a:lnTo>
                  <a:pt x="453192" y="3019726"/>
                </a:lnTo>
                <a:lnTo>
                  <a:pt x="451643" y="3020190"/>
                </a:lnTo>
                <a:cubicBezTo>
                  <a:pt x="450714" y="3020190"/>
                  <a:pt x="449888" y="3020035"/>
                  <a:pt x="449475" y="3019726"/>
                </a:cubicBezTo>
                <a:lnTo>
                  <a:pt x="449061" y="3018796"/>
                </a:lnTo>
                <a:lnTo>
                  <a:pt x="442040" y="3017247"/>
                </a:lnTo>
                <a:cubicBezTo>
                  <a:pt x="434709" y="3016008"/>
                  <a:pt x="427791" y="3014614"/>
                  <a:pt x="421492" y="3012445"/>
                </a:cubicBezTo>
                <a:cubicBezTo>
                  <a:pt x="427378" y="3008728"/>
                  <a:pt x="434709" y="3008418"/>
                  <a:pt x="442505" y="3009309"/>
                </a:cubicBezTo>
                <a:close/>
                <a:moveTo>
                  <a:pt x="450817" y="3006249"/>
                </a:moveTo>
                <a:lnTo>
                  <a:pt x="453192" y="3008573"/>
                </a:lnTo>
                <a:cubicBezTo>
                  <a:pt x="452262" y="3009502"/>
                  <a:pt x="450611" y="3010432"/>
                  <a:pt x="449784" y="3009657"/>
                </a:cubicBezTo>
                <a:cubicBezTo>
                  <a:pt x="448959" y="3009192"/>
                  <a:pt x="448959" y="3008728"/>
                  <a:pt x="449268" y="3008263"/>
                </a:cubicBezTo>
                <a:cubicBezTo>
                  <a:pt x="449681" y="3007644"/>
                  <a:pt x="450301" y="3007024"/>
                  <a:pt x="450817" y="3006249"/>
                </a:cubicBezTo>
                <a:close/>
                <a:moveTo>
                  <a:pt x="338577" y="3005165"/>
                </a:moveTo>
                <a:cubicBezTo>
                  <a:pt x="339403" y="3003306"/>
                  <a:pt x="341159" y="3003926"/>
                  <a:pt x="343017" y="3005320"/>
                </a:cubicBezTo>
                <a:cubicBezTo>
                  <a:pt x="347561" y="3007179"/>
                  <a:pt x="348593" y="3009657"/>
                  <a:pt x="346115" y="3012445"/>
                </a:cubicBezTo>
                <a:cubicBezTo>
                  <a:pt x="345186" y="3012600"/>
                  <a:pt x="342501" y="3012136"/>
                  <a:pt x="342604" y="3012910"/>
                </a:cubicBezTo>
                <a:cubicBezTo>
                  <a:pt x="340539" y="3011361"/>
                  <a:pt x="338371" y="3009348"/>
                  <a:pt x="338164" y="3007179"/>
                </a:cubicBezTo>
                <a:cubicBezTo>
                  <a:pt x="338061" y="3006559"/>
                  <a:pt x="338164" y="3005785"/>
                  <a:pt x="338577" y="3005165"/>
                </a:cubicBezTo>
                <a:close/>
                <a:moveTo>
                  <a:pt x="230365" y="2999279"/>
                </a:moveTo>
                <a:cubicBezTo>
                  <a:pt x="232843" y="3002067"/>
                  <a:pt x="231914" y="3004546"/>
                  <a:pt x="231088" y="3006869"/>
                </a:cubicBezTo>
                <a:cubicBezTo>
                  <a:pt x="230158" y="3008418"/>
                  <a:pt x="230158" y="3009192"/>
                  <a:pt x="230984" y="3011051"/>
                </a:cubicBezTo>
                <a:cubicBezTo>
                  <a:pt x="230984" y="3011051"/>
                  <a:pt x="230984" y="3011051"/>
                  <a:pt x="229229" y="3012445"/>
                </a:cubicBezTo>
                <a:lnTo>
                  <a:pt x="228403" y="3012445"/>
                </a:lnTo>
                <a:cubicBezTo>
                  <a:pt x="227990" y="3012136"/>
                  <a:pt x="227783" y="3011516"/>
                  <a:pt x="227680" y="3010587"/>
                </a:cubicBezTo>
                <a:cubicBezTo>
                  <a:pt x="227474" y="3007798"/>
                  <a:pt x="228506" y="3002997"/>
                  <a:pt x="228506" y="3002377"/>
                </a:cubicBezTo>
                <a:cubicBezTo>
                  <a:pt x="228506" y="3002377"/>
                  <a:pt x="228610" y="3001603"/>
                  <a:pt x="228610" y="3000828"/>
                </a:cubicBezTo>
                <a:cubicBezTo>
                  <a:pt x="229436" y="3000054"/>
                  <a:pt x="230365" y="3000054"/>
                  <a:pt x="230365" y="2999279"/>
                </a:cubicBezTo>
                <a:close/>
                <a:moveTo>
                  <a:pt x="446893" y="2998040"/>
                </a:moveTo>
                <a:cubicBezTo>
                  <a:pt x="447719" y="2998815"/>
                  <a:pt x="447719" y="2998040"/>
                  <a:pt x="448649" y="2998040"/>
                </a:cubicBezTo>
                <a:lnTo>
                  <a:pt x="449268" y="2999124"/>
                </a:lnTo>
                <a:lnTo>
                  <a:pt x="449991" y="2998659"/>
                </a:lnTo>
                <a:cubicBezTo>
                  <a:pt x="451746" y="2997575"/>
                  <a:pt x="451643" y="2997575"/>
                  <a:pt x="452572" y="2998350"/>
                </a:cubicBezTo>
                <a:cubicBezTo>
                  <a:pt x="453501" y="2999124"/>
                  <a:pt x="452779" y="3001758"/>
                  <a:pt x="453811" y="3002532"/>
                </a:cubicBezTo>
                <a:cubicBezTo>
                  <a:pt x="453811" y="3002532"/>
                  <a:pt x="453811" y="3002532"/>
                  <a:pt x="452056" y="3003617"/>
                </a:cubicBezTo>
                <a:lnTo>
                  <a:pt x="450507" y="3003306"/>
                </a:lnTo>
                <a:lnTo>
                  <a:pt x="449991" y="3005475"/>
                </a:lnTo>
                <a:cubicBezTo>
                  <a:pt x="448235" y="3007179"/>
                  <a:pt x="445448" y="3009657"/>
                  <a:pt x="442969" y="3008108"/>
                </a:cubicBezTo>
                <a:cubicBezTo>
                  <a:pt x="442969" y="3007334"/>
                  <a:pt x="442040" y="3007334"/>
                  <a:pt x="442040" y="3006559"/>
                </a:cubicBezTo>
                <a:cubicBezTo>
                  <a:pt x="442040" y="3006559"/>
                  <a:pt x="441730" y="3005785"/>
                  <a:pt x="441627" y="3004546"/>
                </a:cubicBezTo>
                <a:cubicBezTo>
                  <a:pt x="441627" y="3003306"/>
                  <a:pt x="441937" y="3001603"/>
                  <a:pt x="443279" y="2999899"/>
                </a:cubicBezTo>
                <a:cubicBezTo>
                  <a:pt x="444208" y="2999124"/>
                  <a:pt x="446893" y="2997266"/>
                  <a:pt x="446893" y="2998040"/>
                </a:cubicBezTo>
                <a:close/>
                <a:moveTo>
                  <a:pt x="407630" y="2996336"/>
                </a:moveTo>
                <a:cubicBezTo>
                  <a:pt x="412147" y="2998117"/>
                  <a:pt x="416329" y="3001293"/>
                  <a:pt x="418807" y="3003771"/>
                </a:cubicBezTo>
                <a:cubicBezTo>
                  <a:pt x="414781" y="3003617"/>
                  <a:pt x="410753" y="3003461"/>
                  <a:pt x="406726" y="3002687"/>
                </a:cubicBezTo>
                <a:cubicBezTo>
                  <a:pt x="402700" y="3001913"/>
                  <a:pt x="398569" y="3000518"/>
                  <a:pt x="394439" y="2997266"/>
                </a:cubicBezTo>
                <a:cubicBezTo>
                  <a:pt x="398259" y="2994168"/>
                  <a:pt x="403112" y="2994555"/>
                  <a:pt x="407630" y="2996336"/>
                </a:cubicBezTo>
                <a:close/>
                <a:moveTo>
                  <a:pt x="635542" y="2994787"/>
                </a:moveTo>
                <a:lnTo>
                  <a:pt x="629450" y="2999279"/>
                </a:lnTo>
                <a:cubicBezTo>
                  <a:pt x="623771" y="3004236"/>
                  <a:pt x="618402" y="3009812"/>
                  <a:pt x="615821" y="3011826"/>
                </a:cubicBezTo>
                <a:cubicBezTo>
                  <a:pt x="613342" y="3007179"/>
                  <a:pt x="621499" y="3002067"/>
                  <a:pt x="624700" y="2996956"/>
                </a:cubicBezTo>
                <a:lnTo>
                  <a:pt x="625217" y="2995872"/>
                </a:lnTo>
                <a:lnTo>
                  <a:pt x="624700" y="2995716"/>
                </a:lnTo>
                <a:lnTo>
                  <a:pt x="624287" y="2996491"/>
                </a:lnTo>
                <a:cubicBezTo>
                  <a:pt x="623461" y="2996181"/>
                  <a:pt x="622532" y="2996181"/>
                  <a:pt x="621706" y="2996026"/>
                </a:cubicBezTo>
                <a:lnTo>
                  <a:pt x="621603" y="2995872"/>
                </a:lnTo>
                <a:lnTo>
                  <a:pt x="617266" y="3000054"/>
                </a:lnTo>
                <a:cubicBezTo>
                  <a:pt x="614891" y="3002842"/>
                  <a:pt x="611794" y="3005320"/>
                  <a:pt x="609419" y="3008108"/>
                </a:cubicBezTo>
                <a:cubicBezTo>
                  <a:pt x="607044" y="3011051"/>
                  <a:pt x="604875" y="3013839"/>
                  <a:pt x="603120" y="3016782"/>
                </a:cubicBezTo>
                <a:lnTo>
                  <a:pt x="602190" y="3018951"/>
                </a:lnTo>
                <a:lnTo>
                  <a:pt x="604979" y="3019416"/>
                </a:lnTo>
                <a:cubicBezTo>
                  <a:pt x="603843" y="3020965"/>
                  <a:pt x="602603" y="3022514"/>
                  <a:pt x="601571" y="3024062"/>
                </a:cubicBezTo>
                <a:cubicBezTo>
                  <a:pt x="601571" y="3023908"/>
                  <a:pt x="601055" y="3023753"/>
                  <a:pt x="600332" y="3023753"/>
                </a:cubicBezTo>
                <a:lnTo>
                  <a:pt x="599816" y="3024837"/>
                </a:lnTo>
                <a:lnTo>
                  <a:pt x="601674" y="3025766"/>
                </a:lnTo>
                <a:cubicBezTo>
                  <a:pt x="606527" y="3028709"/>
                  <a:pt x="608592" y="3032582"/>
                  <a:pt x="602294" y="3039088"/>
                </a:cubicBezTo>
                <a:cubicBezTo>
                  <a:pt x="601158" y="3036764"/>
                  <a:pt x="599506" y="3034906"/>
                  <a:pt x="597647" y="3033047"/>
                </a:cubicBezTo>
                <a:lnTo>
                  <a:pt x="593001" y="3029174"/>
                </a:lnTo>
                <a:lnTo>
                  <a:pt x="589696" y="3031188"/>
                </a:lnTo>
                <a:cubicBezTo>
                  <a:pt x="586599" y="3033356"/>
                  <a:pt x="583501" y="3035990"/>
                  <a:pt x="580403" y="3038933"/>
                </a:cubicBezTo>
                <a:cubicBezTo>
                  <a:pt x="574931" y="3044354"/>
                  <a:pt x="569975" y="3050550"/>
                  <a:pt x="564812" y="3057520"/>
                </a:cubicBezTo>
                <a:lnTo>
                  <a:pt x="557997" y="3066969"/>
                </a:lnTo>
                <a:lnTo>
                  <a:pt x="564399" y="3067588"/>
                </a:lnTo>
                <a:cubicBezTo>
                  <a:pt x="570698" y="3077037"/>
                  <a:pt x="576893" y="3076418"/>
                  <a:pt x="582778" y="3080755"/>
                </a:cubicBezTo>
                <a:cubicBezTo>
                  <a:pt x="589490" y="3094385"/>
                  <a:pt x="593930" y="3114212"/>
                  <a:pt x="583088" y="3126604"/>
                </a:cubicBezTo>
                <a:cubicBezTo>
                  <a:pt x="574208" y="3136827"/>
                  <a:pt x="563057" y="3133264"/>
                  <a:pt x="550356" y="3136982"/>
                </a:cubicBezTo>
                <a:cubicBezTo>
                  <a:pt x="548807" y="3134659"/>
                  <a:pt x="547258" y="3132955"/>
                  <a:pt x="545606" y="3131871"/>
                </a:cubicBezTo>
                <a:lnTo>
                  <a:pt x="542508" y="3130166"/>
                </a:lnTo>
                <a:lnTo>
                  <a:pt x="540856" y="3130631"/>
                </a:lnTo>
                <a:lnTo>
                  <a:pt x="540134" y="3129082"/>
                </a:lnTo>
                <a:lnTo>
                  <a:pt x="534868" y="3127998"/>
                </a:lnTo>
                <a:lnTo>
                  <a:pt x="534764" y="3128308"/>
                </a:lnTo>
                <a:lnTo>
                  <a:pt x="528466" y="3138841"/>
                </a:lnTo>
                <a:lnTo>
                  <a:pt x="532596" y="3141009"/>
                </a:lnTo>
                <a:cubicBezTo>
                  <a:pt x="534661" y="3142403"/>
                  <a:pt x="536726" y="3144417"/>
                  <a:pt x="538688" y="3146741"/>
                </a:cubicBezTo>
                <a:cubicBezTo>
                  <a:pt x="537552" y="3149064"/>
                  <a:pt x="538895" y="3153401"/>
                  <a:pt x="534558" y="3153556"/>
                </a:cubicBezTo>
                <a:cubicBezTo>
                  <a:pt x="533422" y="3150923"/>
                  <a:pt x="531666" y="3149064"/>
                  <a:pt x="529601" y="3147515"/>
                </a:cubicBezTo>
                <a:lnTo>
                  <a:pt x="524852" y="3144882"/>
                </a:lnTo>
                <a:lnTo>
                  <a:pt x="523922" y="3146431"/>
                </a:lnTo>
                <a:lnTo>
                  <a:pt x="521754" y="3150148"/>
                </a:lnTo>
                <a:lnTo>
                  <a:pt x="521857" y="3150458"/>
                </a:lnTo>
                <a:cubicBezTo>
                  <a:pt x="521857" y="3151852"/>
                  <a:pt x="521444" y="3153401"/>
                  <a:pt x="521031" y="3154331"/>
                </a:cubicBezTo>
                <a:lnTo>
                  <a:pt x="518966" y="3155105"/>
                </a:lnTo>
                <a:lnTo>
                  <a:pt x="515146" y="3162230"/>
                </a:lnTo>
                <a:lnTo>
                  <a:pt x="515042" y="3162850"/>
                </a:lnTo>
                <a:lnTo>
                  <a:pt x="514629" y="3163160"/>
                </a:lnTo>
                <a:lnTo>
                  <a:pt x="513184" y="3165793"/>
                </a:lnTo>
                <a:cubicBezTo>
                  <a:pt x="509673" y="3172143"/>
                  <a:pt x="506472" y="3178494"/>
                  <a:pt x="503787" y="3184535"/>
                </a:cubicBezTo>
                <a:cubicBezTo>
                  <a:pt x="503168" y="3185929"/>
                  <a:pt x="502858" y="3187943"/>
                  <a:pt x="502652" y="3189956"/>
                </a:cubicBezTo>
                <a:lnTo>
                  <a:pt x="501722" y="3194758"/>
                </a:lnTo>
                <a:lnTo>
                  <a:pt x="502135" y="3194449"/>
                </a:lnTo>
                <a:cubicBezTo>
                  <a:pt x="504923" y="3195998"/>
                  <a:pt x="509054" y="3194139"/>
                  <a:pt x="509363" y="3199405"/>
                </a:cubicBezTo>
                <a:cubicBezTo>
                  <a:pt x="507195" y="3202813"/>
                  <a:pt x="502342" y="3203587"/>
                  <a:pt x="499554" y="3201419"/>
                </a:cubicBezTo>
                <a:lnTo>
                  <a:pt x="498934" y="3200180"/>
                </a:lnTo>
                <a:lnTo>
                  <a:pt x="498728" y="3200489"/>
                </a:lnTo>
                <a:cubicBezTo>
                  <a:pt x="497385" y="3201419"/>
                  <a:pt x="495424" y="3201729"/>
                  <a:pt x="492636" y="3200954"/>
                </a:cubicBezTo>
                <a:cubicBezTo>
                  <a:pt x="491810" y="3205601"/>
                  <a:pt x="489538" y="3211022"/>
                  <a:pt x="489538" y="3214585"/>
                </a:cubicBezTo>
                <a:lnTo>
                  <a:pt x="490054" y="3216134"/>
                </a:lnTo>
                <a:lnTo>
                  <a:pt x="490157" y="3216289"/>
                </a:lnTo>
                <a:lnTo>
                  <a:pt x="490157" y="3216444"/>
                </a:lnTo>
                <a:lnTo>
                  <a:pt x="490570" y="3217683"/>
                </a:lnTo>
                <a:lnTo>
                  <a:pt x="489745" y="3218303"/>
                </a:lnTo>
                <a:lnTo>
                  <a:pt x="489125" y="3220936"/>
                </a:lnTo>
                <a:cubicBezTo>
                  <a:pt x="488299" y="3221865"/>
                  <a:pt x="488299" y="3221865"/>
                  <a:pt x="487370" y="3222020"/>
                </a:cubicBezTo>
                <a:lnTo>
                  <a:pt x="484375" y="3223104"/>
                </a:lnTo>
                <a:lnTo>
                  <a:pt x="483653" y="3225428"/>
                </a:lnTo>
                <a:lnTo>
                  <a:pt x="485098" y="3225428"/>
                </a:lnTo>
                <a:cubicBezTo>
                  <a:pt x="486027" y="3226047"/>
                  <a:pt x="486647" y="3227132"/>
                  <a:pt x="486544" y="3228681"/>
                </a:cubicBezTo>
                <a:lnTo>
                  <a:pt x="485304" y="3230385"/>
                </a:lnTo>
                <a:lnTo>
                  <a:pt x="486853" y="3230385"/>
                </a:lnTo>
                <a:cubicBezTo>
                  <a:pt x="488505" y="3230385"/>
                  <a:pt x="490364" y="3230694"/>
                  <a:pt x="490467" y="3232863"/>
                </a:cubicBezTo>
                <a:cubicBezTo>
                  <a:pt x="490054" y="3236425"/>
                  <a:pt x="479213" y="3234877"/>
                  <a:pt x="485614" y="3238439"/>
                </a:cubicBezTo>
                <a:lnTo>
                  <a:pt x="483859" y="3241537"/>
                </a:lnTo>
                <a:lnTo>
                  <a:pt x="491500" y="3245255"/>
                </a:lnTo>
                <a:lnTo>
                  <a:pt x="494907" y="3243706"/>
                </a:lnTo>
                <a:cubicBezTo>
                  <a:pt x="496043" y="3243860"/>
                  <a:pt x="497076" y="3244635"/>
                  <a:pt x="498315" y="3245874"/>
                </a:cubicBezTo>
                <a:lnTo>
                  <a:pt x="495217" y="3247888"/>
                </a:lnTo>
                <a:lnTo>
                  <a:pt x="501206" y="3254239"/>
                </a:lnTo>
                <a:cubicBezTo>
                  <a:pt x="497385" y="3256097"/>
                  <a:pt x="493255" y="3256717"/>
                  <a:pt x="489125" y="3256562"/>
                </a:cubicBezTo>
                <a:lnTo>
                  <a:pt x="477044" y="3253774"/>
                </a:lnTo>
                <a:lnTo>
                  <a:pt x="472191" y="3267250"/>
                </a:lnTo>
                <a:lnTo>
                  <a:pt x="468370" y="3284133"/>
                </a:lnTo>
                <a:lnTo>
                  <a:pt x="470332" y="3284753"/>
                </a:lnTo>
                <a:cubicBezTo>
                  <a:pt x="469403" y="3285682"/>
                  <a:pt x="472294" y="3287851"/>
                  <a:pt x="473224" y="3288625"/>
                </a:cubicBezTo>
                <a:cubicBezTo>
                  <a:pt x="472397" y="3289555"/>
                  <a:pt x="472707" y="3290794"/>
                  <a:pt x="472914" y="3292033"/>
                </a:cubicBezTo>
                <a:lnTo>
                  <a:pt x="472914" y="3293737"/>
                </a:lnTo>
                <a:lnTo>
                  <a:pt x="487163" y="3294356"/>
                </a:lnTo>
                <a:cubicBezTo>
                  <a:pt x="486131" y="3297300"/>
                  <a:pt x="487576" y="3299313"/>
                  <a:pt x="485098" y="3303650"/>
                </a:cubicBezTo>
                <a:lnTo>
                  <a:pt x="465789" y="3301946"/>
                </a:lnTo>
                <a:lnTo>
                  <a:pt x="465273" y="3307058"/>
                </a:lnTo>
                <a:cubicBezTo>
                  <a:pt x="460832" y="3309227"/>
                  <a:pt x="458561" y="3314183"/>
                  <a:pt x="457425" y="3320224"/>
                </a:cubicBezTo>
                <a:lnTo>
                  <a:pt x="456909" y="3327040"/>
                </a:lnTo>
                <a:lnTo>
                  <a:pt x="457012" y="3326885"/>
                </a:lnTo>
                <a:lnTo>
                  <a:pt x="456806" y="3327814"/>
                </a:lnTo>
                <a:lnTo>
                  <a:pt x="456703" y="3328589"/>
                </a:lnTo>
                <a:cubicBezTo>
                  <a:pt x="456703" y="3331222"/>
                  <a:pt x="456599" y="3333855"/>
                  <a:pt x="456393" y="3335869"/>
                </a:cubicBezTo>
                <a:cubicBezTo>
                  <a:pt x="460626" y="3336643"/>
                  <a:pt x="455980" y="3324871"/>
                  <a:pt x="461659" y="3328279"/>
                </a:cubicBezTo>
                <a:cubicBezTo>
                  <a:pt x="460729" y="3333701"/>
                  <a:pt x="461142" y="3337573"/>
                  <a:pt x="461453" y="3341290"/>
                </a:cubicBezTo>
                <a:cubicBezTo>
                  <a:pt x="452262" y="3334475"/>
                  <a:pt x="454637" y="3358484"/>
                  <a:pt x="453708" y="3364060"/>
                </a:cubicBezTo>
                <a:cubicBezTo>
                  <a:pt x="455980" y="3364060"/>
                  <a:pt x="456599" y="3362046"/>
                  <a:pt x="457219" y="3360188"/>
                </a:cubicBezTo>
                <a:cubicBezTo>
                  <a:pt x="457116" y="3357864"/>
                  <a:pt x="457219" y="3355076"/>
                  <a:pt x="458045" y="3352443"/>
                </a:cubicBezTo>
                <a:cubicBezTo>
                  <a:pt x="458767" y="3354921"/>
                  <a:pt x="459594" y="3357245"/>
                  <a:pt x="459594" y="3359413"/>
                </a:cubicBezTo>
                <a:cubicBezTo>
                  <a:pt x="460420" y="3361891"/>
                  <a:pt x="460420" y="3364060"/>
                  <a:pt x="460523" y="3366383"/>
                </a:cubicBezTo>
                <a:cubicBezTo>
                  <a:pt x="460523" y="3371340"/>
                  <a:pt x="459697" y="3376297"/>
                  <a:pt x="458251" y="3380789"/>
                </a:cubicBezTo>
                <a:lnTo>
                  <a:pt x="456806" y="3388224"/>
                </a:lnTo>
                <a:lnTo>
                  <a:pt x="459078" y="3391786"/>
                </a:lnTo>
                <a:lnTo>
                  <a:pt x="455877" y="3393336"/>
                </a:lnTo>
                <a:lnTo>
                  <a:pt x="455257" y="3396279"/>
                </a:lnTo>
                <a:lnTo>
                  <a:pt x="454844" y="3402784"/>
                </a:lnTo>
                <a:lnTo>
                  <a:pt x="456599" y="3404178"/>
                </a:lnTo>
                <a:lnTo>
                  <a:pt x="454947" y="3406502"/>
                </a:lnTo>
                <a:lnTo>
                  <a:pt x="455463" y="3411768"/>
                </a:lnTo>
                <a:cubicBezTo>
                  <a:pt x="451953" y="3411303"/>
                  <a:pt x="453192" y="3416880"/>
                  <a:pt x="451023" y="3416725"/>
                </a:cubicBezTo>
                <a:cubicBezTo>
                  <a:pt x="452779" y="3420597"/>
                  <a:pt x="453605" y="3424625"/>
                  <a:pt x="454018" y="3428497"/>
                </a:cubicBezTo>
                <a:lnTo>
                  <a:pt x="454224" y="3439649"/>
                </a:lnTo>
                <a:lnTo>
                  <a:pt x="456496" y="3440114"/>
                </a:lnTo>
                <a:lnTo>
                  <a:pt x="460110" y="3443212"/>
                </a:lnTo>
                <a:lnTo>
                  <a:pt x="462691" y="3441973"/>
                </a:lnTo>
                <a:cubicBezTo>
                  <a:pt x="463827" y="3442128"/>
                  <a:pt x="463827" y="3442128"/>
                  <a:pt x="465066" y="3442282"/>
                </a:cubicBezTo>
                <a:cubicBezTo>
                  <a:pt x="465995" y="3443677"/>
                  <a:pt x="467545" y="3444451"/>
                  <a:pt x="467751" y="3446310"/>
                </a:cubicBezTo>
                <a:lnTo>
                  <a:pt x="465892" y="3448169"/>
                </a:lnTo>
                <a:lnTo>
                  <a:pt x="467648" y="3449718"/>
                </a:lnTo>
                <a:lnTo>
                  <a:pt x="470642" y="3455449"/>
                </a:lnTo>
                <a:lnTo>
                  <a:pt x="471985" y="3453745"/>
                </a:lnTo>
                <a:lnTo>
                  <a:pt x="472191" y="3448014"/>
                </a:lnTo>
                <a:cubicBezTo>
                  <a:pt x="471365" y="3441044"/>
                  <a:pt x="464550" y="3438875"/>
                  <a:pt x="462898" y="3431750"/>
                </a:cubicBezTo>
                <a:cubicBezTo>
                  <a:pt x="462691" y="3432369"/>
                  <a:pt x="465789" y="3432059"/>
                  <a:pt x="465789" y="3432059"/>
                </a:cubicBezTo>
                <a:cubicBezTo>
                  <a:pt x="464550" y="3428807"/>
                  <a:pt x="460007" y="3422456"/>
                  <a:pt x="462072" y="3419203"/>
                </a:cubicBezTo>
                <a:lnTo>
                  <a:pt x="462588" y="3418893"/>
                </a:lnTo>
                <a:lnTo>
                  <a:pt x="462278" y="3417809"/>
                </a:lnTo>
                <a:cubicBezTo>
                  <a:pt x="461762" y="3414092"/>
                  <a:pt x="461659" y="3410064"/>
                  <a:pt x="462382" y="3405417"/>
                </a:cubicBezTo>
                <a:lnTo>
                  <a:pt x="470849" y="3403094"/>
                </a:lnTo>
                <a:lnTo>
                  <a:pt x="471261" y="3392561"/>
                </a:lnTo>
                <a:cubicBezTo>
                  <a:pt x="471985" y="3387759"/>
                  <a:pt x="471881" y="3383267"/>
                  <a:pt x="470332" y="3378465"/>
                </a:cubicBezTo>
                <a:cubicBezTo>
                  <a:pt x="470745" y="3377071"/>
                  <a:pt x="473017" y="3377071"/>
                  <a:pt x="475289" y="3377226"/>
                </a:cubicBezTo>
                <a:lnTo>
                  <a:pt x="475082" y="3373973"/>
                </a:lnTo>
                <a:lnTo>
                  <a:pt x="470642" y="3378001"/>
                </a:lnTo>
                <a:cubicBezTo>
                  <a:pt x="469196" y="3377071"/>
                  <a:pt x="468577" y="3376142"/>
                  <a:pt x="468680" y="3375057"/>
                </a:cubicBezTo>
                <a:cubicBezTo>
                  <a:pt x="468784" y="3374128"/>
                  <a:pt x="469403" y="3373199"/>
                  <a:pt x="470332" y="3372579"/>
                </a:cubicBezTo>
                <a:cubicBezTo>
                  <a:pt x="471158" y="3371960"/>
                  <a:pt x="472294" y="3371495"/>
                  <a:pt x="473224" y="3371650"/>
                </a:cubicBezTo>
                <a:lnTo>
                  <a:pt x="475082" y="3373509"/>
                </a:lnTo>
                <a:lnTo>
                  <a:pt x="474876" y="3369017"/>
                </a:lnTo>
                <a:lnTo>
                  <a:pt x="467958" y="3368397"/>
                </a:lnTo>
                <a:cubicBezTo>
                  <a:pt x="463414" y="3366383"/>
                  <a:pt x="460007" y="3361736"/>
                  <a:pt x="459387" y="3357090"/>
                </a:cubicBezTo>
                <a:cubicBezTo>
                  <a:pt x="458974" y="3353992"/>
                  <a:pt x="459800" y="3350894"/>
                  <a:pt x="462588" y="3348261"/>
                </a:cubicBezTo>
                <a:lnTo>
                  <a:pt x="476115" y="3352753"/>
                </a:lnTo>
                <a:lnTo>
                  <a:pt x="477147" y="3346712"/>
                </a:lnTo>
                <a:cubicBezTo>
                  <a:pt x="478593" y="3342065"/>
                  <a:pt x="479316" y="3337263"/>
                  <a:pt x="480038" y="3332461"/>
                </a:cubicBezTo>
                <a:lnTo>
                  <a:pt x="480555" y="3323168"/>
                </a:lnTo>
                <a:lnTo>
                  <a:pt x="476837" y="3324407"/>
                </a:lnTo>
                <a:cubicBezTo>
                  <a:pt x="474876" y="3324407"/>
                  <a:pt x="472811" y="3323942"/>
                  <a:pt x="470849" y="3322703"/>
                </a:cubicBezTo>
                <a:cubicBezTo>
                  <a:pt x="470332" y="3321618"/>
                  <a:pt x="470126" y="3320534"/>
                  <a:pt x="470229" y="3319295"/>
                </a:cubicBezTo>
                <a:cubicBezTo>
                  <a:pt x="470332" y="3317591"/>
                  <a:pt x="471055" y="3315732"/>
                  <a:pt x="471985" y="3314183"/>
                </a:cubicBezTo>
                <a:lnTo>
                  <a:pt x="473946" y="3312015"/>
                </a:lnTo>
                <a:lnTo>
                  <a:pt x="473224" y="3311086"/>
                </a:lnTo>
                <a:lnTo>
                  <a:pt x="474566" y="3311240"/>
                </a:lnTo>
                <a:lnTo>
                  <a:pt x="475702" y="3309846"/>
                </a:lnTo>
                <a:lnTo>
                  <a:pt x="477354" y="3309072"/>
                </a:lnTo>
                <a:lnTo>
                  <a:pt x="475702" y="3305819"/>
                </a:lnTo>
                <a:cubicBezTo>
                  <a:pt x="476321" y="3305664"/>
                  <a:pt x="476734" y="3305974"/>
                  <a:pt x="477044" y="3306284"/>
                </a:cubicBezTo>
                <a:cubicBezTo>
                  <a:pt x="477251" y="3306748"/>
                  <a:pt x="477457" y="3307368"/>
                  <a:pt x="477560" y="3307988"/>
                </a:cubicBezTo>
                <a:lnTo>
                  <a:pt x="477870" y="3308917"/>
                </a:lnTo>
                <a:lnTo>
                  <a:pt x="479522" y="3307988"/>
                </a:lnTo>
                <a:lnTo>
                  <a:pt x="483549" y="3310621"/>
                </a:lnTo>
                <a:lnTo>
                  <a:pt x="486337" y="3304735"/>
                </a:lnTo>
                <a:cubicBezTo>
                  <a:pt x="486337" y="3310156"/>
                  <a:pt x="488609" y="3309536"/>
                  <a:pt x="488918" y="3312790"/>
                </a:cubicBezTo>
                <a:lnTo>
                  <a:pt x="488712" y="3314648"/>
                </a:lnTo>
                <a:lnTo>
                  <a:pt x="489022" y="3314958"/>
                </a:lnTo>
                <a:lnTo>
                  <a:pt x="491810" y="3305045"/>
                </a:lnTo>
                <a:cubicBezTo>
                  <a:pt x="492946" y="3300862"/>
                  <a:pt x="494701" y="3297145"/>
                  <a:pt x="498521" y="3294511"/>
                </a:cubicBezTo>
                <a:cubicBezTo>
                  <a:pt x="496456" y="3293737"/>
                  <a:pt x="494494" y="3292963"/>
                  <a:pt x="493875" y="3294976"/>
                </a:cubicBezTo>
                <a:cubicBezTo>
                  <a:pt x="492429" y="3292343"/>
                  <a:pt x="498418" y="3284908"/>
                  <a:pt x="500793" y="3282120"/>
                </a:cubicBezTo>
                <a:cubicBezTo>
                  <a:pt x="499863" y="3280416"/>
                  <a:pt x="500586" y="3270503"/>
                  <a:pt x="496250" y="3274840"/>
                </a:cubicBezTo>
                <a:cubicBezTo>
                  <a:pt x="498108" y="3268799"/>
                  <a:pt x="499760" y="3263687"/>
                  <a:pt x="500896" y="3257491"/>
                </a:cubicBezTo>
                <a:lnTo>
                  <a:pt x="502755" y="3250211"/>
                </a:lnTo>
                <a:lnTo>
                  <a:pt x="501103" y="3249746"/>
                </a:lnTo>
                <a:cubicBezTo>
                  <a:pt x="501412" y="3247888"/>
                  <a:pt x="500896" y="3246184"/>
                  <a:pt x="501206" y="3244325"/>
                </a:cubicBezTo>
                <a:lnTo>
                  <a:pt x="504820" y="3242622"/>
                </a:lnTo>
                <a:lnTo>
                  <a:pt x="505646" y="3239523"/>
                </a:lnTo>
                <a:cubicBezTo>
                  <a:pt x="506988" y="3239988"/>
                  <a:pt x="507815" y="3240763"/>
                  <a:pt x="508434" y="3241537"/>
                </a:cubicBezTo>
                <a:lnTo>
                  <a:pt x="508950" y="3242776"/>
                </a:lnTo>
                <a:lnTo>
                  <a:pt x="510499" y="3243551"/>
                </a:lnTo>
                <a:lnTo>
                  <a:pt x="510396" y="3244945"/>
                </a:lnTo>
                <a:lnTo>
                  <a:pt x="511015" y="3245719"/>
                </a:lnTo>
                <a:cubicBezTo>
                  <a:pt x="511738" y="3246029"/>
                  <a:pt x="512771" y="3245874"/>
                  <a:pt x="514423" y="3245410"/>
                </a:cubicBezTo>
                <a:cubicBezTo>
                  <a:pt x="512564" y="3251296"/>
                  <a:pt x="509570" y="3256097"/>
                  <a:pt x="507918" y="3261364"/>
                </a:cubicBezTo>
                <a:cubicBezTo>
                  <a:pt x="506575" y="3266011"/>
                  <a:pt x="505852" y="3270812"/>
                  <a:pt x="509363" y="3276389"/>
                </a:cubicBezTo>
                <a:cubicBezTo>
                  <a:pt x="508744" y="3278402"/>
                  <a:pt x="506885" y="3277008"/>
                  <a:pt x="504717" y="3277008"/>
                </a:cubicBezTo>
                <a:cubicBezTo>
                  <a:pt x="504923" y="3278557"/>
                  <a:pt x="507815" y="3278712"/>
                  <a:pt x="507298" y="3280726"/>
                </a:cubicBezTo>
                <a:cubicBezTo>
                  <a:pt x="509260" y="3279177"/>
                  <a:pt x="512151" y="3274375"/>
                  <a:pt x="514320" y="3270038"/>
                </a:cubicBezTo>
                <a:cubicBezTo>
                  <a:pt x="515662" y="3265546"/>
                  <a:pt x="516488" y="3260589"/>
                  <a:pt x="512771" y="3257956"/>
                </a:cubicBezTo>
                <a:cubicBezTo>
                  <a:pt x="514423" y="3256252"/>
                  <a:pt x="515559" y="3253929"/>
                  <a:pt x="516591" y="3251760"/>
                </a:cubicBezTo>
                <a:lnTo>
                  <a:pt x="518347" y="3248972"/>
                </a:lnTo>
                <a:lnTo>
                  <a:pt x="517830" y="3248353"/>
                </a:lnTo>
                <a:lnTo>
                  <a:pt x="518759" y="3248353"/>
                </a:lnTo>
                <a:lnTo>
                  <a:pt x="520205" y="3246029"/>
                </a:lnTo>
                <a:cubicBezTo>
                  <a:pt x="521857" y="3246803"/>
                  <a:pt x="523406" y="3247423"/>
                  <a:pt x="524645" y="3248042"/>
                </a:cubicBezTo>
                <a:lnTo>
                  <a:pt x="530015" y="3245564"/>
                </a:lnTo>
                <a:lnTo>
                  <a:pt x="532596" y="3244015"/>
                </a:lnTo>
                <a:lnTo>
                  <a:pt x="533525" y="3242002"/>
                </a:lnTo>
                <a:cubicBezTo>
                  <a:pt x="534661" y="3235806"/>
                  <a:pt x="535797" y="3229765"/>
                  <a:pt x="538068" y="3224653"/>
                </a:cubicBezTo>
                <a:cubicBezTo>
                  <a:pt x="540030" y="3223259"/>
                  <a:pt x="541579" y="3220936"/>
                  <a:pt x="543748" y="3218767"/>
                </a:cubicBezTo>
                <a:cubicBezTo>
                  <a:pt x="544780" y="3217683"/>
                  <a:pt x="546122" y="3215824"/>
                  <a:pt x="546535" y="3214585"/>
                </a:cubicBezTo>
                <a:cubicBezTo>
                  <a:pt x="547568" y="3213501"/>
                  <a:pt x="548910" y="3211797"/>
                  <a:pt x="549943" y="3210713"/>
                </a:cubicBezTo>
                <a:lnTo>
                  <a:pt x="555106" y="3202813"/>
                </a:lnTo>
                <a:lnTo>
                  <a:pt x="555106" y="3202348"/>
                </a:lnTo>
                <a:cubicBezTo>
                  <a:pt x="555416" y="3199870"/>
                  <a:pt x="556448" y="3197082"/>
                  <a:pt x="558410" y="3194294"/>
                </a:cubicBezTo>
                <a:lnTo>
                  <a:pt x="563160" y="3190576"/>
                </a:lnTo>
                <a:lnTo>
                  <a:pt x="572246" y="3177410"/>
                </a:lnTo>
                <a:lnTo>
                  <a:pt x="568220" y="3175861"/>
                </a:lnTo>
                <a:cubicBezTo>
                  <a:pt x="565535" y="3174777"/>
                  <a:pt x="562954" y="3173073"/>
                  <a:pt x="561404" y="3170749"/>
                </a:cubicBezTo>
                <a:lnTo>
                  <a:pt x="561301" y="3169665"/>
                </a:lnTo>
                <a:lnTo>
                  <a:pt x="560268" y="3168891"/>
                </a:lnTo>
                <a:lnTo>
                  <a:pt x="560062" y="3169045"/>
                </a:lnTo>
                <a:cubicBezTo>
                  <a:pt x="560062" y="3168116"/>
                  <a:pt x="559236" y="3168271"/>
                  <a:pt x="559236" y="3169200"/>
                </a:cubicBezTo>
                <a:cubicBezTo>
                  <a:pt x="557894" y="3168426"/>
                  <a:pt x="556758" y="3167961"/>
                  <a:pt x="556242" y="3167497"/>
                </a:cubicBezTo>
                <a:cubicBezTo>
                  <a:pt x="555622" y="3166877"/>
                  <a:pt x="555622" y="3166257"/>
                  <a:pt x="556448" y="3165328"/>
                </a:cubicBezTo>
                <a:cubicBezTo>
                  <a:pt x="557171" y="3163469"/>
                  <a:pt x="558926" y="3164089"/>
                  <a:pt x="560578" y="3162230"/>
                </a:cubicBezTo>
                <a:cubicBezTo>
                  <a:pt x="563057" y="3158513"/>
                  <a:pt x="555725" y="3154331"/>
                  <a:pt x="560578" y="3146896"/>
                </a:cubicBezTo>
                <a:cubicBezTo>
                  <a:pt x="562333" y="3148444"/>
                  <a:pt x="566567" y="3144417"/>
                  <a:pt x="569355" y="3146585"/>
                </a:cubicBezTo>
                <a:cubicBezTo>
                  <a:pt x="578442" y="3152007"/>
                  <a:pt x="576789" y="3154795"/>
                  <a:pt x="574518" y="3161146"/>
                </a:cubicBezTo>
                <a:cubicBezTo>
                  <a:pt x="574518" y="3160217"/>
                  <a:pt x="573692" y="3161146"/>
                  <a:pt x="573692" y="3161146"/>
                </a:cubicBezTo>
                <a:cubicBezTo>
                  <a:pt x="572040" y="3163160"/>
                  <a:pt x="577306" y="3163160"/>
                  <a:pt x="575757" y="3165948"/>
                </a:cubicBezTo>
                <a:lnTo>
                  <a:pt x="574931" y="3166567"/>
                </a:lnTo>
                <a:lnTo>
                  <a:pt x="574931" y="3166877"/>
                </a:lnTo>
                <a:lnTo>
                  <a:pt x="577925" y="3169665"/>
                </a:lnTo>
                <a:lnTo>
                  <a:pt x="577925" y="3169510"/>
                </a:lnTo>
                <a:lnTo>
                  <a:pt x="577925" y="3169200"/>
                </a:lnTo>
                <a:cubicBezTo>
                  <a:pt x="578442" y="3165948"/>
                  <a:pt x="580507" y="3164399"/>
                  <a:pt x="582262" y="3163624"/>
                </a:cubicBezTo>
                <a:lnTo>
                  <a:pt x="584121" y="3163005"/>
                </a:lnTo>
                <a:lnTo>
                  <a:pt x="585360" y="3161610"/>
                </a:lnTo>
                <a:lnTo>
                  <a:pt x="584533" y="3161920"/>
                </a:lnTo>
                <a:cubicBezTo>
                  <a:pt x="583811" y="3162075"/>
                  <a:pt x="583501" y="3162385"/>
                  <a:pt x="583501" y="3162385"/>
                </a:cubicBezTo>
                <a:cubicBezTo>
                  <a:pt x="581643" y="3161765"/>
                  <a:pt x="581643" y="3160836"/>
                  <a:pt x="581643" y="3161765"/>
                </a:cubicBezTo>
                <a:cubicBezTo>
                  <a:pt x="579784" y="3160371"/>
                  <a:pt x="577203" y="3158977"/>
                  <a:pt x="577925" y="3157274"/>
                </a:cubicBezTo>
                <a:cubicBezTo>
                  <a:pt x="579474" y="3155105"/>
                  <a:pt x="581746" y="3154485"/>
                  <a:pt x="584224" y="3154640"/>
                </a:cubicBezTo>
                <a:lnTo>
                  <a:pt x="589696" y="3156034"/>
                </a:lnTo>
                <a:lnTo>
                  <a:pt x="588767" y="3153711"/>
                </a:lnTo>
                <a:cubicBezTo>
                  <a:pt x="589077" y="3152781"/>
                  <a:pt x="590006" y="3151852"/>
                  <a:pt x="591039" y="3150768"/>
                </a:cubicBezTo>
                <a:cubicBezTo>
                  <a:pt x="592175" y="3149684"/>
                  <a:pt x="592588" y="3148289"/>
                  <a:pt x="593827" y="3146585"/>
                </a:cubicBezTo>
                <a:cubicBezTo>
                  <a:pt x="594446" y="3144572"/>
                  <a:pt x="595066" y="3142558"/>
                  <a:pt x="595169" y="3139770"/>
                </a:cubicBezTo>
                <a:cubicBezTo>
                  <a:pt x="596201" y="3141474"/>
                  <a:pt x="595479" y="3143488"/>
                  <a:pt x="596718" y="3144572"/>
                </a:cubicBezTo>
                <a:cubicBezTo>
                  <a:pt x="599093" y="3136827"/>
                  <a:pt x="602913" y="3129392"/>
                  <a:pt x="606734" y="3121957"/>
                </a:cubicBezTo>
                <a:cubicBezTo>
                  <a:pt x="611174" y="3114677"/>
                  <a:pt x="614788" y="3108017"/>
                  <a:pt x="617472" y="3099497"/>
                </a:cubicBezTo>
                <a:cubicBezTo>
                  <a:pt x="613962" y="3096089"/>
                  <a:pt x="611690" y="3108326"/>
                  <a:pt x="608076" y="3102905"/>
                </a:cubicBezTo>
                <a:cubicBezTo>
                  <a:pt x="610658" y="3099342"/>
                  <a:pt x="613136" y="3096554"/>
                  <a:pt x="615304" y="3094385"/>
                </a:cubicBezTo>
                <a:lnTo>
                  <a:pt x="621499" y="3088964"/>
                </a:lnTo>
                <a:lnTo>
                  <a:pt x="620054" y="3087106"/>
                </a:lnTo>
                <a:cubicBezTo>
                  <a:pt x="619538" y="3086021"/>
                  <a:pt x="619228" y="3084782"/>
                  <a:pt x="619641" y="3083852"/>
                </a:cubicBezTo>
                <a:cubicBezTo>
                  <a:pt x="619641" y="3083852"/>
                  <a:pt x="619744" y="3083698"/>
                  <a:pt x="620157" y="3082768"/>
                </a:cubicBezTo>
                <a:cubicBezTo>
                  <a:pt x="620673" y="3083852"/>
                  <a:pt x="621190" y="3085247"/>
                  <a:pt x="621603" y="3086641"/>
                </a:cubicBezTo>
                <a:lnTo>
                  <a:pt x="622016" y="3088499"/>
                </a:lnTo>
                <a:lnTo>
                  <a:pt x="622429" y="3088190"/>
                </a:lnTo>
                <a:cubicBezTo>
                  <a:pt x="624287" y="3085866"/>
                  <a:pt x="625939" y="3083543"/>
                  <a:pt x="627282" y="3080909"/>
                </a:cubicBezTo>
                <a:lnTo>
                  <a:pt x="628728" y="3076882"/>
                </a:lnTo>
                <a:lnTo>
                  <a:pt x="627075" y="3078431"/>
                </a:lnTo>
                <a:cubicBezTo>
                  <a:pt x="625114" y="3078276"/>
                  <a:pt x="624184" y="3074714"/>
                  <a:pt x="623048" y="3073010"/>
                </a:cubicBezTo>
                <a:cubicBezTo>
                  <a:pt x="624287" y="3072855"/>
                  <a:pt x="625526" y="3072700"/>
                  <a:pt x="624700" y="3072235"/>
                </a:cubicBezTo>
                <a:cubicBezTo>
                  <a:pt x="625939" y="3072081"/>
                  <a:pt x="626868" y="3072235"/>
                  <a:pt x="627695" y="3072545"/>
                </a:cubicBezTo>
                <a:lnTo>
                  <a:pt x="629553" y="3074404"/>
                </a:lnTo>
                <a:lnTo>
                  <a:pt x="630380" y="3071926"/>
                </a:lnTo>
                <a:cubicBezTo>
                  <a:pt x="632031" y="3072855"/>
                  <a:pt x="633581" y="3072700"/>
                  <a:pt x="635129" y="3072235"/>
                </a:cubicBezTo>
                <a:lnTo>
                  <a:pt x="639776" y="3070841"/>
                </a:lnTo>
                <a:lnTo>
                  <a:pt x="639776" y="3070686"/>
                </a:lnTo>
                <a:lnTo>
                  <a:pt x="639672" y="3068983"/>
                </a:lnTo>
                <a:cubicBezTo>
                  <a:pt x="638743" y="3066969"/>
                  <a:pt x="635955" y="3064800"/>
                  <a:pt x="639983" y="3062941"/>
                </a:cubicBezTo>
                <a:cubicBezTo>
                  <a:pt x="642357" y="3064181"/>
                  <a:pt x="641015" y="3065575"/>
                  <a:pt x="641118" y="3067124"/>
                </a:cubicBezTo>
                <a:lnTo>
                  <a:pt x="641738" y="3068208"/>
                </a:lnTo>
                <a:lnTo>
                  <a:pt x="642151" y="3068053"/>
                </a:lnTo>
                <a:lnTo>
                  <a:pt x="642254" y="3068363"/>
                </a:lnTo>
                <a:lnTo>
                  <a:pt x="646797" y="3061857"/>
                </a:lnTo>
                <a:cubicBezTo>
                  <a:pt x="648656" y="3059689"/>
                  <a:pt x="651031" y="3057675"/>
                  <a:pt x="654541" y="3054887"/>
                </a:cubicBezTo>
                <a:cubicBezTo>
                  <a:pt x="649688" y="3056126"/>
                  <a:pt x="650824" y="3052099"/>
                  <a:pt x="646074" y="3050550"/>
                </a:cubicBezTo>
                <a:cubicBezTo>
                  <a:pt x="641531" y="3053338"/>
                  <a:pt x="647210" y="3056746"/>
                  <a:pt x="641015" y="3059689"/>
                </a:cubicBezTo>
                <a:lnTo>
                  <a:pt x="641118" y="3058450"/>
                </a:lnTo>
                <a:lnTo>
                  <a:pt x="639363" y="3060773"/>
                </a:lnTo>
                <a:cubicBezTo>
                  <a:pt x="637607" y="3062477"/>
                  <a:pt x="635542" y="3064026"/>
                  <a:pt x="634200" y="3064491"/>
                </a:cubicBezTo>
                <a:cubicBezTo>
                  <a:pt x="631722" y="3063406"/>
                  <a:pt x="630586" y="3061857"/>
                  <a:pt x="630380" y="3059998"/>
                </a:cubicBezTo>
                <a:cubicBezTo>
                  <a:pt x="630070" y="3056126"/>
                  <a:pt x="634613" y="3051789"/>
                  <a:pt x="638743" y="3052563"/>
                </a:cubicBezTo>
                <a:lnTo>
                  <a:pt x="641634" y="3054422"/>
                </a:lnTo>
                <a:lnTo>
                  <a:pt x="643183" y="3051015"/>
                </a:lnTo>
                <a:cubicBezTo>
                  <a:pt x="644732" y="3048072"/>
                  <a:pt x="646281" y="3045128"/>
                  <a:pt x="644938" y="3042185"/>
                </a:cubicBezTo>
                <a:cubicBezTo>
                  <a:pt x="645558" y="3040172"/>
                  <a:pt x="650205" y="3046832"/>
                  <a:pt x="646694" y="3048536"/>
                </a:cubicBezTo>
                <a:cubicBezTo>
                  <a:pt x="648036" y="3050085"/>
                  <a:pt x="649688" y="3051015"/>
                  <a:pt x="651444" y="3051324"/>
                </a:cubicBezTo>
                <a:lnTo>
                  <a:pt x="654851" y="3050705"/>
                </a:lnTo>
                <a:lnTo>
                  <a:pt x="654541" y="3047142"/>
                </a:lnTo>
                <a:cubicBezTo>
                  <a:pt x="654748" y="3045748"/>
                  <a:pt x="655471" y="3044664"/>
                  <a:pt x="656503" y="3043734"/>
                </a:cubicBezTo>
                <a:lnTo>
                  <a:pt x="657949" y="3043270"/>
                </a:lnTo>
                <a:lnTo>
                  <a:pt x="657949" y="3038468"/>
                </a:lnTo>
                <a:cubicBezTo>
                  <a:pt x="657742" y="3036609"/>
                  <a:pt x="657742" y="3034906"/>
                  <a:pt x="658982" y="3033202"/>
                </a:cubicBezTo>
                <a:cubicBezTo>
                  <a:pt x="660634" y="3035215"/>
                  <a:pt x="662286" y="3036299"/>
                  <a:pt x="664351" y="3036919"/>
                </a:cubicBezTo>
                <a:lnTo>
                  <a:pt x="670650" y="3038003"/>
                </a:lnTo>
                <a:lnTo>
                  <a:pt x="670856" y="3030413"/>
                </a:lnTo>
                <a:lnTo>
                  <a:pt x="671888" y="3028245"/>
                </a:lnTo>
                <a:lnTo>
                  <a:pt x="659395" y="3028709"/>
                </a:lnTo>
                <a:cubicBezTo>
                  <a:pt x="654541" y="3028090"/>
                  <a:pt x="649688" y="3026851"/>
                  <a:pt x="644938" y="3024837"/>
                </a:cubicBezTo>
                <a:cubicBezTo>
                  <a:pt x="645042" y="3022514"/>
                  <a:pt x="645042" y="3020190"/>
                  <a:pt x="642667" y="3020190"/>
                </a:cubicBezTo>
                <a:cubicBezTo>
                  <a:pt x="642460" y="3016318"/>
                  <a:pt x="642873" y="3012600"/>
                  <a:pt x="643906" y="3009192"/>
                </a:cubicBezTo>
                <a:lnTo>
                  <a:pt x="646591" y="3003461"/>
                </a:lnTo>
                <a:lnTo>
                  <a:pt x="642048" y="2996801"/>
                </a:lnTo>
                <a:lnTo>
                  <a:pt x="641634" y="2996956"/>
                </a:lnTo>
                <a:cubicBezTo>
                  <a:pt x="639879" y="2997111"/>
                  <a:pt x="637814" y="2996801"/>
                  <a:pt x="636265" y="2995716"/>
                </a:cubicBezTo>
                <a:close/>
                <a:moveTo>
                  <a:pt x="314416" y="2992154"/>
                </a:moveTo>
                <a:cubicBezTo>
                  <a:pt x="315758" y="2992154"/>
                  <a:pt x="316893" y="2992928"/>
                  <a:pt x="317823" y="2994632"/>
                </a:cubicBezTo>
                <a:cubicBezTo>
                  <a:pt x="313589" y="2997730"/>
                  <a:pt x="311628" y="3002532"/>
                  <a:pt x="308530" y="3002687"/>
                </a:cubicBezTo>
                <a:cubicBezTo>
                  <a:pt x="307497" y="3002687"/>
                  <a:pt x="306258" y="3002222"/>
                  <a:pt x="304813" y="3000828"/>
                </a:cubicBezTo>
                <a:cubicBezTo>
                  <a:pt x="305535" y="2999124"/>
                  <a:pt x="308323" y="2995097"/>
                  <a:pt x="311421" y="2993084"/>
                </a:cubicBezTo>
                <a:cubicBezTo>
                  <a:pt x="312350" y="2992464"/>
                  <a:pt x="313383" y="2992154"/>
                  <a:pt x="314416" y="2992154"/>
                </a:cubicBezTo>
                <a:close/>
                <a:moveTo>
                  <a:pt x="6807489" y="2991811"/>
                </a:moveTo>
                <a:cubicBezTo>
                  <a:pt x="6810432" y="2995219"/>
                  <a:pt x="6815388" y="2996251"/>
                  <a:pt x="6818022" y="2997697"/>
                </a:cubicBezTo>
                <a:cubicBezTo>
                  <a:pt x="6819416" y="3003376"/>
                  <a:pt x="6818022" y="3007609"/>
                  <a:pt x="6812445" y="3012669"/>
                </a:cubicBezTo>
                <a:cubicBezTo>
                  <a:pt x="6802842" y="3010500"/>
                  <a:pt x="6805475" y="3011946"/>
                  <a:pt x="6797111" y="3005648"/>
                </a:cubicBezTo>
                <a:cubicBezTo>
                  <a:pt x="6800518" y="3001104"/>
                  <a:pt x="6803926" y="2996458"/>
                  <a:pt x="6807489" y="2991811"/>
                </a:cubicBezTo>
                <a:close/>
                <a:moveTo>
                  <a:pt x="423351" y="2991534"/>
                </a:moveTo>
                <a:cubicBezTo>
                  <a:pt x="424280" y="2993084"/>
                  <a:pt x="421802" y="2995872"/>
                  <a:pt x="421079" y="2997730"/>
                </a:cubicBezTo>
                <a:cubicBezTo>
                  <a:pt x="420150" y="2996956"/>
                  <a:pt x="419221" y="2996181"/>
                  <a:pt x="419221" y="2997111"/>
                </a:cubicBezTo>
                <a:cubicBezTo>
                  <a:pt x="418291" y="2996336"/>
                  <a:pt x="417878" y="2995562"/>
                  <a:pt x="417672" y="2994787"/>
                </a:cubicBezTo>
                <a:cubicBezTo>
                  <a:pt x="417568" y="2994013"/>
                  <a:pt x="417672" y="2993084"/>
                  <a:pt x="418085" y="2992309"/>
                </a:cubicBezTo>
                <a:cubicBezTo>
                  <a:pt x="418911" y="2991225"/>
                  <a:pt x="420666" y="2991070"/>
                  <a:pt x="423351" y="2991534"/>
                </a:cubicBezTo>
                <a:close/>
                <a:moveTo>
                  <a:pt x="487886" y="2987817"/>
                </a:moveTo>
                <a:cubicBezTo>
                  <a:pt x="488712" y="2988591"/>
                  <a:pt x="491397" y="2988591"/>
                  <a:pt x="493152" y="2989211"/>
                </a:cubicBezTo>
                <a:cubicBezTo>
                  <a:pt x="493152" y="2990140"/>
                  <a:pt x="493978" y="2990915"/>
                  <a:pt x="493978" y="2991689"/>
                </a:cubicBezTo>
                <a:cubicBezTo>
                  <a:pt x="493049" y="2991689"/>
                  <a:pt x="491294" y="2992464"/>
                  <a:pt x="491294" y="2991689"/>
                </a:cubicBezTo>
                <a:cubicBezTo>
                  <a:pt x="490467" y="2991689"/>
                  <a:pt x="490467" y="2990140"/>
                  <a:pt x="490467" y="2990140"/>
                </a:cubicBezTo>
                <a:cubicBezTo>
                  <a:pt x="489538" y="2990140"/>
                  <a:pt x="488609" y="2990295"/>
                  <a:pt x="487783" y="2989521"/>
                </a:cubicBezTo>
                <a:cubicBezTo>
                  <a:pt x="488712" y="2988591"/>
                  <a:pt x="487783" y="2988591"/>
                  <a:pt x="487886" y="2987817"/>
                </a:cubicBezTo>
                <a:close/>
                <a:moveTo>
                  <a:pt x="296449" y="2985493"/>
                </a:moveTo>
                <a:cubicBezTo>
                  <a:pt x="299340" y="2984409"/>
                  <a:pt x="302334" y="2986268"/>
                  <a:pt x="305845" y="2985648"/>
                </a:cubicBezTo>
                <a:cubicBezTo>
                  <a:pt x="306775" y="2987662"/>
                  <a:pt x="307187" y="2989056"/>
                  <a:pt x="307084" y="2990140"/>
                </a:cubicBezTo>
                <a:lnTo>
                  <a:pt x="306775" y="2990450"/>
                </a:lnTo>
                <a:lnTo>
                  <a:pt x="302438" y="2998815"/>
                </a:lnTo>
                <a:cubicBezTo>
                  <a:pt x="301508" y="2999589"/>
                  <a:pt x="297997" y="3000983"/>
                  <a:pt x="297068" y="3000054"/>
                </a:cubicBezTo>
                <a:cubicBezTo>
                  <a:pt x="296242" y="2999124"/>
                  <a:pt x="296242" y="2998350"/>
                  <a:pt x="296242" y="2997420"/>
                </a:cubicBezTo>
                <a:lnTo>
                  <a:pt x="298514" y="2993703"/>
                </a:lnTo>
                <a:lnTo>
                  <a:pt x="296655" y="2993703"/>
                </a:lnTo>
                <a:cubicBezTo>
                  <a:pt x="294694" y="2993238"/>
                  <a:pt x="293041" y="2992464"/>
                  <a:pt x="292525" y="2991534"/>
                </a:cubicBezTo>
                <a:cubicBezTo>
                  <a:pt x="291906" y="2989211"/>
                  <a:pt x="292938" y="2986113"/>
                  <a:pt x="296449" y="2985493"/>
                </a:cubicBezTo>
                <a:close/>
                <a:moveTo>
                  <a:pt x="711023" y="2984719"/>
                </a:moveTo>
                <a:cubicBezTo>
                  <a:pt x="712675" y="2985493"/>
                  <a:pt x="713501" y="2986268"/>
                  <a:pt x="713501" y="2987972"/>
                </a:cubicBezTo>
                <a:cubicBezTo>
                  <a:pt x="712881" y="2987352"/>
                  <a:pt x="711229" y="2986733"/>
                  <a:pt x="710919" y="2985803"/>
                </a:cubicBezTo>
                <a:cubicBezTo>
                  <a:pt x="710713" y="2985493"/>
                  <a:pt x="710816" y="2985183"/>
                  <a:pt x="711023" y="2984719"/>
                </a:cubicBezTo>
                <a:close/>
                <a:moveTo>
                  <a:pt x="497592" y="2983170"/>
                </a:moveTo>
                <a:cubicBezTo>
                  <a:pt x="497592" y="2983170"/>
                  <a:pt x="498418" y="2983945"/>
                  <a:pt x="499244" y="2984874"/>
                </a:cubicBezTo>
                <a:cubicBezTo>
                  <a:pt x="500070" y="2985648"/>
                  <a:pt x="500999" y="2985648"/>
                  <a:pt x="500999" y="2985648"/>
                </a:cubicBezTo>
                <a:cubicBezTo>
                  <a:pt x="501825" y="2986423"/>
                  <a:pt x="501825" y="2987197"/>
                  <a:pt x="500896" y="2988127"/>
                </a:cubicBezTo>
                <a:cubicBezTo>
                  <a:pt x="500896" y="2988127"/>
                  <a:pt x="499141" y="2987352"/>
                  <a:pt x="499141" y="2987352"/>
                </a:cubicBezTo>
                <a:cubicBezTo>
                  <a:pt x="497489" y="2985803"/>
                  <a:pt x="496662" y="2984874"/>
                  <a:pt x="495011" y="2984099"/>
                </a:cubicBezTo>
                <a:cubicBezTo>
                  <a:pt x="495940" y="2982395"/>
                  <a:pt x="496766" y="2982241"/>
                  <a:pt x="497592" y="2983170"/>
                </a:cubicBezTo>
                <a:close/>
                <a:moveTo>
                  <a:pt x="594653" y="2978833"/>
                </a:moveTo>
                <a:cubicBezTo>
                  <a:pt x="596512" y="2977903"/>
                  <a:pt x="596512" y="2977903"/>
                  <a:pt x="597441" y="2978833"/>
                </a:cubicBezTo>
                <a:cubicBezTo>
                  <a:pt x="598267" y="2979607"/>
                  <a:pt x="597131" y="2982241"/>
                  <a:pt x="598060" y="2983015"/>
                </a:cubicBezTo>
                <a:cubicBezTo>
                  <a:pt x="598060" y="2983015"/>
                  <a:pt x="598060" y="2983015"/>
                  <a:pt x="596201" y="2983945"/>
                </a:cubicBezTo>
                <a:cubicBezTo>
                  <a:pt x="595376" y="2983945"/>
                  <a:pt x="594446" y="2984099"/>
                  <a:pt x="593620" y="2983170"/>
                </a:cubicBezTo>
                <a:cubicBezTo>
                  <a:pt x="592691" y="2982395"/>
                  <a:pt x="592794" y="2980691"/>
                  <a:pt x="592897" y="2979762"/>
                </a:cubicBezTo>
                <a:cubicBezTo>
                  <a:pt x="593723" y="2979762"/>
                  <a:pt x="593827" y="2978988"/>
                  <a:pt x="594653" y="2978833"/>
                </a:cubicBezTo>
                <a:close/>
                <a:moveTo>
                  <a:pt x="358816" y="2978833"/>
                </a:moveTo>
                <a:cubicBezTo>
                  <a:pt x="358919" y="2980382"/>
                  <a:pt x="362429" y="2980847"/>
                  <a:pt x="360778" y="2982705"/>
                </a:cubicBezTo>
                <a:cubicBezTo>
                  <a:pt x="359848" y="2982086"/>
                  <a:pt x="358919" y="2980382"/>
                  <a:pt x="357989" y="2979762"/>
                </a:cubicBezTo>
                <a:cubicBezTo>
                  <a:pt x="357989" y="2979762"/>
                  <a:pt x="357989" y="2979762"/>
                  <a:pt x="358816" y="2978833"/>
                </a:cubicBezTo>
                <a:close/>
                <a:moveTo>
                  <a:pt x="263446" y="2978446"/>
                </a:moveTo>
                <a:cubicBezTo>
                  <a:pt x="266401" y="2977168"/>
                  <a:pt x="269912" y="2977516"/>
                  <a:pt x="271667" y="2979762"/>
                </a:cubicBezTo>
                <a:cubicBezTo>
                  <a:pt x="272803" y="2981156"/>
                  <a:pt x="273216" y="2983480"/>
                  <a:pt x="272080" y="2986733"/>
                </a:cubicBezTo>
                <a:cubicBezTo>
                  <a:pt x="265988" y="2986268"/>
                  <a:pt x="263097" y="2989521"/>
                  <a:pt x="258554" y="2986887"/>
                </a:cubicBezTo>
                <a:cubicBezTo>
                  <a:pt x="258089" y="2982628"/>
                  <a:pt x="260490" y="2979724"/>
                  <a:pt x="263446" y="2978446"/>
                </a:cubicBezTo>
                <a:close/>
                <a:moveTo>
                  <a:pt x="484272" y="2974496"/>
                </a:moveTo>
                <a:cubicBezTo>
                  <a:pt x="485201" y="2972792"/>
                  <a:pt x="486853" y="2973566"/>
                  <a:pt x="488505" y="2975115"/>
                </a:cubicBezTo>
                <a:cubicBezTo>
                  <a:pt x="492842" y="2977439"/>
                  <a:pt x="493565" y="2979917"/>
                  <a:pt x="490880" y="2982551"/>
                </a:cubicBezTo>
                <a:cubicBezTo>
                  <a:pt x="489951" y="2982551"/>
                  <a:pt x="487370" y="2981931"/>
                  <a:pt x="487370" y="2982705"/>
                </a:cubicBezTo>
                <a:cubicBezTo>
                  <a:pt x="485408" y="2981002"/>
                  <a:pt x="483653" y="2978678"/>
                  <a:pt x="483549" y="2976509"/>
                </a:cubicBezTo>
                <a:cubicBezTo>
                  <a:pt x="483549" y="2975890"/>
                  <a:pt x="483756" y="2975115"/>
                  <a:pt x="484272" y="2974496"/>
                </a:cubicBezTo>
                <a:close/>
                <a:moveTo>
                  <a:pt x="430682" y="2972637"/>
                </a:moveTo>
                <a:cubicBezTo>
                  <a:pt x="435948" y="2974805"/>
                  <a:pt x="441111" y="2985958"/>
                  <a:pt x="438013" y="2991534"/>
                </a:cubicBezTo>
                <a:cubicBezTo>
                  <a:pt x="436877" y="2993393"/>
                  <a:pt x="434916" y="2994632"/>
                  <a:pt x="431715" y="2994632"/>
                </a:cubicBezTo>
                <a:cubicBezTo>
                  <a:pt x="426965" y="2994323"/>
                  <a:pt x="424384" y="2992154"/>
                  <a:pt x="422938" y="2988901"/>
                </a:cubicBezTo>
                <a:lnTo>
                  <a:pt x="422834" y="2988746"/>
                </a:lnTo>
                <a:lnTo>
                  <a:pt x="422318" y="2988436"/>
                </a:lnTo>
                <a:lnTo>
                  <a:pt x="422112" y="2985648"/>
                </a:lnTo>
                <a:lnTo>
                  <a:pt x="421492" y="2983325"/>
                </a:lnTo>
                <a:cubicBezTo>
                  <a:pt x="421286" y="2981311"/>
                  <a:pt x="421286" y="2978988"/>
                  <a:pt x="421286" y="2976664"/>
                </a:cubicBezTo>
                <a:cubicBezTo>
                  <a:pt x="424796" y="2975735"/>
                  <a:pt x="427171" y="2973566"/>
                  <a:pt x="430682" y="2972637"/>
                </a:cubicBezTo>
                <a:close/>
                <a:moveTo>
                  <a:pt x="140325" y="2972637"/>
                </a:moveTo>
                <a:cubicBezTo>
                  <a:pt x="142081" y="2974341"/>
                  <a:pt x="141978" y="2975270"/>
                  <a:pt x="142804" y="2976200"/>
                </a:cubicBezTo>
                <a:cubicBezTo>
                  <a:pt x="142907" y="2975270"/>
                  <a:pt x="143733" y="2976200"/>
                  <a:pt x="143733" y="2976200"/>
                </a:cubicBezTo>
                <a:cubicBezTo>
                  <a:pt x="143733" y="2976200"/>
                  <a:pt x="143733" y="2976200"/>
                  <a:pt x="145488" y="2974805"/>
                </a:cubicBezTo>
                <a:cubicBezTo>
                  <a:pt x="145488" y="2974805"/>
                  <a:pt x="149825" y="2971862"/>
                  <a:pt x="154161" y="2975735"/>
                </a:cubicBezTo>
                <a:cubicBezTo>
                  <a:pt x="153232" y="2976355"/>
                  <a:pt x="158395" y="2981931"/>
                  <a:pt x="156640" y="2985183"/>
                </a:cubicBezTo>
                <a:cubicBezTo>
                  <a:pt x="155711" y="2986733"/>
                  <a:pt x="154885" y="2987507"/>
                  <a:pt x="153955" y="2989056"/>
                </a:cubicBezTo>
                <a:cubicBezTo>
                  <a:pt x="151374" y="2988746"/>
                  <a:pt x="148689" y="2991070"/>
                  <a:pt x="143526" y="2987197"/>
                </a:cubicBezTo>
                <a:cubicBezTo>
                  <a:pt x="138467" y="2982551"/>
                  <a:pt x="142907" y="2977903"/>
                  <a:pt x="141978" y="2977749"/>
                </a:cubicBezTo>
                <a:cubicBezTo>
                  <a:pt x="141152" y="2976819"/>
                  <a:pt x="141152" y="2976819"/>
                  <a:pt x="140222" y="2976819"/>
                </a:cubicBezTo>
                <a:cubicBezTo>
                  <a:pt x="140325" y="2975890"/>
                  <a:pt x="139396" y="2974186"/>
                  <a:pt x="138570" y="2973257"/>
                </a:cubicBezTo>
                <a:cubicBezTo>
                  <a:pt x="139499" y="2973257"/>
                  <a:pt x="140325" y="2973412"/>
                  <a:pt x="140325" y="2972637"/>
                </a:cubicBezTo>
                <a:close/>
                <a:moveTo>
                  <a:pt x="618195" y="2970314"/>
                </a:moveTo>
                <a:cubicBezTo>
                  <a:pt x="618918" y="2970158"/>
                  <a:pt x="619951" y="2970314"/>
                  <a:pt x="621086" y="2970778"/>
                </a:cubicBezTo>
                <a:cubicBezTo>
                  <a:pt x="621809" y="2970469"/>
                  <a:pt x="624184" y="2973257"/>
                  <a:pt x="623771" y="2974341"/>
                </a:cubicBezTo>
                <a:cubicBezTo>
                  <a:pt x="623358" y="2977284"/>
                  <a:pt x="620260" y="2976664"/>
                  <a:pt x="616853" y="2977129"/>
                </a:cubicBezTo>
                <a:cubicBezTo>
                  <a:pt x="617163" y="2976045"/>
                  <a:pt x="616027" y="2975425"/>
                  <a:pt x="614891" y="2974960"/>
                </a:cubicBezTo>
                <a:cubicBezTo>
                  <a:pt x="615407" y="2973412"/>
                  <a:pt x="616027" y="2970778"/>
                  <a:pt x="618195" y="2970314"/>
                </a:cubicBezTo>
                <a:close/>
                <a:moveTo>
                  <a:pt x="584018" y="2970314"/>
                </a:moveTo>
                <a:cubicBezTo>
                  <a:pt x="584430" y="2970933"/>
                  <a:pt x="585669" y="2971398"/>
                  <a:pt x="586083" y="2972172"/>
                </a:cubicBezTo>
                <a:cubicBezTo>
                  <a:pt x="585566" y="2974341"/>
                  <a:pt x="582365" y="2974031"/>
                  <a:pt x="581952" y="2973412"/>
                </a:cubicBezTo>
                <a:cubicBezTo>
                  <a:pt x="582159" y="2972172"/>
                  <a:pt x="583708" y="2971398"/>
                  <a:pt x="584018" y="2970314"/>
                </a:cubicBezTo>
                <a:close/>
                <a:moveTo>
                  <a:pt x="720006" y="2969849"/>
                </a:moveTo>
                <a:cubicBezTo>
                  <a:pt x="722381" y="2968919"/>
                  <a:pt x="724756" y="2968145"/>
                  <a:pt x="725375" y="2970314"/>
                </a:cubicBezTo>
                <a:cubicBezTo>
                  <a:pt x="725685" y="2971553"/>
                  <a:pt x="726098" y="2972637"/>
                  <a:pt x="725168" y="2974186"/>
                </a:cubicBezTo>
                <a:lnTo>
                  <a:pt x="724652" y="2974186"/>
                </a:lnTo>
                <a:lnTo>
                  <a:pt x="724859" y="2974341"/>
                </a:lnTo>
                <a:cubicBezTo>
                  <a:pt x="725375" y="2974960"/>
                  <a:pt x="725788" y="2975735"/>
                  <a:pt x="725891" y="2976664"/>
                </a:cubicBezTo>
                <a:cubicBezTo>
                  <a:pt x="725685" y="2977749"/>
                  <a:pt x="724446" y="2978523"/>
                  <a:pt x="723103" y="2979143"/>
                </a:cubicBezTo>
                <a:lnTo>
                  <a:pt x="719386" y="2980072"/>
                </a:lnTo>
                <a:lnTo>
                  <a:pt x="719490" y="2980691"/>
                </a:lnTo>
                <a:cubicBezTo>
                  <a:pt x="719490" y="2980691"/>
                  <a:pt x="719696" y="2979762"/>
                  <a:pt x="720419" y="2980691"/>
                </a:cubicBezTo>
                <a:cubicBezTo>
                  <a:pt x="719593" y="2980691"/>
                  <a:pt x="719386" y="2981466"/>
                  <a:pt x="719283" y="2982241"/>
                </a:cubicBezTo>
                <a:cubicBezTo>
                  <a:pt x="717218" y="2983945"/>
                  <a:pt x="714327" y="2985339"/>
                  <a:pt x="712778" y="2984409"/>
                </a:cubicBezTo>
                <a:cubicBezTo>
                  <a:pt x="712055" y="2983480"/>
                  <a:pt x="711952" y="2982705"/>
                  <a:pt x="712159" y="2981931"/>
                </a:cubicBezTo>
                <a:cubicBezTo>
                  <a:pt x="712365" y="2981311"/>
                  <a:pt x="712985" y="2980691"/>
                  <a:pt x="713501" y="2980227"/>
                </a:cubicBezTo>
                <a:cubicBezTo>
                  <a:pt x="714120" y="2978988"/>
                  <a:pt x="715256" y="2978368"/>
                  <a:pt x="716598" y="2978368"/>
                </a:cubicBezTo>
                <a:lnTo>
                  <a:pt x="717631" y="2978523"/>
                </a:lnTo>
                <a:lnTo>
                  <a:pt x="716908" y="2977903"/>
                </a:lnTo>
                <a:cubicBezTo>
                  <a:pt x="716598" y="2976819"/>
                  <a:pt x="716495" y="2975580"/>
                  <a:pt x="716805" y="2974496"/>
                </a:cubicBezTo>
                <a:cubicBezTo>
                  <a:pt x="716701" y="2973566"/>
                  <a:pt x="717218" y="2972792"/>
                  <a:pt x="717941" y="2972327"/>
                </a:cubicBezTo>
                <a:lnTo>
                  <a:pt x="720316" y="2971553"/>
                </a:lnTo>
                <a:close/>
                <a:moveTo>
                  <a:pt x="675812" y="2969849"/>
                </a:moveTo>
                <a:cubicBezTo>
                  <a:pt x="676432" y="2969694"/>
                  <a:pt x="676948" y="2969849"/>
                  <a:pt x="677361" y="2970314"/>
                </a:cubicBezTo>
                <a:cubicBezTo>
                  <a:pt x="675296" y="2971862"/>
                  <a:pt x="673127" y="2974960"/>
                  <a:pt x="669823" y="2973876"/>
                </a:cubicBezTo>
                <a:cubicBezTo>
                  <a:pt x="671269" y="2972792"/>
                  <a:pt x="673954" y="2970314"/>
                  <a:pt x="675812" y="2969849"/>
                </a:cubicBezTo>
                <a:close/>
                <a:moveTo>
                  <a:pt x="572350" y="2968765"/>
                </a:moveTo>
                <a:cubicBezTo>
                  <a:pt x="574311" y="2968919"/>
                  <a:pt x="573176" y="2972172"/>
                  <a:pt x="573486" y="2972947"/>
                </a:cubicBezTo>
                <a:cubicBezTo>
                  <a:pt x="573176" y="2974031"/>
                  <a:pt x="572659" y="2975115"/>
                  <a:pt x="571523" y="2974496"/>
                </a:cubicBezTo>
                <a:cubicBezTo>
                  <a:pt x="570388" y="2974031"/>
                  <a:pt x="569562" y="2974496"/>
                  <a:pt x="569562" y="2972637"/>
                </a:cubicBezTo>
                <a:cubicBezTo>
                  <a:pt x="569149" y="2971708"/>
                  <a:pt x="569562" y="2970623"/>
                  <a:pt x="569149" y="2969849"/>
                </a:cubicBezTo>
                <a:cubicBezTo>
                  <a:pt x="569149" y="2969849"/>
                  <a:pt x="569768" y="2969539"/>
                  <a:pt x="570388" y="2969074"/>
                </a:cubicBezTo>
                <a:cubicBezTo>
                  <a:pt x="571007" y="2968765"/>
                  <a:pt x="571730" y="2968455"/>
                  <a:pt x="572350" y="2968765"/>
                </a:cubicBezTo>
                <a:close/>
                <a:moveTo>
                  <a:pt x="391032" y="2968765"/>
                </a:moveTo>
                <a:cubicBezTo>
                  <a:pt x="397124" y="2971708"/>
                  <a:pt x="402286" y="2984874"/>
                  <a:pt x="401873" y="2989985"/>
                </a:cubicBezTo>
                <a:cubicBezTo>
                  <a:pt x="399705" y="2991689"/>
                  <a:pt x="397640" y="2992619"/>
                  <a:pt x="395678" y="2993084"/>
                </a:cubicBezTo>
                <a:lnTo>
                  <a:pt x="390309" y="2992773"/>
                </a:lnTo>
                <a:lnTo>
                  <a:pt x="390102" y="2993703"/>
                </a:lnTo>
                <a:cubicBezTo>
                  <a:pt x="389173" y="2996336"/>
                  <a:pt x="387624" y="2998505"/>
                  <a:pt x="385662" y="3000363"/>
                </a:cubicBezTo>
                <a:lnTo>
                  <a:pt x="381635" y="3003151"/>
                </a:lnTo>
                <a:lnTo>
                  <a:pt x="385352" y="3003926"/>
                </a:lnTo>
                <a:cubicBezTo>
                  <a:pt x="389483" y="3005475"/>
                  <a:pt x="393613" y="3008108"/>
                  <a:pt x="397640" y="3011981"/>
                </a:cubicBezTo>
                <a:cubicBezTo>
                  <a:pt x="397434" y="3017712"/>
                  <a:pt x="393096" y="3019106"/>
                  <a:pt x="388037" y="3018022"/>
                </a:cubicBezTo>
                <a:cubicBezTo>
                  <a:pt x="381635" y="3016782"/>
                  <a:pt x="374304" y="3011671"/>
                  <a:pt x="372652" y="3006559"/>
                </a:cubicBezTo>
                <a:lnTo>
                  <a:pt x="372652" y="3006095"/>
                </a:lnTo>
                <a:lnTo>
                  <a:pt x="365734" y="3005785"/>
                </a:lnTo>
                <a:cubicBezTo>
                  <a:pt x="363256" y="3005475"/>
                  <a:pt x="360674" y="3004701"/>
                  <a:pt x="358196" y="3003461"/>
                </a:cubicBezTo>
                <a:cubicBezTo>
                  <a:pt x="358299" y="3002222"/>
                  <a:pt x="358299" y="3001138"/>
                  <a:pt x="357163" y="3000983"/>
                </a:cubicBezTo>
                <a:cubicBezTo>
                  <a:pt x="356854" y="2993393"/>
                  <a:pt x="362017" y="2986733"/>
                  <a:pt x="369038" y="2983325"/>
                </a:cubicBezTo>
                <a:cubicBezTo>
                  <a:pt x="371620" y="2982086"/>
                  <a:pt x="374407" y="2981311"/>
                  <a:pt x="377298" y="2981002"/>
                </a:cubicBezTo>
                <a:lnTo>
                  <a:pt x="381532" y="2981466"/>
                </a:lnTo>
                <a:lnTo>
                  <a:pt x="381119" y="2980382"/>
                </a:lnTo>
                <a:cubicBezTo>
                  <a:pt x="380706" y="2975115"/>
                  <a:pt x="383494" y="2969849"/>
                  <a:pt x="391032" y="2968765"/>
                </a:cubicBezTo>
                <a:close/>
                <a:moveTo>
                  <a:pt x="598267" y="2967526"/>
                </a:moveTo>
                <a:cubicBezTo>
                  <a:pt x="601364" y="2970314"/>
                  <a:pt x="602087" y="2971243"/>
                  <a:pt x="599609" y="2975270"/>
                </a:cubicBezTo>
                <a:cubicBezTo>
                  <a:pt x="599609" y="2975270"/>
                  <a:pt x="598680" y="2976045"/>
                  <a:pt x="598680" y="2976045"/>
                </a:cubicBezTo>
                <a:cubicBezTo>
                  <a:pt x="595582" y="2979143"/>
                  <a:pt x="590110" y="2980537"/>
                  <a:pt x="588457" y="2979607"/>
                </a:cubicBezTo>
                <a:cubicBezTo>
                  <a:pt x="587735" y="2978678"/>
                  <a:pt x="587322" y="2977439"/>
                  <a:pt x="587425" y="2976045"/>
                </a:cubicBezTo>
                <a:cubicBezTo>
                  <a:pt x="587528" y="2974651"/>
                  <a:pt x="588251" y="2973257"/>
                  <a:pt x="589696" y="2972172"/>
                </a:cubicBezTo>
                <a:cubicBezTo>
                  <a:pt x="591865" y="2969694"/>
                  <a:pt x="595272" y="2969849"/>
                  <a:pt x="598267" y="2967526"/>
                </a:cubicBezTo>
                <a:close/>
                <a:moveTo>
                  <a:pt x="525678" y="2966751"/>
                </a:moveTo>
                <a:cubicBezTo>
                  <a:pt x="527846" y="2967061"/>
                  <a:pt x="530015" y="2968300"/>
                  <a:pt x="531873" y="2970623"/>
                </a:cubicBezTo>
                <a:cubicBezTo>
                  <a:pt x="533112" y="2975580"/>
                  <a:pt x="534351" y="2980691"/>
                  <a:pt x="528982" y="2986578"/>
                </a:cubicBezTo>
                <a:cubicBezTo>
                  <a:pt x="522270" y="2987507"/>
                  <a:pt x="517520" y="2985183"/>
                  <a:pt x="511531" y="2977903"/>
                </a:cubicBezTo>
                <a:cubicBezTo>
                  <a:pt x="511635" y="2976355"/>
                  <a:pt x="512151" y="2974805"/>
                  <a:pt x="512977" y="2973412"/>
                </a:cubicBezTo>
                <a:lnTo>
                  <a:pt x="513081" y="2973257"/>
                </a:lnTo>
                <a:lnTo>
                  <a:pt x="512771" y="2972947"/>
                </a:lnTo>
                <a:cubicBezTo>
                  <a:pt x="512564" y="2972172"/>
                  <a:pt x="512564" y="2971553"/>
                  <a:pt x="513081" y="2970933"/>
                </a:cubicBezTo>
                <a:cubicBezTo>
                  <a:pt x="513493" y="2970469"/>
                  <a:pt x="513906" y="2970469"/>
                  <a:pt x="514320" y="2970469"/>
                </a:cubicBezTo>
                <a:lnTo>
                  <a:pt x="515352" y="2970623"/>
                </a:lnTo>
                <a:lnTo>
                  <a:pt x="516281" y="2969539"/>
                </a:lnTo>
                <a:cubicBezTo>
                  <a:pt x="518966" y="2967370"/>
                  <a:pt x="522373" y="2966131"/>
                  <a:pt x="525678" y="2966751"/>
                </a:cubicBezTo>
                <a:close/>
                <a:moveTo>
                  <a:pt x="713398" y="2962414"/>
                </a:moveTo>
                <a:cubicBezTo>
                  <a:pt x="717321" y="2962724"/>
                  <a:pt x="719283" y="2964738"/>
                  <a:pt x="718044" y="2967990"/>
                </a:cubicBezTo>
                <a:cubicBezTo>
                  <a:pt x="715669" y="2967061"/>
                  <a:pt x="714533" y="2968455"/>
                  <a:pt x="712159" y="2967526"/>
                </a:cubicBezTo>
                <a:cubicBezTo>
                  <a:pt x="712985" y="2965357"/>
                  <a:pt x="712985" y="2963498"/>
                  <a:pt x="713398" y="2962414"/>
                </a:cubicBezTo>
                <a:close/>
                <a:moveTo>
                  <a:pt x="370690" y="2962220"/>
                </a:moveTo>
                <a:cubicBezTo>
                  <a:pt x="372626" y="2962724"/>
                  <a:pt x="374769" y="2964195"/>
                  <a:pt x="376886" y="2966131"/>
                </a:cubicBezTo>
                <a:cubicBezTo>
                  <a:pt x="376059" y="2966906"/>
                  <a:pt x="378641" y="2968919"/>
                  <a:pt x="379467" y="2970623"/>
                </a:cubicBezTo>
                <a:cubicBezTo>
                  <a:pt x="379363" y="2973102"/>
                  <a:pt x="379363" y="2974805"/>
                  <a:pt x="377608" y="2976355"/>
                </a:cubicBezTo>
                <a:cubicBezTo>
                  <a:pt x="375027" y="2978523"/>
                  <a:pt x="368935" y="2979607"/>
                  <a:pt x="366353" y="2976819"/>
                </a:cubicBezTo>
                <a:cubicBezTo>
                  <a:pt x="362946" y="2974031"/>
                  <a:pt x="362120" y="2971398"/>
                  <a:pt x="362120" y="2968919"/>
                </a:cubicBezTo>
                <a:cubicBezTo>
                  <a:pt x="362120" y="2968919"/>
                  <a:pt x="362120" y="2968919"/>
                  <a:pt x="362120" y="2969694"/>
                </a:cubicBezTo>
                <a:lnTo>
                  <a:pt x="360261" y="2971243"/>
                </a:lnTo>
                <a:lnTo>
                  <a:pt x="360261" y="2972637"/>
                </a:lnTo>
                <a:cubicBezTo>
                  <a:pt x="360261" y="2973566"/>
                  <a:pt x="360261" y="2974031"/>
                  <a:pt x="360261" y="2974341"/>
                </a:cubicBezTo>
                <a:cubicBezTo>
                  <a:pt x="359435" y="2974496"/>
                  <a:pt x="359435" y="2974496"/>
                  <a:pt x="359435" y="2974496"/>
                </a:cubicBezTo>
                <a:lnTo>
                  <a:pt x="359022" y="2972172"/>
                </a:lnTo>
                <a:lnTo>
                  <a:pt x="355924" y="2974651"/>
                </a:lnTo>
                <a:lnTo>
                  <a:pt x="356234" y="2976664"/>
                </a:lnTo>
                <a:lnTo>
                  <a:pt x="354685" y="2975425"/>
                </a:lnTo>
                <a:lnTo>
                  <a:pt x="352414" y="2976664"/>
                </a:lnTo>
                <a:cubicBezTo>
                  <a:pt x="351381" y="2976974"/>
                  <a:pt x="350555" y="2977129"/>
                  <a:pt x="349936" y="2976819"/>
                </a:cubicBezTo>
                <a:cubicBezTo>
                  <a:pt x="349936" y="2976045"/>
                  <a:pt x="349936" y="2975115"/>
                  <a:pt x="350761" y="2974496"/>
                </a:cubicBezTo>
                <a:cubicBezTo>
                  <a:pt x="351691" y="2973722"/>
                  <a:pt x="351691" y="2974496"/>
                  <a:pt x="351691" y="2973722"/>
                </a:cubicBezTo>
                <a:cubicBezTo>
                  <a:pt x="352621" y="2972947"/>
                  <a:pt x="351691" y="2972947"/>
                  <a:pt x="351691" y="2972947"/>
                </a:cubicBezTo>
                <a:lnTo>
                  <a:pt x="352001" y="2972947"/>
                </a:lnTo>
                <a:lnTo>
                  <a:pt x="350452" y="2969384"/>
                </a:lnTo>
                <a:cubicBezTo>
                  <a:pt x="349936" y="2967061"/>
                  <a:pt x="349729" y="2964892"/>
                  <a:pt x="347458" y="2963653"/>
                </a:cubicBezTo>
                <a:cubicBezTo>
                  <a:pt x="349110" y="2962569"/>
                  <a:pt x="349213" y="2962569"/>
                  <a:pt x="350968" y="2963189"/>
                </a:cubicBezTo>
                <a:cubicBezTo>
                  <a:pt x="351071" y="2963963"/>
                  <a:pt x="352001" y="2963808"/>
                  <a:pt x="351071" y="2964892"/>
                </a:cubicBezTo>
                <a:cubicBezTo>
                  <a:pt x="352517" y="2965512"/>
                  <a:pt x="353963" y="2967526"/>
                  <a:pt x="354995" y="2969849"/>
                </a:cubicBezTo>
                <a:lnTo>
                  <a:pt x="355098" y="2970314"/>
                </a:lnTo>
                <a:lnTo>
                  <a:pt x="355924" y="2968765"/>
                </a:lnTo>
                <a:cubicBezTo>
                  <a:pt x="356337" y="2967990"/>
                  <a:pt x="356544" y="2967526"/>
                  <a:pt x="356957" y="2966751"/>
                </a:cubicBezTo>
                <a:lnTo>
                  <a:pt x="357163" y="2966596"/>
                </a:lnTo>
                <a:lnTo>
                  <a:pt x="356957" y="2966131"/>
                </a:lnTo>
                <a:cubicBezTo>
                  <a:pt x="356751" y="2965047"/>
                  <a:pt x="356647" y="2964118"/>
                  <a:pt x="357060" y="2962879"/>
                </a:cubicBezTo>
                <a:cubicBezTo>
                  <a:pt x="357060" y="2962879"/>
                  <a:pt x="357060" y="2962879"/>
                  <a:pt x="357163" y="2963808"/>
                </a:cubicBezTo>
                <a:cubicBezTo>
                  <a:pt x="357163" y="2963808"/>
                  <a:pt x="357060" y="2962879"/>
                  <a:pt x="357886" y="2962879"/>
                </a:cubicBezTo>
                <a:lnTo>
                  <a:pt x="358816" y="2965512"/>
                </a:lnTo>
                <a:lnTo>
                  <a:pt x="359332" y="2965202"/>
                </a:lnTo>
                <a:cubicBezTo>
                  <a:pt x="360055" y="2964892"/>
                  <a:pt x="360881" y="2964427"/>
                  <a:pt x="362223" y="2963808"/>
                </a:cubicBezTo>
                <a:cubicBezTo>
                  <a:pt x="363979" y="2964738"/>
                  <a:pt x="363979" y="2964892"/>
                  <a:pt x="363979" y="2965667"/>
                </a:cubicBezTo>
                <a:cubicBezTo>
                  <a:pt x="363979" y="2964892"/>
                  <a:pt x="364804" y="2964892"/>
                  <a:pt x="365734" y="2964118"/>
                </a:cubicBezTo>
                <a:cubicBezTo>
                  <a:pt x="367024" y="2962182"/>
                  <a:pt x="368754" y="2961717"/>
                  <a:pt x="370690" y="2962220"/>
                </a:cubicBezTo>
                <a:close/>
                <a:moveTo>
                  <a:pt x="602397" y="2961485"/>
                </a:moveTo>
                <a:cubicBezTo>
                  <a:pt x="606114" y="2961175"/>
                  <a:pt x="609212" y="2966751"/>
                  <a:pt x="607560" y="2970004"/>
                </a:cubicBezTo>
                <a:cubicBezTo>
                  <a:pt x="605701" y="2966596"/>
                  <a:pt x="602707" y="2965822"/>
                  <a:pt x="602087" y="2963963"/>
                </a:cubicBezTo>
                <a:cubicBezTo>
                  <a:pt x="601881" y="2963343"/>
                  <a:pt x="601984" y="2962569"/>
                  <a:pt x="602397" y="2961485"/>
                </a:cubicBezTo>
                <a:close/>
                <a:moveTo>
                  <a:pt x="243272" y="2959626"/>
                </a:moveTo>
                <a:cubicBezTo>
                  <a:pt x="249777" y="2963653"/>
                  <a:pt x="248228" y="2961794"/>
                  <a:pt x="252771" y="2968919"/>
                </a:cubicBezTo>
                <a:lnTo>
                  <a:pt x="248125" y="2972482"/>
                </a:lnTo>
                <a:lnTo>
                  <a:pt x="249777" y="2974651"/>
                </a:lnTo>
                <a:cubicBezTo>
                  <a:pt x="250603" y="2976509"/>
                  <a:pt x="250913" y="2978678"/>
                  <a:pt x="249984" y="2980072"/>
                </a:cubicBezTo>
                <a:cubicBezTo>
                  <a:pt x="249467" y="2981002"/>
                  <a:pt x="248331" y="2981621"/>
                  <a:pt x="246679" y="2981466"/>
                </a:cubicBezTo>
                <a:cubicBezTo>
                  <a:pt x="244201" y="2981156"/>
                  <a:pt x="242859" y="2980072"/>
                  <a:pt x="242136" y="2978368"/>
                </a:cubicBezTo>
                <a:lnTo>
                  <a:pt x="242033" y="2977284"/>
                </a:lnTo>
                <a:lnTo>
                  <a:pt x="241826" y="2977284"/>
                </a:lnTo>
                <a:cubicBezTo>
                  <a:pt x="240381" y="2973876"/>
                  <a:pt x="237180" y="2971862"/>
                  <a:pt x="235631" y="2970004"/>
                </a:cubicBezTo>
                <a:cubicBezTo>
                  <a:pt x="236044" y="2965202"/>
                  <a:pt x="238006" y="2962259"/>
                  <a:pt x="243272" y="2959626"/>
                </a:cubicBezTo>
                <a:close/>
                <a:moveTo>
                  <a:pt x="452779" y="2959161"/>
                </a:moveTo>
                <a:lnTo>
                  <a:pt x="454327" y="2971553"/>
                </a:lnTo>
                <a:lnTo>
                  <a:pt x="454327" y="2971243"/>
                </a:lnTo>
                <a:cubicBezTo>
                  <a:pt x="455154" y="2969539"/>
                  <a:pt x="455980" y="2969384"/>
                  <a:pt x="458767" y="2970623"/>
                </a:cubicBezTo>
                <a:cubicBezTo>
                  <a:pt x="460626" y="2972172"/>
                  <a:pt x="462382" y="2972637"/>
                  <a:pt x="462485" y="2973566"/>
                </a:cubicBezTo>
                <a:cubicBezTo>
                  <a:pt x="463311" y="2973412"/>
                  <a:pt x="464240" y="2974031"/>
                  <a:pt x="465169" y="2974031"/>
                </a:cubicBezTo>
                <a:cubicBezTo>
                  <a:pt x="465169" y="2974031"/>
                  <a:pt x="465169" y="2974031"/>
                  <a:pt x="465169" y="2974805"/>
                </a:cubicBezTo>
                <a:cubicBezTo>
                  <a:pt x="463414" y="2974651"/>
                  <a:pt x="461453" y="2974960"/>
                  <a:pt x="459594" y="2975115"/>
                </a:cubicBezTo>
                <a:lnTo>
                  <a:pt x="454637" y="2974651"/>
                </a:lnTo>
                <a:lnTo>
                  <a:pt x="454844" y="2976200"/>
                </a:lnTo>
                <a:cubicBezTo>
                  <a:pt x="455463" y="2982086"/>
                  <a:pt x="455566" y="2987972"/>
                  <a:pt x="454018" y="2993393"/>
                </a:cubicBezTo>
                <a:cubicBezTo>
                  <a:pt x="449371" y="2989366"/>
                  <a:pt x="445241" y="2982086"/>
                  <a:pt x="444105" y="2975270"/>
                </a:cubicBezTo>
                <a:cubicBezTo>
                  <a:pt x="443899" y="2973412"/>
                  <a:pt x="443899" y="2971862"/>
                  <a:pt x="444002" y="2970158"/>
                </a:cubicBezTo>
                <a:cubicBezTo>
                  <a:pt x="444518" y="2965202"/>
                  <a:pt x="447099" y="2961020"/>
                  <a:pt x="452779" y="2959161"/>
                </a:cubicBezTo>
                <a:close/>
                <a:moveTo>
                  <a:pt x="296242" y="2959006"/>
                </a:moveTo>
                <a:cubicBezTo>
                  <a:pt x="297894" y="2961639"/>
                  <a:pt x="293455" y="2967835"/>
                  <a:pt x="290873" y="2970004"/>
                </a:cubicBezTo>
                <a:cubicBezTo>
                  <a:pt x="290460" y="2969384"/>
                  <a:pt x="290460" y="2968455"/>
                  <a:pt x="290666" y="2967526"/>
                </a:cubicBezTo>
                <a:cubicBezTo>
                  <a:pt x="291286" y="2964583"/>
                  <a:pt x="294281" y="2960710"/>
                  <a:pt x="296242" y="2959006"/>
                </a:cubicBezTo>
                <a:close/>
                <a:moveTo>
                  <a:pt x="493771" y="2957457"/>
                </a:moveTo>
                <a:cubicBezTo>
                  <a:pt x="494804" y="2958077"/>
                  <a:pt x="493771" y="2958232"/>
                  <a:pt x="493875" y="2959006"/>
                </a:cubicBezTo>
                <a:cubicBezTo>
                  <a:pt x="493358" y="2958696"/>
                  <a:pt x="493152" y="2958541"/>
                  <a:pt x="493152" y="2958232"/>
                </a:cubicBezTo>
                <a:cubicBezTo>
                  <a:pt x="493152" y="2958077"/>
                  <a:pt x="493358" y="2957922"/>
                  <a:pt x="493771" y="2957457"/>
                </a:cubicBezTo>
                <a:close/>
                <a:moveTo>
                  <a:pt x="580610" y="2956837"/>
                </a:moveTo>
                <a:cubicBezTo>
                  <a:pt x="582365" y="2959626"/>
                  <a:pt x="582469" y="2961175"/>
                  <a:pt x="581952" y="2961949"/>
                </a:cubicBezTo>
                <a:cubicBezTo>
                  <a:pt x="580713" y="2963498"/>
                  <a:pt x="575860" y="2960865"/>
                  <a:pt x="577099" y="2958696"/>
                </a:cubicBezTo>
                <a:cubicBezTo>
                  <a:pt x="577409" y="2957922"/>
                  <a:pt x="578545" y="2957302"/>
                  <a:pt x="580610" y="2956837"/>
                </a:cubicBezTo>
                <a:close/>
                <a:moveTo>
                  <a:pt x="471881" y="2956063"/>
                </a:moveTo>
                <a:cubicBezTo>
                  <a:pt x="474566" y="2957457"/>
                  <a:pt x="474772" y="2959935"/>
                  <a:pt x="474050" y="2962569"/>
                </a:cubicBezTo>
                <a:cubicBezTo>
                  <a:pt x="474979" y="2964118"/>
                  <a:pt x="476734" y="2964892"/>
                  <a:pt x="476012" y="2966596"/>
                </a:cubicBezTo>
                <a:cubicBezTo>
                  <a:pt x="474153" y="2964273"/>
                  <a:pt x="473224" y="2963653"/>
                  <a:pt x="472191" y="2962104"/>
                </a:cubicBezTo>
                <a:cubicBezTo>
                  <a:pt x="471365" y="2962104"/>
                  <a:pt x="470539" y="2962259"/>
                  <a:pt x="469610" y="2961485"/>
                </a:cubicBezTo>
                <a:cubicBezTo>
                  <a:pt x="467854" y="2960091"/>
                  <a:pt x="468577" y="2958387"/>
                  <a:pt x="467648" y="2956683"/>
                </a:cubicBezTo>
                <a:cubicBezTo>
                  <a:pt x="468474" y="2955753"/>
                  <a:pt x="470126" y="2954669"/>
                  <a:pt x="471881" y="2956063"/>
                </a:cubicBezTo>
                <a:close/>
                <a:moveTo>
                  <a:pt x="731054" y="2954979"/>
                </a:moveTo>
                <a:cubicBezTo>
                  <a:pt x="732087" y="2954979"/>
                  <a:pt x="733119" y="2955134"/>
                  <a:pt x="733946" y="2955598"/>
                </a:cubicBezTo>
                <a:cubicBezTo>
                  <a:pt x="734668" y="2956528"/>
                  <a:pt x="734565" y="2956528"/>
                  <a:pt x="735288" y="2957457"/>
                </a:cubicBezTo>
                <a:cubicBezTo>
                  <a:pt x="735081" y="2959006"/>
                  <a:pt x="735701" y="2960710"/>
                  <a:pt x="734565" y="2962414"/>
                </a:cubicBezTo>
                <a:cubicBezTo>
                  <a:pt x="732603" y="2963963"/>
                  <a:pt x="728369" y="2962724"/>
                  <a:pt x="726821" y="2961794"/>
                </a:cubicBezTo>
                <a:cubicBezTo>
                  <a:pt x="726098" y="2961020"/>
                  <a:pt x="726098" y="2959935"/>
                  <a:pt x="726408" y="2958851"/>
                </a:cubicBezTo>
                <a:cubicBezTo>
                  <a:pt x="726821" y="2957922"/>
                  <a:pt x="727647" y="2956837"/>
                  <a:pt x="728576" y="2956063"/>
                </a:cubicBezTo>
                <a:cubicBezTo>
                  <a:pt x="729196" y="2955289"/>
                  <a:pt x="730125" y="2954979"/>
                  <a:pt x="731054" y="2954979"/>
                </a:cubicBezTo>
                <a:close/>
                <a:moveTo>
                  <a:pt x="541786" y="2952810"/>
                </a:moveTo>
                <a:cubicBezTo>
                  <a:pt x="548807" y="2953120"/>
                  <a:pt x="550665" y="2961639"/>
                  <a:pt x="556448" y="2966751"/>
                </a:cubicBezTo>
                <a:cubicBezTo>
                  <a:pt x="558926" y="2967835"/>
                  <a:pt x="561198" y="2966441"/>
                  <a:pt x="563883" y="2968145"/>
                </a:cubicBezTo>
                <a:lnTo>
                  <a:pt x="564915" y="2969229"/>
                </a:lnTo>
                <a:lnTo>
                  <a:pt x="569149" y="2969074"/>
                </a:lnTo>
                <a:cubicBezTo>
                  <a:pt x="569871" y="2970623"/>
                  <a:pt x="567187" y="2973257"/>
                  <a:pt x="566257" y="2974960"/>
                </a:cubicBezTo>
                <a:cubicBezTo>
                  <a:pt x="565431" y="2974186"/>
                  <a:pt x="564605" y="2973412"/>
                  <a:pt x="564605" y="2974186"/>
                </a:cubicBezTo>
                <a:lnTo>
                  <a:pt x="563573" y="2972327"/>
                </a:lnTo>
                <a:lnTo>
                  <a:pt x="561714" y="2973257"/>
                </a:lnTo>
                <a:lnTo>
                  <a:pt x="562643" y="2974031"/>
                </a:lnTo>
                <a:cubicBezTo>
                  <a:pt x="564399" y="2976200"/>
                  <a:pt x="565844" y="2978523"/>
                  <a:pt x="567187" y="2981156"/>
                </a:cubicBezTo>
                <a:lnTo>
                  <a:pt x="569252" y="2985493"/>
                </a:lnTo>
                <a:lnTo>
                  <a:pt x="570181" y="2983635"/>
                </a:lnTo>
                <a:cubicBezTo>
                  <a:pt x="572762" y="2980072"/>
                  <a:pt x="575654" y="2980072"/>
                  <a:pt x="575860" y="2979298"/>
                </a:cubicBezTo>
                <a:cubicBezTo>
                  <a:pt x="579577" y="2980382"/>
                  <a:pt x="578958" y="2982705"/>
                  <a:pt x="579371" y="2986423"/>
                </a:cubicBezTo>
                <a:cubicBezTo>
                  <a:pt x="578132" y="2986113"/>
                  <a:pt x="577306" y="2989521"/>
                  <a:pt x="577099" y="2990605"/>
                </a:cubicBezTo>
                <a:cubicBezTo>
                  <a:pt x="575860" y="2990295"/>
                  <a:pt x="574828" y="2991070"/>
                  <a:pt x="573692" y="2991689"/>
                </a:cubicBezTo>
                <a:lnTo>
                  <a:pt x="572246" y="2992464"/>
                </a:lnTo>
                <a:lnTo>
                  <a:pt x="577409" y="3005785"/>
                </a:lnTo>
                <a:cubicBezTo>
                  <a:pt x="575964" y="3005785"/>
                  <a:pt x="574828" y="3006405"/>
                  <a:pt x="573486" y="3007024"/>
                </a:cubicBezTo>
                <a:lnTo>
                  <a:pt x="568839" y="3007489"/>
                </a:lnTo>
                <a:lnTo>
                  <a:pt x="565844" y="3011671"/>
                </a:lnTo>
                <a:cubicBezTo>
                  <a:pt x="564089" y="3012755"/>
                  <a:pt x="561818" y="3013065"/>
                  <a:pt x="558823" y="3012600"/>
                </a:cubicBezTo>
                <a:cubicBezTo>
                  <a:pt x="557997" y="3010432"/>
                  <a:pt x="557377" y="3008573"/>
                  <a:pt x="557171" y="3006869"/>
                </a:cubicBezTo>
                <a:cubicBezTo>
                  <a:pt x="556964" y="3005165"/>
                  <a:pt x="557067" y="3003771"/>
                  <a:pt x="557377" y="3002532"/>
                </a:cubicBezTo>
                <a:cubicBezTo>
                  <a:pt x="558100" y="2999899"/>
                  <a:pt x="559855" y="2998195"/>
                  <a:pt x="562333" y="2996646"/>
                </a:cubicBezTo>
                <a:lnTo>
                  <a:pt x="565328" y="2999434"/>
                </a:lnTo>
                <a:lnTo>
                  <a:pt x="560785" y="2986268"/>
                </a:lnTo>
                <a:lnTo>
                  <a:pt x="557171" y="2975270"/>
                </a:lnTo>
                <a:lnTo>
                  <a:pt x="554176" y="2976664"/>
                </a:lnTo>
                <a:cubicBezTo>
                  <a:pt x="550150" y="2977903"/>
                  <a:pt x="546122" y="2978368"/>
                  <a:pt x="542198" y="2978059"/>
                </a:cubicBezTo>
                <a:cubicBezTo>
                  <a:pt x="539617" y="2977749"/>
                  <a:pt x="536932" y="2977284"/>
                  <a:pt x="534454" y="2976355"/>
                </a:cubicBezTo>
                <a:cubicBezTo>
                  <a:pt x="534971" y="2969849"/>
                  <a:pt x="542921" y="2969539"/>
                  <a:pt x="548394" y="2967990"/>
                </a:cubicBezTo>
                <a:cubicBezTo>
                  <a:pt x="544367" y="2963189"/>
                  <a:pt x="537036" y="2956993"/>
                  <a:pt x="541786" y="2952810"/>
                </a:cubicBezTo>
                <a:close/>
                <a:moveTo>
                  <a:pt x="606321" y="2951571"/>
                </a:moveTo>
                <a:cubicBezTo>
                  <a:pt x="607973" y="2953120"/>
                  <a:pt x="609728" y="2953894"/>
                  <a:pt x="609625" y="2954824"/>
                </a:cubicBezTo>
                <a:cubicBezTo>
                  <a:pt x="610555" y="2954669"/>
                  <a:pt x="611380" y="2955444"/>
                  <a:pt x="612206" y="2955444"/>
                </a:cubicBezTo>
                <a:cubicBezTo>
                  <a:pt x="612206" y="2955444"/>
                  <a:pt x="612310" y="2955444"/>
                  <a:pt x="612206" y="2956373"/>
                </a:cubicBezTo>
                <a:cubicBezTo>
                  <a:pt x="608799" y="2955598"/>
                  <a:pt x="604256" y="2956683"/>
                  <a:pt x="601674" y="2955134"/>
                </a:cubicBezTo>
                <a:cubicBezTo>
                  <a:pt x="601261" y="2954669"/>
                  <a:pt x="600848" y="2954359"/>
                  <a:pt x="600848" y="2953740"/>
                </a:cubicBezTo>
                <a:cubicBezTo>
                  <a:pt x="600745" y="2953275"/>
                  <a:pt x="600952" y="2952656"/>
                  <a:pt x="601881" y="2951726"/>
                </a:cubicBezTo>
                <a:cubicBezTo>
                  <a:pt x="602913" y="2950022"/>
                  <a:pt x="603739" y="2950022"/>
                  <a:pt x="606321" y="2951571"/>
                </a:cubicBezTo>
                <a:close/>
                <a:moveTo>
                  <a:pt x="506885" y="2950022"/>
                </a:moveTo>
                <a:cubicBezTo>
                  <a:pt x="506782" y="2951726"/>
                  <a:pt x="510292" y="2952501"/>
                  <a:pt x="508434" y="2954204"/>
                </a:cubicBezTo>
                <a:cubicBezTo>
                  <a:pt x="507608" y="2953430"/>
                  <a:pt x="506782" y="2951726"/>
                  <a:pt x="505956" y="2950952"/>
                </a:cubicBezTo>
                <a:cubicBezTo>
                  <a:pt x="505956" y="2950952"/>
                  <a:pt x="505956" y="2950952"/>
                  <a:pt x="506885" y="2950022"/>
                </a:cubicBezTo>
                <a:close/>
                <a:moveTo>
                  <a:pt x="202279" y="2949402"/>
                </a:moveTo>
                <a:cubicBezTo>
                  <a:pt x="206306" y="2946924"/>
                  <a:pt x="212605" y="2949248"/>
                  <a:pt x="213741" y="2953585"/>
                </a:cubicBezTo>
                <a:cubicBezTo>
                  <a:pt x="214257" y="2955444"/>
                  <a:pt x="213844" y="2957767"/>
                  <a:pt x="211676" y="2960245"/>
                </a:cubicBezTo>
                <a:cubicBezTo>
                  <a:pt x="206306" y="2956837"/>
                  <a:pt x="202383" y="2958387"/>
                  <a:pt x="199285" y="2953740"/>
                </a:cubicBezTo>
                <a:cubicBezTo>
                  <a:pt x="199801" y="2951726"/>
                  <a:pt x="200937" y="2950332"/>
                  <a:pt x="202279" y="2949402"/>
                </a:cubicBezTo>
                <a:close/>
                <a:moveTo>
                  <a:pt x="719180" y="2949248"/>
                </a:moveTo>
                <a:cubicBezTo>
                  <a:pt x="719180" y="2949248"/>
                  <a:pt x="719180" y="2949248"/>
                  <a:pt x="715876" y="2954824"/>
                </a:cubicBezTo>
                <a:cubicBezTo>
                  <a:pt x="715462" y="2954514"/>
                  <a:pt x="715462" y="2954049"/>
                  <a:pt x="715669" y="2953585"/>
                </a:cubicBezTo>
                <a:cubicBezTo>
                  <a:pt x="715876" y="2953120"/>
                  <a:pt x="716289" y="2952656"/>
                  <a:pt x="716701" y="2952036"/>
                </a:cubicBezTo>
                <a:cubicBezTo>
                  <a:pt x="717528" y="2951106"/>
                  <a:pt x="718354" y="2950177"/>
                  <a:pt x="719180" y="2949248"/>
                </a:cubicBezTo>
                <a:close/>
                <a:moveTo>
                  <a:pt x="700594" y="2947079"/>
                </a:moveTo>
                <a:cubicBezTo>
                  <a:pt x="704518" y="2947544"/>
                  <a:pt x="708854" y="2947544"/>
                  <a:pt x="710713" y="2950022"/>
                </a:cubicBezTo>
                <a:lnTo>
                  <a:pt x="710713" y="2950177"/>
                </a:lnTo>
                <a:cubicBezTo>
                  <a:pt x="712262" y="2951726"/>
                  <a:pt x="712985" y="2954049"/>
                  <a:pt x="712468" y="2955908"/>
                </a:cubicBezTo>
                <a:cubicBezTo>
                  <a:pt x="712159" y="2957302"/>
                  <a:pt x="711229" y="2958387"/>
                  <a:pt x="709577" y="2959006"/>
                </a:cubicBezTo>
                <a:cubicBezTo>
                  <a:pt x="708235" y="2958696"/>
                  <a:pt x="707409" y="2958232"/>
                  <a:pt x="706893" y="2957612"/>
                </a:cubicBezTo>
                <a:lnTo>
                  <a:pt x="706479" y="2956683"/>
                </a:lnTo>
                <a:lnTo>
                  <a:pt x="703898" y="2956837"/>
                </a:lnTo>
                <a:cubicBezTo>
                  <a:pt x="701420" y="2956218"/>
                  <a:pt x="699561" y="2954204"/>
                  <a:pt x="699148" y="2951881"/>
                </a:cubicBezTo>
                <a:cubicBezTo>
                  <a:pt x="698838" y="2950332"/>
                  <a:pt x="699252" y="2948628"/>
                  <a:pt x="700594" y="2947079"/>
                </a:cubicBezTo>
                <a:close/>
                <a:moveTo>
                  <a:pt x="519689" y="2946924"/>
                </a:moveTo>
                <a:cubicBezTo>
                  <a:pt x="524645" y="2943052"/>
                  <a:pt x="528362" y="2949713"/>
                  <a:pt x="526917" y="2952656"/>
                </a:cubicBezTo>
                <a:cubicBezTo>
                  <a:pt x="523096" y="2954359"/>
                  <a:pt x="518966" y="2950332"/>
                  <a:pt x="519689" y="2946924"/>
                </a:cubicBezTo>
                <a:close/>
                <a:moveTo>
                  <a:pt x="398053" y="2945530"/>
                </a:moveTo>
                <a:cubicBezTo>
                  <a:pt x="402906" y="2943671"/>
                  <a:pt x="406107" y="2946150"/>
                  <a:pt x="406830" y="2949248"/>
                </a:cubicBezTo>
                <a:cubicBezTo>
                  <a:pt x="407656" y="2952346"/>
                  <a:pt x="406107" y="2956063"/>
                  <a:pt x="401461" y="2956993"/>
                </a:cubicBezTo>
                <a:cubicBezTo>
                  <a:pt x="398259" y="2954979"/>
                  <a:pt x="396711" y="2952656"/>
                  <a:pt x="395368" y="2951106"/>
                </a:cubicBezTo>
                <a:cubicBezTo>
                  <a:pt x="396607" y="2949248"/>
                  <a:pt x="396917" y="2947389"/>
                  <a:pt x="398053" y="2945530"/>
                </a:cubicBezTo>
                <a:close/>
                <a:moveTo>
                  <a:pt x="451953" y="2942432"/>
                </a:moveTo>
                <a:cubicBezTo>
                  <a:pt x="453501" y="2941813"/>
                  <a:pt x="455360" y="2941968"/>
                  <a:pt x="457116" y="2942432"/>
                </a:cubicBezTo>
                <a:lnTo>
                  <a:pt x="459284" y="2943826"/>
                </a:lnTo>
                <a:lnTo>
                  <a:pt x="460317" y="2943362"/>
                </a:lnTo>
                <a:cubicBezTo>
                  <a:pt x="467234" y="2948783"/>
                  <a:pt x="462691" y="2953430"/>
                  <a:pt x="457528" y="2952501"/>
                </a:cubicBezTo>
                <a:cubicBezTo>
                  <a:pt x="455877" y="2952191"/>
                  <a:pt x="454121" y="2951261"/>
                  <a:pt x="452675" y="2949557"/>
                </a:cubicBezTo>
                <a:cubicBezTo>
                  <a:pt x="452675" y="2948938"/>
                  <a:pt x="453088" y="2948163"/>
                  <a:pt x="453605" y="2947389"/>
                </a:cubicBezTo>
                <a:lnTo>
                  <a:pt x="453811" y="2947234"/>
                </a:lnTo>
                <a:lnTo>
                  <a:pt x="449475" y="2944291"/>
                </a:lnTo>
                <a:cubicBezTo>
                  <a:pt x="450094" y="2943362"/>
                  <a:pt x="450920" y="2942742"/>
                  <a:pt x="451953" y="2942432"/>
                </a:cubicBezTo>
                <a:close/>
                <a:moveTo>
                  <a:pt x="214980" y="2941813"/>
                </a:moveTo>
                <a:cubicBezTo>
                  <a:pt x="217768" y="2939799"/>
                  <a:pt x="224066" y="2942897"/>
                  <a:pt x="224892" y="2946460"/>
                </a:cubicBezTo>
                <a:cubicBezTo>
                  <a:pt x="219729" y="2943671"/>
                  <a:pt x="216116" y="2945995"/>
                  <a:pt x="214980" y="2941813"/>
                </a:cubicBezTo>
                <a:close/>
                <a:moveTo>
                  <a:pt x="642151" y="2941658"/>
                </a:moveTo>
                <a:cubicBezTo>
                  <a:pt x="643080" y="2942432"/>
                  <a:pt x="642151" y="2942432"/>
                  <a:pt x="642151" y="2943207"/>
                </a:cubicBezTo>
                <a:cubicBezTo>
                  <a:pt x="641634" y="2942742"/>
                  <a:pt x="641428" y="2942587"/>
                  <a:pt x="641428" y="2942432"/>
                </a:cubicBezTo>
                <a:cubicBezTo>
                  <a:pt x="641428" y="2942277"/>
                  <a:pt x="641634" y="2942123"/>
                  <a:pt x="642151" y="2941658"/>
                </a:cubicBezTo>
                <a:close/>
                <a:moveTo>
                  <a:pt x="411373" y="2937166"/>
                </a:moveTo>
                <a:cubicBezTo>
                  <a:pt x="414058" y="2939334"/>
                  <a:pt x="413335" y="2941813"/>
                  <a:pt x="412716" y="2944446"/>
                </a:cubicBezTo>
                <a:cubicBezTo>
                  <a:pt x="411889" y="2946150"/>
                  <a:pt x="411992" y="2947079"/>
                  <a:pt x="412922" y="2948628"/>
                </a:cubicBezTo>
                <a:cubicBezTo>
                  <a:pt x="412922" y="2948628"/>
                  <a:pt x="412922" y="2948628"/>
                  <a:pt x="411270" y="2950487"/>
                </a:cubicBezTo>
                <a:lnTo>
                  <a:pt x="410444" y="2950642"/>
                </a:lnTo>
                <a:cubicBezTo>
                  <a:pt x="410030" y="2950487"/>
                  <a:pt x="409721" y="2949867"/>
                  <a:pt x="409618" y="2948938"/>
                </a:cubicBezTo>
                <a:cubicBezTo>
                  <a:pt x="409411" y="2947544"/>
                  <a:pt x="409515" y="2945685"/>
                  <a:pt x="409618" y="2943981"/>
                </a:cubicBezTo>
                <a:cubicBezTo>
                  <a:pt x="409721" y="2942432"/>
                  <a:pt x="409927" y="2941038"/>
                  <a:pt x="409927" y="2940728"/>
                </a:cubicBezTo>
                <a:cubicBezTo>
                  <a:pt x="409927" y="2940728"/>
                  <a:pt x="409824" y="2939799"/>
                  <a:pt x="409721" y="2939024"/>
                </a:cubicBezTo>
                <a:cubicBezTo>
                  <a:pt x="410547" y="2938095"/>
                  <a:pt x="411476" y="2937940"/>
                  <a:pt x="411373" y="2937166"/>
                </a:cubicBezTo>
                <a:close/>
                <a:moveTo>
                  <a:pt x="6599153" y="2936466"/>
                </a:moveTo>
                <a:cubicBezTo>
                  <a:pt x="6607363" y="2937396"/>
                  <a:pt x="6615727" y="2941629"/>
                  <a:pt x="6618205" y="2947721"/>
                </a:cubicBezTo>
                <a:cubicBezTo>
                  <a:pt x="6610925" y="2951851"/>
                  <a:pt x="6604575" y="2954536"/>
                  <a:pt x="6598379" y="2954536"/>
                </a:cubicBezTo>
                <a:cubicBezTo>
                  <a:pt x="6592338" y="2954639"/>
                  <a:pt x="6586607" y="2952161"/>
                  <a:pt x="6580875" y="2945759"/>
                </a:cubicBezTo>
                <a:cubicBezTo>
                  <a:pt x="6582889" y="2938221"/>
                  <a:pt x="6591099" y="2935640"/>
                  <a:pt x="6599153" y="2936466"/>
                </a:cubicBezTo>
                <a:close/>
                <a:moveTo>
                  <a:pt x="300786" y="2935927"/>
                </a:moveTo>
                <a:cubicBezTo>
                  <a:pt x="302541" y="2937630"/>
                  <a:pt x="304193" y="2939489"/>
                  <a:pt x="302438" y="2941038"/>
                </a:cubicBezTo>
                <a:cubicBezTo>
                  <a:pt x="301612" y="2941813"/>
                  <a:pt x="300682" y="2942587"/>
                  <a:pt x="299030" y="2942432"/>
                </a:cubicBezTo>
                <a:cubicBezTo>
                  <a:pt x="297275" y="2940573"/>
                  <a:pt x="298204" y="2938095"/>
                  <a:pt x="297275" y="2937166"/>
                </a:cubicBezTo>
                <a:cubicBezTo>
                  <a:pt x="298204" y="2937321"/>
                  <a:pt x="299857" y="2937476"/>
                  <a:pt x="300786" y="2935927"/>
                </a:cubicBezTo>
                <a:close/>
                <a:moveTo>
                  <a:pt x="6326358" y="2934177"/>
                </a:moveTo>
                <a:lnTo>
                  <a:pt x="6309680" y="3014763"/>
                </a:lnTo>
                <a:lnTo>
                  <a:pt x="6310737" y="3013804"/>
                </a:lnTo>
                <a:cubicBezTo>
                  <a:pt x="6316158" y="3016799"/>
                  <a:pt x="6316468" y="3021084"/>
                  <a:pt x="6314609" y="3024556"/>
                </a:cubicBezTo>
                <a:lnTo>
                  <a:pt x="6312052" y="3026199"/>
                </a:lnTo>
                <a:lnTo>
                  <a:pt x="6312743" y="3029046"/>
                </a:lnTo>
                <a:lnTo>
                  <a:pt x="6321706" y="3069308"/>
                </a:lnTo>
                <a:lnTo>
                  <a:pt x="6326829" y="3065040"/>
                </a:lnTo>
                <a:cubicBezTo>
                  <a:pt x="6328749" y="3064045"/>
                  <a:pt x="6330670" y="3063760"/>
                  <a:pt x="6332591" y="3063902"/>
                </a:cubicBezTo>
                <a:cubicBezTo>
                  <a:pt x="6334512" y="3064187"/>
                  <a:pt x="6336646" y="3065040"/>
                  <a:pt x="6338567" y="3066178"/>
                </a:cubicBezTo>
                <a:lnTo>
                  <a:pt x="6344329" y="3070589"/>
                </a:lnTo>
                <a:lnTo>
                  <a:pt x="6344116" y="3067601"/>
                </a:lnTo>
                <a:lnTo>
                  <a:pt x="6348039" y="3071711"/>
                </a:lnTo>
                <a:lnTo>
                  <a:pt x="6357292" y="3060197"/>
                </a:lnTo>
                <a:lnTo>
                  <a:pt x="6357561" y="3059350"/>
                </a:lnTo>
                <a:cubicBezTo>
                  <a:pt x="6358202" y="3056362"/>
                  <a:pt x="6358202" y="3053374"/>
                  <a:pt x="6359055" y="3049675"/>
                </a:cubicBezTo>
                <a:cubicBezTo>
                  <a:pt x="6362043" y="3050244"/>
                  <a:pt x="6363537" y="3049533"/>
                  <a:pt x="6364177" y="3048110"/>
                </a:cubicBezTo>
                <a:lnTo>
                  <a:pt x="6364817" y="3042704"/>
                </a:lnTo>
                <a:lnTo>
                  <a:pt x="6363537" y="3039859"/>
                </a:lnTo>
                <a:cubicBezTo>
                  <a:pt x="6362683" y="3036729"/>
                  <a:pt x="6361830" y="3032745"/>
                  <a:pt x="6360549" y="3026770"/>
                </a:cubicBezTo>
                <a:cubicBezTo>
                  <a:pt x="6358202" y="3026770"/>
                  <a:pt x="6355854" y="3027624"/>
                  <a:pt x="6355854" y="3029046"/>
                </a:cubicBezTo>
                <a:cubicBezTo>
                  <a:pt x="6355214" y="3023925"/>
                  <a:pt x="6352866" y="3017096"/>
                  <a:pt x="6350305" y="3009698"/>
                </a:cubicBezTo>
                <a:cubicBezTo>
                  <a:pt x="6347317" y="3003011"/>
                  <a:pt x="6344116" y="2995471"/>
                  <a:pt x="6340914" y="2990349"/>
                </a:cubicBezTo>
                <a:cubicBezTo>
                  <a:pt x="6350518" y="2990349"/>
                  <a:pt x="6337073" y="2979821"/>
                  <a:pt x="6344969" y="2973135"/>
                </a:cubicBezTo>
                <a:cubicBezTo>
                  <a:pt x="6340914" y="2971712"/>
                  <a:pt x="6339420" y="2965025"/>
                  <a:pt x="6333872" y="2965737"/>
                </a:cubicBezTo>
                <a:cubicBezTo>
                  <a:pt x="6332377" y="2959050"/>
                  <a:pt x="6338567" y="2968013"/>
                  <a:pt x="6340914" y="2962038"/>
                </a:cubicBezTo>
                <a:cubicBezTo>
                  <a:pt x="6338567" y="2956062"/>
                  <a:pt x="6328322" y="2951652"/>
                  <a:pt x="6329176" y="2944966"/>
                </a:cubicBezTo>
                <a:cubicBezTo>
                  <a:pt x="6329176" y="2944966"/>
                  <a:pt x="6333872" y="2942689"/>
                  <a:pt x="6333231" y="2941978"/>
                </a:cubicBezTo>
                <a:close/>
                <a:moveTo>
                  <a:pt x="506782" y="2933913"/>
                </a:moveTo>
                <a:cubicBezTo>
                  <a:pt x="506782" y="2933913"/>
                  <a:pt x="506885" y="2933913"/>
                  <a:pt x="506782" y="2934842"/>
                </a:cubicBezTo>
                <a:cubicBezTo>
                  <a:pt x="506782" y="2934842"/>
                  <a:pt x="506782" y="2933913"/>
                  <a:pt x="507608" y="2933913"/>
                </a:cubicBezTo>
                <a:cubicBezTo>
                  <a:pt x="509983" y="2938095"/>
                  <a:pt x="508847" y="2944911"/>
                  <a:pt x="508847" y="2945685"/>
                </a:cubicBezTo>
                <a:cubicBezTo>
                  <a:pt x="507918" y="2945685"/>
                  <a:pt x="507918" y="2945685"/>
                  <a:pt x="507918" y="2945685"/>
                </a:cubicBezTo>
                <a:cubicBezTo>
                  <a:pt x="508744" y="2943207"/>
                  <a:pt x="506679" y="2940264"/>
                  <a:pt x="506369" y="2937166"/>
                </a:cubicBezTo>
                <a:cubicBezTo>
                  <a:pt x="506265" y="2936081"/>
                  <a:pt x="506369" y="2934997"/>
                  <a:pt x="506782" y="2933913"/>
                </a:cubicBezTo>
                <a:close/>
                <a:moveTo>
                  <a:pt x="500793" y="2933603"/>
                </a:moveTo>
                <a:cubicBezTo>
                  <a:pt x="500793" y="2934378"/>
                  <a:pt x="501619" y="2934378"/>
                  <a:pt x="500690" y="2935307"/>
                </a:cubicBezTo>
                <a:cubicBezTo>
                  <a:pt x="503271" y="2936856"/>
                  <a:pt x="505646" y="2944291"/>
                  <a:pt x="504614" y="2947699"/>
                </a:cubicBezTo>
                <a:cubicBezTo>
                  <a:pt x="496972" y="2942123"/>
                  <a:pt x="501516" y="2936856"/>
                  <a:pt x="497282" y="2933758"/>
                </a:cubicBezTo>
                <a:cubicBezTo>
                  <a:pt x="499038" y="2932829"/>
                  <a:pt x="499038" y="2932829"/>
                  <a:pt x="500793" y="2933603"/>
                </a:cubicBezTo>
                <a:close/>
                <a:moveTo>
                  <a:pt x="6326856" y="2931772"/>
                </a:moveTo>
                <a:lnTo>
                  <a:pt x="6326540" y="2933302"/>
                </a:lnTo>
                <a:lnTo>
                  <a:pt x="6328322" y="2933726"/>
                </a:lnTo>
                <a:close/>
                <a:moveTo>
                  <a:pt x="768330" y="2931745"/>
                </a:moveTo>
                <a:lnTo>
                  <a:pt x="769569" y="2936237"/>
                </a:lnTo>
                <a:lnTo>
                  <a:pt x="771118" y="2934842"/>
                </a:lnTo>
                <a:lnTo>
                  <a:pt x="773389" y="2934068"/>
                </a:lnTo>
                <a:lnTo>
                  <a:pt x="772563" y="2932983"/>
                </a:lnTo>
                <a:close/>
                <a:moveTo>
                  <a:pt x="328290" y="2931473"/>
                </a:moveTo>
                <a:cubicBezTo>
                  <a:pt x="329878" y="2930815"/>
                  <a:pt x="332021" y="2930505"/>
                  <a:pt x="334241" y="2931899"/>
                </a:cubicBezTo>
                <a:cubicBezTo>
                  <a:pt x="333415" y="2932829"/>
                  <a:pt x="338887" y="2937166"/>
                  <a:pt x="337338" y="2940728"/>
                </a:cubicBezTo>
                <a:cubicBezTo>
                  <a:pt x="336616" y="2942587"/>
                  <a:pt x="335790" y="2943516"/>
                  <a:pt x="335066" y="2945220"/>
                </a:cubicBezTo>
                <a:cubicBezTo>
                  <a:pt x="332485" y="2945685"/>
                  <a:pt x="330007" y="2948473"/>
                  <a:pt x="324638" y="2945840"/>
                </a:cubicBezTo>
                <a:cubicBezTo>
                  <a:pt x="319165" y="2942432"/>
                  <a:pt x="323192" y="2936856"/>
                  <a:pt x="322366" y="2937011"/>
                </a:cubicBezTo>
                <a:cubicBezTo>
                  <a:pt x="321437" y="2936237"/>
                  <a:pt x="321437" y="2936237"/>
                  <a:pt x="320508" y="2936391"/>
                </a:cubicBezTo>
                <a:cubicBezTo>
                  <a:pt x="320508" y="2935462"/>
                  <a:pt x="319578" y="2933913"/>
                  <a:pt x="318649" y="2933294"/>
                </a:cubicBezTo>
                <a:cubicBezTo>
                  <a:pt x="319578" y="2933138"/>
                  <a:pt x="320404" y="2932983"/>
                  <a:pt x="320301" y="2932209"/>
                </a:cubicBezTo>
                <a:cubicBezTo>
                  <a:pt x="322159" y="2933603"/>
                  <a:pt x="322159" y="2934378"/>
                  <a:pt x="323089" y="2935152"/>
                </a:cubicBezTo>
                <a:cubicBezTo>
                  <a:pt x="323089" y="2934378"/>
                  <a:pt x="323915" y="2934997"/>
                  <a:pt x="323915" y="2934997"/>
                </a:cubicBezTo>
                <a:cubicBezTo>
                  <a:pt x="323915" y="2934997"/>
                  <a:pt x="324018" y="2934997"/>
                  <a:pt x="325670" y="2933138"/>
                </a:cubicBezTo>
                <a:cubicBezTo>
                  <a:pt x="325670" y="2933138"/>
                  <a:pt x="326703" y="2932132"/>
                  <a:pt x="328290" y="2931473"/>
                </a:cubicBezTo>
                <a:close/>
                <a:moveTo>
                  <a:pt x="791872" y="2929731"/>
                </a:moveTo>
                <a:lnTo>
                  <a:pt x="790840" y="2930195"/>
                </a:lnTo>
                <a:lnTo>
                  <a:pt x="792285" y="2931125"/>
                </a:lnTo>
                <a:close/>
                <a:moveTo>
                  <a:pt x="441421" y="2929576"/>
                </a:moveTo>
                <a:cubicBezTo>
                  <a:pt x="448959" y="2931435"/>
                  <a:pt x="450611" y="2946305"/>
                  <a:pt x="444105" y="2946614"/>
                </a:cubicBezTo>
                <a:cubicBezTo>
                  <a:pt x="443176" y="2946770"/>
                  <a:pt x="442040" y="2946460"/>
                  <a:pt x="440801" y="2945840"/>
                </a:cubicBezTo>
                <a:cubicBezTo>
                  <a:pt x="439562" y="2944446"/>
                  <a:pt x="438530" y="2943052"/>
                  <a:pt x="437807" y="2941658"/>
                </a:cubicBezTo>
                <a:lnTo>
                  <a:pt x="436155" y="2937630"/>
                </a:lnTo>
                <a:lnTo>
                  <a:pt x="429856" y="2937940"/>
                </a:lnTo>
                <a:cubicBezTo>
                  <a:pt x="427687" y="2938095"/>
                  <a:pt x="426035" y="2937476"/>
                  <a:pt x="424899" y="2934687"/>
                </a:cubicBezTo>
                <a:cubicBezTo>
                  <a:pt x="426035" y="2933294"/>
                  <a:pt x="428100" y="2932674"/>
                  <a:pt x="430579" y="2932364"/>
                </a:cubicBezTo>
                <a:lnTo>
                  <a:pt x="437187" y="2932209"/>
                </a:lnTo>
                <a:lnTo>
                  <a:pt x="438633" y="2929886"/>
                </a:lnTo>
                <a:cubicBezTo>
                  <a:pt x="439459" y="2930815"/>
                  <a:pt x="440388" y="2930195"/>
                  <a:pt x="441421" y="2929576"/>
                </a:cubicBezTo>
                <a:close/>
                <a:moveTo>
                  <a:pt x="624700" y="2926478"/>
                </a:moveTo>
                <a:cubicBezTo>
                  <a:pt x="629553" y="2931590"/>
                  <a:pt x="632651" y="2932983"/>
                  <a:pt x="635955" y="2937476"/>
                </a:cubicBezTo>
                <a:cubicBezTo>
                  <a:pt x="635439" y="2938095"/>
                  <a:pt x="634716" y="2937785"/>
                  <a:pt x="634200" y="2938560"/>
                </a:cubicBezTo>
                <a:cubicBezTo>
                  <a:pt x="633581" y="2938869"/>
                  <a:pt x="632858" y="2938560"/>
                  <a:pt x="631928" y="2938250"/>
                </a:cubicBezTo>
                <a:cubicBezTo>
                  <a:pt x="629140" y="2936856"/>
                  <a:pt x="625630" y="2933449"/>
                  <a:pt x="625939" y="2932829"/>
                </a:cubicBezTo>
                <a:cubicBezTo>
                  <a:pt x="625217" y="2932519"/>
                  <a:pt x="625630" y="2931745"/>
                  <a:pt x="624907" y="2931280"/>
                </a:cubicBezTo>
                <a:cubicBezTo>
                  <a:pt x="624907" y="2931280"/>
                  <a:pt x="624081" y="2930970"/>
                  <a:pt x="623771" y="2929886"/>
                </a:cubicBezTo>
                <a:cubicBezTo>
                  <a:pt x="623668" y="2929266"/>
                  <a:pt x="623461" y="2928802"/>
                  <a:pt x="623565" y="2928182"/>
                </a:cubicBezTo>
                <a:cubicBezTo>
                  <a:pt x="623565" y="2927562"/>
                  <a:pt x="623874" y="2927098"/>
                  <a:pt x="624700" y="2926478"/>
                </a:cubicBezTo>
                <a:close/>
                <a:moveTo>
                  <a:pt x="361345" y="2923516"/>
                </a:moveTo>
                <a:cubicBezTo>
                  <a:pt x="364340" y="2923922"/>
                  <a:pt x="366870" y="2924774"/>
                  <a:pt x="367799" y="2925858"/>
                </a:cubicBezTo>
                <a:cubicBezTo>
                  <a:pt x="365218" y="2928027"/>
                  <a:pt x="361810" y="2926788"/>
                  <a:pt x="358299" y="2928956"/>
                </a:cubicBezTo>
                <a:cubicBezTo>
                  <a:pt x="355718" y="2927098"/>
                  <a:pt x="351278" y="2929111"/>
                  <a:pt x="347870" y="2926323"/>
                </a:cubicBezTo>
                <a:cubicBezTo>
                  <a:pt x="348800" y="2925084"/>
                  <a:pt x="350349" y="2924309"/>
                  <a:pt x="352104" y="2923845"/>
                </a:cubicBezTo>
                <a:cubicBezTo>
                  <a:pt x="354892" y="2923148"/>
                  <a:pt x="358351" y="2923109"/>
                  <a:pt x="361345" y="2923516"/>
                </a:cubicBezTo>
                <a:close/>
                <a:moveTo>
                  <a:pt x="6392830" y="2923142"/>
                </a:moveTo>
                <a:lnTo>
                  <a:pt x="6388030" y="2932955"/>
                </a:lnTo>
                <a:lnTo>
                  <a:pt x="6382036" y="2950650"/>
                </a:lnTo>
                <a:lnTo>
                  <a:pt x="6385732" y="2965025"/>
                </a:lnTo>
                <a:cubicBezTo>
                  <a:pt x="6386586" y="2970147"/>
                  <a:pt x="6388080" y="2974700"/>
                  <a:pt x="6391282" y="2979110"/>
                </a:cubicBezTo>
                <a:cubicBezTo>
                  <a:pt x="6391282" y="2980675"/>
                  <a:pt x="6388934" y="2981387"/>
                  <a:pt x="6386586" y="2982098"/>
                </a:cubicBezTo>
                <a:lnTo>
                  <a:pt x="6389609" y="2990560"/>
                </a:lnTo>
                <a:lnTo>
                  <a:pt x="6400112" y="2972399"/>
                </a:lnTo>
                <a:cubicBezTo>
                  <a:pt x="6400112" y="2968682"/>
                  <a:pt x="6399647" y="2964345"/>
                  <a:pt x="6399899" y="2960215"/>
                </a:cubicBezTo>
                <a:lnTo>
                  <a:pt x="6400211" y="2959377"/>
                </a:lnTo>
                <a:lnTo>
                  <a:pt x="6395977" y="2939701"/>
                </a:lnTo>
                <a:cubicBezTo>
                  <a:pt x="6400031" y="2938990"/>
                  <a:pt x="6396830" y="2933726"/>
                  <a:pt x="6399178" y="2933015"/>
                </a:cubicBezTo>
                <a:close/>
                <a:moveTo>
                  <a:pt x="816344" y="2920127"/>
                </a:moveTo>
                <a:lnTo>
                  <a:pt x="813866" y="2920747"/>
                </a:lnTo>
                <a:lnTo>
                  <a:pt x="814279" y="2923070"/>
                </a:lnTo>
                <a:close/>
                <a:moveTo>
                  <a:pt x="333724" y="2919198"/>
                </a:moveTo>
                <a:cubicBezTo>
                  <a:pt x="342914" y="2918113"/>
                  <a:pt x="345495" y="2922761"/>
                  <a:pt x="346631" y="2922451"/>
                </a:cubicBezTo>
                <a:cubicBezTo>
                  <a:pt x="347561" y="2926013"/>
                  <a:pt x="345186" y="2926478"/>
                  <a:pt x="341882" y="2928337"/>
                </a:cubicBezTo>
                <a:cubicBezTo>
                  <a:pt x="341572" y="2927098"/>
                  <a:pt x="337958" y="2927717"/>
                  <a:pt x="336719" y="2927872"/>
                </a:cubicBezTo>
                <a:cubicBezTo>
                  <a:pt x="336099" y="2925548"/>
                  <a:pt x="331762" y="2925704"/>
                  <a:pt x="330833" y="2922141"/>
                </a:cubicBezTo>
                <a:cubicBezTo>
                  <a:pt x="331659" y="2920747"/>
                  <a:pt x="332072" y="2919972"/>
                  <a:pt x="333724" y="2919198"/>
                </a:cubicBezTo>
                <a:close/>
                <a:moveTo>
                  <a:pt x="759140" y="2917184"/>
                </a:moveTo>
                <a:cubicBezTo>
                  <a:pt x="760069" y="2915480"/>
                  <a:pt x="761618" y="2917184"/>
                  <a:pt x="762341" y="2917959"/>
                </a:cubicBezTo>
                <a:cubicBezTo>
                  <a:pt x="759863" y="2917959"/>
                  <a:pt x="759037" y="2918888"/>
                  <a:pt x="759037" y="2918113"/>
                </a:cubicBezTo>
                <a:cubicBezTo>
                  <a:pt x="758624" y="2918113"/>
                  <a:pt x="758520" y="2917804"/>
                  <a:pt x="758520" y="2917649"/>
                </a:cubicBezTo>
                <a:cubicBezTo>
                  <a:pt x="758520" y="2917494"/>
                  <a:pt x="758727" y="2917184"/>
                  <a:pt x="759140" y="2917184"/>
                </a:cubicBezTo>
                <a:close/>
                <a:moveTo>
                  <a:pt x="749124" y="2916565"/>
                </a:moveTo>
                <a:cubicBezTo>
                  <a:pt x="751189" y="2917804"/>
                  <a:pt x="752119" y="2915015"/>
                  <a:pt x="754597" y="2917184"/>
                </a:cubicBezTo>
                <a:cubicBezTo>
                  <a:pt x="756559" y="2923845"/>
                  <a:pt x="746130" y="2936391"/>
                  <a:pt x="737766" y="2931899"/>
                </a:cubicBezTo>
                <a:cubicBezTo>
                  <a:pt x="741793" y="2927562"/>
                  <a:pt x="746026" y="2924155"/>
                  <a:pt x="749124" y="2916565"/>
                </a:cubicBezTo>
                <a:close/>
                <a:moveTo>
                  <a:pt x="670650" y="2915945"/>
                </a:moveTo>
                <a:cubicBezTo>
                  <a:pt x="671682" y="2916100"/>
                  <a:pt x="672611" y="2916874"/>
                  <a:pt x="673850" y="2917804"/>
                </a:cubicBezTo>
                <a:cubicBezTo>
                  <a:pt x="676225" y="2919662"/>
                  <a:pt x="674883" y="2922141"/>
                  <a:pt x="676432" y="2923845"/>
                </a:cubicBezTo>
                <a:cubicBezTo>
                  <a:pt x="675502" y="2924309"/>
                  <a:pt x="674263" y="2924774"/>
                  <a:pt x="672921" y="2924929"/>
                </a:cubicBezTo>
                <a:lnTo>
                  <a:pt x="670753" y="2924155"/>
                </a:lnTo>
                <a:lnTo>
                  <a:pt x="670546" y="2925394"/>
                </a:lnTo>
                <a:cubicBezTo>
                  <a:pt x="668688" y="2928027"/>
                  <a:pt x="664454" y="2929886"/>
                  <a:pt x="660530" y="2927717"/>
                </a:cubicBezTo>
                <a:cubicBezTo>
                  <a:pt x="660117" y="2926013"/>
                  <a:pt x="660221" y="2924464"/>
                  <a:pt x="660324" y="2923070"/>
                </a:cubicBezTo>
                <a:cubicBezTo>
                  <a:pt x="660427" y="2921831"/>
                  <a:pt x="660634" y="2920747"/>
                  <a:pt x="660737" y="2919817"/>
                </a:cubicBezTo>
                <a:cubicBezTo>
                  <a:pt x="663215" y="2919043"/>
                  <a:pt x="664867" y="2917959"/>
                  <a:pt x="667242" y="2917339"/>
                </a:cubicBezTo>
                <a:lnTo>
                  <a:pt x="667552" y="2917494"/>
                </a:lnTo>
                <a:lnTo>
                  <a:pt x="667655" y="2917339"/>
                </a:lnTo>
                <a:cubicBezTo>
                  <a:pt x="668791" y="2916255"/>
                  <a:pt x="669720" y="2915790"/>
                  <a:pt x="670650" y="2915945"/>
                </a:cubicBezTo>
                <a:close/>
                <a:moveTo>
                  <a:pt x="6452621" y="2915505"/>
                </a:moveTo>
                <a:cubicBezTo>
                  <a:pt x="6456184" y="2914885"/>
                  <a:pt x="6460056" y="2915298"/>
                  <a:pt x="6463464" y="2917054"/>
                </a:cubicBezTo>
                <a:cubicBezTo>
                  <a:pt x="6467956" y="2919429"/>
                  <a:pt x="6471519" y="2924178"/>
                  <a:pt x="6472138" y="2932026"/>
                </a:cubicBezTo>
                <a:cubicBezTo>
                  <a:pt x="6464548" y="2939047"/>
                  <a:pt x="6457888" y="2938324"/>
                  <a:pt x="6450763" y="2941422"/>
                </a:cubicBezTo>
                <a:cubicBezTo>
                  <a:pt x="6433724" y="2928722"/>
                  <a:pt x="6441779" y="2917363"/>
                  <a:pt x="6452621" y="2915505"/>
                </a:cubicBezTo>
                <a:close/>
                <a:moveTo>
                  <a:pt x="563057" y="2913312"/>
                </a:moveTo>
                <a:cubicBezTo>
                  <a:pt x="565535" y="2915635"/>
                  <a:pt x="564605" y="2918268"/>
                  <a:pt x="563573" y="2920747"/>
                </a:cubicBezTo>
                <a:cubicBezTo>
                  <a:pt x="562643" y="2922451"/>
                  <a:pt x="562643" y="2923380"/>
                  <a:pt x="563366" y="2924929"/>
                </a:cubicBezTo>
                <a:cubicBezTo>
                  <a:pt x="563366" y="2924929"/>
                  <a:pt x="563366" y="2924929"/>
                  <a:pt x="561611" y="2926633"/>
                </a:cubicBezTo>
                <a:lnTo>
                  <a:pt x="560785" y="2926788"/>
                </a:lnTo>
                <a:cubicBezTo>
                  <a:pt x="560372" y="2926633"/>
                  <a:pt x="560165" y="2925858"/>
                  <a:pt x="560062" y="2924929"/>
                </a:cubicBezTo>
                <a:cubicBezTo>
                  <a:pt x="559959" y="2922141"/>
                  <a:pt x="561198" y="2917339"/>
                  <a:pt x="561198" y="2916719"/>
                </a:cubicBezTo>
                <a:cubicBezTo>
                  <a:pt x="561198" y="2916719"/>
                  <a:pt x="561301" y="2915790"/>
                  <a:pt x="561301" y="2915015"/>
                </a:cubicBezTo>
                <a:cubicBezTo>
                  <a:pt x="562230" y="2914086"/>
                  <a:pt x="563057" y="2914086"/>
                  <a:pt x="563057" y="2913312"/>
                </a:cubicBezTo>
                <a:close/>
                <a:moveTo>
                  <a:pt x="387004" y="2912847"/>
                </a:moveTo>
                <a:cubicBezTo>
                  <a:pt x="389173" y="2912382"/>
                  <a:pt x="391548" y="2912847"/>
                  <a:pt x="393819" y="2913932"/>
                </a:cubicBezTo>
                <a:cubicBezTo>
                  <a:pt x="400738" y="2917494"/>
                  <a:pt x="407036" y="2927252"/>
                  <a:pt x="405281" y="2933294"/>
                </a:cubicBezTo>
                <a:cubicBezTo>
                  <a:pt x="401770" y="2936081"/>
                  <a:pt x="398259" y="2939024"/>
                  <a:pt x="394646" y="2941813"/>
                </a:cubicBezTo>
                <a:cubicBezTo>
                  <a:pt x="386179" y="2942587"/>
                  <a:pt x="379260" y="2936856"/>
                  <a:pt x="377918" y="2929731"/>
                </a:cubicBezTo>
                <a:cubicBezTo>
                  <a:pt x="377712" y="2928492"/>
                  <a:pt x="377712" y="2927252"/>
                  <a:pt x="377815" y="2926013"/>
                </a:cubicBezTo>
                <a:cubicBezTo>
                  <a:pt x="377918" y="2924774"/>
                  <a:pt x="378228" y="2923535"/>
                  <a:pt x="378641" y="2922296"/>
                </a:cubicBezTo>
                <a:cubicBezTo>
                  <a:pt x="379983" y="2918888"/>
                  <a:pt x="382668" y="2915635"/>
                  <a:pt x="387004" y="2912847"/>
                </a:cubicBezTo>
                <a:close/>
                <a:moveTo>
                  <a:pt x="549633" y="2912692"/>
                </a:moveTo>
                <a:cubicBezTo>
                  <a:pt x="552627" y="2914861"/>
                  <a:pt x="552318" y="2920592"/>
                  <a:pt x="552627" y="2925858"/>
                </a:cubicBezTo>
                <a:cubicBezTo>
                  <a:pt x="550150" y="2925704"/>
                  <a:pt x="548910" y="2925548"/>
                  <a:pt x="547052" y="2926013"/>
                </a:cubicBezTo>
                <a:cubicBezTo>
                  <a:pt x="547258" y="2922451"/>
                  <a:pt x="546432" y="2919662"/>
                  <a:pt x="546329" y="2917649"/>
                </a:cubicBezTo>
                <a:cubicBezTo>
                  <a:pt x="546226" y="2915480"/>
                  <a:pt x="546845" y="2913932"/>
                  <a:pt x="549633" y="2912692"/>
                </a:cubicBezTo>
                <a:close/>
                <a:moveTo>
                  <a:pt x="146108" y="2910834"/>
                </a:moveTo>
                <a:cubicBezTo>
                  <a:pt x="152406" y="2909130"/>
                  <a:pt x="153439" y="2916410"/>
                  <a:pt x="150961" y="2918578"/>
                </a:cubicBezTo>
                <a:cubicBezTo>
                  <a:pt x="147656" y="2918578"/>
                  <a:pt x="145488" y="2915790"/>
                  <a:pt x="145385" y="2913157"/>
                </a:cubicBezTo>
                <a:cubicBezTo>
                  <a:pt x="145385" y="2912382"/>
                  <a:pt x="145695" y="2911453"/>
                  <a:pt x="146108" y="2910834"/>
                </a:cubicBezTo>
                <a:close/>
                <a:moveTo>
                  <a:pt x="522270" y="2910679"/>
                </a:moveTo>
                <a:cubicBezTo>
                  <a:pt x="522477" y="2913776"/>
                  <a:pt x="524645" y="2915015"/>
                  <a:pt x="523922" y="2919817"/>
                </a:cubicBezTo>
                <a:cubicBezTo>
                  <a:pt x="508227" y="2922915"/>
                  <a:pt x="494288" y="2929731"/>
                  <a:pt x="481174" y="2931899"/>
                </a:cubicBezTo>
                <a:cubicBezTo>
                  <a:pt x="489228" y="2919353"/>
                  <a:pt x="507401" y="2916255"/>
                  <a:pt x="522270" y="2910679"/>
                </a:cubicBezTo>
                <a:close/>
                <a:moveTo>
                  <a:pt x="6369299" y="2910537"/>
                </a:moveTo>
                <a:lnTo>
                  <a:pt x="6373994" y="2915089"/>
                </a:lnTo>
                <a:cubicBezTo>
                  <a:pt x="6376982" y="2916796"/>
                  <a:pt x="6379970" y="2918504"/>
                  <a:pt x="6381891" y="2921918"/>
                </a:cubicBezTo>
                <a:cubicBezTo>
                  <a:pt x="6381891" y="2921064"/>
                  <a:pt x="6378689" y="2922629"/>
                  <a:pt x="6378689" y="2922629"/>
                </a:cubicBezTo>
                <a:cubicBezTo>
                  <a:pt x="6381891" y="2926328"/>
                  <a:pt x="6392775" y="2933726"/>
                  <a:pt x="6382531" y="2938279"/>
                </a:cubicBezTo>
                <a:cubicBezTo>
                  <a:pt x="6383385" y="2935291"/>
                  <a:pt x="6382744" y="2932304"/>
                  <a:pt x="6381037" y="2930027"/>
                </a:cubicBezTo>
                <a:cubicBezTo>
                  <a:pt x="6379544" y="2927751"/>
                  <a:pt x="6376342" y="2926328"/>
                  <a:pt x="6373994" y="2927893"/>
                </a:cubicBezTo>
                <a:cubicBezTo>
                  <a:pt x="6376342" y="2929316"/>
                  <a:pt x="6377942" y="2932268"/>
                  <a:pt x="6379143" y="2936162"/>
                </a:cubicBezTo>
                <a:lnTo>
                  <a:pt x="6379972" y="2940361"/>
                </a:lnTo>
                <a:lnTo>
                  <a:pt x="6380672" y="2941758"/>
                </a:lnTo>
                <a:lnTo>
                  <a:pt x="6380274" y="2941895"/>
                </a:lnTo>
                <a:lnTo>
                  <a:pt x="6381654" y="2948886"/>
                </a:lnTo>
                <a:lnTo>
                  <a:pt x="6382298" y="2945449"/>
                </a:lnTo>
                <a:cubicBezTo>
                  <a:pt x="6383228" y="2941319"/>
                  <a:pt x="6384312" y="2937911"/>
                  <a:pt x="6385242" y="2933781"/>
                </a:cubicBezTo>
                <a:lnTo>
                  <a:pt x="6390051" y="2915461"/>
                </a:lnTo>
                <a:lnTo>
                  <a:pt x="6388720" y="2911248"/>
                </a:lnTo>
                <a:lnTo>
                  <a:pt x="6386586" y="2911959"/>
                </a:lnTo>
                <a:cubicBezTo>
                  <a:pt x="6383598" y="2912813"/>
                  <a:pt x="6380611" y="2913240"/>
                  <a:pt x="6377623" y="2913097"/>
                </a:cubicBezTo>
                <a:close/>
                <a:moveTo>
                  <a:pt x="313796" y="2908975"/>
                </a:moveTo>
                <a:cubicBezTo>
                  <a:pt x="315242" y="2913932"/>
                  <a:pt x="318030" y="2919353"/>
                  <a:pt x="312454" y="2921521"/>
                </a:cubicBezTo>
                <a:cubicBezTo>
                  <a:pt x="308530" y="2920592"/>
                  <a:pt x="306568" y="2918268"/>
                  <a:pt x="306155" y="2915790"/>
                </a:cubicBezTo>
                <a:cubicBezTo>
                  <a:pt x="305742" y="2913467"/>
                  <a:pt x="306775" y="2910834"/>
                  <a:pt x="308736" y="2909594"/>
                </a:cubicBezTo>
                <a:cubicBezTo>
                  <a:pt x="310079" y="2908665"/>
                  <a:pt x="311834" y="2908355"/>
                  <a:pt x="313796" y="2908975"/>
                </a:cubicBezTo>
                <a:close/>
                <a:moveTo>
                  <a:pt x="6366525" y="2906838"/>
                </a:moveTo>
                <a:lnTo>
                  <a:pt x="6366952" y="2908403"/>
                </a:lnTo>
                <a:lnTo>
                  <a:pt x="6369086" y="2910537"/>
                </a:lnTo>
                <a:close/>
                <a:moveTo>
                  <a:pt x="231914" y="2901540"/>
                </a:moveTo>
                <a:cubicBezTo>
                  <a:pt x="232430" y="2901540"/>
                  <a:pt x="232843" y="2901540"/>
                  <a:pt x="232843" y="2901540"/>
                </a:cubicBezTo>
                <a:cubicBezTo>
                  <a:pt x="234598" y="2902469"/>
                  <a:pt x="233669" y="2904948"/>
                  <a:pt x="233669" y="2906496"/>
                </a:cubicBezTo>
                <a:cubicBezTo>
                  <a:pt x="235321" y="2907580"/>
                  <a:pt x="231811" y="2909749"/>
                  <a:pt x="233566" y="2910679"/>
                </a:cubicBezTo>
                <a:cubicBezTo>
                  <a:pt x="229952" y="2913622"/>
                  <a:pt x="234289" y="2918268"/>
                  <a:pt x="229849" y="2923535"/>
                </a:cubicBezTo>
                <a:cubicBezTo>
                  <a:pt x="229229" y="2921521"/>
                  <a:pt x="228919" y="2919508"/>
                  <a:pt x="228919" y="2917649"/>
                </a:cubicBezTo>
                <a:cubicBezTo>
                  <a:pt x="228816" y="2912382"/>
                  <a:pt x="230571" y="2908355"/>
                  <a:pt x="229332" y="2904483"/>
                </a:cubicBezTo>
                <a:cubicBezTo>
                  <a:pt x="229332" y="2904483"/>
                  <a:pt x="229229" y="2904483"/>
                  <a:pt x="231088" y="2902934"/>
                </a:cubicBezTo>
                <a:cubicBezTo>
                  <a:pt x="231088" y="2902159"/>
                  <a:pt x="231088" y="2902159"/>
                  <a:pt x="231088" y="2902159"/>
                </a:cubicBezTo>
                <a:cubicBezTo>
                  <a:pt x="231088" y="2901695"/>
                  <a:pt x="231501" y="2901540"/>
                  <a:pt x="231914" y="2901540"/>
                </a:cubicBezTo>
                <a:close/>
                <a:moveTo>
                  <a:pt x="473740" y="2899526"/>
                </a:moveTo>
                <a:lnTo>
                  <a:pt x="475082" y="2901230"/>
                </a:lnTo>
                <a:lnTo>
                  <a:pt x="475908" y="2901075"/>
                </a:lnTo>
                <a:lnTo>
                  <a:pt x="478696" y="2901230"/>
                </a:lnTo>
                <a:lnTo>
                  <a:pt x="478902" y="2900920"/>
                </a:lnTo>
                <a:cubicBezTo>
                  <a:pt x="478902" y="2900920"/>
                  <a:pt x="483446" y="2897358"/>
                  <a:pt x="487576" y="2900610"/>
                </a:cubicBezTo>
                <a:cubicBezTo>
                  <a:pt x="486647" y="2901540"/>
                  <a:pt x="491603" y="2906341"/>
                  <a:pt x="489745" y="2909749"/>
                </a:cubicBezTo>
                <a:cubicBezTo>
                  <a:pt x="488815" y="2911453"/>
                  <a:pt x="487886" y="2912382"/>
                  <a:pt x="486957" y="2914086"/>
                </a:cubicBezTo>
                <a:lnTo>
                  <a:pt x="484582" y="2914706"/>
                </a:lnTo>
                <a:lnTo>
                  <a:pt x="482723" y="2919508"/>
                </a:lnTo>
                <a:cubicBezTo>
                  <a:pt x="481897" y="2920437"/>
                  <a:pt x="478490" y="2922605"/>
                  <a:pt x="477560" y="2921831"/>
                </a:cubicBezTo>
                <a:cubicBezTo>
                  <a:pt x="476631" y="2921212"/>
                  <a:pt x="476631" y="2920282"/>
                  <a:pt x="476631" y="2919508"/>
                </a:cubicBezTo>
                <a:lnTo>
                  <a:pt x="478696" y="2914551"/>
                </a:lnTo>
                <a:lnTo>
                  <a:pt x="476631" y="2913776"/>
                </a:lnTo>
                <a:cubicBezTo>
                  <a:pt x="475392" y="2912692"/>
                  <a:pt x="474669" y="2911608"/>
                  <a:pt x="474463" y="2910679"/>
                </a:cubicBezTo>
                <a:lnTo>
                  <a:pt x="474463" y="2909439"/>
                </a:lnTo>
                <a:lnTo>
                  <a:pt x="473430" y="2909594"/>
                </a:lnTo>
                <a:lnTo>
                  <a:pt x="472088" y="2907116"/>
                </a:lnTo>
                <a:lnTo>
                  <a:pt x="470435" y="2906032"/>
                </a:lnTo>
                <a:cubicBezTo>
                  <a:pt x="470126" y="2904792"/>
                  <a:pt x="469919" y="2904018"/>
                  <a:pt x="470126" y="2903399"/>
                </a:cubicBezTo>
                <a:cubicBezTo>
                  <a:pt x="470332" y="2902779"/>
                  <a:pt x="470952" y="2902469"/>
                  <a:pt x="472191" y="2902004"/>
                </a:cubicBezTo>
                <a:lnTo>
                  <a:pt x="472707" y="2901849"/>
                </a:lnTo>
                <a:lnTo>
                  <a:pt x="471985" y="2900455"/>
                </a:lnTo>
                <a:cubicBezTo>
                  <a:pt x="472914" y="2900455"/>
                  <a:pt x="473740" y="2900301"/>
                  <a:pt x="473740" y="2899526"/>
                </a:cubicBezTo>
                <a:close/>
                <a:moveTo>
                  <a:pt x="636988" y="2898906"/>
                </a:moveTo>
                <a:lnTo>
                  <a:pt x="635232" y="2902469"/>
                </a:lnTo>
                <a:lnTo>
                  <a:pt x="633477" y="2903399"/>
                </a:lnTo>
                <a:lnTo>
                  <a:pt x="639053" y="2904328"/>
                </a:lnTo>
                <a:lnTo>
                  <a:pt x="637814" y="2903244"/>
                </a:lnTo>
                <a:cubicBezTo>
                  <a:pt x="637917" y="2902314"/>
                  <a:pt x="638330" y="2901695"/>
                  <a:pt x="638950" y="2901075"/>
                </a:cubicBezTo>
                <a:lnTo>
                  <a:pt x="640086" y="2900301"/>
                </a:lnTo>
                <a:lnTo>
                  <a:pt x="637917" y="2899526"/>
                </a:lnTo>
                <a:close/>
                <a:moveTo>
                  <a:pt x="679426" y="2898751"/>
                </a:moveTo>
                <a:cubicBezTo>
                  <a:pt x="680665" y="2900610"/>
                  <a:pt x="681182" y="2902314"/>
                  <a:pt x="682524" y="2904173"/>
                </a:cubicBezTo>
                <a:cubicBezTo>
                  <a:pt x="680046" y="2907116"/>
                  <a:pt x="677877" y="2905102"/>
                  <a:pt x="675709" y="2903244"/>
                </a:cubicBezTo>
                <a:cubicBezTo>
                  <a:pt x="676948" y="2901695"/>
                  <a:pt x="676432" y="2899990"/>
                  <a:pt x="679426" y="2898751"/>
                </a:cubicBezTo>
                <a:close/>
                <a:moveTo>
                  <a:pt x="6528482" y="2885548"/>
                </a:moveTo>
                <a:cubicBezTo>
                  <a:pt x="6531463" y="2884915"/>
                  <a:pt x="6533554" y="2886438"/>
                  <a:pt x="6534716" y="2888865"/>
                </a:cubicBezTo>
                <a:cubicBezTo>
                  <a:pt x="6537349" y="2894131"/>
                  <a:pt x="6535646" y="2903734"/>
                  <a:pt x="6529760" y="2904043"/>
                </a:cubicBezTo>
                <a:cubicBezTo>
                  <a:pt x="6528830" y="2904147"/>
                  <a:pt x="6527901" y="2903940"/>
                  <a:pt x="6526971" y="2903630"/>
                </a:cubicBezTo>
                <a:cubicBezTo>
                  <a:pt x="6524183" y="2902598"/>
                  <a:pt x="6520776" y="2900016"/>
                  <a:pt x="6516903" y="2895163"/>
                </a:cubicBezTo>
                <a:cubicBezTo>
                  <a:pt x="6521627" y="2888968"/>
                  <a:pt x="6525500" y="2886180"/>
                  <a:pt x="6528482" y="2885548"/>
                </a:cubicBezTo>
                <a:close/>
                <a:moveTo>
                  <a:pt x="696464" y="2885430"/>
                </a:moveTo>
                <a:cubicBezTo>
                  <a:pt x="698012" y="2884966"/>
                  <a:pt x="699871" y="2884811"/>
                  <a:pt x="702349" y="2885585"/>
                </a:cubicBezTo>
                <a:cubicBezTo>
                  <a:pt x="707822" y="2887134"/>
                  <a:pt x="713191" y="2890542"/>
                  <a:pt x="710816" y="2898906"/>
                </a:cubicBezTo>
                <a:cubicBezTo>
                  <a:pt x="710816" y="2900765"/>
                  <a:pt x="710403" y="2899990"/>
                  <a:pt x="710093" y="2901075"/>
                </a:cubicBezTo>
                <a:cubicBezTo>
                  <a:pt x="709680" y="2902159"/>
                  <a:pt x="709577" y="2904018"/>
                  <a:pt x="709990" y="2904792"/>
                </a:cubicBezTo>
                <a:cubicBezTo>
                  <a:pt x="705654" y="2903709"/>
                  <a:pt x="705240" y="2906496"/>
                  <a:pt x="698632" y="2904483"/>
                </a:cubicBezTo>
                <a:cubicBezTo>
                  <a:pt x="692127" y="2902779"/>
                  <a:pt x="689958" y="2899061"/>
                  <a:pt x="689545" y="2895499"/>
                </a:cubicBezTo>
                <a:cubicBezTo>
                  <a:pt x="689442" y="2894415"/>
                  <a:pt x="689545" y="2893176"/>
                  <a:pt x="689752" y="2892246"/>
                </a:cubicBezTo>
                <a:cubicBezTo>
                  <a:pt x="690578" y="2892556"/>
                  <a:pt x="691817" y="2887134"/>
                  <a:pt x="696464" y="2885430"/>
                </a:cubicBezTo>
                <a:close/>
                <a:moveTo>
                  <a:pt x="418807" y="2885430"/>
                </a:moveTo>
                <a:cubicBezTo>
                  <a:pt x="431508" y="2893640"/>
                  <a:pt x="452159" y="2907891"/>
                  <a:pt x="457735" y="2921831"/>
                </a:cubicBezTo>
                <a:cubicBezTo>
                  <a:pt x="441937" y="2931435"/>
                  <a:pt x="421182" y="2897358"/>
                  <a:pt x="418807" y="2885430"/>
                </a:cubicBezTo>
                <a:close/>
                <a:moveTo>
                  <a:pt x="631722" y="2882178"/>
                </a:moveTo>
                <a:cubicBezTo>
                  <a:pt x="644525" y="2885276"/>
                  <a:pt x="655161" y="2899061"/>
                  <a:pt x="659601" y="2907735"/>
                </a:cubicBezTo>
                <a:lnTo>
                  <a:pt x="645868" y="2902624"/>
                </a:lnTo>
                <a:cubicBezTo>
                  <a:pt x="646488" y="2904948"/>
                  <a:pt x="644835" y="2905722"/>
                  <a:pt x="644835" y="2905722"/>
                </a:cubicBezTo>
                <a:lnTo>
                  <a:pt x="643906" y="2905722"/>
                </a:lnTo>
                <a:lnTo>
                  <a:pt x="645764" y="2907116"/>
                </a:lnTo>
                <a:cubicBezTo>
                  <a:pt x="646591" y="2908200"/>
                  <a:pt x="646900" y="2909594"/>
                  <a:pt x="646900" y="2911298"/>
                </a:cubicBezTo>
                <a:lnTo>
                  <a:pt x="646281" y="2911608"/>
                </a:lnTo>
                <a:lnTo>
                  <a:pt x="646797" y="2911763"/>
                </a:lnTo>
                <a:lnTo>
                  <a:pt x="646797" y="2912072"/>
                </a:lnTo>
                <a:lnTo>
                  <a:pt x="648862" y="2912072"/>
                </a:lnTo>
                <a:cubicBezTo>
                  <a:pt x="652270" y="2913002"/>
                  <a:pt x="655677" y="2915171"/>
                  <a:pt x="658982" y="2919043"/>
                </a:cubicBezTo>
                <a:lnTo>
                  <a:pt x="657742" y="2921986"/>
                </a:lnTo>
                <a:lnTo>
                  <a:pt x="658052" y="2921831"/>
                </a:lnTo>
                <a:cubicBezTo>
                  <a:pt x="658052" y="2921831"/>
                  <a:pt x="657639" y="2922605"/>
                  <a:pt x="657639" y="2922605"/>
                </a:cubicBezTo>
                <a:lnTo>
                  <a:pt x="657432" y="2922605"/>
                </a:lnTo>
                <a:lnTo>
                  <a:pt x="657949" y="2923690"/>
                </a:lnTo>
                <a:lnTo>
                  <a:pt x="656297" y="2925084"/>
                </a:lnTo>
                <a:lnTo>
                  <a:pt x="655574" y="2926633"/>
                </a:lnTo>
                <a:cubicBezTo>
                  <a:pt x="651134" y="2933449"/>
                  <a:pt x="643596" y="2937011"/>
                  <a:pt x="636575" y="2934223"/>
                </a:cubicBezTo>
                <a:cubicBezTo>
                  <a:pt x="630999" y="2931125"/>
                  <a:pt x="629450" y="2926633"/>
                  <a:pt x="630380" y="2922296"/>
                </a:cubicBezTo>
                <a:cubicBezTo>
                  <a:pt x="630792" y="2920127"/>
                  <a:pt x="631928" y="2918113"/>
                  <a:pt x="633477" y="2916410"/>
                </a:cubicBezTo>
                <a:lnTo>
                  <a:pt x="634923" y="2915325"/>
                </a:lnTo>
                <a:lnTo>
                  <a:pt x="634406" y="2911453"/>
                </a:lnTo>
                <a:lnTo>
                  <a:pt x="635232" y="2911143"/>
                </a:lnTo>
                <a:lnTo>
                  <a:pt x="633787" y="2909749"/>
                </a:lnTo>
                <a:lnTo>
                  <a:pt x="632961" y="2903709"/>
                </a:lnTo>
                <a:lnTo>
                  <a:pt x="632548" y="2904018"/>
                </a:lnTo>
                <a:cubicBezTo>
                  <a:pt x="631412" y="2904483"/>
                  <a:pt x="630380" y="2904792"/>
                  <a:pt x="629967" y="2904328"/>
                </a:cubicBezTo>
                <a:cubicBezTo>
                  <a:pt x="629140" y="2903553"/>
                  <a:pt x="629140" y="2902779"/>
                  <a:pt x="629244" y="2901849"/>
                </a:cubicBezTo>
                <a:cubicBezTo>
                  <a:pt x="630173" y="2900146"/>
                  <a:pt x="631102" y="2898442"/>
                  <a:pt x="632031" y="2896738"/>
                </a:cubicBezTo>
                <a:lnTo>
                  <a:pt x="632754" y="2896118"/>
                </a:lnTo>
                <a:lnTo>
                  <a:pt x="627695" y="2892866"/>
                </a:lnTo>
                <a:lnTo>
                  <a:pt x="624391" y="2889458"/>
                </a:lnTo>
                <a:cubicBezTo>
                  <a:pt x="622326" y="2891007"/>
                  <a:pt x="619951" y="2889148"/>
                  <a:pt x="620054" y="2888219"/>
                </a:cubicBezTo>
                <a:lnTo>
                  <a:pt x="622532" y="2887289"/>
                </a:lnTo>
                <a:lnTo>
                  <a:pt x="618402" y="2882952"/>
                </a:lnTo>
                <a:cubicBezTo>
                  <a:pt x="622945" y="2881093"/>
                  <a:pt x="627488" y="2881093"/>
                  <a:pt x="631722" y="2882178"/>
                </a:cubicBezTo>
                <a:close/>
                <a:moveTo>
                  <a:pt x="473533" y="2881403"/>
                </a:moveTo>
                <a:cubicBezTo>
                  <a:pt x="475392" y="2883572"/>
                  <a:pt x="471571" y="2890697"/>
                  <a:pt x="469093" y="2893485"/>
                </a:cubicBezTo>
                <a:cubicBezTo>
                  <a:pt x="468680" y="2893020"/>
                  <a:pt x="468577" y="2892091"/>
                  <a:pt x="468784" y="2891007"/>
                </a:cubicBezTo>
                <a:cubicBezTo>
                  <a:pt x="469196" y="2888064"/>
                  <a:pt x="471778" y="2883572"/>
                  <a:pt x="473533" y="2881403"/>
                </a:cubicBezTo>
                <a:close/>
                <a:moveTo>
                  <a:pt x="445241" y="2881403"/>
                </a:moveTo>
                <a:cubicBezTo>
                  <a:pt x="447099" y="2883881"/>
                  <a:pt x="446996" y="2888064"/>
                  <a:pt x="443073" y="2891162"/>
                </a:cubicBezTo>
                <a:cubicBezTo>
                  <a:pt x="439459" y="2890852"/>
                  <a:pt x="437291" y="2889613"/>
                  <a:pt x="435535" y="2888838"/>
                </a:cubicBezTo>
                <a:cubicBezTo>
                  <a:pt x="435845" y="2886515"/>
                  <a:pt x="435535" y="2884656"/>
                  <a:pt x="435948" y="2882333"/>
                </a:cubicBezTo>
                <a:cubicBezTo>
                  <a:pt x="439665" y="2878305"/>
                  <a:pt x="443383" y="2879080"/>
                  <a:pt x="445241" y="2881403"/>
                </a:cubicBezTo>
                <a:close/>
                <a:moveTo>
                  <a:pt x="641221" y="2881093"/>
                </a:moveTo>
                <a:cubicBezTo>
                  <a:pt x="646694" y="2883572"/>
                  <a:pt x="653405" y="2884811"/>
                  <a:pt x="658156" y="2888993"/>
                </a:cubicBezTo>
                <a:cubicBezTo>
                  <a:pt x="652580" y="2891316"/>
                  <a:pt x="640912" y="2889303"/>
                  <a:pt x="641221" y="2881093"/>
                </a:cubicBezTo>
                <a:close/>
                <a:moveTo>
                  <a:pt x="561714" y="2880319"/>
                </a:moveTo>
                <a:cubicBezTo>
                  <a:pt x="563263" y="2881248"/>
                  <a:pt x="565225" y="2881558"/>
                  <a:pt x="566670" y="2882487"/>
                </a:cubicBezTo>
                <a:cubicBezTo>
                  <a:pt x="570078" y="2890387"/>
                  <a:pt x="566877" y="2890387"/>
                  <a:pt x="562850" y="2891626"/>
                </a:cubicBezTo>
                <a:cubicBezTo>
                  <a:pt x="561818" y="2890077"/>
                  <a:pt x="559132" y="2889303"/>
                  <a:pt x="558513" y="2886979"/>
                </a:cubicBezTo>
                <a:cubicBezTo>
                  <a:pt x="558513" y="2886979"/>
                  <a:pt x="558410" y="2886670"/>
                  <a:pt x="558513" y="2886205"/>
                </a:cubicBezTo>
                <a:cubicBezTo>
                  <a:pt x="558513" y="2885740"/>
                  <a:pt x="558617" y="2885121"/>
                  <a:pt x="559029" y="2884347"/>
                </a:cubicBezTo>
                <a:cubicBezTo>
                  <a:pt x="558926" y="2881403"/>
                  <a:pt x="562437" y="2880783"/>
                  <a:pt x="562437" y="2880783"/>
                </a:cubicBezTo>
                <a:cubicBezTo>
                  <a:pt x="562437" y="2880783"/>
                  <a:pt x="562437" y="2880783"/>
                  <a:pt x="561714" y="2880319"/>
                </a:cubicBezTo>
                <a:close/>
                <a:moveTo>
                  <a:pt x="399602" y="2878305"/>
                </a:moveTo>
                <a:cubicBezTo>
                  <a:pt x="408275" y="2877066"/>
                  <a:pt x="420460" y="2892711"/>
                  <a:pt x="413748" y="2899990"/>
                </a:cubicBezTo>
                <a:cubicBezTo>
                  <a:pt x="409411" y="2891626"/>
                  <a:pt x="402390" y="2888838"/>
                  <a:pt x="399602" y="2878305"/>
                </a:cubicBezTo>
                <a:close/>
                <a:moveTo>
                  <a:pt x="738592" y="2878150"/>
                </a:moveTo>
                <a:cubicBezTo>
                  <a:pt x="739315" y="2877686"/>
                  <a:pt x="740244" y="2877686"/>
                  <a:pt x="741380" y="2878305"/>
                </a:cubicBezTo>
                <a:cubicBezTo>
                  <a:pt x="741277" y="2879389"/>
                  <a:pt x="741896" y="2881248"/>
                  <a:pt x="741173" y="2882952"/>
                </a:cubicBezTo>
                <a:cubicBezTo>
                  <a:pt x="738902" y="2883572"/>
                  <a:pt x="737766" y="2882642"/>
                  <a:pt x="737353" y="2881558"/>
                </a:cubicBezTo>
                <a:cubicBezTo>
                  <a:pt x="737043" y="2880319"/>
                  <a:pt x="737560" y="2878925"/>
                  <a:pt x="738592" y="2878150"/>
                </a:cubicBezTo>
                <a:close/>
                <a:moveTo>
                  <a:pt x="499451" y="2876756"/>
                </a:moveTo>
                <a:cubicBezTo>
                  <a:pt x="501412" y="2876756"/>
                  <a:pt x="500586" y="2880164"/>
                  <a:pt x="501103" y="2880938"/>
                </a:cubicBezTo>
                <a:cubicBezTo>
                  <a:pt x="500793" y="2882023"/>
                  <a:pt x="500483" y="2883107"/>
                  <a:pt x="499347" y="2882797"/>
                </a:cubicBezTo>
                <a:cubicBezTo>
                  <a:pt x="498108" y="2882487"/>
                  <a:pt x="497385" y="2882797"/>
                  <a:pt x="497179" y="2880938"/>
                </a:cubicBezTo>
                <a:cubicBezTo>
                  <a:pt x="496766" y="2880164"/>
                  <a:pt x="496972" y="2879080"/>
                  <a:pt x="496456" y="2878305"/>
                </a:cubicBezTo>
                <a:cubicBezTo>
                  <a:pt x="496456" y="2878305"/>
                  <a:pt x="496972" y="2877840"/>
                  <a:pt x="497489" y="2877531"/>
                </a:cubicBezTo>
                <a:cubicBezTo>
                  <a:pt x="498108" y="2877066"/>
                  <a:pt x="498831" y="2876602"/>
                  <a:pt x="499451" y="2876756"/>
                </a:cubicBezTo>
                <a:close/>
                <a:moveTo>
                  <a:pt x="870140" y="2875517"/>
                </a:moveTo>
                <a:lnTo>
                  <a:pt x="869830" y="2877840"/>
                </a:lnTo>
                <a:lnTo>
                  <a:pt x="869830" y="2877995"/>
                </a:lnTo>
                <a:lnTo>
                  <a:pt x="870347" y="2877221"/>
                </a:lnTo>
                <a:close/>
                <a:moveTo>
                  <a:pt x="539617" y="2875362"/>
                </a:moveTo>
                <a:lnTo>
                  <a:pt x="539617" y="2875982"/>
                </a:lnTo>
                <a:lnTo>
                  <a:pt x="539824" y="2875982"/>
                </a:lnTo>
                <a:close/>
                <a:moveTo>
                  <a:pt x="597234" y="2871800"/>
                </a:moveTo>
                <a:cubicBezTo>
                  <a:pt x="601571" y="2871955"/>
                  <a:pt x="604462" y="2875052"/>
                  <a:pt x="606321" y="2878925"/>
                </a:cubicBezTo>
                <a:lnTo>
                  <a:pt x="608592" y="2890077"/>
                </a:lnTo>
                <a:lnTo>
                  <a:pt x="611174" y="2890077"/>
                </a:lnTo>
                <a:cubicBezTo>
                  <a:pt x="612310" y="2891471"/>
                  <a:pt x="612310" y="2892556"/>
                  <a:pt x="611794" y="2893795"/>
                </a:cubicBezTo>
                <a:lnTo>
                  <a:pt x="610555" y="2895499"/>
                </a:lnTo>
                <a:lnTo>
                  <a:pt x="615717" y="2895963"/>
                </a:lnTo>
                <a:cubicBezTo>
                  <a:pt x="613962" y="2897977"/>
                  <a:pt x="611380" y="2898442"/>
                  <a:pt x="609935" y="2901230"/>
                </a:cubicBezTo>
                <a:lnTo>
                  <a:pt x="609419" y="2903553"/>
                </a:lnTo>
                <a:lnTo>
                  <a:pt x="613755" y="2909904"/>
                </a:lnTo>
                <a:lnTo>
                  <a:pt x="613858" y="2909130"/>
                </a:lnTo>
                <a:cubicBezTo>
                  <a:pt x="614581" y="2908045"/>
                  <a:pt x="615717" y="2907271"/>
                  <a:pt x="617266" y="2906806"/>
                </a:cubicBezTo>
                <a:cubicBezTo>
                  <a:pt x="619331" y="2906341"/>
                  <a:pt x="622119" y="2906496"/>
                  <a:pt x="625423" y="2907891"/>
                </a:cubicBezTo>
                <a:cubicBezTo>
                  <a:pt x="628108" y="2911453"/>
                  <a:pt x="626146" y="2918733"/>
                  <a:pt x="622635" y="2919198"/>
                </a:cubicBezTo>
                <a:cubicBezTo>
                  <a:pt x="619744" y="2918578"/>
                  <a:pt x="617472" y="2917494"/>
                  <a:pt x="615924" y="2916410"/>
                </a:cubicBezTo>
                <a:lnTo>
                  <a:pt x="613858" y="2913622"/>
                </a:lnTo>
                <a:lnTo>
                  <a:pt x="611277" y="2917649"/>
                </a:lnTo>
                <a:lnTo>
                  <a:pt x="610141" y="2918268"/>
                </a:lnTo>
                <a:lnTo>
                  <a:pt x="611277" y="2918733"/>
                </a:lnTo>
                <a:cubicBezTo>
                  <a:pt x="615614" y="2921676"/>
                  <a:pt x="619021" y="2927717"/>
                  <a:pt x="618712" y="2931280"/>
                </a:cubicBezTo>
                <a:lnTo>
                  <a:pt x="616233" y="2932983"/>
                </a:lnTo>
                <a:lnTo>
                  <a:pt x="616750" y="2933913"/>
                </a:lnTo>
                <a:lnTo>
                  <a:pt x="617886" y="2937630"/>
                </a:lnTo>
                <a:lnTo>
                  <a:pt x="618402" y="2937321"/>
                </a:lnTo>
                <a:cubicBezTo>
                  <a:pt x="619124" y="2937166"/>
                  <a:pt x="619951" y="2937476"/>
                  <a:pt x="620777" y="2938250"/>
                </a:cubicBezTo>
                <a:cubicBezTo>
                  <a:pt x="623255" y="2939799"/>
                  <a:pt x="623152" y="2942432"/>
                  <a:pt x="622119" y="2944911"/>
                </a:cubicBezTo>
                <a:cubicBezTo>
                  <a:pt x="622945" y="2946614"/>
                  <a:pt x="624597" y="2947389"/>
                  <a:pt x="623668" y="2949093"/>
                </a:cubicBezTo>
                <a:cubicBezTo>
                  <a:pt x="622016" y="2946614"/>
                  <a:pt x="621293" y="2945840"/>
                  <a:pt x="620467" y="2944136"/>
                </a:cubicBezTo>
                <a:cubicBezTo>
                  <a:pt x="619641" y="2944136"/>
                  <a:pt x="618815" y="2944136"/>
                  <a:pt x="617989" y="2943362"/>
                </a:cubicBezTo>
                <a:lnTo>
                  <a:pt x="617266" y="2941813"/>
                </a:lnTo>
                <a:lnTo>
                  <a:pt x="616130" y="2942123"/>
                </a:lnTo>
                <a:cubicBezTo>
                  <a:pt x="615407" y="2942432"/>
                  <a:pt x="614685" y="2942742"/>
                  <a:pt x="613858" y="2943362"/>
                </a:cubicBezTo>
                <a:cubicBezTo>
                  <a:pt x="613342" y="2940728"/>
                  <a:pt x="612413" y="2938869"/>
                  <a:pt x="611690" y="2937166"/>
                </a:cubicBezTo>
                <a:lnTo>
                  <a:pt x="611277" y="2934533"/>
                </a:lnTo>
                <a:lnTo>
                  <a:pt x="610967" y="2934533"/>
                </a:lnTo>
                <a:cubicBezTo>
                  <a:pt x="609212" y="2934223"/>
                  <a:pt x="607663" y="2933294"/>
                  <a:pt x="606321" y="2932054"/>
                </a:cubicBezTo>
                <a:lnTo>
                  <a:pt x="605495" y="2930660"/>
                </a:lnTo>
                <a:cubicBezTo>
                  <a:pt x="603017" y="2932519"/>
                  <a:pt x="598680" y="2932519"/>
                  <a:pt x="595376" y="2928956"/>
                </a:cubicBezTo>
                <a:cubicBezTo>
                  <a:pt x="595479" y="2925394"/>
                  <a:pt x="596821" y="2923225"/>
                  <a:pt x="597441" y="2921521"/>
                </a:cubicBezTo>
                <a:lnTo>
                  <a:pt x="603429" y="2921676"/>
                </a:lnTo>
                <a:lnTo>
                  <a:pt x="604462" y="2920282"/>
                </a:lnTo>
                <a:lnTo>
                  <a:pt x="599919" y="2920127"/>
                </a:lnTo>
                <a:cubicBezTo>
                  <a:pt x="597751" y="2919662"/>
                  <a:pt x="595479" y="2918888"/>
                  <a:pt x="593311" y="2917649"/>
                </a:cubicBezTo>
                <a:cubicBezTo>
                  <a:pt x="582365" y="2912072"/>
                  <a:pt x="571730" y="2898906"/>
                  <a:pt x="571936" y="2888373"/>
                </a:cubicBezTo>
                <a:cubicBezTo>
                  <a:pt x="571936" y="2884966"/>
                  <a:pt x="573279" y="2881713"/>
                  <a:pt x="576170" y="2879234"/>
                </a:cubicBezTo>
                <a:cubicBezTo>
                  <a:pt x="579784" y="2880474"/>
                  <a:pt x="583295" y="2882023"/>
                  <a:pt x="586909" y="2883726"/>
                </a:cubicBezTo>
                <a:lnTo>
                  <a:pt x="596924" y="2890232"/>
                </a:lnTo>
                <a:lnTo>
                  <a:pt x="596098" y="2887134"/>
                </a:lnTo>
                <a:cubicBezTo>
                  <a:pt x="595789" y="2885121"/>
                  <a:pt x="595789" y="2883417"/>
                  <a:pt x="595892" y="2881868"/>
                </a:cubicBezTo>
                <a:cubicBezTo>
                  <a:pt x="598060" y="2882952"/>
                  <a:pt x="599816" y="2884347"/>
                  <a:pt x="601364" y="2886050"/>
                </a:cubicBezTo>
                <a:lnTo>
                  <a:pt x="604359" y="2890697"/>
                </a:lnTo>
                <a:lnTo>
                  <a:pt x="606940" y="2890232"/>
                </a:lnTo>
                <a:lnTo>
                  <a:pt x="603223" y="2887754"/>
                </a:lnTo>
                <a:cubicBezTo>
                  <a:pt x="598887" y="2883572"/>
                  <a:pt x="598060" y="2877686"/>
                  <a:pt x="597234" y="2871800"/>
                </a:cubicBezTo>
                <a:close/>
                <a:moveTo>
                  <a:pt x="6489028" y="2869990"/>
                </a:moveTo>
                <a:cubicBezTo>
                  <a:pt x="6492656" y="2870844"/>
                  <a:pt x="6495857" y="2873973"/>
                  <a:pt x="6499058" y="2878810"/>
                </a:cubicBezTo>
                <a:cubicBezTo>
                  <a:pt x="6496711" y="2882082"/>
                  <a:pt x="6496283" y="2885497"/>
                  <a:pt x="6493723" y="2890618"/>
                </a:cubicBezTo>
                <a:cubicBezTo>
                  <a:pt x="6488387" y="2889908"/>
                  <a:pt x="6478143" y="2883505"/>
                  <a:pt x="6477290" y="2874542"/>
                </a:cubicBezTo>
                <a:cubicBezTo>
                  <a:pt x="6481558" y="2870559"/>
                  <a:pt x="6485399" y="2869136"/>
                  <a:pt x="6489028" y="2869990"/>
                </a:cubicBezTo>
                <a:close/>
                <a:moveTo>
                  <a:pt x="718767" y="2869786"/>
                </a:moveTo>
                <a:cubicBezTo>
                  <a:pt x="721452" y="2873194"/>
                  <a:pt x="717941" y="2877376"/>
                  <a:pt x="716392" y="2879854"/>
                </a:cubicBezTo>
                <a:lnTo>
                  <a:pt x="714843" y="2879080"/>
                </a:lnTo>
                <a:lnTo>
                  <a:pt x="715050" y="2880938"/>
                </a:lnTo>
                <a:cubicBezTo>
                  <a:pt x="714843" y="2881868"/>
                  <a:pt x="714740" y="2882642"/>
                  <a:pt x="714533" y="2883726"/>
                </a:cubicBezTo>
                <a:cubicBezTo>
                  <a:pt x="712571" y="2883572"/>
                  <a:pt x="710609" y="2885276"/>
                  <a:pt x="708235" y="2884347"/>
                </a:cubicBezTo>
                <a:cubicBezTo>
                  <a:pt x="708235" y="2884347"/>
                  <a:pt x="707099" y="2883881"/>
                  <a:pt x="706273" y="2882333"/>
                </a:cubicBezTo>
                <a:cubicBezTo>
                  <a:pt x="703588" y="2880629"/>
                  <a:pt x="704724" y="2877376"/>
                  <a:pt x="704724" y="2877376"/>
                </a:cubicBezTo>
                <a:cubicBezTo>
                  <a:pt x="704724" y="2877376"/>
                  <a:pt x="704724" y="2877221"/>
                  <a:pt x="704001" y="2877531"/>
                </a:cubicBezTo>
                <a:cubicBezTo>
                  <a:pt x="705550" y="2876911"/>
                  <a:pt x="706686" y="2875672"/>
                  <a:pt x="708235" y="2875052"/>
                </a:cubicBezTo>
                <a:lnTo>
                  <a:pt x="708957" y="2875207"/>
                </a:lnTo>
                <a:lnTo>
                  <a:pt x="708338" y="2874743"/>
                </a:lnTo>
                <a:cubicBezTo>
                  <a:pt x="709061" y="2872574"/>
                  <a:pt x="710403" y="2871025"/>
                  <a:pt x="712159" y="2870096"/>
                </a:cubicBezTo>
                <a:cubicBezTo>
                  <a:pt x="713811" y="2869166"/>
                  <a:pt x="716082" y="2868857"/>
                  <a:pt x="718767" y="2869786"/>
                </a:cubicBezTo>
                <a:close/>
                <a:moveTo>
                  <a:pt x="237489" y="2867462"/>
                </a:moveTo>
                <a:cubicBezTo>
                  <a:pt x="240484" y="2866378"/>
                  <a:pt x="242859" y="2866533"/>
                  <a:pt x="244614" y="2867462"/>
                </a:cubicBezTo>
                <a:cubicBezTo>
                  <a:pt x="250087" y="2869941"/>
                  <a:pt x="250396" y="2878770"/>
                  <a:pt x="246886" y="2882023"/>
                </a:cubicBezTo>
                <a:cubicBezTo>
                  <a:pt x="240587" y="2882487"/>
                  <a:pt x="236457" y="2877221"/>
                  <a:pt x="236250" y="2872109"/>
                </a:cubicBezTo>
                <a:cubicBezTo>
                  <a:pt x="236250" y="2870405"/>
                  <a:pt x="236560" y="2868857"/>
                  <a:pt x="237489" y="2867462"/>
                </a:cubicBezTo>
                <a:close/>
                <a:moveTo>
                  <a:pt x="547633" y="2866746"/>
                </a:moveTo>
                <a:cubicBezTo>
                  <a:pt x="549582" y="2866804"/>
                  <a:pt x="551802" y="2867772"/>
                  <a:pt x="554073" y="2869166"/>
                </a:cubicBezTo>
                <a:cubicBezTo>
                  <a:pt x="553247" y="2870096"/>
                  <a:pt x="555932" y="2871335"/>
                  <a:pt x="556861" y="2872884"/>
                </a:cubicBezTo>
                <a:cubicBezTo>
                  <a:pt x="557067" y="2875517"/>
                  <a:pt x="557171" y="2877066"/>
                  <a:pt x="555519" y="2879080"/>
                </a:cubicBezTo>
                <a:lnTo>
                  <a:pt x="552421" y="2880938"/>
                </a:lnTo>
                <a:lnTo>
                  <a:pt x="553763" y="2882797"/>
                </a:lnTo>
                <a:cubicBezTo>
                  <a:pt x="555828" y="2887909"/>
                  <a:pt x="556242" y="2893950"/>
                  <a:pt x="547465" y="2895963"/>
                </a:cubicBezTo>
                <a:cubicBezTo>
                  <a:pt x="545813" y="2896738"/>
                  <a:pt x="546226" y="2896118"/>
                  <a:pt x="545090" y="2896273"/>
                </a:cubicBezTo>
                <a:cubicBezTo>
                  <a:pt x="543851" y="2896428"/>
                  <a:pt x="542198" y="2897358"/>
                  <a:pt x="541786" y="2897977"/>
                </a:cubicBezTo>
                <a:cubicBezTo>
                  <a:pt x="540030" y="2894104"/>
                  <a:pt x="537242" y="2895189"/>
                  <a:pt x="534868" y="2888838"/>
                </a:cubicBezTo>
                <a:cubicBezTo>
                  <a:pt x="534041" y="2886825"/>
                  <a:pt x="533629" y="2885121"/>
                  <a:pt x="533629" y="2883572"/>
                </a:cubicBezTo>
                <a:lnTo>
                  <a:pt x="533938" y="2882487"/>
                </a:lnTo>
                <a:lnTo>
                  <a:pt x="533629" y="2882797"/>
                </a:lnTo>
                <a:cubicBezTo>
                  <a:pt x="531460" y="2884966"/>
                  <a:pt x="529395" y="2886515"/>
                  <a:pt x="528053" y="2886205"/>
                </a:cubicBezTo>
                <a:cubicBezTo>
                  <a:pt x="528053" y="2885430"/>
                  <a:pt x="527949" y="2884656"/>
                  <a:pt x="528775" y="2883726"/>
                </a:cubicBezTo>
                <a:cubicBezTo>
                  <a:pt x="529601" y="2882642"/>
                  <a:pt x="529601" y="2883572"/>
                  <a:pt x="529601" y="2882642"/>
                </a:cubicBezTo>
                <a:cubicBezTo>
                  <a:pt x="530427" y="2881713"/>
                  <a:pt x="529601" y="2881868"/>
                  <a:pt x="529601" y="2881868"/>
                </a:cubicBezTo>
                <a:cubicBezTo>
                  <a:pt x="529601" y="2881868"/>
                  <a:pt x="530427" y="2881713"/>
                  <a:pt x="530427" y="2881713"/>
                </a:cubicBezTo>
                <a:cubicBezTo>
                  <a:pt x="530427" y="2881713"/>
                  <a:pt x="530427" y="2881713"/>
                  <a:pt x="532080" y="2879854"/>
                </a:cubicBezTo>
                <a:cubicBezTo>
                  <a:pt x="533629" y="2877066"/>
                  <a:pt x="533629" y="2876292"/>
                  <a:pt x="534351" y="2874433"/>
                </a:cubicBezTo>
                <a:cubicBezTo>
                  <a:pt x="536003" y="2872574"/>
                  <a:pt x="536829" y="2872264"/>
                  <a:pt x="539307" y="2870251"/>
                </a:cubicBezTo>
                <a:cubicBezTo>
                  <a:pt x="541063" y="2870870"/>
                  <a:pt x="541063" y="2870870"/>
                  <a:pt x="541166" y="2871800"/>
                </a:cubicBezTo>
                <a:cubicBezTo>
                  <a:pt x="541063" y="2870870"/>
                  <a:pt x="541992" y="2870870"/>
                  <a:pt x="542818" y="2869786"/>
                </a:cubicBezTo>
                <a:cubicBezTo>
                  <a:pt x="544006" y="2867540"/>
                  <a:pt x="545684" y="2866688"/>
                  <a:pt x="547633" y="2866746"/>
                </a:cubicBezTo>
                <a:close/>
                <a:moveTo>
                  <a:pt x="791769" y="2864365"/>
                </a:moveTo>
                <a:lnTo>
                  <a:pt x="791150" y="2864984"/>
                </a:lnTo>
                <a:cubicBezTo>
                  <a:pt x="790736" y="2866533"/>
                  <a:pt x="791666" y="2868237"/>
                  <a:pt x="792079" y="2869786"/>
                </a:cubicBezTo>
                <a:lnTo>
                  <a:pt x="792079" y="2870405"/>
                </a:lnTo>
                <a:lnTo>
                  <a:pt x="792905" y="2868857"/>
                </a:lnTo>
                <a:lnTo>
                  <a:pt x="794144" y="2868082"/>
                </a:lnTo>
                <a:close/>
                <a:moveTo>
                  <a:pt x="617576" y="2863900"/>
                </a:moveTo>
                <a:cubicBezTo>
                  <a:pt x="621499" y="2864210"/>
                  <a:pt x="622738" y="2864674"/>
                  <a:pt x="625836" y="2866998"/>
                </a:cubicBezTo>
                <a:cubicBezTo>
                  <a:pt x="625733" y="2872574"/>
                  <a:pt x="622532" y="2875672"/>
                  <a:pt x="619331" y="2878770"/>
                </a:cubicBezTo>
                <a:cubicBezTo>
                  <a:pt x="614891" y="2878460"/>
                  <a:pt x="613239" y="2877066"/>
                  <a:pt x="613033" y="2875052"/>
                </a:cubicBezTo>
                <a:cubicBezTo>
                  <a:pt x="613033" y="2874433"/>
                  <a:pt x="613033" y="2873814"/>
                  <a:pt x="613239" y="2873039"/>
                </a:cubicBezTo>
                <a:cubicBezTo>
                  <a:pt x="614065" y="2870096"/>
                  <a:pt x="616543" y="2866533"/>
                  <a:pt x="617576" y="2863900"/>
                </a:cubicBezTo>
                <a:close/>
                <a:moveTo>
                  <a:pt x="878297" y="2863590"/>
                </a:moveTo>
                <a:lnTo>
                  <a:pt x="876026" y="2864210"/>
                </a:lnTo>
                <a:cubicBezTo>
                  <a:pt x="874270" y="2865139"/>
                  <a:pt x="872515" y="2865913"/>
                  <a:pt x="870037" y="2866533"/>
                </a:cubicBezTo>
                <a:cubicBezTo>
                  <a:pt x="868282" y="2867462"/>
                  <a:pt x="866526" y="2868237"/>
                  <a:pt x="864048" y="2868857"/>
                </a:cubicBezTo>
                <a:cubicBezTo>
                  <a:pt x="860125" y="2870405"/>
                  <a:pt x="856511" y="2871955"/>
                  <a:pt x="853103" y="2873039"/>
                </a:cubicBezTo>
                <a:lnTo>
                  <a:pt x="851761" y="2873348"/>
                </a:lnTo>
                <a:lnTo>
                  <a:pt x="851554" y="2873658"/>
                </a:lnTo>
                <a:cubicBezTo>
                  <a:pt x="847424" y="2879854"/>
                  <a:pt x="843500" y="2885585"/>
                  <a:pt x="838854" y="2890542"/>
                </a:cubicBezTo>
                <a:cubicBezTo>
                  <a:pt x="838337" y="2886979"/>
                  <a:pt x="838854" y="2883572"/>
                  <a:pt x="839886" y="2880164"/>
                </a:cubicBezTo>
                <a:lnTo>
                  <a:pt x="841745" y="2876136"/>
                </a:lnTo>
                <a:lnTo>
                  <a:pt x="835653" y="2878770"/>
                </a:lnTo>
                <a:cubicBezTo>
                  <a:pt x="832865" y="2880319"/>
                  <a:pt x="829870" y="2882178"/>
                  <a:pt x="827083" y="2883726"/>
                </a:cubicBezTo>
                <a:cubicBezTo>
                  <a:pt x="820887" y="2886825"/>
                  <a:pt x="815518" y="2889303"/>
                  <a:pt x="812523" y="2886825"/>
                </a:cubicBezTo>
                <a:cubicBezTo>
                  <a:pt x="804986" y="2889303"/>
                  <a:pt x="798171" y="2892091"/>
                  <a:pt x="791563" y="2894104"/>
                </a:cubicBezTo>
                <a:lnTo>
                  <a:pt x="786296" y="2896428"/>
                </a:lnTo>
                <a:lnTo>
                  <a:pt x="789497" y="2903244"/>
                </a:lnTo>
                <a:cubicBezTo>
                  <a:pt x="784748" y="2907735"/>
                  <a:pt x="778862" y="2909284"/>
                  <a:pt x="773080" y="2908820"/>
                </a:cubicBezTo>
                <a:lnTo>
                  <a:pt x="766368" y="2906032"/>
                </a:lnTo>
                <a:lnTo>
                  <a:pt x="755939" y="2911763"/>
                </a:lnTo>
                <a:cubicBezTo>
                  <a:pt x="750570" y="2914241"/>
                  <a:pt x="745200" y="2917494"/>
                  <a:pt x="739831" y="2919972"/>
                </a:cubicBezTo>
                <a:cubicBezTo>
                  <a:pt x="738902" y="2918268"/>
                  <a:pt x="740863" y="2916719"/>
                  <a:pt x="739934" y="2915015"/>
                </a:cubicBezTo>
                <a:cubicBezTo>
                  <a:pt x="739625" y="2914086"/>
                  <a:pt x="739108" y="2913776"/>
                  <a:pt x="738592" y="2913776"/>
                </a:cubicBezTo>
                <a:lnTo>
                  <a:pt x="737043" y="2914551"/>
                </a:lnTo>
                <a:cubicBezTo>
                  <a:pt x="735597" y="2915325"/>
                  <a:pt x="734978" y="2916874"/>
                  <a:pt x="734152" y="2918578"/>
                </a:cubicBezTo>
                <a:lnTo>
                  <a:pt x="733429" y="2919353"/>
                </a:lnTo>
                <a:lnTo>
                  <a:pt x="733429" y="2919508"/>
                </a:lnTo>
                <a:cubicBezTo>
                  <a:pt x="734978" y="2919972"/>
                  <a:pt x="737560" y="2916874"/>
                  <a:pt x="738076" y="2920747"/>
                </a:cubicBezTo>
                <a:lnTo>
                  <a:pt x="729505" y="2927098"/>
                </a:lnTo>
                <a:lnTo>
                  <a:pt x="729609" y="2929266"/>
                </a:lnTo>
                <a:cubicBezTo>
                  <a:pt x="728473" y="2928956"/>
                  <a:pt x="727543" y="2932519"/>
                  <a:pt x="727234" y="2933758"/>
                </a:cubicBezTo>
                <a:cubicBezTo>
                  <a:pt x="724859" y="2933294"/>
                  <a:pt x="723207" y="2937321"/>
                  <a:pt x="719593" y="2936856"/>
                </a:cubicBezTo>
                <a:lnTo>
                  <a:pt x="718251" y="2933603"/>
                </a:lnTo>
                <a:lnTo>
                  <a:pt x="717424" y="2934068"/>
                </a:lnTo>
                <a:cubicBezTo>
                  <a:pt x="709267" y="2938560"/>
                  <a:pt x="701110" y="2943052"/>
                  <a:pt x="695844" y="2947854"/>
                </a:cubicBezTo>
                <a:cubicBezTo>
                  <a:pt x="694398" y="2945066"/>
                  <a:pt x="699355" y="2943826"/>
                  <a:pt x="696980" y="2941658"/>
                </a:cubicBezTo>
                <a:cubicBezTo>
                  <a:pt x="690165" y="2944446"/>
                  <a:pt x="697393" y="2952656"/>
                  <a:pt x="688616" y="2951726"/>
                </a:cubicBezTo>
                <a:cubicBezTo>
                  <a:pt x="687893" y="2949402"/>
                  <a:pt x="689132" y="2947699"/>
                  <a:pt x="692643" y="2945995"/>
                </a:cubicBezTo>
                <a:cubicBezTo>
                  <a:pt x="684795" y="2944756"/>
                  <a:pt x="680768" y="2957767"/>
                  <a:pt x="676432" y="2957147"/>
                </a:cubicBezTo>
                <a:lnTo>
                  <a:pt x="679426" y="2958077"/>
                </a:lnTo>
                <a:lnTo>
                  <a:pt x="680149" y="2956063"/>
                </a:lnTo>
                <a:lnTo>
                  <a:pt x="684176" y="2956528"/>
                </a:lnTo>
                <a:lnTo>
                  <a:pt x="686551" y="2955598"/>
                </a:lnTo>
                <a:cubicBezTo>
                  <a:pt x="687687" y="2954359"/>
                  <a:pt x="690061" y="2953430"/>
                  <a:pt x="692023" y="2953585"/>
                </a:cubicBezTo>
                <a:cubicBezTo>
                  <a:pt x="694295" y="2954514"/>
                  <a:pt x="695121" y="2956063"/>
                  <a:pt x="694708" y="2957147"/>
                </a:cubicBezTo>
                <a:cubicBezTo>
                  <a:pt x="692746" y="2966131"/>
                  <a:pt x="684279" y="2965822"/>
                  <a:pt x="683040" y="2967215"/>
                </a:cubicBezTo>
                <a:cubicBezTo>
                  <a:pt x="680459" y="2966131"/>
                  <a:pt x="679839" y="2965822"/>
                  <a:pt x="680252" y="2963189"/>
                </a:cubicBezTo>
                <a:lnTo>
                  <a:pt x="680975" y="2960555"/>
                </a:lnTo>
                <a:lnTo>
                  <a:pt x="679013" y="2959316"/>
                </a:lnTo>
                <a:lnTo>
                  <a:pt x="679220" y="2958541"/>
                </a:lnTo>
                <a:lnTo>
                  <a:pt x="675709" y="2960245"/>
                </a:lnTo>
                <a:cubicBezTo>
                  <a:pt x="674263" y="2961020"/>
                  <a:pt x="672715" y="2961949"/>
                  <a:pt x="670856" y="2963189"/>
                </a:cubicBezTo>
                <a:lnTo>
                  <a:pt x="666622" y="2965512"/>
                </a:lnTo>
                <a:lnTo>
                  <a:pt x="667035" y="2965977"/>
                </a:lnTo>
                <a:cubicBezTo>
                  <a:pt x="667345" y="2967215"/>
                  <a:pt x="667552" y="2970158"/>
                  <a:pt x="666829" y="2969694"/>
                </a:cubicBezTo>
                <a:cubicBezTo>
                  <a:pt x="665590" y="2969849"/>
                  <a:pt x="666313" y="2970314"/>
                  <a:pt x="665900" y="2971088"/>
                </a:cubicBezTo>
                <a:cubicBezTo>
                  <a:pt x="664144" y="2971398"/>
                  <a:pt x="662595" y="2971398"/>
                  <a:pt x="661253" y="2970933"/>
                </a:cubicBezTo>
                <a:lnTo>
                  <a:pt x="660014" y="2969694"/>
                </a:lnTo>
                <a:lnTo>
                  <a:pt x="652270" y="2976664"/>
                </a:lnTo>
                <a:cubicBezTo>
                  <a:pt x="650205" y="2979143"/>
                  <a:pt x="649275" y="2981621"/>
                  <a:pt x="650205" y="2983635"/>
                </a:cubicBezTo>
                <a:cubicBezTo>
                  <a:pt x="647314" y="2985648"/>
                  <a:pt x="646281" y="2981621"/>
                  <a:pt x="642977" y="2984874"/>
                </a:cubicBezTo>
                <a:lnTo>
                  <a:pt x="642770" y="2985648"/>
                </a:lnTo>
                <a:lnTo>
                  <a:pt x="647933" y="2990295"/>
                </a:lnTo>
                <a:lnTo>
                  <a:pt x="651754" y="2995252"/>
                </a:lnTo>
                <a:lnTo>
                  <a:pt x="655574" y="2990760"/>
                </a:lnTo>
                <a:cubicBezTo>
                  <a:pt x="658362" y="2988282"/>
                  <a:pt x="661356" y="2985958"/>
                  <a:pt x="664661" y="2984099"/>
                </a:cubicBezTo>
                <a:lnTo>
                  <a:pt x="668171" y="2982551"/>
                </a:lnTo>
                <a:lnTo>
                  <a:pt x="667552" y="2979452"/>
                </a:lnTo>
                <a:cubicBezTo>
                  <a:pt x="667861" y="2978368"/>
                  <a:pt x="668481" y="2977284"/>
                  <a:pt x="669720" y="2976509"/>
                </a:cubicBezTo>
                <a:cubicBezTo>
                  <a:pt x="671372" y="2977594"/>
                  <a:pt x="673231" y="2977749"/>
                  <a:pt x="674883" y="2978833"/>
                </a:cubicBezTo>
                <a:lnTo>
                  <a:pt x="674986" y="2979607"/>
                </a:lnTo>
                <a:lnTo>
                  <a:pt x="685931" y="2977903"/>
                </a:lnTo>
                <a:cubicBezTo>
                  <a:pt x="689649" y="2977749"/>
                  <a:pt x="693366" y="2978213"/>
                  <a:pt x="696877" y="2979143"/>
                </a:cubicBezTo>
                <a:lnTo>
                  <a:pt x="698425" y="2979917"/>
                </a:lnTo>
                <a:lnTo>
                  <a:pt x="701627" y="2978368"/>
                </a:lnTo>
                <a:cubicBezTo>
                  <a:pt x="703278" y="2978368"/>
                  <a:pt x="704930" y="2978833"/>
                  <a:pt x="706066" y="2980227"/>
                </a:cubicBezTo>
                <a:lnTo>
                  <a:pt x="704930" y="2983015"/>
                </a:lnTo>
                <a:lnTo>
                  <a:pt x="706996" y="2983945"/>
                </a:lnTo>
                <a:lnTo>
                  <a:pt x="705963" y="2995562"/>
                </a:lnTo>
                <a:lnTo>
                  <a:pt x="705963" y="2995716"/>
                </a:lnTo>
                <a:lnTo>
                  <a:pt x="707822" y="2995716"/>
                </a:lnTo>
                <a:cubicBezTo>
                  <a:pt x="710093" y="2995716"/>
                  <a:pt x="711642" y="2995562"/>
                  <a:pt x="710816" y="2991999"/>
                </a:cubicBezTo>
                <a:cubicBezTo>
                  <a:pt x="712675" y="2993393"/>
                  <a:pt x="715772" y="2993084"/>
                  <a:pt x="718251" y="2992464"/>
                </a:cubicBezTo>
                <a:cubicBezTo>
                  <a:pt x="721555" y="2991380"/>
                  <a:pt x="724446" y="2989521"/>
                  <a:pt x="727957" y="2987817"/>
                </a:cubicBezTo>
                <a:cubicBezTo>
                  <a:pt x="727027" y="2985958"/>
                  <a:pt x="725375" y="2986113"/>
                  <a:pt x="723620" y="2987042"/>
                </a:cubicBezTo>
                <a:cubicBezTo>
                  <a:pt x="723103" y="2983945"/>
                  <a:pt x="728266" y="2984254"/>
                  <a:pt x="733016" y="2983635"/>
                </a:cubicBezTo>
                <a:cubicBezTo>
                  <a:pt x="737663" y="2983015"/>
                  <a:pt x="741896" y="2981621"/>
                  <a:pt x="741277" y="2976355"/>
                </a:cubicBezTo>
                <a:cubicBezTo>
                  <a:pt x="742413" y="2977439"/>
                  <a:pt x="742929" y="2978368"/>
                  <a:pt x="744478" y="2978213"/>
                </a:cubicBezTo>
                <a:cubicBezTo>
                  <a:pt x="745303" y="2975580"/>
                  <a:pt x="742206" y="2975890"/>
                  <a:pt x="744787" y="2972482"/>
                </a:cubicBezTo>
                <a:cubicBezTo>
                  <a:pt x="748815" y="2971553"/>
                  <a:pt x="747472" y="2973412"/>
                  <a:pt x="748711" y="2976664"/>
                </a:cubicBezTo>
                <a:cubicBezTo>
                  <a:pt x="749640" y="2971243"/>
                  <a:pt x="752635" y="2966441"/>
                  <a:pt x="755629" y="2961639"/>
                </a:cubicBezTo>
                <a:cubicBezTo>
                  <a:pt x="756559" y="2963498"/>
                  <a:pt x="759553" y="2965822"/>
                  <a:pt x="765129" y="2962724"/>
                </a:cubicBezTo>
                <a:cubicBezTo>
                  <a:pt x="754906" y="2961330"/>
                  <a:pt x="767607" y="2951881"/>
                  <a:pt x="770911" y="2958232"/>
                </a:cubicBezTo>
                <a:cubicBezTo>
                  <a:pt x="772254" y="2956373"/>
                  <a:pt x="774731" y="2950797"/>
                  <a:pt x="770704" y="2951571"/>
                </a:cubicBezTo>
                <a:cubicBezTo>
                  <a:pt x="772563" y="2950797"/>
                  <a:pt x="784334" y="2954049"/>
                  <a:pt x="784231" y="2944601"/>
                </a:cubicBezTo>
                <a:cubicBezTo>
                  <a:pt x="787432" y="2945220"/>
                  <a:pt x="790530" y="2944911"/>
                  <a:pt x="793421" y="2943981"/>
                </a:cubicBezTo>
                <a:lnTo>
                  <a:pt x="798481" y="2941193"/>
                </a:lnTo>
                <a:lnTo>
                  <a:pt x="796726" y="2939799"/>
                </a:lnTo>
                <a:lnTo>
                  <a:pt x="796106" y="2941038"/>
                </a:lnTo>
                <a:cubicBezTo>
                  <a:pt x="795383" y="2941813"/>
                  <a:pt x="794247" y="2942587"/>
                  <a:pt x="792285" y="2942897"/>
                </a:cubicBezTo>
                <a:cubicBezTo>
                  <a:pt x="791253" y="2941193"/>
                  <a:pt x="793731" y="2940573"/>
                  <a:pt x="795486" y="2939644"/>
                </a:cubicBezTo>
                <a:cubicBezTo>
                  <a:pt x="791872" y="2936701"/>
                  <a:pt x="787535" y="2935617"/>
                  <a:pt x="782786" y="2935617"/>
                </a:cubicBezTo>
                <a:lnTo>
                  <a:pt x="777932" y="2936701"/>
                </a:lnTo>
                <a:lnTo>
                  <a:pt x="778139" y="2939180"/>
                </a:lnTo>
                <a:cubicBezTo>
                  <a:pt x="778139" y="2940264"/>
                  <a:pt x="777932" y="2941038"/>
                  <a:pt x="777417" y="2941503"/>
                </a:cubicBezTo>
                <a:cubicBezTo>
                  <a:pt x="776590" y="2941193"/>
                  <a:pt x="775867" y="2940883"/>
                  <a:pt x="775558" y="2939644"/>
                </a:cubicBezTo>
                <a:cubicBezTo>
                  <a:pt x="775248" y="2938560"/>
                  <a:pt x="775971" y="2939024"/>
                  <a:pt x="775248" y="2938560"/>
                </a:cubicBezTo>
                <a:cubicBezTo>
                  <a:pt x="774835" y="2937476"/>
                  <a:pt x="774422" y="2938250"/>
                  <a:pt x="774422" y="2938250"/>
                </a:cubicBezTo>
                <a:cubicBezTo>
                  <a:pt x="774422" y="2938250"/>
                  <a:pt x="774835" y="2937476"/>
                  <a:pt x="774835" y="2937476"/>
                </a:cubicBezTo>
                <a:cubicBezTo>
                  <a:pt x="774835" y="2937476"/>
                  <a:pt x="774835" y="2937476"/>
                  <a:pt x="774731" y="2937321"/>
                </a:cubicBezTo>
                <a:lnTo>
                  <a:pt x="770188" y="2938250"/>
                </a:lnTo>
                <a:lnTo>
                  <a:pt x="770188" y="2938405"/>
                </a:lnTo>
                <a:cubicBezTo>
                  <a:pt x="770395" y="2941348"/>
                  <a:pt x="769879" y="2944136"/>
                  <a:pt x="768846" y="2946614"/>
                </a:cubicBezTo>
                <a:cubicBezTo>
                  <a:pt x="765542" y="2954824"/>
                  <a:pt x="756249" y="2960400"/>
                  <a:pt x="745510" y="2959471"/>
                </a:cubicBezTo>
                <a:cubicBezTo>
                  <a:pt x="745097" y="2958232"/>
                  <a:pt x="744684" y="2957147"/>
                  <a:pt x="743548" y="2957457"/>
                </a:cubicBezTo>
                <a:cubicBezTo>
                  <a:pt x="742309" y="2954669"/>
                  <a:pt x="741793" y="2951881"/>
                  <a:pt x="741999" y="2949093"/>
                </a:cubicBezTo>
                <a:cubicBezTo>
                  <a:pt x="742413" y="2940728"/>
                  <a:pt x="748504" y="2932674"/>
                  <a:pt x="756352" y="2929886"/>
                </a:cubicBezTo>
                <a:cubicBezTo>
                  <a:pt x="758107" y="2929266"/>
                  <a:pt x="759966" y="2928802"/>
                  <a:pt x="761825" y="2928647"/>
                </a:cubicBezTo>
                <a:lnTo>
                  <a:pt x="767194" y="2929266"/>
                </a:lnTo>
                <a:lnTo>
                  <a:pt x="767297" y="2928182"/>
                </a:lnTo>
                <a:cubicBezTo>
                  <a:pt x="767814" y="2926788"/>
                  <a:pt x="768743" y="2926013"/>
                  <a:pt x="770085" y="2925704"/>
                </a:cubicBezTo>
                <a:lnTo>
                  <a:pt x="770395" y="2925704"/>
                </a:lnTo>
                <a:lnTo>
                  <a:pt x="770395" y="2924929"/>
                </a:lnTo>
                <a:cubicBezTo>
                  <a:pt x="772047" y="2923845"/>
                  <a:pt x="772047" y="2923845"/>
                  <a:pt x="772770" y="2924155"/>
                </a:cubicBezTo>
                <a:cubicBezTo>
                  <a:pt x="772047" y="2923845"/>
                  <a:pt x="772460" y="2923070"/>
                  <a:pt x="772150" y="2921986"/>
                </a:cubicBezTo>
                <a:cubicBezTo>
                  <a:pt x="769672" y="2917804"/>
                  <a:pt x="773286" y="2914861"/>
                  <a:pt x="778449" y="2912537"/>
                </a:cubicBezTo>
                <a:cubicBezTo>
                  <a:pt x="778862" y="2913622"/>
                  <a:pt x="781650" y="2912072"/>
                  <a:pt x="783612" y="2911918"/>
                </a:cubicBezTo>
                <a:lnTo>
                  <a:pt x="784128" y="2912228"/>
                </a:lnTo>
                <a:lnTo>
                  <a:pt x="784954" y="2908820"/>
                </a:lnTo>
                <a:cubicBezTo>
                  <a:pt x="787329" y="2909749"/>
                  <a:pt x="788361" y="2910214"/>
                  <a:pt x="790324" y="2910369"/>
                </a:cubicBezTo>
                <a:cubicBezTo>
                  <a:pt x="789085" y="2913622"/>
                  <a:pt x="789085" y="2916255"/>
                  <a:pt x="788568" y="2918268"/>
                </a:cubicBezTo>
                <a:lnTo>
                  <a:pt x="787949" y="2919662"/>
                </a:lnTo>
                <a:lnTo>
                  <a:pt x="787742" y="2921986"/>
                </a:lnTo>
                <a:cubicBezTo>
                  <a:pt x="787122" y="2924155"/>
                  <a:pt x="785883" y="2925858"/>
                  <a:pt x="784025" y="2926478"/>
                </a:cubicBezTo>
                <a:cubicBezTo>
                  <a:pt x="782063" y="2927407"/>
                  <a:pt x="780307" y="2927872"/>
                  <a:pt x="778862" y="2927872"/>
                </a:cubicBezTo>
                <a:lnTo>
                  <a:pt x="775971" y="2927252"/>
                </a:lnTo>
                <a:lnTo>
                  <a:pt x="778139" y="2931590"/>
                </a:lnTo>
                <a:lnTo>
                  <a:pt x="776900" y="2931899"/>
                </a:lnTo>
                <a:lnTo>
                  <a:pt x="777210" y="2932983"/>
                </a:lnTo>
                <a:lnTo>
                  <a:pt x="779482" y="2932209"/>
                </a:lnTo>
                <a:cubicBezTo>
                  <a:pt x="782269" y="2931899"/>
                  <a:pt x="784851" y="2932054"/>
                  <a:pt x="786503" y="2932364"/>
                </a:cubicBezTo>
                <a:cubicBezTo>
                  <a:pt x="786916" y="2931125"/>
                  <a:pt x="787639" y="2930195"/>
                  <a:pt x="788568" y="2929266"/>
                </a:cubicBezTo>
                <a:lnTo>
                  <a:pt x="791253" y="2927098"/>
                </a:lnTo>
                <a:lnTo>
                  <a:pt x="791046" y="2926633"/>
                </a:lnTo>
                <a:cubicBezTo>
                  <a:pt x="790840" y="2920902"/>
                  <a:pt x="792698" y="2915015"/>
                  <a:pt x="796519" y="2910679"/>
                </a:cubicBezTo>
                <a:lnTo>
                  <a:pt x="797241" y="2910059"/>
                </a:lnTo>
                <a:lnTo>
                  <a:pt x="795899" y="2910523"/>
                </a:lnTo>
                <a:cubicBezTo>
                  <a:pt x="794660" y="2910369"/>
                  <a:pt x="794660" y="2910369"/>
                  <a:pt x="794144" y="2909594"/>
                </a:cubicBezTo>
                <a:cubicBezTo>
                  <a:pt x="792492" y="2908820"/>
                  <a:pt x="791356" y="2908665"/>
                  <a:pt x="791253" y="2906806"/>
                </a:cubicBezTo>
                <a:cubicBezTo>
                  <a:pt x="791253" y="2905257"/>
                  <a:pt x="791872" y="2904328"/>
                  <a:pt x="792802" y="2903863"/>
                </a:cubicBezTo>
                <a:cubicBezTo>
                  <a:pt x="793627" y="2903399"/>
                  <a:pt x="794970" y="2903244"/>
                  <a:pt x="796519" y="2903244"/>
                </a:cubicBezTo>
                <a:cubicBezTo>
                  <a:pt x="799720" y="2903089"/>
                  <a:pt x="800339" y="2905567"/>
                  <a:pt x="802714" y="2906032"/>
                </a:cubicBezTo>
                <a:lnTo>
                  <a:pt x="801785" y="2907271"/>
                </a:lnTo>
                <a:lnTo>
                  <a:pt x="804366" y="2908820"/>
                </a:lnTo>
                <a:lnTo>
                  <a:pt x="804263" y="2908665"/>
                </a:lnTo>
                <a:cubicBezTo>
                  <a:pt x="807154" y="2909130"/>
                  <a:pt x="809426" y="2908820"/>
                  <a:pt x="811181" y="2907891"/>
                </a:cubicBezTo>
                <a:lnTo>
                  <a:pt x="814279" y="2905257"/>
                </a:lnTo>
                <a:lnTo>
                  <a:pt x="814485" y="2902314"/>
                </a:lnTo>
                <a:cubicBezTo>
                  <a:pt x="817067" y="2896118"/>
                  <a:pt x="824914" y="2891316"/>
                  <a:pt x="829870" y="2889458"/>
                </a:cubicBezTo>
                <a:cubicBezTo>
                  <a:pt x="828012" y="2893020"/>
                  <a:pt x="826360" y="2896583"/>
                  <a:pt x="823985" y="2899990"/>
                </a:cubicBezTo>
                <a:cubicBezTo>
                  <a:pt x="822849" y="2901695"/>
                  <a:pt x="821507" y="2903399"/>
                  <a:pt x="819855" y="2904948"/>
                </a:cubicBezTo>
                <a:lnTo>
                  <a:pt x="818719" y="2905722"/>
                </a:lnTo>
                <a:lnTo>
                  <a:pt x="820267" y="2906341"/>
                </a:lnTo>
                <a:cubicBezTo>
                  <a:pt x="822952" y="2905102"/>
                  <a:pt x="825327" y="2897822"/>
                  <a:pt x="830284" y="2900146"/>
                </a:cubicBezTo>
                <a:cubicBezTo>
                  <a:pt x="834414" y="2896428"/>
                  <a:pt x="824191" y="2897977"/>
                  <a:pt x="827805" y="2893485"/>
                </a:cubicBezTo>
                <a:cubicBezTo>
                  <a:pt x="834517" y="2891316"/>
                  <a:pt x="843191" y="2889923"/>
                  <a:pt x="851967" y="2888683"/>
                </a:cubicBezTo>
                <a:lnTo>
                  <a:pt x="855891" y="2887754"/>
                </a:lnTo>
                <a:lnTo>
                  <a:pt x="855788" y="2886979"/>
                </a:lnTo>
                <a:cubicBezTo>
                  <a:pt x="855375" y="2886205"/>
                  <a:pt x="856924" y="2885585"/>
                  <a:pt x="856924" y="2885585"/>
                </a:cubicBezTo>
                <a:cubicBezTo>
                  <a:pt x="856511" y="2884811"/>
                  <a:pt x="856097" y="2884036"/>
                  <a:pt x="856511" y="2882952"/>
                </a:cubicBezTo>
                <a:cubicBezTo>
                  <a:pt x="857646" y="2883417"/>
                  <a:pt x="857233" y="2882642"/>
                  <a:pt x="857956" y="2882333"/>
                </a:cubicBezTo>
                <a:cubicBezTo>
                  <a:pt x="857853" y="2882797"/>
                  <a:pt x="858059" y="2883726"/>
                  <a:pt x="858266" y="2884656"/>
                </a:cubicBezTo>
                <a:lnTo>
                  <a:pt x="858782" y="2886979"/>
                </a:lnTo>
                <a:lnTo>
                  <a:pt x="864358" y="2885740"/>
                </a:lnTo>
                <a:cubicBezTo>
                  <a:pt x="868075" y="2884347"/>
                  <a:pt x="871483" y="2882642"/>
                  <a:pt x="874167" y="2880164"/>
                </a:cubicBezTo>
                <a:cubicBezTo>
                  <a:pt x="873651" y="2879389"/>
                  <a:pt x="872515" y="2879389"/>
                  <a:pt x="871173" y="2879544"/>
                </a:cubicBezTo>
                <a:lnTo>
                  <a:pt x="869108" y="2879854"/>
                </a:lnTo>
                <a:lnTo>
                  <a:pt x="868075" y="2882642"/>
                </a:lnTo>
                <a:cubicBezTo>
                  <a:pt x="867146" y="2883572"/>
                  <a:pt x="865803" y="2883572"/>
                  <a:pt x="864048" y="2882952"/>
                </a:cubicBezTo>
                <a:cubicBezTo>
                  <a:pt x="863635" y="2882023"/>
                  <a:pt x="863222" y="2879389"/>
                  <a:pt x="862396" y="2879699"/>
                </a:cubicBezTo>
                <a:cubicBezTo>
                  <a:pt x="863325" y="2877221"/>
                  <a:pt x="864668" y="2874588"/>
                  <a:pt x="866526" y="2873814"/>
                </a:cubicBezTo>
                <a:cubicBezTo>
                  <a:pt x="867249" y="2873504"/>
                  <a:pt x="867869" y="2873348"/>
                  <a:pt x="868695" y="2873504"/>
                </a:cubicBezTo>
                <a:lnTo>
                  <a:pt x="870140" y="2874743"/>
                </a:lnTo>
                <a:lnTo>
                  <a:pt x="870037" y="2873814"/>
                </a:lnTo>
                <a:cubicBezTo>
                  <a:pt x="871173" y="2874898"/>
                  <a:pt x="878607" y="2873039"/>
                  <a:pt x="873445" y="2872729"/>
                </a:cubicBezTo>
                <a:cubicBezTo>
                  <a:pt x="874994" y="2871180"/>
                  <a:pt x="878504" y="2871955"/>
                  <a:pt x="882221" y="2872574"/>
                </a:cubicBezTo>
                <a:lnTo>
                  <a:pt x="884080" y="2872729"/>
                </a:lnTo>
                <a:lnTo>
                  <a:pt x="882944" y="2871955"/>
                </a:lnTo>
                <a:cubicBezTo>
                  <a:pt x="881602" y="2870560"/>
                  <a:pt x="880466" y="2868701"/>
                  <a:pt x="879433" y="2866688"/>
                </a:cubicBezTo>
                <a:close/>
                <a:moveTo>
                  <a:pt x="630276" y="2863281"/>
                </a:moveTo>
                <a:cubicBezTo>
                  <a:pt x="631825" y="2865758"/>
                  <a:pt x="627179" y="2872419"/>
                  <a:pt x="624597" y="2875052"/>
                </a:cubicBezTo>
                <a:cubicBezTo>
                  <a:pt x="624184" y="2874433"/>
                  <a:pt x="624184" y="2873658"/>
                  <a:pt x="624391" y="2872574"/>
                </a:cubicBezTo>
                <a:cubicBezTo>
                  <a:pt x="625114" y="2869631"/>
                  <a:pt x="628211" y="2865294"/>
                  <a:pt x="630276" y="2863281"/>
                </a:cubicBezTo>
                <a:close/>
                <a:moveTo>
                  <a:pt x="553660" y="2861111"/>
                </a:moveTo>
                <a:cubicBezTo>
                  <a:pt x="560268" y="2861267"/>
                  <a:pt x="555932" y="2871335"/>
                  <a:pt x="552111" y="2867308"/>
                </a:cubicBezTo>
                <a:cubicBezTo>
                  <a:pt x="552111" y="2865449"/>
                  <a:pt x="552834" y="2863281"/>
                  <a:pt x="553660" y="2861111"/>
                </a:cubicBezTo>
                <a:close/>
                <a:moveTo>
                  <a:pt x="1342434" y="2857394"/>
                </a:moveTo>
                <a:lnTo>
                  <a:pt x="1341815" y="2857859"/>
                </a:lnTo>
                <a:lnTo>
                  <a:pt x="1340886" y="2858324"/>
                </a:lnTo>
                <a:lnTo>
                  <a:pt x="1343983" y="2860802"/>
                </a:lnTo>
                <a:close/>
                <a:moveTo>
                  <a:pt x="476424" y="2857394"/>
                </a:moveTo>
                <a:cubicBezTo>
                  <a:pt x="478283" y="2858788"/>
                  <a:pt x="480142" y="2860182"/>
                  <a:pt x="478490" y="2862041"/>
                </a:cubicBezTo>
                <a:cubicBezTo>
                  <a:pt x="477663" y="2862971"/>
                  <a:pt x="476837" y="2863900"/>
                  <a:pt x="475082" y="2864210"/>
                </a:cubicBezTo>
                <a:cubicBezTo>
                  <a:pt x="473224" y="2862815"/>
                  <a:pt x="473946" y="2860182"/>
                  <a:pt x="473017" y="2859408"/>
                </a:cubicBezTo>
                <a:cubicBezTo>
                  <a:pt x="473946" y="2859408"/>
                  <a:pt x="475598" y="2859098"/>
                  <a:pt x="476424" y="2857394"/>
                </a:cubicBezTo>
                <a:close/>
                <a:moveTo>
                  <a:pt x="375647" y="2856310"/>
                </a:moveTo>
                <a:cubicBezTo>
                  <a:pt x="382668" y="2859253"/>
                  <a:pt x="390412" y="2861731"/>
                  <a:pt x="390309" y="2867308"/>
                </a:cubicBezTo>
                <a:cubicBezTo>
                  <a:pt x="386075" y="2869786"/>
                  <a:pt x="379157" y="2865139"/>
                  <a:pt x="375647" y="2861886"/>
                </a:cubicBezTo>
                <a:cubicBezTo>
                  <a:pt x="376472" y="2859718"/>
                  <a:pt x="374820" y="2858478"/>
                  <a:pt x="375647" y="2856310"/>
                </a:cubicBezTo>
                <a:close/>
                <a:moveTo>
                  <a:pt x="420976" y="2855071"/>
                </a:moveTo>
                <a:cubicBezTo>
                  <a:pt x="422731" y="2854761"/>
                  <a:pt x="425416" y="2853832"/>
                  <a:pt x="427171" y="2855380"/>
                </a:cubicBezTo>
                <a:cubicBezTo>
                  <a:pt x="427791" y="2856000"/>
                  <a:pt x="428204" y="2856775"/>
                  <a:pt x="428514" y="2858014"/>
                </a:cubicBezTo>
                <a:cubicBezTo>
                  <a:pt x="429236" y="2858478"/>
                  <a:pt x="428307" y="2861576"/>
                  <a:pt x="427171" y="2861886"/>
                </a:cubicBezTo>
                <a:cubicBezTo>
                  <a:pt x="424280" y="2862971"/>
                  <a:pt x="422938" y="2860182"/>
                  <a:pt x="420460" y="2857549"/>
                </a:cubicBezTo>
                <a:cubicBezTo>
                  <a:pt x="421595" y="2857394"/>
                  <a:pt x="421286" y="2856155"/>
                  <a:pt x="420976" y="2855071"/>
                </a:cubicBezTo>
                <a:close/>
                <a:moveTo>
                  <a:pt x="907416" y="2854761"/>
                </a:moveTo>
                <a:lnTo>
                  <a:pt x="888520" y="2860492"/>
                </a:lnTo>
                <a:lnTo>
                  <a:pt x="882428" y="2862351"/>
                </a:lnTo>
                <a:lnTo>
                  <a:pt x="885009" y="2864984"/>
                </a:lnTo>
                <a:cubicBezTo>
                  <a:pt x="884493" y="2867153"/>
                  <a:pt x="886765" y="2869476"/>
                  <a:pt x="887384" y="2872109"/>
                </a:cubicBezTo>
                <a:lnTo>
                  <a:pt x="887384" y="2873039"/>
                </a:lnTo>
                <a:lnTo>
                  <a:pt x="887591" y="2873039"/>
                </a:lnTo>
                <a:cubicBezTo>
                  <a:pt x="889346" y="2872884"/>
                  <a:pt x="890895" y="2872419"/>
                  <a:pt x="892031" y="2871180"/>
                </a:cubicBezTo>
                <a:cubicBezTo>
                  <a:pt x="890895" y="2872264"/>
                  <a:pt x="890482" y="2873504"/>
                  <a:pt x="891515" y="2875207"/>
                </a:cubicBezTo>
                <a:lnTo>
                  <a:pt x="897297" y="2873968"/>
                </a:lnTo>
                <a:lnTo>
                  <a:pt x="897710" y="2873658"/>
                </a:lnTo>
                <a:lnTo>
                  <a:pt x="896161" y="2872419"/>
                </a:lnTo>
                <a:cubicBezTo>
                  <a:pt x="895438" y="2872109"/>
                  <a:pt x="894715" y="2872109"/>
                  <a:pt x="893786" y="2872419"/>
                </a:cubicBezTo>
                <a:lnTo>
                  <a:pt x="911133" y="2869321"/>
                </a:lnTo>
                <a:lnTo>
                  <a:pt x="911236" y="2869012"/>
                </a:lnTo>
                <a:lnTo>
                  <a:pt x="911546" y="2869166"/>
                </a:lnTo>
                <a:lnTo>
                  <a:pt x="918258" y="2867927"/>
                </a:lnTo>
                <a:lnTo>
                  <a:pt x="912682" y="2861731"/>
                </a:lnTo>
                <a:close/>
                <a:moveTo>
                  <a:pt x="828734" y="2854451"/>
                </a:moveTo>
                <a:lnTo>
                  <a:pt x="827289" y="2854761"/>
                </a:lnTo>
                <a:lnTo>
                  <a:pt x="825740" y="2855690"/>
                </a:lnTo>
                <a:lnTo>
                  <a:pt x="826257" y="2855845"/>
                </a:lnTo>
                <a:lnTo>
                  <a:pt x="825740" y="2856930"/>
                </a:lnTo>
                <a:lnTo>
                  <a:pt x="826154" y="2857859"/>
                </a:lnTo>
                <a:lnTo>
                  <a:pt x="826154" y="2857704"/>
                </a:lnTo>
                <a:lnTo>
                  <a:pt x="829767" y="2856465"/>
                </a:lnTo>
                <a:lnTo>
                  <a:pt x="829044" y="2855845"/>
                </a:lnTo>
                <a:close/>
                <a:moveTo>
                  <a:pt x="315345" y="2854296"/>
                </a:moveTo>
                <a:cubicBezTo>
                  <a:pt x="317100" y="2853677"/>
                  <a:pt x="317926" y="2853832"/>
                  <a:pt x="318752" y="2854761"/>
                </a:cubicBezTo>
                <a:cubicBezTo>
                  <a:pt x="319682" y="2854761"/>
                  <a:pt x="319682" y="2855690"/>
                  <a:pt x="320508" y="2856620"/>
                </a:cubicBezTo>
                <a:cubicBezTo>
                  <a:pt x="320508" y="2857394"/>
                  <a:pt x="319682" y="2858168"/>
                  <a:pt x="319682" y="2858168"/>
                </a:cubicBezTo>
                <a:cubicBezTo>
                  <a:pt x="318752" y="2858788"/>
                  <a:pt x="318752" y="2858788"/>
                  <a:pt x="319578" y="2859718"/>
                </a:cubicBezTo>
                <a:cubicBezTo>
                  <a:pt x="319578" y="2859718"/>
                  <a:pt x="318752" y="2859718"/>
                  <a:pt x="318752" y="2859718"/>
                </a:cubicBezTo>
                <a:cubicBezTo>
                  <a:pt x="318752" y="2858788"/>
                  <a:pt x="318752" y="2859718"/>
                  <a:pt x="317823" y="2860492"/>
                </a:cubicBezTo>
                <a:cubicBezTo>
                  <a:pt x="316067" y="2859408"/>
                  <a:pt x="315242" y="2859408"/>
                  <a:pt x="314312" y="2858478"/>
                </a:cubicBezTo>
                <a:cubicBezTo>
                  <a:pt x="313899" y="2858014"/>
                  <a:pt x="313486" y="2857239"/>
                  <a:pt x="313280" y="2856620"/>
                </a:cubicBezTo>
                <a:cubicBezTo>
                  <a:pt x="313073" y="2856000"/>
                  <a:pt x="313073" y="2855380"/>
                  <a:pt x="313486" y="2855071"/>
                </a:cubicBezTo>
                <a:cubicBezTo>
                  <a:pt x="314416" y="2855071"/>
                  <a:pt x="314416" y="2854296"/>
                  <a:pt x="315345" y="2854296"/>
                </a:cubicBezTo>
                <a:close/>
                <a:moveTo>
                  <a:pt x="237593" y="2853677"/>
                </a:moveTo>
                <a:cubicBezTo>
                  <a:pt x="239968" y="2854606"/>
                  <a:pt x="241517" y="2855845"/>
                  <a:pt x="243788" y="2856775"/>
                </a:cubicBezTo>
                <a:cubicBezTo>
                  <a:pt x="243788" y="2860337"/>
                  <a:pt x="240691" y="2859718"/>
                  <a:pt x="237593" y="2859098"/>
                </a:cubicBezTo>
                <a:cubicBezTo>
                  <a:pt x="237593" y="2858168"/>
                  <a:pt x="237180" y="2857394"/>
                  <a:pt x="237077" y="2856620"/>
                </a:cubicBezTo>
                <a:cubicBezTo>
                  <a:pt x="236870" y="2855845"/>
                  <a:pt x="236870" y="2854916"/>
                  <a:pt x="237593" y="2853677"/>
                </a:cubicBezTo>
                <a:close/>
                <a:moveTo>
                  <a:pt x="493152" y="2851198"/>
                </a:moveTo>
                <a:cubicBezTo>
                  <a:pt x="494185" y="2851818"/>
                  <a:pt x="494907" y="2852902"/>
                  <a:pt x="494804" y="2854606"/>
                </a:cubicBezTo>
                <a:cubicBezTo>
                  <a:pt x="491603" y="2859253"/>
                  <a:pt x="487783" y="2856000"/>
                  <a:pt x="482207" y="2856155"/>
                </a:cubicBezTo>
                <a:cubicBezTo>
                  <a:pt x="482826" y="2851663"/>
                  <a:pt x="489848" y="2849340"/>
                  <a:pt x="493152" y="2851198"/>
                </a:cubicBezTo>
                <a:close/>
                <a:moveTo>
                  <a:pt x="615821" y="2850114"/>
                </a:moveTo>
                <a:lnTo>
                  <a:pt x="616853" y="2850734"/>
                </a:lnTo>
                <a:lnTo>
                  <a:pt x="617886" y="2850579"/>
                </a:lnTo>
                <a:cubicBezTo>
                  <a:pt x="623874" y="2851044"/>
                  <a:pt x="629347" y="2853522"/>
                  <a:pt x="629760" y="2858168"/>
                </a:cubicBezTo>
                <a:lnTo>
                  <a:pt x="617472" y="2857549"/>
                </a:lnTo>
                <a:lnTo>
                  <a:pt x="616956" y="2858788"/>
                </a:lnTo>
                <a:lnTo>
                  <a:pt x="617472" y="2859253"/>
                </a:lnTo>
                <a:cubicBezTo>
                  <a:pt x="617989" y="2862041"/>
                  <a:pt x="614065" y="2864829"/>
                  <a:pt x="610761" y="2864984"/>
                </a:cubicBezTo>
                <a:lnTo>
                  <a:pt x="608696" y="2864519"/>
                </a:lnTo>
                <a:lnTo>
                  <a:pt x="608489" y="2864674"/>
                </a:lnTo>
                <a:cubicBezTo>
                  <a:pt x="605804" y="2863745"/>
                  <a:pt x="605185" y="2863590"/>
                  <a:pt x="605392" y="2860802"/>
                </a:cubicBezTo>
                <a:cubicBezTo>
                  <a:pt x="605495" y="2860027"/>
                  <a:pt x="605598" y="2858788"/>
                  <a:pt x="605804" y="2857239"/>
                </a:cubicBezTo>
                <a:lnTo>
                  <a:pt x="606321" y="2856155"/>
                </a:lnTo>
                <a:lnTo>
                  <a:pt x="602397" y="2855071"/>
                </a:lnTo>
                <a:cubicBezTo>
                  <a:pt x="603739" y="2853367"/>
                  <a:pt x="606114" y="2852128"/>
                  <a:pt x="608902" y="2851353"/>
                </a:cubicBezTo>
                <a:lnTo>
                  <a:pt x="612723" y="2851044"/>
                </a:lnTo>
                <a:lnTo>
                  <a:pt x="612929" y="2850889"/>
                </a:lnTo>
                <a:cubicBezTo>
                  <a:pt x="613858" y="2850424"/>
                  <a:pt x="614891" y="2850114"/>
                  <a:pt x="615821" y="2850114"/>
                </a:cubicBezTo>
                <a:close/>
                <a:moveTo>
                  <a:pt x="496766" y="2848100"/>
                </a:moveTo>
                <a:cubicBezTo>
                  <a:pt x="500690" y="2846551"/>
                  <a:pt x="508124" y="2850114"/>
                  <a:pt x="506059" y="2855380"/>
                </a:cubicBezTo>
                <a:cubicBezTo>
                  <a:pt x="504097" y="2857084"/>
                  <a:pt x="502135" y="2858788"/>
                  <a:pt x="497902" y="2857704"/>
                </a:cubicBezTo>
                <a:cubicBezTo>
                  <a:pt x="496766" y="2856310"/>
                  <a:pt x="496043" y="2854916"/>
                  <a:pt x="495940" y="2853522"/>
                </a:cubicBezTo>
                <a:cubicBezTo>
                  <a:pt x="495733" y="2851973"/>
                  <a:pt x="496043" y="2850269"/>
                  <a:pt x="496766" y="2848100"/>
                </a:cubicBezTo>
                <a:close/>
                <a:moveTo>
                  <a:pt x="954810" y="2847016"/>
                </a:moveTo>
                <a:cubicBezTo>
                  <a:pt x="954810" y="2847016"/>
                  <a:pt x="954810" y="2847171"/>
                  <a:pt x="955636" y="2847171"/>
                </a:cubicBezTo>
                <a:cubicBezTo>
                  <a:pt x="957392" y="2847326"/>
                  <a:pt x="958321" y="2847481"/>
                  <a:pt x="959147" y="2847481"/>
                </a:cubicBezTo>
                <a:cubicBezTo>
                  <a:pt x="959973" y="2848410"/>
                  <a:pt x="961625" y="2851044"/>
                  <a:pt x="960799" y="2851818"/>
                </a:cubicBezTo>
                <a:cubicBezTo>
                  <a:pt x="959044" y="2853367"/>
                  <a:pt x="956463" y="2853987"/>
                  <a:pt x="955636" y="2853057"/>
                </a:cubicBezTo>
                <a:cubicBezTo>
                  <a:pt x="954294" y="2851663"/>
                  <a:pt x="953055" y="2850269"/>
                  <a:pt x="953571" y="2848720"/>
                </a:cubicBezTo>
                <a:cubicBezTo>
                  <a:pt x="953778" y="2848100"/>
                  <a:pt x="954191" y="2847636"/>
                  <a:pt x="954810" y="2847016"/>
                </a:cubicBezTo>
                <a:close/>
                <a:moveTo>
                  <a:pt x="745510" y="2846397"/>
                </a:moveTo>
                <a:cubicBezTo>
                  <a:pt x="744994" y="2847945"/>
                  <a:pt x="746233" y="2850114"/>
                  <a:pt x="745717" y="2851663"/>
                </a:cubicBezTo>
                <a:cubicBezTo>
                  <a:pt x="741483" y="2853832"/>
                  <a:pt x="737663" y="2849030"/>
                  <a:pt x="738076" y="2847326"/>
                </a:cubicBezTo>
                <a:cubicBezTo>
                  <a:pt x="740244" y="2846397"/>
                  <a:pt x="743445" y="2847481"/>
                  <a:pt x="745510" y="2846397"/>
                </a:cubicBezTo>
                <a:close/>
                <a:moveTo>
                  <a:pt x="650205" y="2844693"/>
                </a:moveTo>
                <a:cubicBezTo>
                  <a:pt x="652890" y="2848410"/>
                  <a:pt x="648965" y="2853832"/>
                  <a:pt x="644525" y="2853212"/>
                </a:cubicBezTo>
                <a:cubicBezTo>
                  <a:pt x="643906" y="2852283"/>
                  <a:pt x="642357" y="2851353"/>
                  <a:pt x="641841" y="2849494"/>
                </a:cubicBezTo>
                <a:cubicBezTo>
                  <a:pt x="643699" y="2845467"/>
                  <a:pt x="646694" y="2844228"/>
                  <a:pt x="650205" y="2844693"/>
                </a:cubicBezTo>
                <a:close/>
                <a:moveTo>
                  <a:pt x="1294420" y="2843144"/>
                </a:moveTo>
                <a:cubicBezTo>
                  <a:pt x="1294937" y="2844228"/>
                  <a:pt x="1295866" y="2845157"/>
                  <a:pt x="1297105" y="2845777"/>
                </a:cubicBezTo>
                <a:lnTo>
                  <a:pt x="1301029" y="2847016"/>
                </a:lnTo>
                <a:lnTo>
                  <a:pt x="1299790" y="2844228"/>
                </a:lnTo>
                <a:lnTo>
                  <a:pt x="1300099" y="2843299"/>
                </a:lnTo>
                <a:lnTo>
                  <a:pt x="1298757" y="2843454"/>
                </a:lnTo>
                <a:cubicBezTo>
                  <a:pt x="1297208" y="2843144"/>
                  <a:pt x="1295453" y="2842524"/>
                  <a:pt x="1294420" y="2843144"/>
                </a:cubicBezTo>
                <a:close/>
                <a:moveTo>
                  <a:pt x="564915" y="2840820"/>
                </a:moveTo>
                <a:cubicBezTo>
                  <a:pt x="567290" y="2839891"/>
                  <a:pt x="573072" y="2840355"/>
                  <a:pt x="575860" y="2844073"/>
                </a:cubicBezTo>
                <a:cubicBezTo>
                  <a:pt x="574621" y="2849185"/>
                  <a:pt x="571214" y="2849649"/>
                  <a:pt x="566051" y="2846861"/>
                </a:cubicBezTo>
                <a:cubicBezTo>
                  <a:pt x="566051" y="2845002"/>
                  <a:pt x="565328" y="2843454"/>
                  <a:pt x="564915" y="2840820"/>
                </a:cubicBezTo>
                <a:close/>
                <a:moveTo>
                  <a:pt x="584121" y="2840046"/>
                </a:moveTo>
                <a:cubicBezTo>
                  <a:pt x="584740" y="2840046"/>
                  <a:pt x="585566" y="2840046"/>
                  <a:pt x="586599" y="2840355"/>
                </a:cubicBezTo>
                <a:cubicBezTo>
                  <a:pt x="586289" y="2845777"/>
                  <a:pt x="588870" y="2850579"/>
                  <a:pt x="587115" y="2852902"/>
                </a:cubicBezTo>
                <a:cubicBezTo>
                  <a:pt x="586495" y="2853677"/>
                  <a:pt x="585360" y="2854142"/>
                  <a:pt x="583501" y="2854296"/>
                </a:cubicBezTo>
                <a:cubicBezTo>
                  <a:pt x="582778" y="2852902"/>
                  <a:pt x="581746" y="2849649"/>
                  <a:pt x="581436" y="2846551"/>
                </a:cubicBezTo>
                <a:cubicBezTo>
                  <a:pt x="581230" y="2843454"/>
                  <a:pt x="581746" y="2840511"/>
                  <a:pt x="584121" y="2840046"/>
                </a:cubicBezTo>
                <a:close/>
                <a:moveTo>
                  <a:pt x="635542" y="2839426"/>
                </a:moveTo>
                <a:cubicBezTo>
                  <a:pt x="637194" y="2840975"/>
                  <a:pt x="638847" y="2842679"/>
                  <a:pt x="636988" y="2844383"/>
                </a:cubicBezTo>
                <a:cubicBezTo>
                  <a:pt x="636058" y="2845157"/>
                  <a:pt x="635232" y="2846087"/>
                  <a:pt x="633477" y="2846242"/>
                </a:cubicBezTo>
                <a:cubicBezTo>
                  <a:pt x="631825" y="2844693"/>
                  <a:pt x="632754" y="2842059"/>
                  <a:pt x="631928" y="2841285"/>
                </a:cubicBezTo>
                <a:cubicBezTo>
                  <a:pt x="632858" y="2841285"/>
                  <a:pt x="634613" y="2841130"/>
                  <a:pt x="635542" y="2839426"/>
                </a:cubicBezTo>
                <a:close/>
                <a:moveTo>
                  <a:pt x="400841" y="2838497"/>
                </a:moveTo>
                <a:cubicBezTo>
                  <a:pt x="403216" y="2836948"/>
                  <a:pt x="408379" y="2837258"/>
                  <a:pt x="407966" y="2840511"/>
                </a:cubicBezTo>
                <a:lnTo>
                  <a:pt x="407553" y="2841130"/>
                </a:lnTo>
                <a:lnTo>
                  <a:pt x="407759" y="2841595"/>
                </a:lnTo>
                <a:cubicBezTo>
                  <a:pt x="407862" y="2842524"/>
                  <a:pt x="407656" y="2843609"/>
                  <a:pt x="407656" y="2844383"/>
                </a:cubicBezTo>
                <a:cubicBezTo>
                  <a:pt x="409515" y="2845002"/>
                  <a:pt x="406210" y="2847945"/>
                  <a:pt x="407966" y="2848565"/>
                </a:cubicBezTo>
                <a:cubicBezTo>
                  <a:pt x="404661" y="2852283"/>
                  <a:pt x="409308" y="2855845"/>
                  <a:pt x="405281" y="2862196"/>
                </a:cubicBezTo>
                <a:cubicBezTo>
                  <a:pt x="404455" y="2860182"/>
                  <a:pt x="404042" y="2858324"/>
                  <a:pt x="403939" y="2856620"/>
                </a:cubicBezTo>
                <a:cubicBezTo>
                  <a:pt x="403629" y="2853832"/>
                  <a:pt x="403835" y="2851508"/>
                  <a:pt x="403939" y="2849340"/>
                </a:cubicBezTo>
                <a:lnTo>
                  <a:pt x="403319" y="2843763"/>
                </a:lnTo>
                <a:lnTo>
                  <a:pt x="401667" y="2842834"/>
                </a:lnTo>
                <a:cubicBezTo>
                  <a:pt x="400841" y="2842214"/>
                  <a:pt x="400324" y="2841750"/>
                  <a:pt x="400015" y="2841130"/>
                </a:cubicBezTo>
                <a:cubicBezTo>
                  <a:pt x="399705" y="2840665"/>
                  <a:pt x="399705" y="2840046"/>
                  <a:pt x="399912" y="2839581"/>
                </a:cubicBezTo>
                <a:cubicBezTo>
                  <a:pt x="400015" y="2839271"/>
                  <a:pt x="400428" y="2838807"/>
                  <a:pt x="400841" y="2838497"/>
                </a:cubicBezTo>
                <a:close/>
                <a:moveTo>
                  <a:pt x="431095" y="2838187"/>
                </a:moveTo>
                <a:cubicBezTo>
                  <a:pt x="434502" y="2836483"/>
                  <a:pt x="440078" y="2842679"/>
                  <a:pt x="444105" y="2845312"/>
                </a:cubicBezTo>
                <a:cubicBezTo>
                  <a:pt x="443383" y="2848875"/>
                  <a:pt x="442866" y="2849959"/>
                  <a:pt x="439975" y="2852283"/>
                </a:cubicBezTo>
                <a:cubicBezTo>
                  <a:pt x="434399" y="2850734"/>
                  <a:pt x="431508" y="2846861"/>
                  <a:pt x="428617" y="2842989"/>
                </a:cubicBezTo>
                <a:cubicBezTo>
                  <a:pt x="429133" y="2840201"/>
                  <a:pt x="429959" y="2838807"/>
                  <a:pt x="431095" y="2838187"/>
                </a:cubicBezTo>
                <a:close/>
                <a:moveTo>
                  <a:pt x="1112896" y="2838032"/>
                </a:moveTo>
                <a:lnTo>
                  <a:pt x="1113515" y="2838652"/>
                </a:lnTo>
                <a:lnTo>
                  <a:pt x="1113825" y="2838032"/>
                </a:lnTo>
                <a:close/>
                <a:moveTo>
                  <a:pt x="1303817" y="2836328"/>
                </a:moveTo>
                <a:lnTo>
                  <a:pt x="1301958" y="2839271"/>
                </a:lnTo>
                <a:lnTo>
                  <a:pt x="1304230" y="2840820"/>
                </a:lnTo>
                <a:cubicBezTo>
                  <a:pt x="1305159" y="2841750"/>
                  <a:pt x="1306192" y="2842989"/>
                  <a:pt x="1306914" y="2843919"/>
                </a:cubicBezTo>
                <a:cubicBezTo>
                  <a:pt x="1306811" y="2845157"/>
                  <a:pt x="1306295" y="2846242"/>
                  <a:pt x="1305469" y="2847326"/>
                </a:cubicBezTo>
                <a:lnTo>
                  <a:pt x="1304746" y="2847791"/>
                </a:lnTo>
                <a:lnTo>
                  <a:pt x="1306398" y="2848100"/>
                </a:lnTo>
                <a:cubicBezTo>
                  <a:pt x="1307947" y="2848255"/>
                  <a:pt x="1309289" y="2848410"/>
                  <a:pt x="1310115" y="2848565"/>
                </a:cubicBezTo>
                <a:cubicBezTo>
                  <a:pt x="1310528" y="2847171"/>
                  <a:pt x="1308257" y="2847171"/>
                  <a:pt x="1307121" y="2846087"/>
                </a:cubicBezTo>
                <a:cubicBezTo>
                  <a:pt x="1307637" y="2846087"/>
                  <a:pt x="1308876" y="2846242"/>
                  <a:pt x="1310425" y="2846551"/>
                </a:cubicBezTo>
                <a:lnTo>
                  <a:pt x="1311251" y="2846861"/>
                </a:lnTo>
                <a:lnTo>
                  <a:pt x="1310115" y="2845932"/>
                </a:lnTo>
                <a:cubicBezTo>
                  <a:pt x="1308773" y="2844383"/>
                  <a:pt x="1307637" y="2842524"/>
                  <a:pt x="1306914" y="2840820"/>
                </a:cubicBezTo>
                <a:lnTo>
                  <a:pt x="1305778" y="2836328"/>
                </a:lnTo>
                <a:close/>
                <a:moveTo>
                  <a:pt x="1160600" y="2835244"/>
                </a:moveTo>
                <a:cubicBezTo>
                  <a:pt x="1151617" y="2835089"/>
                  <a:pt x="1139020" y="2834314"/>
                  <a:pt x="1141498" y="2840975"/>
                </a:cubicBezTo>
                <a:cubicBezTo>
                  <a:pt x="1137884" y="2840511"/>
                  <a:pt x="1140052" y="2836173"/>
                  <a:pt x="1136232" y="2836328"/>
                </a:cubicBezTo>
                <a:cubicBezTo>
                  <a:pt x="1130139" y="2837567"/>
                  <a:pt x="1125287" y="2840355"/>
                  <a:pt x="1116097" y="2841440"/>
                </a:cubicBezTo>
                <a:lnTo>
                  <a:pt x="1115168" y="2841440"/>
                </a:lnTo>
                <a:lnTo>
                  <a:pt x="1116303" y="2844693"/>
                </a:lnTo>
                <a:lnTo>
                  <a:pt x="1115890" y="2845622"/>
                </a:lnTo>
                <a:lnTo>
                  <a:pt x="1120330" y="2846087"/>
                </a:lnTo>
                <a:cubicBezTo>
                  <a:pt x="1127765" y="2846397"/>
                  <a:pt x="1134373" y="2847326"/>
                  <a:pt x="1140568" y="2846551"/>
                </a:cubicBezTo>
                <a:cubicBezTo>
                  <a:pt x="1139536" y="2847636"/>
                  <a:pt x="1139020" y="2848565"/>
                  <a:pt x="1139226" y="2849340"/>
                </a:cubicBezTo>
                <a:lnTo>
                  <a:pt x="1140878" y="2850424"/>
                </a:lnTo>
                <a:lnTo>
                  <a:pt x="1140568" y="2849804"/>
                </a:lnTo>
                <a:cubicBezTo>
                  <a:pt x="1140465" y="2848565"/>
                  <a:pt x="1140878" y="2847481"/>
                  <a:pt x="1141807" y="2846861"/>
                </a:cubicBezTo>
                <a:cubicBezTo>
                  <a:pt x="1142324" y="2846551"/>
                  <a:pt x="1143150" y="2846397"/>
                  <a:pt x="1144182" y="2846242"/>
                </a:cubicBezTo>
                <a:lnTo>
                  <a:pt x="1145215" y="2848255"/>
                </a:lnTo>
                <a:lnTo>
                  <a:pt x="1146764" y="2847326"/>
                </a:lnTo>
                <a:cubicBezTo>
                  <a:pt x="1148726" y="2846242"/>
                  <a:pt x="1150068" y="2845002"/>
                  <a:pt x="1147590" y="2843144"/>
                </a:cubicBezTo>
                <a:lnTo>
                  <a:pt x="1149242" y="2842834"/>
                </a:lnTo>
                <a:lnTo>
                  <a:pt x="1147280" y="2841440"/>
                </a:lnTo>
                <a:cubicBezTo>
                  <a:pt x="1147693" y="2839736"/>
                  <a:pt x="1148623" y="2838497"/>
                  <a:pt x="1149655" y="2837723"/>
                </a:cubicBezTo>
                <a:cubicBezTo>
                  <a:pt x="1152753" y="2835554"/>
                  <a:pt x="1157296" y="2837412"/>
                  <a:pt x="1158122" y="2840665"/>
                </a:cubicBezTo>
                <a:lnTo>
                  <a:pt x="1158019" y="2843144"/>
                </a:lnTo>
                <a:lnTo>
                  <a:pt x="1158225" y="2843144"/>
                </a:lnTo>
                <a:cubicBezTo>
                  <a:pt x="1159981" y="2842214"/>
                  <a:pt x="1159877" y="2840046"/>
                  <a:pt x="1160600" y="2835244"/>
                </a:cubicBezTo>
                <a:close/>
                <a:moveTo>
                  <a:pt x="779894" y="2835089"/>
                </a:moveTo>
                <a:lnTo>
                  <a:pt x="778965" y="2836173"/>
                </a:lnTo>
                <a:lnTo>
                  <a:pt x="779688" y="2836173"/>
                </a:lnTo>
                <a:close/>
                <a:moveTo>
                  <a:pt x="582778" y="2834314"/>
                </a:moveTo>
                <a:cubicBezTo>
                  <a:pt x="582778" y="2834314"/>
                  <a:pt x="583501" y="2834780"/>
                  <a:pt x="583501" y="2834780"/>
                </a:cubicBezTo>
                <a:cubicBezTo>
                  <a:pt x="583708" y="2834469"/>
                  <a:pt x="583811" y="2834469"/>
                  <a:pt x="583811" y="2834624"/>
                </a:cubicBezTo>
                <a:cubicBezTo>
                  <a:pt x="583914" y="2834934"/>
                  <a:pt x="584018" y="2835554"/>
                  <a:pt x="584533" y="2836328"/>
                </a:cubicBezTo>
                <a:cubicBezTo>
                  <a:pt x="584844" y="2837412"/>
                  <a:pt x="585669" y="2837877"/>
                  <a:pt x="584533" y="2838032"/>
                </a:cubicBezTo>
                <a:cubicBezTo>
                  <a:pt x="583295" y="2838342"/>
                  <a:pt x="583295" y="2838342"/>
                  <a:pt x="581126" y="2836948"/>
                </a:cubicBezTo>
                <a:cubicBezTo>
                  <a:pt x="582262" y="2836638"/>
                  <a:pt x="582262" y="2836638"/>
                  <a:pt x="581952" y="2835554"/>
                </a:cubicBezTo>
                <a:cubicBezTo>
                  <a:pt x="581952" y="2835554"/>
                  <a:pt x="581952" y="2835554"/>
                  <a:pt x="581230" y="2835089"/>
                </a:cubicBezTo>
                <a:cubicBezTo>
                  <a:pt x="581643" y="2834469"/>
                  <a:pt x="582365" y="2834934"/>
                  <a:pt x="582778" y="2834314"/>
                </a:cubicBezTo>
                <a:close/>
                <a:moveTo>
                  <a:pt x="1023372" y="2833386"/>
                </a:moveTo>
                <a:cubicBezTo>
                  <a:pt x="1019862" y="2835089"/>
                  <a:pt x="1017384" y="2835709"/>
                  <a:pt x="1014802" y="2836018"/>
                </a:cubicBezTo>
                <a:lnTo>
                  <a:pt x="1016351" y="2838187"/>
                </a:lnTo>
                <a:lnTo>
                  <a:pt x="1016145" y="2839426"/>
                </a:lnTo>
                <a:lnTo>
                  <a:pt x="1024096" y="2840820"/>
                </a:lnTo>
                <a:cubicBezTo>
                  <a:pt x="1022547" y="2842059"/>
                  <a:pt x="1020482" y="2842524"/>
                  <a:pt x="1018210" y="2842524"/>
                </a:cubicBezTo>
                <a:lnTo>
                  <a:pt x="1015835" y="2842369"/>
                </a:lnTo>
                <a:lnTo>
                  <a:pt x="1015628" y="2843299"/>
                </a:lnTo>
                <a:lnTo>
                  <a:pt x="1012014" y="2849030"/>
                </a:lnTo>
                <a:lnTo>
                  <a:pt x="1012014" y="2849494"/>
                </a:lnTo>
                <a:lnTo>
                  <a:pt x="1011704" y="2849494"/>
                </a:lnTo>
                <a:lnTo>
                  <a:pt x="1008917" y="2853832"/>
                </a:lnTo>
                <a:lnTo>
                  <a:pt x="1005819" y="2849494"/>
                </a:lnTo>
                <a:lnTo>
                  <a:pt x="1001482" y="2850269"/>
                </a:lnTo>
                <a:lnTo>
                  <a:pt x="1001482" y="2849804"/>
                </a:lnTo>
                <a:lnTo>
                  <a:pt x="999830" y="2851044"/>
                </a:lnTo>
                <a:cubicBezTo>
                  <a:pt x="996010" y="2854451"/>
                  <a:pt x="992292" y="2857394"/>
                  <a:pt x="987543" y="2855690"/>
                </a:cubicBezTo>
                <a:cubicBezTo>
                  <a:pt x="990331" y="2852283"/>
                  <a:pt x="992602" y="2848565"/>
                  <a:pt x="995906" y="2845467"/>
                </a:cubicBezTo>
                <a:lnTo>
                  <a:pt x="999107" y="2842834"/>
                </a:lnTo>
                <a:lnTo>
                  <a:pt x="996113" y="2843609"/>
                </a:lnTo>
                <a:lnTo>
                  <a:pt x="1000863" y="2840820"/>
                </a:lnTo>
                <a:lnTo>
                  <a:pt x="1000656" y="2840355"/>
                </a:lnTo>
                <a:lnTo>
                  <a:pt x="994874" y="2840201"/>
                </a:lnTo>
                <a:cubicBezTo>
                  <a:pt x="991570" y="2840665"/>
                  <a:pt x="991466" y="2841595"/>
                  <a:pt x="988472" y="2839271"/>
                </a:cubicBezTo>
                <a:lnTo>
                  <a:pt x="984549" y="2836173"/>
                </a:lnTo>
                <a:lnTo>
                  <a:pt x="982173" y="2836173"/>
                </a:lnTo>
                <a:lnTo>
                  <a:pt x="980418" y="2836328"/>
                </a:lnTo>
                <a:cubicBezTo>
                  <a:pt x="977734" y="2837258"/>
                  <a:pt x="977734" y="2839271"/>
                  <a:pt x="974739" y="2839891"/>
                </a:cubicBezTo>
                <a:cubicBezTo>
                  <a:pt x="977320" y="2843763"/>
                  <a:pt x="983309" y="2838497"/>
                  <a:pt x="986923" y="2838961"/>
                </a:cubicBezTo>
                <a:cubicBezTo>
                  <a:pt x="984135" y="2840975"/>
                  <a:pt x="981761" y="2843763"/>
                  <a:pt x="980108" y="2846861"/>
                </a:cubicBezTo>
                <a:cubicBezTo>
                  <a:pt x="977734" y="2844538"/>
                  <a:pt x="974532" y="2842679"/>
                  <a:pt x="970919" y="2842214"/>
                </a:cubicBezTo>
                <a:cubicBezTo>
                  <a:pt x="968957" y="2841595"/>
                  <a:pt x="966788" y="2840820"/>
                  <a:pt x="964620" y="2840820"/>
                </a:cubicBezTo>
                <a:cubicBezTo>
                  <a:pt x="963897" y="2840511"/>
                  <a:pt x="963897" y="2840511"/>
                  <a:pt x="963071" y="2840975"/>
                </a:cubicBezTo>
                <a:cubicBezTo>
                  <a:pt x="963071" y="2840975"/>
                  <a:pt x="963071" y="2840975"/>
                  <a:pt x="962348" y="2840820"/>
                </a:cubicBezTo>
                <a:cubicBezTo>
                  <a:pt x="962348" y="2840820"/>
                  <a:pt x="961625" y="2840511"/>
                  <a:pt x="961625" y="2840511"/>
                </a:cubicBezTo>
                <a:cubicBezTo>
                  <a:pt x="961006" y="2840201"/>
                  <a:pt x="960283" y="2840046"/>
                  <a:pt x="960076" y="2840665"/>
                </a:cubicBezTo>
                <a:cubicBezTo>
                  <a:pt x="958528" y="2840820"/>
                  <a:pt x="959767" y="2844228"/>
                  <a:pt x="960076" y="2845777"/>
                </a:cubicBezTo>
                <a:cubicBezTo>
                  <a:pt x="958115" y="2847326"/>
                  <a:pt x="958218" y="2844383"/>
                  <a:pt x="957495" y="2841905"/>
                </a:cubicBezTo>
                <a:cubicBezTo>
                  <a:pt x="955120" y="2844847"/>
                  <a:pt x="951713" y="2845932"/>
                  <a:pt x="949131" y="2847171"/>
                </a:cubicBezTo>
                <a:cubicBezTo>
                  <a:pt x="948202" y="2847481"/>
                  <a:pt x="947479" y="2847326"/>
                  <a:pt x="946653" y="2847791"/>
                </a:cubicBezTo>
                <a:cubicBezTo>
                  <a:pt x="946653" y="2847791"/>
                  <a:pt x="946653" y="2847791"/>
                  <a:pt x="945104" y="2847945"/>
                </a:cubicBezTo>
                <a:cubicBezTo>
                  <a:pt x="945104" y="2847945"/>
                  <a:pt x="945104" y="2847945"/>
                  <a:pt x="944898" y="2848565"/>
                </a:cubicBezTo>
                <a:cubicBezTo>
                  <a:pt x="944898" y="2848565"/>
                  <a:pt x="944898" y="2848565"/>
                  <a:pt x="944175" y="2848410"/>
                </a:cubicBezTo>
                <a:cubicBezTo>
                  <a:pt x="944175" y="2848410"/>
                  <a:pt x="944175" y="2848255"/>
                  <a:pt x="936328" y="2849340"/>
                </a:cubicBezTo>
                <a:lnTo>
                  <a:pt x="934779" y="2849649"/>
                </a:lnTo>
                <a:lnTo>
                  <a:pt x="932817" y="2851508"/>
                </a:lnTo>
                <a:cubicBezTo>
                  <a:pt x="931991" y="2852128"/>
                  <a:pt x="931061" y="2852438"/>
                  <a:pt x="930132" y="2852438"/>
                </a:cubicBezTo>
                <a:lnTo>
                  <a:pt x="928480" y="2852128"/>
                </a:lnTo>
                <a:lnTo>
                  <a:pt x="930339" y="2853057"/>
                </a:lnTo>
                <a:cubicBezTo>
                  <a:pt x="932921" y="2854606"/>
                  <a:pt x="934985" y="2856155"/>
                  <a:pt x="935089" y="2857549"/>
                </a:cubicBezTo>
                <a:cubicBezTo>
                  <a:pt x="934263" y="2857704"/>
                  <a:pt x="933436" y="2858014"/>
                  <a:pt x="932300" y="2857394"/>
                </a:cubicBezTo>
                <a:cubicBezTo>
                  <a:pt x="931165" y="2856930"/>
                  <a:pt x="931991" y="2856620"/>
                  <a:pt x="931165" y="2856930"/>
                </a:cubicBezTo>
                <a:cubicBezTo>
                  <a:pt x="930029" y="2856465"/>
                  <a:pt x="930339" y="2857239"/>
                  <a:pt x="930339" y="2857239"/>
                </a:cubicBezTo>
                <a:cubicBezTo>
                  <a:pt x="930339" y="2857239"/>
                  <a:pt x="930029" y="2856465"/>
                  <a:pt x="930029" y="2856465"/>
                </a:cubicBezTo>
                <a:cubicBezTo>
                  <a:pt x="930029" y="2856465"/>
                  <a:pt x="930029" y="2856465"/>
                  <a:pt x="927758" y="2855380"/>
                </a:cubicBezTo>
                <a:cubicBezTo>
                  <a:pt x="924660" y="2854451"/>
                  <a:pt x="923834" y="2854761"/>
                  <a:pt x="921872" y="2854451"/>
                </a:cubicBezTo>
                <a:lnTo>
                  <a:pt x="921459" y="2854142"/>
                </a:lnTo>
                <a:lnTo>
                  <a:pt x="918878" y="2855845"/>
                </a:lnTo>
                <a:lnTo>
                  <a:pt x="911133" y="2855226"/>
                </a:lnTo>
                <a:lnTo>
                  <a:pt x="916812" y="2857394"/>
                </a:lnTo>
                <a:lnTo>
                  <a:pt x="918258" y="2858633"/>
                </a:lnTo>
                <a:lnTo>
                  <a:pt x="919187" y="2857084"/>
                </a:lnTo>
                <a:cubicBezTo>
                  <a:pt x="921872" y="2856620"/>
                  <a:pt x="924660" y="2856310"/>
                  <a:pt x="927861" y="2859253"/>
                </a:cubicBezTo>
                <a:cubicBezTo>
                  <a:pt x="928170" y="2860957"/>
                  <a:pt x="927964" y="2862506"/>
                  <a:pt x="927345" y="2863745"/>
                </a:cubicBezTo>
                <a:lnTo>
                  <a:pt x="926208" y="2864984"/>
                </a:lnTo>
                <a:lnTo>
                  <a:pt x="927345" y="2866223"/>
                </a:lnTo>
                <a:lnTo>
                  <a:pt x="933746" y="2865139"/>
                </a:lnTo>
                <a:cubicBezTo>
                  <a:pt x="936018" y="2865139"/>
                  <a:pt x="937773" y="2864365"/>
                  <a:pt x="939322" y="2864055"/>
                </a:cubicBezTo>
                <a:cubicBezTo>
                  <a:pt x="939322" y="2864055"/>
                  <a:pt x="939322" y="2864055"/>
                  <a:pt x="947170" y="2863125"/>
                </a:cubicBezTo>
                <a:cubicBezTo>
                  <a:pt x="947170" y="2863125"/>
                  <a:pt x="947170" y="2863125"/>
                  <a:pt x="947892" y="2863435"/>
                </a:cubicBezTo>
                <a:cubicBezTo>
                  <a:pt x="947892" y="2863435"/>
                  <a:pt x="947892" y="2863281"/>
                  <a:pt x="948099" y="2862661"/>
                </a:cubicBezTo>
                <a:cubicBezTo>
                  <a:pt x="948099" y="2862661"/>
                  <a:pt x="947996" y="2862661"/>
                  <a:pt x="949648" y="2862506"/>
                </a:cubicBezTo>
                <a:cubicBezTo>
                  <a:pt x="951816" y="2862506"/>
                  <a:pt x="953468" y="2862351"/>
                  <a:pt x="955636" y="2862351"/>
                </a:cubicBezTo>
                <a:cubicBezTo>
                  <a:pt x="957186" y="2862196"/>
                  <a:pt x="959251" y="2862971"/>
                  <a:pt x="960799" y="2862815"/>
                </a:cubicBezTo>
                <a:cubicBezTo>
                  <a:pt x="962245" y="2863281"/>
                  <a:pt x="962864" y="2863435"/>
                  <a:pt x="963794" y="2862971"/>
                </a:cubicBezTo>
                <a:cubicBezTo>
                  <a:pt x="964517" y="2863281"/>
                  <a:pt x="965136" y="2863435"/>
                  <a:pt x="965136" y="2863435"/>
                </a:cubicBezTo>
                <a:cubicBezTo>
                  <a:pt x="965859" y="2863745"/>
                  <a:pt x="965756" y="2863745"/>
                  <a:pt x="967201" y="2864210"/>
                </a:cubicBezTo>
                <a:cubicBezTo>
                  <a:pt x="969576" y="2863590"/>
                  <a:pt x="969163" y="2862661"/>
                  <a:pt x="967821" y="2862196"/>
                </a:cubicBezTo>
                <a:cubicBezTo>
                  <a:pt x="967098" y="2861886"/>
                  <a:pt x="967098" y="2861886"/>
                  <a:pt x="966479" y="2861731"/>
                </a:cubicBezTo>
                <a:cubicBezTo>
                  <a:pt x="965756" y="2861422"/>
                  <a:pt x="965756" y="2861422"/>
                  <a:pt x="965136" y="2861267"/>
                </a:cubicBezTo>
                <a:cubicBezTo>
                  <a:pt x="965136" y="2861267"/>
                  <a:pt x="964413" y="2861111"/>
                  <a:pt x="964207" y="2861731"/>
                </a:cubicBezTo>
                <a:cubicBezTo>
                  <a:pt x="964620" y="2860337"/>
                  <a:pt x="964620" y="2860337"/>
                  <a:pt x="965446" y="2860027"/>
                </a:cubicBezTo>
                <a:cubicBezTo>
                  <a:pt x="966375" y="2859563"/>
                  <a:pt x="967924" y="2859253"/>
                  <a:pt x="969473" y="2859098"/>
                </a:cubicBezTo>
                <a:cubicBezTo>
                  <a:pt x="973087" y="2859718"/>
                  <a:pt x="976081" y="2859872"/>
                  <a:pt x="976288" y="2861422"/>
                </a:cubicBezTo>
                <a:cubicBezTo>
                  <a:pt x="983619" y="2857394"/>
                  <a:pt x="989814" y="2856620"/>
                  <a:pt x="995906" y="2856620"/>
                </a:cubicBezTo>
                <a:cubicBezTo>
                  <a:pt x="999004" y="2856155"/>
                  <a:pt x="1002618" y="2856620"/>
                  <a:pt x="1005716" y="2856310"/>
                </a:cubicBezTo>
                <a:cubicBezTo>
                  <a:pt x="1006645" y="2855845"/>
                  <a:pt x="1007265" y="2856155"/>
                  <a:pt x="1008194" y="2855690"/>
                </a:cubicBezTo>
                <a:cubicBezTo>
                  <a:pt x="1008917" y="2856000"/>
                  <a:pt x="1009743" y="2855536"/>
                  <a:pt x="1010672" y="2855071"/>
                </a:cubicBezTo>
                <a:lnTo>
                  <a:pt x="1010259" y="2852438"/>
                </a:lnTo>
                <a:lnTo>
                  <a:pt x="1013976" y="2854296"/>
                </a:lnTo>
                <a:lnTo>
                  <a:pt x="1015525" y="2853832"/>
                </a:lnTo>
                <a:cubicBezTo>
                  <a:pt x="1017074" y="2858788"/>
                  <a:pt x="1022443" y="2858324"/>
                  <a:pt x="1027193" y="2857704"/>
                </a:cubicBezTo>
                <a:cubicBezTo>
                  <a:pt x="1031840" y="2857239"/>
                  <a:pt x="1036486" y="2856620"/>
                  <a:pt x="1036176" y="2860182"/>
                </a:cubicBezTo>
                <a:cubicBezTo>
                  <a:pt x="1044127" y="2861422"/>
                  <a:pt x="1034421" y="2853677"/>
                  <a:pt x="1038758" y="2854451"/>
                </a:cubicBezTo>
                <a:cubicBezTo>
                  <a:pt x="1041029" y="2854142"/>
                  <a:pt x="1046605" y="2853987"/>
                  <a:pt x="1052284" y="2853677"/>
                </a:cubicBezTo>
                <a:lnTo>
                  <a:pt x="1057963" y="2853367"/>
                </a:lnTo>
                <a:lnTo>
                  <a:pt x="1064882" y="2848100"/>
                </a:lnTo>
                <a:lnTo>
                  <a:pt x="1066740" y="2849340"/>
                </a:lnTo>
                <a:lnTo>
                  <a:pt x="1066534" y="2847326"/>
                </a:lnTo>
                <a:cubicBezTo>
                  <a:pt x="1073452" y="2846861"/>
                  <a:pt x="1065914" y="2849340"/>
                  <a:pt x="1070458" y="2851663"/>
                </a:cubicBezTo>
                <a:cubicBezTo>
                  <a:pt x="1070870" y="2850269"/>
                  <a:pt x="1072420" y="2850114"/>
                  <a:pt x="1073968" y="2849959"/>
                </a:cubicBezTo>
                <a:cubicBezTo>
                  <a:pt x="1075517" y="2849649"/>
                  <a:pt x="1076963" y="2850114"/>
                  <a:pt x="1078305" y="2850579"/>
                </a:cubicBezTo>
                <a:cubicBezTo>
                  <a:pt x="1081712" y="2851818"/>
                  <a:pt x="1084604" y="2852128"/>
                  <a:pt x="1086669" y="2847791"/>
                </a:cubicBezTo>
                <a:cubicBezTo>
                  <a:pt x="1090076" y="2848875"/>
                  <a:pt x="1090386" y="2850424"/>
                  <a:pt x="1088424" y="2851973"/>
                </a:cubicBezTo>
                <a:lnTo>
                  <a:pt x="1093587" y="2849959"/>
                </a:lnTo>
                <a:lnTo>
                  <a:pt x="1094929" y="2841595"/>
                </a:lnTo>
                <a:lnTo>
                  <a:pt x="1095549" y="2839891"/>
                </a:lnTo>
                <a:lnTo>
                  <a:pt x="1092244" y="2842369"/>
                </a:lnTo>
                <a:cubicBezTo>
                  <a:pt x="1091419" y="2841285"/>
                  <a:pt x="1091109" y="2840355"/>
                  <a:pt x="1090489" y="2839271"/>
                </a:cubicBezTo>
                <a:lnTo>
                  <a:pt x="1090283" y="2839116"/>
                </a:lnTo>
                <a:lnTo>
                  <a:pt x="1087495" y="2842214"/>
                </a:lnTo>
                <a:cubicBezTo>
                  <a:pt x="1081506" y="2847171"/>
                  <a:pt x="1073245" y="2849340"/>
                  <a:pt x="1066637" y="2845312"/>
                </a:cubicBezTo>
                <a:lnTo>
                  <a:pt x="1061784" y="2840046"/>
                </a:lnTo>
                <a:lnTo>
                  <a:pt x="1060029" y="2841440"/>
                </a:lnTo>
                <a:cubicBezTo>
                  <a:pt x="1056415" y="2840975"/>
                  <a:pt x="1054969" y="2838342"/>
                  <a:pt x="1051149" y="2838497"/>
                </a:cubicBezTo>
                <a:cubicBezTo>
                  <a:pt x="1047122" y="2839271"/>
                  <a:pt x="1052904" y="2842679"/>
                  <a:pt x="1056208" y="2841595"/>
                </a:cubicBezTo>
                <a:cubicBezTo>
                  <a:pt x="1053420" y="2843299"/>
                  <a:pt x="1050529" y="2843454"/>
                  <a:pt x="1047638" y="2843144"/>
                </a:cubicBezTo>
                <a:lnTo>
                  <a:pt x="1044643" y="2842059"/>
                </a:lnTo>
                <a:lnTo>
                  <a:pt x="1044540" y="2844073"/>
                </a:lnTo>
                <a:cubicBezTo>
                  <a:pt x="1043404" y="2846861"/>
                  <a:pt x="1040617" y="2848720"/>
                  <a:pt x="1037622" y="2848100"/>
                </a:cubicBezTo>
                <a:cubicBezTo>
                  <a:pt x="1035557" y="2847791"/>
                  <a:pt x="1033492" y="2846397"/>
                  <a:pt x="1031736" y="2843454"/>
                </a:cubicBezTo>
                <a:cubicBezTo>
                  <a:pt x="1033492" y="2842214"/>
                  <a:pt x="1034628" y="2840820"/>
                  <a:pt x="1035454" y="2839581"/>
                </a:cubicBezTo>
                <a:lnTo>
                  <a:pt x="1035763" y="2839271"/>
                </a:lnTo>
                <a:lnTo>
                  <a:pt x="1030807" y="2837877"/>
                </a:lnTo>
                <a:cubicBezTo>
                  <a:pt x="1028122" y="2837567"/>
                  <a:pt x="1025748" y="2837723"/>
                  <a:pt x="1023786" y="2839271"/>
                </a:cubicBezTo>
                <a:cubicBezTo>
                  <a:pt x="1018830" y="2838342"/>
                  <a:pt x="1025541" y="2836173"/>
                  <a:pt x="1023372" y="2833386"/>
                </a:cubicBezTo>
                <a:close/>
                <a:moveTo>
                  <a:pt x="741173" y="2833076"/>
                </a:moveTo>
                <a:cubicBezTo>
                  <a:pt x="743858" y="2832610"/>
                  <a:pt x="748092" y="2834624"/>
                  <a:pt x="748504" y="2836018"/>
                </a:cubicBezTo>
                <a:cubicBezTo>
                  <a:pt x="747782" y="2837723"/>
                  <a:pt x="738592" y="2838497"/>
                  <a:pt x="739315" y="2834469"/>
                </a:cubicBezTo>
                <a:cubicBezTo>
                  <a:pt x="739625" y="2833540"/>
                  <a:pt x="740347" y="2833230"/>
                  <a:pt x="741173" y="2833076"/>
                </a:cubicBezTo>
                <a:close/>
                <a:moveTo>
                  <a:pt x="472707" y="2831372"/>
                </a:moveTo>
                <a:cubicBezTo>
                  <a:pt x="475185" y="2831991"/>
                  <a:pt x="476941" y="2834005"/>
                  <a:pt x="477560" y="2837877"/>
                </a:cubicBezTo>
                <a:cubicBezTo>
                  <a:pt x="467648" y="2841130"/>
                  <a:pt x="461039" y="2848875"/>
                  <a:pt x="455154" y="2847326"/>
                </a:cubicBezTo>
                <a:cubicBezTo>
                  <a:pt x="453192" y="2846861"/>
                  <a:pt x="451230" y="2845312"/>
                  <a:pt x="449371" y="2842214"/>
                </a:cubicBezTo>
                <a:cubicBezTo>
                  <a:pt x="452469" y="2838342"/>
                  <a:pt x="465479" y="2829203"/>
                  <a:pt x="472707" y="2831372"/>
                </a:cubicBezTo>
                <a:close/>
                <a:moveTo>
                  <a:pt x="1269535" y="2831062"/>
                </a:moveTo>
                <a:cubicBezTo>
                  <a:pt x="1269535" y="2836173"/>
                  <a:pt x="1273872" y="2836793"/>
                  <a:pt x="1278519" y="2836328"/>
                </a:cubicBezTo>
                <a:lnTo>
                  <a:pt x="1278932" y="2836328"/>
                </a:lnTo>
                <a:lnTo>
                  <a:pt x="1280377" y="2834780"/>
                </a:lnTo>
                <a:cubicBezTo>
                  <a:pt x="1281513" y="2834469"/>
                  <a:pt x="1282959" y="2834314"/>
                  <a:pt x="1284714" y="2834314"/>
                </a:cubicBezTo>
                <a:cubicBezTo>
                  <a:pt x="1285540" y="2835709"/>
                  <a:pt x="1286676" y="2837103"/>
                  <a:pt x="1287812" y="2838652"/>
                </a:cubicBezTo>
                <a:lnTo>
                  <a:pt x="1289154" y="2840820"/>
                </a:lnTo>
                <a:lnTo>
                  <a:pt x="1295453" y="2840820"/>
                </a:lnTo>
                <a:cubicBezTo>
                  <a:pt x="1296589" y="2840665"/>
                  <a:pt x="1297725" y="2840665"/>
                  <a:pt x="1298757" y="2840975"/>
                </a:cubicBezTo>
                <a:lnTo>
                  <a:pt x="1300512" y="2841905"/>
                </a:lnTo>
                <a:lnTo>
                  <a:pt x="1301132" y="2839426"/>
                </a:lnTo>
                <a:lnTo>
                  <a:pt x="1296072" y="2834005"/>
                </a:lnTo>
                <a:cubicBezTo>
                  <a:pt x="1293801" y="2833230"/>
                  <a:pt x="1291116" y="2833386"/>
                  <a:pt x="1288328" y="2833850"/>
                </a:cubicBezTo>
                <a:cubicBezTo>
                  <a:pt x="1282959" y="2834160"/>
                  <a:pt x="1275731" y="2835399"/>
                  <a:pt x="1269535" y="2831062"/>
                </a:cubicBezTo>
                <a:close/>
                <a:moveTo>
                  <a:pt x="532325" y="2831004"/>
                </a:moveTo>
                <a:cubicBezTo>
                  <a:pt x="536519" y="2830094"/>
                  <a:pt x="540650" y="2830133"/>
                  <a:pt x="541992" y="2831217"/>
                </a:cubicBezTo>
                <a:cubicBezTo>
                  <a:pt x="539617" y="2834160"/>
                  <a:pt x="536003" y="2833695"/>
                  <a:pt x="532699" y="2836793"/>
                </a:cubicBezTo>
                <a:cubicBezTo>
                  <a:pt x="530015" y="2835399"/>
                  <a:pt x="525884" y="2838652"/>
                  <a:pt x="522270" y="2836483"/>
                </a:cubicBezTo>
                <a:cubicBezTo>
                  <a:pt x="523871" y="2833773"/>
                  <a:pt x="528130" y="2831914"/>
                  <a:pt x="532325" y="2831004"/>
                </a:cubicBezTo>
                <a:close/>
                <a:moveTo>
                  <a:pt x="299857" y="2830752"/>
                </a:moveTo>
                <a:cubicBezTo>
                  <a:pt x="300373" y="2830597"/>
                  <a:pt x="301096" y="2830752"/>
                  <a:pt x="301921" y="2831217"/>
                </a:cubicBezTo>
                <a:cubicBezTo>
                  <a:pt x="299133" y="2837723"/>
                  <a:pt x="299133" y="2841130"/>
                  <a:pt x="296346" y="2845777"/>
                </a:cubicBezTo>
                <a:cubicBezTo>
                  <a:pt x="295416" y="2845777"/>
                  <a:pt x="295520" y="2844847"/>
                  <a:pt x="294591" y="2844847"/>
                </a:cubicBezTo>
                <a:cubicBezTo>
                  <a:pt x="294177" y="2844383"/>
                  <a:pt x="294074" y="2843454"/>
                  <a:pt x="294074" y="2842524"/>
                </a:cubicBezTo>
                <a:cubicBezTo>
                  <a:pt x="294177" y="2839426"/>
                  <a:pt x="295829" y="2834780"/>
                  <a:pt x="296552" y="2834934"/>
                </a:cubicBezTo>
                <a:cubicBezTo>
                  <a:pt x="296552" y="2834005"/>
                  <a:pt x="297378" y="2834160"/>
                  <a:pt x="297482" y="2833386"/>
                </a:cubicBezTo>
                <a:cubicBezTo>
                  <a:pt x="297482" y="2833386"/>
                  <a:pt x="297482" y="2832456"/>
                  <a:pt x="298411" y="2831681"/>
                </a:cubicBezTo>
                <a:cubicBezTo>
                  <a:pt x="298824" y="2831372"/>
                  <a:pt x="299237" y="2830907"/>
                  <a:pt x="299857" y="2830752"/>
                </a:cubicBezTo>
                <a:close/>
                <a:moveTo>
                  <a:pt x="649792" y="2829300"/>
                </a:moveTo>
                <a:cubicBezTo>
                  <a:pt x="655574" y="2829087"/>
                  <a:pt x="662131" y="2830830"/>
                  <a:pt x="668171" y="2833386"/>
                </a:cubicBezTo>
                <a:lnTo>
                  <a:pt x="672198" y="2835399"/>
                </a:lnTo>
                <a:lnTo>
                  <a:pt x="673541" y="2833230"/>
                </a:lnTo>
                <a:lnTo>
                  <a:pt x="673850" y="2833230"/>
                </a:lnTo>
                <a:lnTo>
                  <a:pt x="673850" y="2832766"/>
                </a:lnTo>
                <a:cubicBezTo>
                  <a:pt x="673954" y="2832456"/>
                  <a:pt x="674057" y="2832146"/>
                  <a:pt x="673850" y="2831836"/>
                </a:cubicBezTo>
                <a:cubicBezTo>
                  <a:pt x="673850" y="2831836"/>
                  <a:pt x="674573" y="2831526"/>
                  <a:pt x="674573" y="2831526"/>
                </a:cubicBezTo>
                <a:cubicBezTo>
                  <a:pt x="674470" y="2831217"/>
                  <a:pt x="674366" y="2831217"/>
                  <a:pt x="674676" y="2831372"/>
                </a:cubicBezTo>
                <a:cubicBezTo>
                  <a:pt x="674986" y="2831372"/>
                  <a:pt x="675502" y="2831681"/>
                  <a:pt x="676535" y="2831681"/>
                </a:cubicBezTo>
                <a:cubicBezTo>
                  <a:pt x="677568" y="2832146"/>
                  <a:pt x="678394" y="2831836"/>
                  <a:pt x="677981" y="2832921"/>
                </a:cubicBezTo>
                <a:cubicBezTo>
                  <a:pt x="677774" y="2833386"/>
                  <a:pt x="677671" y="2833695"/>
                  <a:pt x="677361" y="2833850"/>
                </a:cubicBezTo>
                <a:lnTo>
                  <a:pt x="676845" y="2834160"/>
                </a:lnTo>
                <a:lnTo>
                  <a:pt x="679117" y="2837412"/>
                </a:lnTo>
                <a:lnTo>
                  <a:pt x="677568" y="2838342"/>
                </a:lnTo>
                <a:lnTo>
                  <a:pt x="679117" y="2839116"/>
                </a:lnTo>
                <a:cubicBezTo>
                  <a:pt x="664867" y="2850734"/>
                  <a:pt x="650515" y="2843763"/>
                  <a:pt x="636058" y="2836948"/>
                </a:cubicBezTo>
                <a:cubicBezTo>
                  <a:pt x="639001" y="2831681"/>
                  <a:pt x="644009" y="2829513"/>
                  <a:pt x="649792" y="2829300"/>
                </a:cubicBezTo>
                <a:close/>
                <a:moveTo>
                  <a:pt x="1335723" y="2828274"/>
                </a:moveTo>
                <a:cubicBezTo>
                  <a:pt x="1336652" y="2828274"/>
                  <a:pt x="1337478" y="2828738"/>
                  <a:pt x="1337685" y="2829203"/>
                </a:cubicBezTo>
                <a:cubicBezTo>
                  <a:pt x="1337168" y="2830133"/>
                  <a:pt x="1335620" y="2830752"/>
                  <a:pt x="1335103" y="2831836"/>
                </a:cubicBezTo>
                <a:cubicBezTo>
                  <a:pt x="1334794" y="2830907"/>
                  <a:pt x="1333658" y="2830442"/>
                  <a:pt x="1333348" y="2829513"/>
                </a:cubicBezTo>
                <a:cubicBezTo>
                  <a:pt x="1333761" y="2828583"/>
                  <a:pt x="1334794" y="2828274"/>
                  <a:pt x="1335723" y="2828274"/>
                </a:cubicBezTo>
                <a:close/>
                <a:moveTo>
                  <a:pt x="687170" y="2827964"/>
                </a:moveTo>
                <a:cubicBezTo>
                  <a:pt x="695741" y="2827809"/>
                  <a:pt x="697393" y="2833386"/>
                  <a:pt x="699664" y="2838187"/>
                </a:cubicBezTo>
                <a:cubicBezTo>
                  <a:pt x="698735" y="2838342"/>
                  <a:pt x="697496" y="2838342"/>
                  <a:pt x="696154" y="2837877"/>
                </a:cubicBezTo>
                <a:lnTo>
                  <a:pt x="693779" y="2836948"/>
                </a:lnTo>
                <a:lnTo>
                  <a:pt x="694089" y="2837723"/>
                </a:lnTo>
                <a:cubicBezTo>
                  <a:pt x="694295" y="2839426"/>
                  <a:pt x="694398" y="2840975"/>
                  <a:pt x="694708" y="2842679"/>
                </a:cubicBezTo>
                <a:lnTo>
                  <a:pt x="696464" y="2846551"/>
                </a:lnTo>
                <a:lnTo>
                  <a:pt x="706479" y="2843919"/>
                </a:lnTo>
                <a:lnTo>
                  <a:pt x="712985" y="2844383"/>
                </a:lnTo>
                <a:lnTo>
                  <a:pt x="712675" y="2841905"/>
                </a:lnTo>
                <a:cubicBezTo>
                  <a:pt x="713501" y="2837877"/>
                  <a:pt x="716289" y="2833386"/>
                  <a:pt x="721555" y="2829513"/>
                </a:cubicBezTo>
                <a:cubicBezTo>
                  <a:pt x="723620" y="2829358"/>
                  <a:pt x="725788" y="2829978"/>
                  <a:pt x="727957" y="2831062"/>
                </a:cubicBezTo>
                <a:cubicBezTo>
                  <a:pt x="734255" y="2834314"/>
                  <a:pt x="739831" y="2841750"/>
                  <a:pt x="738282" y="2846551"/>
                </a:cubicBezTo>
                <a:cubicBezTo>
                  <a:pt x="734771" y="2850734"/>
                  <a:pt x="731364" y="2853367"/>
                  <a:pt x="728060" y="2854606"/>
                </a:cubicBezTo>
                <a:lnTo>
                  <a:pt x="719799" y="2855071"/>
                </a:lnTo>
                <a:lnTo>
                  <a:pt x="715669" y="2859253"/>
                </a:lnTo>
                <a:lnTo>
                  <a:pt x="716289" y="2861731"/>
                </a:lnTo>
                <a:cubicBezTo>
                  <a:pt x="716082" y="2863125"/>
                  <a:pt x="715256" y="2864519"/>
                  <a:pt x="713914" y="2865449"/>
                </a:cubicBezTo>
                <a:lnTo>
                  <a:pt x="712985" y="2865139"/>
                </a:lnTo>
                <a:lnTo>
                  <a:pt x="712881" y="2866223"/>
                </a:lnTo>
                <a:cubicBezTo>
                  <a:pt x="712571" y="2867153"/>
                  <a:pt x="712055" y="2867927"/>
                  <a:pt x="711229" y="2868857"/>
                </a:cubicBezTo>
                <a:cubicBezTo>
                  <a:pt x="708544" y="2871490"/>
                  <a:pt x="702349" y="2873504"/>
                  <a:pt x="699871" y="2871025"/>
                </a:cubicBezTo>
                <a:cubicBezTo>
                  <a:pt x="696567" y="2868701"/>
                  <a:pt x="695844" y="2866223"/>
                  <a:pt x="695947" y="2863590"/>
                </a:cubicBezTo>
                <a:cubicBezTo>
                  <a:pt x="695947" y="2863590"/>
                  <a:pt x="695947" y="2863590"/>
                  <a:pt x="695947" y="2864519"/>
                </a:cubicBezTo>
                <a:cubicBezTo>
                  <a:pt x="692333" y="2868082"/>
                  <a:pt x="686034" y="2874123"/>
                  <a:pt x="683453" y="2873504"/>
                </a:cubicBezTo>
                <a:cubicBezTo>
                  <a:pt x="683453" y="2872574"/>
                  <a:pt x="683556" y="2871800"/>
                  <a:pt x="684383" y="2870870"/>
                </a:cubicBezTo>
                <a:cubicBezTo>
                  <a:pt x="685312" y="2869941"/>
                  <a:pt x="685312" y="2870870"/>
                  <a:pt x="685312" y="2870096"/>
                </a:cubicBezTo>
                <a:lnTo>
                  <a:pt x="685415" y="2869786"/>
                </a:lnTo>
                <a:lnTo>
                  <a:pt x="682730" y="2871490"/>
                </a:lnTo>
                <a:cubicBezTo>
                  <a:pt x="681078" y="2869941"/>
                  <a:pt x="679323" y="2870870"/>
                  <a:pt x="677671" y="2869166"/>
                </a:cubicBezTo>
                <a:cubicBezTo>
                  <a:pt x="683040" y="2863900"/>
                  <a:pt x="688513" y="2857859"/>
                  <a:pt x="693572" y="2860182"/>
                </a:cubicBezTo>
                <a:lnTo>
                  <a:pt x="696154" y="2858478"/>
                </a:lnTo>
                <a:cubicBezTo>
                  <a:pt x="697909" y="2859253"/>
                  <a:pt x="697909" y="2859253"/>
                  <a:pt x="697806" y="2860182"/>
                </a:cubicBezTo>
                <a:lnTo>
                  <a:pt x="699355" y="2858788"/>
                </a:lnTo>
                <a:lnTo>
                  <a:pt x="695225" y="2857394"/>
                </a:lnTo>
                <a:lnTo>
                  <a:pt x="693469" y="2855536"/>
                </a:lnTo>
                <a:lnTo>
                  <a:pt x="692643" y="2855690"/>
                </a:lnTo>
                <a:cubicBezTo>
                  <a:pt x="689235" y="2855845"/>
                  <a:pt x="685931" y="2855380"/>
                  <a:pt x="682730" y="2854296"/>
                </a:cubicBezTo>
                <a:cubicBezTo>
                  <a:pt x="682833" y="2852283"/>
                  <a:pt x="683350" y="2850269"/>
                  <a:pt x="684073" y="2848410"/>
                </a:cubicBezTo>
                <a:lnTo>
                  <a:pt x="685312" y="2845467"/>
                </a:lnTo>
                <a:lnTo>
                  <a:pt x="681801" y="2844228"/>
                </a:lnTo>
                <a:cubicBezTo>
                  <a:pt x="680665" y="2843299"/>
                  <a:pt x="680046" y="2842059"/>
                  <a:pt x="679839" y="2840665"/>
                </a:cubicBezTo>
                <a:cubicBezTo>
                  <a:pt x="680975" y="2839736"/>
                  <a:pt x="682111" y="2839271"/>
                  <a:pt x="683247" y="2839271"/>
                </a:cubicBezTo>
                <a:cubicBezTo>
                  <a:pt x="685002" y="2839271"/>
                  <a:pt x="686448" y="2840046"/>
                  <a:pt x="687274" y="2841285"/>
                </a:cubicBezTo>
                <a:lnTo>
                  <a:pt x="687377" y="2841595"/>
                </a:lnTo>
                <a:lnTo>
                  <a:pt x="691197" y="2835244"/>
                </a:lnTo>
                <a:lnTo>
                  <a:pt x="688513" y="2832610"/>
                </a:lnTo>
                <a:cubicBezTo>
                  <a:pt x="687584" y="2831372"/>
                  <a:pt x="687170" y="2829822"/>
                  <a:pt x="687170" y="2827964"/>
                </a:cubicBezTo>
                <a:close/>
                <a:moveTo>
                  <a:pt x="879124" y="2823317"/>
                </a:moveTo>
                <a:cubicBezTo>
                  <a:pt x="880879" y="2822078"/>
                  <a:pt x="883460" y="2821923"/>
                  <a:pt x="884080" y="2824556"/>
                </a:cubicBezTo>
                <a:cubicBezTo>
                  <a:pt x="883151" y="2826105"/>
                  <a:pt x="881189" y="2827344"/>
                  <a:pt x="879330" y="2828738"/>
                </a:cubicBezTo>
                <a:cubicBezTo>
                  <a:pt x="877885" y="2827809"/>
                  <a:pt x="877368" y="2826879"/>
                  <a:pt x="877471" y="2825950"/>
                </a:cubicBezTo>
                <a:cubicBezTo>
                  <a:pt x="877575" y="2824866"/>
                  <a:pt x="878194" y="2824091"/>
                  <a:pt x="879124" y="2823317"/>
                </a:cubicBezTo>
                <a:close/>
                <a:moveTo>
                  <a:pt x="6349878" y="2822899"/>
                </a:moveTo>
                <a:lnTo>
                  <a:pt x="6349317" y="2823522"/>
                </a:lnTo>
                <a:lnTo>
                  <a:pt x="6346497" y="2837111"/>
                </a:lnTo>
                <a:lnTo>
                  <a:pt x="6346463" y="2837695"/>
                </a:lnTo>
                <a:cubicBezTo>
                  <a:pt x="6348171" y="2839118"/>
                  <a:pt x="6349664" y="2840682"/>
                  <a:pt x="6350305" y="2842959"/>
                </a:cubicBezTo>
                <a:cubicBezTo>
                  <a:pt x="6352012" y="2838406"/>
                  <a:pt x="6348171" y="2831008"/>
                  <a:pt x="6352012" y="2828021"/>
                </a:cubicBezTo>
                <a:cubicBezTo>
                  <a:pt x="6354360" y="2833996"/>
                  <a:pt x="6351159" y="2836983"/>
                  <a:pt x="6356707" y="2845093"/>
                </a:cubicBezTo>
                <a:cubicBezTo>
                  <a:pt x="6352012" y="2849645"/>
                  <a:pt x="6347317" y="2845946"/>
                  <a:pt x="6353506" y="2856332"/>
                </a:cubicBezTo>
                <a:cubicBezTo>
                  <a:pt x="6351905" y="2854127"/>
                  <a:pt x="6349931" y="2853380"/>
                  <a:pt x="6348064" y="2852349"/>
                </a:cubicBezTo>
                <a:lnTo>
                  <a:pt x="6344268" y="2847851"/>
                </a:lnTo>
                <a:lnTo>
                  <a:pt x="6342424" y="2856738"/>
                </a:lnTo>
                <a:lnTo>
                  <a:pt x="6344116" y="2861454"/>
                </a:lnTo>
                <a:cubicBezTo>
                  <a:pt x="6344969" y="2862308"/>
                  <a:pt x="6344969" y="2863730"/>
                  <a:pt x="6345610" y="2864584"/>
                </a:cubicBezTo>
                <a:cubicBezTo>
                  <a:pt x="6345610" y="2865295"/>
                  <a:pt x="6345610" y="2866006"/>
                  <a:pt x="6346463" y="2866006"/>
                </a:cubicBezTo>
                <a:cubicBezTo>
                  <a:pt x="6346463" y="2866718"/>
                  <a:pt x="6346463" y="2866718"/>
                  <a:pt x="6347317" y="2867429"/>
                </a:cubicBezTo>
                <a:cubicBezTo>
                  <a:pt x="6350518" y="2874115"/>
                  <a:pt x="6354360" y="2878668"/>
                  <a:pt x="6351159" y="2869705"/>
                </a:cubicBezTo>
                <a:cubicBezTo>
                  <a:pt x="6356707" y="2871981"/>
                  <a:pt x="6356707" y="2889908"/>
                  <a:pt x="6362256" y="2883932"/>
                </a:cubicBezTo>
                <a:cubicBezTo>
                  <a:pt x="6366098" y="2889053"/>
                  <a:pt x="6366098" y="2892753"/>
                  <a:pt x="6365244" y="2896594"/>
                </a:cubicBezTo>
                <a:lnTo>
                  <a:pt x="6365244" y="2900435"/>
                </a:lnTo>
                <a:lnTo>
                  <a:pt x="6368873" y="2897021"/>
                </a:lnTo>
                <a:cubicBezTo>
                  <a:pt x="6373354" y="2900577"/>
                  <a:pt x="6378049" y="2902427"/>
                  <a:pt x="6382318" y="2903850"/>
                </a:cubicBezTo>
                <a:lnTo>
                  <a:pt x="6387227" y="2905984"/>
                </a:lnTo>
                <a:lnTo>
                  <a:pt x="6385092" y="2898017"/>
                </a:lnTo>
                <a:cubicBezTo>
                  <a:pt x="6383385" y="2894318"/>
                  <a:pt x="6381891" y="2889765"/>
                  <a:pt x="6379544" y="2886778"/>
                </a:cubicBezTo>
                <a:cubicBezTo>
                  <a:pt x="6377196" y="2873404"/>
                  <a:pt x="6373994" y="2864441"/>
                  <a:pt x="6370153" y="2855620"/>
                </a:cubicBezTo>
                <a:cubicBezTo>
                  <a:pt x="6367378" y="2850357"/>
                  <a:pt x="6364177" y="2845093"/>
                  <a:pt x="6360549" y="2839402"/>
                </a:cubicBezTo>
                <a:close/>
                <a:moveTo>
                  <a:pt x="832659" y="2821148"/>
                </a:moveTo>
                <a:cubicBezTo>
                  <a:pt x="836375" y="2820684"/>
                  <a:pt x="837408" y="2824866"/>
                  <a:pt x="835653" y="2826260"/>
                </a:cubicBezTo>
                <a:cubicBezTo>
                  <a:pt x="835033" y="2826725"/>
                  <a:pt x="834207" y="2826879"/>
                  <a:pt x="832968" y="2826415"/>
                </a:cubicBezTo>
                <a:cubicBezTo>
                  <a:pt x="832659" y="2825486"/>
                  <a:pt x="832556" y="2824711"/>
                  <a:pt x="832556" y="2823936"/>
                </a:cubicBezTo>
                <a:cubicBezTo>
                  <a:pt x="832556" y="2823162"/>
                  <a:pt x="832556" y="2822233"/>
                  <a:pt x="832659" y="2821148"/>
                </a:cubicBezTo>
                <a:close/>
                <a:moveTo>
                  <a:pt x="825740" y="2820219"/>
                </a:moveTo>
                <a:cubicBezTo>
                  <a:pt x="826876" y="2820529"/>
                  <a:pt x="827805" y="2822078"/>
                  <a:pt x="828528" y="2824711"/>
                </a:cubicBezTo>
                <a:cubicBezTo>
                  <a:pt x="827496" y="2826260"/>
                  <a:pt x="823882" y="2825176"/>
                  <a:pt x="822023" y="2825176"/>
                </a:cubicBezTo>
                <a:cubicBezTo>
                  <a:pt x="822229" y="2823936"/>
                  <a:pt x="822539" y="2822852"/>
                  <a:pt x="821817" y="2823317"/>
                </a:cubicBezTo>
                <a:cubicBezTo>
                  <a:pt x="822023" y="2822078"/>
                  <a:pt x="822539" y="2821458"/>
                  <a:pt x="823262" y="2820993"/>
                </a:cubicBezTo>
                <a:cubicBezTo>
                  <a:pt x="823882" y="2820529"/>
                  <a:pt x="824708" y="2820219"/>
                  <a:pt x="825740" y="2820219"/>
                </a:cubicBezTo>
                <a:close/>
                <a:moveTo>
                  <a:pt x="6485305" y="2819373"/>
                </a:moveTo>
                <a:cubicBezTo>
                  <a:pt x="6490571" y="2822368"/>
                  <a:pt x="6494289" y="2819580"/>
                  <a:pt x="6499400" y="2822574"/>
                </a:cubicBezTo>
                <a:cubicBezTo>
                  <a:pt x="6490726" y="2834759"/>
                  <a:pt x="6482207" y="2848285"/>
                  <a:pt x="6470745" y="2849318"/>
                </a:cubicBezTo>
                <a:cubicBezTo>
                  <a:pt x="6469195" y="2849524"/>
                  <a:pt x="6467491" y="2849318"/>
                  <a:pt x="6465787" y="2848905"/>
                </a:cubicBezTo>
                <a:cubicBezTo>
                  <a:pt x="6460986" y="2837960"/>
                  <a:pt x="6475546" y="2825156"/>
                  <a:pt x="6485305" y="2819373"/>
                </a:cubicBezTo>
                <a:close/>
                <a:moveTo>
                  <a:pt x="693366" y="2818399"/>
                </a:moveTo>
                <a:cubicBezTo>
                  <a:pt x="697625" y="2817896"/>
                  <a:pt x="701730" y="2818360"/>
                  <a:pt x="702969" y="2819599"/>
                </a:cubicBezTo>
                <a:lnTo>
                  <a:pt x="699045" y="2821613"/>
                </a:lnTo>
                <a:lnTo>
                  <a:pt x="700491" y="2821458"/>
                </a:lnTo>
                <a:cubicBezTo>
                  <a:pt x="701213" y="2820993"/>
                  <a:pt x="703795" y="2823162"/>
                  <a:pt x="703485" y="2824401"/>
                </a:cubicBezTo>
                <a:cubicBezTo>
                  <a:pt x="703278" y="2827344"/>
                  <a:pt x="700181" y="2827499"/>
                  <a:pt x="696773" y="2828738"/>
                </a:cubicBezTo>
                <a:cubicBezTo>
                  <a:pt x="697083" y="2827654"/>
                  <a:pt x="695947" y="2827344"/>
                  <a:pt x="694708" y="2827190"/>
                </a:cubicBezTo>
                <a:cubicBezTo>
                  <a:pt x="695018" y="2826260"/>
                  <a:pt x="695225" y="2825176"/>
                  <a:pt x="695637" y="2824091"/>
                </a:cubicBezTo>
                <a:lnTo>
                  <a:pt x="696980" y="2822543"/>
                </a:lnTo>
                <a:lnTo>
                  <a:pt x="693159" y="2824247"/>
                </a:lnTo>
                <a:cubicBezTo>
                  <a:pt x="690681" y="2822697"/>
                  <a:pt x="686241" y="2825331"/>
                  <a:pt x="682833" y="2823007"/>
                </a:cubicBezTo>
                <a:cubicBezTo>
                  <a:pt x="684692" y="2820374"/>
                  <a:pt x="689106" y="2818903"/>
                  <a:pt x="693366" y="2818399"/>
                </a:cubicBezTo>
                <a:close/>
                <a:moveTo>
                  <a:pt x="921562" y="2818205"/>
                </a:moveTo>
                <a:cubicBezTo>
                  <a:pt x="923214" y="2819135"/>
                  <a:pt x="923111" y="2819909"/>
                  <a:pt x="922078" y="2820684"/>
                </a:cubicBezTo>
                <a:cubicBezTo>
                  <a:pt x="922078" y="2820684"/>
                  <a:pt x="921046" y="2821458"/>
                  <a:pt x="920013" y="2822233"/>
                </a:cubicBezTo>
                <a:cubicBezTo>
                  <a:pt x="918981" y="2823007"/>
                  <a:pt x="918878" y="2823936"/>
                  <a:pt x="918878" y="2823936"/>
                </a:cubicBezTo>
                <a:cubicBezTo>
                  <a:pt x="917845" y="2824711"/>
                  <a:pt x="916916" y="2824556"/>
                  <a:pt x="916193" y="2823782"/>
                </a:cubicBezTo>
                <a:cubicBezTo>
                  <a:pt x="916193" y="2823782"/>
                  <a:pt x="917329" y="2822078"/>
                  <a:pt x="917329" y="2822078"/>
                </a:cubicBezTo>
                <a:cubicBezTo>
                  <a:pt x="919394" y="2820529"/>
                  <a:pt x="920426" y="2819754"/>
                  <a:pt x="921562" y="2818205"/>
                </a:cubicBezTo>
                <a:close/>
                <a:moveTo>
                  <a:pt x="396917" y="2815882"/>
                </a:moveTo>
                <a:cubicBezTo>
                  <a:pt x="396917" y="2815882"/>
                  <a:pt x="397537" y="2816037"/>
                  <a:pt x="398259" y="2816346"/>
                </a:cubicBezTo>
                <a:cubicBezTo>
                  <a:pt x="398982" y="2816656"/>
                  <a:pt x="399705" y="2817121"/>
                  <a:pt x="399912" y="2817741"/>
                </a:cubicBezTo>
                <a:cubicBezTo>
                  <a:pt x="400944" y="2819445"/>
                  <a:pt x="397434" y="2820064"/>
                  <a:pt x="397020" y="2820684"/>
                </a:cubicBezTo>
                <a:cubicBezTo>
                  <a:pt x="395781" y="2820839"/>
                  <a:pt x="394646" y="2821148"/>
                  <a:pt x="394232" y="2819909"/>
                </a:cubicBezTo>
                <a:cubicBezTo>
                  <a:pt x="394129" y="2819289"/>
                  <a:pt x="393819" y="2818980"/>
                  <a:pt x="393819" y="2818515"/>
                </a:cubicBezTo>
                <a:cubicBezTo>
                  <a:pt x="393819" y="2818205"/>
                  <a:pt x="394026" y="2817896"/>
                  <a:pt x="394852" y="2817431"/>
                </a:cubicBezTo>
                <a:cubicBezTo>
                  <a:pt x="395265" y="2816656"/>
                  <a:pt x="396504" y="2816502"/>
                  <a:pt x="396917" y="2815882"/>
                </a:cubicBezTo>
                <a:close/>
                <a:moveTo>
                  <a:pt x="379157" y="2815727"/>
                </a:moveTo>
                <a:cubicBezTo>
                  <a:pt x="383494" y="2815727"/>
                  <a:pt x="385972" y="2817896"/>
                  <a:pt x="386901" y="2821303"/>
                </a:cubicBezTo>
                <a:cubicBezTo>
                  <a:pt x="384630" y="2825331"/>
                  <a:pt x="378022" y="2823936"/>
                  <a:pt x="376782" y="2819754"/>
                </a:cubicBezTo>
                <a:cubicBezTo>
                  <a:pt x="377402" y="2818670"/>
                  <a:pt x="377712" y="2816811"/>
                  <a:pt x="379157" y="2815727"/>
                </a:cubicBezTo>
                <a:close/>
                <a:moveTo>
                  <a:pt x="568529" y="2814798"/>
                </a:moveTo>
                <a:cubicBezTo>
                  <a:pt x="570181" y="2815572"/>
                  <a:pt x="569252" y="2818050"/>
                  <a:pt x="569149" y="2819754"/>
                </a:cubicBezTo>
                <a:cubicBezTo>
                  <a:pt x="570801" y="2820529"/>
                  <a:pt x="567187" y="2823162"/>
                  <a:pt x="568942" y="2823936"/>
                </a:cubicBezTo>
                <a:cubicBezTo>
                  <a:pt x="565225" y="2827344"/>
                  <a:pt x="569459" y="2831372"/>
                  <a:pt x="564812" y="2837412"/>
                </a:cubicBezTo>
                <a:cubicBezTo>
                  <a:pt x="564296" y="2835399"/>
                  <a:pt x="564089" y="2833386"/>
                  <a:pt x="564089" y="2831681"/>
                </a:cubicBezTo>
                <a:cubicBezTo>
                  <a:pt x="564089" y="2826260"/>
                  <a:pt x="565948" y="2821923"/>
                  <a:pt x="564812" y="2818360"/>
                </a:cubicBezTo>
                <a:cubicBezTo>
                  <a:pt x="564812" y="2818360"/>
                  <a:pt x="564812" y="2818360"/>
                  <a:pt x="566670" y="2816502"/>
                </a:cubicBezTo>
                <a:cubicBezTo>
                  <a:pt x="566670" y="2815727"/>
                  <a:pt x="566670" y="2815727"/>
                  <a:pt x="566670" y="2815727"/>
                </a:cubicBezTo>
                <a:cubicBezTo>
                  <a:pt x="566670" y="2814953"/>
                  <a:pt x="568529" y="2814798"/>
                  <a:pt x="568529" y="2814798"/>
                </a:cubicBezTo>
                <a:close/>
                <a:moveTo>
                  <a:pt x="917535" y="2811080"/>
                </a:moveTo>
                <a:cubicBezTo>
                  <a:pt x="918258" y="2812010"/>
                  <a:pt x="918361" y="2811235"/>
                  <a:pt x="919187" y="2811235"/>
                </a:cubicBezTo>
                <a:cubicBezTo>
                  <a:pt x="918155" y="2812010"/>
                  <a:pt x="917741" y="2814643"/>
                  <a:pt x="916606" y="2816346"/>
                </a:cubicBezTo>
                <a:cubicBezTo>
                  <a:pt x="915780" y="2816346"/>
                  <a:pt x="914850" y="2817121"/>
                  <a:pt x="914024" y="2817121"/>
                </a:cubicBezTo>
                <a:cubicBezTo>
                  <a:pt x="914127" y="2816656"/>
                  <a:pt x="914024" y="2815882"/>
                  <a:pt x="914024" y="2815417"/>
                </a:cubicBezTo>
                <a:cubicBezTo>
                  <a:pt x="914024" y="2814798"/>
                  <a:pt x="914024" y="2814333"/>
                  <a:pt x="914437" y="2814488"/>
                </a:cubicBezTo>
                <a:cubicBezTo>
                  <a:pt x="914540" y="2813558"/>
                  <a:pt x="916296" y="2813714"/>
                  <a:pt x="916296" y="2813714"/>
                </a:cubicBezTo>
                <a:cubicBezTo>
                  <a:pt x="916399" y="2812784"/>
                  <a:pt x="916606" y="2812010"/>
                  <a:pt x="917535" y="2811080"/>
                </a:cubicBezTo>
                <a:close/>
                <a:moveTo>
                  <a:pt x="941904" y="2807208"/>
                </a:moveTo>
                <a:lnTo>
                  <a:pt x="941490" y="2808292"/>
                </a:lnTo>
                <a:lnTo>
                  <a:pt x="942007" y="2808757"/>
                </a:lnTo>
                <a:close/>
                <a:moveTo>
                  <a:pt x="663422" y="2806743"/>
                </a:moveTo>
                <a:cubicBezTo>
                  <a:pt x="666209" y="2804420"/>
                  <a:pt x="667861" y="2806278"/>
                  <a:pt x="671372" y="2808292"/>
                </a:cubicBezTo>
                <a:cubicBezTo>
                  <a:pt x="670546" y="2809066"/>
                  <a:pt x="673127" y="2811854"/>
                  <a:pt x="673954" y="2812784"/>
                </a:cubicBezTo>
                <a:cubicBezTo>
                  <a:pt x="672198" y="2814333"/>
                  <a:pt x="674780" y="2817896"/>
                  <a:pt x="672095" y="2820219"/>
                </a:cubicBezTo>
                <a:cubicBezTo>
                  <a:pt x="670339" y="2820064"/>
                  <a:pt x="669514" y="2819909"/>
                  <a:pt x="667758" y="2818825"/>
                </a:cubicBezTo>
                <a:cubicBezTo>
                  <a:pt x="661666" y="2811545"/>
                  <a:pt x="664351" y="2807672"/>
                  <a:pt x="663422" y="2806743"/>
                </a:cubicBezTo>
                <a:close/>
                <a:moveTo>
                  <a:pt x="1191577" y="2806433"/>
                </a:moveTo>
                <a:lnTo>
                  <a:pt x="1191577" y="2806743"/>
                </a:lnTo>
                <a:cubicBezTo>
                  <a:pt x="1191370" y="2808137"/>
                  <a:pt x="1191887" y="2809686"/>
                  <a:pt x="1193642" y="2811080"/>
                </a:cubicBezTo>
                <a:cubicBezTo>
                  <a:pt x="1196017" y="2811235"/>
                  <a:pt x="1197463" y="2811080"/>
                  <a:pt x="1198186" y="2810770"/>
                </a:cubicBezTo>
                <a:lnTo>
                  <a:pt x="1198599" y="2809996"/>
                </a:lnTo>
                <a:close/>
                <a:moveTo>
                  <a:pt x="538688" y="2804420"/>
                </a:moveTo>
                <a:cubicBezTo>
                  <a:pt x="539824" y="2804575"/>
                  <a:pt x="541476" y="2806278"/>
                  <a:pt x="542095" y="2806278"/>
                </a:cubicBezTo>
                <a:cubicBezTo>
                  <a:pt x="542921" y="2807208"/>
                  <a:pt x="543748" y="2808137"/>
                  <a:pt x="542921" y="2808912"/>
                </a:cubicBezTo>
                <a:cubicBezTo>
                  <a:pt x="541992" y="2809686"/>
                  <a:pt x="541992" y="2810461"/>
                  <a:pt x="540340" y="2809376"/>
                </a:cubicBezTo>
                <a:cubicBezTo>
                  <a:pt x="539411" y="2809376"/>
                  <a:pt x="538585" y="2808447"/>
                  <a:pt x="537759" y="2808292"/>
                </a:cubicBezTo>
                <a:cubicBezTo>
                  <a:pt x="537759" y="2808292"/>
                  <a:pt x="537449" y="2807672"/>
                  <a:pt x="537346" y="2806898"/>
                </a:cubicBezTo>
                <a:cubicBezTo>
                  <a:pt x="537242" y="2806278"/>
                  <a:pt x="537242" y="2805349"/>
                  <a:pt x="537759" y="2805039"/>
                </a:cubicBezTo>
                <a:cubicBezTo>
                  <a:pt x="537965" y="2804575"/>
                  <a:pt x="538275" y="2804420"/>
                  <a:pt x="538688" y="2804420"/>
                </a:cubicBezTo>
                <a:close/>
                <a:moveTo>
                  <a:pt x="722691" y="2804110"/>
                </a:moveTo>
                <a:cubicBezTo>
                  <a:pt x="723929" y="2803955"/>
                  <a:pt x="725272" y="2804110"/>
                  <a:pt x="726408" y="2804575"/>
                </a:cubicBezTo>
                <a:cubicBezTo>
                  <a:pt x="728266" y="2803800"/>
                  <a:pt x="730848" y="2803955"/>
                  <a:pt x="732396" y="2804884"/>
                </a:cubicBezTo>
                <a:cubicBezTo>
                  <a:pt x="733842" y="2806743"/>
                  <a:pt x="733532" y="2808292"/>
                  <a:pt x="732603" y="2809066"/>
                </a:cubicBezTo>
                <a:cubicBezTo>
                  <a:pt x="725375" y="2816192"/>
                  <a:pt x="718251" y="2812319"/>
                  <a:pt x="716392" y="2813094"/>
                </a:cubicBezTo>
                <a:cubicBezTo>
                  <a:pt x="715256" y="2811700"/>
                  <a:pt x="714740" y="2811080"/>
                  <a:pt x="715153" y="2810151"/>
                </a:cubicBezTo>
                <a:cubicBezTo>
                  <a:pt x="715462" y="2809222"/>
                  <a:pt x="716805" y="2808137"/>
                  <a:pt x="719283" y="2805814"/>
                </a:cubicBezTo>
                <a:cubicBezTo>
                  <a:pt x="720316" y="2805039"/>
                  <a:pt x="721452" y="2804420"/>
                  <a:pt x="722691" y="2804110"/>
                </a:cubicBezTo>
                <a:close/>
                <a:moveTo>
                  <a:pt x="881086" y="2803181"/>
                </a:moveTo>
                <a:cubicBezTo>
                  <a:pt x="884493" y="2804110"/>
                  <a:pt x="886558" y="2809841"/>
                  <a:pt x="888933" y="2814798"/>
                </a:cubicBezTo>
                <a:cubicBezTo>
                  <a:pt x="886662" y="2815417"/>
                  <a:pt x="885526" y="2815727"/>
                  <a:pt x="883977" y="2816811"/>
                </a:cubicBezTo>
                <a:cubicBezTo>
                  <a:pt x="882221" y="2811700"/>
                  <a:pt x="879124" y="2809066"/>
                  <a:pt x="879433" y="2806123"/>
                </a:cubicBezTo>
                <a:cubicBezTo>
                  <a:pt x="879536" y="2805194"/>
                  <a:pt x="880053" y="2804265"/>
                  <a:pt x="881086" y="2803181"/>
                </a:cubicBezTo>
                <a:close/>
                <a:moveTo>
                  <a:pt x="695225" y="2802096"/>
                </a:moveTo>
                <a:cubicBezTo>
                  <a:pt x="698322" y="2804110"/>
                  <a:pt x="698942" y="2805194"/>
                  <a:pt x="699871" y="2808602"/>
                </a:cubicBezTo>
                <a:cubicBezTo>
                  <a:pt x="696154" y="2813249"/>
                  <a:pt x="691507" y="2814333"/>
                  <a:pt x="686861" y="2815262"/>
                </a:cubicBezTo>
                <a:cubicBezTo>
                  <a:pt x="684486" y="2813714"/>
                  <a:pt x="683556" y="2812319"/>
                  <a:pt x="683453" y="2811080"/>
                </a:cubicBezTo>
                <a:cubicBezTo>
                  <a:pt x="683247" y="2807363"/>
                  <a:pt x="691300" y="2804729"/>
                  <a:pt x="695225" y="2802096"/>
                </a:cubicBezTo>
                <a:close/>
                <a:moveTo>
                  <a:pt x="1352554" y="2801632"/>
                </a:moveTo>
                <a:cubicBezTo>
                  <a:pt x="1354515" y="2801786"/>
                  <a:pt x="1355755" y="2802251"/>
                  <a:pt x="1356890" y="2802871"/>
                </a:cubicBezTo>
                <a:cubicBezTo>
                  <a:pt x="1358852" y="2803025"/>
                  <a:pt x="1359265" y="2803800"/>
                  <a:pt x="1358542" y="2805968"/>
                </a:cubicBezTo>
                <a:cubicBezTo>
                  <a:pt x="1356580" y="2805814"/>
                  <a:pt x="1352657" y="2803491"/>
                  <a:pt x="1352554" y="2801632"/>
                </a:cubicBezTo>
                <a:close/>
                <a:moveTo>
                  <a:pt x="518966" y="2801012"/>
                </a:moveTo>
                <a:cubicBezTo>
                  <a:pt x="527124" y="2796520"/>
                  <a:pt x="532906" y="2804729"/>
                  <a:pt x="529498" y="2809841"/>
                </a:cubicBezTo>
                <a:cubicBezTo>
                  <a:pt x="528362" y="2811545"/>
                  <a:pt x="526194" y="2812939"/>
                  <a:pt x="522786" y="2813249"/>
                </a:cubicBezTo>
                <a:cubicBezTo>
                  <a:pt x="521857" y="2809066"/>
                  <a:pt x="519379" y="2807208"/>
                  <a:pt x="518759" y="2804420"/>
                </a:cubicBezTo>
                <a:cubicBezTo>
                  <a:pt x="518656" y="2803491"/>
                  <a:pt x="518656" y="2802406"/>
                  <a:pt x="518966" y="2801012"/>
                </a:cubicBezTo>
                <a:close/>
                <a:moveTo>
                  <a:pt x="466202" y="2801012"/>
                </a:moveTo>
                <a:cubicBezTo>
                  <a:pt x="468164" y="2801477"/>
                  <a:pt x="469816" y="2801167"/>
                  <a:pt x="472604" y="2801477"/>
                </a:cubicBezTo>
                <a:cubicBezTo>
                  <a:pt x="473327" y="2803955"/>
                  <a:pt x="472294" y="2809376"/>
                  <a:pt x="468267" y="2810925"/>
                </a:cubicBezTo>
                <a:cubicBezTo>
                  <a:pt x="465686" y="2809686"/>
                  <a:pt x="464344" y="2808292"/>
                  <a:pt x="464137" y="2806588"/>
                </a:cubicBezTo>
                <a:cubicBezTo>
                  <a:pt x="463827" y="2804884"/>
                  <a:pt x="464550" y="2803025"/>
                  <a:pt x="466202" y="2801012"/>
                </a:cubicBezTo>
                <a:close/>
                <a:moveTo>
                  <a:pt x="1080473" y="2800237"/>
                </a:moveTo>
                <a:lnTo>
                  <a:pt x="1080887" y="2800702"/>
                </a:lnTo>
                <a:lnTo>
                  <a:pt x="1081402" y="2800237"/>
                </a:lnTo>
                <a:close/>
                <a:moveTo>
                  <a:pt x="1349869" y="2799463"/>
                </a:moveTo>
                <a:cubicBezTo>
                  <a:pt x="1350178" y="2799463"/>
                  <a:pt x="1350488" y="2799618"/>
                  <a:pt x="1350488" y="2799618"/>
                </a:cubicBezTo>
                <a:cubicBezTo>
                  <a:pt x="1351727" y="2800082"/>
                  <a:pt x="1352863" y="2800547"/>
                  <a:pt x="1352450" y="2801632"/>
                </a:cubicBezTo>
                <a:cubicBezTo>
                  <a:pt x="1352450" y="2801632"/>
                  <a:pt x="1351727" y="2801941"/>
                  <a:pt x="1349353" y="2801012"/>
                </a:cubicBezTo>
                <a:cubicBezTo>
                  <a:pt x="1350178" y="2800702"/>
                  <a:pt x="1349765" y="2799928"/>
                  <a:pt x="1349765" y="2799928"/>
                </a:cubicBezTo>
                <a:cubicBezTo>
                  <a:pt x="1349765" y="2799928"/>
                  <a:pt x="1349765" y="2799928"/>
                  <a:pt x="1348940" y="2800237"/>
                </a:cubicBezTo>
                <a:cubicBezTo>
                  <a:pt x="1349146" y="2799618"/>
                  <a:pt x="1349559" y="2799463"/>
                  <a:pt x="1349869" y="2799463"/>
                </a:cubicBezTo>
                <a:close/>
                <a:moveTo>
                  <a:pt x="1180116" y="2797914"/>
                </a:moveTo>
                <a:lnTo>
                  <a:pt x="1178567" y="2799463"/>
                </a:lnTo>
                <a:lnTo>
                  <a:pt x="1175779" y="2800237"/>
                </a:lnTo>
                <a:lnTo>
                  <a:pt x="1181458" y="2801786"/>
                </a:lnTo>
                <a:cubicBezTo>
                  <a:pt x="1183317" y="2801941"/>
                  <a:pt x="1185072" y="2802251"/>
                  <a:pt x="1187034" y="2802406"/>
                </a:cubicBezTo>
                <a:lnTo>
                  <a:pt x="1189408" y="2802251"/>
                </a:lnTo>
                <a:lnTo>
                  <a:pt x="1189099" y="2800857"/>
                </a:lnTo>
                <a:lnTo>
                  <a:pt x="1182181" y="2798843"/>
                </a:lnTo>
                <a:close/>
                <a:moveTo>
                  <a:pt x="648243" y="2796055"/>
                </a:moveTo>
                <a:cubicBezTo>
                  <a:pt x="652476" y="2800237"/>
                  <a:pt x="650927" y="2804420"/>
                  <a:pt x="647107" y="2807363"/>
                </a:cubicBezTo>
                <a:cubicBezTo>
                  <a:pt x="640705" y="2812165"/>
                  <a:pt x="627901" y="2813404"/>
                  <a:pt x="625114" y="2805814"/>
                </a:cubicBezTo>
                <a:cubicBezTo>
                  <a:pt x="627591" y="2803181"/>
                  <a:pt x="630586" y="2800702"/>
                  <a:pt x="634406" y="2798843"/>
                </a:cubicBezTo>
                <a:cubicBezTo>
                  <a:pt x="638124" y="2797140"/>
                  <a:pt x="642667" y="2796055"/>
                  <a:pt x="648243" y="2796055"/>
                </a:cubicBezTo>
                <a:close/>
                <a:moveTo>
                  <a:pt x="837822" y="2794197"/>
                </a:moveTo>
                <a:cubicBezTo>
                  <a:pt x="838441" y="2795436"/>
                  <a:pt x="839783" y="2796675"/>
                  <a:pt x="840712" y="2797914"/>
                </a:cubicBezTo>
                <a:lnTo>
                  <a:pt x="841435" y="2799618"/>
                </a:lnTo>
                <a:lnTo>
                  <a:pt x="842055" y="2800237"/>
                </a:lnTo>
                <a:cubicBezTo>
                  <a:pt x="842674" y="2801167"/>
                  <a:pt x="842881" y="2802096"/>
                  <a:pt x="842468" y="2803645"/>
                </a:cubicBezTo>
                <a:cubicBezTo>
                  <a:pt x="842055" y="2803645"/>
                  <a:pt x="841435" y="2803181"/>
                  <a:pt x="840712" y="2802561"/>
                </a:cubicBezTo>
                <a:lnTo>
                  <a:pt x="840093" y="2801941"/>
                </a:lnTo>
                <a:lnTo>
                  <a:pt x="836686" y="2801012"/>
                </a:lnTo>
                <a:cubicBezTo>
                  <a:pt x="827702" y="2800237"/>
                  <a:pt x="820267" y="2809066"/>
                  <a:pt x="812936" y="2803025"/>
                </a:cubicBezTo>
                <a:cubicBezTo>
                  <a:pt x="816447" y="2800857"/>
                  <a:pt x="819545" y="2798224"/>
                  <a:pt x="823365" y="2796365"/>
                </a:cubicBezTo>
                <a:cubicBezTo>
                  <a:pt x="827186" y="2794662"/>
                  <a:pt x="831729" y="2793422"/>
                  <a:pt x="837822" y="2794197"/>
                </a:cubicBezTo>
                <a:close/>
                <a:moveTo>
                  <a:pt x="1359678" y="2793732"/>
                </a:moveTo>
                <a:cubicBezTo>
                  <a:pt x="1367009" y="2790324"/>
                  <a:pt x="1370830" y="2796675"/>
                  <a:pt x="1368971" y="2801321"/>
                </a:cubicBezTo>
                <a:cubicBezTo>
                  <a:pt x="1368248" y="2802871"/>
                  <a:pt x="1367009" y="2804110"/>
                  <a:pt x="1365151" y="2804884"/>
                </a:cubicBezTo>
                <a:cubicBezTo>
                  <a:pt x="1362260" y="2802561"/>
                  <a:pt x="1358645" y="2800392"/>
                  <a:pt x="1358542" y="2797294"/>
                </a:cubicBezTo>
                <a:cubicBezTo>
                  <a:pt x="1358439" y="2796210"/>
                  <a:pt x="1358749" y="2795126"/>
                  <a:pt x="1359678" y="2793732"/>
                </a:cubicBezTo>
                <a:close/>
                <a:moveTo>
                  <a:pt x="933436" y="2792028"/>
                </a:moveTo>
                <a:cubicBezTo>
                  <a:pt x="938599" y="2793887"/>
                  <a:pt x="939426" y="2797604"/>
                  <a:pt x="937980" y="2800237"/>
                </a:cubicBezTo>
                <a:cubicBezTo>
                  <a:pt x="937257" y="2801632"/>
                  <a:pt x="935915" y="2802561"/>
                  <a:pt x="934263" y="2803025"/>
                </a:cubicBezTo>
                <a:lnTo>
                  <a:pt x="932094" y="2802716"/>
                </a:lnTo>
                <a:lnTo>
                  <a:pt x="932094" y="2803645"/>
                </a:lnTo>
                <a:lnTo>
                  <a:pt x="929203" y="2802716"/>
                </a:lnTo>
                <a:lnTo>
                  <a:pt x="929306" y="2803645"/>
                </a:lnTo>
                <a:cubicBezTo>
                  <a:pt x="927345" y="2804884"/>
                  <a:pt x="926002" y="2804729"/>
                  <a:pt x="925176" y="2803800"/>
                </a:cubicBezTo>
                <a:lnTo>
                  <a:pt x="924143" y="2800857"/>
                </a:lnTo>
                <a:lnTo>
                  <a:pt x="921872" y="2800082"/>
                </a:lnTo>
                <a:cubicBezTo>
                  <a:pt x="918774" y="2798689"/>
                  <a:pt x="916399" y="2797449"/>
                  <a:pt x="915573" y="2796985"/>
                </a:cubicBezTo>
                <a:cubicBezTo>
                  <a:pt x="914644" y="2796365"/>
                  <a:pt x="914231" y="2796055"/>
                  <a:pt x="914127" y="2795436"/>
                </a:cubicBezTo>
                <a:cubicBezTo>
                  <a:pt x="914024" y="2794971"/>
                  <a:pt x="914231" y="2794352"/>
                  <a:pt x="914747" y="2793577"/>
                </a:cubicBezTo>
                <a:cubicBezTo>
                  <a:pt x="918258" y="2791408"/>
                  <a:pt x="921768" y="2794197"/>
                  <a:pt x="926105" y="2795590"/>
                </a:cubicBezTo>
                <a:lnTo>
                  <a:pt x="927345" y="2796830"/>
                </a:lnTo>
                <a:lnTo>
                  <a:pt x="927241" y="2794352"/>
                </a:lnTo>
                <a:cubicBezTo>
                  <a:pt x="929616" y="2793732"/>
                  <a:pt x="931165" y="2792648"/>
                  <a:pt x="933436" y="2792028"/>
                </a:cubicBezTo>
                <a:close/>
                <a:moveTo>
                  <a:pt x="871069" y="2791099"/>
                </a:moveTo>
                <a:cubicBezTo>
                  <a:pt x="872205" y="2791563"/>
                  <a:pt x="872722" y="2792183"/>
                  <a:pt x="873445" y="2791873"/>
                </a:cubicBezTo>
                <a:cubicBezTo>
                  <a:pt x="872515" y="2795126"/>
                  <a:pt x="869830" y="2795590"/>
                  <a:pt x="867249" y="2795901"/>
                </a:cubicBezTo>
                <a:cubicBezTo>
                  <a:pt x="865287" y="2796055"/>
                  <a:pt x="864564" y="2796365"/>
                  <a:pt x="863532" y="2797914"/>
                </a:cubicBezTo>
                <a:cubicBezTo>
                  <a:pt x="863532" y="2797914"/>
                  <a:pt x="863532" y="2797914"/>
                  <a:pt x="861157" y="2797140"/>
                </a:cubicBezTo>
                <a:lnTo>
                  <a:pt x="860744" y="2796365"/>
                </a:lnTo>
                <a:cubicBezTo>
                  <a:pt x="860641" y="2795901"/>
                  <a:pt x="861157" y="2795436"/>
                  <a:pt x="861880" y="2794971"/>
                </a:cubicBezTo>
                <a:cubicBezTo>
                  <a:pt x="864255" y="2793577"/>
                  <a:pt x="869004" y="2792183"/>
                  <a:pt x="869521" y="2791873"/>
                </a:cubicBezTo>
                <a:cubicBezTo>
                  <a:pt x="869521" y="2791873"/>
                  <a:pt x="870244" y="2791563"/>
                  <a:pt x="871069" y="2791099"/>
                </a:cubicBezTo>
                <a:close/>
                <a:moveTo>
                  <a:pt x="712985" y="2790479"/>
                </a:moveTo>
                <a:cubicBezTo>
                  <a:pt x="712571" y="2791254"/>
                  <a:pt x="712365" y="2793112"/>
                  <a:pt x="711229" y="2793267"/>
                </a:cubicBezTo>
                <a:cubicBezTo>
                  <a:pt x="709990" y="2793422"/>
                  <a:pt x="710093" y="2793422"/>
                  <a:pt x="708544" y="2792493"/>
                </a:cubicBezTo>
                <a:cubicBezTo>
                  <a:pt x="709577" y="2791718"/>
                  <a:pt x="710093" y="2791254"/>
                  <a:pt x="710713" y="2791099"/>
                </a:cubicBezTo>
                <a:cubicBezTo>
                  <a:pt x="711229" y="2790789"/>
                  <a:pt x="711849" y="2790634"/>
                  <a:pt x="712985" y="2790479"/>
                </a:cubicBezTo>
                <a:close/>
                <a:moveTo>
                  <a:pt x="1379813" y="2790324"/>
                </a:moveTo>
                <a:cubicBezTo>
                  <a:pt x="1381362" y="2791563"/>
                  <a:pt x="1383531" y="2794197"/>
                  <a:pt x="1382807" y="2796365"/>
                </a:cubicBezTo>
                <a:cubicBezTo>
                  <a:pt x="1382807" y="2796365"/>
                  <a:pt x="1382807" y="2796365"/>
                  <a:pt x="1382395" y="2797449"/>
                </a:cubicBezTo>
                <a:cubicBezTo>
                  <a:pt x="1381259" y="2795126"/>
                  <a:pt x="1379813" y="2792028"/>
                  <a:pt x="1379813" y="2790324"/>
                </a:cubicBezTo>
                <a:close/>
                <a:moveTo>
                  <a:pt x="1313729" y="2789550"/>
                </a:moveTo>
                <a:cubicBezTo>
                  <a:pt x="1315278" y="2791408"/>
                  <a:pt x="1316827" y="2793267"/>
                  <a:pt x="1314968" y="2794506"/>
                </a:cubicBezTo>
                <a:cubicBezTo>
                  <a:pt x="1313316" y="2793422"/>
                  <a:pt x="1312387" y="2794197"/>
                  <a:pt x="1310941" y="2791408"/>
                </a:cubicBezTo>
                <a:cubicBezTo>
                  <a:pt x="1311870" y="2790789"/>
                  <a:pt x="1312800" y="2790169"/>
                  <a:pt x="1313729" y="2789550"/>
                </a:cubicBezTo>
                <a:close/>
                <a:moveTo>
                  <a:pt x="658362" y="2789240"/>
                </a:moveTo>
                <a:cubicBezTo>
                  <a:pt x="659085" y="2789395"/>
                  <a:pt x="659807" y="2789859"/>
                  <a:pt x="660530" y="2790789"/>
                </a:cubicBezTo>
                <a:cubicBezTo>
                  <a:pt x="660943" y="2790789"/>
                  <a:pt x="661253" y="2791718"/>
                  <a:pt x="661356" y="2792648"/>
                </a:cubicBezTo>
                <a:lnTo>
                  <a:pt x="660840" y="2794352"/>
                </a:lnTo>
                <a:lnTo>
                  <a:pt x="662079" y="2794042"/>
                </a:lnTo>
                <a:cubicBezTo>
                  <a:pt x="662905" y="2794971"/>
                  <a:pt x="662905" y="2796055"/>
                  <a:pt x="662595" y="2796830"/>
                </a:cubicBezTo>
                <a:lnTo>
                  <a:pt x="662079" y="2797140"/>
                </a:lnTo>
                <a:lnTo>
                  <a:pt x="664248" y="2800392"/>
                </a:lnTo>
                <a:cubicBezTo>
                  <a:pt x="664970" y="2804575"/>
                  <a:pt x="661047" y="2809376"/>
                  <a:pt x="657020" y="2809531"/>
                </a:cubicBezTo>
                <a:cubicBezTo>
                  <a:pt x="654851" y="2807982"/>
                  <a:pt x="654129" y="2805659"/>
                  <a:pt x="654335" y="2803335"/>
                </a:cubicBezTo>
                <a:cubicBezTo>
                  <a:pt x="654645" y="2801012"/>
                  <a:pt x="655781" y="2798843"/>
                  <a:pt x="657639" y="2797604"/>
                </a:cubicBezTo>
                <a:lnTo>
                  <a:pt x="660530" y="2796985"/>
                </a:lnTo>
                <a:lnTo>
                  <a:pt x="659601" y="2795281"/>
                </a:lnTo>
                <a:lnTo>
                  <a:pt x="657329" y="2796055"/>
                </a:lnTo>
                <a:cubicBezTo>
                  <a:pt x="656090" y="2795745"/>
                  <a:pt x="654748" y="2794971"/>
                  <a:pt x="653096" y="2794506"/>
                </a:cubicBezTo>
                <a:cubicBezTo>
                  <a:pt x="654025" y="2793732"/>
                  <a:pt x="653302" y="2792802"/>
                  <a:pt x="652580" y="2791873"/>
                </a:cubicBezTo>
                <a:cubicBezTo>
                  <a:pt x="654129" y="2790789"/>
                  <a:pt x="656193" y="2788620"/>
                  <a:pt x="658362" y="2789240"/>
                </a:cubicBezTo>
                <a:close/>
                <a:moveTo>
                  <a:pt x="1158225" y="2789085"/>
                </a:moveTo>
                <a:cubicBezTo>
                  <a:pt x="1159877" y="2788156"/>
                  <a:pt x="1162459" y="2789240"/>
                  <a:pt x="1162872" y="2790944"/>
                </a:cubicBezTo>
                <a:cubicBezTo>
                  <a:pt x="1163078" y="2791718"/>
                  <a:pt x="1162975" y="2792493"/>
                  <a:pt x="1162149" y="2793267"/>
                </a:cubicBezTo>
                <a:cubicBezTo>
                  <a:pt x="1160291" y="2792802"/>
                  <a:pt x="1159155" y="2792183"/>
                  <a:pt x="1156986" y="2790789"/>
                </a:cubicBezTo>
                <a:cubicBezTo>
                  <a:pt x="1157296" y="2790014"/>
                  <a:pt x="1157709" y="2789395"/>
                  <a:pt x="1158225" y="2789085"/>
                </a:cubicBezTo>
                <a:close/>
                <a:moveTo>
                  <a:pt x="713501" y="2788620"/>
                </a:moveTo>
                <a:cubicBezTo>
                  <a:pt x="713707" y="2788465"/>
                  <a:pt x="714017" y="2788310"/>
                  <a:pt x="714327" y="2788620"/>
                </a:cubicBezTo>
                <a:cubicBezTo>
                  <a:pt x="715050" y="2788930"/>
                  <a:pt x="714533" y="2789704"/>
                  <a:pt x="713398" y="2790014"/>
                </a:cubicBezTo>
                <a:cubicBezTo>
                  <a:pt x="713398" y="2790014"/>
                  <a:pt x="712675" y="2789550"/>
                  <a:pt x="712675" y="2789550"/>
                </a:cubicBezTo>
                <a:cubicBezTo>
                  <a:pt x="712881" y="2789240"/>
                  <a:pt x="713191" y="2788775"/>
                  <a:pt x="713501" y="2788620"/>
                </a:cubicBezTo>
                <a:close/>
                <a:moveTo>
                  <a:pt x="688926" y="2788310"/>
                </a:moveTo>
                <a:cubicBezTo>
                  <a:pt x="690578" y="2789395"/>
                  <a:pt x="692333" y="2789704"/>
                  <a:pt x="693985" y="2790789"/>
                </a:cubicBezTo>
                <a:cubicBezTo>
                  <a:pt x="695018" y="2793577"/>
                  <a:pt x="692436" y="2798843"/>
                  <a:pt x="689029" y="2799308"/>
                </a:cubicBezTo>
                <a:cubicBezTo>
                  <a:pt x="687893" y="2799463"/>
                  <a:pt x="686654" y="2799153"/>
                  <a:pt x="685415" y="2797914"/>
                </a:cubicBezTo>
                <a:cubicBezTo>
                  <a:pt x="684692" y="2796830"/>
                  <a:pt x="684279" y="2795901"/>
                  <a:pt x="684176" y="2795126"/>
                </a:cubicBezTo>
                <a:cubicBezTo>
                  <a:pt x="683866" y="2792493"/>
                  <a:pt x="686138" y="2790324"/>
                  <a:pt x="688926" y="2788310"/>
                </a:cubicBezTo>
                <a:close/>
                <a:moveTo>
                  <a:pt x="511945" y="2786452"/>
                </a:moveTo>
                <a:cubicBezTo>
                  <a:pt x="511945" y="2793887"/>
                  <a:pt x="511428" y="2806278"/>
                  <a:pt x="506782" y="2811854"/>
                </a:cubicBezTo>
                <a:cubicBezTo>
                  <a:pt x="504510" y="2810615"/>
                  <a:pt x="503478" y="2808602"/>
                  <a:pt x="503168" y="2806278"/>
                </a:cubicBezTo>
                <a:cubicBezTo>
                  <a:pt x="502238" y="2799308"/>
                  <a:pt x="508434" y="2789240"/>
                  <a:pt x="511945" y="2786452"/>
                </a:cubicBezTo>
                <a:close/>
                <a:moveTo>
                  <a:pt x="716598" y="2785057"/>
                </a:moveTo>
                <a:cubicBezTo>
                  <a:pt x="716598" y="2785057"/>
                  <a:pt x="716805" y="2786297"/>
                  <a:pt x="716805" y="2786297"/>
                </a:cubicBezTo>
                <a:cubicBezTo>
                  <a:pt x="715669" y="2786607"/>
                  <a:pt x="716289" y="2786916"/>
                  <a:pt x="714946" y="2786142"/>
                </a:cubicBezTo>
                <a:cubicBezTo>
                  <a:pt x="716082" y="2785833"/>
                  <a:pt x="716082" y="2785833"/>
                  <a:pt x="716598" y="2785057"/>
                </a:cubicBezTo>
                <a:close/>
                <a:moveTo>
                  <a:pt x="518450" y="2784903"/>
                </a:moveTo>
                <a:cubicBezTo>
                  <a:pt x="520102" y="2784283"/>
                  <a:pt x="522064" y="2784438"/>
                  <a:pt x="524852" y="2786297"/>
                </a:cubicBezTo>
                <a:cubicBezTo>
                  <a:pt x="525161" y="2790789"/>
                  <a:pt x="522373" y="2790789"/>
                  <a:pt x="519586" y="2790944"/>
                </a:cubicBezTo>
                <a:cubicBezTo>
                  <a:pt x="519895" y="2788775"/>
                  <a:pt x="517830" y="2788000"/>
                  <a:pt x="517727" y="2786607"/>
                </a:cubicBezTo>
                <a:cubicBezTo>
                  <a:pt x="517727" y="2786142"/>
                  <a:pt x="517933" y="2785677"/>
                  <a:pt x="518450" y="2784903"/>
                </a:cubicBezTo>
                <a:close/>
                <a:moveTo>
                  <a:pt x="1350178" y="2784748"/>
                </a:moveTo>
                <a:cubicBezTo>
                  <a:pt x="1352554" y="2785987"/>
                  <a:pt x="1355135" y="2790944"/>
                  <a:pt x="1353999" y="2792957"/>
                </a:cubicBezTo>
                <a:cubicBezTo>
                  <a:pt x="1352863" y="2793267"/>
                  <a:pt x="1351727" y="2793577"/>
                  <a:pt x="1350488" y="2793887"/>
                </a:cubicBezTo>
                <a:cubicBezTo>
                  <a:pt x="1348733" y="2792493"/>
                  <a:pt x="1347391" y="2790634"/>
                  <a:pt x="1347184" y="2788930"/>
                </a:cubicBezTo>
                <a:cubicBezTo>
                  <a:pt x="1346874" y="2787226"/>
                  <a:pt x="1347701" y="2785677"/>
                  <a:pt x="1350178" y="2784748"/>
                </a:cubicBezTo>
                <a:close/>
                <a:moveTo>
                  <a:pt x="646281" y="2784129"/>
                </a:moveTo>
                <a:cubicBezTo>
                  <a:pt x="652476" y="2785522"/>
                  <a:pt x="649379" y="2796210"/>
                  <a:pt x="643080" y="2791099"/>
                </a:cubicBezTo>
                <a:cubicBezTo>
                  <a:pt x="644216" y="2787846"/>
                  <a:pt x="645042" y="2785522"/>
                  <a:pt x="646281" y="2784129"/>
                </a:cubicBezTo>
                <a:close/>
                <a:moveTo>
                  <a:pt x="1033079" y="2782424"/>
                </a:moveTo>
                <a:lnTo>
                  <a:pt x="1031220" y="2787536"/>
                </a:lnTo>
                <a:lnTo>
                  <a:pt x="1030498" y="2789240"/>
                </a:lnTo>
                <a:lnTo>
                  <a:pt x="1031530" y="2789240"/>
                </a:lnTo>
                <a:lnTo>
                  <a:pt x="1030394" y="2789550"/>
                </a:lnTo>
                <a:lnTo>
                  <a:pt x="1028949" y="2793422"/>
                </a:lnTo>
                <a:lnTo>
                  <a:pt x="1031633" y="2793267"/>
                </a:lnTo>
                <a:lnTo>
                  <a:pt x="1031840" y="2792183"/>
                </a:lnTo>
                <a:cubicBezTo>
                  <a:pt x="1032253" y="2791563"/>
                  <a:pt x="1032769" y="2791254"/>
                  <a:pt x="1033595" y="2790944"/>
                </a:cubicBezTo>
                <a:cubicBezTo>
                  <a:pt x="1033285" y="2791408"/>
                  <a:pt x="1033182" y="2792338"/>
                  <a:pt x="1032975" y="2793112"/>
                </a:cubicBezTo>
                <a:lnTo>
                  <a:pt x="1032975" y="2793267"/>
                </a:lnTo>
                <a:lnTo>
                  <a:pt x="1038861" y="2792802"/>
                </a:lnTo>
                <a:cubicBezTo>
                  <a:pt x="1042372" y="2792493"/>
                  <a:pt x="1045986" y="2793267"/>
                  <a:pt x="1046812" y="2793732"/>
                </a:cubicBezTo>
                <a:lnTo>
                  <a:pt x="1046812" y="2794042"/>
                </a:lnTo>
                <a:lnTo>
                  <a:pt x="1047018" y="2794042"/>
                </a:lnTo>
                <a:lnTo>
                  <a:pt x="1047122" y="2794042"/>
                </a:lnTo>
                <a:lnTo>
                  <a:pt x="1048980" y="2793887"/>
                </a:lnTo>
                <a:lnTo>
                  <a:pt x="1048980" y="2793422"/>
                </a:lnTo>
                <a:cubicBezTo>
                  <a:pt x="1049084" y="2792957"/>
                  <a:pt x="1049393" y="2792183"/>
                  <a:pt x="1049909" y="2791718"/>
                </a:cubicBezTo>
                <a:cubicBezTo>
                  <a:pt x="1050323" y="2791254"/>
                  <a:pt x="1050839" y="2790944"/>
                  <a:pt x="1051458" y="2791254"/>
                </a:cubicBezTo>
                <a:cubicBezTo>
                  <a:pt x="1051974" y="2791873"/>
                  <a:pt x="1052697" y="2791563"/>
                  <a:pt x="1053110" y="2792338"/>
                </a:cubicBezTo>
                <a:lnTo>
                  <a:pt x="1054143" y="2793112"/>
                </a:lnTo>
                <a:lnTo>
                  <a:pt x="1056518" y="2792802"/>
                </a:lnTo>
                <a:lnTo>
                  <a:pt x="1062920" y="2792648"/>
                </a:lnTo>
                <a:lnTo>
                  <a:pt x="1055279" y="2786142"/>
                </a:lnTo>
                <a:lnTo>
                  <a:pt x="1053730" y="2789085"/>
                </a:lnTo>
                <a:cubicBezTo>
                  <a:pt x="1052904" y="2790169"/>
                  <a:pt x="1051768" y="2790789"/>
                  <a:pt x="1050323" y="2791254"/>
                </a:cubicBezTo>
                <a:cubicBezTo>
                  <a:pt x="1049393" y="2790324"/>
                  <a:pt x="1048877" y="2789395"/>
                  <a:pt x="1048670" y="2788156"/>
                </a:cubicBezTo>
                <a:lnTo>
                  <a:pt x="1048774" y="2785057"/>
                </a:lnTo>
                <a:lnTo>
                  <a:pt x="1042475" y="2785522"/>
                </a:lnTo>
                <a:close/>
                <a:moveTo>
                  <a:pt x="357989" y="2781960"/>
                </a:moveTo>
                <a:cubicBezTo>
                  <a:pt x="366560" y="2784129"/>
                  <a:pt x="374511" y="2803800"/>
                  <a:pt x="366353" y="2808137"/>
                </a:cubicBezTo>
                <a:cubicBezTo>
                  <a:pt x="364185" y="2798379"/>
                  <a:pt x="358196" y="2793112"/>
                  <a:pt x="357989" y="2781960"/>
                </a:cubicBezTo>
                <a:close/>
                <a:moveTo>
                  <a:pt x="917806" y="2781495"/>
                </a:moveTo>
                <a:cubicBezTo>
                  <a:pt x="922491" y="2779559"/>
                  <a:pt x="926983" y="2779017"/>
                  <a:pt x="929100" y="2783199"/>
                </a:cubicBezTo>
                <a:cubicBezTo>
                  <a:pt x="923834" y="2785368"/>
                  <a:pt x="907932" y="2794662"/>
                  <a:pt x="905351" y="2788156"/>
                </a:cubicBezTo>
                <a:cubicBezTo>
                  <a:pt x="908242" y="2786762"/>
                  <a:pt x="913121" y="2783431"/>
                  <a:pt x="917806" y="2781495"/>
                </a:cubicBezTo>
                <a:close/>
                <a:moveTo>
                  <a:pt x="1369488" y="2777777"/>
                </a:moveTo>
                <a:cubicBezTo>
                  <a:pt x="1369900" y="2777468"/>
                  <a:pt x="1370107" y="2777313"/>
                  <a:pt x="1370313" y="2777777"/>
                </a:cubicBezTo>
                <a:cubicBezTo>
                  <a:pt x="1371036" y="2777623"/>
                  <a:pt x="1371346" y="2778397"/>
                  <a:pt x="1370624" y="2778552"/>
                </a:cubicBezTo>
                <a:cubicBezTo>
                  <a:pt x="1370417" y="2780411"/>
                  <a:pt x="1368352" y="2779172"/>
                  <a:pt x="1367216" y="2778552"/>
                </a:cubicBezTo>
                <a:cubicBezTo>
                  <a:pt x="1368455" y="2778242"/>
                  <a:pt x="1369074" y="2777932"/>
                  <a:pt x="1369488" y="2777777"/>
                </a:cubicBezTo>
                <a:close/>
                <a:moveTo>
                  <a:pt x="845978" y="2776848"/>
                </a:moveTo>
                <a:cubicBezTo>
                  <a:pt x="852484" y="2784438"/>
                  <a:pt x="849179" y="2791408"/>
                  <a:pt x="845875" y="2798379"/>
                </a:cubicBezTo>
                <a:cubicBezTo>
                  <a:pt x="842055" y="2796055"/>
                  <a:pt x="841022" y="2792183"/>
                  <a:pt x="841538" y="2788156"/>
                </a:cubicBezTo>
                <a:cubicBezTo>
                  <a:pt x="842055" y="2783973"/>
                  <a:pt x="843913" y="2779791"/>
                  <a:pt x="845978" y="2776848"/>
                </a:cubicBezTo>
                <a:close/>
                <a:moveTo>
                  <a:pt x="469713" y="2776383"/>
                </a:moveTo>
                <a:cubicBezTo>
                  <a:pt x="476837" y="2782579"/>
                  <a:pt x="475805" y="2797759"/>
                  <a:pt x="467028" y="2796055"/>
                </a:cubicBezTo>
                <a:cubicBezTo>
                  <a:pt x="465789" y="2795901"/>
                  <a:pt x="464344" y="2795281"/>
                  <a:pt x="462794" y="2794352"/>
                </a:cubicBezTo>
                <a:cubicBezTo>
                  <a:pt x="462691" y="2792802"/>
                  <a:pt x="462485" y="2791099"/>
                  <a:pt x="462382" y="2789240"/>
                </a:cubicBezTo>
                <a:cubicBezTo>
                  <a:pt x="462278" y="2787846"/>
                  <a:pt x="462175" y="2786452"/>
                  <a:pt x="462278" y="2785057"/>
                </a:cubicBezTo>
                <a:cubicBezTo>
                  <a:pt x="462588" y="2781030"/>
                  <a:pt x="464137" y="2777313"/>
                  <a:pt x="469713" y="2776383"/>
                </a:cubicBezTo>
                <a:close/>
                <a:moveTo>
                  <a:pt x="348284" y="2776383"/>
                </a:moveTo>
                <a:cubicBezTo>
                  <a:pt x="352930" y="2780101"/>
                  <a:pt x="351071" y="2783044"/>
                  <a:pt x="354169" y="2785057"/>
                </a:cubicBezTo>
                <a:cubicBezTo>
                  <a:pt x="348800" y="2790789"/>
                  <a:pt x="343844" y="2790169"/>
                  <a:pt x="337648" y="2786142"/>
                </a:cubicBezTo>
                <a:cubicBezTo>
                  <a:pt x="338061" y="2781495"/>
                  <a:pt x="343431" y="2775764"/>
                  <a:pt x="348284" y="2776383"/>
                </a:cubicBezTo>
                <a:close/>
                <a:moveTo>
                  <a:pt x="725891" y="2775609"/>
                </a:moveTo>
                <a:cubicBezTo>
                  <a:pt x="725065" y="2777003"/>
                  <a:pt x="719490" y="2783973"/>
                  <a:pt x="716701" y="2785057"/>
                </a:cubicBezTo>
                <a:cubicBezTo>
                  <a:pt x="719696" y="2782115"/>
                  <a:pt x="721968" y="2777003"/>
                  <a:pt x="725891" y="2775609"/>
                </a:cubicBezTo>
                <a:close/>
                <a:moveTo>
                  <a:pt x="654541" y="2774834"/>
                </a:moveTo>
                <a:cubicBezTo>
                  <a:pt x="651857" y="2777468"/>
                  <a:pt x="649482" y="2780411"/>
                  <a:pt x="646384" y="2782734"/>
                </a:cubicBezTo>
                <a:cubicBezTo>
                  <a:pt x="643390" y="2785057"/>
                  <a:pt x="639776" y="2786761"/>
                  <a:pt x="634716" y="2787381"/>
                </a:cubicBezTo>
                <a:cubicBezTo>
                  <a:pt x="634613" y="2782424"/>
                  <a:pt x="637814" y="2779172"/>
                  <a:pt x="641944" y="2777313"/>
                </a:cubicBezTo>
                <a:cubicBezTo>
                  <a:pt x="646074" y="2775454"/>
                  <a:pt x="651134" y="2774679"/>
                  <a:pt x="654541" y="2774834"/>
                </a:cubicBezTo>
                <a:close/>
                <a:moveTo>
                  <a:pt x="5096677" y="2774243"/>
                </a:moveTo>
                <a:lnTo>
                  <a:pt x="5091128" y="2778511"/>
                </a:lnTo>
                <a:lnTo>
                  <a:pt x="5091128" y="2778653"/>
                </a:lnTo>
                <a:cubicBezTo>
                  <a:pt x="5090061" y="2780076"/>
                  <a:pt x="5089207" y="2781072"/>
                  <a:pt x="5088140" y="2781641"/>
                </a:cubicBezTo>
                <a:lnTo>
                  <a:pt x="5087286" y="2781356"/>
                </a:lnTo>
                <a:lnTo>
                  <a:pt x="5086433" y="2782067"/>
                </a:lnTo>
                <a:lnTo>
                  <a:pt x="5069567" y="2785712"/>
                </a:lnTo>
                <a:lnTo>
                  <a:pt x="5091019" y="2785712"/>
                </a:lnTo>
                <a:lnTo>
                  <a:pt x="5092409" y="2782637"/>
                </a:lnTo>
                <a:cubicBezTo>
                  <a:pt x="5093476" y="2781214"/>
                  <a:pt x="5094970" y="2779507"/>
                  <a:pt x="5095823" y="2777800"/>
                </a:cubicBezTo>
                <a:close/>
                <a:moveTo>
                  <a:pt x="905867" y="2773750"/>
                </a:moveTo>
                <a:cubicBezTo>
                  <a:pt x="906383" y="2774060"/>
                  <a:pt x="906899" y="2774679"/>
                  <a:pt x="907726" y="2775144"/>
                </a:cubicBezTo>
                <a:lnTo>
                  <a:pt x="904731" y="2777468"/>
                </a:lnTo>
                <a:cubicBezTo>
                  <a:pt x="904318" y="2777003"/>
                  <a:pt x="904008" y="2776383"/>
                  <a:pt x="903905" y="2775764"/>
                </a:cubicBezTo>
                <a:cubicBezTo>
                  <a:pt x="903699" y="2775144"/>
                  <a:pt x="903905" y="2774525"/>
                  <a:pt x="904422" y="2774215"/>
                </a:cubicBezTo>
                <a:cubicBezTo>
                  <a:pt x="904938" y="2773440"/>
                  <a:pt x="905351" y="2773440"/>
                  <a:pt x="905867" y="2773750"/>
                </a:cubicBezTo>
                <a:close/>
                <a:moveTo>
                  <a:pt x="372135" y="2773596"/>
                </a:moveTo>
                <a:cubicBezTo>
                  <a:pt x="376162" y="2771582"/>
                  <a:pt x="379157" y="2772356"/>
                  <a:pt x="381222" y="2774989"/>
                </a:cubicBezTo>
                <a:cubicBezTo>
                  <a:pt x="380602" y="2779791"/>
                  <a:pt x="374097" y="2781650"/>
                  <a:pt x="371413" y="2778397"/>
                </a:cubicBezTo>
                <a:cubicBezTo>
                  <a:pt x="371516" y="2777777"/>
                  <a:pt x="371516" y="2777003"/>
                  <a:pt x="371516" y="2776229"/>
                </a:cubicBezTo>
                <a:cubicBezTo>
                  <a:pt x="371516" y="2775454"/>
                  <a:pt x="371723" y="2774525"/>
                  <a:pt x="372135" y="2773596"/>
                </a:cubicBezTo>
                <a:close/>
                <a:moveTo>
                  <a:pt x="1362053" y="2773286"/>
                </a:moveTo>
                <a:cubicBezTo>
                  <a:pt x="1365047" y="2775299"/>
                  <a:pt x="1366493" y="2778397"/>
                  <a:pt x="1366183" y="2780876"/>
                </a:cubicBezTo>
                <a:cubicBezTo>
                  <a:pt x="1365770" y="2783509"/>
                  <a:pt x="1363499" y="2785368"/>
                  <a:pt x="1358956" y="2785368"/>
                </a:cubicBezTo>
                <a:cubicBezTo>
                  <a:pt x="1356477" y="2783664"/>
                  <a:pt x="1355135" y="2781340"/>
                  <a:pt x="1354825" y="2779172"/>
                </a:cubicBezTo>
                <a:cubicBezTo>
                  <a:pt x="1354619" y="2777003"/>
                  <a:pt x="1355341" y="2774989"/>
                  <a:pt x="1357200" y="2773905"/>
                </a:cubicBezTo>
                <a:cubicBezTo>
                  <a:pt x="1358336" y="2773131"/>
                  <a:pt x="1359988" y="2772976"/>
                  <a:pt x="1362053" y="2773286"/>
                </a:cubicBezTo>
                <a:close/>
                <a:moveTo>
                  <a:pt x="1336859" y="2772976"/>
                </a:moveTo>
                <a:cubicBezTo>
                  <a:pt x="1338717" y="2772356"/>
                  <a:pt x="1345222" y="2778397"/>
                  <a:pt x="1341299" y="2780411"/>
                </a:cubicBezTo>
                <a:cubicBezTo>
                  <a:pt x="1338511" y="2781185"/>
                  <a:pt x="1336755" y="2777468"/>
                  <a:pt x="1336549" y="2774989"/>
                </a:cubicBezTo>
                <a:cubicBezTo>
                  <a:pt x="1336445" y="2774060"/>
                  <a:pt x="1336549" y="2773440"/>
                  <a:pt x="1336859" y="2772976"/>
                </a:cubicBezTo>
                <a:close/>
                <a:moveTo>
                  <a:pt x="895851" y="2772821"/>
                </a:moveTo>
                <a:cubicBezTo>
                  <a:pt x="898123" y="2774679"/>
                  <a:pt x="899465" y="2777313"/>
                  <a:pt x="896470" y="2779636"/>
                </a:cubicBezTo>
                <a:cubicBezTo>
                  <a:pt x="895541" y="2780411"/>
                  <a:pt x="894612" y="2781185"/>
                  <a:pt x="894715" y="2780256"/>
                </a:cubicBezTo>
                <a:cubicBezTo>
                  <a:pt x="893889" y="2780256"/>
                  <a:pt x="893889" y="2779481"/>
                  <a:pt x="893167" y="2778552"/>
                </a:cubicBezTo>
                <a:cubicBezTo>
                  <a:pt x="892960" y="2777777"/>
                  <a:pt x="892857" y="2776693"/>
                  <a:pt x="893063" y="2775764"/>
                </a:cubicBezTo>
                <a:cubicBezTo>
                  <a:pt x="893167" y="2774834"/>
                  <a:pt x="893580" y="2773905"/>
                  <a:pt x="894096" y="2773596"/>
                </a:cubicBezTo>
                <a:cubicBezTo>
                  <a:pt x="895025" y="2772821"/>
                  <a:pt x="895851" y="2772821"/>
                  <a:pt x="895851" y="2772821"/>
                </a:cubicBezTo>
                <a:close/>
                <a:moveTo>
                  <a:pt x="488195" y="2772511"/>
                </a:moveTo>
                <a:cubicBezTo>
                  <a:pt x="489022" y="2772356"/>
                  <a:pt x="489022" y="2773131"/>
                  <a:pt x="489951" y="2773905"/>
                </a:cubicBezTo>
                <a:cubicBezTo>
                  <a:pt x="490054" y="2774679"/>
                  <a:pt x="489228" y="2775609"/>
                  <a:pt x="489228" y="2775609"/>
                </a:cubicBezTo>
                <a:cubicBezTo>
                  <a:pt x="488402" y="2776538"/>
                  <a:pt x="488402" y="2776693"/>
                  <a:pt x="489331" y="2777313"/>
                </a:cubicBezTo>
                <a:cubicBezTo>
                  <a:pt x="489331" y="2777313"/>
                  <a:pt x="488402" y="2777468"/>
                  <a:pt x="488402" y="2777468"/>
                </a:cubicBezTo>
                <a:cubicBezTo>
                  <a:pt x="488402" y="2777003"/>
                  <a:pt x="488402" y="2777003"/>
                  <a:pt x="488299" y="2777313"/>
                </a:cubicBezTo>
                <a:lnTo>
                  <a:pt x="487886" y="2777932"/>
                </a:lnTo>
                <a:lnTo>
                  <a:pt x="490261" y="2778552"/>
                </a:lnTo>
                <a:cubicBezTo>
                  <a:pt x="493668" y="2781805"/>
                  <a:pt x="490570" y="2790324"/>
                  <a:pt x="486234" y="2791099"/>
                </a:cubicBezTo>
                <a:cubicBezTo>
                  <a:pt x="483859" y="2790169"/>
                  <a:pt x="481587" y="2789240"/>
                  <a:pt x="479213" y="2788310"/>
                </a:cubicBezTo>
                <a:cubicBezTo>
                  <a:pt x="477870" y="2786452"/>
                  <a:pt x="477251" y="2784593"/>
                  <a:pt x="477457" y="2782734"/>
                </a:cubicBezTo>
                <a:cubicBezTo>
                  <a:pt x="477663" y="2780876"/>
                  <a:pt x="478490" y="2779326"/>
                  <a:pt x="479935" y="2778242"/>
                </a:cubicBezTo>
                <a:cubicBezTo>
                  <a:pt x="480865" y="2777468"/>
                  <a:pt x="482104" y="2777003"/>
                  <a:pt x="483549" y="2776848"/>
                </a:cubicBezTo>
                <a:lnTo>
                  <a:pt x="483756" y="2777003"/>
                </a:lnTo>
                <a:lnTo>
                  <a:pt x="482826" y="2775764"/>
                </a:lnTo>
                <a:cubicBezTo>
                  <a:pt x="482517" y="2775144"/>
                  <a:pt x="482517" y="2774525"/>
                  <a:pt x="482929" y="2774060"/>
                </a:cubicBezTo>
                <a:cubicBezTo>
                  <a:pt x="483859" y="2773905"/>
                  <a:pt x="483756" y="2773131"/>
                  <a:pt x="484582" y="2772976"/>
                </a:cubicBezTo>
                <a:cubicBezTo>
                  <a:pt x="486337" y="2771891"/>
                  <a:pt x="487266" y="2771736"/>
                  <a:pt x="488195" y="2772511"/>
                </a:cubicBezTo>
                <a:close/>
                <a:moveTo>
                  <a:pt x="610967" y="2771272"/>
                </a:moveTo>
                <a:cubicBezTo>
                  <a:pt x="610348" y="2774834"/>
                  <a:pt x="610451" y="2777777"/>
                  <a:pt x="610761" y="2780565"/>
                </a:cubicBezTo>
                <a:lnTo>
                  <a:pt x="610967" y="2783044"/>
                </a:lnTo>
                <a:lnTo>
                  <a:pt x="613136" y="2781340"/>
                </a:lnTo>
                <a:cubicBezTo>
                  <a:pt x="614581" y="2780721"/>
                  <a:pt x="616440" y="2780411"/>
                  <a:pt x="618918" y="2780876"/>
                </a:cubicBezTo>
                <a:lnTo>
                  <a:pt x="625010" y="2783509"/>
                </a:lnTo>
                <a:lnTo>
                  <a:pt x="626456" y="2780721"/>
                </a:lnTo>
                <a:cubicBezTo>
                  <a:pt x="628934" y="2779017"/>
                  <a:pt x="633167" y="2781340"/>
                  <a:pt x="633890" y="2783819"/>
                </a:cubicBezTo>
                <a:cubicBezTo>
                  <a:pt x="633167" y="2785677"/>
                  <a:pt x="631309" y="2786452"/>
                  <a:pt x="629450" y="2786452"/>
                </a:cubicBezTo>
                <a:lnTo>
                  <a:pt x="626868" y="2784903"/>
                </a:lnTo>
                <a:lnTo>
                  <a:pt x="628624" y="2788000"/>
                </a:lnTo>
                <a:cubicBezTo>
                  <a:pt x="629037" y="2789395"/>
                  <a:pt x="629140" y="2791254"/>
                  <a:pt x="628728" y="2793422"/>
                </a:cubicBezTo>
                <a:cubicBezTo>
                  <a:pt x="628934" y="2795281"/>
                  <a:pt x="628418" y="2794506"/>
                  <a:pt x="628211" y="2795590"/>
                </a:cubicBezTo>
                <a:cubicBezTo>
                  <a:pt x="627901" y="2796830"/>
                  <a:pt x="628108" y="2798689"/>
                  <a:pt x="628521" y="2799463"/>
                </a:cubicBezTo>
                <a:cubicBezTo>
                  <a:pt x="624184" y="2798689"/>
                  <a:pt x="624081" y="2801632"/>
                  <a:pt x="617369" y="2800237"/>
                </a:cubicBezTo>
                <a:cubicBezTo>
                  <a:pt x="610761" y="2799308"/>
                  <a:pt x="608076" y="2795590"/>
                  <a:pt x="607353" y="2792183"/>
                </a:cubicBezTo>
                <a:lnTo>
                  <a:pt x="607250" y="2789395"/>
                </a:lnTo>
                <a:lnTo>
                  <a:pt x="604668" y="2788620"/>
                </a:lnTo>
                <a:cubicBezTo>
                  <a:pt x="607560" y="2783199"/>
                  <a:pt x="602707" y="2782115"/>
                  <a:pt x="601158" y="2779326"/>
                </a:cubicBezTo>
                <a:cubicBezTo>
                  <a:pt x="600745" y="2778552"/>
                  <a:pt x="600538" y="2777468"/>
                  <a:pt x="601261" y="2776074"/>
                </a:cubicBezTo>
                <a:cubicBezTo>
                  <a:pt x="603326" y="2774525"/>
                  <a:pt x="604875" y="2772201"/>
                  <a:pt x="607663" y="2771427"/>
                </a:cubicBezTo>
                <a:cubicBezTo>
                  <a:pt x="608696" y="2771117"/>
                  <a:pt x="609728" y="2771117"/>
                  <a:pt x="610967" y="2771272"/>
                </a:cubicBezTo>
                <a:close/>
                <a:moveTo>
                  <a:pt x="531253" y="2771253"/>
                </a:moveTo>
                <a:cubicBezTo>
                  <a:pt x="532131" y="2770885"/>
                  <a:pt x="532957" y="2770730"/>
                  <a:pt x="534248" y="2772201"/>
                </a:cubicBezTo>
                <a:cubicBezTo>
                  <a:pt x="534764" y="2773905"/>
                  <a:pt x="534351" y="2775609"/>
                  <a:pt x="532390" y="2777777"/>
                </a:cubicBezTo>
                <a:cubicBezTo>
                  <a:pt x="527640" y="2777003"/>
                  <a:pt x="527846" y="2774370"/>
                  <a:pt x="527949" y="2771582"/>
                </a:cubicBezTo>
                <a:cubicBezTo>
                  <a:pt x="529446" y="2772201"/>
                  <a:pt x="530376" y="2771620"/>
                  <a:pt x="531253" y="2771253"/>
                </a:cubicBezTo>
                <a:close/>
                <a:moveTo>
                  <a:pt x="863016" y="2769878"/>
                </a:moveTo>
                <a:cubicBezTo>
                  <a:pt x="863635" y="2772046"/>
                  <a:pt x="864358" y="2774525"/>
                  <a:pt x="864874" y="2777313"/>
                </a:cubicBezTo>
                <a:lnTo>
                  <a:pt x="864874" y="2777932"/>
                </a:lnTo>
                <a:lnTo>
                  <a:pt x="865803" y="2777777"/>
                </a:lnTo>
                <a:lnTo>
                  <a:pt x="864978" y="2780565"/>
                </a:lnTo>
                <a:lnTo>
                  <a:pt x="865287" y="2785368"/>
                </a:lnTo>
                <a:cubicBezTo>
                  <a:pt x="864668" y="2790634"/>
                  <a:pt x="861777" y="2795281"/>
                  <a:pt x="854135" y="2796830"/>
                </a:cubicBezTo>
                <a:lnTo>
                  <a:pt x="850625" y="2792648"/>
                </a:lnTo>
                <a:lnTo>
                  <a:pt x="850005" y="2792802"/>
                </a:lnTo>
                <a:lnTo>
                  <a:pt x="850212" y="2792028"/>
                </a:lnTo>
                <a:lnTo>
                  <a:pt x="849490" y="2791254"/>
                </a:lnTo>
                <a:lnTo>
                  <a:pt x="850728" y="2789859"/>
                </a:lnTo>
                <a:lnTo>
                  <a:pt x="851038" y="2788156"/>
                </a:lnTo>
                <a:cubicBezTo>
                  <a:pt x="851554" y="2786761"/>
                  <a:pt x="852380" y="2785368"/>
                  <a:pt x="853413" y="2784129"/>
                </a:cubicBezTo>
                <a:lnTo>
                  <a:pt x="855685" y="2782424"/>
                </a:lnTo>
                <a:lnTo>
                  <a:pt x="856924" y="2780101"/>
                </a:lnTo>
                <a:lnTo>
                  <a:pt x="858679" y="2776538"/>
                </a:lnTo>
                <a:lnTo>
                  <a:pt x="857646" y="2775609"/>
                </a:lnTo>
                <a:cubicBezTo>
                  <a:pt x="856511" y="2774679"/>
                  <a:pt x="855685" y="2773750"/>
                  <a:pt x="856097" y="2773286"/>
                </a:cubicBezTo>
                <a:cubicBezTo>
                  <a:pt x="856097" y="2773286"/>
                  <a:pt x="857027" y="2774215"/>
                  <a:pt x="857853" y="2775144"/>
                </a:cubicBezTo>
                <a:lnTo>
                  <a:pt x="859298" y="2775299"/>
                </a:lnTo>
                <a:lnTo>
                  <a:pt x="859608" y="2774679"/>
                </a:lnTo>
                <a:cubicBezTo>
                  <a:pt x="860537" y="2772976"/>
                  <a:pt x="861673" y="2771272"/>
                  <a:pt x="863016" y="2769878"/>
                </a:cubicBezTo>
                <a:close/>
                <a:moveTo>
                  <a:pt x="623668" y="2769723"/>
                </a:moveTo>
                <a:cubicBezTo>
                  <a:pt x="632341" y="2771117"/>
                  <a:pt x="631102" y="2773750"/>
                  <a:pt x="630792" y="2777932"/>
                </a:cubicBezTo>
                <a:cubicBezTo>
                  <a:pt x="628830" y="2777932"/>
                  <a:pt x="627075" y="2779791"/>
                  <a:pt x="624700" y="2779017"/>
                </a:cubicBezTo>
                <a:cubicBezTo>
                  <a:pt x="624700" y="2779017"/>
                  <a:pt x="623461" y="2778707"/>
                  <a:pt x="622532" y="2777158"/>
                </a:cubicBezTo>
                <a:cubicBezTo>
                  <a:pt x="619641" y="2775764"/>
                  <a:pt x="620467" y="2772356"/>
                  <a:pt x="620467" y="2772356"/>
                </a:cubicBezTo>
                <a:cubicBezTo>
                  <a:pt x="620467" y="2772356"/>
                  <a:pt x="620467" y="2772356"/>
                  <a:pt x="619744" y="2772666"/>
                </a:cubicBezTo>
                <a:cubicBezTo>
                  <a:pt x="621293" y="2772046"/>
                  <a:pt x="622223" y="2770497"/>
                  <a:pt x="623668" y="2769723"/>
                </a:cubicBezTo>
                <a:close/>
                <a:moveTo>
                  <a:pt x="578648" y="2769103"/>
                </a:moveTo>
                <a:cubicBezTo>
                  <a:pt x="582056" y="2770497"/>
                  <a:pt x="581230" y="2769723"/>
                  <a:pt x="583708" y="2772976"/>
                </a:cubicBezTo>
                <a:cubicBezTo>
                  <a:pt x="581849" y="2774679"/>
                  <a:pt x="580094" y="2776383"/>
                  <a:pt x="578235" y="2778087"/>
                </a:cubicBezTo>
                <a:cubicBezTo>
                  <a:pt x="577409" y="2776538"/>
                  <a:pt x="575654" y="2775764"/>
                  <a:pt x="574828" y="2774989"/>
                </a:cubicBezTo>
                <a:cubicBezTo>
                  <a:pt x="574931" y="2772511"/>
                  <a:pt x="575860" y="2770807"/>
                  <a:pt x="578648" y="2769103"/>
                </a:cubicBezTo>
                <a:close/>
                <a:moveTo>
                  <a:pt x="950680" y="2768793"/>
                </a:moveTo>
                <a:cubicBezTo>
                  <a:pt x="951609" y="2771117"/>
                  <a:pt x="952745" y="2771582"/>
                  <a:pt x="951919" y="2771891"/>
                </a:cubicBezTo>
                <a:cubicBezTo>
                  <a:pt x="952229" y="2772666"/>
                  <a:pt x="951403" y="2772821"/>
                  <a:pt x="951093" y="2772046"/>
                </a:cubicBezTo>
                <a:cubicBezTo>
                  <a:pt x="950164" y="2771891"/>
                  <a:pt x="949957" y="2771427"/>
                  <a:pt x="949957" y="2770807"/>
                </a:cubicBezTo>
                <a:cubicBezTo>
                  <a:pt x="950061" y="2770032"/>
                  <a:pt x="950474" y="2769258"/>
                  <a:pt x="950680" y="2768793"/>
                </a:cubicBezTo>
                <a:close/>
                <a:moveTo>
                  <a:pt x="617679" y="2768484"/>
                </a:moveTo>
                <a:cubicBezTo>
                  <a:pt x="618402" y="2768484"/>
                  <a:pt x="619228" y="2768484"/>
                  <a:pt x="619538" y="2768948"/>
                </a:cubicBezTo>
                <a:cubicBezTo>
                  <a:pt x="621190" y="2769878"/>
                  <a:pt x="618195" y="2772201"/>
                  <a:pt x="618092" y="2773131"/>
                </a:cubicBezTo>
                <a:cubicBezTo>
                  <a:pt x="617060" y="2773905"/>
                  <a:pt x="616130" y="2774525"/>
                  <a:pt x="615407" y="2773750"/>
                </a:cubicBezTo>
                <a:cubicBezTo>
                  <a:pt x="614994" y="2773286"/>
                  <a:pt x="614581" y="2773131"/>
                  <a:pt x="614375" y="2772666"/>
                </a:cubicBezTo>
                <a:cubicBezTo>
                  <a:pt x="614271" y="2772356"/>
                  <a:pt x="614375" y="2772046"/>
                  <a:pt x="614891" y="2771272"/>
                </a:cubicBezTo>
                <a:cubicBezTo>
                  <a:pt x="615097" y="2770343"/>
                  <a:pt x="616027" y="2769568"/>
                  <a:pt x="616130" y="2768793"/>
                </a:cubicBezTo>
                <a:cubicBezTo>
                  <a:pt x="616130" y="2768793"/>
                  <a:pt x="616853" y="2768484"/>
                  <a:pt x="617679" y="2768484"/>
                </a:cubicBezTo>
                <a:close/>
                <a:moveTo>
                  <a:pt x="432450" y="2767322"/>
                </a:moveTo>
                <a:cubicBezTo>
                  <a:pt x="435458" y="2767593"/>
                  <a:pt x="439046" y="2768716"/>
                  <a:pt x="441730" y="2768948"/>
                </a:cubicBezTo>
                <a:cubicBezTo>
                  <a:pt x="442454" y="2772511"/>
                  <a:pt x="442247" y="2773750"/>
                  <a:pt x="440491" y="2777158"/>
                </a:cubicBezTo>
                <a:cubicBezTo>
                  <a:pt x="434812" y="2778552"/>
                  <a:pt x="430785" y="2776383"/>
                  <a:pt x="426758" y="2774215"/>
                </a:cubicBezTo>
                <a:cubicBezTo>
                  <a:pt x="426552" y="2772976"/>
                  <a:pt x="426552" y="2771736"/>
                  <a:pt x="426655" y="2770807"/>
                </a:cubicBezTo>
                <a:cubicBezTo>
                  <a:pt x="427016" y="2767632"/>
                  <a:pt x="429443" y="2767051"/>
                  <a:pt x="432450" y="2767322"/>
                </a:cubicBezTo>
                <a:close/>
                <a:moveTo>
                  <a:pt x="1383531" y="2766780"/>
                </a:moveTo>
                <a:cubicBezTo>
                  <a:pt x="1385389" y="2767244"/>
                  <a:pt x="1387557" y="2768484"/>
                  <a:pt x="1389726" y="2769878"/>
                </a:cubicBezTo>
                <a:cubicBezTo>
                  <a:pt x="1389106" y="2774525"/>
                  <a:pt x="1383427" y="2771891"/>
                  <a:pt x="1382498" y="2769258"/>
                </a:cubicBezTo>
                <a:cubicBezTo>
                  <a:pt x="1382188" y="2768329"/>
                  <a:pt x="1382395" y="2767400"/>
                  <a:pt x="1383531" y="2766780"/>
                </a:cubicBezTo>
                <a:close/>
                <a:moveTo>
                  <a:pt x="734255" y="2766005"/>
                </a:moveTo>
                <a:cubicBezTo>
                  <a:pt x="734152" y="2767709"/>
                  <a:pt x="733223" y="2770807"/>
                  <a:pt x="730848" y="2771272"/>
                </a:cubicBezTo>
                <a:cubicBezTo>
                  <a:pt x="730848" y="2771272"/>
                  <a:pt x="730951" y="2771272"/>
                  <a:pt x="729815" y="2771427"/>
                </a:cubicBezTo>
                <a:cubicBezTo>
                  <a:pt x="731054" y="2769413"/>
                  <a:pt x="732706" y="2766780"/>
                  <a:pt x="734255" y="2766005"/>
                </a:cubicBezTo>
                <a:close/>
                <a:moveTo>
                  <a:pt x="1009743" y="2765076"/>
                </a:moveTo>
                <a:cubicBezTo>
                  <a:pt x="1014493" y="2763217"/>
                  <a:pt x="1020688" y="2768019"/>
                  <a:pt x="1018623" y="2773286"/>
                </a:cubicBezTo>
                <a:cubicBezTo>
                  <a:pt x="1016661" y="2773131"/>
                  <a:pt x="1015009" y="2773750"/>
                  <a:pt x="1013047" y="2773596"/>
                </a:cubicBezTo>
                <a:cubicBezTo>
                  <a:pt x="1011911" y="2771427"/>
                  <a:pt x="1009226" y="2770187"/>
                  <a:pt x="1009020" y="2767864"/>
                </a:cubicBezTo>
                <a:cubicBezTo>
                  <a:pt x="1008917" y="2767090"/>
                  <a:pt x="1009123" y="2766160"/>
                  <a:pt x="1009743" y="2765076"/>
                </a:cubicBezTo>
                <a:close/>
                <a:moveTo>
                  <a:pt x="560062" y="2763527"/>
                </a:moveTo>
                <a:cubicBezTo>
                  <a:pt x="560991" y="2763372"/>
                  <a:pt x="562024" y="2763527"/>
                  <a:pt x="562437" y="2763992"/>
                </a:cubicBezTo>
                <a:cubicBezTo>
                  <a:pt x="565018" y="2765850"/>
                  <a:pt x="563263" y="2768174"/>
                  <a:pt x="562333" y="2771427"/>
                </a:cubicBezTo>
                <a:cubicBezTo>
                  <a:pt x="561507" y="2770497"/>
                  <a:pt x="560682" y="2771272"/>
                  <a:pt x="559752" y="2771891"/>
                </a:cubicBezTo>
                <a:cubicBezTo>
                  <a:pt x="558513" y="2770652"/>
                  <a:pt x="556242" y="2768639"/>
                  <a:pt x="556655" y="2766625"/>
                </a:cubicBezTo>
                <a:cubicBezTo>
                  <a:pt x="556861" y="2765850"/>
                  <a:pt x="557274" y="2765076"/>
                  <a:pt x="558203" y="2764301"/>
                </a:cubicBezTo>
                <a:cubicBezTo>
                  <a:pt x="558203" y="2763992"/>
                  <a:pt x="559029" y="2763682"/>
                  <a:pt x="560062" y="2763527"/>
                </a:cubicBezTo>
                <a:close/>
                <a:moveTo>
                  <a:pt x="740037" y="2761668"/>
                </a:moveTo>
                <a:cubicBezTo>
                  <a:pt x="742723" y="2761358"/>
                  <a:pt x="745923" y="2761978"/>
                  <a:pt x="748711" y="2763217"/>
                </a:cubicBezTo>
                <a:lnTo>
                  <a:pt x="750157" y="2764301"/>
                </a:lnTo>
                <a:lnTo>
                  <a:pt x="750880" y="2764457"/>
                </a:lnTo>
                <a:lnTo>
                  <a:pt x="751809" y="2765386"/>
                </a:lnTo>
                <a:lnTo>
                  <a:pt x="755526" y="2767864"/>
                </a:lnTo>
                <a:cubicBezTo>
                  <a:pt x="755836" y="2771891"/>
                  <a:pt x="754700" y="2774370"/>
                  <a:pt x="752738" y="2775764"/>
                </a:cubicBezTo>
                <a:cubicBezTo>
                  <a:pt x="746956" y="2779791"/>
                  <a:pt x="734462" y="2773131"/>
                  <a:pt x="735288" y="2763992"/>
                </a:cubicBezTo>
                <a:cubicBezTo>
                  <a:pt x="736630" y="2762598"/>
                  <a:pt x="738179" y="2761823"/>
                  <a:pt x="740037" y="2761668"/>
                </a:cubicBezTo>
                <a:close/>
                <a:moveTo>
                  <a:pt x="1195501" y="2761513"/>
                </a:moveTo>
                <a:lnTo>
                  <a:pt x="1193849" y="2762598"/>
                </a:lnTo>
                <a:lnTo>
                  <a:pt x="1192094" y="2763372"/>
                </a:lnTo>
                <a:lnTo>
                  <a:pt x="1193849" y="2763992"/>
                </a:lnTo>
                <a:close/>
                <a:moveTo>
                  <a:pt x="1179186" y="2758725"/>
                </a:moveTo>
                <a:cubicBezTo>
                  <a:pt x="1177844" y="2762288"/>
                  <a:pt x="1176811" y="2765850"/>
                  <a:pt x="1175056" y="2769258"/>
                </a:cubicBezTo>
                <a:cubicBezTo>
                  <a:pt x="1173197" y="2772511"/>
                  <a:pt x="1170616" y="2775609"/>
                  <a:pt x="1166486" y="2778087"/>
                </a:cubicBezTo>
                <a:cubicBezTo>
                  <a:pt x="1165969" y="2776848"/>
                  <a:pt x="1165660" y="2775609"/>
                  <a:pt x="1165660" y="2774525"/>
                </a:cubicBezTo>
                <a:cubicBezTo>
                  <a:pt x="1165557" y="2773440"/>
                  <a:pt x="1165660" y="2772356"/>
                  <a:pt x="1165866" y="2771272"/>
                </a:cubicBezTo>
                <a:cubicBezTo>
                  <a:pt x="1167415" y="2765076"/>
                  <a:pt x="1174540" y="2760429"/>
                  <a:pt x="1179186" y="2758725"/>
                </a:cubicBezTo>
                <a:close/>
                <a:moveTo>
                  <a:pt x="6515919" y="2758166"/>
                </a:moveTo>
                <a:cubicBezTo>
                  <a:pt x="6520400" y="2757740"/>
                  <a:pt x="6524882" y="2759020"/>
                  <a:pt x="6529363" y="2762435"/>
                </a:cubicBezTo>
                <a:cubicBezTo>
                  <a:pt x="6531285" y="2771113"/>
                  <a:pt x="6520400" y="2776377"/>
                  <a:pt x="6514851" y="2779791"/>
                </a:cubicBezTo>
                <a:cubicBezTo>
                  <a:pt x="6509303" y="2774670"/>
                  <a:pt x="6503967" y="2769406"/>
                  <a:pt x="6503967" y="2764284"/>
                </a:cubicBezTo>
                <a:cubicBezTo>
                  <a:pt x="6507595" y="2760727"/>
                  <a:pt x="6511649" y="2758593"/>
                  <a:pt x="6515919" y="2758166"/>
                </a:cubicBezTo>
                <a:close/>
                <a:moveTo>
                  <a:pt x="1255080" y="2757951"/>
                </a:moveTo>
                <a:cubicBezTo>
                  <a:pt x="1255699" y="2758261"/>
                  <a:pt x="1255802" y="2758725"/>
                  <a:pt x="1255802" y="2759190"/>
                </a:cubicBezTo>
                <a:cubicBezTo>
                  <a:pt x="1255699" y="2759654"/>
                  <a:pt x="1255389" y="2760119"/>
                  <a:pt x="1255183" y="2760739"/>
                </a:cubicBezTo>
                <a:cubicBezTo>
                  <a:pt x="1254666" y="2761668"/>
                  <a:pt x="1254150" y="2762753"/>
                  <a:pt x="1253634" y="2763837"/>
                </a:cubicBezTo>
                <a:cubicBezTo>
                  <a:pt x="1253634" y="2763837"/>
                  <a:pt x="1253634" y="2763837"/>
                  <a:pt x="1255080" y="2757951"/>
                </a:cubicBezTo>
                <a:close/>
                <a:moveTo>
                  <a:pt x="1124564" y="2757641"/>
                </a:moveTo>
                <a:cubicBezTo>
                  <a:pt x="1124564" y="2757641"/>
                  <a:pt x="1125183" y="2758106"/>
                  <a:pt x="1125183" y="2758106"/>
                </a:cubicBezTo>
                <a:cubicBezTo>
                  <a:pt x="1124770" y="2758880"/>
                  <a:pt x="1124254" y="2759654"/>
                  <a:pt x="1123634" y="2759345"/>
                </a:cubicBezTo>
                <a:cubicBezTo>
                  <a:pt x="1123325" y="2759190"/>
                  <a:pt x="1123222" y="2758880"/>
                  <a:pt x="1123325" y="2758570"/>
                </a:cubicBezTo>
                <a:cubicBezTo>
                  <a:pt x="1123531" y="2758261"/>
                  <a:pt x="1123944" y="2757951"/>
                  <a:pt x="1124564" y="2757641"/>
                </a:cubicBezTo>
                <a:close/>
                <a:moveTo>
                  <a:pt x="922492" y="2757176"/>
                </a:moveTo>
                <a:cubicBezTo>
                  <a:pt x="927034" y="2764612"/>
                  <a:pt x="917638" y="2782115"/>
                  <a:pt x="908242" y="2778862"/>
                </a:cubicBezTo>
                <a:lnTo>
                  <a:pt x="910720" y="2774989"/>
                </a:lnTo>
                <a:lnTo>
                  <a:pt x="908655" y="2774525"/>
                </a:lnTo>
                <a:cubicBezTo>
                  <a:pt x="907622" y="2773131"/>
                  <a:pt x="906177" y="2771272"/>
                  <a:pt x="906383" y="2769413"/>
                </a:cubicBezTo>
                <a:cubicBezTo>
                  <a:pt x="906487" y="2768793"/>
                  <a:pt x="906693" y="2768174"/>
                  <a:pt x="907209" y="2767554"/>
                </a:cubicBezTo>
                <a:cubicBezTo>
                  <a:pt x="908035" y="2767709"/>
                  <a:pt x="908242" y="2766780"/>
                  <a:pt x="909068" y="2766935"/>
                </a:cubicBezTo>
                <a:cubicBezTo>
                  <a:pt x="909068" y="2766935"/>
                  <a:pt x="909997" y="2766470"/>
                  <a:pt x="911236" y="2766470"/>
                </a:cubicBezTo>
                <a:lnTo>
                  <a:pt x="914437" y="2767709"/>
                </a:lnTo>
                <a:lnTo>
                  <a:pt x="917432" y="2762443"/>
                </a:lnTo>
                <a:cubicBezTo>
                  <a:pt x="918774" y="2760584"/>
                  <a:pt x="920323" y="2758880"/>
                  <a:pt x="922492" y="2757176"/>
                </a:cubicBezTo>
                <a:close/>
                <a:moveTo>
                  <a:pt x="884493" y="2756557"/>
                </a:moveTo>
                <a:cubicBezTo>
                  <a:pt x="885113" y="2756402"/>
                  <a:pt x="885423" y="2756711"/>
                  <a:pt x="885732" y="2757176"/>
                </a:cubicBezTo>
                <a:cubicBezTo>
                  <a:pt x="886042" y="2757486"/>
                  <a:pt x="886248" y="2758106"/>
                  <a:pt x="886352" y="2758725"/>
                </a:cubicBezTo>
                <a:lnTo>
                  <a:pt x="886662" y="2759654"/>
                </a:lnTo>
                <a:lnTo>
                  <a:pt x="888314" y="2758880"/>
                </a:lnTo>
                <a:cubicBezTo>
                  <a:pt x="892031" y="2760429"/>
                  <a:pt x="893993" y="2762598"/>
                  <a:pt x="894715" y="2764921"/>
                </a:cubicBezTo>
                <a:cubicBezTo>
                  <a:pt x="896884" y="2771582"/>
                  <a:pt x="887591" y="2778552"/>
                  <a:pt x="879640" y="2773440"/>
                </a:cubicBezTo>
                <a:cubicBezTo>
                  <a:pt x="879124" y="2772511"/>
                  <a:pt x="878917" y="2771272"/>
                  <a:pt x="879021" y="2770187"/>
                </a:cubicBezTo>
                <a:cubicBezTo>
                  <a:pt x="879227" y="2766625"/>
                  <a:pt x="881705" y="2762908"/>
                  <a:pt x="884493" y="2760739"/>
                </a:cubicBezTo>
                <a:lnTo>
                  <a:pt x="886145" y="2759965"/>
                </a:lnTo>
                <a:close/>
                <a:moveTo>
                  <a:pt x="984445" y="2755163"/>
                </a:moveTo>
                <a:cubicBezTo>
                  <a:pt x="984858" y="2755782"/>
                  <a:pt x="985684" y="2755318"/>
                  <a:pt x="986097" y="2756092"/>
                </a:cubicBezTo>
                <a:cubicBezTo>
                  <a:pt x="987853" y="2756867"/>
                  <a:pt x="987853" y="2756867"/>
                  <a:pt x="987543" y="2758106"/>
                </a:cubicBezTo>
                <a:cubicBezTo>
                  <a:pt x="987233" y="2759345"/>
                  <a:pt x="984445" y="2760119"/>
                  <a:pt x="984135" y="2761358"/>
                </a:cubicBezTo>
                <a:cubicBezTo>
                  <a:pt x="984135" y="2761358"/>
                  <a:pt x="984032" y="2761358"/>
                  <a:pt x="982380" y="2760429"/>
                </a:cubicBezTo>
                <a:cubicBezTo>
                  <a:pt x="981967" y="2759810"/>
                  <a:pt x="981451" y="2759035"/>
                  <a:pt x="981761" y="2757951"/>
                </a:cubicBezTo>
                <a:cubicBezTo>
                  <a:pt x="982070" y="2756711"/>
                  <a:pt x="983722" y="2755627"/>
                  <a:pt x="984445" y="2755163"/>
                </a:cubicBezTo>
                <a:close/>
                <a:moveTo>
                  <a:pt x="490261" y="2754233"/>
                </a:moveTo>
                <a:cubicBezTo>
                  <a:pt x="499141" y="2752839"/>
                  <a:pt x="502652" y="2762908"/>
                  <a:pt x="498108" y="2766470"/>
                </a:cubicBezTo>
                <a:cubicBezTo>
                  <a:pt x="496662" y="2767709"/>
                  <a:pt x="494391" y="2768019"/>
                  <a:pt x="490984" y="2767090"/>
                </a:cubicBezTo>
                <a:cubicBezTo>
                  <a:pt x="491190" y="2762753"/>
                  <a:pt x="489228" y="2760119"/>
                  <a:pt x="489331" y="2757176"/>
                </a:cubicBezTo>
                <a:cubicBezTo>
                  <a:pt x="489331" y="2756247"/>
                  <a:pt x="489641" y="2755318"/>
                  <a:pt x="490261" y="2754233"/>
                </a:cubicBezTo>
                <a:close/>
                <a:moveTo>
                  <a:pt x="1126629" y="2754078"/>
                </a:moveTo>
                <a:cubicBezTo>
                  <a:pt x="1127868" y="2753614"/>
                  <a:pt x="1127868" y="2753614"/>
                  <a:pt x="1129313" y="2754388"/>
                </a:cubicBezTo>
                <a:cubicBezTo>
                  <a:pt x="1127248" y="2756402"/>
                  <a:pt x="1127248" y="2756402"/>
                  <a:pt x="1124873" y="2757176"/>
                </a:cubicBezTo>
                <a:cubicBezTo>
                  <a:pt x="1125390" y="2756402"/>
                  <a:pt x="1125493" y="2754543"/>
                  <a:pt x="1126629" y="2754078"/>
                </a:cubicBezTo>
                <a:close/>
                <a:moveTo>
                  <a:pt x="469713" y="2753304"/>
                </a:moveTo>
                <a:cubicBezTo>
                  <a:pt x="467441" y="2760274"/>
                  <a:pt x="467648" y="2763682"/>
                  <a:pt x="465273" y="2769103"/>
                </a:cubicBezTo>
                <a:cubicBezTo>
                  <a:pt x="464344" y="2769258"/>
                  <a:pt x="464344" y="2768329"/>
                  <a:pt x="463414" y="2768484"/>
                </a:cubicBezTo>
                <a:cubicBezTo>
                  <a:pt x="463001" y="2768174"/>
                  <a:pt x="462794" y="2767244"/>
                  <a:pt x="462691" y="2766315"/>
                </a:cubicBezTo>
                <a:cubicBezTo>
                  <a:pt x="462588" y="2763217"/>
                  <a:pt x="463930" y="2758261"/>
                  <a:pt x="464653" y="2758106"/>
                </a:cubicBezTo>
                <a:cubicBezTo>
                  <a:pt x="464550" y="2757331"/>
                  <a:pt x="465479" y="2757176"/>
                  <a:pt x="465376" y="2756402"/>
                </a:cubicBezTo>
                <a:cubicBezTo>
                  <a:pt x="465376" y="2756402"/>
                  <a:pt x="465376" y="2755472"/>
                  <a:pt x="466202" y="2754543"/>
                </a:cubicBezTo>
                <a:cubicBezTo>
                  <a:pt x="467028" y="2753614"/>
                  <a:pt x="467854" y="2752684"/>
                  <a:pt x="469713" y="2753304"/>
                </a:cubicBezTo>
                <a:close/>
                <a:moveTo>
                  <a:pt x="1158122" y="2752994"/>
                </a:moveTo>
                <a:cubicBezTo>
                  <a:pt x="1159774" y="2755782"/>
                  <a:pt x="1162872" y="2753614"/>
                  <a:pt x="1162975" y="2757486"/>
                </a:cubicBezTo>
                <a:cubicBezTo>
                  <a:pt x="1162252" y="2758880"/>
                  <a:pt x="1160703" y="2759965"/>
                  <a:pt x="1157503" y="2760274"/>
                </a:cubicBezTo>
                <a:cubicBezTo>
                  <a:pt x="1155954" y="2758415"/>
                  <a:pt x="1155644" y="2757021"/>
                  <a:pt x="1155954" y="2755937"/>
                </a:cubicBezTo>
                <a:cubicBezTo>
                  <a:pt x="1156264" y="2754853"/>
                  <a:pt x="1157193" y="2753924"/>
                  <a:pt x="1158122" y="2752994"/>
                </a:cubicBezTo>
                <a:close/>
                <a:moveTo>
                  <a:pt x="642460" y="2750825"/>
                </a:moveTo>
                <a:cubicBezTo>
                  <a:pt x="651134" y="2746798"/>
                  <a:pt x="664558" y="2753768"/>
                  <a:pt x="659498" y="2761204"/>
                </a:cubicBezTo>
                <a:cubicBezTo>
                  <a:pt x="658775" y="2762288"/>
                  <a:pt x="657742" y="2763372"/>
                  <a:pt x="656193" y="2764301"/>
                </a:cubicBezTo>
                <a:cubicBezTo>
                  <a:pt x="651340" y="2762598"/>
                  <a:pt x="642667" y="2761049"/>
                  <a:pt x="642151" y="2754078"/>
                </a:cubicBezTo>
                <a:cubicBezTo>
                  <a:pt x="642151" y="2753149"/>
                  <a:pt x="642151" y="2752065"/>
                  <a:pt x="642460" y="2750825"/>
                </a:cubicBezTo>
                <a:close/>
                <a:moveTo>
                  <a:pt x="707512" y="2749431"/>
                </a:moveTo>
                <a:cubicBezTo>
                  <a:pt x="708441" y="2751135"/>
                  <a:pt x="708751" y="2752375"/>
                  <a:pt x="709061" y="2753459"/>
                </a:cubicBezTo>
                <a:cubicBezTo>
                  <a:pt x="710093" y="2755163"/>
                  <a:pt x="709680" y="2755782"/>
                  <a:pt x="707305" y="2756247"/>
                </a:cubicBezTo>
                <a:cubicBezTo>
                  <a:pt x="706789" y="2755472"/>
                  <a:pt x="706376" y="2754078"/>
                  <a:pt x="706376" y="2752684"/>
                </a:cubicBezTo>
                <a:cubicBezTo>
                  <a:pt x="706376" y="2751290"/>
                  <a:pt x="706686" y="2749896"/>
                  <a:pt x="707512" y="2749431"/>
                </a:cubicBezTo>
                <a:close/>
                <a:moveTo>
                  <a:pt x="722871" y="2749218"/>
                </a:moveTo>
                <a:cubicBezTo>
                  <a:pt x="724962" y="2747882"/>
                  <a:pt x="727544" y="2747573"/>
                  <a:pt x="729609" y="2749586"/>
                </a:cubicBezTo>
                <a:cubicBezTo>
                  <a:pt x="730331" y="2752065"/>
                  <a:pt x="731054" y="2754543"/>
                  <a:pt x="728369" y="2757951"/>
                </a:cubicBezTo>
                <a:cubicBezTo>
                  <a:pt x="724859" y="2758880"/>
                  <a:pt x="722381" y="2758261"/>
                  <a:pt x="719076" y="2755008"/>
                </a:cubicBezTo>
                <a:cubicBezTo>
                  <a:pt x="719180" y="2752917"/>
                  <a:pt x="720780" y="2750554"/>
                  <a:pt x="722871" y="2749218"/>
                </a:cubicBezTo>
                <a:close/>
                <a:moveTo>
                  <a:pt x="1381981" y="2748192"/>
                </a:moveTo>
                <a:cubicBezTo>
                  <a:pt x="1387351" y="2751445"/>
                  <a:pt x="1378574" y="2755472"/>
                  <a:pt x="1377851" y="2751135"/>
                </a:cubicBezTo>
                <a:cubicBezTo>
                  <a:pt x="1378884" y="2750361"/>
                  <a:pt x="1380123" y="2748812"/>
                  <a:pt x="1381981" y="2748192"/>
                </a:cubicBezTo>
                <a:close/>
                <a:moveTo>
                  <a:pt x="658672" y="2746643"/>
                </a:moveTo>
                <a:cubicBezTo>
                  <a:pt x="667139" y="2745559"/>
                  <a:pt x="681904" y="2761668"/>
                  <a:pt x="676328" y="2768793"/>
                </a:cubicBezTo>
                <a:lnTo>
                  <a:pt x="673437" y="2765696"/>
                </a:lnTo>
                <a:lnTo>
                  <a:pt x="673541" y="2766160"/>
                </a:lnTo>
                <a:cubicBezTo>
                  <a:pt x="669204" y="2769878"/>
                  <a:pt x="666003" y="2768484"/>
                  <a:pt x="663628" y="2763837"/>
                </a:cubicBezTo>
                <a:cubicBezTo>
                  <a:pt x="664867" y="2762288"/>
                  <a:pt x="665177" y="2760739"/>
                  <a:pt x="666622" y="2758261"/>
                </a:cubicBezTo>
                <a:lnTo>
                  <a:pt x="667035" y="2758570"/>
                </a:lnTo>
                <a:lnTo>
                  <a:pt x="662492" y="2753459"/>
                </a:lnTo>
                <a:cubicBezTo>
                  <a:pt x="661047" y="2751445"/>
                  <a:pt x="659807" y="2749277"/>
                  <a:pt x="658672" y="2746643"/>
                </a:cubicBezTo>
                <a:close/>
                <a:moveTo>
                  <a:pt x="706479" y="2745869"/>
                </a:moveTo>
                <a:cubicBezTo>
                  <a:pt x="706996" y="2745869"/>
                  <a:pt x="707409" y="2746024"/>
                  <a:pt x="707615" y="2746334"/>
                </a:cubicBezTo>
                <a:cubicBezTo>
                  <a:pt x="707822" y="2746488"/>
                  <a:pt x="707925" y="2746798"/>
                  <a:pt x="707925" y="2746798"/>
                </a:cubicBezTo>
                <a:cubicBezTo>
                  <a:pt x="708235" y="2748037"/>
                  <a:pt x="708544" y="2749122"/>
                  <a:pt x="707305" y="2749431"/>
                </a:cubicBezTo>
                <a:cubicBezTo>
                  <a:pt x="707305" y="2749431"/>
                  <a:pt x="706583" y="2748812"/>
                  <a:pt x="705963" y="2746488"/>
                </a:cubicBezTo>
                <a:cubicBezTo>
                  <a:pt x="706686" y="2746953"/>
                  <a:pt x="707099" y="2746334"/>
                  <a:pt x="707099" y="2746334"/>
                </a:cubicBezTo>
                <a:cubicBezTo>
                  <a:pt x="707099" y="2746334"/>
                  <a:pt x="707202" y="2746334"/>
                  <a:pt x="706479" y="2745869"/>
                </a:cubicBezTo>
                <a:close/>
                <a:moveTo>
                  <a:pt x="1013150" y="2744940"/>
                </a:moveTo>
                <a:cubicBezTo>
                  <a:pt x="1015112" y="2744630"/>
                  <a:pt x="1015525" y="2745249"/>
                  <a:pt x="1015422" y="2748347"/>
                </a:cubicBezTo>
                <a:cubicBezTo>
                  <a:pt x="1015112" y="2749431"/>
                  <a:pt x="1015009" y="2750516"/>
                  <a:pt x="1014905" y="2751290"/>
                </a:cubicBezTo>
                <a:lnTo>
                  <a:pt x="1014493" y="2752375"/>
                </a:lnTo>
                <a:lnTo>
                  <a:pt x="1014699" y="2752375"/>
                </a:lnTo>
                <a:lnTo>
                  <a:pt x="1014596" y="2754698"/>
                </a:lnTo>
                <a:lnTo>
                  <a:pt x="1014802" y="2755472"/>
                </a:lnTo>
                <a:lnTo>
                  <a:pt x="1014596" y="2755782"/>
                </a:lnTo>
                <a:lnTo>
                  <a:pt x="1014596" y="2756557"/>
                </a:lnTo>
                <a:cubicBezTo>
                  <a:pt x="1013770" y="2755627"/>
                  <a:pt x="1011911" y="2756247"/>
                  <a:pt x="1010982" y="2755318"/>
                </a:cubicBezTo>
                <a:cubicBezTo>
                  <a:pt x="1010982" y="2755318"/>
                  <a:pt x="1010156" y="2752684"/>
                  <a:pt x="1010156" y="2752684"/>
                </a:cubicBezTo>
                <a:cubicBezTo>
                  <a:pt x="1010672" y="2752375"/>
                  <a:pt x="1010879" y="2752220"/>
                  <a:pt x="1010982" y="2752220"/>
                </a:cubicBezTo>
                <a:cubicBezTo>
                  <a:pt x="1011189" y="2752220"/>
                  <a:pt x="1011085" y="2752375"/>
                  <a:pt x="1011085" y="2752839"/>
                </a:cubicBezTo>
                <a:lnTo>
                  <a:pt x="1012428" y="2752684"/>
                </a:lnTo>
                <a:lnTo>
                  <a:pt x="1011704" y="2751445"/>
                </a:lnTo>
                <a:cubicBezTo>
                  <a:pt x="1010775" y="2749896"/>
                  <a:pt x="1010156" y="2748347"/>
                  <a:pt x="1010156" y="2746798"/>
                </a:cubicBezTo>
                <a:cubicBezTo>
                  <a:pt x="1010362" y="2746178"/>
                  <a:pt x="1010465" y="2745714"/>
                  <a:pt x="1010879" y="2745249"/>
                </a:cubicBezTo>
                <a:cubicBezTo>
                  <a:pt x="1011292" y="2744940"/>
                  <a:pt x="1011911" y="2744630"/>
                  <a:pt x="1013150" y="2744940"/>
                </a:cubicBezTo>
                <a:close/>
                <a:moveTo>
                  <a:pt x="726821" y="2743081"/>
                </a:moveTo>
                <a:cubicBezTo>
                  <a:pt x="729919" y="2743391"/>
                  <a:pt x="732810" y="2744785"/>
                  <a:pt x="731880" y="2748192"/>
                </a:cubicBezTo>
                <a:cubicBezTo>
                  <a:pt x="731674" y="2749277"/>
                  <a:pt x="731364" y="2750361"/>
                  <a:pt x="730848" y="2749586"/>
                </a:cubicBezTo>
                <a:cubicBezTo>
                  <a:pt x="730125" y="2750051"/>
                  <a:pt x="729712" y="2749277"/>
                  <a:pt x="728473" y="2748967"/>
                </a:cubicBezTo>
                <a:cubicBezTo>
                  <a:pt x="726821" y="2747882"/>
                  <a:pt x="725479" y="2745714"/>
                  <a:pt x="725788" y="2744475"/>
                </a:cubicBezTo>
                <a:cubicBezTo>
                  <a:pt x="726098" y="2743391"/>
                  <a:pt x="726821" y="2743081"/>
                  <a:pt x="726821" y="2743081"/>
                </a:cubicBezTo>
                <a:close/>
                <a:moveTo>
                  <a:pt x="991260" y="2742771"/>
                </a:moveTo>
                <a:cubicBezTo>
                  <a:pt x="993222" y="2741997"/>
                  <a:pt x="996216" y="2742151"/>
                  <a:pt x="1000656" y="2744165"/>
                </a:cubicBezTo>
                <a:cubicBezTo>
                  <a:pt x="993841" y="2750516"/>
                  <a:pt x="995803" y="2763217"/>
                  <a:pt x="987853" y="2765541"/>
                </a:cubicBezTo>
                <a:cubicBezTo>
                  <a:pt x="988369" y="2761978"/>
                  <a:pt x="987749" y="2756867"/>
                  <a:pt x="987749" y="2752375"/>
                </a:cubicBezTo>
                <a:cubicBezTo>
                  <a:pt x="987749" y="2748037"/>
                  <a:pt x="988369" y="2744165"/>
                  <a:pt x="991260" y="2742771"/>
                </a:cubicBezTo>
                <a:close/>
                <a:moveTo>
                  <a:pt x="695018" y="2741997"/>
                </a:moveTo>
                <a:cubicBezTo>
                  <a:pt x="695844" y="2743700"/>
                  <a:pt x="697599" y="2746488"/>
                  <a:pt x="694915" y="2749741"/>
                </a:cubicBezTo>
                <a:cubicBezTo>
                  <a:pt x="693985" y="2750516"/>
                  <a:pt x="693985" y="2750516"/>
                  <a:pt x="693056" y="2750361"/>
                </a:cubicBezTo>
                <a:cubicBezTo>
                  <a:pt x="691300" y="2750980"/>
                  <a:pt x="690475" y="2751910"/>
                  <a:pt x="688720" y="2750825"/>
                </a:cubicBezTo>
                <a:cubicBezTo>
                  <a:pt x="687377" y="2749741"/>
                  <a:pt x="686964" y="2748967"/>
                  <a:pt x="687067" y="2748037"/>
                </a:cubicBezTo>
                <a:cubicBezTo>
                  <a:pt x="687170" y="2746953"/>
                  <a:pt x="687893" y="2746024"/>
                  <a:pt x="688823" y="2744785"/>
                </a:cubicBezTo>
                <a:cubicBezTo>
                  <a:pt x="689752" y="2743545"/>
                  <a:pt x="690784" y="2743236"/>
                  <a:pt x="691920" y="2743081"/>
                </a:cubicBezTo>
                <a:cubicBezTo>
                  <a:pt x="693056" y="2742926"/>
                  <a:pt x="694089" y="2742771"/>
                  <a:pt x="695018" y="2741997"/>
                </a:cubicBezTo>
                <a:close/>
                <a:moveTo>
                  <a:pt x="1356580" y="2739054"/>
                </a:moveTo>
                <a:cubicBezTo>
                  <a:pt x="1359678" y="2737195"/>
                  <a:pt x="1362260" y="2740757"/>
                  <a:pt x="1361227" y="2742771"/>
                </a:cubicBezTo>
                <a:cubicBezTo>
                  <a:pt x="1360917" y="2743545"/>
                  <a:pt x="1360194" y="2743855"/>
                  <a:pt x="1358956" y="2744010"/>
                </a:cubicBezTo>
                <a:cubicBezTo>
                  <a:pt x="1357716" y="2742461"/>
                  <a:pt x="1357303" y="2741222"/>
                  <a:pt x="1356580" y="2739054"/>
                </a:cubicBezTo>
                <a:close/>
                <a:moveTo>
                  <a:pt x="1139020" y="2738124"/>
                </a:moveTo>
                <a:cubicBezTo>
                  <a:pt x="1138813" y="2739054"/>
                  <a:pt x="1139433" y="2740757"/>
                  <a:pt x="1138400" y="2741532"/>
                </a:cubicBezTo>
                <a:cubicBezTo>
                  <a:pt x="1137367" y="2742306"/>
                  <a:pt x="1137367" y="2742306"/>
                  <a:pt x="1135715" y="2742151"/>
                </a:cubicBezTo>
                <a:cubicBezTo>
                  <a:pt x="1136955" y="2739673"/>
                  <a:pt x="1136955" y="2739673"/>
                  <a:pt x="1139020" y="2738124"/>
                </a:cubicBezTo>
                <a:close/>
                <a:moveTo>
                  <a:pt x="1393753" y="2737504"/>
                </a:moveTo>
                <a:cubicBezTo>
                  <a:pt x="1394889" y="2737969"/>
                  <a:pt x="1394785" y="2737969"/>
                  <a:pt x="1394372" y="2739054"/>
                </a:cubicBezTo>
                <a:cubicBezTo>
                  <a:pt x="1393649" y="2739363"/>
                  <a:pt x="1392927" y="2739673"/>
                  <a:pt x="1392514" y="2738898"/>
                </a:cubicBezTo>
                <a:cubicBezTo>
                  <a:pt x="1391791" y="2739208"/>
                  <a:pt x="1391688" y="2739208"/>
                  <a:pt x="1391378" y="2738589"/>
                </a:cubicBezTo>
                <a:cubicBezTo>
                  <a:pt x="1392204" y="2738279"/>
                  <a:pt x="1393030" y="2737814"/>
                  <a:pt x="1393753" y="2737504"/>
                </a:cubicBezTo>
                <a:close/>
                <a:moveTo>
                  <a:pt x="983722" y="2737350"/>
                </a:moveTo>
                <a:cubicBezTo>
                  <a:pt x="986200" y="2737350"/>
                  <a:pt x="989505" y="2737504"/>
                  <a:pt x="991054" y="2738279"/>
                </a:cubicBezTo>
                <a:cubicBezTo>
                  <a:pt x="989298" y="2739054"/>
                  <a:pt x="985891" y="2739828"/>
                  <a:pt x="984342" y="2738124"/>
                </a:cubicBezTo>
                <a:cubicBezTo>
                  <a:pt x="984342" y="2738124"/>
                  <a:pt x="984445" y="2738124"/>
                  <a:pt x="983722" y="2737350"/>
                </a:cubicBezTo>
                <a:close/>
                <a:moveTo>
                  <a:pt x="952229" y="2736575"/>
                </a:moveTo>
                <a:cubicBezTo>
                  <a:pt x="954501" y="2736730"/>
                  <a:pt x="956876" y="2737504"/>
                  <a:pt x="959044" y="2739054"/>
                </a:cubicBezTo>
                <a:cubicBezTo>
                  <a:pt x="962658" y="2738589"/>
                  <a:pt x="967408" y="2740293"/>
                  <a:pt x="970093" y="2742926"/>
                </a:cubicBezTo>
                <a:cubicBezTo>
                  <a:pt x="972261" y="2746953"/>
                  <a:pt x="971332" y="2750051"/>
                  <a:pt x="969266" y="2751135"/>
                </a:cubicBezTo>
                <a:cubicBezTo>
                  <a:pt x="961625" y="2756092"/>
                  <a:pt x="954707" y="2755782"/>
                  <a:pt x="949234" y="2754388"/>
                </a:cubicBezTo>
                <a:lnTo>
                  <a:pt x="947789" y="2753924"/>
                </a:lnTo>
                <a:lnTo>
                  <a:pt x="947273" y="2754233"/>
                </a:lnTo>
                <a:cubicBezTo>
                  <a:pt x="945414" y="2755318"/>
                  <a:pt x="943246" y="2756402"/>
                  <a:pt x="939426" y="2755782"/>
                </a:cubicBezTo>
                <a:lnTo>
                  <a:pt x="943865" y="2752529"/>
                </a:lnTo>
                <a:lnTo>
                  <a:pt x="942317" y="2751910"/>
                </a:lnTo>
                <a:cubicBezTo>
                  <a:pt x="940458" y="2751135"/>
                  <a:pt x="939012" y="2750516"/>
                  <a:pt x="938083" y="2750671"/>
                </a:cubicBezTo>
                <a:cubicBezTo>
                  <a:pt x="937257" y="2749122"/>
                  <a:pt x="936637" y="2747882"/>
                  <a:pt x="936328" y="2746798"/>
                </a:cubicBezTo>
                <a:cubicBezTo>
                  <a:pt x="936121" y="2746178"/>
                  <a:pt x="936018" y="2745559"/>
                  <a:pt x="936224" y="2744940"/>
                </a:cubicBezTo>
                <a:cubicBezTo>
                  <a:pt x="936844" y="2743081"/>
                  <a:pt x="939426" y="2741532"/>
                  <a:pt x="945518" y="2737814"/>
                </a:cubicBezTo>
                <a:cubicBezTo>
                  <a:pt x="947479" y="2736885"/>
                  <a:pt x="949854" y="2736420"/>
                  <a:pt x="952229" y="2736575"/>
                </a:cubicBezTo>
                <a:close/>
                <a:moveTo>
                  <a:pt x="1316827" y="2735955"/>
                </a:moveTo>
                <a:cubicBezTo>
                  <a:pt x="1319098" y="2737195"/>
                  <a:pt x="1321164" y="2739983"/>
                  <a:pt x="1319718" y="2743236"/>
                </a:cubicBezTo>
                <a:lnTo>
                  <a:pt x="1318789" y="2744475"/>
                </a:lnTo>
                <a:lnTo>
                  <a:pt x="1318892" y="2744630"/>
                </a:lnTo>
                <a:cubicBezTo>
                  <a:pt x="1319615" y="2745249"/>
                  <a:pt x="1320234" y="2746024"/>
                  <a:pt x="1320751" y="2747263"/>
                </a:cubicBezTo>
                <a:cubicBezTo>
                  <a:pt x="1320234" y="2749277"/>
                  <a:pt x="1318892" y="2750361"/>
                  <a:pt x="1317343" y="2751135"/>
                </a:cubicBezTo>
                <a:lnTo>
                  <a:pt x="1314452" y="2752994"/>
                </a:lnTo>
                <a:lnTo>
                  <a:pt x="1313729" y="2758725"/>
                </a:lnTo>
                <a:lnTo>
                  <a:pt x="1314865" y="2758880"/>
                </a:lnTo>
                <a:lnTo>
                  <a:pt x="1316104" y="2759345"/>
                </a:lnTo>
                <a:lnTo>
                  <a:pt x="1316207" y="2758570"/>
                </a:lnTo>
                <a:cubicBezTo>
                  <a:pt x="1318995" y="2758880"/>
                  <a:pt x="1321576" y="2758261"/>
                  <a:pt x="1323848" y="2757951"/>
                </a:cubicBezTo>
                <a:lnTo>
                  <a:pt x="1327978" y="2758415"/>
                </a:lnTo>
                <a:lnTo>
                  <a:pt x="1325707" y="2753924"/>
                </a:lnTo>
                <a:cubicBezTo>
                  <a:pt x="1324055" y="2749431"/>
                  <a:pt x="1325087" y="2747108"/>
                  <a:pt x="1327256" y="2746334"/>
                </a:cubicBezTo>
                <a:cubicBezTo>
                  <a:pt x="1332212" y="2744320"/>
                  <a:pt x="1342847" y="2749586"/>
                  <a:pt x="1342125" y="2753924"/>
                </a:cubicBezTo>
                <a:cubicBezTo>
                  <a:pt x="1341711" y="2755782"/>
                  <a:pt x="1339646" y="2757486"/>
                  <a:pt x="1334484" y="2758415"/>
                </a:cubicBezTo>
                <a:lnTo>
                  <a:pt x="1329424" y="2759035"/>
                </a:lnTo>
                <a:lnTo>
                  <a:pt x="1330457" y="2761978"/>
                </a:lnTo>
                <a:cubicBezTo>
                  <a:pt x="1329011" y="2762598"/>
                  <a:pt x="1325500" y="2763527"/>
                  <a:pt x="1322299" y="2763682"/>
                </a:cubicBezTo>
                <a:lnTo>
                  <a:pt x="1322093" y="2763682"/>
                </a:lnTo>
                <a:lnTo>
                  <a:pt x="1322712" y="2764301"/>
                </a:lnTo>
                <a:cubicBezTo>
                  <a:pt x="1323848" y="2766470"/>
                  <a:pt x="1325603" y="2772201"/>
                  <a:pt x="1324055" y="2771582"/>
                </a:cubicBezTo>
                <a:lnTo>
                  <a:pt x="1323435" y="2772356"/>
                </a:lnTo>
                <a:lnTo>
                  <a:pt x="1323229" y="2774370"/>
                </a:lnTo>
                <a:lnTo>
                  <a:pt x="1323022" y="2774525"/>
                </a:lnTo>
                <a:lnTo>
                  <a:pt x="1323022" y="2774679"/>
                </a:lnTo>
                <a:lnTo>
                  <a:pt x="1322196" y="2774989"/>
                </a:lnTo>
                <a:lnTo>
                  <a:pt x="1318375" y="2776848"/>
                </a:lnTo>
                <a:lnTo>
                  <a:pt x="1317446" y="2776074"/>
                </a:lnTo>
                <a:lnTo>
                  <a:pt x="1314555" y="2776848"/>
                </a:lnTo>
                <a:lnTo>
                  <a:pt x="1309805" y="2774060"/>
                </a:lnTo>
                <a:lnTo>
                  <a:pt x="1307121" y="2779946"/>
                </a:lnTo>
                <a:lnTo>
                  <a:pt x="1300409" y="2788465"/>
                </a:lnTo>
                <a:lnTo>
                  <a:pt x="1307327" y="2800547"/>
                </a:lnTo>
                <a:cubicBezTo>
                  <a:pt x="1302061" y="2800237"/>
                  <a:pt x="1295763" y="2797604"/>
                  <a:pt x="1290496" y="2793422"/>
                </a:cubicBezTo>
                <a:lnTo>
                  <a:pt x="1283888" y="2786452"/>
                </a:lnTo>
                <a:lnTo>
                  <a:pt x="1283062" y="2786761"/>
                </a:lnTo>
                <a:cubicBezTo>
                  <a:pt x="1280997" y="2787536"/>
                  <a:pt x="1278829" y="2787536"/>
                  <a:pt x="1278312" y="2785522"/>
                </a:cubicBezTo>
                <a:cubicBezTo>
                  <a:pt x="1278312" y="2784593"/>
                  <a:pt x="1278725" y="2783819"/>
                  <a:pt x="1279448" y="2783354"/>
                </a:cubicBezTo>
                <a:lnTo>
                  <a:pt x="1282236" y="2782889"/>
                </a:lnTo>
                <a:lnTo>
                  <a:pt x="1279964" y="2777468"/>
                </a:lnTo>
                <a:lnTo>
                  <a:pt x="1280067" y="2777003"/>
                </a:lnTo>
                <a:lnTo>
                  <a:pt x="1277899" y="2772976"/>
                </a:lnTo>
                <a:lnTo>
                  <a:pt x="1277899" y="2772356"/>
                </a:lnTo>
                <a:lnTo>
                  <a:pt x="1272736" y="2774370"/>
                </a:lnTo>
                <a:cubicBezTo>
                  <a:pt x="1270774" y="2774834"/>
                  <a:pt x="1268916" y="2774834"/>
                  <a:pt x="1267470" y="2774525"/>
                </a:cubicBezTo>
                <a:cubicBezTo>
                  <a:pt x="1270362" y="2766005"/>
                  <a:pt x="1281720" y="2762288"/>
                  <a:pt x="1287812" y="2761978"/>
                </a:cubicBezTo>
                <a:lnTo>
                  <a:pt x="1285437" y="2765850"/>
                </a:lnTo>
                <a:lnTo>
                  <a:pt x="1286160" y="2767400"/>
                </a:lnTo>
                <a:lnTo>
                  <a:pt x="1288328" y="2760584"/>
                </a:lnTo>
                <a:cubicBezTo>
                  <a:pt x="1289774" y="2757641"/>
                  <a:pt x="1291426" y="2754853"/>
                  <a:pt x="1293388" y="2752529"/>
                </a:cubicBezTo>
                <a:lnTo>
                  <a:pt x="1295453" y="2750671"/>
                </a:lnTo>
                <a:lnTo>
                  <a:pt x="1295866" y="2748037"/>
                </a:lnTo>
                <a:lnTo>
                  <a:pt x="1296898" y="2749277"/>
                </a:lnTo>
                <a:lnTo>
                  <a:pt x="1299996" y="2746488"/>
                </a:lnTo>
                <a:cubicBezTo>
                  <a:pt x="1302371" y="2745094"/>
                  <a:pt x="1304952" y="2744010"/>
                  <a:pt x="1307534" y="2743855"/>
                </a:cubicBezTo>
                <a:lnTo>
                  <a:pt x="1309186" y="2744165"/>
                </a:lnTo>
                <a:lnTo>
                  <a:pt x="1309083" y="2743700"/>
                </a:lnTo>
                <a:cubicBezTo>
                  <a:pt x="1309083" y="2743700"/>
                  <a:pt x="1309496" y="2742616"/>
                  <a:pt x="1309496" y="2742616"/>
                </a:cubicBezTo>
                <a:cubicBezTo>
                  <a:pt x="1310631" y="2738744"/>
                  <a:pt x="1314865" y="2735800"/>
                  <a:pt x="1316827" y="2735955"/>
                </a:cubicBezTo>
                <a:close/>
                <a:moveTo>
                  <a:pt x="1139433" y="2735646"/>
                </a:moveTo>
                <a:cubicBezTo>
                  <a:pt x="1140156" y="2735800"/>
                  <a:pt x="1140052" y="2736730"/>
                  <a:pt x="1139123" y="2737504"/>
                </a:cubicBezTo>
                <a:cubicBezTo>
                  <a:pt x="1139123" y="2737504"/>
                  <a:pt x="1138400" y="2737504"/>
                  <a:pt x="1138400" y="2737504"/>
                </a:cubicBezTo>
                <a:cubicBezTo>
                  <a:pt x="1138503" y="2736575"/>
                  <a:pt x="1138606" y="2735646"/>
                  <a:pt x="1139433" y="2735646"/>
                </a:cubicBezTo>
                <a:close/>
                <a:moveTo>
                  <a:pt x="860021" y="2734872"/>
                </a:moveTo>
                <a:cubicBezTo>
                  <a:pt x="860951" y="2733168"/>
                  <a:pt x="863325" y="2735491"/>
                  <a:pt x="864255" y="2735491"/>
                </a:cubicBezTo>
                <a:cubicBezTo>
                  <a:pt x="865081" y="2736265"/>
                  <a:pt x="865907" y="2737040"/>
                  <a:pt x="864978" y="2737969"/>
                </a:cubicBezTo>
                <a:cubicBezTo>
                  <a:pt x="864152" y="2738898"/>
                  <a:pt x="864048" y="2739673"/>
                  <a:pt x="862396" y="2738898"/>
                </a:cubicBezTo>
                <a:cubicBezTo>
                  <a:pt x="861467" y="2738898"/>
                  <a:pt x="860641" y="2738124"/>
                  <a:pt x="859815" y="2738124"/>
                </a:cubicBezTo>
                <a:cubicBezTo>
                  <a:pt x="859815" y="2738124"/>
                  <a:pt x="859608" y="2737504"/>
                  <a:pt x="859505" y="2736730"/>
                </a:cubicBezTo>
                <a:cubicBezTo>
                  <a:pt x="859505" y="2736110"/>
                  <a:pt x="859505" y="2735181"/>
                  <a:pt x="860021" y="2734872"/>
                </a:cubicBezTo>
                <a:close/>
                <a:moveTo>
                  <a:pt x="639672" y="2734252"/>
                </a:moveTo>
                <a:cubicBezTo>
                  <a:pt x="636781" y="2741222"/>
                  <a:pt x="636575" y="2744630"/>
                  <a:pt x="633684" y="2749741"/>
                </a:cubicBezTo>
                <a:cubicBezTo>
                  <a:pt x="632858" y="2749741"/>
                  <a:pt x="632858" y="2748967"/>
                  <a:pt x="631928" y="2748967"/>
                </a:cubicBezTo>
                <a:cubicBezTo>
                  <a:pt x="631515" y="2748657"/>
                  <a:pt x="631412" y="2747728"/>
                  <a:pt x="631515" y="2746798"/>
                </a:cubicBezTo>
                <a:cubicBezTo>
                  <a:pt x="631722" y="2743700"/>
                  <a:pt x="633581" y="2738744"/>
                  <a:pt x="634200" y="2738744"/>
                </a:cubicBezTo>
                <a:cubicBezTo>
                  <a:pt x="634303" y="2737969"/>
                  <a:pt x="635129" y="2737969"/>
                  <a:pt x="635232" y="2737040"/>
                </a:cubicBezTo>
                <a:cubicBezTo>
                  <a:pt x="635232" y="2737040"/>
                  <a:pt x="635232" y="2736265"/>
                  <a:pt x="636162" y="2735336"/>
                </a:cubicBezTo>
                <a:cubicBezTo>
                  <a:pt x="637091" y="2734407"/>
                  <a:pt x="638020" y="2733477"/>
                  <a:pt x="639672" y="2734252"/>
                </a:cubicBezTo>
                <a:close/>
                <a:moveTo>
                  <a:pt x="1375192" y="2734136"/>
                </a:moveTo>
                <a:cubicBezTo>
                  <a:pt x="1377722" y="2734019"/>
                  <a:pt x="1380175" y="2735336"/>
                  <a:pt x="1381259" y="2737350"/>
                </a:cubicBezTo>
                <a:cubicBezTo>
                  <a:pt x="1382085" y="2738744"/>
                  <a:pt x="1382085" y="2740447"/>
                  <a:pt x="1381259" y="2742151"/>
                </a:cubicBezTo>
                <a:cubicBezTo>
                  <a:pt x="1375993" y="2743081"/>
                  <a:pt x="1370210" y="2745094"/>
                  <a:pt x="1368661" y="2739518"/>
                </a:cubicBezTo>
                <a:cubicBezTo>
                  <a:pt x="1370055" y="2735801"/>
                  <a:pt x="1372663" y="2734252"/>
                  <a:pt x="1375192" y="2734136"/>
                </a:cubicBezTo>
                <a:close/>
                <a:moveTo>
                  <a:pt x="1290290" y="2732858"/>
                </a:moveTo>
                <a:cubicBezTo>
                  <a:pt x="1292871" y="2732548"/>
                  <a:pt x="1296176" y="2735181"/>
                  <a:pt x="1299686" y="2743391"/>
                </a:cubicBezTo>
                <a:cubicBezTo>
                  <a:pt x="1290703" y="2752529"/>
                  <a:pt x="1286366" y="2750051"/>
                  <a:pt x="1285334" y="2745249"/>
                </a:cubicBezTo>
                <a:cubicBezTo>
                  <a:pt x="1285127" y="2744010"/>
                  <a:pt x="1285024" y="2742616"/>
                  <a:pt x="1285127" y="2741377"/>
                </a:cubicBezTo>
                <a:cubicBezTo>
                  <a:pt x="1285540" y="2737195"/>
                  <a:pt x="1287502" y="2733168"/>
                  <a:pt x="1290290" y="2732858"/>
                </a:cubicBezTo>
                <a:close/>
                <a:moveTo>
                  <a:pt x="652786" y="2732858"/>
                </a:moveTo>
                <a:cubicBezTo>
                  <a:pt x="657226" y="2730999"/>
                  <a:pt x="663834" y="2737350"/>
                  <a:pt x="662698" y="2741687"/>
                </a:cubicBezTo>
                <a:cubicBezTo>
                  <a:pt x="660943" y="2743391"/>
                  <a:pt x="659085" y="2745249"/>
                  <a:pt x="657329" y="2746953"/>
                </a:cubicBezTo>
                <a:cubicBezTo>
                  <a:pt x="652890" y="2748037"/>
                  <a:pt x="649275" y="2745714"/>
                  <a:pt x="648449" y="2742151"/>
                </a:cubicBezTo>
                <a:cubicBezTo>
                  <a:pt x="648139" y="2741067"/>
                  <a:pt x="648139" y="2739673"/>
                  <a:pt x="648656" y="2738279"/>
                </a:cubicBezTo>
                <a:cubicBezTo>
                  <a:pt x="649275" y="2736575"/>
                  <a:pt x="650618" y="2734716"/>
                  <a:pt x="652786" y="2732858"/>
                </a:cubicBezTo>
                <a:close/>
                <a:moveTo>
                  <a:pt x="962555" y="2732548"/>
                </a:moveTo>
                <a:cubicBezTo>
                  <a:pt x="963381" y="2733322"/>
                  <a:pt x="963381" y="2733322"/>
                  <a:pt x="964310" y="2733322"/>
                </a:cubicBezTo>
                <a:cubicBezTo>
                  <a:pt x="964310" y="2733322"/>
                  <a:pt x="963277" y="2734097"/>
                  <a:pt x="963277" y="2734097"/>
                </a:cubicBezTo>
                <a:cubicBezTo>
                  <a:pt x="962864" y="2733632"/>
                  <a:pt x="962658" y="2733632"/>
                  <a:pt x="962555" y="2733477"/>
                </a:cubicBezTo>
                <a:cubicBezTo>
                  <a:pt x="962452" y="2733477"/>
                  <a:pt x="962452" y="2733168"/>
                  <a:pt x="962555" y="2732548"/>
                </a:cubicBezTo>
                <a:close/>
                <a:moveTo>
                  <a:pt x="958115" y="2732393"/>
                </a:moveTo>
                <a:cubicBezTo>
                  <a:pt x="959044" y="2732393"/>
                  <a:pt x="959973" y="2732393"/>
                  <a:pt x="959973" y="2733168"/>
                </a:cubicBezTo>
                <a:cubicBezTo>
                  <a:pt x="959870" y="2733942"/>
                  <a:pt x="958941" y="2733942"/>
                  <a:pt x="958011" y="2733168"/>
                </a:cubicBezTo>
                <a:cubicBezTo>
                  <a:pt x="958011" y="2733168"/>
                  <a:pt x="958115" y="2732393"/>
                  <a:pt x="958115" y="2732393"/>
                </a:cubicBezTo>
                <a:close/>
                <a:moveTo>
                  <a:pt x="1140156" y="2731464"/>
                </a:moveTo>
                <a:cubicBezTo>
                  <a:pt x="1140156" y="2731464"/>
                  <a:pt x="1140775" y="2732393"/>
                  <a:pt x="1140775" y="2732393"/>
                </a:cubicBezTo>
                <a:cubicBezTo>
                  <a:pt x="1139846" y="2733322"/>
                  <a:pt x="1140568" y="2733322"/>
                  <a:pt x="1139020" y="2733322"/>
                </a:cubicBezTo>
                <a:cubicBezTo>
                  <a:pt x="1139949" y="2732393"/>
                  <a:pt x="1139949" y="2732393"/>
                  <a:pt x="1140156" y="2731464"/>
                </a:cubicBezTo>
                <a:close/>
                <a:moveTo>
                  <a:pt x="1249194" y="2730844"/>
                </a:moveTo>
                <a:cubicBezTo>
                  <a:pt x="1251982" y="2741377"/>
                  <a:pt x="1268090" y="2739208"/>
                  <a:pt x="1267470" y="2749431"/>
                </a:cubicBezTo>
                <a:cubicBezTo>
                  <a:pt x="1259210" y="2747418"/>
                  <a:pt x="1250639" y="2747263"/>
                  <a:pt x="1244031" y="2737814"/>
                </a:cubicBezTo>
                <a:cubicBezTo>
                  <a:pt x="1245477" y="2735491"/>
                  <a:pt x="1244754" y="2731153"/>
                  <a:pt x="1249194" y="2730844"/>
                </a:cubicBezTo>
                <a:close/>
                <a:moveTo>
                  <a:pt x="953365" y="2730379"/>
                </a:moveTo>
                <a:cubicBezTo>
                  <a:pt x="955843" y="2731309"/>
                  <a:pt x="955843" y="2731309"/>
                  <a:pt x="957392" y="2733012"/>
                </a:cubicBezTo>
                <a:cubicBezTo>
                  <a:pt x="956566" y="2733012"/>
                  <a:pt x="954604" y="2733787"/>
                  <a:pt x="953881" y="2732858"/>
                </a:cubicBezTo>
                <a:cubicBezTo>
                  <a:pt x="953468" y="2732548"/>
                  <a:pt x="953262" y="2732238"/>
                  <a:pt x="953262" y="2731928"/>
                </a:cubicBezTo>
                <a:cubicBezTo>
                  <a:pt x="953158" y="2731618"/>
                  <a:pt x="953262" y="2731309"/>
                  <a:pt x="953365" y="2730379"/>
                </a:cubicBezTo>
                <a:close/>
                <a:moveTo>
                  <a:pt x="1390862" y="2729760"/>
                </a:moveTo>
                <a:lnTo>
                  <a:pt x="1391481" y="2729914"/>
                </a:lnTo>
                <a:lnTo>
                  <a:pt x="1391068" y="2730224"/>
                </a:lnTo>
                <a:cubicBezTo>
                  <a:pt x="1390862" y="2729914"/>
                  <a:pt x="1390758" y="2729760"/>
                  <a:pt x="1390862" y="2729760"/>
                </a:cubicBezTo>
                <a:close/>
                <a:moveTo>
                  <a:pt x="1163801" y="2729605"/>
                </a:moveTo>
                <a:cubicBezTo>
                  <a:pt x="1170100" y="2729295"/>
                  <a:pt x="1177224" y="2740138"/>
                  <a:pt x="1176295" y="2743700"/>
                </a:cubicBezTo>
                <a:cubicBezTo>
                  <a:pt x="1172784" y="2743081"/>
                  <a:pt x="1171649" y="2739828"/>
                  <a:pt x="1167622" y="2738744"/>
                </a:cubicBezTo>
                <a:cubicBezTo>
                  <a:pt x="1167828" y="2735646"/>
                  <a:pt x="1163285" y="2733787"/>
                  <a:pt x="1163801" y="2729605"/>
                </a:cubicBezTo>
                <a:close/>
                <a:moveTo>
                  <a:pt x="736836" y="2729450"/>
                </a:moveTo>
                <a:cubicBezTo>
                  <a:pt x="737663" y="2729140"/>
                  <a:pt x="738592" y="2729140"/>
                  <a:pt x="739728" y="2729450"/>
                </a:cubicBezTo>
                <a:cubicBezTo>
                  <a:pt x="740967" y="2729760"/>
                  <a:pt x="743755" y="2731153"/>
                  <a:pt x="743032" y="2731618"/>
                </a:cubicBezTo>
                <a:cubicBezTo>
                  <a:pt x="742723" y="2732703"/>
                  <a:pt x="743548" y="2732393"/>
                  <a:pt x="743962" y="2733168"/>
                </a:cubicBezTo>
                <a:lnTo>
                  <a:pt x="743755" y="2733632"/>
                </a:lnTo>
                <a:lnTo>
                  <a:pt x="746026" y="2736575"/>
                </a:lnTo>
                <a:cubicBezTo>
                  <a:pt x="746853" y="2737969"/>
                  <a:pt x="747369" y="2739363"/>
                  <a:pt x="747265" y="2740602"/>
                </a:cubicBezTo>
                <a:lnTo>
                  <a:pt x="745407" y="2741067"/>
                </a:lnTo>
                <a:lnTo>
                  <a:pt x="745923" y="2741687"/>
                </a:lnTo>
                <a:cubicBezTo>
                  <a:pt x="746853" y="2742771"/>
                  <a:pt x="747575" y="2744165"/>
                  <a:pt x="747059" y="2745714"/>
                </a:cubicBezTo>
                <a:cubicBezTo>
                  <a:pt x="746439" y="2745094"/>
                  <a:pt x="745407" y="2744010"/>
                  <a:pt x="744478" y="2743081"/>
                </a:cubicBezTo>
                <a:lnTo>
                  <a:pt x="743548" y="2741687"/>
                </a:lnTo>
                <a:lnTo>
                  <a:pt x="741380" y="2742461"/>
                </a:lnTo>
                <a:lnTo>
                  <a:pt x="737560" y="2740602"/>
                </a:lnTo>
                <a:lnTo>
                  <a:pt x="737146" y="2742306"/>
                </a:lnTo>
                <a:cubicBezTo>
                  <a:pt x="735907" y="2741997"/>
                  <a:pt x="734255" y="2741067"/>
                  <a:pt x="734565" y="2739828"/>
                </a:cubicBezTo>
                <a:lnTo>
                  <a:pt x="735185" y="2739208"/>
                </a:lnTo>
                <a:lnTo>
                  <a:pt x="735701" y="2736885"/>
                </a:lnTo>
                <a:lnTo>
                  <a:pt x="734462" y="2736420"/>
                </a:lnTo>
                <a:cubicBezTo>
                  <a:pt x="733223" y="2735646"/>
                  <a:pt x="732293" y="2734562"/>
                  <a:pt x="732396" y="2733168"/>
                </a:cubicBezTo>
                <a:cubicBezTo>
                  <a:pt x="733119" y="2732703"/>
                  <a:pt x="732706" y="2732083"/>
                  <a:pt x="733429" y="2731618"/>
                </a:cubicBezTo>
                <a:cubicBezTo>
                  <a:pt x="733429" y="2731618"/>
                  <a:pt x="733946" y="2730844"/>
                  <a:pt x="734978" y="2730224"/>
                </a:cubicBezTo>
                <a:cubicBezTo>
                  <a:pt x="735494" y="2729914"/>
                  <a:pt x="736114" y="2729605"/>
                  <a:pt x="736836" y="2729450"/>
                </a:cubicBezTo>
                <a:close/>
                <a:moveTo>
                  <a:pt x="717941" y="2729450"/>
                </a:moveTo>
                <a:cubicBezTo>
                  <a:pt x="720109" y="2727746"/>
                  <a:pt x="726408" y="2728675"/>
                  <a:pt x="728369" y="2731618"/>
                </a:cubicBezTo>
                <a:cubicBezTo>
                  <a:pt x="728989" y="2732548"/>
                  <a:pt x="729092" y="2733787"/>
                  <a:pt x="728473" y="2735181"/>
                </a:cubicBezTo>
                <a:cubicBezTo>
                  <a:pt x="725995" y="2739208"/>
                  <a:pt x="721968" y="2737350"/>
                  <a:pt x="717631" y="2734716"/>
                </a:cubicBezTo>
                <a:cubicBezTo>
                  <a:pt x="718044" y="2733012"/>
                  <a:pt x="717528" y="2731309"/>
                  <a:pt x="717941" y="2729450"/>
                </a:cubicBezTo>
                <a:close/>
                <a:moveTo>
                  <a:pt x="930739" y="2729198"/>
                </a:moveTo>
                <a:cubicBezTo>
                  <a:pt x="932843" y="2729760"/>
                  <a:pt x="934779" y="2731773"/>
                  <a:pt x="936431" y="2735955"/>
                </a:cubicBezTo>
                <a:lnTo>
                  <a:pt x="931578" y="2737195"/>
                </a:lnTo>
                <a:lnTo>
                  <a:pt x="932507" y="2738279"/>
                </a:lnTo>
                <a:cubicBezTo>
                  <a:pt x="933333" y="2738898"/>
                  <a:pt x="931165" y="2740447"/>
                  <a:pt x="931165" y="2740447"/>
                </a:cubicBezTo>
                <a:cubicBezTo>
                  <a:pt x="930545" y="2740602"/>
                  <a:pt x="929926" y="2739828"/>
                  <a:pt x="929306" y="2739054"/>
                </a:cubicBezTo>
                <a:lnTo>
                  <a:pt x="928480" y="2738124"/>
                </a:lnTo>
                <a:lnTo>
                  <a:pt x="922285" y="2741067"/>
                </a:lnTo>
                <a:cubicBezTo>
                  <a:pt x="917948" y="2743236"/>
                  <a:pt x="913921" y="2744940"/>
                  <a:pt x="910100" y="2743391"/>
                </a:cubicBezTo>
                <a:cubicBezTo>
                  <a:pt x="912269" y="2741842"/>
                  <a:pt x="914540" y="2739673"/>
                  <a:pt x="916916" y="2737350"/>
                </a:cubicBezTo>
                <a:lnTo>
                  <a:pt x="921768" y="2733168"/>
                </a:lnTo>
                <a:lnTo>
                  <a:pt x="921562" y="2733168"/>
                </a:lnTo>
                <a:cubicBezTo>
                  <a:pt x="921046" y="2732703"/>
                  <a:pt x="920736" y="2731773"/>
                  <a:pt x="920426" y="2730689"/>
                </a:cubicBezTo>
                <a:cubicBezTo>
                  <a:pt x="921149" y="2730224"/>
                  <a:pt x="921872" y="2730069"/>
                  <a:pt x="922595" y="2730224"/>
                </a:cubicBezTo>
                <a:lnTo>
                  <a:pt x="923731" y="2731464"/>
                </a:lnTo>
                <a:lnTo>
                  <a:pt x="924040" y="2731153"/>
                </a:lnTo>
                <a:cubicBezTo>
                  <a:pt x="926363" y="2729527"/>
                  <a:pt x="928635" y="2728637"/>
                  <a:pt x="930739" y="2729198"/>
                </a:cubicBezTo>
                <a:close/>
                <a:moveTo>
                  <a:pt x="586083" y="2729140"/>
                </a:moveTo>
                <a:cubicBezTo>
                  <a:pt x="586289" y="2729140"/>
                  <a:pt x="586909" y="2729295"/>
                  <a:pt x="587838" y="2729295"/>
                </a:cubicBezTo>
                <a:cubicBezTo>
                  <a:pt x="588974" y="2729605"/>
                  <a:pt x="589696" y="2729295"/>
                  <a:pt x="589490" y="2730379"/>
                </a:cubicBezTo>
                <a:cubicBezTo>
                  <a:pt x="589180" y="2731464"/>
                  <a:pt x="589180" y="2731464"/>
                  <a:pt x="587012" y="2732548"/>
                </a:cubicBezTo>
                <a:cubicBezTo>
                  <a:pt x="587322" y="2731464"/>
                  <a:pt x="587322" y="2731464"/>
                  <a:pt x="586186" y="2731153"/>
                </a:cubicBezTo>
                <a:cubicBezTo>
                  <a:pt x="586186" y="2731153"/>
                  <a:pt x="586186" y="2731153"/>
                  <a:pt x="585463" y="2731464"/>
                </a:cubicBezTo>
                <a:cubicBezTo>
                  <a:pt x="585050" y="2730689"/>
                  <a:pt x="585669" y="2730379"/>
                  <a:pt x="585256" y="2729760"/>
                </a:cubicBezTo>
                <a:cubicBezTo>
                  <a:pt x="585256" y="2729760"/>
                  <a:pt x="585979" y="2729295"/>
                  <a:pt x="585979" y="2729295"/>
                </a:cubicBezTo>
                <a:cubicBezTo>
                  <a:pt x="585773" y="2728985"/>
                  <a:pt x="585773" y="2728985"/>
                  <a:pt x="586083" y="2729140"/>
                </a:cubicBezTo>
                <a:close/>
                <a:moveTo>
                  <a:pt x="1395818" y="2728365"/>
                </a:moveTo>
                <a:cubicBezTo>
                  <a:pt x="1396231" y="2729140"/>
                  <a:pt x="1396231" y="2729140"/>
                  <a:pt x="1395714" y="2730224"/>
                </a:cubicBezTo>
                <a:cubicBezTo>
                  <a:pt x="1396128" y="2730999"/>
                  <a:pt x="1392204" y="2730689"/>
                  <a:pt x="1391378" y="2730999"/>
                </a:cubicBezTo>
                <a:cubicBezTo>
                  <a:pt x="1390965" y="2730224"/>
                  <a:pt x="1391068" y="2730224"/>
                  <a:pt x="1391791" y="2729914"/>
                </a:cubicBezTo>
                <a:lnTo>
                  <a:pt x="1391481" y="2729914"/>
                </a:lnTo>
                <a:lnTo>
                  <a:pt x="1393030" y="2728521"/>
                </a:lnTo>
                <a:cubicBezTo>
                  <a:pt x="1393856" y="2728365"/>
                  <a:pt x="1394889" y="2728365"/>
                  <a:pt x="1395818" y="2728365"/>
                </a:cubicBezTo>
                <a:close/>
                <a:moveTo>
                  <a:pt x="533629" y="2728365"/>
                </a:moveTo>
                <a:cubicBezTo>
                  <a:pt x="535797" y="2727436"/>
                  <a:pt x="540030" y="2728675"/>
                  <a:pt x="541166" y="2730999"/>
                </a:cubicBezTo>
                <a:cubicBezTo>
                  <a:pt x="540856" y="2733787"/>
                  <a:pt x="538895" y="2733632"/>
                  <a:pt x="538895" y="2735491"/>
                </a:cubicBezTo>
                <a:cubicBezTo>
                  <a:pt x="534764" y="2734407"/>
                  <a:pt x="533629" y="2731928"/>
                  <a:pt x="533629" y="2728365"/>
                </a:cubicBezTo>
                <a:close/>
                <a:moveTo>
                  <a:pt x="1099369" y="2728308"/>
                </a:moveTo>
                <a:cubicBezTo>
                  <a:pt x="1100892" y="2729179"/>
                  <a:pt x="1102054" y="2730999"/>
                  <a:pt x="1101951" y="2732238"/>
                </a:cubicBezTo>
                <a:cubicBezTo>
                  <a:pt x="1099266" y="2736575"/>
                  <a:pt x="1094516" y="2732703"/>
                  <a:pt x="1094620" y="2730069"/>
                </a:cubicBezTo>
                <a:cubicBezTo>
                  <a:pt x="1095962" y="2727514"/>
                  <a:pt x="1097846" y="2727436"/>
                  <a:pt x="1099369" y="2728308"/>
                </a:cubicBezTo>
                <a:close/>
                <a:moveTo>
                  <a:pt x="979902" y="2725267"/>
                </a:moveTo>
                <a:lnTo>
                  <a:pt x="981657" y="2727901"/>
                </a:lnTo>
                <a:lnTo>
                  <a:pt x="985787" y="2728365"/>
                </a:lnTo>
                <a:cubicBezTo>
                  <a:pt x="986923" y="2729295"/>
                  <a:pt x="987749" y="2730689"/>
                  <a:pt x="987646" y="2732703"/>
                </a:cubicBezTo>
                <a:cubicBezTo>
                  <a:pt x="984032" y="2734716"/>
                  <a:pt x="980418" y="2737350"/>
                  <a:pt x="977320" y="2736730"/>
                </a:cubicBezTo>
                <a:lnTo>
                  <a:pt x="976495" y="2736110"/>
                </a:lnTo>
                <a:lnTo>
                  <a:pt x="975256" y="2735955"/>
                </a:lnTo>
                <a:cubicBezTo>
                  <a:pt x="971848" y="2735646"/>
                  <a:pt x="966065" y="2734716"/>
                  <a:pt x="964310" y="2733477"/>
                </a:cubicBezTo>
                <a:cubicBezTo>
                  <a:pt x="966375" y="2733942"/>
                  <a:pt x="968957" y="2734097"/>
                  <a:pt x="971435" y="2734252"/>
                </a:cubicBezTo>
                <a:lnTo>
                  <a:pt x="975668" y="2735646"/>
                </a:lnTo>
                <a:lnTo>
                  <a:pt x="974429" y="2734716"/>
                </a:lnTo>
                <a:cubicBezTo>
                  <a:pt x="974326" y="2732858"/>
                  <a:pt x="974739" y="2731309"/>
                  <a:pt x="975565" y="2730069"/>
                </a:cubicBezTo>
                <a:lnTo>
                  <a:pt x="976288" y="2729450"/>
                </a:lnTo>
                <a:lnTo>
                  <a:pt x="976288" y="2729140"/>
                </a:lnTo>
                <a:cubicBezTo>
                  <a:pt x="976288" y="2728830"/>
                  <a:pt x="976288" y="2728675"/>
                  <a:pt x="975875" y="2728830"/>
                </a:cubicBezTo>
                <a:cubicBezTo>
                  <a:pt x="976185" y="2727746"/>
                  <a:pt x="976701" y="2726817"/>
                  <a:pt x="977320" y="2726352"/>
                </a:cubicBezTo>
                <a:cubicBezTo>
                  <a:pt x="978043" y="2725733"/>
                  <a:pt x="978869" y="2725422"/>
                  <a:pt x="979902" y="2725267"/>
                </a:cubicBezTo>
                <a:close/>
                <a:moveTo>
                  <a:pt x="420150" y="2724183"/>
                </a:moveTo>
                <a:cubicBezTo>
                  <a:pt x="422525" y="2723254"/>
                  <a:pt x="424384" y="2723563"/>
                  <a:pt x="427171" y="2725267"/>
                </a:cubicBezTo>
                <a:cubicBezTo>
                  <a:pt x="427171" y="2729140"/>
                  <a:pt x="427584" y="2728056"/>
                  <a:pt x="425623" y="2731618"/>
                </a:cubicBezTo>
                <a:cubicBezTo>
                  <a:pt x="423351" y="2730534"/>
                  <a:pt x="420976" y="2729605"/>
                  <a:pt x="418601" y="2728675"/>
                </a:cubicBezTo>
                <a:cubicBezTo>
                  <a:pt x="419737" y="2727281"/>
                  <a:pt x="419737" y="2725267"/>
                  <a:pt x="420150" y="2724183"/>
                </a:cubicBezTo>
                <a:close/>
                <a:moveTo>
                  <a:pt x="852484" y="2722479"/>
                </a:moveTo>
                <a:cubicBezTo>
                  <a:pt x="855788" y="2722015"/>
                  <a:pt x="857233" y="2722479"/>
                  <a:pt x="857646" y="2723254"/>
                </a:cubicBezTo>
                <a:cubicBezTo>
                  <a:pt x="858989" y="2725578"/>
                  <a:pt x="850728" y="2730689"/>
                  <a:pt x="852484" y="2722479"/>
                </a:cubicBezTo>
                <a:close/>
                <a:moveTo>
                  <a:pt x="870347" y="2720001"/>
                </a:moveTo>
                <a:cubicBezTo>
                  <a:pt x="871276" y="2720156"/>
                  <a:pt x="871999" y="2720776"/>
                  <a:pt x="872722" y="2721705"/>
                </a:cubicBezTo>
                <a:cubicBezTo>
                  <a:pt x="874270" y="2723409"/>
                  <a:pt x="873135" y="2725113"/>
                  <a:pt x="873135" y="2725113"/>
                </a:cubicBezTo>
                <a:cubicBezTo>
                  <a:pt x="871999" y="2726352"/>
                  <a:pt x="870760" y="2726971"/>
                  <a:pt x="869521" y="2727281"/>
                </a:cubicBezTo>
                <a:lnTo>
                  <a:pt x="868798" y="2727126"/>
                </a:lnTo>
                <a:lnTo>
                  <a:pt x="868075" y="2727901"/>
                </a:lnTo>
                <a:lnTo>
                  <a:pt x="867249" y="2726662"/>
                </a:lnTo>
                <a:lnTo>
                  <a:pt x="865907" y="2726352"/>
                </a:lnTo>
                <a:cubicBezTo>
                  <a:pt x="865287" y="2724648"/>
                  <a:pt x="866423" y="2722944"/>
                  <a:pt x="867559" y="2721395"/>
                </a:cubicBezTo>
                <a:cubicBezTo>
                  <a:pt x="868592" y="2720156"/>
                  <a:pt x="869521" y="2719846"/>
                  <a:pt x="870347" y="2720001"/>
                </a:cubicBezTo>
                <a:close/>
                <a:moveTo>
                  <a:pt x="1273149" y="2719072"/>
                </a:moveTo>
                <a:cubicBezTo>
                  <a:pt x="1273975" y="2719072"/>
                  <a:pt x="1274698" y="2719691"/>
                  <a:pt x="1275111" y="2720776"/>
                </a:cubicBezTo>
                <a:cubicBezTo>
                  <a:pt x="1273872" y="2722325"/>
                  <a:pt x="1272839" y="2722944"/>
                  <a:pt x="1270671" y="2724339"/>
                </a:cubicBezTo>
                <a:cubicBezTo>
                  <a:pt x="1270052" y="2723719"/>
                  <a:pt x="1269742" y="2723099"/>
                  <a:pt x="1269639" y="2722479"/>
                </a:cubicBezTo>
                <a:cubicBezTo>
                  <a:pt x="1269432" y="2720621"/>
                  <a:pt x="1271394" y="2718762"/>
                  <a:pt x="1273149" y="2719072"/>
                </a:cubicBezTo>
                <a:close/>
                <a:moveTo>
                  <a:pt x="1145008" y="2718297"/>
                </a:moveTo>
                <a:cubicBezTo>
                  <a:pt x="1144699" y="2720001"/>
                  <a:pt x="1142427" y="2728985"/>
                  <a:pt x="1140362" y="2731464"/>
                </a:cubicBezTo>
                <a:cubicBezTo>
                  <a:pt x="1141807" y="2727281"/>
                  <a:pt x="1141911" y="2721395"/>
                  <a:pt x="1145008" y="2718297"/>
                </a:cubicBezTo>
                <a:close/>
                <a:moveTo>
                  <a:pt x="1246097" y="2718142"/>
                </a:moveTo>
                <a:cubicBezTo>
                  <a:pt x="1247852" y="2720156"/>
                  <a:pt x="1248471" y="2722944"/>
                  <a:pt x="1247852" y="2725887"/>
                </a:cubicBezTo>
                <a:cubicBezTo>
                  <a:pt x="1242999" y="2725113"/>
                  <a:pt x="1240521" y="2722479"/>
                  <a:pt x="1238765" y="2718297"/>
                </a:cubicBezTo>
                <a:cubicBezTo>
                  <a:pt x="1240004" y="2717213"/>
                  <a:pt x="1243618" y="2717832"/>
                  <a:pt x="1246097" y="2718142"/>
                </a:cubicBezTo>
                <a:close/>
                <a:moveTo>
                  <a:pt x="1398193" y="2717832"/>
                </a:moveTo>
                <a:cubicBezTo>
                  <a:pt x="1401291" y="2716439"/>
                  <a:pt x="1403975" y="2716748"/>
                  <a:pt x="1408312" y="2719382"/>
                </a:cubicBezTo>
                <a:cubicBezTo>
                  <a:pt x="1409448" y="2723409"/>
                  <a:pt x="1405111" y="2729605"/>
                  <a:pt x="1399845" y="2726197"/>
                </a:cubicBezTo>
                <a:cubicBezTo>
                  <a:pt x="1399019" y="2725113"/>
                  <a:pt x="1398193" y="2723874"/>
                  <a:pt x="1397780" y="2722479"/>
                </a:cubicBezTo>
                <a:cubicBezTo>
                  <a:pt x="1397470" y="2721240"/>
                  <a:pt x="1397470" y="2719691"/>
                  <a:pt x="1398193" y="2717832"/>
                </a:cubicBezTo>
                <a:close/>
                <a:moveTo>
                  <a:pt x="983722" y="2717523"/>
                </a:moveTo>
                <a:lnTo>
                  <a:pt x="985787" y="2719072"/>
                </a:lnTo>
                <a:lnTo>
                  <a:pt x="985787" y="2718297"/>
                </a:lnTo>
                <a:cubicBezTo>
                  <a:pt x="988472" y="2715664"/>
                  <a:pt x="990227" y="2717213"/>
                  <a:pt x="993635" y="2718762"/>
                </a:cubicBezTo>
                <a:cubicBezTo>
                  <a:pt x="992705" y="2719691"/>
                  <a:pt x="995287" y="2722170"/>
                  <a:pt x="996113" y="2722944"/>
                </a:cubicBezTo>
                <a:cubicBezTo>
                  <a:pt x="994254" y="2724648"/>
                  <a:pt x="996732" y="2727901"/>
                  <a:pt x="993945" y="2730534"/>
                </a:cubicBezTo>
                <a:cubicBezTo>
                  <a:pt x="992189" y="2730689"/>
                  <a:pt x="991363" y="2730689"/>
                  <a:pt x="989711" y="2729914"/>
                </a:cubicBezTo>
                <a:cubicBezTo>
                  <a:pt x="988162" y="2728210"/>
                  <a:pt x="987233" y="2726817"/>
                  <a:pt x="986717" y="2725578"/>
                </a:cubicBezTo>
                <a:lnTo>
                  <a:pt x="985891" y="2722170"/>
                </a:lnTo>
                <a:lnTo>
                  <a:pt x="984239" y="2722325"/>
                </a:lnTo>
                <a:cubicBezTo>
                  <a:pt x="983000" y="2721860"/>
                  <a:pt x="982173" y="2720930"/>
                  <a:pt x="982173" y="2719846"/>
                </a:cubicBezTo>
                <a:cubicBezTo>
                  <a:pt x="982173" y="2719072"/>
                  <a:pt x="982690" y="2718142"/>
                  <a:pt x="983722" y="2717523"/>
                </a:cubicBezTo>
                <a:close/>
                <a:moveTo>
                  <a:pt x="1013873" y="2717058"/>
                </a:moveTo>
                <a:cubicBezTo>
                  <a:pt x="1012634" y="2725422"/>
                  <a:pt x="1013047" y="2733787"/>
                  <a:pt x="1004064" y="2742461"/>
                </a:cubicBezTo>
                <a:cubicBezTo>
                  <a:pt x="1001482" y="2741842"/>
                  <a:pt x="997146" y="2743545"/>
                  <a:pt x="996423" y="2739518"/>
                </a:cubicBezTo>
                <a:cubicBezTo>
                  <a:pt x="1007058" y="2733942"/>
                  <a:pt x="1003444" y="2719227"/>
                  <a:pt x="1013873" y="2717058"/>
                </a:cubicBezTo>
                <a:close/>
                <a:moveTo>
                  <a:pt x="638162" y="2716516"/>
                </a:moveTo>
                <a:cubicBezTo>
                  <a:pt x="641299" y="2716361"/>
                  <a:pt x="644319" y="2717988"/>
                  <a:pt x="645042" y="2720776"/>
                </a:cubicBezTo>
                <a:cubicBezTo>
                  <a:pt x="645455" y="2722634"/>
                  <a:pt x="644938" y="2724958"/>
                  <a:pt x="642770" y="2727591"/>
                </a:cubicBezTo>
                <a:cubicBezTo>
                  <a:pt x="637504" y="2724958"/>
                  <a:pt x="633477" y="2727126"/>
                  <a:pt x="630586" y="2722944"/>
                </a:cubicBezTo>
                <a:cubicBezTo>
                  <a:pt x="631773" y="2718607"/>
                  <a:pt x="635026" y="2716671"/>
                  <a:pt x="638162" y="2716516"/>
                </a:cubicBezTo>
                <a:close/>
                <a:moveTo>
                  <a:pt x="1409654" y="2715974"/>
                </a:moveTo>
                <a:cubicBezTo>
                  <a:pt x="1412959" y="2715044"/>
                  <a:pt x="1415850" y="2715510"/>
                  <a:pt x="1418225" y="2716593"/>
                </a:cubicBezTo>
                <a:lnTo>
                  <a:pt x="1419670" y="2718297"/>
                </a:lnTo>
                <a:lnTo>
                  <a:pt x="1424833" y="2716129"/>
                </a:lnTo>
                <a:cubicBezTo>
                  <a:pt x="1426278" y="2715354"/>
                  <a:pt x="1427517" y="2715044"/>
                  <a:pt x="1429066" y="2716439"/>
                </a:cubicBezTo>
                <a:cubicBezTo>
                  <a:pt x="1428550" y="2718142"/>
                  <a:pt x="1426485" y="2719227"/>
                  <a:pt x="1424317" y="2719691"/>
                </a:cubicBezTo>
                <a:lnTo>
                  <a:pt x="1421219" y="2719846"/>
                </a:lnTo>
                <a:lnTo>
                  <a:pt x="1423181" y="2722015"/>
                </a:lnTo>
                <a:cubicBezTo>
                  <a:pt x="1425039" y="2726507"/>
                  <a:pt x="1423697" y="2732238"/>
                  <a:pt x="1417398" y="2735955"/>
                </a:cubicBezTo>
                <a:cubicBezTo>
                  <a:pt x="1412855" y="2732703"/>
                  <a:pt x="1410273" y="2729450"/>
                  <a:pt x="1409138" y="2726197"/>
                </a:cubicBezTo>
                <a:cubicBezTo>
                  <a:pt x="1408518" y="2724493"/>
                  <a:pt x="1408415" y="2722789"/>
                  <a:pt x="1408518" y="2721086"/>
                </a:cubicBezTo>
                <a:cubicBezTo>
                  <a:pt x="1408622" y="2719382"/>
                  <a:pt x="1409035" y="2717678"/>
                  <a:pt x="1409654" y="2715974"/>
                </a:cubicBezTo>
                <a:close/>
                <a:moveTo>
                  <a:pt x="1250536" y="2715199"/>
                </a:moveTo>
                <a:cubicBezTo>
                  <a:pt x="1255080" y="2712566"/>
                  <a:pt x="1262721" y="2713496"/>
                  <a:pt x="1266851" y="2715664"/>
                </a:cubicBezTo>
                <a:cubicBezTo>
                  <a:pt x="1268709" y="2719382"/>
                  <a:pt x="1268606" y="2722170"/>
                  <a:pt x="1267470" y="2724183"/>
                </a:cubicBezTo>
                <a:cubicBezTo>
                  <a:pt x="1263856" y="2730224"/>
                  <a:pt x="1250020" y="2728210"/>
                  <a:pt x="1247129" y="2719072"/>
                </a:cubicBezTo>
                <a:cubicBezTo>
                  <a:pt x="1247852" y="2717368"/>
                  <a:pt x="1248988" y="2716129"/>
                  <a:pt x="1250536" y="2715199"/>
                </a:cubicBezTo>
                <a:close/>
                <a:moveTo>
                  <a:pt x="451746" y="2715199"/>
                </a:moveTo>
                <a:cubicBezTo>
                  <a:pt x="453295" y="2717058"/>
                  <a:pt x="454224" y="2722479"/>
                  <a:pt x="451230" y="2725887"/>
                </a:cubicBezTo>
                <a:cubicBezTo>
                  <a:pt x="447099" y="2726043"/>
                  <a:pt x="445241" y="2724339"/>
                  <a:pt x="445241" y="2721240"/>
                </a:cubicBezTo>
                <a:cubicBezTo>
                  <a:pt x="445241" y="2720156"/>
                  <a:pt x="445448" y="2719072"/>
                  <a:pt x="445860" y="2717832"/>
                </a:cubicBezTo>
                <a:cubicBezTo>
                  <a:pt x="447719" y="2717213"/>
                  <a:pt x="449165" y="2716129"/>
                  <a:pt x="451746" y="2715199"/>
                </a:cubicBezTo>
                <a:close/>
                <a:moveTo>
                  <a:pt x="669720" y="2712876"/>
                </a:moveTo>
                <a:cubicBezTo>
                  <a:pt x="670546" y="2712566"/>
                  <a:pt x="671579" y="2712721"/>
                  <a:pt x="672818" y="2713031"/>
                </a:cubicBezTo>
                <a:cubicBezTo>
                  <a:pt x="675193" y="2713806"/>
                  <a:pt x="675399" y="2715664"/>
                  <a:pt x="675399" y="2715664"/>
                </a:cubicBezTo>
                <a:lnTo>
                  <a:pt x="674057" y="2718917"/>
                </a:lnTo>
                <a:lnTo>
                  <a:pt x="680768" y="2722479"/>
                </a:lnTo>
                <a:cubicBezTo>
                  <a:pt x="684795" y="2724958"/>
                  <a:pt x="688306" y="2727901"/>
                  <a:pt x="689958" y="2731309"/>
                </a:cubicBezTo>
                <a:cubicBezTo>
                  <a:pt x="683866" y="2735955"/>
                  <a:pt x="675916" y="2728365"/>
                  <a:pt x="671682" y="2721860"/>
                </a:cubicBezTo>
                <a:lnTo>
                  <a:pt x="670753" y="2720001"/>
                </a:lnTo>
                <a:lnTo>
                  <a:pt x="670339" y="2720156"/>
                </a:lnTo>
                <a:cubicBezTo>
                  <a:pt x="668584" y="2719072"/>
                  <a:pt x="668481" y="2717213"/>
                  <a:pt x="668274" y="2715354"/>
                </a:cubicBezTo>
                <a:cubicBezTo>
                  <a:pt x="668378" y="2713960"/>
                  <a:pt x="668894" y="2713031"/>
                  <a:pt x="669720" y="2712876"/>
                </a:cubicBezTo>
                <a:close/>
                <a:moveTo>
                  <a:pt x="1103603" y="2712411"/>
                </a:moveTo>
                <a:cubicBezTo>
                  <a:pt x="1102261" y="2715199"/>
                  <a:pt x="1094206" y="2715664"/>
                  <a:pt x="1090696" y="2715199"/>
                </a:cubicBezTo>
                <a:cubicBezTo>
                  <a:pt x="1091005" y="2714425"/>
                  <a:pt x="1091728" y="2713960"/>
                  <a:pt x="1092761" y="2713496"/>
                </a:cubicBezTo>
                <a:cubicBezTo>
                  <a:pt x="1095755" y="2712256"/>
                  <a:pt x="1101022" y="2711946"/>
                  <a:pt x="1103603" y="2712411"/>
                </a:cubicBezTo>
                <a:close/>
                <a:moveTo>
                  <a:pt x="1074278" y="2712101"/>
                </a:moveTo>
                <a:cubicBezTo>
                  <a:pt x="1074278" y="2712101"/>
                  <a:pt x="1075207" y="2712876"/>
                  <a:pt x="1075207" y="2712876"/>
                </a:cubicBezTo>
                <a:cubicBezTo>
                  <a:pt x="1078511" y="2715199"/>
                  <a:pt x="1080060" y="2720156"/>
                  <a:pt x="1079131" y="2721860"/>
                </a:cubicBezTo>
                <a:cubicBezTo>
                  <a:pt x="1077272" y="2723719"/>
                  <a:pt x="1073762" y="2724648"/>
                  <a:pt x="1071284" y="2722170"/>
                </a:cubicBezTo>
                <a:cubicBezTo>
                  <a:pt x="1068805" y="2720621"/>
                  <a:pt x="1068909" y="2717368"/>
                  <a:pt x="1066431" y="2714889"/>
                </a:cubicBezTo>
                <a:cubicBezTo>
                  <a:pt x="1069115" y="2711482"/>
                  <a:pt x="1070044" y="2710552"/>
                  <a:pt x="1074278" y="2712101"/>
                </a:cubicBezTo>
                <a:close/>
                <a:moveTo>
                  <a:pt x="1350695" y="2711172"/>
                </a:moveTo>
                <a:cubicBezTo>
                  <a:pt x="1352760" y="2713186"/>
                  <a:pt x="1357406" y="2713806"/>
                  <a:pt x="1356374" y="2717832"/>
                </a:cubicBezTo>
                <a:lnTo>
                  <a:pt x="1353793" y="2718452"/>
                </a:lnTo>
                <a:lnTo>
                  <a:pt x="1358232" y="2722325"/>
                </a:lnTo>
                <a:cubicBezTo>
                  <a:pt x="1355961" y="2724493"/>
                  <a:pt x="1354206" y="2724493"/>
                  <a:pt x="1352554" y="2723719"/>
                </a:cubicBezTo>
                <a:lnTo>
                  <a:pt x="1348113" y="2720621"/>
                </a:lnTo>
                <a:lnTo>
                  <a:pt x="1343570" y="2724339"/>
                </a:lnTo>
                <a:cubicBezTo>
                  <a:pt x="1340163" y="2727591"/>
                  <a:pt x="1336962" y="2730379"/>
                  <a:pt x="1331902" y="2728675"/>
                </a:cubicBezTo>
                <a:cubicBezTo>
                  <a:pt x="1336342" y="2721860"/>
                  <a:pt x="1339233" y="2714270"/>
                  <a:pt x="1350695" y="2711172"/>
                </a:cubicBezTo>
                <a:close/>
                <a:moveTo>
                  <a:pt x="1326636" y="2710552"/>
                </a:moveTo>
                <a:cubicBezTo>
                  <a:pt x="1327256" y="2711482"/>
                  <a:pt x="1327875" y="2712411"/>
                  <a:pt x="1328495" y="2713341"/>
                </a:cubicBezTo>
                <a:cubicBezTo>
                  <a:pt x="1326739" y="2717368"/>
                  <a:pt x="1322712" y="2720311"/>
                  <a:pt x="1319305" y="2716439"/>
                </a:cubicBezTo>
                <a:cubicBezTo>
                  <a:pt x="1319925" y="2713960"/>
                  <a:pt x="1324158" y="2710243"/>
                  <a:pt x="1326636" y="2710552"/>
                </a:cubicBezTo>
                <a:close/>
                <a:moveTo>
                  <a:pt x="994048" y="2708849"/>
                </a:moveTo>
                <a:cubicBezTo>
                  <a:pt x="992912" y="2710552"/>
                  <a:pt x="991983" y="2711327"/>
                  <a:pt x="990950" y="2712101"/>
                </a:cubicBezTo>
                <a:cubicBezTo>
                  <a:pt x="989814" y="2713650"/>
                  <a:pt x="988988" y="2713650"/>
                  <a:pt x="987336" y="2711946"/>
                </a:cubicBezTo>
                <a:cubicBezTo>
                  <a:pt x="988472" y="2710397"/>
                  <a:pt x="992396" y="2707919"/>
                  <a:pt x="994048" y="2708849"/>
                </a:cubicBezTo>
                <a:close/>
                <a:moveTo>
                  <a:pt x="996113" y="2706215"/>
                </a:moveTo>
                <a:cubicBezTo>
                  <a:pt x="996010" y="2706990"/>
                  <a:pt x="996836" y="2707145"/>
                  <a:pt x="996836" y="2707145"/>
                </a:cubicBezTo>
                <a:cubicBezTo>
                  <a:pt x="996836" y="2707145"/>
                  <a:pt x="996836" y="2707145"/>
                  <a:pt x="996939" y="2706215"/>
                </a:cubicBezTo>
                <a:cubicBezTo>
                  <a:pt x="997352" y="2706680"/>
                  <a:pt x="997352" y="2707145"/>
                  <a:pt x="997146" y="2707455"/>
                </a:cubicBezTo>
                <a:cubicBezTo>
                  <a:pt x="997042" y="2707765"/>
                  <a:pt x="996732" y="2707919"/>
                  <a:pt x="996732" y="2707919"/>
                </a:cubicBezTo>
                <a:cubicBezTo>
                  <a:pt x="995803" y="2708849"/>
                  <a:pt x="994770" y="2709623"/>
                  <a:pt x="994048" y="2708694"/>
                </a:cubicBezTo>
                <a:cubicBezTo>
                  <a:pt x="994048" y="2708694"/>
                  <a:pt x="994151" y="2707919"/>
                  <a:pt x="996113" y="2706215"/>
                </a:cubicBezTo>
                <a:close/>
                <a:moveTo>
                  <a:pt x="1166796" y="2705441"/>
                </a:moveTo>
                <a:cubicBezTo>
                  <a:pt x="1167725" y="2706215"/>
                  <a:pt x="1169584" y="2708384"/>
                  <a:pt x="1168757" y="2709313"/>
                </a:cubicBezTo>
                <a:cubicBezTo>
                  <a:pt x="1167105" y="2711327"/>
                  <a:pt x="1164627" y="2712411"/>
                  <a:pt x="1163698" y="2711792"/>
                </a:cubicBezTo>
                <a:cubicBezTo>
                  <a:pt x="1162356" y="2710707"/>
                  <a:pt x="1161013" y="2709623"/>
                  <a:pt x="1161426" y="2708074"/>
                </a:cubicBezTo>
                <a:cubicBezTo>
                  <a:pt x="1161530" y="2707455"/>
                  <a:pt x="1161942" y="2706835"/>
                  <a:pt x="1162562" y="2706061"/>
                </a:cubicBezTo>
                <a:cubicBezTo>
                  <a:pt x="1162562" y="2706061"/>
                  <a:pt x="1162459" y="2706215"/>
                  <a:pt x="1163388" y="2706061"/>
                </a:cubicBezTo>
                <a:cubicBezTo>
                  <a:pt x="1165040" y="2705751"/>
                  <a:pt x="1165969" y="2705596"/>
                  <a:pt x="1166796" y="2705441"/>
                </a:cubicBezTo>
                <a:close/>
                <a:moveTo>
                  <a:pt x="1148932" y="2705441"/>
                </a:moveTo>
                <a:cubicBezTo>
                  <a:pt x="1149448" y="2706990"/>
                  <a:pt x="1149759" y="2710397"/>
                  <a:pt x="1147796" y="2711792"/>
                </a:cubicBezTo>
                <a:cubicBezTo>
                  <a:pt x="1147796" y="2711792"/>
                  <a:pt x="1147796" y="2711792"/>
                  <a:pt x="1146867" y="2712566"/>
                </a:cubicBezTo>
                <a:cubicBezTo>
                  <a:pt x="1147280" y="2710243"/>
                  <a:pt x="1147796" y="2706990"/>
                  <a:pt x="1148932" y="2705441"/>
                </a:cubicBezTo>
                <a:close/>
                <a:moveTo>
                  <a:pt x="475702" y="2704667"/>
                </a:moveTo>
                <a:cubicBezTo>
                  <a:pt x="486544" y="2714115"/>
                  <a:pt x="496353" y="2716903"/>
                  <a:pt x="507401" y="2723254"/>
                </a:cubicBezTo>
                <a:cubicBezTo>
                  <a:pt x="507195" y="2726507"/>
                  <a:pt x="505336" y="2729605"/>
                  <a:pt x="499967" y="2733787"/>
                </a:cubicBezTo>
                <a:cubicBezTo>
                  <a:pt x="491190" y="2719536"/>
                  <a:pt x="483136" y="2736575"/>
                  <a:pt x="475598" y="2725887"/>
                </a:cubicBezTo>
                <a:cubicBezTo>
                  <a:pt x="474979" y="2722015"/>
                  <a:pt x="473327" y="2718142"/>
                  <a:pt x="473017" y="2714115"/>
                </a:cubicBezTo>
                <a:cubicBezTo>
                  <a:pt x="472914" y="2712876"/>
                  <a:pt x="472914" y="2711482"/>
                  <a:pt x="473224" y="2710088"/>
                </a:cubicBezTo>
                <a:cubicBezTo>
                  <a:pt x="473533" y="2708229"/>
                  <a:pt x="474256" y="2706525"/>
                  <a:pt x="475702" y="2704667"/>
                </a:cubicBezTo>
                <a:close/>
                <a:moveTo>
                  <a:pt x="610451" y="2704047"/>
                </a:moveTo>
                <a:cubicBezTo>
                  <a:pt x="616543" y="2700019"/>
                  <a:pt x="629140" y="2709778"/>
                  <a:pt x="625423" y="2714735"/>
                </a:cubicBezTo>
                <a:cubicBezTo>
                  <a:pt x="624907" y="2715510"/>
                  <a:pt x="624081" y="2715974"/>
                  <a:pt x="622842" y="2716439"/>
                </a:cubicBezTo>
                <a:cubicBezTo>
                  <a:pt x="615511" y="2715664"/>
                  <a:pt x="610038" y="2713341"/>
                  <a:pt x="609109" y="2706215"/>
                </a:cubicBezTo>
                <a:cubicBezTo>
                  <a:pt x="610348" y="2706370"/>
                  <a:pt x="610451" y="2705131"/>
                  <a:pt x="610451" y="2704047"/>
                </a:cubicBezTo>
                <a:close/>
                <a:moveTo>
                  <a:pt x="985168" y="2703737"/>
                </a:moveTo>
                <a:cubicBezTo>
                  <a:pt x="985891" y="2705596"/>
                  <a:pt x="985787" y="2707299"/>
                  <a:pt x="985168" y="2708539"/>
                </a:cubicBezTo>
                <a:lnTo>
                  <a:pt x="984342" y="2709468"/>
                </a:lnTo>
                <a:lnTo>
                  <a:pt x="983619" y="2710088"/>
                </a:lnTo>
                <a:lnTo>
                  <a:pt x="981864" y="2711637"/>
                </a:lnTo>
                <a:cubicBezTo>
                  <a:pt x="980728" y="2711172"/>
                  <a:pt x="980108" y="2710397"/>
                  <a:pt x="979695" y="2709623"/>
                </a:cubicBezTo>
                <a:cubicBezTo>
                  <a:pt x="979386" y="2708849"/>
                  <a:pt x="979489" y="2707919"/>
                  <a:pt x="979798" y="2707145"/>
                </a:cubicBezTo>
                <a:cubicBezTo>
                  <a:pt x="980521" y="2705596"/>
                  <a:pt x="982380" y="2704202"/>
                  <a:pt x="985168" y="2703737"/>
                </a:cubicBezTo>
                <a:close/>
                <a:moveTo>
                  <a:pt x="1003651" y="2702963"/>
                </a:moveTo>
                <a:cubicBezTo>
                  <a:pt x="1005303" y="2703582"/>
                  <a:pt x="1007058" y="2704202"/>
                  <a:pt x="1008814" y="2704667"/>
                </a:cubicBezTo>
                <a:cubicBezTo>
                  <a:pt x="1007988" y="2704821"/>
                  <a:pt x="1010156" y="2712101"/>
                  <a:pt x="1010156" y="2712101"/>
                </a:cubicBezTo>
                <a:cubicBezTo>
                  <a:pt x="1008503" y="2714115"/>
                  <a:pt x="1008503" y="2714115"/>
                  <a:pt x="1005819" y="2712721"/>
                </a:cubicBezTo>
                <a:cubicBezTo>
                  <a:pt x="1004993" y="2711946"/>
                  <a:pt x="1004064" y="2710243"/>
                  <a:pt x="1003444" y="2708229"/>
                </a:cubicBezTo>
                <a:cubicBezTo>
                  <a:pt x="1003237" y="2707299"/>
                  <a:pt x="1003134" y="2706370"/>
                  <a:pt x="1003134" y="2705441"/>
                </a:cubicBezTo>
                <a:cubicBezTo>
                  <a:pt x="1003134" y="2704511"/>
                  <a:pt x="1003237" y="2703582"/>
                  <a:pt x="1003651" y="2702963"/>
                </a:cubicBezTo>
                <a:close/>
                <a:moveTo>
                  <a:pt x="1392101" y="2702808"/>
                </a:moveTo>
                <a:cubicBezTo>
                  <a:pt x="1394992" y="2702033"/>
                  <a:pt x="1397057" y="2702653"/>
                  <a:pt x="1398296" y="2703737"/>
                </a:cubicBezTo>
                <a:cubicBezTo>
                  <a:pt x="1402116" y="2707299"/>
                  <a:pt x="1399019" y="2716593"/>
                  <a:pt x="1391481" y="2714735"/>
                </a:cubicBezTo>
                <a:cubicBezTo>
                  <a:pt x="1390448" y="2713496"/>
                  <a:pt x="1390242" y="2711017"/>
                  <a:pt x="1390448" y="2708694"/>
                </a:cubicBezTo>
                <a:cubicBezTo>
                  <a:pt x="1390655" y="2706370"/>
                  <a:pt x="1391378" y="2703892"/>
                  <a:pt x="1392101" y="2702808"/>
                </a:cubicBezTo>
                <a:close/>
                <a:moveTo>
                  <a:pt x="979489" y="2701568"/>
                </a:moveTo>
                <a:cubicBezTo>
                  <a:pt x="979902" y="2700949"/>
                  <a:pt x="980625" y="2701414"/>
                  <a:pt x="980211" y="2702033"/>
                </a:cubicBezTo>
                <a:cubicBezTo>
                  <a:pt x="981347" y="2703737"/>
                  <a:pt x="979076" y="2704047"/>
                  <a:pt x="977837" y="2704202"/>
                </a:cubicBezTo>
                <a:cubicBezTo>
                  <a:pt x="979076" y="2702188"/>
                  <a:pt x="978766" y="2701104"/>
                  <a:pt x="979489" y="2701568"/>
                </a:cubicBezTo>
                <a:close/>
                <a:moveTo>
                  <a:pt x="1117439" y="2701104"/>
                </a:moveTo>
                <a:cubicBezTo>
                  <a:pt x="1117749" y="2701259"/>
                  <a:pt x="1117955" y="2701414"/>
                  <a:pt x="1117955" y="2701414"/>
                </a:cubicBezTo>
                <a:cubicBezTo>
                  <a:pt x="1118678" y="2702343"/>
                  <a:pt x="1119401" y="2703118"/>
                  <a:pt x="1118368" y="2703892"/>
                </a:cubicBezTo>
                <a:cubicBezTo>
                  <a:pt x="1118368" y="2703892"/>
                  <a:pt x="1117542" y="2703892"/>
                  <a:pt x="1116097" y="2702033"/>
                </a:cubicBezTo>
                <a:cubicBezTo>
                  <a:pt x="1116923" y="2702188"/>
                  <a:pt x="1117129" y="2701259"/>
                  <a:pt x="1117129" y="2701259"/>
                </a:cubicBezTo>
                <a:cubicBezTo>
                  <a:pt x="1117129" y="2701259"/>
                  <a:pt x="1117026" y="2701259"/>
                  <a:pt x="1116200" y="2701259"/>
                </a:cubicBezTo>
                <a:cubicBezTo>
                  <a:pt x="1116716" y="2700794"/>
                  <a:pt x="1117129" y="2700949"/>
                  <a:pt x="1117439" y="2701104"/>
                </a:cubicBezTo>
                <a:close/>
                <a:moveTo>
                  <a:pt x="632651" y="2700484"/>
                </a:moveTo>
                <a:cubicBezTo>
                  <a:pt x="641015" y="2699710"/>
                  <a:pt x="641841" y="2706370"/>
                  <a:pt x="638020" y="2709313"/>
                </a:cubicBezTo>
                <a:cubicBezTo>
                  <a:pt x="636781" y="2710243"/>
                  <a:pt x="635026" y="2710862"/>
                  <a:pt x="632858" y="2710707"/>
                </a:cubicBezTo>
                <a:cubicBezTo>
                  <a:pt x="631928" y="2709623"/>
                  <a:pt x="631412" y="2707455"/>
                  <a:pt x="631309" y="2705441"/>
                </a:cubicBezTo>
                <a:cubicBezTo>
                  <a:pt x="631309" y="2703427"/>
                  <a:pt x="631619" y="2701259"/>
                  <a:pt x="632651" y="2700484"/>
                </a:cubicBezTo>
                <a:close/>
                <a:moveTo>
                  <a:pt x="4907374" y="2698698"/>
                </a:moveTo>
                <a:lnTo>
                  <a:pt x="4906093" y="2699836"/>
                </a:lnTo>
                <a:lnTo>
                  <a:pt x="4898197" y="2702824"/>
                </a:lnTo>
                <a:lnTo>
                  <a:pt x="4902465" y="2704531"/>
                </a:lnTo>
                <a:cubicBezTo>
                  <a:pt x="4905453" y="2708230"/>
                  <a:pt x="4900757" y="2715486"/>
                  <a:pt x="4901612" y="2721461"/>
                </a:cubicBezTo>
                <a:cubicBezTo>
                  <a:pt x="4904172" y="2723737"/>
                  <a:pt x="4906947" y="2726014"/>
                  <a:pt x="4908227" y="2729428"/>
                </a:cubicBezTo>
                <a:cubicBezTo>
                  <a:pt x="4910788" y="2722599"/>
                  <a:pt x="4904172" y="2711218"/>
                  <a:pt x="4910788" y="2706665"/>
                </a:cubicBezTo>
                <a:cubicBezTo>
                  <a:pt x="4914630" y="2715770"/>
                  <a:pt x="4909508" y="2720323"/>
                  <a:pt x="4918471" y="2732843"/>
                </a:cubicBezTo>
                <a:cubicBezTo>
                  <a:pt x="4910788" y="2739671"/>
                  <a:pt x="4902892" y="2734123"/>
                  <a:pt x="4913349" y="2750057"/>
                </a:cubicBezTo>
                <a:cubicBezTo>
                  <a:pt x="4908227" y="2743228"/>
                  <a:pt x="4900331" y="2745504"/>
                  <a:pt x="4896489" y="2735119"/>
                </a:cubicBezTo>
                <a:cubicBezTo>
                  <a:pt x="4892648" y="2736257"/>
                  <a:pt x="4892648" y="2742090"/>
                  <a:pt x="4893928" y="2747781"/>
                </a:cubicBezTo>
                <a:cubicBezTo>
                  <a:pt x="4895209" y="2751196"/>
                  <a:pt x="4896489" y="2754610"/>
                  <a:pt x="4897770" y="2758024"/>
                </a:cubicBezTo>
                <a:cubicBezTo>
                  <a:pt x="4899050" y="2759162"/>
                  <a:pt x="4899050" y="2761439"/>
                  <a:pt x="4900331" y="2762577"/>
                </a:cubicBezTo>
                <a:cubicBezTo>
                  <a:pt x="4900331" y="2763715"/>
                  <a:pt x="4900331" y="2764854"/>
                  <a:pt x="4901612" y="2764854"/>
                </a:cubicBezTo>
                <a:cubicBezTo>
                  <a:pt x="4901612" y="2765991"/>
                  <a:pt x="4901612" y="2765991"/>
                  <a:pt x="4902892" y="2767129"/>
                </a:cubicBezTo>
                <a:cubicBezTo>
                  <a:pt x="4904172" y="2769690"/>
                  <a:pt x="4905666" y="2772109"/>
                  <a:pt x="4906947" y="2773958"/>
                </a:cubicBezTo>
                <a:lnTo>
                  <a:pt x="4907160" y="2774385"/>
                </a:lnTo>
                <a:lnTo>
                  <a:pt x="4909935" y="2772393"/>
                </a:lnTo>
                <a:lnTo>
                  <a:pt x="4909295" y="2770544"/>
                </a:lnTo>
                <a:lnTo>
                  <a:pt x="4910788" y="2771966"/>
                </a:lnTo>
                <a:lnTo>
                  <a:pt x="4912283" y="2770971"/>
                </a:lnTo>
                <a:cubicBezTo>
                  <a:pt x="4914630" y="2770544"/>
                  <a:pt x="4917191" y="2770971"/>
                  <a:pt x="4919966" y="2772678"/>
                </a:cubicBezTo>
                <a:cubicBezTo>
                  <a:pt x="4921460" y="2775025"/>
                  <a:pt x="4922954" y="2777408"/>
                  <a:pt x="4923594" y="2780200"/>
                </a:cubicBezTo>
                <a:lnTo>
                  <a:pt x="4922768" y="2785712"/>
                </a:lnTo>
                <a:lnTo>
                  <a:pt x="4953000" y="2785712"/>
                </a:lnTo>
                <a:lnTo>
                  <a:pt x="4949097" y="2770277"/>
                </a:lnTo>
                <a:cubicBezTo>
                  <a:pt x="4946536" y="2762577"/>
                  <a:pt x="4943655" y="2755748"/>
                  <a:pt x="4940453" y="2748919"/>
                </a:cubicBezTo>
                <a:cubicBezTo>
                  <a:pt x="4935972" y="2740952"/>
                  <a:pt x="4930637" y="2732843"/>
                  <a:pt x="4924661" y="2724022"/>
                </a:cubicBezTo>
                <a:close/>
                <a:moveTo>
                  <a:pt x="585979" y="2698161"/>
                </a:moveTo>
                <a:cubicBezTo>
                  <a:pt x="591349" y="2696612"/>
                  <a:pt x="601571" y="2712256"/>
                  <a:pt x="583501" y="2706835"/>
                </a:cubicBezTo>
                <a:cubicBezTo>
                  <a:pt x="582882" y="2701104"/>
                  <a:pt x="584224" y="2698625"/>
                  <a:pt x="585979" y="2698161"/>
                </a:cubicBezTo>
                <a:close/>
                <a:moveTo>
                  <a:pt x="1119917" y="2698006"/>
                </a:moveTo>
                <a:cubicBezTo>
                  <a:pt x="1121569" y="2698780"/>
                  <a:pt x="1123222" y="2699555"/>
                  <a:pt x="1124873" y="2700329"/>
                </a:cubicBezTo>
                <a:lnTo>
                  <a:pt x="1124667" y="2701104"/>
                </a:lnTo>
                <a:lnTo>
                  <a:pt x="1124770" y="2701259"/>
                </a:lnTo>
                <a:cubicBezTo>
                  <a:pt x="1125287" y="2701568"/>
                  <a:pt x="1126009" y="2701878"/>
                  <a:pt x="1126939" y="2701723"/>
                </a:cubicBezTo>
                <a:cubicBezTo>
                  <a:pt x="1126629" y="2702808"/>
                  <a:pt x="1126319" y="2704047"/>
                  <a:pt x="1125803" y="2704821"/>
                </a:cubicBezTo>
                <a:lnTo>
                  <a:pt x="1124873" y="2705286"/>
                </a:lnTo>
                <a:lnTo>
                  <a:pt x="1124977" y="2705751"/>
                </a:lnTo>
                <a:lnTo>
                  <a:pt x="1126422" y="2706525"/>
                </a:lnTo>
                <a:lnTo>
                  <a:pt x="1128178" y="2705906"/>
                </a:lnTo>
                <a:lnTo>
                  <a:pt x="1128694" y="2709003"/>
                </a:lnTo>
                <a:lnTo>
                  <a:pt x="1129727" y="2711482"/>
                </a:lnTo>
                <a:cubicBezTo>
                  <a:pt x="1129520" y="2712411"/>
                  <a:pt x="1129004" y="2713341"/>
                  <a:pt x="1128074" y="2714115"/>
                </a:cubicBezTo>
                <a:lnTo>
                  <a:pt x="1127042" y="2714270"/>
                </a:lnTo>
                <a:lnTo>
                  <a:pt x="1121466" y="2720466"/>
                </a:lnTo>
                <a:cubicBezTo>
                  <a:pt x="1127248" y="2722789"/>
                  <a:pt x="1136541" y="2724648"/>
                  <a:pt x="1134993" y="2730844"/>
                </a:cubicBezTo>
                <a:cubicBezTo>
                  <a:pt x="1129107" y="2734097"/>
                  <a:pt x="1123015" y="2727281"/>
                  <a:pt x="1115580" y="2725578"/>
                </a:cubicBezTo>
                <a:cubicBezTo>
                  <a:pt x="1112070" y="2725887"/>
                  <a:pt x="1111347" y="2729914"/>
                  <a:pt x="1105048" y="2726817"/>
                </a:cubicBezTo>
                <a:cubicBezTo>
                  <a:pt x="1107010" y="2722325"/>
                  <a:pt x="1109282" y="2718452"/>
                  <a:pt x="1111966" y="2715510"/>
                </a:cubicBezTo>
                <a:lnTo>
                  <a:pt x="1114961" y="2713031"/>
                </a:lnTo>
                <a:lnTo>
                  <a:pt x="1114858" y="2713031"/>
                </a:lnTo>
                <a:cubicBezTo>
                  <a:pt x="1113722" y="2712101"/>
                  <a:pt x="1112690" y="2710862"/>
                  <a:pt x="1111760" y="2709313"/>
                </a:cubicBezTo>
                <a:cubicBezTo>
                  <a:pt x="1112999" y="2709003"/>
                  <a:pt x="1112586" y="2707765"/>
                  <a:pt x="1112173" y="2706680"/>
                </a:cubicBezTo>
                <a:cubicBezTo>
                  <a:pt x="1113102" y="2705131"/>
                  <a:pt x="1114755" y="2704357"/>
                  <a:pt x="1116716" y="2704047"/>
                </a:cubicBezTo>
                <a:lnTo>
                  <a:pt x="1118472" y="2704202"/>
                </a:lnTo>
                <a:lnTo>
                  <a:pt x="1118472" y="2703892"/>
                </a:lnTo>
                <a:lnTo>
                  <a:pt x="1118781" y="2704202"/>
                </a:lnTo>
                <a:lnTo>
                  <a:pt x="1119504" y="2704357"/>
                </a:lnTo>
                <a:lnTo>
                  <a:pt x="1119195" y="2703427"/>
                </a:lnTo>
                <a:cubicBezTo>
                  <a:pt x="1118885" y="2701414"/>
                  <a:pt x="1118988" y="2699400"/>
                  <a:pt x="1119917" y="2698006"/>
                </a:cubicBezTo>
                <a:close/>
                <a:moveTo>
                  <a:pt x="604049" y="2696921"/>
                </a:moveTo>
                <a:cubicBezTo>
                  <a:pt x="607044" y="2701414"/>
                  <a:pt x="593517" y="2714889"/>
                  <a:pt x="594343" y="2697076"/>
                </a:cubicBezTo>
                <a:cubicBezTo>
                  <a:pt x="600125" y="2695063"/>
                  <a:pt x="603017" y="2695528"/>
                  <a:pt x="604049" y="2696921"/>
                </a:cubicBezTo>
                <a:close/>
                <a:moveTo>
                  <a:pt x="749640" y="2696302"/>
                </a:moveTo>
                <a:cubicBezTo>
                  <a:pt x="749640" y="2697232"/>
                  <a:pt x="749640" y="2697232"/>
                  <a:pt x="749640" y="2697232"/>
                </a:cubicBezTo>
                <a:cubicBezTo>
                  <a:pt x="750570" y="2698161"/>
                  <a:pt x="750570" y="2697232"/>
                  <a:pt x="751396" y="2697386"/>
                </a:cubicBezTo>
                <a:cubicBezTo>
                  <a:pt x="751396" y="2697386"/>
                  <a:pt x="750467" y="2697232"/>
                  <a:pt x="751396" y="2696612"/>
                </a:cubicBezTo>
                <a:cubicBezTo>
                  <a:pt x="751396" y="2697386"/>
                  <a:pt x="752222" y="2697386"/>
                  <a:pt x="753151" y="2697541"/>
                </a:cubicBezTo>
                <a:lnTo>
                  <a:pt x="755320" y="2700484"/>
                </a:lnTo>
                <a:lnTo>
                  <a:pt x="757075" y="2699555"/>
                </a:lnTo>
                <a:cubicBezTo>
                  <a:pt x="757385" y="2701259"/>
                  <a:pt x="758624" y="2701414"/>
                  <a:pt x="757591" y="2704202"/>
                </a:cubicBezTo>
                <a:lnTo>
                  <a:pt x="754700" y="2704047"/>
                </a:lnTo>
                <a:lnTo>
                  <a:pt x="753151" y="2704357"/>
                </a:lnTo>
                <a:cubicBezTo>
                  <a:pt x="752325" y="2704202"/>
                  <a:pt x="751706" y="2703737"/>
                  <a:pt x="751292" y="2703273"/>
                </a:cubicBezTo>
                <a:cubicBezTo>
                  <a:pt x="749950" y="2702808"/>
                  <a:pt x="749331" y="2701568"/>
                  <a:pt x="749124" y="2700329"/>
                </a:cubicBezTo>
                <a:cubicBezTo>
                  <a:pt x="748918" y="2698935"/>
                  <a:pt x="749228" y="2697541"/>
                  <a:pt x="749640" y="2696302"/>
                </a:cubicBezTo>
                <a:close/>
                <a:moveTo>
                  <a:pt x="900085" y="2696147"/>
                </a:moveTo>
                <a:cubicBezTo>
                  <a:pt x="902872" y="2693514"/>
                  <a:pt x="904525" y="2694288"/>
                  <a:pt x="907003" y="2696612"/>
                </a:cubicBezTo>
                <a:cubicBezTo>
                  <a:pt x="903389" y="2701104"/>
                  <a:pt x="902563" y="2699400"/>
                  <a:pt x="900085" y="2696147"/>
                </a:cubicBezTo>
                <a:close/>
                <a:moveTo>
                  <a:pt x="1130553" y="2695373"/>
                </a:moveTo>
                <a:cubicBezTo>
                  <a:pt x="1137781" y="2691500"/>
                  <a:pt x="1141085" y="2697541"/>
                  <a:pt x="1138813" y="2701723"/>
                </a:cubicBezTo>
                <a:cubicBezTo>
                  <a:pt x="1138091" y="2703118"/>
                  <a:pt x="1136748" y="2704357"/>
                  <a:pt x="1134683" y="2704977"/>
                </a:cubicBezTo>
                <a:cubicBezTo>
                  <a:pt x="1132928" y="2704047"/>
                  <a:pt x="1130862" y="2700329"/>
                  <a:pt x="1130346" y="2697541"/>
                </a:cubicBezTo>
                <a:cubicBezTo>
                  <a:pt x="1130243" y="2696612"/>
                  <a:pt x="1130346" y="2695837"/>
                  <a:pt x="1130553" y="2695373"/>
                </a:cubicBezTo>
                <a:close/>
                <a:moveTo>
                  <a:pt x="1108869" y="2695218"/>
                </a:moveTo>
                <a:cubicBezTo>
                  <a:pt x="1111760" y="2700794"/>
                  <a:pt x="1104738" y="2711637"/>
                  <a:pt x="1101125" y="2712256"/>
                </a:cubicBezTo>
                <a:cubicBezTo>
                  <a:pt x="1100195" y="2708849"/>
                  <a:pt x="1102777" y="2706525"/>
                  <a:pt x="1102157" y="2702343"/>
                </a:cubicBezTo>
                <a:cubicBezTo>
                  <a:pt x="1105048" y="2701259"/>
                  <a:pt x="1104842" y="2696457"/>
                  <a:pt x="1108869" y="2695218"/>
                </a:cubicBezTo>
                <a:close/>
                <a:moveTo>
                  <a:pt x="1425349" y="2693824"/>
                </a:moveTo>
                <a:cubicBezTo>
                  <a:pt x="1426898" y="2692585"/>
                  <a:pt x="1429893" y="2693204"/>
                  <a:pt x="1434952" y="2698161"/>
                </a:cubicBezTo>
                <a:cubicBezTo>
                  <a:pt x="1432267" y="2703118"/>
                  <a:pt x="1429893" y="2704357"/>
                  <a:pt x="1427930" y="2703892"/>
                </a:cubicBezTo>
                <a:cubicBezTo>
                  <a:pt x="1425246" y="2703273"/>
                  <a:pt x="1423697" y="2699090"/>
                  <a:pt x="1424110" y="2696147"/>
                </a:cubicBezTo>
                <a:cubicBezTo>
                  <a:pt x="1424317" y="2695063"/>
                  <a:pt x="1424627" y="2694288"/>
                  <a:pt x="1425349" y="2693824"/>
                </a:cubicBezTo>
                <a:close/>
                <a:moveTo>
                  <a:pt x="4731942" y="2693719"/>
                </a:moveTo>
                <a:cubicBezTo>
                  <a:pt x="4729595" y="2694430"/>
                  <a:pt x="4728101" y="2696991"/>
                  <a:pt x="4727461" y="2702112"/>
                </a:cubicBezTo>
                <a:cubicBezTo>
                  <a:pt x="4727461" y="2706665"/>
                  <a:pt x="4736424" y="2711218"/>
                  <a:pt x="4735144" y="2708941"/>
                </a:cubicBezTo>
                <a:cubicBezTo>
                  <a:pt x="4735144" y="2710080"/>
                  <a:pt x="4736424" y="2712356"/>
                  <a:pt x="4737705" y="2714632"/>
                </a:cubicBezTo>
                <a:cubicBezTo>
                  <a:pt x="4737705" y="2715770"/>
                  <a:pt x="4738985" y="2716908"/>
                  <a:pt x="4738985" y="2718189"/>
                </a:cubicBezTo>
                <a:cubicBezTo>
                  <a:pt x="4738985" y="2718189"/>
                  <a:pt x="4738985" y="2718189"/>
                  <a:pt x="4740266" y="2718189"/>
                </a:cubicBezTo>
                <a:cubicBezTo>
                  <a:pt x="4740266" y="2718189"/>
                  <a:pt x="4740266" y="2718189"/>
                  <a:pt x="4745388" y="2726156"/>
                </a:cubicBezTo>
                <a:cubicBezTo>
                  <a:pt x="4745388" y="2726156"/>
                  <a:pt x="4745388" y="2726014"/>
                  <a:pt x="4745388" y="2727152"/>
                </a:cubicBezTo>
                <a:cubicBezTo>
                  <a:pt x="4745388" y="2727152"/>
                  <a:pt x="4745601" y="2727152"/>
                  <a:pt x="4744108" y="2727152"/>
                </a:cubicBezTo>
                <a:cubicBezTo>
                  <a:pt x="4744108" y="2727152"/>
                  <a:pt x="4744108" y="2727152"/>
                  <a:pt x="4744108" y="2728290"/>
                </a:cubicBezTo>
                <a:cubicBezTo>
                  <a:pt x="4745601" y="2731704"/>
                  <a:pt x="4746668" y="2734123"/>
                  <a:pt x="4747949" y="2736399"/>
                </a:cubicBezTo>
                <a:cubicBezTo>
                  <a:pt x="4752004" y="2742090"/>
                  <a:pt x="4757126" y="2746642"/>
                  <a:pt x="4766090" y="2748919"/>
                </a:cubicBezTo>
                <a:cubicBezTo>
                  <a:pt x="4766090" y="2748919"/>
                  <a:pt x="4766090" y="2748919"/>
                  <a:pt x="4766090" y="2750057"/>
                </a:cubicBezTo>
                <a:cubicBezTo>
                  <a:pt x="4766090" y="2750057"/>
                  <a:pt x="4766090" y="2750057"/>
                  <a:pt x="4767370" y="2751196"/>
                </a:cubicBezTo>
                <a:cubicBezTo>
                  <a:pt x="4767370" y="2751196"/>
                  <a:pt x="4767370" y="2751196"/>
                  <a:pt x="4767370" y="2752333"/>
                </a:cubicBezTo>
                <a:cubicBezTo>
                  <a:pt x="4767370" y="2752333"/>
                  <a:pt x="4767370" y="2752333"/>
                  <a:pt x="4769931" y="2758024"/>
                </a:cubicBezTo>
                <a:cubicBezTo>
                  <a:pt x="4771212" y="2761439"/>
                  <a:pt x="4773773" y="2765991"/>
                  <a:pt x="4775053" y="2769406"/>
                </a:cubicBezTo>
                <a:lnTo>
                  <a:pt x="4782888" y="2785712"/>
                </a:lnTo>
                <a:lnTo>
                  <a:pt x="4805454" y="2785712"/>
                </a:lnTo>
                <a:lnTo>
                  <a:pt x="4804835" y="2798102"/>
                </a:lnTo>
                <a:cubicBezTo>
                  <a:pt x="4804835" y="2803059"/>
                  <a:pt x="4804680" y="2808841"/>
                  <a:pt x="4805609" y="2813797"/>
                </a:cubicBezTo>
                <a:cubicBezTo>
                  <a:pt x="4804215" y="2814520"/>
                  <a:pt x="4802976" y="2815346"/>
                  <a:pt x="4802046" y="2816172"/>
                </a:cubicBezTo>
                <a:lnTo>
                  <a:pt x="4800188" y="2818857"/>
                </a:lnTo>
                <a:lnTo>
                  <a:pt x="4800268" y="2819476"/>
                </a:lnTo>
                <a:lnTo>
                  <a:pt x="4804932" y="2828731"/>
                </a:lnTo>
                <a:cubicBezTo>
                  <a:pt x="4807493" y="2834423"/>
                  <a:pt x="4810054" y="2840114"/>
                  <a:pt x="4812615" y="2846942"/>
                </a:cubicBezTo>
                <a:lnTo>
                  <a:pt x="4814996" y="2853714"/>
                </a:lnTo>
                <a:lnTo>
                  <a:pt x="4831162" y="2859358"/>
                </a:lnTo>
                <a:lnTo>
                  <a:pt x="4824507" y="2838579"/>
                </a:lnTo>
                <a:lnTo>
                  <a:pt x="4822920" y="2832534"/>
                </a:lnTo>
                <a:lnTo>
                  <a:pt x="4812189" y="2829763"/>
                </a:lnTo>
                <a:cubicBezTo>
                  <a:pt x="4809628" y="2826918"/>
                  <a:pt x="4807920" y="2822543"/>
                  <a:pt x="4806426" y="2817777"/>
                </a:cubicBezTo>
                <a:cubicBezTo>
                  <a:pt x="4809841" y="2815643"/>
                  <a:pt x="4811761" y="2812513"/>
                  <a:pt x="4814963" y="2810237"/>
                </a:cubicBezTo>
                <a:lnTo>
                  <a:pt x="4817470" y="2811775"/>
                </a:lnTo>
                <a:lnTo>
                  <a:pt x="4816917" y="2809667"/>
                </a:lnTo>
                <a:lnTo>
                  <a:pt x="4813974" y="2785712"/>
                </a:lnTo>
                <a:lnTo>
                  <a:pt x="4832455" y="2785712"/>
                </a:lnTo>
                <a:lnTo>
                  <a:pt x="4829475" y="2783064"/>
                </a:lnTo>
                <a:cubicBezTo>
                  <a:pt x="4824140" y="2775096"/>
                  <a:pt x="4830756" y="2771682"/>
                  <a:pt x="4828195" y="2764854"/>
                </a:cubicBezTo>
                <a:lnTo>
                  <a:pt x="4817737" y="2751764"/>
                </a:lnTo>
                <a:lnTo>
                  <a:pt x="4813896" y="2753045"/>
                </a:lnTo>
                <a:cubicBezTo>
                  <a:pt x="4798956" y="2751196"/>
                  <a:pt x="4779322" y="2733554"/>
                  <a:pt x="4774626" y="2725017"/>
                </a:cubicBezTo>
                <a:cubicBezTo>
                  <a:pt x="4782523" y="2727009"/>
                  <a:pt x="4792980" y="2729855"/>
                  <a:pt x="4802798" y="2733696"/>
                </a:cubicBezTo>
                <a:lnTo>
                  <a:pt x="4804932" y="2734692"/>
                </a:lnTo>
                <a:lnTo>
                  <a:pt x="4804932" y="2733981"/>
                </a:lnTo>
                <a:cubicBezTo>
                  <a:pt x="4803651" y="2733981"/>
                  <a:pt x="4803651" y="2732843"/>
                  <a:pt x="4803651" y="2732843"/>
                </a:cubicBezTo>
                <a:cubicBezTo>
                  <a:pt x="4803651" y="2732843"/>
                  <a:pt x="4803651" y="2732985"/>
                  <a:pt x="4802158" y="2730709"/>
                </a:cubicBezTo>
                <a:cubicBezTo>
                  <a:pt x="4797035" y="2726156"/>
                  <a:pt x="4790633" y="2719185"/>
                  <a:pt x="4784231" y="2713494"/>
                </a:cubicBezTo>
                <a:cubicBezTo>
                  <a:pt x="4777828" y="2715770"/>
                  <a:pt x="4757126" y="2715770"/>
                  <a:pt x="4762248" y="2722599"/>
                </a:cubicBezTo>
                <a:cubicBezTo>
                  <a:pt x="4760967" y="2721461"/>
                  <a:pt x="4760967" y="2720465"/>
                  <a:pt x="4759687" y="2719327"/>
                </a:cubicBezTo>
                <a:cubicBezTo>
                  <a:pt x="4759687" y="2719327"/>
                  <a:pt x="4759687" y="2719185"/>
                  <a:pt x="4754565" y="2710080"/>
                </a:cubicBezTo>
                <a:cubicBezTo>
                  <a:pt x="4754565" y="2710080"/>
                  <a:pt x="4754565" y="2710080"/>
                  <a:pt x="4754565" y="2708941"/>
                </a:cubicBezTo>
                <a:cubicBezTo>
                  <a:pt x="4754565" y="2708941"/>
                  <a:pt x="4754565" y="2708941"/>
                  <a:pt x="4753284" y="2707803"/>
                </a:cubicBezTo>
                <a:cubicBezTo>
                  <a:pt x="4752004" y="2707803"/>
                  <a:pt x="4752004" y="2706665"/>
                  <a:pt x="4750510" y="2705527"/>
                </a:cubicBezTo>
                <a:cubicBezTo>
                  <a:pt x="4746668" y="2702112"/>
                  <a:pt x="4744108" y="2698698"/>
                  <a:pt x="4740266" y="2696422"/>
                </a:cubicBezTo>
                <a:cubicBezTo>
                  <a:pt x="4737065" y="2694146"/>
                  <a:pt x="4734290" y="2693008"/>
                  <a:pt x="4731942" y="2693719"/>
                </a:cubicBezTo>
                <a:close/>
                <a:moveTo>
                  <a:pt x="771324" y="2693514"/>
                </a:moveTo>
                <a:cubicBezTo>
                  <a:pt x="773080" y="2695373"/>
                  <a:pt x="777417" y="2692430"/>
                  <a:pt x="779998" y="2695218"/>
                </a:cubicBezTo>
                <a:cubicBezTo>
                  <a:pt x="786400" y="2700949"/>
                  <a:pt x="787019" y="2703737"/>
                  <a:pt x="785780" y="2707145"/>
                </a:cubicBezTo>
                <a:lnTo>
                  <a:pt x="785677" y="2707455"/>
                </a:lnTo>
                <a:lnTo>
                  <a:pt x="785677" y="2712256"/>
                </a:lnTo>
                <a:lnTo>
                  <a:pt x="784025" y="2713031"/>
                </a:lnTo>
                <a:cubicBezTo>
                  <a:pt x="784954" y="2713960"/>
                  <a:pt x="785780" y="2714889"/>
                  <a:pt x="784851" y="2715974"/>
                </a:cubicBezTo>
                <a:cubicBezTo>
                  <a:pt x="783198" y="2717832"/>
                  <a:pt x="780824" y="2718142"/>
                  <a:pt x="778449" y="2717832"/>
                </a:cubicBezTo>
                <a:cubicBezTo>
                  <a:pt x="782063" y="2719072"/>
                  <a:pt x="784541" y="2721860"/>
                  <a:pt x="783302" y="2728210"/>
                </a:cubicBezTo>
                <a:cubicBezTo>
                  <a:pt x="783508" y="2730069"/>
                  <a:pt x="783095" y="2729295"/>
                  <a:pt x="782786" y="2730534"/>
                </a:cubicBezTo>
                <a:lnTo>
                  <a:pt x="782683" y="2731773"/>
                </a:lnTo>
                <a:lnTo>
                  <a:pt x="785573" y="2723409"/>
                </a:lnTo>
                <a:cubicBezTo>
                  <a:pt x="787019" y="2720930"/>
                  <a:pt x="788981" y="2718917"/>
                  <a:pt x="791975" y="2717523"/>
                </a:cubicBezTo>
                <a:cubicBezTo>
                  <a:pt x="797551" y="2718762"/>
                  <a:pt x="801165" y="2718142"/>
                  <a:pt x="804160" y="2717058"/>
                </a:cubicBezTo>
                <a:lnTo>
                  <a:pt x="804366" y="2717058"/>
                </a:lnTo>
                <a:lnTo>
                  <a:pt x="802198" y="2714889"/>
                </a:lnTo>
                <a:lnTo>
                  <a:pt x="796726" y="2713960"/>
                </a:lnTo>
                <a:cubicBezTo>
                  <a:pt x="794350" y="2713960"/>
                  <a:pt x="792802" y="2714270"/>
                  <a:pt x="792802" y="2714270"/>
                </a:cubicBezTo>
                <a:cubicBezTo>
                  <a:pt x="791150" y="2713186"/>
                  <a:pt x="791150" y="2712411"/>
                  <a:pt x="791150" y="2713186"/>
                </a:cubicBezTo>
                <a:cubicBezTo>
                  <a:pt x="789497" y="2711482"/>
                  <a:pt x="786916" y="2709468"/>
                  <a:pt x="787742" y="2707919"/>
                </a:cubicBezTo>
                <a:cubicBezTo>
                  <a:pt x="788878" y="2706835"/>
                  <a:pt x="790220" y="2706370"/>
                  <a:pt x="791769" y="2706525"/>
                </a:cubicBezTo>
                <a:lnTo>
                  <a:pt x="794970" y="2707455"/>
                </a:lnTo>
                <a:lnTo>
                  <a:pt x="794454" y="2706835"/>
                </a:lnTo>
                <a:cubicBezTo>
                  <a:pt x="793111" y="2704667"/>
                  <a:pt x="792182" y="2702033"/>
                  <a:pt x="792079" y="2698780"/>
                </a:cubicBezTo>
                <a:cubicBezTo>
                  <a:pt x="796726" y="2698161"/>
                  <a:pt x="803127" y="2702498"/>
                  <a:pt x="807257" y="2708074"/>
                </a:cubicBezTo>
                <a:lnTo>
                  <a:pt x="810355" y="2714889"/>
                </a:lnTo>
                <a:lnTo>
                  <a:pt x="813143" y="2713960"/>
                </a:lnTo>
                <a:cubicBezTo>
                  <a:pt x="816860" y="2715354"/>
                  <a:pt x="820681" y="2717058"/>
                  <a:pt x="824501" y="2719072"/>
                </a:cubicBezTo>
                <a:lnTo>
                  <a:pt x="827805" y="2721395"/>
                </a:lnTo>
                <a:lnTo>
                  <a:pt x="830800" y="2722789"/>
                </a:lnTo>
                <a:lnTo>
                  <a:pt x="831110" y="2722944"/>
                </a:lnTo>
                <a:lnTo>
                  <a:pt x="833175" y="2723254"/>
                </a:lnTo>
                <a:lnTo>
                  <a:pt x="831935" y="2722170"/>
                </a:lnTo>
                <a:cubicBezTo>
                  <a:pt x="830903" y="2720776"/>
                  <a:pt x="830180" y="2719072"/>
                  <a:pt x="830284" y="2715974"/>
                </a:cubicBezTo>
                <a:cubicBezTo>
                  <a:pt x="831213" y="2709623"/>
                  <a:pt x="838028" y="2711017"/>
                  <a:pt x="837511" y="2710243"/>
                </a:cubicBezTo>
                <a:cubicBezTo>
                  <a:pt x="837822" y="2709158"/>
                  <a:pt x="837822" y="2709158"/>
                  <a:pt x="837305" y="2708384"/>
                </a:cubicBezTo>
                <a:cubicBezTo>
                  <a:pt x="838131" y="2708074"/>
                  <a:pt x="839164" y="2706525"/>
                  <a:pt x="839370" y="2705441"/>
                </a:cubicBezTo>
                <a:cubicBezTo>
                  <a:pt x="839886" y="2706215"/>
                  <a:pt x="840299" y="2706990"/>
                  <a:pt x="841125" y="2706525"/>
                </a:cubicBezTo>
                <a:cubicBezTo>
                  <a:pt x="840506" y="2708849"/>
                  <a:pt x="839783" y="2709158"/>
                  <a:pt x="839473" y="2710243"/>
                </a:cubicBezTo>
                <a:cubicBezTo>
                  <a:pt x="840196" y="2709933"/>
                  <a:pt x="839886" y="2711017"/>
                  <a:pt x="839886" y="2711017"/>
                </a:cubicBezTo>
                <a:cubicBezTo>
                  <a:pt x="839886" y="2711017"/>
                  <a:pt x="839886" y="2711017"/>
                  <a:pt x="842261" y="2711792"/>
                </a:cubicBezTo>
                <a:cubicBezTo>
                  <a:pt x="842261" y="2711792"/>
                  <a:pt x="847630" y="2713960"/>
                  <a:pt x="846908" y="2719072"/>
                </a:cubicBezTo>
                <a:cubicBezTo>
                  <a:pt x="846082" y="2718917"/>
                  <a:pt x="844843" y="2722634"/>
                  <a:pt x="842674" y="2724493"/>
                </a:cubicBezTo>
                <a:lnTo>
                  <a:pt x="840299" y="2725578"/>
                </a:lnTo>
                <a:lnTo>
                  <a:pt x="844120" y="2728210"/>
                </a:lnTo>
                <a:cubicBezTo>
                  <a:pt x="845772" y="2730844"/>
                  <a:pt x="846391" y="2733322"/>
                  <a:pt x="846185" y="2735491"/>
                </a:cubicBezTo>
                <a:lnTo>
                  <a:pt x="844946" y="2737814"/>
                </a:lnTo>
                <a:lnTo>
                  <a:pt x="848973" y="2747573"/>
                </a:lnTo>
                <a:lnTo>
                  <a:pt x="848973" y="2747882"/>
                </a:lnTo>
                <a:lnTo>
                  <a:pt x="850005" y="2749122"/>
                </a:lnTo>
                <a:lnTo>
                  <a:pt x="851761" y="2748657"/>
                </a:lnTo>
                <a:cubicBezTo>
                  <a:pt x="854342" y="2746024"/>
                  <a:pt x="853000" y="2742306"/>
                  <a:pt x="859712" y="2741067"/>
                </a:cubicBezTo>
                <a:lnTo>
                  <a:pt x="859815" y="2746488"/>
                </a:lnTo>
                <a:lnTo>
                  <a:pt x="860951" y="2745869"/>
                </a:lnTo>
                <a:cubicBezTo>
                  <a:pt x="863635" y="2745094"/>
                  <a:pt x="866423" y="2744785"/>
                  <a:pt x="869314" y="2744475"/>
                </a:cubicBezTo>
                <a:lnTo>
                  <a:pt x="874167" y="2744475"/>
                </a:lnTo>
                <a:lnTo>
                  <a:pt x="872722" y="2742771"/>
                </a:lnTo>
                <a:cubicBezTo>
                  <a:pt x="870554" y="2739054"/>
                  <a:pt x="871792" y="2736420"/>
                  <a:pt x="871069" y="2735800"/>
                </a:cubicBezTo>
                <a:cubicBezTo>
                  <a:pt x="873548" y="2733012"/>
                  <a:pt x="875406" y="2734407"/>
                  <a:pt x="879124" y="2735646"/>
                </a:cubicBezTo>
                <a:cubicBezTo>
                  <a:pt x="878297" y="2736575"/>
                  <a:pt x="881086" y="2738744"/>
                  <a:pt x="882015" y="2739363"/>
                </a:cubicBezTo>
                <a:cubicBezTo>
                  <a:pt x="881189" y="2740293"/>
                  <a:pt x="881396" y="2741532"/>
                  <a:pt x="881602" y="2742926"/>
                </a:cubicBezTo>
                <a:lnTo>
                  <a:pt x="881705" y="2744630"/>
                </a:lnTo>
                <a:lnTo>
                  <a:pt x="890069" y="2744940"/>
                </a:lnTo>
                <a:lnTo>
                  <a:pt x="888107" y="2743081"/>
                </a:lnTo>
                <a:cubicBezTo>
                  <a:pt x="890069" y="2739983"/>
                  <a:pt x="892340" y="2738279"/>
                  <a:pt x="894612" y="2737969"/>
                </a:cubicBezTo>
                <a:cubicBezTo>
                  <a:pt x="896987" y="2737504"/>
                  <a:pt x="899362" y="2738744"/>
                  <a:pt x="901633" y="2741377"/>
                </a:cubicBezTo>
                <a:cubicBezTo>
                  <a:pt x="898123" y="2744320"/>
                  <a:pt x="899465" y="2747882"/>
                  <a:pt x="895851" y="2750671"/>
                </a:cubicBezTo>
                <a:lnTo>
                  <a:pt x="895232" y="2750051"/>
                </a:lnTo>
                <a:lnTo>
                  <a:pt x="893889" y="2754388"/>
                </a:lnTo>
                <a:cubicBezTo>
                  <a:pt x="886248" y="2753149"/>
                  <a:pt x="878607" y="2752839"/>
                  <a:pt x="871380" y="2752529"/>
                </a:cubicBezTo>
                <a:lnTo>
                  <a:pt x="859918" y="2751445"/>
                </a:lnTo>
                <a:lnTo>
                  <a:pt x="860021" y="2754698"/>
                </a:lnTo>
                <a:cubicBezTo>
                  <a:pt x="859402" y="2758880"/>
                  <a:pt x="858163" y="2762753"/>
                  <a:pt x="856201" y="2766160"/>
                </a:cubicBezTo>
                <a:lnTo>
                  <a:pt x="854135" y="2769103"/>
                </a:lnTo>
                <a:lnTo>
                  <a:pt x="854549" y="2770807"/>
                </a:lnTo>
                <a:lnTo>
                  <a:pt x="854342" y="2771891"/>
                </a:lnTo>
                <a:lnTo>
                  <a:pt x="854652" y="2772356"/>
                </a:lnTo>
                <a:cubicBezTo>
                  <a:pt x="854962" y="2772821"/>
                  <a:pt x="855168" y="2773286"/>
                  <a:pt x="855168" y="2773286"/>
                </a:cubicBezTo>
                <a:cubicBezTo>
                  <a:pt x="854342" y="2774060"/>
                  <a:pt x="854342" y="2774060"/>
                  <a:pt x="854342" y="2773131"/>
                </a:cubicBezTo>
                <a:lnTo>
                  <a:pt x="854239" y="2773131"/>
                </a:lnTo>
                <a:lnTo>
                  <a:pt x="854032" y="2775764"/>
                </a:lnTo>
                <a:cubicBezTo>
                  <a:pt x="851864" y="2775299"/>
                  <a:pt x="849696" y="2774370"/>
                  <a:pt x="847734" y="2773131"/>
                </a:cubicBezTo>
                <a:lnTo>
                  <a:pt x="842261" y="2769568"/>
                </a:lnTo>
                <a:lnTo>
                  <a:pt x="846598" y="2769103"/>
                </a:lnTo>
                <a:cubicBezTo>
                  <a:pt x="846598" y="2768329"/>
                  <a:pt x="845772" y="2767400"/>
                  <a:pt x="845772" y="2767400"/>
                </a:cubicBezTo>
                <a:lnTo>
                  <a:pt x="848353" y="2766780"/>
                </a:lnTo>
                <a:lnTo>
                  <a:pt x="848147" y="2765386"/>
                </a:lnTo>
                <a:lnTo>
                  <a:pt x="848973" y="2759965"/>
                </a:lnTo>
                <a:lnTo>
                  <a:pt x="847527" y="2759965"/>
                </a:lnTo>
                <a:lnTo>
                  <a:pt x="845978" y="2763837"/>
                </a:lnTo>
                <a:lnTo>
                  <a:pt x="842261" y="2769568"/>
                </a:lnTo>
                <a:lnTo>
                  <a:pt x="841642" y="2770807"/>
                </a:lnTo>
                <a:cubicBezTo>
                  <a:pt x="840093" y="2773131"/>
                  <a:pt x="838544" y="2775764"/>
                  <a:pt x="837305" y="2778707"/>
                </a:cubicBezTo>
                <a:cubicBezTo>
                  <a:pt x="826257" y="2776229"/>
                  <a:pt x="823675" y="2781805"/>
                  <a:pt x="818616" y="2784748"/>
                </a:cubicBezTo>
                <a:cubicBezTo>
                  <a:pt x="815208" y="2782424"/>
                  <a:pt x="810975" y="2781030"/>
                  <a:pt x="806534" y="2779791"/>
                </a:cubicBezTo>
                <a:lnTo>
                  <a:pt x="800339" y="2778087"/>
                </a:lnTo>
                <a:lnTo>
                  <a:pt x="800546" y="2778552"/>
                </a:lnTo>
                <a:cubicBezTo>
                  <a:pt x="800649" y="2780256"/>
                  <a:pt x="796932" y="2785212"/>
                  <a:pt x="795796" y="2784748"/>
                </a:cubicBezTo>
                <a:cubicBezTo>
                  <a:pt x="795796" y="2783664"/>
                  <a:pt x="795899" y="2782115"/>
                  <a:pt x="796106" y="2780721"/>
                </a:cubicBezTo>
                <a:lnTo>
                  <a:pt x="797241" y="2777313"/>
                </a:lnTo>
                <a:lnTo>
                  <a:pt x="792905" y="2776074"/>
                </a:lnTo>
                <a:cubicBezTo>
                  <a:pt x="790633" y="2771117"/>
                  <a:pt x="787845" y="2766780"/>
                  <a:pt x="785058" y="2762443"/>
                </a:cubicBezTo>
                <a:lnTo>
                  <a:pt x="784644" y="2761668"/>
                </a:lnTo>
                <a:lnTo>
                  <a:pt x="782063" y="2764921"/>
                </a:lnTo>
                <a:lnTo>
                  <a:pt x="785677" y="2768019"/>
                </a:lnTo>
                <a:cubicBezTo>
                  <a:pt x="788052" y="2771736"/>
                  <a:pt x="785470" y="2776074"/>
                  <a:pt x="780307" y="2779172"/>
                </a:cubicBezTo>
                <a:cubicBezTo>
                  <a:pt x="777210" y="2777158"/>
                  <a:pt x="774112" y="2775144"/>
                  <a:pt x="772770" y="2771582"/>
                </a:cubicBezTo>
                <a:lnTo>
                  <a:pt x="775661" y="2768948"/>
                </a:lnTo>
                <a:lnTo>
                  <a:pt x="775351" y="2768639"/>
                </a:lnTo>
                <a:lnTo>
                  <a:pt x="773286" y="2768174"/>
                </a:lnTo>
                <a:lnTo>
                  <a:pt x="771944" y="2769878"/>
                </a:lnTo>
                <a:cubicBezTo>
                  <a:pt x="771427" y="2769103"/>
                  <a:pt x="769672" y="2767864"/>
                  <a:pt x="770395" y="2767554"/>
                </a:cubicBezTo>
                <a:lnTo>
                  <a:pt x="770601" y="2767244"/>
                </a:lnTo>
                <a:lnTo>
                  <a:pt x="767814" y="2765076"/>
                </a:lnTo>
                <a:cubicBezTo>
                  <a:pt x="764716" y="2762443"/>
                  <a:pt x="763890" y="2759654"/>
                  <a:pt x="764199" y="2757176"/>
                </a:cubicBezTo>
                <a:cubicBezTo>
                  <a:pt x="764509" y="2754698"/>
                  <a:pt x="765955" y="2752375"/>
                  <a:pt x="767504" y="2750825"/>
                </a:cubicBezTo>
                <a:cubicBezTo>
                  <a:pt x="768123" y="2751445"/>
                  <a:pt x="772357" y="2747108"/>
                  <a:pt x="777417" y="2747573"/>
                </a:cubicBezTo>
                <a:lnTo>
                  <a:pt x="777726" y="2747882"/>
                </a:lnTo>
                <a:lnTo>
                  <a:pt x="780617" y="2741067"/>
                </a:lnTo>
                <a:lnTo>
                  <a:pt x="782063" y="2734407"/>
                </a:lnTo>
                <a:lnTo>
                  <a:pt x="778346" y="2735646"/>
                </a:lnTo>
                <a:cubicBezTo>
                  <a:pt x="776900" y="2736265"/>
                  <a:pt x="775145" y="2736885"/>
                  <a:pt x="771737" y="2736730"/>
                </a:cubicBezTo>
                <a:cubicBezTo>
                  <a:pt x="763064" y="2736730"/>
                  <a:pt x="761515" y="2730999"/>
                  <a:pt x="762031" y="2726817"/>
                </a:cubicBezTo>
                <a:cubicBezTo>
                  <a:pt x="762238" y="2726817"/>
                  <a:pt x="762341" y="2726507"/>
                  <a:pt x="762651" y="2725887"/>
                </a:cubicBezTo>
                <a:lnTo>
                  <a:pt x="763373" y="2724183"/>
                </a:lnTo>
                <a:lnTo>
                  <a:pt x="762341" y="2721550"/>
                </a:lnTo>
                <a:cubicBezTo>
                  <a:pt x="762444" y="2720776"/>
                  <a:pt x="762857" y="2720001"/>
                  <a:pt x="763683" y="2719072"/>
                </a:cubicBezTo>
                <a:cubicBezTo>
                  <a:pt x="763580" y="2718297"/>
                  <a:pt x="766987" y="2716903"/>
                  <a:pt x="767917" y="2717678"/>
                </a:cubicBezTo>
                <a:lnTo>
                  <a:pt x="768640" y="2718297"/>
                </a:lnTo>
                <a:lnTo>
                  <a:pt x="773802" y="2717058"/>
                </a:lnTo>
                <a:cubicBezTo>
                  <a:pt x="774938" y="2717058"/>
                  <a:pt x="775971" y="2717213"/>
                  <a:pt x="777003" y="2717523"/>
                </a:cubicBezTo>
                <a:cubicBezTo>
                  <a:pt x="775248" y="2717058"/>
                  <a:pt x="773389" y="2716593"/>
                  <a:pt x="772150" y="2716129"/>
                </a:cubicBezTo>
                <a:lnTo>
                  <a:pt x="770292" y="2715510"/>
                </a:lnTo>
                <a:lnTo>
                  <a:pt x="770292" y="2716284"/>
                </a:lnTo>
                <a:lnTo>
                  <a:pt x="769362" y="2715354"/>
                </a:lnTo>
                <a:lnTo>
                  <a:pt x="769156" y="2715199"/>
                </a:lnTo>
                <a:cubicBezTo>
                  <a:pt x="769259" y="2714425"/>
                  <a:pt x="768433" y="2714425"/>
                  <a:pt x="768330" y="2715199"/>
                </a:cubicBezTo>
                <a:cubicBezTo>
                  <a:pt x="767091" y="2714270"/>
                  <a:pt x="765955" y="2713496"/>
                  <a:pt x="765438" y="2712876"/>
                </a:cubicBezTo>
                <a:lnTo>
                  <a:pt x="765645" y="2711946"/>
                </a:lnTo>
                <a:lnTo>
                  <a:pt x="760792" y="2712101"/>
                </a:lnTo>
                <a:lnTo>
                  <a:pt x="759450" y="2711792"/>
                </a:lnTo>
                <a:lnTo>
                  <a:pt x="759037" y="2712256"/>
                </a:lnTo>
                <a:lnTo>
                  <a:pt x="758211" y="2711637"/>
                </a:lnTo>
                <a:lnTo>
                  <a:pt x="753874" y="2710862"/>
                </a:lnTo>
                <a:cubicBezTo>
                  <a:pt x="752119" y="2710243"/>
                  <a:pt x="750776" y="2709003"/>
                  <a:pt x="750570" y="2707299"/>
                </a:cubicBezTo>
                <a:lnTo>
                  <a:pt x="756455" y="2706370"/>
                </a:lnTo>
                <a:lnTo>
                  <a:pt x="756765" y="2706215"/>
                </a:lnTo>
                <a:lnTo>
                  <a:pt x="757178" y="2706215"/>
                </a:lnTo>
                <a:lnTo>
                  <a:pt x="764096" y="2705596"/>
                </a:lnTo>
                <a:lnTo>
                  <a:pt x="770601" y="2706680"/>
                </a:lnTo>
                <a:lnTo>
                  <a:pt x="770704" y="2705906"/>
                </a:lnTo>
                <a:cubicBezTo>
                  <a:pt x="770188" y="2702653"/>
                  <a:pt x="767297" y="2698161"/>
                  <a:pt x="771324" y="2693514"/>
                </a:cubicBezTo>
                <a:close/>
                <a:moveTo>
                  <a:pt x="914127" y="2693204"/>
                </a:moveTo>
                <a:cubicBezTo>
                  <a:pt x="915470" y="2692585"/>
                  <a:pt x="916916" y="2692585"/>
                  <a:pt x="919187" y="2694288"/>
                </a:cubicBezTo>
                <a:cubicBezTo>
                  <a:pt x="920736" y="2699245"/>
                  <a:pt x="915160" y="2703892"/>
                  <a:pt x="909894" y="2700484"/>
                </a:cubicBezTo>
                <a:cubicBezTo>
                  <a:pt x="910204" y="2698625"/>
                  <a:pt x="909688" y="2697076"/>
                  <a:pt x="909997" y="2695218"/>
                </a:cubicBezTo>
                <a:cubicBezTo>
                  <a:pt x="911650" y="2694908"/>
                  <a:pt x="912785" y="2693824"/>
                  <a:pt x="914127" y="2693204"/>
                </a:cubicBezTo>
                <a:close/>
                <a:moveTo>
                  <a:pt x="571627" y="2693204"/>
                </a:moveTo>
                <a:cubicBezTo>
                  <a:pt x="572350" y="2693204"/>
                  <a:pt x="572969" y="2693514"/>
                  <a:pt x="573382" y="2693978"/>
                </a:cubicBezTo>
                <a:cubicBezTo>
                  <a:pt x="581126" y="2700484"/>
                  <a:pt x="577512" y="2707609"/>
                  <a:pt x="578338" y="2709313"/>
                </a:cubicBezTo>
                <a:cubicBezTo>
                  <a:pt x="575757" y="2711482"/>
                  <a:pt x="575654" y="2711482"/>
                  <a:pt x="570594" y="2706835"/>
                </a:cubicBezTo>
                <a:cubicBezTo>
                  <a:pt x="569665" y="2705906"/>
                  <a:pt x="569149" y="2704821"/>
                  <a:pt x="568839" y="2703737"/>
                </a:cubicBezTo>
                <a:cubicBezTo>
                  <a:pt x="568529" y="2702498"/>
                  <a:pt x="568529" y="2701259"/>
                  <a:pt x="568942" y="2700019"/>
                </a:cubicBezTo>
                <a:cubicBezTo>
                  <a:pt x="568529" y="2699245"/>
                  <a:pt x="568323" y="2698161"/>
                  <a:pt x="568323" y="2697232"/>
                </a:cubicBezTo>
                <a:cubicBezTo>
                  <a:pt x="568323" y="2696147"/>
                  <a:pt x="568632" y="2695063"/>
                  <a:pt x="569045" y="2694288"/>
                </a:cubicBezTo>
                <a:cubicBezTo>
                  <a:pt x="569975" y="2693669"/>
                  <a:pt x="570801" y="2693204"/>
                  <a:pt x="571627" y="2693204"/>
                </a:cubicBezTo>
                <a:close/>
                <a:moveTo>
                  <a:pt x="1354619" y="2693049"/>
                </a:moveTo>
                <a:cubicBezTo>
                  <a:pt x="1355032" y="2693824"/>
                  <a:pt x="1356684" y="2694908"/>
                  <a:pt x="1356477" y="2695992"/>
                </a:cubicBezTo>
                <a:cubicBezTo>
                  <a:pt x="1356167" y="2697232"/>
                  <a:pt x="1356167" y="2697232"/>
                  <a:pt x="1354722" y="2698006"/>
                </a:cubicBezTo>
                <a:cubicBezTo>
                  <a:pt x="1354412" y="2696612"/>
                  <a:pt x="1354206" y="2695992"/>
                  <a:pt x="1354206" y="2695373"/>
                </a:cubicBezTo>
                <a:cubicBezTo>
                  <a:pt x="1354206" y="2694753"/>
                  <a:pt x="1354309" y="2694134"/>
                  <a:pt x="1354619" y="2693049"/>
                </a:cubicBezTo>
                <a:close/>
                <a:moveTo>
                  <a:pt x="1032356" y="2692120"/>
                </a:moveTo>
                <a:cubicBezTo>
                  <a:pt x="1032872" y="2691965"/>
                  <a:pt x="1033285" y="2691965"/>
                  <a:pt x="1033698" y="2692430"/>
                </a:cubicBezTo>
                <a:cubicBezTo>
                  <a:pt x="1033698" y="2692430"/>
                  <a:pt x="1033698" y="2693359"/>
                  <a:pt x="1031943" y="2694753"/>
                </a:cubicBezTo>
                <a:cubicBezTo>
                  <a:pt x="1031943" y="2693978"/>
                  <a:pt x="1031117" y="2693824"/>
                  <a:pt x="1031117" y="2693824"/>
                </a:cubicBezTo>
                <a:cubicBezTo>
                  <a:pt x="1031117" y="2693824"/>
                  <a:pt x="1031014" y="2693824"/>
                  <a:pt x="1031014" y="2694598"/>
                </a:cubicBezTo>
                <a:cubicBezTo>
                  <a:pt x="1030601" y="2694288"/>
                  <a:pt x="1030704" y="2693824"/>
                  <a:pt x="1030807" y="2693514"/>
                </a:cubicBezTo>
                <a:cubicBezTo>
                  <a:pt x="1030910" y="2693204"/>
                  <a:pt x="1031117" y="2693049"/>
                  <a:pt x="1031117" y="2693049"/>
                </a:cubicBezTo>
                <a:cubicBezTo>
                  <a:pt x="1031530" y="2692739"/>
                  <a:pt x="1031943" y="2692274"/>
                  <a:pt x="1032356" y="2692120"/>
                </a:cubicBezTo>
                <a:close/>
                <a:moveTo>
                  <a:pt x="791356" y="2691810"/>
                </a:moveTo>
                <a:cubicBezTo>
                  <a:pt x="791563" y="2691965"/>
                  <a:pt x="791975" y="2692430"/>
                  <a:pt x="792698" y="2692739"/>
                </a:cubicBezTo>
                <a:cubicBezTo>
                  <a:pt x="793421" y="2693669"/>
                  <a:pt x="794247" y="2693824"/>
                  <a:pt x="793318" y="2694444"/>
                </a:cubicBezTo>
                <a:cubicBezTo>
                  <a:pt x="792285" y="2695218"/>
                  <a:pt x="792389" y="2695218"/>
                  <a:pt x="789807" y="2695063"/>
                </a:cubicBezTo>
                <a:cubicBezTo>
                  <a:pt x="790840" y="2694288"/>
                  <a:pt x="790840" y="2694288"/>
                  <a:pt x="790117" y="2693514"/>
                </a:cubicBezTo>
                <a:cubicBezTo>
                  <a:pt x="790117" y="2693514"/>
                  <a:pt x="790117" y="2693514"/>
                  <a:pt x="789291" y="2693359"/>
                </a:cubicBezTo>
                <a:cubicBezTo>
                  <a:pt x="789394" y="2692585"/>
                  <a:pt x="790220" y="2692739"/>
                  <a:pt x="790324" y="2691965"/>
                </a:cubicBezTo>
                <a:cubicBezTo>
                  <a:pt x="790324" y="2691965"/>
                  <a:pt x="791253" y="2691965"/>
                  <a:pt x="791253" y="2691965"/>
                </a:cubicBezTo>
                <a:cubicBezTo>
                  <a:pt x="791253" y="2691500"/>
                  <a:pt x="791253" y="2691500"/>
                  <a:pt x="791356" y="2691810"/>
                </a:cubicBezTo>
                <a:close/>
                <a:moveTo>
                  <a:pt x="1368868" y="2691190"/>
                </a:moveTo>
                <a:cubicBezTo>
                  <a:pt x="1371036" y="2696612"/>
                  <a:pt x="1368661" y="2707765"/>
                  <a:pt x="1360194" y="2707299"/>
                </a:cubicBezTo>
                <a:cubicBezTo>
                  <a:pt x="1362879" y="2702033"/>
                  <a:pt x="1364531" y="2695682"/>
                  <a:pt x="1368868" y="2691190"/>
                </a:cubicBezTo>
                <a:close/>
                <a:moveTo>
                  <a:pt x="6518693" y="2691158"/>
                </a:moveTo>
                <a:cubicBezTo>
                  <a:pt x="6520187" y="2693150"/>
                  <a:pt x="6523815" y="2695283"/>
                  <a:pt x="6525309" y="2698983"/>
                </a:cubicBezTo>
                <a:cubicBezTo>
                  <a:pt x="6522321" y="2707377"/>
                  <a:pt x="6516132" y="2710222"/>
                  <a:pt x="6508662" y="2709368"/>
                </a:cubicBezTo>
                <a:cubicBezTo>
                  <a:pt x="6502046" y="2701544"/>
                  <a:pt x="6509303" y="2690162"/>
                  <a:pt x="6518693" y="2691158"/>
                </a:cubicBezTo>
                <a:close/>
                <a:moveTo>
                  <a:pt x="1353276" y="2690726"/>
                </a:moveTo>
                <a:cubicBezTo>
                  <a:pt x="1353999" y="2690416"/>
                  <a:pt x="1354515" y="2691190"/>
                  <a:pt x="1354309" y="2692430"/>
                </a:cubicBezTo>
                <a:cubicBezTo>
                  <a:pt x="1354309" y="2692430"/>
                  <a:pt x="1353586" y="2692739"/>
                  <a:pt x="1353586" y="2692739"/>
                </a:cubicBezTo>
                <a:cubicBezTo>
                  <a:pt x="1353379" y="2692430"/>
                  <a:pt x="1353173" y="2691965"/>
                  <a:pt x="1353070" y="2691655"/>
                </a:cubicBezTo>
                <a:cubicBezTo>
                  <a:pt x="1352966" y="2691345"/>
                  <a:pt x="1352966" y="2691035"/>
                  <a:pt x="1353276" y="2690726"/>
                </a:cubicBezTo>
                <a:close/>
                <a:moveTo>
                  <a:pt x="885938" y="2690106"/>
                </a:moveTo>
                <a:cubicBezTo>
                  <a:pt x="888520" y="2691655"/>
                  <a:pt x="886662" y="2694288"/>
                  <a:pt x="885629" y="2697541"/>
                </a:cubicBezTo>
                <a:cubicBezTo>
                  <a:pt x="884803" y="2696767"/>
                  <a:pt x="883873" y="2697541"/>
                  <a:pt x="882944" y="2698471"/>
                </a:cubicBezTo>
                <a:cubicBezTo>
                  <a:pt x="881705" y="2697232"/>
                  <a:pt x="879536" y="2695682"/>
                  <a:pt x="880053" y="2693514"/>
                </a:cubicBezTo>
                <a:cubicBezTo>
                  <a:pt x="880260" y="2692739"/>
                  <a:pt x="880672" y="2691965"/>
                  <a:pt x="881602" y="2691190"/>
                </a:cubicBezTo>
                <a:cubicBezTo>
                  <a:pt x="881602" y="2690261"/>
                  <a:pt x="885113" y="2689331"/>
                  <a:pt x="885938" y="2690106"/>
                </a:cubicBezTo>
                <a:close/>
                <a:moveTo>
                  <a:pt x="1025851" y="2689177"/>
                </a:moveTo>
                <a:cubicBezTo>
                  <a:pt x="1027090" y="2689331"/>
                  <a:pt x="1027399" y="2689951"/>
                  <a:pt x="1028226" y="2689487"/>
                </a:cubicBezTo>
                <a:cubicBezTo>
                  <a:pt x="1027296" y="2693049"/>
                  <a:pt x="1024612" y="2693824"/>
                  <a:pt x="1021927" y="2694598"/>
                </a:cubicBezTo>
                <a:cubicBezTo>
                  <a:pt x="1019965" y="2694908"/>
                  <a:pt x="1019243" y="2695373"/>
                  <a:pt x="1018210" y="2697076"/>
                </a:cubicBezTo>
                <a:cubicBezTo>
                  <a:pt x="1018210" y="2697076"/>
                  <a:pt x="1018210" y="2697076"/>
                  <a:pt x="1015835" y="2696767"/>
                </a:cubicBezTo>
                <a:lnTo>
                  <a:pt x="1015422" y="2695992"/>
                </a:lnTo>
                <a:cubicBezTo>
                  <a:pt x="1015422" y="2695528"/>
                  <a:pt x="1015835" y="2695063"/>
                  <a:pt x="1016661" y="2694444"/>
                </a:cubicBezTo>
                <a:cubicBezTo>
                  <a:pt x="1018933" y="2692585"/>
                  <a:pt x="1023786" y="2690571"/>
                  <a:pt x="1024302" y="2690106"/>
                </a:cubicBezTo>
                <a:cubicBezTo>
                  <a:pt x="1024302" y="2690106"/>
                  <a:pt x="1025128" y="2689642"/>
                  <a:pt x="1025851" y="2689177"/>
                </a:cubicBezTo>
                <a:close/>
                <a:moveTo>
                  <a:pt x="1004890" y="2688093"/>
                </a:moveTo>
                <a:lnTo>
                  <a:pt x="1006955" y="2689642"/>
                </a:lnTo>
                <a:lnTo>
                  <a:pt x="1007058" y="2689797"/>
                </a:lnTo>
                <a:lnTo>
                  <a:pt x="1009433" y="2691655"/>
                </a:lnTo>
                <a:lnTo>
                  <a:pt x="1009846" y="2691190"/>
                </a:lnTo>
                <a:cubicBezTo>
                  <a:pt x="1011808" y="2691965"/>
                  <a:pt x="1013150" y="2693359"/>
                  <a:pt x="1013770" y="2694598"/>
                </a:cubicBezTo>
                <a:cubicBezTo>
                  <a:pt x="1014389" y="2695992"/>
                  <a:pt x="1014389" y="2697541"/>
                  <a:pt x="1013873" y="2698935"/>
                </a:cubicBezTo>
                <a:lnTo>
                  <a:pt x="1011189" y="2698625"/>
                </a:lnTo>
                <a:lnTo>
                  <a:pt x="1010982" y="2699090"/>
                </a:lnTo>
                <a:cubicBezTo>
                  <a:pt x="1007368" y="2703273"/>
                  <a:pt x="995803" y="2704202"/>
                  <a:pt x="994770" y="2699864"/>
                </a:cubicBezTo>
                <a:cubicBezTo>
                  <a:pt x="994254" y="2697541"/>
                  <a:pt x="996629" y="2693669"/>
                  <a:pt x="1004890" y="2688093"/>
                </a:cubicBezTo>
                <a:close/>
                <a:moveTo>
                  <a:pt x="1351004" y="2687008"/>
                </a:moveTo>
                <a:cubicBezTo>
                  <a:pt x="1351004" y="2687008"/>
                  <a:pt x="1352140" y="2687473"/>
                  <a:pt x="1352140" y="2687473"/>
                </a:cubicBezTo>
                <a:cubicBezTo>
                  <a:pt x="1351934" y="2688712"/>
                  <a:pt x="1352657" y="2688247"/>
                  <a:pt x="1351314" y="2689022"/>
                </a:cubicBezTo>
                <a:cubicBezTo>
                  <a:pt x="1351521" y="2687783"/>
                  <a:pt x="1351521" y="2687783"/>
                  <a:pt x="1351004" y="2687008"/>
                </a:cubicBezTo>
                <a:close/>
                <a:moveTo>
                  <a:pt x="1220489" y="2686699"/>
                </a:moveTo>
                <a:cubicBezTo>
                  <a:pt x="1227407" y="2689487"/>
                  <a:pt x="1232054" y="2693049"/>
                  <a:pt x="1230814" y="2700019"/>
                </a:cubicBezTo>
                <a:cubicBezTo>
                  <a:pt x="1229575" y="2699555"/>
                  <a:pt x="1229265" y="2700639"/>
                  <a:pt x="1228853" y="2701568"/>
                </a:cubicBezTo>
                <a:cubicBezTo>
                  <a:pt x="1223483" y="2703118"/>
                  <a:pt x="1216875" y="2696457"/>
                  <a:pt x="1216049" y="2691500"/>
                </a:cubicBezTo>
                <a:cubicBezTo>
                  <a:pt x="1215739" y="2689797"/>
                  <a:pt x="1216049" y="2688402"/>
                  <a:pt x="1217391" y="2687628"/>
                </a:cubicBezTo>
                <a:cubicBezTo>
                  <a:pt x="1218114" y="2687008"/>
                  <a:pt x="1219146" y="2686699"/>
                  <a:pt x="1220489" y="2686699"/>
                </a:cubicBezTo>
                <a:close/>
                <a:moveTo>
                  <a:pt x="1264102" y="2685169"/>
                </a:moveTo>
                <a:cubicBezTo>
                  <a:pt x="1265560" y="2685188"/>
                  <a:pt x="1266541" y="2685769"/>
                  <a:pt x="1266541" y="2685769"/>
                </a:cubicBezTo>
                <a:cubicBezTo>
                  <a:pt x="1270671" y="2688867"/>
                  <a:pt x="1272633" y="2693204"/>
                  <a:pt x="1272220" y="2697851"/>
                </a:cubicBezTo>
                <a:cubicBezTo>
                  <a:pt x="1272014" y="2699710"/>
                  <a:pt x="1271497" y="2701568"/>
                  <a:pt x="1270362" y="2703582"/>
                </a:cubicBezTo>
                <a:cubicBezTo>
                  <a:pt x="1268503" y="2704667"/>
                  <a:pt x="1266541" y="2704667"/>
                  <a:pt x="1264579" y="2704047"/>
                </a:cubicBezTo>
                <a:lnTo>
                  <a:pt x="1259933" y="2701878"/>
                </a:lnTo>
                <a:lnTo>
                  <a:pt x="1261275" y="2704202"/>
                </a:lnTo>
                <a:cubicBezTo>
                  <a:pt x="1261998" y="2706061"/>
                  <a:pt x="1262617" y="2708074"/>
                  <a:pt x="1262824" y="2710552"/>
                </a:cubicBezTo>
                <a:cubicBezTo>
                  <a:pt x="1252395" y="2710397"/>
                  <a:pt x="1250020" y="2697696"/>
                  <a:pt x="1250433" y="2691190"/>
                </a:cubicBezTo>
                <a:lnTo>
                  <a:pt x="1255493" y="2696302"/>
                </a:lnTo>
                <a:lnTo>
                  <a:pt x="1255183" y="2694598"/>
                </a:lnTo>
                <a:cubicBezTo>
                  <a:pt x="1255389" y="2692430"/>
                  <a:pt x="1256835" y="2690261"/>
                  <a:pt x="1258797" y="2687938"/>
                </a:cubicBezTo>
                <a:cubicBezTo>
                  <a:pt x="1260707" y="2685692"/>
                  <a:pt x="1262643" y="2685150"/>
                  <a:pt x="1264102" y="2685169"/>
                </a:cubicBezTo>
                <a:close/>
                <a:moveTo>
                  <a:pt x="954294" y="2685150"/>
                </a:moveTo>
                <a:cubicBezTo>
                  <a:pt x="955430" y="2685304"/>
                  <a:pt x="955120" y="2686543"/>
                  <a:pt x="955533" y="2687163"/>
                </a:cubicBezTo>
                <a:lnTo>
                  <a:pt x="954294" y="2689951"/>
                </a:lnTo>
                <a:lnTo>
                  <a:pt x="956876" y="2690261"/>
                </a:lnTo>
                <a:cubicBezTo>
                  <a:pt x="972158" y="2694134"/>
                  <a:pt x="974739" y="2711327"/>
                  <a:pt x="968027" y="2720466"/>
                </a:cubicBezTo>
                <a:lnTo>
                  <a:pt x="962968" y="2724803"/>
                </a:lnTo>
                <a:lnTo>
                  <a:pt x="964310" y="2726197"/>
                </a:lnTo>
                <a:cubicBezTo>
                  <a:pt x="965136" y="2727746"/>
                  <a:pt x="965446" y="2729450"/>
                  <a:pt x="965136" y="2730379"/>
                </a:cubicBezTo>
                <a:cubicBezTo>
                  <a:pt x="963484" y="2732238"/>
                  <a:pt x="960076" y="2733632"/>
                  <a:pt x="957289" y="2731464"/>
                </a:cubicBezTo>
                <a:cubicBezTo>
                  <a:pt x="955946" y="2730844"/>
                  <a:pt x="955224" y="2729605"/>
                  <a:pt x="954501" y="2728365"/>
                </a:cubicBezTo>
                <a:lnTo>
                  <a:pt x="952229" y="2725422"/>
                </a:lnTo>
                <a:lnTo>
                  <a:pt x="946343" y="2723874"/>
                </a:lnTo>
                <a:cubicBezTo>
                  <a:pt x="937463" y="2719072"/>
                  <a:pt x="935192" y="2708849"/>
                  <a:pt x="926622" y="2699245"/>
                </a:cubicBezTo>
                <a:cubicBezTo>
                  <a:pt x="936637" y="2700949"/>
                  <a:pt x="941800" y="2692894"/>
                  <a:pt x="948822" y="2690416"/>
                </a:cubicBezTo>
                <a:lnTo>
                  <a:pt x="951196" y="2689951"/>
                </a:lnTo>
                <a:lnTo>
                  <a:pt x="952436" y="2686234"/>
                </a:lnTo>
                <a:cubicBezTo>
                  <a:pt x="952952" y="2685615"/>
                  <a:pt x="953468" y="2685150"/>
                  <a:pt x="954294" y="2685150"/>
                </a:cubicBezTo>
                <a:close/>
                <a:moveTo>
                  <a:pt x="1127765" y="2684220"/>
                </a:moveTo>
                <a:cubicBezTo>
                  <a:pt x="1128281" y="2684220"/>
                  <a:pt x="1129004" y="2684220"/>
                  <a:pt x="1129830" y="2684530"/>
                </a:cubicBezTo>
                <a:cubicBezTo>
                  <a:pt x="1129830" y="2684530"/>
                  <a:pt x="1129830" y="2684530"/>
                  <a:pt x="1130346" y="2685304"/>
                </a:cubicBezTo>
                <a:cubicBezTo>
                  <a:pt x="1131275" y="2686699"/>
                  <a:pt x="1131689" y="2687473"/>
                  <a:pt x="1132204" y="2688093"/>
                </a:cubicBezTo>
                <a:cubicBezTo>
                  <a:pt x="1131895" y="2689331"/>
                  <a:pt x="1130656" y="2691965"/>
                  <a:pt x="1129417" y="2691500"/>
                </a:cubicBezTo>
                <a:cubicBezTo>
                  <a:pt x="1127042" y="2690881"/>
                  <a:pt x="1124873" y="2689022"/>
                  <a:pt x="1125183" y="2687938"/>
                </a:cubicBezTo>
                <a:cubicBezTo>
                  <a:pt x="1125596" y="2686234"/>
                  <a:pt x="1126009" y="2684530"/>
                  <a:pt x="1127765" y="2684220"/>
                </a:cubicBezTo>
                <a:close/>
                <a:moveTo>
                  <a:pt x="726511" y="2683446"/>
                </a:moveTo>
                <a:cubicBezTo>
                  <a:pt x="728266" y="2683601"/>
                  <a:pt x="730022" y="2682826"/>
                  <a:pt x="731674" y="2683911"/>
                </a:cubicBezTo>
                <a:cubicBezTo>
                  <a:pt x="733429" y="2685769"/>
                  <a:pt x="732500" y="2689797"/>
                  <a:pt x="731570" y="2691345"/>
                </a:cubicBezTo>
                <a:cubicBezTo>
                  <a:pt x="729815" y="2692739"/>
                  <a:pt x="727337" y="2691810"/>
                  <a:pt x="725582" y="2689951"/>
                </a:cubicBezTo>
                <a:cubicBezTo>
                  <a:pt x="724756" y="2689331"/>
                  <a:pt x="724343" y="2688557"/>
                  <a:pt x="724239" y="2687628"/>
                </a:cubicBezTo>
                <a:cubicBezTo>
                  <a:pt x="724136" y="2686699"/>
                  <a:pt x="724343" y="2685615"/>
                  <a:pt x="724859" y="2684840"/>
                </a:cubicBezTo>
                <a:cubicBezTo>
                  <a:pt x="725685" y="2684065"/>
                  <a:pt x="725685" y="2684065"/>
                  <a:pt x="726511" y="2683446"/>
                </a:cubicBezTo>
                <a:close/>
                <a:moveTo>
                  <a:pt x="666416" y="2683136"/>
                </a:moveTo>
                <a:cubicBezTo>
                  <a:pt x="670856" y="2685769"/>
                  <a:pt x="669204" y="2689331"/>
                  <a:pt x="666622" y="2690726"/>
                </a:cubicBezTo>
                <a:lnTo>
                  <a:pt x="666519" y="2690726"/>
                </a:lnTo>
                <a:lnTo>
                  <a:pt x="667345" y="2691190"/>
                </a:lnTo>
                <a:cubicBezTo>
                  <a:pt x="668068" y="2691810"/>
                  <a:pt x="668791" y="2692739"/>
                  <a:pt x="669307" y="2694134"/>
                </a:cubicBezTo>
                <a:cubicBezTo>
                  <a:pt x="667965" y="2696147"/>
                  <a:pt x="666726" y="2696767"/>
                  <a:pt x="665487" y="2696767"/>
                </a:cubicBezTo>
                <a:lnTo>
                  <a:pt x="662079" y="2695837"/>
                </a:lnTo>
                <a:lnTo>
                  <a:pt x="662183" y="2696457"/>
                </a:lnTo>
                <a:cubicBezTo>
                  <a:pt x="662183" y="2696457"/>
                  <a:pt x="661976" y="2696457"/>
                  <a:pt x="661563" y="2696147"/>
                </a:cubicBezTo>
                <a:cubicBezTo>
                  <a:pt x="661460" y="2698006"/>
                  <a:pt x="661047" y="2698780"/>
                  <a:pt x="660530" y="2699400"/>
                </a:cubicBezTo>
                <a:cubicBezTo>
                  <a:pt x="659291" y="2699710"/>
                  <a:pt x="657742" y="2698625"/>
                  <a:pt x="656710" y="2696921"/>
                </a:cubicBezTo>
                <a:cubicBezTo>
                  <a:pt x="657949" y="2696767"/>
                  <a:pt x="658052" y="2694908"/>
                  <a:pt x="659291" y="2694598"/>
                </a:cubicBezTo>
                <a:cubicBezTo>
                  <a:pt x="659291" y="2694598"/>
                  <a:pt x="659911" y="2694908"/>
                  <a:pt x="660634" y="2695063"/>
                </a:cubicBezTo>
                <a:lnTo>
                  <a:pt x="661976" y="2695373"/>
                </a:lnTo>
                <a:lnTo>
                  <a:pt x="662698" y="2693978"/>
                </a:lnTo>
                <a:cubicBezTo>
                  <a:pt x="662905" y="2693204"/>
                  <a:pt x="662698" y="2692430"/>
                  <a:pt x="662905" y="2691810"/>
                </a:cubicBezTo>
                <a:lnTo>
                  <a:pt x="663731" y="2691035"/>
                </a:lnTo>
                <a:lnTo>
                  <a:pt x="662389" y="2688712"/>
                </a:lnTo>
                <a:cubicBezTo>
                  <a:pt x="661873" y="2686079"/>
                  <a:pt x="663731" y="2683446"/>
                  <a:pt x="666416" y="2683136"/>
                </a:cubicBezTo>
                <a:close/>
                <a:moveTo>
                  <a:pt x="749228" y="2682671"/>
                </a:moveTo>
                <a:cubicBezTo>
                  <a:pt x="753358" y="2687783"/>
                  <a:pt x="748401" y="2704357"/>
                  <a:pt x="739212" y="2704357"/>
                </a:cubicBezTo>
                <a:cubicBezTo>
                  <a:pt x="741380" y="2698471"/>
                  <a:pt x="743962" y="2693204"/>
                  <a:pt x="743962" y="2684840"/>
                </a:cubicBezTo>
                <a:cubicBezTo>
                  <a:pt x="746439" y="2684995"/>
                  <a:pt x="746233" y="2681897"/>
                  <a:pt x="749228" y="2682671"/>
                </a:cubicBezTo>
                <a:close/>
                <a:moveTo>
                  <a:pt x="967304" y="2680657"/>
                </a:moveTo>
                <a:cubicBezTo>
                  <a:pt x="975049" y="2681122"/>
                  <a:pt x="977320" y="2690106"/>
                  <a:pt x="969369" y="2693049"/>
                </a:cubicBezTo>
                <a:cubicBezTo>
                  <a:pt x="965859" y="2692739"/>
                  <a:pt x="963381" y="2690726"/>
                  <a:pt x="962658" y="2688247"/>
                </a:cubicBezTo>
                <a:cubicBezTo>
                  <a:pt x="962038" y="2685769"/>
                  <a:pt x="963277" y="2682826"/>
                  <a:pt x="967304" y="2680657"/>
                </a:cubicBezTo>
                <a:close/>
                <a:moveTo>
                  <a:pt x="813233" y="2680580"/>
                </a:moveTo>
                <a:cubicBezTo>
                  <a:pt x="816060" y="2681161"/>
                  <a:pt x="818564" y="2682826"/>
                  <a:pt x="819545" y="2686699"/>
                </a:cubicBezTo>
                <a:cubicBezTo>
                  <a:pt x="818616" y="2687473"/>
                  <a:pt x="817686" y="2688093"/>
                  <a:pt x="816654" y="2688712"/>
                </a:cubicBezTo>
                <a:cubicBezTo>
                  <a:pt x="812627" y="2684685"/>
                  <a:pt x="808290" y="2684065"/>
                  <a:pt x="804986" y="2680967"/>
                </a:cubicBezTo>
                <a:cubicBezTo>
                  <a:pt x="807257" y="2680503"/>
                  <a:pt x="810407" y="2679999"/>
                  <a:pt x="813233" y="2680580"/>
                </a:cubicBezTo>
                <a:close/>
                <a:moveTo>
                  <a:pt x="909184" y="2680232"/>
                </a:moveTo>
                <a:cubicBezTo>
                  <a:pt x="910849" y="2679341"/>
                  <a:pt x="912682" y="2679109"/>
                  <a:pt x="913921" y="2680348"/>
                </a:cubicBezTo>
                <a:cubicBezTo>
                  <a:pt x="915573" y="2682671"/>
                  <a:pt x="909894" y="2691345"/>
                  <a:pt x="905764" y="2686543"/>
                </a:cubicBezTo>
                <a:cubicBezTo>
                  <a:pt x="905144" y="2685924"/>
                  <a:pt x="905041" y="2684995"/>
                  <a:pt x="905454" y="2684065"/>
                </a:cubicBezTo>
                <a:cubicBezTo>
                  <a:pt x="906022" y="2682671"/>
                  <a:pt x="907519" y="2681122"/>
                  <a:pt x="909184" y="2680232"/>
                </a:cubicBezTo>
                <a:close/>
                <a:moveTo>
                  <a:pt x="934160" y="2678954"/>
                </a:moveTo>
                <a:cubicBezTo>
                  <a:pt x="936121" y="2678644"/>
                  <a:pt x="936534" y="2679263"/>
                  <a:pt x="936224" y="2680348"/>
                </a:cubicBezTo>
                <a:cubicBezTo>
                  <a:pt x="936224" y="2680348"/>
                  <a:pt x="935915" y="2681587"/>
                  <a:pt x="935605" y="2682826"/>
                </a:cubicBezTo>
                <a:cubicBezTo>
                  <a:pt x="935295" y="2684065"/>
                  <a:pt x="935708" y="2684685"/>
                  <a:pt x="935708" y="2684685"/>
                </a:cubicBezTo>
                <a:cubicBezTo>
                  <a:pt x="935399" y="2685924"/>
                  <a:pt x="934675" y="2686389"/>
                  <a:pt x="933436" y="2686234"/>
                </a:cubicBezTo>
                <a:cubicBezTo>
                  <a:pt x="933436" y="2686234"/>
                  <a:pt x="933333" y="2684375"/>
                  <a:pt x="933333" y="2684375"/>
                </a:cubicBezTo>
                <a:cubicBezTo>
                  <a:pt x="933953" y="2682052"/>
                  <a:pt x="934263" y="2680812"/>
                  <a:pt x="934160" y="2678954"/>
                </a:cubicBezTo>
                <a:close/>
                <a:moveTo>
                  <a:pt x="718767" y="2678334"/>
                </a:moveTo>
                <a:cubicBezTo>
                  <a:pt x="718973" y="2681277"/>
                  <a:pt x="717424" y="2682052"/>
                  <a:pt x="714224" y="2683755"/>
                </a:cubicBezTo>
                <a:cubicBezTo>
                  <a:pt x="714017" y="2681742"/>
                  <a:pt x="714224" y="2680503"/>
                  <a:pt x="715050" y="2679728"/>
                </a:cubicBezTo>
                <a:cubicBezTo>
                  <a:pt x="715772" y="2678954"/>
                  <a:pt x="717012" y="2678644"/>
                  <a:pt x="718767" y="2678334"/>
                </a:cubicBezTo>
                <a:close/>
                <a:moveTo>
                  <a:pt x="890688" y="2675701"/>
                </a:moveTo>
                <a:lnTo>
                  <a:pt x="891515" y="2676320"/>
                </a:lnTo>
                <a:lnTo>
                  <a:pt x="893889" y="2676320"/>
                </a:lnTo>
                <a:cubicBezTo>
                  <a:pt x="894819" y="2676940"/>
                  <a:pt x="895438" y="2677869"/>
                  <a:pt x="895232" y="2679573"/>
                </a:cubicBezTo>
                <a:cubicBezTo>
                  <a:pt x="894922" y="2681897"/>
                  <a:pt x="893580" y="2683136"/>
                  <a:pt x="891825" y="2683755"/>
                </a:cubicBezTo>
                <a:lnTo>
                  <a:pt x="887901" y="2684065"/>
                </a:lnTo>
                <a:lnTo>
                  <a:pt x="889036" y="2685459"/>
                </a:lnTo>
                <a:cubicBezTo>
                  <a:pt x="890172" y="2687473"/>
                  <a:pt x="888417" y="2688093"/>
                  <a:pt x="885629" y="2689487"/>
                </a:cubicBezTo>
                <a:cubicBezTo>
                  <a:pt x="884390" y="2688093"/>
                  <a:pt x="884080" y="2687008"/>
                  <a:pt x="884390" y="2685924"/>
                </a:cubicBezTo>
                <a:lnTo>
                  <a:pt x="885938" y="2684220"/>
                </a:lnTo>
                <a:lnTo>
                  <a:pt x="885319" y="2684375"/>
                </a:lnTo>
                <a:cubicBezTo>
                  <a:pt x="885009" y="2682516"/>
                  <a:pt x="883977" y="2681277"/>
                  <a:pt x="883667" y="2679418"/>
                </a:cubicBezTo>
                <a:lnTo>
                  <a:pt x="881396" y="2678179"/>
                </a:lnTo>
                <a:cubicBezTo>
                  <a:pt x="883151" y="2675082"/>
                  <a:pt x="887694" y="2674617"/>
                  <a:pt x="890688" y="2675701"/>
                </a:cubicBezTo>
                <a:close/>
                <a:moveTo>
                  <a:pt x="927551" y="2675546"/>
                </a:moveTo>
                <a:cubicBezTo>
                  <a:pt x="927241" y="2676630"/>
                  <a:pt x="928584" y="2678799"/>
                  <a:pt x="928790" y="2680657"/>
                </a:cubicBezTo>
                <a:cubicBezTo>
                  <a:pt x="928067" y="2681122"/>
                  <a:pt x="927861" y="2682361"/>
                  <a:pt x="927138" y="2682826"/>
                </a:cubicBezTo>
                <a:cubicBezTo>
                  <a:pt x="926725" y="2682052"/>
                  <a:pt x="924969" y="2681277"/>
                  <a:pt x="925692" y="2680812"/>
                </a:cubicBezTo>
                <a:cubicBezTo>
                  <a:pt x="925279" y="2680038"/>
                  <a:pt x="926725" y="2679108"/>
                  <a:pt x="926725" y="2679108"/>
                </a:cubicBezTo>
                <a:cubicBezTo>
                  <a:pt x="926208" y="2678334"/>
                  <a:pt x="925795" y="2677714"/>
                  <a:pt x="926105" y="2676475"/>
                </a:cubicBezTo>
                <a:cubicBezTo>
                  <a:pt x="927241" y="2676630"/>
                  <a:pt x="926828" y="2676010"/>
                  <a:pt x="927551" y="2675546"/>
                </a:cubicBezTo>
                <a:close/>
                <a:moveTo>
                  <a:pt x="1091419" y="2675082"/>
                </a:moveTo>
                <a:cubicBezTo>
                  <a:pt x="1092348" y="2674926"/>
                  <a:pt x="1093174" y="2674617"/>
                  <a:pt x="1093484" y="2675391"/>
                </a:cubicBezTo>
                <a:cubicBezTo>
                  <a:pt x="1093793" y="2676166"/>
                  <a:pt x="1092864" y="2676320"/>
                  <a:pt x="1091728" y="2675856"/>
                </a:cubicBezTo>
                <a:cubicBezTo>
                  <a:pt x="1091728" y="2675856"/>
                  <a:pt x="1091419" y="2675082"/>
                  <a:pt x="1091419" y="2675082"/>
                </a:cubicBezTo>
                <a:close/>
                <a:moveTo>
                  <a:pt x="1441457" y="2674926"/>
                </a:moveTo>
                <a:cubicBezTo>
                  <a:pt x="1443419" y="2675082"/>
                  <a:pt x="1444865" y="2673687"/>
                  <a:pt x="1447136" y="2675546"/>
                </a:cubicBezTo>
                <a:cubicBezTo>
                  <a:pt x="1445897" y="2677714"/>
                  <a:pt x="1444452" y="2679108"/>
                  <a:pt x="1443212" y="2681122"/>
                </a:cubicBezTo>
                <a:cubicBezTo>
                  <a:pt x="1441354" y="2680967"/>
                  <a:pt x="1440631" y="2680038"/>
                  <a:pt x="1440528" y="2678954"/>
                </a:cubicBezTo>
                <a:cubicBezTo>
                  <a:pt x="1440425" y="2677714"/>
                  <a:pt x="1441044" y="2676320"/>
                  <a:pt x="1441457" y="2674926"/>
                </a:cubicBezTo>
                <a:close/>
                <a:moveTo>
                  <a:pt x="1171132" y="2674926"/>
                </a:moveTo>
                <a:cubicBezTo>
                  <a:pt x="1174333" y="2675391"/>
                  <a:pt x="1177018" y="2677405"/>
                  <a:pt x="1178773" y="2680193"/>
                </a:cubicBezTo>
                <a:lnTo>
                  <a:pt x="1180219" y="2683911"/>
                </a:lnTo>
                <a:lnTo>
                  <a:pt x="1180529" y="2682361"/>
                </a:lnTo>
                <a:cubicBezTo>
                  <a:pt x="1180838" y="2680967"/>
                  <a:pt x="1181251" y="2679883"/>
                  <a:pt x="1181768" y="2680193"/>
                </a:cubicBezTo>
                <a:cubicBezTo>
                  <a:pt x="1181768" y="2680193"/>
                  <a:pt x="1181458" y="2681277"/>
                  <a:pt x="1181045" y="2682361"/>
                </a:cubicBezTo>
                <a:cubicBezTo>
                  <a:pt x="1180632" y="2683601"/>
                  <a:pt x="1180632" y="2683601"/>
                  <a:pt x="1181768" y="2684065"/>
                </a:cubicBezTo>
                <a:cubicBezTo>
                  <a:pt x="1181664" y="2684530"/>
                  <a:pt x="1181561" y="2684840"/>
                  <a:pt x="1181251" y="2684995"/>
                </a:cubicBezTo>
                <a:lnTo>
                  <a:pt x="1180735" y="2685304"/>
                </a:lnTo>
                <a:lnTo>
                  <a:pt x="1180735" y="2690416"/>
                </a:lnTo>
                <a:lnTo>
                  <a:pt x="1179393" y="2695682"/>
                </a:lnTo>
                <a:lnTo>
                  <a:pt x="1178876" y="2697696"/>
                </a:lnTo>
                <a:lnTo>
                  <a:pt x="1175572" y="2703273"/>
                </a:lnTo>
                <a:lnTo>
                  <a:pt x="1175985" y="2702963"/>
                </a:lnTo>
                <a:cubicBezTo>
                  <a:pt x="1177947" y="2702188"/>
                  <a:pt x="1180425" y="2703118"/>
                  <a:pt x="1181974" y="2704977"/>
                </a:cubicBezTo>
                <a:lnTo>
                  <a:pt x="1182387" y="2706680"/>
                </a:lnTo>
                <a:lnTo>
                  <a:pt x="1184659" y="2705441"/>
                </a:lnTo>
                <a:lnTo>
                  <a:pt x="1184762" y="2705441"/>
                </a:lnTo>
                <a:lnTo>
                  <a:pt x="1185382" y="2698316"/>
                </a:lnTo>
                <a:lnTo>
                  <a:pt x="1186518" y="2696612"/>
                </a:lnTo>
                <a:lnTo>
                  <a:pt x="1186414" y="2694753"/>
                </a:lnTo>
                <a:cubicBezTo>
                  <a:pt x="1187137" y="2694598"/>
                  <a:pt x="1187137" y="2694598"/>
                  <a:pt x="1187447" y="2695373"/>
                </a:cubicBezTo>
                <a:cubicBezTo>
                  <a:pt x="1187550" y="2695218"/>
                  <a:pt x="1187550" y="2695218"/>
                  <a:pt x="1187550" y="2695063"/>
                </a:cubicBezTo>
                <a:lnTo>
                  <a:pt x="1187860" y="2695528"/>
                </a:lnTo>
                <a:lnTo>
                  <a:pt x="1188273" y="2695218"/>
                </a:lnTo>
                <a:cubicBezTo>
                  <a:pt x="1188892" y="2694908"/>
                  <a:pt x="1189512" y="2694753"/>
                  <a:pt x="1190338" y="2695063"/>
                </a:cubicBezTo>
                <a:cubicBezTo>
                  <a:pt x="1191164" y="2694753"/>
                  <a:pt x="1192403" y="2697851"/>
                  <a:pt x="1191990" y="2698935"/>
                </a:cubicBezTo>
                <a:cubicBezTo>
                  <a:pt x="1190958" y="2700949"/>
                  <a:pt x="1190544" y="2702033"/>
                  <a:pt x="1188892" y="2702498"/>
                </a:cubicBezTo>
                <a:cubicBezTo>
                  <a:pt x="1188479" y="2703582"/>
                  <a:pt x="1187963" y="2704667"/>
                  <a:pt x="1187343" y="2705286"/>
                </a:cubicBezTo>
                <a:lnTo>
                  <a:pt x="1185278" y="2705441"/>
                </a:lnTo>
                <a:lnTo>
                  <a:pt x="1186724" y="2705596"/>
                </a:lnTo>
                <a:cubicBezTo>
                  <a:pt x="1187343" y="2705751"/>
                  <a:pt x="1187963" y="2706215"/>
                  <a:pt x="1188066" y="2706680"/>
                </a:cubicBezTo>
                <a:cubicBezTo>
                  <a:pt x="1187653" y="2707455"/>
                  <a:pt x="1188376" y="2707919"/>
                  <a:pt x="1187963" y="2708539"/>
                </a:cubicBezTo>
                <a:cubicBezTo>
                  <a:pt x="1187860" y="2710397"/>
                  <a:pt x="1187343" y="2711172"/>
                  <a:pt x="1186207" y="2711327"/>
                </a:cubicBezTo>
                <a:cubicBezTo>
                  <a:pt x="1185795" y="2711946"/>
                  <a:pt x="1184968" y="2711637"/>
                  <a:pt x="1183833" y="2711792"/>
                </a:cubicBezTo>
                <a:lnTo>
                  <a:pt x="1183213" y="2711017"/>
                </a:lnTo>
                <a:lnTo>
                  <a:pt x="1182284" y="2711637"/>
                </a:lnTo>
                <a:cubicBezTo>
                  <a:pt x="1180735" y="2712566"/>
                  <a:pt x="1179186" y="2713341"/>
                  <a:pt x="1178567" y="2713031"/>
                </a:cubicBezTo>
                <a:lnTo>
                  <a:pt x="1182077" y="2710243"/>
                </a:lnTo>
                <a:lnTo>
                  <a:pt x="1177740" y="2711327"/>
                </a:lnTo>
                <a:cubicBezTo>
                  <a:pt x="1175572" y="2711327"/>
                  <a:pt x="1173507" y="2710862"/>
                  <a:pt x="1172681" y="2709933"/>
                </a:cubicBezTo>
                <a:lnTo>
                  <a:pt x="1173404" y="2705906"/>
                </a:lnTo>
                <a:lnTo>
                  <a:pt x="1172991" y="2706215"/>
                </a:lnTo>
                <a:cubicBezTo>
                  <a:pt x="1164627" y="2704667"/>
                  <a:pt x="1163491" y="2697696"/>
                  <a:pt x="1163904" y="2691190"/>
                </a:cubicBezTo>
                <a:lnTo>
                  <a:pt x="1164214" y="2689022"/>
                </a:lnTo>
                <a:lnTo>
                  <a:pt x="1163388" y="2688557"/>
                </a:lnTo>
                <a:cubicBezTo>
                  <a:pt x="1162769" y="2688093"/>
                  <a:pt x="1162046" y="2687473"/>
                  <a:pt x="1161633" y="2687008"/>
                </a:cubicBezTo>
                <a:cubicBezTo>
                  <a:pt x="1160806" y="2687163"/>
                  <a:pt x="1159981" y="2686389"/>
                  <a:pt x="1160084" y="2685459"/>
                </a:cubicBezTo>
                <a:cubicBezTo>
                  <a:pt x="1160084" y="2685459"/>
                  <a:pt x="1159155" y="2684685"/>
                  <a:pt x="1158329" y="2684685"/>
                </a:cubicBezTo>
                <a:cubicBezTo>
                  <a:pt x="1156676" y="2683136"/>
                  <a:pt x="1156780" y="2682361"/>
                  <a:pt x="1156780" y="2681587"/>
                </a:cubicBezTo>
                <a:cubicBezTo>
                  <a:pt x="1156780" y="2681587"/>
                  <a:pt x="1157606" y="2682361"/>
                  <a:pt x="1158432" y="2682361"/>
                </a:cubicBezTo>
                <a:cubicBezTo>
                  <a:pt x="1158432" y="2682361"/>
                  <a:pt x="1159361" y="2682981"/>
                  <a:pt x="1160084" y="2683911"/>
                </a:cubicBezTo>
                <a:cubicBezTo>
                  <a:pt x="1160084" y="2683911"/>
                  <a:pt x="1160910" y="2683755"/>
                  <a:pt x="1161839" y="2683755"/>
                </a:cubicBezTo>
                <a:lnTo>
                  <a:pt x="1164627" y="2685769"/>
                </a:lnTo>
                <a:lnTo>
                  <a:pt x="1164730" y="2685150"/>
                </a:lnTo>
                <a:cubicBezTo>
                  <a:pt x="1165247" y="2681277"/>
                  <a:pt x="1166176" y="2677095"/>
                  <a:pt x="1168448" y="2675546"/>
                </a:cubicBezTo>
                <a:cubicBezTo>
                  <a:pt x="1169170" y="2675082"/>
                  <a:pt x="1170100" y="2674772"/>
                  <a:pt x="1171132" y="2674926"/>
                </a:cubicBezTo>
                <a:close/>
                <a:moveTo>
                  <a:pt x="829870" y="2674849"/>
                </a:moveTo>
                <a:cubicBezTo>
                  <a:pt x="831884" y="2674191"/>
                  <a:pt x="834001" y="2673997"/>
                  <a:pt x="835962" y="2675082"/>
                </a:cubicBezTo>
                <a:lnTo>
                  <a:pt x="837305" y="2676630"/>
                </a:lnTo>
                <a:lnTo>
                  <a:pt x="840403" y="2676320"/>
                </a:lnTo>
                <a:cubicBezTo>
                  <a:pt x="842055" y="2676475"/>
                  <a:pt x="843603" y="2676785"/>
                  <a:pt x="844636" y="2677250"/>
                </a:cubicBezTo>
                <a:cubicBezTo>
                  <a:pt x="845978" y="2680812"/>
                  <a:pt x="845669" y="2683601"/>
                  <a:pt x="844327" y="2685615"/>
                </a:cubicBezTo>
                <a:cubicBezTo>
                  <a:pt x="843397" y="2687163"/>
                  <a:pt x="841952" y="2688247"/>
                  <a:pt x="840196" y="2688867"/>
                </a:cubicBezTo>
                <a:lnTo>
                  <a:pt x="838544" y="2689022"/>
                </a:lnTo>
                <a:lnTo>
                  <a:pt x="838544" y="2689177"/>
                </a:lnTo>
                <a:cubicBezTo>
                  <a:pt x="839267" y="2692120"/>
                  <a:pt x="837511" y="2696147"/>
                  <a:pt x="832865" y="2697696"/>
                </a:cubicBezTo>
                <a:cubicBezTo>
                  <a:pt x="829664" y="2696147"/>
                  <a:pt x="828218" y="2693978"/>
                  <a:pt x="826979" y="2692739"/>
                </a:cubicBezTo>
                <a:lnTo>
                  <a:pt x="829561" y="2687318"/>
                </a:lnTo>
                <a:lnTo>
                  <a:pt x="828218" y="2684995"/>
                </a:lnTo>
                <a:lnTo>
                  <a:pt x="824604" y="2682516"/>
                </a:lnTo>
                <a:cubicBezTo>
                  <a:pt x="826669" y="2681587"/>
                  <a:pt x="825534" y="2679418"/>
                  <a:pt x="824398" y="2677405"/>
                </a:cubicBezTo>
                <a:cubicBezTo>
                  <a:pt x="825947" y="2676630"/>
                  <a:pt x="827857" y="2675507"/>
                  <a:pt x="829870" y="2674849"/>
                </a:cubicBezTo>
                <a:close/>
                <a:moveTo>
                  <a:pt x="1086049" y="2674617"/>
                </a:moveTo>
                <a:cubicBezTo>
                  <a:pt x="1088837" y="2674772"/>
                  <a:pt x="1088837" y="2674772"/>
                  <a:pt x="1091109" y="2676010"/>
                </a:cubicBezTo>
                <a:cubicBezTo>
                  <a:pt x="1090283" y="2676166"/>
                  <a:pt x="1088837" y="2677405"/>
                  <a:pt x="1087701" y="2676785"/>
                </a:cubicBezTo>
                <a:cubicBezTo>
                  <a:pt x="1086565" y="2676166"/>
                  <a:pt x="1086565" y="2676166"/>
                  <a:pt x="1086049" y="2674617"/>
                </a:cubicBezTo>
                <a:close/>
                <a:moveTo>
                  <a:pt x="870863" y="2674462"/>
                </a:moveTo>
                <a:cubicBezTo>
                  <a:pt x="873548" y="2673222"/>
                  <a:pt x="881912" y="2679728"/>
                  <a:pt x="876336" y="2682981"/>
                </a:cubicBezTo>
                <a:cubicBezTo>
                  <a:pt x="875613" y="2683446"/>
                  <a:pt x="874684" y="2683446"/>
                  <a:pt x="873755" y="2682981"/>
                </a:cubicBezTo>
                <a:cubicBezTo>
                  <a:pt x="871586" y="2681897"/>
                  <a:pt x="869521" y="2678799"/>
                  <a:pt x="869727" y="2676475"/>
                </a:cubicBezTo>
                <a:cubicBezTo>
                  <a:pt x="869830" y="2675701"/>
                  <a:pt x="870140" y="2674926"/>
                  <a:pt x="870863" y="2674462"/>
                </a:cubicBezTo>
                <a:close/>
                <a:moveTo>
                  <a:pt x="1095652" y="2673997"/>
                </a:moveTo>
                <a:cubicBezTo>
                  <a:pt x="1096788" y="2674462"/>
                  <a:pt x="1096788" y="2674462"/>
                  <a:pt x="1097717" y="2674307"/>
                </a:cubicBezTo>
                <a:cubicBezTo>
                  <a:pt x="1097717" y="2674307"/>
                  <a:pt x="1096994" y="2675236"/>
                  <a:pt x="1096994" y="2675236"/>
                </a:cubicBezTo>
                <a:cubicBezTo>
                  <a:pt x="1095859" y="2674772"/>
                  <a:pt x="1096168" y="2675546"/>
                  <a:pt x="1095652" y="2673997"/>
                </a:cubicBezTo>
                <a:close/>
                <a:moveTo>
                  <a:pt x="1207892" y="2673222"/>
                </a:moveTo>
                <a:cubicBezTo>
                  <a:pt x="1210267" y="2673378"/>
                  <a:pt x="1212744" y="2673687"/>
                  <a:pt x="1212641" y="2676010"/>
                </a:cubicBezTo>
                <a:cubicBezTo>
                  <a:pt x="1210783" y="2676475"/>
                  <a:pt x="1210783" y="2677560"/>
                  <a:pt x="1207788" y="2676630"/>
                </a:cubicBezTo>
                <a:cubicBezTo>
                  <a:pt x="1207788" y="2675391"/>
                  <a:pt x="1207788" y="2674307"/>
                  <a:pt x="1207892" y="2673222"/>
                </a:cubicBezTo>
                <a:close/>
                <a:moveTo>
                  <a:pt x="765955" y="2672293"/>
                </a:moveTo>
                <a:cubicBezTo>
                  <a:pt x="773389" y="2667801"/>
                  <a:pt x="780514" y="2676320"/>
                  <a:pt x="777829" y="2681277"/>
                </a:cubicBezTo>
                <a:cubicBezTo>
                  <a:pt x="777003" y="2682981"/>
                  <a:pt x="775041" y="2684220"/>
                  <a:pt x="771634" y="2684530"/>
                </a:cubicBezTo>
                <a:cubicBezTo>
                  <a:pt x="769569" y="2678799"/>
                  <a:pt x="765335" y="2677405"/>
                  <a:pt x="765955" y="2672293"/>
                </a:cubicBezTo>
                <a:close/>
                <a:moveTo>
                  <a:pt x="1125080" y="2671674"/>
                </a:moveTo>
                <a:cubicBezTo>
                  <a:pt x="1123737" y="2672913"/>
                  <a:pt x="1120846" y="2674462"/>
                  <a:pt x="1118678" y="2673378"/>
                </a:cubicBezTo>
                <a:cubicBezTo>
                  <a:pt x="1118678" y="2673378"/>
                  <a:pt x="1118678" y="2673378"/>
                  <a:pt x="1117646" y="2672758"/>
                </a:cubicBezTo>
                <a:cubicBezTo>
                  <a:pt x="1120021" y="2672138"/>
                  <a:pt x="1123118" y="2671364"/>
                  <a:pt x="1125080" y="2671674"/>
                </a:cubicBezTo>
                <a:close/>
                <a:moveTo>
                  <a:pt x="743962" y="2669970"/>
                </a:moveTo>
                <a:cubicBezTo>
                  <a:pt x="745097" y="2670125"/>
                  <a:pt x="745717" y="2669815"/>
                  <a:pt x="745510" y="2670899"/>
                </a:cubicBezTo>
                <a:cubicBezTo>
                  <a:pt x="745200" y="2671983"/>
                  <a:pt x="745200" y="2671983"/>
                  <a:pt x="743032" y="2673378"/>
                </a:cubicBezTo>
                <a:cubicBezTo>
                  <a:pt x="743342" y="2672293"/>
                  <a:pt x="743342" y="2672293"/>
                  <a:pt x="742206" y="2672138"/>
                </a:cubicBezTo>
                <a:cubicBezTo>
                  <a:pt x="742206" y="2672138"/>
                  <a:pt x="742103" y="2672138"/>
                  <a:pt x="741380" y="2672603"/>
                </a:cubicBezTo>
                <a:cubicBezTo>
                  <a:pt x="740967" y="2671983"/>
                  <a:pt x="741793" y="2671518"/>
                  <a:pt x="741380" y="2670899"/>
                </a:cubicBezTo>
                <a:cubicBezTo>
                  <a:pt x="741380" y="2670899"/>
                  <a:pt x="741999" y="2670279"/>
                  <a:pt x="741999" y="2670279"/>
                </a:cubicBezTo>
                <a:cubicBezTo>
                  <a:pt x="741793" y="2669970"/>
                  <a:pt x="741793" y="2670125"/>
                  <a:pt x="742103" y="2670125"/>
                </a:cubicBezTo>
                <a:cubicBezTo>
                  <a:pt x="742413" y="2670125"/>
                  <a:pt x="743032" y="2670125"/>
                  <a:pt x="743962" y="2669970"/>
                </a:cubicBezTo>
                <a:close/>
                <a:moveTo>
                  <a:pt x="1149965" y="2669350"/>
                </a:moveTo>
                <a:cubicBezTo>
                  <a:pt x="1149965" y="2669350"/>
                  <a:pt x="1149655" y="2670279"/>
                  <a:pt x="1149965" y="2671054"/>
                </a:cubicBezTo>
                <a:cubicBezTo>
                  <a:pt x="1149965" y="2671054"/>
                  <a:pt x="1149655" y="2672293"/>
                  <a:pt x="1149345" y="2673378"/>
                </a:cubicBezTo>
                <a:cubicBezTo>
                  <a:pt x="1149345" y="2673378"/>
                  <a:pt x="1149655" y="2673997"/>
                  <a:pt x="1149965" y="2674772"/>
                </a:cubicBezTo>
                <a:cubicBezTo>
                  <a:pt x="1149655" y="2677714"/>
                  <a:pt x="1149655" y="2679573"/>
                  <a:pt x="1146248" y="2680038"/>
                </a:cubicBezTo>
                <a:cubicBezTo>
                  <a:pt x="1145834" y="2679263"/>
                  <a:pt x="1146557" y="2677095"/>
                  <a:pt x="1146970" y="2676010"/>
                </a:cubicBezTo>
                <a:cubicBezTo>
                  <a:pt x="1146557" y="2675236"/>
                  <a:pt x="1146970" y="2674152"/>
                  <a:pt x="1147796" y="2673842"/>
                </a:cubicBezTo>
                <a:cubicBezTo>
                  <a:pt x="1147796" y="2673842"/>
                  <a:pt x="1148106" y="2672758"/>
                  <a:pt x="1147796" y="2671983"/>
                </a:cubicBezTo>
                <a:cubicBezTo>
                  <a:pt x="1148519" y="2669815"/>
                  <a:pt x="1149242" y="2669660"/>
                  <a:pt x="1149965" y="2669350"/>
                </a:cubicBezTo>
                <a:close/>
                <a:moveTo>
                  <a:pt x="968234" y="2667027"/>
                </a:moveTo>
                <a:cubicBezTo>
                  <a:pt x="968234" y="2667027"/>
                  <a:pt x="968234" y="2667027"/>
                  <a:pt x="969473" y="2667182"/>
                </a:cubicBezTo>
                <a:cubicBezTo>
                  <a:pt x="967924" y="2668266"/>
                  <a:pt x="968957" y="2671364"/>
                  <a:pt x="966582" y="2671054"/>
                </a:cubicBezTo>
                <a:cubicBezTo>
                  <a:pt x="966891" y="2669815"/>
                  <a:pt x="967924" y="2668111"/>
                  <a:pt x="968234" y="2667027"/>
                </a:cubicBezTo>
                <a:close/>
                <a:moveTo>
                  <a:pt x="629863" y="2667027"/>
                </a:moveTo>
                <a:cubicBezTo>
                  <a:pt x="632341" y="2668575"/>
                  <a:pt x="631515" y="2670125"/>
                  <a:pt x="633167" y="2670899"/>
                </a:cubicBezTo>
                <a:cubicBezTo>
                  <a:pt x="630380" y="2674307"/>
                  <a:pt x="627901" y="2674462"/>
                  <a:pt x="624597" y="2672913"/>
                </a:cubicBezTo>
                <a:cubicBezTo>
                  <a:pt x="624700" y="2670434"/>
                  <a:pt x="627385" y="2667182"/>
                  <a:pt x="629863" y="2667027"/>
                </a:cubicBezTo>
                <a:close/>
                <a:moveTo>
                  <a:pt x="1416675" y="2666872"/>
                </a:moveTo>
                <a:cubicBezTo>
                  <a:pt x="1419670" y="2665013"/>
                  <a:pt x="1422768" y="2666252"/>
                  <a:pt x="1424627" y="2668730"/>
                </a:cubicBezTo>
                <a:cubicBezTo>
                  <a:pt x="1426588" y="2671054"/>
                  <a:pt x="1427414" y="2674617"/>
                  <a:pt x="1426175" y="2677095"/>
                </a:cubicBezTo>
                <a:cubicBezTo>
                  <a:pt x="1419567" y="2676010"/>
                  <a:pt x="1415643" y="2673997"/>
                  <a:pt x="1416675" y="2666872"/>
                </a:cubicBezTo>
                <a:close/>
                <a:moveTo>
                  <a:pt x="5014297" y="2666403"/>
                </a:moveTo>
                <a:cubicBezTo>
                  <a:pt x="5017285" y="2666688"/>
                  <a:pt x="5019846" y="2667826"/>
                  <a:pt x="5020913" y="2671383"/>
                </a:cubicBezTo>
                <a:cubicBezTo>
                  <a:pt x="5016645" y="2679065"/>
                  <a:pt x="5005760" y="2679350"/>
                  <a:pt x="5003626" y="2668395"/>
                </a:cubicBezTo>
                <a:cubicBezTo>
                  <a:pt x="5007467" y="2667399"/>
                  <a:pt x="5011096" y="2666261"/>
                  <a:pt x="5014297" y="2666403"/>
                </a:cubicBezTo>
                <a:close/>
                <a:moveTo>
                  <a:pt x="937360" y="2664239"/>
                </a:moveTo>
                <a:cubicBezTo>
                  <a:pt x="939322" y="2663929"/>
                  <a:pt x="939528" y="2665787"/>
                  <a:pt x="938909" y="2668111"/>
                </a:cubicBezTo>
                <a:cubicBezTo>
                  <a:pt x="938909" y="2673068"/>
                  <a:pt x="937154" y="2675236"/>
                  <a:pt x="933540" y="2674617"/>
                </a:cubicBezTo>
                <a:cubicBezTo>
                  <a:pt x="933127" y="2673997"/>
                  <a:pt x="932507" y="2671364"/>
                  <a:pt x="931785" y="2671829"/>
                </a:cubicBezTo>
                <a:cubicBezTo>
                  <a:pt x="932404" y="2669195"/>
                  <a:pt x="933436" y="2666407"/>
                  <a:pt x="935295" y="2665013"/>
                </a:cubicBezTo>
                <a:cubicBezTo>
                  <a:pt x="935915" y="2664549"/>
                  <a:pt x="936637" y="2664239"/>
                  <a:pt x="937360" y="2664239"/>
                </a:cubicBezTo>
                <a:close/>
                <a:moveTo>
                  <a:pt x="897400" y="2664084"/>
                </a:moveTo>
                <a:cubicBezTo>
                  <a:pt x="898433" y="2665632"/>
                  <a:pt x="900291" y="2667956"/>
                  <a:pt x="897813" y="2671829"/>
                </a:cubicBezTo>
                <a:cubicBezTo>
                  <a:pt x="896987" y="2672758"/>
                  <a:pt x="897090" y="2672758"/>
                  <a:pt x="896161" y="2672913"/>
                </a:cubicBezTo>
                <a:cubicBezTo>
                  <a:pt x="894509" y="2673997"/>
                  <a:pt x="893683" y="2674926"/>
                  <a:pt x="891825" y="2674307"/>
                </a:cubicBezTo>
                <a:cubicBezTo>
                  <a:pt x="890482" y="2673687"/>
                  <a:pt x="889965" y="2672913"/>
                  <a:pt x="890069" y="2671829"/>
                </a:cubicBezTo>
                <a:cubicBezTo>
                  <a:pt x="890069" y="2670899"/>
                  <a:pt x="890688" y="2669815"/>
                  <a:pt x="891515" y="2668421"/>
                </a:cubicBezTo>
                <a:cubicBezTo>
                  <a:pt x="893063" y="2665478"/>
                  <a:pt x="895748" y="2666097"/>
                  <a:pt x="897400" y="2664084"/>
                </a:cubicBezTo>
                <a:close/>
                <a:moveTo>
                  <a:pt x="882635" y="2662844"/>
                </a:moveTo>
                <a:cubicBezTo>
                  <a:pt x="885732" y="2662689"/>
                  <a:pt x="888520" y="2663619"/>
                  <a:pt x="887591" y="2667182"/>
                </a:cubicBezTo>
                <a:cubicBezTo>
                  <a:pt x="887281" y="2668266"/>
                  <a:pt x="886971" y="2669505"/>
                  <a:pt x="886558" y="2668730"/>
                </a:cubicBezTo>
                <a:cubicBezTo>
                  <a:pt x="885835" y="2669350"/>
                  <a:pt x="885319" y="2668575"/>
                  <a:pt x="884184" y="2668421"/>
                </a:cubicBezTo>
                <a:cubicBezTo>
                  <a:pt x="882531" y="2667646"/>
                  <a:pt x="881189" y="2665632"/>
                  <a:pt x="881499" y="2664549"/>
                </a:cubicBezTo>
                <a:cubicBezTo>
                  <a:pt x="881808" y="2663309"/>
                  <a:pt x="882635" y="2662844"/>
                  <a:pt x="882635" y="2662844"/>
                </a:cubicBezTo>
                <a:close/>
                <a:moveTo>
                  <a:pt x="1037003" y="2662380"/>
                </a:moveTo>
                <a:cubicBezTo>
                  <a:pt x="1038242" y="2662380"/>
                  <a:pt x="1039481" y="2662689"/>
                  <a:pt x="1040306" y="2663619"/>
                </a:cubicBezTo>
                <a:cubicBezTo>
                  <a:pt x="1040306" y="2663619"/>
                  <a:pt x="1040306" y="2663619"/>
                  <a:pt x="1041133" y="2664549"/>
                </a:cubicBezTo>
                <a:cubicBezTo>
                  <a:pt x="1039894" y="2664393"/>
                  <a:pt x="1038448" y="2664239"/>
                  <a:pt x="1037003" y="2664084"/>
                </a:cubicBezTo>
                <a:lnTo>
                  <a:pt x="1033905" y="2662999"/>
                </a:lnTo>
                <a:close/>
                <a:moveTo>
                  <a:pt x="1411616" y="2662070"/>
                </a:moveTo>
                <a:cubicBezTo>
                  <a:pt x="1414714" y="2664084"/>
                  <a:pt x="1414920" y="2666717"/>
                  <a:pt x="1411823" y="2668886"/>
                </a:cubicBezTo>
                <a:cubicBezTo>
                  <a:pt x="1410480" y="2667027"/>
                  <a:pt x="1408622" y="2667646"/>
                  <a:pt x="1407279" y="2665787"/>
                </a:cubicBezTo>
                <a:cubicBezTo>
                  <a:pt x="1409344" y="2664393"/>
                  <a:pt x="1410583" y="2662689"/>
                  <a:pt x="1411616" y="2662070"/>
                </a:cubicBezTo>
                <a:close/>
                <a:moveTo>
                  <a:pt x="1130243" y="2661760"/>
                </a:moveTo>
                <a:cubicBezTo>
                  <a:pt x="1130243" y="2662689"/>
                  <a:pt x="1131172" y="2663309"/>
                  <a:pt x="1132101" y="2663309"/>
                </a:cubicBezTo>
                <a:cubicBezTo>
                  <a:pt x="1133031" y="2663929"/>
                  <a:pt x="1133960" y="2664703"/>
                  <a:pt x="1133857" y="2663774"/>
                </a:cubicBezTo>
                <a:cubicBezTo>
                  <a:pt x="1136645" y="2665943"/>
                  <a:pt x="1137471" y="2665787"/>
                  <a:pt x="1136748" y="2668421"/>
                </a:cubicBezTo>
                <a:cubicBezTo>
                  <a:pt x="1129727" y="2668575"/>
                  <a:pt x="1121673" y="2666407"/>
                  <a:pt x="1119917" y="2665787"/>
                </a:cubicBezTo>
                <a:cubicBezTo>
                  <a:pt x="1118988" y="2665478"/>
                  <a:pt x="1118472" y="2665168"/>
                  <a:pt x="1118368" y="2664703"/>
                </a:cubicBezTo>
                <a:cubicBezTo>
                  <a:pt x="1118162" y="2664239"/>
                  <a:pt x="1118368" y="2663464"/>
                  <a:pt x="1118781" y="2662535"/>
                </a:cubicBezTo>
                <a:cubicBezTo>
                  <a:pt x="1122086" y="2659592"/>
                  <a:pt x="1125803" y="2661605"/>
                  <a:pt x="1130243" y="2661760"/>
                </a:cubicBezTo>
                <a:close/>
                <a:moveTo>
                  <a:pt x="825947" y="2661605"/>
                </a:moveTo>
                <a:cubicBezTo>
                  <a:pt x="830284" y="2660676"/>
                  <a:pt x="836066" y="2665478"/>
                  <a:pt x="835033" y="2668730"/>
                </a:cubicBezTo>
                <a:cubicBezTo>
                  <a:pt x="828218" y="2678489"/>
                  <a:pt x="820474" y="2675082"/>
                  <a:pt x="821610" y="2668730"/>
                </a:cubicBezTo>
                <a:cubicBezTo>
                  <a:pt x="821920" y="2666562"/>
                  <a:pt x="823262" y="2664084"/>
                  <a:pt x="825947" y="2661605"/>
                </a:cubicBezTo>
                <a:close/>
                <a:moveTo>
                  <a:pt x="1222967" y="2660985"/>
                </a:moveTo>
                <a:lnTo>
                  <a:pt x="1222760" y="2661760"/>
                </a:lnTo>
                <a:lnTo>
                  <a:pt x="1222554" y="2662380"/>
                </a:lnTo>
                <a:lnTo>
                  <a:pt x="1224206" y="2662535"/>
                </a:lnTo>
                <a:lnTo>
                  <a:pt x="1223690" y="2661141"/>
                </a:lnTo>
                <a:close/>
                <a:moveTo>
                  <a:pt x="951403" y="2660056"/>
                </a:moveTo>
                <a:cubicBezTo>
                  <a:pt x="951403" y="2660056"/>
                  <a:pt x="951403" y="2660056"/>
                  <a:pt x="957701" y="2661760"/>
                </a:cubicBezTo>
                <a:cubicBezTo>
                  <a:pt x="957495" y="2662380"/>
                  <a:pt x="957082" y="2662535"/>
                  <a:pt x="956566" y="2662380"/>
                </a:cubicBezTo>
                <a:cubicBezTo>
                  <a:pt x="956050" y="2662380"/>
                  <a:pt x="955430" y="2662070"/>
                  <a:pt x="954914" y="2661760"/>
                </a:cubicBezTo>
                <a:cubicBezTo>
                  <a:pt x="953778" y="2661296"/>
                  <a:pt x="952539" y="2660676"/>
                  <a:pt x="951403" y="2660056"/>
                </a:cubicBezTo>
                <a:close/>
                <a:moveTo>
                  <a:pt x="785677" y="2659746"/>
                </a:moveTo>
                <a:lnTo>
                  <a:pt x="788671" y="2660831"/>
                </a:lnTo>
                <a:lnTo>
                  <a:pt x="788981" y="2660211"/>
                </a:lnTo>
                <a:cubicBezTo>
                  <a:pt x="790633" y="2662225"/>
                  <a:pt x="792492" y="2661605"/>
                  <a:pt x="794041" y="2663464"/>
                </a:cubicBezTo>
                <a:lnTo>
                  <a:pt x="791666" y="2665787"/>
                </a:lnTo>
                <a:lnTo>
                  <a:pt x="792079" y="2667491"/>
                </a:lnTo>
                <a:lnTo>
                  <a:pt x="798171" y="2668111"/>
                </a:lnTo>
                <a:lnTo>
                  <a:pt x="801682" y="2669350"/>
                </a:lnTo>
                <a:lnTo>
                  <a:pt x="801785" y="2668575"/>
                </a:lnTo>
                <a:cubicBezTo>
                  <a:pt x="803953" y="2666872"/>
                  <a:pt x="807051" y="2666407"/>
                  <a:pt x="809942" y="2667182"/>
                </a:cubicBezTo>
                <a:cubicBezTo>
                  <a:pt x="809529" y="2669505"/>
                  <a:pt x="808600" y="2671209"/>
                  <a:pt x="807257" y="2672603"/>
                </a:cubicBezTo>
                <a:lnTo>
                  <a:pt x="804676" y="2673997"/>
                </a:lnTo>
                <a:lnTo>
                  <a:pt x="807051" y="2674307"/>
                </a:lnTo>
                <a:lnTo>
                  <a:pt x="807980" y="2671364"/>
                </a:lnTo>
                <a:cubicBezTo>
                  <a:pt x="808909" y="2669350"/>
                  <a:pt x="810045" y="2667336"/>
                  <a:pt x="810975" y="2665632"/>
                </a:cubicBezTo>
                <a:cubicBezTo>
                  <a:pt x="812627" y="2668886"/>
                  <a:pt x="810665" y="2672293"/>
                  <a:pt x="816654" y="2675391"/>
                </a:cubicBezTo>
                <a:lnTo>
                  <a:pt x="813040" y="2676785"/>
                </a:lnTo>
                <a:lnTo>
                  <a:pt x="813453" y="2677095"/>
                </a:lnTo>
                <a:cubicBezTo>
                  <a:pt x="806534" y="2683136"/>
                  <a:pt x="795176" y="2680967"/>
                  <a:pt x="790220" y="2678179"/>
                </a:cubicBezTo>
                <a:cubicBezTo>
                  <a:pt x="791872" y="2676630"/>
                  <a:pt x="793937" y="2675546"/>
                  <a:pt x="796209" y="2674772"/>
                </a:cubicBezTo>
                <a:lnTo>
                  <a:pt x="801475" y="2673997"/>
                </a:lnTo>
                <a:lnTo>
                  <a:pt x="801165" y="2672603"/>
                </a:lnTo>
                <a:lnTo>
                  <a:pt x="801268" y="2671983"/>
                </a:lnTo>
                <a:lnTo>
                  <a:pt x="798481" y="2673842"/>
                </a:lnTo>
                <a:cubicBezTo>
                  <a:pt x="792905" y="2676166"/>
                  <a:pt x="787226" y="2674462"/>
                  <a:pt x="781443" y="2672913"/>
                </a:cubicBezTo>
                <a:cubicBezTo>
                  <a:pt x="782373" y="2670899"/>
                  <a:pt x="783922" y="2669505"/>
                  <a:pt x="785677" y="2668730"/>
                </a:cubicBezTo>
                <a:lnTo>
                  <a:pt x="786503" y="2668421"/>
                </a:lnTo>
                <a:lnTo>
                  <a:pt x="785161" y="2668421"/>
                </a:lnTo>
                <a:cubicBezTo>
                  <a:pt x="777829" y="2668421"/>
                  <a:pt x="770601" y="2670899"/>
                  <a:pt x="765645" y="2666407"/>
                </a:cubicBezTo>
                <a:cubicBezTo>
                  <a:pt x="768743" y="2665632"/>
                  <a:pt x="772357" y="2663774"/>
                  <a:pt x="775867" y="2662225"/>
                </a:cubicBezTo>
                <a:cubicBezTo>
                  <a:pt x="779378" y="2660676"/>
                  <a:pt x="782786" y="2659437"/>
                  <a:pt x="785677" y="2659746"/>
                </a:cubicBezTo>
                <a:close/>
                <a:moveTo>
                  <a:pt x="497282" y="2658353"/>
                </a:moveTo>
                <a:cubicBezTo>
                  <a:pt x="498315" y="2659746"/>
                  <a:pt x="498624" y="2661450"/>
                  <a:pt x="497592" y="2664549"/>
                </a:cubicBezTo>
                <a:cubicBezTo>
                  <a:pt x="492946" y="2665943"/>
                  <a:pt x="492119" y="2663464"/>
                  <a:pt x="491294" y="2660985"/>
                </a:cubicBezTo>
                <a:cubicBezTo>
                  <a:pt x="494391" y="2660676"/>
                  <a:pt x="493771" y="2656958"/>
                  <a:pt x="497282" y="2658353"/>
                </a:cubicBezTo>
                <a:close/>
                <a:moveTo>
                  <a:pt x="891411" y="2657113"/>
                </a:moveTo>
                <a:cubicBezTo>
                  <a:pt x="892031" y="2657113"/>
                  <a:pt x="892960" y="2657268"/>
                  <a:pt x="893889" y="2657113"/>
                </a:cubicBezTo>
                <a:lnTo>
                  <a:pt x="892960" y="2660521"/>
                </a:lnTo>
                <a:cubicBezTo>
                  <a:pt x="891721" y="2660366"/>
                  <a:pt x="890069" y="2659592"/>
                  <a:pt x="890482" y="2658353"/>
                </a:cubicBezTo>
                <a:cubicBezTo>
                  <a:pt x="890379" y="2657578"/>
                  <a:pt x="890792" y="2657268"/>
                  <a:pt x="891411" y="2657113"/>
                </a:cubicBezTo>
                <a:close/>
                <a:moveTo>
                  <a:pt x="754906" y="2652466"/>
                </a:moveTo>
                <a:cubicBezTo>
                  <a:pt x="755939" y="2652311"/>
                  <a:pt x="756972" y="2652466"/>
                  <a:pt x="758417" y="2652931"/>
                </a:cubicBezTo>
                <a:cubicBezTo>
                  <a:pt x="755629" y="2654325"/>
                  <a:pt x="754700" y="2655099"/>
                  <a:pt x="752015" y="2654016"/>
                </a:cubicBezTo>
                <a:cubicBezTo>
                  <a:pt x="752945" y="2653241"/>
                  <a:pt x="753874" y="2652621"/>
                  <a:pt x="754906" y="2652466"/>
                </a:cubicBezTo>
                <a:close/>
                <a:moveTo>
                  <a:pt x="1051149" y="2652002"/>
                </a:moveTo>
                <a:cubicBezTo>
                  <a:pt x="1052078" y="2652621"/>
                  <a:pt x="1052078" y="2653551"/>
                  <a:pt x="1053007" y="2654170"/>
                </a:cubicBezTo>
                <a:cubicBezTo>
                  <a:pt x="1053936" y="2654170"/>
                  <a:pt x="1055589" y="2653861"/>
                  <a:pt x="1056518" y="2654480"/>
                </a:cubicBezTo>
                <a:lnTo>
                  <a:pt x="1056621" y="2654635"/>
                </a:lnTo>
                <a:cubicBezTo>
                  <a:pt x="1060235" y="2653706"/>
                  <a:pt x="1064778" y="2653086"/>
                  <a:pt x="1069425" y="2654790"/>
                </a:cubicBezTo>
                <a:cubicBezTo>
                  <a:pt x="1072523" y="2656029"/>
                  <a:pt x="1075620" y="2658197"/>
                  <a:pt x="1078408" y="2662070"/>
                </a:cubicBezTo>
                <a:cubicBezTo>
                  <a:pt x="1081402" y="2666562"/>
                  <a:pt x="1083881" y="2671674"/>
                  <a:pt x="1083571" y="2676630"/>
                </a:cubicBezTo>
                <a:lnTo>
                  <a:pt x="1082745" y="2679263"/>
                </a:lnTo>
                <a:lnTo>
                  <a:pt x="1087495" y="2678799"/>
                </a:lnTo>
                <a:cubicBezTo>
                  <a:pt x="1089560" y="2679108"/>
                  <a:pt x="1091522" y="2679883"/>
                  <a:pt x="1093070" y="2681587"/>
                </a:cubicBezTo>
                <a:cubicBezTo>
                  <a:pt x="1093587" y="2689177"/>
                  <a:pt x="1083055" y="2694598"/>
                  <a:pt x="1076963" y="2694908"/>
                </a:cubicBezTo>
                <a:cubicBezTo>
                  <a:pt x="1075414" y="2693669"/>
                  <a:pt x="1074381" y="2692430"/>
                  <a:pt x="1073762" y="2691190"/>
                </a:cubicBezTo>
                <a:lnTo>
                  <a:pt x="1073658" y="2690571"/>
                </a:lnTo>
                <a:lnTo>
                  <a:pt x="1073039" y="2690881"/>
                </a:lnTo>
                <a:cubicBezTo>
                  <a:pt x="1070458" y="2693514"/>
                  <a:pt x="1070974" y="2691965"/>
                  <a:pt x="1068909" y="2692894"/>
                </a:cubicBezTo>
                <a:cubicBezTo>
                  <a:pt x="1066844" y="2693978"/>
                  <a:pt x="1064262" y="2696457"/>
                  <a:pt x="1063746" y="2698006"/>
                </a:cubicBezTo>
                <a:lnTo>
                  <a:pt x="1061991" y="2696302"/>
                </a:lnTo>
                <a:lnTo>
                  <a:pt x="1060648" y="2697076"/>
                </a:lnTo>
                <a:cubicBezTo>
                  <a:pt x="1060338" y="2695837"/>
                  <a:pt x="1057551" y="2696921"/>
                  <a:pt x="1055589" y="2696612"/>
                </a:cubicBezTo>
                <a:cubicBezTo>
                  <a:pt x="1054453" y="2695837"/>
                  <a:pt x="1053420" y="2695218"/>
                  <a:pt x="1052697" y="2694598"/>
                </a:cubicBezTo>
                <a:lnTo>
                  <a:pt x="1052594" y="2694444"/>
                </a:lnTo>
                <a:lnTo>
                  <a:pt x="1046915" y="2694908"/>
                </a:lnTo>
                <a:cubicBezTo>
                  <a:pt x="1044230" y="2694753"/>
                  <a:pt x="1041959" y="2693978"/>
                  <a:pt x="1040513" y="2692274"/>
                </a:cubicBezTo>
                <a:lnTo>
                  <a:pt x="1039584" y="2690106"/>
                </a:lnTo>
                <a:lnTo>
                  <a:pt x="1037209" y="2691965"/>
                </a:lnTo>
                <a:cubicBezTo>
                  <a:pt x="1035970" y="2692585"/>
                  <a:pt x="1034628" y="2692894"/>
                  <a:pt x="1033698" y="2692274"/>
                </a:cubicBezTo>
                <a:cubicBezTo>
                  <a:pt x="1034628" y="2690726"/>
                  <a:pt x="1035557" y="2690106"/>
                  <a:pt x="1036486" y="2689331"/>
                </a:cubicBezTo>
                <a:cubicBezTo>
                  <a:pt x="1036899" y="2688557"/>
                  <a:pt x="1037416" y="2688093"/>
                  <a:pt x="1038035" y="2688247"/>
                </a:cubicBezTo>
                <a:lnTo>
                  <a:pt x="1039274" y="2689022"/>
                </a:lnTo>
                <a:lnTo>
                  <a:pt x="1039067" y="2688712"/>
                </a:lnTo>
                <a:lnTo>
                  <a:pt x="1039274" y="2684375"/>
                </a:lnTo>
                <a:cubicBezTo>
                  <a:pt x="1038964" y="2683911"/>
                  <a:pt x="1038964" y="2683446"/>
                  <a:pt x="1038964" y="2683136"/>
                </a:cubicBezTo>
                <a:lnTo>
                  <a:pt x="1039377" y="2683136"/>
                </a:lnTo>
                <a:lnTo>
                  <a:pt x="1039377" y="2683291"/>
                </a:lnTo>
                <a:lnTo>
                  <a:pt x="1040720" y="2683601"/>
                </a:lnTo>
                <a:lnTo>
                  <a:pt x="1041133" y="2684065"/>
                </a:lnTo>
                <a:lnTo>
                  <a:pt x="1043198" y="2684995"/>
                </a:lnTo>
                <a:lnTo>
                  <a:pt x="1044230" y="2684840"/>
                </a:lnTo>
                <a:lnTo>
                  <a:pt x="1047122" y="2686389"/>
                </a:lnTo>
                <a:lnTo>
                  <a:pt x="1049703" y="2687008"/>
                </a:lnTo>
                <a:lnTo>
                  <a:pt x="1046915" y="2683755"/>
                </a:lnTo>
                <a:cubicBezTo>
                  <a:pt x="1044437" y="2680348"/>
                  <a:pt x="1042991" y="2677250"/>
                  <a:pt x="1042268" y="2674307"/>
                </a:cubicBezTo>
                <a:cubicBezTo>
                  <a:pt x="1041752" y="2672138"/>
                  <a:pt x="1041649" y="2670125"/>
                  <a:pt x="1041959" y="2668266"/>
                </a:cubicBezTo>
                <a:cubicBezTo>
                  <a:pt x="1042682" y="2662689"/>
                  <a:pt x="1046399" y="2658507"/>
                  <a:pt x="1050219" y="2655874"/>
                </a:cubicBezTo>
                <a:cubicBezTo>
                  <a:pt x="1050426" y="2656339"/>
                  <a:pt x="1051149" y="2656184"/>
                  <a:pt x="1052284" y="2655874"/>
                </a:cubicBezTo>
                <a:lnTo>
                  <a:pt x="1054763" y="2655254"/>
                </a:lnTo>
                <a:lnTo>
                  <a:pt x="1052594" y="2654480"/>
                </a:lnTo>
                <a:cubicBezTo>
                  <a:pt x="1051252" y="2654170"/>
                  <a:pt x="1050013" y="2654170"/>
                  <a:pt x="1049600" y="2654635"/>
                </a:cubicBezTo>
                <a:cubicBezTo>
                  <a:pt x="1049600" y="2653861"/>
                  <a:pt x="1048670" y="2653086"/>
                  <a:pt x="1048670" y="2653086"/>
                </a:cubicBezTo>
                <a:cubicBezTo>
                  <a:pt x="1049496" y="2652157"/>
                  <a:pt x="1050323" y="2652157"/>
                  <a:pt x="1051149" y="2652002"/>
                </a:cubicBezTo>
                <a:close/>
                <a:moveTo>
                  <a:pt x="928273" y="2651692"/>
                </a:moveTo>
                <a:cubicBezTo>
                  <a:pt x="931061" y="2653706"/>
                  <a:pt x="929409" y="2660211"/>
                  <a:pt x="926002" y="2661915"/>
                </a:cubicBezTo>
                <a:cubicBezTo>
                  <a:pt x="926725" y="2659282"/>
                  <a:pt x="926208" y="2657113"/>
                  <a:pt x="926105" y="2655564"/>
                </a:cubicBezTo>
                <a:cubicBezTo>
                  <a:pt x="926002" y="2654016"/>
                  <a:pt x="926208" y="2652776"/>
                  <a:pt x="928273" y="2651692"/>
                </a:cubicBezTo>
                <a:close/>
                <a:moveTo>
                  <a:pt x="1035247" y="2651227"/>
                </a:moveTo>
                <a:cubicBezTo>
                  <a:pt x="1035970" y="2653241"/>
                  <a:pt x="1036073" y="2655254"/>
                  <a:pt x="1035763" y="2657268"/>
                </a:cubicBezTo>
                <a:lnTo>
                  <a:pt x="1033905" y="2662999"/>
                </a:lnTo>
                <a:lnTo>
                  <a:pt x="1033698" y="2663309"/>
                </a:lnTo>
                <a:cubicBezTo>
                  <a:pt x="1031736" y="2667336"/>
                  <a:pt x="1028742" y="2670744"/>
                  <a:pt x="1026367" y="2672603"/>
                </a:cubicBezTo>
                <a:cubicBezTo>
                  <a:pt x="1025541" y="2670589"/>
                  <a:pt x="1025335" y="2668421"/>
                  <a:pt x="1025644" y="2666252"/>
                </a:cubicBezTo>
                <a:cubicBezTo>
                  <a:pt x="1026264" y="2659746"/>
                  <a:pt x="1030807" y="2653086"/>
                  <a:pt x="1035247" y="2651227"/>
                </a:cubicBezTo>
                <a:close/>
                <a:moveTo>
                  <a:pt x="944485" y="2649368"/>
                </a:moveTo>
                <a:cubicBezTo>
                  <a:pt x="946343" y="2650762"/>
                  <a:pt x="949957" y="2651847"/>
                  <a:pt x="949234" y="2655254"/>
                </a:cubicBezTo>
                <a:cubicBezTo>
                  <a:pt x="947892" y="2654325"/>
                  <a:pt x="945001" y="2652466"/>
                  <a:pt x="944278" y="2650918"/>
                </a:cubicBezTo>
                <a:cubicBezTo>
                  <a:pt x="944072" y="2650298"/>
                  <a:pt x="944072" y="2649833"/>
                  <a:pt x="944485" y="2649368"/>
                </a:cubicBezTo>
                <a:close/>
                <a:moveTo>
                  <a:pt x="1070044" y="2649059"/>
                </a:moveTo>
                <a:cubicBezTo>
                  <a:pt x="1074071" y="2650143"/>
                  <a:pt x="1085120" y="2651692"/>
                  <a:pt x="1089869" y="2655254"/>
                </a:cubicBezTo>
                <a:lnTo>
                  <a:pt x="1090489" y="2656029"/>
                </a:lnTo>
                <a:lnTo>
                  <a:pt x="1092244" y="2654480"/>
                </a:lnTo>
                <a:cubicBezTo>
                  <a:pt x="1092864" y="2654016"/>
                  <a:pt x="1093277" y="2653861"/>
                  <a:pt x="1093277" y="2653861"/>
                </a:cubicBezTo>
                <a:cubicBezTo>
                  <a:pt x="1093277" y="2653861"/>
                  <a:pt x="1093174" y="2653861"/>
                  <a:pt x="1091625" y="2653241"/>
                </a:cubicBezTo>
                <a:cubicBezTo>
                  <a:pt x="1094826" y="2654325"/>
                  <a:pt x="1098440" y="2654016"/>
                  <a:pt x="1101641" y="2655099"/>
                </a:cubicBezTo>
                <a:cubicBezTo>
                  <a:pt x="1108972" y="2665323"/>
                  <a:pt x="1107630" y="2668575"/>
                  <a:pt x="1103706" y="2671518"/>
                </a:cubicBezTo>
                <a:lnTo>
                  <a:pt x="1099989" y="2674152"/>
                </a:lnTo>
                <a:lnTo>
                  <a:pt x="1104738" y="2673222"/>
                </a:lnTo>
                <a:cubicBezTo>
                  <a:pt x="1107217" y="2672913"/>
                  <a:pt x="1109592" y="2672603"/>
                  <a:pt x="1111657" y="2673378"/>
                </a:cubicBezTo>
                <a:cubicBezTo>
                  <a:pt x="1110418" y="2673687"/>
                  <a:pt x="1104842" y="2674617"/>
                  <a:pt x="1100918" y="2674772"/>
                </a:cubicBezTo>
                <a:lnTo>
                  <a:pt x="1099266" y="2674617"/>
                </a:lnTo>
                <a:lnTo>
                  <a:pt x="1099059" y="2674617"/>
                </a:lnTo>
                <a:lnTo>
                  <a:pt x="1098853" y="2674617"/>
                </a:lnTo>
                <a:lnTo>
                  <a:pt x="1097717" y="2674462"/>
                </a:lnTo>
                <a:lnTo>
                  <a:pt x="1098440" y="2674307"/>
                </a:lnTo>
                <a:lnTo>
                  <a:pt x="1093793" y="2671829"/>
                </a:lnTo>
                <a:cubicBezTo>
                  <a:pt x="1091831" y="2670899"/>
                  <a:pt x="1089973" y="2669815"/>
                  <a:pt x="1088940" y="2667801"/>
                </a:cubicBezTo>
                <a:cubicBezTo>
                  <a:pt x="1088940" y="2667801"/>
                  <a:pt x="1088631" y="2667182"/>
                  <a:pt x="1088424" y="2666407"/>
                </a:cubicBezTo>
                <a:cubicBezTo>
                  <a:pt x="1088321" y="2665478"/>
                  <a:pt x="1088321" y="2664084"/>
                  <a:pt x="1088734" y="2662535"/>
                </a:cubicBezTo>
                <a:lnTo>
                  <a:pt x="1088734" y="2659127"/>
                </a:lnTo>
                <a:lnTo>
                  <a:pt x="1085843" y="2658817"/>
                </a:lnTo>
                <a:cubicBezTo>
                  <a:pt x="1078615" y="2657888"/>
                  <a:pt x="1069322" y="2656184"/>
                  <a:pt x="1070044" y="2649059"/>
                </a:cubicBezTo>
                <a:close/>
                <a:moveTo>
                  <a:pt x="1250743" y="2648284"/>
                </a:moveTo>
                <a:lnTo>
                  <a:pt x="1253944" y="2652002"/>
                </a:lnTo>
                <a:lnTo>
                  <a:pt x="1256422" y="2651537"/>
                </a:lnTo>
                <a:cubicBezTo>
                  <a:pt x="1258384" y="2651692"/>
                  <a:pt x="1260242" y="2652621"/>
                  <a:pt x="1261585" y="2654790"/>
                </a:cubicBezTo>
                <a:cubicBezTo>
                  <a:pt x="1260346" y="2655254"/>
                  <a:pt x="1258590" y="2656184"/>
                  <a:pt x="1256422" y="2657113"/>
                </a:cubicBezTo>
                <a:lnTo>
                  <a:pt x="1255389" y="2657578"/>
                </a:lnTo>
                <a:lnTo>
                  <a:pt x="1255389" y="2657733"/>
                </a:lnTo>
                <a:cubicBezTo>
                  <a:pt x="1255080" y="2658817"/>
                  <a:pt x="1254357" y="2659437"/>
                  <a:pt x="1254357" y="2659437"/>
                </a:cubicBezTo>
                <a:cubicBezTo>
                  <a:pt x="1252085" y="2661141"/>
                  <a:pt x="1249607" y="2662070"/>
                  <a:pt x="1247129" y="2661915"/>
                </a:cubicBezTo>
                <a:lnTo>
                  <a:pt x="1245580" y="2660985"/>
                </a:lnTo>
                <a:lnTo>
                  <a:pt x="1242999" y="2661450"/>
                </a:lnTo>
                <a:cubicBezTo>
                  <a:pt x="1241140" y="2661450"/>
                  <a:pt x="1239591" y="2660831"/>
                  <a:pt x="1238662" y="2659127"/>
                </a:cubicBezTo>
                <a:lnTo>
                  <a:pt x="1240521" y="2658042"/>
                </a:lnTo>
                <a:lnTo>
                  <a:pt x="1241450" y="2653396"/>
                </a:lnTo>
                <a:cubicBezTo>
                  <a:pt x="1242379" y="2652002"/>
                  <a:pt x="1243722" y="2650762"/>
                  <a:pt x="1244961" y="2649368"/>
                </a:cubicBezTo>
                <a:cubicBezTo>
                  <a:pt x="1247335" y="2647665"/>
                  <a:pt x="1249194" y="2647510"/>
                  <a:pt x="1250743" y="2648284"/>
                </a:cubicBezTo>
                <a:close/>
                <a:moveTo>
                  <a:pt x="1119195" y="2647820"/>
                </a:moveTo>
                <a:lnTo>
                  <a:pt x="1119091" y="2647974"/>
                </a:lnTo>
                <a:lnTo>
                  <a:pt x="1119401" y="2649368"/>
                </a:lnTo>
                <a:lnTo>
                  <a:pt x="1119504" y="2647820"/>
                </a:lnTo>
                <a:close/>
                <a:moveTo>
                  <a:pt x="561611" y="2647820"/>
                </a:moveTo>
                <a:cubicBezTo>
                  <a:pt x="564605" y="2646580"/>
                  <a:pt x="567496" y="2646735"/>
                  <a:pt x="570078" y="2647820"/>
                </a:cubicBezTo>
                <a:cubicBezTo>
                  <a:pt x="577719" y="2651227"/>
                  <a:pt x="582675" y="2662844"/>
                  <a:pt x="579681" y="2669815"/>
                </a:cubicBezTo>
                <a:cubicBezTo>
                  <a:pt x="570698" y="2673687"/>
                  <a:pt x="560888" y="2664393"/>
                  <a:pt x="559649" y="2655874"/>
                </a:cubicBezTo>
                <a:cubicBezTo>
                  <a:pt x="559236" y="2652931"/>
                  <a:pt x="559752" y="2650143"/>
                  <a:pt x="561611" y="2647820"/>
                </a:cubicBezTo>
                <a:close/>
                <a:moveTo>
                  <a:pt x="1184349" y="2647355"/>
                </a:moveTo>
                <a:cubicBezTo>
                  <a:pt x="1187653" y="2647820"/>
                  <a:pt x="1190751" y="2649368"/>
                  <a:pt x="1193333" y="2652621"/>
                </a:cubicBezTo>
                <a:lnTo>
                  <a:pt x="1180735" y="2657888"/>
                </a:lnTo>
                <a:lnTo>
                  <a:pt x="1181251" y="2658507"/>
                </a:lnTo>
                <a:cubicBezTo>
                  <a:pt x="1182181" y="2659282"/>
                  <a:pt x="1182181" y="2659282"/>
                  <a:pt x="1183110" y="2658353"/>
                </a:cubicBezTo>
                <a:cubicBezTo>
                  <a:pt x="1183523" y="2658817"/>
                  <a:pt x="1183730" y="2659127"/>
                  <a:pt x="1183833" y="2659437"/>
                </a:cubicBezTo>
                <a:lnTo>
                  <a:pt x="1183833" y="2659901"/>
                </a:lnTo>
                <a:lnTo>
                  <a:pt x="1188583" y="2661915"/>
                </a:lnTo>
                <a:lnTo>
                  <a:pt x="1192816" y="2665323"/>
                </a:lnTo>
                <a:lnTo>
                  <a:pt x="1194571" y="2666717"/>
                </a:lnTo>
                <a:cubicBezTo>
                  <a:pt x="1199011" y="2671364"/>
                  <a:pt x="1199838" y="2675546"/>
                  <a:pt x="1199838" y="2675546"/>
                </a:cubicBezTo>
                <a:cubicBezTo>
                  <a:pt x="1194985" y="2682516"/>
                  <a:pt x="1188273" y="2680812"/>
                  <a:pt x="1182491" y="2677714"/>
                </a:cubicBezTo>
                <a:lnTo>
                  <a:pt x="1181974" y="2678644"/>
                </a:lnTo>
                <a:cubicBezTo>
                  <a:pt x="1181664" y="2679108"/>
                  <a:pt x="1181355" y="2679418"/>
                  <a:pt x="1181355" y="2679418"/>
                </a:cubicBezTo>
                <a:cubicBezTo>
                  <a:pt x="1180219" y="2678954"/>
                  <a:pt x="1180219" y="2678954"/>
                  <a:pt x="1180941" y="2678644"/>
                </a:cubicBezTo>
                <a:cubicBezTo>
                  <a:pt x="1180941" y="2677714"/>
                  <a:pt x="1181045" y="2677405"/>
                  <a:pt x="1181251" y="2677250"/>
                </a:cubicBezTo>
                <a:lnTo>
                  <a:pt x="1181355" y="2677095"/>
                </a:lnTo>
                <a:lnTo>
                  <a:pt x="1177224" y="2674462"/>
                </a:lnTo>
                <a:cubicBezTo>
                  <a:pt x="1173817" y="2672448"/>
                  <a:pt x="1170409" y="2669970"/>
                  <a:pt x="1169893" y="2667182"/>
                </a:cubicBezTo>
                <a:cubicBezTo>
                  <a:pt x="1169790" y="2666407"/>
                  <a:pt x="1169996" y="2665478"/>
                  <a:pt x="1170616" y="2664549"/>
                </a:cubicBezTo>
                <a:cubicBezTo>
                  <a:pt x="1172165" y="2661760"/>
                  <a:pt x="1175056" y="2660056"/>
                  <a:pt x="1178360" y="2659592"/>
                </a:cubicBezTo>
                <a:lnTo>
                  <a:pt x="1182284" y="2659901"/>
                </a:lnTo>
                <a:lnTo>
                  <a:pt x="1181148" y="2658972"/>
                </a:lnTo>
                <a:lnTo>
                  <a:pt x="1180219" y="2658197"/>
                </a:lnTo>
                <a:lnTo>
                  <a:pt x="1177637" y="2659282"/>
                </a:lnTo>
                <a:cubicBezTo>
                  <a:pt x="1172268" y="2661450"/>
                  <a:pt x="1166692" y="2663154"/>
                  <a:pt x="1160806" y="2663309"/>
                </a:cubicBezTo>
                <a:cubicBezTo>
                  <a:pt x="1161633" y="2661296"/>
                  <a:pt x="1162872" y="2659127"/>
                  <a:pt x="1164524" y="2657113"/>
                </a:cubicBezTo>
                <a:lnTo>
                  <a:pt x="1169480" y="2652466"/>
                </a:lnTo>
                <a:lnTo>
                  <a:pt x="1169584" y="2652466"/>
                </a:lnTo>
                <a:lnTo>
                  <a:pt x="1170203" y="2651692"/>
                </a:lnTo>
                <a:cubicBezTo>
                  <a:pt x="1174437" y="2648594"/>
                  <a:pt x="1179599" y="2646735"/>
                  <a:pt x="1184349" y="2647355"/>
                </a:cubicBezTo>
                <a:close/>
                <a:moveTo>
                  <a:pt x="895851" y="2647045"/>
                </a:moveTo>
                <a:cubicBezTo>
                  <a:pt x="897090" y="2647355"/>
                  <a:pt x="899878" y="2648439"/>
                  <a:pt x="899052" y="2648904"/>
                </a:cubicBezTo>
                <a:cubicBezTo>
                  <a:pt x="898742" y="2649988"/>
                  <a:pt x="899569" y="2649523"/>
                  <a:pt x="899982" y="2650143"/>
                </a:cubicBezTo>
                <a:cubicBezTo>
                  <a:pt x="899155" y="2653706"/>
                  <a:pt x="897400" y="2655874"/>
                  <a:pt x="894199" y="2656029"/>
                </a:cubicBezTo>
                <a:cubicBezTo>
                  <a:pt x="891825" y="2655564"/>
                  <a:pt x="888314" y="2655099"/>
                  <a:pt x="888417" y="2652002"/>
                </a:cubicBezTo>
                <a:cubicBezTo>
                  <a:pt x="889140" y="2651537"/>
                  <a:pt x="888726" y="2650762"/>
                  <a:pt x="889449" y="2650298"/>
                </a:cubicBezTo>
                <a:cubicBezTo>
                  <a:pt x="889449" y="2650298"/>
                  <a:pt x="889965" y="2649523"/>
                  <a:pt x="890998" y="2648749"/>
                </a:cubicBezTo>
                <a:cubicBezTo>
                  <a:pt x="892031" y="2647974"/>
                  <a:pt x="893683" y="2647045"/>
                  <a:pt x="895851" y="2647045"/>
                </a:cubicBezTo>
                <a:close/>
                <a:moveTo>
                  <a:pt x="773493" y="2645651"/>
                </a:moveTo>
                <a:lnTo>
                  <a:pt x="777623" y="2649368"/>
                </a:lnTo>
                <a:lnTo>
                  <a:pt x="778242" y="2649214"/>
                </a:lnTo>
                <a:cubicBezTo>
                  <a:pt x="781030" y="2649833"/>
                  <a:pt x="781856" y="2654635"/>
                  <a:pt x="780721" y="2657578"/>
                </a:cubicBezTo>
                <a:lnTo>
                  <a:pt x="779482" y="2659437"/>
                </a:lnTo>
                <a:lnTo>
                  <a:pt x="779482" y="2659592"/>
                </a:lnTo>
                <a:cubicBezTo>
                  <a:pt x="777003" y="2662535"/>
                  <a:pt x="777003" y="2662380"/>
                  <a:pt x="771634" y="2659127"/>
                </a:cubicBezTo>
                <a:cubicBezTo>
                  <a:pt x="770704" y="2658353"/>
                  <a:pt x="769982" y="2657423"/>
                  <a:pt x="769569" y="2656339"/>
                </a:cubicBezTo>
                <a:cubicBezTo>
                  <a:pt x="769156" y="2655254"/>
                  <a:pt x="769156" y="2654016"/>
                  <a:pt x="769569" y="2652776"/>
                </a:cubicBezTo>
                <a:cubicBezTo>
                  <a:pt x="769053" y="2652002"/>
                  <a:pt x="768743" y="2650918"/>
                  <a:pt x="768640" y="2649988"/>
                </a:cubicBezTo>
                <a:cubicBezTo>
                  <a:pt x="768640" y="2648904"/>
                  <a:pt x="768743" y="2647820"/>
                  <a:pt x="769156" y="2647045"/>
                </a:cubicBezTo>
                <a:cubicBezTo>
                  <a:pt x="770808" y="2645186"/>
                  <a:pt x="772563" y="2644877"/>
                  <a:pt x="773493" y="2645651"/>
                </a:cubicBezTo>
                <a:close/>
                <a:moveTo>
                  <a:pt x="910823" y="2645186"/>
                </a:moveTo>
                <a:cubicBezTo>
                  <a:pt x="913611" y="2646735"/>
                  <a:pt x="917741" y="2645031"/>
                  <a:pt x="918155" y="2650298"/>
                </a:cubicBezTo>
                <a:cubicBezTo>
                  <a:pt x="915160" y="2654790"/>
                  <a:pt x="907622" y="2654635"/>
                  <a:pt x="906487" y="2648904"/>
                </a:cubicBezTo>
                <a:cubicBezTo>
                  <a:pt x="908242" y="2647820"/>
                  <a:pt x="909171" y="2646271"/>
                  <a:pt x="910823" y="2645186"/>
                </a:cubicBezTo>
                <a:close/>
                <a:moveTo>
                  <a:pt x="518372" y="2644954"/>
                </a:moveTo>
                <a:cubicBezTo>
                  <a:pt x="520463" y="2645225"/>
                  <a:pt x="522787" y="2646348"/>
                  <a:pt x="525368" y="2648749"/>
                </a:cubicBezTo>
                <a:cubicBezTo>
                  <a:pt x="527124" y="2649833"/>
                  <a:pt x="526297" y="2649678"/>
                  <a:pt x="527124" y="2650608"/>
                </a:cubicBezTo>
                <a:cubicBezTo>
                  <a:pt x="527949" y="2651537"/>
                  <a:pt x="529705" y="2652621"/>
                  <a:pt x="530531" y="2652621"/>
                </a:cubicBezTo>
                <a:cubicBezTo>
                  <a:pt x="528569" y="2654945"/>
                  <a:pt x="529498" y="2656649"/>
                  <a:pt x="528259" y="2659282"/>
                </a:cubicBezTo>
                <a:lnTo>
                  <a:pt x="527846" y="2659901"/>
                </a:lnTo>
                <a:lnTo>
                  <a:pt x="533732" y="2657578"/>
                </a:lnTo>
                <a:cubicBezTo>
                  <a:pt x="540650" y="2658817"/>
                  <a:pt x="546845" y="2669195"/>
                  <a:pt x="536313" y="2672758"/>
                </a:cubicBezTo>
                <a:cubicBezTo>
                  <a:pt x="534041" y="2669970"/>
                  <a:pt x="532183" y="2667646"/>
                  <a:pt x="530634" y="2665632"/>
                </a:cubicBezTo>
                <a:lnTo>
                  <a:pt x="527433" y="2660366"/>
                </a:lnTo>
                <a:lnTo>
                  <a:pt x="525988" y="2662225"/>
                </a:lnTo>
                <a:cubicBezTo>
                  <a:pt x="520722" y="2668421"/>
                  <a:pt x="514732" y="2666252"/>
                  <a:pt x="511222" y="2663309"/>
                </a:cubicBezTo>
                <a:cubicBezTo>
                  <a:pt x="511945" y="2662689"/>
                  <a:pt x="507298" y="2658817"/>
                  <a:pt x="507504" y="2654016"/>
                </a:cubicBezTo>
                <a:cubicBezTo>
                  <a:pt x="507608" y="2652311"/>
                  <a:pt x="508227" y="2650608"/>
                  <a:pt x="509776" y="2648904"/>
                </a:cubicBezTo>
                <a:cubicBezTo>
                  <a:pt x="510705" y="2647974"/>
                  <a:pt x="511635" y="2647045"/>
                  <a:pt x="512771" y="2646271"/>
                </a:cubicBezTo>
                <a:cubicBezTo>
                  <a:pt x="514423" y="2645264"/>
                  <a:pt x="516281" y="2644683"/>
                  <a:pt x="518372" y="2644954"/>
                </a:cubicBezTo>
                <a:close/>
                <a:moveTo>
                  <a:pt x="718147" y="2644877"/>
                </a:moveTo>
                <a:cubicBezTo>
                  <a:pt x="717321" y="2654790"/>
                  <a:pt x="714224" y="2662225"/>
                  <a:pt x="708957" y="2667491"/>
                </a:cubicBezTo>
                <a:cubicBezTo>
                  <a:pt x="707202" y="2669195"/>
                  <a:pt x="705240" y="2670589"/>
                  <a:pt x="702969" y="2671829"/>
                </a:cubicBezTo>
                <a:cubicBezTo>
                  <a:pt x="698322" y="2666562"/>
                  <a:pt x="702762" y="2660676"/>
                  <a:pt x="704827" y="2655564"/>
                </a:cubicBezTo>
                <a:cubicBezTo>
                  <a:pt x="698735" y="2654945"/>
                  <a:pt x="689442" y="2655719"/>
                  <a:pt x="689029" y="2649214"/>
                </a:cubicBezTo>
                <a:cubicBezTo>
                  <a:pt x="690165" y="2647974"/>
                  <a:pt x="691507" y="2647355"/>
                  <a:pt x="693056" y="2647200"/>
                </a:cubicBezTo>
                <a:cubicBezTo>
                  <a:pt x="697393" y="2646580"/>
                  <a:pt x="703175" y="2649368"/>
                  <a:pt x="708751" y="2649059"/>
                </a:cubicBezTo>
                <a:cubicBezTo>
                  <a:pt x="711849" y="2647665"/>
                  <a:pt x="711435" y="2643483"/>
                  <a:pt x="718147" y="2644877"/>
                </a:cubicBezTo>
                <a:close/>
                <a:moveTo>
                  <a:pt x="1297208" y="2643173"/>
                </a:moveTo>
                <a:cubicBezTo>
                  <a:pt x="1301029" y="2643017"/>
                  <a:pt x="1305159" y="2643328"/>
                  <a:pt x="1309392" y="2643947"/>
                </a:cubicBezTo>
                <a:lnTo>
                  <a:pt x="1315691" y="2645496"/>
                </a:lnTo>
                <a:lnTo>
                  <a:pt x="1319305" y="2643173"/>
                </a:lnTo>
                <a:lnTo>
                  <a:pt x="1320028" y="2646425"/>
                </a:lnTo>
                <a:lnTo>
                  <a:pt x="1321990" y="2647045"/>
                </a:lnTo>
                <a:lnTo>
                  <a:pt x="1327359" y="2649833"/>
                </a:lnTo>
                <a:lnTo>
                  <a:pt x="1327669" y="2649368"/>
                </a:lnTo>
                <a:cubicBezTo>
                  <a:pt x="1328495" y="2648749"/>
                  <a:pt x="1329424" y="2648749"/>
                  <a:pt x="1330250" y="2649214"/>
                </a:cubicBezTo>
                <a:lnTo>
                  <a:pt x="1332831" y="2652621"/>
                </a:lnTo>
                <a:lnTo>
                  <a:pt x="1333554" y="2652931"/>
                </a:lnTo>
                <a:cubicBezTo>
                  <a:pt x="1337065" y="2655564"/>
                  <a:pt x="1340060" y="2658507"/>
                  <a:pt x="1342434" y="2662380"/>
                </a:cubicBezTo>
                <a:cubicBezTo>
                  <a:pt x="1344293" y="2665478"/>
                  <a:pt x="1345429" y="2668266"/>
                  <a:pt x="1345842" y="2671054"/>
                </a:cubicBezTo>
                <a:lnTo>
                  <a:pt x="1345945" y="2674152"/>
                </a:lnTo>
                <a:lnTo>
                  <a:pt x="1347081" y="2676166"/>
                </a:lnTo>
                <a:cubicBezTo>
                  <a:pt x="1348630" y="2679263"/>
                  <a:pt x="1351108" y="2684685"/>
                  <a:pt x="1351108" y="2687008"/>
                </a:cubicBezTo>
                <a:cubicBezTo>
                  <a:pt x="1350282" y="2684840"/>
                  <a:pt x="1348940" y="2682671"/>
                  <a:pt x="1347804" y="2680348"/>
                </a:cubicBezTo>
                <a:lnTo>
                  <a:pt x="1345945" y="2674462"/>
                </a:lnTo>
                <a:lnTo>
                  <a:pt x="1346048" y="2679263"/>
                </a:lnTo>
                <a:cubicBezTo>
                  <a:pt x="1345532" y="2684530"/>
                  <a:pt x="1343983" y="2689951"/>
                  <a:pt x="1344190" y="2696457"/>
                </a:cubicBezTo>
                <a:cubicBezTo>
                  <a:pt x="1333348" y="2698161"/>
                  <a:pt x="1333141" y="2704511"/>
                  <a:pt x="1329734" y="2709158"/>
                </a:cubicBezTo>
                <a:cubicBezTo>
                  <a:pt x="1327772" y="2708694"/>
                  <a:pt x="1325810" y="2708384"/>
                  <a:pt x="1323641" y="2708384"/>
                </a:cubicBezTo>
                <a:lnTo>
                  <a:pt x="1319202" y="2708539"/>
                </a:lnTo>
                <a:lnTo>
                  <a:pt x="1316620" y="2711637"/>
                </a:lnTo>
                <a:lnTo>
                  <a:pt x="1315485" y="2711017"/>
                </a:lnTo>
                <a:lnTo>
                  <a:pt x="1314245" y="2712721"/>
                </a:lnTo>
                <a:cubicBezTo>
                  <a:pt x="1311664" y="2714735"/>
                  <a:pt x="1308257" y="2715044"/>
                  <a:pt x="1306192" y="2713341"/>
                </a:cubicBezTo>
                <a:lnTo>
                  <a:pt x="1304436" y="2709933"/>
                </a:lnTo>
                <a:lnTo>
                  <a:pt x="1303403" y="2709933"/>
                </a:lnTo>
                <a:cubicBezTo>
                  <a:pt x="1299480" y="2706061"/>
                  <a:pt x="1295246" y="2702963"/>
                  <a:pt x="1291116" y="2699710"/>
                </a:cubicBezTo>
                <a:lnTo>
                  <a:pt x="1289877" y="2698780"/>
                </a:lnTo>
                <a:lnTo>
                  <a:pt x="1289567" y="2701259"/>
                </a:lnTo>
                <a:lnTo>
                  <a:pt x="1285953" y="2704511"/>
                </a:lnTo>
                <a:lnTo>
                  <a:pt x="1287296" y="2708074"/>
                </a:lnTo>
                <a:cubicBezTo>
                  <a:pt x="1287708" y="2711327"/>
                  <a:pt x="1287399" y="2714580"/>
                  <a:pt x="1285953" y="2717058"/>
                </a:cubicBezTo>
                <a:lnTo>
                  <a:pt x="1282030" y="2720001"/>
                </a:lnTo>
                <a:lnTo>
                  <a:pt x="1282030" y="2720621"/>
                </a:lnTo>
                <a:cubicBezTo>
                  <a:pt x="1280274" y="2722325"/>
                  <a:pt x="1277693" y="2723254"/>
                  <a:pt x="1276867" y="2722479"/>
                </a:cubicBezTo>
                <a:cubicBezTo>
                  <a:pt x="1275628" y="2721240"/>
                  <a:pt x="1274389" y="2720001"/>
                  <a:pt x="1275008" y="2718452"/>
                </a:cubicBezTo>
                <a:cubicBezTo>
                  <a:pt x="1275215" y="2717832"/>
                  <a:pt x="1275525" y="2717213"/>
                  <a:pt x="1276247" y="2716593"/>
                </a:cubicBezTo>
                <a:cubicBezTo>
                  <a:pt x="1276247" y="2716593"/>
                  <a:pt x="1276247" y="2716593"/>
                  <a:pt x="1277073" y="2716593"/>
                </a:cubicBezTo>
                <a:lnTo>
                  <a:pt x="1278622" y="2716439"/>
                </a:lnTo>
                <a:lnTo>
                  <a:pt x="1274698" y="2711327"/>
                </a:lnTo>
                <a:cubicBezTo>
                  <a:pt x="1273046" y="2707609"/>
                  <a:pt x="1272014" y="2703118"/>
                  <a:pt x="1272220" y="2697851"/>
                </a:cubicBezTo>
                <a:cubicBezTo>
                  <a:pt x="1276763" y="2693824"/>
                  <a:pt x="1280997" y="2695528"/>
                  <a:pt x="1283785" y="2699245"/>
                </a:cubicBezTo>
                <a:lnTo>
                  <a:pt x="1283991" y="2699555"/>
                </a:lnTo>
                <a:lnTo>
                  <a:pt x="1284611" y="2699245"/>
                </a:lnTo>
                <a:cubicBezTo>
                  <a:pt x="1286263" y="2698471"/>
                  <a:pt x="1288018" y="2697386"/>
                  <a:pt x="1288018" y="2697386"/>
                </a:cubicBezTo>
                <a:lnTo>
                  <a:pt x="1289464" y="2698471"/>
                </a:lnTo>
                <a:lnTo>
                  <a:pt x="1278829" y="2689642"/>
                </a:lnTo>
                <a:lnTo>
                  <a:pt x="1278725" y="2682516"/>
                </a:lnTo>
                <a:lnTo>
                  <a:pt x="1278622" y="2682361"/>
                </a:lnTo>
                <a:cubicBezTo>
                  <a:pt x="1278312" y="2682516"/>
                  <a:pt x="1278106" y="2682826"/>
                  <a:pt x="1277693" y="2682671"/>
                </a:cubicBezTo>
                <a:cubicBezTo>
                  <a:pt x="1277693" y="2682671"/>
                  <a:pt x="1278519" y="2682671"/>
                  <a:pt x="1277590" y="2683601"/>
                </a:cubicBezTo>
                <a:cubicBezTo>
                  <a:pt x="1277693" y="2682671"/>
                  <a:pt x="1276867" y="2682671"/>
                  <a:pt x="1275937" y="2682671"/>
                </a:cubicBezTo>
                <a:cubicBezTo>
                  <a:pt x="1274389" y="2680967"/>
                  <a:pt x="1273046" y="2678334"/>
                  <a:pt x="1274079" y="2676630"/>
                </a:cubicBezTo>
                <a:cubicBezTo>
                  <a:pt x="1275008" y="2675856"/>
                  <a:pt x="1275937" y="2675701"/>
                  <a:pt x="1276660" y="2675701"/>
                </a:cubicBezTo>
                <a:lnTo>
                  <a:pt x="1277899" y="2676475"/>
                </a:lnTo>
                <a:lnTo>
                  <a:pt x="1276867" y="2671364"/>
                </a:lnTo>
                <a:cubicBezTo>
                  <a:pt x="1275731" y="2665013"/>
                  <a:pt x="1275318" y="2658817"/>
                  <a:pt x="1279655" y="2654170"/>
                </a:cubicBezTo>
                <a:cubicBezTo>
                  <a:pt x="1290496" y="2652466"/>
                  <a:pt x="1291529" y="2646580"/>
                  <a:pt x="1297208" y="2643173"/>
                </a:cubicBezTo>
                <a:close/>
                <a:moveTo>
                  <a:pt x="1359885" y="2643017"/>
                </a:moveTo>
                <a:cubicBezTo>
                  <a:pt x="1361640" y="2645961"/>
                  <a:pt x="1357510" y="2651692"/>
                  <a:pt x="1353896" y="2652002"/>
                </a:cubicBezTo>
                <a:cubicBezTo>
                  <a:pt x="1357303" y="2647355"/>
                  <a:pt x="1355341" y="2643637"/>
                  <a:pt x="1359885" y="2643017"/>
                </a:cubicBezTo>
                <a:close/>
                <a:moveTo>
                  <a:pt x="1019965" y="2642863"/>
                </a:moveTo>
                <a:cubicBezTo>
                  <a:pt x="1020791" y="2643792"/>
                  <a:pt x="1022650" y="2642863"/>
                  <a:pt x="1023476" y="2643792"/>
                </a:cubicBezTo>
                <a:cubicBezTo>
                  <a:pt x="1023476" y="2643792"/>
                  <a:pt x="1024096" y="2646271"/>
                  <a:pt x="1024096" y="2646271"/>
                </a:cubicBezTo>
                <a:cubicBezTo>
                  <a:pt x="1023063" y="2647200"/>
                  <a:pt x="1023063" y="2647200"/>
                  <a:pt x="1023166" y="2646271"/>
                </a:cubicBezTo>
                <a:cubicBezTo>
                  <a:pt x="1021307" y="2647200"/>
                  <a:pt x="1020378" y="2647200"/>
                  <a:pt x="1019449" y="2647045"/>
                </a:cubicBezTo>
                <a:cubicBezTo>
                  <a:pt x="1019139" y="2646735"/>
                  <a:pt x="1018933" y="2645961"/>
                  <a:pt x="1019036" y="2645186"/>
                </a:cubicBezTo>
                <a:cubicBezTo>
                  <a:pt x="1019139" y="2644567"/>
                  <a:pt x="1019449" y="2643637"/>
                  <a:pt x="1019965" y="2642863"/>
                </a:cubicBezTo>
                <a:close/>
                <a:moveTo>
                  <a:pt x="1388177" y="2641314"/>
                </a:moveTo>
                <a:cubicBezTo>
                  <a:pt x="1391688" y="2645186"/>
                  <a:pt x="1395921" y="2645806"/>
                  <a:pt x="1398812" y="2648594"/>
                </a:cubicBezTo>
                <a:cubicBezTo>
                  <a:pt x="1394166" y="2649833"/>
                  <a:pt x="1385905" y="2651227"/>
                  <a:pt x="1385079" y="2643483"/>
                </a:cubicBezTo>
                <a:cubicBezTo>
                  <a:pt x="1386112" y="2642708"/>
                  <a:pt x="1387144" y="2641933"/>
                  <a:pt x="1388177" y="2641314"/>
                </a:cubicBezTo>
                <a:close/>
                <a:moveTo>
                  <a:pt x="450817" y="2641159"/>
                </a:moveTo>
                <a:cubicBezTo>
                  <a:pt x="451023" y="2641004"/>
                  <a:pt x="451230" y="2641004"/>
                  <a:pt x="451643" y="2641469"/>
                </a:cubicBezTo>
                <a:cubicBezTo>
                  <a:pt x="452469" y="2642398"/>
                  <a:pt x="452469" y="2642243"/>
                  <a:pt x="452366" y="2644721"/>
                </a:cubicBezTo>
                <a:cubicBezTo>
                  <a:pt x="451643" y="2643792"/>
                  <a:pt x="451540" y="2643947"/>
                  <a:pt x="450714" y="2644567"/>
                </a:cubicBezTo>
                <a:cubicBezTo>
                  <a:pt x="450714" y="2644567"/>
                  <a:pt x="450714" y="2644567"/>
                  <a:pt x="450714" y="2645341"/>
                </a:cubicBezTo>
                <a:cubicBezTo>
                  <a:pt x="449888" y="2645341"/>
                  <a:pt x="449991" y="2644567"/>
                  <a:pt x="449165" y="2644412"/>
                </a:cubicBezTo>
                <a:cubicBezTo>
                  <a:pt x="449165" y="2644412"/>
                  <a:pt x="449165" y="2643637"/>
                  <a:pt x="449165" y="2643637"/>
                </a:cubicBezTo>
                <a:cubicBezTo>
                  <a:pt x="448752" y="2643637"/>
                  <a:pt x="448752" y="2643637"/>
                  <a:pt x="448959" y="2643328"/>
                </a:cubicBezTo>
                <a:cubicBezTo>
                  <a:pt x="449165" y="2643173"/>
                  <a:pt x="449578" y="2642863"/>
                  <a:pt x="449991" y="2642088"/>
                </a:cubicBezTo>
                <a:cubicBezTo>
                  <a:pt x="450404" y="2641778"/>
                  <a:pt x="450611" y="2641314"/>
                  <a:pt x="450817" y="2641159"/>
                </a:cubicBezTo>
                <a:close/>
                <a:moveTo>
                  <a:pt x="829251" y="2640849"/>
                </a:moveTo>
                <a:cubicBezTo>
                  <a:pt x="831729" y="2641159"/>
                  <a:pt x="831832" y="2643017"/>
                  <a:pt x="831832" y="2643017"/>
                </a:cubicBezTo>
                <a:cubicBezTo>
                  <a:pt x="831626" y="2646116"/>
                  <a:pt x="829767" y="2648284"/>
                  <a:pt x="826669" y="2648439"/>
                </a:cubicBezTo>
                <a:cubicBezTo>
                  <a:pt x="825018" y="2647510"/>
                  <a:pt x="824811" y="2645806"/>
                  <a:pt x="824708" y="2643947"/>
                </a:cubicBezTo>
                <a:cubicBezTo>
                  <a:pt x="824811" y="2642398"/>
                  <a:pt x="825327" y="2641469"/>
                  <a:pt x="826154" y="2641159"/>
                </a:cubicBezTo>
                <a:cubicBezTo>
                  <a:pt x="826979" y="2640694"/>
                  <a:pt x="828115" y="2640694"/>
                  <a:pt x="829251" y="2640849"/>
                </a:cubicBezTo>
                <a:close/>
                <a:moveTo>
                  <a:pt x="1115580" y="2640229"/>
                </a:moveTo>
                <a:cubicBezTo>
                  <a:pt x="1116097" y="2640539"/>
                  <a:pt x="1116200" y="2640849"/>
                  <a:pt x="1116303" y="2641314"/>
                </a:cubicBezTo>
                <a:cubicBezTo>
                  <a:pt x="1116303" y="2641624"/>
                  <a:pt x="1116097" y="2641778"/>
                  <a:pt x="1116097" y="2641778"/>
                </a:cubicBezTo>
                <a:cubicBezTo>
                  <a:pt x="1115580" y="2642863"/>
                  <a:pt x="1115168" y="2643792"/>
                  <a:pt x="1114032" y="2643328"/>
                </a:cubicBezTo>
                <a:cubicBezTo>
                  <a:pt x="1114032" y="2643328"/>
                  <a:pt x="1113929" y="2643017"/>
                  <a:pt x="1114032" y="2642553"/>
                </a:cubicBezTo>
                <a:cubicBezTo>
                  <a:pt x="1114032" y="2642088"/>
                  <a:pt x="1114238" y="2641469"/>
                  <a:pt x="1114755" y="2640384"/>
                </a:cubicBezTo>
                <a:cubicBezTo>
                  <a:pt x="1114961" y="2641159"/>
                  <a:pt x="1115890" y="2641004"/>
                  <a:pt x="1115890" y="2641004"/>
                </a:cubicBezTo>
                <a:cubicBezTo>
                  <a:pt x="1115890" y="2641004"/>
                  <a:pt x="1115890" y="2641004"/>
                  <a:pt x="1115580" y="2640229"/>
                </a:cubicBezTo>
                <a:close/>
                <a:moveTo>
                  <a:pt x="1039067" y="2638681"/>
                </a:moveTo>
                <a:cubicBezTo>
                  <a:pt x="1040617" y="2641933"/>
                  <a:pt x="1033595" y="2645496"/>
                  <a:pt x="1031943" y="2644877"/>
                </a:cubicBezTo>
                <a:cubicBezTo>
                  <a:pt x="1031117" y="2643173"/>
                  <a:pt x="1036693" y="2635428"/>
                  <a:pt x="1039067" y="2638681"/>
                </a:cubicBezTo>
                <a:close/>
                <a:moveTo>
                  <a:pt x="1067257" y="2638526"/>
                </a:moveTo>
                <a:cubicBezTo>
                  <a:pt x="1068909" y="2640075"/>
                  <a:pt x="1072316" y="2641624"/>
                  <a:pt x="1071284" y="2645031"/>
                </a:cubicBezTo>
                <a:cubicBezTo>
                  <a:pt x="1070044" y="2643792"/>
                  <a:pt x="1067360" y="2641778"/>
                  <a:pt x="1066844" y="2640075"/>
                </a:cubicBezTo>
                <a:cubicBezTo>
                  <a:pt x="1066637" y="2639455"/>
                  <a:pt x="1066740" y="2638990"/>
                  <a:pt x="1067257" y="2638526"/>
                </a:cubicBezTo>
                <a:close/>
                <a:moveTo>
                  <a:pt x="849593" y="2635583"/>
                </a:moveTo>
                <a:cubicBezTo>
                  <a:pt x="858782" y="2642708"/>
                  <a:pt x="861673" y="2655099"/>
                  <a:pt x="854446" y="2662070"/>
                </a:cubicBezTo>
                <a:cubicBezTo>
                  <a:pt x="851864" y="2664084"/>
                  <a:pt x="849386" y="2664858"/>
                  <a:pt x="847114" y="2665013"/>
                </a:cubicBezTo>
                <a:lnTo>
                  <a:pt x="842364" y="2663464"/>
                </a:lnTo>
                <a:lnTo>
                  <a:pt x="841745" y="2663774"/>
                </a:lnTo>
                <a:lnTo>
                  <a:pt x="841538" y="2663154"/>
                </a:lnTo>
                <a:lnTo>
                  <a:pt x="841022" y="2662999"/>
                </a:lnTo>
                <a:cubicBezTo>
                  <a:pt x="837511" y="2660366"/>
                  <a:pt x="835343" y="2655564"/>
                  <a:pt x="835653" y="2650608"/>
                </a:cubicBezTo>
                <a:cubicBezTo>
                  <a:pt x="836066" y="2644567"/>
                  <a:pt x="839990" y="2638371"/>
                  <a:pt x="849593" y="2635583"/>
                </a:cubicBezTo>
                <a:close/>
                <a:moveTo>
                  <a:pt x="505646" y="2635118"/>
                </a:moveTo>
                <a:cubicBezTo>
                  <a:pt x="508537" y="2633414"/>
                  <a:pt x="510189" y="2635428"/>
                  <a:pt x="512771" y="2637597"/>
                </a:cubicBezTo>
                <a:cubicBezTo>
                  <a:pt x="511841" y="2639145"/>
                  <a:pt x="512667" y="2641624"/>
                  <a:pt x="510912" y="2643173"/>
                </a:cubicBezTo>
                <a:cubicBezTo>
                  <a:pt x="510912" y="2643173"/>
                  <a:pt x="509983" y="2643947"/>
                  <a:pt x="508330" y="2643792"/>
                </a:cubicBezTo>
                <a:cubicBezTo>
                  <a:pt x="505646" y="2645186"/>
                  <a:pt x="503064" y="2642398"/>
                  <a:pt x="503064" y="2642398"/>
                </a:cubicBezTo>
                <a:cubicBezTo>
                  <a:pt x="503064" y="2642398"/>
                  <a:pt x="503064" y="2642398"/>
                  <a:pt x="503064" y="2643328"/>
                </a:cubicBezTo>
                <a:cubicBezTo>
                  <a:pt x="503064" y="2641624"/>
                  <a:pt x="502238" y="2639765"/>
                  <a:pt x="502238" y="2638216"/>
                </a:cubicBezTo>
                <a:cubicBezTo>
                  <a:pt x="503581" y="2636667"/>
                  <a:pt x="504717" y="2635738"/>
                  <a:pt x="505646" y="2635118"/>
                </a:cubicBezTo>
                <a:close/>
                <a:moveTo>
                  <a:pt x="1287193" y="2633879"/>
                </a:moveTo>
                <a:cubicBezTo>
                  <a:pt x="1288328" y="2635118"/>
                  <a:pt x="1290703" y="2637441"/>
                  <a:pt x="1291116" y="2639145"/>
                </a:cubicBezTo>
                <a:cubicBezTo>
                  <a:pt x="1291219" y="2639765"/>
                  <a:pt x="1291116" y="2640229"/>
                  <a:pt x="1290703" y="2640539"/>
                </a:cubicBezTo>
                <a:cubicBezTo>
                  <a:pt x="1289567" y="2639300"/>
                  <a:pt x="1287399" y="2638061"/>
                  <a:pt x="1286883" y="2636047"/>
                </a:cubicBezTo>
                <a:cubicBezTo>
                  <a:pt x="1286779" y="2635428"/>
                  <a:pt x="1286883" y="2634653"/>
                  <a:pt x="1287193" y="2633879"/>
                </a:cubicBezTo>
                <a:close/>
                <a:moveTo>
                  <a:pt x="734152" y="2632950"/>
                </a:moveTo>
                <a:cubicBezTo>
                  <a:pt x="736217" y="2632795"/>
                  <a:pt x="738076" y="2633259"/>
                  <a:pt x="739625" y="2634344"/>
                </a:cubicBezTo>
                <a:cubicBezTo>
                  <a:pt x="744478" y="2637131"/>
                  <a:pt x="747265" y="2643947"/>
                  <a:pt x="749434" y="2647974"/>
                </a:cubicBezTo>
                <a:cubicBezTo>
                  <a:pt x="744168" y="2652157"/>
                  <a:pt x="738902" y="2656339"/>
                  <a:pt x="733946" y="2655719"/>
                </a:cubicBezTo>
                <a:cubicBezTo>
                  <a:pt x="730951" y="2652157"/>
                  <a:pt x="729196" y="2648284"/>
                  <a:pt x="729092" y="2644412"/>
                </a:cubicBezTo>
                <a:cubicBezTo>
                  <a:pt x="729092" y="2640384"/>
                  <a:pt x="730538" y="2636667"/>
                  <a:pt x="734152" y="2632950"/>
                </a:cubicBezTo>
                <a:close/>
                <a:moveTo>
                  <a:pt x="1080473" y="2632020"/>
                </a:moveTo>
                <a:cubicBezTo>
                  <a:pt x="1086359" y="2632484"/>
                  <a:pt x="1083777" y="2638835"/>
                  <a:pt x="1081402" y="2639765"/>
                </a:cubicBezTo>
                <a:cubicBezTo>
                  <a:pt x="1078925" y="2639455"/>
                  <a:pt x="1077995" y="2637751"/>
                  <a:pt x="1078099" y="2636047"/>
                </a:cubicBezTo>
                <a:cubicBezTo>
                  <a:pt x="1078202" y="2634344"/>
                  <a:pt x="1079234" y="2632484"/>
                  <a:pt x="1080473" y="2632020"/>
                </a:cubicBezTo>
                <a:close/>
                <a:moveTo>
                  <a:pt x="1000037" y="2631710"/>
                </a:moveTo>
                <a:cubicBezTo>
                  <a:pt x="1001069" y="2631555"/>
                  <a:pt x="1001895" y="2631865"/>
                  <a:pt x="1002721" y="2632484"/>
                </a:cubicBezTo>
                <a:cubicBezTo>
                  <a:pt x="1006232" y="2635273"/>
                  <a:pt x="1006335" y="2640539"/>
                  <a:pt x="1003547" y="2645341"/>
                </a:cubicBezTo>
                <a:lnTo>
                  <a:pt x="1002928" y="2646116"/>
                </a:lnTo>
                <a:lnTo>
                  <a:pt x="1012428" y="2650143"/>
                </a:lnTo>
                <a:lnTo>
                  <a:pt x="1015215" y="2650918"/>
                </a:lnTo>
                <a:lnTo>
                  <a:pt x="1016145" y="2650298"/>
                </a:lnTo>
                <a:cubicBezTo>
                  <a:pt x="1017281" y="2649988"/>
                  <a:pt x="1018313" y="2649678"/>
                  <a:pt x="1019243" y="2648749"/>
                </a:cubicBezTo>
                <a:lnTo>
                  <a:pt x="1019759" y="2650298"/>
                </a:lnTo>
                <a:lnTo>
                  <a:pt x="1021617" y="2649523"/>
                </a:lnTo>
                <a:cubicBezTo>
                  <a:pt x="1022443" y="2649059"/>
                  <a:pt x="1023372" y="2648904"/>
                  <a:pt x="1024818" y="2649368"/>
                </a:cubicBezTo>
                <a:cubicBezTo>
                  <a:pt x="1024508" y="2651692"/>
                  <a:pt x="1023579" y="2653396"/>
                  <a:pt x="1023269" y="2655719"/>
                </a:cubicBezTo>
                <a:lnTo>
                  <a:pt x="1019965" y="2654635"/>
                </a:lnTo>
                <a:lnTo>
                  <a:pt x="1018933" y="2656494"/>
                </a:lnTo>
                <a:cubicBezTo>
                  <a:pt x="1018003" y="2657423"/>
                  <a:pt x="1018003" y="2657423"/>
                  <a:pt x="1017074" y="2657578"/>
                </a:cubicBezTo>
                <a:cubicBezTo>
                  <a:pt x="1016248" y="2658042"/>
                  <a:pt x="1015525" y="2658353"/>
                  <a:pt x="1014802" y="2658662"/>
                </a:cubicBezTo>
                <a:lnTo>
                  <a:pt x="1014389" y="2658662"/>
                </a:lnTo>
                <a:lnTo>
                  <a:pt x="1013564" y="2659746"/>
                </a:lnTo>
                <a:cubicBezTo>
                  <a:pt x="1011911" y="2662535"/>
                  <a:pt x="1010879" y="2665632"/>
                  <a:pt x="1009743" y="2668421"/>
                </a:cubicBezTo>
                <a:lnTo>
                  <a:pt x="1011292" y="2669195"/>
                </a:lnTo>
                <a:cubicBezTo>
                  <a:pt x="1012325" y="2670434"/>
                  <a:pt x="1013047" y="2671829"/>
                  <a:pt x="1014286" y="2672603"/>
                </a:cubicBezTo>
                <a:lnTo>
                  <a:pt x="1014080" y="2672913"/>
                </a:lnTo>
                <a:lnTo>
                  <a:pt x="1018520" y="2677869"/>
                </a:lnTo>
                <a:cubicBezTo>
                  <a:pt x="1019655" y="2680038"/>
                  <a:pt x="1020378" y="2682516"/>
                  <a:pt x="1020172" y="2684685"/>
                </a:cubicBezTo>
                <a:cubicBezTo>
                  <a:pt x="1015009" y="2690571"/>
                  <a:pt x="1007265" y="2688867"/>
                  <a:pt x="1003341" y="2683755"/>
                </a:cubicBezTo>
                <a:lnTo>
                  <a:pt x="1001173" y="2678489"/>
                </a:lnTo>
                <a:lnTo>
                  <a:pt x="1000553" y="2678799"/>
                </a:lnTo>
                <a:cubicBezTo>
                  <a:pt x="997868" y="2680038"/>
                  <a:pt x="995184" y="2680503"/>
                  <a:pt x="992809" y="2680503"/>
                </a:cubicBezTo>
                <a:lnTo>
                  <a:pt x="988782" y="2679728"/>
                </a:lnTo>
                <a:lnTo>
                  <a:pt x="988679" y="2679883"/>
                </a:lnTo>
                <a:cubicBezTo>
                  <a:pt x="987233" y="2680812"/>
                  <a:pt x="984961" y="2680812"/>
                  <a:pt x="982483" y="2679418"/>
                </a:cubicBezTo>
                <a:lnTo>
                  <a:pt x="983722" y="2677405"/>
                </a:lnTo>
                <a:lnTo>
                  <a:pt x="980728" y="2675236"/>
                </a:lnTo>
                <a:lnTo>
                  <a:pt x="978869" y="2672293"/>
                </a:lnTo>
                <a:lnTo>
                  <a:pt x="976495" y="2671518"/>
                </a:lnTo>
                <a:lnTo>
                  <a:pt x="977011" y="2673687"/>
                </a:lnTo>
                <a:cubicBezTo>
                  <a:pt x="976804" y="2674617"/>
                  <a:pt x="976288" y="2675546"/>
                  <a:pt x="975462" y="2676630"/>
                </a:cubicBezTo>
                <a:cubicBezTo>
                  <a:pt x="972777" y="2676785"/>
                  <a:pt x="968544" y="2673687"/>
                  <a:pt x="968750" y="2671209"/>
                </a:cubicBezTo>
                <a:cubicBezTo>
                  <a:pt x="969576" y="2670279"/>
                  <a:pt x="970505" y="2669505"/>
                  <a:pt x="971435" y="2668575"/>
                </a:cubicBezTo>
                <a:lnTo>
                  <a:pt x="972674" y="2669195"/>
                </a:lnTo>
                <a:lnTo>
                  <a:pt x="968854" y="2666562"/>
                </a:lnTo>
                <a:cubicBezTo>
                  <a:pt x="965239" y="2662999"/>
                  <a:pt x="963174" y="2658353"/>
                  <a:pt x="963897" y="2653241"/>
                </a:cubicBezTo>
                <a:cubicBezTo>
                  <a:pt x="964207" y="2650608"/>
                  <a:pt x="965239" y="2647820"/>
                  <a:pt x="967201" y="2645186"/>
                </a:cubicBezTo>
                <a:cubicBezTo>
                  <a:pt x="968647" y="2643328"/>
                  <a:pt x="970402" y="2642088"/>
                  <a:pt x="972364" y="2641004"/>
                </a:cubicBezTo>
                <a:lnTo>
                  <a:pt x="977114" y="2639300"/>
                </a:lnTo>
                <a:lnTo>
                  <a:pt x="977940" y="2638061"/>
                </a:lnTo>
                <a:lnTo>
                  <a:pt x="978663" y="2638835"/>
                </a:lnTo>
                <a:lnTo>
                  <a:pt x="982690" y="2637441"/>
                </a:lnTo>
                <a:cubicBezTo>
                  <a:pt x="986407" y="2636357"/>
                  <a:pt x="990434" y="2635118"/>
                  <a:pt x="994461" y="2632950"/>
                </a:cubicBezTo>
                <a:lnTo>
                  <a:pt x="994358" y="2634344"/>
                </a:lnTo>
                <a:lnTo>
                  <a:pt x="995390" y="2633569"/>
                </a:lnTo>
                <a:cubicBezTo>
                  <a:pt x="997042" y="2632484"/>
                  <a:pt x="998591" y="2631710"/>
                  <a:pt x="1000037" y="2631710"/>
                </a:cubicBezTo>
                <a:close/>
                <a:moveTo>
                  <a:pt x="1114858" y="2631246"/>
                </a:moveTo>
                <a:cubicBezTo>
                  <a:pt x="1115684" y="2630781"/>
                  <a:pt x="1116510" y="2632175"/>
                  <a:pt x="1116510" y="2632175"/>
                </a:cubicBezTo>
                <a:cubicBezTo>
                  <a:pt x="1116716" y="2634034"/>
                  <a:pt x="1114032" y="2634808"/>
                  <a:pt x="1112483" y="2635893"/>
                </a:cubicBezTo>
                <a:cubicBezTo>
                  <a:pt x="1112690" y="2637751"/>
                  <a:pt x="1108662" y="2636357"/>
                  <a:pt x="1108869" y="2638216"/>
                </a:cubicBezTo>
                <a:cubicBezTo>
                  <a:pt x="1104016" y="2637441"/>
                  <a:pt x="1102570" y="2643328"/>
                  <a:pt x="1095136" y="2643328"/>
                </a:cubicBezTo>
                <a:lnTo>
                  <a:pt x="1099472" y="2639455"/>
                </a:lnTo>
                <a:lnTo>
                  <a:pt x="1099059" y="2637287"/>
                </a:lnTo>
                <a:cubicBezTo>
                  <a:pt x="1099472" y="2636202"/>
                  <a:pt x="1100402" y="2635273"/>
                  <a:pt x="1101847" y="2634189"/>
                </a:cubicBezTo>
                <a:cubicBezTo>
                  <a:pt x="1102467" y="2635428"/>
                  <a:pt x="1102570" y="2636512"/>
                  <a:pt x="1102157" y="2637597"/>
                </a:cubicBezTo>
                <a:lnTo>
                  <a:pt x="1101951" y="2637906"/>
                </a:lnTo>
                <a:lnTo>
                  <a:pt x="1106494" y="2635273"/>
                </a:lnTo>
                <a:cubicBezTo>
                  <a:pt x="1108559" y="2634189"/>
                  <a:pt x="1110418" y="2633104"/>
                  <a:pt x="1111760" y="2631400"/>
                </a:cubicBezTo>
                <a:cubicBezTo>
                  <a:pt x="1111760" y="2631400"/>
                  <a:pt x="1111760" y="2631400"/>
                  <a:pt x="1114135" y="2631865"/>
                </a:cubicBezTo>
                <a:cubicBezTo>
                  <a:pt x="1114858" y="2631400"/>
                  <a:pt x="1114858" y="2631246"/>
                  <a:pt x="1114858" y="2631246"/>
                </a:cubicBezTo>
                <a:close/>
                <a:moveTo>
                  <a:pt x="1424110" y="2629387"/>
                </a:moveTo>
                <a:cubicBezTo>
                  <a:pt x="1425349" y="2629232"/>
                  <a:pt x="1426175" y="2629852"/>
                  <a:pt x="1426692" y="2630936"/>
                </a:cubicBezTo>
                <a:cubicBezTo>
                  <a:pt x="1428550" y="2634344"/>
                  <a:pt x="1426692" y="2641933"/>
                  <a:pt x="1419876" y="2633414"/>
                </a:cubicBezTo>
                <a:cubicBezTo>
                  <a:pt x="1421529" y="2630781"/>
                  <a:pt x="1422974" y="2629696"/>
                  <a:pt x="1424110" y="2629387"/>
                </a:cubicBezTo>
                <a:close/>
                <a:moveTo>
                  <a:pt x="1152030" y="2626908"/>
                </a:moveTo>
                <a:cubicBezTo>
                  <a:pt x="1156057" y="2628767"/>
                  <a:pt x="1155747" y="2632795"/>
                  <a:pt x="1157296" y="2636977"/>
                </a:cubicBezTo>
                <a:cubicBezTo>
                  <a:pt x="1156573" y="2637441"/>
                  <a:pt x="1156264" y="2638526"/>
                  <a:pt x="1156676" y="2639300"/>
                </a:cubicBezTo>
                <a:cubicBezTo>
                  <a:pt x="1156470" y="2640384"/>
                  <a:pt x="1156160" y="2641624"/>
                  <a:pt x="1156883" y="2641159"/>
                </a:cubicBezTo>
                <a:cubicBezTo>
                  <a:pt x="1156057" y="2644567"/>
                  <a:pt x="1156573" y="2645341"/>
                  <a:pt x="1153889" y="2645651"/>
                </a:cubicBezTo>
                <a:cubicBezTo>
                  <a:pt x="1150894" y="2639300"/>
                  <a:pt x="1149655" y="2631091"/>
                  <a:pt x="1149448" y="2629232"/>
                </a:cubicBezTo>
                <a:cubicBezTo>
                  <a:pt x="1149345" y="2628303"/>
                  <a:pt x="1149552" y="2627683"/>
                  <a:pt x="1149965" y="2627373"/>
                </a:cubicBezTo>
                <a:cubicBezTo>
                  <a:pt x="1150378" y="2626908"/>
                  <a:pt x="1150997" y="2626908"/>
                  <a:pt x="1152030" y="2626908"/>
                </a:cubicBezTo>
                <a:close/>
                <a:moveTo>
                  <a:pt x="1155954" y="2626134"/>
                </a:moveTo>
                <a:cubicBezTo>
                  <a:pt x="1155954" y="2626134"/>
                  <a:pt x="1155954" y="2626134"/>
                  <a:pt x="1156780" y="2626134"/>
                </a:cubicBezTo>
                <a:cubicBezTo>
                  <a:pt x="1156780" y="2626134"/>
                  <a:pt x="1156780" y="2626908"/>
                  <a:pt x="1155954" y="2627683"/>
                </a:cubicBezTo>
                <a:cubicBezTo>
                  <a:pt x="1155954" y="2627683"/>
                  <a:pt x="1155747" y="2627528"/>
                  <a:pt x="1155644" y="2627218"/>
                </a:cubicBezTo>
                <a:cubicBezTo>
                  <a:pt x="1155644" y="2626908"/>
                  <a:pt x="1155644" y="2626444"/>
                  <a:pt x="1155954" y="2626134"/>
                </a:cubicBezTo>
                <a:close/>
                <a:moveTo>
                  <a:pt x="1117646" y="2625669"/>
                </a:moveTo>
                <a:cubicBezTo>
                  <a:pt x="1127971" y="2626753"/>
                  <a:pt x="1135612" y="2630161"/>
                  <a:pt x="1140775" y="2635273"/>
                </a:cubicBezTo>
                <a:cubicBezTo>
                  <a:pt x="1142530" y="2636977"/>
                  <a:pt x="1143976" y="2638990"/>
                  <a:pt x="1145215" y="2641159"/>
                </a:cubicBezTo>
                <a:cubicBezTo>
                  <a:pt x="1139639" y="2645651"/>
                  <a:pt x="1133650" y="2641004"/>
                  <a:pt x="1128488" y="2638990"/>
                </a:cubicBezTo>
                <a:cubicBezTo>
                  <a:pt x="1127558" y="2644877"/>
                  <a:pt x="1127971" y="2653706"/>
                  <a:pt x="1121260" y="2653861"/>
                </a:cubicBezTo>
                <a:lnTo>
                  <a:pt x="1119401" y="2650143"/>
                </a:lnTo>
                <a:lnTo>
                  <a:pt x="1116200" y="2650453"/>
                </a:lnTo>
                <a:lnTo>
                  <a:pt x="1115374" y="2649833"/>
                </a:lnTo>
                <a:lnTo>
                  <a:pt x="1114238" y="2650608"/>
                </a:lnTo>
                <a:cubicBezTo>
                  <a:pt x="1113619" y="2650918"/>
                  <a:pt x="1113205" y="2651227"/>
                  <a:pt x="1113205" y="2651227"/>
                </a:cubicBezTo>
                <a:cubicBezTo>
                  <a:pt x="1111966" y="2650762"/>
                  <a:pt x="1111347" y="2650608"/>
                  <a:pt x="1111140" y="2650143"/>
                </a:cubicBezTo>
                <a:lnTo>
                  <a:pt x="1111244" y="2648594"/>
                </a:lnTo>
                <a:lnTo>
                  <a:pt x="1109178" y="2648129"/>
                </a:lnTo>
                <a:cubicBezTo>
                  <a:pt x="1109488" y="2646271"/>
                  <a:pt x="1112070" y="2643017"/>
                  <a:pt x="1114032" y="2643328"/>
                </a:cubicBezTo>
                <a:lnTo>
                  <a:pt x="1113309" y="2645341"/>
                </a:lnTo>
                <a:lnTo>
                  <a:pt x="1114755" y="2643792"/>
                </a:lnTo>
                <a:cubicBezTo>
                  <a:pt x="1116510" y="2642708"/>
                  <a:pt x="1118472" y="2641933"/>
                  <a:pt x="1120021" y="2642243"/>
                </a:cubicBezTo>
                <a:lnTo>
                  <a:pt x="1119917" y="2644412"/>
                </a:lnTo>
                <a:lnTo>
                  <a:pt x="1121053" y="2640229"/>
                </a:lnTo>
                <a:cubicBezTo>
                  <a:pt x="1121466" y="2638526"/>
                  <a:pt x="1121776" y="2636667"/>
                  <a:pt x="1121776" y="2634963"/>
                </a:cubicBezTo>
                <a:cubicBezTo>
                  <a:pt x="1120743" y="2632640"/>
                  <a:pt x="1118059" y="2632175"/>
                  <a:pt x="1117439" y="2629387"/>
                </a:cubicBezTo>
                <a:cubicBezTo>
                  <a:pt x="1117232" y="2628457"/>
                  <a:pt x="1117232" y="2627373"/>
                  <a:pt x="1117646" y="2625669"/>
                </a:cubicBezTo>
                <a:close/>
                <a:moveTo>
                  <a:pt x="628004" y="2624895"/>
                </a:moveTo>
                <a:cubicBezTo>
                  <a:pt x="628830" y="2625360"/>
                  <a:pt x="629553" y="2625979"/>
                  <a:pt x="629967" y="2627064"/>
                </a:cubicBezTo>
                <a:cubicBezTo>
                  <a:pt x="632754" y="2632640"/>
                  <a:pt x="628418" y="2639300"/>
                  <a:pt x="620880" y="2641159"/>
                </a:cubicBezTo>
                <a:cubicBezTo>
                  <a:pt x="609315" y="2644257"/>
                  <a:pt x="602087" y="2640539"/>
                  <a:pt x="602087" y="2640539"/>
                </a:cubicBezTo>
                <a:cubicBezTo>
                  <a:pt x="601364" y="2638681"/>
                  <a:pt x="601158" y="2636977"/>
                  <a:pt x="601364" y="2635428"/>
                </a:cubicBezTo>
                <a:cubicBezTo>
                  <a:pt x="601984" y="2631091"/>
                  <a:pt x="606321" y="2628612"/>
                  <a:pt x="610967" y="2627064"/>
                </a:cubicBezTo>
                <a:cubicBezTo>
                  <a:pt x="613136" y="2626289"/>
                  <a:pt x="615201" y="2625825"/>
                  <a:pt x="617163" y="2625360"/>
                </a:cubicBezTo>
                <a:cubicBezTo>
                  <a:pt x="620983" y="2624275"/>
                  <a:pt x="625320" y="2623501"/>
                  <a:pt x="628004" y="2624895"/>
                </a:cubicBezTo>
                <a:close/>
                <a:moveTo>
                  <a:pt x="1385750" y="2624527"/>
                </a:moveTo>
                <a:cubicBezTo>
                  <a:pt x="1387609" y="2623346"/>
                  <a:pt x="1389984" y="2623501"/>
                  <a:pt x="1391791" y="2624585"/>
                </a:cubicBezTo>
                <a:cubicBezTo>
                  <a:pt x="1392927" y="2625205"/>
                  <a:pt x="1393856" y="2626444"/>
                  <a:pt x="1394166" y="2627838"/>
                </a:cubicBezTo>
                <a:cubicBezTo>
                  <a:pt x="1394682" y="2629696"/>
                  <a:pt x="1394062" y="2632175"/>
                  <a:pt x="1391688" y="2634808"/>
                </a:cubicBezTo>
                <a:cubicBezTo>
                  <a:pt x="1387351" y="2635118"/>
                  <a:pt x="1385699" y="2633259"/>
                  <a:pt x="1382807" y="2632484"/>
                </a:cubicBezTo>
                <a:cubicBezTo>
                  <a:pt x="1382549" y="2628225"/>
                  <a:pt x="1383892" y="2625708"/>
                  <a:pt x="1385750" y="2624527"/>
                </a:cubicBezTo>
                <a:close/>
                <a:moveTo>
                  <a:pt x="1373140" y="2623462"/>
                </a:moveTo>
                <a:cubicBezTo>
                  <a:pt x="1376896" y="2623501"/>
                  <a:pt x="1380278" y="2624818"/>
                  <a:pt x="1381775" y="2629387"/>
                </a:cubicBezTo>
                <a:cubicBezTo>
                  <a:pt x="1376199" y="2636977"/>
                  <a:pt x="1360401" y="2637906"/>
                  <a:pt x="1360917" y="2629387"/>
                </a:cubicBezTo>
                <a:cubicBezTo>
                  <a:pt x="1361021" y="2628303"/>
                  <a:pt x="1361433" y="2626908"/>
                  <a:pt x="1362260" y="2625205"/>
                </a:cubicBezTo>
                <a:cubicBezTo>
                  <a:pt x="1365254" y="2624663"/>
                  <a:pt x="1369384" y="2623423"/>
                  <a:pt x="1373140" y="2623462"/>
                </a:cubicBezTo>
                <a:close/>
                <a:moveTo>
                  <a:pt x="1092554" y="2622417"/>
                </a:moveTo>
                <a:cubicBezTo>
                  <a:pt x="1093277" y="2622571"/>
                  <a:pt x="1094103" y="2623036"/>
                  <a:pt x="1094929" y="2623656"/>
                </a:cubicBezTo>
                <a:cubicBezTo>
                  <a:pt x="1097304" y="2625979"/>
                  <a:pt x="1099576" y="2630626"/>
                  <a:pt x="1100298" y="2633259"/>
                </a:cubicBezTo>
                <a:cubicBezTo>
                  <a:pt x="1097201" y="2633104"/>
                  <a:pt x="1093484" y="2625979"/>
                  <a:pt x="1092554" y="2622417"/>
                </a:cubicBezTo>
                <a:close/>
                <a:moveTo>
                  <a:pt x="1281823" y="2621177"/>
                </a:moveTo>
                <a:cubicBezTo>
                  <a:pt x="1282236" y="2621487"/>
                  <a:pt x="1282546" y="2621952"/>
                  <a:pt x="1282959" y="2622417"/>
                </a:cubicBezTo>
                <a:cubicBezTo>
                  <a:pt x="1283682" y="2623346"/>
                  <a:pt x="1284404" y="2624275"/>
                  <a:pt x="1285127" y="2625050"/>
                </a:cubicBezTo>
                <a:cubicBezTo>
                  <a:pt x="1285127" y="2625050"/>
                  <a:pt x="1285230" y="2625205"/>
                  <a:pt x="1280481" y="2621332"/>
                </a:cubicBezTo>
                <a:cubicBezTo>
                  <a:pt x="1280997" y="2621022"/>
                  <a:pt x="1281410" y="2621022"/>
                  <a:pt x="1281823" y="2621177"/>
                </a:cubicBezTo>
                <a:close/>
                <a:moveTo>
                  <a:pt x="5051859" y="2620735"/>
                </a:moveTo>
                <a:cubicBezTo>
                  <a:pt x="5077683" y="2635531"/>
                  <a:pt x="5060822" y="2645632"/>
                  <a:pt x="5043535" y="2654594"/>
                </a:cubicBezTo>
                <a:lnTo>
                  <a:pt x="5030730" y="2661708"/>
                </a:lnTo>
                <a:lnTo>
                  <a:pt x="5033078" y="2663415"/>
                </a:lnTo>
                <a:lnTo>
                  <a:pt x="5027956" y="2663273"/>
                </a:lnTo>
                <a:lnTo>
                  <a:pt x="5027742" y="2663415"/>
                </a:lnTo>
                <a:lnTo>
                  <a:pt x="5027529" y="2663273"/>
                </a:lnTo>
                <a:lnTo>
                  <a:pt x="5007681" y="2662562"/>
                </a:lnTo>
                <a:cubicBezTo>
                  <a:pt x="4999144" y="2661423"/>
                  <a:pt x="4990607" y="2658721"/>
                  <a:pt x="4982071" y="2652461"/>
                </a:cubicBezTo>
                <a:cubicBezTo>
                  <a:pt x="4986339" y="2648904"/>
                  <a:pt x="4990821" y="2647339"/>
                  <a:pt x="4995729" y="2646912"/>
                </a:cubicBezTo>
                <a:cubicBezTo>
                  <a:pt x="4999358" y="2646628"/>
                  <a:pt x="5002986" y="2647055"/>
                  <a:pt x="5006614" y="2647908"/>
                </a:cubicBezTo>
                <a:lnTo>
                  <a:pt x="5013230" y="2650611"/>
                </a:lnTo>
                <a:lnTo>
                  <a:pt x="5008962" y="2642787"/>
                </a:lnTo>
                <a:cubicBezTo>
                  <a:pt x="5020059" y="2627990"/>
                  <a:pt x="5035852" y="2624434"/>
                  <a:pt x="5051859" y="2620735"/>
                </a:cubicBezTo>
                <a:close/>
                <a:moveTo>
                  <a:pt x="961109" y="2618544"/>
                </a:moveTo>
                <a:cubicBezTo>
                  <a:pt x="961625" y="2618699"/>
                  <a:pt x="962142" y="2619163"/>
                  <a:pt x="962658" y="2619783"/>
                </a:cubicBezTo>
                <a:cubicBezTo>
                  <a:pt x="962658" y="2619783"/>
                  <a:pt x="962658" y="2619783"/>
                  <a:pt x="962555" y="2620558"/>
                </a:cubicBezTo>
                <a:cubicBezTo>
                  <a:pt x="962348" y="2622262"/>
                  <a:pt x="962142" y="2623036"/>
                  <a:pt x="962038" y="2623965"/>
                </a:cubicBezTo>
                <a:cubicBezTo>
                  <a:pt x="961006" y="2624740"/>
                  <a:pt x="958115" y="2626134"/>
                  <a:pt x="957392" y="2625360"/>
                </a:cubicBezTo>
                <a:cubicBezTo>
                  <a:pt x="956669" y="2624430"/>
                  <a:pt x="956256" y="2623346"/>
                  <a:pt x="956050" y="2622417"/>
                </a:cubicBezTo>
                <a:cubicBezTo>
                  <a:pt x="955843" y="2621487"/>
                  <a:pt x="956050" y="2620558"/>
                  <a:pt x="956463" y="2620248"/>
                </a:cubicBezTo>
                <a:cubicBezTo>
                  <a:pt x="958011" y="2619009"/>
                  <a:pt x="959560" y="2617924"/>
                  <a:pt x="961109" y="2618544"/>
                </a:cubicBezTo>
                <a:close/>
                <a:moveTo>
                  <a:pt x="898846" y="2618234"/>
                </a:moveTo>
                <a:cubicBezTo>
                  <a:pt x="906383" y="2623811"/>
                  <a:pt x="902666" y="2631246"/>
                  <a:pt x="903389" y="2632950"/>
                </a:cubicBezTo>
                <a:cubicBezTo>
                  <a:pt x="901427" y="2634808"/>
                  <a:pt x="900911" y="2635428"/>
                  <a:pt x="898639" y="2633879"/>
                </a:cubicBezTo>
                <a:lnTo>
                  <a:pt x="896470" y="2632175"/>
                </a:lnTo>
                <a:lnTo>
                  <a:pt x="894612" y="2633569"/>
                </a:lnTo>
                <a:cubicBezTo>
                  <a:pt x="893786" y="2632640"/>
                  <a:pt x="892960" y="2631865"/>
                  <a:pt x="892134" y="2631091"/>
                </a:cubicBezTo>
                <a:lnTo>
                  <a:pt x="894096" y="2627683"/>
                </a:lnTo>
                <a:lnTo>
                  <a:pt x="894302" y="2625050"/>
                </a:lnTo>
                <a:cubicBezTo>
                  <a:pt x="893476" y="2623501"/>
                  <a:pt x="893580" y="2621022"/>
                  <a:pt x="894612" y="2619319"/>
                </a:cubicBezTo>
                <a:cubicBezTo>
                  <a:pt x="896367" y="2617615"/>
                  <a:pt x="898020" y="2617460"/>
                  <a:pt x="898846" y="2618234"/>
                </a:cubicBezTo>
                <a:close/>
                <a:moveTo>
                  <a:pt x="5205521" y="2618174"/>
                </a:moveTo>
                <a:cubicBezTo>
                  <a:pt x="5196131" y="2621873"/>
                  <a:pt x="5186740" y="2630694"/>
                  <a:pt x="5177136" y="2640368"/>
                </a:cubicBezTo>
                <a:cubicBezTo>
                  <a:pt x="5181191" y="2644209"/>
                  <a:pt x="5186527" y="2635246"/>
                  <a:pt x="5190581" y="2639656"/>
                </a:cubicBezTo>
                <a:cubicBezTo>
                  <a:pt x="5186527" y="2641933"/>
                  <a:pt x="5186740" y="2644209"/>
                  <a:pt x="5186740" y="2646343"/>
                </a:cubicBezTo>
                <a:lnTo>
                  <a:pt x="5186527" y="2647055"/>
                </a:lnTo>
                <a:lnTo>
                  <a:pt x="5188234" y="2647908"/>
                </a:lnTo>
                <a:lnTo>
                  <a:pt x="5185460" y="2652319"/>
                </a:lnTo>
                <a:lnTo>
                  <a:pt x="5191436" y="2646343"/>
                </a:lnTo>
                <a:cubicBezTo>
                  <a:pt x="5195277" y="2641221"/>
                  <a:pt x="5196771" y="2635246"/>
                  <a:pt x="5194423" y="2631547"/>
                </a:cubicBezTo>
                <a:cubicBezTo>
                  <a:pt x="5192929" y="2629271"/>
                  <a:pt x="5201679" y="2626283"/>
                  <a:pt x="5204027" y="2626283"/>
                </a:cubicBezTo>
                <a:cubicBezTo>
                  <a:pt x="5207228" y="2623295"/>
                  <a:pt x="5200826" y="2620308"/>
                  <a:pt x="5205521" y="2618174"/>
                </a:cubicBezTo>
                <a:close/>
                <a:moveTo>
                  <a:pt x="1249400" y="2617924"/>
                </a:moveTo>
                <a:cubicBezTo>
                  <a:pt x="1255596" y="2615446"/>
                  <a:pt x="1268503" y="2622571"/>
                  <a:pt x="1269948" y="2631091"/>
                </a:cubicBezTo>
                <a:cubicBezTo>
                  <a:pt x="1270465" y="2634034"/>
                  <a:pt x="1269535" y="2636977"/>
                  <a:pt x="1266748" y="2639920"/>
                </a:cubicBezTo>
                <a:cubicBezTo>
                  <a:pt x="1258074" y="2647510"/>
                  <a:pt x="1251053" y="2640075"/>
                  <a:pt x="1244134" y="2630316"/>
                </a:cubicBezTo>
                <a:cubicBezTo>
                  <a:pt x="1246509" y="2626289"/>
                  <a:pt x="1247026" y="2621952"/>
                  <a:pt x="1249400" y="2617924"/>
                </a:cubicBezTo>
                <a:close/>
                <a:moveTo>
                  <a:pt x="735804" y="2617770"/>
                </a:moveTo>
                <a:cubicBezTo>
                  <a:pt x="736424" y="2617770"/>
                  <a:pt x="737146" y="2617924"/>
                  <a:pt x="737972" y="2618544"/>
                </a:cubicBezTo>
                <a:cubicBezTo>
                  <a:pt x="739212" y="2622571"/>
                  <a:pt x="735701" y="2625825"/>
                  <a:pt x="731054" y="2622417"/>
                </a:cubicBezTo>
                <a:cubicBezTo>
                  <a:pt x="732396" y="2620093"/>
                  <a:pt x="733842" y="2617924"/>
                  <a:pt x="735804" y="2617770"/>
                </a:cubicBezTo>
                <a:close/>
                <a:moveTo>
                  <a:pt x="6558816" y="2617463"/>
                </a:moveTo>
                <a:cubicBezTo>
                  <a:pt x="6562657" y="2617463"/>
                  <a:pt x="6566499" y="2619313"/>
                  <a:pt x="6568206" y="2622585"/>
                </a:cubicBezTo>
                <a:cubicBezTo>
                  <a:pt x="6565431" y="2635815"/>
                  <a:pt x="6550705" y="2629840"/>
                  <a:pt x="6549212" y="2623011"/>
                </a:cubicBezTo>
                <a:cubicBezTo>
                  <a:pt x="6551133" y="2619028"/>
                  <a:pt x="6554975" y="2617320"/>
                  <a:pt x="6558816" y="2617463"/>
                </a:cubicBezTo>
                <a:close/>
                <a:moveTo>
                  <a:pt x="1304230" y="2616840"/>
                </a:moveTo>
                <a:cubicBezTo>
                  <a:pt x="1310735" y="2619319"/>
                  <a:pt x="1332728" y="2635428"/>
                  <a:pt x="1318892" y="2641933"/>
                </a:cubicBezTo>
                <a:cubicBezTo>
                  <a:pt x="1312077" y="2633569"/>
                  <a:pt x="1302164" y="2629542"/>
                  <a:pt x="1301442" y="2623656"/>
                </a:cubicBezTo>
                <a:cubicBezTo>
                  <a:pt x="1301235" y="2621642"/>
                  <a:pt x="1301958" y="2619473"/>
                  <a:pt x="1304230" y="2616840"/>
                </a:cubicBezTo>
                <a:close/>
                <a:moveTo>
                  <a:pt x="762548" y="2614207"/>
                </a:moveTo>
                <a:cubicBezTo>
                  <a:pt x="762548" y="2614207"/>
                  <a:pt x="763787" y="2614207"/>
                  <a:pt x="765232" y="2614517"/>
                </a:cubicBezTo>
                <a:cubicBezTo>
                  <a:pt x="766678" y="2614827"/>
                  <a:pt x="768226" y="2615292"/>
                  <a:pt x="768846" y="2616220"/>
                </a:cubicBezTo>
                <a:cubicBezTo>
                  <a:pt x="771531" y="2618854"/>
                  <a:pt x="765335" y="2621952"/>
                  <a:pt x="764922" y="2623501"/>
                </a:cubicBezTo>
                <a:cubicBezTo>
                  <a:pt x="762857" y="2624585"/>
                  <a:pt x="760689" y="2625514"/>
                  <a:pt x="759553" y="2623501"/>
                </a:cubicBezTo>
                <a:cubicBezTo>
                  <a:pt x="759037" y="2622417"/>
                  <a:pt x="758417" y="2621642"/>
                  <a:pt x="758211" y="2621022"/>
                </a:cubicBezTo>
                <a:cubicBezTo>
                  <a:pt x="758004" y="2620248"/>
                  <a:pt x="758211" y="2619473"/>
                  <a:pt x="759450" y="2618234"/>
                </a:cubicBezTo>
                <a:cubicBezTo>
                  <a:pt x="759966" y="2616685"/>
                  <a:pt x="762031" y="2615756"/>
                  <a:pt x="762548" y="2614207"/>
                </a:cubicBezTo>
                <a:close/>
                <a:moveTo>
                  <a:pt x="1134993" y="2613588"/>
                </a:moveTo>
                <a:cubicBezTo>
                  <a:pt x="1137471" y="2615136"/>
                  <a:pt x="1139949" y="2614207"/>
                  <a:pt x="1142427" y="2615756"/>
                </a:cubicBezTo>
                <a:cubicBezTo>
                  <a:pt x="1142427" y="2615756"/>
                  <a:pt x="1142427" y="2615911"/>
                  <a:pt x="1141601" y="2616685"/>
                </a:cubicBezTo>
                <a:cubicBezTo>
                  <a:pt x="1137367" y="2615136"/>
                  <a:pt x="1133134" y="2617150"/>
                  <a:pt x="1129004" y="2614672"/>
                </a:cubicBezTo>
                <a:cubicBezTo>
                  <a:pt x="1129830" y="2613897"/>
                  <a:pt x="1132514" y="2612039"/>
                  <a:pt x="1134993" y="2613588"/>
                </a:cubicBezTo>
                <a:close/>
                <a:moveTo>
                  <a:pt x="1347804" y="2612968"/>
                </a:moveTo>
                <a:cubicBezTo>
                  <a:pt x="1348733" y="2614982"/>
                  <a:pt x="1348527" y="2617770"/>
                  <a:pt x="1347597" y="2621022"/>
                </a:cubicBezTo>
                <a:lnTo>
                  <a:pt x="1345842" y="2624275"/>
                </a:lnTo>
                <a:lnTo>
                  <a:pt x="1346255" y="2624275"/>
                </a:lnTo>
                <a:cubicBezTo>
                  <a:pt x="1347391" y="2625205"/>
                  <a:pt x="1347701" y="2626134"/>
                  <a:pt x="1347494" y="2627064"/>
                </a:cubicBezTo>
                <a:cubicBezTo>
                  <a:pt x="1347288" y="2628148"/>
                  <a:pt x="1346565" y="2629077"/>
                  <a:pt x="1345532" y="2630471"/>
                </a:cubicBezTo>
                <a:cubicBezTo>
                  <a:pt x="1344499" y="2631710"/>
                  <a:pt x="1343364" y="2632020"/>
                  <a:pt x="1342228" y="2632330"/>
                </a:cubicBezTo>
                <a:lnTo>
                  <a:pt x="1339956" y="2633259"/>
                </a:lnTo>
                <a:lnTo>
                  <a:pt x="1335000" y="2638061"/>
                </a:lnTo>
                <a:cubicBezTo>
                  <a:pt x="1332212" y="2639765"/>
                  <a:pt x="1329321" y="2640384"/>
                  <a:pt x="1326533" y="2639455"/>
                </a:cubicBezTo>
                <a:cubicBezTo>
                  <a:pt x="1337168" y="2632175"/>
                  <a:pt x="1335000" y="2619009"/>
                  <a:pt x="1347804" y="2612968"/>
                </a:cubicBezTo>
                <a:close/>
                <a:moveTo>
                  <a:pt x="1339027" y="2612813"/>
                </a:moveTo>
                <a:cubicBezTo>
                  <a:pt x="1339853" y="2613742"/>
                  <a:pt x="1339750" y="2615446"/>
                  <a:pt x="1338821" y="2617150"/>
                </a:cubicBezTo>
                <a:cubicBezTo>
                  <a:pt x="1337891" y="2616375"/>
                  <a:pt x="1336136" y="2617150"/>
                  <a:pt x="1335206" y="2616375"/>
                </a:cubicBezTo>
                <a:cubicBezTo>
                  <a:pt x="1335206" y="2616375"/>
                  <a:pt x="1334484" y="2613897"/>
                  <a:pt x="1334484" y="2613897"/>
                </a:cubicBezTo>
                <a:cubicBezTo>
                  <a:pt x="1335413" y="2612968"/>
                  <a:pt x="1335413" y="2612968"/>
                  <a:pt x="1335413" y="2613897"/>
                </a:cubicBezTo>
                <a:cubicBezTo>
                  <a:pt x="1337168" y="2612968"/>
                  <a:pt x="1338098" y="2612968"/>
                  <a:pt x="1339027" y="2612813"/>
                </a:cubicBezTo>
                <a:close/>
                <a:moveTo>
                  <a:pt x="785573" y="2612813"/>
                </a:moveTo>
                <a:cubicBezTo>
                  <a:pt x="792079" y="2615756"/>
                  <a:pt x="796209" y="2620558"/>
                  <a:pt x="798274" y="2625979"/>
                </a:cubicBezTo>
                <a:cubicBezTo>
                  <a:pt x="801578" y="2634808"/>
                  <a:pt x="798894" y="2645186"/>
                  <a:pt x="790736" y="2651227"/>
                </a:cubicBezTo>
                <a:cubicBezTo>
                  <a:pt x="789704" y="2650453"/>
                  <a:pt x="788671" y="2649833"/>
                  <a:pt x="788052" y="2650762"/>
                </a:cubicBezTo>
                <a:cubicBezTo>
                  <a:pt x="780721" y="2646890"/>
                  <a:pt x="776693" y="2638990"/>
                  <a:pt x="776074" y="2631246"/>
                </a:cubicBezTo>
                <a:cubicBezTo>
                  <a:pt x="775558" y="2623346"/>
                  <a:pt x="778656" y="2615911"/>
                  <a:pt x="785573" y="2612813"/>
                </a:cubicBezTo>
                <a:close/>
                <a:moveTo>
                  <a:pt x="1127352" y="2612193"/>
                </a:moveTo>
                <a:cubicBezTo>
                  <a:pt x="1129107" y="2612968"/>
                  <a:pt x="1121569" y="2622571"/>
                  <a:pt x="1119711" y="2625205"/>
                </a:cubicBezTo>
                <a:cubicBezTo>
                  <a:pt x="1118885" y="2625360"/>
                  <a:pt x="1118885" y="2625360"/>
                  <a:pt x="1118885" y="2625360"/>
                </a:cubicBezTo>
                <a:cubicBezTo>
                  <a:pt x="1118059" y="2624895"/>
                  <a:pt x="1117852" y="2624275"/>
                  <a:pt x="1118162" y="2623501"/>
                </a:cubicBezTo>
                <a:cubicBezTo>
                  <a:pt x="1118368" y="2622571"/>
                  <a:pt x="1119091" y="2621487"/>
                  <a:pt x="1120021" y="2620093"/>
                </a:cubicBezTo>
                <a:cubicBezTo>
                  <a:pt x="1121879" y="2617460"/>
                  <a:pt x="1125493" y="2614827"/>
                  <a:pt x="1126422" y="2613897"/>
                </a:cubicBezTo>
                <a:cubicBezTo>
                  <a:pt x="1127352" y="2613123"/>
                  <a:pt x="1127352" y="2612193"/>
                  <a:pt x="1127352" y="2612193"/>
                </a:cubicBezTo>
                <a:close/>
                <a:moveTo>
                  <a:pt x="1360401" y="2610644"/>
                </a:moveTo>
                <a:cubicBezTo>
                  <a:pt x="1361640" y="2610799"/>
                  <a:pt x="1363499" y="2610180"/>
                  <a:pt x="1365254" y="2610954"/>
                </a:cubicBezTo>
                <a:cubicBezTo>
                  <a:pt x="1366287" y="2615446"/>
                  <a:pt x="1361640" y="2615292"/>
                  <a:pt x="1360298" y="2613278"/>
                </a:cubicBezTo>
                <a:cubicBezTo>
                  <a:pt x="1359781" y="2612658"/>
                  <a:pt x="1359781" y="2611729"/>
                  <a:pt x="1360401" y="2610644"/>
                </a:cubicBezTo>
                <a:close/>
                <a:moveTo>
                  <a:pt x="713294" y="2610625"/>
                </a:moveTo>
                <a:cubicBezTo>
                  <a:pt x="715850" y="2609638"/>
                  <a:pt x="718922" y="2609870"/>
                  <a:pt x="722587" y="2612348"/>
                </a:cubicBezTo>
                <a:cubicBezTo>
                  <a:pt x="724343" y="2612813"/>
                  <a:pt x="723413" y="2612968"/>
                  <a:pt x="724343" y="2613742"/>
                </a:cubicBezTo>
                <a:cubicBezTo>
                  <a:pt x="725272" y="2614362"/>
                  <a:pt x="727027" y="2614982"/>
                  <a:pt x="727957" y="2614827"/>
                </a:cubicBezTo>
                <a:cubicBezTo>
                  <a:pt x="725479" y="2618544"/>
                  <a:pt x="728163" y="2619938"/>
                  <a:pt x="724136" y="2625514"/>
                </a:cubicBezTo>
                <a:cubicBezTo>
                  <a:pt x="720522" y="2631091"/>
                  <a:pt x="716185" y="2632020"/>
                  <a:pt x="712778" y="2631246"/>
                </a:cubicBezTo>
                <a:lnTo>
                  <a:pt x="710093" y="2630316"/>
                </a:lnTo>
                <a:lnTo>
                  <a:pt x="708338" y="2632330"/>
                </a:lnTo>
                <a:cubicBezTo>
                  <a:pt x="703485" y="2625825"/>
                  <a:pt x="699664" y="2635118"/>
                  <a:pt x="695534" y="2630316"/>
                </a:cubicBezTo>
                <a:cubicBezTo>
                  <a:pt x="695018" y="2627838"/>
                  <a:pt x="693469" y="2625514"/>
                  <a:pt x="693882" y="2622571"/>
                </a:cubicBezTo>
                <a:cubicBezTo>
                  <a:pt x="694089" y="2621642"/>
                  <a:pt x="694398" y="2620713"/>
                  <a:pt x="695121" y="2619628"/>
                </a:cubicBezTo>
                <a:cubicBezTo>
                  <a:pt x="698116" y="2621487"/>
                  <a:pt x="700800" y="2622726"/>
                  <a:pt x="703588" y="2623501"/>
                </a:cubicBezTo>
                <a:lnTo>
                  <a:pt x="705860" y="2624275"/>
                </a:lnTo>
                <a:lnTo>
                  <a:pt x="705240" y="2621642"/>
                </a:lnTo>
                <a:cubicBezTo>
                  <a:pt x="705137" y="2620093"/>
                  <a:pt x="705654" y="2618234"/>
                  <a:pt x="707099" y="2616220"/>
                </a:cubicBezTo>
                <a:cubicBezTo>
                  <a:pt x="708699" y="2613820"/>
                  <a:pt x="710739" y="2611613"/>
                  <a:pt x="713294" y="2610625"/>
                </a:cubicBezTo>
                <a:close/>
                <a:moveTo>
                  <a:pt x="922595" y="2610025"/>
                </a:moveTo>
                <a:cubicBezTo>
                  <a:pt x="925795" y="2612348"/>
                  <a:pt x="923318" y="2615601"/>
                  <a:pt x="920942" y="2615292"/>
                </a:cubicBezTo>
                <a:cubicBezTo>
                  <a:pt x="920117" y="2615136"/>
                  <a:pt x="919290" y="2614672"/>
                  <a:pt x="918774" y="2613432"/>
                </a:cubicBezTo>
                <a:cubicBezTo>
                  <a:pt x="919806" y="2612039"/>
                  <a:pt x="920736" y="2611419"/>
                  <a:pt x="922595" y="2610025"/>
                </a:cubicBezTo>
                <a:close/>
                <a:moveTo>
                  <a:pt x="1348320" y="2607237"/>
                </a:moveTo>
                <a:cubicBezTo>
                  <a:pt x="1349456" y="2607546"/>
                  <a:pt x="1349456" y="2607546"/>
                  <a:pt x="1349146" y="2608631"/>
                </a:cubicBezTo>
                <a:cubicBezTo>
                  <a:pt x="1348423" y="2608940"/>
                  <a:pt x="1347701" y="2609405"/>
                  <a:pt x="1347288" y="2608786"/>
                </a:cubicBezTo>
                <a:cubicBezTo>
                  <a:pt x="1346565" y="2609095"/>
                  <a:pt x="1346565" y="2609095"/>
                  <a:pt x="1346152" y="2608476"/>
                </a:cubicBezTo>
                <a:cubicBezTo>
                  <a:pt x="1346874" y="2608011"/>
                  <a:pt x="1347597" y="2607701"/>
                  <a:pt x="1348320" y="2607237"/>
                </a:cubicBezTo>
                <a:close/>
                <a:moveTo>
                  <a:pt x="837822" y="2606927"/>
                </a:moveTo>
                <a:cubicBezTo>
                  <a:pt x="840609" y="2606617"/>
                  <a:pt x="843191" y="2609715"/>
                  <a:pt x="846288" y="2611419"/>
                </a:cubicBezTo>
                <a:cubicBezTo>
                  <a:pt x="844430" y="2613278"/>
                  <a:pt x="842571" y="2613742"/>
                  <a:pt x="840712" y="2613278"/>
                </a:cubicBezTo>
                <a:cubicBezTo>
                  <a:pt x="838957" y="2612813"/>
                  <a:pt x="836995" y="2611109"/>
                  <a:pt x="835033" y="2608786"/>
                </a:cubicBezTo>
                <a:cubicBezTo>
                  <a:pt x="835962" y="2607701"/>
                  <a:pt x="836995" y="2607082"/>
                  <a:pt x="837822" y="2606927"/>
                </a:cubicBezTo>
                <a:close/>
                <a:moveTo>
                  <a:pt x="1130862" y="2606152"/>
                </a:moveTo>
                <a:cubicBezTo>
                  <a:pt x="1130862" y="2606152"/>
                  <a:pt x="1130966" y="2605378"/>
                  <a:pt x="1133444" y="2606927"/>
                </a:cubicBezTo>
                <a:cubicBezTo>
                  <a:pt x="1132514" y="2607856"/>
                  <a:pt x="1129830" y="2610335"/>
                  <a:pt x="1129830" y="2610335"/>
                </a:cubicBezTo>
                <a:cubicBezTo>
                  <a:pt x="1129727" y="2611264"/>
                  <a:pt x="1129830" y="2611264"/>
                  <a:pt x="1128900" y="2612193"/>
                </a:cubicBezTo>
                <a:cubicBezTo>
                  <a:pt x="1128074" y="2611419"/>
                  <a:pt x="1128074" y="2611419"/>
                  <a:pt x="1128178" y="2610489"/>
                </a:cubicBezTo>
                <a:cubicBezTo>
                  <a:pt x="1129004" y="2609715"/>
                  <a:pt x="1129830" y="2609560"/>
                  <a:pt x="1130759" y="2608786"/>
                </a:cubicBezTo>
                <a:cubicBezTo>
                  <a:pt x="1129107" y="2607082"/>
                  <a:pt x="1129107" y="2608011"/>
                  <a:pt x="1130036" y="2607082"/>
                </a:cubicBezTo>
                <a:cubicBezTo>
                  <a:pt x="1130036" y="2607082"/>
                  <a:pt x="1130036" y="2607082"/>
                  <a:pt x="1130862" y="2606152"/>
                </a:cubicBezTo>
                <a:close/>
                <a:moveTo>
                  <a:pt x="949854" y="2605378"/>
                </a:moveTo>
                <a:cubicBezTo>
                  <a:pt x="949957" y="2606307"/>
                  <a:pt x="950784" y="2606152"/>
                  <a:pt x="951713" y="2606152"/>
                </a:cubicBezTo>
                <a:cubicBezTo>
                  <a:pt x="953571" y="2607546"/>
                  <a:pt x="955430" y="2609715"/>
                  <a:pt x="954604" y="2611574"/>
                </a:cubicBezTo>
                <a:cubicBezTo>
                  <a:pt x="952952" y="2613432"/>
                  <a:pt x="951196" y="2612968"/>
                  <a:pt x="950267" y="2612193"/>
                </a:cubicBezTo>
                <a:cubicBezTo>
                  <a:pt x="948925" y="2612039"/>
                  <a:pt x="948202" y="2610954"/>
                  <a:pt x="947892" y="2609715"/>
                </a:cubicBezTo>
                <a:cubicBezTo>
                  <a:pt x="947583" y="2608476"/>
                  <a:pt x="947789" y="2607082"/>
                  <a:pt x="948099" y="2605688"/>
                </a:cubicBezTo>
                <a:cubicBezTo>
                  <a:pt x="948202" y="2606617"/>
                  <a:pt x="948099" y="2606463"/>
                  <a:pt x="948099" y="2606463"/>
                </a:cubicBezTo>
                <a:cubicBezTo>
                  <a:pt x="949028" y="2607237"/>
                  <a:pt x="949028" y="2606463"/>
                  <a:pt x="949957" y="2606307"/>
                </a:cubicBezTo>
                <a:cubicBezTo>
                  <a:pt x="949957" y="2606307"/>
                  <a:pt x="949028" y="2606463"/>
                  <a:pt x="949854" y="2605378"/>
                </a:cubicBezTo>
                <a:close/>
                <a:moveTo>
                  <a:pt x="866939" y="2603519"/>
                </a:moveTo>
                <a:cubicBezTo>
                  <a:pt x="876749" y="2605842"/>
                  <a:pt x="881912" y="2615292"/>
                  <a:pt x="892754" y="2622417"/>
                </a:cubicBezTo>
                <a:lnTo>
                  <a:pt x="890688" y="2623036"/>
                </a:lnTo>
                <a:lnTo>
                  <a:pt x="891308" y="2623965"/>
                </a:lnTo>
                <a:cubicBezTo>
                  <a:pt x="890585" y="2627218"/>
                  <a:pt x="888210" y="2629232"/>
                  <a:pt x="885526" y="2629542"/>
                </a:cubicBezTo>
                <a:lnTo>
                  <a:pt x="882015" y="2628612"/>
                </a:lnTo>
                <a:lnTo>
                  <a:pt x="878607" y="2633104"/>
                </a:lnTo>
                <a:cubicBezTo>
                  <a:pt x="877471" y="2634653"/>
                  <a:pt x="876129" y="2636047"/>
                  <a:pt x="874684" y="2637131"/>
                </a:cubicBezTo>
                <a:cubicBezTo>
                  <a:pt x="872722" y="2638681"/>
                  <a:pt x="870450" y="2639610"/>
                  <a:pt x="867353" y="2639455"/>
                </a:cubicBezTo>
                <a:cubicBezTo>
                  <a:pt x="853826" y="2639920"/>
                  <a:pt x="846288" y="2627683"/>
                  <a:pt x="846908" y="2617305"/>
                </a:cubicBezTo>
                <a:cubicBezTo>
                  <a:pt x="847321" y="2610954"/>
                  <a:pt x="850832" y="2605378"/>
                  <a:pt x="857646" y="2603674"/>
                </a:cubicBezTo>
                <a:cubicBezTo>
                  <a:pt x="860228" y="2602899"/>
                  <a:pt x="863325" y="2602899"/>
                  <a:pt x="866939" y="2603519"/>
                </a:cubicBezTo>
                <a:close/>
                <a:moveTo>
                  <a:pt x="1316930" y="2602435"/>
                </a:moveTo>
                <a:cubicBezTo>
                  <a:pt x="1318686" y="2603209"/>
                  <a:pt x="1319098" y="2612039"/>
                  <a:pt x="1314968" y="2611264"/>
                </a:cubicBezTo>
                <a:cubicBezTo>
                  <a:pt x="1314039" y="2610954"/>
                  <a:pt x="1313626" y="2610180"/>
                  <a:pt x="1313523" y="2609405"/>
                </a:cubicBezTo>
                <a:cubicBezTo>
                  <a:pt x="1313110" y="2606772"/>
                  <a:pt x="1315485" y="2602899"/>
                  <a:pt x="1316930" y="2602435"/>
                </a:cubicBezTo>
                <a:close/>
                <a:moveTo>
                  <a:pt x="704427" y="2602203"/>
                </a:moveTo>
                <a:cubicBezTo>
                  <a:pt x="705963" y="2602086"/>
                  <a:pt x="707357" y="2603132"/>
                  <a:pt x="709164" y="2604139"/>
                </a:cubicBezTo>
                <a:cubicBezTo>
                  <a:pt x="708338" y="2605997"/>
                  <a:pt x="709474" y="2608321"/>
                  <a:pt x="707822" y="2610180"/>
                </a:cubicBezTo>
                <a:cubicBezTo>
                  <a:pt x="707822" y="2610180"/>
                  <a:pt x="706893" y="2611109"/>
                  <a:pt x="705240" y="2611419"/>
                </a:cubicBezTo>
                <a:cubicBezTo>
                  <a:pt x="702659" y="2613432"/>
                  <a:pt x="699974" y="2611264"/>
                  <a:pt x="699974" y="2611264"/>
                </a:cubicBezTo>
                <a:cubicBezTo>
                  <a:pt x="699974" y="2611264"/>
                  <a:pt x="699974" y="2611264"/>
                  <a:pt x="699974" y="2612193"/>
                </a:cubicBezTo>
                <a:cubicBezTo>
                  <a:pt x="699871" y="2610489"/>
                  <a:pt x="698942" y="2608940"/>
                  <a:pt x="698838" y="2607237"/>
                </a:cubicBezTo>
                <a:cubicBezTo>
                  <a:pt x="701213" y="2603597"/>
                  <a:pt x="702891" y="2602319"/>
                  <a:pt x="704427" y="2602203"/>
                </a:cubicBezTo>
                <a:close/>
                <a:moveTo>
                  <a:pt x="918361" y="2601350"/>
                </a:moveTo>
                <a:cubicBezTo>
                  <a:pt x="916606" y="2603054"/>
                  <a:pt x="917329" y="2604759"/>
                  <a:pt x="915573" y="2606463"/>
                </a:cubicBezTo>
                <a:cubicBezTo>
                  <a:pt x="913921" y="2604913"/>
                  <a:pt x="912166" y="2604139"/>
                  <a:pt x="911339" y="2603364"/>
                </a:cubicBezTo>
                <a:cubicBezTo>
                  <a:pt x="913198" y="2599802"/>
                  <a:pt x="915883" y="2598872"/>
                  <a:pt x="918361" y="2601350"/>
                </a:cubicBezTo>
                <a:close/>
                <a:moveTo>
                  <a:pt x="1404904" y="2600731"/>
                </a:moveTo>
                <a:cubicBezTo>
                  <a:pt x="1407073" y="2602125"/>
                  <a:pt x="1408415" y="2600886"/>
                  <a:pt x="1410583" y="2602280"/>
                </a:cubicBezTo>
                <a:cubicBezTo>
                  <a:pt x="1407073" y="2608166"/>
                  <a:pt x="1403768" y="2614827"/>
                  <a:pt x="1398090" y="2613278"/>
                </a:cubicBezTo>
                <a:cubicBezTo>
                  <a:pt x="1397470" y="2612193"/>
                  <a:pt x="1397367" y="2610954"/>
                  <a:pt x="1397676" y="2609715"/>
                </a:cubicBezTo>
                <a:lnTo>
                  <a:pt x="1398709" y="2607237"/>
                </a:lnTo>
                <a:lnTo>
                  <a:pt x="1398090" y="2606617"/>
                </a:lnTo>
                <a:cubicBezTo>
                  <a:pt x="1399329" y="2605223"/>
                  <a:pt x="1400568" y="2603674"/>
                  <a:pt x="1402426" y="2603054"/>
                </a:cubicBezTo>
                <a:close/>
                <a:moveTo>
                  <a:pt x="1082952" y="2600111"/>
                </a:moveTo>
                <a:cubicBezTo>
                  <a:pt x="1087185" y="2601196"/>
                  <a:pt x="1088424" y="2601815"/>
                  <a:pt x="1088734" y="2606307"/>
                </a:cubicBezTo>
                <a:cubicBezTo>
                  <a:pt x="1088734" y="2606307"/>
                  <a:pt x="1088424" y="2607237"/>
                  <a:pt x="1088424" y="2607237"/>
                </a:cubicBezTo>
                <a:cubicBezTo>
                  <a:pt x="1087598" y="2611264"/>
                  <a:pt x="1083674" y="2614827"/>
                  <a:pt x="1081712" y="2614672"/>
                </a:cubicBezTo>
                <a:cubicBezTo>
                  <a:pt x="1079957" y="2613897"/>
                  <a:pt x="1078202" y="2612039"/>
                  <a:pt x="1077892" y="2609870"/>
                </a:cubicBezTo>
                <a:cubicBezTo>
                  <a:pt x="1077892" y="2609095"/>
                  <a:pt x="1077892" y="2608321"/>
                  <a:pt x="1078202" y="2607546"/>
                </a:cubicBezTo>
                <a:cubicBezTo>
                  <a:pt x="1078615" y="2604603"/>
                  <a:pt x="1081712" y="2603364"/>
                  <a:pt x="1082952" y="2600111"/>
                </a:cubicBezTo>
                <a:close/>
                <a:moveTo>
                  <a:pt x="1075104" y="2599802"/>
                </a:moveTo>
                <a:lnTo>
                  <a:pt x="1075311" y="2600731"/>
                </a:lnTo>
                <a:lnTo>
                  <a:pt x="1076240" y="2601196"/>
                </a:lnTo>
                <a:close/>
                <a:moveTo>
                  <a:pt x="1344706" y="2599647"/>
                </a:moveTo>
                <a:lnTo>
                  <a:pt x="1345326" y="2599647"/>
                </a:lnTo>
                <a:lnTo>
                  <a:pt x="1344912" y="2600266"/>
                </a:lnTo>
                <a:cubicBezTo>
                  <a:pt x="1344706" y="2599802"/>
                  <a:pt x="1344603" y="2599647"/>
                  <a:pt x="1344706" y="2599647"/>
                </a:cubicBezTo>
                <a:close/>
                <a:moveTo>
                  <a:pt x="997146" y="2598562"/>
                </a:moveTo>
                <a:cubicBezTo>
                  <a:pt x="998281" y="2598253"/>
                  <a:pt x="998281" y="2598253"/>
                  <a:pt x="1000450" y="2599182"/>
                </a:cubicBezTo>
                <a:cubicBezTo>
                  <a:pt x="999314" y="2599647"/>
                  <a:pt x="999314" y="2599647"/>
                  <a:pt x="999624" y="2600731"/>
                </a:cubicBezTo>
                <a:cubicBezTo>
                  <a:pt x="999624" y="2600731"/>
                  <a:pt x="999624" y="2600576"/>
                  <a:pt x="1000346" y="2601041"/>
                </a:cubicBezTo>
                <a:cubicBezTo>
                  <a:pt x="999933" y="2601660"/>
                  <a:pt x="999211" y="2601350"/>
                  <a:pt x="998798" y="2602125"/>
                </a:cubicBezTo>
                <a:cubicBezTo>
                  <a:pt x="998798" y="2602125"/>
                  <a:pt x="998075" y="2601815"/>
                  <a:pt x="998075" y="2601815"/>
                </a:cubicBezTo>
                <a:cubicBezTo>
                  <a:pt x="997868" y="2602125"/>
                  <a:pt x="997868" y="2602125"/>
                  <a:pt x="997765" y="2601970"/>
                </a:cubicBezTo>
                <a:cubicBezTo>
                  <a:pt x="997765" y="2601660"/>
                  <a:pt x="997559" y="2601041"/>
                  <a:pt x="997042" y="2600421"/>
                </a:cubicBezTo>
                <a:cubicBezTo>
                  <a:pt x="996836" y="2599802"/>
                  <a:pt x="996629" y="2599492"/>
                  <a:pt x="996526" y="2599182"/>
                </a:cubicBezTo>
                <a:cubicBezTo>
                  <a:pt x="996526" y="2599027"/>
                  <a:pt x="996629" y="2598718"/>
                  <a:pt x="997146" y="2598562"/>
                </a:cubicBezTo>
                <a:close/>
                <a:moveTo>
                  <a:pt x="1349456" y="2597788"/>
                </a:moveTo>
                <a:cubicBezTo>
                  <a:pt x="1349869" y="2598562"/>
                  <a:pt x="1349869" y="2598562"/>
                  <a:pt x="1349559" y="2599647"/>
                </a:cubicBezTo>
                <a:cubicBezTo>
                  <a:pt x="1349972" y="2600266"/>
                  <a:pt x="1346152" y="2600421"/>
                  <a:pt x="1345326" y="2600886"/>
                </a:cubicBezTo>
                <a:cubicBezTo>
                  <a:pt x="1344912" y="2600111"/>
                  <a:pt x="1344912" y="2600111"/>
                  <a:pt x="1345738" y="2599802"/>
                </a:cubicBezTo>
                <a:lnTo>
                  <a:pt x="1345326" y="2599647"/>
                </a:lnTo>
                <a:lnTo>
                  <a:pt x="1346771" y="2598253"/>
                </a:lnTo>
                <a:cubicBezTo>
                  <a:pt x="1347494" y="2597943"/>
                  <a:pt x="1348423" y="2597943"/>
                  <a:pt x="1349456" y="2597788"/>
                </a:cubicBezTo>
                <a:close/>
                <a:moveTo>
                  <a:pt x="929409" y="2597633"/>
                </a:moveTo>
                <a:cubicBezTo>
                  <a:pt x="931268" y="2599027"/>
                  <a:pt x="930649" y="2603364"/>
                  <a:pt x="929823" y="2605068"/>
                </a:cubicBezTo>
                <a:cubicBezTo>
                  <a:pt x="928273" y="2607082"/>
                  <a:pt x="925589" y="2606463"/>
                  <a:pt x="923834" y="2605068"/>
                </a:cubicBezTo>
                <a:cubicBezTo>
                  <a:pt x="922904" y="2604759"/>
                  <a:pt x="922388" y="2603984"/>
                  <a:pt x="922285" y="2603054"/>
                </a:cubicBezTo>
                <a:cubicBezTo>
                  <a:pt x="922078" y="2602280"/>
                  <a:pt x="922285" y="2601196"/>
                  <a:pt x="922595" y="2600266"/>
                </a:cubicBezTo>
                <a:cubicBezTo>
                  <a:pt x="923421" y="2599337"/>
                  <a:pt x="923421" y="2599337"/>
                  <a:pt x="924247" y="2598407"/>
                </a:cubicBezTo>
                <a:cubicBezTo>
                  <a:pt x="926002" y="2598098"/>
                  <a:pt x="927654" y="2597014"/>
                  <a:pt x="929409" y="2597633"/>
                </a:cubicBezTo>
                <a:close/>
                <a:moveTo>
                  <a:pt x="973397" y="2597265"/>
                </a:moveTo>
                <a:cubicBezTo>
                  <a:pt x="974997" y="2596704"/>
                  <a:pt x="976701" y="2596239"/>
                  <a:pt x="978043" y="2597323"/>
                </a:cubicBezTo>
                <a:cubicBezTo>
                  <a:pt x="987130" y="2602899"/>
                  <a:pt x="985581" y="2605688"/>
                  <a:pt x="983309" y="2611884"/>
                </a:cubicBezTo>
                <a:cubicBezTo>
                  <a:pt x="983206" y="2611109"/>
                  <a:pt x="982483" y="2612039"/>
                  <a:pt x="982483" y="2612039"/>
                </a:cubicBezTo>
                <a:cubicBezTo>
                  <a:pt x="980831" y="2613897"/>
                  <a:pt x="985994" y="2614052"/>
                  <a:pt x="984445" y="2616840"/>
                </a:cubicBezTo>
                <a:lnTo>
                  <a:pt x="983722" y="2617305"/>
                </a:lnTo>
                <a:lnTo>
                  <a:pt x="983722" y="2617770"/>
                </a:lnTo>
                <a:lnTo>
                  <a:pt x="986820" y="2620403"/>
                </a:lnTo>
                <a:lnTo>
                  <a:pt x="986717" y="2620093"/>
                </a:lnTo>
                <a:cubicBezTo>
                  <a:pt x="987853" y="2613432"/>
                  <a:pt x="994564" y="2613897"/>
                  <a:pt x="994151" y="2613123"/>
                </a:cubicBezTo>
                <a:lnTo>
                  <a:pt x="994254" y="2612503"/>
                </a:lnTo>
                <a:lnTo>
                  <a:pt x="993222" y="2612658"/>
                </a:lnTo>
                <a:cubicBezTo>
                  <a:pt x="992602" y="2612968"/>
                  <a:pt x="992189" y="2613123"/>
                  <a:pt x="992189" y="2613123"/>
                </a:cubicBezTo>
                <a:cubicBezTo>
                  <a:pt x="990434" y="2612503"/>
                  <a:pt x="990434" y="2611729"/>
                  <a:pt x="990434" y="2612503"/>
                </a:cubicBezTo>
                <a:cubicBezTo>
                  <a:pt x="988679" y="2611109"/>
                  <a:pt x="985994" y="2609870"/>
                  <a:pt x="986717" y="2608011"/>
                </a:cubicBezTo>
                <a:cubicBezTo>
                  <a:pt x="989711" y="2603829"/>
                  <a:pt x="996010" y="2605842"/>
                  <a:pt x="1000037" y="2607237"/>
                </a:cubicBezTo>
                <a:lnTo>
                  <a:pt x="1002825" y="2608166"/>
                </a:lnTo>
                <a:lnTo>
                  <a:pt x="1004787" y="2606152"/>
                </a:lnTo>
                <a:cubicBezTo>
                  <a:pt x="1006438" y="2605997"/>
                  <a:pt x="1007884" y="2607856"/>
                  <a:pt x="1007574" y="2609560"/>
                </a:cubicBezTo>
                <a:lnTo>
                  <a:pt x="1006129" y="2611264"/>
                </a:lnTo>
                <a:lnTo>
                  <a:pt x="1007678" y="2611729"/>
                </a:lnTo>
                <a:cubicBezTo>
                  <a:pt x="1006852" y="2612658"/>
                  <a:pt x="1004477" y="2615601"/>
                  <a:pt x="1004477" y="2615601"/>
                </a:cubicBezTo>
                <a:cubicBezTo>
                  <a:pt x="1004477" y="2616375"/>
                  <a:pt x="1004477" y="2616375"/>
                  <a:pt x="1003651" y="2617305"/>
                </a:cubicBezTo>
                <a:cubicBezTo>
                  <a:pt x="1002721" y="2616531"/>
                  <a:pt x="1002825" y="2616685"/>
                  <a:pt x="1002721" y="2615756"/>
                </a:cubicBezTo>
                <a:cubicBezTo>
                  <a:pt x="1003547" y="2614827"/>
                  <a:pt x="1004373" y="2614672"/>
                  <a:pt x="1005199" y="2613742"/>
                </a:cubicBezTo>
                <a:cubicBezTo>
                  <a:pt x="1003444" y="2612348"/>
                  <a:pt x="1003444" y="2613278"/>
                  <a:pt x="1004270" y="2612348"/>
                </a:cubicBezTo>
                <a:cubicBezTo>
                  <a:pt x="1004270" y="2612348"/>
                  <a:pt x="1004270" y="2612193"/>
                  <a:pt x="1005096" y="2611264"/>
                </a:cubicBezTo>
                <a:lnTo>
                  <a:pt x="1005303" y="2611109"/>
                </a:lnTo>
                <a:lnTo>
                  <a:pt x="1005199" y="2610954"/>
                </a:lnTo>
                <a:lnTo>
                  <a:pt x="1005096" y="2611264"/>
                </a:lnTo>
                <a:lnTo>
                  <a:pt x="996526" y="2611884"/>
                </a:lnTo>
                <a:lnTo>
                  <a:pt x="996010" y="2612813"/>
                </a:lnTo>
                <a:cubicBezTo>
                  <a:pt x="996836" y="2612348"/>
                  <a:pt x="996526" y="2613588"/>
                  <a:pt x="996526" y="2613588"/>
                </a:cubicBezTo>
                <a:cubicBezTo>
                  <a:pt x="996526" y="2613588"/>
                  <a:pt x="996526" y="2613588"/>
                  <a:pt x="998901" y="2613897"/>
                </a:cubicBezTo>
                <a:cubicBezTo>
                  <a:pt x="998901" y="2613897"/>
                  <a:pt x="1004167" y="2615292"/>
                  <a:pt x="1003341" y="2620713"/>
                </a:cubicBezTo>
                <a:cubicBezTo>
                  <a:pt x="1002412" y="2620558"/>
                  <a:pt x="1001173" y="2624430"/>
                  <a:pt x="999004" y="2626599"/>
                </a:cubicBezTo>
                <a:lnTo>
                  <a:pt x="998281" y="2627064"/>
                </a:lnTo>
                <a:lnTo>
                  <a:pt x="997765" y="2627993"/>
                </a:lnTo>
                <a:cubicBezTo>
                  <a:pt x="997042" y="2629387"/>
                  <a:pt x="996216" y="2630471"/>
                  <a:pt x="995906" y="2631246"/>
                </a:cubicBezTo>
                <a:cubicBezTo>
                  <a:pt x="994977" y="2631246"/>
                  <a:pt x="994977" y="2631246"/>
                  <a:pt x="994977" y="2631246"/>
                </a:cubicBezTo>
                <a:cubicBezTo>
                  <a:pt x="994151" y="2631091"/>
                  <a:pt x="993841" y="2630316"/>
                  <a:pt x="994048" y="2629542"/>
                </a:cubicBezTo>
                <a:lnTo>
                  <a:pt x="994564" y="2628303"/>
                </a:lnTo>
                <a:lnTo>
                  <a:pt x="991260" y="2628612"/>
                </a:lnTo>
                <a:cubicBezTo>
                  <a:pt x="990640" y="2627528"/>
                  <a:pt x="989401" y="2626908"/>
                  <a:pt x="988369" y="2625825"/>
                </a:cubicBezTo>
                <a:lnTo>
                  <a:pt x="987646" y="2624585"/>
                </a:lnTo>
                <a:lnTo>
                  <a:pt x="987646" y="2626444"/>
                </a:lnTo>
                <a:cubicBezTo>
                  <a:pt x="987130" y="2627528"/>
                  <a:pt x="986200" y="2628457"/>
                  <a:pt x="984858" y="2629542"/>
                </a:cubicBezTo>
                <a:cubicBezTo>
                  <a:pt x="980418" y="2627838"/>
                  <a:pt x="973190" y="2626289"/>
                  <a:pt x="970299" y="2621642"/>
                </a:cubicBezTo>
                <a:lnTo>
                  <a:pt x="969989" y="2620558"/>
                </a:lnTo>
                <a:lnTo>
                  <a:pt x="969060" y="2619783"/>
                </a:lnTo>
                <a:lnTo>
                  <a:pt x="968854" y="2619783"/>
                </a:lnTo>
                <a:cubicBezTo>
                  <a:pt x="968854" y="2619009"/>
                  <a:pt x="967924" y="2619163"/>
                  <a:pt x="968027" y="2619938"/>
                </a:cubicBezTo>
                <a:cubicBezTo>
                  <a:pt x="966685" y="2619319"/>
                  <a:pt x="965549" y="2618699"/>
                  <a:pt x="964930" y="2618234"/>
                </a:cubicBezTo>
                <a:cubicBezTo>
                  <a:pt x="964620" y="2617924"/>
                  <a:pt x="964517" y="2617615"/>
                  <a:pt x="964620" y="2617305"/>
                </a:cubicBezTo>
                <a:cubicBezTo>
                  <a:pt x="964620" y="2616995"/>
                  <a:pt x="964723" y="2616531"/>
                  <a:pt x="965136" y="2616066"/>
                </a:cubicBezTo>
                <a:cubicBezTo>
                  <a:pt x="965962" y="2614362"/>
                  <a:pt x="967718" y="2614982"/>
                  <a:pt x="969369" y="2612968"/>
                </a:cubicBezTo>
                <a:cubicBezTo>
                  <a:pt x="971744" y="2609250"/>
                  <a:pt x="964517" y="2605223"/>
                  <a:pt x="969369" y="2597788"/>
                </a:cubicBezTo>
                <a:cubicBezTo>
                  <a:pt x="970299" y="2598485"/>
                  <a:pt x="971796" y="2597827"/>
                  <a:pt x="973397" y="2597265"/>
                </a:cubicBezTo>
                <a:close/>
                <a:moveTo>
                  <a:pt x="1205826" y="2596859"/>
                </a:moveTo>
                <a:cubicBezTo>
                  <a:pt x="1210783" y="2598253"/>
                  <a:pt x="1210886" y="2604913"/>
                  <a:pt x="1210783" y="2609095"/>
                </a:cubicBezTo>
                <a:lnTo>
                  <a:pt x="1210783" y="2610489"/>
                </a:lnTo>
                <a:lnTo>
                  <a:pt x="1212435" y="2609250"/>
                </a:lnTo>
                <a:cubicBezTo>
                  <a:pt x="1215223" y="2608011"/>
                  <a:pt x="1218217" y="2608631"/>
                  <a:pt x="1221418" y="2612348"/>
                </a:cubicBezTo>
                <a:lnTo>
                  <a:pt x="1218630" y="2618234"/>
                </a:lnTo>
                <a:lnTo>
                  <a:pt x="1230195" y="2617150"/>
                </a:lnTo>
                <a:cubicBezTo>
                  <a:pt x="1228749" y="2621952"/>
                  <a:pt x="1224619" y="2623965"/>
                  <a:pt x="1219972" y="2624585"/>
                </a:cubicBezTo>
                <a:lnTo>
                  <a:pt x="1216978" y="2624585"/>
                </a:lnTo>
                <a:lnTo>
                  <a:pt x="1215223" y="2627373"/>
                </a:lnTo>
                <a:lnTo>
                  <a:pt x="1215120" y="2627373"/>
                </a:lnTo>
                <a:lnTo>
                  <a:pt x="1214293" y="2629852"/>
                </a:lnTo>
                <a:cubicBezTo>
                  <a:pt x="1213364" y="2632640"/>
                  <a:pt x="1212435" y="2634963"/>
                  <a:pt x="1211299" y="2636822"/>
                </a:cubicBezTo>
                <a:lnTo>
                  <a:pt x="1209543" y="2638681"/>
                </a:lnTo>
                <a:lnTo>
                  <a:pt x="1210886" y="2638216"/>
                </a:lnTo>
                <a:lnTo>
                  <a:pt x="1211505" y="2638061"/>
                </a:lnTo>
                <a:lnTo>
                  <a:pt x="1212331" y="2636357"/>
                </a:lnTo>
                <a:cubicBezTo>
                  <a:pt x="1212951" y="2635583"/>
                  <a:pt x="1213674" y="2635273"/>
                  <a:pt x="1214810" y="2635738"/>
                </a:cubicBezTo>
                <a:lnTo>
                  <a:pt x="1214810" y="2637441"/>
                </a:lnTo>
                <a:lnTo>
                  <a:pt x="1215016" y="2637441"/>
                </a:lnTo>
                <a:cubicBezTo>
                  <a:pt x="1215326" y="2637441"/>
                  <a:pt x="1215636" y="2637597"/>
                  <a:pt x="1216049" y="2637287"/>
                </a:cubicBezTo>
                <a:cubicBezTo>
                  <a:pt x="1216049" y="2637287"/>
                  <a:pt x="1216772" y="2636822"/>
                  <a:pt x="1217907" y="2636977"/>
                </a:cubicBezTo>
                <a:cubicBezTo>
                  <a:pt x="1219146" y="2637131"/>
                  <a:pt x="1220386" y="2637441"/>
                  <a:pt x="1220489" y="2639300"/>
                </a:cubicBezTo>
                <a:lnTo>
                  <a:pt x="1220282" y="2639300"/>
                </a:lnTo>
                <a:lnTo>
                  <a:pt x="1222967" y="2640694"/>
                </a:lnTo>
                <a:cubicBezTo>
                  <a:pt x="1226065" y="2643328"/>
                  <a:pt x="1228646" y="2648284"/>
                  <a:pt x="1229782" y="2653396"/>
                </a:cubicBezTo>
                <a:lnTo>
                  <a:pt x="1229782" y="2660211"/>
                </a:lnTo>
                <a:lnTo>
                  <a:pt x="1231950" y="2657113"/>
                </a:lnTo>
                <a:cubicBezTo>
                  <a:pt x="1234015" y="2654325"/>
                  <a:pt x="1236494" y="2651537"/>
                  <a:pt x="1237526" y="2650143"/>
                </a:cubicBezTo>
                <a:cubicBezTo>
                  <a:pt x="1238456" y="2650298"/>
                  <a:pt x="1238456" y="2650143"/>
                  <a:pt x="1238456" y="2650143"/>
                </a:cubicBezTo>
                <a:cubicBezTo>
                  <a:pt x="1239281" y="2650608"/>
                  <a:pt x="1239385" y="2651382"/>
                  <a:pt x="1239075" y="2652157"/>
                </a:cubicBezTo>
                <a:cubicBezTo>
                  <a:pt x="1238765" y="2652931"/>
                  <a:pt x="1238042" y="2654016"/>
                  <a:pt x="1237010" y="2655254"/>
                </a:cubicBezTo>
                <a:cubicBezTo>
                  <a:pt x="1234945" y="2657888"/>
                  <a:pt x="1231124" y="2660366"/>
                  <a:pt x="1230092" y="2661141"/>
                </a:cubicBezTo>
                <a:lnTo>
                  <a:pt x="1229782" y="2661605"/>
                </a:lnTo>
                <a:lnTo>
                  <a:pt x="1229782" y="2663309"/>
                </a:lnTo>
                <a:lnTo>
                  <a:pt x="1228956" y="2665323"/>
                </a:lnTo>
                <a:lnTo>
                  <a:pt x="1229782" y="2667956"/>
                </a:lnTo>
                <a:lnTo>
                  <a:pt x="1226891" y="2668730"/>
                </a:lnTo>
                <a:lnTo>
                  <a:pt x="1234015" y="2669350"/>
                </a:lnTo>
                <a:cubicBezTo>
                  <a:pt x="1235151" y="2669350"/>
                  <a:pt x="1236184" y="2669195"/>
                  <a:pt x="1236803" y="2669040"/>
                </a:cubicBezTo>
                <a:lnTo>
                  <a:pt x="1237526" y="2668886"/>
                </a:lnTo>
                <a:lnTo>
                  <a:pt x="1237629" y="2668730"/>
                </a:lnTo>
                <a:cubicBezTo>
                  <a:pt x="1239385" y="2667336"/>
                  <a:pt x="1241243" y="2667182"/>
                  <a:pt x="1242999" y="2667646"/>
                </a:cubicBezTo>
                <a:lnTo>
                  <a:pt x="1245787" y="2668266"/>
                </a:lnTo>
                <a:lnTo>
                  <a:pt x="1245683" y="2668111"/>
                </a:lnTo>
                <a:cubicBezTo>
                  <a:pt x="1245477" y="2667646"/>
                  <a:pt x="1245580" y="2667027"/>
                  <a:pt x="1246097" y="2666407"/>
                </a:cubicBezTo>
                <a:cubicBezTo>
                  <a:pt x="1249813" y="2662689"/>
                  <a:pt x="1255802" y="2664393"/>
                  <a:pt x="1258900" y="2665323"/>
                </a:cubicBezTo>
                <a:lnTo>
                  <a:pt x="1260656" y="2665943"/>
                </a:lnTo>
                <a:lnTo>
                  <a:pt x="1260759" y="2665168"/>
                </a:lnTo>
                <a:lnTo>
                  <a:pt x="1261585" y="2666097"/>
                </a:lnTo>
                <a:lnTo>
                  <a:pt x="1261791" y="2666097"/>
                </a:lnTo>
                <a:cubicBezTo>
                  <a:pt x="1261688" y="2666872"/>
                  <a:pt x="1262514" y="2666872"/>
                  <a:pt x="1262617" y="2666097"/>
                </a:cubicBezTo>
                <a:cubicBezTo>
                  <a:pt x="1263753" y="2667027"/>
                  <a:pt x="1264786" y="2667646"/>
                  <a:pt x="1265199" y="2668266"/>
                </a:cubicBezTo>
                <a:cubicBezTo>
                  <a:pt x="1265715" y="2668886"/>
                  <a:pt x="1265612" y="2669660"/>
                  <a:pt x="1264682" y="2670434"/>
                </a:cubicBezTo>
                <a:lnTo>
                  <a:pt x="1264166" y="2670744"/>
                </a:lnTo>
                <a:lnTo>
                  <a:pt x="1265095" y="2675236"/>
                </a:lnTo>
                <a:cubicBezTo>
                  <a:pt x="1262824" y="2676785"/>
                  <a:pt x="1261068" y="2675856"/>
                  <a:pt x="1260036" y="2674307"/>
                </a:cubicBezTo>
                <a:lnTo>
                  <a:pt x="1259829" y="2673532"/>
                </a:lnTo>
                <a:lnTo>
                  <a:pt x="1259210" y="2675701"/>
                </a:lnTo>
                <a:cubicBezTo>
                  <a:pt x="1259416" y="2678799"/>
                  <a:pt x="1261791" y="2682981"/>
                  <a:pt x="1257351" y="2688093"/>
                </a:cubicBezTo>
                <a:cubicBezTo>
                  <a:pt x="1256112" y="2686699"/>
                  <a:pt x="1253221" y="2688247"/>
                  <a:pt x="1250846" y="2688093"/>
                </a:cubicBezTo>
                <a:lnTo>
                  <a:pt x="1249194" y="2687163"/>
                </a:lnTo>
                <a:lnTo>
                  <a:pt x="1250124" y="2688402"/>
                </a:lnTo>
                <a:cubicBezTo>
                  <a:pt x="1249813" y="2689487"/>
                  <a:pt x="1248265" y="2690261"/>
                  <a:pt x="1246303" y="2690261"/>
                </a:cubicBezTo>
                <a:cubicBezTo>
                  <a:pt x="1246612" y="2689022"/>
                  <a:pt x="1244857" y="2687938"/>
                  <a:pt x="1245167" y="2686853"/>
                </a:cubicBezTo>
                <a:cubicBezTo>
                  <a:pt x="1245167" y="2686853"/>
                  <a:pt x="1245580" y="2686389"/>
                  <a:pt x="1245993" y="2685769"/>
                </a:cubicBezTo>
                <a:lnTo>
                  <a:pt x="1246819" y="2684995"/>
                </a:lnTo>
                <a:lnTo>
                  <a:pt x="1245373" y="2683446"/>
                </a:lnTo>
                <a:cubicBezTo>
                  <a:pt x="1242895" y="2680348"/>
                  <a:pt x="1242999" y="2678179"/>
                  <a:pt x="1244238" y="2675546"/>
                </a:cubicBezTo>
                <a:lnTo>
                  <a:pt x="1244857" y="2674307"/>
                </a:lnTo>
                <a:lnTo>
                  <a:pt x="1244547" y="2674152"/>
                </a:lnTo>
                <a:lnTo>
                  <a:pt x="1242069" y="2673378"/>
                </a:lnTo>
                <a:lnTo>
                  <a:pt x="1242379" y="2674926"/>
                </a:lnTo>
                <a:cubicBezTo>
                  <a:pt x="1237423" y="2679728"/>
                  <a:pt x="1228853" y="2672758"/>
                  <a:pt x="1226374" y="2671829"/>
                </a:cubicBezTo>
                <a:cubicBezTo>
                  <a:pt x="1226374" y="2671829"/>
                  <a:pt x="1225548" y="2671983"/>
                  <a:pt x="1224826" y="2671054"/>
                </a:cubicBezTo>
                <a:cubicBezTo>
                  <a:pt x="1224412" y="2670899"/>
                  <a:pt x="1224206" y="2670589"/>
                  <a:pt x="1224309" y="2670434"/>
                </a:cubicBezTo>
                <a:lnTo>
                  <a:pt x="1224619" y="2669970"/>
                </a:lnTo>
                <a:lnTo>
                  <a:pt x="1224516" y="2669350"/>
                </a:lnTo>
                <a:lnTo>
                  <a:pt x="1224103" y="2669505"/>
                </a:lnTo>
                <a:lnTo>
                  <a:pt x="1221005" y="2669040"/>
                </a:lnTo>
                <a:lnTo>
                  <a:pt x="1220798" y="2670744"/>
                </a:lnTo>
                <a:cubicBezTo>
                  <a:pt x="1220902" y="2672138"/>
                  <a:pt x="1221211" y="2673378"/>
                  <a:pt x="1221728" y="2673687"/>
                </a:cubicBezTo>
                <a:cubicBezTo>
                  <a:pt x="1220902" y="2673842"/>
                  <a:pt x="1220489" y="2674926"/>
                  <a:pt x="1220489" y="2674926"/>
                </a:cubicBezTo>
                <a:cubicBezTo>
                  <a:pt x="1219353" y="2674307"/>
                  <a:pt x="1218940" y="2673532"/>
                  <a:pt x="1218630" y="2672758"/>
                </a:cubicBezTo>
                <a:cubicBezTo>
                  <a:pt x="1219146" y="2671829"/>
                  <a:pt x="1219972" y="2671518"/>
                  <a:pt x="1220489" y="2670434"/>
                </a:cubicBezTo>
                <a:lnTo>
                  <a:pt x="1220179" y="2668886"/>
                </a:lnTo>
                <a:lnTo>
                  <a:pt x="1216565" y="2668266"/>
                </a:lnTo>
                <a:cubicBezTo>
                  <a:pt x="1213880" y="2667336"/>
                  <a:pt x="1211402" y="2665943"/>
                  <a:pt x="1209647" y="2664239"/>
                </a:cubicBezTo>
                <a:cubicBezTo>
                  <a:pt x="1209854" y="2664549"/>
                  <a:pt x="1209957" y="2665013"/>
                  <a:pt x="1209854" y="2665478"/>
                </a:cubicBezTo>
                <a:cubicBezTo>
                  <a:pt x="1210370" y="2666252"/>
                  <a:pt x="1209543" y="2666717"/>
                  <a:pt x="1209234" y="2667801"/>
                </a:cubicBezTo>
                <a:lnTo>
                  <a:pt x="1208304" y="2668111"/>
                </a:lnTo>
                <a:lnTo>
                  <a:pt x="1208614" y="2669195"/>
                </a:lnTo>
                <a:cubicBezTo>
                  <a:pt x="1208821" y="2671054"/>
                  <a:pt x="1208821" y="2672758"/>
                  <a:pt x="1208304" y="2673068"/>
                </a:cubicBezTo>
                <a:cubicBezTo>
                  <a:pt x="1207995" y="2672293"/>
                  <a:pt x="1207478" y="2670279"/>
                  <a:pt x="1207065" y="2668421"/>
                </a:cubicBezTo>
                <a:lnTo>
                  <a:pt x="1207065" y="2668111"/>
                </a:lnTo>
                <a:lnTo>
                  <a:pt x="1206239" y="2668111"/>
                </a:lnTo>
                <a:cubicBezTo>
                  <a:pt x="1206033" y="2668266"/>
                  <a:pt x="1205930" y="2668575"/>
                  <a:pt x="1205826" y="2669195"/>
                </a:cubicBezTo>
                <a:cubicBezTo>
                  <a:pt x="1205826" y="2669195"/>
                  <a:pt x="1205413" y="2668421"/>
                  <a:pt x="1205413" y="2668421"/>
                </a:cubicBezTo>
                <a:cubicBezTo>
                  <a:pt x="1206136" y="2667956"/>
                  <a:pt x="1205413" y="2668421"/>
                  <a:pt x="1204174" y="2668266"/>
                </a:cubicBezTo>
                <a:cubicBezTo>
                  <a:pt x="1204071" y="2666407"/>
                  <a:pt x="1203555" y="2665787"/>
                  <a:pt x="1203865" y="2664549"/>
                </a:cubicBezTo>
                <a:lnTo>
                  <a:pt x="1197669" y="2660985"/>
                </a:lnTo>
                <a:lnTo>
                  <a:pt x="1196533" y="2659282"/>
                </a:lnTo>
                <a:lnTo>
                  <a:pt x="1194881" y="2658662"/>
                </a:lnTo>
                <a:cubicBezTo>
                  <a:pt x="1194985" y="2657888"/>
                  <a:pt x="1194881" y="2657888"/>
                  <a:pt x="1195810" y="2657888"/>
                </a:cubicBezTo>
                <a:cubicBezTo>
                  <a:pt x="1195707" y="2657733"/>
                  <a:pt x="1195707" y="2657733"/>
                  <a:pt x="1195604" y="2657733"/>
                </a:cubicBezTo>
                <a:lnTo>
                  <a:pt x="1196017" y="2657578"/>
                </a:lnTo>
                <a:lnTo>
                  <a:pt x="1195914" y="2657113"/>
                </a:lnTo>
                <a:cubicBezTo>
                  <a:pt x="1195914" y="2656339"/>
                  <a:pt x="1196120" y="2655719"/>
                  <a:pt x="1196636" y="2655099"/>
                </a:cubicBezTo>
                <a:cubicBezTo>
                  <a:pt x="1196740" y="2654325"/>
                  <a:pt x="1200147" y="2654325"/>
                  <a:pt x="1200870" y="2655254"/>
                </a:cubicBezTo>
                <a:cubicBezTo>
                  <a:pt x="1202316" y="2656958"/>
                  <a:pt x="1203142" y="2657888"/>
                  <a:pt x="1202935" y="2659437"/>
                </a:cubicBezTo>
                <a:cubicBezTo>
                  <a:pt x="1203658" y="2660366"/>
                  <a:pt x="1204381" y="2661141"/>
                  <a:pt x="1204691" y="2662070"/>
                </a:cubicBezTo>
                <a:lnTo>
                  <a:pt x="1204174" y="2663929"/>
                </a:lnTo>
                <a:lnTo>
                  <a:pt x="1204794" y="2662689"/>
                </a:lnTo>
                <a:cubicBezTo>
                  <a:pt x="1205207" y="2662225"/>
                  <a:pt x="1205826" y="2661760"/>
                  <a:pt x="1206446" y="2661915"/>
                </a:cubicBezTo>
                <a:cubicBezTo>
                  <a:pt x="1206859" y="2662535"/>
                  <a:pt x="1207582" y="2662070"/>
                  <a:pt x="1208098" y="2662844"/>
                </a:cubicBezTo>
                <a:cubicBezTo>
                  <a:pt x="1208718" y="2663154"/>
                  <a:pt x="1209028" y="2663464"/>
                  <a:pt x="1209337" y="2663774"/>
                </a:cubicBezTo>
                <a:cubicBezTo>
                  <a:pt x="1208098" y="2662380"/>
                  <a:pt x="1207169" y="2660831"/>
                  <a:pt x="1207065" y="2658972"/>
                </a:cubicBezTo>
                <a:cubicBezTo>
                  <a:pt x="1210163" y="2659901"/>
                  <a:pt x="1213054" y="2660831"/>
                  <a:pt x="1216359" y="2661760"/>
                </a:cubicBezTo>
                <a:lnTo>
                  <a:pt x="1222037" y="2662380"/>
                </a:lnTo>
                <a:lnTo>
                  <a:pt x="1222244" y="2661760"/>
                </a:lnTo>
                <a:lnTo>
                  <a:pt x="1221831" y="2660831"/>
                </a:lnTo>
                <a:lnTo>
                  <a:pt x="1221625" y="2660831"/>
                </a:lnTo>
                <a:cubicBezTo>
                  <a:pt x="1219250" y="2659127"/>
                  <a:pt x="1216668" y="2659746"/>
                  <a:pt x="1214397" y="2658042"/>
                </a:cubicBezTo>
                <a:cubicBezTo>
                  <a:pt x="1214397" y="2658042"/>
                  <a:pt x="1214397" y="2658042"/>
                  <a:pt x="1215326" y="2657113"/>
                </a:cubicBezTo>
                <a:cubicBezTo>
                  <a:pt x="1217288" y="2658042"/>
                  <a:pt x="1219456" y="2658197"/>
                  <a:pt x="1221521" y="2658353"/>
                </a:cubicBezTo>
                <a:lnTo>
                  <a:pt x="1222760" y="2658662"/>
                </a:lnTo>
                <a:lnTo>
                  <a:pt x="1222037" y="2656649"/>
                </a:lnTo>
                <a:cubicBezTo>
                  <a:pt x="1220179" y="2652621"/>
                  <a:pt x="1218217" y="2648439"/>
                  <a:pt x="1218733" y="2643483"/>
                </a:cubicBezTo>
                <a:lnTo>
                  <a:pt x="1219663" y="2639455"/>
                </a:lnTo>
                <a:lnTo>
                  <a:pt x="1215636" y="2640694"/>
                </a:lnTo>
                <a:lnTo>
                  <a:pt x="1214810" y="2641004"/>
                </a:lnTo>
                <a:lnTo>
                  <a:pt x="1214810" y="2643173"/>
                </a:lnTo>
                <a:cubicBezTo>
                  <a:pt x="1214810" y="2643173"/>
                  <a:pt x="1213261" y="2647355"/>
                  <a:pt x="1210163" y="2646735"/>
                </a:cubicBezTo>
                <a:cubicBezTo>
                  <a:pt x="1209750" y="2646890"/>
                  <a:pt x="1209131" y="2646271"/>
                  <a:pt x="1208718" y="2645341"/>
                </a:cubicBezTo>
                <a:lnTo>
                  <a:pt x="1208201" y="2643017"/>
                </a:lnTo>
                <a:lnTo>
                  <a:pt x="1204587" y="2643947"/>
                </a:lnTo>
                <a:lnTo>
                  <a:pt x="1202729" y="2645806"/>
                </a:lnTo>
                <a:lnTo>
                  <a:pt x="1202109" y="2645961"/>
                </a:lnTo>
                <a:lnTo>
                  <a:pt x="1201799" y="2646735"/>
                </a:lnTo>
                <a:cubicBezTo>
                  <a:pt x="1201799" y="2646735"/>
                  <a:pt x="1201799" y="2646890"/>
                  <a:pt x="1200973" y="2646735"/>
                </a:cubicBezTo>
                <a:lnTo>
                  <a:pt x="1201386" y="2645961"/>
                </a:lnTo>
                <a:lnTo>
                  <a:pt x="1200457" y="2646271"/>
                </a:lnTo>
                <a:lnTo>
                  <a:pt x="1200767" y="2646890"/>
                </a:lnTo>
                <a:cubicBezTo>
                  <a:pt x="1200767" y="2646890"/>
                  <a:pt x="1200044" y="2647045"/>
                  <a:pt x="1199011" y="2646735"/>
                </a:cubicBezTo>
                <a:cubicBezTo>
                  <a:pt x="1199011" y="2646735"/>
                  <a:pt x="1199115" y="2646425"/>
                  <a:pt x="1199321" y="2646271"/>
                </a:cubicBezTo>
                <a:lnTo>
                  <a:pt x="1200044" y="2646116"/>
                </a:lnTo>
                <a:lnTo>
                  <a:pt x="1197360" y="2644412"/>
                </a:lnTo>
                <a:cubicBezTo>
                  <a:pt x="1196740" y="2643483"/>
                  <a:pt x="1196327" y="2642243"/>
                  <a:pt x="1196430" y="2640849"/>
                </a:cubicBezTo>
                <a:cubicBezTo>
                  <a:pt x="1196533" y="2639145"/>
                  <a:pt x="1197256" y="2637441"/>
                  <a:pt x="1198805" y="2635893"/>
                </a:cubicBezTo>
                <a:lnTo>
                  <a:pt x="1199218" y="2635893"/>
                </a:lnTo>
                <a:lnTo>
                  <a:pt x="1200354" y="2629852"/>
                </a:lnTo>
                <a:lnTo>
                  <a:pt x="1201076" y="2627838"/>
                </a:lnTo>
                <a:lnTo>
                  <a:pt x="1200767" y="2627373"/>
                </a:lnTo>
                <a:cubicBezTo>
                  <a:pt x="1200560" y="2626444"/>
                  <a:pt x="1200664" y="2625514"/>
                  <a:pt x="1201180" y="2624275"/>
                </a:cubicBezTo>
                <a:lnTo>
                  <a:pt x="1201490" y="2623965"/>
                </a:lnTo>
                <a:lnTo>
                  <a:pt x="1201283" y="2623191"/>
                </a:lnTo>
                <a:cubicBezTo>
                  <a:pt x="1200354" y="2621177"/>
                  <a:pt x="1199631" y="2619163"/>
                  <a:pt x="1199838" y="2616840"/>
                </a:cubicBezTo>
                <a:cubicBezTo>
                  <a:pt x="1201076" y="2617305"/>
                  <a:pt x="1203761" y="2618854"/>
                  <a:pt x="1203348" y="2621797"/>
                </a:cubicBezTo>
                <a:lnTo>
                  <a:pt x="1203348" y="2622107"/>
                </a:lnTo>
                <a:lnTo>
                  <a:pt x="1205207" y="2617305"/>
                </a:lnTo>
                <a:lnTo>
                  <a:pt x="1205723" y="2616531"/>
                </a:lnTo>
                <a:lnTo>
                  <a:pt x="1204174" y="2615911"/>
                </a:lnTo>
                <a:cubicBezTo>
                  <a:pt x="1203348" y="2616220"/>
                  <a:pt x="1203348" y="2616220"/>
                  <a:pt x="1202212" y="2615756"/>
                </a:cubicBezTo>
                <a:cubicBezTo>
                  <a:pt x="1202626" y="2614672"/>
                  <a:pt x="1202626" y="2614672"/>
                  <a:pt x="1203348" y="2614362"/>
                </a:cubicBezTo>
                <a:lnTo>
                  <a:pt x="1206033" y="2616066"/>
                </a:lnTo>
                <a:lnTo>
                  <a:pt x="1206549" y="2614362"/>
                </a:lnTo>
                <a:lnTo>
                  <a:pt x="1207065" y="2614517"/>
                </a:lnTo>
                <a:lnTo>
                  <a:pt x="1207788" y="2613432"/>
                </a:lnTo>
                <a:lnTo>
                  <a:pt x="1205000" y="2606772"/>
                </a:lnTo>
                <a:cubicBezTo>
                  <a:pt x="1203761" y="2604759"/>
                  <a:pt x="1202626" y="2603519"/>
                  <a:pt x="1202626" y="2603519"/>
                </a:cubicBezTo>
                <a:cubicBezTo>
                  <a:pt x="1202626" y="2601660"/>
                  <a:pt x="1203452" y="2601350"/>
                  <a:pt x="1202729" y="2601660"/>
                </a:cubicBezTo>
                <a:cubicBezTo>
                  <a:pt x="1203555" y="2599492"/>
                  <a:pt x="1203865" y="2596704"/>
                  <a:pt x="1205826" y="2596859"/>
                </a:cubicBezTo>
                <a:close/>
                <a:moveTo>
                  <a:pt x="1110521" y="2594535"/>
                </a:moveTo>
                <a:lnTo>
                  <a:pt x="1110831" y="2595155"/>
                </a:lnTo>
                <a:lnTo>
                  <a:pt x="1111244" y="2595310"/>
                </a:lnTo>
                <a:close/>
                <a:moveTo>
                  <a:pt x="1246509" y="2593451"/>
                </a:moveTo>
                <a:cubicBezTo>
                  <a:pt x="1250639" y="2593296"/>
                  <a:pt x="1253221" y="2594535"/>
                  <a:pt x="1254563" y="2596549"/>
                </a:cubicBezTo>
                <a:lnTo>
                  <a:pt x="1255493" y="2601506"/>
                </a:lnTo>
                <a:lnTo>
                  <a:pt x="1256319" y="2601506"/>
                </a:lnTo>
                <a:cubicBezTo>
                  <a:pt x="1257971" y="2602590"/>
                  <a:pt x="1259623" y="2604449"/>
                  <a:pt x="1261378" y="2607701"/>
                </a:cubicBezTo>
                <a:cubicBezTo>
                  <a:pt x="1256319" y="2607701"/>
                  <a:pt x="1252085" y="2610335"/>
                  <a:pt x="1248058" y="2612348"/>
                </a:cubicBezTo>
                <a:lnTo>
                  <a:pt x="1245064" y="2613588"/>
                </a:lnTo>
                <a:lnTo>
                  <a:pt x="1248058" y="2614982"/>
                </a:lnTo>
                <a:cubicBezTo>
                  <a:pt x="1245477" y="2619163"/>
                  <a:pt x="1242173" y="2620403"/>
                  <a:pt x="1237526" y="2620248"/>
                </a:cubicBezTo>
                <a:cubicBezTo>
                  <a:pt x="1237320" y="2619473"/>
                  <a:pt x="1237629" y="2618234"/>
                  <a:pt x="1238249" y="2616995"/>
                </a:cubicBezTo>
                <a:lnTo>
                  <a:pt x="1239591" y="2614672"/>
                </a:lnTo>
                <a:lnTo>
                  <a:pt x="1236184" y="2614517"/>
                </a:lnTo>
                <a:cubicBezTo>
                  <a:pt x="1237423" y="2613588"/>
                  <a:pt x="1238662" y="2612348"/>
                  <a:pt x="1239901" y="2610954"/>
                </a:cubicBezTo>
                <a:lnTo>
                  <a:pt x="1240417" y="2610335"/>
                </a:lnTo>
                <a:lnTo>
                  <a:pt x="1239488" y="2608321"/>
                </a:lnTo>
                <a:lnTo>
                  <a:pt x="1240417" y="2604449"/>
                </a:lnTo>
                <a:lnTo>
                  <a:pt x="1233912" y="2606617"/>
                </a:lnTo>
                <a:cubicBezTo>
                  <a:pt x="1229678" y="2607237"/>
                  <a:pt x="1225032" y="2607082"/>
                  <a:pt x="1219560" y="2605378"/>
                </a:cubicBezTo>
                <a:cubicBezTo>
                  <a:pt x="1218836" y="2604139"/>
                  <a:pt x="1218424" y="2602899"/>
                  <a:pt x="1218424" y="2601970"/>
                </a:cubicBezTo>
                <a:cubicBezTo>
                  <a:pt x="1218217" y="2598718"/>
                  <a:pt x="1220592" y="2596394"/>
                  <a:pt x="1224103" y="2595310"/>
                </a:cubicBezTo>
                <a:cubicBezTo>
                  <a:pt x="1229885" y="2593296"/>
                  <a:pt x="1238662" y="2594071"/>
                  <a:pt x="1242895" y="2597943"/>
                </a:cubicBezTo>
                <a:lnTo>
                  <a:pt x="1242895" y="2598098"/>
                </a:lnTo>
                <a:close/>
                <a:moveTo>
                  <a:pt x="593104" y="2592676"/>
                </a:moveTo>
                <a:cubicBezTo>
                  <a:pt x="594859" y="2592367"/>
                  <a:pt x="596615" y="2592057"/>
                  <a:pt x="597751" y="2593451"/>
                </a:cubicBezTo>
                <a:cubicBezTo>
                  <a:pt x="598163" y="2593916"/>
                  <a:pt x="598473" y="2594535"/>
                  <a:pt x="598783" y="2595310"/>
                </a:cubicBezTo>
                <a:cubicBezTo>
                  <a:pt x="598783" y="2595310"/>
                  <a:pt x="598680" y="2595310"/>
                  <a:pt x="598267" y="2596084"/>
                </a:cubicBezTo>
                <a:cubicBezTo>
                  <a:pt x="597441" y="2597323"/>
                  <a:pt x="597028" y="2598098"/>
                  <a:pt x="596512" y="2598718"/>
                </a:cubicBezTo>
                <a:cubicBezTo>
                  <a:pt x="595376" y="2598872"/>
                  <a:pt x="592278" y="2598872"/>
                  <a:pt x="591968" y="2597633"/>
                </a:cubicBezTo>
                <a:cubicBezTo>
                  <a:pt x="591658" y="2596549"/>
                  <a:pt x="591658" y="2595310"/>
                  <a:pt x="591865" y="2594380"/>
                </a:cubicBezTo>
                <a:cubicBezTo>
                  <a:pt x="592071" y="2593451"/>
                  <a:pt x="592485" y="2592831"/>
                  <a:pt x="593104" y="2592676"/>
                </a:cubicBezTo>
                <a:close/>
                <a:moveTo>
                  <a:pt x="727789" y="2592076"/>
                </a:moveTo>
                <a:cubicBezTo>
                  <a:pt x="729454" y="2593683"/>
                  <a:pt x="729763" y="2596394"/>
                  <a:pt x="726201" y="2598253"/>
                </a:cubicBezTo>
                <a:cubicBezTo>
                  <a:pt x="723620" y="2595775"/>
                  <a:pt x="721968" y="2594226"/>
                  <a:pt x="721245" y="2592521"/>
                </a:cubicBezTo>
                <a:cubicBezTo>
                  <a:pt x="723104" y="2589966"/>
                  <a:pt x="726124" y="2590469"/>
                  <a:pt x="727789" y="2592076"/>
                </a:cubicBezTo>
                <a:close/>
                <a:moveTo>
                  <a:pt x="1096994" y="2589114"/>
                </a:moveTo>
                <a:cubicBezTo>
                  <a:pt x="1097820" y="2589966"/>
                  <a:pt x="1099369" y="2589501"/>
                  <a:pt x="1101021" y="2589114"/>
                </a:cubicBezTo>
                <a:cubicBezTo>
                  <a:pt x="1102673" y="2588726"/>
                  <a:pt x="1104429" y="2588417"/>
                  <a:pt x="1105668" y="2589578"/>
                </a:cubicBezTo>
                <a:lnTo>
                  <a:pt x="1107527" y="2591282"/>
                </a:lnTo>
                <a:lnTo>
                  <a:pt x="1107733" y="2589424"/>
                </a:lnTo>
                <a:cubicBezTo>
                  <a:pt x="1114651" y="2590353"/>
                  <a:pt x="1122086" y="2593916"/>
                  <a:pt x="1123634" y="2594845"/>
                </a:cubicBezTo>
                <a:cubicBezTo>
                  <a:pt x="1124460" y="2595310"/>
                  <a:pt x="1124873" y="2595775"/>
                  <a:pt x="1124873" y="2596240"/>
                </a:cubicBezTo>
                <a:cubicBezTo>
                  <a:pt x="1124977" y="2596859"/>
                  <a:pt x="1124667" y="2597478"/>
                  <a:pt x="1124151" y="2598253"/>
                </a:cubicBezTo>
                <a:cubicBezTo>
                  <a:pt x="1123222" y="2598872"/>
                  <a:pt x="1122292" y="2599182"/>
                  <a:pt x="1121363" y="2599182"/>
                </a:cubicBezTo>
                <a:lnTo>
                  <a:pt x="1121673" y="2599802"/>
                </a:lnTo>
                <a:lnTo>
                  <a:pt x="1121982" y="2599802"/>
                </a:lnTo>
                <a:cubicBezTo>
                  <a:pt x="1125080" y="2600886"/>
                  <a:pt x="1128074" y="2602590"/>
                  <a:pt x="1129313" y="2602899"/>
                </a:cubicBezTo>
                <a:cubicBezTo>
                  <a:pt x="1129313" y="2602899"/>
                  <a:pt x="1130139" y="2602899"/>
                  <a:pt x="1130966" y="2603674"/>
                </a:cubicBezTo>
                <a:cubicBezTo>
                  <a:pt x="1132618" y="2604449"/>
                  <a:pt x="1130036" y="2605378"/>
                  <a:pt x="1130862" y="2606152"/>
                </a:cubicBezTo>
                <a:lnTo>
                  <a:pt x="1124564" y="2606152"/>
                </a:lnTo>
                <a:lnTo>
                  <a:pt x="1124151" y="2611109"/>
                </a:lnTo>
                <a:cubicBezTo>
                  <a:pt x="1119195" y="2613742"/>
                  <a:pt x="1112690" y="2610180"/>
                  <a:pt x="1108662" y="2605997"/>
                </a:cubicBezTo>
                <a:lnTo>
                  <a:pt x="1108249" y="2605533"/>
                </a:lnTo>
                <a:lnTo>
                  <a:pt x="1108146" y="2605842"/>
                </a:lnTo>
                <a:cubicBezTo>
                  <a:pt x="1108766" y="2606927"/>
                  <a:pt x="1111347" y="2607701"/>
                  <a:pt x="1110005" y="2609715"/>
                </a:cubicBezTo>
                <a:cubicBezTo>
                  <a:pt x="1106597" y="2613588"/>
                  <a:pt x="1100402" y="2612503"/>
                  <a:pt x="1097201" y="2611729"/>
                </a:cubicBezTo>
                <a:lnTo>
                  <a:pt x="1095445" y="2611264"/>
                </a:lnTo>
                <a:lnTo>
                  <a:pt x="1095342" y="2612039"/>
                </a:lnTo>
                <a:lnTo>
                  <a:pt x="1094516" y="2611264"/>
                </a:lnTo>
                <a:lnTo>
                  <a:pt x="1094310" y="2611264"/>
                </a:lnTo>
                <a:cubicBezTo>
                  <a:pt x="1094413" y="2610335"/>
                  <a:pt x="1093484" y="2610489"/>
                  <a:pt x="1093381" y="2611264"/>
                </a:cubicBezTo>
                <a:cubicBezTo>
                  <a:pt x="1092141" y="2610489"/>
                  <a:pt x="1091109" y="2609870"/>
                  <a:pt x="1090592" y="2609250"/>
                </a:cubicBezTo>
                <a:cubicBezTo>
                  <a:pt x="1090283" y="2608940"/>
                  <a:pt x="1090179" y="2608631"/>
                  <a:pt x="1090283" y="2608321"/>
                </a:cubicBezTo>
                <a:cubicBezTo>
                  <a:pt x="1090283" y="2608011"/>
                  <a:pt x="1090592" y="2607701"/>
                  <a:pt x="1091005" y="2607237"/>
                </a:cubicBezTo>
                <a:cubicBezTo>
                  <a:pt x="1091935" y="2605378"/>
                  <a:pt x="1093690" y="2606307"/>
                  <a:pt x="1095445" y="2604449"/>
                </a:cubicBezTo>
                <a:cubicBezTo>
                  <a:pt x="1098233" y="2601041"/>
                  <a:pt x="1091522" y="2596240"/>
                  <a:pt x="1096994" y="2589114"/>
                </a:cubicBezTo>
                <a:close/>
                <a:moveTo>
                  <a:pt x="635852" y="2588804"/>
                </a:moveTo>
                <a:cubicBezTo>
                  <a:pt x="639983" y="2589733"/>
                  <a:pt x="644009" y="2592676"/>
                  <a:pt x="647624" y="2596859"/>
                </a:cubicBezTo>
                <a:lnTo>
                  <a:pt x="649172" y="2599647"/>
                </a:lnTo>
                <a:lnTo>
                  <a:pt x="655161" y="2594226"/>
                </a:lnTo>
                <a:cubicBezTo>
                  <a:pt x="657639" y="2592521"/>
                  <a:pt x="659807" y="2591128"/>
                  <a:pt x="660634" y="2590663"/>
                </a:cubicBezTo>
                <a:cubicBezTo>
                  <a:pt x="661460" y="2590353"/>
                  <a:pt x="661976" y="2590198"/>
                  <a:pt x="662595" y="2590353"/>
                </a:cubicBezTo>
                <a:cubicBezTo>
                  <a:pt x="663112" y="2590663"/>
                  <a:pt x="663525" y="2591128"/>
                  <a:pt x="664144" y="2592057"/>
                </a:cubicBezTo>
                <a:cubicBezTo>
                  <a:pt x="664661" y="2596240"/>
                  <a:pt x="660530" y="2597478"/>
                  <a:pt x="657639" y="2600421"/>
                </a:cubicBezTo>
                <a:cubicBezTo>
                  <a:pt x="656813" y="2599956"/>
                  <a:pt x="655677" y="2600111"/>
                  <a:pt x="655161" y="2600886"/>
                </a:cubicBezTo>
                <a:cubicBezTo>
                  <a:pt x="654025" y="2601041"/>
                  <a:pt x="652786" y="2601350"/>
                  <a:pt x="653612" y="2601815"/>
                </a:cubicBezTo>
                <a:lnTo>
                  <a:pt x="650721" y="2602280"/>
                </a:lnTo>
                <a:lnTo>
                  <a:pt x="656193" y="2611729"/>
                </a:lnTo>
                <a:cubicBezTo>
                  <a:pt x="660324" y="2622881"/>
                  <a:pt x="660427" y="2634653"/>
                  <a:pt x="652786" y="2639455"/>
                </a:cubicBezTo>
                <a:lnTo>
                  <a:pt x="648346" y="2626753"/>
                </a:lnTo>
                <a:cubicBezTo>
                  <a:pt x="647520" y="2626908"/>
                  <a:pt x="647520" y="2626134"/>
                  <a:pt x="646694" y="2626289"/>
                </a:cubicBezTo>
                <a:cubicBezTo>
                  <a:pt x="646694" y="2626289"/>
                  <a:pt x="646591" y="2625514"/>
                  <a:pt x="646591" y="2625514"/>
                </a:cubicBezTo>
                <a:cubicBezTo>
                  <a:pt x="646178" y="2625514"/>
                  <a:pt x="646281" y="2625514"/>
                  <a:pt x="646384" y="2625205"/>
                </a:cubicBezTo>
                <a:lnTo>
                  <a:pt x="647107" y="2624121"/>
                </a:lnTo>
                <a:lnTo>
                  <a:pt x="642977" y="2615446"/>
                </a:lnTo>
                <a:cubicBezTo>
                  <a:pt x="639466" y="2607856"/>
                  <a:pt x="636265" y="2599802"/>
                  <a:pt x="635852" y="2588804"/>
                </a:cubicBezTo>
                <a:close/>
                <a:moveTo>
                  <a:pt x="1141601" y="2587100"/>
                </a:moveTo>
                <a:lnTo>
                  <a:pt x="1144699" y="2592676"/>
                </a:lnTo>
                <a:lnTo>
                  <a:pt x="1148519" y="2590973"/>
                </a:lnTo>
                <a:cubicBezTo>
                  <a:pt x="1150481" y="2590663"/>
                  <a:pt x="1152546" y="2590663"/>
                  <a:pt x="1154405" y="2591282"/>
                </a:cubicBezTo>
                <a:lnTo>
                  <a:pt x="1156264" y="2592986"/>
                </a:lnTo>
                <a:lnTo>
                  <a:pt x="1159051" y="2590353"/>
                </a:lnTo>
                <a:cubicBezTo>
                  <a:pt x="1163388" y="2591902"/>
                  <a:pt x="1162459" y="2594535"/>
                  <a:pt x="1161426" y="2597014"/>
                </a:cubicBezTo>
                <a:lnTo>
                  <a:pt x="1160806" y="2597014"/>
                </a:lnTo>
                <a:lnTo>
                  <a:pt x="1161426" y="2597478"/>
                </a:lnTo>
                <a:lnTo>
                  <a:pt x="1161116" y="2598098"/>
                </a:lnTo>
                <a:lnTo>
                  <a:pt x="1165247" y="2599956"/>
                </a:lnTo>
                <a:lnTo>
                  <a:pt x="1167002" y="2598562"/>
                </a:lnTo>
                <a:cubicBezTo>
                  <a:pt x="1168241" y="2598562"/>
                  <a:pt x="1169480" y="2599027"/>
                  <a:pt x="1171132" y="2599956"/>
                </a:cubicBezTo>
                <a:cubicBezTo>
                  <a:pt x="1170203" y="2601041"/>
                  <a:pt x="1169274" y="2601506"/>
                  <a:pt x="1168138" y="2601506"/>
                </a:cubicBezTo>
                <a:lnTo>
                  <a:pt x="1167622" y="2601506"/>
                </a:lnTo>
                <a:lnTo>
                  <a:pt x="1171958" y="2604603"/>
                </a:lnTo>
                <a:cubicBezTo>
                  <a:pt x="1173920" y="2605997"/>
                  <a:pt x="1175572" y="2607237"/>
                  <a:pt x="1177637" y="2607856"/>
                </a:cubicBezTo>
                <a:cubicBezTo>
                  <a:pt x="1177637" y="2607856"/>
                  <a:pt x="1177534" y="2607856"/>
                  <a:pt x="1178154" y="2610180"/>
                </a:cubicBezTo>
                <a:cubicBezTo>
                  <a:pt x="1178980" y="2610644"/>
                  <a:pt x="1178980" y="2610644"/>
                  <a:pt x="1178980" y="2610644"/>
                </a:cubicBezTo>
                <a:cubicBezTo>
                  <a:pt x="1179393" y="2610954"/>
                  <a:pt x="1179290" y="2611419"/>
                  <a:pt x="1179186" y="2611729"/>
                </a:cubicBezTo>
                <a:lnTo>
                  <a:pt x="1179186" y="2611884"/>
                </a:lnTo>
                <a:lnTo>
                  <a:pt x="1179393" y="2612039"/>
                </a:lnTo>
                <a:lnTo>
                  <a:pt x="1179806" y="2612348"/>
                </a:lnTo>
                <a:lnTo>
                  <a:pt x="1182284" y="2608166"/>
                </a:lnTo>
                <a:cubicBezTo>
                  <a:pt x="1184452" y="2609250"/>
                  <a:pt x="1185485" y="2606307"/>
                  <a:pt x="1187860" y="2608011"/>
                </a:cubicBezTo>
                <a:lnTo>
                  <a:pt x="1187447" y="2610335"/>
                </a:lnTo>
                <a:cubicBezTo>
                  <a:pt x="1188376" y="2610335"/>
                  <a:pt x="1189615" y="2610489"/>
                  <a:pt x="1191267" y="2610799"/>
                </a:cubicBezTo>
                <a:cubicBezTo>
                  <a:pt x="1194365" y="2611419"/>
                  <a:pt x="1198392" y="2613742"/>
                  <a:pt x="1199528" y="2614207"/>
                </a:cubicBezTo>
                <a:cubicBezTo>
                  <a:pt x="1200767" y="2614672"/>
                  <a:pt x="1201490" y="2614207"/>
                  <a:pt x="1201490" y="2614207"/>
                </a:cubicBezTo>
                <a:cubicBezTo>
                  <a:pt x="1201490" y="2615756"/>
                  <a:pt x="1194778" y="2614362"/>
                  <a:pt x="1190131" y="2613432"/>
                </a:cubicBezTo>
                <a:lnTo>
                  <a:pt x="1187137" y="2612813"/>
                </a:lnTo>
                <a:lnTo>
                  <a:pt x="1186931" y="2613897"/>
                </a:lnTo>
                <a:lnTo>
                  <a:pt x="1186001" y="2615446"/>
                </a:lnTo>
                <a:lnTo>
                  <a:pt x="1186311" y="2617150"/>
                </a:lnTo>
                <a:lnTo>
                  <a:pt x="1186827" y="2617460"/>
                </a:lnTo>
                <a:cubicBezTo>
                  <a:pt x="1187963" y="2617924"/>
                  <a:pt x="1189305" y="2618079"/>
                  <a:pt x="1189719" y="2617770"/>
                </a:cubicBezTo>
                <a:cubicBezTo>
                  <a:pt x="1189615" y="2618544"/>
                  <a:pt x="1190441" y="2619473"/>
                  <a:pt x="1190441" y="2619473"/>
                </a:cubicBezTo>
                <a:cubicBezTo>
                  <a:pt x="1189512" y="2620248"/>
                  <a:pt x="1188583" y="2620248"/>
                  <a:pt x="1187757" y="2620248"/>
                </a:cubicBezTo>
                <a:lnTo>
                  <a:pt x="1186414" y="2617924"/>
                </a:lnTo>
                <a:lnTo>
                  <a:pt x="1187653" y="2624585"/>
                </a:lnTo>
                <a:lnTo>
                  <a:pt x="1187343" y="2627218"/>
                </a:lnTo>
                <a:lnTo>
                  <a:pt x="1188273" y="2627064"/>
                </a:lnTo>
                <a:cubicBezTo>
                  <a:pt x="1187860" y="2628922"/>
                  <a:pt x="1188892" y="2629387"/>
                  <a:pt x="1186827" y="2631710"/>
                </a:cubicBezTo>
                <a:lnTo>
                  <a:pt x="1186518" y="2631555"/>
                </a:lnTo>
                <a:lnTo>
                  <a:pt x="1185795" y="2635893"/>
                </a:lnTo>
                <a:cubicBezTo>
                  <a:pt x="1184968" y="2638216"/>
                  <a:pt x="1183730" y="2640384"/>
                  <a:pt x="1182284" y="2642398"/>
                </a:cubicBezTo>
                <a:cubicBezTo>
                  <a:pt x="1175985" y="2638990"/>
                  <a:pt x="1177740" y="2631710"/>
                  <a:pt x="1177534" y="2626134"/>
                </a:cubicBezTo>
                <a:cubicBezTo>
                  <a:pt x="1171855" y="2627683"/>
                  <a:pt x="1163801" y="2631710"/>
                  <a:pt x="1161013" y="2625514"/>
                </a:cubicBezTo>
                <a:cubicBezTo>
                  <a:pt x="1162562" y="2620867"/>
                  <a:pt x="1167931" y="2620867"/>
                  <a:pt x="1173301" y="2619938"/>
                </a:cubicBezTo>
                <a:lnTo>
                  <a:pt x="1175469" y="2619319"/>
                </a:lnTo>
                <a:lnTo>
                  <a:pt x="1176605" y="2617770"/>
                </a:lnTo>
                <a:lnTo>
                  <a:pt x="1179599" y="2612968"/>
                </a:lnTo>
                <a:lnTo>
                  <a:pt x="1179186" y="2612503"/>
                </a:lnTo>
                <a:lnTo>
                  <a:pt x="1178876" y="2612503"/>
                </a:lnTo>
                <a:lnTo>
                  <a:pt x="1178154" y="2612348"/>
                </a:lnTo>
                <a:lnTo>
                  <a:pt x="1177328" y="2612348"/>
                </a:lnTo>
                <a:lnTo>
                  <a:pt x="1176295" y="2612193"/>
                </a:lnTo>
                <a:cubicBezTo>
                  <a:pt x="1175469" y="2611574"/>
                  <a:pt x="1174643" y="2610799"/>
                  <a:pt x="1173920" y="2610335"/>
                </a:cubicBezTo>
                <a:cubicBezTo>
                  <a:pt x="1172268" y="2611264"/>
                  <a:pt x="1171752" y="2606927"/>
                  <a:pt x="1170100" y="2607856"/>
                </a:cubicBezTo>
                <a:cubicBezTo>
                  <a:pt x="1169170" y="2604449"/>
                  <a:pt x="1165660" y="2604139"/>
                  <a:pt x="1162665" y="2601350"/>
                </a:cubicBezTo>
                <a:lnTo>
                  <a:pt x="1160910" y="2598872"/>
                </a:lnTo>
                <a:lnTo>
                  <a:pt x="1159361" y="2602590"/>
                </a:lnTo>
                <a:cubicBezTo>
                  <a:pt x="1158225" y="2604294"/>
                  <a:pt x="1156573" y="2606152"/>
                  <a:pt x="1154921" y="2607701"/>
                </a:cubicBezTo>
                <a:lnTo>
                  <a:pt x="1153062" y="2608940"/>
                </a:lnTo>
                <a:lnTo>
                  <a:pt x="1159051" y="2611729"/>
                </a:lnTo>
                <a:cubicBezTo>
                  <a:pt x="1159051" y="2611729"/>
                  <a:pt x="1162356" y="2614982"/>
                  <a:pt x="1160497" y="2617460"/>
                </a:cubicBezTo>
                <a:cubicBezTo>
                  <a:pt x="1160497" y="2618389"/>
                  <a:pt x="1157090" y="2618544"/>
                  <a:pt x="1156264" y="2617770"/>
                </a:cubicBezTo>
                <a:cubicBezTo>
                  <a:pt x="1154611" y="2616066"/>
                  <a:pt x="1153785" y="2615292"/>
                  <a:pt x="1153889" y="2613588"/>
                </a:cubicBezTo>
                <a:cubicBezTo>
                  <a:pt x="1153062" y="2612813"/>
                  <a:pt x="1152236" y="2612039"/>
                  <a:pt x="1151823" y="2611109"/>
                </a:cubicBezTo>
                <a:lnTo>
                  <a:pt x="1152236" y="2609560"/>
                </a:lnTo>
                <a:lnTo>
                  <a:pt x="1149655" y="2611574"/>
                </a:lnTo>
                <a:cubicBezTo>
                  <a:pt x="1147900" y="2612658"/>
                  <a:pt x="1146248" y="2613278"/>
                  <a:pt x="1145008" y="2613588"/>
                </a:cubicBezTo>
                <a:cubicBezTo>
                  <a:pt x="1142530" y="2612039"/>
                  <a:pt x="1140878" y="2610335"/>
                  <a:pt x="1139742" y="2608631"/>
                </a:cubicBezTo>
                <a:lnTo>
                  <a:pt x="1139639" y="2608476"/>
                </a:lnTo>
                <a:lnTo>
                  <a:pt x="1137987" y="2610954"/>
                </a:lnTo>
                <a:cubicBezTo>
                  <a:pt x="1137677" y="2607082"/>
                  <a:pt x="1137161" y="2603364"/>
                  <a:pt x="1137471" y="2599492"/>
                </a:cubicBezTo>
                <a:cubicBezTo>
                  <a:pt x="1137781" y="2595464"/>
                  <a:pt x="1138813" y="2591437"/>
                  <a:pt x="1141601" y="2587100"/>
                </a:cubicBezTo>
                <a:close/>
                <a:moveTo>
                  <a:pt x="1291335" y="2585745"/>
                </a:moveTo>
                <a:cubicBezTo>
                  <a:pt x="1294807" y="2585087"/>
                  <a:pt x="1298344" y="2586016"/>
                  <a:pt x="1301855" y="2588185"/>
                </a:cubicBezTo>
                <a:cubicBezTo>
                  <a:pt x="1305159" y="2600111"/>
                  <a:pt x="1293284" y="2610180"/>
                  <a:pt x="1284507" y="2604759"/>
                </a:cubicBezTo>
                <a:cubicBezTo>
                  <a:pt x="1283682" y="2601815"/>
                  <a:pt x="1281100" y="2597633"/>
                  <a:pt x="1281203" y="2592831"/>
                </a:cubicBezTo>
                <a:cubicBezTo>
                  <a:pt x="1284456" y="2588649"/>
                  <a:pt x="1287863" y="2586403"/>
                  <a:pt x="1291335" y="2585745"/>
                </a:cubicBezTo>
                <a:close/>
                <a:moveTo>
                  <a:pt x="922285" y="2585087"/>
                </a:moveTo>
                <a:cubicBezTo>
                  <a:pt x="930855" y="2587255"/>
                  <a:pt x="939528" y="2587874"/>
                  <a:pt x="947376" y="2597633"/>
                </a:cubicBezTo>
                <a:cubicBezTo>
                  <a:pt x="946343" y="2599956"/>
                  <a:pt x="947789" y="2604294"/>
                  <a:pt x="943349" y="2604294"/>
                </a:cubicBezTo>
                <a:cubicBezTo>
                  <a:pt x="939012" y="2593606"/>
                  <a:pt x="923111" y="2595155"/>
                  <a:pt x="922285" y="2585087"/>
                </a:cubicBezTo>
                <a:close/>
                <a:moveTo>
                  <a:pt x="902361" y="2584920"/>
                </a:moveTo>
                <a:cubicBezTo>
                  <a:pt x="907061" y="2588281"/>
                  <a:pt x="906693" y="2600421"/>
                  <a:pt x="901737" y="2600886"/>
                </a:cubicBezTo>
                <a:cubicBezTo>
                  <a:pt x="899259" y="2601041"/>
                  <a:pt x="895541" y="2598253"/>
                  <a:pt x="890792" y="2589733"/>
                </a:cubicBezTo>
                <a:cubicBezTo>
                  <a:pt x="892650" y="2587565"/>
                  <a:pt x="894406" y="2586171"/>
                  <a:pt x="895955" y="2585242"/>
                </a:cubicBezTo>
                <a:cubicBezTo>
                  <a:pt x="898665" y="2583654"/>
                  <a:pt x="900795" y="2583799"/>
                  <a:pt x="902361" y="2584920"/>
                </a:cubicBezTo>
                <a:close/>
                <a:moveTo>
                  <a:pt x="5017925" y="2584029"/>
                </a:moveTo>
                <a:cubicBezTo>
                  <a:pt x="5022620" y="2584314"/>
                  <a:pt x="5027316" y="2585168"/>
                  <a:pt x="5031157" y="2586163"/>
                </a:cubicBezTo>
                <a:cubicBezTo>
                  <a:pt x="5020059" y="2603093"/>
                  <a:pt x="5002986" y="2601101"/>
                  <a:pt x="4985699" y="2599110"/>
                </a:cubicBezTo>
                <a:cubicBezTo>
                  <a:pt x="4988473" y="2586305"/>
                  <a:pt x="5003839" y="2583176"/>
                  <a:pt x="5017925" y="2584029"/>
                </a:cubicBezTo>
                <a:close/>
                <a:moveTo>
                  <a:pt x="738902" y="2583383"/>
                </a:moveTo>
                <a:cubicBezTo>
                  <a:pt x="745097" y="2579820"/>
                  <a:pt x="750673" y="2587874"/>
                  <a:pt x="748711" y="2592986"/>
                </a:cubicBezTo>
                <a:cubicBezTo>
                  <a:pt x="744168" y="2595619"/>
                  <a:pt x="738902" y="2591902"/>
                  <a:pt x="738076" y="2587565"/>
                </a:cubicBezTo>
                <a:cubicBezTo>
                  <a:pt x="737766" y="2586171"/>
                  <a:pt x="737972" y="2584622"/>
                  <a:pt x="738902" y="2583383"/>
                </a:cubicBezTo>
                <a:close/>
                <a:moveTo>
                  <a:pt x="1188789" y="2582918"/>
                </a:moveTo>
                <a:lnTo>
                  <a:pt x="1188789" y="2584777"/>
                </a:lnTo>
                <a:lnTo>
                  <a:pt x="1189099" y="2583847"/>
                </a:lnTo>
                <a:lnTo>
                  <a:pt x="1188996" y="2583693"/>
                </a:lnTo>
                <a:cubicBezTo>
                  <a:pt x="1189408" y="2583538"/>
                  <a:pt x="1189512" y="2583383"/>
                  <a:pt x="1189408" y="2583073"/>
                </a:cubicBezTo>
                <a:close/>
                <a:moveTo>
                  <a:pt x="6205820" y="2582322"/>
                </a:moveTo>
                <a:lnTo>
                  <a:pt x="6207038" y="2588526"/>
                </a:lnTo>
                <a:lnTo>
                  <a:pt x="6208599" y="2588016"/>
                </a:lnTo>
                <a:lnTo>
                  <a:pt x="6208274" y="2587799"/>
                </a:lnTo>
                <a:cubicBezTo>
                  <a:pt x="6208167" y="2585914"/>
                  <a:pt x="6208167" y="2583460"/>
                  <a:pt x="6205820" y="2582322"/>
                </a:cubicBezTo>
                <a:close/>
                <a:moveTo>
                  <a:pt x="1109901" y="2581369"/>
                </a:moveTo>
                <a:cubicBezTo>
                  <a:pt x="1113515" y="2583847"/>
                  <a:pt x="1113412" y="2585707"/>
                  <a:pt x="1111966" y="2588649"/>
                </a:cubicBezTo>
                <a:cubicBezTo>
                  <a:pt x="1110727" y="2587720"/>
                  <a:pt x="1110211" y="2586790"/>
                  <a:pt x="1109901" y="2585707"/>
                </a:cubicBezTo>
                <a:cubicBezTo>
                  <a:pt x="1109695" y="2584622"/>
                  <a:pt x="1109798" y="2583228"/>
                  <a:pt x="1109901" y="2581369"/>
                </a:cubicBezTo>
                <a:close/>
                <a:moveTo>
                  <a:pt x="6484119" y="2581184"/>
                </a:moveTo>
                <a:cubicBezTo>
                  <a:pt x="6485826" y="2581468"/>
                  <a:pt x="6487320" y="2581895"/>
                  <a:pt x="6488601" y="2582749"/>
                </a:cubicBezTo>
                <a:cubicBezTo>
                  <a:pt x="6496070" y="2594984"/>
                  <a:pt x="6477503" y="2607077"/>
                  <a:pt x="6466619" y="2603663"/>
                </a:cubicBezTo>
                <a:cubicBezTo>
                  <a:pt x="6461069" y="2594557"/>
                  <a:pt x="6470033" y="2583460"/>
                  <a:pt x="6479424" y="2581326"/>
                </a:cubicBezTo>
                <a:cubicBezTo>
                  <a:pt x="6481131" y="2581042"/>
                  <a:pt x="6482625" y="2581042"/>
                  <a:pt x="6484119" y="2581184"/>
                </a:cubicBezTo>
                <a:close/>
                <a:moveTo>
                  <a:pt x="1332935" y="2580594"/>
                </a:moveTo>
                <a:cubicBezTo>
                  <a:pt x="1335309" y="2579975"/>
                  <a:pt x="1337685" y="2579355"/>
                  <a:pt x="1338098" y="2581524"/>
                </a:cubicBezTo>
                <a:cubicBezTo>
                  <a:pt x="1336445" y="2582608"/>
                  <a:pt x="1336652" y="2583693"/>
                  <a:pt x="1333658" y="2584002"/>
                </a:cubicBezTo>
                <a:cubicBezTo>
                  <a:pt x="1333451" y="2582918"/>
                  <a:pt x="1333244" y="2581679"/>
                  <a:pt x="1332935" y="2580594"/>
                </a:cubicBezTo>
                <a:close/>
                <a:moveTo>
                  <a:pt x="1313419" y="2579820"/>
                </a:moveTo>
                <a:cubicBezTo>
                  <a:pt x="1314245" y="2579820"/>
                  <a:pt x="1316001" y="2579975"/>
                  <a:pt x="1316827" y="2580904"/>
                </a:cubicBezTo>
                <a:cubicBezTo>
                  <a:pt x="1317653" y="2580904"/>
                  <a:pt x="1316310" y="2583383"/>
                  <a:pt x="1316310" y="2583383"/>
                </a:cubicBezTo>
                <a:cubicBezTo>
                  <a:pt x="1315278" y="2584157"/>
                  <a:pt x="1313006" y="2582298"/>
                  <a:pt x="1312077" y="2582298"/>
                </a:cubicBezTo>
                <a:cubicBezTo>
                  <a:pt x="1312180" y="2581369"/>
                  <a:pt x="1313213" y="2580594"/>
                  <a:pt x="1313419" y="2579820"/>
                </a:cubicBezTo>
                <a:close/>
                <a:moveTo>
                  <a:pt x="806534" y="2577497"/>
                </a:moveTo>
                <a:cubicBezTo>
                  <a:pt x="808084" y="2576722"/>
                  <a:pt x="810458" y="2576877"/>
                  <a:pt x="811181" y="2579046"/>
                </a:cubicBezTo>
                <a:cubicBezTo>
                  <a:pt x="810252" y="2579820"/>
                  <a:pt x="809219" y="2581214"/>
                  <a:pt x="807361" y="2581834"/>
                </a:cubicBezTo>
                <a:cubicBezTo>
                  <a:pt x="805915" y="2580904"/>
                  <a:pt x="805399" y="2580130"/>
                  <a:pt x="805295" y="2579355"/>
                </a:cubicBezTo>
                <a:cubicBezTo>
                  <a:pt x="805295" y="2578581"/>
                  <a:pt x="805812" y="2577961"/>
                  <a:pt x="806534" y="2577497"/>
                </a:cubicBezTo>
                <a:close/>
                <a:moveTo>
                  <a:pt x="843255" y="2577342"/>
                </a:moveTo>
                <a:cubicBezTo>
                  <a:pt x="845875" y="2576567"/>
                  <a:pt x="848870" y="2577032"/>
                  <a:pt x="852174" y="2579820"/>
                </a:cubicBezTo>
                <a:cubicBezTo>
                  <a:pt x="853826" y="2580594"/>
                  <a:pt x="853000" y="2580750"/>
                  <a:pt x="853826" y="2581524"/>
                </a:cubicBezTo>
                <a:cubicBezTo>
                  <a:pt x="854652" y="2582298"/>
                  <a:pt x="856304" y="2583073"/>
                  <a:pt x="857233" y="2583073"/>
                </a:cubicBezTo>
                <a:cubicBezTo>
                  <a:pt x="854446" y="2586481"/>
                  <a:pt x="857027" y="2588185"/>
                  <a:pt x="852484" y="2593451"/>
                </a:cubicBezTo>
                <a:cubicBezTo>
                  <a:pt x="846908" y="2600421"/>
                  <a:pt x="840919" y="2598872"/>
                  <a:pt x="837615" y="2596549"/>
                </a:cubicBezTo>
                <a:cubicBezTo>
                  <a:pt x="838234" y="2595929"/>
                  <a:pt x="833691" y="2592676"/>
                  <a:pt x="834104" y="2587720"/>
                </a:cubicBezTo>
                <a:cubicBezTo>
                  <a:pt x="834207" y="2586016"/>
                  <a:pt x="834930" y="2584312"/>
                  <a:pt x="836582" y="2582298"/>
                </a:cubicBezTo>
                <a:cubicBezTo>
                  <a:pt x="838389" y="2580130"/>
                  <a:pt x="840635" y="2578116"/>
                  <a:pt x="843255" y="2577342"/>
                </a:cubicBezTo>
                <a:close/>
                <a:moveTo>
                  <a:pt x="777726" y="2576877"/>
                </a:moveTo>
                <a:cubicBezTo>
                  <a:pt x="784748" y="2582763"/>
                  <a:pt x="781753" y="2587410"/>
                  <a:pt x="777417" y="2588030"/>
                </a:cubicBezTo>
                <a:cubicBezTo>
                  <a:pt x="776074" y="2588185"/>
                  <a:pt x="774422" y="2587874"/>
                  <a:pt x="773080" y="2587100"/>
                </a:cubicBezTo>
                <a:cubicBezTo>
                  <a:pt x="771221" y="2586016"/>
                  <a:pt x="769775" y="2583847"/>
                  <a:pt x="769362" y="2580594"/>
                </a:cubicBezTo>
                <a:cubicBezTo>
                  <a:pt x="770911" y="2579200"/>
                  <a:pt x="772254" y="2578581"/>
                  <a:pt x="773699" y="2578116"/>
                </a:cubicBezTo>
                <a:cubicBezTo>
                  <a:pt x="775041" y="2577806"/>
                  <a:pt x="776281" y="2577497"/>
                  <a:pt x="777726" y="2576877"/>
                </a:cubicBezTo>
                <a:close/>
                <a:moveTo>
                  <a:pt x="1305056" y="2576412"/>
                </a:moveTo>
                <a:lnTo>
                  <a:pt x="1305469" y="2578736"/>
                </a:lnTo>
                <a:lnTo>
                  <a:pt x="1307534" y="2579510"/>
                </a:lnTo>
                <a:cubicBezTo>
                  <a:pt x="1307534" y="2579510"/>
                  <a:pt x="1307327" y="2580284"/>
                  <a:pt x="1307327" y="2580284"/>
                </a:cubicBezTo>
                <a:lnTo>
                  <a:pt x="1305778" y="2581214"/>
                </a:lnTo>
                <a:lnTo>
                  <a:pt x="1305882" y="2581369"/>
                </a:lnTo>
                <a:cubicBezTo>
                  <a:pt x="1305469" y="2582763"/>
                  <a:pt x="1304333" y="2583847"/>
                  <a:pt x="1303094" y="2584467"/>
                </a:cubicBezTo>
                <a:cubicBezTo>
                  <a:pt x="1301235" y="2583538"/>
                  <a:pt x="1300306" y="2582298"/>
                  <a:pt x="1300099" y="2581059"/>
                </a:cubicBezTo>
                <a:cubicBezTo>
                  <a:pt x="1299996" y="2579820"/>
                  <a:pt x="1300616" y="2578581"/>
                  <a:pt x="1301855" y="2577651"/>
                </a:cubicBezTo>
                <a:cubicBezTo>
                  <a:pt x="1302681" y="2577187"/>
                  <a:pt x="1303713" y="2576722"/>
                  <a:pt x="1305056" y="2576412"/>
                </a:cubicBezTo>
                <a:close/>
                <a:moveTo>
                  <a:pt x="1107424" y="2574708"/>
                </a:moveTo>
                <a:cubicBezTo>
                  <a:pt x="1108559" y="2575328"/>
                  <a:pt x="1110005" y="2574089"/>
                  <a:pt x="1111140" y="2574708"/>
                </a:cubicBezTo>
                <a:cubicBezTo>
                  <a:pt x="1111140" y="2574708"/>
                  <a:pt x="1112793" y="2576877"/>
                  <a:pt x="1112793" y="2576877"/>
                </a:cubicBezTo>
                <a:cubicBezTo>
                  <a:pt x="1112276" y="2577961"/>
                  <a:pt x="1112276" y="2577961"/>
                  <a:pt x="1111966" y="2577187"/>
                </a:cubicBezTo>
                <a:cubicBezTo>
                  <a:pt x="1110624" y="2578426"/>
                  <a:pt x="1109798" y="2578581"/>
                  <a:pt x="1108972" y="2578891"/>
                </a:cubicBezTo>
                <a:cubicBezTo>
                  <a:pt x="1107836" y="2578271"/>
                  <a:pt x="1107217" y="2576568"/>
                  <a:pt x="1107424" y="2574708"/>
                </a:cubicBezTo>
                <a:close/>
                <a:moveTo>
                  <a:pt x="704518" y="2574399"/>
                </a:moveTo>
                <a:cubicBezTo>
                  <a:pt x="709370" y="2573469"/>
                  <a:pt x="716289" y="2575483"/>
                  <a:pt x="718870" y="2578426"/>
                </a:cubicBezTo>
                <a:cubicBezTo>
                  <a:pt x="719283" y="2582298"/>
                  <a:pt x="718354" y="2584777"/>
                  <a:pt x="716701" y="2586171"/>
                </a:cubicBezTo>
                <a:cubicBezTo>
                  <a:pt x="711642" y="2590508"/>
                  <a:pt x="700077" y="2585087"/>
                  <a:pt x="700491" y="2576412"/>
                </a:cubicBezTo>
                <a:cubicBezTo>
                  <a:pt x="701420" y="2575328"/>
                  <a:pt x="702865" y="2574708"/>
                  <a:pt x="704518" y="2574399"/>
                </a:cubicBezTo>
                <a:close/>
                <a:moveTo>
                  <a:pt x="870553" y="2574360"/>
                </a:moveTo>
                <a:cubicBezTo>
                  <a:pt x="873445" y="2575483"/>
                  <a:pt x="876697" y="2578348"/>
                  <a:pt x="879330" y="2579665"/>
                </a:cubicBezTo>
                <a:lnTo>
                  <a:pt x="878504" y="2582298"/>
                </a:lnTo>
                <a:lnTo>
                  <a:pt x="878711" y="2582608"/>
                </a:lnTo>
                <a:cubicBezTo>
                  <a:pt x="880053" y="2586481"/>
                  <a:pt x="877059" y="2589733"/>
                  <a:pt x="873651" y="2589114"/>
                </a:cubicBezTo>
                <a:cubicBezTo>
                  <a:pt x="872102" y="2588649"/>
                  <a:pt x="870450" y="2587565"/>
                  <a:pt x="869108" y="2585242"/>
                </a:cubicBezTo>
                <a:lnTo>
                  <a:pt x="869521" y="2584777"/>
                </a:lnTo>
                <a:lnTo>
                  <a:pt x="868489" y="2584312"/>
                </a:lnTo>
                <a:cubicBezTo>
                  <a:pt x="866733" y="2582918"/>
                  <a:pt x="865287" y="2581214"/>
                  <a:pt x="863945" y="2579510"/>
                </a:cubicBezTo>
                <a:cubicBezTo>
                  <a:pt x="865132" y="2573857"/>
                  <a:pt x="867662" y="2573237"/>
                  <a:pt x="870553" y="2574360"/>
                </a:cubicBezTo>
                <a:close/>
                <a:moveTo>
                  <a:pt x="1188686" y="2573624"/>
                </a:moveTo>
                <a:cubicBezTo>
                  <a:pt x="1188583" y="2575018"/>
                  <a:pt x="1188686" y="2577032"/>
                  <a:pt x="1188789" y="2579355"/>
                </a:cubicBezTo>
                <a:lnTo>
                  <a:pt x="1188789" y="2581988"/>
                </a:lnTo>
                <a:lnTo>
                  <a:pt x="1189305" y="2579510"/>
                </a:lnTo>
                <a:cubicBezTo>
                  <a:pt x="1189615" y="2578891"/>
                  <a:pt x="1190235" y="2578581"/>
                  <a:pt x="1191474" y="2579046"/>
                </a:cubicBezTo>
                <a:cubicBezTo>
                  <a:pt x="1193436" y="2579200"/>
                  <a:pt x="1193333" y="2581059"/>
                  <a:pt x="1195707" y="2581988"/>
                </a:cubicBezTo>
                <a:cubicBezTo>
                  <a:pt x="1197875" y="2582608"/>
                  <a:pt x="1199321" y="2580904"/>
                  <a:pt x="1201386" y="2579200"/>
                </a:cubicBezTo>
                <a:lnTo>
                  <a:pt x="1201799" y="2579046"/>
                </a:lnTo>
                <a:lnTo>
                  <a:pt x="1201799" y="2578891"/>
                </a:lnTo>
                <a:cubicBezTo>
                  <a:pt x="1202419" y="2578271"/>
                  <a:pt x="1203245" y="2577806"/>
                  <a:pt x="1204174" y="2577651"/>
                </a:cubicBezTo>
                <a:lnTo>
                  <a:pt x="1205000" y="2577187"/>
                </a:lnTo>
                <a:cubicBezTo>
                  <a:pt x="1206446" y="2576877"/>
                  <a:pt x="1208201" y="2576722"/>
                  <a:pt x="1210370" y="2577342"/>
                </a:cubicBezTo>
                <a:cubicBezTo>
                  <a:pt x="1209543" y="2579510"/>
                  <a:pt x="1214603" y="2582143"/>
                  <a:pt x="1213364" y="2585396"/>
                </a:cubicBezTo>
                <a:lnTo>
                  <a:pt x="1212538" y="2587720"/>
                </a:lnTo>
                <a:lnTo>
                  <a:pt x="1214500" y="2587100"/>
                </a:lnTo>
                <a:cubicBezTo>
                  <a:pt x="1216255" y="2593761"/>
                  <a:pt x="1216049" y="2601970"/>
                  <a:pt x="1215842" y="2603829"/>
                </a:cubicBezTo>
                <a:cubicBezTo>
                  <a:pt x="1215842" y="2604759"/>
                  <a:pt x="1215532" y="2605378"/>
                  <a:pt x="1215120" y="2605688"/>
                </a:cubicBezTo>
                <a:cubicBezTo>
                  <a:pt x="1214603" y="2605842"/>
                  <a:pt x="1213984" y="2605842"/>
                  <a:pt x="1212951" y="2605688"/>
                </a:cubicBezTo>
                <a:cubicBezTo>
                  <a:pt x="1209234" y="2603209"/>
                  <a:pt x="1210370" y="2599337"/>
                  <a:pt x="1209440" y="2595000"/>
                </a:cubicBezTo>
                <a:cubicBezTo>
                  <a:pt x="1210267" y="2594690"/>
                  <a:pt x="1210679" y="2593606"/>
                  <a:pt x="1210370" y="2592831"/>
                </a:cubicBezTo>
                <a:lnTo>
                  <a:pt x="1210886" y="2591747"/>
                </a:lnTo>
                <a:lnTo>
                  <a:pt x="1208821" y="2594071"/>
                </a:lnTo>
                <a:cubicBezTo>
                  <a:pt x="1206962" y="2595155"/>
                  <a:pt x="1204484" y="2594845"/>
                  <a:pt x="1201076" y="2594845"/>
                </a:cubicBezTo>
                <a:cubicBezTo>
                  <a:pt x="1201902" y="2594535"/>
                  <a:pt x="1200767" y="2594071"/>
                  <a:pt x="1200767" y="2594071"/>
                </a:cubicBezTo>
                <a:cubicBezTo>
                  <a:pt x="1198392" y="2593141"/>
                  <a:pt x="1199838" y="2598098"/>
                  <a:pt x="1196740" y="2597478"/>
                </a:cubicBezTo>
                <a:cubicBezTo>
                  <a:pt x="1191680" y="2595929"/>
                  <a:pt x="1190338" y="2589733"/>
                  <a:pt x="1189719" y="2586481"/>
                </a:cubicBezTo>
                <a:lnTo>
                  <a:pt x="1189408" y="2584777"/>
                </a:lnTo>
                <a:lnTo>
                  <a:pt x="1188789" y="2584931"/>
                </a:lnTo>
                <a:lnTo>
                  <a:pt x="1188789" y="2586790"/>
                </a:lnTo>
                <a:cubicBezTo>
                  <a:pt x="1188376" y="2591747"/>
                  <a:pt x="1187137" y="2596084"/>
                  <a:pt x="1183420" y="2596394"/>
                </a:cubicBezTo>
                <a:cubicBezTo>
                  <a:pt x="1183317" y="2594845"/>
                  <a:pt x="1183007" y="2592831"/>
                  <a:pt x="1182697" y="2590663"/>
                </a:cubicBezTo>
                <a:lnTo>
                  <a:pt x="1182387" y="2586635"/>
                </a:lnTo>
                <a:lnTo>
                  <a:pt x="1181561" y="2586016"/>
                </a:lnTo>
                <a:cubicBezTo>
                  <a:pt x="1181251" y="2585707"/>
                  <a:pt x="1181251" y="2585396"/>
                  <a:pt x="1181458" y="2585087"/>
                </a:cubicBezTo>
                <a:lnTo>
                  <a:pt x="1182284" y="2584467"/>
                </a:lnTo>
                <a:lnTo>
                  <a:pt x="1182181" y="2583383"/>
                </a:lnTo>
                <a:cubicBezTo>
                  <a:pt x="1182284" y="2578736"/>
                  <a:pt x="1183626" y="2574399"/>
                  <a:pt x="1188686" y="2573624"/>
                </a:cubicBezTo>
                <a:close/>
                <a:moveTo>
                  <a:pt x="789704" y="2573160"/>
                </a:moveTo>
                <a:cubicBezTo>
                  <a:pt x="792079" y="2575793"/>
                  <a:pt x="796416" y="2575483"/>
                  <a:pt x="795486" y="2580750"/>
                </a:cubicBezTo>
                <a:cubicBezTo>
                  <a:pt x="791563" y="2583847"/>
                  <a:pt x="784334" y="2580904"/>
                  <a:pt x="784644" y="2575018"/>
                </a:cubicBezTo>
                <a:cubicBezTo>
                  <a:pt x="786606" y="2574554"/>
                  <a:pt x="787845" y="2573624"/>
                  <a:pt x="789704" y="2573160"/>
                </a:cubicBezTo>
                <a:close/>
                <a:moveTo>
                  <a:pt x="999004" y="2572540"/>
                </a:moveTo>
                <a:cubicBezTo>
                  <a:pt x="1002308" y="2574864"/>
                  <a:pt x="1002205" y="2577497"/>
                  <a:pt x="1003754" y="2579820"/>
                </a:cubicBezTo>
                <a:cubicBezTo>
                  <a:pt x="998591" y="2587255"/>
                  <a:pt x="993325" y="2584931"/>
                  <a:pt x="992189" y="2581059"/>
                </a:cubicBezTo>
                <a:cubicBezTo>
                  <a:pt x="991776" y="2579665"/>
                  <a:pt x="991879" y="2578271"/>
                  <a:pt x="992602" y="2576877"/>
                </a:cubicBezTo>
                <a:cubicBezTo>
                  <a:pt x="993531" y="2575018"/>
                  <a:pt x="995493" y="2573314"/>
                  <a:pt x="999004" y="2572540"/>
                </a:cubicBezTo>
                <a:close/>
                <a:moveTo>
                  <a:pt x="508537" y="2570991"/>
                </a:moveTo>
                <a:cubicBezTo>
                  <a:pt x="517727" y="2570526"/>
                  <a:pt x="528879" y="2582298"/>
                  <a:pt x="522270" y="2587410"/>
                </a:cubicBezTo>
                <a:cubicBezTo>
                  <a:pt x="521341" y="2588185"/>
                  <a:pt x="520102" y="2588804"/>
                  <a:pt x="518347" y="2589114"/>
                </a:cubicBezTo>
                <a:cubicBezTo>
                  <a:pt x="514732" y="2586171"/>
                  <a:pt x="508434" y="2582143"/>
                  <a:pt x="507401" y="2576722"/>
                </a:cubicBezTo>
                <a:cubicBezTo>
                  <a:pt x="507091" y="2575018"/>
                  <a:pt x="507401" y="2573160"/>
                  <a:pt x="508537" y="2570991"/>
                </a:cubicBezTo>
                <a:close/>
                <a:moveTo>
                  <a:pt x="5102866" y="2570372"/>
                </a:moveTo>
                <a:cubicBezTo>
                  <a:pt x="5102866" y="2572221"/>
                  <a:pt x="5104787" y="2574070"/>
                  <a:pt x="5104787" y="2575778"/>
                </a:cubicBezTo>
                <a:lnTo>
                  <a:pt x="5102013" y="2577058"/>
                </a:lnTo>
                <a:lnTo>
                  <a:pt x="5104573" y="2578339"/>
                </a:lnTo>
                <a:cubicBezTo>
                  <a:pt x="5098171" y="2587587"/>
                  <a:pt x="5111616" y="2589009"/>
                  <a:pt x="5107135" y="2596549"/>
                </a:cubicBezTo>
                <a:cubicBezTo>
                  <a:pt x="5104147" y="2598256"/>
                  <a:pt x="5101585" y="2601244"/>
                  <a:pt x="5097744" y="2601813"/>
                </a:cubicBezTo>
                <a:cubicBezTo>
                  <a:pt x="5096464" y="2602098"/>
                  <a:pt x="5094970" y="2601955"/>
                  <a:pt x="5093476" y="2601528"/>
                </a:cubicBezTo>
                <a:cubicBezTo>
                  <a:pt x="5096037" y="2591997"/>
                  <a:pt x="5094970" y="2584741"/>
                  <a:pt x="5095610" y="2575636"/>
                </a:cubicBezTo>
                <a:lnTo>
                  <a:pt x="5097530" y="2575778"/>
                </a:lnTo>
                <a:lnTo>
                  <a:pt x="5095397" y="2574070"/>
                </a:lnTo>
                <a:cubicBezTo>
                  <a:pt x="5097317" y="2572221"/>
                  <a:pt x="5100945" y="2572221"/>
                  <a:pt x="5102866" y="2570372"/>
                </a:cubicBezTo>
                <a:close/>
                <a:moveTo>
                  <a:pt x="1153062" y="2569907"/>
                </a:moveTo>
                <a:cubicBezTo>
                  <a:pt x="1152340" y="2572075"/>
                  <a:pt x="1152236" y="2575793"/>
                  <a:pt x="1148829" y="2576257"/>
                </a:cubicBezTo>
                <a:cubicBezTo>
                  <a:pt x="1149345" y="2574708"/>
                  <a:pt x="1150171" y="2571456"/>
                  <a:pt x="1151514" y="2570217"/>
                </a:cubicBezTo>
                <a:cubicBezTo>
                  <a:pt x="1152030" y="2569907"/>
                  <a:pt x="1152546" y="2569752"/>
                  <a:pt x="1153062" y="2569907"/>
                </a:cubicBezTo>
                <a:close/>
                <a:moveTo>
                  <a:pt x="1300719" y="2569287"/>
                </a:moveTo>
                <a:cubicBezTo>
                  <a:pt x="1301442" y="2572695"/>
                  <a:pt x="1300616" y="2586016"/>
                  <a:pt x="1293594" y="2581369"/>
                </a:cubicBezTo>
                <a:lnTo>
                  <a:pt x="1293594" y="2581214"/>
                </a:lnTo>
                <a:lnTo>
                  <a:pt x="1291219" y="2582143"/>
                </a:lnTo>
                <a:cubicBezTo>
                  <a:pt x="1289980" y="2581988"/>
                  <a:pt x="1289051" y="2581214"/>
                  <a:pt x="1287812" y="2580130"/>
                </a:cubicBezTo>
                <a:cubicBezTo>
                  <a:pt x="1289154" y="2579200"/>
                  <a:pt x="1290187" y="2578891"/>
                  <a:pt x="1291323" y="2579046"/>
                </a:cubicBezTo>
                <a:lnTo>
                  <a:pt x="1293801" y="2579975"/>
                </a:lnTo>
                <a:lnTo>
                  <a:pt x="1294937" y="2574089"/>
                </a:lnTo>
                <a:cubicBezTo>
                  <a:pt x="1295143" y="2572075"/>
                  <a:pt x="1295556" y="2570217"/>
                  <a:pt x="1296795" y="2569442"/>
                </a:cubicBezTo>
                <a:cubicBezTo>
                  <a:pt x="1297621" y="2568822"/>
                  <a:pt x="1298860" y="2568822"/>
                  <a:pt x="1300719" y="2569287"/>
                </a:cubicBezTo>
                <a:close/>
                <a:moveTo>
                  <a:pt x="861983" y="2568822"/>
                </a:moveTo>
                <a:cubicBezTo>
                  <a:pt x="864564" y="2571920"/>
                  <a:pt x="862499" y="2576568"/>
                  <a:pt x="857130" y="2575638"/>
                </a:cubicBezTo>
                <a:cubicBezTo>
                  <a:pt x="857750" y="2572230"/>
                  <a:pt x="858369" y="2568667"/>
                  <a:pt x="861983" y="2568822"/>
                </a:cubicBezTo>
                <a:close/>
                <a:moveTo>
                  <a:pt x="715050" y="2568822"/>
                </a:moveTo>
                <a:cubicBezTo>
                  <a:pt x="718973" y="2567583"/>
                  <a:pt x="722381" y="2568048"/>
                  <a:pt x="725995" y="2572385"/>
                </a:cubicBezTo>
                <a:cubicBezTo>
                  <a:pt x="725272" y="2575638"/>
                  <a:pt x="722071" y="2576568"/>
                  <a:pt x="718767" y="2575948"/>
                </a:cubicBezTo>
                <a:cubicBezTo>
                  <a:pt x="715566" y="2575483"/>
                  <a:pt x="712159" y="2573469"/>
                  <a:pt x="711126" y="2570836"/>
                </a:cubicBezTo>
                <a:cubicBezTo>
                  <a:pt x="712468" y="2570061"/>
                  <a:pt x="713811" y="2569287"/>
                  <a:pt x="715050" y="2568822"/>
                </a:cubicBezTo>
                <a:close/>
                <a:moveTo>
                  <a:pt x="1043817" y="2565879"/>
                </a:moveTo>
                <a:cubicBezTo>
                  <a:pt x="1046812" y="2565879"/>
                  <a:pt x="1048877" y="2566344"/>
                  <a:pt x="1050219" y="2566963"/>
                </a:cubicBezTo>
                <a:lnTo>
                  <a:pt x="1052388" y="2569287"/>
                </a:lnTo>
                <a:lnTo>
                  <a:pt x="1053833" y="2568358"/>
                </a:lnTo>
                <a:cubicBezTo>
                  <a:pt x="1059822" y="2567273"/>
                  <a:pt x="1065604" y="2572695"/>
                  <a:pt x="1069631" y="2576568"/>
                </a:cubicBezTo>
                <a:cubicBezTo>
                  <a:pt x="1072523" y="2579200"/>
                  <a:pt x="1075414" y="2582298"/>
                  <a:pt x="1075311" y="2585087"/>
                </a:cubicBezTo>
                <a:cubicBezTo>
                  <a:pt x="1075311" y="2586016"/>
                  <a:pt x="1075001" y="2586945"/>
                  <a:pt x="1074278" y="2587720"/>
                </a:cubicBezTo>
                <a:lnTo>
                  <a:pt x="1073142" y="2588494"/>
                </a:lnTo>
                <a:lnTo>
                  <a:pt x="1072729" y="2589888"/>
                </a:lnTo>
                <a:lnTo>
                  <a:pt x="1074794" y="2598407"/>
                </a:lnTo>
                <a:lnTo>
                  <a:pt x="1075311" y="2595155"/>
                </a:lnTo>
                <a:cubicBezTo>
                  <a:pt x="1075207" y="2595929"/>
                  <a:pt x="1075207" y="2595929"/>
                  <a:pt x="1075207" y="2595929"/>
                </a:cubicBezTo>
                <a:cubicBezTo>
                  <a:pt x="1076033" y="2596704"/>
                  <a:pt x="1076136" y="2595929"/>
                  <a:pt x="1077066" y="2595929"/>
                </a:cubicBezTo>
                <a:cubicBezTo>
                  <a:pt x="1077066" y="2595929"/>
                  <a:pt x="1076136" y="2595929"/>
                  <a:pt x="1077066" y="2595000"/>
                </a:cubicBezTo>
                <a:cubicBezTo>
                  <a:pt x="1076963" y="2595929"/>
                  <a:pt x="1077892" y="2595929"/>
                  <a:pt x="1078821" y="2595775"/>
                </a:cubicBezTo>
                <a:cubicBezTo>
                  <a:pt x="1080473" y="2597478"/>
                  <a:pt x="1082022" y="2599956"/>
                  <a:pt x="1081093" y="2601660"/>
                </a:cubicBezTo>
                <a:cubicBezTo>
                  <a:pt x="1080164" y="2602590"/>
                  <a:pt x="1079338" y="2602745"/>
                  <a:pt x="1078615" y="2602745"/>
                </a:cubicBezTo>
                <a:lnTo>
                  <a:pt x="1077375" y="2602125"/>
                </a:lnTo>
                <a:lnTo>
                  <a:pt x="1076033" y="2603519"/>
                </a:lnTo>
                <a:lnTo>
                  <a:pt x="1078408" y="2613432"/>
                </a:lnTo>
                <a:cubicBezTo>
                  <a:pt x="1076240" y="2614982"/>
                  <a:pt x="1074381" y="2617305"/>
                  <a:pt x="1072729" y="2619783"/>
                </a:cubicBezTo>
                <a:lnTo>
                  <a:pt x="1071594" y="2621797"/>
                </a:lnTo>
                <a:lnTo>
                  <a:pt x="1071180" y="2623501"/>
                </a:lnTo>
                <a:lnTo>
                  <a:pt x="1069322" y="2625514"/>
                </a:lnTo>
                <a:lnTo>
                  <a:pt x="1068083" y="2627838"/>
                </a:lnTo>
                <a:cubicBezTo>
                  <a:pt x="1064882" y="2633104"/>
                  <a:pt x="1061061" y="2637751"/>
                  <a:pt x="1054453" y="2638526"/>
                </a:cubicBezTo>
                <a:lnTo>
                  <a:pt x="1053317" y="2638061"/>
                </a:lnTo>
                <a:lnTo>
                  <a:pt x="1052284" y="2639145"/>
                </a:lnTo>
                <a:cubicBezTo>
                  <a:pt x="1050529" y="2640229"/>
                  <a:pt x="1048361" y="2640694"/>
                  <a:pt x="1046089" y="2640539"/>
                </a:cubicBezTo>
                <a:cubicBezTo>
                  <a:pt x="1045056" y="2639610"/>
                  <a:pt x="1044437" y="2638216"/>
                  <a:pt x="1044230" y="2636667"/>
                </a:cubicBezTo>
                <a:lnTo>
                  <a:pt x="1044230" y="2635738"/>
                </a:lnTo>
                <a:lnTo>
                  <a:pt x="1042372" y="2635583"/>
                </a:lnTo>
                <a:cubicBezTo>
                  <a:pt x="1039067" y="2635738"/>
                  <a:pt x="1036073" y="2636357"/>
                  <a:pt x="1032562" y="2635893"/>
                </a:cubicBezTo>
                <a:cubicBezTo>
                  <a:pt x="1029362" y="2633724"/>
                  <a:pt x="1026057" y="2630936"/>
                  <a:pt x="1022960" y="2627993"/>
                </a:cubicBezTo>
                <a:lnTo>
                  <a:pt x="1016558" y="2620713"/>
                </a:lnTo>
                <a:lnTo>
                  <a:pt x="1010465" y="2620558"/>
                </a:lnTo>
                <a:cubicBezTo>
                  <a:pt x="1008400" y="2620867"/>
                  <a:pt x="1006232" y="2620867"/>
                  <a:pt x="1004064" y="2619938"/>
                </a:cubicBezTo>
                <a:cubicBezTo>
                  <a:pt x="1004890" y="2618854"/>
                  <a:pt x="1007265" y="2616840"/>
                  <a:pt x="1009949" y="2618234"/>
                </a:cubicBezTo>
                <a:cubicBezTo>
                  <a:pt x="1011292" y="2618854"/>
                  <a:pt x="1012531" y="2618854"/>
                  <a:pt x="1013770" y="2618854"/>
                </a:cubicBezTo>
                <a:lnTo>
                  <a:pt x="1015319" y="2619319"/>
                </a:lnTo>
                <a:lnTo>
                  <a:pt x="1014493" y="2618079"/>
                </a:lnTo>
                <a:cubicBezTo>
                  <a:pt x="1009536" y="2611109"/>
                  <a:pt x="1006335" y="2602899"/>
                  <a:pt x="1007368" y="2594690"/>
                </a:cubicBezTo>
                <a:cubicBezTo>
                  <a:pt x="1009020" y="2581059"/>
                  <a:pt x="1020069" y="2578581"/>
                  <a:pt x="1028329" y="2568977"/>
                </a:cubicBezTo>
                <a:cubicBezTo>
                  <a:pt x="1033389" y="2571610"/>
                  <a:pt x="1037003" y="2571765"/>
                  <a:pt x="1040100" y="2571146"/>
                </a:cubicBezTo>
                <a:lnTo>
                  <a:pt x="1042165" y="2570526"/>
                </a:lnTo>
                <a:close/>
                <a:moveTo>
                  <a:pt x="5048871" y="2565819"/>
                </a:moveTo>
                <a:cubicBezTo>
                  <a:pt x="5050365" y="2565534"/>
                  <a:pt x="5052072" y="2566246"/>
                  <a:pt x="5053993" y="2568237"/>
                </a:cubicBezTo>
                <a:cubicBezTo>
                  <a:pt x="5051859" y="2572648"/>
                  <a:pt x="5050578" y="2575636"/>
                  <a:pt x="5048658" y="2577343"/>
                </a:cubicBezTo>
                <a:cubicBezTo>
                  <a:pt x="5042682" y="2575209"/>
                  <a:pt x="5044389" y="2566530"/>
                  <a:pt x="5048871" y="2565819"/>
                </a:cubicBezTo>
                <a:close/>
                <a:moveTo>
                  <a:pt x="1317021" y="2564737"/>
                </a:moveTo>
                <a:cubicBezTo>
                  <a:pt x="1319202" y="2563711"/>
                  <a:pt x="1321783" y="2564021"/>
                  <a:pt x="1323022" y="2565724"/>
                </a:cubicBezTo>
                <a:cubicBezTo>
                  <a:pt x="1323435" y="2566344"/>
                  <a:pt x="1323745" y="2567118"/>
                  <a:pt x="1323848" y="2568048"/>
                </a:cubicBezTo>
                <a:lnTo>
                  <a:pt x="1323745" y="2568513"/>
                </a:lnTo>
                <a:lnTo>
                  <a:pt x="1323848" y="2568667"/>
                </a:lnTo>
                <a:cubicBezTo>
                  <a:pt x="1324468" y="2569442"/>
                  <a:pt x="1324777" y="2570371"/>
                  <a:pt x="1324674" y="2571301"/>
                </a:cubicBezTo>
                <a:cubicBezTo>
                  <a:pt x="1323848" y="2572230"/>
                  <a:pt x="1322919" y="2574089"/>
                  <a:pt x="1321060" y="2575018"/>
                </a:cubicBezTo>
                <a:cubicBezTo>
                  <a:pt x="1318995" y="2574708"/>
                  <a:pt x="1317550" y="2573934"/>
                  <a:pt x="1316620" y="2572695"/>
                </a:cubicBezTo>
                <a:lnTo>
                  <a:pt x="1316517" y="2572075"/>
                </a:lnTo>
                <a:lnTo>
                  <a:pt x="1313419" y="2571765"/>
                </a:lnTo>
                <a:cubicBezTo>
                  <a:pt x="1313058" y="2568126"/>
                  <a:pt x="1314839" y="2565763"/>
                  <a:pt x="1317021" y="2564737"/>
                </a:cubicBezTo>
                <a:close/>
                <a:moveTo>
                  <a:pt x="6197710" y="2563400"/>
                </a:moveTo>
                <a:cubicBezTo>
                  <a:pt x="6198563" y="2563543"/>
                  <a:pt x="6199417" y="2563970"/>
                  <a:pt x="6200057" y="2564538"/>
                </a:cubicBezTo>
                <a:cubicBezTo>
                  <a:pt x="6200698" y="2565250"/>
                  <a:pt x="6201125" y="2565961"/>
                  <a:pt x="6200698" y="2566673"/>
                </a:cubicBezTo>
                <a:cubicBezTo>
                  <a:pt x="6199844" y="2567384"/>
                  <a:pt x="6200270" y="2568380"/>
                  <a:pt x="6199204" y="2569091"/>
                </a:cubicBezTo>
                <a:cubicBezTo>
                  <a:pt x="6197710" y="2571367"/>
                  <a:pt x="6196642" y="2571937"/>
                  <a:pt x="6195149" y="2571652"/>
                </a:cubicBezTo>
                <a:cubicBezTo>
                  <a:pt x="6194082" y="2572221"/>
                  <a:pt x="6193655" y="2571225"/>
                  <a:pt x="6191947" y="2570940"/>
                </a:cubicBezTo>
                <a:cubicBezTo>
                  <a:pt x="6191520" y="2569945"/>
                  <a:pt x="6191947" y="2568237"/>
                  <a:pt x="6191947" y="2568237"/>
                </a:cubicBezTo>
                <a:cubicBezTo>
                  <a:pt x="6192587" y="2566530"/>
                  <a:pt x="6192587" y="2566530"/>
                  <a:pt x="6190880" y="2566246"/>
                </a:cubicBezTo>
                <a:cubicBezTo>
                  <a:pt x="6190880" y="2566246"/>
                  <a:pt x="6191947" y="2565534"/>
                  <a:pt x="6191947" y="2565534"/>
                </a:cubicBezTo>
                <a:cubicBezTo>
                  <a:pt x="6192587" y="2566530"/>
                  <a:pt x="6191947" y="2565534"/>
                  <a:pt x="6192587" y="2563827"/>
                </a:cubicBezTo>
                <a:cubicBezTo>
                  <a:pt x="6195149" y="2563543"/>
                  <a:pt x="6196216" y="2562973"/>
                  <a:pt x="6197710" y="2563400"/>
                </a:cubicBezTo>
                <a:close/>
                <a:moveTo>
                  <a:pt x="1349146" y="2563246"/>
                </a:moveTo>
                <a:cubicBezTo>
                  <a:pt x="1349662" y="2565570"/>
                  <a:pt x="1352554" y="2564175"/>
                  <a:pt x="1352554" y="2567118"/>
                </a:cubicBezTo>
                <a:cubicBezTo>
                  <a:pt x="1348630" y="2573160"/>
                  <a:pt x="1331179" y="2575638"/>
                  <a:pt x="1328804" y="2567273"/>
                </a:cubicBezTo>
                <a:cubicBezTo>
                  <a:pt x="1335103" y="2566654"/>
                  <a:pt x="1340886" y="2566809"/>
                  <a:pt x="1349146" y="2563246"/>
                </a:cubicBezTo>
                <a:close/>
                <a:moveTo>
                  <a:pt x="6204966" y="2562831"/>
                </a:moveTo>
                <a:cubicBezTo>
                  <a:pt x="6206673" y="2562547"/>
                  <a:pt x="6208594" y="2562689"/>
                  <a:pt x="6210515" y="2563116"/>
                </a:cubicBezTo>
                <a:cubicBezTo>
                  <a:pt x="6214356" y="2563827"/>
                  <a:pt x="6218198" y="2565819"/>
                  <a:pt x="6220972" y="2567526"/>
                </a:cubicBezTo>
                <a:cubicBezTo>
                  <a:pt x="6220759" y="2570798"/>
                  <a:pt x="6223320" y="2572079"/>
                  <a:pt x="6223107" y="2575351"/>
                </a:cubicBezTo>
                <a:cubicBezTo>
                  <a:pt x="6213289" y="2573786"/>
                  <a:pt x="6202832" y="2573074"/>
                  <a:pt x="6200698" y="2565108"/>
                </a:cubicBezTo>
                <a:cubicBezTo>
                  <a:pt x="6201978" y="2563827"/>
                  <a:pt x="6203472" y="2563116"/>
                  <a:pt x="6204966" y="2562831"/>
                </a:cubicBezTo>
                <a:close/>
                <a:moveTo>
                  <a:pt x="609109" y="2562782"/>
                </a:moveTo>
                <a:cubicBezTo>
                  <a:pt x="615407" y="2560458"/>
                  <a:pt x="630999" y="2569132"/>
                  <a:pt x="628624" y="2577497"/>
                </a:cubicBezTo>
                <a:cubicBezTo>
                  <a:pt x="623152" y="2574089"/>
                  <a:pt x="618505" y="2570371"/>
                  <a:pt x="609831" y="2568203"/>
                </a:cubicBezTo>
                <a:cubicBezTo>
                  <a:pt x="610451" y="2566499"/>
                  <a:pt x="608799" y="2565724"/>
                  <a:pt x="608592" y="2564331"/>
                </a:cubicBezTo>
                <a:cubicBezTo>
                  <a:pt x="608592" y="2564021"/>
                  <a:pt x="608696" y="2563401"/>
                  <a:pt x="609109" y="2562782"/>
                </a:cubicBezTo>
                <a:close/>
                <a:moveTo>
                  <a:pt x="479109" y="2562782"/>
                </a:moveTo>
                <a:cubicBezTo>
                  <a:pt x="481690" y="2564795"/>
                  <a:pt x="482517" y="2567428"/>
                  <a:pt x="480761" y="2569752"/>
                </a:cubicBezTo>
                <a:cubicBezTo>
                  <a:pt x="479006" y="2570526"/>
                  <a:pt x="477251" y="2569442"/>
                  <a:pt x="475598" y="2568358"/>
                </a:cubicBezTo>
                <a:cubicBezTo>
                  <a:pt x="474256" y="2567428"/>
                  <a:pt x="473946" y="2566654"/>
                  <a:pt x="474050" y="2565724"/>
                </a:cubicBezTo>
                <a:cubicBezTo>
                  <a:pt x="474153" y="2564950"/>
                  <a:pt x="474876" y="2564175"/>
                  <a:pt x="475702" y="2563401"/>
                </a:cubicBezTo>
                <a:cubicBezTo>
                  <a:pt x="477457" y="2561852"/>
                  <a:pt x="479109" y="2562782"/>
                  <a:pt x="479109" y="2562782"/>
                </a:cubicBezTo>
                <a:close/>
                <a:moveTo>
                  <a:pt x="1100918" y="2562162"/>
                </a:moveTo>
                <a:cubicBezTo>
                  <a:pt x="1100918" y="2562162"/>
                  <a:pt x="1100608" y="2563246"/>
                  <a:pt x="1101125" y="2564021"/>
                </a:cubicBezTo>
                <a:cubicBezTo>
                  <a:pt x="1101125" y="2564021"/>
                  <a:pt x="1100815" y="2565105"/>
                  <a:pt x="1100608" y="2566189"/>
                </a:cubicBezTo>
                <a:cubicBezTo>
                  <a:pt x="1100608" y="2566189"/>
                  <a:pt x="1101022" y="2566963"/>
                  <a:pt x="1101434" y="2567738"/>
                </a:cubicBezTo>
                <a:cubicBezTo>
                  <a:pt x="1101434" y="2570681"/>
                  <a:pt x="1101641" y="2572540"/>
                  <a:pt x="1098233" y="2573314"/>
                </a:cubicBezTo>
                <a:cubicBezTo>
                  <a:pt x="1098027" y="2573005"/>
                  <a:pt x="1098027" y="2572230"/>
                  <a:pt x="1098130" y="2571301"/>
                </a:cubicBezTo>
                <a:cubicBezTo>
                  <a:pt x="1098233" y="2570526"/>
                  <a:pt x="1098440" y="2569752"/>
                  <a:pt x="1098543" y="2569132"/>
                </a:cubicBezTo>
                <a:cubicBezTo>
                  <a:pt x="1098130" y="2568513"/>
                  <a:pt x="1098336" y="2567428"/>
                  <a:pt x="1099059" y="2566963"/>
                </a:cubicBezTo>
                <a:cubicBezTo>
                  <a:pt x="1099059" y="2566963"/>
                  <a:pt x="1099369" y="2565879"/>
                  <a:pt x="1098853" y="2565105"/>
                </a:cubicBezTo>
                <a:cubicBezTo>
                  <a:pt x="1099472" y="2562936"/>
                  <a:pt x="1100195" y="2562471"/>
                  <a:pt x="1100918" y="2562162"/>
                </a:cubicBezTo>
                <a:close/>
                <a:moveTo>
                  <a:pt x="1031014" y="2561697"/>
                </a:moveTo>
                <a:cubicBezTo>
                  <a:pt x="1031530" y="2561542"/>
                  <a:pt x="1032150" y="2561542"/>
                  <a:pt x="1032666" y="2561697"/>
                </a:cubicBezTo>
                <a:cubicBezTo>
                  <a:pt x="1033182" y="2561852"/>
                  <a:pt x="1033698" y="2562471"/>
                  <a:pt x="1034008" y="2563556"/>
                </a:cubicBezTo>
                <a:cubicBezTo>
                  <a:pt x="1035040" y="2565260"/>
                  <a:pt x="1034524" y="2565879"/>
                  <a:pt x="1031736" y="2567118"/>
                </a:cubicBezTo>
                <a:cubicBezTo>
                  <a:pt x="1029362" y="2567428"/>
                  <a:pt x="1027710" y="2568358"/>
                  <a:pt x="1026987" y="2567893"/>
                </a:cubicBezTo>
                <a:cubicBezTo>
                  <a:pt x="1026470" y="2568513"/>
                  <a:pt x="1025335" y="2568822"/>
                  <a:pt x="1024922" y="2569442"/>
                </a:cubicBezTo>
                <a:cubicBezTo>
                  <a:pt x="1024922" y="2569442"/>
                  <a:pt x="1024922" y="2569597"/>
                  <a:pt x="1024096" y="2568977"/>
                </a:cubicBezTo>
                <a:cubicBezTo>
                  <a:pt x="1026677" y="2566809"/>
                  <a:pt x="1028122" y="2562782"/>
                  <a:pt x="1031014" y="2561697"/>
                </a:cubicBezTo>
                <a:close/>
                <a:moveTo>
                  <a:pt x="828838" y="2560923"/>
                </a:moveTo>
                <a:cubicBezTo>
                  <a:pt x="833175" y="2559838"/>
                  <a:pt x="835446" y="2564640"/>
                  <a:pt x="837098" y="2567118"/>
                </a:cubicBezTo>
                <a:lnTo>
                  <a:pt x="835859" y="2568203"/>
                </a:lnTo>
                <a:lnTo>
                  <a:pt x="837615" y="2568822"/>
                </a:lnTo>
                <a:cubicBezTo>
                  <a:pt x="838337" y="2569287"/>
                  <a:pt x="839061" y="2569907"/>
                  <a:pt x="839886" y="2570526"/>
                </a:cubicBezTo>
                <a:cubicBezTo>
                  <a:pt x="838957" y="2572230"/>
                  <a:pt x="839680" y="2574708"/>
                  <a:pt x="837822" y="2576412"/>
                </a:cubicBezTo>
                <a:cubicBezTo>
                  <a:pt x="837822" y="2576412"/>
                  <a:pt x="836995" y="2577342"/>
                  <a:pt x="835240" y="2577342"/>
                </a:cubicBezTo>
                <a:cubicBezTo>
                  <a:pt x="832556" y="2579200"/>
                  <a:pt x="830077" y="2576722"/>
                  <a:pt x="830077" y="2576722"/>
                </a:cubicBezTo>
                <a:cubicBezTo>
                  <a:pt x="830077" y="2576722"/>
                  <a:pt x="829974" y="2576722"/>
                  <a:pt x="829974" y="2577497"/>
                </a:cubicBezTo>
                <a:cubicBezTo>
                  <a:pt x="830077" y="2575948"/>
                  <a:pt x="829251" y="2574244"/>
                  <a:pt x="829354" y="2572540"/>
                </a:cubicBezTo>
                <a:lnTo>
                  <a:pt x="829870" y="2572075"/>
                </a:lnTo>
                <a:lnTo>
                  <a:pt x="829148" y="2572385"/>
                </a:lnTo>
                <a:cubicBezTo>
                  <a:pt x="827496" y="2570836"/>
                  <a:pt x="826463" y="2568977"/>
                  <a:pt x="826360" y="2567118"/>
                </a:cubicBezTo>
                <a:cubicBezTo>
                  <a:pt x="826257" y="2565105"/>
                  <a:pt x="826979" y="2562936"/>
                  <a:pt x="828838" y="2560923"/>
                </a:cubicBezTo>
                <a:close/>
                <a:moveTo>
                  <a:pt x="628314" y="2560148"/>
                </a:moveTo>
                <a:cubicBezTo>
                  <a:pt x="630276" y="2560303"/>
                  <a:pt x="630689" y="2559219"/>
                  <a:pt x="633374" y="2560923"/>
                </a:cubicBezTo>
                <a:cubicBezTo>
                  <a:pt x="632961" y="2561852"/>
                  <a:pt x="632548" y="2562936"/>
                  <a:pt x="632135" y="2564021"/>
                </a:cubicBezTo>
                <a:cubicBezTo>
                  <a:pt x="629863" y="2563091"/>
                  <a:pt x="627591" y="2562162"/>
                  <a:pt x="628314" y="2560148"/>
                </a:cubicBezTo>
                <a:close/>
                <a:moveTo>
                  <a:pt x="815311" y="2559064"/>
                </a:moveTo>
                <a:cubicBezTo>
                  <a:pt x="819752" y="2558444"/>
                  <a:pt x="822023" y="2560458"/>
                  <a:pt x="822952" y="2563556"/>
                </a:cubicBezTo>
                <a:cubicBezTo>
                  <a:pt x="820474" y="2568048"/>
                  <a:pt x="813969" y="2567428"/>
                  <a:pt x="812936" y="2563401"/>
                </a:cubicBezTo>
                <a:cubicBezTo>
                  <a:pt x="813453" y="2562317"/>
                  <a:pt x="813866" y="2560458"/>
                  <a:pt x="815311" y="2559064"/>
                </a:cubicBezTo>
                <a:close/>
                <a:moveTo>
                  <a:pt x="1132204" y="2558909"/>
                </a:moveTo>
                <a:cubicBezTo>
                  <a:pt x="1133444" y="2559219"/>
                  <a:pt x="1133857" y="2559993"/>
                  <a:pt x="1134373" y="2560768"/>
                </a:cubicBezTo>
                <a:cubicBezTo>
                  <a:pt x="1134063" y="2561852"/>
                  <a:pt x="1133340" y="2562317"/>
                  <a:pt x="1133031" y="2563401"/>
                </a:cubicBezTo>
                <a:cubicBezTo>
                  <a:pt x="1133444" y="2564175"/>
                  <a:pt x="1134373" y="2565570"/>
                  <a:pt x="1134166" y="2566654"/>
                </a:cubicBezTo>
                <a:lnTo>
                  <a:pt x="1133754" y="2567583"/>
                </a:lnTo>
                <a:lnTo>
                  <a:pt x="1134580" y="2567583"/>
                </a:lnTo>
                <a:cubicBezTo>
                  <a:pt x="1135096" y="2575018"/>
                  <a:pt x="1133857" y="2583538"/>
                  <a:pt x="1126526" y="2592212"/>
                </a:cubicBezTo>
                <a:cubicBezTo>
                  <a:pt x="1120640" y="2592676"/>
                  <a:pt x="1118678" y="2588804"/>
                  <a:pt x="1119091" y="2583847"/>
                </a:cubicBezTo>
                <a:cubicBezTo>
                  <a:pt x="1119607" y="2577651"/>
                  <a:pt x="1123841" y="2570061"/>
                  <a:pt x="1129107" y="2567893"/>
                </a:cubicBezTo>
                <a:lnTo>
                  <a:pt x="1132411" y="2567738"/>
                </a:lnTo>
                <a:lnTo>
                  <a:pt x="1132411" y="2567118"/>
                </a:lnTo>
                <a:cubicBezTo>
                  <a:pt x="1132618" y="2566963"/>
                  <a:pt x="1132721" y="2566963"/>
                  <a:pt x="1132928" y="2566344"/>
                </a:cubicBezTo>
                <a:cubicBezTo>
                  <a:pt x="1133134" y="2565260"/>
                  <a:pt x="1132411" y="2560768"/>
                  <a:pt x="1131172" y="2560458"/>
                </a:cubicBezTo>
                <a:cubicBezTo>
                  <a:pt x="1131895" y="2559993"/>
                  <a:pt x="1132204" y="2558909"/>
                  <a:pt x="1132204" y="2558909"/>
                </a:cubicBezTo>
                <a:close/>
                <a:moveTo>
                  <a:pt x="666726" y="2558289"/>
                </a:moveTo>
                <a:cubicBezTo>
                  <a:pt x="674780" y="2555192"/>
                  <a:pt x="686344" y="2560613"/>
                  <a:pt x="689235" y="2566189"/>
                </a:cubicBezTo>
                <a:cubicBezTo>
                  <a:pt x="681078" y="2569442"/>
                  <a:pt x="670856" y="2562936"/>
                  <a:pt x="666726" y="2558289"/>
                </a:cubicBezTo>
                <a:close/>
                <a:moveTo>
                  <a:pt x="755629" y="2557670"/>
                </a:moveTo>
                <a:cubicBezTo>
                  <a:pt x="758004" y="2557360"/>
                  <a:pt x="759140" y="2557205"/>
                  <a:pt x="760689" y="2558135"/>
                </a:cubicBezTo>
                <a:cubicBezTo>
                  <a:pt x="761825" y="2557980"/>
                  <a:pt x="763064" y="2557670"/>
                  <a:pt x="764096" y="2557825"/>
                </a:cubicBezTo>
                <a:cubicBezTo>
                  <a:pt x="765026" y="2557980"/>
                  <a:pt x="765749" y="2558599"/>
                  <a:pt x="766058" y="2559684"/>
                </a:cubicBezTo>
                <a:cubicBezTo>
                  <a:pt x="763993" y="2561232"/>
                  <a:pt x="762444" y="2562007"/>
                  <a:pt x="759553" y="2563091"/>
                </a:cubicBezTo>
                <a:cubicBezTo>
                  <a:pt x="759553" y="2563091"/>
                  <a:pt x="754906" y="2563866"/>
                  <a:pt x="753461" y="2561078"/>
                </a:cubicBezTo>
                <a:cubicBezTo>
                  <a:pt x="752738" y="2560613"/>
                  <a:pt x="754494" y="2557825"/>
                  <a:pt x="755629" y="2557670"/>
                </a:cubicBezTo>
                <a:close/>
                <a:moveTo>
                  <a:pt x="704943" y="2556353"/>
                </a:moveTo>
                <a:cubicBezTo>
                  <a:pt x="710945" y="2554572"/>
                  <a:pt x="717166" y="2554804"/>
                  <a:pt x="719283" y="2558754"/>
                </a:cubicBezTo>
                <a:cubicBezTo>
                  <a:pt x="709267" y="2560613"/>
                  <a:pt x="703485" y="2566189"/>
                  <a:pt x="691920" y="2566035"/>
                </a:cubicBezTo>
                <a:cubicBezTo>
                  <a:pt x="693159" y="2561930"/>
                  <a:pt x="698942" y="2558135"/>
                  <a:pt x="704943" y="2556353"/>
                </a:cubicBezTo>
                <a:close/>
                <a:moveTo>
                  <a:pt x="1285334" y="2556121"/>
                </a:moveTo>
                <a:cubicBezTo>
                  <a:pt x="1287193" y="2554417"/>
                  <a:pt x="1290806" y="2553642"/>
                  <a:pt x="1293078" y="2556276"/>
                </a:cubicBezTo>
                <a:cubicBezTo>
                  <a:pt x="1295453" y="2557980"/>
                  <a:pt x="1295040" y="2561387"/>
                  <a:pt x="1297311" y="2564021"/>
                </a:cubicBezTo>
                <a:cubicBezTo>
                  <a:pt x="1294317" y="2567273"/>
                  <a:pt x="1293388" y="2568203"/>
                  <a:pt x="1289258" y="2566344"/>
                </a:cubicBezTo>
                <a:cubicBezTo>
                  <a:pt x="1289258" y="2566344"/>
                  <a:pt x="1288432" y="2565415"/>
                  <a:pt x="1288432" y="2565415"/>
                </a:cubicBezTo>
                <a:cubicBezTo>
                  <a:pt x="1286883" y="2564175"/>
                  <a:pt x="1285850" y="2562162"/>
                  <a:pt x="1285334" y="2560458"/>
                </a:cubicBezTo>
                <a:cubicBezTo>
                  <a:pt x="1284714" y="2558599"/>
                  <a:pt x="1284817" y="2556896"/>
                  <a:pt x="1285334" y="2556121"/>
                </a:cubicBezTo>
                <a:close/>
                <a:moveTo>
                  <a:pt x="706583" y="2554262"/>
                </a:moveTo>
                <a:cubicBezTo>
                  <a:pt x="706583" y="2554262"/>
                  <a:pt x="705344" y="2554417"/>
                  <a:pt x="704208" y="2554727"/>
                </a:cubicBezTo>
                <a:cubicBezTo>
                  <a:pt x="702969" y="2554882"/>
                  <a:pt x="702969" y="2554882"/>
                  <a:pt x="703278" y="2555966"/>
                </a:cubicBezTo>
                <a:cubicBezTo>
                  <a:pt x="702039" y="2556276"/>
                  <a:pt x="702039" y="2556276"/>
                  <a:pt x="700594" y="2555192"/>
                </a:cubicBezTo>
                <a:cubicBezTo>
                  <a:pt x="701730" y="2555037"/>
                  <a:pt x="706273" y="2553023"/>
                  <a:pt x="706583" y="2554262"/>
                </a:cubicBezTo>
                <a:close/>
                <a:moveTo>
                  <a:pt x="1108559" y="2553333"/>
                </a:moveTo>
                <a:cubicBezTo>
                  <a:pt x="1108559" y="2553333"/>
                  <a:pt x="1110108" y="2553952"/>
                  <a:pt x="1110108" y="2553952"/>
                </a:cubicBezTo>
                <a:cubicBezTo>
                  <a:pt x="1110314" y="2553178"/>
                  <a:pt x="1110211" y="2553178"/>
                  <a:pt x="1110521" y="2553642"/>
                </a:cubicBezTo>
                <a:cubicBezTo>
                  <a:pt x="1110831" y="2554262"/>
                  <a:pt x="1111347" y="2555192"/>
                  <a:pt x="1112690" y="2556431"/>
                </a:cubicBezTo>
                <a:cubicBezTo>
                  <a:pt x="1113825" y="2558444"/>
                  <a:pt x="1115271" y="2558909"/>
                  <a:pt x="1113309" y="2559838"/>
                </a:cubicBezTo>
                <a:cubicBezTo>
                  <a:pt x="1111347" y="2560768"/>
                  <a:pt x="1111347" y="2560768"/>
                  <a:pt x="1106700" y="2559219"/>
                </a:cubicBezTo>
                <a:cubicBezTo>
                  <a:pt x="1108662" y="2558289"/>
                  <a:pt x="1108662" y="2558289"/>
                  <a:pt x="1107630" y="2556276"/>
                </a:cubicBezTo>
                <a:cubicBezTo>
                  <a:pt x="1107630" y="2556276"/>
                  <a:pt x="1107630" y="2556276"/>
                  <a:pt x="1106081" y="2555811"/>
                </a:cubicBezTo>
                <a:cubicBezTo>
                  <a:pt x="1106494" y="2554262"/>
                  <a:pt x="1108043" y="2554882"/>
                  <a:pt x="1108559" y="2553333"/>
                </a:cubicBezTo>
                <a:close/>
                <a:moveTo>
                  <a:pt x="1181664" y="2551784"/>
                </a:moveTo>
                <a:cubicBezTo>
                  <a:pt x="1184556" y="2552094"/>
                  <a:pt x="1189615" y="2555656"/>
                  <a:pt x="1190958" y="2560148"/>
                </a:cubicBezTo>
                <a:lnTo>
                  <a:pt x="1190958" y="2563091"/>
                </a:lnTo>
                <a:lnTo>
                  <a:pt x="1192094" y="2560923"/>
                </a:lnTo>
                <a:cubicBezTo>
                  <a:pt x="1193126" y="2560148"/>
                  <a:pt x="1194674" y="2559838"/>
                  <a:pt x="1196120" y="2559838"/>
                </a:cubicBezTo>
                <a:cubicBezTo>
                  <a:pt x="1195294" y="2559993"/>
                  <a:pt x="1195294" y="2560148"/>
                  <a:pt x="1195294" y="2560148"/>
                </a:cubicBezTo>
                <a:cubicBezTo>
                  <a:pt x="1194881" y="2561232"/>
                  <a:pt x="1195707" y="2560923"/>
                  <a:pt x="1196120" y="2561697"/>
                </a:cubicBezTo>
                <a:cubicBezTo>
                  <a:pt x="1196120" y="2561697"/>
                  <a:pt x="1195707" y="2560923"/>
                  <a:pt x="1196843" y="2561387"/>
                </a:cubicBezTo>
                <a:cubicBezTo>
                  <a:pt x="1196017" y="2561697"/>
                  <a:pt x="1196430" y="2562471"/>
                  <a:pt x="1196843" y="2563246"/>
                </a:cubicBezTo>
                <a:cubicBezTo>
                  <a:pt x="1196017" y="2565415"/>
                  <a:pt x="1194468" y="2567893"/>
                  <a:pt x="1192506" y="2567738"/>
                </a:cubicBezTo>
                <a:cubicBezTo>
                  <a:pt x="1191267" y="2567273"/>
                  <a:pt x="1190751" y="2566499"/>
                  <a:pt x="1190441" y="2565879"/>
                </a:cubicBezTo>
                <a:lnTo>
                  <a:pt x="1190441" y="2564640"/>
                </a:lnTo>
                <a:lnTo>
                  <a:pt x="1186001" y="2562471"/>
                </a:lnTo>
                <a:cubicBezTo>
                  <a:pt x="1182387" y="2559838"/>
                  <a:pt x="1182284" y="2555811"/>
                  <a:pt x="1181664" y="2551784"/>
                </a:cubicBezTo>
                <a:close/>
                <a:moveTo>
                  <a:pt x="746646" y="2551629"/>
                </a:moveTo>
                <a:cubicBezTo>
                  <a:pt x="749537" y="2551629"/>
                  <a:pt x="753358" y="2556276"/>
                  <a:pt x="752325" y="2559528"/>
                </a:cubicBezTo>
                <a:cubicBezTo>
                  <a:pt x="752015" y="2560613"/>
                  <a:pt x="751189" y="2561542"/>
                  <a:pt x="749640" y="2562162"/>
                </a:cubicBezTo>
                <a:cubicBezTo>
                  <a:pt x="744787" y="2563401"/>
                  <a:pt x="743342" y="2559684"/>
                  <a:pt x="742309" y="2555192"/>
                </a:cubicBezTo>
                <a:cubicBezTo>
                  <a:pt x="743962" y="2554107"/>
                  <a:pt x="744891" y="2552558"/>
                  <a:pt x="746646" y="2551629"/>
                </a:cubicBezTo>
                <a:close/>
                <a:moveTo>
                  <a:pt x="843707" y="2551319"/>
                </a:moveTo>
                <a:cubicBezTo>
                  <a:pt x="847321" y="2550235"/>
                  <a:pt x="850109" y="2557360"/>
                  <a:pt x="849179" y="2558754"/>
                </a:cubicBezTo>
                <a:cubicBezTo>
                  <a:pt x="847837" y="2559219"/>
                  <a:pt x="843294" y="2555811"/>
                  <a:pt x="842674" y="2553333"/>
                </a:cubicBezTo>
                <a:cubicBezTo>
                  <a:pt x="842468" y="2552403"/>
                  <a:pt x="842778" y="2551784"/>
                  <a:pt x="843707" y="2551319"/>
                </a:cubicBezTo>
                <a:close/>
                <a:moveTo>
                  <a:pt x="1359781" y="2550080"/>
                </a:moveTo>
                <a:cubicBezTo>
                  <a:pt x="1359781" y="2550080"/>
                  <a:pt x="1359678" y="2550854"/>
                  <a:pt x="1357923" y="2552558"/>
                </a:cubicBezTo>
                <a:cubicBezTo>
                  <a:pt x="1357923" y="2551784"/>
                  <a:pt x="1357097" y="2551784"/>
                  <a:pt x="1357097" y="2551784"/>
                </a:cubicBezTo>
                <a:cubicBezTo>
                  <a:pt x="1357097" y="2551784"/>
                  <a:pt x="1357097" y="2551784"/>
                  <a:pt x="1357097" y="2552713"/>
                </a:cubicBezTo>
                <a:cubicBezTo>
                  <a:pt x="1356684" y="2552249"/>
                  <a:pt x="1356684" y="2551784"/>
                  <a:pt x="1356787" y="2551474"/>
                </a:cubicBezTo>
                <a:cubicBezTo>
                  <a:pt x="1356890" y="2551164"/>
                  <a:pt x="1357097" y="2551009"/>
                  <a:pt x="1357097" y="2551009"/>
                </a:cubicBezTo>
                <a:cubicBezTo>
                  <a:pt x="1358026" y="2550080"/>
                  <a:pt x="1358956" y="2549151"/>
                  <a:pt x="1359781" y="2550080"/>
                </a:cubicBezTo>
                <a:close/>
                <a:moveTo>
                  <a:pt x="714327" y="2548686"/>
                </a:moveTo>
                <a:cubicBezTo>
                  <a:pt x="715153" y="2549151"/>
                  <a:pt x="716289" y="2548995"/>
                  <a:pt x="716289" y="2548995"/>
                </a:cubicBezTo>
                <a:cubicBezTo>
                  <a:pt x="716598" y="2550080"/>
                  <a:pt x="716185" y="2550699"/>
                  <a:pt x="715669" y="2551474"/>
                </a:cubicBezTo>
                <a:cubicBezTo>
                  <a:pt x="714533" y="2551629"/>
                  <a:pt x="713811" y="2551164"/>
                  <a:pt x="712675" y="2551319"/>
                </a:cubicBezTo>
                <a:cubicBezTo>
                  <a:pt x="712159" y="2552094"/>
                  <a:pt x="711332" y="2553333"/>
                  <a:pt x="710093" y="2553642"/>
                </a:cubicBezTo>
                <a:cubicBezTo>
                  <a:pt x="708957" y="2553798"/>
                  <a:pt x="706996" y="2553488"/>
                  <a:pt x="706996" y="2553488"/>
                </a:cubicBezTo>
                <a:cubicBezTo>
                  <a:pt x="706893" y="2552868"/>
                  <a:pt x="706789" y="2552558"/>
                  <a:pt x="706789" y="2552558"/>
                </a:cubicBezTo>
                <a:cubicBezTo>
                  <a:pt x="706893" y="2552403"/>
                  <a:pt x="707099" y="2552558"/>
                  <a:pt x="707512" y="2552868"/>
                </a:cubicBezTo>
                <a:cubicBezTo>
                  <a:pt x="709061" y="2551939"/>
                  <a:pt x="708648" y="2552558"/>
                  <a:pt x="709784" y="2552403"/>
                </a:cubicBezTo>
                <a:cubicBezTo>
                  <a:pt x="710919" y="2552249"/>
                  <a:pt x="714637" y="2549770"/>
                  <a:pt x="714327" y="2548686"/>
                </a:cubicBezTo>
                <a:close/>
                <a:moveTo>
                  <a:pt x="5237961" y="2548462"/>
                </a:moveTo>
                <a:lnTo>
                  <a:pt x="5233692" y="2551734"/>
                </a:lnTo>
                <a:cubicBezTo>
                  <a:pt x="5226649" y="2557709"/>
                  <a:pt x="5220461" y="2562973"/>
                  <a:pt x="5214058" y="2565961"/>
                </a:cubicBezTo>
                <a:cubicBezTo>
                  <a:pt x="5210216" y="2568237"/>
                  <a:pt x="5204667" y="2574924"/>
                  <a:pt x="5199972" y="2580188"/>
                </a:cubicBezTo>
                <a:cubicBezTo>
                  <a:pt x="5194423" y="2585310"/>
                  <a:pt x="5189728" y="2589862"/>
                  <a:pt x="5185886" y="2588297"/>
                </a:cubicBezTo>
                <a:cubicBezTo>
                  <a:pt x="5178844" y="2593561"/>
                  <a:pt x="5172441" y="2598683"/>
                  <a:pt x="5166252" y="2603236"/>
                </a:cubicBezTo>
                <a:cubicBezTo>
                  <a:pt x="5160703" y="2608357"/>
                  <a:pt x="5155154" y="2613621"/>
                  <a:pt x="5149819" y="2618174"/>
                </a:cubicBezTo>
                <a:cubicBezTo>
                  <a:pt x="5145123" y="2623295"/>
                  <a:pt x="5140428" y="2628560"/>
                  <a:pt x="5134879" y="2633824"/>
                </a:cubicBezTo>
                <a:cubicBezTo>
                  <a:pt x="5130184" y="2638234"/>
                  <a:pt x="5125489" y="2643355"/>
                  <a:pt x="5120793" y="2647908"/>
                </a:cubicBezTo>
                <a:cubicBezTo>
                  <a:pt x="5119086" y="2646343"/>
                  <a:pt x="5120580" y="2644067"/>
                  <a:pt x="5119086" y="2642644"/>
                </a:cubicBezTo>
                <a:cubicBezTo>
                  <a:pt x="5116739" y="2639656"/>
                  <a:pt x="5114391" y="2646343"/>
                  <a:pt x="5112043" y="2647908"/>
                </a:cubicBezTo>
                <a:cubicBezTo>
                  <a:pt x="5114391" y="2653172"/>
                  <a:pt x="5116739" y="2644067"/>
                  <a:pt x="5119086" y="2649331"/>
                </a:cubicBezTo>
                <a:cubicBezTo>
                  <a:pt x="5115884" y="2655306"/>
                  <a:pt x="5108842" y="2662704"/>
                  <a:pt x="5101799" y="2670244"/>
                </a:cubicBezTo>
                <a:cubicBezTo>
                  <a:pt x="5094756" y="2677642"/>
                  <a:pt x="5087714" y="2685040"/>
                  <a:pt x="5083658" y="2691869"/>
                </a:cubicBezTo>
                <a:cubicBezTo>
                  <a:pt x="5081311" y="2689593"/>
                  <a:pt x="5086006" y="2686605"/>
                  <a:pt x="5082805" y="2685040"/>
                </a:cubicBezTo>
                <a:cubicBezTo>
                  <a:pt x="5076615" y="2690304"/>
                  <a:pt x="5086859" y="2696280"/>
                  <a:pt x="5077469" y="2698413"/>
                </a:cubicBezTo>
                <a:cubicBezTo>
                  <a:pt x="5075762" y="2696280"/>
                  <a:pt x="5076615" y="2694003"/>
                  <a:pt x="5079817" y="2691016"/>
                </a:cubicBezTo>
                <a:cubicBezTo>
                  <a:pt x="5071067" y="2692438"/>
                  <a:pt x="5071280" y="2707377"/>
                  <a:pt x="5066372" y="2708230"/>
                </a:cubicBezTo>
                <a:cubicBezTo>
                  <a:pt x="5068079" y="2708941"/>
                  <a:pt x="5068719" y="2708941"/>
                  <a:pt x="5070426" y="2708230"/>
                </a:cubicBezTo>
                <a:cubicBezTo>
                  <a:pt x="5068079" y="2710364"/>
                  <a:pt x="5065517" y="2712641"/>
                  <a:pt x="5062530" y="2716339"/>
                </a:cubicBezTo>
                <a:cubicBezTo>
                  <a:pt x="5060182" y="2719327"/>
                  <a:pt x="5056127" y="2722315"/>
                  <a:pt x="5053780" y="2726014"/>
                </a:cubicBezTo>
                <a:cubicBezTo>
                  <a:pt x="5048231" y="2733411"/>
                  <a:pt x="5044389" y="2740952"/>
                  <a:pt x="5047590" y="2744651"/>
                </a:cubicBezTo>
                <a:cubicBezTo>
                  <a:pt x="5045243" y="2747639"/>
                  <a:pt x="5042895" y="2743939"/>
                  <a:pt x="5040547" y="2748350"/>
                </a:cubicBezTo>
                <a:cubicBezTo>
                  <a:pt x="5038840" y="2751338"/>
                  <a:pt x="5041188" y="2752760"/>
                  <a:pt x="5043535" y="2754325"/>
                </a:cubicBezTo>
                <a:cubicBezTo>
                  <a:pt x="5036492" y="2755037"/>
                  <a:pt x="5024754" y="2779649"/>
                  <a:pt x="5020913" y="2785624"/>
                </a:cubicBezTo>
                <a:cubicBezTo>
                  <a:pt x="5015364" y="2780361"/>
                  <a:pt x="5029450" y="2767699"/>
                  <a:pt x="5024754" y="2761723"/>
                </a:cubicBezTo>
                <a:cubicBezTo>
                  <a:pt x="5023261" y="2765422"/>
                  <a:pt x="5020913" y="2769263"/>
                  <a:pt x="5018352" y="2772963"/>
                </a:cubicBezTo>
                <a:lnTo>
                  <a:pt x="5014297" y="2781356"/>
                </a:lnTo>
                <a:lnTo>
                  <a:pt x="5015150" y="2783064"/>
                </a:lnTo>
                <a:lnTo>
                  <a:pt x="5016272" y="2785712"/>
                </a:lnTo>
                <a:lnTo>
                  <a:pt x="5052497" y="2785712"/>
                </a:lnTo>
                <a:lnTo>
                  <a:pt x="5051432" y="2784629"/>
                </a:lnTo>
                <a:cubicBezTo>
                  <a:pt x="5039907" y="2754183"/>
                  <a:pt x="5074695" y="2715913"/>
                  <a:pt x="5106921" y="2725017"/>
                </a:cubicBezTo>
                <a:lnTo>
                  <a:pt x="5109696" y="2737395"/>
                </a:lnTo>
                <a:lnTo>
                  <a:pt x="5111616" y="2736684"/>
                </a:lnTo>
                <a:cubicBezTo>
                  <a:pt x="5113964" y="2736115"/>
                  <a:pt x="5115458" y="2735403"/>
                  <a:pt x="5113537" y="2731989"/>
                </a:cubicBezTo>
                <a:cubicBezTo>
                  <a:pt x="5115884" y="2732701"/>
                  <a:pt x="5119086" y="2731278"/>
                  <a:pt x="5121434" y="2729713"/>
                </a:cubicBezTo>
                <a:cubicBezTo>
                  <a:pt x="5124635" y="2727579"/>
                  <a:pt x="5126983" y="2724591"/>
                  <a:pt x="5130184" y="2721603"/>
                </a:cubicBezTo>
                <a:cubicBezTo>
                  <a:pt x="5128477" y="2720038"/>
                  <a:pt x="5126983" y="2720750"/>
                  <a:pt x="5125489" y="2722315"/>
                </a:cubicBezTo>
                <a:cubicBezTo>
                  <a:pt x="5123781" y="2719327"/>
                  <a:pt x="5129330" y="2717904"/>
                  <a:pt x="5134026" y="2715628"/>
                </a:cubicBezTo>
                <a:cubicBezTo>
                  <a:pt x="5138721" y="2713352"/>
                  <a:pt x="5142776" y="2710506"/>
                  <a:pt x="5140428" y="2705242"/>
                </a:cubicBezTo>
                <a:cubicBezTo>
                  <a:pt x="5141922" y="2705954"/>
                  <a:pt x="5142776" y="2706665"/>
                  <a:pt x="5144269" y="2705954"/>
                </a:cubicBezTo>
                <a:cubicBezTo>
                  <a:pt x="5144269" y="2702966"/>
                  <a:pt x="5141069" y="2704389"/>
                  <a:pt x="5142562" y="2699978"/>
                </a:cubicBezTo>
                <a:cubicBezTo>
                  <a:pt x="5146617" y="2697702"/>
                  <a:pt x="5145764" y="2699978"/>
                  <a:pt x="5148111" y="2702966"/>
                </a:cubicBezTo>
                <a:cubicBezTo>
                  <a:pt x="5147471" y="2696991"/>
                  <a:pt x="5148965" y="2691016"/>
                  <a:pt x="5150459" y="2685040"/>
                </a:cubicBezTo>
                <a:cubicBezTo>
                  <a:pt x="5151953" y="2686605"/>
                  <a:pt x="5156008" y="2688028"/>
                  <a:pt x="5160703" y="2682764"/>
                </a:cubicBezTo>
                <a:cubicBezTo>
                  <a:pt x="5149605" y="2685040"/>
                  <a:pt x="5159849" y="2670956"/>
                  <a:pt x="5165398" y="2676219"/>
                </a:cubicBezTo>
                <a:cubicBezTo>
                  <a:pt x="5166252" y="2673943"/>
                  <a:pt x="5167106" y="2667257"/>
                  <a:pt x="5163051" y="2669533"/>
                </a:cubicBezTo>
                <a:cubicBezTo>
                  <a:pt x="5164331" y="2668395"/>
                  <a:pt x="5172014" y="2667683"/>
                  <a:pt x="5174575" y="2663273"/>
                </a:cubicBezTo>
                <a:lnTo>
                  <a:pt x="5174789" y="2657867"/>
                </a:lnTo>
                <a:lnTo>
                  <a:pt x="5173935" y="2658152"/>
                </a:lnTo>
                <a:cubicBezTo>
                  <a:pt x="5172014" y="2657725"/>
                  <a:pt x="5170307" y="2656587"/>
                  <a:pt x="5169453" y="2654879"/>
                </a:cubicBezTo>
                <a:lnTo>
                  <a:pt x="5173295" y="2648335"/>
                </a:lnTo>
                <a:lnTo>
                  <a:pt x="5170520" y="2648904"/>
                </a:lnTo>
                <a:cubicBezTo>
                  <a:pt x="5165398" y="2650611"/>
                  <a:pt x="5160276" y="2653883"/>
                  <a:pt x="5155368" y="2657582"/>
                </a:cubicBezTo>
                <a:cubicBezTo>
                  <a:pt x="5156861" y="2649331"/>
                  <a:pt x="5168599" y="2644921"/>
                  <a:pt x="5173295" y="2644209"/>
                </a:cubicBezTo>
                <a:cubicBezTo>
                  <a:pt x="5173508" y="2641506"/>
                  <a:pt x="5175002" y="2638945"/>
                  <a:pt x="5177136" y="2636385"/>
                </a:cubicBezTo>
                <a:lnTo>
                  <a:pt x="5182258" y="2630409"/>
                </a:lnTo>
                <a:lnTo>
                  <a:pt x="5178203" y="2632827"/>
                </a:lnTo>
                <a:cubicBezTo>
                  <a:pt x="5169239" y="2624861"/>
                  <a:pt x="5160276" y="2617036"/>
                  <a:pt x="5160276" y="2609069"/>
                </a:cubicBezTo>
                <a:cubicBezTo>
                  <a:pt x="5166252" y="2603805"/>
                  <a:pt x="5173081" y="2600390"/>
                  <a:pt x="5180124" y="2599679"/>
                </a:cubicBezTo>
                <a:cubicBezTo>
                  <a:pt x="5183752" y="2599394"/>
                  <a:pt x="5187380" y="2599679"/>
                  <a:pt x="5191008" y="2600817"/>
                </a:cubicBezTo>
                <a:lnTo>
                  <a:pt x="5195277" y="2602951"/>
                </a:lnTo>
                <a:lnTo>
                  <a:pt x="5198478" y="2591997"/>
                </a:lnTo>
                <a:cubicBezTo>
                  <a:pt x="5206802" y="2592565"/>
                  <a:pt x="5200826" y="2597687"/>
                  <a:pt x="5198051" y="2601813"/>
                </a:cubicBezTo>
                <a:lnTo>
                  <a:pt x="5197411" y="2603947"/>
                </a:lnTo>
                <a:lnTo>
                  <a:pt x="5200399" y="2605370"/>
                </a:lnTo>
                <a:lnTo>
                  <a:pt x="5202107" y="2601955"/>
                </a:lnTo>
                <a:cubicBezTo>
                  <a:pt x="5203387" y="2598968"/>
                  <a:pt x="5204667" y="2595411"/>
                  <a:pt x="5208722" y="2595838"/>
                </a:cubicBezTo>
                <a:cubicBezTo>
                  <a:pt x="5211923" y="2590574"/>
                  <a:pt x="5201679" y="2595838"/>
                  <a:pt x="5204027" y="2589862"/>
                </a:cubicBezTo>
                <a:cubicBezTo>
                  <a:pt x="5210216" y="2585310"/>
                  <a:pt x="5218966" y="2580899"/>
                  <a:pt x="5227503" y="2576347"/>
                </a:cubicBezTo>
                <a:lnTo>
                  <a:pt x="5232625" y="2573217"/>
                </a:lnTo>
                <a:lnTo>
                  <a:pt x="5234120" y="2569091"/>
                </a:lnTo>
                <a:cubicBezTo>
                  <a:pt x="5235400" y="2566246"/>
                  <a:pt x="5236894" y="2563827"/>
                  <a:pt x="5238815" y="2562120"/>
                </a:cubicBezTo>
                <a:lnTo>
                  <a:pt x="5241162" y="2567242"/>
                </a:lnTo>
                <a:lnTo>
                  <a:pt x="5247991" y="2560128"/>
                </a:lnTo>
                <a:cubicBezTo>
                  <a:pt x="5246498" y="2558563"/>
                  <a:pt x="5243296" y="2561551"/>
                  <a:pt x="5240948" y="2562262"/>
                </a:cubicBezTo>
                <a:cubicBezTo>
                  <a:pt x="5243936" y="2557852"/>
                  <a:pt x="5243296" y="2558563"/>
                  <a:pt x="5241589" y="2554864"/>
                </a:cubicBezTo>
                <a:lnTo>
                  <a:pt x="5244150" y="2553868"/>
                </a:lnTo>
                <a:lnTo>
                  <a:pt x="5243083" y="2553442"/>
                </a:lnTo>
                <a:cubicBezTo>
                  <a:pt x="5242443" y="2553157"/>
                  <a:pt x="5242016" y="2552872"/>
                  <a:pt x="5242016" y="2553157"/>
                </a:cubicBezTo>
                <a:cubicBezTo>
                  <a:pt x="5240735" y="2554295"/>
                  <a:pt x="5240735" y="2554295"/>
                  <a:pt x="5240735" y="2555434"/>
                </a:cubicBezTo>
                <a:cubicBezTo>
                  <a:pt x="5239455" y="2555291"/>
                  <a:pt x="5237107" y="2556144"/>
                  <a:pt x="5236040" y="2557283"/>
                </a:cubicBezTo>
                <a:cubicBezTo>
                  <a:pt x="5236040" y="2556002"/>
                  <a:pt x="5236040" y="2554864"/>
                  <a:pt x="5234760" y="2554722"/>
                </a:cubicBezTo>
                <a:cubicBezTo>
                  <a:pt x="5237320" y="2552588"/>
                  <a:pt x="5238388" y="2552872"/>
                  <a:pt x="5239668" y="2551734"/>
                </a:cubicBezTo>
                <a:cubicBezTo>
                  <a:pt x="5238388" y="2551592"/>
                  <a:pt x="5239668" y="2550596"/>
                  <a:pt x="5239668" y="2550596"/>
                </a:cubicBezTo>
                <a:cubicBezTo>
                  <a:pt x="5239668" y="2550596"/>
                  <a:pt x="5239668" y="2550596"/>
                  <a:pt x="5239455" y="2550312"/>
                </a:cubicBezTo>
                <a:close/>
                <a:moveTo>
                  <a:pt x="6470247" y="2547751"/>
                </a:moveTo>
                <a:cubicBezTo>
                  <a:pt x="6481345" y="2554864"/>
                  <a:pt x="6464698" y="2572648"/>
                  <a:pt x="6457228" y="2558421"/>
                </a:cubicBezTo>
                <a:cubicBezTo>
                  <a:pt x="6462777" y="2553157"/>
                  <a:pt x="6466619" y="2549600"/>
                  <a:pt x="6470247" y="2547751"/>
                </a:cubicBezTo>
                <a:close/>
                <a:moveTo>
                  <a:pt x="1366183" y="2546363"/>
                </a:moveTo>
                <a:cubicBezTo>
                  <a:pt x="1365254" y="2548066"/>
                  <a:pt x="1361537" y="2550699"/>
                  <a:pt x="1359781" y="2549925"/>
                </a:cubicBezTo>
                <a:cubicBezTo>
                  <a:pt x="1360711" y="2548221"/>
                  <a:pt x="1361640" y="2547292"/>
                  <a:pt x="1362569" y="2546517"/>
                </a:cubicBezTo>
                <a:cubicBezTo>
                  <a:pt x="1363602" y="2544814"/>
                  <a:pt x="1364531" y="2544814"/>
                  <a:pt x="1366183" y="2546363"/>
                </a:cubicBezTo>
                <a:close/>
                <a:moveTo>
                  <a:pt x="1150171" y="2546207"/>
                </a:moveTo>
                <a:cubicBezTo>
                  <a:pt x="1153682" y="2545433"/>
                  <a:pt x="1157503" y="2545588"/>
                  <a:pt x="1159877" y="2546827"/>
                </a:cubicBezTo>
                <a:cubicBezTo>
                  <a:pt x="1161736" y="2550390"/>
                  <a:pt x="1161942" y="2553178"/>
                  <a:pt x="1161013" y="2555192"/>
                </a:cubicBezTo>
                <a:cubicBezTo>
                  <a:pt x="1158845" y="2559684"/>
                  <a:pt x="1151410" y="2560148"/>
                  <a:pt x="1146454" y="2556585"/>
                </a:cubicBezTo>
                <a:lnTo>
                  <a:pt x="1145422" y="2555192"/>
                </a:lnTo>
                <a:lnTo>
                  <a:pt x="1144182" y="2561852"/>
                </a:lnTo>
                <a:cubicBezTo>
                  <a:pt x="1143976" y="2568977"/>
                  <a:pt x="1146351" y="2575948"/>
                  <a:pt x="1141498" y="2580594"/>
                </a:cubicBezTo>
                <a:cubicBezTo>
                  <a:pt x="1140156" y="2574554"/>
                  <a:pt x="1134580" y="2566654"/>
                  <a:pt x="1135199" y="2561232"/>
                </a:cubicBezTo>
                <a:cubicBezTo>
                  <a:pt x="1135405" y="2559528"/>
                  <a:pt x="1136232" y="2558135"/>
                  <a:pt x="1137781" y="2557050"/>
                </a:cubicBezTo>
                <a:lnTo>
                  <a:pt x="1145215" y="2554882"/>
                </a:lnTo>
                <a:lnTo>
                  <a:pt x="1142633" y="2551629"/>
                </a:lnTo>
                <a:cubicBezTo>
                  <a:pt x="1143563" y="2548841"/>
                  <a:pt x="1146661" y="2546982"/>
                  <a:pt x="1150171" y="2546207"/>
                </a:cubicBezTo>
                <a:close/>
                <a:moveTo>
                  <a:pt x="1079544" y="2545898"/>
                </a:moveTo>
                <a:cubicBezTo>
                  <a:pt x="1079957" y="2545743"/>
                  <a:pt x="1080576" y="2545898"/>
                  <a:pt x="1081506" y="2546363"/>
                </a:cubicBezTo>
                <a:cubicBezTo>
                  <a:pt x="1084087" y="2547756"/>
                  <a:pt x="1087908" y="2551319"/>
                  <a:pt x="1088527" y="2551629"/>
                </a:cubicBezTo>
                <a:cubicBezTo>
                  <a:pt x="1088527" y="2551629"/>
                  <a:pt x="1089354" y="2552249"/>
                  <a:pt x="1090076" y="2552713"/>
                </a:cubicBezTo>
                <a:cubicBezTo>
                  <a:pt x="1090386" y="2553798"/>
                  <a:pt x="1089973" y="2554572"/>
                  <a:pt x="1090696" y="2555037"/>
                </a:cubicBezTo>
                <a:cubicBezTo>
                  <a:pt x="1088940" y="2555346"/>
                  <a:pt x="1087598" y="2554882"/>
                  <a:pt x="1086462" y="2554107"/>
                </a:cubicBezTo>
                <a:lnTo>
                  <a:pt x="1083571" y="2551319"/>
                </a:lnTo>
                <a:lnTo>
                  <a:pt x="1082022" y="2552249"/>
                </a:lnTo>
                <a:cubicBezTo>
                  <a:pt x="1081196" y="2552558"/>
                  <a:pt x="1080267" y="2552558"/>
                  <a:pt x="1078925" y="2552249"/>
                </a:cubicBezTo>
                <a:cubicBezTo>
                  <a:pt x="1079854" y="2551474"/>
                  <a:pt x="1080783" y="2550699"/>
                  <a:pt x="1081816" y="2550390"/>
                </a:cubicBezTo>
                <a:lnTo>
                  <a:pt x="1082642" y="2550390"/>
                </a:lnTo>
                <a:lnTo>
                  <a:pt x="1081919" y="2549615"/>
                </a:lnTo>
                <a:cubicBezTo>
                  <a:pt x="1081402" y="2549151"/>
                  <a:pt x="1080680" y="2548995"/>
                  <a:pt x="1079751" y="2548841"/>
                </a:cubicBezTo>
                <a:cubicBezTo>
                  <a:pt x="1079751" y="2548841"/>
                  <a:pt x="1079751" y="2548841"/>
                  <a:pt x="1079131" y="2546673"/>
                </a:cubicBezTo>
                <a:close/>
                <a:moveTo>
                  <a:pt x="1110831" y="2543110"/>
                </a:moveTo>
                <a:cubicBezTo>
                  <a:pt x="1117129" y="2541096"/>
                  <a:pt x="1124977" y="2542490"/>
                  <a:pt x="1128591" y="2545898"/>
                </a:cubicBezTo>
                <a:cubicBezTo>
                  <a:pt x="1122602" y="2551784"/>
                  <a:pt x="1110831" y="2549305"/>
                  <a:pt x="1105358" y="2546363"/>
                </a:cubicBezTo>
                <a:cubicBezTo>
                  <a:pt x="1106907" y="2544969"/>
                  <a:pt x="1108766" y="2543884"/>
                  <a:pt x="1110831" y="2543110"/>
                </a:cubicBezTo>
                <a:close/>
                <a:moveTo>
                  <a:pt x="1089457" y="2541560"/>
                </a:moveTo>
                <a:cubicBezTo>
                  <a:pt x="1090592" y="2542800"/>
                  <a:pt x="1091728" y="2544039"/>
                  <a:pt x="1091005" y="2545743"/>
                </a:cubicBezTo>
                <a:cubicBezTo>
                  <a:pt x="1090696" y="2546207"/>
                  <a:pt x="1090283" y="2546827"/>
                  <a:pt x="1089560" y="2547447"/>
                </a:cubicBezTo>
                <a:cubicBezTo>
                  <a:pt x="1089560" y="2547447"/>
                  <a:pt x="1089560" y="2547447"/>
                  <a:pt x="1088734" y="2547447"/>
                </a:cubicBezTo>
                <a:cubicBezTo>
                  <a:pt x="1086978" y="2547292"/>
                  <a:pt x="1086153" y="2547292"/>
                  <a:pt x="1085326" y="2547292"/>
                </a:cubicBezTo>
                <a:cubicBezTo>
                  <a:pt x="1084914" y="2546827"/>
                  <a:pt x="1084397" y="2546052"/>
                  <a:pt x="1084087" y="2545123"/>
                </a:cubicBezTo>
                <a:cubicBezTo>
                  <a:pt x="1083777" y="2544349"/>
                  <a:pt x="1083571" y="2543419"/>
                  <a:pt x="1084087" y="2543110"/>
                </a:cubicBezTo>
                <a:cubicBezTo>
                  <a:pt x="1085946" y="2541406"/>
                  <a:pt x="1088631" y="2540631"/>
                  <a:pt x="1089457" y="2541560"/>
                </a:cubicBezTo>
                <a:close/>
                <a:moveTo>
                  <a:pt x="1018313" y="2541251"/>
                </a:moveTo>
                <a:cubicBezTo>
                  <a:pt x="1019346" y="2542645"/>
                  <a:pt x="1022030" y="2542955"/>
                  <a:pt x="1022753" y="2545123"/>
                </a:cubicBezTo>
                <a:cubicBezTo>
                  <a:pt x="1022753" y="2545123"/>
                  <a:pt x="1023063" y="2546207"/>
                  <a:pt x="1022237" y="2547756"/>
                </a:cubicBezTo>
                <a:cubicBezTo>
                  <a:pt x="1022443" y="2550699"/>
                  <a:pt x="1018830" y="2551939"/>
                  <a:pt x="1018830" y="2551939"/>
                </a:cubicBezTo>
                <a:cubicBezTo>
                  <a:pt x="1018830" y="2551939"/>
                  <a:pt x="1018830" y="2551939"/>
                  <a:pt x="1019655" y="2552403"/>
                </a:cubicBezTo>
                <a:cubicBezTo>
                  <a:pt x="1018106" y="2551629"/>
                  <a:pt x="1016145" y="2551629"/>
                  <a:pt x="1014596" y="2551009"/>
                </a:cubicBezTo>
                <a:cubicBezTo>
                  <a:pt x="1013770" y="2549151"/>
                  <a:pt x="1013357" y="2547756"/>
                  <a:pt x="1013254" y="2546673"/>
                </a:cubicBezTo>
                <a:cubicBezTo>
                  <a:pt x="1012840" y="2543264"/>
                  <a:pt x="1015319" y="2542645"/>
                  <a:pt x="1018313" y="2541251"/>
                </a:cubicBezTo>
                <a:close/>
                <a:moveTo>
                  <a:pt x="1133031" y="2540321"/>
                </a:moveTo>
                <a:cubicBezTo>
                  <a:pt x="1134166" y="2538927"/>
                  <a:pt x="1143563" y="2540786"/>
                  <a:pt x="1141601" y="2544349"/>
                </a:cubicBezTo>
                <a:cubicBezTo>
                  <a:pt x="1139226" y="2546982"/>
                  <a:pt x="1133031" y="2542180"/>
                  <a:pt x="1133031" y="2540321"/>
                </a:cubicBezTo>
                <a:close/>
                <a:moveTo>
                  <a:pt x="1009330" y="2540167"/>
                </a:moveTo>
                <a:cubicBezTo>
                  <a:pt x="1010569" y="2540012"/>
                  <a:pt x="1012221" y="2540941"/>
                  <a:pt x="1012944" y="2541560"/>
                </a:cubicBezTo>
                <a:cubicBezTo>
                  <a:pt x="1012531" y="2542180"/>
                  <a:pt x="1013254" y="2542800"/>
                  <a:pt x="1012840" y="2543419"/>
                </a:cubicBezTo>
                <a:cubicBezTo>
                  <a:pt x="1012737" y="2545278"/>
                  <a:pt x="1012737" y="2545433"/>
                  <a:pt x="1011498" y="2545588"/>
                </a:cubicBezTo>
                <a:cubicBezTo>
                  <a:pt x="1010259" y="2545743"/>
                  <a:pt x="1008297" y="2543574"/>
                  <a:pt x="1007058" y="2543729"/>
                </a:cubicBezTo>
                <a:cubicBezTo>
                  <a:pt x="1007058" y="2543729"/>
                  <a:pt x="1007058" y="2543729"/>
                  <a:pt x="1007265" y="2541871"/>
                </a:cubicBezTo>
                <a:cubicBezTo>
                  <a:pt x="1007678" y="2541096"/>
                  <a:pt x="1008091" y="2540476"/>
                  <a:pt x="1009330" y="2540167"/>
                </a:cubicBezTo>
                <a:close/>
                <a:moveTo>
                  <a:pt x="5038627" y="2539926"/>
                </a:moveTo>
                <a:cubicBezTo>
                  <a:pt x="5043962" y="2545048"/>
                  <a:pt x="5040975" y="2553726"/>
                  <a:pt x="5035852" y="2556571"/>
                </a:cubicBezTo>
                <a:cubicBezTo>
                  <a:pt x="5034145" y="2557567"/>
                  <a:pt x="5032011" y="2557852"/>
                  <a:pt x="5030090" y="2557283"/>
                </a:cubicBezTo>
                <a:cubicBezTo>
                  <a:pt x="5023047" y="2550312"/>
                  <a:pt x="5031371" y="2539357"/>
                  <a:pt x="5038627" y="2539926"/>
                </a:cubicBezTo>
                <a:close/>
                <a:moveTo>
                  <a:pt x="775661" y="2539857"/>
                </a:moveTo>
                <a:cubicBezTo>
                  <a:pt x="776797" y="2539702"/>
                  <a:pt x="776797" y="2539702"/>
                  <a:pt x="777623" y="2540167"/>
                </a:cubicBezTo>
                <a:cubicBezTo>
                  <a:pt x="777932" y="2541406"/>
                  <a:pt x="777520" y="2542025"/>
                  <a:pt x="777829" y="2543110"/>
                </a:cubicBezTo>
                <a:cubicBezTo>
                  <a:pt x="780204" y="2542800"/>
                  <a:pt x="779378" y="2542335"/>
                  <a:pt x="779688" y="2543574"/>
                </a:cubicBezTo>
                <a:cubicBezTo>
                  <a:pt x="779688" y="2543574"/>
                  <a:pt x="779688" y="2543574"/>
                  <a:pt x="779998" y="2544659"/>
                </a:cubicBezTo>
                <a:cubicBezTo>
                  <a:pt x="779998" y="2544659"/>
                  <a:pt x="780824" y="2545123"/>
                  <a:pt x="777932" y="2546207"/>
                </a:cubicBezTo>
                <a:cubicBezTo>
                  <a:pt x="777623" y="2544969"/>
                  <a:pt x="776797" y="2541560"/>
                  <a:pt x="776797" y="2541560"/>
                </a:cubicBezTo>
                <a:cubicBezTo>
                  <a:pt x="775971" y="2541096"/>
                  <a:pt x="775971" y="2541096"/>
                  <a:pt x="775661" y="2539857"/>
                </a:cubicBezTo>
                <a:close/>
                <a:moveTo>
                  <a:pt x="773183" y="2538463"/>
                </a:moveTo>
                <a:cubicBezTo>
                  <a:pt x="773596" y="2539702"/>
                  <a:pt x="773802" y="2542645"/>
                  <a:pt x="771015" y="2543729"/>
                </a:cubicBezTo>
                <a:cubicBezTo>
                  <a:pt x="768226" y="2544659"/>
                  <a:pt x="767607" y="2547137"/>
                  <a:pt x="764819" y="2548221"/>
                </a:cubicBezTo>
                <a:cubicBezTo>
                  <a:pt x="764819" y="2548221"/>
                  <a:pt x="764819" y="2548221"/>
                  <a:pt x="764509" y="2546982"/>
                </a:cubicBezTo>
                <a:cubicBezTo>
                  <a:pt x="768226" y="2544659"/>
                  <a:pt x="768743" y="2540321"/>
                  <a:pt x="773183" y="2538463"/>
                </a:cubicBezTo>
                <a:close/>
                <a:moveTo>
                  <a:pt x="670339" y="2538153"/>
                </a:moveTo>
                <a:cubicBezTo>
                  <a:pt x="673024" y="2539392"/>
                  <a:pt x="673954" y="2541871"/>
                  <a:pt x="672405" y="2544659"/>
                </a:cubicBezTo>
                <a:cubicBezTo>
                  <a:pt x="670753" y="2545743"/>
                  <a:pt x="668997" y="2545123"/>
                  <a:pt x="667242" y="2544504"/>
                </a:cubicBezTo>
                <a:cubicBezTo>
                  <a:pt x="665900" y="2543884"/>
                  <a:pt x="665383" y="2543110"/>
                  <a:pt x="665487" y="2542180"/>
                </a:cubicBezTo>
                <a:cubicBezTo>
                  <a:pt x="665487" y="2541406"/>
                  <a:pt x="666106" y="2540476"/>
                  <a:pt x="666932" y="2539392"/>
                </a:cubicBezTo>
                <a:cubicBezTo>
                  <a:pt x="668584" y="2537533"/>
                  <a:pt x="670339" y="2538153"/>
                  <a:pt x="670339" y="2538153"/>
                </a:cubicBezTo>
                <a:close/>
                <a:moveTo>
                  <a:pt x="1068496" y="2537843"/>
                </a:moveTo>
                <a:cubicBezTo>
                  <a:pt x="1068599" y="2539702"/>
                  <a:pt x="1068702" y="2541560"/>
                  <a:pt x="1068909" y="2543419"/>
                </a:cubicBezTo>
                <a:cubicBezTo>
                  <a:pt x="1068496" y="2542645"/>
                  <a:pt x="1062610" y="2547602"/>
                  <a:pt x="1062610" y="2547602"/>
                </a:cubicBezTo>
                <a:cubicBezTo>
                  <a:pt x="1060235" y="2546827"/>
                  <a:pt x="1060235" y="2546827"/>
                  <a:pt x="1060338" y="2543884"/>
                </a:cubicBezTo>
                <a:cubicBezTo>
                  <a:pt x="1060648" y="2542800"/>
                  <a:pt x="1061887" y="2541251"/>
                  <a:pt x="1063436" y="2540012"/>
                </a:cubicBezTo>
                <a:cubicBezTo>
                  <a:pt x="1064985" y="2538772"/>
                  <a:pt x="1066844" y="2537688"/>
                  <a:pt x="1068496" y="2537843"/>
                </a:cubicBezTo>
                <a:close/>
                <a:moveTo>
                  <a:pt x="530531" y="2535984"/>
                </a:moveTo>
                <a:cubicBezTo>
                  <a:pt x="531770" y="2535674"/>
                  <a:pt x="533009" y="2535984"/>
                  <a:pt x="534248" y="2537378"/>
                </a:cubicBezTo>
                <a:cubicBezTo>
                  <a:pt x="535074" y="2538308"/>
                  <a:pt x="535900" y="2539237"/>
                  <a:pt x="535074" y="2539082"/>
                </a:cubicBezTo>
                <a:cubicBezTo>
                  <a:pt x="535074" y="2540012"/>
                  <a:pt x="534145" y="2539857"/>
                  <a:pt x="533319" y="2540631"/>
                </a:cubicBezTo>
                <a:cubicBezTo>
                  <a:pt x="531563" y="2541251"/>
                  <a:pt x="529085" y="2540941"/>
                  <a:pt x="528259" y="2540012"/>
                </a:cubicBezTo>
                <a:cubicBezTo>
                  <a:pt x="527433" y="2539237"/>
                  <a:pt x="527433" y="2538308"/>
                  <a:pt x="527433" y="2538308"/>
                </a:cubicBezTo>
                <a:cubicBezTo>
                  <a:pt x="528259" y="2537224"/>
                  <a:pt x="529395" y="2536294"/>
                  <a:pt x="530531" y="2535984"/>
                </a:cubicBezTo>
                <a:close/>
                <a:moveTo>
                  <a:pt x="1362982" y="2535829"/>
                </a:moveTo>
                <a:cubicBezTo>
                  <a:pt x="1363705" y="2535674"/>
                  <a:pt x="1364531" y="2535984"/>
                  <a:pt x="1365151" y="2536140"/>
                </a:cubicBezTo>
                <a:cubicBezTo>
                  <a:pt x="1366493" y="2536294"/>
                  <a:pt x="1367526" y="2537224"/>
                  <a:pt x="1368145" y="2538308"/>
                </a:cubicBezTo>
                <a:cubicBezTo>
                  <a:pt x="1368765" y="2539547"/>
                  <a:pt x="1369074" y="2541096"/>
                  <a:pt x="1369074" y="2542335"/>
                </a:cubicBezTo>
                <a:cubicBezTo>
                  <a:pt x="1368765" y="2541560"/>
                  <a:pt x="1368868" y="2541560"/>
                  <a:pt x="1368868" y="2541560"/>
                </a:cubicBezTo>
                <a:cubicBezTo>
                  <a:pt x="1367732" y="2540941"/>
                  <a:pt x="1368042" y="2541871"/>
                  <a:pt x="1367216" y="2542025"/>
                </a:cubicBezTo>
                <a:cubicBezTo>
                  <a:pt x="1367216" y="2542025"/>
                  <a:pt x="1368042" y="2541715"/>
                  <a:pt x="1367526" y="2542800"/>
                </a:cubicBezTo>
                <a:cubicBezTo>
                  <a:pt x="1367216" y="2542025"/>
                  <a:pt x="1366390" y="2542180"/>
                  <a:pt x="1365564" y="2542335"/>
                </a:cubicBezTo>
                <a:cubicBezTo>
                  <a:pt x="1363292" y="2541251"/>
                  <a:pt x="1360711" y="2539237"/>
                  <a:pt x="1360917" y="2537378"/>
                </a:cubicBezTo>
                <a:cubicBezTo>
                  <a:pt x="1361433" y="2536294"/>
                  <a:pt x="1362260" y="2535829"/>
                  <a:pt x="1362982" y="2535829"/>
                </a:cubicBezTo>
                <a:close/>
                <a:moveTo>
                  <a:pt x="6271339" y="2535231"/>
                </a:moveTo>
                <a:cubicBezTo>
                  <a:pt x="6280090" y="2547751"/>
                  <a:pt x="6263656" y="2547466"/>
                  <a:pt x="6255760" y="2550312"/>
                </a:cubicBezTo>
                <a:cubicBezTo>
                  <a:pt x="6252772" y="2546044"/>
                  <a:pt x="6252345" y="2544621"/>
                  <a:pt x="6252559" y="2539214"/>
                </a:cubicBezTo>
                <a:cubicBezTo>
                  <a:pt x="6258961" y="2534377"/>
                  <a:pt x="6265151" y="2534804"/>
                  <a:pt x="6271339" y="2535231"/>
                </a:cubicBezTo>
                <a:close/>
                <a:moveTo>
                  <a:pt x="858266" y="2534281"/>
                </a:moveTo>
                <a:cubicBezTo>
                  <a:pt x="858886" y="2536759"/>
                  <a:pt x="858782" y="2538618"/>
                  <a:pt x="856614" y="2540321"/>
                </a:cubicBezTo>
                <a:cubicBezTo>
                  <a:pt x="856511" y="2538772"/>
                  <a:pt x="856407" y="2537688"/>
                  <a:pt x="856614" y="2536759"/>
                </a:cubicBezTo>
                <a:cubicBezTo>
                  <a:pt x="856717" y="2535829"/>
                  <a:pt x="857233" y="2535210"/>
                  <a:pt x="858266" y="2534281"/>
                </a:cubicBezTo>
                <a:close/>
                <a:moveTo>
                  <a:pt x="1148106" y="2534126"/>
                </a:moveTo>
                <a:cubicBezTo>
                  <a:pt x="1148106" y="2534126"/>
                  <a:pt x="1148209" y="2534126"/>
                  <a:pt x="1148623" y="2534745"/>
                </a:cubicBezTo>
                <a:cubicBezTo>
                  <a:pt x="1148623" y="2534745"/>
                  <a:pt x="1147900" y="2535055"/>
                  <a:pt x="1146867" y="2534745"/>
                </a:cubicBezTo>
                <a:cubicBezTo>
                  <a:pt x="1146867" y="2534745"/>
                  <a:pt x="1146867" y="2534436"/>
                  <a:pt x="1147073" y="2534281"/>
                </a:cubicBezTo>
                <a:cubicBezTo>
                  <a:pt x="1147280" y="2534126"/>
                  <a:pt x="1147590" y="2533971"/>
                  <a:pt x="1148106" y="2534126"/>
                </a:cubicBezTo>
                <a:close/>
                <a:moveTo>
                  <a:pt x="788155" y="2533661"/>
                </a:moveTo>
                <a:cubicBezTo>
                  <a:pt x="790530" y="2533196"/>
                  <a:pt x="793318" y="2532112"/>
                  <a:pt x="794454" y="2533816"/>
                </a:cubicBezTo>
                <a:cubicBezTo>
                  <a:pt x="796829" y="2540167"/>
                  <a:pt x="785987" y="2543729"/>
                  <a:pt x="783922" y="2545278"/>
                </a:cubicBezTo>
                <a:cubicBezTo>
                  <a:pt x="783922" y="2545278"/>
                  <a:pt x="783508" y="2545898"/>
                  <a:pt x="782269" y="2546052"/>
                </a:cubicBezTo>
                <a:cubicBezTo>
                  <a:pt x="780721" y="2546982"/>
                  <a:pt x="781237" y="2544504"/>
                  <a:pt x="779998" y="2544659"/>
                </a:cubicBezTo>
                <a:cubicBezTo>
                  <a:pt x="785058" y="2540167"/>
                  <a:pt x="786606" y="2534590"/>
                  <a:pt x="786606" y="2534590"/>
                </a:cubicBezTo>
                <a:cubicBezTo>
                  <a:pt x="788155" y="2533661"/>
                  <a:pt x="788878" y="2534126"/>
                  <a:pt x="788155" y="2533661"/>
                </a:cubicBezTo>
                <a:close/>
                <a:moveTo>
                  <a:pt x="636988" y="2533196"/>
                </a:moveTo>
                <a:cubicBezTo>
                  <a:pt x="642564" y="2529169"/>
                  <a:pt x="645352" y="2535829"/>
                  <a:pt x="643390" y="2538772"/>
                </a:cubicBezTo>
                <a:cubicBezTo>
                  <a:pt x="640292" y="2540012"/>
                  <a:pt x="637607" y="2538153"/>
                  <a:pt x="636988" y="2535829"/>
                </a:cubicBezTo>
                <a:cubicBezTo>
                  <a:pt x="636678" y="2534900"/>
                  <a:pt x="636678" y="2533971"/>
                  <a:pt x="636988" y="2533196"/>
                </a:cubicBezTo>
                <a:close/>
                <a:moveTo>
                  <a:pt x="1374960" y="2532422"/>
                </a:moveTo>
                <a:cubicBezTo>
                  <a:pt x="1380123" y="2535674"/>
                  <a:pt x="1378471" y="2542800"/>
                  <a:pt x="1375270" y="2548686"/>
                </a:cubicBezTo>
                <a:lnTo>
                  <a:pt x="1371863" y="2553798"/>
                </a:lnTo>
                <a:lnTo>
                  <a:pt x="1374547" y="2554417"/>
                </a:lnTo>
                <a:cubicBezTo>
                  <a:pt x="1379813" y="2561232"/>
                  <a:pt x="1376612" y="2565415"/>
                  <a:pt x="1377438" y="2566344"/>
                </a:cubicBezTo>
                <a:lnTo>
                  <a:pt x="1376819" y="2566499"/>
                </a:lnTo>
                <a:lnTo>
                  <a:pt x="1375683" y="2572850"/>
                </a:lnTo>
                <a:lnTo>
                  <a:pt x="1383427" y="2573934"/>
                </a:lnTo>
                <a:cubicBezTo>
                  <a:pt x="1388693" y="2575328"/>
                  <a:pt x="1394062" y="2577497"/>
                  <a:pt x="1399638" y="2580594"/>
                </a:cubicBezTo>
                <a:cubicBezTo>
                  <a:pt x="1401394" y="2587720"/>
                  <a:pt x="1400155" y="2593141"/>
                  <a:pt x="1397160" y="2597168"/>
                </a:cubicBezTo>
                <a:lnTo>
                  <a:pt x="1394682" y="2598562"/>
                </a:lnTo>
                <a:lnTo>
                  <a:pt x="1395095" y="2600421"/>
                </a:lnTo>
                <a:lnTo>
                  <a:pt x="1388797" y="2604294"/>
                </a:lnTo>
                <a:lnTo>
                  <a:pt x="1391068" y="2607237"/>
                </a:lnTo>
                <a:cubicBezTo>
                  <a:pt x="1391584" y="2608011"/>
                  <a:pt x="1391584" y="2608631"/>
                  <a:pt x="1390655" y="2608631"/>
                </a:cubicBezTo>
                <a:cubicBezTo>
                  <a:pt x="1390655" y="2610799"/>
                  <a:pt x="1388797" y="2610799"/>
                  <a:pt x="1386834" y="2612968"/>
                </a:cubicBezTo>
                <a:lnTo>
                  <a:pt x="1383014" y="2613897"/>
                </a:lnTo>
                <a:lnTo>
                  <a:pt x="1383427" y="2615601"/>
                </a:lnTo>
                <a:cubicBezTo>
                  <a:pt x="1378677" y="2616840"/>
                  <a:pt x="1375786" y="2615136"/>
                  <a:pt x="1372998" y="2611729"/>
                </a:cubicBezTo>
                <a:lnTo>
                  <a:pt x="1374237" y="2611109"/>
                </a:lnTo>
                <a:lnTo>
                  <a:pt x="1373721" y="2610025"/>
                </a:lnTo>
                <a:cubicBezTo>
                  <a:pt x="1373411" y="2609095"/>
                  <a:pt x="1373411" y="2608631"/>
                  <a:pt x="1373411" y="2608631"/>
                </a:cubicBezTo>
                <a:lnTo>
                  <a:pt x="1374960" y="2606927"/>
                </a:lnTo>
                <a:lnTo>
                  <a:pt x="1371863" y="2606617"/>
                </a:lnTo>
                <a:lnTo>
                  <a:pt x="1369281" y="2604759"/>
                </a:lnTo>
                <a:lnTo>
                  <a:pt x="1368558" y="2604759"/>
                </a:lnTo>
                <a:lnTo>
                  <a:pt x="1364841" y="2603829"/>
                </a:lnTo>
                <a:lnTo>
                  <a:pt x="1365667" y="2604603"/>
                </a:lnTo>
                <a:cubicBezTo>
                  <a:pt x="1366080" y="2605068"/>
                  <a:pt x="1366287" y="2605688"/>
                  <a:pt x="1366183" y="2605842"/>
                </a:cubicBezTo>
                <a:lnTo>
                  <a:pt x="1362569" y="2603054"/>
                </a:lnTo>
                <a:lnTo>
                  <a:pt x="1358749" y="2601970"/>
                </a:lnTo>
                <a:cubicBezTo>
                  <a:pt x="1349353" y="2598253"/>
                  <a:pt x="1341815" y="2591437"/>
                  <a:pt x="1340886" y="2582298"/>
                </a:cubicBezTo>
                <a:cubicBezTo>
                  <a:pt x="1340679" y="2580594"/>
                  <a:pt x="1340782" y="2578736"/>
                  <a:pt x="1341092" y="2576877"/>
                </a:cubicBezTo>
                <a:lnTo>
                  <a:pt x="1356684" y="2573934"/>
                </a:lnTo>
                <a:lnTo>
                  <a:pt x="1356271" y="2572385"/>
                </a:lnTo>
                <a:cubicBezTo>
                  <a:pt x="1356064" y="2569132"/>
                  <a:pt x="1356580" y="2564795"/>
                  <a:pt x="1359471" y="2560458"/>
                </a:cubicBezTo>
                <a:lnTo>
                  <a:pt x="1362879" y="2557670"/>
                </a:lnTo>
                <a:lnTo>
                  <a:pt x="1363499" y="2555502"/>
                </a:lnTo>
                <a:lnTo>
                  <a:pt x="1365357" y="2556121"/>
                </a:lnTo>
                <a:lnTo>
                  <a:pt x="1366390" y="2555502"/>
                </a:lnTo>
                <a:cubicBezTo>
                  <a:pt x="1367009" y="2555502"/>
                  <a:pt x="1367423" y="2555656"/>
                  <a:pt x="1367423" y="2556121"/>
                </a:cubicBezTo>
                <a:lnTo>
                  <a:pt x="1368661" y="2556740"/>
                </a:lnTo>
                <a:lnTo>
                  <a:pt x="1368868" y="2555346"/>
                </a:lnTo>
                <a:cubicBezTo>
                  <a:pt x="1369074" y="2554727"/>
                  <a:pt x="1369488" y="2553952"/>
                  <a:pt x="1370210" y="2553333"/>
                </a:cubicBezTo>
                <a:lnTo>
                  <a:pt x="1371553" y="2553642"/>
                </a:lnTo>
                <a:lnTo>
                  <a:pt x="1369281" y="2548531"/>
                </a:lnTo>
                <a:cubicBezTo>
                  <a:pt x="1369074" y="2547137"/>
                  <a:pt x="1369178" y="2545743"/>
                  <a:pt x="1369384" y="2544349"/>
                </a:cubicBezTo>
                <a:cubicBezTo>
                  <a:pt x="1370107" y="2540321"/>
                  <a:pt x="1372482" y="2536449"/>
                  <a:pt x="1374960" y="2532422"/>
                </a:cubicBezTo>
                <a:close/>
                <a:moveTo>
                  <a:pt x="590729" y="2530098"/>
                </a:moveTo>
                <a:cubicBezTo>
                  <a:pt x="598887" y="2529014"/>
                  <a:pt x="611070" y="2532886"/>
                  <a:pt x="611794" y="2539857"/>
                </a:cubicBezTo>
                <a:cubicBezTo>
                  <a:pt x="602087" y="2536604"/>
                  <a:pt x="594756" y="2538772"/>
                  <a:pt x="584327" y="2533041"/>
                </a:cubicBezTo>
                <a:cubicBezTo>
                  <a:pt x="585566" y="2531492"/>
                  <a:pt x="587941" y="2530563"/>
                  <a:pt x="590729" y="2530098"/>
                </a:cubicBezTo>
                <a:close/>
                <a:moveTo>
                  <a:pt x="1346358" y="2529169"/>
                </a:moveTo>
                <a:lnTo>
                  <a:pt x="1347907" y="2531492"/>
                </a:lnTo>
                <a:lnTo>
                  <a:pt x="1348836" y="2531957"/>
                </a:lnTo>
                <a:cubicBezTo>
                  <a:pt x="1349559" y="2532422"/>
                  <a:pt x="1349765" y="2533041"/>
                  <a:pt x="1349249" y="2533971"/>
                </a:cubicBezTo>
                <a:cubicBezTo>
                  <a:pt x="1349146" y="2534900"/>
                  <a:pt x="1348630" y="2535365"/>
                  <a:pt x="1347907" y="2535674"/>
                </a:cubicBezTo>
                <a:lnTo>
                  <a:pt x="1347804" y="2535829"/>
                </a:lnTo>
                <a:lnTo>
                  <a:pt x="1347494" y="2537533"/>
                </a:lnTo>
                <a:lnTo>
                  <a:pt x="1346152" y="2537998"/>
                </a:lnTo>
                <a:lnTo>
                  <a:pt x="1346565" y="2540476"/>
                </a:lnTo>
                <a:cubicBezTo>
                  <a:pt x="1347184" y="2541406"/>
                  <a:pt x="1348010" y="2542490"/>
                  <a:pt x="1348836" y="2543574"/>
                </a:cubicBezTo>
                <a:lnTo>
                  <a:pt x="1349146" y="2544194"/>
                </a:lnTo>
                <a:lnTo>
                  <a:pt x="1352450" y="2545123"/>
                </a:lnTo>
                <a:cubicBezTo>
                  <a:pt x="1352244" y="2546363"/>
                  <a:pt x="1352037" y="2547447"/>
                  <a:pt x="1351934" y="2548686"/>
                </a:cubicBezTo>
                <a:lnTo>
                  <a:pt x="1350695" y="2548841"/>
                </a:lnTo>
                <a:lnTo>
                  <a:pt x="1350592" y="2552403"/>
                </a:lnTo>
                <a:cubicBezTo>
                  <a:pt x="1348320" y="2551319"/>
                  <a:pt x="1345532" y="2555656"/>
                  <a:pt x="1342125" y="2553798"/>
                </a:cubicBezTo>
                <a:cubicBezTo>
                  <a:pt x="1331593" y="2549460"/>
                  <a:pt x="1332315" y="2546517"/>
                  <a:pt x="1332625" y="2540167"/>
                </a:cubicBezTo>
                <a:cubicBezTo>
                  <a:pt x="1332935" y="2540941"/>
                  <a:pt x="1333451" y="2539857"/>
                  <a:pt x="1333451" y="2539857"/>
                </a:cubicBezTo>
                <a:cubicBezTo>
                  <a:pt x="1334484" y="2537843"/>
                  <a:pt x="1329321" y="2538308"/>
                  <a:pt x="1330043" y="2535365"/>
                </a:cubicBezTo>
                <a:cubicBezTo>
                  <a:pt x="1330870" y="2533196"/>
                  <a:pt x="1332935" y="2531957"/>
                  <a:pt x="1335103" y="2531492"/>
                </a:cubicBezTo>
                <a:lnTo>
                  <a:pt x="1337272" y="2531182"/>
                </a:lnTo>
                <a:lnTo>
                  <a:pt x="1337788" y="2529788"/>
                </a:lnTo>
                <a:cubicBezTo>
                  <a:pt x="1340782" y="2527775"/>
                  <a:pt x="1344190" y="2527775"/>
                  <a:pt x="1346358" y="2529169"/>
                </a:cubicBezTo>
                <a:close/>
                <a:moveTo>
                  <a:pt x="1043404" y="2529169"/>
                </a:moveTo>
                <a:lnTo>
                  <a:pt x="1042165" y="2530098"/>
                </a:lnTo>
                <a:lnTo>
                  <a:pt x="1042062" y="2530718"/>
                </a:lnTo>
                <a:lnTo>
                  <a:pt x="1043611" y="2529479"/>
                </a:lnTo>
                <a:close/>
                <a:moveTo>
                  <a:pt x="1130036" y="2528550"/>
                </a:moveTo>
                <a:cubicBezTo>
                  <a:pt x="1129520" y="2529634"/>
                  <a:pt x="1131069" y="2531027"/>
                  <a:pt x="1130553" y="2532112"/>
                </a:cubicBezTo>
                <a:cubicBezTo>
                  <a:pt x="1130553" y="2532112"/>
                  <a:pt x="1128488" y="2533661"/>
                  <a:pt x="1128488" y="2533661"/>
                </a:cubicBezTo>
                <a:cubicBezTo>
                  <a:pt x="1127248" y="2533196"/>
                  <a:pt x="1127352" y="2533041"/>
                  <a:pt x="1128178" y="2532886"/>
                </a:cubicBezTo>
                <a:cubicBezTo>
                  <a:pt x="1126629" y="2531492"/>
                  <a:pt x="1126319" y="2530718"/>
                  <a:pt x="1125906" y="2529788"/>
                </a:cubicBezTo>
                <a:cubicBezTo>
                  <a:pt x="1126422" y="2528704"/>
                  <a:pt x="1128074" y="2528239"/>
                  <a:pt x="1130036" y="2528550"/>
                </a:cubicBezTo>
                <a:close/>
                <a:moveTo>
                  <a:pt x="1390345" y="2527465"/>
                </a:moveTo>
                <a:cubicBezTo>
                  <a:pt x="1390862" y="2527465"/>
                  <a:pt x="1391481" y="2527620"/>
                  <a:pt x="1392101" y="2527775"/>
                </a:cubicBezTo>
                <a:cubicBezTo>
                  <a:pt x="1393339" y="2528239"/>
                  <a:pt x="1394579" y="2528550"/>
                  <a:pt x="1395714" y="2528859"/>
                </a:cubicBezTo>
                <a:cubicBezTo>
                  <a:pt x="1395714" y="2528859"/>
                  <a:pt x="1395714" y="2528859"/>
                  <a:pt x="1389313" y="2528239"/>
                </a:cubicBezTo>
                <a:cubicBezTo>
                  <a:pt x="1389416" y="2527620"/>
                  <a:pt x="1389829" y="2527465"/>
                  <a:pt x="1390345" y="2527465"/>
                </a:cubicBezTo>
                <a:close/>
                <a:moveTo>
                  <a:pt x="529085" y="2526846"/>
                </a:moveTo>
                <a:lnTo>
                  <a:pt x="531666" y="2529634"/>
                </a:lnTo>
                <a:cubicBezTo>
                  <a:pt x="530737" y="2530253"/>
                  <a:pt x="529085" y="2531027"/>
                  <a:pt x="528259" y="2530098"/>
                </a:cubicBezTo>
                <a:cubicBezTo>
                  <a:pt x="527433" y="2529634"/>
                  <a:pt x="527433" y="2529169"/>
                  <a:pt x="527743" y="2528704"/>
                </a:cubicBezTo>
                <a:cubicBezTo>
                  <a:pt x="528053" y="2528239"/>
                  <a:pt x="528672" y="2527620"/>
                  <a:pt x="529085" y="2526846"/>
                </a:cubicBezTo>
                <a:close/>
                <a:moveTo>
                  <a:pt x="1053627" y="2526691"/>
                </a:moveTo>
                <a:cubicBezTo>
                  <a:pt x="1054556" y="2526846"/>
                  <a:pt x="1056001" y="2527620"/>
                  <a:pt x="1057137" y="2528550"/>
                </a:cubicBezTo>
                <a:lnTo>
                  <a:pt x="1058893" y="2531182"/>
                </a:lnTo>
                <a:lnTo>
                  <a:pt x="1059202" y="2530718"/>
                </a:lnTo>
                <a:cubicBezTo>
                  <a:pt x="1060855" y="2529788"/>
                  <a:pt x="1062610" y="2529169"/>
                  <a:pt x="1064262" y="2529169"/>
                </a:cubicBezTo>
                <a:lnTo>
                  <a:pt x="1066947" y="2530098"/>
                </a:lnTo>
                <a:lnTo>
                  <a:pt x="1067773" y="2528550"/>
                </a:lnTo>
                <a:cubicBezTo>
                  <a:pt x="1069631" y="2527155"/>
                  <a:pt x="1074175" y="2527775"/>
                  <a:pt x="1082538" y="2533041"/>
                </a:cubicBezTo>
                <a:cubicBezTo>
                  <a:pt x="1080267" y="2550699"/>
                  <a:pt x="1069838" y="2541715"/>
                  <a:pt x="1067257" y="2534436"/>
                </a:cubicBezTo>
                <a:lnTo>
                  <a:pt x="1066844" y="2532267"/>
                </a:lnTo>
                <a:lnTo>
                  <a:pt x="1060958" y="2535829"/>
                </a:lnTo>
                <a:cubicBezTo>
                  <a:pt x="1058170" y="2537378"/>
                  <a:pt x="1055279" y="2538618"/>
                  <a:pt x="1052284" y="2539237"/>
                </a:cubicBezTo>
                <a:cubicBezTo>
                  <a:pt x="1052801" y="2537688"/>
                  <a:pt x="1053730" y="2536140"/>
                  <a:pt x="1054866" y="2534590"/>
                </a:cubicBezTo>
                <a:lnTo>
                  <a:pt x="1058583" y="2531338"/>
                </a:lnTo>
                <a:lnTo>
                  <a:pt x="1054969" y="2530098"/>
                </a:lnTo>
                <a:cubicBezTo>
                  <a:pt x="1053007" y="2529788"/>
                  <a:pt x="1052697" y="2528859"/>
                  <a:pt x="1053627" y="2526691"/>
                </a:cubicBezTo>
                <a:close/>
                <a:moveTo>
                  <a:pt x="768949" y="2525141"/>
                </a:moveTo>
                <a:cubicBezTo>
                  <a:pt x="769775" y="2524677"/>
                  <a:pt x="770395" y="2524832"/>
                  <a:pt x="771118" y="2525607"/>
                </a:cubicBezTo>
                <a:cubicBezTo>
                  <a:pt x="771737" y="2526226"/>
                  <a:pt x="772357" y="2527310"/>
                  <a:pt x="773080" y="2528859"/>
                </a:cubicBezTo>
                <a:cubicBezTo>
                  <a:pt x="774525" y="2531647"/>
                  <a:pt x="775041" y="2535829"/>
                  <a:pt x="775351" y="2536914"/>
                </a:cubicBezTo>
                <a:cubicBezTo>
                  <a:pt x="775661" y="2538153"/>
                  <a:pt x="776384" y="2538618"/>
                  <a:pt x="776384" y="2538618"/>
                </a:cubicBezTo>
                <a:cubicBezTo>
                  <a:pt x="774835" y="2539547"/>
                  <a:pt x="769879" y="2528704"/>
                  <a:pt x="768536" y="2525761"/>
                </a:cubicBezTo>
                <a:cubicBezTo>
                  <a:pt x="768949" y="2525141"/>
                  <a:pt x="768949" y="2525141"/>
                  <a:pt x="768949" y="2525141"/>
                </a:cubicBezTo>
                <a:close/>
                <a:moveTo>
                  <a:pt x="1345222" y="2524057"/>
                </a:moveTo>
                <a:cubicBezTo>
                  <a:pt x="1345326" y="2523283"/>
                  <a:pt x="1346255" y="2523283"/>
                  <a:pt x="1346048" y="2524212"/>
                </a:cubicBezTo>
                <a:cubicBezTo>
                  <a:pt x="1347701" y="2524987"/>
                  <a:pt x="1345635" y="2526536"/>
                  <a:pt x="1344706" y="2527310"/>
                </a:cubicBezTo>
                <a:cubicBezTo>
                  <a:pt x="1344809" y="2526071"/>
                  <a:pt x="1344809" y="2525296"/>
                  <a:pt x="1344809" y="2524677"/>
                </a:cubicBezTo>
                <a:cubicBezTo>
                  <a:pt x="1344809" y="2524212"/>
                  <a:pt x="1344706" y="2524057"/>
                  <a:pt x="1345222" y="2524057"/>
                </a:cubicBezTo>
                <a:close/>
                <a:moveTo>
                  <a:pt x="1394062" y="2523283"/>
                </a:moveTo>
                <a:cubicBezTo>
                  <a:pt x="1394062" y="2523283"/>
                  <a:pt x="1394062" y="2524057"/>
                  <a:pt x="1394062" y="2524057"/>
                </a:cubicBezTo>
                <a:cubicBezTo>
                  <a:pt x="1393030" y="2524057"/>
                  <a:pt x="1392101" y="2524057"/>
                  <a:pt x="1392101" y="2523437"/>
                </a:cubicBezTo>
                <a:cubicBezTo>
                  <a:pt x="1392204" y="2522663"/>
                  <a:pt x="1393133" y="2522508"/>
                  <a:pt x="1394062" y="2523283"/>
                </a:cubicBezTo>
                <a:close/>
                <a:moveTo>
                  <a:pt x="1398193" y="2523128"/>
                </a:moveTo>
                <a:cubicBezTo>
                  <a:pt x="1399019" y="2523903"/>
                  <a:pt x="1399019" y="2523903"/>
                  <a:pt x="1399019" y="2525607"/>
                </a:cubicBezTo>
                <a:cubicBezTo>
                  <a:pt x="1396334" y="2524987"/>
                  <a:pt x="1396334" y="2524832"/>
                  <a:pt x="1394682" y="2523283"/>
                </a:cubicBezTo>
                <a:cubicBezTo>
                  <a:pt x="1395508" y="2523283"/>
                  <a:pt x="1397367" y="2522353"/>
                  <a:pt x="1398193" y="2523128"/>
                </a:cubicBezTo>
                <a:close/>
                <a:moveTo>
                  <a:pt x="1033492" y="2522973"/>
                </a:moveTo>
                <a:cubicBezTo>
                  <a:pt x="1034628" y="2522818"/>
                  <a:pt x="1035660" y="2522973"/>
                  <a:pt x="1036486" y="2523437"/>
                </a:cubicBezTo>
                <a:cubicBezTo>
                  <a:pt x="1037209" y="2523748"/>
                  <a:pt x="1037932" y="2524367"/>
                  <a:pt x="1038448" y="2525296"/>
                </a:cubicBezTo>
                <a:cubicBezTo>
                  <a:pt x="1038758" y="2526381"/>
                  <a:pt x="1037828" y="2527775"/>
                  <a:pt x="1035763" y="2529324"/>
                </a:cubicBezTo>
                <a:cubicBezTo>
                  <a:pt x="1033905" y="2529014"/>
                  <a:pt x="1032975" y="2525607"/>
                  <a:pt x="1031840" y="2523903"/>
                </a:cubicBezTo>
                <a:cubicBezTo>
                  <a:pt x="1033079" y="2523748"/>
                  <a:pt x="1034215" y="2523593"/>
                  <a:pt x="1033492" y="2522973"/>
                </a:cubicBezTo>
                <a:close/>
                <a:moveTo>
                  <a:pt x="692436" y="2522973"/>
                </a:moveTo>
                <a:cubicBezTo>
                  <a:pt x="694811" y="2522508"/>
                  <a:pt x="695534" y="2522973"/>
                  <a:pt x="696257" y="2523437"/>
                </a:cubicBezTo>
                <a:cubicBezTo>
                  <a:pt x="696257" y="2523437"/>
                  <a:pt x="695018" y="2523593"/>
                  <a:pt x="694605" y="2524367"/>
                </a:cubicBezTo>
                <a:cubicBezTo>
                  <a:pt x="694605" y="2524367"/>
                  <a:pt x="693469" y="2524522"/>
                  <a:pt x="692333" y="2524677"/>
                </a:cubicBezTo>
                <a:cubicBezTo>
                  <a:pt x="692333" y="2524677"/>
                  <a:pt x="691920" y="2525451"/>
                  <a:pt x="691507" y="2526071"/>
                </a:cubicBezTo>
                <a:cubicBezTo>
                  <a:pt x="688720" y="2527155"/>
                  <a:pt x="687067" y="2528084"/>
                  <a:pt x="684589" y="2525451"/>
                </a:cubicBezTo>
                <a:cubicBezTo>
                  <a:pt x="684795" y="2525141"/>
                  <a:pt x="685415" y="2524832"/>
                  <a:pt x="686241" y="2524677"/>
                </a:cubicBezTo>
                <a:cubicBezTo>
                  <a:pt x="687067" y="2524522"/>
                  <a:pt x="687893" y="2524367"/>
                  <a:pt x="688513" y="2524212"/>
                </a:cubicBezTo>
                <a:cubicBezTo>
                  <a:pt x="688926" y="2523593"/>
                  <a:pt x="690061" y="2523283"/>
                  <a:pt x="690784" y="2523748"/>
                </a:cubicBezTo>
                <a:cubicBezTo>
                  <a:pt x="690784" y="2523748"/>
                  <a:pt x="692023" y="2523593"/>
                  <a:pt x="692436" y="2522973"/>
                </a:cubicBezTo>
                <a:close/>
                <a:moveTo>
                  <a:pt x="706583" y="2522663"/>
                </a:moveTo>
                <a:cubicBezTo>
                  <a:pt x="710093" y="2523283"/>
                  <a:pt x="714843" y="2529014"/>
                  <a:pt x="715566" y="2531647"/>
                </a:cubicBezTo>
                <a:cubicBezTo>
                  <a:pt x="714017" y="2533971"/>
                  <a:pt x="712055" y="2534745"/>
                  <a:pt x="710196" y="2534745"/>
                </a:cubicBezTo>
                <a:cubicBezTo>
                  <a:pt x="707099" y="2534590"/>
                  <a:pt x="704208" y="2531802"/>
                  <a:pt x="703382" y="2528859"/>
                </a:cubicBezTo>
                <a:cubicBezTo>
                  <a:pt x="703175" y="2527930"/>
                  <a:pt x="703175" y="2526846"/>
                  <a:pt x="703485" y="2525916"/>
                </a:cubicBezTo>
                <a:cubicBezTo>
                  <a:pt x="703898" y="2524677"/>
                  <a:pt x="704827" y="2523437"/>
                  <a:pt x="706583" y="2522663"/>
                </a:cubicBezTo>
                <a:close/>
                <a:moveTo>
                  <a:pt x="1424110" y="2522508"/>
                </a:moveTo>
                <a:cubicBezTo>
                  <a:pt x="1426588" y="2526536"/>
                  <a:pt x="1428034" y="2529324"/>
                  <a:pt x="1428860" y="2532267"/>
                </a:cubicBezTo>
                <a:lnTo>
                  <a:pt x="1429169" y="2535984"/>
                </a:lnTo>
                <a:lnTo>
                  <a:pt x="1438050" y="2539857"/>
                </a:lnTo>
                <a:lnTo>
                  <a:pt x="1429583" y="2542645"/>
                </a:lnTo>
                <a:lnTo>
                  <a:pt x="1429686" y="2543110"/>
                </a:lnTo>
                <a:cubicBezTo>
                  <a:pt x="1424317" y="2547137"/>
                  <a:pt x="1418947" y="2548841"/>
                  <a:pt x="1413681" y="2549151"/>
                </a:cubicBezTo>
                <a:lnTo>
                  <a:pt x="1408622" y="2548841"/>
                </a:lnTo>
                <a:lnTo>
                  <a:pt x="1398193" y="2549770"/>
                </a:lnTo>
                <a:lnTo>
                  <a:pt x="1390758" y="2548066"/>
                </a:lnTo>
                <a:lnTo>
                  <a:pt x="1389932" y="2548221"/>
                </a:lnTo>
                <a:lnTo>
                  <a:pt x="1389726" y="2547911"/>
                </a:lnTo>
                <a:lnTo>
                  <a:pt x="1382704" y="2546363"/>
                </a:lnTo>
                <a:lnTo>
                  <a:pt x="1387351" y="2541715"/>
                </a:lnTo>
                <a:lnTo>
                  <a:pt x="1387351" y="2541096"/>
                </a:lnTo>
                <a:lnTo>
                  <a:pt x="1389313" y="2539857"/>
                </a:lnTo>
                <a:lnTo>
                  <a:pt x="1393649" y="2535365"/>
                </a:lnTo>
                <a:lnTo>
                  <a:pt x="1393649" y="2534281"/>
                </a:lnTo>
                <a:cubicBezTo>
                  <a:pt x="1395714" y="2524677"/>
                  <a:pt x="1414094" y="2525451"/>
                  <a:pt x="1424110" y="2522508"/>
                </a:cubicBezTo>
                <a:close/>
                <a:moveTo>
                  <a:pt x="1161323" y="2522199"/>
                </a:moveTo>
                <a:cubicBezTo>
                  <a:pt x="1161942" y="2524832"/>
                  <a:pt x="1162149" y="2526691"/>
                  <a:pt x="1162046" y="2529634"/>
                </a:cubicBezTo>
                <a:cubicBezTo>
                  <a:pt x="1162046" y="2529634"/>
                  <a:pt x="1160910" y="2534126"/>
                  <a:pt x="1157812" y="2533816"/>
                </a:cubicBezTo>
                <a:cubicBezTo>
                  <a:pt x="1157090" y="2534126"/>
                  <a:pt x="1155231" y="2531182"/>
                  <a:pt x="1155437" y="2530098"/>
                </a:cubicBezTo>
                <a:cubicBezTo>
                  <a:pt x="1156057" y="2527930"/>
                  <a:pt x="1156367" y="2526846"/>
                  <a:pt x="1157812" y="2526071"/>
                </a:cubicBezTo>
                <a:cubicBezTo>
                  <a:pt x="1158122" y="2524832"/>
                  <a:pt x="1158432" y="2523748"/>
                  <a:pt x="1158948" y="2522973"/>
                </a:cubicBezTo>
                <a:cubicBezTo>
                  <a:pt x="1159464" y="2522353"/>
                  <a:pt x="1160187" y="2521889"/>
                  <a:pt x="1161323" y="2522199"/>
                </a:cubicBezTo>
                <a:close/>
                <a:moveTo>
                  <a:pt x="1352037" y="2521424"/>
                </a:moveTo>
                <a:cubicBezTo>
                  <a:pt x="1355341" y="2519256"/>
                  <a:pt x="1360194" y="2521269"/>
                  <a:pt x="1361950" y="2524677"/>
                </a:cubicBezTo>
                <a:cubicBezTo>
                  <a:pt x="1362776" y="2526071"/>
                  <a:pt x="1362879" y="2527930"/>
                  <a:pt x="1362053" y="2529634"/>
                </a:cubicBezTo>
                <a:cubicBezTo>
                  <a:pt x="1356890" y="2529634"/>
                  <a:pt x="1351004" y="2530718"/>
                  <a:pt x="1349353" y="2524987"/>
                </a:cubicBezTo>
                <a:cubicBezTo>
                  <a:pt x="1349972" y="2523283"/>
                  <a:pt x="1350901" y="2522044"/>
                  <a:pt x="1352037" y="2521424"/>
                </a:cubicBezTo>
                <a:close/>
                <a:moveTo>
                  <a:pt x="672715" y="2520340"/>
                </a:moveTo>
                <a:cubicBezTo>
                  <a:pt x="674470" y="2519720"/>
                  <a:pt x="674470" y="2519720"/>
                  <a:pt x="675399" y="2520649"/>
                </a:cubicBezTo>
                <a:cubicBezTo>
                  <a:pt x="676328" y="2521579"/>
                  <a:pt x="675399" y="2524057"/>
                  <a:pt x="676225" y="2524987"/>
                </a:cubicBezTo>
                <a:cubicBezTo>
                  <a:pt x="676225" y="2524987"/>
                  <a:pt x="676225" y="2524987"/>
                  <a:pt x="674470" y="2525761"/>
                </a:cubicBezTo>
                <a:cubicBezTo>
                  <a:pt x="673541" y="2525607"/>
                  <a:pt x="672611" y="2525451"/>
                  <a:pt x="671682" y="2524522"/>
                </a:cubicBezTo>
                <a:cubicBezTo>
                  <a:pt x="670856" y="2523593"/>
                  <a:pt x="670856" y="2521889"/>
                  <a:pt x="670856" y="2520960"/>
                </a:cubicBezTo>
                <a:cubicBezTo>
                  <a:pt x="671785" y="2521114"/>
                  <a:pt x="671785" y="2520185"/>
                  <a:pt x="672715" y="2520340"/>
                </a:cubicBezTo>
                <a:close/>
                <a:moveTo>
                  <a:pt x="1367216" y="2520185"/>
                </a:moveTo>
                <a:cubicBezTo>
                  <a:pt x="1367216" y="2520185"/>
                  <a:pt x="1367216" y="2520185"/>
                  <a:pt x="1368042" y="2520960"/>
                </a:cubicBezTo>
                <a:cubicBezTo>
                  <a:pt x="1365461" y="2520960"/>
                  <a:pt x="1362156" y="2521269"/>
                  <a:pt x="1360504" y="2520495"/>
                </a:cubicBezTo>
                <a:cubicBezTo>
                  <a:pt x="1362156" y="2519565"/>
                  <a:pt x="1365667" y="2518636"/>
                  <a:pt x="1367216" y="2520185"/>
                </a:cubicBezTo>
                <a:close/>
                <a:moveTo>
                  <a:pt x="1050942" y="2518791"/>
                </a:moveTo>
                <a:cubicBezTo>
                  <a:pt x="1051665" y="2519720"/>
                  <a:pt x="1051458" y="2520495"/>
                  <a:pt x="1051355" y="2521424"/>
                </a:cubicBezTo>
                <a:cubicBezTo>
                  <a:pt x="1050323" y="2522199"/>
                  <a:pt x="1049496" y="2522044"/>
                  <a:pt x="1048464" y="2522818"/>
                </a:cubicBezTo>
                <a:cubicBezTo>
                  <a:pt x="1048361" y="2523748"/>
                  <a:pt x="1048051" y="2525296"/>
                  <a:pt x="1047122" y="2526071"/>
                </a:cubicBezTo>
                <a:lnTo>
                  <a:pt x="1046915" y="2526226"/>
                </a:lnTo>
                <a:lnTo>
                  <a:pt x="1046399" y="2528084"/>
                </a:lnTo>
                <a:lnTo>
                  <a:pt x="1047122" y="2527775"/>
                </a:lnTo>
                <a:cubicBezTo>
                  <a:pt x="1050735" y="2529324"/>
                  <a:pt x="1049909" y="2531492"/>
                  <a:pt x="1049909" y="2535210"/>
                </a:cubicBezTo>
                <a:cubicBezTo>
                  <a:pt x="1048774" y="2534745"/>
                  <a:pt x="1047534" y="2538153"/>
                  <a:pt x="1047122" y="2539237"/>
                </a:cubicBezTo>
                <a:lnTo>
                  <a:pt x="1046399" y="2539237"/>
                </a:lnTo>
                <a:lnTo>
                  <a:pt x="1047534" y="2544039"/>
                </a:lnTo>
                <a:cubicBezTo>
                  <a:pt x="1047534" y="2545588"/>
                  <a:pt x="1047225" y="2546827"/>
                  <a:pt x="1046605" y="2548066"/>
                </a:cubicBezTo>
                <a:lnTo>
                  <a:pt x="1045366" y="2549151"/>
                </a:lnTo>
                <a:lnTo>
                  <a:pt x="1047122" y="2549151"/>
                </a:lnTo>
                <a:lnTo>
                  <a:pt x="1052078" y="2549305"/>
                </a:lnTo>
                <a:lnTo>
                  <a:pt x="1053627" y="2549305"/>
                </a:lnTo>
                <a:lnTo>
                  <a:pt x="1053730" y="2549305"/>
                </a:lnTo>
                <a:lnTo>
                  <a:pt x="1054040" y="2549305"/>
                </a:lnTo>
                <a:cubicBezTo>
                  <a:pt x="1056208" y="2549770"/>
                  <a:pt x="1058170" y="2550854"/>
                  <a:pt x="1059719" y="2553023"/>
                </a:cubicBezTo>
                <a:lnTo>
                  <a:pt x="1054350" y="2554417"/>
                </a:lnTo>
                <a:lnTo>
                  <a:pt x="1054040" y="2555966"/>
                </a:lnTo>
                <a:cubicBezTo>
                  <a:pt x="1052801" y="2558135"/>
                  <a:pt x="1050426" y="2559684"/>
                  <a:pt x="1047431" y="2559528"/>
                </a:cubicBezTo>
                <a:lnTo>
                  <a:pt x="1046295" y="2556276"/>
                </a:lnTo>
                <a:lnTo>
                  <a:pt x="1040513" y="2556431"/>
                </a:lnTo>
                <a:cubicBezTo>
                  <a:pt x="1038035" y="2556276"/>
                  <a:pt x="1035454" y="2555502"/>
                  <a:pt x="1032562" y="2554417"/>
                </a:cubicBezTo>
                <a:lnTo>
                  <a:pt x="1031840" y="2552713"/>
                </a:lnTo>
                <a:lnTo>
                  <a:pt x="1031220" y="2552558"/>
                </a:lnTo>
                <a:cubicBezTo>
                  <a:pt x="1029774" y="2551939"/>
                  <a:pt x="1028432" y="2550545"/>
                  <a:pt x="1027503" y="2548531"/>
                </a:cubicBezTo>
                <a:cubicBezTo>
                  <a:pt x="1026987" y="2547292"/>
                  <a:pt x="1026470" y="2546052"/>
                  <a:pt x="1026367" y="2544659"/>
                </a:cubicBezTo>
                <a:cubicBezTo>
                  <a:pt x="1026057" y="2542800"/>
                  <a:pt x="1026264" y="2540786"/>
                  <a:pt x="1027399" y="2538927"/>
                </a:cubicBezTo>
                <a:lnTo>
                  <a:pt x="1028742" y="2537378"/>
                </a:lnTo>
                <a:lnTo>
                  <a:pt x="1028432" y="2534590"/>
                </a:lnTo>
                <a:cubicBezTo>
                  <a:pt x="1028432" y="2534590"/>
                  <a:pt x="1028432" y="2534590"/>
                  <a:pt x="1028949" y="2533506"/>
                </a:cubicBezTo>
                <a:lnTo>
                  <a:pt x="1029981" y="2536294"/>
                </a:lnTo>
                <a:lnTo>
                  <a:pt x="1033698" y="2534126"/>
                </a:lnTo>
                <a:cubicBezTo>
                  <a:pt x="1035350" y="2533041"/>
                  <a:pt x="1034937" y="2533661"/>
                  <a:pt x="1036176" y="2533351"/>
                </a:cubicBezTo>
                <a:cubicBezTo>
                  <a:pt x="1037312" y="2532886"/>
                  <a:pt x="1038964" y="2531802"/>
                  <a:pt x="1039377" y="2531027"/>
                </a:cubicBezTo>
                <a:lnTo>
                  <a:pt x="1039997" y="2531647"/>
                </a:lnTo>
                <a:lnTo>
                  <a:pt x="1041856" y="2529788"/>
                </a:lnTo>
                <a:lnTo>
                  <a:pt x="1043198" y="2528704"/>
                </a:lnTo>
                <a:lnTo>
                  <a:pt x="1042888" y="2528084"/>
                </a:lnTo>
                <a:cubicBezTo>
                  <a:pt x="1042785" y="2526846"/>
                  <a:pt x="1043301" y="2525607"/>
                  <a:pt x="1044333" y="2525141"/>
                </a:cubicBezTo>
                <a:lnTo>
                  <a:pt x="1045883" y="2525451"/>
                </a:lnTo>
                <a:lnTo>
                  <a:pt x="1046399" y="2525296"/>
                </a:lnTo>
                <a:cubicBezTo>
                  <a:pt x="1047328" y="2524522"/>
                  <a:pt x="1049806" y="2520495"/>
                  <a:pt x="1049084" y="2519565"/>
                </a:cubicBezTo>
                <a:cubicBezTo>
                  <a:pt x="1049909" y="2519565"/>
                  <a:pt x="1050942" y="2518791"/>
                  <a:pt x="1050942" y="2518791"/>
                </a:cubicBezTo>
                <a:close/>
                <a:moveTo>
                  <a:pt x="4875574" y="2518586"/>
                </a:moveTo>
                <a:cubicBezTo>
                  <a:pt x="4876428" y="2519154"/>
                  <a:pt x="4877282" y="2520578"/>
                  <a:pt x="4877922" y="2522285"/>
                </a:cubicBezTo>
                <a:cubicBezTo>
                  <a:pt x="4878562" y="2523992"/>
                  <a:pt x="4878989" y="2525983"/>
                  <a:pt x="4879415" y="2527549"/>
                </a:cubicBezTo>
                <a:cubicBezTo>
                  <a:pt x="4877708" y="2530821"/>
                  <a:pt x="4874080" y="2533097"/>
                  <a:pt x="4870025" y="2533809"/>
                </a:cubicBezTo>
                <a:cubicBezTo>
                  <a:pt x="4868531" y="2527549"/>
                  <a:pt x="4870665" y="2523138"/>
                  <a:pt x="4875574" y="2518586"/>
                </a:cubicBezTo>
                <a:close/>
                <a:moveTo>
                  <a:pt x="523613" y="2518171"/>
                </a:moveTo>
                <a:cubicBezTo>
                  <a:pt x="524335" y="2517862"/>
                  <a:pt x="524955" y="2517706"/>
                  <a:pt x="524955" y="2518171"/>
                </a:cubicBezTo>
                <a:cubicBezTo>
                  <a:pt x="525884" y="2519101"/>
                  <a:pt x="525884" y="2518171"/>
                  <a:pt x="526710" y="2518326"/>
                </a:cubicBezTo>
                <a:cubicBezTo>
                  <a:pt x="529292" y="2520960"/>
                  <a:pt x="530118" y="2523593"/>
                  <a:pt x="528362" y="2525916"/>
                </a:cubicBezTo>
                <a:cubicBezTo>
                  <a:pt x="526607" y="2527310"/>
                  <a:pt x="523922" y="2529634"/>
                  <a:pt x="521341" y="2527620"/>
                </a:cubicBezTo>
                <a:cubicBezTo>
                  <a:pt x="521341" y="2526846"/>
                  <a:pt x="520515" y="2526846"/>
                  <a:pt x="520515" y="2525916"/>
                </a:cubicBezTo>
                <a:cubicBezTo>
                  <a:pt x="520515" y="2525916"/>
                  <a:pt x="520102" y="2525141"/>
                  <a:pt x="519998" y="2523748"/>
                </a:cubicBezTo>
                <a:cubicBezTo>
                  <a:pt x="519895" y="2522508"/>
                  <a:pt x="520102" y="2520960"/>
                  <a:pt x="521444" y="2519410"/>
                </a:cubicBezTo>
                <a:cubicBezTo>
                  <a:pt x="521857" y="2519101"/>
                  <a:pt x="522786" y="2518481"/>
                  <a:pt x="523613" y="2518171"/>
                </a:cubicBezTo>
                <a:close/>
                <a:moveTo>
                  <a:pt x="5294944" y="2517874"/>
                </a:moveTo>
                <a:cubicBezTo>
                  <a:pt x="5298358" y="2517021"/>
                  <a:pt x="5302200" y="2516879"/>
                  <a:pt x="5304548" y="2517874"/>
                </a:cubicBezTo>
                <a:cubicBezTo>
                  <a:pt x="5296011" y="2527691"/>
                  <a:pt x="5289182" y="2520862"/>
                  <a:pt x="5284487" y="2526268"/>
                </a:cubicBezTo>
                <a:cubicBezTo>
                  <a:pt x="5283419" y="2523708"/>
                  <a:pt x="5283419" y="2523708"/>
                  <a:pt x="5284700" y="2521431"/>
                </a:cubicBezTo>
                <a:cubicBezTo>
                  <a:pt x="5285767" y="2521573"/>
                  <a:pt x="5285767" y="2520436"/>
                  <a:pt x="5286834" y="2521716"/>
                </a:cubicBezTo>
                <a:cubicBezTo>
                  <a:pt x="5288115" y="2520008"/>
                  <a:pt x="5291316" y="2518586"/>
                  <a:pt x="5294944" y="2517874"/>
                </a:cubicBezTo>
                <a:close/>
                <a:moveTo>
                  <a:pt x="1054969" y="2517862"/>
                </a:moveTo>
                <a:cubicBezTo>
                  <a:pt x="1056724" y="2517862"/>
                  <a:pt x="1058686" y="2518946"/>
                  <a:pt x="1060235" y="2521424"/>
                </a:cubicBezTo>
                <a:cubicBezTo>
                  <a:pt x="1058790" y="2522818"/>
                  <a:pt x="1057344" y="2523437"/>
                  <a:pt x="1055795" y="2523437"/>
                </a:cubicBezTo>
                <a:lnTo>
                  <a:pt x="1054660" y="2522818"/>
                </a:lnTo>
                <a:lnTo>
                  <a:pt x="1053833" y="2522508"/>
                </a:lnTo>
                <a:lnTo>
                  <a:pt x="1051562" y="2521579"/>
                </a:lnTo>
                <a:cubicBezTo>
                  <a:pt x="1051871" y="2519101"/>
                  <a:pt x="1053214" y="2517862"/>
                  <a:pt x="1054969" y="2517862"/>
                </a:cubicBezTo>
                <a:close/>
                <a:moveTo>
                  <a:pt x="1001689" y="2516313"/>
                </a:moveTo>
                <a:cubicBezTo>
                  <a:pt x="1005716" y="2521114"/>
                  <a:pt x="1007265" y="2525296"/>
                  <a:pt x="1001895" y="2530563"/>
                </a:cubicBezTo>
                <a:cubicBezTo>
                  <a:pt x="998488" y="2530253"/>
                  <a:pt x="997042" y="2527465"/>
                  <a:pt x="997249" y="2524212"/>
                </a:cubicBezTo>
                <a:cubicBezTo>
                  <a:pt x="997352" y="2521114"/>
                  <a:pt x="999004" y="2517706"/>
                  <a:pt x="1001689" y="2516313"/>
                </a:cubicBezTo>
                <a:close/>
                <a:moveTo>
                  <a:pt x="660376" y="2515538"/>
                </a:moveTo>
                <a:cubicBezTo>
                  <a:pt x="663551" y="2515887"/>
                  <a:pt x="666313" y="2517165"/>
                  <a:pt x="668068" y="2519720"/>
                </a:cubicBezTo>
                <a:cubicBezTo>
                  <a:pt x="655574" y="2519101"/>
                  <a:pt x="650411" y="2531182"/>
                  <a:pt x="636781" y="2528239"/>
                </a:cubicBezTo>
                <a:cubicBezTo>
                  <a:pt x="637401" y="2523748"/>
                  <a:pt x="643390" y="2519101"/>
                  <a:pt x="650205" y="2516932"/>
                </a:cubicBezTo>
                <a:cubicBezTo>
                  <a:pt x="653612" y="2515770"/>
                  <a:pt x="657200" y="2515190"/>
                  <a:pt x="660376" y="2515538"/>
                </a:cubicBezTo>
                <a:close/>
                <a:moveTo>
                  <a:pt x="1390965" y="2515383"/>
                </a:moveTo>
                <a:cubicBezTo>
                  <a:pt x="1392410" y="2517242"/>
                  <a:pt x="1392410" y="2519565"/>
                  <a:pt x="1391481" y="2521579"/>
                </a:cubicBezTo>
                <a:lnTo>
                  <a:pt x="1389623" y="2524212"/>
                </a:lnTo>
                <a:lnTo>
                  <a:pt x="1389519" y="2524212"/>
                </a:lnTo>
                <a:lnTo>
                  <a:pt x="1386834" y="2525607"/>
                </a:lnTo>
                <a:cubicBezTo>
                  <a:pt x="1385595" y="2525761"/>
                  <a:pt x="1384253" y="2525451"/>
                  <a:pt x="1383014" y="2524212"/>
                </a:cubicBezTo>
                <a:lnTo>
                  <a:pt x="1383014" y="2523283"/>
                </a:lnTo>
                <a:lnTo>
                  <a:pt x="1380536" y="2523128"/>
                </a:lnTo>
                <a:cubicBezTo>
                  <a:pt x="1378058" y="2522973"/>
                  <a:pt x="1375683" y="2522663"/>
                  <a:pt x="1373928" y="2521579"/>
                </a:cubicBezTo>
                <a:cubicBezTo>
                  <a:pt x="1374857" y="2521579"/>
                  <a:pt x="1377645" y="2521579"/>
                  <a:pt x="1380639" y="2521889"/>
                </a:cubicBezTo>
                <a:lnTo>
                  <a:pt x="1383014" y="2522199"/>
                </a:lnTo>
                <a:lnTo>
                  <a:pt x="1383117" y="2521114"/>
                </a:lnTo>
                <a:cubicBezTo>
                  <a:pt x="1384253" y="2518636"/>
                  <a:pt x="1387970" y="2518016"/>
                  <a:pt x="1390965" y="2515383"/>
                </a:cubicBezTo>
                <a:close/>
                <a:moveTo>
                  <a:pt x="1024612" y="2514299"/>
                </a:moveTo>
                <a:cubicBezTo>
                  <a:pt x="1025541" y="2518636"/>
                  <a:pt x="1028535" y="2523903"/>
                  <a:pt x="1027503" y="2527775"/>
                </a:cubicBezTo>
                <a:cubicBezTo>
                  <a:pt x="1026883" y="2526226"/>
                  <a:pt x="1024096" y="2517242"/>
                  <a:pt x="1024612" y="2514299"/>
                </a:cubicBezTo>
                <a:close/>
                <a:moveTo>
                  <a:pt x="565844" y="2513834"/>
                </a:moveTo>
                <a:cubicBezTo>
                  <a:pt x="566774" y="2514764"/>
                  <a:pt x="569355" y="2515074"/>
                  <a:pt x="571214" y="2516003"/>
                </a:cubicBezTo>
                <a:cubicBezTo>
                  <a:pt x="571214" y="2516778"/>
                  <a:pt x="572143" y="2517706"/>
                  <a:pt x="572143" y="2518481"/>
                </a:cubicBezTo>
                <a:cubicBezTo>
                  <a:pt x="571214" y="2518481"/>
                  <a:pt x="569355" y="2518946"/>
                  <a:pt x="569355" y="2518171"/>
                </a:cubicBezTo>
                <a:cubicBezTo>
                  <a:pt x="568529" y="2518171"/>
                  <a:pt x="568529" y="2516467"/>
                  <a:pt x="568529" y="2516467"/>
                </a:cubicBezTo>
                <a:cubicBezTo>
                  <a:pt x="567599" y="2516467"/>
                  <a:pt x="566670" y="2516313"/>
                  <a:pt x="565741" y="2515383"/>
                </a:cubicBezTo>
                <a:cubicBezTo>
                  <a:pt x="566670" y="2514764"/>
                  <a:pt x="565844" y="2514609"/>
                  <a:pt x="565844" y="2513834"/>
                </a:cubicBezTo>
                <a:close/>
                <a:moveTo>
                  <a:pt x="5312444" y="2512468"/>
                </a:moveTo>
                <a:cubicBezTo>
                  <a:pt x="5312871" y="2512326"/>
                  <a:pt x="5313298" y="2512468"/>
                  <a:pt x="5313938" y="2513180"/>
                </a:cubicBezTo>
                <a:cubicBezTo>
                  <a:pt x="5312658" y="2514318"/>
                  <a:pt x="5310310" y="2515314"/>
                  <a:pt x="5309243" y="2516309"/>
                </a:cubicBezTo>
                <a:cubicBezTo>
                  <a:pt x="5309243" y="2516309"/>
                  <a:pt x="5309029" y="2516309"/>
                  <a:pt x="5307962" y="2514887"/>
                </a:cubicBezTo>
                <a:cubicBezTo>
                  <a:pt x="5309670" y="2515171"/>
                  <a:pt x="5310950" y="2512610"/>
                  <a:pt x="5312444" y="2512468"/>
                </a:cubicBezTo>
                <a:close/>
                <a:moveTo>
                  <a:pt x="1280248" y="2512440"/>
                </a:moveTo>
                <a:cubicBezTo>
                  <a:pt x="1281591" y="2511627"/>
                  <a:pt x="1283010" y="2511279"/>
                  <a:pt x="1284611" y="2512595"/>
                </a:cubicBezTo>
                <a:cubicBezTo>
                  <a:pt x="1280067" y="2521734"/>
                  <a:pt x="1289258" y="2529324"/>
                  <a:pt x="1286676" y="2536294"/>
                </a:cubicBezTo>
                <a:lnTo>
                  <a:pt x="1284817" y="2539237"/>
                </a:lnTo>
                <a:lnTo>
                  <a:pt x="1286366" y="2540631"/>
                </a:lnTo>
                <a:cubicBezTo>
                  <a:pt x="1287399" y="2541251"/>
                  <a:pt x="1288535" y="2541715"/>
                  <a:pt x="1289258" y="2542490"/>
                </a:cubicBezTo>
                <a:cubicBezTo>
                  <a:pt x="1289980" y="2543110"/>
                  <a:pt x="1290290" y="2544039"/>
                  <a:pt x="1289774" y="2545123"/>
                </a:cubicBezTo>
                <a:cubicBezTo>
                  <a:pt x="1286986" y="2544814"/>
                  <a:pt x="1285127" y="2544504"/>
                  <a:pt x="1282030" y="2543574"/>
                </a:cubicBezTo>
                <a:cubicBezTo>
                  <a:pt x="1282030" y="2543574"/>
                  <a:pt x="1281823" y="2543264"/>
                  <a:pt x="1281410" y="2543110"/>
                </a:cubicBezTo>
                <a:lnTo>
                  <a:pt x="1280894" y="2542645"/>
                </a:lnTo>
                <a:lnTo>
                  <a:pt x="1278002" y="2545588"/>
                </a:lnTo>
                <a:cubicBezTo>
                  <a:pt x="1274182" y="2546827"/>
                  <a:pt x="1270774" y="2540012"/>
                  <a:pt x="1267677" y="2536914"/>
                </a:cubicBezTo>
                <a:cubicBezTo>
                  <a:pt x="1269535" y="2533506"/>
                  <a:pt x="1270465" y="2532577"/>
                  <a:pt x="1273975" y="2530718"/>
                </a:cubicBezTo>
                <a:cubicBezTo>
                  <a:pt x="1276454" y="2531802"/>
                  <a:pt x="1278106" y="2533506"/>
                  <a:pt x="1279345" y="2535365"/>
                </a:cubicBezTo>
                <a:lnTo>
                  <a:pt x="1280171" y="2537224"/>
                </a:lnTo>
                <a:lnTo>
                  <a:pt x="1282442" y="2537224"/>
                </a:lnTo>
                <a:lnTo>
                  <a:pt x="1284611" y="2539082"/>
                </a:lnTo>
                <a:lnTo>
                  <a:pt x="1278209" y="2529014"/>
                </a:lnTo>
                <a:cubicBezTo>
                  <a:pt x="1277280" y="2527155"/>
                  <a:pt x="1276660" y="2525141"/>
                  <a:pt x="1276247" y="2522818"/>
                </a:cubicBezTo>
                <a:cubicBezTo>
                  <a:pt x="1275937" y="2520495"/>
                  <a:pt x="1275834" y="2518016"/>
                  <a:pt x="1276350" y="2515074"/>
                </a:cubicBezTo>
                <a:cubicBezTo>
                  <a:pt x="1277641" y="2514531"/>
                  <a:pt x="1278906" y="2513253"/>
                  <a:pt x="1280248" y="2512440"/>
                </a:cubicBezTo>
                <a:close/>
                <a:moveTo>
                  <a:pt x="1024818" y="2512285"/>
                </a:moveTo>
                <a:cubicBezTo>
                  <a:pt x="1024405" y="2513370"/>
                  <a:pt x="1024405" y="2513370"/>
                  <a:pt x="1024818" y="2514299"/>
                </a:cubicBezTo>
                <a:cubicBezTo>
                  <a:pt x="1024818" y="2514299"/>
                  <a:pt x="1023683" y="2513679"/>
                  <a:pt x="1023683" y="2513679"/>
                </a:cubicBezTo>
                <a:cubicBezTo>
                  <a:pt x="1024096" y="2512595"/>
                  <a:pt x="1023269" y="2512750"/>
                  <a:pt x="1024818" y="2512285"/>
                </a:cubicBezTo>
                <a:close/>
                <a:moveTo>
                  <a:pt x="810252" y="2510116"/>
                </a:moveTo>
                <a:cubicBezTo>
                  <a:pt x="813453" y="2513060"/>
                  <a:pt x="814279" y="2515693"/>
                  <a:pt x="814072" y="2518171"/>
                </a:cubicBezTo>
                <a:lnTo>
                  <a:pt x="811697" y="2524832"/>
                </a:lnTo>
                <a:lnTo>
                  <a:pt x="814279" y="2528084"/>
                </a:lnTo>
                <a:cubicBezTo>
                  <a:pt x="811800" y="2528550"/>
                  <a:pt x="812730" y="2533816"/>
                  <a:pt x="809116" y="2534436"/>
                </a:cubicBezTo>
                <a:cubicBezTo>
                  <a:pt x="798687" y="2537378"/>
                  <a:pt x="797241" y="2534590"/>
                  <a:pt x="793215" y="2529014"/>
                </a:cubicBezTo>
                <a:cubicBezTo>
                  <a:pt x="793937" y="2529479"/>
                  <a:pt x="793627" y="2528395"/>
                  <a:pt x="793627" y="2528395"/>
                </a:cubicBezTo>
                <a:cubicBezTo>
                  <a:pt x="793008" y="2526071"/>
                  <a:pt x="789600" y="2529634"/>
                  <a:pt x="788155" y="2526846"/>
                </a:cubicBezTo>
                <a:cubicBezTo>
                  <a:pt x="787742" y="2525607"/>
                  <a:pt x="787742" y="2524522"/>
                  <a:pt x="787949" y="2523437"/>
                </a:cubicBezTo>
                <a:cubicBezTo>
                  <a:pt x="788568" y="2520185"/>
                  <a:pt x="791459" y="2517552"/>
                  <a:pt x="793318" y="2516003"/>
                </a:cubicBezTo>
                <a:lnTo>
                  <a:pt x="793834" y="2515693"/>
                </a:lnTo>
                <a:lnTo>
                  <a:pt x="794247" y="2514609"/>
                </a:lnTo>
                <a:lnTo>
                  <a:pt x="793937" y="2514454"/>
                </a:lnTo>
                <a:lnTo>
                  <a:pt x="794350" y="2514299"/>
                </a:lnTo>
                <a:lnTo>
                  <a:pt x="795073" y="2512440"/>
                </a:lnTo>
                <a:lnTo>
                  <a:pt x="796519" y="2513060"/>
                </a:lnTo>
                <a:lnTo>
                  <a:pt x="799100" y="2512285"/>
                </a:lnTo>
                <a:cubicBezTo>
                  <a:pt x="800029" y="2512285"/>
                  <a:pt x="800546" y="2512595"/>
                  <a:pt x="800856" y="2513834"/>
                </a:cubicBezTo>
                <a:cubicBezTo>
                  <a:pt x="801992" y="2515383"/>
                  <a:pt x="800339" y="2516313"/>
                  <a:pt x="800959" y="2518636"/>
                </a:cubicBezTo>
                <a:cubicBezTo>
                  <a:pt x="801785" y="2520649"/>
                  <a:pt x="804263" y="2520960"/>
                  <a:pt x="806948" y="2521889"/>
                </a:cubicBezTo>
                <a:lnTo>
                  <a:pt x="809942" y="2523437"/>
                </a:lnTo>
                <a:lnTo>
                  <a:pt x="809116" y="2522508"/>
                </a:lnTo>
                <a:cubicBezTo>
                  <a:pt x="807051" y="2518791"/>
                  <a:pt x="806018" y="2513060"/>
                  <a:pt x="810252" y="2510116"/>
                </a:cubicBezTo>
                <a:close/>
                <a:moveTo>
                  <a:pt x="1307018" y="2509962"/>
                </a:moveTo>
                <a:cubicBezTo>
                  <a:pt x="1307018" y="2511511"/>
                  <a:pt x="1306604" y="2513215"/>
                  <a:pt x="1305778" y="2514918"/>
                </a:cubicBezTo>
                <a:lnTo>
                  <a:pt x="1304126" y="2517706"/>
                </a:lnTo>
                <a:lnTo>
                  <a:pt x="1305985" y="2517706"/>
                </a:lnTo>
                <a:lnTo>
                  <a:pt x="1306192" y="2517552"/>
                </a:lnTo>
                <a:lnTo>
                  <a:pt x="1307740" y="2517862"/>
                </a:lnTo>
                <a:lnTo>
                  <a:pt x="1309083" y="2518016"/>
                </a:lnTo>
                <a:cubicBezTo>
                  <a:pt x="1316104" y="2519565"/>
                  <a:pt x="1323126" y="2524057"/>
                  <a:pt x="1332419" y="2526226"/>
                </a:cubicBezTo>
                <a:cubicBezTo>
                  <a:pt x="1330353" y="2527465"/>
                  <a:pt x="1328908" y="2529014"/>
                  <a:pt x="1327772" y="2530563"/>
                </a:cubicBezTo>
                <a:lnTo>
                  <a:pt x="1327462" y="2531492"/>
                </a:lnTo>
                <a:lnTo>
                  <a:pt x="1328495" y="2532731"/>
                </a:lnTo>
                <a:cubicBezTo>
                  <a:pt x="1329528" y="2535210"/>
                  <a:pt x="1328392" y="2538308"/>
                  <a:pt x="1326326" y="2540321"/>
                </a:cubicBezTo>
                <a:lnTo>
                  <a:pt x="1325913" y="2540476"/>
                </a:lnTo>
                <a:lnTo>
                  <a:pt x="1328804" y="2542025"/>
                </a:lnTo>
                <a:cubicBezTo>
                  <a:pt x="1329837" y="2542645"/>
                  <a:pt x="1330560" y="2543419"/>
                  <a:pt x="1330353" y="2544349"/>
                </a:cubicBezTo>
                <a:cubicBezTo>
                  <a:pt x="1329218" y="2547292"/>
                  <a:pt x="1325913" y="2547602"/>
                  <a:pt x="1322506" y="2547292"/>
                </a:cubicBezTo>
                <a:lnTo>
                  <a:pt x="1321990" y="2547292"/>
                </a:lnTo>
                <a:lnTo>
                  <a:pt x="1319925" y="2549925"/>
                </a:lnTo>
                <a:cubicBezTo>
                  <a:pt x="1318995" y="2550699"/>
                  <a:pt x="1317963" y="2551474"/>
                  <a:pt x="1316517" y="2552094"/>
                </a:cubicBezTo>
                <a:lnTo>
                  <a:pt x="1311870" y="2552868"/>
                </a:lnTo>
                <a:lnTo>
                  <a:pt x="1311148" y="2554882"/>
                </a:lnTo>
                <a:cubicBezTo>
                  <a:pt x="1301855" y="2556121"/>
                  <a:pt x="1298757" y="2553798"/>
                  <a:pt x="1298964" y="2550545"/>
                </a:cubicBezTo>
                <a:lnTo>
                  <a:pt x="1299170" y="2550080"/>
                </a:lnTo>
                <a:lnTo>
                  <a:pt x="1294937" y="2546827"/>
                </a:lnTo>
                <a:cubicBezTo>
                  <a:pt x="1291426" y="2543110"/>
                  <a:pt x="1289051" y="2538153"/>
                  <a:pt x="1288638" y="2533506"/>
                </a:cubicBezTo>
                <a:cubicBezTo>
                  <a:pt x="1288122" y="2528239"/>
                  <a:pt x="1289980" y="2523128"/>
                  <a:pt x="1295350" y="2520030"/>
                </a:cubicBezTo>
                <a:lnTo>
                  <a:pt x="1295453" y="2520030"/>
                </a:lnTo>
                <a:lnTo>
                  <a:pt x="1299583" y="2515693"/>
                </a:lnTo>
                <a:cubicBezTo>
                  <a:pt x="1301855" y="2513524"/>
                  <a:pt x="1304230" y="2511356"/>
                  <a:pt x="1307018" y="2509962"/>
                </a:cubicBezTo>
                <a:close/>
                <a:moveTo>
                  <a:pt x="574208" y="2509962"/>
                </a:moveTo>
                <a:cubicBezTo>
                  <a:pt x="574621" y="2509807"/>
                  <a:pt x="575034" y="2510116"/>
                  <a:pt x="575447" y="2510581"/>
                </a:cubicBezTo>
                <a:cubicBezTo>
                  <a:pt x="575447" y="2510581"/>
                  <a:pt x="576377" y="2511511"/>
                  <a:pt x="577203" y="2512440"/>
                </a:cubicBezTo>
                <a:cubicBezTo>
                  <a:pt x="578028" y="2513370"/>
                  <a:pt x="578855" y="2513524"/>
                  <a:pt x="578855" y="2513524"/>
                </a:cubicBezTo>
                <a:cubicBezTo>
                  <a:pt x="579681" y="2514454"/>
                  <a:pt x="579784" y="2515383"/>
                  <a:pt x="578855" y="2516158"/>
                </a:cubicBezTo>
                <a:cubicBezTo>
                  <a:pt x="578855" y="2516158"/>
                  <a:pt x="577099" y="2515074"/>
                  <a:pt x="577099" y="2515074"/>
                </a:cubicBezTo>
                <a:cubicBezTo>
                  <a:pt x="575447" y="2513215"/>
                  <a:pt x="574518" y="2512130"/>
                  <a:pt x="572762" y="2511046"/>
                </a:cubicBezTo>
                <a:cubicBezTo>
                  <a:pt x="573279" y="2510272"/>
                  <a:pt x="573692" y="2509962"/>
                  <a:pt x="574208" y="2509962"/>
                </a:cubicBezTo>
                <a:close/>
                <a:moveTo>
                  <a:pt x="735185" y="2509187"/>
                </a:moveTo>
                <a:cubicBezTo>
                  <a:pt x="737353" y="2514454"/>
                  <a:pt x="741277" y="2520185"/>
                  <a:pt x="741587" y="2526071"/>
                </a:cubicBezTo>
                <a:cubicBezTo>
                  <a:pt x="737146" y="2524057"/>
                  <a:pt x="732087" y="2518171"/>
                  <a:pt x="732603" y="2513370"/>
                </a:cubicBezTo>
                <a:cubicBezTo>
                  <a:pt x="732706" y="2511820"/>
                  <a:pt x="733532" y="2510426"/>
                  <a:pt x="735185" y="2509187"/>
                </a:cubicBezTo>
                <a:close/>
                <a:moveTo>
                  <a:pt x="966543" y="2508800"/>
                </a:moveTo>
                <a:cubicBezTo>
                  <a:pt x="971022" y="2507406"/>
                  <a:pt x="975358" y="2508103"/>
                  <a:pt x="976391" y="2512130"/>
                </a:cubicBezTo>
                <a:cubicBezTo>
                  <a:pt x="976701" y="2513370"/>
                  <a:pt x="976598" y="2514609"/>
                  <a:pt x="976288" y="2516467"/>
                </a:cubicBezTo>
                <a:lnTo>
                  <a:pt x="972054" y="2518326"/>
                </a:lnTo>
                <a:lnTo>
                  <a:pt x="973190" y="2518481"/>
                </a:lnTo>
                <a:cubicBezTo>
                  <a:pt x="979489" y="2527775"/>
                  <a:pt x="985684" y="2527155"/>
                  <a:pt x="991466" y="2531492"/>
                </a:cubicBezTo>
                <a:cubicBezTo>
                  <a:pt x="998281" y="2545123"/>
                  <a:pt x="1002721" y="2565105"/>
                  <a:pt x="991879" y="2577497"/>
                </a:cubicBezTo>
                <a:cubicBezTo>
                  <a:pt x="983000" y="2587565"/>
                  <a:pt x="971848" y="2584157"/>
                  <a:pt x="959044" y="2587874"/>
                </a:cubicBezTo>
                <a:cubicBezTo>
                  <a:pt x="952849" y="2578426"/>
                  <a:pt x="946550" y="2579975"/>
                  <a:pt x="940458" y="2578116"/>
                </a:cubicBezTo>
                <a:cubicBezTo>
                  <a:pt x="939426" y="2570371"/>
                  <a:pt x="932197" y="2562471"/>
                  <a:pt x="928480" y="2554417"/>
                </a:cubicBezTo>
                <a:cubicBezTo>
                  <a:pt x="930649" y="2549770"/>
                  <a:pt x="931888" y="2545123"/>
                  <a:pt x="933230" y="2540631"/>
                </a:cubicBezTo>
                <a:lnTo>
                  <a:pt x="935811" y="2533196"/>
                </a:lnTo>
                <a:lnTo>
                  <a:pt x="932507" y="2531492"/>
                </a:lnTo>
                <a:lnTo>
                  <a:pt x="937051" y="2529479"/>
                </a:lnTo>
                <a:lnTo>
                  <a:pt x="937980" y="2526846"/>
                </a:lnTo>
                <a:cubicBezTo>
                  <a:pt x="943762" y="2526536"/>
                  <a:pt x="949338" y="2523128"/>
                  <a:pt x="955120" y="2520340"/>
                </a:cubicBezTo>
                <a:lnTo>
                  <a:pt x="957908" y="2519410"/>
                </a:lnTo>
                <a:lnTo>
                  <a:pt x="955843" y="2518016"/>
                </a:lnTo>
                <a:cubicBezTo>
                  <a:pt x="957444" y="2513679"/>
                  <a:pt x="962064" y="2510194"/>
                  <a:pt x="966543" y="2508800"/>
                </a:cubicBezTo>
                <a:close/>
                <a:moveTo>
                  <a:pt x="6109567" y="2508627"/>
                </a:moveTo>
                <a:cubicBezTo>
                  <a:pt x="6108287" y="2508342"/>
                  <a:pt x="6107219" y="2508485"/>
                  <a:pt x="6106793" y="2509338"/>
                </a:cubicBezTo>
                <a:lnTo>
                  <a:pt x="6107601" y="2510631"/>
                </a:lnTo>
                <a:lnTo>
                  <a:pt x="6113930" y="2510289"/>
                </a:lnTo>
                <a:close/>
                <a:moveTo>
                  <a:pt x="1023063" y="2508258"/>
                </a:moveTo>
                <a:cubicBezTo>
                  <a:pt x="1023476" y="2509187"/>
                  <a:pt x="1023786" y="2509962"/>
                  <a:pt x="1023063" y="2510272"/>
                </a:cubicBezTo>
                <a:cubicBezTo>
                  <a:pt x="1022753" y="2510272"/>
                  <a:pt x="1022443" y="2510116"/>
                  <a:pt x="1022340" y="2509807"/>
                </a:cubicBezTo>
                <a:cubicBezTo>
                  <a:pt x="1022133" y="2509497"/>
                  <a:pt x="1022237" y="2509032"/>
                  <a:pt x="1022340" y="2508413"/>
                </a:cubicBezTo>
                <a:cubicBezTo>
                  <a:pt x="1022340" y="2508413"/>
                  <a:pt x="1023063" y="2508258"/>
                  <a:pt x="1023063" y="2508258"/>
                </a:cubicBezTo>
                <a:close/>
                <a:moveTo>
                  <a:pt x="1079854" y="2506245"/>
                </a:moveTo>
                <a:cubicBezTo>
                  <a:pt x="1080164" y="2506089"/>
                  <a:pt x="1080576" y="2506089"/>
                  <a:pt x="1080887" y="2506554"/>
                </a:cubicBezTo>
                <a:cubicBezTo>
                  <a:pt x="1080887" y="2506554"/>
                  <a:pt x="1080887" y="2506554"/>
                  <a:pt x="1080783" y="2507329"/>
                </a:cubicBezTo>
                <a:cubicBezTo>
                  <a:pt x="1080783" y="2507329"/>
                  <a:pt x="1080060" y="2507329"/>
                  <a:pt x="1079338" y="2506399"/>
                </a:cubicBezTo>
                <a:cubicBezTo>
                  <a:pt x="1079338" y="2506399"/>
                  <a:pt x="1079544" y="2506245"/>
                  <a:pt x="1079854" y="2506245"/>
                </a:cubicBezTo>
                <a:close/>
                <a:moveTo>
                  <a:pt x="641634" y="2506245"/>
                </a:moveTo>
                <a:cubicBezTo>
                  <a:pt x="642460" y="2505470"/>
                  <a:pt x="644216" y="2505625"/>
                  <a:pt x="646797" y="2506864"/>
                </a:cubicBezTo>
                <a:cubicBezTo>
                  <a:pt x="647624" y="2508568"/>
                  <a:pt x="645042" y="2510736"/>
                  <a:pt x="644113" y="2512285"/>
                </a:cubicBezTo>
                <a:cubicBezTo>
                  <a:pt x="643287" y="2511356"/>
                  <a:pt x="642357" y="2510426"/>
                  <a:pt x="642357" y="2511356"/>
                </a:cubicBezTo>
                <a:cubicBezTo>
                  <a:pt x="641531" y="2510426"/>
                  <a:pt x="641118" y="2509497"/>
                  <a:pt x="641015" y="2508723"/>
                </a:cubicBezTo>
                <a:cubicBezTo>
                  <a:pt x="640912" y="2507948"/>
                  <a:pt x="641118" y="2507019"/>
                  <a:pt x="641634" y="2506245"/>
                </a:cubicBezTo>
                <a:close/>
                <a:moveTo>
                  <a:pt x="895438" y="2505935"/>
                </a:moveTo>
                <a:cubicBezTo>
                  <a:pt x="903389" y="2506399"/>
                  <a:pt x="907829" y="2517087"/>
                  <a:pt x="907313" y="2522818"/>
                </a:cubicBezTo>
                <a:lnTo>
                  <a:pt x="903079" y="2525296"/>
                </a:lnTo>
                <a:lnTo>
                  <a:pt x="904938" y="2528859"/>
                </a:lnTo>
                <a:lnTo>
                  <a:pt x="905351" y="2531802"/>
                </a:lnTo>
                <a:lnTo>
                  <a:pt x="909378" y="2531647"/>
                </a:lnTo>
                <a:cubicBezTo>
                  <a:pt x="909688" y="2532886"/>
                  <a:pt x="909584" y="2534745"/>
                  <a:pt x="908861" y="2536759"/>
                </a:cubicBezTo>
                <a:lnTo>
                  <a:pt x="905557" y="2540631"/>
                </a:lnTo>
                <a:lnTo>
                  <a:pt x="912475" y="2541560"/>
                </a:lnTo>
                <a:cubicBezTo>
                  <a:pt x="915160" y="2542645"/>
                  <a:pt x="917432" y="2544194"/>
                  <a:pt x="919394" y="2546207"/>
                </a:cubicBezTo>
                <a:cubicBezTo>
                  <a:pt x="925589" y="2552558"/>
                  <a:pt x="926828" y="2563401"/>
                  <a:pt x="921562" y="2572695"/>
                </a:cubicBezTo>
                <a:cubicBezTo>
                  <a:pt x="920426" y="2572695"/>
                  <a:pt x="919187" y="2572540"/>
                  <a:pt x="918981" y="2573779"/>
                </a:cubicBezTo>
                <a:cubicBezTo>
                  <a:pt x="907003" y="2573779"/>
                  <a:pt x="898226" y="2562007"/>
                  <a:pt x="898949" y="2550854"/>
                </a:cubicBezTo>
                <a:cubicBezTo>
                  <a:pt x="899052" y="2548995"/>
                  <a:pt x="899465" y="2547137"/>
                  <a:pt x="900188" y="2545433"/>
                </a:cubicBezTo>
                <a:lnTo>
                  <a:pt x="902150" y="2542025"/>
                </a:lnTo>
                <a:lnTo>
                  <a:pt x="900291" y="2542955"/>
                </a:lnTo>
                <a:lnTo>
                  <a:pt x="900085" y="2543574"/>
                </a:lnTo>
                <a:lnTo>
                  <a:pt x="892857" y="2552094"/>
                </a:lnTo>
                <a:lnTo>
                  <a:pt x="895335" y="2556121"/>
                </a:lnTo>
                <a:cubicBezTo>
                  <a:pt x="897090" y="2560613"/>
                  <a:pt x="896987" y="2565879"/>
                  <a:pt x="893167" y="2568667"/>
                </a:cubicBezTo>
                <a:cubicBezTo>
                  <a:pt x="892031" y="2566035"/>
                  <a:pt x="891101" y="2563401"/>
                  <a:pt x="889759" y="2560613"/>
                </a:cubicBezTo>
                <a:lnTo>
                  <a:pt x="884390" y="2553023"/>
                </a:lnTo>
                <a:lnTo>
                  <a:pt x="882015" y="2552403"/>
                </a:lnTo>
                <a:cubicBezTo>
                  <a:pt x="879847" y="2551319"/>
                  <a:pt x="877678" y="2549615"/>
                  <a:pt x="875303" y="2546982"/>
                </a:cubicBezTo>
                <a:cubicBezTo>
                  <a:pt x="876129" y="2544194"/>
                  <a:pt x="876749" y="2540786"/>
                  <a:pt x="877678" y="2537378"/>
                </a:cubicBezTo>
                <a:lnTo>
                  <a:pt x="878401" y="2535365"/>
                </a:lnTo>
                <a:lnTo>
                  <a:pt x="875923" y="2537224"/>
                </a:lnTo>
                <a:cubicBezTo>
                  <a:pt x="871483" y="2539547"/>
                  <a:pt x="866320" y="2540786"/>
                  <a:pt x="861054" y="2540476"/>
                </a:cubicBezTo>
                <a:cubicBezTo>
                  <a:pt x="860847" y="2539237"/>
                  <a:pt x="860641" y="2538153"/>
                  <a:pt x="859402" y="2538463"/>
                </a:cubicBezTo>
                <a:cubicBezTo>
                  <a:pt x="858886" y="2536604"/>
                  <a:pt x="858679" y="2534745"/>
                  <a:pt x="858782" y="2532886"/>
                </a:cubicBezTo>
                <a:cubicBezTo>
                  <a:pt x="859608" y="2519720"/>
                  <a:pt x="874994" y="2506245"/>
                  <a:pt x="888004" y="2509807"/>
                </a:cubicBezTo>
                <a:cubicBezTo>
                  <a:pt x="889140" y="2512905"/>
                  <a:pt x="889449" y="2515848"/>
                  <a:pt x="889140" y="2518791"/>
                </a:cubicBezTo>
                <a:lnTo>
                  <a:pt x="889036" y="2518946"/>
                </a:lnTo>
                <a:lnTo>
                  <a:pt x="891101" y="2519256"/>
                </a:lnTo>
                <a:lnTo>
                  <a:pt x="892650" y="2518946"/>
                </a:lnTo>
                <a:lnTo>
                  <a:pt x="891618" y="2516932"/>
                </a:lnTo>
                <a:cubicBezTo>
                  <a:pt x="890688" y="2512905"/>
                  <a:pt x="891618" y="2508413"/>
                  <a:pt x="895438" y="2505935"/>
                </a:cubicBezTo>
                <a:close/>
                <a:moveTo>
                  <a:pt x="817170" y="2505625"/>
                </a:moveTo>
                <a:cubicBezTo>
                  <a:pt x="818512" y="2506245"/>
                  <a:pt x="819752" y="2507329"/>
                  <a:pt x="820681" y="2508413"/>
                </a:cubicBezTo>
                <a:cubicBezTo>
                  <a:pt x="819855" y="2507793"/>
                  <a:pt x="819855" y="2507793"/>
                  <a:pt x="819855" y="2507793"/>
                </a:cubicBezTo>
                <a:cubicBezTo>
                  <a:pt x="818616" y="2507948"/>
                  <a:pt x="819441" y="2508568"/>
                  <a:pt x="818925" y="2509187"/>
                </a:cubicBezTo>
                <a:cubicBezTo>
                  <a:pt x="818925" y="2509187"/>
                  <a:pt x="819441" y="2508568"/>
                  <a:pt x="819752" y="2509652"/>
                </a:cubicBezTo>
                <a:cubicBezTo>
                  <a:pt x="818925" y="2509187"/>
                  <a:pt x="818512" y="2509962"/>
                  <a:pt x="818099" y="2510581"/>
                </a:cubicBezTo>
                <a:cubicBezTo>
                  <a:pt x="815724" y="2511046"/>
                  <a:pt x="812523" y="2510891"/>
                  <a:pt x="811388" y="2509187"/>
                </a:cubicBezTo>
                <a:cubicBezTo>
                  <a:pt x="810768" y="2506864"/>
                  <a:pt x="812420" y="2505935"/>
                  <a:pt x="813556" y="2505780"/>
                </a:cubicBezTo>
                <a:cubicBezTo>
                  <a:pt x="814692" y="2505005"/>
                  <a:pt x="815931" y="2505160"/>
                  <a:pt x="817170" y="2505625"/>
                </a:cubicBezTo>
                <a:close/>
                <a:moveTo>
                  <a:pt x="1144596" y="2504695"/>
                </a:moveTo>
                <a:cubicBezTo>
                  <a:pt x="1145834" y="2505005"/>
                  <a:pt x="1148726" y="2506399"/>
                  <a:pt x="1148519" y="2509342"/>
                </a:cubicBezTo>
                <a:cubicBezTo>
                  <a:pt x="1148313" y="2512285"/>
                  <a:pt x="1150378" y="2514144"/>
                  <a:pt x="1150274" y="2517087"/>
                </a:cubicBezTo>
                <a:cubicBezTo>
                  <a:pt x="1150274" y="2517087"/>
                  <a:pt x="1150274" y="2517087"/>
                  <a:pt x="1149035" y="2516778"/>
                </a:cubicBezTo>
                <a:cubicBezTo>
                  <a:pt x="1148313" y="2512285"/>
                  <a:pt x="1144596" y="2509497"/>
                  <a:pt x="1144596" y="2504695"/>
                </a:cubicBezTo>
                <a:close/>
                <a:moveTo>
                  <a:pt x="1043482" y="2504095"/>
                </a:moveTo>
                <a:cubicBezTo>
                  <a:pt x="1046011" y="2502721"/>
                  <a:pt x="1049135" y="2502759"/>
                  <a:pt x="1051252" y="2505780"/>
                </a:cubicBezTo>
                <a:cubicBezTo>
                  <a:pt x="1051149" y="2509187"/>
                  <a:pt x="1045676" y="2514454"/>
                  <a:pt x="1042991" y="2515383"/>
                </a:cubicBezTo>
                <a:cubicBezTo>
                  <a:pt x="1040513" y="2514299"/>
                  <a:pt x="1039377" y="2512595"/>
                  <a:pt x="1039274" y="2510891"/>
                </a:cubicBezTo>
                <a:cubicBezTo>
                  <a:pt x="1039016" y="2508258"/>
                  <a:pt x="1040952" y="2505470"/>
                  <a:pt x="1043482" y="2504095"/>
                </a:cubicBezTo>
                <a:close/>
                <a:moveTo>
                  <a:pt x="1359265" y="2504076"/>
                </a:moveTo>
                <a:cubicBezTo>
                  <a:pt x="1362672" y="2503301"/>
                  <a:pt x="1364841" y="2505625"/>
                  <a:pt x="1365667" y="2508568"/>
                </a:cubicBezTo>
                <a:cubicBezTo>
                  <a:pt x="1366493" y="2511511"/>
                  <a:pt x="1365977" y="2515228"/>
                  <a:pt x="1363808" y="2517242"/>
                </a:cubicBezTo>
                <a:cubicBezTo>
                  <a:pt x="1359678" y="2514764"/>
                  <a:pt x="1357097" y="2512130"/>
                  <a:pt x="1357613" y="2508413"/>
                </a:cubicBezTo>
                <a:cubicBezTo>
                  <a:pt x="1357820" y="2507019"/>
                  <a:pt x="1358336" y="2505625"/>
                  <a:pt x="1359265" y="2504076"/>
                </a:cubicBezTo>
                <a:close/>
                <a:moveTo>
                  <a:pt x="1260656" y="2504076"/>
                </a:moveTo>
                <a:cubicBezTo>
                  <a:pt x="1260656" y="2504076"/>
                  <a:pt x="1260759" y="2504850"/>
                  <a:pt x="1260759" y="2504850"/>
                </a:cubicBezTo>
                <a:cubicBezTo>
                  <a:pt x="1259726" y="2505005"/>
                  <a:pt x="1258797" y="2505160"/>
                  <a:pt x="1258797" y="2504385"/>
                </a:cubicBezTo>
                <a:cubicBezTo>
                  <a:pt x="1258694" y="2503611"/>
                  <a:pt x="1259623" y="2503456"/>
                  <a:pt x="1260656" y="2504076"/>
                </a:cubicBezTo>
                <a:close/>
                <a:moveTo>
                  <a:pt x="1255286" y="2504076"/>
                </a:moveTo>
                <a:cubicBezTo>
                  <a:pt x="1256215" y="2504695"/>
                  <a:pt x="1256215" y="2503921"/>
                  <a:pt x="1256319" y="2505470"/>
                </a:cubicBezTo>
                <a:cubicBezTo>
                  <a:pt x="1255286" y="2504850"/>
                  <a:pt x="1255286" y="2504850"/>
                  <a:pt x="1254357" y="2505005"/>
                </a:cubicBezTo>
                <a:cubicBezTo>
                  <a:pt x="1254357" y="2505005"/>
                  <a:pt x="1255286" y="2504076"/>
                  <a:pt x="1255286" y="2504076"/>
                </a:cubicBezTo>
                <a:close/>
                <a:moveTo>
                  <a:pt x="949544" y="2503921"/>
                </a:moveTo>
                <a:cubicBezTo>
                  <a:pt x="953675" y="2507019"/>
                  <a:pt x="948925" y="2511201"/>
                  <a:pt x="946343" y="2510736"/>
                </a:cubicBezTo>
                <a:cubicBezTo>
                  <a:pt x="944382" y="2509497"/>
                  <a:pt x="943969" y="2508258"/>
                  <a:pt x="944382" y="2507019"/>
                </a:cubicBezTo>
                <a:cubicBezTo>
                  <a:pt x="944795" y="2505935"/>
                  <a:pt x="945930" y="2505005"/>
                  <a:pt x="947170" y="2504385"/>
                </a:cubicBezTo>
                <a:cubicBezTo>
                  <a:pt x="947996" y="2504076"/>
                  <a:pt x="948925" y="2503766"/>
                  <a:pt x="949544" y="2503921"/>
                </a:cubicBezTo>
                <a:close/>
                <a:moveTo>
                  <a:pt x="608902" y="2503766"/>
                </a:moveTo>
                <a:cubicBezTo>
                  <a:pt x="613446" y="2505780"/>
                  <a:pt x="614994" y="2508877"/>
                  <a:pt x="615407" y="2513370"/>
                </a:cubicBezTo>
                <a:cubicBezTo>
                  <a:pt x="613962" y="2513989"/>
                  <a:pt x="610451" y="2512595"/>
                  <a:pt x="608180" y="2511511"/>
                </a:cubicBezTo>
                <a:cubicBezTo>
                  <a:pt x="607560" y="2510426"/>
                  <a:pt x="607353" y="2509032"/>
                  <a:pt x="607560" y="2507793"/>
                </a:cubicBezTo>
                <a:cubicBezTo>
                  <a:pt x="607663" y="2506399"/>
                  <a:pt x="608180" y="2505005"/>
                  <a:pt x="608902" y="2503766"/>
                </a:cubicBezTo>
                <a:close/>
                <a:moveTo>
                  <a:pt x="1264889" y="2503611"/>
                </a:moveTo>
                <a:cubicBezTo>
                  <a:pt x="1265818" y="2504385"/>
                  <a:pt x="1265818" y="2504231"/>
                  <a:pt x="1265922" y="2505935"/>
                </a:cubicBezTo>
                <a:cubicBezTo>
                  <a:pt x="1263133" y="2505470"/>
                  <a:pt x="1263133" y="2505470"/>
                  <a:pt x="1261275" y="2504076"/>
                </a:cubicBezTo>
                <a:cubicBezTo>
                  <a:pt x="1262204" y="2503921"/>
                  <a:pt x="1263960" y="2502992"/>
                  <a:pt x="1264889" y="2503611"/>
                </a:cubicBezTo>
                <a:close/>
                <a:moveTo>
                  <a:pt x="1345842" y="2503146"/>
                </a:moveTo>
                <a:cubicBezTo>
                  <a:pt x="1351211" y="2506399"/>
                  <a:pt x="1340989" y="2512750"/>
                  <a:pt x="1340369" y="2507483"/>
                </a:cubicBezTo>
                <a:cubicBezTo>
                  <a:pt x="1341608" y="2505935"/>
                  <a:pt x="1343777" y="2504541"/>
                  <a:pt x="1345842" y="2503146"/>
                </a:cubicBezTo>
                <a:close/>
                <a:moveTo>
                  <a:pt x="1022960" y="2502992"/>
                </a:moveTo>
                <a:cubicBezTo>
                  <a:pt x="1023063" y="2504385"/>
                  <a:pt x="1023166" y="2505160"/>
                  <a:pt x="1023063" y="2505625"/>
                </a:cubicBezTo>
                <a:lnTo>
                  <a:pt x="1022857" y="2506089"/>
                </a:lnTo>
                <a:lnTo>
                  <a:pt x="1023269" y="2505935"/>
                </a:lnTo>
                <a:lnTo>
                  <a:pt x="1022443" y="2507173"/>
                </a:lnTo>
                <a:lnTo>
                  <a:pt x="1022237" y="2507948"/>
                </a:lnTo>
                <a:lnTo>
                  <a:pt x="1022030" y="2507638"/>
                </a:lnTo>
                <a:lnTo>
                  <a:pt x="1020172" y="2509187"/>
                </a:lnTo>
                <a:cubicBezTo>
                  <a:pt x="1020172" y="2509187"/>
                  <a:pt x="1020069" y="2509962"/>
                  <a:pt x="1019965" y="2510736"/>
                </a:cubicBezTo>
                <a:cubicBezTo>
                  <a:pt x="1017797" y="2513215"/>
                  <a:pt x="1016764" y="2514764"/>
                  <a:pt x="1013460" y="2513679"/>
                </a:cubicBezTo>
                <a:cubicBezTo>
                  <a:pt x="1013667" y="2512905"/>
                  <a:pt x="1015628" y="2511356"/>
                  <a:pt x="1016558" y="2510581"/>
                </a:cubicBezTo>
                <a:cubicBezTo>
                  <a:pt x="1016661" y="2509652"/>
                  <a:pt x="1017694" y="2508877"/>
                  <a:pt x="1018520" y="2509032"/>
                </a:cubicBezTo>
                <a:cubicBezTo>
                  <a:pt x="1018520" y="2509032"/>
                  <a:pt x="1019552" y="2508258"/>
                  <a:pt x="1019655" y="2507329"/>
                </a:cubicBezTo>
                <a:lnTo>
                  <a:pt x="1021307" y="2506399"/>
                </a:lnTo>
                <a:lnTo>
                  <a:pt x="1021204" y="2506399"/>
                </a:lnTo>
                <a:cubicBezTo>
                  <a:pt x="1020894" y="2505780"/>
                  <a:pt x="1020585" y="2505160"/>
                  <a:pt x="1020791" y="2504541"/>
                </a:cubicBezTo>
                <a:cubicBezTo>
                  <a:pt x="1021101" y="2504076"/>
                  <a:pt x="1021204" y="2503766"/>
                  <a:pt x="1021514" y="2503611"/>
                </a:cubicBezTo>
                <a:cubicBezTo>
                  <a:pt x="1021721" y="2503456"/>
                  <a:pt x="1022133" y="2503301"/>
                  <a:pt x="1022960" y="2502992"/>
                </a:cubicBezTo>
                <a:close/>
                <a:moveTo>
                  <a:pt x="1134993" y="2502217"/>
                </a:moveTo>
                <a:lnTo>
                  <a:pt x="1135922" y="2502527"/>
                </a:lnTo>
                <a:lnTo>
                  <a:pt x="1135715" y="2502372"/>
                </a:lnTo>
                <a:close/>
                <a:moveTo>
                  <a:pt x="1175108" y="2500959"/>
                </a:moveTo>
                <a:cubicBezTo>
                  <a:pt x="1178360" y="2501210"/>
                  <a:pt x="1180993" y="2501597"/>
                  <a:pt x="1181974" y="2501752"/>
                </a:cubicBezTo>
                <a:cubicBezTo>
                  <a:pt x="1183007" y="2502062"/>
                  <a:pt x="1183523" y="2502372"/>
                  <a:pt x="1183833" y="2502837"/>
                </a:cubicBezTo>
                <a:cubicBezTo>
                  <a:pt x="1184142" y="2503301"/>
                  <a:pt x="1184142" y="2503921"/>
                  <a:pt x="1184039" y="2504850"/>
                </a:cubicBezTo>
                <a:cubicBezTo>
                  <a:pt x="1181561" y="2508103"/>
                  <a:pt x="1177431" y="2506554"/>
                  <a:pt x="1172991" y="2506864"/>
                </a:cubicBezTo>
                <a:cubicBezTo>
                  <a:pt x="1172681" y="2506089"/>
                  <a:pt x="1171545" y="2505470"/>
                  <a:pt x="1170719" y="2505625"/>
                </a:cubicBezTo>
                <a:cubicBezTo>
                  <a:pt x="1169584" y="2505005"/>
                  <a:pt x="1168448" y="2504541"/>
                  <a:pt x="1168757" y="2505315"/>
                </a:cubicBezTo>
                <a:cubicBezTo>
                  <a:pt x="1165453" y="2503456"/>
                  <a:pt x="1164627" y="2503766"/>
                  <a:pt x="1164524" y="2500978"/>
                </a:cubicBezTo>
                <a:cubicBezTo>
                  <a:pt x="1167983" y="2500591"/>
                  <a:pt x="1171855" y="2500707"/>
                  <a:pt x="1175108" y="2500959"/>
                </a:cubicBezTo>
                <a:close/>
                <a:moveTo>
                  <a:pt x="590523" y="2500513"/>
                </a:moveTo>
                <a:cubicBezTo>
                  <a:pt x="591452" y="2499739"/>
                  <a:pt x="592278" y="2500668"/>
                  <a:pt x="593104" y="2500823"/>
                </a:cubicBezTo>
                <a:cubicBezTo>
                  <a:pt x="594859" y="2501752"/>
                  <a:pt x="597337" y="2507793"/>
                  <a:pt x="596408" y="2508413"/>
                </a:cubicBezTo>
                <a:cubicBezTo>
                  <a:pt x="594550" y="2507019"/>
                  <a:pt x="591142" y="2504541"/>
                  <a:pt x="590316" y="2502527"/>
                </a:cubicBezTo>
                <a:cubicBezTo>
                  <a:pt x="590110" y="2501752"/>
                  <a:pt x="590110" y="2501133"/>
                  <a:pt x="590523" y="2500513"/>
                </a:cubicBezTo>
                <a:close/>
                <a:moveTo>
                  <a:pt x="5107348" y="2500375"/>
                </a:moveTo>
                <a:cubicBezTo>
                  <a:pt x="5130398" y="2511899"/>
                  <a:pt x="5143416" y="2536227"/>
                  <a:pt x="5132105" y="2553015"/>
                </a:cubicBezTo>
                <a:cubicBezTo>
                  <a:pt x="5119513" y="2567384"/>
                  <a:pt x="5102653" y="2561978"/>
                  <a:pt x="5093049" y="2549885"/>
                </a:cubicBezTo>
                <a:lnTo>
                  <a:pt x="5091982" y="2547466"/>
                </a:lnTo>
                <a:lnTo>
                  <a:pt x="5091342" y="2549600"/>
                </a:lnTo>
                <a:cubicBezTo>
                  <a:pt x="5090488" y="2552446"/>
                  <a:pt x="5089634" y="2555149"/>
                  <a:pt x="5088140" y="2557994"/>
                </a:cubicBezTo>
                <a:lnTo>
                  <a:pt x="5084939" y="2563116"/>
                </a:lnTo>
                <a:lnTo>
                  <a:pt x="5090274" y="2565250"/>
                </a:lnTo>
                <a:cubicBezTo>
                  <a:pt x="5093262" y="2567526"/>
                  <a:pt x="5095397" y="2570372"/>
                  <a:pt x="5095397" y="2573074"/>
                </a:cubicBezTo>
                <a:cubicBezTo>
                  <a:pt x="5093049" y="2578623"/>
                  <a:pt x="5090274" y="2582322"/>
                  <a:pt x="5087286" y="2584883"/>
                </a:cubicBezTo>
                <a:lnTo>
                  <a:pt x="5078963" y="2588297"/>
                </a:lnTo>
                <a:lnTo>
                  <a:pt x="5075335" y="2595126"/>
                </a:lnTo>
                <a:cubicBezTo>
                  <a:pt x="5073414" y="2593419"/>
                  <a:pt x="5067865" y="2598683"/>
                  <a:pt x="5066158" y="2600533"/>
                </a:cubicBezTo>
                <a:cubicBezTo>
                  <a:pt x="5063384" y="2597829"/>
                  <a:pt x="5058475" y="2600248"/>
                  <a:pt x="5053993" y="2599253"/>
                </a:cubicBezTo>
                <a:lnTo>
                  <a:pt x="5051432" y="2597971"/>
                </a:lnTo>
                <a:lnTo>
                  <a:pt x="5050792" y="2598398"/>
                </a:lnTo>
                <a:cubicBezTo>
                  <a:pt x="5047377" y="2599821"/>
                  <a:pt x="5043749" y="2600675"/>
                  <a:pt x="5039907" y="2600533"/>
                </a:cubicBezTo>
                <a:cubicBezTo>
                  <a:pt x="5037987" y="2591997"/>
                  <a:pt x="5041401" y="2582322"/>
                  <a:pt x="5043535" y="2574782"/>
                </a:cubicBezTo>
                <a:cubicBezTo>
                  <a:pt x="5046096" y="2577912"/>
                  <a:pt x="5046737" y="2581184"/>
                  <a:pt x="5048658" y="2584456"/>
                </a:cubicBezTo>
                <a:lnTo>
                  <a:pt x="5051646" y="2587728"/>
                </a:lnTo>
                <a:lnTo>
                  <a:pt x="5061463" y="2581611"/>
                </a:lnTo>
                <a:lnTo>
                  <a:pt x="5068292" y="2579761"/>
                </a:lnTo>
                <a:lnTo>
                  <a:pt x="5067225" y="2577343"/>
                </a:lnTo>
                <a:cubicBezTo>
                  <a:pt x="5066798" y="2572790"/>
                  <a:pt x="5068079" y="2567384"/>
                  <a:pt x="5072347" y="2561551"/>
                </a:cubicBezTo>
                <a:cubicBezTo>
                  <a:pt x="5074481" y="2560697"/>
                  <a:pt x="5077043" y="2560555"/>
                  <a:pt x="5079603" y="2560839"/>
                </a:cubicBezTo>
                <a:lnTo>
                  <a:pt x="5081311" y="2561551"/>
                </a:lnTo>
                <a:lnTo>
                  <a:pt x="5080030" y="2556714"/>
                </a:lnTo>
                <a:cubicBezTo>
                  <a:pt x="5080030" y="2552872"/>
                  <a:pt x="5080884" y="2548605"/>
                  <a:pt x="5082378" y="2544763"/>
                </a:cubicBezTo>
                <a:lnTo>
                  <a:pt x="5085793" y="2539499"/>
                </a:lnTo>
                <a:lnTo>
                  <a:pt x="5083872" y="2539214"/>
                </a:lnTo>
                <a:cubicBezTo>
                  <a:pt x="5074268" y="2527691"/>
                  <a:pt x="5070000" y="2516736"/>
                  <a:pt x="5080671" y="2505782"/>
                </a:cubicBezTo>
                <a:cubicBezTo>
                  <a:pt x="5082378" y="2507631"/>
                  <a:pt x="5084299" y="2506208"/>
                  <a:pt x="5086433" y="2504643"/>
                </a:cubicBezTo>
                <a:lnTo>
                  <a:pt x="5094116" y="2510334"/>
                </a:lnTo>
                <a:lnTo>
                  <a:pt x="5096037" y="2508200"/>
                </a:lnTo>
                <a:cubicBezTo>
                  <a:pt x="5099025" y="2505355"/>
                  <a:pt x="5102653" y="2502652"/>
                  <a:pt x="5107348" y="2500375"/>
                </a:cubicBezTo>
                <a:close/>
                <a:moveTo>
                  <a:pt x="808393" y="2500358"/>
                </a:moveTo>
                <a:cubicBezTo>
                  <a:pt x="810975" y="2502062"/>
                  <a:pt x="811697" y="2504541"/>
                  <a:pt x="809839" y="2507173"/>
                </a:cubicBezTo>
                <a:cubicBezTo>
                  <a:pt x="808084" y="2508103"/>
                  <a:pt x="806328" y="2507329"/>
                  <a:pt x="804676" y="2506554"/>
                </a:cubicBezTo>
                <a:cubicBezTo>
                  <a:pt x="803437" y="2505780"/>
                  <a:pt x="803024" y="2504850"/>
                  <a:pt x="803231" y="2504076"/>
                </a:cubicBezTo>
                <a:cubicBezTo>
                  <a:pt x="803334" y="2503146"/>
                  <a:pt x="804056" y="2502372"/>
                  <a:pt x="804986" y="2501442"/>
                </a:cubicBezTo>
                <a:cubicBezTo>
                  <a:pt x="806741" y="2499584"/>
                  <a:pt x="808393" y="2500358"/>
                  <a:pt x="808393" y="2500358"/>
                </a:cubicBezTo>
                <a:close/>
                <a:moveTo>
                  <a:pt x="561818" y="2499893"/>
                </a:moveTo>
                <a:cubicBezTo>
                  <a:pt x="562643" y="2498345"/>
                  <a:pt x="564399" y="2499429"/>
                  <a:pt x="566154" y="2501288"/>
                </a:cubicBezTo>
                <a:cubicBezTo>
                  <a:pt x="570491" y="2504231"/>
                  <a:pt x="571317" y="2506709"/>
                  <a:pt x="568632" y="2509032"/>
                </a:cubicBezTo>
                <a:cubicBezTo>
                  <a:pt x="567806" y="2508877"/>
                  <a:pt x="565122" y="2507793"/>
                  <a:pt x="565122" y="2508568"/>
                </a:cubicBezTo>
                <a:cubicBezTo>
                  <a:pt x="563160" y="2506554"/>
                  <a:pt x="561301" y="2504076"/>
                  <a:pt x="561198" y="2501907"/>
                </a:cubicBezTo>
                <a:cubicBezTo>
                  <a:pt x="561198" y="2501133"/>
                  <a:pt x="561301" y="2500513"/>
                  <a:pt x="561818" y="2499893"/>
                </a:cubicBezTo>
                <a:close/>
                <a:moveTo>
                  <a:pt x="722897" y="2499584"/>
                </a:moveTo>
                <a:cubicBezTo>
                  <a:pt x="723826" y="2500358"/>
                  <a:pt x="724756" y="2501133"/>
                  <a:pt x="723929" y="2501133"/>
                </a:cubicBezTo>
                <a:cubicBezTo>
                  <a:pt x="723929" y="2502062"/>
                  <a:pt x="723103" y="2502062"/>
                  <a:pt x="722278" y="2502992"/>
                </a:cubicBezTo>
                <a:cubicBezTo>
                  <a:pt x="720625" y="2504076"/>
                  <a:pt x="718044" y="2504541"/>
                  <a:pt x="717115" y="2503766"/>
                </a:cubicBezTo>
                <a:cubicBezTo>
                  <a:pt x="716289" y="2502992"/>
                  <a:pt x="716185" y="2502217"/>
                  <a:pt x="716185" y="2502217"/>
                </a:cubicBezTo>
                <a:cubicBezTo>
                  <a:pt x="717837" y="2499429"/>
                  <a:pt x="720212" y="2497570"/>
                  <a:pt x="722897" y="2499584"/>
                </a:cubicBezTo>
                <a:close/>
                <a:moveTo>
                  <a:pt x="1027503" y="2499274"/>
                </a:moveTo>
                <a:cubicBezTo>
                  <a:pt x="1031840" y="2499893"/>
                  <a:pt x="1033079" y="2500358"/>
                  <a:pt x="1033905" y="2504850"/>
                </a:cubicBezTo>
                <a:cubicBezTo>
                  <a:pt x="1033905" y="2504850"/>
                  <a:pt x="1033595" y="2505935"/>
                  <a:pt x="1033595" y="2505935"/>
                </a:cubicBezTo>
                <a:cubicBezTo>
                  <a:pt x="1033285" y="2509962"/>
                  <a:pt x="1029774" y="2513834"/>
                  <a:pt x="1027813" y="2513834"/>
                </a:cubicBezTo>
                <a:cubicBezTo>
                  <a:pt x="1025954" y="2513215"/>
                  <a:pt x="1024096" y="2511666"/>
                  <a:pt x="1023579" y="2509497"/>
                </a:cubicBezTo>
                <a:cubicBezTo>
                  <a:pt x="1023476" y="2508723"/>
                  <a:pt x="1023372" y="2507948"/>
                  <a:pt x="1023579" y="2507173"/>
                </a:cubicBezTo>
                <a:cubicBezTo>
                  <a:pt x="1023683" y="2504076"/>
                  <a:pt x="1026677" y="2502681"/>
                  <a:pt x="1027503" y="2499274"/>
                </a:cubicBezTo>
                <a:close/>
                <a:moveTo>
                  <a:pt x="6334725" y="2498668"/>
                </a:moveTo>
                <a:cubicBezTo>
                  <a:pt x="6336219" y="2498384"/>
                  <a:pt x="6337500" y="2498384"/>
                  <a:pt x="6338780" y="2499095"/>
                </a:cubicBezTo>
                <a:cubicBezTo>
                  <a:pt x="6338993" y="2499806"/>
                  <a:pt x="6339420" y="2500802"/>
                  <a:pt x="6339847" y="2501798"/>
                </a:cubicBezTo>
                <a:cubicBezTo>
                  <a:pt x="6340274" y="2502936"/>
                  <a:pt x="6340701" y="2504074"/>
                  <a:pt x="6340701" y="2505497"/>
                </a:cubicBezTo>
                <a:cubicBezTo>
                  <a:pt x="6336860" y="2510334"/>
                  <a:pt x="6332591" y="2510903"/>
                  <a:pt x="6328536" y="2508911"/>
                </a:cubicBezTo>
                <a:cubicBezTo>
                  <a:pt x="6327042" y="2504074"/>
                  <a:pt x="6330670" y="2499522"/>
                  <a:pt x="6334725" y="2498668"/>
                </a:cubicBezTo>
                <a:close/>
                <a:moveTo>
                  <a:pt x="925383" y="2498035"/>
                </a:moveTo>
                <a:cubicBezTo>
                  <a:pt x="927964" y="2501907"/>
                  <a:pt x="927138" y="2505160"/>
                  <a:pt x="924556" y="2509187"/>
                </a:cubicBezTo>
                <a:cubicBezTo>
                  <a:pt x="922904" y="2508877"/>
                  <a:pt x="921046" y="2506089"/>
                  <a:pt x="919806" y="2504231"/>
                </a:cubicBezTo>
                <a:cubicBezTo>
                  <a:pt x="920426" y="2501752"/>
                  <a:pt x="922595" y="2499429"/>
                  <a:pt x="925383" y="2498035"/>
                </a:cubicBezTo>
                <a:close/>
                <a:moveTo>
                  <a:pt x="5184393" y="2497103"/>
                </a:moveTo>
                <a:cubicBezTo>
                  <a:pt x="5187167" y="2500091"/>
                  <a:pt x="5192929" y="2503363"/>
                  <a:pt x="5195277" y="2509053"/>
                </a:cubicBezTo>
                <a:cubicBezTo>
                  <a:pt x="5190581" y="2521858"/>
                  <a:pt x="5180551" y="2526268"/>
                  <a:pt x="5168173" y="2524988"/>
                </a:cubicBezTo>
                <a:cubicBezTo>
                  <a:pt x="5157288" y="2513037"/>
                  <a:pt x="5169026" y="2495538"/>
                  <a:pt x="5184393" y="2497103"/>
                </a:cubicBezTo>
                <a:close/>
                <a:moveTo>
                  <a:pt x="1461282" y="2496950"/>
                </a:moveTo>
                <a:lnTo>
                  <a:pt x="1457978" y="2500203"/>
                </a:lnTo>
                <a:lnTo>
                  <a:pt x="1458701" y="2500978"/>
                </a:lnTo>
                <a:lnTo>
                  <a:pt x="1459527" y="2501752"/>
                </a:lnTo>
                <a:close/>
                <a:moveTo>
                  <a:pt x="1395095" y="2496021"/>
                </a:moveTo>
                <a:cubicBezTo>
                  <a:pt x="1396024" y="2496021"/>
                  <a:pt x="1396644" y="2496641"/>
                  <a:pt x="1396954" y="2497570"/>
                </a:cubicBezTo>
                <a:cubicBezTo>
                  <a:pt x="1397780" y="2500358"/>
                  <a:pt x="1396024" y="2505625"/>
                  <a:pt x="1392307" y="2505470"/>
                </a:cubicBezTo>
                <a:cubicBezTo>
                  <a:pt x="1390862" y="2505005"/>
                  <a:pt x="1389932" y="2502527"/>
                  <a:pt x="1390139" y="2500049"/>
                </a:cubicBezTo>
                <a:cubicBezTo>
                  <a:pt x="1390345" y="2497725"/>
                  <a:pt x="1391791" y="2495556"/>
                  <a:pt x="1395095" y="2496021"/>
                </a:cubicBezTo>
                <a:close/>
                <a:moveTo>
                  <a:pt x="6406861" y="2495396"/>
                </a:moveTo>
                <a:cubicBezTo>
                  <a:pt x="6408782" y="2495680"/>
                  <a:pt x="6410916" y="2496249"/>
                  <a:pt x="6413264" y="2497530"/>
                </a:cubicBezTo>
                <a:cubicBezTo>
                  <a:pt x="6404086" y="2509765"/>
                  <a:pt x="6402379" y="2520293"/>
                  <a:pt x="6396830" y="2532528"/>
                </a:cubicBezTo>
                <a:cubicBezTo>
                  <a:pt x="6393202" y="2532528"/>
                  <a:pt x="6389574" y="2530821"/>
                  <a:pt x="6384025" y="2525557"/>
                </a:cubicBezTo>
                <a:cubicBezTo>
                  <a:pt x="6398751" y="2515029"/>
                  <a:pt x="6378476" y="2508058"/>
                  <a:pt x="6389574" y="2499379"/>
                </a:cubicBezTo>
                <a:cubicBezTo>
                  <a:pt x="6394910" y="2498099"/>
                  <a:pt x="6400458" y="2494827"/>
                  <a:pt x="6406861" y="2495396"/>
                </a:cubicBezTo>
                <a:close/>
                <a:moveTo>
                  <a:pt x="1065295" y="2494627"/>
                </a:moveTo>
                <a:cubicBezTo>
                  <a:pt x="1067257" y="2493078"/>
                  <a:pt x="1070458" y="2492923"/>
                  <a:pt x="1074175" y="2495712"/>
                </a:cubicBezTo>
                <a:cubicBezTo>
                  <a:pt x="1076859" y="2502992"/>
                  <a:pt x="1069528" y="2508723"/>
                  <a:pt x="1063642" y="2502527"/>
                </a:cubicBezTo>
                <a:cubicBezTo>
                  <a:pt x="1063126" y="2500823"/>
                  <a:pt x="1063023" y="2499274"/>
                  <a:pt x="1063333" y="2497880"/>
                </a:cubicBezTo>
                <a:cubicBezTo>
                  <a:pt x="1063539" y="2496641"/>
                  <a:pt x="1064262" y="2495402"/>
                  <a:pt x="1065295" y="2494627"/>
                </a:cubicBezTo>
                <a:close/>
                <a:moveTo>
                  <a:pt x="1353173" y="2493698"/>
                </a:moveTo>
                <a:cubicBezTo>
                  <a:pt x="1354825" y="2494627"/>
                  <a:pt x="1358232" y="2496176"/>
                  <a:pt x="1359368" y="2497570"/>
                </a:cubicBezTo>
                <a:cubicBezTo>
                  <a:pt x="1359781" y="2498190"/>
                  <a:pt x="1359885" y="2498654"/>
                  <a:pt x="1359678" y="2499119"/>
                </a:cubicBezTo>
                <a:cubicBezTo>
                  <a:pt x="1357406" y="2498035"/>
                  <a:pt x="1353586" y="2497260"/>
                  <a:pt x="1353173" y="2493698"/>
                </a:cubicBezTo>
                <a:close/>
                <a:moveTo>
                  <a:pt x="969112" y="2493078"/>
                </a:moveTo>
                <a:cubicBezTo>
                  <a:pt x="970015" y="2492536"/>
                  <a:pt x="970867" y="2492226"/>
                  <a:pt x="972158" y="2493543"/>
                </a:cubicBezTo>
                <a:cubicBezTo>
                  <a:pt x="972571" y="2495247"/>
                  <a:pt x="972158" y="2497105"/>
                  <a:pt x="970093" y="2499584"/>
                </a:cubicBezTo>
                <a:cubicBezTo>
                  <a:pt x="965343" y="2499429"/>
                  <a:pt x="965549" y="2496641"/>
                  <a:pt x="965756" y="2494008"/>
                </a:cubicBezTo>
                <a:cubicBezTo>
                  <a:pt x="967253" y="2494395"/>
                  <a:pt x="968208" y="2493620"/>
                  <a:pt x="969112" y="2493078"/>
                </a:cubicBezTo>
                <a:close/>
                <a:moveTo>
                  <a:pt x="680665" y="2493078"/>
                </a:moveTo>
                <a:cubicBezTo>
                  <a:pt x="681388" y="2493233"/>
                  <a:pt x="682214" y="2493698"/>
                  <a:pt x="683556" y="2494627"/>
                </a:cubicBezTo>
                <a:cubicBezTo>
                  <a:pt x="685209" y="2496486"/>
                  <a:pt x="687067" y="2497570"/>
                  <a:pt x="686964" y="2498345"/>
                </a:cubicBezTo>
                <a:cubicBezTo>
                  <a:pt x="687893" y="2498499"/>
                  <a:pt x="688823" y="2499274"/>
                  <a:pt x="689649" y="2499429"/>
                </a:cubicBezTo>
                <a:cubicBezTo>
                  <a:pt x="689649" y="2499429"/>
                  <a:pt x="689649" y="2499429"/>
                  <a:pt x="689649" y="2500203"/>
                </a:cubicBezTo>
                <a:cubicBezTo>
                  <a:pt x="686138" y="2499119"/>
                  <a:pt x="681698" y="2499429"/>
                  <a:pt x="679117" y="2497570"/>
                </a:cubicBezTo>
                <a:cubicBezTo>
                  <a:pt x="678600" y="2497105"/>
                  <a:pt x="678187" y="2496641"/>
                  <a:pt x="678084" y="2496021"/>
                </a:cubicBezTo>
                <a:cubicBezTo>
                  <a:pt x="677981" y="2495556"/>
                  <a:pt x="678290" y="2494937"/>
                  <a:pt x="679117" y="2494162"/>
                </a:cubicBezTo>
                <a:cubicBezTo>
                  <a:pt x="679632" y="2493388"/>
                  <a:pt x="680046" y="2493078"/>
                  <a:pt x="680665" y="2493078"/>
                </a:cubicBezTo>
                <a:close/>
                <a:moveTo>
                  <a:pt x="1258487" y="2492613"/>
                </a:moveTo>
                <a:cubicBezTo>
                  <a:pt x="1263133" y="2490135"/>
                  <a:pt x="1271807" y="2495247"/>
                  <a:pt x="1267987" y="2501752"/>
                </a:cubicBezTo>
                <a:cubicBezTo>
                  <a:pt x="1264889" y="2502837"/>
                  <a:pt x="1257868" y="2500049"/>
                  <a:pt x="1255905" y="2498035"/>
                </a:cubicBezTo>
                <a:cubicBezTo>
                  <a:pt x="1255905" y="2495247"/>
                  <a:pt x="1257041" y="2493543"/>
                  <a:pt x="1258487" y="2492613"/>
                </a:cubicBezTo>
                <a:close/>
                <a:moveTo>
                  <a:pt x="836375" y="2491684"/>
                </a:moveTo>
                <a:cubicBezTo>
                  <a:pt x="837201" y="2491374"/>
                  <a:pt x="838131" y="2491374"/>
                  <a:pt x="839061" y="2491839"/>
                </a:cubicBezTo>
                <a:cubicBezTo>
                  <a:pt x="839990" y="2492304"/>
                  <a:pt x="840816" y="2493078"/>
                  <a:pt x="841332" y="2494008"/>
                </a:cubicBezTo>
                <a:cubicBezTo>
                  <a:pt x="841642" y="2495092"/>
                  <a:pt x="841642" y="2495092"/>
                  <a:pt x="841952" y="2496331"/>
                </a:cubicBezTo>
                <a:cubicBezTo>
                  <a:pt x="841125" y="2497570"/>
                  <a:pt x="840919" y="2499429"/>
                  <a:pt x="839370" y="2500358"/>
                </a:cubicBezTo>
                <a:cubicBezTo>
                  <a:pt x="836995" y="2500668"/>
                  <a:pt x="833691" y="2497725"/>
                  <a:pt x="832659" y="2496021"/>
                </a:cubicBezTo>
                <a:cubicBezTo>
                  <a:pt x="832039" y="2493698"/>
                  <a:pt x="834001" y="2492148"/>
                  <a:pt x="836375" y="2491684"/>
                </a:cubicBezTo>
                <a:close/>
                <a:moveTo>
                  <a:pt x="717115" y="2490290"/>
                </a:moveTo>
                <a:lnTo>
                  <a:pt x="719799" y="2492459"/>
                </a:lnTo>
                <a:cubicBezTo>
                  <a:pt x="718973" y="2493543"/>
                  <a:pt x="717424" y="2494472"/>
                  <a:pt x="716495" y="2493852"/>
                </a:cubicBezTo>
                <a:cubicBezTo>
                  <a:pt x="715669" y="2493543"/>
                  <a:pt x="715566" y="2493078"/>
                  <a:pt x="715876" y="2492459"/>
                </a:cubicBezTo>
                <a:cubicBezTo>
                  <a:pt x="716185" y="2491994"/>
                  <a:pt x="716701" y="2491219"/>
                  <a:pt x="717115" y="2490290"/>
                </a:cubicBezTo>
                <a:close/>
                <a:moveTo>
                  <a:pt x="719283" y="2489980"/>
                </a:moveTo>
                <a:cubicBezTo>
                  <a:pt x="720212" y="2490755"/>
                  <a:pt x="719283" y="2490755"/>
                  <a:pt x="719283" y="2491374"/>
                </a:cubicBezTo>
                <a:cubicBezTo>
                  <a:pt x="718767" y="2491064"/>
                  <a:pt x="718561" y="2490755"/>
                  <a:pt x="718561" y="2490600"/>
                </a:cubicBezTo>
                <a:cubicBezTo>
                  <a:pt x="718561" y="2490445"/>
                  <a:pt x="718767" y="2490290"/>
                  <a:pt x="719283" y="2489980"/>
                </a:cubicBezTo>
                <a:close/>
                <a:moveTo>
                  <a:pt x="1201076" y="2489670"/>
                </a:moveTo>
                <a:cubicBezTo>
                  <a:pt x="1203968" y="2492613"/>
                  <a:pt x="1201076" y="2497415"/>
                  <a:pt x="1197463" y="2497880"/>
                </a:cubicBezTo>
                <a:cubicBezTo>
                  <a:pt x="1196120" y="2496950"/>
                  <a:pt x="1195501" y="2496021"/>
                  <a:pt x="1195294" y="2495092"/>
                </a:cubicBezTo>
                <a:cubicBezTo>
                  <a:pt x="1194778" y="2492304"/>
                  <a:pt x="1198495" y="2489360"/>
                  <a:pt x="1201076" y="2489670"/>
                </a:cubicBezTo>
                <a:close/>
                <a:moveTo>
                  <a:pt x="4879629" y="2487571"/>
                </a:moveTo>
                <a:cubicBezTo>
                  <a:pt x="4878989" y="2489136"/>
                  <a:pt x="4878775" y="2489136"/>
                  <a:pt x="4880270" y="2489705"/>
                </a:cubicBezTo>
                <a:cubicBezTo>
                  <a:pt x="4880270" y="2489705"/>
                  <a:pt x="4880270" y="2489705"/>
                  <a:pt x="4881336" y="2489278"/>
                </a:cubicBezTo>
                <a:cubicBezTo>
                  <a:pt x="4881550" y="2490416"/>
                  <a:pt x="4880483" y="2490843"/>
                  <a:pt x="4880910" y="2491839"/>
                </a:cubicBezTo>
                <a:cubicBezTo>
                  <a:pt x="4880910" y="2491839"/>
                  <a:pt x="4879629" y="2492266"/>
                  <a:pt x="4879629" y="2492266"/>
                </a:cubicBezTo>
                <a:cubicBezTo>
                  <a:pt x="4879843" y="2492835"/>
                  <a:pt x="4879843" y="2492693"/>
                  <a:pt x="4879415" y="2492551"/>
                </a:cubicBezTo>
                <a:cubicBezTo>
                  <a:pt x="4879202" y="2492408"/>
                  <a:pt x="4878562" y="2492124"/>
                  <a:pt x="4877282" y="2491981"/>
                </a:cubicBezTo>
                <a:cubicBezTo>
                  <a:pt x="4876001" y="2491270"/>
                  <a:pt x="4874934" y="2491697"/>
                  <a:pt x="4875787" y="2490132"/>
                </a:cubicBezTo>
                <a:cubicBezTo>
                  <a:pt x="4876428" y="2488710"/>
                  <a:pt x="4876428" y="2488851"/>
                  <a:pt x="4879629" y="2487571"/>
                </a:cubicBezTo>
                <a:close/>
                <a:moveTo>
                  <a:pt x="5246711" y="2486148"/>
                </a:moveTo>
                <a:cubicBezTo>
                  <a:pt x="5247991" y="2486291"/>
                  <a:pt x="5249272" y="2486718"/>
                  <a:pt x="5249912" y="2486433"/>
                </a:cubicBezTo>
                <a:cubicBezTo>
                  <a:pt x="5250553" y="2486718"/>
                  <a:pt x="5251193" y="2487144"/>
                  <a:pt x="5251619" y="2487571"/>
                </a:cubicBezTo>
                <a:cubicBezTo>
                  <a:pt x="5252260" y="2487998"/>
                  <a:pt x="5252474" y="2488567"/>
                  <a:pt x="5252047" y="2489278"/>
                </a:cubicBezTo>
                <a:cubicBezTo>
                  <a:pt x="5251193" y="2490843"/>
                  <a:pt x="5251406" y="2491981"/>
                  <a:pt x="5249059" y="2491839"/>
                </a:cubicBezTo>
                <a:cubicBezTo>
                  <a:pt x="5247778" y="2492266"/>
                  <a:pt x="5246498" y="2491555"/>
                  <a:pt x="5245431" y="2492124"/>
                </a:cubicBezTo>
                <a:cubicBezTo>
                  <a:pt x="5245431" y="2492124"/>
                  <a:pt x="5244790" y="2491270"/>
                  <a:pt x="5244363" y="2490416"/>
                </a:cubicBezTo>
                <a:cubicBezTo>
                  <a:pt x="5243936" y="2489421"/>
                  <a:pt x="5243510" y="2488425"/>
                  <a:pt x="5243936" y="2487571"/>
                </a:cubicBezTo>
                <a:cubicBezTo>
                  <a:pt x="5244150" y="2486291"/>
                  <a:pt x="5245431" y="2486148"/>
                  <a:pt x="5246711" y="2486148"/>
                </a:cubicBezTo>
                <a:close/>
                <a:moveTo>
                  <a:pt x="1062920" y="2484404"/>
                </a:moveTo>
                <a:cubicBezTo>
                  <a:pt x="1063746" y="2484559"/>
                  <a:pt x="1064262" y="2484869"/>
                  <a:pt x="1064675" y="2485643"/>
                </a:cubicBezTo>
                <a:cubicBezTo>
                  <a:pt x="1064985" y="2486728"/>
                  <a:pt x="1063746" y="2486882"/>
                  <a:pt x="1063333" y="2487657"/>
                </a:cubicBezTo>
                <a:cubicBezTo>
                  <a:pt x="1061784" y="2488431"/>
                  <a:pt x="1055382" y="2487193"/>
                  <a:pt x="1055072" y="2485953"/>
                </a:cubicBezTo>
                <a:cubicBezTo>
                  <a:pt x="1057137" y="2485179"/>
                  <a:pt x="1060752" y="2483784"/>
                  <a:pt x="1062920" y="2484404"/>
                </a:cubicBezTo>
                <a:close/>
                <a:moveTo>
                  <a:pt x="1148416" y="2483939"/>
                </a:moveTo>
                <a:cubicBezTo>
                  <a:pt x="1153372" y="2485024"/>
                  <a:pt x="1154198" y="2491529"/>
                  <a:pt x="1154508" y="2495866"/>
                </a:cubicBezTo>
                <a:lnTo>
                  <a:pt x="1154818" y="2498809"/>
                </a:lnTo>
                <a:lnTo>
                  <a:pt x="1157399" y="2499893"/>
                </a:lnTo>
                <a:cubicBezTo>
                  <a:pt x="1158225" y="2501288"/>
                  <a:pt x="1157090" y="2503301"/>
                  <a:pt x="1155437" y="2503766"/>
                </a:cubicBezTo>
                <a:lnTo>
                  <a:pt x="1153269" y="2503146"/>
                </a:lnTo>
                <a:lnTo>
                  <a:pt x="1153372" y="2504695"/>
                </a:lnTo>
                <a:cubicBezTo>
                  <a:pt x="1152236" y="2504385"/>
                  <a:pt x="1148623" y="2503301"/>
                  <a:pt x="1148623" y="2503301"/>
                </a:cubicBezTo>
                <a:cubicBezTo>
                  <a:pt x="1147900" y="2503611"/>
                  <a:pt x="1147900" y="2503611"/>
                  <a:pt x="1146764" y="2503301"/>
                </a:cubicBezTo>
                <a:cubicBezTo>
                  <a:pt x="1146970" y="2502217"/>
                  <a:pt x="1146970" y="2502217"/>
                  <a:pt x="1147796" y="2501752"/>
                </a:cubicBezTo>
                <a:cubicBezTo>
                  <a:pt x="1148932" y="2502217"/>
                  <a:pt x="1149345" y="2502992"/>
                  <a:pt x="1150584" y="2503301"/>
                </a:cubicBezTo>
                <a:cubicBezTo>
                  <a:pt x="1151101" y="2501133"/>
                  <a:pt x="1150378" y="2501442"/>
                  <a:pt x="1151617" y="2501752"/>
                </a:cubicBezTo>
                <a:cubicBezTo>
                  <a:pt x="1151617" y="2501752"/>
                  <a:pt x="1151617" y="2501752"/>
                  <a:pt x="1152856" y="2502217"/>
                </a:cubicBezTo>
                <a:lnTo>
                  <a:pt x="1153062" y="2502217"/>
                </a:lnTo>
                <a:lnTo>
                  <a:pt x="1153166" y="2502062"/>
                </a:lnTo>
                <a:lnTo>
                  <a:pt x="1152856" y="2502217"/>
                </a:lnTo>
                <a:lnTo>
                  <a:pt x="1148829" y="2494627"/>
                </a:lnTo>
                <a:lnTo>
                  <a:pt x="1147796" y="2494472"/>
                </a:lnTo>
                <a:cubicBezTo>
                  <a:pt x="1148519" y="2495092"/>
                  <a:pt x="1147280" y="2495247"/>
                  <a:pt x="1147280" y="2495247"/>
                </a:cubicBezTo>
                <a:cubicBezTo>
                  <a:pt x="1147280" y="2495247"/>
                  <a:pt x="1147280" y="2495247"/>
                  <a:pt x="1147900" y="2497570"/>
                </a:cubicBezTo>
                <a:cubicBezTo>
                  <a:pt x="1147900" y="2497570"/>
                  <a:pt x="1148726" y="2502837"/>
                  <a:pt x="1143563" y="2504385"/>
                </a:cubicBezTo>
                <a:cubicBezTo>
                  <a:pt x="1143460" y="2503921"/>
                  <a:pt x="1142427" y="2503766"/>
                  <a:pt x="1140981" y="2503611"/>
                </a:cubicBezTo>
                <a:lnTo>
                  <a:pt x="1138503" y="2503146"/>
                </a:lnTo>
                <a:lnTo>
                  <a:pt x="1139536" y="2503456"/>
                </a:lnTo>
                <a:cubicBezTo>
                  <a:pt x="1140568" y="2504385"/>
                  <a:pt x="1141085" y="2505780"/>
                  <a:pt x="1141188" y="2507173"/>
                </a:cubicBezTo>
                <a:cubicBezTo>
                  <a:pt x="1137987" y="2509807"/>
                  <a:pt x="1135096" y="2508568"/>
                  <a:pt x="1134476" y="2505625"/>
                </a:cubicBezTo>
                <a:lnTo>
                  <a:pt x="1134683" y="2502217"/>
                </a:lnTo>
                <a:cubicBezTo>
                  <a:pt x="1133031" y="2502062"/>
                  <a:pt x="1131689" y="2501907"/>
                  <a:pt x="1130862" y="2501752"/>
                </a:cubicBezTo>
                <a:cubicBezTo>
                  <a:pt x="1130449" y="2501133"/>
                  <a:pt x="1130449" y="2500978"/>
                  <a:pt x="1130449" y="2500978"/>
                </a:cubicBezTo>
                <a:cubicBezTo>
                  <a:pt x="1130346" y="2500049"/>
                  <a:pt x="1130862" y="2499584"/>
                  <a:pt x="1131689" y="2499429"/>
                </a:cubicBezTo>
                <a:lnTo>
                  <a:pt x="1133031" y="2499429"/>
                </a:lnTo>
                <a:lnTo>
                  <a:pt x="1131379" y="2496486"/>
                </a:lnTo>
                <a:cubicBezTo>
                  <a:pt x="1132721" y="2494472"/>
                  <a:pt x="1131792" y="2490909"/>
                  <a:pt x="1137471" y="2488896"/>
                </a:cubicBezTo>
                <a:cubicBezTo>
                  <a:pt x="1143872" y="2487193"/>
                  <a:pt x="1146248" y="2493543"/>
                  <a:pt x="1146661" y="2492923"/>
                </a:cubicBezTo>
                <a:lnTo>
                  <a:pt x="1147383" y="2492768"/>
                </a:lnTo>
                <a:lnTo>
                  <a:pt x="1146764" y="2491839"/>
                </a:lnTo>
                <a:cubicBezTo>
                  <a:pt x="1146248" y="2491374"/>
                  <a:pt x="1145938" y="2491064"/>
                  <a:pt x="1145938" y="2491064"/>
                </a:cubicBezTo>
                <a:cubicBezTo>
                  <a:pt x="1145731" y="2489205"/>
                  <a:pt x="1146454" y="2488896"/>
                  <a:pt x="1145731" y="2489205"/>
                </a:cubicBezTo>
                <a:cubicBezTo>
                  <a:pt x="1146351" y="2487037"/>
                  <a:pt x="1146454" y="2484094"/>
                  <a:pt x="1148416" y="2483939"/>
                </a:cubicBezTo>
                <a:close/>
                <a:moveTo>
                  <a:pt x="841538" y="2483165"/>
                </a:moveTo>
                <a:cubicBezTo>
                  <a:pt x="845152" y="2482081"/>
                  <a:pt x="848766" y="2481151"/>
                  <a:pt x="849490" y="2484559"/>
                </a:cubicBezTo>
                <a:cubicBezTo>
                  <a:pt x="847114" y="2488276"/>
                  <a:pt x="842055" y="2488431"/>
                  <a:pt x="841538" y="2483165"/>
                </a:cubicBezTo>
                <a:close/>
                <a:moveTo>
                  <a:pt x="950680" y="2482545"/>
                </a:moveTo>
                <a:cubicBezTo>
                  <a:pt x="955636" y="2486728"/>
                  <a:pt x="970815" y="2495092"/>
                  <a:pt x="964930" y="2502217"/>
                </a:cubicBezTo>
                <a:cubicBezTo>
                  <a:pt x="961316" y="2498809"/>
                  <a:pt x="949441" y="2490135"/>
                  <a:pt x="949751" y="2484714"/>
                </a:cubicBezTo>
                <a:cubicBezTo>
                  <a:pt x="949854" y="2483939"/>
                  <a:pt x="950061" y="2483165"/>
                  <a:pt x="950680" y="2482545"/>
                </a:cubicBezTo>
                <a:close/>
                <a:moveTo>
                  <a:pt x="714120" y="2482545"/>
                </a:moveTo>
                <a:cubicBezTo>
                  <a:pt x="716908" y="2484559"/>
                  <a:pt x="717837" y="2486882"/>
                  <a:pt x="716185" y="2489670"/>
                </a:cubicBezTo>
                <a:cubicBezTo>
                  <a:pt x="714637" y="2491529"/>
                  <a:pt x="712159" y="2494317"/>
                  <a:pt x="709370" y="2493078"/>
                </a:cubicBezTo>
                <a:cubicBezTo>
                  <a:pt x="709370" y="2492304"/>
                  <a:pt x="708441" y="2492459"/>
                  <a:pt x="708441" y="2491529"/>
                </a:cubicBezTo>
                <a:cubicBezTo>
                  <a:pt x="708441" y="2491529"/>
                  <a:pt x="707925" y="2490909"/>
                  <a:pt x="707822" y="2489670"/>
                </a:cubicBezTo>
                <a:cubicBezTo>
                  <a:pt x="707718" y="2489051"/>
                  <a:pt x="707718" y="2488276"/>
                  <a:pt x="707822" y="2487502"/>
                </a:cubicBezTo>
                <a:cubicBezTo>
                  <a:pt x="708028" y="2486728"/>
                  <a:pt x="708338" y="2485798"/>
                  <a:pt x="708957" y="2484869"/>
                </a:cubicBezTo>
                <a:cubicBezTo>
                  <a:pt x="709784" y="2483939"/>
                  <a:pt x="712262" y="2481925"/>
                  <a:pt x="712262" y="2482700"/>
                </a:cubicBezTo>
                <a:cubicBezTo>
                  <a:pt x="713191" y="2483474"/>
                  <a:pt x="713191" y="2482700"/>
                  <a:pt x="714120" y="2482545"/>
                </a:cubicBezTo>
                <a:close/>
                <a:moveTo>
                  <a:pt x="835859" y="2482390"/>
                </a:moveTo>
                <a:cubicBezTo>
                  <a:pt x="836686" y="2480841"/>
                  <a:pt x="838337" y="2482700"/>
                  <a:pt x="839164" y="2483629"/>
                </a:cubicBezTo>
                <a:cubicBezTo>
                  <a:pt x="836686" y="2483320"/>
                  <a:pt x="835859" y="2484094"/>
                  <a:pt x="835859" y="2483320"/>
                </a:cubicBezTo>
                <a:cubicBezTo>
                  <a:pt x="835446" y="2483320"/>
                  <a:pt x="835240" y="2483010"/>
                  <a:pt x="835240" y="2482855"/>
                </a:cubicBezTo>
                <a:cubicBezTo>
                  <a:pt x="835240" y="2482545"/>
                  <a:pt x="835446" y="2482390"/>
                  <a:pt x="835859" y="2482390"/>
                </a:cubicBezTo>
                <a:close/>
                <a:moveTo>
                  <a:pt x="691094" y="2481925"/>
                </a:moveTo>
                <a:lnTo>
                  <a:pt x="694398" y="2482545"/>
                </a:lnTo>
                <a:lnTo>
                  <a:pt x="695225" y="2482235"/>
                </a:lnTo>
                <a:cubicBezTo>
                  <a:pt x="695947" y="2482235"/>
                  <a:pt x="696773" y="2482545"/>
                  <a:pt x="697702" y="2483474"/>
                </a:cubicBezTo>
                <a:lnTo>
                  <a:pt x="698219" y="2484404"/>
                </a:lnTo>
                <a:lnTo>
                  <a:pt x="701110" y="2486417"/>
                </a:lnTo>
                <a:lnTo>
                  <a:pt x="699767" y="2487193"/>
                </a:lnTo>
                <a:lnTo>
                  <a:pt x="699252" y="2490290"/>
                </a:lnTo>
                <a:cubicBezTo>
                  <a:pt x="700077" y="2492148"/>
                  <a:pt x="701730" y="2493078"/>
                  <a:pt x="700903" y="2494782"/>
                </a:cubicBezTo>
                <a:cubicBezTo>
                  <a:pt x="699252" y="2491994"/>
                  <a:pt x="698425" y="2491064"/>
                  <a:pt x="697599" y="2489360"/>
                </a:cubicBezTo>
                <a:lnTo>
                  <a:pt x="696464" y="2488896"/>
                </a:lnTo>
                <a:lnTo>
                  <a:pt x="696257" y="2488896"/>
                </a:lnTo>
                <a:lnTo>
                  <a:pt x="695947" y="2488586"/>
                </a:lnTo>
                <a:lnTo>
                  <a:pt x="695018" y="2488276"/>
                </a:lnTo>
                <a:lnTo>
                  <a:pt x="694915" y="2487812"/>
                </a:lnTo>
                <a:lnTo>
                  <a:pt x="692746" y="2486728"/>
                </a:lnTo>
                <a:cubicBezTo>
                  <a:pt x="690888" y="2485953"/>
                  <a:pt x="689029" y="2485179"/>
                  <a:pt x="689029" y="2485179"/>
                </a:cubicBezTo>
                <a:cubicBezTo>
                  <a:pt x="688720" y="2484094"/>
                  <a:pt x="688513" y="2483474"/>
                  <a:pt x="688720" y="2483010"/>
                </a:cubicBezTo>
                <a:cubicBezTo>
                  <a:pt x="689029" y="2482700"/>
                  <a:pt x="689649" y="2482390"/>
                  <a:pt x="691094" y="2481925"/>
                </a:cubicBezTo>
                <a:close/>
                <a:moveTo>
                  <a:pt x="1218114" y="2481461"/>
                </a:moveTo>
                <a:cubicBezTo>
                  <a:pt x="1223690" y="2479292"/>
                  <a:pt x="1226891" y="2482390"/>
                  <a:pt x="1227923" y="2487037"/>
                </a:cubicBezTo>
                <a:cubicBezTo>
                  <a:pt x="1228853" y="2491064"/>
                  <a:pt x="1228336" y="2496021"/>
                  <a:pt x="1226477" y="2499893"/>
                </a:cubicBezTo>
                <a:lnTo>
                  <a:pt x="1223277" y="2504385"/>
                </a:lnTo>
                <a:lnTo>
                  <a:pt x="1228439" y="2502837"/>
                </a:lnTo>
                <a:cubicBezTo>
                  <a:pt x="1232054" y="2502372"/>
                  <a:pt x="1235048" y="2502527"/>
                  <a:pt x="1237732" y="2503146"/>
                </a:cubicBezTo>
                <a:lnTo>
                  <a:pt x="1240624" y="2504385"/>
                </a:lnTo>
                <a:lnTo>
                  <a:pt x="1242895" y="2504231"/>
                </a:lnTo>
                <a:lnTo>
                  <a:pt x="1244031" y="2504076"/>
                </a:lnTo>
                <a:lnTo>
                  <a:pt x="1242173" y="2503146"/>
                </a:lnTo>
                <a:cubicBezTo>
                  <a:pt x="1241037" y="2502527"/>
                  <a:pt x="1241037" y="2502527"/>
                  <a:pt x="1240417" y="2503611"/>
                </a:cubicBezTo>
                <a:cubicBezTo>
                  <a:pt x="1239281" y="2502992"/>
                  <a:pt x="1239281" y="2502992"/>
                  <a:pt x="1238765" y="2501442"/>
                </a:cubicBezTo>
                <a:cubicBezTo>
                  <a:pt x="1239591" y="2501752"/>
                  <a:pt x="1242586" y="2502681"/>
                  <a:pt x="1243928" y="2503611"/>
                </a:cubicBezTo>
                <a:lnTo>
                  <a:pt x="1244238" y="2504076"/>
                </a:lnTo>
                <a:lnTo>
                  <a:pt x="1245270" y="2504076"/>
                </a:lnTo>
                <a:cubicBezTo>
                  <a:pt x="1245787" y="2502992"/>
                  <a:pt x="1245683" y="2503146"/>
                  <a:pt x="1245993" y="2503921"/>
                </a:cubicBezTo>
                <a:lnTo>
                  <a:pt x="1246819" y="2504076"/>
                </a:lnTo>
                <a:lnTo>
                  <a:pt x="1249194" y="2504076"/>
                </a:lnTo>
                <a:cubicBezTo>
                  <a:pt x="1251363" y="2504231"/>
                  <a:pt x="1253324" y="2504385"/>
                  <a:pt x="1254357" y="2504850"/>
                </a:cubicBezTo>
                <a:lnTo>
                  <a:pt x="1248781" y="2505160"/>
                </a:lnTo>
                <a:lnTo>
                  <a:pt x="1251672" y="2505780"/>
                </a:lnTo>
                <a:cubicBezTo>
                  <a:pt x="1253014" y="2505780"/>
                  <a:pt x="1254254" y="2505625"/>
                  <a:pt x="1254563" y="2505160"/>
                </a:cubicBezTo>
                <a:cubicBezTo>
                  <a:pt x="1254873" y="2505935"/>
                  <a:pt x="1255905" y="2506554"/>
                  <a:pt x="1255905" y="2506554"/>
                </a:cubicBezTo>
                <a:cubicBezTo>
                  <a:pt x="1255389" y="2507638"/>
                  <a:pt x="1254666" y="2507793"/>
                  <a:pt x="1253840" y="2508103"/>
                </a:cubicBezTo>
                <a:cubicBezTo>
                  <a:pt x="1252705" y="2507483"/>
                  <a:pt x="1252395" y="2506709"/>
                  <a:pt x="1251259" y="2506089"/>
                </a:cubicBezTo>
                <a:cubicBezTo>
                  <a:pt x="1250536" y="2506245"/>
                  <a:pt x="1248884" y="2506709"/>
                  <a:pt x="1247748" y="2506089"/>
                </a:cubicBezTo>
                <a:lnTo>
                  <a:pt x="1246509" y="2505160"/>
                </a:lnTo>
                <a:lnTo>
                  <a:pt x="1240830" y="2504541"/>
                </a:lnTo>
                <a:lnTo>
                  <a:pt x="1245167" y="2506245"/>
                </a:lnTo>
                <a:cubicBezTo>
                  <a:pt x="1249813" y="2509032"/>
                  <a:pt x="1254254" y="2512595"/>
                  <a:pt x="1260242" y="2515074"/>
                </a:cubicBezTo>
                <a:cubicBezTo>
                  <a:pt x="1257455" y="2525607"/>
                  <a:pt x="1263133" y="2528395"/>
                  <a:pt x="1266025" y="2533351"/>
                </a:cubicBezTo>
                <a:cubicBezTo>
                  <a:pt x="1260759" y="2539547"/>
                  <a:pt x="1259829" y="2549615"/>
                  <a:pt x="1256112" y="2557825"/>
                </a:cubicBezTo>
                <a:lnTo>
                  <a:pt x="1245167" y="2563246"/>
                </a:lnTo>
                <a:lnTo>
                  <a:pt x="1245064" y="2564175"/>
                </a:lnTo>
                <a:lnTo>
                  <a:pt x="1243412" y="2564021"/>
                </a:lnTo>
                <a:lnTo>
                  <a:pt x="1241863" y="2564950"/>
                </a:lnTo>
                <a:lnTo>
                  <a:pt x="1240417" y="2565570"/>
                </a:lnTo>
                <a:lnTo>
                  <a:pt x="1242586" y="2566963"/>
                </a:lnTo>
                <a:cubicBezTo>
                  <a:pt x="1243308" y="2567738"/>
                  <a:pt x="1243928" y="2569752"/>
                  <a:pt x="1244031" y="2571765"/>
                </a:cubicBezTo>
                <a:cubicBezTo>
                  <a:pt x="1244238" y="2573779"/>
                  <a:pt x="1244031" y="2575793"/>
                  <a:pt x="1242999" y="2577187"/>
                </a:cubicBezTo>
                <a:cubicBezTo>
                  <a:pt x="1241450" y="2576257"/>
                  <a:pt x="1239901" y="2575328"/>
                  <a:pt x="1238352" y="2574399"/>
                </a:cubicBezTo>
                <a:cubicBezTo>
                  <a:pt x="1239178" y="2574554"/>
                  <a:pt x="1238352" y="2566809"/>
                  <a:pt x="1238352" y="2566809"/>
                </a:cubicBezTo>
                <a:lnTo>
                  <a:pt x="1239901" y="2565879"/>
                </a:lnTo>
                <a:lnTo>
                  <a:pt x="1234119" y="2568667"/>
                </a:lnTo>
                <a:lnTo>
                  <a:pt x="1234841" y="2569442"/>
                </a:lnTo>
                <a:cubicBezTo>
                  <a:pt x="1236080" y="2571920"/>
                  <a:pt x="1234738" y="2574399"/>
                  <a:pt x="1231331" y="2577187"/>
                </a:cubicBezTo>
                <a:cubicBezTo>
                  <a:pt x="1229575" y="2576412"/>
                  <a:pt x="1227923" y="2576412"/>
                  <a:pt x="1225342" y="2575793"/>
                </a:cubicBezTo>
                <a:lnTo>
                  <a:pt x="1226994" y="2571765"/>
                </a:lnTo>
                <a:lnTo>
                  <a:pt x="1219456" y="2568513"/>
                </a:lnTo>
                <a:cubicBezTo>
                  <a:pt x="1210370" y="2566035"/>
                  <a:pt x="1199115" y="2565570"/>
                  <a:pt x="1195397" y="2556896"/>
                </a:cubicBezTo>
                <a:lnTo>
                  <a:pt x="1195810" y="2553952"/>
                </a:lnTo>
                <a:lnTo>
                  <a:pt x="1195501" y="2553642"/>
                </a:lnTo>
                <a:cubicBezTo>
                  <a:pt x="1194881" y="2552868"/>
                  <a:pt x="1194468" y="2551939"/>
                  <a:pt x="1194674" y="2551009"/>
                </a:cubicBezTo>
                <a:lnTo>
                  <a:pt x="1195707" y="2549305"/>
                </a:lnTo>
                <a:lnTo>
                  <a:pt x="1194674" y="2544659"/>
                </a:lnTo>
                <a:lnTo>
                  <a:pt x="1194881" y="2543574"/>
                </a:lnTo>
                <a:lnTo>
                  <a:pt x="1194365" y="2542025"/>
                </a:lnTo>
                <a:lnTo>
                  <a:pt x="1190958" y="2542335"/>
                </a:lnTo>
                <a:cubicBezTo>
                  <a:pt x="1189822" y="2541871"/>
                  <a:pt x="1189099" y="2541096"/>
                  <a:pt x="1188892" y="2540012"/>
                </a:cubicBezTo>
                <a:cubicBezTo>
                  <a:pt x="1188583" y="2538927"/>
                  <a:pt x="1188686" y="2537843"/>
                  <a:pt x="1189099" y="2536759"/>
                </a:cubicBezTo>
                <a:cubicBezTo>
                  <a:pt x="1189099" y="2535829"/>
                  <a:pt x="1189719" y="2535055"/>
                  <a:pt x="1190544" y="2534590"/>
                </a:cubicBezTo>
                <a:cubicBezTo>
                  <a:pt x="1191370" y="2534281"/>
                  <a:pt x="1192403" y="2534126"/>
                  <a:pt x="1193333" y="2534126"/>
                </a:cubicBezTo>
                <a:lnTo>
                  <a:pt x="1193539" y="2534281"/>
                </a:lnTo>
                <a:lnTo>
                  <a:pt x="1198082" y="2525607"/>
                </a:lnTo>
                <a:cubicBezTo>
                  <a:pt x="1201490" y="2520185"/>
                  <a:pt x="1205723" y="2514918"/>
                  <a:pt x="1210886" y="2510891"/>
                </a:cubicBezTo>
                <a:lnTo>
                  <a:pt x="1217598" y="2506554"/>
                </a:lnTo>
                <a:lnTo>
                  <a:pt x="1215120" y="2495247"/>
                </a:lnTo>
                <a:cubicBezTo>
                  <a:pt x="1215016" y="2491064"/>
                  <a:pt x="1215842" y="2486573"/>
                  <a:pt x="1218114" y="2481461"/>
                </a:cubicBezTo>
                <a:close/>
                <a:moveTo>
                  <a:pt x="1382498" y="2480841"/>
                </a:moveTo>
                <a:cubicBezTo>
                  <a:pt x="1382498" y="2480841"/>
                  <a:pt x="1383014" y="2481616"/>
                  <a:pt x="1383014" y="2481616"/>
                </a:cubicBezTo>
                <a:cubicBezTo>
                  <a:pt x="1382807" y="2484559"/>
                  <a:pt x="1381568" y="2484094"/>
                  <a:pt x="1379194" y="2483474"/>
                </a:cubicBezTo>
                <a:cubicBezTo>
                  <a:pt x="1379090" y="2482545"/>
                  <a:pt x="1379194" y="2481771"/>
                  <a:pt x="1379607" y="2481306"/>
                </a:cubicBezTo>
                <a:cubicBezTo>
                  <a:pt x="1380123" y="2480841"/>
                  <a:pt x="1380949" y="2480686"/>
                  <a:pt x="1382498" y="2480841"/>
                </a:cubicBezTo>
                <a:close/>
                <a:moveTo>
                  <a:pt x="935399" y="2480841"/>
                </a:moveTo>
                <a:cubicBezTo>
                  <a:pt x="936637" y="2480531"/>
                  <a:pt x="937773" y="2480067"/>
                  <a:pt x="937360" y="2480841"/>
                </a:cubicBezTo>
                <a:cubicBezTo>
                  <a:pt x="938083" y="2481151"/>
                  <a:pt x="937670" y="2481925"/>
                  <a:pt x="937980" y="2483010"/>
                </a:cubicBezTo>
                <a:cubicBezTo>
                  <a:pt x="937876" y="2484869"/>
                  <a:pt x="936637" y="2487193"/>
                  <a:pt x="935502" y="2487502"/>
                </a:cubicBezTo>
                <a:cubicBezTo>
                  <a:pt x="934263" y="2487967"/>
                  <a:pt x="933540" y="2487502"/>
                  <a:pt x="933540" y="2487502"/>
                </a:cubicBezTo>
                <a:cubicBezTo>
                  <a:pt x="932817" y="2486263"/>
                  <a:pt x="932404" y="2485024"/>
                  <a:pt x="932610" y="2483784"/>
                </a:cubicBezTo>
                <a:cubicBezTo>
                  <a:pt x="932817" y="2482545"/>
                  <a:pt x="933643" y="2481461"/>
                  <a:pt x="935399" y="2480841"/>
                </a:cubicBezTo>
                <a:close/>
                <a:moveTo>
                  <a:pt x="1310425" y="2480686"/>
                </a:moveTo>
                <a:cubicBezTo>
                  <a:pt x="1311251" y="2480686"/>
                  <a:pt x="1311148" y="2480686"/>
                  <a:pt x="1311974" y="2481461"/>
                </a:cubicBezTo>
                <a:cubicBezTo>
                  <a:pt x="1312800" y="2481461"/>
                  <a:pt x="1311044" y="2485024"/>
                  <a:pt x="1310941" y="2485953"/>
                </a:cubicBezTo>
                <a:cubicBezTo>
                  <a:pt x="1310115" y="2485953"/>
                  <a:pt x="1310218" y="2485953"/>
                  <a:pt x="1310218" y="2485024"/>
                </a:cubicBezTo>
                <a:cubicBezTo>
                  <a:pt x="1310012" y="2485179"/>
                  <a:pt x="1310012" y="2485179"/>
                  <a:pt x="1309908" y="2485333"/>
                </a:cubicBezTo>
                <a:cubicBezTo>
                  <a:pt x="1309599" y="2484714"/>
                  <a:pt x="1309186" y="2484094"/>
                  <a:pt x="1309289" y="2483320"/>
                </a:cubicBezTo>
                <a:cubicBezTo>
                  <a:pt x="1309496" y="2482545"/>
                  <a:pt x="1309908" y="2481616"/>
                  <a:pt x="1310425" y="2480686"/>
                </a:cubicBezTo>
                <a:close/>
                <a:moveTo>
                  <a:pt x="927241" y="2480067"/>
                </a:moveTo>
                <a:cubicBezTo>
                  <a:pt x="927654" y="2481306"/>
                  <a:pt x="927551" y="2483010"/>
                  <a:pt x="926415" y="2483474"/>
                </a:cubicBezTo>
                <a:cubicBezTo>
                  <a:pt x="925589" y="2483939"/>
                  <a:pt x="925176" y="2483784"/>
                  <a:pt x="924866" y="2483320"/>
                </a:cubicBezTo>
                <a:cubicBezTo>
                  <a:pt x="924556" y="2482855"/>
                  <a:pt x="924247" y="2482081"/>
                  <a:pt x="923731" y="2481306"/>
                </a:cubicBezTo>
                <a:close/>
                <a:moveTo>
                  <a:pt x="914954" y="2480067"/>
                </a:moveTo>
                <a:cubicBezTo>
                  <a:pt x="918464" y="2478827"/>
                  <a:pt x="921149" y="2478983"/>
                  <a:pt x="922595" y="2481616"/>
                </a:cubicBezTo>
                <a:cubicBezTo>
                  <a:pt x="923214" y="2483784"/>
                  <a:pt x="924143" y="2487193"/>
                  <a:pt x="921356" y="2488741"/>
                </a:cubicBezTo>
                <a:cubicBezTo>
                  <a:pt x="920633" y="2488431"/>
                  <a:pt x="920117" y="2489205"/>
                  <a:pt x="919394" y="2488896"/>
                </a:cubicBezTo>
                <a:cubicBezTo>
                  <a:pt x="919394" y="2488896"/>
                  <a:pt x="918464" y="2488896"/>
                  <a:pt x="917329" y="2488431"/>
                </a:cubicBezTo>
                <a:cubicBezTo>
                  <a:pt x="916090" y="2487967"/>
                  <a:pt x="914747" y="2487193"/>
                  <a:pt x="913818" y="2485333"/>
                </a:cubicBezTo>
                <a:cubicBezTo>
                  <a:pt x="913715" y="2484714"/>
                  <a:pt x="913508" y="2483784"/>
                  <a:pt x="913508" y="2482855"/>
                </a:cubicBezTo>
                <a:cubicBezTo>
                  <a:pt x="913508" y="2482081"/>
                  <a:pt x="913715" y="2481461"/>
                  <a:pt x="914024" y="2481616"/>
                </a:cubicBezTo>
                <a:cubicBezTo>
                  <a:pt x="915263" y="2481151"/>
                  <a:pt x="914540" y="2480841"/>
                  <a:pt x="914954" y="2480067"/>
                </a:cubicBezTo>
                <a:close/>
                <a:moveTo>
                  <a:pt x="583811" y="2478673"/>
                </a:moveTo>
                <a:cubicBezTo>
                  <a:pt x="583708" y="2480377"/>
                  <a:pt x="587218" y="2481616"/>
                  <a:pt x="585463" y="2483165"/>
                </a:cubicBezTo>
                <a:cubicBezTo>
                  <a:pt x="584533" y="2482235"/>
                  <a:pt x="583708" y="2480377"/>
                  <a:pt x="582882" y="2479447"/>
                </a:cubicBezTo>
                <a:cubicBezTo>
                  <a:pt x="582882" y="2479447"/>
                  <a:pt x="582882" y="2479447"/>
                  <a:pt x="583811" y="2478673"/>
                </a:cubicBezTo>
                <a:close/>
                <a:moveTo>
                  <a:pt x="783612" y="2477588"/>
                </a:moveTo>
                <a:cubicBezTo>
                  <a:pt x="784231" y="2477743"/>
                  <a:pt x="784748" y="2478053"/>
                  <a:pt x="784851" y="2478673"/>
                </a:cubicBezTo>
                <a:cubicBezTo>
                  <a:pt x="782476" y="2478983"/>
                  <a:pt x="779172" y="2480841"/>
                  <a:pt x="776590" y="2478208"/>
                </a:cubicBezTo>
                <a:cubicBezTo>
                  <a:pt x="778449" y="2477898"/>
                  <a:pt x="781856" y="2476969"/>
                  <a:pt x="783612" y="2477588"/>
                </a:cubicBezTo>
                <a:close/>
                <a:moveTo>
                  <a:pt x="1181974" y="2474800"/>
                </a:moveTo>
                <a:cubicBezTo>
                  <a:pt x="1181974" y="2475730"/>
                  <a:pt x="1182077" y="2476504"/>
                  <a:pt x="1181251" y="2476659"/>
                </a:cubicBezTo>
                <a:lnTo>
                  <a:pt x="1180735" y="2477279"/>
                </a:lnTo>
                <a:lnTo>
                  <a:pt x="1182491" y="2477743"/>
                </a:lnTo>
                <a:cubicBezTo>
                  <a:pt x="1183626" y="2478363"/>
                  <a:pt x="1184762" y="2479447"/>
                  <a:pt x="1185795" y="2480841"/>
                </a:cubicBezTo>
                <a:cubicBezTo>
                  <a:pt x="1184968" y="2484869"/>
                  <a:pt x="1182594" y="2485798"/>
                  <a:pt x="1180941" y="2488276"/>
                </a:cubicBezTo>
                <a:cubicBezTo>
                  <a:pt x="1175985" y="2487347"/>
                  <a:pt x="1173817" y="2485024"/>
                  <a:pt x="1173404" y="2482855"/>
                </a:cubicBezTo>
                <a:cubicBezTo>
                  <a:pt x="1173301" y="2482081"/>
                  <a:pt x="1173301" y="2481306"/>
                  <a:pt x="1173507" y="2480531"/>
                </a:cubicBezTo>
                <a:cubicBezTo>
                  <a:pt x="1173817" y="2479602"/>
                  <a:pt x="1174437" y="2478827"/>
                  <a:pt x="1175263" y="2478208"/>
                </a:cubicBezTo>
                <a:cubicBezTo>
                  <a:pt x="1176295" y="2477279"/>
                  <a:pt x="1177637" y="2476659"/>
                  <a:pt x="1179186" y="2476659"/>
                </a:cubicBezTo>
                <a:lnTo>
                  <a:pt x="1180529" y="2477124"/>
                </a:lnTo>
                <a:lnTo>
                  <a:pt x="1180425" y="2475110"/>
                </a:lnTo>
                <a:cubicBezTo>
                  <a:pt x="1181148" y="2474181"/>
                  <a:pt x="1181148" y="2474181"/>
                  <a:pt x="1181974" y="2474800"/>
                </a:cubicBezTo>
                <a:close/>
                <a:moveTo>
                  <a:pt x="5184179" y="2474767"/>
                </a:moveTo>
                <a:cubicBezTo>
                  <a:pt x="5185246" y="2474482"/>
                  <a:pt x="5186740" y="2474767"/>
                  <a:pt x="5187807" y="2476474"/>
                </a:cubicBezTo>
                <a:cubicBezTo>
                  <a:pt x="5187380" y="2479035"/>
                  <a:pt x="5186100" y="2481880"/>
                  <a:pt x="5184606" y="2484868"/>
                </a:cubicBezTo>
                <a:cubicBezTo>
                  <a:pt x="5177990" y="2483730"/>
                  <a:pt x="5180551" y="2475905"/>
                  <a:pt x="5184179" y="2474767"/>
                </a:cubicBezTo>
                <a:close/>
                <a:moveTo>
                  <a:pt x="1461592" y="2474181"/>
                </a:moveTo>
                <a:lnTo>
                  <a:pt x="1460250" y="2475420"/>
                </a:lnTo>
                <a:lnTo>
                  <a:pt x="1461282" y="2475110"/>
                </a:lnTo>
                <a:close/>
                <a:moveTo>
                  <a:pt x="5114177" y="2473629"/>
                </a:moveTo>
                <a:cubicBezTo>
                  <a:pt x="5123781" y="2475336"/>
                  <a:pt x="5123355" y="2482591"/>
                  <a:pt x="5117592" y="2489278"/>
                </a:cubicBezTo>
                <a:cubicBezTo>
                  <a:pt x="5113751" y="2488140"/>
                  <a:pt x="5109696" y="2487144"/>
                  <a:pt x="5107348" y="2484015"/>
                </a:cubicBezTo>
                <a:cubicBezTo>
                  <a:pt x="5109909" y="2479889"/>
                  <a:pt x="5110976" y="2476047"/>
                  <a:pt x="5114177" y="2473629"/>
                </a:cubicBezTo>
                <a:close/>
                <a:moveTo>
                  <a:pt x="1355135" y="2471392"/>
                </a:moveTo>
                <a:cubicBezTo>
                  <a:pt x="1356064" y="2471238"/>
                  <a:pt x="1357303" y="2471547"/>
                  <a:pt x="1359162" y="2472787"/>
                </a:cubicBezTo>
                <a:cubicBezTo>
                  <a:pt x="1358232" y="2475730"/>
                  <a:pt x="1357200" y="2476814"/>
                  <a:pt x="1356167" y="2476814"/>
                </a:cubicBezTo>
                <a:cubicBezTo>
                  <a:pt x="1355135" y="2476969"/>
                  <a:pt x="1354309" y="2475730"/>
                  <a:pt x="1353999" y="2474336"/>
                </a:cubicBezTo>
                <a:cubicBezTo>
                  <a:pt x="1353586" y="2472941"/>
                  <a:pt x="1353896" y="2471703"/>
                  <a:pt x="1355135" y="2471392"/>
                </a:cubicBezTo>
                <a:close/>
                <a:moveTo>
                  <a:pt x="5397599" y="2470499"/>
                </a:moveTo>
                <a:cubicBezTo>
                  <a:pt x="5398452" y="2470641"/>
                  <a:pt x="5399093" y="2470925"/>
                  <a:pt x="5400587" y="2471495"/>
                </a:cubicBezTo>
                <a:cubicBezTo>
                  <a:pt x="5399520" y="2471922"/>
                  <a:pt x="5397812" y="2474055"/>
                  <a:pt x="5396318" y="2473629"/>
                </a:cubicBezTo>
                <a:cubicBezTo>
                  <a:pt x="5394824" y="2473060"/>
                  <a:pt x="5394611" y="2473060"/>
                  <a:pt x="5393971" y="2470925"/>
                </a:cubicBezTo>
                <a:cubicBezTo>
                  <a:pt x="5395678" y="2470641"/>
                  <a:pt x="5396745" y="2470499"/>
                  <a:pt x="5397599" y="2470499"/>
                </a:cubicBezTo>
                <a:close/>
                <a:moveTo>
                  <a:pt x="1172165" y="2470308"/>
                </a:moveTo>
                <a:cubicBezTo>
                  <a:pt x="1172991" y="2470153"/>
                  <a:pt x="1172991" y="2470153"/>
                  <a:pt x="1173920" y="2470928"/>
                </a:cubicBezTo>
                <a:cubicBezTo>
                  <a:pt x="1174746" y="2470773"/>
                  <a:pt x="1173301" y="2474336"/>
                  <a:pt x="1173404" y="2475265"/>
                </a:cubicBezTo>
                <a:cubicBezTo>
                  <a:pt x="1172578" y="2475420"/>
                  <a:pt x="1172474" y="2475420"/>
                  <a:pt x="1172474" y="2474491"/>
                </a:cubicBezTo>
                <a:cubicBezTo>
                  <a:pt x="1172371" y="2474646"/>
                  <a:pt x="1172371" y="2474646"/>
                  <a:pt x="1172268" y="2474800"/>
                </a:cubicBezTo>
                <a:cubicBezTo>
                  <a:pt x="1171855" y="2474181"/>
                  <a:pt x="1171339" y="2473561"/>
                  <a:pt x="1171442" y="2472941"/>
                </a:cubicBezTo>
                <a:cubicBezTo>
                  <a:pt x="1171442" y="2472012"/>
                  <a:pt x="1171855" y="2471238"/>
                  <a:pt x="1172165" y="2470308"/>
                </a:cubicBezTo>
                <a:close/>
                <a:moveTo>
                  <a:pt x="5402721" y="2469503"/>
                </a:moveTo>
                <a:cubicBezTo>
                  <a:pt x="5403148" y="2469361"/>
                  <a:pt x="5403575" y="2469503"/>
                  <a:pt x="5403788" y="2470072"/>
                </a:cubicBezTo>
                <a:cubicBezTo>
                  <a:pt x="5404215" y="2470925"/>
                  <a:pt x="5402935" y="2471495"/>
                  <a:pt x="5401440" y="2471210"/>
                </a:cubicBezTo>
                <a:cubicBezTo>
                  <a:pt x="5401440" y="2471210"/>
                  <a:pt x="5401013" y="2470214"/>
                  <a:pt x="5401013" y="2470214"/>
                </a:cubicBezTo>
                <a:cubicBezTo>
                  <a:pt x="5401654" y="2469930"/>
                  <a:pt x="5402080" y="2469503"/>
                  <a:pt x="5402721" y="2469503"/>
                </a:cubicBezTo>
                <a:close/>
                <a:moveTo>
                  <a:pt x="993635" y="2468760"/>
                </a:moveTo>
                <a:lnTo>
                  <a:pt x="1001895" y="2472632"/>
                </a:lnTo>
                <a:lnTo>
                  <a:pt x="1003031" y="2471083"/>
                </a:lnTo>
                <a:cubicBezTo>
                  <a:pt x="1004064" y="2470308"/>
                  <a:pt x="1006026" y="2469689"/>
                  <a:pt x="1008194" y="2469379"/>
                </a:cubicBezTo>
                <a:cubicBezTo>
                  <a:pt x="1010362" y="2469069"/>
                  <a:pt x="1012531" y="2469224"/>
                  <a:pt x="1013667" y="2470153"/>
                </a:cubicBezTo>
                <a:cubicBezTo>
                  <a:pt x="1012531" y="2471703"/>
                  <a:pt x="1011498" y="2473251"/>
                  <a:pt x="1010362" y="2474800"/>
                </a:cubicBezTo>
                <a:cubicBezTo>
                  <a:pt x="1010362" y="2474491"/>
                  <a:pt x="1008400" y="2474491"/>
                  <a:pt x="1006335" y="2474646"/>
                </a:cubicBezTo>
                <a:lnTo>
                  <a:pt x="1010465" y="2476659"/>
                </a:lnTo>
                <a:cubicBezTo>
                  <a:pt x="1015215" y="2479602"/>
                  <a:pt x="1017281" y="2483474"/>
                  <a:pt x="1010982" y="2489825"/>
                </a:cubicBezTo>
                <a:cubicBezTo>
                  <a:pt x="1006542" y="2480841"/>
                  <a:pt x="993738" y="2476969"/>
                  <a:pt x="993635" y="2468760"/>
                </a:cubicBezTo>
                <a:close/>
                <a:moveTo>
                  <a:pt x="752428" y="2468760"/>
                </a:moveTo>
                <a:cubicBezTo>
                  <a:pt x="753358" y="2469379"/>
                  <a:pt x="756042" y="2469069"/>
                  <a:pt x="757901" y="2469534"/>
                </a:cubicBezTo>
                <a:cubicBezTo>
                  <a:pt x="758004" y="2470308"/>
                  <a:pt x="758933" y="2471083"/>
                  <a:pt x="758933" y="2471857"/>
                </a:cubicBezTo>
                <a:cubicBezTo>
                  <a:pt x="758004" y="2472012"/>
                  <a:pt x="756249" y="2472941"/>
                  <a:pt x="756249" y="2472167"/>
                </a:cubicBezTo>
                <a:cubicBezTo>
                  <a:pt x="755320" y="2472322"/>
                  <a:pt x="755320" y="2470773"/>
                  <a:pt x="755320" y="2470773"/>
                </a:cubicBezTo>
                <a:cubicBezTo>
                  <a:pt x="754390" y="2470773"/>
                  <a:pt x="753461" y="2471083"/>
                  <a:pt x="752531" y="2470308"/>
                </a:cubicBezTo>
                <a:cubicBezTo>
                  <a:pt x="753358" y="2469379"/>
                  <a:pt x="752428" y="2469534"/>
                  <a:pt x="752428" y="2468760"/>
                </a:cubicBezTo>
                <a:close/>
                <a:moveTo>
                  <a:pt x="1221831" y="2467985"/>
                </a:moveTo>
                <a:cubicBezTo>
                  <a:pt x="1224309" y="2467210"/>
                  <a:pt x="1225652" y="2469844"/>
                  <a:pt x="1225238" y="2470618"/>
                </a:cubicBezTo>
                <a:cubicBezTo>
                  <a:pt x="1223999" y="2471083"/>
                  <a:pt x="1222554" y="2470308"/>
                  <a:pt x="1221315" y="2470773"/>
                </a:cubicBezTo>
                <a:cubicBezTo>
                  <a:pt x="1221728" y="2469999"/>
                  <a:pt x="1221418" y="2468760"/>
                  <a:pt x="1221831" y="2467985"/>
                </a:cubicBezTo>
                <a:close/>
                <a:moveTo>
                  <a:pt x="5409337" y="2467226"/>
                </a:moveTo>
                <a:cubicBezTo>
                  <a:pt x="5409337" y="2467226"/>
                  <a:pt x="5408483" y="2468791"/>
                  <a:pt x="5408483" y="2468791"/>
                </a:cubicBezTo>
                <a:cubicBezTo>
                  <a:pt x="5406989" y="2468507"/>
                  <a:pt x="5407203" y="2469361"/>
                  <a:pt x="5406563" y="2467369"/>
                </a:cubicBezTo>
                <a:cubicBezTo>
                  <a:pt x="5408056" y="2467796"/>
                  <a:pt x="5408056" y="2467796"/>
                  <a:pt x="5409337" y="2467226"/>
                </a:cubicBezTo>
                <a:close/>
                <a:moveTo>
                  <a:pt x="1201283" y="2467056"/>
                </a:moveTo>
                <a:cubicBezTo>
                  <a:pt x="1202626" y="2470618"/>
                  <a:pt x="1204174" y="2474026"/>
                  <a:pt x="1205104" y="2477743"/>
                </a:cubicBezTo>
                <a:cubicBezTo>
                  <a:pt x="1206033" y="2481461"/>
                  <a:pt x="1206239" y="2485489"/>
                  <a:pt x="1204794" y="2490290"/>
                </a:cubicBezTo>
                <a:cubicBezTo>
                  <a:pt x="1200147" y="2488431"/>
                  <a:pt x="1198599" y="2484094"/>
                  <a:pt x="1198495" y="2479602"/>
                </a:cubicBezTo>
                <a:cubicBezTo>
                  <a:pt x="1198392" y="2474955"/>
                  <a:pt x="1199838" y="2470153"/>
                  <a:pt x="1201283" y="2467056"/>
                </a:cubicBezTo>
                <a:close/>
                <a:moveTo>
                  <a:pt x="1279448" y="2466281"/>
                </a:moveTo>
                <a:cubicBezTo>
                  <a:pt x="1277073" y="2470618"/>
                  <a:pt x="1274595" y="2471392"/>
                  <a:pt x="1271704" y="2470618"/>
                </a:cubicBezTo>
                <a:cubicBezTo>
                  <a:pt x="1271291" y="2469224"/>
                  <a:pt x="1271394" y="2467985"/>
                  <a:pt x="1271807" y="2466901"/>
                </a:cubicBezTo>
                <a:cubicBezTo>
                  <a:pt x="1273046" y="2463803"/>
                  <a:pt x="1277176" y="2462563"/>
                  <a:pt x="1279448" y="2466281"/>
                </a:cubicBezTo>
                <a:close/>
                <a:moveTo>
                  <a:pt x="1307224" y="2465817"/>
                </a:moveTo>
                <a:cubicBezTo>
                  <a:pt x="1311458" y="2466281"/>
                  <a:pt x="1315174" y="2472632"/>
                  <a:pt x="1309908" y="2476194"/>
                </a:cubicBezTo>
                <a:cubicBezTo>
                  <a:pt x="1307224" y="2476659"/>
                  <a:pt x="1304539" y="2477124"/>
                  <a:pt x="1301648" y="2474336"/>
                </a:cubicBezTo>
                <a:cubicBezTo>
                  <a:pt x="1301648" y="2470928"/>
                  <a:pt x="1302991" y="2468604"/>
                  <a:pt x="1307224" y="2465817"/>
                </a:cubicBezTo>
                <a:close/>
                <a:moveTo>
                  <a:pt x="1243928" y="2464732"/>
                </a:moveTo>
                <a:cubicBezTo>
                  <a:pt x="1244547" y="2466901"/>
                  <a:pt x="1248884" y="2465971"/>
                  <a:pt x="1249813" y="2469379"/>
                </a:cubicBezTo>
                <a:cubicBezTo>
                  <a:pt x="1249400" y="2470153"/>
                  <a:pt x="1249091" y="2470773"/>
                  <a:pt x="1248678" y="2471238"/>
                </a:cubicBezTo>
                <a:lnTo>
                  <a:pt x="1248574" y="2471392"/>
                </a:lnTo>
                <a:lnTo>
                  <a:pt x="1249607" y="2471857"/>
                </a:lnTo>
                <a:cubicBezTo>
                  <a:pt x="1250433" y="2471703"/>
                  <a:pt x="1251569" y="2472322"/>
                  <a:pt x="1251775" y="2473096"/>
                </a:cubicBezTo>
                <a:cubicBezTo>
                  <a:pt x="1251775" y="2473096"/>
                  <a:pt x="1252911" y="2473561"/>
                  <a:pt x="1253737" y="2473406"/>
                </a:cubicBezTo>
                <a:cubicBezTo>
                  <a:pt x="1255905" y="2474491"/>
                  <a:pt x="1256215" y="2475420"/>
                  <a:pt x="1256525" y="2476194"/>
                </a:cubicBezTo>
                <a:cubicBezTo>
                  <a:pt x="1256525" y="2476194"/>
                  <a:pt x="1255389" y="2475575"/>
                  <a:pt x="1254563" y="2475730"/>
                </a:cubicBezTo>
                <a:cubicBezTo>
                  <a:pt x="1254563" y="2475730"/>
                  <a:pt x="1253531" y="2475110"/>
                  <a:pt x="1252395" y="2474646"/>
                </a:cubicBezTo>
                <a:cubicBezTo>
                  <a:pt x="1252395" y="2474646"/>
                  <a:pt x="1251569" y="2474800"/>
                  <a:pt x="1250743" y="2475110"/>
                </a:cubicBezTo>
                <a:cubicBezTo>
                  <a:pt x="1249297" y="2474646"/>
                  <a:pt x="1247955" y="2474181"/>
                  <a:pt x="1247129" y="2473561"/>
                </a:cubicBezTo>
                <a:lnTo>
                  <a:pt x="1246819" y="2472941"/>
                </a:lnTo>
                <a:lnTo>
                  <a:pt x="1241140" y="2473716"/>
                </a:lnTo>
                <a:cubicBezTo>
                  <a:pt x="1236494" y="2473716"/>
                  <a:pt x="1234945" y="2471547"/>
                  <a:pt x="1234015" y="2471857"/>
                </a:cubicBezTo>
                <a:cubicBezTo>
                  <a:pt x="1233809" y="2470928"/>
                  <a:pt x="1233705" y="2470308"/>
                  <a:pt x="1233912" y="2469689"/>
                </a:cubicBezTo>
                <a:cubicBezTo>
                  <a:pt x="1234325" y="2467985"/>
                  <a:pt x="1236287" y="2467056"/>
                  <a:pt x="1238765" y="2465197"/>
                </a:cubicBezTo>
                <a:cubicBezTo>
                  <a:pt x="1239075" y="2466436"/>
                  <a:pt x="1242689" y="2465042"/>
                  <a:pt x="1243928" y="2464732"/>
                </a:cubicBezTo>
                <a:close/>
                <a:moveTo>
                  <a:pt x="1062300" y="2464732"/>
                </a:moveTo>
                <a:cubicBezTo>
                  <a:pt x="1063333" y="2466281"/>
                  <a:pt x="1062920" y="2467056"/>
                  <a:pt x="1061784" y="2467210"/>
                </a:cubicBezTo>
                <a:cubicBezTo>
                  <a:pt x="1061784" y="2467210"/>
                  <a:pt x="1060545" y="2467365"/>
                  <a:pt x="1059306" y="2467520"/>
                </a:cubicBezTo>
                <a:cubicBezTo>
                  <a:pt x="1058067" y="2467675"/>
                  <a:pt x="1057654" y="2468450"/>
                  <a:pt x="1057654" y="2468450"/>
                </a:cubicBezTo>
                <a:cubicBezTo>
                  <a:pt x="1056415" y="2468604"/>
                  <a:pt x="1055589" y="2468140"/>
                  <a:pt x="1055279" y="2466901"/>
                </a:cubicBezTo>
                <a:cubicBezTo>
                  <a:pt x="1055279" y="2466901"/>
                  <a:pt x="1056931" y="2466126"/>
                  <a:pt x="1056931" y="2466126"/>
                </a:cubicBezTo>
                <a:cubicBezTo>
                  <a:pt x="1059409" y="2465661"/>
                  <a:pt x="1060648" y="2465506"/>
                  <a:pt x="1062300" y="2464732"/>
                </a:cubicBezTo>
                <a:close/>
                <a:moveTo>
                  <a:pt x="1150688" y="2463958"/>
                </a:moveTo>
                <a:cubicBezTo>
                  <a:pt x="1150171" y="2466281"/>
                  <a:pt x="1155437" y="2468450"/>
                  <a:pt x="1154611" y="2471857"/>
                </a:cubicBezTo>
                <a:cubicBezTo>
                  <a:pt x="1153269" y="2482390"/>
                  <a:pt x="1150068" y="2482081"/>
                  <a:pt x="1143460" y="2482390"/>
                </a:cubicBezTo>
                <a:cubicBezTo>
                  <a:pt x="1144286" y="2482081"/>
                  <a:pt x="1143047" y="2481616"/>
                  <a:pt x="1143047" y="2481616"/>
                </a:cubicBezTo>
                <a:cubicBezTo>
                  <a:pt x="1140568" y="2480996"/>
                  <a:pt x="1142633" y="2485798"/>
                  <a:pt x="1139536" y="2485489"/>
                </a:cubicBezTo>
                <a:cubicBezTo>
                  <a:pt x="1136955" y="2485024"/>
                  <a:pt x="1135096" y="2483165"/>
                  <a:pt x="1133857" y="2481151"/>
                </a:cubicBezTo>
                <a:lnTo>
                  <a:pt x="1131792" y="2476349"/>
                </a:lnTo>
                <a:lnTo>
                  <a:pt x="1128797" y="2479757"/>
                </a:lnTo>
                <a:cubicBezTo>
                  <a:pt x="1126422" y="2481306"/>
                  <a:pt x="1123531" y="2481925"/>
                  <a:pt x="1120124" y="2480841"/>
                </a:cubicBezTo>
                <a:cubicBezTo>
                  <a:pt x="1120743" y="2479757"/>
                  <a:pt x="1119711" y="2479292"/>
                  <a:pt x="1118678" y="2478673"/>
                </a:cubicBezTo>
                <a:cubicBezTo>
                  <a:pt x="1117852" y="2473406"/>
                  <a:pt x="1125390" y="2467830"/>
                  <a:pt x="1130553" y="2467520"/>
                </a:cubicBezTo>
                <a:lnTo>
                  <a:pt x="1131379" y="2467830"/>
                </a:lnTo>
                <a:lnTo>
                  <a:pt x="1132308" y="2467675"/>
                </a:lnTo>
                <a:cubicBezTo>
                  <a:pt x="1134166" y="2467675"/>
                  <a:pt x="1134373" y="2469379"/>
                  <a:pt x="1136851" y="2470153"/>
                </a:cubicBezTo>
                <a:cubicBezTo>
                  <a:pt x="1141188" y="2470773"/>
                  <a:pt x="1141911" y="2462563"/>
                  <a:pt x="1150688" y="2463958"/>
                </a:cubicBezTo>
                <a:close/>
                <a:moveTo>
                  <a:pt x="761721" y="2463183"/>
                </a:moveTo>
                <a:cubicBezTo>
                  <a:pt x="761721" y="2463183"/>
                  <a:pt x="762651" y="2463803"/>
                  <a:pt x="763580" y="2464577"/>
                </a:cubicBezTo>
                <a:cubicBezTo>
                  <a:pt x="764406" y="2465352"/>
                  <a:pt x="765335" y="2465197"/>
                  <a:pt x="765335" y="2465197"/>
                </a:cubicBezTo>
                <a:cubicBezTo>
                  <a:pt x="766264" y="2465971"/>
                  <a:pt x="766264" y="2466901"/>
                  <a:pt x="765438" y="2467830"/>
                </a:cubicBezTo>
                <a:cubicBezTo>
                  <a:pt x="765438" y="2467830"/>
                  <a:pt x="763683" y="2467210"/>
                  <a:pt x="763683" y="2467210"/>
                </a:cubicBezTo>
                <a:cubicBezTo>
                  <a:pt x="761928" y="2465661"/>
                  <a:pt x="760896" y="2464887"/>
                  <a:pt x="759140" y="2464267"/>
                </a:cubicBezTo>
                <a:cubicBezTo>
                  <a:pt x="759863" y="2462563"/>
                  <a:pt x="760792" y="2462409"/>
                  <a:pt x="761721" y="2463183"/>
                </a:cubicBezTo>
                <a:close/>
                <a:moveTo>
                  <a:pt x="6156093" y="2462959"/>
                </a:moveTo>
                <a:cubicBezTo>
                  <a:pt x="6157587" y="2468934"/>
                  <a:pt x="6150117" y="2475762"/>
                  <a:pt x="6144781" y="2475194"/>
                </a:cubicBezTo>
                <a:cubicBezTo>
                  <a:pt x="6143074" y="2475052"/>
                  <a:pt x="6141580" y="2474055"/>
                  <a:pt x="6140940" y="2471922"/>
                </a:cubicBezTo>
                <a:cubicBezTo>
                  <a:pt x="6142220" y="2464239"/>
                  <a:pt x="6149050" y="2466373"/>
                  <a:pt x="6156093" y="2462959"/>
                </a:cubicBezTo>
                <a:close/>
                <a:moveTo>
                  <a:pt x="583295" y="2462718"/>
                </a:moveTo>
                <a:cubicBezTo>
                  <a:pt x="583295" y="2462718"/>
                  <a:pt x="583295" y="2462718"/>
                  <a:pt x="583295" y="2463493"/>
                </a:cubicBezTo>
                <a:cubicBezTo>
                  <a:pt x="583295" y="2463493"/>
                  <a:pt x="583295" y="2462563"/>
                  <a:pt x="584121" y="2462718"/>
                </a:cubicBezTo>
                <a:cubicBezTo>
                  <a:pt x="586599" y="2467210"/>
                  <a:pt x="585566" y="2473871"/>
                  <a:pt x="585566" y="2474646"/>
                </a:cubicBezTo>
                <a:cubicBezTo>
                  <a:pt x="584740" y="2474646"/>
                  <a:pt x="584740" y="2474646"/>
                  <a:pt x="584740" y="2474646"/>
                </a:cubicBezTo>
                <a:cubicBezTo>
                  <a:pt x="585463" y="2472167"/>
                  <a:pt x="583295" y="2468914"/>
                  <a:pt x="582882" y="2465817"/>
                </a:cubicBezTo>
                <a:cubicBezTo>
                  <a:pt x="582778" y="2464732"/>
                  <a:pt x="582778" y="2463648"/>
                  <a:pt x="583295" y="2462718"/>
                </a:cubicBezTo>
                <a:close/>
                <a:moveTo>
                  <a:pt x="5427691" y="2462105"/>
                </a:moveTo>
                <a:cubicBezTo>
                  <a:pt x="5425557" y="2463101"/>
                  <a:pt x="5413392" y="2467938"/>
                  <a:pt x="5409337" y="2467369"/>
                </a:cubicBezTo>
                <a:cubicBezTo>
                  <a:pt x="5415099" y="2465804"/>
                  <a:pt x="5422142" y="2461109"/>
                  <a:pt x="5427691" y="2462105"/>
                </a:cubicBezTo>
                <a:close/>
                <a:moveTo>
                  <a:pt x="1411616" y="2462099"/>
                </a:moveTo>
                <a:lnTo>
                  <a:pt x="1411203" y="2462409"/>
                </a:lnTo>
                <a:cubicBezTo>
                  <a:pt x="1409861" y="2463958"/>
                  <a:pt x="1408828" y="2465352"/>
                  <a:pt x="1408105" y="2466746"/>
                </a:cubicBezTo>
                <a:lnTo>
                  <a:pt x="1408002" y="2467056"/>
                </a:lnTo>
                <a:lnTo>
                  <a:pt x="1410377" y="2465352"/>
                </a:lnTo>
                <a:cubicBezTo>
                  <a:pt x="1411823" y="2464887"/>
                  <a:pt x="1413062" y="2464732"/>
                  <a:pt x="1414404" y="2464732"/>
                </a:cubicBezTo>
                <a:cubicBezTo>
                  <a:pt x="1414404" y="2464732"/>
                  <a:pt x="1414404" y="2464732"/>
                  <a:pt x="1413578" y="2464732"/>
                </a:cubicBezTo>
                <a:close/>
                <a:moveTo>
                  <a:pt x="573692" y="2461014"/>
                </a:moveTo>
                <a:cubicBezTo>
                  <a:pt x="575447" y="2460395"/>
                  <a:pt x="575447" y="2460395"/>
                  <a:pt x="577203" y="2461324"/>
                </a:cubicBezTo>
                <a:cubicBezTo>
                  <a:pt x="577203" y="2462254"/>
                  <a:pt x="578132" y="2462254"/>
                  <a:pt x="577203" y="2463028"/>
                </a:cubicBezTo>
                <a:cubicBezTo>
                  <a:pt x="579784" y="2465042"/>
                  <a:pt x="582365" y="2472787"/>
                  <a:pt x="581436" y="2476039"/>
                </a:cubicBezTo>
                <a:cubicBezTo>
                  <a:pt x="573486" y="2469379"/>
                  <a:pt x="578028" y="2464732"/>
                  <a:pt x="573692" y="2461014"/>
                </a:cubicBezTo>
                <a:close/>
                <a:moveTo>
                  <a:pt x="6278596" y="2460540"/>
                </a:moveTo>
                <a:cubicBezTo>
                  <a:pt x="6289053" y="2460113"/>
                  <a:pt x="6291401" y="2471068"/>
                  <a:pt x="6287559" y="2476190"/>
                </a:cubicBezTo>
                <a:cubicBezTo>
                  <a:pt x="6286065" y="2477897"/>
                  <a:pt x="6284145" y="2478892"/>
                  <a:pt x="6281370" y="2478750"/>
                </a:cubicBezTo>
                <a:cubicBezTo>
                  <a:pt x="6277742" y="2472206"/>
                  <a:pt x="6272407" y="2465519"/>
                  <a:pt x="6278596" y="2460540"/>
                </a:cubicBezTo>
                <a:close/>
                <a:moveTo>
                  <a:pt x="4839079" y="2460540"/>
                </a:moveTo>
                <a:cubicBezTo>
                  <a:pt x="4848683" y="2473629"/>
                  <a:pt x="4866824" y="2467796"/>
                  <a:pt x="4874720" y="2484015"/>
                </a:cubicBezTo>
                <a:cubicBezTo>
                  <a:pt x="4869172" y="2487428"/>
                  <a:pt x="4858928" y="2485580"/>
                  <a:pt x="4850604" y="2480885"/>
                </a:cubicBezTo>
                <a:cubicBezTo>
                  <a:pt x="4842281" y="2476190"/>
                  <a:pt x="4836091" y="2468649"/>
                  <a:pt x="4839079" y="2460540"/>
                </a:cubicBezTo>
                <a:close/>
                <a:moveTo>
                  <a:pt x="1332005" y="2460085"/>
                </a:moveTo>
                <a:cubicBezTo>
                  <a:pt x="1336033" y="2474026"/>
                  <a:pt x="1325294" y="2487037"/>
                  <a:pt x="1318892" y="2500049"/>
                </a:cubicBezTo>
                <a:cubicBezTo>
                  <a:pt x="1316414" y="2498035"/>
                  <a:pt x="1313729" y="2498499"/>
                  <a:pt x="1310528" y="2494627"/>
                </a:cubicBezTo>
                <a:cubicBezTo>
                  <a:pt x="1316620" y="2486573"/>
                  <a:pt x="1320751" y="2477898"/>
                  <a:pt x="1325191" y="2470153"/>
                </a:cubicBezTo>
                <a:cubicBezTo>
                  <a:pt x="1323229" y="2471238"/>
                  <a:pt x="1317653" y="2473716"/>
                  <a:pt x="1316001" y="2472941"/>
                </a:cubicBezTo>
                <a:cubicBezTo>
                  <a:pt x="1318582" y="2471238"/>
                  <a:pt x="1324158" y="2469379"/>
                  <a:pt x="1325294" y="2469999"/>
                </a:cubicBezTo>
                <a:cubicBezTo>
                  <a:pt x="1327359" y="2466436"/>
                  <a:pt x="1329528" y="2463028"/>
                  <a:pt x="1332005" y="2460085"/>
                </a:cubicBezTo>
                <a:close/>
                <a:moveTo>
                  <a:pt x="851309" y="2460047"/>
                </a:moveTo>
                <a:cubicBezTo>
                  <a:pt x="859118" y="2460937"/>
                  <a:pt x="867404" y="2463028"/>
                  <a:pt x="875200" y="2464113"/>
                </a:cubicBezTo>
                <a:cubicBezTo>
                  <a:pt x="874167" y="2466901"/>
                  <a:pt x="875716" y="2469224"/>
                  <a:pt x="873445" y="2473096"/>
                </a:cubicBezTo>
                <a:lnTo>
                  <a:pt x="861983" y="2470618"/>
                </a:lnTo>
                <a:lnTo>
                  <a:pt x="860434" y="2470928"/>
                </a:lnTo>
                <a:cubicBezTo>
                  <a:pt x="859505" y="2471083"/>
                  <a:pt x="858679" y="2470928"/>
                  <a:pt x="858266" y="2470463"/>
                </a:cubicBezTo>
                <a:lnTo>
                  <a:pt x="857853" y="2469689"/>
                </a:lnTo>
                <a:lnTo>
                  <a:pt x="850832" y="2468140"/>
                </a:lnTo>
                <a:cubicBezTo>
                  <a:pt x="843500" y="2466746"/>
                  <a:pt x="836582" y="2465506"/>
                  <a:pt x="830284" y="2463183"/>
                </a:cubicBezTo>
                <a:cubicBezTo>
                  <a:pt x="836169" y="2459466"/>
                  <a:pt x="843500" y="2459156"/>
                  <a:pt x="851309" y="2460047"/>
                </a:cubicBezTo>
                <a:close/>
                <a:moveTo>
                  <a:pt x="1229265" y="2459775"/>
                </a:moveTo>
                <a:cubicBezTo>
                  <a:pt x="1232157" y="2458536"/>
                  <a:pt x="1235977" y="2458691"/>
                  <a:pt x="1238249" y="2460550"/>
                </a:cubicBezTo>
                <a:cubicBezTo>
                  <a:pt x="1235461" y="2466126"/>
                  <a:pt x="1232363" y="2469379"/>
                  <a:pt x="1225342" y="2466591"/>
                </a:cubicBezTo>
                <a:cubicBezTo>
                  <a:pt x="1225032" y="2465661"/>
                  <a:pt x="1224929" y="2465042"/>
                  <a:pt x="1225032" y="2464267"/>
                </a:cubicBezTo>
                <a:cubicBezTo>
                  <a:pt x="1225238" y="2462254"/>
                  <a:pt x="1226994" y="2460550"/>
                  <a:pt x="1229265" y="2459775"/>
                </a:cubicBezTo>
                <a:close/>
                <a:moveTo>
                  <a:pt x="859505" y="2456988"/>
                </a:moveTo>
                <a:lnTo>
                  <a:pt x="861983" y="2459466"/>
                </a:lnTo>
                <a:cubicBezTo>
                  <a:pt x="861157" y="2460395"/>
                  <a:pt x="859402" y="2461170"/>
                  <a:pt x="858576" y="2460395"/>
                </a:cubicBezTo>
                <a:cubicBezTo>
                  <a:pt x="857750" y="2460085"/>
                  <a:pt x="857750" y="2459620"/>
                  <a:pt x="858163" y="2459001"/>
                </a:cubicBezTo>
                <a:cubicBezTo>
                  <a:pt x="858472" y="2458536"/>
                  <a:pt x="859092" y="2457916"/>
                  <a:pt x="859505" y="2456988"/>
                </a:cubicBezTo>
                <a:close/>
                <a:moveTo>
                  <a:pt x="1099886" y="2456832"/>
                </a:moveTo>
                <a:cubicBezTo>
                  <a:pt x="1100402" y="2461479"/>
                  <a:pt x="1102880" y="2464577"/>
                  <a:pt x="1105978" y="2467056"/>
                </a:cubicBezTo>
                <a:lnTo>
                  <a:pt x="1109385" y="2469844"/>
                </a:lnTo>
                <a:lnTo>
                  <a:pt x="1110005" y="2469224"/>
                </a:lnTo>
                <a:cubicBezTo>
                  <a:pt x="1110211" y="2468914"/>
                  <a:pt x="1110211" y="2468914"/>
                  <a:pt x="1109798" y="2468914"/>
                </a:cubicBezTo>
                <a:cubicBezTo>
                  <a:pt x="1111760" y="2467365"/>
                  <a:pt x="1113929" y="2465042"/>
                  <a:pt x="1115477" y="2465971"/>
                </a:cubicBezTo>
                <a:cubicBezTo>
                  <a:pt x="1117749" y="2468140"/>
                  <a:pt x="1116820" y="2471547"/>
                  <a:pt x="1115064" y="2474491"/>
                </a:cubicBezTo>
                <a:lnTo>
                  <a:pt x="1114858" y="2474955"/>
                </a:lnTo>
                <a:lnTo>
                  <a:pt x="1116406" y="2477898"/>
                </a:lnTo>
                <a:cubicBezTo>
                  <a:pt x="1116820" y="2478983"/>
                  <a:pt x="1117026" y="2480377"/>
                  <a:pt x="1116923" y="2481771"/>
                </a:cubicBezTo>
                <a:lnTo>
                  <a:pt x="1115580" y="2487812"/>
                </a:lnTo>
                <a:lnTo>
                  <a:pt x="1117439" y="2488121"/>
                </a:lnTo>
                <a:cubicBezTo>
                  <a:pt x="1117026" y="2491064"/>
                  <a:pt x="1115477" y="2491994"/>
                  <a:pt x="1113515" y="2491994"/>
                </a:cubicBezTo>
                <a:lnTo>
                  <a:pt x="1113309" y="2491994"/>
                </a:lnTo>
                <a:lnTo>
                  <a:pt x="1111450" y="2494162"/>
                </a:lnTo>
                <a:lnTo>
                  <a:pt x="1111760" y="2494162"/>
                </a:lnTo>
                <a:cubicBezTo>
                  <a:pt x="1112586" y="2494162"/>
                  <a:pt x="1113205" y="2494472"/>
                  <a:pt x="1113722" y="2494937"/>
                </a:cubicBezTo>
                <a:lnTo>
                  <a:pt x="1114341" y="2496331"/>
                </a:lnTo>
                <a:lnTo>
                  <a:pt x="1116716" y="2496795"/>
                </a:lnTo>
                <a:cubicBezTo>
                  <a:pt x="1118885" y="2497570"/>
                  <a:pt x="1121053" y="2498654"/>
                  <a:pt x="1122912" y="2499429"/>
                </a:cubicBezTo>
                <a:cubicBezTo>
                  <a:pt x="1126835" y="2501133"/>
                  <a:pt x="1130966" y="2503301"/>
                  <a:pt x="1132204" y="2505780"/>
                </a:cubicBezTo>
                <a:lnTo>
                  <a:pt x="1132204" y="2506089"/>
                </a:lnTo>
                <a:lnTo>
                  <a:pt x="1134373" y="2507483"/>
                </a:lnTo>
                <a:cubicBezTo>
                  <a:pt x="1136851" y="2509652"/>
                  <a:pt x="1137987" y="2512440"/>
                  <a:pt x="1134373" y="2514609"/>
                </a:cubicBezTo>
                <a:lnTo>
                  <a:pt x="1129830" y="2511511"/>
                </a:lnTo>
                <a:lnTo>
                  <a:pt x="1128384" y="2513370"/>
                </a:lnTo>
                <a:cubicBezTo>
                  <a:pt x="1126319" y="2514454"/>
                  <a:pt x="1123737" y="2514764"/>
                  <a:pt x="1121053" y="2514609"/>
                </a:cubicBezTo>
                <a:lnTo>
                  <a:pt x="1120021" y="2514299"/>
                </a:lnTo>
                <a:lnTo>
                  <a:pt x="1120330" y="2524522"/>
                </a:lnTo>
                <a:lnTo>
                  <a:pt x="1120640" y="2527465"/>
                </a:lnTo>
                <a:lnTo>
                  <a:pt x="1121569" y="2528084"/>
                </a:lnTo>
                <a:cubicBezTo>
                  <a:pt x="1122395" y="2528859"/>
                  <a:pt x="1123118" y="2529788"/>
                  <a:pt x="1124254" y="2530253"/>
                </a:cubicBezTo>
                <a:cubicBezTo>
                  <a:pt x="1123634" y="2531027"/>
                  <a:pt x="1122912" y="2531957"/>
                  <a:pt x="1121776" y="2532577"/>
                </a:cubicBezTo>
                <a:lnTo>
                  <a:pt x="1121260" y="2532731"/>
                </a:lnTo>
                <a:lnTo>
                  <a:pt x="1121260" y="2533196"/>
                </a:lnTo>
                <a:lnTo>
                  <a:pt x="1120950" y="2532886"/>
                </a:lnTo>
                <a:lnTo>
                  <a:pt x="1119814" y="2533351"/>
                </a:lnTo>
                <a:cubicBezTo>
                  <a:pt x="1118988" y="2533351"/>
                  <a:pt x="1118162" y="2533351"/>
                  <a:pt x="1117026" y="2533041"/>
                </a:cubicBezTo>
                <a:cubicBezTo>
                  <a:pt x="1115890" y="2532577"/>
                  <a:pt x="1115787" y="2532577"/>
                  <a:pt x="1115374" y="2531802"/>
                </a:cubicBezTo>
                <a:cubicBezTo>
                  <a:pt x="1114651" y="2531182"/>
                  <a:pt x="1113929" y="2530718"/>
                  <a:pt x="1113515" y="2530253"/>
                </a:cubicBezTo>
                <a:lnTo>
                  <a:pt x="1113309" y="2529788"/>
                </a:lnTo>
                <a:lnTo>
                  <a:pt x="1111966" y="2529479"/>
                </a:lnTo>
                <a:cubicBezTo>
                  <a:pt x="1108766" y="2529169"/>
                  <a:pt x="1105565" y="2529479"/>
                  <a:pt x="1102467" y="2529479"/>
                </a:cubicBezTo>
                <a:lnTo>
                  <a:pt x="1102364" y="2531182"/>
                </a:lnTo>
                <a:cubicBezTo>
                  <a:pt x="1101744" y="2532731"/>
                  <a:pt x="1100711" y="2533971"/>
                  <a:pt x="1100505" y="2535365"/>
                </a:cubicBezTo>
                <a:cubicBezTo>
                  <a:pt x="1096685" y="2534900"/>
                  <a:pt x="1094723" y="2532577"/>
                  <a:pt x="1094310" y="2530408"/>
                </a:cubicBezTo>
                <a:lnTo>
                  <a:pt x="1094413" y="2528395"/>
                </a:lnTo>
                <a:lnTo>
                  <a:pt x="1092761" y="2527930"/>
                </a:lnTo>
                <a:cubicBezTo>
                  <a:pt x="1091522" y="2527310"/>
                  <a:pt x="1090386" y="2526536"/>
                  <a:pt x="1089250" y="2525296"/>
                </a:cubicBezTo>
                <a:cubicBezTo>
                  <a:pt x="1080370" y="2517242"/>
                  <a:pt x="1082125" y="2506709"/>
                  <a:pt x="1088218" y="2500203"/>
                </a:cubicBezTo>
                <a:lnTo>
                  <a:pt x="1088734" y="2499893"/>
                </a:lnTo>
                <a:lnTo>
                  <a:pt x="1086565" y="2498499"/>
                </a:lnTo>
                <a:lnTo>
                  <a:pt x="1086359" y="2500203"/>
                </a:lnTo>
                <a:cubicBezTo>
                  <a:pt x="1085533" y="2501597"/>
                  <a:pt x="1083674" y="2502372"/>
                  <a:pt x="1080990" y="2501442"/>
                </a:cubicBezTo>
                <a:cubicBezTo>
                  <a:pt x="1080473" y="2500358"/>
                  <a:pt x="1080473" y="2498499"/>
                  <a:pt x="1080887" y="2496795"/>
                </a:cubicBezTo>
                <a:lnTo>
                  <a:pt x="1082125" y="2494937"/>
                </a:lnTo>
                <a:lnTo>
                  <a:pt x="1079441" y="2490135"/>
                </a:lnTo>
                <a:cubicBezTo>
                  <a:pt x="1079131" y="2488896"/>
                  <a:pt x="1078925" y="2487502"/>
                  <a:pt x="1078925" y="2485953"/>
                </a:cubicBezTo>
                <a:cubicBezTo>
                  <a:pt x="1079028" y="2484559"/>
                  <a:pt x="1079234" y="2482855"/>
                  <a:pt x="1079647" y="2481151"/>
                </a:cubicBezTo>
                <a:cubicBezTo>
                  <a:pt x="1080990" y="2476504"/>
                  <a:pt x="1084087" y="2472941"/>
                  <a:pt x="1087908" y="2469379"/>
                </a:cubicBezTo>
                <a:lnTo>
                  <a:pt x="1090489" y="2466901"/>
                </a:lnTo>
                <a:lnTo>
                  <a:pt x="1090696" y="2465661"/>
                </a:lnTo>
                <a:cubicBezTo>
                  <a:pt x="1091005" y="2464422"/>
                  <a:pt x="1091419" y="2463183"/>
                  <a:pt x="1092038" y="2462563"/>
                </a:cubicBezTo>
                <a:cubicBezTo>
                  <a:pt x="1092451" y="2462099"/>
                  <a:pt x="1092967" y="2461944"/>
                  <a:pt x="1093587" y="2462099"/>
                </a:cubicBezTo>
                <a:lnTo>
                  <a:pt x="1093174" y="2464267"/>
                </a:lnTo>
                <a:lnTo>
                  <a:pt x="1093897" y="2463648"/>
                </a:lnTo>
                <a:cubicBezTo>
                  <a:pt x="1095962" y="2461634"/>
                  <a:pt x="1098027" y="2459311"/>
                  <a:pt x="1099886" y="2456832"/>
                </a:cubicBezTo>
                <a:close/>
                <a:moveTo>
                  <a:pt x="4916978" y="2455987"/>
                </a:moveTo>
                <a:lnTo>
                  <a:pt x="4918898" y="2456699"/>
                </a:lnTo>
                <a:lnTo>
                  <a:pt x="4919966" y="2456272"/>
                </a:lnTo>
                <a:lnTo>
                  <a:pt x="4919966" y="2456983"/>
                </a:lnTo>
                <a:lnTo>
                  <a:pt x="4921032" y="2457410"/>
                </a:lnTo>
                <a:cubicBezTo>
                  <a:pt x="4922526" y="2458406"/>
                  <a:pt x="4924020" y="2459829"/>
                  <a:pt x="4925301" y="2461678"/>
                </a:cubicBezTo>
                <a:cubicBezTo>
                  <a:pt x="4919752" y="2467369"/>
                  <a:pt x="4921246" y="2473344"/>
                  <a:pt x="4914416" y="2475479"/>
                </a:cubicBezTo>
                <a:cubicBezTo>
                  <a:pt x="4903745" y="2468791"/>
                  <a:pt x="4908868" y="2455418"/>
                  <a:pt x="4916978" y="2455987"/>
                </a:cubicBezTo>
                <a:close/>
                <a:moveTo>
                  <a:pt x="747369" y="2455903"/>
                </a:moveTo>
                <a:cubicBezTo>
                  <a:pt x="748195" y="2454199"/>
                  <a:pt x="749950" y="2454664"/>
                  <a:pt x="751809" y="2456213"/>
                </a:cubicBezTo>
                <a:cubicBezTo>
                  <a:pt x="756352" y="2458071"/>
                  <a:pt x="757385" y="2460395"/>
                  <a:pt x="754906" y="2463183"/>
                </a:cubicBezTo>
                <a:cubicBezTo>
                  <a:pt x="753977" y="2463338"/>
                  <a:pt x="751396" y="2462873"/>
                  <a:pt x="751396" y="2463648"/>
                </a:cubicBezTo>
                <a:cubicBezTo>
                  <a:pt x="749331" y="2462099"/>
                  <a:pt x="747162" y="2460085"/>
                  <a:pt x="746956" y="2458071"/>
                </a:cubicBezTo>
                <a:cubicBezTo>
                  <a:pt x="746853" y="2457297"/>
                  <a:pt x="746956" y="2456677"/>
                  <a:pt x="747369" y="2455903"/>
                </a:cubicBezTo>
                <a:close/>
                <a:moveTo>
                  <a:pt x="5083872" y="2455134"/>
                </a:moveTo>
                <a:cubicBezTo>
                  <a:pt x="5089634" y="2455276"/>
                  <a:pt x="5091768" y="2458122"/>
                  <a:pt x="5093049" y="2463243"/>
                </a:cubicBezTo>
                <a:cubicBezTo>
                  <a:pt x="5090701" y="2465377"/>
                  <a:pt x="5085152" y="2465235"/>
                  <a:pt x="5082805" y="2462390"/>
                </a:cubicBezTo>
                <a:cubicBezTo>
                  <a:pt x="5082164" y="2458122"/>
                  <a:pt x="5084726" y="2457695"/>
                  <a:pt x="5083872" y="2455134"/>
                </a:cubicBezTo>
                <a:close/>
                <a:moveTo>
                  <a:pt x="6146489" y="2454992"/>
                </a:moveTo>
                <a:cubicBezTo>
                  <a:pt x="6146275" y="2456130"/>
                  <a:pt x="6146275" y="2456130"/>
                  <a:pt x="6146275" y="2456130"/>
                </a:cubicBezTo>
                <a:lnTo>
                  <a:pt x="6146434" y="2455034"/>
                </a:lnTo>
                <a:close/>
                <a:moveTo>
                  <a:pt x="6203258" y="2453427"/>
                </a:moveTo>
                <a:cubicBezTo>
                  <a:pt x="6197710" y="2464096"/>
                  <a:pt x="6188959" y="2479462"/>
                  <a:pt x="6178928" y="2489563"/>
                </a:cubicBezTo>
                <a:lnTo>
                  <a:pt x="6178288" y="2489990"/>
                </a:lnTo>
                <a:lnTo>
                  <a:pt x="6181276" y="2490559"/>
                </a:lnTo>
                <a:cubicBezTo>
                  <a:pt x="6182557" y="2491128"/>
                  <a:pt x="6184051" y="2492124"/>
                  <a:pt x="6185545" y="2493546"/>
                </a:cubicBezTo>
                <a:cubicBezTo>
                  <a:pt x="6192161" y="2500660"/>
                  <a:pt x="6185971" y="2506920"/>
                  <a:pt x="6187039" y="2507062"/>
                </a:cubicBezTo>
                <a:cubicBezTo>
                  <a:pt x="6188106" y="2508485"/>
                  <a:pt x="6188106" y="2508485"/>
                  <a:pt x="6189173" y="2508627"/>
                </a:cubicBezTo>
                <a:cubicBezTo>
                  <a:pt x="6189173" y="2509907"/>
                  <a:pt x="6190027" y="2512468"/>
                  <a:pt x="6191094" y="2513891"/>
                </a:cubicBezTo>
                <a:cubicBezTo>
                  <a:pt x="6190027" y="2513606"/>
                  <a:pt x="6188959" y="2513464"/>
                  <a:pt x="6188959" y="2514602"/>
                </a:cubicBezTo>
                <a:cubicBezTo>
                  <a:pt x="6186825" y="2511899"/>
                  <a:pt x="6186825" y="2510618"/>
                  <a:pt x="6185758" y="2509338"/>
                </a:cubicBezTo>
                <a:cubicBezTo>
                  <a:pt x="6185758" y="2510477"/>
                  <a:pt x="6184691" y="2509053"/>
                  <a:pt x="6184691" y="2509053"/>
                </a:cubicBezTo>
                <a:cubicBezTo>
                  <a:pt x="6184691" y="2509053"/>
                  <a:pt x="6184478" y="2509053"/>
                  <a:pt x="6182130" y="2511046"/>
                </a:cubicBezTo>
                <a:cubicBezTo>
                  <a:pt x="6182130" y="2511046"/>
                  <a:pt x="6176154" y="2514887"/>
                  <a:pt x="6170605" y="2509196"/>
                </a:cubicBezTo>
                <a:cubicBezTo>
                  <a:pt x="6171672" y="2508485"/>
                  <a:pt x="6168258" y="2503648"/>
                  <a:pt x="6167617" y="2499379"/>
                </a:cubicBezTo>
                <a:lnTo>
                  <a:pt x="6167831" y="2496961"/>
                </a:lnTo>
                <a:lnTo>
                  <a:pt x="6165483" y="2491128"/>
                </a:lnTo>
                <a:cubicBezTo>
                  <a:pt x="6163562" y="2475762"/>
                  <a:pt x="6191947" y="2456557"/>
                  <a:pt x="6203258" y="2453427"/>
                </a:cubicBezTo>
                <a:close/>
                <a:moveTo>
                  <a:pt x="1348204" y="2452069"/>
                </a:moveTo>
                <a:cubicBezTo>
                  <a:pt x="1350334" y="2451605"/>
                  <a:pt x="1352399" y="2452573"/>
                  <a:pt x="1353586" y="2454199"/>
                </a:cubicBezTo>
                <a:cubicBezTo>
                  <a:pt x="1354309" y="2455439"/>
                  <a:pt x="1354722" y="2456832"/>
                  <a:pt x="1354515" y="2458381"/>
                </a:cubicBezTo>
                <a:cubicBezTo>
                  <a:pt x="1354102" y="2460395"/>
                  <a:pt x="1352657" y="2462409"/>
                  <a:pt x="1349456" y="2464113"/>
                </a:cubicBezTo>
                <a:cubicBezTo>
                  <a:pt x="1345429" y="2462873"/>
                  <a:pt x="1344809" y="2460395"/>
                  <a:pt x="1342434" y="2458536"/>
                </a:cubicBezTo>
                <a:cubicBezTo>
                  <a:pt x="1343880" y="2454431"/>
                  <a:pt x="1346074" y="2452534"/>
                  <a:pt x="1348204" y="2452069"/>
                </a:cubicBezTo>
                <a:close/>
                <a:moveTo>
                  <a:pt x="1277486" y="2451566"/>
                </a:moveTo>
                <a:cubicBezTo>
                  <a:pt x="1276660" y="2455128"/>
                  <a:pt x="1269329" y="2461789"/>
                  <a:pt x="1263133" y="2458846"/>
                </a:cubicBezTo>
                <a:cubicBezTo>
                  <a:pt x="1266438" y="2450946"/>
                  <a:pt x="1272117" y="2451566"/>
                  <a:pt x="1277486" y="2451566"/>
                </a:cubicBezTo>
                <a:close/>
                <a:moveTo>
                  <a:pt x="4821152" y="2450866"/>
                </a:moveTo>
                <a:cubicBezTo>
                  <a:pt x="4828835" y="2449728"/>
                  <a:pt x="4838439" y="2458122"/>
                  <a:pt x="4828835" y="2465519"/>
                </a:cubicBezTo>
                <a:cubicBezTo>
                  <a:pt x="4822219" y="2461536"/>
                  <a:pt x="4817737" y="2458833"/>
                  <a:pt x="4815176" y="2455703"/>
                </a:cubicBezTo>
                <a:cubicBezTo>
                  <a:pt x="4816457" y="2452715"/>
                  <a:pt x="4818591" y="2451293"/>
                  <a:pt x="4821152" y="2450866"/>
                </a:cubicBezTo>
                <a:close/>
                <a:moveTo>
                  <a:pt x="5200826" y="2450581"/>
                </a:moveTo>
                <a:cubicBezTo>
                  <a:pt x="5206375" y="2458549"/>
                  <a:pt x="5215125" y="2472917"/>
                  <a:pt x="5200186" y="2481454"/>
                </a:cubicBezTo>
                <a:cubicBezTo>
                  <a:pt x="5198051" y="2480031"/>
                  <a:pt x="5195917" y="2478750"/>
                  <a:pt x="5193569" y="2477327"/>
                </a:cubicBezTo>
                <a:cubicBezTo>
                  <a:pt x="5198905" y="2467369"/>
                  <a:pt x="5196984" y="2458690"/>
                  <a:pt x="5200826" y="2450581"/>
                </a:cubicBezTo>
                <a:close/>
                <a:moveTo>
                  <a:pt x="639053" y="2450017"/>
                </a:moveTo>
                <a:cubicBezTo>
                  <a:pt x="641634" y="2452805"/>
                  <a:pt x="640705" y="2455284"/>
                  <a:pt x="639879" y="2457762"/>
                </a:cubicBezTo>
                <a:cubicBezTo>
                  <a:pt x="638950" y="2459311"/>
                  <a:pt x="638950" y="2460085"/>
                  <a:pt x="639776" y="2461789"/>
                </a:cubicBezTo>
                <a:cubicBezTo>
                  <a:pt x="639776" y="2461789"/>
                  <a:pt x="639672" y="2461789"/>
                  <a:pt x="638020" y="2463338"/>
                </a:cubicBezTo>
                <a:lnTo>
                  <a:pt x="637091" y="2463183"/>
                </a:lnTo>
                <a:cubicBezTo>
                  <a:pt x="636678" y="2463028"/>
                  <a:pt x="636472" y="2462254"/>
                  <a:pt x="636472" y="2461324"/>
                </a:cubicBezTo>
                <a:cubicBezTo>
                  <a:pt x="636265" y="2458691"/>
                  <a:pt x="637297" y="2453889"/>
                  <a:pt x="637297" y="2453270"/>
                </a:cubicBezTo>
                <a:cubicBezTo>
                  <a:pt x="637297" y="2453270"/>
                  <a:pt x="637297" y="2452340"/>
                  <a:pt x="637297" y="2451566"/>
                </a:cubicBezTo>
                <a:cubicBezTo>
                  <a:pt x="638227" y="2450791"/>
                  <a:pt x="639053" y="2450946"/>
                  <a:pt x="639053" y="2450017"/>
                </a:cubicBezTo>
                <a:close/>
                <a:moveTo>
                  <a:pt x="6160361" y="2448874"/>
                </a:moveTo>
                <a:cubicBezTo>
                  <a:pt x="6163562" y="2449585"/>
                  <a:pt x="6163989" y="2453284"/>
                  <a:pt x="6165483" y="2453712"/>
                </a:cubicBezTo>
                <a:cubicBezTo>
                  <a:pt x="6164629" y="2454280"/>
                  <a:pt x="6162495" y="2455560"/>
                  <a:pt x="6162495" y="2458264"/>
                </a:cubicBezTo>
                <a:cubicBezTo>
                  <a:pt x="6159508" y="2457552"/>
                  <a:pt x="6156306" y="2456699"/>
                  <a:pt x="6157373" y="2453427"/>
                </a:cubicBezTo>
                <a:cubicBezTo>
                  <a:pt x="6157800" y="2451719"/>
                  <a:pt x="6158441" y="2450154"/>
                  <a:pt x="6160361" y="2448874"/>
                </a:cubicBezTo>
                <a:close/>
                <a:moveTo>
                  <a:pt x="855685" y="2448778"/>
                </a:moveTo>
                <a:cubicBezTo>
                  <a:pt x="856511" y="2449707"/>
                  <a:pt x="856511" y="2448778"/>
                  <a:pt x="857440" y="2448778"/>
                </a:cubicBezTo>
                <a:lnTo>
                  <a:pt x="858163" y="2450017"/>
                </a:lnTo>
                <a:lnTo>
                  <a:pt x="858679" y="2449552"/>
                </a:lnTo>
                <a:cubicBezTo>
                  <a:pt x="860434" y="2448313"/>
                  <a:pt x="860434" y="2448468"/>
                  <a:pt x="861363" y="2449242"/>
                </a:cubicBezTo>
                <a:cubicBezTo>
                  <a:pt x="862396" y="2449862"/>
                  <a:pt x="861673" y="2452495"/>
                  <a:pt x="862602" y="2453270"/>
                </a:cubicBezTo>
                <a:cubicBezTo>
                  <a:pt x="862602" y="2453270"/>
                  <a:pt x="862602" y="2453425"/>
                  <a:pt x="860847" y="2454509"/>
                </a:cubicBezTo>
                <a:lnTo>
                  <a:pt x="859298" y="2454199"/>
                </a:lnTo>
                <a:lnTo>
                  <a:pt x="858782" y="2456213"/>
                </a:lnTo>
                <a:cubicBezTo>
                  <a:pt x="857027" y="2457916"/>
                  <a:pt x="854239" y="2460550"/>
                  <a:pt x="851658" y="2459001"/>
                </a:cubicBezTo>
                <a:cubicBezTo>
                  <a:pt x="851658" y="2458227"/>
                  <a:pt x="850832" y="2458227"/>
                  <a:pt x="850935" y="2457297"/>
                </a:cubicBezTo>
                <a:cubicBezTo>
                  <a:pt x="850935" y="2457297"/>
                  <a:pt x="850522" y="2456523"/>
                  <a:pt x="850419" y="2455284"/>
                </a:cubicBezTo>
                <a:cubicBezTo>
                  <a:pt x="850419" y="2454044"/>
                  <a:pt x="850625" y="2452495"/>
                  <a:pt x="852071" y="2450791"/>
                </a:cubicBezTo>
                <a:cubicBezTo>
                  <a:pt x="853000" y="2449862"/>
                  <a:pt x="855685" y="2448003"/>
                  <a:pt x="855685" y="2448778"/>
                </a:cubicBezTo>
                <a:close/>
                <a:moveTo>
                  <a:pt x="4938320" y="2447736"/>
                </a:moveTo>
                <a:cubicBezTo>
                  <a:pt x="4938960" y="2456272"/>
                  <a:pt x="4938533" y="2464239"/>
                  <a:pt x="4943228" y="2474909"/>
                </a:cubicBezTo>
                <a:cubicBezTo>
                  <a:pt x="4940027" y="2476047"/>
                  <a:pt x="4941948" y="2479746"/>
                  <a:pt x="4937679" y="2480457"/>
                </a:cubicBezTo>
                <a:cubicBezTo>
                  <a:pt x="4929569" y="2476332"/>
                  <a:pt x="4926795" y="2452857"/>
                  <a:pt x="4938320" y="2447736"/>
                </a:cubicBezTo>
                <a:close/>
                <a:moveTo>
                  <a:pt x="816396" y="2447151"/>
                </a:moveTo>
                <a:cubicBezTo>
                  <a:pt x="820913" y="2448971"/>
                  <a:pt x="825069" y="2452186"/>
                  <a:pt x="827496" y="2454664"/>
                </a:cubicBezTo>
                <a:cubicBezTo>
                  <a:pt x="823572" y="2454354"/>
                  <a:pt x="819545" y="2454199"/>
                  <a:pt x="815518" y="2453425"/>
                </a:cubicBezTo>
                <a:cubicBezTo>
                  <a:pt x="811388" y="2452650"/>
                  <a:pt x="807361" y="2451256"/>
                  <a:pt x="803127" y="2448003"/>
                </a:cubicBezTo>
                <a:cubicBezTo>
                  <a:pt x="806999" y="2444905"/>
                  <a:pt x="811878" y="2445331"/>
                  <a:pt x="816396" y="2447151"/>
                </a:cubicBezTo>
                <a:close/>
                <a:moveTo>
                  <a:pt x="1014596" y="2445370"/>
                </a:moveTo>
                <a:cubicBezTo>
                  <a:pt x="1014596" y="2445370"/>
                  <a:pt x="1014596" y="2445370"/>
                  <a:pt x="1015009" y="2446145"/>
                </a:cubicBezTo>
                <a:cubicBezTo>
                  <a:pt x="1015938" y="2447384"/>
                  <a:pt x="1016351" y="2448158"/>
                  <a:pt x="1016764" y="2448778"/>
                </a:cubicBezTo>
                <a:cubicBezTo>
                  <a:pt x="1016455" y="2450017"/>
                  <a:pt x="1015112" y="2452805"/>
                  <a:pt x="1013976" y="2452650"/>
                </a:cubicBezTo>
                <a:cubicBezTo>
                  <a:pt x="1011601" y="2452185"/>
                  <a:pt x="1009536" y="2450791"/>
                  <a:pt x="1009846" y="2449552"/>
                </a:cubicBezTo>
                <a:cubicBezTo>
                  <a:pt x="1010259" y="2447848"/>
                  <a:pt x="1010775" y="2445990"/>
                  <a:pt x="1012428" y="2445525"/>
                </a:cubicBezTo>
                <a:cubicBezTo>
                  <a:pt x="1013047" y="2445370"/>
                  <a:pt x="1013667" y="2445370"/>
                  <a:pt x="1014596" y="2445370"/>
                </a:cubicBezTo>
                <a:close/>
                <a:moveTo>
                  <a:pt x="1111657" y="2444131"/>
                </a:moveTo>
                <a:cubicBezTo>
                  <a:pt x="1112379" y="2443666"/>
                  <a:pt x="1112999" y="2443821"/>
                  <a:pt x="1113722" y="2444595"/>
                </a:cubicBezTo>
                <a:cubicBezTo>
                  <a:pt x="1115374" y="2445680"/>
                  <a:pt x="1114238" y="2447229"/>
                  <a:pt x="1115684" y="2448933"/>
                </a:cubicBezTo>
                <a:cubicBezTo>
                  <a:pt x="1117955" y="2451101"/>
                  <a:pt x="1122189" y="2448003"/>
                  <a:pt x="1126629" y="2448623"/>
                </a:cubicBezTo>
                <a:lnTo>
                  <a:pt x="1130553" y="2450482"/>
                </a:lnTo>
                <a:lnTo>
                  <a:pt x="1131069" y="2449242"/>
                </a:lnTo>
                <a:cubicBezTo>
                  <a:pt x="1131998" y="2448468"/>
                  <a:pt x="1133444" y="2448003"/>
                  <a:pt x="1134889" y="2447848"/>
                </a:cubicBezTo>
                <a:cubicBezTo>
                  <a:pt x="1134063" y="2448158"/>
                  <a:pt x="1134166" y="2448158"/>
                  <a:pt x="1134166" y="2448158"/>
                </a:cubicBezTo>
                <a:cubicBezTo>
                  <a:pt x="1133857" y="2449397"/>
                  <a:pt x="1134580" y="2448933"/>
                  <a:pt x="1134993" y="2449707"/>
                </a:cubicBezTo>
                <a:cubicBezTo>
                  <a:pt x="1134993" y="2449707"/>
                  <a:pt x="1134580" y="2448933"/>
                  <a:pt x="1135819" y="2449242"/>
                </a:cubicBezTo>
                <a:cubicBezTo>
                  <a:pt x="1135096" y="2449707"/>
                  <a:pt x="1135509" y="2450482"/>
                  <a:pt x="1136025" y="2451101"/>
                </a:cubicBezTo>
                <a:cubicBezTo>
                  <a:pt x="1135715" y="2452340"/>
                  <a:pt x="1135199" y="2453580"/>
                  <a:pt x="1134580" y="2454509"/>
                </a:cubicBezTo>
                <a:lnTo>
                  <a:pt x="1134166" y="2454819"/>
                </a:lnTo>
                <a:lnTo>
                  <a:pt x="1134683" y="2455593"/>
                </a:lnTo>
                <a:cubicBezTo>
                  <a:pt x="1134993" y="2457142"/>
                  <a:pt x="1134889" y="2459001"/>
                  <a:pt x="1133857" y="2460859"/>
                </a:cubicBezTo>
                <a:cubicBezTo>
                  <a:pt x="1132514" y="2461324"/>
                  <a:pt x="1130346" y="2461014"/>
                  <a:pt x="1128488" y="2460240"/>
                </a:cubicBezTo>
                <a:lnTo>
                  <a:pt x="1127971" y="2459930"/>
                </a:lnTo>
                <a:lnTo>
                  <a:pt x="1125699" y="2461789"/>
                </a:lnTo>
                <a:lnTo>
                  <a:pt x="1127248" y="2462718"/>
                </a:lnTo>
                <a:cubicBezTo>
                  <a:pt x="1127971" y="2463338"/>
                  <a:pt x="1128384" y="2463958"/>
                  <a:pt x="1128384" y="2464887"/>
                </a:cubicBezTo>
                <a:cubicBezTo>
                  <a:pt x="1128384" y="2465352"/>
                  <a:pt x="1128281" y="2465971"/>
                  <a:pt x="1127868" y="2466746"/>
                </a:cubicBezTo>
                <a:cubicBezTo>
                  <a:pt x="1127868" y="2466746"/>
                  <a:pt x="1127868" y="2466901"/>
                  <a:pt x="1127145" y="2467056"/>
                </a:cubicBezTo>
                <a:cubicBezTo>
                  <a:pt x="1125493" y="2467520"/>
                  <a:pt x="1124667" y="2467675"/>
                  <a:pt x="1123841" y="2467830"/>
                </a:cubicBezTo>
                <a:cubicBezTo>
                  <a:pt x="1123222" y="2467520"/>
                  <a:pt x="1122395" y="2466901"/>
                  <a:pt x="1121673" y="2466281"/>
                </a:cubicBezTo>
                <a:lnTo>
                  <a:pt x="1120743" y="2464422"/>
                </a:lnTo>
                <a:lnTo>
                  <a:pt x="1119814" y="2464732"/>
                </a:lnTo>
                <a:cubicBezTo>
                  <a:pt x="1117439" y="2464887"/>
                  <a:pt x="1115477" y="2463803"/>
                  <a:pt x="1112690" y="2462254"/>
                </a:cubicBezTo>
                <a:cubicBezTo>
                  <a:pt x="1113515" y="2462254"/>
                  <a:pt x="1112793" y="2461479"/>
                  <a:pt x="1112793" y="2461479"/>
                </a:cubicBezTo>
                <a:cubicBezTo>
                  <a:pt x="1111347" y="2459620"/>
                  <a:pt x="1109592" y="2464577"/>
                  <a:pt x="1107320" y="2462718"/>
                </a:cubicBezTo>
                <a:cubicBezTo>
                  <a:pt x="1106391" y="2461944"/>
                  <a:pt x="1105874" y="2460859"/>
                  <a:pt x="1105668" y="2459775"/>
                </a:cubicBezTo>
                <a:cubicBezTo>
                  <a:pt x="1105461" y="2458691"/>
                  <a:pt x="1105461" y="2457607"/>
                  <a:pt x="1105668" y="2456523"/>
                </a:cubicBezTo>
                <a:cubicBezTo>
                  <a:pt x="1106081" y="2454199"/>
                  <a:pt x="1107113" y="2452031"/>
                  <a:pt x="1107836" y="2450482"/>
                </a:cubicBezTo>
                <a:lnTo>
                  <a:pt x="1108559" y="2448778"/>
                </a:lnTo>
                <a:lnTo>
                  <a:pt x="1107733" y="2448623"/>
                </a:lnTo>
                <a:lnTo>
                  <a:pt x="1108869" y="2447848"/>
                </a:lnTo>
                <a:lnTo>
                  <a:pt x="1108869" y="2447694"/>
                </a:lnTo>
                <a:cubicBezTo>
                  <a:pt x="1109695" y="2447694"/>
                  <a:pt x="1109798" y="2446919"/>
                  <a:pt x="1108972" y="2446919"/>
                </a:cubicBezTo>
                <a:cubicBezTo>
                  <a:pt x="1110005" y="2445680"/>
                  <a:pt x="1110831" y="2444595"/>
                  <a:pt x="1111657" y="2444131"/>
                </a:cubicBezTo>
                <a:close/>
                <a:moveTo>
                  <a:pt x="1277383" y="2442892"/>
                </a:moveTo>
                <a:cubicBezTo>
                  <a:pt x="1277899" y="2442737"/>
                  <a:pt x="1278725" y="2442892"/>
                  <a:pt x="1280171" y="2443356"/>
                </a:cubicBezTo>
                <a:cubicBezTo>
                  <a:pt x="1281306" y="2443976"/>
                  <a:pt x="1282752" y="2445680"/>
                  <a:pt x="1283785" y="2447538"/>
                </a:cubicBezTo>
                <a:cubicBezTo>
                  <a:pt x="1284921" y="2449397"/>
                  <a:pt x="1285747" y="2451411"/>
                  <a:pt x="1285334" y="2452805"/>
                </a:cubicBezTo>
                <a:cubicBezTo>
                  <a:pt x="1283475" y="2452495"/>
                  <a:pt x="1281616" y="2452031"/>
                  <a:pt x="1279655" y="2451566"/>
                </a:cubicBezTo>
                <a:cubicBezTo>
                  <a:pt x="1280481" y="2451411"/>
                  <a:pt x="1276247" y="2444441"/>
                  <a:pt x="1276247" y="2444441"/>
                </a:cubicBezTo>
                <a:cubicBezTo>
                  <a:pt x="1276660" y="2443511"/>
                  <a:pt x="1276970" y="2443047"/>
                  <a:pt x="1277383" y="2442892"/>
                </a:cubicBezTo>
                <a:close/>
                <a:moveTo>
                  <a:pt x="723103" y="2442892"/>
                </a:moveTo>
                <a:cubicBezTo>
                  <a:pt x="724446" y="2442892"/>
                  <a:pt x="725685" y="2443666"/>
                  <a:pt x="726614" y="2445525"/>
                </a:cubicBezTo>
                <a:cubicBezTo>
                  <a:pt x="722381" y="2448468"/>
                  <a:pt x="720419" y="2453425"/>
                  <a:pt x="717218" y="2453425"/>
                </a:cubicBezTo>
                <a:cubicBezTo>
                  <a:pt x="716185" y="2453425"/>
                  <a:pt x="715050" y="2452960"/>
                  <a:pt x="713604" y="2451721"/>
                </a:cubicBezTo>
                <a:cubicBezTo>
                  <a:pt x="714224" y="2449862"/>
                  <a:pt x="717115" y="2445835"/>
                  <a:pt x="720109" y="2443976"/>
                </a:cubicBezTo>
                <a:cubicBezTo>
                  <a:pt x="721142" y="2443356"/>
                  <a:pt x="722174" y="2442892"/>
                  <a:pt x="723103" y="2442892"/>
                </a:cubicBezTo>
                <a:close/>
                <a:moveTo>
                  <a:pt x="832039" y="2442272"/>
                </a:moveTo>
                <a:cubicBezTo>
                  <a:pt x="832968" y="2443821"/>
                  <a:pt x="830593" y="2446764"/>
                  <a:pt x="829767" y="2448468"/>
                </a:cubicBezTo>
                <a:cubicBezTo>
                  <a:pt x="828838" y="2447694"/>
                  <a:pt x="828012" y="2447074"/>
                  <a:pt x="828012" y="2447848"/>
                </a:cubicBezTo>
                <a:cubicBezTo>
                  <a:pt x="827083" y="2447229"/>
                  <a:pt x="826669" y="2446455"/>
                  <a:pt x="826463" y="2445680"/>
                </a:cubicBezTo>
                <a:cubicBezTo>
                  <a:pt x="826360" y="2444751"/>
                  <a:pt x="826463" y="2443976"/>
                  <a:pt x="826876" y="2443047"/>
                </a:cubicBezTo>
                <a:cubicBezTo>
                  <a:pt x="827702" y="2442117"/>
                  <a:pt x="829354" y="2441807"/>
                  <a:pt x="832039" y="2442272"/>
                </a:cubicBezTo>
                <a:close/>
                <a:moveTo>
                  <a:pt x="1032769" y="2440568"/>
                </a:moveTo>
                <a:cubicBezTo>
                  <a:pt x="1036280" y="2441962"/>
                  <a:pt x="1036280" y="2443821"/>
                  <a:pt x="1035144" y="2447074"/>
                </a:cubicBezTo>
                <a:cubicBezTo>
                  <a:pt x="1032356" y="2446299"/>
                  <a:pt x="1031220" y="2445525"/>
                  <a:pt x="1031117" y="2444595"/>
                </a:cubicBezTo>
                <a:cubicBezTo>
                  <a:pt x="1030910" y="2443666"/>
                  <a:pt x="1031736" y="2442272"/>
                  <a:pt x="1032769" y="2440568"/>
                </a:cubicBezTo>
                <a:close/>
                <a:moveTo>
                  <a:pt x="5455435" y="2440195"/>
                </a:moveTo>
                <a:cubicBezTo>
                  <a:pt x="5452234" y="2443894"/>
                  <a:pt x="5446045" y="2444606"/>
                  <a:pt x="5441350" y="2446028"/>
                </a:cubicBezTo>
                <a:cubicBezTo>
                  <a:pt x="5435801" y="2446882"/>
                  <a:pt x="5431106" y="2449159"/>
                  <a:pt x="5429398" y="2455134"/>
                </a:cubicBezTo>
                <a:cubicBezTo>
                  <a:pt x="5425557" y="2455845"/>
                  <a:pt x="5423209" y="2453569"/>
                  <a:pt x="5419368" y="2455134"/>
                </a:cubicBezTo>
                <a:cubicBezTo>
                  <a:pt x="5415313" y="2457267"/>
                  <a:pt x="5422355" y="2458690"/>
                  <a:pt x="5425557" y="2456557"/>
                </a:cubicBezTo>
                <a:lnTo>
                  <a:pt x="5418301" y="2460255"/>
                </a:lnTo>
                <a:lnTo>
                  <a:pt x="5419368" y="2462390"/>
                </a:lnTo>
                <a:cubicBezTo>
                  <a:pt x="5414246" y="2466088"/>
                  <a:pt x="5410831" y="2465235"/>
                  <a:pt x="5407843" y="2462105"/>
                </a:cubicBezTo>
                <a:lnTo>
                  <a:pt x="5408270" y="2460967"/>
                </a:lnTo>
                <a:lnTo>
                  <a:pt x="5407416" y="2460967"/>
                </a:lnTo>
                <a:cubicBezTo>
                  <a:pt x="5400373" y="2460967"/>
                  <a:pt x="5394184" y="2460967"/>
                  <a:pt x="5390983" y="2465519"/>
                </a:cubicBezTo>
                <a:cubicBezTo>
                  <a:pt x="5385434" y="2466231"/>
                  <a:pt x="5391837" y="2461820"/>
                  <a:pt x="5388635" y="2459544"/>
                </a:cubicBezTo>
                <a:lnTo>
                  <a:pt x="5380525" y="2465235"/>
                </a:lnTo>
                <a:lnTo>
                  <a:pt x="5383086" y="2465946"/>
                </a:lnTo>
                <a:lnTo>
                  <a:pt x="5383726" y="2468365"/>
                </a:lnTo>
                <a:lnTo>
                  <a:pt x="5391837" y="2466942"/>
                </a:lnTo>
                <a:cubicBezTo>
                  <a:pt x="5390556" y="2468791"/>
                  <a:pt x="5388635" y="2469930"/>
                  <a:pt x="5386288" y="2470784"/>
                </a:cubicBezTo>
                <a:lnTo>
                  <a:pt x="5384580" y="2471210"/>
                </a:lnTo>
                <a:lnTo>
                  <a:pt x="5385007" y="2473344"/>
                </a:lnTo>
                <a:lnTo>
                  <a:pt x="5382446" y="2477044"/>
                </a:lnTo>
                <a:lnTo>
                  <a:pt x="5381806" y="2479746"/>
                </a:lnTo>
                <a:lnTo>
                  <a:pt x="5382019" y="2480031"/>
                </a:lnTo>
                <a:lnTo>
                  <a:pt x="5381593" y="2480173"/>
                </a:lnTo>
                <a:lnTo>
                  <a:pt x="5380098" y="2485721"/>
                </a:lnTo>
                <a:lnTo>
                  <a:pt x="5375403" y="2482307"/>
                </a:lnTo>
                <a:lnTo>
                  <a:pt x="5371135" y="2484441"/>
                </a:lnTo>
                <a:lnTo>
                  <a:pt x="5368147" y="2476617"/>
                </a:lnTo>
                <a:lnTo>
                  <a:pt x="5363452" y="2479604"/>
                </a:lnTo>
                <a:lnTo>
                  <a:pt x="5367507" y="2475194"/>
                </a:lnTo>
                <a:lnTo>
                  <a:pt x="5367293" y="2474767"/>
                </a:lnTo>
                <a:lnTo>
                  <a:pt x="5360891" y="2476617"/>
                </a:lnTo>
                <a:cubicBezTo>
                  <a:pt x="5356622" y="2478608"/>
                  <a:pt x="5358543" y="2479746"/>
                  <a:pt x="5348512" y="2475905"/>
                </a:cubicBezTo>
                <a:cubicBezTo>
                  <a:pt x="5345098" y="2477044"/>
                  <a:pt x="5343817" y="2478324"/>
                  <a:pt x="5342963" y="2479604"/>
                </a:cubicBezTo>
                <a:lnTo>
                  <a:pt x="5340189" y="2482876"/>
                </a:lnTo>
                <a:lnTo>
                  <a:pt x="5341042" y="2483588"/>
                </a:lnTo>
                <a:lnTo>
                  <a:pt x="5342963" y="2483872"/>
                </a:lnTo>
                <a:cubicBezTo>
                  <a:pt x="5346165" y="2483018"/>
                  <a:pt x="5349580" y="2478608"/>
                  <a:pt x="5352354" y="2478039"/>
                </a:cubicBezTo>
                <a:cubicBezTo>
                  <a:pt x="5350006" y="2481027"/>
                  <a:pt x="5348512" y="2484868"/>
                  <a:pt x="5347658" y="2488567"/>
                </a:cubicBezTo>
                <a:lnTo>
                  <a:pt x="5342110" y="2487856"/>
                </a:lnTo>
                <a:lnTo>
                  <a:pt x="5342323" y="2490843"/>
                </a:lnTo>
                <a:cubicBezTo>
                  <a:pt x="5340829" y="2491412"/>
                  <a:pt x="5339122" y="2491981"/>
                  <a:pt x="5337628" y="2492551"/>
                </a:cubicBezTo>
                <a:lnTo>
                  <a:pt x="5334213" y="2487286"/>
                </a:lnTo>
                <a:lnTo>
                  <a:pt x="5329731" y="2487856"/>
                </a:lnTo>
                <a:cubicBezTo>
                  <a:pt x="5328878" y="2487856"/>
                  <a:pt x="5328878" y="2487856"/>
                  <a:pt x="5328024" y="2488567"/>
                </a:cubicBezTo>
                <a:cubicBezTo>
                  <a:pt x="5328024" y="2488567"/>
                  <a:pt x="5328024" y="2488567"/>
                  <a:pt x="5327384" y="2488567"/>
                </a:cubicBezTo>
                <a:cubicBezTo>
                  <a:pt x="5327384" y="2488567"/>
                  <a:pt x="5326530" y="2488567"/>
                  <a:pt x="5326530" y="2488567"/>
                </a:cubicBezTo>
                <a:cubicBezTo>
                  <a:pt x="5325676" y="2488567"/>
                  <a:pt x="5325036" y="2488567"/>
                  <a:pt x="5325036" y="2489278"/>
                </a:cubicBezTo>
                <a:cubicBezTo>
                  <a:pt x="5323329" y="2489990"/>
                  <a:pt x="5325676" y="2493120"/>
                  <a:pt x="5326530" y="2494542"/>
                </a:cubicBezTo>
                <a:cubicBezTo>
                  <a:pt x="5324823" y="2496819"/>
                  <a:pt x="5324183" y="2493689"/>
                  <a:pt x="5322475" y="2491555"/>
                </a:cubicBezTo>
                <a:cubicBezTo>
                  <a:pt x="5320981" y="2495254"/>
                  <a:pt x="5317993" y="2497530"/>
                  <a:pt x="5315645" y="2499664"/>
                </a:cubicBezTo>
                <a:cubicBezTo>
                  <a:pt x="5314792" y="2500375"/>
                  <a:pt x="5313938" y="2500517"/>
                  <a:pt x="5313085" y="2501229"/>
                </a:cubicBezTo>
                <a:cubicBezTo>
                  <a:pt x="5313085" y="2501229"/>
                  <a:pt x="5313298" y="2501229"/>
                  <a:pt x="5311591" y="2501941"/>
                </a:cubicBezTo>
                <a:cubicBezTo>
                  <a:pt x="5311591" y="2501941"/>
                  <a:pt x="5311591" y="2501941"/>
                  <a:pt x="5311591" y="2502652"/>
                </a:cubicBezTo>
                <a:cubicBezTo>
                  <a:pt x="5311591" y="2502652"/>
                  <a:pt x="5311591" y="2502652"/>
                  <a:pt x="5310737" y="2502652"/>
                </a:cubicBezTo>
                <a:cubicBezTo>
                  <a:pt x="5310737" y="2502652"/>
                  <a:pt x="5310737" y="2502794"/>
                  <a:pt x="5302841" y="2506493"/>
                </a:cubicBezTo>
                <a:lnTo>
                  <a:pt x="5294517" y="2511046"/>
                </a:lnTo>
                <a:lnTo>
                  <a:pt x="5295798" y="2510903"/>
                </a:lnTo>
                <a:cubicBezTo>
                  <a:pt x="5298999" y="2511188"/>
                  <a:pt x="5301560" y="2511757"/>
                  <a:pt x="5302200" y="2511757"/>
                </a:cubicBezTo>
                <a:cubicBezTo>
                  <a:pt x="5302200" y="2512895"/>
                  <a:pt x="5302200" y="2512895"/>
                  <a:pt x="5302200" y="2512895"/>
                </a:cubicBezTo>
                <a:cubicBezTo>
                  <a:pt x="5298572" y="2511615"/>
                  <a:pt x="5294517" y="2514175"/>
                  <a:pt x="5290035" y="2514318"/>
                </a:cubicBezTo>
                <a:lnTo>
                  <a:pt x="5289182" y="2514033"/>
                </a:lnTo>
                <a:lnTo>
                  <a:pt x="5274669" y="2522000"/>
                </a:lnTo>
                <a:cubicBezTo>
                  <a:pt x="5268266" y="2525699"/>
                  <a:pt x="5262077" y="2530252"/>
                  <a:pt x="5256529" y="2534662"/>
                </a:cubicBezTo>
                <a:lnTo>
                  <a:pt x="5253967" y="2536654"/>
                </a:lnTo>
                <a:lnTo>
                  <a:pt x="5256315" y="2538361"/>
                </a:lnTo>
                <a:cubicBezTo>
                  <a:pt x="5256315" y="2540211"/>
                  <a:pt x="5257169" y="2541918"/>
                  <a:pt x="5257382" y="2544194"/>
                </a:cubicBezTo>
                <a:lnTo>
                  <a:pt x="5255888" y="2548889"/>
                </a:lnTo>
                <a:lnTo>
                  <a:pt x="5259730" y="2547893"/>
                </a:lnTo>
                <a:cubicBezTo>
                  <a:pt x="5261437" y="2547182"/>
                  <a:pt x="5262931" y="2546044"/>
                  <a:pt x="5263571" y="2544478"/>
                </a:cubicBezTo>
                <a:cubicBezTo>
                  <a:pt x="5262931" y="2545901"/>
                  <a:pt x="5262931" y="2547324"/>
                  <a:pt x="5264425" y="2548889"/>
                </a:cubicBezTo>
                <a:cubicBezTo>
                  <a:pt x="5266773" y="2548178"/>
                  <a:pt x="5268480" y="2546613"/>
                  <a:pt x="5270828" y="2545190"/>
                </a:cubicBezTo>
                <a:cubicBezTo>
                  <a:pt x="5269120" y="2544336"/>
                  <a:pt x="5267626" y="2543625"/>
                  <a:pt x="5266132" y="2545190"/>
                </a:cubicBezTo>
                <a:cubicBezTo>
                  <a:pt x="5278511" y="2538361"/>
                  <a:pt x="5291956" y="2530963"/>
                  <a:pt x="5305401" y="2523565"/>
                </a:cubicBezTo>
                <a:cubicBezTo>
                  <a:pt x="5307749" y="2522711"/>
                  <a:pt x="5309243" y="2521289"/>
                  <a:pt x="5310737" y="2520578"/>
                </a:cubicBezTo>
                <a:cubicBezTo>
                  <a:pt x="5310737" y="2520578"/>
                  <a:pt x="5310737" y="2520578"/>
                  <a:pt x="5318633" y="2516879"/>
                </a:cubicBezTo>
                <a:cubicBezTo>
                  <a:pt x="5318633" y="2516879"/>
                  <a:pt x="5318633" y="2516879"/>
                  <a:pt x="5319487" y="2516879"/>
                </a:cubicBezTo>
                <a:cubicBezTo>
                  <a:pt x="5319487" y="2516879"/>
                  <a:pt x="5319487" y="2516736"/>
                  <a:pt x="5319487" y="2516025"/>
                </a:cubicBezTo>
                <a:cubicBezTo>
                  <a:pt x="5319487" y="2516025"/>
                  <a:pt x="5319487" y="2516025"/>
                  <a:pt x="5320981" y="2515314"/>
                </a:cubicBezTo>
                <a:cubicBezTo>
                  <a:pt x="5323329" y="2514602"/>
                  <a:pt x="5324823" y="2513891"/>
                  <a:pt x="5327384" y="2513180"/>
                </a:cubicBezTo>
                <a:cubicBezTo>
                  <a:pt x="5328878" y="2512326"/>
                  <a:pt x="5331225" y="2512326"/>
                  <a:pt x="5332719" y="2511615"/>
                </a:cubicBezTo>
                <a:cubicBezTo>
                  <a:pt x="5334427" y="2511615"/>
                  <a:pt x="5335280" y="2511615"/>
                  <a:pt x="5335921" y="2510903"/>
                </a:cubicBezTo>
                <a:cubicBezTo>
                  <a:pt x="5336774" y="2510903"/>
                  <a:pt x="5337414" y="2510903"/>
                  <a:pt x="5337414" y="2510903"/>
                </a:cubicBezTo>
                <a:cubicBezTo>
                  <a:pt x="5338268" y="2510903"/>
                  <a:pt x="5338268" y="2510903"/>
                  <a:pt x="5339975" y="2510903"/>
                </a:cubicBezTo>
                <a:cubicBezTo>
                  <a:pt x="5341042" y="2510192"/>
                  <a:pt x="5341469" y="2509623"/>
                  <a:pt x="5341256" y="2509196"/>
                </a:cubicBezTo>
                <a:lnTo>
                  <a:pt x="5340616" y="2508911"/>
                </a:lnTo>
                <a:lnTo>
                  <a:pt x="5340189" y="2509196"/>
                </a:lnTo>
                <a:cubicBezTo>
                  <a:pt x="5339122" y="2509480"/>
                  <a:pt x="5338268" y="2509338"/>
                  <a:pt x="5337414" y="2508627"/>
                </a:cubicBezTo>
                <a:lnTo>
                  <a:pt x="5336774" y="2508627"/>
                </a:lnTo>
                <a:cubicBezTo>
                  <a:pt x="5336774" y="2508627"/>
                  <a:pt x="5335921" y="2508627"/>
                  <a:pt x="5335921" y="2509338"/>
                </a:cubicBezTo>
                <a:cubicBezTo>
                  <a:pt x="5335921" y="2507915"/>
                  <a:pt x="5335921" y="2507915"/>
                  <a:pt x="5336774" y="2507205"/>
                </a:cubicBezTo>
                <a:lnTo>
                  <a:pt x="5336987" y="2506920"/>
                </a:lnTo>
                <a:cubicBezTo>
                  <a:pt x="5337201" y="2506351"/>
                  <a:pt x="5337414" y="2505782"/>
                  <a:pt x="5337414" y="2505213"/>
                </a:cubicBezTo>
                <a:cubicBezTo>
                  <a:pt x="5338482" y="2503505"/>
                  <a:pt x="5343177" y="2501798"/>
                  <a:pt x="5345951" y="2501513"/>
                </a:cubicBezTo>
                <a:cubicBezTo>
                  <a:pt x="5346805" y="2501371"/>
                  <a:pt x="5347445" y="2501371"/>
                  <a:pt x="5347872" y="2501798"/>
                </a:cubicBezTo>
                <a:lnTo>
                  <a:pt x="5345951" y="2504074"/>
                </a:lnTo>
                <a:lnTo>
                  <a:pt x="5348512" y="2504928"/>
                </a:lnTo>
                <a:cubicBezTo>
                  <a:pt x="5354915" y="2498241"/>
                  <a:pt x="5361104" y="2495254"/>
                  <a:pt x="5367293" y="2492977"/>
                </a:cubicBezTo>
                <a:cubicBezTo>
                  <a:pt x="5370495" y="2491555"/>
                  <a:pt x="5374550" y="2490843"/>
                  <a:pt x="5377538" y="2489278"/>
                </a:cubicBezTo>
                <a:cubicBezTo>
                  <a:pt x="5378391" y="2488567"/>
                  <a:pt x="5379245" y="2488567"/>
                  <a:pt x="5380098" y="2487856"/>
                </a:cubicBezTo>
                <a:cubicBezTo>
                  <a:pt x="5380738" y="2487856"/>
                  <a:pt x="5381593" y="2487002"/>
                  <a:pt x="5382233" y="2486291"/>
                </a:cubicBezTo>
                <a:cubicBezTo>
                  <a:pt x="5383940" y="2485580"/>
                  <a:pt x="5385434" y="2484868"/>
                  <a:pt x="5386928" y="2483303"/>
                </a:cubicBezTo>
                <a:cubicBezTo>
                  <a:pt x="5390129" y="2487856"/>
                  <a:pt x="5395678" y="2485580"/>
                  <a:pt x="5400373" y="2483303"/>
                </a:cubicBezTo>
                <a:cubicBezTo>
                  <a:pt x="5405068" y="2481169"/>
                  <a:pt x="5409764" y="2478892"/>
                  <a:pt x="5410618" y="2482591"/>
                </a:cubicBezTo>
                <a:cubicBezTo>
                  <a:pt x="5419154" y="2481169"/>
                  <a:pt x="5406776" y="2476617"/>
                  <a:pt x="5411471" y="2475905"/>
                </a:cubicBezTo>
                <a:cubicBezTo>
                  <a:pt x="5413819" y="2474767"/>
                  <a:pt x="5419368" y="2472490"/>
                  <a:pt x="5425343" y="2470214"/>
                </a:cubicBezTo>
                <a:lnTo>
                  <a:pt x="5431106" y="2467938"/>
                </a:lnTo>
                <a:lnTo>
                  <a:pt x="5436655" y="2460113"/>
                </a:lnTo>
                <a:lnTo>
                  <a:pt x="5439002" y="2460824"/>
                </a:lnTo>
                <a:lnTo>
                  <a:pt x="5438576" y="2459829"/>
                </a:lnTo>
                <a:lnTo>
                  <a:pt x="5437081" y="2460113"/>
                </a:lnTo>
                <a:cubicBezTo>
                  <a:pt x="5437081" y="2460113"/>
                  <a:pt x="5437081" y="2459971"/>
                  <a:pt x="5435588" y="2459544"/>
                </a:cubicBezTo>
                <a:cubicBezTo>
                  <a:pt x="5438789" y="2457979"/>
                  <a:pt x="5442844" y="2455987"/>
                  <a:pt x="5445405" y="2455987"/>
                </a:cubicBezTo>
                <a:cubicBezTo>
                  <a:pt x="5444551" y="2456983"/>
                  <a:pt x="5443057" y="2458264"/>
                  <a:pt x="5441563" y="2459117"/>
                </a:cubicBezTo>
                <a:lnTo>
                  <a:pt x="5441350" y="2459259"/>
                </a:lnTo>
                <a:lnTo>
                  <a:pt x="5441350" y="2460540"/>
                </a:lnTo>
                <a:cubicBezTo>
                  <a:pt x="5441563" y="2461109"/>
                  <a:pt x="5442204" y="2461536"/>
                  <a:pt x="5443697" y="2461678"/>
                </a:cubicBezTo>
                <a:cubicBezTo>
                  <a:pt x="5443697" y="2460255"/>
                  <a:pt x="5445191" y="2459544"/>
                  <a:pt x="5446685" y="2458833"/>
                </a:cubicBezTo>
                <a:cubicBezTo>
                  <a:pt x="5448393" y="2458122"/>
                  <a:pt x="5449887" y="2457979"/>
                  <a:pt x="5451381" y="2457979"/>
                </a:cubicBezTo>
                <a:cubicBezTo>
                  <a:pt x="5455435" y="2457979"/>
                  <a:pt x="5458423" y="2457267"/>
                  <a:pt x="5459277" y="2452004"/>
                </a:cubicBezTo>
                <a:cubicBezTo>
                  <a:pt x="5463332" y="2452004"/>
                  <a:pt x="5463973" y="2453569"/>
                  <a:pt x="5462478" y="2455845"/>
                </a:cubicBezTo>
                <a:lnTo>
                  <a:pt x="5467174" y="2452004"/>
                </a:lnTo>
                <a:lnTo>
                  <a:pt x="5465893" y="2442899"/>
                </a:lnTo>
                <a:lnTo>
                  <a:pt x="5466106" y="2441049"/>
                </a:lnTo>
                <a:lnTo>
                  <a:pt x="5463332" y="2444606"/>
                </a:lnTo>
                <a:lnTo>
                  <a:pt x="5461625" y="2443183"/>
                </a:lnTo>
                <a:lnTo>
                  <a:pt x="5461411" y="2443183"/>
                </a:lnTo>
                <a:lnTo>
                  <a:pt x="5460985" y="2442472"/>
                </a:lnTo>
                <a:lnTo>
                  <a:pt x="5460558" y="2442045"/>
                </a:lnTo>
                <a:cubicBezTo>
                  <a:pt x="5459490" y="2441191"/>
                  <a:pt x="5458210" y="2440480"/>
                  <a:pt x="5455435" y="2440195"/>
                </a:cubicBezTo>
                <a:close/>
                <a:moveTo>
                  <a:pt x="896677" y="2438709"/>
                </a:moveTo>
                <a:cubicBezTo>
                  <a:pt x="897503" y="2439484"/>
                  <a:pt x="900188" y="2439329"/>
                  <a:pt x="901943" y="2440103"/>
                </a:cubicBezTo>
                <a:cubicBezTo>
                  <a:pt x="901943" y="2440878"/>
                  <a:pt x="902769" y="2441652"/>
                  <a:pt x="902769" y="2442427"/>
                </a:cubicBezTo>
                <a:cubicBezTo>
                  <a:pt x="901840" y="2442427"/>
                  <a:pt x="899982" y="2443356"/>
                  <a:pt x="900085" y="2442582"/>
                </a:cubicBezTo>
                <a:cubicBezTo>
                  <a:pt x="899155" y="2442582"/>
                  <a:pt x="899259" y="2441033"/>
                  <a:pt x="899259" y="2441033"/>
                </a:cubicBezTo>
                <a:cubicBezTo>
                  <a:pt x="898330" y="2441033"/>
                  <a:pt x="897400" y="2441033"/>
                  <a:pt x="896574" y="2440258"/>
                </a:cubicBezTo>
                <a:cubicBezTo>
                  <a:pt x="897503" y="2439484"/>
                  <a:pt x="896574" y="2439484"/>
                  <a:pt x="896677" y="2438709"/>
                </a:cubicBezTo>
                <a:close/>
                <a:moveTo>
                  <a:pt x="930855" y="2438400"/>
                </a:moveTo>
                <a:cubicBezTo>
                  <a:pt x="931578" y="2438864"/>
                  <a:pt x="932714" y="2438245"/>
                  <a:pt x="933436" y="2438709"/>
                </a:cubicBezTo>
                <a:cubicBezTo>
                  <a:pt x="933024" y="2439484"/>
                  <a:pt x="932921" y="2441343"/>
                  <a:pt x="932197" y="2441033"/>
                </a:cubicBezTo>
                <a:cubicBezTo>
                  <a:pt x="931785" y="2441807"/>
                  <a:pt x="930236" y="2441188"/>
                  <a:pt x="930236" y="2441188"/>
                </a:cubicBezTo>
                <a:cubicBezTo>
                  <a:pt x="929823" y="2441962"/>
                  <a:pt x="929409" y="2442737"/>
                  <a:pt x="928170" y="2443202"/>
                </a:cubicBezTo>
                <a:cubicBezTo>
                  <a:pt x="927861" y="2442117"/>
                  <a:pt x="927448" y="2442892"/>
                  <a:pt x="926725" y="2442582"/>
                </a:cubicBezTo>
                <a:cubicBezTo>
                  <a:pt x="927861" y="2442117"/>
                  <a:pt x="929203" y="2439639"/>
                  <a:pt x="930855" y="2438400"/>
                </a:cubicBezTo>
                <a:close/>
                <a:moveTo>
                  <a:pt x="915366" y="2437160"/>
                </a:moveTo>
                <a:cubicBezTo>
                  <a:pt x="919806" y="2434372"/>
                  <a:pt x="922492" y="2434527"/>
                  <a:pt x="923421" y="2437935"/>
                </a:cubicBezTo>
                <a:cubicBezTo>
                  <a:pt x="923007" y="2438709"/>
                  <a:pt x="920942" y="2440723"/>
                  <a:pt x="921665" y="2441033"/>
                </a:cubicBezTo>
                <a:cubicBezTo>
                  <a:pt x="918981" y="2441962"/>
                  <a:pt x="915883" y="2442737"/>
                  <a:pt x="913921" y="2441962"/>
                </a:cubicBezTo>
                <a:cubicBezTo>
                  <a:pt x="913301" y="2441652"/>
                  <a:pt x="912682" y="2441188"/>
                  <a:pt x="912372" y="2440568"/>
                </a:cubicBezTo>
                <a:cubicBezTo>
                  <a:pt x="911339" y="2439174"/>
                  <a:pt x="912992" y="2437935"/>
                  <a:pt x="915366" y="2437160"/>
                </a:cubicBezTo>
                <a:close/>
                <a:moveTo>
                  <a:pt x="705240" y="2436231"/>
                </a:moveTo>
                <a:cubicBezTo>
                  <a:pt x="708028" y="2435147"/>
                  <a:pt x="711023" y="2437160"/>
                  <a:pt x="714637" y="2436541"/>
                </a:cubicBezTo>
                <a:cubicBezTo>
                  <a:pt x="715462" y="2438555"/>
                  <a:pt x="715979" y="2439794"/>
                  <a:pt x="715876" y="2440878"/>
                </a:cubicBezTo>
                <a:lnTo>
                  <a:pt x="715462" y="2441343"/>
                </a:lnTo>
                <a:lnTo>
                  <a:pt x="711126" y="2449707"/>
                </a:lnTo>
                <a:cubicBezTo>
                  <a:pt x="710300" y="2450482"/>
                  <a:pt x="706789" y="2451721"/>
                  <a:pt x="705963" y="2450791"/>
                </a:cubicBezTo>
                <a:cubicBezTo>
                  <a:pt x="705033" y="2449862"/>
                  <a:pt x="705033" y="2449088"/>
                  <a:pt x="705033" y="2448313"/>
                </a:cubicBezTo>
                <a:lnTo>
                  <a:pt x="707305" y="2444441"/>
                </a:lnTo>
                <a:lnTo>
                  <a:pt x="705447" y="2444441"/>
                </a:lnTo>
                <a:cubicBezTo>
                  <a:pt x="703382" y="2443976"/>
                  <a:pt x="701833" y="2443202"/>
                  <a:pt x="701317" y="2442427"/>
                </a:cubicBezTo>
                <a:cubicBezTo>
                  <a:pt x="700594" y="2440103"/>
                  <a:pt x="701627" y="2436851"/>
                  <a:pt x="705240" y="2436231"/>
                </a:cubicBezTo>
                <a:close/>
                <a:moveTo>
                  <a:pt x="1119814" y="2435457"/>
                </a:moveTo>
                <a:cubicBezTo>
                  <a:pt x="1121466" y="2436231"/>
                  <a:pt x="1122292" y="2437005"/>
                  <a:pt x="1122292" y="2438709"/>
                </a:cubicBezTo>
                <a:cubicBezTo>
                  <a:pt x="1121673" y="2438090"/>
                  <a:pt x="1120021" y="2437625"/>
                  <a:pt x="1119711" y="2436541"/>
                </a:cubicBezTo>
                <a:cubicBezTo>
                  <a:pt x="1119607" y="2436231"/>
                  <a:pt x="1119607" y="2435922"/>
                  <a:pt x="1119814" y="2435457"/>
                </a:cubicBezTo>
                <a:close/>
                <a:moveTo>
                  <a:pt x="830800" y="2435302"/>
                </a:moveTo>
                <a:cubicBezTo>
                  <a:pt x="834001" y="2435302"/>
                  <a:pt x="835550" y="2436076"/>
                  <a:pt x="835962" y="2436851"/>
                </a:cubicBezTo>
                <a:cubicBezTo>
                  <a:pt x="837305" y="2439329"/>
                  <a:pt x="829251" y="2443356"/>
                  <a:pt x="830800" y="2435302"/>
                </a:cubicBezTo>
                <a:close/>
                <a:moveTo>
                  <a:pt x="1173197" y="2434218"/>
                </a:moveTo>
                <a:cubicBezTo>
                  <a:pt x="1174643" y="2436076"/>
                  <a:pt x="1175159" y="2437935"/>
                  <a:pt x="1173920" y="2440413"/>
                </a:cubicBezTo>
                <a:cubicBezTo>
                  <a:pt x="1173197" y="2439174"/>
                  <a:pt x="1172681" y="2438245"/>
                  <a:pt x="1172474" y="2437315"/>
                </a:cubicBezTo>
                <a:cubicBezTo>
                  <a:pt x="1172371" y="2436386"/>
                  <a:pt x="1172474" y="2435612"/>
                  <a:pt x="1173197" y="2434218"/>
                </a:cubicBezTo>
                <a:close/>
                <a:moveTo>
                  <a:pt x="906383" y="2433908"/>
                </a:moveTo>
                <a:cubicBezTo>
                  <a:pt x="906383" y="2433908"/>
                  <a:pt x="907209" y="2434837"/>
                  <a:pt x="908035" y="2435612"/>
                </a:cubicBezTo>
                <a:cubicBezTo>
                  <a:pt x="908861" y="2436386"/>
                  <a:pt x="909688" y="2436386"/>
                  <a:pt x="909688" y="2436386"/>
                </a:cubicBezTo>
                <a:cubicBezTo>
                  <a:pt x="910514" y="2437160"/>
                  <a:pt x="910514" y="2438090"/>
                  <a:pt x="909584" y="2439019"/>
                </a:cubicBezTo>
                <a:cubicBezTo>
                  <a:pt x="909584" y="2439019"/>
                  <a:pt x="907932" y="2438245"/>
                  <a:pt x="907932" y="2438245"/>
                </a:cubicBezTo>
                <a:cubicBezTo>
                  <a:pt x="906280" y="2436541"/>
                  <a:pt x="905454" y="2435767"/>
                  <a:pt x="903699" y="2434992"/>
                </a:cubicBezTo>
                <a:cubicBezTo>
                  <a:pt x="904628" y="2433133"/>
                  <a:pt x="905557" y="2433133"/>
                  <a:pt x="906383" y="2433908"/>
                </a:cubicBezTo>
                <a:close/>
                <a:moveTo>
                  <a:pt x="5116525" y="2433082"/>
                </a:moveTo>
                <a:lnTo>
                  <a:pt x="5122074" y="2437777"/>
                </a:lnTo>
                <a:lnTo>
                  <a:pt x="5123355" y="2436923"/>
                </a:lnTo>
                <a:cubicBezTo>
                  <a:pt x="5124208" y="2436639"/>
                  <a:pt x="5125489" y="2436639"/>
                  <a:pt x="5128263" y="2436354"/>
                </a:cubicBezTo>
                <a:cubicBezTo>
                  <a:pt x="5129117" y="2439769"/>
                  <a:pt x="5129970" y="2443041"/>
                  <a:pt x="5130824" y="2446456"/>
                </a:cubicBezTo>
                <a:cubicBezTo>
                  <a:pt x="5129543" y="2446313"/>
                  <a:pt x="5128477" y="2446598"/>
                  <a:pt x="5127410" y="2446882"/>
                </a:cubicBezTo>
                <a:lnTo>
                  <a:pt x="5126983" y="2447024"/>
                </a:lnTo>
                <a:lnTo>
                  <a:pt x="5128477" y="2462390"/>
                </a:lnTo>
                <a:cubicBezTo>
                  <a:pt x="5116952" y="2460398"/>
                  <a:pt x="5115031" y="2443468"/>
                  <a:pt x="5116525" y="2433082"/>
                </a:cubicBezTo>
                <a:close/>
                <a:moveTo>
                  <a:pt x="5484460" y="2432655"/>
                </a:moveTo>
                <a:lnTo>
                  <a:pt x="5483393" y="2432940"/>
                </a:lnTo>
                <a:lnTo>
                  <a:pt x="5484460" y="2433509"/>
                </a:lnTo>
                <a:close/>
                <a:moveTo>
                  <a:pt x="4971613" y="2430948"/>
                </a:moveTo>
                <a:cubicBezTo>
                  <a:pt x="4975881" y="2433509"/>
                  <a:pt x="4980150" y="2436070"/>
                  <a:pt x="4981430" y="2439484"/>
                </a:cubicBezTo>
                <a:cubicBezTo>
                  <a:pt x="4979936" y="2442329"/>
                  <a:pt x="4978016" y="2444464"/>
                  <a:pt x="4975454" y="2445459"/>
                </a:cubicBezTo>
                <a:cubicBezTo>
                  <a:pt x="4973107" y="2446456"/>
                  <a:pt x="4970119" y="2446313"/>
                  <a:pt x="4966704" y="2444748"/>
                </a:cubicBezTo>
                <a:cubicBezTo>
                  <a:pt x="4963716" y="2439342"/>
                  <a:pt x="4969052" y="2434220"/>
                  <a:pt x="4971613" y="2430948"/>
                </a:cubicBezTo>
                <a:close/>
                <a:moveTo>
                  <a:pt x="931681" y="2430345"/>
                </a:moveTo>
                <a:cubicBezTo>
                  <a:pt x="932921" y="2430035"/>
                  <a:pt x="933643" y="2430345"/>
                  <a:pt x="933953" y="2431429"/>
                </a:cubicBezTo>
                <a:cubicBezTo>
                  <a:pt x="933953" y="2431429"/>
                  <a:pt x="932404" y="2432669"/>
                  <a:pt x="932404" y="2432669"/>
                </a:cubicBezTo>
                <a:cubicBezTo>
                  <a:pt x="929926" y="2433443"/>
                  <a:pt x="928687" y="2433753"/>
                  <a:pt x="927138" y="2434992"/>
                </a:cubicBezTo>
                <a:cubicBezTo>
                  <a:pt x="926518" y="2434218"/>
                  <a:pt x="926312" y="2433753"/>
                  <a:pt x="926415" y="2433288"/>
                </a:cubicBezTo>
                <a:cubicBezTo>
                  <a:pt x="926518" y="2432824"/>
                  <a:pt x="927034" y="2432513"/>
                  <a:pt x="927654" y="2432359"/>
                </a:cubicBezTo>
                <a:cubicBezTo>
                  <a:pt x="927654" y="2432359"/>
                  <a:pt x="928790" y="2431894"/>
                  <a:pt x="930029" y="2431584"/>
                </a:cubicBezTo>
                <a:cubicBezTo>
                  <a:pt x="931165" y="2431120"/>
                  <a:pt x="931681" y="2430345"/>
                  <a:pt x="931681" y="2430345"/>
                </a:cubicBezTo>
                <a:close/>
                <a:moveTo>
                  <a:pt x="1056105" y="2429725"/>
                </a:moveTo>
                <a:cubicBezTo>
                  <a:pt x="1062404" y="2429416"/>
                  <a:pt x="1066844" y="2436076"/>
                  <a:pt x="1065398" y="2443666"/>
                </a:cubicBezTo>
                <a:lnTo>
                  <a:pt x="1063642" y="2450017"/>
                </a:lnTo>
                <a:lnTo>
                  <a:pt x="1070458" y="2458691"/>
                </a:lnTo>
                <a:lnTo>
                  <a:pt x="1069425" y="2459466"/>
                </a:lnTo>
                <a:lnTo>
                  <a:pt x="1071903" y="2459311"/>
                </a:lnTo>
                <a:cubicBezTo>
                  <a:pt x="1073245" y="2459311"/>
                  <a:pt x="1074485" y="2459466"/>
                  <a:pt x="1075517" y="2460085"/>
                </a:cubicBezTo>
                <a:cubicBezTo>
                  <a:pt x="1076136" y="2460395"/>
                  <a:pt x="1076653" y="2461014"/>
                  <a:pt x="1076963" y="2461634"/>
                </a:cubicBezTo>
                <a:cubicBezTo>
                  <a:pt x="1077995" y="2463338"/>
                  <a:pt x="1076446" y="2464267"/>
                  <a:pt x="1074071" y="2464732"/>
                </a:cubicBezTo>
                <a:cubicBezTo>
                  <a:pt x="1069631" y="2466591"/>
                  <a:pt x="1066844" y="2465971"/>
                  <a:pt x="1065914" y="2462409"/>
                </a:cubicBezTo>
                <a:lnTo>
                  <a:pt x="1066740" y="2461479"/>
                </a:lnTo>
                <a:lnTo>
                  <a:pt x="1062094" y="2463958"/>
                </a:lnTo>
                <a:lnTo>
                  <a:pt x="1059202" y="2459930"/>
                </a:lnTo>
                <a:lnTo>
                  <a:pt x="1058480" y="2460550"/>
                </a:lnTo>
                <a:lnTo>
                  <a:pt x="1057551" y="2460240"/>
                </a:lnTo>
                <a:lnTo>
                  <a:pt x="1057241" y="2460705"/>
                </a:lnTo>
                <a:cubicBezTo>
                  <a:pt x="1051045" y="2460395"/>
                  <a:pt x="1048877" y="2456523"/>
                  <a:pt x="1048464" y="2451876"/>
                </a:cubicBezTo>
                <a:lnTo>
                  <a:pt x="1048464" y="2447384"/>
                </a:lnTo>
                <a:lnTo>
                  <a:pt x="1045056" y="2446455"/>
                </a:lnTo>
                <a:cubicBezTo>
                  <a:pt x="1043508" y="2445525"/>
                  <a:pt x="1042785" y="2443976"/>
                  <a:pt x="1043817" y="2441807"/>
                </a:cubicBezTo>
                <a:cubicBezTo>
                  <a:pt x="1044127" y="2440878"/>
                  <a:pt x="1044953" y="2440568"/>
                  <a:pt x="1045883" y="2440568"/>
                </a:cubicBezTo>
                <a:lnTo>
                  <a:pt x="1039171" y="2430345"/>
                </a:lnTo>
                <a:cubicBezTo>
                  <a:pt x="1042785" y="2430810"/>
                  <a:pt x="1045986" y="2432204"/>
                  <a:pt x="1048877" y="2434063"/>
                </a:cubicBezTo>
                <a:lnTo>
                  <a:pt x="1050529" y="2435767"/>
                </a:lnTo>
                <a:lnTo>
                  <a:pt x="1050735" y="2434992"/>
                </a:lnTo>
                <a:cubicBezTo>
                  <a:pt x="1051355" y="2433133"/>
                  <a:pt x="1052181" y="2431584"/>
                  <a:pt x="1053317" y="2430655"/>
                </a:cubicBezTo>
                <a:cubicBezTo>
                  <a:pt x="1054143" y="2430035"/>
                  <a:pt x="1055072" y="2429725"/>
                  <a:pt x="1056105" y="2429725"/>
                </a:cubicBezTo>
                <a:close/>
                <a:moveTo>
                  <a:pt x="1006129" y="2429570"/>
                </a:moveTo>
                <a:cubicBezTo>
                  <a:pt x="1006955" y="2430345"/>
                  <a:pt x="1006026" y="2432978"/>
                  <a:pt x="1006852" y="2433753"/>
                </a:cubicBezTo>
                <a:cubicBezTo>
                  <a:pt x="1006852" y="2433753"/>
                  <a:pt x="1006748" y="2433908"/>
                  <a:pt x="1004993" y="2434837"/>
                </a:cubicBezTo>
                <a:cubicBezTo>
                  <a:pt x="1004064" y="2434837"/>
                  <a:pt x="1003134" y="2434837"/>
                  <a:pt x="1002308" y="2434063"/>
                </a:cubicBezTo>
                <a:cubicBezTo>
                  <a:pt x="1001482" y="2433133"/>
                  <a:pt x="1001586" y="2431429"/>
                  <a:pt x="1001586" y="2430655"/>
                </a:cubicBezTo>
                <a:cubicBezTo>
                  <a:pt x="1002515" y="2430500"/>
                  <a:pt x="1002515" y="2429725"/>
                  <a:pt x="1003444" y="2429725"/>
                </a:cubicBezTo>
                <a:cubicBezTo>
                  <a:pt x="1005199" y="2428796"/>
                  <a:pt x="1005303" y="2428796"/>
                  <a:pt x="1006129" y="2429570"/>
                </a:cubicBezTo>
                <a:close/>
                <a:moveTo>
                  <a:pt x="767504" y="2429570"/>
                </a:moveTo>
                <a:cubicBezTo>
                  <a:pt x="767607" y="2431274"/>
                  <a:pt x="771221" y="2431584"/>
                  <a:pt x="769569" y="2433598"/>
                </a:cubicBezTo>
                <a:cubicBezTo>
                  <a:pt x="768640" y="2432824"/>
                  <a:pt x="767710" y="2431274"/>
                  <a:pt x="766781" y="2430500"/>
                </a:cubicBezTo>
                <a:cubicBezTo>
                  <a:pt x="766781" y="2430500"/>
                  <a:pt x="766678" y="2430500"/>
                  <a:pt x="767504" y="2429570"/>
                </a:cubicBezTo>
                <a:close/>
                <a:moveTo>
                  <a:pt x="1110418" y="2429261"/>
                </a:moveTo>
                <a:cubicBezTo>
                  <a:pt x="1112070" y="2429106"/>
                  <a:pt x="1113722" y="2429570"/>
                  <a:pt x="1114858" y="2431120"/>
                </a:cubicBezTo>
                <a:cubicBezTo>
                  <a:pt x="1112896" y="2435922"/>
                  <a:pt x="1111554" y="2441652"/>
                  <a:pt x="1105565" y="2440878"/>
                </a:cubicBezTo>
                <a:cubicBezTo>
                  <a:pt x="1104222" y="2439639"/>
                  <a:pt x="1103500" y="2438245"/>
                  <a:pt x="1103293" y="2436851"/>
                </a:cubicBezTo>
                <a:cubicBezTo>
                  <a:pt x="1102673" y="2432978"/>
                  <a:pt x="1106597" y="2429570"/>
                  <a:pt x="1110418" y="2429261"/>
                </a:cubicBezTo>
                <a:close/>
                <a:moveTo>
                  <a:pt x="672147" y="2429242"/>
                </a:moveTo>
                <a:cubicBezTo>
                  <a:pt x="675089" y="2427983"/>
                  <a:pt x="678600" y="2428332"/>
                  <a:pt x="680355" y="2430500"/>
                </a:cubicBezTo>
                <a:cubicBezTo>
                  <a:pt x="681491" y="2432049"/>
                  <a:pt x="681904" y="2434372"/>
                  <a:pt x="680768" y="2437470"/>
                </a:cubicBezTo>
                <a:cubicBezTo>
                  <a:pt x="674780" y="2437005"/>
                  <a:pt x="671785" y="2440413"/>
                  <a:pt x="667345" y="2437625"/>
                </a:cubicBezTo>
                <a:cubicBezTo>
                  <a:pt x="666829" y="2433366"/>
                  <a:pt x="669204" y="2430500"/>
                  <a:pt x="672147" y="2429242"/>
                </a:cubicBezTo>
                <a:close/>
                <a:moveTo>
                  <a:pt x="4855940" y="2428245"/>
                </a:moveTo>
                <a:cubicBezTo>
                  <a:pt x="4864903" y="2428814"/>
                  <a:pt x="4873867" y="2439199"/>
                  <a:pt x="4873013" y="2447451"/>
                </a:cubicBezTo>
                <a:cubicBezTo>
                  <a:pt x="4864903" y="2454422"/>
                  <a:pt x="4851671" y="2448305"/>
                  <a:pt x="4847616" y="2439911"/>
                </a:cubicBezTo>
                <a:cubicBezTo>
                  <a:pt x="4846335" y="2437208"/>
                  <a:pt x="4845909" y="2434078"/>
                  <a:pt x="4846976" y="2431090"/>
                </a:cubicBezTo>
                <a:cubicBezTo>
                  <a:pt x="4849750" y="2428814"/>
                  <a:pt x="4852738" y="2427961"/>
                  <a:pt x="4855940" y="2428245"/>
                </a:cubicBezTo>
                <a:close/>
                <a:moveTo>
                  <a:pt x="1078511" y="2427247"/>
                </a:moveTo>
                <a:cubicBezTo>
                  <a:pt x="1080164" y="2428331"/>
                  <a:pt x="1082022" y="2428641"/>
                  <a:pt x="1083674" y="2429725"/>
                </a:cubicBezTo>
                <a:cubicBezTo>
                  <a:pt x="1083364" y="2432978"/>
                  <a:pt x="1086669" y="2435922"/>
                  <a:pt x="1082022" y="2438400"/>
                </a:cubicBezTo>
                <a:cubicBezTo>
                  <a:pt x="1079028" y="2437935"/>
                  <a:pt x="1076756" y="2435457"/>
                  <a:pt x="1076240" y="2432824"/>
                </a:cubicBezTo>
                <a:cubicBezTo>
                  <a:pt x="1076033" y="2432049"/>
                  <a:pt x="1076136" y="2431120"/>
                  <a:pt x="1076343" y="2430345"/>
                </a:cubicBezTo>
                <a:cubicBezTo>
                  <a:pt x="1076653" y="2429106"/>
                  <a:pt x="1077272" y="2428022"/>
                  <a:pt x="1078511" y="2427247"/>
                </a:cubicBezTo>
                <a:close/>
                <a:moveTo>
                  <a:pt x="796002" y="2426163"/>
                </a:moveTo>
                <a:cubicBezTo>
                  <a:pt x="797448" y="2425699"/>
                  <a:pt x="798481" y="2425853"/>
                  <a:pt x="799307" y="2426473"/>
                </a:cubicBezTo>
                <a:cubicBezTo>
                  <a:pt x="800132" y="2427247"/>
                  <a:pt x="800752" y="2428331"/>
                  <a:pt x="801475" y="2429725"/>
                </a:cubicBezTo>
                <a:cubicBezTo>
                  <a:pt x="802921" y="2432513"/>
                  <a:pt x="800752" y="2434218"/>
                  <a:pt x="801475" y="2436541"/>
                </a:cubicBezTo>
                <a:lnTo>
                  <a:pt x="799926" y="2436076"/>
                </a:lnTo>
                <a:lnTo>
                  <a:pt x="798997" y="2444441"/>
                </a:lnTo>
                <a:cubicBezTo>
                  <a:pt x="797964" y="2447074"/>
                  <a:pt x="796416" y="2449397"/>
                  <a:pt x="794454" y="2451256"/>
                </a:cubicBezTo>
                <a:lnTo>
                  <a:pt x="790427" y="2453889"/>
                </a:lnTo>
                <a:lnTo>
                  <a:pt x="794041" y="2454664"/>
                </a:lnTo>
                <a:cubicBezTo>
                  <a:pt x="798171" y="2456368"/>
                  <a:pt x="802404" y="2458846"/>
                  <a:pt x="806431" y="2462873"/>
                </a:cubicBezTo>
                <a:cubicBezTo>
                  <a:pt x="806225" y="2468450"/>
                  <a:pt x="801888" y="2469844"/>
                  <a:pt x="796829" y="2468914"/>
                </a:cubicBezTo>
                <a:cubicBezTo>
                  <a:pt x="790530" y="2467520"/>
                  <a:pt x="782992" y="2462563"/>
                  <a:pt x="781340" y="2457297"/>
                </a:cubicBezTo>
                <a:lnTo>
                  <a:pt x="781443" y="2456832"/>
                </a:lnTo>
                <a:lnTo>
                  <a:pt x="774525" y="2456677"/>
                </a:lnTo>
                <a:cubicBezTo>
                  <a:pt x="772047" y="2456213"/>
                  <a:pt x="769465" y="2455439"/>
                  <a:pt x="766987" y="2454199"/>
                </a:cubicBezTo>
                <a:cubicBezTo>
                  <a:pt x="767091" y="2453115"/>
                  <a:pt x="767091" y="2451876"/>
                  <a:pt x="765852" y="2451876"/>
                </a:cubicBezTo>
                <a:cubicBezTo>
                  <a:pt x="765542" y="2444131"/>
                  <a:pt x="770808" y="2437625"/>
                  <a:pt x="777829" y="2434218"/>
                </a:cubicBezTo>
                <a:cubicBezTo>
                  <a:pt x="782992" y="2431739"/>
                  <a:pt x="789188" y="2430965"/>
                  <a:pt x="794660" y="2432669"/>
                </a:cubicBezTo>
                <a:lnTo>
                  <a:pt x="795486" y="2433133"/>
                </a:lnTo>
                <a:lnTo>
                  <a:pt x="794454" y="2432049"/>
                </a:lnTo>
                <a:cubicBezTo>
                  <a:pt x="794144" y="2430810"/>
                  <a:pt x="794144" y="2430810"/>
                  <a:pt x="794660" y="2430190"/>
                </a:cubicBezTo>
                <a:cubicBezTo>
                  <a:pt x="794763" y="2428331"/>
                  <a:pt x="794350" y="2427093"/>
                  <a:pt x="796002" y="2426163"/>
                </a:cubicBezTo>
                <a:close/>
                <a:moveTo>
                  <a:pt x="893063" y="2425234"/>
                </a:moveTo>
                <a:cubicBezTo>
                  <a:pt x="893993" y="2423530"/>
                  <a:pt x="895645" y="2424304"/>
                  <a:pt x="897297" y="2426008"/>
                </a:cubicBezTo>
                <a:cubicBezTo>
                  <a:pt x="901633" y="2428331"/>
                  <a:pt x="902356" y="2430810"/>
                  <a:pt x="899569" y="2433443"/>
                </a:cubicBezTo>
                <a:cubicBezTo>
                  <a:pt x="898742" y="2433443"/>
                  <a:pt x="896161" y="2432669"/>
                  <a:pt x="896161" y="2433598"/>
                </a:cubicBezTo>
                <a:cubicBezTo>
                  <a:pt x="894199" y="2431739"/>
                  <a:pt x="892444" y="2429416"/>
                  <a:pt x="892340" y="2427403"/>
                </a:cubicBezTo>
                <a:cubicBezTo>
                  <a:pt x="892340" y="2426627"/>
                  <a:pt x="892547" y="2426008"/>
                  <a:pt x="893063" y="2425234"/>
                </a:cubicBezTo>
                <a:close/>
                <a:moveTo>
                  <a:pt x="549117" y="2423375"/>
                </a:moveTo>
                <a:cubicBezTo>
                  <a:pt x="550872" y="2425234"/>
                  <a:pt x="550769" y="2426008"/>
                  <a:pt x="551595" y="2426938"/>
                </a:cubicBezTo>
                <a:cubicBezTo>
                  <a:pt x="551698" y="2426163"/>
                  <a:pt x="552524" y="2427093"/>
                  <a:pt x="552524" y="2427093"/>
                </a:cubicBezTo>
                <a:cubicBezTo>
                  <a:pt x="552524" y="2427093"/>
                  <a:pt x="552524" y="2427093"/>
                  <a:pt x="554280" y="2425543"/>
                </a:cubicBezTo>
                <a:cubicBezTo>
                  <a:pt x="554280" y="2425543"/>
                  <a:pt x="558617" y="2422600"/>
                  <a:pt x="562954" y="2426473"/>
                </a:cubicBezTo>
                <a:cubicBezTo>
                  <a:pt x="562024" y="2427247"/>
                  <a:pt x="567187" y="2432824"/>
                  <a:pt x="565431" y="2435922"/>
                </a:cubicBezTo>
                <a:cubicBezTo>
                  <a:pt x="564502" y="2437470"/>
                  <a:pt x="563676" y="2438245"/>
                  <a:pt x="562747" y="2439949"/>
                </a:cubicBezTo>
                <a:cubicBezTo>
                  <a:pt x="560165" y="2439639"/>
                  <a:pt x="557481" y="2441962"/>
                  <a:pt x="552318" y="2437935"/>
                </a:cubicBezTo>
                <a:cubicBezTo>
                  <a:pt x="547258" y="2433288"/>
                  <a:pt x="551595" y="2428641"/>
                  <a:pt x="550769" y="2428641"/>
                </a:cubicBezTo>
                <a:cubicBezTo>
                  <a:pt x="549840" y="2427712"/>
                  <a:pt x="549840" y="2427712"/>
                  <a:pt x="549014" y="2427557"/>
                </a:cubicBezTo>
                <a:cubicBezTo>
                  <a:pt x="549014" y="2426782"/>
                  <a:pt x="548291" y="2424924"/>
                  <a:pt x="547361" y="2423994"/>
                </a:cubicBezTo>
                <a:cubicBezTo>
                  <a:pt x="548291" y="2424149"/>
                  <a:pt x="549117" y="2424149"/>
                  <a:pt x="549117" y="2423375"/>
                </a:cubicBezTo>
                <a:close/>
                <a:moveTo>
                  <a:pt x="5267626" y="2422839"/>
                </a:moveTo>
                <a:cubicBezTo>
                  <a:pt x="5271681" y="2425257"/>
                  <a:pt x="5275736" y="2427676"/>
                  <a:pt x="5276376" y="2431090"/>
                </a:cubicBezTo>
                <a:lnTo>
                  <a:pt x="5272748" y="2434362"/>
                </a:lnTo>
                <a:lnTo>
                  <a:pt x="5272961" y="2434505"/>
                </a:lnTo>
                <a:cubicBezTo>
                  <a:pt x="5275309" y="2435927"/>
                  <a:pt x="5276590" y="2435927"/>
                  <a:pt x="5278937" y="2435074"/>
                </a:cubicBezTo>
                <a:cubicBezTo>
                  <a:pt x="5278937" y="2435074"/>
                  <a:pt x="5278724" y="2435074"/>
                  <a:pt x="5281072" y="2437777"/>
                </a:cubicBezTo>
                <a:lnTo>
                  <a:pt x="5281072" y="2438915"/>
                </a:lnTo>
                <a:cubicBezTo>
                  <a:pt x="5280645" y="2439484"/>
                  <a:pt x="5279791" y="2439627"/>
                  <a:pt x="5278511" y="2439627"/>
                </a:cubicBezTo>
                <a:cubicBezTo>
                  <a:pt x="5274669" y="2439484"/>
                  <a:pt x="5268053" y="2437350"/>
                  <a:pt x="5267200" y="2437208"/>
                </a:cubicBezTo>
                <a:lnTo>
                  <a:pt x="5265919" y="2437065"/>
                </a:lnTo>
                <a:lnTo>
                  <a:pt x="5260797" y="2436781"/>
                </a:lnTo>
                <a:cubicBezTo>
                  <a:pt x="5258662" y="2431517"/>
                  <a:pt x="5264638" y="2426111"/>
                  <a:pt x="5267626" y="2422839"/>
                </a:cubicBezTo>
                <a:close/>
                <a:moveTo>
                  <a:pt x="1129520" y="2422291"/>
                </a:moveTo>
                <a:cubicBezTo>
                  <a:pt x="1130759" y="2422600"/>
                  <a:pt x="1130759" y="2422600"/>
                  <a:pt x="1131895" y="2422910"/>
                </a:cubicBezTo>
                <a:cubicBezTo>
                  <a:pt x="1132824" y="2424459"/>
                  <a:pt x="1134476" y="2425543"/>
                  <a:pt x="1134683" y="2427403"/>
                </a:cubicBezTo>
                <a:lnTo>
                  <a:pt x="1132721" y="2429106"/>
                </a:lnTo>
                <a:lnTo>
                  <a:pt x="1133960" y="2430035"/>
                </a:lnTo>
                <a:cubicBezTo>
                  <a:pt x="1134270" y="2430345"/>
                  <a:pt x="1134580" y="2430655"/>
                  <a:pt x="1134786" y="2431120"/>
                </a:cubicBezTo>
                <a:cubicBezTo>
                  <a:pt x="1134476" y="2432204"/>
                  <a:pt x="1132928" y="2433288"/>
                  <a:pt x="1130966" y="2433598"/>
                </a:cubicBezTo>
                <a:cubicBezTo>
                  <a:pt x="1131069" y="2432978"/>
                  <a:pt x="1130759" y="2432513"/>
                  <a:pt x="1130346" y="2431894"/>
                </a:cubicBezTo>
                <a:lnTo>
                  <a:pt x="1129933" y="2430345"/>
                </a:lnTo>
                <a:lnTo>
                  <a:pt x="1128178" y="2430810"/>
                </a:lnTo>
                <a:lnTo>
                  <a:pt x="1128281" y="2431429"/>
                </a:lnTo>
                <a:cubicBezTo>
                  <a:pt x="1128281" y="2431429"/>
                  <a:pt x="1128384" y="2430655"/>
                  <a:pt x="1129210" y="2431429"/>
                </a:cubicBezTo>
                <a:cubicBezTo>
                  <a:pt x="1128281" y="2431429"/>
                  <a:pt x="1128178" y="2432204"/>
                  <a:pt x="1128074" y="2433133"/>
                </a:cubicBezTo>
                <a:cubicBezTo>
                  <a:pt x="1126009" y="2434682"/>
                  <a:pt x="1123118" y="2436231"/>
                  <a:pt x="1121466" y="2435302"/>
                </a:cubicBezTo>
                <a:cubicBezTo>
                  <a:pt x="1120743" y="2434372"/>
                  <a:pt x="1120640" y="2433443"/>
                  <a:pt x="1120950" y="2432824"/>
                </a:cubicBezTo>
                <a:cubicBezTo>
                  <a:pt x="1121156" y="2432049"/>
                  <a:pt x="1121673" y="2431429"/>
                  <a:pt x="1122189" y="2431120"/>
                </a:cubicBezTo>
                <a:cubicBezTo>
                  <a:pt x="1122808" y="2429881"/>
                  <a:pt x="1124047" y="2429261"/>
                  <a:pt x="1125390" y="2429106"/>
                </a:cubicBezTo>
                <a:lnTo>
                  <a:pt x="1126422" y="2429261"/>
                </a:lnTo>
                <a:lnTo>
                  <a:pt x="1125699" y="2428641"/>
                </a:lnTo>
                <a:cubicBezTo>
                  <a:pt x="1125287" y="2427712"/>
                  <a:pt x="1125287" y="2426473"/>
                  <a:pt x="1125596" y="2425234"/>
                </a:cubicBezTo>
                <a:cubicBezTo>
                  <a:pt x="1125493" y="2424304"/>
                  <a:pt x="1126009" y="2423684"/>
                  <a:pt x="1126732" y="2423065"/>
                </a:cubicBezTo>
                <a:cubicBezTo>
                  <a:pt x="1127558" y="2422600"/>
                  <a:pt x="1128591" y="2422291"/>
                  <a:pt x="1129520" y="2422291"/>
                </a:cubicBezTo>
                <a:close/>
                <a:moveTo>
                  <a:pt x="1176811" y="2422136"/>
                </a:moveTo>
                <a:cubicBezTo>
                  <a:pt x="1181045" y="2422136"/>
                  <a:pt x="1182697" y="2424149"/>
                  <a:pt x="1183833" y="2427712"/>
                </a:cubicBezTo>
                <a:cubicBezTo>
                  <a:pt x="1181974" y="2429261"/>
                  <a:pt x="1177740" y="2429261"/>
                  <a:pt x="1175985" y="2427247"/>
                </a:cubicBezTo>
                <a:cubicBezTo>
                  <a:pt x="1175469" y="2424304"/>
                  <a:pt x="1177328" y="2423994"/>
                  <a:pt x="1176811" y="2422136"/>
                </a:cubicBezTo>
                <a:close/>
                <a:moveTo>
                  <a:pt x="924350" y="2421516"/>
                </a:moveTo>
                <a:cubicBezTo>
                  <a:pt x="926002" y="2422291"/>
                  <a:pt x="928273" y="2427867"/>
                  <a:pt x="927448" y="2428796"/>
                </a:cubicBezTo>
                <a:cubicBezTo>
                  <a:pt x="925589" y="2427712"/>
                  <a:pt x="922285" y="2425699"/>
                  <a:pt x="921562" y="2423684"/>
                </a:cubicBezTo>
                <a:cubicBezTo>
                  <a:pt x="921252" y="2423065"/>
                  <a:pt x="921356" y="2422291"/>
                  <a:pt x="921768" y="2421671"/>
                </a:cubicBezTo>
                <a:cubicBezTo>
                  <a:pt x="922698" y="2420896"/>
                  <a:pt x="923524" y="2421671"/>
                  <a:pt x="924350" y="2421516"/>
                </a:cubicBezTo>
                <a:close/>
                <a:moveTo>
                  <a:pt x="867559" y="2421516"/>
                </a:moveTo>
                <a:cubicBezTo>
                  <a:pt x="869418" y="2422910"/>
                  <a:pt x="871173" y="2423530"/>
                  <a:pt x="871173" y="2424304"/>
                </a:cubicBezTo>
                <a:cubicBezTo>
                  <a:pt x="872102" y="2424149"/>
                  <a:pt x="873031" y="2424924"/>
                  <a:pt x="873961" y="2424769"/>
                </a:cubicBezTo>
                <a:cubicBezTo>
                  <a:pt x="873961" y="2424769"/>
                  <a:pt x="873961" y="2424769"/>
                  <a:pt x="873961" y="2425699"/>
                </a:cubicBezTo>
                <a:cubicBezTo>
                  <a:pt x="870450" y="2425234"/>
                  <a:pt x="866114" y="2426782"/>
                  <a:pt x="863325" y="2425389"/>
                </a:cubicBezTo>
                <a:cubicBezTo>
                  <a:pt x="862913" y="2425079"/>
                  <a:pt x="862396" y="2424769"/>
                  <a:pt x="862293" y="2424149"/>
                </a:cubicBezTo>
                <a:cubicBezTo>
                  <a:pt x="862087" y="2423684"/>
                  <a:pt x="862293" y="2423065"/>
                  <a:pt x="863119" y="2422136"/>
                </a:cubicBezTo>
                <a:cubicBezTo>
                  <a:pt x="863945" y="2420277"/>
                  <a:pt x="864771" y="2420277"/>
                  <a:pt x="867559" y="2421516"/>
                </a:cubicBezTo>
                <a:close/>
                <a:moveTo>
                  <a:pt x="1054660" y="2421361"/>
                </a:moveTo>
                <a:cubicBezTo>
                  <a:pt x="1057860" y="2421826"/>
                  <a:pt x="1058480" y="2424459"/>
                  <a:pt x="1060958" y="2425079"/>
                </a:cubicBezTo>
                <a:cubicBezTo>
                  <a:pt x="1059926" y="2426627"/>
                  <a:pt x="1058583" y="2429261"/>
                  <a:pt x="1054143" y="2428641"/>
                </a:cubicBezTo>
                <a:cubicBezTo>
                  <a:pt x="1052904" y="2428177"/>
                  <a:pt x="1052904" y="2428177"/>
                  <a:pt x="1052491" y="2427557"/>
                </a:cubicBezTo>
                <a:cubicBezTo>
                  <a:pt x="1050735" y="2426318"/>
                  <a:pt x="1049496" y="2426008"/>
                  <a:pt x="1049393" y="2424149"/>
                </a:cubicBezTo>
                <a:cubicBezTo>
                  <a:pt x="1049393" y="2422600"/>
                  <a:pt x="1049909" y="2421826"/>
                  <a:pt x="1050839" y="2421516"/>
                </a:cubicBezTo>
                <a:cubicBezTo>
                  <a:pt x="1051768" y="2421206"/>
                  <a:pt x="1053007" y="2421206"/>
                  <a:pt x="1054660" y="2421361"/>
                </a:cubicBezTo>
                <a:close/>
                <a:moveTo>
                  <a:pt x="1026987" y="2421051"/>
                </a:moveTo>
                <a:cubicBezTo>
                  <a:pt x="1027813" y="2420896"/>
                  <a:pt x="1028638" y="2421051"/>
                  <a:pt x="1029774" y="2421516"/>
                </a:cubicBezTo>
                <a:cubicBezTo>
                  <a:pt x="1030601" y="2421206"/>
                  <a:pt x="1032872" y="2424149"/>
                  <a:pt x="1032562" y="2425234"/>
                </a:cubicBezTo>
                <a:cubicBezTo>
                  <a:pt x="1032150" y="2428177"/>
                  <a:pt x="1029052" y="2427403"/>
                  <a:pt x="1025644" y="2427867"/>
                </a:cubicBezTo>
                <a:cubicBezTo>
                  <a:pt x="1025954" y="2426782"/>
                  <a:pt x="1024818" y="2426318"/>
                  <a:pt x="1023683" y="2425853"/>
                </a:cubicBezTo>
                <a:cubicBezTo>
                  <a:pt x="1024302" y="2424149"/>
                  <a:pt x="1024818" y="2421516"/>
                  <a:pt x="1026987" y="2421051"/>
                </a:cubicBezTo>
                <a:close/>
                <a:moveTo>
                  <a:pt x="655161" y="2421051"/>
                </a:moveTo>
                <a:cubicBezTo>
                  <a:pt x="657846" y="2422291"/>
                  <a:pt x="660427" y="2428177"/>
                  <a:pt x="658775" y="2430965"/>
                </a:cubicBezTo>
                <a:cubicBezTo>
                  <a:pt x="658156" y="2431894"/>
                  <a:pt x="657123" y="2432359"/>
                  <a:pt x="655471" y="2432359"/>
                </a:cubicBezTo>
                <a:cubicBezTo>
                  <a:pt x="650515" y="2431739"/>
                  <a:pt x="649998" y="2427557"/>
                  <a:pt x="650205" y="2422910"/>
                </a:cubicBezTo>
                <a:cubicBezTo>
                  <a:pt x="652063" y="2422445"/>
                  <a:pt x="653302" y="2421516"/>
                  <a:pt x="655161" y="2421051"/>
                </a:cubicBezTo>
                <a:close/>
                <a:moveTo>
                  <a:pt x="1084604" y="2420587"/>
                </a:moveTo>
                <a:cubicBezTo>
                  <a:pt x="1085223" y="2420587"/>
                  <a:pt x="1085739" y="2420587"/>
                  <a:pt x="1086153" y="2421051"/>
                </a:cubicBezTo>
                <a:cubicBezTo>
                  <a:pt x="1084191" y="2422600"/>
                  <a:pt x="1081919" y="2425853"/>
                  <a:pt x="1078615" y="2424769"/>
                </a:cubicBezTo>
                <a:cubicBezTo>
                  <a:pt x="1080060" y="2423530"/>
                  <a:pt x="1082745" y="2421051"/>
                  <a:pt x="1084604" y="2420587"/>
                </a:cubicBezTo>
                <a:close/>
                <a:moveTo>
                  <a:pt x="5226863" y="2420278"/>
                </a:moveTo>
                <a:cubicBezTo>
                  <a:pt x="5230064" y="2420847"/>
                  <a:pt x="5233265" y="2421416"/>
                  <a:pt x="5236680" y="2421843"/>
                </a:cubicBezTo>
                <a:cubicBezTo>
                  <a:pt x="5235613" y="2424261"/>
                  <a:pt x="5236467" y="2426964"/>
                  <a:pt x="5236253" y="2428672"/>
                </a:cubicBezTo>
                <a:cubicBezTo>
                  <a:pt x="5233692" y="2430806"/>
                  <a:pt x="5231132" y="2431233"/>
                  <a:pt x="5227290" y="2429668"/>
                </a:cubicBezTo>
                <a:cubicBezTo>
                  <a:pt x="5225796" y="2424261"/>
                  <a:pt x="5225796" y="2425969"/>
                  <a:pt x="5226863" y="2420278"/>
                </a:cubicBezTo>
                <a:close/>
                <a:moveTo>
                  <a:pt x="981141" y="2419502"/>
                </a:moveTo>
                <a:cubicBezTo>
                  <a:pt x="983000" y="2419657"/>
                  <a:pt x="981864" y="2422910"/>
                  <a:pt x="982277" y="2423684"/>
                </a:cubicBezTo>
                <a:cubicBezTo>
                  <a:pt x="981864" y="2424769"/>
                  <a:pt x="981451" y="2425853"/>
                  <a:pt x="980315" y="2425389"/>
                </a:cubicBezTo>
                <a:cubicBezTo>
                  <a:pt x="979179" y="2424924"/>
                  <a:pt x="978353" y="2425234"/>
                  <a:pt x="978353" y="2423375"/>
                </a:cubicBezTo>
                <a:cubicBezTo>
                  <a:pt x="978043" y="2422600"/>
                  <a:pt x="978353" y="2421516"/>
                  <a:pt x="978043" y="2420741"/>
                </a:cubicBezTo>
                <a:cubicBezTo>
                  <a:pt x="978043" y="2420741"/>
                  <a:pt x="978456" y="2420277"/>
                  <a:pt x="979076" y="2419967"/>
                </a:cubicBezTo>
                <a:cubicBezTo>
                  <a:pt x="979695" y="2419657"/>
                  <a:pt x="980521" y="2419192"/>
                  <a:pt x="981141" y="2419502"/>
                </a:cubicBezTo>
                <a:close/>
                <a:moveTo>
                  <a:pt x="1007058" y="2418418"/>
                </a:moveTo>
                <a:cubicBezTo>
                  <a:pt x="1010156" y="2421206"/>
                  <a:pt x="1010879" y="2421980"/>
                  <a:pt x="1008400" y="2426008"/>
                </a:cubicBezTo>
                <a:cubicBezTo>
                  <a:pt x="1008400" y="2426008"/>
                  <a:pt x="1007471" y="2426782"/>
                  <a:pt x="1007471" y="2426782"/>
                </a:cubicBezTo>
                <a:cubicBezTo>
                  <a:pt x="1004373" y="2430035"/>
                  <a:pt x="998901" y="2431274"/>
                  <a:pt x="997249" y="2430345"/>
                </a:cubicBezTo>
                <a:cubicBezTo>
                  <a:pt x="996526" y="2429570"/>
                  <a:pt x="996113" y="2428177"/>
                  <a:pt x="996216" y="2426782"/>
                </a:cubicBezTo>
                <a:cubicBezTo>
                  <a:pt x="996320" y="2425543"/>
                  <a:pt x="997042" y="2424149"/>
                  <a:pt x="998488" y="2422910"/>
                </a:cubicBezTo>
                <a:cubicBezTo>
                  <a:pt x="1000656" y="2420587"/>
                  <a:pt x="1004064" y="2420741"/>
                  <a:pt x="1007058" y="2418418"/>
                </a:cubicBezTo>
                <a:close/>
                <a:moveTo>
                  <a:pt x="5256742" y="2417006"/>
                </a:moveTo>
                <a:cubicBezTo>
                  <a:pt x="5257809" y="2417290"/>
                  <a:pt x="5258449" y="2417717"/>
                  <a:pt x="5258876" y="2418286"/>
                </a:cubicBezTo>
                <a:cubicBezTo>
                  <a:pt x="5260157" y="2419993"/>
                  <a:pt x="5259730" y="2423408"/>
                  <a:pt x="5259730" y="2426964"/>
                </a:cubicBezTo>
                <a:cubicBezTo>
                  <a:pt x="5258449" y="2426396"/>
                  <a:pt x="5257595" y="2427818"/>
                  <a:pt x="5256742" y="2429383"/>
                </a:cubicBezTo>
                <a:cubicBezTo>
                  <a:pt x="5254607" y="2428387"/>
                  <a:pt x="5251193" y="2427391"/>
                  <a:pt x="5250766" y="2424261"/>
                </a:cubicBezTo>
                <a:cubicBezTo>
                  <a:pt x="5250553" y="2423123"/>
                  <a:pt x="5250766" y="2421985"/>
                  <a:pt x="5251619" y="2420420"/>
                </a:cubicBezTo>
                <a:cubicBezTo>
                  <a:pt x="5251193" y="2419282"/>
                  <a:pt x="5255461" y="2416437"/>
                  <a:pt x="5256742" y="2417006"/>
                </a:cubicBezTo>
                <a:close/>
                <a:moveTo>
                  <a:pt x="1187653" y="2416714"/>
                </a:moveTo>
                <a:cubicBezTo>
                  <a:pt x="1189615" y="2416714"/>
                  <a:pt x="1192816" y="2416249"/>
                  <a:pt x="1194571" y="2419967"/>
                </a:cubicBezTo>
                <a:cubicBezTo>
                  <a:pt x="1194881" y="2421206"/>
                  <a:pt x="1194985" y="2421206"/>
                  <a:pt x="1194571" y="2421980"/>
                </a:cubicBezTo>
                <a:cubicBezTo>
                  <a:pt x="1194468" y="2423839"/>
                  <a:pt x="1194778" y="2424924"/>
                  <a:pt x="1193126" y="2426163"/>
                </a:cubicBezTo>
                <a:cubicBezTo>
                  <a:pt x="1191680" y="2426938"/>
                  <a:pt x="1190648" y="2426938"/>
                  <a:pt x="1189925" y="2426473"/>
                </a:cubicBezTo>
                <a:cubicBezTo>
                  <a:pt x="1189099" y="2425853"/>
                  <a:pt x="1188376" y="2424924"/>
                  <a:pt x="1187653" y="2423684"/>
                </a:cubicBezTo>
                <a:cubicBezTo>
                  <a:pt x="1186931" y="2422291"/>
                  <a:pt x="1187137" y="2421206"/>
                  <a:pt x="1187343" y="2420122"/>
                </a:cubicBezTo>
                <a:cubicBezTo>
                  <a:pt x="1187653" y="2419037"/>
                  <a:pt x="1187963" y="2417953"/>
                  <a:pt x="1187653" y="2416714"/>
                </a:cubicBezTo>
                <a:close/>
                <a:moveTo>
                  <a:pt x="1063333" y="2416405"/>
                </a:moveTo>
                <a:cubicBezTo>
                  <a:pt x="1064056" y="2416094"/>
                  <a:pt x="1064468" y="2416249"/>
                  <a:pt x="1064882" y="2416870"/>
                </a:cubicBezTo>
                <a:cubicBezTo>
                  <a:pt x="1065192" y="2417334"/>
                  <a:pt x="1065398" y="2418263"/>
                  <a:pt x="1065914" y="2419037"/>
                </a:cubicBezTo>
                <a:lnTo>
                  <a:pt x="1062404" y="2419502"/>
                </a:lnTo>
                <a:cubicBezTo>
                  <a:pt x="1062197" y="2419037"/>
                  <a:pt x="1062094" y="2418263"/>
                  <a:pt x="1062300" y="2417644"/>
                </a:cubicBezTo>
                <a:cubicBezTo>
                  <a:pt x="1062404" y="2417024"/>
                  <a:pt x="1062713" y="2416559"/>
                  <a:pt x="1063333" y="2416405"/>
                </a:cubicBezTo>
                <a:close/>
                <a:moveTo>
                  <a:pt x="1041649" y="2416094"/>
                </a:moveTo>
                <a:cubicBezTo>
                  <a:pt x="1045160" y="2416559"/>
                  <a:pt x="1047534" y="2420432"/>
                  <a:pt x="1047638" y="2423684"/>
                </a:cubicBezTo>
                <a:lnTo>
                  <a:pt x="1047431" y="2424614"/>
                </a:lnTo>
                <a:lnTo>
                  <a:pt x="1048361" y="2426782"/>
                </a:lnTo>
                <a:cubicBezTo>
                  <a:pt x="1048258" y="2427867"/>
                  <a:pt x="1047534" y="2428796"/>
                  <a:pt x="1045986" y="2429416"/>
                </a:cubicBezTo>
                <a:cubicBezTo>
                  <a:pt x="1041339" y="2430500"/>
                  <a:pt x="1039274" y="2426782"/>
                  <a:pt x="1037519" y="2422136"/>
                </a:cubicBezTo>
                <a:cubicBezTo>
                  <a:pt x="1039067" y="2421206"/>
                  <a:pt x="1039790" y="2419812"/>
                  <a:pt x="1041339" y="2418728"/>
                </a:cubicBezTo>
                <a:close/>
                <a:moveTo>
                  <a:pt x="5129970" y="2415440"/>
                </a:moveTo>
                <a:cubicBezTo>
                  <a:pt x="5131251" y="2415583"/>
                  <a:pt x="5132745" y="2416152"/>
                  <a:pt x="5133812" y="2416295"/>
                </a:cubicBezTo>
                <a:cubicBezTo>
                  <a:pt x="5135093" y="2414018"/>
                  <a:pt x="5138507" y="2419140"/>
                  <a:pt x="5139574" y="2416863"/>
                </a:cubicBezTo>
                <a:cubicBezTo>
                  <a:pt x="5144056" y="2422269"/>
                  <a:pt x="5150032" y="2417006"/>
                  <a:pt x="5157928" y="2423977"/>
                </a:cubicBezTo>
                <a:cubicBezTo>
                  <a:pt x="5154940" y="2424546"/>
                  <a:pt x="5152380" y="2424546"/>
                  <a:pt x="5149819" y="2424261"/>
                </a:cubicBezTo>
                <a:cubicBezTo>
                  <a:pt x="5142349" y="2423692"/>
                  <a:pt x="5136586" y="2420704"/>
                  <a:pt x="5131464" y="2421843"/>
                </a:cubicBezTo>
                <a:cubicBezTo>
                  <a:pt x="5131464" y="2421843"/>
                  <a:pt x="5131464" y="2421985"/>
                  <a:pt x="5129117" y="2419282"/>
                </a:cubicBezTo>
                <a:cubicBezTo>
                  <a:pt x="5128050" y="2419140"/>
                  <a:pt x="5128050" y="2419140"/>
                  <a:pt x="5128050" y="2419140"/>
                </a:cubicBezTo>
                <a:cubicBezTo>
                  <a:pt x="5126983" y="2418997"/>
                  <a:pt x="5126983" y="2416579"/>
                  <a:pt x="5126983" y="2416579"/>
                </a:cubicBezTo>
                <a:cubicBezTo>
                  <a:pt x="5127623" y="2415440"/>
                  <a:pt x="5128690" y="2415298"/>
                  <a:pt x="5129970" y="2415440"/>
                </a:cubicBezTo>
                <a:close/>
                <a:moveTo>
                  <a:pt x="4845695" y="2415440"/>
                </a:moveTo>
                <a:cubicBezTo>
                  <a:pt x="4847189" y="2415014"/>
                  <a:pt x="4848683" y="2414872"/>
                  <a:pt x="4850177" y="2415583"/>
                </a:cubicBezTo>
                <a:cubicBezTo>
                  <a:pt x="4850177" y="2415583"/>
                  <a:pt x="4851458" y="2416295"/>
                  <a:pt x="4852098" y="2418571"/>
                </a:cubicBezTo>
                <a:cubicBezTo>
                  <a:pt x="4852738" y="2419140"/>
                  <a:pt x="4853165" y="2419993"/>
                  <a:pt x="4853378" y="2420704"/>
                </a:cubicBezTo>
                <a:cubicBezTo>
                  <a:pt x="4854019" y="2423123"/>
                  <a:pt x="4852738" y="2425684"/>
                  <a:pt x="4852738" y="2425684"/>
                </a:cubicBezTo>
                <a:cubicBezTo>
                  <a:pt x="4852738" y="2425684"/>
                  <a:pt x="4852738" y="2425684"/>
                  <a:pt x="4853805" y="2425257"/>
                </a:cubicBezTo>
                <a:cubicBezTo>
                  <a:pt x="4851671" y="2426111"/>
                  <a:pt x="4849750" y="2428103"/>
                  <a:pt x="4847402" y="2428814"/>
                </a:cubicBezTo>
                <a:cubicBezTo>
                  <a:pt x="4836731" y="2425399"/>
                  <a:pt x="4839506" y="2421843"/>
                  <a:pt x="4841640" y="2416152"/>
                </a:cubicBezTo>
                <a:cubicBezTo>
                  <a:pt x="4842921" y="2416295"/>
                  <a:pt x="4844202" y="2415725"/>
                  <a:pt x="4845695" y="2415440"/>
                </a:cubicBezTo>
                <a:close/>
                <a:moveTo>
                  <a:pt x="5118232" y="2413591"/>
                </a:moveTo>
                <a:cubicBezTo>
                  <a:pt x="5122074" y="2417717"/>
                  <a:pt x="5124635" y="2421985"/>
                  <a:pt x="5125062" y="2426964"/>
                </a:cubicBezTo>
                <a:cubicBezTo>
                  <a:pt x="5119727" y="2428387"/>
                  <a:pt x="5113110" y="2426396"/>
                  <a:pt x="5107988" y="2425257"/>
                </a:cubicBezTo>
                <a:cubicBezTo>
                  <a:pt x="5111616" y="2421843"/>
                  <a:pt x="5116739" y="2422981"/>
                  <a:pt x="5118232" y="2413591"/>
                </a:cubicBezTo>
                <a:close/>
                <a:moveTo>
                  <a:pt x="5532267" y="2413449"/>
                </a:moveTo>
                <a:cubicBezTo>
                  <a:pt x="5525224" y="2415583"/>
                  <a:pt x="5516047" y="2418144"/>
                  <a:pt x="5513913" y="2421843"/>
                </a:cubicBezTo>
                <a:lnTo>
                  <a:pt x="5514126" y="2424688"/>
                </a:lnTo>
                <a:lnTo>
                  <a:pt x="5516047" y="2423834"/>
                </a:lnTo>
                <a:cubicBezTo>
                  <a:pt x="5518608" y="2428245"/>
                  <a:pt x="5513486" y="2431802"/>
                  <a:pt x="5510711" y="2430379"/>
                </a:cubicBezTo>
                <a:cubicBezTo>
                  <a:pt x="5509858" y="2429952"/>
                  <a:pt x="5509217" y="2428814"/>
                  <a:pt x="5509217" y="2427107"/>
                </a:cubicBezTo>
                <a:lnTo>
                  <a:pt x="5513059" y="2425399"/>
                </a:lnTo>
                <a:lnTo>
                  <a:pt x="5510711" y="2424261"/>
                </a:lnTo>
                <a:cubicBezTo>
                  <a:pt x="5510071" y="2423266"/>
                  <a:pt x="5509217" y="2422269"/>
                  <a:pt x="5507297" y="2423123"/>
                </a:cubicBezTo>
                <a:cubicBezTo>
                  <a:pt x="5501321" y="2426396"/>
                  <a:pt x="5497266" y="2430948"/>
                  <a:pt x="5487875" y="2435216"/>
                </a:cubicBezTo>
                <a:lnTo>
                  <a:pt x="5487022" y="2435643"/>
                </a:lnTo>
                <a:lnTo>
                  <a:pt x="5489156" y="2438630"/>
                </a:lnTo>
                <a:lnTo>
                  <a:pt x="5489156" y="2439769"/>
                </a:lnTo>
                <a:lnTo>
                  <a:pt x="5493851" y="2438630"/>
                </a:lnTo>
                <a:cubicBezTo>
                  <a:pt x="5501748" y="2436354"/>
                  <a:pt x="5508790" y="2434932"/>
                  <a:pt x="5515193" y="2431944"/>
                </a:cubicBezTo>
                <a:cubicBezTo>
                  <a:pt x="5513486" y="2434932"/>
                  <a:pt x="5514340" y="2436354"/>
                  <a:pt x="5518181" y="2436354"/>
                </a:cubicBezTo>
                <a:cubicBezTo>
                  <a:pt x="5517541" y="2432655"/>
                  <a:pt x="5527785" y="2428245"/>
                  <a:pt x="5521382" y="2425969"/>
                </a:cubicBezTo>
                <a:cubicBezTo>
                  <a:pt x="5523730" y="2423834"/>
                  <a:pt x="5529919" y="2421558"/>
                  <a:pt x="5532267" y="2422269"/>
                </a:cubicBezTo>
                <a:cubicBezTo>
                  <a:pt x="5533974" y="2420847"/>
                  <a:pt x="5533120" y="2418571"/>
                  <a:pt x="5532267" y="2413449"/>
                </a:cubicBezTo>
                <a:close/>
                <a:moveTo>
                  <a:pt x="1122086" y="2413306"/>
                </a:moveTo>
                <a:cubicBezTo>
                  <a:pt x="1126009" y="2413616"/>
                  <a:pt x="1127971" y="2415630"/>
                  <a:pt x="1126732" y="2418883"/>
                </a:cubicBezTo>
                <a:cubicBezTo>
                  <a:pt x="1124460" y="2417953"/>
                  <a:pt x="1123222" y="2419348"/>
                  <a:pt x="1120950" y="2418263"/>
                </a:cubicBezTo>
                <a:cubicBezTo>
                  <a:pt x="1121673" y="2416094"/>
                  <a:pt x="1121776" y="2414391"/>
                  <a:pt x="1122086" y="2413306"/>
                </a:cubicBezTo>
                <a:close/>
                <a:moveTo>
                  <a:pt x="779520" y="2413036"/>
                </a:moveTo>
                <a:cubicBezTo>
                  <a:pt x="781443" y="2413539"/>
                  <a:pt x="783560" y="2415011"/>
                  <a:pt x="785677" y="2416870"/>
                </a:cubicBezTo>
                <a:cubicBezTo>
                  <a:pt x="784851" y="2417644"/>
                  <a:pt x="787432" y="2419657"/>
                  <a:pt x="788258" y="2421361"/>
                </a:cubicBezTo>
                <a:cubicBezTo>
                  <a:pt x="788155" y="2423994"/>
                  <a:pt x="788155" y="2425543"/>
                  <a:pt x="786400" y="2427093"/>
                </a:cubicBezTo>
                <a:cubicBezTo>
                  <a:pt x="783715" y="2429416"/>
                  <a:pt x="777726" y="2430500"/>
                  <a:pt x="775145" y="2427712"/>
                </a:cubicBezTo>
                <a:cubicBezTo>
                  <a:pt x="771737" y="2424769"/>
                  <a:pt x="770911" y="2422136"/>
                  <a:pt x="770911" y="2419657"/>
                </a:cubicBezTo>
                <a:cubicBezTo>
                  <a:pt x="770911" y="2419657"/>
                  <a:pt x="770911" y="2419657"/>
                  <a:pt x="770911" y="2420587"/>
                </a:cubicBezTo>
                <a:lnTo>
                  <a:pt x="768949" y="2421980"/>
                </a:lnTo>
                <a:lnTo>
                  <a:pt x="769053" y="2423530"/>
                </a:lnTo>
                <a:cubicBezTo>
                  <a:pt x="769053" y="2424304"/>
                  <a:pt x="769053" y="2424924"/>
                  <a:pt x="769053" y="2425079"/>
                </a:cubicBezTo>
                <a:cubicBezTo>
                  <a:pt x="768226" y="2425234"/>
                  <a:pt x="768226" y="2425234"/>
                  <a:pt x="768226" y="2425234"/>
                </a:cubicBezTo>
                <a:lnTo>
                  <a:pt x="767710" y="2423065"/>
                </a:lnTo>
                <a:lnTo>
                  <a:pt x="764613" y="2425543"/>
                </a:lnTo>
                <a:lnTo>
                  <a:pt x="765026" y="2427557"/>
                </a:lnTo>
                <a:lnTo>
                  <a:pt x="763477" y="2426163"/>
                </a:lnTo>
                <a:lnTo>
                  <a:pt x="761102" y="2427403"/>
                </a:lnTo>
                <a:cubicBezTo>
                  <a:pt x="760172" y="2427867"/>
                  <a:pt x="759243" y="2428022"/>
                  <a:pt x="758624" y="2427712"/>
                </a:cubicBezTo>
                <a:cubicBezTo>
                  <a:pt x="758624" y="2426782"/>
                  <a:pt x="758624" y="2426008"/>
                  <a:pt x="759553" y="2425234"/>
                </a:cubicBezTo>
                <a:cubicBezTo>
                  <a:pt x="760379" y="2424459"/>
                  <a:pt x="760379" y="2425389"/>
                  <a:pt x="760482" y="2424459"/>
                </a:cubicBezTo>
                <a:cubicBezTo>
                  <a:pt x="761308" y="2423839"/>
                  <a:pt x="760482" y="2423684"/>
                  <a:pt x="760482" y="2423684"/>
                </a:cubicBezTo>
                <a:lnTo>
                  <a:pt x="760792" y="2423684"/>
                </a:lnTo>
                <a:lnTo>
                  <a:pt x="759243" y="2420277"/>
                </a:lnTo>
                <a:cubicBezTo>
                  <a:pt x="758727" y="2417798"/>
                  <a:pt x="758520" y="2415785"/>
                  <a:pt x="756249" y="2414391"/>
                </a:cubicBezTo>
                <a:cubicBezTo>
                  <a:pt x="758004" y="2413306"/>
                  <a:pt x="758004" y="2413306"/>
                  <a:pt x="759759" y="2413926"/>
                </a:cubicBezTo>
                <a:cubicBezTo>
                  <a:pt x="759863" y="2414856"/>
                  <a:pt x="760689" y="2414701"/>
                  <a:pt x="759863" y="2415630"/>
                </a:cubicBezTo>
                <a:cubicBezTo>
                  <a:pt x="761205" y="2416249"/>
                  <a:pt x="762651" y="2418263"/>
                  <a:pt x="763683" y="2420741"/>
                </a:cubicBezTo>
                <a:lnTo>
                  <a:pt x="763787" y="2421051"/>
                </a:lnTo>
                <a:lnTo>
                  <a:pt x="764716" y="2419502"/>
                </a:lnTo>
                <a:cubicBezTo>
                  <a:pt x="765129" y="2418883"/>
                  <a:pt x="765335" y="2418263"/>
                  <a:pt x="765749" y="2417489"/>
                </a:cubicBezTo>
                <a:lnTo>
                  <a:pt x="765852" y="2417334"/>
                </a:lnTo>
                <a:lnTo>
                  <a:pt x="765749" y="2416870"/>
                </a:lnTo>
                <a:cubicBezTo>
                  <a:pt x="765542" y="2415940"/>
                  <a:pt x="765542" y="2414856"/>
                  <a:pt x="765852" y="2413771"/>
                </a:cubicBezTo>
                <a:cubicBezTo>
                  <a:pt x="765852" y="2413771"/>
                  <a:pt x="765852" y="2413771"/>
                  <a:pt x="765955" y="2414546"/>
                </a:cubicBezTo>
                <a:cubicBezTo>
                  <a:pt x="765955" y="2414546"/>
                  <a:pt x="765852" y="2413771"/>
                  <a:pt x="766678" y="2413616"/>
                </a:cubicBezTo>
                <a:lnTo>
                  <a:pt x="767504" y="2416405"/>
                </a:lnTo>
                <a:lnTo>
                  <a:pt x="768020" y="2415940"/>
                </a:lnTo>
                <a:cubicBezTo>
                  <a:pt x="768846" y="2415630"/>
                  <a:pt x="769672" y="2415320"/>
                  <a:pt x="771015" y="2414546"/>
                </a:cubicBezTo>
                <a:cubicBezTo>
                  <a:pt x="772770" y="2415630"/>
                  <a:pt x="772666" y="2415630"/>
                  <a:pt x="772666" y="2416405"/>
                </a:cubicBezTo>
                <a:cubicBezTo>
                  <a:pt x="772666" y="2415630"/>
                  <a:pt x="773596" y="2415785"/>
                  <a:pt x="774525" y="2415010"/>
                </a:cubicBezTo>
                <a:cubicBezTo>
                  <a:pt x="775868" y="2412997"/>
                  <a:pt x="777597" y="2412532"/>
                  <a:pt x="779520" y="2413036"/>
                </a:cubicBezTo>
                <a:close/>
                <a:moveTo>
                  <a:pt x="6249571" y="2412453"/>
                </a:moveTo>
                <a:cubicBezTo>
                  <a:pt x="6251492" y="2414445"/>
                  <a:pt x="6253199" y="2416721"/>
                  <a:pt x="6254266" y="2418855"/>
                </a:cubicBezTo>
                <a:cubicBezTo>
                  <a:pt x="6257894" y="2425257"/>
                  <a:pt x="6258748" y="2431517"/>
                  <a:pt x="6262589" y="2435074"/>
                </a:cubicBezTo>
                <a:cubicBezTo>
                  <a:pt x="6262589" y="2435074"/>
                  <a:pt x="6262589" y="2435074"/>
                  <a:pt x="6261522" y="2438346"/>
                </a:cubicBezTo>
                <a:cubicBezTo>
                  <a:pt x="6261949" y="2439342"/>
                  <a:pt x="6261949" y="2439484"/>
                  <a:pt x="6261949" y="2439484"/>
                </a:cubicBezTo>
                <a:cubicBezTo>
                  <a:pt x="6262589" y="2440480"/>
                  <a:pt x="6260455" y="2441761"/>
                  <a:pt x="6260455" y="2441761"/>
                </a:cubicBezTo>
                <a:cubicBezTo>
                  <a:pt x="6257894" y="2442045"/>
                  <a:pt x="6257467" y="2438204"/>
                  <a:pt x="6256400" y="2436212"/>
                </a:cubicBezTo>
                <a:cubicBezTo>
                  <a:pt x="6253839" y="2436497"/>
                  <a:pt x="6256400" y="2430948"/>
                  <a:pt x="6253839" y="2431233"/>
                </a:cubicBezTo>
                <a:cubicBezTo>
                  <a:pt x="6255760" y="2424688"/>
                  <a:pt x="6248077" y="2422696"/>
                  <a:pt x="6249571" y="2412453"/>
                </a:cubicBezTo>
                <a:close/>
                <a:moveTo>
                  <a:pt x="4930850" y="2412453"/>
                </a:moveTo>
                <a:cubicBezTo>
                  <a:pt x="4931703" y="2412595"/>
                  <a:pt x="4932770" y="2412738"/>
                  <a:pt x="4933838" y="2413449"/>
                </a:cubicBezTo>
                <a:cubicBezTo>
                  <a:pt x="4933625" y="2418428"/>
                  <a:pt x="4933411" y="2421843"/>
                  <a:pt x="4932557" y="2424261"/>
                </a:cubicBezTo>
                <a:cubicBezTo>
                  <a:pt x="4926154" y="2424546"/>
                  <a:pt x="4924874" y="2415440"/>
                  <a:pt x="4928502" y="2413022"/>
                </a:cubicBezTo>
                <a:cubicBezTo>
                  <a:pt x="4929142" y="2412595"/>
                  <a:pt x="4929996" y="2412453"/>
                  <a:pt x="4930850" y="2412453"/>
                </a:cubicBezTo>
                <a:close/>
                <a:moveTo>
                  <a:pt x="1011189" y="2412377"/>
                </a:moveTo>
                <a:cubicBezTo>
                  <a:pt x="1014905" y="2411913"/>
                  <a:pt x="1018003" y="2417644"/>
                  <a:pt x="1016351" y="2420896"/>
                </a:cubicBezTo>
                <a:cubicBezTo>
                  <a:pt x="1014493" y="2417334"/>
                  <a:pt x="1011498" y="2416559"/>
                  <a:pt x="1010879" y="2414701"/>
                </a:cubicBezTo>
                <a:cubicBezTo>
                  <a:pt x="1010672" y="2414081"/>
                  <a:pt x="1010775" y="2413306"/>
                  <a:pt x="1011189" y="2412377"/>
                </a:cubicBezTo>
                <a:close/>
                <a:moveTo>
                  <a:pt x="1068392" y="2411913"/>
                </a:moveTo>
                <a:cubicBezTo>
                  <a:pt x="1069115" y="2412377"/>
                  <a:pt x="1069528" y="2411757"/>
                  <a:pt x="1070354" y="2412222"/>
                </a:cubicBezTo>
                <a:cubicBezTo>
                  <a:pt x="1070354" y="2412222"/>
                  <a:pt x="1071284" y="2412377"/>
                  <a:pt x="1072420" y="2412997"/>
                </a:cubicBezTo>
                <a:cubicBezTo>
                  <a:pt x="1073658" y="2413616"/>
                  <a:pt x="1075001" y="2414856"/>
                  <a:pt x="1075827" y="2416714"/>
                </a:cubicBezTo>
                <a:cubicBezTo>
                  <a:pt x="1076136" y="2417953"/>
                  <a:pt x="1076343" y="2420896"/>
                  <a:pt x="1075517" y="2420432"/>
                </a:cubicBezTo>
                <a:cubicBezTo>
                  <a:pt x="1074381" y="2420741"/>
                  <a:pt x="1075104" y="2421206"/>
                  <a:pt x="1074691" y="2421826"/>
                </a:cubicBezTo>
                <a:cubicBezTo>
                  <a:pt x="1071180" y="2422445"/>
                  <a:pt x="1068496" y="2421671"/>
                  <a:pt x="1067050" y="2418883"/>
                </a:cubicBezTo>
                <a:cubicBezTo>
                  <a:pt x="1066740" y="2417798"/>
                  <a:pt x="1066431" y="2416249"/>
                  <a:pt x="1066431" y="2415010"/>
                </a:cubicBezTo>
                <a:cubicBezTo>
                  <a:pt x="1066534" y="2413616"/>
                  <a:pt x="1066947" y="2412532"/>
                  <a:pt x="1068392" y="2411913"/>
                </a:cubicBezTo>
                <a:close/>
                <a:moveTo>
                  <a:pt x="901840" y="2411913"/>
                </a:moveTo>
                <a:cubicBezTo>
                  <a:pt x="903389" y="2412532"/>
                  <a:pt x="905867" y="2409899"/>
                  <a:pt x="906590" y="2412067"/>
                </a:cubicBezTo>
                <a:cubicBezTo>
                  <a:pt x="905351" y="2412532"/>
                  <a:pt x="903389" y="2412687"/>
                  <a:pt x="902150" y="2412997"/>
                </a:cubicBezTo>
                <a:cubicBezTo>
                  <a:pt x="902150" y="2412997"/>
                  <a:pt x="902150" y="2412997"/>
                  <a:pt x="901840" y="2411913"/>
                </a:cubicBezTo>
                <a:close/>
                <a:moveTo>
                  <a:pt x="930442" y="2411487"/>
                </a:moveTo>
                <a:cubicBezTo>
                  <a:pt x="932301" y="2411525"/>
                  <a:pt x="934005" y="2411835"/>
                  <a:pt x="934160" y="2412377"/>
                </a:cubicBezTo>
                <a:cubicBezTo>
                  <a:pt x="932094" y="2413461"/>
                  <a:pt x="928480" y="2415475"/>
                  <a:pt x="926208" y="2415475"/>
                </a:cubicBezTo>
                <a:cubicBezTo>
                  <a:pt x="925486" y="2415320"/>
                  <a:pt x="924866" y="2415165"/>
                  <a:pt x="924556" y="2414391"/>
                </a:cubicBezTo>
                <a:cubicBezTo>
                  <a:pt x="924143" y="2413306"/>
                  <a:pt x="925383" y="2412997"/>
                  <a:pt x="925795" y="2412222"/>
                </a:cubicBezTo>
                <a:cubicBezTo>
                  <a:pt x="926570" y="2411680"/>
                  <a:pt x="928584" y="2411448"/>
                  <a:pt x="930442" y="2411487"/>
                </a:cubicBezTo>
                <a:close/>
                <a:moveTo>
                  <a:pt x="1010362" y="2410983"/>
                </a:moveTo>
                <a:cubicBezTo>
                  <a:pt x="1004993" y="2414546"/>
                  <a:pt x="999727" y="2417334"/>
                  <a:pt x="994151" y="2424304"/>
                </a:cubicBezTo>
                <a:lnTo>
                  <a:pt x="993428" y="2424149"/>
                </a:lnTo>
                <a:lnTo>
                  <a:pt x="992705" y="2424614"/>
                </a:lnTo>
                <a:cubicBezTo>
                  <a:pt x="991776" y="2424769"/>
                  <a:pt x="990847" y="2424459"/>
                  <a:pt x="990640" y="2424149"/>
                </a:cubicBezTo>
                <a:lnTo>
                  <a:pt x="991054" y="2423684"/>
                </a:lnTo>
                <a:lnTo>
                  <a:pt x="988988" y="2422755"/>
                </a:lnTo>
                <a:cubicBezTo>
                  <a:pt x="989298" y="2416094"/>
                  <a:pt x="1003754" y="2405252"/>
                  <a:pt x="1010362" y="2410983"/>
                </a:cubicBezTo>
                <a:close/>
                <a:moveTo>
                  <a:pt x="1061887" y="2410828"/>
                </a:moveTo>
                <a:cubicBezTo>
                  <a:pt x="1064159" y="2412842"/>
                  <a:pt x="1064675" y="2414236"/>
                  <a:pt x="1064365" y="2415165"/>
                </a:cubicBezTo>
                <a:cubicBezTo>
                  <a:pt x="1063539" y="2417024"/>
                  <a:pt x="1058273" y="2416405"/>
                  <a:pt x="1058893" y="2413771"/>
                </a:cubicBezTo>
                <a:cubicBezTo>
                  <a:pt x="1059099" y="2412997"/>
                  <a:pt x="1060029" y="2412067"/>
                  <a:pt x="1061887" y="2410828"/>
                </a:cubicBezTo>
                <a:close/>
                <a:moveTo>
                  <a:pt x="1054143" y="2410673"/>
                </a:moveTo>
                <a:cubicBezTo>
                  <a:pt x="1055382" y="2410518"/>
                  <a:pt x="1056105" y="2410983"/>
                  <a:pt x="1056105" y="2410983"/>
                </a:cubicBezTo>
                <a:cubicBezTo>
                  <a:pt x="1057551" y="2413771"/>
                  <a:pt x="1057757" y="2416870"/>
                  <a:pt x="1054143" y="2417334"/>
                </a:cubicBezTo>
                <a:cubicBezTo>
                  <a:pt x="1053007" y="2417489"/>
                  <a:pt x="1051871" y="2417644"/>
                  <a:pt x="1052284" y="2417024"/>
                </a:cubicBezTo>
                <a:cubicBezTo>
                  <a:pt x="1051458" y="2416559"/>
                  <a:pt x="1051974" y="2415940"/>
                  <a:pt x="1051562" y="2414701"/>
                </a:cubicBezTo>
                <a:cubicBezTo>
                  <a:pt x="1051768" y="2412842"/>
                  <a:pt x="1053007" y="2410983"/>
                  <a:pt x="1054143" y="2410673"/>
                </a:cubicBezTo>
                <a:close/>
                <a:moveTo>
                  <a:pt x="845566" y="2409744"/>
                </a:moveTo>
                <a:cubicBezTo>
                  <a:pt x="845978" y="2410828"/>
                  <a:pt x="853103" y="2408505"/>
                  <a:pt x="855271" y="2411293"/>
                </a:cubicBezTo>
                <a:cubicBezTo>
                  <a:pt x="856407" y="2412842"/>
                  <a:pt x="856717" y="2413926"/>
                  <a:pt x="857853" y="2415475"/>
                </a:cubicBezTo>
                <a:cubicBezTo>
                  <a:pt x="856614" y="2417644"/>
                  <a:pt x="857543" y="2421051"/>
                  <a:pt x="851967" y="2424149"/>
                </a:cubicBezTo>
                <a:cubicBezTo>
                  <a:pt x="845566" y="2426938"/>
                  <a:pt x="843088" y="2421051"/>
                  <a:pt x="842674" y="2421826"/>
                </a:cubicBezTo>
                <a:cubicBezTo>
                  <a:pt x="841435" y="2422136"/>
                  <a:pt x="841435" y="2422136"/>
                  <a:pt x="841022" y="2422910"/>
                </a:cubicBezTo>
                <a:cubicBezTo>
                  <a:pt x="840299" y="2422600"/>
                  <a:pt x="838234" y="2422600"/>
                  <a:pt x="837098" y="2423065"/>
                </a:cubicBezTo>
                <a:cubicBezTo>
                  <a:pt x="837511" y="2422291"/>
                  <a:pt x="837925" y="2421516"/>
                  <a:pt x="837201" y="2421206"/>
                </a:cubicBezTo>
                <a:cubicBezTo>
                  <a:pt x="839577" y="2420432"/>
                  <a:pt x="840299" y="2420741"/>
                  <a:pt x="841538" y="2420277"/>
                </a:cubicBezTo>
                <a:cubicBezTo>
                  <a:pt x="840816" y="2419967"/>
                  <a:pt x="841952" y="2419502"/>
                  <a:pt x="841952" y="2419502"/>
                </a:cubicBezTo>
                <a:cubicBezTo>
                  <a:pt x="841952" y="2419502"/>
                  <a:pt x="842055" y="2419502"/>
                  <a:pt x="841332" y="2417334"/>
                </a:cubicBezTo>
                <a:cubicBezTo>
                  <a:pt x="841332" y="2417334"/>
                  <a:pt x="840403" y="2412067"/>
                  <a:pt x="845566" y="2409744"/>
                </a:cubicBezTo>
                <a:close/>
                <a:moveTo>
                  <a:pt x="704930" y="2409744"/>
                </a:moveTo>
                <a:cubicBezTo>
                  <a:pt x="706583" y="2412377"/>
                  <a:pt x="702246" y="2418573"/>
                  <a:pt x="699664" y="2420741"/>
                </a:cubicBezTo>
                <a:cubicBezTo>
                  <a:pt x="699252" y="2420122"/>
                  <a:pt x="699148" y="2419192"/>
                  <a:pt x="699355" y="2418263"/>
                </a:cubicBezTo>
                <a:cubicBezTo>
                  <a:pt x="700077" y="2415320"/>
                  <a:pt x="702969" y="2411448"/>
                  <a:pt x="704930" y="2409744"/>
                </a:cubicBezTo>
                <a:close/>
                <a:moveTo>
                  <a:pt x="902460" y="2408195"/>
                </a:moveTo>
                <a:cubicBezTo>
                  <a:pt x="903492" y="2408815"/>
                  <a:pt x="902563" y="2408969"/>
                  <a:pt x="902666" y="2409744"/>
                </a:cubicBezTo>
                <a:cubicBezTo>
                  <a:pt x="902150" y="2409434"/>
                  <a:pt x="901840" y="2409279"/>
                  <a:pt x="901840" y="2409124"/>
                </a:cubicBezTo>
                <a:cubicBezTo>
                  <a:pt x="901840" y="2408969"/>
                  <a:pt x="902047" y="2408659"/>
                  <a:pt x="902460" y="2408195"/>
                </a:cubicBezTo>
                <a:close/>
                <a:moveTo>
                  <a:pt x="989401" y="2407575"/>
                </a:moveTo>
                <a:cubicBezTo>
                  <a:pt x="991157" y="2410518"/>
                  <a:pt x="991363" y="2412067"/>
                  <a:pt x="990744" y="2412687"/>
                </a:cubicBezTo>
                <a:cubicBezTo>
                  <a:pt x="989505" y="2414236"/>
                  <a:pt x="984652" y="2411603"/>
                  <a:pt x="985891" y="2409434"/>
                </a:cubicBezTo>
                <a:cubicBezTo>
                  <a:pt x="986303" y="2408659"/>
                  <a:pt x="987336" y="2408040"/>
                  <a:pt x="989401" y="2407575"/>
                </a:cubicBezTo>
                <a:close/>
                <a:moveTo>
                  <a:pt x="880672" y="2406956"/>
                </a:moveTo>
                <a:cubicBezTo>
                  <a:pt x="881912" y="2407575"/>
                  <a:pt x="882635" y="2408505"/>
                  <a:pt x="882944" y="2409744"/>
                </a:cubicBezTo>
                <a:lnTo>
                  <a:pt x="882841" y="2411293"/>
                </a:lnTo>
                <a:lnTo>
                  <a:pt x="883357" y="2410828"/>
                </a:lnTo>
                <a:cubicBezTo>
                  <a:pt x="884080" y="2411138"/>
                  <a:pt x="884493" y="2410363"/>
                  <a:pt x="884803" y="2411603"/>
                </a:cubicBezTo>
                <a:cubicBezTo>
                  <a:pt x="887694" y="2409899"/>
                  <a:pt x="895851" y="2410828"/>
                  <a:pt x="898536" y="2412997"/>
                </a:cubicBezTo>
                <a:cubicBezTo>
                  <a:pt x="891515" y="2416405"/>
                  <a:pt x="888417" y="2413771"/>
                  <a:pt x="885113" y="2413306"/>
                </a:cubicBezTo>
                <a:lnTo>
                  <a:pt x="883047" y="2413616"/>
                </a:lnTo>
                <a:lnTo>
                  <a:pt x="884390" y="2415320"/>
                </a:lnTo>
                <a:cubicBezTo>
                  <a:pt x="884803" y="2415940"/>
                  <a:pt x="885113" y="2416559"/>
                  <a:pt x="884699" y="2417489"/>
                </a:cubicBezTo>
                <a:lnTo>
                  <a:pt x="881808" y="2413926"/>
                </a:lnTo>
                <a:lnTo>
                  <a:pt x="881602" y="2413926"/>
                </a:lnTo>
                <a:lnTo>
                  <a:pt x="881602" y="2413616"/>
                </a:lnTo>
                <a:lnTo>
                  <a:pt x="880982" y="2412842"/>
                </a:lnTo>
                <a:cubicBezTo>
                  <a:pt x="880157" y="2412997"/>
                  <a:pt x="879227" y="2412997"/>
                  <a:pt x="878401" y="2412377"/>
                </a:cubicBezTo>
                <a:cubicBezTo>
                  <a:pt x="876542" y="2410828"/>
                  <a:pt x="877368" y="2409124"/>
                  <a:pt x="876336" y="2407575"/>
                </a:cubicBezTo>
                <a:cubicBezTo>
                  <a:pt x="877162" y="2406646"/>
                  <a:pt x="878814" y="2405407"/>
                  <a:pt x="880672" y="2406956"/>
                </a:cubicBezTo>
                <a:close/>
                <a:moveTo>
                  <a:pt x="1273975" y="2406027"/>
                </a:moveTo>
                <a:lnTo>
                  <a:pt x="1273562" y="2406646"/>
                </a:lnTo>
                <a:cubicBezTo>
                  <a:pt x="1273046" y="2407266"/>
                  <a:pt x="1272117" y="2408505"/>
                  <a:pt x="1270258" y="2411293"/>
                </a:cubicBezTo>
                <a:cubicBezTo>
                  <a:pt x="1269845" y="2410828"/>
                  <a:pt x="1269845" y="2410363"/>
                  <a:pt x="1270052" y="2409899"/>
                </a:cubicBezTo>
                <a:cubicBezTo>
                  <a:pt x="1270362" y="2409434"/>
                  <a:pt x="1270878" y="2409124"/>
                  <a:pt x="1271291" y="2408659"/>
                </a:cubicBezTo>
                <a:close/>
                <a:moveTo>
                  <a:pt x="5326103" y="2405766"/>
                </a:moveTo>
                <a:cubicBezTo>
                  <a:pt x="5326103" y="2411173"/>
                  <a:pt x="5326103" y="2416721"/>
                  <a:pt x="5325250" y="2422127"/>
                </a:cubicBezTo>
                <a:cubicBezTo>
                  <a:pt x="5324396" y="2427676"/>
                  <a:pt x="5322475" y="2432940"/>
                  <a:pt x="5318420" y="2438062"/>
                </a:cubicBezTo>
                <a:cubicBezTo>
                  <a:pt x="5309457" y="2426253"/>
                  <a:pt x="5319487" y="2411457"/>
                  <a:pt x="5326103" y="2405766"/>
                </a:cubicBezTo>
                <a:close/>
                <a:moveTo>
                  <a:pt x="1139846" y="2405716"/>
                </a:moveTo>
                <a:cubicBezTo>
                  <a:pt x="1140878" y="2405716"/>
                  <a:pt x="1141911" y="2406027"/>
                  <a:pt x="1142737" y="2406491"/>
                </a:cubicBezTo>
                <a:cubicBezTo>
                  <a:pt x="1143460" y="2407420"/>
                  <a:pt x="1143460" y="2407266"/>
                  <a:pt x="1144182" y="2408195"/>
                </a:cubicBezTo>
                <a:cubicBezTo>
                  <a:pt x="1143872" y="2409899"/>
                  <a:pt x="1144389" y="2411603"/>
                  <a:pt x="1143253" y="2413152"/>
                </a:cubicBezTo>
                <a:cubicBezTo>
                  <a:pt x="1141291" y="2414701"/>
                  <a:pt x="1137161" y="2413616"/>
                  <a:pt x="1135612" y="2412687"/>
                </a:cubicBezTo>
                <a:cubicBezTo>
                  <a:pt x="1134889" y="2411757"/>
                  <a:pt x="1134889" y="2410673"/>
                  <a:pt x="1135199" y="2409744"/>
                </a:cubicBezTo>
                <a:cubicBezTo>
                  <a:pt x="1135612" y="2408659"/>
                  <a:pt x="1136438" y="2407730"/>
                  <a:pt x="1137471" y="2406956"/>
                </a:cubicBezTo>
                <a:cubicBezTo>
                  <a:pt x="1137987" y="2406181"/>
                  <a:pt x="1138916" y="2405716"/>
                  <a:pt x="1139846" y="2405716"/>
                </a:cubicBezTo>
                <a:close/>
                <a:moveTo>
                  <a:pt x="887384" y="2405097"/>
                </a:moveTo>
                <a:cubicBezTo>
                  <a:pt x="892444" y="2404632"/>
                  <a:pt x="898123" y="2408195"/>
                  <a:pt x="898846" y="2408659"/>
                </a:cubicBezTo>
                <a:cubicBezTo>
                  <a:pt x="898433" y="2409279"/>
                  <a:pt x="898536" y="2409279"/>
                  <a:pt x="898536" y="2409279"/>
                </a:cubicBezTo>
                <a:cubicBezTo>
                  <a:pt x="896574" y="2407730"/>
                  <a:pt x="892754" y="2408350"/>
                  <a:pt x="889656" y="2407420"/>
                </a:cubicBezTo>
                <a:cubicBezTo>
                  <a:pt x="888623" y="2407111"/>
                  <a:pt x="887694" y="2406646"/>
                  <a:pt x="886971" y="2405871"/>
                </a:cubicBezTo>
                <a:cubicBezTo>
                  <a:pt x="886971" y="2405871"/>
                  <a:pt x="886971" y="2405871"/>
                  <a:pt x="887694" y="2406181"/>
                </a:cubicBezTo>
                <a:cubicBezTo>
                  <a:pt x="887694" y="2406181"/>
                  <a:pt x="886971" y="2405871"/>
                  <a:pt x="887384" y="2405097"/>
                </a:cubicBezTo>
                <a:close/>
                <a:moveTo>
                  <a:pt x="950577" y="2403548"/>
                </a:moveTo>
                <a:cubicBezTo>
                  <a:pt x="954088" y="2403703"/>
                  <a:pt x="956359" y="2406027"/>
                  <a:pt x="958425" y="2408815"/>
                </a:cubicBezTo>
                <a:lnTo>
                  <a:pt x="961625" y="2412842"/>
                </a:lnTo>
                <a:lnTo>
                  <a:pt x="963897" y="2411293"/>
                </a:lnTo>
                <a:cubicBezTo>
                  <a:pt x="965653" y="2410518"/>
                  <a:pt x="967511" y="2410363"/>
                  <a:pt x="969163" y="2410983"/>
                </a:cubicBezTo>
                <a:cubicBezTo>
                  <a:pt x="967408" y="2412842"/>
                  <a:pt x="966065" y="2414701"/>
                  <a:pt x="964827" y="2416714"/>
                </a:cubicBezTo>
                <a:lnTo>
                  <a:pt x="964620" y="2416870"/>
                </a:lnTo>
                <a:lnTo>
                  <a:pt x="965136" y="2417489"/>
                </a:lnTo>
                <a:cubicBezTo>
                  <a:pt x="967718" y="2418573"/>
                  <a:pt x="969989" y="2417334"/>
                  <a:pt x="972571" y="2418883"/>
                </a:cubicBezTo>
                <a:lnTo>
                  <a:pt x="973706" y="2419967"/>
                </a:lnTo>
                <a:lnTo>
                  <a:pt x="977940" y="2419812"/>
                </a:lnTo>
                <a:cubicBezTo>
                  <a:pt x="978766" y="2421516"/>
                  <a:pt x="975978" y="2424149"/>
                  <a:pt x="975049" y="2425853"/>
                </a:cubicBezTo>
                <a:cubicBezTo>
                  <a:pt x="974223" y="2425079"/>
                  <a:pt x="973397" y="2424149"/>
                  <a:pt x="973397" y="2425079"/>
                </a:cubicBezTo>
                <a:lnTo>
                  <a:pt x="972364" y="2423065"/>
                </a:lnTo>
                <a:lnTo>
                  <a:pt x="970402" y="2423994"/>
                </a:lnTo>
                <a:lnTo>
                  <a:pt x="971435" y="2424924"/>
                </a:lnTo>
                <a:cubicBezTo>
                  <a:pt x="973190" y="2426938"/>
                  <a:pt x="974635" y="2429416"/>
                  <a:pt x="975978" y="2431894"/>
                </a:cubicBezTo>
                <a:lnTo>
                  <a:pt x="978043" y="2436386"/>
                </a:lnTo>
                <a:lnTo>
                  <a:pt x="978972" y="2434372"/>
                </a:lnTo>
                <a:cubicBezTo>
                  <a:pt x="981554" y="2430965"/>
                  <a:pt x="984549" y="2430965"/>
                  <a:pt x="984755" y="2430035"/>
                </a:cubicBezTo>
                <a:cubicBezTo>
                  <a:pt x="988369" y="2431274"/>
                  <a:pt x="987749" y="2433443"/>
                  <a:pt x="988162" y="2437160"/>
                </a:cubicBezTo>
                <a:cubicBezTo>
                  <a:pt x="986923" y="2436851"/>
                  <a:pt x="986097" y="2440258"/>
                  <a:pt x="985891" y="2441498"/>
                </a:cubicBezTo>
                <a:cubicBezTo>
                  <a:pt x="984652" y="2441033"/>
                  <a:pt x="983619" y="2441807"/>
                  <a:pt x="982483" y="2442582"/>
                </a:cubicBezTo>
                <a:lnTo>
                  <a:pt x="980934" y="2443202"/>
                </a:lnTo>
                <a:lnTo>
                  <a:pt x="986303" y="2456523"/>
                </a:lnTo>
                <a:cubicBezTo>
                  <a:pt x="983206" y="2456832"/>
                  <a:pt x="981864" y="2459001"/>
                  <a:pt x="977011" y="2458381"/>
                </a:cubicBezTo>
                <a:cubicBezTo>
                  <a:pt x="975049" y="2450946"/>
                  <a:pt x="972261" y="2443821"/>
                  <a:pt x="969576" y="2437160"/>
                </a:cubicBezTo>
                <a:lnTo>
                  <a:pt x="965962" y="2426163"/>
                </a:lnTo>
                <a:lnTo>
                  <a:pt x="962968" y="2427557"/>
                </a:lnTo>
                <a:lnTo>
                  <a:pt x="957186" y="2428177"/>
                </a:lnTo>
                <a:lnTo>
                  <a:pt x="951713" y="2433443"/>
                </a:lnTo>
                <a:lnTo>
                  <a:pt x="951713" y="2428641"/>
                </a:lnTo>
                <a:lnTo>
                  <a:pt x="950990" y="2428796"/>
                </a:lnTo>
                <a:cubicBezTo>
                  <a:pt x="948305" y="2428641"/>
                  <a:pt x="945827" y="2428022"/>
                  <a:pt x="943246" y="2427247"/>
                </a:cubicBezTo>
                <a:cubicBezTo>
                  <a:pt x="943556" y="2423839"/>
                  <a:pt x="945621" y="2422136"/>
                  <a:pt x="948409" y="2421051"/>
                </a:cubicBezTo>
                <a:lnTo>
                  <a:pt x="955327" y="2419192"/>
                </a:lnTo>
                <a:lnTo>
                  <a:pt x="956359" y="2417953"/>
                </a:lnTo>
                <a:lnTo>
                  <a:pt x="953778" y="2414856"/>
                </a:lnTo>
                <a:cubicBezTo>
                  <a:pt x="950267" y="2410983"/>
                  <a:pt x="946963" y="2406646"/>
                  <a:pt x="950577" y="2403548"/>
                </a:cubicBezTo>
                <a:close/>
                <a:moveTo>
                  <a:pt x="1196430" y="2403393"/>
                </a:moveTo>
                <a:lnTo>
                  <a:pt x="1201799" y="2408505"/>
                </a:lnTo>
                <a:lnTo>
                  <a:pt x="1203865" y="2408659"/>
                </a:lnTo>
                <a:cubicBezTo>
                  <a:pt x="1205723" y="2408350"/>
                  <a:pt x="1206239" y="2408969"/>
                  <a:pt x="1205723" y="2411293"/>
                </a:cubicBezTo>
                <a:lnTo>
                  <a:pt x="1203452" y="2410983"/>
                </a:lnTo>
                <a:lnTo>
                  <a:pt x="1206962" y="2419348"/>
                </a:lnTo>
                <a:cubicBezTo>
                  <a:pt x="1208718" y="2426318"/>
                  <a:pt x="1207995" y="2433443"/>
                  <a:pt x="1202419" y="2435302"/>
                </a:cubicBezTo>
                <a:lnTo>
                  <a:pt x="1201902" y="2430345"/>
                </a:lnTo>
                <a:lnTo>
                  <a:pt x="1199941" y="2428022"/>
                </a:lnTo>
                <a:cubicBezTo>
                  <a:pt x="1198495" y="2425699"/>
                  <a:pt x="1197669" y="2422910"/>
                  <a:pt x="1197256" y="2420741"/>
                </a:cubicBezTo>
                <a:lnTo>
                  <a:pt x="1198392" y="2419348"/>
                </a:lnTo>
                <a:lnTo>
                  <a:pt x="1195810" y="2411913"/>
                </a:lnTo>
                <a:lnTo>
                  <a:pt x="1196120" y="2407730"/>
                </a:lnTo>
                <a:lnTo>
                  <a:pt x="1196224" y="2407575"/>
                </a:lnTo>
                <a:close/>
                <a:moveTo>
                  <a:pt x="4977162" y="2402921"/>
                </a:moveTo>
                <a:cubicBezTo>
                  <a:pt x="4978656" y="2402779"/>
                  <a:pt x="4980363" y="2402921"/>
                  <a:pt x="4982711" y="2403348"/>
                </a:cubicBezTo>
                <a:cubicBezTo>
                  <a:pt x="4980577" y="2414730"/>
                  <a:pt x="4992955" y="2410888"/>
                  <a:pt x="4991675" y="2419851"/>
                </a:cubicBezTo>
                <a:cubicBezTo>
                  <a:pt x="4989540" y="2422696"/>
                  <a:pt x="4988473" y="2426680"/>
                  <a:pt x="4985272" y="2428672"/>
                </a:cubicBezTo>
                <a:cubicBezTo>
                  <a:pt x="4984205" y="2429383"/>
                  <a:pt x="4982924" y="2429810"/>
                  <a:pt x="4981217" y="2429952"/>
                </a:cubicBezTo>
                <a:cubicBezTo>
                  <a:pt x="4980150" y="2419709"/>
                  <a:pt x="4976522" y="2413307"/>
                  <a:pt x="4973747" y="2404344"/>
                </a:cubicBezTo>
                <a:cubicBezTo>
                  <a:pt x="4974601" y="2403632"/>
                  <a:pt x="4975668" y="2403206"/>
                  <a:pt x="4977162" y="2402921"/>
                </a:cubicBezTo>
                <a:close/>
                <a:moveTo>
                  <a:pt x="1015009" y="2402309"/>
                </a:moveTo>
                <a:cubicBezTo>
                  <a:pt x="1016661" y="2403858"/>
                  <a:pt x="1018416" y="2404787"/>
                  <a:pt x="1018416" y="2405562"/>
                </a:cubicBezTo>
                <a:cubicBezTo>
                  <a:pt x="1019243" y="2405562"/>
                  <a:pt x="1020172" y="2406337"/>
                  <a:pt x="1020998" y="2406337"/>
                </a:cubicBezTo>
                <a:cubicBezTo>
                  <a:pt x="1020998" y="2406337"/>
                  <a:pt x="1020998" y="2406337"/>
                  <a:pt x="1020998" y="2407111"/>
                </a:cubicBezTo>
                <a:cubicBezTo>
                  <a:pt x="1017487" y="2406491"/>
                  <a:pt x="1013047" y="2407420"/>
                  <a:pt x="1010465" y="2405871"/>
                </a:cubicBezTo>
                <a:cubicBezTo>
                  <a:pt x="1010053" y="2405407"/>
                  <a:pt x="1009640" y="2405097"/>
                  <a:pt x="1009536" y="2404632"/>
                </a:cubicBezTo>
                <a:cubicBezTo>
                  <a:pt x="1009433" y="2404013"/>
                  <a:pt x="1009743" y="2403393"/>
                  <a:pt x="1010672" y="2402464"/>
                </a:cubicBezTo>
                <a:cubicBezTo>
                  <a:pt x="1011601" y="2400760"/>
                  <a:pt x="1012428" y="2400760"/>
                  <a:pt x="1015009" y="2402309"/>
                </a:cubicBezTo>
                <a:close/>
                <a:moveTo>
                  <a:pt x="915676" y="2400915"/>
                </a:moveTo>
                <a:cubicBezTo>
                  <a:pt x="915573" y="2402619"/>
                  <a:pt x="919084" y="2403238"/>
                  <a:pt x="917226" y="2405097"/>
                </a:cubicBezTo>
                <a:cubicBezTo>
                  <a:pt x="916399" y="2404168"/>
                  <a:pt x="915573" y="2402619"/>
                  <a:pt x="914747" y="2401689"/>
                </a:cubicBezTo>
                <a:cubicBezTo>
                  <a:pt x="914747" y="2401689"/>
                  <a:pt x="914747" y="2401689"/>
                  <a:pt x="915676" y="2400915"/>
                </a:cubicBezTo>
                <a:close/>
                <a:moveTo>
                  <a:pt x="1127971" y="2399985"/>
                </a:moveTo>
                <a:cubicBezTo>
                  <a:pt x="1127971" y="2399985"/>
                  <a:pt x="1127971" y="2399985"/>
                  <a:pt x="1124667" y="2405562"/>
                </a:cubicBezTo>
                <a:cubicBezTo>
                  <a:pt x="1124254" y="2405252"/>
                  <a:pt x="1124151" y="2404787"/>
                  <a:pt x="1124357" y="2404323"/>
                </a:cubicBezTo>
                <a:cubicBezTo>
                  <a:pt x="1124564" y="2404013"/>
                  <a:pt x="1124977" y="2403393"/>
                  <a:pt x="1125390" y="2402928"/>
                </a:cubicBezTo>
                <a:cubicBezTo>
                  <a:pt x="1126216" y="2401999"/>
                  <a:pt x="1127145" y="2400915"/>
                  <a:pt x="1127971" y="2399985"/>
                </a:cubicBezTo>
                <a:close/>
                <a:moveTo>
                  <a:pt x="4815390" y="2399934"/>
                </a:moveTo>
                <a:cubicBezTo>
                  <a:pt x="4815603" y="2400076"/>
                  <a:pt x="4816030" y="2400645"/>
                  <a:pt x="4816670" y="2401072"/>
                </a:cubicBezTo>
                <a:cubicBezTo>
                  <a:pt x="4815603" y="2401499"/>
                  <a:pt x="4816670" y="2401072"/>
                  <a:pt x="4814322" y="2400645"/>
                </a:cubicBezTo>
                <a:cubicBezTo>
                  <a:pt x="4814749" y="2399791"/>
                  <a:pt x="4814963" y="2399649"/>
                  <a:pt x="4815390" y="2399934"/>
                </a:cubicBezTo>
                <a:close/>
                <a:moveTo>
                  <a:pt x="997042" y="2399830"/>
                </a:moveTo>
                <a:cubicBezTo>
                  <a:pt x="997868" y="2400605"/>
                  <a:pt x="998694" y="2401379"/>
                  <a:pt x="999521" y="2402154"/>
                </a:cubicBezTo>
                <a:cubicBezTo>
                  <a:pt x="997765" y="2403858"/>
                  <a:pt x="995906" y="2405716"/>
                  <a:pt x="994358" y="2404013"/>
                </a:cubicBezTo>
                <a:cubicBezTo>
                  <a:pt x="995184" y="2402464"/>
                  <a:pt x="994461" y="2401534"/>
                  <a:pt x="997042" y="2399830"/>
                </a:cubicBezTo>
                <a:close/>
                <a:moveTo>
                  <a:pt x="617834" y="2399753"/>
                </a:moveTo>
                <a:cubicBezTo>
                  <a:pt x="620080" y="2400566"/>
                  <a:pt x="621964" y="2402232"/>
                  <a:pt x="622532" y="2404323"/>
                </a:cubicBezTo>
                <a:cubicBezTo>
                  <a:pt x="623048" y="2406337"/>
                  <a:pt x="622532" y="2408659"/>
                  <a:pt x="620467" y="2410983"/>
                </a:cubicBezTo>
                <a:cubicBezTo>
                  <a:pt x="615097" y="2407575"/>
                  <a:pt x="611174" y="2409279"/>
                  <a:pt x="608076" y="2404632"/>
                </a:cubicBezTo>
                <a:cubicBezTo>
                  <a:pt x="608592" y="2402464"/>
                  <a:pt x="609625" y="2401070"/>
                  <a:pt x="610967" y="2400295"/>
                </a:cubicBezTo>
                <a:cubicBezTo>
                  <a:pt x="612981" y="2398979"/>
                  <a:pt x="615588" y="2398940"/>
                  <a:pt x="617834" y="2399753"/>
                </a:cubicBezTo>
                <a:close/>
                <a:moveTo>
                  <a:pt x="5227717" y="2399507"/>
                </a:moveTo>
                <a:cubicBezTo>
                  <a:pt x="5233479" y="2399791"/>
                  <a:pt x="5237107" y="2405909"/>
                  <a:pt x="5231558" y="2410603"/>
                </a:cubicBezTo>
                <a:lnTo>
                  <a:pt x="5231345" y="2410319"/>
                </a:lnTo>
                <a:lnTo>
                  <a:pt x="5230491" y="2413733"/>
                </a:lnTo>
                <a:cubicBezTo>
                  <a:pt x="5230491" y="2415583"/>
                  <a:pt x="5230277" y="2417290"/>
                  <a:pt x="5228997" y="2419424"/>
                </a:cubicBezTo>
                <a:cubicBezTo>
                  <a:pt x="5224516" y="2416721"/>
                  <a:pt x="5220674" y="2415725"/>
                  <a:pt x="5218326" y="2414303"/>
                </a:cubicBezTo>
                <a:cubicBezTo>
                  <a:pt x="5219393" y="2410461"/>
                  <a:pt x="5221314" y="2407901"/>
                  <a:pt x="5223449" y="2406762"/>
                </a:cubicBezTo>
                <a:cubicBezTo>
                  <a:pt x="5224729" y="2406193"/>
                  <a:pt x="5226009" y="2406051"/>
                  <a:pt x="5227290" y="2406193"/>
                </a:cubicBezTo>
                <a:lnTo>
                  <a:pt x="5228357" y="2406478"/>
                </a:lnTo>
                <a:lnTo>
                  <a:pt x="5227077" y="2404913"/>
                </a:lnTo>
                <a:cubicBezTo>
                  <a:pt x="5226223" y="2403064"/>
                  <a:pt x="5226009" y="2401214"/>
                  <a:pt x="5227717" y="2399507"/>
                </a:cubicBezTo>
                <a:close/>
                <a:moveTo>
                  <a:pt x="1113619" y="2398901"/>
                </a:moveTo>
                <a:cubicBezTo>
                  <a:pt x="1118162" y="2397662"/>
                  <a:pt x="1122292" y="2402928"/>
                  <a:pt x="1121260" y="2406801"/>
                </a:cubicBezTo>
                <a:cubicBezTo>
                  <a:pt x="1120950" y="2408040"/>
                  <a:pt x="1120021" y="2409124"/>
                  <a:pt x="1118368" y="2409744"/>
                </a:cubicBezTo>
                <a:cubicBezTo>
                  <a:pt x="1112999" y="2408815"/>
                  <a:pt x="1115271" y="2403858"/>
                  <a:pt x="1113619" y="2398901"/>
                </a:cubicBezTo>
                <a:close/>
                <a:moveTo>
                  <a:pt x="1058790" y="2396423"/>
                </a:moveTo>
                <a:cubicBezTo>
                  <a:pt x="1059719" y="2395804"/>
                  <a:pt x="1061061" y="2395804"/>
                  <a:pt x="1062920" y="2396578"/>
                </a:cubicBezTo>
                <a:cubicBezTo>
                  <a:pt x="1062817" y="2400140"/>
                  <a:pt x="1062713" y="2402464"/>
                  <a:pt x="1062094" y="2404168"/>
                </a:cubicBezTo>
                <a:cubicBezTo>
                  <a:pt x="1058583" y="2404477"/>
                  <a:pt x="1056931" y="2400915"/>
                  <a:pt x="1057447" y="2398436"/>
                </a:cubicBezTo>
                <a:cubicBezTo>
                  <a:pt x="1057654" y="2397662"/>
                  <a:pt x="1058067" y="2396888"/>
                  <a:pt x="1058790" y="2396423"/>
                </a:cubicBezTo>
                <a:close/>
                <a:moveTo>
                  <a:pt x="940458" y="2396268"/>
                </a:moveTo>
                <a:cubicBezTo>
                  <a:pt x="942317" y="2395958"/>
                  <a:pt x="944278" y="2396268"/>
                  <a:pt x="946447" y="2397042"/>
                </a:cubicBezTo>
                <a:cubicBezTo>
                  <a:pt x="946343" y="2398592"/>
                  <a:pt x="943659" y="2401224"/>
                  <a:pt x="941800" y="2402773"/>
                </a:cubicBezTo>
                <a:lnTo>
                  <a:pt x="934985" y="2399211"/>
                </a:lnTo>
                <a:lnTo>
                  <a:pt x="935915" y="2400760"/>
                </a:lnTo>
                <a:cubicBezTo>
                  <a:pt x="936121" y="2401689"/>
                  <a:pt x="936121" y="2402773"/>
                  <a:pt x="935708" y="2403548"/>
                </a:cubicBezTo>
                <a:cubicBezTo>
                  <a:pt x="931888" y="2405097"/>
                  <a:pt x="927758" y="2401070"/>
                  <a:pt x="928480" y="2397817"/>
                </a:cubicBezTo>
                <a:cubicBezTo>
                  <a:pt x="930958" y="2395804"/>
                  <a:pt x="933127" y="2396578"/>
                  <a:pt x="934469" y="2398126"/>
                </a:cubicBezTo>
                <a:lnTo>
                  <a:pt x="934985" y="2399056"/>
                </a:lnTo>
                <a:close/>
                <a:moveTo>
                  <a:pt x="806844" y="2396268"/>
                </a:moveTo>
                <a:cubicBezTo>
                  <a:pt x="811697" y="2394409"/>
                  <a:pt x="814898" y="2396888"/>
                  <a:pt x="815621" y="2399985"/>
                </a:cubicBezTo>
                <a:cubicBezTo>
                  <a:pt x="816447" y="2403083"/>
                  <a:pt x="814898" y="2406801"/>
                  <a:pt x="810252" y="2407730"/>
                </a:cubicBezTo>
                <a:cubicBezTo>
                  <a:pt x="806948" y="2405716"/>
                  <a:pt x="805399" y="2403393"/>
                  <a:pt x="804160" y="2401999"/>
                </a:cubicBezTo>
                <a:cubicBezTo>
                  <a:pt x="805295" y="2399985"/>
                  <a:pt x="805708" y="2398282"/>
                  <a:pt x="806844" y="2396268"/>
                </a:cubicBezTo>
                <a:close/>
                <a:moveTo>
                  <a:pt x="6196429" y="2395665"/>
                </a:moveTo>
                <a:cubicBezTo>
                  <a:pt x="6197283" y="2398937"/>
                  <a:pt x="6198777" y="2400929"/>
                  <a:pt x="6199630" y="2404201"/>
                </a:cubicBezTo>
                <a:cubicBezTo>
                  <a:pt x="6197070" y="2411173"/>
                  <a:pt x="6191947" y="2412453"/>
                  <a:pt x="6188319" y="2410461"/>
                </a:cubicBezTo>
                <a:cubicBezTo>
                  <a:pt x="6184691" y="2408470"/>
                  <a:pt x="6182343" y="2403064"/>
                  <a:pt x="6185545" y="2397088"/>
                </a:cubicBezTo>
                <a:cubicBezTo>
                  <a:pt x="6190240" y="2395381"/>
                  <a:pt x="6193868" y="2395808"/>
                  <a:pt x="6196429" y="2395665"/>
                </a:cubicBezTo>
                <a:close/>
                <a:moveTo>
                  <a:pt x="6378903" y="2393958"/>
                </a:moveTo>
                <a:cubicBezTo>
                  <a:pt x="6382744" y="2394954"/>
                  <a:pt x="6385519" y="2394243"/>
                  <a:pt x="6387653" y="2394100"/>
                </a:cubicBezTo>
                <a:cubicBezTo>
                  <a:pt x="6389787" y="2393958"/>
                  <a:pt x="6391495" y="2394243"/>
                  <a:pt x="6392989" y="2397088"/>
                </a:cubicBezTo>
                <a:cubicBezTo>
                  <a:pt x="6390215" y="2400929"/>
                  <a:pt x="6381251" y="2398511"/>
                  <a:pt x="6378903" y="2393958"/>
                </a:cubicBezTo>
                <a:close/>
                <a:moveTo>
                  <a:pt x="5362598" y="2393958"/>
                </a:moveTo>
                <a:cubicBezTo>
                  <a:pt x="5362598" y="2393958"/>
                  <a:pt x="5362598" y="2393958"/>
                  <a:pt x="5363665" y="2396519"/>
                </a:cubicBezTo>
                <a:cubicBezTo>
                  <a:pt x="5363665" y="2397800"/>
                  <a:pt x="5363665" y="2398937"/>
                  <a:pt x="5362384" y="2400076"/>
                </a:cubicBezTo>
                <a:cubicBezTo>
                  <a:pt x="5361104" y="2401072"/>
                  <a:pt x="5358756" y="2400929"/>
                  <a:pt x="5357476" y="2400787"/>
                </a:cubicBezTo>
                <a:cubicBezTo>
                  <a:pt x="5357476" y="2399507"/>
                  <a:pt x="5356409" y="2399364"/>
                  <a:pt x="5356409" y="2398084"/>
                </a:cubicBezTo>
                <a:cubicBezTo>
                  <a:pt x="5355342" y="2395523"/>
                  <a:pt x="5355342" y="2395523"/>
                  <a:pt x="5356622" y="2394385"/>
                </a:cubicBezTo>
                <a:cubicBezTo>
                  <a:pt x="5357689" y="2393389"/>
                  <a:pt x="5361317" y="2394954"/>
                  <a:pt x="5362598" y="2393958"/>
                </a:cubicBezTo>
                <a:close/>
                <a:moveTo>
                  <a:pt x="860744" y="2393170"/>
                </a:moveTo>
                <a:cubicBezTo>
                  <a:pt x="862293" y="2392705"/>
                  <a:pt x="864152" y="2392705"/>
                  <a:pt x="865907" y="2393170"/>
                </a:cubicBezTo>
                <a:lnTo>
                  <a:pt x="867972" y="2394564"/>
                </a:lnTo>
                <a:lnTo>
                  <a:pt x="869108" y="2394099"/>
                </a:lnTo>
                <a:cubicBezTo>
                  <a:pt x="876026" y="2399676"/>
                  <a:pt x="871380" y="2404168"/>
                  <a:pt x="866320" y="2403238"/>
                </a:cubicBezTo>
                <a:cubicBezTo>
                  <a:pt x="864564" y="2402928"/>
                  <a:pt x="862913" y="2401999"/>
                  <a:pt x="861467" y="2400295"/>
                </a:cubicBezTo>
                <a:cubicBezTo>
                  <a:pt x="861570" y="2399676"/>
                  <a:pt x="861880" y="2399056"/>
                  <a:pt x="862396" y="2398282"/>
                </a:cubicBezTo>
                <a:lnTo>
                  <a:pt x="862602" y="2397972"/>
                </a:lnTo>
                <a:lnTo>
                  <a:pt x="858266" y="2395029"/>
                </a:lnTo>
                <a:cubicBezTo>
                  <a:pt x="858886" y="2394099"/>
                  <a:pt x="859712" y="2393480"/>
                  <a:pt x="860744" y="2393170"/>
                </a:cubicBezTo>
                <a:close/>
                <a:moveTo>
                  <a:pt x="1079441" y="2392550"/>
                </a:moveTo>
                <a:cubicBezTo>
                  <a:pt x="1082125" y="2393790"/>
                  <a:pt x="1081299" y="2394874"/>
                  <a:pt x="1079647" y="2396733"/>
                </a:cubicBezTo>
                <a:cubicBezTo>
                  <a:pt x="1078821" y="2396423"/>
                  <a:pt x="1078202" y="2396113"/>
                  <a:pt x="1077892" y="2395494"/>
                </a:cubicBezTo>
                <a:cubicBezTo>
                  <a:pt x="1077686" y="2394874"/>
                  <a:pt x="1077892" y="2394099"/>
                  <a:pt x="1078615" y="2392705"/>
                </a:cubicBezTo>
                <a:cubicBezTo>
                  <a:pt x="1078615" y="2392705"/>
                  <a:pt x="1079441" y="2392550"/>
                  <a:pt x="1079441" y="2392550"/>
                </a:cubicBezTo>
                <a:close/>
                <a:moveTo>
                  <a:pt x="623771" y="2392550"/>
                </a:moveTo>
                <a:cubicBezTo>
                  <a:pt x="626559" y="2390537"/>
                  <a:pt x="632858" y="2393790"/>
                  <a:pt x="633684" y="2397198"/>
                </a:cubicBezTo>
                <a:cubicBezTo>
                  <a:pt x="628521" y="2394564"/>
                  <a:pt x="624907" y="2396888"/>
                  <a:pt x="623771" y="2392550"/>
                </a:cubicBezTo>
                <a:close/>
                <a:moveTo>
                  <a:pt x="1050942" y="2392395"/>
                </a:moveTo>
                <a:cubicBezTo>
                  <a:pt x="1051871" y="2393170"/>
                  <a:pt x="1050942" y="2393170"/>
                  <a:pt x="1050942" y="2393945"/>
                </a:cubicBezTo>
                <a:cubicBezTo>
                  <a:pt x="1050426" y="2393634"/>
                  <a:pt x="1050219" y="2393480"/>
                  <a:pt x="1050219" y="2393170"/>
                </a:cubicBezTo>
                <a:cubicBezTo>
                  <a:pt x="1050219" y="2393015"/>
                  <a:pt x="1050426" y="2392860"/>
                  <a:pt x="1050942" y="2392395"/>
                </a:cubicBezTo>
                <a:close/>
                <a:moveTo>
                  <a:pt x="4909935" y="2392108"/>
                </a:moveTo>
                <a:cubicBezTo>
                  <a:pt x="4916551" y="2395096"/>
                  <a:pt x="4916978" y="2404628"/>
                  <a:pt x="4913563" y="2409323"/>
                </a:cubicBezTo>
                <a:cubicBezTo>
                  <a:pt x="4912283" y="2411030"/>
                  <a:pt x="4910575" y="2412026"/>
                  <a:pt x="4908654" y="2412168"/>
                </a:cubicBezTo>
                <a:cubicBezTo>
                  <a:pt x="4899904" y="2408327"/>
                  <a:pt x="4903319" y="2394527"/>
                  <a:pt x="4909935" y="2392108"/>
                </a:cubicBezTo>
                <a:close/>
                <a:moveTo>
                  <a:pt x="5391196" y="2391824"/>
                </a:moveTo>
                <a:cubicBezTo>
                  <a:pt x="5392690" y="2392535"/>
                  <a:pt x="5393117" y="2393958"/>
                  <a:pt x="5392904" y="2395239"/>
                </a:cubicBezTo>
                <a:cubicBezTo>
                  <a:pt x="5392904" y="2396519"/>
                  <a:pt x="5392477" y="2397800"/>
                  <a:pt x="5391837" y="2397942"/>
                </a:cubicBezTo>
                <a:cubicBezTo>
                  <a:pt x="5390342" y="2397372"/>
                  <a:pt x="5389702" y="2395096"/>
                  <a:pt x="5388209" y="2394385"/>
                </a:cubicBezTo>
                <a:cubicBezTo>
                  <a:pt x="5389276" y="2393958"/>
                  <a:pt x="5390129" y="2392393"/>
                  <a:pt x="5391196" y="2391824"/>
                </a:cubicBezTo>
                <a:close/>
                <a:moveTo>
                  <a:pt x="5102653" y="2391540"/>
                </a:moveTo>
                <a:cubicBezTo>
                  <a:pt x="5117806" y="2396803"/>
                  <a:pt x="5116312" y="2408612"/>
                  <a:pt x="5107775" y="2409750"/>
                </a:cubicBezTo>
                <a:cubicBezTo>
                  <a:pt x="5104787" y="2410177"/>
                  <a:pt x="5101159" y="2409323"/>
                  <a:pt x="5097104" y="2406762"/>
                </a:cubicBezTo>
                <a:cubicBezTo>
                  <a:pt x="5094116" y="2401356"/>
                  <a:pt x="5097957" y="2391540"/>
                  <a:pt x="5102653" y="2391540"/>
                </a:cubicBezTo>
                <a:close/>
                <a:moveTo>
                  <a:pt x="6169112" y="2391255"/>
                </a:moveTo>
                <a:cubicBezTo>
                  <a:pt x="6170179" y="2391397"/>
                  <a:pt x="6173593" y="2393105"/>
                  <a:pt x="6173593" y="2391966"/>
                </a:cubicBezTo>
                <a:cubicBezTo>
                  <a:pt x="6176154" y="2395096"/>
                  <a:pt x="6178502" y="2398795"/>
                  <a:pt x="6178502" y="2401783"/>
                </a:cubicBezTo>
                <a:cubicBezTo>
                  <a:pt x="6178502" y="2402779"/>
                  <a:pt x="6178075" y="2403775"/>
                  <a:pt x="6177435" y="2404628"/>
                </a:cubicBezTo>
                <a:cubicBezTo>
                  <a:pt x="6176154" y="2406762"/>
                  <a:pt x="6174020" y="2405197"/>
                  <a:pt x="6171886" y="2402494"/>
                </a:cubicBezTo>
                <a:cubicBezTo>
                  <a:pt x="6166337" y="2397942"/>
                  <a:pt x="6165270" y="2394243"/>
                  <a:pt x="6169112" y="2391255"/>
                </a:cubicBezTo>
                <a:close/>
                <a:moveTo>
                  <a:pt x="1225445" y="2390537"/>
                </a:moveTo>
                <a:cubicBezTo>
                  <a:pt x="1227097" y="2391466"/>
                  <a:pt x="1229472" y="2393480"/>
                  <a:pt x="1228956" y="2395804"/>
                </a:cubicBezTo>
                <a:cubicBezTo>
                  <a:pt x="1228956" y="2395804"/>
                  <a:pt x="1228956" y="2395804"/>
                  <a:pt x="1228646" y="2397042"/>
                </a:cubicBezTo>
                <a:lnTo>
                  <a:pt x="1228233" y="2396268"/>
                </a:lnTo>
                <a:lnTo>
                  <a:pt x="1226891" y="2397972"/>
                </a:lnTo>
                <a:cubicBezTo>
                  <a:pt x="1226065" y="2397662"/>
                  <a:pt x="1225445" y="2397198"/>
                  <a:pt x="1225238" y="2396578"/>
                </a:cubicBezTo>
                <a:cubicBezTo>
                  <a:pt x="1225032" y="2395958"/>
                  <a:pt x="1225342" y="2395184"/>
                  <a:pt x="1226168" y="2393790"/>
                </a:cubicBezTo>
                <a:lnTo>
                  <a:pt x="1226684" y="2393790"/>
                </a:lnTo>
                <a:lnTo>
                  <a:pt x="1226581" y="2393634"/>
                </a:lnTo>
                <a:cubicBezTo>
                  <a:pt x="1225961" y="2392550"/>
                  <a:pt x="1225548" y="2391466"/>
                  <a:pt x="1225445" y="2390537"/>
                </a:cubicBezTo>
                <a:close/>
                <a:moveTo>
                  <a:pt x="1095136" y="2388213"/>
                </a:moveTo>
                <a:cubicBezTo>
                  <a:pt x="1096168" y="2388059"/>
                  <a:pt x="1097614" y="2388059"/>
                  <a:pt x="1099369" y="2388368"/>
                </a:cubicBezTo>
                <a:cubicBezTo>
                  <a:pt x="1097924" y="2396423"/>
                  <a:pt x="1107320" y="2393325"/>
                  <a:pt x="1106494" y="2399676"/>
                </a:cubicBezTo>
                <a:cubicBezTo>
                  <a:pt x="1105771" y="2400760"/>
                  <a:pt x="1105152" y="2401844"/>
                  <a:pt x="1104429" y="2403083"/>
                </a:cubicBezTo>
                <a:lnTo>
                  <a:pt x="1102364" y="2405562"/>
                </a:lnTo>
                <a:lnTo>
                  <a:pt x="1103087" y="2406027"/>
                </a:lnTo>
                <a:cubicBezTo>
                  <a:pt x="1103500" y="2406646"/>
                  <a:pt x="1103706" y="2407420"/>
                  <a:pt x="1103500" y="2407885"/>
                </a:cubicBezTo>
                <a:cubicBezTo>
                  <a:pt x="1101537" y="2417024"/>
                  <a:pt x="1093070" y="2416559"/>
                  <a:pt x="1091831" y="2417953"/>
                </a:cubicBezTo>
                <a:cubicBezTo>
                  <a:pt x="1089250" y="2416870"/>
                  <a:pt x="1088631" y="2416559"/>
                  <a:pt x="1089147" y="2413926"/>
                </a:cubicBezTo>
                <a:lnTo>
                  <a:pt x="1089766" y="2411293"/>
                </a:lnTo>
                <a:lnTo>
                  <a:pt x="1087701" y="2410209"/>
                </a:lnTo>
                <a:cubicBezTo>
                  <a:pt x="1088114" y="2409124"/>
                  <a:pt x="1088527" y="2407885"/>
                  <a:pt x="1088940" y="2406801"/>
                </a:cubicBezTo>
                <a:lnTo>
                  <a:pt x="1092967" y="2407266"/>
                </a:lnTo>
                <a:lnTo>
                  <a:pt x="1095342" y="2406491"/>
                </a:lnTo>
                <a:cubicBezTo>
                  <a:pt x="1095962" y="2405716"/>
                  <a:pt x="1096788" y="2405097"/>
                  <a:pt x="1097717" y="2404787"/>
                </a:cubicBezTo>
                <a:lnTo>
                  <a:pt x="1098130" y="2404787"/>
                </a:lnTo>
                <a:lnTo>
                  <a:pt x="1096168" y="2397817"/>
                </a:lnTo>
                <a:cubicBezTo>
                  <a:pt x="1095032" y="2395029"/>
                  <a:pt x="1093793" y="2392395"/>
                  <a:pt x="1092658" y="2389298"/>
                </a:cubicBezTo>
                <a:cubicBezTo>
                  <a:pt x="1093277" y="2388833"/>
                  <a:pt x="1094000" y="2388368"/>
                  <a:pt x="1095136" y="2388213"/>
                </a:cubicBezTo>
                <a:close/>
                <a:moveTo>
                  <a:pt x="820164" y="2387903"/>
                </a:moveTo>
                <a:cubicBezTo>
                  <a:pt x="822849" y="2390072"/>
                  <a:pt x="822229" y="2392705"/>
                  <a:pt x="821507" y="2395184"/>
                </a:cubicBezTo>
                <a:cubicBezTo>
                  <a:pt x="820681" y="2397042"/>
                  <a:pt x="820784" y="2397817"/>
                  <a:pt x="821713" y="2399366"/>
                </a:cubicBezTo>
                <a:cubicBezTo>
                  <a:pt x="821713" y="2399366"/>
                  <a:pt x="821713" y="2399366"/>
                  <a:pt x="820164" y="2401224"/>
                </a:cubicBezTo>
                <a:lnTo>
                  <a:pt x="819235" y="2401379"/>
                </a:lnTo>
                <a:cubicBezTo>
                  <a:pt x="818719" y="2401224"/>
                  <a:pt x="818616" y="2400605"/>
                  <a:pt x="818409" y="2399676"/>
                </a:cubicBezTo>
                <a:cubicBezTo>
                  <a:pt x="818202" y="2398436"/>
                  <a:pt x="818306" y="2396423"/>
                  <a:pt x="818409" y="2394874"/>
                </a:cubicBezTo>
                <a:cubicBezTo>
                  <a:pt x="818512" y="2393170"/>
                  <a:pt x="818616" y="2391776"/>
                  <a:pt x="818616" y="2391466"/>
                </a:cubicBezTo>
                <a:cubicBezTo>
                  <a:pt x="818616" y="2391466"/>
                  <a:pt x="818616" y="2390691"/>
                  <a:pt x="818616" y="2389762"/>
                </a:cubicBezTo>
                <a:cubicBezTo>
                  <a:pt x="819338" y="2388833"/>
                  <a:pt x="820267" y="2388833"/>
                  <a:pt x="820164" y="2387903"/>
                </a:cubicBezTo>
                <a:close/>
                <a:moveTo>
                  <a:pt x="787665" y="2386684"/>
                </a:moveTo>
                <a:cubicBezTo>
                  <a:pt x="789678" y="2386781"/>
                  <a:pt x="791666" y="2388058"/>
                  <a:pt x="792079" y="2389607"/>
                </a:cubicBezTo>
                <a:cubicBezTo>
                  <a:pt x="790427" y="2393634"/>
                  <a:pt x="784851" y="2393790"/>
                  <a:pt x="783095" y="2390847"/>
                </a:cubicBezTo>
                <a:cubicBezTo>
                  <a:pt x="783612" y="2387671"/>
                  <a:pt x="785651" y="2386587"/>
                  <a:pt x="787665" y="2386684"/>
                </a:cubicBezTo>
                <a:close/>
                <a:moveTo>
                  <a:pt x="709577" y="2386665"/>
                </a:moveTo>
                <a:cubicBezTo>
                  <a:pt x="711332" y="2388523"/>
                  <a:pt x="712985" y="2390382"/>
                  <a:pt x="711229" y="2391776"/>
                </a:cubicBezTo>
                <a:cubicBezTo>
                  <a:pt x="710403" y="2392550"/>
                  <a:pt x="709474" y="2393325"/>
                  <a:pt x="707718" y="2393170"/>
                </a:cubicBezTo>
                <a:cubicBezTo>
                  <a:pt x="705963" y="2391311"/>
                  <a:pt x="706996" y="2388988"/>
                  <a:pt x="706066" y="2388059"/>
                </a:cubicBezTo>
                <a:cubicBezTo>
                  <a:pt x="706996" y="2388059"/>
                  <a:pt x="708648" y="2388213"/>
                  <a:pt x="709577" y="2386665"/>
                </a:cubicBezTo>
                <a:close/>
                <a:moveTo>
                  <a:pt x="4863409" y="2385849"/>
                </a:moveTo>
                <a:cubicBezTo>
                  <a:pt x="4864690" y="2385849"/>
                  <a:pt x="4866184" y="2386133"/>
                  <a:pt x="4868318" y="2386987"/>
                </a:cubicBezTo>
                <a:cubicBezTo>
                  <a:pt x="4873653" y="2388694"/>
                  <a:pt x="4876428" y="2391682"/>
                  <a:pt x="4877282" y="2395096"/>
                </a:cubicBezTo>
                <a:cubicBezTo>
                  <a:pt x="4878348" y="2398368"/>
                  <a:pt x="4877708" y="2401925"/>
                  <a:pt x="4876641" y="2404913"/>
                </a:cubicBezTo>
                <a:cubicBezTo>
                  <a:pt x="4875574" y="2404344"/>
                  <a:pt x="4872586" y="2412026"/>
                  <a:pt x="4865970" y="2414303"/>
                </a:cubicBezTo>
                <a:cubicBezTo>
                  <a:pt x="4863836" y="2415014"/>
                  <a:pt x="4861275" y="2415156"/>
                  <a:pt x="4858073" y="2414160"/>
                </a:cubicBezTo>
                <a:cubicBezTo>
                  <a:pt x="4851458" y="2411600"/>
                  <a:pt x="4845269" y="2406620"/>
                  <a:pt x="4850604" y="2394670"/>
                </a:cubicBezTo>
                <a:cubicBezTo>
                  <a:pt x="4851244" y="2392108"/>
                  <a:pt x="4851458" y="2393105"/>
                  <a:pt x="4852311" y="2391540"/>
                </a:cubicBezTo>
                <a:cubicBezTo>
                  <a:pt x="4853165" y="2390117"/>
                  <a:pt x="4853592" y="2387414"/>
                  <a:pt x="4853378" y="2386276"/>
                </a:cubicBezTo>
                <a:cubicBezTo>
                  <a:pt x="4857433" y="2387556"/>
                  <a:pt x="4859141" y="2385564"/>
                  <a:pt x="4863409" y="2385849"/>
                </a:cubicBezTo>
                <a:close/>
                <a:moveTo>
                  <a:pt x="916399" y="2384651"/>
                </a:moveTo>
                <a:cubicBezTo>
                  <a:pt x="918774" y="2388833"/>
                  <a:pt x="917638" y="2395648"/>
                  <a:pt x="917638" y="2396578"/>
                </a:cubicBezTo>
                <a:cubicBezTo>
                  <a:pt x="916812" y="2396578"/>
                  <a:pt x="916812" y="2396578"/>
                  <a:pt x="916812" y="2396578"/>
                </a:cubicBezTo>
                <a:cubicBezTo>
                  <a:pt x="917535" y="2393945"/>
                  <a:pt x="915470" y="2391002"/>
                  <a:pt x="915160" y="2387903"/>
                </a:cubicBezTo>
                <a:cubicBezTo>
                  <a:pt x="915057" y="2386974"/>
                  <a:pt x="915160" y="2385890"/>
                  <a:pt x="915573" y="2384805"/>
                </a:cubicBezTo>
                <a:cubicBezTo>
                  <a:pt x="915573" y="2384805"/>
                  <a:pt x="915573" y="2384805"/>
                  <a:pt x="915573" y="2385580"/>
                </a:cubicBezTo>
                <a:cubicBezTo>
                  <a:pt x="915573" y="2385580"/>
                  <a:pt x="915573" y="2384805"/>
                  <a:pt x="916399" y="2384651"/>
                </a:cubicBezTo>
                <a:close/>
                <a:moveTo>
                  <a:pt x="909584" y="2384341"/>
                </a:moveTo>
                <a:cubicBezTo>
                  <a:pt x="909584" y="2385115"/>
                  <a:pt x="910410" y="2385115"/>
                  <a:pt x="909584" y="2386045"/>
                </a:cubicBezTo>
                <a:cubicBezTo>
                  <a:pt x="912062" y="2387594"/>
                  <a:pt x="914334" y="2395184"/>
                  <a:pt x="913301" y="2398592"/>
                </a:cubicBezTo>
                <a:cubicBezTo>
                  <a:pt x="905660" y="2393015"/>
                  <a:pt x="910307" y="2387748"/>
                  <a:pt x="906074" y="2384496"/>
                </a:cubicBezTo>
                <a:cubicBezTo>
                  <a:pt x="907829" y="2383566"/>
                  <a:pt x="907829" y="2383566"/>
                  <a:pt x="909584" y="2384341"/>
                </a:cubicBezTo>
                <a:close/>
                <a:moveTo>
                  <a:pt x="5297505" y="2384141"/>
                </a:moveTo>
                <a:cubicBezTo>
                  <a:pt x="5299853" y="2384141"/>
                  <a:pt x="5301987" y="2384568"/>
                  <a:pt x="5303908" y="2385422"/>
                </a:cubicBezTo>
                <a:cubicBezTo>
                  <a:pt x="5307536" y="2388836"/>
                  <a:pt x="5307536" y="2392393"/>
                  <a:pt x="5305615" y="2394100"/>
                </a:cubicBezTo>
                <a:cubicBezTo>
                  <a:pt x="5293023" y="2409750"/>
                  <a:pt x="5276590" y="2402779"/>
                  <a:pt x="5272961" y="2404628"/>
                </a:cubicBezTo>
                <a:cubicBezTo>
                  <a:pt x="5267413" y="2399364"/>
                  <a:pt x="5267626" y="2399364"/>
                  <a:pt x="5276590" y="2388836"/>
                </a:cubicBezTo>
                <a:cubicBezTo>
                  <a:pt x="5278511" y="2387129"/>
                  <a:pt x="5280645" y="2385849"/>
                  <a:pt x="5283206" y="2385137"/>
                </a:cubicBezTo>
                <a:cubicBezTo>
                  <a:pt x="5285767" y="2384568"/>
                  <a:pt x="5288328" y="2384568"/>
                  <a:pt x="5291102" y="2385422"/>
                </a:cubicBezTo>
                <a:cubicBezTo>
                  <a:pt x="5293023" y="2384568"/>
                  <a:pt x="5295158" y="2384141"/>
                  <a:pt x="5297505" y="2384141"/>
                </a:cubicBezTo>
                <a:close/>
                <a:moveTo>
                  <a:pt x="5250553" y="2383999"/>
                </a:moveTo>
                <a:cubicBezTo>
                  <a:pt x="5256955" y="2384284"/>
                  <a:pt x="5263145" y="2387271"/>
                  <a:pt x="5265919" y="2392251"/>
                </a:cubicBezTo>
                <a:cubicBezTo>
                  <a:pt x="5261437" y="2412453"/>
                  <a:pt x="5237107" y="2403206"/>
                  <a:pt x="5234760" y="2392678"/>
                </a:cubicBezTo>
                <a:cubicBezTo>
                  <a:pt x="5237961" y="2386560"/>
                  <a:pt x="5244363" y="2383857"/>
                  <a:pt x="5250553" y="2383999"/>
                </a:cubicBezTo>
                <a:close/>
                <a:moveTo>
                  <a:pt x="736992" y="2382289"/>
                </a:moveTo>
                <a:cubicBezTo>
                  <a:pt x="738592" y="2381669"/>
                  <a:pt x="740761" y="2381398"/>
                  <a:pt x="743032" y="2382792"/>
                </a:cubicBezTo>
                <a:cubicBezTo>
                  <a:pt x="742206" y="2383721"/>
                  <a:pt x="747679" y="2387903"/>
                  <a:pt x="746130" y="2391621"/>
                </a:cubicBezTo>
                <a:cubicBezTo>
                  <a:pt x="745407" y="2393325"/>
                  <a:pt x="744581" y="2394254"/>
                  <a:pt x="743755" y="2396113"/>
                </a:cubicBezTo>
                <a:cubicBezTo>
                  <a:pt x="741173" y="2396423"/>
                  <a:pt x="738798" y="2399366"/>
                  <a:pt x="733429" y="2396733"/>
                </a:cubicBezTo>
                <a:cubicBezTo>
                  <a:pt x="727957" y="2393325"/>
                  <a:pt x="731984" y="2387594"/>
                  <a:pt x="731158" y="2387748"/>
                </a:cubicBezTo>
                <a:cubicBezTo>
                  <a:pt x="730228" y="2386974"/>
                  <a:pt x="730228" y="2386974"/>
                  <a:pt x="729299" y="2387129"/>
                </a:cubicBezTo>
                <a:cubicBezTo>
                  <a:pt x="729299" y="2386355"/>
                  <a:pt x="728266" y="2384805"/>
                  <a:pt x="727440" y="2384031"/>
                </a:cubicBezTo>
                <a:cubicBezTo>
                  <a:pt x="728266" y="2383876"/>
                  <a:pt x="729092" y="2383876"/>
                  <a:pt x="729092" y="2382947"/>
                </a:cubicBezTo>
                <a:cubicBezTo>
                  <a:pt x="730951" y="2384341"/>
                  <a:pt x="730951" y="2385270"/>
                  <a:pt x="731880" y="2385890"/>
                </a:cubicBezTo>
                <a:cubicBezTo>
                  <a:pt x="731777" y="2385115"/>
                  <a:pt x="732706" y="2385890"/>
                  <a:pt x="732706" y="2385890"/>
                </a:cubicBezTo>
                <a:cubicBezTo>
                  <a:pt x="732706" y="2385890"/>
                  <a:pt x="732706" y="2385890"/>
                  <a:pt x="734358" y="2383876"/>
                </a:cubicBezTo>
                <a:cubicBezTo>
                  <a:pt x="734358" y="2383876"/>
                  <a:pt x="735391" y="2382908"/>
                  <a:pt x="736992" y="2382289"/>
                </a:cubicBezTo>
                <a:close/>
                <a:moveTo>
                  <a:pt x="1191577" y="2382017"/>
                </a:moveTo>
                <a:cubicBezTo>
                  <a:pt x="1192816" y="2381862"/>
                  <a:pt x="1193952" y="2382327"/>
                  <a:pt x="1194985" y="2383566"/>
                </a:cubicBezTo>
                <a:cubicBezTo>
                  <a:pt x="1197566" y="2387284"/>
                  <a:pt x="1194262" y="2390227"/>
                  <a:pt x="1190131" y="2393170"/>
                </a:cubicBezTo>
                <a:cubicBezTo>
                  <a:pt x="1188686" y="2392086"/>
                  <a:pt x="1186931" y="2391931"/>
                  <a:pt x="1185485" y="2390847"/>
                </a:cubicBezTo>
                <a:cubicBezTo>
                  <a:pt x="1184762" y="2388213"/>
                  <a:pt x="1188169" y="2382637"/>
                  <a:pt x="1191577" y="2382017"/>
                </a:cubicBezTo>
                <a:close/>
                <a:moveTo>
                  <a:pt x="850109" y="2380314"/>
                </a:moveTo>
                <a:cubicBezTo>
                  <a:pt x="857646" y="2382327"/>
                  <a:pt x="859402" y="2397198"/>
                  <a:pt x="852896" y="2397507"/>
                </a:cubicBezTo>
                <a:cubicBezTo>
                  <a:pt x="851967" y="2397507"/>
                  <a:pt x="850832" y="2397352"/>
                  <a:pt x="849490" y="2396733"/>
                </a:cubicBezTo>
                <a:cubicBezTo>
                  <a:pt x="848353" y="2395338"/>
                  <a:pt x="847321" y="2393790"/>
                  <a:pt x="846495" y="2392395"/>
                </a:cubicBezTo>
                <a:lnTo>
                  <a:pt x="844843" y="2388523"/>
                </a:lnTo>
                <a:lnTo>
                  <a:pt x="838647" y="2388833"/>
                </a:lnTo>
                <a:cubicBezTo>
                  <a:pt x="836375" y="2388833"/>
                  <a:pt x="834827" y="2388213"/>
                  <a:pt x="833691" y="2385425"/>
                </a:cubicBezTo>
                <a:cubicBezTo>
                  <a:pt x="834827" y="2384031"/>
                  <a:pt x="836892" y="2383412"/>
                  <a:pt x="839370" y="2383257"/>
                </a:cubicBezTo>
                <a:lnTo>
                  <a:pt x="845978" y="2383101"/>
                </a:lnTo>
                <a:lnTo>
                  <a:pt x="847424" y="2380778"/>
                </a:lnTo>
                <a:cubicBezTo>
                  <a:pt x="848250" y="2381708"/>
                  <a:pt x="849179" y="2380933"/>
                  <a:pt x="850109" y="2380314"/>
                </a:cubicBezTo>
                <a:close/>
                <a:moveTo>
                  <a:pt x="5312231" y="2378877"/>
                </a:moveTo>
                <a:cubicBezTo>
                  <a:pt x="5318847" y="2381865"/>
                  <a:pt x="5319487" y="2393105"/>
                  <a:pt x="5318847" y="2399364"/>
                </a:cubicBezTo>
                <a:cubicBezTo>
                  <a:pt x="5315645" y="2400076"/>
                  <a:pt x="5315645" y="2402779"/>
                  <a:pt x="5312444" y="2403490"/>
                </a:cubicBezTo>
                <a:cubicBezTo>
                  <a:pt x="5309670" y="2393531"/>
                  <a:pt x="5306042" y="2382861"/>
                  <a:pt x="5312231" y="2378877"/>
                </a:cubicBezTo>
                <a:close/>
                <a:moveTo>
                  <a:pt x="5274029" y="2378024"/>
                </a:moveTo>
                <a:cubicBezTo>
                  <a:pt x="5276376" y="2387129"/>
                  <a:pt x="5273816" y="2388978"/>
                  <a:pt x="5270828" y="2387698"/>
                </a:cubicBezTo>
                <a:cubicBezTo>
                  <a:pt x="5265705" y="2385706"/>
                  <a:pt x="5259730" y="2375463"/>
                  <a:pt x="5274029" y="2378024"/>
                </a:cubicBezTo>
                <a:close/>
                <a:moveTo>
                  <a:pt x="1184039" y="2376751"/>
                </a:moveTo>
                <a:cubicBezTo>
                  <a:pt x="1184556" y="2378610"/>
                  <a:pt x="1185795" y="2379849"/>
                  <a:pt x="1186931" y="2382327"/>
                </a:cubicBezTo>
                <a:cubicBezTo>
                  <a:pt x="1186001" y="2383101"/>
                  <a:pt x="1184142" y="2383876"/>
                  <a:pt x="1181974" y="2383876"/>
                </a:cubicBezTo>
                <a:lnTo>
                  <a:pt x="1177121" y="2382637"/>
                </a:lnTo>
                <a:lnTo>
                  <a:pt x="1178980" y="2389298"/>
                </a:lnTo>
                <a:cubicBezTo>
                  <a:pt x="1179186" y="2392086"/>
                  <a:pt x="1178670" y="2394874"/>
                  <a:pt x="1177637" y="2397352"/>
                </a:cubicBezTo>
                <a:cubicBezTo>
                  <a:pt x="1174333" y="2405716"/>
                  <a:pt x="1165040" y="2411138"/>
                  <a:pt x="1154301" y="2410209"/>
                </a:cubicBezTo>
                <a:cubicBezTo>
                  <a:pt x="1153889" y="2409124"/>
                  <a:pt x="1153475" y="2407885"/>
                  <a:pt x="1152340" y="2408195"/>
                </a:cubicBezTo>
                <a:cubicBezTo>
                  <a:pt x="1151101" y="2405562"/>
                  <a:pt x="1150584" y="2402619"/>
                  <a:pt x="1150791" y="2399830"/>
                </a:cubicBezTo>
                <a:cubicBezTo>
                  <a:pt x="1151204" y="2391466"/>
                  <a:pt x="1157296" y="2383566"/>
                  <a:pt x="1165143" y="2380623"/>
                </a:cubicBezTo>
                <a:cubicBezTo>
                  <a:pt x="1166899" y="2380004"/>
                  <a:pt x="1168757" y="2379539"/>
                  <a:pt x="1170616" y="2379539"/>
                </a:cubicBezTo>
                <a:lnTo>
                  <a:pt x="1175985" y="2380158"/>
                </a:lnTo>
                <a:lnTo>
                  <a:pt x="1176089" y="2378920"/>
                </a:lnTo>
                <a:cubicBezTo>
                  <a:pt x="1177121" y="2376286"/>
                  <a:pt x="1179806" y="2375822"/>
                  <a:pt x="1184039" y="2376751"/>
                </a:cubicBezTo>
                <a:close/>
                <a:moveTo>
                  <a:pt x="5039694" y="2376744"/>
                </a:moveTo>
                <a:cubicBezTo>
                  <a:pt x="5041615" y="2376459"/>
                  <a:pt x="5043962" y="2377313"/>
                  <a:pt x="5046310" y="2379162"/>
                </a:cubicBezTo>
                <a:cubicBezTo>
                  <a:pt x="5045883" y="2381723"/>
                  <a:pt x="5045670" y="2384284"/>
                  <a:pt x="5043749" y="2385991"/>
                </a:cubicBezTo>
                <a:cubicBezTo>
                  <a:pt x="5040761" y="2384284"/>
                  <a:pt x="5038200" y="2383857"/>
                  <a:pt x="5036492" y="2381865"/>
                </a:cubicBezTo>
                <a:cubicBezTo>
                  <a:pt x="5036492" y="2378735"/>
                  <a:pt x="5037773" y="2377028"/>
                  <a:pt x="5039694" y="2376744"/>
                </a:cubicBezTo>
                <a:close/>
                <a:moveTo>
                  <a:pt x="5451381" y="2376175"/>
                </a:moveTo>
                <a:cubicBezTo>
                  <a:pt x="5454368" y="2376032"/>
                  <a:pt x="5457143" y="2377028"/>
                  <a:pt x="5459064" y="2379304"/>
                </a:cubicBezTo>
                <a:cubicBezTo>
                  <a:pt x="5451594" y="2383572"/>
                  <a:pt x="5444124" y="2386560"/>
                  <a:pt x="5435588" y="2395665"/>
                </a:cubicBezTo>
                <a:cubicBezTo>
                  <a:pt x="5433880" y="2393105"/>
                  <a:pt x="5430892" y="2396519"/>
                  <a:pt x="5429185" y="2392678"/>
                </a:cubicBezTo>
                <a:cubicBezTo>
                  <a:pt x="5430465" y="2385422"/>
                  <a:pt x="5442204" y="2376317"/>
                  <a:pt x="5451381" y="2376175"/>
                </a:cubicBezTo>
                <a:close/>
                <a:moveTo>
                  <a:pt x="770098" y="2374311"/>
                </a:moveTo>
                <a:cubicBezTo>
                  <a:pt x="773105" y="2374737"/>
                  <a:pt x="775661" y="2375589"/>
                  <a:pt x="776590" y="2376596"/>
                </a:cubicBezTo>
                <a:cubicBezTo>
                  <a:pt x="774009" y="2378920"/>
                  <a:pt x="770498" y="2377680"/>
                  <a:pt x="766987" y="2379849"/>
                </a:cubicBezTo>
                <a:cubicBezTo>
                  <a:pt x="764406" y="2377835"/>
                  <a:pt x="760069" y="2380004"/>
                  <a:pt x="756662" y="2377061"/>
                </a:cubicBezTo>
                <a:cubicBezTo>
                  <a:pt x="757488" y="2375977"/>
                  <a:pt x="759037" y="2375202"/>
                  <a:pt x="760896" y="2374582"/>
                </a:cubicBezTo>
                <a:cubicBezTo>
                  <a:pt x="763632" y="2373885"/>
                  <a:pt x="767091" y="2373885"/>
                  <a:pt x="770098" y="2374311"/>
                </a:cubicBezTo>
                <a:close/>
                <a:moveTo>
                  <a:pt x="5729253" y="2372333"/>
                </a:moveTo>
                <a:lnTo>
                  <a:pt x="5728826" y="2373045"/>
                </a:lnTo>
                <a:lnTo>
                  <a:pt x="5727972" y="2373756"/>
                </a:lnTo>
                <a:lnTo>
                  <a:pt x="5732028" y="2375463"/>
                </a:lnTo>
                <a:close/>
                <a:moveTo>
                  <a:pt x="5325676" y="2371622"/>
                </a:moveTo>
                <a:cubicBezTo>
                  <a:pt x="5325676" y="2371622"/>
                  <a:pt x="5325676" y="2371622"/>
                  <a:pt x="5326957" y="2371764"/>
                </a:cubicBezTo>
                <a:cubicBezTo>
                  <a:pt x="5325676" y="2376459"/>
                  <a:pt x="5326743" y="2382719"/>
                  <a:pt x="5324183" y="2385991"/>
                </a:cubicBezTo>
                <a:cubicBezTo>
                  <a:pt x="5323756" y="2386560"/>
                  <a:pt x="5323115" y="2387129"/>
                  <a:pt x="5322262" y="2387129"/>
                </a:cubicBezTo>
                <a:cubicBezTo>
                  <a:pt x="5321621" y="2387271"/>
                  <a:pt x="5320768" y="2386845"/>
                  <a:pt x="5319700" y="2385422"/>
                </a:cubicBezTo>
                <a:cubicBezTo>
                  <a:pt x="5317353" y="2383999"/>
                  <a:pt x="5317353" y="2382719"/>
                  <a:pt x="5319914" y="2379447"/>
                </a:cubicBezTo>
                <a:cubicBezTo>
                  <a:pt x="5322262" y="2377313"/>
                  <a:pt x="5323329" y="2375036"/>
                  <a:pt x="5324609" y="2375178"/>
                </a:cubicBezTo>
                <a:cubicBezTo>
                  <a:pt x="5324609" y="2373898"/>
                  <a:pt x="5325676" y="2372902"/>
                  <a:pt x="5325676" y="2371622"/>
                </a:cubicBezTo>
                <a:close/>
                <a:moveTo>
                  <a:pt x="742516" y="2369935"/>
                </a:moveTo>
                <a:cubicBezTo>
                  <a:pt x="751706" y="2369006"/>
                  <a:pt x="754184" y="2373498"/>
                  <a:pt x="755423" y="2373343"/>
                </a:cubicBezTo>
                <a:cubicBezTo>
                  <a:pt x="756352" y="2376906"/>
                  <a:pt x="753977" y="2377370"/>
                  <a:pt x="750673" y="2379074"/>
                </a:cubicBezTo>
                <a:cubicBezTo>
                  <a:pt x="750260" y="2377990"/>
                  <a:pt x="746749" y="2378455"/>
                  <a:pt x="745510" y="2378765"/>
                </a:cubicBezTo>
                <a:cubicBezTo>
                  <a:pt x="744891" y="2376286"/>
                  <a:pt x="740554" y="2376596"/>
                  <a:pt x="739625" y="2373034"/>
                </a:cubicBezTo>
                <a:cubicBezTo>
                  <a:pt x="740451" y="2371639"/>
                  <a:pt x="740863" y="2370865"/>
                  <a:pt x="742516" y="2369935"/>
                </a:cubicBezTo>
                <a:close/>
                <a:moveTo>
                  <a:pt x="1139020" y="2369316"/>
                </a:moveTo>
                <a:cubicBezTo>
                  <a:pt x="1141704" y="2370245"/>
                  <a:pt x="1141911" y="2372104"/>
                  <a:pt x="1142221" y="2375667"/>
                </a:cubicBezTo>
                <a:cubicBezTo>
                  <a:pt x="1140259" y="2375047"/>
                  <a:pt x="1139226" y="2374273"/>
                  <a:pt x="1138813" y="2373343"/>
                </a:cubicBezTo>
                <a:cubicBezTo>
                  <a:pt x="1138400" y="2372259"/>
                  <a:pt x="1138503" y="2371020"/>
                  <a:pt x="1139020" y="2369316"/>
                </a:cubicBezTo>
                <a:close/>
                <a:moveTo>
                  <a:pt x="1207478" y="2368387"/>
                </a:moveTo>
                <a:lnTo>
                  <a:pt x="1207272" y="2370400"/>
                </a:lnTo>
                <a:lnTo>
                  <a:pt x="1207892" y="2370090"/>
                </a:lnTo>
                <a:cubicBezTo>
                  <a:pt x="1209337" y="2369626"/>
                  <a:pt x="1210886" y="2369626"/>
                  <a:pt x="1212125" y="2370710"/>
                </a:cubicBezTo>
                <a:cubicBezTo>
                  <a:pt x="1211196" y="2371020"/>
                  <a:pt x="1209957" y="2371484"/>
                  <a:pt x="1208614" y="2371949"/>
                </a:cubicBezTo>
                <a:lnTo>
                  <a:pt x="1207065" y="2372259"/>
                </a:lnTo>
                <a:lnTo>
                  <a:pt x="1206756" y="2374582"/>
                </a:lnTo>
                <a:cubicBezTo>
                  <a:pt x="1205826" y="2376442"/>
                  <a:pt x="1204071" y="2377990"/>
                  <a:pt x="1201490" y="2379074"/>
                </a:cubicBezTo>
                <a:cubicBezTo>
                  <a:pt x="1197463" y="2377835"/>
                  <a:pt x="1198186" y="2372259"/>
                  <a:pt x="1198186" y="2369161"/>
                </a:cubicBezTo>
                <a:cubicBezTo>
                  <a:pt x="1201799" y="2368232"/>
                  <a:pt x="1205310" y="2367147"/>
                  <a:pt x="1207478" y="2368387"/>
                </a:cubicBezTo>
                <a:close/>
                <a:moveTo>
                  <a:pt x="5555956" y="2368350"/>
                </a:moveTo>
                <a:lnTo>
                  <a:pt x="5555529" y="2373329"/>
                </a:lnTo>
                <a:lnTo>
                  <a:pt x="5558090" y="2375890"/>
                </a:lnTo>
                <a:lnTo>
                  <a:pt x="5557664" y="2369488"/>
                </a:lnTo>
                <a:close/>
                <a:moveTo>
                  <a:pt x="1167828" y="2368077"/>
                </a:moveTo>
                <a:cubicBezTo>
                  <a:pt x="1168757" y="2366373"/>
                  <a:pt x="1170409" y="2367922"/>
                  <a:pt x="1171132" y="2368696"/>
                </a:cubicBezTo>
                <a:cubicBezTo>
                  <a:pt x="1168654" y="2368851"/>
                  <a:pt x="1167828" y="2369626"/>
                  <a:pt x="1167828" y="2368851"/>
                </a:cubicBezTo>
                <a:cubicBezTo>
                  <a:pt x="1167415" y="2368851"/>
                  <a:pt x="1167208" y="2368696"/>
                  <a:pt x="1167208" y="2368387"/>
                </a:cubicBezTo>
                <a:cubicBezTo>
                  <a:pt x="1167208" y="2368232"/>
                  <a:pt x="1167415" y="2368077"/>
                  <a:pt x="1167828" y="2368077"/>
                </a:cubicBezTo>
                <a:close/>
                <a:moveTo>
                  <a:pt x="1015525" y="2367767"/>
                </a:moveTo>
                <a:cubicBezTo>
                  <a:pt x="1021617" y="2368077"/>
                  <a:pt x="1027916" y="2377216"/>
                  <a:pt x="1027503" y="2382172"/>
                </a:cubicBezTo>
                <a:lnTo>
                  <a:pt x="1025025" y="2383876"/>
                </a:lnTo>
                <a:lnTo>
                  <a:pt x="1025541" y="2384651"/>
                </a:lnTo>
                <a:lnTo>
                  <a:pt x="1026677" y="2388368"/>
                </a:lnTo>
                <a:lnTo>
                  <a:pt x="1027090" y="2388213"/>
                </a:lnTo>
                <a:cubicBezTo>
                  <a:pt x="1027813" y="2388059"/>
                  <a:pt x="1028742" y="2388213"/>
                  <a:pt x="1029568" y="2388988"/>
                </a:cubicBezTo>
                <a:cubicBezTo>
                  <a:pt x="1032046" y="2390691"/>
                  <a:pt x="1031840" y="2393170"/>
                  <a:pt x="1030910" y="2395804"/>
                </a:cubicBezTo>
                <a:cubicBezTo>
                  <a:pt x="1031633" y="2397352"/>
                  <a:pt x="1033389" y="2398282"/>
                  <a:pt x="1032459" y="2399985"/>
                </a:cubicBezTo>
                <a:cubicBezTo>
                  <a:pt x="1030910" y="2397507"/>
                  <a:pt x="1029981" y="2396578"/>
                  <a:pt x="1029259" y="2395029"/>
                </a:cubicBezTo>
                <a:cubicBezTo>
                  <a:pt x="1028329" y="2395029"/>
                  <a:pt x="1027503" y="2395029"/>
                  <a:pt x="1026677" y="2394254"/>
                </a:cubicBezTo>
                <a:lnTo>
                  <a:pt x="1025954" y="2392550"/>
                </a:lnTo>
                <a:lnTo>
                  <a:pt x="1024922" y="2392860"/>
                </a:lnTo>
                <a:cubicBezTo>
                  <a:pt x="1024199" y="2393170"/>
                  <a:pt x="1023372" y="2393634"/>
                  <a:pt x="1022547" y="2394099"/>
                </a:cubicBezTo>
                <a:cubicBezTo>
                  <a:pt x="1022133" y="2391621"/>
                  <a:pt x="1021204" y="2389607"/>
                  <a:pt x="1020482" y="2388059"/>
                </a:cubicBezTo>
                <a:lnTo>
                  <a:pt x="1020069" y="2385270"/>
                </a:lnTo>
                <a:lnTo>
                  <a:pt x="1019759" y="2385270"/>
                </a:lnTo>
                <a:cubicBezTo>
                  <a:pt x="1018003" y="2385115"/>
                  <a:pt x="1016455" y="2384186"/>
                  <a:pt x="1015112" y="2382792"/>
                </a:cubicBezTo>
                <a:lnTo>
                  <a:pt x="1014286" y="2381398"/>
                </a:lnTo>
                <a:cubicBezTo>
                  <a:pt x="1011808" y="2383257"/>
                  <a:pt x="1007368" y="2383257"/>
                  <a:pt x="1004167" y="2379694"/>
                </a:cubicBezTo>
                <a:cubicBezTo>
                  <a:pt x="1004270" y="2376132"/>
                  <a:pt x="1005613" y="2373963"/>
                  <a:pt x="1006232" y="2372259"/>
                </a:cubicBezTo>
                <a:lnTo>
                  <a:pt x="1012221" y="2372414"/>
                </a:lnTo>
                <a:close/>
                <a:moveTo>
                  <a:pt x="1157916" y="2367302"/>
                </a:moveTo>
                <a:cubicBezTo>
                  <a:pt x="1160084" y="2368696"/>
                  <a:pt x="1160910" y="2365909"/>
                  <a:pt x="1163388" y="2368077"/>
                </a:cubicBezTo>
                <a:cubicBezTo>
                  <a:pt x="1165350" y="2374582"/>
                  <a:pt x="1154818" y="2387129"/>
                  <a:pt x="1146454" y="2382637"/>
                </a:cubicBezTo>
                <a:cubicBezTo>
                  <a:pt x="1150481" y="2378300"/>
                  <a:pt x="1154818" y="2374892"/>
                  <a:pt x="1157916" y="2367302"/>
                </a:cubicBezTo>
                <a:close/>
                <a:moveTo>
                  <a:pt x="6230790" y="2366785"/>
                </a:moveTo>
                <a:cubicBezTo>
                  <a:pt x="6231643" y="2366927"/>
                  <a:pt x="6232497" y="2367354"/>
                  <a:pt x="6233351" y="2368065"/>
                </a:cubicBezTo>
                <a:cubicBezTo>
                  <a:pt x="6233351" y="2369203"/>
                  <a:pt x="6234418" y="2369488"/>
                  <a:pt x="6234204" y="2370626"/>
                </a:cubicBezTo>
                <a:cubicBezTo>
                  <a:pt x="6234204" y="2370626"/>
                  <a:pt x="6234845" y="2371906"/>
                  <a:pt x="6234845" y="2373614"/>
                </a:cubicBezTo>
                <a:lnTo>
                  <a:pt x="6233138" y="2378024"/>
                </a:lnTo>
                <a:lnTo>
                  <a:pt x="6240394" y="2382150"/>
                </a:lnTo>
                <a:cubicBezTo>
                  <a:pt x="6242954" y="2383999"/>
                  <a:pt x="6245302" y="2386133"/>
                  <a:pt x="6247650" y="2388978"/>
                </a:cubicBezTo>
                <a:cubicBezTo>
                  <a:pt x="6237406" y="2395381"/>
                  <a:pt x="6213289" y="2382292"/>
                  <a:pt x="6217771" y="2369346"/>
                </a:cubicBezTo>
                <a:lnTo>
                  <a:pt x="6223107" y="2372902"/>
                </a:lnTo>
                <a:lnTo>
                  <a:pt x="6223747" y="2370057"/>
                </a:lnTo>
                <a:cubicBezTo>
                  <a:pt x="6225668" y="2368634"/>
                  <a:pt x="6228229" y="2366500"/>
                  <a:pt x="6230790" y="2366785"/>
                </a:cubicBezTo>
                <a:close/>
                <a:moveTo>
                  <a:pt x="5117592" y="2366358"/>
                </a:moveTo>
                <a:cubicBezTo>
                  <a:pt x="5119727" y="2366785"/>
                  <a:pt x="5122287" y="2369488"/>
                  <a:pt x="5124848" y="2375890"/>
                </a:cubicBezTo>
                <a:cubicBezTo>
                  <a:pt x="5118659" y="2381723"/>
                  <a:pt x="5114818" y="2382719"/>
                  <a:pt x="5112684" y="2381439"/>
                </a:cubicBezTo>
                <a:cubicBezTo>
                  <a:pt x="5108842" y="2378877"/>
                  <a:pt x="5110976" y="2368492"/>
                  <a:pt x="5115458" y="2366642"/>
                </a:cubicBezTo>
                <a:cubicBezTo>
                  <a:pt x="5116098" y="2366358"/>
                  <a:pt x="5116739" y="2366216"/>
                  <a:pt x="5117592" y="2366358"/>
                </a:cubicBezTo>
                <a:close/>
                <a:moveTo>
                  <a:pt x="5343604" y="2366073"/>
                </a:moveTo>
                <a:cubicBezTo>
                  <a:pt x="5345525" y="2365646"/>
                  <a:pt x="5347658" y="2366500"/>
                  <a:pt x="5349793" y="2368350"/>
                </a:cubicBezTo>
                <a:cubicBezTo>
                  <a:pt x="5349153" y="2370911"/>
                  <a:pt x="5348299" y="2373472"/>
                  <a:pt x="5346378" y="2375321"/>
                </a:cubicBezTo>
                <a:cubicBezTo>
                  <a:pt x="5343604" y="2373756"/>
                  <a:pt x="5341042" y="2373187"/>
                  <a:pt x="5339549" y="2371338"/>
                </a:cubicBezTo>
                <a:cubicBezTo>
                  <a:pt x="5340189" y="2368208"/>
                  <a:pt x="5341683" y="2366500"/>
                  <a:pt x="5343604" y="2366073"/>
                </a:cubicBezTo>
                <a:close/>
                <a:moveTo>
                  <a:pt x="5077469" y="2365646"/>
                </a:moveTo>
                <a:cubicBezTo>
                  <a:pt x="5080457" y="2365504"/>
                  <a:pt x="5083658" y="2366216"/>
                  <a:pt x="5086646" y="2367923"/>
                </a:cubicBezTo>
                <a:cubicBezTo>
                  <a:pt x="5100518" y="2378451"/>
                  <a:pt x="5092195" y="2394954"/>
                  <a:pt x="5079176" y="2398226"/>
                </a:cubicBezTo>
                <a:cubicBezTo>
                  <a:pt x="5071280" y="2400076"/>
                  <a:pt x="5061889" y="2397230"/>
                  <a:pt x="5054420" y="2385564"/>
                </a:cubicBezTo>
                <a:cubicBezTo>
                  <a:pt x="5058688" y="2374040"/>
                  <a:pt x="5068079" y="2366073"/>
                  <a:pt x="5077469" y="2365646"/>
                </a:cubicBezTo>
                <a:close/>
                <a:moveTo>
                  <a:pt x="5475924" y="2365078"/>
                </a:moveTo>
                <a:cubicBezTo>
                  <a:pt x="5481046" y="2373756"/>
                  <a:pt x="5472296" y="2381012"/>
                  <a:pt x="5467174" y="2378024"/>
                </a:cubicBezTo>
                <a:cubicBezTo>
                  <a:pt x="5465466" y="2377028"/>
                  <a:pt x="5464186" y="2374894"/>
                  <a:pt x="5463759" y="2371195"/>
                </a:cubicBezTo>
                <a:cubicBezTo>
                  <a:pt x="5466747" y="2365789"/>
                  <a:pt x="5472296" y="2367354"/>
                  <a:pt x="5475924" y="2365078"/>
                </a:cubicBezTo>
                <a:close/>
                <a:moveTo>
                  <a:pt x="5694679" y="2364509"/>
                </a:moveTo>
                <a:cubicBezTo>
                  <a:pt x="5698094" y="2364082"/>
                  <a:pt x="5703643" y="2367354"/>
                  <a:pt x="5704070" y="2369346"/>
                </a:cubicBezTo>
                <a:cubicBezTo>
                  <a:pt x="5703216" y="2371622"/>
                  <a:pt x="5690838" y="2372191"/>
                  <a:pt x="5692118" y="2366500"/>
                </a:cubicBezTo>
                <a:cubicBezTo>
                  <a:pt x="5692545" y="2365362"/>
                  <a:pt x="5693399" y="2364793"/>
                  <a:pt x="5694679" y="2364509"/>
                </a:cubicBezTo>
                <a:close/>
                <a:moveTo>
                  <a:pt x="958425" y="2363585"/>
                </a:moveTo>
                <a:cubicBezTo>
                  <a:pt x="961316" y="2365599"/>
                  <a:pt x="961109" y="2371484"/>
                  <a:pt x="961419" y="2376751"/>
                </a:cubicBezTo>
                <a:cubicBezTo>
                  <a:pt x="958941" y="2376442"/>
                  <a:pt x="957701" y="2376442"/>
                  <a:pt x="955843" y="2376751"/>
                </a:cubicBezTo>
                <a:lnTo>
                  <a:pt x="955430" y="2371484"/>
                </a:lnTo>
                <a:lnTo>
                  <a:pt x="952436" y="2371639"/>
                </a:lnTo>
                <a:cubicBezTo>
                  <a:pt x="951609" y="2371484"/>
                  <a:pt x="950990" y="2370865"/>
                  <a:pt x="950474" y="2370090"/>
                </a:cubicBezTo>
                <a:cubicBezTo>
                  <a:pt x="950164" y="2369006"/>
                  <a:pt x="950990" y="2367612"/>
                  <a:pt x="953055" y="2365599"/>
                </a:cubicBezTo>
                <a:lnTo>
                  <a:pt x="955327" y="2367302"/>
                </a:lnTo>
                <a:lnTo>
                  <a:pt x="955636" y="2365599"/>
                </a:lnTo>
                <a:cubicBezTo>
                  <a:pt x="956153" y="2364824"/>
                  <a:pt x="956979" y="2364204"/>
                  <a:pt x="958425" y="2363585"/>
                </a:cubicBezTo>
                <a:close/>
                <a:moveTo>
                  <a:pt x="6222040" y="2363370"/>
                </a:moveTo>
                <a:cubicBezTo>
                  <a:pt x="6222893" y="2363228"/>
                  <a:pt x="6223747" y="2363370"/>
                  <a:pt x="6224174" y="2364082"/>
                </a:cubicBezTo>
                <a:cubicBezTo>
                  <a:pt x="6225241" y="2364936"/>
                  <a:pt x="6225241" y="2365504"/>
                  <a:pt x="6224814" y="2366216"/>
                </a:cubicBezTo>
                <a:cubicBezTo>
                  <a:pt x="6224387" y="2366927"/>
                  <a:pt x="6223533" y="2367638"/>
                  <a:pt x="6222893" y="2368777"/>
                </a:cubicBezTo>
                <a:lnTo>
                  <a:pt x="6219692" y="2364509"/>
                </a:lnTo>
                <a:cubicBezTo>
                  <a:pt x="6220332" y="2364082"/>
                  <a:pt x="6221186" y="2363513"/>
                  <a:pt x="6222040" y="2363370"/>
                </a:cubicBezTo>
                <a:close/>
                <a:moveTo>
                  <a:pt x="1057628" y="2362849"/>
                </a:moveTo>
                <a:cubicBezTo>
                  <a:pt x="1060984" y="2363817"/>
                  <a:pt x="1064469" y="2365986"/>
                  <a:pt x="1067773" y="2369781"/>
                </a:cubicBezTo>
                <a:cubicBezTo>
                  <a:pt x="1065604" y="2378300"/>
                  <a:pt x="1059409" y="2384651"/>
                  <a:pt x="1052491" y="2385890"/>
                </a:cubicBezTo>
                <a:lnTo>
                  <a:pt x="1046708" y="2385115"/>
                </a:lnTo>
                <a:lnTo>
                  <a:pt x="1048670" y="2387594"/>
                </a:lnTo>
                <a:cubicBezTo>
                  <a:pt x="1049187" y="2389917"/>
                  <a:pt x="1048670" y="2392550"/>
                  <a:pt x="1047431" y="2394254"/>
                </a:cubicBezTo>
                <a:cubicBezTo>
                  <a:pt x="1046605" y="2395338"/>
                  <a:pt x="1045366" y="2396113"/>
                  <a:pt x="1043817" y="2396268"/>
                </a:cubicBezTo>
                <a:lnTo>
                  <a:pt x="1042682" y="2395184"/>
                </a:lnTo>
                <a:lnTo>
                  <a:pt x="1042475" y="2395958"/>
                </a:lnTo>
                <a:cubicBezTo>
                  <a:pt x="1042165" y="2397198"/>
                  <a:pt x="1041856" y="2398436"/>
                  <a:pt x="1042682" y="2397817"/>
                </a:cubicBezTo>
                <a:cubicBezTo>
                  <a:pt x="1041752" y="2401379"/>
                  <a:pt x="1042165" y="2402154"/>
                  <a:pt x="1039481" y="2402928"/>
                </a:cubicBezTo>
                <a:cubicBezTo>
                  <a:pt x="1036589" y="2396888"/>
                  <a:pt x="1035557" y="2388833"/>
                  <a:pt x="1035454" y="2386974"/>
                </a:cubicBezTo>
                <a:cubicBezTo>
                  <a:pt x="1035350" y="2386045"/>
                  <a:pt x="1035557" y="2385425"/>
                  <a:pt x="1035970" y="2385115"/>
                </a:cubicBezTo>
                <a:cubicBezTo>
                  <a:pt x="1036383" y="2384651"/>
                  <a:pt x="1037003" y="2384496"/>
                  <a:pt x="1038035" y="2384341"/>
                </a:cubicBezTo>
                <a:lnTo>
                  <a:pt x="1040410" y="2386974"/>
                </a:lnTo>
                <a:lnTo>
                  <a:pt x="1041236" y="2384805"/>
                </a:lnTo>
                <a:lnTo>
                  <a:pt x="1043404" y="2383101"/>
                </a:lnTo>
                <a:lnTo>
                  <a:pt x="1039790" y="2379539"/>
                </a:lnTo>
                <a:cubicBezTo>
                  <a:pt x="1038861" y="2377370"/>
                  <a:pt x="1038655" y="2375202"/>
                  <a:pt x="1039067" y="2373034"/>
                </a:cubicBezTo>
                <a:cubicBezTo>
                  <a:pt x="1039997" y="2368851"/>
                  <a:pt x="1043611" y="2364824"/>
                  <a:pt x="1048258" y="2363120"/>
                </a:cubicBezTo>
                <a:cubicBezTo>
                  <a:pt x="1051045" y="2362113"/>
                  <a:pt x="1054272" y="2361881"/>
                  <a:pt x="1057628" y="2362849"/>
                </a:cubicBezTo>
                <a:close/>
                <a:moveTo>
                  <a:pt x="938909" y="2362345"/>
                </a:moveTo>
                <a:cubicBezTo>
                  <a:pt x="940768" y="2361726"/>
                  <a:pt x="943246" y="2361881"/>
                  <a:pt x="946240" y="2363740"/>
                </a:cubicBezTo>
                <a:cubicBezTo>
                  <a:pt x="944278" y="2369006"/>
                  <a:pt x="946860" y="2372569"/>
                  <a:pt x="942936" y="2375977"/>
                </a:cubicBezTo>
                <a:cubicBezTo>
                  <a:pt x="938393" y="2375357"/>
                  <a:pt x="936121" y="2372414"/>
                  <a:pt x="935502" y="2369471"/>
                </a:cubicBezTo>
                <a:cubicBezTo>
                  <a:pt x="934985" y="2366373"/>
                  <a:pt x="936224" y="2363275"/>
                  <a:pt x="938909" y="2362345"/>
                </a:cubicBezTo>
                <a:close/>
                <a:moveTo>
                  <a:pt x="931061" y="2361571"/>
                </a:moveTo>
                <a:cubicBezTo>
                  <a:pt x="931165" y="2364514"/>
                  <a:pt x="933436" y="2365909"/>
                  <a:pt x="932714" y="2370555"/>
                </a:cubicBezTo>
                <a:cubicBezTo>
                  <a:pt x="917019" y="2373808"/>
                  <a:pt x="903079" y="2380468"/>
                  <a:pt x="889965" y="2382637"/>
                </a:cubicBezTo>
                <a:cubicBezTo>
                  <a:pt x="898020" y="2370090"/>
                  <a:pt x="916090" y="2367147"/>
                  <a:pt x="931061" y="2361571"/>
                </a:cubicBezTo>
                <a:close/>
                <a:moveTo>
                  <a:pt x="554899" y="2361571"/>
                </a:moveTo>
                <a:cubicBezTo>
                  <a:pt x="561198" y="2360022"/>
                  <a:pt x="562230" y="2367302"/>
                  <a:pt x="559649" y="2369316"/>
                </a:cubicBezTo>
                <a:cubicBezTo>
                  <a:pt x="556345" y="2369471"/>
                  <a:pt x="554176" y="2366528"/>
                  <a:pt x="554176" y="2364049"/>
                </a:cubicBezTo>
                <a:cubicBezTo>
                  <a:pt x="554176" y="2363120"/>
                  <a:pt x="554383" y="2362345"/>
                  <a:pt x="554899" y="2361571"/>
                </a:cubicBezTo>
                <a:close/>
                <a:moveTo>
                  <a:pt x="5443697" y="2360952"/>
                </a:moveTo>
                <a:cubicBezTo>
                  <a:pt x="5444551" y="2362232"/>
                  <a:pt x="5445405" y="2363513"/>
                  <a:pt x="5446472" y="2364793"/>
                </a:cubicBezTo>
                <a:cubicBezTo>
                  <a:pt x="5443911" y="2367069"/>
                  <a:pt x="5441350" y="2369203"/>
                  <a:pt x="5439429" y="2366642"/>
                </a:cubicBezTo>
                <a:cubicBezTo>
                  <a:pt x="5440923" y="2364366"/>
                  <a:pt x="5440069" y="2363086"/>
                  <a:pt x="5443697" y="2360952"/>
                </a:cubicBezTo>
                <a:close/>
                <a:moveTo>
                  <a:pt x="5270828" y="2360667"/>
                </a:moveTo>
                <a:cubicBezTo>
                  <a:pt x="5272321" y="2361094"/>
                  <a:pt x="5273602" y="2362517"/>
                  <a:pt x="5274669" y="2363797"/>
                </a:cubicBezTo>
                <a:cubicBezTo>
                  <a:pt x="5271041" y="2366073"/>
                  <a:pt x="5274029" y="2370341"/>
                  <a:pt x="5268693" y="2370483"/>
                </a:cubicBezTo>
                <a:cubicBezTo>
                  <a:pt x="5266773" y="2369488"/>
                  <a:pt x="5265065" y="2367354"/>
                  <a:pt x="5264852" y="2362944"/>
                </a:cubicBezTo>
                <a:cubicBezTo>
                  <a:pt x="5267413" y="2360809"/>
                  <a:pt x="5269120" y="2360241"/>
                  <a:pt x="5270828" y="2360667"/>
                </a:cubicBezTo>
                <a:close/>
                <a:moveTo>
                  <a:pt x="1081196" y="2360177"/>
                </a:moveTo>
                <a:cubicBezTo>
                  <a:pt x="1080990" y="2362656"/>
                  <a:pt x="1081093" y="2364824"/>
                  <a:pt x="1081299" y="2366992"/>
                </a:cubicBezTo>
                <a:lnTo>
                  <a:pt x="1081402" y="2367922"/>
                </a:lnTo>
                <a:lnTo>
                  <a:pt x="1082538" y="2368541"/>
                </a:lnTo>
                <a:cubicBezTo>
                  <a:pt x="1084914" y="2370400"/>
                  <a:pt x="1083674" y="2372878"/>
                  <a:pt x="1085120" y="2374737"/>
                </a:cubicBezTo>
                <a:lnTo>
                  <a:pt x="1082332" y="2375512"/>
                </a:lnTo>
                <a:lnTo>
                  <a:pt x="1082538" y="2379694"/>
                </a:lnTo>
                <a:cubicBezTo>
                  <a:pt x="1082538" y="2381862"/>
                  <a:pt x="1082229" y="2384341"/>
                  <a:pt x="1081402" y="2386974"/>
                </a:cubicBezTo>
                <a:lnTo>
                  <a:pt x="1081196" y="2386665"/>
                </a:lnTo>
                <a:lnTo>
                  <a:pt x="1080887" y="2387439"/>
                </a:lnTo>
                <a:cubicBezTo>
                  <a:pt x="1080060" y="2387594"/>
                  <a:pt x="1079028" y="2386974"/>
                  <a:pt x="1078202" y="2386974"/>
                </a:cubicBezTo>
                <a:lnTo>
                  <a:pt x="1078821" y="2383721"/>
                </a:lnTo>
                <a:lnTo>
                  <a:pt x="1076756" y="2381243"/>
                </a:lnTo>
                <a:lnTo>
                  <a:pt x="1076240" y="2378455"/>
                </a:lnTo>
                <a:lnTo>
                  <a:pt x="1075104" y="2379229"/>
                </a:lnTo>
                <a:cubicBezTo>
                  <a:pt x="1073349" y="2379694"/>
                  <a:pt x="1071284" y="2379539"/>
                  <a:pt x="1069322" y="2378455"/>
                </a:cubicBezTo>
                <a:cubicBezTo>
                  <a:pt x="1068909" y="2376751"/>
                  <a:pt x="1068909" y="2375202"/>
                  <a:pt x="1069012" y="2373963"/>
                </a:cubicBezTo>
                <a:cubicBezTo>
                  <a:pt x="1069115" y="2372569"/>
                  <a:pt x="1069322" y="2371484"/>
                  <a:pt x="1069528" y="2370555"/>
                </a:cubicBezTo>
                <a:lnTo>
                  <a:pt x="1075517" y="2368387"/>
                </a:lnTo>
                <a:lnTo>
                  <a:pt x="1076240" y="2364514"/>
                </a:lnTo>
                <a:cubicBezTo>
                  <a:pt x="1077169" y="2362345"/>
                  <a:pt x="1078821" y="2360642"/>
                  <a:pt x="1081196" y="2360177"/>
                </a:cubicBezTo>
                <a:close/>
                <a:moveTo>
                  <a:pt x="722484" y="2359867"/>
                </a:moveTo>
                <a:cubicBezTo>
                  <a:pt x="724033" y="2364824"/>
                  <a:pt x="726718" y="2370245"/>
                  <a:pt x="721245" y="2372259"/>
                </a:cubicBezTo>
                <a:cubicBezTo>
                  <a:pt x="717218" y="2371484"/>
                  <a:pt x="715359" y="2369161"/>
                  <a:pt x="714946" y="2366683"/>
                </a:cubicBezTo>
                <a:cubicBezTo>
                  <a:pt x="714533" y="2364204"/>
                  <a:pt x="715566" y="2361571"/>
                  <a:pt x="717528" y="2360332"/>
                </a:cubicBezTo>
                <a:cubicBezTo>
                  <a:pt x="718870" y="2359402"/>
                  <a:pt x="720522" y="2359248"/>
                  <a:pt x="722484" y="2359867"/>
                </a:cubicBezTo>
                <a:close/>
                <a:moveTo>
                  <a:pt x="6302926" y="2359814"/>
                </a:moveTo>
                <a:cubicBezTo>
                  <a:pt x="6308261" y="2359814"/>
                  <a:pt x="6315304" y="2364936"/>
                  <a:pt x="6315304" y="2370057"/>
                </a:cubicBezTo>
                <a:cubicBezTo>
                  <a:pt x="6311676" y="2375178"/>
                  <a:pt x="6308261" y="2373614"/>
                  <a:pt x="6306340" y="2377028"/>
                </a:cubicBezTo>
                <a:cubicBezTo>
                  <a:pt x="6299297" y="2371906"/>
                  <a:pt x="6299297" y="2366642"/>
                  <a:pt x="6302926" y="2359814"/>
                </a:cubicBezTo>
                <a:close/>
                <a:moveTo>
                  <a:pt x="1149345" y="2359713"/>
                </a:moveTo>
                <a:cubicBezTo>
                  <a:pt x="1151720" y="2358938"/>
                  <a:pt x="1155025" y="2361416"/>
                  <a:pt x="1156160" y="2362810"/>
                </a:cubicBezTo>
                <a:cubicBezTo>
                  <a:pt x="1156780" y="2364979"/>
                  <a:pt x="1154715" y="2366992"/>
                  <a:pt x="1152443" y="2367767"/>
                </a:cubicBezTo>
                <a:cubicBezTo>
                  <a:pt x="1151617" y="2368387"/>
                  <a:pt x="1150584" y="2368387"/>
                  <a:pt x="1149655" y="2368077"/>
                </a:cubicBezTo>
                <a:cubicBezTo>
                  <a:pt x="1148829" y="2367767"/>
                  <a:pt x="1148003" y="2367147"/>
                  <a:pt x="1147383" y="2366373"/>
                </a:cubicBezTo>
                <a:cubicBezTo>
                  <a:pt x="1147073" y="2365289"/>
                  <a:pt x="1147073" y="2365289"/>
                  <a:pt x="1146764" y="2364204"/>
                </a:cubicBezTo>
                <a:cubicBezTo>
                  <a:pt x="1147590" y="2362656"/>
                  <a:pt x="1147796" y="2360797"/>
                  <a:pt x="1149345" y="2359713"/>
                </a:cubicBezTo>
                <a:close/>
                <a:moveTo>
                  <a:pt x="1026057" y="2357544"/>
                </a:moveTo>
                <a:cubicBezTo>
                  <a:pt x="1028122" y="2357079"/>
                  <a:pt x="1030910" y="2357234"/>
                  <a:pt x="1034215" y="2358783"/>
                </a:cubicBezTo>
                <a:cubicBezTo>
                  <a:pt x="1036899" y="2362191"/>
                  <a:pt x="1034937" y="2369471"/>
                  <a:pt x="1031427" y="2369935"/>
                </a:cubicBezTo>
                <a:cubicBezTo>
                  <a:pt x="1025541" y="2368851"/>
                  <a:pt x="1022650" y="2366063"/>
                  <a:pt x="1022030" y="2363430"/>
                </a:cubicBezTo>
                <a:cubicBezTo>
                  <a:pt x="1021307" y="2360952"/>
                  <a:pt x="1022960" y="2358473"/>
                  <a:pt x="1026057" y="2357544"/>
                </a:cubicBezTo>
                <a:close/>
                <a:moveTo>
                  <a:pt x="5129757" y="2357395"/>
                </a:moveTo>
                <a:cubicBezTo>
                  <a:pt x="5132958" y="2357822"/>
                  <a:pt x="5136373" y="2358391"/>
                  <a:pt x="5139574" y="2358818"/>
                </a:cubicBezTo>
                <a:lnTo>
                  <a:pt x="5141922" y="2362944"/>
                </a:lnTo>
                <a:cubicBezTo>
                  <a:pt x="5143629" y="2363228"/>
                  <a:pt x="5145337" y="2364082"/>
                  <a:pt x="5147257" y="2365789"/>
                </a:cubicBezTo>
                <a:cubicBezTo>
                  <a:pt x="5148965" y="2365789"/>
                  <a:pt x="5150672" y="2372760"/>
                  <a:pt x="5148965" y="2374467"/>
                </a:cubicBezTo>
                <a:cubicBezTo>
                  <a:pt x="5147044" y="2377170"/>
                  <a:pt x="5144910" y="2377597"/>
                  <a:pt x="5142135" y="2377170"/>
                </a:cubicBezTo>
                <a:lnTo>
                  <a:pt x="5138721" y="2376175"/>
                </a:lnTo>
                <a:lnTo>
                  <a:pt x="5138294" y="2376601"/>
                </a:lnTo>
                <a:cubicBezTo>
                  <a:pt x="5135946" y="2377455"/>
                  <a:pt x="5132958" y="2377739"/>
                  <a:pt x="5129330" y="2376744"/>
                </a:cubicBezTo>
                <a:cubicBezTo>
                  <a:pt x="5123781" y="2373329"/>
                  <a:pt x="5124635" y="2359956"/>
                  <a:pt x="5129757" y="2357395"/>
                </a:cubicBezTo>
                <a:close/>
                <a:moveTo>
                  <a:pt x="1108146" y="2356305"/>
                </a:moveTo>
                <a:cubicBezTo>
                  <a:pt x="1112586" y="2358628"/>
                  <a:pt x="1116200" y="2361416"/>
                  <a:pt x="1118988" y="2364359"/>
                </a:cubicBezTo>
                <a:lnTo>
                  <a:pt x="1122189" y="2369316"/>
                </a:lnTo>
                <a:lnTo>
                  <a:pt x="1122189" y="2366218"/>
                </a:lnTo>
                <a:cubicBezTo>
                  <a:pt x="1122808" y="2364049"/>
                  <a:pt x="1123737" y="2362191"/>
                  <a:pt x="1124770" y="2360177"/>
                </a:cubicBezTo>
                <a:cubicBezTo>
                  <a:pt x="1136025" y="2357854"/>
                  <a:pt x="1131172" y="2368541"/>
                  <a:pt x="1130862" y="2374273"/>
                </a:cubicBezTo>
                <a:cubicBezTo>
                  <a:pt x="1129004" y="2374737"/>
                  <a:pt x="1127765" y="2374892"/>
                  <a:pt x="1126526" y="2374737"/>
                </a:cubicBezTo>
                <a:lnTo>
                  <a:pt x="1125183" y="2374428"/>
                </a:lnTo>
                <a:lnTo>
                  <a:pt x="1126732" y="2381088"/>
                </a:lnTo>
                <a:cubicBezTo>
                  <a:pt x="1120021" y="2383257"/>
                  <a:pt x="1116406" y="2376751"/>
                  <a:pt x="1112690" y="2372878"/>
                </a:cubicBezTo>
                <a:cubicBezTo>
                  <a:pt x="1109592" y="2378146"/>
                  <a:pt x="1106494" y="2386974"/>
                  <a:pt x="1100402" y="2384651"/>
                </a:cubicBezTo>
                <a:cubicBezTo>
                  <a:pt x="1099782" y="2383101"/>
                  <a:pt x="1099679" y="2381708"/>
                  <a:pt x="1100092" y="2380158"/>
                </a:cubicBezTo>
                <a:cubicBezTo>
                  <a:pt x="1101331" y="2375822"/>
                  <a:pt x="1106184" y="2371794"/>
                  <a:pt x="1108146" y="2366528"/>
                </a:cubicBezTo>
                <a:cubicBezTo>
                  <a:pt x="1108146" y="2363120"/>
                  <a:pt x="1104222" y="2361881"/>
                  <a:pt x="1108146" y="2356305"/>
                </a:cubicBezTo>
                <a:close/>
                <a:moveTo>
                  <a:pt x="5315219" y="2355261"/>
                </a:moveTo>
                <a:cubicBezTo>
                  <a:pt x="5316072" y="2354834"/>
                  <a:pt x="5316926" y="2354692"/>
                  <a:pt x="5318207" y="2355403"/>
                </a:cubicBezTo>
                <a:cubicBezTo>
                  <a:pt x="5314579" y="2357395"/>
                  <a:pt x="5313298" y="2358391"/>
                  <a:pt x="5310950" y="2359244"/>
                </a:cubicBezTo>
                <a:cubicBezTo>
                  <a:pt x="5310950" y="2360383"/>
                  <a:pt x="5310950" y="2361663"/>
                  <a:pt x="5309670" y="2362659"/>
                </a:cubicBezTo>
                <a:cubicBezTo>
                  <a:pt x="5307322" y="2364651"/>
                  <a:pt x="5304974" y="2363228"/>
                  <a:pt x="5302627" y="2364082"/>
                </a:cubicBezTo>
                <a:cubicBezTo>
                  <a:pt x="5301346" y="2362801"/>
                  <a:pt x="5300279" y="2360383"/>
                  <a:pt x="5302841" y="2358249"/>
                </a:cubicBezTo>
                <a:cubicBezTo>
                  <a:pt x="5305188" y="2354977"/>
                  <a:pt x="5308603" y="2355403"/>
                  <a:pt x="5312231" y="2356968"/>
                </a:cubicBezTo>
                <a:cubicBezTo>
                  <a:pt x="5313298" y="2356542"/>
                  <a:pt x="5314365" y="2355830"/>
                  <a:pt x="5315219" y="2355261"/>
                </a:cubicBezTo>
                <a:close/>
                <a:moveTo>
                  <a:pt x="5028596" y="2354834"/>
                </a:moveTo>
                <a:cubicBezTo>
                  <a:pt x="5034359" y="2356115"/>
                  <a:pt x="5039480" y="2362090"/>
                  <a:pt x="5043109" y="2365362"/>
                </a:cubicBezTo>
                <a:cubicBezTo>
                  <a:pt x="5038840" y="2371622"/>
                  <a:pt x="5034785" y="2377739"/>
                  <a:pt x="5029450" y="2378877"/>
                </a:cubicBezTo>
                <a:cubicBezTo>
                  <a:pt x="5025181" y="2376175"/>
                  <a:pt x="5022193" y="2372760"/>
                  <a:pt x="5020700" y="2368777"/>
                </a:cubicBezTo>
                <a:cubicBezTo>
                  <a:pt x="5019419" y="2364936"/>
                  <a:pt x="5019846" y="2360383"/>
                  <a:pt x="5022407" y="2355261"/>
                </a:cubicBezTo>
                <a:cubicBezTo>
                  <a:pt x="5024541" y="2354407"/>
                  <a:pt x="5026462" y="2354407"/>
                  <a:pt x="5028596" y="2354834"/>
                </a:cubicBezTo>
                <a:close/>
                <a:moveTo>
                  <a:pt x="5382873" y="2353696"/>
                </a:moveTo>
                <a:cubicBezTo>
                  <a:pt x="5386074" y="2353411"/>
                  <a:pt x="5389062" y="2353980"/>
                  <a:pt x="5391837" y="2355688"/>
                </a:cubicBezTo>
                <a:cubicBezTo>
                  <a:pt x="5393330" y="2356968"/>
                  <a:pt x="5394611" y="2358249"/>
                  <a:pt x="5395465" y="2359672"/>
                </a:cubicBezTo>
                <a:cubicBezTo>
                  <a:pt x="5401654" y="2369630"/>
                  <a:pt x="5391837" y="2383004"/>
                  <a:pt x="5380098" y="2386276"/>
                </a:cubicBezTo>
                <a:cubicBezTo>
                  <a:pt x="5371988" y="2388552"/>
                  <a:pt x="5362811" y="2385991"/>
                  <a:pt x="5357049" y="2374467"/>
                </a:cubicBezTo>
                <a:cubicBezTo>
                  <a:pt x="5362811" y="2362659"/>
                  <a:pt x="5373482" y="2354265"/>
                  <a:pt x="5382873" y="2353696"/>
                </a:cubicBezTo>
                <a:close/>
                <a:moveTo>
                  <a:pt x="1125493" y="2352432"/>
                </a:moveTo>
                <a:cubicBezTo>
                  <a:pt x="1129004" y="2351503"/>
                  <a:pt x="1132411" y="2350728"/>
                  <a:pt x="1133754" y="2354136"/>
                </a:cubicBezTo>
                <a:cubicBezTo>
                  <a:pt x="1131895" y="2357699"/>
                  <a:pt x="1126835" y="2357699"/>
                  <a:pt x="1125493" y="2352432"/>
                </a:cubicBezTo>
                <a:close/>
                <a:moveTo>
                  <a:pt x="5234760" y="2352416"/>
                </a:moveTo>
                <a:cubicBezTo>
                  <a:pt x="5240095" y="2352416"/>
                  <a:pt x="5245431" y="2354834"/>
                  <a:pt x="5245858" y="2359387"/>
                </a:cubicBezTo>
                <a:cubicBezTo>
                  <a:pt x="5246071" y="2360667"/>
                  <a:pt x="5245858" y="2362090"/>
                  <a:pt x="5245004" y="2363797"/>
                </a:cubicBezTo>
                <a:cubicBezTo>
                  <a:pt x="5237320" y="2369203"/>
                  <a:pt x="5230064" y="2371195"/>
                  <a:pt x="5223021" y="2363513"/>
                </a:cubicBezTo>
                <a:cubicBezTo>
                  <a:pt x="5224302" y="2362659"/>
                  <a:pt x="5223235" y="2361236"/>
                  <a:pt x="5222381" y="2359814"/>
                </a:cubicBezTo>
                <a:cubicBezTo>
                  <a:pt x="5223449" y="2354692"/>
                  <a:pt x="5229211" y="2352416"/>
                  <a:pt x="5234760" y="2352416"/>
                </a:cubicBezTo>
                <a:close/>
                <a:moveTo>
                  <a:pt x="640705" y="2352277"/>
                </a:moveTo>
                <a:cubicBezTo>
                  <a:pt x="641221" y="2352277"/>
                  <a:pt x="641634" y="2352277"/>
                  <a:pt x="641634" y="2352277"/>
                </a:cubicBezTo>
                <a:cubicBezTo>
                  <a:pt x="643287" y="2353362"/>
                  <a:pt x="642460" y="2355685"/>
                  <a:pt x="642460" y="2357389"/>
                </a:cubicBezTo>
                <a:cubicBezTo>
                  <a:pt x="644216" y="2358318"/>
                  <a:pt x="640602" y="2360487"/>
                  <a:pt x="642357" y="2361416"/>
                </a:cubicBezTo>
                <a:cubicBezTo>
                  <a:pt x="638743" y="2364514"/>
                  <a:pt x="643080" y="2369006"/>
                  <a:pt x="638640" y="2374428"/>
                </a:cubicBezTo>
                <a:cubicBezTo>
                  <a:pt x="638020" y="2372259"/>
                  <a:pt x="637711" y="2370245"/>
                  <a:pt x="637711" y="2368541"/>
                </a:cubicBezTo>
                <a:cubicBezTo>
                  <a:pt x="637607" y="2363120"/>
                  <a:pt x="639259" y="2359093"/>
                  <a:pt x="638020" y="2355220"/>
                </a:cubicBezTo>
                <a:cubicBezTo>
                  <a:pt x="638020" y="2355220"/>
                  <a:pt x="638020" y="2355220"/>
                  <a:pt x="639879" y="2353826"/>
                </a:cubicBezTo>
                <a:cubicBezTo>
                  <a:pt x="639879" y="2353052"/>
                  <a:pt x="639879" y="2353052"/>
                  <a:pt x="639879" y="2353052"/>
                </a:cubicBezTo>
                <a:cubicBezTo>
                  <a:pt x="639879" y="2352587"/>
                  <a:pt x="640292" y="2352432"/>
                  <a:pt x="640705" y="2352277"/>
                </a:cubicBezTo>
                <a:close/>
                <a:moveTo>
                  <a:pt x="973500" y="2351503"/>
                </a:moveTo>
                <a:cubicBezTo>
                  <a:pt x="972158" y="2354136"/>
                  <a:pt x="971641" y="2356924"/>
                  <a:pt x="971538" y="2359557"/>
                </a:cubicBezTo>
                <a:lnTo>
                  <a:pt x="971848" y="2364204"/>
                </a:lnTo>
                <a:lnTo>
                  <a:pt x="971848" y="2364049"/>
                </a:lnTo>
                <a:cubicBezTo>
                  <a:pt x="974326" y="2366528"/>
                  <a:pt x="973397" y="2369006"/>
                  <a:pt x="972364" y="2371484"/>
                </a:cubicBezTo>
                <a:cubicBezTo>
                  <a:pt x="971435" y="2373188"/>
                  <a:pt x="971435" y="2374118"/>
                  <a:pt x="972158" y="2375822"/>
                </a:cubicBezTo>
                <a:cubicBezTo>
                  <a:pt x="972158" y="2375822"/>
                  <a:pt x="972158" y="2375667"/>
                  <a:pt x="971951" y="2375977"/>
                </a:cubicBezTo>
                <a:lnTo>
                  <a:pt x="971641" y="2376286"/>
                </a:lnTo>
                <a:lnTo>
                  <a:pt x="968544" y="2383566"/>
                </a:lnTo>
                <a:cubicBezTo>
                  <a:pt x="964827" y="2381088"/>
                  <a:pt x="962968" y="2373653"/>
                  <a:pt x="963691" y="2366528"/>
                </a:cubicBezTo>
                <a:cubicBezTo>
                  <a:pt x="964310" y="2359402"/>
                  <a:pt x="967408" y="2352587"/>
                  <a:pt x="973500" y="2351503"/>
                </a:cubicBezTo>
                <a:close/>
                <a:moveTo>
                  <a:pt x="5471869" y="2350993"/>
                </a:moveTo>
                <a:cubicBezTo>
                  <a:pt x="5472082" y="2352273"/>
                  <a:pt x="5471229" y="2353838"/>
                  <a:pt x="5471656" y="2354977"/>
                </a:cubicBezTo>
                <a:cubicBezTo>
                  <a:pt x="5470375" y="2355403"/>
                  <a:pt x="5468027" y="2356257"/>
                  <a:pt x="5466747" y="2355546"/>
                </a:cubicBezTo>
                <a:cubicBezTo>
                  <a:pt x="5465466" y="2355972"/>
                  <a:pt x="5465893" y="2351988"/>
                  <a:pt x="5465893" y="2351988"/>
                </a:cubicBezTo>
                <a:cubicBezTo>
                  <a:pt x="5466533" y="2350424"/>
                  <a:pt x="5470589" y="2351420"/>
                  <a:pt x="5471869" y="2350993"/>
                </a:cubicBezTo>
                <a:close/>
                <a:moveTo>
                  <a:pt x="1050013" y="2350419"/>
                </a:moveTo>
                <a:cubicBezTo>
                  <a:pt x="1051458" y="2349954"/>
                  <a:pt x="1052388" y="2350109"/>
                  <a:pt x="1053110" y="2350728"/>
                </a:cubicBezTo>
                <a:cubicBezTo>
                  <a:pt x="1053833" y="2351193"/>
                  <a:pt x="1054246" y="2352123"/>
                  <a:pt x="1054556" y="2353362"/>
                </a:cubicBezTo>
                <a:cubicBezTo>
                  <a:pt x="1055279" y="2355685"/>
                  <a:pt x="1053627" y="2356614"/>
                  <a:pt x="1053627" y="2356614"/>
                </a:cubicBezTo>
                <a:cubicBezTo>
                  <a:pt x="1050735" y="2357699"/>
                  <a:pt x="1048051" y="2356770"/>
                  <a:pt x="1046605" y="2353981"/>
                </a:cubicBezTo>
                <a:cubicBezTo>
                  <a:pt x="1046708" y="2352123"/>
                  <a:pt x="1048361" y="2351348"/>
                  <a:pt x="1050013" y="2350419"/>
                </a:cubicBezTo>
                <a:close/>
                <a:moveTo>
                  <a:pt x="882531" y="2350264"/>
                </a:moveTo>
                <a:lnTo>
                  <a:pt x="883873" y="2351968"/>
                </a:lnTo>
                <a:lnTo>
                  <a:pt x="884596" y="2351812"/>
                </a:lnTo>
                <a:lnTo>
                  <a:pt x="887384" y="2351968"/>
                </a:lnTo>
                <a:lnTo>
                  <a:pt x="887694" y="2351812"/>
                </a:lnTo>
                <a:cubicBezTo>
                  <a:pt x="887694" y="2351812"/>
                  <a:pt x="892134" y="2348250"/>
                  <a:pt x="896264" y="2351503"/>
                </a:cubicBezTo>
                <a:cubicBezTo>
                  <a:pt x="895438" y="2352277"/>
                  <a:pt x="900394" y="2357079"/>
                  <a:pt x="898536" y="2360642"/>
                </a:cubicBezTo>
                <a:cubicBezTo>
                  <a:pt x="897606" y="2362345"/>
                  <a:pt x="896677" y="2363120"/>
                  <a:pt x="895748" y="2364979"/>
                </a:cubicBezTo>
                <a:lnTo>
                  <a:pt x="893373" y="2365444"/>
                </a:lnTo>
                <a:lnTo>
                  <a:pt x="891515" y="2370245"/>
                </a:lnTo>
                <a:cubicBezTo>
                  <a:pt x="890688" y="2371175"/>
                  <a:pt x="887281" y="2373343"/>
                  <a:pt x="886352" y="2372724"/>
                </a:cubicBezTo>
                <a:cubicBezTo>
                  <a:pt x="885423" y="2371949"/>
                  <a:pt x="885423" y="2371175"/>
                  <a:pt x="885319" y="2370400"/>
                </a:cubicBezTo>
                <a:lnTo>
                  <a:pt x="887488" y="2365444"/>
                </a:lnTo>
                <a:lnTo>
                  <a:pt x="885319" y="2364514"/>
                </a:lnTo>
                <a:cubicBezTo>
                  <a:pt x="884080" y="2363585"/>
                  <a:pt x="883460" y="2362501"/>
                  <a:pt x="883151" y="2361416"/>
                </a:cubicBezTo>
                <a:lnTo>
                  <a:pt x="883151" y="2360332"/>
                </a:lnTo>
                <a:lnTo>
                  <a:pt x="882221" y="2360487"/>
                </a:lnTo>
                <a:lnTo>
                  <a:pt x="880776" y="2357854"/>
                </a:lnTo>
                <a:lnTo>
                  <a:pt x="879227" y="2356924"/>
                </a:lnTo>
                <a:cubicBezTo>
                  <a:pt x="878917" y="2355685"/>
                  <a:pt x="878711" y="2354756"/>
                  <a:pt x="878917" y="2354136"/>
                </a:cubicBezTo>
                <a:cubicBezTo>
                  <a:pt x="879124" y="2353671"/>
                  <a:pt x="879743" y="2353207"/>
                  <a:pt x="880982" y="2352897"/>
                </a:cubicBezTo>
                <a:lnTo>
                  <a:pt x="881499" y="2352742"/>
                </a:lnTo>
                <a:lnTo>
                  <a:pt x="880776" y="2351193"/>
                </a:lnTo>
                <a:cubicBezTo>
                  <a:pt x="881602" y="2351193"/>
                  <a:pt x="882531" y="2351193"/>
                  <a:pt x="882531" y="2350264"/>
                </a:cubicBezTo>
                <a:close/>
                <a:moveTo>
                  <a:pt x="898123" y="2349644"/>
                </a:moveTo>
                <a:cubicBezTo>
                  <a:pt x="901633" y="2348405"/>
                  <a:pt x="903492" y="2350264"/>
                  <a:pt x="905248" y="2352123"/>
                </a:cubicBezTo>
                <a:cubicBezTo>
                  <a:pt x="906383" y="2353516"/>
                  <a:pt x="907106" y="2353981"/>
                  <a:pt x="909068" y="2353826"/>
                </a:cubicBezTo>
                <a:cubicBezTo>
                  <a:pt x="909068" y="2353826"/>
                  <a:pt x="909068" y="2353826"/>
                  <a:pt x="909688" y="2355995"/>
                </a:cubicBezTo>
                <a:lnTo>
                  <a:pt x="909275" y="2356770"/>
                </a:lnTo>
                <a:cubicBezTo>
                  <a:pt x="908861" y="2357079"/>
                  <a:pt x="908242" y="2356924"/>
                  <a:pt x="907313" y="2356614"/>
                </a:cubicBezTo>
                <a:cubicBezTo>
                  <a:pt x="904731" y="2355685"/>
                  <a:pt x="900808" y="2352897"/>
                  <a:pt x="900291" y="2352587"/>
                </a:cubicBezTo>
                <a:cubicBezTo>
                  <a:pt x="900291" y="2352587"/>
                  <a:pt x="899569" y="2352277"/>
                  <a:pt x="898742" y="2351812"/>
                </a:cubicBezTo>
                <a:cubicBezTo>
                  <a:pt x="898433" y="2350728"/>
                  <a:pt x="898846" y="2350109"/>
                  <a:pt x="898123" y="2349644"/>
                </a:cubicBezTo>
                <a:close/>
                <a:moveTo>
                  <a:pt x="1088114" y="2349489"/>
                </a:moveTo>
                <a:cubicBezTo>
                  <a:pt x="1089457" y="2351348"/>
                  <a:pt x="1089973" y="2353052"/>
                  <a:pt x="1091315" y="2354911"/>
                </a:cubicBezTo>
                <a:cubicBezTo>
                  <a:pt x="1088837" y="2358009"/>
                  <a:pt x="1086565" y="2355995"/>
                  <a:pt x="1084500" y="2353981"/>
                </a:cubicBezTo>
                <a:cubicBezTo>
                  <a:pt x="1085636" y="2352432"/>
                  <a:pt x="1085223" y="2350728"/>
                  <a:pt x="1088114" y="2349489"/>
                </a:cubicBezTo>
                <a:close/>
                <a:moveTo>
                  <a:pt x="6222040" y="2348432"/>
                </a:moveTo>
                <a:cubicBezTo>
                  <a:pt x="6223320" y="2348716"/>
                  <a:pt x="6224600" y="2349143"/>
                  <a:pt x="6225027" y="2349855"/>
                </a:cubicBezTo>
                <a:cubicBezTo>
                  <a:pt x="6226095" y="2351135"/>
                  <a:pt x="6226095" y="2352416"/>
                  <a:pt x="6226095" y="2352416"/>
                </a:cubicBezTo>
                <a:cubicBezTo>
                  <a:pt x="6223533" y="2355546"/>
                  <a:pt x="6219905" y="2357395"/>
                  <a:pt x="6216704" y="2353269"/>
                </a:cubicBezTo>
                <a:cubicBezTo>
                  <a:pt x="6215850" y="2351847"/>
                  <a:pt x="6214784" y="2350566"/>
                  <a:pt x="6215850" y="2350708"/>
                </a:cubicBezTo>
                <a:cubicBezTo>
                  <a:pt x="6215850" y="2349570"/>
                  <a:pt x="6216917" y="2349713"/>
                  <a:pt x="6218198" y="2348716"/>
                </a:cubicBezTo>
                <a:cubicBezTo>
                  <a:pt x="6219479" y="2348290"/>
                  <a:pt x="6220759" y="2348290"/>
                  <a:pt x="6222040" y="2348432"/>
                </a:cubicBezTo>
                <a:close/>
                <a:moveTo>
                  <a:pt x="5481260" y="2347863"/>
                </a:moveTo>
                <a:cubicBezTo>
                  <a:pt x="5482113" y="2347721"/>
                  <a:pt x="5483180" y="2348148"/>
                  <a:pt x="5484460" y="2348859"/>
                </a:cubicBezTo>
                <a:cubicBezTo>
                  <a:pt x="5484247" y="2350139"/>
                  <a:pt x="5483820" y="2351135"/>
                  <a:pt x="5483180" y="2351704"/>
                </a:cubicBezTo>
                <a:cubicBezTo>
                  <a:pt x="5482327" y="2352416"/>
                  <a:pt x="5481046" y="2352558"/>
                  <a:pt x="5479125" y="2351988"/>
                </a:cubicBezTo>
                <a:cubicBezTo>
                  <a:pt x="5479125" y="2351988"/>
                  <a:pt x="5478912" y="2350993"/>
                  <a:pt x="5478912" y="2350993"/>
                </a:cubicBezTo>
                <a:cubicBezTo>
                  <a:pt x="5479552" y="2348859"/>
                  <a:pt x="5480192" y="2348006"/>
                  <a:pt x="5481260" y="2347863"/>
                </a:cubicBezTo>
                <a:close/>
                <a:moveTo>
                  <a:pt x="849593" y="2346391"/>
                </a:moveTo>
                <a:cubicBezTo>
                  <a:pt x="851554" y="2346546"/>
                  <a:pt x="853413" y="2347940"/>
                  <a:pt x="854755" y="2350883"/>
                </a:cubicBezTo>
                <a:cubicBezTo>
                  <a:pt x="849490" y="2354446"/>
                  <a:pt x="849386" y="2358628"/>
                  <a:pt x="843913" y="2359557"/>
                </a:cubicBezTo>
                <a:cubicBezTo>
                  <a:pt x="842261" y="2358318"/>
                  <a:pt x="841435" y="2356770"/>
                  <a:pt x="841229" y="2355220"/>
                </a:cubicBezTo>
                <a:cubicBezTo>
                  <a:pt x="840506" y="2350419"/>
                  <a:pt x="845152" y="2345617"/>
                  <a:pt x="849593" y="2346391"/>
                </a:cubicBezTo>
                <a:close/>
                <a:moveTo>
                  <a:pt x="5733735" y="2346298"/>
                </a:moveTo>
                <a:cubicBezTo>
                  <a:pt x="5735443" y="2346014"/>
                  <a:pt x="5737150" y="2346867"/>
                  <a:pt x="5738217" y="2348432"/>
                </a:cubicBezTo>
                <a:cubicBezTo>
                  <a:pt x="5739071" y="2349570"/>
                  <a:pt x="5739711" y="2350993"/>
                  <a:pt x="5739924" y="2352985"/>
                </a:cubicBezTo>
                <a:lnTo>
                  <a:pt x="5736936" y="2353411"/>
                </a:lnTo>
                <a:lnTo>
                  <a:pt x="5735869" y="2356257"/>
                </a:lnTo>
                <a:cubicBezTo>
                  <a:pt x="5735869" y="2356257"/>
                  <a:pt x="5734802" y="2356115"/>
                  <a:pt x="5734802" y="2356115"/>
                </a:cubicBezTo>
                <a:lnTo>
                  <a:pt x="5733522" y="2353980"/>
                </a:lnTo>
                <a:lnTo>
                  <a:pt x="5733095" y="2354123"/>
                </a:lnTo>
                <a:cubicBezTo>
                  <a:pt x="5731174" y="2353553"/>
                  <a:pt x="5729893" y="2352131"/>
                  <a:pt x="5728826" y="2350282"/>
                </a:cubicBezTo>
                <a:cubicBezTo>
                  <a:pt x="5730320" y="2347721"/>
                  <a:pt x="5732028" y="2346441"/>
                  <a:pt x="5733735" y="2346298"/>
                </a:cubicBezTo>
                <a:close/>
                <a:moveTo>
                  <a:pt x="5370922" y="2345729"/>
                </a:moveTo>
                <a:cubicBezTo>
                  <a:pt x="5373482" y="2345587"/>
                  <a:pt x="5375830" y="2346441"/>
                  <a:pt x="5378391" y="2347863"/>
                </a:cubicBezTo>
                <a:cubicBezTo>
                  <a:pt x="5378178" y="2350139"/>
                  <a:pt x="5374123" y="2353411"/>
                  <a:pt x="5371562" y="2355546"/>
                </a:cubicBezTo>
                <a:cubicBezTo>
                  <a:pt x="5368147" y="2355261"/>
                  <a:pt x="5364946" y="2352558"/>
                  <a:pt x="5363238" y="2348859"/>
                </a:cubicBezTo>
                <a:cubicBezTo>
                  <a:pt x="5366013" y="2346867"/>
                  <a:pt x="5368360" y="2345871"/>
                  <a:pt x="5370922" y="2345729"/>
                </a:cubicBezTo>
                <a:close/>
                <a:moveTo>
                  <a:pt x="977217" y="2344997"/>
                </a:moveTo>
                <a:cubicBezTo>
                  <a:pt x="978456" y="2344688"/>
                  <a:pt x="980418" y="2346546"/>
                  <a:pt x="981657" y="2346081"/>
                </a:cubicBezTo>
                <a:cubicBezTo>
                  <a:pt x="981657" y="2346081"/>
                  <a:pt x="981554" y="2346081"/>
                  <a:pt x="981451" y="2347940"/>
                </a:cubicBezTo>
                <a:cubicBezTo>
                  <a:pt x="981037" y="2348715"/>
                  <a:pt x="980625" y="2349644"/>
                  <a:pt x="979386" y="2349954"/>
                </a:cubicBezTo>
                <a:cubicBezTo>
                  <a:pt x="978146" y="2350419"/>
                  <a:pt x="976598" y="2349799"/>
                  <a:pt x="975771" y="2349334"/>
                </a:cubicBezTo>
                <a:cubicBezTo>
                  <a:pt x="976288" y="2348560"/>
                  <a:pt x="975462" y="2348250"/>
                  <a:pt x="975978" y="2347476"/>
                </a:cubicBezTo>
                <a:cubicBezTo>
                  <a:pt x="976081" y="2345462"/>
                  <a:pt x="975978" y="2345462"/>
                  <a:pt x="977217" y="2344997"/>
                </a:cubicBezTo>
                <a:close/>
                <a:moveTo>
                  <a:pt x="4905453" y="2344591"/>
                </a:moveTo>
                <a:cubicBezTo>
                  <a:pt x="4923594" y="2342172"/>
                  <a:pt x="4952405" y="2375463"/>
                  <a:pt x="4939600" y="2390686"/>
                </a:cubicBezTo>
                <a:cubicBezTo>
                  <a:pt x="4928929" y="2372902"/>
                  <a:pt x="4913563" y="2366785"/>
                  <a:pt x="4905453" y="2344591"/>
                </a:cubicBezTo>
                <a:close/>
                <a:moveTo>
                  <a:pt x="1204187" y="2341396"/>
                </a:moveTo>
                <a:cubicBezTo>
                  <a:pt x="1205930" y="2341706"/>
                  <a:pt x="1207582" y="2342906"/>
                  <a:pt x="1207892" y="2344068"/>
                </a:cubicBezTo>
                <a:cubicBezTo>
                  <a:pt x="1206756" y="2349644"/>
                  <a:pt x="1200560" y="2346391"/>
                  <a:pt x="1199941" y="2344068"/>
                </a:cubicBezTo>
                <a:cubicBezTo>
                  <a:pt x="1200612" y="2341667"/>
                  <a:pt x="1202445" y="2341086"/>
                  <a:pt x="1204187" y="2341396"/>
                </a:cubicBezTo>
                <a:close/>
                <a:moveTo>
                  <a:pt x="5498333" y="2339612"/>
                </a:moveTo>
                <a:cubicBezTo>
                  <a:pt x="5499827" y="2339185"/>
                  <a:pt x="5501534" y="2339469"/>
                  <a:pt x="5503669" y="2340322"/>
                </a:cubicBezTo>
                <a:cubicBezTo>
                  <a:pt x="5501321" y="2343879"/>
                  <a:pt x="5498760" y="2344022"/>
                  <a:pt x="5493851" y="2344022"/>
                </a:cubicBezTo>
                <a:cubicBezTo>
                  <a:pt x="5495345" y="2341319"/>
                  <a:pt x="5496626" y="2340038"/>
                  <a:pt x="5498333" y="2339612"/>
                </a:cubicBezTo>
                <a:close/>
                <a:moveTo>
                  <a:pt x="1032666" y="2337562"/>
                </a:moveTo>
                <a:cubicBezTo>
                  <a:pt x="1032459" y="2338337"/>
                  <a:pt x="1033182" y="2339421"/>
                  <a:pt x="1033079" y="2340195"/>
                </a:cubicBezTo>
                <a:cubicBezTo>
                  <a:pt x="1031117" y="2341745"/>
                  <a:pt x="1028742" y="2339886"/>
                  <a:pt x="1028949" y="2339111"/>
                </a:cubicBezTo>
                <a:cubicBezTo>
                  <a:pt x="1029878" y="2338182"/>
                  <a:pt x="1031633" y="2338337"/>
                  <a:pt x="1032666" y="2337562"/>
                </a:cubicBezTo>
                <a:close/>
                <a:moveTo>
                  <a:pt x="5199972" y="2337477"/>
                </a:moveTo>
                <a:cubicBezTo>
                  <a:pt x="5201039" y="2337051"/>
                  <a:pt x="5202107" y="2337051"/>
                  <a:pt x="5203600" y="2337477"/>
                </a:cubicBezTo>
                <a:cubicBezTo>
                  <a:pt x="5207655" y="2338758"/>
                  <a:pt x="5213418" y="2343452"/>
                  <a:pt x="5215765" y="2346298"/>
                </a:cubicBezTo>
                <a:cubicBezTo>
                  <a:pt x="5214911" y="2346867"/>
                  <a:pt x="5213631" y="2346725"/>
                  <a:pt x="5212350" y="2346298"/>
                </a:cubicBezTo>
                <a:cubicBezTo>
                  <a:pt x="5208295" y="2345017"/>
                  <a:pt x="5202533" y="2340465"/>
                  <a:pt x="5199972" y="2337477"/>
                </a:cubicBezTo>
                <a:close/>
                <a:moveTo>
                  <a:pt x="1105152" y="2336323"/>
                </a:moveTo>
                <a:cubicBezTo>
                  <a:pt x="1106700" y="2335704"/>
                  <a:pt x="1108662" y="2335704"/>
                  <a:pt x="1111140" y="2336323"/>
                </a:cubicBezTo>
                <a:cubicBezTo>
                  <a:pt x="1116613" y="2337872"/>
                  <a:pt x="1122086" y="2341280"/>
                  <a:pt x="1119607" y="2349644"/>
                </a:cubicBezTo>
                <a:cubicBezTo>
                  <a:pt x="1119607" y="2351503"/>
                  <a:pt x="1119195" y="2350728"/>
                  <a:pt x="1118781" y="2351812"/>
                </a:cubicBezTo>
                <a:cubicBezTo>
                  <a:pt x="1118368" y="2352897"/>
                  <a:pt x="1118368" y="2354756"/>
                  <a:pt x="1118781" y="2355530"/>
                </a:cubicBezTo>
                <a:cubicBezTo>
                  <a:pt x="1114445" y="2354446"/>
                  <a:pt x="1114032" y="2357389"/>
                  <a:pt x="1107424" y="2355220"/>
                </a:cubicBezTo>
                <a:cubicBezTo>
                  <a:pt x="1100918" y="2353671"/>
                  <a:pt x="1098750" y="2349799"/>
                  <a:pt x="1098336" y="2346391"/>
                </a:cubicBezTo>
                <a:cubicBezTo>
                  <a:pt x="1098233" y="2345152"/>
                  <a:pt x="1098336" y="2344068"/>
                  <a:pt x="1098543" y="2342984"/>
                </a:cubicBezTo>
                <a:cubicBezTo>
                  <a:pt x="1099369" y="2343448"/>
                  <a:pt x="1100505" y="2337872"/>
                  <a:pt x="1105152" y="2336323"/>
                </a:cubicBezTo>
                <a:close/>
                <a:moveTo>
                  <a:pt x="4993808" y="2333778"/>
                </a:moveTo>
                <a:cubicBezTo>
                  <a:pt x="4995089" y="2333921"/>
                  <a:pt x="4994876" y="2335201"/>
                  <a:pt x="4996156" y="2335343"/>
                </a:cubicBezTo>
                <a:cubicBezTo>
                  <a:pt x="4996583" y="2336055"/>
                  <a:pt x="4996796" y="2337193"/>
                  <a:pt x="4996583" y="2338758"/>
                </a:cubicBezTo>
                <a:cubicBezTo>
                  <a:pt x="4996370" y="2343026"/>
                  <a:pt x="4993595" y="2349428"/>
                  <a:pt x="4992741" y="2349286"/>
                </a:cubicBezTo>
                <a:cubicBezTo>
                  <a:pt x="4992741" y="2350424"/>
                  <a:pt x="4991461" y="2350282"/>
                  <a:pt x="4991461" y="2351562"/>
                </a:cubicBezTo>
                <a:cubicBezTo>
                  <a:pt x="4991461" y="2351562"/>
                  <a:pt x="4991248" y="2352700"/>
                  <a:pt x="4990180" y="2353696"/>
                </a:cubicBezTo>
                <a:cubicBezTo>
                  <a:pt x="4988900" y="2354692"/>
                  <a:pt x="4987620" y="2355688"/>
                  <a:pt x="4985485" y="2354123"/>
                </a:cubicBezTo>
                <a:cubicBezTo>
                  <a:pt x="4989540" y="2345160"/>
                  <a:pt x="4989754" y="2340322"/>
                  <a:pt x="4993808" y="2333778"/>
                </a:cubicBezTo>
                <a:close/>
                <a:moveTo>
                  <a:pt x="854032" y="2332296"/>
                </a:moveTo>
                <a:cubicBezTo>
                  <a:pt x="855788" y="2334619"/>
                  <a:pt x="855788" y="2338956"/>
                  <a:pt x="851967" y="2341899"/>
                </a:cubicBezTo>
                <a:cubicBezTo>
                  <a:pt x="848250" y="2341745"/>
                  <a:pt x="845978" y="2340350"/>
                  <a:pt x="844223" y="2339731"/>
                </a:cubicBezTo>
                <a:lnTo>
                  <a:pt x="844430" y="2336788"/>
                </a:lnTo>
                <a:lnTo>
                  <a:pt x="843397" y="2338492"/>
                </a:lnTo>
                <a:cubicBezTo>
                  <a:pt x="842468" y="2339886"/>
                  <a:pt x="841538" y="2340815"/>
                  <a:pt x="839370" y="2340505"/>
                </a:cubicBezTo>
                <a:cubicBezTo>
                  <a:pt x="838957" y="2338801"/>
                  <a:pt x="840093" y="2336788"/>
                  <a:pt x="841848" y="2335394"/>
                </a:cubicBezTo>
                <a:lnTo>
                  <a:pt x="844636" y="2334309"/>
                </a:lnTo>
                <a:lnTo>
                  <a:pt x="844739" y="2333070"/>
                </a:lnTo>
                <a:cubicBezTo>
                  <a:pt x="848457" y="2329198"/>
                  <a:pt x="852174" y="2329817"/>
                  <a:pt x="854032" y="2332296"/>
                </a:cubicBezTo>
                <a:close/>
                <a:moveTo>
                  <a:pt x="882325" y="2332141"/>
                </a:moveTo>
                <a:cubicBezTo>
                  <a:pt x="884184" y="2334464"/>
                  <a:pt x="880363" y="2341589"/>
                  <a:pt x="877885" y="2344378"/>
                </a:cubicBezTo>
                <a:cubicBezTo>
                  <a:pt x="877471" y="2343758"/>
                  <a:pt x="877368" y="2342829"/>
                  <a:pt x="877471" y="2341899"/>
                </a:cubicBezTo>
                <a:cubicBezTo>
                  <a:pt x="877885" y="2338801"/>
                  <a:pt x="880569" y="2334309"/>
                  <a:pt x="882325" y="2332141"/>
                </a:cubicBezTo>
                <a:close/>
                <a:moveTo>
                  <a:pt x="1020688" y="2330127"/>
                </a:moveTo>
                <a:cubicBezTo>
                  <a:pt x="1020688" y="2330127"/>
                  <a:pt x="1020378" y="2331366"/>
                  <a:pt x="1020069" y="2332451"/>
                </a:cubicBezTo>
                <a:cubicBezTo>
                  <a:pt x="1019759" y="2333690"/>
                  <a:pt x="1019759" y="2333690"/>
                  <a:pt x="1020998" y="2334000"/>
                </a:cubicBezTo>
                <a:cubicBezTo>
                  <a:pt x="1020688" y="2335084"/>
                  <a:pt x="1020688" y="2335084"/>
                  <a:pt x="1019139" y="2336168"/>
                </a:cubicBezTo>
                <a:cubicBezTo>
                  <a:pt x="1019449" y="2334929"/>
                  <a:pt x="1019449" y="2329972"/>
                  <a:pt x="1020688" y="2330127"/>
                </a:cubicBezTo>
                <a:close/>
                <a:moveTo>
                  <a:pt x="967821" y="2329662"/>
                </a:moveTo>
                <a:cubicBezTo>
                  <a:pt x="971435" y="2330127"/>
                  <a:pt x="975049" y="2330437"/>
                  <a:pt x="976804" y="2332451"/>
                </a:cubicBezTo>
                <a:lnTo>
                  <a:pt x="975978" y="2334929"/>
                </a:lnTo>
                <a:lnTo>
                  <a:pt x="976804" y="2337872"/>
                </a:lnTo>
                <a:cubicBezTo>
                  <a:pt x="977217" y="2341280"/>
                  <a:pt x="974635" y="2341435"/>
                  <a:pt x="971641" y="2342519"/>
                </a:cubicBezTo>
                <a:cubicBezTo>
                  <a:pt x="971125" y="2341589"/>
                  <a:pt x="970196" y="2340970"/>
                  <a:pt x="969266" y="2340350"/>
                </a:cubicBezTo>
                <a:lnTo>
                  <a:pt x="969163" y="2340195"/>
                </a:lnTo>
                <a:lnTo>
                  <a:pt x="968647" y="2340350"/>
                </a:lnTo>
                <a:cubicBezTo>
                  <a:pt x="966891" y="2338956"/>
                  <a:pt x="966375" y="2336943"/>
                  <a:pt x="966582" y="2335084"/>
                </a:cubicBezTo>
                <a:cubicBezTo>
                  <a:pt x="966685" y="2333070"/>
                  <a:pt x="967408" y="2331056"/>
                  <a:pt x="967821" y="2329662"/>
                </a:cubicBezTo>
                <a:close/>
                <a:moveTo>
                  <a:pt x="5735015" y="2329226"/>
                </a:moveTo>
                <a:cubicBezTo>
                  <a:pt x="5736083" y="2330933"/>
                  <a:pt x="5736510" y="2332356"/>
                  <a:pt x="5736296" y="2334063"/>
                </a:cubicBezTo>
                <a:lnTo>
                  <a:pt x="5735229" y="2337477"/>
                </a:lnTo>
                <a:lnTo>
                  <a:pt x="5743126" y="2339042"/>
                </a:lnTo>
                <a:cubicBezTo>
                  <a:pt x="5746114" y="2339327"/>
                  <a:pt x="5748461" y="2339896"/>
                  <a:pt x="5749742" y="2341603"/>
                </a:cubicBezTo>
                <a:cubicBezTo>
                  <a:pt x="5750382" y="2342741"/>
                  <a:pt x="5750595" y="2344449"/>
                  <a:pt x="5749955" y="2347009"/>
                </a:cubicBezTo>
                <a:cubicBezTo>
                  <a:pt x="5745259" y="2348006"/>
                  <a:pt x="5726905" y="2346725"/>
                  <a:pt x="5733308" y="2337051"/>
                </a:cubicBezTo>
                <a:lnTo>
                  <a:pt x="5732028" y="2333778"/>
                </a:lnTo>
                <a:cubicBezTo>
                  <a:pt x="5732241" y="2332213"/>
                  <a:pt x="5733308" y="2330791"/>
                  <a:pt x="5735015" y="2329226"/>
                </a:cubicBezTo>
                <a:close/>
                <a:moveTo>
                  <a:pt x="5310737" y="2329083"/>
                </a:moveTo>
                <a:cubicBezTo>
                  <a:pt x="5310950" y="2329226"/>
                  <a:pt x="5311164" y="2329511"/>
                  <a:pt x="5311591" y="2329653"/>
                </a:cubicBezTo>
                <a:cubicBezTo>
                  <a:pt x="5310524" y="2330791"/>
                  <a:pt x="5310524" y="2330791"/>
                  <a:pt x="5309670" y="2329368"/>
                </a:cubicBezTo>
                <a:cubicBezTo>
                  <a:pt x="5310097" y="2328799"/>
                  <a:pt x="5310310" y="2328799"/>
                  <a:pt x="5310737" y="2329083"/>
                </a:cubicBezTo>
                <a:close/>
                <a:moveTo>
                  <a:pt x="808290" y="2329043"/>
                </a:moveTo>
                <a:cubicBezTo>
                  <a:pt x="816963" y="2327804"/>
                  <a:pt x="829251" y="2343603"/>
                  <a:pt x="822539" y="2350883"/>
                </a:cubicBezTo>
                <a:cubicBezTo>
                  <a:pt x="818202" y="2342519"/>
                  <a:pt x="811181" y="2339576"/>
                  <a:pt x="808290" y="2329043"/>
                </a:cubicBezTo>
                <a:close/>
                <a:moveTo>
                  <a:pt x="1047638" y="2328733"/>
                </a:moveTo>
                <a:cubicBezTo>
                  <a:pt x="1051355" y="2329817"/>
                  <a:pt x="1053317" y="2331831"/>
                  <a:pt x="1054040" y="2333844"/>
                </a:cubicBezTo>
                <a:cubicBezTo>
                  <a:pt x="1054969" y="2337098"/>
                  <a:pt x="1053007" y="2340815"/>
                  <a:pt x="1049909" y="2343138"/>
                </a:cubicBezTo>
                <a:lnTo>
                  <a:pt x="1048154" y="2343913"/>
                </a:lnTo>
                <a:lnTo>
                  <a:pt x="1048774" y="2343913"/>
                </a:lnTo>
                <a:cubicBezTo>
                  <a:pt x="1046915" y="2347321"/>
                  <a:pt x="1045883" y="2349799"/>
                  <a:pt x="1044024" y="2353207"/>
                </a:cubicBezTo>
                <a:cubicBezTo>
                  <a:pt x="1043095" y="2354136"/>
                  <a:pt x="1039584" y="2355995"/>
                  <a:pt x="1038758" y="2355220"/>
                </a:cubicBezTo>
                <a:cubicBezTo>
                  <a:pt x="1037828" y="2354446"/>
                  <a:pt x="1037932" y="2353516"/>
                  <a:pt x="1037932" y="2352742"/>
                </a:cubicBezTo>
                <a:cubicBezTo>
                  <a:pt x="1038861" y="2351038"/>
                  <a:pt x="1039790" y="2349334"/>
                  <a:pt x="1040823" y="2347630"/>
                </a:cubicBezTo>
                <a:lnTo>
                  <a:pt x="1043301" y="2345462"/>
                </a:lnTo>
                <a:lnTo>
                  <a:pt x="1038448" y="2344688"/>
                </a:lnTo>
                <a:cubicBezTo>
                  <a:pt x="1037828" y="2343448"/>
                  <a:pt x="1037932" y="2341745"/>
                  <a:pt x="1038242" y="2340195"/>
                </a:cubicBezTo>
                <a:cubicBezTo>
                  <a:pt x="1039377" y="2335394"/>
                  <a:pt x="1043921" y="2329972"/>
                  <a:pt x="1047638" y="2328733"/>
                </a:cubicBezTo>
                <a:close/>
                <a:moveTo>
                  <a:pt x="5015791" y="2328515"/>
                </a:moveTo>
                <a:cubicBezTo>
                  <a:pt x="5016645" y="2328515"/>
                  <a:pt x="5017285" y="2328515"/>
                  <a:pt x="5018138" y="2328799"/>
                </a:cubicBezTo>
                <a:cubicBezTo>
                  <a:pt x="5018779" y="2329083"/>
                  <a:pt x="5019633" y="2329511"/>
                  <a:pt x="5020273" y="2330221"/>
                </a:cubicBezTo>
                <a:cubicBezTo>
                  <a:pt x="5020913" y="2330791"/>
                  <a:pt x="5021126" y="2331644"/>
                  <a:pt x="5020913" y="2332498"/>
                </a:cubicBezTo>
                <a:cubicBezTo>
                  <a:pt x="5019846" y="2333067"/>
                  <a:pt x="5020059" y="2334063"/>
                  <a:pt x="5018992" y="2334632"/>
                </a:cubicBezTo>
                <a:cubicBezTo>
                  <a:pt x="5017285" y="2336766"/>
                  <a:pt x="5016218" y="2337335"/>
                  <a:pt x="5014724" y="2336766"/>
                </a:cubicBezTo>
                <a:cubicBezTo>
                  <a:pt x="5013657" y="2337335"/>
                  <a:pt x="5013230" y="2336197"/>
                  <a:pt x="5011736" y="2335628"/>
                </a:cubicBezTo>
                <a:cubicBezTo>
                  <a:pt x="5011309" y="2334632"/>
                  <a:pt x="5011949" y="2333067"/>
                  <a:pt x="5011949" y="2333067"/>
                </a:cubicBezTo>
                <a:cubicBezTo>
                  <a:pt x="5012590" y="2331360"/>
                  <a:pt x="5012590" y="2331360"/>
                  <a:pt x="5011096" y="2330933"/>
                </a:cubicBezTo>
                <a:cubicBezTo>
                  <a:pt x="5011096" y="2330933"/>
                  <a:pt x="5012162" y="2330364"/>
                  <a:pt x="5012162" y="2330364"/>
                </a:cubicBezTo>
                <a:cubicBezTo>
                  <a:pt x="5012590" y="2331360"/>
                  <a:pt x="5012162" y="2330364"/>
                  <a:pt x="5012803" y="2328799"/>
                </a:cubicBezTo>
                <a:cubicBezTo>
                  <a:pt x="5014083" y="2328799"/>
                  <a:pt x="5015150" y="2328656"/>
                  <a:pt x="5015791" y="2328515"/>
                </a:cubicBezTo>
                <a:close/>
                <a:moveTo>
                  <a:pt x="5657971" y="2328088"/>
                </a:moveTo>
                <a:cubicBezTo>
                  <a:pt x="5658825" y="2327803"/>
                  <a:pt x="5659678" y="2327803"/>
                  <a:pt x="5660959" y="2328372"/>
                </a:cubicBezTo>
                <a:cubicBezTo>
                  <a:pt x="5659038" y="2329937"/>
                  <a:pt x="5656050" y="2333210"/>
                  <a:pt x="5653703" y="2333778"/>
                </a:cubicBezTo>
                <a:cubicBezTo>
                  <a:pt x="5652849" y="2333921"/>
                  <a:pt x="5652208" y="2333778"/>
                  <a:pt x="5651568" y="2333067"/>
                </a:cubicBezTo>
                <a:cubicBezTo>
                  <a:pt x="5653276" y="2331502"/>
                  <a:pt x="5655196" y="2328656"/>
                  <a:pt x="5657971" y="2328088"/>
                </a:cubicBezTo>
                <a:close/>
                <a:moveTo>
                  <a:pt x="5544005" y="2327803"/>
                </a:moveTo>
                <a:cubicBezTo>
                  <a:pt x="5545499" y="2327945"/>
                  <a:pt x="5546779" y="2328372"/>
                  <a:pt x="5548273" y="2328941"/>
                </a:cubicBezTo>
                <a:cubicBezTo>
                  <a:pt x="5551048" y="2340892"/>
                  <a:pt x="5537815" y="2347152"/>
                  <a:pt x="5531627" y="2335912"/>
                </a:cubicBezTo>
                <a:cubicBezTo>
                  <a:pt x="5534401" y="2331786"/>
                  <a:pt x="5536962" y="2329511"/>
                  <a:pt x="5539736" y="2328515"/>
                </a:cubicBezTo>
                <a:cubicBezTo>
                  <a:pt x="5541230" y="2327945"/>
                  <a:pt x="5542511" y="2327803"/>
                  <a:pt x="5544005" y="2327803"/>
                </a:cubicBezTo>
                <a:close/>
                <a:moveTo>
                  <a:pt x="908242" y="2327649"/>
                </a:moveTo>
                <a:cubicBezTo>
                  <a:pt x="910204" y="2327649"/>
                  <a:pt x="909378" y="2331056"/>
                  <a:pt x="909791" y="2331676"/>
                </a:cubicBezTo>
                <a:cubicBezTo>
                  <a:pt x="909481" y="2332915"/>
                  <a:pt x="909275" y="2334000"/>
                  <a:pt x="908035" y="2333690"/>
                </a:cubicBezTo>
                <a:cubicBezTo>
                  <a:pt x="906899" y="2333225"/>
                  <a:pt x="906074" y="2333690"/>
                  <a:pt x="905970" y="2331676"/>
                </a:cubicBezTo>
                <a:cubicBezTo>
                  <a:pt x="905454" y="2331056"/>
                  <a:pt x="905764" y="2329972"/>
                  <a:pt x="905248" y="2329198"/>
                </a:cubicBezTo>
                <a:cubicBezTo>
                  <a:pt x="905248" y="2329198"/>
                  <a:pt x="905764" y="2328733"/>
                  <a:pt x="906280" y="2328268"/>
                </a:cubicBezTo>
                <a:cubicBezTo>
                  <a:pt x="906899" y="2327804"/>
                  <a:pt x="907622" y="2327494"/>
                  <a:pt x="908242" y="2327649"/>
                </a:cubicBezTo>
                <a:close/>
                <a:moveTo>
                  <a:pt x="1092038" y="2327494"/>
                </a:moveTo>
                <a:cubicBezTo>
                  <a:pt x="1096271" y="2328113"/>
                  <a:pt x="1097821" y="2332605"/>
                  <a:pt x="1092864" y="2335394"/>
                </a:cubicBezTo>
                <a:cubicBezTo>
                  <a:pt x="1091419" y="2333225"/>
                  <a:pt x="1089973" y="2331056"/>
                  <a:pt x="1090696" y="2329198"/>
                </a:cubicBezTo>
                <a:cubicBezTo>
                  <a:pt x="1090902" y="2328578"/>
                  <a:pt x="1091315" y="2327958"/>
                  <a:pt x="1092038" y="2327494"/>
                </a:cubicBezTo>
                <a:close/>
                <a:moveTo>
                  <a:pt x="5354701" y="2327376"/>
                </a:moveTo>
                <a:cubicBezTo>
                  <a:pt x="5360037" y="2337762"/>
                  <a:pt x="5353421" y="2343026"/>
                  <a:pt x="5347872" y="2342314"/>
                </a:cubicBezTo>
                <a:cubicBezTo>
                  <a:pt x="5345951" y="2342030"/>
                  <a:pt x="5344244" y="2341177"/>
                  <a:pt x="5342963" y="2339469"/>
                </a:cubicBezTo>
                <a:cubicBezTo>
                  <a:pt x="5341256" y="2337335"/>
                  <a:pt x="5340616" y="2333921"/>
                  <a:pt x="5342323" y="2329226"/>
                </a:cubicBezTo>
                <a:cubicBezTo>
                  <a:pt x="5347445" y="2326523"/>
                  <a:pt x="5350646" y="2328088"/>
                  <a:pt x="5354701" y="2327376"/>
                </a:cubicBezTo>
                <a:close/>
                <a:moveTo>
                  <a:pt x="988266" y="2327184"/>
                </a:moveTo>
                <a:cubicBezTo>
                  <a:pt x="988266" y="2327184"/>
                  <a:pt x="987956" y="2328268"/>
                  <a:pt x="988472" y="2329043"/>
                </a:cubicBezTo>
                <a:cubicBezTo>
                  <a:pt x="988472" y="2329043"/>
                  <a:pt x="988162" y="2330127"/>
                  <a:pt x="987853" y="2331366"/>
                </a:cubicBezTo>
                <a:cubicBezTo>
                  <a:pt x="987853" y="2331366"/>
                  <a:pt x="988369" y="2331986"/>
                  <a:pt x="988782" y="2332605"/>
                </a:cubicBezTo>
                <a:cubicBezTo>
                  <a:pt x="988679" y="2335704"/>
                  <a:pt x="988782" y="2337407"/>
                  <a:pt x="985374" y="2338647"/>
                </a:cubicBezTo>
                <a:cubicBezTo>
                  <a:pt x="985168" y="2338337"/>
                  <a:pt x="985271" y="2337562"/>
                  <a:pt x="985374" y="2336788"/>
                </a:cubicBezTo>
                <a:cubicBezTo>
                  <a:pt x="985478" y="2336013"/>
                  <a:pt x="985684" y="2335239"/>
                  <a:pt x="985891" y="2334619"/>
                </a:cubicBezTo>
                <a:cubicBezTo>
                  <a:pt x="985374" y="2333844"/>
                  <a:pt x="985684" y="2332760"/>
                  <a:pt x="986407" y="2332296"/>
                </a:cubicBezTo>
                <a:cubicBezTo>
                  <a:pt x="986407" y="2332296"/>
                  <a:pt x="986717" y="2331056"/>
                  <a:pt x="986303" y="2330437"/>
                </a:cubicBezTo>
                <a:cubicBezTo>
                  <a:pt x="986820" y="2328113"/>
                  <a:pt x="987543" y="2327649"/>
                  <a:pt x="988266" y="2327184"/>
                </a:cubicBezTo>
                <a:close/>
                <a:moveTo>
                  <a:pt x="5068932" y="2327092"/>
                </a:moveTo>
                <a:cubicBezTo>
                  <a:pt x="5069573" y="2327376"/>
                  <a:pt x="5070000" y="2327519"/>
                  <a:pt x="5070213" y="2328088"/>
                </a:cubicBezTo>
                <a:cubicBezTo>
                  <a:pt x="5070640" y="2328515"/>
                  <a:pt x="5070853" y="2329368"/>
                  <a:pt x="5071280" y="2330933"/>
                </a:cubicBezTo>
                <a:cubicBezTo>
                  <a:pt x="5070000" y="2330364"/>
                  <a:pt x="5070000" y="2330364"/>
                  <a:pt x="5069146" y="2331929"/>
                </a:cubicBezTo>
                <a:cubicBezTo>
                  <a:pt x="5069146" y="2331929"/>
                  <a:pt x="5069146" y="2331786"/>
                  <a:pt x="5069573" y="2332925"/>
                </a:cubicBezTo>
                <a:cubicBezTo>
                  <a:pt x="5068505" y="2333351"/>
                  <a:pt x="5068292" y="2332213"/>
                  <a:pt x="5067225" y="2332640"/>
                </a:cubicBezTo>
                <a:cubicBezTo>
                  <a:pt x="5067225" y="2332640"/>
                  <a:pt x="5066798" y="2331644"/>
                  <a:pt x="5066798" y="2331644"/>
                </a:cubicBezTo>
                <a:cubicBezTo>
                  <a:pt x="5066372" y="2331786"/>
                  <a:pt x="5066372" y="2331786"/>
                  <a:pt x="5066372" y="2331360"/>
                </a:cubicBezTo>
                <a:cubicBezTo>
                  <a:pt x="5066585" y="2331075"/>
                  <a:pt x="5067012" y="2330364"/>
                  <a:pt x="5067225" y="2329083"/>
                </a:cubicBezTo>
                <a:cubicBezTo>
                  <a:pt x="5067865" y="2327519"/>
                  <a:pt x="5067652" y="2326380"/>
                  <a:pt x="5068932" y="2327092"/>
                </a:cubicBezTo>
                <a:close/>
                <a:moveTo>
                  <a:pt x="948409" y="2326100"/>
                </a:moveTo>
                <a:lnTo>
                  <a:pt x="948409" y="2326875"/>
                </a:lnTo>
                <a:lnTo>
                  <a:pt x="948615" y="2326720"/>
                </a:lnTo>
                <a:close/>
                <a:moveTo>
                  <a:pt x="5512845" y="2325527"/>
                </a:moveTo>
                <a:cubicBezTo>
                  <a:pt x="5518394" y="2326096"/>
                  <a:pt x="5524157" y="2328656"/>
                  <a:pt x="5524584" y="2332640"/>
                </a:cubicBezTo>
                <a:cubicBezTo>
                  <a:pt x="5525011" y="2336197"/>
                  <a:pt x="5521382" y="2340607"/>
                  <a:pt x="5509858" y="2345587"/>
                </a:cubicBezTo>
                <a:cubicBezTo>
                  <a:pt x="5497479" y="2333210"/>
                  <a:pt x="5500681" y="2327234"/>
                  <a:pt x="5507297" y="2325811"/>
                </a:cubicBezTo>
                <a:cubicBezTo>
                  <a:pt x="5509004" y="2325527"/>
                  <a:pt x="5510925" y="2325385"/>
                  <a:pt x="5512845" y="2325527"/>
                </a:cubicBezTo>
                <a:close/>
                <a:moveTo>
                  <a:pt x="5048871" y="2325527"/>
                </a:moveTo>
                <a:cubicBezTo>
                  <a:pt x="5050365" y="2325242"/>
                  <a:pt x="5052286" y="2325242"/>
                  <a:pt x="5053139" y="2326238"/>
                </a:cubicBezTo>
                <a:cubicBezTo>
                  <a:pt x="5056767" y="2327945"/>
                  <a:pt x="5051218" y="2333067"/>
                  <a:pt x="5051218" y="2334916"/>
                </a:cubicBezTo>
                <a:lnTo>
                  <a:pt x="5050578" y="2335485"/>
                </a:lnTo>
                <a:lnTo>
                  <a:pt x="5051646" y="2341177"/>
                </a:lnTo>
                <a:cubicBezTo>
                  <a:pt x="5051859" y="2343595"/>
                  <a:pt x="5051859" y="2345444"/>
                  <a:pt x="5051432" y="2345587"/>
                </a:cubicBezTo>
                <a:cubicBezTo>
                  <a:pt x="5051859" y="2346725"/>
                  <a:pt x="5050578" y="2347294"/>
                  <a:pt x="5051005" y="2348432"/>
                </a:cubicBezTo>
                <a:cubicBezTo>
                  <a:pt x="5051005" y="2348432"/>
                  <a:pt x="5051432" y="2349428"/>
                  <a:pt x="5050792" y="2350993"/>
                </a:cubicBezTo>
                <a:cubicBezTo>
                  <a:pt x="5050151" y="2352700"/>
                  <a:pt x="5049511" y="2354407"/>
                  <a:pt x="5046950" y="2354407"/>
                </a:cubicBezTo>
                <a:cubicBezTo>
                  <a:pt x="5046950" y="2349143"/>
                  <a:pt x="5046310" y="2345444"/>
                  <a:pt x="5046096" y="2342030"/>
                </a:cubicBezTo>
                <a:lnTo>
                  <a:pt x="5045883" y="2336624"/>
                </a:lnTo>
                <a:cubicBezTo>
                  <a:pt x="5043962" y="2334916"/>
                  <a:pt x="5042042" y="2334916"/>
                  <a:pt x="5043962" y="2331360"/>
                </a:cubicBezTo>
                <a:cubicBezTo>
                  <a:pt x="5043962" y="2329653"/>
                  <a:pt x="5045883" y="2327945"/>
                  <a:pt x="5045883" y="2326238"/>
                </a:cubicBezTo>
                <a:cubicBezTo>
                  <a:pt x="5045883" y="2326238"/>
                  <a:pt x="5047163" y="2325669"/>
                  <a:pt x="5048871" y="2325527"/>
                </a:cubicBezTo>
                <a:close/>
                <a:moveTo>
                  <a:pt x="5172868" y="2324958"/>
                </a:moveTo>
                <a:cubicBezTo>
                  <a:pt x="5173508" y="2325100"/>
                  <a:pt x="5173935" y="2325385"/>
                  <a:pt x="5174575" y="2326096"/>
                </a:cubicBezTo>
                <a:cubicBezTo>
                  <a:pt x="5175642" y="2327376"/>
                  <a:pt x="5176709" y="2328799"/>
                  <a:pt x="5176709" y="2331218"/>
                </a:cubicBezTo>
                <a:cubicBezTo>
                  <a:pt x="5174362" y="2333210"/>
                  <a:pt x="5170947" y="2331644"/>
                  <a:pt x="5169666" y="2332640"/>
                </a:cubicBezTo>
                <a:cubicBezTo>
                  <a:pt x="5169880" y="2331502"/>
                  <a:pt x="5169880" y="2329083"/>
                  <a:pt x="5167532" y="2327661"/>
                </a:cubicBezTo>
                <a:cubicBezTo>
                  <a:pt x="5168813" y="2326665"/>
                  <a:pt x="5169880" y="2325527"/>
                  <a:pt x="5171161" y="2325100"/>
                </a:cubicBezTo>
                <a:cubicBezTo>
                  <a:pt x="5171587" y="2324815"/>
                  <a:pt x="5172227" y="2324815"/>
                  <a:pt x="5172868" y="2324958"/>
                </a:cubicBezTo>
                <a:close/>
                <a:moveTo>
                  <a:pt x="878091" y="2323311"/>
                </a:moveTo>
                <a:cubicBezTo>
                  <a:pt x="880260" y="2321298"/>
                  <a:pt x="886662" y="2321298"/>
                  <a:pt x="888520" y="2323931"/>
                </a:cubicBezTo>
                <a:cubicBezTo>
                  <a:pt x="889140" y="2324861"/>
                  <a:pt x="889140" y="2326100"/>
                  <a:pt x="888417" y="2327494"/>
                </a:cubicBezTo>
                <a:cubicBezTo>
                  <a:pt x="885938" y="2331831"/>
                  <a:pt x="881912" y="2330592"/>
                  <a:pt x="877678" y="2328578"/>
                </a:cubicBezTo>
                <a:cubicBezTo>
                  <a:pt x="878091" y="2326720"/>
                  <a:pt x="877678" y="2325171"/>
                  <a:pt x="878091" y="2323311"/>
                </a:cubicBezTo>
                <a:close/>
                <a:moveTo>
                  <a:pt x="5139148" y="2323108"/>
                </a:moveTo>
                <a:cubicBezTo>
                  <a:pt x="5141069" y="2323392"/>
                  <a:pt x="5142562" y="2323962"/>
                  <a:pt x="5143629" y="2324958"/>
                </a:cubicBezTo>
                <a:cubicBezTo>
                  <a:pt x="5144697" y="2328372"/>
                  <a:pt x="5145550" y="2331644"/>
                  <a:pt x="5146617" y="2334916"/>
                </a:cubicBezTo>
                <a:cubicBezTo>
                  <a:pt x="5145764" y="2337904"/>
                  <a:pt x="5143843" y="2339896"/>
                  <a:pt x="5141709" y="2341034"/>
                </a:cubicBezTo>
                <a:lnTo>
                  <a:pt x="5137226" y="2341319"/>
                </a:lnTo>
                <a:lnTo>
                  <a:pt x="5137654" y="2343026"/>
                </a:lnTo>
                <a:cubicBezTo>
                  <a:pt x="5135093" y="2354550"/>
                  <a:pt x="5119513" y="2363797"/>
                  <a:pt x="5106281" y="2363939"/>
                </a:cubicBezTo>
                <a:lnTo>
                  <a:pt x="5102866" y="2363513"/>
                </a:lnTo>
                <a:lnTo>
                  <a:pt x="5102653" y="2364793"/>
                </a:lnTo>
                <a:cubicBezTo>
                  <a:pt x="5101799" y="2368350"/>
                  <a:pt x="5100518" y="2371480"/>
                  <a:pt x="5099451" y="2373187"/>
                </a:cubicBezTo>
                <a:cubicBezTo>
                  <a:pt x="5096677" y="2362659"/>
                  <a:pt x="5092835" y="2345017"/>
                  <a:pt x="5096677" y="2335485"/>
                </a:cubicBezTo>
                <a:lnTo>
                  <a:pt x="5102013" y="2340465"/>
                </a:lnTo>
                <a:lnTo>
                  <a:pt x="5109056" y="2333636"/>
                </a:lnTo>
                <a:cubicBezTo>
                  <a:pt x="5112470" y="2331360"/>
                  <a:pt x="5116312" y="2329795"/>
                  <a:pt x="5120153" y="2329083"/>
                </a:cubicBezTo>
                <a:lnTo>
                  <a:pt x="5126769" y="2328799"/>
                </a:lnTo>
                <a:lnTo>
                  <a:pt x="5130824" y="2324246"/>
                </a:lnTo>
                <a:cubicBezTo>
                  <a:pt x="5133385" y="2323108"/>
                  <a:pt x="5136373" y="2322682"/>
                  <a:pt x="5139148" y="2323108"/>
                </a:cubicBezTo>
                <a:close/>
                <a:moveTo>
                  <a:pt x="1131895" y="2322847"/>
                </a:moveTo>
                <a:cubicBezTo>
                  <a:pt x="1131998" y="2325790"/>
                  <a:pt x="1132411" y="2327029"/>
                  <a:pt x="1130243" y="2329043"/>
                </a:cubicBezTo>
                <a:cubicBezTo>
                  <a:pt x="1129933" y="2327958"/>
                  <a:pt x="1129830" y="2326875"/>
                  <a:pt x="1130036" y="2325790"/>
                </a:cubicBezTo>
                <a:cubicBezTo>
                  <a:pt x="1130243" y="2324861"/>
                  <a:pt x="1130862" y="2323777"/>
                  <a:pt x="1131895" y="2322847"/>
                </a:cubicBezTo>
                <a:close/>
                <a:moveTo>
                  <a:pt x="1006026" y="2322692"/>
                </a:moveTo>
                <a:cubicBezTo>
                  <a:pt x="1010362" y="2322847"/>
                  <a:pt x="1013254" y="2325790"/>
                  <a:pt x="1015112" y="2329662"/>
                </a:cubicBezTo>
                <a:lnTo>
                  <a:pt x="1017384" y="2340970"/>
                </a:lnTo>
                <a:lnTo>
                  <a:pt x="1019965" y="2340970"/>
                </a:lnTo>
                <a:cubicBezTo>
                  <a:pt x="1020998" y="2342209"/>
                  <a:pt x="1021101" y="2343448"/>
                  <a:pt x="1020585" y="2344533"/>
                </a:cubicBezTo>
                <a:lnTo>
                  <a:pt x="1019243" y="2346391"/>
                </a:lnTo>
                <a:lnTo>
                  <a:pt x="1024508" y="2346856"/>
                </a:lnTo>
                <a:cubicBezTo>
                  <a:pt x="1022753" y="2348869"/>
                  <a:pt x="1020172" y="2349180"/>
                  <a:pt x="1018726" y="2351968"/>
                </a:cubicBezTo>
                <a:lnTo>
                  <a:pt x="1018520" y="2353207"/>
                </a:lnTo>
                <a:lnTo>
                  <a:pt x="1019449" y="2352587"/>
                </a:lnTo>
                <a:cubicBezTo>
                  <a:pt x="1021204" y="2351503"/>
                  <a:pt x="1022960" y="2351038"/>
                  <a:pt x="1024612" y="2350883"/>
                </a:cubicBezTo>
                <a:cubicBezTo>
                  <a:pt x="1024199" y="2359557"/>
                  <a:pt x="1014080" y="2366373"/>
                  <a:pt x="1008297" y="2368387"/>
                </a:cubicBezTo>
                <a:cubicBezTo>
                  <a:pt x="1008400" y="2363894"/>
                  <a:pt x="1010982" y="2359713"/>
                  <a:pt x="1014183" y="2356459"/>
                </a:cubicBezTo>
                <a:lnTo>
                  <a:pt x="1016661" y="2354601"/>
                </a:lnTo>
                <a:lnTo>
                  <a:pt x="1015112" y="2353052"/>
                </a:lnTo>
                <a:lnTo>
                  <a:pt x="1015112" y="2353671"/>
                </a:lnTo>
                <a:lnTo>
                  <a:pt x="1010879" y="2350264"/>
                </a:lnTo>
                <a:lnTo>
                  <a:pt x="1009640" y="2349954"/>
                </a:lnTo>
                <a:cubicBezTo>
                  <a:pt x="1008194" y="2349954"/>
                  <a:pt x="1006645" y="2349954"/>
                  <a:pt x="1005509" y="2348560"/>
                </a:cubicBezTo>
                <a:lnTo>
                  <a:pt x="1007058" y="2344688"/>
                </a:lnTo>
                <a:lnTo>
                  <a:pt x="1006542" y="2343913"/>
                </a:lnTo>
                <a:cubicBezTo>
                  <a:pt x="1004890" y="2339886"/>
                  <a:pt x="1004373" y="2335548"/>
                  <a:pt x="1004683" y="2332760"/>
                </a:cubicBezTo>
                <a:cubicBezTo>
                  <a:pt x="1006748" y="2333690"/>
                  <a:pt x="1008607" y="2335084"/>
                  <a:pt x="1010156" y="2336788"/>
                </a:cubicBezTo>
                <a:lnTo>
                  <a:pt x="1013150" y="2341435"/>
                </a:lnTo>
                <a:lnTo>
                  <a:pt x="1015732" y="2340970"/>
                </a:lnTo>
                <a:lnTo>
                  <a:pt x="1011911" y="2338647"/>
                </a:lnTo>
                <a:cubicBezTo>
                  <a:pt x="1007574" y="2334464"/>
                  <a:pt x="1006852" y="2328578"/>
                  <a:pt x="1006026" y="2322692"/>
                </a:cubicBezTo>
                <a:close/>
                <a:moveTo>
                  <a:pt x="5023688" y="2320547"/>
                </a:moveTo>
                <a:cubicBezTo>
                  <a:pt x="5027316" y="2319694"/>
                  <a:pt x="5031157" y="2320690"/>
                  <a:pt x="5034572" y="2325527"/>
                </a:cubicBezTo>
                <a:cubicBezTo>
                  <a:pt x="5033932" y="2326949"/>
                  <a:pt x="5033078" y="2328372"/>
                  <a:pt x="5032438" y="2329795"/>
                </a:cubicBezTo>
                <a:cubicBezTo>
                  <a:pt x="5025395" y="2326665"/>
                  <a:pt x="5020059" y="2328088"/>
                  <a:pt x="5014510" y="2325811"/>
                </a:cubicBezTo>
                <a:cubicBezTo>
                  <a:pt x="5016858" y="2323962"/>
                  <a:pt x="5020273" y="2321401"/>
                  <a:pt x="5023688" y="2320547"/>
                </a:cubicBezTo>
                <a:close/>
                <a:moveTo>
                  <a:pt x="1127558" y="2320523"/>
                </a:moveTo>
                <a:cubicBezTo>
                  <a:pt x="1130243" y="2324086"/>
                  <a:pt x="1126732" y="2328268"/>
                  <a:pt x="1125183" y="2330592"/>
                </a:cubicBezTo>
                <a:lnTo>
                  <a:pt x="1123634" y="2329972"/>
                </a:lnTo>
                <a:lnTo>
                  <a:pt x="1123841" y="2331831"/>
                </a:lnTo>
                <a:cubicBezTo>
                  <a:pt x="1123634" y="2332605"/>
                  <a:pt x="1123428" y="2333535"/>
                  <a:pt x="1123222" y="2334464"/>
                </a:cubicBezTo>
                <a:cubicBezTo>
                  <a:pt x="1121260" y="2334309"/>
                  <a:pt x="1119401" y="2336013"/>
                  <a:pt x="1117026" y="2335084"/>
                </a:cubicBezTo>
                <a:cubicBezTo>
                  <a:pt x="1117026" y="2335084"/>
                  <a:pt x="1115787" y="2334619"/>
                  <a:pt x="1115064" y="2333070"/>
                </a:cubicBezTo>
                <a:cubicBezTo>
                  <a:pt x="1112276" y="2331366"/>
                  <a:pt x="1113515" y="2328113"/>
                  <a:pt x="1113515" y="2328113"/>
                </a:cubicBezTo>
                <a:cubicBezTo>
                  <a:pt x="1113515" y="2328113"/>
                  <a:pt x="1113515" y="2328113"/>
                  <a:pt x="1112793" y="2328424"/>
                </a:cubicBezTo>
                <a:cubicBezTo>
                  <a:pt x="1114341" y="2327804"/>
                  <a:pt x="1115477" y="2326410"/>
                  <a:pt x="1117026" y="2325790"/>
                </a:cubicBezTo>
                <a:lnTo>
                  <a:pt x="1117646" y="2326100"/>
                </a:lnTo>
                <a:lnTo>
                  <a:pt x="1117129" y="2325481"/>
                </a:lnTo>
                <a:cubicBezTo>
                  <a:pt x="1117852" y="2323311"/>
                  <a:pt x="1119195" y="2321763"/>
                  <a:pt x="1120950" y="2320833"/>
                </a:cubicBezTo>
                <a:cubicBezTo>
                  <a:pt x="1122602" y="2319904"/>
                  <a:pt x="1124873" y="2319749"/>
                  <a:pt x="1127558" y="2320523"/>
                </a:cubicBezTo>
                <a:close/>
                <a:moveTo>
                  <a:pt x="1045056" y="2319749"/>
                </a:moveTo>
                <a:cubicBezTo>
                  <a:pt x="1047741" y="2321763"/>
                  <a:pt x="1047328" y="2325016"/>
                  <a:pt x="1045469" y="2327804"/>
                </a:cubicBezTo>
                <a:cubicBezTo>
                  <a:pt x="1043714" y="2330592"/>
                  <a:pt x="1040513" y="2332915"/>
                  <a:pt x="1037622" y="2332760"/>
                </a:cubicBezTo>
                <a:cubicBezTo>
                  <a:pt x="1037416" y="2331212"/>
                  <a:pt x="1037416" y="2329662"/>
                  <a:pt x="1037519" y="2328268"/>
                </a:cubicBezTo>
                <a:cubicBezTo>
                  <a:pt x="1037828" y="2324241"/>
                  <a:pt x="1039687" y="2321298"/>
                  <a:pt x="1045056" y="2319749"/>
                </a:cubicBezTo>
                <a:close/>
                <a:moveTo>
                  <a:pt x="1019759" y="2319130"/>
                </a:moveTo>
                <a:cubicBezTo>
                  <a:pt x="1020894" y="2319284"/>
                  <a:pt x="1021411" y="2319904"/>
                  <a:pt x="1021824" y="2320679"/>
                </a:cubicBezTo>
                <a:cubicBezTo>
                  <a:pt x="1021514" y="2321763"/>
                  <a:pt x="1020791" y="2322382"/>
                  <a:pt x="1020482" y="2323466"/>
                </a:cubicBezTo>
                <a:cubicBezTo>
                  <a:pt x="1020894" y="2324086"/>
                  <a:pt x="1021824" y="2325481"/>
                  <a:pt x="1021514" y="2326720"/>
                </a:cubicBezTo>
                <a:cubicBezTo>
                  <a:pt x="1021204" y="2327804"/>
                  <a:pt x="1020172" y="2329508"/>
                  <a:pt x="1020172" y="2329508"/>
                </a:cubicBezTo>
                <a:cubicBezTo>
                  <a:pt x="1018933" y="2329353"/>
                  <a:pt x="1018933" y="2329198"/>
                  <a:pt x="1019655" y="2328733"/>
                </a:cubicBezTo>
                <a:cubicBezTo>
                  <a:pt x="1019552" y="2326875"/>
                  <a:pt x="1019965" y="2327649"/>
                  <a:pt x="1020275" y="2326410"/>
                </a:cubicBezTo>
                <a:cubicBezTo>
                  <a:pt x="1020585" y="2325325"/>
                  <a:pt x="1019862" y="2320988"/>
                  <a:pt x="1018726" y="2320833"/>
                </a:cubicBezTo>
                <a:cubicBezTo>
                  <a:pt x="1019449" y="2320214"/>
                  <a:pt x="1019759" y="2319130"/>
                  <a:pt x="1019759" y="2319130"/>
                </a:cubicBezTo>
                <a:close/>
                <a:moveTo>
                  <a:pt x="5678033" y="2319125"/>
                </a:moveTo>
                <a:cubicBezTo>
                  <a:pt x="5678673" y="2319694"/>
                  <a:pt x="5678673" y="2320405"/>
                  <a:pt x="5678246" y="2320974"/>
                </a:cubicBezTo>
                <a:cubicBezTo>
                  <a:pt x="5677819" y="2321544"/>
                  <a:pt x="5677179" y="2321970"/>
                  <a:pt x="5676752" y="2322539"/>
                </a:cubicBezTo>
                <a:cubicBezTo>
                  <a:pt x="5675471" y="2323535"/>
                  <a:pt x="5674191" y="2324531"/>
                  <a:pt x="5672910" y="2325527"/>
                </a:cubicBezTo>
                <a:cubicBezTo>
                  <a:pt x="5672910" y="2325527"/>
                  <a:pt x="5672910" y="2325669"/>
                  <a:pt x="5678033" y="2319125"/>
                </a:cubicBezTo>
                <a:close/>
                <a:moveTo>
                  <a:pt x="956372" y="2317561"/>
                </a:moveTo>
                <a:cubicBezTo>
                  <a:pt x="958347" y="2317619"/>
                  <a:pt x="960593" y="2318587"/>
                  <a:pt x="962864" y="2319904"/>
                </a:cubicBezTo>
                <a:cubicBezTo>
                  <a:pt x="962038" y="2320833"/>
                  <a:pt x="964723" y="2322227"/>
                  <a:pt x="965653" y="2323777"/>
                </a:cubicBezTo>
                <a:cubicBezTo>
                  <a:pt x="965859" y="2326255"/>
                  <a:pt x="965859" y="2327958"/>
                  <a:pt x="964207" y="2329817"/>
                </a:cubicBezTo>
                <a:lnTo>
                  <a:pt x="961212" y="2331831"/>
                </a:lnTo>
                <a:lnTo>
                  <a:pt x="962555" y="2333535"/>
                </a:lnTo>
                <a:cubicBezTo>
                  <a:pt x="964620" y="2338647"/>
                  <a:pt x="965033" y="2344688"/>
                  <a:pt x="956153" y="2346701"/>
                </a:cubicBezTo>
                <a:cubicBezTo>
                  <a:pt x="954604" y="2347630"/>
                  <a:pt x="955017" y="2346856"/>
                  <a:pt x="953778" y="2347166"/>
                </a:cubicBezTo>
                <a:cubicBezTo>
                  <a:pt x="952642" y="2347321"/>
                  <a:pt x="950990" y="2348095"/>
                  <a:pt x="950577" y="2348869"/>
                </a:cubicBezTo>
                <a:cubicBezTo>
                  <a:pt x="948822" y="2344842"/>
                  <a:pt x="946034" y="2345926"/>
                  <a:pt x="943659" y="2339576"/>
                </a:cubicBezTo>
                <a:cubicBezTo>
                  <a:pt x="942833" y="2337562"/>
                  <a:pt x="942420" y="2335858"/>
                  <a:pt x="942420" y="2334464"/>
                </a:cubicBezTo>
                <a:lnTo>
                  <a:pt x="942729" y="2333225"/>
                </a:lnTo>
                <a:lnTo>
                  <a:pt x="942420" y="2333690"/>
                </a:lnTo>
                <a:cubicBezTo>
                  <a:pt x="940252" y="2335704"/>
                  <a:pt x="938186" y="2337252"/>
                  <a:pt x="936844" y="2337098"/>
                </a:cubicBezTo>
                <a:cubicBezTo>
                  <a:pt x="936741" y="2336168"/>
                  <a:pt x="936741" y="2335394"/>
                  <a:pt x="937567" y="2334464"/>
                </a:cubicBezTo>
                <a:cubicBezTo>
                  <a:pt x="938393" y="2333535"/>
                  <a:pt x="938393" y="2334309"/>
                  <a:pt x="938393" y="2333535"/>
                </a:cubicBezTo>
                <a:cubicBezTo>
                  <a:pt x="939219" y="2332605"/>
                  <a:pt x="938290" y="2332605"/>
                  <a:pt x="938290" y="2332605"/>
                </a:cubicBezTo>
                <a:cubicBezTo>
                  <a:pt x="938290" y="2332605"/>
                  <a:pt x="939219" y="2332451"/>
                  <a:pt x="939219" y="2332451"/>
                </a:cubicBezTo>
                <a:cubicBezTo>
                  <a:pt x="939219" y="2332451"/>
                  <a:pt x="939219" y="2332451"/>
                  <a:pt x="940871" y="2330592"/>
                </a:cubicBezTo>
                <a:cubicBezTo>
                  <a:pt x="942420" y="2327804"/>
                  <a:pt x="942317" y="2327029"/>
                  <a:pt x="943039" y="2325171"/>
                </a:cubicBezTo>
                <a:cubicBezTo>
                  <a:pt x="944691" y="2323311"/>
                  <a:pt x="945621" y="2323157"/>
                  <a:pt x="948099" y="2321143"/>
                </a:cubicBezTo>
                <a:cubicBezTo>
                  <a:pt x="949854" y="2321763"/>
                  <a:pt x="949854" y="2321763"/>
                  <a:pt x="949957" y="2322537"/>
                </a:cubicBezTo>
                <a:cubicBezTo>
                  <a:pt x="949854" y="2321763"/>
                  <a:pt x="950680" y="2321608"/>
                  <a:pt x="951506" y="2320679"/>
                </a:cubicBezTo>
                <a:cubicBezTo>
                  <a:pt x="952694" y="2318355"/>
                  <a:pt x="954397" y="2317503"/>
                  <a:pt x="956372" y="2317561"/>
                </a:cubicBezTo>
                <a:close/>
                <a:moveTo>
                  <a:pt x="5240095" y="2317133"/>
                </a:moveTo>
                <a:cubicBezTo>
                  <a:pt x="5243296" y="2317987"/>
                  <a:pt x="5245431" y="2319409"/>
                  <a:pt x="5246924" y="2321117"/>
                </a:cubicBezTo>
                <a:lnTo>
                  <a:pt x="5247778" y="2322397"/>
                </a:lnTo>
                <a:lnTo>
                  <a:pt x="5249486" y="2321970"/>
                </a:lnTo>
                <a:cubicBezTo>
                  <a:pt x="5262077" y="2321544"/>
                  <a:pt x="5275523" y="2329937"/>
                  <a:pt x="5281925" y="2343595"/>
                </a:cubicBezTo>
                <a:cubicBezTo>
                  <a:pt x="5280858" y="2344733"/>
                  <a:pt x="5279791" y="2345871"/>
                  <a:pt x="5281072" y="2347152"/>
                </a:cubicBezTo>
                <a:cubicBezTo>
                  <a:pt x="5267840" y="2363086"/>
                  <a:pt x="5234760" y="2354550"/>
                  <a:pt x="5229211" y="2332925"/>
                </a:cubicBezTo>
                <a:lnTo>
                  <a:pt x="5236894" y="2326380"/>
                </a:lnTo>
                <a:lnTo>
                  <a:pt x="5234973" y="2320547"/>
                </a:lnTo>
                <a:cubicBezTo>
                  <a:pt x="5236467" y="2317417"/>
                  <a:pt x="5238815" y="2316422"/>
                  <a:pt x="5240095" y="2317133"/>
                </a:cubicBezTo>
                <a:close/>
                <a:moveTo>
                  <a:pt x="5452021" y="2316137"/>
                </a:moveTo>
                <a:cubicBezTo>
                  <a:pt x="5453302" y="2316137"/>
                  <a:pt x="5454155" y="2316706"/>
                  <a:pt x="5454795" y="2317702"/>
                </a:cubicBezTo>
                <a:cubicBezTo>
                  <a:pt x="5456716" y="2320690"/>
                  <a:pt x="5456076" y="2327092"/>
                  <a:pt x="5454582" y="2328372"/>
                </a:cubicBezTo>
                <a:cubicBezTo>
                  <a:pt x="5452021" y="2328372"/>
                  <a:pt x="5446259" y="2317417"/>
                  <a:pt x="5452021" y="2316137"/>
                </a:cubicBezTo>
                <a:close/>
                <a:moveTo>
                  <a:pt x="5378605" y="2314288"/>
                </a:moveTo>
                <a:cubicBezTo>
                  <a:pt x="5380952" y="2314714"/>
                  <a:pt x="5383086" y="2316137"/>
                  <a:pt x="5383940" y="2318840"/>
                </a:cubicBezTo>
                <a:lnTo>
                  <a:pt x="5384367" y="2322397"/>
                </a:lnTo>
                <a:cubicBezTo>
                  <a:pt x="5392690" y="2326238"/>
                  <a:pt x="5393757" y="2331502"/>
                  <a:pt x="5398666" y="2335912"/>
                </a:cubicBezTo>
                <a:lnTo>
                  <a:pt x="5394824" y="2341603"/>
                </a:lnTo>
                <a:lnTo>
                  <a:pt x="5395038" y="2342172"/>
                </a:lnTo>
                <a:lnTo>
                  <a:pt x="5394184" y="2342599"/>
                </a:lnTo>
                <a:lnTo>
                  <a:pt x="5392690" y="2345017"/>
                </a:lnTo>
                <a:cubicBezTo>
                  <a:pt x="5386288" y="2350851"/>
                  <a:pt x="5378391" y="2347863"/>
                  <a:pt x="5374976" y="2342030"/>
                </a:cubicBezTo>
                <a:cubicBezTo>
                  <a:pt x="5373482" y="2339469"/>
                  <a:pt x="5372842" y="2336481"/>
                  <a:pt x="5373482" y="2333351"/>
                </a:cubicBezTo>
                <a:lnTo>
                  <a:pt x="5374336" y="2331786"/>
                </a:lnTo>
                <a:lnTo>
                  <a:pt x="5371775" y="2333210"/>
                </a:lnTo>
                <a:cubicBezTo>
                  <a:pt x="5367080" y="2335201"/>
                  <a:pt x="5361958" y="2335485"/>
                  <a:pt x="5357689" y="2330648"/>
                </a:cubicBezTo>
                <a:cubicBezTo>
                  <a:pt x="5359824" y="2321117"/>
                  <a:pt x="5371348" y="2313007"/>
                  <a:pt x="5378605" y="2314288"/>
                </a:cubicBezTo>
                <a:close/>
                <a:moveTo>
                  <a:pt x="1038964" y="2314173"/>
                </a:moveTo>
                <a:cubicBezTo>
                  <a:pt x="1040513" y="2316496"/>
                  <a:pt x="1036073" y="2323311"/>
                  <a:pt x="1033389" y="2325945"/>
                </a:cubicBezTo>
                <a:cubicBezTo>
                  <a:pt x="1032975" y="2325325"/>
                  <a:pt x="1032872" y="2324396"/>
                  <a:pt x="1033182" y="2323466"/>
                </a:cubicBezTo>
                <a:cubicBezTo>
                  <a:pt x="1033905" y="2320369"/>
                  <a:pt x="1037003" y="2316032"/>
                  <a:pt x="1038964" y="2314173"/>
                </a:cubicBezTo>
                <a:close/>
                <a:moveTo>
                  <a:pt x="4810481" y="2313718"/>
                </a:moveTo>
                <a:cubicBezTo>
                  <a:pt x="4815390" y="2314430"/>
                  <a:pt x="4820298" y="2315284"/>
                  <a:pt x="4822432" y="2318129"/>
                </a:cubicBezTo>
                <a:cubicBezTo>
                  <a:pt x="4822219" y="2321401"/>
                  <a:pt x="4821365" y="2324104"/>
                  <a:pt x="4819445" y="2326096"/>
                </a:cubicBezTo>
                <a:cubicBezTo>
                  <a:pt x="4817524" y="2327945"/>
                  <a:pt x="4814963" y="2328941"/>
                  <a:pt x="4811335" y="2328799"/>
                </a:cubicBezTo>
                <a:cubicBezTo>
                  <a:pt x="4806639" y="2324815"/>
                  <a:pt x="4809414" y="2317702"/>
                  <a:pt x="4810481" y="2313718"/>
                </a:cubicBezTo>
                <a:close/>
                <a:moveTo>
                  <a:pt x="1003651" y="2312934"/>
                </a:moveTo>
                <a:cubicBezTo>
                  <a:pt x="1005096" y="2315257"/>
                  <a:pt x="1005096" y="2317271"/>
                  <a:pt x="1004270" y="2318975"/>
                </a:cubicBezTo>
                <a:cubicBezTo>
                  <a:pt x="1001792" y="2323931"/>
                  <a:pt x="991983" y="2325016"/>
                  <a:pt x="991776" y="2317426"/>
                </a:cubicBezTo>
                <a:cubicBezTo>
                  <a:pt x="993738" y="2314483"/>
                  <a:pt x="1000966" y="2312469"/>
                  <a:pt x="1003651" y="2312934"/>
                </a:cubicBezTo>
                <a:close/>
                <a:moveTo>
                  <a:pt x="962452" y="2311849"/>
                </a:moveTo>
                <a:cubicBezTo>
                  <a:pt x="969060" y="2312159"/>
                  <a:pt x="964723" y="2322073"/>
                  <a:pt x="960799" y="2318045"/>
                </a:cubicBezTo>
                <a:cubicBezTo>
                  <a:pt x="960799" y="2316187"/>
                  <a:pt x="961625" y="2314018"/>
                  <a:pt x="962452" y="2311849"/>
                </a:cubicBezTo>
                <a:close/>
                <a:moveTo>
                  <a:pt x="4966278" y="2311443"/>
                </a:moveTo>
                <a:cubicBezTo>
                  <a:pt x="4968625" y="2313007"/>
                  <a:pt x="4969692" y="2313149"/>
                  <a:pt x="4970759" y="2314572"/>
                </a:cubicBezTo>
                <a:cubicBezTo>
                  <a:pt x="4971400" y="2315284"/>
                  <a:pt x="4971826" y="2316137"/>
                  <a:pt x="4972040" y="2317133"/>
                </a:cubicBezTo>
                <a:cubicBezTo>
                  <a:pt x="4972466" y="2317987"/>
                  <a:pt x="4972253" y="2318982"/>
                  <a:pt x="4971613" y="2319409"/>
                </a:cubicBezTo>
                <a:cubicBezTo>
                  <a:pt x="4970546" y="2319267"/>
                  <a:pt x="4970546" y="2320405"/>
                  <a:pt x="4969266" y="2320263"/>
                </a:cubicBezTo>
                <a:cubicBezTo>
                  <a:pt x="4966918" y="2320974"/>
                  <a:pt x="4965851" y="2320832"/>
                  <a:pt x="4964570" y="2319552"/>
                </a:cubicBezTo>
                <a:cubicBezTo>
                  <a:pt x="4963503" y="2319267"/>
                  <a:pt x="4963503" y="2318129"/>
                  <a:pt x="4962436" y="2316706"/>
                </a:cubicBezTo>
                <a:cubicBezTo>
                  <a:pt x="4962436" y="2315568"/>
                  <a:pt x="4963716" y="2314572"/>
                  <a:pt x="4963716" y="2314572"/>
                </a:cubicBezTo>
                <a:cubicBezTo>
                  <a:pt x="4964997" y="2313576"/>
                  <a:pt x="4964997" y="2313576"/>
                  <a:pt x="4963930" y="2312153"/>
                </a:cubicBezTo>
                <a:cubicBezTo>
                  <a:pt x="4963930" y="2312153"/>
                  <a:pt x="4965210" y="2312438"/>
                  <a:pt x="4965210" y="2312438"/>
                </a:cubicBezTo>
                <a:cubicBezTo>
                  <a:pt x="4964997" y="2313576"/>
                  <a:pt x="4965210" y="2312438"/>
                  <a:pt x="4966278" y="2311443"/>
                </a:cubicBezTo>
                <a:close/>
                <a:moveTo>
                  <a:pt x="6290121" y="2311016"/>
                </a:moveTo>
                <a:cubicBezTo>
                  <a:pt x="6292681" y="2310161"/>
                  <a:pt x="6294816" y="2311726"/>
                  <a:pt x="6296950" y="2313291"/>
                </a:cubicBezTo>
                <a:cubicBezTo>
                  <a:pt x="6298657" y="2314714"/>
                  <a:pt x="6299084" y="2316137"/>
                  <a:pt x="6298871" y="2317275"/>
                </a:cubicBezTo>
                <a:cubicBezTo>
                  <a:pt x="6298657" y="2318413"/>
                  <a:pt x="6297804" y="2319552"/>
                  <a:pt x="6296523" y="2320547"/>
                </a:cubicBezTo>
                <a:cubicBezTo>
                  <a:pt x="6294176" y="2322539"/>
                  <a:pt x="6291828" y="2320974"/>
                  <a:pt x="6291828" y="2320974"/>
                </a:cubicBezTo>
                <a:cubicBezTo>
                  <a:pt x="6288626" y="2317987"/>
                  <a:pt x="6287773" y="2314145"/>
                  <a:pt x="6290121" y="2311016"/>
                </a:cubicBezTo>
                <a:close/>
                <a:moveTo>
                  <a:pt x="5335494" y="2310304"/>
                </a:moveTo>
                <a:cubicBezTo>
                  <a:pt x="5339335" y="2309451"/>
                  <a:pt x="5342963" y="2310161"/>
                  <a:pt x="5345738" y="2314856"/>
                </a:cubicBezTo>
                <a:cubicBezTo>
                  <a:pt x="5344671" y="2316280"/>
                  <a:pt x="5343817" y="2317702"/>
                  <a:pt x="5342963" y="2319267"/>
                </a:cubicBezTo>
                <a:cubicBezTo>
                  <a:pt x="5336347" y="2316280"/>
                  <a:pt x="5330799" y="2317987"/>
                  <a:pt x="5325463" y="2315853"/>
                </a:cubicBezTo>
                <a:cubicBezTo>
                  <a:pt x="5328024" y="2313861"/>
                  <a:pt x="5331866" y="2311300"/>
                  <a:pt x="5335494" y="2310304"/>
                </a:cubicBezTo>
                <a:close/>
                <a:moveTo>
                  <a:pt x="4851671" y="2308597"/>
                </a:moveTo>
                <a:cubicBezTo>
                  <a:pt x="4852738" y="2308454"/>
                  <a:pt x="4853805" y="2308454"/>
                  <a:pt x="4854873" y="2308597"/>
                </a:cubicBezTo>
                <a:cubicBezTo>
                  <a:pt x="4856793" y="2309024"/>
                  <a:pt x="4858501" y="2310446"/>
                  <a:pt x="4859568" y="2312153"/>
                </a:cubicBezTo>
                <a:cubicBezTo>
                  <a:pt x="4860208" y="2313434"/>
                  <a:pt x="4860421" y="2314856"/>
                  <a:pt x="4860208" y="2316422"/>
                </a:cubicBezTo>
                <a:cubicBezTo>
                  <a:pt x="4858714" y="2317560"/>
                  <a:pt x="4857220" y="2319836"/>
                  <a:pt x="4854873" y="2320832"/>
                </a:cubicBezTo>
                <a:cubicBezTo>
                  <a:pt x="4849323" y="2319125"/>
                  <a:pt x="4847830" y="2315284"/>
                  <a:pt x="4848470" y="2310304"/>
                </a:cubicBezTo>
                <a:cubicBezTo>
                  <a:pt x="4849537" y="2309451"/>
                  <a:pt x="4850604" y="2308881"/>
                  <a:pt x="4851671" y="2308597"/>
                </a:cubicBezTo>
                <a:close/>
                <a:moveTo>
                  <a:pt x="885216" y="2308132"/>
                </a:moveTo>
                <a:cubicBezTo>
                  <a:pt x="887074" y="2309526"/>
                  <a:pt x="888830" y="2310920"/>
                  <a:pt x="887178" y="2312779"/>
                </a:cubicBezTo>
                <a:cubicBezTo>
                  <a:pt x="886352" y="2313863"/>
                  <a:pt x="885629" y="2314792"/>
                  <a:pt x="883873" y="2314947"/>
                </a:cubicBezTo>
                <a:cubicBezTo>
                  <a:pt x="882015" y="2313553"/>
                  <a:pt x="882738" y="2310920"/>
                  <a:pt x="881808" y="2310300"/>
                </a:cubicBezTo>
                <a:cubicBezTo>
                  <a:pt x="882738" y="2310146"/>
                  <a:pt x="884493" y="2309836"/>
                  <a:pt x="885216" y="2308132"/>
                </a:cubicBezTo>
                <a:close/>
                <a:moveTo>
                  <a:pt x="956463" y="2307823"/>
                </a:moveTo>
                <a:lnTo>
                  <a:pt x="956463" y="2309371"/>
                </a:lnTo>
                <a:lnTo>
                  <a:pt x="959251" y="2310920"/>
                </a:lnTo>
                <a:cubicBezTo>
                  <a:pt x="961212" y="2310920"/>
                  <a:pt x="962864" y="2309836"/>
                  <a:pt x="963897" y="2311230"/>
                </a:cubicBezTo>
                <a:cubicBezTo>
                  <a:pt x="960799" y="2311694"/>
                  <a:pt x="959663" y="2312159"/>
                  <a:pt x="957701" y="2312159"/>
                </a:cubicBezTo>
                <a:lnTo>
                  <a:pt x="956772" y="2312934"/>
                </a:lnTo>
                <a:lnTo>
                  <a:pt x="956772" y="2313089"/>
                </a:lnTo>
                <a:lnTo>
                  <a:pt x="956359" y="2313398"/>
                </a:lnTo>
                <a:lnTo>
                  <a:pt x="955636" y="2314018"/>
                </a:lnTo>
                <a:lnTo>
                  <a:pt x="955224" y="2314018"/>
                </a:lnTo>
                <a:lnTo>
                  <a:pt x="953365" y="2315412"/>
                </a:lnTo>
                <a:cubicBezTo>
                  <a:pt x="951919" y="2316806"/>
                  <a:pt x="950370" y="2318356"/>
                  <a:pt x="950370" y="2318356"/>
                </a:cubicBezTo>
                <a:cubicBezTo>
                  <a:pt x="947996" y="2318045"/>
                  <a:pt x="947996" y="2318045"/>
                  <a:pt x="948202" y="2315102"/>
                </a:cubicBezTo>
                <a:lnTo>
                  <a:pt x="950164" y="2312314"/>
                </a:lnTo>
                <a:lnTo>
                  <a:pt x="950164" y="2311385"/>
                </a:lnTo>
                <a:cubicBezTo>
                  <a:pt x="950474" y="2310610"/>
                  <a:pt x="951093" y="2309990"/>
                  <a:pt x="952229" y="2309681"/>
                </a:cubicBezTo>
                <a:lnTo>
                  <a:pt x="953365" y="2309526"/>
                </a:lnTo>
                <a:close/>
                <a:moveTo>
                  <a:pt x="784438" y="2307202"/>
                </a:moveTo>
                <a:cubicBezTo>
                  <a:pt x="791459" y="2309990"/>
                  <a:pt x="799203" y="2312469"/>
                  <a:pt x="799100" y="2318045"/>
                </a:cubicBezTo>
                <a:cubicBezTo>
                  <a:pt x="794866" y="2320679"/>
                  <a:pt x="787845" y="2316032"/>
                  <a:pt x="784334" y="2312779"/>
                </a:cubicBezTo>
                <a:cubicBezTo>
                  <a:pt x="785161" y="2310610"/>
                  <a:pt x="783612" y="2309371"/>
                  <a:pt x="784438" y="2307202"/>
                </a:cubicBezTo>
                <a:close/>
                <a:moveTo>
                  <a:pt x="4984205" y="2306605"/>
                </a:moveTo>
                <a:cubicBezTo>
                  <a:pt x="4987193" y="2308313"/>
                  <a:pt x="4988900" y="2306605"/>
                  <a:pt x="4991888" y="2308313"/>
                </a:cubicBezTo>
                <a:cubicBezTo>
                  <a:pt x="4990394" y="2311158"/>
                  <a:pt x="4990180" y="2313718"/>
                  <a:pt x="4989327" y="2315284"/>
                </a:cubicBezTo>
                <a:cubicBezTo>
                  <a:pt x="4984205" y="2314145"/>
                  <a:pt x="4982071" y="2311016"/>
                  <a:pt x="4984205" y="2306605"/>
                </a:cubicBezTo>
                <a:close/>
                <a:moveTo>
                  <a:pt x="1113515" y="2306583"/>
                </a:moveTo>
                <a:lnTo>
                  <a:pt x="1117852" y="2308751"/>
                </a:lnTo>
                <a:lnTo>
                  <a:pt x="1118781" y="2307047"/>
                </a:lnTo>
                <a:cubicBezTo>
                  <a:pt x="1120021" y="2307202"/>
                  <a:pt x="1121879" y="2306738"/>
                  <a:pt x="1123737" y="2307512"/>
                </a:cubicBezTo>
                <a:cubicBezTo>
                  <a:pt x="1126009" y="2311230"/>
                  <a:pt x="1125287" y="2314173"/>
                  <a:pt x="1122602" y="2316342"/>
                </a:cubicBezTo>
                <a:lnTo>
                  <a:pt x="1121776" y="2315877"/>
                </a:lnTo>
                <a:lnTo>
                  <a:pt x="1121569" y="2316961"/>
                </a:lnTo>
                <a:cubicBezTo>
                  <a:pt x="1121363" y="2317891"/>
                  <a:pt x="1120950" y="2318820"/>
                  <a:pt x="1120021" y="2319749"/>
                </a:cubicBezTo>
                <a:cubicBezTo>
                  <a:pt x="1117336" y="2322382"/>
                  <a:pt x="1111140" y="2324241"/>
                  <a:pt x="1108662" y="2321918"/>
                </a:cubicBezTo>
                <a:cubicBezTo>
                  <a:pt x="1105358" y="2319439"/>
                  <a:pt x="1104635" y="2316961"/>
                  <a:pt x="1104738" y="2314483"/>
                </a:cubicBezTo>
                <a:cubicBezTo>
                  <a:pt x="1104738" y="2314483"/>
                  <a:pt x="1104635" y="2314483"/>
                  <a:pt x="1104635" y="2315257"/>
                </a:cubicBezTo>
                <a:cubicBezTo>
                  <a:pt x="1101022" y="2318820"/>
                  <a:pt x="1094723" y="2325016"/>
                  <a:pt x="1092244" y="2324241"/>
                </a:cubicBezTo>
                <a:cubicBezTo>
                  <a:pt x="1092244" y="2323466"/>
                  <a:pt x="1092244" y="2322537"/>
                  <a:pt x="1093174" y="2321608"/>
                </a:cubicBezTo>
                <a:cubicBezTo>
                  <a:pt x="1094103" y="2320833"/>
                  <a:pt x="1094000" y="2321763"/>
                  <a:pt x="1094103" y="2320833"/>
                </a:cubicBezTo>
                <a:cubicBezTo>
                  <a:pt x="1094929" y="2319904"/>
                  <a:pt x="1094103" y="2320059"/>
                  <a:pt x="1094103" y="2320059"/>
                </a:cubicBezTo>
                <a:cubicBezTo>
                  <a:pt x="1094103" y="2320059"/>
                  <a:pt x="1094929" y="2319904"/>
                  <a:pt x="1094929" y="2319904"/>
                </a:cubicBezTo>
                <a:cubicBezTo>
                  <a:pt x="1094929" y="2319904"/>
                  <a:pt x="1094929" y="2319904"/>
                  <a:pt x="1096788" y="2318200"/>
                </a:cubicBezTo>
                <a:cubicBezTo>
                  <a:pt x="1098646" y="2315567"/>
                  <a:pt x="1098646" y="2314638"/>
                  <a:pt x="1099576" y="2312934"/>
                </a:cubicBezTo>
                <a:cubicBezTo>
                  <a:pt x="1101434" y="2311230"/>
                  <a:pt x="1102261" y="2311230"/>
                  <a:pt x="1104945" y="2309371"/>
                </a:cubicBezTo>
                <a:cubicBezTo>
                  <a:pt x="1106700" y="2310146"/>
                  <a:pt x="1106597" y="2310146"/>
                  <a:pt x="1106597" y="2310920"/>
                </a:cubicBezTo>
                <a:cubicBezTo>
                  <a:pt x="1106597" y="2310146"/>
                  <a:pt x="1107527" y="2310146"/>
                  <a:pt x="1108353" y="2309216"/>
                </a:cubicBezTo>
                <a:cubicBezTo>
                  <a:pt x="1109798" y="2307047"/>
                  <a:pt x="1111554" y="2306428"/>
                  <a:pt x="1113515" y="2306583"/>
                </a:cubicBezTo>
                <a:close/>
                <a:moveTo>
                  <a:pt x="829767" y="2305809"/>
                </a:moveTo>
                <a:cubicBezTo>
                  <a:pt x="831523" y="2305499"/>
                  <a:pt x="834207" y="2304724"/>
                  <a:pt x="835962" y="2306273"/>
                </a:cubicBezTo>
                <a:cubicBezTo>
                  <a:pt x="836582" y="2306738"/>
                  <a:pt x="836995" y="2307667"/>
                  <a:pt x="837305" y="2308751"/>
                </a:cubicBezTo>
                <a:cubicBezTo>
                  <a:pt x="838131" y="2309216"/>
                  <a:pt x="837098" y="2312469"/>
                  <a:pt x="835962" y="2312624"/>
                </a:cubicBezTo>
                <a:cubicBezTo>
                  <a:pt x="833071" y="2313708"/>
                  <a:pt x="831729" y="2310920"/>
                  <a:pt x="829251" y="2308287"/>
                </a:cubicBezTo>
                <a:cubicBezTo>
                  <a:pt x="830387" y="2308132"/>
                  <a:pt x="830077" y="2306893"/>
                  <a:pt x="829767" y="2305809"/>
                </a:cubicBezTo>
                <a:close/>
                <a:moveTo>
                  <a:pt x="5035425" y="2305324"/>
                </a:moveTo>
                <a:cubicBezTo>
                  <a:pt x="5036492" y="2308170"/>
                  <a:pt x="5036706" y="2310304"/>
                  <a:pt x="5036066" y="2312011"/>
                </a:cubicBezTo>
                <a:lnTo>
                  <a:pt x="5032864" y="2315425"/>
                </a:lnTo>
                <a:lnTo>
                  <a:pt x="5033932" y="2315853"/>
                </a:lnTo>
                <a:cubicBezTo>
                  <a:pt x="5036919" y="2317133"/>
                  <a:pt x="5039907" y="2318413"/>
                  <a:pt x="5043322" y="2320690"/>
                </a:cubicBezTo>
                <a:cubicBezTo>
                  <a:pt x="5043322" y="2321827"/>
                  <a:pt x="5042042" y="2321827"/>
                  <a:pt x="5042042" y="2322966"/>
                </a:cubicBezTo>
                <a:cubicBezTo>
                  <a:pt x="5041401" y="2323535"/>
                  <a:pt x="5040334" y="2323535"/>
                  <a:pt x="5038840" y="2323392"/>
                </a:cubicBezTo>
                <a:cubicBezTo>
                  <a:pt x="5034572" y="2322682"/>
                  <a:pt x="5028169" y="2319694"/>
                  <a:pt x="5028169" y="2318840"/>
                </a:cubicBezTo>
                <a:cubicBezTo>
                  <a:pt x="5026889" y="2318698"/>
                  <a:pt x="5027102" y="2317417"/>
                  <a:pt x="5025821" y="2317275"/>
                </a:cubicBezTo>
                <a:cubicBezTo>
                  <a:pt x="5025821" y="2317275"/>
                  <a:pt x="5024754" y="2317133"/>
                  <a:pt x="5023688" y="2315710"/>
                </a:cubicBezTo>
                <a:cubicBezTo>
                  <a:pt x="5022407" y="2314430"/>
                  <a:pt x="5021340" y="2313007"/>
                  <a:pt x="5022620" y="2310731"/>
                </a:cubicBezTo>
                <a:lnTo>
                  <a:pt x="5030517" y="2314288"/>
                </a:lnTo>
                <a:lnTo>
                  <a:pt x="5028596" y="2311726"/>
                </a:lnTo>
                <a:cubicBezTo>
                  <a:pt x="5027742" y="2309735"/>
                  <a:pt x="5027529" y="2307601"/>
                  <a:pt x="5028383" y="2306036"/>
                </a:cubicBezTo>
                <a:cubicBezTo>
                  <a:pt x="5032011" y="2304471"/>
                  <a:pt x="5033291" y="2306748"/>
                  <a:pt x="5035425" y="2305324"/>
                </a:cubicBezTo>
                <a:close/>
                <a:moveTo>
                  <a:pt x="724033" y="2305189"/>
                </a:moveTo>
                <a:cubicBezTo>
                  <a:pt x="725788" y="2304569"/>
                  <a:pt x="726718" y="2304569"/>
                  <a:pt x="727543" y="2305499"/>
                </a:cubicBezTo>
                <a:cubicBezTo>
                  <a:pt x="728473" y="2305499"/>
                  <a:pt x="728369" y="2306428"/>
                  <a:pt x="729299" y="2307358"/>
                </a:cubicBezTo>
                <a:cubicBezTo>
                  <a:pt x="729299" y="2308132"/>
                  <a:pt x="728369" y="2308906"/>
                  <a:pt x="728369" y="2308906"/>
                </a:cubicBezTo>
                <a:cubicBezTo>
                  <a:pt x="727440" y="2309681"/>
                  <a:pt x="727543" y="2309681"/>
                  <a:pt x="728369" y="2310610"/>
                </a:cubicBezTo>
                <a:cubicBezTo>
                  <a:pt x="728369" y="2310610"/>
                  <a:pt x="727440" y="2310455"/>
                  <a:pt x="727440" y="2310455"/>
                </a:cubicBezTo>
                <a:cubicBezTo>
                  <a:pt x="727440" y="2309681"/>
                  <a:pt x="727440" y="2310455"/>
                  <a:pt x="726511" y="2311230"/>
                </a:cubicBezTo>
                <a:cubicBezTo>
                  <a:pt x="724859" y="2310146"/>
                  <a:pt x="723929" y="2310146"/>
                  <a:pt x="723103" y="2309216"/>
                </a:cubicBezTo>
                <a:cubicBezTo>
                  <a:pt x="722691" y="2308751"/>
                  <a:pt x="722278" y="2308132"/>
                  <a:pt x="722071" y="2307358"/>
                </a:cubicBezTo>
                <a:cubicBezTo>
                  <a:pt x="721864" y="2306738"/>
                  <a:pt x="721864" y="2306119"/>
                  <a:pt x="722278" y="2305809"/>
                </a:cubicBezTo>
                <a:cubicBezTo>
                  <a:pt x="723207" y="2305963"/>
                  <a:pt x="723207" y="2305034"/>
                  <a:pt x="724033" y="2305189"/>
                </a:cubicBezTo>
                <a:close/>
                <a:moveTo>
                  <a:pt x="5690624" y="2304755"/>
                </a:moveTo>
                <a:lnTo>
                  <a:pt x="5699801" y="2314572"/>
                </a:lnTo>
                <a:lnTo>
                  <a:pt x="5700655" y="2314572"/>
                </a:lnTo>
                <a:cubicBezTo>
                  <a:pt x="5708765" y="2316422"/>
                  <a:pt x="5708125" y="2332925"/>
                  <a:pt x="5710686" y="2341887"/>
                </a:cubicBezTo>
                <a:cubicBezTo>
                  <a:pt x="5707271" y="2344164"/>
                  <a:pt x="5704923" y="2345444"/>
                  <a:pt x="5702362" y="2346156"/>
                </a:cubicBezTo>
                <a:lnTo>
                  <a:pt x="5699374" y="2346441"/>
                </a:lnTo>
                <a:lnTo>
                  <a:pt x="5696173" y="2354407"/>
                </a:lnTo>
                <a:lnTo>
                  <a:pt x="5693826" y="2346867"/>
                </a:lnTo>
                <a:lnTo>
                  <a:pt x="5693185" y="2347009"/>
                </a:lnTo>
                <a:cubicBezTo>
                  <a:pt x="5689984" y="2342172"/>
                  <a:pt x="5688490" y="2337335"/>
                  <a:pt x="5688276" y="2332640"/>
                </a:cubicBezTo>
                <a:lnTo>
                  <a:pt x="5688490" y="2328088"/>
                </a:lnTo>
                <a:lnTo>
                  <a:pt x="5687850" y="2318555"/>
                </a:lnTo>
                <a:cubicBezTo>
                  <a:pt x="5688063" y="2314288"/>
                  <a:pt x="5688917" y="2309593"/>
                  <a:pt x="5690624" y="2304755"/>
                </a:cubicBezTo>
                <a:close/>
                <a:moveTo>
                  <a:pt x="646384" y="2304414"/>
                </a:moveTo>
                <a:cubicBezTo>
                  <a:pt x="648759" y="2305344"/>
                  <a:pt x="650308" y="2306583"/>
                  <a:pt x="652580" y="2307512"/>
                </a:cubicBezTo>
                <a:cubicBezTo>
                  <a:pt x="652580" y="2311230"/>
                  <a:pt x="649482" y="2310610"/>
                  <a:pt x="646384" y="2309990"/>
                </a:cubicBezTo>
                <a:cubicBezTo>
                  <a:pt x="646384" y="2309061"/>
                  <a:pt x="645971" y="2308287"/>
                  <a:pt x="645764" y="2307358"/>
                </a:cubicBezTo>
                <a:cubicBezTo>
                  <a:pt x="645558" y="2306583"/>
                  <a:pt x="645661" y="2305654"/>
                  <a:pt x="646384" y="2304414"/>
                </a:cubicBezTo>
                <a:close/>
                <a:moveTo>
                  <a:pt x="5538670" y="2304187"/>
                </a:moveTo>
                <a:cubicBezTo>
                  <a:pt x="5541230" y="2303759"/>
                  <a:pt x="5543791" y="2306605"/>
                  <a:pt x="5543578" y="2309024"/>
                </a:cubicBezTo>
                <a:cubicBezTo>
                  <a:pt x="5543365" y="2310019"/>
                  <a:pt x="5542724" y="2311158"/>
                  <a:pt x="5541230" y="2311726"/>
                </a:cubicBezTo>
                <a:cubicBezTo>
                  <a:pt x="5539096" y="2310019"/>
                  <a:pt x="5538029" y="2308454"/>
                  <a:pt x="5536108" y="2305609"/>
                </a:cubicBezTo>
                <a:cubicBezTo>
                  <a:pt x="5536962" y="2304613"/>
                  <a:pt x="5537815" y="2304187"/>
                  <a:pt x="5538670" y="2304187"/>
                </a:cubicBezTo>
                <a:close/>
                <a:moveTo>
                  <a:pt x="6183197" y="2302195"/>
                </a:moveTo>
                <a:cubicBezTo>
                  <a:pt x="6181703" y="2302479"/>
                  <a:pt x="6180636" y="2303049"/>
                  <a:pt x="6179569" y="2304187"/>
                </a:cubicBezTo>
                <a:lnTo>
                  <a:pt x="6177008" y="2307174"/>
                </a:lnTo>
                <a:lnTo>
                  <a:pt x="6182984" y="2304898"/>
                </a:lnTo>
                <a:lnTo>
                  <a:pt x="6190027" y="2302906"/>
                </a:lnTo>
                <a:lnTo>
                  <a:pt x="6187679" y="2302195"/>
                </a:lnTo>
                <a:cubicBezTo>
                  <a:pt x="6185971" y="2301910"/>
                  <a:pt x="6184478" y="2301910"/>
                  <a:pt x="6183197" y="2302195"/>
                </a:cubicBezTo>
                <a:close/>
                <a:moveTo>
                  <a:pt x="901840" y="2302091"/>
                </a:moveTo>
                <a:cubicBezTo>
                  <a:pt x="902976" y="2302710"/>
                  <a:pt x="903699" y="2303795"/>
                  <a:pt x="903595" y="2305499"/>
                </a:cubicBezTo>
                <a:cubicBezTo>
                  <a:pt x="900394" y="2309990"/>
                  <a:pt x="896574" y="2306738"/>
                  <a:pt x="890998" y="2307047"/>
                </a:cubicBezTo>
                <a:cubicBezTo>
                  <a:pt x="891618" y="2302556"/>
                  <a:pt x="898536" y="2300232"/>
                  <a:pt x="901840" y="2302091"/>
                </a:cubicBezTo>
                <a:close/>
                <a:moveTo>
                  <a:pt x="5466961" y="2301057"/>
                </a:moveTo>
                <a:cubicBezTo>
                  <a:pt x="5478698" y="2305182"/>
                  <a:pt x="5484034" y="2320832"/>
                  <a:pt x="5484460" y="2329226"/>
                </a:cubicBezTo>
                <a:cubicBezTo>
                  <a:pt x="5472722" y="2325100"/>
                  <a:pt x="5465039" y="2309308"/>
                  <a:pt x="5466961" y="2301057"/>
                </a:cubicBezTo>
                <a:close/>
                <a:moveTo>
                  <a:pt x="1024612" y="2300852"/>
                </a:moveTo>
                <a:cubicBezTo>
                  <a:pt x="1026987" y="2301626"/>
                  <a:pt x="1027916" y="2303175"/>
                  <a:pt x="1027710" y="2304259"/>
                </a:cubicBezTo>
                <a:lnTo>
                  <a:pt x="1025851" y="2309681"/>
                </a:lnTo>
                <a:lnTo>
                  <a:pt x="1026264" y="2310146"/>
                </a:lnTo>
                <a:cubicBezTo>
                  <a:pt x="1026780" y="2312934"/>
                  <a:pt x="1022857" y="2315567"/>
                  <a:pt x="1019655" y="2315722"/>
                </a:cubicBezTo>
                <a:lnTo>
                  <a:pt x="1017487" y="2315257"/>
                </a:lnTo>
                <a:lnTo>
                  <a:pt x="1017281" y="2315412"/>
                </a:lnTo>
                <a:cubicBezTo>
                  <a:pt x="1014596" y="2314638"/>
                  <a:pt x="1013873" y="2314328"/>
                  <a:pt x="1014080" y="2311694"/>
                </a:cubicBezTo>
                <a:cubicBezTo>
                  <a:pt x="1014183" y="2310765"/>
                  <a:pt x="1014389" y="2309681"/>
                  <a:pt x="1014596" y="2308132"/>
                </a:cubicBezTo>
                <a:cubicBezTo>
                  <a:pt x="1014802" y="2306893"/>
                  <a:pt x="1015422" y="2305963"/>
                  <a:pt x="1016248" y="2305034"/>
                </a:cubicBezTo>
                <a:cubicBezTo>
                  <a:pt x="1017074" y="2304259"/>
                  <a:pt x="1018210" y="2303795"/>
                  <a:pt x="1019552" y="2303485"/>
                </a:cubicBezTo>
                <a:cubicBezTo>
                  <a:pt x="1020585" y="2302091"/>
                  <a:pt x="1022753" y="2300852"/>
                  <a:pt x="1024612" y="2300852"/>
                </a:cubicBezTo>
                <a:close/>
                <a:moveTo>
                  <a:pt x="5254394" y="2299492"/>
                </a:moveTo>
                <a:cubicBezTo>
                  <a:pt x="5255034" y="2299776"/>
                  <a:pt x="5255675" y="2300345"/>
                  <a:pt x="5255888" y="2301057"/>
                </a:cubicBezTo>
                <a:cubicBezTo>
                  <a:pt x="5256742" y="2302479"/>
                  <a:pt x="5256955" y="2304471"/>
                  <a:pt x="5257169" y="2306605"/>
                </a:cubicBezTo>
                <a:cubicBezTo>
                  <a:pt x="5254607" y="2307316"/>
                  <a:pt x="5253541" y="2309877"/>
                  <a:pt x="5249699" y="2308881"/>
                </a:cubicBezTo>
                <a:cubicBezTo>
                  <a:pt x="5250126" y="2305467"/>
                  <a:pt x="5251193" y="2302906"/>
                  <a:pt x="5251406" y="2299634"/>
                </a:cubicBezTo>
                <a:cubicBezTo>
                  <a:pt x="5252687" y="2299207"/>
                  <a:pt x="5253754" y="2299207"/>
                  <a:pt x="5254394" y="2299492"/>
                </a:cubicBezTo>
                <a:close/>
                <a:moveTo>
                  <a:pt x="905557" y="2298838"/>
                </a:moveTo>
                <a:cubicBezTo>
                  <a:pt x="909481" y="2297444"/>
                  <a:pt x="916812" y="2300852"/>
                  <a:pt x="914850" y="2306273"/>
                </a:cubicBezTo>
                <a:cubicBezTo>
                  <a:pt x="912889" y="2307977"/>
                  <a:pt x="910927" y="2309681"/>
                  <a:pt x="906590" y="2308597"/>
                </a:cubicBezTo>
                <a:cubicBezTo>
                  <a:pt x="905454" y="2307202"/>
                  <a:pt x="904834" y="2305809"/>
                  <a:pt x="904628" y="2304259"/>
                </a:cubicBezTo>
                <a:cubicBezTo>
                  <a:pt x="904422" y="2302710"/>
                  <a:pt x="904834" y="2301007"/>
                  <a:pt x="905557" y="2298838"/>
                </a:cubicBezTo>
                <a:close/>
                <a:moveTo>
                  <a:pt x="4906307" y="2297785"/>
                </a:moveTo>
                <a:cubicBezTo>
                  <a:pt x="4908441" y="2298922"/>
                  <a:pt x="4909508" y="2299492"/>
                  <a:pt x="4909508" y="2300772"/>
                </a:cubicBezTo>
                <a:cubicBezTo>
                  <a:pt x="4909508" y="2302195"/>
                  <a:pt x="4908654" y="2304329"/>
                  <a:pt x="4906733" y="2308739"/>
                </a:cubicBezTo>
                <a:cubicBezTo>
                  <a:pt x="4905880" y="2310304"/>
                  <a:pt x="4904812" y="2311585"/>
                  <a:pt x="4903319" y="2312580"/>
                </a:cubicBezTo>
                <a:cubicBezTo>
                  <a:pt x="4901825" y="2313576"/>
                  <a:pt x="4900331" y="2314145"/>
                  <a:pt x="4898624" y="2314288"/>
                </a:cubicBezTo>
                <a:cubicBezTo>
                  <a:pt x="4896703" y="2316137"/>
                  <a:pt x="4893288" y="2317275"/>
                  <a:pt x="4890727" y="2316990"/>
                </a:cubicBezTo>
                <a:cubicBezTo>
                  <a:pt x="4887953" y="2315568"/>
                  <a:pt x="4887312" y="2313434"/>
                  <a:pt x="4888166" y="2311869"/>
                </a:cubicBezTo>
                <a:cubicBezTo>
                  <a:pt x="4893288" y="2298922"/>
                  <a:pt x="4904386" y="2299776"/>
                  <a:pt x="4906307" y="2297785"/>
                </a:cubicBezTo>
                <a:close/>
                <a:moveTo>
                  <a:pt x="5297932" y="2297500"/>
                </a:moveTo>
                <a:cubicBezTo>
                  <a:pt x="5300493" y="2299207"/>
                  <a:pt x="5302627" y="2297358"/>
                  <a:pt x="5305401" y="2299065"/>
                </a:cubicBezTo>
                <a:cubicBezTo>
                  <a:pt x="5303481" y="2302052"/>
                  <a:pt x="5302841" y="2304613"/>
                  <a:pt x="5301773" y="2306036"/>
                </a:cubicBezTo>
                <a:cubicBezTo>
                  <a:pt x="5296865" y="2305182"/>
                  <a:pt x="5295158" y="2302052"/>
                  <a:pt x="5297932" y="2297500"/>
                </a:cubicBezTo>
                <a:close/>
                <a:moveTo>
                  <a:pt x="1155954" y="2294501"/>
                </a:moveTo>
                <a:lnTo>
                  <a:pt x="1156986" y="2297599"/>
                </a:lnTo>
                <a:lnTo>
                  <a:pt x="1160806" y="2298219"/>
                </a:lnTo>
                <a:cubicBezTo>
                  <a:pt x="1153682" y="2305654"/>
                  <a:pt x="1155231" y="2318045"/>
                  <a:pt x="1147073" y="2321608"/>
                </a:cubicBezTo>
                <a:cubicBezTo>
                  <a:pt x="1147693" y="2318356"/>
                  <a:pt x="1147487" y="2314328"/>
                  <a:pt x="1147487" y="2310610"/>
                </a:cubicBezTo>
                <a:cubicBezTo>
                  <a:pt x="1147487" y="2306738"/>
                  <a:pt x="1147693" y="2303175"/>
                  <a:pt x="1149138" y="2300542"/>
                </a:cubicBezTo>
                <a:lnTo>
                  <a:pt x="1151410" y="2298219"/>
                </a:lnTo>
                <a:lnTo>
                  <a:pt x="1150894" y="2297754"/>
                </a:lnTo>
                <a:cubicBezTo>
                  <a:pt x="1153372" y="2296980"/>
                  <a:pt x="1153579" y="2295121"/>
                  <a:pt x="1155954" y="2294501"/>
                </a:cubicBezTo>
                <a:close/>
                <a:moveTo>
                  <a:pt x="5281285" y="2294085"/>
                </a:moveTo>
                <a:cubicBezTo>
                  <a:pt x="5283206" y="2293943"/>
                  <a:pt x="5284913" y="2294085"/>
                  <a:pt x="5286407" y="2294654"/>
                </a:cubicBezTo>
                <a:cubicBezTo>
                  <a:pt x="5289182" y="2295650"/>
                  <a:pt x="5291529" y="2298069"/>
                  <a:pt x="5292810" y="2302764"/>
                </a:cubicBezTo>
                <a:cubicBezTo>
                  <a:pt x="5290035" y="2306890"/>
                  <a:pt x="5285554" y="2306890"/>
                  <a:pt x="5281712" y="2305040"/>
                </a:cubicBezTo>
                <a:cubicBezTo>
                  <a:pt x="5278084" y="2303049"/>
                  <a:pt x="5275096" y="2299207"/>
                  <a:pt x="5275096" y="2295223"/>
                </a:cubicBezTo>
                <a:cubicBezTo>
                  <a:pt x="5277444" y="2294654"/>
                  <a:pt x="5279364" y="2294228"/>
                  <a:pt x="5281285" y="2294085"/>
                </a:cubicBezTo>
                <a:close/>
                <a:moveTo>
                  <a:pt x="4741333" y="2293659"/>
                </a:moveTo>
                <a:cubicBezTo>
                  <a:pt x="4742613" y="2294939"/>
                  <a:pt x="4743467" y="2296362"/>
                  <a:pt x="4743894" y="2297500"/>
                </a:cubicBezTo>
                <a:cubicBezTo>
                  <a:pt x="4745175" y="2301341"/>
                  <a:pt x="4742827" y="2304755"/>
                  <a:pt x="4737918" y="2307886"/>
                </a:cubicBezTo>
                <a:cubicBezTo>
                  <a:pt x="4735784" y="2306605"/>
                  <a:pt x="4733437" y="2306321"/>
                  <a:pt x="4730235" y="2304898"/>
                </a:cubicBezTo>
                <a:cubicBezTo>
                  <a:pt x="4730876" y="2301199"/>
                  <a:pt x="4735357" y="2294370"/>
                  <a:pt x="4741333" y="2293659"/>
                </a:cubicBezTo>
                <a:close/>
                <a:moveTo>
                  <a:pt x="1036280" y="2291868"/>
                </a:moveTo>
                <a:cubicBezTo>
                  <a:pt x="1036280" y="2291868"/>
                  <a:pt x="1036280" y="2291868"/>
                  <a:pt x="1036693" y="2292487"/>
                </a:cubicBezTo>
                <a:cubicBezTo>
                  <a:pt x="1036693" y="2292487"/>
                  <a:pt x="1035970" y="2292952"/>
                  <a:pt x="1034937" y="2292642"/>
                </a:cubicBezTo>
                <a:cubicBezTo>
                  <a:pt x="1034937" y="2292642"/>
                  <a:pt x="1034937" y="2292487"/>
                  <a:pt x="1035144" y="2292178"/>
                </a:cubicBezTo>
                <a:cubicBezTo>
                  <a:pt x="1035350" y="2292023"/>
                  <a:pt x="1035763" y="2291713"/>
                  <a:pt x="1036280" y="2291868"/>
                </a:cubicBezTo>
                <a:close/>
                <a:moveTo>
                  <a:pt x="1044333" y="2290319"/>
                </a:moveTo>
                <a:cubicBezTo>
                  <a:pt x="1045986" y="2291868"/>
                  <a:pt x="1047638" y="2293417"/>
                  <a:pt x="1045779" y="2295121"/>
                </a:cubicBezTo>
                <a:cubicBezTo>
                  <a:pt x="1044850" y="2296050"/>
                  <a:pt x="1044024" y="2296980"/>
                  <a:pt x="1042268" y="2296980"/>
                </a:cubicBezTo>
                <a:cubicBezTo>
                  <a:pt x="1040617" y="2295430"/>
                  <a:pt x="1041649" y="2292797"/>
                  <a:pt x="1040823" y="2292023"/>
                </a:cubicBezTo>
                <a:cubicBezTo>
                  <a:pt x="1041649" y="2292023"/>
                  <a:pt x="1043404" y="2292023"/>
                  <a:pt x="1044333" y="2290319"/>
                </a:cubicBezTo>
                <a:close/>
                <a:moveTo>
                  <a:pt x="809632" y="2289390"/>
                </a:moveTo>
                <a:cubicBezTo>
                  <a:pt x="811904" y="2287841"/>
                  <a:pt x="817170" y="2287995"/>
                  <a:pt x="816757" y="2291248"/>
                </a:cubicBezTo>
                <a:lnTo>
                  <a:pt x="816344" y="2291868"/>
                </a:lnTo>
                <a:lnTo>
                  <a:pt x="816551" y="2292333"/>
                </a:lnTo>
                <a:cubicBezTo>
                  <a:pt x="816654" y="2293262"/>
                  <a:pt x="816447" y="2294346"/>
                  <a:pt x="816551" y="2295121"/>
                </a:cubicBezTo>
                <a:cubicBezTo>
                  <a:pt x="818306" y="2295740"/>
                  <a:pt x="815001" y="2298683"/>
                  <a:pt x="816757" y="2299303"/>
                </a:cubicBezTo>
                <a:cubicBezTo>
                  <a:pt x="814279" y="2302091"/>
                  <a:pt x="816241" y="2304724"/>
                  <a:pt x="815621" y="2308597"/>
                </a:cubicBezTo>
                <a:lnTo>
                  <a:pt x="815311" y="2309371"/>
                </a:lnTo>
                <a:lnTo>
                  <a:pt x="816551" y="2309990"/>
                </a:lnTo>
                <a:cubicBezTo>
                  <a:pt x="817067" y="2310765"/>
                  <a:pt x="817583" y="2311385"/>
                  <a:pt x="818409" y="2310920"/>
                </a:cubicBezTo>
                <a:cubicBezTo>
                  <a:pt x="819648" y="2315257"/>
                  <a:pt x="825637" y="2313244"/>
                  <a:pt x="828734" y="2319439"/>
                </a:cubicBezTo>
                <a:cubicBezTo>
                  <a:pt x="826463" y="2319130"/>
                  <a:pt x="824604" y="2318665"/>
                  <a:pt x="822952" y="2317891"/>
                </a:cubicBezTo>
                <a:cubicBezTo>
                  <a:pt x="817996" y="2315877"/>
                  <a:pt x="815001" y="2312624"/>
                  <a:pt x="810975" y="2312314"/>
                </a:cubicBezTo>
                <a:cubicBezTo>
                  <a:pt x="810975" y="2312314"/>
                  <a:pt x="810975" y="2312159"/>
                  <a:pt x="810355" y="2309990"/>
                </a:cubicBezTo>
                <a:cubicBezTo>
                  <a:pt x="809529" y="2309681"/>
                  <a:pt x="809632" y="2309681"/>
                  <a:pt x="809632" y="2309681"/>
                </a:cubicBezTo>
                <a:cubicBezTo>
                  <a:pt x="809219" y="2309526"/>
                  <a:pt x="809219" y="2309061"/>
                  <a:pt x="809323" y="2308597"/>
                </a:cubicBezTo>
                <a:cubicBezTo>
                  <a:pt x="809426" y="2308132"/>
                  <a:pt x="809736" y="2307823"/>
                  <a:pt x="809736" y="2307823"/>
                </a:cubicBezTo>
                <a:cubicBezTo>
                  <a:pt x="810561" y="2307202"/>
                  <a:pt x="811388" y="2307358"/>
                  <a:pt x="812214" y="2307823"/>
                </a:cubicBezTo>
                <a:lnTo>
                  <a:pt x="812833" y="2308132"/>
                </a:lnTo>
                <a:lnTo>
                  <a:pt x="812730" y="2307358"/>
                </a:lnTo>
                <a:cubicBezTo>
                  <a:pt x="812420" y="2304724"/>
                  <a:pt x="812627" y="2302246"/>
                  <a:pt x="812730" y="2300077"/>
                </a:cubicBezTo>
                <a:lnTo>
                  <a:pt x="812007" y="2294501"/>
                </a:lnTo>
                <a:lnTo>
                  <a:pt x="810458" y="2293726"/>
                </a:lnTo>
                <a:cubicBezTo>
                  <a:pt x="809529" y="2293107"/>
                  <a:pt x="809013" y="2292487"/>
                  <a:pt x="808806" y="2291868"/>
                </a:cubicBezTo>
                <a:cubicBezTo>
                  <a:pt x="808497" y="2291403"/>
                  <a:pt x="808497" y="2290938"/>
                  <a:pt x="808600" y="2290474"/>
                </a:cubicBezTo>
                <a:cubicBezTo>
                  <a:pt x="808806" y="2290009"/>
                  <a:pt x="809116" y="2289699"/>
                  <a:pt x="809632" y="2289390"/>
                </a:cubicBezTo>
                <a:close/>
                <a:moveTo>
                  <a:pt x="839886" y="2289079"/>
                </a:moveTo>
                <a:cubicBezTo>
                  <a:pt x="843294" y="2287376"/>
                  <a:pt x="848869" y="2293572"/>
                  <a:pt x="852896" y="2296050"/>
                </a:cubicBezTo>
                <a:cubicBezTo>
                  <a:pt x="852277" y="2299767"/>
                  <a:pt x="851658" y="2300697"/>
                  <a:pt x="848869" y="2303020"/>
                </a:cubicBezTo>
                <a:cubicBezTo>
                  <a:pt x="843191" y="2301471"/>
                  <a:pt x="840299" y="2297599"/>
                  <a:pt x="837408" y="2293726"/>
                </a:cubicBezTo>
                <a:cubicBezTo>
                  <a:pt x="837925" y="2290938"/>
                  <a:pt x="838751" y="2289545"/>
                  <a:pt x="839886" y="2289079"/>
                </a:cubicBezTo>
                <a:close/>
                <a:moveTo>
                  <a:pt x="5055701" y="2288821"/>
                </a:moveTo>
                <a:cubicBezTo>
                  <a:pt x="5056767" y="2288964"/>
                  <a:pt x="5057834" y="2290386"/>
                  <a:pt x="5057834" y="2290386"/>
                </a:cubicBezTo>
                <a:cubicBezTo>
                  <a:pt x="5059115" y="2291666"/>
                  <a:pt x="5059115" y="2291666"/>
                  <a:pt x="5060182" y="2290671"/>
                </a:cubicBezTo>
                <a:cubicBezTo>
                  <a:pt x="5060182" y="2290671"/>
                  <a:pt x="5060182" y="2291809"/>
                  <a:pt x="5060182" y="2291809"/>
                </a:cubicBezTo>
                <a:cubicBezTo>
                  <a:pt x="5059115" y="2291666"/>
                  <a:pt x="5060182" y="2291809"/>
                  <a:pt x="5061249" y="2293089"/>
                </a:cubicBezTo>
                <a:cubicBezTo>
                  <a:pt x="5060182" y="2295366"/>
                  <a:pt x="5060182" y="2296504"/>
                  <a:pt x="5058902" y="2297642"/>
                </a:cubicBezTo>
                <a:cubicBezTo>
                  <a:pt x="5058261" y="2298212"/>
                  <a:pt x="5057408" y="2298638"/>
                  <a:pt x="5056554" y="2298922"/>
                </a:cubicBezTo>
                <a:lnTo>
                  <a:pt x="5055914" y="2298638"/>
                </a:lnTo>
                <a:lnTo>
                  <a:pt x="5055701" y="2298922"/>
                </a:lnTo>
                <a:cubicBezTo>
                  <a:pt x="5054633" y="2299492"/>
                  <a:pt x="5053566" y="2299918"/>
                  <a:pt x="5052926" y="2299492"/>
                </a:cubicBezTo>
                <a:cubicBezTo>
                  <a:pt x="5050365" y="2299207"/>
                  <a:pt x="5052713" y="2294654"/>
                  <a:pt x="5052499" y="2293516"/>
                </a:cubicBezTo>
                <a:lnTo>
                  <a:pt x="5053353" y="2292236"/>
                </a:lnTo>
                <a:lnTo>
                  <a:pt x="5053353" y="2290956"/>
                </a:lnTo>
                <a:cubicBezTo>
                  <a:pt x="5053353" y="2289818"/>
                  <a:pt x="5054420" y="2289959"/>
                  <a:pt x="5055701" y="2288821"/>
                </a:cubicBezTo>
                <a:close/>
                <a:moveTo>
                  <a:pt x="5421715" y="2287256"/>
                </a:moveTo>
                <a:cubicBezTo>
                  <a:pt x="5417020" y="2294797"/>
                  <a:pt x="5417234" y="2302337"/>
                  <a:pt x="5417020" y="2309877"/>
                </a:cubicBezTo>
                <a:lnTo>
                  <a:pt x="5416807" y="2310446"/>
                </a:lnTo>
                <a:lnTo>
                  <a:pt x="5420008" y="2315710"/>
                </a:lnTo>
                <a:cubicBezTo>
                  <a:pt x="5420862" y="2317702"/>
                  <a:pt x="5420862" y="2319552"/>
                  <a:pt x="5420435" y="2321259"/>
                </a:cubicBezTo>
                <a:lnTo>
                  <a:pt x="5420222" y="2321685"/>
                </a:lnTo>
                <a:lnTo>
                  <a:pt x="5421075" y="2321401"/>
                </a:lnTo>
                <a:cubicBezTo>
                  <a:pt x="5421929" y="2321117"/>
                  <a:pt x="5422782" y="2320690"/>
                  <a:pt x="5423636" y="2320974"/>
                </a:cubicBezTo>
                <a:cubicBezTo>
                  <a:pt x="5423636" y="2320974"/>
                  <a:pt x="5425984" y="2323677"/>
                  <a:pt x="5425984" y="2323677"/>
                </a:cubicBezTo>
                <a:cubicBezTo>
                  <a:pt x="5425343" y="2325385"/>
                  <a:pt x="5425343" y="2325242"/>
                  <a:pt x="5424917" y="2324246"/>
                </a:cubicBezTo>
                <a:cubicBezTo>
                  <a:pt x="5423209" y="2326380"/>
                  <a:pt x="5421929" y="2326949"/>
                  <a:pt x="5420862" y="2327519"/>
                </a:cubicBezTo>
                <a:lnTo>
                  <a:pt x="5419154" y="2323108"/>
                </a:lnTo>
                <a:lnTo>
                  <a:pt x="5416380" y="2327092"/>
                </a:lnTo>
                <a:lnTo>
                  <a:pt x="5411471" y="2328941"/>
                </a:lnTo>
                <a:lnTo>
                  <a:pt x="5409764" y="2332356"/>
                </a:lnTo>
                <a:lnTo>
                  <a:pt x="5407843" y="2329653"/>
                </a:lnTo>
                <a:lnTo>
                  <a:pt x="5400587" y="2328372"/>
                </a:lnTo>
                <a:cubicBezTo>
                  <a:pt x="5397812" y="2327234"/>
                  <a:pt x="5395251" y="2325242"/>
                  <a:pt x="5393544" y="2322254"/>
                </a:cubicBezTo>
                <a:cubicBezTo>
                  <a:pt x="5393544" y="2316849"/>
                  <a:pt x="5397385" y="2313149"/>
                  <a:pt x="5402080" y="2311016"/>
                </a:cubicBezTo>
                <a:lnTo>
                  <a:pt x="5402508" y="2310873"/>
                </a:lnTo>
                <a:lnTo>
                  <a:pt x="5402935" y="2309166"/>
                </a:lnTo>
                <a:cubicBezTo>
                  <a:pt x="5403361" y="2306890"/>
                  <a:pt x="5404642" y="2305751"/>
                  <a:pt x="5405922" y="2304755"/>
                </a:cubicBezTo>
                <a:lnTo>
                  <a:pt x="5408270" y="2302337"/>
                </a:lnTo>
                <a:lnTo>
                  <a:pt x="5411684" y="2293516"/>
                </a:lnTo>
                <a:cubicBezTo>
                  <a:pt x="5414246" y="2289959"/>
                  <a:pt x="5417660" y="2287541"/>
                  <a:pt x="5421715" y="2287256"/>
                </a:cubicBezTo>
                <a:close/>
                <a:moveTo>
                  <a:pt x="1073349" y="2287221"/>
                </a:moveTo>
                <a:cubicBezTo>
                  <a:pt x="1074897" y="2289235"/>
                  <a:pt x="1076446" y="2291248"/>
                  <a:pt x="1078099" y="2293107"/>
                </a:cubicBezTo>
                <a:cubicBezTo>
                  <a:pt x="1077169" y="2293417"/>
                  <a:pt x="1076446" y="2293881"/>
                  <a:pt x="1075827" y="2294501"/>
                </a:cubicBezTo>
                <a:lnTo>
                  <a:pt x="1075724" y="2294656"/>
                </a:lnTo>
                <a:lnTo>
                  <a:pt x="1081196" y="2304414"/>
                </a:lnTo>
                <a:cubicBezTo>
                  <a:pt x="1073039" y="2306428"/>
                  <a:pt x="1066740" y="2295740"/>
                  <a:pt x="1064572" y="2288460"/>
                </a:cubicBezTo>
                <a:lnTo>
                  <a:pt x="1069735" y="2290009"/>
                </a:lnTo>
                <a:lnTo>
                  <a:pt x="1070354" y="2288925"/>
                </a:lnTo>
                <a:cubicBezTo>
                  <a:pt x="1070870" y="2288460"/>
                  <a:pt x="1071490" y="2288305"/>
                  <a:pt x="1073349" y="2287221"/>
                </a:cubicBezTo>
                <a:close/>
                <a:moveTo>
                  <a:pt x="4996583" y="2285976"/>
                </a:moveTo>
                <a:cubicBezTo>
                  <a:pt x="4995729" y="2287541"/>
                  <a:pt x="4997223" y="2288252"/>
                  <a:pt x="4998504" y="2288964"/>
                </a:cubicBezTo>
                <a:cubicBezTo>
                  <a:pt x="4997223" y="2291240"/>
                  <a:pt x="4995729" y="2295081"/>
                  <a:pt x="4992741" y="2295650"/>
                </a:cubicBezTo>
                <a:cubicBezTo>
                  <a:pt x="4991675" y="2295793"/>
                  <a:pt x="4990607" y="2295650"/>
                  <a:pt x="4989113" y="2294939"/>
                </a:cubicBezTo>
                <a:cubicBezTo>
                  <a:pt x="4988046" y="2295223"/>
                  <a:pt x="4985912" y="2291098"/>
                  <a:pt x="4986552" y="2289675"/>
                </a:cubicBezTo>
                <a:cubicBezTo>
                  <a:pt x="4988046" y="2285407"/>
                  <a:pt x="4991888" y="2286545"/>
                  <a:pt x="4996583" y="2285976"/>
                </a:cubicBezTo>
                <a:close/>
                <a:moveTo>
                  <a:pt x="5016858" y="2285834"/>
                </a:moveTo>
                <a:cubicBezTo>
                  <a:pt x="5020059" y="2285264"/>
                  <a:pt x="5023261" y="2285264"/>
                  <a:pt x="5026462" y="2286118"/>
                </a:cubicBezTo>
                <a:cubicBezTo>
                  <a:pt x="5032438" y="2287541"/>
                  <a:pt x="5037133" y="2291666"/>
                  <a:pt x="5036279" y="2297500"/>
                </a:cubicBezTo>
                <a:cubicBezTo>
                  <a:pt x="5036066" y="2299207"/>
                  <a:pt x="5035425" y="2301057"/>
                  <a:pt x="5034145" y="2303049"/>
                </a:cubicBezTo>
                <a:cubicBezTo>
                  <a:pt x="5026035" y="2302337"/>
                  <a:pt x="5011736" y="2303902"/>
                  <a:pt x="5008962" y="2289959"/>
                </a:cubicBezTo>
                <a:cubicBezTo>
                  <a:pt x="5010882" y="2287826"/>
                  <a:pt x="5013870" y="2286545"/>
                  <a:pt x="5016858" y="2285834"/>
                </a:cubicBezTo>
                <a:close/>
                <a:moveTo>
                  <a:pt x="991570" y="2285052"/>
                </a:moveTo>
                <a:cubicBezTo>
                  <a:pt x="991570" y="2285052"/>
                  <a:pt x="992292" y="2285517"/>
                  <a:pt x="992292" y="2285517"/>
                </a:cubicBezTo>
                <a:cubicBezTo>
                  <a:pt x="992499" y="2285207"/>
                  <a:pt x="992499" y="2285207"/>
                  <a:pt x="992602" y="2285517"/>
                </a:cubicBezTo>
                <a:lnTo>
                  <a:pt x="992705" y="2285672"/>
                </a:lnTo>
                <a:lnTo>
                  <a:pt x="1000140" y="2285517"/>
                </a:lnTo>
                <a:cubicBezTo>
                  <a:pt x="1003237" y="2285517"/>
                  <a:pt x="1006232" y="2285672"/>
                  <a:pt x="1009020" y="2286757"/>
                </a:cubicBezTo>
                <a:cubicBezTo>
                  <a:pt x="1005406" y="2290009"/>
                  <a:pt x="998075" y="2292333"/>
                  <a:pt x="993841" y="2289854"/>
                </a:cubicBezTo>
                <a:lnTo>
                  <a:pt x="993119" y="2288925"/>
                </a:lnTo>
                <a:lnTo>
                  <a:pt x="991983" y="2288770"/>
                </a:lnTo>
                <a:cubicBezTo>
                  <a:pt x="991570" y="2288615"/>
                  <a:pt x="991054" y="2288305"/>
                  <a:pt x="989918" y="2287686"/>
                </a:cubicBezTo>
                <a:cubicBezTo>
                  <a:pt x="991054" y="2287531"/>
                  <a:pt x="991054" y="2287531"/>
                  <a:pt x="990744" y="2286447"/>
                </a:cubicBezTo>
                <a:cubicBezTo>
                  <a:pt x="990744" y="2286447"/>
                  <a:pt x="990744" y="2286291"/>
                  <a:pt x="990021" y="2285827"/>
                </a:cubicBezTo>
                <a:cubicBezTo>
                  <a:pt x="990434" y="2285207"/>
                  <a:pt x="991157" y="2285672"/>
                  <a:pt x="991570" y="2285052"/>
                </a:cubicBezTo>
                <a:close/>
                <a:moveTo>
                  <a:pt x="5481686" y="2282135"/>
                </a:moveTo>
                <a:cubicBezTo>
                  <a:pt x="5481686" y="2282135"/>
                  <a:pt x="5481900" y="2281992"/>
                  <a:pt x="5489796" y="2284127"/>
                </a:cubicBezTo>
                <a:cubicBezTo>
                  <a:pt x="5489369" y="2284838"/>
                  <a:pt x="5488943" y="2285123"/>
                  <a:pt x="5488089" y="2285123"/>
                </a:cubicBezTo>
                <a:cubicBezTo>
                  <a:pt x="5487448" y="2284980"/>
                  <a:pt x="5486808" y="2284696"/>
                  <a:pt x="5486168" y="2284269"/>
                </a:cubicBezTo>
                <a:cubicBezTo>
                  <a:pt x="5484674" y="2283557"/>
                  <a:pt x="5483180" y="2282846"/>
                  <a:pt x="5481686" y="2282135"/>
                </a:cubicBezTo>
                <a:close/>
                <a:moveTo>
                  <a:pt x="1083468" y="2282109"/>
                </a:moveTo>
                <a:cubicBezTo>
                  <a:pt x="1083777" y="2282264"/>
                  <a:pt x="1084397" y="2282419"/>
                  <a:pt x="1085326" y="2282574"/>
                </a:cubicBezTo>
                <a:cubicBezTo>
                  <a:pt x="1086462" y="2282884"/>
                  <a:pt x="1087185" y="2282574"/>
                  <a:pt x="1086772" y="2283658"/>
                </a:cubicBezTo>
                <a:cubicBezTo>
                  <a:pt x="1086359" y="2284743"/>
                  <a:pt x="1086359" y="2284743"/>
                  <a:pt x="1084087" y="2285672"/>
                </a:cubicBezTo>
                <a:cubicBezTo>
                  <a:pt x="1084500" y="2284588"/>
                  <a:pt x="1084500" y="2284588"/>
                  <a:pt x="1083364" y="2284123"/>
                </a:cubicBezTo>
                <a:cubicBezTo>
                  <a:pt x="1083364" y="2284123"/>
                  <a:pt x="1083364" y="2284123"/>
                  <a:pt x="1082538" y="2284433"/>
                </a:cubicBezTo>
                <a:cubicBezTo>
                  <a:pt x="1082229" y="2283658"/>
                  <a:pt x="1083055" y="2283348"/>
                  <a:pt x="1082642" y="2282574"/>
                </a:cubicBezTo>
                <a:cubicBezTo>
                  <a:pt x="1082642" y="2282574"/>
                  <a:pt x="1083468" y="2282419"/>
                  <a:pt x="1083468" y="2282419"/>
                </a:cubicBezTo>
                <a:cubicBezTo>
                  <a:pt x="1083261" y="2281955"/>
                  <a:pt x="1083158" y="2281955"/>
                  <a:pt x="1083468" y="2282109"/>
                </a:cubicBezTo>
                <a:close/>
                <a:moveTo>
                  <a:pt x="941077" y="2281839"/>
                </a:moveTo>
                <a:cubicBezTo>
                  <a:pt x="945259" y="2280948"/>
                  <a:pt x="949390" y="2281025"/>
                  <a:pt x="950784" y="2282109"/>
                </a:cubicBezTo>
                <a:cubicBezTo>
                  <a:pt x="948305" y="2284898"/>
                  <a:pt x="944898" y="2284588"/>
                  <a:pt x="941490" y="2287531"/>
                </a:cubicBezTo>
                <a:cubicBezTo>
                  <a:pt x="938806" y="2286291"/>
                  <a:pt x="934675" y="2289390"/>
                  <a:pt x="931061" y="2287376"/>
                </a:cubicBezTo>
                <a:cubicBezTo>
                  <a:pt x="932662" y="2284588"/>
                  <a:pt x="936896" y="2282729"/>
                  <a:pt x="941077" y="2281839"/>
                </a:cubicBezTo>
                <a:close/>
                <a:moveTo>
                  <a:pt x="708648" y="2281645"/>
                </a:moveTo>
                <a:cubicBezTo>
                  <a:pt x="709164" y="2281490"/>
                  <a:pt x="709784" y="2281490"/>
                  <a:pt x="710713" y="2281955"/>
                </a:cubicBezTo>
                <a:cubicBezTo>
                  <a:pt x="707925" y="2288460"/>
                  <a:pt x="707925" y="2291868"/>
                  <a:pt x="705137" y="2296669"/>
                </a:cubicBezTo>
                <a:cubicBezTo>
                  <a:pt x="704208" y="2296515"/>
                  <a:pt x="704311" y="2295740"/>
                  <a:pt x="703382" y="2295585"/>
                </a:cubicBezTo>
                <a:cubicBezTo>
                  <a:pt x="702969" y="2295121"/>
                  <a:pt x="702762" y="2294346"/>
                  <a:pt x="702865" y="2293262"/>
                </a:cubicBezTo>
                <a:cubicBezTo>
                  <a:pt x="702865" y="2290164"/>
                  <a:pt x="704621" y="2285672"/>
                  <a:pt x="705344" y="2285672"/>
                </a:cubicBezTo>
                <a:cubicBezTo>
                  <a:pt x="705344" y="2284898"/>
                  <a:pt x="706273" y="2284898"/>
                  <a:pt x="706273" y="2284123"/>
                </a:cubicBezTo>
                <a:cubicBezTo>
                  <a:pt x="706273" y="2284123"/>
                  <a:pt x="706273" y="2283348"/>
                  <a:pt x="707099" y="2282574"/>
                </a:cubicBezTo>
                <a:cubicBezTo>
                  <a:pt x="707615" y="2282109"/>
                  <a:pt x="708028" y="2281800"/>
                  <a:pt x="708648" y="2281645"/>
                </a:cubicBezTo>
                <a:close/>
                <a:moveTo>
                  <a:pt x="5135093" y="2280855"/>
                </a:moveTo>
                <a:cubicBezTo>
                  <a:pt x="5137013" y="2280285"/>
                  <a:pt x="5139148" y="2281282"/>
                  <a:pt x="5141922" y="2281992"/>
                </a:cubicBezTo>
                <a:cubicBezTo>
                  <a:pt x="5141709" y="2283273"/>
                  <a:pt x="5142135" y="2284696"/>
                  <a:pt x="5142349" y="2286118"/>
                </a:cubicBezTo>
                <a:lnTo>
                  <a:pt x="5142349" y="2287541"/>
                </a:lnTo>
                <a:lnTo>
                  <a:pt x="5149605" y="2286972"/>
                </a:lnTo>
                <a:lnTo>
                  <a:pt x="5149414" y="2289389"/>
                </a:lnTo>
                <a:lnTo>
                  <a:pt x="5149392" y="2289391"/>
                </a:lnTo>
                <a:lnTo>
                  <a:pt x="5149392" y="2289675"/>
                </a:lnTo>
                <a:lnTo>
                  <a:pt x="5149414" y="2289389"/>
                </a:lnTo>
                <a:lnTo>
                  <a:pt x="5162197" y="2288679"/>
                </a:lnTo>
                <a:cubicBezTo>
                  <a:pt x="5164758" y="2288821"/>
                  <a:pt x="5163691" y="2289391"/>
                  <a:pt x="5164971" y="2289959"/>
                </a:cubicBezTo>
                <a:cubicBezTo>
                  <a:pt x="5166465" y="2290671"/>
                  <a:pt x="5169026" y="2290956"/>
                  <a:pt x="5170094" y="2290386"/>
                </a:cubicBezTo>
                <a:cubicBezTo>
                  <a:pt x="5168173" y="2296219"/>
                  <a:pt x="5172227" y="2297073"/>
                  <a:pt x="5168813" y="2306036"/>
                </a:cubicBezTo>
                <a:cubicBezTo>
                  <a:pt x="5164971" y="2317702"/>
                  <a:pt x="5156435" y="2318698"/>
                  <a:pt x="5151099" y="2317133"/>
                </a:cubicBezTo>
                <a:cubicBezTo>
                  <a:pt x="5151739" y="2315995"/>
                  <a:pt x="5144269" y="2313718"/>
                  <a:pt x="5142562" y="2307174"/>
                </a:cubicBezTo>
                <a:cubicBezTo>
                  <a:pt x="5141922" y="2304898"/>
                  <a:pt x="5141922" y="2302337"/>
                  <a:pt x="5142989" y="2298922"/>
                </a:cubicBezTo>
                <a:lnTo>
                  <a:pt x="5145337" y="2295508"/>
                </a:lnTo>
                <a:lnTo>
                  <a:pt x="5136800" y="2299350"/>
                </a:lnTo>
                <a:cubicBezTo>
                  <a:pt x="5129330" y="2301057"/>
                  <a:pt x="5120580" y="2300630"/>
                  <a:pt x="5116525" y="2299350"/>
                </a:cubicBezTo>
                <a:lnTo>
                  <a:pt x="5130398" y="2291666"/>
                </a:lnTo>
                <a:lnTo>
                  <a:pt x="5129330" y="2289675"/>
                </a:lnTo>
                <a:cubicBezTo>
                  <a:pt x="5131251" y="2283842"/>
                  <a:pt x="5133172" y="2281565"/>
                  <a:pt x="5135093" y="2280855"/>
                </a:cubicBezTo>
                <a:close/>
                <a:moveTo>
                  <a:pt x="773183" y="2279631"/>
                </a:moveTo>
                <a:cubicBezTo>
                  <a:pt x="776590" y="2281180"/>
                  <a:pt x="774731" y="2283813"/>
                  <a:pt x="772976" y="2286291"/>
                </a:cubicBezTo>
                <a:cubicBezTo>
                  <a:pt x="771324" y="2285517"/>
                  <a:pt x="769465" y="2286447"/>
                  <a:pt x="767917" y="2283968"/>
                </a:cubicBezTo>
                <a:cubicBezTo>
                  <a:pt x="769672" y="2282264"/>
                  <a:pt x="771427" y="2281335"/>
                  <a:pt x="773183" y="2279631"/>
                </a:cubicBezTo>
                <a:close/>
                <a:moveTo>
                  <a:pt x="1049703" y="2277927"/>
                </a:moveTo>
                <a:cubicBezTo>
                  <a:pt x="1050219" y="2280560"/>
                  <a:pt x="1050426" y="2282264"/>
                  <a:pt x="1050219" y="2285362"/>
                </a:cubicBezTo>
                <a:cubicBezTo>
                  <a:pt x="1050219" y="2285362"/>
                  <a:pt x="1048980" y="2289854"/>
                  <a:pt x="1045883" y="2290009"/>
                </a:cubicBezTo>
                <a:cubicBezTo>
                  <a:pt x="1045160" y="2290629"/>
                  <a:pt x="1043404" y="2287841"/>
                  <a:pt x="1043714" y="2286757"/>
                </a:cubicBezTo>
                <a:cubicBezTo>
                  <a:pt x="1044333" y="2284433"/>
                  <a:pt x="1044643" y="2283194"/>
                  <a:pt x="1046089" y="2282264"/>
                </a:cubicBezTo>
                <a:cubicBezTo>
                  <a:pt x="1046399" y="2281025"/>
                  <a:pt x="1046708" y="2279941"/>
                  <a:pt x="1047225" y="2279166"/>
                </a:cubicBezTo>
                <a:cubicBezTo>
                  <a:pt x="1047741" y="2278237"/>
                  <a:pt x="1048464" y="2277772"/>
                  <a:pt x="1049703" y="2277927"/>
                </a:cubicBezTo>
                <a:close/>
                <a:moveTo>
                  <a:pt x="5581994" y="2277582"/>
                </a:moveTo>
                <a:cubicBezTo>
                  <a:pt x="5578366" y="2281282"/>
                  <a:pt x="5575164" y="2285264"/>
                  <a:pt x="5570896" y="2288537"/>
                </a:cubicBezTo>
                <a:cubicBezTo>
                  <a:pt x="5566840" y="2291666"/>
                  <a:pt x="5561932" y="2294085"/>
                  <a:pt x="5555316" y="2294797"/>
                </a:cubicBezTo>
                <a:cubicBezTo>
                  <a:pt x="5555316" y="2280427"/>
                  <a:pt x="5573030" y="2277155"/>
                  <a:pt x="5581994" y="2277582"/>
                </a:cubicBezTo>
                <a:close/>
                <a:moveTo>
                  <a:pt x="1123325" y="2275449"/>
                </a:moveTo>
                <a:cubicBezTo>
                  <a:pt x="1132824" y="2275914"/>
                  <a:pt x="1141188" y="2282574"/>
                  <a:pt x="1143357" y="2292487"/>
                </a:cubicBezTo>
                <a:cubicBezTo>
                  <a:pt x="1142324" y="2293107"/>
                  <a:pt x="1141291" y="2293881"/>
                  <a:pt x="1141911" y="2294811"/>
                </a:cubicBezTo>
                <a:cubicBezTo>
                  <a:pt x="1138710" y="2297444"/>
                  <a:pt x="1134786" y="2298838"/>
                  <a:pt x="1130862" y="2299303"/>
                </a:cubicBezTo>
                <a:lnTo>
                  <a:pt x="1124770" y="2298528"/>
                </a:lnTo>
                <a:lnTo>
                  <a:pt x="1125080" y="2302866"/>
                </a:lnTo>
                <a:cubicBezTo>
                  <a:pt x="1122705" y="2303485"/>
                  <a:pt x="1121363" y="2302246"/>
                  <a:pt x="1120950" y="2300697"/>
                </a:cubicBezTo>
                <a:lnTo>
                  <a:pt x="1121466" y="2298064"/>
                </a:lnTo>
                <a:lnTo>
                  <a:pt x="1119195" y="2297754"/>
                </a:lnTo>
                <a:cubicBezTo>
                  <a:pt x="1111863" y="2295121"/>
                  <a:pt x="1106081" y="2289390"/>
                  <a:pt x="1106081" y="2281645"/>
                </a:cubicBezTo>
                <a:cubicBezTo>
                  <a:pt x="1111554" y="2276998"/>
                  <a:pt x="1117646" y="2275139"/>
                  <a:pt x="1123325" y="2275449"/>
                </a:cubicBezTo>
                <a:close/>
                <a:moveTo>
                  <a:pt x="916296" y="2275139"/>
                </a:moveTo>
                <a:cubicBezTo>
                  <a:pt x="918464" y="2275139"/>
                  <a:pt x="919806" y="2275139"/>
                  <a:pt x="920736" y="2275758"/>
                </a:cubicBezTo>
                <a:lnTo>
                  <a:pt x="921046" y="2276378"/>
                </a:lnTo>
                <a:lnTo>
                  <a:pt x="926931" y="2283658"/>
                </a:lnTo>
                <a:cubicBezTo>
                  <a:pt x="927241" y="2284743"/>
                  <a:pt x="927034" y="2288460"/>
                  <a:pt x="925899" y="2288925"/>
                </a:cubicBezTo>
                <a:cubicBezTo>
                  <a:pt x="924660" y="2289390"/>
                  <a:pt x="923937" y="2288925"/>
                  <a:pt x="923111" y="2288615"/>
                </a:cubicBezTo>
                <a:lnTo>
                  <a:pt x="920529" y="2285052"/>
                </a:lnTo>
                <a:lnTo>
                  <a:pt x="919806" y="2286757"/>
                </a:lnTo>
                <a:cubicBezTo>
                  <a:pt x="918567" y="2288460"/>
                  <a:pt x="917226" y="2289545"/>
                  <a:pt x="916296" y="2289699"/>
                </a:cubicBezTo>
                <a:cubicBezTo>
                  <a:pt x="914437" y="2289545"/>
                  <a:pt x="912579" y="2288150"/>
                  <a:pt x="912166" y="2285982"/>
                </a:cubicBezTo>
                <a:cubicBezTo>
                  <a:pt x="911959" y="2285362"/>
                  <a:pt x="912062" y="2284588"/>
                  <a:pt x="912269" y="2283658"/>
                </a:cubicBezTo>
                <a:cubicBezTo>
                  <a:pt x="912372" y="2280715"/>
                  <a:pt x="915366" y="2278701"/>
                  <a:pt x="916296" y="2275139"/>
                </a:cubicBezTo>
                <a:close/>
                <a:moveTo>
                  <a:pt x="1060132" y="2274984"/>
                </a:moveTo>
                <a:cubicBezTo>
                  <a:pt x="1063746" y="2276688"/>
                  <a:pt x="1066740" y="2278857"/>
                  <a:pt x="1068496" y="2281955"/>
                </a:cubicBezTo>
                <a:cubicBezTo>
                  <a:pt x="1065398" y="2284433"/>
                  <a:pt x="1060441" y="2285052"/>
                  <a:pt x="1056724" y="2285827"/>
                </a:cubicBezTo>
                <a:cubicBezTo>
                  <a:pt x="1058067" y="2282419"/>
                  <a:pt x="1061784" y="2281645"/>
                  <a:pt x="1060132" y="2274984"/>
                </a:cubicBezTo>
                <a:close/>
                <a:moveTo>
                  <a:pt x="1169170" y="2274055"/>
                </a:moveTo>
                <a:cubicBezTo>
                  <a:pt x="1169996" y="2273900"/>
                  <a:pt x="1171132" y="2274210"/>
                  <a:pt x="1172268" y="2274674"/>
                </a:cubicBezTo>
                <a:cubicBezTo>
                  <a:pt x="1174643" y="2275604"/>
                  <a:pt x="1174540" y="2277462"/>
                  <a:pt x="1174540" y="2277462"/>
                </a:cubicBezTo>
                <a:cubicBezTo>
                  <a:pt x="1174127" y="2280405"/>
                  <a:pt x="1172165" y="2282109"/>
                  <a:pt x="1168964" y="2281490"/>
                </a:cubicBezTo>
                <a:cubicBezTo>
                  <a:pt x="1167415" y="2280251"/>
                  <a:pt x="1167415" y="2278392"/>
                  <a:pt x="1167518" y="2276533"/>
                </a:cubicBezTo>
                <a:cubicBezTo>
                  <a:pt x="1167725" y="2274984"/>
                  <a:pt x="1168344" y="2274365"/>
                  <a:pt x="1169170" y="2274055"/>
                </a:cubicBezTo>
                <a:close/>
                <a:moveTo>
                  <a:pt x="1002205" y="2273280"/>
                </a:moveTo>
                <a:cubicBezTo>
                  <a:pt x="1002721" y="2275139"/>
                  <a:pt x="1003237" y="2276998"/>
                  <a:pt x="1002618" y="2278701"/>
                </a:cubicBezTo>
                <a:cubicBezTo>
                  <a:pt x="1000140" y="2278392"/>
                  <a:pt x="998281" y="2278701"/>
                  <a:pt x="996423" y="2277927"/>
                </a:cubicBezTo>
                <a:cubicBezTo>
                  <a:pt x="996010" y="2276998"/>
                  <a:pt x="995906" y="2276068"/>
                  <a:pt x="996010" y="2275294"/>
                </a:cubicBezTo>
                <a:cubicBezTo>
                  <a:pt x="996216" y="2274674"/>
                  <a:pt x="996526" y="2274055"/>
                  <a:pt x="997042" y="2273745"/>
                </a:cubicBezTo>
                <a:cubicBezTo>
                  <a:pt x="998178" y="2272970"/>
                  <a:pt x="1000037" y="2272815"/>
                  <a:pt x="1002205" y="2273280"/>
                </a:cubicBezTo>
                <a:close/>
                <a:moveTo>
                  <a:pt x="5543365" y="2273172"/>
                </a:moveTo>
                <a:cubicBezTo>
                  <a:pt x="5545712" y="2274026"/>
                  <a:pt x="5547419" y="2275733"/>
                  <a:pt x="5548700" y="2277867"/>
                </a:cubicBezTo>
                <a:cubicBezTo>
                  <a:pt x="5552328" y="2284127"/>
                  <a:pt x="5551048" y="2294654"/>
                  <a:pt x="5548060" y="2300345"/>
                </a:cubicBezTo>
                <a:cubicBezTo>
                  <a:pt x="5542938" y="2302906"/>
                  <a:pt x="5539096" y="2302764"/>
                  <a:pt x="5536322" y="2301057"/>
                </a:cubicBezTo>
                <a:cubicBezTo>
                  <a:pt x="5528212" y="2296077"/>
                  <a:pt x="5530773" y="2277155"/>
                  <a:pt x="5543365" y="2273172"/>
                </a:cubicBezTo>
                <a:close/>
                <a:moveTo>
                  <a:pt x="887901" y="2273125"/>
                </a:moveTo>
                <a:cubicBezTo>
                  <a:pt x="890998" y="2272661"/>
                  <a:pt x="894819" y="2279166"/>
                  <a:pt x="895748" y="2282419"/>
                </a:cubicBezTo>
                <a:cubicBezTo>
                  <a:pt x="895025" y="2282574"/>
                  <a:pt x="894199" y="2282264"/>
                  <a:pt x="893373" y="2281645"/>
                </a:cubicBezTo>
                <a:cubicBezTo>
                  <a:pt x="890998" y="2279941"/>
                  <a:pt x="888623" y="2275604"/>
                  <a:pt x="887901" y="2273125"/>
                </a:cubicBezTo>
                <a:close/>
                <a:moveTo>
                  <a:pt x="5018138" y="2272176"/>
                </a:moveTo>
                <a:cubicBezTo>
                  <a:pt x="5018779" y="2272176"/>
                  <a:pt x="5019419" y="2272318"/>
                  <a:pt x="5020273" y="2272887"/>
                </a:cubicBezTo>
                <a:cubicBezTo>
                  <a:pt x="5020913" y="2275590"/>
                  <a:pt x="5020700" y="2278863"/>
                  <a:pt x="5020486" y="2282277"/>
                </a:cubicBezTo>
                <a:cubicBezTo>
                  <a:pt x="5014297" y="2283842"/>
                  <a:pt x="5013657" y="2275306"/>
                  <a:pt x="5016431" y="2272887"/>
                </a:cubicBezTo>
                <a:cubicBezTo>
                  <a:pt x="5016858" y="2272461"/>
                  <a:pt x="5017498" y="2272176"/>
                  <a:pt x="5018138" y="2272176"/>
                </a:cubicBezTo>
                <a:close/>
                <a:moveTo>
                  <a:pt x="1089457" y="2270182"/>
                </a:moveTo>
                <a:cubicBezTo>
                  <a:pt x="1087701" y="2271422"/>
                  <a:pt x="1085946" y="2272351"/>
                  <a:pt x="1084191" y="2272970"/>
                </a:cubicBezTo>
                <a:lnTo>
                  <a:pt x="1078925" y="2274055"/>
                </a:lnTo>
                <a:lnTo>
                  <a:pt x="1080267" y="2279012"/>
                </a:lnTo>
                <a:cubicBezTo>
                  <a:pt x="1079854" y="2280405"/>
                  <a:pt x="1079028" y="2281800"/>
                  <a:pt x="1077686" y="2282729"/>
                </a:cubicBezTo>
                <a:cubicBezTo>
                  <a:pt x="1075930" y="2283968"/>
                  <a:pt x="1073349" y="2284433"/>
                  <a:pt x="1070148" y="2283348"/>
                </a:cubicBezTo>
                <a:cubicBezTo>
                  <a:pt x="1069425" y="2281490"/>
                  <a:pt x="1069528" y="2279941"/>
                  <a:pt x="1069631" y="2278547"/>
                </a:cubicBezTo>
                <a:lnTo>
                  <a:pt x="1070044" y="2276068"/>
                </a:lnTo>
                <a:lnTo>
                  <a:pt x="1069012" y="2275604"/>
                </a:lnTo>
                <a:cubicBezTo>
                  <a:pt x="1068186" y="2275914"/>
                  <a:pt x="1068186" y="2275758"/>
                  <a:pt x="1068186" y="2275758"/>
                </a:cubicBezTo>
                <a:cubicBezTo>
                  <a:pt x="1067360" y="2276068"/>
                  <a:pt x="1066740" y="2274519"/>
                  <a:pt x="1066740" y="2274519"/>
                </a:cubicBezTo>
                <a:cubicBezTo>
                  <a:pt x="1066740" y="2273590"/>
                  <a:pt x="1067463" y="2273125"/>
                  <a:pt x="1068392" y="2272815"/>
                </a:cubicBezTo>
                <a:cubicBezTo>
                  <a:pt x="1069322" y="2272506"/>
                  <a:pt x="1070458" y="2272506"/>
                  <a:pt x="1071180" y="2272196"/>
                </a:cubicBezTo>
                <a:cubicBezTo>
                  <a:pt x="1071387" y="2270337"/>
                  <a:pt x="1075104" y="2272815"/>
                  <a:pt x="1075207" y="2270957"/>
                </a:cubicBezTo>
                <a:cubicBezTo>
                  <a:pt x="1079751" y="2273280"/>
                  <a:pt x="1082125" y="2268014"/>
                  <a:pt x="1089457" y="2270182"/>
                </a:cubicBezTo>
                <a:close/>
                <a:moveTo>
                  <a:pt x="1102118" y="2269253"/>
                </a:moveTo>
                <a:cubicBezTo>
                  <a:pt x="1106339" y="2268750"/>
                  <a:pt x="1110417" y="2269176"/>
                  <a:pt x="1111657" y="2270337"/>
                </a:cubicBezTo>
                <a:cubicBezTo>
                  <a:pt x="1108972" y="2272970"/>
                  <a:pt x="1105565" y="2272351"/>
                  <a:pt x="1101951" y="2274984"/>
                </a:cubicBezTo>
                <a:cubicBezTo>
                  <a:pt x="1099472" y="2273435"/>
                  <a:pt x="1095032" y="2276224"/>
                  <a:pt x="1091728" y="2273745"/>
                </a:cubicBezTo>
                <a:cubicBezTo>
                  <a:pt x="1093535" y="2271190"/>
                  <a:pt x="1097898" y="2269757"/>
                  <a:pt x="1102118" y="2269253"/>
                </a:cubicBezTo>
                <a:close/>
                <a:moveTo>
                  <a:pt x="4788926" y="2269046"/>
                </a:moveTo>
                <a:cubicBezTo>
                  <a:pt x="4789566" y="2268904"/>
                  <a:pt x="4790206" y="2268904"/>
                  <a:pt x="4790633" y="2269615"/>
                </a:cubicBezTo>
                <a:cubicBezTo>
                  <a:pt x="4791914" y="2270896"/>
                  <a:pt x="4792980" y="2271038"/>
                  <a:pt x="4791700" y="2273314"/>
                </a:cubicBezTo>
                <a:cubicBezTo>
                  <a:pt x="4791700" y="2274452"/>
                  <a:pt x="4790633" y="2275590"/>
                  <a:pt x="4790420" y="2276728"/>
                </a:cubicBezTo>
                <a:cubicBezTo>
                  <a:pt x="4790420" y="2276728"/>
                  <a:pt x="4789566" y="2276871"/>
                  <a:pt x="4788712" y="2276871"/>
                </a:cubicBezTo>
                <a:cubicBezTo>
                  <a:pt x="4787645" y="2277013"/>
                  <a:pt x="4786364" y="2276871"/>
                  <a:pt x="4785938" y="2276160"/>
                </a:cubicBezTo>
                <a:cubicBezTo>
                  <a:pt x="4783590" y="2274737"/>
                  <a:pt x="4787219" y="2271464"/>
                  <a:pt x="4787219" y="2270326"/>
                </a:cubicBezTo>
                <a:cubicBezTo>
                  <a:pt x="4787859" y="2269757"/>
                  <a:pt x="4788499" y="2269331"/>
                  <a:pt x="4788926" y="2269046"/>
                </a:cubicBezTo>
                <a:close/>
                <a:moveTo>
                  <a:pt x="5517541" y="2268904"/>
                </a:moveTo>
                <a:cubicBezTo>
                  <a:pt x="5520956" y="2270896"/>
                  <a:pt x="5526931" y="2269899"/>
                  <a:pt x="5527144" y="2275875"/>
                </a:cubicBezTo>
                <a:cubicBezTo>
                  <a:pt x="5512632" y="2279716"/>
                  <a:pt x="5515620" y="2302052"/>
                  <a:pt x="5501748" y="2301199"/>
                </a:cubicBezTo>
                <a:cubicBezTo>
                  <a:pt x="5504309" y="2289818"/>
                  <a:pt x="5504735" y="2277867"/>
                  <a:pt x="5517541" y="2268904"/>
                </a:cubicBezTo>
                <a:close/>
                <a:moveTo>
                  <a:pt x="929306" y="2267859"/>
                </a:moveTo>
                <a:cubicBezTo>
                  <a:pt x="930339" y="2272970"/>
                  <a:pt x="934056" y="2276688"/>
                  <a:pt x="932817" y="2279476"/>
                </a:cubicBezTo>
                <a:cubicBezTo>
                  <a:pt x="932404" y="2280560"/>
                  <a:pt x="931475" y="2281335"/>
                  <a:pt x="929719" y="2282264"/>
                </a:cubicBezTo>
                <a:cubicBezTo>
                  <a:pt x="928273" y="2280870"/>
                  <a:pt x="925795" y="2276688"/>
                  <a:pt x="925279" y="2273125"/>
                </a:cubicBezTo>
                <a:cubicBezTo>
                  <a:pt x="925073" y="2272041"/>
                  <a:pt x="925176" y="2270802"/>
                  <a:pt x="925589" y="2269873"/>
                </a:cubicBezTo>
                <a:cubicBezTo>
                  <a:pt x="926105" y="2268788"/>
                  <a:pt x="927345" y="2268014"/>
                  <a:pt x="929306" y="2267859"/>
                </a:cubicBezTo>
                <a:close/>
                <a:moveTo>
                  <a:pt x="5665014" y="2267197"/>
                </a:moveTo>
                <a:lnTo>
                  <a:pt x="5667362" y="2281139"/>
                </a:lnTo>
                <a:lnTo>
                  <a:pt x="5668002" y="2281139"/>
                </a:lnTo>
                <a:lnTo>
                  <a:pt x="5668642" y="2280855"/>
                </a:lnTo>
                <a:cubicBezTo>
                  <a:pt x="5671417" y="2280712"/>
                  <a:pt x="5675045" y="2281139"/>
                  <a:pt x="5678886" y="2283700"/>
                </a:cubicBezTo>
                <a:cubicBezTo>
                  <a:pt x="5680593" y="2285549"/>
                  <a:pt x="5684221" y="2290813"/>
                  <a:pt x="5682514" y="2290813"/>
                </a:cubicBezTo>
                <a:cubicBezTo>
                  <a:pt x="5680593" y="2292663"/>
                  <a:pt x="5682514" y="2292521"/>
                  <a:pt x="5682514" y="2294370"/>
                </a:cubicBezTo>
                <a:cubicBezTo>
                  <a:pt x="5679740" y="2296930"/>
                  <a:pt x="5676965" y="2298780"/>
                  <a:pt x="5674191" y="2299350"/>
                </a:cubicBezTo>
                <a:lnTo>
                  <a:pt x="5668429" y="2298354"/>
                </a:lnTo>
                <a:lnTo>
                  <a:pt x="5667575" y="2305324"/>
                </a:lnTo>
                <a:cubicBezTo>
                  <a:pt x="5666294" y="2310019"/>
                  <a:pt x="5664374" y="2314856"/>
                  <a:pt x="5661813" y="2319836"/>
                </a:cubicBezTo>
                <a:cubicBezTo>
                  <a:pt x="5655837" y="2321401"/>
                  <a:pt x="5651355" y="2320405"/>
                  <a:pt x="5647940" y="2317702"/>
                </a:cubicBezTo>
                <a:lnTo>
                  <a:pt x="5643245" y="2308454"/>
                </a:lnTo>
                <a:lnTo>
                  <a:pt x="5642178" y="2310019"/>
                </a:lnTo>
                <a:cubicBezTo>
                  <a:pt x="5640257" y="2311869"/>
                  <a:pt x="5638336" y="2313576"/>
                  <a:pt x="5638336" y="2311869"/>
                </a:cubicBezTo>
                <a:cubicBezTo>
                  <a:pt x="5636416" y="2311869"/>
                  <a:pt x="5636629" y="2310161"/>
                  <a:pt x="5634708" y="2308454"/>
                </a:cubicBezTo>
                <a:cubicBezTo>
                  <a:pt x="5632787" y="2304898"/>
                  <a:pt x="5632787" y="2299776"/>
                  <a:pt x="5634708" y="2298069"/>
                </a:cubicBezTo>
                <a:cubicBezTo>
                  <a:pt x="5636629" y="2296362"/>
                  <a:pt x="5638336" y="2296362"/>
                  <a:pt x="5638336" y="2296362"/>
                </a:cubicBezTo>
                <a:lnTo>
                  <a:pt x="5641537" y="2299776"/>
                </a:lnTo>
                <a:lnTo>
                  <a:pt x="5641537" y="2291951"/>
                </a:lnTo>
                <a:cubicBezTo>
                  <a:pt x="5643672" y="2278009"/>
                  <a:pt x="5652208" y="2264778"/>
                  <a:pt x="5665014" y="2267197"/>
                </a:cubicBezTo>
                <a:close/>
                <a:moveTo>
                  <a:pt x="5091342" y="2267054"/>
                </a:moveTo>
                <a:cubicBezTo>
                  <a:pt x="5095183" y="2270184"/>
                  <a:pt x="5096677" y="2273741"/>
                  <a:pt x="5096250" y="2280427"/>
                </a:cubicBezTo>
                <a:lnTo>
                  <a:pt x="5095183" y="2280427"/>
                </a:lnTo>
                <a:lnTo>
                  <a:pt x="5097530" y="2281423"/>
                </a:lnTo>
                <a:lnTo>
                  <a:pt x="5097744" y="2282135"/>
                </a:lnTo>
                <a:lnTo>
                  <a:pt x="5104787" y="2277582"/>
                </a:lnTo>
                <a:cubicBezTo>
                  <a:pt x="5107135" y="2278863"/>
                  <a:pt x="5108842" y="2280570"/>
                  <a:pt x="5109696" y="2282277"/>
                </a:cubicBezTo>
                <a:lnTo>
                  <a:pt x="5110122" y="2284411"/>
                </a:lnTo>
                <a:lnTo>
                  <a:pt x="5110763" y="2282277"/>
                </a:lnTo>
                <a:cubicBezTo>
                  <a:pt x="5117806" y="2285549"/>
                  <a:pt x="5116098" y="2287114"/>
                  <a:pt x="5112684" y="2291809"/>
                </a:cubicBezTo>
                <a:lnTo>
                  <a:pt x="5110336" y="2288964"/>
                </a:lnTo>
                <a:lnTo>
                  <a:pt x="5105641" y="2297927"/>
                </a:lnTo>
                <a:cubicBezTo>
                  <a:pt x="5099665" y="2303333"/>
                  <a:pt x="5089847" y="2304755"/>
                  <a:pt x="5083658" y="2293801"/>
                </a:cubicBezTo>
                <a:lnTo>
                  <a:pt x="5091128" y="2287399"/>
                </a:lnTo>
                <a:lnTo>
                  <a:pt x="5088780" y="2286261"/>
                </a:lnTo>
                <a:lnTo>
                  <a:pt x="5087500" y="2281139"/>
                </a:lnTo>
                <a:lnTo>
                  <a:pt x="5087073" y="2281282"/>
                </a:lnTo>
                <a:cubicBezTo>
                  <a:pt x="5084085" y="2280143"/>
                  <a:pt x="5081738" y="2277298"/>
                  <a:pt x="5081951" y="2273172"/>
                </a:cubicBezTo>
                <a:cubicBezTo>
                  <a:pt x="5083872" y="2270042"/>
                  <a:pt x="5085579" y="2267054"/>
                  <a:pt x="5091342" y="2267054"/>
                </a:cubicBezTo>
                <a:close/>
                <a:moveTo>
                  <a:pt x="4943015" y="2266769"/>
                </a:moveTo>
                <a:cubicBezTo>
                  <a:pt x="4941308" y="2275306"/>
                  <a:pt x="4924234" y="2283842"/>
                  <a:pt x="4919752" y="2282135"/>
                </a:cubicBezTo>
                <a:cubicBezTo>
                  <a:pt x="4921673" y="2277298"/>
                  <a:pt x="4926368" y="2276302"/>
                  <a:pt x="4929356" y="2270896"/>
                </a:cubicBezTo>
                <a:cubicBezTo>
                  <a:pt x="4933411" y="2271464"/>
                  <a:pt x="4937466" y="2265632"/>
                  <a:pt x="4943015" y="2266769"/>
                </a:cubicBezTo>
                <a:close/>
                <a:moveTo>
                  <a:pt x="805708" y="2266620"/>
                </a:moveTo>
                <a:cubicBezTo>
                  <a:pt x="805708" y="2266620"/>
                  <a:pt x="806328" y="2266775"/>
                  <a:pt x="807051" y="2267239"/>
                </a:cubicBezTo>
                <a:cubicBezTo>
                  <a:pt x="807774" y="2267549"/>
                  <a:pt x="808497" y="2268014"/>
                  <a:pt x="808703" y="2268634"/>
                </a:cubicBezTo>
                <a:cubicBezTo>
                  <a:pt x="809736" y="2270182"/>
                  <a:pt x="806122" y="2270802"/>
                  <a:pt x="805708" y="2271422"/>
                </a:cubicBezTo>
                <a:cubicBezTo>
                  <a:pt x="804573" y="2271731"/>
                  <a:pt x="803334" y="2271886"/>
                  <a:pt x="803024" y="2270647"/>
                </a:cubicBezTo>
                <a:cubicBezTo>
                  <a:pt x="802817" y="2270182"/>
                  <a:pt x="802611" y="2269718"/>
                  <a:pt x="802611" y="2269408"/>
                </a:cubicBezTo>
                <a:cubicBezTo>
                  <a:pt x="802508" y="2268943"/>
                  <a:pt x="802817" y="2268634"/>
                  <a:pt x="803643" y="2268169"/>
                </a:cubicBezTo>
                <a:cubicBezTo>
                  <a:pt x="804056" y="2267549"/>
                  <a:pt x="805192" y="2267395"/>
                  <a:pt x="805708" y="2266620"/>
                </a:cubicBezTo>
                <a:close/>
                <a:moveTo>
                  <a:pt x="787949" y="2266465"/>
                </a:moveTo>
                <a:cubicBezTo>
                  <a:pt x="792285" y="2266620"/>
                  <a:pt x="794763" y="2268788"/>
                  <a:pt x="795693" y="2272196"/>
                </a:cubicBezTo>
                <a:cubicBezTo>
                  <a:pt x="793421" y="2276068"/>
                  <a:pt x="786813" y="2274674"/>
                  <a:pt x="785573" y="2270492"/>
                </a:cubicBezTo>
                <a:cubicBezTo>
                  <a:pt x="786193" y="2269563"/>
                  <a:pt x="786503" y="2267704"/>
                  <a:pt x="787949" y="2266465"/>
                </a:cubicBezTo>
                <a:close/>
                <a:moveTo>
                  <a:pt x="977320" y="2265690"/>
                </a:moveTo>
                <a:cubicBezTo>
                  <a:pt x="978972" y="2266310"/>
                  <a:pt x="978043" y="2268943"/>
                  <a:pt x="977940" y="2270647"/>
                </a:cubicBezTo>
                <a:cubicBezTo>
                  <a:pt x="979695" y="2271267"/>
                  <a:pt x="975978" y="2273900"/>
                  <a:pt x="977734" y="2274674"/>
                </a:cubicBezTo>
                <a:cubicBezTo>
                  <a:pt x="974120" y="2278237"/>
                  <a:pt x="978250" y="2282109"/>
                  <a:pt x="973603" y="2288150"/>
                </a:cubicBezTo>
                <a:cubicBezTo>
                  <a:pt x="973087" y="2286137"/>
                  <a:pt x="972777" y="2284278"/>
                  <a:pt x="972880" y="2282419"/>
                </a:cubicBezTo>
                <a:cubicBezTo>
                  <a:pt x="972880" y="2277153"/>
                  <a:pt x="974739" y="2272815"/>
                  <a:pt x="973603" y="2269099"/>
                </a:cubicBezTo>
                <a:cubicBezTo>
                  <a:pt x="973603" y="2269099"/>
                  <a:pt x="973603" y="2269099"/>
                  <a:pt x="975462" y="2267395"/>
                </a:cubicBezTo>
                <a:cubicBezTo>
                  <a:pt x="975462" y="2266465"/>
                  <a:pt x="975462" y="2266465"/>
                  <a:pt x="975462" y="2266465"/>
                </a:cubicBezTo>
                <a:cubicBezTo>
                  <a:pt x="975565" y="2265690"/>
                  <a:pt x="977320" y="2265690"/>
                  <a:pt x="977320" y="2265690"/>
                </a:cubicBezTo>
                <a:close/>
                <a:moveTo>
                  <a:pt x="1043301" y="2264916"/>
                </a:moveTo>
                <a:cubicBezTo>
                  <a:pt x="1054866" y="2263987"/>
                  <a:pt x="1057344" y="2272351"/>
                  <a:pt x="1051974" y="2275604"/>
                </a:cubicBezTo>
                <a:cubicBezTo>
                  <a:pt x="1050219" y="2276688"/>
                  <a:pt x="1047534" y="2277308"/>
                  <a:pt x="1044024" y="2276688"/>
                </a:cubicBezTo>
                <a:cubicBezTo>
                  <a:pt x="1042165" y="2275294"/>
                  <a:pt x="1041236" y="2272815"/>
                  <a:pt x="1041133" y="2270337"/>
                </a:cubicBezTo>
                <a:cubicBezTo>
                  <a:pt x="1040926" y="2268014"/>
                  <a:pt x="1041752" y="2265690"/>
                  <a:pt x="1043301" y="2264916"/>
                </a:cubicBezTo>
                <a:close/>
                <a:moveTo>
                  <a:pt x="5250126" y="2263640"/>
                </a:moveTo>
                <a:cubicBezTo>
                  <a:pt x="5250126" y="2263640"/>
                  <a:pt x="5250126" y="2263640"/>
                  <a:pt x="5251193" y="2264351"/>
                </a:cubicBezTo>
                <a:cubicBezTo>
                  <a:pt x="5253114" y="2265489"/>
                  <a:pt x="5254181" y="2266058"/>
                  <a:pt x="5255248" y="2266769"/>
                </a:cubicBezTo>
                <a:cubicBezTo>
                  <a:pt x="5255675" y="2268334"/>
                  <a:pt x="5256529" y="2272603"/>
                  <a:pt x="5254821" y="2273029"/>
                </a:cubicBezTo>
                <a:cubicBezTo>
                  <a:pt x="5251833" y="2273883"/>
                  <a:pt x="5248205" y="2273172"/>
                  <a:pt x="5247778" y="2271607"/>
                </a:cubicBezTo>
                <a:cubicBezTo>
                  <a:pt x="5246924" y="2269188"/>
                  <a:pt x="5246071" y="2266627"/>
                  <a:pt x="5247565" y="2265062"/>
                </a:cubicBezTo>
                <a:cubicBezTo>
                  <a:pt x="5247991" y="2264493"/>
                  <a:pt x="5248845" y="2264067"/>
                  <a:pt x="5250126" y="2263640"/>
                </a:cubicBezTo>
                <a:close/>
                <a:moveTo>
                  <a:pt x="6304420" y="2261932"/>
                </a:moveTo>
                <a:cubicBezTo>
                  <a:pt x="6313170" y="2263213"/>
                  <a:pt x="6311249" y="2272603"/>
                  <a:pt x="6312316" y="2271891"/>
                </a:cubicBezTo>
                <a:cubicBezTo>
                  <a:pt x="6313810" y="2272318"/>
                  <a:pt x="6313810" y="2272318"/>
                  <a:pt x="6314877" y="2271607"/>
                </a:cubicBezTo>
                <a:cubicBezTo>
                  <a:pt x="6315304" y="2272745"/>
                  <a:pt x="6317438" y="2274168"/>
                  <a:pt x="6318932" y="2274452"/>
                </a:cubicBezTo>
                <a:cubicBezTo>
                  <a:pt x="6317865" y="2275163"/>
                  <a:pt x="6316798" y="2275875"/>
                  <a:pt x="6317438" y="2276871"/>
                </a:cubicBezTo>
                <a:cubicBezTo>
                  <a:pt x="6314237" y="2276017"/>
                  <a:pt x="6313810" y="2275021"/>
                  <a:pt x="6312316" y="2274594"/>
                </a:cubicBezTo>
                <a:cubicBezTo>
                  <a:pt x="6312743" y="2275590"/>
                  <a:pt x="6311249" y="2275306"/>
                  <a:pt x="6311249" y="2275306"/>
                </a:cubicBezTo>
                <a:cubicBezTo>
                  <a:pt x="6311249" y="2275306"/>
                  <a:pt x="6311249" y="2275306"/>
                  <a:pt x="6310182" y="2278578"/>
                </a:cubicBezTo>
                <a:cubicBezTo>
                  <a:pt x="6310182" y="2278578"/>
                  <a:pt x="6307407" y="2285834"/>
                  <a:pt x="6300151" y="2284980"/>
                </a:cubicBezTo>
                <a:cubicBezTo>
                  <a:pt x="6300578" y="2283273"/>
                  <a:pt x="6291188" y="2280997"/>
                  <a:pt x="6291188" y="2275590"/>
                </a:cubicBezTo>
                <a:cubicBezTo>
                  <a:pt x="6291188" y="2272887"/>
                  <a:pt x="6291614" y="2271180"/>
                  <a:pt x="6291614" y="2268477"/>
                </a:cubicBezTo>
                <a:cubicBezTo>
                  <a:pt x="6294602" y="2266627"/>
                  <a:pt x="6296096" y="2261648"/>
                  <a:pt x="6304420" y="2261932"/>
                </a:cubicBezTo>
                <a:close/>
                <a:moveTo>
                  <a:pt x="5544645" y="2261648"/>
                </a:moveTo>
                <a:cubicBezTo>
                  <a:pt x="5545926" y="2263355"/>
                  <a:pt x="5545285" y="2268334"/>
                  <a:pt x="5544858" y="2271607"/>
                </a:cubicBezTo>
                <a:cubicBezTo>
                  <a:pt x="5542084" y="2274168"/>
                  <a:pt x="5538029" y="2275021"/>
                  <a:pt x="5534187" y="2274026"/>
                </a:cubicBezTo>
                <a:cubicBezTo>
                  <a:pt x="5535041" y="2267339"/>
                  <a:pt x="5538670" y="2264067"/>
                  <a:pt x="5544645" y="2261648"/>
                </a:cubicBezTo>
                <a:close/>
                <a:moveTo>
                  <a:pt x="5625958" y="2261506"/>
                </a:moveTo>
                <a:cubicBezTo>
                  <a:pt x="5627879" y="2265062"/>
                  <a:pt x="5632361" y="2271038"/>
                  <a:pt x="5634708" y="2277155"/>
                </a:cubicBezTo>
                <a:cubicBezTo>
                  <a:pt x="5637269" y="2283130"/>
                  <a:pt x="5637909" y="2289248"/>
                  <a:pt x="5632147" y="2293089"/>
                </a:cubicBezTo>
                <a:cubicBezTo>
                  <a:pt x="5629373" y="2286261"/>
                  <a:pt x="5616994" y="2266485"/>
                  <a:pt x="5625958" y="2261506"/>
                </a:cubicBezTo>
                <a:close/>
                <a:moveTo>
                  <a:pt x="5379245" y="2260225"/>
                </a:moveTo>
                <a:cubicBezTo>
                  <a:pt x="5382873" y="2260368"/>
                  <a:pt x="5386714" y="2261506"/>
                  <a:pt x="5390769" y="2264636"/>
                </a:cubicBezTo>
                <a:cubicBezTo>
                  <a:pt x="5400160" y="2271607"/>
                  <a:pt x="5407630" y="2281992"/>
                  <a:pt x="5394611" y="2296077"/>
                </a:cubicBezTo>
                <a:cubicBezTo>
                  <a:pt x="5392690" y="2299492"/>
                  <a:pt x="5392690" y="2297785"/>
                  <a:pt x="5390769" y="2299492"/>
                </a:cubicBezTo>
                <a:cubicBezTo>
                  <a:pt x="5389062" y="2301199"/>
                  <a:pt x="5387141" y="2304755"/>
                  <a:pt x="5387141" y="2306463"/>
                </a:cubicBezTo>
                <a:cubicBezTo>
                  <a:pt x="5379885" y="2301341"/>
                  <a:pt x="5376043" y="2306605"/>
                  <a:pt x="5364946" y="2297785"/>
                </a:cubicBezTo>
                <a:cubicBezTo>
                  <a:pt x="5350220" y="2287399"/>
                  <a:pt x="5353848" y="2275163"/>
                  <a:pt x="5359397" y="2268192"/>
                </a:cubicBezTo>
                <a:cubicBezTo>
                  <a:pt x="5360677" y="2269473"/>
                  <a:pt x="5368360" y="2259940"/>
                  <a:pt x="5379245" y="2260225"/>
                </a:cubicBezTo>
                <a:close/>
                <a:moveTo>
                  <a:pt x="868592" y="2259494"/>
                </a:moveTo>
                <a:cubicBezTo>
                  <a:pt x="870966" y="2258720"/>
                  <a:pt x="873445" y="2257946"/>
                  <a:pt x="874064" y="2260114"/>
                </a:cubicBezTo>
                <a:cubicBezTo>
                  <a:pt x="874374" y="2261198"/>
                  <a:pt x="874684" y="2262283"/>
                  <a:pt x="873858" y="2263832"/>
                </a:cubicBezTo>
                <a:cubicBezTo>
                  <a:pt x="871483" y="2264761"/>
                  <a:pt x="869624" y="2262902"/>
                  <a:pt x="868489" y="2263367"/>
                </a:cubicBezTo>
                <a:cubicBezTo>
                  <a:pt x="868901" y="2262592"/>
                  <a:pt x="869727" y="2261044"/>
                  <a:pt x="868592" y="2259494"/>
                </a:cubicBezTo>
                <a:close/>
                <a:moveTo>
                  <a:pt x="1075853" y="2259224"/>
                </a:moveTo>
                <a:cubicBezTo>
                  <a:pt x="1077221" y="2258449"/>
                  <a:pt x="1078718" y="2258178"/>
                  <a:pt x="1080887" y="2259649"/>
                </a:cubicBezTo>
                <a:cubicBezTo>
                  <a:pt x="1082229" y="2264451"/>
                  <a:pt x="1076550" y="2269873"/>
                  <a:pt x="1071284" y="2267239"/>
                </a:cubicBezTo>
                <a:cubicBezTo>
                  <a:pt x="1071697" y="2265226"/>
                  <a:pt x="1071180" y="2263677"/>
                  <a:pt x="1071594" y="2261818"/>
                </a:cubicBezTo>
                <a:cubicBezTo>
                  <a:pt x="1073245" y="2261276"/>
                  <a:pt x="1074485" y="2259998"/>
                  <a:pt x="1075853" y="2259224"/>
                </a:cubicBezTo>
                <a:close/>
                <a:moveTo>
                  <a:pt x="4940667" y="2259087"/>
                </a:moveTo>
                <a:cubicBezTo>
                  <a:pt x="4953899" y="2260937"/>
                  <a:pt x="4958167" y="2271749"/>
                  <a:pt x="4962223" y="2282562"/>
                </a:cubicBezTo>
                <a:cubicBezTo>
                  <a:pt x="4951338" y="2285123"/>
                  <a:pt x="4943228" y="2269615"/>
                  <a:pt x="4940667" y="2259087"/>
                </a:cubicBezTo>
                <a:close/>
                <a:moveTo>
                  <a:pt x="1040410" y="2258875"/>
                </a:moveTo>
                <a:cubicBezTo>
                  <a:pt x="1040410" y="2258875"/>
                  <a:pt x="1040410" y="2258875"/>
                  <a:pt x="1041649" y="2259030"/>
                </a:cubicBezTo>
                <a:cubicBezTo>
                  <a:pt x="1041649" y="2259030"/>
                  <a:pt x="1042372" y="2258566"/>
                  <a:pt x="1042165" y="2261663"/>
                </a:cubicBezTo>
                <a:cubicBezTo>
                  <a:pt x="1041029" y="2261508"/>
                  <a:pt x="1037519" y="2260889"/>
                  <a:pt x="1037519" y="2260889"/>
                </a:cubicBezTo>
                <a:cubicBezTo>
                  <a:pt x="1036693" y="2261353"/>
                  <a:pt x="1036693" y="2261353"/>
                  <a:pt x="1035557" y="2261198"/>
                </a:cubicBezTo>
                <a:cubicBezTo>
                  <a:pt x="1035866" y="2260114"/>
                  <a:pt x="1035866" y="2260114"/>
                  <a:pt x="1036589" y="2259494"/>
                </a:cubicBezTo>
                <a:cubicBezTo>
                  <a:pt x="1037725" y="2259649"/>
                  <a:pt x="1038138" y="2260424"/>
                  <a:pt x="1039377" y="2260579"/>
                </a:cubicBezTo>
                <a:cubicBezTo>
                  <a:pt x="1039997" y="2258255"/>
                  <a:pt x="1039274" y="2258720"/>
                  <a:pt x="1040410" y="2258875"/>
                </a:cubicBezTo>
                <a:close/>
                <a:moveTo>
                  <a:pt x="5293663" y="2258376"/>
                </a:moveTo>
                <a:cubicBezTo>
                  <a:pt x="5294944" y="2258376"/>
                  <a:pt x="5296011" y="2258660"/>
                  <a:pt x="5296865" y="2259372"/>
                </a:cubicBezTo>
                <a:cubicBezTo>
                  <a:pt x="5298786" y="2260652"/>
                  <a:pt x="5299853" y="2263213"/>
                  <a:pt x="5300493" y="2266912"/>
                </a:cubicBezTo>
                <a:cubicBezTo>
                  <a:pt x="5298358" y="2268619"/>
                  <a:pt x="5297078" y="2270896"/>
                  <a:pt x="5294303" y="2273598"/>
                </a:cubicBezTo>
                <a:cubicBezTo>
                  <a:pt x="5291316" y="2272176"/>
                  <a:pt x="5287261" y="2265774"/>
                  <a:pt x="5288968" y="2259798"/>
                </a:cubicBezTo>
                <a:cubicBezTo>
                  <a:pt x="5290675" y="2258945"/>
                  <a:pt x="5292383" y="2258518"/>
                  <a:pt x="5293663" y="2258376"/>
                </a:cubicBezTo>
                <a:close/>
                <a:moveTo>
                  <a:pt x="5199545" y="2256384"/>
                </a:moveTo>
                <a:cubicBezTo>
                  <a:pt x="5203174" y="2257380"/>
                  <a:pt x="5206802" y="2258376"/>
                  <a:pt x="5209149" y="2264067"/>
                </a:cubicBezTo>
                <a:cubicBezTo>
                  <a:pt x="5208082" y="2268619"/>
                  <a:pt x="5205307" y="2270896"/>
                  <a:pt x="5199119" y="2272176"/>
                </a:cubicBezTo>
                <a:cubicBezTo>
                  <a:pt x="5194210" y="2268904"/>
                  <a:pt x="5191862" y="2257949"/>
                  <a:pt x="5199545" y="2256384"/>
                </a:cubicBezTo>
                <a:close/>
                <a:moveTo>
                  <a:pt x="1131482" y="2255002"/>
                </a:moveTo>
                <a:cubicBezTo>
                  <a:pt x="1132721" y="2254693"/>
                  <a:pt x="1133960" y="2254848"/>
                  <a:pt x="1135199" y="2255312"/>
                </a:cubicBezTo>
                <a:cubicBezTo>
                  <a:pt x="1136955" y="2254693"/>
                  <a:pt x="1139536" y="2254848"/>
                  <a:pt x="1141085" y="2255777"/>
                </a:cubicBezTo>
                <a:cubicBezTo>
                  <a:pt x="1142530" y="2257481"/>
                  <a:pt x="1142324" y="2259185"/>
                  <a:pt x="1141291" y="2259959"/>
                </a:cubicBezTo>
                <a:cubicBezTo>
                  <a:pt x="1134063" y="2266930"/>
                  <a:pt x="1127042" y="2263212"/>
                  <a:pt x="1125183" y="2263832"/>
                </a:cubicBezTo>
                <a:cubicBezTo>
                  <a:pt x="1124047" y="2262592"/>
                  <a:pt x="1123531" y="2261818"/>
                  <a:pt x="1123944" y="2261044"/>
                </a:cubicBezTo>
                <a:cubicBezTo>
                  <a:pt x="1124254" y="2260114"/>
                  <a:pt x="1125493" y="2258875"/>
                  <a:pt x="1128074" y="2256552"/>
                </a:cubicBezTo>
                <a:cubicBezTo>
                  <a:pt x="1129004" y="2255777"/>
                  <a:pt x="1130243" y="2255157"/>
                  <a:pt x="1131482" y="2255002"/>
                </a:cubicBezTo>
                <a:close/>
                <a:moveTo>
                  <a:pt x="1025644" y="2254073"/>
                </a:moveTo>
                <a:cubicBezTo>
                  <a:pt x="1028742" y="2254848"/>
                  <a:pt x="1031014" y="2256087"/>
                  <a:pt x="1032562" y="2257946"/>
                </a:cubicBezTo>
                <a:lnTo>
                  <a:pt x="1033595" y="2260269"/>
                </a:lnTo>
                <a:lnTo>
                  <a:pt x="1034731" y="2259959"/>
                </a:lnTo>
                <a:lnTo>
                  <a:pt x="1033698" y="2260579"/>
                </a:lnTo>
                <a:lnTo>
                  <a:pt x="1034937" y="2263522"/>
                </a:lnTo>
                <a:lnTo>
                  <a:pt x="1035763" y="2263832"/>
                </a:lnTo>
                <a:cubicBezTo>
                  <a:pt x="1036589" y="2264451"/>
                  <a:pt x="1037312" y="2265535"/>
                  <a:pt x="1037209" y="2266930"/>
                </a:cubicBezTo>
                <a:cubicBezTo>
                  <a:pt x="1036899" y="2270027"/>
                  <a:pt x="1038964" y="2271422"/>
                  <a:pt x="1038758" y="2274519"/>
                </a:cubicBezTo>
                <a:cubicBezTo>
                  <a:pt x="1038758" y="2274519"/>
                  <a:pt x="1038758" y="2274519"/>
                  <a:pt x="1037519" y="2274365"/>
                </a:cubicBezTo>
                <a:cubicBezTo>
                  <a:pt x="1037209" y="2272196"/>
                  <a:pt x="1036176" y="2270492"/>
                  <a:pt x="1035144" y="2268788"/>
                </a:cubicBezTo>
                <a:lnTo>
                  <a:pt x="1034628" y="2267085"/>
                </a:lnTo>
                <a:lnTo>
                  <a:pt x="1034008" y="2270647"/>
                </a:lnTo>
                <a:cubicBezTo>
                  <a:pt x="1033079" y="2272815"/>
                  <a:pt x="1031530" y="2274829"/>
                  <a:pt x="1029568" y="2276224"/>
                </a:cubicBezTo>
                <a:cubicBezTo>
                  <a:pt x="1025025" y="2279786"/>
                  <a:pt x="1017900" y="2280870"/>
                  <a:pt x="1009433" y="2275294"/>
                </a:cubicBezTo>
                <a:cubicBezTo>
                  <a:pt x="1008917" y="2266310"/>
                  <a:pt x="1012737" y="2258255"/>
                  <a:pt x="1018933" y="2255157"/>
                </a:cubicBezTo>
                <a:cubicBezTo>
                  <a:pt x="1020894" y="2254228"/>
                  <a:pt x="1023166" y="2253763"/>
                  <a:pt x="1025644" y="2254073"/>
                </a:cubicBezTo>
                <a:close/>
                <a:moveTo>
                  <a:pt x="927758" y="2251905"/>
                </a:moveTo>
                <a:cubicBezTo>
                  <a:pt x="935915" y="2247258"/>
                  <a:pt x="941594" y="2255622"/>
                  <a:pt x="938186" y="2260579"/>
                </a:cubicBezTo>
                <a:cubicBezTo>
                  <a:pt x="937051" y="2262283"/>
                  <a:pt x="934882" y="2263677"/>
                  <a:pt x="931475" y="2264141"/>
                </a:cubicBezTo>
                <a:cubicBezTo>
                  <a:pt x="930649" y="2259804"/>
                  <a:pt x="928067" y="2257946"/>
                  <a:pt x="927551" y="2255157"/>
                </a:cubicBezTo>
                <a:cubicBezTo>
                  <a:pt x="927345" y="2254228"/>
                  <a:pt x="927345" y="2253144"/>
                  <a:pt x="927758" y="2251905"/>
                </a:cubicBezTo>
                <a:close/>
                <a:moveTo>
                  <a:pt x="874994" y="2251750"/>
                </a:moveTo>
                <a:cubicBezTo>
                  <a:pt x="876852" y="2252214"/>
                  <a:pt x="878607" y="2251905"/>
                  <a:pt x="881292" y="2252214"/>
                </a:cubicBezTo>
                <a:cubicBezTo>
                  <a:pt x="882118" y="2254693"/>
                  <a:pt x="880982" y="2260114"/>
                  <a:pt x="877059" y="2261818"/>
                </a:cubicBezTo>
                <a:cubicBezTo>
                  <a:pt x="874477" y="2260579"/>
                  <a:pt x="873135" y="2259030"/>
                  <a:pt x="872825" y="2257326"/>
                </a:cubicBezTo>
                <a:cubicBezTo>
                  <a:pt x="872515" y="2255622"/>
                  <a:pt x="873341" y="2253763"/>
                  <a:pt x="874994" y="2251750"/>
                </a:cubicBezTo>
                <a:close/>
                <a:moveTo>
                  <a:pt x="5158355" y="2251404"/>
                </a:moveTo>
                <a:cubicBezTo>
                  <a:pt x="5158996" y="2251689"/>
                  <a:pt x="5159209" y="2251974"/>
                  <a:pt x="5158996" y="2252258"/>
                </a:cubicBezTo>
                <a:cubicBezTo>
                  <a:pt x="5158782" y="2252685"/>
                  <a:pt x="5158142" y="2253254"/>
                  <a:pt x="5157715" y="2253966"/>
                </a:cubicBezTo>
                <a:cubicBezTo>
                  <a:pt x="5157288" y="2252970"/>
                  <a:pt x="5157715" y="2253966"/>
                  <a:pt x="5158355" y="2251404"/>
                </a:cubicBezTo>
                <a:close/>
                <a:moveTo>
                  <a:pt x="4801518" y="2248702"/>
                </a:moveTo>
                <a:cubicBezTo>
                  <a:pt x="4804505" y="2250836"/>
                  <a:pt x="4806213" y="2253539"/>
                  <a:pt x="4807493" y="2256384"/>
                </a:cubicBezTo>
                <a:cubicBezTo>
                  <a:pt x="4808774" y="2259230"/>
                  <a:pt x="4809414" y="2262359"/>
                  <a:pt x="4810054" y="2265489"/>
                </a:cubicBezTo>
                <a:cubicBezTo>
                  <a:pt x="4800877" y="2279574"/>
                  <a:pt x="4796822" y="2263071"/>
                  <a:pt x="4792127" y="2256526"/>
                </a:cubicBezTo>
                <a:cubicBezTo>
                  <a:pt x="4795328" y="2251831"/>
                  <a:pt x="4796609" y="2250836"/>
                  <a:pt x="4801518" y="2248702"/>
                </a:cubicBezTo>
                <a:close/>
                <a:moveTo>
                  <a:pt x="1070561" y="2247412"/>
                </a:moveTo>
                <a:cubicBezTo>
                  <a:pt x="1076343" y="2251595"/>
                  <a:pt x="1071284" y="2260114"/>
                  <a:pt x="1065811" y="2260424"/>
                </a:cubicBezTo>
                <a:cubicBezTo>
                  <a:pt x="1063642" y="2258875"/>
                  <a:pt x="1062817" y="2256397"/>
                  <a:pt x="1063126" y="2254073"/>
                </a:cubicBezTo>
                <a:cubicBezTo>
                  <a:pt x="1063333" y="2251905"/>
                  <a:pt x="1064572" y="2249581"/>
                  <a:pt x="1066431" y="2248342"/>
                </a:cubicBezTo>
                <a:cubicBezTo>
                  <a:pt x="1067566" y="2247568"/>
                  <a:pt x="1069012" y="2247103"/>
                  <a:pt x="1070561" y="2247412"/>
                </a:cubicBezTo>
                <a:close/>
                <a:moveTo>
                  <a:pt x="5001492" y="2246710"/>
                </a:moveTo>
                <a:cubicBezTo>
                  <a:pt x="5004053" y="2249129"/>
                  <a:pt x="5005334" y="2250409"/>
                  <a:pt x="5007681" y="2251689"/>
                </a:cubicBezTo>
                <a:cubicBezTo>
                  <a:pt x="5000851" y="2258376"/>
                  <a:pt x="5001278" y="2265347"/>
                  <a:pt x="4992955" y="2262644"/>
                </a:cubicBezTo>
                <a:cubicBezTo>
                  <a:pt x="4991675" y="2257949"/>
                  <a:pt x="4997223" y="2252258"/>
                  <a:pt x="5001492" y="2246710"/>
                </a:cubicBezTo>
                <a:close/>
                <a:moveTo>
                  <a:pt x="6244449" y="2245429"/>
                </a:moveTo>
                <a:cubicBezTo>
                  <a:pt x="6245302" y="2248986"/>
                  <a:pt x="6249784" y="2250978"/>
                  <a:pt x="6252345" y="2254535"/>
                </a:cubicBezTo>
                <a:cubicBezTo>
                  <a:pt x="6253199" y="2255673"/>
                  <a:pt x="6253839" y="2256953"/>
                  <a:pt x="6254052" y="2258660"/>
                </a:cubicBezTo>
                <a:cubicBezTo>
                  <a:pt x="6254052" y="2258660"/>
                  <a:pt x="6254052" y="2258518"/>
                  <a:pt x="6253412" y="2257522"/>
                </a:cubicBezTo>
                <a:cubicBezTo>
                  <a:pt x="6253412" y="2257522"/>
                  <a:pt x="6254052" y="2258660"/>
                  <a:pt x="6252985" y="2259230"/>
                </a:cubicBezTo>
                <a:cubicBezTo>
                  <a:pt x="6247437" y="2255957"/>
                  <a:pt x="6244022" y="2247137"/>
                  <a:pt x="6243595" y="2246141"/>
                </a:cubicBezTo>
                <a:cubicBezTo>
                  <a:pt x="6244449" y="2245429"/>
                  <a:pt x="6244449" y="2245429"/>
                  <a:pt x="6244449" y="2245429"/>
                </a:cubicBezTo>
                <a:close/>
                <a:moveTo>
                  <a:pt x="5391409" y="2245429"/>
                </a:moveTo>
                <a:cubicBezTo>
                  <a:pt x="5394824" y="2245572"/>
                  <a:pt x="5398026" y="2250409"/>
                  <a:pt x="5397599" y="2253112"/>
                </a:cubicBezTo>
                <a:cubicBezTo>
                  <a:pt x="5393330" y="2259372"/>
                  <a:pt x="5387568" y="2250836"/>
                  <a:pt x="5387995" y="2247279"/>
                </a:cubicBezTo>
                <a:cubicBezTo>
                  <a:pt x="5389062" y="2245999"/>
                  <a:pt x="5390342" y="2245429"/>
                  <a:pt x="5391409" y="2245429"/>
                </a:cubicBezTo>
                <a:close/>
                <a:moveTo>
                  <a:pt x="1085636" y="2244624"/>
                </a:moveTo>
                <a:cubicBezTo>
                  <a:pt x="1085946" y="2245709"/>
                  <a:pt x="1086978" y="2247258"/>
                  <a:pt x="1086669" y="2249116"/>
                </a:cubicBezTo>
                <a:cubicBezTo>
                  <a:pt x="1083984" y="2251130"/>
                  <a:pt x="1082538" y="2249891"/>
                  <a:pt x="1082435" y="2248187"/>
                </a:cubicBezTo>
                <a:cubicBezTo>
                  <a:pt x="1082229" y="2246483"/>
                  <a:pt x="1083364" y="2244315"/>
                  <a:pt x="1085636" y="2244624"/>
                </a:cubicBezTo>
                <a:close/>
                <a:moveTo>
                  <a:pt x="945311" y="2242301"/>
                </a:moveTo>
                <a:cubicBezTo>
                  <a:pt x="945208" y="2244624"/>
                  <a:pt x="945724" y="2246483"/>
                  <a:pt x="945621" y="2247723"/>
                </a:cubicBezTo>
                <a:cubicBezTo>
                  <a:pt x="941904" y="2248497"/>
                  <a:pt x="939426" y="2246948"/>
                  <a:pt x="939632" y="2243540"/>
                </a:cubicBezTo>
                <a:cubicBezTo>
                  <a:pt x="942110" y="2243695"/>
                  <a:pt x="942833" y="2241991"/>
                  <a:pt x="945311" y="2242301"/>
                </a:cubicBezTo>
                <a:close/>
                <a:moveTo>
                  <a:pt x="970093" y="2241062"/>
                </a:moveTo>
                <a:cubicBezTo>
                  <a:pt x="972158" y="2239513"/>
                  <a:pt x="975049" y="2239048"/>
                  <a:pt x="978663" y="2241217"/>
                </a:cubicBezTo>
                <a:cubicBezTo>
                  <a:pt x="978559" y="2242301"/>
                  <a:pt x="978559" y="2243540"/>
                  <a:pt x="978559" y="2244624"/>
                </a:cubicBezTo>
                <a:cubicBezTo>
                  <a:pt x="972984" y="2244624"/>
                  <a:pt x="969783" y="2247258"/>
                  <a:pt x="965446" y="2247258"/>
                </a:cubicBezTo>
                <a:cubicBezTo>
                  <a:pt x="966375" y="2245399"/>
                  <a:pt x="967924" y="2242766"/>
                  <a:pt x="970093" y="2241062"/>
                </a:cubicBezTo>
                <a:close/>
                <a:moveTo>
                  <a:pt x="6247223" y="2240735"/>
                </a:moveTo>
                <a:cubicBezTo>
                  <a:pt x="6260455" y="2242015"/>
                  <a:pt x="6258321" y="2251547"/>
                  <a:pt x="6265791" y="2252401"/>
                </a:cubicBezTo>
                <a:cubicBezTo>
                  <a:pt x="6264083" y="2254677"/>
                  <a:pt x="6264083" y="2254677"/>
                  <a:pt x="6261522" y="2254961"/>
                </a:cubicBezTo>
                <a:cubicBezTo>
                  <a:pt x="6260882" y="2253966"/>
                  <a:pt x="6260028" y="2254535"/>
                  <a:pt x="6260455" y="2252970"/>
                </a:cubicBezTo>
                <a:cubicBezTo>
                  <a:pt x="6256187" y="2252827"/>
                  <a:pt x="6248290" y="2245429"/>
                  <a:pt x="6247223" y="2240735"/>
                </a:cubicBezTo>
                <a:close/>
                <a:moveTo>
                  <a:pt x="1067153" y="2239978"/>
                </a:moveTo>
                <a:cubicBezTo>
                  <a:pt x="1067876" y="2240133"/>
                  <a:pt x="1068599" y="2240597"/>
                  <a:pt x="1069322" y="2241526"/>
                </a:cubicBezTo>
                <a:cubicBezTo>
                  <a:pt x="1070148" y="2241681"/>
                  <a:pt x="1070458" y="2245089"/>
                  <a:pt x="1069528" y="2245864"/>
                </a:cubicBezTo>
                <a:cubicBezTo>
                  <a:pt x="1067360" y="2248187"/>
                  <a:pt x="1065088" y="2246329"/>
                  <a:pt x="1061784" y="2245244"/>
                </a:cubicBezTo>
                <a:cubicBezTo>
                  <a:pt x="1062817" y="2244469"/>
                  <a:pt x="1062094" y="2243540"/>
                  <a:pt x="1061371" y="2242766"/>
                </a:cubicBezTo>
                <a:cubicBezTo>
                  <a:pt x="1062817" y="2241526"/>
                  <a:pt x="1064985" y="2239513"/>
                  <a:pt x="1067153" y="2239978"/>
                </a:cubicBezTo>
                <a:close/>
                <a:moveTo>
                  <a:pt x="4935332" y="2239739"/>
                </a:moveTo>
                <a:cubicBezTo>
                  <a:pt x="4940240" y="2242157"/>
                  <a:pt x="4944082" y="2245287"/>
                  <a:pt x="4946429" y="2249839"/>
                </a:cubicBezTo>
                <a:cubicBezTo>
                  <a:pt x="4942161" y="2253396"/>
                  <a:pt x="4935545" y="2253966"/>
                  <a:pt x="4930637" y="2254819"/>
                </a:cubicBezTo>
                <a:cubicBezTo>
                  <a:pt x="4932344" y="2250124"/>
                  <a:pt x="4937253" y="2249271"/>
                  <a:pt x="4935332" y="2239739"/>
                </a:cubicBezTo>
                <a:close/>
                <a:moveTo>
                  <a:pt x="6360976" y="2239454"/>
                </a:moveTo>
                <a:cubicBezTo>
                  <a:pt x="6376556" y="2250409"/>
                  <a:pt x="6364817" y="2269046"/>
                  <a:pt x="6352226" y="2267481"/>
                </a:cubicBezTo>
                <a:cubicBezTo>
                  <a:pt x="6347957" y="2266912"/>
                  <a:pt x="6343689" y="2264209"/>
                  <a:pt x="6340274" y="2258091"/>
                </a:cubicBezTo>
                <a:cubicBezTo>
                  <a:pt x="6350518" y="2250551"/>
                  <a:pt x="6349664" y="2241730"/>
                  <a:pt x="6360976" y="2239454"/>
                </a:cubicBezTo>
                <a:close/>
                <a:moveTo>
                  <a:pt x="5621690" y="2239170"/>
                </a:moveTo>
                <a:lnTo>
                  <a:pt x="5621263" y="2241588"/>
                </a:lnTo>
                <a:lnTo>
                  <a:pt x="5623183" y="2240877"/>
                </a:lnTo>
                <a:lnTo>
                  <a:pt x="5623397" y="2239881"/>
                </a:lnTo>
                <a:lnTo>
                  <a:pt x="5622330" y="2239596"/>
                </a:lnTo>
                <a:close/>
                <a:moveTo>
                  <a:pt x="1097717" y="2239048"/>
                </a:moveTo>
                <a:cubicBezTo>
                  <a:pt x="1099369" y="2240133"/>
                  <a:pt x="1101125" y="2240442"/>
                  <a:pt x="1102777" y="2241681"/>
                </a:cubicBezTo>
                <a:cubicBezTo>
                  <a:pt x="1103809" y="2244315"/>
                  <a:pt x="1101228" y="2249736"/>
                  <a:pt x="1097821" y="2250201"/>
                </a:cubicBezTo>
                <a:cubicBezTo>
                  <a:pt x="1096685" y="2250201"/>
                  <a:pt x="1095445" y="2249891"/>
                  <a:pt x="1094310" y="2248652"/>
                </a:cubicBezTo>
                <a:cubicBezTo>
                  <a:pt x="1093484" y="2247723"/>
                  <a:pt x="1093070" y="2246793"/>
                  <a:pt x="1092967" y="2245864"/>
                </a:cubicBezTo>
                <a:cubicBezTo>
                  <a:pt x="1092658" y="2243230"/>
                  <a:pt x="1094929" y="2241217"/>
                  <a:pt x="1097717" y="2239048"/>
                </a:cubicBezTo>
                <a:close/>
                <a:moveTo>
                  <a:pt x="5257595" y="2238600"/>
                </a:moveTo>
                <a:cubicBezTo>
                  <a:pt x="5259089" y="2238316"/>
                  <a:pt x="5260370" y="2238173"/>
                  <a:pt x="5261437" y="2238600"/>
                </a:cubicBezTo>
                <a:cubicBezTo>
                  <a:pt x="5254821" y="2243011"/>
                  <a:pt x="5255034" y="2249129"/>
                  <a:pt x="5249486" y="2247421"/>
                </a:cubicBezTo>
                <a:cubicBezTo>
                  <a:pt x="5249272" y="2243722"/>
                  <a:pt x="5253541" y="2239739"/>
                  <a:pt x="5257595" y="2238600"/>
                </a:cubicBezTo>
                <a:close/>
                <a:moveTo>
                  <a:pt x="920736" y="2237345"/>
                </a:moveTo>
                <a:cubicBezTo>
                  <a:pt x="920633" y="2244779"/>
                  <a:pt x="920220" y="2257016"/>
                  <a:pt x="915470" y="2262592"/>
                </a:cubicBezTo>
                <a:cubicBezTo>
                  <a:pt x="913198" y="2261353"/>
                  <a:pt x="912166" y="2259340"/>
                  <a:pt x="911856" y="2257171"/>
                </a:cubicBezTo>
                <a:cubicBezTo>
                  <a:pt x="910927" y="2250201"/>
                  <a:pt x="917122" y="2240133"/>
                  <a:pt x="920736" y="2237345"/>
                </a:cubicBezTo>
                <a:close/>
                <a:moveTo>
                  <a:pt x="849283" y="2236879"/>
                </a:moveTo>
                <a:cubicBezTo>
                  <a:pt x="854446" y="2237500"/>
                  <a:pt x="860537" y="2237190"/>
                  <a:pt x="860228" y="2243076"/>
                </a:cubicBezTo>
                <a:cubicBezTo>
                  <a:pt x="855375" y="2249581"/>
                  <a:pt x="848560" y="2246329"/>
                  <a:pt x="847837" y="2241681"/>
                </a:cubicBezTo>
                <a:cubicBezTo>
                  <a:pt x="847527" y="2240133"/>
                  <a:pt x="847940" y="2238429"/>
                  <a:pt x="849283" y="2236879"/>
                </a:cubicBezTo>
                <a:close/>
                <a:moveTo>
                  <a:pt x="6238259" y="2235755"/>
                </a:moveTo>
                <a:cubicBezTo>
                  <a:pt x="6239753" y="2236182"/>
                  <a:pt x="6241888" y="2237463"/>
                  <a:pt x="6243381" y="2237889"/>
                </a:cubicBezTo>
                <a:cubicBezTo>
                  <a:pt x="6243381" y="2237889"/>
                  <a:pt x="6243595" y="2237889"/>
                  <a:pt x="6242954" y="2239596"/>
                </a:cubicBezTo>
                <a:cubicBezTo>
                  <a:pt x="6241888" y="2237463"/>
                  <a:pt x="6237192" y="2239170"/>
                  <a:pt x="6238259" y="2235755"/>
                </a:cubicBezTo>
                <a:close/>
                <a:moveTo>
                  <a:pt x="1055072" y="2235021"/>
                </a:moveTo>
                <a:cubicBezTo>
                  <a:pt x="1061268" y="2236260"/>
                  <a:pt x="1058170" y="2246948"/>
                  <a:pt x="1051871" y="2241836"/>
                </a:cubicBezTo>
                <a:cubicBezTo>
                  <a:pt x="1053007" y="2238583"/>
                  <a:pt x="1053833" y="2236415"/>
                  <a:pt x="1055072" y="2235021"/>
                </a:cubicBezTo>
                <a:close/>
                <a:moveTo>
                  <a:pt x="4728528" y="2234475"/>
                </a:moveTo>
                <a:cubicBezTo>
                  <a:pt x="4730662" y="2234048"/>
                  <a:pt x="4733437" y="2235898"/>
                  <a:pt x="4736851" y="2237178"/>
                </a:cubicBezTo>
                <a:cubicBezTo>
                  <a:pt x="4735784" y="2238173"/>
                  <a:pt x="4736851" y="2239596"/>
                  <a:pt x="4737918" y="2240877"/>
                </a:cubicBezTo>
                <a:cubicBezTo>
                  <a:pt x="4736211" y="2242442"/>
                  <a:pt x="4733864" y="2245287"/>
                  <a:pt x="4730876" y="2244434"/>
                </a:cubicBezTo>
                <a:cubicBezTo>
                  <a:pt x="4729809" y="2244149"/>
                  <a:pt x="4728741" y="2243437"/>
                  <a:pt x="4727674" y="2242015"/>
                </a:cubicBezTo>
                <a:cubicBezTo>
                  <a:pt x="4726394" y="2241873"/>
                  <a:pt x="4725326" y="2237036"/>
                  <a:pt x="4726607" y="2235898"/>
                </a:cubicBezTo>
                <a:cubicBezTo>
                  <a:pt x="4727247" y="2235186"/>
                  <a:pt x="4727888" y="2234759"/>
                  <a:pt x="4728528" y="2234475"/>
                </a:cubicBezTo>
                <a:close/>
                <a:moveTo>
                  <a:pt x="5704923" y="2233479"/>
                </a:moveTo>
                <a:cubicBezTo>
                  <a:pt x="5709405" y="2233194"/>
                  <a:pt x="5712393" y="2236608"/>
                  <a:pt x="5714101" y="2241303"/>
                </a:cubicBezTo>
                <a:cubicBezTo>
                  <a:pt x="5716875" y="2249413"/>
                  <a:pt x="5715594" y="2261506"/>
                  <a:pt x="5710259" y="2267197"/>
                </a:cubicBezTo>
                <a:lnTo>
                  <a:pt x="5710259" y="2267339"/>
                </a:lnTo>
                <a:lnTo>
                  <a:pt x="5716448" y="2272318"/>
                </a:lnTo>
                <a:cubicBezTo>
                  <a:pt x="5716661" y="2278009"/>
                  <a:pt x="5714954" y="2281565"/>
                  <a:pt x="5712393" y="2283273"/>
                </a:cubicBezTo>
                <a:lnTo>
                  <a:pt x="5705563" y="2284696"/>
                </a:lnTo>
                <a:lnTo>
                  <a:pt x="5705350" y="2285692"/>
                </a:lnTo>
                <a:cubicBezTo>
                  <a:pt x="5704070" y="2287968"/>
                  <a:pt x="5701295" y="2290386"/>
                  <a:pt x="5697027" y="2292805"/>
                </a:cubicBezTo>
                <a:cubicBezTo>
                  <a:pt x="5696813" y="2285834"/>
                  <a:pt x="5693399" y="2280000"/>
                  <a:pt x="5690411" y="2274452"/>
                </a:cubicBezTo>
                <a:lnTo>
                  <a:pt x="5688704" y="2270184"/>
                </a:lnTo>
                <a:lnTo>
                  <a:pt x="5686783" y="2274452"/>
                </a:lnTo>
                <a:cubicBezTo>
                  <a:pt x="5681020" y="2270896"/>
                  <a:pt x="5679526" y="2266201"/>
                  <a:pt x="5679740" y="2259798"/>
                </a:cubicBezTo>
                <a:cubicBezTo>
                  <a:pt x="5680807" y="2259514"/>
                  <a:pt x="5682301" y="2260083"/>
                  <a:pt x="5684008" y="2260937"/>
                </a:cubicBezTo>
                <a:lnTo>
                  <a:pt x="5687423" y="2262644"/>
                </a:lnTo>
                <a:lnTo>
                  <a:pt x="5687636" y="2257949"/>
                </a:lnTo>
                <a:cubicBezTo>
                  <a:pt x="5688917" y="2259656"/>
                  <a:pt x="5690624" y="2261363"/>
                  <a:pt x="5692332" y="2263213"/>
                </a:cubicBezTo>
                <a:lnTo>
                  <a:pt x="5693185" y="2263924"/>
                </a:lnTo>
                <a:lnTo>
                  <a:pt x="5696173" y="2262644"/>
                </a:lnTo>
                <a:lnTo>
                  <a:pt x="5701295" y="2263924"/>
                </a:lnTo>
                <a:lnTo>
                  <a:pt x="5698307" y="2255103"/>
                </a:lnTo>
                <a:cubicBezTo>
                  <a:pt x="5697454" y="2249271"/>
                  <a:pt x="5697880" y="2242584"/>
                  <a:pt x="5700015" y="2235186"/>
                </a:cubicBezTo>
                <a:cubicBezTo>
                  <a:pt x="5701722" y="2234190"/>
                  <a:pt x="5703430" y="2233621"/>
                  <a:pt x="5704923" y="2233479"/>
                </a:cubicBezTo>
                <a:close/>
                <a:moveTo>
                  <a:pt x="5146831" y="2233479"/>
                </a:moveTo>
                <a:cubicBezTo>
                  <a:pt x="5150032" y="2237463"/>
                  <a:pt x="5148752" y="2242157"/>
                  <a:pt x="5152166" y="2247279"/>
                </a:cubicBezTo>
                <a:cubicBezTo>
                  <a:pt x="5149819" y="2250551"/>
                  <a:pt x="5153020" y="2256811"/>
                  <a:pt x="5149392" y="2261221"/>
                </a:cubicBezTo>
                <a:cubicBezTo>
                  <a:pt x="5142562" y="2255531"/>
                  <a:pt x="5143202" y="2236608"/>
                  <a:pt x="5146831" y="2233479"/>
                </a:cubicBezTo>
                <a:close/>
                <a:moveTo>
                  <a:pt x="1128488" y="2233472"/>
                </a:moveTo>
                <a:cubicBezTo>
                  <a:pt x="1132411" y="2232078"/>
                  <a:pt x="1136645" y="2235021"/>
                  <a:pt x="1134373" y="2239668"/>
                </a:cubicBezTo>
                <a:cubicBezTo>
                  <a:pt x="1131792" y="2238583"/>
                  <a:pt x="1129107" y="2237500"/>
                  <a:pt x="1128488" y="2235641"/>
                </a:cubicBezTo>
                <a:cubicBezTo>
                  <a:pt x="1128281" y="2235021"/>
                  <a:pt x="1128281" y="2234401"/>
                  <a:pt x="1128488" y="2233472"/>
                </a:cubicBezTo>
                <a:close/>
                <a:moveTo>
                  <a:pt x="766781" y="2232698"/>
                </a:moveTo>
                <a:cubicBezTo>
                  <a:pt x="775351" y="2234866"/>
                  <a:pt x="783302" y="2254538"/>
                  <a:pt x="775145" y="2258875"/>
                </a:cubicBezTo>
                <a:cubicBezTo>
                  <a:pt x="772976" y="2249271"/>
                  <a:pt x="766987" y="2243850"/>
                  <a:pt x="766781" y="2232698"/>
                </a:cubicBezTo>
                <a:close/>
                <a:moveTo>
                  <a:pt x="5581354" y="2230207"/>
                </a:moveTo>
                <a:cubicBezTo>
                  <a:pt x="5583701" y="2229922"/>
                  <a:pt x="5585622" y="2230349"/>
                  <a:pt x="5586902" y="2232056"/>
                </a:cubicBezTo>
                <a:cubicBezTo>
                  <a:pt x="5587542" y="2233052"/>
                  <a:pt x="5587969" y="2234475"/>
                  <a:pt x="5588182" y="2236324"/>
                </a:cubicBezTo>
                <a:cubicBezTo>
                  <a:pt x="5584341" y="2245999"/>
                  <a:pt x="5579219" y="2252401"/>
                  <a:pt x="5569828" y="2250693"/>
                </a:cubicBezTo>
                <a:cubicBezTo>
                  <a:pt x="5570469" y="2249129"/>
                  <a:pt x="5568975" y="2248559"/>
                  <a:pt x="5567481" y="2247990"/>
                </a:cubicBezTo>
                <a:cubicBezTo>
                  <a:pt x="5565347" y="2240450"/>
                  <a:pt x="5574737" y="2231345"/>
                  <a:pt x="5581354" y="2230207"/>
                </a:cubicBezTo>
                <a:close/>
                <a:moveTo>
                  <a:pt x="983206" y="2228051"/>
                </a:moveTo>
                <a:cubicBezTo>
                  <a:pt x="982896" y="2229135"/>
                  <a:pt x="982896" y="2230684"/>
                  <a:pt x="982483" y="2232078"/>
                </a:cubicBezTo>
                <a:lnTo>
                  <a:pt x="979592" y="2235176"/>
                </a:lnTo>
                <a:lnTo>
                  <a:pt x="980315" y="2231923"/>
                </a:lnTo>
                <a:cubicBezTo>
                  <a:pt x="980625" y="2230684"/>
                  <a:pt x="981141" y="2229445"/>
                  <a:pt x="981761" y="2228670"/>
                </a:cubicBezTo>
                <a:cubicBezTo>
                  <a:pt x="982173" y="2228205"/>
                  <a:pt x="982587" y="2227896"/>
                  <a:pt x="983206" y="2228051"/>
                </a:cubicBezTo>
                <a:close/>
                <a:moveTo>
                  <a:pt x="5087714" y="2227788"/>
                </a:moveTo>
                <a:cubicBezTo>
                  <a:pt x="5088567" y="2230918"/>
                  <a:pt x="5088780" y="2233763"/>
                  <a:pt x="5088567" y="2236324"/>
                </a:cubicBezTo>
                <a:cubicBezTo>
                  <a:pt x="5088354" y="2244007"/>
                  <a:pt x="5085793" y="2249555"/>
                  <a:pt x="5087073" y="2255103"/>
                </a:cubicBezTo>
                <a:cubicBezTo>
                  <a:pt x="5087073" y="2255103"/>
                  <a:pt x="5087073" y="2255103"/>
                  <a:pt x="5084726" y="2257095"/>
                </a:cubicBezTo>
                <a:cubicBezTo>
                  <a:pt x="5084512" y="2258233"/>
                  <a:pt x="5084512" y="2258233"/>
                  <a:pt x="5084512" y="2258233"/>
                </a:cubicBezTo>
                <a:cubicBezTo>
                  <a:pt x="5084512" y="2259372"/>
                  <a:pt x="5082164" y="2259087"/>
                  <a:pt x="5082164" y="2259087"/>
                </a:cubicBezTo>
                <a:cubicBezTo>
                  <a:pt x="5080030" y="2257522"/>
                  <a:pt x="5081524" y="2254250"/>
                  <a:pt x="5081524" y="2251831"/>
                </a:cubicBezTo>
                <a:cubicBezTo>
                  <a:pt x="5079390" y="2250266"/>
                  <a:pt x="5084085" y="2247421"/>
                  <a:pt x="5081951" y="2245856"/>
                </a:cubicBezTo>
                <a:cubicBezTo>
                  <a:pt x="5086859" y="2242015"/>
                  <a:pt x="5081524" y="2235186"/>
                  <a:pt x="5087714" y="2227788"/>
                </a:cubicBezTo>
                <a:close/>
                <a:moveTo>
                  <a:pt x="973293" y="2227586"/>
                </a:moveTo>
                <a:cubicBezTo>
                  <a:pt x="974842" y="2229135"/>
                  <a:pt x="975668" y="2230529"/>
                  <a:pt x="975771" y="2231768"/>
                </a:cubicBezTo>
                <a:lnTo>
                  <a:pt x="974532" y="2235021"/>
                </a:lnTo>
                <a:lnTo>
                  <a:pt x="975359" y="2235021"/>
                </a:lnTo>
                <a:lnTo>
                  <a:pt x="979592" y="2235176"/>
                </a:lnTo>
                <a:lnTo>
                  <a:pt x="983103" y="2235486"/>
                </a:lnTo>
                <a:cubicBezTo>
                  <a:pt x="983412" y="2236260"/>
                  <a:pt x="982587" y="2236415"/>
                  <a:pt x="982896" y="2237345"/>
                </a:cubicBezTo>
                <a:cubicBezTo>
                  <a:pt x="982690" y="2237809"/>
                  <a:pt x="981864" y="2238274"/>
                  <a:pt x="980934" y="2238583"/>
                </a:cubicBezTo>
                <a:cubicBezTo>
                  <a:pt x="977940" y="2239358"/>
                  <a:pt x="972674" y="2239203"/>
                  <a:pt x="972467" y="2238583"/>
                </a:cubicBezTo>
                <a:cubicBezTo>
                  <a:pt x="971641" y="2238893"/>
                  <a:pt x="971228" y="2238119"/>
                  <a:pt x="970402" y="2238274"/>
                </a:cubicBezTo>
                <a:cubicBezTo>
                  <a:pt x="970402" y="2238274"/>
                  <a:pt x="969679" y="2238583"/>
                  <a:pt x="968544" y="2237964"/>
                </a:cubicBezTo>
                <a:cubicBezTo>
                  <a:pt x="967408" y="2237500"/>
                  <a:pt x="966272" y="2236879"/>
                  <a:pt x="966375" y="2235021"/>
                </a:cubicBezTo>
                <a:lnTo>
                  <a:pt x="972674" y="2235021"/>
                </a:lnTo>
                <a:lnTo>
                  <a:pt x="970505" y="2233782"/>
                </a:lnTo>
                <a:cubicBezTo>
                  <a:pt x="969473" y="2232698"/>
                  <a:pt x="968750" y="2231303"/>
                  <a:pt x="968854" y="2230064"/>
                </a:cubicBezTo>
                <a:cubicBezTo>
                  <a:pt x="970712" y="2228051"/>
                  <a:pt x="972261" y="2229135"/>
                  <a:pt x="973293" y="2227586"/>
                </a:cubicBezTo>
                <a:close/>
                <a:moveTo>
                  <a:pt x="878401" y="2227121"/>
                </a:moveTo>
                <a:cubicBezTo>
                  <a:pt x="885629" y="2233472"/>
                  <a:pt x="884596" y="2248497"/>
                  <a:pt x="875820" y="2246948"/>
                </a:cubicBezTo>
                <a:cubicBezTo>
                  <a:pt x="874580" y="2246638"/>
                  <a:pt x="873135" y="2246019"/>
                  <a:pt x="871586" y="2245089"/>
                </a:cubicBezTo>
                <a:cubicBezTo>
                  <a:pt x="871483" y="2243695"/>
                  <a:pt x="871276" y="2241836"/>
                  <a:pt x="871069" y="2240133"/>
                </a:cubicBezTo>
                <a:cubicBezTo>
                  <a:pt x="870966" y="2238738"/>
                  <a:pt x="870966" y="2237190"/>
                  <a:pt x="871069" y="2235795"/>
                </a:cubicBezTo>
                <a:cubicBezTo>
                  <a:pt x="871276" y="2231768"/>
                  <a:pt x="872928" y="2228051"/>
                  <a:pt x="878401" y="2227121"/>
                </a:cubicBezTo>
                <a:close/>
                <a:moveTo>
                  <a:pt x="4557365" y="2227077"/>
                </a:moveTo>
                <a:cubicBezTo>
                  <a:pt x="4560140" y="2228784"/>
                  <a:pt x="4562914" y="2230349"/>
                  <a:pt x="4565475" y="2232056"/>
                </a:cubicBezTo>
                <a:cubicBezTo>
                  <a:pt x="4567823" y="2237463"/>
                  <a:pt x="4565475" y="2243580"/>
                  <a:pt x="4560993" y="2246283"/>
                </a:cubicBezTo>
                <a:cubicBezTo>
                  <a:pt x="4559286" y="2247137"/>
                  <a:pt x="4557578" y="2247706"/>
                  <a:pt x="4555658" y="2247706"/>
                </a:cubicBezTo>
                <a:cubicBezTo>
                  <a:pt x="4553097" y="2247706"/>
                  <a:pt x="4550322" y="2246710"/>
                  <a:pt x="4547548" y="2244576"/>
                </a:cubicBezTo>
                <a:cubicBezTo>
                  <a:pt x="4545840" y="2242015"/>
                  <a:pt x="4546907" y="2237889"/>
                  <a:pt x="4549042" y="2234190"/>
                </a:cubicBezTo>
                <a:lnTo>
                  <a:pt x="4547761" y="2234617"/>
                </a:lnTo>
                <a:cubicBezTo>
                  <a:pt x="4548188" y="2233763"/>
                  <a:pt x="4548402" y="2233621"/>
                  <a:pt x="4548615" y="2233763"/>
                </a:cubicBezTo>
                <a:lnTo>
                  <a:pt x="4549255" y="2233763"/>
                </a:lnTo>
                <a:lnTo>
                  <a:pt x="4552883" y="2229353"/>
                </a:lnTo>
                <a:cubicBezTo>
                  <a:pt x="4554378" y="2228072"/>
                  <a:pt x="4555871" y="2227219"/>
                  <a:pt x="4557365" y="2227077"/>
                </a:cubicBezTo>
                <a:close/>
                <a:moveTo>
                  <a:pt x="1129520" y="2225572"/>
                </a:moveTo>
                <a:cubicBezTo>
                  <a:pt x="1130346" y="2228051"/>
                  <a:pt x="1130139" y="2229909"/>
                  <a:pt x="1128900" y="2231458"/>
                </a:cubicBezTo>
                <a:cubicBezTo>
                  <a:pt x="1127661" y="2232852"/>
                  <a:pt x="1125493" y="2233937"/>
                  <a:pt x="1122499" y="2234711"/>
                </a:cubicBezTo>
                <a:cubicBezTo>
                  <a:pt x="1121879" y="2233472"/>
                  <a:pt x="1121776" y="2232388"/>
                  <a:pt x="1122086" y="2231458"/>
                </a:cubicBezTo>
                <a:cubicBezTo>
                  <a:pt x="1122808" y="2228825"/>
                  <a:pt x="1126629" y="2227741"/>
                  <a:pt x="1129520" y="2225572"/>
                </a:cubicBezTo>
                <a:close/>
                <a:moveTo>
                  <a:pt x="4913563" y="2224516"/>
                </a:moveTo>
                <a:cubicBezTo>
                  <a:pt x="4928929" y="2223662"/>
                  <a:pt x="4931917" y="2235613"/>
                  <a:pt x="4924661" y="2240165"/>
                </a:cubicBezTo>
                <a:cubicBezTo>
                  <a:pt x="4922313" y="2241588"/>
                  <a:pt x="4918685" y="2242300"/>
                  <a:pt x="4913990" y="2241303"/>
                </a:cubicBezTo>
                <a:cubicBezTo>
                  <a:pt x="4909295" y="2237320"/>
                  <a:pt x="4909295" y="2226508"/>
                  <a:pt x="4913563" y="2224516"/>
                </a:cubicBezTo>
                <a:close/>
                <a:moveTo>
                  <a:pt x="5207655" y="2224089"/>
                </a:moveTo>
                <a:cubicBezTo>
                  <a:pt x="5211070" y="2224516"/>
                  <a:pt x="5213418" y="2224800"/>
                  <a:pt x="5215765" y="2227361"/>
                </a:cubicBezTo>
                <a:cubicBezTo>
                  <a:pt x="5219180" y="2231345"/>
                  <a:pt x="5221101" y="2239881"/>
                  <a:pt x="5217686" y="2243011"/>
                </a:cubicBezTo>
                <a:cubicBezTo>
                  <a:pt x="5214058" y="2247421"/>
                  <a:pt x="5210430" y="2248132"/>
                  <a:pt x="5207015" y="2247706"/>
                </a:cubicBezTo>
                <a:cubicBezTo>
                  <a:pt x="5207015" y="2247706"/>
                  <a:pt x="5207015" y="2247706"/>
                  <a:pt x="5208082" y="2247848"/>
                </a:cubicBezTo>
                <a:lnTo>
                  <a:pt x="5211710" y="2252543"/>
                </a:lnTo>
                <a:lnTo>
                  <a:pt x="5219393" y="2255815"/>
                </a:lnTo>
                <a:cubicBezTo>
                  <a:pt x="5220461" y="2257095"/>
                  <a:pt x="5220247" y="2258518"/>
                  <a:pt x="5219393" y="2259656"/>
                </a:cubicBezTo>
                <a:lnTo>
                  <a:pt x="5217899" y="2260795"/>
                </a:lnTo>
                <a:lnTo>
                  <a:pt x="5218753" y="2262359"/>
                </a:lnTo>
                <a:cubicBezTo>
                  <a:pt x="5219393" y="2263782"/>
                  <a:pt x="5219606" y="2264920"/>
                  <a:pt x="5219393" y="2265774"/>
                </a:cubicBezTo>
                <a:cubicBezTo>
                  <a:pt x="5218113" y="2265632"/>
                  <a:pt x="5217046" y="2265489"/>
                  <a:pt x="5215978" y="2264209"/>
                </a:cubicBezTo>
                <a:cubicBezTo>
                  <a:pt x="5214698" y="2262928"/>
                  <a:pt x="5215978" y="2263071"/>
                  <a:pt x="5214698" y="2262928"/>
                </a:cubicBezTo>
                <a:cubicBezTo>
                  <a:pt x="5213631" y="2261506"/>
                  <a:pt x="5213631" y="2262786"/>
                  <a:pt x="5213631" y="2262786"/>
                </a:cubicBezTo>
                <a:lnTo>
                  <a:pt x="5213631" y="2262217"/>
                </a:lnTo>
                <a:lnTo>
                  <a:pt x="5211923" y="2262359"/>
                </a:lnTo>
                <a:cubicBezTo>
                  <a:pt x="5210857" y="2261932"/>
                  <a:pt x="5210003" y="2261079"/>
                  <a:pt x="5209790" y="2259514"/>
                </a:cubicBezTo>
                <a:lnTo>
                  <a:pt x="5210216" y="2258091"/>
                </a:lnTo>
                <a:lnTo>
                  <a:pt x="5207442" y="2256242"/>
                </a:lnTo>
                <a:cubicBezTo>
                  <a:pt x="5206375" y="2255673"/>
                  <a:pt x="5205521" y="2255246"/>
                  <a:pt x="5204454" y="2254535"/>
                </a:cubicBezTo>
                <a:cubicBezTo>
                  <a:pt x="5202107" y="2251831"/>
                  <a:pt x="5202320" y="2250693"/>
                  <a:pt x="5199972" y="2246852"/>
                </a:cubicBezTo>
                <a:cubicBezTo>
                  <a:pt x="5201252" y="2244718"/>
                  <a:pt x="5201252" y="2244718"/>
                  <a:pt x="5202320" y="2244860"/>
                </a:cubicBezTo>
                <a:cubicBezTo>
                  <a:pt x="5201252" y="2244718"/>
                  <a:pt x="5201252" y="2243437"/>
                  <a:pt x="5199972" y="2242157"/>
                </a:cubicBezTo>
                <a:cubicBezTo>
                  <a:pt x="5194423" y="2237889"/>
                  <a:pt x="5196771" y="2232198"/>
                  <a:pt x="5201679" y="2226934"/>
                </a:cubicBezTo>
                <a:cubicBezTo>
                  <a:pt x="5202747" y="2228215"/>
                  <a:pt x="5205307" y="2224942"/>
                  <a:pt x="5207655" y="2224089"/>
                </a:cubicBezTo>
                <a:close/>
                <a:moveTo>
                  <a:pt x="833381" y="2224023"/>
                </a:moveTo>
                <a:cubicBezTo>
                  <a:pt x="835446" y="2226812"/>
                  <a:pt x="834207" y="2229755"/>
                  <a:pt x="831832" y="2231768"/>
                </a:cubicBezTo>
                <a:cubicBezTo>
                  <a:pt x="829457" y="2233627"/>
                  <a:pt x="825844" y="2234711"/>
                  <a:pt x="823159" y="2233472"/>
                </a:cubicBezTo>
                <a:cubicBezTo>
                  <a:pt x="823778" y="2228670"/>
                  <a:pt x="825121" y="2225262"/>
                  <a:pt x="828838" y="2224333"/>
                </a:cubicBezTo>
                <a:cubicBezTo>
                  <a:pt x="830077" y="2223868"/>
                  <a:pt x="831523" y="2223868"/>
                  <a:pt x="833381" y="2224023"/>
                </a:cubicBezTo>
                <a:close/>
                <a:moveTo>
                  <a:pt x="4747309" y="2223805"/>
                </a:moveTo>
                <a:cubicBezTo>
                  <a:pt x="4749443" y="2226650"/>
                  <a:pt x="4750510" y="2229495"/>
                  <a:pt x="4750296" y="2232341"/>
                </a:cubicBezTo>
                <a:cubicBezTo>
                  <a:pt x="4750296" y="2235186"/>
                  <a:pt x="4749016" y="2237889"/>
                  <a:pt x="4746242" y="2240165"/>
                </a:cubicBezTo>
                <a:cubicBezTo>
                  <a:pt x="4740480" y="2240023"/>
                  <a:pt x="4738132" y="2232341"/>
                  <a:pt x="4736211" y="2228357"/>
                </a:cubicBezTo>
                <a:cubicBezTo>
                  <a:pt x="4740052" y="2225654"/>
                  <a:pt x="4744108" y="2222951"/>
                  <a:pt x="4747309" y="2223805"/>
                </a:cubicBezTo>
                <a:close/>
                <a:moveTo>
                  <a:pt x="896884" y="2223249"/>
                </a:moveTo>
                <a:cubicBezTo>
                  <a:pt x="897813" y="2223094"/>
                  <a:pt x="897813" y="2224023"/>
                  <a:pt x="898742" y="2224643"/>
                </a:cubicBezTo>
                <a:cubicBezTo>
                  <a:pt x="898846" y="2225572"/>
                  <a:pt x="898020" y="2226501"/>
                  <a:pt x="898020" y="2226501"/>
                </a:cubicBezTo>
                <a:cubicBezTo>
                  <a:pt x="897193" y="2227431"/>
                  <a:pt x="897090" y="2227431"/>
                  <a:pt x="898020" y="2228051"/>
                </a:cubicBezTo>
                <a:cubicBezTo>
                  <a:pt x="898020" y="2228051"/>
                  <a:pt x="897193" y="2228205"/>
                  <a:pt x="897193" y="2228205"/>
                </a:cubicBezTo>
                <a:cubicBezTo>
                  <a:pt x="897193" y="2227896"/>
                  <a:pt x="897193" y="2227896"/>
                  <a:pt x="897090" y="2228051"/>
                </a:cubicBezTo>
                <a:lnTo>
                  <a:pt x="896677" y="2228670"/>
                </a:lnTo>
                <a:lnTo>
                  <a:pt x="899052" y="2229290"/>
                </a:lnTo>
                <a:cubicBezTo>
                  <a:pt x="902563" y="2232543"/>
                  <a:pt x="899362" y="2241217"/>
                  <a:pt x="895025" y="2241991"/>
                </a:cubicBezTo>
                <a:cubicBezTo>
                  <a:pt x="892650" y="2241062"/>
                  <a:pt x="890275" y="2239978"/>
                  <a:pt x="888004" y="2239048"/>
                </a:cubicBezTo>
                <a:cubicBezTo>
                  <a:pt x="886558" y="2237345"/>
                  <a:pt x="886042" y="2235331"/>
                  <a:pt x="886145" y="2233472"/>
                </a:cubicBezTo>
                <a:cubicBezTo>
                  <a:pt x="886352" y="2231768"/>
                  <a:pt x="887281" y="2230064"/>
                  <a:pt x="888726" y="2228980"/>
                </a:cubicBezTo>
                <a:cubicBezTo>
                  <a:pt x="889656" y="2228360"/>
                  <a:pt x="890895" y="2227741"/>
                  <a:pt x="892340" y="2227741"/>
                </a:cubicBezTo>
                <a:lnTo>
                  <a:pt x="892547" y="2227741"/>
                </a:lnTo>
                <a:lnTo>
                  <a:pt x="891618" y="2226501"/>
                </a:lnTo>
                <a:cubicBezTo>
                  <a:pt x="891308" y="2225882"/>
                  <a:pt x="891205" y="2225262"/>
                  <a:pt x="891618" y="2224798"/>
                </a:cubicBezTo>
                <a:cubicBezTo>
                  <a:pt x="892547" y="2224643"/>
                  <a:pt x="892547" y="2223868"/>
                  <a:pt x="893373" y="2223868"/>
                </a:cubicBezTo>
                <a:cubicBezTo>
                  <a:pt x="895128" y="2222784"/>
                  <a:pt x="895955" y="2222629"/>
                  <a:pt x="896884" y="2223249"/>
                </a:cubicBezTo>
                <a:close/>
                <a:moveTo>
                  <a:pt x="6364177" y="2221955"/>
                </a:moveTo>
                <a:cubicBezTo>
                  <a:pt x="6366098" y="2222097"/>
                  <a:pt x="6368018" y="2222382"/>
                  <a:pt x="6369726" y="2222667"/>
                </a:cubicBezTo>
                <a:cubicBezTo>
                  <a:pt x="6372073" y="2225654"/>
                  <a:pt x="6372714" y="2229922"/>
                  <a:pt x="6371647" y="2233906"/>
                </a:cubicBezTo>
                <a:cubicBezTo>
                  <a:pt x="6365244" y="2232767"/>
                  <a:pt x="6362256" y="2228926"/>
                  <a:pt x="6359909" y="2222667"/>
                </a:cubicBezTo>
                <a:cubicBezTo>
                  <a:pt x="6360762" y="2221955"/>
                  <a:pt x="6362470" y="2221813"/>
                  <a:pt x="6364177" y="2221955"/>
                </a:cubicBezTo>
                <a:close/>
                <a:moveTo>
                  <a:pt x="5341469" y="2220532"/>
                </a:moveTo>
                <a:cubicBezTo>
                  <a:pt x="5341042" y="2228499"/>
                  <a:pt x="5342537" y="2237463"/>
                  <a:pt x="5339549" y="2245572"/>
                </a:cubicBezTo>
                <a:cubicBezTo>
                  <a:pt x="5333786" y="2239881"/>
                  <a:pt x="5330371" y="2224516"/>
                  <a:pt x="5341469" y="2220532"/>
                </a:cubicBezTo>
                <a:close/>
                <a:moveTo>
                  <a:pt x="5602055" y="2218825"/>
                </a:moveTo>
                <a:cubicBezTo>
                  <a:pt x="5603549" y="2218968"/>
                  <a:pt x="5605043" y="2219110"/>
                  <a:pt x="5606750" y="2219110"/>
                </a:cubicBezTo>
                <a:cubicBezTo>
                  <a:pt x="5606323" y="2222524"/>
                  <a:pt x="5605896" y="2225796"/>
                  <a:pt x="5602695" y="2225654"/>
                </a:cubicBezTo>
                <a:cubicBezTo>
                  <a:pt x="5602268" y="2223093"/>
                  <a:pt x="5600774" y="2222951"/>
                  <a:pt x="5602055" y="2218825"/>
                </a:cubicBezTo>
                <a:close/>
                <a:moveTo>
                  <a:pt x="841177" y="2218138"/>
                </a:moveTo>
                <a:cubicBezTo>
                  <a:pt x="844197" y="2218370"/>
                  <a:pt x="847786" y="2219454"/>
                  <a:pt x="850419" y="2219686"/>
                </a:cubicBezTo>
                <a:cubicBezTo>
                  <a:pt x="851141" y="2223249"/>
                  <a:pt x="851038" y="2224488"/>
                  <a:pt x="849283" y="2227896"/>
                </a:cubicBezTo>
                <a:cubicBezTo>
                  <a:pt x="843603" y="2229290"/>
                  <a:pt x="839577" y="2227276"/>
                  <a:pt x="835550" y="2225108"/>
                </a:cubicBezTo>
                <a:cubicBezTo>
                  <a:pt x="835343" y="2223713"/>
                  <a:pt x="835240" y="2222629"/>
                  <a:pt x="835343" y="2221700"/>
                </a:cubicBezTo>
                <a:cubicBezTo>
                  <a:pt x="835704" y="2218525"/>
                  <a:pt x="838157" y="2217905"/>
                  <a:pt x="841177" y="2218138"/>
                </a:cubicBezTo>
                <a:close/>
                <a:moveTo>
                  <a:pt x="1031117" y="2217208"/>
                </a:moveTo>
                <a:lnTo>
                  <a:pt x="1035454" y="2221235"/>
                </a:lnTo>
                <a:lnTo>
                  <a:pt x="1037312" y="2221855"/>
                </a:lnTo>
                <a:lnTo>
                  <a:pt x="1040410" y="2221235"/>
                </a:lnTo>
                <a:cubicBezTo>
                  <a:pt x="1039790" y="2223558"/>
                  <a:pt x="1044953" y="2224798"/>
                  <a:pt x="1044024" y="2228360"/>
                </a:cubicBezTo>
                <a:cubicBezTo>
                  <a:pt x="1043301" y="2233782"/>
                  <a:pt x="1042165" y="2236570"/>
                  <a:pt x="1040306" y="2238119"/>
                </a:cubicBezTo>
                <a:lnTo>
                  <a:pt x="1037416" y="2239048"/>
                </a:lnTo>
                <a:lnTo>
                  <a:pt x="1037519" y="2241681"/>
                </a:lnTo>
                <a:cubicBezTo>
                  <a:pt x="1044230" y="2241991"/>
                  <a:pt x="1043198" y="2253299"/>
                  <a:pt x="1043714" y="2255777"/>
                </a:cubicBezTo>
                <a:cubicBezTo>
                  <a:pt x="1043714" y="2255777"/>
                  <a:pt x="1044127" y="2256397"/>
                  <a:pt x="1043817" y="2257636"/>
                </a:cubicBezTo>
                <a:cubicBezTo>
                  <a:pt x="1044024" y="2259494"/>
                  <a:pt x="1041959" y="2257946"/>
                  <a:pt x="1041649" y="2259030"/>
                </a:cubicBezTo>
                <a:cubicBezTo>
                  <a:pt x="1040617" y="2255932"/>
                  <a:pt x="1038964" y="2253454"/>
                  <a:pt x="1037519" y="2251750"/>
                </a:cubicBezTo>
                <a:lnTo>
                  <a:pt x="1036280" y="2250356"/>
                </a:lnTo>
                <a:lnTo>
                  <a:pt x="1032562" y="2250975"/>
                </a:lnTo>
                <a:cubicBezTo>
                  <a:pt x="1031117" y="2251440"/>
                  <a:pt x="1029465" y="2251750"/>
                  <a:pt x="1026057" y="2251130"/>
                </a:cubicBezTo>
                <a:cubicBezTo>
                  <a:pt x="1019552" y="2250046"/>
                  <a:pt x="1016970" y="2246483"/>
                  <a:pt x="1016145" y="2242921"/>
                </a:cubicBezTo>
                <a:lnTo>
                  <a:pt x="1016041" y="2240133"/>
                </a:lnTo>
                <a:lnTo>
                  <a:pt x="1013460" y="2239358"/>
                </a:lnTo>
                <a:cubicBezTo>
                  <a:pt x="1016351" y="2234091"/>
                  <a:pt x="1011498" y="2232852"/>
                  <a:pt x="1009949" y="2230219"/>
                </a:cubicBezTo>
                <a:cubicBezTo>
                  <a:pt x="1009536" y="2229290"/>
                  <a:pt x="1009330" y="2228205"/>
                  <a:pt x="1009949" y="2226812"/>
                </a:cubicBezTo>
                <a:cubicBezTo>
                  <a:pt x="1012014" y="2225417"/>
                  <a:pt x="1013667" y="2222939"/>
                  <a:pt x="1016455" y="2222165"/>
                </a:cubicBezTo>
                <a:cubicBezTo>
                  <a:pt x="1017384" y="2222010"/>
                  <a:pt x="1018520" y="2221855"/>
                  <a:pt x="1019759" y="2222165"/>
                </a:cubicBezTo>
                <a:lnTo>
                  <a:pt x="1019552" y="2230839"/>
                </a:lnTo>
                <a:lnTo>
                  <a:pt x="1019759" y="2228515"/>
                </a:lnTo>
                <a:cubicBezTo>
                  <a:pt x="1020069" y="2227741"/>
                  <a:pt x="1020585" y="2227431"/>
                  <a:pt x="1021824" y="2227586"/>
                </a:cubicBezTo>
                <a:cubicBezTo>
                  <a:pt x="1023786" y="2227276"/>
                  <a:pt x="1023889" y="2229135"/>
                  <a:pt x="1026367" y="2229445"/>
                </a:cubicBezTo>
                <a:cubicBezTo>
                  <a:pt x="1027399" y="2229445"/>
                  <a:pt x="1028329" y="2228980"/>
                  <a:pt x="1029155" y="2228205"/>
                </a:cubicBezTo>
                <a:lnTo>
                  <a:pt x="1030394" y="2226812"/>
                </a:lnTo>
                <a:lnTo>
                  <a:pt x="1029259" y="2225108"/>
                </a:lnTo>
                <a:cubicBezTo>
                  <a:pt x="1029052" y="2224023"/>
                  <a:pt x="1029259" y="2223094"/>
                  <a:pt x="1029259" y="2223094"/>
                </a:cubicBezTo>
                <a:cubicBezTo>
                  <a:pt x="1029259" y="2223094"/>
                  <a:pt x="1029259" y="2223094"/>
                  <a:pt x="1028535" y="2223558"/>
                </a:cubicBezTo>
                <a:lnTo>
                  <a:pt x="1029259" y="2222939"/>
                </a:lnTo>
                <a:lnTo>
                  <a:pt x="1027710" y="2222784"/>
                </a:lnTo>
                <a:lnTo>
                  <a:pt x="1026883" y="2223868"/>
                </a:lnTo>
                <a:cubicBezTo>
                  <a:pt x="1025851" y="2224643"/>
                  <a:pt x="1024818" y="2225417"/>
                  <a:pt x="1024096" y="2224488"/>
                </a:cubicBezTo>
                <a:cubicBezTo>
                  <a:pt x="1023786" y="2224023"/>
                  <a:pt x="1023372" y="2223868"/>
                  <a:pt x="1023269" y="2223558"/>
                </a:cubicBezTo>
                <a:cubicBezTo>
                  <a:pt x="1023063" y="2223249"/>
                  <a:pt x="1023063" y="2222784"/>
                  <a:pt x="1023683" y="2222010"/>
                </a:cubicBezTo>
                <a:lnTo>
                  <a:pt x="1024302" y="2220925"/>
                </a:lnTo>
                <a:lnTo>
                  <a:pt x="1023786" y="2220615"/>
                </a:lnTo>
                <a:cubicBezTo>
                  <a:pt x="1023063" y="2219841"/>
                  <a:pt x="1022547" y="2218757"/>
                  <a:pt x="1022237" y="2217518"/>
                </a:cubicBezTo>
                <a:cubicBezTo>
                  <a:pt x="1026264" y="2215814"/>
                  <a:pt x="1029052" y="2215969"/>
                  <a:pt x="1031117" y="2217208"/>
                </a:cubicBezTo>
                <a:close/>
                <a:moveTo>
                  <a:pt x="773389" y="2216124"/>
                </a:moveTo>
                <a:cubicBezTo>
                  <a:pt x="775764" y="2218757"/>
                  <a:pt x="777829" y="2220306"/>
                  <a:pt x="779585" y="2222010"/>
                </a:cubicBezTo>
                <a:lnTo>
                  <a:pt x="781753" y="2224333"/>
                </a:lnTo>
                <a:lnTo>
                  <a:pt x="786193" y="2223404"/>
                </a:lnTo>
                <a:cubicBezTo>
                  <a:pt x="787639" y="2223558"/>
                  <a:pt x="788878" y="2224488"/>
                  <a:pt x="790014" y="2225727"/>
                </a:cubicBezTo>
                <a:cubicBezTo>
                  <a:pt x="789291" y="2230529"/>
                  <a:pt x="782889" y="2232388"/>
                  <a:pt x="780204" y="2229290"/>
                </a:cubicBezTo>
                <a:lnTo>
                  <a:pt x="780307" y="2227741"/>
                </a:lnTo>
                <a:lnTo>
                  <a:pt x="776384" y="2224953"/>
                </a:lnTo>
                <a:cubicBezTo>
                  <a:pt x="775248" y="2223868"/>
                  <a:pt x="774422" y="2222939"/>
                  <a:pt x="774628" y="2222629"/>
                </a:cubicBezTo>
                <a:cubicBezTo>
                  <a:pt x="773906" y="2222165"/>
                  <a:pt x="774319" y="2221390"/>
                  <a:pt x="773493" y="2221080"/>
                </a:cubicBezTo>
                <a:cubicBezTo>
                  <a:pt x="773493" y="2221080"/>
                  <a:pt x="772770" y="2220770"/>
                  <a:pt x="772460" y="2219686"/>
                </a:cubicBezTo>
                <a:cubicBezTo>
                  <a:pt x="772254" y="2219067"/>
                  <a:pt x="772047" y="2218447"/>
                  <a:pt x="772150" y="2217982"/>
                </a:cubicBezTo>
                <a:cubicBezTo>
                  <a:pt x="772254" y="2217363"/>
                  <a:pt x="772563" y="2216743"/>
                  <a:pt x="773389" y="2216124"/>
                </a:cubicBezTo>
                <a:close/>
                <a:moveTo>
                  <a:pt x="5180978" y="2215695"/>
                </a:moveTo>
                <a:cubicBezTo>
                  <a:pt x="5182685" y="2215838"/>
                  <a:pt x="5184393" y="2216549"/>
                  <a:pt x="5186527" y="2217687"/>
                </a:cubicBezTo>
                <a:cubicBezTo>
                  <a:pt x="5186740" y="2222382"/>
                  <a:pt x="5183112" y="2225654"/>
                  <a:pt x="5178844" y="2226934"/>
                </a:cubicBezTo>
                <a:cubicBezTo>
                  <a:pt x="5174575" y="2228072"/>
                  <a:pt x="5169880" y="2227504"/>
                  <a:pt x="5167532" y="2224516"/>
                </a:cubicBezTo>
                <a:cubicBezTo>
                  <a:pt x="5171801" y="2218825"/>
                  <a:pt x="5175642" y="2215126"/>
                  <a:pt x="5180978" y="2215695"/>
                </a:cubicBezTo>
                <a:close/>
                <a:moveTo>
                  <a:pt x="6209661" y="2214557"/>
                </a:moveTo>
                <a:cubicBezTo>
                  <a:pt x="6212649" y="2214557"/>
                  <a:pt x="6217984" y="2214841"/>
                  <a:pt x="6220332" y="2216691"/>
                </a:cubicBezTo>
                <a:cubicBezTo>
                  <a:pt x="6220972" y="2217260"/>
                  <a:pt x="6221399" y="2218114"/>
                  <a:pt x="6221399" y="2219110"/>
                </a:cubicBezTo>
                <a:cubicBezTo>
                  <a:pt x="6220759" y="2220817"/>
                  <a:pt x="6219265" y="2220390"/>
                  <a:pt x="6218412" y="2220959"/>
                </a:cubicBezTo>
                <a:cubicBezTo>
                  <a:pt x="6215850" y="2221244"/>
                  <a:pt x="6209021" y="2216122"/>
                  <a:pt x="6209661" y="2214557"/>
                </a:cubicBezTo>
                <a:close/>
                <a:moveTo>
                  <a:pt x="5219180" y="2213419"/>
                </a:moveTo>
                <a:cubicBezTo>
                  <a:pt x="5219820" y="2213561"/>
                  <a:pt x="5220887" y="2213988"/>
                  <a:pt x="5221528" y="2214557"/>
                </a:cubicBezTo>
                <a:cubicBezTo>
                  <a:pt x="5222168" y="2215268"/>
                  <a:pt x="5222381" y="2215980"/>
                  <a:pt x="5222168" y="2216691"/>
                </a:cubicBezTo>
                <a:cubicBezTo>
                  <a:pt x="5221101" y="2217403"/>
                  <a:pt x="5221741" y="2218398"/>
                  <a:pt x="5220674" y="2219110"/>
                </a:cubicBezTo>
                <a:cubicBezTo>
                  <a:pt x="5219180" y="2221386"/>
                  <a:pt x="5218113" y="2221955"/>
                  <a:pt x="5216619" y="2221670"/>
                </a:cubicBezTo>
                <a:cubicBezTo>
                  <a:pt x="5215552" y="2222240"/>
                  <a:pt x="5214911" y="2221244"/>
                  <a:pt x="5213418" y="2220959"/>
                </a:cubicBezTo>
                <a:cubicBezTo>
                  <a:pt x="5212991" y="2219963"/>
                  <a:pt x="5213418" y="2218256"/>
                  <a:pt x="5213418" y="2218256"/>
                </a:cubicBezTo>
                <a:cubicBezTo>
                  <a:pt x="5213845" y="2216549"/>
                  <a:pt x="5213845" y="2216549"/>
                  <a:pt x="5212350" y="2216264"/>
                </a:cubicBezTo>
                <a:cubicBezTo>
                  <a:pt x="5212350" y="2216264"/>
                  <a:pt x="5213418" y="2215553"/>
                  <a:pt x="5213418" y="2215553"/>
                </a:cubicBezTo>
                <a:cubicBezTo>
                  <a:pt x="5213845" y="2216549"/>
                  <a:pt x="5213418" y="2215553"/>
                  <a:pt x="5213845" y="2213846"/>
                </a:cubicBezTo>
                <a:cubicBezTo>
                  <a:pt x="5216619" y="2213561"/>
                  <a:pt x="5217473" y="2212992"/>
                  <a:pt x="5219180" y="2213419"/>
                </a:cubicBezTo>
                <a:close/>
                <a:moveTo>
                  <a:pt x="5226436" y="2212850"/>
                </a:moveTo>
                <a:cubicBezTo>
                  <a:pt x="5228144" y="2212565"/>
                  <a:pt x="5230064" y="2212708"/>
                  <a:pt x="5231985" y="2213134"/>
                </a:cubicBezTo>
                <a:cubicBezTo>
                  <a:pt x="5235827" y="2213846"/>
                  <a:pt x="5239668" y="2215838"/>
                  <a:pt x="5242443" y="2217545"/>
                </a:cubicBezTo>
                <a:cubicBezTo>
                  <a:pt x="5242229" y="2220817"/>
                  <a:pt x="5244577" y="2221955"/>
                  <a:pt x="5244363" y="2225369"/>
                </a:cubicBezTo>
                <a:cubicBezTo>
                  <a:pt x="5234760" y="2223805"/>
                  <a:pt x="5224089" y="2223093"/>
                  <a:pt x="5222168" y="2215126"/>
                </a:cubicBezTo>
                <a:cubicBezTo>
                  <a:pt x="5223235" y="2213846"/>
                  <a:pt x="5224729" y="2213134"/>
                  <a:pt x="5226436" y="2212850"/>
                </a:cubicBezTo>
                <a:close/>
                <a:moveTo>
                  <a:pt x="5702575" y="2211996"/>
                </a:moveTo>
                <a:cubicBezTo>
                  <a:pt x="5705137" y="2211996"/>
                  <a:pt x="5705563" y="2212992"/>
                  <a:pt x="5705137" y="2211996"/>
                </a:cubicBezTo>
                <a:cubicBezTo>
                  <a:pt x="5708125" y="2212992"/>
                  <a:pt x="5712180" y="2213561"/>
                  <a:pt x="5711966" y="2216264"/>
                </a:cubicBezTo>
                <a:cubicBezTo>
                  <a:pt x="5709192" y="2225369"/>
                  <a:pt x="5694039" y="2222524"/>
                  <a:pt x="5690624" y="2223093"/>
                </a:cubicBezTo>
                <a:cubicBezTo>
                  <a:pt x="5690624" y="2223093"/>
                  <a:pt x="5689344" y="2223662"/>
                  <a:pt x="5687850" y="2223093"/>
                </a:cubicBezTo>
                <a:cubicBezTo>
                  <a:pt x="5685502" y="2223093"/>
                  <a:pt x="5688276" y="2220248"/>
                  <a:pt x="5686783" y="2219821"/>
                </a:cubicBezTo>
                <a:cubicBezTo>
                  <a:pt x="5695960" y="2217687"/>
                  <a:pt x="5702575" y="2211996"/>
                  <a:pt x="5702575" y="2211996"/>
                </a:cubicBezTo>
                <a:close/>
                <a:moveTo>
                  <a:pt x="5685929" y="2211285"/>
                </a:moveTo>
                <a:cubicBezTo>
                  <a:pt x="5687423" y="2211712"/>
                  <a:pt x="5687423" y="2211712"/>
                  <a:pt x="5687850" y="2212850"/>
                </a:cubicBezTo>
                <a:cubicBezTo>
                  <a:pt x="5687209" y="2214415"/>
                  <a:pt x="5686142" y="2214984"/>
                  <a:pt x="5685502" y="2216549"/>
                </a:cubicBezTo>
                <a:cubicBezTo>
                  <a:pt x="5688490" y="2217687"/>
                  <a:pt x="5688063" y="2216549"/>
                  <a:pt x="5687423" y="2218114"/>
                </a:cubicBezTo>
                <a:cubicBezTo>
                  <a:pt x="5687423" y="2218114"/>
                  <a:pt x="5687423" y="2218114"/>
                  <a:pt x="5686783" y="2219821"/>
                </a:cubicBezTo>
                <a:cubicBezTo>
                  <a:pt x="5686783" y="2219821"/>
                  <a:pt x="5687209" y="2220817"/>
                  <a:pt x="5683155" y="2220248"/>
                </a:cubicBezTo>
                <a:cubicBezTo>
                  <a:pt x="5683795" y="2218683"/>
                  <a:pt x="5685716" y="2213846"/>
                  <a:pt x="5685716" y="2213846"/>
                </a:cubicBezTo>
                <a:cubicBezTo>
                  <a:pt x="5685289" y="2212850"/>
                  <a:pt x="5685289" y="2212850"/>
                  <a:pt x="5685929" y="2211285"/>
                </a:cubicBezTo>
                <a:close/>
                <a:moveTo>
                  <a:pt x="985374" y="2210547"/>
                </a:moveTo>
                <a:cubicBezTo>
                  <a:pt x="985374" y="2210547"/>
                  <a:pt x="985787" y="2211322"/>
                  <a:pt x="985787" y="2211322"/>
                </a:cubicBezTo>
                <a:cubicBezTo>
                  <a:pt x="984961" y="2211477"/>
                  <a:pt x="985787" y="2211322"/>
                  <a:pt x="986923" y="2211941"/>
                </a:cubicBezTo>
                <a:cubicBezTo>
                  <a:pt x="986717" y="2213800"/>
                  <a:pt x="987130" y="2214420"/>
                  <a:pt x="986613" y="2215504"/>
                </a:cubicBezTo>
                <a:cubicBezTo>
                  <a:pt x="986407" y="2216124"/>
                  <a:pt x="985891" y="2216743"/>
                  <a:pt x="985374" y="2217053"/>
                </a:cubicBezTo>
                <a:cubicBezTo>
                  <a:pt x="984858" y="2217518"/>
                  <a:pt x="984342" y="2217673"/>
                  <a:pt x="983722" y="2217363"/>
                </a:cubicBezTo>
                <a:cubicBezTo>
                  <a:pt x="983412" y="2216588"/>
                  <a:pt x="982587" y="2216743"/>
                  <a:pt x="982277" y="2215969"/>
                </a:cubicBezTo>
                <a:cubicBezTo>
                  <a:pt x="981554" y="2215349"/>
                  <a:pt x="981141" y="2214730"/>
                  <a:pt x="980934" y="2214265"/>
                </a:cubicBezTo>
                <a:cubicBezTo>
                  <a:pt x="980728" y="2213800"/>
                  <a:pt x="980728" y="2213335"/>
                  <a:pt x="980934" y="2212716"/>
                </a:cubicBezTo>
                <a:cubicBezTo>
                  <a:pt x="980625" y="2211941"/>
                  <a:pt x="981347" y="2211632"/>
                  <a:pt x="981864" y="2210702"/>
                </a:cubicBezTo>
                <a:cubicBezTo>
                  <a:pt x="982690" y="2210392"/>
                  <a:pt x="983825" y="2211012"/>
                  <a:pt x="983825" y="2211012"/>
                </a:cubicBezTo>
                <a:cubicBezTo>
                  <a:pt x="984961" y="2211477"/>
                  <a:pt x="984961" y="2211632"/>
                  <a:pt x="985374" y="2210547"/>
                </a:cubicBezTo>
                <a:close/>
                <a:moveTo>
                  <a:pt x="756868" y="2209928"/>
                </a:moveTo>
                <a:cubicBezTo>
                  <a:pt x="761515" y="2211787"/>
                  <a:pt x="761825" y="2218137"/>
                  <a:pt x="757797" y="2219686"/>
                </a:cubicBezTo>
                <a:cubicBezTo>
                  <a:pt x="756559" y="2219222"/>
                  <a:pt x="754597" y="2219067"/>
                  <a:pt x="753048" y="2217827"/>
                </a:cubicBezTo>
                <a:cubicBezTo>
                  <a:pt x="751912" y="2213645"/>
                  <a:pt x="753564" y="2211322"/>
                  <a:pt x="756868" y="2209928"/>
                </a:cubicBezTo>
                <a:close/>
                <a:moveTo>
                  <a:pt x="804160" y="2209463"/>
                </a:moveTo>
                <a:cubicBezTo>
                  <a:pt x="804883" y="2209773"/>
                  <a:pt x="805192" y="2210857"/>
                  <a:pt x="805192" y="2210857"/>
                </a:cubicBezTo>
                <a:cubicBezTo>
                  <a:pt x="805502" y="2211941"/>
                  <a:pt x="805502" y="2212096"/>
                  <a:pt x="806741" y="2211632"/>
                </a:cubicBezTo>
                <a:cubicBezTo>
                  <a:pt x="806741" y="2211632"/>
                  <a:pt x="806225" y="2212251"/>
                  <a:pt x="806225" y="2212251"/>
                </a:cubicBezTo>
                <a:cubicBezTo>
                  <a:pt x="805502" y="2211941"/>
                  <a:pt x="806225" y="2212406"/>
                  <a:pt x="806534" y="2213490"/>
                </a:cubicBezTo>
                <a:cubicBezTo>
                  <a:pt x="804986" y="2214730"/>
                  <a:pt x="804470" y="2215504"/>
                  <a:pt x="803231" y="2215814"/>
                </a:cubicBezTo>
                <a:cubicBezTo>
                  <a:pt x="802714" y="2216124"/>
                  <a:pt x="801992" y="2216124"/>
                  <a:pt x="801268" y="2216124"/>
                </a:cubicBezTo>
                <a:cubicBezTo>
                  <a:pt x="800649" y="2216124"/>
                  <a:pt x="800029" y="2215814"/>
                  <a:pt x="799823" y="2215194"/>
                </a:cubicBezTo>
                <a:cubicBezTo>
                  <a:pt x="800339" y="2214420"/>
                  <a:pt x="799513" y="2214110"/>
                  <a:pt x="800029" y="2213335"/>
                </a:cubicBezTo>
                <a:cubicBezTo>
                  <a:pt x="800132" y="2211477"/>
                  <a:pt x="800546" y="2210702"/>
                  <a:pt x="801682" y="2210237"/>
                </a:cubicBezTo>
                <a:cubicBezTo>
                  <a:pt x="802198" y="2209463"/>
                  <a:pt x="802921" y="2209773"/>
                  <a:pt x="804160" y="2209463"/>
                </a:cubicBezTo>
                <a:close/>
                <a:moveTo>
                  <a:pt x="6328109" y="2209293"/>
                </a:moveTo>
                <a:cubicBezTo>
                  <a:pt x="6328963" y="2215695"/>
                  <a:pt x="6322987" y="2224516"/>
                  <a:pt x="6315304" y="2230207"/>
                </a:cubicBezTo>
                <a:cubicBezTo>
                  <a:pt x="6307621" y="2235898"/>
                  <a:pt x="6298230" y="2238458"/>
                  <a:pt x="6292041" y="2232483"/>
                </a:cubicBezTo>
                <a:cubicBezTo>
                  <a:pt x="6307835" y="2228926"/>
                  <a:pt x="6309968" y="2209862"/>
                  <a:pt x="6328109" y="2209293"/>
                </a:cubicBezTo>
                <a:close/>
                <a:moveTo>
                  <a:pt x="1047328" y="2208844"/>
                </a:moveTo>
                <a:cubicBezTo>
                  <a:pt x="1048670" y="2208533"/>
                  <a:pt x="1049909" y="2208379"/>
                  <a:pt x="1050942" y="2208844"/>
                </a:cubicBezTo>
                <a:cubicBezTo>
                  <a:pt x="1052594" y="2210702"/>
                  <a:pt x="1054143" y="2212716"/>
                  <a:pt x="1055692" y="2214575"/>
                </a:cubicBezTo>
                <a:cubicBezTo>
                  <a:pt x="1056311" y="2218911"/>
                  <a:pt x="1053420" y="2222010"/>
                  <a:pt x="1049703" y="2222319"/>
                </a:cubicBezTo>
                <a:cubicBezTo>
                  <a:pt x="1048464" y="2222474"/>
                  <a:pt x="1047018" y="2222319"/>
                  <a:pt x="1045676" y="2221700"/>
                </a:cubicBezTo>
                <a:cubicBezTo>
                  <a:pt x="1043817" y="2220925"/>
                  <a:pt x="1042062" y="2219377"/>
                  <a:pt x="1040513" y="2217053"/>
                </a:cubicBezTo>
                <a:cubicBezTo>
                  <a:pt x="1039481" y="2213800"/>
                  <a:pt x="1043508" y="2209928"/>
                  <a:pt x="1047328" y="2208844"/>
                </a:cubicBezTo>
                <a:close/>
                <a:moveTo>
                  <a:pt x="5684435" y="2208013"/>
                </a:moveTo>
                <a:cubicBezTo>
                  <a:pt x="5683795" y="2209720"/>
                  <a:pt x="5681447" y="2213419"/>
                  <a:pt x="5677392" y="2212708"/>
                </a:cubicBezTo>
                <a:lnTo>
                  <a:pt x="5676752" y="2212850"/>
                </a:lnTo>
                <a:lnTo>
                  <a:pt x="5678886" y="2215268"/>
                </a:lnTo>
                <a:cubicBezTo>
                  <a:pt x="5681447" y="2218968"/>
                  <a:pt x="5682941" y="2222667"/>
                  <a:pt x="5682301" y="2226508"/>
                </a:cubicBezTo>
                <a:lnTo>
                  <a:pt x="5681020" y="2229495"/>
                </a:lnTo>
                <a:lnTo>
                  <a:pt x="5682088" y="2232056"/>
                </a:lnTo>
                <a:cubicBezTo>
                  <a:pt x="5684008" y="2237178"/>
                  <a:pt x="5684862" y="2242726"/>
                  <a:pt x="5683795" y="2249839"/>
                </a:cubicBezTo>
                <a:cubicBezTo>
                  <a:pt x="5677392" y="2247848"/>
                  <a:pt x="5674618" y="2242157"/>
                  <a:pt x="5673550" y="2235755"/>
                </a:cubicBezTo>
                <a:lnTo>
                  <a:pt x="5673550" y="2231629"/>
                </a:lnTo>
                <a:lnTo>
                  <a:pt x="5669922" y="2229211"/>
                </a:lnTo>
                <a:cubicBezTo>
                  <a:pt x="5664587" y="2222667"/>
                  <a:pt x="5663520" y="2210431"/>
                  <a:pt x="5669709" y="2209151"/>
                </a:cubicBezTo>
                <a:cubicBezTo>
                  <a:pt x="5670990" y="2209009"/>
                  <a:pt x="5672484" y="2209151"/>
                  <a:pt x="5674191" y="2209862"/>
                </a:cubicBezTo>
                <a:lnTo>
                  <a:pt x="5674618" y="2210289"/>
                </a:lnTo>
                <a:lnTo>
                  <a:pt x="5675685" y="2209862"/>
                </a:lnTo>
                <a:cubicBezTo>
                  <a:pt x="5678246" y="2208724"/>
                  <a:pt x="5681020" y="2207728"/>
                  <a:pt x="5684435" y="2208013"/>
                </a:cubicBezTo>
                <a:close/>
                <a:moveTo>
                  <a:pt x="1024818" y="2207295"/>
                </a:moveTo>
                <a:cubicBezTo>
                  <a:pt x="1024096" y="2207759"/>
                  <a:pt x="1024096" y="2207759"/>
                  <a:pt x="1024096" y="2207759"/>
                </a:cubicBezTo>
                <a:cubicBezTo>
                  <a:pt x="1023786" y="2208998"/>
                  <a:pt x="1024612" y="2208533"/>
                  <a:pt x="1025025" y="2209153"/>
                </a:cubicBezTo>
                <a:cubicBezTo>
                  <a:pt x="1025025" y="2209153"/>
                  <a:pt x="1024508" y="2208533"/>
                  <a:pt x="1025748" y="2208689"/>
                </a:cubicBezTo>
                <a:cubicBezTo>
                  <a:pt x="1025025" y="2209153"/>
                  <a:pt x="1025438" y="2209773"/>
                  <a:pt x="1025954" y="2210547"/>
                </a:cubicBezTo>
                <a:cubicBezTo>
                  <a:pt x="1025335" y="2212871"/>
                  <a:pt x="1023889" y="2215814"/>
                  <a:pt x="1021927" y="2216124"/>
                </a:cubicBezTo>
                <a:cubicBezTo>
                  <a:pt x="1019552" y="2215814"/>
                  <a:pt x="1019346" y="2213955"/>
                  <a:pt x="1019655" y="2212716"/>
                </a:cubicBezTo>
                <a:cubicBezTo>
                  <a:pt x="1019346" y="2211477"/>
                  <a:pt x="1019965" y="2210237"/>
                  <a:pt x="1020998" y="2209309"/>
                </a:cubicBezTo>
                <a:cubicBezTo>
                  <a:pt x="1022030" y="2208379"/>
                  <a:pt x="1023476" y="2207759"/>
                  <a:pt x="1024818" y="2207295"/>
                </a:cubicBezTo>
                <a:close/>
                <a:moveTo>
                  <a:pt x="5358756" y="2207017"/>
                </a:moveTo>
                <a:cubicBezTo>
                  <a:pt x="5364519" y="2211285"/>
                  <a:pt x="5368574" y="2215411"/>
                  <a:pt x="5370281" y="2219963"/>
                </a:cubicBezTo>
                <a:lnTo>
                  <a:pt x="5370922" y="2227077"/>
                </a:lnTo>
                <a:lnTo>
                  <a:pt x="5374336" y="2224374"/>
                </a:lnTo>
                <a:cubicBezTo>
                  <a:pt x="5376470" y="2223235"/>
                  <a:pt x="5378818" y="2222667"/>
                  <a:pt x="5380952" y="2223378"/>
                </a:cubicBezTo>
                <a:cubicBezTo>
                  <a:pt x="5382233" y="2223805"/>
                  <a:pt x="5383513" y="2224658"/>
                  <a:pt x="5384794" y="2225796"/>
                </a:cubicBezTo>
                <a:cubicBezTo>
                  <a:pt x="5379671" y="2230634"/>
                  <a:pt x="5365586" y="2248986"/>
                  <a:pt x="5358543" y="2241303"/>
                </a:cubicBezTo>
                <a:cubicBezTo>
                  <a:pt x="5359610" y="2240023"/>
                  <a:pt x="5361104" y="2238031"/>
                  <a:pt x="5362811" y="2235898"/>
                </a:cubicBezTo>
                <a:lnTo>
                  <a:pt x="5363025" y="2235471"/>
                </a:lnTo>
                <a:lnTo>
                  <a:pt x="5362171" y="2235471"/>
                </a:lnTo>
                <a:cubicBezTo>
                  <a:pt x="5357903" y="2233906"/>
                  <a:pt x="5355128" y="2229637"/>
                  <a:pt x="5354061" y="2224800"/>
                </a:cubicBezTo>
                <a:cubicBezTo>
                  <a:pt x="5352567" y="2218256"/>
                  <a:pt x="5354061" y="2210716"/>
                  <a:pt x="5358756" y="2207017"/>
                </a:cubicBezTo>
                <a:close/>
                <a:moveTo>
                  <a:pt x="1064675" y="2206210"/>
                </a:moveTo>
                <a:cubicBezTo>
                  <a:pt x="1065501" y="2206210"/>
                  <a:pt x="1065501" y="2206985"/>
                  <a:pt x="1066327" y="2207759"/>
                </a:cubicBezTo>
                <a:cubicBezTo>
                  <a:pt x="1066327" y="2208689"/>
                  <a:pt x="1065398" y="2209463"/>
                  <a:pt x="1065398" y="2209463"/>
                </a:cubicBezTo>
                <a:cubicBezTo>
                  <a:pt x="1064468" y="2210392"/>
                  <a:pt x="1064468" y="2210392"/>
                  <a:pt x="1065295" y="2211167"/>
                </a:cubicBezTo>
                <a:cubicBezTo>
                  <a:pt x="1065295" y="2211167"/>
                  <a:pt x="1064468" y="2211167"/>
                  <a:pt x="1064468" y="2211167"/>
                </a:cubicBezTo>
                <a:cubicBezTo>
                  <a:pt x="1064468" y="2210392"/>
                  <a:pt x="1064468" y="2211167"/>
                  <a:pt x="1063539" y="2212096"/>
                </a:cubicBezTo>
                <a:cubicBezTo>
                  <a:pt x="1061784" y="2211322"/>
                  <a:pt x="1060855" y="2211322"/>
                  <a:pt x="1060029" y="2210547"/>
                </a:cubicBezTo>
                <a:cubicBezTo>
                  <a:pt x="1059616" y="2210237"/>
                  <a:pt x="1059306" y="2209618"/>
                  <a:pt x="1059099" y="2208998"/>
                </a:cubicBezTo>
                <a:cubicBezTo>
                  <a:pt x="1058893" y="2208379"/>
                  <a:pt x="1058893" y="2207759"/>
                  <a:pt x="1059306" y="2207295"/>
                </a:cubicBezTo>
                <a:cubicBezTo>
                  <a:pt x="1060235" y="2207295"/>
                  <a:pt x="1060235" y="2206365"/>
                  <a:pt x="1061165" y="2206365"/>
                </a:cubicBezTo>
                <a:cubicBezTo>
                  <a:pt x="1062920" y="2205436"/>
                  <a:pt x="1063849" y="2205436"/>
                  <a:pt x="1064675" y="2206210"/>
                </a:cubicBezTo>
                <a:close/>
                <a:moveTo>
                  <a:pt x="5014083" y="2205879"/>
                </a:moveTo>
                <a:cubicBezTo>
                  <a:pt x="5016645" y="2206163"/>
                  <a:pt x="5019846" y="2207444"/>
                  <a:pt x="5022833" y="2207870"/>
                </a:cubicBezTo>
                <a:cubicBezTo>
                  <a:pt x="5021767" y="2211285"/>
                  <a:pt x="5019846" y="2213134"/>
                  <a:pt x="5017498" y="2213419"/>
                </a:cubicBezTo>
                <a:cubicBezTo>
                  <a:pt x="5015150" y="2213846"/>
                  <a:pt x="5011949" y="2212708"/>
                  <a:pt x="5008321" y="2210574"/>
                </a:cubicBezTo>
                <a:cubicBezTo>
                  <a:pt x="5009388" y="2206590"/>
                  <a:pt x="5011309" y="2205594"/>
                  <a:pt x="5014083" y="2205879"/>
                </a:cubicBezTo>
                <a:close/>
                <a:moveTo>
                  <a:pt x="6335579" y="2205594"/>
                </a:moveTo>
                <a:cubicBezTo>
                  <a:pt x="6336646" y="2205737"/>
                  <a:pt x="6336432" y="2206732"/>
                  <a:pt x="6337713" y="2207017"/>
                </a:cubicBezTo>
                <a:cubicBezTo>
                  <a:pt x="6337713" y="2207017"/>
                  <a:pt x="6337500" y="2208155"/>
                  <a:pt x="6337713" y="2208155"/>
                </a:cubicBezTo>
                <a:cubicBezTo>
                  <a:pt x="6338140" y="2208155"/>
                  <a:pt x="6338140" y="2208297"/>
                  <a:pt x="6337713" y="2208439"/>
                </a:cubicBezTo>
                <a:cubicBezTo>
                  <a:pt x="6337500" y="2208724"/>
                  <a:pt x="6337073" y="2209151"/>
                  <a:pt x="6336432" y="2210289"/>
                </a:cubicBezTo>
                <a:cubicBezTo>
                  <a:pt x="6335152" y="2211285"/>
                  <a:pt x="6335152" y="2212423"/>
                  <a:pt x="6334085" y="2211000"/>
                </a:cubicBezTo>
                <a:cubicBezTo>
                  <a:pt x="6333018" y="2209720"/>
                  <a:pt x="6333018" y="2209720"/>
                  <a:pt x="6333231" y="2206305"/>
                </a:cubicBezTo>
                <a:cubicBezTo>
                  <a:pt x="6334298" y="2207586"/>
                  <a:pt x="6334298" y="2207586"/>
                  <a:pt x="6335579" y="2206590"/>
                </a:cubicBezTo>
                <a:cubicBezTo>
                  <a:pt x="6335579" y="2206590"/>
                  <a:pt x="6335579" y="2206732"/>
                  <a:pt x="6335579" y="2205594"/>
                </a:cubicBezTo>
                <a:close/>
                <a:moveTo>
                  <a:pt x="4641239" y="2205025"/>
                </a:moveTo>
                <a:cubicBezTo>
                  <a:pt x="4645081" y="2205310"/>
                  <a:pt x="4648069" y="2206590"/>
                  <a:pt x="4649349" y="2206163"/>
                </a:cubicBezTo>
                <a:cubicBezTo>
                  <a:pt x="4652550" y="2210147"/>
                  <a:pt x="4652550" y="2210147"/>
                  <a:pt x="4646788" y="2216406"/>
                </a:cubicBezTo>
                <a:cubicBezTo>
                  <a:pt x="4645508" y="2217545"/>
                  <a:pt x="4644014" y="2218256"/>
                  <a:pt x="4642520" y="2218541"/>
                </a:cubicBezTo>
                <a:cubicBezTo>
                  <a:pt x="4641026" y="2218825"/>
                  <a:pt x="4639318" y="2218541"/>
                  <a:pt x="4637611" y="2217687"/>
                </a:cubicBezTo>
                <a:cubicBezTo>
                  <a:pt x="4635263" y="2218683"/>
                  <a:pt x="4631849" y="2218256"/>
                  <a:pt x="4629501" y="2216691"/>
                </a:cubicBezTo>
                <a:cubicBezTo>
                  <a:pt x="4627367" y="2214131"/>
                  <a:pt x="4627367" y="2211712"/>
                  <a:pt x="4628647" y="2210716"/>
                </a:cubicBezTo>
                <a:cubicBezTo>
                  <a:pt x="4632702" y="2205879"/>
                  <a:pt x="4637398" y="2204883"/>
                  <a:pt x="4641239" y="2205025"/>
                </a:cubicBezTo>
                <a:close/>
                <a:moveTo>
                  <a:pt x="899052" y="2204971"/>
                </a:moveTo>
                <a:cubicBezTo>
                  <a:pt x="907932" y="2203732"/>
                  <a:pt x="911443" y="2213800"/>
                  <a:pt x="907003" y="2217363"/>
                </a:cubicBezTo>
                <a:cubicBezTo>
                  <a:pt x="905454" y="2218447"/>
                  <a:pt x="903079" y="2218911"/>
                  <a:pt x="899775" y="2217982"/>
                </a:cubicBezTo>
                <a:lnTo>
                  <a:pt x="899259" y="2214575"/>
                </a:lnTo>
                <a:lnTo>
                  <a:pt x="898020" y="2214884"/>
                </a:lnTo>
                <a:cubicBezTo>
                  <a:pt x="897090" y="2214884"/>
                  <a:pt x="896058" y="2214575"/>
                  <a:pt x="894922" y="2213955"/>
                </a:cubicBezTo>
                <a:cubicBezTo>
                  <a:pt x="895955" y="2212406"/>
                  <a:pt x="896884" y="2210702"/>
                  <a:pt x="898020" y="2209773"/>
                </a:cubicBezTo>
                <a:lnTo>
                  <a:pt x="898433" y="2209618"/>
                </a:lnTo>
                <a:lnTo>
                  <a:pt x="898123" y="2208069"/>
                </a:lnTo>
                <a:cubicBezTo>
                  <a:pt x="898123" y="2206985"/>
                  <a:pt x="898433" y="2206055"/>
                  <a:pt x="899052" y="2204971"/>
                </a:cubicBezTo>
                <a:close/>
                <a:moveTo>
                  <a:pt x="878401" y="2204042"/>
                </a:moveTo>
                <a:cubicBezTo>
                  <a:pt x="877265" y="2207605"/>
                  <a:pt x="876852" y="2210237"/>
                  <a:pt x="876336" y="2212561"/>
                </a:cubicBezTo>
                <a:lnTo>
                  <a:pt x="876129" y="2213026"/>
                </a:lnTo>
                <a:lnTo>
                  <a:pt x="877885" y="2214420"/>
                </a:lnTo>
                <a:cubicBezTo>
                  <a:pt x="878297" y="2215504"/>
                  <a:pt x="878194" y="2217053"/>
                  <a:pt x="878297" y="2218911"/>
                </a:cubicBezTo>
                <a:cubicBezTo>
                  <a:pt x="877059" y="2218757"/>
                  <a:pt x="876233" y="2222319"/>
                  <a:pt x="875923" y="2223558"/>
                </a:cubicBezTo>
                <a:cubicBezTo>
                  <a:pt x="873548" y="2223094"/>
                  <a:pt x="871896" y="2227121"/>
                  <a:pt x="868282" y="2226657"/>
                </a:cubicBezTo>
                <a:cubicBezTo>
                  <a:pt x="867353" y="2225262"/>
                  <a:pt x="866836" y="2224488"/>
                  <a:pt x="866733" y="2222629"/>
                </a:cubicBezTo>
                <a:cubicBezTo>
                  <a:pt x="867456" y="2220461"/>
                  <a:pt x="868282" y="2218757"/>
                  <a:pt x="869108" y="2217518"/>
                </a:cubicBezTo>
                <a:lnTo>
                  <a:pt x="871792" y="2214575"/>
                </a:lnTo>
                <a:lnTo>
                  <a:pt x="872102" y="2211941"/>
                </a:lnTo>
                <a:cubicBezTo>
                  <a:pt x="872515" y="2210237"/>
                  <a:pt x="873031" y="2208998"/>
                  <a:pt x="873445" y="2208998"/>
                </a:cubicBezTo>
                <a:cubicBezTo>
                  <a:pt x="873341" y="2208069"/>
                  <a:pt x="874270" y="2208069"/>
                  <a:pt x="874167" y="2207140"/>
                </a:cubicBezTo>
                <a:cubicBezTo>
                  <a:pt x="874167" y="2207140"/>
                  <a:pt x="874167" y="2206365"/>
                  <a:pt x="874994" y="2205281"/>
                </a:cubicBezTo>
                <a:cubicBezTo>
                  <a:pt x="875820" y="2204351"/>
                  <a:pt x="876646" y="2203422"/>
                  <a:pt x="878401" y="2204042"/>
                </a:cubicBezTo>
                <a:close/>
                <a:moveTo>
                  <a:pt x="6261522" y="2203175"/>
                </a:moveTo>
                <a:cubicBezTo>
                  <a:pt x="6264083" y="2203602"/>
                  <a:pt x="6265791" y="2205879"/>
                  <a:pt x="6265791" y="2205879"/>
                </a:cubicBezTo>
                <a:cubicBezTo>
                  <a:pt x="6265791" y="2205879"/>
                  <a:pt x="6265791" y="2205879"/>
                  <a:pt x="6265791" y="2204741"/>
                </a:cubicBezTo>
                <a:cubicBezTo>
                  <a:pt x="6265791" y="2207159"/>
                  <a:pt x="6266644" y="2209720"/>
                  <a:pt x="6266644" y="2211996"/>
                </a:cubicBezTo>
                <a:cubicBezTo>
                  <a:pt x="6258961" y="2220390"/>
                  <a:pt x="6257040" y="2216406"/>
                  <a:pt x="6252559" y="2212139"/>
                </a:cubicBezTo>
                <a:cubicBezTo>
                  <a:pt x="6253839" y="2210004"/>
                  <a:pt x="6252985" y="2206163"/>
                  <a:pt x="6255546" y="2204172"/>
                </a:cubicBezTo>
                <a:cubicBezTo>
                  <a:pt x="6255546" y="2204172"/>
                  <a:pt x="6256827" y="2203175"/>
                  <a:pt x="6258961" y="2203602"/>
                </a:cubicBezTo>
                <a:cubicBezTo>
                  <a:pt x="6260028" y="2203175"/>
                  <a:pt x="6260882" y="2203033"/>
                  <a:pt x="6261522" y="2203175"/>
                </a:cubicBezTo>
                <a:close/>
                <a:moveTo>
                  <a:pt x="5626598" y="2201042"/>
                </a:moveTo>
                <a:cubicBezTo>
                  <a:pt x="5627879" y="2201326"/>
                  <a:pt x="5627879" y="2201184"/>
                  <a:pt x="5627665" y="2202464"/>
                </a:cubicBezTo>
                <a:cubicBezTo>
                  <a:pt x="5627879" y="2202322"/>
                  <a:pt x="5627879" y="2202322"/>
                  <a:pt x="5628092" y="2202180"/>
                </a:cubicBezTo>
                <a:lnTo>
                  <a:pt x="5628306" y="2202749"/>
                </a:lnTo>
                <a:lnTo>
                  <a:pt x="5628946" y="2202606"/>
                </a:lnTo>
                <a:cubicBezTo>
                  <a:pt x="5629800" y="2202606"/>
                  <a:pt x="5630653" y="2202749"/>
                  <a:pt x="5631507" y="2203460"/>
                </a:cubicBezTo>
                <a:cubicBezTo>
                  <a:pt x="5632787" y="2203602"/>
                  <a:pt x="5632574" y="2208297"/>
                  <a:pt x="5631507" y="2209293"/>
                </a:cubicBezTo>
                <a:cubicBezTo>
                  <a:pt x="5628946" y="2211427"/>
                  <a:pt x="5627879" y="2212423"/>
                  <a:pt x="5625531" y="2212139"/>
                </a:cubicBezTo>
                <a:cubicBezTo>
                  <a:pt x="5624251" y="2213277"/>
                  <a:pt x="5623183" y="2214273"/>
                  <a:pt x="5622116" y="2214699"/>
                </a:cubicBezTo>
                <a:lnTo>
                  <a:pt x="5619342" y="2213988"/>
                </a:lnTo>
                <a:lnTo>
                  <a:pt x="5621050" y="2214841"/>
                </a:lnTo>
                <a:cubicBezTo>
                  <a:pt x="5621903" y="2215411"/>
                  <a:pt x="5622330" y="2216122"/>
                  <a:pt x="5622330" y="2216976"/>
                </a:cubicBezTo>
                <a:cubicBezTo>
                  <a:pt x="5621263" y="2217687"/>
                  <a:pt x="5621903" y="2218683"/>
                  <a:pt x="5621050" y="2219252"/>
                </a:cubicBezTo>
                <a:cubicBezTo>
                  <a:pt x="5620622" y="2220248"/>
                  <a:pt x="5620195" y="2220675"/>
                  <a:pt x="5619769" y="2221101"/>
                </a:cubicBezTo>
                <a:cubicBezTo>
                  <a:pt x="5621690" y="2219394"/>
                  <a:pt x="5623824" y="2218114"/>
                  <a:pt x="5626385" y="2217972"/>
                </a:cubicBezTo>
                <a:cubicBezTo>
                  <a:pt x="5625104" y="2222240"/>
                  <a:pt x="5623610" y="2226223"/>
                  <a:pt x="5622543" y="2230634"/>
                </a:cubicBezTo>
                <a:lnTo>
                  <a:pt x="5621690" y="2238458"/>
                </a:lnTo>
                <a:lnTo>
                  <a:pt x="5622330" y="2238885"/>
                </a:lnTo>
                <a:lnTo>
                  <a:pt x="5623610" y="2238316"/>
                </a:lnTo>
                <a:lnTo>
                  <a:pt x="5623610" y="2238031"/>
                </a:lnTo>
                <a:cubicBezTo>
                  <a:pt x="5626171" y="2234759"/>
                  <a:pt x="5625104" y="2231203"/>
                  <a:pt x="5627665" y="2228072"/>
                </a:cubicBezTo>
                <a:cubicBezTo>
                  <a:pt x="5627665" y="2228072"/>
                  <a:pt x="5627665" y="2227930"/>
                  <a:pt x="5628733" y="2229211"/>
                </a:cubicBezTo>
                <a:cubicBezTo>
                  <a:pt x="5627452" y="2232056"/>
                  <a:pt x="5627452" y="2235044"/>
                  <a:pt x="5627238" y="2237889"/>
                </a:cubicBezTo>
                <a:lnTo>
                  <a:pt x="5626598" y="2239596"/>
                </a:lnTo>
                <a:lnTo>
                  <a:pt x="5629373" y="2238458"/>
                </a:lnTo>
                <a:cubicBezTo>
                  <a:pt x="5635135" y="2236040"/>
                  <a:pt x="5640684" y="2233336"/>
                  <a:pt x="5647513" y="2234048"/>
                </a:cubicBezTo>
                <a:lnTo>
                  <a:pt x="5653063" y="2235186"/>
                </a:lnTo>
                <a:lnTo>
                  <a:pt x="5652208" y="2231914"/>
                </a:lnTo>
                <a:lnTo>
                  <a:pt x="5648367" y="2231914"/>
                </a:lnTo>
                <a:cubicBezTo>
                  <a:pt x="5641964" y="2229780"/>
                  <a:pt x="5638123" y="2222240"/>
                  <a:pt x="5641537" y="2216406"/>
                </a:cubicBezTo>
                <a:cubicBezTo>
                  <a:pt x="5642818" y="2215980"/>
                  <a:pt x="5644312" y="2215126"/>
                  <a:pt x="5646020" y="2214557"/>
                </a:cubicBezTo>
                <a:lnTo>
                  <a:pt x="5646873" y="2214415"/>
                </a:lnTo>
                <a:lnTo>
                  <a:pt x="5644525" y="2211996"/>
                </a:lnTo>
                <a:lnTo>
                  <a:pt x="5644312" y="2211000"/>
                </a:lnTo>
                <a:lnTo>
                  <a:pt x="5643032" y="2210574"/>
                </a:lnTo>
                <a:cubicBezTo>
                  <a:pt x="5643032" y="2210574"/>
                  <a:pt x="5643032" y="2210574"/>
                  <a:pt x="5643032" y="2209578"/>
                </a:cubicBezTo>
                <a:lnTo>
                  <a:pt x="5644099" y="2210147"/>
                </a:lnTo>
                <a:lnTo>
                  <a:pt x="5643885" y="2208866"/>
                </a:lnTo>
                <a:lnTo>
                  <a:pt x="5643032" y="2209293"/>
                </a:lnTo>
                <a:cubicBezTo>
                  <a:pt x="5643032" y="2209293"/>
                  <a:pt x="5642605" y="2208297"/>
                  <a:pt x="5643245" y="2206732"/>
                </a:cubicBezTo>
                <a:cubicBezTo>
                  <a:pt x="5643245" y="2206732"/>
                  <a:pt x="5643458" y="2206874"/>
                  <a:pt x="5643672" y="2207159"/>
                </a:cubicBezTo>
                <a:lnTo>
                  <a:pt x="5643885" y="2208297"/>
                </a:lnTo>
                <a:lnTo>
                  <a:pt x="5646233" y="2204598"/>
                </a:lnTo>
                <a:cubicBezTo>
                  <a:pt x="5647513" y="2203602"/>
                  <a:pt x="5649434" y="2203175"/>
                  <a:pt x="5651355" y="2203318"/>
                </a:cubicBezTo>
                <a:cubicBezTo>
                  <a:pt x="5653489" y="2203460"/>
                  <a:pt x="5656050" y="2204456"/>
                  <a:pt x="5658184" y="2206590"/>
                </a:cubicBezTo>
                <a:cubicBezTo>
                  <a:pt x="5658184" y="2208013"/>
                  <a:pt x="5657331" y="2209720"/>
                  <a:pt x="5656263" y="2211427"/>
                </a:cubicBezTo>
                <a:lnTo>
                  <a:pt x="5652849" y="2215268"/>
                </a:lnTo>
                <a:lnTo>
                  <a:pt x="5657544" y="2222382"/>
                </a:lnTo>
                <a:lnTo>
                  <a:pt x="5656904" y="2224942"/>
                </a:lnTo>
                <a:lnTo>
                  <a:pt x="5657544" y="2225227"/>
                </a:lnTo>
                <a:cubicBezTo>
                  <a:pt x="5658398" y="2225939"/>
                  <a:pt x="5658825" y="2227077"/>
                  <a:pt x="5658184" y="2228784"/>
                </a:cubicBezTo>
                <a:lnTo>
                  <a:pt x="5656263" y="2228642"/>
                </a:lnTo>
                <a:lnTo>
                  <a:pt x="5656050" y="2229495"/>
                </a:lnTo>
                <a:lnTo>
                  <a:pt x="5656050" y="2230207"/>
                </a:lnTo>
                <a:cubicBezTo>
                  <a:pt x="5656050" y="2230207"/>
                  <a:pt x="5656904" y="2231203"/>
                  <a:pt x="5656477" y="2232910"/>
                </a:cubicBezTo>
                <a:cubicBezTo>
                  <a:pt x="5656263" y="2234617"/>
                  <a:pt x="5656050" y="2236324"/>
                  <a:pt x="5653489" y="2236466"/>
                </a:cubicBezTo>
                <a:lnTo>
                  <a:pt x="5653276" y="2236182"/>
                </a:lnTo>
                <a:lnTo>
                  <a:pt x="5651355" y="2239881"/>
                </a:lnTo>
                <a:cubicBezTo>
                  <a:pt x="5647727" y="2244149"/>
                  <a:pt x="5640897" y="2247564"/>
                  <a:pt x="5633854" y="2249129"/>
                </a:cubicBezTo>
                <a:lnTo>
                  <a:pt x="5624464" y="2249271"/>
                </a:lnTo>
                <a:lnTo>
                  <a:pt x="5628946" y="2252258"/>
                </a:lnTo>
                <a:cubicBezTo>
                  <a:pt x="5632574" y="2255103"/>
                  <a:pt x="5636629" y="2258660"/>
                  <a:pt x="5638336" y="2260083"/>
                </a:cubicBezTo>
                <a:cubicBezTo>
                  <a:pt x="5638336" y="2261221"/>
                  <a:pt x="5638336" y="2261221"/>
                  <a:pt x="5638336" y="2261221"/>
                </a:cubicBezTo>
                <a:cubicBezTo>
                  <a:pt x="5637696" y="2262359"/>
                  <a:pt x="5636842" y="2262502"/>
                  <a:pt x="5635775" y="2262075"/>
                </a:cubicBezTo>
                <a:cubicBezTo>
                  <a:pt x="5634495" y="2261648"/>
                  <a:pt x="5633001" y="2260510"/>
                  <a:pt x="5631293" y="2259087"/>
                </a:cubicBezTo>
                <a:cubicBezTo>
                  <a:pt x="5627879" y="2256384"/>
                  <a:pt x="5624464" y="2251120"/>
                  <a:pt x="5623397" y="2249697"/>
                </a:cubicBezTo>
                <a:lnTo>
                  <a:pt x="5622543" y="2249271"/>
                </a:lnTo>
                <a:lnTo>
                  <a:pt x="5620195" y="2249271"/>
                </a:lnTo>
                <a:lnTo>
                  <a:pt x="5617421" y="2247990"/>
                </a:lnTo>
                <a:lnTo>
                  <a:pt x="5614007" y="2249129"/>
                </a:lnTo>
                <a:lnTo>
                  <a:pt x="5612726" y="2245287"/>
                </a:lnTo>
                <a:lnTo>
                  <a:pt x="5611872" y="2255103"/>
                </a:lnTo>
                <a:cubicBezTo>
                  <a:pt x="5612086" y="2256668"/>
                  <a:pt x="5612299" y="2258091"/>
                  <a:pt x="5612299" y="2258945"/>
                </a:cubicBezTo>
                <a:lnTo>
                  <a:pt x="5612512" y="2259940"/>
                </a:lnTo>
                <a:lnTo>
                  <a:pt x="5612939" y="2260083"/>
                </a:lnTo>
                <a:cubicBezTo>
                  <a:pt x="5614860" y="2262644"/>
                  <a:pt x="5614860" y="2264920"/>
                  <a:pt x="5614433" y="2267481"/>
                </a:cubicBezTo>
                <a:lnTo>
                  <a:pt x="5613580" y="2271180"/>
                </a:lnTo>
                <a:lnTo>
                  <a:pt x="5613793" y="2271180"/>
                </a:lnTo>
                <a:cubicBezTo>
                  <a:pt x="5614433" y="2270896"/>
                  <a:pt x="5615074" y="2271038"/>
                  <a:pt x="5615927" y="2271607"/>
                </a:cubicBezTo>
                <a:cubicBezTo>
                  <a:pt x="5621050" y="2276728"/>
                  <a:pt x="5618915" y="2285123"/>
                  <a:pt x="5617421" y="2289391"/>
                </a:cubicBezTo>
                <a:lnTo>
                  <a:pt x="5616567" y="2291809"/>
                </a:lnTo>
                <a:lnTo>
                  <a:pt x="5617848" y="2291809"/>
                </a:lnTo>
                <a:lnTo>
                  <a:pt x="5616567" y="2292947"/>
                </a:lnTo>
                <a:lnTo>
                  <a:pt x="5616567" y="2293232"/>
                </a:lnTo>
                <a:cubicBezTo>
                  <a:pt x="5615287" y="2293089"/>
                  <a:pt x="5615287" y="2294228"/>
                  <a:pt x="5616567" y="2294370"/>
                </a:cubicBezTo>
                <a:cubicBezTo>
                  <a:pt x="5615287" y="2296077"/>
                  <a:pt x="5614433" y="2297500"/>
                  <a:pt x="5613366" y="2298069"/>
                </a:cubicBezTo>
                <a:cubicBezTo>
                  <a:pt x="5612512" y="2298780"/>
                  <a:pt x="5611659" y="2298638"/>
                  <a:pt x="5610592" y="2297215"/>
                </a:cubicBezTo>
                <a:lnTo>
                  <a:pt x="5610165" y="2296646"/>
                </a:lnTo>
                <a:lnTo>
                  <a:pt x="5603976" y="2297927"/>
                </a:lnTo>
                <a:cubicBezTo>
                  <a:pt x="5601841" y="2294797"/>
                  <a:pt x="5602909" y="2292521"/>
                  <a:pt x="5605256" y="2291098"/>
                </a:cubicBezTo>
                <a:lnTo>
                  <a:pt x="5606323" y="2290671"/>
                </a:lnTo>
                <a:lnTo>
                  <a:pt x="5603336" y="2289675"/>
                </a:lnTo>
                <a:cubicBezTo>
                  <a:pt x="5598853" y="2289959"/>
                  <a:pt x="5593091" y="2293374"/>
                  <a:pt x="5586262" y="2287114"/>
                </a:cubicBezTo>
                <a:cubicBezTo>
                  <a:pt x="5587969" y="2285549"/>
                  <a:pt x="5585835" y="2281565"/>
                  <a:pt x="5586262" y="2278293"/>
                </a:cubicBezTo>
                <a:lnTo>
                  <a:pt x="5587329" y="2276017"/>
                </a:lnTo>
                <a:lnTo>
                  <a:pt x="5585835" y="2277155"/>
                </a:lnTo>
                <a:cubicBezTo>
                  <a:pt x="5584128" y="2276871"/>
                  <a:pt x="5583274" y="2274737"/>
                  <a:pt x="5583274" y="2272034"/>
                </a:cubicBezTo>
                <a:cubicBezTo>
                  <a:pt x="5584768" y="2272461"/>
                  <a:pt x="5586262" y="2270042"/>
                  <a:pt x="5587969" y="2270469"/>
                </a:cubicBezTo>
                <a:cubicBezTo>
                  <a:pt x="5587969" y="2270469"/>
                  <a:pt x="5588610" y="2271038"/>
                  <a:pt x="5589250" y="2271607"/>
                </a:cubicBezTo>
                <a:lnTo>
                  <a:pt x="5590317" y="2272745"/>
                </a:lnTo>
                <a:lnTo>
                  <a:pt x="5592451" y="2270753"/>
                </a:lnTo>
                <a:cubicBezTo>
                  <a:pt x="5596933" y="2267339"/>
                  <a:pt x="5599921" y="2267481"/>
                  <a:pt x="5603549" y="2269046"/>
                </a:cubicBezTo>
                <a:lnTo>
                  <a:pt x="5605256" y="2270042"/>
                </a:lnTo>
                <a:lnTo>
                  <a:pt x="5605256" y="2269615"/>
                </a:lnTo>
                <a:lnTo>
                  <a:pt x="5606323" y="2266201"/>
                </a:lnTo>
                <a:lnTo>
                  <a:pt x="5604403" y="2266485"/>
                </a:lnTo>
                <a:cubicBezTo>
                  <a:pt x="5597573" y="2259798"/>
                  <a:pt x="5607177" y="2247990"/>
                  <a:pt x="5608458" y="2244576"/>
                </a:cubicBezTo>
                <a:cubicBezTo>
                  <a:pt x="5608458" y="2244576"/>
                  <a:pt x="5608458" y="2243437"/>
                  <a:pt x="5609524" y="2242300"/>
                </a:cubicBezTo>
                <a:cubicBezTo>
                  <a:pt x="5609952" y="2241730"/>
                  <a:pt x="5610165" y="2241588"/>
                  <a:pt x="5610592" y="2241588"/>
                </a:cubicBezTo>
                <a:lnTo>
                  <a:pt x="5611232" y="2242015"/>
                </a:lnTo>
                <a:lnTo>
                  <a:pt x="5611872" y="2242015"/>
                </a:lnTo>
                <a:lnTo>
                  <a:pt x="5611659" y="2241303"/>
                </a:lnTo>
                <a:lnTo>
                  <a:pt x="5612512" y="2237036"/>
                </a:lnTo>
                <a:lnTo>
                  <a:pt x="5609952" y="2236893"/>
                </a:lnTo>
                <a:cubicBezTo>
                  <a:pt x="5608244" y="2237036"/>
                  <a:pt x="5606537" y="2237320"/>
                  <a:pt x="5606110" y="2238173"/>
                </a:cubicBezTo>
                <a:cubicBezTo>
                  <a:pt x="5605683" y="2237036"/>
                  <a:pt x="5604189" y="2236324"/>
                  <a:pt x="5604189" y="2236324"/>
                </a:cubicBezTo>
                <a:cubicBezTo>
                  <a:pt x="5605043" y="2234759"/>
                  <a:pt x="5606110" y="2234475"/>
                  <a:pt x="5607177" y="2234048"/>
                </a:cubicBezTo>
                <a:cubicBezTo>
                  <a:pt x="5608671" y="2234617"/>
                  <a:pt x="5609098" y="2235755"/>
                  <a:pt x="5610379" y="2236324"/>
                </a:cubicBezTo>
                <a:lnTo>
                  <a:pt x="5612726" y="2236040"/>
                </a:lnTo>
                <a:lnTo>
                  <a:pt x="5613366" y="2231060"/>
                </a:lnTo>
                <a:cubicBezTo>
                  <a:pt x="5614647" y="2227361"/>
                  <a:pt x="5616567" y="2223947"/>
                  <a:pt x="5619129" y="2221528"/>
                </a:cubicBezTo>
                <a:cubicBezTo>
                  <a:pt x="5618488" y="2221813"/>
                  <a:pt x="5618062" y="2221955"/>
                  <a:pt x="5617208" y="2221813"/>
                </a:cubicBezTo>
                <a:cubicBezTo>
                  <a:pt x="5616354" y="2222382"/>
                  <a:pt x="5615714" y="2221386"/>
                  <a:pt x="5614007" y="2220959"/>
                </a:cubicBezTo>
                <a:lnTo>
                  <a:pt x="5613793" y="2219678"/>
                </a:lnTo>
                <a:lnTo>
                  <a:pt x="5612299" y="2219963"/>
                </a:lnTo>
                <a:cubicBezTo>
                  <a:pt x="5609738" y="2220390"/>
                  <a:pt x="5607391" y="2220390"/>
                  <a:pt x="5606750" y="2219678"/>
                </a:cubicBezTo>
                <a:cubicBezTo>
                  <a:pt x="5608031" y="2219252"/>
                  <a:pt x="5610592" y="2218398"/>
                  <a:pt x="5613366" y="2217972"/>
                </a:cubicBezTo>
                <a:lnTo>
                  <a:pt x="5613580" y="2217972"/>
                </a:lnTo>
                <a:lnTo>
                  <a:pt x="5613580" y="2216833"/>
                </a:lnTo>
                <a:cubicBezTo>
                  <a:pt x="5613366" y="2216549"/>
                  <a:pt x="5613153" y="2216406"/>
                  <a:pt x="5612299" y="2216264"/>
                </a:cubicBezTo>
                <a:cubicBezTo>
                  <a:pt x="5612299" y="2216264"/>
                  <a:pt x="5613153" y="2215553"/>
                  <a:pt x="5613153" y="2215553"/>
                </a:cubicBezTo>
                <a:cubicBezTo>
                  <a:pt x="5613793" y="2216549"/>
                  <a:pt x="5613153" y="2215695"/>
                  <a:pt x="5613366" y="2213988"/>
                </a:cubicBezTo>
                <a:cubicBezTo>
                  <a:pt x="5615927" y="2213703"/>
                  <a:pt x="5616994" y="2213134"/>
                  <a:pt x="5618702" y="2213561"/>
                </a:cubicBezTo>
                <a:lnTo>
                  <a:pt x="5623397" y="2204883"/>
                </a:lnTo>
                <a:lnTo>
                  <a:pt x="5625958" y="2203460"/>
                </a:lnTo>
                <a:close/>
                <a:moveTo>
                  <a:pt x="1119401" y="2200324"/>
                </a:moveTo>
                <a:cubicBezTo>
                  <a:pt x="1123015" y="2198620"/>
                  <a:pt x="1127248" y="2198620"/>
                  <a:pt x="1128797" y="2201563"/>
                </a:cubicBezTo>
                <a:cubicBezTo>
                  <a:pt x="1129313" y="2202338"/>
                  <a:pt x="1129520" y="2203422"/>
                  <a:pt x="1129520" y="2204816"/>
                </a:cubicBezTo>
                <a:cubicBezTo>
                  <a:pt x="1126009" y="2210702"/>
                  <a:pt x="1121776" y="2214110"/>
                  <a:pt x="1114858" y="2211012"/>
                </a:cubicBezTo>
                <a:cubicBezTo>
                  <a:pt x="1115374" y="2210083"/>
                  <a:pt x="1114341" y="2209309"/>
                  <a:pt x="1113309" y="2208689"/>
                </a:cubicBezTo>
                <a:cubicBezTo>
                  <a:pt x="1112586" y="2204971"/>
                  <a:pt x="1115684" y="2201873"/>
                  <a:pt x="1119401" y="2200324"/>
                </a:cubicBezTo>
                <a:close/>
                <a:moveTo>
                  <a:pt x="785677" y="2200324"/>
                </a:moveTo>
                <a:cubicBezTo>
                  <a:pt x="788981" y="2199704"/>
                  <a:pt x="793627" y="2200479"/>
                  <a:pt x="795486" y="2201563"/>
                </a:cubicBezTo>
                <a:cubicBezTo>
                  <a:pt x="796312" y="2204351"/>
                  <a:pt x="795796" y="2206210"/>
                  <a:pt x="794660" y="2207605"/>
                </a:cubicBezTo>
                <a:cubicBezTo>
                  <a:pt x="791150" y="2211322"/>
                  <a:pt x="781443" y="2208689"/>
                  <a:pt x="783095" y="2201254"/>
                </a:cubicBezTo>
                <a:cubicBezTo>
                  <a:pt x="783715" y="2200789"/>
                  <a:pt x="784644" y="2200479"/>
                  <a:pt x="785677" y="2200324"/>
                </a:cubicBezTo>
                <a:close/>
                <a:moveTo>
                  <a:pt x="1094310" y="2199550"/>
                </a:moveTo>
                <a:cubicBezTo>
                  <a:pt x="1097407" y="2199085"/>
                  <a:pt x="1102570" y="2200479"/>
                  <a:pt x="1105048" y="2201718"/>
                </a:cubicBezTo>
                <a:cubicBezTo>
                  <a:pt x="1104635" y="2202338"/>
                  <a:pt x="1103809" y="2202647"/>
                  <a:pt x="1102777" y="2202802"/>
                </a:cubicBezTo>
                <a:cubicBezTo>
                  <a:pt x="1099679" y="2203112"/>
                  <a:pt x="1094516" y="2201718"/>
                  <a:pt x="1092038" y="2200479"/>
                </a:cubicBezTo>
                <a:cubicBezTo>
                  <a:pt x="1092451" y="2199859"/>
                  <a:pt x="1093277" y="2199550"/>
                  <a:pt x="1094310" y="2199550"/>
                </a:cubicBezTo>
                <a:close/>
                <a:moveTo>
                  <a:pt x="933643" y="2198620"/>
                </a:moveTo>
                <a:cubicBezTo>
                  <a:pt x="935915" y="2199550"/>
                  <a:pt x="937051" y="2200014"/>
                  <a:pt x="939012" y="2200169"/>
                </a:cubicBezTo>
                <a:cubicBezTo>
                  <a:pt x="937773" y="2203267"/>
                  <a:pt x="937773" y="2206055"/>
                  <a:pt x="937257" y="2208069"/>
                </a:cubicBezTo>
                <a:lnTo>
                  <a:pt x="936534" y="2209309"/>
                </a:lnTo>
                <a:lnTo>
                  <a:pt x="936431" y="2211787"/>
                </a:lnTo>
                <a:cubicBezTo>
                  <a:pt x="935708" y="2213800"/>
                  <a:pt x="934469" y="2215659"/>
                  <a:pt x="932714" y="2216278"/>
                </a:cubicBezTo>
                <a:cubicBezTo>
                  <a:pt x="928687" y="2218292"/>
                  <a:pt x="926002" y="2217827"/>
                  <a:pt x="923627" y="2216898"/>
                </a:cubicBezTo>
                <a:cubicBezTo>
                  <a:pt x="923627" y="2216898"/>
                  <a:pt x="923731" y="2216898"/>
                  <a:pt x="924453" y="2217208"/>
                </a:cubicBezTo>
                <a:cubicBezTo>
                  <a:pt x="925795" y="2221700"/>
                  <a:pt x="928067" y="2229445"/>
                  <a:pt x="926105" y="2231303"/>
                </a:cubicBezTo>
                <a:cubicBezTo>
                  <a:pt x="925279" y="2230994"/>
                  <a:pt x="924556" y="2230529"/>
                  <a:pt x="924143" y="2229445"/>
                </a:cubicBezTo>
                <a:cubicBezTo>
                  <a:pt x="923834" y="2228360"/>
                  <a:pt x="924660" y="2228670"/>
                  <a:pt x="923834" y="2228360"/>
                </a:cubicBezTo>
                <a:cubicBezTo>
                  <a:pt x="923524" y="2227276"/>
                  <a:pt x="923111" y="2228051"/>
                  <a:pt x="923111" y="2228051"/>
                </a:cubicBezTo>
                <a:cubicBezTo>
                  <a:pt x="923111" y="2228051"/>
                  <a:pt x="923524" y="2227276"/>
                  <a:pt x="923524" y="2227276"/>
                </a:cubicBezTo>
                <a:cubicBezTo>
                  <a:pt x="923524" y="2227276"/>
                  <a:pt x="923524" y="2227276"/>
                  <a:pt x="922801" y="2225108"/>
                </a:cubicBezTo>
                <a:cubicBezTo>
                  <a:pt x="921356" y="2222474"/>
                  <a:pt x="920633" y="2222165"/>
                  <a:pt x="919497" y="2220615"/>
                </a:cubicBezTo>
                <a:cubicBezTo>
                  <a:pt x="918878" y="2218447"/>
                  <a:pt x="919290" y="2217673"/>
                  <a:pt x="919084" y="2214730"/>
                </a:cubicBezTo>
                <a:cubicBezTo>
                  <a:pt x="920736" y="2213490"/>
                  <a:pt x="920736" y="2213645"/>
                  <a:pt x="921459" y="2213955"/>
                </a:cubicBezTo>
                <a:cubicBezTo>
                  <a:pt x="920736" y="2213645"/>
                  <a:pt x="921149" y="2212716"/>
                  <a:pt x="920839" y="2211632"/>
                </a:cubicBezTo>
                <a:cubicBezTo>
                  <a:pt x="918258" y="2207605"/>
                  <a:pt x="921975" y="2204661"/>
                  <a:pt x="927138" y="2202183"/>
                </a:cubicBezTo>
                <a:cubicBezTo>
                  <a:pt x="927448" y="2203422"/>
                  <a:pt x="930339" y="2201718"/>
                  <a:pt x="932300" y="2201718"/>
                </a:cubicBezTo>
                <a:lnTo>
                  <a:pt x="932817" y="2202028"/>
                </a:lnTo>
                <a:close/>
                <a:moveTo>
                  <a:pt x="4709534" y="2197911"/>
                </a:moveTo>
                <a:cubicBezTo>
                  <a:pt x="4709960" y="2199050"/>
                  <a:pt x="4710814" y="2201184"/>
                  <a:pt x="4710174" y="2202891"/>
                </a:cubicBezTo>
                <a:cubicBezTo>
                  <a:pt x="4710600" y="2204029"/>
                  <a:pt x="4706972" y="2204456"/>
                  <a:pt x="4706972" y="2204456"/>
                </a:cubicBezTo>
                <a:cubicBezTo>
                  <a:pt x="4705479" y="2203887"/>
                  <a:pt x="4706332" y="2199477"/>
                  <a:pt x="4705905" y="2198481"/>
                </a:cubicBezTo>
                <a:cubicBezTo>
                  <a:pt x="4706972" y="2197911"/>
                  <a:pt x="4708467" y="2198481"/>
                  <a:pt x="4709534" y="2197911"/>
                </a:cubicBezTo>
                <a:close/>
                <a:moveTo>
                  <a:pt x="1067360" y="2197381"/>
                </a:moveTo>
                <a:cubicBezTo>
                  <a:pt x="1069528" y="2197226"/>
                  <a:pt x="1072006" y="2198000"/>
                  <a:pt x="1074485" y="2199550"/>
                </a:cubicBezTo>
                <a:lnTo>
                  <a:pt x="1076550" y="2201254"/>
                </a:lnTo>
                <a:lnTo>
                  <a:pt x="1079338" y="2200634"/>
                </a:lnTo>
                <a:cubicBezTo>
                  <a:pt x="1080887" y="2200634"/>
                  <a:pt x="1082125" y="2201099"/>
                  <a:pt x="1082538" y="2201718"/>
                </a:cubicBezTo>
                <a:cubicBezTo>
                  <a:pt x="1082435" y="2202028"/>
                  <a:pt x="1082125" y="2202493"/>
                  <a:pt x="1081609" y="2202957"/>
                </a:cubicBezTo>
                <a:lnTo>
                  <a:pt x="1079854" y="2204042"/>
                </a:lnTo>
                <a:lnTo>
                  <a:pt x="1081506" y="2205436"/>
                </a:lnTo>
                <a:cubicBezTo>
                  <a:pt x="1085533" y="2210237"/>
                  <a:pt x="1087908" y="2215969"/>
                  <a:pt x="1085120" y="2219686"/>
                </a:cubicBezTo>
                <a:cubicBezTo>
                  <a:pt x="1082229" y="2215349"/>
                  <a:pt x="1078925" y="2212561"/>
                  <a:pt x="1075827" y="2209309"/>
                </a:cubicBezTo>
                <a:lnTo>
                  <a:pt x="1072109" y="2205281"/>
                </a:lnTo>
                <a:lnTo>
                  <a:pt x="1070458" y="2206210"/>
                </a:lnTo>
                <a:cubicBezTo>
                  <a:pt x="1070148" y="2205436"/>
                  <a:pt x="1069528" y="2203887"/>
                  <a:pt x="1067566" y="2203577"/>
                </a:cubicBezTo>
                <a:cubicBezTo>
                  <a:pt x="1067979" y="2202493"/>
                  <a:pt x="1068496" y="2201408"/>
                  <a:pt x="1069115" y="2200789"/>
                </a:cubicBezTo>
                <a:lnTo>
                  <a:pt x="1069322" y="2200789"/>
                </a:lnTo>
                <a:close/>
                <a:moveTo>
                  <a:pt x="5054420" y="2197200"/>
                </a:moveTo>
                <a:cubicBezTo>
                  <a:pt x="5055701" y="2197058"/>
                  <a:pt x="5057194" y="2197200"/>
                  <a:pt x="5058902" y="2197911"/>
                </a:cubicBezTo>
                <a:cubicBezTo>
                  <a:pt x="5059969" y="2201468"/>
                  <a:pt x="5057621" y="2208439"/>
                  <a:pt x="5054420" y="2209293"/>
                </a:cubicBezTo>
                <a:cubicBezTo>
                  <a:pt x="5052926" y="2208439"/>
                  <a:pt x="5051646" y="2207586"/>
                  <a:pt x="5050151" y="2206732"/>
                </a:cubicBezTo>
                <a:cubicBezTo>
                  <a:pt x="5049511" y="2202180"/>
                  <a:pt x="5050792" y="2197769"/>
                  <a:pt x="5054420" y="2197200"/>
                </a:cubicBezTo>
                <a:close/>
                <a:moveTo>
                  <a:pt x="4997223" y="2196062"/>
                </a:moveTo>
                <a:lnTo>
                  <a:pt x="4997650" y="2197343"/>
                </a:lnTo>
                <a:lnTo>
                  <a:pt x="5000638" y="2197200"/>
                </a:lnTo>
                <a:cubicBezTo>
                  <a:pt x="5004053" y="2197627"/>
                  <a:pt x="5007681" y="2198623"/>
                  <a:pt x="5011309" y="2200615"/>
                </a:cubicBezTo>
                <a:cubicBezTo>
                  <a:pt x="4996370" y="2219394"/>
                  <a:pt x="4993382" y="2235328"/>
                  <a:pt x="4984418" y="2254108"/>
                </a:cubicBezTo>
                <a:cubicBezTo>
                  <a:pt x="4978442" y="2254108"/>
                  <a:pt x="4972466" y="2251404"/>
                  <a:pt x="4963503" y="2243437"/>
                </a:cubicBezTo>
                <a:cubicBezTo>
                  <a:pt x="4987406" y="2227361"/>
                  <a:pt x="4954326" y="2216691"/>
                  <a:pt x="4972466" y="2203318"/>
                </a:cubicBezTo>
                <a:cubicBezTo>
                  <a:pt x="4976949" y="2202322"/>
                  <a:pt x="4981430" y="2200473"/>
                  <a:pt x="4986125" y="2199192"/>
                </a:cubicBezTo>
                <a:lnTo>
                  <a:pt x="4992741" y="2197627"/>
                </a:lnTo>
                <a:close/>
                <a:moveTo>
                  <a:pt x="5341896" y="2195493"/>
                </a:moveTo>
                <a:cubicBezTo>
                  <a:pt x="5344457" y="2195636"/>
                  <a:pt x="5347445" y="2196916"/>
                  <a:pt x="5350433" y="2197200"/>
                </a:cubicBezTo>
                <a:cubicBezTo>
                  <a:pt x="5348726" y="2200757"/>
                  <a:pt x="5346805" y="2202606"/>
                  <a:pt x="5344244" y="2203033"/>
                </a:cubicBezTo>
                <a:cubicBezTo>
                  <a:pt x="5341896" y="2203460"/>
                  <a:pt x="5338909" y="2202464"/>
                  <a:pt x="5335494" y="2200473"/>
                </a:cubicBezTo>
                <a:cubicBezTo>
                  <a:pt x="5337201" y="2196347"/>
                  <a:pt x="5339335" y="2195351"/>
                  <a:pt x="5341896" y="2195493"/>
                </a:cubicBezTo>
                <a:close/>
                <a:moveTo>
                  <a:pt x="5272961" y="2195208"/>
                </a:moveTo>
                <a:cubicBezTo>
                  <a:pt x="5277016" y="2201610"/>
                  <a:pt x="5279791" y="2207586"/>
                  <a:pt x="5281499" y="2213419"/>
                </a:cubicBezTo>
                <a:lnTo>
                  <a:pt x="5283632" y="2228784"/>
                </a:lnTo>
                <a:lnTo>
                  <a:pt x="5283419" y="2223235"/>
                </a:lnTo>
                <a:cubicBezTo>
                  <a:pt x="5283846" y="2221955"/>
                  <a:pt x="5284700" y="2221101"/>
                  <a:pt x="5285980" y="2220532"/>
                </a:cubicBezTo>
                <a:cubicBezTo>
                  <a:pt x="5293023" y="2216549"/>
                  <a:pt x="5303481" y="2222382"/>
                  <a:pt x="5307749" y="2232767"/>
                </a:cubicBezTo>
                <a:cubicBezTo>
                  <a:pt x="5314792" y="2248702"/>
                  <a:pt x="5311377" y="2258660"/>
                  <a:pt x="5311377" y="2258660"/>
                </a:cubicBezTo>
                <a:cubicBezTo>
                  <a:pt x="5298358" y="2264493"/>
                  <a:pt x="5291316" y="2248559"/>
                  <a:pt x="5286834" y="2238173"/>
                </a:cubicBezTo>
                <a:lnTo>
                  <a:pt x="5283846" y="2230349"/>
                </a:lnTo>
                <a:lnTo>
                  <a:pt x="5282139" y="2240592"/>
                </a:lnTo>
                <a:cubicBezTo>
                  <a:pt x="5273175" y="2238600"/>
                  <a:pt x="5272321" y="2227504"/>
                  <a:pt x="5269760" y="2219678"/>
                </a:cubicBezTo>
                <a:cubicBezTo>
                  <a:pt x="5266559" y="2221955"/>
                  <a:pt x="5262931" y="2225369"/>
                  <a:pt x="5259303" y="2227219"/>
                </a:cubicBezTo>
                <a:lnTo>
                  <a:pt x="5254181" y="2228499"/>
                </a:lnTo>
                <a:lnTo>
                  <a:pt x="5254181" y="2229211"/>
                </a:lnTo>
                <a:cubicBezTo>
                  <a:pt x="5254181" y="2229211"/>
                  <a:pt x="5254821" y="2230207"/>
                  <a:pt x="5254181" y="2231914"/>
                </a:cubicBezTo>
                <a:cubicBezTo>
                  <a:pt x="5253754" y="2233621"/>
                  <a:pt x="5253114" y="2235328"/>
                  <a:pt x="5250553" y="2235613"/>
                </a:cubicBezTo>
                <a:cubicBezTo>
                  <a:pt x="5249486" y="2225369"/>
                  <a:pt x="5247351" y="2221244"/>
                  <a:pt x="5247351" y="2213134"/>
                </a:cubicBezTo>
                <a:cubicBezTo>
                  <a:pt x="5248419" y="2212565"/>
                  <a:pt x="5248845" y="2213561"/>
                  <a:pt x="5249912" y="2212850"/>
                </a:cubicBezTo>
                <a:cubicBezTo>
                  <a:pt x="5250553" y="2213134"/>
                  <a:pt x="5251406" y="2213988"/>
                  <a:pt x="5252047" y="2215268"/>
                </a:cubicBezTo>
                <a:lnTo>
                  <a:pt x="5252900" y="2218398"/>
                </a:lnTo>
                <a:lnTo>
                  <a:pt x="5255888" y="2215980"/>
                </a:lnTo>
                <a:cubicBezTo>
                  <a:pt x="5259730" y="2213703"/>
                  <a:pt x="5264425" y="2211854"/>
                  <a:pt x="5267626" y="2208439"/>
                </a:cubicBezTo>
                <a:cubicBezTo>
                  <a:pt x="5269547" y="2204029"/>
                  <a:pt x="5265492" y="2199477"/>
                  <a:pt x="5272961" y="2195208"/>
                </a:cubicBezTo>
                <a:close/>
                <a:moveTo>
                  <a:pt x="5073414" y="2194924"/>
                </a:moveTo>
                <a:cubicBezTo>
                  <a:pt x="5074481" y="2194782"/>
                  <a:pt x="5075548" y="2194782"/>
                  <a:pt x="5076615" y="2195066"/>
                </a:cubicBezTo>
                <a:cubicBezTo>
                  <a:pt x="5078536" y="2195636"/>
                  <a:pt x="5080457" y="2197058"/>
                  <a:pt x="5082164" y="2199334"/>
                </a:cubicBezTo>
                <a:cubicBezTo>
                  <a:pt x="5083018" y="2204172"/>
                  <a:pt x="5081524" y="2208439"/>
                  <a:pt x="5078536" y="2210289"/>
                </a:cubicBezTo>
                <a:lnTo>
                  <a:pt x="5073841" y="2211285"/>
                </a:lnTo>
                <a:lnTo>
                  <a:pt x="5073841" y="2213134"/>
                </a:lnTo>
                <a:cubicBezTo>
                  <a:pt x="5072134" y="2215126"/>
                  <a:pt x="5069573" y="2214984"/>
                  <a:pt x="5067012" y="2214699"/>
                </a:cubicBezTo>
                <a:cubicBezTo>
                  <a:pt x="5065091" y="2214273"/>
                  <a:pt x="5064237" y="2213277"/>
                  <a:pt x="5064024" y="2212139"/>
                </a:cubicBezTo>
                <a:cubicBezTo>
                  <a:pt x="5063810" y="2211000"/>
                  <a:pt x="5064237" y="2209436"/>
                  <a:pt x="5064877" y="2207870"/>
                </a:cubicBezTo>
                <a:lnTo>
                  <a:pt x="5067012" y="2205737"/>
                </a:lnTo>
                <a:lnTo>
                  <a:pt x="5067012" y="2201753"/>
                </a:lnTo>
                <a:cubicBezTo>
                  <a:pt x="5067865" y="2198054"/>
                  <a:pt x="5070426" y="2195493"/>
                  <a:pt x="5073414" y="2194924"/>
                </a:cubicBezTo>
                <a:close/>
                <a:moveTo>
                  <a:pt x="4948564" y="2194497"/>
                </a:moveTo>
                <a:cubicBezTo>
                  <a:pt x="4952832" y="2194924"/>
                  <a:pt x="4957527" y="2198623"/>
                  <a:pt x="4957954" y="2205310"/>
                </a:cubicBezTo>
                <a:cubicBezTo>
                  <a:pt x="4954539" y="2208724"/>
                  <a:pt x="4951338" y="2209720"/>
                  <a:pt x="4948991" y="2210858"/>
                </a:cubicBezTo>
                <a:cubicBezTo>
                  <a:pt x="4946643" y="2208297"/>
                  <a:pt x="4944296" y="2207017"/>
                  <a:pt x="4941734" y="2204598"/>
                </a:cubicBezTo>
                <a:cubicBezTo>
                  <a:pt x="4940453" y="2197343"/>
                  <a:pt x="4944296" y="2194213"/>
                  <a:pt x="4948564" y="2194497"/>
                </a:cubicBezTo>
                <a:close/>
                <a:moveTo>
                  <a:pt x="886558" y="2194128"/>
                </a:moveTo>
                <a:cubicBezTo>
                  <a:pt x="887591" y="2197536"/>
                  <a:pt x="885113" y="2200169"/>
                  <a:pt x="885629" y="2204197"/>
                </a:cubicBezTo>
                <a:cubicBezTo>
                  <a:pt x="882841" y="2205745"/>
                  <a:pt x="882944" y="2210702"/>
                  <a:pt x="878917" y="2212716"/>
                </a:cubicBezTo>
                <a:cubicBezTo>
                  <a:pt x="878194" y="2211322"/>
                  <a:pt x="878091" y="2209618"/>
                  <a:pt x="878401" y="2207759"/>
                </a:cubicBezTo>
                <a:cubicBezTo>
                  <a:pt x="879330" y="2202183"/>
                  <a:pt x="883873" y="2195058"/>
                  <a:pt x="886558" y="2194128"/>
                </a:cubicBezTo>
                <a:close/>
                <a:moveTo>
                  <a:pt x="1007381" y="2193490"/>
                </a:moveTo>
                <a:cubicBezTo>
                  <a:pt x="1009046" y="2194090"/>
                  <a:pt x="1010259" y="2195445"/>
                  <a:pt x="1009949" y="2197846"/>
                </a:cubicBezTo>
                <a:cubicBezTo>
                  <a:pt x="1009949" y="2198620"/>
                  <a:pt x="1009330" y="2199240"/>
                  <a:pt x="1008400" y="2199550"/>
                </a:cubicBezTo>
                <a:cubicBezTo>
                  <a:pt x="1005509" y="2200479"/>
                  <a:pt x="1000037" y="2198930"/>
                  <a:pt x="1000140" y="2195367"/>
                </a:cubicBezTo>
                <a:cubicBezTo>
                  <a:pt x="1000346" y="2194748"/>
                  <a:pt x="1001069" y="2194128"/>
                  <a:pt x="1002102" y="2193664"/>
                </a:cubicBezTo>
                <a:cubicBezTo>
                  <a:pt x="1003599" y="2193044"/>
                  <a:pt x="1005716" y="2192889"/>
                  <a:pt x="1007381" y="2193490"/>
                </a:cubicBezTo>
                <a:close/>
                <a:moveTo>
                  <a:pt x="4641453" y="2193217"/>
                </a:moveTo>
                <a:cubicBezTo>
                  <a:pt x="4642093" y="2193501"/>
                  <a:pt x="4642306" y="2194070"/>
                  <a:pt x="4642306" y="2194639"/>
                </a:cubicBezTo>
                <a:cubicBezTo>
                  <a:pt x="4642093" y="2195351"/>
                  <a:pt x="4641879" y="2196205"/>
                  <a:pt x="4641453" y="2197058"/>
                </a:cubicBezTo>
                <a:cubicBezTo>
                  <a:pt x="4640812" y="2198765"/>
                  <a:pt x="4640172" y="2200330"/>
                  <a:pt x="4639532" y="2202037"/>
                </a:cubicBezTo>
                <a:cubicBezTo>
                  <a:pt x="4639532" y="2202037"/>
                  <a:pt x="4639532" y="2202037"/>
                  <a:pt x="4641453" y="2193217"/>
                </a:cubicBezTo>
                <a:close/>
                <a:moveTo>
                  <a:pt x="945208" y="2192889"/>
                </a:moveTo>
                <a:cubicBezTo>
                  <a:pt x="948409" y="2192734"/>
                  <a:pt x="948925" y="2195367"/>
                  <a:pt x="951403" y="2195677"/>
                </a:cubicBezTo>
                <a:lnTo>
                  <a:pt x="950474" y="2197072"/>
                </a:lnTo>
                <a:lnTo>
                  <a:pt x="957701" y="2201254"/>
                </a:lnTo>
                <a:cubicBezTo>
                  <a:pt x="959663" y="2203267"/>
                  <a:pt x="961109" y="2205591"/>
                  <a:pt x="962038" y="2208069"/>
                </a:cubicBezTo>
                <a:lnTo>
                  <a:pt x="962864" y="2212871"/>
                </a:lnTo>
                <a:lnTo>
                  <a:pt x="965033" y="2209928"/>
                </a:lnTo>
                <a:cubicBezTo>
                  <a:pt x="968234" y="2206675"/>
                  <a:pt x="972261" y="2203887"/>
                  <a:pt x="977527" y="2201873"/>
                </a:cubicBezTo>
                <a:cubicBezTo>
                  <a:pt x="982587" y="2204351"/>
                  <a:pt x="982070" y="2208844"/>
                  <a:pt x="979076" y="2213026"/>
                </a:cubicBezTo>
                <a:cubicBezTo>
                  <a:pt x="977217" y="2215659"/>
                  <a:pt x="974429" y="2218292"/>
                  <a:pt x="971332" y="2219996"/>
                </a:cubicBezTo>
                <a:lnTo>
                  <a:pt x="970196" y="2220461"/>
                </a:lnTo>
                <a:lnTo>
                  <a:pt x="971641" y="2222165"/>
                </a:lnTo>
                <a:cubicBezTo>
                  <a:pt x="971951" y="2223249"/>
                  <a:pt x="972054" y="2224798"/>
                  <a:pt x="971744" y="2226501"/>
                </a:cubicBezTo>
                <a:cubicBezTo>
                  <a:pt x="968957" y="2227431"/>
                  <a:pt x="965343" y="2229135"/>
                  <a:pt x="961625" y="2229600"/>
                </a:cubicBezTo>
                <a:lnTo>
                  <a:pt x="958218" y="2229445"/>
                </a:lnTo>
                <a:lnTo>
                  <a:pt x="953778" y="2234401"/>
                </a:lnTo>
                <a:cubicBezTo>
                  <a:pt x="952642" y="2233937"/>
                  <a:pt x="951609" y="2233317"/>
                  <a:pt x="950990" y="2234401"/>
                </a:cubicBezTo>
                <a:cubicBezTo>
                  <a:pt x="947376" y="2233007"/>
                  <a:pt x="944691" y="2230529"/>
                  <a:pt x="942729" y="2227276"/>
                </a:cubicBezTo>
                <a:lnTo>
                  <a:pt x="942523" y="2226501"/>
                </a:lnTo>
                <a:lnTo>
                  <a:pt x="941181" y="2228670"/>
                </a:lnTo>
                <a:cubicBezTo>
                  <a:pt x="936431" y="2227741"/>
                  <a:pt x="936534" y="2225108"/>
                  <a:pt x="936637" y="2222474"/>
                </a:cubicBezTo>
                <a:cubicBezTo>
                  <a:pt x="938186" y="2223094"/>
                  <a:pt x="939116" y="2222474"/>
                  <a:pt x="939941" y="2222010"/>
                </a:cubicBezTo>
                <a:lnTo>
                  <a:pt x="941181" y="2221855"/>
                </a:lnTo>
                <a:lnTo>
                  <a:pt x="939735" y="2216434"/>
                </a:lnTo>
                <a:cubicBezTo>
                  <a:pt x="939528" y="2210702"/>
                  <a:pt x="941284" y="2204661"/>
                  <a:pt x="945208" y="2200324"/>
                </a:cubicBezTo>
                <a:lnTo>
                  <a:pt x="945930" y="2199859"/>
                </a:lnTo>
                <a:lnTo>
                  <a:pt x="944485" y="2200324"/>
                </a:lnTo>
                <a:cubicBezTo>
                  <a:pt x="943246" y="2200169"/>
                  <a:pt x="943246" y="2200169"/>
                  <a:pt x="942833" y="2199395"/>
                </a:cubicBezTo>
                <a:cubicBezTo>
                  <a:pt x="941181" y="2198620"/>
                  <a:pt x="939941" y="2198311"/>
                  <a:pt x="939838" y="2196452"/>
                </a:cubicBezTo>
                <a:cubicBezTo>
                  <a:pt x="939941" y="2195058"/>
                  <a:pt x="940458" y="2194128"/>
                  <a:pt x="941387" y="2193664"/>
                </a:cubicBezTo>
                <a:cubicBezTo>
                  <a:pt x="942317" y="2193199"/>
                  <a:pt x="943659" y="2193044"/>
                  <a:pt x="945208" y="2192889"/>
                </a:cubicBezTo>
                <a:close/>
                <a:moveTo>
                  <a:pt x="5728613" y="2192790"/>
                </a:moveTo>
                <a:lnTo>
                  <a:pt x="5729680" y="2193217"/>
                </a:lnTo>
                <a:lnTo>
                  <a:pt x="5729893" y="2193074"/>
                </a:lnTo>
                <a:cubicBezTo>
                  <a:pt x="5730107" y="2193501"/>
                  <a:pt x="5730534" y="2193786"/>
                  <a:pt x="5730747" y="2193644"/>
                </a:cubicBezTo>
                <a:lnTo>
                  <a:pt x="5730960" y="2192790"/>
                </a:lnTo>
                <a:close/>
                <a:moveTo>
                  <a:pt x="5252474" y="2192363"/>
                </a:moveTo>
                <a:cubicBezTo>
                  <a:pt x="5257809" y="2194213"/>
                  <a:pt x="5260157" y="2197058"/>
                  <a:pt x="5260370" y="2200046"/>
                </a:cubicBezTo>
                <a:cubicBezTo>
                  <a:pt x="5260583" y="2202891"/>
                  <a:pt x="5258876" y="2205879"/>
                  <a:pt x="5256315" y="2207444"/>
                </a:cubicBezTo>
                <a:cubicBezTo>
                  <a:pt x="5254607" y="2208582"/>
                  <a:pt x="5252474" y="2209151"/>
                  <a:pt x="5250553" y="2208866"/>
                </a:cubicBezTo>
                <a:cubicBezTo>
                  <a:pt x="5247778" y="2208582"/>
                  <a:pt x="5245217" y="2206590"/>
                  <a:pt x="5243510" y="2202322"/>
                </a:cubicBezTo>
                <a:cubicBezTo>
                  <a:pt x="5246071" y="2196773"/>
                  <a:pt x="5249486" y="2195636"/>
                  <a:pt x="5252474" y="2192363"/>
                </a:cubicBezTo>
                <a:close/>
                <a:moveTo>
                  <a:pt x="5364946" y="2190941"/>
                </a:moveTo>
                <a:cubicBezTo>
                  <a:pt x="5371988" y="2191225"/>
                  <a:pt x="5377110" y="2200900"/>
                  <a:pt x="5371562" y="2206447"/>
                </a:cubicBezTo>
                <a:cubicBezTo>
                  <a:pt x="5369214" y="2205167"/>
                  <a:pt x="5366867" y="2205025"/>
                  <a:pt x="5364519" y="2203745"/>
                </a:cubicBezTo>
                <a:cubicBezTo>
                  <a:pt x="5364305" y="2199050"/>
                  <a:pt x="5359397" y="2195351"/>
                  <a:pt x="5364946" y="2190941"/>
                </a:cubicBezTo>
                <a:close/>
                <a:moveTo>
                  <a:pt x="868179" y="2190256"/>
                </a:moveTo>
                <a:cubicBezTo>
                  <a:pt x="876955" y="2189481"/>
                  <a:pt x="878711" y="2195212"/>
                  <a:pt x="876542" y="2198620"/>
                </a:cubicBezTo>
                <a:cubicBezTo>
                  <a:pt x="875820" y="2199859"/>
                  <a:pt x="874787" y="2200789"/>
                  <a:pt x="873238" y="2201099"/>
                </a:cubicBezTo>
                <a:cubicBezTo>
                  <a:pt x="871276" y="2201563"/>
                  <a:pt x="868798" y="2201099"/>
                  <a:pt x="865907" y="2198930"/>
                </a:cubicBezTo>
                <a:cubicBezTo>
                  <a:pt x="865494" y="2194748"/>
                  <a:pt x="867456" y="2193199"/>
                  <a:pt x="868179" y="2190256"/>
                </a:cubicBezTo>
                <a:close/>
                <a:moveTo>
                  <a:pt x="4794048" y="2189518"/>
                </a:moveTo>
                <a:cubicBezTo>
                  <a:pt x="4794902" y="2188949"/>
                  <a:pt x="4795542" y="2189944"/>
                  <a:pt x="4794475" y="2190514"/>
                </a:cubicBezTo>
                <a:cubicBezTo>
                  <a:pt x="4794261" y="2193217"/>
                  <a:pt x="4791273" y="2192079"/>
                  <a:pt x="4789993" y="2191510"/>
                </a:cubicBezTo>
                <a:cubicBezTo>
                  <a:pt x="4792980" y="2189944"/>
                  <a:pt x="4793621" y="2188379"/>
                  <a:pt x="4794048" y="2189518"/>
                </a:cubicBezTo>
                <a:close/>
                <a:moveTo>
                  <a:pt x="4784444" y="2187811"/>
                </a:moveTo>
                <a:cubicBezTo>
                  <a:pt x="4784231" y="2191225"/>
                  <a:pt x="4784871" y="2193786"/>
                  <a:pt x="4784657" y="2195493"/>
                </a:cubicBezTo>
                <a:cubicBezTo>
                  <a:pt x="4779749" y="2196489"/>
                  <a:pt x="4776548" y="2194213"/>
                  <a:pt x="4776974" y="2189233"/>
                </a:cubicBezTo>
                <a:cubicBezTo>
                  <a:pt x="4780176" y="2189660"/>
                  <a:pt x="4781029" y="2187384"/>
                  <a:pt x="4784444" y="2187811"/>
                </a:cubicBezTo>
                <a:close/>
                <a:moveTo>
                  <a:pt x="4703344" y="2185677"/>
                </a:moveTo>
                <a:cubicBezTo>
                  <a:pt x="4704625" y="2185677"/>
                  <a:pt x="4705692" y="2185819"/>
                  <a:pt x="4706332" y="2186530"/>
                </a:cubicBezTo>
                <a:cubicBezTo>
                  <a:pt x="4706759" y="2187242"/>
                  <a:pt x="4706972" y="2188379"/>
                  <a:pt x="4706546" y="2190656"/>
                </a:cubicBezTo>
                <a:cubicBezTo>
                  <a:pt x="4706546" y="2190656"/>
                  <a:pt x="4705479" y="2191083"/>
                  <a:pt x="4705479" y="2191083"/>
                </a:cubicBezTo>
                <a:cubicBezTo>
                  <a:pt x="4701637" y="2190514"/>
                  <a:pt x="4702277" y="2188807"/>
                  <a:pt x="4703344" y="2185677"/>
                </a:cubicBezTo>
                <a:close/>
                <a:moveTo>
                  <a:pt x="5383726" y="2185392"/>
                </a:moveTo>
                <a:cubicBezTo>
                  <a:pt x="5384794" y="2185107"/>
                  <a:pt x="5386288" y="2185392"/>
                  <a:pt x="5387995" y="2186103"/>
                </a:cubicBezTo>
                <a:cubicBezTo>
                  <a:pt x="5388635" y="2189518"/>
                  <a:pt x="5385221" y="2196631"/>
                  <a:pt x="5381806" y="2197627"/>
                </a:cubicBezTo>
                <a:cubicBezTo>
                  <a:pt x="5380525" y="2196773"/>
                  <a:pt x="5379245" y="2195920"/>
                  <a:pt x="5377964" y="2195066"/>
                </a:cubicBezTo>
                <a:cubicBezTo>
                  <a:pt x="5377964" y="2190514"/>
                  <a:pt x="5379885" y="2186103"/>
                  <a:pt x="5383726" y="2185392"/>
                </a:cubicBezTo>
                <a:close/>
                <a:moveTo>
                  <a:pt x="4822432" y="2185392"/>
                </a:moveTo>
                <a:cubicBezTo>
                  <a:pt x="4824140" y="2185392"/>
                  <a:pt x="4826488" y="2185961"/>
                  <a:pt x="4828835" y="2187669"/>
                </a:cubicBezTo>
                <a:cubicBezTo>
                  <a:pt x="4828622" y="2189375"/>
                  <a:pt x="4828622" y="2190941"/>
                  <a:pt x="4828408" y="2192648"/>
                </a:cubicBezTo>
                <a:cubicBezTo>
                  <a:pt x="4821152" y="2192363"/>
                  <a:pt x="4816670" y="2195920"/>
                  <a:pt x="4810908" y="2195778"/>
                </a:cubicBezTo>
                <a:cubicBezTo>
                  <a:pt x="4813042" y="2191794"/>
                  <a:pt x="4816670" y="2185534"/>
                  <a:pt x="4822432" y="2185392"/>
                </a:cubicBezTo>
                <a:close/>
                <a:moveTo>
                  <a:pt x="5283419" y="2185250"/>
                </a:moveTo>
                <a:cubicBezTo>
                  <a:pt x="5286620" y="2184680"/>
                  <a:pt x="5289608" y="2184965"/>
                  <a:pt x="5292810" y="2185250"/>
                </a:cubicBezTo>
                <a:cubicBezTo>
                  <a:pt x="5301560" y="2197769"/>
                  <a:pt x="5285127" y="2197485"/>
                  <a:pt x="5277230" y="2200330"/>
                </a:cubicBezTo>
                <a:cubicBezTo>
                  <a:pt x="5274242" y="2196062"/>
                  <a:pt x="5273816" y="2194639"/>
                  <a:pt x="5274029" y="2189233"/>
                </a:cubicBezTo>
                <a:cubicBezTo>
                  <a:pt x="5277230" y="2186815"/>
                  <a:pt x="5280431" y="2185677"/>
                  <a:pt x="5283419" y="2185250"/>
                </a:cubicBezTo>
                <a:close/>
                <a:moveTo>
                  <a:pt x="5002132" y="2184254"/>
                </a:moveTo>
                <a:cubicBezTo>
                  <a:pt x="5005974" y="2183542"/>
                  <a:pt x="5009602" y="2196347"/>
                  <a:pt x="4999144" y="2190514"/>
                </a:cubicBezTo>
                <a:cubicBezTo>
                  <a:pt x="4999784" y="2186103"/>
                  <a:pt x="5001065" y="2184396"/>
                  <a:pt x="5002132" y="2184254"/>
                </a:cubicBezTo>
                <a:close/>
                <a:moveTo>
                  <a:pt x="5730320" y="2183685"/>
                </a:moveTo>
                <a:cubicBezTo>
                  <a:pt x="5736936" y="2183827"/>
                  <a:pt x="5742699" y="2185677"/>
                  <a:pt x="5743766" y="2192506"/>
                </a:cubicBezTo>
                <a:cubicBezTo>
                  <a:pt x="5742058" y="2192506"/>
                  <a:pt x="5739071" y="2192648"/>
                  <a:pt x="5735869" y="2192790"/>
                </a:cubicBezTo>
                <a:lnTo>
                  <a:pt x="5732241" y="2192790"/>
                </a:lnTo>
                <a:lnTo>
                  <a:pt x="5735656" y="2193501"/>
                </a:lnTo>
                <a:cubicBezTo>
                  <a:pt x="5736723" y="2193928"/>
                  <a:pt x="5736936" y="2194782"/>
                  <a:pt x="5736296" y="2196347"/>
                </a:cubicBezTo>
                <a:cubicBezTo>
                  <a:pt x="5736083" y="2199050"/>
                  <a:pt x="5733522" y="2199050"/>
                  <a:pt x="5732241" y="2202180"/>
                </a:cubicBezTo>
                <a:cubicBezTo>
                  <a:pt x="5731601" y="2205167"/>
                  <a:pt x="5733948" y="2207302"/>
                  <a:pt x="5736083" y="2210004"/>
                </a:cubicBezTo>
                <a:lnTo>
                  <a:pt x="5736510" y="2210716"/>
                </a:lnTo>
                <a:cubicBezTo>
                  <a:pt x="5737363" y="2211427"/>
                  <a:pt x="5738003" y="2212708"/>
                  <a:pt x="5738217" y="2213846"/>
                </a:cubicBezTo>
                <a:lnTo>
                  <a:pt x="5738217" y="2214131"/>
                </a:lnTo>
                <a:lnTo>
                  <a:pt x="5738857" y="2214984"/>
                </a:lnTo>
                <a:cubicBezTo>
                  <a:pt x="5739497" y="2216976"/>
                  <a:pt x="5739497" y="2219394"/>
                  <a:pt x="5738857" y="2222382"/>
                </a:cubicBezTo>
                <a:cubicBezTo>
                  <a:pt x="5735869" y="2221386"/>
                  <a:pt x="5732241" y="2228357"/>
                  <a:pt x="5727759" y="2226650"/>
                </a:cubicBezTo>
                <a:lnTo>
                  <a:pt x="5724558" y="2225512"/>
                </a:lnTo>
                <a:lnTo>
                  <a:pt x="5725198" y="2228072"/>
                </a:lnTo>
                <a:cubicBezTo>
                  <a:pt x="5716021" y="2230634"/>
                  <a:pt x="5704710" y="2230349"/>
                  <a:pt x="5702149" y="2230064"/>
                </a:cubicBezTo>
                <a:cubicBezTo>
                  <a:pt x="5700868" y="2229922"/>
                  <a:pt x="5700015" y="2229637"/>
                  <a:pt x="5699801" y="2229069"/>
                </a:cubicBezTo>
                <a:cubicBezTo>
                  <a:pt x="5699374" y="2228357"/>
                  <a:pt x="5699374" y="2227361"/>
                  <a:pt x="5699588" y="2226081"/>
                </a:cubicBezTo>
                <a:cubicBezTo>
                  <a:pt x="5703003" y="2220959"/>
                  <a:pt x="5708551" y="2222382"/>
                  <a:pt x="5714527" y="2221244"/>
                </a:cubicBezTo>
                <a:cubicBezTo>
                  <a:pt x="5714741" y="2222382"/>
                  <a:pt x="5716234" y="2223093"/>
                  <a:pt x="5717302" y="2222667"/>
                </a:cubicBezTo>
                <a:lnTo>
                  <a:pt x="5718796" y="2223235"/>
                </a:lnTo>
                <a:lnTo>
                  <a:pt x="5715808" y="2220390"/>
                </a:lnTo>
                <a:cubicBezTo>
                  <a:pt x="5714314" y="2217687"/>
                  <a:pt x="5714527" y="2214273"/>
                  <a:pt x="5714741" y="2209720"/>
                </a:cubicBezTo>
                <a:cubicBezTo>
                  <a:pt x="5715168" y="2210858"/>
                  <a:pt x="5715808" y="2209151"/>
                  <a:pt x="5715808" y="2209151"/>
                </a:cubicBezTo>
                <a:cubicBezTo>
                  <a:pt x="5717088" y="2205879"/>
                  <a:pt x="5710259" y="2208155"/>
                  <a:pt x="5711113" y="2203745"/>
                </a:cubicBezTo>
                <a:cubicBezTo>
                  <a:pt x="5713246" y="2196916"/>
                  <a:pt x="5721570" y="2194782"/>
                  <a:pt x="5726052" y="2194070"/>
                </a:cubicBezTo>
                <a:lnTo>
                  <a:pt x="5728613" y="2193644"/>
                </a:lnTo>
                <a:lnTo>
                  <a:pt x="5728186" y="2192790"/>
                </a:lnTo>
                <a:lnTo>
                  <a:pt x="5725625" y="2192790"/>
                </a:lnTo>
                <a:cubicBezTo>
                  <a:pt x="5719009" y="2192221"/>
                  <a:pt x="5713033" y="2190514"/>
                  <a:pt x="5712393" y="2185392"/>
                </a:cubicBezTo>
                <a:cubicBezTo>
                  <a:pt x="5716661" y="2185107"/>
                  <a:pt x="5723917" y="2183542"/>
                  <a:pt x="5730320" y="2183685"/>
                </a:cubicBezTo>
                <a:close/>
                <a:moveTo>
                  <a:pt x="4912923" y="2183542"/>
                </a:moveTo>
                <a:cubicBezTo>
                  <a:pt x="4918471" y="2194355"/>
                  <a:pt x="4924874" y="2182547"/>
                  <a:pt x="4929569" y="2190941"/>
                </a:cubicBezTo>
                <a:cubicBezTo>
                  <a:pt x="4929996" y="2194497"/>
                  <a:pt x="4931490" y="2198481"/>
                  <a:pt x="4930637" y="2202464"/>
                </a:cubicBezTo>
                <a:lnTo>
                  <a:pt x="4930210" y="2203318"/>
                </a:lnTo>
                <a:cubicBezTo>
                  <a:pt x="4931703" y="2204741"/>
                  <a:pt x="4932344" y="2206163"/>
                  <a:pt x="4932770" y="2207586"/>
                </a:cubicBezTo>
                <a:lnTo>
                  <a:pt x="4929996" y="2214557"/>
                </a:lnTo>
                <a:lnTo>
                  <a:pt x="4931063" y="2215268"/>
                </a:lnTo>
                <a:cubicBezTo>
                  <a:pt x="4928716" y="2218541"/>
                  <a:pt x="4922740" y="2219394"/>
                  <a:pt x="4917191" y="2218968"/>
                </a:cubicBezTo>
                <a:lnTo>
                  <a:pt x="4911428" y="2217829"/>
                </a:lnTo>
                <a:lnTo>
                  <a:pt x="4911215" y="2218398"/>
                </a:lnTo>
                <a:cubicBezTo>
                  <a:pt x="4911215" y="2219536"/>
                  <a:pt x="4911215" y="2220390"/>
                  <a:pt x="4911215" y="2221813"/>
                </a:cubicBezTo>
                <a:cubicBezTo>
                  <a:pt x="4909935" y="2225085"/>
                  <a:pt x="4908868" y="2225512"/>
                  <a:pt x="4906520" y="2229211"/>
                </a:cubicBezTo>
                <a:cubicBezTo>
                  <a:pt x="4903959" y="2229211"/>
                  <a:pt x="4903745" y="2229353"/>
                  <a:pt x="4903319" y="2228215"/>
                </a:cubicBezTo>
                <a:cubicBezTo>
                  <a:pt x="4903745" y="2229353"/>
                  <a:pt x="4902892" y="2229780"/>
                  <a:pt x="4902252" y="2231345"/>
                </a:cubicBezTo>
                <a:cubicBezTo>
                  <a:pt x="4901612" y="2234901"/>
                  <a:pt x="4899690" y="2236751"/>
                  <a:pt x="4897129" y="2237605"/>
                </a:cubicBezTo>
                <a:lnTo>
                  <a:pt x="4896916" y="2237605"/>
                </a:lnTo>
                <a:lnTo>
                  <a:pt x="4894995" y="2240165"/>
                </a:lnTo>
                <a:cubicBezTo>
                  <a:pt x="4888593" y="2245002"/>
                  <a:pt x="4879202" y="2246141"/>
                  <a:pt x="4868318" y="2237747"/>
                </a:cubicBezTo>
                <a:lnTo>
                  <a:pt x="4868318" y="2236182"/>
                </a:lnTo>
                <a:lnTo>
                  <a:pt x="4866824" y="2241303"/>
                </a:lnTo>
                <a:cubicBezTo>
                  <a:pt x="4864690" y="2242015"/>
                  <a:pt x="4862769" y="2241730"/>
                  <a:pt x="4861061" y="2240877"/>
                </a:cubicBezTo>
                <a:lnTo>
                  <a:pt x="4859354" y="2239027"/>
                </a:lnTo>
                <a:lnTo>
                  <a:pt x="4858928" y="2242300"/>
                </a:lnTo>
                <a:cubicBezTo>
                  <a:pt x="4855726" y="2241873"/>
                  <a:pt x="4853165" y="2242300"/>
                  <a:pt x="4850817" y="2241161"/>
                </a:cubicBezTo>
                <a:cubicBezTo>
                  <a:pt x="4849750" y="2238031"/>
                  <a:pt x="4850390" y="2236040"/>
                  <a:pt x="4851885" y="2234901"/>
                </a:cubicBezTo>
                <a:lnTo>
                  <a:pt x="4856153" y="2234759"/>
                </a:lnTo>
                <a:lnTo>
                  <a:pt x="4854873" y="2231629"/>
                </a:lnTo>
                <a:cubicBezTo>
                  <a:pt x="4850817" y="2232767"/>
                  <a:pt x="4845695" y="2232056"/>
                  <a:pt x="4842921" y="2229069"/>
                </a:cubicBezTo>
                <a:cubicBezTo>
                  <a:pt x="4846549" y="2223378"/>
                  <a:pt x="4849964" y="2219821"/>
                  <a:pt x="4855299" y="2220532"/>
                </a:cubicBezTo>
                <a:cubicBezTo>
                  <a:pt x="4857006" y="2220817"/>
                  <a:pt x="4858928" y="2221670"/>
                  <a:pt x="4861275" y="2222809"/>
                </a:cubicBezTo>
                <a:lnTo>
                  <a:pt x="4860848" y="2224800"/>
                </a:lnTo>
                <a:lnTo>
                  <a:pt x="4864049" y="2226934"/>
                </a:lnTo>
                <a:lnTo>
                  <a:pt x="4868531" y="2235613"/>
                </a:lnTo>
                <a:lnTo>
                  <a:pt x="4869599" y="2225654"/>
                </a:lnTo>
                <a:cubicBezTo>
                  <a:pt x="4872800" y="2214415"/>
                  <a:pt x="4880910" y="2206732"/>
                  <a:pt x="4890727" y="2208155"/>
                </a:cubicBezTo>
                <a:cubicBezTo>
                  <a:pt x="4894782" y="2209436"/>
                  <a:pt x="4897556" y="2211427"/>
                  <a:pt x="4899690" y="2213988"/>
                </a:cubicBezTo>
                <a:lnTo>
                  <a:pt x="4901612" y="2219252"/>
                </a:lnTo>
                <a:lnTo>
                  <a:pt x="4903959" y="2222809"/>
                </a:lnTo>
                <a:cubicBezTo>
                  <a:pt x="4903959" y="2222809"/>
                  <a:pt x="4903959" y="2222809"/>
                  <a:pt x="4903532" y="2221670"/>
                </a:cubicBezTo>
                <a:lnTo>
                  <a:pt x="4906093" y="2215553"/>
                </a:lnTo>
                <a:lnTo>
                  <a:pt x="4904599" y="2214557"/>
                </a:lnTo>
                <a:lnTo>
                  <a:pt x="4906947" y="2213846"/>
                </a:lnTo>
                <a:lnTo>
                  <a:pt x="4908441" y="2210289"/>
                </a:lnTo>
                <a:cubicBezTo>
                  <a:pt x="4910361" y="2206590"/>
                  <a:pt x="4912283" y="2203602"/>
                  <a:pt x="4914203" y="2203460"/>
                </a:cubicBezTo>
                <a:cubicBezTo>
                  <a:pt x="4914630" y="2204456"/>
                  <a:pt x="4915057" y="2205594"/>
                  <a:pt x="4914416" y="2207159"/>
                </a:cubicBezTo>
                <a:cubicBezTo>
                  <a:pt x="4913776" y="2208866"/>
                  <a:pt x="4913349" y="2207728"/>
                  <a:pt x="4913776" y="2208866"/>
                </a:cubicBezTo>
                <a:cubicBezTo>
                  <a:pt x="4913136" y="2210431"/>
                  <a:pt x="4914203" y="2209862"/>
                  <a:pt x="4914203" y="2209862"/>
                </a:cubicBezTo>
                <a:cubicBezTo>
                  <a:pt x="4914203" y="2209862"/>
                  <a:pt x="4913136" y="2210431"/>
                  <a:pt x="4913136" y="2210431"/>
                </a:cubicBezTo>
                <a:cubicBezTo>
                  <a:pt x="4913136" y="2210431"/>
                  <a:pt x="4913136" y="2210431"/>
                  <a:pt x="4912923" y="2210716"/>
                </a:cubicBezTo>
                <a:lnTo>
                  <a:pt x="4912496" y="2212139"/>
                </a:lnTo>
                <a:lnTo>
                  <a:pt x="4917191" y="2210716"/>
                </a:lnTo>
                <a:lnTo>
                  <a:pt x="4916124" y="2209293"/>
                </a:lnTo>
                <a:cubicBezTo>
                  <a:pt x="4916978" y="2206590"/>
                  <a:pt x="4918258" y="2205025"/>
                  <a:pt x="4919752" y="2203602"/>
                </a:cubicBezTo>
                <a:lnTo>
                  <a:pt x="4922313" y="2201042"/>
                </a:lnTo>
                <a:lnTo>
                  <a:pt x="4918045" y="2197485"/>
                </a:lnTo>
                <a:cubicBezTo>
                  <a:pt x="4914630" y="2195208"/>
                  <a:pt x="4911002" y="2193217"/>
                  <a:pt x="4907374" y="2190514"/>
                </a:cubicBezTo>
                <a:cubicBezTo>
                  <a:pt x="4907587" y="2188237"/>
                  <a:pt x="4909081" y="2186246"/>
                  <a:pt x="4912923" y="2183542"/>
                </a:cubicBezTo>
                <a:close/>
                <a:moveTo>
                  <a:pt x="5773858" y="2182974"/>
                </a:moveTo>
                <a:cubicBezTo>
                  <a:pt x="5773644" y="2186957"/>
                  <a:pt x="5768736" y="2193928"/>
                  <a:pt x="5762547" y="2195778"/>
                </a:cubicBezTo>
                <a:lnTo>
                  <a:pt x="5758492" y="2195636"/>
                </a:lnTo>
                <a:lnTo>
                  <a:pt x="5761480" y="2197343"/>
                </a:lnTo>
                <a:cubicBezTo>
                  <a:pt x="5762333" y="2198908"/>
                  <a:pt x="5762973" y="2200900"/>
                  <a:pt x="5762973" y="2202749"/>
                </a:cubicBezTo>
                <a:cubicBezTo>
                  <a:pt x="5762547" y="2201753"/>
                  <a:pt x="5762547" y="2201753"/>
                  <a:pt x="5762547" y="2201753"/>
                </a:cubicBezTo>
                <a:cubicBezTo>
                  <a:pt x="5761053" y="2201184"/>
                  <a:pt x="5761480" y="2202180"/>
                  <a:pt x="5760413" y="2202749"/>
                </a:cubicBezTo>
                <a:cubicBezTo>
                  <a:pt x="5760413" y="2202749"/>
                  <a:pt x="5761480" y="2202180"/>
                  <a:pt x="5760839" y="2203887"/>
                </a:cubicBezTo>
                <a:cubicBezTo>
                  <a:pt x="5760413" y="2202749"/>
                  <a:pt x="5759345" y="2203318"/>
                  <a:pt x="5758278" y="2203887"/>
                </a:cubicBezTo>
                <a:cubicBezTo>
                  <a:pt x="5755077" y="2202749"/>
                  <a:pt x="5751662" y="2200473"/>
                  <a:pt x="5751876" y="2197769"/>
                </a:cubicBezTo>
                <a:cubicBezTo>
                  <a:pt x="5752516" y="2196205"/>
                  <a:pt x="5753583" y="2195351"/>
                  <a:pt x="5754650" y="2195066"/>
                </a:cubicBezTo>
                <a:lnTo>
                  <a:pt x="5756357" y="2195066"/>
                </a:lnTo>
                <a:lnTo>
                  <a:pt x="5759132" y="2188949"/>
                </a:lnTo>
                <a:cubicBezTo>
                  <a:pt x="5762973" y="2183970"/>
                  <a:pt x="5768522" y="2183685"/>
                  <a:pt x="5773858" y="2182974"/>
                </a:cubicBezTo>
                <a:close/>
                <a:moveTo>
                  <a:pt x="5083658" y="2182689"/>
                </a:moveTo>
                <a:cubicBezTo>
                  <a:pt x="5085579" y="2184965"/>
                  <a:pt x="5086859" y="2187242"/>
                  <a:pt x="5087927" y="2189518"/>
                </a:cubicBezTo>
                <a:cubicBezTo>
                  <a:pt x="5090914" y="2196347"/>
                  <a:pt x="5090914" y="2202749"/>
                  <a:pt x="5094329" y="2206732"/>
                </a:cubicBezTo>
                <a:cubicBezTo>
                  <a:pt x="5094329" y="2206732"/>
                  <a:pt x="5094329" y="2206732"/>
                  <a:pt x="5093049" y="2210004"/>
                </a:cubicBezTo>
                <a:cubicBezTo>
                  <a:pt x="5093476" y="2211000"/>
                  <a:pt x="5093476" y="2211000"/>
                  <a:pt x="5093476" y="2211000"/>
                </a:cubicBezTo>
                <a:cubicBezTo>
                  <a:pt x="5093902" y="2212139"/>
                  <a:pt x="5091768" y="2213134"/>
                  <a:pt x="5091768" y="2213134"/>
                </a:cubicBezTo>
                <a:cubicBezTo>
                  <a:pt x="5089207" y="2213134"/>
                  <a:pt x="5088994" y="2209436"/>
                  <a:pt x="5088140" y="2207302"/>
                </a:cubicBezTo>
                <a:cubicBezTo>
                  <a:pt x="5085579" y="2207302"/>
                  <a:pt x="5088567" y="2201895"/>
                  <a:pt x="5086006" y="2201895"/>
                </a:cubicBezTo>
                <a:cubicBezTo>
                  <a:pt x="5088780" y="2195493"/>
                  <a:pt x="5081311" y="2192932"/>
                  <a:pt x="5083658" y="2182689"/>
                </a:cubicBezTo>
                <a:close/>
                <a:moveTo>
                  <a:pt x="5406136" y="2182547"/>
                </a:moveTo>
                <a:cubicBezTo>
                  <a:pt x="5408056" y="2183116"/>
                  <a:pt x="5409764" y="2184396"/>
                  <a:pt x="5411044" y="2186672"/>
                </a:cubicBezTo>
                <a:cubicBezTo>
                  <a:pt x="5411258" y="2191510"/>
                  <a:pt x="5409123" y="2195778"/>
                  <a:pt x="5406136" y="2197769"/>
                </a:cubicBezTo>
                <a:cubicBezTo>
                  <a:pt x="5402935" y="2199761"/>
                  <a:pt x="5398666" y="2199477"/>
                  <a:pt x="5394824" y="2195066"/>
                </a:cubicBezTo>
                <a:cubicBezTo>
                  <a:pt x="5394184" y="2187099"/>
                  <a:pt x="5400587" y="2181124"/>
                  <a:pt x="5406136" y="2182547"/>
                </a:cubicBezTo>
                <a:close/>
                <a:moveTo>
                  <a:pt x="1020172" y="2182511"/>
                </a:moveTo>
                <a:cubicBezTo>
                  <a:pt x="1021307" y="2182821"/>
                  <a:pt x="1021307" y="2182666"/>
                  <a:pt x="1022547" y="2182976"/>
                </a:cubicBezTo>
                <a:cubicBezTo>
                  <a:pt x="1023372" y="2184215"/>
                  <a:pt x="1025025" y="2184989"/>
                  <a:pt x="1025128" y="2186848"/>
                </a:cubicBezTo>
                <a:cubicBezTo>
                  <a:pt x="1024818" y="2188087"/>
                  <a:pt x="1023579" y="2189172"/>
                  <a:pt x="1022237" y="2189946"/>
                </a:cubicBezTo>
                <a:lnTo>
                  <a:pt x="1020069" y="2190721"/>
                </a:lnTo>
                <a:lnTo>
                  <a:pt x="1020998" y="2191495"/>
                </a:lnTo>
                <a:cubicBezTo>
                  <a:pt x="1021411" y="2192424"/>
                  <a:pt x="1020998" y="2193819"/>
                  <a:pt x="1020688" y="2195832"/>
                </a:cubicBezTo>
                <a:cubicBezTo>
                  <a:pt x="1016970" y="2195522"/>
                  <a:pt x="1016455" y="2193664"/>
                  <a:pt x="1016558" y="2190101"/>
                </a:cubicBezTo>
                <a:lnTo>
                  <a:pt x="1016970" y="2190256"/>
                </a:lnTo>
                <a:lnTo>
                  <a:pt x="1016145" y="2189481"/>
                </a:lnTo>
                <a:cubicBezTo>
                  <a:pt x="1015732" y="2188552"/>
                  <a:pt x="1015732" y="2187313"/>
                  <a:pt x="1016041" y="2186229"/>
                </a:cubicBezTo>
                <a:cubicBezTo>
                  <a:pt x="1016041" y="2185299"/>
                  <a:pt x="1016455" y="2184370"/>
                  <a:pt x="1017281" y="2183750"/>
                </a:cubicBezTo>
                <a:cubicBezTo>
                  <a:pt x="1018106" y="2183131"/>
                  <a:pt x="1019139" y="2182666"/>
                  <a:pt x="1020172" y="2182511"/>
                </a:cubicBezTo>
                <a:close/>
                <a:moveTo>
                  <a:pt x="4960302" y="2182262"/>
                </a:moveTo>
                <a:cubicBezTo>
                  <a:pt x="4961369" y="2182120"/>
                  <a:pt x="4962650" y="2182405"/>
                  <a:pt x="4963716" y="2183827"/>
                </a:cubicBezTo>
                <a:cubicBezTo>
                  <a:pt x="4963076" y="2185250"/>
                  <a:pt x="4962650" y="2187811"/>
                  <a:pt x="4960942" y="2189660"/>
                </a:cubicBezTo>
                <a:cubicBezTo>
                  <a:pt x="4954326" y="2188522"/>
                  <a:pt x="4956887" y="2182831"/>
                  <a:pt x="4960302" y="2182262"/>
                </a:cubicBezTo>
                <a:close/>
                <a:moveTo>
                  <a:pt x="5308816" y="2181978"/>
                </a:moveTo>
                <a:cubicBezTo>
                  <a:pt x="5310097" y="2182262"/>
                  <a:pt x="5311591" y="2182974"/>
                  <a:pt x="5312871" y="2184538"/>
                </a:cubicBezTo>
                <a:cubicBezTo>
                  <a:pt x="5313512" y="2195493"/>
                  <a:pt x="5303054" y="2198338"/>
                  <a:pt x="5298145" y="2194355"/>
                </a:cubicBezTo>
                <a:cubicBezTo>
                  <a:pt x="5296438" y="2193074"/>
                  <a:pt x="5295371" y="2190941"/>
                  <a:pt x="5295371" y="2188095"/>
                </a:cubicBezTo>
                <a:cubicBezTo>
                  <a:pt x="5300066" y="2185107"/>
                  <a:pt x="5304548" y="2181124"/>
                  <a:pt x="5308816" y="2181978"/>
                </a:cubicBezTo>
                <a:close/>
                <a:moveTo>
                  <a:pt x="1043714" y="2181891"/>
                </a:moveTo>
                <a:cubicBezTo>
                  <a:pt x="1044333" y="2182976"/>
                  <a:pt x="1044643" y="2183905"/>
                  <a:pt x="1044747" y="2184989"/>
                </a:cubicBezTo>
                <a:lnTo>
                  <a:pt x="1044024" y="2187622"/>
                </a:lnTo>
                <a:lnTo>
                  <a:pt x="1044850" y="2186074"/>
                </a:lnTo>
                <a:cubicBezTo>
                  <a:pt x="1045779" y="2185299"/>
                  <a:pt x="1046812" y="2184370"/>
                  <a:pt x="1048464" y="2185144"/>
                </a:cubicBezTo>
                <a:cubicBezTo>
                  <a:pt x="1045572" y="2191960"/>
                  <a:pt x="1045366" y="2195367"/>
                  <a:pt x="1042475" y="2200634"/>
                </a:cubicBezTo>
                <a:cubicBezTo>
                  <a:pt x="1041546" y="2200634"/>
                  <a:pt x="1041649" y="2199704"/>
                  <a:pt x="1040823" y="2199859"/>
                </a:cubicBezTo>
                <a:cubicBezTo>
                  <a:pt x="1040306" y="2199395"/>
                  <a:pt x="1040203" y="2198620"/>
                  <a:pt x="1040306" y="2197536"/>
                </a:cubicBezTo>
                <a:cubicBezTo>
                  <a:pt x="1040410" y="2194438"/>
                  <a:pt x="1042268" y="2189636"/>
                  <a:pt x="1042991" y="2189481"/>
                </a:cubicBezTo>
                <a:lnTo>
                  <a:pt x="1043508" y="2188552"/>
                </a:lnTo>
                <a:lnTo>
                  <a:pt x="1038861" y="2193664"/>
                </a:lnTo>
                <a:cubicBezTo>
                  <a:pt x="1034318" y="2197072"/>
                  <a:pt x="1028329" y="2199395"/>
                  <a:pt x="1025231" y="2199704"/>
                </a:cubicBezTo>
                <a:cubicBezTo>
                  <a:pt x="1029259" y="2193664"/>
                  <a:pt x="1036383" y="2184060"/>
                  <a:pt x="1043714" y="2181891"/>
                </a:cubicBezTo>
                <a:close/>
                <a:moveTo>
                  <a:pt x="1009743" y="2180343"/>
                </a:moveTo>
                <a:cubicBezTo>
                  <a:pt x="1008503" y="2182511"/>
                  <a:pt x="1008917" y="2183595"/>
                  <a:pt x="1008091" y="2183286"/>
                </a:cubicBezTo>
                <a:cubicBezTo>
                  <a:pt x="1007678" y="2183905"/>
                  <a:pt x="1006955" y="2183595"/>
                  <a:pt x="1007368" y="2182976"/>
                </a:cubicBezTo>
                <a:cubicBezTo>
                  <a:pt x="1006232" y="2181427"/>
                  <a:pt x="1008607" y="2180807"/>
                  <a:pt x="1009743" y="2180343"/>
                </a:cubicBezTo>
                <a:close/>
                <a:moveTo>
                  <a:pt x="994874" y="2179878"/>
                </a:moveTo>
                <a:cubicBezTo>
                  <a:pt x="995080" y="2179878"/>
                  <a:pt x="995700" y="2180188"/>
                  <a:pt x="996629" y="2180188"/>
                </a:cubicBezTo>
                <a:cubicBezTo>
                  <a:pt x="997765" y="2180498"/>
                  <a:pt x="998488" y="2180033"/>
                  <a:pt x="998178" y="2181117"/>
                </a:cubicBezTo>
                <a:cubicBezTo>
                  <a:pt x="997868" y="2182201"/>
                  <a:pt x="997971" y="2182201"/>
                  <a:pt x="995803" y="2183286"/>
                </a:cubicBezTo>
                <a:cubicBezTo>
                  <a:pt x="996113" y="2182356"/>
                  <a:pt x="996010" y="2182201"/>
                  <a:pt x="994874" y="2181891"/>
                </a:cubicBezTo>
                <a:cubicBezTo>
                  <a:pt x="994874" y="2181891"/>
                  <a:pt x="994874" y="2181891"/>
                  <a:pt x="994151" y="2182201"/>
                </a:cubicBezTo>
                <a:cubicBezTo>
                  <a:pt x="993738" y="2181582"/>
                  <a:pt x="994461" y="2181272"/>
                  <a:pt x="994048" y="2180498"/>
                </a:cubicBezTo>
                <a:cubicBezTo>
                  <a:pt x="994048" y="2180498"/>
                  <a:pt x="994770" y="2180188"/>
                  <a:pt x="994770" y="2180188"/>
                </a:cubicBezTo>
                <a:cubicBezTo>
                  <a:pt x="994564" y="2179723"/>
                  <a:pt x="994564" y="2179723"/>
                  <a:pt x="994874" y="2179878"/>
                </a:cubicBezTo>
                <a:close/>
                <a:moveTo>
                  <a:pt x="883047" y="2179568"/>
                </a:moveTo>
                <a:cubicBezTo>
                  <a:pt x="886042" y="2178484"/>
                  <a:pt x="890275" y="2179568"/>
                  <a:pt x="892444" y="2183905"/>
                </a:cubicBezTo>
                <a:cubicBezTo>
                  <a:pt x="891308" y="2187158"/>
                  <a:pt x="889346" y="2188862"/>
                  <a:pt x="888210" y="2190256"/>
                </a:cubicBezTo>
                <a:cubicBezTo>
                  <a:pt x="885835" y="2189326"/>
                  <a:pt x="883873" y="2189172"/>
                  <a:pt x="881499" y="2188243"/>
                </a:cubicBezTo>
                <a:cubicBezTo>
                  <a:pt x="880776" y="2187158"/>
                  <a:pt x="880260" y="2186074"/>
                  <a:pt x="880053" y="2185144"/>
                </a:cubicBezTo>
                <a:cubicBezTo>
                  <a:pt x="879847" y="2184215"/>
                  <a:pt x="879847" y="2183440"/>
                  <a:pt x="880053" y="2182666"/>
                </a:cubicBezTo>
                <a:cubicBezTo>
                  <a:pt x="880466" y="2181117"/>
                  <a:pt x="881602" y="2180033"/>
                  <a:pt x="883047" y="2179568"/>
                </a:cubicBezTo>
                <a:close/>
                <a:moveTo>
                  <a:pt x="978559" y="2179258"/>
                </a:moveTo>
                <a:cubicBezTo>
                  <a:pt x="976701" y="2182821"/>
                  <a:pt x="974946" y="2186383"/>
                  <a:pt x="972674" y="2189791"/>
                </a:cubicBezTo>
                <a:cubicBezTo>
                  <a:pt x="970299" y="2193199"/>
                  <a:pt x="967304" y="2196297"/>
                  <a:pt x="962658" y="2198776"/>
                </a:cubicBezTo>
                <a:cubicBezTo>
                  <a:pt x="962348" y="2197691"/>
                  <a:pt x="962245" y="2196452"/>
                  <a:pt x="962348" y="2195367"/>
                </a:cubicBezTo>
                <a:cubicBezTo>
                  <a:pt x="963071" y="2187468"/>
                  <a:pt x="972777" y="2181427"/>
                  <a:pt x="978559" y="2179258"/>
                </a:cubicBezTo>
                <a:close/>
                <a:moveTo>
                  <a:pt x="942420" y="2179103"/>
                </a:moveTo>
                <a:cubicBezTo>
                  <a:pt x="944691" y="2178329"/>
                  <a:pt x="948822" y="2179413"/>
                  <a:pt x="949957" y="2181736"/>
                </a:cubicBezTo>
                <a:cubicBezTo>
                  <a:pt x="949544" y="2184679"/>
                  <a:pt x="947686" y="2184370"/>
                  <a:pt x="947686" y="2186229"/>
                </a:cubicBezTo>
                <a:cubicBezTo>
                  <a:pt x="943556" y="2185144"/>
                  <a:pt x="942420" y="2182821"/>
                  <a:pt x="942420" y="2179103"/>
                </a:cubicBezTo>
                <a:close/>
                <a:moveTo>
                  <a:pt x="5157928" y="2178990"/>
                </a:moveTo>
                <a:lnTo>
                  <a:pt x="5160916" y="2183970"/>
                </a:lnTo>
                <a:lnTo>
                  <a:pt x="5163051" y="2184823"/>
                </a:lnTo>
                <a:lnTo>
                  <a:pt x="5167959" y="2191652"/>
                </a:lnTo>
                <a:lnTo>
                  <a:pt x="5172014" y="2192079"/>
                </a:lnTo>
                <a:cubicBezTo>
                  <a:pt x="5173295" y="2192790"/>
                  <a:pt x="5173935" y="2194070"/>
                  <a:pt x="5173508" y="2195778"/>
                </a:cubicBezTo>
                <a:lnTo>
                  <a:pt x="5168813" y="2197343"/>
                </a:lnTo>
                <a:lnTo>
                  <a:pt x="5168386" y="2203175"/>
                </a:lnTo>
                <a:lnTo>
                  <a:pt x="5166679" y="2204741"/>
                </a:lnTo>
                <a:lnTo>
                  <a:pt x="5166679" y="2205594"/>
                </a:lnTo>
                <a:cubicBezTo>
                  <a:pt x="5165398" y="2214699"/>
                  <a:pt x="5159849" y="2222097"/>
                  <a:pt x="5150672" y="2220817"/>
                </a:cubicBezTo>
                <a:cubicBezTo>
                  <a:pt x="5148111" y="2220532"/>
                  <a:pt x="5145123" y="2219394"/>
                  <a:pt x="5141922" y="2217545"/>
                </a:cubicBezTo>
                <a:cubicBezTo>
                  <a:pt x="5141709" y="2211427"/>
                  <a:pt x="5140428" y="2202891"/>
                  <a:pt x="5141922" y="2195351"/>
                </a:cubicBezTo>
                <a:lnTo>
                  <a:pt x="5144697" y="2188949"/>
                </a:lnTo>
                <a:lnTo>
                  <a:pt x="5144697" y="2184680"/>
                </a:lnTo>
                <a:lnTo>
                  <a:pt x="5149392" y="2183542"/>
                </a:lnTo>
                <a:close/>
                <a:moveTo>
                  <a:pt x="5373696" y="2175433"/>
                </a:moveTo>
                <a:cubicBezTo>
                  <a:pt x="5373909" y="2175576"/>
                  <a:pt x="5373696" y="2175860"/>
                  <a:pt x="5373482" y="2176429"/>
                </a:cubicBezTo>
                <a:cubicBezTo>
                  <a:pt x="5376257" y="2176571"/>
                  <a:pt x="5377324" y="2177141"/>
                  <a:pt x="5378391" y="2177851"/>
                </a:cubicBezTo>
                <a:cubicBezTo>
                  <a:pt x="5378818" y="2179416"/>
                  <a:pt x="5377964" y="2181551"/>
                  <a:pt x="5375830" y="2183116"/>
                </a:cubicBezTo>
                <a:cubicBezTo>
                  <a:pt x="5375403" y="2181408"/>
                  <a:pt x="5372629" y="2181266"/>
                  <a:pt x="5371988" y="2179559"/>
                </a:cubicBezTo>
                <a:cubicBezTo>
                  <a:pt x="5371988" y="2179559"/>
                  <a:pt x="5372415" y="2175718"/>
                  <a:pt x="5372415" y="2175718"/>
                </a:cubicBezTo>
                <a:cubicBezTo>
                  <a:pt x="5373269" y="2175576"/>
                  <a:pt x="5373696" y="2175433"/>
                  <a:pt x="5373696" y="2175433"/>
                </a:cubicBezTo>
                <a:close/>
                <a:moveTo>
                  <a:pt x="828838" y="2175076"/>
                </a:moveTo>
                <a:cubicBezTo>
                  <a:pt x="831213" y="2174147"/>
                  <a:pt x="833175" y="2174301"/>
                  <a:pt x="835859" y="2176160"/>
                </a:cubicBezTo>
                <a:cubicBezTo>
                  <a:pt x="835859" y="2179878"/>
                  <a:pt x="836272" y="2178794"/>
                  <a:pt x="834414" y="2182356"/>
                </a:cubicBezTo>
                <a:cubicBezTo>
                  <a:pt x="832039" y="2181427"/>
                  <a:pt x="829767" y="2180343"/>
                  <a:pt x="827393" y="2179413"/>
                </a:cubicBezTo>
                <a:cubicBezTo>
                  <a:pt x="828528" y="2178020"/>
                  <a:pt x="828528" y="2176160"/>
                  <a:pt x="828838" y="2175076"/>
                </a:cubicBezTo>
                <a:close/>
                <a:moveTo>
                  <a:pt x="5229424" y="2173868"/>
                </a:moveTo>
                <a:cubicBezTo>
                  <a:pt x="5235187" y="2173157"/>
                  <a:pt x="5237961" y="2178705"/>
                  <a:pt x="5242656" y="2182689"/>
                </a:cubicBezTo>
                <a:cubicBezTo>
                  <a:pt x="5242229" y="2183685"/>
                  <a:pt x="5242656" y="2185392"/>
                  <a:pt x="5243723" y="2185961"/>
                </a:cubicBezTo>
                <a:cubicBezTo>
                  <a:pt x="5244363" y="2187669"/>
                  <a:pt x="5245004" y="2189233"/>
                  <a:pt x="5245431" y="2188237"/>
                </a:cubicBezTo>
                <a:cubicBezTo>
                  <a:pt x="5247138" y="2193074"/>
                  <a:pt x="5248205" y="2193786"/>
                  <a:pt x="5245644" y="2196347"/>
                </a:cubicBezTo>
                <a:cubicBezTo>
                  <a:pt x="5237748" y="2190371"/>
                  <a:pt x="5230064" y="2180839"/>
                  <a:pt x="5228570" y="2178563"/>
                </a:cubicBezTo>
                <a:cubicBezTo>
                  <a:pt x="5227717" y="2177425"/>
                  <a:pt x="5227290" y="2176713"/>
                  <a:pt x="5227503" y="2176002"/>
                </a:cubicBezTo>
                <a:cubicBezTo>
                  <a:pt x="5227717" y="2175149"/>
                  <a:pt x="5228357" y="2174580"/>
                  <a:pt x="5229424" y="2173868"/>
                </a:cubicBezTo>
                <a:close/>
                <a:moveTo>
                  <a:pt x="5291529" y="2173584"/>
                </a:moveTo>
                <a:cubicBezTo>
                  <a:pt x="5292596" y="2173441"/>
                  <a:pt x="5293877" y="2173726"/>
                  <a:pt x="5294730" y="2175006"/>
                </a:cubicBezTo>
                <a:cubicBezTo>
                  <a:pt x="5293663" y="2176571"/>
                  <a:pt x="5293023" y="2179132"/>
                  <a:pt x="5291102" y="2180982"/>
                </a:cubicBezTo>
                <a:cubicBezTo>
                  <a:pt x="5284700" y="2180128"/>
                  <a:pt x="5287901" y="2174295"/>
                  <a:pt x="5291529" y="2173584"/>
                </a:cubicBezTo>
                <a:close/>
                <a:moveTo>
                  <a:pt x="6364817" y="2173441"/>
                </a:moveTo>
                <a:cubicBezTo>
                  <a:pt x="6370793" y="2183685"/>
                  <a:pt x="6359055" y="2193359"/>
                  <a:pt x="6352226" y="2189802"/>
                </a:cubicBezTo>
                <a:cubicBezTo>
                  <a:pt x="6349878" y="2188664"/>
                  <a:pt x="6348171" y="2185961"/>
                  <a:pt x="6347744" y="2181266"/>
                </a:cubicBezTo>
                <a:cubicBezTo>
                  <a:pt x="6355640" y="2178421"/>
                  <a:pt x="6357561" y="2172588"/>
                  <a:pt x="6364817" y="2173441"/>
                </a:cubicBezTo>
                <a:close/>
                <a:moveTo>
                  <a:pt x="5415739" y="2172161"/>
                </a:moveTo>
                <a:cubicBezTo>
                  <a:pt x="5416380" y="2174864"/>
                  <a:pt x="5418727" y="2176002"/>
                  <a:pt x="5417660" y="2179986"/>
                </a:cubicBezTo>
                <a:cubicBezTo>
                  <a:pt x="5414459" y="2179559"/>
                  <a:pt x="5412111" y="2178421"/>
                  <a:pt x="5408910" y="2177851"/>
                </a:cubicBezTo>
                <a:cubicBezTo>
                  <a:pt x="5407630" y="2172730"/>
                  <a:pt x="5411684" y="2172446"/>
                  <a:pt x="5415739" y="2172161"/>
                </a:cubicBezTo>
                <a:close/>
                <a:moveTo>
                  <a:pt x="6247650" y="2171023"/>
                </a:moveTo>
                <a:cubicBezTo>
                  <a:pt x="6251278" y="2171307"/>
                  <a:pt x="6254266" y="2173299"/>
                  <a:pt x="6256400" y="2175433"/>
                </a:cubicBezTo>
                <a:cubicBezTo>
                  <a:pt x="6255546" y="2176286"/>
                  <a:pt x="6261522" y="2182262"/>
                  <a:pt x="6260882" y="2189091"/>
                </a:cubicBezTo>
                <a:cubicBezTo>
                  <a:pt x="6260668" y="2191367"/>
                  <a:pt x="6259601" y="2193786"/>
                  <a:pt x="6257467" y="2196205"/>
                </a:cubicBezTo>
                <a:cubicBezTo>
                  <a:pt x="6252345" y="2201468"/>
                  <a:pt x="6245302" y="2205025"/>
                  <a:pt x="6236552" y="2195208"/>
                </a:cubicBezTo>
                <a:cubicBezTo>
                  <a:pt x="6234418" y="2193644"/>
                  <a:pt x="6235485" y="2193786"/>
                  <a:pt x="6234418" y="2192363"/>
                </a:cubicBezTo>
                <a:lnTo>
                  <a:pt x="6233991" y="2192079"/>
                </a:lnTo>
                <a:lnTo>
                  <a:pt x="6233564" y="2193786"/>
                </a:lnTo>
                <a:cubicBezTo>
                  <a:pt x="6233138" y="2194213"/>
                  <a:pt x="6232497" y="2194213"/>
                  <a:pt x="6231643" y="2194070"/>
                </a:cubicBezTo>
                <a:cubicBezTo>
                  <a:pt x="6231643" y="2194070"/>
                  <a:pt x="6229936" y="2193644"/>
                  <a:pt x="6228442" y="2193217"/>
                </a:cubicBezTo>
                <a:cubicBezTo>
                  <a:pt x="6226948" y="2192790"/>
                  <a:pt x="6225881" y="2193501"/>
                  <a:pt x="6225881" y="2193501"/>
                </a:cubicBezTo>
                <a:cubicBezTo>
                  <a:pt x="6224387" y="2193074"/>
                  <a:pt x="6223747" y="2192079"/>
                  <a:pt x="6224174" y="2190371"/>
                </a:cubicBezTo>
                <a:cubicBezTo>
                  <a:pt x="6224174" y="2190371"/>
                  <a:pt x="6226735" y="2190087"/>
                  <a:pt x="6226735" y="2190087"/>
                </a:cubicBezTo>
                <a:cubicBezTo>
                  <a:pt x="6228442" y="2190514"/>
                  <a:pt x="6229509" y="2190798"/>
                  <a:pt x="6230576" y="2190941"/>
                </a:cubicBezTo>
                <a:lnTo>
                  <a:pt x="6232497" y="2191083"/>
                </a:lnTo>
                <a:lnTo>
                  <a:pt x="6229936" y="2189233"/>
                </a:lnTo>
                <a:cubicBezTo>
                  <a:pt x="6231003" y="2188237"/>
                  <a:pt x="6231430" y="2187242"/>
                  <a:pt x="6231857" y="2186388"/>
                </a:cubicBezTo>
                <a:lnTo>
                  <a:pt x="6232497" y="2183542"/>
                </a:lnTo>
                <a:lnTo>
                  <a:pt x="6230150" y="2181551"/>
                </a:lnTo>
                <a:cubicBezTo>
                  <a:pt x="6231217" y="2180839"/>
                  <a:pt x="6232924" y="2178563"/>
                  <a:pt x="6233351" y="2179559"/>
                </a:cubicBezTo>
                <a:lnTo>
                  <a:pt x="6233778" y="2179701"/>
                </a:lnTo>
                <a:lnTo>
                  <a:pt x="6236766" y="2176002"/>
                </a:lnTo>
                <a:cubicBezTo>
                  <a:pt x="6240394" y="2171734"/>
                  <a:pt x="6244235" y="2170596"/>
                  <a:pt x="6247650" y="2171023"/>
                </a:cubicBezTo>
                <a:close/>
                <a:moveTo>
                  <a:pt x="789807" y="2170894"/>
                </a:moveTo>
                <a:cubicBezTo>
                  <a:pt x="795280" y="2173217"/>
                  <a:pt x="801992" y="2174611"/>
                  <a:pt x="806844" y="2178639"/>
                </a:cubicBezTo>
                <a:cubicBezTo>
                  <a:pt x="801165" y="2180962"/>
                  <a:pt x="789600" y="2179103"/>
                  <a:pt x="789807" y="2170894"/>
                </a:cubicBezTo>
                <a:close/>
                <a:moveTo>
                  <a:pt x="4987406" y="2168462"/>
                </a:moveTo>
                <a:cubicBezTo>
                  <a:pt x="4988260" y="2169031"/>
                  <a:pt x="4988687" y="2170169"/>
                  <a:pt x="4989113" y="2171592"/>
                </a:cubicBezTo>
                <a:cubicBezTo>
                  <a:pt x="4989754" y="2175860"/>
                  <a:pt x="4988260" y="2182974"/>
                  <a:pt x="4986979" y="2186530"/>
                </a:cubicBezTo>
                <a:cubicBezTo>
                  <a:pt x="4983564" y="2184396"/>
                  <a:pt x="4985485" y="2173157"/>
                  <a:pt x="4987406" y="2168462"/>
                </a:cubicBezTo>
                <a:close/>
                <a:moveTo>
                  <a:pt x="887281" y="2167951"/>
                </a:moveTo>
                <a:cubicBezTo>
                  <a:pt x="888004" y="2167486"/>
                  <a:pt x="888933" y="2167486"/>
                  <a:pt x="889965" y="2167951"/>
                </a:cubicBezTo>
                <a:cubicBezTo>
                  <a:pt x="889965" y="2169190"/>
                  <a:pt x="890482" y="2171049"/>
                  <a:pt x="889862" y="2172753"/>
                </a:cubicBezTo>
                <a:cubicBezTo>
                  <a:pt x="887488" y="2173372"/>
                  <a:pt x="886352" y="2172443"/>
                  <a:pt x="886042" y="2171358"/>
                </a:cubicBezTo>
                <a:cubicBezTo>
                  <a:pt x="885732" y="2170119"/>
                  <a:pt x="886248" y="2168725"/>
                  <a:pt x="887281" y="2167951"/>
                </a:cubicBezTo>
                <a:close/>
                <a:moveTo>
                  <a:pt x="4596634" y="2167039"/>
                </a:moveTo>
                <a:cubicBezTo>
                  <a:pt x="4597915" y="2167324"/>
                  <a:pt x="4598982" y="2167750"/>
                  <a:pt x="4599836" y="2168604"/>
                </a:cubicBezTo>
                <a:cubicBezTo>
                  <a:pt x="4601543" y="2170739"/>
                  <a:pt x="4600690" y="2175006"/>
                  <a:pt x="4593647" y="2181835"/>
                </a:cubicBezTo>
                <a:cubicBezTo>
                  <a:pt x="4586817" y="2178278"/>
                  <a:pt x="4585110" y="2174864"/>
                  <a:pt x="4585750" y="2172303"/>
                </a:cubicBezTo>
                <a:cubicBezTo>
                  <a:pt x="4586604" y="2168604"/>
                  <a:pt x="4592366" y="2166470"/>
                  <a:pt x="4596634" y="2167039"/>
                </a:cubicBezTo>
                <a:close/>
                <a:moveTo>
                  <a:pt x="5614860" y="2166755"/>
                </a:moveTo>
                <a:cubicBezTo>
                  <a:pt x="5616141" y="2166612"/>
                  <a:pt x="5617421" y="2166897"/>
                  <a:pt x="5618702" y="2167608"/>
                </a:cubicBezTo>
                <a:cubicBezTo>
                  <a:pt x="5622330" y="2169885"/>
                  <a:pt x="5624678" y="2173868"/>
                  <a:pt x="5625318" y="2178421"/>
                </a:cubicBezTo>
                <a:lnTo>
                  <a:pt x="5625104" y="2182405"/>
                </a:lnTo>
                <a:lnTo>
                  <a:pt x="5625318" y="2182405"/>
                </a:lnTo>
                <a:lnTo>
                  <a:pt x="5625958" y="2182689"/>
                </a:lnTo>
                <a:lnTo>
                  <a:pt x="5626385" y="2182120"/>
                </a:lnTo>
                <a:cubicBezTo>
                  <a:pt x="5627452" y="2180697"/>
                  <a:pt x="5628519" y="2179416"/>
                  <a:pt x="5629159" y="2180128"/>
                </a:cubicBezTo>
                <a:cubicBezTo>
                  <a:pt x="5629159" y="2180128"/>
                  <a:pt x="5628092" y="2181266"/>
                  <a:pt x="5626812" y="2182405"/>
                </a:cubicBezTo>
                <a:lnTo>
                  <a:pt x="5627025" y="2183116"/>
                </a:lnTo>
                <a:lnTo>
                  <a:pt x="5630440" y="2184680"/>
                </a:lnTo>
                <a:cubicBezTo>
                  <a:pt x="5632574" y="2190229"/>
                  <a:pt x="5626598" y="2201895"/>
                  <a:pt x="5619555" y="2203175"/>
                </a:cubicBezTo>
                <a:cubicBezTo>
                  <a:pt x="5618275" y="2203460"/>
                  <a:pt x="5616994" y="2203318"/>
                  <a:pt x="5615927" y="2202891"/>
                </a:cubicBezTo>
                <a:lnTo>
                  <a:pt x="5614007" y="2201753"/>
                </a:lnTo>
                <a:lnTo>
                  <a:pt x="5607177" y="2206590"/>
                </a:lnTo>
                <a:cubicBezTo>
                  <a:pt x="5604829" y="2207586"/>
                  <a:pt x="5603549" y="2207870"/>
                  <a:pt x="5603549" y="2207870"/>
                </a:cubicBezTo>
                <a:cubicBezTo>
                  <a:pt x="5593945" y="2201326"/>
                  <a:pt x="5596293" y="2192079"/>
                  <a:pt x="5600561" y="2184112"/>
                </a:cubicBezTo>
                <a:lnTo>
                  <a:pt x="5599281" y="2183400"/>
                </a:lnTo>
                <a:cubicBezTo>
                  <a:pt x="5598640" y="2182974"/>
                  <a:pt x="5598213" y="2182547"/>
                  <a:pt x="5598213" y="2182547"/>
                </a:cubicBezTo>
                <a:cubicBezTo>
                  <a:pt x="5598853" y="2180982"/>
                  <a:pt x="5598853" y="2180839"/>
                  <a:pt x="5599281" y="2181978"/>
                </a:cubicBezTo>
                <a:cubicBezTo>
                  <a:pt x="5600561" y="2181978"/>
                  <a:pt x="5600774" y="2182120"/>
                  <a:pt x="5600988" y="2182405"/>
                </a:cubicBezTo>
                <a:lnTo>
                  <a:pt x="5601415" y="2182547"/>
                </a:lnTo>
                <a:lnTo>
                  <a:pt x="5604829" y="2176856"/>
                </a:lnTo>
                <a:cubicBezTo>
                  <a:pt x="5607817" y="2172161"/>
                  <a:pt x="5611232" y="2167466"/>
                  <a:pt x="5614860" y="2166755"/>
                </a:cubicBezTo>
                <a:close/>
                <a:moveTo>
                  <a:pt x="936328" y="2166557"/>
                </a:moveTo>
                <a:cubicBezTo>
                  <a:pt x="936534" y="2169190"/>
                  <a:pt x="935915" y="2170894"/>
                  <a:pt x="934366" y="2171823"/>
                </a:cubicBezTo>
                <a:lnTo>
                  <a:pt x="928170" y="2172598"/>
                </a:lnTo>
                <a:lnTo>
                  <a:pt x="928687" y="2176005"/>
                </a:lnTo>
                <a:cubicBezTo>
                  <a:pt x="925589" y="2178174"/>
                  <a:pt x="922801" y="2178639"/>
                  <a:pt x="920942" y="2179258"/>
                </a:cubicBezTo>
                <a:cubicBezTo>
                  <a:pt x="919600" y="2177400"/>
                  <a:pt x="918155" y="2176315"/>
                  <a:pt x="916812" y="2174456"/>
                </a:cubicBezTo>
                <a:cubicBezTo>
                  <a:pt x="917122" y="2169345"/>
                  <a:pt x="920633" y="2167486"/>
                  <a:pt x="923834" y="2167951"/>
                </a:cubicBezTo>
                <a:lnTo>
                  <a:pt x="927654" y="2170429"/>
                </a:lnTo>
                <a:lnTo>
                  <a:pt x="927758" y="2169345"/>
                </a:lnTo>
                <a:cubicBezTo>
                  <a:pt x="928273" y="2168570"/>
                  <a:pt x="928997" y="2168106"/>
                  <a:pt x="929823" y="2167796"/>
                </a:cubicBezTo>
                <a:cubicBezTo>
                  <a:pt x="931681" y="2167331"/>
                  <a:pt x="934160" y="2167177"/>
                  <a:pt x="936328" y="2166557"/>
                </a:cubicBezTo>
                <a:close/>
                <a:moveTo>
                  <a:pt x="5635349" y="2166185"/>
                </a:moveTo>
                <a:cubicBezTo>
                  <a:pt x="5636416" y="2167466"/>
                  <a:pt x="5636629" y="2168462"/>
                  <a:pt x="5636629" y="2169742"/>
                </a:cubicBezTo>
                <a:cubicBezTo>
                  <a:pt x="5635562" y="2170880"/>
                  <a:pt x="5634281" y="2170739"/>
                  <a:pt x="5633214" y="2171876"/>
                </a:cubicBezTo>
                <a:cubicBezTo>
                  <a:pt x="5633428" y="2173157"/>
                  <a:pt x="5633428" y="2175576"/>
                  <a:pt x="5632361" y="2176713"/>
                </a:cubicBezTo>
                <a:cubicBezTo>
                  <a:pt x="5631293" y="2177710"/>
                  <a:pt x="5628946" y="2178848"/>
                  <a:pt x="5628946" y="2178848"/>
                </a:cubicBezTo>
                <a:cubicBezTo>
                  <a:pt x="5627879" y="2177567"/>
                  <a:pt x="5627665" y="2177710"/>
                  <a:pt x="5628946" y="2177710"/>
                </a:cubicBezTo>
                <a:cubicBezTo>
                  <a:pt x="5630013" y="2175433"/>
                  <a:pt x="5630013" y="2176571"/>
                  <a:pt x="5631080" y="2175433"/>
                </a:cubicBezTo>
                <a:cubicBezTo>
                  <a:pt x="5632147" y="2174295"/>
                  <a:pt x="5634281" y="2168462"/>
                  <a:pt x="5633001" y="2167182"/>
                </a:cubicBezTo>
                <a:cubicBezTo>
                  <a:pt x="5634281" y="2167324"/>
                  <a:pt x="5635349" y="2166185"/>
                  <a:pt x="5635349" y="2166185"/>
                </a:cubicBezTo>
                <a:close/>
                <a:moveTo>
                  <a:pt x="4810481" y="2166185"/>
                </a:moveTo>
                <a:cubicBezTo>
                  <a:pt x="4811548" y="2165902"/>
                  <a:pt x="4812829" y="2165902"/>
                  <a:pt x="4814322" y="2166328"/>
                </a:cubicBezTo>
                <a:cubicBezTo>
                  <a:pt x="4818804" y="2167466"/>
                  <a:pt x="4824140" y="2171023"/>
                  <a:pt x="4825847" y="2173299"/>
                </a:cubicBezTo>
                <a:cubicBezTo>
                  <a:pt x="4825420" y="2177283"/>
                  <a:pt x="4823713" y="2179559"/>
                  <a:pt x="4821579" y="2180413"/>
                </a:cubicBezTo>
                <a:cubicBezTo>
                  <a:pt x="4814963" y="2183258"/>
                  <a:pt x="4804292" y="2174438"/>
                  <a:pt x="4810481" y="2166185"/>
                </a:cubicBezTo>
                <a:close/>
                <a:moveTo>
                  <a:pt x="860537" y="2165937"/>
                </a:moveTo>
                <a:cubicBezTo>
                  <a:pt x="862087" y="2167796"/>
                  <a:pt x="863016" y="2173217"/>
                  <a:pt x="860021" y="2176625"/>
                </a:cubicBezTo>
                <a:cubicBezTo>
                  <a:pt x="855891" y="2176780"/>
                  <a:pt x="854032" y="2175076"/>
                  <a:pt x="854032" y="2172133"/>
                </a:cubicBezTo>
                <a:cubicBezTo>
                  <a:pt x="854032" y="2171049"/>
                  <a:pt x="854239" y="2169965"/>
                  <a:pt x="854549" y="2168570"/>
                </a:cubicBezTo>
                <a:cubicBezTo>
                  <a:pt x="856511" y="2168106"/>
                  <a:pt x="857956" y="2167022"/>
                  <a:pt x="860537" y="2165937"/>
                </a:cubicBezTo>
                <a:close/>
                <a:moveTo>
                  <a:pt x="965756" y="2164388"/>
                </a:moveTo>
                <a:cubicBezTo>
                  <a:pt x="968647" y="2164078"/>
                  <a:pt x="968957" y="2173062"/>
                  <a:pt x="962142" y="2168415"/>
                </a:cubicBezTo>
                <a:cubicBezTo>
                  <a:pt x="963484" y="2165472"/>
                  <a:pt x="964827" y="2164388"/>
                  <a:pt x="965756" y="2164388"/>
                </a:cubicBezTo>
                <a:close/>
                <a:moveTo>
                  <a:pt x="1078408" y="2163614"/>
                </a:moveTo>
                <a:cubicBezTo>
                  <a:pt x="1079234" y="2163304"/>
                  <a:pt x="1080370" y="2163459"/>
                  <a:pt x="1081609" y="2163923"/>
                </a:cubicBezTo>
                <a:cubicBezTo>
                  <a:pt x="1083984" y="2164543"/>
                  <a:pt x="1084191" y="2166402"/>
                  <a:pt x="1084191" y="2166402"/>
                </a:cubicBezTo>
                <a:cubicBezTo>
                  <a:pt x="1084087" y="2169500"/>
                  <a:pt x="1082229" y="2171204"/>
                  <a:pt x="1079131" y="2170894"/>
                </a:cubicBezTo>
                <a:cubicBezTo>
                  <a:pt x="1077479" y="2169810"/>
                  <a:pt x="1077272" y="2168106"/>
                  <a:pt x="1077066" y="2166247"/>
                </a:cubicBezTo>
                <a:cubicBezTo>
                  <a:pt x="1077169" y="2164698"/>
                  <a:pt x="1077686" y="2163923"/>
                  <a:pt x="1078408" y="2163614"/>
                </a:cubicBezTo>
                <a:close/>
                <a:moveTo>
                  <a:pt x="6153318" y="2163340"/>
                </a:moveTo>
                <a:cubicBezTo>
                  <a:pt x="6155239" y="2163767"/>
                  <a:pt x="6156306" y="2164620"/>
                  <a:pt x="6156520" y="2165759"/>
                </a:cubicBezTo>
                <a:cubicBezTo>
                  <a:pt x="6156733" y="2166897"/>
                  <a:pt x="6156520" y="2168320"/>
                  <a:pt x="6155879" y="2170027"/>
                </a:cubicBezTo>
                <a:cubicBezTo>
                  <a:pt x="6154599" y="2173157"/>
                  <a:pt x="6152038" y="2173157"/>
                  <a:pt x="6152038" y="2173157"/>
                </a:cubicBezTo>
                <a:cubicBezTo>
                  <a:pt x="6147983" y="2172588"/>
                  <a:pt x="6145635" y="2169885"/>
                  <a:pt x="6146489" y="2165475"/>
                </a:cubicBezTo>
                <a:cubicBezTo>
                  <a:pt x="6148196" y="2163340"/>
                  <a:pt x="6150757" y="2163340"/>
                  <a:pt x="6153318" y="2163340"/>
                </a:cubicBezTo>
                <a:close/>
                <a:moveTo>
                  <a:pt x="5288542" y="2162771"/>
                </a:moveTo>
                <a:cubicBezTo>
                  <a:pt x="5288542" y="2166185"/>
                  <a:pt x="5289608" y="2167466"/>
                  <a:pt x="5288328" y="2167324"/>
                </a:cubicBezTo>
                <a:cubicBezTo>
                  <a:pt x="5288328" y="2168462"/>
                  <a:pt x="5287261" y="2168320"/>
                  <a:pt x="5287261" y="2167182"/>
                </a:cubicBezTo>
                <a:cubicBezTo>
                  <a:pt x="5284913" y="2165759"/>
                  <a:pt x="5287261" y="2163767"/>
                  <a:pt x="5288542" y="2162771"/>
                </a:cubicBezTo>
                <a:close/>
                <a:moveTo>
                  <a:pt x="5110549" y="2162771"/>
                </a:moveTo>
                <a:cubicBezTo>
                  <a:pt x="5115458" y="2164194"/>
                  <a:pt x="5114604" y="2170169"/>
                  <a:pt x="5111616" y="2171023"/>
                </a:cubicBezTo>
                <a:cubicBezTo>
                  <a:pt x="5110549" y="2171165"/>
                  <a:pt x="5109269" y="2170880"/>
                  <a:pt x="5107988" y="2169742"/>
                </a:cubicBezTo>
                <a:cubicBezTo>
                  <a:pt x="5108415" y="2167182"/>
                  <a:pt x="5109056" y="2165617"/>
                  <a:pt x="5110549" y="2162771"/>
                </a:cubicBezTo>
                <a:close/>
                <a:moveTo>
                  <a:pt x="5143629" y="2162629"/>
                </a:moveTo>
                <a:cubicBezTo>
                  <a:pt x="5148111" y="2161206"/>
                  <a:pt x="5156221" y="2166185"/>
                  <a:pt x="5158142" y="2169315"/>
                </a:cubicBezTo>
                <a:cubicBezTo>
                  <a:pt x="5157075" y="2173299"/>
                  <a:pt x="5155154" y="2175576"/>
                  <a:pt x="5152806" y="2176571"/>
                </a:cubicBezTo>
                <a:cubicBezTo>
                  <a:pt x="5145764" y="2179559"/>
                  <a:pt x="5136373" y="2171165"/>
                  <a:pt x="5143629" y="2162629"/>
                </a:cubicBezTo>
                <a:close/>
                <a:moveTo>
                  <a:pt x="4772493" y="2162487"/>
                </a:moveTo>
                <a:cubicBezTo>
                  <a:pt x="4777401" y="2167324"/>
                  <a:pt x="4774413" y="2175433"/>
                  <a:pt x="4768437" y="2175291"/>
                </a:cubicBezTo>
                <a:cubicBezTo>
                  <a:pt x="4767157" y="2174011"/>
                  <a:pt x="4764596" y="2172730"/>
                  <a:pt x="4763315" y="2170312"/>
                </a:cubicBezTo>
                <a:cubicBezTo>
                  <a:pt x="4764382" y="2164336"/>
                  <a:pt x="4767797" y="2162202"/>
                  <a:pt x="4772493" y="2162487"/>
                </a:cubicBezTo>
                <a:close/>
                <a:moveTo>
                  <a:pt x="1162872" y="2162375"/>
                </a:moveTo>
                <a:cubicBezTo>
                  <a:pt x="1163078" y="2162375"/>
                  <a:pt x="1163388" y="2162530"/>
                  <a:pt x="1163698" y="2162375"/>
                </a:cubicBezTo>
                <a:cubicBezTo>
                  <a:pt x="1163388" y="2163614"/>
                  <a:pt x="1163388" y="2163614"/>
                  <a:pt x="1162252" y="2162839"/>
                </a:cubicBezTo>
                <a:cubicBezTo>
                  <a:pt x="1162459" y="2162375"/>
                  <a:pt x="1162665" y="2162375"/>
                  <a:pt x="1162872" y="2162375"/>
                </a:cubicBezTo>
                <a:close/>
                <a:moveTo>
                  <a:pt x="4682856" y="2161064"/>
                </a:moveTo>
                <a:cubicBezTo>
                  <a:pt x="4686484" y="2163483"/>
                  <a:pt x="4687978" y="2165475"/>
                  <a:pt x="4688405" y="2167039"/>
                </a:cubicBezTo>
                <a:cubicBezTo>
                  <a:pt x="4688618" y="2168604"/>
                  <a:pt x="4687765" y="2169885"/>
                  <a:pt x="4686271" y="2170596"/>
                </a:cubicBezTo>
                <a:cubicBezTo>
                  <a:pt x="4681575" y="2173157"/>
                  <a:pt x="4671118" y="2170596"/>
                  <a:pt x="4682856" y="2161064"/>
                </a:cubicBezTo>
                <a:close/>
                <a:moveTo>
                  <a:pt x="5466961" y="2160779"/>
                </a:moveTo>
                <a:cubicBezTo>
                  <a:pt x="5468668" y="2160637"/>
                  <a:pt x="5469948" y="2160779"/>
                  <a:pt x="5471442" y="2161206"/>
                </a:cubicBezTo>
                <a:cubicBezTo>
                  <a:pt x="5479979" y="2163340"/>
                  <a:pt x="5486381" y="2173299"/>
                  <a:pt x="5488729" y="2179559"/>
                </a:cubicBezTo>
                <a:cubicBezTo>
                  <a:pt x="5484034" y="2177851"/>
                  <a:pt x="5478912" y="2176286"/>
                  <a:pt x="5474430" y="2173868"/>
                </a:cubicBezTo>
                <a:cubicBezTo>
                  <a:pt x="5469735" y="2171307"/>
                  <a:pt x="5465466" y="2167750"/>
                  <a:pt x="5462265" y="2161918"/>
                </a:cubicBezTo>
                <a:cubicBezTo>
                  <a:pt x="5463973" y="2161206"/>
                  <a:pt x="5465466" y="2160922"/>
                  <a:pt x="5466961" y="2160779"/>
                </a:cubicBezTo>
                <a:close/>
                <a:moveTo>
                  <a:pt x="5137654" y="2160068"/>
                </a:moveTo>
                <a:cubicBezTo>
                  <a:pt x="5137013" y="2166612"/>
                  <a:pt x="5127836" y="2173868"/>
                  <a:pt x="5121220" y="2176713"/>
                </a:cubicBezTo>
                <a:lnTo>
                  <a:pt x="5118232" y="2177283"/>
                </a:lnTo>
                <a:lnTo>
                  <a:pt x="5118446" y="2177425"/>
                </a:lnTo>
                <a:cubicBezTo>
                  <a:pt x="5116739" y="2183400"/>
                  <a:pt x="5109482" y="2184538"/>
                  <a:pt x="5106708" y="2180697"/>
                </a:cubicBezTo>
                <a:cubicBezTo>
                  <a:pt x="5106708" y="2176144"/>
                  <a:pt x="5109269" y="2174153"/>
                  <a:pt x="5112043" y="2174011"/>
                </a:cubicBezTo>
                <a:cubicBezTo>
                  <a:pt x="5113324" y="2173868"/>
                  <a:pt x="5114818" y="2174295"/>
                  <a:pt x="5115884" y="2174864"/>
                </a:cubicBezTo>
                <a:lnTo>
                  <a:pt x="5116952" y="2176002"/>
                </a:lnTo>
                <a:lnTo>
                  <a:pt x="5119727" y="2171876"/>
                </a:lnTo>
                <a:cubicBezTo>
                  <a:pt x="5121434" y="2170169"/>
                  <a:pt x="5123141" y="2168462"/>
                  <a:pt x="5124422" y="2165617"/>
                </a:cubicBezTo>
                <a:cubicBezTo>
                  <a:pt x="5128477" y="2165759"/>
                  <a:pt x="5132105" y="2159499"/>
                  <a:pt x="5137654" y="2160068"/>
                </a:cubicBezTo>
                <a:close/>
                <a:moveTo>
                  <a:pt x="4565262" y="2159357"/>
                </a:moveTo>
                <a:cubicBezTo>
                  <a:pt x="4566756" y="2167182"/>
                  <a:pt x="4572305" y="2169458"/>
                  <a:pt x="4568463" y="2173868"/>
                </a:cubicBezTo>
                <a:cubicBezTo>
                  <a:pt x="4563768" y="2172161"/>
                  <a:pt x="4562061" y="2162771"/>
                  <a:pt x="4565262" y="2159357"/>
                </a:cubicBezTo>
                <a:close/>
                <a:moveTo>
                  <a:pt x="5528852" y="2158361"/>
                </a:moveTo>
                <a:cubicBezTo>
                  <a:pt x="5529279" y="2167039"/>
                  <a:pt x="5514553" y="2176856"/>
                  <a:pt x="5509644" y="2175576"/>
                </a:cubicBezTo>
                <a:cubicBezTo>
                  <a:pt x="5510285" y="2170596"/>
                  <a:pt x="5514766" y="2169174"/>
                  <a:pt x="5516473" y="2163625"/>
                </a:cubicBezTo>
                <a:cubicBezTo>
                  <a:pt x="5520529" y="2163767"/>
                  <a:pt x="5523090" y="2157649"/>
                  <a:pt x="5528852" y="2158361"/>
                </a:cubicBezTo>
                <a:close/>
                <a:moveTo>
                  <a:pt x="5010029" y="2157223"/>
                </a:moveTo>
                <a:cubicBezTo>
                  <a:pt x="5010669" y="2158218"/>
                  <a:pt x="5010455" y="2159499"/>
                  <a:pt x="5010242" y="2160922"/>
                </a:cubicBezTo>
                <a:cubicBezTo>
                  <a:pt x="5009175" y="2165047"/>
                  <a:pt x="5004906" y="2170312"/>
                  <a:pt x="5002132" y="2172446"/>
                </a:cubicBezTo>
                <a:cubicBezTo>
                  <a:pt x="5000211" y="2168604"/>
                  <a:pt x="5006400" y="2160210"/>
                  <a:pt x="5010029" y="2157223"/>
                </a:cubicBezTo>
                <a:close/>
                <a:moveTo>
                  <a:pt x="915573" y="2156953"/>
                </a:moveTo>
                <a:cubicBezTo>
                  <a:pt x="917845" y="2155404"/>
                  <a:pt x="924143" y="2162839"/>
                  <a:pt x="915366" y="2162064"/>
                </a:cubicBezTo>
                <a:cubicBezTo>
                  <a:pt x="914954" y="2160516"/>
                  <a:pt x="914850" y="2159276"/>
                  <a:pt x="914850" y="2158502"/>
                </a:cubicBezTo>
                <a:cubicBezTo>
                  <a:pt x="914954" y="2157728"/>
                  <a:pt x="915263" y="2157108"/>
                  <a:pt x="915573" y="2156953"/>
                </a:cubicBezTo>
                <a:close/>
                <a:moveTo>
                  <a:pt x="6321066" y="2156938"/>
                </a:moveTo>
                <a:cubicBezTo>
                  <a:pt x="6324268" y="2157365"/>
                  <a:pt x="6327256" y="2157934"/>
                  <a:pt x="6327042" y="2161206"/>
                </a:cubicBezTo>
                <a:cubicBezTo>
                  <a:pt x="6324694" y="2161633"/>
                  <a:pt x="6324481" y="2163198"/>
                  <a:pt x="6320639" y="2161775"/>
                </a:cubicBezTo>
                <a:cubicBezTo>
                  <a:pt x="6320639" y="2160210"/>
                  <a:pt x="6320853" y="2158503"/>
                  <a:pt x="6321066" y="2156938"/>
                </a:cubicBezTo>
                <a:close/>
                <a:moveTo>
                  <a:pt x="1159155" y="2155249"/>
                </a:moveTo>
                <a:cubicBezTo>
                  <a:pt x="1162562" y="2153390"/>
                  <a:pt x="1164524" y="2156953"/>
                  <a:pt x="1163182" y="2158967"/>
                </a:cubicBezTo>
                <a:cubicBezTo>
                  <a:pt x="1162769" y="2159587"/>
                  <a:pt x="1162046" y="2160051"/>
                  <a:pt x="1160806" y="2160206"/>
                </a:cubicBezTo>
                <a:cubicBezTo>
                  <a:pt x="1159877" y="2158657"/>
                  <a:pt x="1159567" y="2157418"/>
                  <a:pt x="1159155" y="2155249"/>
                </a:cubicBezTo>
                <a:close/>
                <a:moveTo>
                  <a:pt x="5558731" y="2155089"/>
                </a:moveTo>
                <a:cubicBezTo>
                  <a:pt x="5559371" y="2155231"/>
                  <a:pt x="5560438" y="2155658"/>
                  <a:pt x="5561292" y="2156511"/>
                </a:cubicBezTo>
                <a:cubicBezTo>
                  <a:pt x="5561292" y="2156511"/>
                  <a:pt x="5561292" y="2156511"/>
                  <a:pt x="5561505" y="2157649"/>
                </a:cubicBezTo>
                <a:cubicBezTo>
                  <a:pt x="5561719" y="2160068"/>
                  <a:pt x="5561932" y="2161349"/>
                  <a:pt x="5562145" y="2162487"/>
                </a:cubicBezTo>
                <a:cubicBezTo>
                  <a:pt x="5561078" y="2163767"/>
                  <a:pt x="5558090" y="2166328"/>
                  <a:pt x="5556810" y="2165190"/>
                </a:cubicBezTo>
                <a:cubicBezTo>
                  <a:pt x="5554249" y="2162913"/>
                  <a:pt x="5552541" y="2159499"/>
                  <a:pt x="5553609" y="2158218"/>
                </a:cubicBezTo>
                <a:cubicBezTo>
                  <a:pt x="5554889" y="2156369"/>
                  <a:pt x="5556383" y="2154519"/>
                  <a:pt x="5558731" y="2155089"/>
                </a:cubicBezTo>
                <a:close/>
                <a:moveTo>
                  <a:pt x="5438149" y="2154804"/>
                </a:moveTo>
                <a:cubicBezTo>
                  <a:pt x="5440283" y="2155658"/>
                  <a:pt x="5442417" y="2156511"/>
                  <a:pt x="5442631" y="2158930"/>
                </a:cubicBezTo>
                <a:cubicBezTo>
                  <a:pt x="5442631" y="2159641"/>
                  <a:pt x="5442417" y="2160637"/>
                  <a:pt x="5441990" y="2161775"/>
                </a:cubicBezTo>
                <a:cubicBezTo>
                  <a:pt x="5441990" y="2161775"/>
                  <a:pt x="5441990" y="2161775"/>
                  <a:pt x="5440923" y="2162344"/>
                </a:cubicBezTo>
                <a:lnTo>
                  <a:pt x="5439002" y="2163340"/>
                </a:lnTo>
                <a:lnTo>
                  <a:pt x="5444124" y="2166185"/>
                </a:lnTo>
                <a:lnTo>
                  <a:pt x="5447326" y="2165332"/>
                </a:lnTo>
                <a:cubicBezTo>
                  <a:pt x="5450314" y="2165332"/>
                  <a:pt x="5453728" y="2166470"/>
                  <a:pt x="5456716" y="2169174"/>
                </a:cubicBezTo>
                <a:cubicBezTo>
                  <a:pt x="5457143" y="2170880"/>
                  <a:pt x="5456930" y="2173015"/>
                  <a:pt x="5456290" y="2175149"/>
                </a:cubicBezTo>
                <a:lnTo>
                  <a:pt x="5454795" y="2178136"/>
                </a:lnTo>
                <a:lnTo>
                  <a:pt x="5457570" y="2183258"/>
                </a:lnTo>
                <a:cubicBezTo>
                  <a:pt x="5455862" y="2186957"/>
                  <a:pt x="5453302" y="2188949"/>
                  <a:pt x="5450740" y="2189518"/>
                </a:cubicBezTo>
                <a:lnTo>
                  <a:pt x="5447539" y="2188949"/>
                </a:lnTo>
                <a:lnTo>
                  <a:pt x="5445619" y="2190656"/>
                </a:lnTo>
                <a:lnTo>
                  <a:pt x="5456076" y="2190229"/>
                </a:lnTo>
                <a:cubicBezTo>
                  <a:pt x="5461625" y="2190656"/>
                  <a:pt x="5467387" y="2191794"/>
                  <a:pt x="5472722" y="2193928"/>
                </a:cubicBezTo>
                <a:lnTo>
                  <a:pt x="5484888" y="2202037"/>
                </a:lnTo>
                <a:lnTo>
                  <a:pt x="5483607" y="2199761"/>
                </a:lnTo>
                <a:cubicBezTo>
                  <a:pt x="5481473" y="2196773"/>
                  <a:pt x="5479765" y="2193074"/>
                  <a:pt x="5481686" y="2187242"/>
                </a:cubicBezTo>
                <a:cubicBezTo>
                  <a:pt x="5484674" y="2188522"/>
                  <a:pt x="5488729" y="2181835"/>
                  <a:pt x="5492998" y="2183827"/>
                </a:cubicBezTo>
                <a:cubicBezTo>
                  <a:pt x="5503455" y="2187242"/>
                  <a:pt x="5505376" y="2190514"/>
                  <a:pt x="5505162" y="2195778"/>
                </a:cubicBezTo>
                <a:lnTo>
                  <a:pt x="5505162" y="2197627"/>
                </a:lnTo>
                <a:lnTo>
                  <a:pt x="5505589" y="2197485"/>
                </a:lnTo>
                <a:lnTo>
                  <a:pt x="5507937" y="2197343"/>
                </a:lnTo>
                <a:lnTo>
                  <a:pt x="5506443" y="2196062"/>
                </a:lnTo>
                <a:lnTo>
                  <a:pt x="5509644" y="2193928"/>
                </a:lnTo>
                <a:lnTo>
                  <a:pt x="5512419" y="2190941"/>
                </a:lnTo>
                <a:lnTo>
                  <a:pt x="5514340" y="2190656"/>
                </a:lnTo>
                <a:lnTo>
                  <a:pt x="5521596" y="2185534"/>
                </a:lnTo>
                <a:lnTo>
                  <a:pt x="5526504" y="2184254"/>
                </a:lnTo>
                <a:lnTo>
                  <a:pt x="5526504" y="2184112"/>
                </a:lnTo>
                <a:cubicBezTo>
                  <a:pt x="5525651" y="2182262"/>
                  <a:pt x="5525011" y="2180128"/>
                  <a:pt x="5524797" y="2177567"/>
                </a:cubicBezTo>
                <a:cubicBezTo>
                  <a:pt x="5526291" y="2177851"/>
                  <a:pt x="5526504" y="2176144"/>
                  <a:pt x="5526504" y="2174580"/>
                </a:cubicBezTo>
                <a:cubicBezTo>
                  <a:pt x="5528639" y="2173157"/>
                  <a:pt x="5531200" y="2173157"/>
                  <a:pt x="5533761" y="2173868"/>
                </a:cubicBezTo>
                <a:cubicBezTo>
                  <a:pt x="5536322" y="2174438"/>
                  <a:pt x="5539096" y="2176002"/>
                  <a:pt x="5541230" y="2177851"/>
                </a:cubicBezTo>
                <a:lnTo>
                  <a:pt x="5544645" y="2182405"/>
                </a:lnTo>
                <a:lnTo>
                  <a:pt x="5547206" y="2182547"/>
                </a:lnTo>
                <a:lnTo>
                  <a:pt x="5546139" y="2186672"/>
                </a:lnTo>
                <a:lnTo>
                  <a:pt x="5545926" y="2190371"/>
                </a:lnTo>
                <a:cubicBezTo>
                  <a:pt x="5545285" y="2191367"/>
                  <a:pt x="5544005" y="2192221"/>
                  <a:pt x="5542511" y="2192790"/>
                </a:cubicBezTo>
                <a:lnTo>
                  <a:pt x="5541230" y="2192363"/>
                </a:lnTo>
                <a:lnTo>
                  <a:pt x="5536322" y="2194497"/>
                </a:lnTo>
                <a:lnTo>
                  <a:pt x="5535468" y="2196489"/>
                </a:lnTo>
                <a:lnTo>
                  <a:pt x="5537175" y="2200330"/>
                </a:lnTo>
                <a:lnTo>
                  <a:pt x="5539096" y="2202322"/>
                </a:lnTo>
                <a:lnTo>
                  <a:pt x="5541870" y="2201610"/>
                </a:lnTo>
                <a:cubicBezTo>
                  <a:pt x="5545712" y="2202606"/>
                  <a:pt x="5548700" y="2200188"/>
                  <a:pt x="5552541" y="2201042"/>
                </a:cubicBezTo>
                <a:cubicBezTo>
                  <a:pt x="5552541" y="2201042"/>
                  <a:pt x="5552541" y="2201042"/>
                  <a:pt x="5551901" y="2202749"/>
                </a:cubicBezTo>
                <a:cubicBezTo>
                  <a:pt x="5548700" y="2202606"/>
                  <a:pt x="5546139" y="2203745"/>
                  <a:pt x="5543365" y="2204741"/>
                </a:cubicBezTo>
                <a:lnTo>
                  <a:pt x="5541657" y="2204883"/>
                </a:lnTo>
                <a:lnTo>
                  <a:pt x="5543791" y="2207017"/>
                </a:lnTo>
                <a:cubicBezTo>
                  <a:pt x="5548273" y="2211285"/>
                  <a:pt x="5553182" y="2215268"/>
                  <a:pt x="5555316" y="2221813"/>
                </a:cubicBezTo>
                <a:lnTo>
                  <a:pt x="5556383" y="2227361"/>
                </a:lnTo>
                <a:lnTo>
                  <a:pt x="5560652" y="2223662"/>
                </a:lnTo>
                <a:cubicBezTo>
                  <a:pt x="5562145" y="2222240"/>
                  <a:pt x="5563640" y="2221101"/>
                  <a:pt x="5564920" y="2219821"/>
                </a:cubicBezTo>
                <a:lnTo>
                  <a:pt x="5572816" y="2213419"/>
                </a:lnTo>
                <a:lnTo>
                  <a:pt x="5574097" y="2210004"/>
                </a:lnTo>
                <a:lnTo>
                  <a:pt x="5574951" y="2209578"/>
                </a:lnTo>
                <a:lnTo>
                  <a:pt x="5574737" y="2208155"/>
                </a:lnTo>
                <a:cubicBezTo>
                  <a:pt x="5574737" y="2208155"/>
                  <a:pt x="5574737" y="2208297"/>
                  <a:pt x="5575804" y="2207870"/>
                </a:cubicBezTo>
                <a:lnTo>
                  <a:pt x="5575591" y="2209009"/>
                </a:lnTo>
                <a:lnTo>
                  <a:pt x="5577085" y="2208013"/>
                </a:lnTo>
                <a:cubicBezTo>
                  <a:pt x="5580073" y="2207159"/>
                  <a:pt x="5583487" y="2209293"/>
                  <a:pt x="5584768" y="2212850"/>
                </a:cubicBezTo>
                <a:cubicBezTo>
                  <a:pt x="5585622" y="2214984"/>
                  <a:pt x="5585622" y="2217545"/>
                  <a:pt x="5584554" y="2220390"/>
                </a:cubicBezTo>
                <a:cubicBezTo>
                  <a:pt x="5582207" y="2221528"/>
                  <a:pt x="5576658" y="2220675"/>
                  <a:pt x="5573670" y="2218683"/>
                </a:cubicBezTo>
                <a:lnTo>
                  <a:pt x="5573457" y="2218398"/>
                </a:lnTo>
                <a:lnTo>
                  <a:pt x="5573243" y="2218541"/>
                </a:lnTo>
                <a:cubicBezTo>
                  <a:pt x="5570683" y="2222382"/>
                  <a:pt x="5565133" y="2227077"/>
                  <a:pt x="5564493" y="2226650"/>
                </a:cubicBezTo>
                <a:cubicBezTo>
                  <a:pt x="5563853" y="2227646"/>
                  <a:pt x="5562786" y="2227077"/>
                  <a:pt x="5562145" y="2228072"/>
                </a:cubicBezTo>
                <a:cubicBezTo>
                  <a:pt x="5562145" y="2228072"/>
                  <a:pt x="5561505" y="2229211"/>
                  <a:pt x="5559798" y="2229637"/>
                </a:cubicBezTo>
                <a:cubicBezTo>
                  <a:pt x="5558304" y="2230064"/>
                  <a:pt x="5556597" y="2230491"/>
                  <a:pt x="5555316" y="2228215"/>
                </a:cubicBezTo>
                <a:lnTo>
                  <a:pt x="5555529" y="2228072"/>
                </a:lnTo>
                <a:lnTo>
                  <a:pt x="5551474" y="2227646"/>
                </a:lnTo>
                <a:cubicBezTo>
                  <a:pt x="5548700" y="2226934"/>
                  <a:pt x="5545926" y="2225227"/>
                  <a:pt x="5543151" y="2223093"/>
                </a:cubicBezTo>
                <a:lnTo>
                  <a:pt x="5536748" y="2216549"/>
                </a:lnTo>
                <a:lnTo>
                  <a:pt x="5535895" y="2216264"/>
                </a:lnTo>
                <a:lnTo>
                  <a:pt x="5530986" y="2211854"/>
                </a:lnTo>
                <a:lnTo>
                  <a:pt x="5530986" y="2212139"/>
                </a:lnTo>
                <a:cubicBezTo>
                  <a:pt x="5529919" y="2216691"/>
                  <a:pt x="5528425" y="2221813"/>
                  <a:pt x="5527785" y="2223947"/>
                </a:cubicBezTo>
                <a:cubicBezTo>
                  <a:pt x="5526718" y="2224374"/>
                  <a:pt x="5526504" y="2224374"/>
                  <a:pt x="5526504" y="2224374"/>
                </a:cubicBezTo>
                <a:cubicBezTo>
                  <a:pt x="5525224" y="2224231"/>
                  <a:pt x="5524797" y="2223520"/>
                  <a:pt x="5524797" y="2222382"/>
                </a:cubicBezTo>
                <a:cubicBezTo>
                  <a:pt x="5524584" y="2221101"/>
                  <a:pt x="5525011" y="2219394"/>
                  <a:pt x="5525651" y="2217118"/>
                </a:cubicBezTo>
                <a:cubicBezTo>
                  <a:pt x="5526291" y="2214984"/>
                  <a:pt x="5527358" y="2212708"/>
                  <a:pt x="5528639" y="2210574"/>
                </a:cubicBezTo>
                <a:lnTo>
                  <a:pt x="5529065" y="2209720"/>
                </a:lnTo>
                <a:lnTo>
                  <a:pt x="5520315" y="2200188"/>
                </a:lnTo>
                <a:lnTo>
                  <a:pt x="5517328" y="2200330"/>
                </a:lnTo>
                <a:lnTo>
                  <a:pt x="5517328" y="2200615"/>
                </a:lnTo>
                <a:cubicBezTo>
                  <a:pt x="5515833" y="2203318"/>
                  <a:pt x="5513699" y="2204456"/>
                  <a:pt x="5511138" y="2205025"/>
                </a:cubicBezTo>
                <a:lnTo>
                  <a:pt x="5507297" y="2205737"/>
                </a:lnTo>
                <a:lnTo>
                  <a:pt x="5507510" y="2205879"/>
                </a:lnTo>
                <a:cubicBezTo>
                  <a:pt x="5507937" y="2206447"/>
                  <a:pt x="5508150" y="2207017"/>
                  <a:pt x="5507937" y="2208155"/>
                </a:cubicBezTo>
                <a:lnTo>
                  <a:pt x="5503028" y="2212708"/>
                </a:lnTo>
                <a:lnTo>
                  <a:pt x="5507723" y="2214557"/>
                </a:lnTo>
                <a:lnTo>
                  <a:pt x="5497906" y="2223093"/>
                </a:lnTo>
                <a:lnTo>
                  <a:pt x="5498760" y="2225654"/>
                </a:lnTo>
                <a:cubicBezTo>
                  <a:pt x="5500254" y="2233479"/>
                  <a:pt x="5500681" y="2241730"/>
                  <a:pt x="5503669" y="2250836"/>
                </a:cubicBezTo>
                <a:cubicBezTo>
                  <a:pt x="5490863" y="2257665"/>
                  <a:pt x="5493211" y="2266627"/>
                  <a:pt x="5491077" y="2274452"/>
                </a:cubicBezTo>
                <a:cubicBezTo>
                  <a:pt x="5480406" y="2274452"/>
                  <a:pt x="5469948" y="2282988"/>
                  <a:pt x="5458850" y="2286403"/>
                </a:cubicBezTo>
                <a:cubicBezTo>
                  <a:pt x="5452448" y="2282562"/>
                  <a:pt x="5446045" y="2279858"/>
                  <a:pt x="5439643" y="2277155"/>
                </a:cubicBezTo>
                <a:lnTo>
                  <a:pt x="5431960" y="2273456"/>
                </a:lnTo>
                <a:lnTo>
                  <a:pt x="5428758" y="2278435"/>
                </a:lnTo>
                <a:cubicBezTo>
                  <a:pt x="5426624" y="2277155"/>
                  <a:pt x="5425770" y="2276017"/>
                  <a:pt x="5425770" y="2274452"/>
                </a:cubicBezTo>
                <a:lnTo>
                  <a:pt x="5427264" y="2271180"/>
                </a:lnTo>
                <a:lnTo>
                  <a:pt x="5420222" y="2267908"/>
                </a:lnTo>
                <a:lnTo>
                  <a:pt x="5419794" y="2266058"/>
                </a:lnTo>
                <a:lnTo>
                  <a:pt x="5416593" y="2270184"/>
                </a:lnTo>
                <a:lnTo>
                  <a:pt x="5415739" y="2270042"/>
                </a:lnTo>
                <a:lnTo>
                  <a:pt x="5415953" y="2270326"/>
                </a:lnTo>
                <a:cubicBezTo>
                  <a:pt x="5416380" y="2271749"/>
                  <a:pt x="5416166" y="2273314"/>
                  <a:pt x="5414672" y="2275306"/>
                </a:cubicBezTo>
                <a:cubicBezTo>
                  <a:pt x="5414032" y="2276444"/>
                  <a:pt x="5412751" y="2276871"/>
                  <a:pt x="5411471" y="2276871"/>
                </a:cubicBezTo>
                <a:cubicBezTo>
                  <a:pt x="5407416" y="2276587"/>
                  <a:pt x="5402080" y="2271749"/>
                  <a:pt x="5404642" y="2267197"/>
                </a:cubicBezTo>
                <a:lnTo>
                  <a:pt x="5404855" y="2267197"/>
                </a:lnTo>
                <a:lnTo>
                  <a:pt x="5403575" y="2266769"/>
                </a:lnTo>
                <a:cubicBezTo>
                  <a:pt x="5403575" y="2266769"/>
                  <a:pt x="5401867" y="2264920"/>
                  <a:pt x="5401867" y="2261506"/>
                </a:cubicBezTo>
                <a:cubicBezTo>
                  <a:pt x="5398239" y="2256242"/>
                  <a:pt x="5403575" y="2250978"/>
                  <a:pt x="5403575" y="2250978"/>
                </a:cubicBezTo>
                <a:cubicBezTo>
                  <a:pt x="5403575" y="2250978"/>
                  <a:pt x="5403788" y="2250978"/>
                  <a:pt x="5401867" y="2250978"/>
                </a:cubicBezTo>
                <a:cubicBezTo>
                  <a:pt x="5403788" y="2250978"/>
                  <a:pt x="5405495" y="2250551"/>
                  <a:pt x="5407416" y="2250124"/>
                </a:cubicBezTo>
                <a:lnTo>
                  <a:pt x="5411471" y="2249413"/>
                </a:lnTo>
                <a:lnTo>
                  <a:pt x="5412965" y="2247706"/>
                </a:lnTo>
                <a:lnTo>
                  <a:pt x="5410404" y="2242868"/>
                </a:lnTo>
                <a:cubicBezTo>
                  <a:pt x="5406563" y="2234332"/>
                  <a:pt x="5403575" y="2225796"/>
                  <a:pt x="5406989" y="2217545"/>
                </a:cubicBezTo>
                <a:lnTo>
                  <a:pt x="5407630" y="2216976"/>
                </a:lnTo>
                <a:lnTo>
                  <a:pt x="5411898" y="2210289"/>
                </a:lnTo>
                <a:lnTo>
                  <a:pt x="5416593" y="2208582"/>
                </a:lnTo>
                <a:lnTo>
                  <a:pt x="5418087" y="2206305"/>
                </a:lnTo>
                <a:cubicBezTo>
                  <a:pt x="5420008" y="2202464"/>
                  <a:pt x="5421289" y="2198481"/>
                  <a:pt x="5424063" y="2194924"/>
                </a:cubicBezTo>
                <a:cubicBezTo>
                  <a:pt x="5428545" y="2193217"/>
                  <a:pt x="5433880" y="2191794"/>
                  <a:pt x="5439216" y="2190941"/>
                </a:cubicBezTo>
                <a:lnTo>
                  <a:pt x="5443271" y="2190798"/>
                </a:lnTo>
                <a:lnTo>
                  <a:pt x="5437722" y="2188237"/>
                </a:lnTo>
                <a:cubicBezTo>
                  <a:pt x="5436014" y="2186815"/>
                  <a:pt x="5434734" y="2185107"/>
                  <a:pt x="5434093" y="2183400"/>
                </a:cubicBezTo>
                <a:lnTo>
                  <a:pt x="5433880" y="2179986"/>
                </a:lnTo>
                <a:lnTo>
                  <a:pt x="5432813" y="2178705"/>
                </a:lnTo>
                <a:cubicBezTo>
                  <a:pt x="5430465" y="2174864"/>
                  <a:pt x="5428972" y="2170596"/>
                  <a:pt x="5429612" y="2166755"/>
                </a:cubicBezTo>
                <a:lnTo>
                  <a:pt x="5432813" y="2160779"/>
                </a:lnTo>
                <a:lnTo>
                  <a:pt x="5432386" y="2160210"/>
                </a:lnTo>
                <a:cubicBezTo>
                  <a:pt x="5433667" y="2156938"/>
                  <a:pt x="5436655" y="2154377"/>
                  <a:pt x="5438149" y="2154804"/>
                </a:cubicBezTo>
                <a:close/>
                <a:moveTo>
                  <a:pt x="5021767" y="2153951"/>
                </a:moveTo>
                <a:cubicBezTo>
                  <a:pt x="5023688" y="2154093"/>
                  <a:pt x="5025608" y="2155089"/>
                  <a:pt x="5027742" y="2156796"/>
                </a:cubicBezTo>
                <a:cubicBezTo>
                  <a:pt x="5027316" y="2160068"/>
                  <a:pt x="5023261" y="2163910"/>
                  <a:pt x="5020059" y="2163198"/>
                </a:cubicBezTo>
                <a:cubicBezTo>
                  <a:pt x="5016858" y="2160068"/>
                  <a:pt x="5018138" y="2158076"/>
                  <a:pt x="5016218" y="2156369"/>
                </a:cubicBezTo>
                <a:cubicBezTo>
                  <a:pt x="5018138" y="2154519"/>
                  <a:pt x="5020059" y="2153808"/>
                  <a:pt x="5021767" y="2153951"/>
                </a:cubicBezTo>
                <a:close/>
                <a:moveTo>
                  <a:pt x="6164843" y="2153666"/>
                </a:moveTo>
                <a:cubicBezTo>
                  <a:pt x="6166124" y="2153666"/>
                  <a:pt x="6167404" y="2153951"/>
                  <a:pt x="6168685" y="2154804"/>
                </a:cubicBezTo>
                <a:cubicBezTo>
                  <a:pt x="6169325" y="2156511"/>
                  <a:pt x="6170819" y="2158930"/>
                  <a:pt x="6170819" y="2161491"/>
                </a:cubicBezTo>
                <a:cubicBezTo>
                  <a:pt x="6166977" y="2165759"/>
                  <a:pt x="6162922" y="2165759"/>
                  <a:pt x="6158654" y="2162913"/>
                </a:cubicBezTo>
                <a:cubicBezTo>
                  <a:pt x="6157160" y="2157934"/>
                  <a:pt x="6160788" y="2153951"/>
                  <a:pt x="6164843" y="2153666"/>
                </a:cubicBezTo>
                <a:close/>
                <a:moveTo>
                  <a:pt x="766264" y="2153545"/>
                </a:moveTo>
                <a:cubicBezTo>
                  <a:pt x="770188" y="2153855"/>
                  <a:pt x="771427" y="2154320"/>
                  <a:pt x="774525" y="2156798"/>
                </a:cubicBezTo>
                <a:cubicBezTo>
                  <a:pt x="774422" y="2162375"/>
                  <a:pt x="771221" y="2165472"/>
                  <a:pt x="768020" y="2168570"/>
                </a:cubicBezTo>
                <a:cubicBezTo>
                  <a:pt x="763580" y="2168106"/>
                  <a:pt x="761928" y="2166711"/>
                  <a:pt x="761721" y="2164853"/>
                </a:cubicBezTo>
                <a:cubicBezTo>
                  <a:pt x="761618" y="2164233"/>
                  <a:pt x="761721" y="2163459"/>
                  <a:pt x="761928" y="2162839"/>
                </a:cubicBezTo>
                <a:cubicBezTo>
                  <a:pt x="762754" y="2159896"/>
                  <a:pt x="765232" y="2156334"/>
                  <a:pt x="766264" y="2153545"/>
                </a:cubicBezTo>
                <a:close/>
                <a:moveTo>
                  <a:pt x="5711113" y="2152954"/>
                </a:moveTo>
                <a:lnTo>
                  <a:pt x="5707698" y="2160353"/>
                </a:lnTo>
                <a:lnTo>
                  <a:pt x="5709405" y="2162771"/>
                </a:lnTo>
                <a:cubicBezTo>
                  <a:pt x="5709618" y="2164336"/>
                  <a:pt x="5708765" y="2166185"/>
                  <a:pt x="5707698" y="2168320"/>
                </a:cubicBezTo>
                <a:cubicBezTo>
                  <a:pt x="5706204" y="2167182"/>
                  <a:pt x="5705563" y="2165902"/>
                  <a:pt x="5705350" y="2164336"/>
                </a:cubicBezTo>
                <a:lnTo>
                  <a:pt x="5705350" y="2163625"/>
                </a:lnTo>
                <a:lnTo>
                  <a:pt x="5701295" y="2169600"/>
                </a:lnTo>
                <a:cubicBezTo>
                  <a:pt x="5699161" y="2172161"/>
                  <a:pt x="5697454" y="2174580"/>
                  <a:pt x="5696813" y="2177425"/>
                </a:cubicBezTo>
                <a:cubicBezTo>
                  <a:pt x="5696813" y="2177425"/>
                  <a:pt x="5696600" y="2177425"/>
                  <a:pt x="5693399" y="2178278"/>
                </a:cubicBezTo>
                <a:cubicBezTo>
                  <a:pt x="5692759" y="2179275"/>
                  <a:pt x="5692759" y="2179275"/>
                  <a:pt x="5692759" y="2179275"/>
                </a:cubicBezTo>
                <a:cubicBezTo>
                  <a:pt x="5692545" y="2179701"/>
                  <a:pt x="5691904" y="2179701"/>
                  <a:pt x="5691264" y="2179559"/>
                </a:cubicBezTo>
                <a:lnTo>
                  <a:pt x="5691051" y="2179843"/>
                </a:lnTo>
                <a:lnTo>
                  <a:pt x="5690411" y="2180413"/>
                </a:lnTo>
                <a:lnTo>
                  <a:pt x="5696387" y="2183827"/>
                </a:lnTo>
                <a:cubicBezTo>
                  <a:pt x="5694892" y="2186815"/>
                  <a:pt x="5698947" y="2188237"/>
                  <a:pt x="5696387" y="2191367"/>
                </a:cubicBezTo>
                <a:lnTo>
                  <a:pt x="5693185" y="2190941"/>
                </a:lnTo>
                <a:cubicBezTo>
                  <a:pt x="5693399" y="2192221"/>
                  <a:pt x="5693185" y="2193928"/>
                  <a:pt x="5692759" y="2196062"/>
                </a:cubicBezTo>
                <a:cubicBezTo>
                  <a:pt x="5691691" y="2200473"/>
                  <a:pt x="5688704" y="2206021"/>
                  <a:pt x="5688063" y="2207586"/>
                </a:cubicBezTo>
                <a:cubicBezTo>
                  <a:pt x="5687423" y="2209151"/>
                  <a:pt x="5687850" y="2210289"/>
                  <a:pt x="5687850" y="2210289"/>
                </a:cubicBezTo>
                <a:cubicBezTo>
                  <a:pt x="5685929" y="2210289"/>
                  <a:pt x="5687636" y="2201184"/>
                  <a:pt x="5688917" y="2194639"/>
                </a:cubicBezTo>
                <a:lnTo>
                  <a:pt x="5689984" y="2190371"/>
                </a:lnTo>
                <a:lnTo>
                  <a:pt x="5688490" y="2190229"/>
                </a:lnTo>
                <a:lnTo>
                  <a:pt x="5686356" y="2188949"/>
                </a:lnTo>
                <a:lnTo>
                  <a:pt x="5683795" y="2189518"/>
                </a:lnTo>
                <a:lnTo>
                  <a:pt x="5683581" y="2189944"/>
                </a:lnTo>
                <a:cubicBezTo>
                  <a:pt x="5682941" y="2191652"/>
                  <a:pt x="5682514" y="2193501"/>
                  <a:pt x="5683155" y="2194213"/>
                </a:cubicBezTo>
                <a:cubicBezTo>
                  <a:pt x="5682088" y="2194070"/>
                  <a:pt x="5680807" y="2195066"/>
                  <a:pt x="5680807" y="2195066"/>
                </a:cubicBezTo>
                <a:cubicBezTo>
                  <a:pt x="5679526" y="2193786"/>
                  <a:pt x="5679740" y="2192506"/>
                  <a:pt x="5679740" y="2191367"/>
                </a:cubicBezTo>
                <a:lnTo>
                  <a:pt x="5682941" y="2189518"/>
                </a:lnTo>
                <a:lnTo>
                  <a:pt x="5673550" y="2191225"/>
                </a:lnTo>
                <a:lnTo>
                  <a:pt x="5670136" y="2190656"/>
                </a:lnTo>
                <a:lnTo>
                  <a:pt x="5670349" y="2192079"/>
                </a:lnTo>
                <a:cubicBezTo>
                  <a:pt x="5667788" y="2191510"/>
                  <a:pt x="5667148" y="2192932"/>
                  <a:pt x="5663947" y="2190087"/>
                </a:cubicBezTo>
                <a:lnTo>
                  <a:pt x="5663947" y="2189660"/>
                </a:lnTo>
                <a:lnTo>
                  <a:pt x="5657971" y="2188664"/>
                </a:lnTo>
                <a:cubicBezTo>
                  <a:pt x="5654770" y="2187384"/>
                  <a:pt x="5651995" y="2185819"/>
                  <a:pt x="5649220" y="2183827"/>
                </a:cubicBezTo>
                <a:cubicBezTo>
                  <a:pt x="5653703" y="2175149"/>
                  <a:pt x="5663947" y="2177425"/>
                  <a:pt x="5671630" y="2177283"/>
                </a:cubicBezTo>
                <a:cubicBezTo>
                  <a:pt x="5669496" y="2169315"/>
                  <a:pt x="5663947" y="2158361"/>
                  <a:pt x="5672270" y="2154377"/>
                </a:cubicBezTo>
                <a:cubicBezTo>
                  <a:pt x="5678673" y="2156654"/>
                  <a:pt x="5678673" y="2164052"/>
                  <a:pt x="5680167" y="2171449"/>
                </a:cubicBezTo>
                <a:lnTo>
                  <a:pt x="5681020" y="2174438"/>
                </a:lnTo>
                <a:lnTo>
                  <a:pt x="5682941" y="2176002"/>
                </a:lnTo>
                <a:lnTo>
                  <a:pt x="5689771" y="2179986"/>
                </a:lnTo>
                <a:lnTo>
                  <a:pt x="5690411" y="2179559"/>
                </a:lnTo>
                <a:lnTo>
                  <a:pt x="5690411" y="2179132"/>
                </a:lnTo>
                <a:lnTo>
                  <a:pt x="5690197" y="2178990"/>
                </a:lnTo>
                <a:lnTo>
                  <a:pt x="5690411" y="2178136"/>
                </a:lnTo>
                <a:lnTo>
                  <a:pt x="5690411" y="2176998"/>
                </a:lnTo>
                <a:lnTo>
                  <a:pt x="5690624" y="2176856"/>
                </a:lnTo>
                <a:lnTo>
                  <a:pt x="5690838" y="2175576"/>
                </a:lnTo>
                <a:cubicBezTo>
                  <a:pt x="5691478" y="2174438"/>
                  <a:pt x="5692545" y="2173299"/>
                  <a:pt x="5693185" y="2172303"/>
                </a:cubicBezTo>
                <a:cubicBezTo>
                  <a:pt x="5692118" y="2170027"/>
                  <a:pt x="5697880" y="2169315"/>
                  <a:pt x="5696600" y="2167039"/>
                </a:cubicBezTo>
                <a:cubicBezTo>
                  <a:pt x="5703003" y="2165332"/>
                  <a:pt x="5701722" y="2157223"/>
                  <a:pt x="5711113" y="2152954"/>
                </a:cubicBezTo>
                <a:close/>
                <a:moveTo>
                  <a:pt x="1165866" y="2150293"/>
                </a:moveTo>
                <a:cubicBezTo>
                  <a:pt x="1166176" y="2152151"/>
                  <a:pt x="1167312" y="2152151"/>
                  <a:pt x="1166279" y="2155094"/>
                </a:cubicBezTo>
                <a:cubicBezTo>
                  <a:pt x="1165143" y="2154940"/>
                  <a:pt x="1164008" y="2154785"/>
                  <a:pt x="1162769" y="2154785"/>
                </a:cubicBezTo>
                <a:cubicBezTo>
                  <a:pt x="1163078" y="2152461"/>
                  <a:pt x="1163491" y="2150138"/>
                  <a:pt x="1165866" y="2150293"/>
                </a:cubicBezTo>
                <a:close/>
                <a:moveTo>
                  <a:pt x="842261" y="2149983"/>
                </a:moveTo>
                <a:cubicBezTo>
                  <a:pt x="842881" y="2154940"/>
                  <a:pt x="835756" y="2159431"/>
                  <a:pt x="831316" y="2161290"/>
                </a:cubicBezTo>
                <a:cubicBezTo>
                  <a:pt x="829664" y="2159587"/>
                  <a:pt x="827908" y="2160516"/>
                  <a:pt x="826257" y="2158967"/>
                </a:cubicBezTo>
                <a:cubicBezTo>
                  <a:pt x="831729" y="2153700"/>
                  <a:pt x="837201" y="2147659"/>
                  <a:pt x="842261" y="2149983"/>
                </a:cubicBezTo>
                <a:close/>
                <a:moveTo>
                  <a:pt x="957289" y="2149518"/>
                </a:moveTo>
                <a:cubicBezTo>
                  <a:pt x="959044" y="2151377"/>
                  <a:pt x="959560" y="2156798"/>
                  <a:pt x="957701" y="2158192"/>
                </a:cubicBezTo>
                <a:cubicBezTo>
                  <a:pt x="956463" y="2158037"/>
                  <a:pt x="955224" y="2157883"/>
                  <a:pt x="953985" y="2157728"/>
                </a:cubicBezTo>
                <a:cubicBezTo>
                  <a:pt x="953158" y="2156334"/>
                  <a:pt x="952642" y="2154785"/>
                  <a:pt x="952539" y="2153545"/>
                </a:cubicBezTo>
                <a:cubicBezTo>
                  <a:pt x="952539" y="2152151"/>
                  <a:pt x="952952" y="2150912"/>
                  <a:pt x="954088" y="2150138"/>
                </a:cubicBezTo>
                <a:cubicBezTo>
                  <a:pt x="954914" y="2149673"/>
                  <a:pt x="955946" y="2149518"/>
                  <a:pt x="957289" y="2149518"/>
                </a:cubicBezTo>
                <a:close/>
                <a:moveTo>
                  <a:pt x="5444551" y="2148971"/>
                </a:moveTo>
                <a:cubicBezTo>
                  <a:pt x="5445832" y="2149255"/>
                  <a:pt x="5446685" y="2149967"/>
                  <a:pt x="5447112" y="2150678"/>
                </a:cubicBezTo>
                <a:cubicBezTo>
                  <a:pt x="5448393" y="2152954"/>
                  <a:pt x="5446685" y="2156369"/>
                  <a:pt x="5444551" y="2157081"/>
                </a:cubicBezTo>
                <a:cubicBezTo>
                  <a:pt x="5443484" y="2157365"/>
                  <a:pt x="5442204" y="2157223"/>
                  <a:pt x="5441136" y="2156084"/>
                </a:cubicBezTo>
                <a:cubicBezTo>
                  <a:pt x="5441777" y="2153381"/>
                  <a:pt x="5442844" y="2151959"/>
                  <a:pt x="5444551" y="2148971"/>
                </a:cubicBezTo>
                <a:close/>
                <a:moveTo>
                  <a:pt x="5595225" y="2148687"/>
                </a:moveTo>
                <a:cubicBezTo>
                  <a:pt x="5595225" y="2148687"/>
                  <a:pt x="5594158" y="2149825"/>
                  <a:pt x="5594158" y="2150963"/>
                </a:cubicBezTo>
                <a:cubicBezTo>
                  <a:pt x="5594158" y="2150963"/>
                  <a:pt x="5593091" y="2152101"/>
                  <a:pt x="5592025" y="2153239"/>
                </a:cubicBezTo>
                <a:cubicBezTo>
                  <a:pt x="5592025" y="2153239"/>
                  <a:pt x="5592025" y="2154377"/>
                  <a:pt x="5592025" y="2155516"/>
                </a:cubicBezTo>
                <a:lnTo>
                  <a:pt x="5589250" y="2159499"/>
                </a:lnTo>
                <a:lnTo>
                  <a:pt x="5590317" y="2159641"/>
                </a:lnTo>
                <a:cubicBezTo>
                  <a:pt x="5595653" y="2160353"/>
                  <a:pt x="5601201" y="2161633"/>
                  <a:pt x="5603336" y="2164763"/>
                </a:cubicBezTo>
                <a:cubicBezTo>
                  <a:pt x="5604189" y="2165759"/>
                  <a:pt x="5604403" y="2167039"/>
                  <a:pt x="5604189" y="2168462"/>
                </a:cubicBezTo>
                <a:cubicBezTo>
                  <a:pt x="5603762" y="2172730"/>
                  <a:pt x="5600988" y="2176571"/>
                  <a:pt x="5596933" y="2178990"/>
                </a:cubicBezTo>
                <a:lnTo>
                  <a:pt x="5592025" y="2180982"/>
                </a:lnTo>
                <a:lnTo>
                  <a:pt x="5594158" y="2181408"/>
                </a:lnTo>
                <a:cubicBezTo>
                  <a:pt x="5595866" y="2181835"/>
                  <a:pt x="5597360" y="2182262"/>
                  <a:pt x="5597146" y="2183116"/>
                </a:cubicBezTo>
                <a:cubicBezTo>
                  <a:pt x="5597146" y="2183116"/>
                  <a:pt x="5595439" y="2182547"/>
                  <a:pt x="5593945" y="2182120"/>
                </a:cubicBezTo>
                <a:cubicBezTo>
                  <a:pt x="5592451" y="2181551"/>
                  <a:pt x="5592451" y="2181551"/>
                  <a:pt x="5591811" y="2183116"/>
                </a:cubicBezTo>
                <a:cubicBezTo>
                  <a:pt x="5590957" y="2182831"/>
                  <a:pt x="5590530" y="2182831"/>
                  <a:pt x="5590317" y="2182405"/>
                </a:cubicBezTo>
                <a:lnTo>
                  <a:pt x="5589890" y="2181693"/>
                </a:lnTo>
                <a:lnTo>
                  <a:pt x="5582847" y="2181693"/>
                </a:lnTo>
                <a:lnTo>
                  <a:pt x="5575804" y="2179843"/>
                </a:lnTo>
                <a:lnTo>
                  <a:pt x="5575591" y="2179843"/>
                </a:lnTo>
                <a:lnTo>
                  <a:pt x="5572816" y="2179132"/>
                </a:lnTo>
                <a:lnTo>
                  <a:pt x="5565347" y="2174580"/>
                </a:lnTo>
                <a:lnTo>
                  <a:pt x="5565774" y="2175006"/>
                </a:lnTo>
                <a:cubicBezTo>
                  <a:pt x="5566627" y="2177851"/>
                  <a:pt x="5565560" y="2181266"/>
                  <a:pt x="5562999" y="2183258"/>
                </a:cubicBezTo>
                <a:lnTo>
                  <a:pt x="5560438" y="2183970"/>
                </a:lnTo>
                <a:lnTo>
                  <a:pt x="5562145" y="2187099"/>
                </a:lnTo>
                <a:lnTo>
                  <a:pt x="5572176" y="2188095"/>
                </a:lnTo>
                <a:lnTo>
                  <a:pt x="5574524" y="2189660"/>
                </a:lnTo>
                <a:lnTo>
                  <a:pt x="5576871" y="2189518"/>
                </a:lnTo>
                <a:cubicBezTo>
                  <a:pt x="5577085" y="2190514"/>
                  <a:pt x="5577085" y="2190514"/>
                  <a:pt x="5576018" y="2190941"/>
                </a:cubicBezTo>
                <a:cubicBezTo>
                  <a:pt x="5576231" y="2190941"/>
                  <a:pt x="5576231" y="2190941"/>
                  <a:pt x="5576445" y="2191083"/>
                </a:cubicBezTo>
                <a:lnTo>
                  <a:pt x="5576018" y="2191367"/>
                </a:lnTo>
                <a:lnTo>
                  <a:pt x="5576445" y="2192079"/>
                </a:lnTo>
                <a:cubicBezTo>
                  <a:pt x="5576658" y="2192932"/>
                  <a:pt x="5576871" y="2193786"/>
                  <a:pt x="5576658" y="2194924"/>
                </a:cubicBezTo>
                <a:cubicBezTo>
                  <a:pt x="5576871" y="2195493"/>
                  <a:pt x="5575804" y="2196205"/>
                  <a:pt x="5574524" y="2196631"/>
                </a:cubicBezTo>
                <a:lnTo>
                  <a:pt x="5573457" y="2196773"/>
                </a:lnTo>
                <a:lnTo>
                  <a:pt x="5574097" y="2197911"/>
                </a:lnTo>
                <a:cubicBezTo>
                  <a:pt x="5574097" y="2199334"/>
                  <a:pt x="5573670" y="2200046"/>
                  <a:pt x="5573670" y="2200046"/>
                </a:cubicBezTo>
                <a:cubicBezTo>
                  <a:pt x="5570042" y="2205310"/>
                  <a:pt x="5564280" y="2207159"/>
                  <a:pt x="5558731" y="2203602"/>
                </a:cubicBezTo>
                <a:cubicBezTo>
                  <a:pt x="5556810" y="2200188"/>
                  <a:pt x="5558731" y="2196631"/>
                  <a:pt x="5560652" y="2193217"/>
                </a:cubicBezTo>
                <a:lnTo>
                  <a:pt x="5562999" y="2190941"/>
                </a:lnTo>
                <a:lnTo>
                  <a:pt x="5562572" y="2190656"/>
                </a:lnTo>
                <a:lnTo>
                  <a:pt x="5562145" y="2187952"/>
                </a:lnTo>
                <a:lnTo>
                  <a:pt x="5562145" y="2189944"/>
                </a:lnTo>
                <a:cubicBezTo>
                  <a:pt x="5561719" y="2190798"/>
                  <a:pt x="5561292" y="2191510"/>
                  <a:pt x="5560438" y="2191794"/>
                </a:cubicBezTo>
                <a:cubicBezTo>
                  <a:pt x="5559584" y="2191083"/>
                  <a:pt x="5558944" y="2192221"/>
                  <a:pt x="5557877" y="2191652"/>
                </a:cubicBezTo>
                <a:cubicBezTo>
                  <a:pt x="5555316" y="2191367"/>
                  <a:pt x="5554462" y="2190798"/>
                  <a:pt x="5554249" y="2189233"/>
                </a:cubicBezTo>
                <a:cubicBezTo>
                  <a:pt x="5553182" y="2188522"/>
                  <a:pt x="5553822" y="2187526"/>
                  <a:pt x="5553609" y="2185961"/>
                </a:cubicBezTo>
                <a:lnTo>
                  <a:pt x="5554676" y="2184965"/>
                </a:lnTo>
                <a:lnTo>
                  <a:pt x="5553609" y="2183827"/>
                </a:lnTo>
                <a:cubicBezTo>
                  <a:pt x="5552328" y="2181551"/>
                  <a:pt x="5551474" y="2179559"/>
                  <a:pt x="5551901" y="2178848"/>
                </a:cubicBezTo>
                <a:lnTo>
                  <a:pt x="5555743" y="2183542"/>
                </a:lnTo>
                <a:lnTo>
                  <a:pt x="5554249" y="2177567"/>
                </a:lnTo>
                <a:cubicBezTo>
                  <a:pt x="5554249" y="2174580"/>
                  <a:pt x="5554889" y="2171734"/>
                  <a:pt x="5556169" y="2170596"/>
                </a:cubicBezTo>
                <a:lnTo>
                  <a:pt x="5561719" y="2171449"/>
                </a:lnTo>
                <a:lnTo>
                  <a:pt x="5561292" y="2171023"/>
                </a:lnTo>
                <a:cubicBezTo>
                  <a:pt x="5563426" y="2159499"/>
                  <a:pt x="5572816" y="2157934"/>
                  <a:pt x="5581780" y="2158503"/>
                </a:cubicBezTo>
                <a:lnTo>
                  <a:pt x="5584982" y="2158930"/>
                </a:lnTo>
                <a:lnTo>
                  <a:pt x="5585622" y="2157649"/>
                </a:lnTo>
                <a:cubicBezTo>
                  <a:pt x="5586262" y="2156796"/>
                  <a:pt x="5587116" y="2155943"/>
                  <a:pt x="5587542" y="2155373"/>
                </a:cubicBezTo>
                <a:cubicBezTo>
                  <a:pt x="5587542" y="2154235"/>
                  <a:pt x="5588610" y="2153097"/>
                  <a:pt x="5589677" y="2153239"/>
                </a:cubicBezTo>
                <a:cubicBezTo>
                  <a:pt x="5589677" y="2153239"/>
                  <a:pt x="5590744" y="2152101"/>
                  <a:pt x="5590744" y="2150821"/>
                </a:cubicBezTo>
                <a:cubicBezTo>
                  <a:pt x="5592878" y="2148544"/>
                  <a:pt x="5593945" y="2148544"/>
                  <a:pt x="5595225" y="2148687"/>
                </a:cubicBezTo>
                <a:close/>
                <a:moveTo>
                  <a:pt x="5356196" y="2148687"/>
                </a:moveTo>
                <a:cubicBezTo>
                  <a:pt x="5357476" y="2148402"/>
                  <a:pt x="5358970" y="2148402"/>
                  <a:pt x="5360251" y="2149113"/>
                </a:cubicBezTo>
                <a:cubicBezTo>
                  <a:pt x="5360464" y="2149825"/>
                  <a:pt x="5360891" y="2150821"/>
                  <a:pt x="5361317" y="2151817"/>
                </a:cubicBezTo>
                <a:cubicBezTo>
                  <a:pt x="5361744" y="2152954"/>
                  <a:pt x="5362171" y="2154093"/>
                  <a:pt x="5361958" y="2155516"/>
                </a:cubicBezTo>
                <a:lnTo>
                  <a:pt x="5361317" y="2156084"/>
                </a:lnTo>
                <a:lnTo>
                  <a:pt x="5365372" y="2159641"/>
                </a:lnTo>
                <a:cubicBezTo>
                  <a:pt x="5352994" y="2163910"/>
                  <a:pt x="5348512" y="2180839"/>
                  <a:pt x="5336987" y="2179416"/>
                </a:cubicBezTo>
                <a:cubicBezTo>
                  <a:pt x="5341256" y="2172872"/>
                  <a:pt x="5343817" y="2161206"/>
                  <a:pt x="5348512" y="2155658"/>
                </a:cubicBezTo>
                <a:lnTo>
                  <a:pt x="5350646" y="2154662"/>
                </a:lnTo>
                <a:lnTo>
                  <a:pt x="5351073" y="2152244"/>
                </a:lnTo>
                <a:cubicBezTo>
                  <a:pt x="5352354" y="2150394"/>
                  <a:pt x="5354061" y="2149113"/>
                  <a:pt x="5356196" y="2148687"/>
                </a:cubicBezTo>
                <a:close/>
                <a:moveTo>
                  <a:pt x="4983351" y="2148260"/>
                </a:moveTo>
                <a:cubicBezTo>
                  <a:pt x="4984418" y="2148260"/>
                  <a:pt x="4985699" y="2148829"/>
                  <a:pt x="4985699" y="2149398"/>
                </a:cubicBezTo>
                <a:cubicBezTo>
                  <a:pt x="4984845" y="2150963"/>
                  <a:pt x="4982497" y="2151817"/>
                  <a:pt x="4981644" y="2153381"/>
                </a:cubicBezTo>
                <a:cubicBezTo>
                  <a:pt x="4981430" y="2152244"/>
                  <a:pt x="4980150" y="2151532"/>
                  <a:pt x="4979723" y="2150394"/>
                </a:cubicBezTo>
                <a:cubicBezTo>
                  <a:pt x="4980577" y="2148829"/>
                  <a:pt x="4982071" y="2148260"/>
                  <a:pt x="4983351" y="2148260"/>
                </a:cubicBezTo>
                <a:close/>
                <a:moveTo>
                  <a:pt x="5174575" y="2148118"/>
                </a:moveTo>
                <a:cubicBezTo>
                  <a:pt x="5175429" y="2148829"/>
                  <a:pt x="5176069" y="2149540"/>
                  <a:pt x="5176282" y="2150394"/>
                </a:cubicBezTo>
                <a:cubicBezTo>
                  <a:pt x="5177136" y="2152670"/>
                  <a:pt x="5175002" y="2155231"/>
                  <a:pt x="5172868" y="2157649"/>
                </a:cubicBezTo>
                <a:cubicBezTo>
                  <a:pt x="5170947" y="2156369"/>
                  <a:pt x="5168386" y="2157365"/>
                  <a:pt x="5166892" y="2153524"/>
                </a:cubicBezTo>
                <a:cubicBezTo>
                  <a:pt x="5169453" y="2151390"/>
                  <a:pt x="5171801" y="2150252"/>
                  <a:pt x="5174575" y="2148118"/>
                </a:cubicBezTo>
                <a:close/>
                <a:moveTo>
                  <a:pt x="1026057" y="2147195"/>
                </a:moveTo>
                <a:cubicBezTo>
                  <a:pt x="1029465" y="2148898"/>
                  <a:pt x="1029878" y="2152306"/>
                  <a:pt x="1033698" y="2154630"/>
                </a:cubicBezTo>
                <a:cubicBezTo>
                  <a:pt x="1033079" y="2157573"/>
                  <a:pt x="1037106" y="2160826"/>
                  <a:pt x="1035970" y="2164698"/>
                </a:cubicBezTo>
                <a:cubicBezTo>
                  <a:pt x="1029774" y="2163149"/>
                  <a:pt x="1024612" y="2150293"/>
                  <a:pt x="1026057" y="2147195"/>
                </a:cubicBezTo>
                <a:close/>
                <a:moveTo>
                  <a:pt x="5670136" y="2147122"/>
                </a:moveTo>
                <a:cubicBezTo>
                  <a:pt x="5670562" y="2146980"/>
                  <a:pt x="5670990" y="2146980"/>
                  <a:pt x="5671630" y="2147549"/>
                </a:cubicBezTo>
                <a:cubicBezTo>
                  <a:pt x="5671630" y="2147549"/>
                  <a:pt x="5671630" y="2147690"/>
                  <a:pt x="5671630" y="2148687"/>
                </a:cubicBezTo>
                <a:cubicBezTo>
                  <a:pt x="5671630" y="2148687"/>
                  <a:pt x="5670562" y="2148687"/>
                  <a:pt x="5669496" y="2147549"/>
                </a:cubicBezTo>
                <a:cubicBezTo>
                  <a:pt x="5669496" y="2147549"/>
                  <a:pt x="5669709" y="2147264"/>
                  <a:pt x="5670136" y="2147122"/>
                </a:cubicBezTo>
                <a:close/>
                <a:moveTo>
                  <a:pt x="5803950" y="2146980"/>
                </a:moveTo>
                <a:cubicBezTo>
                  <a:pt x="5806938" y="2147690"/>
                  <a:pt x="5808432" y="2147975"/>
                  <a:pt x="5809499" y="2150109"/>
                </a:cubicBezTo>
                <a:cubicBezTo>
                  <a:pt x="5810993" y="2150394"/>
                  <a:pt x="5812487" y="2150821"/>
                  <a:pt x="5813554" y="2151532"/>
                </a:cubicBezTo>
                <a:cubicBezTo>
                  <a:pt x="5814621" y="2152244"/>
                  <a:pt x="5815048" y="2153381"/>
                  <a:pt x="5814621" y="2154946"/>
                </a:cubicBezTo>
                <a:cubicBezTo>
                  <a:pt x="5810993" y="2155800"/>
                  <a:pt x="5808645" y="2156084"/>
                  <a:pt x="5804590" y="2155943"/>
                </a:cubicBezTo>
                <a:cubicBezTo>
                  <a:pt x="5804590" y="2155943"/>
                  <a:pt x="5798401" y="2154377"/>
                  <a:pt x="5798828" y="2150109"/>
                </a:cubicBezTo>
                <a:cubicBezTo>
                  <a:pt x="5798188" y="2149113"/>
                  <a:pt x="5802243" y="2146552"/>
                  <a:pt x="5803950" y="2146980"/>
                </a:cubicBezTo>
                <a:close/>
                <a:moveTo>
                  <a:pt x="1067876" y="2146885"/>
                </a:moveTo>
                <a:cubicBezTo>
                  <a:pt x="1070561" y="2146420"/>
                  <a:pt x="1073245" y="2146111"/>
                  <a:pt x="1076550" y="2149053"/>
                </a:cubicBezTo>
                <a:cubicBezTo>
                  <a:pt x="1077066" y="2152461"/>
                  <a:pt x="1076033" y="2154785"/>
                  <a:pt x="1072213" y="2157418"/>
                </a:cubicBezTo>
                <a:cubicBezTo>
                  <a:pt x="1069012" y="2156953"/>
                  <a:pt x="1065501" y="2153081"/>
                  <a:pt x="1066018" y="2149828"/>
                </a:cubicBezTo>
                <a:cubicBezTo>
                  <a:pt x="1066121" y="2148743"/>
                  <a:pt x="1066740" y="2147659"/>
                  <a:pt x="1067876" y="2146885"/>
                </a:cubicBezTo>
                <a:close/>
                <a:moveTo>
                  <a:pt x="5046523" y="2144134"/>
                </a:moveTo>
                <a:cubicBezTo>
                  <a:pt x="5050151" y="2146695"/>
                  <a:pt x="5053566" y="2145699"/>
                  <a:pt x="5058261" y="2150536"/>
                </a:cubicBezTo>
                <a:cubicBezTo>
                  <a:pt x="5048871" y="2169031"/>
                  <a:pt x="5045030" y="2189091"/>
                  <a:pt x="5036492" y="2204029"/>
                </a:cubicBezTo>
                <a:lnTo>
                  <a:pt x="5034999" y="2194497"/>
                </a:lnTo>
                <a:lnTo>
                  <a:pt x="5033932" y="2194924"/>
                </a:lnTo>
                <a:cubicBezTo>
                  <a:pt x="5031157" y="2198481"/>
                  <a:pt x="5034572" y="2205025"/>
                  <a:pt x="5027956" y="2205737"/>
                </a:cubicBezTo>
                <a:cubicBezTo>
                  <a:pt x="5024541" y="2204456"/>
                  <a:pt x="5020486" y="2204314"/>
                  <a:pt x="5017285" y="2201753"/>
                </a:cubicBezTo>
                <a:cubicBezTo>
                  <a:pt x="5016218" y="2200900"/>
                  <a:pt x="5015150" y="2199619"/>
                  <a:pt x="5014297" y="2198054"/>
                </a:cubicBezTo>
                <a:cubicBezTo>
                  <a:pt x="5023261" y="2194497"/>
                  <a:pt x="5027529" y="2189233"/>
                  <a:pt x="5034359" y="2184254"/>
                </a:cubicBezTo>
                <a:lnTo>
                  <a:pt x="5034785" y="2184680"/>
                </a:lnTo>
                <a:lnTo>
                  <a:pt x="5036492" y="2174295"/>
                </a:lnTo>
                <a:lnTo>
                  <a:pt x="5040547" y="2161918"/>
                </a:lnTo>
                <a:lnTo>
                  <a:pt x="5038413" y="2161775"/>
                </a:lnTo>
                <a:cubicBezTo>
                  <a:pt x="5037133" y="2161349"/>
                  <a:pt x="5035852" y="2160637"/>
                  <a:pt x="5034359" y="2159357"/>
                </a:cubicBezTo>
                <a:cubicBezTo>
                  <a:pt x="5032651" y="2153666"/>
                  <a:pt x="5037560" y="2150963"/>
                  <a:pt x="5038627" y="2146980"/>
                </a:cubicBezTo>
                <a:cubicBezTo>
                  <a:pt x="5041188" y="2147690"/>
                  <a:pt x="5042895" y="2148829"/>
                  <a:pt x="5044175" y="2150394"/>
                </a:cubicBezTo>
                <a:lnTo>
                  <a:pt x="5044389" y="2150678"/>
                </a:lnTo>
                <a:close/>
                <a:moveTo>
                  <a:pt x="968234" y="2142393"/>
                </a:moveTo>
                <a:cubicBezTo>
                  <a:pt x="969576" y="2142083"/>
                  <a:pt x="971332" y="2142393"/>
                  <a:pt x="973190" y="2143477"/>
                </a:cubicBezTo>
                <a:cubicBezTo>
                  <a:pt x="975256" y="2146420"/>
                  <a:pt x="975462" y="2149828"/>
                  <a:pt x="974016" y="2151842"/>
                </a:cubicBezTo>
                <a:cubicBezTo>
                  <a:pt x="972674" y="2154010"/>
                  <a:pt x="969783" y="2154940"/>
                  <a:pt x="965446" y="2153236"/>
                </a:cubicBezTo>
                <a:cubicBezTo>
                  <a:pt x="964620" y="2151997"/>
                  <a:pt x="964000" y="2150757"/>
                  <a:pt x="963794" y="2149518"/>
                </a:cubicBezTo>
                <a:cubicBezTo>
                  <a:pt x="963071" y="2145955"/>
                  <a:pt x="964930" y="2142703"/>
                  <a:pt x="968234" y="2142393"/>
                </a:cubicBezTo>
                <a:close/>
                <a:moveTo>
                  <a:pt x="5389489" y="2142000"/>
                </a:moveTo>
                <a:cubicBezTo>
                  <a:pt x="5389916" y="2142427"/>
                  <a:pt x="5390769" y="2143280"/>
                  <a:pt x="5392690" y="2144134"/>
                </a:cubicBezTo>
                <a:cubicBezTo>
                  <a:pt x="5394397" y="2145699"/>
                  <a:pt x="5396105" y="2145841"/>
                  <a:pt x="5394397" y="2147549"/>
                </a:cubicBezTo>
                <a:cubicBezTo>
                  <a:pt x="5392690" y="2149113"/>
                  <a:pt x="5392690" y="2149113"/>
                  <a:pt x="5387355" y="2149113"/>
                </a:cubicBezTo>
                <a:cubicBezTo>
                  <a:pt x="5389062" y="2147407"/>
                  <a:pt x="5389062" y="2147407"/>
                  <a:pt x="5387355" y="2145841"/>
                </a:cubicBezTo>
                <a:cubicBezTo>
                  <a:pt x="5387355" y="2145841"/>
                  <a:pt x="5387355" y="2145841"/>
                  <a:pt x="5385434" y="2145841"/>
                </a:cubicBezTo>
                <a:cubicBezTo>
                  <a:pt x="5385434" y="2144134"/>
                  <a:pt x="5387355" y="2144134"/>
                  <a:pt x="5387355" y="2142569"/>
                </a:cubicBezTo>
                <a:cubicBezTo>
                  <a:pt x="5387355" y="2142569"/>
                  <a:pt x="5389062" y="2142569"/>
                  <a:pt x="5389062" y="2142569"/>
                </a:cubicBezTo>
                <a:cubicBezTo>
                  <a:pt x="5389062" y="2141715"/>
                  <a:pt x="5389062" y="2141715"/>
                  <a:pt x="5389489" y="2142000"/>
                </a:cubicBezTo>
                <a:close/>
                <a:moveTo>
                  <a:pt x="5693826" y="2141573"/>
                </a:moveTo>
                <a:cubicBezTo>
                  <a:pt x="5694466" y="2141573"/>
                  <a:pt x="5694892" y="2142000"/>
                  <a:pt x="5695533" y="2142569"/>
                </a:cubicBezTo>
                <a:cubicBezTo>
                  <a:pt x="5694679" y="2146125"/>
                  <a:pt x="5693612" y="2148402"/>
                  <a:pt x="5691478" y="2151817"/>
                </a:cubicBezTo>
                <a:cubicBezTo>
                  <a:pt x="5691478" y="2151817"/>
                  <a:pt x="5686996" y="2156369"/>
                  <a:pt x="5683368" y="2153808"/>
                </a:cubicBezTo>
                <a:cubicBezTo>
                  <a:pt x="5682301" y="2153808"/>
                  <a:pt x="5682088" y="2149113"/>
                  <a:pt x="5683155" y="2147975"/>
                </a:cubicBezTo>
                <a:cubicBezTo>
                  <a:pt x="5685289" y="2145699"/>
                  <a:pt x="5686356" y="2144560"/>
                  <a:pt x="5688704" y="2144703"/>
                </a:cubicBezTo>
                <a:cubicBezTo>
                  <a:pt x="5689771" y="2143565"/>
                  <a:pt x="5691051" y="2142427"/>
                  <a:pt x="5692118" y="2141858"/>
                </a:cubicBezTo>
                <a:cubicBezTo>
                  <a:pt x="5692759" y="2141573"/>
                  <a:pt x="5693185" y="2141431"/>
                  <a:pt x="5693826" y="2141573"/>
                </a:cubicBezTo>
                <a:close/>
                <a:moveTo>
                  <a:pt x="5002559" y="2141146"/>
                </a:moveTo>
                <a:cubicBezTo>
                  <a:pt x="5005760" y="2140435"/>
                  <a:pt x="5009388" y="2142142"/>
                  <a:pt x="5009175" y="2147549"/>
                </a:cubicBezTo>
                <a:cubicBezTo>
                  <a:pt x="5004479" y="2148544"/>
                  <a:pt x="5001278" y="2149255"/>
                  <a:pt x="4998717" y="2148971"/>
                </a:cubicBezTo>
                <a:cubicBezTo>
                  <a:pt x="4996796" y="2144845"/>
                  <a:pt x="4999358" y="2141858"/>
                  <a:pt x="5002559" y="2141146"/>
                </a:cubicBezTo>
                <a:close/>
                <a:moveTo>
                  <a:pt x="4549255" y="2141004"/>
                </a:moveTo>
                <a:cubicBezTo>
                  <a:pt x="4546907" y="2144703"/>
                  <a:pt x="4540292" y="2150678"/>
                  <a:pt x="4538798" y="2150109"/>
                </a:cubicBezTo>
                <a:cubicBezTo>
                  <a:pt x="4540505" y="2147975"/>
                  <a:pt x="4546694" y="2141004"/>
                  <a:pt x="4549255" y="2141004"/>
                </a:cubicBezTo>
                <a:close/>
                <a:moveTo>
                  <a:pt x="766484" y="2140321"/>
                </a:moveTo>
                <a:cubicBezTo>
                  <a:pt x="772563" y="2140805"/>
                  <a:pt x="778036" y="2143322"/>
                  <a:pt x="778346" y="2147969"/>
                </a:cubicBezTo>
                <a:cubicBezTo>
                  <a:pt x="768640" y="2145955"/>
                  <a:pt x="761308" y="2149208"/>
                  <a:pt x="750983" y="2144871"/>
                </a:cubicBezTo>
                <a:cubicBezTo>
                  <a:pt x="753719" y="2141386"/>
                  <a:pt x="760405" y="2139837"/>
                  <a:pt x="766484" y="2140321"/>
                </a:cubicBezTo>
                <a:close/>
                <a:moveTo>
                  <a:pt x="5198905" y="2139866"/>
                </a:moveTo>
                <a:cubicBezTo>
                  <a:pt x="5201252" y="2139866"/>
                  <a:pt x="5203814" y="2140577"/>
                  <a:pt x="5207015" y="2143565"/>
                </a:cubicBezTo>
                <a:cubicBezTo>
                  <a:pt x="5213418" y="2150678"/>
                  <a:pt x="5207228" y="2156938"/>
                  <a:pt x="5208509" y="2157081"/>
                </a:cubicBezTo>
                <a:cubicBezTo>
                  <a:pt x="5209576" y="2158503"/>
                  <a:pt x="5209576" y="2158361"/>
                  <a:pt x="5210643" y="2158646"/>
                </a:cubicBezTo>
                <a:cubicBezTo>
                  <a:pt x="5210643" y="2159784"/>
                  <a:pt x="5211497" y="2162487"/>
                  <a:pt x="5212564" y="2163910"/>
                </a:cubicBezTo>
                <a:cubicBezTo>
                  <a:pt x="5211497" y="2163625"/>
                  <a:pt x="5210430" y="2163483"/>
                  <a:pt x="5210216" y="2164620"/>
                </a:cubicBezTo>
                <a:cubicBezTo>
                  <a:pt x="5208082" y="2161918"/>
                  <a:pt x="5208295" y="2160637"/>
                  <a:pt x="5207228" y="2159357"/>
                </a:cubicBezTo>
                <a:cubicBezTo>
                  <a:pt x="5207015" y="2160495"/>
                  <a:pt x="5205948" y="2159072"/>
                  <a:pt x="5205948" y="2159072"/>
                </a:cubicBezTo>
                <a:cubicBezTo>
                  <a:pt x="5205948" y="2159072"/>
                  <a:pt x="5205948" y="2159072"/>
                  <a:pt x="5203600" y="2161064"/>
                </a:cubicBezTo>
                <a:cubicBezTo>
                  <a:pt x="5203600" y="2161064"/>
                  <a:pt x="5197411" y="2164905"/>
                  <a:pt x="5192076" y="2159214"/>
                </a:cubicBezTo>
                <a:cubicBezTo>
                  <a:pt x="5193356" y="2158218"/>
                  <a:pt x="5186953" y="2149967"/>
                  <a:pt x="5189515" y="2145557"/>
                </a:cubicBezTo>
                <a:cubicBezTo>
                  <a:pt x="5190795" y="2143280"/>
                  <a:pt x="5192076" y="2142285"/>
                  <a:pt x="5193356" y="2140151"/>
                </a:cubicBezTo>
                <a:cubicBezTo>
                  <a:pt x="5195064" y="2140435"/>
                  <a:pt x="5196771" y="2139723"/>
                  <a:pt x="5198905" y="2139866"/>
                </a:cubicBezTo>
                <a:close/>
                <a:moveTo>
                  <a:pt x="1006542" y="2139605"/>
                </a:moveTo>
                <a:cubicBezTo>
                  <a:pt x="1008710" y="2141619"/>
                  <a:pt x="1011395" y="2140999"/>
                  <a:pt x="1014080" y="2144716"/>
                </a:cubicBezTo>
                <a:lnTo>
                  <a:pt x="1012014" y="2147505"/>
                </a:lnTo>
                <a:lnTo>
                  <a:pt x="1012737" y="2147815"/>
                </a:lnTo>
                <a:cubicBezTo>
                  <a:pt x="1014286" y="2149983"/>
                  <a:pt x="1011704" y="2154475"/>
                  <a:pt x="1008814" y="2156179"/>
                </a:cubicBezTo>
                <a:lnTo>
                  <a:pt x="1005716" y="2156024"/>
                </a:lnTo>
                <a:lnTo>
                  <a:pt x="1000243" y="2163459"/>
                </a:lnTo>
                <a:cubicBezTo>
                  <a:pt x="996113" y="2169500"/>
                  <a:pt x="992189" y="2175386"/>
                  <a:pt x="987543" y="2180188"/>
                </a:cubicBezTo>
                <a:cubicBezTo>
                  <a:pt x="987336" y="2178484"/>
                  <a:pt x="987233" y="2176780"/>
                  <a:pt x="987439" y="2175076"/>
                </a:cubicBezTo>
                <a:cubicBezTo>
                  <a:pt x="988575" y="2162994"/>
                  <a:pt x="999314" y="2151222"/>
                  <a:pt x="1006542" y="2139605"/>
                </a:cubicBezTo>
                <a:close/>
                <a:moveTo>
                  <a:pt x="5667362" y="2138586"/>
                </a:moveTo>
                <a:cubicBezTo>
                  <a:pt x="5668642" y="2138443"/>
                  <a:pt x="5669496" y="2138728"/>
                  <a:pt x="5669922" y="2139154"/>
                </a:cubicBezTo>
                <a:cubicBezTo>
                  <a:pt x="5670349" y="2139723"/>
                  <a:pt x="5670562" y="2140720"/>
                  <a:pt x="5670562" y="2142000"/>
                </a:cubicBezTo>
                <a:cubicBezTo>
                  <a:pt x="5668002" y="2147690"/>
                  <a:pt x="5662239" y="2147122"/>
                  <a:pt x="5656477" y="2149398"/>
                </a:cubicBezTo>
                <a:cubicBezTo>
                  <a:pt x="5656050" y="2148402"/>
                  <a:pt x="5654556" y="2147975"/>
                  <a:pt x="5653489" y="2148687"/>
                </a:cubicBezTo>
                <a:cubicBezTo>
                  <a:pt x="5651995" y="2148260"/>
                  <a:pt x="5650288" y="2147833"/>
                  <a:pt x="5650715" y="2148971"/>
                </a:cubicBezTo>
                <a:cubicBezTo>
                  <a:pt x="5646020" y="2147833"/>
                  <a:pt x="5645166" y="2148402"/>
                  <a:pt x="5644525" y="2144703"/>
                </a:cubicBezTo>
                <a:cubicBezTo>
                  <a:pt x="5653276" y="2140577"/>
                  <a:pt x="5664800" y="2138870"/>
                  <a:pt x="5667362" y="2138586"/>
                </a:cubicBezTo>
                <a:close/>
                <a:moveTo>
                  <a:pt x="5740138" y="2137732"/>
                </a:moveTo>
                <a:cubicBezTo>
                  <a:pt x="5742485" y="2138586"/>
                  <a:pt x="5746967" y="2139582"/>
                  <a:pt x="5748461" y="2141431"/>
                </a:cubicBezTo>
                <a:cubicBezTo>
                  <a:pt x="5749101" y="2142000"/>
                  <a:pt x="5749101" y="2142712"/>
                  <a:pt x="5748888" y="2143565"/>
                </a:cubicBezTo>
                <a:cubicBezTo>
                  <a:pt x="5745900" y="2142427"/>
                  <a:pt x="5740778" y="2142569"/>
                  <a:pt x="5740138" y="2137732"/>
                </a:cubicBezTo>
                <a:close/>
                <a:moveTo>
                  <a:pt x="1103500" y="2136817"/>
                </a:moveTo>
                <a:cubicBezTo>
                  <a:pt x="1103500" y="2136817"/>
                  <a:pt x="1103500" y="2136817"/>
                  <a:pt x="1104326" y="2136972"/>
                </a:cubicBezTo>
                <a:cubicBezTo>
                  <a:pt x="1106081" y="2137126"/>
                  <a:pt x="1106907" y="2137126"/>
                  <a:pt x="1107836" y="2137282"/>
                </a:cubicBezTo>
                <a:cubicBezTo>
                  <a:pt x="1108662" y="2138211"/>
                  <a:pt x="1110314" y="2140844"/>
                  <a:pt x="1109385" y="2141619"/>
                </a:cubicBezTo>
                <a:cubicBezTo>
                  <a:pt x="1107630" y="2143167"/>
                  <a:pt x="1105152" y="2143632"/>
                  <a:pt x="1104222" y="2142703"/>
                </a:cubicBezTo>
                <a:cubicBezTo>
                  <a:pt x="1102983" y="2141464"/>
                  <a:pt x="1101744" y="2139915"/>
                  <a:pt x="1102261" y="2138520"/>
                </a:cubicBezTo>
                <a:cubicBezTo>
                  <a:pt x="1102467" y="2137901"/>
                  <a:pt x="1102777" y="2137436"/>
                  <a:pt x="1103500" y="2136817"/>
                </a:cubicBezTo>
                <a:close/>
                <a:moveTo>
                  <a:pt x="6320639" y="2136451"/>
                </a:moveTo>
                <a:cubicBezTo>
                  <a:pt x="6328536" y="2139439"/>
                  <a:pt x="6335792" y="2143138"/>
                  <a:pt x="6347317" y="2143138"/>
                </a:cubicBezTo>
                <a:cubicBezTo>
                  <a:pt x="6347103" y="2146552"/>
                  <a:pt x="6351372" y="2146268"/>
                  <a:pt x="6350305" y="2150394"/>
                </a:cubicBezTo>
                <a:cubicBezTo>
                  <a:pt x="6343262" y="2156084"/>
                  <a:pt x="6320426" y="2149255"/>
                  <a:pt x="6320639" y="2136451"/>
                </a:cubicBezTo>
                <a:close/>
                <a:moveTo>
                  <a:pt x="5374763" y="2135456"/>
                </a:moveTo>
                <a:cubicBezTo>
                  <a:pt x="5377324" y="2136167"/>
                  <a:pt x="5378818" y="2137305"/>
                  <a:pt x="5379885" y="2138728"/>
                </a:cubicBezTo>
                <a:cubicBezTo>
                  <a:pt x="5382873" y="2142996"/>
                  <a:pt x="5380525" y="2149398"/>
                  <a:pt x="5375830" y="2150536"/>
                </a:cubicBezTo>
                <a:cubicBezTo>
                  <a:pt x="5373909" y="2150963"/>
                  <a:pt x="5371348" y="2150536"/>
                  <a:pt x="5368787" y="2148260"/>
                </a:cubicBezTo>
                <a:cubicBezTo>
                  <a:pt x="5367720" y="2142427"/>
                  <a:pt x="5373269" y="2139582"/>
                  <a:pt x="5374763" y="2135456"/>
                </a:cubicBezTo>
                <a:close/>
                <a:moveTo>
                  <a:pt x="5797334" y="2134886"/>
                </a:moveTo>
                <a:cubicBezTo>
                  <a:pt x="5797334" y="2134886"/>
                  <a:pt x="5797761" y="2135029"/>
                  <a:pt x="5798188" y="2135313"/>
                </a:cubicBezTo>
                <a:cubicBezTo>
                  <a:pt x="5798401" y="2135598"/>
                  <a:pt x="5798614" y="2136024"/>
                  <a:pt x="5798401" y="2136878"/>
                </a:cubicBezTo>
                <a:cubicBezTo>
                  <a:pt x="5798401" y="2136878"/>
                  <a:pt x="5798401" y="2136736"/>
                  <a:pt x="5797548" y="2137305"/>
                </a:cubicBezTo>
                <a:cubicBezTo>
                  <a:pt x="5797548" y="2137305"/>
                  <a:pt x="5796907" y="2136451"/>
                  <a:pt x="5797334" y="2134886"/>
                </a:cubicBezTo>
                <a:close/>
                <a:moveTo>
                  <a:pt x="5552328" y="2134886"/>
                </a:moveTo>
                <a:cubicBezTo>
                  <a:pt x="5555743" y="2135456"/>
                  <a:pt x="5560225" y="2136309"/>
                  <a:pt x="5562359" y="2137732"/>
                </a:cubicBezTo>
                <a:cubicBezTo>
                  <a:pt x="5560012" y="2138586"/>
                  <a:pt x="5555529" y="2139013"/>
                  <a:pt x="5553395" y="2136309"/>
                </a:cubicBezTo>
                <a:cubicBezTo>
                  <a:pt x="5553395" y="2136309"/>
                  <a:pt x="5553395" y="2136309"/>
                  <a:pt x="5552328" y="2134886"/>
                </a:cubicBezTo>
                <a:close/>
                <a:moveTo>
                  <a:pt x="4964357" y="2134744"/>
                </a:moveTo>
                <a:cubicBezTo>
                  <a:pt x="4965851" y="2135171"/>
                  <a:pt x="4966278" y="2136309"/>
                  <a:pt x="4966704" y="2137305"/>
                </a:cubicBezTo>
                <a:cubicBezTo>
                  <a:pt x="4966491" y="2140008"/>
                  <a:pt x="4966064" y="2142712"/>
                  <a:pt x="4965851" y="2145415"/>
                </a:cubicBezTo>
                <a:cubicBezTo>
                  <a:pt x="4963930" y="2150109"/>
                  <a:pt x="4962009" y="2155089"/>
                  <a:pt x="4957954" y="2154519"/>
                </a:cubicBezTo>
                <a:cubicBezTo>
                  <a:pt x="4958381" y="2149113"/>
                  <a:pt x="4958167" y="2145415"/>
                  <a:pt x="4958808" y="2140008"/>
                </a:cubicBezTo>
                <a:cubicBezTo>
                  <a:pt x="4959448" y="2138443"/>
                  <a:pt x="4962863" y="2134176"/>
                  <a:pt x="4964357" y="2134744"/>
                </a:cubicBezTo>
                <a:close/>
                <a:moveTo>
                  <a:pt x="798790" y="2134493"/>
                </a:moveTo>
                <a:cubicBezTo>
                  <a:pt x="801578" y="2138211"/>
                  <a:pt x="797551" y="2143632"/>
                  <a:pt x="793215" y="2143012"/>
                </a:cubicBezTo>
                <a:cubicBezTo>
                  <a:pt x="792492" y="2142083"/>
                  <a:pt x="790943" y="2140999"/>
                  <a:pt x="790530" y="2139295"/>
                </a:cubicBezTo>
                <a:cubicBezTo>
                  <a:pt x="792285" y="2135268"/>
                  <a:pt x="795280" y="2134029"/>
                  <a:pt x="798790" y="2134493"/>
                </a:cubicBezTo>
                <a:close/>
                <a:moveTo>
                  <a:pt x="5597360" y="2134033"/>
                </a:moveTo>
                <a:cubicBezTo>
                  <a:pt x="5598427" y="2133606"/>
                  <a:pt x="5601201" y="2134602"/>
                  <a:pt x="5602695" y="2135171"/>
                </a:cubicBezTo>
                <a:cubicBezTo>
                  <a:pt x="5603762" y="2134602"/>
                  <a:pt x="5605256" y="2135171"/>
                  <a:pt x="5605683" y="2136167"/>
                </a:cubicBezTo>
                <a:cubicBezTo>
                  <a:pt x="5605683" y="2136167"/>
                  <a:pt x="5607177" y="2136736"/>
                  <a:pt x="5608244" y="2136167"/>
                </a:cubicBezTo>
                <a:cubicBezTo>
                  <a:pt x="5609738" y="2136736"/>
                  <a:pt x="5610592" y="2137305"/>
                  <a:pt x="5611232" y="2137732"/>
                </a:cubicBezTo>
                <a:lnTo>
                  <a:pt x="5611872" y="2139154"/>
                </a:lnTo>
                <a:lnTo>
                  <a:pt x="5612086" y="2139013"/>
                </a:lnTo>
                <a:cubicBezTo>
                  <a:pt x="5619555" y="2139297"/>
                  <a:pt x="5647727" y="2147975"/>
                  <a:pt x="5635349" y="2159641"/>
                </a:cubicBezTo>
                <a:cubicBezTo>
                  <a:pt x="5625531" y="2153381"/>
                  <a:pt x="5613793" y="2152670"/>
                  <a:pt x="5611232" y="2146837"/>
                </a:cubicBezTo>
                <a:lnTo>
                  <a:pt x="5611872" y="2139297"/>
                </a:lnTo>
                <a:lnTo>
                  <a:pt x="5609524" y="2139297"/>
                </a:lnTo>
                <a:cubicBezTo>
                  <a:pt x="5609524" y="2139297"/>
                  <a:pt x="5608031" y="2138870"/>
                  <a:pt x="5606537" y="2138301"/>
                </a:cubicBezTo>
                <a:cubicBezTo>
                  <a:pt x="5606537" y="2138301"/>
                  <a:pt x="5605470" y="2138728"/>
                  <a:pt x="5604403" y="2139297"/>
                </a:cubicBezTo>
                <a:cubicBezTo>
                  <a:pt x="5600561" y="2138728"/>
                  <a:pt x="5597787" y="2138870"/>
                  <a:pt x="5597360" y="2134033"/>
                </a:cubicBezTo>
                <a:close/>
                <a:moveTo>
                  <a:pt x="4666423" y="2133037"/>
                </a:moveTo>
                <a:cubicBezTo>
                  <a:pt x="4657245" y="2149255"/>
                  <a:pt x="4643160" y="2173015"/>
                  <a:pt x="4626300" y="2188379"/>
                </a:cubicBezTo>
                <a:lnTo>
                  <a:pt x="4623739" y="2190371"/>
                </a:lnTo>
                <a:lnTo>
                  <a:pt x="4625873" y="2190941"/>
                </a:lnTo>
                <a:cubicBezTo>
                  <a:pt x="4625446" y="2193501"/>
                  <a:pt x="4627367" y="2195493"/>
                  <a:pt x="4624806" y="2198623"/>
                </a:cubicBezTo>
                <a:lnTo>
                  <a:pt x="4618830" y="2194355"/>
                </a:lnTo>
                <a:lnTo>
                  <a:pt x="4617763" y="2195351"/>
                </a:lnTo>
                <a:cubicBezTo>
                  <a:pt x="4614775" y="2197343"/>
                  <a:pt x="4611787" y="2199050"/>
                  <a:pt x="4608799" y="2200330"/>
                </a:cubicBezTo>
                <a:cubicBezTo>
                  <a:pt x="4598128" y="2188237"/>
                  <a:pt x="4607305" y="2172872"/>
                  <a:pt x="4621604" y="2159641"/>
                </a:cubicBezTo>
                <a:lnTo>
                  <a:pt x="4634410" y="2150394"/>
                </a:lnTo>
                <a:lnTo>
                  <a:pt x="4633983" y="2150109"/>
                </a:lnTo>
                <a:cubicBezTo>
                  <a:pt x="4636544" y="2148260"/>
                  <a:pt x="4635690" y="2145557"/>
                  <a:pt x="4638251" y="2143707"/>
                </a:cubicBezTo>
                <a:lnTo>
                  <a:pt x="4640386" y="2146125"/>
                </a:lnTo>
                <a:lnTo>
                  <a:pt x="4645508" y="2142427"/>
                </a:lnTo>
                <a:cubicBezTo>
                  <a:pt x="4653404" y="2137732"/>
                  <a:pt x="4661087" y="2134459"/>
                  <a:pt x="4666423" y="2133037"/>
                </a:cubicBezTo>
                <a:close/>
                <a:moveTo>
                  <a:pt x="5838951" y="2131899"/>
                </a:moveTo>
                <a:cubicBezTo>
                  <a:pt x="5838524" y="2133464"/>
                  <a:pt x="5836390" y="2137447"/>
                  <a:pt x="5832335" y="2137305"/>
                </a:cubicBezTo>
                <a:cubicBezTo>
                  <a:pt x="5828280" y="2137021"/>
                  <a:pt x="5825719" y="2139866"/>
                  <a:pt x="5821664" y="2139723"/>
                </a:cubicBezTo>
                <a:cubicBezTo>
                  <a:pt x="5821664" y="2139723"/>
                  <a:pt x="5821877" y="2139723"/>
                  <a:pt x="5822304" y="2138016"/>
                </a:cubicBezTo>
                <a:cubicBezTo>
                  <a:pt x="5828280" y="2137021"/>
                  <a:pt x="5832335" y="2131757"/>
                  <a:pt x="5838951" y="2131899"/>
                </a:cubicBezTo>
                <a:close/>
                <a:moveTo>
                  <a:pt x="4835878" y="2131614"/>
                </a:moveTo>
                <a:cubicBezTo>
                  <a:pt x="4841427" y="2137589"/>
                  <a:pt x="4849110" y="2143138"/>
                  <a:pt x="4852952" y="2150821"/>
                </a:cubicBezTo>
                <a:cubicBezTo>
                  <a:pt x="4844628" y="2150678"/>
                  <a:pt x="4830969" y="2141715"/>
                  <a:pt x="4835878" y="2131614"/>
                </a:cubicBezTo>
                <a:close/>
                <a:moveTo>
                  <a:pt x="4560140" y="2130761"/>
                </a:moveTo>
                <a:cubicBezTo>
                  <a:pt x="4561847" y="2130192"/>
                  <a:pt x="4563981" y="2130334"/>
                  <a:pt x="4566542" y="2131330"/>
                </a:cubicBezTo>
                <a:cubicBezTo>
                  <a:pt x="4568677" y="2135456"/>
                  <a:pt x="4568036" y="2139297"/>
                  <a:pt x="4564408" y="2145130"/>
                </a:cubicBezTo>
                <a:cubicBezTo>
                  <a:pt x="4558859" y="2146837"/>
                  <a:pt x="4550536" y="2140862"/>
                  <a:pt x="4555018" y="2133464"/>
                </a:cubicBezTo>
                <a:cubicBezTo>
                  <a:pt x="4556725" y="2132468"/>
                  <a:pt x="4558219" y="2131330"/>
                  <a:pt x="4560140" y="2130761"/>
                </a:cubicBezTo>
                <a:close/>
                <a:moveTo>
                  <a:pt x="713604" y="2130621"/>
                </a:moveTo>
                <a:cubicBezTo>
                  <a:pt x="715979" y="2129691"/>
                  <a:pt x="721761" y="2130156"/>
                  <a:pt x="724446" y="2133874"/>
                </a:cubicBezTo>
                <a:cubicBezTo>
                  <a:pt x="723310" y="2138986"/>
                  <a:pt x="719799" y="2139295"/>
                  <a:pt x="714740" y="2136662"/>
                </a:cubicBezTo>
                <a:cubicBezTo>
                  <a:pt x="714740" y="2134803"/>
                  <a:pt x="714017" y="2133254"/>
                  <a:pt x="713604" y="2130621"/>
                </a:cubicBezTo>
                <a:close/>
                <a:moveTo>
                  <a:pt x="4715509" y="2130476"/>
                </a:moveTo>
                <a:lnTo>
                  <a:pt x="4718924" y="2132041"/>
                </a:lnTo>
                <a:lnTo>
                  <a:pt x="4719778" y="2131187"/>
                </a:lnTo>
                <a:cubicBezTo>
                  <a:pt x="4721912" y="2132894"/>
                  <a:pt x="4723833" y="2134602"/>
                  <a:pt x="4724686" y="2137163"/>
                </a:cubicBezTo>
                <a:lnTo>
                  <a:pt x="4727888" y="2140577"/>
                </a:lnTo>
                <a:cubicBezTo>
                  <a:pt x="4726180" y="2143565"/>
                  <a:pt x="4727674" y="2145415"/>
                  <a:pt x="4725967" y="2148402"/>
                </a:cubicBezTo>
                <a:cubicBezTo>
                  <a:pt x="4717857" y="2143565"/>
                  <a:pt x="4708467" y="2139013"/>
                  <a:pt x="4710600" y="2131187"/>
                </a:cubicBezTo>
                <a:cubicBezTo>
                  <a:pt x="4712308" y="2130334"/>
                  <a:pt x="4714015" y="2130192"/>
                  <a:pt x="4715509" y="2130476"/>
                </a:cubicBezTo>
                <a:close/>
                <a:moveTo>
                  <a:pt x="6271553" y="2130192"/>
                </a:moveTo>
                <a:cubicBezTo>
                  <a:pt x="6272834" y="2130049"/>
                  <a:pt x="6273047" y="2130476"/>
                  <a:pt x="6273047" y="2131330"/>
                </a:cubicBezTo>
                <a:cubicBezTo>
                  <a:pt x="6272834" y="2132326"/>
                  <a:pt x="6272620" y="2133464"/>
                  <a:pt x="6272620" y="2134886"/>
                </a:cubicBezTo>
                <a:lnTo>
                  <a:pt x="6268138" y="2133606"/>
                </a:lnTo>
                <a:cubicBezTo>
                  <a:pt x="6268565" y="2131899"/>
                  <a:pt x="6269846" y="2129765"/>
                  <a:pt x="6271553" y="2130192"/>
                </a:cubicBezTo>
                <a:close/>
                <a:moveTo>
                  <a:pt x="732706" y="2129846"/>
                </a:moveTo>
                <a:cubicBezTo>
                  <a:pt x="733429" y="2129691"/>
                  <a:pt x="734255" y="2129846"/>
                  <a:pt x="735185" y="2130156"/>
                </a:cubicBezTo>
                <a:cubicBezTo>
                  <a:pt x="734978" y="2135422"/>
                  <a:pt x="737560" y="2140379"/>
                  <a:pt x="735701" y="2142703"/>
                </a:cubicBezTo>
                <a:cubicBezTo>
                  <a:pt x="735081" y="2143477"/>
                  <a:pt x="734049" y="2143942"/>
                  <a:pt x="732190" y="2143942"/>
                </a:cubicBezTo>
                <a:cubicBezTo>
                  <a:pt x="731467" y="2142548"/>
                  <a:pt x="730331" y="2139295"/>
                  <a:pt x="730125" y="2136197"/>
                </a:cubicBezTo>
                <a:cubicBezTo>
                  <a:pt x="729815" y="2133099"/>
                  <a:pt x="730435" y="2130311"/>
                  <a:pt x="732706" y="2129846"/>
                </a:cubicBezTo>
                <a:close/>
                <a:moveTo>
                  <a:pt x="831935" y="2129072"/>
                </a:moveTo>
                <a:cubicBezTo>
                  <a:pt x="835343" y="2128917"/>
                  <a:pt x="838028" y="2132170"/>
                  <a:pt x="835550" y="2135732"/>
                </a:cubicBezTo>
                <a:cubicBezTo>
                  <a:pt x="830696" y="2135268"/>
                  <a:pt x="829044" y="2133409"/>
                  <a:pt x="828528" y="2130311"/>
                </a:cubicBezTo>
                <a:cubicBezTo>
                  <a:pt x="829561" y="2129536"/>
                  <a:pt x="830800" y="2129072"/>
                  <a:pt x="831935" y="2129072"/>
                </a:cubicBezTo>
                <a:close/>
                <a:moveTo>
                  <a:pt x="903286" y="2128297"/>
                </a:moveTo>
                <a:cubicBezTo>
                  <a:pt x="905144" y="2126903"/>
                  <a:pt x="908035" y="2126903"/>
                  <a:pt x="909481" y="2130621"/>
                </a:cubicBezTo>
                <a:cubicBezTo>
                  <a:pt x="906590" y="2132634"/>
                  <a:pt x="904731" y="2134029"/>
                  <a:pt x="902872" y="2134648"/>
                </a:cubicBezTo>
                <a:cubicBezTo>
                  <a:pt x="901633" y="2133564"/>
                  <a:pt x="901324" y="2132325"/>
                  <a:pt x="901427" y="2131086"/>
                </a:cubicBezTo>
                <a:cubicBezTo>
                  <a:pt x="901633" y="2130001"/>
                  <a:pt x="902356" y="2129072"/>
                  <a:pt x="903286" y="2128297"/>
                </a:cubicBezTo>
                <a:close/>
                <a:moveTo>
                  <a:pt x="5406776" y="2127773"/>
                </a:moveTo>
                <a:cubicBezTo>
                  <a:pt x="5409764" y="2126493"/>
                  <a:pt x="5412538" y="2128057"/>
                  <a:pt x="5414459" y="2130903"/>
                </a:cubicBezTo>
                <a:cubicBezTo>
                  <a:pt x="5418514" y="2136309"/>
                  <a:pt x="5419794" y="2146552"/>
                  <a:pt x="5415313" y="2149255"/>
                </a:cubicBezTo>
                <a:cubicBezTo>
                  <a:pt x="5412111" y="2151105"/>
                  <a:pt x="5406563" y="2149540"/>
                  <a:pt x="5397599" y="2141146"/>
                </a:cubicBezTo>
                <a:cubicBezTo>
                  <a:pt x="5400587" y="2132894"/>
                  <a:pt x="5403788" y="2128912"/>
                  <a:pt x="5406776" y="2127773"/>
                </a:cubicBezTo>
                <a:close/>
                <a:moveTo>
                  <a:pt x="868385" y="2127678"/>
                </a:moveTo>
                <a:cubicBezTo>
                  <a:pt x="872309" y="2131705"/>
                  <a:pt x="867972" y="2134338"/>
                  <a:pt x="866733" y="2139605"/>
                </a:cubicBezTo>
                <a:cubicBezTo>
                  <a:pt x="864461" y="2138675"/>
                  <a:pt x="863222" y="2136507"/>
                  <a:pt x="862809" y="2134183"/>
                </a:cubicBezTo>
                <a:cubicBezTo>
                  <a:pt x="862499" y="2131860"/>
                  <a:pt x="863016" y="2129536"/>
                  <a:pt x="864461" y="2128297"/>
                </a:cubicBezTo>
                <a:cubicBezTo>
                  <a:pt x="865391" y="2127523"/>
                  <a:pt x="866733" y="2127213"/>
                  <a:pt x="868385" y="2127678"/>
                </a:cubicBezTo>
                <a:close/>
                <a:moveTo>
                  <a:pt x="1157812" y="2127523"/>
                </a:moveTo>
                <a:cubicBezTo>
                  <a:pt x="1159464" y="2129382"/>
                  <a:pt x="1164008" y="2130001"/>
                  <a:pt x="1162356" y="2134029"/>
                </a:cubicBezTo>
                <a:lnTo>
                  <a:pt x="1158432" y="2135113"/>
                </a:lnTo>
                <a:lnTo>
                  <a:pt x="1159464" y="2139140"/>
                </a:lnTo>
                <a:cubicBezTo>
                  <a:pt x="1159361" y="2145801"/>
                  <a:pt x="1154921" y="2155094"/>
                  <a:pt x="1147900" y="2155094"/>
                </a:cubicBezTo>
                <a:cubicBezTo>
                  <a:pt x="1149035" y="2152151"/>
                  <a:pt x="1150171" y="2149363"/>
                  <a:pt x="1151101" y="2146265"/>
                </a:cubicBezTo>
                <a:lnTo>
                  <a:pt x="1152443" y="2137901"/>
                </a:lnTo>
                <a:lnTo>
                  <a:pt x="1148519" y="2140844"/>
                </a:lnTo>
                <a:cubicBezTo>
                  <a:pt x="1144596" y="2144097"/>
                  <a:pt x="1140981" y="2147195"/>
                  <a:pt x="1136232" y="2145491"/>
                </a:cubicBezTo>
                <a:cubicBezTo>
                  <a:pt x="1141704" y="2138520"/>
                  <a:pt x="1145834" y="2130775"/>
                  <a:pt x="1157812" y="2127523"/>
                </a:cubicBezTo>
                <a:close/>
                <a:moveTo>
                  <a:pt x="6280730" y="2127062"/>
                </a:moveTo>
                <a:cubicBezTo>
                  <a:pt x="6281370" y="2128200"/>
                  <a:pt x="6282224" y="2127488"/>
                  <a:pt x="6282864" y="2128484"/>
                </a:cubicBezTo>
                <a:cubicBezTo>
                  <a:pt x="6282864" y="2128484"/>
                  <a:pt x="6283931" y="2129196"/>
                  <a:pt x="6284785" y="2130618"/>
                </a:cubicBezTo>
                <a:cubicBezTo>
                  <a:pt x="6285212" y="2131330"/>
                  <a:pt x="6285638" y="2132326"/>
                  <a:pt x="6285852" y="2133322"/>
                </a:cubicBezTo>
                <a:cubicBezTo>
                  <a:pt x="6286279" y="2134459"/>
                  <a:pt x="6286279" y="2135740"/>
                  <a:pt x="6285852" y="2137163"/>
                </a:cubicBezTo>
                <a:cubicBezTo>
                  <a:pt x="6285425" y="2138870"/>
                  <a:pt x="6283291" y="2142854"/>
                  <a:pt x="6282864" y="2141858"/>
                </a:cubicBezTo>
                <a:cubicBezTo>
                  <a:pt x="6281370" y="2141431"/>
                  <a:pt x="6281797" y="2142427"/>
                  <a:pt x="6280730" y="2142996"/>
                </a:cubicBezTo>
                <a:cubicBezTo>
                  <a:pt x="6276248" y="2142000"/>
                  <a:pt x="6273474" y="2139582"/>
                  <a:pt x="6274114" y="2135313"/>
                </a:cubicBezTo>
                <a:cubicBezTo>
                  <a:pt x="6274967" y="2132041"/>
                  <a:pt x="6276675" y="2127062"/>
                  <a:pt x="6280730" y="2127062"/>
                </a:cubicBezTo>
                <a:close/>
                <a:moveTo>
                  <a:pt x="5363238" y="2126350"/>
                </a:moveTo>
                <a:cubicBezTo>
                  <a:pt x="5364946" y="2126350"/>
                  <a:pt x="5366439" y="2126635"/>
                  <a:pt x="5367293" y="2128057"/>
                </a:cubicBezTo>
                <a:cubicBezTo>
                  <a:pt x="5367934" y="2128769"/>
                  <a:pt x="5368147" y="2129765"/>
                  <a:pt x="5368147" y="2131187"/>
                </a:cubicBezTo>
                <a:cubicBezTo>
                  <a:pt x="5361104" y="2133749"/>
                  <a:pt x="5355768" y="2139582"/>
                  <a:pt x="5351927" y="2138586"/>
                </a:cubicBezTo>
                <a:cubicBezTo>
                  <a:pt x="5350646" y="2138301"/>
                  <a:pt x="5349366" y="2137163"/>
                  <a:pt x="5348299" y="2134886"/>
                </a:cubicBezTo>
                <a:cubicBezTo>
                  <a:pt x="5350433" y="2132468"/>
                  <a:pt x="5358116" y="2126777"/>
                  <a:pt x="5363238" y="2126350"/>
                </a:cubicBezTo>
                <a:close/>
                <a:moveTo>
                  <a:pt x="4834598" y="2126350"/>
                </a:moveTo>
                <a:cubicBezTo>
                  <a:pt x="4834598" y="2127631"/>
                  <a:pt x="4835878" y="2130192"/>
                  <a:pt x="4834811" y="2131330"/>
                </a:cubicBezTo>
                <a:cubicBezTo>
                  <a:pt x="4833744" y="2132468"/>
                  <a:pt x="4833744" y="2132468"/>
                  <a:pt x="4831396" y="2132326"/>
                </a:cubicBezTo>
                <a:cubicBezTo>
                  <a:pt x="4832463" y="2128769"/>
                  <a:pt x="4832463" y="2128769"/>
                  <a:pt x="4834598" y="2126350"/>
                </a:cubicBezTo>
                <a:close/>
                <a:moveTo>
                  <a:pt x="5526504" y="2125923"/>
                </a:moveTo>
                <a:cubicBezTo>
                  <a:pt x="5532053" y="2128057"/>
                  <a:pt x="5540163" y="2128200"/>
                  <a:pt x="5544645" y="2132326"/>
                </a:cubicBezTo>
                <a:cubicBezTo>
                  <a:pt x="5542298" y="2132041"/>
                  <a:pt x="5529706" y="2128769"/>
                  <a:pt x="5526504" y="2125923"/>
                </a:cubicBezTo>
                <a:close/>
                <a:moveTo>
                  <a:pt x="5169666" y="2124928"/>
                </a:moveTo>
                <a:cubicBezTo>
                  <a:pt x="5172227" y="2125070"/>
                  <a:pt x="5174789" y="2125639"/>
                  <a:pt x="5176709" y="2126635"/>
                </a:cubicBezTo>
                <a:lnTo>
                  <a:pt x="5175215" y="2128342"/>
                </a:lnTo>
                <a:lnTo>
                  <a:pt x="5182045" y="2135740"/>
                </a:lnTo>
                <a:cubicBezTo>
                  <a:pt x="5184606" y="2138728"/>
                  <a:pt x="5186953" y="2142000"/>
                  <a:pt x="5188234" y="2145841"/>
                </a:cubicBezTo>
                <a:cubicBezTo>
                  <a:pt x="5182045" y="2145841"/>
                  <a:pt x="5173508" y="2141146"/>
                  <a:pt x="5172441" y="2134318"/>
                </a:cubicBezTo>
                <a:lnTo>
                  <a:pt x="5173295" y="2130761"/>
                </a:lnTo>
                <a:lnTo>
                  <a:pt x="5171374" y="2133179"/>
                </a:lnTo>
                <a:cubicBezTo>
                  <a:pt x="5164544" y="2138016"/>
                  <a:pt x="5154300" y="2138443"/>
                  <a:pt x="5148325" y="2137021"/>
                </a:cubicBezTo>
                <a:cubicBezTo>
                  <a:pt x="5151953" y="2128769"/>
                  <a:pt x="5161770" y="2124785"/>
                  <a:pt x="5169666" y="2124928"/>
                </a:cubicBezTo>
                <a:close/>
                <a:moveTo>
                  <a:pt x="5523943" y="2124217"/>
                </a:moveTo>
                <a:cubicBezTo>
                  <a:pt x="5525011" y="2125497"/>
                  <a:pt x="5525224" y="2125497"/>
                  <a:pt x="5526504" y="2125639"/>
                </a:cubicBezTo>
                <a:cubicBezTo>
                  <a:pt x="5526504" y="2125639"/>
                  <a:pt x="5525011" y="2126635"/>
                  <a:pt x="5525011" y="2126635"/>
                </a:cubicBezTo>
                <a:cubicBezTo>
                  <a:pt x="5523943" y="2125355"/>
                  <a:pt x="5523730" y="2126493"/>
                  <a:pt x="5523943" y="2124217"/>
                </a:cubicBezTo>
                <a:close/>
                <a:moveTo>
                  <a:pt x="5517968" y="2123363"/>
                </a:moveTo>
                <a:cubicBezTo>
                  <a:pt x="5519248" y="2123505"/>
                  <a:pt x="5520529" y="2123647"/>
                  <a:pt x="5520529" y="2124785"/>
                </a:cubicBezTo>
                <a:cubicBezTo>
                  <a:pt x="5520529" y="2125782"/>
                  <a:pt x="5519248" y="2125639"/>
                  <a:pt x="5517968" y="2124358"/>
                </a:cubicBezTo>
                <a:cubicBezTo>
                  <a:pt x="5517968" y="2124358"/>
                  <a:pt x="5517968" y="2123363"/>
                  <a:pt x="5517968" y="2123363"/>
                </a:cubicBezTo>
                <a:close/>
                <a:moveTo>
                  <a:pt x="822268" y="2123050"/>
                </a:moveTo>
                <a:cubicBezTo>
                  <a:pt x="823753" y="2121947"/>
                  <a:pt x="825792" y="2122489"/>
                  <a:pt x="827702" y="2127213"/>
                </a:cubicBezTo>
                <a:cubicBezTo>
                  <a:pt x="822643" y="2131860"/>
                  <a:pt x="820577" y="2130930"/>
                  <a:pt x="820164" y="2128762"/>
                </a:cubicBezTo>
                <a:cubicBezTo>
                  <a:pt x="819855" y="2126903"/>
                  <a:pt x="820784" y="2124154"/>
                  <a:pt x="822268" y="2123050"/>
                </a:cubicBezTo>
                <a:close/>
                <a:moveTo>
                  <a:pt x="4834598" y="2122936"/>
                </a:moveTo>
                <a:cubicBezTo>
                  <a:pt x="4835664" y="2122936"/>
                  <a:pt x="4835664" y="2124358"/>
                  <a:pt x="4834811" y="2125639"/>
                </a:cubicBezTo>
                <a:cubicBezTo>
                  <a:pt x="4834811" y="2125639"/>
                  <a:pt x="4833744" y="2125497"/>
                  <a:pt x="4833744" y="2125497"/>
                </a:cubicBezTo>
                <a:cubicBezTo>
                  <a:pt x="4833531" y="2124217"/>
                  <a:pt x="4833531" y="2122936"/>
                  <a:pt x="4834598" y="2122936"/>
                </a:cubicBezTo>
                <a:close/>
                <a:moveTo>
                  <a:pt x="1070044" y="2122876"/>
                </a:moveTo>
                <a:cubicBezTo>
                  <a:pt x="1073452" y="2124580"/>
                  <a:pt x="1077375" y="2129536"/>
                  <a:pt x="1075827" y="2132634"/>
                </a:cubicBezTo>
                <a:lnTo>
                  <a:pt x="1075207" y="2134029"/>
                </a:lnTo>
                <a:lnTo>
                  <a:pt x="1077789" y="2136817"/>
                </a:lnTo>
                <a:cubicBezTo>
                  <a:pt x="1078099" y="2137746"/>
                  <a:pt x="1077892" y="2138675"/>
                  <a:pt x="1077375" y="2139605"/>
                </a:cubicBezTo>
                <a:lnTo>
                  <a:pt x="1075827" y="2141154"/>
                </a:lnTo>
                <a:lnTo>
                  <a:pt x="1079028" y="2142858"/>
                </a:lnTo>
                <a:cubicBezTo>
                  <a:pt x="1081609" y="2144407"/>
                  <a:pt x="1083674" y="2145955"/>
                  <a:pt x="1083777" y="2147350"/>
                </a:cubicBezTo>
                <a:cubicBezTo>
                  <a:pt x="1082952" y="2147505"/>
                  <a:pt x="1082125" y="2147815"/>
                  <a:pt x="1080990" y="2147195"/>
                </a:cubicBezTo>
                <a:cubicBezTo>
                  <a:pt x="1079854" y="2146730"/>
                  <a:pt x="1080576" y="2146420"/>
                  <a:pt x="1079854" y="2146730"/>
                </a:cubicBezTo>
                <a:cubicBezTo>
                  <a:pt x="1078615" y="2146111"/>
                  <a:pt x="1078925" y="2146885"/>
                  <a:pt x="1078925" y="2146885"/>
                </a:cubicBezTo>
                <a:cubicBezTo>
                  <a:pt x="1078925" y="2146885"/>
                  <a:pt x="1078615" y="2146111"/>
                  <a:pt x="1078615" y="2146111"/>
                </a:cubicBezTo>
                <a:cubicBezTo>
                  <a:pt x="1078615" y="2146111"/>
                  <a:pt x="1078718" y="2146111"/>
                  <a:pt x="1076343" y="2145026"/>
                </a:cubicBezTo>
                <a:cubicBezTo>
                  <a:pt x="1073245" y="2144252"/>
                  <a:pt x="1072523" y="2144562"/>
                  <a:pt x="1070561" y="2144252"/>
                </a:cubicBezTo>
                <a:lnTo>
                  <a:pt x="1070148" y="2143942"/>
                </a:lnTo>
                <a:lnTo>
                  <a:pt x="1067566" y="2145646"/>
                </a:lnTo>
                <a:cubicBezTo>
                  <a:pt x="1061784" y="2147350"/>
                  <a:pt x="1053936" y="2144716"/>
                  <a:pt x="1052904" y="2137901"/>
                </a:cubicBezTo>
                <a:cubicBezTo>
                  <a:pt x="1053833" y="2136042"/>
                  <a:pt x="1055279" y="2134803"/>
                  <a:pt x="1056931" y="2133874"/>
                </a:cubicBezTo>
                <a:lnTo>
                  <a:pt x="1059822" y="2133099"/>
                </a:lnTo>
                <a:lnTo>
                  <a:pt x="1060545" y="2126594"/>
                </a:lnTo>
                <a:cubicBezTo>
                  <a:pt x="1061681" y="2127213"/>
                  <a:pt x="1062404" y="2124270"/>
                  <a:pt x="1063642" y="2123031"/>
                </a:cubicBezTo>
                <a:cubicBezTo>
                  <a:pt x="1066121" y="2122256"/>
                  <a:pt x="1067670" y="2121792"/>
                  <a:pt x="1070044" y="2122876"/>
                </a:cubicBezTo>
                <a:close/>
                <a:moveTo>
                  <a:pt x="889862" y="2122721"/>
                </a:moveTo>
                <a:cubicBezTo>
                  <a:pt x="892547" y="2122256"/>
                  <a:pt x="896781" y="2124425"/>
                  <a:pt x="897193" y="2125819"/>
                </a:cubicBezTo>
                <a:cubicBezTo>
                  <a:pt x="896470" y="2127523"/>
                  <a:pt x="887178" y="2128142"/>
                  <a:pt x="888004" y="2124115"/>
                </a:cubicBezTo>
                <a:cubicBezTo>
                  <a:pt x="888314" y="2123341"/>
                  <a:pt x="888933" y="2122876"/>
                  <a:pt x="889862" y="2122721"/>
                </a:cubicBezTo>
                <a:close/>
                <a:moveTo>
                  <a:pt x="4912923" y="2122367"/>
                </a:moveTo>
                <a:cubicBezTo>
                  <a:pt x="4914203" y="2124217"/>
                  <a:pt x="4915057" y="2126208"/>
                  <a:pt x="4915697" y="2127915"/>
                </a:cubicBezTo>
                <a:cubicBezTo>
                  <a:pt x="4916337" y="2129623"/>
                  <a:pt x="4916551" y="2131187"/>
                  <a:pt x="4916978" y="2132468"/>
                </a:cubicBezTo>
                <a:cubicBezTo>
                  <a:pt x="4914203" y="2134602"/>
                  <a:pt x="4912709" y="2136878"/>
                  <a:pt x="4909935" y="2139154"/>
                </a:cubicBezTo>
                <a:lnTo>
                  <a:pt x="4909508" y="2139013"/>
                </a:lnTo>
                <a:lnTo>
                  <a:pt x="4909508" y="2139297"/>
                </a:lnTo>
                <a:lnTo>
                  <a:pt x="4908014" y="2141146"/>
                </a:lnTo>
                <a:lnTo>
                  <a:pt x="4910361" y="2142000"/>
                </a:lnTo>
                <a:cubicBezTo>
                  <a:pt x="4914630" y="2146268"/>
                  <a:pt x="4915483" y="2149967"/>
                  <a:pt x="4915270" y="2153666"/>
                </a:cubicBezTo>
                <a:cubicBezTo>
                  <a:pt x="4915270" y="2153666"/>
                  <a:pt x="4915270" y="2153666"/>
                  <a:pt x="4915270" y="2152528"/>
                </a:cubicBezTo>
                <a:cubicBezTo>
                  <a:pt x="4920179" y="2148402"/>
                  <a:pt x="4928716" y="2141431"/>
                  <a:pt x="4932130" y="2143138"/>
                </a:cubicBezTo>
                <a:cubicBezTo>
                  <a:pt x="4932130" y="2144277"/>
                  <a:pt x="4932130" y="2145557"/>
                  <a:pt x="4930850" y="2146552"/>
                </a:cubicBezTo>
                <a:cubicBezTo>
                  <a:pt x="4929569" y="2147549"/>
                  <a:pt x="4929569" y="2146268"/>
                  <a:pt x="4929569" y="2147549"/>
                </a:cubicBezTo>
                <a:cubicBezTo>
                  <a:pt x="4928289" y="2148544"/>
                  <a:pt x="4929569" y="2148687"/>
                  <a:pt x="4929569" y="2148687"/>
                </a:cubicBezTo>
                <a:cubicBezTo>
                  <a:pt x="4929569" y="2148687"/>
                  <a:pt x="4928289" y="2148544"/>
                  <a:pt x="4928289" y="2148544"/>
                </a:cubicBezTo>
                <a:cubicBezTo>
                  <a:pt x="4928289" y="2148544"/>
                  <a:pt x="4928289" y="2148544"/>
                  <a:pt x="4925941" y="2150536"/>
                </a:cubicBezTo>
                <a:cubicBezTo>
                  <a:pt x="4923380" y="2153666"/>
                  <a:pt x="4923380" y="2154946"/>
                  <a:pt x="4922099" y="2157223"/>
                </a:cubicBezTo>
                <a:cubicBezTo>
                  <a:pt x="4919539" y="2159214"/>
                  <a:pt x="4918471" y="2158930"/>
                  <a:pt x="4914843" y="2160779"/>
                </a:cubicBezTo>
                <a:cubicBezTo>
                  <a:pt x="4912496" y="2159214"/>
                  <a:pt x="4912496" y="2159214"/>
                  <a:pt x="4912709" y="2158076"/>
                </a:cubicBezTo>
                <a:cubicBezTo>
                  <a:pt x="4912496" y="2159214"/>
                  <a:pt x="4911428" y="2159072"/>
                  <a:pt x="4910148" y="2160068"/>
                </a:cubicBezTo>
                <a:lnTo>
                  <a:pt x="4907160" y="2162487"/>
                </a:lnTo>
                <a:lnTo>
                  <a:pt x="4907160" y="2165332"/>
                </a:lnTo>
                <a:cubicBezTo>
                  <a:pt x="4906947" y="2166470"/>
                  <a:pt x="4906733" y="2167750"/>
                  <a:pt x="4905240" y="2169315"/>
                </a:cubicBezTo>
                <a:cubicBezTo>
                  <a:pt x="4902465" y="2167750"/>
                  <a:pt x="4900971" y="2165902"/>
                  <a:pt x="4898197" y="2164336"/>
                </a:cubicBezTo>
                <a:lnTo>
                  <a:pt x="4901398" y="2161064"/>
                </a:lnTo>
                <a:lnTo>
                  <a:pt x="4895422" y="2156511"/>
                </a:lnTo>
                <a:cubicBezTo>
                  <a:pt x="4896703" y="2155516"/>
                  <a:pt x="4893288" y="2152528"/>
                  <a:pt x="4892434" y="2149825"/>
                </a:cubicBezTo>
                <a:cubicBezTo>
                  <a:pt x="4892648" y="2146268"/>
                  <a:pt x="4892861" y="2143850"/>
                  <a:pt x="4895209" y="2141858"/>
                </a:cubicBezTo>
                <a:lnTo>
                  <a:pt x="4899264" y="2140435"/>
                </a:lnTo>
                <a:lnTo>
                  <a:pt x="4897770" y="2139154"/>
                </a:lnTo>
                <a:cubicBezTo>
                  <a:pt x="4896916" y="2138016"/>
                  <a:pt x="4896276" y="2136594"/>
                  <a:pt x="4894995" y="2135882"/>
                </a:cubicBezTo>
                <a:cubicBezTo>
                  <a:pt x="4895849" y="2134886"/>
                  <a:pt x="4897129" y="2133606"/>
                  <a:pt x="4898624" y="2132610"/>
                </a:cubicBezTo>
                <a:lnTo>
                  <a:pt x="4901825" y="2132468"/>
                </a:lnTo>
                <a:lnTo>
                  <a:pt x="4901398" y="2130761"/>
                </a:lnTo>
                <a:cubicBezTo>
                  <a:pt x="4902252" y="2126350"/>
                  <a:pt x="4906520" y="2121798"/>
                  <a:pt x="4912923" y="2122367"/>
                </a:cubicBezTo>
                <a:close/>
                <a:moveTo>
                  <a:pt x="5708338" y="2122082"/>
                </a:moveTo>
                <a:cubicBezTo>
                  <a:pt x="5713673" y="2122509"/>
                  <a:pt x="5719222" y="2123932"/>
                  <a:pt x="5725198" y="2127773"/>
                </a:cubicBezTo>
                <a:cubicBezTo>
                  <a:pt x="5716448" y="2138016"/>
                  <a:pt x="5699801" y="2128912"/>
                  <a:pt x="5692545" y="2122651"/>
                </a:cubicBezTo>
                <a:cubicBezTo>
                  <a:pt x="5697667" y="2122367"/>
                  <a:pt x="5703003" y="2121656"/>
                  <a:pt x="5708338" y="2122082"/>
                </a:cubicBezTo>
                <a:close/>
                <a:moveTo>
                  <a:pt x="4548402" y="2121940"/>
                </a:moveTo>
                <a:cubicBezTo>
                  <a:pt x="4549469" y="2121371"/>
                  <a:pt x="4549469" y="2121371"/>
                  <a:pt x="4549895" y="2122509"/>
                </a:cubicBezTo>
                <a:lnTo>
                  <a:pt x="4549895" y="2122082"/>
                </a:lnTo>
                <a:lnTo>
                  <a:pt x="4551816" y="2124217"/>
                </a:lnTo>
                <a:cubicBezTo>
                  <a:pt x="4552243" y="2125355"/>
                  <a:pt x="4552030" y="2126635"/>
                  <a:pt x="4552030" y="2128057"/>
                </a:cubicBezTo>
                <a:cubicBezTo>
                  <a:pt x="4550963" y="2128484"/>
                  <a:pt x="4550963" y="2128484"/>
                  <a:pt x="4549469" y="2127915"/>
                </a:cubicBezTo>
                <a:cubicBezTo>
                  <a:pt x="4548615" y="2128484"/>
                  <a:pt x="4548828" y="2122936"/>
                  <a:pt x="4548402" y="2121940"/>
                </a:cubicBezTo>
                <a:close/>
                <a:moveTo>
                  <a:pt x="4538157" y="2121940"/>
                </a:moveTo>
                <a:cubicBezTo>
                  <a:pt x="4538371" y="2122936"/>
                  <a:pt x="4539011" y="2124074"/>
                  <a:pt x="4539438" y="2125212"/>
                </a:cubicBezTo>
                <a:cubicBezTo>
                  <a:pt x="4538798" y="2126777"/>
                  <a:pt x="4538798" y="2126635"/>
                  <a:pt x="4537517" y="2126065"/>
                </a:cubicBezTo>
                <a:cubicBezTo>
                  <a:pt x="4537090" y="2124928"/>
                  <a:pt x="4536450" y="2123932"/>
                  <a:pt x="4537517" y="2123505"/>
                </a:cubicBezTo>
                <a:cubicBezTo>
                  <a:pt x="4537090" y="2122367"/>
                  <a:pt x="4537090" y="2122367"/>
                  <a:pt x="4538157" y="2121940"/>
                </a:cubicBezTo>
                <a:close/>
                <a:moveTo>
                  <a:pt x="4550322" y="2121228"/>
                </a:moveTo>
                <a:lnTo>
                  <a:pt x="4549895" y="2122082"/>
                </a:lnTo>
                <a:lnTo>
                  <a:pt x="4549469" y="2121371"/>
                </a:lnTo>
                <a:cubicBezTo>
                  <a:pt x="4549895" y="2121228"/>
                  <a:pt x="4550109" y="2121087"/>
                  <a:pt x="4550322" y="2121228"/>
                </a:cubicBezTo>
                <a:close/>
                <a:moveTo>
                  <a:pt x="800856" y="2121172"/>
                </a:moveTo>
                <a:cubicBezTo>
                  <a:pt x="802714" y="2120862"/>
                  <a:pt x="801888" y="2124425"/>
                  <a:pt x="802301" y="2125044"/>
                </a:cubicBezTo>
                <a:cubicBezTo>
                  <a:pt x="801992" y="2126129"/>
                  <a:pt x="801682" y="2127368"/>
                  <a:pt x="800546" y="2127213"/>
                </a:cubicBezTo>
                <a:cubicBezTo>
                  <a:pt x="799307" y="2126903"/>
                  <a:pt x="798584" y="2127523"/>
                  <a:pt x="798481" y="2125664"/>
                </a:cubicBezTo>
                <a:cubicBezTo>
                  <a:pt x="797964" y="2124890"/>
                  <a:pt x="798274" y="2123805"/>
                  <a:pt x="797758" y="2123031"/>
                </a:cubicBezTo>
                <a:cubicBezTo>
                  <a:pt x="797758" y="2123031"/>
                  <a:pt x="798274" y="2122566"/>
                  <a:pt x="798894" y="2122101"/>
                </a:cubicBezTo>
                <a:cubicBezTo>
                  <a:pt x="799513" y="2121482"/>
                  <a:pt x="800236" y="2121017"/>
                  <a:pt x="800856" y="2121172"/>
                </a:cubicBezTo>
                <a:close/>
                <a:moveTo>
                  <a:pt x="4579134" y="2120660"/>
                </a:moveTo>
                <a:cubicBezTo>
                  <a:pt x="4582548" y="2120944"/>
                  <a:pt x="4585750" y="2121798"/>
                  <a:pt x="4587244" y="2122936"/>
                </a:cubicBezTo>
                <a:cubicBezTo>
                  <a:pt x="4588311" y="2126920"/>
                  <a:pt x="4587671" y="2129765"/>
                  <a:pt x="4585963" y="2131472"/>
                </a:cubicBezTo>
                <a:cubicBezTo>
                  <a:pt x="4581055" y="2136736"/>
                  <a:pt x="4568463" y="2132468"/>
                  <a:pt x="4570811" y="2122082"/>
                </a:cubicBezTo>
                <a:cubicBezTo>
                  <a:pt x="4572518" y="2120660"/>
                  <a:pt x="4575933" y="2120375"/>
                  <a:pt x="4579134" y="2120660"/>
                </a:cubicBezTo>
                <a:close/>
                <a:moveTo>
                  <a:pt x="4866611" y="2120233"/>
                </a:moveTo>
                <a:cubicBezTo>
                  <a:pt x="4869812" y="2120517"/>
                  <a:pt x="4872800" y="2122509"/>
                  <a:pt x="4872159" y="2127062"/>
                </a:cubicBezTo>
                <a:cubicBezTo>
                  <a:pt x="4872159" y="2128342"/>
                  <a:pt x="4871306" y="2129053"/>
                  <a:pt x="4870025" y="2129480"/>
                </a:cubicBezTo>
                <a:cubicBezTo>
                  <a:pt x="4866184" y="2130761"/>
                  <a:pt x="4858928" y="2128342"/>
                  <a:pt x="4859141" y="2123220"/>
                </a:cubicBezTo>
                <a:cubicBezTo>
                  <a:pt x="4859781" y="2121228"/>
                  <a:pt x="4863409" y="2119806"/>
                  <a:pt x="4866611" y="2120233"/>
                </a:cubicBezTo>
                <a:close/>
                <a:moveTo>
                  <a:pt x="5511565" y="2119522"/>
                </a:moveTo>
                <a:cubicBezTo>
                  <a:pt x="5514980" y="2121371"/>
                  <a:pt x="5514980" y="2121371"/>
                  <a:pt x="5517114" y="2124074"/>
                </a:cubicBezTo>
                <a:cubicBezTo>
                  <a:pt x="5516047" y="2123932"/>
                  <a:pt x="5513699" y="2124643"/>
                  <a:pt x="5512632" y="2123363"/>
                </a:cubicBezTo>
                <a:cubicBezTo>
                  <a:pt x="5511352" y="2121940"/>
                  <a:pt x="5511352" y="2121940"/>
                  <a:pt x="5511565" y="2119522"/>
                </a:cubicBezTo>
                <a:close/>
                <a:moveTo>
                  <a:pt x="4953686" y="2119522"/>
                </a:moveTo>
                <a:cubicBezTo>
                  <a:pt x="4954539" y="2119379"/>
                  <a:pt x="4955393" y="2119237"/>
                  <a:pt x="4956247" y="2119522"/>
                </a:cubicBezTo>
                <a:cubicBezTo>
                  <a:pt x="4957100" y="2119664"/>
                  <a:pt x="4958167" y="2120233"/>
                  <a:pt x="4959021" y="2120944"/>
                </a:cubicBezTo>
                <a:cubicBezTo>
                  <a:pt x="4961582" y="2128342"/>
                  <a:pt x="4954753" y="2129196"/>
                  <a:pt x="4950271" y="2134886"/>
                </a:cubicBezTo>
                <a:cubicBezTo>
                  <a:pt x="4945576" y="2130192"/>
                  <a:pt x="4948777" y="2121087"/>
                  <a:pt x="4953686" y="2119522"/>
                </a:cubicBezTo>
                <a:close/>
                <a:moveTo>
                  <a:pt x="4827768" y="2119095"/>
                </a:moveTo>
                <a:cubicBezTo>
                  <a:pt x="4828622" y="2119237"/>
                  <a:pt x="4828835" y="2119806"/>
                  <a:pt x="4828835" y="2120517"/>
                </a:cubicBezTo>
                <a:cubicBezTo>
                  <a:pt x="4828835" y="2121087"/>
                  <a:pt x="4828622" y="2122082"/>
                  <a:pt x="4828408" y="2122793"/>
                </a:cubicBezTo>
                <a:cubicBezTo>
                  <a:pt x="4827981" y="2124501"/>
                  <a:pt x="4827341" y="2126208"/>
                  <a:pt x="4826915" y="2127915"/>
                </a:cubicBezTo>
                <a:cubicBezTo>
                  <a:pt x="4826915" y="2127915"/>
                  <a:pt x="4826915" y="2127915"/>
                  <a:pt x="4827768" y="2119095"/>
                </a:cubicBezTo>
                <a:close/>
                <a:moveTo>
                  <a:pt x="5761053" y="2118952"/>
                </a:moveTo>
                <a:cubicBezTo>
                  <a:pt x="5763400" y="2119237"/>
                  <a:pt x="5765321" y="2120375"/>
                  <a:pt x="5766815" y="2122651"/>
                </a:cubicBezTo>
                <a:lnTo>
                  <a:pt x="5769803" y="2132610"/>
                </a:lnTo>
                <a:lnTo>
                  <a:pt x="5774284" y="2129196"/>
                </a:lnTo>
                <a:cubicBezTo>
                  <a:pt x="5778127" y="2130476"/>
                  <a:pt x="5780474" y="2134744"/>
                  <a:pt x="5781541" y="2139582"/>
                </a:cubicBezTo>
                <a:cubicBezTo>
                  <a:pt x="5782822" y="2144418"/>
                  <a:pt x="5782395" y="2149682"/>
                  <a:pt x="5780687" y="2152954"/>
                </a:cubicBezTo>
                <a:cubicBezTo>
                  <a:pt x="5775779" y="2155516"/>
                  <a:pt x="5772151" y="2155658"/>
                  <a:pt x="5769376" y="2154377"/>
                </a:cubicBezTo>
                <a:cubicBezTo>
                  <a:pt x="5763187" y="2151532"/>
                  <a:pt x="5762333" y="2141146"/>
                  <a:pt x="5767242" y="2134459"/>
                </a:cubicBezTo>
                <a:lnTo>
                  <a:pt x="5769163" y="2133037"/>
                </a:lnTo>
                <a:lnTo>
                  <a:pt x="5760199" y="2131187"/>
                </a:lnTo>
                <a:cubicBezTo>
                  <a:pt x="5750382" y="2131045"/>
                  <a:pt x="5740564" y="2134176"/>
                  <a:pt x="5734162" y="2127631"/>
                </a:cubicBezTo>
                <a:cubicBezTo>
                  <a:pt x="5742485" y="2125782"/>
                  <a:pt x="5753370" y="2117956"/>
                  <a:pt x="5761053" y="2118952"/>
                </a:cubicBezTo>
                <a:close/>
                <a:moveTo>
                  <a:pt x="5094116" y="2118810"/>
                </a:moveTo>
                <a:lnTo>
                  <a:pt x="5093262" y="2119522"/>
                </a:lnTo>
                <a:lnTo>
                  <a:pt x="5094329" y="2120802"/>
                </a:lnTo>
                <a:cubicBezTo>
                  <a:pt x="5094329" y="2120802"/>
                  <a:pt x="5094329" y="2120802"/>
                  <a:pt x="5093689" y="2119806"/>
                </a:cubicBezTo>
                <a:close/>
                <a:moveTo>
                  <a:pt x="5842152" y="2118526"/>
                </a:moveTo>
                <a:lnTo>
                  <a:pt x="5841725" y="2119948"/>
                </a:lnTo>
                <a:lnTo>
                  <a:pt x="5842152" y="2119522"/>
                </a:lnTo>
                <a:close/>
                <a:moveTo>
                  <a:pt x="6265151" y="2117956"/>
                </a:moveTo>
                <a:cubicBezTo>
                  <a:pt x="6266644" y="2118383"/>
                  <a:pt x="6267071" y="2119379"/>
                  <a:pt x="6267071" y="2119379"/>
                </a:cubicBezTo>
                <a:cubicBezTo>
                  <a:pt x="6266644" y="2123647"/>
                  <a:pt x="6264723" y="2127631"/>
                  <a:pt x="6260028" y="2126350"/>
                </a:cubicBezTo>
                <a:cubicBezTo>
                  <a:pt x="6258534" y="2126065"/>
                  <a:pt x="6257040" y="2125782"/>
                  <a:pt x="6258108" y="2125070"/>
                </a:cubicBezTo>
                <a:cubicBezTo>
                  <a:pt x="6257467" y="2124074"/>
                  <a:pt x="6258534" y="2123505"/>
                  <a:pt x="6258961" y="2121798"/>
                </a:cubicBezTo>
                <a:cubicBezTo>
                  <a:pt x="6260455" y="2119522"/>
                  <a:pt x="6263443" y="2117529"/>
                  <a:pt x="6265151" y="2117956"/>
                </a:cubicBezTo>
                <a:close/>
                <a:moveTo>
                  <a:pt x="835859" y="2117764"/>
                </a:moveTo>
                <a:cubicBezTo>
                  <a:pt x="844430" y="2117610"/>
                  <a:pt x="845978" y="2123031"/>
                  <a:pt x="848353" y="2127987"/>
                </a:cubicBezTo>
                <a:cubicBezTo>
                  <a:pt x="844636" y="2128762"/>
                  <a:pt x="835653" y="2124735"/>
                  <a:pt x="835859" y="2117764"/>
                </a:cubicBezTo>
                <a:close/>
                <a:moveTo>
                  <a:pt x="5326957" y="2116961"/>
                </a:moveTo>
                <a:cubicBezTo>
                  <a:pt x="5327811" y="2116961"/>
                  <a:pt x="5328664" y="2117246"/>
                  <a:pt x="5329518" y="2117672"/>
                </a:cubicBezTo>
                <a:cubicBezTo>
                  <a:pt x="5331225" y="2118668"/>
                  <a:pt x="5332719" y="2120375"/>
                  <a:pt x="5333573" y="2121940"/>
                </a:cubicBezTo>
                <a:cubicBezTo>
                  <a:pt x="5334000" y="2123078"/>
                  <a:pt x="5334213" y="2123932"/>
                  <a:pt x="5334213" y="2124643"/>
                </a:cubicBezTo>
                <a:cubicBezTo>
                  <a:pt x="5332079" y="2126493"/>
                  <a:pt x="5320554" y="2122509"/>
                  <a:pt x="5324396" y="2117814"/>
                </a:cubicBezTo>
                <a:cubicBezTo>
                  <a:pt x="5325250" y="2117103"/>
                  <a:pt x="5326103" y="2116961"/>
                  <a:pt x="5326957" y="2116961"/>
                </a:cubicBezTo>
                <a:close/>
                <a:moveTo>
                  <a:pt x="4896916" y="2116534"/>
                </a:moveTo>
                <a:cubicBezTo>
                  <a:pt x="4897343" y="2117529"/>
                  <a:pt x="4898410" y="2119664"/>
                  <a:pt x="4897983" y="2121371"/>
                </a:cubicBezTo>
                <a:cubicBezTo>
                  <a:pt x="4898410" y="2122367"/>
                  <a:pt x="4894782" y="2123363"/>
                  <a:pt x="4894782" y="2123363"/>
                </a:cubicBezTo>
                <a:cubicBezTo>
                  <a:pt x="4893288" y="2122936"/>
                  <a:pt x="4893715" y="2118526"/>
                  <a:pt x="4893288" y="2117387"/>
                </a:cubicBezTo>
                <a:cubicBezTo>
                  <a:pt x="4894142" y="2116818"/>
                  <a:pt x="4895849" y="2117246"/>
                  <a:pt x="4896916" y="2116534"/>
                </a:cubicBezTo>
                <a:close/>
                <a:moveTo>
                  <a:pt x="4881336" y="2116534"/>
                </a:moveTo>
                <a:cubicBezTo>
                  <a:pt x="4888806" y="2116818"/>
                  <a:pt x="4887739" y="2119095"/>
                  <a:pt x="4886458" y="2124785"/>
                </a:cubicBezTo>
                <a:cubicBezTo>
                  <a:pt x="4881550" y="2124074"/>
                  <a:pt x="4880910" y="2121513"/>
                  <a:pt x="4881336" y="2116534"/>
                </a:cubicBezTo>
                <a:close/>
                <a:moveTo>
                  <a:pt x="5789864" y="2115965"/>
                </a:moveTo>
                <a:cubicBezTo>
                  <a:pt x="5791785" y="2117529"/>
                  <a:pt x="5789224" y="2130334"/>
                  <a:pt x="5784315" y="2127631"/>
                </a:cubicBezTo>
                <a:cubicBezTo>
                  <a:pt x="5780474" y="2124358"/>
                  <a:pt x="5787303" y="2115965"/>
                  <a:pt x="5789864" y="2115965"/>
                </a:cubicBezTo>
                <a:close/>
                <a:moveTo>
                  <a:pt x="4588638" y="2115391"/>
                </a:moveTo>
                <a:lnTo>
                  <a:pt x="4587671" y="2118099"/>
                </a:lnTo>
                <a:cubicBezTo>
                  <a:pt x="4587244" y="2119095"/>
                  <a:pt x="4586604" y="2120091"/>
                  <a:pt x="4585323" y="2119948"/>
                </a:cubicBezTo>
                <a:close/>
                <a:moveTo>
                  <a:pt x="4588738" y="2115254"/>
                </a:moveTo>
                <a:lnTo>
                  <a:pt x="4588638" y="2115391"/>
                </a:lnTo>
                <a:lnTo>
                  <a:pt x="4588671" y="2115298"/>
                </a:lnTo>
                <a:close/>
                <a:moveTo>
                  <a:pt x="5107988" y="2114827"/>
                </a:moveTo>
                <a:cubicBezTo>
                  <a:pt x="5110336" y="2115681"/>
                  <a:pt x="5111830" y="2116961"/>
                  <a:pt x="5112684" y="2118383"/>
                </a:cubicBezTo>
                <a:cubicBezTo>
                  <a:pt x="5113751" y="2119948"/>
                  <a:pt x="5113964" y="2121798"/>
                  <a:pt x="5113324" y="2123790"/>
                </a:cubicBezTo>
                <a:lnTo>
                  <a:pt x="5111616" y="2126635"/>
                </a:lnTo>
                <a:lnTo>
                  <a:pt x="5112684" y="2126493"/>
                </a:lnTo>
                <a:lnTo>
                  <a:pt x="5114177" y="2126635"/>
                </a:lnTo>
                <a:lnTo>
                  <a:pt x="5114604" y="2124501"/>
                </a:lnTo>
                <a:lnTo>
                  <a:pt x="5118872" y="2126635"/>
                </a:lnTo>
                <a:lnTo>
                  <a:pt x="5118446" y="2127062"/>
                </a:lnTo>
                <a:lnTo>
                  <a:pt x="5121860" y="2127488"/>
                </a:lnTo>
                <a:cubicBezTo>
                  <a:pt x="5125062" y="2128342"/>
                  <a:pt x="5128690" y="2129623"/>
                  <a:pt x="5132318" y="2131899"/>
                </a:cubicBezTo>
                <a:cubicBezTo>
                  <a:pt x="5132318" y="2133749"/>
                  <a:pt x="5133172" y="2135882"/>
                  <a:pt x="5133598" y="2138016"/>
                </a:cubicBezTo>
                <a:lnTo>
                  <a:pt x="5133598" y="2140577"/>
                </a:lnTo>
                <a:lnTo>
                  <a:pt x="5134239" y="2141715"/>
                </a:lnTo>
                <a:cubicBezTo>
                  <a:pt x="5134452" y="2143138"/>
                  <a:pt x="5134239" y="2144560"/>
                  <a:pt x="5132745" y="2146268"/>
                </a:cubicBezTo>
                <a:cubicBezTo>
                  <a:pt x="5132105" y="2145983"/>
                  <a:pt x="5131678" y="2145130"/>
                  <a:pt x="5131038" y="2143992"/>
                </a:cubicBezTo>
                <a:lnTo>
                  <a:pt x="5130611" y="2142854"/>
                </a:lnTo>
                <a:lnTo>
                  <a:pt x="5126983" y="2139866"/>
                </a:lnTo>
                <a:lnTo>
                  <a:pt x="5125915" y="2139439"/>
                </a:lnTo>
                <a:lnTo>
                  <a:pt x="5125702" y="2140008"/>
                </a:lnTo>
                <a:cubicBezTo>
                  <a:pt x="5123781" y="2142000"/>
                  <a:pt x="5120580" y="2143423"/>
                  <a:pt x="5119086" y="2142712"/>
                </a:cubicBezTo>
                <a:cubicBezTo>
                  <a:pt x="5117806" y="2142000"/>
                  <a:pt x="5117379" y="2140862"/>
                  <a:pt x="5117379" y="2140862"/>
                </a:cubicBezTo>
                <a:lnTo>
                  <a:pt x="5119299" y="2137447"/>
                </a:lnTo>
                <a:lnTo>
                  <a:pt x="5118232" y="2137163"/>
                </a:lnTo>
                <a:cubicBezTo>
                  <a:pt x="5109482" y="2136024"/>
                  <a:pt x="5100305" y="2137732"/>
                  <a:pt x="5095823" y="2129053"/>
                </a:cubicBezTo>
                <a:lnTo>
                  <a:pt x="5103080" y="2128057"/>
                </a:lnTo>
                <a:lnTo>
                  <a:pt x="5102013" y="2126493"/>
                </a:lnTo>
                <a:cubicBezTo>
                  <a:pt x="5101372" y="2124928"/>
                  <a:pt x="5101159" y="2122651"/>
                  <a:pt x="5102013" y="2119806"/>
                </a:cubicBezTo>
                <a:cubicBezTo>
                  <a:pt x="5102866" y="2118241"/>
                  <a:pt x="5105427" y="2114684"/>
                  <a:pt x="5105854" y="2115822"/>
                </a:cubicBezTo>
                <a:cubicBezTo>
                  <a:pt x="5107348" y="2116391"/>
                  <a:pt x="5106921" y="2115254"/>
                  <a:pt x="5107988" y="2114827"/>
                </a:cubicBezTo>
                <a:close/>
                <a:moveTo>
                  <a:pt x="5152166" y="2114399"/>
                </a:moveTo>
                <a:cubicBezTo>
                  <a:pt x="5156008" y="2127773"/>
                  <a:pt x="5147897" y="2134602"/>
                  <a:pt x="5140001" y="2141573"/>
                </a:cubicBezTo>
                <a:cubicBezTo>
                  <a:pt x="5132958" y="2131472"/>
                  <a:pt x="5143629" y="2119664"/>
                  <a:pt x="5152166" y="2114399"/>
                </a:cubicBezTo>
                <a:close/>
                <a:moveTo>
                  <a:pt x="4668984" y="2113262"/>
                </a:moveTo>
                <a:cubicBezTo>
                  <a:pt x="4670051" y="2114684"/>
                  <a:pt x="4671118" y="2116107"/>
                  <a:pt x="4672185" y="2117529"/>
                </a:cubicBezTo>
                <a:cubicBezTo>
                  <a:pt x="4666850" y="2122367"/>
                  <a:pt x="4665996" y="2128200"/>
                  <a:pt x="4661941" y="2132041"/>
                </a:cubicBezTo>
                <a:cubicBezTo>
                  <a:pt x="4660447" y="2125639"/>
                  <a:pt x="4658313" y="2114399"/>
                  <a:pt x="4668984" y="2113262"/>
                </a:cubicBezTo>
                <a:close/>
                <a:moveTo>
                  <a:pt x="1027710" y="2113118"/>
                </a:moveTo>
                <a:cubicBezTo>
                  <a:pt x="1029465" y="2111878"/>
                  <a:pt x="1032150" y="2111723"/>
                  <a:pt x="1032769" y="2114357"/>
                </a:cubicBezTo>
                <a:cubicBezTo>
                  <a:pt x="1031736" y="2115751"/>
                  <a:pt x="1029878" y="2117145"/>
                  <a:pt x="1028019" y="2118539"/>
                </a:cubicBezTo>
                <a:cubicBezTo>
                  <a:pt x="1026574" y="2117610"/>
                  <a:pt x="1026057" y="2116680"/>
                  <a:pt x="1026161" y="2115596"/>
                </a:cubicBezTo>
                <a:cubicBezTo>
                  <a:pt x="1026161" y="2114666"/>
                  <a:pt x="1026883" y="2113737"/>
                  <a:pt x="1027710" y="2113118"/>
                </a:cubicBezTo>
                <a:close/>
                <a:moveTo>
                  <a:pt x="5177350" y="2112977"/>
                </a:moveTo>
                <a:cubicBezTo>
                  <a:pt x="5179057" y="2118952"/>
                  <a:pt x="5171587" y="2125782"/>
                  <a:pt x="5166252" y="2125212"/>
                </a:cubicBezTo>
                <a:cubicBezTo>
                  <a:pt x="5164544" y="2125070"/>
                  <a:pt x="5163051" y="2124074"/>
                  <a:pt x="5162197" y="2121940"/>
                </a:cubicBezTo>
                <a:cubicBezTo>
                  <a:pt x="5162624" y="2119948"/>
                  <a:pt x="5163477" y="2118668"/>
                  <a:pt x="5164331" y="2117814"/>
                </a:cubicBezTo>
                <a:lnTo>
                  <a:pt x="5167106" y="2116249"/>
                </a:lnTo>
                <a:lnTo>
                  <a:pt x="5167746" y="2115822"/>
                </a:lnTo>
                <a:cubicBezTo>
                  <a:pt x="5170520" y="2114969"/>
                  <a:pt x="5173935" y="2114684"/>
                  <a:pt x="5177350" y="2112977"/>
                </a:cubicBezTo>
                <a:close/>
                <a:moveTo>
                  <a:pt x="5843860" y="2112408"/>
                </a:moveTo>
                <a:cubicBezTo>
                  <a:pt x="5845140" y="2112266"/>
                  <a:pt x="5845780" y="2112835"/>
                  <a:pt x="5845994" y="2114115"/>
                </a:cubicBezTo>
                <a:lnTo>
                  <a:pt x="5845994" y="2115965"/>
                </a:lnTo>
                <a:lnTo>
                  <a:pt x="5850049" y="2113689"/>
                </a:lnTo>
                <a:cubicBezTo>
                  <a:pt x="5852823" y="2115538"/>
                  <a:pt x="5857732" y="2114115"/>
                  <a:pt x="5860720" y="2121940"/>
                </a:cubicBezTo>
                <a:cubicBezTo>
                  <a:pt x="5862854" y="2130761"/>
                  <a:pt x="5854104" y="2134033"/>
                  <a:pt x="5855171" y="2134744"/>
                </a:cubicBezTo>
                <a:lnTo>
                  <a:pt x="5855384" y="2135740"/>
                </a:lnTo>
                <a:lnTo>
                  <a:pt x="5856451" y="2134744"/>
                </a:lnTo>
                <a:cubicBezTo>
                  <a:pt x="5857305" y="2134176"/>
                  <a:pt x="5857519" y="2133749"/>
                  <a:pt x="5857519" y="2133749"/>
                </a:cubicBezTo>
                <a:cubicBezTo>
                  <a:pt x="5860079" y="2133464"/>
                  <a:pt x="5860720" y="2134602"/>
                  <a:pt x="5860079" y="2133464"/>
                </a:cubicBezTo>
                <a:cubicBezTo>
                  <a:pt x="5863281" y="2134318"/>
                  <a:pt x="5867336" y="2134459"/>
                  <a:pt x="5867336" y="2137021"/>
                </a:cubicBezTo>
                <a:cubicBezTo>
                  <a:pt x="5865842" y="2143992"/>
                  <a:pt x="5856878" y="2145130"/>
                  <a:pt x="5850903" y="2145557"/>
                </a:cubicBezTo>
                <a:lnTo>
                  <a:pt x="5847061" y="2145983"/>
                </a:lnTo>
                <a:lnTo>
                  <a:pt x="5845567" y="2149540"/>
                </a:lnTo>
                <a:cubicBezTo>
                  <a:pt x="5843646" y="2150678"/>
                  <a:pt x="5840872" y="2149113"/>
                  <a:pt x="5840232" y="2146837"/>
                </a:cubicBezTo>
                <a:lnTo>
                  <a:pt x="5841085" y="2143850"/>
                </a:lnTo>
                <a:lnTo>
                  <a:pt x="5838737" y="2144134"/>
                </a:lnTo>
                <a:cubicBezTo>
                  <a:pt x="5839378" y="2142427"/>
                  <a:pt x="5840658" y="2137447"/>
                  <a:pt x="5840658" y="2137447"/>
                </a:cubicBezTo>
                <a:cubicBezTo>
                  <a:pt x="5840232" y="2136451"/>
                  <a:pt x="5840232" y="2136451"/>
                  <a:pt x="5840658" y="2134886"/>
                </a:cubicBezTo>
                <a:cubicBezTo>
                  <a:pt x="5842365" y="2135313"/>
                  <a:pt x="5842365" y="2135171"/>
                  <a:pt x="5842793" y="2136167"/>
                </a:cubicBezTo>
                <a:cubicBezTo>
                  <a:pt x="5842365" y="2137874"/>
                  <a:pt x="5841298" y="2138443"/>
                  <a:pt x="5840658" y="2140151"/>
                </a:cubicBezTo>
                <a:cubicBezTo>
                  <a:pt x="5843860" y="2140862"/>
                  <a:pt x="5843219" y="2139866"/>
                  <a:pt x="5842793" y="2141573"/>
                </a:cubicBezTo>
                <a:cubicBezTo>
                  <a:pt x="5842793" y="2141573"/>
                  <a:pt x="5842793" y="2141573"/>
                  <a:pt x="5842365" y="2143280"/>
                </a:cubicBezTo>
                <a:lnTo>
                  <a:pt x="5842152" y="2143565"/>
                </a:lnTo>
                <a:lnTo>
                  <a:pt x="5842365" y="2143707"/>
                </a:lnTo>
                <a:lnTo>
                  <a:pt x="5842365" y="2143280"/>
                </a:lnTo>
                <a:lnTo>
                  <a:pt x="5852823" y="2137589"/>
                </a:lnTo>
                <a:lnTo>
                  <a:pt x="5852823" y="2136167"/>
                </a:lnTo>
                <a:cubicBezTo>
                  <a:pt x="5852183" y="2137305"/>
                  <a:pt x="5851969" y="2135598"/>
                  <a:pt x="5851969" y="2135598"/>
                </a:cubicBezTo>
                <a:cubicBezTo>
                  <a:pt x="5851969" y="2135598"/>
                  <a:pt x="5851969" y="2135598"/>
                  <a:pt x="5848768" y="2136451"/>
                </a:cubicBezTo>
                <a:cubicBezTo>
                  <a:pt x="5848768" y="2136451"/>
                  <a:pt x="5841298" y="2137732"/>
                  <a:pt x="5839378" y="2130476"/>
                </a:cubicBezTo>
                <a:cubicBezTo>
                  <a:pt x="5840018" y="2130334"/>
                  <a:pt x="5840018" y="2128769"/>
                  <a:pt x="5840232" y="2126920"/>
                </a:cubicBezTo>
                <a:lnTo>
                  <a:pt x="5840872" y="2123363"/>
                </a:lnTo>
                <a:lnTo>
                  <a:pt x="5840445" y="2124928"/>
                </a:lnTo>
                <a:cubicBezTo>
                  <a:pt x="5839165" y="2126350"/>
                  <a:pt x="5837457" y="2127062"/>
                  <a:pt x="5835323" y="2127062"/>
                </a:cubicBezTo>
                <a:cubicBezTo>
                  <a:pt x="5831908" y="2122793"/>
                  <a:pt x="5833402" y="2118810"/>
                  <a:pt x="5837457" y="2117956"/>
                </a:cubicBezTo>
                <a:lnTo>
                  <a:pt x="5842152" y="2118241"/>
                </a:lnTo>
                <a:lnTo>
                  <a:pt x="5842365" y="2118099"/>
                </a:lnTo>
                <a:cubicBezTo>
                  <a:pt x="5842579" y="2115965"/>
                  <a:pt x="5842793" y="2114115"/>
                  <a:pt x="5842793" y="2112977"/>
                </a:cubicBezTo>
                <a:cubicBezTo>
                  <a:pt x="5843860" y="2112408"/>
                  <a:pt x="5843860" y="2112408"/>
                  <a:pt x="5843860" y="2112408"/>
                </a:cubicBezTo>
                <a:close/>
                <a:moveTo>
                  <a:pt x="5573030" y="2112408"/>
                </a:moveTo>
                <a:cubicBezTo>
                  <a:pt x="5574311" y="2112124"/>
                  <a:pt x="5575378" y="2112124"/>
                  <a:pt x="5576231" y="2112551"/>
                </a:cubicBezTo>
                <a:cubicBezTo>
                  <a:pt x="5581567" y="2122509"/>
                  <a:pt x="5573030" y="2127062"/>
                  <a:pt x="5567268" y="2123932"/>
                </a:cubicBezTo>
                <a:cubicBezTo>
                  <a:pt x="5565347" y="2122936"/>
                  <a:pt x="5563640" y="2121087"/>
                  <a:pt x="5562999" y="2118241"/>
                </a:cubicBezTo>
                <a:cubicBezTo>
                  <a:pt x="5564280" y="2115822"/>
                  <a:pt x="5569402" y="2112977"/>
                  <a:pt x="5573030" y="2112408"/>
                </a:cubicBezTo>
                <a:close/>
                <a:moveTo>
                  <a:pt x="5434307" y="2111697"/>
                </a:moveTo>
                <a:cubicBezTo>
                  <a:pt x="5434948" y="2111839"/>
                  <a:pt x="5435374" y="2112124"/>
                  <a:pt x="5435801" y="2112977"/>
                </a:cubicBezTo>
                <a:cubicBezTo>
                  <a:pt x="5435801" y="2112977"/>
                  <a:pt x="5435161" y="2113973"/>
                  <a:pt x="5432173" y="2114827"/>
                </a:cubicBezTo>
                <a:cubicBezTo>
                  <a:pt x="5432600" y="2113831"/>
                  <a:pt x="5431533" y="2113262"/>
                  <a:pt x="5431533" y="2113262"/>
                </a:cubicBezTo>
                <a:cubicBezTo>
                  <a:pt x="5431533" y="2113262"/>
                  <a:pt x="5431533" y="2113262"/>
                  <a:pt x="5431106" y="2114257"/>
                </a:cubicBezTo>
                <a:cubicBezTo>
                  <a:pt x="5430892" y="2113404"/>
                  <a:pt x="5431106" y="2112977"/>
                  <a:pt x="5431319" y="2112692"/>
                </a:cubicBezTo>
                <a:cubicBezTo>
                  <a:pt x="5431746" y="2112266"/>
                  <a:pt x="5432173" y="2112266"/>
                  <a:pt x="5432173" y="2112266"/>
                </a:cubicBezTo>
                <a:cubicBezTo>
                  <a:pt x="5432813" y="2111981"/>
                  <a:pt x="5433667" y="2111697"/>
                  <a:pt x="5434307" y="2111697"/>
                </a:cubicBezTo>
                <a:close/>
                <a:moveTo>
                  <a:pt x="849179" y="2111259"/>
                </a:moveTo>
                <a:cubicBezTo>
                  <a:pt x="849902" y="2110794"/>
                  <a:pt x="852380" y="2112963"/>
                  <a:pt x="852071" y="2114047"/>
                </a:cubicBezTo>
                <a:cubicBezTo>
                  <a:pt x="851967" y="2117145"/>
                  <a:pt x="848869" y="2117300"/>
                  <a:pt x="845462" y="2118539"/>
                </a:cubicBezTo>
                <a:cubicBezTo>
                  <a:pt x="845772" y="2117300"/>
                  <a:pt x="844636" y="2117145"/>
                  <a:pt x="843397" y="2116990"/>
                </a:cubicBezTo>
                <a:cubicBezTo>
                  <a:pt x="843810" y="2115286"/>
                  <a:pt x="844120" y="2112498"/>
                  <a:pt x="846288" y="2111414"/>
                </a:cubicBezTo>
                <a:cubicBezTo>
                  <a:pt x="847011" y="2111104"/>
                  <a:pt x="847940" y="2111104"/>
                  <a:pt x="849179" y="2111259"/>
                </a:cubicBezTo>
                <a:close/>
                <a:moveTo>
                  <a:pt x="981244" y="2110949"/>
                </a:moveTo>
                <a:cubicBezTo>
                  <a:pt x="984961" y="2110330"/>
                  <a:pt x="986097" y="2114511"/>
                  <a:pt x="984342" y="2116061"/>
                </a:cubicBezTo>
                <a:cubicBezTo>
                  <a:pt x="983722" y="2116525"/>
                  <a:pt x="982793" y="2116525"/>
                  <a:pt x="981657" y="2116216"/>
                </a:cubicBezTo>
                <a:cubicBezTo>
                  <a:pt x="981347" y="2115286"/>
                  <a:pt x="981244" y="2114511"/>
                  <a:pt x="981244" y="2113737"/>
                </a:cubicBezTo>
                <a:cubicBezTo>
                  <a:pt x="981141" y="2112963"/>
                  <a:pt x="981244" y="2112033"/>
                  <a:pt x="981244" y="2110949"/>
                </a:cubicBezTo>
                <a:close/>
                <a:moveTo>
                  <a:pt x="5300066" y="2110559"/>
                </a:moveTo>
                <a:cubicBezTo>
                  <a:pt x="5310524" y="2110132"/>
                  <a:pt x="5312871" y="2121087"/>
                  <a:pt x="5308816" y="2126208"/>
                </a:cubicBezTo>
                <a:cubicBezTo>
                  <a:pt x="5307536" y="2127915"/>
                  <a:pt x="5305401" y="2128912"/>
                  <a:pt x="5302841" y="2128769"/>
                </a:cubicBezTo>
                <a:cubicBezTo>
                  <a:pt x="5299212" y="2122225"/>
                  <a:pt x="5293877" y="2115538"/>
                  <a:pt x="5300066" y="2110559"/>
                </a:cubicBezTo>
                <a:close/>
                <a:moveTo>
                  <a:pt x="5687209" y="2110274"/>
                </a:moveTo>
                <a:cubicBezTo>
                  <a:pt x="5688490" y="2111554"/>
                  <a:pt x="5691051" y="2115254"/>
                  <a:pt x="5688917" y="2118526"/>
                </a:cubicBezTo>
                <a:cubicBezTo>
                  <a:pt x="5686569" y="2121940"/>
                  <a:pt x="5687850" y="2125497"/>
                  <a:pt x="5685716" y="2128912"/>
                </a:cubicBezTo>
                <a:cubicBezTo>
                  <a:pt x="5685716" y="2128912"/>
                  <a:pt x="5685716" y="2128912"/>
                  <a:pt x="5684435" y="2127773"/>
                </a:cubicBezTo>
                <a:cubicBezTo>
                  <a:pt x="5686569" y="2122082"/>
                  <a:pt x="5684008" y="2115965"/>
                  <a:pt x="5687209" y="2110274"/>
                </a:cubicBezTo>
                <a:close/>
                <a:moveTo>
                  <a:pt x="4684350" y="2110132"/>
                </a:moveTo>
                <a:cubicBezTo>
                  <a:pt x="4695875" y="2109420"/>
                  <a:pt x="4698222" y="2117529"/>
                  <a:pt x="4695234" y="2122367"/>
                </a:cubicBezTo>
                <a:cubicBezTo>
                  <a:pt x="4694167" y="2124074"/>
                  <a:pt x="4692673" y="2125355"/>
                  <a:pt x="4690539" y="2125782"/>
                </a:cubicBezTo>
                <a:cubicBezTo>
                  <a:pt x="4687978" y="2126350"/>
                  <a:pt x="4684777" y="2125639"/>
                  <a:pt x="4680935" y="2122367"/>
                </a:cubicBezTo>
                <a:cubicBezTo>
                  <a:pt x="4680509" y="2116391"/>
                  <a:pt x="4683070" y="2114115"/>
                  <a:pt x="4684350" y="2110132"/>
                </a:cubicBezTo>
                <a:close/>
                <a:moveTo>
                  <a:pt x="5940539" y="2109278"/>
                </a:moveTo>
                <a:lnTo>
                  <a:pt x="5940112" y="2109420"/>
                </a:lnTo>
                <a:lnTo>
                  <a:pt x="5940539" y="2109989"/>
                </a:lnTo>
                <a:lnTo>
                  <a:pt x="5940966" y="2110559"/>
                </a:lnTo>
                <a:close/>
                <a:moveTo>
                  <a:pt x="5692972" y="2109136"/>
                </a:moveTo>
                <a:cubicBezTo>
                  <a:pt x="5694252" y="2110416"/>
                  <a:pt x="5694252" y="2111554"/>
                  <a:pt x="5695533" y="2112835"/>
                </a:cubicBezTo>
                <a:cubicBezTo>
                  <a:pt x="5697667" y="2110559"/>
                  <a:pt x="5696600" y="2110559"/>
                  <a:pt x="5697667" y="2111697"/>
                </a:cubicBezTo>
                <a:cubicBezTo>
                  <a:pt x="5697667" y="2111697"/>
                  <a:pt x="5697667" y="2111697"/>
                  <a:pt x="5698947" y="2112977"/>
                </a:cubicBezTo>
                <a:cubicBezTo>
                  <a:pt x="5698947" y="2112977"/>
                  <a:pt x="5700228" y="2112977"/>
                  <a:pt x="5698094" y="2116534"/>
                </a:cubicBezTo>
                <a:cubicBezTo>
                  <a:pt x="5696813" y="2115254"/>
                  <a:pt x="5693185" y="2111554"/>
                  <a:pt x="5693185" y="2111554"/>
                </a:cubicBezTo>
                <a:cubicBezTo>
                  <a:pt x="5692118" y="2111412"/>
                  <a:pt x="5691904" y="2111412"/>
                  <a:pt x="5690838" y="2110274"/>
                </a:cubicBezTo>
                <a:cubicBezTo>
                  <a:pt x="5691904" y="2109136"/>
                  <a:pt x="5691904" y="2109136"/>
                  <a:pt x="5692972" y="2109136"/>
                </a:cubicBezTo>
                <a:close/>
                <a:moveTo>
                  <a:pt x="5209576" y="2107144"/>
                </a:moveTo>
                <a:cubicBezTo>
                  <a:pt x="5210857" y="2108282"/>
                  <a:pt x="5211497" y="2109705"/>
                  <a:pt x="5211923" y="2111554"/>
                </a:cubicBezTo>
                <a:lnTo>
                  <a:pt x="5211497" y="2115538"/>
                </a:lnTo>
                <a:lnTo>
                  <a:pt x="5212137" y="2115538"/>
                </a:lnTo>
                <a:lnTo>
                  <a:pt x="5211923" y="2110416"/>
                </a:lnTo>
                <a:cubicBezTo>
                  <a:pt x="5212778" y="2110701"/>
                  <a:pt x="5213204" y="2111127"/>
                  <a:pt x="5213204" y="2111839"/>
                </a:cubicBezTo>
                <a:cubicBezTo>
                  <a:pt x="5213418" y="2112551"/>
                  <a:pt x="5213204" y="2113404"/>
                  <a:pt x="5212991" y="2114257"/>
                </a:cubicBezTo>
                <a:lnTo>
                  <a:pt x="5212778" y="2115538"/>
                </a:lnTo>
                <a:lnTo>
                  <a:pt x="5215552" y="2115396"/>
                </a:lnTo>
                <a:cubicBezTo>
                  <a:pt x="5219180" y="2119664"/>
                  <a:pt x="5220674" y="2123363"/>
                  <a:pt x="5220247" y="2126635"/>
                </a:cubicBezTo>
                <a:cubicBezTo>
                  <a:pt x="5219180" y="2136167"/>
                  <a:pt x="5203600" y="2139723"/>
                  <a:pt x="5196344" y="2129053"/>
                </a:cubicBezTo>
                <a:cubicBezTo>
                  <a:pt x="5196344" y="2125782"/>
                  <a:pt x="5198051" y="2122936"/>
                  <a:pt x="5200612" y="2120517"/>
                </a:cubicBezTo>
                <a:lnTo>
                  <a:pt x="5201893" y="2119806"/>
                </a:lnTo>
                <a:lnTo>
                  <a:pt x="5202533" y="2115965"/>
                </a:lnTo>
                <a:cubicBezTo>
                  <a:pt x="5203814" y="2111554"/>
                  <a:pt x="5205735" y="2108282"/>
                  <a:pt x="5209576" y="2107144"/>
                </a:cubicBezTo>
                <a:close/>
                <a:moveTo>
                  <a:pt x="5804164" y="2106148"/>
                </a:moveTo>
                <a:cubicBezTo>
                  <a:pt x="5805657" y="2106860"/>
                  <a:pt x="5806511" y="2108993"/>
                  <a:pt x="5806084" y="2111697"/>
                </a:cubicBezTo>
                <a:cubicBezTo>
                  <a:pt x="5804590" y="2111127"/>
                  <a:pt x="5802669" y="2113262"/>
                  <a:pt x="5801176" y="2112551"/>
                </a:cubicBezTo>
                <a:cubicBezTo>
                  <a:pt x="5801176" y="2112551"/>
                  <a:pt x="5798828" y="2109562"/>
                  <a:pt x="5798828" y="2109562"/>
                </a:cubicBezTo>
                <a:cubicBezTo>
                  <a:pt x="5799682" y="2107998"/>
                  <a:pt x="5799682" y="2107998"/>
                  <a:pt x="5800109" y="2109136"/>
                </a:cubicBezTo>
                <a:cubicBezTo>
                  <a:pt x="5802029" y="2107144"/>
                  <a:pt x="5803096" y="2106575"/>
                  <a:pt x="5804164" y="2106148"/>
                </a:cubicBezTo>
                <a:close/>
                <a:moveTo>
                  <a:pt x="5586475" y="2105152"/>
                </a:moveTo>
                <a:cubicBezTo>
                  <a:pt x="5588823" y="2105721"/>
                  <a:pt x="5590957" y="2106290"/>
                  <a:pt x="5591384" y="2108709"/>
                </a:cubicBezTo>
                <a:cubicBezTo>
                  <a:pt x="5591597" y="2109420"/>
                  <a:pt x="5591597" y="2110274"/>
                  <a:pt x="5591170" y="2111554"/>
                </a:cubicBezTo>
                <a:cubicBezTo>
                  <a:pt x="5591170" y="2111554"/>
                  <a:pt x="5591170" y="2111554"/>
                  <a:pt x="5590103" y="2112266"/>
                </a:cubicBezTo>
                <a:cubicBezTo>
                  <a:pt x="5587969" y="2113404"/>
                  <a:pt x="5587116" y="2114115"/>
                  <a:pt x="5586049" y="2114827"/>
                </a:cubicBezTo>
                <a:cubicBezTo>
                  <a:pt x="5584554" y="2114399"/>
                  <a:pt x="5580926" y="2112551"/>
                  <a:pt x="5581354" y="2110986"/>
                </a:cubicBezTo>
                <a:cubicBezTo>
                  <a:pt x="5582420" y="2107713"/>
                  <a:pt x="5584982" y="2104725"/>
                  <a:pt x="5586475" y="2105152"/>
                </a:cubicBezTo>
                <a:close/>
                <a:moveTo>
                  <a:pt x="4889446" y="2105152"/>
                </a:moveTo>
                <a:cubicBezTo>
                  <a:pt x="4890727" y="2105010"/>
                  <a:pt x="4891794" y="2105152"/>
                  <a:pt x="4892434" y="2105721"/>
                </a:cubicBezTo>
                <a:cubicBezTo>
                  <a:pt x="4893074" y="2106290"/>
                  <a:pt x="4893288" y="2107571"/>
                  <a:pt x="4893074" y="2109705"/>
                </a:cubicBezTo>
                <a:cubicBezTo>
                  <a:pt x="4893074" y="2109705"/>
                  <a:pt x="4892221" y="2110274"/>
                  <a:pt x="4892221" y="2110274"/>
                </a:cubicBezTo>
                <a:cubicBezTo>
                  <a:pt x="4888166" y="2110132"/>
                  <a:pt x="4888593" y="2108425"/>
                  <a:pt x="4889446" y="2105152"/>
                </a:cubicBezTo>
                <a:close/>
                <a:moveTo>
                  <a:pt x="5490863" y="2104725"/>
                </a:moveTo>
                <a:cubicBezTo>
                  <a:pt x="5491931" y="2105295"/>
                  <a:pt x="5494705" y="2105579"/>
                  <a:pt x="5495131" y="2107286"/>
                </a:cubicBezTo>
                <a:cubicBezTo>
                  <a:pt x="5495772" y="2108851"/>
                  <a:pt x="5495772" y="2108851"/>
                  <a:pt x="5494918" y="2110843"/>
                </a:cubicBezTo>
                <a:cubicBezTo>
                  <a:pt x="5492144" y="2107998"/>
                  <a:pt x="5492144" y="2107998"/>
                  <a:pt x="5490863" y="2104725"/>
                </a:cubicBezTo>
                <a:close/>
                <a:moveTo>
                  <a:pt x="5008321" y="2104156"/>
                </a:moveTo>
                <a:cubicBezTo>
                  <a:pt x="5010029" y="2104298"/>
                  <a:pt x="5011522" y="2105437"/>
                  <a:pt x="5013657" y="2107998"/>
                </a:cubicBezTo>
                <a:cubicBezTo>
                  <a:pt x="5013657" y="2107998"/>
                  <a:pt x="5014083" y="2109562"/>
                  <a:pt x="5014083" y="2109562"/>
                </a:cubicBezTo>
                <a:lnTo>
                  <a:pt x="5015577" y="2116818"/>
                </a:lnTo>
                <a:lnTo>
                  <a:pt x="5018138" y="2118526"/>
                </a:lnTo>
                <a:cubicBezTo>
                  <a:pt x="5018352" y="2122082"/>
                  <a:pt x="5016218" y="2124643"/>
                  <a:pt x="5013443" y="2126065"/>
                </a:cubicBezTo>
                <a:lnTo>
                  <a:pt x="5011096" y="2126208"/>
                </a:lnTo>
                <a:lnTo>
                  <a:pt x="5010882" y="2128627"/>
                </a:lnTo>
                <a:lnTo>
                  <a:pt x="5010242" y="2128484"/>
                </a:lnTo>
                <a:lnTo>
                  <a:pt x="5010242" y="2130618"/>
                </a:lnTo>
                <a:cubicBezTo>
                  <a:pt x="5003199" y="2141858"/>
                  <a:pt x="4996796" y="2140577"/>
                  <a:pt x="4995943" y="2142142"/>
                </a:cubicBezTo>
                <a:cubicBezTo>
                  <a:pt x="4993808" y="2141004"/>
                  <a:pt x="4993168" y="2139723"/>
                  <a:pt x="4993168" y="2138016"/>
                </a:cubicBezTo>
                <a:lnTo>
                  <a:pt x="4993808" y="2134886"/>
                </a:lnTo>
                <a:lnTo>
                  <a:pt x="4993382" y="2134886"/>
                </a:lnTo>
                <a:cubicBezTo>
                  <a:pt x="4989327" y="2134318"/>
                  <a:pt x="4983137" y="2130903"/>
                  <a:pt x="4985485" y="2127488"/>
                </a:cubicBezTo>
                <a:cubicBezTo>
                  <a:pt x="4986552" y="2126635"/>
                  <a:pt x="4987620" y="2126493"/>
                  <a:pt x="4988900" y="2126777"/>
                </a:cubicBezTo>
                <a:cubicBezTo>
                  <a:pt x="4990607" y="2127204"/>
                  <a:pt x="4992528" y="2128769"/>
                  <a:pt x="4994022" y="2130334"/>
                </a:cubicBezTo>
                <a:lnTo>
                  <a:pt x="4994449" y="2131330"/>
                </a:lnTo>
                <a:lnTo>
                  <a:pt x="4997010" y="2129480"/>
                </a:lnTo>
                <a:cubicBezTo>
                  <a:pt x="4997863" y="2128200"/>
                  <a:pt x="4998717" y="2126635"/>
                  <a:pt x="4999144" y="2125923"/>
                </a:cubicBezTo>
                <a:cubicBezTo>
                  <a:pt x="5000211" y="2126493"/>
                  <a:pt x="5001278" y="2126065"/>
                  <a:pt x="5002559" y="2125497"/>
                </a:cubicBezTo>
                <a:lnTo>
                  <a:pt x="5002772" y="2125497"/>
                </a:lnTo>
                <a:lnTo>
                  <a:pt x="5002772" y="2125355"/>
                </a:lnTo>
                <a:lnTo>
                  <a:pt x="5001065" y="2123790"/>
                </a:lnTo>
                <a:lnTo>
                  <a:pt x="5000851" y="2124217"/>
                </a:lnTo>
                <a:cubicBezTo>
                  <a:pt x="4997223" y="2127204"/>
                  <a:pt x="4993595" y="2130192"/>
                  <a:pt x="4990180" y="2127346"/>
                </a:cubicBezTo>
                <a:cubicBezTo>
                  <a:pt x="4992955" y="2122936"/>
                  <a:pt x="4994235" y="2119522"/>
                  <a:pt x="4996796" y="2115254"/>
                </a:cubicBezTo>
                <a:cubicBezTo>
                  <a:pt x="4997437" y="2114684"/>
                  <a:pt x="4998931" y="2114115"/>
                  <a:pt x="5000425" y="2113689"/>
                </a:cubicBezTo>
                <a:lnTo>
                  <a:pt x="5003626" y="2113973"/>
                </a:lnTo>
                <a:lnTo>
                  <a:pt x="5003626" y="2112692"/>
                </a:lnTo>
                <a:cubicBezTo>
                  <a:pt x="5003626" y="2110559"/>
                  <a:pt x="5003626" y="2108282"/>
                  <a:pt x="5002772" y="2105863"/>
                </a:cubicBezTo>
                <a:cubicBezTo>
                  <a:pt x="5005334" y="2104583"/>
                  <a:pt x="5006827" y="2103872"/>
                  <a:pt x="5008321" y="2104156"/>
                </a:cubicBezTo>
                <a:close/>
                <a:moveTo>
                  <a:pt x="5977033" y="2104015"/>
                </a:moveTo>
                <a:cubicBezTo>
                  <a:pt x="5977674" y="2104298"/>
                  <a:pt x="5978314" y="2104868"/>
                  <a:pt x="5979168" y="2105437"/>
                </a:cubicBezTo>
                <a:cubicBezTo>
                  <a:pt x="5980448" y="2106575"/>
                  <a:pt x="5981729" y="2107713"/>
                  <a:pt x="5983009" y="2108851"/>
                </a:cubicBezTo>
                <a:cubicBezTo>
                  <a:pt x="5983009" y="2108851"/>
                  <a:pt x="5983009" y="2108851"/>
                  <a:pt x="5975326" y="2104441"/>
                </a:cubicBezTo>
                <a:cubicBezTo>
                  <a:pt x="5975753" y="2103872"/>
                  <a:pt x="5976393" y="2103730"/>
                  <a:pt x="5977033" y="2104015"/>
                </a:cubicBezTo>
                <a:close/>
                <a:moveTo>
                  <a:pt x="6174660" y="2103445"/>
                </a:moveTo>
                <a:cubicBezTo>
                  <a:pt x="6175941" y="2103872"/>
                  <a:pt x="6177435" y="2105579"/>
                  <a:pt x="6180636" y="2109136"/>
                </a:cubicBezTo>
                <a:cubicBezTo>
                  <a:pt x="6181703" y="2110416"/>
                  <a:pt x="6182557" y="2112124"/>
                  <a:pt x="6182984" y="2113831"/>
                </a:cubicBezTo>
                <a:cubicBezTo>
                  <a:pt x="6183197" y="2115538"/>
                  <a:pt x="6182984" y="2117246"/>
                  <a:pt x="6182343" y="2118810"/>
                </a:cubicBezTo>
                <a:cubicBezTo>
                  <a:pt x="6183411" y="2121371"/>
                  <a:pt x="6183197" y="2124928"/>
                  <a:pt x="6181916" y="2127062"/>
                </a:cubicBezTo>
                <a:cubicBezTo>
                  <a:pt x="6179356" y="2129053"/>
                  <a:pt x="6177221" y="2128627"/>
                  <a:pt x="6176154" y="2127346"/>
                </a:cubicBezTo>
                <a:cubicBezTo>
                  <a:pt x="6166337" y="2117387"/>
                  <a:pt x="6171672" y="2107571"/>
                  <a:pt x="6170605" y="2105152"/>
                </a:cubicBezTo>
                <a:cubicBezTo>
                  <a:pt x="6172526" y="2103588"/>
                  <a:pt x="6173380" y="2102876"/>
                  <a:pt x="6174660" y="2103445"/>
                </a:cubicBezTo>
                <a:close/>
                <a:moveTo>
                  <a:pt x="5488943" y="2102591"/>
                </a:moveTo>
                <a:cubicBezTo>
                  <a:pt x="5489369" y="2102876"/>
                  <a:pt x="5489796" y="2103445"/>
                  <a:pt x="5490223" y="2104156"/>
                </a:cubicBezTo>
                <a:cubicBezTo>
                  <a:pt x="5490223" y="2104156"/>
                  <a:pt x="5489796" y="2105152"/>
                  <a:pt x="5489796" y="2105152"/>
                </a:cubicBezTo>
                <a:cubicBezTo>
                  <a:pt x="5488729" y="2104583"/>
                  <a:pt x="5487448" y="2103872"/>
                  <a:pt x="5487875" y="2103018"/>
                </a:cubicBezTo>
                <a:cubicBezTo>
                  <a:pt x="5488089" y="2102450"/>
                  <a:pt x="5488516" y="2102307"/>
                  <a:pt x="5488943" y="2102591"/>
                </a:cubicBezTo>
                <a:close/>
                <a:moveTo>
                  <a:pt x="4907160" y="2102165"/>
                </a:moveTo>
                <a:cubicBezTo>
                  <a:pt x="4909081" y="2101596"/>
                  <a:pt x="4910788" y="2101738"/>
                  <a:pt x="4912283" y="2102307"/>
                </a:cubicBezTo>
                <a:cubicBezTo>
                  <a:pt x="4916551" y="2104015"/>
                  <a:pt x="4918258" y="2109705"/>
                  <a:pt x="4913136" y="2112977"/>
                </a:cubicBezTo>
                <a:cubicBezTo>
                  <a:pt x="4907374" y="2109562"/>
                  <a:pt x="4906307" y="2106148"/>
                  <a:pt x="4907160" y="2102165"/>
                </a:cubicBezTo>
                <a:close/>
                <a:moveTo>
                  <a:pt x="4759901" y="2102023"/>
                </a:moveTo>
                <a:cubicBezTo>
                  <a:pt x="4760541" y="2102023"/>
                  <a:pt x="4761181" y="2102307"/>
                  <a:pt x="4761822" y="2102591"/>
                </a:cubicBezTo>
                <a:cubicBezTo>
                  <a:pt x="4762889" y="2103161"/>
                  <a:pt x="4763955" y="2104156"/>
                  <a:pt x="4763955" y="2104868"/>
                </a:cubicBezTo>
                <a:cubicBezTo>
                  <a:pt x="4762675" y="2105863"/>
                  <a:pt x="4760327" y="2105579"/>
                  <a:pt x="4759047" y="2106575"/>
                </a:cubicBezTo>
                <a:cubicBezTo>
                  <a:pt x="4759047" y="2105437"/>
                  <a:pt x="4757980" y="2104015"/>
                  <a:pt x="4757980" y="2102876"/>
                </a:cubicBezTo>
                <a:cubicBezTo>
                  <a:pt x="4758620" y="2102307"/>
                  <a:pt x="4759260" y="2102023"/>
                  <a:pt x="4759901" y="2102023"/>
                </a:cubicBezTo>
                <a:close/>
                <a:moveTo>
                  <a:pt x="896264" y="2101965"/>
                </a:moveTo>
                <a:cubicBezTo>
                  <a:pt x="897297" y="2101655"/>
                  <a:pt x="898639" y="2101965"/>
                  <a:pt x="900808" y="2103049"/>
                </a:cubicBezTo>
                <a:cubicBezTo>
                  <a:pt x="900808" y="2103049"/>
                  <a:pt x="901633" y="2103979"/>
                  <a:pt x="901633" y="2103979"/>
                </a:cubicBezTo>
                <a:lnTo>
                  <a:pt x="904731" y="2108316"/>
                </a:lnTo>
                <a:lnTo>
                  <a:pt x="907003" y="2108626"/>
                </a:lnTo>
                <a:cubicBezTo>
                  <a:pt x="907519" y="2109864"/>
                  <a:pt x="907622" y="2110949"/>
                  <a:pt x="907416" y="2112033"/>
                </a:cubicBezTo>
                <a:lnTo>
                  <a:pt x="906590" y="2113737"/>
                </a:lnTo>
                <a:lnTo>
                  <a:pt x="906280" y="2115286"/>
                </a:lnTo>
                <a:lnTo>
                  <a:pt x="905557" y="2115286"/>
                </a:lnTo>
                <a:lnTo>
                  <a:pt x="899878" y="2118074"/>
                </a:lnTo>
                <a:cubicBezTo>
                  <a:pt x="898433" y="2118074"/>
                  <a:pt x="896884" y="2117764"/>
                  <a:pt x="895645" y="2116680"/>
                </a:cubicBezTo>
                <a:cubicBezTo>
                  <a:pt x="894922" y="2115131"/>
                  <a:pt x="894922" y="2113737"/>
                  <a:pt x="895438" y="2112498"/>
                </a:cubicBezTo>
                <a:lnTo>
                  <a:pt x="896781" y="2110949"/>
                </a:lnTo>
                <a:lnTo>
                  <a:pt x="895438" y="2109090"/>
                </a:lnTo>
                <a:cubicBezTo>
                  <a:pt x="894819" y="2107696"/>
                  <a:pt x="894199" y="2106147"/>
                  <a:pt x="892857" y="2104753"/>
                </a:cubicBezTo>
                <a:cubicBezTo>
                  <a:pt x="894199" y="2103204"/>
                  <a:pt x="895128" y="2102275"/>
                  <a:pt x="896264" y="2101965"/>
                </a:cubicBezTo>
                <a:close/>
                <a:moveTo>
                  <a:pt x="5102653" y="2100600"/>
                </a:moveTo>
                <a:cubicBezTo>
                  <a:pt x="5103293" y="2101738"/>
                  <a:pt x="5103933" y="2102734"/>
                  <a:pt x="5103293" y="2104441"/>
                </a:cubicBezTo>
                <a:cubicBezTo>
                  <a:pt x="5102866" y="2106006"/>
                  <a:pt x="5102226" y="2105010"/>
                  <a:pt x="5102866" y="2106006"/>
                </a:cubicBezTo>
                <a:cubicBezTo>
                  <a:pt x="5102226" y="2107571"/>
                  <a:pt x="5103293" y="2107002"/>
                  <a:pt x="5103293" y="2107002"/>
                </a:cubicBezTo>
                <a:cubicBezTo>
                  <a:pt x="5103293" y="2107002"/>
                  <a:pt x="5102439" y="2107713"/>
                  <a:pt x="5102439" y="2107713"/>
                </a:cubicBezTo>
                <a:cubicBezTo>
                  <a:pt x="5102439" y="2107713"/>
                  <a:pt x="5102439" y="2107571"/>
                  <a:pt x="5101372" y="2110986"/>
                </a:cubicBezTo>
                <a:cubicBezTo>
                  <a:pt x="5100945" y="2115254"/>
                  <a:pt x="5101372" y="2116391"/>
                  <a:pt x="5101585" y="2119095"/>
                </a:cubicBezTo>
                <a:cubicBezTo>
                  <a:pt x="5100518" y="2122367"/>
                  <a:pt x="5099451" y="2122936"/>
                  <a:pt x="5097530" y="2126920"/>
                </a:cubicBezTo>
                <a:cubicBezTo>
                  <a:pt x="5094970" y="2127204"/>
                  <a:pt x="5094970" y="2127204"/>
                  <a:pt x="5094329" y="2126208"/>
                </a:cubicBezTo>
                <a:cubicBezTo>
                  <a:pt x="5094970" y="2127204"/>
                  <a:pt x="5093902" y="2127915"/>
                  <a:pt x="5093476" y="2129480"/>
                </a:cubicBezTo>
                <a:cubicBezTo>
                  <a:pt x="5093049" y="2136594"/>
                  <a:pt x="5086859" y="2137732"/>
                  <a:pt x="5079603" y="2136736"/>
                </a:cubicBezTo>
                <a:cubicBezTo>
                  <a:pt x="5079817" y="2135882"/>
                  <a:pt x="5078963" y="2135456"/>
                  <a:pt x="5077683" y="2135029"/>
                </a:cubicBezTo>
                <a:lnTo>
                  <a:pt x="5077469" y="2134886"/>
                </a:lnTo>
                <a:lnTo>
                  <a:pt x="5077256" y="2135456"/>
                </a:lnTo>
                <a:cubicBezTo>
                  <a:pt x="5076615" y="2138016"/>
                  <a:pt x="5075975" y="2140577"/>
                  <a:pt x="5075975" y="2140577"/>
                </a:cubicBezTo>
                <a:lnTo>
                  <a:pt x="5073841" y="2140862"/>
                </a:lnTo>
                <a:lnTo>
                  <a:pt x="5078109" y="2143850"/>
                </a:lnTo>
                <a:cubicBezTo>
                  <a:pt x="5082591" y="2149540"/>
                  <a:pt x="5085152" y="2159499"/>
                  <a:pt x="5081097" y="2162060"/>
                </a:cubicBezTo>
                <a:cubicBezTo>
                  <a:pt x="5078323" y="2163767"/>
                  <a:pt x="5072347" y="2162060"/>
                  <a:pt x="5062103" y="2153239"/>
                </a:cubicBezTo>
                <a:cubicBezTo>
                  <a:pt x="5064024" y="2145130"/>
                  <a:pt x="5066798" y="2141431"/>
                  <a:pt x="5069573" y="2140293"/>
                </a:cubicBezTo>
                <a:lnTo>
                  <a:pt x="5072560" y="2140151"/>
                </a:lnTo>
                <a:lnTo>
                  <a:pt x="5071067" y="2137732"/>
                </a:lnTo>
                <a:cubicBezTo>
                  <a:pt x="5070426" y="2136024"/>
                  <a:pt x="5070426" y="2133179"/>
                  <a:pt x="5071067" y="2130334"/>
                </a:cubicBezTo>
                <a:lnTo>
                  <a:pt x="5072560" y="2126493"/>
                </a:lnTo>
                <a:lnTo>
                  <a:pt x="5072134" y="2124928"/>
                </a:lnTo>
                <a:cubicBezTo>
                  <a:pt x="5073628" y="2119948"/>
                  <a:pt x="5079817" y="2113546"/>
                  <a:pt x="5084512" y="2114684"/>
                </a:cubicBezTo>
                <a:cubicBezTo>
                  <a:pt x="5087286" y="2114969"/>
                  <a:pt x="5089421" y="2115822"/>
                  <a:pt x="5090914" y="2116818"/>
                </a:cubicBezTo>
                <a:lnTo>
                  <a:pt x="5091982" y="2118099"/>
                </a:lnTo>
                <a:lnTo>
                  <a:pt x="5090701" y="2114257"/>
                </a:lnTo>
                <a:cubicBezTo>
                  <a:pt x="5090914" y="2112408"/>
                  <a:pt x="5091555" y="2110701"/>
                  <a:pt x="5092195" y="2109136"/>
                </a:cubicBezTo>
                <a:cubicBezTo>
                  <a:pt x="5093476" y="2106860"/>
                  <a:pt x="5093476" y="2105721"/>
                  <a:pt x="5092622" y="2103161"/>
                </a:cubicBezTo>
                <a:cubicBezTo>
                  <a:pt x="5092622" y="2103161"/>
                  <a:pt x="5092622" y="2103161"/>
                  <a:pt x="5094970" y="2101169"/>
                </a:cubicBezTo>
                <a:lnTo>
                  <a:pt x="5096250" y="2101453"/>
                </a:lnTo>
                <a:cubicBezTo>
                  <a:pt x="5096677" y="2101880"/>
                  <a:pt x="5096890" y="2102734"/>
                  <a:pt x="5096890" y="2104156"/>
                </a:cubicBezTo>
                <a:cubicBezTo>
                  <a:pt x="5096890" y="2106006"/>
                  <a:pt x="5096677" y="2108709"/>
                  <a:pt x="5096250" y="2110986"/>
                </a:cubicBezTo>
                <a:lnTo>
                  <a:pt x="5095397" y="2115111"/>
                </a:lnTo>
                <a:lnTo>
                  <a:pt x="5097744" y="2107998"/>
                </a:lnTo>
                <a:cubicBezTo>
                  <a:pt x="5099238" y="2104156"/>
                  <a:pt x="5100945" y="2101026"/>
                  <a:pt x="5102653" y="2100600"/>
                </a:cubicBezTo>
                <a:close/>
                <a:moveTo>
                  <a:pt x="6024839" y="2100315"/>
                </a:moveTo>
                <a:cubicBezTo>
                  <a:pt x="6026547" y="2100315"/>
                  <a:pt x="6028041" y="2100600"/>
                  <a:pt x="6029535" y="2101026"/>
                </a:cubicBezTo>
                <a:cubicBezTo>
                  <a:pt x="6032523" y="2101738"/>
                  <a:pt x="6035297" y="2103161"/>
                  <a:pt x="6037858" y="2104583"/>
                </a:cubicBezTo>
                <a:cubicBezTo>
                  <a:pt x="6041273" y="2120091"/>
                  <a:pt x="6026547" y="2113404"/>
                  <a:pt x="6018437" y="2112977"/>
                </a:cubicBezTo>
                <a:cubicBezTo>
                  <a:pt x="6017370" y="2107855"/>
                  <a:pt x="6017583" y="2106148"/>
                  <a:pt x="6019717" y="2101026"/>
                </a:cubicBezTo>
                <a:cubicBezTo>
                  <a:pt x="6021425" y="2100600"/>
                  <a:pt x="6023132" y="2100315"/>
                  <a:pt x="6024839" y="2100315"/>
                </a:cubicBezTo>
                <a:close/>
                <a:moveTo>
                  <a:pt x="5280858" y="2100173"/>
                </a:moveTo>
                <a:cubicBezTo>
                  <a:pt x="5285767" y="2101596"/>
                  <a:pt x="5291316" y="2102307"/>
                  <a:pt x="5293237" y="2106148"/>
                </a:cubicBezTo>
                <a:cubicBezTo>
                  <a:pt x="5293877" y="2107429"/>
                  <a:pt x="5294303" y="2109136"/>
                  <a:pt x="5293877" y="2111270"/>
                </a:cubicBezTo>
                <a:cubicBezTo>
                  <a:pt x="5290249" y="2115538"/>
                  <a:pt x="5286194" y="2116107"/>
                  <a:pt x="5283206" y="2114827"/>
                </a:cubicBezTo>
                <a:lnTo>
                  <a:pt x="5282566" y="2114257"/>
                </a:lnTo>
                <a:lnTo>
                  <a:pt x="5282566" y="2114399"/>
                </a:lnTo>
                <a:cubicBezTo>
                  <a:pt x="5283206" y="2115396"/>
                  <a:pt x="5279791" y="2116249"/>
                  <a:pt x="5279791" y="2116249"/>
                </a:cubicBezTo>
                <a:cubicBezTo>
                  <a:pt x="5278084" y="2115822"/>
                  <a:pt x="5277871" y="2111270"/>
                  <a:pt x="5277230" y="2110274"/>
                </a:cubicBezTo>
                <a:lnTo>
                  <a:pt x="5278937" y="2109847"/>
                </a:lnTo>
                <a:lnTo>
                  <a:pt x="5278084" y="2106860"/>
                </a:lnTo>
                <a:cubicBezTo>
                  <a:pt x="5277871" y="2104583"/>
                  <a:pt x="5278724" y="2102165"/>
                  <a:pt x="5280858" y="2100173"/>
                </a:cubicBezTo>
                <a:close/>
                <a:moveTo>
                  <a:pt x="4980790" y="2099461"/>
                </a:moveTo>
                <a:cubicBezTo>
                  <a:pt x="4981644" y="2098750"/>
                  <a:pt x="4982284" y="2099888"/>
                  <a:pt x="4981217" y="2100457"/>
                </a:cubicBezTo>
                <a:cubicBezTo>
                  <a:pt x="4981430" y="2103161"/>
                  <a:pt x="4978442" y="2102165"/>
                  <a:pt x="4976949" y="2101738"/>
                </a:cubicBezTo>
                <a:cubicBezTo>
                  <a:pt x="4979723" y="2100031"/>
                  <a:pt x="4980150" y="2098323"/>
                  <a:pt x="4980790" y="2099461"/>
                </a:cubicBezTo>
                <a:close/>
                <a:moveTo>
                  <a:pt x="5957826" y="2099177"/>
                </a:moveTo>
                <a:cubicBezTo>
                  <a:pt x="5960814" y="2100315"/>
                  <a:pt x="5963374" y="2100315"/>
                  <a:pt x="5964869" y="2100884"/>
                </a:cubicBezTo>
                <a:cubicBezTo>
                  <a:pt x="5964442" y="2106290"/>
                  <a:pt x="5961667" y="2108993"/>
                  <a:pt x="5957186" y="2107429"/>
                </a:cubicBezTo>
                <a:cubicBezTo>
                  <a:pt x="5958466" y="2104156"/>
                  <a:pt x="5956545" y="2102450"/>
                  <a:pt x="5957826" y="2099177"/>
                </a:cubicBezTo>
                <a:close/>
                <a:moveTo>
                  <a:pt x="5181832" y="2098893"/>
                </a:moveTo>
                <a:cubicBezTo>
                  <a:pt x="5185033" y="2099604"/>
                  <a:pt x="5185460" y="2103303"/>
                  <a:pt x="5186953" y="2103730"/>
                </a:cubicBezTo>
                <a:cubicBezTo>
                  <a:pt x="5185886" y="2104298"/>
                  <a:pt x="5183965" y="2105579"/>
                  <a:pt x="5183965" y="2108282"/>
                </a:cubicBezTo>
                <a:cubicBezTo>
                  <a:pt x="5180978" y="2107571"/>
                  <a:pt x="5177777" y="2106717"/>
                  <a:pt x="5178844" y="2103445"/>
                </a:cubicBezTo>
                <a:cubicBezTo>
                  <a:pt x="5179270" y="2101738"/>
                  <a:pt x="5179697" y="2100173"/>
                  <a:pt x="5181832" y="2098893"/>
                </a:cubicBezTo>
                <a:close/>
                <a:moveTo>
                  <a:pt x="5484888" y="2098181"/>
                </a:moveTo>
                <a:cubicBezTo>
                  <a:pt x="5485528" y="2099177"/>
                  <a:pt x="5486168" y="2100173"/>
                  <a:pt x="5485955" y="2101880"/>
                </a:cubicBezTo>
                <a:cubicBezTo>
                  <a:pt x="5485741" y="2103588"/>
                  <a:pt x="5485101" y="2102450"/>
                  <a:pt x="5485741" y="2103445"/>
                </a:cubicBezTo>
                <a:cubicBezTo>
                  <a:pt x="5485528" y="2105152"/>
                  <a:pt x="5486381" y="2104583"/>
                  <a:pt x="5486381" y="2104583"/>
                </a:cubicBezTo>
                <a:cubicBezTo>
                  <a:pt x="5486381" y="2104583"/>
                  <a:pt x="5485528" y="2105152"/>
                  <a:pt x="5485528" y="2105152"/>
                </a:cubicBezTo>
                <a:cubicBezTo>
                  <a:pt x="5485528" y="2105152"/>
                  <a:pt x="5485528" y="2105152"/>
                  <a:pt x="5484888" y="2108425"/>
                </a:cubicBezTo>
                <a:cubicBezTo>
                  <a:pt x="5485101" y="2112835"/>
                  <a:pt x="5485955" y="2113831"/>
                  <a:pt x="5486381" y="2116534"/>
                </a:cubicBezTo>
                <a:cubicBezTo>
                  <a:pt x="5485741" y="2119806"/>
                  <a:pt x="5484888" y="2120517"/>
                  <a:pt x="5483393" y="2124358"/>
                </a:cubicBezTo>
                <a:cubicBezTo>
                  <a:pt x="5481046" y="2124501"/>
                  <a:pt x="5481046" y="2124501"/>
                  <a:pt x="5480192" y="2123505"/>
                </a:cubicBezTo>
                <a:cubicBezTo>
                  <a:pt x="5481046" y="2124501"/>
                  <a:pt x="5479979" y="2125070"/>
                  <a:pt x="5479765" y="2126777"/>
                </a:cubicBezTo>
                <a:cubicBezTo>
                  <a:pt x="5480406" y="2133749"/>
                  <a:pt x="5474430" y="2134744"/>
                  <a:pt x="5467174" y="2133749"/>
                </a:cubicBezTo>
                <a:cubicBezTo>
                  <a:pt x="5467387" y="2132041"/>
                  <a:pt x="5463118" y="2131757"/>
                  <a:pt x="5460985" y="2130334"/>
                </a:cubicBezTo>
                <a:cubicBezTo>
                  <a:pt x="5459918" y="2128769"/>
                  <a:pt x="5458850" y="2127488"/>
                  <a:pt x="5458423" y="2126208"/>
                </a:cubicBezTo>
                <a:lnTo>
                  <a:pt x="5458423" y="2125923"/>
                </a:lnTo>
                <a:lnTo>
                  <a:pt x="5450954" y="2123363"/>
                </a:lnTo>
                <a:lnTo>
                  <a:pt x="5450314" y="2122793"/>
                </a:lnTo>
                <a:lnTo>
                  <a:pt x="5449887" y="2122651"/>
                </a:lnTo>
                <a:cubicBezTo>
                  <a:pt x="5443271" y="2122509"/>
                  <a:pt x="5437295" y="2122225"/>
                  <a:pt x="5434734" y="2115681"/>
                </a:cubicBezTo>
                <a:lnTo>
                  <a:pt x="5444551" y="2113831"/>
                </a:lnTo>
                <a:lnTo>
                  <a:pt x="5444551" y="2113119"/>
                </a:lnTo>
                <a:lnTo>
                  <a:pt x="5440496" y="2114257"/>
                </a:lnTo>
                <a:cubicBezTo>
                  <a:pt x="5438576" y="2114257"/>
                  <a:pt x="5436655" y="2113831"/>
                  <a:pt x="5435801" y="2112692"/>
                </a:cubicBezTo>
                <a:cubicBezTo>
                  <a:pt x="5437935" y="2111270"/>
                  <a:pt x="5439429" y="2110843"/>
                  <a:pt x="5440923" y="2110559"/>
                </a:cubicBezTo>
                <a:cubicBezTo>
                  <a:pt x="5441990" y="2109847"/>
                  <a:pt x="5442844" y="2109562"/>
                  <a:pt x="5443484" y="2109989"/>
                </a:cubicBezTo>
                <a:lnTo>
                  <a:pt x="5444551" y="2111697"/>
                </a:lnTo>
                <a:lnTo>
                  <a:pt x="5444551" y="2111270"/>
                </a:lnTo>
                <a:cubicBezTo>
                  <a:pt x="5445191" y="2109278"/>
                  <a:pt x="5446259" y="2107002"/>
                  <a:pt x="5447966" y="2104441"/>
                </a:cubicBezTo>
                <a:cubicBezTo>
                  <a:pt x="5449673" y="2107429"/>
                  <a:pt x="5452234" y="2109847"/>
                  <a:pt x="5455009" y="2112124"/>
                </a:cubicBezTo>
                <a:lnTo>
                  <a:pt x="5455862" y="2112835"/>
                </a:lnTo>
                <a:lnTo>
                  <a:pt x="5460985" y="2113119"/>
                </a:lnTo>
                <a:lnTo>
                  <a:pt x="5462692" y="2113831"/>
                </a:lnTo>
                <a:lnTo>
                  <a:pt x="5465039" y="2112124"/>
                </a:lnTo>
                <a:cubicBezTo>
                  <a:pt x="5466106" y="2111554"/>
                  <a:pt x="5467387" y="2111554"/>
                  <a:pt x="5468668" y="2111839"/>
                </a:cubicBezTo>
                <a:cubicBezTo>
                  <a:pt x="5474430" y="2112551"/>
                  <a:pt x="5477418" y="2114969"/>
                  <a:pt x="5479339" y="2118099"/>
                </a:cubicBezTo>
                <a:cubicBezTo>
                  <a:pt x="5479339" y="2118099"/>
                  <a:pt x="5479339" y="2118099"/>
                  <a:pt x="5478698" y="2117103"/>
                </a:cubicBezTo>
                <a:cubicBezTo>
                  <a:pt x="5479339" y="2112124"/>
                  <a:pt x="5480619" y="2104298"/>
                  <a:pt x="5482540" y="2100457"/>
                </a:cubicBezTo>
                <a:lnTo>
                  <a:pt x="5482967" y="2100173"/>
                </a:lnTo>
                <a:lnTo>
                  <a:pt x="5482753" y="2099888"/>
                </a:lnTo>
                <a:lnTo>
                  <a:pt x="5483180" y="2099746"/>
                </a:lnTo>
                <a:close/>
                <a:moveTo>
                  <a:pt x="4836945" y="2097896"/>
                </a:moveTo>
                <a:cubicBezTo>
                  <a:pt x="4837159" y="2099035"/>
                  <a:pt x="4836945" y="2103018"/>
                  <a:pt x="4836518" y="2107002"/>
                </a:cubicBezTo>
                <a:lnTo>
                  <a:pt x="4836091" y="2110416"/>
                </a:lnTo>
                <a:lnTo>
                  <a:pt x="4837799" y="2110559"/>
                </a:lnTo>
                <a:cubicBezTo>
                  <a:pt x="4841000" y="2112124"/>
                  <a:pt x="4841854" y="2117246"/>
                  <a:pt x="4845482" y="2121228"/>
                </a:cubicBezTo>
                <a:cubicBezTo>
                  <a:pt x="4843134" y="2123363"/>
                  <a:pt x="4839719" y="2123363"/>
                  <a:pt x="4836945" y="2122082"/>
                </a:cubicBezTo>
                <a:lnTo>
                  <a:pt x="4833317" y="2119522"/>
                </a:lnTo>
                <a:lnTo>
                  <a:pt x="4833317" y="2119379"/>
                </a:lnTo>
                <a:lnTo>
                  <a:pt x="4831610" y="2115681"/>
                </a:lnTo>
                <a:cubicBezTo>
                  <a:pt x="4831183" y="2113831"/>
                  <a:pt x="4831823" y="2111981"/>
                  <a:pt x="4833531" y="2110274"/>
                </a:cubicBezTo>
                <a:lnTo>
                  <a:pt x="4834811" y="2110416"/>
                </a:lnTo>
                <a:lnTo>
                  <a:pt x="4834811" y="2107002"/>
                </a:lnTo>
                <a:cubicBezTo>
                  <a:pt x="4835024" y="2103588"/>
                  <a:pt x="4835451" y="2100173"/>
                  <a:pt x="4836945" y="2097896"/>
                </a:cubicBezTo>
                <a:close/>
                <a:moveTo>
                  <a:pt x="5729893" y="2096759"/>
                </a:moveTo>
                <a:cubicBezTo>
                  <a:pt x="5738217" y="2097470"/>
                  <a:pt x="5748674" y="2103303"/>
                  <a:pt x="5751876" y="2110559"/>
                </a:cubicBezTo>
                <a:lnTo>
                  <a:pt x="5752089" y="2115111"/>
                </a:lnTo>
                <a:lnTo>
                  <a:pt x="5752729" y="2115111"/>
                </a:lnTo>
                <a:cubicBezTo>
                  <a:pt x="5752942" y="2115254"/>
                  <a:pt x="5753156" y="2115538"/>
                  <a:pt x="5754010" y="2115822"/>
                </a:cubicBezTo>
                <a:cubicBezTo>
                  <a:pt x="5755504" y="2116107"/>
                  <a:pt x="5761693" y="2114969"/>
                  <a:pt x="5762120" y="2113404"/>
                </a:cubicBezTo>
                <a:cubicBezTo>
                  <a:pt x="5762547" y="2114399"/>
                  <a:pt x="5764041" y="2114827"/>
                  <a:pt x="5764041" y="2114827"/>
                </a:cubicBezTo>
                <a:cubicBezTo>
                  <a:pt x="5763613" y="2116391"/>
                  <a:pt x="5762760" y="2117103"/>
                  <a:pt x="5761693" y="2117672"/>
                </a:cubicBezTo>
                <a:cubicBezTo>
                  <a:pt x="5760199" y="2117387"/>
                  <a:pt x="5759559" y="2116249"/>
                  <a:pt x="5758065" y="2115965"/>
                </a:cubicBezTo>
                <a:cubicBezTo>
                  <a:pt x="5756998" y="2116534"/>
                  <a:pt x="5755077" y="2117814"/>
                  <a:pt x="5753370" y="2117387"/>
                </a:cubicBezTo>
                <a:lnTo>
                  <a:pt x="5752089" y="2116961"/>
                </a:lnTo>
                <a:lnTo>
                  <a:pt x="5752302" y="2118099"/>
                </a:lnTo>
                <a:cubicBezTo>
                  <a:pt x="5741845" y="2118810"/>
                  <a:pt x="5730320" y="2116961"/>
                  <a:pt x="5718369" y="2107002"/>
                </a:cubicBezTo>
                <a:cubicBezTo>
                  <a:pt x="5717515" y="2098893"/>
                  <a:pt x="5723064" y="2096189"/>
                  <a:pt x="5729893" y="2096759"/>
                </a:cubicBezTo>
                <a:close/>
                <a:moveTo>
                  <a:pt x="5641537" y="2096759"/>
                </a:moveTo>
                <a:lnTo>
                  <a:pt x="5639404" y="2097043"/>
                </a:lnTo>
                <a:lnTo>
                  <a:pt x="5641751" y="2097327"/>
                </a:lnTo>
                <a:close/>
                <a:moveTo>
                  <a:pt x="4712735" y="2096616"/>
                </a:moveTo>
                <a:cubicBezTo>
                  <a:pt x="4714655" y="2097896"/>
                  <a:pt x="4715936" y="2102876"/>
                  <a:pt x="4716790" y="2106148"/>
                </a:cubicBezTo>
                <a:cubicBezTo>
                  <a:pt x="4715082" y="2109136"/>
                  <a:pt x="4711454" y="2110843"/>
                  <a:pt x="4707399" y="2110986"/>
                </a:cubicBezTo>
                <a:cubicBezTo>
                  <a:pt x="4705692" y="2104298"/>
                  <a:pt x="4708040" y="2100315"/>
                  <a:pt x="4712735" y="2096616"/>
                </a:cubicBezTo>
                <a:close/>
                <a:moveTo>
                  <a:pt x="812110" y="2096389"/>
                </a:moveTo>
                <a:cubicBezTo>
                  <a:pt x="814795" y="2094220"/>
                  <a:pt x="816551" y="2096079"/>
                  <a:pt x="820061" y="2098093"/>
                </a:cubicBezTo>
                <a:cubicBezTo>
                  <a:pt x="819132" y="2098867"/>
                  <a:pt x="821713" y="2101655"/>
                  <a:pt x="822643" y="2102585"/>
                </a:cubicBezTo>
                <a:cubicBezTo>
                  <a:pt x="820784" y="2104133"/>
                  <a:pt x="823468" y="2107696"/>
                  <a:pt x="820784" y="2109864"/>
                </a:cubicBezTo>
                <a:cubicBezTo>
                  <a:pt x="819028" y="2109710"/>
                  <a:pt x="818099" y="2109710"/>
                  <a:pt x="816344" y="2108626"/>
                </a:cubicBezTo>
                <a:cubicBezTo>
                  <a:pt x="810252" y="2101345"/>
                  <a:pt x="812936" y="2097318"/>
                  <a:pt x="812110" y="2096389"/>
                </a:cubicBezTo>
                <a:close/>
                <a:moveTo>
                  <a:pt x="5618488" y="2095762"/>
                </a:moveTo>
                <a:cubicBezTo>
                  <a:pt x="5619129" y="2095620"/>
                  <a:pt x="5619982" y="2095762"/>
                  <a:pt x="5621263" y="2096332"/>
                </a:cubicBezTo>
                <a:cubicBezTo>
                  <a:pt x="5625318" y="2100884"/>
                  <a:pt x="5622543" y="2105863"/>
                  <a:pt x="5622330" y="2111981"/>
                </a:cubicBezTo>
                <a:cubicBezTo>
                  <a:pt x="5621263" y="2112124"/>
                  <a:pt x="5620195" y="2113404"/>
                  <a:pt x="5620409" y="2114542"/>
                </a:cubicBezTo>
                <a:cubicBezTo>
                  <a:pt x="5619342" y="2115822"/>
                  <a:pt x="5618488" y="2117103"/>
                  <a:pt x="5619555" y="2117103"/>
                </a:cubicBezTo>
                <a:cubicBezTo>
                  <a:pt x="5616567" y="2120944"/>
                  <a:pt x="5616781" y="2122082"/>
                  <a:pt x="5613153" y="2121087"/>
                </a:cubicBezTo>
                <a:cubicBezTo>
                  <a:pt x="5612939" y="2111412"/>
                  <a:pt x="5615927" y="2100315"/>
                  <a:pt x="5616781" y="2097754"/>
                </a:cubicBezTo>
                <a:cubicBezTo>
                  <a:pt x="5617208" y="2096616"/>
                  <a:pt x="5617635" y="2095904"/>
                  <a:pt x="5618488" y="2095762"/>
                </a:cubicBezTo>
                <a:close/>
                <a:moveTo>
                  <a:pt x="946034" y="2095614"/>
                </a:moveTo>
                <a:cubicBezTo>
                  <a:pt x="947686" y="2096544"/>
                  <a:pt x="949441" y="2097628"/>
                  <a:pt x="951093" y="2098712"/>
                </a:cubicBezTo>
                <a:cubicBezTo>
                  <a:pt x="950267" y="2098558"/>
                  <a:pt x="951816" y="2106302"/>
                  <a:pt x="951816" y="2106302"/>
                </a:cubicBezTo>
                <a:lnTo>
                  <a:pt x="950474" y="2107077"/>
                </a:lnTo>
                <a:lnTo>
                  <a:pt x="954088" y="2107851"/>
                </a:lnTo>
                <a:cubicBezTo>
                  <a:pt x="958837" y="2110330"/>
                  <a:pt x="963484" y="2116216"/>
                  <a:pt x="961522" y="2119158"/>
                </a:cubicBezTo>
                <a:cubicBezTo>
                  <a:pt x="960490" y="2120552"/>
                  <a:pt x="957805" y="2121327"/>
                  <a:pt x="952539" y="2120243"/>
                </a:cubicBezTo>
                <a:lnTo>
                  <a:pt x="948409" y="2119313"/>
                </a:lnTo>
                <a:lnTo>
                  <a:pt x="948512" y="2119623"/>
                </a:lnTo>
                <a:cubicBezTo>
                  <a:pt x="948409" y="2120708"/>
                  <a:pt x="947996" y="2121947"/>
                  <a:pt x="947273" y="2123031"/>
                </a:cubicBezTo>
                <a:lnTo>
                  <a:pt x="943246" y="2125819"/>
                </a:lnTo>
                <a:lnTo>
                  <a:pt x="943762" y="2140069"/>
                </a:lnTo>
                <a:cubicBezTo>
                  <a:pt x="944382" y="2147040"/>
                  <a:pt x="944898" y="2153700"/>
                  <a:pt x="944278" y="2160051"/>
                </a:cubicBezTo>
                <a:lnTo>
                  <a:pt x="940355" y="2154165"/>
                </a:lnTo>
                <a:lnTo>
                  <a:pt x="939838" y="2154785"/>
                </a:lnTo>
                <a:cubicBezTo>
                  <a:pt x="939012" y="2157883"/>
                  <a:pt x="943142" y="2161135"/>
                  <a:pt x="939012" y="2163614"/>
                </a:cubicBezTo>
                <a:cubicBezTo>
                  <a:pt x="936431" y="2163768"/>
                  <a:pt x="933643" y="2164853"/>
                  <a:pt x="930752" y="2164078"/>
                </a:cubicBezTo>
                <a:cubicBezTo>
                  <a:pt x="929823" y="2163923"/>
                  <a:pt x="928790" y="2163304"/>
                  <a:pt x="927758" y="2162530"/>
                </a:cubicBezTo>
                <a:cubicBezTo>
                  <a:pt x="932507" y="2157573"/>
                  <a:pt x="933850" y="2152771"/>
                  <a:pt x="936947" y="2147505"/>
                </a:cubicBezTo>
                <a:lnTo>
                  <a:pt x="937360" y="2147659"/>
                </a:lnTo>
                <a:lnTo>
                  <a:pt x="935502" y="2140379"/>
                </a:lnTo>
                <a:lnTo>
                  <a:pt x="934882" y="2135113"/>
                </a:lnTo>
                <a:lnTo>
                  <a:pt x="934469" y="2135577"/>
                </a:lnTo>
                <a:cubicBezTo>
                  <a:pt x="927345" y="2137746"/>
                  <a:pt x="921562" y="2137591"/>
                  <a:pt x="918981" y="2131086"/>
                </a:cubicBezTo>
                <a:cubicBezTo>
                  <a:pt x="920220" y="2130775"/>
                  <a:pt x="920013" y="2129691"/>
                  <a:pt x="919806" y="2128453"/>
                </a:cubicBezTo>
                <a:cubicBezTo>
                  <a:pt x="921046" y="2127058"/>
                  <a:pt x="922801" y="2126129"/>
                  <a:pt x="924763" y="2125664"/>
                </a:cubicBezTo>
                <a:lnTo>
                  <a:pt x="928377" y="2125974"/>
                </a:lnTo>
                <a:lnTo>
                  <a:pt x="928893" y="2121482"/>
                </a:lnTo>
                <a:cubicBezTo>
                  <a:pt x="930752" y="2121172"/>
                  <a:pt x="932300" y="2121482"/>
                  <a:pt x="933540" y="2122101"/>
                </a:cubicBezTo>
                <a:lnTo>
                  <a:pt x="933746" y="2122256"/>
                </a:lnTo>
                <a:lnTo>
                  <a:pt x="933333" y="2117300"/>
                </a:lnTo>
                <a:cubicBezTo>
                  <a:pt x="934779" y="2117610"/>
                  <a:pt x="936121" y="2117454"/>
                  <a:pt x="937567" y="2117300"/>
                </a:cubicBezTo>
                <a:lnTo>
                  <a:pt x="940045" y="2117610"/>
                </a:lnTo>
                <a:lnTo>
                  <a:pt x="940045" y="2116680"/>
                </a:lnTo>
                <a:cubicBezTo>
                  <a:pt x="942007" y="2115751"/>
                  <a:pt x="943659" y="2115286"/>
                  <a:pt x="944898" y="2115286"/>
                </a:cubicBezTo>
                <a:lnTo>
                  <a:pt x="946137" y="2116061"/>
                </a:lnTo>
                <a:lnTo>
                  <a:pt x="945930" y="2111723"/>
                </a:lnTo>
                <a:cubicBezTo>
                  <a:pt x="946137" y="2110019"/>
                  <a:pt x="946757" y="2108626"/>
                  <a:pt x="947479" y="2107851"/>
                </a:cubicBezTo>
                <a:lnTo>
                  <a:pt x="949338" y="2107077"/>
                </a:lnTo>
                <a:lnTo>
                  <a:pt x="947583" y="2105837"/>
                </a:lnTo>
                <a:cubicBezTo>
                  <a:pt x="946757" y="2104908"/>
                  <a:pt x="945930" y="2103049"/>
                  <a:pt x="945518" y="2101036"/>
                </a:cubicBezTo>
                <a:cubicBezTo>
                  <a:pt x="945104" y="2098867"/>
                  <a:pt x="945208" y="2096854"/>
                  <a:pt x="946034" y="2095614"/>
                </a:cubicBezTo>
                <a:close/>
                <a:moveTo>
                  <a:pt x="5675258" y="2095336"/>
                </a:moveTo>
                <a:cubicBezTo>
                  <a:pt x="5676325" y="2095762"/>
                  <a:pt x="5678033" y="2096759"/>
                  <a:pt x="5679740" y="2098039"/>
                </a:cubicBezTo>
                <a:cubicBezTo>
                  <a:pt x="5683368" y="2100600"/>
                  <a:pt x="5686996" y="2105579"/>
                  <a:pt x="5688276" y="2106717"/>
                </a:cubicBezTo>
                <a:cubicBezTo>
                  <a:pt x="5689557" y="2107998"/>
                  <a:pt x="5690624" y="2108140"/>
                  <a:pt x="5690624" y="2108140"/>
                </a:cubicBezTo>
                <a:cubicBezTo>
                  <a:pt x="5689557" y="2110416"/>
                  <a:pt x="5676325" y="2100173"/>
                  <a:pt x="5672697" y="2097612"/>
                </a:cubicBezTo>
                <a:cubicBezTo>
                  <a:pt x="5672697" y="2096474"/>
                  <a:pt x="5672697" y="2096474"/>
                  <a:pt x="5672697" y="2096474"/>
                </a:cubicBezTo>
                <a:cubicBezTo>
                  <a:pt x="5673124" y="2095336"/>
                  <a:pt x="5673977" y="2095051"/>
                  <a:pt x="5675258" y="2095336"/>
                </a:cubicBezTo>
                <a:close/>
                <a:moveTo>
                  <a:pt x="5249486" y="2095051"/>
                </a:moveTo>
                <a:cubicBezTo>
                  <a:pt x="5253541" y="2093914"/>
                  <a:pt x="5256529" y="2095478"/>
                  <a:pt x="5257595" y="2097754"/>
                </a:cubicBezTo>
                <a:cubicBezTo>
                  <a:pt x="5258449" y="2100173"/>
                  <a:pt x="5257595" y="2103445"/>
                  <a:pt x="5253967" y="2105721"/>
                </a:cubicBezTo>
                <a:cubicBezTo>
                  <a:pt x="5248632" y="2102450"/>
                  <a:pt x="5247991" y="2099035"/>
                  <a:pt x="5249486" y="2095051"/>
                </a:cubicBezTo>
                <a:close/>
                <a:moveTo>
                  <a:pt x="5607177" y="2094625"/>
                </a:moveTo>
                <a:cubicBezTo>
                  <a:pt x="5608031" y="2097896"/>
                  <a:pt x="5609311" y="2102307"/>
                  <a:pt x="5608671" y="2104868"/>
                </a:cubicBezTo>
                <a:cubicBezTo>
                  <a:pt x="5607177" y="2103161"/>
                  <a:pt x="5604829" y="2099177"/>
                  <a:pt x="5606323" y="2096189"/>
                </a:cubicBezTo>
                <a:cubicBezTo>
                  <a:pt x="5606323" y="2096189"/>
                  <a:pt x="5606537" y="2096189"/>
                  <a:pt x="5607177" y="2094625"/>
                </a:cubicBezTo>
                <a:close/>
                <a:moveTo>
                  <a:pt x="5171374" y="2094625"/>
                </a:moveTo>
                <a:lnTo>
                  <a:pt x="5168386" y="2095904"/>
                </a:lnTo>
                <a:lnTo>
                  <a:pt x="5167746" y="2095620"/>
                </a:lnTo>
                <a:lnTo>
                  <a:pt x="5167319" y="2095762"/>
                </a:lnTo>
                <a:lnTo>
                  <a:pt x="5167106" y="2095620"/>
                </a:lnTo>
                <a:lnTo>
                  <a:pt x="5167106" y="2095762"/>
                </a:lnTo>
                <a:lnTo>
                  <a:pt x="5167319" y="2095762"/>
                </a:lnTo>
                <a:lnTo>
                  <a:pt x="5167959" y="2096047"/>
                </a:lnTo>
                <a:lnTo>
                  <a:pt x="5168386" y="2095904"/>
                </a:lnTo>
                <a:lnTo>
                  <a:pt x="5171587" y="2096759"/>
                </a:lnTo>
                <a:close/>
                <a:moveTo>
                  <a:pt x="687377" y="2094220"/>
                </a:moveTo>
                <a:cubicBezTo>
                  <a:pt x="688513" y="2094375"/>
                  <a:pt x="690061" y="2095924"/>
                  <a:pt x="690784" y="2096079"/>
                </a:cubicBezTo>
                <a:cubicBezTo>
                  <a:pt x="691610" y="2097008"/>
                  <a:pt x="692436" y="2097938"/>
                  <a:pt x="691507" y="2098712"/>
                </a:cubicBezTo>
                <a:cubicBezTo>
                  <a:pt x="690681" y="2099332"/>
                  <a:pt x="690681" y="2100106"/>
                  <a:pt x="688926" y="2099177"/>
                </a:cubicBezTo>
                <a:cubicBezTo>
                  <a:pt x="688099" y="2099022"/>
                  <a:pt x="687274" y="2098093"/>
                  <a:pt x="686344" y="2098093"/>
                </a:cubicBezTo>
                <a:cubicBezTo>
                  <a:pt x="686344" y="2098093"/>
                  <a:pt x="686138" y="2097473"/>
                  <a:pt x="686034" y="2096698"/>
                </a:cubicBezTo>
                <a:cubicBezTo>
                  <a:pt x="685931" y="2095924"/>
                  <a:pt x="685931" y="2095150"/>
                  <a:pt x="686344" y="2094840"/>
                </a:cubicBezTo>
                <a:cubicBezTo>
                  <a:pt x="686551" y="2094375"/>
                  <a:pt x="686964" y="2094220"/>
                  <a:pt x="687377" y="2094220"/>
                </a:cubicBezTo>
                <a:close/>
                <a:moveTo>
                  <a:pt x="5362384" y="2094198"/>
                </a:moveTo>
                <a:cubicBezTo>
                  <a:pt x="5363238" y="2093629"/>
                  <a:pt x="5363879" y="2094625"/>
                  <a:pt x="5363025" y="2095194"/>
                </a:cubicBezTo>
                <a:cubicBezTo>
                  <a:pt x="5363452" y="2097896"/>
                  <a:pt x="5360251" y="2097043"/>
                  <a:pt x="5358756" y="2096616"/>
                </a:cubicBezTo>
                <a:cubicBezTo>
                  <a:pt x="5361317" y="2094767"/>
                  <a:pt x="5361531" y="2093202"/>
                  <a:pt x="5362384" y="2094198"/>
                </a:cubicBezTo>
                <a:close/>
                <a:moveTo>
                  <a:pt x="5566840" y="2092490"/>
                </a:moveTo>
                <a:cubicBezTo>
                  <a:pt x="5566840" y="2093771"/>
                  <a:pt x="5567908" y="2093914"/>
                  <a:pt x="5567908" y="2093914"/>
                </a:cubicBezTo>
                <a:cubicBezTo>
                  <a:pt x="5567908" y="2093914"/>
                  <a:pt x="5567908" y="2093914"/>
                  <a:pt x="5568121" y="2092775"/>
                </a:cubicBezTo>
                <a:cubicBezTo>
                  <a:pt x="5568548" y="2093344"/>
                  <a:pt x="5568548" y="2094055"/>
                  <a:pt x="5568335" y="2094482"/>
                </a:cubicBezTo>
                <a:cubicBezTo>
                  <a:pt x="5568121" y="2094909"/>
                  <a:pt x="5567908" y="2095194"/>
                  <a:pt x="5567908" y="2095194"/>
                </a:cubicBezTo>
                <a:cubicBezTo>
                  <a:pt x="5566627" y="2096189"/>
                  <a:pt x="5565347" y="2097185"/>
                  <a:pt x="5564280" y="2095762"/>
                </a:cubicBezTo>
                <a:cubicBezTo>
                  <a:pt x="5564280" y="2095762"/>
                  <a:pt x="5564493" y="2094482"/>
                  <a:pt x="5566840" y="2092490"/>
                </a:cubicBezTo>
                <a:close/>
                <a:moveTo>
                  <a:pt x="843810" y="2091896"/>
                </a:moveTo>
                <a:cubicBezTo>
                  <a:pt x="846908" y="2093910"/>
                  <a:pt x="847630" y="2094840"/>
                  <a:pt x="848560" y="2098402"/>
                </a:cubicBezTo>
                <a:cubicBezTo>
                  <a:pt x="844843" y="2102894"/>
                  <a:pt x="840196" y="2103979"/>
                  <a:pt x="835446" y="2105063"/>
                </a:cubicBezTo>
                <a:cubicBezTo>
                  <a:pt x="833175" y="2103514"/>
                  <a:pt x="832142" y="2102120"/>
                  <a:pt x="832142" y="2100881"/>
                </a:cubicBezTo>
                <a:cubicBezTo>
                  <a:pt x="831935" y="2097163"/>
                  <a:pt x="839886" y="2094530"/>
                  <a:pt x="843810" y="2091896"/>
                </a:cubicBezTo>
                <a:close/>
                <a:moveTo>
                  <a:pt x="5917916" y="2091210"/>
                </a:moveTo>
                <a:lnTo>
                  <a:pt x="5915569" y="2092064"/>
                </a:lnTo>
                <a:cubicBezTo>
                  <a:pt x="5914288" y="2093629"/>
                  <a:pt x="5914502" y="2095762"/>
                  <a:pt x="5915142" y="2098466"/>
                </a:cubicBezTo>
                <a:lnTo>
                  <a:pt x="5915569" y="2102307"/>
                </a:lnTo>
                <a:lnTo>
                  <a:pt x="5916209" y="2102307"/>
                </a:lnTo>
                <a:cubicBezTo>
                  <a:pt x="5917703" y="2102165"/>
                  <a:pt x="5918983" y="2101738"/>
                  <a:pt x="5920477" y="2101026"/>
                </a:cubicBezTo>
                <a:cubicBezTo>
                  <a:pt x="5919197" y="2098750"/>
                  <a:pt x="5918343" y="2095762"/>
                  <a:pt x="5917916" y="2092490"/>
                </a:cubicBezTo>
                <a:close/>
                <a:moveTo>
                  <a:pt x="4923594" y="2090357"/>
                </a:moveTo>
                <a:lnTo>
                  <a:pt x="4927435" y="2092775"/>
                </a:lnTo>
                <a:lnTo>
                  <a:pt x="4927435" y="2092490"/>
                </a:lnTo>
                <a:cubicBezTo>
                  <a:pt x="4928075" y="2092775"/>
                  <a:pt x="4928502" y="2092775"/>
                  <a:pt x="4928502" y="2093059"/>
                </a:cubicBezTo>
                <a:lnTo>
                  <a:pt x="4928502" y="2093486"/>
                </a:lnTo>
                <a:lnTo>
                  <a:pt x="4929569" y="2094340"/>
                </a:lnTo>
                <a:cubicBezTo>
                  <a:pt x="4934051" y="2098750"/>
                  <a:pt x="4933411" y="2104583"/>
                  <a:pt x="4933625" y="2110132"/>
                </a:cubicBezTo>
                <a:cubicBezTo>
                  <a:pt x="4928502" y="2108993"/>
                  <a:pt x="4919325" y="2099035"/>
                  <a:pt x="4923594" y="2090357"/>
                </a:cubicBezTo>
                <a:close/>
                <a:moveTo>
                  <a:pt x="5647940" y="2089645"/>
                </a:moveTo>
                <a:cubicBezTo>
                  <a:pt x="5647940" y="2089645"/>
                  <a:pt x="5648154" y="2089645"/>
                  <a:pt x="5648794" y="2089645"/>
                </a:cubicBezTo>
                <a:cubicBezTo>
                  <a:pt x="5649434" y="2089787"/>
                  <a:pt x="5650501" y="2090072"/>
                  <a:pt x="5651782" y="2090784"/>
                </a:cubicBezTo>
                <a:cubicBezTo>
                  <a:pt x="5650715" y="2091210"/>
                  <a:pt x="5651142" y="2092348"/>
                  <a:pt x="5651142" y="2092348"/>
                </a:cubicBezTo>
                <a:cubicBezTo>
                  <a:pt x="5651142" y="2092348"/>
                  <a:pt x="5650928" y="2092206"/>
                  <a:pt x="5652208" y="2091779"/>
                </a:cubicBezTo>
                <a:cubicBezTo>
                  <a:pt x="5651782" y="2092632"/>
                  <a:pt x="5651142" y="2092775"/>
                  <a:pt x="5650715" y="2092775"/>
                </a:cubicBezTo>
                <a:cubicBezTo>
                  <a:pt x="5650288" y="2092775"/>
                  <a:pt x="5649861" y="2092632"/>
                  <a:pt x="5649861" y="2092632"/>
                </a:cubicBezTo>
                <a:cubicBezTo>
                  <a:pt x="5648580" y="2091921"/>
                  <a:pt x="5647087" y="2091210"/>
                  <a:pt x="5647940" y="2089645"/>
                </a:cubicBezTo>
                <a:close/>
                <a:moveTo>
                  <a:pt x="5984503" y="2089219"/>
                </a:moveTo>
                <a:cubicBezTo>
                  <a:pt x="5986424" y="2095478"/>
                  <a:pt x="5978955" y="2101169"/>
                  <a:pt x="5973832" y="2099746"/>
                </a:cubicBezTo>
                <a:cubicBezTo>
                  <a:pt x="5971912" y="2099320"/>
                  <a:pt x="5970417" y="2098039"/>
                  <a:pt x="5969564" y="2095762"/>
                </a:cubicBezTo>
                <a:cubicBezTo>
                  <a:pt x="5970844" y="2088365"/>
                  <a:pt x="5977674" y="2091494"/>
                  <a:pt x="5984503" y="2089219"/>
                </a:cubicBezTo>
                <a:close/>
                <a:moveTo>
                  <a:pt x="6081822" y="2088080"/>
                </a:moveTo>
                <a:cubicBezTo>
                  <a:pt x="6082677" y="2090214"/>
                  <a:pt x="6084384" y="2091779"/>
                  <a:pt x="6085237" y="2093914"/>
                </a:cubicBezTo>
                <a:lnTo>
                  <a:pt x="6085024" y="2094767"/>
                </a:lnTo>
                <a:lnTo>
                  <a:pt x="6085664" y="2093914"/>
                </a:lnTo>
                <a:cubicBezTo>
                  <a:pt x="6088652" y="2095051"/>
                  <a:pt x="6091000" y="2096759"/>
                  <a:pt x="6092067" y="2099177"/>
                </a:cubicBezTo>
                <a:cubicBezTo>
                  <a:pt x="6093348" y="2101596"/>
                  <a:pt x="6093774" y="2104583"/>
                  <a:pt x="6092707" y="2108425"/>
                </a:cubicBezTo>
                <a:cubicBezTo>
                  <a:pt x="6087798" y="2112124"/>
                  <a:pt x="6082036" y="2107286"/>
                  <a:pt x="6078621" y="2105152"/>
                </a:cubicBezTo>
                <a:lnTo>
                  <a:pt x="6079689" y="2103018"/>
                </a:lnTo>
                <a:lnTo>
                  <a:pt x="6077127" y="2103161"/>
                </a:lnTo>
                <a:cubicBezTo>
                  <a:pt x="6075847" y="2103018"/>
                  <a:pt x="6074780" y="2102734"/>
                  <a:pt x="6073286" y="2102450"/>
                </a:cubicBezTo>
                <a:cubicBezTo>
                  <a:pt x="6073499" y="2099746"/>
                  <a:pt x="6071151" y="2097043"/>
                  <a:pt x="6072432" y="2093914"/>
                </a:cubicBezTo>
                <a:cubicBezTo>
                  <a:pt x="6072432" y="2093914"/>
                  <a:pt x="6073072" y="2092348"/>
                  <a:pt x="6075207" y="2091210"/>
                </a:cubicBezTo>
                <a:cubicBezTo>
                  <a:pt x="6077554" y="2087511"/>
                  <a:pt x="6082036" y="2089076"/>
                  <a:pt x="6082036" y="2089076"/>
                </a:cubicBezTo>
                <a:cubicBezTo>
                  <a:pt x="6082036" y="2089076"/>
                  <a:pt x="6082249" y="2089076"/>
                  <a:pt x="6081822" y="2088080"/>
                </a:cubicBezTo>
                <a:close/>
                <a:moveTo>
                  <a:pt x="1186931" y="2086011"/>
                </a:moveTo>
                <a:cubicBezTo>
                  <a:pt x="1186827" y="2087869"/>
                  <a:pt x="1186104" y="2094220"/>
                  <a:pt x="1184556" y="2095459"/>
                </a:cubicBezTo>
                <a:cubicBezTo>
                  <a:pt x="1184246" y="2092361"/>
                  <a:pt x="1185692" y="2086475"/>
                  <a:pt x="1186931" y="2086011"/>
                </a:cubicBezTo>
                <a:close/>
                <a:moveTo>
                  <a:pt x="4730235" y="2085946"/>
                </a:moveTo>
                <a:cubicBezTo>
                  <a:pt x="4738985" y="2084808"/>
                  <a:pt x="4745815" y="2092490"/>
                  <a:pt x="4747949" y="2101596"/>
                </a:cubicBezTo>
                <a:lnTo>
                  <a:pt x="4748163" y="2104156"/>
                </a:lnTo>
                <a:lnTo>
                  <a:pt x="4749870" y="2105863"/>
                </a:lnTo>
                <a:cubicBezTo>
                  <a:pt x="4750723" y="2106860"/>
                  <a:pt x="4750937" y="2107998"/>
                  <a:pt x="4750723" y="2109989"/>
                </a:cubicBezTo>
                <a:lnTo>
                  <a:pt x="4748376" y="2107855"/>
                </a:lnTo>
                <a:lnTo>
                  <a:pt x="4748376" y="2110701"/>
                </a:lnTo>
                <a:cubicBezTo>
                  <a:pt x="4747095" y="2118952"/>
                  <a:pt x="4741120" y="2126350"/>
                  <a:pt x="4728314" y="2126920"/>
                </a:cubicBezTo>
                <a:cubicBezTo>
                  <a:pt x="4717217" y="2113546"/>
                  <a:pt x="4714869" y="2094767"/>
                  <a:pt x="4725113" y="2087511"/>
                </a:cubicBezTo>
                <a:cubicBezTo>
                  <a:pt x="4727034" y="2086657"/>
                  <a:pt x="4728741" y="2086230"/>
                  <a:pt x="4730235" y="2085946"/>
                </a:cubicBezTo>
                <a:close/>
                <a:moveTo>
                  <a:pt x="796932" y="2085856"/>
                </a:moveTo>
                <a:cubicBezTo>
                  <a:pt x="801165" y="2090038"/>
                  <a:pt x="799617" y="2094220"/>
                  <a:pt x="795693" y="2097163"/>
                </a:cubicBezTo>
                <a:cubicBezTo>
                  <a:pt x="789291" y="2101965"/>
                  <a:pt x="776487" y="2103204"/>
                  <a:pt x="773699" y="2095614"/>
                </a:cubicBezTo>
                <a:cubicBezTo>
                  <a:pt x="776281" y="2092826"/>
                  <a:pt x="779275" y="2090348"/>
                  <a:pt x="782992" y="2088644"/>
                </a:cubicBezTo>
                <a:cubicBezTo>
                  <a:pt x="786813" y="2086785"/>
                  <a:pt x="791356" y="2085701"/>
                  <a:pt x="796932" y="2085856"/>
                </a:cubicBezTo>
                <a:close/>
                <a:moveTo>
                  <a:pt x="5715168" y="2084950"/>
                </a:moveTo>
                <a:lnTo>
                  <a:pt x="5714101" y="2085377"/>
                </a:lnTo>
                <a:lnTo>
                  <a:pt x="5714101" y="2085946"/>
                </a:lnTo>
                <a:close/>
                <a:moveTo>
                  <a:pt x="5727332" y="2084096"/>
                </a:moveTo>
                <a:cubicBezTo>
                  <a:pt x="5728826" y="2083812"/>
                  <a:pt x="5730747" y="2083954"/>
                  <a:pt x="5733095" y="2084096"/>
                </a:cubicBezTo>
                <a:cubicBezTo>
                  <a:pt x="5729893" y="2089076"/>
                  <a:pt x="5727332" y="2088791"/>
                  <a:pt x="5723064" y="2086942"/>
                </a:cubicBezTo>
                <a:cubicBezTo>
                  <a:pt x="5724344" y="2085235"/>
                  <a:pt x="5725625" y="2084381"/>
                  <a:pt x="5727332" y="2084096"/>
                </a:cubicBezTo>
                <a:close/>
                <a:moveTo>
                  <a:pt x="986510" y="2083997"/>
                </a:moveTo>
                <a:cubicBezTo>
                  <a:pt x="987130" y="2085236"/>
                  <a:pt x="988472" y="2086321"/>
                  <a:pt x="989298" y="2087715"/>
                </a:cubicBezTo>
                <a:lnTo>
                  <a:pt x="990021" y="2089419"/>
                </a:lnTo>
                <a:lnTo>
                  <a:pt x="990744" y="2090038"/>
                </a:lnTo>
                <a:cubicBezTo>
                  <a:pt x="991363" y="2090812"/>
                  <a:pt x="991570" y="2091896"/>
                  <a:pt x="991054" y="2093446"/>
                </a:cubicBezTo>
                <a:cubicBezTo>
                  <a:pt x="990640" y="2093446"/>
                  <a:pt x="990021" y="2092981"/>
                  <a:pt x="989401" y="2092361"/>
                </a:cubicBezTo>
                <a:lnTo>
                  <a:pt x="988679" y="2091742"/>
                </a:lnTo>
                <a:lnTo>
                  <a:pt x="985374" y="2090812"/>
                </a:lnTo>
                <a:cubicBezTo>
                  <a:pt x="976288" y="2089883"/>
                  <a:pt x="968957" y="2098867"/>
                  <a:pt x="961625" y="2092826"/>
                </a:cubicBezTo>
                <a:cubicBezTo>
                  <a:pt x="965033" y="2090657"/>
                  <a:pt x="968234" y="2088025"/>
                  <a:pt x="972054" y="2086165"/>
                </a:cubicBezTo>
                <a:cubicBezTo>
                  <a:pt x="975875" y="2084307"/>
                  <a:pt x="980418" y="2083222"/>
                  <a:pt x="986510" y="2083997"/>
                </a:cubicBezTo>
                <a:close/>
                <a:moveTo>
                  <a:pt x="5420862" y="2083954"/>
                </a:moveTo>
                <a:cubicBezTo>
                  <a:pt x="5421502" y="2093202"/>
                  <a:pt x="5414886" y="2101738"/>
                  <a:pt x="5408270" y="2107002"/>
                </a:cubicBezTo>
                <a:lnTo>
                  <a:pt x="5407203" y="2109847"/>
                </a:lnTo>
                <a:lnTo>
                  <a:pt x="5405282" y="2108993"/>
                </a:lnTo>
                <a:lnTo>
                  <a:pt x="5402080" y="2111127"/>
                </a:lnTo>
                <a:lnTo>
                  <a:pt x="5402721" y="2106717"/>
                </a:lnTo>
                <a:lnTo>
                  <a:pt x="5401654" y="2104583"/>
                </a:lnTo>
                <a:cubicBezTo>
                  <a:pt x="5401654" y="2103303"/>
                  <a:pt x="5402080" y="2102023"/>
                  <a:pt x="5402721" y="2100884"/>
                </a:cubicBezTo>
                <a:lnTo>
                  <a:pt x="5404855" y="2099177"/>
                </a:lnTo>
                <a:lnTo>
                  <a:pt x="5407843" y="2093486"/>
                </a:lnTo>
                <a:cubicBezTo>
                  <a:pt x="5411684" y="2088365"/>
                  <a:pt x="5416593" y="2084666"/>
                  <a:pt x="5420862" y="2083954"/>
                </a:cubicBezTo>
                <a:close/>
                <a:moveTo>
                  <a:pt x="810665" y="2083842"/>
                </a:moveTo>
                <a:cubicBezTo>
                  <a:pt x="812420" y="2085701"/>
                  <a:pt x="810561" y="2088025"/>
                  <a:pt x="809736" y="2087869"/>
                </a:cubicBezTo>
                <a:cubicBezTo>
                  <a:pt x="808806" y="2086940"/>
                  <a:pt x="808806" y="2085236"/>
                  <a:pt x="807980" y="2084307"/>
                </a:cubicBezTo>
                <a:cubicBezTo>
                  <a:pt x="808909" y="2084462"/>
                  <a:pt x="809839" y="2083687"/>
                  <a:pt x="810665" y="2083842"/>
                </a:cubicBezTo>
                <a:close/>
                <a:moveTo>
                  <a:pt x="5641111" y="2083243"/>
                </a:moveTo>
                <a:cubicBezTo>
                  <a:pt x="5643672" y="2083528"/>
                  <a:pt x="5648154" y="2087084"/>
                  <a:pt x="5647727" y="2089787"/>
                </a:cubicBezTo>
                <a:lnTo>
                  <a:pt x="5645166" y="2088791"/>
                </a:lnTo>
                <a:lnTo>
                  <a:pt x="5647087" y="2090784"/>
                </a:lnTo>
                <a:cubicBezTo>
                  <a:pt x="5648580" y="2093059"/>
                  <a:pt x="5649648" y="2095762"/>
                  <a:pt x="5649220" y="2098039"/>
                </a:cubicBezTo>
                <a:lnTo>
                  <a:pt x="5646446" y="2098039"/>
                </a:lnTo>
                <a:lnTo>
                  <a:pt x="5652208" y="2099461"/>
                </a:lnTo>
                <a:cubicBezTo>
                  <a:pt x="5654556" y="2100031"/>
                  <a:pt x="5656904" y="2100457"/>
                  <a:pt x="5659465" y="2100315"/>
                </a:cubicBezTo>
                <a:cubicBezTo>
                  <a:pt x="5662666" y="2099035"/>
                  <a:pt x="5663093" y="2095194"/>
                  <a:pt x="5666934" y="2094482"/>
                </a:cubicBezTo>
                <a:cubicBezTo>
                  <a:pt x="5668215" y="2094198"/>
                  <a:pt x="5669922" y="2094198"/>
                  <a:pt x="5672057" y="2094767"/>
                </a:cubicBezTo>
                <a:cubicBezTo>
                  <a:pt x="5670562" y="2108993"/>
                  <a:pt x="5666081" y="2119522"/>
                  <a:pt x="5658825" y="2126635"/>
                </a:cubicBezTo>
                <a:cubicBezTo>
                  <a:pt x="5656477" y="2129053"/>
                  <a:pt x="5653703" y="2131045"/>
                  <a:pt x="5650715" y="2132610"/>
                </a:cubicBezTo>
                <a:cubicBezTo>
                  <a:pt x="5644739" y="2124928"/>
                  <a:pt x="5650928" y="2116676"/>
                  <a:pt x="5653916" y="2109562"/>
                </a:cubicBezTo>
                <a:cubicBezTo>
                  <a:pt x="5645806" y="2108425"/>
                  <a:pt x="5633428" y="2108993"/>
                  <a:pt x="5633214" y="2099604"/>
                </a:cubicBezTo>
                <a:lnTo>
                  <a:pt x="5638336" y="2097185"/>
                </a:lnTo>
                <a:lnTo>
                  <a:pt x="5637909" y="2092775"/>
                </a:lnTo>
                <a:lnTo>
                  <a:pt x="5638977" y="2091637"/>
                </a:lnTo>
                <a:lnTo>
                  <a:pt x="5637909" y="2089930"/>
                </a:lnTo>
                <a:cubicBezTo>
                  <a:pt x="5637269" y="2089076"/>
                  <a:pt x="5636842" y="2088507"/>
                  <a:pt x="5636842" y="2088507"/>
                </a:cubicBezTo>
                <a:cubicBezTo>
                  <a:pt x="5637483" y="2086942"/>
                  <a:pt x="5637909" y="2086089"/>
                  <a:pt x="5638550" y="2085803"/>
                </a:cubicBezTo>
                <a:lnTo>
                  <a:pt x="5640471" y="2085946"/>
                </a:lnTo>
                <a:close/>
                <a:moveTo>
                  <a:pt x="1068754" y="2082951"/>
                </a:moveTo>
                <a:cubicBezTo>
                  <a:pt x="1070612" y="2083571"/>
                  <a:pt x="1072574" y="2084617"/>
                  <a:pt x="1074794" y="2085236"/>
                </a:cubicBezTo>
                <a:cubicBezTo>
                  <a:pt x="1074794" y="2086165"/>
                  <a:pt x="1075620" y="2087095"/>
                  <a:pt x="1076446" y="2087095"/>
                </a:cubicBezTo>
                <a:cubicBezTo>
                  <a:pt x="1077272" y="2088025"/>
                  <a:pt x="1078202" y="2088953"/>
                  <a:pt x="1078202" y="2088179"/>
                </a:cubicBezTo>
                <a:cubicBezTo>
                  <a:pt x="1080783" y="2090967"/>
                  <a:pt x="1081712" y="2090967"/>
                  <a:pt x="1080783" y="2093446"/>
                </a:cubicBezTo>
                <a:lnTo>
                  <a:pt x="1077892" y="2092516"/>
                </a:lnTo>
                <a:lnTo>
                  <a:pt x="1077892" y="2093291"/>
                </a:lnTo>
                <a:cubicBezTo>
                  <a:pt x="1076033" y="2094530"/>
                  <a:pt x="1074691" y="2094375"/>
                  <a:pt x="1073762" y="2093600"/>
                </a:cubicBezTo>
                <a:lnTo>
                  <a:pt x="1072729" y="2090657"/>
                </a:lnTo>
                <a:lnTo>
                  <a:pt x="1070561" y="2089883"/>
                </a:lnTo>
                <a:cubicBezTo>
                  <a:pt x="1067463" y="2088489"/>
                  <a:pt x="1065088" y="2087250"/>
                  <a:pt x="1064159" y="2086630"/>
                </a:cubicBezTo>
                <a:cubicBezTo>
                  <a:pt x="1063333" y="2086165"/>
                  <a:pt x="1062920" y="2085701"/>
                  <a:pt x="1062817" y="2085236"/>
                </a:cubicBezTo>
                <a:cubicBezTo>
                  <a:pt x="1062713" y="2084617"/>
                  <a:pt x="1062920" y="2083997"/>
                  <a:pt x="1063333" y="2083222"/>
                </a:cubicBezTo>
                <a:cubicBezTo>
                  <a:pt x="1065140" y="2082138"/>
                  <a:pt x="1066895" y="2082332"/>
                  <a:pt x="1068754" y="2082951"/>
                </a:cubicBezTo>
                <a:close/>
                <a:moveTo>
                  <a:pt x="5267626" y="2082674"/>
                </a:moveTo>
                <a:cubicBezTo>
                  <a:pt x="5272748" y="2084808"/>
                  <a:pt x="5274669" y="2087795"/>
                  <a:pt x="5275309" y="2091210"/>
                </a:cubicBezTo>
                <a:lnTo>
                  <a:pt x="5274883" y="2099461"/>
                </a:lnTo>
                <a:lnTo>
                  <a:pt x="5275949" y="2102450"/>
                </a:lnTo>
                <a:cubicBezTo>
                  <a:pt x="5275949" y="2102450"/>
                  <a:pt x="5275096" y="2103018"/>
                  <a:pt x="5275096" y="2103018"/>
                </a:cubicBezTo>
                <a:cubicBezTo>
                  <a:pt x="5272961" y="2102876"/>
                  <a:pt x="5272108" y="2102450"/>
                  <a:pt x="5271681" y="2101596"/>
                </a:cubicBezTo>
                <a:lnTo>
                  <a:pt x="5271681" y="2100457"/>
                </a:lnTo>
                <a:lnTo>
                  <a:pt x="5270828" y="2100031"/>
                </a:lnTo>
                <a:cubicBezTo>
                  <a:pt x="5266773" y="2096474"/>
                  <a:pt x="5263571" y="2089360"/>
                  <a:pt x="5267626" y="2082674"/>
                </a:cubicBezTo>
                <a:close/>
                <a:moveTo>
                  <a:pt x="4783590" y="2081820"/>
                </a:moveTo>
                <a:cubicBezTo>
                  <a:pt x="4785938" y="2081820"/>
                  <a:pt x="4788072" y="2082389"/>
                  <a:pt x="4790420" y="2083528"/>
                </a:cubicBezTo>
                <a:lnTo>
                  <a:pt x="4787645" y="2090357"/>
                </a:lnTo>
                <a:lnTo>
                  <a:pt x="4790420" y="2090925"/>
                </a:lnTo>
                <a:cubicBezTo>
                  <a:pt x="4791487" y="2091210"/>
                  <a:pt x="4792340" y="2091779"/>
                  <a:pt x="4793194" y="2092775"/>
                </a:cubicBezTo>
                <a:lnTo>
                  <a:pt x="4792767" y="2094625"/>
                </a:lnTo>
                <a:lnTo>
                  <a:pt x="4800023" y="2091494"/>
                </a:lnTo>
                <a:cubicBezTo>
                  <a:pt x="4801731" y="2091210"/>
                  <a:pt x="4803651" y="2091210"/>
                  <a:pt x="4805573" y="2091637"/>
                </a:cubicBezTo>
                <a:cubicBezTo>
                  <a:pt x="4811121" y="2092490"/>
                  <a:pt x="4816670" y="2095904"/>
                  <a:pt x="4822006" y="2099177"/>
                </a:cubicBezTo>
                <a:lnTo>
                  <a:pt x="4820939" y="2100173"/>
                </a:lnTo>
                <a:lnTo>
                  <a:pt x="4824567" y="2105295"/>
                </a:lnTo>
                <a:cubicBezTo>
                  <a:pt x="4822860" y="2108709"/>
                  <a:pt x="4820725" y="2110986"/>
                  <a:pt x="4818164" y="2112692"/>
                </a:cubicBezTo>
                <a:lnTo>
                  <a:pt x="4809841" y="2116249"/>
                </a:lnTo>
                <a:lnTo>
                  <a:pt x="4810268" y="2116249"/>
                </a:lnTo>
                <a:cubicBezTo>
                  <a:pt x="4811548" y="2116961"/>
                  <a:pt x="4812189" y="2118241"/>
                  <a:pt x="4812402" y="2119806"/>
                </a:cubicBezTo>
                <a:cubicBezTo>
                  <a:pt x="4812402" y="2121228"/>
                  <a:pt x="4811975" y="2123078"/>
                  <a:pt x="4811121" y="2124501"/>
                </a:cubicBezTo>
                <a:cubicBezTo>
                  <a:pt x="4810908" y="2125923"/>
                  <a:pt x="4809841" y="2126777"/>
                  <a:pt x="4808561" y="2127346"/>
                </a:cubicBezTo>
                <a:cubicBezTo>
                  <a:pt x="4807493" y="2128057"/>
                  <a:pt x="4805999" y="2128200"/>
                  <a:pt x="4804719" y="2128057"/>
                </a:cubicBezTo>
                <a:cubicBezTo>
                  <a:pt x="4803438" y="2127346"/>
                  <a:pt x="4803225" y="2127346"/>
                  <a:pt x="4801944" y="2126635"/>
                </a:cubicBezTo>
                <a:cubicBezTo>
                  <a:pt x="4801304" y="2124501"/>
                  <a:pt x="4799597" y="2122509"/>
                  <a:pt x="4800237" y="2119948"/>
                </a:cubicBezTo>
                <a:cubicBezTo>
                  <a:pt x="4801091" y="2118383"/>
                  <a:pt x="4802798" y="2117387"/>
                  <a:pt x="4804932" y="2116818"/>
                </a:cubicBezTo>
                <a:lnTo>
                  <a:pt x="4809627" y="2116391"/>
                </a:lnTo>
                <a:lnTo>
                  <a:pt x="4803865" y="2110843"/>
                </a:lnTo>
                <a:cubicBezTo>
                  <a:pt x="4803225" y="2109136"/>
                  <a:pt x="4803865" y="2107286"/>
                  <a:pt x="4805359" y="2105721"/>
                </a:cubicBezTo>
                <a:lnTo>
                  <a:pt x="4808774" y="2102734"/>
                </a:lnTo>
                <a:lnTo>
                  <a:pt x="4799597" y="2099604"/>
                </a:lnTo>
                <a:lnTo>
                  <a:pt x="4792554" y="2094909"/>
                </a:lnTo>
                <a:lnTo>
                  <a:pt x="4791914" y="2098750"/>
                </a:lnTo>
                <a:cubicBezTo>
                  <a:pt x="4782309" y="2106006"/>
                  <a:pt x="4776548" y="2101596"/>
                  <a:pt x="4775480" y="2102734"/>
                </a:cubicBezTo>
                <a:cubicBezTo>
                  <a:pt x="4772065" y="2098608"/>
                  <a:pt x="4774413" y="2096474"/>
                  <a:pt x="4776761" y="2091921"/>
                </a:cubicBezTo>
                <a:cubicBezTo>
                  <a:pt x="4777401" y="2092632"/>
                  <a:pt x="4778681" y="2092206"/>
                  <a:pt x="4779749" y="2091352"/>
                </a:cubicBezTo>
                <a:lnTo>
                  <a:pt x="4781243" y="2090214"/>
                </a:lnTo>
                <a:lnTo>
                  <a:pt x="4780176" y="2087084"/>
                </a:lnTo>
                <a:cubicBezTo>
                  <a:pt x="4779322" y="2085803"/>
                  <a:pt x="4778255" y="2084239"/>
                  <a:pt x="4776334" y="2082674"/>
                </a:cubicBezTo>
                <a:cubicBezTo>
                  <a:pt x="4778895" y="2082105"/>
                  <a:pt x="4781243" y="2081678"/>
                  <a:pt x="4783590" y="2081820"/>
                </a:cubicBezTo>
                <a:close/>
                <a:moveTo>
                  <a:pt x="5742271" y="2080683"/>
                </a:moveTo>
                <a:cubicBezTo>
                  <a:pt x="5741418" y="2082247"/>
                  <a:pt x="5743126" y="2084096"/>
                  <a:pt x="5742271" y="2085662"/>
                </a:cubicBezTo>
                <a:cubicBezTo>
                  <a:pt x="5742271" y="2085662"/>
                  <a:pt x="5739284" y="2088080"/>
                  <a:pt x="5739284" y="2088080"/>
                </a:cubicBezTo>
                <a:cubicBezTo>
                  <a:pt x="5737790" y="2087368"/>
                  <a:pt x="5737790" y="2087368"/>
                  <a:pt x="5739071" y="2086942"/>
                </a:cubicBezTo>
                <a:cubicBezTo>
                  <a:pt x="5737150" y="2085093"/>
                  <a:pt x="5736936" y="2083954"/>
                  <a:pt x="5736723" y="2082816"/>
                </a:cubicBezTo>
                <a:cubicBezTo>
                  <a:pt x="5737576" y="2081251"/>
                  <a:pt x="5739711" y="2080255"/>
                  <a:pt x="5742271" y="2080683"/>
                </a:cubicBezTo>
                <a:close/>
                <a:moveTo>
                  <a:pt x="861673" y="2080279"/>
                </a:moveTo>
                <a:cubicBezTo>
                  <a:pt x="861260" y="2080899"/>
                  <a:pt x="861054" y="2082758"/>
                  <a:pt x="859815" y="2083068"/>
                </a:cubicBezTo>
                <a:cubicBezTo>
                  <a:pt x="858679" y="2083222"/>
                  <a:pt x="858679" y="2083222"/>
                  <a:pt x="857233" y="2082293"/>
                </a:cubicBezTo>
                <a:cubicBezTo>
                  <a:pt x="858266" y="2081518"/>
                  <a:pt x="858782" y="2081054"/>
                  <a:pt x="859298" y="2080899"/>
                </a:cubicBezTo>
                <a:cubicBezTo>
                  <a:pt x="859918" y="2080589"/>
                  <a:pt x="860434" y="2080434"/>
                  <a:pt x="861673" y="2080279"/>
                </a:cubicBezTo>
                <a:close/>
                <a:moveTo>
                  <a:pt x="4815390" y="2079971"/>
                </a:moveTo>
                <a:cubicBezTo>
                  <a:pt x="4816670" y="2080683"/>
                  <a:pt x="4817310" y="2081678"/>
                  <a:pt x="4817524" y="2082816"/>
                </a:cubicBezTo>
                <a:cubicBezTo>
                  <a:pt x="4817524" y="2083812"/>
                  <a:pt x="4817310" y="2084950"/>
                  <a:pt x="4816884" y="2085662"/>
                </a:cubicBezTo>
                <a:cubicBezTo>
                  <a:pt x="4816670" y="2087653"/>
                  <a:pt x="4815603" y="2088934"/>
                  <a:pt x="4813896" y="2089930"/>
                </a:cubicBezTo>
                <a:cubicBezTo>
                  <a:pt x="4812189" y="2090784"/>
                  <a:pt x="4810054" y="2091210"/>
                  <a:pt x="4808347" y="2091210"/>
                </a:cubicBezTo>
                <a:cubicBezTo>
                  <a:pt x="4809414" y="2090784"/>
                  <a:pt x="4809414" y="2090925"/>
                  <a:pt x="4809414" y="2090925"/>
                </a:cubicBezTo>
                <a:cubicBezTo>
                  <a:pt x="4810268" y="2089360"/>
                  <a:pt x="4809201" y="2089645"/>
                  <a:pt x="4808774" y="2088507"/>
                </a:cubicBezTo>
                <a:cubicBezTo>
                  <a:pt x="4808774" y="2088507"/>
                  <a:pt x="4809201" y="2089787"/>
                  <a:pt x="4807706" y="2088934"/>
                </a:cubicBezTo>
                <a:cubicBezTo>
                  <a:pt x="4808987" y="2088649"/>
                  <a:pt x="4808561" y="2087511"/>
                  <a:pt x="4808347" y="2086373"/>
                </a:cubicBezTo>
                <a:cubicBezTo>
                  <a:pt x="4810054" y="2083243"/>
                  <a:pt x="4812829" y="2079686"/>
                  <a:pt x="4815390" y="2079971"/>
                </a:cubicBezTo>
                <a:close/>
                <a:moveTo>
                  <a:pt x="4688405" y="2079971"/>
                </a:moveTo>
                <a:cubicBezTo>
                  <a:pt x="4690113" y="2079971"/>
                  <a:pt x="4692033" y="2080540"/>
                  <a:pt x="4694167" y="2081678"/>
                </a:cubicBezTo>
                <a:cubicBezTo>
                  <a:pt x="4695661" y="2090072"/>
                  <a:pt x="4700997" y="2104583"/>
                  <a:pt x="4688405" y="2108709"/>
                </a:cubicBezTo>
                <a:cubicBezTo>
                  <a:pt x="4677947" y="2101026"/>
                  <a:pt x="4676667" y="2079117"/>
                  <a:pt x="4688405" y="2079971"/>
                </a:cubicBezTo>
                <a:close/>
                <a:moveTo>
                  <a:pt x="4838439" y="2079259"/>
                </a:moveTo>
                <a:cubicBezTo>
                  <a:pt x="4839719" y="2081678"/>
                  <a:pt x="4841000" y="2086373"/>
                  <a:pt x="4839079" y="2088649"/>
                </a:cubicBezTo>
                <a:cubicBezTo>
                  <a:pt x="4839079" y="2088649"/>
                  <a:pt x="4838866" y="2088649"/>
                  <a:pt x="4838012" y="2089645"/>
                </a:cubicBezTo>
                <a:cubicBezTo>
                  <a:pt x="4837799" y="2086230"/>
                  <a:pt x="4837586" y="2081536"/>
                  <a:pt x="4838439" y="2079259"/>
                </a:cubicBezTo>
                <a:close/>
                <a:moveTo>
                  <a:pt x="4775907" y="2079259"/>
                </a:moveTo>
                <a:cubicBezTo>
                  <a:pt x="4776121" y="2083101"/>
                  <a:pt x="4775053" y="2085519"/>
                  <a:pt x="4772919" y="2086800"/>
                </a:cubicBezTo>
                <a:lnTo>
                  <a:pt x="4768864" y="2087084"/>
                </a:lnTo>
                <a:lnTo>
                  <a:pt x="4769078" y="2090357"/>
                </a:lnTo>
                <a:cubicBezTo>
                  <a:pt x="4768437" y="2093344"/>
                  <a:pt x="4766303" y="2096189"/>
                  <a:pt x="4762462" y="2098750"/>
                </a:cubicBezTo>
                <a:cubicBezTo>
                  <a:pt x="4756699" y="2098608"/>
                  <a:pt x="4749656" y="2089645"/>
                  <a:pt x="4751577" y="2085235"/>
                </a:cubicBezTo>
                <a:cubicBezTo>
                  <a:pt x="4756486" y="2079686"/>
                  <a:pt x="4761608" y="2078832"/>
                  <a:pt x="4765022" y="2080398"/>
                </a:cubicBezTo>
                <a:lnTo>
                  <a:pt x="4766090" y="2081536"/>
                </a:lnTo>
                <a:lnTo>
                  <a:pt x="4767157" y="2080683"/>
                </a:lnTo>
                <a:cubicBezTo>
                  <a:pt x="4769505" y="2079971"/>
                  <a:pt x="4772919" y="2079971"/>
                  <a:pt x="4775907" y="2079259"/>
                </a:cubicBezTo>
                <a:close/>
                <a:moveTo>
                  <a:pt x="4710600" y="2078975"/>
                </a:moveTo>
                <a:cubicBezTo>
                  <a:pt x="4711454" y="2078406"/>
                  <a:pt x="4712948" y="2078406"/>
                  <a:pt x="4714229" y="2079259"/>
                </a:cubicBezTo>
                <a:cubicBezTo>
                  <a:pt x="4714229" y="2080824"/>
                  <a:pt x="4714869" y="2083528"/>
                  <a:pt x="4713802" y="2085946"/>
                </a:cubicBezTo>
                <a:cubicBezTo>
                  <a:pt x="4707612" y="2087368"/>
                  <a:pt x="4707826" y="2080967"/>
                  <a:pt x="4710600" y="2078975"/>
                </a:cubicBezTo>
                <a:close/>
                <a:moveTo>
                  <a:pt x="863016" y="2078266"/>
                </a:moveTo>
                <a:cubicBezTo>
                  <a:pt x="863739" y="2078730"/>
                  <a:pt x="863222" y="2079505"/>
                  <a:pt x="862087" y="2079815"/>
                </a:cubicBezTo>
                <a:cubicBezTo>
                  <a:pt x="862087" y="2079815"/>
                  <a:pt x="861363" y="2079350"/>
                  <a:pt x="861363" y="2079350"/>
                </a:cubicBezTo>
                <a:cubicBezTo>
                  <a:pt x="861570" y="2079040"/>
                  <a:pt x="861880" y="2078575"/>
                  <a:pt x="862087" y="2078421"/>
                </a:cubicBezTo>
                <a:cubicBezTo>
                  <a:pt x="862396" y="2078111"/>
                  <a:pt x="862706" y="2078111"/>
                  <a:pt x="863016" y="2078266"/>
                </a:cubicBezTo>
                <a:close/>
                <a:moveTo>
                  <a:pt x="4797890" y="2078264"/>
                </a:moveTo>
                <a:cubicBezTo>
                  <a:pt x="4800237" y="2079686"/>
                  <a:pt x="4801518" y="2080967"/>
                  <a:pt x="4802798" y="2082247"/>
                </a:cubicBezTo>
                <a:cubicBezTo>
                  <a:pt x="4804932" y="2083528"/>
                  <a:pt x="4805146" y="2084808"/>
                  <a:pt x="4802798" y="2087226"/>
                </a:cubicBezTo>
                <a:cubicBezTo>
                  <a:pt x="4800450" y="2085803"/>
                  <a:pt x="4797035" y="2080824"/>
                  <a:pt x="4797890" y="2078264"/>
                </a:cubicBezTo>
                <a:close/>
                <a:moveTo>
                  <a:pt x="5781327" y="2077837"/>
                </a:moveTo>
                <a:cubicBezTo>
                  <a:pt x="5783462" y="2079828"/>
                  <a:pt x="5784955" y="2082531"/>
                  <a:pt x="5785810" y="2085377"/>
                </a:cubicBezTo>
                <a:cubicBezTo>
                  <a:pt x="5788584" y="2094055"/>
                  <a:pt x="5786663" y="2104868"/>
                  <a:pt x="5782181" y="2109847"/>
                </a:cubicBezTo>
                <a:cubicBezTo>
                  <a:pt x="5773858" y="2101453"/>
                  <a:pt x="5777272" y="2085377"/>
                  <a:pt x="5781327" y="2077837"/>
                </a:cubicBezTo>
                <a:close/>
                <a:moveTo>
                  <a:pt x="5532907" y="2077409"/>
                </a:moveTo>
                <a:cubicBezTo>
                  <a:pt x="5539096" y="2080113"/>
                  <a:pt x="5544218" y="2083243"/>
                  <a:pt x="5548486" y="2086942"/>
                </a:cubicBezTo>
                <a:lnTo>
                  <a:pt x="5551688" y="2091067"/>
                </a:lnTo>
                <a:lnTo>
                  <a:pt x="5551901" y="2090925"/>
                </a:lnTo>
                <a:cubicBezTo>
                  <a:pt x="5553182" y="2089360"/>
                  <a:pt x="5554676" y="2087938"/>
                  <a:pt x="5557024" y="2086657"/>
                </a:cubicBezTo>
                <a:cubicBezTo>
                  <a:pt x="5557450" y="2088222"/>
                  <a:pt x="5558944" y="2087653"/>
                  <a:pt x="5560652" y="2087084"/>
                </a:cubicBezTo>
                <a:cubicBezTo>
                  <a:pt x="5562572" y="2088507"/>
                  <a:pt x="5563853" y="2090784"/>
                  <a:pt x="5564280" y="2093486"/>
                </a:cubicBezTo>
                <a:lnTo>
                  <a:pt x="5564066" y="2095904"/>
                </a:lnTo>
                <a:lnTo>
                  <a:pt x="5564280" y="2095904"/>
                </a:lnTo>
                <a:lnTo>
                  <a:pt x="5563853" y="2096332"/>
                </a:lnTo>
                <a:lnTo>
                  <a:pt x="5563853" y="2097327"/>
                </a:lnTo>
                <a:lnTo>
                  <a:pt x="5564920" y="2096901"/>
                </a:lnTo>
                <a:cubicBezTo>
                  <a:pt x="5567695" y="2096474"/>
                  <a:pt x="5570683" y="2096616"/>
                  <a:pt x="5572390" y="2097754"/>
                </a:cubicBezTo>
                <a:cubicBezTo>
                  <a:pt x="5571323" y="2100031"/>
                  <a:pt x="5570255" y="2102307"/>
                  <a:pt x="5569188" y="2104583"/>
                </a:cubicBezTo>
                <a:lnTo>
                  <a:pt x="5568335" y="2104441"/>
                </a:lnTo>
                <a:lnTo>
                  <a:pt x="5568121" y="2104583"/>
                </a:lnTo>
                <a:cubicBezTo>
                  <a:pt x="5567481" y="2105295"/>
                  <a:pt x="5567268" y="2106290"/>
                  <a:pt x="5567481" y="2107571"/>
                </a:cubicBezTo>
                <a:cubicBezTo>
                  <a:pt x="5565774" y="2107144"/>
                  <a:pt x="5564280" y="2106717"/>
                  <a:pt x="5562999" y="2106006"/>
                </a:cubicBezTo>
                <a:lnTo>
                  <a:pt x="5562572" y="2104725"/>
                </a:lnTo>
                <a:lnTo>
                  <a:pt x="5561932" y="2104868"/>
                </a:lnTo>
                <a:lnTo>
                  <a:pt x="5560865" y="2106860"/>
                </a:lnTo>
                <a:lnTo>
                  <a:pt x="5561719" y="2109136"/>
                </a:lnTo>
                <a:lnTo>
                  <a:pt x="5557450" y="2109989"/>
                </a:lnTo>
                <a:lnTo>
                  <a:pt x="5553822" y="2111270"/>
                </a:lnTo>
                <a:cubicBezTo>
                  <a:pt x="5552755" y="2110986"/>
                  <a:pt x="5551474" y="2110416"/>
                  <a:pt x="5550194" y="2109136"/>
                </a:cubicBezTo>
                <a:lnTo>
                  <a:pt x="5550194" y="2107713"/>
                </a:lnTo>
                <a:lnTo>
                  <a:pt x="5541444" y="2099888"/>
                </a:lnTo>
                <a:cubicBezTo>
                  <a:pt x="5538242" y="2107998"/>
                  <a:pt x="5535682" y="2120802"/>
                  <a:pt x="5527144" y="2118526"/>
                </a:cubicBezTo>
                <a:cubicBezTo>
                  <a:pt x="5522876" y="2110559"/>
                  <a:pt x="5532267" y="2102023"/>
                  <a:pt x="5534614" y="2091921"/>
                </a:cubicBezTo>
                <a:cubicBezTo>
                  <a:pt x="5533974" y="2087084"/>
                  <a:pt x="5528425" y="2085946"/>
                  <a:pt x="5532907" y="2077409"/>
                </a:cubicBezTo>
                <a:close/>
                <a:moveTo>
                  <a:pt x="4730235" y="2077126"/>
                </a:moveTo>
                <a:cubicBezTo>
                  <a:pt x="4728314" y="2081109"/>
                  <a:pt x="4722339" y="2087653"/>
                  <a:pt x="4720845" y="2087226"/>
                </a:cubicBezTo>
                <a:cubicBezTo>
                  <a:pt x="4722339" y="2084950"/>
                  <a:pt x="4727674" y="2077409"/>
                  <a:pt x="4730235" y="2077126"/>
                </a:cubicBezTo>
                <a:close/>
                <a:moveTo>
                  <a:pt x="917845" y="2076717"/>
                </a:moveTo>
                <a:cubicBezTo>
                  <a:pt x="920220" y="2077027"/>
                  <a:pt x="921149" y="2078421"/>
                  <a:pt x="920839" y="2079660"/>
                </a:cubicBezTo>
                <a:cubicBezTo>
                  <a:pt x="919600" y="2089108"/>
                  <a:pt x="911236" y="2090657"/>
                  <a:pt x="910204" y="2092361"/>
                </a:cubicBezTo>
                <a:cubicBezTo>
                  <a:pt x="907519" y="2091896"/>
                  <a:pt x="906899" y="2091896"/>
                  <a:pt x="907106" y="2089108"/>
                </a:cubicBezTo>
                <a:cubicBezTo>
                  <a:pt x="907209" y="2088179"/>
                  <a:pt x="907416" y="2086940"/>
                  <a:pt x="907622" y="2085391"/>
                </a:cubicBezTo>
                <a:cubicBezTo>
                  <a:pt x="907932" y="2084152"/>
                  <a:pt x="908552" y="2083068"/>
                  <a:pt x="909378" y="2082138"/>
                </a:cubicBezTo>
                <a:cubicBezTo>
                  <a:pt x="910307" y="2081209"/>
                  <a:pt x="911339" y="2080589"/>
                  <a:pt x="912682" y="2080125"/>
                </a:cubicBezTo>
                <a:cubicBezTo>
                  <a:pt x="913715" y="2078421"/>
                  <a:pt x="915986" y="2077027"/>
                  <a:pt x="917845" y="2076717"/>
                </a:cubicBezTo>
                <a:close/>
                <a:moveTo>
                  <a:pt x="5932216" y="2074991"/>
                </a:moveTo>
                <a:cubicBezTo>
                  <a:pt x="5937551" y="2074137"/>
                  <a:pt x="5942459" y="2079544"/>
                  <a:pt x="5942887" y="2084666"/>
                </a:cubicBezTo>
                <a:cubicBezTo>
                  <a:pt x="5942887" y="2087084"/>
                  <a:pt x="5942246" y="2089219"/>
                  <a:pt x="5940325" y="2090925"/>
                </a:cubicBezTo>
                <a:cubicBezTo>
                  <a:pt x="5933709" y="2088222"/>
                  <a:pt x="5925600" y="2086373"/>
                  <a:pt x="5926666" y="2078121"/>
                </a:cubicBezTo>
                <a:cubicBezTo>
                  <a:pt x="5928587" y="2076129"/>
                  <a:pt x="5930508" y="2075276"/>
                  <a:pt x="5932216" y="2074991"/>
                </a:cubicBezTo>
                <a:close/>
                <a:moveTo>
                  <a:pt x="865184" y="2074858"/>
                </a:moveTo>
                <a:cubicBezTo>
                  <a:pt x="865184" y="2074858"/>
                  <a:pt x="865494" y="2075942"/>
                  <a:pt x="865494" y="2075942"/>
                </a:cubicBezTo>
                <a:cubicBezTo>
                  <a:pt x="864358" y="2076252"/>
                  <a:pt x="864978" y="2076717"/>
                  <a:pt x="863635" y="2075787"/>
                </a:cubicBezTo>
                <a:cubicBezTo>
                  <a:pt x="864771" y="2075632"/>
                  <a:pt x="864771" y="2075632"/>
                  <a:pt x="865184" y="2074858"/>
                </a:cubicBezTo>
                <a:close/>
                <a:moveTo>
                  <a:pt x="4947283" y="2074707"/>
                </a:moveTo>
                <a:cubicBezTo>
                  <a:pt x="4950698" y="2076983"/>
                  <a:pt x="4952192" y="2077553"/>
                  <a:pt x="4954112" y="2079259"/>
                </a:cubicBezTo>
                <a:cubicBezTo>
                  <a:pt x="4954967" y="2078690"/>
                  <a:pt x="4956247" y="2078264"/>
                  <a:pt x="4957741" y="2078832"/>
                </a:cubicBezTo>
                <a:lnTo>
                  <a:pt x="4959448" y="2080398"/>
                </a:lnTo>
                <a:lnTo>
                  <a:pt x="4960515" y="2079401"/>
                </a:lnTo>
                <a:cubicBezTo>
                  <a:pt x="4961369" y="2078548"/>
                  <a:pt x="4962223" y="2077694"/>
                  <a:pt x="4962863" y="2076556"/>
                </a:cubicBezTo>
                <a:cubicBezTo>
                  <a:pt x="4966918" y="2082389"/>
                  <a:pt x="4971826" y="2084239"/>
                  <a:pt x="4972253" y="2088222"/>
                </a:cubicBezTo>
                <a:cubicBezTo>
                  <a:pt x="4972466" y="2089645"/>
                  <a:pt x="4972253" y="2091210"/>
                  <a:pt x="4971400" y="2093202"/>
                </a:cubicBezTo>
                <a:cubicBezTo>
                  <a:pt x="4969052" y="2093629"/>
                  <a:pt x="4966704" y="2092206"/>
                  <a:pt x="4964357" y="2090072"/>
                </a:cubicBezTo>
                <a:lnTo>
                  <a:pt x="4960942" y="2086089"/>
                </a:lnTo>
                <a:lnTo>
                  <a:pt x="4960515" y="2086657"/>
                </a:lnTo>
                <a:cubicBezTo>
                  <a:pt x="4959662" y="2087226"/>
                  <a:pt x="4958595" y="2087368"/>
                  <a:pt x="4957100" y="2086800"/>
                </a:cubicBezTo>
                <a:cubicBezTo>
                  <a:pt x="4953045" y="2086230"/>
                  <a:pt x="4951765" y="2082958"/>
                  <a:pt x="4951552" y="2079259"/>
                </a:cubicBezTo>
                <a:cubicBezTo>
                  <a:pt x="4949631" y="2077553"/>
                  <a:pt x="4947070" y="2077409"/>
                  <a:pt x="4947283" y="2074707"/>
                </a:cubicBezTo>
                <a:close/>
                <a:moveTo>
                  <a:pt x="667139" y="2074703"/>
                </a:moveTo>
                <a:cubicBezTo>
                  <a:pt x="668688" y="2074084"/>
                  <a:pt x="670650" y="2074239"/>
                  <a:pt x="673437" y="2075942"/>
                </a:cubicBezTo>
                <a:cubicBezTo>
                  <a:pt x="673850" y="2080589"/>
                  <a:pt x="670959" y="2080589"/>
                  <a:pt x="668274" y="2080744"/>
                </a:cubicBezTo>
                <a:cubicBezTo>
                  <a:pt x="668584" y="2078575"/>
                  <a:pt x="666416" y="2077801"/>
                  <a:pt x="666313" y="2076407"/>
                </a:cubicBezTo>
                <a:cubicBezTo>
                  <a:pt x="666313" y="2075942"/>
                  <a:pt x="666519" y="2075478"/>
                  <a:pt x="667139" y="2074703"/>
                </a:cubicBezTo>
                <a:close/>
                <a:moveTo>
                  <a:pt x="4795755" y="2074280"/>
                </a:moveTo>
                <a:cubicBezTo>
                  <a:pt x="4796182" y="2074422"/>
                  <a:pt x="4796395" y="2074707"/>
                  <a:pt x="4796395" y="2074707"/>
                </a:cubicBezTo>
                <a:cubicBezTo>
                  <a:pt x="4797676" y="2075987"/>
                  <a:pt x="4798956" y="2077126"/>
                  <a:pt x="4797890" y="2078264"/>
                </a:cubicBezTo>
                <a:cubicBezTo>
                  <a:pt x="4797890" y="2078264"/>
                  <a:pt x="4796609" y="2078264"/>
                  <a:pt x="4794261" y="2075703"/>
                </a:cubicBezTo>
                <a:cubicBezTo>
                  <a:pt x="4795328" y="2075845"/>
                  <a:pt x="4795328" y="2074564"/>
                  <a:pt x="4795328" y="2074564"/>
                </a:cubicBezTo>
                <a:cubicBezTo>
                  <a:pt x="4795328" y="2074564"/>
                  <a:pt x="4795328" y="2074707"/>
                  <a:pt x="4794261" y="2074564"/>
                </a:cubicBezTo>
                <a:cubicBezTo>
                  <a:pt x="4794688" y="2073995"/>
                  <a:pt x="4795328" y="2074137"/>
                  <a:pt x="4795755" y="2074280"/>
                </a:cubicBezTo>
                <a:close/>
                <a:moveTo>
                  <a:pt x="5552768" y="2072005"/>
                </a:moveTo>
                <a:lnTo>
                  <a:pt x="5559264" y="2072502"/>
                </a:lnTo>
                <a:cubicBezTo>
                  <a:pt x="5561345" y="2073106"/>
                  <a:pt x="5563533" y="2073782"/>
                  <a:pt x="5566414" y="2073426"/>
                </a:cubicBezTo>
                <a:cubicBezTo>
                  <a:pt x="5567908" y="2077267"/>
                  <a:pt x="5574737" y="2077126"/>
                  <a:pt x="5576445" y="2082674"/>
                </a:cubicBezTo>
                <a:cubicBezTo>
                  <a:pt x="5572496" y="2084594"/>
                  <a:pt x="5566787" y="2083171"/>
                  <a:pt x="5561959" y="2080646"/>
                </a:cubicBezTo>
                <a:lnTo>
                  <a:pt x="5552768" y="2072016"/>
                </a:lnTo>
                <a:close/>
                <a:moveTo>
                  <a:pt x="1066456" y="2071237"/>
                </a:moveTo>
                <a:cubicBezTo>
                  <a:pt x="1071154" y="2069321"/>
                  <a:pt x="1075672" y="2068817"/>
                  <a:pt x="1077789" y="2072999"/>
                </a:cubicBezTo>
                <a:cubicBezTo>
                  <a:pt x="1072420" y="2075013"/>
                  <a:pt x="1056621" y="2084307"/>
                  <a:pt x="1054040" y="2077956"/>
                </a:cubicBezTo>
                <a:cubicBezTo>
                  <a:pt x="1056879" y="2076484"/>
                  <a:pt x="1061758" y="2073154"/>
                  <a:pt x="1066456" y="2071237"/>
                </a:cubicBezTo>
                <a:close/>
                <a:moveTo>
                  <a:pt x="4597702" y="2070723"/>
                </a:moveTo>
                <a:cubicBezTo>
                  <a:pt x="4598555" y="2070723"/>
                  <a:pt x="4599195" y="2070865"/>
                  <a:pt x="4600903" y="2071150"/>
                </a:cubicBezTo>
                <a:cubicBezTo>
                  <a:pt x="4599836" y="2071862"/>
                  <a:pt x="4598128" y="2074137"/>
                  <a:pt x="4596634" y="2073853"/>
                </a:cubicBezTo>
                <a:cubicBezTo>
                  <a:pt x="4595141" y="2073426"/>
                  <a:pt x="4594927" y="2073426"/>
                  <a:pt x="4594074" y="2071435"/>
                </a:cubicBezTo>
                <a:cubicBezTo>
                  <a:pt x="4595781" y="2070865"/>
                  <a:pt x="4596848" y="2070723"/>
                  <a:pt x="4597702" y="2070723"/>
                </a:cubicBezTo>
                <a:close/>
                <a:moveTo>
                  <a:pt x="775145" y="2070366"/>
                </a:moveTo>
                <a:cubicBezTo>
                  <a:pt x="777520" y="2068817"/>
                  <a:pt x="781856" y="2071140"/>
                  <a:pt x="782579" y="2073619"/>
                </a:cubicBezTo>
                <a:cubicBezTo>
                  <a:pt x="781030" y="2077336"/>
                  <a:pt x="775351" y="2076717"/>
                  <a:pt x="773493" y="2073464"/>
                </a:cubicBezTo>
                <a:cubicBezTo>
                  <a:pt x="773699" y="2071915"/>
                  <a:pt x="774319" y="2070985"/>
                  <a:pt x="775145" y="2070366"/>
                </a:cubicBezTo>
                <a:close/>
                <a:moveTo>
                  <a:pt x="4902038" y="2070296"/>
                </a:moveTo>
                <a:cubicBezTo>
                  <a:pt x="4903959" y="2069870"/>
                  <a:pt x="4905666" y="2070296"/>
                  <a:pt x="4906093" y="2072004"/>
                </a:cubicBezTo>
                <a:cubicBezTo>
                  <a:pt x="4906307" y="2073142"/>
                  <a:pt x="4905880" y="2074991"/>
                  <a:pt x="4904172" y="2077553"/>
                </a:cubicBezTo>
                <a:cubicBezTo>
                  <a:pt x="4900117" y="2076272"/>
                  <a:pt x="4898624" y="2074707"/>
                  <a:pt x="4898624" y="2073426"/>
                </a:cubicBezTo>
                <a:cubicBezTo>
                  <a:pt x="4898624" y="2072004"/>
                  <a:pt x="4900331" y="2070723"/>
                  <a:pt x="4902038" y="2070296"/>
                </a:cubicBezTo>
                <a:close/>
                <a:moveTo>
                  <a:pt x="4657459" y="2070296"/>
                </a:moveTo>
                <a:cubicBezTo>
                  <a:pt x="4663648" y="2074991"/>
                  <a:pt x="4668771" y="2072288"/>
                  <a:pt x="4669624" y="2078548"/>
                </a:cubicBezTo>
                <a:cubicBezTo>
                  <a:pt x="4665569" y="2080824"/>
                  <a:pt x="4657886" y="2075276"/>
                  <a:pt x="4657459" y="2070296"/>
                </a:cubicBezTo>
                <a:close/>
                <a:moveTo>
                  <a:pt x="4875361" y="2069300"/>
                </a:moveTo>
                <a:cubicBezTo>
                  <a:pt x="4874080" y="2071577"/>
                  <a:pt x="4872159" y="2076272"/>
                  <a:pt x="4870025" y="2077837"/>
                </a:cubicBezTo>
                <a:cubicBezTo>
                  <a:pt x="4869385" y="2078264"/>
                  <a:pt x="4868531" y="2078548"/>
                  <a:pt x="4867891" y="2078121"/>
                </a:cubicBezTo>
                <a:cubicBezTo>
                  <a:pt x="4869599" y="2075134"/>
                  <a:pt x="4870665" y="2069727"/>
                  <a:pt x="4875361" y="2069300"/>
                </a:cubicBezTo>
                <a:close/>
                <a:moveTo>
                  <a:pt x="4602610" y="2069017"/>
                </a:moveTo>
                <a:cubicBezTo>
                  <a:pt x="4603250" y="2068873"/>
                  <a:pt x="4603677" y="2069017"/>
                  <a:pt x="4603890" y="2069443"/>
                </a:cubicBezTo>
                <a:cubicBezTo>
                  <a:pt x="4604318" y="2070296"/>
                  <a:pt x="4603250" y="2071150"/>
                  <a:pt x="4601543" y="2070865"/>
                </a:cubicBezTo>
                <a:cubicBezTo>
                  <a:pt x="4601543" y="2070865"/>
                  <a:pt x="4601116" y="2069870"/>
                  <a:pt x="4601116" y="2069870"/>
                </a:cubicBezTo>
                <a:cubicBezTo>
                  <a:pt x="4601543" y="2069585"/>
                  <a:pt x="4602183" y="2069158"/>
                  <a:pt x="4602610" y="2069017"/>
                </a:cubicBezTo>
                <a:close/>
                <a:moveTo>
                  <a:pt x="6057066" y="2068162"/>
                </a:moveTo>
                <a:cubicBezTo>
                  <a:pt x="6058560" y="2067878"/>
                  <a:pt x="6060267" y="2068020"/>
                  <a:pt x="6061548" y="2068305"/>
                </a:cubicBezTo>
                <a:cubicBezTo>
                  <a:pt x="6061121" y="2069585"/>
                  <a:pt x="6068591" y="2071150"/>
                  <a:pt x="6070938" y="2077553"/>
                </a:cubicBezTo>
                <a:cubicBezTo>
                  <a:pt x="6071578" y="2079686"/>
                  <a:pt x="6071792" y="2082389"/>
                  <a:pt x="6070725" y="2085662"/>
                </a:cubicBezTo>
                <a:cubicBezTo>
                  <a:pt x="6068591" y="2093202"/>
                  <a:pt x="6063895" y="2100742"/>
                  <a:pt x="6052371" y="2097470"/>
                </a:cubicBezTo>
                <a:cubicBezTo>
                  <a:pt x="6049809" y="2097470"/>
                  <a:pt x="6050877" y="2096901"/>
                  <a:pt x="6049596" y="2096332"/>
                </a:cubicBezTo>
                <a:cubicBezTo>
                  <a:pt x="6048102" y="2095762"/>
                  <a:pt x="6045328" y="2095762"/>
                  <a:pt x="6044261" y="2096332"/>
                </a:cubicBezTo>
                <a:cubicBezTo>
                  <a:pt x="6045755" y="2090357"/>
                  <a:pt x="6041913" y="2089787"/>
                  <a:pt x="6044688" y="2080683"/>
                </a:cubicBezTo>
                <a:cubicBezTo>
                  <a:pt x="6047035" y="2071719"/>
                  <a:pt x="6052157" y="2068589"/>
                  <a:pt x="6057066" y="2068162"/>
                </a:cubicBezTo>
                <a:close/>
                <a:moveTo>
                  <a:pt x="5746967" y="2067878"/>
                </a:moveTo>
                <a:cubicBezTo>
                  <a:pt x="5748034" y="2068020"/>
                  <a:pt x="5749314" y="2068305"/>
                  <a:pt x="5749955" y="2068447"/>
                </a:cubicBezTo>
                <a:cubicBezTo>
                  <a:pt x="5751022" y="2067878"/>
                  <a:pt x="5752516" y="2068162"/>
                  <a:pt x="5752942" y="2069158"/>
                </a:cubicBezTo>
                <a:cubicBezTo>
                  <a:pt x="5752942" y="2069158"/>
                  <a:pt x="5754650" y="2069585"/>
                  <a:pt x="5755504" y="2068873"/>
                </a:cubicBezTo>
                <a:cubicBezTo>
                  <a:pt x="5758705" y="2069585"/>
                  <a:pt x="5759132" y="2070723"/>
                  <a:pt x="5759772" y="2071719"/>
                </a:cubicBezTo>
                <a:cubicBezTo>
                  <a:pt x="5759772" y="2071719"/>
                  <a:pt x="5758065" y="2071292"/>
                  <a:pt x="5757211" y="2071862"/>
                </a:cubicBezTo>
                <a:cubicBezTo>
                  <a:pt x="5757211" y="2071862"/>
                  <a:pt x="5755717" y="2071577"/>
                  <a:pt x="5754010" y="2071150"/>
                </a:cubicBezTo>
                <a:cubicBezTo>
                  <a:pt x="5754010" y="2071150"/>
                  <a:pt x="5753156" y="2071862"/>
                  <a:pt x="5752089" y="2072431"/>
                </a:cubicBezTo>
                <a:cubicBezTo>
                  <a:pt x="5748034" y="2072431"/>
                  <a:pt x="5745259" y="2072572"/>
                  <a:pt x="5744406" y="2068020"/>
                </a:cubicBezTo>
                <a:cubicBezTo>
                  <a:pt x="5744833" y="2067736"/>
                  <a:pt x="5745900" y="2067736"/>
                  <a:pt x="5746967" y="2067878"/>
                </a:cubicBezTo>
                <a:close/>
                <a:moveTo>
                  <a:pt x="5039054" y="2067878"/>
                </a:moveTo>
                <a:cubicBezTo>
                  <a:pt x="5039694" y="2067878"/>
                  <a:pt x="5040121" y="2068589"/>
                  <a:pt x="5040761" y="2069727"/>
                </a:cubicBezTo>
                <a:cubicBezTo>
                  <a:pt x="5042468" y="2073142"/>
                  <a:pt x="5043749" y="2079971"/>
                  <a:pt x="5043962" y="2080683"/>
                </a:cubicBezTo>
                <a:cubicBezTo>
                  <a:pt x="5043962" y="2080683"/>
                  <a:pt x="5044389" y="2081820"/>
                  <a:pt x="5044816" y="2082816"/>
                </a:cubicBezTo>
                <a:cubicBezTo>
                  <a:pt x="5044175" y="2084523"/>
                  <a:pt x="5043109" y="2084950"/>
                  <a:pt x="5043535" y="2086089"/>
                </a:cubicBezTo>
                <a:cubicBezTo>
                  <a:pt x="5039267" y="2084381"/>
                  <a:pt x="5038840" y="2080683"/>
                  <a:pt x="5038627" y="2076983"/>
                </a:cubicBezTo>
                <a:cubicBezTo>
                  <a:pt x="5039054" y="2074280"/>
                  <a:pt x="5038627" y="2073142"/>
                  <a:pt x="5036706" y="2071577"/>
                </a:cubicBezTo>
                <a:cubicBezTo>
                  <a:pt x="5036706" y="2071577"/>
                  <a:pt x="5036706" y="2071577"/>
                  <a:pt x="5037987" y="2068305"/>
                </a:cubicBezTo>
                <a:close/>
                <a:moveTo>
                  <a:pt x="1014493" y="2067423"/>
                </a:moveTo>
                <a:cubicBezTo>
                  <a:pt x="1014389" y="2076097"/>
                  <a:pt x="1004580" y="2081518"/>
                  <a:pt x="998694" y="2082603"/>
                </a:cubicBezTo>
                <a:cubicBezTo>
                  <a:pt x="998798" y="2076097"/>
                  <a:pt x="1004064" y="2070521"/>
                  <a:pt x="1009330" y="2068507"/>
                </a:cubicBezTo>
                <a:cubicBezTo>
                  <a:pt x="1011085" y="2067733"/>
                  <a:pt x="1012840" y="2067268"/>
                  <a:pt x="1014493" y="2067423"/>
                </a:cubicBezTo>
                <a:close/>
                <a:moveTo>
                  <a:pt x="5604829" y="2067167"/>
                </a:moveTo>
                <a:cubicBezTo>
                  <a:pt x="5605256" y="2073284"/>
                  <a:pt x="5608458" y="2080824"/>
                  <a:pt x="5606323" y="2086515"/>
                </a:cubicBezTo>
                <a:cubicBezTo>
                  <a:pt x="5605896" y="2084239"/>
                  <a:pt x="5603549" y="2071435"/>
                  <a:pt x="5604829" y="2067167"/>
                </a:cubicBezTo>
                <a:close/>
                <a:moveTo>
                  <a:pt x="5228357" y="2066740"/>
                </a:moveTo>
                <a:cubicBezTo>
                  <a:pt x="5231132" y="2066455"/>
                  <a:pt x="5233906" y="2067024"/>
                  <a:pt x="5235400" y="2068873"/>
                </a:cubicBezTo>
                <a:cubicBezTo>
                  <a:pt x="5236253" y="2070012"/>
                  <a:pt x="5236680" y="2071719"/>
                  <a:pt x="5236040" y="2073995"/>
                </a:cubicBezTo>
                <a:cubicBezTo>
                  <a:pt x="5233265" y="2080398"/>
                  <a:pt x="5227717" y="2079259"/>
                  <a:pt x="5221741" y="2077126"/>
                </a:cubicBezTo>
                <a:cubicBezTo>
                  <a:pt x="5221954" y="2074564"/>
                  <a:pt x="5221101" y="2072431"/>
                  <a:pt x="5221314" y="2069727"/>
                </a:cubicBezTo>
                <a:cubicBezTo>
                  <a:pt x="5222808" y="2068162"/>
                  <a:pt x="5225582" y="2067024"/>
                  <a:pt x="5228357" y="2066740"/>
                </a:cubicBezTo>
                <a:close/>
                <a:moveTo>
                  <a:pt x="994668" y="2066494"/>
                </a:moveTo>
                <a:cubicBezTo>
                  <a:pt x="1001173" y="2074239"/>
                  <a:pt x="997765" y="2081209"/>
                  <a:pt x="994461" y="2088179"/>
                </a:cubicBezTo>
                <a:cubicBezTo>
                  <a:pt x="990640" y="2085856"/>
                  <a:pt x="989711" y="2081983"/>
                  <a:pt x="990227" y="2077801"/>
                </a:cubicBezTo>
                <a:cubicBezTo>
                  <a:pt x="990640" y="2073774"/>
                  <a:pt x="992602" y="2069592"/>
                  <a:pt x="994668" y="2066494"/>
                </a:cubicBezTo>
                <a:close/>
                <a:moveTo>
                  <a:pt x="4609013" y="2066170"/>
                </a:moveTo>
                <a:cubicBezTo>
                  <a:pt x="4609013" y="2066170"/>
                  <a:pt x="4608373" y="2067878"/>
                  <a:pt x="4608373" y="2067878"/>
                </a:cubicBezTo>
                <a:cubicBezTo>
                  <a:pt x="4606878" y="2067593"/>
                  <a:pt x="4607305" y="2068589"/>
                  <a:pt x="4606238" y="2066740"/>
                </a:cubicBezTo>
                <a:cubicBezTo>
                  <a:pt x="4607946" y="2066882"/>
                  <a:pt x="4607946" y="2066882"/>
                  <a:pt x="4609013" y="2066170"/>
                </a:cubicBezTo>
                <a:close/>
                <a:moveTo>
                  <a:pt x="874580" y="2065409"/>
                </a:moveTo>
                <a:cubicBezTo>
                  <a:pt x="873651" y="2066804"/>
                  <a:pt x="868179" y="2073774"/>
                  <a:pt x="865391" y="2074858"/>
                </a:cubicBezTo>
                <a:cubicBezTo>
                  <a:pt x="868282" y="2071915"/>
                  <a:pt x="870657" y="2066804"/>
                  <a:pt x="874580" y="2065409"/>
                </a:cubicBezTo>
                <a:close/>
                <a:moveTo>
                  <a:pt x="803127" y="2064635"/>
                </a:moveTo>
                <a:cubicBezTo>
                  <a:pt x="800546" y="2067268"/>
                  <a:pt x="798171" y="2070056"/>
                  <a:pt x="795073" y="2072380"/>
                </a:cubicBezTo>
                <a:cubicBezTo>
                  <a:pt x="792079" y="2074703"/>
                  <a:pt x="788361" y="2076562"/>
                  <a:pt x="783405" y="2077182"/>
                </a:cubicBezTo>
                <a:cubicBezTo>
                  <a:pt x="783302" y="2072225"/>
                  <a:pt x="786503" y="2068973"/>
                  <a:pt x="790633" y="2067113"/>
                </a:cubicBezTo>
                <a:cubicBezTo>
                  <a:pt x="794763" y="2065100"/>
                  <a:pt x="799720" y="2064480"/>
                  <a:pt x="803127" y="2064635"/>
                </a:cubicBezTo>
                <a:close/>
                <a:moveTo>
                  <a:pt x="5605470" y="2064321"/>
                </a:moveTo>
                <a:cubicBezTo>
                  <a:pt x="5604829" y="2066028"/>
                  <a:pt x="5604829" y="2066028"/>
                  <a:pt x="5605256" y="2067167"/>
                </a:cubicBezTo>
                <a:cubicBezTo>
                  <a:pt x="5605256" y="2067167"/>
                  <a:pt x="5603762" y="2066313"/>
                  <a:pt x="5603762" y="2066313"/>
                </a:cubicBezTo>
                <a:cubicBezTo>
                  <a:pt x="5604616" y="2064748"/>
                  <a:pt x="5603549" y="2065175"/>
                  <a:pt x="5605470" y="2064321"/>
                </a:cubicBezTo>
                <a:close/>
                <a:moveTo>
                  <a:pt x="5383726" y="2064179"/>
                </a:moveTo>
                <a:cubicBezTo>
                  <a:pt x="5385861" y="2064036"/>
                  <a:pt x="5387781" y="2064748"/>
                  <a:pt x="5389702" y="2066028"/>
                </a:cubicBezTo>
                <a:cubicBezTo>
                  <a:pt x="5389916" y="2073284"/>
                  <a:pt x="5383086" y="2074137"/>
                  <a:pt x="5378391" y="2067878"/>
                </a:cubicBezTo>
                <a:cubicBezTo>
                  <a:pt x="5379885" y="2065459"/>
                  <a:pt x="5381806" y="2064463"/>
                  <a:pt x="5383726" y="2064179"/>
                </a:cubicBezTo>
                <a:close/>
                <a:moveTo>
                  <a:pt x="4832250" y="2063894"/>
                </a:moveTo>
                <a:cubicBezTo>
                  <a:pt x="4834811" y="2064748"/>
                  <a:pt x="4836305" y="2066170"/>
                  <a:pt x="4837372" y="2067593"/>
                </a:cubicBezTo>
                <a:cubicBezTo>
                  <a:pt x="4840146" y="2072288"/>
                  <a:pt x="4837372" y="2078975"/>
                  <a:pt x="4832677" y="2081393"/>
                </a:cubicBezTo>
                <a:cubicBezTo>
                  <a:pt x="4830756" y="2082389"/>
                  <a:pt x="4828408" y="2082674"/>
                  <a:pt x="4826060" y="2081536"/>
                </a:cubicBezTo>
                <a:cubicBezTo>
                  <a:pt x="4825847" y="2074280"/>
                  <a:pt x="4824353" y="2066313"/>
                  <a:pt x="4832250" y="2063894"/>
                </a:cubicBezTo>
                <a:close/>
                <a:moveTo>
                  <a:pt x="5647727" y="2063610"/>
                </a:moveTo>
                <a:lnTo>
                  <a:pt x="5653063" y="2069727"/>
                </a:lnTo>
                <a:lnTo>
                  <a:pt x="5656050" y="2069017"/>
                </a:lnTo>
                <a:cubicBezTo>
                  <a:pt x="5657544" y="2069585"/>
                  <a:pt x="5658825" y="2071008"/>
                  <a:pt x="5660532" y="2072999"/>
                </a:cubicBezTo>
                <a:cubicBezTo>
                  <a:pt x="5658825" y="2073853"/>
                  <a:pt x="5657331" y="2073995"/>
                  <a:pt x="5655837" y="2073426"/>
                </a:cubicBezTo>
                <a:lnTo>
                  <a:pt x="5655196" y="2073142"/>
                </a:lnTo>
                <a:lnTo>
                  <a:pt x="5658825" y="2079401"/>
                </a:lnTo>
                <a:cubicBezTo>
                  <a:pt x="5660319" y="2082247"/>
                  <a:pt x="5662026" y="2084808"/>
                  <a:pt x="5664160" y="2086657"/>
                </a:cubicBezTo>
                <a:cubicBezTo>
                  <a:pt x="5664160" y="2086657"/>
                  <a:pt x="5664160" y="2086657"/>
                  <a:pt x="5663734" y="2089930"/>
                </a:cubicBezTo>
                <a:cubicBezTo>
                  <a:pt x="5664374" y="2090925"/>
                  <a:pt x="5664374" y="2090925"/>
                  <a:pt x="5664374" y="2090925"/>
                </a:cubicBezTo>
                <a:cubicBezTo>
                  <a:pt x="5665014" y="2091921"/>
                  <a:pt x="5663093" y="2093202"/>
                  <a:pt x="5663093" y="2093202"/>
                </a:cubicBezTo>
                <a:cubicBezTo>
                  <a:pt x="5660532" y="2093344"/>
                  <a:pt x="5659465" y="2089645"/>
                  <a:pt x="5658184" y="2087653"/>
                </a:cubicBezTo>
                <a:cubicBezTo>
                  <a:pt x="5655623" y="2087938"/>
                  <a:pt x="5657331" y="2082389"/>
                  <a:pt x="5654770" y="2082531"/>
                </a:cubicBezTo>
                <a:cubicBezTo>
                  <a:pt x="5655837" y="2075987"/>
                  <a:pt x="5647727" y="2073995"/>
                  <a:pt x="5647727" y="2063610"/>
                </a:cubicBezTo>
                <a:close/>
                <a:moveTo>
                  <a:pt x="1004787" y="2063086"/>
                </a:moveTo>
                <a:cubicBezTo>
                  <a:pt x="1004787" y="2063086"/>
                  <a:pt x="1005613" y="2064015"/>
                  <a:pt x="1006542" y="2064945"/>
                </a:cubicBezTo>
                <a:cubicBezTo>
                  <a:pt x="1007368" y="2065874"/>
                  <a:pt x="1007368" y="2065874"/>
                  <a:pt x="1008297" y="2065100"/>
                </a:cubicBezTo>
                <a:cubicBezTo>
                  <a:pt x="1009226" y="2066029"/>
                  <a:pt x="1009226" y="2066029"/>
                  <a:pt x="1009123" y="2067733"/>
                </a:cubicBezTo>
                <a:cubicBezTo>
                  <a:pt x="1008297" y="2066804"/>
                  <a:pt x="1003857" y="2063861"/>
                  <a:pt x="1004787" y="2063086"/>
                </a:cubicBezTo>
                <a:close/>
                <a:moveTo>
                  <a:pt x="5528212" y="2062898"/>
                </a:moveTo>
                <a:cubicBezTo>
                  <a:pt x="5535468" y="2066740"/>
                  <a:pt x="5528852" y="2073426"/>
                  <a:pt x="5525224" y="2073284"/>
                </a:cubicBezTo>
                <a:cubicBezTo>
                  <a:pt x="5519248" y="2069443"/>
                  <a:pt x="5524797" y="2062756"/>
                  <a:pt x="5528212" y="2062898"/>
                </a:cubicBezTo>
                <a:close/>
                <a:moveTo>
                  <a:pt x="5270828" y="2062472"/>
                </a:moveTo>
                <a:cubicBezTo>
                  <a:pt x="5272961" y="2064463"/>
                  <a:pt x="5274456" y="2066598"/>
                  <a:pt x="5275736" y="2068731"/>
                </a:cubicBezTo>
                <a:cubicBezTo>
                  <a:pt x="5279364" y="2075134"/>
                  <a:pt x="5280004" y="2081536"/>
                  <a:pt x="5284059" y="2085093"/>
                </a:cubicBezTo>
                <a:cubicBezTo>
                  <a:pt x="5284059" y="2085093"/>
                  <a:pt x="5284059" y="2085093"/>
                  <a:pt x="5282992" y="2088365"/>
                </a:cubicBezTo>
                <a:cubicBezTo>
                  <a:pt x="5283419" y="2089360"/>
                  <a:pt x="5283419" y="2089503"/>
                  <a:pt x="5283419" y="2089503"/>
                </a:cubicBezTo>
                <a:cubicBezTo>
                  <a:pt x="5284059" y="2090498"/>
                  <a:pt x="5281925" y="2091637"/>
                  <a:pt x="5281925" y="2091637"/>
                </a:cubicBezTo>
                <a:cubicBezTo>
                  <a:pt x="5279364" y="2091921"/>
                  <a:pt x="5278724" y="2088222"/>
                  <a:pt x="5277871" y="2086230"/>
                </a:cubicBezTo>
                <a:cubicBezTo>
                  <a:pt x="5275096" y="2086515"/>
                  <a:pt x="5277871" y="2080824"/>
                  <a:pt x="5275096" y="2081109"/>
                </a:cubicBezTo>
                <a:cubicBezTo>
                  <a:pt x="5277230" y="2074564"/>
                  <a:pt x="5269333" y="2072715"/>
                  <a:pt x="5270828" y="2062472"/>
                </a:cubicBezTo>
                <a:close/>
                <a:moveTo>
                  <a:pt x="5297078" y="2061618"/>
                </a:moveTo>
                <a:cubicBezTo>
                  <a:pt x="5308603" y="2069300"/>
                  <a:pt x="5319700" y="2062187"/>
                  <a:pt x="5329945" y="2062898"/>
                </a:cubicBezTo>
                <a:cubicBezTo>
                  <a:pt x="5333359" y="2063183"/>
                  <a:pt x="5336774" y="2064321"/>
                  <a:pt x="5340189" y="2067167"/>
                </a:cubicBezTo>
                <a:cubicBezTo>
                  <a:pt x="5367720" y="2088649"/>
                  <a:pt x="5335067" y="2134886"/>
                  <a:pt x="5308176" y="2103872"/>
                </a:cubicBezTo>
                <a:cubicBezTo>
                  <a:pt x="5299639" y="2092775"/>
                  <a:pt x="5302414" y="2078548"/>
                  <a:pt x="5297078" y="2061618"/>
                </a:cubicBezTo>
                <a:close/>
                <a:moveTo>
                  <a:pt x="6195362" y="2060764"/>
                </a:moveTo>
                <a:cubicBezTo>
                  <a:pt x="6198990" y="2060195"/>
                  <a:pt x="6201978" y="2063468"/>
                  <a:pt x="6204753" y="2067309"/>
                </a:cubicBezTo>
                <a:cubicBezTo>
                  <a:pt x="6203258" y="2069585"/>
                  <a:pt x="6202832" y="2072004"/>
                  <a:pt x="6201338" y="2074280"/>
                </a:cubicBezTo>
                <a:cubicBezTo>
                  <a:pt x="6197710" y="2075703"/>
                  <a:pt x="6190240" y="2072004"/>
                  <a:pt x="6189599" y="2067451"/>
                </a:cubicBezTo>
                <a:cubicBezTo>
                  <a:pt x="6189386" y="2065886"/>
                  <a:pt x="6189813" y="2064179"/>
                  <a:pt x="6191734" y="2062472"/>
                </a:cubicBezTo>
                <a:cubicBezTo>
                  <a:pt x="6193014" y="2061476"/>
                  <a:pt x="6194295" y="2060906"/>
                  <a:pt x="6195362" y="2060764"/>
                </a:cubicBezTo>
                <a:close/>
                <a:moveTo>
                  <a:pt x="1115271" y="2060453"/>
                </a:moveTo>
                <a:cubicBezTo>
                  <a:pt x="1130449" y="2059833"/>
                  <a:pt x="1150378" y="2063861"/>
                  <a:pt x="1157399" y="2078730"/>
                </a:cubicBezTo>
                <a:cubicBezTo>
                  <a:pt x="1163078" y="2090967"/>
                  <a:pt x="1155334" y="2099796"/>
                  <a:pt x="1153579" y="2112963"/>
                </a:cubicBezTo>
                <a:cubicBezTo>
                  <a:pt x="1142530" y="2114821"/>
                  <a:pt x="1141291" y="2121172"/>
                  <a:pt x="1137161" y="2125974"/>
                </a:cubicBezTo>
                <a:cubicBezTo>
                  <a:pt x="1129727" y="2123805"/>
                  <a:pt x="1119607" y="2127368"/>
                  <a:pt x="1110624" y="2127368"/>
                </a:cubicBezTo>
                <a:cubicBezTo>
                  <a:pt x="1107320" y="2123496"/>
                  <a:pt x="1103706" y="2120552"/>
                  <a:pt x="1099989" y="2117454"/>
                </a:cubicBezTo>
                <a:lnTo>
                  <a:pt x="1094413" y="2112188"/>
                </a:lnTo>
                <a:lnTo>
                  <a:pt x="1091728" y="2111878"/>
                </a:lnTo>
                <a:lnTo>
                  <a:pt x="1091522" y="2109555"/>
                </a:lnTo>
                <a:lnTo>
                  <a:pt x="1089250" y="2107541"/>
                </a:lnTo>
                <a:cubicBezTo>
                  <a:pt x="1093381" y="2096698"/>
                  <a:pt x="1085739" y="2081364"/>
                  <a:pt x="1095962" y="2071915"/>
                </a:cubicBezTo>
                <a:cubicBezTo>
                  <a:pt x="1107010" y="2070056"/>
                  <a:pt x="1108972" y="2064015"/>
                  <a:pt x="1115271" y="2060453"/>
                </a:cubicBezTo>
                <a:close/>
                <a:moveTo>
                  <a:pt x="5676538" y="2060053"/>
                </a:moveTo>
                <a:cubicBezTo>
                  <a:pt x="5676538" y="2061191"/>
                  <a:pt x="5675898" y="2062329"/>
                  <a:pt x="5674831" y="2063325"/>
                </a:cubicBezTo>
                <a:cubicBezTo>
                  <a:pt x="5671843" y="2066740"/>
                  <a:pt x="5665441" y="2069870"/>
                  <a:pt x="5661813" y="2070865"/>
                </a:cubicBezTo>
                <a:cubicBezTo>
                  <a:pt x="5662026" y="2066598"/>
                  <a:pt x="5671843" y="2061333"/>
                  <a:pt x="5676538" y="2060053"/>
                </a:cubicBezTo>
                <a:close/>
                <a:moveTo>
                  <a:pt x="4717430" y="2059626"/>
                </a:moveTo>
                <a:cubicBezTo>
                  <a:pt x="4717857" y="2060622"/>
                  <a:pt x="4718497" y="2061618"/>
                  <a:pt x="4718924" y="2062614"/>
                </a:cubicBezTo>
                <a:cubicBezTo>
                  <a:pt x="4718497" y="2064179"/>
                  <a:pt x="4718497" y="2064179"/>
                  <a:pt x="4717003" y="2063752"/>
                </a:cubicBezTo>
                <a:cubicBezTo>
                  <a:pt x="4716576" y="2062756"/>
                  <a:pt x="4715936" y="2061760"/>
                  <a:pt x="4717003" y="2061191"/>
                </a:cubicBezTo>
                <a:cubicBezTo>
                  <a:pt x="4716363" y="2060195"/>
                  <a:pt x="4716363" y="2060195"/>
                  <a:pt x="4717430" y="2059626"/>
                </a:cubicBezTo>
                <a:close/>
                <a:moveTo>
                  <a:pt x="6156946" y="2058915"/>
                </a:moveTo>
                <a:cubicBezTo>
                  <a:pt x="6164203" y="2064036"/>
                  <a:pt x="6165057" y="2083101"/>
                  <a:pt x="6161642" y="2086515"/>
                </a:cubicBezTo>
                <a:cubicBezTo>
                  <a:pt x="6158014" y="2082816"/>
                  <a:pt x="6159081" y="2078121"/>
                  <a:pt x="6155239" y="2073142"/>
                </a:cubicBezTo>
                <a:cubicBezTo>
                  <a:pt x="6157373" y="2069727"/>
                  <a:pt x="6153745" y="2063610"/>
                  <a:pt x="6156946" y="2058915"/>
                </a:cubicBezTo>
                <a:close/>
                <a:moveTo>
                  <a:pt x="727234" y="2058904"/>
                </a:moveTo>
                <a:cubicBezTo>
                  <a:pt x="730745" y="2060298"/>
                  <a:pt x="729815" y="2059523"/>
                  <a:pt x="732396" y="2062621"/>
                </a:cubicBezTo>
                <a:cubicBezTo>
                  <a:pt x="730538" y="2064480"/>
                  <a:pt x="728679" y="2066184"/>
                  <a:pt x="726924" y="2067888"/>
                </a:cubicBezTo>
                <a:cubicBezTo>
                  <a:pt x="726098" y="2066339"/>
                  <a:pt x="724343" y="2065564"/>
                  <a:pt x="723413" y="2064790"/>
                </a:cubicBezTo>
                <a:cubicBezTo>
                  <a:pt x="723620" y="2062311"/>
                  <a:pt x="724549" y="2060607"/>
                  <a:pt x="727234" y="2058904"/>
                </a:cubicBezTo>
                <a:close/>
                <a:moveTo>
                  <a:pt x="5603976" y="2058631"/>
                </a:moveTo>
                <a:cubicBezTo>
                  <a:pt x="5604403" y="2059769"/>
                  <a:pt x="5604616" y="2061049"/>
                  <a:pt x="5603762" y="2061476"/>
                </a:cubicBezTo>
                <a:cubicBezTo>
                  <a:pt x="5602695" y="2061760"/>
                  <a:pt x="5602268" y="2060480"/>
                  <a:pt x="5603122" y="2058915"/>
                </a:cubicBezTo>
                <a:cubicBezTo>
                  <a:pt x="5603122" y="2058915"/>
                  <a:pt x="5603976" y="2058631"/>
                  <a:pt x="5603976" y="2058631"/>
                </a:cubicBezTo>
                <a:close/>
                <a:moveTo>
                  <a:pt x="1099369" y="2058594"/>
                </a:moveTo>
                <a:cubicBezTo>
                  <a:pt x="1100298" y="2060762"/>
                  <a:pt x="1101434" y="2061382"/>
                  <a:pt x="1100608" y="2061537"/>
                </a:cubicBezTo>
                <a:cubicBezTo>
                  <a:pt x="1100918" y="2062311"/>
                  <a:pt x="1100092" y="2062621"/>
                  <a:pt x="1099782" y="2061847"/>
                </a:cubicBezTo>
                <a:cubicBezTo>
                  <a:pt x="1098750" y="2061692"/>
                  <a:pt x="1098543" y="2061227"/>
                  <a:pt x="1098646" y="2060453"/>
                </a:cubicBezTo>
                <a:cubicBezTo>
                  <a:pt x="1098750" y="2059833"/>
                  <a:pt x="1099059" y="2059059"/>
                  <a:pt x="1099369" y="2058594"/>
                </a:cubicBezTo>
                <a:close/>
                <a:moveTo>
                  <a:pt x="4729381" y="2058346"/>
                </a:moveTo>
                <a:lnTo>
                  <a:pt x="4731302" y="2060337"/>
                </a:lnTo>
                <a:cubicBezTo>
                  <a:pt x="4731729" y="2061476"/>
                  <a:pt x="4731942" y="2062756"/>
                  <a:pt x="4731942" y="2064036"/>
                </a:cubicBezTo>
                <a:cubicBezTo>
                  <a:pt x="4730876" y="2064748"/>
                  <a:pt x="4730876" y="2064748"/>
                  <a:pt x="4729381" y="2064321"/>
                </a:cubicBezTo>
                <a:cubicBezTo>
                  <a:pt x="4728528" y="2064890"/>
                  <a:pt x="4728314" y="2059484"/>
                  <a:pt x="4727674" y="2058488"/>
                </a:cubicBezTo>
                <a:cubicBezTo>
                  <a:pt x="4728741" y="2057919"/>
                  <a:pt x="4728741" y="2057919"/>
                  <a:pt x="4729168" y="2058915"/>
                </a:cubicBezTo>
                <a:close/>
                <a:moveTo>
                  <a:pt x="5548913" y="2057634"/>
                </a:moveTo>
                <a:cubicBezTo>
                  <a:pt x="5549767" y="2058061"/>
                  <a:pt x="5550621" y="2059057"/>
                  <a:pt x="5551048" y="2060480"/>
                </a:cubicBezTo>
                <a:cubicBezTo>
                  <a:pt x="5552008" y="2062543"/>
                  <a:pt x="5552542" y="2065353"/>
                  <a:pt x="5552782" y="2068109"/>
                </a:cubicBezTo>
                <a:lnTo>
                  <a:pt x="5552768" y="2072005"/>
                </a:lnTo>
                <a:lnTo>
                  <a:pt x="5552755" y="2072004"/>
                </a:lnTo>
                <a:lnTo>
                  <a:pt x="5552768" y="2072016"/>
                </a:lnTo>
                <a:lnTo>
                  <a:pt x="5552755" y="2075418"/>
                </a:lnTo>
                <a:cubicBezTo>
                  <a:pt x="5548913" y="2073569"/>
                  <a:pt x="5548060" y="2062472"/>
                  <a:pt x="5548913" y="2057634"/>
                </a:cubicBezTo>
                <a:close/>
                <a:moveTo>
                  <a:pt x="4829262" y="2057492"/>
                </a:moveTo>
                <a:cubicBezTo>
                  <a:pt x="4830756" y="2057777"/>
                  <a:pt x="4832036" y="2057777"/>
                  <a:pt x="4832677" y="2057634"/>
                </a:cubicBezTo>
                <a:cubicBezTo>
                  <a:pt x="4833317" y="2057634"/>
                  <a:pt x="4833531" y="2057634"/>
                  <a:pt x="4833531" y="2058204"/>
                </a:cubicBezTo>
                <a:cubicBezTo>
                  <a:pt x="4834598" y="2058346"/>
                  <a:pt x="4834598" y="2059626"/>
                  <a:pt x="4833531" y="2059484"/>
                </a:cubicBezTo>
                <a:cubicBezTo>
                  <a:pt x="4832250" y="2061618"/>
                  <a:pt x="4830116" y="2058915"/>
                  <a:pt x="4829262" y="2057492"/>
                </a:cubicBezTo>
                <a:close/>
                <a:moveTo>
                  <a:pt x="4729381" y="2057492"/>
                </a:moveTo>
                <a:lnTo>
                  <a:pt x="4729381" y="2058346"/>
                </a:lnTo>
                <a:lnTo>
                  <a:pt x="4728741" y="2057919"/>
                </a:lnTo>
                <a:cubicBezTo>
                  <a:pt x="4729168" y="2057634"/>
                  <a:pt x="4729381" y="2057350"/>
                  <a:pt x="4729381" y="2057492"/>
                </a:cubicBezTo>
                <a:close/>
                <a:moveTo>
                  <a:pt x="5695960" y="2057065"/>
                </a:moveTo>
                <a:cubicBezTo>
                  <a:pt x="5696600" y="2057208"/>
                  <a:pt x="5697027" y="2057492"/>
                  <a:pt x="5697667" y="2058061"/>
                </a:cubicBezTo>
                <a:cubicBezTo>
                  <a:pt x="5700015" y="2059342"/>
                  <a:pt x="5698947" y="2061760"/>
                  <a:pt x="5701295" y="2064179"/>
                </a:cubicBezTo>
                <a:cubicBezTo>
                  <a:pt x="5706204" y="2068020"/>
                  <a:pt x="5712820" y="2058773"/>
                  <a:pt x="5722424" y="2066313"/>
                </a:cubicBezTo>
                <a:cubicBezTo>
                  <a:pt x="5720289" y="2068589"/>
                  <a:pt x="5725198" y="2074849"/>
                  <a:pt x="5721784" y="2078264"/>
                </a:cubicBezTo>
                <a:lnTo>
                  <a:pt x="5719436" y="2080683"/>
                </a:lnTo>
                <a:lnTo>
                  <a:pt x="5722210" y="2081109"/>
                </a:lnTo>
                <a:cubicBezTo>
                  <a:pt x="5720716" y="2090498"/>
                  <a:pt x="5715808" y="2100742"/>
                  <a:pt x="5714527" y="2103018"/>
                </a:cubicBezTo>
                <a:cubicBezTo>
                  <a:pt x="5714101" y="2104156"/>
                  <a:pt x="5713460" y="2104725"/>
                  <a:pt x="5712606" y="2104725"/>
                </a:cubicBezTo>
                <a:cubicBezTo>
                  <a:pt x="5711966" y="2104725"/>
                  <a:pt x="5711113" y="2104441"/>
                  <a:pt x="5709832" y="2103730"/>
                </a:cubicBezTo>
                <a:cubicBezTo>
                  <a:pt x="5708978" y="2102307"/>
                  <a:pt x="5708765" y="2101026"/>
                  <a:pt x="5708551" y="2099888"/>
                </a:cubicBezTo>
                <a:lnTo>
                  <a:pt x="5707698" y="2100315"/>
                </a:lnTo>
                <a:lnTo>
                  <a:pt x="5707698" y="2100742"/>
                </a:lnTo>
                <a:cubicBezTo>
                  <a:pt x="5706417" y="2105152"/>
                  <a:pt x="5704070" y="2109136"/>
                  <a:pt x="5703430" y="2110843"/>
                </a:cubicBezTo>
                <a:cubicBezTo>
                  <a:pt x="5703430" y="2110843"/>
                  <a:pt x="5703430" y="2111981"/>
                  <a:pt x="5702362" y="2113119"/>
                </a:cubicBezTo>
                <a:cubicBezTo>
                  <a:pt x="5701295" y="2115538"/>
                  <a:pt x="5700015" y="2111839"/>
                  <a:pt x="5698947" y="2112977"/>
                </a:cubicBezTo>
                <a:lnTo>
                  <a:pt x="5699161" y="2104156"/>
                </a:lnTo>
                <a:lnTo>
                  <a:pt x="5692118" y="2103730"/>
                </a:lnTo>
                <a:cubicBezTo>
                  <a:pt x="5688490" y="2096901"/>
                  <a:pt x="5693612" y="2087938"/>
                  <a:pt x="5699374" y="2082389"/>
                </a:cubicBezTo>
                <a:lnTo>
                  <a:pt x="5700015" y="2081820"/>
                </a:lnTo>
                <a:lnTo>
                  <a:pt x="5699374" y="2081678"/>
                </a:lnTo>
                <a:cubicBezTo>
                  <a:pt x="5697880" y="2082531"/>
                  <a:pt x="5696813" y="2086089"/>
                  <a:pt x="5694252" y="2084239"/>
                </a:cubicBezTo>
                <a:cubicBezTo>
                  <a:pt x="5688704" y="2079401"/>
                  <a:pt x="5690197" y="2071008"/>
                  <a:pt x="5691478" y="2066598"/>
                </a:cubicBezTo>
                <a:lnTo>
                  <a:pt x="5692118" y="2064036"/>
                </a:lnTo>
                <a:lnTo>
                  <a:pt x="5690838" y="2064036"/>
                </a:lnTo>
                <a:lnTo>
                  <a:pt x="5692118" y="2062898"/>
                </a:lnTo>
                <a:lnTo>
                  <a:pt x="5692118" y="2062614"/>
                </a:lnTo>
                <a:cubicBezTo>
                  <a:pt x="5693185" y="2062614"/>
                  <a:pt x="5693185" y="2061333"/>
                  <a:pt x="5691904" y="2061333"/>
                </a:cubicBezTo>
                <a:cubicBezTo>
                  <a:pt x="5692972" y="2059626"/>
                  <a:pt x="5693826" y="2058204"/>
                  <a:pt x="5694679" y="2057492"/>
                </a:cubicBezTo>
                <a:cubicBezTo>
                  <a:pt x="5695106" y="2057208"/>
                  <a:pt x="5695533" y="2057065"/>
                  <a:pt x="5695960" y="2057065"/>
                </a:cubicBezTo>
                <a:close/>
                <a:moveTo>
                  <a:pt x="882944" y="2055806"/>
                </a:moveTo>
                <a:cubicBezTo>
                  <a:pt x="882841" y="2057510"/>
                  <a:pt x="881808" y="2060607"/>
                  <a:pt x="879536" y="2061072"/>
                </a:cubicBezTo>
                <a:cubicBezTo>
                  <a:pt x="879536" y="2061072"/>
                  <a:pt x="879640" y="2061072"/>
                  <a:pt x="878401" y="2061227"/>
                </a:cubicBezTo>
                <a:cubicBezTo>
                  <a:pt x="879743" y="2059214"/>
                  <a:pt x="881396" y="2056580"/>
                  <a:pt x="882944" y="2055806"/>
                </a:cubicBezTo>
                <a:close/>
                <a:moveTo>
                  <a:pt x="4978656" y="2055358"/>
                </a:moveTo>
                <a:cubicBezTo>
                  <a:pt x="4979083" y="2055216"/>
                  <a:pt x="4979509" y="2055216"/>
                  <a:pt x="4979723" y="2055785"/>
                </a:cubicBezTo>
                <a:cubicBezTo>
                  <a:pt x="4980363" y="2056639"/>
                  <a:pt x="4979296" y="2057350"/>
                  <a:pt x="4977802" y="2057065"/>
                </a:cubicBezTo>
                <a:cubicBezTo>
                  <a:pt x="4977802" y="2057065"/>
                  <a:pt x="4977162" y="2056212"/>
                  <a:pt x="4977162" y="2056212"/>
                </a:cubicBezTo>
                <a:cubicBezTo>
                  <a:pt x="4977589" y="2055785"/>
                  <a:pt x="4978229" y="2055500"/>
                  <a:pt x="4978656" y="2055358"/>
                </a:cubicBezTo>
                <a:close/>
                <a:moveTo>
                  <a:pt x="5969137" y="2053509"/>
                </a:moveTo>
                <a:cubicBezTo>
                  <a:pt x="5970631" y="2054078"/>
                  <a:pt x="5972125" y="2054647"/>
                  <a:pt x="5973619" y="2055216"/>
                </a:cubicBezTo>
                <a:lnTo>
                  <a:pt x="5972979" y="2060764"/>
                </a:lnTo>
                <a:lnTo>
                  <a:pt x="5974259" y="2064036"/>
                </a:lnTo>
                <a:cubicBezTo>
                  <a:pt x="5976180" y="2065601"/>
                  <a:pt x="5977460" y="2068873"/>
                  <a:pt x="5977033" y="2071435"/>
                </a:cubicBezTo>
                <a:cubicBezTo>
                  <a:pt x="5975753" y="2074707"/>
                  <a:pt x="5973619" y="2075703"/>
                  <a:pt x="5972338" y="2075276"/>
                </a:cubicBezTo>
                <a:cubicBezTo>
                  <a:pt x="5959746" y="2072572"/>
                  <a:pt x="5960173" y="2060764"/>
                  <a:pt x="5958466" y="2059199"/>
                </a:cubicBezTo>
                <a:cubicBezTo>
                  <a:pt x="5959746" y="2055642"/>
                  <a:pt x="5960173" y="2054647"/>
                  <a:pt x="5963801" y="2055358"/>
                </a:cubicBezTo>
                <a:lnTo>
                  <a:pt x="5967429" y="2056212"/>
                </a:lnTo>
                <a:close/>
                <a:moveTo>
                  <a:pt x="708648" y="2053328"/>
                </a:moveTo>
                <a:cubicBezTo>
                  <a:pt x="709680" y="2053173"/>
                  <a:pt x="710713" y="2053328"/>
                  <a:pt x="711126" y="2053792"/>
                </a:cubicBezTo>
                <a:cubicBezTo>
                  <a:pt x="713707" y="2055651"/>
                  <a:pt x="711952" y="2057974"/>
                  <a:pt x="711023" y="2061072"/>
                </a:cubicBezTo>
                <a:cubicBezTo>
                  <a:pt x="710196" y="2060298"/>
                  <a:pt x="709267" y="2060918"/>
                  <a:pt x="708441" y="2061692"/>
                </a:cubicBezTo>
                <a:cubicBezTo>
                  <a:pt x="707099" y="2060298"/>
                  <a:pt x="704930" y="2058440"/>
                  <a:pt x="705344" y="2056271"/>
                </a:cubicBezTo>
                <a:cubicBezTo>
                  <a:pt x="705447" y="2055651"/>
                  <a:pt x="705963" y="2054876"/>
                  <a:pt x="706789" y="2054102"/>
                </a:cubicBezTo>
                <a:cubicBezTo>
                  <a:pt x="706789" y="2053637"/>
                  <a:pt x="707718" y="2053328"/>
                  <a:pt x="708648" y="2053328"/>
                </a:cubicBezTo>
                <a:close/>
                <a:moveTo>
                  <a:pt x="4984418" y="2052655"/>
                </a:moveTo>
                <a:cubicBezTo>
                  <a:pt x="4984418" y="2052655"/>
                  <a:pt x="4984205" y="2054220"/>
                  <a:pt x="4984205" y="2054220"/>
                </a:cubicBezTo>
                <a:cubicBezTo>
                  <a:pt x="4982497" y="2053936"/>
                  <a:pt x="4983137" y="2054932"/>
                  <a:pt x="4981857" y="2053082"/>
                </a:cubicBezTo>
                <a:cubicBezTo>
                  <a:pt x="4983564" y="2053367"/>
                  <a:pt x="4983564" y="2053367"/>
                  <a:pt x="4984418" y="2052655"/>
                </a:cubicBezTo>
                <a:close/>
                <a:moveTo>
                  <a:pt x="5013657" y="2051802"/>
                </a:moveTo>
                <a:cubicBezTo>
                  <a:pt x="5015791" y="2055785"/>
                  <a:pt x="5016858" y="2057208"/>
                  <a:pt x="5017712" y="2059769"/>
                </a:cubicBezTo>
                <a:cubicBezTo>
                  <a:pt x="5018779" y="2059911"/>
                  <a:pt x="5020059" y="2060195"/>
                  <a:pt x="5021126" y="2061476"/>
                </a:cubicBezTo>
                <a:cubicBezTo>
                  <a:pt x="5023047" y="2064321"/>
                  <a:pt x="5021767" y="2066598"/>
                  <a:pt x="5022833" y="2069158"/>
                </a:cubicBezTo>
                <a:cubicBezTo>
                  <a:pt x="5021553" y="2070154"/>
                  <a:pt x="5019205" y="2071008"/>
                  <a:pt x="5017285" y="2068162"/>
                </a:cubicBezTo>
                <a:cubicBezTo>
                  <a:pt x="5014083" y="2065175"/>
                  <a:pt x="5014083" y="2061618"/>
                  <a:pt x="5015577" y="2058204"/>
                </a:cubicBezTo>
                <a:cubicBezTo>
                  <a:pt x="5014510" y="2055642"/>
                  <a:pt x="5012376" y="2054078"/>
                  <a:pt x="5013657" y="2051802"/>
                </a:cubicBezTo>
                <a:close/>
                <a:moveTo>
                  <a:pt x="4856366" y="2051659"/>
                </a:moveTo>
                <a:cubicBezTo>
                  <a:pt x="4858501" y="2053367"/>
                  <a:pt x="4860421" y="2056212"/>
                  <a:pt x="4862342" y="2059057"/>
                </a:cubicBezTo>
                <a:cubicBezTo>
                  <a:pt x="4857860" y="2066455"/>
                  <a:pt x="4849323" y="2052370"/>
                  <a:pt x="4856366" y="2051659"/>
                </a:cubicBezTo>
                <a:close/>
                <a:moveTo>
                  <a:pt x="888726" y="2051469"/>
                </a:moveTo>
                <a:cubicBezTo>
                  <a:pt x="891411" y="2051004"/>
                  <a:pt x="894509" y="2051779"/>
                  <a:pt x="897297" y="2053017"/>
                </a:cubicBezTo>
                <a:lnTo>
                  <a:pt x="898846" y="2054102"/>
                </a:lnTo>
                <a:lnTo>
                  <a:pt x="899569" y="2054257"/>
                </a:lnTo>
                <a:lnTo>
                  <a:pt x="900394" y="2055186"/>
                </a:lnTo>
                <a:lnTo>
                  <a:pt x="904215" y="2057664"/>
                </a:lnTo>
                <a:cubicBezTo>
                  <a:pt x="904525" y="2061692"/>
                  <a:pt x="903286" y="2064170"/>
                  <a:pt x="901427" y="2065564"/>
                </a:cubicBezTo>
                <a:cubicBezTo>
                  <a:pt x="895645" y="2069592"/>
                  <a:pt x="883151" y="2062931"/>
                  <a:pt x="883977" y="2053792"/>
                </a:cubicBezTo>
                <a:cubicBezTo>
                  <a:pt x="885319" y="2052398"/>
                  <a:pt x="886868" y="2051624"/>
                  <a:pt x="888726" y="2051469"/>
                </a:cubicBezTo>
                <a:close/>
                <a:moveTo>
                  <a:pt x="5604829" y="2051090"/>
                </a:moveTo>
                <a:cubicBezTo>
                  <a:pt x="5604616" y="2054932"/>
                  <a:pt x="5604403" y="2055074"/>
                  <a:pt x="5602909" y="2058204"/>
                </a:cubicBezTo>
                <a:cubicBezTo>
                  <a:pt x="5602482" y="2057065"/>
                  <a:pt x="5600988" y="2055074"/>
                  <a:pt x="5601628" y="2053509"/>
                </a:cubicBezTo>
                <a:cubicBezTo>
                  <a:pt x="5602482" y="2051944"/>
                  <a:pt x="5602482" y="2051944"/>
                  <a:pt x="5604829" y="2051090"/>
                </a:cubicBezTo>
                <a:close/>
                <a:moveTo>
                  <a:pt x="4908441" y="2050095"/>
                </a:moveTo>
                <a:cubicBezTo>
                  <a:pt x="4911002" y="2050663"/>
                  <a:pt x="4912069" y="2053367"/>
                  <a:pt x="4914630" y="2056781"/>
                </a:cubicBezTo>
                <a:cubicBezTo>
                  <a:pt x="4913136" y="2057208"/>
                  <a:pt x="4914843" y="2062187"/>
                  <a:pt x="4915483" y="2063894"/>
                </a:cubicBezTo>
                <a:cubicBezTo>
                  <a:pt x="4912283" y="2064748"/>
                  <a:pt x="4913563" y="2070723"/>
                  <a:pt x="4908868" y="2072004"/>
                </a:cubicBezTo>
                <a:cubicBezTo>
                  <a:pt x="4906733" y="2070865"/>
                  <a:pt x="4905666" y="2070154"/>
                  <a:pt x="4903959" y="2067878"/>
                </a:cubicBezTo>
                <a:cubicBezTo>
                  <a:pt x="4900544" y="2055216"/>
                  <a:pt x="4906093" y="2051944"/>
                  <a:pt x="4905453" y="2050237"/>
                </a:cubicBezTo>
                <a:cubicBezTo>
                  <a:pt x="4906733" y="2049952"/>
                  <a:pt x="4907587" y="2049810"/>
                  <a:pt x="4908441" y="2050095"/>
                </a:cubicBezTo>
                <a:close/>
                <a:moveTo>
                  <a:pt x="4953472" y="2049383"/>
                </a:moveTo>
                <a:cubicBezTo>
                  <a:pt x="4956033" y="2049667"/>
                  <a:pt x="4958595" y="2051232"/>
                  <a:pt x="4960942" y="2053367"/>
                </a:cubicBezTo>
                <a:lnTo>
                  <a:pt x="4963716" y="2056923"/>
                </a:lnTo>
                <a:lnTo>
                  <a:pt x="4964783" y="2056496"/>
                </a:lnTo>
                <a:cubicBezTo>
                  <a:pt x="4967131" y="2055500"/>
                  <a:pt x="4969479" y="2054789"/>
                  <a:pt x="4971613" y="2055074"/>
                </a:cubicBezTo>
                <a:cubicBezTo>
                  <a:pt x="4972253" y="2055358"/>
                  <a:pt x="4973107" y="2055500"/>
                  <a:pt x="4973534" y="2056069"/>
                </a:cubicBezTo>
                <a:lnTo>
                  <a:pt x="4973321" y="2056923"/>
                </a:lnTo>
                <a:lnTo>
                  <a:pt x="4973747" y="2056781"/>
                </a:lnTo>
                <a:cubicBezTo>
                  <a:pt x="4974601" y="2056781"/>
                  <a:pt x="4975454" y="2057065"/>
                  <a:pt x="4976949" y="2057492"/>
                </a:cubicBezTo>
                <a:cubicBezTo>
                  <a:pt x="4976095" y="2058061"/>
                  <a:pt x="4974814" y="2060337"/>
                  <a:pt x="4973107" y="2059911"/>
                </a:cubicBezTo>
                <a:lnTo>
                  <a:pt x="4972894" y="2059769"/>
                </a:lnTo>
                <a:lnTo>
                  <a:pt x="4972040" y="2061903"/>
                </a:lnTo>
                <a:cubicBezTo>
                  <a:pt x="4971186" y="2062329"/>
                  <a:pt x="4969906" y="2062187"/>
                  <a:pt x="4967771" y="2061903"/>
                </a:cubicBezTo>
                <a:lnTo>
                  <a:pt x="4972680" y="2071435"/>
                </a:lnTo>
                <a:cubicBezTo>
                  <a:pt x="4973747" y="2074564"/>
                  <a:pt x="4974814" y="2077267"/>
                  <a:pt x="4975028" y="2079259"/>
                </a:cubicBezTo>
                <a:cubicBezTo>
                  <a:pt x="4966491" y="2072431"/>
                  <a:pt x="4952619" y="2060622"/>
                  <a:pt x="4949204" y="2050095"/>
                </a:cubicBezTo>
                <a:cubicBezTo>
                  <a:pt x="4950698" y="2049383"/>
                  <a:pt x="4952192" y="2049241"/>
                  <a:pt x="4953472" y="2049383"/>
                </a:cubicBezTo>
                <a:close/>
                <a:moveTo>
                  <a:pt x="6046395" y="2049098"/>
                </a:moveTo>
                <a:cubicBezTo>
                  <a:pt x="6048529" y="2050805"/>
                  <a:pt x="6050877" y="2050095"/>
                  <a:pt x="6052584" y="2054078"/>
                </a:cubicBezTo>
                <a:cubicBezTo>
                  <a:pt x="6050237" y="2055927"/>
                  <a:pt x="6047676" y="2056639"/>
                  <a:pt x="6045328" y="2058346"/>
                </a:cubicBezTo>
                <a:cubicBezTo>
                  <a:pt x="6041059" y="2055074"/>
                  <a:pt x="6043834" y="2052086"/>
                  <a:pt x="6046395" y="2049098"/>
                </a:cubicBezTo>
                <a:close/>
                <a:moveTo>
                  <a:pt x="5783035" y="2048387"/>
                </a:moveTo>
                <a:cubicBezTo>
                  <a:pt x="5784315" y="2047960"/>
                  <a:pt x="5785383" y="2047818"/>
                  <a:pt x="5786023" y="2048529"/>
                </a:cubicBezTo>
                <a:cubicBezTo>
                  <a:pt x="5788157" y="2051232"/>
                  <a:pt x="5789224" y="2054789"/>
                  <a:pt x="5788157" y="2055785"/>
                </a:cubicBezTo>
                <a:cubicBezTo>
                  <a:pt x="5786450" y="2057350"/>
                  <a:pt x="5784529" y="2058915"/>
                  <a:pt x="5782395" y="2057919"/>
                </a:cubicBezTo>
                <a:cubicBezTo>
                  <a:pt x="5781541" y="2057634"/>
                  <a:pt x="5780687" y="2057065"/>
                  <a:pt x="5780047" y="2056069"/>
                </a:cubicBezTo>
                <a:cubicBezTo>
                  <a:pt x="5780047" y="2056069"/>
                  <a:pt x="5780047" y="2056069"/>
                  <a:pt x="5780047" y="2054789"/>
                </a:cubicBezTo>
                <a:cubicBezTo>
                  <a:pt x="5780047" y="2052513"/>
                  <a:pt x="5780047" y="2051375"/>
                  <a:pt x="5780047" y="2050095"/>
                </a:cubicBezTo>
                <a:cubicBezTo>
                  <a:pt x="5780687" y="2049667"/>
                  <a:pt x="5781968" y="2048956"/>
                  <a:pt x="5783035" y="2048387"/>
                </a:cubicBezTo>
                <a:close/>
                <a:moveTo>
                  <a:pt x="5181618" y="2048245"/>
                </a:moveTo>
                <a:cubicBezTo>
                  <a:pt x="5183539" y="2048387"/>
                  <a:pt x="5187167" y="2051944"/>
                  <a:pt x="5188448" y="2054362"/>
                </a:cubicBezTo>
                <a:cubicBezTo>
                  <a:pt x="5188874" y="2055074"/>
                  <a:pt x="5189088" y="2055785"/>
                  <a:pt x="5188874" y="2056212"/>
                </a:cubicBezTo>
                <a:cubicBezTo>
                  <a:pt x="5186100" y="2055500"/>
                  <a:pt x="5180978" y="2054504"/>
                  <a:pt x="5179057" y="2052228"/>
                </a:cubicBezTo>
                <a:cubicBezTo>
                  <a:pt x="5178417" y="2051375"/>
                  <a:pt x="5178203" y="2050521"/>
                  <a:pt x="5178417" y="2049525"/>
                </a:cubicBezTo>
                <a:cubicBezTo>
                  <a:pt x="5179270" y="2047960"/>
                  <a:pt x="5180551" y="2048672"/>
                  <a:pt x="5181618" y="2048245"/>
                </a:cubicBezTo>
                <a:close/>
                <a:moveTo>
                  <a:pt x="815311" y="2048061"/>
                </a:moveTo>
                <a:cubicBezTo>
                  <a:pt x="817790" y="2048371"/>
                  <a:pt x="822333" y="2051624"/>
                  <a:pt x="822229" y="2055806"/>
                </a:cubicBezTo>
                <a:cubicBezTo>
                  <a:pt x="817893" y="2059523"/>
                  <a:pt x="814692" y="2058284"/>
                  <a:pt x="812214" y="2053637"/>
                </a:cubicBezTo>
                <a:cubicBezTo>
                  <a:pt x="813453" y="2052088"/>
                  <a:pt x="813866" y="2050384"/>
                  <a:pt x="815311" y="2048061"/>
                </a:cubicBezTo>
                <a:close/>
                <a:moveTo>
                  <a:pt x="5284700" y="2047106"/>
                </a:moveTo>
                <a:cubicBezTo>
                  <a:pt x="5286620" y="2047106"/>
                  <a:pt x="5288542" y="2047960"/>
                  <a:pt x="5290462" y="2051375"/>
                </a:cubicBezTo>
                <a:cubicBezTo>
                  <a:pt x="5289608" y="2058488"/>
                  <a:pt x="5280004" y="2061191"/>
                  <a:pt x="5275096" y="2053936"/>
                </a:cubicBezTo>
                <a:cubicBezTo>
                  <a:pt x="5276590" y="2051802"/>
                  <a:pt x="5276803" y="2049383"/>
                  <a:pt x="5278297" y="2047249"/>
                </a:cubicBezTo>
                <a:cubicBezTo>
                  <a:pt x="5280645" y="2047818"/>
                  <a:pt x="5282779" y="2047106"/>
                  <a:pt x="5284700" y="2047106"/>
                </a:cubicBezTo>
                <a:close/>
                <a:moveTo>
                  <a:pt x="6142220" y="2046538"/>
                </a:moveTo>
                <a:cubicBezTo>
                  <a:pt x="6143288" y="2045968"/>
                  <a:pt x="6143715" y="2046964"/>
                  <a:pt x="6144781" y="2046538"/>
                </a:cubicBezTo>
                <a:cubicBezTo>
                  <a:pt x="6144781" y="2046538"/>
                  <a:pt x="6145208" y="2047533"/>
                  <a:pt x="6145208" y="2047533"/>
                </a:cubicBezTo>
                <a:cubicBezTo>
                  <a:pt x="6145635" y="2047249"/>
                  <a:pt x="6145635" y="2047249"/>
                  <a:pt x="6145422" y="2047675"/>
                </a:cubicBezTo>
                <a:cubicBezTo>
                  <a:pt x="6145422" y="2048103"/>
                  <a:pt x="6144995" y="2048814"/>
                  <a:pt x="6144995" y="2050095"/>
                </a:cubicBezTo>
                <a:cubicBezTo>
                  <a:pt x="6144355" y="2051659"/>
                  <a:pt x="6144781" y="2052797"/>
                  <a:pt x="6143288" y="2052228"/>
                </a:cubicBezTo>
                <a:cubicBezTo>
                  <a:pt x="6142007" y="2051659"/>
                  <a:pt x="6142007" y="2051659"/>
                  <a:pt x="6140727" y="2048529"/>
                </a:cubicBezTo>
                <a:cubicBezTo>
                  <a:pt x="6142220" y="2049098"/>
                  <a:pt x="6142220" y="2048956"/>
                  <a:pt x="6142647" y="2047533"/>
                </a:cubicBezTo>
                <a:cubicBezTo>
                  <a:pt x="6142647" y="2047533"/>
                  <a:pt x="6142647" y="2047533"/>
                  <a:pt x="6142220" y="2046538"/>
                </a:cubicBezTo>
                <a:close/>
                <a:moveTo>
                  <a:pt x="1033182" y="2046357"/>
                </a:moveTo>
                <a:cubicBezTo>
                  <a:pt x="1033801" y="2046202"/>
                  <a:pt x="1034111" y="2046512"/>
                  <a:pt x="1034421" y="2046822"/>
                </a:cubicBezTo>
                <a:cubicBezTo>
                  <a:pt x="1034628" y="2047287"/>
                  <a:pt x="1034834" y="2047906"/>
                  <a:pt x="1035040" y="2048526"/>
                </a:cubicBezTo>
                <a:lnTo>
                  <a:pt x="1035247" y="2049455"/>
                </a:lnTo>
                <a:lnTo>
                  <a:pt x="1037003" y="2048526"/>
                </a:lnTo>
                <a:cubicBezTo>
                  <a:pt x="1040720" y="2050229"/>
                  <a:pt x="1042682" y="2052398"/>
                  <a:pt x="1043404" y="2054567"/>
                </a:cubicBezTo>
                <a:cubicBezTo>
                  <a:pt x="1045572" y="2061227"/>
                  <a:pt x="1036280" y="2068197"/>
                  <a:pt x="1028226" y="2063241"/>
                </a:cubicBezTo>
                <a:cubicBezTo>
                  <a:pt x="1027813" y="2062157"/>
                  <a:pt x="1027606" y="2061072"/>
                  <a:pt x="1027710" y="2059988"/>
                </a:cubicBezTo>
                <a:cubicBezTo>
                  <a:pt x="1027916" y="2056426"/>
                  <a:pt x="1030394" y="2052708"/>
                  <a:pt x="1033182" y="2050384"/>
                </a:cubicBezTo>
                <a:lnTo>
                  <a:pt x="1034731" y="2049610"/>
                </a:lnTo>
                <a:close/>
                <a:moveTo>
                  <a:pt x="5217899" y="2045684"/>
                </a:moveTo>
                <a:cubicBezTo>
                  <a:pt x="5218753" y="2048956"/>
                  <a:pt x="5220247" y="2050948"/>
                  <a:pt x="5221101" y="2054078"/>
                </a:cubicBezTo>
                <a:cubicBezTo>
                  <a:pt x="5218540" y="2061191"/>
                  <a:pt x="5213418" y="2062472"/>
                  <a:pt x="5209790" y="2060480"/>
                </a:cubicBezTo>
                <a:cubicBezTo>
                  <a:pt x="5206161" y="2058488"/>
                  <a:pt x="5203814" y="2053082"/>
                  <a:pt x="5207015" y="2047106"/>
                </a:cubicBezTo>
                <a:cubicBezTo>
                  <a:pt x="5211710" y="2045400"/>
                  <a:pt x="5215338" y="2045826"/>
                  <a:pt x="5217899" y="2045684"/>
                </a:cubicBezTo>
                <a:close/>
                <a:moveTo>
                  <a:pt x="1133134" y="2044963"/>
                </a:moveTo>
                <a:cubicBezTo>
                  <a:pt x="1133547" y="2045583"/>
                  <a:pt x="1134270" y="2045118"/>
                  <a:pt x="1134786" y="2045738"/>
                </a:cubicBezTo>
                <a:cubicBezTo>
                  <a:pt x="1136438" y="2046667"/>
                  <a:pt x="1136541" y="2046667"/>
                  <a:pt x="1136232" y="2047906"/>
                </a:cubicBezTo>
                <a:cubicBezTo>
                  <a:pt x="1135922" y="2048990"/>
                  <a:pt x="1133134" y="2049920"/>
                  <a:pt x="1132824" y="2051159"/>
                </a:cubicBezTo>
                <a:cubicBezTo>
                  <a:pt x="1132824" y="2051159"/>
                  <a:pt x="1132721" y="2051159"/>
                  <a:pt x="1131069" y="2050229"/>
                </a:cubicBezTo>
                <a:cubicBezTo>
                  <a:pt x="1130553" y="2049610"/>
                  <a:pt x="1130139" y="2048836"/>
                  <a:pt x="1130449" y="2047597"/>
                </a:cubicBezTo>
                <a:cubicBezTo>
                  <a:pt x="1130759" y="2046512"/>
                  <a:pt x="1132308" y="2045428"/>
                  <a:pt x="1133134" y="2044963"/>
                </a:cubicBezTo>
                <a:close/>
                <a:moveTo>
                  <a:pt x="4709747" y="2043408"/>
                </a:moveTo>
                <a:cubicBezTo>
                  <a:pt x="4711027" y="2044830"/>
                  <a:pt x="4711027" y="2044830"/>
                  <a:pt x="4709747" y="2044688"/>
                </a:cubicBezTo>
                <a:cubicBezTo>
                  <a:pt x="4711027" y="2047249"/>
                  <a:pt x="4711241" y="2048529"/>
                  <a:pt x="4711241" y="2049667"/>
                </a:cubicBezTo>
                <a:cubicBezTo>
                  <a:pt x="4710174" y="2050948"/>
                  <a:pt x="4707826" y="2050805"/>
                  <a:pt x="4705265" y="2049383"/>
                </a:cubicBezTo>
                <a:cubicBezTo>
                  <a:pt x="4706546" y="2048245"/>
                  <a:pt x="4705265" y="2045684"/>
                  <a:pt x="4706332" y="2044546"/>
                </a:cubicBezTo>
                <a:cubicBezTo>
                  <a:pt x="4706332" y="2044546"/>
                  <a:pt x="4709747" y="2043408"/>
                  <a:pt x="4709747" y="2043408"/>
                </a:cubicBezTo>
                <a:close/>
                <a:moveTo>
                  <a:pt x="5836390" y="2041985"/>
                </a:moveTo>
                <a:cubicBezTo>
                  <a:pt x="5836390" y="2041985"/>
                  <a:pt x="5836603" y="2042411"/>
                  <a:pt x="5836817" y="2042696"/>
                </a:cubicBezTo>
                <a:cubicBezTo>
                  <a:pt x="5836817" y="2043123"/>
                  <a:pt x="5836817" y="2043692"/>
                  <a:pt x="5836390" y="2044119"/>
                </a:cubicBezTo>
                <a:cubicBezTo>
                  <a:pt x="5836390" y="2044119"/>
                  <a:pt x="5836390" y="2044119"/>
                  <a:pt x="5835323" y="2043977"/>
                </a:cubicBezTo>
                <a:cubicBezTo>
                  <a:pt x="5835323" y="2043977"/>
                  <a:pt x="5835323" y="2042838"/>
                  <a:pt x="5836390" y="2041985"/>
                </a:cubicBezTo>
                <a:close/>
                <a:moveTo>
                  <a:pt x="5864561" y="2041558"/>
                </a:moveTo>
                <a:cubicBezTo>
                  <a:pt x="5866695" y="2041558"/>
                  <a:pt x="5868830" y="2041843"/>
                  <a:pt x="5871177" y="2042269"/>
                </a:cubicBezTo>
                <a:cubicBezTo>
                  <a:pt x="5877793" y="2044119"/>
                  <a:pt x="5882702" y="2048529"/>
                  <a:pt x="5887611" y="2053651"/>
                </a:cubicBezTo>
                <a:lnTo>
                  <a:pt x="5891025" y="2057208"/>
                </a:lnTo>
                <a:lnTo>
                  <a:pt x="5892733" y="2057634"/>
                </a:lnTo>
                <a:cubicBezTo>
                  <a:pt x="5894440" y="2058061"/>
                  <a:pt x="5895934" y="2058631"/>
                  <a:pt x="5896788" y="2059484"/>
                </a:cubicBezTo>
                <a:cubicBezTo>
                  <a:pt x="5897428" y="2060053"/>
                  <a:pt x="5897641" y="2060764"/>
                  <a:pt x="5897428" y="2061476"/>
                </a:cubicBezTo>
                <a:lnTo>
                  <a:pt x="5894440" y="2061049"/>
                </a:lnTo>
                <a:lnTo>
                  <a:pt x="5895507" y="2061903"/>
                </a:lnTo>
                <a:cubicBezTo>
                  <a:pt x="5898282" y="2064748"/>
                  <a:pt x="5901270" y="2067736"/>
                  <a:pt x="5904898" y="2070296"/>
                </a:cubicBezTo>
                <a:cubicBezTo>
                  <a:pt x="5898282" y="2070865"/>
                  <a:pt x="5894227" y="2074422"/>
                  <a:pt x="5890599" y="2078548"/>
                </a:cubicBezTo>
                <a:lnTo>
                  <a:pt x="5886970" y="2083243"/>
                </a:lnTo>
                <a:lnTo>
                  <a:pt x="5887824" y="2084239"/>
                </a:lnTo>
                <a:cubicBezTo>
                  <a:pt x="5888037" y="2084523"/>
                  <a:pt x="5888037" y="2084523"/>
                  <a:pt x="5888037" y="2083954"/>
                </a:cubicBezTo>
                <a:cubicBezTo>
                  <a:pt x="5890172" y="2086657"/>
                  <a:pt x="5893587" y="2089503"/>
                  <a:pt x="5892306" y="2091779"/>
                </a:cubicBezTo>
                <a:cubicBezTo>
                  <a:pt x="5889105" y="2094767"/>
                  <a:pt x="5884623" y="2093486"/>
                  <a:pt x="5880354" y="2091210"/>
                </a:cubicBezTo>
                <a:lnTo>
                  <a:pt x="5879928" y="2090925"/>
                </a:lnTo>
                <a:lnTo>
                  <a:pt x="5875873" y="2093059"/>
                </a:lnTo>
                <a:cubicBezTo>
                  <a:pt x="5874165" y="2093629"/>
                  <a:pt x="5872458" y="2093914"/>
                  <a:pt x="5870323" y="2093771"/>
                </a:cubicBezTo>
                <a:lnTo>
                  <a:pt x="5862000" y="2091779"/>
                </a:lnTo>
                <a:lnTo>
                  <a:pt x="5861574" y="2094482"/>
                </a:lnTo>
                <a:cubicBezTo>
                  <a:pt x="5857519" y="2093914"/>
                  <a:pt x="5856451" y="2091779"/>
                  <a:pt x="5856238" y="2089076"/>
                </a:cubicBezTo>
                <a:lnTo>
                  <a:pt x="5856451" y="2088791"/>
                </a:lnTo>
                <a:lnTo>
                  <a:pt x="5851756" y="2084950"/>
                </a:lnTo>
                <a:lnTo>
                  <a:pt x="5849622" y="2093486"/>
                </a:lnTo>
                <a:cubicBezTo>
                  <a:pt x="5848555" y="2096474"/>
                  <a:pt x="5847274" y="2099461"/>
                  <a:pt x="5845994" y="2102023"/>
                </a:cubicBezTo>
                <a:cubicBezTo>
                  <a:pt x="5843646" y="2107429"/>
                  <a:pt x="5840872" y="2112977"/>
                  <a:pt x="5837244" y="2114827"/>
                </a:cubicBezTo>
                <a:lnTo>
                  <a:pt x="5836817" y="2114827"/>
                </a:lnTo>
                <a:lnTo>
                  <a:pt x="5834896" y="2117672"/>
                </a:lnTo>
                <a:cubicBezTo>
                  <a:pt x="5831908" y="2121087"/>
                  <a:pt x="5828280" y="2122793"/>
                  <a:pt x="5825079" y="2117956"/>
                </a:cubicBezTo>
                <a:lnTo>
                  <a:pt x="5829347" y="2111554"/>
                </a:lnTo>
                <a:lnTo>
                  <a:pt x="5826786" y="2109562"/>
                </a:lnTo>
                <a:cubicBezTo>
                  <a:pt x="5825506" y="2106717"/>
                  <a:pt x="5824865" y="2103161"/>
                  <a:pt x="5825292" y="2099461"/>
                </a:cubicBezTo>
                <a:lnTo>
                  <a:pt x="5825719" y="2098039"/>
                </a:lnTo>
                <a:lnTo>
                  <a:pt x="5811420" y="2098466"/>
                </a:lnTo>
                <a:lnTo>
                  <a:pt x="5807365" y="2098893"/>
                </a:lnTo>
                <a:lnTo>
                  <a:pt x="5806724" y="2100173"/>
                </a:lnTo>
                <a:cubicBezTo>
                  <a:pt x="5805444" y="2101311"/>
                  <a:pt x="5804164" y="2102165"/>
                  <a:pt x="5803523" y="2103872"/>
                </a:cubicBezTo>
                <a:cubicBezTo>
                  <a:pt x="5802669" y="2103018"/>
                  <a:pt x="5801389" y="2102023"/>
                  <a:pt x="5800322" y="2100457"/>
                </a:cubicBezTo>
                <a:lnTo>
                  <a:pt x="5800109" y="2099746"/>
                </a:lnTo>
                <a:lnTo>
                  <a:pt x="5799682" y="2099746"/>
                </a:lnTo>
                <a:lnTo>
                  <a:pt x="5799895" y="2099177"/>
                </a:lnTo>
                <a:lnTo>
                  <a:pt x="5799468" y="2097754"/>
                </a:lnTo>
                <a:cubicBezTo>
                  <a:pt x="5799255" y="2096616"/>
                  <a:pt x="5799255" y="2095336"/>
                  <a:pt x="5799682" y="2093914"/>
                </a:cubicBezTo>
                <a:cubicBezTo>
                  <a:pt x="5800322" y="2092206"/>
                  <a:pt x="5800322" y="2092206"/>
                  <a:pt x="5801389" y="2091637"/>
                </a:cubicBezTo>
                <a:cubicBezTo>
                  <a:pt x="5802243" y="2090641"/>
                  <a:pt x="5802883" y="2089645"/>
                  <a:pt x="5803523" y="2088934"/>
                </a:cubicBezTo>
                <a:lnTo>
                  <a:pt x="5804164" y="2088791"/>
                </a:lnTo>
                <a:lnTo>
                  <a:pt x="5804590" y="2086800"/>
                </a:lnTo>
                <a:cubicBezTo>
                  <a:pt x="5805231" y="2082531"/>
                  <a:pt x="5804804" y="2078121"/>
                  <a:pt x="5804590" y="2073853"/>
                </a:cubicBezTo>
                <a:lnTo>
                  <a:pt x="5802243" y="2073711"/>
                </a:lnTo>
                <a:cubicBezTo>
                  <a:pt x="5800322" y="2072715"/>
                  <a:pt x="5798614" y="2071435"/>
                  <a:pt x="5796481" y="2071150"/>
                </a:cubicBezTo>
                <a:cubicBezTo>
                  <a:pt x="5797334" y="2065886"/>
                  <a:pt x="5800322" y="2063183"/>
                  <a:pt x="5803523" y="2062472"/>
                </a:cubicBezTo>
                <a:lnTo>
                  <a:pt x="5806084" y="2062756"/>
                </a:lnTo>
                <a:lnTo>
                  <a:pt x="5806938" y="2060480"/>
                </a:lnTo>
                <a:cubicBezTo>
                  <a:pt x="5807792" y="2058773"/>
                  <a:pt x="5808859" y="2057065"/>
                  <a:pt x="5810353" y="2055500"/>
                </a:cubicBezTo>
                <a:cubicBezTo>
                  <a:pt x="5821451" y="2043408"/>
                  <a:pt x="5836177" y="2045826"/>
                  <a:pt x="5844927" y="2054078"/>
                </a:cubicBezTo>
                <a:lnTo>
                  <a:pt x="5845567" y="2054789"/>
                </a:lnTo>
                <a:lnTo>
                  <a:pt x="5847274" y="2051802"/>
                </a:lnTo>
                <a:lnTo>
                  <a:pt x="5844927" y="2051659"/>
                </a:lnTo>
                <a:cubicBezTo>
                  <a:pt x="5843006" y="2050379"/>
                  <a:pt x="5842152" y="2048103"/>
                  <a:pt x="5843219" y="2044403"/>
                </a:cubicBezTo>
                <a:cubicBezTo>
                  <a:pt x="5844927" y="2043550"/>
                  <a:pt x="5847488" y="2043550"/>
                  <a:pt x="5849836" y="2044119"/>
                </a:cubicBezTo>
                <a:lnTo>
                  <a:pt x="5852183" y="2045826"/>
                </a:lnTo>
                <a:lnTo>
                  <a:pt x="5858799" y="2042127"/>
                </a:lnTo>
                <a:cubicBezTo>
                  <a:pt x="5860720" y="2041701"/>
                  <a:pt x="5862427" y="2041558"/>
                  <a:pt x="5864561" y="2041558"/>
                </a:cubicBezTo>
                <a:close/>
                <a:moveTo>
                  <a:pt x="5773218" y="2041416"/>
                </a:moveTo>
                <a:cubicBezTo>
                  <a:pt x="5774498" y="2042696"/>
                  <a:pt x="5775565" y="2043977"/>
                  <a:pt x="5775992" y="2045400"/>
                </a:cubicBezTo>
                <a:lnTo>
                  <a:pt x="5775992" y="2046538"/>
                </a:lnTo>
                <a:lnTo>
                  <a:pt x="5777059" y="2045542"/>
                </a:lnTo>
                <a:cubicBezTo>
                  <a:pt x="5777486" y="2044688"/>
                  <a:pt x="5777699" y="2043834"/>
                  <a:pt x="5777913" y="2042554"/>
                </a:cubicBezTo>
                <a:cubicBezTo>
                  <a:pt x="5777913" y="2042554"/>
                  <a:pt x="5777913" y="2042554"/>
                  <a:pt x="5781114" y="2041558"/>
                </a:cubicBezTo>
                <a:lnTo>
                  <a:pt x="5782181" y="2042269"/>
                </a:lnTo>
                <a:cubicBezTo>
                  <a:pt x="5782395" y="2042838"/>
                  <a:pt x="5782181" y="2043692"/>
                  <a:pt x="5781541" y="2044830"/>
                </a:cubicBezTo>
                <a:cubicBezTo>
                  <a:pt x="5779620" y="2048529"/>
                  <a:pt x="5774498" y="2053936"/>
                  <a:pt x="5774071" y="2054647"/>
                </a:cubicBezTo>
                <a:cubicBezTo>
                  <a:pt x="5774071" y="2054647"/>
                  <a:pt x="5773431" y="2055642"/>
                  <a:pt x="5772791" y="2056781"/>
                </a:cubicBezTo>
                <a:cubicBezTo>
                  <a:pt x="5771084" y="2057208"/>
                  <a:pt x="5770230" y="2056639"/>
                  <a:pt x="5769589" y="2057634"/>
                </a:cubicBezTo>
                <a:cubicBezTo>
                  <a:pt x="5769163" y="2055216"/>
                  <a:pt x="5769803" y="2053367"/>
                  <a:pt x="5770656" y="2051802"/>
                </a:cubicBezTo>
                <a:lnTo>
                  <a:pt x="5774498" y="2047675"/>
                </a:lnTo>
                <a:lnTo>
                  <a:pt x="5773431" y="2045684"/>
                </a:lnTo>
                <a:cubicBezTo>
                  <a:pt x="5772791" y="2044403"/>
                  <a:pt x="5772791" y="2043123"/>
                  <a:pt x="5773218" y="2041416"/>
                </a:cubicBezTo>
                <a:close/>
                <a:moveTo>
                  <a:pt x="4755632" y="2041416"/>
                </a:moveTo>
                <a:cubicBezTo>
                  <a:pt x="4756699" y="2044688"/>
                  <a:pt x="4757553" y="2047960"/>
                  <a:pt x="4754351" y="2048529"/>
                </a:cubicBezTo>
                <a:cubicBezTo>
                  <a:pt x="4753071" y="2046253"/>
                  <a:pt x="4751364" y="2046538"/>
                  <a:pt x="4751151" y="2042269"/>
                </a:cubicBezTo>
                <a:cubicBezTo>
                  <a:pt x="4752644" y="2041985"/>
                  <a:pt x="4754138" y="2041701"/>
                  <a:pt x="4755632" y="2041416"/>
                </a:cubicBezTo>
                <a:close/>
                <a:moveTo>
                  <a:pt x="5190368" y="2041274"/>
                </a:moveTo>
                <a:cubicBezTo>
                  <a:pt x="5191649" y="2041416"/>
                  <a:pt x="5195064" y="2043123"/>
                  <a:pt x="5195064" y="2041985"/>
                </a:cubicBezTo>
                <a:cubicBezTo>
                  <a:pt x="5197624" y="2045115"/>
                  <a:pt x="5199972" y="2048814"/>
                  <a:pt x="5199972" y="2051802"/>
                </a:cubicBezTo>
                <a:cubicBezTo>
                  <a:pt x="5199972" y="2052797"/>
                  <a:pt x="5199545" y="2053793"/>
                  <a:pt x="5198905" y="2054647"/>
                </a:cubicBezTo>
                <a:cubicBezTo>
                  <a:pt x="5197624" y="2056781"/>
                  <a:pt x="5195490" y="2055216"/>
                  <a:pt x="5193143" y="2052513"/>
                </a:cubicBezTo>
                <a:cubicBezTo>
                  <a:pt x="5187594" y="2047960"/>
                  <a:pt x="5186740" y="2044261"/>
                  <a:pt x="5190368" y="2041274"/>
                </a:cubicBezTo>
                <a:close/>
                <a:moveTo>
                  <a:pt x="5949075" y="2040847"/>
                </a:moveTo>
                <a:cubicBezTo>
                  <a:pt x="5950570" y="2042981"/>
                  <a:pt x="5953984" y="2046538"/>
                  <a:pt x="5954625" y="2049098"/>
                </a:cubicBezTo>
                <a:cubicBezTo>
                  <a:pt x="5954838" y="2049952"/>
                  <a:pt x="5954625" y="2050805"/>
                  <a:pt x="5954198" y="2051232"/>
                </a:cubicBezTo>
                <a:cubicBezTo>
                  <a:pt x="5952063" y="2048529"/>
                  <a:pt x="5947582" y="2045400"/>
                  <a:pt x="5949075" y="2040847"/>
                </a:cubicBezTo>
                <a:close/>
                <a:moveTo>
                  <a:pt x="791150" y="2040626"/>
                </a:moveTo>
                <a:cubicBezTo>
                  <a:pt x="799823" y="2036599"/>
                  <a:pt x="813246" y="2043569"/>
                  <a:pt x="808187" y="2051004"/>
                </a:cubicBezTo>
                <a:cubicBezTo>
                  <a:pt x="807464" y="2051933"/>
                  <a:pt x="806328" y="2053017"/>
                  <a:pt x="804779" y="2054102"/>
                </a:cubicBezTo>
                <a:cubicBezTo>
                  <a:pt x="800029" y="2052398"/>
                  <a:pt x="791253" y="2050694"/>
                  <a:pt x="790840" y="2043879"/>
                </a:cubicBezTo>
                <a:cubicBezTo>
                  <a:pt x="790736" y="2042950"/>
                  <a:pt x="790840" y="2041710"/>
                  <a:pt x="791150" y="2040626"/>
                </a:cubicBezTo>
                <a:close/>
                <a:moveTo>
                  <a:pt x="6000937" y="2040420"/>
                </a:moveTo>
                <a:cubicBezTo>
                  <a:pt x="6002217" y="2040278"/>
                  <a:pt x="6004565" y="2040136"/>
                  <a:pt x="6005845" y="2041274"/>
                </a:cubicBezTo>
                <a:cubicBezTo>
                  <a:pt x="6006912" y="2041131"/>
                  <a:pt x="6006272" y="2044830"/>
                  <a:pt x="6006272" y="2044830"/>
                </a:cubicBezTo>
                <a:cubicBezTo>
                  <a:pt x="6005418" y="2046253"/>
                  <a:pt x="6001577" y="2043977"/>
                  <a:pt x="6000297" y="2044119"/>
                </a:cubicBezTo>
                <a:cubicBezTo>
                  <a:pt x="6000083" y="2042838"/>
                  <a:pt x="6001150" y="2041558"/>
                  <a:pt x="6000937" y="2040420"/>
                </a:cubicBezTo>
                <a:close/>
                <a:moveTo>
                  <a:pt x="5657971" y="2040278"/>
                </a:moveTo>
                <a:cubicBezTo>
                  <a:pt x="5660319" y="2040420"/>
                  <a:pt x="5662666" y="2041843"/>
                  <a:pt x="5663306" y="2043408"/>
                </a:cubicBezTo>
                <a:cubicBezTo>
                  <a:pt x="5662666" y="2051517"/>
                  <a:pt x="5653916" y="2048103"/>
                  <a:pt x="5652635" y="2044830"/>
                </a:cubicBezTo>
                <a:cubicBezTo>
                  <a:pt x="5653063" y="2041274"/>
                  <a:pt x="5655623" y="2040136"/>
                  <a:pt x="5657971" y="2040278"/>
                </a:cubicBezTo>
                <a:close/>
                <a:moveTo>
                  <a:pt x="5989412" y="2039993"/>
                </a:moveTo>
                <a:cubicBezTo>
                  <a:pt x="5990052" y="2039709"/>
                  <a:pt x="5991333" y="2039993"/>
                  <a:pt x="5993254" y="2040989"/>
                </a:cubicBezTo>
                <a:cubicBezTo>
                  <a:pt x="5993254" y="2040989"/>
                  <a:pt x="5993467" y="2042127"/>
                  <a:pt x="5993467" y="2042127"/>
                </a:cubicBezTo>
                <a:cubicBezTo>
                  <a:pt x="5991546" y="2045826"/>
                  <a:pt x="5990266" y="2044546"/>
                  <a:pt x="5987491" y="2042411"/>
                </a:cubicBezTo>
                <a:cubicBezTo>
                  <a:pt x="5987918" y="2041274"/>
                  <a:pt x="5988558" y="2040420"/>
                  <a:pt x="5989412" y="2039993"/>
                </a:cubicBezTo>
                <a:close/>
                <a:moveTo>
                  <a:pt x="5693826" y="2039993"/>
                </a:moveTo>
                <a:cubicBezTo>
                  <a:pt x="5694892" y="2039851"/>
                  <a:pt x="5695960" y="2039993"/>
                  <a:pt x="5697027" y="2040420"/>
                </a:cubicBezTo>
                <a:cubicBezTo>
                  <a:pt x="5701082" y="2040989"/>
                  <a:pt x="5702789" y="2045257"/>
                  <a:pt x="5707271" y="2046964"/>
                </a:cubicBezTo>
                <a:cubicBezTo>
                  <a:pt x="5705777" y="2052797"/>
                  <a:pt x="5705137" y="2054504"/>
                  <a:pt x="5698947" y="2054932"/>
                </a:cubicBezTo>
                <a:cubicBezTo>
                  <a:pt x="5698947" y="2054932"/>
                  <a:pt x="5697454" y="2054362"/>
                  <a:pt x="5697454" y="2054362"/>
                </a:cubicBezTo>
                <a:cubicBezTo>
                  <a:pt x="5691904" y="2053367"/>
                  <a:pt x="5687209" y="2047818"/>
                  <a:pt x="5687423" y="2045115"/>
                </a:cubicBezTo>
                <a:cubicBezTo>
                  <a:pt x="5688490" y="2042696"/>
                  <a:pt x="5690838" y="2040420"/>
                  <a:pt x="5693826" y="2039993"/>
                </a:cubicBezTo>
                <a:close/>
                <a:moveTo>
                  <a:pt x="4993808" y="2039993"/>
                </a:moveTo>
                <a:cubicBezTo>
                  <a:pt x="4999784" y="2039993"/>
                  <a:pt x="5004266" y="2044688"/>
                  <a:pt x="5004906" y="2049952"/>
                </a:cubicBezTo>
                <a:cubicBezTo>
                  <a:pt x="5005120" y="2051659"/>
                  <a:pt x="5004906" y="2053509"/>
                  <a:pt x="5004266" y="2055358"/>
                </a:cubicBezTo>
                <a:cubicBezTo>
                  <a:pt x="5003199" y="2057634"/>
                  <a:pt x="5001065" y="2059769"/>
                  <a:pt x="4998077" y="2061476"/>
                </a:cubicBezTo>
                <a:cubicBezTo>
                  <a:pt x="4995089" y="2062045"/>
                  <a:pt x="4991675" y="2059484"/>
                  <a:pt x="4989113" y="2056069"/>
                </a:cubicBezTo>
                <a:lnTo>
                  <a:pt x="4989113" y="2055927"/>
                </a:lnTo>
                <a:lnTo>
                  <a:pt x="4988900" y="2057350"/>
                </a:lnTo>
                <a:cubicBezTo>
                  <a:pt x="4988260" y="2056639"/>
                  <a:pt x="4988473" y="2056496"/>
                  <a:pt x="4988687" y="2056212"/>
                </a:cubicBezTo>
                <a:lnTo>
                  <a:pt x="4988900" y="2055500"/>
                </a:lnTo>
                <a:lnTo>
                  <a:pt x="4986979" y="2051944"/>
                </a:lnTo>
                <a:lnTo>
                  <a:pt x="4984632" y="2052797"/>
                </a:lnTo>
                <a:lnTo>
                  <a:pt x="4986979" y="2051659"/>
                </a:lnTo>
                <a:lnTo>
                  <a:pt x="4986339" y="2050521"/>
                </a:lnTo>
                <a:cubicBezTo>
                  <a:pt x="4985699" y="2048672"/>
                  <a:pt x="4985699" y="2046964"/>
                  <a:pt x="4986125" y="2045542"/>
                </a:cubicBezTo>
                <a:cubicBezTo>
                  <a:pt x="4988687" y="2043692"/>
                  <a:pt x="4991248" y="2041843"/>
                  <a:pt x="4993808" y="2039993"/>
                </a:cubicBezTo>
                <a:close/>
                <a:moveTo>
                  <a:pt x="4955820" y="2039424"/>
                </a:moveTo>
                <a:cubicBezTo>
                  <a:pt x="4960088" y="2042838"/>
                  <a:pt x="4964357" y="2042127"/>
                  <a:pt x="4966278" y="2044119"/>
                </a:cubicBezTo>
                <a:cubicBezTo>
                  <a:pt x="4966704" y="2044830"/>
                  <a:pt x="4967131" y="2045684"/>
                  <a:pt x="4967131" y="2047249"/>
                </a:cubicBezTo>
                <a:cubicBezTo>
                  <a:pt x="4962650" y="2049810"/>
                  <a:pt x="4955607" y="2044546"/>
                  <a:pt x="4955820" y="2039424"/>
                </a:cubicBezTo>
                <a:close/>
                <a:moveTo>
                  <a:pt x="856097" y="2039232"/>
                </a:moveTo>
                <a:cubicBezTo>
                  <a:pt x="857130" y="2040936"/>
                  <a:pt x="857440" y="2042020"/>
                  <a:pt x="857750" y="2043259"/>
                </a:cubicBezTo>
                <a:cubicBezTo>
                  <a:pt x="858782" y="2044963"/>
                  <a:pt x="858266" y="2045583"/>
                  <a:pt x="855891" y="2046047"/>
                </a:cubicBezTo>
                <a:cubicBezTo>
                  <a:pt x="855375" y="2045273"/>
                  <a:pt x="855065" y="2043724"/>
                  <a:pt x="855065" y="2042330"/>
                </a:cubicBezTo>
                <a:cubicBezTo>
                  <a:pt x="854962" y="2040936"/>
                  <a:pt x="855271" y="2039696"/>
                  <a:pt x="856097" y="2039232"/>
                </a:cubicBezTo>
                <a:close/>
                <a:moveTo>
                  <a:pt x="871560" y="2039019"/>
                </a:moveTo>
                <a:cubicBezTo>
                  <a:pt x="873651" y="2037683"/>
                  <a:pt x="876232" y="2037373"/>
                  <a:pt x="878297" y="2039387"/>
                </a:cubicBezTo>
                <a:cubicBezTo>
                  <a:pt x="879021" y="2041865"/>
                  <a:pt x="879743" y="2044343"/>
                  <a:pt x="877059" y="2047751"/>
                </a:cubicBezTo>
                <a:cubicBezTo>
                  <a:pt x="873548" y="2048681"/>
                  <a:pt x="870966" y="2048061"/>
                  <a:pt x="867765" y="2044808"/>
                </a:cubicBezTo>
                <a:cubicBezTo>
                  <a:pt x="867869" y="2042717"/>
                  <a:pt x="869469" y="2040355"/>
                  <a:pt x="871560" y="2039019"/>
                </a:cubicBezTo>
                <a:close/>
                <a:moveTo>
                  <a:pt x="6305273" y="2038855"/>
                </a:moveTo>
                <a:cubicBezTo>
                  <a:pt x="6307407" y="2038997"/>
                  <a:pt x="6308475" y="2039566"/>
                  <a:pt x="6308901" y="2040705"/>
                </a:cubicBezTo>
                <a:cubicBezTo>
                  <a:pt x="6309115" y="2041843"/>
                  <a:pt x="6308901" y="2043408"/>
                  <a:pt x="6308475" y="2045115"/>
                </a:cubicBezTo>
                <a:cubicBezTo>
                  <a:pt x="6307407" y="2048387"/>
                  <a:pt x="6304847" y="2048672"/>
                  <a:pt x="6304847" y="2048672"/>
                </a:cubicBezTo>
                <a:cubicBezTo>
                  <a:pt x="6300792" y="2048529"/>
                  <a:pt x="6298230" y="2045968"/>
                  <a:pt x="6298657" y="2041558"/>
                </a:cubicBezTo>
                <a:cubicBezTo>
                  <a:pt x="6300151" y="2039282"/>
                  <a:pt x="6302712" y="2039139"/>
                  <a:pt x="6305273" y="2038855"/>
                </a:cubicBezTo>
                <a:close/>
                <a:moveTo>
                  <a:pt x="5017498" y="2038570"/>
                </a:moveTo>
                <a:cubicBezTo>
                  <a:pt x="5016431" y="2040705"/>
                  <a:pt x="5013443" y="2043977"/>
                  <a:pt x="5010242" y="2043266"/>
                </a:cubicBezTo>
                <a:cubicBezTo>
                  <a:pt x="5010242" y="2043266"/>
                  <a:pt x="5010242" y="2043266"/>
                  <a:pt x="5008748" y="2042838"/>
                </a:cubicBezTo>
                <a:cubicBezTo>
                  <a:pt x="5011309" y="2041131"/>
                  <a:pt x="5014937" y="2038713"/>
                  <a:pt x="5017498" y="2038570"/>
                </a:cubicBezTo>
                <a:close/>
                <a:moveTo>
                  <a:pt x="5937764" y="2037717"/>
                </a:moveTo>
                <a:cubicBezTo>
                  <a:pt x="5939045" y="2037432"/>
                  <a:pt x="5940112" y="2037432"/>
                  <a:pt x="5941392" y="2037859"/>
                </a:cubicBezTo>
                <a:cubicBezTo>
                  <a:pt x="5942887" y="2038286"/>
                  <a:pt x="5944380" y="2039139"/>
                  <a:pt x="5945661" y="2040847"/>
                </a:cubicBezTo>
                <a:cubicBezTo>
                  <a:pt x="5943954" y="2043123"/>
                  <a:pt x="5943527" y="2045542"/>
                  <a:pt x="5942032" y="2047960"/>
                </a:cubicBezTo>
                <a:cubicBezTo>
                  <a:pt x="5937764" y="2047533"/>
                  <a:pt x="5933496" y="2052086"/>
                  <a:pt x="5930081" y="2045542"/>
                </a:cubicBezTo>
                <a:cubicBezTo>
                  <a:pt x="5930721" y="2041558"/>
                  <a:pt x="5934136" y="2038428"/>
                  <a:pt x="5937764" y="2037717"/>
                </a:cubicBezTo>
                <a:close/>
                <a:moveTo>
                  <a:pt x="4817951" y="2037290"/>
                </a:moveTo>
                <a:cubicBezTo>
                  <a:pt x="4820939" y="2038570"/>
                  <a:pt x="4822646" y="2041274"/>
                  <a:pt x="4823500" y="2044403"/>
                </a:cubicBezTo>
                <a:lnTo>
                  <a:pt x="4823713" y="2047391"/>
                </a:lnTo>
                <a:lnTo>
                  <a:pt x="4825634" y="2047960"/>
                </a:lnTo>
                <a:cubicBezTo>
                  <a:pt x="4828195" y="2052228"/>
                  <a:pt x="4828408" y="2056923"/>
                  <a:pt x="4826488" y="2059769"/>
                </a:cubicBezTo>
                <a:lnTo>
                  <a:pt x="4823286" y="2062045"/>
                </a:lnTo>
                <a:lnTo>
                  <a:pt x="4822860" y="2063183"/>
                </a:lnTo>
                <a:cubicBezTo>
                  <a:pt x="4822219" y="2064179"/>
                  <a:pt x="4821365" y="2064606"/>
                  <a:pt x="4819872" y="2063894"/>
                </a:cubicBezTo>
                <a:cubicBezTo>
                  <a:pt x="4818591" y="2063752"/>
                  <a:pt x="4818164" y="2062898"/>
                  <a:pt x="4817524" y="2062045"/>
                </a:cubicBezTo>
                <a:lnTo>
                  <a:pt x="4817310" y="2061903"/>
                </a:lnTo>
                <a:lnTo>
                  <a:pt x="4814963" y="2061476"/>
                </a:lnTo>
                <a:lnTo>
                  <a:pt x="4814322" y="2059626"/>
                </a:lnTo>
                <a:lnTo>
                  <a:pt x="4811121" y="2060195"/>
                </a:lnTo>
                <a:cubicBezTo>
                  <a:pt x="4809627" y="2060906"/>
                  <a:pt x="4808347" y="2062045"/>
                  <a:pt x="4806639" y="2063183"/>
                </a:cubicBezTo>
                <a:lnTo>
                  <a:pt x="4805786" y="2063610"/>
                </a:lnTo>
                <a:lnTo>
                  <a:pt x="4804505" y="2068305"/>
                </a:lnTo>
                <a:cubicBezTo>
                  <a:pt x="4802798" y="2068020"/>
                  <a:pt x="4801304" y="2067736"/>
                  <a:pt x="4799597" y="2067451"/>
                </a:cubicBezTo>
                <a:lnTo>
                  <a:pt x="4799383" y="2065886"/>
                </a:lnTo>
                <a:lnTo>
                  <a:pt x="4794475" y="2065744"/>
                </a:lnTo>
                <a:cubicBezTo>
                  <a:pt x="4796182" y="2062614"/>
                  <a:pt x="4789993" y="2058631"/>
                  <a:pt x="4792554" y="2054078"/>
                </a:cubicBezTo>
                <a:cubicBezTo>
                  <a:pt x="4798743" y="2039424"/>
                  <a:pt x="4802585" y="2040562"/>
                  <a:pt x="4811335" y="2040989"/>
                </a:cubicBezTo>
                <a:cubicBezTo>
                  <a:pt x="4810268" y="2041416"/>
                  <a:pt x="4811761" y="2042127"/>
                  <a:pt x="4811761" y="2042127"/>
                </a:cubicBezTo>
                <a:cubicBezTo>
                  <a:pt x="4814536" y="2043550"/>
                  <a:pt x="4813896" y="2036294"/>
                  <a:pt x="4817951" y="2037290"/>
                </a:cubicBezTo>
                <a:close/>
                <a:moveTo>
                  <a:pt x="5027102" y="2036294"/>
                </a:moveTo>
                <a:cubicBezTo>
                  <a:pt x="5030730" y="2037290"/>
                  <a:pt x="5034359" y="2039993"/>
                  <a:pt x="5037133" y="2042981"/>
                </a:cubicBezTo>
                <a:lnTo>
                  <a:pt x="5040334" y="2048387"/>
                </a:lnTo>
                <a:lnTo>
                  <a:pt x="5042895" y="2049383"/>
                </a:lnTo>
                <a:cubicBezTo>
                  <a:pt x="5043535" y="2050095"/>
                  <a:pt x="5043962" y="2050805"/>
                  <a:pt x="5043962" y="2051517"/>
                </a:cubicBezTo>
                <a:cubicBezTo>
                  <a:pt x="5044175" y="2052370"/>
                  <a:pt x="5043962" y="2053224"/>
                  <a:pt x="5042682" y="2054078"/>
                </a:cubicBezTo>
                <a:lnTo>
                  <a:pt x="5042255" y="2054362"/>
                </a:lnTo>
                <a:lnTo>
                  <a:pt x="5039694" y="2058631"/>
                </a:lnTo>
                <a:cubicBezTo>
                  <a:pt x="5038413" y="2060053"/>
                  <a:pt x="5036919" y="2060906"/>
                  <a:pt x="5035212" y="2061191"/>
                </a:cubicBezTo>
                <a:cubicBezTo>
                  <a:pt x="5025821" y="2063041"/>
                  <a:pt x="5013657" y="2047533"/>
                  <a:pt x="5019846" y="2036437"/>
                </a:cubicBezTo>
                <a:cubicBezTo>
                  <a:pt x="5022193" y="2035441"/>
                  <a:pt x="5024754" y="2035582"/>
                  <a:pt x="5027102" y="2036294"/>
                </a:cubicBezTo>
                <a:close/>
                <a:moveTo>
                  <a:pt x="5707911" y="2036152"/>
                </a:moveTo>
                <a:lnTo>
                  <a:pt x="5706417" y="2036437"/>
                </a:lnTo>
                <a:lnTo>
                  <a:pt x="5705990" y="2037574"/>
                </a:lnTo>
                <a:close/>
                <a:moveTo>
                  <a:pt x="4773986" y="2035725"/>
                </a:moveTo>
                <a:cubicBezTo>
                  <a:pt x="4774413" y="2039993"/>
                  <a:pt x="4774626" y="2044261"/>
                  <a:pt x="4775267" y="2048672"/>
                </a:cubicBezTo>
                <a:lnTo>
                  <a:pt x="4778681" y="2060480"/>
                </a:lnTo>
                <a:lnTo>
                  <a:pt x="4779962" y="2054647"/>
                </a:lnTo>
                <a:cubicBezTo>
                  <a:pt x="4781456" y="2050521"/>
                  <a:pt x="4783590" y="2047249"/>
                  <a:pt x="4786792" y="2047960"/>
                </a:cubicBezTo>
                <a:cubicBezTo>
                  <a:pt x="4787859" y="2048245"/>
                  <a:pt x="4788926" y="2048814"/>
                  <a:pt x="4789993" y="2049810"/>
                </a:cubicBezTo>
                <a:cubicBezTo>
                  <a:pt x="4786578" y="2056354"/>
                  <a:pt x="4787005" y="2064036"/>
                  <a:pt x="4783590" y="2065886"/>
                </a:cubicBezTo>
                <a:cubicBezTo>
                  <a:pt x="4782309" y="2066455"/>
                  <a:pt x="4780602" y="2066455"/>
                  <a:pt x="4778255" y="2065459"/>
                </a:cubicBezTo>
                <a:lnTo>
                  <a:pt x="4778255" y="2065033"/>
                </a:lnTo>
                <a:lnTo>
                  <a:pt x="4777188" y="2066170"/>
                </a:lnTo>
                <a:cubicBezTo>
                  <a:pt x="4776761" y="2067309"/>
                  <a:pt x="4776334" y="2068447"/>
                  <a:pt x="4774200" y="2068305"/>
                </a:cubicBezTo>
                <a:cubicBezTo>
                  <a:pt x="4772065" y="2067024"/>
                  <a:pt x="4770358" y="2064463"/>
                  <a:pt x="4769078" y="2061476"/>
                </a:cubicBezTo>
                <a:lnTo>
                  <a:pt x="4766730" y="2051517"/>
                </a:lnTo>
                <a:lnTo>
                  <a:pt x="4763955" y="2050379"/>
                </a:lnTo>
                <a:cubicBezTo>
                  <a:pt x="4762889" y="2049383"/>
                  <a:pt x="4761608" y="2048103"/>
                  <a:pt x="4760541" y="2046538"/>
                </a:cubicBezTo>
                <a:cubicBezTo>
                  <a:pt x="4761608" y="2044119"/>
                  <a:pt x="4761394" y="2041843"/>
                  <a:pt x="4762248" y="2038286"/>
                </a:cubicBezTo>
                <a:lnTo>
                  <a:pt x="4768651" y="2040847"/>
                </a:lnTo>
                <a:close/>
                <a:moveTo>
                  <a:pt x="855065" y="2035669"/>
                </a:moveTo>
                <a:cubicBezTo>
                  <a:pt x="855685" y="2035515"/>
                  <a:pt x="855994" y="2035824"/>
                  <a:pt x="856201" y="2035979"/>
                </a:cubicBezTo>
                <a:cubicBezTo>
                  <a:pt x="856511" y="2036289"/>
                  <a:pt x="856614" y="2036599"/>
                  <a:pt x="856614" y="2036599"/>
                </a:cubicBezTo>
                <a:cubicBezTo>
                  <a:pt x="856924" y="2037838"/>
                  <a:pt x="857130" y="2038922"/>
                  <a:pt x="855994" y="2039077"/>
                </a:cubicBezTo>
                <a:cubicBezTo>
                  <a:pt x="855994" y="2039077"/>
                  <a:pt x="855271" y="2038612"/>
                  <a:pt x="854652" y="2036289"/>
                </a:cubicBezTo>
                <a:cubicBezTo>
                  <a:pt x="855375" y="2036754"/>
                  <a:pt x="855788" y="2036134"/>
                  <a:pt x="855788" y="2036134"/>
                </a:cubicBezTo>
                <a:cubicBezTo>
                  <a:pt x="855788" y="2036134"/>
                  <a:pt x="855788" y="2036134"/>
                  <a:pt x="855065" y="2035669"/>
                </a:cubicBezTo>
                <a:close/>
                <a:moveTo>
                  <a:pt x="5586902" y="2033307"/>
                </a:moveTo>
                <a:cubicBezTo>
                  <a:pt x="5596720" y="2034587"/>
                  <a:pt x="5604403" y="2052370"/>
                  <a:pt x="5595225" y="2060906"/>
                </a:cubicBezTo>
                <a:cubicBezTo>
                  <a:pt x="5584768" y="2061618"/>
                  <a:pt x="5577085" y="2046964"/>
                  <a:pt x="5576871" y="2038713"/>
                </a:cubicBezTo>
                <a:cubicBezTo>
                  <a:pt x="5580073" y="2034445"/>
                  <a:pt x="5583487" y="2033022"/>
                  <a:pt x="5586902" y="2033307"/>
                </a:cubicBezTo>
                <a:close/>
                <a:moveTo>
                  <a:pt x="4674746" y="2032595"/>
                </a:moveTo>
                <a:cubicBezTo>
                  <a:pt x="4684563" y="2047106"/>
                  <a:pt x="4702917" y="2044261"/>
                  <a:pt x="4711241" y="2061903"/>
                </a:cubicBezTo>
                <a:cubicBezTo>
                  <a:pt x="4708467" y="2063041"/>
                  <a:pt x="4704412" y="2062898"/>
                  <a:pt x="4699929" y="2061476"/>
                </a:cubicBezTo>
                <a:lnTo>
                  <a:pt x="4695448" y="2059199"/>
                </a:lnTo>
                <a:lnTo>
                  <a:pt x="4695448" y="2059626"/>
                </a:lnTo>
                <a:cubicBezTo>
                  <a:pt x="4694167" y="2061333"/>
                  <a:pt x="4692887" y="2061760"/>
                  <a:pt x="4691606" y="2061476"/>
                </a:cubicBezTo>
                <a:cubicBezTo>
                  <a:pt x="4690326" y="2061191"/>
                  <a:pt x="4688832" y="2060053"/>
                  <a:pt x="4687125" y="2058631"/>
                </a:cubicBezTo>
                <a:cubicBezTo>
                  <a:pt x="4685204" y="2057208"/>
                  <a:pt x="4684777" y="2055642"/>
                  <a:pt x="4684350" y="2054078"/>
                </a:cubicBezTo>
                <a:lnTo>
                  <a:pt x="4683070" y="2051090"/>
                </a:lnTo>
                <a:lnTo>
                  <a:pt x="4676454" y="2044119"/>
                </a:lnTo>
                <a:cubicBezTo>
                  <a:pt x="4674106" y="2040278"/>
                  <a:pt x="4673252" y="2036294"/>
                  <a:pt x="4674746" y="2032595"/>
                </a:cubicBezTo>
                <a:close/>
                <a:moveTo>
                  <a:pt x="843707" y="2031797"/>
                </a:moveTo>
                <a:cubicBezTo>
                  <a:pt x="844533" y="2033501"/>
                  <a:pt x="846185" y="2036289"/>
                  <a:pt x="843500" y="2039542"/>
                </a:cubicBezTo>
                <a:cubicBezTo>
                  <a:pt x="842674" y="2040161"/>
                  <a:pt x="842571" y="2040161"/>
                  <a:pt x="841745" y="2040161"/>
                </a:cubicBezTo>
                <a:cubicBezTo>
                  <a:pt x="839990" y="2040781"/>
                  <a:pt x="839061" y="2041555"/>
                  <a:pt x="837305" y="2040626"/>
                </a:cubicBezTo>
                <a:cubicBezTo>
                  <a:pt x="836066" y="2039542"/>
                  <a:pt x="835653" y="2038612"/>
                  <a:pt x="835756" y="2037683"/>
                </a:cubicBezTo>
                <a:cubicBezTo>
                  <a:pt x="835859" y="2036754"/>
                  <a:pt x="836582" y="2035824"/>
                  <a:pt x="837511" y="2034585"/>
                </a:cubicBezTo>
                <a:cubicBezTo>
                  <a:pt x="838337" y="2033346"/>
                  <a:pt x="839473" y="2033036"/>
                  <a:pt x="840609" y="2032881"/>
                </a:cubicBezTo>
                <a:cubicBezTo>
                  <a:pt x="841642" y="2032572"/>
                  <a:pt x="842778" y="2032572"/>
                  <a:pt x="843707" y="2031797"/>
                </a:cubicBezTo>
                <a:close/>
                <a:moveTo>
                  <a:pt x="6341981" y="2030746"/>
                </a:moveTo>
                <a:cubicBezTo>
                  <a:pt x="6345610" y="2029892"/>
                  <a:pt x="6349238" y="2032453"/>
                  <a:pt x="6349664" y="2036152"/>
                </a:cubicBezTo>
                <a:cubicBezTo>
                  <a:pt x="6344756" y="2044261"/>
                  <a:pt x="6337713" y="2037574"/>
                  <a:pt x="6338567" y="2032880"/>
                </a:cubicBezTo>
                <a:cubicBezTo>
                  <a:pt x="6339634" y="2031742"/>
                  <a:pt x="6340701" y="2031030"/>
                  <a:pt x="6341981" y="2030746"/>
                </a:cubicBezTo>
                <a:close/>
                <a:moveTo>
                  <a:pt x="5177350" y="2030461"/>
                </a:moveTo>
                <a:cubicBezTo>
                  <a:pt x="5177350" y="2030461"/>
                  <a:pt x="5179697" y="2032026"/>
                  <a:pt x="5179697" y="2032026"/>
                </a:cubicBezTo>
                <a:cubicBezTo>
                  <a:pt x="5181832" y="2034872"/>
                  <a:pt x="5182898" y="2036294"/>
                  <a:pt x="5185033" y="2037859"/>
                </a:cubicBezTo>
                <a:cubicBezTo>
                  <a:pt x="5183752" y="2040136"/>
                  <a:pt x="5182472" y="2039851"/>
                  <a:pt x="5181405" y="2038570"/>
                </a:cubicBezTo>
                <a:cubicBezTo>
                  <a:pt x="5181405" y="2038570"/>
                  <a:pt x="5180337" y="2037006"/>
                  <a:pt x="5179270" y="2035725"/>
                </a:cubicBezTo>
                <a:cubicBezTo>
                  <a:pt x="5178203" y="2034302"/>
                  <a:pt x="5177136" y="2034018"/>
                  <a:pt x="5177136" y="2034018"/>
                </a:cubicBezTo>
                <a:cubicBezTo>
                  <a:pt x="5176069" y="2032595"/>
                  <a:pt x="5176069" y="2031457"/>
                  <a:pt x="5177350" y="2030461"/>
                </a:cubicBezTo>
                <a:close/>
                <a:moveTo>
                  <a:pt x="5640044" y="2029038"/>
                </a:moveTo>
                <a:cubicBezTo>
                  <a:pt x="5637909" y="2036579"/>
                  <a:pt x="5634921" y="2061191"/>
                  <a:pt x="5625318" y="2059484"/>
                </a:cubicBezTo>
                <a:cubicBezTo>
                  <a:pt x="5627025" y="2050948"/>
                  <a:pt x="5627025" y="2027900"/>
                  <a:pt x="5640044" y="2029038"/>
                </a:cubicBezTo>
                <a:close/>
                <a:moveTo>
                  <a:pt x="6019077" y="2027758"/>
                </a:moveTo>
                <a:cubicBezTo>
                  <a:pt x="6020784" y="2027900"/>
                  <a:pt x="6022279" y="2028327"/>
                  <a:pt x="6023559" y="2028470"/>
                </a:cubicBezTo>
                <a:cubicBezTo>
                  <a:pt x="6024626" y="2031742"/>
                  <a:pt x="6026120" y="2034160"/>
                  <a:pt x="6026974" y="2037432"/>
                </a:cubicBezTo>
                <a:lnTo>
                  <a:pt x="6026760" y="2037859"/>
                </a:lnTo>
                <a:lnTo>
                  <a:pt x="6026974" y="2038001"/>
                </a:lnTo>
                <a:cubicBezTo>
                  <a:pt x="6028467" y="2039424"/>
                  <a:pt x="6029108" y="2040705"/>
                  <a:pt x="6028895" y="2042127"/>
                </a:cubicBezTo>
                <a:cubicBezTo>
                  <a:pt x="6028681" y="2043408"/>
                  <a:pt x="6027614" y="2044830"/>
                  <a:pt x="6026334" y="2046395"/>
                </a:cubicBezTo>
                <a:cubicBezTo>
                  <a:pt x="6023772" y="2049667"/>
                  <a:pt x="6020358" y="2047960"/>
                  <a:pt x="6018010" y="2049952"/>
                </a:cubicBezTo>
                <a:cubicBezTo>
                  <a:pt x="6017370" y="2048672"/>
                  <a:pt x="6016729" y="2047106"/>
                  <a:pt x="6016516" y="2045115"/>
                </a:cubicBezTo>
                <a:lnTo>
                  <a:pt x="6017583" y="2042269"/>
                </a:lnTo>
                <a:lnTo>
                  <a:pt x="6015876" y="2041843"/>
                </a:lnTo>
                <a:cubicBezTo>
                  <a:pt x="6012248" y="2039282"/>
                  <a:pt x="6009687" y="2033591"/>
                  <a:pt x="6012675" y="2028043"/>
                </a:cubicBezTo>
                <a:cubicBezTo>
                  <a:pt x="6015022" y="2027616"/>
                  <a:pt x="6017156" y="2027616"/>
                  <a:pt x="6019077" y="2027758"/>
                </a:cubicBezTo>
                <a:close/>
                <a:moveTo>
                  <a:pt x="5186527" y="2027331"/>
                </a:moveTo>
                <a:cubicBezTo>
                  <a:pt x="5187167" y="2027474"/>
                  <a:pt x="5188021" y="2027331"/>
                  <a:pt x="5188874" y="2027331"/>
                </a:cubicBezTo>
                <a:cubicBezTo>
                  <a:pt x="5189728" y="2027331"/>
                  <a:pt x="5190155" y="2027474"/>
                  <a:pt x="5190155" y="2028043"/>
                </a:cubicBezTo>
                <a:cubicBezTo>
                  <a:pt x="5191436" y="2028185"/>
                  <a:pt x="5191222" y="2030461"/>
                  <a:pt x="5191222" y="2030461"/>
                </a:cubicBezTo>
                <a:cubicBezTo>
                  <a:pt x="5192289" y="2030746"/>
                  <a:pt x="5193569" y="2030888"/>
                  <a:pt x="5194636" y="2032169"/>
                </a:cubicBezTo>
                <a:cubicBezTo>
                  <a:pt x="5193569" y="2033164"/>
                  <a:pt x="5194636" y="2033307"/>
                  <a:pt x="5194636" y="2034445"/>
                </a:cubicBezTo>
                <a:cubicBezTo>
                  <a:pt x="5193356" y="2033164"/>
                  <a:pt x="5189941" y="2032595"/>
                  <a:pt x="5187594" y="2031030"/>
                </a:cubicBezTo>
                <a:cubicBezTo>
                  <a:pt x="5187594" y="2029892"/>
                  <a:pt x="5186527" y="2028470"/>
                  <a:pt x="5186527" y="2027331"/>
                </a:cubicBezTo>
                <a:close/>
                <a:moveTo>
                  <a:pt x="1542441" y="2027305"/>
                </a:moveTo>
                <a:cubicBezTo>
                  <a:pt x="1543577" y="2027770"/>
                  <a:pt x="1543474" y="2027770"/>
                  <a:pt x="1543061" y="2028699"/>
                </a:cubicBezTo>
                <a:cubicBezTo>
                  <a:pt x="1542235" y="2029009"/>
                  <a:pt x="1541512" y="2029473"/>
                  <a:pt x="1541202" y="2028699"/>
                </a:cubicBezTo>
                <a:cubicBezTo>
                  <a:pt x="1540376" y="2029009"/>
                  <a:pt x="1540376" y="2029009"/>
                  <a:pt x="1540067" y="2028235"/>
                </a:cubicBezTo>
                <a:cubicBezTo>
                  <a:pt x="1540790" y="2028079"/>
                  <a:pt x="1541616" y="2027615"/>
                  <a:pt x="1542441" y="2027305"/>
                </a:cubicBezTo>
                <a:close/>
                <a:moveTo>
                  <a:pt x="1132308" y="2027150"/>
                </a:moveTo>
                <a:cubicBezTo>
                  <a:pt x="1134786" y="2027150"/>
                  <a:pt x="1138194" y="2027305"/>
                  <a:pt x="1139742" y="2028079"/>
                </a:cubicBezTo>
                <a:cubicBezTo>
                  <a:pt x="1137987" y="2028854"/>
                  <a:pt x="1134476" y="2029628"/>
                  <a:pt x="1133031" y="2027925"/>
                </a:cubicBezTo>
                <a:cubicBezTo>
                  <a:pt x="1133031" y="2027925"/>
                  <a:pt x="1133031" y="2027925"/>
                  <a:pt x="1132308" y="2027150"/>
                </a:cubicBezTo>
                <a:close/>
                <a:moveTo>
                  <a:pt x="5609952" y="2026335"/>
                </a:moveTo>
                <a:cubicBezTo>
                  <a:pt x="5609952" y="2027474"/>
                  <a:pt x="5610805" y="2030034"/>
                  <a:pt x="5609524" y="2031172"/>
                </a:cubicBezTo>
                <a:cubicBezTo>
                  <a:pt x="5608244" y="2032453"/>
                  <a:pt x="5608244" y="2032453"/>
                  <a:pt x="5605896" y="2032311"/>
                </a:cubicBezTo>
                <a:cubicBezTo>
                  <a:pt x="5607391" y="2028754"/>
                  <a:pt x="5607391" y="2028754"/>
                  <a:pt x="5609952" y="2026335"/>
                </a:cubicBezTo>
                <a:close/>
                <a:moveTo>
                  <a:pt x="5350006" y="2026193"/>
                </a:moveTo>
                <a:cubicBezTo>
                  <a:pt x="5350006" y="2026193"/>
                  <a:pt x="5350006" y="2026193"/>
                  <a:pt x="5357049" y="2031884"/>
                </a:cubicBezTo>
                <a:cubicBezTo>
                  <a:pt x="5356409" y="2032453"/>
                  <a:pt x="5355768" y="2032453"/>
                  <a:pt x="5355342" y="2032026"/>
                </a:cubicBezTo>
                <a:cubicBezTo>
                  <a:pt x="5354701" y="2031600"/>
                  <a:pt x="5354061" y="2031030"/>
                  <a:pt x="5353421" y="2030319"/>
                </a:cubicBezTo>
                <a:cubicBezTo>
                  <a:pt x="5352354" y="2028896"/>
                  <a:pt x="5351287" y="2027616"/>
                  <a:pt x="5350006" y="2026193"/>
                </a:cubicBezTo>
                <a:close/>
                <a:moveTo>
                  <a:pt x="6262163" y="2025481"/>
                </a:moveTo>
                <a:cubicBezTo>
                  <a:pt x="6263656" y="2037147"/>
                  <a:pt x="6241461" y="2057634"/>
                  <a:pt x="6231643" y="2049810"/>
                </a:cubicBezTo>
                <a:cubicBezTo>
                  <a:pt x="6243381" y="2041985"/>
                  <a:pt x="6247437" y="2031742"/>
                  <a:pt x="6262163" y="2025481"/>
                </a:cubicBezTo>
                <a:close/>
                <a:moveTo>
                  <a:pt x="5160916" y="2025055"/>
                </a:moveTo>
                <a:cubicBezTo>
                  <a:pt x="5161343" y="2026762"/>
                  <a:pt x="5164331" y="2026905"/>
                  <a:pt x="5164971" y="2028043"/>
                </a:cubicBezTo>
                <a:cubicBezTo>
                  <a:pt x="5165185" y="2028470"/>
                  <a:pt x="5165185" y="2029038"/>
                  <a:pt x="5164758" y="2029750"/>
                </a:cubicBezTo>
                <a:cubicBezTo>
                  <a:pt x="5163264" y="2029180"/>
                  <a:pt x="5161556" y="2027331"/>
                  <a:pt x="5160063" y="2026620"/>
                </a:cubicBezTo>
                <a:cubicBezTo>
                  <a:pt x="5160063" y="2026620"/>
                  <a:pt x="5160063" y="2026620"/>
                  <a:pt x="5160916" y="2025055"/>
                </a:cubicBezTo>
                <a:close/>
                <a:moveTo>
                  <a:pt x="5652422" y="2024771"/>
                </a:moveTo>
                <a:cubicBezTo>
                  <a:pt x="5653063" y="2024486"/>
                  <a:pt x="5653916" y="2024628"/>
                  <a:pt x="5654343" y="2025197"/>
                </a:cubicBezTo>
                <a:cubicBezTo>
                  <a:pt x="5652208" y="2027474"/>
                  <a:pt x="5650288" y="2032311"/>
                  <a:pt x="5645592" y="2030888"/>
                </a:cubicBezTo>
                <a:cubicBezTo>
                  <a:pt x="5647087" y="2029180"/>
                  <a:pt x="5650075" y="2025339"/>
                  <a:pt x="5652422" y="2024771"/>
                </a:cubicBezTo>
                <a:close/>
                <a:moveTo>
                  <a:pt x="1008607" y="2024517"/>
                </a:moveTo>
                <a:cubicBezTo>
                  <a:pt x="1009536" y="2022813"/>
                  <a:pt x="1012014" y="2025291"/>
                  <a:pt x="1012944" y="2025136"/>
                </a:cubicBezTo>
                <a:cubicBezTo>
                  <a:pt x="1013770" y="2026066"/>
                  <a:pt x="1014596" y="2026840"/>
                  <a:pt x="1013667" y="2027770"/>
                </a:cubicBezTo>
                <a:cubicBezTo>
                  <a:pt x="1012737" y="2028544"/>
                  <a:pt x="1012737" y="2029318"/>
                  <a:pt x="1010982" y="2028699"/>
                </a:cubicBezTo>
                <a:cubicBezTo>
                  <a:pt x="1010156" y="2028699"/>
                  <a:pt x="1009330" y="2027925"/>
                  <a:pt x="1008400" y="2027925"/>
                </a:cubicBezTo>
                <a:cubicBezTo>
                  <a:pt x="1008400" y="2027925"/>
                  <a:pt x="1008297" y="2027305"/>
                  <a:pt x="1008194" y="2026531"/>
                </a:cubicBezTo>
                <a:cubicBezTo>
                  <a:pt x="1008091" y="2025911"/>
                  <a:pt x="1008194" y="2024982"/>
                  <a:pt x="1008607" y="2024517"/>
                </a:cubicBezTo>
                <a:close/>
                <a:moveTo>
                  <a:pt x="5962521" y="2024201"/>
                </a:moveTo>
                <a:cubicBezTo>
                  <a:pt x="5964228" y="2024201"/>
                  <a:pt x="5965936" y="2024913"/>
                  <a:pt x="5966576" y="2026905"/>
                </a:cubicBezTo>
                <a:cubicBezTo>
                  <a:pt x="5965936" y="2027900"/>
                  <a:pt x="5966789" y="2028470"/>
                  <a:pt x="5966149" y="2029465"/>
                </a:cubicBezTo>
                <a:cubicBezTo>
                  <a:pt x="5966149" y="2029465"/>
                  <a:pt x="5965936" y="2030888"/>
                  <a:pt x="5965082" y="2032453"/>
                </a:cubicBezTo>
                <a:cubicBezTo>
                  <a:pt x="5964228" y="2034018"/>
                  <a:pt x="5962734" y="2035867"/>
                  <a:pt x="5959960" y="2037147"/>
                </a:cubicBezTo>
                <a:cubicBezTo>
                  <a:pt x="5958466" y="2037432"/>
                  <a:pt x="5954198" y="2037717"/>
                  <a:pt x="5954838" y="2036721"/>
                </a:cubicBezTo>
                <a:cubicBezTo>
                  <a:pt x="5954625" y="2035156"/>
                  <a:pt x="5953984" y="2036152"/>
                  <a:pt x="5953130" y="2035582"/>
                </a:cubicBezTo>
                <a:cubicBezTo>
                  <a:pt x="5952277" y="2030603"/>
                  <a:pt x="5953130" y="2026905"/>
                  <a:pt x="5956972" y="2025055"/>
                </a:cubicBezTo>
                <a:cubicBezTo>
                  <a:pt x="5958679" y="2024628"/>
                  <a:pt x="5960600" y="2024059"/>
                  <a:pt x="5962521" y="2024201"/>
                </a:cubicBezTo>
                <a:close/>
                <a:moveTo>
                  <a:pt x="5549127" y="2024059"/>
                </a:moveTo>
                <a:cubicBezTo>
                  <a:pt x="5554036" y="2027900"/>
                  <a:pt x="5555316" y="2029180"/>
                  <a:pt x="5553182" y="2035014"/>
                </a:cubicBezTo>
                <a:cubicBezTo>
                  <a:pt x="5553182" y="2035014"/>
                  <a:pt x="5552115" y="2036152"/>
                  <a:pt x="5552115" y="2036152"/>
                </a:cubicBezTo>
                <a:cubicBezTo>
                  <a:pt x="5548700" y="2040847"/>
                  <a:pt x="5541870" y="2042981"/>
                  <a:pt x="5539523" y="2041558"/>
                </a:cubicBezTo>
                <a:cubicBezTo>
                  <a:pt x="5537175" y="2039139"/>
                  <a:pt x="5535895" y="2034302"/>
                  <a:pt x="5539096" y="2030888"/>
                </a:cubicBezTo>
                <a:cubicBezTo>
                  <a:pt x="5541230" y="2027331"/>
                  <a:pt x="5545926" y="2027474"/>
                  <a:pt x="5549127" y="2024059"/>
                </a:cubicBezTo>
                <a:close/>
                <a:moveTo>
                  <a:pt x="1112999" y="2023278"/>
                </a:moveTo>
                <a:cubicBezTo>
                  <a:pt x="1117232" y="2024207"/>
                  <a:pt x="1123325" y="2023587"/>
                  <a:pt x="1126422" y="2026066"/>
                </a:cubicBezTo>
                <a:cubicBezTo>
                  <a:pt x="1124770" y="2026066"/>
                  <a:pt x="1115374" y="2024827"/>
                  <a:pt x="1112999" y="2023278"/>
                </a:cubicBezTo>
                <a:close/>
                <a:moveTo>
                  <a:pt x="5610379" y="2022921"/>
                </a:moveTo>
                <a:cubicBezTo>
                  <a:pt x="5611019" y="2022921"/>
                  <a:pt x="5611232" y="2023206"/>
                  <a:pt x="5611232" y="2023633"/>
                </a:cubicBezTo>
                <a:cubicBezTo>
                  <a:pt x="5611019" y="2024201"/>
                  <a:pt x="5610805" y="2024771"/>
                  <a:pt x="5610165" y="2025481"/>
                </a:cubicBezTo>
                <a:cubicBezTo>
                  <a:pt x="5610165" y="2025481"/>
                  <a:pt x="5609098" y="2025481"/>
                  <a:pt x="5609098" y="2025481"/>
                </a:cubicBezTo>
                <a:cubicBezTo>
                  <a:pt x="5609311" y="2024059"/>
                  <a:pt x="5609311" y="2022779"/>
                  <a:pt x="5610379" y="2022921"/>
                </a:cubicBezTo>
                <a:close/>
                <a:moveTo>
                  <a:pt x="801475" y="2022658"/>
                </a:moveTo>
                <a:cubicBezTo>
                  <a:pt x="805915" y="2020799"/>
                  <a:pt x="812420" y="2027150"/>
                  <a:pt x="811388" y="2031332"/>
                </a:cubicBezTo>
                <a:cubicBezTo>
                  <a:pt x="809632" y="2033191"/>
                  <a:pt x="807774" y="2034895"/>
                  <a:pt x="806018" y="2036754"/>
                </a:cubicBezTo>
                <a:cubicBezTo>
                  <a:pt x="801578" y="2037838"/>
                  <a:pt x="797861" y="2035515"/>
                  <a:pt x="797035" y="2031952"/>
                </a:cubicBezTo>
                <a:cubicBezTo>
                  <a:pt x="796829" y="2030868"/>
                  <a:pt x="796829" y="2029473"/>
                  <a:pt x="797241" y="2028079"/>
                </a:cubicBezTo>
                <a:cubicBezTo>
                  <a:pt x="797861" y="2026375"/>
                  <a:pt x="799203" y="2024362"/>
                  <a:pt x="801475" y="2022658"/>
                </a:cubicBezTo>
                <a:close/>
                <a:moveTo>
                  <a:pt x="1111140" y="2022193"/>
                </a:moveTo>
                <a:cubicBezTo>
                  <a:pt x="1111966" y="2022968"/>
                  <a:pt x="1112070" y="2023123"/>
                  <a:pt x="1112999" y="2023123"/>
                </a:cubicBezTo>
                <a:cubicBezTo>
                  <a:pt x="1112999" y="2023123"/>
                  <a:pt x="1111966" y="2023742"/>
                  <a:pt x="1111966" y="2023742"/>
                </a:cubicBezTo>
                <a:cubicBezTo>
                  <a:pt x="1111554" y="2023432"/>
                  <a:pt x="1111244" y="2023432"/>
                  <a:pt x="1111140" y="2023278"/>
                </a:cubicBezTo>
                <a:cubicBezTo>
                  <a:pt x="1111037" y="2023123"/>
                  <a:pt x="1111037" y="2022968"/>
                  <a:pt x="1111140" y="2022193"/>
                </a:cubicBezTo>
                <a:close/>
                <a:moveTo>
                  <a:pt x="891411" y="2022193"/>
                </a:moveTo>
                <a:cubicBezTo>
                  <a:pt x="893786" y="2024982"/>
                  <a:pt x="896161" y="2027925"/>
                  <a:pt x="895955" y="2030248"/>
                </a:cubicBezTo>
                <a:lnTo>
                  <a:pt x="894096" y="2030868"/>
                </a:lnTo>
                <a:lnTo>
                  <a:pt x="894612" y="2031332"/>
                </a:lnTo>
                <a:cubicBezTo>
                  <a:pt x="895541" y="2032572"/>
                  <a:pt x="896161" y="2033811"/>
                  <a:pt x="895748" y="2035515"/>
                </a:cubicBezTo>
                <a:cubicBezTo>
                  <a:pt x="895128" y="2034740"/>
                  <a:pt x="894096" y="2033811"/>
                  <a:pt x="893167" y="2032881"/>
                </a:cubicBezTo>
                <a:lnTo>
                  <a:pt x="892237" y="2031487"/>
                </a:lnTo>
                <a:lnTo>
                  <a:pt x="889965" y="2032261"/>
                </a:lnTo>
                <a:cubicBezTo>
                  <a:pt x="887901" y="2032107"/>
                  <a:pt x="885835" y="2031177"/>
                  <a:pt x="883770" y="2029164"/>
                </a:cubicBezTo>
                <a:cubicBezTo>
                  <a:pt x="883254" y="2024982"/>
                  <a:pt x="888726" y="2023432"/>
                  <a:pt x="891411" y="2022193"/>
                </a:cubicBezTo>
                <a:close/>
                <a:moveTo>
                  <a:pt x="1106803" y="2022039"/>
                </a:moveTo>
                <a:cubicBezTo>
                  <a:pt x="1107733" y="2022193"/>
                  <a:pt x="1108662" y="2022193"/>
                  <a:pt x="1108559" y="2022968"/>
                </a:cubicBezTo>
                <a:cubicBezTo>
                  <a:pt x="1108456" y="2023742"/>
                  <a:pt x="1107527" y="2023742"/>
                  <a:pt x="1106700" y="2022813"/>
                </a:cubicBezTo>
                <a:cubicBezTo>
                  <a:pt x="1106700" y="2022813"/>
                  <a:pt x="1106803" y="2022039"/>
                  <a:pt x="1106803" y="2022039"/>
                </a:cubicBezTo>
                <a:close/>
                <a:moveTo>
                  <a:pt x="5289182" y="2020360"/>
                </a:moveTo>
                <a:cubicBezTo>
                  <a:pt x="5289608" y="2020218"/>
                  <a:pt x="5289822" y="2020360"/>
                  <a:pt x="5290675" y="2020787"/>
                </a:cubicBezTo>
                <a:cubicBezTo>
                  <a:pt x="5292170" y="2021356"/>
                  <a:pt x="5292170" y="2025339"/>
                  <a:pt x="5293663" y="2025908"/>
                </a:cubicBezTo>
                <a:cubicBezTo>
                  <a:pt x="5293663" y="2025908"/>
                  <a:pt x="5293450" y="2026051"/>
                  <a:pt x="5291743" y="2028043"/>
                </a:cubicBezTo>
                <a:cubicBezTo>
                  <a:pt x="5290462" y="2028611"/>
                  <a:pt x="5289395" y="2028896"/>
                  <a:pt x="5287901" y="2028327"/>
                </a:cubicBezTo>
                <a:cubicBezTo>
                  <a:pt x="5286407" y="2027616"/>
                  <a:pt x="5285767" y="2025339"/>
                  <a:pt x="5285340" y="2024201"/>
                </a:cubicBezTo>
                <a:cubicBezTo>
                  <a:pt x="5286407" y="2023775"/>
                  <a:pt x="5286194" y="2022494"/>
                  <a:pt x="5287261" y="2022067"/>
                </a:cubicBezTo>
                <a:cubicBezTo>
                  <a:pt x="5288328" y="2021071"/>
                  <a:pt x="5288755" y="2020502"/>
                  <a:pt x="5289182" y="2020360"/>
                </a:cubicBezTo>
                <a:close/>
                <a:moveTo>
                  <a:pt x="1101951" y="2020180"/>
                </a:moveTo>
                <a:cubicBezTo>
                  <a:pt x="1104532" y="2021109"/>
                  <a:pt x="1104532" y="2021109"/>
                  <a:pt x="1106081" y="2022813"/>
                </a:cubicBezTo>
                <a:cubicBezTo>
                  <a:pt x="1105152" y="2022813"/>
                  <a:pt x="1103293" y="2023587"/>
                  <a:pt x="1102467" y="2022658"/>
                </a:cubicBezTo>
                <a:cubicBezTo>
                  <a:pt x="1102157" y="2022193"/>
                  <a:pt x="1101951" y="2022039"/>
                  <a:pt x="1101847" y="2021728"/>
                </a:cubicBezTo>
                <a:cubicBezTo>
                  <a:pt x="1101847" y="2021419"/>
                  <a:pt x="1101951" y="2020954"/>
                  <a:pt x="1101951" y="2020180"/>
                </a:cubicBezTo>
                <a:close/>
                <a:moveTo>
                  <a:pt x="5848128" y="2019791"/>
                </a:moveTo>
                <a:cubicBezTo>
                  <a:pt x="5850049" y="2020218"/>
                  <a:pt x="5851756" y="2021214"/>
                  <a:pt x="5852823" y="2022636"/>
                </a:cubicBezTo>
                <a:cubicBezTo>
                  <a:pt x="5854957" y="2025339"/>
                  <a:pt x="5854957" y="2029750"/>
                  <a:pt x="5851329" y="2034729"/>
                </a:cubicBezTo>
                <a:cubicBezTo>
                  <a:pt x="5841085" y="2038570"/>
                  <a:pt x="5833402" y="2028327"/>
                  <a:pt x="5841725" y="2020360"/>
                </a:cubicBezTo>
                <a:cubicBezTo>
                  <a:pt x="5844073" y="2019506"/>
                  <a:pt x="5846207" y="2019364"/>
                  <a:pt x="5848128" y="2019791"/>
                </a:cubicBezTo>
                <a:close/>
                <a:moveTo>
                  <a:pt x="6184051" y="2019506"/>
                </a:moveTo>
                <a:cubicBezTo>
                  <a:pt x="6187252" y="2019933"/>
                  <a:pt x="6190240" y="2021641"/>
                  <a:pt x="6191947" y="2024059"/>
                </a:cubicBezTo>
                <a:cubicBezTo>
                  <a:pt x="6193228" y="2025766"/>
                  <a:pt x="6193655" y="2027758"/>
                  <a:pt x="6193228" y="2029892"/>
                </a:cubicBezTo>
                <a:cubicBezTo>
                  <a:pt x="6187466" y="2037859"/>
                  <a:pt x="6175941" y="2030746"/>
                  <a:pt x="6175514" y="2023348"/>
                </a:cubicBezTo>
                <a:cubicBezTo>
                  <a:pt x="6177648" y="2020360"/>
                  <a:pt x="6180850" y="2019222"/>
                  <a:pt x="6184051" y="2019506"/>
                </a:cubicBezTo>
                <a:close/>
                <a:moveTo>
                  <a:pt x="1539550" y="2019406"/>
                </a:moveTo>
                <a:lnTo>
                  <a:pt x="1540170" y="2019715"/>
                </a:lnTo>
                <a:lnTo>
                  <a:pt x="1539654" y="2020025"/>
                </a:lnTo>
                <a:cubicBezTo>
                  <a:pt x="1539550" y="2019715"/>
                  <a:pt x="1539447" y="2019560"/>
                  <a:pt x="1539550" y="2019406"/>
                </a:cubicBezTo>
                <a:close/>
                <a:moveTo>
                  <a:pt x="866526" y="2019250"/>
                </a:moveTo>
                <a:cubicBezTo>
                  <a:pt x="868695" y="2017547"/>
                  <a:pt x="875097" y="2018476"/>
                  <a:pt x="877059" y="2021419"/>
                </a:cubicBezTo>
                <a:cubicBezTo>
                  <a:pt x="877678" y="2022348"/>
                  <a:pt x="877781" y="2023587"/>
                  <a:pt x="877059" y="2024982"/>
                </a:cubicBezTo>
                <a:cubicBezTo>
                  <a:pt x="874684" y="2028854"/>
                  <a:pt x="870657" y="2027150"/>
                  <a:pt x="866320" y="2024517"/>
                </a:cubicBezTo>
                <a:cubicBezTo>
                  <a:pt x="866630" y="2022658"/>
                  <a:pt x="866217" y="2021109"/>
                  <a:pt x="866526" y="2019250"/>
                </a:cubicBezTo>
                <a:close/>
                <a:moveTo>
                  <a:pt x="1079428" y="2018999"/>
                </a:moveTo>
                <a:cubicBezTo>
                  <a:pt x="1081532" y="2019560"/>
                  <a:pt x="1083468" y="2021574"/>
                  <a:pt x="1085120" y="2025756"/>
                </a:cubicBezTo>
                <a:lnTo>
                  <a:pt x="1080267" y="2026840"/>
                </a:lnTo>
                <a:lnTo>
                  <a:pt x="1081196" y="2028079"/>
                </a:lnTo>
                <a:cubicBezTo>
                  <a:pt x="1081919" y="2028544"/>
                  <a:pt x="1079854" y="2030248"/>
                  <a:pt x="1079854" y="2030248"/>
                </a:cubicBezTo>
                <a:cubicBezTo>
                  <a:pt x="1079234" y="2030403"/>
                  <a:pt x="1078511" y="2029628"/>
                  <a:pt x="1077892" y="2028854"/>
                </a:cubicBezTo>
                <a:lnTo>
                  <a:pt x="1077066" y="2027925"/>
                </a:lnTo>
                <a:lnTo>
                  <a:pt x="1070974" y="2030868"/>
                </a:lnTo>
                <a:cubicBezTo>
                  <a:pt x="1066637" y="2033036"/>
                  <a:pt x="1062507" y="2034740"/>
                  <a:pt x="1058686" y="2033191"/>
                </a:cubicBezTo>
                <a:cubicBezTo>
                  <a:pt x="1060958" y="2031642"/>
                  <a:pt x="1063229" y="2029318"/>
                  <a:pt x="1065604" y="2027150"/>
                </a:cubicBezTo>
                <a:lnTo>
                  <a:pt x="1070354" y="2022813"/>
                </a:lnTo>
                <a:lnTo>
                  <a:pt x="1070148" y="2022813"/>
                </a:lnTo>
                <a:cubicBezTo>
                  <a:pt x="1069631" y="2022503"/>
                  <a:pt x="1069322" y="2021574"/>
                  <a:pt x="1069012" y="2020489"/>
                </a:cubicBezTo>
                <a:cubicBezTo>
                  <a:pt x="1069838" y="2020025"/>
                  <a:pt x="1070561" y="2019715"/>
                  <a:pt x="1071180" y="2020025"/>
                </a:cubicBezTo>
                <a:lnTo>
                  <a:pt x="1072420" y="2021264"/>
                </a:lnTo>
                <a:lnTo>
                  <a:pt x="1072729" y="2020954"/>
                </a:lnTo>
                <a:cubicBezTo>
                  <a:pt x="1075052" y="2019328"/>
                  <a:pt x="1077324" y="2018437"/>
                  <a:pt x="1079428" y="2018999"/>
                </a:cubicBezTo>
                <a:close/>
                <a:moveTo>
                  <a:pt x="5958893" y="2018369"/>
                </a:moveTo>
                <a:cubicBezTo>
                  <a:pt x="5959746" y="2018653"/>
                  <a:pt x="5960387" y="2019080"/>
                  <a:pt x="5960387" y="2019791"/>
                </a:cubicBezTo>
                <a:cubicBezTo>
                  <a:pt x="5961027" y="2020929"/>
                  <a:pt x="5960600" y="2021498"/>
                  <a:pt x="5959960" y="2021925"/>
                </a:cubicBezTo>
                <a:cubicBezTo>
                  <a:pt x="5959106" y="2022352"/>
                  <a:pt x="5958039" y="2022779"/>
                  <a:pt x="5956758" y="2023490"/>
                </a:cubicBezTo>
                <a:lnTo>
                  <a:pt x="5956118" y="2018653"/>
                </a:lnTo>
                <a:cubicBezTo>
                  <a:pt x="5956972" y="2018369"/>
                  <a:pt x="5958039" y="2018226"/>
                  <a:pt x="5958893" y="2018369"/>
                </a:cubicBezTo>
                <a:close/>
                <a:moveTo>
                  <a:pt x="1544507" y="2018166"/>
                </a:moveTo>
                <a:cubicBezTo>
                  <a:pt x="1544816" y="2018940"/>
                  <a:pt x="1544816" y="2018940"/>
                  <a:pt x="1544403" y="2020025"/>
                </a:cubicBezTo>
                <a:cubicBezTo>
                  <a:pt x="1544816" y="2020644"/>
                  <a:pt x="1540790" y="2020489"/>
                  <a:pt x="1540067" y="2020799"/>
                </a:cubicBezTo>
                <a:cubicBezTo>
                  <a:pt x="1539654" y="2020025"/>
                  <a:pt x="1539654" y="2020025"/>
                  <a:pt x="1540480" y="2019715"/>
                </a:cubicBezTo>
                <a:lnTo>
                  <a:pt x="1540170" y="2019715"/>
                </a:lnTo>
                <a:lnTo>
                  <a:pt x="1541719" y="2018321"/>
                </a:lnTo>
                <a:cubicBezTo>
                  <a:pt x="1542545" y="2018011"/>
                  <a:pt x="1543474" y="2018166"/>
                  <a:pt x="1544507" y="2018166"/>
                </a:cubicBezTo>
                <a:close/>
                <a:moveTo>
                  <a:pt x="6199844" y="2017230"/>
                </a:moveTo>
                <a:cubicBezTo>
                  <a:pt x="6201338" y="2019222"/>
                  <a:pt x="6204326" y="2022210"/>
                  <a:pt x="6203472" y="2025197"/>
                </a:cubicBezTo>
                <a:cubicBezTo>
                  <a:pt x="6203258" y="2026193"/>
                  <a:pt x="6202618" y="2027046"/>
                  <a:pt x="6201338" y="2028043"/>
                </a:cubicBezTo>
                <a:cubicBezTo>
                  <a:pt x="6201338" y="2029323"/>
                  <a:pt x="6196642" y="2029750"/>
                  <a:pt x="6195575" y="2028327"/>
                </a:cubicBezTo>
                <a:cubicBezTo>
                  <a:pt x="6192161" y="2025481"/>
                  <a:pt x="6194722" y="2022352"/>
                  <a:pt x="6196216" y="2017799"/>
                </a:cubicBezTo>
                <a:cubicBezTo>
                  <a:pt x="6197283" y="2019080"/>
                  <a:pt x="6198563" y="2018084"/>
                  <a:pt x="6199844" y="2017230"/>
                </a:cubicBezTo>
                <a:close/>
                <a:moveTo>
                  <a:pt x="5252260" y="2016803"/>
                </a:moveTo>
                <a:cubicBezTo>
                  <a:pt x="5253114" y="2016945"/>
                  <a:pt x="5253967" y="2017372"/>
                  <a:pt x="5254821" y="2018084"/>
                </a:cubicBezTo>
                <a:lnTo>
                  <a:pt x="5255461" y="2019649"/>
                </a:lnTo>
                <a:lnTo>
                  <a:pt x="5256102" y="2019364"/>
                </a:lnTo>
                <a:cubicBezTo>
                  <a:pt x="5257595" y="2022921"/>
                  <a:pt x="5257809" y="2024771"/>
                  <a:pt x="5256742" y="2025624"/>
                </a:cubicBezTo>
                <a:lnTo>
                  <a:pt x="5255461" y="2025766"/>
                </a:lnTo>
                <a:lnTo>
                  <a:pt x="5254607" y="2028043"/>
                </a:lnTo>
                <a:lnTo>
                  <a:pt x="5261864" y="2032169"/>
                </a:lnTo>
                <a:cubicBezTo>
                  <a:pt x="5264425" y="2033875"/>
                  <a:pt x="5266773" y="2036152"/>
                  <a:pt x="5269120" y="2038997"/>
                </a:cubicBezTo>
                <a:cubicBezTo>
                  <a:pt x="5263998" y="2042269"/>
                  <a:pt x="5255461" y="2040562"/>
                  <a:pt x="5248632" y="2036437"/>
                </a:cubicBezTo>
                <a:lnTo>
                  <a:pt x="5242870" y="2030888"/>
                </a:lnTo>
                <a:lnTo>
                  <a:pt x="5235187" y="2035298"/>
                </a:lnTo>
                <a:cubicBezTo>
                  <a:pt x="5224089" y="2038144"/>
                  <a:pt x="5208082" y="2033307"/>
                  <a:pt x="5210430" y="2021925"/>
                </a:cubicBezTo>
                <a:cubicBezTo>
                  <a:pt x="5215552" y="2019933"/>
                  <a:pt x="5220887" y="2018369"/>
                  <a:pt x="5226649" y="2017942"/>
                </a:cubicBezTo>
                <a:cubicBezTo>
                  <a:pt x="5229424" y="2017799"/>
                  <a:pt x="5232412" y="2017942"/>
                  <a:pt x="5235400" y="2018510"/>
                </a:cubicBezTo>
                <a:lnTo>
                  <a:pt x="5239241" y="2019649"/>
                </a:lnTo>
                <a:lnTo>
                  <a:pt x="5239028" y="2019364"/>
                </a:lnTo>
                <a:lnTo>
                  <a:pt x="5240095" y="2019933"/>
                </a:lnTo>
                <a:lnTo>
                  <a:pt x="5244790" y="2021498"/>
                </a:lnTo>
                <a:lnTo>
                  <a:pt x="5245217" y="2020075"/>
                </a:lnTo>
                <a:cubicBezTo>
                  <a:pt x="5247138" y="2018510"/>
                  <a:pt x="5249699" y="2016519"/>
                  <a:pt x="5252260" y="2016803"/>
                </a:cubicBezTo>
                <a:close/>
                <a:moveTo>
                  <a:pt x="4974601" y="2016661"/>
                </a:moveTo>
                <a:cubicBezTo>
                  <a:pt x="4975881" y="2017372"/>
                  <a:pt x="4977162" y="2018795"/>
                  <a:pt x="4977802" y="2020644"/>
                </a:cubicBezTo>
                <a:cubicBezTo>
                  <a:pt x="4978442" y="2022352"/>
                  <a:pt x="4978442" y="2024486"/>
                  <a:pt x="4977162" y="2026905"/>
                </a:cubicBezTo>
                <a:cubicBezTo>
                  <a:pt x="4975881" y="2031030"/>
                  <a:pt x="4971400" y="2032737"/>
                  <a:pt x="4968838" y="2037290"/>
                </a:cubicBezTo>
                <a:cubicBezTo>
                  <a:pt x="4963503" y="2035582"/>
                  <a:pt x="4962223" y="2034872"/>
                  <a:pt x="4962863" y="2028470"/>
                </a:cubicBezTo>
                <a:cubicBezTo>
                  <a:pt x="4962863" y="2028470"/>
                  <a:pt x="4963716" y="2026905"/>
                  <a:pt x="4963716" y="2026905"/>
                </a:cubicBezTo>
                <a:cubicBezTo>
                  <a:pt x="4965851" y="2021071"/>
                  <a:pt x="4972040" y="2016377"/>
                  <a:pt x="4974601" y="2016661"/>
                </a:cubicBezTo>
                <a:close/>
                <a:moveTo>
                  <a:pt x="5784742" y="2015950"/>
                </a:moveTo>
                <a:cubicBezTo>
                  <a:pt x="5786236" y="2016377"/>
                  <a:pt x="5788370" y="2017942"/>
                  <a:pt x="5790078" y="2020075"/>
                </a:cubicBezTo>
                <a:cubicBezTo>
                  <a:pt x="5791998" y="2022210"/>
                  <a:pt x="5793279" y="2024771"/>
                  <a:pt x="5793066" y="2026905"/>
                </a:cubicBezTo>
                <a:cubicBezTo>
                  <a:pt x="5790505" y="2027189"/>
                  <a:pt x="5788157" y="2027331"/>
                  <a:pt x="5785596" y="2027616"/>
                </a:cubicBezTo>
                <a:cubicBezTo>
                  <a:pt x="5786450" y="2026905"/>
                  <a:pt x="5779834" y="2018938"/>
                  <a:pt x="5779834" y="2018938"/>
                </a:cubicBezTo>
                <a:cubicBezTo>
                  <a:pt x="5780687" y="2015665"/>
                  <a:pt x="5780687" y="2015665"/>
                  <a:pt x="5784742" y="2015950"/>
                </a:cubicBezTo>
                <a:close/>
                <a:moveTo>
                  <a:pt x="4966064" y="2015096"/>
                </a:moveTo>
                <a:cubicBezTo>
                  <a:pt x="4967558" y="2015665"/>
                  <a:pt x="4968412" y="2017799"/>
                  <a:pt x="4968838" y="2018938"/>
                </a:cubicBezTo>
                <a:cubicBezTo>
                  <a:pt x="4967771" y="2019506"/>
                  <a:pt x="4968198" y="2020502"/>
                  <a:pt x="4967131" y="2021071"/>
                </a:cubicBezTo>
                <a:cubicBezTo>
                  <a:pt x="4965424" y="2023348"/>
                  <a:pt x="4965424" y="2023348"/>
                  <a:pt x="4963930" y="2022779"/>
                </a:cubicBezTo>
                <a:cubicBezTo>
                  <a:pt x="4962436" y="2022210"/>
                  <a:pt x="4962223" y="2018226"/>
                  <a:pt x="4960515" y="2017657"/>
                </a:cubicBezTo>
                <a:cubicBezTo>
                  <a:pt x="4960515" y="2017657"/>
                  <a:pt x="4960515" y="2017799"/>
                  <a:pt x="4962436" y="2015523"/>
                </a:cubicBezTo>
                <a:cubicBezTo>
                  <a:pt x="4963503" y="2014954"/>
                  <a:pt x="4964570" y="2014527"/>
                  <a:pt x="4966064" y="2015096"/>
                </a:cubicBezTo>
                <a:close/>
                <a:moveTo>
                  <a:pt x="1128488" y="2015068"/>
                </a:moveTo>
                <a:cubicBezTo>
                  <a:pt x="1129727" y="2015223"/>
                  <a:pt x="1130656" y="2016617"/>
                  <a:pt x="1131275" y="2019095"/>
                </a:cubicBezTo>
                <a:cubicBezTo>
                  <a:pt x="1130139" y="2020799"/>
                  <a:pt x="1126629" y="2020180"/>
                  <a:pt x="1124667" y="2020489"/>
                </a:cubicBezTo>
                <a:cubicBezTo>
                  <a:pt x="1124977" y="2019406"/>
                  <a:pt x="1125287" y="2018166"/>
                  <a:pt x="1124564" y="2018631"/>
                </a:cubicBezTo>
                <a:cubicBezTo>
                  <a:pt x="1124770" y="2017392"/>
                  <a:pt x="1125287" y="2016617"/>
                  <a:pt x="1126009" y="2015997"/>
                </a:cubicBezTo>
                <a:cubicBezTo>
                  <a:pt x="1126732" y="2015533"/>
                  <a:pt x="1127558" y="2015223"/>
                  <a:pt x="1128488" y="2015068"/>
                </a:cubicBezTo>
                <a:close/>
                <a:moveTo>
                  <a:pt x="4767797" y="2014527"/>
                </a:moveTo>
                <a:cubicBezTo>
                  <a:pt x="4777828" y="2013531"/>
                  <a:pt x="4781029" y="2024201"/>
                  <a:pt x="4776121" y="2027758"/>
                </a:cubicBezTo>
                <a:cubicBezTo>
                  <a:pt x="4774413" y="2028896"/>
                  <a:pt x="4772065" y="2029323"/>
                  <a:pt x="4768651" y="2028043"/>
                </a:cubicBezTo>
                <a:cubicBezTo>
                  <a:pt x="4764809" y="2023348"/>
                  <a:pt x="4768437" y="2018795"/>
                  <a:pt x="4767797" y="2014527"/>
                </a:cubicBezTo>
                <a:close/>
                <a:moveTo>
                  <a:pt x="4715936" y="2014527"/>
                </a:moveTo>
                <a:cubicBezTo>
                  <a:pt x="4719564" y="2014100"/>
                  <a:pt x="4725113" y="2017372"/>
                  <a:pt x="4725540" y="2019364"/>
                </a:cubicBezTo>
                <a:cubicBezTo>
                  <a:pt x="4724473" y="2021641"/>
                  <a:pt x="4712308" y="2022210"/>
                  <a:pt x="4713375" y="2016519"/>
                </a:cubicBezTo>
                <a:cubicBezTo>
                  <a:pt x="4714015" y="2015380"/>
                  <a:pt x="4714869" y="2014812"/>
                  <a:pt x="4715936" y="2014527"/>
                </a:cubicBezTo>
                <a:close/>
                <a:moveTo>
                  <a:pt x="5629586" y="2014385"/>
                </a:moveTo>
                <a:cubicBezTo>
                  <a:pt x="5629586" y="2014385"/>
                  <a:pt x="5628519" y="2015665"/>
                  <a:pt x="5627665" y="2016945"/>
                </a:cubicBezTo>
                <a:cubicBezTo>
                  <a:pt x="5626598" y="2018226"/>
                  <a:pt x="5626598" y="2018226"/>
                  <a:pt x="5627879" y="2019364"/>
                </a:cubicBezTo>
                <a:cubicBezTo>
                  <a:pt x="5627025" y="2020644"/>
                  <a:pt x="5627025" y="2020644"/>
                  <a:pt x="5624678" y="2020787"/>
                </a:cubicBezTo>
                <a:cubicBezTo>
                  <a:pt x="5625531" y="2019506"/>
                  <a:pt x="5628306" y="2013105"/>
                  <a:pt x="5629586" y="2014385"/>
                </a:cubicBezTo>
                <a:close/>
                <a:moveTo>
                  <a:pt x="6246369" y="2014100"/>
                </a:moveTo>
                <a:cubicBezTo>
                  <a:pt x="6247223" y="2013815"/>
                  <a:pt x="6248077" y="2013815"/>
                  <a:pt x="6248717" y="2014385"/>
                </a:cubicBezTo>
                <a:cubicBezTo>
                  <a:pt x="6248717" y="2015665"/>
                  <a:pt x="6249784" y="2015665"/>
                  <a:pt x="6249784" y="2016945"/>
                </a:cubicBezTo>
                <a:cubicBezTo>
                  <a:pt x="6251065" y="2019364"/>
                  <a:pt x="6251278" y="2020644"/>
                  <a:pt x="6250211" y="2021783"/>
                </a:cubicBezTo>
                <a:cubicBezTo>
                  <a:pt x="6250211" y="2023063"/>
                  <a:pt x="6248930" y="2022921"/>
                  <a:pt x="6247863" y="2024059"/>
                </a:cubicBezTo>
                <a:cubicBezTo>
                  <a:pt x="6246796" y="2024059"/>
                  <a:pt x="6245516" y="2022779"/>
                  <a:pt x="6245516" y="2022779"/>
                </a:cubicBezTo>
                <a:cubicBezTo>
                  <a:pt x="6244449" y="2021498"/>
                  <a:pt x="6244449" y="2021498"/>
                  <a:pt x="6243381" y="2022636"/>
                </a:cubicBezTo>
                <a:cubicBezTo>
                  <a:pt x="6243381" y="2022636"/>
                  <a:pt x="6243168" y="2021498"/>
                  <a:pt x="6243168" y="2021498"/>
                </a:cubicBezTo>
                <a:cubicBezTo>
                  <a:pt x="6244449" y="2021498"/>
                  <a:pt x="6243168" y="2021498"/>
                  <a:pt x="6242101" y="2020218"/>
                </a:cubicBezTo>
                <a:cubicBezTo>
                  <a:pt x="6243168" y="2017799"/>
                  <a:pt x="6242954" y="2016661"/>
                  <a:pt x="6244022" y="2015523"/>
                </a:cubicBezTo>
                <a:cubicBezTo>
                  <a:pt x="6244662" y="2014954"/>
                  <a:pt x="6245516" y="2014385"/>
                  <a:pt x="6246369" y="2014100"/>
                </a:cubicBezTo>
                <a:close/>
                <a:moveTo>
                  <a:pt x="5964015" y="2013815"/>
                </a:moveTo>
                <a:cubicBezTo>
                  <a:pt x="5965296" y="2014100"/>
                  <a:pt x="5966576" y="2015239"/>
                  <a:pt x="5968284" y="2017942"/>
                </a:cubicBezTo>
                <a:cubicBezTo>
                  <a:pt x="5965509" y="2021071"/>
                  <a:pt x="5963588" y="2021783"/>
                  <a:pt x="5962308" y="2021356"/>
                </a:cubicBezTo>
                <a:cubicBezTo>
                  <a:pt x="5959533" y="2020218"/>
                  <a:pt x="5960600" y="2012962"/>
                  <a:pt x="5964015" y="2013815"/>
                </a:cubicBezTo>
                <a:close/>
                <a:moveTo>
                  <a:pt x="5387141" y="2013815"/>
                </a:moveTo>
                <a:cubicBezTo>
                  <a:pt x="5396532" y="2013247"/>
                  <a:pt x="5406989" y="2016803"/>
                  <a:pt x="5419368" y="2016092"/>
                </a:cubicBezTo>
                <a:cubicBezTo>
                  <a:pt x="5411044" y="2025908"/>
                  <a:pt x="5416807" y="2039139"/>
                  <a:pt x="5415313" y="2049525"/>
                </a:cubicBezTo>
                <a:cubicBezTo>
                  <a:pt x="5414672" y="2052940"/>
                  <a:pt x="5413392" y="2056069"/>
                  <a:pt x="5410404" y="2058773"/>
                </a:cubicBezTo>
                <a:cubicBezTo>
                  <a:pt x="5387355" y="2081251"/>
                  <a:pt x="5346378" y="2035441"/>
                  <a:pt x="5378391" y="2016234"/>
                </a:cubicBezTo>
                <a:cubicBezTo>
                  <a:pt x="5381166" y="2014669"/>
                  <a:pt x="5384153" y="2014100"/>
                  <a:pt x="5387141" y="2013815"/>
                </a:cubicBezTo>
                <a:close/>
                <a:moveTo>
                  <a:pt x="5243510" y="2013389"/>
                </a:moveTo>
                <a:cubicBezTo>
                  <a:pt x="5244363" y="2013247"/>
                  <a:pt x="5245217" y="2013389"/>
                  <a:pt x="5245644" y="2014100"/>
                </a:cubicBezTo>
                <a:cubicBezTo>
                  <a:pt x="5246711" y="2014812"/>
                  <a:pt x="5246711" y="2015523"/>
                  <a:pt x="5246284" y="2016234"/>
                </a:cubicBezTo>
                <a:cubicBezTo>
                  <a:pt x="5245644" y="2016803"/>
                  <a:pt x="5244790" y="2017657"/>
                  <a:pt x="5244150" y="2018795"/>
                </a:cubicBezTo>
                <a:lnTo>
                  <a:pt x="5241162" y="2014527"/>
                </a:lnTo>
                <a:cubicBezTo>
                  <a:pt x="5241803" y="2014100"/>
                  <a:pt x="5242656" y="2013531"/>
                  <a:pt x="5243510" y="2013389"/>
                </a:cubicBezTo>
                <a:close/>
                <a:moveTo>
                  <a:pt x="1017384" y="2013364"/>
                </a:moveTo>
                <a:cubicBezTo>
                  <a:pt x="1019243" y="2014913"/>
                  <a:pt x="1017591" y="2017547"/>
                  <a:pt x="1016661" y="2017702"/>
                </a:cubicBezTo>
                <a:cubicBezTo>
                  <a:pt x="1015732" y="2017082"/>
                  <a:pt x="1015732" y="2015378"/>
                  <a:pt x="1014802" y="2014604"/>
                </a:cubicBezTo>
                <a:cubicBezTo>
                  <a:pt x="1015628" y="2014449"/>
                  <a:pt x="1016455" y="2013519"/>
                  <a:pt x="1017384" y="2013364"/>
                </a:cubicBezTo>
                <a:close/>
                <a:moveTo>
                  <a:pt x="4753284" y="2012677"/>
                </a:moveTo>
                <a:cubicBezTo>
                  <a:pt x="4754565" y="2012820"/>
                  <a:pt x="4755632" y="2014243"/>
                  <a:pt x="4756913" y="2014385"/>
                </a:cubicBezTo>
                <a:cubicBezTo>
                  <a:pt x="4756699" y="2015665"/>
                  <a:pt x="4756486" y="2018084"/>
                  <a:pt x="4755419" y="2019080"/>
                </a:cubicBezTo>
                <a:cubicBezTo>
                  <a:pt x="4755206" y="2020360"/>
                  <a:pt x="4751791" y="2018510"/>
                  <a:pt x="4751791" y="2018510"/>
                </a:cubicBezTo>
                <a:cubicBezTo>
                  <a:pt x="4750723" y="2017088"/>
                  <a:pt x="4753284" y="2013815"/>
                  <a:pt x="4753284" y="2012677"/>
                </a:cubicBezTo>
                <a:close/>
                <a:moveTo>
                  <a:pt x="1001173" y="2012125"/>
                </a:moveTo>
                <a:cubicBezTo>
                  <a:pt x="1004477" y="2011815"/>
                  <a:pt x="1005923" y="2012280"/>
                  <a:pt x="1006335" y="2013054"/>
                </a:cubicBezTo>
                <a:cubicBezTo>
                  <a:pt x="1007574" y="2015378"/>
                  <a:pt x="999314" y="2020489"/>
                  <a:pt x="1001173" y="2012125"/>
                </a:cubicBezTo>
                <a:close/>
                <a:moveTo>
                  <a:pt x="3922015" y="2011966"/>
                </a:moveTo>
                <a:lnTo>
                  <a:pt x="3922441" y="2013389"/>
                </a:lnTo>
                <a:lnTo>
                  <a:pt x="3923722" y="2013815"/>
                </a:lnTo>
                <a:close/>
                <a:moveTo>
                  <a:pt x="4874080" y="2010544"/>
                </a:moveTo>
                <a:cubicBezTo>
                  <a:pt x="4885178" y="2018938"/>
                  <a:pt x="4897129" y="2024628"/>
                  <a:pt x="4907800" y="2030746"/>
                </a:cubicBezTo>
                <a:cubicBezTo>
                  <a:pt x="4906307" y="2028043"/>
                  <a:pt x="4902892" y="2020218"/>
                  <a:pt x="4903959" y="2018084"/>
                </a:cubicBezTo>
                <a:cubicBezTo>
                  <a:pt x="4906307" y="2021641"/>
                  <a:pt x="4908868" y="2029180"/>
                  <a:pt x="4908014" y="2030888"/>
                </a:cubicBezTo>
                <a:cubicBezTo>
                  <a:pt x="4912923" y="2033733"/>
                  <a:pt x="4917618" y="2036721"/>
                  <a:pt x="4921673" y="2040136"/>
                </a:cubicBezTo>
                <a:cubicBezTo>
                  <a:pt x="4912069" y="2042838"/>
                  <a:pt x="4902892" y="2040562"/>
                  <a:pt x="4893715" y="2036437"/>
                </a:cubicBezTo>
                <a:lnTo>
                  <a:pt x="4892007" y="2035441"/>
                </a:lnTo>
                <a:lnTo>
                  <a:pt x="4892007" y="2037432"/>
                </a:lnTo>
                <a:cubicBezTo>
                  <a:pt x="4890514" y="2039709"/>
                  <a:pt x="4887739" y="2041131"/>
                  <a:pt x="4884538" y="2041843"/>
                </a:cubicBezTo>
                <a:cubicBezTo>
                  <a:pt x="4873653" y="2044403"/>
                  <a:pt x="4857006" y="2038855"/>
                  <a:pt x="4857647" y="2027616"/>
                </a:cubicBezTo>
                <a:lnTo>
                  <a:pt x="4871519" y="2024628"/>
                </a:lnTo>
                <a:lnTo>
                  <a:pt x="4866611" y="2021925"/>
                </a:lnTo>
                <a:cubicBezTo>
                  <a:pt x="4869385" y="2018653"/>
                  <a:pt x="4868958" y="2014812"/>
                  <a:pt x="4874080" y="2010544"/>
                </a:cubicBezTo>
                <a:close/>
                <a:moveTo>
                  <a:pt x="5005120" y="2010117"/>
                </a:moveTo>
                <a:cubicBezTo>
                  <a:pt x="5006614" y="2010685"/>
                  <a:pt x="5008108" y="2011255"/>
                  <a:pt x="5007681" y="2010117"/>
                </a:cubicBezTo>
                <a:cubicBezTo>
                  <a:pt x="5009175" y="2010685"/>
                  <a:pt x="5010029" y="2011539"/>
                  <a:pt x="5010669" y="2012535"/>
                </a:cubicBezTo>
                <a:cubicBezTo>
                  <a:pt x="5011096" y="2013531"/>
                  <a:pt x="5011309" y="2014812"/>
                  <a:pt x="5011309" y="2016092"/>
                </a:cubicBezTo>
                <a:cubicBezTo>
                  <a:pt x="5010669" y="2017657"/>
                  <a:pt x="5008534" y="2018653"/>
                  <a:pt x="5004906" y="2019222"/>
                </a:cubicBezTo>
                <a:cubicBezTo>
                  <a:pt x="5002986" y="2017657"/>
                  <a:pt x="5004906" y="2012820"/>
                  <a:pt x="5005120" y="2010117"/>
                </a:cubicBezTo>
                <a:close/>
                <a:moveTo>
                  <a:pt x="5117165" y="2009690"/>
                </a:moveTo>
                <a:cubicBezTo>
                  <a:pt x="5123568" y="2014243"/>
                  <a:pt x="5128263" y="2015523"/>
                  <a:pt x="5132745" y="2015950"/>
                </a:cubicBezTo>
                <a:lnTo>
                  <a:pt x="5133385" y="2015950"/>
                </a:lnTo>
                <a:lnTo>
                  <a:pt x="5133172" y="2015523"/>
                </a:lnTo>
                <a:cubicBezTo>
                  <a:pt x="5133172" y="2015380"/>
                  <a:pt x="5133385" y="2015380"/>
                  <a:pt x="5134026" y="2015239"/>
                </a:cubicBezTo>
                <a:cubicBezTo>
                  <a:pt x="5134026" y="2015239"/>
                  <a:pt x="5134026" y="2015239"/>
                  <a:pt x="5135519" y="2014812"/>
                </a:cubicBezTo>
                <a:cubicBezTo>
                  <a:pt x="5135519" y="2014812"/>
                  <a:pt x="5135733" y="2014527"/>
                  <a:pt x="5136160" y="2014812"/>
                </a:cubicBezTo>
                <a:lnTo>
                  <a:pt x="5137226" y="2016092"/>
                </a:lnTo>
                <a:lnTo>
                  <a:pt x="5139361" y="2016234"/>
                </a:lnTo>
                <a:cubicBezTo>
                  <a:pt x="5141495" y="2016234"/>
                  <a:pt x="5143629" y="2016377"/>
                  <a:pt x="5145764" y="2017088"/>
                </a:cubicBezTo>
                <a:cubicBezTo>
                  <a:pt x="5149819" y="2020787"/>
                  <a:pt x="5153660" y="2025055"/>
                  <a:pt x="5157288" y="2029750"/>
                </a:cubicBezTo>
                <a:lnTo>
                  <a:pt x="5160276" y="2034445"/>
                </a:lnTo>
                <a:lnTo>
                  <a:pt x="5163264" y="2038001"/>
                </a:lnTo>
                <a:lnTo>
                  <a:pt x="5163477" y="2038428"/>
                </a:lnTo>
                <a:lnTo>
                  <a:pt x="5171801" y="2043692"/>
                </a:lnTo>
                <a:cubicBezTo>
                  <a:pt x="5174148" y="2045968"/>
                  <a:pt x="5176069" y="2048814"/>
                  <a:pt x="5176923" y="2052228"/>
                </a:cubicBezTo>
                <a:cubicBezTo>
                  <a:pt x="5177563" y="2056496"/>
                  <a:pt x="5176923" y="2059769"/>
                  <a:pt x="5175429" y="2062472"/>
                </a:cubicBezTo>
                <a:lnTo>
                  <a:pt x="5175002" y="2062898"/>
                </a:lnTo>
                <a:lnTo>
                  <a:pt x="5175429" y="2069017"/>
                </a:lnTo>
                <a:cubicBezTo>
                  <a:pt x="5175215" y="2071719"/>
                  <a:pt x="5174575" y="2074564"/>
                  <a:pt x="5174148" y="2076414"/>
                </a:cubicBezTo>
                <a:lnTo>
                  <a:pt x="5172441" y="2073853"/>
                </a:lnTo>
                <a:lnTo>
                  <a:pt x="5172441" y="2079259"/>
                </a:lnTo>
                <a:lnTo>
                  <a:pt x="5172227" y="2079686"/>
                </a:lnTo>
                <a:lnTo>
                  <a:pt x="5174575" y="2088222"/>
                </a:lnTo>
                <a:lnTo>
                  <a:pt x="5173722" y="2090784"/>
                </a:lnTo>
                <a:lnTo>
                  <a:pt x="5176069" y="2094055"/>
                </a:lnTo>
                <a:cubicBezTo>
                  <a:pt x="5178630" y="2100315"/>
                  <a:pt x="5176282" y="2104868"/>
                  <a:pt x="5180337" y="2109136"/>
                </a:cubicBezTo>
                <a:cubicBezTo>
                  <a:pt x="5177990" y="2109989"/>
                  <a:pt x="5177990" y="2109989"/>
                  <a:pt x="5175642" y="2108425"/>
                </a:cubicBezTo>
                <a:cubicBezTo>
                  <a:pt x="5175642" y="2107286"/>
                  <a:pt x="5174575" y="2107002"/>
                  <a:pt x="5175856" y="2106006"/>
                </a:cubicBezTo>
                <a:cubicBezTo>
                  <a:pt x="5175002" y="2105295"/>
                  <a:pt x="5174148" y="2104015"/>
                  <a:pt x="5173508" y="2102450"/>
                </a:cubicBezTo>
                <a:lnTo>
                  <a:pt x="5172654" y="2100173"/>
                </a:lnTo>
                <a:lnTo>
                  <a:pt x="5172014" y="2102734"/>
                </a:lnTo>
                <a:cubicBezTo>
                  <a:pt x="5171587" y="2104156"/>
                  <a:pt x="5170947" y="2105010"/>
                  <a:pt x="5170307" y="2105579"/>
                </a:cubicBezTo>
                <a:lnTo>
                  <a:pt x="5167746" y="2105579"/>
                </a:lnTo>
                <a:lnTo>
                  <a:pt x="5167106" y="2105579"/>
                </a:lnTo>
                <a:lnTo>
                  <a:pt x="5166252" y="2111554"/>
                </a:lnTo>
                <a:lnTo>
                  <a:pt x="5165398" y="2112977"/>
                </a:lnTo>
                <a:lnTo>
                  <a:pt x="5165611" y="2113689"/>
                </a:lnTo>
                <a:cubicBezTo>
                  <a:pt x="5165825" y="2114542"/>
                  <a:pt x="5165825" y="2115254"/>
                  <a:pt x="5165825" y="2115254"/>
                </a:cubicBezTo>
                <a:cubicBezTo>
                  <a:pt x="5164331" y="2115681"/>
                  <a:pt x="5164118" y="2115681"/>
                  <a:pt x="5164758" y="2114542"/>
                </a:cubicBezTo>
                <a:lnTo>
                  <a:pt x="5164544" y="2114399"/>
                </a:lnTo>
                <a:lnTo>
                  <a:pt x="5162837" y="2117529"/>
                </a:lnTo>
                <a:cubicBezTo>
                  <a:pt x="5160276" y="2115822"/>
                  <a:pt x="5158355" y="2113404"/>
                  <a:pt x="5156435" y="2110843"/>
                </a:cubicBezTo>
                <a:lnTo>
                  <a:pt x="5151526" y="2103303"/>
                </a:lnTo>
                <a:lnTo>
                  <a:pt x="5157502" y="2105295"/>
                </a:lnTo>
                <a:lnTo>
                  <a:pt x="5157288" y="2105152"/>
                </a:lnTo>
                <a:cubicBezTo>
                  <a:pt x="5157715" y="2104015"/>
                  <a:pt x="5157288" y="2102450"/>
                  <a:pt x="5157288" y="2102450"/>
                </a:cubicBezTo>
                <a:cubicBezTo>
                  <a:pt x="5158782" y="2102023"/>
                  <a:pt x="5159849" y="2102591"/>
                  <a:pt x="5160703" y="2103161"/>
                </a:cubicBezTo>
                <a:lnTo>
                  <a:pt x="5161130" y="2105863"/>
                </a:lnTo>
                <a:lnTo>
                  <a:pt x="5162410" y="2106006"/>
                </a:lnTo>
                <a:lnTo>
                  <a:pt x="5166038" y="2104725"/>
                </a:lnTo>
                <a:lnTo>
                  <a:pt x="5164118" y="2102307"/>
                </a:lnTo>
                <a:cubicBezTo>
                  <a:pt x="5163264" y="2100173"/>
                  <a:pt x="5163264" y="2097754"/>
                  <a:pt x="5164544" y="2096616"/>
                </a:cubicBezTo>
                <a:lnTo>
                  <a:pt x="5164971" y="2096332"/>
                </a:lnTo>
                <a:lnTo>
                  <a:pt x="5164971" y="2095336"/>
                </a:lnTo>
                <a:lnTo>
                  <a:pt x="5164971" y="2094767"/>
                </a:lnTo>
                <a:lnTo>
                  <a:pt x="5163477" y="2094198"/>
                </a:lnTo>
                <a:lnTo>
                  <a:pt x="5159423" y="2098181"/>
                </a:lnTo>
                <a:lnTo>
                  <a:pt x="5151526" y="2103303"/>
                </a:lnTo>
                <a:lnTo>
                  <a:pt x="5150032" y="2104441"/>
                </a:lnTo>
                <a:cubicBezTo>
                  <a:pt x="5146617" y="2106575"/>
                  <a:pt x="5143416" y="2108993"/>
                  <a:pt x="5140214" y="2111981"/>
                </a:cubicBezTo>
                <a:cubicBezTo>
                  <a:pt x="5127623" y="2102876"/>
                  <a:pt x="5121220" y="2108282"/>
                  <a:pt x="5113110" y="2109278"/>
                </a:cubicBezTo>
                <a:cubicBezTo>
                  <a:pt x="5107561" y="2099461"/>
                  <a:pt x="5094756" y="2092775"/>
                  <a:pt x="5085793" y="2083812"/>
                </a:cubicBezTo>
                <a:cubicBezTo>
                  <a:pt x="5085579" y="2068731"/>
                  <a:pt x="5081311" y="2056069"/>
                  <a:pt x="5081097" y="2040989"/>
                </a:cubicBezTo>
                <a:lnTo>
                  <a:pt x="5087500" y="2035014"/>
                </a:lnTo>
                <a:lnTo>
                  <a:pt x="5087714" y="2034587"/>
                </a:lnTo>
                <a:cubicBezTo>
                  <a:pt x="5088567" y="2033307"/>
                  <a:pt x="5089847" y="2032026"/>
                  <a:pt x="5090488" y="2030888"/>
                </a:cubicBezTo>
                <a:lnTo>
                  <a:pt x="5090914" y="2031457"/>
                </a:lnTo>
                <a:lnTo>
                  <a:pt x="5097317" y="2022636"/>
                </a:lnTo>
                <a:lnTo>
                  <a:pt x="5096037" y="2020929"/>
                </a:lnTo>
                <a:cubicBezTo>
                  <a:pt x="5094756" y="2018084"/>
                  <a:pt x="5094116" y="2015523"/>
                  <a:pt x="5093902" y="2014954"/>
                </a:cubicBezTo>
                <a:cubicBezTo>
                  <a:pt x="5094970" y="2014385"/>
                  <a:pt x="5094970" y="2014527"/>
                  <a:pt x="5094970" y="2014527"/>
                </a:cubicBezTo>
                <a:cubicBezTo>
                  <a:pt x="5095183" y="2016377"/>
                  <a:pt x="5096250" y="2017799"/>
                  <a:pt x="5097744" y="2019364"/>
                </a:cubicBezTo>
                <a:lnTo>
                  <a:pt x="5098811" y="2020929"/>
                </a:lnTo>
                <a:lnTo>
                  <a:pt x="5102013" y="2017372"/>
                </a:lnTo>
                <a:lnTo>
                  <a:pt x="5098171" y="2010117"/>
                </a:lnTo>
                <a:cubicBezTo>
                  <a:pt x="5101372" y="2010685"/>
                  <a:pt x="5103506" y="2011824"/>
                  <a:pt x="5105213" y="2013105"/>
                </a:cubicBezTo>
                <a:lnTo>
                  <a:pt x="5105641" y="2013674"/>
                </a:lnTo>
                <a:lnTo>
                  <a:pt x="5105854" y="2013531"/>
                </a:lnTo>
                <a:cubicBezTo>
                  <a:pt x="5109056" y="2011113"/>
                  <a:pt x="5112684" y="2009690"/>
                  <a:pt x="5117165" y="2009690"/>
                </a:cubicBezTo>
                <a:close/>
                <a:moveTo>
                  <a:pt x="5051218" y="2009690"/>
                </a:moveTo>
                <a:cubicBezTo>
                  <a:pt x="5052286" y="2009832"/>
                  <a:pt x="5053566" y="2010117"/>
                  <a:pt x="5054633" y="2011539"/>
                </a:cubicBezTo>
                <a:lnTo>
                  <a:pt x="5054846" y="2012677"/>
                </a:lnTo>
                <a:lnTo>
                  <a:pt x="5060396" y="2011682"/>
                </a:lnTo>
                <a:cubicBezTo>
                  <a:pt x="5064451" y="2011824"/>
                  <a:pt x="5068292" y="2013105"/>
                  <a:pt x="5069573" y="2015807"/>
                </a:cubicBezTo>
                <a:cubicBezTo>
                  <a:pt x="5069146" y="2019080"/>
                  <a:pt x="5068719" y="2022636"/>
                  <a:pt x="5068505" y="2025908"/>
                </a:cubicBezTo>
                <a:cubicBezTo>
                  <a:pt x="5064664" y="2031030"/>
                  <a:pt x="5058475" y="2032026"/>
                  <a:pt x="5054420" y="2029323"/>
                </a:cubicBezTo>
                <a:cubicBezTo>
                  <a:pt x="5053139" y="2028327"/>
                  <a:pt x="5052072" y="2026905"/>
                  <a:pt x="5051218" y="2025197"/>
                </a:cubicBezTo>
                <a:lnTo>
                  <a:pt x="5051005" y="2017942"/>
                </a:lnTo>
                <a:lnTo>
                  <a:pt x="5050792" y="2018084"/>
                </a:lnTo>
                <a:cubicBezTo>
                  <a:pt x="5050365" y="2017942"/>
                  <a:pt x="5049938" y="2017657"/>
                  <a:pt x="5049511" y="2016945"/>
                </a:cubicBezTo>
                <a:cubicBezTo>
                  <a:pt x="5048444" y="2015523"/>
                  <a:pt x="5049725" y="2011966"/>
                  <a:pt x="5048658" y="2010544"/>
                </a:cubicBezTo>
                <a:cubicBezTo>
                  <a:pt x="5048658" y="2010544"/>
                  <a:pt x="5048658" y="2010544"/>
                  <a:pt x="5051218" y="2009690"/>
                </a:cubicBezTo>
                <a:close/>
                <a:moveTo>
                  <a:pt x="5890812" y="2008836"/>
                </a:moveTo>
                <a:cubicBezTo>
                  <a:pt x="5890812" y="2008836"/>
                  <a:pt x="5892092" y="2011113"/>
                  <a:pt x="5892092" y="2011113"/>
                </a:cubicBezTo>
                <a:cubicBezTo>
                  <a:pt x="5892519" y="2014527"/>
                  <a:pt x="5892733" y="2016092"/>
                  <a:pt x="5894013" y="2018369"/>
                </a:cubicBezTo>
                <a:cubicBezTo>
                  <a:pt x="5891665" y="2019933"/>
                  <a:pt x="5890599" y="2019364"/>
                  <a:pt x="5890385" y="2017657"/>
                </a:cubicBezTo>
                <a:cubicBezTo>
                  <a:pt x="5890385" y="2017657"/>
                  <a:pt x="5890172" y="2015950"/>
                  <a:pt x="5889958" y="2014385"/>
                </a:cubicBezTo>
                <a:cubicBezTo>
                  <a:pt x="5889745" y="2012677"/>
                  <a:pt x="5888678" y="2012108"/>
                  <a:pt x="5888678" y="2012108"/>
                </a:cubicBezTo>
                <a:cubicBezTo>
                  <a:pt x="5888464" y="2010402"/>
                  <a:pt x="5889318" y="2009263"/>
                  <a:pt x="5890812" y="2008836"/>
                </a:cubicBezTo>
                <a:close/>
                <a:moveTo>
                  <a:pt x="3887867" y="2008836"/>
                </a:moveTo>
                <a:lnTo>
                  <a:pt x="3886800" y="2009832"/>
                </a:lnTo>
                <a:lnTo>
                  <a:pt x="3885733" y="2010970"/>
                </a:lnTo>
                <a:lnTo>
                  <a:pt x="3892349" y="2013389"/>
                </a:lnTo>
                <a:close/>
                <a:moveTo>
                  <a:pt x="5864561" y="2008409"/>
                </a:moveTo>
                <a:cubicBezTo>
                  <a:pt x="5865628" y="2011255"/>
                  <a:pt x="5867549" y="2016234"/>
                  <a:pt x="5866909" y="2019364"/>
                </a:cubicBezTo>
                <a:cubicBezTo>
                  <a:pt x="5866695" y="2020360"/>
                  <a:pt x="5866055" y="2021214"/>
                  <a:pt x="5865202" y="2021641"/>
                </a:cubicBezTo>
                <a:cubicBezTo>
                  <a:pt x="5863494" y="2022067"/>
                  <a:pt x="5863281" y="2020644"/>
                  <a:pt x="5862427" y="2020075"/>
                </a:cubicBezTo>
                <a:cubicBezTo>
                  <a:pt x="5861147" y="2017799"/>
                  <a:pt x="5863067" y="2008836"/>
                  <a:pt x="5864561" y="2008409"/>
                </a:cubicBezTo>
                <a:close/>
                <a:moveTo>
                  <a:pt x="1619987" y="2008407"/>
                </a:moveTo>
                <a:cubicBezTo>
                  <a:pt x="1623911" y="2006704"/>
                  <a:pt x="1628351" y="2008407"/>
                  <a:pt x="1630313" y="2011661"/>
                </a:cubicBezTo>
                <a:cubicBezTo>
                  <a:pt x="1630932" y="2012900"/>
                  <a:pt x="1631345" y="2014139"/>
                  <a:pt x="1631345" y="2015533"/>
                </a:cubicBezTo>
                <a:cubicBezTo>
                  <a:pt x="1631345" y="2017392"/>
                  <a:pt x="1630623" y="2019406"/>
                  <a:pt x="1629073" y="2021419"/>
                </a:cubicBezTo>
                <a:cubicBezTo>
                  <a:pt x="1627215" y="2022658"/>
                  <a:pt x="1624221" y="2021884"/>
                  <a:pt x="1621536" y="2020335"/>
                </a:cubicBezTo>
                <a:lnTo>
                  <a:pt x="1621845" y="2021264"/>
                </a:lnTo>
                <a:cubicBezTo>
                  <a:pt x="1621226" y="2020954"/>
                  <a:pt x="1621123" y="2020799"/>
                  <a:pt x="1621226" y="2020644"/>
                </a:cubicBezTo>
                <a:lnTo>
                  <a:pt x="1621226" y="2020180"/>
                </a:lnTo>
                <a:lnTo>
                  <a:pt x="1618025" y="2017547"/>
                </a:lnTo>
                <a:cubicBezTo>
                  <a:pt x="1617096" y="2016462"/>
                  <a:pt x="1616476" y="2015378"/>
                  <a:pt x="1616373" y="2014294"/>
                </a:cubicBezTo>
                <a:cubicBezTo>
                  <a:pt x="1617612" y="2012280"/>
                  <a:pt x="1618748" y="2010266"/>
                  <a:pt x="1619987" y="2008407"/>
                </a:cubicBezTo>
                <a:close/>
                <a:moveTo>
                  <a:pt x="1546882" y="2007633"/>
                </a:moveTo>
                <a:cubicBezTo>
                  <a:pt x="1549876" y="2006084"/>
                  <a:pt x="1552664" y="2006549"/>
                  <a:pt x="1556898" y="2009183"/>
                </a:cubicBezTo>
                <a:cubicBezTo>
                  <a:pt x="1558137" y="2013209"/>
                  <a:pt x="1553800" y="2019250"/>
                  <a:pt x="1548431" y="2015997"/>
                </a:cubicBezTo>
                <a:cubicBezTo>
                  <a:pt x="1547708" y="2014758"/>
                  <a:pt x="1546882" y="2013674"/>
                  <a:pt x="1546469" y="2012280"/>
                </a:cubicBezTo>
                <a:cubicBezTo>
                  <a:pt x="1546056" y="2011041"/>
                  <a:pt x="1546159" y="2009492"/>
                  <a:pt x="1546882" y="2007633"/>
                </a:cubicBezTo>
                <a:close/>
                <a:moveTo>
                  <a:pt x="1132411" y="2007323"/>
                </a:moveTo>
                <a:lnTo>
                  <a:pt x="1134476" y="2008872"/>
                </a:lnTo>
                <a:lnTo>
                  <a:pt x="1134373" y="2008098"/>
                </a:lnTo>
                <a:cubicBezTo>
                  <a:pt x="1137161" y="2005464"/>
                  <a:pt x="1138916" y="2007014"/>
                  <a:pt x="1142324" y="2008562"/>
                </a:cubicBezTo>
                <a:cubicBezTo>
                  <a:pt x="1141395" y="2009492"/>
                  <a:pt x="1143976" y="2011815"/>
                  <a:pt x="1144802" y="2012745"/>
                </a:cubicBezTo>
                <a:cubicBezTo>
                  <a:pt x="1142943" y="2014449"/>
                  <a:pt x="1145422" y="2017702"/>
                  <a:pt x="1142633" y="2020335"/>
                </a:cubicBezTo>
                <a:cubicBezTo>
                  <a:pt x="1140878" y="2020489"/>
                  <a:pt x="1140052" y="2020489"/>
                  <a:pt x="1138297" y="2019715"/>
                </a:cubicBezTo>
                <a:cubicBezTo>
                  <a:pt x="1136851" y="2018011"/>
                  <a:pt x="1135922" y="2016617"/>
                  <a:pt x="1135405" y="2015223"/>
                </a:cubicBezTo>
                <a:lnTo>
                  <a:pt x="1134476" y="2011970"/>
                </a:lnTo>
                <a:lnTo>
                  <a:pt x="1132824" y="2012125"/>
                </a:lnTo>
                <a:cubicBezTo>
                  <a:pt x="1131689" y="2011661"/>
                  <a:pt x="1130759" y="2010731"/>
                  <a:pt x="1130862" y="2009492"/>
                </a:cubicBezTo>
                <a:cubicBezTo>
                  <a:pt x="1130862" y="2008717"/>
                  <a:pt x="1131275" y="2007943"/>
                  <a:pt x="1132411" y="2007323"/>
                </a:cubicBezTo>
                <a:close/>
                <a:moveTo>
                  <a:pt x="1162562" y="2006859"/>
                </a:moveTo>
                <a:cubicBezTo>
                  <a:pt x="1161323" y="2015223"/>
                  <a:pt x="1161736" y="2023587"/>
                  <a:pt x="1152753" y="2032261"/>
                </a:cubicBezTo>
                <a:cubicBezTo>
                  <a:pt x="1150171" y="2031487"/>
                  <a:pt x="1145731" y="2033346"/>
                  <a:pt x="1145112" y="2029164"/>
                </a:cubicBezTo>
                <a:cubicBezTo>
                  <a:pt x="1155747" y="2023742"/>
                  <a:pt x="1152030" y="2008872"/>
                  <a:pt x="1162562" y="2006859"/>
                </a:cubicBezTo>
                <a:close/>
                <a:moveTo>
                  <a:pt x="786825" y="2006317"/>
                </a:moveTo>
                <a:cubicBezTo>
                  <a:pt x="789962" y="2006162"/>
                  <a:pt x="792956" y="2007788"/>
                  <a:pt x="793627" y="2010576"/>
                </a:cubicBezTo>
                <a:cubicBezTo>
                  <a:pt x="794144" y="2012280"/>
                  <a:pt x="793627" y="2014604"/>
                  <a:pt x="791356" y="2017392"/>
                </a:cubicBezTo>
                <a:cubicBezTo>
                  <a:pt x="786193" y="2014758"/>
                  <a:pt x="782166" y="2016927"/>
                  <a:pt x="779172" y="2012745"/>
                </a:cubicBezTo>
                <a:cubicBezTo>
                  <a:pt x="780411" y="2008408"/>
                  <a:pt x="783689" y="2006472"/>
                  <a:pt x="786825" y="2006317"/>
                </a:cubicBezTo>
                <a:close/>
                <a:moveTo>
                  <a:pt x="5145337" y="2006276"/>
                </a:moveTo>
                <a:cubicBezTo>
                  <a:pt x="5145764" y="2007413"/>
                  <a:pt x="5146831" y="2006987"/>
                  <a:pt x="5146190" y="2008694"/>
                </a:cubicBezTo>
                <a:cubicBezTo>
                  <a:pt x="5150245" y="2009548"/>
                  <a:pt x="5156435" y="2018226"/>
                  <a:pt x="5156861" y="2023063"/>
                </a:cubicBezTo>
                <a:cubicBezTo>
                  <a:pt x="5144269" y="2019364"/>
                  <a:pt x="5147897" y="2010402"/>
                  <a:pt x="5140855" y="2008125"/>
                </a:cubicBezTo>
                <a:cubicBezTo>
                  <a:pt x="5142776" y="2006133"/>
                  <a:pt x="5142776" y="2006133"/>
                  <a:pt x="5145337" y="2006276"/>
                </a:cubicBezTo>
                <a:close/>
                <a:moveTo>
                  <a:pt x="1573419" y="2005949"/>
                </a:moveTo>
                <a:cubicBezTo>
                  <a:pt x="1574941" y="2005155"/>
                  <a:pt x="1576155" y="2004845"/>
                  <a:pt x="1577755" y="2006239"/>
                </a:cubicBezTo>
                <a:cubicBezTo>
                  <a:pt x="1576516" y="2009647"/>
                  <a:pt x="1569701" y="2010886"/>
                  <a:pt x="1567223" y="2008562"/>
                </a:cubicBezTo>
                <a:cubicBezTo>
                  <a:pt x="1570063" y="2008020"/>
                  <a:pt x="1571895" y="2006743"/>
                  <a:pt x="1573419" y="2005949"/>
                </a:cubicBezTo>
                <a:close/>
                <a:moveTo>
                  <a:pt x="817583" y="2005929"/>
                </a:moveTo>
                <a:cubicBezTo>
                  <a:pt x="824398" y="2009027"/>
                  <a:pt x="835343" y="2014449"/>
                  <a:pt x="838544" y="2020954"/>
                </a:cubicBezTo>
                <a:cubicBezTo>
                  <a:pt x="830490" y="2027305"/>
                  <a:pt x="819028" y="2011815"/>
                  <a:pt x="817583" y="2005929"/>
                </a:cubicBezTo>
                <a:close/>
                <a:moveTo>
                  <a:pt x="5791145" y="2004711"/>
                </a:moveTo>
                <a:cubicBezTo>
                  <a:pt x="5793279" y="2005421"/>
                  <a:pt x="5795413" y="2006703"/>
                  <a:pt x="5797548" y="2008409"/>
                </a:cubicBezTo>
                <a:lnTo>
                  <a:pt x="5802029" y="2013389"/>
                </a:lnTo>
                <a:lnTo>
                  <a:pt x="5803950" y="2008409"/>
                </a:lnTo>
                <a:cubicBezTo>
                  <a:pt x="5804377" y="2005707"/>
                  <a:pt x="5805444" y="2005279"/>
                  <a:pt x="5808432" y="2006560"/>
                </a:cubicBezTo>
                <a:cubicBezTo>
                  <a:pt x="5808219" y="2007840"/>
                  <a:pt x="5807152" y="2009832"/>
                  <a:pt x="5805871" y="2011397"/>
                </a:cubicBezTo>
                <a:lnTo>
                  <a:pt x="5802456" y="2013815"/>
                </a:lnTo>
                <a:lnTo>
                  <a:pt x="5802883" y="2014243"/>
                </a:lnTo>
                <a:cubicBezTo>
                  <a:pt x="5804377" y="2016519"/>
                  <a:pt x="5805231" y="2018795"/>
                  <a:pt x="5805231" y="2021214"/>
                </a:cubicBezTo>
                <a:lnTo>
                  <a:pt x="5803737" y="2024913"/>
                </a:lnTo>
                <a:lnTo>
                  <a:pt x="5805871" y="2025908"/>
                </a:lnTo>
                <a:cubicBezTo>
                  <a:pt x="5808005" y="2028611"/>
                  <a:pt x="5806938" y="2034729"/>
                  <a:pt x="5799682" y="2046395"/>
                </a:cubicBezTo>
                <a:cubicBezTo>
                  <a:pt x="5775565" y="2043266"/>
                  <a:pt x="5787730" y="2028896"/>
                  <a:pt x="5797974" y="2025197"/>
                </a:cubicBezTo>
                <a:lnTo>
                  <a:pt x="5800749" y="2024771"/>
                </a:lnTo>
                <a:lnTo>
                  <a:pt x="5796054" y="2016661"/>
                </a:lnTo>
                <a:cubicBezTo>
                  <a:pt x="5793919" y="2012820"/>
                  <a:pt x="5791998" y="2008979"/>
                  <a:pt x="5791145" y="2004711"/>
                </a:cubicBezTo>
                <a:close/>
                <a:moveTo>
                  <a:pt x="6200911" y="2004141"/>
                </a:moveTo>
                <a:cubicBezTo>
                  <a:pt x="6205393" y="2005707"/>
                  <a:pt x="6208594" y="2006844"/>
                  <a:pt x="6210515" y="2008409"/>
                </a:cubicBezTo>
                <a:cubicBezTo>
                  <a:pt x="6208594" y="2017088"/>
                  <a:pt x="6193868" y="2012677"/>
                  <a:pt x="6200911" y="2004141"/>
                </a:cubicBezTo>
                <a:close/>
                <a:moveTo>
                  <a:pt x="5089634" y="2004141"/>
                </a:moveTo>
                <a:cubicBezTo>
                  <a:pt x="5091128" y="2004711"/>
                  <a:pt x="5093049" y="2006276"/>
                  <a:pt x="5094543" y="2006703"/>
                </a:cubicBezTo>
                <a:cubicBezTo>
                  <a:pt x="5094543" y="2006703"/>
                  <a:pt x="5094543" y="2006844"/>
                  <a:pt x="5093902" y="2008409"/>
                </a:cubicBezTo>
                <a:cubicBezTo>
                  <a:pt x="5093049" y="2006276"/>
                  <a:pt x="5088140" y="2007413"/>
                  <a:pt x="5089634" y="2004141"/>
                </a:cubicBezTo>
                <a:close/>
                <a:moveTo>
                  <a:pt x="5962734" y="2003714"/>
                </a:moveTo>
                <a:cubicBezTo>
                  <a:pt x="5965296" y="2003856"/>
                  <a:pt x="5968070" y="2005707"/>
                  <a:pt x="5968284" y="2007271"/>
                </a:cubicBezTo>
                <a:cubicBezTo>
                  <a:pt x="5968497" y="2008979"/>
                  <a:pt x="5967857" y="2009974"/>
                  <a:pt x="5967857" y="2009974"/>
                </a:cubicBezTo>
                <a:cubicBezTo>
                  <a:pt x="5964015" y="2011824"/>
                  <a:pt x="5959960" y="2012250"/>
                  <a:pt x="5959106" y="2007271"/>
                </a:cubicBezTo>
                <a:cubicBezTo>
                  <a:pt x="5958893" y="2005707"/>
                  <a:pt x="5958679" y="2003999"/>
                  <a:pt x="5959533" y="2004568"/>
                </a:cubicBezTo>
                <a:cubicBezTo>
                  <a:pt x="5960173" y="2003572"/>
                  <a:pt x="5961241" y="2004141"/>
                  <a:pt x="5962734" y="2003714"/>
                </a:cubicBezTo>
                <a:close/>
                <a:moveTo>
                  <a:pt x="5815475" y="2003714"/>
                </a:moveTo>
                <a:cubicBezTo>
                  <a:pt x="5818890" y="2003999"/>
                  <a:pt x="5820810" y="2005991"/>
                  <a:pt x="5820810" y="2008409"/>
                </a:cubicBezTo>
                <a:cubicBezTo>
                  <a:pt x="5820810" y="2010685"/>
                  <a:pt x="5819103" y="2013674"/>
                  <a:pt x="5815902" y="2015807"/>
                </a:cubicBezTo>
                <a:cubicBezTo>
                  <a:pt x="5813767" y="2013815"/>
                  <a:pt x="5813127" y="2011539"/>
                  <a:pt x="5813127" y="2009548"/>
                </a:cubicBezTo>
                <a:lnTo>
                  <a:pt x="5813767" y="2007983"/>
                </a:lnTo>
                <a:lnTo>
                  <a:pt x="5814194" y="2006703"/>
                </a:lnTo>
                <a:close/>
                <a:moveTo>
                  <a:pt x="5154300" y="2003714"/>
                </a:moveTo>
                <a:cubicBezTo>
                  <a:pt x="5156861" y="2005849"/>
                  <a:pt x="5158568" y="2009263"/>
                  <a:pt x="5159636" y="2012250"/>
                </a:cubicBezTo>
                <a:cubicBezTo>
                  <a:pt x="5160703" y="2015380"/>
                  <a:pt x="5161130" y="2017942"/>
                  <a:pt x="5161343" y="2018510"/>
                </a:cubicBezTo>
                <a:cubicBezTo>
                  <a:pt x="5160276" y="2018938"/>
                  <a:pt x="5160276" y="2018938"/>
                  <a:pt x="5160276" y="2018938"/>
                </a:cubicBezTo>
                <a:cubicBezTo>
                  <a:pt x="5160063" y="2015239"/>
                  <a:pt x="5156008" y="2012393"/>
                  <a:pt x="5154300" y="2008409"/>
                </a:cubicBezTo>
                <a:cubicBezTo>
                  <a:pt x="5153660" y="2007129"/>
                  <a:pt x="5153233" y="2005707"/>
                  <a:pt x="5153233" y="2004141"/>
                </a:cubicBezTo>
                <a:cubicBezTo>
                  <a:pt x="5153233" y="2004141"/>
                  <a:pt x="5153233" y="2004141"/>
                  <a:pt x="5153660" y="2005279"/>
                </a:cubicBezTo>
                <a:cubicBezTo>
                  <a:pt x="5153660" y="2005279"/>
                  <a:pt x="5153233" y="2004141"/>
                  <a:pt x="5154300" y="2003714"/>
                </a:cubicBezTo>
                <a:close/>
                <a:moveTo>
                  <a:pt x="5081524" y="2003288"/>
                </a:moveTo>
                <a:cubicBezTo>
                  <a:pt x="5088140" y="2005138"/>
                  <a:pt x="5084939" y="2013389"/>
                  <a:pt x="5081524" y="2014385"/>
                </a:cubicBezTo>
                <a:cubicBezTo>
                  <a:pt x="5073841" y="2012677"/>
                  <a:pt x="5078323" y="2004141"/>
                  <a:pt x="5081524" y="2003288"/>
                </a:cubicBezTo>
                <a:close/>
                <a:moveTo>
                  <a:pt x="4992955" y="2002719"/>
                </a:moveTo>
                <a:cubicBezTo>
                  <a:pt x="4993382" y="2005279"/>
                  <a:pt x="4992955" y="2006987"/>
                  <a:pt x="4992741" y="2008694"/>
                </a:cubicBezTo>
                <a:cubicBezTo>
                  <a:pt x="4992955" y="2011255"/>
                  <a:pt x="4992101" y="2011966"/>
                  <a:pt x="4988900" y="2011255"/>
                </a:cubicBezTo>
                <a:cubicBezTo>
                  <a:pt x="4988473" y="2008552"/>
                  <a:pt x="4990394" y="2003003"/>
                  <a:pt x="4992955" y="2002719"/>
                </a:cubicBezTo>
                <a:close/>
                <a:moveTo>
                  <a:pt x="1222967" y="2001747"/>
                </a:moveTo>
                <a:cubicBezTo>
                  <a:pt x="1222967" y="2001747"/>
                  <a:pt x="1223793" y="2002676"/>
                  <a:pt x="1223793" y="2002676"/>
                </a:cubicBezTo>
                <a:cubicBezTo>
                  <a:pt x="1227200" y="2005000"/>
                  <a:pt x="1228646" y="2009957"/>
                  <a:pt x="1227717" y="2011661"/>
                </a:cubicBezTo>
                <a:cubicBezTo>
                  <a:pt x="1225961" y="2013364"/>
                  <a:pt x="1222451" y="2014449"/>
                  <a:pt x="1219972" y="2011970"/>
                </a:cubicBezTo>
                <a:cubicBezTo>
                  <a:pt x="1217391" y="2010421"/>
                  <a:pt x="1217494" y="2007169"/>
                  <a:pt x="1215016" y="2004690"/>
                </a:cubicBezTo>
                <a:cubicBezTo>
                  <a:pt x="1217804" y="2001283"/>
                  <a:pt x="1218733" y="2000353"/>
                  <a:pt x="1222967" y="2001747"/>
                </a:cubicBezTo>
                <a:close/>
                <a:moveTo>
                  <a:pt x="5992400" y="2001723"/>
                </a:moveTo>
                <a:cubicBezTo>
                  <a:pt x="5992613" y="2001866"/>
                  <a:pt x="5992826" y="2002149"/>
                  <a:pt x="5993467" y="2002861"/>
                </a:cubicBezTo>
                <a:cubicBezTo>
                  <a:pt x="5992400" y="2004141"/>
                  <a:pt x="5992400" y="2002861"/>
                  <a:pt x="5991546" y="2002719"/>
                </a:cubicBezTo>
                <a:cubicBezTo>
                  <a:pt x="5991973" y="2002149"/>
                  <a:pt x="5992186" y="2001723"/>
                  <a:pt x="5992400" y="2001723"/>
                </a:cubicBezTo>
                <a:close/>
                <a:moveTo>
                  <a:pt x="5046950" y="2000869"/>
                </a:moveTo>
                <a:cubicBezTo>
                  <a:pt x="5048231" y="2005849"/>
                  <a:pt x="5049725" y="2010685"/>
                  <a:pt x="5048018" y="2013674"/>
                </a:cubicBezTo>
                <a:lnTo>
                  <a:pt x="5045456" y="2013389"/>
                </a:lnTo>
                <a:lnTo>
                  <a:pt x="5045670" y="2014385"/>
                </a:lnTo>
                <a:cubicBezTo>
                  <a:pt x="5046310" y="2016234"/>
                  <a:pt x="5046310" y="2018369"/>
                  <a:pt x="5044816" y="2020075"/>
                </a:cubicBezTo>
                <a:cubicBezTo>
                  <a:pt x="5044389" y="2018938"/>
                  <a:pt x="5043749" y="2017088"/>
                  <a:pt x="5043109" y="2015239"/>
                </a:cubicBezTo>
                <a:lnTo>
                  <a:pt x="5042682" y="2013105"/>
                </a:lnTo>
                <a:lnTo>
                  <a:pt x="5039480" y="2012677"/>
                </a:lnTo>
                <a:cubicBezTo>
                  <a:pt x="5036919" y="2011397"/>
                  <a:pt x="5034785" y="2008979"/>
                  <a:pt x="5033291" y="2005421"/>
                </a:cubicBezTo>
                <a:cubicBezTo>
                  <a:pt x="5034999" y="1999874"/>
                  <a:pt x="5042895" y="2000869"/>
                  <a:pt x="5046950" y="2000869"/>
                </a:cubicBezTo>
                <a:close/>
                <a:moveTo>
                  <a:pt x="5949929" y="2000584"/>
                </a:moveTo>
                <a:cubicBezTo>
                  <a:pt x="5951850" y="2000727"/>
                  <a:pt x="5952917" y="2001438"/>
                  <a:pt x="5953558" y="2002719"/>
                </a:cubicBezTo>
                <a:cubicBezTo>
                  <a:pt x="5953984" y="2003999"/>
                  <a:pt x="5953771" y="2005707"/>
                  <a:pt x="5953558" y="2007983"/>
                </a:cubicBezTo>
                <a:cubicBezTo>
                  <a:pt x="5953130" y="2012393"/>
                  <a:pt x="5949502" y="2013247"/>
                  <a:pt x="5948435" y="2016661"/>
                </a:cubicBezTo>
                <a:cubicBezTo>
                  <a:pt x="5946301" y="2015239"/>
                  <a:pt x="5942673" y="2013389"/>
                  <a:pt x="5943740" y="2007271"/>
                </a:cubicBezTo>
                <a:cubicBezTo>
                  <a:pt x="5944167" y="2005564"/>
                  <a:pt x="5944167" y="2005564"/>
                  <a:pt x="5945234" y="2004853"/>
                </a:cubicBezTo>
                <a:cubicBezTo>
                  <a:pt x="5946728" y="2002576"/>
                  <a:pt x="5947155" y="2000869"/>
                  <a:pt x="5949929" y="2000584"/>
                </a:cubicBezTo>
                <a:close/>
                <a:moveTo>
                  <a:pt x="5420648" y="2000300"/>
                </a:moveTo>
                <a:cubicBezTo>
                  <a:pt x="5420862" y="2000443"/>
                  <a:pt x="5421075" y="2000869"/>
                  <a:pt x="5421289" y="2001723"/>
                </a:cubicBezTo>
                <a:cubicBezTo>
                  <a:pt x="5420862" y="2002719"/>
                  <a:pt x="5420435" y="2003714"/>
                  <a:pt x="5419368" y="2003146"/>
                </a:cubicBezTo>
                <a:cubicBezTo>
                  <a:pt x="5418941" y="2004284"/>
                  <a:pt x="5418941" y="2004141"/>
                  <a:pt x="5417874" y="2003714"/>
                </a:cubicBezTo>
                <a:cubicBezTo>
                  <a:pt x="5418514" y="2002576"/>
                  <a:pt x="5418941" y="2001581"/>
                  <a:pt x="5419368" y="2000584"/>
                </a:cubicBezTo>
                <a:cubicBezTo>
                  <a:pt x="5420008" y="2000300"/>
                  <a:pt x="5420435" y="2000158"/>
                  <a:pt x="5420648" y="2000300"/>
                </a:cubicBezTo>
                <a:close/>
                <a:moveTo>
                  <a:pt x="5634281" y="1999589"/>
                </a:moveTo>
                <a:cubicBezTo>
                  <a:pt x="5635562" y="2000727"/>
                  <a:pt x="5635775" y="2001866"/>
                  <a:pt x="5635989" y="2003146"/>
                </a:cubicBezTo>
                <a:cubicBezTo>
                  <a:pt x="5634921" y="2004426"/>
                  <a:pt x="5633854" y="2004426"/>
                  <a:pt x="5632787" y="2005707"/>
                </a:cubicBezTo>
                <a:cubicBezTo>
                  <a:pt x="5633001" y="2006844"/>
                  <a:pt x="5633428" y="2009263"/>
                  <a:pt x="5632361" y="2010544"/>
                </a:cubicBezTo>
                <a:cubicBezTo>
                  <a:pt x="5631507" y="2011682"/>
                  <a:pt x="5629373" y="2013105"/>
                  <a:pt x="5629373" y="2013105"/>
                </a:cubicBezTo>
                <a:cubicBezTo>
                  <a:pt x="5627879" y="2011966"/>
                  <a:pt x="5627879" y="2011966"/>
                  <a:pt x="5629159" y="2011966"/>
                </a:cubicBezTo>
                <a:cubicBezTo>
                  <a:pt x="5629800" y="2009548"/>
                  <a:pt x="5630013" y="2010685"/>
                  <a:pt x="5631080" y="2009405"/>
                </a:cubicBezTo>
                <a:cubicBezTo>
                  <a:pt x="5631934" y="2008125"/>
                  <a:pt x="5633428" y="2002149"/>
                  <a:pt x="5632147" y="2001012"/>
                </a:cubicBezTo>
                <a:cubicBezTo>
                  <a:pt x="5633428" y="2000869"/>
                  <a:pt x="5634281" y="1999589"/>
                  <a:pt x="5634281" y="1999589"/>
                </a:cubicBezTo>
                <a:close/>
                <a:moveTo>
                  <a:pt x="1142737" y="1998650"/>
                </a:moveTo>
                <a:cubicBezTo>
                  <a:pt x="1141601" y="2000198"/>
                  <a:pt x="1140568" y="2001128"/>
                  <a:pt x="1139639" y="2001902"/>
                </a:cubicBezTo>
                <a:cubicBezTo>
                  <a:pt x="1138503" y="2003451"/>
                  <a:pt x="1137574" y="2003451"/>
                  <a:pt x="1136025" y="2001747"/>
                </a:cubicBezTo>
                <a:cubicBezTo>
                  <a:pt x="1137058" y="2000043"/>
                  <a:pt x="1140981" y="1997720"/>
                  <a:pt x="1142737" y="1998650"/>
                </a:cubicBezTo>
                <a:close/>
                <a:moveTo>
                  <a:pt x="4902252" y="1998308"/>
                </a:moveTo>
                <a:cubicBezTo>
                  <a:pt x="4906947" y="1998166"/>
                  <a:pt x="4909935" y="2000158"/>
                  <a:pt x="4913990" y="2005849"/>
                </a:cubicBezTo>
                <a:cubicBezTo>
                  <a:pt x="4913136" y="2011682"/>
                  <a:pt x="4904386" y="2016803"/>
                  <a:pt x="4899477" y="2009690"/>
                </a:cubicBezTo>
                <a:lnTo>
                  <a:pt x="4897556" y="2010544"/>
                </a:lnTo>
                <a:lnTo>
                  <a:pt x="4892861" y="2010970"/>
                </a:lnTo>
                <a:lnTo>
                  <a:pt x="4892221" y="2012393"/>
                </a:lnTo>
                <a:cubicBezTo>
                  <a:pt x="4892221" y="2013531"/>
                  <a:pt x="4887312" y="2011113"/>
                  <a:pt x="4886245" y="2011113"/>
                </a:cubicBezTo>
                <a:lnTo>
                  <a:pt x="4886458" y="2010970"/>
                </a:lnTo>
                <a:lnTo>
                  <a:pt x="4880056" y="2009974"/>
                </a:lnTo>
                <a:cubicBezTo>
                  <a:pt x="4882830" y="2003572"/>
                  <a:pt x="4888593" y="2001438"/>
                  <a:pt x="4894995" y="2001296"/>
                </a:cubicBezTo>
                <a:lnTo>
                  <a:pt x="4900117" y="2001866"/>
                </a:lnTo>
                <a:close/>
                <a:moveTo>
                  <a:pt x="5616567" y="1997597"/>
                </a:moveTo>
                <a:cubicBezTo>
                  <a:pt x="5616354" y="2000016"/>
                  <a:pt x="5613793" y="2013105"/>
                  <a:pt x="5611232" y="2016661"/>
                </a:cubicBezTo>
                <a:cubicBezTo>
                  <a:pt x="5612939" y="2010685"/>
                  <a:pt x="5612726" y="2002292"/>
                  <a:pt x="5616567" y="1997597"/>
                </a:cubicBezTo>
                <a:close/>
                <a:moveTo>
                  <a:pt x="4993595" y="1997597"/>
                </a:moveTo>
                <a:cubicBezTo>
                  <a:pt x="4994449" y="1997882"/>
                  <a:pt x="4994663" y="1998308"/>
                  <a:pt x="4994876" y="1998735"/>
                </a:cubicBezTo>
                <a:cubicBezTo>
                  <a:pt x="4994876" y="1999162"/>
                  <a:pt x="4994876" y="1999589"/>
                  <a:pt x="4994876" y="1999589"/>
                </a:cubicBezTo>
                <a:cubicBezTo>
                  <a:pt x="4994663" y="2001296"/>
                  <a:pt x="4994449" y="2002861"/>
                  <a:pt x="4992741" y="2002434"/>
                </a:cubicBezTo>
                <a:cubicBezTo>
                  <a:pt x="4992741" y="2002434"/>
                  <a:pt x="4992101" y="2001581"/>
                  <a:pt x="4992741" y="1998166"/>
                </a:cubicBezTo>
                <a:cubicBezTo>
                  <a:pt x="4993382" y="1999304"/>
                  <a:pt x="4994235" y="1998593"/>
                  <a:pt x="4994235" y="1998593"/>
                </a:cubicBezTo>
                <a:cubicBezTo>
                  <a:pt x="4994235" y="1998593"/>
                  <a:pt x="4994235" y="1998593"/>
                  <a:pt x="4993595" y="1997597"/>
                </a:cubicBezTo>
                <a:close/>
                <a:moveTo>
                  <a:pt x="945285" y="1997584"/>
                </a:moveTo>
                <a:cubicBezTo>
                  <a:pt x="948486" y="1999036"/>
                  <a:pt x="951455" y="2001205"/>
                  <a:pt x="952745" y="2001747"/>
                </a:cubicBezTo>
                <a:cubicBezTo>
                  <a:pt x="952745" y="2001747"/>
                  <a:pt x="953571" y="2001902"/>
                  <a:pt x="954397" y="2002831"/>
                </a:cubicBezTo>
                <a:cubicBezTo>
                  <a:pt x="956153" y="2003761"/>
                  <a:pt x="953571" y="2004380"/>
                  <a:pt x="954397" y="2005310"/>
                </a:cubicBezTo>
                <a:cubicBezTo>
                  <a:pt x="947479" y="2002986"/>
                  <a:pt x="941490" y="2003916"/>
                  <a:pt x="941490" y="2003916"/>
                </a:cubicBezTo>
                <a:cubicBezTo>
                  <a:pt x="939735" y="2002986"/>
                  <a:pt x="939838" y="2002212"/>
                  <a:pt x="939838" y="2002986"/>
                </a:cubicBezTo>
                <a:cubicBezTo>
                  <a:pt x="938083" y="2001128"/>
                  <a:pt x="935605" y="1999269"/>
                  <a:pt x="936431" y="1997720"/>
                </a:cubicBezTo>
                <a:cubicBezTo>
                  <a:pt x="938651" y="1995396"/>
                  <a:pt x="942084" y="1996132"/>
                  <a:pt x="945285" y="1997584"/>
                </a:cubicBezTo>
                <a:close/>
                <a:moveTo>
                  <a:pt x="6046395" y="1996885"/>
                </a:moveTo>
                <a:cubicBezTo>
                  <a:pt x="6048956" y="1997028"/>
                  <a:pt x="6050237" y="1999304"/>
                  <a:pt x="6051304" y="2001581"/>
                </a:cubicBezTo>
                <a:cubicBezTo>
                  <a:pt x="6052157" y="2003430"/>
                  <a:pt x="6051944" y="2004853"/>
                  <a:pt x="6051090" y="2005849"/>
                </a:cubicBezTo>
                <a:cubicBezTo>
                  <a:pt x="6050237" y="2006703"/>
                  <a:pt x="6048956" y="2007413"/>
                  <a:pt x="6047462" y="2007840"/>
                </a:cubicBezTo>
                <a:cubicBezTo>
                  <a:pt x="6044047" y="2008694"/>
                  <a:pt x="6042981" y="2006560"/>
                  <a:pt x="6042981" y="2006560"/>
                </a:cubicBezTo>
                <a:cubicBezTo>
                  <a:pt x="6041486" y="2002576"/>
                  <a:pt x="6042553" y="1998877"/>
                  <a:pt x="6046395" y="1996885"/>
                </a:cubicBezTo>
                <a:close/>
                <a:moveTo>
                  <a:pt x="4873440" y="1996885"/>
                </a:moveTo>
                <a:cubicBezTo>
                  <a:pt x="4877495" y="1996174"/>
                  <a:pt x="4881550" y="2001438"/>
                  <a:pt x="4881123" y="2004853"/>
                </a:cubicBezTo>
                <a:cubicBezTo>
                  <a:pt x="4876855" y="2008836"/>
                  <a:pt x="4870239" y="2004853"/>
                  <a:pt x="4869812" y="1999874"/>
                </a:cubicBezTo>
                <a:cubicBezTo>
                  <a:pt x="4870879" y="1998024"/>
                  <a:pt x="4872159" y="1997171"/>
                  <a:pt x="4873440" y="1996885"/>
                </a:cubicBezTo>
                <a:close/>
                <a:moveTo>
                  <a:pt x="4755206" y="1996174"/>
                </a:moveTo>
                <a:cubicBezTo>
                  <a:pt x="4756913" y="1995890"/>
                  <a:pt x="4758407" y="1996744"/>
                  <a:pt x="4759687" y="1998451"/>
                </a:cubicBezTo>
                <a:cubicBezTo>
                  <a:pt x="4760541" y="1999589"/>
                  <a:pt x="4761181" y="2001012"/>
                  <a:pt x="4761394" y="2003003"/>
                </a:cubicBezTo>
                <a:lnTo>
                  <a:pt x="4758193" y="2003430"/>
                </a:lnTo>
                <a:lnTo>
                  <a:pt x="4757126" y="2006276"/>
                </a:lnTo>
                <a:cubicBezTo>
                  <a:pt x="4757126" y="2006276"/>
                  <a:pt x="4756059" y="2006133"/>
                  <a:pt x="4756059" y="2006133"/>
                </a:cubicBezTo>
                <a:lnTo>
                  <a:pt x="4754779" y="2003999"/>
                </a:lnTo>
                <a:lnTo>
                  <a:pt x="4754565" y="2004141"/>
                </a:lnTo>
                <a:cubicBezTo>
                  <a:pt x="4752644" y="2003572"/>
                  <a:pt x="4751151" y="2002008"/>
                  <a:pt x="4750296" y="2000158"/>
                </a:cubicBezTo>
                <a:cubicBezTo>
                  <a:pt x="4751577" y="1997739"/>
                  <a:pt x="4753498" y="1996459"/>
                  <a:pt x="4755206" y="1996174"/>
                </a:cubicBezTo>
                <a:close/>
                <a:moveTo>
                  <a:pt x="1144802" y="1996016"/>
                </a:moveTo>
                <a:cubicBezTo>
                  <a:pt x="1144699" y="1996790"/>
                  <a:pt x="1145525" y="1996945"/>
                  <a:pt x="1145525" y="1996945"/>
                </a:cubicBezTo>
                <a:cubicBezTo>
                  <a:pt x="1145525" y="1996945"/>
                  <a:pt x="1145525" y="1996945"/>
                  <a:pt x="1145628" y="1996016"/>
                </a:cubicBezTo>
                <a:cubicBezTo>
                  <a:pt x="1146041" y="1996481"/>
                  <a:pt x="1145938" y="1996945"/>
                  <a:pt x="1145834" y="1997255"/>
                </a:cubicBezTo>
                <a:cubicBezTo>
                  <a:pt x="1145628" y="1997565"/>
                  <a:pt x="1145422" y="1997720"/>
                  <a:pt x="1145422" y="1997720"/>
                </a:cubicBezTo>
                <a:cubicBezTo>
                  <a:pt x="1144492" y="1998494"/>
                  <a:pt x="1143460" y="1999424"/>
                  <a:pt x="1142737" y="1998494"/>
                </a:cubicBezTo>
                <a:cubicBezTo>
                  <a:pt x="1142737" y="1998494"/>
                  <a:pt x="1142840" y="1997565"/>
                  <a:pt x="1144802" y="1996016"/>
                </a:cubicBezTo>
                <a:close/>
                <a:moveTo>
                  <a:pt x="5120153" y="1994609"/>
                </a:moveTo>
                <a:cubicBezTo>
                  <a:pt x="5127196" y="1995320"/>
                  <a:pt x="5133172" y="2006987"/>
                  <a:pt x="5135519" y="2009405"/>
                </a:cubicBezTo>
                <a:cubicBezTo>
                  <a:pt x="5135519" y="2009405"/>
                  <a:pt x="5136586" y="2009974"/>
                  <a:pt x="5137226" y="2011682"/>
                </a:cubicBezTo>
                <a:cubicBezTo>
                  <a:pt x="5138721" y="2013815"/>
                  <a:pt x="5135093" y="2013105"/>
                  <a:pt x="5135519" y="2014812"/>
                </a:cubicBezTo>
                <a:cubicBezTo>
                  <a:pt x="5128263" y="2007983"/>
                  <a:pt x="5120153" y="2005991"/>
                  <a:pt x="5120153" y="2005991"/>
                </a:cubicBezTo>
                <a:cubicBezTo>
                  <a:pt x="5118659" y="2003714"/>
                  <a:pt x="5119086" y="2002719"/>
                  <a:pt x="5118659" y="2003714"/>
                </a:cubicBezTo>
                <a:cubicBezTo>
                  <a:pt x="5117379" y="2000443"/>
                  <a:pt x="5115244" y="1996601"/>
                  <a:pt x="5117379" y="1995179"/>
                </a:cubicBezTo>
                <a:cubicBezTo>
                  <a:pt x="5118232" y="1994752"/>
                  <a:pt x="5119299" y="1994609"/>
                  <a:pt x="5120153" y="1994609"/>
                </a:cubicBezTo>
                <a:close/>
                <a:moveTo>
                  <a:pt x="5251406" y="1994182"/>
                </a:moveTo>
                <a:cubicBezTo>
                  <a:pt x="5257595" y="1993898"/>
                  <a:pt x="5263998" y="1995605"/>
                  <a:pt x="5268053" y="1997455"/>
                </a:cubicBezTo>
                <a:cubicBezTo>
                  <a:pt x="5263145" y="1999589"/>
                  <a:pt x="5258022" y="2002008"/>
                  <a:pt x="5252687" y="2003430"/>
                </a:cubicBezTo>
                <a:lnTo>
                  <a:pt x="5245644" y="2004426"/>
                </a:lnTo>
                <a:lnTo>
                  <a:pt x="5246498" y="2005849"/>
                </a:lnTo>
                <a:cubicBezTo>
                  <a:pt x="5247565" y="2009121"/>
                  <a:pt x="5247138" y="2012677"/>
                  <a:pt x="5242656" y="2013105"/>
                </a:cubicBezTo>
                <a:cubicBezTo>
                  <a:pt x="5241376" y="2013389"/>
                  <a:pt x="5240308" y="2012820"/>
                  <a:pt x="5239455" y="2011682"/>
                </a:cubicBezTo>
                <a:cubicBezTo>
                  <a:pt x="5238174" y="2009974"/>
                  <a:pt x="5237107" y="2007129"/>
                  <a:pt x="5237320" y="2004568"/>
                </a:cubicBezTo>
                <a:lnTo>
                  <a:pt x="5237320" y="2003714"/>
                </a:lnTo>
                <a:lnTo>
                  <a:pt x="5235400" y="2003430"/>
                </a:lnTo>
                <a:lnTo>
                  <a:pt x="5237107" y="2001723"/>
                </a:lnTo>
                <a:lnTo>
                  <a:pt x="5236894" y="2001438"/>
                </a:lnTo>
                <a:cubicBezTo>
                  <a:pt x="5236680" y="2001012"/>
                  <a:pt x="5236680" y="2000584"/>
                  <a:pt x="5237320" y="2000727"/>
                </a:cubicBezTo>
                <a:cubicBezTo>
                  <a:pt x="5237320" y="1999589"/>
                  <a:pt x="5238388" y="1999731"/>
                  <a:pt x="5239668" y="1998735"/>
                </a:cubicBezTo>
                <a:lnTo>
                  <a:pt x="5240095" y="1998735"/>
                </a:lnTo>
                <a:lnTo>
                  <a:pt x="5242443" y="1996601"/>
                </a:lnTo>
                <a:cubicBezTo>
                  <a:pt x="5245217" y="1995036"/>
                  <a:pt x="5248205" y="1994467"/>
                  <a:pt x="5251406" y="1994182"/>
                </a:cubicBezTo>
                <a:close/>
                <a:moveTo>
                  <a:pt x="759140" y="1993847"/>
                </a:moveTo>
                <a:cubicBezTo>
                  <a:pt x="765232" y="1989820"/>
                  <a:pt x="777726" y="1999578"/>
                  <a:pt x="774112" y="2004535"/>
                </a:cubicBezTo>
                <a:cubicBezTo>
                  <a:pt x="773596" y="2005155"/>
                  <a:pt x="772666" y="2005774"/>
                  <a:pt x="771427" y="2006239"/>
                </a:cubicBezTo>
                <a:cubicBezTo>
                  <a:pt x="764096" y="2005464"/>
                  <a:pt x="758727" y="2003141"/>
                  <a:pt x="757797" y="1996016"/>
                </a:cubicBezTo>
                <a:cubicBezTo>
                  <a:pt x="759037" y="1996171"/>
                  <a:pt x="759140" y="1994932"/>
                  <a:pt x="759140" y="1993847"/>
                </a:cubicBezTo>
                <a:close/>
                <a:moveTo>
                  <a:pt x="1133857" y="1993538"/>
                </a:moveTo>
                <a:cubicBezTo>
                  <a:pt x="1134580" y="1995396"/>
                  <a:pt x="1134476" y="1996945"/>
                  <a:pt x="1133857" y="1998339"/>
                </a:cubicBezTo>
                <a:lnTo>
                  <a:pt x="1132928" y="1999269"/>
                </a:lnTo>
                <a:lnTo>
                  <a:pt x="1132308" y="1999888"/>
                </a:lnTo>
                <a:lnTo>
                  <a:pt x="1130553" y="2001437"/>
                </a:lnTo>
                <a:cubicBezTo>
                  <a:pt x="1129417" y="2000817"/>
                  <a:pt x="1128694" y="2000198"/>
                  <a:pt x="1128384" y="1999269"/>
                </a:cubicBezTo>
                <a:cubicBezTo>
                  <a:pt x="1128074" y="1998494"/>
                  <a:pt x="1128074" y="1997720"/>
                  <a:pt x="1128488" y="1996945"/>
                </a:cubicBezTo>
                <a:cubicBezTo>
                  <a:pt x="1129107" y="1995241"/>
                  <a:pt x="1131069" y="1993847"/>
                  <a:pt x="1133857" y="1993538"/>
                </a:cubicBezTo>
                <a:close/>
                <a:moveTo>
                  <a:pt x="1152236" y="1992763"/>
                </a:moveTo>
                <a:cubicBezTo>
                  <a:pt x="1153992" y="1993228"/>
                  <a:pt x="1155747" y="1993847"/>
                  <a:pt x="1157503" y="1994467"/>
                </a:cubicBezTo>
                <a:cubicBezTo>
                  <a:pt x="1156676" y="1994622"/>
                  <a:pt x="1158741" y="2001902"/>
                  <a:pt x="1158741" y="2001902"/>
                </a:cubicBezTo>
                <a:cubicBezTo>
                  <a:pt x="1157193" y="2003761"/>
                  <a:pt x="1157193" y="2003761"/>
                  <a:pt x="1154508" y="2002521"/>
                </a:cubicBezTo>
                <a:cubicBezTo>
                  <a:pt x="1153579" y="2001747"/>
                  <a:pt x="1152649" y="2000043"/>
                  <a:pt x="1152133" y="1998030"/>
                </a:cubicBezTo>
                <a:cubicBezTo>
                  <a:pt x="1151823" y="1997100"/>
                  <a:pt x="1151720" y="1996016"/>
                  <a:pt x="1151720" y="1995086"/>
                </a:cubicBezTo>
                <a:cubicBezTo>
                  <a:pt x="1151720" y="1994157"/>
                  <a:pt x="1151927" y="1993383"/>
                  <a:pt x="1152236" y="1992763"/>
                </a:cubicBezTo>
                <a:close/>
                <a:moveTo>
                  <a:pt x="1540790" y="1992608"/>
                </a:moveTo>
                <a:cubicBezTo>
                  <a:pt x="1543681" y="1991834"/>
                  <a:pt x="1545746" y="1992298"/>
                  <a:pt x="1546985" y="1993538"/>
                </a:cubicBezTo>
                <a:cubicBezTo>
                  <a:pt x="1550805" y="1997100"/>
                  <a:pt x="1547708" y="2006239"/>
                  <a:pt x="1540170" y="2004535"/>
                </a:cubicBezTo>
                <a:cubicBezTo>
                  <a:pt x="1539137" y="2003296"/>
                  <a:pt x="1538931" y="2000817"/>
                  <a:pt x="1539137" y="1998494"/>
                </a:cubicBezTo>
                <a:cubicBezTo>
                  <a:pt x="1539344" y="1996016"/>
                  <a:pt x="1539964" y="1993693"/>
                  <a:pt x="1540790" y="1992608"/>
                </a:cubicBezTo>
                <a:close/>
                <a:moveTo>
                  <a:pt x="1535313" y="1991597"/>
                </a:moveTo>
                <a:lnTo>
                  <a:pt x="1537279" y="1992298"/>
                </a:lnTo>
                <a:cubicBezTo>
                  <a:pt x="1538002" y="1992608"/>
                  <a:pt x="1538725" y="1993073"/>
                  <a:pt x="1538621" y="1994002"/>
                </a:cubicBezTo>
                <a:close/>
                <a:moveTo>
                  <a:pt x="1535214" y="1991524"/>
                </a:moveTo>
                <a:lnTo>
                  <a:pt x="1535313" y="1991597"/>
                </a:lnTo>
                <a:lnTo>
                  <a:pt x="1535246" y="1991572"/>
                </a:lnTo>
                <a:close/>
                <a:moveTo>
                  <a:pt x="1128178" y="1991369"/>
                </a:moveTo>
                <a:cubicBezTo>
                  <a:pt x="1128591" y="1990750"/>
                  <a:pt x="1129313" y="1991214"/>
                  <a:pt x="1128900" y="1991834"/>
                </a:cubicBezTo>
                <a:cubicBezTo>
                  <a:pt x="1130036" y="1993538"/>
                  <a:pt x="1127661" y="1993693"/>
                  <a:pt x="1126526" y="1993847"/>
                </a:cubicBezTo>
                <a:cubicBezTo>
                  <a:pt x="1127765" y="1991989"/>
                  <a:pt x="1127352" y="1990904"/>
                  <a:pt x="1128178" y="1991369"/>
                </a:cubicBezTo>
                <a:close/>
                <a:moveTo>
                  <a:pt x="1266025" y="1990750"/>
                </a:moveTo>
                <a:cubicBezTo>
                  <a:pt x="1266334" y="1990904"/>
                  <a:pt x="1266541" y="1991214"/>
                  <a:pt x="1266541" y="1991214"/>
                </a:cubicBezTo>
                <a:cubicBezTo>
                  <a:pt x="1267264" y="1991989"/>
                  <a:pt x="1268090" y="1992918"/>
                  <a:pt x="1267057" y="1993693"/>
                </a:cubicBezTo>
                <a:cubicBezTo>
                  <a:pt x="1267057" y="1993693"/>
                  <a:pt x="1266128" y="1993693"/>
                  <a:pt x="1264682" y="1991834"/>
                </a:cubicBezTo>
                <a:cubicBezTo>
                  <a:pt x="1265612" y="1991989"/>
                  <a:pt x="1265715" y="1991059"/>
                  <a:pt x="1265715" y="1991059"/>
                </a:cubicBezTo>
                <a:cubicBezTo>
                  <a:pt x="1265715" y="1991059"/>
                  <a:pt x="1265715" y="1991059"/>
                  <a:pt x="1264889" y="1991059"/>
                </a:cubicBezTo>
                <a:cubicBezTo>
                  <a:pt x="1265302" y="1990594"/>
                  <a:pt x="1265818" y="1990750"/>
                  <a:pt x="1266025" y="1990750"/>
                </a:cubicBezTo>
                <a:close/>
                <a:moveTo>
                  <a:pt x="5802883" y="1990626"/>
                </a:moveTo>
                <a:lnTo>
                  <a:pt x="5804590" y="1992760"/>
                </a:lnTo>
                <a:lnTo>
                  <a:pt x="5805231" y="1992476"/>
                </a:lnTo>
                <a:lnTo>
                  <a:pt x="5803950" y="1990768"/>
                </a:lnTo>
                <a:close/>
                <a:moveTo>
                  <a:pt x="781237" y="1990285"/>
                </a:moveTo>
                <a:cubicBezTo>
                  <a:pt x="789704" y="1989511"/>
                  <a:pt x="790530" y="1996171"/>
                  <a:pt x="786709" y="1999114"/>
                </a:cubicBezTo>
                <a:cubicBezTo>
                  <a:pt x="785470" y="2000043"/>
                  <a:pt x="783612" y="2000663"/>
                  <a:pt x="781443" y="2000508"/>
                </a:cubicBezTo>
                <a:cubicBezTo>
                  <a:pt x="780617" y="1999424"/>
                  <a:pt x="780101" y="1997255"/>
                  <a:pt x="779998" y="1995241"/>
                </a:cubicBezTo>
                <a:cubicBezTo>
                  <a:pt x="779894" y="1993073"/>
                  <a:pt x="780307" y="1991059"/>
                  <a:pt x="781237" y="1990285"/>
                </a:cubicBezTo>
                <a:close/>
                <a:moveTo>
                  <a:pt x="5438149" y="1989915"/>
                </a:moveTo>
                <a:cubicBezTo>
                  <a:pt x="5439643" y="1990341"/>
                  <a:pt x="5440496" y="1991195"/>
                  <a:pt x="5440923" y="1992190"/>
                </a:cubicBezTo>
                <a:cubicBezTo>
                  <a:pt x="5442204" y="1995320"/>
                  <a:pt x="5439216" y="2000158"/>
                  <a:pt x="5436441" y="2001012"/>
                </a:cubicBezTo>
                <a:cubicBezTo>
                  <a:pt x="5428972" y="1999731"/>
                  <a:pt x="5434520" y="1990910"/>
                  <a:pt x="5438149" y="1989915"/>
                </a:cubicBezTo>
                <a:close/>
                <a:moveTo>
                  <a:pt x="6131763" y="1988777"/>
                </a:moveTo>
                <a:cubicBezTo>
                  <a:pt x="6131763" y="1990057"/>
                  <a:pt x="6131976" y="1992333"/>
                  <a:pt x="6134324" y="1993755"/>
                </a:cubicBezTo>
                <a:cubicBezTo>
                  <a:pt x="6132189" y="1996032"/>
                  <a:pt x="6130056" y="1998308"/>
                  <a:pt x="6127494" y="1995748"/>
                </a:cubicBezTo>
                <a:cubicBezTo>
                  <a:pt x="6126427" y="1994467"/>
                  <a:pt x="6125147" y="1993187"/>
                  <a:pt x="6124933" y="1990910"/>
                </a:cubicBezTo>
                <a:cubicBezTo>
                  <a:pt x="6127068" y="1988635"/>
                  <a:pt x="6130696" y="1989915"/>
                  <a:pt x="6131763" y="1988777"/>
                </a:cubicBezTo>
                <a:close/>
                <a:moveTo>
                  <a:pt x="6261949" y="1988065"/>
                </a:moveTo>
                <a:cubicBezTo>
                  <a:pt x="6266217" y="1988349"/>
                  <a:pt x="6273047" y="1990910"/>
                  <a:pt x="6273047" y="1991764"/>
                </a:cubicBezTo>
                <a:cubicBezTo>
                  <a:pt x="6274327" y="1991907"/>
                  <a:pt x="6274114" y="1993045"/>
                  <a:pt x="6275394" y="1993187"/>
                </a:cubicBezTo>
                <a:cubicBezTo>
                  <a:pt x="6275394" y="1993187"/>
                  <a:pt x="6276462" y="1993187"/>
                  <a:pt x="6277742" y="1994467"/>
                </a:cubicBezTo>
                <a:cubicBezTo>
                  <a:pt x="6279022" y="1995748"/>
                  <a:pt x="6280303" y="1997028"/>
                  <a:pt x="6279236" y="1999447"/>
                </a:cubicBezTo>
                <a:cubicBezTo>
                  <a:pt x="6269632" y="1995320"/>
                  <a:pt x="6264937" y="1995179"/>
                  <a:pt x="6257894" y="1991195"/>
                </a:cubicBezTo>
                <a:cubicBezTo>
                  <a:pt x="6257894" y="1990057"/>
                  <a:pt x="6258961" y="1990057"/>
                  <a:pt x="6258961" y="1988777"/>
                </a:cubicBezTo>
                <a:cubicBezTo>
                  <a:pt x="6259388" y="1988208"/>
                  <a:pt x="6260668" y="1988065"/>
                  <a:pt x="6261949" y="1988065"/>
                </a:cubicBezTo>
                <a:close/>
                <a:moveTo>
                  <a:pt x="734668" y="1987961"/>
                </a:moveTo>
                <a:cubicBezTo>
                  <a:pt x="740037" y="1986412"/>
                  <a:pt x="750260" y="2002057"/>
                  <a:pt x="732087" y="1996636"/>
                </a:cubicBezTo>
                <a:cubicBezTo>
                  <a:pt x="731570" y="1990904"/>
                  <a:pt x="732810" y="1988426"/>
                  <a:pt x="734668" y="1987961"/>
                </a:cubicBezTo>
                <a:close/>
                <a:moveTo>
                  <a:pt x="5941179" y="1986643"/>
                </a:moveTo>
                <a:cubicBezTo>
                  <a:pt x="5938618" y="2006418"/>
                  <a:pt x="5917703" y="2016945"/>
                  <a:pt x="5902336" y="2029750"/>
                </a:cubicBezTo>
                <a:lnTo>
                  <a:pt x="5901056" y="2028327"/>
                </a:lnTo>
                <a:lnTo>
                  <a:pt x="5901483" y="2031600"/>
                </a:lnTo>
                <a:cubicBezTo>
                  <a:pt x="5901483" y="2033591"/>
                  <a:pt x="5901056" y="2035298"/>
                  <a:pt x="5900416" y="2036579"/>
                </a:cubicBezTo>
                <a:cubicBezTo>
                  <a:pt x="5899775" y="2037574"/>
                  <a:pt x="5899135" y="2038286"/>
                  <a:pt x="5898068" y="2038713"/>
                </a:cubicBezTo>
                <a:cubicBezTo>
                  <a:pt x="5895720" y="2040278"/>
                  <a:pt x="5894653" y="2038001"/>
                  <a:pt x="5894013" y="2034729"/>
                </a:cubicBezTo>
                <a:cubicBezTo>
                  <a:pt x="5891239" y="2028470"/>
                  <a:pt x="5892306" y="2024771"/>
                  <a:pt x="5897215" y="2023490"/>
                </a:cubicBezTo>
                <a:lnTo>
                  <a:pt x="5898495" y="2024628"/>
                </a:lnTo>
                <a:lnTo>
                  <a:pt x="5894867" y="2018084"/>
                </a:lnTo>
                <a:lnTo>
                  <a:pt x="5900416" y="2014243"/>
                </a:lnTo>
                <a:lnTo>
                  <a:pt x="5899775" y="2013247"/>
                </a:lnTo>
                <a:cubicBezTo>
                  <a:pt x="5900416" y="2012250"/>
                  <a:pt x="5899989" y="2010544"/>
                  <a:pt x="5900629" y="2009548"/>
                </a:cubicBezTo>
                <a:cubicBezTo>
                  <a:pt x="5901696" y="2010259"/>
                  <a:pt x="5904258" y="2010402"/>
                  <a:pt x="5903617" y="2011539"/>
                </a:cubicBezTo>
                <a:lnTo>
                  <a:pt x="5903617" y="2012108"/>
                </a:lnTo>
                <a:lnTo>
                  <a:pt x="5917489" y="2002576"/>
                </a:lnTo>
                <a:lnTo>
                  <a:pt x="5917276" y="2002008"/>
                </a:lnTo>
                <a:cubicBezTo>
                  <a:pt x="5916849" y="1997313"/>
                  <a:pt x="5919624" y="1990199"/>
                  <a:pt x="5925600" y="1993045"/>
                </a:cubicBezTo>
                <a:cubicBezTo>
                  <a:pt x="5926666" y="1993329"/>
                  <a:pt x="5927307" y="1994467"/>
                  <a:pt x="5927307" y="1995890"/>
                </a:cubicBezTo>
                <a:close/>
                <a:moveTo>
                  <a:pt x="5830414" y="1986643"/>
                </a:moveTo>
                <a:cubicBezTo>
                  <a:pt x="5837670" y="1986073"/>
                  <a:pt x="5845780" y="1997455"/>
                  <a:pt x="5837244" y="2003288"/>
                </a:cubicBezTo>
                <a:cubicBezTo>
                  <a:pt x="5832762" y="2003146"/>
                  <a:pt x="5825506" y="1995605"/>
                  <a:pt x="5824225" y="1991907"/>
                </a:cubicBezTo>
                <a:cubicBezTo>
                  <a:pt x="5825719" y="1988349"/>
                  <a:pt x="5827853" y="1986927"/>
                  <a:pt x="5830414" y="1986643"/>
                </a:cubicBezTo>
                <a:close/>
                <a:moveTo>
                  <a:pt x="6015663" y="1986216"/>
                </a:moveTo>
                <a:cubicBezTo>
                  <a:pt x="6017156" y="1986073"/>
                  <a:pt x="6018651" y="1986216"/>
                  <a:pt x="6020144" y="1986500"/>
                </a:cubicBezTo>
                <a:cubicBezTo>
                  <a:pt x="6026120" y="1987781"/>
                  <a:pt x="6031455" y="1992618"/>
                  <a:pt x="6033803" y="1999162"/>
                </a:cubicBezTo>
                <a:cubicBezTo>
                  <a:pt x="6036578" y="2006844"/>
                  <a:pt x="6035084" y="2016945"/>
                  <a:pt x="6024626" y="2025908"/>
                </a:cubicBezTo>
                <a:cubicBezTo>
                  <a:pt x="6009046" y="2022067"/>
                  <a:pt x="5998589" y="2008125"/>
                  <a:pt x="6003711" y="1995179"/>
                </a:cubicBezTo>
                <a:cubicBezTo>
                  <a:pt x="6006912" y="1989488"/>
                  <a:pt x="6011181" y="1986643"/>
                  <a:pt x="6015663" y="1986216"/>
                </a:cubicBezTo>
                <a:close/>
                <a:moveTo>
                  <a:pt x="898330" y="1986103"/>
                </a:moveTo>
                <a:cubicBezTo>
                  <a:pt x="898330" y="1987032"/>
                  <a:pt x="898330" y="1986877"/>
                  <a:pt x="898330" y="1986877"/>
                </a:cubicBezTo>
                <a:cubicBezTo>
                  <a:pt x="899155" y="1987961"/>
                  <a:pt x="899155" y="1987032"/>
                  <a:pt x="900085" y="1987187"/>
                </a:cubicBezTo>
                <a:cubicBezTo>
                  <a:pt x="900085" y="1987187"/>
                  <a:pt x="899155" y="1987032"/>
                  <a:pt x="900085" y="1986257"/>
                </a:cubicBezTo>
                <a:cubicBezTo>
                  <a:pt x="900085" y="1987187"/>
                  <a:pt x="900911" y="1987187"/>
                  <a:pt x="901840" y="1987342"/>
                </a:cubicBezTo>
                <a:cubicBezTo>
                  <a:pt x="903492" y="1989200"/>
                  <a:pt x="905248" y="1991834"/>
                  <a:pt x="904318" y="1993538"/>
                </a:cubicBezTo>
                <a:cubicBezTo>
                  <a:pt x="902563" y="1994932"/>
                  <a:pt x="900808" y="1994002"/>
                  <a:pt x="899878" y="1993073"/>
                </a:cubicBezTo>
                <a:cubicBezTo>
                  <a:pt x="898639" y="1992453"/>
                  <a:pt x="898020" y="1991369"/>
                  <a:pt x="897813" y="1989975"/>
                </a:cubicBezTo>
                <a:cubicBezTo>
                  <a:pt x="897606" y="1988736"/>
                  <a:pt x="897813" y="1987342"/>
                  <a:pt x="898330" y="1986103"/>
                </a:cubicBezTo>
                <a:close/>
                <a:moveTo>
                  <a:pt x="1048774" y="1985948"/>
                </a:moveTo>
                <a:cubicBezTo>
                  <a:pt x="1051458" y="1983314"/>
                  <a:pt x="1053214" y="1984089"/>
                  <a:pt x="1055692" y="1986412"/>
                </a:cubicBezTo>
                <a:cubicBezTo>
                  <a:pt x="1051974" y="1990750"/>
                  <a:pt x="1051252" y="1989200"/>
                  <a:pt x="1048774" y="1985948"/>
                </a:cubicBezTo>
                <a:close/>
                <a:moveTo>
                  <a:pt x="4976949" y="1985931"/>
                </a:moveTo>
                <a:cubicBezTo>
                  <a:pt x="4978442" y="1986358"/>
                  <a:pt x="4979936" y="1986784"/>
                  <a:pt x="4981430" y="1986358"/>
                </a:cubicBezTo>
                <a:cubicBezTo>
                  <a:pt x="4981430" y="1989061"/>
                  <a:pt x="4982071" y="1993472"/>
                  <a:pt x="4976949" y="1995890"/>
                </a:cubicBezTo>
                <a:cubicBezTo>
                  <a:pt x="4975454" y="1996459"/>
                  <a:pt x="4975241" y="1996459"/>
                  <a:pt x="4974174" y="1995890"/>
                </a:cubicBezTo>
                <a:cubicBezTo>
                  <a:pt x="4971613" y="1995748"/>
                  <a:pt x="4970119" y="1996174"/>
                  <a:pt x="4968412" y="1993898"/>
                </a:cubicBezTo>
                <a:cubicBezTo>
                  <a:pt x="4967345" y="1991907"/>
                  <a:pt x="4967558" y="1990626"/>
                  <a:pt x="4968198" y="1989488"/>
                </a:cubicBezTo>
                <a:cubicBezTo>
                  <a:pt x="4968838" y="1988349"/>
                  <a:pt x="4970119" y="1987354"/>
                  <a:pt x="4972040" y="1986358"/>
                </a:cubicBezTo>
                <a:cubicBezTo>
                  <a:pt x="4973747" y="1985362"/>
                  <a:pt x="4975454" y="1985646"/>
                  <a:pt x="4976949" y="1985931"/>
                </a:cubicBezTo>
                <a:close/>
                <a:moveTo>
                  <a:pt x="5795626" y="1985219"/>
                </a:moveTo>
                <a:lnTo>
                  <a:pt x="5800535" y="1988208"/>
                </a:lnTo>
                <a:lnTo>
                  <a:pt x="5800535" y="1986643"/>
                </a:lnTo>
                <a:cubicBezTo>
                  <a:pt x="5801176" y="1987354"/>
                  <a:pt x="5802883" y="1988777"/>
                  <a:pt x="5804164" y="1990199"/>
                </a:cubicBezTo>
                <a:lnTo>
                  <a:pt x="5805871" y="1992049"/>
                </a:lnTo>
                <a:lnTo>
                  <a:pt x="5806724" y="1991764"/>
                </a:lnTo>
                <a:cubicBezTo>
                  <a:pt x="5808432" y="1991480"/>
                  <a:pt x="5810139" y="1992333"/>
                  <a:pt x="5810780" y="1993755"/>
                </a:cubicBezTo>
                <a:lnTo>
                  <a:pt x="5810353" y="1995890"/>
                </a:lnTo>
                <a:lnTo>
                  <a:pt x="5810566" y="1996601"/>
                </a:lnTo>
                <a:cubicBezTo>
                  <a:pt x="5811633" y="1997882"/>
                  <a:pt x="5817182" y="2001296"/>
                  <a:pt x="5818463" y="2000300"/>
                </a:cubicBezTo>
                <a:cubicBezTo>
                  <a:pt x="5818249" y="2001438"/>
                  <a:pt x="5819316" y="2002719"/>
                  <a:pt x="5819316" y="2002719"/>
                </a:cubicBezTo>
                <a:cubicBezTo>
                  <a:pt x="5818036" y="2003714"/>
                  <a:pt x="5816968" y="2003572"/>
                  <a:pt x="5815902" y="2003430"/>
                </a:cubicBezTo>
                <a:cubicBezTo>
                  <a:pt x="5814835" y="2002008"/>
                  <a:pt x="5814835" y="2000869"/>
                  <a:pt x="5813767" y="1999447"/>
                </a:cubicBezTo>
                <a:cubicBezTo>
                  <a:pt x="5812700" y="1999304"/>
                  <a:pt x="5810353" y="1998877"/>
                  <a:pt x="5809285" y="1997455"/>
                </a:cubicBezTo>
                <a:lnTo>
                  <a:pt x="5809285" y="1997313"/>
                </a:lnTo>
                <a:lnTo>
                  <a:pt x="5806511" y="1996601"/>
                </a:lnTo>
                <a:lnTo>
                  <a:pt x="5806938" y="1997597"/>
                </a:lnTo>
                <a:cubicBezTo>
                  <a:pt x="5805017" y="2002434"/>
                  <a:pt x="5802029" y="2001438"/>
                  <a:pt x="5796694" y="2001438"/>
                </a:cubicBezTo>
                <a:cubicBezTo>
                  <a:pt x="5797334" y="1999874"/>
                  <a:pt x="5792852" y="1998166"/>
                  <a:pt x="5791358" y="1997597"/>
                </a:cubicBezTo>
                <a:cubicBezTo>
                  <a:pt x="5792639" y="1994325"/>
                  <a:pt x="5787730" y="1991622"/>
                  <a:pt x="5789651" y="1986784"/>
                </a:cubicBezTo>
                <a:cubicBezTo>
                  <a:pt x="5791998" y="1985646"/>
                  <a:pt x="5793066" y="1985219"/>
                  <a:pt x="5795626" y="1985219"/>
                </a:cubicBezTo>
                <a:close/>
                <a:moveTo>
                  <a:pt x="6048316" y="1984935"/>
                </a:moveTo>
                <a:cubicBezTo>
                  <a:pt x="6050664" y="1986216"/>
                  <a:pt x="6053011" y="1987496"/>
                  <a:pt x="6055359" y="1988777"/>
                </a:cubicBezTo>
                <a:cubicBezTo>
                  <a:pt x="6058987" y="1992618"/>
                  <a:pt x="6062615" y="1996317"/>
                  <a:pt x="6060480" y="1999874"/>
                </a:cubicBezTo>
                <a:cubicBezTo>
                  <a:pt x="6055785" y="1997171"/>
                  <a:pt x="6052157" y="1995890"/>
                  <a:pt x="6047462" y="1993187"/>
                </a:cubicBezTo>
                <a:cubicBezTo>
                  <a:pt x="6046395" y="1992049"/>
                  <a:pt x="6043834" y="1987069"/>
                  <a:pt x="6044901" y="1985931"/>
                </a:cubicBezTo>
                <a:cubicBezTo>
                  <a:pt x="6045968" y="1984793"/>
                  <a:pt x="6047035" y="1984793"/>
                  <a:pt x="6048316" y="1984935"/>
                </a:cubicBezTo>
                <a:close/>
                <a:moveTo>
                  <a:pt x="3641581" y="1984793"/>
                </a:moveTo>
                <a:cubicBezTo>
                  <a:pt x="3643288" y="1984651"/>
                  <a:pt x="3645209" y="1985504"/>
                  <a:pt x="3647130" y="1986073"/>
                </a:cubicBezTo>
                <a:cubicBezTo>
                  <a:pt x="3646917" y="1988777"/>
                  <a:pt x="3648837" y="1990768"/>
                  <a:pt x="3646276" y="1993898"/>
                </a:cubicBezTo>
                <a:cubicBezTo>
                  <a:pt x="3643288" y="1992190"/>
                  <a:pt x="3641368" y="1990199"/>
                  <a:pt x="3638593" y="1988492"/>
                </a:cubicBezTo>
                <a:cubicBezTo>
                  <a:pt x="3638807" y="1985931"/>
                  <a:pt x="3640087" y="1984935"/>
                  <a:pt x="3641581" y="1984793"/>
                </a:cubicBezTo>
                <a:close/>
                <a:moveTo>
                  <a:pt x="5952490" y="1984366"/>
                </a:moveTo>
                <a:cubicBezTo>
                  <a:pt x="5953984" y="1986500"/>
                  <a:pt x="5955905" y="1987354"/>
                  <a:pt x="5957399" y="1989488"/>
                </a:cubicBezTo>
                <a:lnTo>
                  <a:pt x="5957399" y="1989630"/>
                </a:lnTo>
                <a:lnTo>
                  <a:pt x="5960814" y="1989915"/>
                </a:lnTo>
                <a:cubicBezTo>
                  <a:pt x="5960387" y="1994752"/>
                  <a:pt x="5955051" y="1998024"/>
                  <a:pt x="5950570" y="1998308"/>
                </a:cubicBezTo>
                <a:lnTo>
                  <a:pt x="5949075" y="1998024"/>
                </a:lnTo>
                <a:lnTo>
                  <a:pt x="5946087" y="1999304"/>
                </a:lnTo>
                <a:cubicBezTo>
                  <a:pt x="5944594" y="1999019"/>
                  <a:pt x="5943313" y="1998166"/>
                  <a:pt x="5942673" y="1996032"/>
                </a:cubicBezTo>
                <a:cubicBezTo>
                  <a:pt x="5940966" y="1989630"/>
                  <a:pt x="5946301" y="1986784"/>
                  <a:pt x="5952490" y="1984366"/>
                </a:cubicBezTo>
                <a:close/>
                <a:moveTo>
                  <a:pt x="1573935" y="1983469"/>
                </a:moveTo>
                <a:cubicBezTo>
                  <a:pt x="1575484" y="1982230"/>
                  <a:pt x="1578581" y="1982849"/>
                  <a:pt x="1583537" y="1987961"/>
                </a:cubicBezTo>
                <a:cubicBezTo>
                  <a:pt x="1580956" y="1992918"/>
                  <a:pt x="1578478" y="1994157"/>
                  <a:pt x="1576619" y="1993693"/>
                </a:cubicBezTo>
                <a:cubicBezTo>
                  <a:pt x="1573935" y="1993073"/>
                  <a:pt x="1572386" y="1988891"/>
                  <a:pt x="1572799" y="1985793"/>
                </a:cubicBezTo>
                <a:cubicBezTo>
                  <a:pt x="1573005" y="1984863"/>
                  <a:pt x="1573315" y="1984089"/>
                  <a:pt x="1573935" y="1983469"/>
                </a:cubicBezTo>
                <a:close/>
                <a:moveTo>
                  <a:pt x="5017071" y="1983370"/>
                </a:moveTo>
                <a:cubicBezTo>
                  <a:pt x="5020700" y="1982374"/>
                  <a:pt x="5028383" y="1987069"/>
                  <a:pt x="5029236" y="1991764"/>
                </a:cubicBezTo>
                <a:cubicBezTo>
                  <a:pt x="5029450" y="1993472"/>
                  <a:pt x="5029023" y="1995036"/>
                  <a:pt x="5027316" y="1996459"/>
                </a:cubicBezTo>
                <a:cubicBezTo>
                  <a:pt x="5021980" y="2000016"/>
                  <a:pt x="5017925" y="1995463"/>
                  <a:pt x="5013870" y="1989772"/>
                </a:cubicBezTo>
                <a:cubicBezTo>
                  <a:pt x="5015364" y="1987781"/>
                  <a:pt x="5015577" y="1985504"/>
                  <a:pt x="5017071" y="1983370"/>
                </a:cubicBezTo>
                <a:close/>
                <a:moveTo>
                  <a:pt x="920013" y="1983314"/>
                </a:moveTo>
                <a:cubicBezTo>
                  <a:pt x="921665" y="1985173"/>
                  <a:pt x="926105" y="1982230"/>
                  <a:pt x="928687" y="1985018"/>
                </a:cubicBezTo>
                <a:cubicBezTo>
                  <a:pt x="935089" y="1990750"/>
                  <a:pt x="935708" y="1993538"/>
                  <a:pt x="934469" y="1996945"/>
                </a:cubicBezTo>
                <a:lnTo>
                  <a:pt x="934366" y="1997100"/>
                </a:lnTo>
                <a:lnTo>
                  <a:pt x="934366" y="2002057"/>
                </a:lnTo>
                <a:lnTo>
                  <a:pt x="932714" y="2002831"/>
                </a:lnTo>
                <a:cubicBezTo>
                  <a:pt x="933540" y="2003606"/>
                  <a:pt x="934469" y="2004690"/>
                  <a:pt x="933540" y="2005774"/>
                </a:cubicBezTo>
                <a:cubicBezTo>
                  <a:pt x="931888" y="2007478"/>
                  <a:pt x="929513" y="2007788"/>
                  <a:pt x="927138" y="2007633"/>
                </a:cubicBezTo>
                <a:cubicBezTo>
                  <a:pt x="930649" y="2008872"/>
                  <a:pt x="933230" y="2011661"/>
                  <a:pt x="931991" y="2017856"/>
                </a:cubicBezTo>
                <a:cubicBezTo>
                  <a:pt x="932094" y="2019715"/>
                  <a:pt x="931681" y="2019095"/>
                  <a:pt x="931371" y="2020180"/>
                </a:cubicBezTo>
                <a:lnTo>
                  <a:pt x="931371" y="2021419"/>
                </a:lnTo>
                <a:lnTo>
                  <a:pt x="934263" y="2013209"/>
                </a:lnTo>
                <a:cubicBezTo>
                  <a:pt x="935708" y="2010731"/>
                  <a:pt x="937670" y="2008562"/>
                  <a:pt x="940665" y="2007323"/>
                </a:cubicBezTo>
                <a:cubicBezTo>
                  <a:pt x="946137" y="2008562"/>
                  <a:pt x="949751" y="2007943"/>
                  <a:pt x="952849" y="2006859"/>
                </a:cubicBezTo>
                <a:lnTo>
                  <a:pt x="953262" y="2006704"/>
                </a:lnTo>
                <a:lnTo>
                  <a:pt x="952952" y="2006549"/>
                </a:lnTo>
                <a:cubicBezTo>
                  <a:pt x="952849" y="2006394"/>
                  <a:pt x="953055" y="2006394"/>
                  <a:pt x="953571" y="2006084"/>
                </a:cubicBezTo>
                <a:cubicBezTo>
                  <a:pt x="953571" y="2006084"/>
                  <a:pt x="953468" y="2006084"/>
                  <a:pt x="954397" y="2005310"/>
                </a:cubicBezTo>
                <a:cubicBezTo>
                  <a:pt x="954397" y="2005310"/>
                  <a:pt x="954397" y="2005155"/>
                  <a:pt x="954707" y="2005155"/>
                </a:cubicBezTo>
                <a:lnTo>
                  <a:pt x="955740" y="2005774"/>
                </a:lnTo>
                <a:lnTo>
                  <a:pt x="957186" y="2005155"/>
                </a:lnTo>
                <a:cubicBezTo>
                  <a:pt x="958631" y="2004535"/>
                  <a:pt x="960076" y="2004071"/>
                  <a:pt x="961832" y="2003761"/>
                </a:cubicBezTo>
                <a:cubicBezTo>
                  <a:pt x="965446" y="2005155"/>
                  <a:pt x="969369" y="2006859"/>
                  <a:pt x="973190" y="2008872"/>
                </a:cubicBezTo>
                <a:lnTo>
                  <a:pt x="976495" y="2011041"/>
                </a:lnTo>
                <a:lnTo>
                  <a:pt x="979489" y="2012590"/>
                </a:lnTo>
                <a:lnTo>
                  <a:pt x="979798" y="2012745"/>
                </a:lnTo>
                <a:lnTo>
                  <a:pt x="986923" y="2013829"/>
                </a:lnTo>
                <a:cubicBezTo>
                  <a:pt x="989195" y="2014604"/>
                  <a:pt x="991157" y="2015997"/>
                  <a:pt x="992809" y="2018011"/>
                </a:cubicBezTo>
                <a:cubicBezTo>
                  <a:pt x="994461" y="2020644"/>
                  <a:pt x="995080" y="2023123"/>
                  <a:pt x="994874" y="2025136"/>
                </a:cubicBezTo>
                <a:lnTo>
                  <a:pt x="993635" y="2027615"/>
                </a:lnTo>
                <a:lnTo>
                  <a:pt x="997662" y="2037373"/>
                </a:lnTo>
                <a:lnTo>
                  <a:pt x="997662" y="2037683"/>
                </a:lnTo>
                <a:lnTo>
                  <a:pt x="998694" y="2038922"/>
                </a:lnTo>
                <a:lnTo>
                  <a:pt x="1000346" y="2038303"/>
                </a:lnTo>
                <a:cubicBezTo>
                  <a:pt x="1003031" y="2035824"/>
                  <a:pt x="1001586" y="2032107"/>
                  <a:pt x="1008297" y="2030713"/>
                </a:cubicBezTo>
                <a:lnTo>
                  <a:pt x="1008400" y="2036134"/>
                </a:lnTo>
                <a:lnTo>
                  <a:pt x="1009640" y="2035669"/>
                </a:lnTo>
                <a:cubicBezTo>
                  <a:pt x="1012325" y="2034895"/>
                  <a:pt x="1015009" y="2034585"/>
                  <a:pt x="1017900" y="2034275"/>
                </a:cubicBezTo>
                <a:lnTo>
                  <a:pt x="1022753" y="2034275"/>
                </a:lnTo>
                <a:lnTo>
                  <a:pt x="1021307" y="2032572"/>
                </a:lnTo>
                <a:cubicBezTo>
                  <a:pt x="1019243" y="2028854"/>
                  <a:pt x="1020482" y="2026066"/>
                  <a:pt x="1019759" y="2025601"/>
                </a:cubicBezTo>
                <a:cubicBezTo>
                  <a:pt x="1022237" y="2022658"/>
                  <a:pt x="1024096" y="2024207"/>
                  <a:pt x="1027710" y="2025291"/>
                </a:cubicBezTo>
                <a:cubicBezTo>
                  <a:pt x="1026883" y="2026375"/>
                  <a:pt x="1029671" y="2028389"/>
                  <a:pt x="1030601" y="2029164"/>
                </a:cubicBezTo>
                <a:cubicBezTo>
                  <a:pt x="1029774" y="2030093"/>
                  <a:pt x="1030084" y="2031332"/>
                  <a:pt x="1030291" y="2032572"/>
                </a:cubicBezTo>
                <a:lnTo>
                  <a:pt x="1030291" y="2034430"/>
                </a:lnTo>
                <a:lnTo>
                  <a:pt x="1044540" y="2034895"/>
                </a:lnTo>
                <a:cubicBezTo>
                  <a:pt x="1043508" y="2037838"/>
                  <a:pt x="1044953" y="2040006"/>
                  <a:pt x="1042475" y="2044189"/>
                </a:cubicBezTo>
                <a:cubicBezTo>
                  <a:pt x="1034834" y="2042795"/>
                  <a:pt x="1027296" y="2042485"/>
                  <a:pt x="1020069" y="2042175"/>
                </a:cubicBezTo>
                <a:lnTo>
                  <a:pt x="1008607" y="2041091"/>
                </a:lnTo>
                <a:lnTo>
                  <a:pt x="1008607" y="2044498"/>
                </a:lnTo>
                <a:cubicBezTo>
                  <a:pt x="1008091" y="2048681"/>
                  <a:pt x="1006748" y="2052398"/>
                  <a:pt x="1004890" y="2055961"/>
                </a:cubicBezTo>
                <a:lnTo>
                  <a:pt x="1002721" y="2058904"/>
                </a:lnTo>
                <a:lnTo>
                  <a:pt x="1003134" y="2060453"/>
                </a:lnTo>
                <a:lnTo>
                  <a:pt x="1003031" y="2061692"/>
                </a:lnTo>
                <a:lnTo>
                  <a:pt x="1003341" y="2062002"/>
                </a:lnTo>
                <a:cubicBezTo>
                  <a:pt x="1003651" y="2062621"/>
                  <a:pt x="1003857" y="2063086"/>
                  <a:pt x="1003857" y="2063086"/>
                </a:cubicBezTo>
                <a:cubicBezTo>
                  <a:pt x="1003031" y="2063861"/>
                  <a:pt x="1003031" y="2063861"/>
                  <a:pt x="1003031" y="2062931"/>
                </a:cubicBezTo>
                <a:lnTo>
                  <a:pt x="1002928" y="2062931"/>
                </a:lnTo>
                <a:lnTo>
                  <a:pt x="1002618" y="2065409"/>
                </a:lnTo>
                <a:cubicBezTo>
                  <a:pt x="1000450" y="2065100"/>
                  <a:pt x="998385" y="2064170"/>
                  <a:pt x="996423" y="2062931"/>
                </a:cubicBezTo>
                <a:lnTo>
                  <a:pt x="990950" y="2059368"/>
                </a:lnTo>
                <a:lnTo>
                  <a:pt x="995287" y="2058904"/>
                </a:lnTo>
                <a:cubicBezTo>
                  <a:pt x="995287" y="2058129"/>
                  <a:pt x="994461" y="2057200"/>
                  <a:pt x="994461" y="2057200"/>
                </a:cubicBezTo>
                <a:lnTo>
                  <a:pt x="997042" y="2056580"/>
                </a:lnTo>
                <a:lnTo>
                  <a:pt x="996836" y="2055186"/>
                </a:lnTo>
                <a:lnTo>
                  <a:pt x="997662" y="2049765"/>
                </a:lnTo>
                <a:lnTo>
                  <a:pt x="996216" y="2049765"/>
                </a:lnTo>
                <a:lnTo>
                  <a:pt x="994668" y="2053637"/>
                </a:lnTo>
                <a:lnTo>
                  <a:pt x="990950" y="2059368"/>
                </a:lnTo>
                <a:lnTo>
                  <a:pt x="990227" y="2060453"/>
                </a:lnTo>
                <a:cubicBezTo>
                  <a:pt x="988782" y="2062931"/>
                  <a:pt x="987233" y="2065409"/>
                  <a:pt x="985994" y="2068507"/>
                </a:cubicBezTo>
                <a:cubicBezTo>
                  <a:pt x="974946" y="2066029"/>
                  <a:pt x="972261" y="2071605"/>
                  <a:pt x="967201" y="2074548"/>
                </a:cubicBezTo>
                <a:cubicBezTo>
                  <a:pt x="960593" y="2069747"/>
                  <a:pt x="950164" y="2069127"/>
                  <a:pt x="941594" y="2065719"/>
                </a:cubicBezTo>
                <a:cubicBezTo>
                  <a:pt x="937051" y="2055806"/>
                  <a:pt x="930442" y="2048681"/>
                  <a:pt x="925899" y="2038768"/>
                </a:cubicBezTo>
                <a:cubicBezTo>
                  <a:pt x="927448" y="2036444"/>
                  <a:pt x="928480" y="2033811"/>
                  <a:pt x="929306" y="2030868"/>
                </a:cubicBezTo>
                <a:lnTo>
                  <a:pt x="930752" y="2024207"/>
                </a:lnTo>
                <a:lnTo>
                  <a:pt x="926931" y="2025291"/>
                </a:lnTo>
                <a:cubicBezTo>
                  <a:pt x="925486" y="2026066"/>
                  <a:pt x="923834" y="2026685"/>
                  <a:pt x="920426" y="2026531"/>
                </a:cubicBezTo>
                <a:cubicBezTo>
                  <a:pt x="911753" y="2026375"/>
                  <a:pt x="910204" y="2020799"/>
                  <a:pt x="910617" y="2016617"/>
                </a:cubicBezTo>
                <a:cubicBezTo>
                  <a:pt x="910823" y="2016617"/>
                  <a:pt x="911030" y="2016152"/>
                  <a:pt x="911236" y="2015688"/>
                </a:cubicBezTo>
                <a:lnTo>
                  <a:pt x="912062" y="2013984"/>
                </a:lnTo>
                <a:lnTo>
                  <a:pt x="910927" y="2011350"/>
                </a:lnTo>
                <a:cubicBezTo>
                  <a:pt x="911030" y="2010576"/>
                  <a:pt x="911443" y="2009802"/>
                  <a:pt x="912269" y="2008872"/>
                </a:cubicBezTo>
                <a:cubicBezTo>
                  <a:pt x="912269" y="2007943"/>
                  <a:pt x="915676" y="2006704"/>
                  <a:pt x="916606" y="2007478"/>
                </a:cubicBezTo>
                <a:lnTo>
                  <a:pt x="917329" y="2008098"/>
                </a:lnTo>
                <a:lnTo>
                  <a:pt x="922492" y="2006704"/>
                </a:lnTo>
                <a:cubicBezTo>
                  <a:pt x="923627" y="2006859"/>
                  <a:pt x="924660" y="2007014"/>
                  <a:pt x="925692" y="2007169"/>
                </a:cubicBezTo>
                <a:cubicBezTo>
                  <a:pt x="923937" y="2006859"/>
                  <a:pt x="921975" y="2006394"/>
                  <a:pt x="920736" y="2005929"/>
                </a:cubicBezTo>
                <a:lnTo>
                  <a:pt x="918981" y="2005155"/>
                </a:lnTo>
                <a:lnTo>
                  <a:pt x="918981" y="2006084"/>
                </a:lnTo>
                <a:lnTo>
                  <a:pt x="918051" y="2005155"/>
                </a:lnTo>
                <a:lnTo>
                  <a:pt x="917845" y="2005000"/>
                </a:lnTo>
                <a:cubicBezTo>
                  <a:pt x="917845" y="2004225"/>
                  <a:pt x="917019" y="2004071"/>
                  <a:pt x="917019" y="2005000"/>
                </a:cubicBezTo>
                <a:cubicBezTo>
                  <a:pt x="915780" y="2003916"/>
                  <a:pt x="914644" y="2003296"/>
                  <a:pt x="914127" y="2002521"/>
                </a:cubicBezTo>
                <a:lnTo>
                  <a:pt x="914231" y="2001747"/>
                </a:lnTo>
                <a:lnTo>
                  <a:pt x="909378" y="2001902"/>
                </a:lnTo>
                <a:lnTo>
                  <a:pt x="908035" y="2001592"/>
                </a:lnTo>
                <a:lnTo>
                  <a:pt x="907622" y="2002057"/>
                </a:lnTo>
                <a:lnTo>
                  <a:pt x="906899" y="2001437"/>
                </a:lnTo>
                <a:lnTo>
                  <a:pt x="902563" y="2000663"/>
                </a:lnTo>
                <a:cubicBezTo>
                  <a:pt x="900704" y="1999888"/>
                  <a:pt x="899465" y="1998804"/>
                  <a:pt x="899259" y="1996945"/>
                </a:cubicBezTo>
                <a:lnTo>
                  <a:pt x="905041" y="1996171"/>
                </a:lnTo>
                <a:lnTo>
                  <a:pt x="905454" y="1995861"/>
                </a:lnTo>
                <a:lnTo>
                  <a:pt x="905764" y="1996016"/>
                </a:lnTo>
                <a:lnTo>
                  <a:pt x="912682" y="1995396"/>
                </a:lnTo>
                <a:lnTo>
                  <a:pt x="919187" y="1996481"/>
                </a:lnTo>
                <a:lnTo>
                  <a:pt x="919394" y="1995551"/>
                </a:lnTo>
                <a:cubicBezTo>
                  <a:pt x="918878" y="1992453"/>
                  <a:pt x="915986" y="1987961"/>
                  <a:pt x="920013" y="1983314"/>
                </a:cubicBezTo>
                <a:close/>
                <a:moveTo>
                  <a:pt x="4949844" y="1983086"/>
                </a:moveTo>
                <a:cubicBezTo>
                  <a:pt x="4952405" y="1982374"/>
                  <a:pt x="4955820" y="1984793"/>
                  <a:pt x="4959448" y="1993898"/>
                </a:cubicBezTo>
                <a:cubicBezTo>
                  <a:pt x="4953259" y="1998735"/>
                  <a:pt x="4949417" y="1999019"/>
                  <a:pt x="4947283" y="1997455"/>
                </a:cubicBezTo>
                <a:cubicBezTo>
                  <a:pt x="4943441" y="1994325"/>
                  <a:pt x="4945362" y="1984224"/>
                  <a:pt x="4949844" y="1983086"/>
                </a:cubicBezTo>
                <a:close/>
                <a:moveTo>
                  <a:pt x="1062817" y="1983005"/>
                </a:moveTo>
                <a:cubicBezTo>
                  <a:pt x="1064159" y="1982385"/>
                  <a:pt x="1065604" y="1982230"/>
                  <a:pt x="1067876" y="1984089"/>
                </a:cubicBezTo>
                <a:cubicBezTo>
                  <a:pt x="1069322" y="1989046"/>
                  <a:pt x="1063849" y="1993693"/>
                  <a:pt x="1058480" y="1990285"/>
                </a:cubicBezTo>
                <a:cubicBezTo>
                  <a:pt x="1058790" y="1988426"/>
                  <a:pt x="1058273" y="1986722"/>
                  <a:pt x="1058686" y="1985018"/>
                </a:cubicBezTo>
                <a:cubicBezTo>
                  <a:pt x="1060235" y="1984708"/>
                  <a:pt x="1061474" y="1983469"/>
                  <a:pt x="1062817" y="1983005"/>
                </a:cubicBezTo>
                <a:close/>
                <a:moveTo>
                  <a:pt x="720212" y="1983005"/>
                </a:moveTo>
                <a:cubicBezTo>
                  <a:pt x="721038" y="1983005"/>
                  <a:pt x="721658" y="1983314"/>
                  <a:pt x="722071" y="1983779"/>
                </a:cubicBezTo>
                <a:cubicBezTo>
                  <a:pt x="729712" y="1990285"/>
                  <a:pt x="726201" y="1997410"/>
                  <a:pt x="727027" y="1999114"/>
                </a:cubicBezTo>
                <a:cubicBezTo>
                  <a:pt x="724343" y="2001283"/>
                  <a:pt x="724343" y="2001283"/>
                  <a:pt x="719180" y="1996636"/>
                </a:cubicBezTo>
                <a:cubicBezTo>
                  <a:pt x="718354" y="1995706"/>
                  <a:pt x="717734" y="1994622"/>
                  <a:pt x="717424" y="1993538"/>
                </a:cubicBezTo>
                <a:cubicBezTo>
                  <a:pt x="717115" y="1992298"/>
                  <a:pt x="717115" y="1991059"/>
                  <a:pt x="717631" y="1989820"/>
                </a:cubicBezTo>
                <a:cubicBezTo>
                  <a:pt x="717218" y="1989046"/>
                  <a:pt x="717012" y="1987961"/>
                  <a:pt x="717012" y="1986877"/>
                </a:cubicBezTo>
                <a:cubicBezTo>
                  <a:pt x="717012" y="1985948"/>
                  <a:pt x="717321" y="1984863"/>
                  <a:pt x="717734" y="1984089"/>
                </a:cubicBezTo>
                <a:cubicBezTo>
                  <a:pt x="718561" y="1983314"/>
                  <a:pt x="719490" y="1983005"/>
                  <a:pt x="720212" y="1983005"/>
                </a:cubicBezTo>
                <a:close/>
                <a:moveTo>
                  <a:pt x="1503204" y="1982695"/>
                </a:moveTo>
                <a:cubicBezTo>
                  <a:pt x="1503721" y="1983469"/>
                  <a:pt x="1505372" y="1984708"/>
                  <a:pt x="1505166" y="1985793"/>
                </a:cubicBezTo>
                <a:cubicBezTo>
                  <a:pt x="1504857" y="1986877"/>
                  <a:pt x="1504857" y="1987032"/>
                  <a:pt x="1503411" y="1987651"/>
                </a:cubicBezTo>
                <a:cubicBezTo>
                  <a:pt x="1502998" y="1986412"/>
                  <a:pt x="1502895" y="1985638"/>
                  <a:pt x="1502895" y="1985018"/>
                </a:cubicBezTo>
                <a:cubicBezTo>
                  <a:pt x="1502895" y="1984399"/>
                  <a:pt x="1502998" y="1983934"/>
                  <a:pt x="1503204" y="1982695"/>
                </a:cubicBezTo>
                <a:close/>
                <a:moveTo>
                  <a:pt x="5424277" y="1982089"/>
                </a:moveTo>
                <a:cubicBezTo>
                  <a:pt x="5428331" y="1981663"/>
                  <a:pt x="5436441" y="1983654"/>
                  <a:pt x="5437081" y="1985362"/>
                </a:cubicBezTo>
                <a:cubicBezTo>
                  <a:pt x="5434520" y="1985219"/>
                  <a:pt x="5425770" y="1984224"/>
                  <a:pt x="5424277" y="1982089"/>
                </a:cubicBezTo>
                <a:close/>
                <a:moveTo>
                  <a:pt x="1181045" y="1981920"/>
                </a:moveTo>
                <a:cubicBezTo>
                  <a:pt x="1181458" y="1981765"/>
                  <a:pt x="1181974" y="1981765"/>
                  <a:pt x="1182387" y="1982230"/>
                </a:cubicBezTo>
                <a:cubicBezTo>
                  <a:pt x="1182387" y="1982230"/>
                  <a:pt x="1182387" y="1983005"/>
                  <a:pt x="1180632" y="1984553"/>
                </a:cubicBezTo>
                <a:cubicBezTo>
                  <a:pt x="1180632" y="1983779"/>
                  <a:pt x="1179702" y="1983624"/>
                  <a:pt x="1179702" y="1983624"/>
                </a:cubicBezTo>
                <a:cubicBezTo>
                  <a:pt x="1179702" y="1983624"/>
                  <a:pt x="1179702" y="1983624"/>
                  <a:pt x="1179702" y="1984399"/>
                </a:cubicBezTo>
                <a:cubicBezTo>
                  <a:pt x="1179290" y="1983934"/>
                  <a:pt x="1179290" y="1983624"/>
                  <a:pt x="1179393" y="1983314"/>
                </a:cubicBezTo>
                <a:cubicBezTo>
                  <a:pt x="1179496" y="1983005"/>
                  <a:pt x="1179702" y="1982849"/>
                  <a:pt x="1179702" y="1982849"/>
                </a:cubicBezTo>
                <a:cubicBezTo>
                  <a:pt x="1180219" y="1982385"/>
                  <a:pt x="1180632" y="1982075"/>
                  <a:pt x="1181045" y="1981920"/>
                </a:cubicBezTo>
                <a:close/>
                <a:moveTo>
                  <a:pt x="5285340" y="1980809"/>
                </a:moveTo>
                <a:cubicBezTo>
                  <a:pt x="5286194" y="1980524"/>
                  <a:pt x="5287474" y="1980524"/>
                  <a:pt x="5289608" y="1980952"/>
                </a:cubicBezTo>
                <a:cubicBezTo>
                  <a:pt x="5292383" y="1982232"/>
                  <a:pt x="5294944" y="1982516"/>
                  <a:pt x="5295371" y="1983654"/>
                </a:cubicBezTo>
                <a:cubicBezTo>
                  <a:pt x="5296438" y="1983228"/>
                  <a:pt x="5297932" y="1983797"/>
                  <a:pt x="5298999" y="1983370"/>
                </a:cubicBezTo>
                <a:cubicBezTo>
                  <a:pt x="5298999" y="1983370"/>
                  <a:pt x="5298999" y="1983370"/>
                  <a:pt x="5299426" y="1984508"/>
                </a:cubicBezTo>
                <a:cubicBezTo>
                  <a:pt x="5294517" y="1985219"/>
                  <a:pt x="5289395" y="1988635"/>
                  <a:pt x="5285340" y="1987781"/>
                </a:cubicBezTo>
                <a:cubicBezTo>
                  <a:pt x="5284700" y="1987354"/>
                  <a:pt x="5283846" y="1987069"/>
                  <a:pt x="5283632" y="1986500"/>
                </a:cubicBezTo>
                <a:cubicBezTo>
                  <a:pt x="5283206" y="1985789"/>
                  <a:pt x="5283206" y="1984935"/>
                  <a:pt x="5284059" y="1983228"/>
                </a:cubicBezTo>
                <a:cubicBezTo>
                  <a:pt x="5284273" y="1981948"/>
                  <a:pt x="5284487" y="1981094"/>
                  <a:pt x="5285340" y="1980809"/>
                </a:cubicBezTo>
                <a:close/>
                <a:moveTo>
                  <a:pt x="1501965" y="1980526"/>
                </a:moveTo>
                <a:cubicBezTo>
                  <a:pt x="1502585" y="1980216"/>
                  <a:pt x="1503204" y="1980991"/>
                  <a:pt x="1502998" y="1982230"/>
                </a:cubicBezTo>
                <a:cubicBezTo>
                  <a:pt x="1502998" y="1982230"/>
                  <a:pt x="1502275" y="1982540"/>
                  <a:pt x="1502275" y="1982540"/>
                </a:cubicBezTo>
                <a:cubicBezTo>
                  <a:pt x="1502068" y="1982230"/>
                  <a:pt x="1501759" y="1981765"/>
                  <a:pt x="1501656" y="1981456"/>
                </a:cubicBezTo>
                <a:cubicBezTo>
                  <a:pt x="1501552" y="1980991"/>
                  <a:pt x="1501656" y="1980681"/>
                  <a:pt x="1501965" y="1980526"/>
                </a:cubicBezTo>
                <a:close/>
                <a:moveTo>
                  <a:pt x="4820512" y="1980240"/>
                </a:moveTo>
                <a:cubicBezTo>
                  <a:pt x="4827981" y="1979529"/>
                  <a:pt x="4835024" y="1982232"/>
                  <a:pt x="4839293" y="1989630"/>
                </a:cubicBezTo>
                <a:lnTo>
                  <a:pt x="4840360" y="1992760"/>
                </a:lnTo>
                <a:lnTo>
                  <a:pt x="4843348" y="1994467"/>
                </a:lnTo>
                <a:cubicBezTo>
                  <a:pt x="4847402" y="1997455"/>
                  <a:pt x="4850390" y="2001438"/>
                  <a:pt x="4850390" y="2005279"/>
                </a:cubicBezTo>
                <a:cubicBezTo>
                  <a:pt x="4847402" y="2009263"/>
                  <a:pt x="4844628" y="2010685"/>
                  <a:pt x="4842067" y="2011682"/>
                </a:cubicBezTo>
                <a:lnTo>
                  <a:pt x="4840573" y="2012250"/>
                </a:lnTo>
                <a:lnTo>
                  <a:pt x="4836518" y="2023348"/>
                </a:lnTo>
                <a:cubicBezTo>
                  <a:pt x="4834384" y="2028611"/>
                  <a:pt x="4832036" y="2034302"/>
                  <a:pt x="4830543" y="2040705"/>
                </a:cubicBezTo>
                <a:cubicBezTo>
                  <a:pt x="4827341" y="2035014"/>
                  <a:pt x="4822432" y="2032595"/>
                  <a:pt x="4817097" y="2031172"/>
                </a:cubicBezTo>
                <a:lnTo>
                  <a:pt x="4811335" y="2029750"/>
                </a:lnTo>
                <a:lnTo>
                  <a:pt x="4810908" y="2030888"/>
                </a:lnTo>
                <a:cubicBezTo>
                  <a:pt x="4810694" y="2031172"/>
                  <a:pt x="4810694" y="2031172"/>
                  <a:pt x="4811335" y="2031030"/>
                </a:cubicBezTo>
                <a:cubicBezTo>
                  <a:pt x="4809627" y="2034018"/>
                  <a:pt x="4808347" y="2038144"/>
                  <a:pt x="4805786" y="2037859"/>
                </a:cubicBezTo>
                <a:cubicBezTo>
                  <a:pt x="4801731" y="2036294"/>
                  <a:pt x="4801091" y="2031742"/>
                  <a:pt x="4801518" y="2026905"/>
                </a:cubicBezTo>
                <a:lnTo>
                  <a:pt x="4801731" y="2026335"/>
                </a:lnTo>
                <a:lnTo>
                  <a:pt x="4797890" y="2023490"/>
                </a:lnTo>
                <a:cubicBezTo>
                  <a:pt x="4796822" y="2022210"/>
                  <a:pt x="4795755" y="2020644"/>
                  <a:pt x="4795115" y="2018795"/>
                </a:cubicBezTo>
                <a:lnTo>
                  <a:pt x="4793834" y="2012250"/>
                </a:lnTo>
                <a:lnTo>
                  <a:pt x="4791060" y="2011397"/>
                </a:lnTo>
                <a:cubicBezTo>
                  <a:pt x="4789352" y="1998593"/>
                  <a:pt x="4792554" y="1994325"/>
                  <a:pt x="4797035" y="1994467"/>
                </a:cubicBezTo>
                <a:lnTo>
                  <a:pt x="4797890" y="1994894"/>
                </a:lnTo>
                <a:lnTo>
                  <a:pt x="4802158" y="1989061"/>
                </a:lnTo>
                <a:cubicBezTo>
                  <a:pt x="4807280" y="1984224"/>
                  <a:pt x="4814109" y="1980952"/>
                  <a:pt x="4820512" y="1980240"/>
                </a:cubicBezTo>
                <a:close/>
                <a:moveTo>
                  <a:pt x="5396959" y="1979956"/>
                </a:moveTo>
                <a:cubicBezTo>
                  <a:pt x="5399947" y="1979956"/>
                  <a:pt x="5403148" y="1980952"/>
                  <a:pt x="5406136" y="1982659"/>
                </a:cubicBezTo>
                <a:lnTo>
                  <a:pt x="5412751" y="1988492"/>
                </a:lnTo>
                <a:lnTo>
                  <a:pt x="5413392" y="1987781"/>
                </a:lnTo>
                <a:cubicBezTo>
                  <a:pt x="5414459" y="1988349"/>
                  <a:pt x="5414459" y="1988349"/>
                  <a:pt x="5414886" y="1989915"/>
                </a:cubicBezTo>
                <a:lnTo>
                  <a:pt x="5414459" y="1990910"/>
                </a:lnTo>
                <a:lnTo>
                  <a:pt x="5417234" y="1997313"/>
                </a:lnTo>
                <a:cubicBezTo>
                  <a:pt x="5417447" y="2000016"/>
                  <a:pt x="5416807" y="2002292"/>
                  <a:pt x="5414672" y="2004141"/>
                </a:cubicBezTo>
                <a:cubicBezTo>
                  <a:pt x="5413392" y="2005138"/>
                  <a:pt x="5411471" y="2005849"/>
                  <a:pt x="5409337" y="2006418"/>
                </a:cubicBezTo>
                <a:cubicBezTo>
                  <a:pt x="5403148" y="2000443"/>
                  <a:pt x="5390556" y="1991622"/>
                  <a:pt x="5396959" y="1979956"/>
                </a:cubicBezTo>
                <a:close/>
                <a:moveTo>
                  <a:pt x="1034628" y="1979906"/>
                </a:moveTo>
                <a:cubicBezTo>
                  <a:pt x="1037209" y="1981456"/>
                  <a:pt x="1035247" y="1983934"/>
                  <a:pt x="1034215" y="1987342"/>
                </a:cubicBezTo>
                <a:cubicBezTo>
                  <a:pt x="1033389" y="1986567"/>
                  <a:pt x="1032562" y="1987342"/>
                  <a:pt x="1031633" y="1988271"/>
                </a:cubicBezTo>
                <a:cubicBezTo>
                  <a:pt x="1030394" y="1987032"/>
                  <a:pt x="1028226" y="1985483"/>
                  <a:pt x="1028742" y="1983314"/>
                </a:cubicBezTo>
                <a:cubicBezTo>
                  <a:pt x="1028845" y="1982540"/>
                  <a:pt x="1029362" y="1981765"/>
                  <a:pt x="1030291" y="1980836"/>
                </a:cubicBezTo>
                <a:cubicBezTo>
                  <a:pt x="1030291" y="1980061"/>
                  <a:pt x="1033801" y="1979132"/>
                  <a:pt x="1034628" y="1979906"/>
                </a:cubicBezTo>
                <a:close/>
                <a:moveTo>
                  <a:pt x="813556" y="1979906"/>
                </a:moveTo>
                <a:cubicBezTo>
                  <a:pt x="815208" y="1980061"/>
                  <a:pt x="816860" y="1981146"/>
                  <a:pt x="817996" y="1983779"/>
                </a:cubicBezTo>
                <a:cubicBezTo>
                  <a:pt x="816654" y="1985793"/>
                  <a:pt x="815311" y="1986567"/>
                  <a:pt x="814072" y="1986567"/>
                </a:cubicBezTo>
                <a:lnTo>
                  <a:pt x="810768" y="1985483"/>
                </a:lnTo>
                <a:lnTo>
                  <a:pt x="810871" y="1986103"/>
                </a:lnTo>
                <a:cubicBezTo>
                  <a:pt x="810871" y="1986257"/>
                  <a:pt x="810665" y="1986103"/>
                  <a:pt x="810252" y="1985948"/>
                </a:cubicBezTo>
                <a:cubicBezTo>
                  <a:pt x="810149" y="1987807"/>
                  <a:pt x="809632" y="1988581"/>
                  <a:pt x="809219" y="1989200"/>
                </a:cubicBezTo>
                <a:cubicBezTo>
                  <a:pt x="807980" y="1989355"/>
                  <a:pt x="806431" y="1988426"/>
                  <a:pt x="805295" y="1986722"/>
                </a:cubicBezTo>
                <a:cubicBezTo>
                  <a:pt x="806534" y="1986567"/>
                  <a:pt x="806741" y="1984708"/>
                  <a:pt x="807877" y="1984399"/>
                </a:cubicBezTo>
                <a:cubicBezTo>
                  <a:pt x="807877" y="1984399"/>
                  <a:pt x="808600" y="1984553"/>
                  <a:pt x="809323" y="1984863"/>
                </a:cubicBezTo>
                <a:lnTo>
                  <a:pt x="810665" y="1985173"/>
                </a:lnTo>
                <a:lnTo>
                  <a:pt x="811388" y="1983779"/>
                </a:lnTo>
                <a:cubicBezTo>
                  <a:pt x="811697" y="1982230"/>
                  <a:pt x="810665" y="1980836"/>
                  <a:pt x="813556" y="1979906"/>
                </a:cubicBezTo>
                <a:close/>
                <a:moveTo>
                  <a:pt x="5201679" y="1979813"/>
                </a:moveTo>
                <a:cubicBezTo>
                  <a:pt x="5202960" y="1979956"/>
                  <a:pt x="5204240" y="1980667"/>
                  <a:pt x="5205735" y="1982089"/>
                </a:cubicBezTo>
                <a:cubicBezTo>
                  <a:pt x="5204454" y="1986784"/>
                  <a:pt x="5196557" y="1989488"/>
                  <a:pt x="5189728" y="1992760"/>
                </a:cubicBezTo>
                <a:cubicBezTo>
                  <a:pt x="5188874" y="1989630"/>
                  <a:pt x="5188448" y="1988065"/>
                  <a:pt x="5186953" y="1986073"/>
                </a:cubicBezTo>
                <a:cubicBezTo>
                  <a:pt x="5193996" y="1983513"/>
                  <a:pt x="5197624" y="1979387"/>
                  <a:pt x="5201679" y="1979813"/>
                </a:cubicBezTo>
                <a:close/>
                <a:moveTo>
                  <a:pt x="4756486" y="1979244"/>
                </a:moveTo>
                <a:cubicBezTo>
                  <a:pt x="4757553" y="1980952"/>
                  <a:pt x="4757980" y="1982374"/>
                  <a:pt x="4757766" y="1983940"/>
                </a:cubicBezTo>
                <a:lnTo>
                  <a:pt x="4756486" y="1987354"/>
                </a:lnTo>
                <a:lnTo>
                  <a:pt x="4764596" y="1988918"/>
                </a:lnTo>
                <a:cubicBezTo>
                  <a:pt x="4767584" y="1989345"/>
                  <a:pt x="4769931" y="1989772"/>
                  <a:pt x="4770998" y="1991622"/>
                </a:cubicBezTo>
                <a:cubicBezTo>
                  <a:pt x="4771852" y="1992760"/>
                  <a:pt x="4771852" y="1994467"/>
                  <a:pt x="4771425" y="1997028"/>
                </a:cubicBezTo>
                <a:cubicBezTo>
                  <a:pt x="4766730" y="1998024"/>
                  <a:pt x="4748163" y="1996744"/>
                  <a:pt x="4754779" y="1987069"/>
                </a:cubicBezTo>
                <a:lnTo>
                  <a:pt x="4753498" y="1983797"/>
                </a:lnTo>
                <a:cubicBezTo>
                  <a:pt x="4753711" y="1982232"/>
                  <a:pt x="4754779" y="1980809"/>
                  <a:pt x="4756486" y="1979244"/>
                </a:cubicBezTo>
                <a:close/>
                <a:moveTo>
                  <a:pt x="5580286" y="1979102"/>
                </a:moveTo>
                <a:cubicBezTo>
                  <a:pt x="5582420" y="1980382"/>
                  <a:pt x="5583487" y="1981663"/>
                  <a:pt x="5584554" y="1982943"/>
                </a:cubicBezTo>
                <a:cubicBezTo>
                  <a:pt x="5585622" y="1983513"/>
                  <a:pt x="5586049" y="1984224"/>
                  <a:pt x="5586049" y="1984935"/>
                </a:cubicBezTo>
                <a:lnTo>
                  <a:pt x="5584768" y="1986643"/>
                </a:lnTo>
                <a:lnTo>
                  <a:pt x="5585195" y="1986500"/>
                </a:lnTo>
                <a:lnTo>
                  <a:pt x="5591170" y="1986784"/>
                </a:lnTo>
                <a:lnTo>
                  <a:pt x="5591384" y="1986643"/>
                </a:lnTo>
                <a:cubicBezTo>
                  <a:pt x="5592025" y="1986358"/>
                  <a:pt x="5592451" y="1986358"/>
                  <a:pt x="5593091" y="1986358"/>
                </a:cubicBezTo>
                <a:lnTo>
                  <a:pt x="5592878" y="1986784"/>
                </a:lnTo>
                <a:lnTo>
                  <a:pt x="5592878" y="1986927"/>
                </a:lnTo>
                <a:lnTo>
                  <a:pt x="5592238" y="1988777"/>
                </a:lnTo>
                <a:lnTo>
                  <a:pt x="5591811" y="1989488"/>
                </a:lnTo>
                <a:lnTo>
                  <a:pt x="5590530" y="1992190"/>
                </a:lnTo>
                <a:lnTo>
                  <a:pt x="5590744" y="1993613"/>
                </a:lnTo>
                <a:lnTo>
                  <a:pt x="5588396" y="1997455"/>
                </a:lnTo>
                <a:lnTo>
                  <a:pt x="5587329" y="2003430"/>
                </a:lnTo>
                <a:lnTo>
                  <a:pt x="5589250" y="2003430"/>
                </a:lnTo>
                <a:cubicBezTo>
                  <a:pt x="5590530" y="2003999"/>
                  <a:pt x="5591811" y="2004711"/>
                  <a:pt x="5592665" y="2005564"/>
                </a:cubicBezTo>
                <a:lnTo>
                  <a:pt x="5594158" y="2008125"/>
                </a:lnTo>
                <a:lnTo>
                  <a:pt x="5594158" y="2005849"/>
                </a:lnTo>
                <a:cubicBezTo>
                  <a:pt x="5595439" y="2007129"/>
                  <a:pt x="5597787" y="2006276"/>
                  <a:pt x="5598853" y="2007698"/>
                </a:cubicBezTo>
                <a:cubicBezTo>
                  <a:pt x="5598853" y="2007698"/>
                  <a:pt x="5599921" y="2011539"/>
                  <a:pt x="5599921" y="2011539"/>
                </a:cubicBezTo>
                <a:cubicBezTo>
                  <a:pt x="5598640" y="2012535"/>
                  <a:pt x="5598640" y="2012535"/>
                  <a:pt x="5598640" y="2011397"/>
                </a:cubicBezTo>
                <a:lnTo>
                  <a:pt x="5594799" y="2011682"/>
                </a:lnTo>
                <a:lnTo>
                  <a:pt x="5595225" y="2015807"/>
                </a:lnTo>
                <a:lnTo>
                  <a:pt x="5594372" y="2017942"/>
                </a:lnTo>
                <a:lnTo>
                  <a:pt x="5595012" y="2019791"/>
                </a:lnTo>
                <a:lnTo>
                  <a:pt x="5602268" y="2017942"/>
                </a:lnTo>
                <a:cubicBezTo>
                  <a:pt x="5605256" y="2017230"/>
                  <a:pt x="5608244" y="2016803"/>
                  <a:pt x="5610592" y="2016945"/>
                </a:cubicBezTo>
                <a:lnTo>
                  <a:pt x="5611019" y="2017088"/>
                </a:lnTo>
                <a:lnTo>
                  <a:pt x="5611019" y="2016661"/>
                </a:lnTo>
                <a:lnTo>
                  <a:pt x="5611445" y="2017230"/>
                </a:lnTo>
                <a:lnTo>
                  <a:pt x="5613580" y="2017942"/>
                </a:lnTo>
                <a:cubicBezTo>
                  <a:pt x="5612939" y="2019080"/>
                  <a:pt x="5612299" y="2020075"/>
                  <a:pt x="5610592" y="2020502"/>
                </a:cubicBezTo>
                <a:cubicBezTo>
                  <a:pt x="5609098" y="2020929"/>
                  <a:pt x="5609738" y="2019933"/>
                  <a:pt x="5609098" y="2020929"/>
                </a:cubicBezTo>
                <a:cubicBezTo>
                  <a:pt x="5607391" y="2021498"/>
                  <a:pt x="5608244" y="2022067"/>
                  <a:pt x="5608244" y="2022067"/>
                </a:cubicBezTo>
                <a:cubicBezTo>
                  <a:pt x="5608244" y="2022067"/>
                  <a:pt x="5607391" y="2021498"/>
                  <a:pt x="5607391" y="2021498"/>
                </a:cubicBezTo>
                <a:cubicBezTo>
                  <a:pt x="5607391" y="2021498"/>
                  <a:pt x="5607391" y="2021356"/>
                  <a:pt x="5604189" y="2022352"/>
                </a:cubicBezTo>
                <a:cubicBezTo>
                  <a:pt x="5600348" y="2024201"/>
                  <a:pt x="5599708" y="2025339"/>
                  <a:pt x="5597360" y="2026905"/>
                </a:cubicBezTo>
                <a:cubicBezTo>
                  <a:pt x="5594158" y="2027758"/>
                  <a:pt x="5593305" y="2027046"/>
                  <a:pt x="5589037" y="2027331"/>
                </a:cubicBezTo>
                <a:cubicBezTo>
                  <a:pt x="5587969" y="2025197"/>
                  <a:pt x="5587969" y="2025197"/>
                  <a:pt x="5588610" y="2024059"/>
                </a:cubicBezTo>
                <a:cubicBezTo>
                  <a:pt x="5587969" y="2025197"/>
                  <a:pt x="5586902" y="2024486"/>
                  <a:pt x="5585195" y="2025055"/>
                </a:cubicBezTo>
                <a:cubicBezTo>
                  <a:pt x="5579006" y="2028470"/>
                  <a:pt x="5575804" y="2023348"/>
                  <a:pt x="5573883" y="2016234"/>
                </a:cubicBezTo>
                <a:cubicBezTo>
                  <a:pt x="5575378" y="2015807"/>
                  <a:pt x="5574097" y="2011824"/>
                  <a:pt x="5574524" y="2009121"/>
                </a:cubicBezTo>
                <a:cubicBezTo>
                  <a:pt x="5575378" y="2007556"/>
                  <a:pt x="5576231" y="2006276"/>
                  <a:pt x="5577298" y="2005279"/>
                </a:cubicBezTo>
                <a:lnTo>
                  <a:pt x="5577298" y="2005138"/>
                </a:lnTo>
                <a:lnTo>
                  <a:pt x="5576871" y="1997313"/>
                </a:lnTo>
                <a:cubicBezTo>
                  <a:pt x="5577085" y="1993613"/>
                  <a:pt x="5577939" y="1990484"/>
                  <a:pt x="5580286" y="1988492"/>
                </a:cubicBezTo>
                <a:lnTo>
                  <a:pt x="5583487" y="1987212"/>
                </a:lnTo>
                <a:lnTo>
                  <a:pt x="5580926" y="1983940"/>
                </a:lnTo>
                <a:cubicBezTo>
                  <a:pt x="5580073" y="1982232"/>
                  <a:pt x="5579646" y="1980382"/>
                  <a:pt x="5580286" y="1979102"/>
                </a:cubicBezTo>
                <a:close/>
                <a:moveTo>
                  <a:pt x="1174540" y="1978822"/>
                </a:moveTo>
                <a:cubicBezTo>
                  <a:pt x="1175675" y="1979132"/>
                  <a:pt x="1176089" y="1979752"/>
                  <a:pt x="1176811" y="1979287"/>
                </a:cubicBezTo>
                <a:cubicBezTo>
                  <a:pt x="1175882" y="1982695"/>
                  <a:pt x="1173301" y="1983624"/>
                  <a:pt x="1170616" y="1984399"/>
                </a:cubicBezTo>
                <a:cubicBezTo>
                  <a:pt x="1168654" y="1984708"/>
                  <a:pt x="1167931" y="1985173"/>
                  <a:pt x="1166796" y="1986877"/>
                </a:cubicBezTo>
                <a:cubicBezTo>
                  <a:pt x="1166796" y="1986877"/>
                  <a:pt x="1166899" y="1986877"/>
                  <a:pt x="1164524" y="1986567"/>
                </a:cubicBezTo>
                <a:lnTo>
                  <a:pt x="1164111" y="1985793"/>
                </a:lnTo>
                <a:cubicBezTo>
                  <a:pt x="1164008" y="1985328"/>
                  <a:pt x="1164524" y="1984708"/>
                  <a:pt x="1165247" y="1984244"/>
                </a:cubicBezTo>
                <a:cubicBezTo>
                  <a:pt x="1167622" y="1982385"/>
                  <a:pt x="1172371" y="1980216"/>
                  <a:pt x="1172991" y="1979906"/>
                </a:cubicBezTo>
                <a:cubicBezTo>
                  <a:pt x="1172991" y="1979906"/>
                  <a:pt x="1173817" y="1979442"/>
                  <a:pt x="1174540" y="1978822"/>
                </a:cubicBezTo>
                <a:close/>
                <a:moveTo>
                  <a:pt x="6088652" y="1978248"/>
                </a:moveTo>
                <a:cubicBezTo>
                  <a:pt x="6092707" y="1979387"/>
                  <a:pt x="6098683" y="1983513"/>
                  <a:pt x="6101457" y="1986358"/>
                </a:cubicBezTo>
                <a:cubicBezTo>
                  <a:pt x="6098043" y="1988492"/>
                  <a:pt x="6088865" y="1982232"/>
                  <a:pt x="6085237" y="1978533"/>
                </a:cubicBezTo>
                <a:cubicBezTo>
                  <a:pt x="6086091" y="1978106"/>
                  <a:pt x="6087158" y="1977964"/>
                  <a:pt x="6088652" y="1978248"/>
                </a:cubicBezTo>
                <a:close/>
                <a:moveTo>
                  <a:pt x="4679228" y="1977964"/>
                </a:moveTo>
                <a:cubicBezTo>
                  <a:pt x="4680295" y="1977822"/>
                  <a:pt x="4681149" y="1977822"/>
                  <a:pt x="4682429" y="1978248"/>
                </a:cubicBezTo>
                <a:cubicBezTo>
                  <a:pt x="4680509" y="1979956"/>
                  <a:pt x="4677521" y="1983228"/>
                  <a:pt x="4674959" y="1983797"/>
                </a:cubicBezTo>
                <a:cubicBezTo>
                  <a:pt x="4674319" y="1983940"/>
                  <a:pt x="4673466" y="1983797"/>
                  <a:pt x="4673039" y="1983086"/>
                </a:cubicBezTo>
                <a:cubicBezTo>
                  <a:pt x="4674746" y="1981521"/>
                  <a:pt x="4676667" y="1978533"/>
                  <a:pt x="4679228" y="1977964"/>
                </a:cubicBezTo>
                <a:close/>
                <a:moveTo>
                  <a:pt x="1153579" y="1977893"/>
                </a:moveTo>
                <a:lnTo>
                  <a:pt x="1158122" y="1981456"/>
                </a:lnTo>
                <a:lnTo>
                  <a:pt x="1158432" y="1980836"/>
                </a:lnTo>
                <a:cubicBezTo>
                  <a:pt x="1160497" y="1981765"/>
                  <a:pt x="1161736" y="1983005"/>
                  <a:pt x="1162356" y="1984399"/>
                </a:cubicBezTo>
                <a:cubicBezTo>
                  <a:pt x="1162975" y="1985793"/>
                  <a:pt x="1162975" y="1987187"/>
                  <a:pt x="1162562" y="1988581"/>
                </a:cubicBezTo>
                <a:lnTo>
                  <a:pt x="1159774" y="1988426"/>
                </a:lnTo>
                <a:lnTo>
                  <a:pt x="1159671" y="1988891"/>
                </a:lnTo>
                <a:cubicBezTo>
                  <a:pt x="1156057" y="1993073"/>
                  <a:pt x="1144492" y="1994002"/>
                  <a:pt x="1143460" y="1989665"/>
                </a:cubicBezTo>
                <a:cubicBezTo>
                  <a:pt x="1142840" y="1987342"/>
                  <a:pt x="1145318" y="1983469"/>
                  <a:pt x="1153579" y="1977893"/>
                </a:cubicBezTo>
                <a:close/>
                <a:moveTo>
                  <a:pt x="4749443" y="1977822"/>
                </a:moveTo>
                <a:cubicBezTo>
                  <a:pt x="4750937" y="1978675"/>
                  <a:pt x="4752004" y="1981521"/>
                  <a:pt x="4752858" y="1981948"/>
                </a:cubicBezTo>
                <a:cubicBezTo>
                  <a:pt x="4753498" y="1983654"/>
                  <a:pt x="4753925" y="1985219"/>
                  <a:pt x="4752431" y="1985646"/>
                </a:cubicBezTo>
                <a:cubicBezTo>
                  <a:pt x="4750937" y="1986073"/>
                  <a:pt x="4750510" y="1987069"/>
                  <a:pt x="4748803" y="1984935"/>
                </a:cubicBezTo>
                <a:cubicBezTo>
                  <a:pt x="4747736" y="1984366"/>
                  <a:pt x="4747309" y="1982801"/>
                  <a:pt x="4746242" y="1982089"/>
                </a:cubicBezTo>
                <a:cubicBezTo>
                  <a:pt x="4746242" y="1982089"/>
                  <a:pt x="4746242" y="1981236"/>
                  <a:pt x="4746455" y="1980240"/>
                </a:cubicBezTo>
                <a:cubicBezTo>
                  <a:pt x="4746882" y="1979244"/>
                  <a:pt x="4747309" y="1978248"/>
                  <a:pt x="4748163" y="1977964"/>
                </a:cubicBezTo>
                <a:cubicBezTo>
                  <a:pt x="4748589" y="1977537"/>
                  <a:pt x="4749016" y="1977679"/>
                  <a:pt x="4749443" y="1977822"/>
                </a:cubicBezTo>
                <a:close/>
                <a:moveTo>
                  <a:pt x="1499590" y="1976809"/>
                </a:moveTo>
                <a:cubicBezTo>
                  <a:pt x="1499590" y="1976809"/>
                  <a:pt x="1500829" y="1977274"/>
                  <a:pt x="1500829" y="1977274"/>
                </a:cubicBezTo>
                <a:cubicBezTo>
                  <a:pt x="1500623" y="1978358"/>
                  <a:pt x="1501346" y="1978048"/>
                  <a:pt x="1500003" y="1978822"/>
                </a:cubicBezTo>
                <a:cubicBezTo>
                  <a:pt x="1500106" y="1977583"/>
                  <a:pt x="1500106" y="1977583"/>
                  <a:pt x="1499590" y="1976809"/>
                </a:cubicBezTo>
                <a:close/>
                <a:moveTo>
                  <a:pt x="5645806" y="1976683"/>
                </a:moveTo>
                <a:cubicBezTo>
                  <a:pt x="5648154" y="1975545"/>
                  <a:pt x="5658611" y="1983086"/>
                  <a:pt x="5654343" y="1986500"/>
                </a:cubicBezTo>
                <a:cubicBezTo>
                  <a:pt x="5649648" y="1988635"/>
                  <a:pt x="5644739" y="1978960"/>
                  <a:pt x="5645806" y="1976683"/>
                </a:cubicBezTo>
                <a:close/>
                <a:moveTo>
                  <a:pt x="5812487" y="1976541"/>
                </a:moveTo>
                <a:cubicBezTo>
                  <a:pt x="5812700" y="1978248"/>
                  <a:pt x="5812914" y="1979813"/>
                  <a:pt x="5813554" y="1978818"/>
                </a:cubicBezTo>
                <a:cubicBezTo>
                  <a:pt x="5813767" y="1980382"/>
                  <a:pt x="5813554" y="1981805"/>
                  <a:pt x="5813127" y="1982801"/>
                </a:cubicBezTo>
                <a:cubicBezTo>
                  <a:pt x="5812487" y="1983940"/>
                  <a:pt x="5811633" y="1984935"/>
                  <a:pt x="5810566" y="1985646"/>
                </a:cubicBezTo>
                <a:cubicBezTo>
                  <a:pt x="5808859" y="1986073"/>
                  <a:pt x="5807152" y="1984793"/>
                  <a:pt x="5805017" y="1981948"/>
                </a:cubicBezTo>
                <a:cubicBezTo>
                  <a:pt x="5805231" y="1979244"/>
                  <a:pt x="5810139" y="1977964"/>
                  <a:pt x="5812487" y="1976541"/>
                </a:cubicBezTo>
                <a:close/>
                <a:moveTo>
                  <a:pt x="4783590" y="1975687"/>
                </a:moveTo>
                <a:cubicBezTo>
                  <a:pt x="4785938" y="1974977"/>
                  <a:pt x="4788285" y="1974977"/>
                  <a:pt x="4789352" y="1975687"/>
                </a:cubicBezTo>
                <a:cubicBezTo>
                  <a:pt x="4791700" y="1978391"/>
                  <a:pt x="4792767" y="1983228"/>
                  <a:pt x="4789139" y="1986358"/>
                </a:cubicBezTo>
                <a:cubicBezTo>
                  <a:pt x="4786792" y="1989630"/>
                  <a:pt x="4782096" y="1989061"/>
                  <a:pt x="4778468" y="1992333"/>
                </a:cubicBezTo>
                <a:cubicBezTo>
                  <a:pt x="4773986" y="1988208"/>
                  <a:pt x="4772919" y="1986784"/>
                  <a:pt x="4775267" y="1981094"/>
                </a:cubicBezTo>
                <a:cubicBezTo>
                  <a:pt x="4775267" y="1981094"/>
                  <a:pt x="4776548" y="1980098"/>
                  <a:pt x="4776548" y="1980098"/>
                </a:cubicBezTo>
                <a:cubicBezTo>
                  <a:pt x="4778468" y="1977964"/>
                  <a:pt x="4781029" y="1976541"/>
                  <a:pt x="4783590" y="1975687"/>
                </a:cubicBezTo>
                <a:close/>
                <a:moveTo>
                  <a:pt x="5921758" y="1975404"/>
                </a:moveTo>
                <a:cubicBezTo>
                  <a:pt x="5923038" y="1975261"/>
                  <a:pt x="5924745" y="1976399"/>
                  <a:pt x="5927307" y="1977822"/>
                </a:cubicBezTo>
                <a:cubicBezTo>
                  <a:pt x="5925386" y="1982659"/>
                  <a:pt x="5922612" y="1982659"/>
                  <a:pt x="5918130" y="1980952"/>
                </a:cubicBezTo>
                <a:cubicBezTo>
                  <a:pt x="5919197" y="1977253"/>
                  <a:pt x="5920264" y="1975687"/>
                  <a:pt x="5921758" y="1975404"/>
                </a:cubicBezTo>
                <a:close/>
                <a:moveTo>
                  <a:pt x="5779193" y="1974977"/>
                </a:moveTo>
                <a:cubicBezTo>
                  <a:pt x="5780047" y="1975118"/>
                  <a:pt x="5780901" y="1975687"/>
                  <a:pt x="5781755" y="1976826"/>
                </a:cubicBezTo>
                <a:cubicBezTo>
                  <a:pt x="5776632" y="1983228"/>
                  <a:pt x="5777059" y="1990768"/>
                  <a:pt x="5777486" y="1997455"/>
                </a:cubicBezTo>
                <a:lnTo>
                  <a:pt x="5777272" y="2004426"/>
                </a:lnTo>
                <a:lnTo>
                  <a:pt x="5777486" y="2006560"/>
                </a:lnTo>
                <a:lnTo>
                  <a:pt x="5777272" y="2006703"/>
                </a:lnTo>
                <a:lnTo>
                  <a:pt x="5777272" y="2007129"/>
                </a:lnTo>
                <a:cubicBezTo>
                  <a:pt x="5776632" y="2010117"/>
                  <a:pt x="5775139" y="2012677"/>
                  <a:pt x="5772151" y="2014812"/>
                </a:cubicBezTo>
                <a:lnTo>
                  <a:pt x="5770443" y="2007556"/>
                </a:lnTo>
                <a:lnTo>
                  <a:pt x="5768309" y="2006987"/>
                </a:lnTo>
                <a:cubicBezTo>
                  <a:pt x="5765321" y="2005421"/>
                  <a:pt x="5762973" y="2002149"/>
                  <a:pt x="5763400" y="1998024"/>
                </a:cubicBezTo>
                <a:lnTo>
                  <a:pt x="5767669" y="1996317"/>
                </a:lnTo>
                <a:lnTo>
                  <a:pt x="5767456" y="1988492"/>
                </a:lnTo>
                <a:cubicBezTo>
                  <a:pt x="5767882" y="1985077"/>
                  <a:pt x="5768736" y="1981379"/>
                  <a:pt x="5770443" y="1977395"/>
                </a:cubicBezTo>
                <a:cubicBezTo>
                  <a:pt x="5773218" y="1976968"/>
                  <a:pt x="5776419" y="1974265"/>
                  <a:pt x="5779193" y="1974977"/>
                </a:cubicBezTo>
                <a:close/>
                <a:moveTo>
                  <a:pt x="1102880" y="1974950"/>
                </a:moveTo>
                <a:cubicBezTo>
                  <a:pt x="1104119" y="1975105"/>
                  <a:pt x="1103706" y="1976344"/>
                  <a:pt x="1104222" y="1976964"/>
                </a:cubicBezTo>
                <a:lnTo>
                  <a:pt x="1102983" y="1979597"/>
                </a:lnTo>
                <a:lnTo>
                  <a:pt x="1105461" y="1979906"/>
                </a:lnTo>
                <a:cubicBezTo>
                  <a:pt x="1120846" y="1983779"/>
                  <a:pt x="1123428" y="2000972"/>
                  <a:pt x="1116613" y="2010266"/>
                </a:cubicBezTo>
                <a:lnTo>
                  <a:pt x="1111657" y="2014449"/>
                </a:lnTo>
                <a:lnTo>
                  <a:pt x="1112999" y="2015997"/>
                </a:lnTo>
                <a:cubicBezTo>
                  <a:pt x="1113825" y="2017547"/>
                  <a:pt x="1114135" y="2019250"/>
                  <a:pt x="1113722" y="2020180"/>
                </a:cubicBezTo>
                <a:cubicBezTo>
                  <a:pt x="1112070" y="2022039"/>
                  <a:pt x="1108662" y="2023278"/>
                  <a:pt x="1105978" y="2021264"/>
                </a:cubicBezTo>
                <a:cubicBezTo>
                  <a:pt x="1104635" y="2020489"/>
                  <a:pt x="1103912" y="2019406"/>
                  <a:pt x="1103190" y="2018166"/>
                </a:cubicBezTo>
                <a:lnTo>
                  <a:pt x="1100918" y="2015223"/>
                </a:lnTo>
                <a:lnTo>
                  <a:pt x="1095032" y="2013674"/>
                </a:lnTo>
                <a:cubicBezTo>
                  <a:pt x="1086049" y="2008872"/>
                  <a:pt x="1083777" y="1998650"/>
                  <a:pt x="1075311" y="1988891"/>
                </a:cubicBezTo>
                <a:cubicBezTo>
                  <a:pt x="1085223" y="1990594"/>
                  <a:pt x="1090386" y="1982695"/>
                  <a:pt x="1097510" y="1980216"/>
                </a:cubicBezTo>
                <a:lnTo>
                  <a:pt x="1099782" y="1979752"/>
                </a:lnTo>
                <a:lnTo>
                  <a:pt x="1101125" y="1976034"/>
                </a:lnTo>
                <a:cubicBezTo>
                  <a:pt x="1101537" y="1975415"/>
                  <a:pt x="1102157" y="1974950"/>
                  <a:pt x="1102880" y="1974950"/>
                </a:cubicBezTo>
                <a:close/>
                <a:moveTo>
                  <a:pt x="1276350" y="1974021"/>
                </a:moveTo>
                <a:cubicBezTo>
                  <a:pt x="1276970" y="1974021"/>
                  <a:pt x="1277590" y="1974021"/>
                  <a:pt x="1278519" y="1974175"/>
                </a:cubicBezTo>
                <a:cubicBezTo>
                  <a:pt x="1278519" y="1974175"/>
                  <a:pt x="1278519" y="1974330"/>
                  <a:pt x="1278932" y="1974950"/>
                </a:cubicBezTo>
                <a:cubicBezTo>
                  <a:pt x="1279861" y="1976499"/>
                  <a:pt x="1280377" y="1977118"/>
                  <a:pt x="1280894" y="1977893"/>
                </a:cubicBezTo>
                <a:cubicBezTo>
                  <a:pt x="1280584" y="1978978"/>
                  <a:pt x="1279241" y="1981765"/>
                  <a:pt x="1278106" y="1981301"/>
                </a:cubicBezTo>
                <a:cubicBezTo>
                  <a:pt x="1275731" y="1980681"/>
                  <a:pt x="1273562" y="1978822"/>
                  <a:pt x="1273769" y="1977583"/>
                </a:cubicBezTo>
                <a:cubicBezTo>
                  <a:pt x="1274285" y="1976034"/>
                  <a:pt x="1274698" y="1974330"/>
                  <a:pt x="1276350" y="1974021"/>
                </a:cubicBezTo>
                <a:close/>
                <a:moveTo>
                  <a:pt x="875200" y="1973091"/>
                </a:moveTo>
                <a:cubicBezTo>
                  <a:pt x="876955" y="1973246"/>
                  <a:pt x="878711" y="1972627"/>
                  <a:pt x="880363" y="1973711"/>
                </a:cubicBezTo>
                <a:cubicBezTo>
                  <a:pt x="882118" y="1975570"/>
                  <a:pt x="881086" y="1979597"/>
                  <a:pt x="880260" y="1981146"/>
                </a:cubicBezTo>
                <a:cubicBezTo>
                  <a:pt x="878504" y="1982695"/>
                  <a:pt x="875923" y="1981456"/>
                  <a:pt x="874270" y="1979597"/>
                </a:cubicBezTo>
                <a:cubicBezTo>
                  <a:pt x="873341" y="1979132"/>
                  <a:pt x="873031" y="1978358"/>
                  <a:pt x="872928" y="1977274"/>
                </a:cubicBezTo>
                <a:cubicBezTo>
                  <a:pt x="872825" y="1976344"/>
                  <a:pt x="873031" y="1975415"/>
                  <a:pt x="873445" y="1974640"/>
                </a:cubicBezTo>
                <a:cubicBezTo>
                  <a:pt x="874374" y="1973866"/>
                  <a:pt x="874374" y="1973866"/>
                  <a:pt x="875200" y="1973091"/>
                </a:cubicBezTo>
                <a:close/>
                <a:moveTo>
                  <a:pt x="5282139" y="1972842"/>
                </a:moveTo>
                <a:cubicBezTo>
                  <a:pt x="5283846" y="1972700"/>
                  <a:pt x="5285554" y="1972985"/>
                  <a:pt x="5287047" y="1973980"/>
                </a:cubicBezTo>
                <a:cubicBezTo>
                  <a:pt x="5287047" y="1981236"/>
                  <a:pt x="5276803" y="1986358"/>
                  <a:pt x="5270828" y="1988208"/>
                </a:cubicBezTo>
                <a:cubicBezTo>
                  <a:pt x="5268907" y="1985646"/>
                  <a:pt x="5266559" y="1986643"/>
                  <a:pt x="5264638" y="1984082"/>
                </a:cubicBezTo>
                <a:cubicBezTo>
                  <a:pt x="5270614" y="1979102"/>
                  <a:pt x="5276803" y="1973553"/>
                  <a:pt x="5282139" y="1972842"/>
                </a:cubicBezTo>
                <a:close/>
                <a:moveTo>
                  <a:pt x="6067097" y="1972415"/>
                </a:moveTo>
                <a:cubicBezTo>
                  <a:pt x="6068164" y="1973838"/>
                  <a:pt x="6067950" y="1976257"/>
                  <a:pt x="6069231" y="1977537"/>
                </a:cubicBezTo>
                <a:cubicBezTo>
                  <a:pt x="6067950" y="1977395"/>
                  <a:pt x="6066670" y="1978391"/>
                  <a:pt x="6065389" y="1978248"/>
                </a:cubicBezTo>
                <a:cubicBezTo>
                  <a:pt x="6063255" y="1975404"/>
                  <a:pt x="6065816" y="1972273"/>
                  <a:pt x="6067097" y="1972415"/>
                </a:cubicBezTo>
                <a:close/>
                <a:moveTo>
                  <a:pt x="6226308" y="1971846"/>
                </a:moveTo>
                <a:cubicBezTo>
                  <a:pt x="6227162" y="1973980"/>
                  <a:pt x="6229296" y="1975404"/>
                  <a:pt x="6230363" y="1977395"/>
                </a:cubicBezTo>
                <a:cubicBezTo>
                  <a:pt x="6228442" y="1989345"/>
                  <a:pt x="6224814" y="1987496"/>
                  <a:pt x="6219052" y="1987069"/>
                </a:cubicBezTo>
                <a:cubicBezTo>
                  <a:pt x="6219052" y="1984366"/>
                  <a:pt x="6216491" y="1981948"/>
                  <a:pt x="6217558" y="1978675"/>
                </a:cubicBezTo>
                <a:cubicBezTo>
                  <a:pt x="6217558" y="1978675"/>
                  <a:pt x="6217984" y="1976968"/>
                  <a:pt x="6220119" y="1975687"/>
                </a:cubicBezTo>
                <a:cubicBezTo>
                  <a:pt x="6222040" y="1971846"/>
                  <a:pt x="6226735" y="1972985"/>
                  <a:pt x="6226735" y="1972985"/>
                </a:cubicBezTo>
                <a:cubicBezTo>
                  <a:pt x="6226735" y="1972985"/>
                  <a:pt x="6226735" y="1972985"/>
                  <a:pt x="6226308" y="1971846"/>
                </a:cubicBezTo>
                <a:close/>
                <a:moveTo>
                  <a:pt x="5797548" y="1971846"/>
                </a:moveTo>
                <a:cubicBezTo>
                  <a:pt x="5797548" y="1971846"/>
                  <a:pt x="5797761" y="1971846"/>
                  <a:pt x="5799041" y="1972415"/>
                </a:cubicBezTo>
                <a:cubicBezTo>
                  <a:pt x="5795840" y="1973696"/>
                  <a:pt x="5791572" y="1975545"/>
                  <a:pt x="5789011" y="1975404"/>
                </a:cubicBezTo>
                <a:cubicBezTo>
                  <a:pt x="5790931" y="1973412"/>
                  <a:pt x="5794773" y="1970566"/>
                  <a:pt x="5797548" y="1971846"/>
                </a:cubicBezTo>
                <a:close/>
                <a:moveTo>
                  <a:pt x="961922" y="1970323"/>
                </a:moveTo>
                <a:cubicBezTo>
                  <a:pt x="964749" y="1970884"/>
                  <a:pt x="967253" y="1972549"/>
                  <a:pt x="968234" y="1976499"/>
                </a:cubicBezTo>
                <a:cubicBezTo>
                  <a:pt x="967201" y="1977118"/>
                  <a:pt x="966272" y="1977893"/>
                  <a:pt x="965343" y="1978513"/>
                </a:cubicBezTo>
                <a:cubicBezTo>
                  <a:pt x="961316" y="1974485"/>
                  <a:pt x="956979" y="1973866"/>
                  <a:pt x="953675" y="1970768"/>
                </a:cubicBezTo>
                <a:cubicBezTo>
                  <a:pt x="955946" y="1970303"/>
                  <a:pt x="959096" y="1969761"/>
                  <a:pt x="961922" y="1970323"/>
                </a:cubicBezTo>
                <a:close/>
                <a:moveTo>
                  <a:pt x="1115890" y="1970303"/>
                </a:moveTo>
                <a:cubicBezTo>
                  <a:pt x="1123737" y="1970923"/>
                  <a:pt x="1126009" y="1979906"/>
                  <a:pt x="1117955" y="1982695"/>
                </a:cubicBezTo>
                <a:cubicBezTo>
                  <a:pt x="1114548" y="1982540"/>
                  <a:pt x="1111966" y="1980526"/>
                  <a:pt x="1111347" y="1978048"/>
                </a:cubicBezTo>
                <a:cubicBezTo>
                  <a:pt x="1110727" y="1975570"/>
                  <a:pt x="1111966" y="1972627"/>
                  <a:pt x="1115890" y="1970303"/>
                </a:cubicBezTo>
                <a:close/>
                <a:moveTo>
                  <a:pt x="5123568" y="1970282"/>
                </a:moveTo>
                <a:cubicBezTo>
                  <a:pt x="5127196" y="1972131"/>
                  <a:pt x="5128690" y="1972558"/>
                  <a:pt x="5130824" y="1973980"/>
                </a:cubicBezTo>
                <a:cubicBezTo>
                  <a:pt x="5131891" y="1973269"/>
                  <a:pt x="5132745" y="1972700"/>
                  <a:pt x="5134452" y="1973127"/>
                </a:cubicBezTo>
                <a:cubicBezTo>
                  <a:pt x="5137440" y="1973980"/>
                  <a:pt x="5137440" y="1976683"/>
                  <a:pt x="5139574" y="1978106"/>
                </a:cubicBezTo>
                <a:cubicBezTo>
                  <a:pt x="5139148" y="1979813"/>
                  <a:pt x="5137654" y="1982089"/>
                  <a:pt x="5134452" y="1981236"/>
                </a:cubicBezTo>
                <a:cubicBezTo>
                  <a:pt x="5130398" y="1981094"/>
                  <a:pt x="5128903" y="1977964"/>
                  <a:pt x="5128263" y="1974265"/>
                </a:cubicBezTo>
                <a:cubicBezTo>
                  <a:pt x="5126129" y="1972842"/>
                  <a:pt x="5123781" y="1972985"/>
                  <a:pt x="5123568" y="1970282"/>
                </a:cubicBezTo>
                <a:close/>
                <a:moveTo>
                  <a:pt x="4966918" y="1970282"/>
                </a:moveTo>
                <a:cubicBezTo>
                  <a:pt x="4970973" y="1969570"/>
                  <a:pt x="4971400" y="1972131"/>
                  <a:pt x="4973961" y="1971420"/>
                </a:cubicBezTo>
                <a:cubicBezTo>
                  <a:pt x="4973961" y="1977253"/>
                  <a:pt x="4971400" y="1979529"/>
                  <a:pt x="4966278" y="1981094"/>
                </a:cubicBezTo>
                <a:cubicBezTo>
                  <a:pt x="4964357" y="1978533"/>
                  <a:pt x="4964143" y="1972700"/>
                  <a:pt x="4966918" y="1970282"/>
                </a:cubicBezTo>
                <a:close/>
                <a:moveTo>
                  <a:pt x="1062610" y="1969993"/>
                </a:moveTo>
                <a:cubicBezTo>
                  <a:pt x="1064262" y="1972471"/>
                  <a:pt x="1058583" y="1981146"/>
                  <a:pt x="1054350" y="1976344"/>
                </a:cubicBezTo>
                <a:cubicBezTo>
                  <a:pt x="1053730" y="1975725"/>
                  <a:pt x="1053730" y="1974795"/>
                  <a:pt x="1054143" y="1973866"/>
                </a:cubicBezTo>
                <a:cubicBezTo>
                  <a:pt x="1055279" y="1971078"/>
                  <a:pt x="1060029" y="1967670"/>
                  <a:pt x="1062610" y="1969993"/>
                </a:cubicBezTo>
                <a:close/>
                <a:moveTo>
                  <a:pt x="1229730" y="1969161"/>
                </a:moveTo>
                <a:cubicBezTo>
                  <a:pt x="1233860" y="1967747"/>
                  <a:pt x="1238662" y="1968057"/>
                  <a:pt x="1241760" y="1971387"/>
                </a:cubicBezTo>
                <a:cubicBezTo>
                  <a:pt x="1242276" y="1978822"/>
                  <a:pt x="1231640" y="1984399"/>
                  <a:pt x="1225652" y="1984553"/>
                </a:cubicBezTo>
                <a:cubicBezTo>
                  <a:pt x="1222451" y="1982230"/>
                  <a:pt x="1221418" y="1979752"/>
                  <a:pt x="1221728" y="1977274"/>
                </a:cubicBezTo>
                <a:cubicBezTo>
                  <a:pt x="1222141" y="1973711"/>
                  <a:pt x="1225600" y="1970574"/>
                  <a:pt x="1229730" y="1969161"/>
                </a:cubicBezTo>
                <a:close/>
                <a:moveTo>
                  <a:pt x="4699503" y="1969001"/>
                </a:moveTo>
                <a:cubicBezTo>
                  <a:pt x="4700143" y="1969712"/>
                  <a:pt x="4699929" y="1970423"/>
                  <a:pt x="4699716" y="1970993"/>
                </a:cubicBezTo>
                <a:cubicBezTo>
                  <a:pt x="4699289" y="1971562"/>
                  <a:pt x="4698649" y="1971988"/>
                  <a:pt x="4698009" y="1972415"/>
                </a:cubicBezTo>
                <a:cubicBezTo>
                  <a:pt x="4696728" y="1973412"/>
                  <a:pt x="4695661" y="1974550"/>
                  <a:pt x="4694381" y="1975545"/>
                </a:cubicBezTo>
                <a:cubicBezTo>
                  <a:pt x="4694381" y="1975545"/>
                  <a:pt x="4694381" y="1975545"/>
                  <a:pt x="4699503" y="1969001"/>
                </a:cubicBezTo>
                <a:close/>
                <a:moveTo>
                  <a:pt x="1082745" y="1968754"/>
                </a:moveTo>
                <a:cubicBezTo>
                  <a:pt x="1084810" y="1968289"/>
                  <a:pt x="1085223" y="1969064"/>
                  <a:pt x="1084914" y="1970148"/>
                </a:cubicBezTo>
                <a:cubicBezTo>
                  <a:pt x="1084914" y="1970148"/>
                  <a:pt x="1084604" y="1971387"/>
                  <a:pt x="1084294" y="1972627"/>
                </a:cubicBezTo>
                <a:cubicBezTo>
                  <a:pt x="1083881" y="1973711"/>
                  <a:pt x="1084397" y="1974485"/>
                  <a:pt x="1084397" y="1974485"/>
                </a:cubicBezTo>
                <a:cubicBezTo>
                  <a:pt x="1084087" y="1975570"/>
                  <a:pt x="1083261" y="1976189"/>
                  <a:pt x="1082022" y="1976034"/>
                </a:cubicBezTo>
                <a:cubicBezTo>
                  <a:pt x="1082022" y="1976034"/>
                  <a:pt x="1081919" y="1974175"/>
                  <a:pt x="1081919" y="1974175"/>
                </a:cubicBezTo>
                <a:cubicBezTo>
                  <a:pt x="1082642" y="1971697"/>
                  <a:pt x="1082848" y="1970613"/>
                  <a:pt x="1082745" y="1968754"/>
                </a:cubicBezTo>
                <a:close/>
                <a:moveTo>
                  <a:pt x="867456" y="1967980"/>
                </a:moveTo>
                <a:cubicBezTo>
                  <a:pt x="867559" y="1970923"/>
                  <a:pt x="866010" y="1971852"/>
                  <a:pt x="862913" y="1973556"/>
                </a:cubicBezTo>
                <a:cubicBezTo>
                  <a:pt x="862602" y="1971542"/>
                  <a:pt x="862913" y="1970303"/>
                  <a:pt x="863635" y="1969528"/>
                </a:cubicBezTo>
                <a:cubicBezTo>
                  <a:pt x="864461" y="1968599"/>
                  <a:pt x="865700" y="1968289"/>
                  <a:pt x="867456" y="1967980"/>
                </a:cubicBezTo>
                <a:close/>
                <a:moveTo>
                  <a:pt x="5616141" y="1967863"/>
                </a:moveTo>
                <a:cubicBezTo>
                  <a:pt x="5625318" y="1968858"/>
                  <a:pt x="5634281" y="1975118"/>
                  <a:pt x="5637056" y="1981094"/>
                </a:cubicBezTo>
                <a:cubicBezTo>
                  <a:pt x="5634281" y="1982232"/>
                  <a:pt x="5631507" y="1982374"/>
                  <a:pt x="5628519" y="1981948"/>
                </a:cubicBezTo>
                <a:lnTo>
                  <a:pt x="5620836" y="1979387"/>
                </a:lnTo>
                <a:lnTo>
                  <a:pt x="5621476" y="1983513"/>
                </a:lnTo>
                <a:cubicBezTo>
                  <a:pt x="5621476" y="1985362"/>
                  <a:pt x="5621050" y="1987069"/>
                  <a:pt x="5619769" y="1988208"/>
                </a:cubicBezTo>
                <a:cubicBezTo>
                  <a:pt x="5619769" y="1988208"/>
                  <a:pt x="5619769" y="1988208"/>
                  <a:pt x="5618702" y="1989345"/>
                </a:cubicBezTo>
                <a:cubicBezTo>
                  <a:pt x="5618702" y="1987638"/>
                  <a:pt x="5618915" y="1985504"/>
                  <a:pt x="5619342" y="1983654"/>
                </a:cubicBezTo>
                <a:lnTo>
                  <a:pt x="5620622" y="1979244"/>
                </a:lnTo>
                <a:lnTo>
                  <a:pt x="5620195" y="1979102"/>
                </a:lnTo>
                <a:cubicBezTo>
                  <a:pt x="5614860" y="1976399"/>
                  <a:pt x="5610165" y="1972273"/>
                  <a:pt x="5607391" y="1968858"/>
                </a:cubicBezTo>
                <a:cubicBezTo>
                  <a:pt x="5610165" y="1967863"/>
                  <a:pt x="5613153" y="1967578"/>
                  <a:pt x="5616141" y="1967863"/>
                </a:cubicBezTo>
                <a:close/>
                <a:moveTo>
                  <a:pt x="5104573" y="1967863"/>
                </a:moveTo>
                <a:cubicBezTo>
                  <a:pt x="5104787" y="1968717"/>
                  <a:pt x="5105427" y="1969286"/>
                  <a:pt x="5106281" y="1969712"/>
                </a:cubicBezTo>
                <a:lnTo>
                  <a:pt x="5106921" y="1969855"/>
                </a:lnTo>
                <a:lnTo>
                  <a:pt x="5108415" y="1969143"/>
                </a:lnTo>
                <a:cubicBezTo>
                  <a:pt x="5109696" y="1968858"/>
                  <a:pt x="5111403" y="1968858"/>
                  <a:pt x="5113110" y="1969428"/>
                </a:cubicBezTo>
                <a:cubicBezTo>
                  <a:pt x="5112470" y="1970566"/>
                  <a:pt x="5117165" y="1973127"/>
                  <a:pt x="5119299" y="1976683"/>
                </a:cubicBezTo>
                <a:cubicBezTo>
                  <a:pt x="5119940" y="1977822"/>
                  <a:pt x="5120367" y="1979102"/>
                  <a:pt x="5120153" y="1980382"/>
                </a:cubicBezTo>
                <a:cubicBezTo>
                  <a:pt x="5119727" y="1983086"/>
                  <a:pt x="5118872" y="1984651"/>
                  <a:pt x="5118659" y="1987354"/>
                </a:cubicBezTo>
                <a:lnTo>
                  <a:pt x="5117592" y="1987923"/>
                </a:lnTo>
                <a:lnTo>
                  <a:pt x="5117592" y="1989203"/>
                </a:lnTo>
                <a:cubicBezTo>
                  <a:pt x="5116739" y="1992190"/>
                  <a:pt x="5114177" y="1994040"/>
                  <a:pt x="5110976" y="1996744"/>
                </a:cubicBezTo>
                <a:cubicBezTo>
                  <a:pt x="5111403" y="1995748"/>
                  <a:pt x="5109909" y="1996317"/>
                  <a:pt x="5109909" y="1996317"/>
                </a:cubicBezTo>
                <a:cubicBezTo>
                  <a:pt x="5106921" y="1997171"/>
                  <a:pt x="5112684" y="2001723"/>
                  <a:pt x="5109056" y="2003714"/>
                </a:cubicBezTo>
                <a:lnTo>
                  <a:pt x="5107561" y="2003856"/>
                </a:lnTo>
                <a:lnTo>
                  <a:pt x="5109482" y="2005849"/>
                </a:lnTo>
                <a:cubicBezTo>
                  <a:pt x="5105854" y="2007556"/>
                  <a:pt x="5108842" y="2012250"/>
                  <a:pt x="5103720" y="2011539"/>
                </a:cubicBezTo>
                <a:cubicBezTo>
                  <a:pt x="5101585" y="2010259"/>
                  <a:pt x="5100092" y="2007840"/>
                  <a:pt x="5099665" y="2003430"/>
                </a:cubicBezTo>
                <a:lnTo>
                  <a:pt x="5100945" y="2002861"/>
                </a:lnTo>
                <a:lnTo>
                  <a:pt x="5099878" y="2002434"/>
                </a:lnTo>
                <a:cubicBezTo>
                  <a:pt x="5097104" y="2000869"/>
                  <a:pt x="5094543" y="1998451"/>
                  <a:pt x="5093049" y="1996744"/>
                </a:cubicBezTo>
                <a:lnTo>
                  <a:pt x="5091128" y="1994894"/>
                </a:lnTo>
                <a:lnTo>
                  <a:pt x="5090488" y="1995890"/>
                </a:lnTo>
                <a:lnTo>
                  <a:pt x="5090061" y="1994182"/>
                </a:lnTo>
                <a:lnTo>
                  <a:pt x="5089847" y="1994040"/>
                </a:lnTo>
                <a:cubicBezTo>
                  <a:pt x="5090274" y="1993045"/>
                  <a:pt x="5089207" y="1992476"/>
                  <a:pt x="5088780" y="1993472"/>
                </a:cubicBezTo>
                <a:cubicBezTo>
                  <a:pt x="5087500" y="1991622"/>
                  <a:pt x="5086646" y="1989915"/>
                  <a:pt x="5086433" y="1988777"/>
                </a:cubicBezTo>
                <a:lnTo>
                  <a:pt x="5087073" y="1987923"/>
                </a:lnTo>
                <a:lnTo>
                  <a:pt x="5084512" y="1986784"/>
                </a:lnTo>
                <a:lnTo>
                  <a:pt x="5083658" y="1987781"/>
                </a:lnTo>
                <a:cubicBezTo>
                  <a:pt x="5074481" y="1991907"/>
                  <a:pt x="5058475" y="1988065"/>
                  <a:pt x="5053353" y="1984651"/>
                </a:cubicBezTo>
                <a:lnTo>
                  <a:pt x="5064877" y="1981948"/>
                </a:lnTo>
                <a:lnTo>
                  <a:pt x="5063384" y="1979671"/>
                </a:lnTo>
                <a:cubicBezTo>
                  <a:pt x="5064877" y="1979956"/>
                  <a:pt x="5067012" y="1980240"/>
                  <a:pt x="5068932" y="1980667"/>
                </a:cubicBezTo>
                <a:lnTo>
                  <a:pt x="5069146" y="1980952"/>
                </a:lnTo>
                <a:lnTo>
                  <a:pt x="5071707" y="1980240"/>
                </a:lnTo>
                <a:lnTo>
                  <a:pt x="5072987" y="1980240"/>
                </a:lnTo>
                <a:lnTo>
                  <a:pt x="5072987" y="1980098"/>
                </a:lnTo>
                <a:cubicBezTo>
                  <a:pt x="5071067" y="1978106"/>
                  <a:pt x="5070000" y="1975972"/>
                  <a:pt x="5070640" y="1973553"/>
                </a:cubicBezTo>
                <a:cubicBezTo>
                  <a:pt x="5074695" y="1974977"/>
                  <a:pt x="5082378" y="1976399"/>
                  <a:pt x="5088567" y="1978960"/>
                </a:cubicBezTo>
                <a:lnTo>
                  <a:pt x="5096250" y="1984082"/>
                </a:lnTo>
                <a:lnTo>
                  <a:pt x="5096890" y="1983086"/>
                </a:lnTo>
                <a:lnTo>
                  <a:pt x="5097530" y="1980098"/>
                </a:lnTo>
                <a:lnTo>
                  <a:pt x="5096464" y="1979956"/>
                </a:lnTo>
                <a:cubicBezTo>
                  <a:pt x="5096250" y="1978818"/>
                  <a:pt x="5094329" y="1976968"/>
                  <a:pt x="5093049" y="1976399"/>
                </a:cubicBezTo>
                <a:cubicBezTo>
                  <a:pt x="5094116" y="1975972"/>
                  <a:pt x="5095183" y="1975545"/>
                  <a:pt x="5094756" y="1974407"/>
                </a:cubicBezTo>
                <a:cubicBezTo>
                  <a:pt x="5096250" y="1975118"/>
                  <a:pt x="5097104" y="1975687"/>
                  <a:pt x="5097744" y="1976114"/>
                </a:cubicBezTo>
                <a:lnTo>
                  <a:pt x="5098171" y="1976399"/>
                </a:lnTo>
                <a:lnTo>
                  <a:pt x="5098385" y="1975261"/>
                </a:lnTo>
                <a:cubicBezTo>
                  <a:pt x="5099025" y="1972415"/>
                  <a:pt x="5100732" y="1969712"/>
                  <a:pt x="5104573" y="1967863"/>
                </a:cubicBezTo>
                <a:close/>
                <a:moveTo>
                  <a:pt x="983671" y="1966721"/>
                </a:moveTo>
                <a:cubicBezTo>
                  <a:pt x="987311" y="1965811"/>
                  <a:pt x="991157" y="1965888"/>
                  <a:pt x="993325" y="1967050"/>
                </a:cubicBezTo>
                <a:cubicBezTo>
                  <a:pt x="994668" y="1970613"/>
                  <a:pt x="994254" y="1973401"/>
                  <a:pt x="993015" y="1975415"/>
                </a:cubicBezTo>
                <a:cubicBezTo>
                  <a:pt x="992086" y="1976964"/>
                  <a:pt x="990640" y="1978048"/>
                  <a:pt x="988885" y="1978668"/>
                </a:cubicBezTo>
                <a:lnTo>
                  <a:pt x="987130" y="1978822"/>
                </a:lnTo>
                <a:lnTo>
                  <a:pt x="987233" y="1978822"/>
                </a:lnTo>
                <a:cubicBezTo>
                  <a:pt x="987956" y="1981920"/>
                  <a:pt x="986200" y="1985793"/>
                  <a:pt x="981554" y="1987342"/>
                </a:cubicBezTo>
                <a:cubicBezTo>
                  <a:pt x="978353" y="1985948"/>
                  <a:pt x="976907" y="1983779"/>
                  <a:pt x="975565" y="1982540"/>
                </a:cubicBezTo>
                <a:lnTo>
                  <a:pt x="978250" y="1977118"/>
                </a:lnTo>
                <a:lnTo>
                  <a:pt x="975256" y="1972317"/>
                </a:lnTo>
                <a:cubicBezTo>
                  <a:pt x="976598" y="1969529"/>
                  <a:pt x="980031" y="1967631"/>
                  <a:pt x="983671" y="1966721"/>
                </a:cubicBezTo>
                <a:close/>
                <a:moveTo>
                  <a:pt x="5825506" y="1966582"/>
                </a:moveTo>
                <a:cubicBezTo>
                  <a:pt x="5819743" y="1967721"/>
                  <a:pt x="5812273" y="1971988"/>
                  <a:pt x="5806938" y="1970566"/>
                </a:cubicBezTo>
                <a:cubicBezTo>
                  <a:pt x="5809072" y="1969712"/>
                  <a:pt x="5821664" y="1965729"/>
                  <a:pt x="5825506" y="1966582"/>
                </a:cubicBezTo>
                <a:close/>
                <a:moveTo>
                  <a:pt x="1384976" y="1965966"/>
                </a:moveTo>
                <a:lnTo>
                  <a:pt x="1385389" y="1966431"/>
                </a:lnTo>
                <a:lnTo>
                  <a:pt x="1385286" y="1966121"/>
                </a:lnTo>
                <a:close/>
                <a:moveTo>
                  <a:pt x="5750168" y="1965871"/>
                </a:moveTo>
                <a:cubicBezTo>
                  <a:pt x="5753370" y="1969286"/>
                  <a:pt x="5758705" y="1971420"/>
                  <a:pt x="5760413" y="1975261"/>
                </a:cubicBezTo>
                <a:cubicBezTo>
                  <a:pt x="5760413" y="1976114"/>
                  <a:pt x="5760626" y="1976968"/>
                  <a:pt x="5760413" y="1977679"/>
                </a:cubicBezTo>
                <a:cubicBezTo>
                  <a:pt x="5759985" y="1978391"/>
                  <a:pt x="5759345" y="1979102"/>
                  <a:pt x="5757638" y="1979529"/>
                </a:cubicBezTo>
                <a:cubicBezTo>
                  <a:pt x="5755290" y="1980952"/>
                  <a:pt x="5754437" y="1980240"/>
                  <a:pt x="5752942" y="1976399"/>
                </a:cubicBezTo>
                <a:cubicBezTo>
                  <a:pt x="5752302" y="1973127"/>
                  <a:pt x="5751022" y="1970850"/>
                  <a:pt x="5751876" y="1969712"/>
                </a:cubicBezTo>
                <a:cubicBezTo>
                  <a:pt x="5750809" y="1969143"/>
                  <a:pt x="5750595" y="1967578"/>
                  <a:pt x="5749528" y="1966867"/>
                </a:cubicBezTo>
                <a:cubicBezTo>
                  <a:pt x="5749528" y="1966867"/>
                  <a:pt x="5749528" y="1966867"/>
                  <a:pt x="5750168" y="1965871"/>
                </a:cubicBezTo>
                <a:close/>
                <a:moveTo>
                  <a:pt x="1039377" y="1965501"/>
                </a:moveTo>
                <a:lnTo>
                  <a:pt x="1040203" y="1966121"/>
                </a:lnTo>
                <a:lnTo>
                  <a:pt x="1042578" y="1966121"/>
                </a:lnTo>
                <a:cubicBezTo>
                  <a:pt x="1043508" y="1966585"/>
                  <a:pt x="1044024" y="1967670"/>
                  <a:pt x="1043921" y="1969219"/>
                </a:cubicBezTo>
                <a:cubicBezTo>
                  <a:pt x="1043508" y="1971697"/>
                  <a:pt x="1042268" y="1972936"/>
                  <a:pt x="1040410" y="1973556"/>
                </a:cubicBezTo>
                <a:lnTo>
                  <a:pt x="1036589" y="1973866"/>
                </a:lnTo>
                <a:lnTo>
                  <a:pt x="1037725" y="1975260"/>
                </a:lnTo>
                <a:cubicBezTo>
                  <a:pt x="1038758" y="1977274"/>
                  <a:pt x="1037003" y="1977893"/>
                  <a:pt x="1034215" y="1979287"/>
                </a:cubicBezTo>
                <a:cubicBezTo>
                  <a:pt x="1033079" y="1977893"/>
                  <a:pt x="1032769" y="1976654"/>
                  <a:pt x="1033079" y="1975725"/>
                </a:cubicBezTo>
                <a:lnTo>
                  <a:pt x="1034628" y="1974021"/>
                </a:lnTo>
                <a:lnTo>
                  <a:pt x="1033905" y="1974175"/>
                </a:lnTo>
                <a:cubicBezTo>
                  <a:pt x="1033595" y="1972317"/>
                  <a:pt x="1032666" y="1971078"/>
                  <a:pt x="1032356" y="1969219"/>
                </a:cubicBezTo>
                <a:lnTo>
                  <a:pt x="1030084" y="1967980"/>
                </a:lnTo>
                <a:cubicBezTo>
                  <a:pt x="1031840" y="1964882"/>
                  <a:pt x="1036280" y="1964262"/>
                  <a:pt x="1039377" y="1965501"/>
                </a:cubicBezTo>
                <a:close/>
                <a:moveTo>
                  <a:pt x="1076240" y="1965346"/>
                </a:moveTo>
                <a:cubicBezTo>
                  <a:pt x="1075930" y="1966431"/>
                  <a:pt x="1077272" y="1968599"/>
                  <a:pt x="1077479" y="1970458"/>
                </a:cubicBezTo>
                <a:cubicBezTo>
                  <a:pt x="1076756" y="1970923"/>
                  <a:pt x="1076550" y="1972162"/>
                  <a:pt x="1075827" y="1972627"/>
                </a:cubicBezTo>
                <a:cubicBezTo>
                  <a:pt x="1075311" y="1971852"/>
                  <a:pt x="1073658" y="1970923"/>
                  <a:pt x="1074381" y="1970458"/>
                </a:cubicBezTo>
                <a:cubicBezTo>
                  <a:pt x="1073968" y="1969838"/>
                  <a:pt x="1075311" y="1968754"/>
                  <a:pt x="1075311" y="1968754"/>
                </a:cubicBezTo>
                <a:cubicBezTo>
                  <a:pt x="1074897" y="1968135"/>
                  <a:pt x="1074485" y="1967360"/>
                  <a:pt x="1074691" y="1966276"/>
                </a:cubicBezTo>
                <a:cubicBezTo>
                  <a:pt x="1075930" y="1966431"/>
                  <a:pt x="1075517" y="1965811"/>
                  <a:pt x="1076240" y="1965346"/>
                </a:cubicBezTo>
                <a:close/>
                <a:moveTo>
                  <a:pt x="5947582" y="1965302"/>
                </a:moveTo>
                <a:cubicBezTo>
                  <a:pt x="5949716" y="1966013"/>
                  <a:pt x="5953344" y="1966867"/>
                  <a:pt x="5953984" y="1969855"/>
                </a:cubicBezTo>
                <a:cubicBezTo>
                  <a:pt x="5954198" y="1970850"/>
                  <a:pt x="5953984" y="1972131"/>
                  <a:pt x="5953344" y="1973838"/>
                </a:cubicBezTo>
                <a:cubicBezTo>
                  <a:pt x="5953771" y="1974834"/>
                  <a:pt x="5949929" y="1978106"/>
                  <a:pt x="5948435" y="1977537"/>
                </a:cubicBezTo>
                <a:cubicBezTo>
                  <a:pt x="5944380" y="1976968"/>
                  <a:pt x="5945234" y="1972700"/>
                  <a:pt x="5944594" y="1967863"/>
                </a:cubicBezTo>
                <a:cubicBezTo>
                  <a:pt x="5946087" y="1968432"/>
                  <a:pt x="5946942" y="1966867"/>
                  <a:pt x="5947582" y="1965302"/>
                </a:cubicBezTo>
                <a:close/>
                <a:moveTo>
                  <a:pt x="5826573" y="1965302"/>
                </a:moveTo>
                <a:cubicBezTo>
                  <a:pt x="5828066" y="1965729"/>
                  <a:pt x="5827639" y="1964733"/>
                  <a:pt x="5828280" y="1966725"/>
                </a:cubicBezTo>
                <a:cubicBezTo>
                  <a:pt x="5826786" y="1966298"/>
                  <a:pt x="5826786" y="1966298"/>
                  <a:pt x="5825719" y="1966725"/>
                </a:cubicBezTo>
                <a:cubicBezTo>
                  <a:pt x="5825719" y="1966725"/>
                  <a:pt x="5826573" y="1965302"/>
                  <a:pt x="5826573" y="1965302"/>
                </a:cubicBezTo>
                <a:close/>
                <a:moveTo>
                  <a:pt x="5832122" y="1965160"/>
                </a:moveTo>
                <a:cubicBezTo>
                  <a:pt x="5833189" y="1964876"/>
                  <a:pt x="5834256" y="1964876"/>
                  <a:pt x="5835536" y="1965160"/>
                </a:cubicBezTo>
                <a:cubicBezTo>
                  <a:pt x="5839591" y="1965302"/>
                  <a:pt x="5841725" y="1969428"/>
                  <a:pt x="5846421" y="1970566"/>
                </a:cubicBezTo>
                <a:cubicBezTo>
                  <a:pt x="5845353" y="1976541"/>
                  <a:pt x="5844927" y="1978248"/>
                  <a:pt x="5838737" y="1979387"/>
                </a:cubicBezTo>
                <a:cubicBezTo>
                  <a:pt x="5838737" y="1979387"/>
                  <a:pt x="5837244" y="1978960"/>
                  <a:pt x="5837244" y="1978960"/>
                </a:cubicBezTo>
                <a:cubicBezTo>
                  <a:pt x="5831481" y="1978391"/>
                  <a:pt x="5826359" y="1973553"/>
                  <a:pt x="5826359" y="1970993"/>
                </a:cubicBezTo>
                <a:cubicBezTo>
                  <a:pt x="5826999" y="1968432"/>
                  <a:pt x="5829134" y="1965871"/>
                  <a:pt x="5832122" y="1965160"/>
                </a:cubicBezTo>
                <a:close/>
                <a:moveTo>
                  <a:pt x="1240107" y="1964882"/>
                </a:moveTo>
                <a:cubicBezTo>
                  <a:pt x="1240934" y="1964727"/>
                  <a:pt x="1241863" y="1964417"/>
                  <a:pt x="1242173" y="1965192"/>
                </a:cubicBezTo>
                <a:cubicBezTo>
                  <a:pt x="1242379" y="1965811"/>
                  <a:pt x="1241450" y="1966121"/>
                  <a:pt x="1240314" y="1965656"/>
                </a:cubicBezTo>
                <a:cubicBezTo>
                  <a:pt x="1240314" y="1965656"/>
                  <a:pt x="1240107" y="1964882"/>
                  <a:pt x="1240107" y="1964882"/>
                </a:cubicBezTo>
                <a:close/>
                <a:moveTo>
                  <a:pt x="6226308" y="1964591"/>
                </a:moveTo>
                <a:cubicBezTo>
                  <a:pt x="6226735" y="1964448"/>
                  <a:pt x="6227162" y="1964448"/>
                  <a:pt x="6228442" y="1965302"/>
                </a:cubicBezTo>
                <a:cubicBezTo>
                  <a:pt x="6229509" y="1965444"/>
                  <a:pt x="6230576" y="1966867"/>
                  <a:pt x="6231643" y="1967009"/>
                </a:cubicBezTo>
                <a:cubicBezTo>
                  <a:pt x="6231643" y="1967009"/>
                  <a:pt x="6232070" y="1967863"/>
                  <a:pt x="6232070" y="1969001"/>
                </a:cubicBezTo>
                <a:cubicBezTo>
                  <a:pt x="6232070" y="1969997"/>
                  <a:pt x="6232070" y="1971277"/>
                  <a:pt x="6231430" y="1971704"/>
                </a:cubicBezTo>
                <a:cubicBezTo>
                  <a:pt x="6230150" y="1973980"/>
                  <a:pt x="6226948" y="1969855"/>
                  <a:pt x="6225668" y="1969570"/>
                </a:cubicBezTo>
                <a:cubicBezTo>
                  <a:pt x="6224600" y="1968290"/>
                  <a:pt x="6223747" y="1966867"/>
                  <a:pt x="6224814" y="1965871"/>
                </a:cubicBezTo>
                <a:cubicBezTo>
                  <a:pt x="6225454" y="1965444"/>
                  <a:pt x="6225668" y="1964876"/>
                  <a:pt x="6226308" y="1964591"/>
                </a:cubicBezTo>
                <a:close/>
                <a:moveTo>
                  <a:pt x="1234635" y="1964417"/>
                </a:moveTo>
                <a:cubicBezTo>
                  <a:pt x="1237423" y="1964572"/>
                  <a:pt x="1237526" y="1964572"/>
                  <a:pt x="1239798" y="1965656"/>
                </a:cubicBezTo>
                <a:cubicBezTo>
                  <a:pt x="1238868" y="1965966"/>
                  <a:pt x="1237526" y="1967205"/>
                  <a:pt x="1236390" y="1966585"/>
                </a:cubicBezTo>
                <a:cubicBezTo>
                  <a:pt x="1235255" y="1965966"/>
                  <a:pt x="1235255" y="1965966"/>
                  <a:pt x="1234635" y="1964417"/>
                </a:cubicBezTo>
                <a:close/>
                <a:moveTo>
                  <a:pt x="1019449" y="1964262"/>
                </a:moveTo>
                <a:cubicBezTo>
                  <a:pt x="1022237" y="1963023"/>
                  <a:pt x="1030601" y="1969528"/>
                  <a:pt x="1024922" y="1972782"/>
                </a:cubicBezTo>
                <a:cubicBezTo>
                  <a:pt x="1024302" y="1973246"/>
                  <a:pt x="1023372" y="1973246"/>
                  <a:pt x="1022340" y="1972627"/>
                </a:cubicBezTo>
                <a:cubicBezTo>
                  <a:pt x="1020275" y="1971542"/>
                  <a:pt x="1018106" y="1968599"/>
                  <a:pt x="1018416" y="1966276"/>
                </a:cubicBezTo>
                <a:cubicBezTo>
                  <a:pt x="1018520" y="1965501"/>
                  <a:pt x="1018726" y="1964727"/>
                  <a:pt x="1019449" y="1964262"/>
                </a:cubicBezTo>
                <a:close/>
                <a:moveTo>
                  <a:pt x="1244238" y="1963797"/>
                </a:moveTo>
                <a:cubicBezTo>
                  <a:pt x="1245477" y="1964262"/>
                  <a:pt x="1245477" y="1964262"/>
                  <a:pt x="1246303" y="1964107"/>
                </a:cubicBezTo>
                <a:cubicBezTo>
                  <a:pt x="1246303" y="1964107"/>
                  <a:pt x="1245683" y="1965037"/>
                  <a:pt x="1245683" y="1965037"/>
                </a:cubicBezTo>
                <a:cubicBezTo>
                  <a:pt x="1244547" y="1964572"/>
                  <a:pt x="1244754" y="1965192"/>
                  <a:pt x="1244238" y="1963797"/>
                </a:cubicBezTo>
                <a:close/>
                <a:moveTo>
                  <a:pt x="5148965" y="1963594"/>
                </a:moveTo>
                <a:cubicBezTo>
                  <a:pt x="5150459" y="1964448"/>
                  <a:pt x="5152166" y="1965302"/>
                  <a:pt x="5153233" y="1966725"/>
                </a:cubicBezTo>
                <a:lnTo>
                  <a:pt x="5154727" y="1971135"/>
                </a:lnTo>
                <a:lnTo>
                  <a:pt x="5164544" y="1974977"/>
                </a:lnTo>
                <a:cubicBezTo>
                  <a:pt x="5167746" y="1977253"/>
                  <a:pt x="5170094" y="1980667"/>
                  <a:pt x="5169026" y="1986073"/>
                </a:cubicBezTo>
                <a:cubicBezTo>
                  <a:pt x="5167532" y="1986500"/>
                  <a:pt x="5166038" y="1986927"/>
                  <a:pt x="5164331" y="1987212"/>
                </a:cubicBezTo>
                <a:cubicBezTo>
                  <a:pt x="5163051" y="1983513"/>
                  <a:pt x="5160916" y="1980809"/>
                  <a:pt x="5158996" y="1978391"/>
                </a:cubicBezTo>
                <a:lnTo>
                  <a:pt x="5155154" y="1972415"/>
                </a:lnTo>
                <a:lnTo>
                  <a:pt x="5155368" y="1973127"/>
                </a:lnTo>
                <a:cubicBezTo>
                  <a:pt x="5152380" y="1977253"/>
                  <a:pt x="5148965" y="1978818"/>
                  <a:pt x="5142562" y="1978533"/>
                </a:cubicBezTo>
                <a:cubicBezTo>
                  <a:pt x="5139148" y="1974123"/>
                  <a:pt x="5141069" y="1963168"/>
                  <a:pt x="5148965" y="1963594"/>
                </a:cubicBezTo>
                <a:close/>
                <a:moveTo>
                  <a:pt x="5831694" y="1963452"/>
                </a:moveTo>
                <a:cubicBezTo>
                  <a:pt x="5832335" y="1963168"/>
                  <a:pt x="5832975" y="1963168"/>
                  <a:pt x="5833615" y="1963452"/>
                </a:cubicBezTo>
                <a:cubicBezTo>
                  <a:pt x="5833615" y="1963452"/>
                  <a:pt x="5833829" y="1964448"/>
                  <a:pt x="5833829" y="1964448"/>
                </a:cubicBezTo>
                <a:cubicBezTo>
                  <a:pt x="5832762" y="1964876"/>
                  <a:pt x="5831481" y="1965444"/>
                  <a:pt x="5831268" y="1964448"/>
                </a:cubicBezTo>
                <a:cubicBezTo>
                  <a:pt x="5831054" y="1963879"/>
                  <a:pt x="5831268" y="1963594"/>
                  <a:pt x="5831694" y="1963452"/>
                </a:cubicBezTo>
                <a:close/>
                <a:moveTo>
                  <a:pt x="4835238" y="1963310"/>
                </a:moveTo>
                <a:cubicBezTo>
                  <a:pt x="4838439" y="1962741"/>
                  <a:pt x="4841854" y="1962741"/>
                  <a:pt x="4845909" y="1963452"/>
                </a:cubicBezTo>
                <a:cubicBezTo>
                  <a:pt x="4847402" y="1967009"/>
                  <a:pt x="4852952" y="1970423"/>
                  <a:pt x="4849323" y="1974834"/>
                </a:cubicBezTo>
                <a:cubicBezTo>
                  <a:pt x="4836945" y="1968432"/>
                  <a:pt x="4826274" y="1981094"/>
                  <a:pt x="4816670" y="1977537"/>
                </a:cubicBezTo>
                <a:lnTo>
                  <a:pt x="4812615" y="1974977"/>
                </a:lnTo>
                <a:lnTo>
                  <a:pt x="4810694" y="1977110"/>
                </a:lnTo>
                <a:cubicBezTo>
                  <a:pt x="4810054" y="1978675"/>
                  <a:pt x="4809201" y="1980240"/>
                  <a:pt x="4808133" y="1981094"/>
                </a:cubicBezTo>
                <a:cubicBezTo>
                  <a:pt x="4807280" y="1982089"/>
                  <a:pt x="4805999" y="1982516"/>
                  <a:pt x="4804719" y="1981805"/>
                </a:cubicBezTo>
                <a:cubicBezTo>
                  <a:pt x="4804932" y="1978106"/>
                  <a:pt x="4805359" y="1975404"/>
                  <a:pt x="4806853" y="1971277"/>
                </a:cubicBezTo>
                <a:cubicBezTo>
                  <a:pt x="4806853" y="1971277"/>
                  <a:pt x="4810268" y="1965160"/>
                  <a:pt x="4814109" y="1966298"/>
                </a:cubicBezTo>
                <a:cubicBezTo>
                  <a:pt x="4814536" y="1966013"/>
                  <a:pt x="4815176" y="1967009"/>
                  <a:pt x="4815603" y="1968290"/>
                </a:cubicBezTo>
                <a:cubicBezTo>
                  <a:pt x="4815817" y="1969570"/>
                  <a:pt x="4815817" y="1971135"/>
                  <a:pt x="4815603" y="1971846"/>
                </a:cubicBezTo>
                <a:lnTo>
                  <a:pt x="4812829" y="1974692"/>
                </a:lnTo>
                <a:lnTo>
                  <a:pt x="4826701" y="1966013"/>
                </a:lnTo>
                <a:cubicBezTo>
                  <a:pt x="4829262" y="1964733"/>
                  <a:pt x="4832036" y="1963737"/>
                  <a:pt x="4835238" y="1963310"/>
                </a:cubicBezTo>
                <a:close/>
                <a:moveTo>
                  <a:pt x="1260346" y="1963178"/>
                </a:moveTo>
                <a:cubicBezTo>
                  <a:pt x="1258694" y="1963642"/>
                  <a:pt x="1249400" y="1965192"/>
                  <a:pt x="1246303" y="1964262"/>
                </a:cubicBezTo>
                <a:cubicBezTo>
                  <a:pt x="1250743" y="1963952"/>
                  <a:pt x="1256215" y="1961629"/>
                  <a:pt x="1260346" y="1963178"/>
                </a:cubicBezTo>
                <a:close/>
                <a:moveTo>
                  <a:pt x="4943228" y="1963168"/>
                </a:moveTo>
                <a:cubicBezTo>
                  <a:pt x="4944722" y="1963879"/>
                  <a:pt x="4945362" y="1964164"/>
                  <a:pt x="4945576" y="1964876"/>
                </a:cubicBezTo>
                <a:cubicBezTo>
                  <a:pt x="4945576" y="1965587"/>
                  <a:pt x="4945362" y="1966725"/>
                  <a:pt x="4944722" y="1968717"/>
                </a:cubicBezTo>
                <a:cubicBezTo>
                  <a:pt x="4943868" y="1970282"/>
                  <a:pt x="4941521" y="1972131"/>
                  <a:pt x="4938960" y="1973696"/>
                </a:cubicBezTo>
                <a:cubicBezTo>
                  <a:pt x="4936399" y="1975261"/>
                  <a:pt x="4933625" y="1976257"/>
                  <a:pt x="4931703" y="1975830"/>
                </a:cubicBezTo>
                <a:cubicBezTo>
                  <a:pt x="4932344" y="1973269"/>
                  <a:pt x="4932770" y="1970566"/>
                  <a:pt x="4933411" y="1968005"/>
                </a:cubicBezTo>
                <a:cubicBezTo>
                  <a:pt x="4933625" y="1969143"/>
                  <a:pt x="4943228" y="1963168"/>
                  <a:pt x="4943228" y="1963168"/>
                </a:cubicBezTo>
                <a:close/>
                <a:moveTo>
                  <a:pt x="6033376" y="1962884"/>
                </a:moveTo>
                <a:cubicBezTo>
                  <a:pt x="6037005" y="1962029"/>
                  <a:pt x="6040419" y="1964164"/>
                  <a:pt x="6041486" y="1968574"/>
                </a:cubicBezTo>
                <a:cubicBezTo>
                  <a:pt x="6042126" y="1971420"/>
                  <a:pt x="6041913" y="1975261"/>
                  <a:pt x="6039993" y="1979813"/>
                </a:cubicBezTo>
                <a:cubicBezTo>
                  <a:pt x="6035084" y="1983513"/>
                  <a:pt x="6025053" y="1980809"/>
                  <a:pt x="6024413" y="1975972"/>
                </a:cubicBezTo>
                <a:cubicBezTo>
                  <a:pt x="6026120" y="1967863"/>
                  <a:pt x="6029748" y="1963879"/>
                  <a:pt x="6033376" y="1962884"/>
                </a:cubicBezTo>
                <a:close/>
                <a:moveTo>
                  <a:pt x="3617891" y="1962172"/>
                </a:moveTo>
                <a:cubicBezTo>
                  <a:pt x="3619385" y="1962457"/>
                  <a:pt x="3620453" y="1962884"/>
                  <a:pt x="3621093" y="1963879"/>
                </a:cubicBezTo>
                <a:cubicBezTo>
                  <a:pt x="3622800" y="1966013"/>
                  <a:pt x="3621946" y="1970139"/>
                  <a:pt x="3615117" y="1977110"/>
                </a:cubicBezTo>
                <a:cubicBezTo>
                  <a:pt x="3608287" y="1973412"/>
                  <a:pt x="3606580" y="1970139"/>
                  <a:pt x="3607220" y="1967436"/>
                </a:cubicBezTo>
                <a:cubicBezTo>
                  <a:pt x="3608074" y="1963737"/>
                  <a:pt x="3613837" y="1961603"/>
                  <a:pt x="3617891" y="1962172"/>
                </a:cubicBezTo>
                <a:close/>
                <a:moveTo>
                  <a:pt x="1273666" y="1961474"/>
                </a:moveTo>
                <a:cubicBezTo>
                  <a:pt x="1272427" y="1962713"/>
                  <a:pt x="1269535" y="1964262"/>
                  <a:pt x="1267367" y="1963178"/>
                </a:cubicBezTo>
                <a:cubicBezTo>
                  <a:pt x="1267367" y="1963178"/>
                  <a:pt x="1267367" y="1963178"/>
                  <a:pt x="1266231" y="1962558"/>
                </a:cubicBezTo>
                <a:cubicBezTo>
                  <a:pt x="1268606" y="1961938"/>
                  <a:pt x="1271807" y="1961164"/>
                  <a:pt x="1273666" y="1961474"/>
                </a:cubicBezTo>
                <a:close/>
                <a:moveTo>
                  <a:pt x="5311591" y="1961034"/>
                </a:moveTo>
                <a:cubicBezTo>
                  <a:pt x="5313938" y="1960181"/>
                  <a:pt x="5316286" y="1961746"/>
                  <a:pt x="5318420" y="1963310"/>
                </a:cubicBezTo>
                <a:cubicBezTo>
                  <a:pt x="5320128" y="1964733"/>
                  <a:pt x="5320554" y="1966156"/>
                  <a:pt x="5320341" y="1967294"/>
                </a:cubicBezTo>
                <a:cubicBezTo>
                  <a:pt x="5320128" y="1968432"/>
                  <a:pt x="5319274" y="1969570"/>
                  <a:pt x="5317993" y="1970566"/>
                </a:cubicBezTo>
                <a:cubicBezTo>
                  <a:pt x="5315432" y="1972558"/>
                  <a:pt x="5313298" y="1970993"/>
                  <a:pt x="5313298" y="1970993"/>
                </a:cubicBezTo>
                <a:cubicBezTo>
                  <a:pt x="5309883" y="1968005"/>
                  <a:pt x="5309029" y="1964164"/>
                  <a:pt x="5311591" y="1961034"/>
                </a:cubicBezTo>
                <a:close/>
                <a:moveTo>
                  <a:pt x="1216668" y="1960545"/>
                </a:moveTo>
                <a:cubicBezTo>
                  <a:pt x="1217494" y="1960700"/>
                  <a:pt x="1219353" y="1959926"/>
                  <a:pt x="1220179" y="1960854"/>
                </a:cubicBezTo>
                <a:cubicBezTo>
                  <a:pt x="1221108" y="1961784"/>
                  <a:pt x="1221108" y="1961784"/>
                  <a:pt x="1221005" y="1963488"/>
                </a:cubicBezTo>
                <a:cubicBezTo>
                  <a:pt x="1218424" y="1962404"/>
                  <a:pt x="1218424" y="1962404"/>
                  <a:pt x="1216668" y="1960545"/>
                </a:cubicBezTo>
                <a:close/>
                <a:moveTo>
                  <a:pt x="5075126" y="1960325"/>
                </a:moveTo>
                <a:lnTo>
                  <a:pt x="5077256" y="1961603"/>
                </a:lnTo>
                <a:cubicBezTo>
                  <a:pt x="5077256" y="1961603"/>
                  <a:pt x="5076188" y="1961034"/>
                  <a:pt x="5077896" y="1960607"/>
                </a:cubicBezTo>
                <a:cubicBezTo>
                  <a:pt x="5077256" y="1961603"/>
                  <a:pt x="5078323" y="1962172"/>
                  <a:pt x="5079390" y="1962741"/>
                </a:cubicBezTo>
                <a:cubicBezTo>
                  <a:pt x="5080671" y="1966013"/>
                  <a:pt x="5081311" y="1970423"/>
                  <a:pt x="5079176" y="1971988"/>
                </a:cubicBezTo>
                <a:cubicBezTo>
                  <a:pt x="5075975" y="1972985"/>
                  <a:pt x="5074481" y="1970708"/>
                  <a:pt x="5073841" y="1969001"/>
                </a:cubicBezTo>
                <a:cubicBezTo>
                  <a:pt x="5072560" y="1967578"/>
                  <a:pt x="5072347" y="1965729"/>
                  <a:pt x="5072774" y="1964022"/>
                </a:cubicBezTo>
                <a:close/>
                <a:moveTo>
                  <a:pt x="1214706" y="1959770"/>
                </a:moveTo>
                <a:cubicBezTo>
                  <a:pt x="1215120" y="1959770"/>
                  <a:pt x="1215532" y="1960080"/>
                  <a:pt x="1216049" y="1960390"/>
                </a:cubicBezTo>
                <a:cubicBezTo>
                  <a:pt x="1216049" y="1960390"/>
                  <a:pt x="1216049" y="1961164"/>
                  <a:pt x="1216049" y="1961164"/>
                </a:cubicBezTo>
                <a:cubicBezTo>
                  <a:pt x="1215016" y="1961009"/>
                  <a:pt x="1214087" y="1961009"/>
                  <a:pt x="1214087" y="1960235"/>
                </a:cubicBezTo>
                <a:cubicBezTo>
                  <a:pt x="1214087" y="1959926"/>
                  <a:pt x="1214397" y="1959616"/>
                  <a:pt x="1214706" y="1959770"/>
                </a:cubicBezTo>
                <a:close/>
                <a:moveTo>
                  <a:pt x="892547" y="1959770"/>
                </a:moveTo>
                <a:cubicBezTo>
                  <a:pt x="893683" y="1959926"/>
                  <a:pt x="894406" y="1959460"/>
                  <a:pt x="894096" y="1960700"/>
                </a:cubicBezTo>
                <a:cubicBezTo>
                  <a:pt x="893786" y="1961784"/>
                  <a:pt x="893786" y="1961784"/>
                  <a:pt x="891618" y="1963178"/>
                </a:cubicBezTo>
                <a:cubicBezTo>
                  <a:pt x="891928" y="1962093"/>
                  <a:pt x="891928" y="1961938"/>
                  <a:pt x="890792" y="1961784"/>
                </a:cubicBezTo>
                <a:cubicBezTo>
                  <a:pt x="890792" y="1961784"/>
                  <a:pt x="890792" y="1961938"/>
                  <a:pt x="890069" y="1962404"/>
                </a:cubicBezTo>
                <a:cubicBezTo>
                  <a:pt x="889656" y="1961784"/>
                  <a:pt x="890379" y="1961319"/>
                  <a:pt x="889965" y="1960700"/>
                </a:cubicBezTo>
                <a:cubicBezTo>
                  <a:pt x="889965" y="1960700"/>
                  <a:pt x="890688" y="1960080"/>
                  <a:pt x="890688" y="1960080"/>
                </a:cubicBezTo>
                <a:cubicBezTo>
                  <a:pt x="890482" y="1959770"/>
                  <a:pt x="890482" y="1959770"/>
                  <a:pt x="890792" y="1959926"/>
                </a:cubicBezTo>
                <a:cubicBezTo>
                  <a:pt x="890998" y="1959926"/>
                  <a:pt x="891618" y="1959926"/>
                  <a:pt x="892547" y="1959770"/>
                </a:cubicBezTo>
                <a:close/>
                <a:moveTo>
                  <a:pt x="5075762" y="1959327"/>
                </a:moveTo>
                <a:lnTo>
                  <a:pt x="5075126" y="1960325"/>
                </a:lnTo>
                <a:lnTo>
                  <a:pt x="5075122" y="1960322"/>
                </a:lnTo>
                <a:cubicBezTo>
                  <a:pt x="5075122" y="1960322"/>
                  <a:pt x="5075122" y="1960322"/>
                  <a:pt x="5075762" y="1959327"/>
                </a:cubicBezTo>
                <a:close/>
                <a:moveTo>
                  <a:pt x="1298654" y="1959150"/>
                </a:moveTo>
                <a:cubicBezTo>
                  <a:pt x="1298654" y="1959150"/>
                  <a:pt x="1298240" y="1960080"/>
                  <a:pt x="1298654" y="1960854"/>
                </a:cubicBezTo>
                <a:cubicBezTo>
                  <a:pt x="1298654" y="1960854"/>
                  <a:pt x="1298344" y="1961938"/>
                  <a:pt x="1297931" y="1963023"/>
                </a:cubicBezTo>
                <a:cubicBezTo>
                  <a:pt x="1297931" y="1963023"/>
                  <a:pt x="1298240" y="1963797"/>
                  <a:pt x="1298654" y="1964572"/>
                </a:cubicBezTo>
                <a:cubicBezTo>
                  <a:pt x="1298240" y="1967515"/>
                  <a:pt x="1298344" y="1969374"/>
                  <a:pt x="1294833" y="1969838"/>
                </a:cubicBezTo>
                <a:cubicBezTo>
                  <a:pt x="1294420" y="1969064"/>
                  <a:pt x="1295246" y="1966895"/>
                  <a:pt x="1295659" y="1965811"/>
                </a:cubicBezTo>
                <a:cubicBezTo>
                  <a:pt x="1295246" y="1965037"/>
                  <a:pt x="1295659" y="1963952"/>
                  <a:pt x="1296382" y="1963642"/>
                </a:cubicBezTo>
                <a:cubicBezTo>
                  <a:pt x="1296382" y="1963642"/>
                  <a:pt x="1296795" y="1962558"/>
                  <a:pt x="1296382" y="1961784"/>
                </a:cubicBezTo>
                <a:cubicBezTo>
                  <a:pt x="1297208" y="1959616"/>
                  <a:pt x="1297931" y="1959305"/>
                  <a:pt x="1298654" y="1959150"/>
                </a:cubicBezTo>
                <a:close/>
                <a:moveTo>
                  <a:pt x="5645166" y="1958900"/>
                </a:moveTo>
                <a:cubicBezTo>
                  <a:pt x="5646233" y="1959042"/>
                  <a:pt x="5647300" y="1959469"/>
                  <a:pt x="5648367" y="1960181"/>
                </a:cubicBezTo>
                <a:cubicBezTo>
                  <a:pt x="5647300" y="1961319"/>
                  <a:pt x="5648367" y="1963879"/>
                  <a:pt x="5647300" y="1965017"/>
                </a:cubicBezTo>
                <a:cubicBezTo>
                  <a:pt x="5647300" y="1965017"/>
                  <a:pt x="5643672" y="1965729"/>
                  <a:pt x="5643672" y="1965729"/>
                </a:cubicBezTo>
                <a:cubicBezTo>
                  <a:pt x="5642605" y="1964448"/>
                  <a:pt x="5642605" y="1964448"/>
                  <a:pt x="5643672" y="1964591"/>
                </a:cubicBezTo>
                <a:cubicBezTo>
                  <a:pt x="5642605" y="1961887"/>
                  <a:pt x="5642605" y="1960749"/>
                  <a:pt x="5642605" y="1959469"/>
                </a:cubicBezTo>
                <a:cubicBezTo>
                  <a:pt x="5643245" y="1958900"/>
                  <a:pt x="5644099" y="1958757"/>
                  <a:pt x="5645166" y="1958900"/>
                </a:cubicBezTo>
                <a:close/>
                <a:moveTo>
                  <a:pt x="1210576" y="1957912"/>
                </a:moveTo>
                <a:cubicBezTo>
                  <a:pt x="1211299" y="1958531"/>
                  <a:pt x="1212125" y="1958996"/>
                  <a:pt x="1212435" y="1960080"/>
                </a:cubicBezTo>
                <a:cubicBezTo>
                  <a:pt x="1212744" y="1961319"/>
                  <a:pt x="1212022" y="1960854"/>
                  <a:pt x="1212744" y="1961319"/>
                </a:cubicBezTo>
                <a:cubicBezTo>
                  <a:pt x="1213158" y="1962404"/>
                  <a:pt x="1213570" y="1961784"/>
                  <a:pt x="1213570" y="1961784"/>
                </a:cubicBezTo>
                <a:cubicBezTo>
                  <a:pt x="1213570" y="1961784"/>
                  <a:pt x="1213054" y="1962404"/>
                  <a:pt x="1213054" y="1962404"/>
                </a:cubicBezTo>
                <a:cubicBezTo>
                  <a:pt x="1213054" y="1962404"/>
                  <a:pt x="1213054" y="1962404"/>
                  <a:pt x="1213777" y="1964727"/>
                </a:cubicBezTo>
                <a:cubicBezTo>
                  <a:pt x="1215120" y="1967515"/>
                  <a:pt x="1215945" y="1968135"/>
                  <a:pt x="1217081" y="1969683"/>
                </a:cubicBezTo>
                <a:cubicBezTo>
                  <a:pt x="1217701" y="1972007"/>
                  <a:pt x="1217185" y="1972782"/>
                  <a:pt x="1217391" y="1975725"/>
                </a:cubicBezTo>
                <a:cubicBezTo>
                  <a:pt x="1215842" y="1976654"/>
                  <a:pt x="1215842" y="1976654"/>
                  <a:pt x="1215016" y="1976189"/>
                </a:cubicBezTo>
                <a:cubicBezTo>
                  <a:pt x="1215842" y="1976654"/>
                  <a:pt x="1215326" y="1977274"/>
                  <a:pt x="1215636" y="1978513"/>
                </a:cubicBezTo>
                <a:cubicBezTo>
                  <a:pt x="1218217" y="1983005"/>
                  <a:pt x="1214500" y="1985328"/>
                  <a:pt x="1209337" y="1986877"/>
                </a:cubicBezTo>
                <a:cubicBezTo>
                  <a:pt x="1208924" y="1985638"/>
                  <a:pt x="1206136" y="1986722"/>
                  <a:pt x="1204174" y="1986412"/>
                </a:cubicBezTo>
                <a:cubicBezTo>
                  <a:pt x="1203038" y="1985638"/>
                  <a:pt x="1202109" y="1985018"/>
                  <a:pt x="1201386" y="1984244"/>
                </a:cubicBezTo>
                <a:lnTo>
                  <a:pt x="1201283" y="1984244"/>
                </a:lnTo>
                <a:lnTo>
                  <a:pt x="1195604" y="1984553"/>
                </a:lnTo>
                <a:cubicBezTo>
                  <a:pt x="1192919" y="1984553"/>
                  <a:pt x="1190544" y="1983779"/>
                  <a:pt x="1189202" y="1982075"/>
                </a:cubicBezTo>
                <a:lnTo>
                  <a:pt x="1188273" y="1979906"/>
                </a:lnTo>
                <a:lnTo>
                  <a:pt x="1185898" y="1981765"/>
                </a:lnTo>
                <a:cubicBezTo>
                  <a:pt x="1184659" y="1982385"/>
                  <a:pt x="1183317" y="1982540"/>
                  <a:pt x="1182387" y="1982075"/>
                </a:cubicBezTo>
                <a:cubicBezTo>
                  <a:pt x="1183317" y="1980526"/>
                  <a:pt x="1184142" y="1979752"/>
                  <a:pt x="1185072" y="1979132"/>
                </a:cubicBezTo>
                <a:cubicBezTo>
                  <a:pt x="1185588" y="1978358"/>
                  <a:pt x="1186104" y="1977893"/>
                  <a:pt x="1186621" y="1978048"/>
                </a:cubicBezTo>
                <a:lnTo>
                  <a:pt x="1187860" y="1978822"/>
                </a:lnTo>
                <a:lnTo>
                  <a:pt x="1187757" y="1978513"/>
                </a:lnTo>
                <a:lnTo>
                  <a:pt x="1187963" y="1974175"/>
                </a:lnTo>
                <a:lnTo>
                  <a:pt x="1187860" y="1974175"/>
                </a:lnTo>
                <a:cubicBezTo>
                  <a:pt x="1187653" y="1973711"/>
                  <a:pt x="1187653" y="1973246"/>
                  <a:pt x="1187653" y="1972936"/>
                </a:cubicBezTo>
                <a:lnTo>
                  <a:pt x="1187963" y="1972936"/>
                </a:lnTo>
                <a:lnTo>
                  <a:pt x="1188066" y="1973091"/>
                </a:lnTo>
                <a:lnTo>
                  <a:pt x="1189408" y="1973401"/>
                </a:lnTo>
                <a:lnTo>
                  <a:pt x="1189822" y="1973866"/>
                </a:lnTo>
                <a:lnTo>
                  <a:pt x="1191887" y="1974640"/>
                </a:lnTo>
                <a:lnTo>
                  <a:pt x="1192919" y="1974640"/>
                </a:lnTo>
                <a:lnTo>
                  <a:pt x="1195707" y="1976189"/>
                </a:lnTo>
                <a:lnTo>
                  <a:pt x="1200044" y="1977118"/>
                </a:lnTo>
                <a:lnTo>
                  <a:pt x="1200044" y="1975570"/>
                </a:lnTo>
                <a:cubicBezTo>
                  <a:pt x="1200457" y="1974640"/>
                  <a:pt x="1200973" y="1973711"/>
                  <a:pt x="1201593" y="1973091"/>
                </a:cubicBezTo>
                <a:lnTo>
                  <a:pt x="1203452" y="1972007"/>
                </a:lnTo>
                <a:lnTo>
                  <a:pt x="1201799" y="1972007"/>
                </a:lnTo>
                <a:cubicBezTo>
                  <a:pt x="1202729" y="1971232"/>
                  <a:pt x="1202109" y="1969374"/>
                  <a:pt x="1203142" y="1968599"/>
                </a:cubicBezTo>
                <a:cubicBezTo>
                  <a:pt x="1203142" y="1968599"/>
                  <a:pt x="1205930" y="1967980"/>
                  <a:pt x="1205930" y="1967980"/>
                </a:cubicBezTo>
                <a:cubicBezTo>
                  <a:pt x="1206653" y="1968909"/>
                  <a:pt x="1206653" y="1968754"/>
                  <a:pt x="1205826" y="1968754"/>
                </a:cubicBezTo>
                <a:lnTo>
                  <a:pt x="1206033" y="1971542"/>
                </a:lnTo>
                <a:lnTo>
                  <a:pt x="1209028" y="1971387"/>
                </a:lnTo>
                <a:lnTo>
                  <a:pt x="1210473" y="1971852"/>
                </a:lnTo>
                <a:lnTo>
                  <a:pt x="1211919" y="1971542"/>
                </a:lnTo>
                <a:lnTo>
                  <a:pt x="1210473" y="1966121"/>
                </a:lnTo>
                <a:cubicBezTo>
                  <a:pt x="1210060" y="1963952"/>
                  <a:pt x="1209750" y="1961784"/>
                  <a:pt x="1209854" y="1960235"/>
                </a:cubicBezTo>
                <a:lnTo>
                  <a:pt x="1209957" y="1959926"/>
                </a:lnTo>
                <a:lnTo>
                  <a:pt x="1209647" y="1959770"/>
                </a:lnTo>
                <a:lnTo>
                  <a:pt x="1209957" y="1959460"/>
                </a:lnTo>
                <a:close/>
                <a:moveTo>
                  <a:pt x="5080244" y="1957051"/>
                </a:moveTo>
                <a:cubicBezTo>
                  <a:pt x="5080244" y="1957051"/>
                  <a:pt x="5082805" y="1957051"/>
                  <a:pt x="5082805" y="1957051"/>
                </a:cubicBezTo>
                <a:cubicBezTo>
                  <a:pt x="5085793" y="1958189"/>
                  <a:pt x="5087286" y="1958757"/>
                  <a:pt x="5089847" y="1958900"/>
                </a:cubicBezTo>
                <a:cubicBezTo>
                  <a:pt x="5089634" y="1961603"/>
                  <a:pt x="5088567" y="1962172"/>
                  <a:pt x="5087073" y="1961603"/>
                </a:cubicBezTo>
                <a:cubicBezTo>
                  <a:pt x="5087073" y="1961603"/>
                  <a:pt x="5085579" y="1960892"/>
                  <a:pt x="5084085" y="1960322"/>
                </a:cubicBezTo>
                <a:cubicBezTo>
                  <a:pt x="5082591" y="1959754"/>
                  <a:pt x="5081524" y="1960322"/>
                  <a:pt x="5081524" y="1960322"/>
                </a:cubicBezTo>
                <a:cubicBezTo>
                  <a:pt x="5080030" y="1959754"/>
                  <a:pt x="5079603" y="1958615"/>
                  <a:pt x="5080244" y="1957051"/>
                </a:cubicBezTo>
                <a:close/>
                <a:moveTo>
                  <a:pt x="5298572" y="1956908"/>
                </a:moveTo>
                <a:cubicBezTo>
                  <a:pt x="5299426" y="1956339"/>
                  <a:pt x="5300706" y="1956197"/>
                  <a:pt x="5301987" y="1956908"/>
                </a:cubicBezTo>
                <a:cubicBezTo>
                  <a:pt x="5306042" y="1957762"/>
                  <a:pt x="5306896" y="1961176"/>
                  <a:pt x="5306896" y="1965017"/>
                </a:cubicBezTo>
                <a:cubicBezTo>
                  <a:pt x="5308603" y="1966867"/>
                  <a:pt x="5311164" y="1967009"/>
                  <a:pt x="5310737" y="1969712"/>
                </a:cubicBezTo>
                <a:cubicBezTo>
                  <a:pt x="5307536" y="1967294"/>
                  <a:pt x="5306255" y="1966582"/>
                  <a:pt x="5304334" y="1964876"/>
                </a:cubicBezTo>
                <a:cubicBezTo>
                  <a:pt x="5303267" y="1965302"/>
                  <a:pt x="5302200" y="1965729"/>
                  <a:pt x="5300706" y="1965017"/>
                </a:cubicBezTo>
                <a:cubicBezTo>
                  <a:pt x="5297932" y="1963594"/>
                  <a:pt x="5298358" y="1960892"/>
                  <a:pt x="5296651" y="1959184"/>
                </a:cubicBezTo>
                <a:cubicBezTo>
                  <a:pt x="5297078" y="1958331"/>
                  <a:pt x="5297505" y="1957477"/>
                  <a:pt x="5298572" y="1956908"/>
                </a:cubicBezTo>
                <a:close/>
                <a:moveTo>
                  <a:pt x="1116923" y="1956827"/>
                </a:moveTo>
                <a:cubicBezTo>
                  <a:pt x="1116923" y="1956827"/>
                  <a:pt x="1116923" y="1956827"/>
                  <a:pt x="1118162" y="1956982"/>
                </a:cubicBezTo>
                <a:cubicBezTo>
                  <a:pt x="1116613" y="1957912"/>
                  <a:pt x="1117646" y="1961164"/>
                  <a:pt x="1115271" y="1960854"/>
                </a:cubicBezTo>
                <a:cubicBezTo>
                  <a:pt x="1115580" y="1959616"/>
                  <a:pt x="1116613" y="1957912"/>
                  <a:pt x="1116923" y="1956827"/>
                </a:cubicBezTo>
                <a:close/>
                <a:moveTo>
                  <a:pt x="778552" y="1956827"/>
                </a:moveTo>
                <a:cubicBezTo>
                  <a:pt x="781030" y="1958376"/>
                  <a:pt x="780101" y="1959926"/>
                  <a:pt x="781753" y="1960700"/>
                </a:cubicBezTo>
                <a:cubicBezTo>
                  <a:pt x="779068" y="1964107"/>
                  <a:pt x="776590" y="1964107"/>
                  <a:pt x="773183" y="1962713"/>
                </a:cubicBezTo>
                <a:cubicBezTo>
                  <a:pt x="773286" y="1960235"/>
                  <a:pt x="775971" y="1956982"/>
                  <a:pt x="778552" y="1956827"/>
                </a:cubicBezTo>
                <a:close/>
                <a:moveTo>
                  <a:pt x="5100305" y="1956339"/>
                </a:moveTo>
                <a:cubicBezTo>
                  <a:pt x="5103506" y="1957619"/>
                  <a:pt x="5107135" y="1959469"/>
                  <a:pt x="5108415" y="1962029"/>
                </a:cubicBezTo>
                <a:cubicBezTo>
                  <a:pt x="5108842" y="1962884"/>
                  <a:pt x="5108842" y="1963879"/>
                  <a:pt x="5108628" y="1965017"/>
                </a:cubicBezTo>
                <a:cubicBezTo>
                  <a:pt x="5108415" y="1967721"/>
                  <a:pt x="5105854" y="1967721"/>
                  <a:pt x="5102866" y="1966582"/>
                </a:cubicBezTo>
                <a:cubicBezTo>
                  <a:pt x="5096250" y="1966013"/>
                  <a:pt x="5093902" y="1963310"/>
                  <a:pt x="5095823" y="1958473"/>
                </a:cubicBezTo>
                <a:cubicBezTo>
                  <a:pt x="5096890" y="1957904"/>
                  <a:pt x="5100732" y="1957477"/>
                  <a:pt x="5100305" y="1956339"/>
                </a:cubicBezTo>
                <a:close/>
                <a:moveTo>
                  <a:pt x="3704326" y="1956339"/>
                </a:moveTo>
                <a:cubicBezTo>
                  <a:pt x="3707955" y="1958615"/>
                  <a:pt x="3709449" y="1960607"/>
                  <a:pt x="3709876" y="1962172"/>
                </a:cubicBezTo>
                <a:cubicBezTo>
                  <a:pt x="3710089" y="1963879"/>
                  <a:pt x="3709235" y="1965017"/>
                  <a:pt x="3707741" y="1965729"/>
                </a:cubicBezTo>
                <a:cubicBezTo>
                  <a:pt x="3703046" y="1968290"/>
                  <a:pt x="3692588" y="1965729"/>
                  <a:pt x="3704326" y="1956339"/>
                </a:cubicBezTo>
                <a:close/>
                <a:moveTo>
                  <a:pt x="1195810" y="1955743"/>
                </a:moveTo>
                <a:cubicBezTo>
                  <a:pt x="1197566" y="1955898"/>
                  <a:pt x="1207065" y="1957757"/>
                  <a:pt x="1209647" y="1959616"/>
                </a:cubicBezTo>
                <a:cubicBezTo>
                  <a:pt x="1205310" y="1958376"/>
                  <a:pt x="1199218" y="1958531"/>
                  <a:pt x="1195810" y="1955743"/>
                </a:cubicBezTo>
                <a:close/>
                <a:moveTo>
                  <a:pt x="959663" y="1955433"/>
                </a:moveTo>
                <a:cubicBezTo>
                  <a:pt x="961212" y="1958686"/>
                  <a:pt x="959354" y="1962093"/>
                  <a:pt x="965239" y="1965192"/>
                </a:cubicBezTo>
                <a:lnTo>
                  <a:pt x="961625" y="1966585"/>
                </a:lnTo>
                <a:lnTo>
                  <a:pt x="962142" y="1966895"/>
                </a:lnTo>
                <a:cubicBezTo>
                  <a:pt x="955120" y="1972936"/>
                  <a:pt x="943865" y="1970768"/>
                  <a:pt x="938806" y="1967980"/>
                </a:cubicBezTo>
                <a:cubicBezTo>
                  <a:pt x="942317" y="1964882"/>
                  <a:pt x="947066" y="1963488"/>
                  <a:pt x="951506" y="1963488"/>
                </a:cubicBezTo>
                <a:lnTo>
                  <a:pt x="955740" y="1964107"/>
                </a:lnTo>
                <a:lnTo>
                  <a:pt x="956669" y="1961009"/>
                </a:lnTo>
                <a:cubicBezTo>
                  <a:pt x="957598" y="1958996"/>
                  <a:pt x="958734" y="1957137"/>
                  <a:pt x="959663" y="1955433"/>
                </a:cubicBezTo>
                <a:close/>
                <a:moveTo>
                  <a:pt x="4990821" y="1954774"/>
                </a:moveTo>
                <a:cubicBezTo>
                  <a:pt x="4991461" y="1955058"/>
                  <a:pt x="4991888" y="1955770"/>
                  <a:pt x="4992528" y="1956481"/>
                </a:cubicBezTo>
                <a:cubicBezTo>
                  <a:pt x="4993808" y="1957762"/>
                  <a:pt x="4995089" y="1958900"/>
                  <a:pt x="4996370" y="1960181"/>
                </a:cubicBezTo>
                <a:cubicBezTo>
                  <a:pt x="4996370" y="1960181"/>
                  <a:pt x="4996370" y="1960181"/>
                  <a:pt x="4989113" y="1955058"/>
                </a:cubicBezTo>
                <a:cubicBezTo>
                  <a:pt x="4989540" y="1954490"/>
                  <a:pt x="4990180" y="1954490"/>
                  <a:pt x="4990821" y="1954774"/>
                </a:cubicBezTo>
                <a:close/>
                <a:moveTo>
                  <a:pt x="5497693" y="1954347"/>
                </a:moveTo>
                <a:cubicBezTo>
                  <a:pt x="5507510" y="1966725"/>
                  <a:pt x="5515620" y="1963452"/>
                  <a:pt x="5523730" y="1965017"/>
                </a:cubicBezTo>
                <a:cubicBezTo>
                  <a:pt x="5526504" y="1975972"/>
                  <a:pt x="5537389" y="1985931"/>
                  <a:pt x="5543578" y="1996885"/>
                </a:cubicBezTo>
                <a:cubicBezTo>
                  <a:pt x="5539523" y="2010970"/>
                  <a:pt x="5540163" y="2024201"/>
                  <a:pt x="5536108" y="2038286"/>
                </a:cubicBezTo>
                <a:cubicBezTo>
                  <a:pt x="5532480" y="2038997"/>
                  <a:pt x="5528852" y="2040847"/>
                  <a:pt x="5525437" y="2043123"/>
                </a:cubicBezTo>
                <a:lnTo>
                  <a:pt x="5520956" y="2046395"/>
                </a:lnTo>
                <a:lnTo>
                  <a:pt x="5518181" y="2063183"/>
                </a:lnTo>
                <a:cubicBezTo>
                  <a:pt x="5516473" y="2067878"/>
                  <a:pt x="5514126" y="2071577"/>
                  <a:pt x="5511565" y="2074707"/>
                </a:cubicBezTo>
                <a:lnTo>
                  <a:pt x="5506443" y="2078975"/>
                </a:lnTo>
                <a:lnTo>
                  <a:pt x="5512419" y="2083385"/>
                </a:lnTo>
                <a:cubicBezTo>
                  <a:pt x="5520529" y="2089503"/>
                  <a:pt x="5531627" y="2098181"/>
                  <a:pt x="5527571" y="2104156"/>
                </a:cubicBezTo>
                <a:cubicBezTo>
                  <a:pt x="5521382" y="2099746"/>
                  <a:pt x="5504309" y="2092064"/>
                  <a:pt x="5504522" y="2082531"/>
                </a:cubicBezTo>
                <a:lnTo>
                  <a:pt x="5505162" y="2080255"/>
                </a:lnTo>
                <a:lnTo>
                  <a:pt x="5502602" y="2082389"/>
                </a:lnTo>
                <a:cubicBezTo>
                  <a:pt x="5496199" y="2086942"/>
                  <a:pt x="5488729" y="2090641"/>
                  <a:pt x="5481473" y="2097043"/>
                </a:cubicBezTo>
                <a:lnTo>
                  <a:pt x="5478698" y="2095478"/>
                </a:lnTo>
                <a:lnTo>
                  <a:pt x="5479552" y="2096332"/>
                </a:lnTo>
                <a:cubicBezTo>
                  <a:pt x="5481046" y="2097612"/>
                  <a:pt x="5482113" y="2098750"/>
                  <a:pt x="5482753" y="2099604"/>
                </a:cubicBezTo>
                <a:cubicBezTo>
                  <a:pt x="5480192" y="2097612"/>
                  <a:pt x="5477204" y="2095904"/>
                  <a:pt x="5474217" y="2093914"/>
                </a:cubicBezTo>
                <a:lnTo>
                  <a:pt x="5473149" y="2092775"/>
                </a:lnTo>
                <a:lnTo>
                  <a:pt x="5466961" y="2092348"/>
                </a:lnTo>
                <a:cubicBezTo>
                  <a:pt x="5462692" y="2092775"/>
                  <a:pt x="5458850" y="2094482"/>
                  <a:pt x="5454795" y="2095194"/>
                </a:cubicBezTo>
                <a:cubicBezTo>
                  <a:pt x="5450527" y="2085519"/>
                  <a:pt x="5438576" y="2079401"/>
                  <a:pt x="5430892" y="2070723"/>
                </a:cubicBezTo>
                <a:cubicBezTo>
                  <a:pt x="5432813" y="2055500"/>
                  <a:pt x="5430465" y="2042838"/>
                  <a:pt x="5432173" y="2027758"/>
                </a:cubicBezTo>
                <a:cubicBezTo>
                  <a:pt x="5439429" y="2023775"/>
                  <a:pt x="5444978" y="2015807"/>
                  <a:pt x="5451167" y="2008694"/>
                </a:cubicBezTo>
                <a:lnTo>
                  <a:pt x="5452875" y="2006987"/>
                </a:lnTo>
                <a:lnTo>
                  <a:pt x="5452021" y="1991053"/>
                </a:lnTo>
                <a:lnTo>
                  <a:pt x="5456290" y="1978248"/>
                </a:lnTo>
                <a:lnTo>
                  <a:pt x="5449247" y="1975687"/>
                </a:lnTo>
                <a:lnTo>
                  <a:pt x="5446685" y="1974692"/>
                </a:lnTo>
                <a:lnTo>
                  <a:pt x="5446899" y="1975972"/>
                </a:lnTo>
                <a:lnTo>
                  <a:pt x="5446259" y="1974550"/>
                </a:lnTo>
                <a:lnTo>
                  <a:pt x="5439856" y="1971846"/>
                </a:lnTo>
                <a:cubicBezTo>
                  <a:pt x="5433880" y="1969001"/>
                  <a:pt x="5429398" y="1965302"/>
                  <a:pt x="5431319" y="1960465"/>
                </a:cubicBezTo>
                <a:cubicBezTo>
                  <a:pt x="5433026" y="1961034"/>
                  <a:pt x="5435374" y="1961461"/>
                  <a:pt x="5438149" y="1962172"/>
                </a:cubicBezTo>
                <a:lnTo>
                  <a:pt x="5443484" y="1963737"/>
                </a:lnTo>
                <a:lnTo>
                  <a:pt x="5443697" y="1962599"/>
                </a:lnTo>
                <a:lnTo>
                  <a:pt x="5444124" y="1963879"/>
                </a:lnTo>
                <a:lnTo>
                  <a:pt x="5446259" y="1964448"/>
                </a:lnTo>
                <a:cubicBezTo>
                  <a:pt x="5451594" y="1966298"/>
                  <a:pt x="5456290" y="1969143"/>
                  <a:pt x="5456930" y="1973838"/>
                </a:cubicBezTo>
                <a:lnTo>
                  <a:pt x="5456503" y="1976968"/>
                </a:lnTo>
                <a:lnTo>
                  <a:pt x="5457143" y="1975118"/>
                </a:lnTo>
                <a:cubicBezTo>
                  <a:pt x="5466747" y="1958900"/>
                  <a:pt x="5481900" y="1961887"/>
                  <a:pt x="5497693" y="1954347"/>
                </a:cubicBezTo>
                <a:close/>
                <a:moveTo>
                  <a:pt x="1358336" y="1954039"/>
                </a:moveTo>
                <a:cubicBezTo>
                  <a:pt x="1358542" y="1954349"/>
                  <a:pt x="1358645" y="1954814"/>
                  <a:pt x="1358542" y="1955278"/>
                </a:cubicBezTo>
                <a:cubicBezTo>
                  <a:pt x="1358956" y="1955898"/>
                  <a:pt x="1358232" y="1956362"/>
                  <a:pt x="1357923" y="1957602"/>
                </a:cubicBezTo>
                <a:lnTo>
                  <a:pt x="1356994" y="1957912"/>
                </a:lnTo>
                <a:lnTo>
                  <a:pt x="1357200" y="1958841"/>
                </a:lnTo>
                <a:lnTo>
                  <a:pt x="1357200" y="1958996"/>
                </a:lnTo>
                <a:lnTo>
                  <a:pt x="1359162" y="1957137"/>
                </a:lnTo>
                <a:lnTo>
                  <a:pt x="1360194" y="1955278"/>
                </a:lnTo>
                <a:lnTo>
                  <a:pt x="1358749" y="1954504"/>
                </a:lnTo>
                <a:cubicBezTo>
                  <a:pt x="1358542" y="1954349"/>
                  <a:pt x="1358439" y="1954194"/>
                  <a:pt x="1358336" y="1954039"/>
                </a:cubicBezTo>
                <a:close/>
                <a:moveTo>
                  <a:pt x="1086049" y="1954039"/>
                </a:moveTo>
                <a:cubicBezTo>
                  <a:pt x="1088011" y="1953729"/>
                  <a:pt x="1088114" y="1955588"/>
                  <a:pt x="1087598" y="1957912"/>
                </a:cubicBezTo>
                <a:cubicBezTo>
                  <a:pt x="1087598" y="1962868"/>
                  <a:pt x="1085739" y="1964882"/>
                  <a:pt x="1082229" y="1964417"/>
                </a:cubicBezTo>
                <a:cubicBezTo>
                  <a:pt x="1081712" y="1963642"/>
                  <a:pt x="1081093" y="1961164"/>
                  <a:pt x="1080370" y="1961629"/>
                </a:cubicBezTo>
                <a:cubicBezTo>
                  <a:pt x="1081093" y="1958996"/>
                  <a:pt x="1082125" y="1956053"/>
                  <a:pt x="1083984" y="1954814"/>
                </a:cubicBezTo>
                <a:cubicBezTo>
                  <a:pt x="1084500" y="1954349"/>
                  <a:pt x="1085326" y="1954039"/>
                  <a:pt x="1086049" y="1954039"/>
                </a:cubicBezTo>
                <a:close/>
                <a:moveTo>
                  <a:pt x="5575164" y="1953920"/>
                </a:moveTo>
                <a:cubicBezTo>
                  <a:pt x="5575804" y="1953778"/>
                  <a:pt x="5576658" y="1954490"/>
                  <a:pt x="5577511" y="1955628"/>
                </a:cubicBezTo>
                <a:cubicBezTo>
                  <a:pt x="5578792" y="1957192"/>
                  <a:pt x="5580073" y="1959611"/>
                  <a:pt x="5581140" y="1961746"/>
                </a:cubicBezTo>
                <a:lnTo>
                  <a:pt x="5581354" y="1962029"/>
                </a:lnTo>
                <a:lnTo>
                  <a:pt x="5585622" y="1966867"/>
                </a:lnTo>
                <a:cubicBezTo>
                  <a:pt x="5586262" y="1968858"/>
                  <a:pt x="5585835" y="1970850"/>
                  <a:pt x="5584768" y="1972558"/>
                </a:cubicBezTo>
                <a:lnTo>
                  <a:pt x="5580286" y="1976968"/>
                </a:lnTo>
                <a:lnTo>
                  <a:pt x="5580713" y="1977253"/>
                </a:lnTo>
                <a:cubicBezTo>
                  <a:pt x="5580926" y="1977822"/>
                  <a:pt x="5580713" y="1978533"/>
                  <a:pt x="5580073" y="1979102"/>
                </a:cubicBezTo>
                <a:cubicBezTo>
                  <a:pt x="5580073" y="1979102"/>
                  <a:pt x="5579859" y="1979102"/>
                  <a:pt x="5579219" y="1978818"/>
                </a:cubicBezTo>
                <a:lnTo>
                  <a:pt x="5578152" y="1977537"/>
                </a:lnTo>
                <a:lnTo>
                  <a:pt x="5574524" y="1978533"/>
                </a:lnTo>
                <a:cubicBezTo>
                  <a:pt x="5569615" y="1973838"/>
                  <a:pt x="5571109" y="1967009"/>
                  <a:pt x="5575378" y="1963452"/>
                </a:cubicBezTo>
                <a:lnTo>
                  <a:pt x="5577085" y="1962599"/>
                </a:lnTo>
                <a:lnTo>
                  <a:pt x="5576231" y="1959896"/>
                </a:lnTo>
                <a:cubicBezTo>
                  <a:pt x="5575591" y="1959042"/>
                  <a:pt x="5574951" y="1958473"/>
                  <a:pt x="5573883" y="1957762"/>
                </a:cubicBezTo>
                <a:cubicBezTo>
                  <a:pt x="5573883" y="1957762"/>
                  <a:pt x="5573670" y="1957762"/>
                  <a:pt x="5574311" y="1954490"/>
                </a:cubicBezTo>
                <a:close/>
                <a:moveTo>
                  <a:pt x="1046089" y="1953884"/>
                </a:moveTo>
                <a:cubicBezTo>
                  <a:pt x="1047018" y="1955433"/>
                  <a:pt x="1048980" y="1957757"/>
                  <a:pt x="1046502" y="1961474"/>
                </a:cubicBezTo>
                <a:cubicBezTo>
                  <a:pt x="1045676" y="1962558"/>
                  <a:pt x="1045676" y="1962558"/>
                  <a:pt x="1044850" y="1962558"/>
                </a:cubicBezTo>
                <a:cubicBezTo>
                  <a:pt x="1043095" y="1963797"/>
                  <a:pt x="1042268" y="1964727"/>
                  <a:pt x="1040513" y="1964107"/>
                </a:cubicBezTo>
                <a:cubicBezTo>
                  <a:pt x="1039171" y="1963488"/>
                  <a:pt x="1038655" y="1962558"/>
                  <a:pt x="1038758" y="1961629"/>
                </a:cubicBezTo>
                <a:cubicBezTo>
                  <a:pt x="1038758" y="1960700"/>
                  <a:pt x="1039377" y="1959460"/>
                  <a:pt x="1040100" y="1958066"/>
                </a:cubicBezTo>
                <a:cubicBezTo>
                  <a:pt x="1041752" y="1955278"/>
                  <a:pt x="1044437" y="1955743"/>
                  <a:pt x="1046089" y="1953884"/>
                </a:cubicBezTo>
                <a:close/>
                <a:moveTo>
                  <a:pt x="1592831" y="1952645"/>
                </a:moveTo>
                <a:cubicBezTo>
                  <a:pt x="1593347" y="1952800"/>
                  <a:pt x="1593967" y="1952955"/>
                  <a:pt x="1594586" y="1953264"/>
                </a:cubicBezTo>
                <a:cubicBezTo>
                  <a:pt x="1595825" y="1953729"/>
                  <a:pt x="1596961" y="1954194"/>
                  <a:pt x="1598200" y="1954659"/>
                </a:cubicBezTo>
                <a:cubicBezTo>
                  <a:pt x="1598200" y="1954659"/>
                  <a:pt x="1598200" y="1954659"/>
                  <a:pt x="1591798" y="1953264"/>
                </a:cubicBezTo>
                <a:cubicBezTo>
                  <a:pt x="1592004" y="1952800"/>
                  <a:pt x="1592418" y="1952645"/>
                  <a:pt x="1592831" y="1952645"/>
                </a:cubicBezTo>
                <a:close/>
                <a:moveTo>
                  <a:pt x="1031323" y="1952490"/>
                </a:moveTo>
                <a:cubicBezTo>
                  <a:pt x="1034421" y="1952490"/>
                  <a:pt x="1037209" y="1953419"/>
                  <a:pt x="1036280" y="1956827"/>
                </a:cubicBezTo>
                <a:cubicBezTo>
                  <a:pt x="1035970" y="1958066"/>
                  <a:pt x="1035660" y="1959150"/>
                  <a:pt x="1035247" y="1958531"/>
                </a:cubicBezTo>
                <a:cubicBezTo>
                  <a:pt x="1034524" y="1958996"/>
                  <a:pt x="1034008" y="1958376"/>
                  <a:pt x="1032872" y="1958222"/>
                </a:cubicBezTo>
                <a:cubicBezTo>
                  <a:pt x="1031220" y="1957292"/>
                  <a:pt x="1029878" y="1955433"/>
                  <a:pt x="1030188" y="1954194"/>
                </a:cubicBezTo>
                <a:cubicBezTo>
                  <a:pt x="1030498" y="1953110"/>
                  <a:pt x="1031323" y="1952490"/>
                  <a:pt x="1031323" y="1952490"/>
                </a:cubicBezTo>
                <a:close/>
                <a:moveTo>
                  <a:pt x="6104872" y="1952071"/>
                </a:moveTo>
                <a:cubicBezTo>
                  <a:pt x="6105939" y="1952213"/>
                  <a:pt x="6107647" y="1952356"/>
                  <a:pt x="6109781" y="1952782"/>
                </a:cubicBezTo>
                <a:cubicBezTo>
                  <a:pt x="6111275" y="1953067"/>
                  <a:pt x="6112768" y="1953920"/>
                  <a:pt x="6113835" y="1955058"/>
                </a:cubicBezTo>
                <a:cubicBezTo>
                  <a:pt x="6114903" y="1956197"/>
                  <a:pt x="6115756" y="1957762"/>
                  <a:pt x="6115970" y="1959611"/>
                </a:cubicBezTo>
                <a:cubicBezTo>
                  <a:pt x="6118104" y="1960892"/>
                  <a:pt x="6119598" y="1963879"/>
                  <a:pt x="6119598" y="1966582"/>
                </a:cubicBezTo>
                <a:cubicBezTo>
                  <a:pt x="6118531" y="1969855"/>
                  <a:pt x="6116610" y="1971135"/>
                  <a:pt x="6114903" y="1970708"/>
                </a:cubicBezTo>
                <a:lnTo>
                  <a:pt x="6107647" y="1968147"/>
                </a:lnTo>
                <a:lnTo>
                  <a:pt x="6107006" y="1968858"/>
                </a:lnTo>
                <a:cubicBezTo>
                  <a:pt x="6103164" y="1969570"/>
                  <a:pt x="6099323" y="1964164"/>
                  <a:pt x="6099110" y="1959611"/>
                </a:cubicBezTo>
                <a:lnTo>
                  <a:pt x="6099750" y="1956766"/>
                </a:lnTo>
                <a:lnTo>
                  <a:pt x="6099536" y="1956481"/>
                </a:lnTo>
                <a:cubicBezTo>
                  <a:pt x="6100817" y="1952782"/>
                  <a:pt x="6101031" y="1951786"/>
                  <a:pt x="6104872" y="1952071"/>
                </a:cubicBezTo>
                <a:close/>
                <a:moveTo>
                  <a:pt x="3658228" y="1951929"/>
                </a:moveTo>
                <a:cubicBezTo>
                  <a:pt x="3660789" y="1956055"/>
                  <a:pt x="3659082" y="1960322"/>
                  <a:pt x="3655667" y="1962884"/>
                </a:cubicBezTo>
                <a:cubicBezTo>
                  <a:pt x="3652466" y="1965587"/>
                  <a:pt x="3647557" y="1966725"/>
                  <a:pt x="3644142" y="1965017"/>
                </a:cubicBezTo>
                <a:cubicBezTo>
                  <a:pt x="3645636" y="1955912"/>
                  <a:pt x="3648411" y="1950506"/>
                  <a:pt x="3658228" y="1951929"/>
                </a:cubicBezTo>
                <a:close/>
                <a:moveTo>
                  <a:pt x="1278829" y="1951560"/>
                </a:moveTo>
                <a:cubicBezTo>
                  <a:pt x="1278932" y="1952490"/>
                  <a:pt x="1279861" y="1953110"/>
                  <a:pt x="1280687" y="1952955"/>
                </a:cubicBezTo>
                <a:cubicBezTo>
                  <a:pt x="1281616" y="1953729"/>
                  <a:pt x="1282546" y="1954504"/>
                  <a:pt x="1282546" y="1953574"/>
                </a:cubicBezTo>
                <a:cubicBezTo>
                  <a:pt x="1285334" y="1955743"/>
                  <a:pt x="1286160" y="1955588"/>
                  <a:pt x="1285437" y="1958222"/>
                </a:cubicBezTo>
                <a:cubicBezTo>
                  <a:pt x="1278415" y="1958376"/>
                  <a:pt x="1270362" y="1956207"/>
                  <a:pt x="1268503" y="1955588"/>
                </a:cubicBezTo>
                <a:cubicBezTo>
                  <a:pt x="1267677" y="1955278"/>
                  <a:pt x="1267161" y="1954968"/>
                  <a:pt x="1266954" y="1954504"/>
                </a:cubicBezTo>
                <a:cubicBezTo>
                  <a:pt x="1266851" y="1953884"/>
                  <a:pt x="1267057" y="1953264"/>
                  <a:pt x="1267470" y="1952335"/>
                </a:cubicBezTo>
                <a:cubicBezTo>
                  <a:pt x="1270774" y="1949393"/>
                  <a:pt x="1274389" y="1951406"/>
                  <a:pt x="1278829" y="1951560"/>
                </a:cubicBezTo>
                <a:close/>
                <a:moveTo>
                  <a:pt x="974532" y="1951406"/>
                </a:moveTo>
                <a:cubicBezTo>
                  <a:pt x="978869" y="1950321"/>
                  <a:pt x="984652" y="1955123"/>
                  <a:pt x="983722" y="1958531"/>
                </a:cubicBezTo>
                <a:cubicBezTo>
                  <a:pt x="976804" y="1968289"/>
                  <a:pt x="969163" y="1964882"/>
                  <a:pt x="970299" y="1958376"/>
                </a:cubicBezTo>
                <a:cubicBezTo>
                  <a:pt x="970609" y="1956362"/>
                  <a:pt x="971951" y="1953884"/>
                  <a:pt x="974532" y="1951406"/>
                </a:cubicBezTo>
                <a:close/>
                <a:moveTo>
                  <a:pt x="5826359" y="1951360"/>
                </a:moveTo>
                <a:cubicBezTo>
                  <a:pt x="5827639" y="1951502"/>
                  <a:pt x="5829774" y="1954063"/>
                  <a:pt x="5830841" y="1955486"/>
                </a:cubicBezTo>
                <a:cubicBezTo>
                  <a:pt x="5831908" y="1955628"/>
                  <a:pt x="5832975" y="1956908"/>
                  <a:pt x="5832975" y="1958189"/>
                </a:cubicBezTo>
                <a:cubicBezTo>
                  <a:pt x="5832975" y="1958189"/>
                  <a:pt x="5834042" y="1959611"/>
                  <a:pt x="5835109" y="1959754"/>
                </a:cubicBezTo>
                <a:lnTo>
                  <a:pt x="5836390" y="1962029"/>
                </a:lnTo>
                <a:lnTo>
                  <a:pt x="5836603" y="1961887"/>
                </a:lnTo>
                <a:cubicBezTo>
                  <a:pt x="5837457" y="1961319"/>
                  <a:pt x="5838310" y="1961034"/>
                  <a:pt x="5838951" y="1961461"/>
                </a:cubicBezTo>
                <a:cubicBezTo>
                  <a:pt x="5839805" y="1961746"/>
                  <a:pt x="5840018" y="1961887"/>
                  <a:pt x="5840232" y="1962172"/>
                </a:cubicBezTo>
                <a:cubicBezTo>
                  <a:pt x="5840658" y="1962599"/>
                  <a:pt x="5840872" y="1963168"/>
                  <a:pt x="5841085" y="1964306"/>
                </a:cubicBezTo>
                <a:cubicBezTo>
                  <a:pt x="5839165" y="1964448"/>
                  <a:pt x="5838310" y="1964448"/>
                  <a:pt x="5837457" y="1964306"/>
                </a:cubicBezTo>
                <a:lnTo>
                  <a:pt x="5837030" y="1964164"/>
                </a:lnTo>
                <a:lnTo>
                  <a:pt x="5837030" y="1964733"/>
                </a:lnTo>
                <a:lnTo>
                  <a:pt x="5835323" y="1963594"/>
                </a:lnTo>
                <a:lnTo>
                  <a:pt x="5834469" y="1963168"/>
                </a:lnTo>
                <a:lnTo>
                  <a:pt x="5834896" y="1963026"/>
                </a:lnTo>
                <a:lnTo>
                  <a:pt x="5832762" y="1960607"/>
                </a:lnTo>
                <a:cubicBezTo>
                  <a:pt x="5832762" y="1960607"/>
                  <a:pt x="5831481" y="1960322"/>
                  <a:pt x="5830414" y="1960038"/>
                </a:cubicBezTo>
                <a:cubicBezTo>
                  <a:pt x="5827213" y="1957192"/>
                  <a:pt x="5825079" y="1955770"/>
                  <a:pt x="5826359" y="1951360"/>
                </a:cubicBezTo>
                <a:close/>
                <a:moveTo>
                  <a:pt x="5331225" y="1951360"/>
                </a:moveTo>
                <a:cubicBezTo>
                  <a:pt x="5331866" y="1951645"/>
                  <a:pt x="5332079" y="1951929"/>
                  <a:pt x="5331866" y="1952213"/>
                </a:cubicBezTo>
                <a:cubicBezTo>
                  <a:pt x="5331866" y="1952640"/>
                  <a:pt x="5331652" y="1952925"/>
                  <a:pt x="5331866" y="1953493"/>
                </a:cubicBezTo>
                <a:cubicBezTo>
                  <a:pt x="5330371" y="1952925"/>
                  <a:pt x="5330371" y="1952925"/>
                  <a:pt x="5331225" y="1951360"/>
                </a:cubicBezTo>
                <a:close/>
                <a:moveTo>
                  <a:pt x="5216192" y="1951075"/>
                </a:moveTo>
                <a:cubicBezTo>
                  <a:pt x="5218326" y="1952071"/>
                  <a:pt x="5219393" y="1953493"/>
                  <a:pt x="5219820" y="1955058"/>
                </a:cubicBezTo>
                <a:cubicBezTo>
                  <a:pt x="5220461" y="1956766"/>
                  <a:pt x="5220461" y="1958615"/>
                  <a:pt x="5220247" y="1960607"/>
                </a:cubicBezTo>
                <a:lnTo>
                  <a:pt x="5220247" y="1963452"/>
                </a:lnTo>
                <a:lnTo>
                  <a:pt x="5220461" y="1963879"/>
                </a:lnTo>
                <a:lnTo>
                  <a:pt x="5221954" y="1966156"/>
                </a:lnTo>
                <a:cubicBezTo>
                  <a:pt x="5221954" y="1966156"/>
                  <a:pt x="5221954" y="1966156"/>
                  <a:pt x="5221954" y="1966440"/>
                </a:cubicBezTo>
                <a:lnTo>
                  <a:pt x="5221741" y="1966867"/>
                </a:lnTo>
                <a:lnTo>
                  <a:pt x="5222381" y="1968147"/>
                </a:lnTo>
                <a:cubicBezTo>
                  <a:pt x="5221741" y="1969855"/>
                  <a:pt x="5220887" y="1970423"/>
                  <a:pt x="5221314" y="1971420"/>
                </a:cubicBezTo>
                <a:cubicBezTo>
                  <a:pt x="5218966" y="1970850"/>
                  <a:pt x="5217686" y="1969570"/>
                  <a:pt x="5217046" y="1968147"/>
                </a:cubicBezTo>
                <a:lnTo>
                  <a:pt x="5215765" y="1969570"/>
                </a:lnTo>
                <a:cubicBezTo>
                  <a:pt x="5213845" y="1970423"/>
                  <a:pt x="5211923" y="1970282"/>
                  <a:pt x="5210003" y="1969570"/>
                </a:cubicBezTo>
                <a:cubicBezTo>
                  <a:pt x="5208295" y="1964306"/>
                  <a:pt x="5211070" y="1961319"/>
                  <a:pt x="5215338" y="1962172"/>
                </a:cubicBezTo>
                <a:lnTo>
                  <a:pt x="5215552" y="1962314"/>
                </a:lnTo>
                <a:lnTo>
                  <a:pt x="5215125" y="1959896"/>
                </a:lnTo>
                <a:cubicBezTo>
                  <a:pt x="5214698" y="1959184"/>
                  <a:pt x="5214058" y="1958615"/>
                  <a:pt x="5212991" y="1957904"/>
                </a:cubicBezTo>
                <a:cubicBezTo>
                  <a:pt x="5212991" y="1957904"/>
                  <a:pt x="5212991" y="1957904"/>
                  <a:pt x="5214058" y="1954632"/>
                </a:cubicBezTo>
                <a:lnTo>
                  <a:pt x="5214698" y="1954205"/>
                </a:lnTo>
                <a:cubicBezTo>
                  <a:pt x="5215338" y="1952498"/>
                  <a:pt x="5216406" y="1952071"/>
                  <a:pt x="5216192" y="1951075"/>
                </a:cubicBezTo>
                <a:close/>
                <a:moveTo>
                  <a:pt x="1380639" y="1950786"/>
                </a:moveTo>
                <a:lnTo>
                  <a:pt x="1379916" y="1953729"/>
                </a:lnTo>
                <a:lnTo>
                  <a:pt x="1379916" y="1958841"/>
                </a:lnTo>
                <a:lnTo>
                  <a:pt x="1382704" y="1959150"/>
                </a:lnTo>
                <a:lnTo>
                  <a:pt x="1382807" y="1959150"/>
                </a:lnTo>
                <a:close/>
                <a:moveTo>
                  <a:pt x="1100092" y="1949857"/>
                </a:moveTo>
                <a:cubicBezTo>
                  <a:pt x="1100092" y="1949857"/>
                  <a:pt x="1100092" y="1949857"/>
                  <a:pt x="1106391" y="1951560"/>
                </a:cubicBezTo>
                <a:cubicBezTo>
                  <a:pt x="1106184" y="1952180"/>
                  <a:pt x="1105771" y="1952180"/>
                  <a:pt x="1105255" y="1952180"/>
                </a:cubicBezTo>
                <a:cubicBezTo>
                  <a:pt x="1104738" y="1952025"/>
                  <a:pt x="1104119" y="1951871"/>
                  <a:pt x="1103500" y="1951560"/>
                </a:cubicBezTo>
                <a:cubicBezTo>
                  <a:pt x="1102364" y="1951096"/>
                  <a:pt x="1101228" y="1950476"/>
                  <a:pt x="1100092" y="1949857"/>
                </a:cubicBezTo>
                <a:close/>
                <a:moveTo>
                  <a:pt x="934263" y="1949393"/>
                </a:moveTo>
                <a:lnTo>
                  <a:pt x="937360" y="1950631"/>
                </a:lnTo>
                <a:lnTo>
                  <a:pt x="937670" y="1950012"/>
                </a:lnTo>
                <a:cubicBezTo>
                  <a:pt x="939322" y="1951871"/>
                  <a:pt x="941077" y="1951406"/>
                  <a:pt x="942729" y="1953264"/>
                </a:cubicBezTo>
                <a:lnTo>
                  <a:pt x="940355" y="1955588"/>
                </a:lnTo>
                <a:lnTo>
                  <a:pt x="940768" y="1957137"/>
                </a:lnTo>
                <a:lnTo>
                  <a:pt x="946860" y="1957912"/>
                </a:lnTo>
                <a:cubicBezTo>
                  <a:pt x="948925" y="1958376"/>
                  <a:pt x="950990" y="1959150"/>
                  <a:pt x="952642" y="1959926"/>
                </a:cubicBezTo>
                <a:cubicBezTo>
                  <a:pt x="945414" y="1967050"/>
                  <a:pt x="937773" y="1964882"/>
                  <a:pt x="930132" y="1962558"/>
                </a:cubicBezTo>
                <a:cubicBezTo>
                  <a:pt x="931061" y="1960700"/>
                  <a:pt x="932507" y="1959305"/>
                  <a:pt x="934263" y="1958376"/>
                </a:cubicBezTo>
                <a:lnTo>
                  <a:pt x="935192" y="1958222"/>
                </a:lnTo>
                <a:lnTo>
                  <a:pt x="933850" y="1958066"/>
                </a:lnTo>
                <a:cubicBezTo>
                  <a:pt x="926415" y="1958222"/>
                  <a:pt x="919187" y="1960545"/>
                  <a:pt x="914334" y="1956053"/>
                </a:cubicBezTo>
                <a:cubicBezTo>
                  <a:pt x="917432" y="1955433"/>
                  <a:pt x="921046" y="1953574"/>
                  <a:pt x="924556" y="1952025"/>
                </a:cubicBezTo>
                <a:cubicBezTo>
                  <a:pt x="927964" y="1950476"/>
                  <a:pt x="931475" y="1949237"/>
                  <a:pt x="934263" y="1949393"/>
                </a:cubicBezTo>
                <a:close/>
                <a:moveTo>
                  <a:pt x="5962734" y="1947661"/>
                </a:moveTo>
                <a:cubicBezTo>
                  <a:pt x="5963588" y="1947376"/>
                  <a:pt x="5964655" y="1947518"/>
                  <a:pt x="5966149" y="1948088"/>
                </a:cubicBezTo>
                <a:cubicBezTo>
                  <a:pt x="5966576" y="1953067"/>
                  <a:pt x="5958893" y="1957335"/>
                  <a:pt x="5954411" y="1955058"/>
                </a:cubicBezTo>
                <a:cubicBezTo>
                  <a:pt x="5959106" y="1952498"/>
                  <a:pt x="5960173" y="1948515"/>
                  <a:pt x="5962734" y="1947661"/>
                </a:cubicBezTo>
                <a:close/>
                <a:moveTo>
                  <a:pt x="1601195" y="1947533"/>
                </a:moveTo>
                <a:cubicBezTo>
                  <a:pt x="1604086" y="1945210"/>
                  <a:pt x="1604086" y="1945210"/>
                  <a:pt x="1608629" y="1949393"/>
                </a:cubicBezTo>
                <a:cubicBezTo>
                  <a:pt x="1609455" y="1950321"/>
                  <a:pt x="1609971" y="1951406"/>
                  <a:pt x="1610178" y="1952490"/>
                </a:cubicBezTo>
                <a:cubicBezTo>
                  <a:pt x="1610384" y="1953574"/>
                  <a:pt x="1610178" y="1954814"/>
                  <a:pt x="1609558" y="1956053"/>
                </a:cubicBezTo>
                <a:cubicBezTo>
                  <a:pt x="1610281" y="1957757"/>
                  <a:pt x="1609971" y="1960235"/>
                  <a:pt x="1608835" y="1961938"/>
                </a:cubicBezTo>
                <a:cubicBezTo>
                  <a:pt x="1606977" y="1963488"/>
                  <a:pt x="1605222" y="1963488"/>
                  <a:pt x="1604499" y="1962558"/>
                </a:cubicBezTo>
                <a:cubicBezTo>
                  <a:pt x="1600988" y="1959616"/>
                  <a:pt x="1600265" y="1956207"/>
                  <a:pt x="1600369" y="1953419"/>
                </a:cubicBezTo>
                <a:cubicBezTo>
                  <a:pt x="1600575" y="1950631"/>
                  <a:pt x="1601504" y="1948463"/>
                  <a:pt x="1601195" y="1947533"/>
                </a:cubicBezTo>
                <a:close/>
                <a:moveTo>
                  <a:pt x="1211609" y="1947533"/>
                </a:moveTo>
                <a:cubicBezTo>
                  <a:pt x="1212538" y="1948308"/>
                  <a:pt x="1212538" y="1948308"/>
                  <a:pt x="1212641" y="1949857"/>
                </a:cubicBezTo>
                <a:lnTo>
                  <a:pt x="1209937" y="1947828"/>
                </a:lnTo>
                <a:close/>
                <a:moveTo>
                  <a:pt x="5090274" y="1947234"/>
                </a:moveTo>
                <a:cubicBezTo>
                  <a:pt x="5091342" y="1946665"/>
                  <a:pt x="5092195" y="1948656"/>
                  <a:pt x="5092195" y="1948656"/>
                </a:cubicBezTo>
                <a:cubicBezTo>
                  <a:pt x="5093262" y="1948230"/>
                  <a:pt x="5094329" y="1947661"/>
                  <a:pt x="5095823" y="1948088"/>
                </a:cubicBezTo>
                <a:cubicBezTo>
                  <a:pt x="5095183" y="1949653"/>
                  <a:pt x="5096250" y="1949083"/>
                  <a:pt x="5096677" y="1950079"/>
                </a:cubicBezTo>
                <a:cubicBezTo>
                  <a:pt x="5095183" y="1949653"/>
                  <a:pt x="5091768" y="1951360"/>
                  <a:pt x="5089207" y="1951360"/>
                </a:cubicBezTo>
                <a:cubicBezTo>
                  <a:pt x="5088780" y="1950363"/>
                  <a:pt x="5087286" y="1949795"/>
                  <a:pt x="5086859" y="1948799"/>
                </a:cubicBezTo>
                <a:cubicBezTo>
                  <a:pt x="5087927" y="1948230"/>
                  <a:pt x="5089847" y="1946096"/>
                  <a:pt x="5090274" y="1947234"/>
                </a:cubicBezTo>
                <a:close/>
                <a:moveTo>
                  <a:pt x="5341683" y="1947091"/>
                </a:moveTo>
                <a:cubicBezTo>
                  <a:pt x="5344457" y="1951786"/>
                  <a:pt x="5339335" y="1954490"/>
                  <a:pt x="5336561" y="1952782"/>
                </a:cubicBezTo>
                <a:cubicBezTo>
                  <a:pt x="5335707" y="1952071"/>
                  <a:pt x="5335067" y="1951075"/>
                  <a:pt x="5334854" y="1949368"/>
                </a:cubicBezTo>
                <a:cubicBezTo>
                  <a:pt x="5336987" y="1948088"/>
                  <a:pt x="5338695" y="1947661"/>
                  <a:pt x="5341683" y="1947091"/>
                </a:cubicBezTo>
                <a:close/>
                <a:moveTo>
                  <a:pt x="1040100" y="1946914"/>
                </a:moveTo>
                <a:cubicBezTo>
                  <a:pt x="1040720" y="1946914"/>
                  <a:pt x="1041649" y="1947069"/>
                  <a:pt x="1042578" y="1946914"/>
                </a:cubicBezTo>
                <a:lnTo>
                  <a:pt x="1041649" y="1950321"/>
                </a:lnTo>
                <a:cubicBezTo>
                  <a:pt x="1040410" y="1950167"/>
                  <a:pt x="1038758" y="1949393"/>
                  <a:pt x="1039067" y="1948153"/>
                </a:cubicBezTo>
                <a:cubicBezTo>
                  <a:pt x="1039067" y="1947224"/>
                  <a:pt x="1039377" y="1947069"/>
                  <a:pt x="1040100" y="1946914"/>
                </a:cubicBezTo>
                <a:close/>
                <a:moveTo>
                  <a:pt x="5497052" y="1946665"/>
                </a:moveTo>
                <a:cubicBezTo>
                  <a:pt x="5497693" y="1947234"/>
                  <a:pt x="5497906" y="1947661"/>
                  <a:pt x="5497693" y="1947803"/>
                </a:cubicBezTo>
                <a:cubicBezTo>
                  <a:pt x="5497693" y="1947945"/>
                  <a:pt x="5497479" y="1947945"/>
                  <a:pt x="5496839" y="1947945"/>
                </a:cubicBezTo>
                <a:lnTo>
                  <a:pt x="5497266" y="1949653"/>
                </a:lnTo>
                <a:lnTo>
                  <a:pt x="5498974" y="1948656"/>
                </a:lnTo>
                <a:cubicBezTo>
                  <a:pt x="5501107" y="1947518"/>
                  <a:pt x="5503242" y="1946522"/>
                  <a:pt x="5505162" y="1946665"/>
                </a:cubicBezTo>
                <a:cubicBezTo>
                  <a:pt x="5506016" y="1946807"/>
                  <a:pt x="5506870" y="1947091"/>
                  <a:pt x="5507297" y="1947661"/>
                </a:cubicBezTo>
                <a:cubicBezTo>
                  <a:pt x="5507937" y="1948230"/>
                  <a:pt x="5508150" y="1949083"/>
                  <a:pt x="5507937" y="1950791"/>
                </a:cubicBezTo>
                <a:cubicBezTo>
                  <a:pt x="5508364" y="1953493"/>
                  <a:pt x="5507297" y="1954063"/>
                  <a:pt x="5503242" y="1953920"/>
                </a:cubicBezTo>
                <a:cubicBezTo>
                  <a:pt x="5501534" y="1953493"/>
                  <a:pt x="5500254" y="1953351"/>
                  <a:pt x="5498974" y="1953210"/>
                </a:cubicBezTo>
                <a:lnTo>
                  <a:pt x="5497693" y="1952640"/>
                </a:lnTo>
                <a:lnTo>
                  <a:pt x="5497693" y="1952925"/>
                </a:lnTo>
                <a:lnTo>
                  <a:pt x="5494278" y="1952782"/>
                </a:lnTo>
                <a:lnTo>
                  <a:pt x="5493211" y="1953067"/>
                </a:lnTo>
                <a:lnTo>
                  <a:pt x="5492998" y="1952782"/>
                </a:lnTo>
                <a:lnTo>
                  <a:pt x="5491717" y="1952782"/>
                </a:lnTo>
                <a:cubicBezTo>
                  <a:pt x="5492998" y="1951645"/>
                  <a:pt x="5492144" y="1949083"/>
                  <a:pt x="5493424" y="1947945"/>
                </a:cubicBezTo>
                <a:cubicBezTo>
                  <a:pt x="5493424" y="1947945"/>
                  <a:pt x="5497052" y="1946665"/>
                  <a:pt x="5497052" y="1946665"/>
                </a:cubicBezTo>
                <a:close/>
                <a:moveTo>
                  <a:pt x="6217131" y="1946380"/>
                </a:moveTo>
                <a:cubicBezTo>
                  <a:pt x="6218198" y="1945669"/>
                  <a:pt x="6219692" y="1945526"/>
                  <a:pt x="6221612" y="1946522"/>
                </a:cubicBezTo>
                <a:cubicBezTo>
                  <a:pt x="6223747" y="1949368"/>
                  <a:pt x="6227162" y="1951502"/>
                  <a:pt x="6228015" y="1955343"/>
                </a:cubicBezTo>
                <a:cubicBezTo>
                  <a:pt x="6228442" y="1956624"/>
                  <a:pt x="6228442" y="1958046"/>
                  <a:pt x="6228229" y="1959896"/>
                </a:cubicBezTo>
                <a:cubicBezTo>
                  <a:pt x="6223320" y="1959042"/>
                  <a:pt x="6219265" y="1959042"/>
                  <a:pt x="6215424" y="1959469"/>
                </a:cubicBezTo>
                <a:lnTo>
                  <a:pt x="6212009" y="1959896"/>
                </a:lnTo>
                <a:lnTo>
                  <a:pt x="6214356" y="1962741"/>
                </a:lnTo>
                <a:cubicBezTo>
                  <a:pt x="6215210" y="1964733"/>
                  <a:pt x="6215637" y="1967436"/>
                  <a:pt x="6215210" y="1970850"/>
                </a:cubicBezTo>
                <a:cubicBezTo>
                  <a:pt x="6213716" y="1978533"/>
                  <a:pt x="6209661" y="1986358"/>
                  <a:pt x="6197710" y="1984224"/>
                </a:cubicBezTo>
                <a:cubicBezTo>
                  <a:pt x="6195149" y="1984508"/>
                  <a:pt x="6196216" y="1983940"/>
                  <a:pt x="6194722" y="1983513"/>
                </a:cubicBezTo>
                <a:cubicBezTo>
                  <a:pt x="6193014" y="1983228"/>
                  <a:pt x="6190454" y="1983370"/>
                  <a:pt x="6189599" y="1983940"/>
                </a:cubicBezTo>
                <a:cubicBezTo>
                  <a:pt x="6190454" y="1977964"/>
                  <a:pt x="6186399" y="1977822"/>
                  <a:pt x="6188319" y="1968574"/>
                </a:cubicBezTo>
                <a:cubicBezTo>
                  <a:pt x="6189599" y="1959469"/>
                  <a:pt x="6194722" y="1955912"/>
                  <a:pt x="6199417" y="1954916"/>
                </a:cubicBezTo>
                <a:lnTo>
                  <a:pt x="6203472" y="1954774"/>
                </a:lnTo>
                <a:lnTo>
                  <a:pt x="6204539" y="1951218"/>
                </a:lnTo>
                <a:cubicBezTo>
                  <a:pt x="6211796" y="1955201"/>
                  <a:pt x="6213289" y="1948515"/>
                  <a:pt x="6217131" y="1946380"/>
                </a:cubicBezTo>
                <a:close/>
                <a:moveTo>
                  <a:pt x="1207892" y="1946294"/>
                </a:moveTo>
                <a:lnTo>
                  <a:pt x="1209937" y="1947828"/>
                </a:lnTo>
                <a:lnTo>
                  <a:pt x="1209854" y="1947843"/>
                </a:lnTo>
                <a:cubicBezTo>
                  <a:pt x="1208821" y="1947069"/>
                  <a:pt x="1207892" y="1946294"/>
                  <a:pt x="1207892" y="1946294"/>
                </a:cubicBezTo>
                <a:close/>
                <a:moveTo>
                  <a:pt x="5976820" y="1945811"/>
                </a:moveTo>
                <a:cubicBezTo>
                  <a:pt x="5977460" y="1945669"/>
                  <a:pt x="5978314" y="1946096"/>
                  <a:pt x="5979595" y="1947234"/>
                </a:cubicBezTo>
                <a:cubicBezTo>
                  <a:pt x="5981942" y="1948656"/>
                  <a:pt x="5981942" y="1949795"/>
                  <a:pt x="5979808" y="1953351"/>
                </a:cubicBezTo>
                <a:cubicBezTo>
                  <a:pt x="5977674" y="1955628"/>
                  <a:pt x="5976607" y="1958046"/>
                  <a:pt x="5975540" y="1957904"/>
                </a:cubicBezTo>
                <a:cubicBezTo>
                  <a:pt x="5975540" y="1959184"/>
                  <a:pt x="5974472" y="1960322"/>
                  <a:pt x="5974472" y="1961603"/>
                </a:cubicBezTo>
                <a:cubicBezTo>
                  <a:pt x="5974472" y="1961603"/>
                  <a:pt x="5974472" y="1961603"/>
                  <a:pt x="5973405" y="1961461"/>
                </a:cubicBezTo>
                <a:cubicBezTo>
                  <a:pt x="5974259" y="1956766"/>
                  <a:pt x="5972765" y="1950648"/>
                  <a:pt x="5974899" y="1947091"/>
                </a:cubicBezTo>
                <a:cubicBezTo>
                  <a:pt x="5975540" y="1946522"/>
                  <a:pt x="5975967" y="1945953"/>
                  <a:pt x="5976820" y="1945811"/>
                </a:cubicBezTo>
                <a:close/>
                <a:moveTo>
                  <a:pt x="5476351" y="1945100"/>
                </a:moveTo>
                <a:cubicBezTo>
                  <a:pt x="5477418" y="1944957"/>
                  <a:pt x="5478698" y="1945242"/>
                  <a:pt x="5480192" y="1946096"/>
                </a:cubicBezTo>
                <a:cubicBezTo>
                  <a:pt x="5482753" y="1952640"/>
                  <a:pt x="5476137" y="1961176"/>
                  <a:pt x="5468668" y="1958331"/>
                </a:cubicBezTo>
                <a:cubicBezTo>
                  <a:pt x="5468881" y="1955628"/>
                  <a:pt x="5468027" y="1953351"/>
                  <a:pt x="5468241" y="1950648"/>
                </a:cubicBezTo>
                <a:cubicBezTo>
                  <a:pt x="5471442" y="1949083"/>
                  <a:pt x="5472936" y="1945384"/>
                  <a:pt x="5476351" y="1945100"/>
                </a:cubicBezTo>
                <a:close/>
                <a:moveTo>
                  <a:pt x="4861061" y="1942681"/>
                </a:moveTo>
                <a:cubicBezTo>
                  <a:pt x="4861275" y="1943820"/>
                  <a:pt x="4862769" y="1946238"/>
                  <a:pt x="4861702" y="1947518"/>
                </a:cubicBezTo>
                <a:cubicBezTo>
                  <a:pt x="4860848" y="1948799"/>
                  <a:pt x="4860848" y="1948799"/>
                  <a:pt x="4858501" y="1948941"/>
                </a:cubicBezTo>
                <a:cubicBezTo>
                  <a:pt x="4859141" y="1945242"/>
                  <a:pt x="4859141" y="1945242"/>
                  <a:pt x="4861061" y="1942681"/>
                </a:cubicBezTo>
                <a:close/>
                <a:moveTo>
                  <a:pt x="5784955" y="1942397"/>
                </a:moveTo>
                <a:cubicBezTo>
                  <a:pt x="5784955" y="1942397"/>
                  <a:pt x="5784955" y="1942397"/>
                  <a:pt x="5787730" y="1942539"/>
                </a:cubicBezTo>
                <a:cubicBezTo>
                  <a:pt x="5788584" y="1943250"/>
                  <a:pt x="5789651" y="1943820"/>
                  <a:pt x="5789864" y="1945526"/>
                </a:cubicBezTo>
                <a:cubicBezTo>
                  <a:pt x="5790291" y="1947234"/>
                  <a:pt x="5788797" y="1949368"/>
                  <a:pt x="5788157" y="1950506"/>
                </a:cubicBezTo>
                <a:cubicBezTo>
                  <a:pt x="5787090" y="1949937"/>
                  <a:pt x="5786450" y="1950933"/>
                  <a:pt x="5785383" y="1950363"/>
                </a:cubicBezTo>
                <a:cubicBezTo>
                  <a:pt x="5782822" y="1950079"/>
                  <a:pt x="5782822" y="1950079"/>
                  <a:pt x="5782608" y="1948515"/>
                </a:cubicBezTo>
                <a:cubicBezTo>
                  <a:pt x="5782181" y="1946807"/>
                  <a:pt x="5785383" y="1944104"/>
                  <a:pt x="5784955" y="1942397"/>
                </a:cubicBezTo>
                <a:close/>
                <a:moveTo>
                  <a:pt x="903492" y="1942267"/>
                </a:moveTo>
                <a:cubicBezTo>
                  <a:pt x="904525" y="1941957"/>
                  <a:pt x="905660" y="1942267"/>
                  <a:pt x="907003" y="1942732"/>
                </a:cubicBezTo>
                <a:cubicBezTo>
                  <a:pt x="904318" y="1944126"/>
                  <a:pt x="903389" y="1944900"/>
                  <a:pt x="900704" y="1943661"/>
                </a:cubicBezTo>
                <a:cubicBezTo>
                  <a:pt x="901633" y="1943041"/>
                  <a:pt x="902563" y="1942422"/>
                  <a:pt x="903492" y="1942267"/>
                </a:cubicBezTo>
                <a:close/>
                <a:moveTo>
                  <a:pt x="4735144" y="1941827"/>
                </a:moveTo>
                <a:cubicBezTo>
                  <a:pt x="4737492" y="1941970"/>
                  <a:pt x="4739839" y="1943250"/>
                  <a:pt x="4742187" y="1947091"/>
                </a:cubicBezTo>
                <a:cubicBezTo>
                  <a:pt x="4740266" y="1952925"/>
                  <a:pt x="4736638" y="1951645"/>
                  <a:pt x="4733009" y="1950221"/>
                </a:cubicBezTo>
                <a:cubicBezTo>
                  <a:pt x="4735144" y="1946665"/>
                  <a:pt x="4730449" y="1944104"/>
                  <a:pt x="4735144" y="1941827"/>
                </a:cubicBezTo>
                <a:close/>
                <a:moveTo>
                  <a:pt x="1199838" y="1941647"/>
                </a:moveTo>
                <a:cubicBezTo>
                  <a:pt x="1200767" y="1942422"/>
                  <a:pt x="1200767" y="1943351"/>
                  <a:pt x="1201696" y="1943971"/>
                </a:cubicBezTo>
                <a:cubicBezTo>
                  <a:pt x="1202522" y="1943816"/>
                  <a:pt x="1204277" y="1943661"/>
                  <a:pt x="1205207" y="1944281"/>
                </a:cubicBezTo>
                <a:cubicBezTo>
                  <a:pt x="1206033" y="1945055"/>
                  <a:pt x="1207065" y="1946604"/>
                  <a:pt x="1207065" y="1946604"/>
                </a:cubicBezTo>
                <a:cubicBezTo>
                  <a:pt x="1206239" y="1947533"/>
                  <a:pt x="1206239" y="1947533"/>
                  <a:pt x="1206239" y="1946759"/>
                </a:cubicBezTo>
                <a:cubicBezTo>
                  <a:pt x="1204381" y="1946139"/>
                  <a:pt x="1205207" y="1945984"/>
                  <a:pt x="1204381" y="1945210"/>
                </a:cubicBezTo>
                <a:cubicBezTo>
                  <a:pt x="1203452" y="1944590"/>
                  <a:pt x="1199115" y="1943506"/>
                  <a:pt x="1198289" y="1944436"/>
                </a:cubicBezTo>
                <a:cubicBezTo>
                  <a:pt x="1198186" y="1943661"/>
                  <a:pt x="1197256" y="1942886"/>
                  <a:pt x="1197256" y="1942886"/>
                </a:cubicBezTo>
                <a:cubicBezTo>
                  <a:pt x="1198082" y="1941957"/>
                  <a:pt x="1198908" y="1941802"/>
                  <a:pt x="1199838" y="1941647"/>
                </a:cubicBezTo>
                <a:close/>
                <a:moveTo>
                  <a:pt x="1320751" y="1941182"/>
                </a:moveTo>
                <a:cubicBezTo>
                  <a:pt x="1321576" y="1941957"/>
                  <a:pt x="1321473" y="1942886"/>
                  <a:pt x="1322299" y="1943661"/>
                </a:cubicBezTo>
                <a:cubicBezTo>
                  <a:pt x="1323229" y="1943661"/>
                  <a:pt x="1324984" y="1943506"/>
                  <a:pt x="1325707" y="1944436"/>
                </a:cubicBezTo>
                <a:cubicBezTo>
                  <a:pt x="1326533" y="1945210"/>
                  <a:pt x="1327359" y="1946759"/>
                  <a:pt x="1327359" y="1946759"/>
                </a:cubicBezTo>
                <a:cubicBezTo>
                  <a:pt x="1326430" y="1947688"/>
                  <a:pt x="1326430" y="1947688"/>
                  <a:pt x="1326430" y="1946759"/>
                </a:cubicBezTo>
                <a:cubicBezTo>
                  <a:pt x="1324777" y="1945984"/>
                  <a:pt x="1325707" y="1945984"/>
                  <a:pt x="1324881" y="1945210"/>
                </a:cubicBezTo>
                <a:cubicBezTo>
                  <a:pt x="1324055" y="1944436"/>
                  <a:pt x="1319821" y="1942886"/>
                  <a:pt x="1318892" y="1943816"/>
                </a:cubicBezTo>
                <a:cubicBezTo>
                  <a:pt x="1318995" y="1942886"/>
                  <a:pt x="1318169" y="1942112"/>
                  <a:pt x="1318169" y="1942112"/>
                </a:cubicBezTo>
                <a:cubicBezTo>
                  <a:pt x="1318995" y="1941337"/>
                  <a:pt x="1319821" y="1941182"/>
                  <a:pt x="1320751" y="1941182"/>
                </a:cubicBezTo>
                <a:close/>
                <a:moveTo>
                  <a:pt x="1183833" y="1940873"/>
                </a:moveTo>
                <a:cubicBezTo>
                  <a:pt x="1184659" y="1942886"/>
                  <a:pt x="1184762" y="1945055"/>
                  <a:pt x="1184452" y="1947069"/>
                </a:cubicBezTo>
                <a:lnTo>
                  <a:pt x="1182594" y="1952645"/>
                </a:lnTo>
                <a:lnTo>
                  <a:pt x="1185588" y="1952180"/>
                </a:lnTo>
                <a:cubicBezTo>
                  <a:pt x="1186931" y="1952180"/>
                  <a:pt x="1188169" y="1952490"/>
                  <a:pt x="1188996" y="1953419"/>
                </a:cubicBezTo>
                <a:cubicBezTo>
                  <a:pt x="1188996" y="1953419"/>
                  <a:pt x="1188996" y="1953419"/>
                  <a:pt x="1189822" y="1954349"/>
                </a:cubicBezTo>
                <a:cubicBezTo>
                  <a:pt x="1188583" y="1954194"/>
                  <a:pt x="1187034" y="1954039"/>
                  <a:pt x="1185692" y="1953729"/>
                </a:cubicBezTo>
                <a:lnTo>
                  <a:pt x="1182491" y="1952800"/>
                </a:lnTo>
                <a:lnTo>
                  <a:pt x="1182387" y="1953110"/>
                </a:lnTo>
                <a:cubicBezTo>
                  <a:pt x="1180425" y="1956982"/>
                  <a:pt x="1177431" y="1960390"/>
                  <a:pt x="1174953" y="1962404"/>
                </a:cubicBezTo>
                <a:cubicBezTo>
                  <a:pt x="1174230" y="1960390"/>
                  <a:pt x="1174024" y="1958222"/>
                  <a:pt x="1174230" y="1956053"/>
                </a:cubicBezTo>
                <a:cubicBezTo>
                  <a:pt x="1174953" y="1949547"/>
                  <a:pt x="1179393" y="1942886"/>
                  <a:pt x="1183833" y="1940873"/>
                </a:cubicBezTo>
                <a:close/>
                <a:moveTo>
                  <a:pt x="3583531" y="1940689"/>
                </a:moveTo>
                <a:cubicBezTo>
                  <a:pt x="3585878" y="1940832"/>
                  <a:pt x="3588226" y="1941401"/>
                  <a:pt x="3590574" y="1942255"/>
                </a:cubicBezTo>
                <a:cubicBezTo>
                  <a:pt x="3591854" y="1946807"/>
                  <a:pt x="3591214" y="1950791"/>
                  <a:pt x="3589720" y="1954063"/>
                </a:cubicBezTo>
                <a:lnTo>
                  <a:pt x="3587373" y="1956055"/>
                </a:lnTo>
                <a:lnTo>
                  <a:pt x="3590360" y="1963168"/>
                </a:lnTo>
                <a:cubicBezTo>
                  <a:pt x="3591428" y="1965160"/>
                  <a:pt x="3591854" y="1966867"/>
                  <a:pt x="3589933" y="1969001"/>
                </a:cubicBezTo>
                <a:cubicBezTo>
                  <a:pt x="3587586" y="1968290"/>
                  <a:pt x="3586092" y="1965444"/>
                  <a:pt x="3585452" y="1962457"/>
                </a:cubicBezTo>
                <a:lnTo>
                  <a:pt x="3585238" y="1958189"/>
                </a:lnTo>
                <a:lnTo>
                  <a:pt x="3582250" y="1960892"/>
                </a:lnTo>
                <a:cubicBezTo>
                  <a:pt x="3576061" y="1963452"/>
                  <a:pt x="3568165" y="1961603"/>
                  <a:pt x="3563043" y="1952925"/>
                </a:cubicBezTo>
                <a:cubicBezTo>
                  <a:pt x="3567524" y="1946665"/>
                  <a:pt x="3572006" y="1943108"/>
                  <a:pt x="3576488" y="1941543"/>
                </a:cubicBezTo>
                <a:cubicBezTo>
                  <a:pt x="3578836" y="1940689"/>
                  <a:pt x="3581183" y="1940547"/>
                  <a:pt x="3583531" y="1940689"/>
                </a:cubicBezTo>
                <a:close/>
                <a:moveTo>
                  <a:pt x="3933539" y="1939979"/>
                </a:moveTo>
                <a:lnTo>
                  <a:pt x="3935887" y="1943250"/>
                </a:lnTo>
                <a:cubicBezTo>
                  <a:pt x="3936527" y="1945242"/>
                  <a:pt x="3936741" y="1946950"/>
                  <a:pt x="3936741" y="1948799"/>
                </a:cubicBezTo>
                <a:cubicBezTo>
                  <a:pt x="3936741" y="1948799"/>
                  <a:pt x="3936741" y="1948799"/>
                  <a:pt x="3936741" y="1947661"/>
                </a:cubicBezTo>
                <a:lnTo>
                  <a:pt x="3940369" y="1944957"/>
                </a:lnTo>
                <a:lnTo>
                  <a:pt x="3939942" y="1944389"/>
                </a:lnTo>
                <a:cubicBezTo>
                  <a:pt x="3937808" y="1942539"/>
                  <a:pt x="3935887" y="1941116"/>
                  <a:pt x="3933966" y="1940120"/>
                </a:cubicBezTo>
                <a:close/>
                <a:moveTo>
                  <a:pt x="4860635" y="1939267"/>
                </a:moveTo>
                <a:cubicBezTo>
                  <a:pt x="4861702" y="1939125"/>
                  <a:pt x="4861915" y="1940405"/>
                  <a:pt x="4861061" y="1941827"/>
                </a:cubicBezTo>
                <a:cubicBezTo>
                  <a:pt x="4861061" y="1941827"/>
                  <a:pt x="4859994" y="1941827"/>
                  <a:pt x="4859994" y="1941827"/>
                </a:cubicBezTo>
                <a:cubicBezTo>
                  <a:pt x="4859781" y="1940547"/>
                  <a:pt x="4859568" y="1939267"/>
                  <a:pt x="4860635" y="1939267"/>
                </a:cubicBezTo>
                <a:close/>
                <a:moveTo>
                  <a:pt x="1093174" y="1939014"/>
                </a:moveTo>
                <a:cubicBezTo>
                  <a:pt x="1095032" y="1940563"/>
                  <a:pt x="1098646" y="1941647"/>
                  <a:pt x="1097924" y="1945055"/>
                </a:cubicBezTo>
                <a:cubicBezTo>
                  <a:pt x="1096581" y="1943971"/>
                  <a:pt x="1093587" y="1942267"/>
                  <a:pt x="1092967" y="1940563"/>
                </a:cubicBezTo>
                <a:cubicBezTo>
                  <a:pt x="1092761" y="1940098"/>
                  <a:pt x="1092761" y="1939479"/>
                  <a:pt x="1093174" y="1939014"/>
                </a:cubicBezTo>
                <a:close/>
                <a:moveTo>
                  <a:pt x="6075847" y="1938982"/>
                </a:moveTo>
                <a:cubicBezTo>
                  <a:pt x="6074566" y="1941970"/>
                  <a:pt x="6072432" y="1944531"/>
                  <a:pt x="6070084" y="1946665"/>
                </a:cubicBezTo>
                <a:lnTo>
                  <a:pt x="6063895" y="1950791"/>
                </a:lnTo>
                <a:lnTo>
                  <a:pt x="6064322" y="1954347"/>
                </a:lnTo>
                <a:lnTo>
                  <a:pt x="6067737" y="1949083"/>
                </a:lnTo>
                <a:cubicBezTo>
                  <a:pt x="6073499" y="1943108"/>
                  <a:pt x="6081609" y="1941970"/>
                  <a:pt x="6089719" y="1940832"/>
                </a:cubicBezTo>
                <a:cubicBezTo>
                  <a:pt x="6089506" y="1946807"/>
                  <a:pt x="6085451" y="1950933"/>
                  <a:pt x="6079902" y="1953493"/>
                </a:cubicBezTo>
                <a:lnTo>
                  <a:pt x="6064536" y="1956481"/>
                </a:lnTo>
                <a:lnTo>
                  <a:pt x="6064536" y="1960038"/>
                </a:lnTo>
                <a:cubicBezTo>
                  <a:pt x="6062615" y="1961603"/>
                  <a:pt x="6061121" y="1961746"/>
                  <a:pt x="6059627" y="1961034"/>
                </a:cubicBezTo>
                <a:lnTo>
                  <a:pt x="6057066" y="1959184"/>
                </a:lnTo>
                <a:lnTo>
                  <a:pt x="6056426" y="1966440"/>
                </a:lnTo>
                <a:cubicBezTo>
                  <a:pt x="6052584" y="1963168"/>
                  <a:pt x="6053224" y="1957904"/>
                  <a:pt x="6044047" y="1957335"/>
                </a:cubicBezTo>
                <a:lnTo>
                  <a:pt x="6047889" y="1953493"/>
                </a:lnTo>
                <a:lnTo>
                  <a:pt x="6047035" y="1953493"/>
                </a:lnTo>
                <a:lnTo>
                  <a:pt x="6051517" y="1947518"/>
                </a:lnTo>
                <a:lnTo>
                  <a:pt x="6051944" y="1945811"/>
                </a:lnTo>
                <a:cubicBezTo>
                  <a:pt x="6051944" y="1943962"/>
                  <a:pt x="6052157" y="1941827"/>
                  <a:pt x="6054078" y="1940262"/>
                </a:cubicBezTo>
                <a:lnTo>
                  <a:pt x="6059413" y="1942255"/>
                </a:lnTo>
                <a:lnTo>
                  <a:pt x="6060480" y="1941543"/>
                </a:lnTo>
                <a:cubicBezTo>
                  <a:pt x="6066030" y="1939409"/>
                  <a:pt x="6071792" y="1938698"/>
                  <a:pt x="6075847" y="1938982"/>
                </a:cubicBezTo>
                <a:close/>
                <a:moveTo>
                  <a:pt x="3659722" y="1938982"/>
                </a:moveTo>
                <a:cubicBezTo>
                  <a:pt x="3661642" y="1941827"/>
                  <a:pt x="3663990" y="1943535"/>
                  <a:pt x="3664844" y="1944957"/>
                </a:cubicBezTo>
                <a:cubicBezTo>
                  <a:pt x="3662069" y="1949226"/>
                  <a:pt x="3658441" y="1949510"/>
                  <a:pt x="3655453" y="1945242"/>
                </a:cubicBezTo>
                <a:cubicBezTo>
                  <a:pt x="3658014" y="1943393"/>
                  <a:pt x="3657161" y="1940832"/>
                  <a:pt x="3659722" y="1938982"/>
                </a:cubicBezTo>
                <a:close/>
                <a:moveTo>
                  <a:pt x="1218630" y="1938704"/>
                </a:moveTo>
                <a:cubicBezTo>
                  <a:pt x="1224103" y="1940253"/>
                  <a:pt x="1241966" y="1942577"/>
                  <a:pt x="1240727" y="1949393"/>
                </a:cubicBezTo>
                <a:cubicBezTo>
                  <a:pt x="1234532" y="1948153"/>
                  <a:pt x="1217804" y="1948308"/>
                  <a:pt x="1218630" y="1938704"/>
                </a:cubicBezTo>
                <a:close/>
                <a:moveTo>
                  <a:pt x="6011181" y="1938414"/>
                </a:moveTo>
                <a:cubicBezTo>
                  <a:pt x="6015876" y="1938555"/>
                  <a:pt x="6019077" y="1940262"/>
                  <a:pt x="6021211" y="1941259"/>
                </a:cubicBezTo>
                <a:lnTo>
                  <a:pt x="6020998" y="1949510"/>
                </a:lnTo>
                <a:lnTo>
                  <a:pt x="6027400" y="1953920"/>
                </a:lnTo>
                <a:cubicBezTo>
                  <a:pt x="6027187" y="1962457"/>
                  <a:pt x="6014382" y="1971135"/>
                  <a:pt x="6007766" y="1970423"/>
                </a:cubicBezTo>
                <a:lnTo>
                  <a:pt x="6005418" y="1967151"/>
                </a:lnTo>
                <a:lnTo>
                  <a:pt x="6004138" y="1967863"/>
                </a:lnTo>
                <a:lnTo>
                  <a:pt x="5999016" y="1969428"/>
                </a:lnTo>
                <a:lnTo>
                  <a:pt x="5999442" y="1969997"/>
                </a:lnTo>
                <a:cubicBezTo>
                  <a:pt x="5999656" y="1970993"/>
                  <a:pt x="5999229" y="1972273"/>
                  <a:pt x="5998162" y="1973269"/>
                </a:cubicBezTo>
                <a:cubicBezTo>
                  <a:pt x="5996028" y="1976826"/>
                  <a:pt x="5992613" y="1976541"/>
                  <a:pt x="5988985" y="1975261"/>
                </a:cubicBezTo>
                <a:cubicBezTo>
                  <a:pt x="5986638" y="1976257"/>
                  <a:pt x="5985570" y="1978675"/>
                  <a:pt x="5983223" y="1977395"/>
                </a:cubicBezTo>
                <a:cubicBezTo>
                  <a:pt x="5986638" y="1975118"/>
                  <a:pt x="5987704" y="1973980"/>
                  <a:pt x="5990052" y="1972842"/>
                </a:cubicBezTo>
                <a:cubicBezTo>
                  <a:pt x="5990052" y="1971704"/>
                  <a:pt x="5990052" y="1970566"/>
                  <a:pt x="5991119" y="1969428"/>
                </a:cubicBezTo>
                <a:lnTo>
                  <a:pt x="5993254" y="1968574"/>
                </a:lnTo>
                <a:lnTo>
                  <a:pt x="5992826" y="1967009"/>
                </a:lnTo>
                <a:cubicBezTo>
                  <a:pt x="5992400" y="1965871"/>
                  <a:pt x="5991973" y="1964876"/>
                  <a:pt x="5991119" y="1963737"/>
                </a:cubicBezTo>
                <a:cubicBezTo>
                  <a:pt x="5994747" y="1963026"/>
                  <a:pt x="5997309" y="1961887"/>
                  <a:pt x="5999656" y="1960892"/>
                </a:cubicBezTo>
                <a:lnTo>
                  <a:pt x="6003284" y="1960322"/>
                </a:lnTo>
                <a:lnTo>
                  <a:pt x="6003284" y="1959896"/>
                </a:lnTo>
                <a:cubicBezTo>
                  <a:pt x="6003711" y="1957477"/>
                  <a:pt x="6004778" y="1955343"/>
                  <a:pt x="6006699" y="1953493"/>
                </a:cubicBezTo>
                <a:lnTo>
                  <a:pt x="6008620" y="1952213"/>
                </a:lnTo>
                <a:cubicBezTo>
                  <a:pt x="6006058" y="1948941"/>
                  <a:pt x="6006058" y="1942966"/>
                  <a:pt x="6011181" y="1938414"/>
                </a:cubicBezTo>
                <a:close/>
                <a:moveTo>
                  <a:pt x="5680167" y="1938271"/>
                </a:moveTo>
                <a:cubicBezTo>
                  <a:pt x="5681447" y="1939267"/>
                  <a:pt x="5684221" y="1942681"/>
                  <a:pt x="5682514" y="1946380"/>
                </a:cubicBezTo>
                <a:cubicBezTo>
                  <a:pt x="5681447" y="1948088"/>
                  <a:pt x="5681447" y="1949937"/>
                  <a:pt x="5681447" y="1951645"/>
                </a:cubicBezTo>
                <a:lnTo>
                  <a:pt x="5681020" y="1953778"/>
                </a:lnTo>
                <a:lnTo>
                  <a:pt x="5682514" y="1952498"/>
                </a:lnTo>
                <a:cubicBezTo>
                  <a:pt x="5692332" y="1945669"/>
                  <a:pt x="5703430" y="1941401"/>
                  <a:pt x="5714954" y="1942824"/>
                </a:cubicBezTo>
                <a:cubicBezTo>
                  <a:pt x="5733735" y="1945100"/>
                  <a:pt x="5736936" y="1960322"/>
                  <a:pt x="5750382" y="1971704"/>
                </a:cubicBezTo>
                <a:cubicBezTo>
                  <a:pt x="5746754" y="1978675"/>
                  <a:pt x="5746327" y="1983513"/>
                  <a:pt x="5747181" y="1987781"/>
                </a:cubicBezTo>
                <a:lnTo>
                  <a:pt x="5748034" y="1990768"/>
                </a:lnTo>
                <a:lnTo>
                  <a:pt x="5754650" y="1993045"/>
                </a:lnTo>
                <a:cubicBezTo>
                  <a:pt x="5754437" y="1997171"/>
                  <a:pt x="5754010" y="2000016"/>
                  <a:pt x="5753156" y="2001866"/>
                </a:cubicBezTo>
                <a:lnTo>
                  <a:pt x="5749955" y="2004853"/>
                </a:lnTo>
                <a:lnTo>
                  <a:pt x="5751235" y="2006844"/>
                </a:lnTo>
                <a:cubicBezTo>
                  <a:pt x="5752516" y="2015096"/>
                  <a:pt x="5745046" y="2023063"/>
                  <a:pt x="5739711" y="2028611"/>
                </a:cubicBezTo>
                <a:cubicBezTo>
                  <a:pt x="5736083" y="2032595"/>
                  <a:pt x="5732028" y="2036437"/>
                  <a:pt x="5728186" y="2036437"/>
                </a:cubicBezTo>
                <a:cubicBezTo>
                  <a:pt x="5726905" y="2036437"/>
                  <a:pt x="5725625" y="2036010"/>
                  <a:pt x="5724558" y="2035014"/>
                </a:cubicBezTo>
                <a:lnTo>
                  <a:pt x="5723277" y="2033449"/>
                </a:lnTo>
                <a:lnTo>
                  <a:pt x="5721570" y="2032880"/>
                </a:lnTo>
                <a:lnTo>
                  <a:pt x="5709618" y="2035725"/>
                </a:lnTo>
                <a:lnTo>
                  <a:pt x="5714314" y="2036437"/>
                </a:lnTo>
                <a:cubicBezTo>
                  <a:pt x="5713033" y="2036294"/>
                  <a:pt x="5713033" y="2036294"/>
                  <a:pt x="5713033" y="2036294"/>
                </a:cubicBezTo>
                <a:cubicBezTo>
                  <a:pt x="5711966" y="2037432"/>
                  <a:pt x="5713033" y="2037574"/>
                  <a:pt x="5713246" y="2038713"/>
                </a:cubicBezTo>
                <a:cubicBezTo>
                  <a:pt x="5713246" y="2038713"/>
                  <a:pt x="5713033" y="2037574"/>
                  <a:pt x="5714314" y="2038713"/>
                </a:cubicBezTo>
                <a:cubicBezTo>
                  <a:pt x="5713246" y="2038713"/>
                  <a:pt x="5713246" y="2039993"/>
                  <a:pt x="5713246" y="2041131"/>
                </a:cubicBezTo>
                <a:cubicBezTo>
                  <a:pt x="5711113" y="2043408"/>
                  <a:pt x="5707698" y="2045684"/>
                  <a:pt x="5705350" y="2044403"/>
                </a:cubicBezTo>
                <a:cubicBezTo>
                  <a:pt x="5704070" y="2043123"/>
                  <a:pt x="5703643" y="2041985"/>
                  <a:pt x="5703856" y="2040847"/>
                </a:cubicBezTo>
                <a:lnTo>
                  <a:pt x="5704497" y="2039282"/>
                </a:lnTo>
                <a:lnTo>
                  <a:pt x="5702789" y="2037290"/>
                </a:lnTo>
                <a:lnTo>
                  <a:pt x="5689130" y="2040705"/>
                </a:lnTo>
                <a:cubicBezTo>
                  <a:pt x="5680380" y="2028327"/>
                  <a:pt x="5656477" y="2025908"/>
                  <a:pt x="5654556" y="2007698"/>
                </a:cubicBezTo>
                <a:lnTo>
                  <a:pt x="5654983" y="2006276"/>
                </a:lnTo>
                <a:lnTo>
                  <a:pt x="5653489" y="2004568"/>
                </a:lnTo>
                <a:cubicBezTo>
                  <a:pt x="5652208" y="2002149"/>
                  <a:pt x="5651355" y="1999447"/>
                  <a:pt x="5651568" y="1996317"/>
                </a:cubicBezTo>
                <a:cubicBezTo>
                  <a:pt x="5652849" y="1994752"/>
                  <a:pt x="5654770" y="1993898"/>
                  <a:pt x="5656904" y="1993472"/>
                </a:cubicBezTo>
                <a:lnTo>
                  <a:pt x="5658398" y="1993472"/>
                </a:lnTo>
                <a:lnTo>
                  <a:pt x="5658611" y="1991053"/>
                </a:lnTo>
                <a:cubicBezTo>
                  <a:pt x="5658398" y="1986500"/>
                  <a:pt x="5657331" y="1982374"/>
                  <a:pt x="5657971" y="1977537"/>
                </a:cubicBezTo>
                <a:cubicBezTo>
                  <a:pt x="5661172" y="1973127"/>
                  <a:pt x="5664800" y="1968574"/>
                  <a:pt x="5668855" y="1964306"/>
                </a:cubicBezTo>
                <a:lnTo>
                  <a:pt x="5679100" y="1955486"/>
                </a:lnTo>
                <a:lnTo>
                  <a:pt x="5679100" y="1947091"/>
                </a:lnTo>
                <a:cubicBezTo>
                  <a:pt x="5678886" y="1944246"/>
                  <a:pt x="5678673" y="1941259"/>
                  <a:pt x="5680167" y="1938271"/>
                </a:cubicBezTo>
                <a:close/>
                <a:moveTo>
                  <a:pt x="1268090" y="1937465"/>
                </a:moveTo>
                <a:lnTo>
                  <a:pt x="1267780" y="1937620"/>
                </a:lnTo>
                <a:lnTo>
                  <a:pt x="1267780" y="1937775"/>
                </a:lnTo>
                <a:lnTo>
                  <a:pt x="1267987" y="1939169"/>
                </a:lnTo>
                <a:close/>
                <a:moveTo>
                  <a:pt x="6330457" y="1936990"/>
                </a:moveTo>
                <a:cubicBezTo>
                  <a:pt x="6333231" y="1944957"/>
                  <a:pt x="6332591" y="1948941"/>
                  <a:pt x="6330670" y="1950363"/>
                </a:cubicBezTo>
                <a:cubicBezTo>
                  <a:pt x="6324481" y="1954490"/>
                  <a:pt x="6305914" y="1935852"/>
                  <a:pt x="6330457" y="1936990"/>
                </a:cubicBezTo>
                <a:close/>
                <a:moveTo>
                  <a:pt x="5562359" y="1936848"/>
                </a:moveTo>
                <a:cubicBezTo>
                  <a:pt x="5563640" y="1936848"/>
                  <a:pt x="5564707" y="1937133"/>
                  <a:pt x="5565774" y="1937560"/>
                </a:cubicBezTo>
                <a:cubicBezTo>
                  <a:pt x="5564920" y="1939979"/>
                  <a:pt x="5564066" y="1942397"/>
                  <a:pt x="5563212" y="1944815"/>
                </a:cubicBezTo>
                <a:cubicBezTo>
                  <a:pt x="5562999" y="1943677"/>
                  <a:pt x="5552969" y="1946522"/>
                  <a:pt x="5552969" y="1946522"/>
                </a:cubicBezTo>
                <a:cubicBezTo>
                  <a:pt x="5550407" y="1944389"/>
                  <a:pt x="5550407" y="1944389"/>
                  <a:pt x="5552115" y="1940689"/>
                </a:cubicBezTo>
                <a:cubicBezTo>
                  <a:pt x="5553182" y="1939552"/>
                  <a:pt x="5555743" y="1938271"/>
                  <a:pt x="5558304" y="1937560"/>
                </a:cubicBezTo>
                <a:cubicBezTo>
                  <a:pt x="5559584" y="1937133"/>
                  <a:pt x="5561078" y="1936848"/>
                  <a:pt x="5562359" y="1936848"/>
                </a:cubicBezTo>
                <a:close/>
                <a:moveTo>
                  <a:pt x="1044540" y="1936846"/>
                </a:moveTo>
                <a:cubicBezTo>
                  <a:pt x="1045676" y="1937000"/>
                  <a:pt x="1048464" y="1938085"/>
                  <a:pt x="1047741" y="1938550"/>
                </a:cubicBezTo>
                <a:cubicBezTo>
                  <a:pt x="1047431" y="1939789"/>
                  <a:pt x="1048154" y="1939324"/>
                  <a:pt x="1048670" y="1939943"/>
                </a:cubicBezTo>
                <a:cubicBezTo>
                  <a:pt x="1047741" y="1943506"/>
                  <a:pt x="1045986" y="1945674"/>
                  <a:pt x="1042888" y="1945674"/>
                </a:cubicBezTo>
                <a:cubicBezTo>
                  <a:pt x="1040513" y="1945365"/>
                  <a:pt x="1037003" y="1944745"/>
                  <a:pt x="1037106" y="1941802"/>
                </a:cubicBezTo>
                <a:cubicBezTo>
                  <a:pt x="1037828" y="1941337"/>
                  <a:pt x="1037416" y="1940563"/>
                  <a:pt x="1038138" y="1940098"/>
                </a:cubicBezTo>
                <a:cubicBezTo>
                  <a:pt x="1038138" y="1940098"/>
                  <a:pt x="1038655" y="1939324"/>
                  <a:pt x="1039687" y="1938550"/>
                </a:cubicBezTo>
                <a:cubicBezTo>
                  <a:pt x="1040720" y="1937620"/>
                  <a:pt x="1042372" y="1936846"/>
                  <a:pt x="1044540" y="1936846"/>
                </a:cubicBezTo>
                <a:close/>
                <a:moveTo>
                  <a:pt x="3570726" y="1936137"/>
                </a:moveTo>
                <a:cubicBezTo>
                  <a:pt x="3568378" y="1939979"/>
                  <a:pt x="3561762" y="1945811"/>
                  <a:pt x="3560268" y="1945242"/>
                </a:cubicBezTo>
                <a:cubicBezTo>
                  <a:pt x="3561975" y="1943108"/>
                  <a:pt x="3568165" y="1936137"/>
                  <a:pt x="3570726" y="1936137"/>
                </a:cubicBezTo>
                <a:close/>
                <a:moveTo>
                  <a:pt x="922078" y="1935296"/>
                </a:moveTo>
                <a:lnTo>
                  <a:pt x="926208" y="1939169"/>
                </a:lnTo>
                <a:lnTo>
                  <a:pt x="926931" y="1939014"/>
                </a:lnTo>
                <a:cubicBezTo>
                  <a:pt x="929616" y="1939634"/>
                  <a:pt x="930545" y="1944436"/>
                  <a:pt x="929306" y="1947379"/>
                </a:cubicBezTo>
                <a:lnTo>
                  <a:pt x="928170" y="1949082"/>
                </a:lnTo>
                <a:lnTo>
                  <a:pt x="928170" y="1949393"/>
                </a:lnTo>
                <a:cubicBezTo>
                  <a:pt x="925692" y="1952180"/>
                  <a:pt x="925692" y="1952180"/>
                  <a:pt x="920220" y="1948772"/>
                </a:cubicBezTo>
                <a:cubicBezTo>
                  <a:pt x="919290" y="1948153"/>
                  <a:pt x="918671" y="1947224"/>
                  <a:pt x="918258" y="1946139"/>
                </a:cubicBezTo>
                <a:cubicBezTo>
                  <a:pt x="917845" y="1945055"/>
                  <a:pt x="917845" y="1943816"/>
                  <a:pt x="918155" y="1942422"/>
                </a:cubicBezTo>
                <a:cubicBezTo>
                  <a:pt x="917741" y="1941802"/>
                  <a:pt x="917432" y="1940718"/>
                  <a:pt x="917329" y="1939789"/>
                </a:cubicBezTo>
                <a:cubicBezTo>
                  <a:pt x="917329" y="1938704"/>
                  <a:pt x="917432" y="1937620"/>
                  <a:pt x="917845" y="1936691"/>
                </a:cubicBezTo>
                <a:cubicBezTo>
                  <a:pt x="919394" y="1934832"/>
                  <a:pt x="921252" y="1934677"/>
                  <a:pt x="922078" y="1935296"/>
                </a:cubicBezTo>
                <a:close/>
                <a:moveTo>
                  <a:pt x="1548121" y="1935142"/>
                </a:moveTo>
                <a:cubicBezTo>
                  <a:pt x="1559892" y="1941802"/>
                  <a:pt x="1577136" y="1952025"/>
                  <a:pt x="1588287" y="1964262"/>
                </a:cubicBezTo>
                <a:lnTo>
                  <a:pt x="1589733" y="1966121"/>
                </a:lnTo>
                <a:lnTo>
                  <a:pt x="1590146" y="1964572"/>
                </a:lnTo>
                <a:cubicBezTo>
                  <a:pt x="1592004" y="1964882"/>
                  <a:pt x="1593450" y="1963488"/>
                  <a:pt x="1595722" y="1965346"/>
                </a:cubicBezTo>
                <a:lnTo>
                  <a:pt x="1592624" y="1969683"/>
                </a:lnTo>
                <a:lnTo>
                  <a:pt x="1593347" y="1970458"/>
                </a:lnTo>
                <a:cubicBezTo>
                  <a:pt x="1594793" y="1972627"/>
                  <a:pt x="1596032" y="1974795"/>
                  <a:pt x="1596961" y="1976964"/>
                </a:cubicBezTo>
                <a:cubicBezTo>
                  <a:pt x="1588184" y="1984708"/>
                  <a:pt x="1577032" y="1978048"/>
                  <a:pt x="1567430" y="1967670"/>
                </a:cubicBezTo>
                <a:lnTo>
                  <a:pt x="1560718" y="1958376"/>
                </a:lnTo>
                <a:lnTo>
                  <a:pt x="1560511" y="1958686"/>
                </a:lnTo>
                <a:cubicBezTo>
                  <a:pt x="1559169" y="1956827"/>
                  <a:pt x="1557207" y="1957447"/>
                  <a:pt x="1555865" y="1955588"/>
                </a:cubicBezTo>
                <a:lnTo>
                  <a:pt x="1557620" y="1954039"/>
                </a:lnTo>
                <a:lnTo>
                  <a:pt x="1554936" y="1950321"/>
                </a:lnTo>
                <a:cubicBezTo>
                  <a:pt x="1551528" y="1944590"/>
                  <a:pt x="1549153" y="1939014"/>
                  <a:pt x="1548121" y="1935142"/>
                </a:cubicBezTo>
                <a:close/>
                <a:moveTo>
                  <a:pt x="4869385" y="1935141"/>
                </a:moveTo>
                <a:cubicBezTo>
                  <a:pt x="4873227" y="1935284"/>
                  <a:pt x="4875574" y="1936706"/>
                  <a:pt x="4876855" y="1938840"/>
                </a:cubicBezTo>
                <a:cubicBezTo>
                  <a:pt x="4880270" y="1945242"/>
                  <a:pt x="4873227" y="1957192"/>
                  <a:pt x="4864476" y="1951929"/>
                </a:cubicBezTo>
                <a:cubicBezTo>
                  <a:pt x="4862769" y="1947661"/>
                  <a:pt x="4866611" y="1937844"/>
                  <a:pt x="4869385" y="1935141"/>
                </a:cubicBezTo>
                <a:close/>
                <a:moveTo>
                  <a:pt x="1059512" y="1934987"/>
                </a:moveTo>
                <a:cubicBezTo>
                  <a:pt x="1062300" y="1936536"/>
                  <a:pt x="1066431" y="1934677"/>
                  <a:pt x="1066740" y="1940098"/>
                </a:cubicBezTo>
                <a:cubicBezTo>
                  <a:pt x="1063849" y="1944590"/>
                  <a:pt x="1056208" y="1944436"/>
                  <a:pt x="1055175" y="1938704"/>
                </a:cubicBezTo>
                <a:cubicBezTo>
                  <a:pt x="1056828" y="1937620"/>
                  <a:pt x="1057757" y="1936071"/>
                  <a:pt x="1059512" y="1934987"/>
                </a:cubicBezTo>
                <a:close/>
                <a:moveTo>
                  <a:pt x="5940966" y="1934857"/>
                </a:moveTo>
                <a:cubicBezTo>
                  <a:pt x="5940966" y="1936137"/>
                  <a:pt x="5942032" y="1936137"/>
                  <a:pt x="5942246" y="1937417"/>
                </a:cubicBezTo>
                <a:cubicBezTo>
                  <a:pt x="5943527" y="1939979"/>
                  <a:pt x="5943527" y="1939836"/>
                  <a:pt x="5942459" y="1941116"/>
                </a:cubicBezTo>
                <a:cubicBezTo>
                  <a:pt x="5941179" y="1942255"/>
                  <a:pt x="5937551" y="1940832"/>
                  <a:pt x="5936484" y="1942112"/>
                </a:cubicBezTo>
                <a:cubicBezTo>
                  <a:pt x="5936484" y="1942112"/>
                  <a:pt x="5936484" y="1942112"/>
                  <a:pt x="5935203" y="1939552"/>
                </a:cubicBezTo>
                <a:cubicBezTo>
                  <a:pt x="5935203" y="1938271"/>
                  <a:pt x="5934990" y="1937133"/>
                  <a:pt x="5936271" y="1935852"/>
                </a:cubicBezTo>
                <a:cubicBezTo>
                  <a:pt x="5937337" y="1934714"/>
                  <a:pt x="5939685" y="1934857"/>
                  <a:pt x="5940966" y="1934857"/>
                </a:cubicBezTo>
                <a:close/>
                <a:moveTo>
                  <a:pt x="667010" y="1934696"/>
                </a:moveTo>
                <a:cubicBezTo>
                  <a:pt x="669126" y="1934948"/>
                  <a:pt x="671475" y="1936071"/>
                  <a:pt x="674057" y="1938550"/>
                </a:cubicBezTo>
                <a:cubicBezTo>
                  <a:pt x="675812" y="1939634"/>
                  <a:pt x="674883" y="1939479"/>
                  <a:pt x="675812" y="1940408"/>
                </a:cubicBezTo>
                <a:cubicBezTo>
                  <a:pt x="676638" y="1941337"/>
                  <a:pt x="678290" y="1942422"/>
                  <a:pt x="679220" y="1942422"/>
                </a:cubicBezTo>
                <a:cubicBezTo>
                  <a:pt x="676535" y="1945520"/>
                  <a:pt x="679117" y="1947379"/>
                  <a:pt x="674676" y="1952025"/>
                </a:cubicBezTo>
                <a:cubicBezTo>
                  <a:pt x="669410" y="1958222"/>
                  <a:pt x="663319" y="1955898"/>
                  <a:pt x="659911" y="1953110"/>
                </a:cubicBezTo>
                <a:cubicBezTo>
                  <a:pt x="660530" y="1952490"/>
                  <a:pt x="655884" y="1948617"/>
                  <a:pt x="656193" y="1943661"/>
                </a:cubicBezTo>
                <a:cubicBezTo>
                  <a:pt x="656297" y="1942112"/>
                  <a:pt x="656917" y="1940408"/>
                  <a:pt x="658465" y="1938704"/>
                </a:cubicBezTo>
                <a:cubicBezTo>
                  <a:pt x="659291" y="1937775"/>
                  <a:pt x="660324" y="1936846"/>
                  <a:pt x="661356" y="1936071"/>
                </a:cubicBezTo>
                <a:cubicBezTo>
                  <a:pt x="663008" y="1935064"/>
                  <a:pt x="664893" y="1934445"/>
                  <a:pt x="667010" y="1934696"/>
                </a:cubicBezTo>
                <a:close/>
                <a:moveTo>
                  <a:pt x="866836" y="1934522"/>
                </a:moveTo>
                <a:cubicBezTo>
                  <a:pt x="866010" y="1944590"/>
                  <a:pt x="862809" y="1952025"/>
                  <a:pt x="857646" y="1957137"/>
                </a:cubicBezTo>
                <a:cubicBezTo>
                  <a:pt x="855891" y="1958996"/>
                  <a:pt x="853826" y="1960390"/>
                  <a:pt x="851658" y="1961629"/>
                </a:cubicBezTo>
                <a:cubicBezTo>
                  <a:pt x="846908" y="1956362"/>
                  <a:pt x="851451" y="1950476"/>
                  <a:pt x="853516" y="1945365"/>
                </a:cubicBezTo>
                <a:cubicBezTo>
                  <a:pt x="847321" y="1944745"/>
                  <a:pt x="838131" y="1945365"/>
                  <a:pt x="837718" y="1939014"/>
                </a:cubicBezTo>
                <a:cubicBezTo>
                  <a:pt x="838854" y="1937775"/>
                  <a:pt x="840196" y="1937155"/>
                  <a:pt x="841642" y="1937000"/>
                </a:cubicBezTo>
                <a:cubicBezTo>
                  <a:pt x="846082" y="1936381"/>
                  <a:pt x="851864" y="1939014"/>
                  <a:pt x="857440" y="1938860"/>
                </a:cubicBezTo>
                <a:cubicBezTo>
                  <a:pt x="860537" y="1937465"/>
                  <a:pt x="860125" y="1933283"/>
                  <a:pt x="866836" y="1934522"/>
                </a:cubicBezTo>
                <a:close/>
                <a:moveTo>
                  <a:pt x="4859781" y="1933007"/>
                </a:moveTo>
                <a:cubicBezTo>
                  <a:pt x="4859781" y="1933007"/>
                  <a:pt x="4861061" y="1934287"/>
                  <a:pt x="4861061" y="1934287"/>
                </a:cubicBezTo>
                <a:cubicBezTo>
                  <a:pt x="4860208" y="1935710"/>
                  <a:pt x="4861275" y="1935568"/>
                  <a:pt x="4859141" y="1935710"/>
                </a:cubicBezTo>
                <a:cubicBezTo>
                  <a:pt x="4859994" y="1934430"/>
                  <a:pt x="4859994" y="1934430"/>
                  <a:pt x="4859781" y="1933007"/>
                </a:cubicBezTo>
                <a:close/>
                <a:moveTo>
                  <a:pt x="1508573" y="1932818"/>
                </a:moveTo>
                <a:cubicBezTo>
                  <a:pt x="1510226" y="1935761"/>
                  <a:pt x="1506199" y="1941337"/>
                  <a:pt x="1502585" y="1941647"/>
                </a:cubicBezTo>
                <a:cubicBezTo>
                  <a:pt x="1505992" y="1937155"/>
                  <a:pt x="1504031" y="1933438"/>
                  <a:pt x="1508573" y="1932818"/>
                </a:cubicBezTo>
                <a:close/>
                <a:moveTo>
                  <a:pt x="1168654" y="1932663"/>
                </a:moveTo>
                <a:cubicBezTo>
                  <a:pt x="1169480" y="1933438"/>
                  <a:pt x="1171339" y="1932663"/>
                  <a:pt x="1172165" y="1933593"/>
                </a:cubicBezTo>
                <a:cubicBezTo>
                  <a:pt x="1172165" y="1933593"/>
                  <a:pt x="1172681" y="1936071"/>
                  <a:pt x="1172681" y="1936071"/>
                </a:cubicBezTo>
                <a:cubicBezTo>
                  <a:pt x="1171752" y="1937000"/>
                  <a:pt x="1171752" y="1937000"/>
                  <a:pt x="1171855" y="1936071"/>
                </a:cubicBezTo>
                <a:cubicBezTo>
                  <a:pt x="1169893" y="1936846"/>
                  <a:pt x="1169067" y="1936846"/>
                  <a:pt x="1168138" y="1936846"/>
                </a:cubicBezTo>
                <a:cubicBezTo>
                  <a:pt x="1167725" y="1936381"/>
                  <a:pt x="1167622" y="1935761"/>
                  <a:pt x="1167725" y="1934987"/>
                </a:cubicBezTo>
                <a:cubicBezTo>
                  <a:pt x="1167725" y="1934212"/>
                  <a:pt x="1168138" y="1933438"/>
                  <a:pt x="1168654" y="1932663"/>
                </a:cubicBezTo>
                <a:close/>
                <a:moveTo>
                  <a:pt x="4686057" y="1931015"/>
                </a:moveTo>
                <a:cubicBezTo>
                  <a:pt x="4687551" y="1930446"/>
                  <a:pt x="4689258" y="1930589"/>
                  <a:pt x="4691606" y="1931158"/>
                </a:cubicBezTo>
                <a:cubicBezTo>
                  <a:pt x="4689685" y="1934999"/>
                  <a:pt x="4687125" y="1935284"/>
                  <a:pt x="4682216" y="1935710"/>
                </a:cubicBezTo>
                <a:cubicBezTo>
                  <a:pt x="4683283" y="1933007"/>
                  <a:pt x="4684563" y="1931584"/>
                  <a:pt x="4686057" y="1931015"/>
                </a:cubicBezTo>
                <a:close/>
                <a:moveTo>
                  <a:pt x="1536866" y="1930959"/>
                </a:moveTo>
                <a:cubicBezTo>
                  <a:pt x="1540376" y="1934832"/>
                  <a:pt x="1544610" y="1935451"/>
                  <a:pt x="1547398" y="1938394"/>
                </a:cubicBezTo>
                <a:cubicBezTo>
                  <a:pt x="1542751" y="1939479"/>
                  <a:pt x="1534594" y="1941028"/>
                  <a:pt x="1533768" y="1933283"/>
                </a:cubicBezTo>
                <a:cubicBezTo>
                  <a:pt x="1534801" y="1932508"/>
                  <a:pt x="1535833" y="1931734"/>
                  <a:pt x="1536866" y="1930959"/>
                </a:cubicBezTo>
                <a:close/>
                <a:moveTo>
                  <a:pt x="599506" y="1930959"/>
                </a:moveTo>
                <a:cubicBezTo>
                  <a:pt x="599713" y="1930804"/>
                  <a:pt x="599919" y="1930804"/>
                  <a:pt x="600332" y="1931269"/>
                </a:cubicBezTo>
                <a:cubicBezTo>
                  <a:pt x="601055" y="1932044"/>
                  <a:pt x="601158" y="1932044"/>
                  <a:pt x="601055" y="1934522"/>
                </a:cubicBezTo>
                <a:cubicBezTo>
                  <a:pt x="600229" y="1933593"/>
                  <a:pt x="600229" y="1933593"/>
                  <a:pt x="599402" y="1934367"/>
                </a:cubicBezTo>
                <a:cubicBezTo>
                  <a:pt x="599402" y="1934367"/>
                  <a:pt x="599402" y="1934367"/>
                  <a:pt x="599402" y="1935142"/>
                </a:cubicBezTo>
                <a:cubicBezTo>
                  <a:pt x="598577" y="1934987"/>
                  <a:pt x="598577" y="1934212"/>
                  <a:pt x="597751" y="1934212"/>
                </a:cubicBezTo>
                <a:cubicBezTo>
                  <a:pt x="597751" y="1934212"/>
                  <a:pt x="597751" y="1933438"/>
                  <a:pt x="597751" y="1933438"/>
                </a:cubicBezTo>
                <a:cubicBezTo>
                  <a:pt x="597337" y="1933283"/>
                  <a:pt x="597337" y="1933283"/>
                  <a:pt x="597544" y="1933128"/>
                </a:cubicBezTo>
                <a:cubicBezTo>
                  <a:pt x="597751" y="1932973"/>
                  <a:pt x="598163" y="1932663"/>
                  <a:pt x="598577" y="1931889"/>
                </a:cubicBezTo>
                <a:cubicBezTo>
                  <a:pt x="598990" y="1931424"/>
                  <a:pt x="599196" y="1931114"/>
                  <a:pt x="599506" y="1930959"/>
                </a:cubicBezTo>
                <a:close/>
                <a:moveTo>
                  <a:pt x="977940" y="1930649"/>
                </a:moveTo>
                <a:cubicBezTo>
                  <a:pt x="980315" y="1930959"/>
                  <a:pt x="980418" y="1932818"/>
                  <a:pt x="980418" y="1932818"/>
                </a:cubicBezTo>
                <a:cubicBezTo>
                  <a:pt x="980211" y="1935761"/>
                  <a:pt x="978456" y="1938085"/>
                  <a:pt x="975256" y="1938239"/>
                </a:cubicBezTo>
                <a:cubicBezTo>
                  <a:pt x="973603" y="1937310"/>
                  <a:pt x="973500" y="1935451"/>
                  <a:pt x="973397" y="1933593"/>
                </a:cubicBezTo>
                <a:cubicBezTo>
                  <a:pt x="973397" y="1932199"/>
                  <a:pt x="974016" y="1931269"/>
                  <a:pt x="974842" y="1930959"/>
                </a:cubicBezTo>
                <a:cubicBezTo>
                  <a:pt x="975668" y="1930495"/>
                  <a:pt x="976701" y="1930495"/>
                  <a:pt x="977940" y="1930649"/>
                </a:cubicBezTo>
                <a:close/>
                <a:moveTo>
                  <a:pt x="5112684" y="1930446"/>
                </a:moveTo>
                <a:cubicBezTo>
                  <a:pt x="5116952" y="1931300"/>
                  <a:pt x="5122501" y="1931015"/>
                  <a:pt x="5127623" y="1931015"/>
                </a:cubicBezTo>
                <a:cubicBezTo>
                  <a:pt x="5132958" y="1931015"/>
                  <a:pt x="5138081" y="1931300"/>
                  <a:pt x="5141495" y="1933291"/>
                </a:cubicBezTo>
                <a:lnTo>
                  <a:pt x="5144697" y="1936421"/>
                </a:lnTo>
                <a:lnTo>
                  <a:pt x="5145550" y="1935710"/>
                </a:lnTo>
                <a:cubicBezTo>
                  <a:pt x="5146404" y="1939125"/>
                  <a:pt x="5148965" y="1939409"/>
                  <a:pt x="5150032" y="1942824"/>
                </a:cubicBezTo>
                <a:lnTo>
                  <a:pt x="5145764" y="1944246"/>
                </a:lnTo>
                <a:lnTo>
                  <a:pt x="5144910" y="1948656"/>
                </a:lnTo>
                <a:lnTo>
                  <a:pt x="5146190" y="1948230"/>
                </a:lnTo>
                <a:cubicBezTo>
                  <a:pt x="5146831" y="1948515"/>
                  <a:pt x="5147684" y="1948656"/>
                  <a:pt x="5148111" y="1949226"/>
                </a:cubicBezTo>
                <a:cubicBezTo>
                  <a:pt x="5148538" y="1949795"/>
                  <a:pt x="5148752" y="1950648"/>
                  <a:pt x="5148111" y="1952356"/>
                </a:cubicBezTo>
                <a:cubicBezTo>
                  <a:pt x="5148111" y="1955058"/>
                  <a:pt x="5147257" y="1955628"/>
                  <a:pt x="5142989" y="1955628"/>
                </a:cubicBezTo>
                <a:cubicBezTo>
                  <a:pt x="5139788" y="1954774"/>
                  <a:pt x="5137226" y="1955058"/>
                  <a:pt x="5136586" y="1954063"/>
                </a:cubicBezTo>
                <a:cubicBezTo>
                  <a:pt x="5135733" y="1954632"/>
                  <a:pt x="5134239" y="1954347"/>
                  <a:pt x="5133172" y="1955058"/>
                </a:cubicBezTo>
                <a:cubicBezTo>
                  <a:pt x="5133172" y="1955058"/>
                  <a:pt x="5133172" y="1954916"/>
                  <a:pt x="5132531" y="1953920"/>
                </a:cubicBezTo>
                <a:cubicBezTo>
                  <a:pt x="5134879" y="1953210"/>
                  <a:pt x="5137226" y="1951786"/>
                  <a:pt x="5139574" y="1950506"/>
                </a:cubicBezTo>
                <a:lnTo>
                  <a:pt x="5144056" y="1948941"/>
                </a:lnTo>
                <a:lnTo>
                  <a:pt x="5136160" y="1943820"/>
                </a:lnTo>
                <a:cubicBezTo>
                  <a:pt x="5126769" y="1939836"/>
                  <a:pt x="5116312" y="1938840"/>
                  <a:pt x="5112684" y="1930446"/>
                </a:cubicBezTo>
                <a:close/>
                <a:moveTo>
                  <a:pt x="1264166" y="1930030"/>
                </a:moveTo>
                <a:cubicBezTo>
                  <a:pt x="1264786" y="1930340"/>
                  <a:pt x="1264889" y="1930649"/>
                  <a:pt x="1264889" y="1930959"/>
                </a:cubicBezTo>
                <a:cubicBezTo>
                  <a:pt x="1264889" y="1931269"/>
                  <a:pt x="1264786" y="1931579"/>
                  <a:pt x="1264786" y="1931579"/>
                </a:cubicBezTo>
                <a:cubicBezTo>
                  <a:pt x="1264269" y="1932663"/>
                  <a:pt x="1263753" y="1933593"/>
                  <a:pt x="1262617" y="1932973"/>
                </a:cubicBezTo>
                <a:cubicBezTo>
                  <a:pt x="1262617" y="1932973"/>
                  <a:pt x="1262617" y="1932818"/>
                  <a:pt x="1262617" y="1932353"/>
                </a:cubicBezTo>
                <a:cubicBezTo>
                  <a:pt x="1262721" y="1931889"/>
                  <a:pt x="1262824" y="1931269"/>
                  <a:pt x="1263340" y="1930185"/>
                </a:cubicBezTo>
                <a:cubicBezTo>
                  <a:pt x="1263650" y="1930959"/>
                  <a:pt x="1264476" y="1930804"/>
                  <a:pt x="1264476" y="1930804"/>
                </a:cubicBezTo>
                <a:cubicBezTo>
                  <a:pt x="1264476" y="1930804"/>
                  <a:pt x="1264476" y="1930804"/>
                  <a:pt x="1264166" y="1930030"/>
                </a:cubicBezTo>
                <a:close/>
                <a:moveTo>
                  <a:pt x="5053780" y="1930019"/>
                </a:moveTo>
                <a:cubicBezTo>
                  <a:pt x="5055914" y="1931158"/>
                  <a:pt x="5058475" y="1931442"/>
                  <a:pt x="5059969" y="1933576"/>
                </a:cubicBezTo>
                <a:cubicBezTo>
                  <a:pt x="5061249" y="1936848"/>
                  <a:pt x="5057621" y="1941401"/>
                  <a:pt x="5055701" y="1942966"/>
                </a:cubicBezTo>
                <a:cubicBezTo>
                  <a:pt x="5052713" y="1943820"/>
                  <a:pt x="5050151" y="1940974"/>
                  <a:pt x="5048871" y="1937844"/>
                </a:cubicBezTo>
                <a:cubicBezTo>
                  <a:pt x="5048231" y="1936706"/>
                  <a:pt x="5048018" y="1935425"/>
                  <a:pt x="5048444" y="1934145"/>
                </a:cubicBezTo>
                <a:cubicBezTo>
                  <a:pt x="5048871" y="1932865"/>
                  <a:pt x="5049725" y="1931726"/>
                  <a:pt x="5050792" y="1930873"/>
                </a:cubicBezTo>
                <a:cubicBezTo>
                  <a:pt x="5052286" y="1930446"/>
                  <a:pt x="5052286" y="1930446"/>
                  <a:pt x="5053780" y="1930019"/>
                </a:cubicBezTo>
                <a:close/>
                <a:moveTo>
                  <a:pt x="5811847" y="1928739"/>
                </a:moveTo>
                <a:cubicBezTo>
                  <a:pt x="5816115" y="1929024"/>
                  <a:pt x="5820810" y="1931300"/>
                  <a:pt x="5822731" y="1934999"/>
                </a:cubicBezTo>
                <a:cubicBezTo>
                  <a:pt x="5816115" y="1940547"/>
                  <a:pt x="5810566" y="1942539"/>
                  <a:pt x="5803310" y="1935141"/>
                </a:cubicBezTo>
                <a:cubicBezTo>
                  <a:pt x="5803523" y="1930446"/>
                  <a:pt x="5807578" y="1928596"/>
                  <a:pt x="5811847" y="1928739"/>
                </a:cubicBezTo>
                <a:close/>
                <a:moveTo>
                  <a:pt x="1187757" y="1928481"/>
                </a:moveTo>
                <a:cubicBezTo>
                  <a:pt x="1189305" y="1931734"/>
                  <a:pt x="1182284" y="1935296"/>
                  <a:pt x="1180632" y="1934522"/>
                </a:cubicBezTo>
                <a:cubicBezTo>
                  <a:pt x="1179806" y="1932973"/>
                  <a:pt x="1185278" y="1925228"/>
                  <a:pt x="1187757" y="1928481"/>
                </a:cubicBezTo>
                <a:close/>
                <a:moveTo>
                  <a:pt x="1215842" y="1928326"/>
                </a:moveTo>
                <a:cubicBezTo>
                  <a:pt x="1217494" y="1929875"/>
                  <a:pt x="1221005" y="1931424"/>
                  <a:pt x="1219972" y="1934832"/>
                </a:cubicBezTo>
                <a:cubicBezTo>
                  <a:pt x="1218733" y="1933593"/>
                  <a:pt x="1215945" y="1931424"/>
                  <a:pt x="1215532" y="1929721"/>
                </a:cubicBezTo>
                <a:cubicBezTo>
                  <a:pt x="1215326" y="1929256"/>
                  <a:pt x="1215429" y="1928791"/>
                  <a:pt x="1215842" y="1928326"/>
                </a:cubicBezTo>
                <a:close/>
                <a:moveTo>
                  <a:pt x="5515406" y="1927743"/>
                </a:moveTo>
                <a:cubicBezTo>
                  <a:pt x="5522876" y="1942397"/>
                  <a:pt x="5543365" y="1937275"/>
                  <a:pt x="5546139" y="1951786"/>
                </a:cubicBezTo>
                <a:cubicBezTo>
                  <a:pt x="5534614" y="1950079"/>
                  <a:pt x="5523303" y="1950791"/>
                  <a:pt x="5511138" y="1938271"/>
                </a:cubicBezTo>
                <a:cubicBezTo>
                  <a:pt x="5512205" y="1934857"/>
                  <a:pt x="5509644" y="1928596"/>
                  <a:pt x="5515406" y="1927743"/>
                </a:cubicBezTo>
                <a:close/>
                <a:moveTo>
                  <a:pt x="5946087" y="1927458"/>
                </a:moveTo>
                <a:cubicBezTo>
                  <a:pt x="5948008" y="1927601"/>
                  <a:pt x="5949929" y="1928454"/>
                  <a:pt x="5951423" y="1930589"/>
                </a:cubicBezTo>
                <a:cubicBezTo>
                  <a:pt x="5954838" y="1933576"/>
                  <a:pt x="5954625" y="1938271"/>
                  <a:pt x="5957826" y="1942397"/>
                </a:cubicBezTo>
                <a:cubicBezTo>
                  <a:pt x="5953984" y="1946522"/>
                  <a:pt x="5952703" y="1947518"/>
                  <a:pt x="5947155" y="1944246"/>
                </a:cubicBezTo>
                <a:cubicBezTo>
                  <a:pt x="5947155" y="1944246"/>
                  <a:pt x="5946087" y="1942966"/>
                  <a:pt x="5946087" y="1942966"/>
                </a:cubicBezTo>
                <a:cubicBezTo>
                  <a:pt x="5941819" y="1938555"/>
                  <a:pt x="5939899" y="1931015"/>
                  <a:pt x="5941179" y="1928881"/>
                </a:cubicBezTo>
                <a:cubicBezTo>
                  <a:pt x="5942459" y="1927885"/>
                  <a:pt x="5944167" y="1927316"/>
                  <a:pt x="5946087" y="1927458"/>
                </a:cubicBezTo>
                <a:close/>
                <a:moveTo>
                  <a:pt x="3581610" y="1925894"/>
                </a:moveTo>
                <a:cubicBezTo>
                  <a:pt x="3583317" y="1925467"/>
                  <a:pt x="3585452" y="1925467"/>
                  <a:pt x="3588013" y="1926463"/>
                </a:cubicBezTo>
                <a:cubicBezTo>
                  <a:pt x="3589933" y="1930731"/>
                  <a:pt x="3589507" y="1934430"/>
                  <a:pt x="3585878" y="1940405"/>
                </a:cubicBezTo>
                <a:cubicBezTo>
                  <a:pt x="3580330" y="1941970"/>
                  <a:pt x="3571793" y="1935995"/>
                  <a:pt x="3576488" y="1928739"/>
                </a:cubicBezTo>
                <a:cubicBezTo>
                  <a:pt x="3577982" y="1927601"/>
                  <a:pt x="3579689" y="1926463"/>
                  <a:pt x="3581610" y="1925894"/>
                </a:cubicBezTo>
                <a:close/>
                <a:moveTo>
                  <a:pt x="3736980" y="1925751"/>
                </a:moveTo>
                <a:lnTo>
                  <a:pt x="3740394" y="1927174"/>
                </a:lnTo>
                <a:lnTo>
                  <a:pt x="3741248" y="1926321"/>
                </a:lnTo>
                <a:cubicBezTo>
                  <a:pt x="3743169" y="1928028"/>
                  <a:pt x="3745303" y="1929735"/>
                  <a:pt x="3746157" y="1932295"/>
                </a:cubicBezTo>
                <a:lnTo>
                  <a:pt x="3749358" y="1935710"/>
                </a:lnTo>
                <a:cubicBezTo>
                  <a:pt x="3747437" y="1938698"/>
                  <a:pt x="3749145" y="1940547"/>
                  <a:pt x="3747224" y="1943535"/>
                </a:cubicBezTo>
                <a:cubicBezTo>
                  <a:pt x="3739114" y="1938698"/>
                  <a:pt x="3729937" y="1934145"/>
                  <a:pt x="3732071" y="1926321"/>
                </a:cubicBezTo>
                <a:cubicBezTo>
                  <a:pt x="3733565" y="1925467"/>
                  <a:pt x="3735272" y="1925324"/>
                  <a:pt x="3736980" y="1925751"/>
                </a:cubicBezTo>
                <a:close/>
                <a:moveTo>
                  <a:pt x="5720930" y="1925467"/>
                </a:moveTo>
                <a:cubicBezTo>
                  <a:pt x="5719009" y="1927601"/>
                  <a:pt x="5712393" y="1934145"/>
                  <a:pt x="5709832" y="1933860"/>
                </a:cubicBezTo>
                <a:cubicBezTo>
                  <a:pt x="5712393" y="1930304"/>
                  <a:pt x="5719436" y="1924897"/>
                  <a:pt x="5720930" y="1925467"/>
                </a:cubicBezTo>
                <a:close/>
                <a:moveTo>
                  <a:pt x="5570042" y="1925467"/>
                </a:moveTo>
                <a:cubicBezTo>
                  <a:pt x="5573243" y="1924613"/>
                  <a:pt x="5578366" y="1928028"/>
                  <a:pt x="5586262" y="1939409"/>
                </a:cubicBezTo>
                <a:lnTo>
                  <a:pt x="5581140" y="1945669"/>
                </a:lnTo>
                <a:lnTo>
                  <a:pt x="5581994" y="1946096"/>
                </a:lnTo>
                <a:cubicBezTo>
                  <a:pt x="5580713" y="1948941"/>
                  <a:pt x="5579006" y="1950648"/>
                  <a:pt x="5577085" y="1951502"/>
                </a:cubicBezTo>
                <a:cubicBezTo>
                  <a:pt x="5575164" y="1952356"/>
                  <a:pt x="5573243" y="1952356"/>
                  <a:pt x="5571323" y="1951786"/>
                </a:cubicBezTo>
                <a:lnTo>
                  <a:pt x="5571536" y="1947945"/>
                </a:lnTo>
                <a:lnTo>
                  <a:pt x="5571109" y="1947803"/>
                </a:lnTo>
                <a:cubicBezTo>
                  <a:pt x="5565133" y="1942824"/>
                  <a:pt x="5564066" y="1926889"/>
                  <a:pt x="5570042" y="1925467"/>
                </a:cubicBezTo>
                <a:close/>
                <a:moveTo>
                  <a:pt x="998281" y="1925228"/>
                </a:moveTo>
                <a:cubicBezTo>
                  <a:pt x="1007471" y="1932353"/>
                  <a:pt x="1010362" y="1944900"/>
                  <a:pt x="1003134" y="1951871"/>
                </a:cubicBezTo>
                <a:cubicBezTo>
                  <a:pt x="1000553" y="1953729"/>
                  <a:pt x="998075" y="1954659"/>
                  <a:pt x="995803" y="1954814"/>
                </a:cubicBezTo>
                <a:lnTo>
                  <a:pt x="991054" y="1953264"/>
                </a:lnTo>
                <a:lnTo>
                  <a:pt x="990331" y="1953419"/>
                </a:lnTo>
                <a:lnTo>
                  <a:pt x="990227" y="1952955"/>
                </a:lnTo>
                <a:lnTo>
                  <a:pt x="989711" y="1952800"/>
                </a:lnTo>
                <a:cubicBezTo>
                  <a:pt x="986200" y="1950167"/>
                  <a:pt x="984032" y="1945365"/>
                  <a:pt x="984342" y="1940408"/>
                </a:cubicBezTo>
                <a:cubicBezTo>
                  <a:pt x="984755" y="1934367"/>
                  <a:pt x="988679" y="1928171"/>
                  <a:pt x="998281" y="1925228"/>
                </a:cubicBezTo>
                <a:close/>
                <a:moveTo>
                  <a:pt x="654335" y="1924918"/>
                </a:moveTo>
                <a:cubicBezTo>
                  <a:pt x="657226" y="1923215"/>
                  <a:pt x="658775" y="1925228"/>
                  <a:pt x="661356" y="1927397"/>
                </a:cubicBezTo>
                <a:cubicBezTo>
                  <a:pt x="660530" y="1928946"/>
                  <a:pt x="661253" y="1931424"/>
                  <a:pt x="659498" y="1932973"/>
                </a:cubicBezTo>
                <a:cubicBezTo>
                  <a:pt x="659498" y="1932973"/>
                  <a:pt x="658672" y="1933748"/>
                  <a:pt x="656917" y="1933593"/>
                </a:cubicBezTo>
                <a:cubicBezTo>
                  <a:pt x="654335" y="1934987"/>
                  <a:pt x="651754" y="1932199"/>
                  <a:pt x="651754" y="1932199"/>
                </a:cubicBezTo>
                <a:cubicBezTo>
                  <a:pt x="651754" y="1932199"/>
                  <a:pt x="651754" y="1932199"/>
                  <a:pt x="651754" y="1932973"/>
                </a:cubicBezTo>
                <a:cubicBezTo>
                  <a:pt x="651754" y="1931424"/>
                  <a:pt x="650927" y="1929565"/>
                  <a:pt x="650927" y="1927861"/>
                </a:cubicBezTo>
                <a:cubicBezTo>
                  <a:pt x="652270" y="1926313"/>
                  <a:pt x="653302" y="1925383"/>
                  <a:pt x="654335" y="1924918"/>
                </a:cubicBezTo>
                <a:close/>
                <a:moveTo>
                  <a:pt x="6285425" y="1924471"/>
                </a:moveTo>
                <a:cubicBezTo>
                  <a:pt x="6285425" y="1924471"/>
                  <a:pt x="6286065" y="1925467"/>
                  <a:pt x="6286065" y="1925467"/>
                </a:cubicBezTo>
                <a:cubicBezTo>
                  <a:pt x="6286493" y="1925183"/>
                  <a:pt x="6286493" y="1925183"/>
                  <a:pt x="6286493" y="1925467"/>
                </a:cubicBezTo>
                <a:cubicBezTo>
                  <a:pt x="6286279" y="1925894"/>
                  <a:pt x="6286065" y="1926748"/>
                  <a:pt x="6286065" y="1928028"/>
                </a:cubicBezTo>
                <a:cubicBezTo>
                  <a:pt x="6285638" y="1929593"/>
                  <a:pt x="6286065" y="1930589"/>
                  <a:pt x="6284572" y="1930162"/>
                </a:cubicBezTo>
                <a:cubicBezTo>
                  <a:pt x="6283078" y="1929877"/>
                  <a:pt x="6283078" y="1929735"/>
                  <a:pt x="6281584" y="1926889"/>
                </a:cubicBezTo>
                <a:cubicBezTo>
                  <a:pt x="6283078" y="1927174"/>
                  <a:pt x="6283078" y="1927174"/>
                  <a:pt x="6283505" y="1925609"/>
                </a:cubicBezTo>
                <a:cubicBezTo>
                  <a:pt x="6283505" y="1925609"/>
                  <a:pt x="6283718" y="1925609"/>
                  <a:pt x="6283078" y="1924613"/>
                </a:cubicBezTo>
                <a:cubicBezTo>
                  <a:pt x="6284145" y="1924044"/>
                  <a:pt x="6284572" y="1925040"/>
                  <a:pt x="6285425" y="1924471"/>
                </a:cubicBezTo>
                <a:close/>
                <a:moveTo>
                  <a:pt x="5557664" y="1924471"/>
                </a:moveTo>
                <a:cubicBezTo>
                  <a:pt x="5557664" y="1924471"/>
                  <a:pt x="5558944" y="1924613"/>
                  <a:pt x="5561078" y="1927316"/>
                </a:cubicBezTo>
                <a:cubicBezTo>
                  <a:pt x="5560012" y="1927174"/>
                  <a:pt x="5560012" y="1928312"/>
                  <a:pt x="5560012" y="1928312"/>
                </a:cubicBezTo>
                <a:cubicBezTo>
                  <a:pt x="5560012" y="1928312"/>
                  <a:pt x="5560012" y="1928312"/>
                  <a:pt x="5561078" y="1928454"/>
                </a:cubicBezTo>
                <a:cubicBezTo>
                  <a:pt x="5560438" y="1929024"/>
                  <a:pt x="5560012" y="1928881"/>
                  <a:pt x="5559584" y="1928739"/>
                </a:cubicBezTo>
                <a:cubicBezTo>
                  <a:pt x="5559157" y="1928454"/>
                  <a:pt x="5558731" y="1928170"/>
                  <a:pt x="5558731" y="1928170"/>
                </a:cubicBezTo>
                <a:cubicBezTo>
                  <a:pt x="5557664" y="1926889"/>
                  <a:pt x="5556597" y="1925467"/>
                  <a:pt x="5557664" y="1924471"/>
                </a:cubicBezTo>
                <a:close/>
                <a:moveTo>
                  <a:pt x="5888464" y="1923759"/>
                </a:moveTo>
                <a:lnTo>
                  <a:pt x="5883129" y="1935141"/>
                </a:lnTo>
                <a:lnTo>
                  <a:pt x="5885049" y="1936848"/>
                </a:lnTo>
                <a:cubicBezTo>
                  <a:pt x="5886117" y="1938129"/>
                  <a:pt x="5887184" y="1941116"/>
                  <a:pt x="5887611" y="1943962"/>
                </a:cubicBezTo>
                <a:cubicBezTo>
                  <a:pt x="5887824" y="1946950"/>
                  <a:pt x="5887611" y="1949795"/>
                  <a:pt x="5886544" y="1951502"/>
                </a:cubicBezTo>
                <a:cubicBezTo>
                  <a:pt x="5884196" y="1949937"/>
                  <a:pt x="5882062" y="1948372"/>
                  <a:pt x="5879928" y="1946807"/>
                </a:cubicBezTo>
                <a:cubicBezTo>
                  <a:pt x="5880568" y="1946950"/>
                  <a:pt x="5880568" y="1944246"/>
                  <a:pt x="5880141" y="1941401"/>
                </a:cubicBezTo>
                <a:lnTo>
                  <a:pt x="5877580" y="1947091"/>
                </a:lnTo>
                <a:cubicBezTo>
                  <a:pt x="5873525" y="1953636"/>
                  <a:pt x="5868190" y="1956481"/>
                  <a:pt x="5859439" y="1947803"/>
                </a:cubicBezTo>
                <a:cubicBezTo>
                  <a:pt x="5871818" y="1941685"/>
                  <a:pt x="5876940" y="1924044"/>
                  <a:pt x="5888464" y="1923759"/>
                </a:cubicBezTo>
                <a:close/>
                <a:moveTo>
                  <a:pt x="1435778" y="1923525"/>
                </a:moveTo>
                <a:cubicBezTo>
                  <a:pt x="1437017" y="1924918"/>
                  <a:pt x="1439392" y="1927087"/>
                  <a:pt x="1439805" y="1928946"/>
                </a:cubicBezTo>
                <a:cubicBezTo>
                  <a:pt x="1439908" y="1929410"/>
                  <a:pt x="1439805" y="1930030"/>
                  <a:pt x="1439289" y="1930340"/>
                </a:cubicBezTo>
                <a:cubicBezTo>
                  <a:pt x="1438153" y="1929101"/>
                  <a:pt x="1435985" y="1927707"/>
                  <a:pt x="1435571" y="1925848"/>
                </a:cubicBezTo>
                <a:cubicBezTo>
                  <a:pt x="1435468" y="1925073"/>
                  <a:pt x="1435468" y="1924454"/>
                  <a:pt x="1435778" y="1923525"/>
                </a:cubicBezTo>
                <a:close/>
                <a:moveTo>
                  <a:pt x="5733735" y="1921910"/>
                </a:moveTo>
                <a:cubicBezTo>
                  <a:pt x="5735443" y="1921341"/>
                  <a:pt x="5737576" y="1921483"/>
                  <a:pt x="5739497" y="1922337"/>
                </a:cubicBezTo>
                <a:cubicBezTo>
                  <a:pt x="5742058" y="1923617"/>
                  <a:pt x="5744193" y="1926463"/>
                  <a:pt x="5745473" y="1931158"/>
                </a:cubicBezTo>
                <a:cubicBezTo>
                  <a:pt x="5742058" y="1935852"/>
                  <a:pt x="5738643" y="1935710"/>
                  <a:pt x="5735229" y="1937844"/>
                </a:cubicBezTo>
                <a:cubicBezTo>
                  <a:pt x="5724985" y="1930731"/>
                  <a:pt x="5728186" y="1923475"/>
                  <a:pt x="5733735" y="1921910"/>
                </a:cubicBezTo>
                <a:close/>
                <a:moveTo>
                  <a:pt x="1229059" y="1921821"/>
                </a:moveTo>
                <a:cubicBezTo>
                  <a:pt x="1234945" y="1922285"/>
                  <a:pt x="1232466" y="1928636"/>
                  <a:pt x="1230092" y="1929565"/>
                </a:cubicBezTo>
                <a:cubicBezTo>
                  <a:pt x="1227510" y="1929256"/>
                  <a:pt x="1226684" y="1927552"/>
                  <a:pt x="1226788" y="1925848"/>
                </a:cubicBezTo>
                <a:cubicBezTo>
                  <a:pt x="1226891" y="1923989"/>
                  <a:pt x="1227923" y="1922285"/>
                  <a:pt x="1229059" y="1921821"/>
                </a:cubicBezTo>
                <a:close/>
                <a:moveTo>
                  <a:pt x="3856068" y="1921626"/>
                </a:moveTo>
                <a:cubicBezTo>
                  <a:pt x="3856068" y="1922764"/>
                  <a:pt x="3857349" y="1925324"/>
                  <a:pt x="3856281" y="1926463"/>
                </a:cubicBezTo>
                <a:cubicBezTo>
                  <a:pt x="3855214" y="1927601"/>
                  <a:pt x="3855214" y="1927601"/>
                  <a:pt x="3852866" y="1927601"/>
                </a:cubicBezTo>
                <a:cubicBezTo>
                  <a:pt x="3853720" y="1923902"/>
                  <a:pt x="3853934" y="1923902"/>
                  <a:pt x="3856068" y="1921626"/>
                </a:cubicBezTo>
                <a:close/>
                <a:moveTo>
                  <a:pt x="1148726" y="1921356"/>
                </a:moveTo>
                <a:cubicBezTo>
                  <a:pt x="1149655" y="1921356"/>
                  <a:pt x="1150584" y="1921666"/>
                  <a:pt x="1151410" y="1922285"/>
                </a:cubicBezTo>
                <a:cubicBezTo>
                  <a:pt x="1154818" y="1925073"/>
                  <a:pt x="1154921" y="1930340"/>
                  <a:pt x="1152236" y="1935142"/>
                </a:cubicBezTo>
                <a:lnTo>
                  <a:pt x="1151514" y="1935916"/>
                </a:lnTo>
                <a:lnTo>
                  <a:pt x="1161116" y="1939789"/>
                </a:lnTo>
                <a:lnTo>
                  <a:pt x="1163904" y="1940718"/>
                </a:lnTo>
                <a:lnTo>
                  <a:pt x="1164730" y="1940098"/>
                </a:lnTo>
                <a:cubicBezTo>
                  <a:pt x="1165866" y="1939789"/>
                  <a:pt x="1167002" y="1939479"/>
                  <a:pt x="1167828" y="1938550"/>
                </a:cubicBezTo>
                <a:cubicBezTo>
                  <a:pt x="1168241" y="1939479"/>
                  <a:pt x="1168861" y="1940408"/>
                  <a:pt x="1169067" y="1941647"/>
                </a:cubicBezTo>
                <a:lnTo>
                  <a:pt x="1168964" y="1942422"/>
                </a:lnTo>
                <a:lnTo>
                  <a:pt x="1169274" y="1942422"/>
                </a:lnTo>
                <a:lnTo>
                  <a:pt x="1168964" y="1942732"/>
                </a:lnTo>
                <a:lnTo>
                  <a:pt x="1168861" y="1943816"/>
                </a:lnTo>
                <a:cubicBezTo>
                  <a:pt x="1168654" y="1944590"/>
                  <a:pt x="1168241" y="1945365"/>
                  <a:pt x="1167518" y="1946294"/>
                </a:cubicBezTo>
                <a:cubicBezTo>
                  <a:pt x="1166589" y="1947224"/>
                  <a:pt x="1166589" y="1947224"/>
                  <a:pt x="1165763" y="1947224"/>
                </a:cubicBezTo>
                <a:cubicBezTo>
                  <a:pt x="1164834" y="1947688"/>
                  <a:pt x="1164111" y="1948153"/>
                  <a:pt x="1163491" y="1948463"/>
                </a:cubicBezTo>
                <a:lnTo>
                  <a:pt x="1163078" y="1948463"/>
                </a:lnTo>
                <a:lnTo>
                  <a:pt x="1162149" y="1949547"/>
                </a:lnTo>
                <a:cubicBezTo>
                  <a:pt x="1160600" y="1952335"/>
                  <a:pt x="1159567" y="1955278"/>
                  <a:pt x="1158432" y="1958222"/>
                </a:cubicBezTo>
                <a:lnTo>
                  <a:pt x="1159981" y="1958996"/>
                </a:lnTo>
                <a:cubicBezTo>
                  <a:pt x="1161013" y="1960235"/>
                  <a:pt x="1161736" y="1961629"/>
                  <a:pt x="1162975" y="1962404"/>
                </a:cubicBezTo>
                <a:cubicBezTo>
                  <a:pt x="1160910" y="1965656"/>
                  <a:pt x="1158019" y="1966431"/>
                  <a:pt x="1155850" y="1966121"/>
                </a:cubicBezTo>
                <a:lnTo>
                  <a:pt x="1154198" y="1965192"/>
                </a:lnTo>
                <a:lnTo>
                  <a:pt x="1152959" y="1966431"/>
                </a:lnTo>
                <a:cubicBezTo>
                  <a:pt x="1151927" y="1967360"/>
                  <a:pt x="1150688" y="1967980"/>
                  <a:pt x="1149242" y="1968599"/>
                </a:cubicBezTo>
                <a:cubicBezTo>
                  <a:pt x="1146454" y="1969683"/>
                  <a:pt x="1143872" y="1970303"/>
                  <a:pt x="1141395" y="1970303"/>
                </a:cubicBezTo>
                <a:lnTo>
                  <a:pt x="1137471" y="1969528"/>
                </a:lnTo>
                <a:lnTo>
                  <a:pt x="1137264" y="1969683"/>
                </a:lnTo>
                <a:cubicBezTo>
                  <a:pt x="1135922" y="1970613"/>
                  <a:pt x="1133650" y="1970458"/>
                  <a:pt x="1131069" y="1969219"/>
                </a:cubicBezTo>
                <a:lnTo>
                  <a:pt x="1132308" y="1967205"/>
                </a:lnTo>
                <a:lnTo>
                  <a:pt x="1129313" y="1964882"/>
                </a:lnTo>
                <a:lnTo>
                  <a:pt x="1127455" y="1961938"/>
                </a:lnTo>
                <a:lnTo>
                  <a:pt x="1125080" y="1961164"/>
                </a:lnTo>
                <a:lnTo>
                  <a:pt x="1125596" y="1963488"/>
                </a:lnTo>
                <a:cubicBezTo>
                  <a:pt x="1125493" y="1964417"/>
                  <a:pt x="1124977" y="1965346"/>
                  <a:pt x="1124047" y="1966431"/>
                </a:cubicBezTo>
                <a:cubicBezTo>
                  <a:pt x="1121466" y="1966585"/>
                  <a:pt x="1117232" y="1963488"/>
                  <a:pt x="1117336" y="1961009"/>
                </a:cubicBezTo>
                <a:cubicBezTo>
                  <a:pt x="1118265" y="1960080"/>
                  <a:pt x="1119195" y="1959150"/>
                  <a:pt x="1120021" y="1958376"/>
                </a:cubicBezTo>
                <a:lnTo>
                  <a:pt x="1121260" y="1958996"/>
                </a:lnTo>
                <a:lnTo>
                  <a:pt x="1117439" y="1956362"/>
                </a:lnTo>
                <a:cubicBezTo>
                  <a:pt x="1113929" y="1952800"/>
                  <a:pt x="1111760" y="1948153"/>
                  <a:pt x="1112483" y="1942886"/>
                </a:cubicBezTo>
                <a:cubicBezTo>
                  <a:pt x="1112896" y="1940408"/>
                  <a:pt x="1113929" y="1937620"/>
                  <a:pt x="1115890" y="1934832"/>
                </a:cubicBezTo>
                <a:cubicBezTo>
                  <a:pt x="1117336" y="1933128"/>
                  <a:pt x="1119091" y="1931734"/>
                  <a:pt x="1121053" y="1930804"/>
                </a:cubicBezTo>
                <a:lnTo>
                  <a:pt x="1125699" y="1929101"/>
                </a:lnTo>
                <a:lnTo>
                  <a:pt x="1126629" y="1927861"/>
                </a:lnTo>
                <a:lnTo>
                  <a:pt x="1127248" y="1928636"/>
                </a:lnTo>
                <a:lnTo>
                  <a:pt x="1131275" y="1927087"/>
                </a:lnTo>
                <a:cubicBezTo>
                  <a:pt x="1135096" y="1926003"/>
                  <a:pt x="1139123" y="1924764"/>
                  <a:pt x="1143150" y="1922750"/>
                </a:cubicBezTo>
                <a:lnTo>
                  <a:pt x="1143047" y="1924144"/>
                </a:lnTo>
                <a:lnTo>
                  <a:pt x="1143976" y="1923370"/>
                </a:lnTo>
                <a:cubicBezTo>
                  <a:pt x="1145628" y="1922285"/>
                  <a:pt x="1147280" y="1921511"/>
                  <a:pt x="1148726" y="1921356"/>
                </a:cubicBezTo>
                <a:close/>
                <a:moveTo>
                  <a:pt x="1263547" y="1921046"/>
                </a:moveTo>
                <a:cubicBezTo>
                  <a:pt x="1264269" y="1920582"/>
                  <a:pt x="1265199" y="1921975"/>
                  <a:pt x="1265199" y="1921975"/>
                </a:cubicBezTo>
                <a:cubicBezTo>
                  <a:pt x="1265302" y="1923834"/>
                  <a:pt x="1262617" y="1924609"/>
                  <a:pt x="1261172" y="1925538"/>
                </a:cubicBezTo>
                <a:cubicBezTo>
                  <a:pt x="1261378" y="1927397"/>
                  <a:pt x="1257351" y="1926158"/>
                  <a:pt x="1257455" y="1928017"/>
                </a:cubicBezTo>
                <a:cubicBezTo>
                  <a:pt x="1252705" y="1927242"/>
                  <a:pt x="1251259" y="1933128"/>
                  <a:pt x="1243722" y="1933128"/>
                </a:cubicBezTo>
                <a:lnTo>
                  <a:pt x="1248161" y="1929256"/>
                </a:lnTo>
                <a:lnTo>
                  <a:pt x="1247645" y="1927087"/>
                </a:lnTo>
                <a:cubicBezTo>
                  <a:pt x="1248058" y="1926003"/>
                  <a:pt x="1249091" y="1925073"/>
                  <a:pt x="1250536" y="1923989"/>
                </a:cubicBezTo>
                <a:cubicBezTo>
                  <a:pt x="1251156" y="1925228"/>
                  <a:pt x="1251156" y="1926313"/>
                  <a:pt x="1250743" y="1927397"/>
                </a:cubicBezTo>
                <a:lnTo>
                  <a:pt x="1250639" y="1927707"/>
                </a:lnTo>
                <a:lnTo>
                  <a:pt x="1255183" y="1925073"/>
                </a:lnTo>
                <a:cubicBezTo>
                  <a:pt x="1257248" y="1923989"/>
                  <a:pt x="1259107" y="1922750"/>
                  <a:pt x="1260449" y="1921201"/>
                </a:cubicBezTo>
                <a:cubicBezTo>
                  <a:pt x="1260449" y="1921201"/>
                  <a:pt x="1260346" y="1921201"/>
                  <a:pt x="1262824" y="1921666"/>
                </a:cubicBezTo>
                <a:cubicBezTo>
                  <a:pt x="1263547" y="1921046"/>
                  <a:pt x="1263547" y="1921046"/>
                  <a:pt x="1263547" y="1921046"/>
                </a:cubicBezTo>
                <a:close/>
                <a:moveTo>
                  <a:pt x="4907587" y="1920914"/>
                </a:moveTo>
                <a:cubicBezTo>
                  <a:pt x="4907800" y="1922053"/>
                  <a:pt x="4906307" y="1925040"/>
                  <a:pt x="4905453" y="1926605"/>
                </a:cubicBezTo>
                <a:cubicBezTo>
                  <a:pt x="4905666" y="1927743"/>
                  <a:pt x="4905026" y="1929166"/>
                  <a:pt x="4903959" y="1929593"/>
                </a:cubicBezTo>
                <a:cubicBezTo>
                  <a:pt x="4903959" y="1929593"/>
                  <a:pt x="4903105" y="1931158"/>
                  <a:pt x="4903319" y="1932295"/>
                </a:cubicBezTo>
                <a:cubicBezTo>
                  <a:pt x="4901825" y="1935284"/>
                  <a:pt x="4900757" y="1935710"/>
                  <a:pt x="4899690" y="1936137"/>
                </a:cubicBezTo>
                <a:cubicBezTo>
                  <a:pt x="4899690" y="1936137"/>
                  <a:pt x="4900331" y="1934572"/>
                  <a:pt x="4900117" y="1933433"/>
                </a:cubicBezTo>
                <a:cubicBezTo>
                  <a:pt x="4900117" y="1933433"/>
                  <a:pt x="4900971" y="1931868"/>
                  <a:pt x="4901825" y="1930446"/>
                </a:cubicBezTo>
                <a:cubicBezTo>
                  <a:pt x="4901825" y="1930446"/>
                  <a:pt x="4901398" y="1929308"/>
                  <a:pt x="4901184" y="1928170"/>
                </a:cubicBezTo>
                <a:cubicBezTo>
                  <a:pt x="4902465" y="1924044"/>
                  <a:pt x="4902892" y="1921341"/>
                  <a:pt x="4907587" y="1920914"/>
                </a:cubicBezTo>
                <a:close/>
                <a:moveTo>
                  <a:pt x="5949929" y="1919776"/>
                </a:moveTo>
                <a:cubicBezTo>
                  <a:pt x="5951423" y="1920060"/>
                  <a:pt x="5952490" y="1922194"/>
                  <a:pt x="5954198" y="1922621"/>
                </a:cubicBezTo>
                <a:cubicBezTo>
                  <a:pt x="5953130" y="1923190"/>
                  <a:pt x="5952490" y="1924897"/>
                  <a:pt x="5951423" y="1925609"/>
                </a:cubicBezTo>
                <a:cubicBezTo>
                  <a:pt x="5948435" y="1924897"/>
                  <a:pt x="5948862" y="1920345"/>
                  <a:pt x="5949929" y="1919776"/>
                </a:cubicBezTo>
                <a:close/>
                <a:moveTo>
                  <a:pt x="1572799" y="1919188"/>
                </a:moveTo>
                <a:cubicBezTo>
                  <a:pt x="1573935" y="1919032"/>
                  <a:pt x="1574864" y="1919652"/>
                  <a:pt x="1575380" y="1920736"/>
                </a:cubicBezTo>
                <a:cubicBezTo>
                  <a:pt x="1577239" y="1924144"/>
                  <a:pt x="1575380" y="1931734"/>
                  <a:pt x="1568462" y="1923215"/>
                </a:cubicBezTo>
                <a:cubicBezTo>
                  <a:pt x="1570218" y="1920582"/>
                  <a:pt x="1571663" y="1919497"/>
                  <a:pt x="1572799" y="1919188"/>
                </a:cubicBezTo>
                <a:close/>
                <a:moveTo>
                  <a:pt x="5041401" y="1919065"/>
                </a:moveTo>
                <a:cubicBezTo>
                  <a:pt x="5042682" y="1918495"/>
                  <a:pt x="5044389" y="1918780"/>
                  <a:pt x="5046737" y="1919349"/>
                </a:cubicBezTo>
                <a:cubicBezTo>
                  <a:pt x="5045456" y="1923190"/>
                  <a:pt x="5043109" y="1923332"/>
                  <a:pt x="5038200" y="1923759"/>
                </a:cubicBezTo>
                <a:cubicBezTo>
                  <a:pt x="5038840" y="1921057"/>
                  <a:pt x="5039907" y="1919634"/>
                  <a:pt x="5041401" y="1919065"/>
                </a:cubicBezTo>
                <a:close/>
                <a:moveTo>
                  <a:pt x="6137952" y="1918780"/>
                </a:moveTo>
                <a:cubicBezTo>
                  <a:pt x="6138165" y="1920345"/>
                  <a:pt x="6138165" y="1920345"/>
                  <a:pt x="6139660" y="1919918"/>
                </a:cubicBezTo>
                <a:cubicBezTo>
                  <a:pt x="6139660" y="1919918"/>
                  <a:pt x="6139660" y="1919918"/>
                  <a:pt x="6140300" y="1918780"/>
                </a:cubicBezTo>
                <a:cubicBezTo>
                  <a:pt x="6141153" y="1919349"/>
                  <a:pt x="6140513" y="1920488"/>
                  <a:pt x="6141367" y="1921057"/>
                </a:cubicBezTo>
                <a:cubicBezTo>
                  <a:pt x="6141367" y="1921057"/>
                  <a:pt x="6140727" y="1922053"/>
                  <a:pt x="6140727" y="1922053"/>
                </a:cubicBezTo>
                <a:cubicBezTo>
                  <a:pt x="6141153" y="1922337"/>
                  <a:pt x="6141153" y="1922337"/>
                  <a:pt x="6140940" y="1922337"/>
                </a:cubicBezTo>
                <a:cubicBezTo>
                  <a:pt x="6140513" y="1922479"/>
                  <a:pt x="6139660" y="1922764"/>
                  <a:pt x="6138592" y="1923475"/>
                </a:cubicBezTo>
                <a:cubicBezTo>
                  <a:pt x="6137098" y="1923902"/>
                  <a:pt x="6136458" y="1924897"/>
                  <a:pt x="6136245" y="1923332"/>
                </a:cubicBezTo>
                <a:cubicBezTo>
                  <a:pt x="6135818" y="1921767"/>
                  <a:pt x="6135818" y="1921767"/>
                  <a:pt x="6137952" y="1918780"/>
                </a:cubicBezTo>
                <a:close/>
                <a:moveTo>
                  <a:pt x="3855855" y="1918069"/>
                </a:moveTo>
                <a:cubicBezTo>
                  <a:pt x="3856922" y="1918211"/>
                  <a:pt x="3857135" y="1919492"/>
                  <a:pt x="3856068" y="1920772"/>
                </a:cubicBezTo>
                <a:cubicBezTo>
                  <a:pt x="3856068" y="1920772"/>
                  <a:pt x="3855001" y="1920772"/>
                  <a:pt x="3855001" y="1920772"/>
                </a:cubicBezTo>
                <a:cubicBezTo>
                  <a:pt x="3855001" y="1919349"/>
                  <a:pt x="3855001" y="1918069"/>
                  <a:pt x="3855855" y="1918069"/>
                </a:cubicBezTo>
                <a:close/>
                <a:moveTo>
                  <a:pt x="3569872" y="1917073"/>
                </a:moveTo>
                <a:cubicBezTo>
                  <a:pt x="3570939" y="1916504"/>
                  <a:pt x="3570939" y="1916647"/>
                  <a:pt x="3571366" y="1917642"/>
                </a:cubicBezTo>
                <a:lnTo>
                  <a:pt x="3571366" y="1917215"/>
                </a:lnTo>
                <a:lnTo>
                  <a:pt x="3573286" y="1919349"/>
                </a:lnTo>
                <a:cubicBezTo>
                  <a:pt x="3573500" y="1920488"/>
                  <a:pt x="3573500" y="1921910"/>
                  <a:pt x="3573500" y="1923190"/>
                </a:cubicBezTo>
                <a:cubicBezTo>
                  <a:pt x="3572433" y="1923759"/>
                  <a:pt x="3572433" y="1923759"/>
                  <a:pt x="3570939" y="1923048"/>
                </a:cubicBezTo>
                <a:cubicBezTo>
                  <a:pt x="3569872" y="1923617"/>
                  <a:pt x="3570299" y="1918211"/>
                  <a:pt x="3569872" y="1917073"/>
                </a:cubicBezTo>
                <a:close/>
                <a:moveTo>
                  <a:pt x="3559414" y="1917073"/>
                </a:moveTo>
                <a:cubicBezTo>
                  <a:pt x="3559841" y="1918211"/>
                  <a:pt x="3560482" y="1919349"/>
                  <a:pt x="3560908" y="1920345"/>
                </a:cubicBezTo>
                <a:cubicBezTo>
                  <a:pt x="3560268" y="1921910"/>
                  <a:pt x="3560268" y="1921767"/>
                  <a:pt x="3558774" y="1921199"/>
                </a:cubicBezTo>
                <a:cubicBezTo>
                  <a:pt x="3558347" y="1920202"/>
                  <a:pt x="3557920" y="1919207"/>
                  <a:pt x="3558988" y="1918638"/>
                </a:cubicBezTo>
                <a:cubicBezTo>
                  <a:pt x="3558561" y="1917642"/>
                  <a:pt x="3558561" y="1917500"/>
                  <a:pt x="3559414" y="1917073"/>
                </a:cubicBezTo>
                <a:close/>
                <a:moveTo>
                  <a:pt x="1401600" y="1916864"/>
                </a:moveTo>
                <a:cubicBezTo>
                  <a:pt x="1404388" y="1918258"/>
                  <a:pt x="1404595" y="1920117"/>
                  <a:pt x="1404904" y="1923679"/>
                </a:cubicBezTo>
                <a:cubicBezTo>
                  <a:pt x="1402942" y="1922905"/>
                  <a:pt x="1401910" y="1921975"/>
                  <a:pt x="1401497" y="1920891"/>
                </a:cubicBezTo>
                <a:cubicBezTo>
                  <a:pt x="1401084" y="1919807"/>
                  <a:pt x="1401187" y="1918568"/>
                  <a:pt x="1401600" y="1916864"/>
                </a:cubicBezTo>
                <a:close/>
                <a:moveTo>
                  <a:pt x="1300616" y="1916554"/>
                </a:moveTo>
                <a:cubicBezTo>
                  <a:pt x="1304746" y="1918413"/>
                  <a:pt x="1304333" y="1922595"/>
                  <a:pt x="1305985" y="1926777"/>
                </a:cubicBezTo>
                <a:cubicBezTo>
                  <a:pt x="1305159" y="1927087"/>
                  <a:pt x="1304952" y="1928326"/>
                  <a:pt x="1305366" y="1928946"/>
                </a:cubicBezTo>
                <a:cubicBezTo>
                  <a:pt x="1305056" y="1930185"/>
                  <a:pt x="1304849" y="1931269"/>
                  <a:pt x="1305572" y="1930959"/>
                </a:cubicBezTo>
                <a:cubicBezTo>
                  <a:pt x="1304746" y="1934367"/>
                  <a:pt x="1305262" y="1935142"/>
                  <a:pt x="1302577" y="1935451"/>
                </a:cubicBezTo>
                <a:cubicBezTo>
                  <a:pt x="1299583" y="1929101"/>
                  <a:pt x="1298344" y="1920891"/>
                  <a:pt x="1298137" y="1918878"/>
                </a:cubicBezTo>
                <a:cubicBezTo>
                  <a:pt x="1298034" y="1917948"/>
                  <a:pt x="1298137" y="1917484"/>
                  <a:pt x="1298550" y="1917019"/>
                </a:cubicBezTo>
                <a:cubicBezTo>
                  <a:pt x="1298964" y="1916709"/>
                  <a:pt x="1299686" y="1916554"/>
                  <a:pt x="1300616" y="1916554"/>
                </a:cubicBezTo>
                <a:close/>
                <a:moveTo>
                  <a:pt x="3571579" y="1916361"/>
                </a:moveTo>
                <a:lnTo>
                  <a:pt x="3571366" y="1917215"/>
                </a:lnTo>
                <a:lnTo>
                  <a:pt x="3570939" y="1916647"/>
                </a:lnTo>
                <a:cubicBezTo>
                  <a:pt x="3571366" y="1916361"/>
                  <a:pt x="3571579" y="1916219"/>
                  <a:pt x="3571579" y="1916361"/>
                </a:cubicBezTo>
                <a:close/>
                <a:moveTo>
                  <a:pt x="5479339" y="1915792"/>
                </a:moveTo>
                <a:cubicBezTo>
                  <a:pt x="5484460" y="1916647"/>
                  <a:pt x="5491503" y="1915792"/>
                  <a:pt x="5497479" y="1915792"/>
                </a:cubicBezTo>
                <a:cubicBezTo>
                  <a:pt x="5503669" y="1915792"/>
                  <a:pt x="5509004" y="1916647"/>
                  <a:pt x="5510711" y="1920629"/>
                </a:cubicBezTo>
                <a:cubicBezTo>
                  <a:pt x="5511992" y="1923332"/>
                  <a:pt x="5511565" y="1927316"/>
                  <a:pt x="5509004" y="1933576"/>
                </a:cubicBezTo>
                <a:cubicBezTo>
                  <a:pt x="5500040" y="1924186"/>
                  <a:pt x="5482753" y="1926889"/>
                  <a:pt x="5479339" y="1915792"/>
                </a:cubicBezTo>
                <a:close/>
                <a:moveTo>
                  <a:pt x="3600604" y="1915792"/>
                </a:moveTo>
                <a:cubicBezTo>
                  <a:pt x="3603806" y="1916077"/>
                  <a:pt x="3607220" y="1917073"/>
                  <a:pt x="3608714" y="1918069"/>
                </a:cubicBezTo>
                <a:cubicBezTo>
                  <a:pt x="3609782" y="1922053"/>
                  <a:pt x="3608928" y="1924897"/>
                  <a:pt x="3607434" y="1926605"/>
                </a:cubicBezTo>
                <a:cubicBezTo>
                  <a:pt x="3602525" y="1931868"/>
                  <a:pt x="3589720" y="1927601"/>
                  <a:pt x="3592281" y="1917215"/>
                </a:cubicBezTo>
                <a:cubicBezTo>
                  <a:pt x="3593988" y="1915792"/>
                  <a:pt x="3597403" y="1915508"/>
                  <a:pt x="3600604" y="1915792"/>
                </a:cubicBezTo>
                <a:close/>
                <a:moveTo>
                  <a:pt x="1304642" y="1915780"/>
                </a:moveTo>
                <a:cubicBezTo>
                  <a:pt x="1304642" y="1915780"/>
                  <a:pt x="1304642" y="1915935"/>
                  <a:pt x="1305469" y="1915780"/>
                </a:cubicBezTo>
                <a:cubicBezTo>
                  <a:pt x="1305469" y="1915780"/>
                  <a:pt x="1305469" y="1916554"/>
                  <a:pt x="1304642" y="1917328"/>
                </a:cubicBezTo>
                <a:cubicBezTo>
                  <a:pt x="1304642" y="1917328"/>
                  <a:pt x="1304436" y="1917174"/>
                  <a:pt x="1304333" y="1917019"/>
                </a:cubicBezTo>
                <a:cubicBezTo>
                  <a:pt x="1304230" y="1916709"/>
                  <a:pt x="1304230" y="1916244"/>
                  <a:pt x="1304642" y="1915780"/>
                </a:cubicBezTo>
                <a:close/>
                <a:moveTo>
                  <a:pt x="5355128" y="1915508"/>
                </a:moveTo>
                <a:cubicBezTo>
                  <a:pt x="5364732" y="1923048"/>
                  <a:pt x="5375403" y="1928739"/>
                  <a:pt x="5380098" y="1945242"/>
                </a:cubicBezTo>
                <a:cubicBezTo>
                  <a:pt x="5377324" y="1947518"/>
                  <a:pt x="5376684" y="1953778"/>
                  <a:pt x="5370922" y="1951502"/>
                </a:cubicBezTo>
                <a:cubicBezTo>
                  <a:pt x="5371562" y="1935568"/>
                  <a:pt x="5350646" y="1928739"/>
                  <a:pt x="5355128" y="1915508"/>
                </a:cubicBezTo>
                <a:close/>
                <a:moveTo>
                  <a:pt x="5315005" y="1915508"/>
                </a:moveTo>
                <a:lnTo>
                  <a:pt x="5314579" y="1916931"/>
                </a:lnTo>
                <a:lnTo>
                  <a:pt x="5315432" y="1916361"/>
                </a:lnTo>
                <a:close/>
                <a:moveTo>
                  <a:pt x="1266231" y="1915470"/>
                </a:moveTo>
                <a:cubicBezTo>
                  <a:pt x="1276660" y="1916554"/>
                  <a:pt x="1284301" y="1919807"/>
                  <a:pt x="1289464" y="1925073"/>
                </a:cubicBezTo>
                <a:cubicBezTo>
                  <a:pt x="1291116" y="1926777"/>
                  <a:pt x="1292665" y="1928791"/>
                  <a:pt x="1293801" y="1930959"/>
                </a:cubicBezTo>
                <a:cubicBezTo>
                  <a:pt x="1288225" y="1935296"/>
                  <a:pt x="1282236" y="1930804"/>
                  <a:pt x="1277073" y="1928636"/>
                </a:cubicBezTo>
                <a:cubicBezTo>
                  <a:pt x="1276247" y="1934522"/>
                  <a:pt x="1276660" y="1943506"/>
                  <a:pt x="1269845" y="1943661"/>
                </a:cubicBezTo>
                <a:lnTo>
                  <a:pt x="1268090" y="1939943"/>
                </a:lnTo>
                <a:lnTo>
                  <a:pt x="1264889" y="1940253"/>
                </a:lnTo>
                <a:lnTo>
                  <a:pt x="1264063" y="1939479"/>
                </a:lnTo>
                <a:lnTo>
                  <a:pt x="1262824" y="1940253"/>
                </a:lnTo>
                <a:cubicBezTo>
                  <a:pt x="1262204" y="1940718"/>
                  <a:pt x="1261791" y="1941028"/>
                  <a:pt x="1261791" y="1941028"/>
                </a:cubicBezTo>
                <a:cubicBezTo>
                  <a:pt x="1260656" y="1940563"/>
                  <a:pt x="1260036" y="1940253"/>
                  <a:pt x="1259829" y="1939789"/>
                </a:cubicBezTo>
                <a:lnTo>
                  <a:pt x="1259933" y="1938394"/>
                </a:lnTo>
                <a:lnTo>
                  <a:pt x="1257868" y="1937930"/>
                </a:lnTo>
                <a:cubicBezTo>
                  <a:pt x="1258177" y="1936071"/>
                  <a:pt x="1260759" y="1932818"/>
                  <a:pt x="1262721" y="1933128"/>
                </a:cubicBezTo>
                <a:lnTo>
                  <a:pt x="1261998" y="1935142"/>
                </a:lnTo>
                <a:lnTo>
                  <a:pt x="1263443" y="1933593"/>
                </a:lnTo>
                <a:cubicBezTo>
                  <a:pt x="1265095" y="1932508"/>
                  <a:pt x="1267057" y="1931734"/>
                  <a:pt x="1268606" y="1932044"/>
                </a:cubicBezTo>
                <a:lnTo>
                  <a:pt x="1268606" y="1934212"/>
                </a:lnTo>
                <a:lnTo>
                  <a:pt x="1269639" y="1930030"/>
                </a:lnTo>
                <a:cubicBezTo>
                  <a:pt x="1270155" y="1928171"/>
                  <a:pt x="1270465" y="1926468"/>
                  <a:pt x="1270362" y="1924764"/>
                </a:cubicBezTo>
                <a:cubicBezTo>
                  <a:pt x="1269329" y="1922440"/>
                  <a:pt x="1266644" y="1921975"/>
                  <a:pt x="1266025" y="1919188"/>
                </a:cubicBezTo>
                <a:cubicBezTo>
                  <a:pt x="1265922" y="1918258"/>
                  <a:pt x="1265818" y="1917019"/>
                  <a:pt x="1266231" y="1915470"/>
                </a:cubicBezTo>
                <a:close/>
                <a:moveTo>
                  <a:pt x="3888081" y="1915365"/>
                </a:moveTo>
                <a:cubicBezTo>
                  <a:pt x="3891282" y="1915650"/>
                  <a:pt x="3894270" y="1917642"/>
                  <a:pt x="3893630" y="1922194"/>
                </a:cubicBezTo>
                <a:cubicBezTo>
                  <a:pt x="3893630" y="1923475"/>
                  <a:pt x="3892776" y="1924329"/>
                  <a:pt x="3891496" y="1924755"/>
                </a:cubicBezTo>
                <a:cubicBezTo>
                  <a:pt x="3887654" y="1925894"/>
                  <a:pt x="3880398" y="1923475"/>
                  <a:pt x="3880611" y="1918353"/>
                </a:cubicBezTo>
                <a:cubicBezTo>
                  <a:pt x="3881251" y="1916361"/>
                  <a:pt x="3884666" y="1915081"/>
                  <a:pt x="3888081" y="1915365"/>
                </a:cubicBezTo>
                <a:close/>
                <a:moveTo>
                  <a:pt x="5553182" y="1915223"/>
                </a:moveTo>
                <a:cubicBezTo>
                  <a:pt x="5555529" y="1916647"/>
                  <a:pt x="5558731" y="1922053"/>
                  <a:pt x="5557450" y="1924471"/>
                </a:cubicBezTo>
                <a:cubicBezTo>
                  <a:pt x="5555316" y="1922906"/>
                  <a:pt x="5554249" y="1921483"/>
                  <a:pt x="5553182" y="1920202"/>
                </a:cubicBezTo>
                <a:cubicBezTo>
                  <a:pt x="5550834" y="1918638"/>
                  <a:pt x="5550834" y="1917357"/>
                  <a:pt x="5553182" y="1915223"/>
                </a:cubicBezTo>
                <a:close/>
                <a:moveTo>
                  <a:pt x="776590" y="1914695"/>
                </a:moveTo>
                <a:cubicBezTo>
                  <a:pt x="777520" y="1915005"/>
                  <a:pt x="778242" y="1915780"/>
                  <a:pt x="778656" y="1916709"/>
                </a:cubicBezTo>
                <a:cubicBezTo>
                  <a:pt x="781443" y="1922440"/>
                  <a:pt x="777106" y="1929101"/>
                  <a:pt x="769569" y="1930959"/>
                </a:cubicBezTo>
                <a:cubicBezTo>
                  <a:pt x="758004" y="1933903"/>
                  <a:pt x="750776" y="1930340"/>
                  <a:pt x="750776" y="1930340"/>
                </a:cubicBezTo>
                <a:cubicBezTo>
                  <a:pt x="749950" y="1928326"/>
                  <a:pt x="749744" y="1926622"/>
                  <a:pt x="749950" y="1925228"/>
                </a:cubicBezTo>
                <a:cubicBezTo>
                  <a:pt x="750570" y="1920891"/>
                  <a:pt x="755010" y="1918413"/>
                  <a:pt x="759657" y="1916864"/>
                </a:cubicBezTo>
                <a:cubicBezTo>
                  <a:pt x="761721" y="1916089"/>
                  <a:pt x="763890" y="1915625"/>
                  <a:pt x="765749" y="1915160"/>
                </a:cubicBezTo>
                <a:cubicBezTo>
                  <a:pt x="769672" y="1914076"/>
                  <a:pt x="774009" y="1913301"/>
                  <a:pt x="776590" y="1914695"/>
                </a:cubicBezTo>
                <a:close/>
                <a:moveTo>
                  <a:pt x="1534426" y="1914231"/>
                </a:moveTo>
                <a:cubicBezTo>
                  <a:pt x="1536272" y="1913030"/>
                  <a:pt x="1538621" y="1913146"/>
                  <a:pt x="1540376" y="1914231"/>
                </a:cubicBezTo>
                <a:cubicBezTo>
                  <a:pt x="1541616" y="1915005"/>
                  <a:pt x="1542545" y="1916089"/>
                  <a:pt x="1542855" y="1917638"/>
                </a:cubicBezTo>
                <a:cubicBezTo>
                  <a:pt x="1543268" y="1919497"/>
                  <a:pt x="1542751" y="1921821"/>
                  <a:pt x="1540376" y="1924609"/>
                </a:cubicBezTo>
                <a:cubicBezTo>
                  <a:pt x="1536040" y="1924918"/>
                  <a:pt x="1534388" y="1923060"/>
                  <a:pt x="1531497" y="1922130"/>
                </a:cubicBezTo>
                <a:cubicBezTo>
                  <a:pt x="1531238" y="1917948"/>
                  <a:pt x="1532581" y="1915431"/>
                  <a:pt x="1534426" y="1914231"/>
                </a:cubicBezTo>
                <a:close/>
                <a:moveTo>
                  <a:pt x="3849239" y="1914228"/>
                </a:moveTo>
                <a:cubicBezTo>
                  <a:pt x="3850092" y="1914370"/>
                  <a:pt x="3850306" y="1914939"/>
                  <a:pt x="3850306" y="1915650"/>
                </a:cubicBezTo>
                <a:cubicBezTo>
                  <a:pt x="3850306" y="1916361"/>
                  <a:pt x="3850092" y="1917215"/>
                  <a:pt x="3849879" y="1918069"/>
                </a:cubicBezTo>
                <a:cubicBezTo>
                  <a:pt x="3849239" y="1919776"/>
                  <a:pt x="3848811" y="1921483"/>
                  <a:pt x="3848385" y="1923048"/>
                </a:cubicBezTo>
                <a:cubicBezTo>
                  <a:pt x="3848385" y="1923048"/>
                  <a:pt x="3848385" y="1923048"/>
                  <a:pt x="3849239" y="1914228"/>
                </a:cubicBezTo>
                <a:close/>
                <a:moveTo>
                  <a:pt x="4973961" y="1913658"/>
                </a:moveTo>
                <a:cubicBezTo>
                  <a:pt x="4976949" y="1913800"/>
                  <a:pt x="4977802" y="1916504"/>
                  <a:pt x="4978869" y="1919065"/>
                </a:cubicBezTo>
                <a:cubicBezTo>
                  <a:pt x="4974601" y="1919776"/>
                  <a:pt x="4975668" y="1925040"/>
                  <a:pt x="4970973" y="1923048"/>
                </a:cubicBezTo>
                <a:cubicBezTo>
                  <a:pt x="4969479" y="1921341"/>
                  <a:pt x="4969052" y="1918780"/>
                  <a:pt x="4970333" y="1914512"/>
                </a:cubicBezTo>
                <a:cubicBezTo>
                  <a:pt x="4971826" y="1913943"/>
                  <a:pt x="4973107" y="1913658"/>
                  <a:pt x="4973961" y="1913658"/>
                </a:cubicBezTo>
                <a:close/>
                <a:moveTo>
                  <a:pt x="1521816" y="1913263"/>
                </a:moveTo>
                <a:cubicBezTo>
                  <a:pt x="1525585" y="1913301"/>
                  <a:pt x="1528967" y="1914618"/>
                  <a:pt x="1530464" y="1919188"/>
                </a:cubicBezTo>
                <a:cubicBezTo>
                  <a:pt x="1524888" y="1926777"/>
                  <a:pt x="1508987" y="1927707"/>
                  <a:pt x="1509606" y="1919188"/>
                </a:cubicBezTo>
                <a:cubicBezTo>
                  <a:pt x="1509606" y="1917948"/>
                  <a:pt x="1510019" y="1916554"/>
                  <a:pt x="1510845" y="1915005"/>
                </a:cubicBezTo>
                <a:cubicBezTo>
                  <a:pt x="1513891" y="1914463"/>
                  <a:pt x="1518047" y="1913224"/>
                  <a:pt x="1521816" y="1913263"/>
                </a:cubicBezTo>
                <a:close/>
                <a:moveTo>
                  <a:pt x="5970204" y="1913090"/>
                </a:moveTo>
                <a:cubicBezTo>
                  <a:pt x="5971058" y="1913658"/>
                  <a:pt x="5971912" y="1915223"/>
                  <a:pt x="5972552" y="1918069"/>
                </a:cubicBezTo>
                <a:cubicBezTo>
                  <a:pt x="5968710" y="1920488"/>
                  <a:pt x="5966576" y="1920629"/>
                  <a:pt x="5965509" y="1919918"/>
                </a:cubicBezTo>
                <a:cubicBezTo>
                  <a:pt x="5963374" y="1918211"/>
                  <a:pt x="5967216" y="1911524"/>
                  <a:pt x="5970204" y="1913090"/>
                </a:cubicBezTo>
                <a:close/>
                <a:moveTo>
                  <a:pt x="797551" y="1912372"/>
                </a:moveTo>
                <a:cubicBezTo>
                  <a:pt x="798481" y="1913146"/>
                  <a:pt x="798481" y="1913146"/>
                  <a:pt x="798584" y="1915470"/>
                </a:cubicBezTo>
                <a:cubicBezTo>
                  <a:pt x="797758" y="1914850"/>
                  <a:pt x="797758" y="1914850"/>
                  <a:pt x="797035" y="1915780"/>
                </a:cubicBezTo>
                <a:cubicBezTo>
                  <a:pt x="797035" y="1915780"/>
                  <a:pt x="796932" y="1915780"/>
                  <a:pt x="797035" y="1916554"/>
                </a:cubicBezTo>
                <a:cubicBezTo>
                  <a:pt x="796209" y="1916709"/>
                  <a:pt x="796209" y="1915935"/>
                  <a:pt x="795383" y="1915935"/>
                </a:cubicBezTo>
                <a:cubicBezTo>
                  <a:pt x="795383" y="1915935"/>
                  <a:pt x="795280" y="1915160"/>
                  <a:pt x="795280" y="1915160"/>
                </a:cubicBezTo>
                <a:cubicBezTo>
                  <a:pt x="794866" y="1915315"/>
                  <a:pt x="794866" y="1915315"/>
                  <a:pt x="795073" y="1915005"/>
                </a:cubicBezTo>
                <a:cubicBezTo>
                  <a:pt x="795280" y="1914850"/>
                  <a:pt x="795693" y="1914385"/>
                  <a:pt x="796002" y="1913456"/>
                </a:cubicBezTo>
                <a:cubicBezTo>
                  <a:pt x="796829" y="1912527"/>
                  <a:pt x="796726" y="1911752"/>
                  <a:pt x="797551" y="1912372"/>
                </a:cubicBezTo>
                <a:close/>
                <a:moveTo>
                  <a:pt x="1241140" y="1912217"/>
                </a:moveTo>
                <a:cubicBezTo>
                  <a:pt x="1241966" y="1912217"/>
                  <a:pt x="1242792" y="1912681"/>
                  <a:pt x="1243515" y="1913456"/>
                </a:cubicBezTo>
                <a:cubicBezTo>
                  <a:pt x="1245993" y="1915625"/>
                  <a:pt x="1248265" y="1920426"/>
                  <a:pt x="1248988" y="1922905"/>
                </a:cubicBezTo>
                <a:cubicBezTo>
                  <a:pt x="1245890" y="1922905"/>
                  <a:pt x="1242069" y="1915625"/>
                  <a:pt x="1241140" y="1912217"/>
                </a:cubicBezTo>
                <a:close/>
                <a:moveTo>
                  <a:pt x="1430512" y="1910978"/>
                </a:moveTo>
                <a:cubicBezTo>
                  <a:pt x="1430925" y="1911288"/>
                  <a:pt x="1431235" y="1911752"/>
                  <a:pt x="1431544" y="1912217"/>
                </a:cubicBezTo>
                <a:cubicBezTo>
                  <a:pt x="1432267" y="1913146"/>
                  <a:pt x="1433093" y="1913921"/>
                  <a:pt x="1433816" y="1914850"/>
                </a:cubicBezTo>
                <a:cubicBezTo>
                  <a:pt x="1433816" y="1914850"/>
                  <a:pt x="1433816" y="1914850"/>
                  <a:pt x="1429066" y="1911133"/>
                </a:cubicBezTo>
                <a:cubicBezTo>
                  <a:pt x="1429583" y="1910668"/>
                  <a:pt x="1430099" y="1910823"/>
                  <a:pt x="1430512" y="1910978"/>
                </a:cubicBezTo>
                <a:close/>
                <a:moveTo>
                  <a:pt x="5518394" y="1910101"/>
                </a:moveTo>
                <a:cubicBezTo>
                  <a:pt x="5518181" y="1913658"/>
                  <a:pt x="5518181" y="1918211"/>
                  <a:pt x="5516901" y="1920345"/>
                </a:cubicBezTo>
                <a:cubicBezTo>
                  <a:pt x="5515833" y="1917927"/>
                  <a:pt x="5514980" y="1913090"/>
                  <a:pt x="5517114" y="1911098"/>
                </a:cubicBezTo>
                <a:cubicBezTo>
                  <a:pt x="5517114" y="1911098"/>
                  <a:pt x="5517114" y="1911098"/>
                  <a:pt x="5518394" y="1910101"/>
                </a:cubicBezTo>
                <a:close/>
                <a:moveTo>
                  <a:pt x="3690454" y="1908395"/>
                </a:moveTo>
                <a:cubicBezTo>
                  <a:pt x="3691522" y="1909817"/>
                  <a:pt x="3692588" y="1911240"/>
                  <a:pt x="3693442" y="1912663"/>
                </a:cubicBezTo>
                <a:cubicBezTo>
                  <a:pt x="3688107" y="1917500"/>
                  <a:pt x="3687253" y="1923332"/>
                  <a:pt x="3683411" y="1927316"/>
                </a:cubicBezTo>
                <a:cubicBezTo>
                  <a:pt x="3681704" y="1920914"/>
                  <a:pt x="3679783" y="1909533"/>
                  <a:pt x="3690454" y="1908395"/>
                </a:cubicBezTo>
                <a:close/>
                <a:moveTo>
                  <a:pt x="1109695" y="1908345"/>
                </a:moveTo>
                <a:cubicBezTo>
                  <a:pt x="1110314" y="1908500"/>
                  <a:pt x="1110831" y="1908809"/>
                  <a:pt x="1111347" y="1909584"/>
                </a:cubicBezTo>
                <a:cubicBezTo>
                  <a:pt x="1111347" y="1909584"/>
                  <a:pt x="1111347" y="1909584"/>
                  <a:pt x="1111244" y="1910358"/>
                </a:cubicBezTo>
                <a:cubicBezTo>
                  <a:pt x="1110934" y="1912062"/>
                  <a:pt x="1110831" y="1912837"/>
                  <a:pt x="1110624" y="1913611"/>
                </a:cubicBezTo>
                <a:cubicBezTo>
                  <a:pt x="1109695" y="1914385"/>
                  <a:pt x="1106803" y="1915935"/>
                  <a:pt x="1106081" y="1915005"/>
                </a:cubicBezTo>
                <a:cubicBezTo>
                  <a:pt x="1105358" y="1914231"/>
                  <a:pt x="1104842" y="1913146"/>
                  <a:pt x="1104738" y="1912217"/>
                </a:cubicBezTo>
                <a:cubicBezTo>
                  <a:pt x="1104532" y="1911288"/>
                  <a:pt x="1104635" y="1910358"/>
                  <a:pt x="1105152" y="1910048"/>
                </a:cubicBezTo>
                <a:cubicBezTo>
                  <a:pt x="1106700" y="1908809"/>
                  <a:pt x="1108146" y="1907725"/>
                  <a:pt x="1109695" y="1908345"/>
                </a:cubicBezTo>
                <a:close/>
                <a:moveTo>
                  <a:pt x="4623952" y="1908252"/>
                </a:moveTo>
                <a:lnTo>
                  <a:pt x="4623312" y="1908821"/>
                </a:lnTo>
                <a:lnTo>
                  <a:pt x="4623739" y="1908679"/>
                </a:lnTo>
                <a:close/>
                <a:moveTo>
                  <a:pt x="5542511" y="1908110"/>
                </a:moveTo>
                <a:cubicBezTo>
                  <a:pt x="5543578" y="1908110"/>
                  <a:pt x="5544645" y="1908821"/>
                  <a:pt x="5545712" y="1910244"/>
                </a:cubicBezTo>
                <a:lnTo>
                  <a:pt x="5543578" y="1913090"/>
                </a:lnTo>
                <a:lnTo>
                  <a:pt x="5544645" y="1913090"/>
                </a:lnTo>
                <a:cubicBezTo>
                  <a:pt x="5548273" y="1916931"/>
                  <a:pt x="5545926" y="1919207"/>
                  <a:pt x="5543791" y="1923902"/>
                </a:cubicBezTo>
                <a:cubicBezTo>
                  <a:pt x="5542724" y="1922621"/>
                  <a:pt x="5539310" y="1926178"/>
                  <a:pt x="5538242" y="1927316"/>
                </a:cubicBezTo>
                <a:cubicBezTo>
                  <a:pt x="5535682" y="1924755"/>
                  <a:pt x="5531200" y="1928312"/>
                  <a:pt x="5527571" y="1924471"/>
                </a:cubicBezTo>
                <a:cubicBezTo>
                  <a:pt x="5527571" y="1922053"/>
                  <a:pt x="5527571" y="1920772"/>
                  <a:pt x="5528639" y="1918353"/>
                </a:cubicBezTo>
                <a:cubicBezTo>
                  <a:pt x="5530773" y="1916361"/>
                  <a:pt x="5532694" y="1915081"/>
                  <a:pt x="5534614" y="1914370"/>
                </a:cubicBezTo>
                <a:lnTo>
                  <a:pt x="5539096" y="1913090"/>
                </a:lnTo>
                <a:lnTo>
                  <a:pt x="5539096" y="1910813"/>
                </a:lnTo>
                <a:cubicBezTo>
                  <a:pt x="5539523" y="1909248"/>
                  <a:pt x="5541017" y="1907968"/>
                  <a:pt x="5542511" y="1908110"/>
                </a:cubicBezTo>
                <a:close/>
                <a:moveTo>
                  <a:pt x="1047534" y="1908035"/>
                </a:moveTo>
                <a:cubicBezTo>
                  <a:pt x="1055072" y="1913456"/>
                  <a:pt x="1051252" y="1921046"/>
                  <a:pt x="1052078" y="1922750"/>
                </a:cubicBezTo>
                <a:cubicBezTo>
                  <a:pt x="1050013" y="1924609"/>
                  <a:pt x="1049496" y="1925228"/>
                  <a:pt x="1047328" y="1923679"/>
                </a:cubicBezTo>
                <a:lnTo>
                  <a:pt x="1045160" y="1921975"/>
                </a:lnTo>
                <a:lnTo>
                  <a:pt x="1043198" y="1923215"/>
                </a:lnTo>
                <a:cubicBezTo>
                  <a:pt x="1042372" y="1922440"/>
                  <a:pt x="1041649" y="1921666"/>
                  <a:pt x="1040823" y="1920891"/>
                </a:cubicBezTo>
                <a:lnTo>
                  <a:pt x="1042785" y="1917328"/>
                </a:lnTo>
                <a:lnTo>
                  <a:pt x="1042991" y="1914850"/>
                </a:lnTo>
                <a:cubicBezTo>
                  <a:pt x="1042165" y="1913301"/>
                  <a:pt x="1042268" y="1910823"/>
                  <a:pt x="1043198" y="1909119"/>
                </a:cubicBezTo>
                <a:cubicBezTo>
                  <a:pt x="1045056" y="1907415"/>
                  <a:pt x="1046708" y="1907260"/>
                  <a:pt x="1047534" y="1908035"/>
                </a:cubicBezTo>
                <a:close/>
                <a:moveTo>
                  <a:pt x="884390" y="1907570"/>
                </a:moveTo>
                <a:cubicBezTo>
                  <a:pt x="885113" y="1907570"/>
                  <a:pt x="885835" y="1907725"/>
                  <a:pt x="886662" y="1908190"/>
                </a:cubicBezTo>
                <a:cubicBezTo>
                  <a:pt x="887797" y="1912372"/>
                  <a:pt x="884287" y="1915470"/>
                  <a:pt x="879743" y="1912062"/>
                </a:cubicBezTo>
                <a:cubicBezTo>
                  <a:pt x="881086" y="1909893"/>
                  <a:pt x="882428" y="1907725"/>
                  <a:pt x="884390" y="1907570"/>
                </a:cubicBezTo>
                <a:close/>
                <a:moveTo>
                  <a:pt x="5490010" y="1907541"/>
                </a:moveTo>
                <a:cubicBezTo>
                  <a:pt x="5491717" y="1907968"/>
                  <a:pt x="5492998" y="1910101"/>
                  <a:pt x="5493851" y="1911240"/>
                </a:cubicBezTo>
                <a:cubicBezTo>
                  <a:pt x="5492784" y="1911809"/>
                  <a:pt x="5493424" y="1912947"/>
                  <a:pt x="5492571" y="1913517"/>
                </a:cubicBezTo>
                <a:cubicBezTo>
                  <a:pt x="5491290" y="1915792"/>
                  <a:pt x="5491290" y="1915935"/>
                  <a:pt x="5489796" y="1915508"/>
                </a:cubicBezTo>
                <a:cubicBezTo>
                  <a:pt x="5488089" y="1915081"/>
                  <a:pt x="5486808" y="1911240"/>
                  <a:pt x="5485101" y="1910813"/>
                </a:cubicBezTo>
                <a:cubicBezTo>
                  <a:pt x="5485101" y="1910813"/>
                  <a:pt x="5485101" y="1910671"/>
                  <a:pt x="5486381" y="1908395"/>
                </a:cubicBezTo>
                <a:cubicBezTo>
                  <a:pt x="5487448" y="1907683"/>
                  <a:pt x="5488303" y="1907114"/>
                  <a:pt x="5490010" y="1907541"/>
                </a:cubicBezTo>
                <a:close/>
                <a:moveTo>
                  <a:pt x="5106708" y="1906972"/>
                </a:moveTo>
                <a:cubicBezTo>
                  <a:pt x="5108201" y="1907399"/>
                  <a:pt x="5109482" y="1908110"/>
                  <a:pt x="5110976" y="1909533"/>
                </a:cubicBezTo>
                <a:cubicBezTo>
                  <a:pt x="5106708" y="1909675"/>
                  <a:pt x="5105000" y="1910244"/>
                  <a:pt x="5102226" y="1907256"/>
                </a:cubicBezTo>
                <a:cubicBezTo>
                  <a:pt x="5103933" y="1906829"/>
                  <a:pt x="5105427" y="1906687"/>
                  <a:pt x="5106708" y="1906972"/>
                </a:cubicBezTo>
                <a:close/>
                <a:moveTo>
                  <a:pt x="4962863" y="1906687"/>
                </a:moveTo>
                <a:cubicBezTo>
                  <a:pt x="4962863" y="1906687"/>
                  <a:pt x="4965851" y="1909248"/>
                  <a:pt x="4965851" y="1909248"/>
                </a:cubicBezTo>
                <a:cubicBezTo>
                  <a:pt x="4965637" y="1910955"/>
                  <a:pt x="4965637" y="1910955"/>
                  <a:pt x="4964783" y="1909817"/>
                </a:cubicBezTo>
                <a:cubicBezTo>
                  <a:pt x="4963716" y="1912236"/>
                  <a:pt x="4962650" y="1912947"/>
                  <a:pt x="4961795" y="1913517"/>
                </a:cubicBezTo>
                <a:cubicBezTo>
                  <a:pt x="4960088" y="1913090"/>
                  <a:pt x="4958595" y="1910955"/>
                  <a:pt x="4958167" y="1908252"/>
                </a:cubicBezTo>
                <a:cubicBezTo>
                  <a:pt x="4959875" y="1908679"/>
                  <a:pt x="4961155" y="1906403"/>
                  <a:pt x="4962863" y="1906687"/>
                </a:cubicBezTo>
                <a:close/>
                <a:moveTo>
                  <a:pt x="1348527" y="1906486"/>
                </a:moveTo>
                <a:cubicBezTo>
                  <a:pt x="1349662" y="1906951"/>
                  <a:pt x="1352450" y="1908655"/>
                  <a:pt x="1351934" y="1911597"/>
                </a:cubicBezTo>
                <a:lnTo>
                  <a:pt x="1352037" y="1912062"/>
                </a:lnTo>
                <a:lnTo>
                  <a:pt x="1353793" y="1910513"/>
                </a:lnTo>
                <a:cubicBezTo>
                  <a:pt x="1356477" y="1908655"/>
                  <a:pt x="1359162" y="1907725"/>
                  <a:pt x="1361950" y="1908035"/>
                </a:cubicBezTo>
                <a:lnTo>
                  <a:pt x="1364118" y="1908964"/>
                </a:lnTo>
                <a:lnTo>
                  <a:pt x="1365873" y="1908190"/>
                </a:lnTo>
                <a:cubicBezTo>
                  <a:pt x="1369591" y="1906796"/>
                  <a:pt x="1373721" y="1906176"/>
                  <a:pt x="1378884" y="1906951"/>
                </a:cubicBezTo>
                <a:cubicBezTo>
                  <a:pt x="1377438" y="1911597"/>
                  <a:pt x="1373308" y="1913766"/>
                  <a:pt x="1368661" y="1914385"/>
                </a:cubicBezTo>
                <a:lnTo>
                  <a:pt x="1365667" y="1914385"/>
                </a:lnTo>
                <a:lnTo>
                  <a:pt x="1363912" y="1917019"/>
                </a:lnTo>
                <a:cubicBezTo>
                  <a:pt x="1359059" y="1920891"/>
                  <a:pt x="1350282" y="1921666"/>
                  <a:pt x="1349353" y="1917174"/>
                </a:cubicBezTo>
                <a:cubicBezTo>
                  <a:pt x="1349249" y="1916244"/>
                  <a:pt x="1349353" y="1915315"/>
                  <a:pt x="1349869" y="1913921"/>
                </a:cubicBezTo>
                <a:lnTo>
                  <a:pt x="1350178" y="1913611"/>
                </a:lnTo>
                <a:lnTo>
                  <a:pt x="1349869" y="1912837"/>
                </a:lnTo>
                <a:cubicBezTo>
                  <a:pt x="1349043" y="1910978"/>
                  <a:pt x="1348320" y="1908964"/>
                  <a:pt x="1348527" y="1906486"/>
                </a:cubicBezTo>
                <a:close/>
                <a:moveTo>
                  <a:pt x="1589939" y="1906021"/>
                </a:moveTo>
                <a:cubicBezTo>
                  <a:pt x="1589939" y="1906021"/>
                  <a:pt x="1590249" y="1906796"/>
                  <a:pt x="1590249" y="1906796"/>
                </a:cubicBezTo>
                <a:cubicBezTo>
                  <a:pt x="1589836" y="1909584"/>
                  <a:pt x="1588597" y="1909119"/>
                  <a:pt x="1586326" y="1908345"/>
                </a:cubicBezTo>
                <a:cubicBezTo>
                  <a:pt x="1586326" y="1907415"/>
                  <a:pt x="1586429" y="1906641"/>
                  <a:pt x="1586945" y="1906176"/>
                </a:cubicBezTo>
                <a:cubicBezTo>
                  <a:pt x="1587461" y="1905866"/>
                  <a:pt x="1588287" y="1905711"/>
                  <a:pt x="1589939" y="1906021"/>
                </a:cubicBezTo>
                <a:close/>
                <a:moveTo>
                  <a:pt x="3705607" y="1905264"/>
                </a:moveTo>
                <a:cubicBezTo>
                  <a:pt x="3717345" y="1904553"/>
                  <a:pt x="3719479" y="1912663"/>
                  <a:pt x="3716491" y="1917642"/>
                </a:cubicBezTo>
                <a:cubicBezTo>
                  <a:pt x="3715638" y="1919207"/>
                  <a:pt x="3713930" y="1920488"/>
                  <a:pt x="3712009" y="1920914"/>
                </a:cubicBezTo>
                <a:cubicBezTo>
                  <a:pt x="3709449" y="1921626"/>
                  <a:pt x="3706034" y="1920772"/>
                  <a:pt x="3702405" y="1917500"/>
                </a:cubicBezTo>
                <a:cubicBezTo>
                  <a:pt x="3701979" y="1911524"/>
                  <a:pt x="3704540" y="1909248"/>
                  <a:pt x="3705607" y="1905264"/>
                </a:cubicBezTo>
                <a:close/>
                <a:moveTo>
                  <a:pt x="3824268" y="1905122"/>
                </a:moveTo>
                <a:lnTo>
                  <a:pt x="3830671" y="1911524"/>
                </a:lnTo>
                <a:lnTo>
                  <a:pt x="3831524" y="1911524"/>
                </a:lnTo>
                <a:lnTo>
                  <a:pt x="3833232" y="1914228"/>
                </a:lnTo>
                <a:lnTo>
                  <a:pt x="3839421" y="1920202"/>
                </a:lnTo>
                <a:lnTo>
                  <a:pt x="3840915" y="1920202"/>
                </a:lnTo>
                <a:cubicBezTo>
                  <a:pt x="3854147" y="1923048"/>
                  <a:pt x="3853080" y="1948372"/>
                  <a:pt x="3857135" y="1962172"/>
                </a:cubicBezTo>
                <a:cubicBezTo>
                  <a:pt x="3851586" y="1965587"/>
                  <a:pt x="3847744" y="1967578"/>
                  <a:pt x="3843690" y="1968717"/>
                </a:cubicBezTo>
                <a:lnTo>
                  <a:pt x="3838568" y="1969143"/>
                </a:lnTo>
                <a:lnTo>
                  <a:pt x="3833232" y="1981379"/>
                </a:lnTo>
                <a:lnTo>
                  <a:pt x="3829390" y="1969712"/>
                </a:lnTo>
                <a:lnTo>
                  <a:pt x="3828750" y="1969855"/>
                </a:lnTo>
                <a:cubicBezTo>
                  <a:pt x="3823201" y="1962457"/>
                  <a:pt x="3820854" y="1955058"/>
                  <a:pt x="3820427" y="1947803"/>
                </a:cubicBezTo>
                <a:lnTo>
                  <a:pt x="3820854" y="1940832"/>
                </a:lnTo>
                <a:lnTo>
                  <a:pt x="3819573" y="1926463"/>
                </a:lnTo>
                <a:lnTo>
                  <a:pt x="3821921" y="1916219"/>
                </a:lnTo>
                <a:lnTo>
                  <a:pt x="3821707" y="1915081"/>
                </a:lnTo>
                <a:lnTo>
                  <a:pt x="3822134" y="1914796"/>
                </a:lnTo>
                <a:close/>
                <a:moveTo>
                  <a:pt x="5556597" y="1904838"/>
                </a:moveTo>
                <a:cubicBezTo>
                  <a:pt x="5557664" y="1904411"/>
                  <a:pt x="5558731" y="1904269"/>
                  <a:pt x="5560012" y="1904838"/>
                </a:cubicBezTo>
                <a:cubicBezTo>
                  <a:pt x="5562145" y="1905691"/>
                  <a:pt x="5564066" y="1908395"/>
                  <a:pt x="5564707" y="1912236"/>
                </a:cubicBezTo>
                <a:cubicBezTo>
                  <a:pt x="5562145" y="1913231"/>
                  <a:pt x="5559798" y="1913090"/>
                  <a:pt x="5557877" y="1912236"/>
                </a:cubicBezTo>
                <a:lnTo>
                  <a:pt x="5556810" y="1910955"/>
                </a:lnTo>
                <a:lnTo>
                  <a:pt x="5555743" y="1910101"/>
                </a:lnTo>
                <a:lnTo>
                  <a:pt x="5553609" y="1907683"/>
                </a:lnTo>
                <a:cubicBezTo>
                  <a:pt x="5554462" y="1906118"/>
                  <a:pt x="5555529" y="1905264"/>
                  <a:pt x="5556597" y="1904838"/>
                </a:cubicBezTo>
                <a:close/>
                <a:moveTo>
                  <a:pt x="5230918" y="1904838"/>
                </a:moveTo>
                <a:cubicBezTo>
                  <a:pt x="5231772" y="1904553"/>
                  <a:pt x="5232839" y="1904553"/>
                  <a:pt x="5233906" y="1904838"/>
                </a:cubicBezTo>
                <a:cubicBezTo>
                  <a:pt x="5235827" y="1910244"/>
                  <a:pt x="5231772" y="1916219"/>
                  <a:pt x="5225369" y="1912947"/>
                </a:cubicBezTo>
                <a:cubicBezTo>
                  <a:pt x="5226863" y="1909391"/>
                  <a:pt x="5228357" y="1905691"/>
                  <a:pt x="5230918" y="1904838"/>
                </a:cubicBezTo>
                <a:close/>
                <a:moveTo>
                  <a:pt x="3517157" y="1904838"/>
                </a:moveTo>
                <a:cubicBezTo>
                  <a:pt x="3518438" y="1904411"/>
                  <a:pt x="3519718" y="1904695"/>
                  <a:pt x="3520572" y="1906260"/>
                </a:cubicBezTo>
                <a:cubicBezTo>
                  <a:pt x="3519932" y="1908821"/>
                  <a:pt x="3518224" y="1911809"/>
                  <a:pt x="3516303" y="1914796"/>
                </a:cubicBezTo>
                <a:cubicBezTo>
                  <a:pt x="3509901" y="1913943"/>
                  <a:pt x="3513529" y="1906118"/>
                  <a:pt x="3517157" y="1904838"/>
                </a:cubicBezTo>
                <a:close/>
                <a:moveTo>
                  <a:pt x="1352037" y="1904162"/>
                </a:moveTo>
                <a:cubicBezTo>
                  <a:pt x="1353173" y="1904627"/>
                  <a:pt x="1353586" y="1905247"/>
                  <a:pt x="1354722" y="1905711"/>
                </a:cubicBezTo>
                <a:cubicBezTo>
                  <a:pt x="1355548" y="1903698"/>
                  <a:pt x="1354722" y="1904007"/>
                  <a:pt x="1355858" y="1904472"/>
                </a:cubicBezTo>
                <a:cubicBezTo>
                  <a:pt x="1355858" y="1904472"/>
                  <a:pt x="1355858" y="1904472"/>
                  <a:pt x="1357097" y="1904937"/>
                </a:cubicBezTo>
                <a:cubicBezTo>
                  <a:pt x="1357097" y="1904937"/>
                  <a:pt x="1357820" y="1904472"/>
                  <a:pt x="1357406" y="1907415"/>
                </a:cubicBezTo>
                <a:cubicBezTo>
                  <a:pt x="1356271" y="1906951"/>
                  <a:pt x="1352760" y="1905711"/>
                  <a:pt x="1352760" y="1905711"/>
                </a:cubicBezTo>
                <a:cubicBezTo>
                  <a:pt x="1352037" y="1906021"/>
                  <a:pt x="1352037" y="1905866"/>
                  <a:pt x="1350901" y="1905402"/>
                </a:cubicBezTo>
                <a:cubicBezTo>
                  <a:pt x="1351211" y="1904317"/>
                  <a:pt x="1351211" y="1904472"/>
                  <a:pt x="1352037" y="1904162"/>
                </a:cubicBezTo>
                <a:close/>
                <a:moveTo>
                  <a:pt x="1598820" y="1903388"/>
                </a:moveTo>
                <a:cubicBezTo>
                  <a:pt x="1599645" y="1903078"/>
                  <a:pt x="1599955" y="1905711"/>
                  <a:pt x="1599955" y="1905711"/>
                </a:cubicBezTo>
                <a:cubicBezTo>
                  <a:pt x="1599542" y="1906796"/>
                  <a:pt x="1596341" y="1906176"/>
                  <a:pt x="1595619" y="1906486"/>
                </a:cubicBezTo>
                <a:cubicBezTo>
                  <a:pt x="1595205" y="1905711"/>
                  <a:pt x="1595619" y="1904627"/>
                  <a:pt x="1595205" y="1903853"/>
                </a:cubicBezTo>
                <a:cubicBezTo>
                  <a:pt x="1596032" y="1903543"/>
                  <a:pt x="1597580" y="1902923"/>
                  <a:pt x="1598820" y="1903388"/>
                </a:cubicBezTo>
                <a:close/>
                <a:moveTo>
                  <a:pt x="1283578" y="1903388"/>
                </a:moveTo>
                <a:cubicBezTo>
                  <a:pt x="1286057" y="1904937"/>
                  <a:pt x="1288638" y="1904007"/>
                  <a:pt x="1291116" y="1905557"/>
                </a:cubicBezTo>
                <a:cubicBezTo>
                  <a:pt x="1291116" y="1905557"/>
                  <a:pt x="1291116" y="1905557"/>
                  <a:pt x="1290187" y="1906486"/>
                </a:cubicBezTo>
                <a:cubicBezTo>
                  <a:pt x="1286057" y="1904937"/>
                  <a:pt x="1281720" y="1906951"/>
                  <a:pt x="1277590" y="1904472"/>
                </a:cubicBezTo>
                <a:cubicBezTo>
                  <a:pt x="1278519" y="1903543"/>
                  <a:pt x="1281203" y="1901684"/>
                  <a:pt x="1283578" y="1903388"/>
                </a:cubicBezTo>
                <a:close/>
                <a:moveTo>
                  <a:pt x="1496493" y="1902614"/>
                </a:moveTo>
                <a:cubicBezTo>
                  <a:pt x="1497319" y="1904627"/>
                  <a:pt x="1497215" y="1907570"/>
                  <a:pt x="1496183" y="1910823"/>
                </a:cubicBezTo>
                <a:lnTo>
                  <a:pt x="1494531" y="1914076"/>
                </a:lnTo>
                <a:lnTo>
                  <a:pt x="1494840" y="1914076"/>
                </a:lnTo>
                <a:cubicBezTo>
                  <a:pt x="1496079" y="1915005"/>
                  <a:pt x="1496390" y="1915935"/>
                  <a:pt x="1496183" y="1916864"/>
                </a:cubicBezTo>
                <a:cubicBezTo>
                  <a:pt x="1495976" y="1917793"/>
                  <a:pt x="1495150" y="1918878"/>
                  <a:pt x="1494118" y="1920117"/>
                </a:cubicBezTo>
                <a:cubicBezTo>
                  <a:pt x="1493085" y="1921511"/>
                  <a:pt x="1491949" y="1921821"/>
                  <a:pt x="1490813" y="1922130"/>
                </a:cubicBezTo>
                <a:lnTo>
                  <a:pt x="1488645" y="1923060"/>
                </a:lnTo>
                <a:lnTo>
                  <a:pt x="1483586" y="1927861"/>
                </a:lnTo>
                <a:cubicBezTo>
                  <a:pt x="1480798" y="1929565"/>
                  <a:pt x="1477906" y="1930185"/>
                  <a:pt x="1475222" y="1929101"/>
                </a:cubicBezTo>
                <a:cubicBezTo>
                  <a:pt x="1485754" y="1921975"/>
                  <a:pt x="1483689" y="1908655"/>
                  <a:pt x="1496493" y="1902614"/>
                </a:cubicBezTo>
                <a:close/>
                <a:moveTo>
                  <a:pt x="1487612" y="1902614"/>
                </a:moveTo>
                <a:cubicBezTo>
                  <a:pt x="1488542" y="1903388"/>
                  <a:pt x="1488438" y="1905092"/>
                  <a:pt x="1487406" y="1906951"/>
                </a:cubicBezTo>
                <a:cubicBezTo>
                  <a:pt x="1486580" y="1906021"/>
                  <a:pt x="1484722" y="1906951"/>
                  <a:pt x="1483895" y="1906176"/>
                </a:cubicBezTo>
                <a:cubicBezTo>
                  <a:pt x="1483895" y="1906176"/>
                  <a:pt x="1483069" y="1903698"/>
                  <a:pt x="1483069" y="1903698"/>
                </a:cubicBezTo>
                <a:cubicBezTo>
                  <a:pt x="1484102" y="1902768"/>
                  <a:pt x="1484102" y="1902768"/>
                  <a:pt x="1483999" y="1903698"/>
                </a:cubicBezTo>
                <a:cubicBezTo>
                  <a:pt x="1485857" y="1902768"/>
                  <a:pt x="1486787" y="1902614"/>
                  <a:pt x="1487612" y="1902614"/>
                </a:cubicBezTo>
                <a:close/>
                <a:moveTo>
                  <a:pt x="934263" y="1902614"/>
                </a:moveTo>
                <a:cubicBezTo>
                  <a:pt x="940768" y="1905557"/>
                  <a:pt x="944898" y="1910358"/>
                  <a:pt x="946860" y="1915780"/>
                </a:cubicBezTo>
                <a:cubicBezTo>
                  <a:pt x="950267" y="1924609"/>
                  <a:pt x="947479" y="1934987"/>
                  <a:pt x="939426" y="1940873"/>
                </a:cubicBezTo>
                <a:cubicBezTo>
                  <a:pt x="938290" y="1940253"/>
                  <a:pt x="937257" y="1939634"/>
                  <a:pt x="936741" y="1940563"/>
                </a:cubicBezTo>
                <a:cubicBezTo>
                  <a:pt x="929409" y="1936691"/>
                  <a:pt x="925279" y="1928791"/>
                  <a:pt x="924763" y="1920891"/>
                </a:cubicBezTo>
                <a:cubicBezTo>
                  <a:pt x="924247" y="1913146"/>
                  <a:pt x="927241" y="1905711"/>
                  <a:pt x="934263" y="1902614"/>
                </a:cubicBezTo>
                <a:close/>
                <a:moveTo>
                  <a:pt x="5954625" y="1902277"/>
                </a:moveTo>
                <a:cubicBezTo>
                  <a:pt x="5954625" y="1902277"/>
                  <a:pt x="5955051" y="1902988"/>
                  <a:pt x="5955691" y="1903842"/>
                </a:cubicBezTo>
                <a:cubicBezTo>
                  <a:pt x="5956118" y="1904695"/>
                  <a:pt x="5956545" y="1905834"/>
                  <a:pt x="5956332" y="1906545"/>
                </a:cubicBezTo>
                <a:cubicBezTo>
                  <a:pt x="5955905" y="1909248"/>
                  <a:pt x="5951637" y="1907683"/>
                  <a:pt x="5950356" y="1908110"/>
                </a:cubicBezTo>
                <a:cubicBezTo>
                  <a:pt x="5948862" y="1907683"/>
                  <a:pt x="5947582" y="1907114"/>
                  <a:pt x="5948222" y="1905549"/>
                </a:cubicBezTo>
                <a:cubicBezTo>
                  <a:pt x="5948862" y="1903842"/>
                  <a:pt x="5948435" y="1902846"/>
                  <a:pt x="5950996" y="1902846"/>
                </a:cubicBezTo>
                <a:cubicBezTo>
                  <a:pt x="5952063" y="1902277"/>
                  <a:pt x="5953558" y="1902846"/>
                  <a:pt x="5954625" y="1902277"/>
                </a:cubicBezTo>
                <a:close/>
                <a:moveTo>
                  <a:pt x="5564066" y="1902134"/>
                </a:moveTo>
                <a:cubicBezTo>
                  <a:pt x="5566627" y="1903842"/>
                  <a:pt x="5568335" y="1903273"/>
                  <a:pt x="5567481" y="1904411"/>
                </a:cubicBezTo>
                <a:cubicBezTo>
                  <a:pt x="5568548" y="1904981"/>
                  <a:pt x="5567695" y="1905976"/>
                  <a:pt x="5566840" y="1905407"/>
                </a:cubicBezTo>
                <a:cubicBezTo>
                  <a:pt x="5564707" y="1906972"/>
                  <a:pt x="5564280" y="1903700"/>
                  <a:pt x="5564066" y="1902134"/>
                </a:cubicBezTo>
                <a:close/>
                <a:moveTo>
                  <a:pt x="1276040" y="1901994"/>
                </a:moveTo>
                <a:cubicBezTo>
                  <a:pt x="1277693" y="1902768"/>
                  <a:pt x="1270258" y="1912372"/>
                  <a:pt x="1268400" y="1915005"/>
                </a:cubicBezTo>
                <a:cubicBezTo>
                  <a:pt x="1267573" y="1915005"/>
                  <a:pt x="1267573" y="1915005"/>
                  <a:pt x="1267573" y="1915005"/>
                </a:cubicBezTo>
                <a:cubicBezTo>
                  <a:pt x="1266748" y="1914695"/>
                  <a:pt x="1266541" y="1914076"/>
                  <a:pt x="1266748" y="1913146"/>
                </a:cubicBezTo>
                <a:cubicBezTo>
                  <a:pt x="1267057" y="1912372"/>
                  <a:pt x="1267677" y="1911288"/>
                  <a:pt x="1268606" y="1909893"/>
                </a:cubicBezTo>
                <a:cubicBezTo>
                  <a:pt x="1270568" y="1907260"/>
                  <a:pt x="1274182" y="1904627"/>
                  <a:pt x="1275008" y="1903698"/>
                </a:cubicBezTo>
                <a:cubicBezTo>
                  <a:pt x="1275937" y="1902768"/>
                  <a:pt x="1276040" y="1901994"/>
                  <a:pt x="1276040" y="1901994"/>
                </a:cubicBezTo>
                <a:close/>
                <a:moveTo>
                  <a:pt x="5132531" y="1901565"/>
                </a:moveTo>
                <a:cubicBezTo>
                  <a:pt x="5133812" y="1901565"/>
                  <a:pt x="5134026" y="1902134"/>
                  <a:pt x="5133812" y="1902988"/>
                </a:cubicBezTo>
                <a:cubicBezTo>
                  <a:pt x="5133812" y="1903842"/>
                  <a:pt x="5133385" y="1904981"/>
                  <a:pt x="5133172" y="1906403"/>
                </a:cubicBezTo>
                <a:lnTo>
                  <a:pt x="5128690" y="1904695"/>
                </a:lnTo>
                <a:cubicBezTo>
                  <a:pt x="5129330" y="1903130"/>
                  <a:pt x="5131038" y="1900997"/>
                  <a:pt x="5132531" y="1901565"/>
                </a:cubicBezTo>
                <a:close/>
                <a:moveTo>
                  <a:pt x="4984205" y="1901281"/>
                </a:moveTo>
                <a:cubicBezTo>
                  <a:pt x="4985699" y="1901708"/>
                  <a:pt x="4986339" y="1903130"/>
                  <a:pt x="4986552" y="1904695"/>
                </a:cubicBezTo>
                <a:cubicBezTo>
                  <a:pt x="4986979" y="1910101"/>
                  <a:pt x="4980363" y="1918638"/>
                  <a:pt x="4976522" y="1903984"/>
                </a:cubicBezTo>
                <a:cubicBezTo>
                  <a:pt x="4980150" y="1901708"/>
                  <a:pt x="4982497" y="1900997"/>
                  <a:pt x="4984205" y="1901281"/>
                </a:cubicBezTo>
                <a:close/>
                <a:moveTo>
                  <a:pt x="4633770" y="1901281"/>
                </a:moveTo>
                <a:lnTo>
                  <a:pt x="4633343" y="1905122"/>
                </a:lnTo>
                <a:lnTo>
                  <a:pt x="4633343" y="1905264"/>
                </a:lnTo>
                <a:lnTo>
                  <a:pt x="4644867" y="1902277"/>
                </a:lnTo>
                <a:lnTo>
                  <a:pt x="4640812" y="1901281"/>
                </a:lnTo>
                <a:close/>
                <a:moveTo>
                  <a:pt x="3488132" y="1901139"/>
                </a:moveTo>
                <a:cubicBezTo>
                  <a:pt x="3486425" y="1903273"/>
                  <a:pt x="3482797" y="1906260"/>
                  <a:pt x="3479809" y="1905264"/>
                </a:cubicBezTo>
                <a:cubicBezTo>
                  <a:pt x="3479809" y="1905264"/>
                  <a:pt x="3479809" y="1905264"/>
                  <a:pt x="3478315" y="1904695"/>
                </a:cubicBezTo>
                <a:cubicBezTo>
                  <a:pt x="3481516" y="1903130"/>
                  <a:pt x="3485785" y="1901139"/>
                  <a:pt x="3488132" y="1901139"/>
                </a:cubicBezTo>
                <a:close/>
                <a:moveTo>
                  <a:pt x="1509090" y="1900445"/>
                </a:moveTo>
                <a:cubicBezTo>
                  <a:pt x="1510226" y="1900445"/>
                  <a:pt x="1512188" y="1899980"/>
                  <a:pt x="1513943" y="1900755"/>
                </a:cubicBezTo>
                <a:cubicBezTo>
                  <a:pt x="1514975" y="1905247"/>
                  <a:pt x="1510329" y="1905092"/>
                  <a:pt x="1508883" y="1903078"/>
                </a:cubicBezTo>
                <a:cubicBezTo>
                  <a:pt x="1508470" y="1902459"/>
                  <a:pt x="1508470" y="1901374"/>
                  <a:pt x="1509090" y="1900445"/>
                </a:cubicBezTo>
                <a:close/>
                <a:moveTo>
                  <a:pt x="861957" y="1900387"/>
                </a:moveTo>
                <a:cubicBezTo>
                  <a:pt x="864513" y="1899400"/>
                  <a:pt x="867559" y="1899593"/>
                  <a:pt x="871173" y="1901994"/>
                </a:cubicBezTo>
                <a:cubicBezTo>
                  <a:pt x="873031" y="1902614"/>
                  <a:pt x="872102" y="1902768"/>
                  <a:pt x="873031" y="1903388"/>
                </a:cubicBezTo>
                <a:cubicBezTo>
                  <a:pt x="873961" y="1904162"/>
                  <a:pt x="875716" y="1904782"/>
                  <a:pt x="876542" y="1904627"/>
                </a:cubicBezTo>
                <a:cubicBezTo>
                  <a:pt x="874167" y="1908345"/>
                  <a:pt x="876852" y="1909584"/>
                  <a:pt x="872825" y="1915315"/>
                </a:cubicBezTo>
                <a:cubicBezTo>
                  <a:pt x="869211" y="1920891"/>
                  <a:pt x="864874" y="1921821"/>
                  <a:pt x="861363" y="1921046"/>
                </a:cubicBezTo>
                <a:lnTo>
                  <a:pt x="858782" y="1920117"/>
                </a:lnTo>
                <a:lnTo>
                  <a:pt x="857027" y="1921975"/>
                </a:lnTo>
                <a:cubicBezTo>
                  <a:pt x="852174" y="1915625"/>
                  <a:pt x="848250" y="1924918"/>
                  <a:pt x="844223" y="1920117"/>
                </a:cubicBezTo>
                <a:cubicBezTo>
                  <a:pt x="843603" y="1917638"/>
                  <a:pt x="842158" y="1915160"/>
                  <a:pt x="842571" y="1912372"/>
                </a:cubicBezTo>
                <a:cubicBezTo>
                  <a:pt x="842674" y="1911442"/>
                  <a:pt x="843088" y="1910358"/>
                  <a:pt x="843810" y="1909274"/>
                </a:cubicBezTo>
                <a:cubicBezTo>
                  <a:pt x="846701" y="1911288"/>
                  <a:pt x="849490" y="1912372"/>
                  <a:pt x="852277" y="1913301"/>
                </a:cubicBezTo>
                <a:lnTo>
                  <a:pt x="854549" y="1914076"/>
                </a:lnTo>
                <a:lnTo>
                  <a:pt x="853826" y="1911442"/>
                </a:lnTo>
                <a:cubicBezTo>
                  <a:pt x="853826" y="1909893"/>
                  <a:pt x="854342" y="1908035"/>
                  <a:pt x="855685" y="1905866"/>
                </a:cubicBezTo>
                <a:cubicBezTo>
                  <a:pt x="857337" y="1903543"/>
                  <a:pt x="859402" y="1901374"/>
                  <a:pt x="861957" y="1900387"/>
                </a:cubicBezTo>
                <a:close/>
                <a:moveTo>
                  <a:pt x="3910917" y="1900285"/>
                </a:moveTo>
                <a:cubicBezTo>
                  <a:pt x="3912197" y="1900143"/>
                  <a:pt x="3913264" y="1900285"/>
                  <a:pt x="3913905" y="1900854"/>
                </a:cubicBezTo>
                <a:cubicBezTo>
                  <a:pt x="3914545" y="1901565"/>
                  <a:pt x="3914758" y="1902704"/>
                  <a:pt x="3914545" y="1904838"/>
                </a:cubicBezTo>
                <a:cubicBezTo>
                  <a:pt x="3914545" y="1904838"/>
                  <a:pt x="3913478" y="1905549"/>
                  <a:pt x="3913478" y="1905549"/>
                </a:cubicBezTo>
                <a:cubicBezTo>
                  <a:pt x="3909423" y="1905264"/>
                  <a:pt x="3910063" y="1903557"/>
                  <a:pt x="3910917" y="1900285"/>
                </a:cubicBezTo>
                <a:close/>
                <a:moveTo>
                  <a:pt x="1071284" y="1899826"/>
                </a:moveTo>
                <a:cubicBezTo>
                  <a:pt x="1074381" y="1902149"/>
                  <a:pt x="1071903" y="1905402"/>
                  <a:pt x="1069528" y="1904937"/>
                </a:cubicBezTo>
                <a:cubicBezTo>
                  <a:pt x="1068702" y="1904937"/>
                  <a:pt x="1067979" y="1904317"/>
                  <a:pt x="1067463" y="1903233"/>
                </a:cubicBezTo>
                <a:cubicBezTo>
                  <a:pt x="1068392" y="1901839"/>
                  <a:pt x="1069425" y="1901064"/>
                  <a:pt x="1071284" y="1899826"/>
                </a:cubicBezTo>
                <a:close/>
                <a:moveTo>
                  <a:pt x="5144483" y="1899716"/>
                </a:moveTo>
                <a:lnTo>
                  <a:pt x="5142562" y="1899859"/>
                </a:lnTo>
                <a:lnTo>
                  <a:pt x="5142989" y="1900285"/>
                </a:lnTo>
                <a:cubicBezTo>
                  <a:pt x="5143202" y="1900427"/>
                  <a:pt x="5143629" y="1900570"/>
                  <a:pt x="5143843" y="1900997"/>
                </a:cubicBezTo>
                <a:lnTo>
                  <a:pt x="5144056" y="1901565"/>
                </a:lnTo>
                <a:close/>
                <a:moveTo>
                  <a:pt x="5529919" y="1899432"/>
                </a:moveTo>
                <a:cubicBezTo>
                  <a:pt x="5531627" y="1899859"/>
                  <a:pt x="5532694" y="1900427"/>
                  <a:pt x="5533547" y="1901423"/>
                </a:cubicBezTo>
                <a:cubicBezTo>
                  <a:pt x="5534401" y="1902419"/>
                  <a:pt x="5534828" y="1903557"/>
                  <a:pt x="5535041" y="1904838"/>
                </a:cubicBezTo>
                <a:cubicBezTo>
                  <a:pt x="5534614" y="1906545"/>
                  <a:pt x="5532907" y="1907825"/>
                  <a:pt x="5529279" y="1908679"/>
                </a:cubicBezTo>
                <a:cubicBezTo>
                  <a:pt x="5527144" y="1907114"/>
                  <a:pt x="5527785" y="1902277"/>
                  <a:pt x="5527358" y="1899574"/>
                </a:cubicBezTo>
                <a:cubicBezTo>
                  <a:pt x="5529065" y="1900000"/>
                  <a:pt x="5530559" y="1900427"/>
                  <a:pt x="5529919" y="1899432"/>
                </a:cubicBezTo>
                <a:close/>
                <a:moveTo>
                  <a:pt x="1528605" y="1898586"/>
                </a:moveTo>
                <a:cubicBezTo>
                  <a:pt x="1530773" y="1899826"/>
                  <a:pt x="1532013" y="1902459"/>
                  <a:pt x="1532116" y="1905402"/>
                </a:cubicBezTo>
                <a:cubicBezTo>
                  <a:pt x="1527263" y="1906641"/>
                  <a:pt x="1524372" y="1904937"/>
                  <a:pt x="1521687" y="1901529"/>
                </a:cubicBezTo>
                <a:cubicBezTo>
                  <a:pt x="1522616" y="1900136"/>
                  <a:pt x="1526230" y="1899206"/>
                  <a:pt x="1528605" y="1898586"/>
                </a:cubicBezTo>
                <a:close/>
                <a:moveTo>
                  <a:pt x="3542128" y="1898435"/>
                </a:moveTo>
                <a:cubicBezTo>
                  <a:pt x="3543194" y="1899859"/>
                  <a:pt x="3545329" y="1901565"/>
                  <a:pt x="3546182" y="1904126"/>
                </a:cubicBezTo>
                <a:cubicBezTo>
                  <a:pt x="3541701" y="1911524"/>
                  <a:pt x="3536152" y="1899432"/>
                  <a:pt x="3542128" y="1898435"/>
                </a:cubicBezTo>
                <a:close/>
                <a:moveTo>
                  <a:pt x="1301029" y="1898432"/>
                </a:moveTo>
                <a:cubicBezTo>
                  <a:pt x="1303610" y="1899206"/>
                  <a:pt x="1305262" y="1899980"/>
                  <a:pt x="1307740" y="1901529"/>
                </a:cubicBezTo>
                <a:cubicBezTo>
                  <a:pt x="1307740" y="1901529"/>
                  <a:pt x="1311044" y="1904627"/>
                  <a:pt x="1309186" y="1907260"/>
                </a:cubicBezTo>
                <a:cubicBezTo>
                  <a:pt x="1309186" y="1908035"/>
                  <a:pt x="1305778" y="1908190"/>
                  <a:pt x="1304952" y="1907415"/>
                </a:cubicBezTo>
                <a:cubicBezTo>
                  <a:pt x="1303300" y="1905866"/>
                  <a:pt x="1302474" y="1905092"/>
                  <a:pt x="1302577" y="1903388"/>
                </a:cubicBezTo>
                <a:cubicBezTo>
                  <a:pt x="1301751" y="1902614"/>
                  <a:pt x="1300822" y="1901839"/>
                  <a:pt x="1300512" y="1900910"/>
                </a:cubicBezTo>
                <a:cubicBezTo>
                  <a:pt x="1300306" y="1900600"/>
                  <a:pt x="1300203" y="1900136"/>
                  <a:pt x="1300306" y="1899670"/>
                </a:cubicBezTo>
                <a:cubicBezTo>
                  <a:pt x="1300306" y="1899360"/>
                  <a:pt x="1300616" y="1898896"/>
                  <a:pt x="1301029" y="1898432"/>
                </a:cubicBezTo>
                <a:close/>
                <a:moveTo>
                  <a:pt x="1497009" y="1897037"/>
                </a:moveTo>
                <a:cubicBezTo>
                  <a:pt x="1498145" y="1897347"/>
                  <a:pt x="1498145" y="1897347"/>
                  <a:pt x="1497835" y="1898432"/>
                </a:cubicBezTo>
                <a:cubicBezTo>
                  <a:pt x="1497112" y="1898741"/>
                  <a:pt x="1496390" y="1899206"/>
                  <a:pt x="1495976" y="1898432"/>
                </a:cubicBezTo>
                <a:cubicBezTo>
                  <a:pt x="1495254" y="1898896"/>
                  <a:pt x="1495254" y="1898896"/>
                  <a:pt x="1494840" y="1898122"/>
                </a:cubicBezTo>
                <a:cubicBezTo>
                  <a:pt x="1495563" y="1897812"/>
                  <a:pt x="1496286" y="1897347"/>
                  <a:pt x="1497009" y="1897037"/>
                </a:cubicBezTo>
                <a:close/>
                <a:moveTo>
                  <a:pt x="986510" y="1896727"/>
                </a:moveTo>
                <a:cubicBezTo>
                  <a:pt x="989195" y="1896417"/>
                  <a:pt x="991776" y="1899360"/>
                  <a:pt x="994977" y="1901219"/>
                </a:cubicBezTo>
                <a:cubicBezTo>
                  <a:pt x="993015" y="1902923"/>
                  <a:pt x="991260" y="1903543"/>
                  <a:pt x="989401" y="1903078"/>
                </a:cubicBezTo>
                <a:cubicBezTo>
                  <a:pt x="987543" y="1902459"/>
                  <a:pt x="985684" y="1900910"/>
                  <a:pt x="983722" y="1898432"/>
                </a:cubicBezTo>
                <a:cubicBezTo>
                  <a:pt x="984652" y="1897347"/>
                  <a:pt x="985581" y="1896882"/>
                  <a:pt x="986510" y="1896727"/>
                </a:cubicBezTo>
                <a:close/>
                <a:moveTo>
                  <a:pt x="5236680" y="1896017"/>
                </a:moveTo>
                <a:cubicBezTo>
                  <a:pt x="5240308" y="1897013"/>
                  <a:pt x="5241803" y="1902277"/>
                  <a:pt x="5244790" y="1906260"/>
                </a:cubicBezTo>
                <a:cubicBezTo>
                  <a:pt x="5241376" y="1907399"/>
                  <a:pt x="5238815" y="1907114"/>
                  <a:pt x="5236894" y="1905407"/>
                </a:cubicBezTo>
                <a:cubicBezTo>
                  <a:pt x="5234760" y="1903700"/>
                  <a:pt x="5233265" y="1900854"/>
                  <a:pt x="5232199" y="1896586"/>
                </a:cubicBezTo>
                <a:cubicBezTo>
                  <a:pt x="5233906" y="1895733"/>
                  <a:pt x="5235400" y="1895590"/>
                  <a:pt x="5236680" y="1896017"/>
                </a:cubicBezTo>
                <a:close/>
                <a:moveTo>
                  <a:pt x="1279551" y="1895953"/>
                </a:moveTo>
                <a:cubicBezTo>
                  <a:pt x="1279551" y="1895953"/>
                  <a:pt x="1279551" y="1895178"/>
                  <a:pt x="1282030" y="1896727"/>
                </a:cubicBezTo>
                <a:cubicBezTo>
                  <a:pt x="1281203" y="1897502"/>
                  <a:pt x="1278415" y="1900136"/>
                  <a:pt x="1278415" y="1900136"/>
                </a:cubicBezTo>
                <a:cubicBezTo>
                  <a:pt x="1278415" y="1901064"/>
                  <a:pt x="1278415" y="1901064"/>
                  <a:pt x="1277590" y="1901839"/>
                </a:cubicBezTo>
                <a:cubicBezTo>
                  <a:pt x="1276763" y="1901064"/>
                  <a:pt x="1276763" y="1901064"/>
                  <a:pt x="1276763" y="1900290"/>
                </a:cubicBezTo>
                <a:cubicBezTo>
                  <a:pt x="1277693" y="1899360"/>
                  <a:pt x="1278519" y="1899360"/>
                  <a:pt x="1279448" y="1898432"/>
                </a:cubicBezTo>
                <a:cubicBezTo>
                  <a:pt x="1277796" y="1896882"/>
                  <a:pt x="1277796" y="1897812"/>
                  <a:pt x="1278622" y="1896882"/>
                </a:cubicBezTo>
                <a:cubicBezTo>
                  <a:pt x="1278622" y="1896882"/>
                  <a:pt x="1278622" y="1896882"/>
                  <a:pt x="1279551" y="1895953"/>
                </a:cubicBezTo>
                <a:close/>
                <a:moveTo>
                  <a:pt x="1098543" y="1895333"/>
                </a:moveTo>
                <a:cubicBezTo>
                  <a:pt x="1098543" y="1896108"/>
                  <a:pt x="1099472" y="1895953"/>
                  <a:pt x="1100298" y="1895798"/>
                </a:cubicBezTo>
                <a:cubicBezTo>
                  <a:pt x="1102157" y="1897347"/>
                  <a:pt x="1104119" y="1899515"/>
                  <a:pt x="1103293" y="1901374"/>
                </a:cubicBezTo>
                <a:cubicBezTo>
                  <a:pt x="1101641" y="1903233"/>
                  <a:pt x="1099782" y="1902768"/>
                  <a:pt x="1098853" y="1901994"/>
                </a:cubicBezTo>
                <a:cubicBezTo>
                  <a:pt x="1097614" y="1901684"/>
                  <a:pt x="1096891" y="1900755"/>
                  <a:pt x="1096581" y="1899515"/>
                </a:cubicBezTo>
                <a:cubicBezTo>
                  <a:pt x="1096271" y="1898276"/>
                  <a:pt x="1096375" y="1896727"/>
                  <a:pt x="1096788" y="1895488"/>
                </a:cubicBezTo>
                <a:cubicBezTo>
                  <a:pt x="1096788" y="1896263"/>
                  <a:pt x="1096788" y="1896263"/>
                  <a:pt x="1096788" y="1896263"/>
                </a:cubicBezTo>
                <a:cubicBezTo>
                  <a:pt x="1097717" y="1897037"/>
                  <a:pt x="1097717" y="1896263"/>
                  <a:pt x="1098543" y="1896108"/>
                </a:cubicBezTo>
                <a:cubicBezTo>
                  <a:pt x="1098543" y="1896108"/>
                  <a:pt x="1097717" y="1896263"/>
                  <a:pt x="1098543" y="1895333"/>
                </a:cubicBezTo>
                <a:close/>
                <a:moveTo>
                  <a:pt x="6144995" y="1895164"/>
                </a:moveTo>
                <a:cubicBezTo>
                  <a:pt x="6152465" y="1895305"/>
                  <a:pt x="6158441" y="1897867"/>
                  <a:pt x="6163562" y="1896302"/>
                </a:cubicBezTo>
                <a:cubicBezTo>
                  <a:pt x="6163562" y="1896302"/>
                  <a:pt x="6163349" y="1896302"/>
                  <a:pt x="6165910" y="1898720"/>
                </a:cubicBezTo>
                <a:cubicBezTo>
                  <a:pt x="6166977" y="1898862"/>
                  <a:pt x="6166977" y="1898862"/>
                  <a:pt x="6166977" y="1898862"/>
                </a:cubicBezTo>
                <a:cubicBezTo>
                  <a:pt x="6168258" y="1898862"/>
                  <a:pt x="6168258" y="1901281"/>
                  <a:pt x="6168258" y="1901281"/>
                </a:cubicBezTo>
                <a:cubicBezTo>
                  <a:pt x="6167191" y="1903700"/>
                  <a:pt x="6163776" y="1902277"/>
                  <a:pt x="6161429" y="1902277"/>
                </a:cubicBezTo>
                <a:cubicBezTo>
                  <a:pt x="6160361" y="1904553"/>
                  <a:pt x="6156733" y="1899574"/>
                  <a:pt x="6155666" y="1901992"/>
                </a:cubicBezTo>
                <a:cubicBezTo>
                  <a:pt x="6150971" y="1896870"/>
                  <a:pt x="6145422" y="1902704"/>
                  <a:pt x="6137098" y="1896302"/>
                </a:cubicBezTo>
                <a:cubicBezTo>
                  <a:pt x="6139873" y="1895448"/>
                  <a:pt x="6142647" y="1895164"/>
                  <a:pt x="6144995" y="1895164"/>
                </a:cubicBezTo>
                <a:close/>
                <a:moveTo>
                  <a:pt x="5020913" y="1894452"/>
                </a:moveTo>
                <a:cubicBezTo>
                  <a:pt x="5022193" y="1894594"/>
                  <a:pt x="5024541" y="1894594"/>
                  <a:pt x="5025821" y="1895875"/>
                </a:cubicBezTo>
                <a:cubicBezTo>
                  <a:pt x="5026889" y="1896017"/>
                  <a:pt x="5025821" y="1899574"/>
                  <a:pt x="5025821" y="1899574"/>
                </a:cubicBezTo>
                <a:cubicBezTo>
                  <a:pt x="5024754" y="1900712"/>
                  <a:pt x="5021126" y="1898151"/>
                  <a:pt x="5019846" y="1898151"/>
                </a:cubicBezTo>
                <a:cubicBezTo>
                  <a:pt x="5019846" y="1896870"/>
                  <a:pt x="5020913" y="1895733"/>
                  <a:pt x="5020913" y="1894452"/>
                </a:cubicBezTo>
                <a:close/>
                <a:moveTo>
                  <a:pt x="1006232" y="1893320"/>
                </a:moveTo>
                <a:cubicBezTo>
                  <a:pt x="1008814" y="1892700"/>
                  <a:pt x="1011911" y="1892700"/>
                  <a:pt x="1015525" y="1893320"/>
                </a:cubicBezTo>
                <a:cubicBezTo>
                  <a:pt x="1025335" y="1895488"/>
                  <a:pt x="1030601" y="1904937"/>
                  <a:pt x="1041442" y="1912062"/>
                </a:cubicBezTo>
                <a:lnTo>
                  <a:pt x="1039377" y="1912837"/>
                </a:lnTo>
                <a:lnTo>
                  <a:pt x="1039894" y="1913766"/>
                </a:lnTo>
                <a:cubicBezTo>
                  <a:pt x="1039171" y="1917019"/>
                  <a:pt x="1036796" y="1919032"/>
                  <a:pt x="1034215" y="1919342"/>
                </a:cubicBezTo>
                <a:lnTo>
                  <a:pt x="1030704" y="1918413"/>
                </a:lnTo>
                <a:lnTo>
                  <a:pt x="1027296" y="1922905"/>
                </a:lnTo>
                <a:cubicBezTo>
                  <a:pt x="1026057" y="1924454"/>
                  <a:pt x="1024818" y="1925693"/>
                  <a:pt x="1023372" y="1926932"/>
                </a:cubicBezTo>
                <a:cubicBezTo>
                  <a:pt x="1021411" y="1928326"/>
                  <a:pt x="1019036" y="1929256"/>
                  <a:pt x="1016041" y="1929256"/>
                </a:cubicBezTo>
                <a:cubicBezTo>
                  <a:pt x="1002412" y="1929721"/>
                  <a:pt x="994874" y="1917484"/>
                  <a:pt x="995597" y="1906951"/>
                </a:cubicBezTo>
                <a:cubicBezTo>
                  <a:pt x="996010" y="1900755"/>
                  <a:pt x="999417" y="1895178"/>
                  <a:pt x="1006232" y="1893320"/>
                </a:cubicBezTo>
                <a:close/>
                <a:moveTo>
                  <a:pt x="5009175" y="1893029"/>
                </a:moveTo>
                <a:cubicBezTo>
                  <a:pt x="5010029" y="1892745"/>
                  <a:pt x="5011309" y="1893029"/>
                  <a:pt x="5013017" y="1894310"/>
                </a:cubicBezTo>
                <a:cubicBezTo>
                  <a:pt x="5013017" y="1894310"/>
                  <a:pt x="5013017" y="1895448"/>
                  <a:pt x="5013017" y="1895448"/>
                </a:cubicBezTo>
                <a:cubicBezTo>
                  <a:pt x="5010882" y="1898862"/>
                  <a:pt x="5009602" y="1897582"/>
                  <a:pt x="5007254" y="1895164"/>
                </a:cubicBezTo>
                <a:cubicBezTo>
                  <a:pt x="5007894" y="1894025"/>
                  <a:pt x="5008321" y="1893172"/>
                  <a:pt x="5009175" y="1893029"/>
                </a:cubicBezTo>
                <a:close/>
                <a:moveTo>
                  <a:pt x="3858415" y="1893029"/>
                </a:moveTo>
                <a:cubicBezTo>
                  <a:pt x="3858415" y="1894310"/>
                  <a:pt x="3858415" y="1898151"/>
                  <a:pt x="3857989" y="1902277"/>
                </a:cubicBezTo>
                <a:lnTo>
                  <a:pt x="3857562" y="1905549"/>
                </a:lnTo>
                <a:lnTo>
                  <a:pt x="3859056" y="1905691"/>
                </a:lnTo>
                <a:cubicBezTo>
                  <a:pt x="3862470" y="1907256"/>
                  <a:pt x="3863324" y="1912378"/>
                  <a:pt x="3866953" y="1916504"/>
                </a:cubicBezTo>
                <a:cubicBezTo>
                  <a:pt x="3864391" y="1918495"/>
                  <a:pt x="3861190" y="1918495"/>
                  <a:pt x="3858415" y="1917215"/>
                </a:cubicBezTo>
                <a:lnTo>
                  <a:pt x="3854787" y="1914654"/>
                </a:lnTo>
                <a:lnTo>
                  <a:pt x="3854787" y="1914512"/>
                </a:lnTo>
                <a:lnTo>
                  <a:pt x="3852866" y="1910813"/>
                </a:lnTo>
                <a:cubicBezTo>
                  <a:pt x="3852653" y="1909106"/>
                  <a:pt x="3853080" y="1907256"/>
                  <a:pt x="3854787" y="1905549"/>
                </a:cubicBezTo>
                <a:lnTo>
                  <a:pt x="3856068" y="1905549"/>
                </a:lnTo>
                <a:lnTo>
                  <a:pt x="3856281" y="1902134"/>
                </a:lnTo>
                <a:cubicBezTo>
                  <a:pt x="3856495" y="1898720"/>
                  <a:pt x="3856922" y="1895448"/>
                  <a:pt x="3858415" y="1893029"/>
                </a:cubicBezTo>
                <a:close/>
                <a:moveTo>
                  <a:pt x="4915911" y="1892745"/>
                </a:moveTo>
                <a:cubicBezTo>
                  <a:pt x="4918898" y="1893029"/>
                  <a:pt x="4921032" y="1895448"/>
                  <a:pt x="4922099" y="1898435"/>
                </a:cubicBezTo>
                <a:lnTo>
                  <a:pt x="4922740" y="1902419"/>
                </a:lnTo>
                <a:lnTo>
                  <a:pt x="4923594" y="1901281"/>
                </a:lnTo>
                <a:cubicBezTo>
                  <a:pt x="4924234" y="1900285"/>
                  <a:pt x="4925087" y="1899574"/>
                  <a:pt x="4925941" y="1899289"/>
                </a:cubicBezTo>
                <a:cubicBezTo>
                  <a:pt x="4937039" y="1902846"/>
                  <a:pt x="4934265" y="1911809"/>
                  <a:pt x="4927862" y="1913374"/>
                </a:cubicBezTo>
                <a:cubicBezTo>
                  <a:pt x="4925728" y="1913943"/>
                  <a:pt x="4923167" y="1913658"/>
                  <a:pt x="4920606" y="1912236"/>
                </a:cubicBezTo>
                <a:lnTo>
                  <a:pt x="4920819" y="1910671"/>
                </a:lnTo>
                <a:lnTo>
                  <a:pt x="4912496" y="1904269"/>
                </a:lnTo>
                <a:cubicBezTo>
                  <a:pt x="4911002" y="1901423"/>
                  <a:pt x="4911002" y="1898009"/>
                  <a:pt x="4912923" y="1893172"/>
                </a:cubicBezTo>
                <a:cubicBezTo>
                  <a:pt x="4913990" y="1892745"/>
                  <a:pt x="4915057" y="1892603"/>
                  <a:pt x="4915911" y="1892745"/>
                </a:cubicBezTo>
                <a:close/>
                <a:moveTo>
                  <a:pt x="1465619" y="1892236"/>
                </a:moveTo>
                <a:cubicBezTo>
                  <a:pt x="1467271" y="1893010"/>
                  <a:pt x="1467684" y="1901839"/>
                  <a:pt x="1463554" y="1901064"/>
                </a:cubicBezTo>
                <a:cubicBezTo>
                  <a:pt x="1462728" y="1900600"/>
                  <a:pt x="1462315" y="1899980"/>
                  <a:pt x="1462108" y="1899206"/>
                </a:cubicBezTo>
                <a:cubicBezTo>
                  <a:pt x="1461799" y="1896572"/>
                  <a:pt x="1464173" y="1892545"/>
                  <a:pt x="1465619" y="1892236"/>
                </a:cubicBezTo>
                <a:close/>
                <a:moveTo>
                  <a:pt x="853051" y="1892003"/>
                </a:moveTo>
                <a:cubicBezTo>
                  <a:pt x="854574" y="1891887"/>
                  <a:pt x="855943" y="1892932"/>
                  <a:pt x="857750" y="1893939"/>
                </a:cubicBezTo>
                <a:cubicBezTo>
                  <a:pt x="857027" y="1895643"/>
                  <a:pt x="858059" y="1898122"/>
                  <a:pt x="856407" y="1899980"/>
                </a:cubicBezTo>
                <a:cubicBezTo>
                  <a:pt x="856407" y="1899980"/>
                  <a:pt x="855581" y="1900910"/>
                  <a:pt x="853826" y="1901064"/>
                </a:cubicBezTo>
                <a:cubicBezTo>
                  <a:pt x="851348" y="1903233"/>
                  <a:pt x="848663" y="1901064"/>
                  <a:pt x="848663" y="1901064"/>
                </a:cubicBezTo>
                <a:cubicBezTo>
                  <a:pt x="848663" y="1901064"/>
                  <a:pt x="848560" y="1901064"/>
                  <a:pt x="848663" y="1901839"/>
                </a:cubicBezTo>
                <a:cubicBezTo>
                  <a:pt x="848560" y="1900290"/>
                  <a:pt x="847527" y="1898741"/>
                  <a:pt x="847424" y="1897037"/>
                </a:cubicBezTo>
                <a:cubicBezTo>
                  <a:pt x="849850" y="1893397"/>
                  <a:pt x="851528" y="1892119"/>
                  <a:pt x="853051" y="1892003"/>
                </a:cubicBezTo>
                <a:close/>
                <a:moveTo>
                  <a:pt x="4896062" y="1891323"/>
                </a:moveTo>
                <a:cubicBezTo>
                  <a:pt x="4905880" y="1889757"/>
                  <a:pt x="4916337" y="1908963"/>
                  <a:pt x="4908868" y="1913090"/>
                </a:cubicBezTo>
                <a:cubicBezTo>
                  <a:pt x="4907800" y="1913800"/>
                  <a:pt x="4906520" y="1913943"/>
                  <a:pt x="4904599" y="1913800"/>
                </a:cubicBezTo>
                <a:cubicBezTo>
                  <a:pt x="4895849" y="1908821"/>
                  <a:pt x="4890300" y="1902846"/>
                  <a:pt x="4893074" y="1893314"/>
                </a:cubicBezTo>
                <a:cubicBezTo>
                  <a:pt x="4894569" y="1894168"/>
                  <a:pt x="4895422" y="1892745"/>
                  <a:pt x="4896062" y="1891323"/>
                </a:cubicBezTo>
                <a:close/>
                <a:moveTo>
                  <a:pt x="1067050" y="1891151"/>
                </a:moveTo>
                <a:cubicBezTo>
                  <a:pt x="1065192" y="1892855"/>
                  <a:pt x="1066018" y="1894559"/>
                  <a:pt x="1064159" y="1896263"/>
                </a:cubicBezTo>
                <a:cubicBezTo>
                  <a:pt x="1062507" y="1894714"/>
                  <a:pt x="1060855" y="1893939"/>
                  <a:pt x="1060029" y="1893010"/>
                </a:cubicBezTo>
                <a:cubicBezTo>
                  <a:pt x="1061887" y="1889603"/>
                  <a:pt x="1064572" y="1888673"/>
                  <a:pt x="1067050" y="1891151"/>
                </a:cubicBezTo>
                <a:close/>
                <a:moveTo>
                  <a:pt x="1553593" y="1890531"/>
                </a:moveTo>
                <a:cubicBezTo>
                  <a:pt x="1555762" y="1891770"/>
                  <a:pt x="1557104" y="1890686"/>
                  <a:pt x="1559272" y="1891925"/>
                </a:cubicBezTo>
                <a:cubicBezTo>
                  <a:pt x="1555762" y="1897812"/>
                  <a:pt x="1552458" y="1904627"/>
                  <a:pt x="1546778" y="1903078"/>
                </a:cubicBezTo>
                <a:cubicBezTo>
                  <a:pt x="1546159" y="1901839"/>
                  <a:pt x="1546056" y="1900600"/>
                  <a:pt x="1546262" y="1899515"/>
                </a:cubicBezTo>
                <a:lnTo>
                  <a:pt x="1547398" y="1897037"/>
                </a:lnTo>
                <a:lnTo>
                  <a:pt x="1546778" y="1896417"/>
                </a:lnTo>
                <a:cubicBezTo>
                  <a:pt x="1548017" y="1894869"/>
                  <a:pt x="1549257" y="1893474"/>
                  <a:pt x="1551115" y="1892855"/>
                </a:cubicBezTo>
                <a:close/>
                <a:moveTo>
                  <a:pt x="1231537" y="1889912"/>
                </a:moveTo>
                <a:cubicBezTo>
                  <a:pt x="1235874" y="1890996"/>
                  <a:pt x="1237113" y="1891616"/>
                  <a:pt x="1237423" y="1896108"/>
                </a:cubicBezTo>
                <a:cubicBezTo>
                  <a:pt x="1237423" y="1896108"/>
                  <a:pt x="1237010" y="1897037"/>
                  <a:pt x="1237010" y="1897037"/>
                </a:cubicBezTo>
                <a:cubicBezTo>
                  <a:pt x="1236287" y="1901064"/>
                  <a:pt x="1232260" y="1904472"/>
                  <a:pt x="1230298" y="1904317"/>
                </a:cubicBezTo>
                <a:cubicBezTo>
                  <a:pt x="1228543" y="1903698"/>
                  <a:pt x="1226891" y="1901839"/>
                  <a:pt x="1226581" y="1899670"/>
                </a:cubicBezTo>
                <a:cubicBezTo>
                  <a:pt x="1226477" y="1898896"/>
                  <a:pt x="1226581" y="1898122"/>
                  <a:pt x="1226891" y="1897347"/>
                </a:cubicBezTo>
                <a:cubicBezTo>
                  <a:pt x="1227303" y="1894404"/>
                  <a:pt x="1230401" y="1893165"/>
                  <a:pt x="1231537" y="1889912"/>
                </a:cubicBezTo>
                <a:close/>
                <a:moveTo>
                  <a:pt x="6016516" y="1889757"/>
                </a:moveTo>
                <a:cubicBezTo>
                  <a:pt x="6020358" y="1889615"/>
                  <a:pt x="6026974" y="1891180"/>
                  <a:pt x="6027827" y="1891323"/>
                </a:cubicBezTo>
                <a:cubicBezTo>
                  <a:pt x="6027827" y="1891323"/>
                  <a:pt x="6029108" y="1891323"/>
                  <a:pt x="6030175" y="1891323"/>
                </a:cubicBezTo>
                <a:cubicBezTo>
                  <a:pt x="6031455" y="1892603"/>
                  <a:pt x="6031455" y="1893883"/>
                  <a:pt x="6032523" y="1893883"/>
                </a:cubicBezTo>
                <a:cubicBezTo>
                  <a:pt x="6029322" y="1897297"/>
                  <a:pt x="6025693" y="1895875"/>
                  <a:pt x="6022279" y="1894594"/>
                </a:cubicBezTo>
                <a:cubicBezTo>
                  <a:pt x="6019931" y="1893314"/>
                  <a:pt x="6018864" y="1893172"/>
                  <a:pt x="6016516" y="1894310"/>
                </a:cubicBezTo>
                <a:cubicBezTo>
                  <a:pt x="6016516" y="1894310"/>
                  <a:pt x="6016516" y="1894310"/>
                  <a:pt x="6014168" y="1891749"/>
                </a:cubicBezTo>
                <a:lnTo>
                  <a:pt x="6013955" y="1890611"/>
                </a:lnTo>
                <a:cubicBezTo>
                  <a:pt x="6014382" y="1890042"/>
                  <a:pt x="6015236" y="1889899"/>
                  <a:pt x="6016516" y="1889757"/>
                </a:cubicBezTo>
                <a:close/>
                <a:moveTo>
                  <a:pt x="1223793" y="1889603"/>
                </a:moveTo>
                <a:lnTo>
                  <a:pt x="1223999" y="1890531"/>
                </a:lnTo>
                <a:lnTo>
                  <a:pt x="1224826" y="1890841"/>
                </a:lnTo>
                <a:close/>
                <a:moveTo>
                  <a:pt x="1493292" y="1889447"/>
                </a:moveTo>
                <a:lnTo>
                  <a:pt x="1493911" y="1889447"/>
                </a:lnTo>
                <a:lnTo>
                  <a:pt x="1493601" y="1889912"/>
                </a:lnTo>
                <a:cubicBezTo>
                  <a:pt x="1493395" y="1889603"/>
                  <a:pt x="1493189" y="1889447"/>
                  <a:pt x="1493292" y="1889447"/>
                </a:cubicBezTo>
                <a:close/>
                <a:moveTo>
                  <a:pt x="5127410" y="1888761"/>
                </a:moveTo>
                <a:cubicBezTo>
                  <a:pt x="5128903" y="1889188"/>
                  <a:pt x="5129330" y="1890326"/>
                  <a:pt x="5129330" y="1890326"/>
                </a:cubicBezTo>
                <a:cubicBezTo>
                  <a:pt x="5128477" y="1894594"/>
                  <a:pt x="5126129" y="1898293"/>
                  <a:pt x="5121647" y="1896586"/>
                </a:cubicBezTo>
                <a:cubicBezTo>
                  <a:pt x="5120153" y="1896017"/>
                  <a:pt x="5118659" y="1895590"/>
                  <a:pt x="5119727" y="1895021"/>
                </a:cubicBezTo>
                <a:cubicBezTo>
                  <a:pt x="5119299" y="1893883"/>
                  <a:pt x="5120367" y="1893456"/>
                  <a:pt x="5121007" y="1891749"/>
                </a:cubicBezTo>
                <a:cubicBezTo>
                  <a:pt x="5122714" y="1889757"/>
                  <a:pt x="5125915" y="1888192"/>
                  <a:pt x="5127410" y="1888761"/>
                </a:cubicBezTo>
                <a:close/>
                <a:moveTo>
                  <a:pt x="1498041" y="1887589"/>
                </a:moveTo>
                <a:cubicBezTo>
                  <a:pt x="1498558" y="1888363"/>
                  <a:pt x="1498558" y="1888363"/>
                  <a:pt x="1498248" y="1889447"/>
                </a:cubicBezTo>
                <a:cubicBezTo>
                  <a:pt x="1498661" y="1890067"/>
                  <a:pt x="1494737" y="1890222"/>
                  <a:pt x="1494014" y="1890686"/>
                </a:cubicBezTo>
                <a:cubicBezTo>
                  <a:pt x="1493601" y="1889912"/>
                  <a:pt x="1493601" y="1889912"/>
                  <a:pt x="1494324" y="1889603"/>
                </a:cubicBezTo>
                <a:lnTo>
                  <a:pt x="1493911" y="1889447"/>
                </a:lnTo>
                <a:lnTo>
                  <a:pt x="1495357" y="1888053"/>
                </a:lnTo>
                <a:cubicBezTo>
                  <a:pt x="1496183" y="1887743"/>
                  <a:pt x="1497112" y="1887589"/>
                  <a:pt x="1498041" y="1887589"/>
                </a:cubicBezTo>
                <a:close/>
                <a:moveTo>
                  <a:pt x="6069871" y="1887481"/>
                </a:moveTo>
                <a:cubicBezTo>
                  <a:pt x="6070511" y="1887481"/>
                  <a:pt x="6071578" y="1887766"/>
                  <a:pt x="6072432" y="1888334"/>
                </a:cubicBezTo>
                <a:cubicBezTo>
                  <a:pt x="6076487" y="1888050"/>
                  <a:pt x="6077341" y="1893029"/>
                  <a:pt x="6077341" y="1893029"/>
                </a:cubicBezTo>
                <a:cubicBezTo>
                  <a:pt x="6077341" y="1893029"/>
                  <a:pt x="6077341" y="1892887"/>
                  <a:pt x="6077981" y="1891891"/>
                </a:cubicBezTo>
                <a:cubicBezTo>
                  <a:pt x="6076701" y="1894025"/>
                  <a:pt x="6076274" y="1896728"/>
                  <a:pt x="6074993" y="1898720"/>
                </a:cubicBezTo>
                <a:cubicBezTo>
                  <a:pt x="6064109" y="1903416"/>
                  <a:pt x="6064109" y="1899147"/>
                  <a:pt x="6062401" y="1893598"/>
                </a:cubicBezTo>
                <a:cubicBezTo>
                  <a:pt x="6064749" y="1892176"/>
                  <a:pt x="6065603" y="1888477"/>
                  <a:pt x="6068804" y="1887623"/>
                </a:cubicBezTo>
                <a:cubicBezTo>
                  <a:pt x="6068804" y="1887623"/>
                  <a:pt x="6069231" y="1887481"/>
                  <a:pt x="6069871" y="1887481"/>
                </a:cubicBezTo>
                <a:close/>
                <a:moveTo>
                  <a:pt x="1078099" y="1887434"/>
                </a:moveTo>
                <a:cubicBezTo>
                  <a:pt x="1079854" y="1888827"/>
                  <a:pt x="1079234" y="1893165"/>
                  <a:pt x="1078511" y="1894869"/>
                </a:cubicBezTo>
                <a:cubicBezTo>
                  <a:pt x="1076859" y="1896727"/>
                  <a:pt x="1074278" y="1896263"/>
                  <a:pt x="1072420" y="1894869"/>
                </a:cubicBezTo>
                <a:cubicBezTo>
                  <a:pt x="1071594" y="1894559"/>
                  <a:pt x="1071077" y="1893784"/>
                  <a:pt x="1070870" y="1892855"/>
                </a:cubicBezTo>
                <a:cubicBezTo>
                  <a:pt x="1070767" y="1891925"/>
                  <a:pt x="1070870" y="1890996"/>
                  <a:pt x="1071284" y="1890067"/>
                </a:cubicBezTo>
                <a:cubicBezTo>
                  <a:pt x="1072109" y="1889137"/>
                  <a:pt x="1072109" y="1888982"/>
                  <a:pt x="1072936" y="1888053"/>
                </a:cubicBezTo>
                <a:cubicBezTo>
                  <a:pt x="1074588" y="1887898"/>
                  <a:pt x="1076343" y="1886814"/>
                  <a:pt x="1078099" y="1887434"/>
                </a:cubicBezTo>
                <a:close/>
                <a:moveTo>
                  <a:pt x="1308566" y="1887279"/>
                </a:moveTo>
                <a:lnTo>
                  <a:pt x="1313936" y="1889603"/>
                </a:lnTo>
                <a:lnTo>
                  <a:pt x="1315691" y="1888363"/>
                </a:lnTo>
                <a:cubicBezTo>
                  <a:pt x="1316827" y="1888208"/>
                  <a:pt x="1318169" y="1888827"/>
                  <a:pt x="1319718" y="1889603"/>
                </a:cubicBezTo>
                <a:cubicBezTo>
                  <a:pt x="1318892" y="1890686"/>
                  <a:pt x="1317963" y="1891306"/>
                  <a:pt x="1316827" y="1891306"/>
                </a:cubicBezTo>
                <a:lnTo>
                  <a:pt x="1316310" y="1891306"/>
                </a:lnTo>
                <a:lnTo>
                  <a:pt x="1320647" y="1894404"/>
                </a:lnTo>
                <a:cubicBezTo>
                  <a:pt x="1322506" y="1895798"/>
                  <a:pt x="1324262" y="1897037"/>
                  <a:pt x="1326223" y="1897657"/>
                </a:cubicBezTo>
                <a:cubicBezTo>
                  <a:pt x="1326223" y="1897657"/>
                  <a:pt x="1326223" y="1897657"/>
                  <a:pt x="1326842" y="1899980"/>
                </a:cubicBezTo>
                <a:cubicBezTo>
                  <a:pt x="1327565" y="1900445"/>
                  <a:pt x="1327669" y="1900445"/>
                  <a:pt x="1327669" y="1900445"/>
                </a:cubicBezTo>
                <a:cubicBezTo>
                  <a:pt x="1327978" y="1900600"/>
                  <a:pt x="1327978" y="1901064"/>
                  <a:pt x="1327772" y="1901529"/>
                </a:cubicBezTo>
                <a:lnTo>
                  <a:pt x="1328082" y="1901839"/>
                </a:lnTo>
                <a:lnTo>
                  <a:pt x="1328495" y="1902149"/>
                </a:lnTo>
                <a:lnTo>
                  <a:pt x="1330973" y="1897967"/>
                </a:lnTo>
                <a:cubicBezTo>
                  <a:pt x="1333141" y="1898896"/>
                  <a:pt x="1334174" y="1895953"/>
                  <a:pt x="1336445" y="1897812"/>
                </a:cubicBezTo>
                <a:lnTo>
                  <a:pt x="1336136" y="1900136"/>
                </a:lnTo>
                <a:cubicBezTo>
                  <a:pt x="1337065" y="1900136"/>
                  <a:pt x="1338304" y="1900290"/>
                  <a:pt x="1339853" y="1900600"/>
                </a:cubicBezTo>
                <a:cubicBezTo>
                  <a:pt x="1343054" y="1901219"/>
                  <a:pt x="1346977" y="1903388"/>
                  <a:pt x="1348217" y="1903853"/>
                </a:cubicBezTo>
                <a:cubicBezTo>
                  <a:pt x="1349353" y="1904317"/>
                  <a:pt x="1350178" y="1904007"/>
                  <a:pt x="1350178" y="1904007"/>
                </a:cubicBezTo>
                <a:cubicBezTo>
                  <a:pt x="1350178" y="1905402"/>
                  <a:pt x="1343467" y="1904162"/>
                  <a:pt x="1338821" y="1903233"/>
                </a:cubicBezTo>
                <a:lnTo>
                  <a:pt x="1335723" y="1902614"/>
                </a:lnTo>
                <a:lnTo>
                  <a:pt x="1335620" y="1903698"/>
                </a:lnTo>
                <a:lnTo>
                  <a:pt x="1334690" y="1905092"/>
                </a:lnTo>
                <a:lnTo>
                  <a:pt x="1335000" y="1906951"/>
                </a:lnTo>
                <a:lnTo>
                  <a:pt x="1335413" y="1907260"/>
                </a:lnTo>
                <a:cubicBezTo>
                  <a:pt x="1336652" y="1907725"/>
                  <a:pt x="1337891" y="1907880"/>
                  <a:pt x="1338407" y="1907415"/>
                </a:cubicBezTo>
                <a:cubicBezTo>
                  <a:pt x="1338304" y="1908345"/>
                  <a:pt x="1339130" y="1909274"/>
                  <a:pt x="1339130" y="1909274"/>
                </a:cubicBezTo>
                <a:cubicBezTo>
                  <a:pt x="1338201" y="1910048"/>
                  <a:pt x="1337272" y="1910048"/>
                  <a:pt x="1336445" y="1910048"/>
                </a:cubicBezTo>
                <a:lnTo>
                  <a:pt x="1335103" y="1907725"/>
                </a:lnTo>
                <a:lnTo>
                  <a:pt x="1336342" y="1914385"/>
                </a:lnTo>
                <a:lnTo>
                  <a:pt x="1335929" y="1917019"/>
                </a:lnTo>
                <a:lnTo>
                  <a:pt x="1336962" y="1916864"/>
                </a:lnTo>
                <a:cubicBezTo>
                  <a:pt x="1336549" y="1918568"/>
                  <a:pt x="1337478" y="1919032"/>
                  <a:pt x="1335516" y="1921511"/>
                </a:cubicBezTo>
                <a:lnTo>
                  <a:pt x="1335206" y="1921356"/>
                </a:lnTo>
                <a:lnTo>
                  <a:pt x="1334484" y="1925693"/>
                </a:lnTo>
                <a:cubicBezTo>
                  <a:pt x="1333554" y="1928017"/>
                  <a:pt x="1332419" y="1930185"/>
                  <a:pt x="1330870" y="1932044"/>
                </a:cubicBezTo>
                <a:cubicBezTo>
                  <a:pt x="1324674" y="1928791"/>
                  <a:pt x="1326326" y="1921511"/>
                  <a:pt x="1326223" y="1915780"/>
                </a:cubicBezTo>
                <a:cubicBezTo>
                  <a:pt x="1320441" y="1917328"/>
                  <a:pt x="1312490" y="1921511"/>
                  <a:pt x="1309599" y="1915315"/>
                </a:cubicBezTo>
                <a:cubicBezTo>
                  <a:pt x="1311251" y="1910668"/>
                  <a:pt x="1316620" y="1910668"/>
                  <a:pt x="1321990" y="1909584"/>
                </a:cubicBezTo>
                <a:lnTo>
                  <a:pt x="1324158" y="1908964"/>
                </a:lnTo>
                <a:lnTo>
                  <a:pt x="1325294" y="1907570"/>
                </a:lnTo>
                <a:lnTo>
                  <a:pt x="1328185" y="1902614"/>
                </a:lnTo>
                <a:lnTo>
                  <a:pt x="1327772" y="1902303"/>
                </a:lnTo>
                <a:lnTo>
                  <a:pt x="1327565" y="1902303"/>
                </a:lnTo>
                <a:lnTo>
                  <a:pt x="1327462" y="1902303"/>
                </a:lnTo>
                <a:lnTo>
                  <a:pt x="1326842" y="1902149"/>
                </a:lnTo>
                <a:lnTo>
                  <a:pt x="1326017" y="1902149"/>
                </a:lnTo>
                <a:lnTo>
                  <a:pt x="1325913" y="1901994"/>
                </a:lnTo>
                <a:lnTo>
                  <a:pt x="1324984" y="1901839"/>
                </a:lnTo>
                <a:cubicBezTo>
                  <a:pt x="1324158" y="1901374"/>
                  <a:pt x="1323229" y="1900600"/>
                  <a:pt x="1322506" y="1900136"/>
                </a:cubicBezTo>
                <a:cubicBezTo>
                  <a:pt x="1320854" y="1901064"/>
                  <a:pt x="1320441" y="1896727"/>
                  <a:pt x="1318789" y="1897657"/>
                </a:cubicBezTo>
                <a:cubicBezTo>
                  <a:pt x="1317550" y="1893010"/>
                  <a:pt x="1311664" y="1893939"/>
                  <a:pt x="1308566" y="1887279"/>
                </a:cubicBezTo>
                <a:close/>
                <a:moveTo>
                  <a:pt x="1121995" y="1887066"/>
                </a:moveTo>
                <a:cubicBezTo>
                  <a:pt x="1123609" y="1886504"/>
                  <a:pt x="1125338" y="1886040"/>
                  <a:pt x="1126732" y="1887124"/>
                </a:cubicBezTo>
                <a:cubicBezTo>
                  <a:pt x="1135819" y="1892700"/>
                  <a:pt x="1134166" y="1895488"/>
                  <a:pt x="1131895" y="1901684"/>
                </a:cubicBezTo>
                <a:cubicBezTo>
                  <a:pt x="1131895" y="1900755"/>
                  <a:pt x="1131069" y="1901839"/>
                  <a:pt x="1131069" y="1901839"/>
                </a:cubicBezTo>
                <a:cubicBezTo>
                  <a:pt x="1129417" y="1903698"/>
                  <a:pt x="1134683" y="1903853"/>
                  <a:pt x="1133134" y="1906486"/>
                </a:cubicBezTo>
                <a:lnTo>
                  <a:pt x="1132411" y="1907105"/>
                </a:lnTo>
                <a:lnTo>
                  <a:pt x="1132411" y="1907415"/>
                </a:lnTo>
                <a:lnTo>
                  <a:pt x="1135405" y="1910204"/>
                </a:lnTo>
                <a:lnTo>
                  <a:pt x="1135405" y="1909738"/>
                </a:lnTo>
                <a:cubicBezTo>
                  <a:pt x="1136438" y="1903233"/>
                  <a:pt x="1143253" y="1903543"/>
                  <a:pt x="1142737" y="1902923"/>
                </a:cubicBezTo>
                <a:lnTo>
                  <a:pt x="1142943" y="1902303"/>
                </a:lnTo>
                <a:lnTo>
                  <a:pt x="1141911" y="1902459"/>
                </a:lnTo>
                <a:cubicBezTo>
                  <a:pt x="1141188" y="1902768"/>
                  <a:pt x="1140878" y="1902923"/>
                  <a:pt x="1140878" y="1902923"/>
                </a:cubicBezTo>
                <a:cubicBezTo>
                  <a:pt x="1139123" y="1902303"/>
                  <a:pt x="1139020" y="1901529"/>
                  <a:pt x="1139123" y="1902303"/>
                </a:cubicBezTo>
                <a:cubicBezTo>
                  <a:pt x="1137264" y="1900910"/>
                  <a:pt x="1134580" y="1899515"/>
                  <a:pt x="1135405" y="1897812"/>
                </a:cubicBezTo>
                <a:cubicBezTo>
                  <a:pt x="1138400" y="1893629"/>
                  <a:pt x="1144699" y="1895643"/>
                  <a:pt x="1148726" y="1897037"/>
                </a:cubicBezTo>
                <a:lnTo>
                  <a:pt x="1151514" y="1897967"/>
                </a:lnTo>
                <a:lnTo>
                  <a:pt x="1153475" y="1895953"/>
                </a:lnTo>
                <a:cubicBezTo>
                  <a:pt x="1155128" y="1895798"/>
                  <a:pt x="1156470" y="1897502"/>
                  <a:pt x="1156264" y="1899206"/>
                </a:cubicBezTo>
                <a:lnTo>
                  <a:pt x="1154818" y="1901064"/>
                </a:lnTo>
                <a:lnTo>
                  <a:pt x="1156367" y="1901529"/>
                </a:lnTo>
                <a:cubicBezTo>
                  <a:pt x="1155540" y="1902459"/>
                  <a:pt x="1153062" y="1905402"/>
                  <a:pt x="1153062" y="1905402"/>
                </a:cubicBezTo>
                <a:cubicBezTo>
                  <a:pt x="1153166" y="1906176"/>
                  <a:pt x="1153166" y="1906176"/>
                  <a:pt x="1152340" y="1907105"/>
                </a:cubicBezTo>
                <a:cubicBezTo>
                  <a:pt x="1151410" y="1906331"/>
                  <a:pt x="1151514" y="1906486"/>
                  <a:pt x="1151410" y="1905557"/>
                </a:cubicBezTo>
                <a:cubicBezTo>
                  <a:pt x="1152236" y="1904627"/>
                  <a:pt x="1153062" y="1904472"/>
                  <a:pt x="1153889" y="1903543"/>
                </a:cubicBezTo>
                <a:cubicBezTo>
                  <a:pt x="1152030" y="1902149"/>
                  <a:pt x="1152133" y="1902923"/>
                  <a:pt x="1152856" y="1901994"/>
                </a:cubicBezTo>
                <a:cubicBezTo>
                  <a:pt x="1152856" y="1901994"/>
                  <a:pt x="1152959" y="1901994"/>
                  <a:pt x="1153785" y="1901064"/>
                </a:cubicBezTo>
                <a:lnTo>
                  <a:pt x="1153889" y="1900910"/>
                </a:lnTo>
                <a:lnTo>
                  <a:pt x="1153785" y="1900755"/>
                </a:lnTo>
                <a:lnTo>
                  <a:pt x="1153785" y="1901064"/>
                </a:lnTo>
                <a:lnTo>
                  <a:pt x="1145215" y="1901684"/>
                </a:lnTo>
                <a:lnTo>
                  <a:pt x="1144699" y="1902614"/>
                </a:lnTo>
                <a:cubicBezTo>
                  <a:pt x="1145422" y="1902149"/>
                  <a:pt x="1145215" y="1903388"/>
                  <a:pt x="1145215" y="1903388"/>
                </a:cubicBezTo>
                <a:cubicBezTo>
                  <a:pt x="1145215" y="1903388"/>
                  <a:pt x="1145112" y="1903233"/>
                  <a:pt x="1147590" y="1903698"/>
                </a:cubicBezTo>
                <a:cubicBezTo>
                  <a:pt x="1147590" y="1903698"/>
                  <a:pt x="1152753" y="1905092"/>
                  <a:pt x="1152030" y="1910358"/>
                </a:cubicBezTo>
                <a:cubicBezTo>
                  <a:pt x="1151101" y="1910358"/>
                  <a:pt x="1149862" y="1914231"/>
                  <a:pt x="1147590" y="1916399"/>
                </a:cubicBezTo>
                <a:lnTo>
                  <a:pt x="1146970" y="1916864"/>
                </a:lnTo>
                <a:lnTo>
                  <a:pt x="1146454" y="1917793"/>
                </a:lnTo>
                <a:cubicBezTo>
                  <a:pt x="1145628" y="1919032"/>
                  <a:pt x="1144905" y="1920271"/>
                  <a:pt x="1144492" y="1920891"/>
                </a:cubicBezTo>
                <a:cubicBezTo>
                  <a:pt x="1143666" y="1921046"/>
                  <a:pt x="1143666" y="1921046"/>
                  <a:pt x="1143666" y="1921046"/>
                </a:cubicBezTo>
                <a:cubicBezTo>
                  <a:pt x="1142737" y="1920736"/>
                  <a:pt x="1142530" y="1920117"/>
                  <a:pt x="1142737" y="1919342"/>
                </a:cubicBezTo>
                <a:lnTo>
                  <a:pt x="1143253" y="1918103"/>
                </a:lnTo>
                <a:lnTo>
                  <a:pt x="1139949" y="1918413"/>
                </a:lnTo>
                <a:cubicBezTo>
                  <a:pt x="1139226" y="1917328"/>
                  <a:pt x="1138091" y="1916709"/>
                  <a:pt x="1137058" y="1915625"/>
                </a:cubicBezTo>
                <a:lnTo>
                  <a:pt x="1136232" y="1914231"/>
                </a:lnTo>
                <a:lnTo>
                  <a:pt x="1136335" y="1916244"/>
                </a:lnTo>
                <a:cubicBezTo>
                  <a:pt x="1135819" y="1917328"/>
                  <a:pt x="1134889" y="1918258"/>
                  <a:pt x="1133444" y="1919342"/>
                </a:cubicBezTo>
                <a:cubicBezTo>
                  <a:pt x="1129107" y="1917638"/>
                  <a:pt x="1121879" y="1916089"/>
                  <a:pt x="1118885" y="1911288"/>
                </a:cubicBezTo>
                <a:lnTo>
                  <a:pt x="1118678" y="1910358"/>
                </a:lnTo>
                <a:lnTo>
                  <a:pt x="1117749" y="1909584"/>
                </a:lnTo>
                <a:lnTo>
                  <a:pt x="1117542" y="1909584"/>
                </a:lnTo>
                <a:cubicBezTo>
                  <a:pt x="1117542" y="1908809"/>
                  <a:pt x="1116613" y="1908809"/>
                  <a:pt x="1116613" y="1909738"/>
                </a:cubicBezTo>
                <a:cubicBezTo>
                  <a:pt x="1115271" y="1909119"/>
                  <a:pt x="1114238" y="1908655"/>
                  <a:pt x="1113619" y="1908035"/>
                </a:cubicBezTo>
                <a:cubicBezTo>
                  <a:pt x="1113309" y="1907725"/>
                  <a:pt x="1113205" y="1907415"/>
                  <a:pt x="1113205" y="1907105"/>
                </a:cubicBezTo>
                <a:cubicBezTo>
                  <a:pt x="1113205" y="1906796"/>
                  <a:pt x="1113412" y="1906331"/>
                  <a:pt x="1113825" y="1905866"/>
                </a:cubicBezTo>
                <a:cubicBezTo>
                  <a:pt x="1114548" y="1904007"/>
                  <a:pt x="1116406" y="1904627"/>
                  <a:pt x="1117955" y="1902768"/>
                </a:cubicBezTo>
                <a:cubicBezTo>
                  <a:pt x="1120434" y="1899051"/>
                  <a:pt x="1113205" y="1895024"/>
                  <a:pt x="1117955" y="1887589"/>
                </a:cubicBezTo>
                <a:cubicBezTo>
                  <a:pt x="1118885" y="1888286"/>
                  <a:pt x="1120382" y="1887627"/>
                  <a:pt x="1121995" y="1887066"/>
                </a:cubicBezTo>
                <a:close/>
                <a:moveTo>
                  <a:pt x="5609524" y="1886628"/>
                </a:moveTo>
                <a:cubicBezTo>
                  <a:pt x="5611232" y="1887054"/>
                  <a:pt x="5613580" y="1888477"/>
                  <a:pt x="5615287" y="1888904"/>
                </a:cubicBezTo>
                <a:cubicBezTo>
                  <a:pt x="5615287" y="1888904"/>
                  <a:pt x="5615287" y="1888904"/>
                  <a:pt x="5614860" y="1890611"/>
                </a:cubicBezTo>
                <a:cubicBezTo>
                  <a:pt x="5613580" y="1888477"/>
                  <a:pt x="5609098" y="1889899"/>
                  <a:pt x="5609524" y="1886628"/>
                </a:cubicBezTo>
                <a:close/>
                <a:moveTo>
                  <a:pt x="1354515" y="1886504"/>
                </a:moveTo>
                <a:cubicBezTo>
                  <a:pt x="1361021" y="1888518"/>
                  <a:pt x="1359059" y="1899515"/>
                  <a:pt x="1359471" y="1902149"/>
                </a:cubicBezTo>
                <a:cubicBezTo>
                  <a:pt x="1359471" y="1902149"/>
                  <a:pt x="1359885" y="1902923"/>
                  <a:pt x="1359471" y="1904007"/>
                </a:cubicBezTo>
                <a:cubicBezTo>
                  <a:pt x="1359471" y="1905866"/>
                  <a:pt x="1357406" y="1903853"/>
                  <a:pt x="1357097" y="1904937"/>
                </a:cubicBezTo>
                <a:cubicBezTo>
                  <a:pt x="1355548" y="1898122"/>
                  <a:pt x="1351314" y="1893320"/>
                  <a:pt x="1351314" y="1893320"/>
                </a:cubicBezTo>
                <a:cubicBezTo>
                  <a:pt x="1351314" y="1891461"/>
                  <a:pt x="1352140" y="1891151"/>
                  <a:pt x="1351418" y="1891461"/>
                </a:cubicBezTo>
                <a:cubicBezTo>
                  <a:pt x="1352140" y="1889292"/>
                  <a:pt x="1352554" y="1886349"/>
                  <a:pt x="1354515" y="1886504"/>
                </a:cubicBezTo>
                <a:close/>
                <a:moveTo>
                  <a:pt x="3558134" y="1885774"/>
                </a:moveTo>
                <a:cubicBezTo>
                  <a:pt x="3568378" y="1889615"/>
                  <a:pt x="3566670" y="1900143"/>
                  <a:pt x="3561122" y="1903130"/>
                </a:cubicBezTo>
                <a:cubicBezTo>
                  <a:pt x="3559201" y="1904269"/>
                  <a:pt x="3556853" y="1904269"/>
                  <a:pt x="3554506" y="1903130"/>
                </a:cubicBezTo>
                <a:cubicBezTo>
                  <a:pt x="3553225" y="1895875"/>
                  <a:pt x="3550451" y="1887908"/>
                  <a:pt x="3558134" y="1885774"/>
                </a:cubicBezTo>
                <a:close/>
                <a:moveTo>
                  <a:pt x="5853677" y="1885489"/>
                </a:moveTo>
                <a:cubicBezTo>
                  <a:pt x="5852610" y="1889473"/>
                  <a:pt x="5857732" y="1890611"/>
                  <a:pt x="5854104" y="1894168"/>
                </a:cubicBezTo>
                <a:cubicBezTo>
                  <a:pt x="5851969" y="1894879"/>
                  <a:pt x="5849195" y="1894310"/>
                  <a:pt x="5845994" y="1891323"/>
                </a:cubicBezTo>
                <a:cubicBezTo>
                  <a:pt x="5846207" y="1884921"/>
                  <a:pt x="5850049" y="1885204"/>
                  <a:pt x="5853677" y="1885489"/>
                </a:cubicBezTo>
                <a:close/>
                <a:moveTo>
                  <a:pt x="1259210" y="1884181"/>
                </a:moveTo>
                <a:lnTo>
                  <a:pt x="1259520" y="1884955"/>
                </a:lnTo>
                <a:lnTo>
                  <a:pt x="1259933" y="1884955"/>
                </a:lnTo>
                <a:close/>
                <a:moveTo>
                  <a:pt x="5683581" y="1883782"/>
                </a:moveTo>
                <a:cubicBezTo>
                  <a:pt x="5684221" y="1883782"/>
                  <a:pt x="5684648" y="1884067"/>
                  <a:pt x="5685289" y="1884636"/>
                </a:cubicBezTo>
                <a:cubicBezTo>
                  <a:pt x="5687850" y="1885631"/>
                  <a:pt x="5686996" y="1888192"/>
                  <a:pt x="5689557" y="1890469"/>
                </a:cubicBezTo>
                <a:cubicBezTo>
                  <a:pt x="5694679" y="1893741"/>
                  <a:pt x="5700442" y="1883782"/>
                  <a:pt x="5710686" y="1890469"/>
                </a:cubicBezTo>
                <a:cubicBezTo>
                  <a:pt x="5708551" y="1892887"/>
                  <a:pt x="5714101" y="1898578"/>
                  <a:pt x="5711113" y="1902419"/>
                </a:cubicBezTo>
                <a:cubicBezTo>
                  <a:pt x="5703643" y="1914939"/>
                  <a:pt x="5699801" y="1912663"/>
                  <a:pt x="5691051" y="1909533"/>
                </a:cubicBezTo>
                <a:cubicBezTo>
                  <a:pt x="5692332" y="1909533"/>
                  <a:pt x="5691051" y="1908395"/>
                  <a:pt x="5691051" y="1908395"/>
                </a:cubicBezTo>
                <a:cubicBezTo>
                  <a:pt x="5688276" y="1906118"/>
                  <a:pt x="5688276" y="1913374"/>
                  <a:pt x="5684435" y="1911240"/>
                </a:cubicBezTo>
                <a:lnTo>
                  <a:pt x="5683581" y="1910244"/>
                </a:lnTo>
                <a:lnTo>
                  <a:pt x="5683155" y="1910244"/>
                </a:lnTo>
                <a:lnTo>
                  <a:pt x="5679313" y="1914370"/>
                </a:lnTo>
                <a:lnTo>
                  <a:pt x="5679953" y="1914370"/>
                </a:lnTo>
                <a:cubicBezTo>
                  <a:pt x="5688917" y="1915792"/>
                  <a:pt x="5688490" y="1925183"/>
                  <a:pt x="5689344" y="1924471"/>
                </a:cubicBezTo>
                <a:lnTo>
                  <a:pt x="5690411" y="1924755"/>
                </a:lnTo>
                <a:lnTo>
                  <a:pt x="5689984" y="1923332"/>
                </a:lnTo>
                <a:cubicBezTo>
                  <a:pt x="5689771" y="1922337"/>
                  <a:pt x="5689557" y="1921910"/>
                  <a:pt x="5689557" y="1921910"/>
                </a:cubicBezTo>
                <a:cubicBezTo>
                  <a:pt x="5690197" y="1919492"/>
                  <a:pt x="5691478" y="1919349"/>
                  <a:pt x="5690197" y="1919492"/>
                </a:cubicBezTo>
                <a:cubicBezTo>
                  <a:pt x="5692118" y="1916931"/>
                  <a:pt x="5694039" y="1913231"/>
                  <a:pt x="5696387" y="1914370"/>
                </a:cubicBezTo>
                <a:cubicBezTo>
                  <a:pt x="5702149" y="1918495"/>
                  <a:pt x="5699588" y="1927174"/>
                  <a:pt x="5697454" y="1932723"/>
                </a:cubicBezTo>
                <a:lnTo>
                  <a:pt x="5696387" y="1936564"/>
                </a:lnTo>
                <a:lnTo>
                  <a:pt x="5698947" y="1939267"/>
                </a:lnTo>
                <a:cubicBezTo>
                  <a:pt x="5699374" y="1941543"/>
                  <a:pt x="5696813" y="1943393"/>
                  <a:pt x="5694466" y="1943108"/>
                </a:cubicBezTo>
                <a:lnTo>
                  <a:pt x="5691904" y="1941116"/>
                </a:lnTo>
                <a:lnTo>
                  <a:pt x="5691264" y="1943250"/>
                </a:lnTo>
                <a:cubicBezTo>
                  <a:pt x="5689984" y="1942112"/>
                  <a:pt x="5686142" y="1938698"/>
                  <a:pt x="5686142" y="1938698"/>
                </a:cubicBezTo>
                <a:cubicBezTo>
                  <a:pt x="5684862" y="1938840"/>
                  <a:pt x="5685076" y="1938840"/>
                  <a:pt x="5683581" y="1937844"/>
                </a:cubicBezTo>
                <a:cubicBezTo>
                  <a:pt x="5684648" y="1936564"/>
                  <a:pt x="5684648" y="1936564"/>
                  <a:pt x="5685716" y="1936421"/>
                </a:cubicBezTo>
                <a:cubicBezTo>
                  <a:pt x="5686996" y="1937560"/>
                  <a:pt x="5687209" y="1938698"/>
                  <a:pt x="5688490" y="1939836"/>
                </a:cubicBezTo>
                <a:cubicBezTo>
                  <a:pt x="5690411" y="1937275"/>
                  <a:pt x="5689344" y="1937417"/>
                  <a:pt x="5690624" y="1938555"/>
                </a:cubicBezTo>
                <a:cubicBezTo>
                  <a:pt x="5690624" y="1938555"/>
                  <a:pt x="5690624" y="1938555"/>
                  <a:pt x="5691904" y="1939694"/>
                </a:cubicBezTo>
                <a:lnTo>
                  <a:pt x="5692118" y="1939979"/>
                </a:lnTo>
                <a:lnTo>
                  <a:pt x="5692332" y="1939694"/>
                </a:lnTo>
                <a:lnTo>
                  <a:pt x="5691904" y="1939694"/>
                </a:lnTo>
                <a:lnTo>
                  <a:pt x="5691051" y="1927885"/>
                </a:lnTo>
                <a:lnTo>
                  <a:pt x="5689771" y="1927174"/>
                </a:lnTo>
                <a:cubicBezTo>
                  <a:pt x="5690411" y="1928170"/>
                  <a:pt x="5688917" y="1927885"/>
                  <a:pt x="5688917" y="1927885"/>
                </a:cubicBezTo>
                <a:cubicBezTo>
                  <a:pt x="5688917" y="1927885"/>
                  <a:pt x="5688917" y="1927743"/>
                  <a:pt x="5688490" y="1931158"/>
                </a:cubicBezTo>
                <a:cubicBezTo>
                  <a:pt x="5688490" y="1931158"/>
                  <a:pt x="5686356" y="1938414"/>
                  <a:pt x="5679100" y="1937275"/>
                </a:cubicBezTo>
                <a:cubicBezTo>
                  <a:pt x="5679313" y="1935995"/>
                  <a:pt x="5673977" y="1934287"/>
                  <a:pt x="5670776" y="1931158"/>
                </a:cubicBezTo>
                <a:lnTo>
                  <a:pt x="5670349" y="1930304"/>
                </a:lnTo>
                <a:lnTo>
                  <a:pt x="5669069" y="1929593"/>
                </a:lnTo>
                <a:cubicBezTo>
                  <a:pt x="5667148" y="1928454"/>
                  <a:pt x="5665441" y="1927601"/>
                  <a:pt x="5664587" y="1927031"/>
                </a:cubicBezTo>
                <a:cubicBezTo>
                  <a:pt x="5664374" y="1925751"/>
                  <a:pt x="5664374" y="1925751"/>
                  <a:pt x="5664374" y="1925751"/>
                </a:cubicBezTo>
                <a:cubicBezTo>
                  <a:pt x="5664800" y="1924471"/>
                  <a:pt x="5665654" y="1924186"/>
                  <a:pt x="5666934" y="1924471"/>
                </a:cubicBezTo>
                <a:lnTo>
                  <a:pt x="5668642" y="1925183"/>
                </a:lnTo>
                <a:lnTo>
                  <a:pt x="5668215" y="1920629"/>
                </a:lnTo>
                <a:cubicBezTo>
                  <a:pt x="5669496" y="1919634"/>
                  <a:pt x="5670349" y="1918069"/>
                  <a:pt x="5671843" y="1916647"/>
                </a:cubicBezTo>
                <a:lnTo>
                  <a:pt x="5673764" y="1915508"/>
                </a:lnTo>
                <a:lnTo>
                  <a:pt x="5670990" y="1915650"/>
                </a:lnTo>
                <a:cubicBezTo>
                  <a:pt x="5669709" y="1914939"/>
                  <a:pt x="5668215" y="1913658"/>
                  <a:pt x="5666934" y="1911666"/>
                </a:cubicBezTo>
                <a:cubicBezTo>
                  <a:pt x="5669069" y="1905691"/>
                  <a:pt x="5671203" y="1895733"/>
                  <a:pt x="5677819" y="1891606"/>
                </a:cubicBezTo>
                <a:lnTo>
                  <a:pt x="5679313" y="1891323"/>
                </a:lnTo>
                <a:lnTo>
                  <a:pt x="5680380" y="1890042"/>
                </a:lnTo>
                <a:lnTo>
                  <a:pt x="5680167" y="1889757"/>
                </a:lnTo>
                <a:cubicBezTo>
                  <a:pt x="5681447" y="1889757"/>
                  <a:pt x="5681233" y="1888477"/>
                  <a:pt x="5679953" y="1888477"/>
                </a:cubicBezTo>
                <a:cubicBezTo>
                  <a:pt x="5681020" y="1886628"/>
                  <a:pt x="5681661" y="1885204"/>
                  <a:pt x="5682301" y="1884351"/>
                </a:cubicBezTo>
                <a:cubicBezTo>
                  <a:pt x="5682728" y="1883924"/>
                  <a:pt x="5683155" y="1883782"/>
                  <a:pt x="5683581" y="1883782"/>
                </a:cubicBezTo>
                <a:close/>
                <a:moveTo>
                  <a:pt x="3504352" y="1883782"/>
                </a:moveTo>
                <a:cubicBezTo>
                  <a:pt x="3504779" y="1885489"/>
                  <a:pt x="3505206" y="1886343"/>
                  <a:pt x="3505420" y="1886912"/>
                </a:cubicBezTo>
                <a:cubicBezTo>
                  <a:pt x="3505846" y="1887481"/>
                  <a:pt x="3506060" y="1887766"/>
                  <a:pt x="3505420" y="1888050"/>
                </a:cubicBezTo>
                <a:cubicBezTo>
                  <a:pt x="3505632" y="1889046"/>
                  <a:pt x="3504565" y="1889473"/>
                  <a:pt x="3504352" y="1888477"/>
                </a:cubicBezTo>
                <a:cubicBezTo>
                  <a:pt x="3501791" y="1888192"/>
                  <a:pt x="3503498" y="1885347"/>
                  <a:pt x="3504352" y="1883782"/>
                </a:cubicBezTo>
                <a:close/>
                <a:moveTo>
                  <a:pt x="5523730" y="1883497"/>
                </a:moveTo>
                <a:cubicBezTo>
                  <a:pt x="5522449" y="1889331"/>
                  <a:pt x="5523303" y="1897724"/>
                  <a:pt x="5519675" y="1901992"/>
                </a:cubicBezTo>
                <a:cubicBezTo>
                  <a:pt x="5519888" y="1899716"/>
                  <a:pt x="5521382" y="1886769"/>
                  <a:pt x="5523730" y="1883497"/>
                </a:cubicBezTo>
                <a:close/>
                <a:moveTo>
                  <a:pt x="4726394" y="1883497"/>
                </a:moveTo>
                <a:cubicBezTo>
                  <a:pt x="4730662" y="1883213"/>
                  <a:pt x="4733864" y="1886628"/>
                  <a:pt x="4735571" y="1891323"/>
                </a:cubicBezTo>
                <a:cubicBezTo>
                  <a:pt x="4738345" y="1899432"/>
                  <a:pt x="4737065" y="1911524"/>
                  <a:pt x="4731729" y="1917215"/>
                </a:cubicBezTo>
                <a:lnTo>
                  <a:pt x="4731516" y="1917357"/>
                </a:lnTo>
                <a:lnTo>
                  <a:pt x="4737918" y="1922194"/>
                </a:lnTo>
                <a:cubicBezTo>
                  <a:pt x="4738132" y="1928028"/>
                  <a:pt x="4736424" y="1931584"/>
                  <a:pt x="4733864" y="1933291"/>
                </a:cubicBezTo>
                <a:lnTo>
                  <a:pt x="4727034" y="1934714"/>
                </a:lnTo>
                <a:lnTo>
                  <a:pt x="4726821" y="1935710"/>
                </a:lnTo>
                <a:cubicBezTo>
                  <a:pt x="4725540" y="1937986"/>
                  <a:pt x="4722766" y="1940405"/>
                  <a:pt x="4718497" y="1942824"/>
                </a:cubicBezTo>
                <a:cubicBezTo>
                  <a:pt x="4718283" y="1935852"/>
                  <a:pt x="4714655" y="1930019"/>
                  <a:pt x="4711881" y="1924471"/>
                </a:cubicBezTo>
                <a:lnTo>
                  <a:pt x="4710174" y="1920202"/>
                </a:lnTo>
                <a:lnTo>
                  <a:pt x="4708253" y="1924471"/>
                </a:lnTo>
                <a:cubicBezTo>
                  <a:pt x="4702491" y="1920914"/>
                  <a:pt x="4700997" y="1916219"/>
                  <a:pt x="4700997" y="1909817"/>
                </a:cubicBezTo>
                <a:cubicBezTo>
                  <a:pt x="4702064" y="1909533"/>
                  <a:pt x="4703771" y="1910101"/>
                  <a:pt x="4705479" y="1910955"/>
                </a:cubicBezTo>
                <a:lnTo>
                  <a:pt x="4708680" y="1912663"/>
                </a:lnTo>
                <a:lnTo>
                  <a:pt x="4709107" y="1907968"/>
                </a:lnTo>
                <a:cubicBezTo>
                  <a:pt x="4710174" y="1909675"/>
                  <a:pt x="4711881" y="1911382"/>
                  <a:pt x="4713802" y="1913090"/>
                </a:cubicBezTo>
                <a:lnTo>
                  <a:pt x="4714655" y="1913943"/>
                </a:lnTo>
                <a:lnTo>
                  <a:pt x="4717643" y="1912663"/>
                </a:lnTo>
                <a:lnTo>
                  <a:pt x="4722766" y="1913800"/>
                </a:lnTo>
                <a:lnTo>
                  <a:pt x="4719778" y="1904981"/>
                </a:lnTo>
                <a:cubicBezTo>
                  <a:pt x="4718924" y="1899147"/>
                  <a:pt x="4719351" y="1892603"/>
                  <a:pt x="4721485" y="1885204"/>
                </a:cubicBezTo>
                <a:cubicBezTo>
                  <a:pt x="4723193" y="1884209"/>
                  <a:pt x="4724900" y="1883639"/>
                  <a:pt x="4726394" y="1883497"/>
                </a:cubicBezTo>
                <a:close/>
                <a:moveTo>
                  <a:pt x="1626389" y="1883251"/>
                </a:moveTo>
                <a:cubicBezTo>
                  <a:pt x="1627525" y="1884491"/>
                  <a:pt x="1629590" y="1886194"/>
                  <a:pt x="1628970" y="1888363"/>
                </a:cubicBezTo>
                <a:cubicBezTo>
                  <a:pt x="1628764" y="1889137"/>
                  <a:pt x="1628247" y="1889912"/>
                  <a:pt x="1627215" y="1890686"/>
                </a:cubicBezTo>
                <a:cubicBezTo>
                  <a:pt x="1627112" y="1891616"/>
                  <a:pt x="1623601" y="1892390"/>
                  <a:pt x="1622775" y="1891461"/>
                </a:cubicBezTo>
                <a:cubicBezTo>
                  <a:pt x="1622259" y="1890996"/>
                  <a:pt x="1621949" y="1890531"/>
                  <a:pt x="1621742" y="1890067"/>
                </a:cubicBezTo>
                <a:cubicBezTo>
                  <a:pt x="1621433" y="1888518"/>
                  <a:pt x="1622775" y="1886504"/>
                  <a:pt x="1623704" y="1884026"/>
                </a:cubicBezTo>
                <a:cubicBezTo>
                  <a:pt x="1624427" y="1884800"/>
                  <a:pt x="1625460" y="1884026"/>
                  <a:pt x="1626389" y="1883251"/>
                </a:cubicBezTo>
                <a:close/>
                <a:moveTo>
                  <a:pt x="1395095" y="1883251"/>
                </a:moveTo>
                <a:cubicBezTo>
                  <a:pt x="1399329" y="1883096"/>
                  <a:pt x="1401910" y="1884336"/>
                  <a:pt x="1403149" y="1886194"/>
                </a:cubicBezTo>
                <a:lnTo>
                  <a:pt x="1404182" y="1891151"/>
                </a:lnTo>
                <a:lnTo>
                  <a:pt x="1404904" y="1891306"/>
                </a:lnTo>
                <a:cubicBezTo>
                  <a:pt x="1406557" y="1892236"/>
                  <a:pt x="1408312" y="1894249"/>
                  <a:pt x="1410067" y="1897347"/>
                </a:cubicBezTo>
                <a:cubicBezTo>
                  <a:pt x="1405007" y="1897502"/>
                  <a:pt x="1400774" y="1900136"/>
                  <a:pt x="1396747" y="1902149"/>
                </a:cubicBezTo>
                <a:lnTo>
                  <a:pt x="1393649" y="1903388"/>
                </a:lnTo>
                <a:lnTo>
                  <a:pt x="1396747" y="1904782"/>
                </a:lnTo>
                <a:cubicBezTo>
                  <a:pt x="1394166" y="1908964"/>
                  <a:pt x="1390758" y="1910048"/>
                  <a:pt x="1386112" y="1910048"/>
                </a:cubicBezTo>
                <a:cubicBezTo>
                  <a:pt x="1385905" y="1909274"/>
                  <a:pt x="1386318" y="1908035"/>
                  <a:pt x="1386938" y="1906796"/>
                </a:cubicBezTo>
                <a:lnTo>
                  <a:pt x="1388177" y="1904472"/>
                </a:lnTo>
                <a:lnTo>
                  <a:pt x="1384769" y="1904162"/>
                </a:lnTo>
                <a:cubicBezTo>
                  <a:pt x="1386008" y="1903388"/>
                  <a:pt x="1387247" y="1902149"/>
                  <a:pt x="1388487" y="1900755"/>
                </a:cubicBezTo>
                <a:lnTo>
                  <a:pt x="1389106" y="1900136"/>
                </a:lnTo>
                <a:lnTo>
                  <a:pt x="1388177" y="1897967"/>
                </a:lnTo>
                <a:lnTo>
                  <a:pt x="1389003" y="1894249"/>
                </a:lnTo>
                <a:lnTo>
                  <a:pt x="1382601" y="1896417"/>
                </a:lnTo>
                <a:cubicBezTo>
                  <a:pt x="1378368" y="1897037"/>
                  <a:pt x="1373618" y="1896727"/>
                  <a:pt x="1368248" y="1895178"/>
                </a:cubicBezTo>
                <a:cubicBezTo>
                  <a:pt x="1367526" y="1893939"/>
                  <a:pt x="1367112" y="1892700"/>
                  <a:pt x="1367009" y="1891616"/>
                </a:cubicBezTo>
                <a:cubicBezTo>
                  <a:pt x="1366803" y="1888518"/>
                  <a:pt x="1369281" y="1886194"/>
                  <a:pt x="1372689" y="1884955"/>
                </a:cubicBezTo>
                <a:cubicBezTo>
                  <a:pt x="1378574" y="1882942"/>
                  <a:pt x="1387351" y="1883871"/>
                  <a:pt x="1391481" y="1887743"/>
                </a:cubicBezTo>
                <a:lnTo>
                  <a:pt x="1391584" y="1887898"/>
                </a:lnTo>
                <a:close/>
                <a:moveTo>
                  <a:pt x="5634281" y="1882786"/>
                </a:moveTo>
                <a:cubicBezTo>
                  <a:pt x="5637696" y="1883355"/>
                  <a:pt x="5641537" y="1884778"/>
                  <a:pt x="5645379" y="1887481"/>
                </a:cubicBezTo>
                <a:cubicBezTo>
                  <a:pt x="5647940" y="1889473"/>
                  <a:pt x="5649648" y="1891891"/>
                  <a:pt x="5651142" y="1894594"/>
                </a:cubicBezTo>
                <a:lnTo>
                  <a:pt x="5653276" y="1900997"/>
                </a:lnTo>
                <a:lnTo>
                  <a:pt x="5655196" y="1902277"/>
                </a:lnTo>
                <a:lnTo>
                  <a:pt x="5654129" y="1903130"/>
                </a:lnTo>
                <a:lnTo>
                  <a:pt x="5656050" y="1908679"/>
                </a:lnTo>
                <a:cubicBezTo>
                  <a:pt x="5657544" y="1913943"/>
                  <a:pt x="5659251" y="1919492"/>
                  <a:pt x="5662026" y="1925040"/>
                </a:cubicBezTo>
                <a:lnTo>
                  <a:pt x="5660105" y="1924897"/>
                </a:lnTo>
                <a:lnTo>
                  <a:pt x="5661172" y="1926178"/>
                </a:lnTo>
                <a:cubicBezTo>
                  <a:pt x="5662879" y="1928454"/>
                  <a:pt x="5663947" y="1930731"/>
                  <a:pt x="5663947" y="1932723"/>
                </a:cubicBezTo>
                <a:cubicBezTo>
                  <a:pt x="5663947" y="1934003"/>
                  <a:pt x="5663734" y="1935284"/>
                  <a:pt x="5662666" y="1936421"/>
                </a:cubicBezTo>
                <a:cubicBezTo>
                  <a:pt x="5658825" y="1941116"/>
                  <a:pt x="5651568" y="1941259"/>
                  <a:pt x="5644952" y="1937560"/>
                </a:cubicBezTo>
                <a:lnTo>
                  <a:pt x="5643885" y="1936564"/>
                </a:lnTo>
                <a:lnTo>
                  <a:pt x="5638550" y="1949795"/>
                </a:lnTo>
                <a:lnTo>
                  <a:pt x="5637269" y="1953636"/>
                </a:lnTo>
                <a:lnTo>
                  <a:pt x="5638123" y="1954916"/>
                </a:lnTo>
                <a:cubicBezTo>
                  <a:pt x="5638763" y="1956339"/>
                  <a:pt x="5638977" y="1957904"/>
                  <a:pt x="5640257" y="1959184"/>
                </a:cubicBezTo>
                <a:cubicBezTo>
                  <a:pt x="5639190" y="1959611"/>
                  <a:pt x="5637696" y="1960465"/>
                  <a:pt x="5635989" y="1960749"/>
                </a:cubicBezTo>
                <a:lnTo>
                  <a:pt x="5635135" y="1960607"/>
                </a:lnTo>
                <a:lnTo>
                  <a:pt x="5634921" y="1961034"/>
                </a:lnTo>
                <a:lnTo>
                  <a:pt x="5634708" y="1960607"/>
                </a:lnTo>
                <a:lnTo>
                  <a:pt x="5633001" y="1960607"/>
                </a:lnTo>
                <a:cubicBezTo>
                  <a:pt x="5631934" y="1960181"/>
                  <a:pt x="5630866" y="1959611"/>
                  <a:pt x="5629586" y="1958615"/>
                </a:cubicBezTo>
                <a:cubicBezTo>
                  <a:pt x="5628306" y="1957477"/>
                  <a:pt x="5628306" y="1957335"/>
                  <a:pt x="5628306" y="1956197"/>
                </a:cubicBezTo>
                <a:cubicBezTo>
                  <a:pt x="5627665" y="1954916"/>
                  <a:pt x="5627025" y="1953920"/>
                  <a:pt x="5626598" y="1953067"/>
                </a:cubicBezTo>
                <a:lnTo>
                  <a:pt x="5626598" y="1952498"/>
                </a:lnTo>
                <a:lnTo>
                  <a:pt x="5625104" y="1951360"/>
                </a:lnTo>
                <a:cubicBezTo>
                  <a:pt x="5621476" y="1949083"/>
                  <a:pt x="5617208" y="1947661"/>
                  <a:pt x="5613366" y="1946096"/>
                </a:cubicBezTo>
                <a:lnTo>
                  <a:pt x="5612299" y="1948230"/>
                </a:lnTo>
                <a:cubicBezTo>
                  <a:pt x="5610592" y="1949653"/>
                  <a:pt x="5608671" y="1950648"/>
                  <a:pt x="5607391" y="1952356"/>
                </a:cubicBezTo>
                <a:cubicBezTo>
                  <a:pt x="5603122" y="1949510"/>
                  <a:pt x="5601841" y="1945526"/>
                  <a:pt x="5602482" y="1942539"/>
                </a:cubicBezTo>
                <a:lnTo>
                  <a:pt x="5603762" y="1940262"/>
                </a:lnTo>
                <a:lnTo>
                  <a:pt x="5601841" y="1938555"/>
                </a:lnTo>
                <a:cubicBezTo>
                  <a:pt x="5600774" y="1937133"/>
                  <a:pt x="5599708" y="1935425"/>
                  <a:pt x="5598853" y="1933433"/>
                </a:cubicBezTo>
                <a:cubicBezTo>
                  <a:pt x="5597360" y="1929593"/>
                  <a:pt x="5596506" y="1926036"/>
                  <a:pt x="5596506" y="1922621"/>
                </a:cubicBezTo>
                <a:lnTo>
                  <a:pt x="5597787" y="1917215"/>
                </a:lnTo>
                <a:lnTo>
                  <a:pt x="5597360" y="1916931"/>
                </a:lnTo>
                <a:cubicBezTo>
                  <a:pt x="5596293" y="1915081"/>
                  <a:pt x="5596293" y="1911952"/>
                  <a:pt x="5598213" y="1908395"/>
                </a:cubicBezTo>
                <a:lnTo>
                  <a:pt x="5600988" y="1910101"/>
                </a:lnTo>
                <a:lnTo>
                  <a:pt x="5603976" y="1905976"/>
                </a:lnTo>
                <a:lnTo>
                  <a:pt x="5608031" y="1903416"/>
                </a:lnTo>
                <a:lnTo>
                  <a:pt x="5609098" y="1900143"/>
                </a:lnTo>
                <a:lnTo>
                  <a:pt x="5605896" y="1900854"/>
                </a:lnTo>
                <a:cubicBezTo>
                  <a:pt x="5604829" y="1900712"/>
                  <a:pt x="5603336" y="1900000"/>
                  <a:pt x="5601841" y="1898720"/>
                </a:cubicBezTo>
                <a:cubicBezTo>
                  <a:pt x="5601628" y="1895164"/>
                  <a:pt x="5606110" y="1889331"/>
                  <a:pt x="5609524" y="1889473"/>
                </a:cubicBezTo>
                <a:cubicBezTo>
                  <a:pt x="5610592" y="1890753"/>
                  <a:pt x="5611872" y="1892033"/>
                  <a:pt x="5612939" y="1893172"/>
                </a:cubicBezTo>
                <a:lnTo>
                  <a:pt x="5612086" y="1894879"/>
                </a:lnTo>
                <a:lnTo>
                  <a:pt x="5615927" y="1889757"/>
                </a:lnTo>
                <a:cubicBezTo>
                  <a:pt x="5620836" y="1884778"/>
                  <a:pt x="5627238" y="1881933"/>
                  <a:pt x="5634281" y="1882786"/>
                </a:cubicBezTo>
                <a:close/>
                <a:moveTo>
                  <a:pt x="741690" y="1882477"/>
                </a:moveTo>
                <a:cubicBezTo>
                  <a:pt x="743548" y="1882167"/>
                  <a:pt x="745200" y="1881857"/>
                  <a:pt x="746439" y="1883251"/>
                </a:cubicBezTo>
                <a:cubicBezTo>
                  <a:pt x="746853" y="1883716"/>
                  <a:pt x="747162" y="1884336"/>
                  <a:pt x="747369" y="1885110"/>
                </a:cubicBezTo>
                <a:cubicBezTo>
                  <a:pt x="747369" y="1885110"/>
                  <a:pt x="747369" y="1885110"/>
                  <a:pt x="746956" y="1885730"/>
                </a:cubicBezTo>
                <a:cubicBezTo>
                  <a:pt x="746130" y="1887124"/>
                  <a:pt x="745613" y="1887743"/>
                  <a:pt x="745200" y="1888518"/>
                </a:cubicBezTo>
                <a:cubicBezTo>
                  <a:pt x="744065" y="1888673"/>
                  <a:pt x="740967" y="1888673"/>
                  <a:pt x="740657" y="1887434"/>
                </a:cubicBezTo>
                <a:cubicBezTo>
                  <a:pt x="740347" y="1886349"/>
                  <a:pt x="740244" y="1885110"/>
                  <a:pt x="740451" y="1884181"/>
                </a:cubicBezTo>
                <a:cubicBezTo>
                  <a:pt x="740657" y="1883251"/>
                  <a:pt x="741173" y="1882477"/>
                  <a:pt x="741690" y="1882477"/>
                </a:cubicBezTo>
                <a:close/>
                <a:moveTo>
                  <a:pt x="876452" y="1881819"/>
                </a:moveTo>
                <a:cubicBezTo>
                  <a:pt x="878117" y="1883445"/>
                  <a:pt x="878401" y="1886195"/>
                  <a:pt x="874787" y="1888053"/>
                </a:cubicBezTo>
                <a:cubicBezTo>
                  <a:pt x="872309" y="1885575"/>
                  <a:pt x="870657" y="1883871"/>
                  <a:pt x="869830" y="1882322"/>
                </a:cubicBezTo>
                <a:cubicBezTo>
                  <a:pt x="871741" y="1879689"/>
                  <a:pt x="874787" y="1880192"/>
                  <a:pt x="876452" y="1881819"/>
                </a:cubicBezTo>
                <a:close/>
                <a:moveTo>
                  <a:pt x="5585835" y="1881221"/>
                </a:moveTo>
                <a:cubicBezTo>
                  <a:pt x="5589250" y="1880367"/>
                  <a:pt x="5593305" y="1882075"/>
                  <a:pt x="5596506" y="1887623"/>
                </a:cubicBezTo>
                <a:cubicBezTo>
                  <a:pt x="5595866" y="1898293"/>
                  <a:pt x="5583274" y="1901423"/>
                  <a:pt x="5579432" y="1890469"/>
                </a:cubicBezTo>
                <a:cubicBezTo>
                  <a:pt x="5579859" y="1885631"/>
                  <a:pt x="5582420" y="1882075"/>
                  <a:pt x="5585835" y="1881221"/>
                </a:cubicBezTo>
                <a:close/>
                <a:moveTo>
                  <a:pt x="5523516" y="1880937"/>
                </a:moveTo>
                <a:cubicBezTo>
                  <a:pt x="5523730" y="1880794"/>
                  <a:pt x="5523943" y="1880794"/>
                  <a:pt x="5525011" y="1880937"/>
                </a:cubicBezTo>
                <a:cubicBezTo>
                  <a:pt x="5523943" y="1882075"/>
                  <a:pt x="5523943" y="1882217"/>
                  <a:pt x="5523943" y="1883497"/>
                </a:cubicBezTo>
                <a:cubicBezTo>
                  <a:pt x="5523943" y="1883497"/>
                  <a:pt x="5522876" y="1882075"/>
                  <a:pt x="5522876" y="1882075"/>
                </a:cubicBezTo>
                <a:cubicBezTo>
                  <a:pt x="5523303" y="1881506"/>
                  <a:pt x="5523516" y="1881079"/>
                  <a:pt x="5523516" y="1880937"/>
                </a:cubicBezTo>
                <a:close/>
                <a:moveTo>
                  <a:pt x="1413165" y="1880153"/>
                </a:moveTo>
                <a:cubicBezTo>
                  <a:pt x="1417398" y="1881547"/>
                  <a:pt x="1416469" y="1884181"/>
                  <a:pt x="1415436" y="1886814"/>
                </a:cubicBezTo>
                <a:cubicBezTo>
                  <a:pt x="1412855" y="1885265"/>
                  <a:pt x="1410996" y="1888673"/>
                  <a:pt x="1409344" y="1885265"/>
                </a:cubicBezTo>
                <a:cubicBezTo>
                  <a:pt x="1409448" y="1883561"/>
                  <a:pt x="1410377" y="1881857"/>
                  <a:pt x="1413165" y="1880153"/>
                </a:cubicBezTo>
                <a:close/>
                <a:moveTo>
                  <a:pt x="811181" y="1880153"/>
                </a:moveTo>
                <a:cubicBezTo>
                  <a:pt x="811697" y="1880463"/>
                  <a:pt x="812214" y="1880928"/>
                  <a:pt x="812730" y="1881857"/>
                </a:cubicBezTo>
                <a:cubicBezTo>
                  <a:pt x="813246" y="1886039"/>
                  <a:pt x="809219" y="1887279"/>
                  <a:pt x="806225" y="1890222"/>
                </a:cubicBezTo>
                <a:cubicBezTo>
                  <a:pt x="805502" y="1889757"/>
                  <a:pt x="804263" y="1889912"/>
                  <a:pt x="803850" y="1890686"/>
                </a:cubicBezTo>
                <a:cubicBezTo>
                  <a:pt x="802611" y="1890841"/>
                  <a:pt x="801475" y="1890996"/>
                  <a:pt x="802198" y="1891461"/>
                </a:cubicBezTo>
                <a:cubicBezTo>
                  <a:pt x="798687" y="1892081"/>
                  <a:pt x="798171" y="1892855"/>
                  <a:pt x="796416" y="1890686"/>
                </a:cubicBezTo>
                <a:cubicBezTo>
                  <a:pt x="800649" y="1885730"/>
                  <a:pt x="807670" y="1881392"/>
                  <a:pt x="809323" y="1880463"/>
                </a:cubicBezTo>
                <a:cubicBezTo>
                  <a:pt x="810045" y="1879999"/>
                  <a:pt x="810665" y="1879999"/>
                  <a:pt x="811181" y="1880153"/>
                </a:cubicBezTo>
                <a:close/>
                <a:moveTo>
                  <a:pt x="1958339" y="1880058"/>
                </a:moveTo>
                <a:lnTo>
                  <a:pt x="1957015" y="1881547"/>
                </a:lnTo>
                <a:cubicBezTo>
                  <a:pt x="1955363" y="1883871"/>
                  <a:pt x="1954537" y="1885885"/>
                  <a:pt x="1955054" y="1887589"/>
                </a:cubicBezTo>
                <a:lnTo>
                  <a:pt x="1958339" y="1889343"/>
                </a:lnTo>
                <a:close/>
                <a:moveTo>
                  <a:pt x="5295371" y="1879372"/>
                </a:moveTo>
                <a:cubicBezTo>
                  <a:pt x="5304121" y="1881221"/>
                  <a:pt x="5310310" y="1886628"/>
                  <a:pt x="5313512" y="1893456"/>
                </a:cubicBezTo>
                <a:cubicBezTo>
                  <a:pt x="5315005" y="1896302"/>
                  <a:pt x="5315859" y="1899432"/>
                  <a:pt x="5316286" y="1902704"/>
                </a:cubicBezTo>
                <a:lnTo>
                  <a:pt x="5316286" y="1902846"/>
                </a:lnTo>
                <a:lnTo>
                  <a:pt x="5322048" y="1900997"/>
                </a:lnTo>
                <a:cubicBezTo>
                  <a:pt x="5330585" y="1900000"/>
                  <a:pt x="5332292" y="1906545"/>
                  <a:pt x="5331012" y="1912805"/>
                </a:cubicBezTo>
                <a:lnTo>
                  <a:pt x="5330371" y="1914085"/>
                </a:lnTo>
                <a:lnTo>
                  <a:pt x="5330585" y="1914085"/>
                </a:lnTo>
                <a:cubicBezTo>
                  <a:pt x="5333786" y="1917357"/>
                  <a:pt x="5332933" y="1922479"/>
                  <a:pt x="5333786" y="1921910"/>
                </a:cubicBezTo>
                <a:cubicBezTo>
                  <a:pt x="5335280" y="1922337"/>
                  <a:pt x="5335280" y="1922337"/>
                  <a:pt x="5336347" y="1921626"/>
                </a:cubicBezTo>
                <a:cubicBezTo>
                  <a:pt x="5336774" y="1922764"/>
                  <a:pt x="5338909" y="1924186"/>
                  <a:pt x="5340402" y="1924471"/>
                </a:cubicBezTo>
                <a:cubicBezTo>
                  <a:pt x="5339335" y="1925183"/>
                  <a:pt x="5338268" y="1925751"/>
                  <a:pt x="5338909" y="1926889"/>
                </a:cubicBezTo>
                <a:cubicBezTo>
                  <a:pt x="5335707" y="1926036"/>
                  <a:pt x="5335280" y="1925040"/>
                  <a:pt x="5333786" y="1924613"/>
                </a:cubicBezTo>
                <a:cubicBezTo>
                  <a:pt x="5334213" y="1925609"/>
                  <a:pt x="5332719" y="1925183"/>
                  <a:pt x="5332719" y="1925183"/>
                </a:cubicBezTo>
                <a:cubicBezTo>
                  <a:pt x="5332719" y="1925183"/>
                  <a:pt x="5332719" y="1925324"/>
                  <a:pt x="5331652" y="1928596"/>
                </a:cubicBezTo>
                <a:cubicBezTo>
                  <a:pt x="5331652" y="1928596"/>
                  <a:pt x="5328664" y="1935852"/>
                  <a:pt x="5321408" y="1934999"/>
                </a:cubicBezTo>
                <a:cubicBezTo>
                  <a:pt x="5322048" y="1933291"/>
                  <a:pt x="5312658" y="1931015"/>
                  <a:pt x="5312658" y="1925609"/>
                </a:cubicBezTo>
                <a:lnTo>
                  <a:pt x="5312658" y="1922906"/>
                </a:lnTo>
                <a:lnTo>
                  <a:pt x="5306896" y="1931868"/>
                </a:lnTo>
                <a:cubicBezTo>
                  <a:pt x="5305401" y="1931300"/>
                  <a:pt x="5303908" y="1930873"/>
                  <a:pt x="5303267" y="1932438"/>
                </a:cubicBezTo>
                <a:cubicBezTo>
                  <a:pt x="5291956" y="1929308"/>
                  <a:pt x="5285340" y="1917215"/>
                  <a:pt x="5284913" y="1904838"/>
                </a:cubicBezTo>
                <a:lnTo>
                  <a:pt x="5284913" y="1904553"/>
                </a:lnTo>
                <a:lnTo>
                  <a:pt x="5282992" y="1904981"/>
                </a:lnTo>
                <a:cubicBezTo>
                  <a:pt x="5282352" y="1903984"/>
                  <a:pt x="5281285" y="1904553"/>
                  <a:pt x="5281925" y="1902988"/>
                </a:cubicBezTo>
                <a:lnTo>
                  <a:pt x="5279791" y="1902277"/>
                </a:lnTo>
                <a:lnTo>
                  <a:pt x="5277871" y="1905264"/>
                </a:lnTo>
                <a:lnTo>
                  <a:pt x="5274456" y="1905976"/>
                </a:lnTo>
                <a:lnTo>
                  <a:pt x="5275096" y="1907683"/>
                </a:lnTo>
                <a:cubicBezTo>
                  <a:pt x="5286194" y="1916077"/>
                  <a:pt x="5287474" y="1930873"/>
                  <a:pt x="5297291" y="1945811"/>
                </a:cubicBezTo>
                <a:lnTo>
                  <a:pt x="5294303" y="1945669"/>
                </a:lnTo>
                <a:lnTo>
                  <a:pt x="5294517" y="1947091"/>
                </a:lnTo>
                <a:cubicBezTo>
                  <a:pt x="5291743" y="1950791"/>
                  <a:pt x="5287687" y="1952071"/>
                  <a:pt x="5284273" y="1951075"/>
                </a:cubicBezTo>
                <a:lnTo>
                  <a:pt x="5280218" y="1947945"/>
                </a:lnTo>
                <a:lnTo>
                  <a:pt x="5273388" y="1951502"/>
                </a:lnTo>
                <a:cubicBezTo>
                  <a:pt x="5271041" y="1952782"/>
                  <a:pt x="5268693" y="1953920"/>
                  <a:pt x="5266346" y="1954490"/>
                </a:cubicBezTo>
                <a:cubicBezTo>
                  <a:pt x="5262931" y="1955343"/>
                  <a:pt x="5259516" y="1955201"/>
                  <a:pt x="5255675" y="1953493"/>
                </a:cubicBezTo>
                <a:cubicBezTo>
                  <a:pt x="5227930" y="1942255"/>
                  <a:pt x="5237961" y="1898435"/>
                  <a:pt x="5263358" y="1902704"/>
                </a:cubicBezTo>
                <a:lnTo>
                  <a:pt x="5271895" y="1906403"/>
                </a:lnTo>
                <a:lnTo>
                  <a:pt x="5267840" y="1901708"/>
                </a:lnTo>
                <a:lnTo>
                  <a:pt x="5266986" y="1900143"/>
                </a:lnTo>
                <a:lnTo>
                  <a:pt x="5264638" y="1898009"/>
                </a:lnTo>
                <a:lnTo>
                  <a:pt x="5264852" y="1888334"/>
                </a:lnTo>
                <a:lnTo>
                  <a:pt x="5264425" y="1889615"/>
                </a:lnTo>
                <a:cubicBezTo>
                  <a:pt x="5263358" y="1887481"/>
                  <a:pt x="5258662" y="1889046"/>
                  <a:pt x="5259730" y="1885631"/>
                </a:cubicBezTo>
                <a:lnTo>
                  <a:pt x="5264852" y="1887908"/>
                </a:lnTo>
                <a:lnTo>
                  <a:pt x="5264852" y="1886058"/>
                </a:lnTo>
                <a:cubicBezTo>
                  <a:pt x="5266132" y="1886912"/>
                  <a:pt x="5267200" y="1885347"/>
                  <a:pt x="5268053" y="1883924"/>
                </a:cubicBezTo>
                <a:cubicBezTo>
                  <a:pt x="5273175" y="1882928"/>
                  <a:pt x="5277444" y="1887196"/>
                  <a:pt x="5279791" y="1892318"/>
                </a:cubicBezTo>
                <a:lnTo>
                  <a:pt x="5280645" y="1897440"/>
                </a:lnTo>
                <a:lnTo>
                  <a:pt x="5282992" y="1900285"/>
                </a:lnTo>
                <a:lnTo>
                  <a:pt x="5285340" y="1901565"/>
                </a:lnTo>
                <a:lnTo>
                  <a:pt x="5286407" y="1892745"/>
                </a:lnTo>
                <a:lnTo>
                  <a:pt x="5289395" y="1888477"/>
                </a:lnTo>
                <a:lnTo>
                  <a:pt x="5288115" y="1886058"/>
                </a:lnTo>
                <a:cubicBezTo>
                  <a:pt x="5288755" y="1884778"/>
                  <a:pt x="5289608" y="1884067"/>
                  <a:pt x="5290675" y="1883497"/>
                </a:cubicBezTo>
                <a:lnTo>
                  <a:pt x="5293023" y="1882928"/>
                </a:lnTo>
                <a:close/>
                <a:moveTo>
                  <a:pt x="1667485" y="1878914"/>
                </a:moveTo>
                <a:cubicBezTo>
                  <a:pt x="1670273" y="1877985"/>
                  <a:pt x="1672751" y="1879689"/>
                  <a:pt x="1675023" y="1883251"/>
                </a:cubicBezTo>
                <a:cubicBezTo>
                  <a:pt x="1674093" y="1884800"/>
                  <a:pt x="1673887" y="1886504"/>
                  <a:pt x="1672854" y="1888827"/>
                </a:cubicBezTo>
                <a:cubicBezTo>
                  <a:pt x="1670170" y="1888363"/>
                  <a:pt x="1665213" y="1885110"/>
                  <a:pt x="1664697" y="1880773"/>
                </a:cubicBezTo>
                <a:cubicBezTo>
                  <a:pt x="1665626" y="1879844"/>
                  <a:pt x="1666659" y="1879224"/>
                  <a:pt x="1667485" y="1878914"/>
                </a:cubicBezTo>
                <a:close/>
                <a:moveTo>
                  <a:pt x="1249710" y="1878856"/>
                </a:moveTo>
                <a:cubicBezTo>
                  <a:pt x="1251362" y="1878450"/>
                  <a:pt x="1253118" y="1878140"/>
                  <a:pt x="1254357" y="1879379"/>
                </a:cubicBezTo>
                <a:lnTo>
                  <a:pt x="1256112" y="1881083"/>
                </a:lnTo>
                <a:lnTo>
                  <a:pt x="1256422" y="1879070"/>
                </a:lnTo>
                <a:cubicBezTo>
                  <a:pt x="1263237" y="1880153"/>
                  <a:pt x="1270671" y="1883716"/>
                  <a:pt x="1272324" y="1884646"/>
                </a:cubicBezTo>
                <a:cubicBezTo>
                  <a:pt x="1273149" y="1885110"/>
                  <a:pt x="1273562" y="1885575"/>
                  <a:pt x="1273562" y="1886039"/>
                </a:cubicBezTo>
                <a:cubicBezTo>
                  <a:pt x="1273562" y="1886504"/>
                  <a:pt x="1273356" y="1887279"/>
                  <a:pt x="1272736" y="1888053"/>
                </a:cubicBezTo>
                <a:cubicBezTo>
                  <a:pt x="1271807" y="1888673"/>
                  <a:pt x="1270878" y="1888982"/>
                  <a:pt x="1270052" y="1888982"/>
                </a:cubicBezTo>
                <a:lnTo>
                  <a:pt x="1270362" y="1889603"/>
                </a:lnTo>
                <a:lnTo>
                  <a:pt x="1270568" y="1889603"/>
                </a:lnTo>
                <a:cubicBezTo>
                  <a:pt x="1273769" y="1890531"/>
                  <a:pt x="1276660" y="1892390"/>
                  <a:pt x="1277899" y="1892700"/>
                </a:cubicBezTo>
                <a:cubicBezTo>
                  <a:pt x="1277899" y="1892700"/>
                  <a:pt x="1278829" y="1892700"/>
                  <a:pt x="1279655" y="1893474"/>
                </a:cubicBezTo>
                <a:cubicBezTo>
                  <a:pt x="1281306" y="1894249"/>
                  <a:pt x="1278725" y="1895178"/>
                  <a:pt x="1279551" y="1895953"/>
                </a:cubicBezTo>
                <a:lnTo>
                  <a:pt x="1273149" y="1895798"/>
                </a:lnTo>
                <a:lnTo>
                  <a:pt x="1272839" y="1900910"/>
                </a:lnTo>
                <a:cubicBezTo>
                  <a:pt x="1267883" y="1903543"/>
                  <a:pt x="1261378" y="1899980"/>
                  <a:pt x="1257351" y="1895643"/>
                </a:cubicBezTo>
                <a:lnTo>
                  <a:pt x="1256938" y="1895333"/>
                </a:lnTo>
                <a:lnTo>
                  <a:pt x="1256835" y="1895643"/>
                </a:lnTo>
                <a:cubicBezTo>
                  <a:pt x="1257455" y="1896727"/>
                  <a:pt x="1260036" y="1897502"/>
                  <a:pt x="1258694" y="1899515"/>
                </a:cubicBezTo>
                <a:cubicBezTo>
                  <a:pt x="1255183" y="1903388"/>
                  <a:pt x="1249091" y="1902303"/>
                  <a:pt x="1245890" y="1901529"/>
                </a:cubicBezTo>
                <a:lnTo>
                  <a:pt x="1244031" y="1901064"/>
                </a:lnTo>
                <a:lnTo>
                  <a:pt x="1244031" y="1901839"/>
                </a:lnTo>
                <a:lnTo>
                  <a:pt x="1243205" y="1901064"/>
                </a:lnTo>
                <a:lnTo>
                  <a:pt x="1242999" y="1901064"/>
                </a:lnTo>
                <a:cubicBezTo>
                  <a:pt x="1242999" y="1900136"/>
                  <a:pt x="1242069" y="1900290"/>
                  <a:pt x="1242069" y="1901064"/>
                </a:cubicBezTo>
                <a:cubicBezTo>
                  <a:pt x="1240830" y="1900290"/>
                  <a:pt x="1239798" y="1899670"/>
                  <a:pt x="1239281" y="1899051"/>
                </a:cubicBezTo>
                <a:cubicBezTo>
                  <a:pt x="1238971" y="1898741"/>
                  <a:pt x="1238868" y="1898432"/>
                  <a:pt x="1238868" y="1898122"/>
                </a:cubicBezTo>
                <a:cubicBezTo>
                  <a:pt x="1238971" y="1897812"/>
                  <a:pt x="1239281" y="1897347"/>
                  <a:pt x="1239695" y="1896882"/>
                </a:cubicBezTo>
                <a:cubicBezTo>
                  <a:pt x="1240624" y="1895178"/>
                  <a:pt x="1242276" y="1895953"/>
                  <a:pt x="1244134" y="1894249"/>
                </a:cubicBezTo>
                <a:cubicBezTo>
                  <a:pt x="1246922" y="1890686"/>
                  <a:pt x="1240211" y="1885885"/>
                  <a:pt x="1245683" y="1878914"/>
                </a:cubicBezTo>
                <a:cubicBezTo>
                  <a:pt x="1246509" y="1879766"/>
                  <a:pt x="1248058" y="1879263"/>
                  <a:pt x="1249710" y="1878856"/>
                </a:cubicBezTo>
                <a:close/>
                <a:moveTo>
                  <a:pt x="6095908" y="1878802"/>
                </a:moveTo>
                <a:cubicBezTo>
                  <a:pt x="6098469" y="1878802"/>
                  <a:pt x="6101457" y="1879798"/>
                  <a:pt x="6104445" y="1880937"/>
                </a:cubicBezTo>
                <a:cubicBezTo>
                  <a:pt x="6104232" y="1890042"/>
                  <a:pt x="6090360" y="1884067"/>
                  <a:pt x="6095908" y="1878802"/>
                </a:cubicBezTo>
                <a:close/>
                <a:moveTo>
                  <a:pt x="5022193" y="1876953"/>
                </a:moveTo>
                <a:cubicBezTo>
                  <a:pt x="5024328" y="1876384"/>
                  <a:pt x="5028383" y="1878802"/>
                  <a:pt x="5030944" y="1880510"/>
                </a:cubicBezTo>
                <a:cubicBezTo>
                  <a:pt x="5031584" y="1884067"/>
                  <a:pt x="5030090" y="1888050"/>
                  <a:pt x="5027316" y="1891323"/>
                </a:cubicBezTo>
                <a:cubicBezTo>
                  <a:pt x="5021980" y="1888050"/>
                  <a:pt x="5021126" y="1883355"/>
                  <a:pt x="5022193" y="1876953"/>
                </a:cubicBezTo>
                <a:close/>
                <a:moveTo>
                  <a:pt x="1290290" y="1876901"/>
                </a:moveTo>
                <a:cubicBezTo>
                  <a:pt x="1297725" y="1883251"/>
                  <a:pt x="1291116" y="1895488"/>
                  <a:pt x="1286573" y="1900755"/>
                </a:cubicBezTo>
                <a:cubicBezTo>
                  <a:pt x="1286366" y="1896882"/>
                  <a:pt x="1285850" y="1893165"/>
                  <a:pt x="1286160" y="1889137"/>
                </a:cubicBezTo>
                <a:cubicBezTo>
                  <a:pt x="1286469" y="1885265"/>
                  <a:pt x="1287502" y="1881238"/>
                  <a:pt x="1290290" y="1876901"/>
                </a:cubicBezTo>
                <a:close/>
                <a:moveTo>
                  <a:pt x="3836647" y="1875103"/>
                </a:moveTo>
                <a:cubicBezTo>
                  <a:pt x="3838141" y="1875815"/>
                  <a:pt x="3838781" y="1876953"/>
                  <a:pt x="3838781" y="1877949"/>
                </a:cubicBezTo>
                <a:cubicBezTo>
                  <a:pt x="3838994" y="1878945"/>
                  <a:pt x="3838568" y="1880083"/>
                  <a:pt x="3838354" y="1880937"/>
                </a:cubicBezTo>
                <a:cubicBezTo>
                  <a:pt x="3838141" y="1882786"/>
                  <a:pt x="3836860" y="1884209"/>
                  <a:pt x="3835366" y="1885062"/>
                </a:cubicBezTo>
                <a:cubicBezTo>
                  <a:pt x="3833659" y="1885916"/>
                  <a:pt x="3831524" y="1886343"/>
                  <a:pt x="3829817" y="1886343"/>
                </a:cubicBezTo>
                <a:cubicBezTo>
                  <a:pt x="3830885" y="1885916"/>
                  <a:pt x="3830885" y="1886058"/>
                  <a:pt x="3830885" y="1886058"/>
                </a:cubicBezTo>
                <a:cubicBezTo>
                  <a:pt x="3831738" y="1884493"/>
                  <a:pt x="3830457" y="1884921"/>
                  <a:pt x="3830244" y="1883782"/>
                </a:cubicBezTo>
                <a:cubicBezTo>
                  <a:pt x="3830244" y="1883782"/>
                  <a:pt x="3830671" y="1884921"/>
                  <a:pt x="3829177" y="1884209"/>
                </a:cubicBezTo>
                <a:cubicBezTo>
                  <a:pt x="3830244" y="1883782"/>
                  <a:pt x="3830031" y="1882644"/>
                  <a:pt x="3829817" y="1881506"/>
                </a:cubicBezTo>
                <a:cubicBezTo>
                  <a:pt x="3831311" y="1878375"/>
                  <a:pt x="3834085" y="1874819"/>
                  <a:pt x="3836647" y="1875103"/>
                </a:cubicBezTo>
                <a:close/>
                <a:moveTo>
                  <a:pt x="3709876" y="1875103"/>
                </a:moveTo>
                <a:cubicBezTo>
                  <a:pt x="3711369" y="1875246"/>
                  <a:pt x="3713290" y="1875815"/>
                  <a:pt x="3715638" y="1876953"/>
                </a:cubicBezTo>
                <a:cubicBezTo>
                  <a:pt x="3717132" y="1885204"/>
                  <a:pt x="3722467" y="1899716"/>
                  <a:pt x="3709876" y="1903842"/>
                </a:cubicBezTo>
                <a:cubicBezTo>
                  <a:pt x="3699418" y="1896159"/>
                  <a:pt x="3698137" y="1874392"/>
                  <a:pt x="3709876" y="1875103"/>
                </a:cubicBezTo>
                <a:close/>
                <a:moveTo>
                  <a:pt x="1070870" y="1874887"/>
                </a:moveTo>
                <a:cubicBezTo>
                  <a:pt x="1079441" y="1877056"/>
                  <a:pt x="1088114" y="1877675"/>
                  <a:pt x="1096065" y="1887279"/>
                </a:cubicBezTo>
                <a:cubicBezTo>
                  <a:pt x="1095032" y="1889603"/>
                  <a:pt x="1096375" y="1893939"/>
                  <a:pt x="1092038" y="1894094"/>
                </a:cubicBezTo>
                <a:cubicBezTo>
                  <a:pt x="1087701" y="1883406"/>
                  <a:pt x="1071800" y="1884955"/>
                  <a:pt x="1070870" y="1874887"/>
                </a:cubicBezTo>
                <a:close/>
                <a:moveTo>
                  <a:pt x="5524157" y="1874819"/>
                </a:moveTo>
                <a:cubicBezTo>
                  <a:pt x="5524157" y="1874819"/>
                  <a:pt x="5525224" y="1874961"/>
                  <a:pt x="5525224" y="1874961"/>
                </a:cubicBezTo>
                <a:cubicBezTo>
                  <a:pt x="5525224" y="1876242"/>
                  <a:pt x="5525011" y="1877522"/>
                  <a:pt x="5523943" y="1877380"/>
                </a:cubicBezTo>
                <a:cubicBezTo>
                  <a:pt x="5522876" y="1877238"/>
                  <a:pt x="5523090" y="1875957"/>
                  <a:pt x="5524157" y="1874819"/>
                </a:cubicBezTo>
                <a:close/>
                <a:moveTo>
                  <a:pt x="1051035" y="1874720"/>
                </a:moveTo>
                <a:cubicBezTo>
                  <a:pt x="1055711" y="1878082"/>
                  <a:pt x="1055305" y="1890222"/>
                  <a:pt x="1050426" y="1890686"/>
                </a:cubicBezTo>
                <a:cubicBezTo>
                  <a:pt x="1047844" y="1890841"/>
                  <a:pt x="1044230" y="1888053"/>
                  <a:pt x="1039377" y="1879534"/>
                </a:cubicBezTo>
                <a:cubicBezTo>
                  <a:pt x="1041339" y="1877365"/>
                  <a:pt x="1043095" y="1875971"/>
                  <a:pt x="1044643" y="1875042"/>
                </a:cubicBezTo>
                <a:cubicBezTo>
                  <a:pt x="1047354" y="1873454"/>
                  <a:pt x="1049477" y="1873600"/>
                  <a:pt x="1051035" y="1874720"/>
                </a:cubicBezTo>
                <a:close/>
                <a:moveTo>
                  <a:pt x="3859910" y="1874534"/>
                </a:moveTo>
                <a:cubicBezTo>
                  <a:pt x="3861190" y="1876811"/>
                  <a:pt x="3862470" y="1881648"/>
                  <a:pt x="3860336" y="1883782"/>
                </a:cubicBezTo>
                <a:cubicBezTo>
                  <a:pt x="3860336" y="1883782"/>
                  <a:pt x="3860336" y="1883782"/>
                  <a:pt x="3859269" y="1884921"/>
                </a:cubicBezTo>
                <a:cubicBezTo>
                  <a:pt x="3859269" y="1881363"/>
                  <a:pt x="3858842" y="1876811"/>
                  <a:pt x="3859910" y="1874534"/>
                </a:cubicBezTo>
                <a:close/>
                <a:moveTo>
                  <a:pt x="1620194" y="1874267"/>
                </a:moveTo>
                <a:cubicBezTo>
                  <a:pt x="1622259" y="1874267"/>
                  <a:pt x="1624221" y="1875197"/>
                  <a:pt x="1625873" y="1877210"/>
                </a:cubicBezTo>
                <a:cubicBezTo>
                  <a:pt x="1625769" y="1881392"/>
                  <a:pt x="1620194" y="1883096"/>
                  <a:pt x="1617303" y="1884491"/>
                </a:cubicBezTo>
                <a:cubicBezTo>
                  <a:pt x="1615340" y="1881703"/>
                  <a:pt x="1613379" y="1878760"/>
                  <a:pt x="1613998" y="1876436"/>
                </a:cubicBezTo>
                <a:cubicBezTo>
                  <a:pt x="1616064" y="1874887"/>
                  <a:pt x="1618129" y="1874113"/>
                  <a:pt x="1620194" y="1874267"/>
                </a:cubicBezTo>
                <a:close/>
                <a:moveTo>
                  <a:pt x="3732071" y="1874250"/>
                </a:moveTo>
                <a:cubicBezTo>
                  <a:pt x="3732925" y="1873538"/>
                  <a:pt x="3734205" y="1873538"/>
                  <a:pt x="3735699" y="1874392"/>
                </a:cubicBezTo>
                <a:cubicBezTo>
                  <a:pt x="3735486" y="1876100"/>
                  <a:pt x="3736339" y="1878660"/>
                  <a:pt x="3735272" y="1881079"/>
                </a:cubicBezTo>
                <a:cubicBezTo>
                  <a:pt x="3729083" y="1882502"/>
                  <a:pt x="3729297" y="1876100"/>
                  <a:pt x="3732071" y="1874250"/>
                </a:cubicBezTo>
                <a:close/>
                <a:moveTo>
                  <a:pt x="5167532" y="1874108"/>
                </a:moveTo>
                <a:cubicBezTo>
                  <a:pt x="5173935" y="1881506"/>
                  <a:pt x="5176709" y="1889899"/>
                  <a:pt x="5176069" y="1897724"/>
                </a:cubicBezTo>
                <a:cubicBezTo>
                  <a:pt x="5176069" y="1898720"/>
                  <a:pt x="5175642" y="1899574"/>
                  <a:pt x="5175642" y="1900570"/>
                </a:cubicBezTo>
                <a:cubicBezTo>
                  <a:pt x="5177136" y="1900854"/>
                  <a:pt x="5178630" y="1901281"/>
                  <a:pt x="5177990" y="1900285"/>
                </a:cubicBezTo>
                <a:cubicBezTo>
                  <a:pt x="5179484" y="1900712"/>
                  <a:pt x="5180551" y="1901423"/>
                  <a:pt x="5181191" y="1902277"/>
                </a:cubicBezTo>
                <a:cubicBezTo>
                  <a:pt x="5181832" y="1903273"/>
                  <a:pt x="5182258" y="1904411"/>
                  <a:pt x="5182258" y="1905834"/>
                </a:cubicBezTo>
                <a:cubicBezTo>
                  <a:pt x="5181618" y="1907399"/>
                  <a:pt x="5179484" y="1908679"/>
                  <a:pt x="5176069" y="1909533"/>
                </a:cubicBezTo>
                <a:cubicBezTo>
                  <a:pt x="5174148" y="1908395"/>
                  <a:pt x="5175215" y="1904411"/>
                  <a:pt x="5175429" y="1901565"/>
                </a:cubicBezTo>
                <a:cubicBezTo>
                  <a:pt x="5173081" y="1912947"/>
                  <a:pt x="5164758" y="1922764"/>
                  <a:pt x="5152593" y="1925324"/>
                </a:cubicBezTo>
                <a:cubicBezTo>
                  <a:pt x="5151739" y="1923902"/>
                  <a:pt x="5150672" y="1922479"/>
                  <a:pt x="5149392" y="1923332"/>
                </a:cubicBezTo>
                <a:lnTo>
                  <a:pt x="5144910" y="1912236"/>
                </a:lnTo>
                <a:lnTo>
                  <a:pt x="5144269" y="1913374"/>
                </a:lnTo>
                <a:cubicBezTo>
                  <a:pt x="5143629" y="1914370"/>
                  <a:pt x="5142776" y="1914939"/>
                  <a:pt x="5142562" y="1914370"/>
                </a:cubicBezTo>
                <a:cubicBezTo>
                  <a:pt x="5141069" y="1913800"/>
                  <a:pt x="5141495" y="1914939"/>
                  <a:pt x="5140428" y="1915508"/>
                </a:cubicBezTo>
                <a:lnTo>
                  <a:pt x="5138934" y="1914512"/>
                </a:lnTo>
                <a:lnTo>
                  <a:pt x="5138294" y="1915365"/>
                </a:lnTo>
                <a:cubicBezTo>
                  <a:pt x="5136800" y="1917784"/>
                  <a:pt x="5136800" y="1917784"/>
                  <a:pt x="5135306" y="1917357"/>
                </a:cubicBezTo>
                <a:cubicBezTo>
                  <a:pt x="5134452" y="1917073"/>
                  <a:pt x="5134026" y="1916077"/>
                  <a:pt x="5133385" y="1915081"/>
                </a:cubicBezTo>
                <a:lnTo>
                  <a:pt x="5132318" y="1913800"/>
                </a:lnTo>
                <a:lnTo>
                  <a:pt x="5130184" y="1915650"/>
                </a:lnTo>
                <a:cubicBezTo>
                  <a:pt x="5129330" y="1916647"/>
                  <a:pt x="5128477" y="1917642"/>
                  <a:pt x="5127196" y="1918780"/>
                </a:cubicBezTo>
                <a:cubicBezTo>
                  <a:pt x="5123995" y="1916788"/>
                  <a:pt x="5119727" y="1909817"/>
                  <a:pt x="5121434" y="1904126"/>
                </a:cubicBezTo>
                <a:cubicBezTo>
                  <a:pt x="5123141" y="1903557"/>
                  <a:pt x="5124635" y="1903416"/>
                  <a:pt x="5125915" y="1903557"/>
                </a:cubicBezTo>
                <a:cubicBezTo>
                  <a:pt x="5127836" y="1903700"/>
                  <a:pt x="5129330" y="1904695"/>
                  <a:pt x="5130611" y="1906403"/>
                </a:cubicBezTo>
                <a:lnTo>
                  <a:pt x="5132318" y="1911382"/>
                </a:lnTo>
                <a:lnTo>
                  <a:pt x="5132958" y="1910244"/>
                </a:lnTo>
                <a:lnTo>
                  <a:pt x="5135093" y="1909817"/>
                </a:lnTo>
                <a:lnTo>
                  <a:pt x="5134666" y="1906972"/>
                </a:lnTo>
                <a:cubicBezTo>
                  <a:pt x="5135306" y="1905264"/>
                  <a:pt x="5136160" y="1903416"/>
                  <a:pt x="5137226" y="1901850"/>
                </a:cubicBezTo>
                <a:lnTo>
                  <a:pt x="5141069" y="1900000"/>
                </a:lnTo>
                <a:lnTo>
                  <a:pt x="5138294" y="1900143"/>
                </a:lnTo>
                <a:cubicBezTo>
                  <a:pt x="5137440" y="1896870"/>
                  <a:pt x="5139148" y="1895021"/>
                  <a:pt x="5141282" y="1894452"/>
                </a:cubicBezTo>
                <a:lnTo>
                  <a:pt x="5144910" y="1895164"/>
                </a:lnTo>
                <a:lnTo>
                  <a:pt x="5145337" y="1892033"/>
                </a:lnTo>
                <a:cubicBezTo>
                  <a:pt x="5148965" y="1881933"/>
                  <a:pt x="5157075" y="1874108"/>
                  <a:pt x="5167532" y="1874108"/>
                </a:cubicBezTo>
                <a:close/>
                <a:moveTo>
                  <a:pt x="3602525" y="1874108"/>
                </a:moveTo>
                <a:cubicBezTo>
                  <a:pt x="3609782" y="1877807"/>
                  <a:pt x="3618532" y="1880083"/>
                  <a:pt x="3624721" y="1886058"/>
                </a:cubicBezTo>
                <a:cubicBezTo>
                  <a:pt x="3617251" y="1889046"/>
                  <a:pt x="3601885" y="1885774"/>
                  <a:pt x="3602525" y="1874108"/>
                </a:cubicBezTo>
                <a:close/>
                <a:moveTo>
                  <a:pt x="1531393" y="1873958"/>
                </a:moveTo>
                <a:lnTo>
                  <a:pt x="1529844" y="1875661"/>
                </a:lnTo>
                <a:lnTo>
                  <a:pt x="1531909" y="1875661"/>
                </a:lnTo>
                <a:cubicBezTo>
                  <a:pt x="1537898" y="1876591"/>
                  <a:pt x="1543268" y="1880928"/>
                  <a:pt x="1543681" y="1890222"/>
                </a:cubicBezTo>
                <a:cubicBezTo>
                  <a:pt x="1533975" y="1898276"/>
                  <a:pt x="1520345" y="1899980"/>
                  <a:pt x="1515079" y="1892545"/>
                </a:cubicBezTo>
                <a:cubicBezTo>
                  <a:pt x="1514459" y="1891151"/>
                  <a:pt x="1514149" y="1889912"/>
                  <a:pt x="1513943" y="1888827"/>
                </a:cubicBezTo>
                <a:cubicBezTo>
                  <a:pt x="1513117" y="1882477"/>
                  <a:pt x="1518693" y="1877520"/>
                  <a:pt x="1525301" y="1875971"/>
                </a:cubicBezTo>
                <a:lnTo>
                  <a:pt x="1527160" y="1875816"/>
                </a:lnTo>
                <a:lnTo>
                  <a:pt x="1528399" y="1874577"/>
                </a:lnTo>
                <a:cubicBezTo>
                  <a:pt x="1529122" y="1873958"/>
                  <a:pt x="1529948" y="1873802"/>
                  <a:pt x="1531393" y="1873958"/>
                </a:cubicBezTo>
                <a:close/>
                <a:moveTo>
                  <a:pt x="3819360" y="1873538"/>
                </a:moveTo>
                <a:cubicBezTo>
                  <a:pt x="3821707" y="1874819"/>
                  <a:pt x="3822988" y="1876100"/>
                  <a:pt x="3824055" y="1877380"/>
                </a:cubicBezTo>
                <a:cubicBezTo>
                  <a:pt x="3826402" y="1878802"/>
                  <a:pt x="3826402" y="1880083"/>
                  <a:pt x="3824268" y="1882359"/>
                </a:cubicBezTo>
                <a:cubicBezTo>
                  <a:pt x="3821921" y="1881079"/>
                  <a:pt x="3818293" y="1875957"/>
                  <a:pt x="3819360" y="1873538"/>
                </a:cubicBezTo>
                <a:close/>
                <a:moveTo>
                  <a:pt x="887488" y="1873183"/>
                </a:moveTo>
                <a:cubicBezTo>
                  <a:pt x="893683" y="1869466"/>
                  <a:pt x="899362" y="1877675"/>
                  <a:pt x="897400" y="1882787"/>
                </a:cubicBezTo>
                <a:cubicBezTo>
                  <a:pt x="892754" y="1885420"/>
                  <a:pt x="887488" y="1881547"/>
                  <a:pt x="886662" y="1877365"/>
                </a:cubicBezTo>
                <a:cubicBezTo>
                  <a:pt x="886455" y="1875971"/>
                  <a:pt x="886662" y="1874422"/>
                  <a:pt x="887488" y="1873183"/>
                </a:cubicBezTo>
                <a:close/>
                <a:moveTo>
                  <a:pt x="1337478" y="1872718"/>
                </a:moveTo>
                <a:lnTo>
                  <a:pt x="1337478" y="1874422"/>
                </a:lnTo>
                <a:lnTo>
                  <a:pt x="1337788" y="1873648"/>
                </a:lnTo>
                <a:lnTo>
                  <a:pt x="1337581" y="1873493"/>
                </a:lnTo>
                <a:cubicBezTo>
                  <a:pt x="1337994" y="1873338"/>
                  <a:pt x="1338201" y="1873028"/>
                  <a:pt x="1338098" y="1872873"/>
                </a:cubicBezTo>
                <a:close/>
                <a:moveTo>
                  <a:pt x="1438463" y="1872409"/>
                </a:moveTo>
                <a:cubicBezTo>
                  <a:pt x="1439702" y="1871944"/>
                  <a:pt x="1440837" y="1871634"/>
                  <a:pt x="1441147" y="1872718"/>
                </a:cubicBezTo>
                <a:cubicBezTo>
                  <a:pt x="1441457" y="1873802"/>
                  <a:pt x="1442180" y="1874113"/>
                  <a:pt x="1440631" y="1875352"/>
                </a:cubicBezTo>
                <a:cubicBezTo>
                  <a:pt x="1440218" y="1876126"/>
                  <a:pt x="1439082" y="1876436"/>
                  <a:pt x="1438566" y="1877210"/>
                </a:cubicBezTo>
                <a:cubicBezTo>
                  <a:pt x="1438566" y="1877210"/>
                  <a:pt x="1437946" y="1877210"/>
                  <a:pt x="1437224" y="1877056"/>
                </a:cubicBezTo>
                <a:cubicBezTo>
                  <a:pt x="1436501" y="1876746"/>
                  <a:pt x="1435778" y="1876436"/>
                  <a:pt x="1435571" y="1875816"/>
                </a:cubicBezTo>
                <a:cubicBezTo>
                  <a:pt x="1435262" y="1875506"/>
                  <a:pt x="1435365" y="1875197"/>
                  <a:pt x="1435468" y="1874887"/>
                </a:cubicBezTo>
                <a:cubicBezTo>
                  <a:pt x="1436088" y="1873802"/>
                  <a:pt x="1438153" y="1873028"/>
                  <a:pt x="1438463" y="1872409"/>
                </a:cubicBezTo>
                <a:close/>
                <a:moveTo>
                  <a:pt x="5676752" y="1872116"/>
                </a:moveTo>
                <a:cubicBezTo>
                  <a:pt x="5678033" y="1871831"/>
                  <a:pt x="5679100" y="1872116"/>
                  <a:pt x="5679740" y="1872827"/>
                </a:cubicBezTo>
                <a:cubicBezTo>
                  <a:pt x="5681233" y="1874819"/>
                  <a:pt x="5682728" y="1876811"/>
                  <a:pt x="5682088" y="1879087"/>
                </a:cubicBezTo>
                <a:cubicBezTo>
                  <a:pt x="5681661" y="1879798"/>
                  <a:pt x="5681233" y="1880510"/>
                  <a:pt x="5680380" y="1881221"/>
                </a:cubicBezTo>
                <a:cubicBezTo>
                  <a:pt x="5680380" y="1881221"/>
                  <a:pt x="5680380" y="1881221"/>
                  <a:pt x="5679100" y="1881079"/>
                </a:cubicBezTo>
                <a:cubicBezTo>
                  <a:pt x="5676965" y="1880652"/>
                  <a:pt x="5675685" y="1880510"/>
                  <a:pt x="5674618" y="1880226"/>
                </a:cubicBezTo>
                <a:cubicBezTo>
                  <a:pt x="5673550" y="1878945"/>
                  <a:pt x="5671417" y="1875103"/>
                  <a:pt x="5672697" y="1874108"/>
                </a:cubicBezTo>
                <a:cubicBezTo>
                  <a:pt x="5673977" y="1873112"/>
                  <a:pt x="5675258" y="1872258"/>
                  <a:pt x="5676752" y="1872116"/>
                </a:cubicBezTo>
                <a:close/>
                <a:moveTo>
                  <a:pt x="3478528" y="1871831"/>
                </a:moveTo>
                <a:cubicBezTo>
                  <a:pt x="3480023" y="1871690"/>
                  <a:pt x="3481516" y="1872116"/>
                  <a:pt x="3483437" y="1873397"/>
                </a:cubicBezTo>
                <a:cubicBezTo>
                  <a:pt x="3488132" y="1883497"/>
                  <a:pt x="3479382" y="1888761"/>
                  <a:pt x="3472980" y="1886201"/>
                </a:cubicBezTo>
                <a:cubicBezTo>
                  <a:pt x="3470845" y="1885204"/>
                  <a:pt x="3469138" y="1883497"/>
                  <a:pt x="3468071" y="1880937"/>
                </a:cubicBezTo>
                <a:cubicBezTo>
                  <a:pt x="3471272" y="1876953"/>
                  <a:pt x="3474260" y="1871973"/>
                  <a:pt x="3478528" y="1871831"/>
                </a:cubicBezTo>
                <a:close/>
                <a:moveTo>
                  <a:pt x="1258590" y="1871169"/>
                </a:moveTo>
                <a:cubicBezTo>
                  <a:pt x="1262204" y="1873648"/>
                  <a:pt x="1261998" y="1875352"/>
                  <a:pt x="1260656" y="1878449"/>
                </a:cubicBezTo>
                <a:cubicBezTo>
                  <a:pt x="1259416" y="1877520"/>
                  <a:pt x="1258797" y="1876591"/>
                  <a:pt x="1258590" y="1875506"/>
                </a:cubicBezTo>
                <a:cubicBezTo>
                  <a:pt x="1258384" y="1874267"/>
                  <a:pt x="1258487" y="1873028"/>
                  <a:pt x="1258590" y="1871169"/>
                </a:cubicBezTo>
                <a:close/>
                <a:moveTo>
                  <a:pt x="6026547" y="1870836"/>
                </a:moveTo>
                <a:cubicBezTo>
                  <a:pt x="6029535" y="1870693"/>
                  <a:pt x="6031669" y="1871405"/>
                  <a:pt x="6033376" y="1875246"/>
                </a:cubicBezTo>
                <a:cubicBezTo>
                  <a:pt x="6030388" y="1879372"/>
                  <a:pt x="6022492" y="1878945"/>
                  <a:pt x="6015236" y="1879514"/>
                </a:cubicBezTo>
                <a:cubicBezTo>
                  <a:pt x="6015449" y="1876100"/>
                  <a:pt x="6015663" y="1874392"/>
                  <a:pt x="6015022" y="1871831"/>
                </a:cubicBezTo>
                <a:cubicBezTo>
                  <a:pt x="6019931" y="1872116"/>
                  <a:pt x="6023772" y="1870978"/>
                  <a:pt x="6026547" y="1870836"/>
                </a:cubicBezTo>
                <a:close/>
                <a:moveTo>
                  <a:pt x="3876556" y="1870551"/>
                </a:moveTo>
                <a:cubicBezTo>
                  <a:pt x="3878477" y="1870836"/>
                  <a:pt x="3880398" y="1871546"/>
                  <a:pt x="3882532" y="1872827"/>
                </a:cubicBezTo>
                <a:cubicBezTo>
                  <a:pt x="3883599" y="1877522"/>
                  <a:pt x="3880398" y="1880510"/>
                  <a:pt x="3876343" y="1881648"/>
                </a:cubicBezTo>
                <a:cubicBezTo>
                  <a:pt x="3872288" y="1882786"/>
                  <a:pt x="3867166" y="1882075"/>
                  <a:pt x="3864391" y="1879087"/>
                </a:cubicBezTo>
                <a:cubicBezTo>
                  <a:pt x="3867806" y="1873397"/>
                  <a:pt x="3871434" y="1869839"/>
                  <a:pt x="3876556" y="1870551"/>
                </a:cubicBezTo>
                <a:close/>
                <a:moveTo>
                  <a:pt x="1481624" y="1870395"/>
                </a:moveTo>
                <a:cubicBezTo>
                  <a:pt x="1483999" y="1869621"/>
                  <a:pt x="1486374" y="1869001"/>
                  <a:pt x="1486787" y="1871325"/>
                </a:cubicBezTo>
                <a:cubicBezTo>
                  <a:pt x="1485135" y="1872254"/>
                  <a:pt x="1485341" y="1873493"/>
                  <a:pt x="1482243" y="1873648"/>
                </a:cubicBezTo>
                <a:cubicBezTo>
                  <a:pt x="1482037" y="1872563"/>
                  <a:pt x="1481830" y="1871479"/>
                  <a:pt x="1481624" y="1870395"/>
                </a:cubicBezTo>
                <a:close/>
                <a:moveTo>
                  <a:pt x="4868531" y="1870266"/>
                </a:moveTo>
                <a:cubicBezTo>
                  <a:pt x="4876215" y="1871262"/>
                  <a:pt x="4880270" y="1896870"/>
                  <a:pt x="4860421" y="1879941"/>
                </a:cubicBezTo>
                <a:cubicBezTo>
                  <a:pt x="4862982" y="1872258"/>
                  <a:pt x="4865970" y="1869839"/>
                  <a:pt x="4868531" y="1870266"/>
                </a:cubicBezTo>
                <a:close/>
                <a:moveTo>
                  <a:pt x="4635050" y="1869697"/>
                </a:moveTo>
                <a:lnTo>
                  <a:pt x="4633770" y="1869982"/>
                </a:lnTo>
                <a:lnTo>
                  <a:pt x="4633556" y="1869982"/>
                </a:lnTo>
                <a:lnTo>
                  <a:pt x="4636117" y="1872685"/>
                </a:lnTo>
                <a:lnTo>
                  <a:pt x="4638678" y="1874108"/>
                </a:lnTo>
                <a:lnTo>
                  <a:pt x="4639745" y="1872116"/>
                </a:lnTo>
                <a:cubicBezTo>
                  <a:pt x="4639958" y="1871831"/>
                  <a:pt x="4640172" y="1871690"/>
                  <a:pt x="4640386" y="1871546"/>
                </a:cubicBezTo>
                <a:cubicBezTo>
                  <a:pt x="4639958" y="1871831"/>
                  <a:pt x="4639318" y="1871973"/>
                  <a:pt x="4638678" y="1871831"/>
                </a:cubicBezTo>
                <a:cubicBezTo>
                  <a:pt x="4637825" y="1872401"/>
                  <a:pt x="4637184" y="1871405"/>
                  <a:pt x="4635477" y="1870978"/>
                </a:cubicBezTo>
                <a:close/>
                <a:moveTo>
                  <a:pt x="1462005" y="1869466"/>
                </a:moveTo>
                <a:cubicBezTo>
                  <a:pt x="1462934" y="1869621"/>
                  <a:pt x="1464690" y="1869775"/>
                  <a:pt x="1465412" y="1870550"/>
                </a:cubicBezTo>
                <a:cubicBezTo>
                  <a:pt x="1466342" y="1870705"/>
                  <a:pt x="1464999" y="1873183"/>
                  <a:pt x="1464999" y="1873183"/>
                </a:cubicBezTo>
                <a:cubicBezTo>
                  <a:pt x="1463967" y="1873958"/>
                  <a:pt x="1461592" y="1872099"/>
                  <a:pt x="1460766" y="1872099"/>
                </a:cubicBezTo>
                <a:cubicBezTo>
                  <a:pt x="1460869" y="1871169"/>
                  <a:pt x="1461902" y="1870395"/>
                  <a:pt x="1462005" y="1869466"/>
                </a:cubicBezTo>
                <a:close/>
                <a:moveTo>
                  <a:pt x="3817226" y="1869413"/>
                </a:moveTo>
                <a:cubicBezTo>
                  <a:pt x="3817652" y="1869555"/>
                  <a:pt x="3817866" y="1869839"/>
                  <a:pt x="3817866" y="1869839"/>
                </a:cubicBezTo>
                <a:cubicBezTo>
                  <a:pt x="3819146" y="1871120"/>
                  <a:pt x="3820427" y="1872401"/>
                  <a:pt x="3819146" y="1873538"/>
                </a:cubicBezTo>
                <a:cubicBezTo>
                  <a:pt x="3819146" y="1873538"/>
                  <a:pt x="3818079" y="1873397"/>
                  <a:pt x="3815731" y="1870978"/>
                </a:cubicBezTo>
                <a:cubicBezTo>
                  <a:pt x="3816799" y="1870978"/>
                  <a:pt x="3816799" y="1869839"/>
                  <a:pt x="3816799" y="1869839"/>
                </a:cubicBezTo>
                <a:cubicBezTo>
                  <a:pt x="3816799" y="1869839"/>
                  <a:pt x="3816799" y="1869839"/>
                  <a:pt x="3815518" y="1869839"/>
                </a:cubicBezTo>
                <a:cubicBezTo>
                  <a:pt x="3816158" y="1869271"/>
                  <a:pt x="3816799" y="1869271"/>
                  <a:pt x="3817226" y="1869413"/>
                </a:cubicBezTo>
                <a:close/>
                <a:moveTo>
                  <a:pt x="3558774" y="1869128"/>
                </a:moveTo>
                <a:cubicBezTo>
                  <a:pt x="3561335" y="1873397"/>
                  <a:pt x="3556427" y="1876953"/>
                  <a:pt x="3553652" y="1875530"/>
                </a:cubicBezTo>
                <a:cubicBezTo>
                  <a:pt x="3552585" y="1875103"/>
                  <a:pt x="3552158" y="1874108"/>
                  <a:pt x="3551944" y="1872401"/>
                </a:cubicBezTo>
                <a:cubicBezTo>
                  <a:pt x="3554079" y="1870693"/>
                  <a:pt x="3555787" y="1870124"/>
                  <a:pt x="3558774" y="1869128"/>
                </a:cubicBezTo>
                <a:close/>
                <a:moveTo>
                  <a:pt x="5364946" y="1868702"/>
                </a:moveTo>
                <a:cubicBezTo>
                  <a:pt x="5365586" y="1868986"/>
                  <a:pt x="5366439" y="1869555"/>
                  <a:pt x="5367080" y="1870409"/>
                </a:cubicBezTo>
                <a:cubicBezTo>
                  <a:pt x="5367080" y="1870409"/>
                  <a:pt x="5367080" y="1870409"/>
                  <a:pt x="5366867" y="1871546"/>
                </a:cubicBezTo>
                <a:cubicBezTo>
                  <a:pt x="5366653" y="1873965"/>
                  <a:pt x="5366653" y="1875103"/>
                  <a:pt x="5366439" y="1876384"/>
                </a:cubicBezTo>
                <a:cubicBezTo>
                  <a:pt x="5365159" y="1877522"/>
                  <a:pt x="5361531" y="1879798"/>
                  <a:pt x="5360464" y="1878518"/>
                </a:cubicBezTo>
                <a:cubicBezTo>
                  <a:pt x="5358543" y="1876100"/>
                  <a:pt x="5357689" y="1872685"/>
                  <a:pt x="5358970" y="1871405"/>
                </a:cubicBezTo>
                <a:cubicBezTo>
                  <a:pt x="5360891" y="1869697"/>
                  <a:pt x="5362811" y="1867990"/>
                  <a:pt x="5364946" y="1868702"/>
                </a:cubicBezTo>
                <a:close/>
                <a:moveTo>
                  <a:pt x="5525651" y="1868132"/>
                </a:moveTo>
                <a:cubicBezTo>
                  <a:pt x="5526077" y="1868132"/>
                  <a:pt x="5526718" y="1868275"/>
                  <a:pt x="5527785" y="1868417"/>
                </a:cubicBezTo>
                <a:cubicBezTo>
                  <a:pt x="5526504" y="1871831"/>
                  <a:pt x="5526504" y="1871831"/>
                  <a:pt x="5524157" y="1873965"/>
                </a:cubicBezTo>
                <a:cubicBezTo>
                  <a:pt x="5524157" y="1872685"/>
                  <a:pt x="5523090" y="1870266"/>
                  <a:pt x="5524370" y="1869128"/>
                </a:cubicBezTo>
                <a:cubicBezTo>
                  <a:pt x="5525011" y="1868559"/>
                  <a:pt x="5525224" y="1868275"/>
                  <a:pt x="5525651" y="1868132"/>
                </a:cubicBezTo>
                <a:close/>
                <a:moveTo>
                  <a:pt x="955224" y="1867297"/>
                </a:moveTo>
                <a:cubicBezTo>
                  <a:pt x="956669" y="1866523"/>
                  <a:pt x="959147" y="1866678"/>
                  <a:pt x="959767" y="1868846"/>
                </a:cubicBezTo>
                <a:cubicBezTo>
                  <a:pt x="958837" y="1869621"/>
                  <a:pt x="957805" y="1871014"/>
                  <a:pt x="956050" y="1871634"/>
                </a:cubicBezTo>
                <a:cubicBezTo>
                  <a:pt x="954604" y="1870705"/>
                  <a:pt x="953985" y="1869775"/>
                  <a:pt x="953985" y="1869001"/>
                </a:cubicBezTo>
                <a:cubicBezTo>
                  <a:pt x="953985" y="1868227"/>
                  <a:pt x="954501" y="1867607"/>
                  <a:pt x="955224" y="1867297"/>
                </a:cubicBezTo>
                <a:close/>
                <a:moveTo>
                  <a:pt x="991905" y="1867084"/>
                </a:moveTo>
                <a:cubicBezTo>
                  <a:pt x="994513" y="1866329"/>
                  <a:pt x="997507" y="1866833"/>
                  <a:pt x="1000863" y="1869621"/>
                </a:cubicBezTo>
                <a:cubicBezTo>
                  <a:pt x="1002515" y="1870395"/>
                  <a:pt x="1001689" y="1870395"/>
                  <a:pt x="1002515" y="1871325"/>
                </a:cubicBezTo>
                <a:cubicBezTo>
                  <a:pt x="1003341" y="1872099"/>
                  <a:pt x="1004993" y="1872873"/>
                  <a:pt x="1005819" y="1872873"/>
                </a:cubicBezTo>
                <a:cubicBezTo>
                  <a:pt x="1003134" y="1876281"/>
                  <a:pt x="1005613" y="1877830"/>
                  <a:pt x="1001069" y="1883096"/>
                </a:cubicBezTo>
                <a:cubicBezTo>
                  <a:pt x="995597" y="1890067"/>
                  <a:pt x="989608" y="1888673"/>
                  <a:pt x="986303" y="1886349"/>
                </a:cubicBezTo>
                <a:cubicBezTo>
                  <a:pt x="986923" y="1885575"/>
                  <a:pt x="982380" y="1882322"/>
                  <a:pt x="982793" y="1877520"/>
                </a:cubicBezTo>
                <a:cubicBezTo>
                  <a:pt x="982896" y="1875816"/>
                  <a:pt x="983619" y="1873958"/>
                  <a:pt x="985271" y="1872099"/>
                </a:cubicBezTo>
                <a:cubicBezTo>
                  <a:pt x="987078" y="1869853"/>
                  <a:pt x="989298" y="1867839"/>
                  <a:pt x="991905" y="1867084"/>
                </a:cubicBezTo>
                <a:close/>
                <a:moveTo>
                  <a:pt x="3503498" y="1866710"/>
                </a:moveTo>
                <a:cubicBezTo>
                  <a:pt x="3506486" y="1866425"/>
                  <a:pt x="3509261" y="1867421"/>
                  <a:pt x="3510755" y="1869982"/>
                </a:cubicBezTo>
                <a:cubicBezTo>
                  <a:pt x="3511822" y="1871546"/>
                  <a:pt x="3512035" y="1873823"/>
                  <a:pt x="3511608" y="1876668"/>
                </a:cubicBezTo>
                <a:cubicBezTo>
                  <a:pt x="3508834" y="1880794"/>
                  <a:pt x="3504565" y="1882786"/>
                  <a:pt x="3501151" y="1882359"/>
                </a:cubicBezTo>
                <a:cubicBezTo>
                  <a:pt x="3497523" y="1881790"/>
                  <a:pt x="3494961" y="1878660"/>
                  <a:pt x="3494961" y="1872401"/>
                </a:cubicBezTo>
                <a:cubicBezTo>
                  <a:pt x="3497309" y="1868986"/>
                  <a:pt x="3500511" y="1867136"/>
                  <a:pt x="3503498" y="1866710"/>
                </a:cubicBezTo>
                <a:close/>
                <a:moveTo>
                  <a:pt x="926415" y="1866678"/>
                </a:moveTo>
                <a:cubicBezTo>
                  <a:pt x="933436" y="1872563"/>
                  <a:pt x="930442" y="1877210"/>
                  <a:pt x="926105" y="1877830"/>
                </a:cubicBezTo>
                <a:cubicBezTo>
                  <a:pt x="924660" y="1877985"/>
                  <a:pt x="923111" y="1877675"/>
                  <a:pt x="921768" y="1876901"/>
                </a:cubicBezTo>
                <a:cubicBezTo>
                  <a:pt x="919910" y="1875816"/>
                  <a:pt x="918464" y="1873648"/>
                  <a:pt x="918051" y="1870240"/>
                </a:cubicBezTo>
                <a:cubicBezTo>
                  <a:pt x="919497" y="1868846"/>
                  <a:pt x="920942" y="1868381"/>
                  <a:pt x="922285" y="1867917"/>
                </a:cubicBezTo>
                <a:cubicBezTo>
                  <a:pt x="923731" y="1867452"/>
                  <a:pt x="924969" y="1867297"/>
                  <a:pt x="926415" y="1866678"/>
                </a:cubicBezTo>
                <a:close/>
                <a:moveTo>
                  <a:pt x="1453744" y="1866213"/>
                </a:moveTo>
                <a:lnTo>
                  <a:pt x="1454054" y="1868536"/>
                </a:lnTo>
                <a:lnTo>
                  <a:pt x="1456120" y="1869311"/>
                </a:lnTo>
                <a:cubicBezTo>
                  <a:pt x="1456120" y="1869311"/>
                  <a:pt x="1456016" y="1870085"/>
                  <a:pt x="1456016" y="1870085"/>
                </a:cubicBezTo>
                <a:lnTo>
                  <a:pt x="1454467" y="1871014"/>
                </a:lnTo>
                <a:lnTo>
                  <a:pt x="1454570" y="1871169"/>
                </a:lnTo>
                <a:cubicBezTo>
                  <a:pt x="1454158" y="1872563"/>
                  <a:pt x="1453022" y="1873648"/>
                  <a:pt x="1451679" y="1874267"/>
                </a:cubicBezTo>
                <a:cubicBezTo>
                  <a:pt x="1449924" y="1873338"/>
                  <a:pt x="1448995" y="1871944"/>
                  <a:pt x="1448788" y="1870705"/>
                </a:cubicBezTo>
                <a:cubicBezTo>
                  <a:pt x="1448582" y="1869466"/>
                  <a:pt x="1449201" y="1868381"/>
                  <a:pt x="1450440" y="1867452"/>
                </a:cubicBezTo>
                <a:cubicBezTo>
                  <a:pt x="1451266" y="1866832"/>
                  <a:pt x="1452299" y="1866368"/>
                  <a:pt x="1453744" y="1866213"/>
                </a:cubicBezTo>
                <a:close/>
                <a:moveTo>
                  <a:pt x="5031797" y="1865856"/>
                </a:moveTo>
                <a:cubicBezTo>
                  <a:pt x="5037773" y="1867563"/>
                  <a:pt x="5043322" y="1874250"/>
                  <a:pt x="5050578" y="1876953"/>
                </a:cubicBezTo>
                <a:cubicBezTo>
                  <a:pt x="5055274" y="1876953"/>
                  <a:pt x="5056981" y="1871405"/>
                  <a:pt x="5064877" y="1876953"/>
                </a:cubicBezTo>
                <a:cubicBezTo>
                  <a:pt x="5058048" y="1889046"/>
                  <a:pt x="5049938" y="1896586"/>
                  <a:pt x="5040547" y="1900143"/>
                </a:cubicBezTo>
                <a:cubicBezTo>
                  <a:pt x="5037347" y="1901423"/>
                  <a:pt x="5033932" y="1902134"/>
                  <a:pt x="5030517" y="1902419"/>
                </a:cubicBezTo>
                <a:cubicBezTo>
                  <a:pt x="5027529" y="1893172"/>
                  <a:pt x="5036492" y="1888192"/>
                  <a:pt x="5041828" y="1883070"/>
                </a:cubicBezTo>
                <a:cubicBezTo>
                  <a:pt x="5034572" y="1878802"/>
                  <a:pt x="5022407" y="1874534"/>
                  <a:pt x="5025608" y="1866141"/>
                </a:cubicBezTo>
                <a:cubicBezTo>
                  <a:pt x="5027742" y="1865287"/>
                  <a:pt x="5029876" y="1865287"/>
                  <a:pt x="5031797" y="1865856"/>
                </a:cubicBezTo>
                <a:close/>
                <a:moveTo>
                  <a:pt x="3618958" y="1865856"/>
                </a:moveTo>
                <a:cubicBezTo>
                  <a:pt x="3619813" y="1865856"/>
                  <a:pt x="3620666" y="1865998"/>
                  <a:pt x="3622160" y="1866425"/>
                </a:cubicBezTo>
                <a:cubicBezTo>
                  <a:pt x="3621093" y="1866994"/>
                  <a:pt x="3619599" y="1869271"/>
                  <a:pt x="3618105" y="1868986"/>
                </a:cubicBezTo>
                <a:cubicBezTo>
                  <a:pt x="3616397" y="1868559"/>
                  <a:pt x="3616397" y="1868559"/>
                  <a:pt x="3615330" y="1866567"/>
                </a:cubicBezTo>
                <a:cubicBezTo>
                  <a:pt x="3617251" y="1866141"/>
                  <a:pt x="3618105" y="1865856"/>
                  <a:pt x="3618958" y="1865856"/>
                </a:cubicBezTo>
                <a:close/>
                <a:moveTo>
                  <a:pt x="5624678" y="1865714"/>
                </a:moveTo>
                <a:cubicBezTo>
                  <a:pt x="5624678" y="1865714"/>
                  <a:pt x="5624678" y="1865714"/>
                  <a:pt x="5622330" y="1874392"/>
                </a:cubicBezTo>
                <a:cubicBezTo>
                  <a:pt x="5621690" y="1874108"/>
                  <a:pt x="5621476" y="1873538"/>
                  <a:pt x="5621476" y="1872827"/>
                </a:cubicBezTo>
                <a:cubicBezTo>
                  <a:pt x="5621690" y="1872116"/>
                  <a:pt x="5621903" y="1871262"/>
                  <a:pt x="5622330" y="1870551"/>
                </a:cubicBezTo>
                <a:cubicBezTo>
                  <a:pt x="5623183" y="1868844"/>
                  <a:pt x="5624037" y="1867279"/>
                  <a:pt x="5624678" y="1865714"/>
                </a:cubicBezTo>
                <a:close/>
                <a:moveTo>
                  <a:pt x="3923508" y="1865572"/>
                </a:moveTo>
                <a:cubicBezTo>
                  <a:pt x="3925429" y="1865002"/>
                  <a:pt x="3927137" y="1865429"/>
                  <a:pt x="3927564" y="1867136"/>
                </a:cubicBezTo>
                <a:cubicBezTo>
                  <a:pt x="3927777" y="1868417"/>
                  <a:pt x="3927350" y="1870124"/>
                  <a:pt x="3925643" y="1872685"/>
                </a:cubicBezTo>
                <a:cubicBezTo>
                  <a:pt x="3921588" y="1871405"/>
                  <a:pt x="3920094" y="1869982"/>
                  <a:pt x="3920094" y="1868559"/>
                </a:cubicBezTo>
                <a:cubicBezTo>
                  <a:pt x="3919880" y="1867136"/>
                  <a:pt x="3921588" y="1865998"/>
                  <a:pt x="3923508" y="1865572"/>
                </a:cubicBezTo>
                <a:close/>
                <a:moveTo>
                  <a:pt x="3678716" y="1865429"/>
                </a:moveTo>
                <a:cubicBezTo>
                  <a:pt x="3685119" y="1870124"/>
                  <a:pt x="3690241" y="1867421"/>
                  <a:pt x="3691095" y="1873681"/>
                </a:cubicBezTo>
                <a:cubicBezTo>
                  <a:pt x="3687039" y="1876100"/>
                  <a:pt x="3679143" y="1870409"/>
                  <a:pt x="3678716" y="1865429"/>
                </a:cubicBezTo>
                <a:close/>
                <a:moveTo>
                  <a:pt x="5230918" y="1864576"/>
                </a:moveTo>
                <a:cubicBezTo>
                  <a:pt x="5234120" y="1864576"/>
                  <a:pt x="5239455" y="1864718"/>
                  <a:pt x="5241589" y="1866567"/>
                </a:cubicBezTo>
                <a:cubicBezTo>
                  <a:pt x="5242443" y="1867136"/>
                  <a:pt x="5242870" y="1867990"/>
                  <a:pt x="5242656" y="1869128"/>
                </a:cubicBezTo>
                <a:cubicBezTo>
                  <a:pt x="5242229" y="1870693"/>
                  <a:pt x="5240735" y="1870409"/>
                  <a:pt x="5239668" y="1870978"/>
                </a:cubicBezTo>
                <a:cubicBezTo>
                  <a:pt x="5237107" y="1871262"/>
                  <a:pt x="5230491" y="1866141"/>
                  <a:pt x="5230918" y="1864576"/>
                </a:cubicBezTo>
                <a:close/>
                <a:moveTo>
                  <a:pt x="1256112" y="1864509"/>
                </a:moveTo>
                <a:cubicBezTo>
                  <a:pt x="1257248" y="1865128"/>
                  <a:pt x="1258590" y="1863889"/>
                  <a:pt x="1259726" y="1864509"/>
                </a:cubicBezTo>
                <a:cubicBezTo>
                  <a:pt x="1259726" y="1864509"/>
                  <a:pt x="1261481" y="1866678"/>
                  <a:pt x="1261481" y="1866678"/>
                </a:cubicBezTo>
                <a:cubicBezTo>
                  <a:pt x="1260965" y="1867762"/>
                  <a:pt x="1260965" y="1867762"/>
                  <a:pt x="1260656" y="1866987"/>
                </a:cubicBezTo>
                <a:cubicBezTo>
                  <a:pt x="1259313" y="1868227"/>
                  <a:pt x="1258487" y="1868381"/>
                  <a:pt x="1257661" y="1868691"/>
                </a:cubicBezTo>
                <a:cubicBezTo>
                  <a:pt x="1256525" y="1868071"/>
                  <a:pt x="1255802" y="1866368"/>
                  <a:pt x="1256112" y="1864509"/>
                </a:cubicBezTo>
                <a:close/>
                <a:moveTo>
                  <a:pt x="3896831" y="1864434"/>
                </a:moveTo>
                <a:cubicBezTo>
                  <a:pt x="3895551" y="1866710"/>
                  <a:pt x="3893416" y="1871405"/>
                  <a:pt x="3891496" y="1872970"/>
                </a:cubicBezTo>
                <a:cubicBezTo>
                  <a:pt x="3890642" y="1873538"/>
                  <a:pt x="3890002" y="1873681"/>
                  <a:pt x="3889362" y="1873397"/>
                </a:cubicBezTo>
                <a:cubicBezTo>
                  <a:pt x="3890855" y="1870266"/>
                  <a:pt x="3891922" y="1865002"/>
                  <a:pt x="3896831" y="1864434"/>
                </a:cubicBezTo>
                <a:close/>
                <a:moveTo>
                  <a:pt x="1527676" y="1864354"/>
                </a:moveTo>
                <a:cubicBezTo>
                  <a:pt x="1528399" y="1865283"/>
                  <a:pt x="1528192" y="1866987"/>
                  <a:pt x="1528915" y="1867917"/>
                </a:cubicBezTo>
                <a:cubicBezTo>
                  <a:pt x="1528089" y="1867917"/>
                  <a:pt x="1527057" y="1868691"/>
                  <a:pt x="1526230" y="1868691"/>
                </a:cubicBezTo>
                <a:cubicBezTo>
                  <a:pt x="1525817" y="1868227"/>
                  <a:pt x="1525611" y="1867762"/>
                  <a:pt x="1525611" y="1867297"/>
                </a:cubicBezTo>
                <a:cubicBezTo>
                  <a:pt x="1525611" y="1866832"/>
                  <a:pt x="1525817" y="1866368"/>
                  <a:pt x="1526024" y="1865903"/>
                </a:cubicBezTo>
                <a:cubicBezTo>
                  <a:pt x="1526437" y="1865128"/>
                  <a:pt x="1527160" y="1864354"/>
                  <a:pt x="1527676" y="1864354"/>
                </a:cubicBezTo>
                <a:close/>
                <a:moveTo>
                  <a:pt x="3624081" y="1864291"/>
                </a:moveTo>
                <a:cubicBezTo>
                  <a:pt x="3624508" y="1864149"/>
                  <a:pt x="3624934" y="1864149"/>
                  <a:pt x="3625361" y="1864576"/>
                </a:cubicBezTo>
                <a:cubicBezTo>
                  <a:pt x="3625788" y="1865572"/>
                  <a:pt x="3624721" y="1866283"/>
                  <a:pt x="3623013" y="1865998"/>
                </a:cubicBezTo>
                <a:cubicBezTo>
                  <a:pt x="3623013" y="1865998"/>
                  <a:pt x="3622587" y="1865002"/>
                  <a:pt x="3622587" y="1865002"/>
                </a:cubicBezTo>
                <a:cubicBezTo>
                  <a:pt x="3623013" y="1864718"/>
                  <a:pt x="3623653" y="1864434"/>
                  <a:pt x="3624081" y="1864291"/>
                </a:cubicBezTo>
                <a:close/>
                <a:moveTo>
                  <a:pt x="853103" y="1864199"/>
                </a:moveTo>
                <a:cubicBezTo>
                  <a:pt x="858059" y="1863270"/>
                  <a:pt x="864874" y="1865283"/>
                  <a:pt x="867559" y="1868227"/>
                </a:cubicBezTo>
                <a:cubicBezTo>
                  <a:pt x="867972" y="1871944"/>
                  <a:pt x="867043" y="1874577"/>
                  <a:pt x="865391" y="1875971"/>
                </a:cubicBezTo>
                <a:cubicBezTo>
                  <a:pt x="860331" y="1880308"/>
                  <a:pt x="848766" y="1874887"/>
                  <a:pt x="849179" y="1866213"/>
                </a:cubicBezTo>
                <a:cubicBezTo>
                  <a:pt x="850109" y="1865128"/>
                  <a:pt x="851554" y="1864509"/>
                  <a:pt x="853103" y="1864199"/>
                </a:cubicBezTo>
                <a:close/>
                <a:moveTo>
                  <a:pt x="1019191" y="1864025"/>
                </a:moveTo>
                <a:cubicBezTo>
                  <a:pt x="1022108" y="1865167"/>
                  <a:pt x="1025386" y="1868072"/>
                  <a:pt x="1028019" y="1869466"/>
                </a:cubicBezTo>
                <a:lnTo>
                  <a:pt x="1027193" y="1872099"/>
                </a:lnTo>
                <a:lnTo>
                  <a:pt x="1027399" y="1872409"/>
                </a:lnTo>
                <a:cubicBezTo>
                  <a:pt x="1028742" y="1876126"/>
                  <a:pt x="1025748" y="1879534"/>
                  <a:pt x="1022237" y="1878760"/>
                </a:cubicBezTo>
                <a:cubicBezTo>
                  <a:pt x="1020688" y="1878449"/>
                  <a:pt x="1019036" y="1877365"/>
                  <a:pt x="1017694" y="1875042"/>
                </a:cubicBezTo>
                <a:lnTo>
                  <a:pt x="1018106" y="1874422"/>
                </a:lnTo>
                <a:lnTo>
                  <a:pt x="1017074" y="1874113"/>
                </a:lnTo>
                <a:cubicBezTo>
                  <a:pt x="1015319" y="1872718"/>
                  <a:pt x="1013976" y="1870859"/>
                  <a:pt x="1012531" y="1869156"/>
                </a:cubicBezTo>
                <a:cubicBezTo>
                  <a:pt x="1013718" y="1863502"/>
                  <a:pt x="1016274" y="1862883"/>
                  <a:pt x="1019191" y="1864025"/>
                </a:cubicBezTo>
                <a:close/>
                <a:moveTo>
                  <a:pt x="5472296" y="1863722"/>
                </a:moveTo>
                <a:cubicBezTo>
                  <a:pt x="5473149" y="1863864"/>
                  <a:pt x="5474217" y="1864434"/>
                  <a:pt x="5474857" y="1864718"/>
                </a:cubicBezTo>
                <a:cubicBezTo>
                  <a:pt x="5471869" y="1865998"/>
                  <a:pt x="5471015" y="1867563"/>
                  <a:pt x="5470802" y="1866425"/>
                </a:cubicBezTo>
                <a:cubicBezTo>
                  <a:pt x="5469735" y="1866852"/>
                  <a:pt x="5469308" y="1865714"/>
                  <a:pt x="5470375" y="1865287"/>
                </a:cubicBezTo>
                <a:cubicBezTo>
                  <a:pt x="5470589" y="1863864"/>
                  <a:pt x="5471442" y="1863580"/>
                  <a:pt x="5472296" y="1863722"/>
                </a:cubicBezTo>
                <a:close/>
                <a:moveTo>
                  <a:pt x="3472552" y="1863580"/>
                </a:moveTo>
                <a:cubicBezTo>
                  <a:pt x="3472339" y="1866283"/>
                  <a:pt x="3471699" y="1867990"/>
                  <a:pt x="3470845" y="1869555"/>
                </a:cubicBezTo>
                <a:cubicBezTo>
                  <a:pt x="3470632" y="1872258"/>
                  <a:pt x="3469565" y="1872827"/>
                  <a:pt x="3466577" y="1871831"/>
                </a:cubicBezTo>
                <a:cubicBezTo>
                  <a:pt x="3466790" y="1869128"/>
                  <a:pt x="3469991" y="1863722"/>
                  <a:pt x="3472552" y="1863580"/>
                </a:cubicBezTo>
                <a:close/>
                <a:moveTo>
                  <a:pt x="5866269" y="1863437"/>
                </a:moveTo>
                <a:cubicBezTo>
                  <a:pt x="5867336" y="1863580"/>
                  <a:pt x="5868403" y="1863864"/>
                  <a:pt x="5869257" y="1864718"/>
                </a:cubicBezTo>
                <a:cubicBezTo>
                  <a:pt x="5863707" y="1871546"/>
                  <a:pt x="5852183" y="1892460"/>
                  <a:pt x="5842152" y="1884209"/>
                </a:cubicBezTo>
                <a:cubicBezTo>
                  <a:pt x="5847061" y="1879372"/>
                  <a:pt x="5858799" y="1863010"/>
                  <a:pt x="5866269" y="1863437"/>
                </a:cubicBezTo>
                <a:close/>
                <a:moveTo>
                  <a:pt x="1337272" y="1863425"/>
                </a:moveTo>
                <a:cubicBezTo>
                  <a:pt x="1337272" y="1864664"/>
                  <a:pt x="1337375" y="1866832"/>
                  <a:pt x="1337478" y="1869156"/>
                </a:cubicBezTo>
                <a:lnTo>
                  <a:pt x="1337478" y="1871789"/>
                </a:lnTo>
                <a:lnTo>
                  <a:pt x="1337994" y="1869311"/>
                </a:lnTo>
                <a:cubicBezTo>
                  <a:pt x="1338304" y="1868691"/>
                  <a:pt x="1338924" y="1868381"/>
                  <a:pt x="1340060" y="1868846"/>
                </a:cubicBezTo>
                <a:cubicBezTo>
                  <a:pt x="1342021" y="1869001"/>
                  <a:pt x="1342021" y="1870859"/>
                  <a:pt x="1344293" y="1871789"/>
                </a:cubicBezTo>
                <a:cubicBezTo>
                  <a:pt x="1346461" y="1872409"/>
                  <a:pt x="1348010" y="1870550"/>
                  <a:pt x="1349972" y="1869001"/>
                </a:cubicBezTo>
                <a:lnTo>
                  <a:pt x="1350488" y="1868691"/>
                </a:lnTo>
                <a:cubicBezTo>
                  <a:pt x="1351004" y="1868071"/>
                  <a:pt x="1351934" y="1867607"/>
                  <a:pt x="1352760" y="1867452"/>
                </a:cubicBezTo>
                <a:lnTo>
                  <a:pt x="1352863" y="1867452"/>
                </a:lnTo>
                <a:lnTo>
                  <a:pt x="1353586" y="1866987"/>
                </a:lnTo>
                <a:cubicBezTo>
                  <a:pt x="1355032" y="1866523"/>
                  <a:pt x="1356787" y="1866523"/>
                  <a:pt x="1358956" y="1867142"/>
                </a:cubicBezTo>
                <a:cubicBezTo>
                  <a:pt x="1358129" y="1869311"/>
                  <a:pt x="1363189" y="1871944"/>
                  <a:pt x="1362053" y="1875197"/>
                </a:cubicBezTo>
                <a:lnTo>
                  <a:pt x="1361227" y="1877520"/>
                </a:lnTo>
                <a:lnTo>
                  <a:pt x="1363086" y="1876901"/>
                </a:lnTo>
                <a:cubicBezTo>
                  <a:pt x="1364944" y="1883561"/>
                  <a:pt x="1364634" y="1891770"/>
                  <a:pt x="1364531" y="1893629"/>
                </a:cubicBezTo>
                <a:cubicBezTo>
                  <a:pt x="1364428" y="1894559"/>
                  <a:pt x="1364222" y="1895178"/>
                  <a:pt x="1363808" y="1895333"/>
                </a:cubicBezTo>
                <a:cubicBezTo>
                  <a:pt x="1363292" y="1895643"/>
                  <a:pt x="1362569" y="1895643"/>
                  <a:pt x="1361640" y="1895488"/>
                </a:cubicBezTo>
                <a:cubicBezTo>
                  <a:pt x="1357820" y="1893010"/>
                  <a:pt x="1358956" y="1888982"/>
                  <a:pt x="1358129" y="1884800"/>
                </a:cubicBezTo>
                <a:cubicBezTo>
                  <a:pt x="1358956" y="1884491"/>
                  <a:pt x="1359368" y="1883406"/>
                  <a:pt x="1359059" y="1882632"/>
                </a:cubicBezTo>
                <a:lnTo>
                  <a:pt x="1359575" y="1881547"/>
                </a:lnTo>
                <a:lnTo>
                  <a:pt x="1357510" y="1883716"/>
                </a:lnTo>
                <a:cubicBezTo>
                  <a:pt x="1355548" y="1884955"/>
                  <a:pt x="1353070" y="1884646"/>
                  <a:pt x="1349765" y="1884491"/>
                </a:cubicBezTo>
                <a:cubicBezTo>
                  <a:pt x="1350592" y="1884181"/>
                  <a:pt x="1349353" y="1883716"/>
                  <a:pt x="1349353" y="1883716"/>
                </a:cubicBezTo>
                <a:cubicBezTo>
                  <a:pt x="1346977" y="1882787"/>
                  <a:pt x="1348527" y="1887898"/>
                  <a:pt x="1345326" y="1887279"/>
                </a:cubicBezTo>
                <a:cubicBezTo>
                  <a:pt x="1340369" y="1885730"/>
                  <a:pt x="1338924" y="1879534"/>
                  <a:pt x="1338407" y="1876281"/>
                </a:cubicBezTo>
                <a:lnTo>
                  <a:pt x="1338098" y="1874422"/>
                </a:lnTo>
                <a:lnTo>
                  <a:pt x="1337478" y="1874732"/>
                </a:lnTo>
                <a:lnTo>
                  <a:pt x="1337478" y="1876591"/>
                </a:lnTo>
                <a:cubicBezTo>
                  <a:pt x="1337065" y="1881547"/>
                  <a:pt x="1335826" y="1885885"/>
                  <a:pt x="1332109" y="1886194"/>
                </a:cubicBezTo>
                <a:cubicBezTo>
                  <a:pt x="1331902" y="1883251"/>
                  <a:pt x="1330663" y="1877985"/>
                  <a:pt x="1330767" y="1873183"/>
                </a:cubicBezTo>
                <a:cubicBezTo>
                  <a:pt x="1330870" y="1868536"/>
                  <a:pt x="1332315" y="1864199"/>
                  <a:pt x="1337272" y="1863425"/>
                </a:cubicBezTo>
                <a:close/>
                <a:moveTo>
                  <a:pt x="938393" y="1862960"/>
                </a:moveTo>
                <a:cubicBezTo>
                  <a:pt x="940665" y="1865593"/>
                  <a:pt x="945001" y="1865283"/>
                  <a:pt x="944072" y="1870550"/>
                </a:cubicBezTo>
                <a:cubicBezTo>
                  <a:pt x="940252" y="1873648"/>
                  <a:pt x="933024" y="1870550"/>
                  <a:pt x="933333" y="1864819"/>
                </a:cubicBezTo>
                <a:cubicBezTo>
                  <a:pt x="935192" y="1864354"/>
                  <a:pt x="936534" y="1863425"/>
                  <a:pt x="938393" y="1862960"/>
                </a:cubicBezTo>
                <a:close/>
                <a:moveTo>
                  <a:pt x="1147590" y="1862340"/>
                </a:moveTo>
                <a:cubicBezTo>
                  <a:pt x="1150894" y="1864664"/>
                  <a:pt x="1150894" y="1867142"/>
                  <a:pt x="1152443" y="1869621"/>
                </a:cubicBezTo>
                <a:cubicBezTo>
                  <a:pt x="1147280" y="1877056"/>
                  <a:pt x="1142014" y="1874732"/>
                  <a:pt x="1140878" y="1870859"/>
                </a:cubicBezTo>
                <a:cubicBezTo>
                  <a:pt x="1140465" y="1869466"/>
                  <a:pt x="1140568" y="1868071"/>
                  <a:pt x="1141188" y="1866678"/>
                </a:cubicBezTo>
                <a:cubicBezTo>
                  <a:pt x="1142117" y="1864819"/>
                  <a:pt x="1144182" y="1863115"/>
                  <a:pt x="1147590" y="1862340"/>
                </a:cubicBezTo>
                <a:close/>
                <a:moveTo>
                  <a:pt x="4724046" y="1861872"/>
                </a:moveTo>
                <a:cubicBezTo>
                  <a:pt x="4726607" y="1861872"/>
                  <a:pt x="4727034" y="1863010"/>
                  <a:pt x="4726607" y="1862015"/>
                </a:cubicBezTo>
                <a:cubicBezTo>
                  <a:pt x="4729595" y="1863010"/>
                  <a:pt x="4733650" y="1863580"/>
                  <a:pt x="4733437" y="1866283"/>
                </a:cubicBezTo>
                <a:cubicBezTo>
                  <a:pt x="4730662" y="1875246"/>
                  <a:pt x="4715509" y="1872543"/>
                  <a:pt x="4711881" y="1873112"/>
                </a:cubicBezTo>
                <a:cubicBezTo>
                  <a:pt x="4711881" y="1873112"/>
                  <a:pt x="4710814" y="1873681"/>
                  <a:pt x="4709320" y="1873112"/>
                </a:cubicBezTo>
                <a:cubicBezTo>
                  <a:pt x="4706759" y="1873112"/>
                  <a:pt x="4709534" y="1870266"/>
                  <a:pt x="4708040" y="1869839"/>
                </a:cubicBezTo>
                <a:cubicBezTo>
                  <a:pt x="4717430" y="1867706"/>
                  <a:pt x="4724046" y="1861872"/>
                  <a:pt x="4724046" y="1861872"/>
                </a:cubicBezTo>
                <a:close/>
                <a:moveTo>
                  <a:pt x="6084810" y="1861446"/>
                </a:moveTo>
                <a:lnTo>
                  <a:pt x="6083957" y="1861588"/>
                </a:lnTo>
                <a:lnTo>
                  <a:pt x="6083957" y="1861730"/>
                </a:lnTo>
                <a:close/>
                <a:moveTo>
                  <a:pt x="3630484" y="1861446"/>
                </a:moveTo>
                <a:cubicBezTo>
                  <a:pt x="3630484" y="1861446"/>
                  <a:pt x="3629843" y="1863010"/>
                  <a:pt x="3629843" y="1863010"/>
                </a:cubicBezTo>
                <a:cubicBezTo>
                  <a:pt x="3628136" y="1862726"/>
                  <a:pt x="3628776" y="1863722"/>
                  <a:pt x="3627709" y="1861872"/>
                </a:cubicBezTo>
                <a:cubicBezTo>
                  <a:pt x="3629416" y="1862157"/>
                  <a:pt x="3629416" y="1862157"/>
                  <a:pt x="3630484" y="1861446"/>
                </a:cubicBezTo>
                <a:close/>
                <a:moveTo>
                  <a:pt x="4707399" y="1861303"/>
                </a:moveTo>
                <a:cubicBezTo>
                  <a:pt x="4708893" y="1861730"/>
                  <a:pt x="4708680" y="1861730"/>
                  <a:pt x="4709107" y="1862868"/>
                </a:cubicBezTo>
                <a:cubicBezTo>
                  <a:pt x="4708467" y="1864434"/>
                  <a:pt x="4707612" y="1865002"/>
                  <a:pt x="4706972" y="1866567"/>
                </a:cubicBezTo>
                <a:cubicBezTo>
                  <a:pt x="4709747" y="1867706"/>
                  <a:pt x="4709320" y="1866567"/>
                  <a:pt x="4708680" y="1868132"/>
                </a:cubicBezTo>
                <a:cubicBezTo>
                  <a:pt x="4708680" y="1868132"/>
                  <a:pt x="4708680" y="1868132"/>
                  <a:pt x="4708040" y="1869839"/>
                </a:cubicBezTo>
                <a:cubicBezTo>
                  <a:pt x="4708040" y="1869839"/>
                  <a:pt x="4708680" y="1870836"/>
                  <a:pt x="4704625" y="1870266"/>
                </a:cubicBezTo>
                <a:cubicBezTo>
                  <a:pt x="4705265" y="1868702"/>
                  <a:pt x="4706972" y="1863864"/>
                  <a:pt x="4706972" y="1863864"/>
                </a:cubicBezTo>
                <a:cubicBezTo>
                  <a:pt x="4706546" y="1862868"/>
                  <a:pt x="4706759" y="1862868"/>
                  <a:pt x="4707399" y="1861303"/>
                </a:cubicBezTo>
                <a:close/>
                <a:moveTo>
                  <a:pt x="5694039" y="1860877"/>
                </a:moveTo>
                <a:cubicBezTo>
                  <a:pt x="5695746" y="1860450"/>
                  <a:pt x="5697880" y="1860592"/>
                  <a:pt x="5699588" y="1861161"/>
                </a:cubicBezTo>
                <a:cubicBezTo>
                  <a:pt x="5698521" y="1861161"/>
                  <a:pt x="5698521" y="1861303"/>
                  <a:pt x="5698521" y="1861303"/>
                </a:cubicBezTo>
                <a:cubicBezTo>
                  <a:pt x="5697454" y="1862584"/>
                  <a:pt x="5698521" y="1862442"/>
                  <a:pt x="5698734" y="1863580"/>
                </a:cubicBezTo>
                <a:cubicBezTo>
                  <a:pt x="5698734" y="1863580"/>
                  <a:pt x="5698521" y="1862442"/>
                  <a:pt x="5700015" y="1863580"/>
                </a:cubicBezTo>
                <a:cubicBezTo>
                  <a:pt x="5698734" y="1863580"/>
                  <a:pt x="5698947" y="1864861"/>
                  <a:pt x="5699161" y="1865998"/>
                </a:cubicBezTo>
                <a:cubicBezTo>
                  <a:pt x="5697240" y="1868559"/>
                  <a:pt x="5694039" y="1871262"/>
                  <a:pt x="5691691" y="1870124"/>
                </a:cubicBezTo>
                <a:cubicBezTo>
                  <a:pt x="5688917" y="1867848"/>
                  <a:pt x="5689771" y="1865429"/>
                  <a:pt x="5690624" y="1864149"/>
                </a:cubicBezTo>
                <a:cubicBezTo>
                  <a:pt x="5691051" y="1862299"/>
                  <a:pt x="5692332" y="1861303"/>
                  <a:pt x="5694039" y="1860877"/>
                </a:cubicBezTo>
                <a:close/>
                <a:moveTo>
                  <a:pt x="657226" y="1860791"/>
                </a:moveTo>
                <a:cubicBezTo>
                  <a:pt x="666416" y="1860327"/>
                  <a:pt x="677464" y="1872099"/>
                  <a:pt x="670959" y="1877210"/>
                </a:cubicBezTo>
                <a:cubicBezTo>
                  <a:pt x="670030" y="1877985"/>
                  <a:pt x="668688" y="1878604"/>
                  <a:pt x="667035" y="1878914"/>
                </a:cubicBezTo>
                <a:cubicBezTo>
                  <a:pt x="663422" y="1875971"/>
                  <a:pt x="657123" y="1871944"/>
                  <a:pt x="656090" y="1866523"/>
                </a:cubicBezTo>
                <a:cubicBezTo>
                  <a:pt x="655781" y="1864819"/>
                  <a:pt x="656090" y="1862960"/>
                  <a:pt x="657226" y="1860791"/>
                </a:cubicBezTo>
                <a:close/>
                <a:moveTo>
                  <a:pt x="5134879" y="1860023"/>
                </a:moveTo>
                <a:cubicBezTo>
                  <a:pt x="5137013" y="1859312"/>
                  <a:pt x="5139574" y="1860166"/>
                  <a:pt x="5141282" y="1863437"/>
                </a:cubicBezTo>
                <a:cubicBezTo>
                  <a:pt x="5137226" y="1866567"/>
                  <a:pt x="5133385" y="1869839"/>
                  <a:pt x="5130398" y="1865998"/>
                </a:cubicBezTo>
                <a:cubicBezTo>
                  <a:pt x="5131038" y="1863010"/>
                  <a:pt x="5132745" y="1860734"/>
                  <a:pt x="5134879" y="1860023"/>
                </a:cubicBezTo>
                <a:close/>
                <a:moveTo>
                  <a:pt x="1301751" y="1859707"/>
                </a:moveTo>
                <a:cubicBezTo>
                  <a:pt x="1300925" y="1861876"/>
                  <a:pt x="1300925" y="1865593"/>
                  <a:pt x="1297415" y="1866058"/>
                </a:cubicBezTo>
                <a:cubicBezTo>
                  <a:pt x="1298034" y="1864354"/>
                  <a:pt x="1298860" y="1861101"/>
                  <a:pt x="1300203" y="1860017"/>
                </a:cubicBezTo>
                <a:cubicBezTo>
                  <a:pt x="1300616" y="1859707"/>
                  <a:pt x="1301132" y="1859552"/>
                  <a:pt x="1301751" y="1859707"/>
                </a:cubicBezTo>
                <a:close/>
                <a:moveTo>
                  <a:pt x="5349580" y="1859312"/>
                </a:moveTo>
                <a:cubicBezTo>
                  <a:pt x="5350220" y="1865714"/>
                  <a:pt x="5344457" y="1874534"/>
                  <a:pt x="5336774" y="1880226"/>
                </a:cubicBezTo>
                <a:cubicBezTo>
                  <a:pt x="5329091" y="1885916"/>
                  <a:pt x="5319700" y="1888477"/>
                  <a:pt x="5313512" y="1882502"/>
                </a:cubicBezTo>
                <a:cubicBezTo>
                  <a:pt x="5329304" y="1878945"/>
                  <a:pt x="5331439" y="1859880"/>
                  <a:pt x="5349580" y="1859312"/>
                </a:cubicBezTo>
                <a:close/>
                <a:moveTo>
                  <a:pt x="3853720" y="1859170"/>
                </a:moveTo>
                <a:cubicBezTo>
                  <a:pt x="3856068" y="1860023"/>
                  <a:pt x="3857775" y="1861303"/>
                  <a:pt x="3858629" y="1862868"/>
                </a:cubicBezTo>
                <a:cubicBezTo>
                  <a:pt x="3861617" y="1867421"/>
                  <a:pt x="3858842" y="1874108"/>
                  <a:pt x="3854147" y="1876526"/>
                </a:cubicBezTo>
                <a:cubicBezTo>
                  <a:pt x="3852226" y="1877665"/>
                  <a:pt x="3849665" y="1877807"/>
                  <a:pt x="3847318" y="1876668"/>
                </a:cubicBezTo>
                <a:cubicBezTo>
                  <a:pt x="3847318" y="1869555"/>
                  <a:pt x="3845824" y="1861446"/>
                  <a:pt x="3853720" y="1859170"/>
                </a:cubicBezTo>
                <a:close/>
                <a:moveTo>
                  <a:pt x="1449408" y="1858933"/>
                </a:moveTo>
                <a:cubicBezTo>
                  <a:pt x="1450131" y="1862340"/>
                  <a:pt x="1449201" y="1875816"/>
                  <a:pt x="1442180" y="1871014"/>
                </a:cubicBezTo>
                <a:lnTo>
                  <a:pt x="1439805" y="1871944"/>
                </a:lnTo>
                <a:cubicBezTo>
                  <a:pt x="1438669" y="1871789"/>
                  <a:pt x="1437637" y="1871014"/>
                  <a:pt x="1436501" y="1869775"/>
                </a:cubicBezTo>
                <a:cubicBezTo>
                  <a:pt x="1437740" y="1869001"/>
                  <a:pt x="1438772" y="1868691"/>
                  <a:pt x="1439908" y="1868846"/>
                </a:cubicBezTo>
                <a:lnTo>
                  <a:pt x="1442386" y="1869775"/>
                </a:lnTo>
                <a:lnTo>
                  <a:pt x="1443522" y="1863889"/>
                </a:lnTo>
                <a:cubicBezTo>
                  <a:pt x="1443832" y="1861721"/>
                  <a:pt x="1444142" y="1860017"/>
                  <a:pt x="1445484" y="1859242"/>
                </a:cubicBezTo>
                <a:cubicBezTo>
                  <a:pt x="1446310" y="1858623"/>
                  <a:pt x="1447549" y="1858623"/>
                  <a:pt x="1449408" y="1858933"/>
                </a:cubicBezTo>
                <a:close/>
                <a:moveTo>
                  <a:pt x="1010672" y="1858623"/>
                </a:moveTo>
                <a:cubicBezTo>
                  <a:pt x="1013150" y="1861721"/>
                  <a:pt x="1011189" y="1866368"/>
                  <a:pt x="1005819" y="1865438"/>
                </a:cubicBezTo>
                <a:cubicBezTo>
                  <a:pt x="1006438" y="1861876"/>
                  <a:pt x="1006955" y="1858313"/>
                  <a:pt x="1010672" y="1858623"/>
                </a:cubicBezTo>
                <a:close/>
                <a:moveTo>
                  <a:pt x="863739" y="1858623"/>
                </a:moveTo>
                <a:cubicBezTo>
                  <a:pt x="867559" y="1857229"/>
                  <a:pt x="871069" y="1857848"/>
                  <a:pt x="874684" y="1862185"/>
                </a:cubicBezTo>
                <a:cubicBezTo>
                  <a:pt x="873961" y="1865283"/>
                  <a:pt x="870760" y="1866213"/>
                  <a:pt x="867456" y="1865748"/>
                </a:cubicBezTo>
                <a:cubicBezTo>
                  <a:pt x="864152" y="1865128"/>
                  <a:pt x="860847" y="1863270"/>
                  <a:pt x="859712" y="1860481"/>
                </a:cubicBezTo>
                <a:cubicBezTo>
                  <a:pt x="861157" y="1859707"/>
                  <a:pt x="862396" y="1859088"/>
                  <a:pt x="863739" y="1858623"/>
                </a:cubicBezTo>
                <a:close/>
                <a:moveTo>
                  <a:pt x="3474473" y="1858600"/>
                </a:moveTo>
                <a:cubicBezTo>
                  <a:pt x="3475327" y="1858885"/>
                  <a:pt x="3475540" y="1859454"/>
                  <a:pt x="3475540" y="1859880"/>
                </a:cubicBezTo>
                <a:cubicBezTo>
                  <a:pt x="3475540" y="1860307"/>
                  <a:pt x="3475327" y="1860734"/>
                  <a:pt x="3475327" y="1860734"/>
                </a:cubicBezTo>
                <a:cubicBezTo>
                  <a:pt x="3474687" y="1862442"/>
                  <a:pt x="3474047" y="1864007"/>
                  <a:pt x="3472552" y="1863437"/>
                </a:cubicBezTo>
                <a:cubicBezTo>
                  <a:pt x="3472552" y="1863437"/>
                  <a:pt x="3472126" y="1862442"/>
                  <a:pt x="3473407" y="1859170"/>
                </a:cubicBezTo>
                <a:cubicBezTo>
                  <a:pt x="3473833" y="1860307"/>
                  <a:pt x="3474900" y="1859739"/>
                  <a:pt x="3474900" y="1859739"/>
                </a:cubicBezTo>
                <a:cubicBezTo>
                  <a:pt x="3474900" y="1859739"/>
                  <a:pt x="3474900" y="1859739"/>
                  <a:pt x="3474473" y="1858600"/>
                </a:cubicBezTo>
                <a:close/>
                <a:moveTo>
                  <a:pt x="4705905" y="1858031"/>
                </a:moveTo>
                <a:cubicBezTo>
                  <a:pt x="4705265" y="1859596"/>
                  <a:pt x="4702917" y="1863437"/>
                  <a:pt x="4698863" y="1862726"/>
                </a:cubicBezTo>
                <a:lnTo>
                  <a:pt x="4698222" y="1862868"/>
                </a:lnTo>
                <a:lnTo>
                  <a:pt x="4700356" y="1865287"/>
                </a:lnTo>
                <a:cubicBezTo>
                  <a:pt x="4702917" y="1868986"/>
                  <a:pt x="4704198" y="1872685"/>
                  <a:pt x="4703771" y="1876526"/>
                </a:cubicBezTo>
                <a:lnTo>
                  <a:pt x="4702491" y="1879514"/>
                </a:lnTo>
                <a:lnTo>
                  <a:pt x="4703558" y="1881933"/>
                </a:lnTo>
                <a:cubicBezTo>
                  <a:pt x="4705479" y="1887054"/>
                  <a:pt x="4706332" y="1892745"/>
                  <a:pt x="4705265" y="1899859"/>
                </a:cubicBezTo>
                <a:cubicBezTo>
                  <a:pt x="4698863" y="1897867"/>
                  <a:pt x="4695875" y="1892176"/>
                  <a:pt x="4695021" y="1885774"/>
                </a:cubicBezTo>
                <a:lnTo>
                  <a:pt x="4695021" y="1881648"/>
                </a:lnTo>
                <a:lnTo>
                  <a:pt x="4691393" y="1879230"/>
                </a:lnTo>
                <a:cubicBezTo>
                  <a:pt x="4686057" y="1872543"/>
                  <a:pt x="4684990" y="1860450"/>
                  <a:pt x="4691180" y="1859170"/>
                </a:cubicBezTo>
                <a:cubicBezTo>
                  <a:pt x="4692460" y="1859027"/>
                  <a:pt x="4693741" y="1859170"/>
                  <a:pt x="4695661" y="1859880"/>
                </a:cubicBezTo>
                <a:lnTo>
                  <a:pt x="4696088" y="1860307"/>
                </a:lnTo>
                <a:lnTo>
                  <a:pt x="4697155" y="1859880"/>
                </a:lnTo>
                <a:cubicBezTo>
                  <a:pt x="4699716" y="1858743"/>
                  <a:pt x="4702491" y="1857747"/>
                  <a:pt x="4705905" y="1858031"/>
                </a:cubicBezTo>
                <a:close/>
                <a:moveTo>
                  <a:pt x="1575496" y="1856667"/>
                </a:moveTo>
                <a:cubicBezTo>
                  <a:pt x="1577394" y="1857306"/>
                  <a:pt x="1578839" y="1858933"/>
                  <a:pt x="1578788" y="1861101"/>
                </a:cubicBezTo>
                <a:cubicBezTo>
                  <a:pt x="1577859" y="1862031"/>
                  <a:pt x="1576929" y="1863889"/>
                  <a:pt x="1575174" y="1864819"/>
                </a:cubicBezTo>
                <a:cubicBezTo>
                  <a:pt x="1570837" y="1864044"/>
                  <a:pt x="1569288" y="1861566"/>
                  <a:pt x="1569495" y="1858158"/>
                </a:cubicBezTo>
                <a:cubicBezTo>
                  <a:pt x="1571250" y="1856377"/>
                  <a:pt x="1573599" y="1856028"/>
                  <a:pt x="1575496" y="1856667"/>
                </a:cubicBezTo>
                <a:close/>
                <a:moveTo>
                  <a:pt x="3490053" y="1856182"/>
                </a:moveTo>
                <a:cubicBezTo>
                  <a:pt x="3492401" y="1855755"/>
                  <a:pt x="3494535" y="1856893"/>
                  <a:pt x="3495815" y="1860307"/>
                </a:cubicBezTo>
                <a:cubicBezTo>
                  <a:pt x="3494108" y="1863580"/>
                  <a:pt x="3487278" y="1867136"/>
                  <a:pt x="3484504" y="1865572"/>
                </a:cubicBezTo>
                <a:cubicBezTo>
                  <a:pt x="3484078" y="1864007"/>
                  <a:pt x="3483651" y="1862442"/>
                  <a:pt x="3483223" y="1860734"/>
                </a:cubicBezTo>
                <a:cubicBezTo>
                  <a:pt x="3485144" y="1858315"/>
                  <a:pt x="3487705" y="1856466"/>
                  <a:pt x="3490053" y="1856182"/>
                </a:cubicBezTo>
                <a:close/>
                <a:moveTo>
                  <a:pt x="5835536" y="1856040"/>
                </a:moveTo>
                <a:cubicBezTo>
                  <a:pt x="5837244" y="1856608"/>
                  <a:pt x="5838524" y="1858173"/>
                  <a:pt x="5839165" y="1859880"/>
                </a:cubicBezTo>
                <a:cubicBezTo>
                  <a:pt x="5839805" y="1861019"/>
                  <a:pt x="5840018" y="1862157"/>
                  <a:pt x="5839805" y="1863154"/>
                </a:cubicBezTo>
                <a:cubicBezTo>
                  <a:pt x="5835536" y="1868844"/>
                  <a:pt x="5829987" y="1862299"/>
                  <a:pt x="5830627" y="1858600"/>
                </a:cubicBezTo>
                <a:cubicBezTo>
                  <a:pt x="5832122" y="1856040"/>
                  <a:pt x="5834042" y="1855470"/>
                  <a:pt x="5835536" y="1856040"/>
                </a:cubicBezTo>
                <a:close/>
                <a:moveTo>
                  <a:pt x="5637483" y="1855897"/>
                </a:moveTo>
                <a:cubicBezTo>
                  <a:pt x="5638123" y="1855613"/>
                  <a:pt x="5638977" y="1855613"/>
                  <a:pt x="5639617" y="1856182"/>
                </a:cubicBezTo>
                <a:cubicBezTo>
                  <a:pt x="5637696" y="1858743"/>
                  <a:pt x="5635989" y="1863722"/>
                  <a:pt x="5631293" y="1862726"/>
                </a:cubicBezTo>
                <a:cubicBezTo>
                  <a:pt x="5632787" y="1860877"/>
                  <a:pt x="5635135" y="1856893"/>
                  <a:pt x="5637483" y="1855897"/>
                </a:cubicBezTo>
                <a:close/>
                <a:moveTo>
                  <a:pt x="1509090" y="1855680"/>
                </a:moveTo>
                <a:cubicBezTo>
                  <a:pt x="1511878" y="1855525"/>
                  <a:pt x="1513633" y="1856299"/>
                  <a:pt x="1514563" y="1857848"/>
                </a:cubicBezTo>
                <a:lnTo>
                  <a:pt x="1514769" y="1860791"/>
                </a:lnTo>
                <a:lnTo>
                  <a:pt x="1517144" y="1860636"/>
                </a:lnTo>
                <a:cubicBezTo>
                  <a:pt x="1519312" y="1861101"/>
                  <a:pt x="1521377" y="1862650"/>
                  <a:pt x="1523236" y="1865438"/>
                </a:cubicBezTo>
                <a:cubicBezTo>
                  <a:pt x="1523133" y="1869621"/>
                  <a:pt x="1516628" y="1874732"/>
                  <a:pt x="1513427" y="1873338"/>
                </a:cubicBezTo>
                <a:cubicBezTo>
                  <a:pt x="1509400" y="1869775"/>
                  <a:pt x="1508780" y="1866058"/>
                  <a:pt x="1509916" y="1863580"/>
                </a:cubicBezTo>
                <a:lnTo>
                  <a:pt x="1510742" y="1862805"/>
                </a:lnTo>
                <a:lnTo>
                  <a:pt x="1510123" y="1862031"/>
                </a:lnTo>
                <a:cubicBezTo>
                  <a:pt x="1509606" y="1860327"/>
                  <a:pt x="1509606" y="1857848"/>
                  <a:pt x="1509090" y="1855680"/>
                </a:cubicBezTo>
                <a:close/>
                <a:moveTo>
                  <a:pt x="1192506" y="1855525"/>
                </a:moveTo>
                <a:cubicBezTo>
                  <a:pt x="1195501" y="1855680"/>
                  <a:pt x="1197566" y="1855990"/>
                  <a:pt x="1198908" y="1856609"/>
                </a:cubicBezTo>
                <a:lnTo>
                  <a:pt x="1201076" y="1858933"/>
                </a:lnTo>
                <a:lnTo>
                  <a:pt x="1202522" y="1858158"/>
                </a:lnTo>
                <a:cubicBezTo>
                  <a:pt x="1208511" y="1857074"/>
                  <a:pt x="1214293" y="1862495"/>
                  <a:pt x="1218217" y="1866368"/>
                </a:cubicBezTo>
                <a:cubicBezTo>
                  <a:pt x="1221211" y="1869001"/>
                  <a:pt x="1223999" y="1872099"/>
                  <a:pt x="1223999" y="1874887"/>
                </a:cubicBezTo>
                <a:cubicBezTo>
                  <a:pt x="1223999" y="1875661"/>
                  <a:pt x="1223690" y="1876591"/>
                  <a:pt x="1222864" y="1877520"/>
                </a:cubicBezTo>
                <a:lnTo>
                  <a:pt x="1221831" y="1878295"/>
                </a:lnTo>
                <a:lnTo>
                  <a:pt x="1221315" y="1879534"/>
                </a:lnTo>
                <a:lnTo>
                  <a:pt x="1223380" y="1888208"/>
                </a:lnTo>
                <a:lnTo>
                  <a:pt x="1223896" y="1884955"/>
                </a:lnTo>
                <a:cubicBezTo>
                  <a:pt x="1223896" y="1885730"/>
                  <a:pt x="1223896" y="1885730"/>
                  <a:pt x="1223896" y="1885730"/>
                </a:cubicBezTo>
                <a:cubicBezTo>
                  <a:pt x="1224722" y="1886504"/>
                  <a:pt x="1224826" y="1885730"/>
                  <a:pt x="1225652" y="1885730"/>
                </a:cubicBezTo>
                <a:cubicBezTo>
                  <a:pt x="1225652" y="1885730"/>
                  <a:pt x="1224722" y="1885730"/>
                  <a:pt x="1225652" y="1884800"/>
                </a:cubicBezTo>
                <a:cubicBezTo>
                  <a:pt x="1225652" y="1885730"/>
                  <a:pt x="1226581" y="1885575"/>
                  <a:pt x="1227407" y="1885575"/>
                </a:cubicBezTo>
                <a:cubicBezTo>
                  <a:pt x="1229059" y="1887279"/>
                  <a:pt x="1230711" y="1889603"/>
                  <a:pt x="1229782" y="1891461"/>
                </a:cubicBezTo>
                <a:cubicBezTo>
                  <a:pt x="1228853" y="1892236"/>
                  <a:pt x="1228027" y="1892545"/>
                  <a:pt x="1227200" y="1892545"/>
                </a:cubicBezTo>
                <a:lnTo>
                  <a:pt x="1226065" y="1891925"/>
                </a:lnTo>
                <a:lnTo>
                  <a:pt x="1224619" y="1893165"/>
                </a:lnTo>
                <a:lnTo>
                  <a:pt x="1227097" y="1903078"/>
                </a:lnTo>
                <a:cubicBezTo>
                  <a:pt x="1218114" y="1909429"/>
                  <a:pt x="1216359" y="1926777"/>
                  <a:pt x="1203142" y="1928171"/>
                </a:cubicBezTo>
                <a:lnTo>
                  <a:pt x="1202006" y="1927861"/>
                </a:lnTo>
                <a:lnTo>
                  <a:pt x="1200870" y="1928946"/>
                </a:lnTo>
                <a:cubicBezTo>
                  <a:pt x="1199115" y="1930030"/>
                  <a:pt x="1197050" y="1930495"/>
                  <a:pt x="1194778" y="1930340"/>
                </a:cubicBezTo>
                <a:cubicBezTo>
                  <a:pt x="1193745" y="1929410"/>
                  <a:pt x="1193126" y="1928017"/>
                  <a:pt x="1192816" y="1926468"/>
                </a:cubicBezTo>
                <a:lnTo>
                  <a:pt x="1192816" y="1925538"/>
                </a:lnTo>
                <a:lnTo>
                  <a:pt x="1191061" y="1925383"/>
                </a:lnTo>
                <a:cubicBezTo>
                  <a:pt x="1187757" y="1925538"/>
                  <a:pt x="1184762" y="1926158"/>
                  <a:pt x="1181251" y="1925693"/>
                </a:cubicBezTo>
                <a:cubicBezTo>
                  <a:pt x="1178051" y="1923370"/>
                  <a:pt x="1174746" y="1920736"/>
                  <a:pt x="1171649" y="1917793"/>
                </a:cubicBezTo>
                <a:lnTo>
                  <a:pt x="1165247" y="1910358"/>
                </a:lnTo>
                <a:lnTo>
                  <a:pt x="1159155" y="1910358"/>
                </a:lnTo>
                <a:cubicBezTo>
                  <a:pt x="1157090" y="1910513"/>
                  <a:pt x="1154921" y="1910668"/>
                  <a:pt x="1152753" y="1909584"/>
                </a:cubicBezTo>
                <a:cubicBezTo>
                  <a:pt x="1153475" y="1908655"/>
                  <a:pt x="1155954" y="1906641"/>
                  <a:pt x="1158535" y="1908035"/>
                </a:cubicBezTo>
                <a:cubicBezTo>
                  <a:pt x="1159877" y="1908655"/>
                  <a:pt x="1161220" y="1908655"/>
                  <a:pt x="1162459" y="1908655"/>
                </a:cubicBezTo>
                <a:lnTo>
                  <a:pt x="1164008" y="1908964"/>
                </a:lnTo>
                <a:lnTo>
                  <a:pt x="1163078" y="1907880"/>
                </a:lnTo>
                <a:cubicBezTo>
                  <a:pt x="1158122" y="1900755"/>
                  <a:pt x="1155025" y="1892700"/>
                  <a:pt x="1156057" y="1884491"/>
                </a:cubicBezTo>
                <a:cubicBezTo>
                  <a:pt x="1157709" y="1870859"/>
                  <a:pt x="1168654" y="1868381"/>
                  <a:pt x="1177018" y="1858623"/>
                </a:cubicBezTo>
                <a:cubicBezTo>
                  <a:pt x="1182077" y="1861411"/>
                  <a:pt x="1185588" y="1861566"/>
                  <a:pt x="1188686" y="1860946"/>
                </a:cubicBezTo>
                <a:lnTo>
                  <a:pt x="1190854" y="1860327"/>
                </a:lnTo>
                <a:close/>
                <a:moveTo>
                  <a:pt x="5357049" y="1855470"/>
                </a:moveTo>
                <a:cubicBezTo>
                  <a:pt x="5358116" y="1855613"/>
                  <a:pt x="5357903" y="1856751"/>
                  <a:pt x="5358970" y="1857035"/>
                </a:cubicBezTo>
                <a:cubicBezTo>
                  <a:pt x="5358970" y="1857035"/>
                  <a:pt x="5358970" y="1858173"/>
                  <a:pt x="5358970" y="1858173"/>
                </a:cubicBezTo>
                <a:cubicBezTo>
                  <a:pt x="5359610" y="1858173"/>
                  <a:pt x="5359397" y="1858173"/>
                  <a:pt x="5359183" y="1858458"/>
                </a:cubicBezTo>
                <a:cubicBezTo>
                  <a:pt x="5358970" y="1858743"/>
                  <a:pt x="5358329" y="1859170"/>
                  <a:pt x="5357689" y="1860307"/>
                </a:cubicBezTo>
                <a:cubicBezTo>
                  <a:pt x="5356622" y="1861161"/>
                  <a:pt x="5356409" y="1862442"/>
                  <a:pt x="5355555" y="1861019"/>
                </a:cubicBezTo>
                <a:cubicBezTo>
                  <a:pt x="5354488" y="1859739"/>
                  <a:pt x="5354488" y="1859739"/>
                  <a:pt x="5354701" y="1856325"/>
                </a:cubicBezTo>
                <a:cubicBezTo>
                  <a:pt x="5355768" y="1857605"/>
                  <a:pt x="5355768" y="1857605"/>
                  <a:pt x="5356836" y="1856608"/>
                </a:cubicBezTo>
                <a:cubicBezTo>
                  <a:pt x="5356836" y="1856608"/>
                  <a:pt x="5356836" y="1856608"/>
                  <a:pt x="5357049" y="1855470"/>
                </a:cubicBezTo>
                <a:close/>
                <a:moveTo>
                  <a:pt x="5019205" y="1855470"/>
                </a:moveTo>
                <a:cubicBezTo>
                  <a:pt x="5020059" y="1856325"/>
                  <a:pt x="5020486" y="1857320"/>
                  <a:pt x="5020700" y="1858885"/>
                </a:cubicBezTo>
                <a:cubicBezTo>
                  <a:pt x="5020913" y="1860307"/>
                  <a:pt x="5020913" y="1862299"/>
                  <a:pt x="5020486" y="1864861"/>
                </a:cubicBezTo>
                <a:cubicBezTo>
                  <a:pt x="5009602" y="1862726"/>
                  <a:pt x="5013657" y="1875673"/>
                  <a:pt x="5004906" y="1874534"/>
                </a:cubicBezTo>
                <a:cubicBezTo>
                  <a:pt x="5002132" y="1872543"/>
                  <a:pt x="4998291" y="1871405"/>
                  <a:pt x="4996156" y="1868132"/>
                </a:cubicBezTo>
                <a:cubicBezTo>
                  <a:pt x="4995516" y="1866994"/>
                  <a:pt x="4995089" y="1865714"/>
                  <a:pt x="4994876" y="1864007"/>
                </a:cubicBezTo>
                <a:cubicBezTo>
                  <a:pt x="5004693" y="1862584"/>
                  <a:pt x="5010882" y="1858600"/>
                  <a:pt x="5019205" y="1855470"/>
                </a:cubicBezTo>
                <a:close/>
                <a:moveTo>
                  <a:pt x="3738687" y="1854759"/>
                </a:moveTo>
                <a:cubicBezTo>
                  <a:pt x="3739327" y="1855755"/>
                  <a:pt x="3739754" y="1856751"/>
                  <a:pt x="3740394" y="1857747"/>
                </a:cubicBezTo>
                <a:cubicBezTo>
                  <a:pt x="3739968" y="1859312"/>
                  <a:pt x="3739968" y="1859312"/>
                  <a:pt x="3738474" y="1858885"/>
                </a:cubicBezTo>
                <a:cubicBezTo>
                  <a:pt x="3738047" y="1857889"/>
                  <a:pt x="3737406" y="1856893"/>
                  <a:pt x="3738260" y="1856325"/>
                </a:cubicBezTo>
                <a:cubicBezTo>
                  <a:pt x="3737834" y="1855328"/>
                  <a:pt x="3737834" y="1855328"/>
                  <a:pt x="3738687" y="1854759"/>
                </a:cubicBezTo>
                <a:close/>
                <a:moveTo>
                  <a:pt x="1465671" y="1854480"/>
                </a:moveTo>
                <a:cubicBezTo>
                  <a:pt x="1467839" y="1853434"/>
                  <a:pt x="1470420" y="1853744"/>
                  <a:pt x="1471711" y="1855525"/>
                </a:cubicBezTo>
                <a:cubicBezTo>
                  <a:pt x="1472537" y="1856764"/>
                  <a:pt x="1472847" y="1858468"/>
                  <a:pt x="1471918" y="1860946"/>
                </a:cubicBezTo>
                <a:cubicBezTo>
                  <a:pt x="1468510" y="1863735"/>
                  <a:pt x="1465206" y="1861101"/>
                  <a:pt x="1462108" y="1861566"/>
                </a:cubicBezTo>
                <a:cubicBezTo>
                  <a:pt x="1461747" y="1857926"/>
                  <a:pt x="1463502" y="1855525"/>
                  <a:pt x="1465671" y="1854480"/>
                </a:cubicBezTo>
                <a:close/>
                <a:moveTo>
                  <a:pt x="5945661" y="1854332"/>
                </a:moveTo>
                <a:cubicBezTo>
                  <a:pt x="5954625" y="1855186"/>
                  <a:pt x="5955051" y="1866141"/>
                  <a:pt x="5957399" y="1873538"/>
                </a:cubicBezTo>
                <a:cubicBezTo>
                  <a:pt x="5964015" y="1868132"/>
                  <a:pt x="5972338" y="1857889"/>
                  <a:pt x="5978100" y="1864576"/>
                </a:cubicBezTo>
                <a:cubicBezTo>
                  <a:pt x="5977674" y="1874250"/>
                  <a:pt x="5965936" y="1876811"/>
                  <a:pt x="5958893" y="1884636"/>
                </a:cubicBezTo>
                <a:cubicBezTo>
                  <a:pt x="5957399" y="1888192"/>
                  <a:pt x="5959320" y="1891180"/>
                  <a:pt x="5956972" y="1894879"/>
                </a:cubicBezTo>
                <a:lnTo>
                  <a:pt x="5955478" y="1896302"/>
                </a:lnTo>
                <a:lnTo>
                  <a:pt x="5955691" y="1902277"/>
                </a:lnTo>
                <a:cubicBezTo>
                  <a:pt x="5953558" y="1903273"/>
                  <a:pt x="5949929" y="1899574"/>
                  <a:pt x="5947582" y="1898151"/>
                </a:cubicBezTo>
                <a:cubicBezTo>
                  <a:pt x="5948649" y="1897013"/>
                  <a:pt x="5949716" y="1896017"/>
                  <a:pt x="5948649" y="1895875"/>
                </a:cubicBezTo>
                <a:lnTo>
                  <a:pt x="5951210" y="1894594"/>
                </a:lnTo>
                <a:lnTo>
                  <a:pt x="5949929" y="1891891"/>
                </a:lnTo>
                <a:lnTo>
                  <a:pt x="5948862" y="1893172"/>
                </a:lnTo>
                <a:cubicBezTo>
                  <a:pt x="5945874" y="1895590"/>
                  <a:pt x="5942673" y="1897724"/>
                  <a:pt x="5939045" y="1899574"/>
                </a:cubicBezTo>
                <a:lnTo>
                  <a:pt x="5933069" y="1902277"/>
                </a:lnTo>
                <a:lnTo>
                  <a:pt x="5935630" y="1903700"/>
                </a:lnTo>
                <a:cubicBezTo>
                  <a:pt x="5940539" y="1907256"/>
                  <a:pt x="5940539" y="1911240"/>
                  <a:pt x="5941606" y="1911524"/>
                </a:cubicBezTo>
                <a:cubicBezTo>
                  <a:pt x="5940112" y="1916647"/>
                  <a:pt x="5937124" y="1915792"/>
                  <a:pt x="5931788" y="1916361"/>
                </a:cubicBezTo>
                <a:cubicBezTo>
                  <a:pt x="5932216" y="1914654"/>
                  <a:pt x="5927520" y="1913517"/>
                  <a:pt x="5926026" y="1913090"/>
                </a:cubicBezTo>
                <a:cubicBezTo>
                  <a:pt x="5926453" y="1911524"/>
                  <a:pt x="5925386" y="1910101"/>
                  <a:pt x="5924532" y="1908536"/>
                </a:cubicBezTo>
                <a:lnTo>
                  <a:pt x="5923465" y="1906403"/>
                </a:lnTo>
                <a:lnTo>
                  <a:pt x="5905111" y="1913658"/>
                </a:lnTo>
                <a:cubicBezTo>
                  <a:pt x="5904898" y="1909391"/>
                  <a:pt x="5901910" y="1907683"/>
                  <a:pt x="5902550" y="1900854"/>
                </a:cubicBezTo>
                <a:cubicBezTo>
                  <a:pt x="5913007" y="1898293"/>
                  <a:pt x="5922612" y="1894452"/>
                  <a:pt x="5932002" y="1890753"/>
                </a:cubicBezTo>
                <a:lnTo>
                  <a:pt x="5947155" y="1885631"/>
                </a:lnTo>
                <a:lnTo>
                  <a:pt x="5945234" y="1881648"/>
                </a:lnTo>
                <a:cubicBezTo>
                  <a:pt x="5943527" y="1875957"/>
                  <a:pt x="5943100" y="1870409"/>
                  <a:pt x="5943527" y="1865002"/>
                </a:cubicBezTo>
                <a:cubicBezTo>
                  <a:pt x="5943740" y="1861446"/>
                  <a:pt x="5944594" y="1857889"/>
                  <a:pt x="5945661" y="1854332"/>
                </a:cubicBezTo>
                <a:close/>
                <a:moveTo>
                  <a:pt x="3749145" y="1853621"/>
                </a:moveTo>
                <a:cubicBezTo>
                  <a:pt x="3750212" y="1853052"/>
                  <a:pt x="3750212" y="1853052"/>
                  <a:pt x="3750639" y="1854190"/>
                </a:cubicBezTo>
                <a:lnTo>
                  <a:pt x="3750852" y="1853621"/>
                </a:lnTo>
                <a:lnTo>
                  <a:pt x="3752772" y="1855613"/>
                </a:lnTo>
                <a:cubicBezTo>
                  <a:pt x="3753200" y="1856608"/>
                  <a:pt x="3753200" y="1857889"/>
                  <a:pt x="3753413" y="1859312"/>
                </a:cubicBezTo>
                <a:cubicBezTo>
                  <a:pt x="3752346" y="1859880"/>
                  <a:pt x="3752346" y="1859880"/>
                  <a:pt x="3750852" y="1859454"/>
                </a:cubicBezTo>
                <a:cubicBezTo>
                  <a:pt x="3749998" y="1860023"/>
                  <a:pt x="3749785" y="1854759"/>
                  <a:pt x="3749145" y="1853621"/>
                </a:cubicBezTo>
                <a:close/>
                <a:moveTo>
                  <a:pt x="6287346" y="1853194"/>
                </a:moveTo>
                <a:cubicBezTo>
                  <a:pt x="6288626" y="1856325"/>
                  <a:pt x="6286919" y="1862015"/>
                  <a:pt x="6283718" y="1863580"/>
                </a:cubicBezTo>
                <a:cubicBezTo>
                  <a:pt x="6279876" y="1863154"/>
                  <a:pt x="6280090" y="1860592"/>
                  <a:pt x="6277529" y="1860592"/>
                </a:cubicBezTo>
                <a:cubicBezTo>
                  <a:pt x="6279236" y="1854759"/>
                  <a:pt x="6282437" y="1853194"/>
                  <a:pt x="6287346" y="1853194"/>
                </a:cubicBezTo>
                <a:close/>
                <a:moveTo>
                  <a:pt x="5282992" y="1853194"/>
                </a:moveTo>
                <a:cubicBezTo>
                  <a:pt x="5285340" y="1853621"/>
                  <a:pt x="5287261" y="1855897"/>
                  <a:pt x="5287261" y="1855897"/>
                </a:cubicBezTo>
                <a:cubicBezTo>
                  <a:pt x="5287261" y="1855897"/>
                  <a:pt x="5287261" y="1855897"/>
                  <a:pt x="5287261" y="1854759"/>
                </a:cubicBezTo>
                <a:cubicBezTo>
                  <a:pt x="5287047" y="1857178"/>
                  <a:pt x="5288115" y="1859739"/>
                  <a:pt x="5287901" y="1862015"/>
                </a:cubicBezTo>
                <a:cubicBezTo>
                  <a:pt x="5284273" y="1866141"/>
                  <a:pt x="5281712" y="1867279"/>
                  <a:pt x="5279791" y="1866852"/>
                </a:cubicBezTo>
                <a:lnTo>
                  <a:pt x="5279578" y="1866710"/>
                </a:lnTo>
                <a:lnTo>
                  <a:pt x="5277657" y="1872685"/>
                </a:lnTo>
                <a:cubicBezTo>
                  <a:pt x="5276803" y="1871973"/>
                  <a:pt x="5276376" y="1870836"/>
                  <a:pt x="5276163" y="1869413"/>
                </a:cubicBezTo>
                <a:lnTo>
                  <a:pt x="5276803" y="1864861"/>
                </a:lnTo>
                <a:lnTo>
                  <a:pt x="5274029" y="1862157"/>
                </a:lnTo>
                <a:cubicBezTo>
                  <a:pt x="5275309" y="1859880"/>
                  <a:pt x="5274456" y="1856182"/>
                  <a:pt x="5276803" y="1854190"/>
                </a:cubicBezTo>
                <a:cubicBezTo>
                  <a:pt x="5276803" y="1854190"/>
                  <a:pt x="5278084" y="1853194"/>
                  <a:pt x="5280431" y="1853621"/>
                </a:cubicBezTo>
                <a:cubicBezTo>
                  <a:pt x="5281285" y="1853194"/>
                  <a:pt x="5282139" y="1853052"/>
                  <a:pt x="5282992" y="1853194"/>
                </a:cubicBezTo>
                <a:close/>
                <a:moveTo>
                  <a:pt x="5102013" y="1852767"/>
                </a:moveTo>
                <a:cubicBezTo>
                  <a:pt x="5102866" y="1853052"/>
                  <a:pt x="5103720" y="1853621"/>
                  <a:pt x="5104360" y="1854617"/>
                </a:cubicBezTo>
                <a:cubicBezTo>
                  <a:pt x="5103720" y="1860450"/>
                  <a:pt x="5097530" y="1862584"/>
                  <a:pt x="5093476" y="1855755"/>
                </a:cubicBezTo>
                <a:cubicBezTo>
                  <a:pt x="5096464" y="1853763"/>
                  <a:pt x="5099451" y="1851771"/>
                  <a:pt x="5102013" y="1852767"/>
                </a:cubicBezTo>
                <a:close/>
                <a:moveTo>
                  <a:pt x="3850519" y="1852767"/>
                </a:moveTo>
                <a:cubicBezTo>
                  <a:pt x="3852226" y="1852910"/>
                  <a:pt x="3853294" y="1852910"/>
                  <a:pt x="3854147" y="1852910"/>
                </a:cubicBezTo>
                <a:cubicBezTo>
                  <a:pt x="3854787" y="1852910"/>
                  <a:pt x="3855001" y="1852767"/>
                  <a:pt x="3855001" y="1853478"/>
                </a:cubicBezTo>
                <a:cubicBezTo>
                  <a:pt x="3856068" y="1853621"/>
                  <a:pt x="3856068" y="1854901"/>
                  <a:pt x="3854787" y="1854617"/>
                </a:cubicBezTo>
                <a:cubicBezTo>
                  <a:pt x="3853720" y="1856893"/>
                  <a:pt x="3851586" y="1854048"/>
                  <a:pt x="3850519" y="1852767"/>
                </a:cubicBezTo>
                <a:close/>
                <a:moveTo>
                  <a:pt x="3750852" y="1852767"/>
                </a:moveTo>
                <a:lnTo>
                  <a:pt x="3750852" y="1853621"/>
                </a:lnTo>
                <a:lnTo>
                  <a:pt x="3749998" y="1853052"/>
                </a:lnTo>
                <a:cubicBezTo>
                  <a:pt x="3750639" y="1852767"/>
                  <a:pt x="3750852" y="1852625"/>
                  <a:pt x="3750852" y="1852767"/>
                </a:cubicBezTo>
                <a:close/>
                <a:moveTo>
                  <a:pt x="757694" y="1852582"/>
                </a:moveTo>
                <a:cubicBezTo>
                  <a:pt x="763993" y="1850103"/>
                  <a:pt x="779688" y="1858933"/>
                  <a:pt x="777313" y="1867297"/>
                </a:cubicBezTo>
                <a:cubicBezTo>
                  <a:pt x="771840" y="1863889"/>
                  <a:pt x="767091" y="1860172"/>
                  <a:pt x="758520" y="1857848"/>
                </a:cubicBezTo>
                <a:cubicBezTo>
                  <a:pt x="759140" y="1856299"/>
                  <a:pt x="757488" y="1855525"/>
                  <a:pt x="757282" y="1854131"/>
                </a:cubicBezTo>
                <a:cubicBezTo>
                  <a:pt x="757178" y="1853666"/>
                  <a:pt x="757282" y="1853202"/>
                  <a:pt x="757694" y="1852582"/>
                </a:cubicBezTo>
                <a:close/>
                <a:moveTo>
                  <a:pt x="627798" y="1852582"/>
                </a:moveTo>
                <a:cubicBezTo>
                  <a:pt x="630380" y="1854595"/>
                  <a:pt x="631205" y="1857229"/>
                  <a:pt x="629347" y="1859552"/>
                </a:cubicBezTo>
                <a:cubicBezTo>
                  <a:pt x="627695" y="1860327"/>
                  <a:pt x="625939" y="1859242"/>
                  <a:pt x="624184" y="1858158"/>
                </a:cubicBezTo>
                <a:cubicBezTo>
                  <a:pt x="622945" y="1857229"/>
                  <a:pt x="622532" y="1856299"/>
                  <a:pt x="622635" y="1855525"/>
                </a:cubicBezTo>
                <a:cubicBezTo>
                  <a:pt x="622842" y="1854750"/>
                  <a:pt x="623461" y="1853821"/>
                  <a:pt x="624391" y="1853202"/>
                </a:cubicBezTo>
                <a:cubicBezTo>
                  <a:pt x="626146" y="1851653"/>
                  <a:pt x="627798" y="1852582"/>
                  <a:pt x="627798" y="1852582"/>
                </a:cubicBezTo>
                <a:close/>
                <a:moveTo>
                  <a:pt x="4993808" y="1852056"/>
                </a:moveTo>
                <a:cubicBezTo>
                  <a:pt x="4995729" y="1852198"/>
                  <a:pt x="4997650" y="1852625"/>
                  <a:pt x="4999784" y="1853336"/>
                </a:cubicBezTo>
                <a:cubicBezTo>
                  <a:pt x="4997437" y="1859454"/>
                  <a:pt x="4987620" y="1865429"/>
                  <a:pt x="4978016" y="1867848"/>
                </a:cubicBezTo>
                <a:cubicBezTo>
                  <a:pt x="4968198" y="1870266"/>
                  <a:pt x="4958381" y="1869128"/>
                  <a:pt x="4955820" y="1861446"/>
                </a:cubicBezTo>
                <a:lnTo>
                  <a:pt x="4962863" y="1860877"/>
                </a:lnTo>
                <a:lnTo>
                  <a:pt x="4965851" y="1858173"/>
                </a:lnTo>
                <a:cubicBezTo>
                  <a:pt x="4969052" y="1856182"/>
                  <a:pt x="4972894" y="1855044"/>
                  <a:pt x="4975881" y="1854474"/>
                </a:cubicBezTo>
                <a:lnTo>
                  <a:pt x="4977802" y="1856040"/>
                </a:lnTo>
                <a:lnTo>
                  <a:pt x="4988046" y="1852483"/>
                </a:lnTo>
                <a:cubicBezTo>
                  <a:pt x="4989967" y="1852056"/>
                  <a:pt x="4991888" y="1851914"/>
                  <a:pt x="4993808" y="1852056"/>
                </a:cubicBezTo>
                <a:close/>
                <a:moveTo>
                  <a:pt x="1249607" y="1851962"/>
                </a:moveTo>
                <a:cubicBezTo>
                  <a:pt x="1249607" y="1851962"/>
                  <a:pt x="1249297" y="1853047"/>
                  <a:pt x="1249710" y="1853821"/>
                </a:cubicBezTo>
                <a:cubicBezTo>
                  <a:pt x="1249710" y="1853821"/>
                  <a:pt x="1249504" y="1854905"/>
                  <a:pt x="1249194" y="1855990"/>
                </a:cubicBezTo>
                <a:cubicBezTo>
                  <a:pt x="1249194" y="1855990"/>
                  <a:pt x="1249710" y="1856764"/>
                  <a:pt x="1250124" y="1857384"/>
                </a:cubicBezTo>
                <a:cubicBezTo>
                  <a:pt x="1250020" y="1860481"/>
                  <a:pt x="1250227" y="1862340"/>
                  <a:pt x="1246922" y="1863115"/>
                </a:cubicBezTo>
                <a:cubicBezTo>
                  <a:pt x="1246716" y="1862650"/>
                  <a:pt x="1246716" y="1861876"/>
                  <a:pt x="1246819" y="1861101"/>
                </a:cubicBezTo>
                <a:cubicBezTo>
                  <a:pt x="1246922" y="1860327"/>
                  <a:pt x="1247129" y="1859552"/>
                  <a:pt x="1247232" y="1858933"/>
                </a:cubicBezTo>
                <a:cubicBezTo>
                  <a:pt x="1246819" y="1858158"/>
                  <a:pt x="1247026" y="1857074"/>
                  <a:pt x="1247748" y="1856764"/>
                </a:cubicBezTo>
                <a:cubicBezTo>
                  <a:pt x="1247748" y="1856764"/>
                  <a:pt x="1248058" y="1855680"/>
                  <a:pt x="1247542" y="1854905"/>
                </a:cubicBezTo>
                <a:cubicBezTo>
                  <a:pt x="1248058" y="1852582"/>
                  <a:pt x="1248884" y="1852272"/>
                  <a:pt x="1249607" y="1851962"/>
                </a:cubicBezTo>
                <a:close/>
                <a:moveTo>
                  <a:pt x="1179599" y="1851498"/>
                </a:moveTo>
                <a:cubicBezTo>
                  <a:pt x="1180219" y="1851343"/>
                  <a:pt x="1180838" y="1851188"/>
                  <a:pt x="1181355" y="1851498"/>
                </a:cubicBezTo>
                <a:cubicBezTo>
                  <a:pt x="1181871" y="1851653"/>
                  <a:pt x="1182387" y="1852272"/>
                  <a:pt x="1182697" y="1853357"/>
                </a:cubicBezTo>
                <a:cubicBezTo>
                  <a:pt x="1183730" y="1855060"/>
                  <a:pt x="1183213" y="1855680"/>
                  <a:pt x="1180425" y="1856764"/>
                </a:cubicBezTo>
                <a:cubicBezTo>
                  <a:pt x="1178051" y="1857229"/>
                  <a:pt x="1176398" y="1858158"/>
                  <a:pt x="1175572" y="1857694"/>
                </a:cubicBezTo>
                <a:cubicBezTo>
                  <a:pt x="1175159" y="1858313"/>
                  <a:pt x="1174024" y="1858623"/>
                  <a:pt x="1173507" y="1859242"/>
                </a:cubicBezTo>
                <a:cubicBezTo>
                  <a:pt x="1173507" y="1859242"/>
                  <a:pt x="1173507" y="1859242"/>
                  <a:pt x="1172784" y="1858778"/>
                </a:cubicBezTo>
                <a:cubicBezTo>
                  <a:pt x="1175263" y="1856609"/>
                  <a:pt x="1176811" y="1852582"/>
                  <a:pt x="1179599" y="1851498"/>
                </a:cubicBezTo>
                <a:close/>
                <a:moveTo>
                  <a:pt x="5407416" y="1850776"/>
                </a:moveTo>
                <a:cubicBezTo>
                  <a:pt x="5422355" y="1856608"/>
                  <a:pt x="5443484" y="1845939"/>
                  <a:pt x="5456503" y="1860023"/>
                </a:cubicBezTo>
                <a:cubicBezTo>
                  <a:pt x="5459277" y="1875246"/>
                  <a:pt x="5467387" y="1877949"/>
                  <a:pt x="5472296" y="1886628"/>
                </a:cubicBezTo>
                <a:cubicBezTo>
                  <a:pt x="5473363" y="1907541"/>
                  <a:pt x="5467814" y="1935141"/>
                  <a:pt x="5447112" y="1944673"/>
                </a:cubicBezTo>
                <a:cubicBezTo>
                  <a:pt x="5430252" y="1952498"/>
                  <a:pt x="5418087" y="1941827"/>
                  <a:pt x="5400160" y="1939409"/>
                </a:cubicBezTo>
                <a:cubicBezTo>
                  <a:pt x="5397385" y="1924186"/>
                  <a:pt x="5388635" y="1922479"/>
                  <a:pt x="5382233" y="1916788"/>
                </a:cubicBezTo>
                <a:cubicBezTo>
                  <a:pt x="5385007" y="1906545"/>
                  <a:pt x="5380312" y="1892603"/>
                  <a:pt x="5380098" y="1880226"/>
                </a:cubicBezTo>
                <a:lnTo>
                  <a:pt x="5383726" y="1876526"/>
                </a:lnTo>
                <a:lnTo>
                  <a:pt x="5381379" y="1872685"/>
                </a:lnTo>
                <a:cubicBezTo>
                  <a:pt x="5382233" y="1871973"/>
                  <a:pt x="5383940" y="1871831"/>
                  <a:pt x="5385647" y="1871973"/>
                </a:cubicBezTo>
                <a:lnTo>
                  <a:pt x="5387568" y="1872258"/>
                </a:lnTo>
                <a:lnTo>
                  <a:pt x="5393757" y="1865572"/>
                </a:lnTo>
                <a:lnTo>
                  <a:pt x="5401013" y="1857889"/>
                </a:lnTo>
                <a:lnTo>
                  <a:pt x="5401440" y="1854190"/>
                </a:lnTo>
                <a:lnTo>
                  <a:pt x="5404642" y="1853906"/>
                </a:lnTo>
                <a:close/>
                <a:moveTo>
                  <a:pt x="977527" y="1850568"/>
                </a:moveTo>
                <a:cubicBezTo>
                  <a:pt x="981761" y="1849639"/>
                  <a:pt x="984135" y="1854441"/>
                  <a:pt x="985787" y="1856919"/>
                </a:cubicBezTo>
                <a:lnTo>
                  <a:pt x="984549" y="1858003"/>
                </a:lnTo>
                <a:lnTo>
                  <a:pt x="986303" y="1858623"/>
                </a:lnTo>
                <a:cubicBezTo>
                  <a:pt x="986923" y="1859088"/>
                  <a:pt x="987646" y="1859707"/>
                  <a:pt x="988472" y="1860172"/>
                </a:cubicBezTo>
                <a:cubicBezTo>
                  <a:pt x="987543" y="1861876"/>
                  <a:pt x="988369" y="1864354"/>
                  <a:pt x="986510" y="1866213"/>
                </a:cubicBezTo>
                <a:cubicBezTo>
                  <a:pt x="986510" y="1866213"/>
                  <a:pt x="985581" y="1866987"/>
                  <a:pt x="983825" y="1867142"/>
                </a:cubicBezTo>
                <a:cubicBezTo>
                  <a:pt x="981141" y="1868846"/>
                  <a:pt x="978663" y="1866523"/>
                  <a:pt x="978663" y="1866523"/>
                </a:cubicBezTo>
                <a:cubicBezTo>
                  <a:pt x="978663" y="1866523"/>
                  <a:pt x="978663" y="1866523"/>
                  <a:pt x="978663" y="1867297"/>
                </a:cubicBezTo>
                <a:cubicBezTo>
                  <a:pt x="978766" y="1865593"/>
                  <a:pt x="977940" y="1864044"/>
                  <a:pt x="978043" y="1862340"/>
                </a:cubicBezTo>
                <a:lnTo>
                  <a:pt x="978559" y="1861876"/>
                </a:lnTo>
                <a:lnTo>
                  <a:pt x="977837" y="1862185"/>
                </a:lnTo>
                <a:cubicBezTo>
                  <a:pt x="976185" y="1860636"/>
                  <a:pt x="975152" y="1858778"/>
                  <a:pt x="975049" y="1856764"/>
                </a:cubicBezTo>
                <a:cubicBezTo>
                  <a:pt x="974946" y="1854905"/>
                  <a:pt x="975668" y="1852737"/>
                  <a:pt x="977527" y="1850568"/>
                </a:cubicBezTo>
                <a:close/>
                <a:moveTo>
                  <a:pt x="777003" y="1849794"/>
                </a:moveTo>
                <a:cubicBezTo>
                  <a:pt x="778965" y="1849949"/>
                  <a:pt x="779275" y="1849019"/>
                  <a:pt x="781960" y="1850568"/>
                </a:cubicBezTo>
                <a:cubicBezTo>
                  <a:pt x="781547" y="1851653"/>
                  <a:pt x="781237" y="1852737"/>
                  <a:pt x="780824" y="1853821"/>
                </a:cubicBezTo>
                <a:cubicBezTo>
                  <a:pt x="778552" y="1852891"/>
                  <a:pt x="776177" y="1851962"/>
                  <a:pt x="777003" y="1849794"/>
                </a:cubicBezTo>
                <a:close/>
                <a:moveTo>
                  <a:pt x="3945278" y="1849637"/>
                </a:moveTo>
                <a:cubicBezTo>
                  <a:pt x="3956589" y="1853621"/>
                  <a:pt x="3955735" y="1861730"/>
                  <a:pt x="3951253" y="1865002"/>
                </a:cubicBezTo>
                <a:cubicBezTo>
                  <a:pt x="3949545" y="1865998"/>
                  <a:pt x="3947625" y="1866567"/>
                  <a:pt x="3945491" y="1866283"/>
                </a:cubicBezTo>
                <a:cubicBezTo>
                  <a:pt x="3942717" y="1865714"/>
                  <a:pt x="3939942" y="1863722"/>
                  <a:pt x="3937594" y="1859312"/>
                </a:cubicBezTo>
                <a:cubicBezTo>
                  <a:pt x="3939302" y="1853763"/>
                  <a:pt x="3942717" y="1852910"/>
                  <a:pt x="3945278" y="1849637"/>
                </a:cubicBezTo>
                <a:close/>
                <a:moveTo>
                  <a:pt x="1593450" y="1849329"/>
                </a:moveTo>
                <a:cubicBezTo>
                  <a:pt x="1594173" y="1852891"/>
                  <a:pt x="1592521" y="1855215"/>
                  <a:pt x="1588907" y="1854905"/>
                </a:cubicBezTo>
                <a:cubicBezTo>
                  <a:pt x="1589217" y="1852582"/>
                  <a:pt x="1587565" y="1851962"/>
                  <a:pt x="1587874" y="1849484"/>
                </a:cubicBezTo>
                <a:cubicBezTo>
                  <a:pt x="1590353" y="1849639"/>
                  <a:pt x="1592211" y="1849175"/>
                  <a:pt x="1593450" y="1849329"/>
                </a:cubicBezTo>
                <a:close/>
                <a:moveTo>
                  <a:pt x="964000" y="1848865"/>
                </a:moveTo>
                <a:cubicBezTo>
                  <a:pt x="968440" y="1848245"/>
                  <a:pt x="970712" y="1850103"/>
                  <a:pt x="971641" y="1853357"/>
                </a:cubicBezTo>
                <a:cubicBezTo>
                  <a:pt x="969163" y="1857694"/>
                  <a:pt x="962658" y="1857229"/>
                  <a:pt x="961522" y="1853202"/>
                </a:cubicBezTo>
                <a:cubicBezTo>
                  <a:pt x="962142" y="1852117"/>
                  <a:pt x="962555" y="1850103"/>
                  <a:pt x="964000" y="1848865"/>
                </a:cubicBezTo>
                <a:close/>
                <a:moveTo>
                  <a:pt x="1280894" y="1848710"/>
                </a:moveTo>
                <a:cubicBezTo>
                  <a:pt x="1282030" y="1849019"/>
                  <a:pt x="1282546" y="1849794"/>
                  <a:pt x="1282959" y="1850568"/>
                </a:cubicBezTo>
                <a:cubicBezTo>
                  <a:pt x="1282752" y="1851653"/>
                  <a:pt x="1281926" y="1851962"/>
                  <a:pt x="1281720" y="1853202"/>
                </a:cubicBezTo>
                <a:cubicBezTo>
                  <a:pt x="1282133" y="1853821"/>
                  <a:pt x="1283062" y="1855370"/>
                  <a:pt x="1282752" y="1856454"/>
                </a:cubicBezTo>
                <a:lnTo>
                  <a:pt x="1282442" y="1857384"/>
                </a:lnTo>
                <a:lnTo>
                  <a:pt x="1283269" y="1857384"/>
                </a:lnTo>
                <a:cubicBezTo>
                  <a:pt x="1283785" y="1864819"/>
                  <a:pt x="1282442" y="1873183"/>
                  <a:pt x="1275215" y="1881857"/>
                </a:cubicBezTo>
                <a:cubicBezTo>
                  <a:pt x="1269329" y="1882477"/>
                  <a:pt x="1267367" y="1878449"/>
                  <a:pt x="1267780" y="1873648"/>
                </a:cubicBezTo>
                <a:cubicBezTo>
                  <a:pt x="1268296" y="1867452"/>
                  <a:pt x="1272530" y="1859862"/>
                  <a:pt x="1277796" y="1857538"/>
                </a:cubicBezTo>
                <a:lnTo>
                  <a:pt x="1281100" y="1857384"/>
                </a:lnTo>
                <a:lnTo>
                  <a:pt x="1281100" y="1856919"/>
                </a:lnTo>
                <a:cubicBezTo>
                  <a:pt x="1281203" y="1856764"/>
                  <a:pt x="1281410" y="1856609"/>
                  <a:pt x="1281513" y="1856145"/>
                </a:cubicBezTo>
                <a:cubicBezTo>
                  <a:pt x="1281823" y="1855060"/>
                  <a:pt x="1280997" y="1850568"/>
                  <a:pt x="1279861" y="1850103"/>
                </a:cubicBezTo>
                <a:cubicBezTo>
                  <a:pt x="1280584" y="1849794"/>
                  <a:pt x="1280894" y="1848710"/>
                  <a:pt x="1280894" y="1848710"/>
                </a:cubicBezTo>
                <a:close/>
                <a:moveTo>
                  <a:pt x="815311" y="1848090"/>
                </a:moveTo>
                <a:cubicBezTo>
                  <a:pt x="823468" y="1844992"/>
                  <a:pt x="834930" y="1850413"/>
                  <a:pt x="837822" y="1855990"/>
                </a:cubicBezTo>
                <a:cubicBezTo>
                  <a:pt x="829767" y="1859088"/>
                  <a:pt x="819441" y="1852737"/>
                  <a:pt x="815311" y="1848090"/>
                </a:cubicBezTo>
                <a:close/>
                <a:moveTo>
                  <a:pt x="3774755" y="1847504"/>
                </a:moveTo>
                <a:cubicBezTo>
                  <a:pt x="3777103" y="1847219"/>
                  <a:pt x="3779664" y="1847361"/>
                  <a:pt x="3782225" y="1847788"/>
                </a:cubicBezTo>
                <a:lnTo>
                  <a:pt x="3786280" y="1869271"/>
                </a:lnTo>
                <a:lnTo>
                  <a:pt x="3788414" y="1868702"/>
                </a:lnTo>
                <a:cubicBezTo>
                  <a:pt x="3792896" y="1868417"/>
                  <a:pt x="3798872" y="1869128"/>
                  <a:pt x="3804847" y="1873112"/>
                </a:cubicBezTo>
                <a:lnTo>
                  <a:pt x="3808689" y="1877807"/>
                </a:lnTo>
                <a:lnTo>
                  <a:pt x="3811677" y="1878660"/>
                </a:lnTo>
                <a:lnTo>
                  <a:pt x="3810823" y="1881221"/>
                </a:lnTo>
                <a:lnTo>
                  <a:pt x="3811677" y="1882644"/>
                </a:lnTo>
                <a:cubicBezTo>
                  <a:pt x="3811677" y="1883497"/>
                  <a:pt x="3811463" y="1884067"/>
                  <a:pt x="3810823" y="1884067"/>
                </a:cubicBezTo>
                <a:lnTo>
                  <a:pt x="3809969" y="1885774"/>
                </a:lnTo>
                <a:lnTo>
                  <a:pt x="3811890" y="1886058"/>
                </a:lnTo>
                <a:cubicBezTo>
                  <a:pt x="3812743" y="1886343"/>
                  <a:pt x="3813811" y="1886912"/>
                  <a:pt x="3814665" y="1887908"/>
                </a:cubicBezTo>
                <a:lnTo>
                  <a:pt x="3814238" y="1889757"/>
                </a:lnTo>
                <a:lnTo>
                  <a:pt x="3821281" y="1886628"/>
                </a:lnTo>
                <a:cubicBezTo>
                  <a:pt x="3823201" y="1886343"/>
                  <a:pt x="3825122" y="1886485"/>
                  <a:pt x="3827043" y="1886769"/>
                </a:cubicBezTo>
                <a:cubicBezTo>
                  <a:pt x="3832592" y="1887766"/>
                  <a:pt x="3837928" y="1891038"/>
                  <a:pt x="3843476" y="1894452"/>
                </a:cubicBezTo>
                <a:cubicBezTo>
                  <a:pt x="3838994" y="1901565"/>
                  <a:pt x="3829177" y="1899289"/>
                  <a:pt x="3821067" y="1894879"/>
                </a:cubicBezTo>
                <a:lnTo>
                  <a:pt x="3814024" y="1890184"/>
                </a:lnTo>
                <a:lnTo>
                  <a:pt x="3813170" y="1893883"/>
                </a:lnTo>
                <a:cubicBezTo>
                  <a:pt x="3803780" y="1901139"/>
                  <a:pt x="3798018" y="1896728"/>
                  <a:pt x="3796737" y="1897867"/>
                </a:cubicBezTo>
                <a:lnTo>
                  <a:pt x="3796524" y="1897013"/>
                </a:lnTo>
                <a:lnTo>
                  <a:pt x="3787774" y="1895448"/>
                </a:lnTo>
                <a:lnTo>
                  <a:pt x="3786280" y="1906118"/>
                </a:lnTo>
                <a:cubicBezTo>
                  <a:pt x="3784359" y="1913374"/>
                  <a:pt x="3781371" y="1920772"/>
                  <a:pt x="3777103" y="1928454"/>
                </a:cubicBezTo>
                <a:cubicBezTo>
                  <a:pt x="3767285" y="1930873"/>
                  <a:pt x="3759816" y="1929166"/>
                  <a:pt x="3754267" y="1925040"/>
                </a:cubicBezTo>
                <a:lnTo>
                  <a:pt x="3752346" y="1921626"/>
                </a:lnTo>
                <a:lnTo>
                  <a:pt x="3749785" y="1922194"/>
                </a:lnTo>
                <a:lnTo>
                  <a:pt x="3744449" y="1913517"/>
                </a:lnTo>
                <a:lnTo>
                  <a:pt x="3740394" y="1916647"/>
                </a:lnTo>
                <a:cubicBezTo>
                  <a:pt x="3739327" y="1917357"/>
                  <a:pt x="3738474" y="1917357"/>
                  <a:pt x="3738474" y="1916077"/>
                </a:cubicBezTo>
                <a:cubicBezTo>
                  <a:pt x="3735486" y="1916077"/>
                  <a:pt x="3735486" y="1913517"/>
                  <a:pt x="3732498" y="1910813"/>
                </a:cubicBezTo>
                <a:lnTo>
                  <a:pt x="3731218" y="1905549"/>
                </a:lnTo>
                <a:lnTo>
                  <a:pt x="3728870" y="1906118"/>
                </a:lnTo>
                <a:cubicBezTo>
                  <a:pt x="3727163" y="1899574"/>
                  <a:pt x="3729510" y="1895590"/>
                  <a:pt x="3734205" y="1891749"/>
                </a:cubicBezTo>
                <a:lnTo>
                  <a:pt x="3735059" y="1893456"/>
                </a:lnTo>
                <a:lnTo>
                  <a:pt x="3736553" y="1892745"/>
                </a:lnTo>
                <a:cubicBezTo>
                  <a:pt x="3737834" y="1892318"/>
                  <a:pt x="3738474" y="1892318"/>
                  <a:pt x="3738474" y="1892318"/>
                </a:cubicBezTo>
                <a:lnTo>
                  <a:pt x="3740821" y="1894452"/>
                </a:lnTo>
                <a:lnTo>
                  <a:pt x="3741248" y="1890184"/>
                </a:lnTo>
                <a:lnTo>
                  <a:pt x="3743809" y="1886628"/>
                </a:lnTo>
                <a:lnTo>
                  <a:pt x="3743809" y="1885631"/>
                </a:lnTo>
                <a:lnTo>
                  <a:pt x="3745090" y="1880510"/>
                </a:lnTo>
                <a:lnTo>
                  <a:pt x="3744022" y="1881648"/>
                </a:lnTo>
                <a:cubicBezTo>
                  <a:pt x="3743382" y="1882217"/>
                  <a:pt x="3742529" y="1882502"/>
                  <a:pt x="3742315" y="1882359"/>
                </a:cubicBezTo>
                <a:lnTo>
                  <a:pt x="3746157" y="1877380"/>
                </a:lnTo>
                <a:lnTo>
                  <a:pt x="3747651" y="1872116"/>
                </a:lnTo>
                <a:cubicBezTo>
                  <a:pt x="3752772" y="1859170"/>
                  <a:pt x="3762163" y="1848784"/>
                  <a:pt x="3774755" y="1847504"/>
                </a:cubicBezTo>
                <a:close/>
                <a:moveTo>
                  <a:pt x="904318" y="1847470"/>
                </a:moveTo>
                <a:cubicBezTo>
                  <a:pt x="906693" y="1847006"/>
                  <a:pt x="907829" y="1847006"/>
                  <a:pt x="909378" y="1847935"/>
                </a:cubicBezTo>
                <a:cubicBezTo>
                  <a:pt x="910514" y="1847780"/>
                  <a:pt x="911753" y="1847470"/>
                  <a:pt x="912682" y="1847625"/>
                </a:cubicBezTo>
                <a:cubicBezTo>
                  <a:pt x="913715" y="1847780"/>
                  <a:pt x="914334" y="1848245"/>
                  <a:pt x="914747" y="1849484"/>
                </a:cubicBezTo>
                <a:cubicBezTo>
                  <a:pt x="912682" y="1851033"/>
                  <a:pt x="911030" y="1851807"/>
                  <a:pt x="908242" y="1852891"/>
                </a:cubicBezTo>
                <a:cubicBezTo>
                  <a:pt x="908242" y="1852891"/>
                  <a:pt x="903492" y="1853666"/>
                  <a:pt x="902150" y="1850879"/>
                </a:cubicBezTo>
                <a:cubicBezTo>
                  <a:pt x="901324" y="1850413"/>
                  <a:pt x="903079" y="1847625"/>
                  <a:pt x="904318" y="1847470"/>
                </a:cubicBezTo>
                <a:close/>
                <a:moveTo>
                  <a:pt x="3877837" y="1846792"/>
                </a:moveTo>
                <a:cubicBezTo>
                  <a:pt x="3879971" y="1848499"/>
                  <a:pt x="3881892" y="1851487"/>
                  <a:pt x="3883812" y="1854332"/>
                </a:cubicBezTo>
                <a:cubicBezTo>
                  <a:pt x="3879331" y="1861730"/>
                  <a:pt x="3870581" y="1847646"/>
                  <a:pt x="3877837" y="1846792"/>
                </a:cubicBezTo>
                <a:close/>
                <a:moveTo>
                  <a:pt x="853632" y="1846096"/>
                </a:moveTo>
                <a:cubicBezTo>
                  <a:pt x="859634" y="1844295"/>
                  <a:pt x="865855" y="1844528"/>
                  <a:pt x="867972" y="1848555"/>
                </a:cubicBezTo>
                <a:cubicBezTo>
                  <a:pt x="857956" y="1850258"/>
                  <a:pt x="852174" y="1855990"/>
                  <a:pt x="840609" y="1855835"/>
                </a:cubicBezTo>
                <a:cubicBezTo>
                  <a:pt x="841848" y="1851730"/>
                  <a:pt x="847631" y="1847896"/>
                  <a:pt x="853632" y="1846096"/>
                </a:cubicBezTo>
                <a:close/>
                <a:moveTo>
                  <a:pt x="1433919" y="1845921"/>
                </a:moveTo>
                <a:cubicBezTo>
                  <a:pt x="1435881" y="1844217"/>
                  <a:pt x="1439392" y="1843443"/>
                  <a:pt x="1441664" y="1846076"/>
                </a:cubicBezTo>
                <a:cubicBezTo>
                  <a:pt x="1444039" y="1847780"/>
                  <a:pt x="1443626" y="1851188"/>
                  <a:pt x="1446000" y="1853821"/>
                </a:cubicBezTo>
                <a:cubicBezTo>
                  <a:pt x="1443006" y="1857074"/>
                  <a:pt x="1441973" y="1857848"/>
                  <a:pt x="1437843" y="1856145"/>
                </a:cubicBezTo>
                <a:cubicBezTo>
                  <a:pt x="1437843" y="1856145"/>
                  <a:pt x="1437120" y="1855215"/>
                  <a:pt x="1437120" y="1855215"/>
                </a:cubicBezTo>
                <a:cubicBezTo>
                  <a:pt x="1435571" y="1853821"/>
                  <a:pt x="1434539" y="1851962"/>
                  <a:pt x="1433919" y="1850103"/>
                </a:cubicBezTo>
                <a:cubicBezTo>
                  <a:pt x="1433403" y="1848400"/>
                  <a:pt x="1433403" y="1846696"/>
                  <a:pt x="1433919" y="1845921"/>
                </a:cubicBezTo>
                <a:close/>
                <a:moveTo>
                  <a:pt x="6069871" y="1845654"/>
                </a:moveTo>
                <a:cubicBezTo>
                  <a:pt x="6070938" y="1845512"/>
                  <a:pt x="6072006" y="1845512"/>
                  <a:pt x="6073499" y="1846508"/>
                </a:cubicBezTo>
                <a:cubicBezTo>
                  <a:pt x="6074780" y="1847646"/>
                  <a:pt x="6073499" y="1847788"/>
                  <a:pt x="6074780" y="1847788"/>
                </a:cubicBezTo>
                <a:cubicBezTo>
                  <a:pt x="6076060" y="1848784"/>
                  <a:pt x="6075847" y="1847646"/>
                  <a:pt x="6075847" y="1847646"/>
                </a:cubicBezTo>
                <a:cubicBezTo>
                  <a:pt x="6075847" y="1847646"/>
                  <a:pt x="6076060" y="1848926"/>
                  <a:pt x="6076060" y="1848926"/>
                </a:cubicBezTo>
                <a:cubicBezTo>
                  <a:pt x="6076060" y="1848926"/>
                  <a:pt x="6076060" y="1848926"/>
                  <a:pt x="6078835" y="1851060"/>
                </a:cubicBezTo>
                <a:cubicBezTo>
                  <a:pt x="6082463" y="1853336"/>
                  <a:pt x="6083743" y="1853194"/>
                  <a:pt x="6086091" y="1854190"/>
                </a:cubicBezTo>
                <a:cubicBezTo>
                  <a:pt x="6088652" y="1856466"/>
                  <a:pt x="6089079" y="1857747"/>
                  <a:pt x="6091853" y="1861161"/>
                </a:cubicBezTo>
                <a:cubicBezTo>
                  <a:pt x="6091000" y="1863580"/>
                  <a:pt x="6091000" y="1863580"/>
                  <a:pt x="6089719" y="1863580"/>
                </a:cubicBezTo>
                <a:cubicBezTo>
                  <a:pt x="6091000" y="1863580"/>
                  <a:pt x="6091000" y="1864718"/>
                  <a:pt x="6092493" y="1865856"/>
                </a:cubicBezTo>
                <a:cubicBezTo>
                  <a:pt x="6098683" y="1869128"/>
                  <a:pt x="6097189" y="1875246"/>
                  <a:pt x="6093348" y="1881363"/>
                </a:cubicBezTo>
                <a:cubicBezTo>
                  <a:pt x="6092067" y="1880367"/>
                  <a:pt x="6090360" y="1884067"/>
                  <a:pt x="6088225" y="1885347"/>
                </a:cubicBezTo>
                <a:cubicBezTo>
                  <a:pt x="6084597" y="1885489"/>
                  <a:pt x="6082463" y="1885631"/>
                  <a:pt x="6079902" y="1883355"/>
                </a:cubicBezTo>
                <a:lnTo>
                  <a:pt x="6077127" y="1879230"/>
                </a:lnTo>
                <a:lnTo>
                  <a:pt x="6074566" y="1881079"/>
                </a:lnTo>
                <a:cubicBezTo>
                  <a:pt x="6067523" y="1883924"/>
                  <a:pt x="6059413" y="1884493"/>
                  <a:pt x="6056426" y="1872401"/>
                </a:cubicBezTo>
                <a:cubicBezTo>
                  <a:pt x="6055359" y="1870124"/>
                  <a:pt x="6056212" y="1870693"/>
                  <a:pt x="6055999" y="1869128"/>
                </a:cubicBezTo>
                <a:cubicBezTo>
                  <a:pt x="6055785" y="1867421"/>
                  <a:pt x="6054505" y="1865144"/>
                  <a:pt x="6053651" y="1864576"/>
                </a:cubicBezTo>
                <a:cubicBezTo>
                  <a:pt x="6058987" y="1862157"/>
                  <a:pt x="6057493" y="1858315"/>
                  <a:pt x="6066243" y="1855044"/>
                </a:cubicBezTo>
                <a:cubicBezTo>
                  <a:pt x="6069018" y="1853763"/>
                  <a:pt x="6071365" y="1853336"/>
                  <a:pt x="6073499" y="1853336"/>
                </a:cubicBezTo>
                <a:lnTo>
                  <a:pt x="6074993" y="1853621"/>
                </a:lnTo>
                <a:lnTo>
                  <a:pt x="6074566" y="1853336"/>
                </a:lnTo>
                <a:cubicBezTo>
                  <a:pt x="6071578" y="1850349"/>
                  <a:pt x="6069444" y="1847361"/>
                  <a:pt x="6069871" y="1845654"/>
                </a:cubicBezTo>
                <a:close/>
                <a:moveTo>
                  <a:pt x="1487716" y="1845457"/>
                </a:moveTo>
                <a:cubicBezTo>
                  <a:pt x="1492466" y="1847935"/>
                  <a:pt x="1498041" y="1847625"/>
                  <a:pt x="1499384" y="1850103"/>
                </a:cubicBezTo>
                <a:cubicBezTo>
                  <a:pt x="1499797" y="1851033"/>
                  <a:pt x="1499797" y="1852272"/>
                  <a:pt x="1499074" y="1853976"/>
                </a:cubicBezTo>
                <a:lnTo>
                  <a:pt x="1498764" y="1853976"/>
                </a:lnTo>
                <a:lnTo>
                  <a:pt x="1499590" y="1854750"/>
                </a:lnTo>
                <a:cubicBezTo>
                  <a:pt x="1500416" y="1855060"/>
                  <a:pt x="1501242" y="1855370"/>
                  <a:pt x="1501139" y="1856919"/>
                </a:cubicBezTo>
                <a:cubicBezTo>
                  <a:pt x="1500210" y="1858468"/>
                  <a:pt x="1498351" y="1859707"/>
                  <a:pt x="1496183" y="1860636"/>
                </a:cubicBezTo>
                <a:lnTo>
                  <a:pt x="1488955" y="1862340"/>
                </a:lnTo>
                <a:lnTo>
                  <a:pt x="1488129" y="1864354"/>
                </a:lnTo>
                <a:cubicBezTo>
                  <a:pt x="1487406" y="1865128"/>
                  <a:pt x="1486477" y="1866058"/>
                  <a:pt x="1485341" y="1866832"/>
                </a:cubicBezTo>
                <a:cubicBezTo>
                  <a:pt x="1483586" y="1866058"/>
                  <a:pt x="1481933" y="1866213"/>
                  <a:pt x="1479352" y="1865593"/>
                </a:cubicBezTo>
                <a:lnTo>
                  <a:pt x="1481211" y="1860946"/>
                </a:lnTo>
                <a:lnTo>
                  <a:pt x="1477494" y="1857074"/>
                </a:lnTo>
                <a:cubicBezTo>
                  <a:pt x="1480591" y="1856764"/>
                  <a:pt x="1483689" y="1856609"/>
                  <a:pt x="1486890" y="1856145"/>
                </a:cubicBezTo>
                <a:lnTo>
                  <a:pt x="1495460" y="1853666"/>
                </a:lnTo>
                <a:lnTo>
                  <a:pt x="1491227" y="1852737"/>
                </a:lnTo>
                <a:cubicBezTo>
                  <a:pt x="1488232" y="1851653"/>
                  <a:pt x="1485857" y="1850103"/>
                  <a:pt x="1486374" y="1847780"/>
                </a:cubicBezTo>
                <a:cubicBezTo>
                  <a:pt x="1486580" y="1847006"/>
                  <a:pt x="1486993" y="1846231"/>
                  <a:pt x="1487716" y="1845457"/>
                </a:cubicBezTo>
                <a:close/>
                <a:moveTo>
                  <a:pt x="6227802" y="1845369"/>
                </a:moveTo>
                <a:cubicBezTo>
                  <a:pt x="6226095" y="1849495"/>
                  <a:pt x="6231003" y="1850491"/>
                  <a:pt x="6226948" y="1854190"/>
                </a:cubicBezTo>
                <a:cubicBezTo>
                  <a:pt x="6224600" y="1854759"/>
                  <a:pt x="6222253" y="1854332"/>
                  <a:pt x="6219265" y="1851487"/>
                </a:cubicBezTo>
                <a:cubicBezTo>
                  <a:pt x="6220332" y="1845085"/>
                  <a:pt x="6223960" y="1845227"/>
                  <a:pt x="6227802" y="1845369"/>
                </a:cubicBezTo>
                <a:close/>
                <a:moveTo>
                  <a:pt x="1649931" y="1844217"/>
                </a:moveTo>
                <a:cubicBezTo>
                  <a:pt x="1650758" y="1844217"/>
                  <a:pt x="1651583" y="1844992"/>
                  <a:pt x="1652409" y="1845147"/>
                </a:cubicBezTo>
                <a:cubicBezTo>
                  <a:pt x="1652409" y="1845147"/>
                  <a:pt x="1652513" y="1845767"/>
                  <a:pt x="1652513" y="1846386"/>
                </a:cubicBezTo>
                <a:cubicBezTo>
                  <a:pt x="1652616" y="1847161"/>
                  <a:pt x="1652513" y="1848090"/>
                  <a:pt x="1651997" y="1848400"/>
                </a:cubicBezTo>
                <a:cubicBezTo>
                  <a:pt x="1650964" y="1850103"/>
                  <a:pt x="1648589" y="1847470"/>
                  <a:pt x="1647763" y="1847470"/>
                </a:cubicBezTo>
                <a:cubicBezTo>
                  <a:pt x="1647350" y="1847006"/>
                  <a:pt x="1647040" y="1846541"/>
                  <a:pt x="1646834" y="1846231"/>
                </a:cubicBezTo>
                <a:cubicBezTo>
                  <a:pt x="1646731" y="1845767"/>
                  <a:pt x="1646731" y="1845302"/>
                  <a:pt x="1647247" y="1844992"/>
                </a:cubicBezTo>
                <a:cubicBezTo>
                  <a:pt x="1648176" y="1844063"/>
                  <a:pt x="1648279" y="1843288"/>
                  <a:pt x="1649931" y="1844217"/>
                </a:cubicBezTo>
                <a:close/>
                <a:moveTo>
                  <a:pt x="855271" y="1843908"/>
                </a:moveTo>
                <a:cubicBezTo>
                  <a:pt x="855271" y="1843908"/>
                  <a:pt x="854032" y="1844217"/>
                  <a:pt x="852793" y="1844372"/>
                </a:cubicBezTo>
                <a:cubicBezTo>
                  <a:pt x="851658" y="1844682"/>
                  <a:pt x="851658" y="1844527"/>
                  <a:pt x="851967" y="1845767"/>
                </a:cubicBezTo>
                <a:cubicBezTo>
                  <a:pt x="850728" y="1845921"/>
                  <a:pt x="850728" y="1845921"/>
                  <a:pt x="849179" y="1844992"/>
                </a:cubicBezTo>
                <a:cubicBezTo>
                  <a:pt x="850419" y="1844837"/>
                  <a:pt x="854962" y="1842824"/>
                  <a:pt x="855271" y="1843908"/>
                </a:cubicBezTo>
                <a:close/>
                <a:moveTo>
                  <a:pt x="4811548" y="1842808"/>
                </a:moveTo>
                <a:cubicBezTo>
                  <a:pt x="4813042" y="1842382"/>
                  <a:pt x="4814749" y="1842667"/>
                  <a:pt x="4816030" y="1843235"/>
                </a:cubicBezTo>
                <a:cubicBezTo>
                  <a:pt x="4817310" y="1843235"/>
                  <a:pt x="4818377" y="1843947"/>
                  <a:pt x="4819018" y="1845085"/>
                </a:cubicBezTo>
                <a:cubicBezTo>
                  <a:pt x="4819658" y="1846223"/>
                  <a:pt x="4819872" y="1847788"/>
                  <a:pt x="4819658" y="1849068"/>
                </a:cubicBezTo>
                <a:lnTo>
                  <a:pt x="4819658" y="1849353"/>
                </a:lnTo>
                <a:lnTo>
                  <a:pt x="4831610" y="1855613"/>
                </a:lnTo>
                <a:lnTo>
                  <a:pt x="4844202" y="1866567"/>
                </a:lnTo>
                <a:lnTo>
                  <a:pt x="4845909" y="1863295"/>
                </a:lnTo>
                <a:cubicBezTo>
                  <a:pt x="4845909" y="1860592"/>
                  <a:pt x="4847189" y="1857462"/>
                  <a:pt x="4849323" y="1856040"/>
                </a:cubicBezTo>
                <a:cubicBezTo>
                  <a:pt x="4850817" y="1855613"/>
                  <a:pt x="4852098" y="1855755"/>
                  <a:pt x="4852952" y="1856040"/>
                </a:cubicBezTo>
                <a:cubicBezTo>
                  <a:pt x="4854019" y="1856466"/>
                  <a:pt x="4854659" y="1857178"/>
                  <a:pt x="4854873" y="1857889"/>
                </a:cubicBezTo>
                <a:cubicBezTo>
                  <a:pt x="4858073" y="1864291"/>
                  <a:pt x="4857433" y="1869128"/>
                  <a:pt x="4855940" y="1872685"/>
                </a:cubicBezTo>
                <a:lnTo>
                  <a:pt x="4854232" y="1876811"/>
                </a:lnTo>
                <a:lnTo>
                  <a:pt x="4858928" y="1884493"/>
                </a:lnTo>
                <a:cubicBezTo>
                  <a:pt x="4860848" y="1888477"/>
                  <a:pt x="4862129" y="1892745"/>
                  <a:pt x="4862769" y="1897297"/>
                </a:cubicBezTo>
                <a:cubicBezTo>
                  <a:pt x="4863409" y="1902277"/>
                  <a:pt x="4863196" y="1906545"/>
                  <a:pt x="4862342" y="1910244"/>
                </a:cubicBezTo>
                <a:lnTo>
                  <a:pt x="4860635" y="1914085"/>
                </a:lnTo>
                <a:lnTo>
                  <a:pt x="4860848" y="1917215"/>
                </a:lnTo>
                <a:lnTo>
                  <a:pt x="4861061" y="1918780"/>
                </a:lnTo>
                <a:lnTo>
                  <a:pt x="4862342" y="1916219"/>
                </a:lnTo>
                <a:cubicBezTo>
                  <a:pt x="4863196" y="1914654"/>
                  <a:pt x="4863196" y="1914654"/>
                  <a:pt x="4861702" y="1913943"/>
                </a:cubicBezTo>
                <a:cubicBezTo>
                  <a:pt x="4862556" y="1912378"/>
                  <a:pt x="4862556" y="1912378"/>
                  <a:pt x="4864903" y="1911524"/>
                </a:cubicBezTo>
                <a:cubicBezTo>
                  <a:pt x="4864263" y="1912805"/>
                  <a:pt x="4862982" y="1916931"/>
                  <a:pt x="4861915" y="1918638"/>
                </a:cubicBezTo>
                <a:lnTo>
                  <a:pt x="4861061" y="1919207"/>
                </a:lnTo>
                <a:lnTo>
                  <a:pt x="4861061" y="1920488"/>
                </a:lnTo>
                <a:cubicBezTo>
                  <a:pt x="4862556" y="1921199"/>
                  <a:pt x="4862556" y="1921199"/>
                  <a:pt x="4861275" y="1921626"/>
                </a:cubicBezTo>
                <a:lnTo>
                  <a:pt x="4861061" y="1922621"/>
                </a:lnTo>
                <a:lnTo>
                  <a:pt x="4861061" y="1925894"/>
                </a:lnTo>
                <a:cubicBezTo>
                  <a:pt x="4861061" y="1928881"/>
                  <a:pt x="4860635" y="1931726"/>
                  <a:pt x="4859994" y="1933007"/>
                </a:cubicBezTo>
                <a:lnTo>
                  <a:pt x="4859568" y="1925467"/>
                </a:lnTo>
                <a:lnTo>
                  <a:pt x="4858714" y="1929308"/>
                </a:lnTo>
                <a:cubicBezTo>
                  <a:pt x="4858714" y="1931158"/>
                  <a:pt x="4858928" y="1933007"/>
                  <a:pt x="4859568" y="1933291"/>
                </a:cubicBezTo>
                <a:cubicBezTo>
                  <a:pt x="4858501" y="1933719"/>
                  <a:pt x="4857647" y="1935284"/>
                  <a:pt x="4857647" y="1935284"/>
                </a:cubicBezTo>
                <a:cubicBezTo>
                  <a:pt x="4856153" y="1934572"/>
                  <a:pt x="4855940" y="1933433"/>
                  <a:pt x="4855513" y="1932295"/>
                </a:cubicBezTo>
                <a:cubicBezTo>
                  <a:pt x="4856366" y="1930873"/>
                  <a:pt x="4857433" y="1930446"/>
                  <a:pt x="4858287" y="1928881"/>
                </a:cubicBezTo>
                <a:cubicBezTo>
                  <a:pt x="4858073" y="1927743"/>
                  <a:pt x="4857433" y="1925467"/>
                  <a:pt x="4858287" y="1924044"/>
                </a:cubicBezTo>
                <a:lnTo>
                  <a:pt x="4859568" y="1922337"/>
                </a:lnTo>
                <a:lnTo>
                  <a:pt x="4860635" y="1914370"/>
                </a:lnTo>
                <a:lnTo>
                  <a:pt x="4858073" y="1920488"/>
                </a:lnTo>
                <a:cubicBezTo>
                  <a:pt x="4854445" y="1926889"/>
                  <a:pt x="4849323" y="1932865"/>
                  <a:pt x="4845909" y="1941259"/>
                </a:cubicBezTo>
                <a:cubicBezTo>
                  <a:pt x="4831396" y="1937275"/>
                  <a:pt x="4827768" y="1945100"/>
                  <a:pt x="4820939" y="1949226"/>
                </a:cubicBezTo>
                <a:cubicBezTo>
                  <a:pt x="4816457" y="1945526"/>
                  <a:pt x="4810908" y="1943393"/>
                  <a:pt x="4804932" y="1941543"/>
                </a:cubicBezTo>
                <a:lnTo>
                  <a:pt x="4802158" y="1940689"/>
                </a:lnTo>
                <a:lnTo>
                  <a:pt x="4801944" y="1944957"/>
                </a:lnTo>
                <a:cubicBezTo>
                  <a:pt x="4801091" y="1946238"/>
                  <a:pt x="4799383" y="1947518"/>
                  <a:pt x="4797890" y="1949368"/>
                </a:cubicBezTo>
                <a:cubicBezTo>
                  <a:pt x="4797249" y="1947661"/>
                  <a:pt x="4795755" y="1948230"/>
                  <a:pt x="4794261" y="1948656"/>
                </a:cubicBezTo>
                <a:cubicBezTo>
                  <a:pt x="4793407" y="1946238"/>
                  <a:pt x="4791700" y="1942539"/>
                  <a:pt x="4793407" y="1940120"/>
                </a:cubicBezTo>
                <a:lnTo>
                  <a:pt x="4795968" y="1938555"/>
                </a:lnTo>
                <a:lnTo>
                  <a:pt x="4787219" y="1935425"/>
                </a:lnTo>
                <a:cubicBezTo>
                  <a:pt x="4784231" y="1928312"/>
                  <a:pt x="4780816" y="1922053"/>
                  <a:pt x="4777188" y="1915792"/>
                </a:cubicBezTo>
                <a:lnTo>
                  <a:pt x="4776334" y="1913800"/>
                </a:lnTo>
                <a:lnTo>
                  <a:pt x="4774626" y="1916931"/>
                </a:lnTo>
                <a:cubicBezTo>
                  <a:pt x="4773346" y="1917927"/>
                  <a:pt x="4770572" y="1918638"/>
                  <a:pt x="4767797" y="1918922"/>
                </a:cubicBezTo>
                <a:cubicBezTo>
                  <a:pt x="4765022" y="1919207"/>
                  <a:pt x="4762248" y="1918922"/>
                  <a:pt x="4760541" y="1917500"/>
                </a:cubicBezTo>
                <a:cubicBezTo>
                  <a:pt x="4761608" y="1915365"/>
                  <a:pt x="4762889" y="1913231"/>
                  <a:pt x="4764169" y="1910955"/>
                </a:cubicBezTo>
                <a:cubicBezTo>
                  <a:pt x="4764169" y="1912236"/>
                  <a:pt x="4774626" y="1911098"/>
                  <a:pt x="4774626" y="1911098"/>
                </a:cubicBezTo>
                <a:lnTo>
                  <a:pt x="4776121" y="1913231"/>
                </a:lnTo>
                <a:lnTo>
                  <a:pt x="4767370" y="1896017"/>
                </a:lnTo>
                <a:cubicBezTo>
                  <a:pt x="4776334" y="1883924"/>
                  <a:pt x="4772279" y="1858743"/>
                  <a:pt x="4788285" y="1851914"/>
                </a:cubicBezTo>
                <a:lnTo>
                  <a:pt x="4792340" y="1852483"/>
                </a:lnTo>
                <a:lnTo>
                  <a:pt x="4792554" y="1852056"/>
                </a:lnTo>
                <a:cubicBezTo>
                  <a:pt x="4793834" y="1851203"/>
                  <a:pt x="4795115" y="1850633"/>
                  <a:pt x="4796395" y="1850776"/>
                </a:cubicBezTo>
                <a:lnTo>
                  <a:pt x="4798743" y="1852198"/>
                </a:lnTo>
                <a:lnTo>
                  <a:pt x="4805359" y="1850918"/>
                </a:lnTo>
                <a:lnTo>
                  <a:pt x="4806639" y="1851060"/>
                </a:lnTo>
                <a:lnTo>
                  <a:pt x="4808774" y="1850349"/>
                </a:lnTo>
                <a:lnTo>
                  <a:pt x="4808347" y="1845796"/>
                </a:lnTo>
                <a:cubicBezTo>
                  <a:pt x="4808987" y="1844231"/>
                  <a:pt x="4810054" y="1843235"/>
                  <a:pt x="4811548" y="1842808"/>
                </a:cubicBezTo>
                <a:close/>
                <a:moveTo>
                  <a:pt x="4750083" y="1842808"/>
                </a:moveTo>
                <a:lnTo>
                  <a:pt x="4751151" y="1843235"/>
                </a:lnTo>
                <a:lnTo>
                  <a:pt x="4751364" y="1842951"/>
                </a:lnTo>
                <a:cubicBezTo>
                  <a:pt x="4751577" y="1843520"/>
                  <a:pt x="4752004" y="1843804"/>
                  <a:pt x="4752218" y="1843662"/>
                </a:cubicBezTo>
                <a:lnTo>
                  <a:pt x="4752431" y="1842808"/>
                </a:lnTo>
                <a:close/>
                <a:moveTo>
                  <a:pt x="1589836" y="1842204"/>
                </a:moveTo>
                <a:cubicBezTo>
                  <a:pt x="1591798" y="1842359"/>
                  <a:pt x="1590972" y="1844527"/>
                  <a:pt x="1590559" y="1845457"/>
                </a:cubicBezTo>
                <a:cubicBezTo>
                  <a:pt x="1589423" y="1843288"/>
                  <a:pt x="1588287" y="1842824"/>
                  <a:pt x="1589113" y="1842513"/>
                </a:cubicBezTo>
                <a:cubicBezTo>
                  <a:pt x="1588700" y="1841894"/>
                  <a:pt x="1589423" y="1841429"/>
                  <a:pt x="1589836" y="1842204"/>
                </a:cubicBezTo>
                <a:close/>
                <a:moveTo>
                  <a:pt x="1330353" y="1841584"/>
                </a:moveTo>
                <a:cubicBezTo>
                  <a:pt x="1333244" y="1841894"/>
                  <a:pt x="1338304" y="1845302"/>
                  <a:pt x="1339646" y="1849794"/>
                </a:cubicBezTo>
                <a:lnTo>
                  <a:pt x="1339543" y="1852737"/>
                </a:lnTo>
                <a:lnTo>
                  <a:pt x="1340679" y="1850568"/>
                </a:lnTo>
                <a:cubicBezTo>
                  <a:pt x="1341815" y="1849949"/>
                  <a:pt x="1343364" y="1849639"/>
                  <a:pt x="1344706" y="1849484"/>
                </a:cubicBezTo>
                <a:cubicBezTo>
                  <a:pt x="1343983" y="1849794"/>
                  <a:pt x="1343983" y="1849794"/>
                  <a:pt x="1343983" y="1849794"/>
                </a:cubicBezTo>
                <a:cubicBezTo>
                  <a:pt x="1343570" y="1850879"/>
                  <a:pt x="1344293" y="1850568"/>
                  <a:pt x="1344706" y="1851343"/>
                </a:cubicBezTo>
                <a:cubicBezTo>
                  <a:pt x="1344706" y="1851343"/>
                  <a:pt x="1344293" y="1850723"/>
                  <a:pt x="1345532" y="1851188"/>
                </a:cubicBezTo>
                <a:cubicBezTo>
                  <a:pt x="1344706" y="1851498"/>
                  <a:pt x="1345119" y="1852272"/>
                  <a:pt x="1345532" y="1853047"/>
                </a:cubicBezTo>
                <a:cubicBezTo>
                  <a:pt x="1344706" y="1855215"/>
                  <a:pt x="1343054" y="1857694"/>
                  <a:pt x="1341092" y="1857538"/>
                </a:cubicBezTo>
                <a:cubicBezTo>
                  <a:pt x="1339956" y="1857074"/>
                  <a:pt x="1339337" y="1856299"/>
                  <a:pt x="1339130" y="1855525"/>
                </a:cubicBezTo>
                <a:lnTo>
                  <a:pt x="1339130" y="1854286"/>
                </a:lnTo>
                <a:lnTo>
                  <a:pt x="1334690" y="1852272"/>
                </a:lnTo>
                <a:cubicBezTo>
                  <a:pt x="1331076" y="1849484"/>
                  <a:pt x="1330870" y="1845457"/>
                  <a:pt x="1330353" y="1841584"/>
                </a:cubicBezTo>
                <a:close/>
                <a:moveTo>
                  <a:pt x="3509261" y="1841528"/>
                </a:moveTo>
                <a:cubicBezTo>
                  <a:pt x="3510541" y="1841386"/>
                  <a:pt x="3511395" y="1841528"/>
                  <a:pt x="3512035" y="1841955"/>
                </a:cubicBezTo>
                <a:cubicBezTo>
                  <a:pt x="3512889" y="1844516"/>
                  <a:pt x="3504565" y="1853478"/>
                  <a:pt x="3501791" y="1848072"/>
                </a:cubicBezTo>
                <a:cubicBezTo>
                  <a:pt x="3500724" y="1844231"/>
                  <a:pt x="3505846" y="1841813"/>
                  <a:pt x="3509261" y="1841528"/>
                </a:cubicBezTo>
                <a:close/>
                <a:moveTo>
                  <a:pt x="5213631" y="1841386"/>
                </a:moveTo>
                <a:cubicBezTo>
                  <a:pt x="5215978" y="1841101"/>
                  <a:pt x="5218966" y="1842808"/>
                  <a:pt x="5218540" y="1845939"/>
                </a:cubicBezTo>
                <a:cubicBezTo>
                  <a:pt x="5217046" y="1846365"/>
                  <a:pt x="5214911" y="1847646"/>
                  <a:pt x="5212350" y="1847219"/>
                </a:cubicBezTo>
                <a:cubicBezTo>
                  <a:pt x="5209576" y="1843520"/>
                  <a:pt x="5211283" y="1841528"/>
                  <a:pt x="5213631" y="1841386"/>
                </a:cubicBezTo>
                <a:close/>
                <a:moveTo>
                  <a:pt x="895232" y="1841274"/>
                </a:moveTo>
                <a:cubicBezTo>
                  <a:pt x="898226" y="1841429"/>
                  <a:pt x="902047" y="1846076"/>
                  <a:pt x="901014" y="1849329"/>
                </a:cubicBezTo>
                <a:cubicBezTo>
                  <a:pt x="900704" y="1850413"/>
                  <a:pt x="899878" y="1851343"/>
                  <a:pt x="898226" y="1851962"/>
                </a:cubicBezTo>
                <a:cubicBezTo>
                  <a:pt x="893373" y="1853202"/>
                  <a:pt x="891928" y="1849484"/>
                  <a:pt x="890998" y="1844992"/>
                </a:cubicBezTo>
                <a:cubicBezTo>
                  <a:pt x="892650" y="1843908"/>
                  <a:pt x="893580" y="1842359"/>
                  <a:pt x="895232" y="1841274"/>
                </a:cubicBezTo>
                <a:close/>
                <a:moveTo>
                  <a:pt x="992292" y="1840965"/>
                </a:moveTo>
                <a:cubicBezTo>
                  <a:pt x="995906" y="1839880"/>
                  <a:pt x="998798" y="1847006"/>
                  <a:pt x="997765" y="1848555"/>
                </a:cubicBezTo>
                <a:cubicBezTo>
                  <a:pt x="996423" y="1849019"/>
                  <a:pt x="991983" y="1845612"/>
                  <a:pt x="991363" y="1843133"/>
                </a:cubicBezTo>
                <a:cubicBezTo>
                  <a:pt x="991157" y="1842204"/>
                  <a:pt x="991363" y="1841429"/>
                  <a:pt x="992292" y="1840965"/>
                </a:cubicBezTo>
                <a:close/>
                <a:moveTo>
                  <a:pt x="5591384" y="1840675"/>
                </a:moveTo>
                <a:cubicBezTo>
                  <a:pt x="5594585" y="1841670"/>
                  <a:pt x="5596293" y="1841955"/>
                  <a:pt x="5598853" y="1841813"/>
                </a:cubicBezTo>
                <a:cubicBezTo>
                  <a:pt x="5599281" y="1844658"/>
                  <a:pt x="5598427" y="1845227"/>
                  <a:pt x="5596720" y="1844800"/>
                </a:cubicBezTo>
                <a:cubicBezTo>
                  <a:pt x="5596720" y="1844800"/>
                  <a:pt x="5595012" y="1844374"/>
                  <a:pt x="5593518" y="1843947"/>
                </a:cubicBezTo>
                <a:cubicBezTo>
                  <a:pt x="5591811" y="1843520"/>
                  <a:pt x="5590957" y="1844089"/>
                  <a:pt x="5590957" y="1844089"/>
                </a:cubicBezTo>
                <a:cubicBezTo>
                  <a:pt x="5589250" y="1843662"/>
                  <a:pt x="5588610" y="1842524"/>
                  <a:pt x="5588823" y="1840817"/>
                </a:cubicBezTo>
                <a:cubicBezTo>
                  <a:pt x="5588823" y="1840817"/>
                  <a:pt x="5591384" y="1840675"/>
                  <a:pt x="5591384" y="1840675"/>
                </a:cubicBezTo>
                <a:close/>
                <a:moveTo>
                  <a:pt x="1508367" y="1839725"/>
                </a:moveTo>
                <a:cubicBezTo>
                  <a:pt x="1508367" y="1839725"/>
                  <a:pt x="1508367" y="1840655"/>
                  <a:pt x="1506508" y="1842359"/>
                </a:cubicBezTo>
                <a:cubicBezTo>
                  <a:pt x="1506612" y="1841584"/>
                  <a:pt x="1505682" y="1841584"/>
                  <a:pt x="1505682" y="1841584"/>
                </a:cubicBezTo>
                <a:cubicBezTo>
                  <a:pt x="1505682" y="1841584"/>
                  <a:pt x="1505786" y="1841584"/>
                  <a:pt x="1505682" y="1842359"/>
                </a:cubicBezTo>
                <a:cubicBezTo>
                  <a:pt x="1505269" y="1842049"/>
                  <a:pt x="1505372" y="1841584"/>
                  <a:pt x="1505476" y="1841274"/>
                </a:cubicBezTo>
                <a:cubicBezTo>
                  <a:pt x="1505579" y="1840965"/>
                  <a:pt x="1505786" y="1840810"/>
                  <a:pt x="1505786" y="1840810"/>
                </a:cubicBezTo>
                <a:cubicBezTo>
                  <a:pt x="1506715" y="1839880"/>
                  <a:pt x="1507541" y="1838951"/>
                  <a:pt x="1508367" y="1839725"/>
                </a:cubicBezTo>
                <a:close/>
                <a:moveTo>
                  <a:pt x="3731218" y="1838683"/>
                </a:moveTo>
                <a:cubicBezTo>
                  <a:pt x="3732498" y="1839963"/>
                  <a:pt x="3732498" y="1839963"/>
                  <a:pt x="3731218" y="1839963"/>
                </a:cubicBezTo>
                <a:cubicBezTo>
                  <a:pt x="3732498" y="1842382"/>
                  <a:pt x="3732498" y="1843662"/>
                  <a:pt x="3732711" y="1844942"/>
                </a:cubicBezTo>
                <a:cubicBezTo>
                  <a:pt x="3731431" y="1846081"/>
                  <a:pt x="3729083" y="1845939"/>
                  <a:pt x="3726735" y="1844658"/>
                </a:cubicBezTo>
                <a:cubicBezTo>
                  <a:pt x="3727803" y="1843377"/>
                  <a:pt x="3726735" y="1840959"/>
                  <a:pt x="3727803" y="1839679"/>
                </a:cubicBezTo>
                <a:cubicBezTo>
                  <a:pt x="3727803" y="1839679"/>
                  <a:pt x="3731218" y="1838683"/>
                  <a:pt x="3731218" y="1838683"/>
                </a:cubicBezTo>
                <a:close/>
                <a:moveTo>
                  <a:pt x="5608458" y="1838540"/>
                </a:moveTo>
                <a:cubicBezTo>
                  <a:pt x="5612086" y="1839536"/>
                  <a:pt x="5616141" y="1841101"/>
                  <a:pt x="5618062" y="1843520"/>
                </a:cubicBezTo>
                <a:cubicBezTo>
                  <a:pt x="5618702" y="1844374"/>
                  <a:pt x="5618915" y="1845369"/>
                  <a:pt x="5618915" y="1846365"/>
                </a:cubicBezTo>
                <a:cubicBezTo>
                  <a:pt x="5619342" y="1849068"/>
                  <a:pt x="5616781" y="1849211"/>
                  <a:pt x="5613580" y="1848499"/>
                </a:cubicBezTo>
                <a:cubicBezTo>
                  <a:pt x="5606964" y="1848499"/>
                  <a:pt x="5603976" y="1845939"/>
                  <a:pt x="5604829" y="1841101"/>
                </a:cubicBezTo>
                <a:cubicBezTo>
                  <a:pt x="5605683" y="1840390"/>
                  <a:pt x="5609098" y="1839536"/>
                  <a:pt x="5608458" y="1838540"/>
                </a:cubicBezTo>
                <a:close/>
                <a:moveTo>
                  <a:pt x="863016" y="1838486"/>
                </a:moveTo>
                <a:cubicBezTo>
                  <a:pt x="863739" y="1838951"/>
                  <a:pt x="864978" y="1838642"/>
                  <a:pt x="864978" y="1838642"/>
                </a:cubicBezTo>
                <a:cubicBezTo>
                  <a:pt x="865287" y="1839880"/>
                  <a:pt x="864771" y="1840500"/>
                  <a:pt x="864358" y="1841274"/>
                </a:cubicBezTo>
                <a:cubicBezTo>
                  <a:pt x="863222" y="1841429"/>
                  <a:pt x="862499" y="1840965"/>
                  <a:pt x="861260" y="1841120"/>
                </a:cubicBezTo>
                <a:cubicBezTo>
                  <a:pt x="860847" y="1841739"/>
                  <a:pt x="859918" y="1843133"/>
                  <a:pt x="858782" y="1843288"/>
                </a:cubicBezTo>
                <a:cubicBezTo>
                  <a:pt x="857543" y="1843598"/>
                  <a:pt x="855685" y="1843288"/>
                  <a:pt x="855685" y="1843288"/>
                </a:cubicBezTo>
                <a:cubicBezTo>
                  <a:pt x="855478" y="1842669"/>
                  <a:pt x="855375" y="1842359"/>
                  <a:pt x="855478" y="1842359"/>
                </a:cubicBezTo>
                <a:cubicBezTo>
                  <a:pt x="855478" y="1842204"/>
                  <a:pt x="855788" y="1842359"/>
                  <a:pt x="856097" y="1842513"/>
                </a:cubicBezTo>
                <a:cubicBezTo>
                  <a:pt x="857750" y="1841739"/>
                  <a:pt x="857233" y="1842359"/>
                  <a:pt x="858472" y="1842204"/>
                </a:cubicBezTo>
                <a:cubicBezTo>
                  <a:pt x="859608" y="1842049"/>
                  <a:pt x="863325" y="1839570"/>
                  <a:pt x="863016" y="1838486"/>
                </a:cubicBezTo>
                <a:close/>
                <a:moveTo>
                  <a:pt x="6138379" y="1837687"/>
                </a:moveTo>
                <a:cubicBezTo>
                  <a:pt x="6145848" y="1842097"/>
                  <a:pt x="6148623" y="1861161"/>
                  <a:pt x="6145635" y="1864861"/>
                </a:cubicBezTo>
                <a:cubicBezTo>
                  <a:pt x="6141580" y="1861446"/>
                  <a:pt x="6142220" y="1856608"/>
                  <a:pt x="6137952" y="1852056"/>
                </a:cubicBezTo>
                <a:cubicBezTo>
                  <a:pt x="6139873" y="1848357"/>
                  <a:pt x="6135604" y="1842667"/>
                  <a:pt x="6138379" y="1837687"/>
                </a:cubicBezTo>
                <a:close/>
                <a:moveTo>
                  <a:pt x="1035350" y="1837092"/>
                </a:moveTo>
                <a:cubicBezTo>
                  <a:pt x="1042165" y="1838022"/>
                  <a:pt x="1049393" y="1852582"/>
                  <a:pt x="1041856" y="1858468"/>
                </a:cubicBezTo>
                <a:cubicBezTo>
                  <a:pt x="1039584" y="1853047"/>
                  <a:pt x="1038138" y="1847780"/>
                  <a:pt x="1032459" y="1841894"/>
                </a:cubicBezTo>
                <a:cubicBezTo>
                  <a:pt x="1034524" y="1840346"/>
                  <a:pt x="1032356" y="1838486"/>
                  <a:pt x="1035350" y="1837092"/>
                </a:cubicBezTo>
                <a:close/>
                <a:moveTo>
                  <a:pt x="3777103" y="1836549"/>
                </a:moveTo>
                <a:cubicBezTo>
                  <a:pt x="3777956" y="1839820"/>
                  <a:pt x="3778810" y="1843094"/>
                  <a:pt x="3775822" y="1843662"/>
                </a:cubicBezTo>
                <a:cubicBezTo>
                  <a:pt x="3774328" y="1841386"/>
                  <a:pt x="3772834" y="1841670"/>
                  <a:pt x="3772407" y="1837545"/>
                </a:cubicBezTo>
                <a:cubicBezTo>
                  <a:pt x="3773901" y="1837260"/>
                  <a:pt x="3775609" y="1836975"/>
                  <a:pt x="3777103" y="1836549"/>
                </a:cubicBezTo>
                <a:close/>
                <a:moveTo>
                  <a:pt x="1511258" y="1836163"/>
                </a:moveTo>
                <a:cubicBezTo>
                  <a:pt x="1512188" y="1834614"/>
                  <a:pt x="1513117" y="1834459"/>
                  <a:pt x="1514872" y="1836163"/>
                </a:cubicBezTo>
                <a:cubicBezTo>
                  <a:pt x="1513839" y="1837867"/>
                  <a:pt x="1510226" y="1840346"/>
                  <a:pt x="1508367" y="1839725"/>
                </a:cubicBezTo>
                <a:cubicBezTo>
                  <a:pt x="1509400" y="1838022"/>
                  <a:pt x="1510329" y="1837092"/>
                  <a:pt x="1511258" y="1836163"/>
                </a:cubicBezTo>
                <a:close/>
                <a:moveTo>
                  <a:pt x="1180735" y="1835853"/>
                </a:moveTo>
                <a:cubicBezTo>
                  <a:pt x="1185382" y="1839725"/>
                  <a:pt x="1190751" y="1839261"/>
                  <a:pt x="1195707" y="1838951"/>
                </a:cubicBezTo>
                <a:lnTo>
                  <a:pt x="1200767" y="1839106"/>
                </a:lnTo>
                <a:lnTo>
                  <a:pt x="1202316" y="1838951"/>
                </a:lnTo>
                <a:lnTo>
                  <a:pt x="1202419" y="1839106"/>
                </a:lnTo>
                <a:lnTo>
                  <a:pt x="1202729" y="1839106"/>
                </a:lnTo>
                <a:cubicBezTo>
                  <a:pt x="1204897" y="1839570"/>
                  <a:pt x="1206756" y="1840655"/>
                  <a:pt x="1208304" y="1842824"/>
                </a:cubicBezTo>
                <a:lnTo>
                  <a:pt x="1203038" y="1844217"/>
                </a:lnTo>
                <a:lnTo>
                  <a:pt x="1202626" y="1845767"/>
                </a:lnTo>
                <a:cubicBezTo>
                  <a:pt x="1201490" y="1847780"/>
                  <a:pt x="1199115" y="1849484"/>
                  <a:pt x="1196120" y="1849329"/>
                </a:cubicBezTo>
                <a:lnTo>
                  <a:pt x="1194881" y="1846076"/>
                </a:lnTo>
                <a:lnTo>
                  <a:pt x="1189202" y="1846231"/>
                </a:lnTo>
                <a:cubicBezTo>
                  <a:pt x="1186724" y="1845921"/>
                  <a:pt x="1184039" y="1845302"/>
                  <a:pt x="1181148" y="1844063"/>
                </a:cubicBezTo>
                <a:cubicBezTo>
                  <a:pt x="1180838" y="1842204"/>
                  <a:pt x="1178773" y="1839725"/>
                  <a:pt x="1179290" y="1837712"/>
                </a:cubicBezTo>
                <a:cubicBezTo>
                  <a:pt x="1179496" y="1837092"/>
                  <a:pt x="1179909" y="1836473"/>
                  <a:pt x="1180735" y="1835853"/>
                </a:cubicBezTo>
                <a:close/>
                <a:moveTo>
                  <a:pt x="1228233" y="1835698"/>
                </a:moveTo>
                <a:cubicBezTo>
                  <a:pt x="1228646" y="1835389"/>
                  <a:pt x="1229265" y="1835698"/>
                  <a:pt x="1230092" y="1836163"/>
                </a:cubicBezTo>
                <a:cubicBezTo>
                  <a:pt x="1232776" y="1837557"/>
                  <a:pt x="1236597" y="1841120"/>
                  <a:pt x="1237216" y="1841429"/>
                </a:cubicBezTo>
                <a:cubicBezTo>
                  <a:pt x="1237216" y="1841429"/>
                  <a:pt x="1237939" y="1841894"/>
                  <a:pt x="1238765" y="1842359"/>
                </a:cubicBezTo>
                <a:cubicBezTo>
                  <a:pt x="1239075" y="1843598"/>
                  <a:pt x="1238662" y="1844217"/>
                  <a:pt x="1239385" y="1844682"/>
                </a:cubicBezTo>
                <a:cubicBezTo>
                  <a:pt x="1237629" y="1844992"/>
                  <a:pt x="1236184" y="1844682"/>
                  <a:pt x="1235151" y="1843908"/>
                </a:cubicBezTo>
                <a:lnTo>
                  <a:pt x="1232157" y="1841120"/>
                </a:lnTo>
                <a:lnTo>
                  <a:pt x="1230711" y="1842049"/>
                </a:lnTo>
                <a:cubicBezTo>
                  <a:pt x="1229782" y="1842359"/>
                  <a:pt x="1228853" y="1842359"/>
                  <a:pt x="1227510" y="1842049"/>
                </a:cubicBezTo>
                <a:cubicBezTo>
                  <a:pt x="1228543" y="1841120"/>
                  <a:pt x="1229472" y="1840500"/>
                  <a:pt x="1230504" y="1840035"/>
                </a:cubicBezTo>
                <a:lnTo>
                  <a:pt x="1231331" y="1840035"/>
                </a:lnTo>
                <a:lnTo>
                  <a:pt x="1230608" y="1839261"/>
                </a:lnTo>
                <a:cubicBezTo>
                  <a:pt x="1229988" y="1838951"/>
                  <a:pt x="1229369" y="1838796"/>
                  <a:pt x="1228439" y="1838642"/>
                </a:cubicBezTo>
                <a:cubicBezTo>
                  <a:pt x="1228439" y="1838642"/>
                  <a:pt x="1228439" y="1838642"/>
                  <a:pt x="1227717" y="1836318"/>
                </a:cubicBezTo>
                <a:close/>
                <a:moveTo>
                  <a:pt x="3573074" y="1835127"/>
                </a:moveTo>
                <a:cubicBezTo>
                  <a:pt x="3582464" y="1841244"/>
                  <a:pt x="3592921" y="1845227"/>
                  <a:pt x="3597190" y="1861019"/>
                </a:cubicBezTo>
                <a:cubicBezTo>
                  <a:pt x="3594415" y="1863864"/>
                  <a:pt x="3593562" y="1870266"/>
                  <a:pt x="3588013" y="1868844"/>
                </a:cubicBezTo>
                <a:lnTo>
                  <a:pt x="3587159" y="1865287"/>
                </a:lnTo>
                <a:lnTo>
                  <a:pt x="3581824" y="1871405"/>
                </a:lnTo>
                <a:cubicBezTo>
                  <a:pt x="3578836" y="1868275"/>
                  <a:pt x="3578836" y="1865856"/>
                  <a:pt x="3579903" y="1863580"/>
                </a:cubicBezTo>
                <a:lnTo>
                  <a:pt x="3584171" y="1857462"/>
                </a:lnTo>
                <a:lnTo>
                  <a:pt x="3579049" y="1851203"/>
                </a:lnTo>
                <a:cubicBezTo>
                  <a:pt x="3574567" y="1846508"/>
                  <a:pt x="3570726" y="1842097"/>
                  <a:pt x="3573074" y="1835127"/>
                </a:cubicBezTo>
                <a:close/>
                <a:moveTo>
                  <a:pt x="5986211" y="1833988"/>
                </a:moveTo>
                <a:cubicBezTo>
                  <a:pt x="5991546" y="1840959"/>
                  <a:pt x="5982369" y="1846081"/>
                  <a:pt x="5978314" y="1844089"/>
                </a:cubicBezTo>
                <a:cubicBezTo>
                  <a:pt x="5975967" y="1838683"/>
                  <a:pt x="5981515" y="1833135"/>
                  <a:pt x="5986211" y="1833988"/>
                </a:cubicBezTo>
                <a:close/>
                <a:moveTo>
                  <a:pt x="5770443" y="1833988"/>
                </a:moveTo>
                <a:cubicBezTo>
                  <a:pt x="5776846" y="1836975"/>
                  <a:pt x="5783035" y="1838825"/>
                  <a:pt x="5789224" y="1840675"/>
                </a:cubicBezTo>
                <a:lnTo>
                  <a:pt x="5799682" y="1844231"/>
                </a:lnTo>
                <a:lnTo>
                  <a:pt x="5802029" y="1839679"/>
                </a:lnTo>
                <a:lnTo>
                  <a:pt x="5804590" y="1845796"/>
                </a:lnTo>
                <a:lnTo>
                  <a:pt x="5808219" y="1847219"/>
                </a:lnTo>
                <a:cubicBezTo>
                  <a:pt x="5809072" y="1863154"/>
                  <a:pt x="5827426" y="1878092"/>
                  <a:pt x="5819956" y="1895733"/>
                </a:cubicBezTo>
                <a:cubicBezTo>
                  <a:pt x="5806938" y="1904411"/>
                  <a:pt x="5807792" y="1912947"/>
                  <a:pt x="5801816" y="1920914"/>
                </a:cubicBezTo>
                <a:cubicBezTo>
                  <a:pt x="5783248" y="1930162"/>
                  <a:pt x="5755717" y="1936279"/>
                  <a:pt x="5738643" y="1921483"/>
                </a:cubicBezTo>
                <a:cubicBezTo>
                  <a:pt x="5724558" y="1909248"/>
                  <a:pt x="5729467" y="1893741"/>
                  <a:pt x="5724344" y="1876242"/>
                </a:cubicBezTo>
                <a:cubicBezTo>
                  <a:pt x="5737150" y="1867706"/>
                  <a:pt x="5735229" y="1859027"/>
                  <a:pt x="5737790" y="1850633"/>
                </a:cubicBezTo>
                <a:cubicBezTo>
                  <a:pt x="5748247" y="1849211"/>
                  <a:pt x="5759132" y="1839110"/>
                  <a:pt x="5770443" y="1833988"/>
                </a:cubicBezTo>
                <a:close/>
                <a:moveTo>
                  <a:pt x="4751791" y="1833561"/>
                </a:moveTo>
                <a:cubicBezTo>
                  <a:pt x="4758193" y="1833703"/>
                  <a:pt x="4764169" y="1835695"/>
                  <a:pt x="4765236" y="1842524"/>
                </a:cubicBezTo>
                <a:cubicBezTo>
                  <a:pt x="4763529" y="1842524"/>
                  <a:pt x="4760541" y="1842667"/>
                  <a:pt x="4757339" y="1842808"/>
                </a:cubicBezTo>
                <a:lnTo>
                  <a:pt x="4753711" y="1842808"/>
                </a:lnTo>
                <a:lnTo>
                  <a:pt x="4757126" y="1843520"/>
                </a:lnTo>
                <a:cubicBezTo>
                  <a:pt x="4757980" y="1843947"/>
                  <a:pt x="4758407" y="1844800"/>
                  <a:pt x="4757766" y="1846365"/>
                </a:cubicBezTo>
                <a:cubicBezTo>
                  <a:pt x="4757553" y="1849068"/>
                  <a:pt x="4754992" y="1849068"/>
                  <a:pt x="4753711" y="1852198"/>
                </a:cubicBezTo>
                <a:cubicBezTo>
                  <a:pt x="4752858" y="1855186"/>
                  <a:pt x="4755419" y="1857320"/>
                  <a:pt x="4757553" y="1860023"/>
                </a:cubicBezTo>
                <a:lnTo>
                  <a:pt x="4757980" y="1860734"/>
                </a:lnTo>
                <a:cubicBezTo>
                  <a:pt x="4758834" y="1861446"/>
                  <a:pt x="4759474" y="1862726"/>
                  <a:pt x="4759687" y="1863864"/>
                </a:cubicBezTo>
                <a:lnTo>
                  <a:pt x="4759687" y="1864007"/>
                </a:lnTo>
                <a:lnTo>
                  <a:pt x="4760327" y="1865002"/>
                </a:lnTo>
                <a:cubicBezTo>
                  <a:pt x="4760967" y="1866994"/>
                  <a:pt x="4760967" y="1869413"/>
                  <a:pt x="4760114" y="1872401"/>
                </a:cubicBezTo>
                <a:cubicBezTo>
                  <a:pt x="4757126" y="1871262"/>
                  <a:pt x="4753498" y="1878233"/>
                  <a:pt x="4749016" y="1876668"/>
                </a:cubicBezTo>
                <a:lnTo>
                  <a:pt x="4745815" y="1875530"/>
                </a:lnTo>
                <a:lnTo>
                  <a:pt x="4746668" y="1878092"/>
                </a:lnTo>
                <a:cubicBezTo>
                  <a:pt x="4737492" y="1880652"/>
                  <a:pt x="4726180" y="1880226"/>
                  <a:pt x="4723619" y="1880083"/>
                </a:cubicBezTo>
                <a:cubicBezTo>
                  <a:pt x="4722339" y="1879941"/>
                  <a:pt x="4721485" y="1879656"/>
                  <a:pt x="4721271" y="1879087"/>
                </a:cubicBezTo>
                <a:cubicBezTo>
                  <a:pt x="4720845" y="1878375"/>
                  <a:pt x="4720845" y="1877380"/>
                  <a:pt x="4721058" y="1876100"/>
                </a:cubicBezTo>
                <a:cubicBezTo>
                  <a:pt x="4724473" y="1870836"/>
                  <a:pt x="4730022" y="1872401"/>
                  <a:pt x="4735784" y="1871262"/>
                </a:cubicBezTo>
                <a:cubicBezTo>
                  <a:pt x="4736211" y="1872401"/>
                  <a:pt x="4737705" y="1872970"/>
                  <a:pt x="4738772" y="1872543"/>
                </a:cubicBezTo>
                <a:lnTo>
                  <a:pt x="4740266" y="1873254"/>
                </a:lnTo>
                <a:lnTo>
                  <a:pt x="4737278" y="1870409"/>
                </a:lnTo>
                <a:cubicBezTo>
                  <a:pt x="4735571" y="1867706"/>
                  <a:pt x="4735997" y="1864291"/>
                  <a:pt x="4736211" y="1859739"/>
                </a:cubicBezTo>
                <a:cubicBezTo>
                  <a:pt x="4736638" y="1860877"/>
                  <a:pt x="4737278" y="1859170"/>
                  <a:pt x="4737278" y="1859170"/>
                </a:cubicBezTo>
                <a:cubicBezTo>
                  <a:pt x="4738559" y="1855897"/>
                  <a:pt x="4731516" y="1858031"/>
                  <a:pt x="4732369" y="1853621"/>
                </a:cubicBezTo>
                <a:cubicBezTo>
                  <a:pt x="4734504" y="1846792"/>
                  <a:pt x="4743040" y="1844800"/>
                  <a:pt x="4747522" y="1844089"/>
                </a:cubicBezTo>
                <a:lnTo>
                  <a:pt x="4750083" y="1843662"/>
                </a:lnTo>
                <a:lnTo>
                  <a:pt x="4749656" y="1842808"/>
                </a:lnTo>
                <a:lnTo>
                  <a:pt x="4747095" y="1842808"/>
                </a:lnTo>
                <a:cubicBezTo>
                  <a:pt x="4740266" y="1842239"/>
                  <a:pt x="4734290" y="1840532"/>
                  <a:pt x="4733864" y="1835411"/>
                </a:cubicBezTo>
                <a:cubicBezTo>
                  <a:pt x="4737918" y="1835127"/>
                  <a:pt x="4745175" y="1833419"/>
                  <a:pt x="4751791" y="1833561"/>
                </a:cubicBezTo>
                <a:close/>
                <a:moveTo>
                  <a:pt x="4795328" y="1832992"/>
                </a:moveTo>
                <a:cubicBezTo>
                  <a:pt x="4794902" y="1836975"/>
                  <a:pt x="4790206" y="1843947"/>
                  <a:pt x="4784017" y="1845796"/>
                </a:cubicBezTo>
                <a:lnTo>
                  <a:pt x="4779962" y="1845654"/>
                </a:lnTo>
                <a:lnTo>
                  <a:pt x="4782950" y="1847219"/>
                </a:lnTo>
                <a:cubicBezTo>
                  <a:pt x="4783804" y="1848784"/>
                  <a:pt x="4784231" y="1850918"/>
                  <a:pt x="4784444" y="1852767"/>
                </a:cubicBezTo>
                <a:cubicBezTo>
                  <a:pt x="4784017" y="1851771"/>
                  <a:pt x="4784017" y="1851771"/>
                  <a:pt x="4784017" y="1851771"/>
                </a:cubicBezTo>
                <a:cubicBezTo>
                  <a:pt x="4782523" y="1851203"/>
                  <a:pt x="4782950" y="1852198"/>
                  <a:pt x="4781883" y="1852767"/>
                </a:cubicBezTo>
                <a:cubicBezTo>
                  <a:pt x="4781883" y="1852767"/>
                  <a:pt x="4782736" y="1852198"/>
                  <a:pt x="4782096" y="1853906"/>
                </a:cubicBezTo>
                <a:cubicBezTo>
                  <a:pt x="4781669" y="1852767"/>
                  <a:pt x="4780602" y="1853336"/>
                  <a:pt x="4779535" y="1853906"/>
                </a:cubicBezTo>
                <a:cubicBezTo>
                  <a:pt x="4776548" y="1852767"/>
                  <a:pt x="4773133" y="1850491"/>
                  <a:pt x="4773346" y="1847788"/>
                </a:cubicBezTo>
                <a:cubicBezTo>
                  <a:pt x="4773986" y="1846223"/>
                  <a:pt x="4775053" y="1845369"/>
                  <a:pt x="4776121" y="1845085"/>
                </a:cubicBezTo>
                <a:lnTo>
                  <a:pt x="4777828" y="1845085"/>
                </a:lnTo>
                <a:lnTo>
                  <a:pt x="4780602" y="1838967"/>
                </a:lnTo>
                <a:cubicBezTo>
                  <a:pt x="4784444" y="1833988"/>
                  <a:pt x="4789993" y="1833703"/>
                  <a:pt x="4795328" y="1832992"/>
                </a:cubicBezTo>
                <a:close/>
                <a:moveTo>
                  <a:pt x="6182557" y="1832850"/>
                </a:moveTo>
                <a:cubicBezTo>
                  <a:pt x="6184051" y="1832565"/>
                  <a:pt x="6185331" y="1832565"/>
                  <a:pt x="6187252" y="1833135"/>
                </a:cubicBezTo>
                <a:cubicBezTo>
                  <a:pt x="6193442" y="1844374"/>
                  <a:pt x="6182130" y="1852198"/>
                  <a:pt x="6175087" y="1847504"/>
                </a:cubicBezTo>
                <a:cubicBezTo>
                  <a:pt x="6172740" y="1845939"/>
                  <a:pt x="6170819" y="1842951"/>
                  <a:pt x="6170392" y="1838256"/>
                </a:cubicBezTo>
                <a:cubicBezTo>
                  <a:pt x="6176154" y="1836975"/>
                  <a:pt x="6178715" y="1833561"/>
                  <a:pt x="6182557" y="1832850"/>
                </a:cubicBezTo>
                <a:close/>
                <a:moveTo>
                  <a:pt x="3839421" y="1832565"/>
                </a:moveTo>
                <a:cubicBezTo>
                  <a:pt x="3842409" y="1833703"/>
                  <a:pt x="3844116" y="1836549"/>
                  <a:pt x="3844756" y="1839536"/>
                </a:cubicBezTo>
                <a:lnTo>
                  <a:pt x="3845184" y="1842524"/>
                </a:lnTo>
                <a:lnTo>
                  <a:pt x="3847104" y="1843235"/>
                </a:lnTo>
                <a:cubicBezTo>
                  <a:pt x="3849879" y="1847361"/>
                  <a:pt x="3849879" y="1852056"/>
                  <a:pt x="3847958" y="1855044"/>
                </a:cubicBezTo>
                <a:lnTo>
                  <a:pt x="3844756" y="1857178"/>
                </a:lnTo>
                <a:lnTo>
                  <a:pt x="3844116" y="1858458"/>
                </a:lnTo>
                <a:cubicBezTo>
                  <a:pt x="3843476" y="1859454"/>
                  <a:pt x="3842623" y="1859739"/>
                  <a:pt x="3841342" y="1859027"/>
                </a:cubicBezTo>
                <a:cubicBezTo>
                  <a:pt x="3840061" y="1858885"/>
                  <a:pt x="3839421" y="1858173"/>
                  <a:pt x="3838994" y="1857178"/>
                </a:cubicBezTo>
                <a:lnTo>
                  <a:pt x="3838781" y="1857035"/>
                </a:lnTo>
                <a:lnTo>
                  <a:pt x="3836433" y="1856608"/>
                </a:lnTo>
                <a:lnTo>
                  <a:pt x="3835793" y="1854759"/>
                </a:lnTo>
                <a:lnTo>
                  <a:pt x="3832378" y="1855328"/>
                </a:lnTo>
                <a:cubicBezTo>
                  <a:pt x="3831098" y="1856182"/>
                  <a:pt x="3829604" y="1857320"/>
                  <a:pt x="3828110" y="1858458"/>
                </a:cubicBezTo>
                <a:lnTo>
                  <a:pt x="3827257" y="1858885"/>
                </a:lnTo>
                <a:lnTo>
                  <a:pt x="3825976" y="1863437"/>
                </a:lnTo>
                <a:cubicBezTo>
                  <a:pt x="3824268" y="1863154"/>
                  <a:pt x="3822774" y="1862868"/>
                  <a:pt x="3821067" y="1862726"/>
                </a:cubicBezTo>
                <a:lnTo>
                  <a:pt x="3820854" y="1861019"/>
                </a:lnTo>
                <a:lnTo>
                  <a:pt x="3815945" y="1860877"/>
                </a:lnTo>
                <a:cubicBezTo>
                  <a:pt x="3817439" y="1857747"/>
                  <a:pt x="3811463" y="1853906"/>
                  <a:pt x="3814024" y="1849211"/>
                </a:cubicBezTo>
                <a:cubicBezTo>
                  <a:pt x="3820000" y="1834700"/>
                  <a:pt x="3824055" y="1835695"/>
                  <a:pt x="3832805" y="1836122"/>
                </a:cubicBezTo>
                <a:cubicBezTo>
                  <a:pt x="3831738" y="1836549"/>
                  <a:pt x="3833232" y="1837260"/>
                  <a:pt x="3833232" y="1837260"/>
                </a:cubicBezTo>
                <a:cubicBezTo>
                  <a:pt x="3836007" y="1838683"/>
                  <a:pt x="3835366" y="1831570"/>
                  <a:pt x="3839421" y="1832565"/>
                </a:cubicBezTo>
                <a:close/>
                <a:moveTo>
                  <a:pt x="5570896" y="1831570"/>
                </a:moveTo>
                <a:cubicBezTo>
                  <a:pt x="5568548" y="1845227"/>
                  <a:pt x="5579432" y="1852341"/>
                  <a:pt x="5583061" y="1862157"/>
                </a:cubicBezTo>
                <a:lnTo>
                  <a:pt x="5583487" y="1865287"/>
                </a:lnTo>
                <a:lnTo>
                  <a:pt x="5588823" y="1867136"/>
                </a:lnTo>
                <a:cubicBezTo>
                  <a:pt x="5589677" y="1867706"/>
                  <a:pt x="5590103" y="1868559"/>
                  <a:pt x="5590103" y="1869555"/>
                </a:cubicBezTo>
                <a:cubicBezTo>
                  <a:pt x="5589890" y="1871262"/>
                  <a:pt x="5588396" y="1870836"/>
                  <a:pt x="5587329" y="1871405"/>
                </a:cubicBezTo>
                <a:lnTo>
                  <a:pt x="5583701" y="1869839"/>
                </a:lnTo>
                <a:lnTo>
                  <a:pt x="5583274" y="1873112"/>
                </a:lnTo>
                <a:cubicBezTo>
                  <a:pt x="5577939" y="1894310"/>
                  <a:pt x="5554249" y="1897867"/>
                  <a:pt x="5541444" y="1888477"/>
                </a:cubicBezTo>
                <a:lnTo>
                  <a:pt x="5535682" y="1881648"/>
                </a:lnTo>
                <a:lnTo>
                  <a:pt x="5533761" y="1883497"/>
                </a:lnTo>
                <a:cubicBezTo>
                  <a:pt x="5531413" y="1884636"/>
                  <a:pt x="5529065" y="1885062"/>
                  <a:pt x="5527999" y="1884493"/>
                </a:cubicBezTo>
                <a:cubicBezTo>
                  <a:pt x="5525224" y="1882217"/>
                  <a:pt x="5523516" y="1877522"/>
                  <a:pt x="5526504" y="1873823"/>
                </a:cubicBezTo>
                <a:cubicBezTo>
                  <a:pt x="5527358" y="1871973"/>
                  <a:pt x="5528852" y="1870978"/>
                  <a:pt x="5530559" y="1869982"/>
                </a:cubicBezTo>
                <a:lnTo>
                  <a:pt x="5534614" y="1866852"/>
                </a:lnTo>
                <a:lnTo>
                  <a:pt x="5536748" y="1858743"/>
                </a:lnTo>
                <a:cubicBezTo>
                  <a:pt x="5543578" y="1846365"/>
                  <a:pt x="5557664" y="1843377"/>
                  <a:pt x="5570896" y="1831570"/>
                </a:cubicBezTo>
                <a:close/>
                <a:moveTo>
                  <a:pt x="1190441" y="1831361"/>
                </a:moveTo>
                <a:cubicBezTo>
                  <a:pt x="1193229" y="1829813"/>
                  <a:pt x="1196017" y="1830122"/>
                  <a:pt x="1197463" y="1832756"/>
                </a:cubicBezTo>
                <a:cubicBezTo>
                  <a:pt x="1197360" y="1834614"/>
                  <a:pt x="1195810" y="1835698"/>
                  <a:pt x="1194158" y="1836937"/>
                </a:cubicBezTo>
                <a:cubicBezTo>
                  <a:pt x="1192713" y="1837712"/>
                  <a:pt x="1191680" y="1837712"/>
                  <a:pt x="1190958" y="1837247"/>
                </a:cubicBezTo>
                <a:cubicBezTo>
                  <a:pt x="1190235" y="1836782"/>
                  <a:pt x="1189822" y="1835853"/>
                  <a:pt x="1189512" y="1834769"/>
                </a:cubicBezTo>
                <a:cubicBezTo>
                  <a:pt x="1188789" y="1832601"/>
                  <a:pt x="1190441" y="1831361"/>
                  <a:pt x="1190441" y="1831361"/>
                </a:cubicBezTo>
                <a:close/>
                <a:moveTo>
                  <a:pt x="1238042" y="1831206"/>
                </a:moveTo>
                <a:cubicBezTo>
                  <a:pt x="1239178" y="1832601"/>
                  <a:pt x="1240314" y="1833840"/>
                  <a:pt x="1239591" y="1835389"/>
                </a:cubicBezTo>
                <a:cubicBezTo>
                  <a:pt x="1239385" y="1836008"/>
                  <a:pt x="1238971" y="1836627"/>
                  <a:pt x="1238249" y="1837247"/>
                </a:cubicBezTo>
                <a:cubicBezTo>
                  <a:pt x="1238249" y="1837247"/>
                  <a:pt x="1238249" y="1837092"/>
                  <a:pt x="1237320" y="1837092"/>
                </a:cubicBezTo>
                <a:cubicBezTo>
                  <a:pt x="1235667" y="1837092"/>
                  <a:pt x="1234841" y="1837092"/>
                  <a:pt x="1233912" y="1837092"/>
                </a:cubicBezTo>
                <a:cubicBezTo>
                  <a:pt x="1233602" y="1836627"/>
                  <a:pt x="1233086" y="1835853"/>
                  <a:pt x="1232673" y="1834924"/>
                </a:cubicBezTo>
                <a:cubicBezTo>
                  <a:pt x="1232363" y="1834149"/>
                  <a:pt x="1232260" y="1833220"/>
                  <a:pt x="1232673" y="1832756"/>
                </a:cubicBezTo>
                <a:cubicBezTo>
                  <a:pt x="1234635" y="1831206"/>
                  <a:pt x="1237320" y="1830432"/>
                  <a:pt x="1238042" y="1831206"/>
                </a:cubicBezTo>
                <a:close/>
                <a:moveTo>
                  <a:pt x="1644252" y="1830897"/>
                </a:moveTo>
                <a:cubicBezTo>
                  <a:pt x="1654475" y="1837557"/>
                  <a:pt x="1642497" y="1840500"/>
                  <a:pt x="1637747" y="1843908"/>
                </a:cubicBezTo>
                <a:cubicBezTo>
                  <a:pt x="1634340" y="1841584"/>
                  <a:pt x="1633617" y="1840655"/>
                  <a:pt x="1632068" y="1837092"/>
                </a:cubicBezTo>
                <a:cubicBezTo>
                  <a:pt x="1633617" y="1834924"/>
                  <a:pt x="1635579" y="1833685"/>
                  <a:pt x="1637644" y="1832756"/>
                </a:cubicBezTo>
                <a:cubicBezTo>
                  <a:pt x="1639709" y="1831826"/>
                  <a:pt x="1641980" y="1831361"/>
                  <a:pt x="1644252" y="1830897"/>
                </a:cubicBezTo>
                <a:close/>
                <a:moveTo>
                  <a:pt x="1272324" y="1830897"/>
                </a:moveTo>
                <a:cubicBezTo>
                  <a:pt x="1273459" y="1832446"/>
                  <a:pt x="1276144" y="1832601"/>
                  <a:pt x="1276763" y="1834924"/>
                </a:cubicBezTo>
                <a:lnTo>
                  <a:pt x="1276763" y="1835389"/>
                </a:lnTo>
                <a:lnTo>
                  <a:pt x="1277280" y="1835543"/>
                </a:lnTo>
                <a:lnTo>
                  <a:pt x="1276763" y="1835853"/>
                </a:lnTo>
                <a:lnTo>
                  <a:pt x="1276247" y="1837557"/>
                </a:lnTo>
                <a:cubicBezTo>
                  <a:pt x="1276454" y="1840500"/>
                  <a:pt x="1272839" y="1841739"/>
                  <a:pt x="1272839" y="1841739"/>
                </a:cubicBezTo>
                <a:cubicBezTo>
                  <a:pt x="1272839" y="1841739"/>
                  <a:pt x="1272839" y="1841739"/>
                  <a:pt x="1273666" y="1842049"/>
                </a:cubicBezTo>
                <a:cubicBezTo>
                  <a:pt x="1272117" y="1841429"/>
                  <a:pt x="1270155" y="1841429"/>
                  <a:pt x="1268606" y="1840810"/>
                </a:cubicBezTo>
                <a:lnTo>
                  <a:pt x="1268090" y="1838951"/>
                </a:lnTo>
                <a:lnTo>
                  <a:pt x="1265405" y="1839261"/>
                </a:lnTo>
                <a:cubicBezTo>
                  <a:pt x="1261068" y="1838951"/>
                  <a:pt x="1256732" y="1837557"/>
                  <a:pt x="1254047" y="1836163"/>
                </a:cubicBezTo>
                <a:cubicBezTo>
                  <a:pt x="1255493" y="1834614"/>
                  <a:pt x="1257455" y="1833685"/>
                  <a:pt x="1259520" y="1832910"/>
                </a:cubicBezTo>
                <a:cubicBezTo>
                  <a:pt x="1262617" y="1831981"/>
                  <a:pt x="1266128" y="1831826"/>
                  <a:pt x="1269329" y="1832291"/>
                </a:cubicBezTo>
                <a:lnTo>
                  <a:pt x="1269639" y="1832291"/>
                </a:lnTo>
                <a:close/>
                <a:moveTo>
                  <a:pt x="3795457" y="1830858"/>
                </a:moveTo>
                <a:cubicBezTo>
                  <a:pt x="3796311" y="1839536"/>
                  <a:pt x="3796097" y="1847504"/>
                  <a:pt x="3801006" y="1858885"/>
                </a:cubicBezTo>
                <a:cubicBezTo>
                  <a:pt x="3797804" y="1859596"/>
                  <a:pt x="3799725" y="1863580"/>
                  <a:pt x="3795670" y="1863580"/>
                </a:cubicBezTo>
                <a:cubicBezTo>
                  <a:pt x="3787347" y="1858173"/>
                  <a:pt x="3783932" y="1834130"/>
                  <a:pt x="3795457" y="1830858"/>
                </a:cubicBezTo>
                <a:close/>
                <a:moveTo>
                  <a:pt x="5596293" y="1830289"/>
                </a:moveTo>
                <a:cubicBezTo>
                  <a:pt x="5597360" y="1829720"/>
                  <a:pt x="5598640" y="1831712"/>
                  <a:pt x="5598640" y="1831712"/>
                </a:cubicBezTo>
                <a:cubicBezTo>
                  <a:pt x="5599494" y="1831143"/>
                  <a:pt x="5600561" y="1830431"/>
                  <a:pt x="5602055" y="1830716"/>
                </a:cubicBezTo>
                <a:cubicBezTo>
                  <a:pt x="5601841" y="1832423"/>
                  <a:pt x="5602909" y="1831854"/>
                  <a:pt x="5603549" y="1832850"/>
                </a:cubicBezTo>
                <a:cubicBezTo>
                  <a:pt x="5601841" y="1832423"/>
                  <a:pt x="5599067" y="1834273"/>
                  <a:pt x="5596293" y="1834557"/>
                </a:cubicBezTo>
                <a:cubicBezTo>
                  <a:pt x="5595653" y="1833561"/>
                  <a:pt x="5594158" y="1833277"/>
                  <a:pt x="5593518" y="1832281"/>
                </a:cubicBezTo>
                <a:cubicBezTo>
                  <a:pt x="5594372" y="1831570"/>
                  <a:pt x="5595653" y="1829293"/>
                  <a:pt x="5596293" y="1830289"/>
                </a:cubicBezTo>
                <a:close/>
                <a:moveTo>
                  <a:pt x="1158019" y="1829967"/>
                </a:moveTo>
                <a:cubicBezTo>
                  <a:pt x="1159258" y="1829813"/>
                  <a:pt x="1160806" y="1830742"/>
                  <a:pt x="1161633" y="1831206"/>
                </a:cubicBezTo>
                <a:cubicBezTo>
                  <a:pt x="1161116" y="1831981"/>
                  <a:pt x="1161942" y="1832446"/>
                  <a:pt x="1161530" y="1833220"/>
                </a:cubicBezTo>
                <a:cubicBezTo>
                  <a:pt x="1161323" y="1835079"/>
                  <a:pt x="1161323" y="1835079"/>
                  <a:pt x="1160084" y="1835389"/>
                </a:cubicBezTo>
                <a:cubicBezTo>
                  <a:pt x="1158948" y="1835543"/>
                  <a:pt x="1156986" y="1833375"/>
                  <a:pt x="1155747" y="1833530"/>
                </a:cubicBezTo>
                <a:cubicBezTo>
                  <a:pt x="1155747" y="1833530"/>
                  <a:pt x="1155747" y="1833530"/>
                  <a:pt x="1155850" y="1831516"/>
                </a:cubicBezTo>
                <a:cubicBezTo>
                  <a:pt x="1156367" y="1830897"/>
                  <a:pt x="1156780" y="1830122"/>
                  <a:pt x="1158019" y="1829967"/>
                </a:cubicBezTo>
                <a:close/>
                <a:moveTo>
                  <a:pt x="924350" y="1829658"/>
                </a:moveTo>
                <a:cubicBezTo>
                  <a:pt x="925486" y="1829502"/>
                  <a:pt x="925486" y="1829502"/>
                  <a:pt x="926208" y="1829967"/>
                </a:cubicBezTo>
                <a:cubicBezTo>
                  <a:pt x="926518" y="1831206"/>
                  <a:pt x="926105" y="1831826"/>
                  <a:pt x="926415" y="1832910"/>
                </a:cubicBezTo>
                <a:cubicBezTo>
                  <a:pt x="928790" y="1832601"/>
                  <a:pt x="928067" y="1832136"/>
                  <a:pt x="928377" y="1833220"/>
                </a:cubicBezTo>
                <a:cubicBezTo>
                  <a:pt x="928377" y="1833220"/>
                  <a:pt x="928377" y="1833220"/>
                  <a:pt x="928687" y="1834459"/>
                </a:cubicBezTo>
                <a:cubicBezTo>
                  <a:pt x="928687" y="1834459"/>
                  <a:pt x="929409" y="1834924"/>
                  <a:pt x="926622" y="1835853"/>
                </a:cubicBezTo>
                <a:cubicBezTo>
                  <a:pt x="926312" y="1834769"/>
                  <a:pt x="925383" y="1831361"/>
                  <a:pt x="925383" y="1831361"/>
                </a:cubicBezTo>
                <a:cubicBezTo>
                  <a:pt x="924660" y="1830897"/>
                  <a:pt x="924660" y="1830742"/>
                  <a:pt x="924350" y="1829658"/>
                </a:cubicBezTo>
                <a:close/>
                <a:moveTo>
                  <a:pt x="5114177" y="1828582"/>
                </a:moveTo>
                <a:cubicBezTo>
                  <a:pt x="5117165" y="1828724"/>
                  <a:pt x="5120367" y="1829436"/>
                  <a:pt x="5123355" y="1830147"/>
                </a:cubicBezTo>
                <a:cubicBezTo>
                  <a:pt x="5132531" y="1844089"/>
                  <a:pt x="5115884" y="1841101"/>
                  <a:pt x="5107988" y="1842667"/>
                </a:cubicBezTo>
                <a:cubicBezTo>
                  <a:pt x="5105000" y="1837972"/>
                  <a:pt x="5104573" y="1836406"/>
                  <a:pt x="5104573" y="1831143"/>
                </a:cubicBezTo>
                <a:cubicBezTo>
                  <a:pt x="5107775" y="1829151"/>
                  <a:pt x="5110976" y="1828582"/>
                  <a:pt x="5114177" y="1828582"/>
                </a:cubicBezTo>
                <a:close/>
                <a:moveTo>
                  <a:pt x="921872" y="1828263"/>
                </a:moveTo>
                <a:cubicBezTo>
                  <a:pt x="922182" y="1829502"/>
                  <a:pt x="922492" y="1832446"/>
                  <a:pt x="919703" y="1833530"/>
                </a:cubicBezTo>
                <a:cubicBezTo>
                  <a:pt x="916812" y="1834459"/>
                  <a:pt x="916296" y="1836937"/>
                  <a:pt x="913508" y="1838022"/>
                </a:cubicBezTo>
                <a:cubicBezTo>
                  <a:pt x="913508" y="1838022"/>
                  <a:pt x="913508" y="1838022"/>
                  <a:pt x="913198" y="1836782"/>
                </a:cubicBezTo>
                <a:cubicBezTo>
                  <a:pt x="916812" y="1834459"/>
                  <a:pt x="917432" y="1830122"/>
                  <a:pt x="921872" y="1828263"/>
                </a:cubicBezTo>
                <a:close/>
                <a:moveTo>
                  <a:pt x="818925" y="1827799"/>
                </a:moveTo>
                <a:cubicBezTo>
                  <a:pt x="821610" y="1829193"/>
                  <a:pt x="822643" y="1831516"/>
                  <a:pt x="821094" y="1834304"/>
                </a:cubicBezTo>
                <a:cubicBezTo>
                  <a:pt x="819441" y="1835389"/>
                  <a:pt x="817583" y="1834769"/>
                  <a:pt x="815828" y="1834304"/>
                </a:cubicBezTo>
                <a:cubicBezTo>
                  <a:pt x="814485" y="1833530"/>
                  <a:pt x="814072" y="1832756"/>
                  <a:pt x="814072" y="1831981"/>
                </a:cubicBezTo>
                <a:cubicBezTo>
                  <a:pt x="814176" y="1831052"/>
                  <a:pt x="814795" y="1830122"/>
                  <a:pt x="815621" y="1829193"/>
                </a:cubicBezTo>
                <a:cubicBezTo>
                  <a:pt x="817170" y="1827334"/>
                  <a:pt x="818925" y="1827799"/>
                  <a:pt x="818925" y="1827799"/>
                </a:cubicBezTo>
                <a:close/>
                <a:moveTo>
                  <a:pt x="3696003" y="1827728"/>
                </a:moveTo>
                <a:cubicBezTo>
                  <a:pt x="3706034" y="1842382"/>
                  <a:pt x="3724175" y="1839394"/>
                  <a:pt x="3732498" y="1857035"/>
                </a:cubicBezTo>
                <a:cubicBezTo>
                  <a:pt x="3729723" y="1858315"/>
                  <a:pt x="3725882" y="1858031"/>
                  <a:pt x="3721400" y="1856751"/>
                </a:cubicBezTo>
                <a:lnTo>
                  <a:pt x="3716918" y="1854332"/>
                </a:lnTo>
                <a:lnTo>
                  <a:pt x="3716918" y="1854901"/>
                </a:lnTo>
                <a:cubicBezTo>
                  <a:pt x="3715638" y="1856466"/>
                  <a:pt x="3714357" y="1856893"/>
                  <a:pt x="3713076" y="1856608"/>
                </a:cubicBezTo>
                <a:cubicBezTo>
                  <a:pt x="3711583" y="1856325"/>
                  <a:pt x="3710302" y="1855328"/>
                  <a:pt x="3708381" y="1853906"/>
                </a:cubicBezTo>
                <a:cubicBezTo>
                  <a:pt x="3706674" y="1852483"/>
                  <a:pt x="3706247" y="1850918"/>
                  <a:pt x="3705820" y="1849353"/>
                </a:cubicBezTo>
                <a:lnTo>
                  <a:pt x="3704540" y="1846223"/>
                </a:lnTo>
                <a:lnTo>
                  <a:pt x="3697924" y="1839394"/>
                </a:lnTo>
                <a:cubicBezTo>
                  <a:pt x="3695576" y="1835553"/>
                  <a:pt x="3694723" y="1831570"/>
                  <a:pt x="3696003" y="1827728"/>
                </a:cubicBezTo>
                <a:close/>
                <a:moveTo>
                  <a:pt x="1217081" y="1827644"/>
                </a:moveTo>
                <a:cubicBezTo>
                  <a:pt x="1217288" y="1829502"/>
                  <a:pt x="1217391" y="1831361"/>
                  <a:pt x="1217598" y="1833065"/>
                </a:cubicBezTo>
                <a:cubicBezTo>
                  <a:pt x="1217081" y="1832446"/>
                  <a:pt x="1211299" y="1837402"/>
                  <a:pt x="1211299" y="1837402"/>
                </a:cubicBezTo>
                <a:cubicBezTo>
                  <a:pt x="1208924" y="1836627"/>
                  <a:pt x="1208924" y="1836627"/>
                  <a:pt x="1209028" y="1833685"/>
                </a:cubicBezTo>
                <a:cubicBezTo>
                  <a:pt x="1209337" y="1832601"/>
                  <a:pt x="1210576" y="1831052"/>
                  <a:pt x="1212125" y="1829813"/>
                </a:cubicBezTo>
                <a:cubicBezTo>
                  <a:pt x="1213674" y="1828573"/>
                  <a:pt x="1215532" y="1827489"/>
                  <a:pt x="1217081" y="1827644"/>
                </a:cubicBezTo>
                <a:close/>
                <a:moveTo>
                  <a:pt x="1742656" y="1826095"/>
                </a:moveTo>
                <a:cubicBezTo>
                  <a:pt x="1742965" y="1826869"/>
                  <a:pt x="1742656" y="1826095"/>
                  <a:pt x="1742346" y="1827799"/>
                </a:cubicBezTo>
                <a:cubicBezTo>
                  <a:pt x="1741726" y="1827489"/>
                  <a:pt x="1741623" y="1827334"/>
                  <a:pt x="1741830" y="1827024"/>
                </a:cubicBezTo>
                <a:cubicBezTo>
                  <a:pt x="1741933" y="1826869"/>
                  <a:pt x="1742346" y="1826559"/>
                  <a:pt x="1742656" y="1826095"/>
                </a:cubicBezTo>
                <a:close/>
                <a:moveTo>
                  <a:pt x="5187594" y="1826021"/>
                </a:moveTo>
                <a:cubicBezTo>
                  <a:pt x="5190155" y="1826591"/>
                  <a:pt x="5192289" y="1825879"/>
                  <a:pt x="5194850" y="1826448"/>
                </a:cubicBezTo>
                <a:cubicBezTo>
                  <a:pt x="5196344" y="1831001"/>
                  <a:pt x="5201893" y="1833277"/>
                  <a:pt x="5197838" y="1839252"/>
                </a:cubicBezTo>
                <a:cubicBezTo>
                  <a:pt x="5191222" y="1841101"/>
                  <a:pt x="5183965" y="1833277"/>
                  <a:pt x="5187594" y="1826021"/>
                </a:cubicBezTo>
                <a:close/>
                <a:moveTo>
                  <a:pt x="679220" y="1825785"/>
                </a:moveTo>
                <a:cubicBezTo>
                  <a:pt x="680355" y="1825475"/>
                  <a:pt x="681594" y="1825785"/>
                  <a:pt x="682833" y="1827179"/>
                </a:cubicBezTo>
                <a:cubicBezTo>
                  <a:pt x="683763" y="1828108"/>
                  <a:pt x="684589" y="1829038"/>
                  <a:pt x="683763" y="1828883"/>
                </a:cubicBezTo>
                <a:cubicBezTo>
                  <a:pt x="683660" y="1829658"/>
                  <a:pt x="682833" y="1829658"/>
                  <a:pt x="682008" y="1830432"/>
                </a:cubicBezTo>
                <a:cubicBezTo>
                  <a:pt x="680252" y="1831052"/>
                  <a:pt x="677671" y="1830742"/>
                  <a:pt x="676845" y="1829813"/>
                </a:cubicBezTo>
                <a:cubicBezTo>
                  <a:pt x="676019" y="1828883"/>
                  <a:pt x="676019" y="1828108"/>
                  <a:pt x="676019" y="1828108"/>
                </a:cubicBezTo>
                <a:cubicBezTo>
                  <a:pt x="676948" y="1826869"/>
                  <a:pt x="677981" y="1825940"/>
                  <a:pt x="679220" y="1825785"/>
                </a:cubicBezTo>
                <a:close/>
                <a:moveTo>
                  <a:pt x="1511671" y="1825475"/>
                </a:moveTo>
                <a:cubicBezTo>
                  <a:pt x="1512394" y="1825475"/>
                  <a:pt x="1513220" y="1825630"/>
                  <a:pt x="1513736" y="1825940"/>
                </a:cubicBezTo>
                <a:cubicBezTo>
                  <a:pt x="1515182" y="1826095"/>
                  <a:pt x="1516111" y="1826869"/>
                  <a:pt x="1516834" y="1828108"/>
                </a:cubicBezTo>
                <a:cubicBezTo>
                  <a:pt x="1517454" y="1829348"/>
                  <a:pt x="1517763" y="1830897"/>
                  <a:pt x="1517763" y="1832136"/>
                </a:cubicBezTo>
                <a:cubicBezTo>
                  <a:pt x="1517454" y="1831361"/>
                  <a:pt x="1517557" y="1831361"/>
                  <a:pt x="1517557" y="1831361"/>
                </a:cubicBezTo>
                <a:cubicBezTo>
                  <a:pt x="1516421" y="1830742"/>
                  <a:pt x="1516628" y="1831516"/>
                  <a:pt x="1515802" y="1831826"/>
                </a:cubicBezTo>
                <a:cubicBezTo>
                  <a:pt x="1515802" y="1831826"/>
                  <a:pt x="1516731" y="1831516"/>
                  <a:pt x="1516111" y="1832601"/>
                </a:cubicBezTo>
                <a:cubicBezTo>
                  <a:pt x="1515905" y="1831671"/>
                  <a:pt x="1515079" y="1831981"/>
                  <a:pt x="1514253" y="1832136"/>
                </a:cubicBezTo>
                <a:cubicBezTo>
                  <a:pt x="1511981" y="1830897"/>
                  <a:pt x="1509400" y="1828883"/>
                  <a:pt x="1509606" y="1827024"/>
                </a:cubicBezTo>
                <a:cubicBezTo>
                  <a:pt x="1510123" y="1826095"/>
                  <a:pt x="1510845" y="1825630"/>
                  <a:pt x="1511671" y="1825475"/>
                </a:cubicBezTo>
                <a:close/>
                <a:moveTo>
                  <a:pt x="5728186" y="1825452"/>
                </a:moveTo>
                <a:cubicBezTo>
                  <a:pt x="5724985" y="1837260"/>
                  <a:pt x="5724131" y="1849353"/>
                  <a:pt x="5710899" y="1860307"/>
                </a:cubicBezTo>
                <a:cubicBezTo>
                  <a:pt x="5707698" y="1858743"/>
                  <a:pt x="5701722" y="1860592"/>
                  <a:pt x="5701509" y="1854617"/>
                </a:cubicBezTo>
                <a:cubicBezTo>
                  <a:pt x="5716234" y="1848641"/>
                  <a:pt x="5714101" y="1826733"/>
                  <a:pt x="5728186" y="1825452"/>
                </a:cubicBezTo>
                <a:close/>
                <a:moveTo>
                  <a:pt x="5703216" y="1825452"/>
                </a:moveTo>
                <a:cubicBezTo>
                  <a:pt x="5704497" y="1825310"/>
                  <a:pt x="5705990" y="1825452"/>
                  <a:pt x="5707058" y="1826021"/>
                </a:cubicBezTo>
                <a:cubicBezTo>
                  <a:pt x="5708551" y="1827159"/>
                  <a:pt x="5708551" y="1827159"/>
                  <a:pt x="5709832" y="1828297"/>
                </a:cubicBezTo>
                <a:cubicBezTo>
                  <a:pt x="5710045" y="1830574"/>
                  <a:pt x="5711539" y="1832992"/>
                  <a:pt x="5710686" y="1835411"/>
                </a:cubicBezTo>
                <a:cubicBezTo>
                  <a:pt x="5708765" y="1837830"/>
                  <a:pt x="5703003" y="1836975"/>
                  <a:pt x="5700442" y="1835980"/>
                </a:cubicBezTo>
                <a:cubicBezTo>
                  <a:pt x="5697880" y="1833703"/>
                  <a:pt x="5698521" y="1830147"/>
                  <a:pt x="5700442" y="1827586"/>
                </a:cubicBezTo>
                <a:cubicBezTo>
                  <a:pt x="5700868" y="1826448"/>
                  <a:pt x="5701935" y="1825736"/>
                  <a:pt x="5703216" y="1825452"/>
                </a:cubicBezTo>
                <a:close/>
                <a:moveTo>
                  <a:pt x="5950356" y="1824456"/>
                </a:moveTo>
                <a:cubicBezTo>
                  <a:pt x="5951423" y="1824172"/>
                  <a:pt x="5952277" y="1824314"/>
                  <a:pt x="5953130" y="1824883"/>
                </a:cubicBezTo>
                <a:cubicBezTo>
                  <a:pt x="5954411" y="1826164"/>
                  <a:pt x="5953344" y="1827301"/>
                  <a:pt x="5953344" y="1828440"/>
                </a:cubicBezTo>
                <a:cubicBezTo>
                  <a:pt x="5952277" y="1830716"/>
                  <a:pt x="5944594" y="1833846"/>
                  <a:pt x="5943527" y="1832565"/>
                </a:cubicBezTo>
                <a:cubicBezTo>
                  <a:pt x="5945020" y="1830005"/>
                  <a:pt x="5947795" y="1825594"/>
                  <a:pt x="5950356" y="1824456"/>
                </a:cubicBezTo>
                <a:close/>
                <a:moveTo>
                  <a:pt x="1006955" y="1824081"/>
                </a:moveTo>
                <a:cubicBezTo>
                  <a:pt x="1007574" y="1826559"/>
                  <a:pt x="1007368" y="1828418"/>
                  <a:pt x="1005303" y="1829967"/>
                </a:cubicBezTo>
                <a:cubicBezTo>
                  <a:pt x="1005199" y="1828418"/>
                  <a:pt x="1005096" y="1827334"/>
                  <a:pt x="1005199" y="1826559"/>
                </a:cubicBezTo>
                <a:cubicBezTo>
                  <a:pt x="1005406" y="1825630"/>
                  <a:pt x="1005923" y="1824856"/>
                  <a:pt x="1006955" y="1824081"/>
                </a:cubicBezTo>
                <a:close/>
                <a:moveTo>
                  <a:pt x="936844" y="1823462"/>
                </a:moveTo>
                <a:cubicBezTo>
                  <a:pt x="939219" y="1822997"/>
                  <a:pt x="942007" y="1821913"/>
                  <a:pt x="943039" y="1823616"/>
                </a:cubicBezTo>
                <a:cubicBezTo>
                  <a:pt x="945414" y="1829813"/>
                  <a:pt x="934572" y="1833530"/>
                  <a:pt x="932610" y="1835079"/>
                </a:cubicBezTo>
                <a:cubicBezTo>
                  <a:pt x="932610" y="1835079"/>
                  <a:pt x="932094" y="1835698"/>
                  <a:pt x="930958" y="1835853"/>
                </a:cubicBezTo>
                <a:cubicBezTo>
                  <a:pt x="929306" y="1836782"/>
                  <a:pt x="929926" y="1834304"/>
                  <a:pt x="928687" y="1834459"/>
                </a:cubicBezTo>
                <a:cubicBezTo>
                  <a:pt x="933643" y="1829967"/>
                  <a:pt x="935192" y="1824236"/>
                  <a:pt x="935192" y="1824236"/>
                </a:cubicBezTo>
                <a:cubicBezTo>
                  <a:pt x="936844" y="1823462"/>
                  <a:pt x="937567" y="1823926"/>
                  <a:pt x="936844" y="1823462"/>
                </a:cubicBezTo>
                <a:close/>
                <a:moveTo>
                  <a:pt x="1177534" y="1823307"/>
                </a:moveTo>
                <a:cubicBezTo>
                  <a:pt x="1178463" y="1825630"/>
                  <a:pt x="1179806" y="1828728"/>
                  <a:pt x="1179702" y="1830587"/>
                </a:cubicBezTo>
                <a:cubicBezTo>
                  <a:pt x="1178257" y="1829193"/>
                  <a:pt x="1176192" y="1826404"/>
                  <a:pt x="1177121" y="1824391"/>
                </a:cubicBezTo>
                <a:cubicBezTo>
                  <a:pt x="1177121" y="1824391"/>
                  <a:pt x="1177121" y="1824391"/>
                  <a:pt x="1177534" y="1823307"/>
                </a:cubicBezTo>
                <a:close/>
                <a:moveTo>
                  <a:pt x="785677" y="1822997"/>
                </a:moveTo>
                <a:cubicBezTo>
                  <a:pt x="791253" y="1818969"/>
                  <a:pt x="794041" y="1825475"/>
                  <a:pt x="792079" y="1828418"/>
                </a:cubicBezTo>
                <a:cubicBezTo>
                  <a:pt x="788981" y="1829813"/>
                  <a:pt x="786296" y="1827954"/>
                  <a:pt x="785573" y="1825475"/>
                </a:cubicBezTo>
                <a:cubicBezTo>
                  <a:pt x="785367" y="1824701"/>
                  <a:pt x="785367" y="1823771"/>
                  <a:pt x="785677" y="1822997"/>
                </a:cubicBezTo>
                <a:close/>
                <a:moveTo>
                  <a:pt x="5839591" y="1822180"/>
                </a:moveTo>
                <a:cubicBezTo>
                  <a:pt x="5843006" y="1822891"/>
                  <a:pt x="5846207" y="1825879"/>
                  <a:pt x="5847915" y="1829862"/>
                </a:cubicBezTo>
                <a:cubicBezTo>
                  <a:pt x="5842793" y="1833277"/>
                  <a:pt x="5838310" y="1832281"/>
                  <a:pt x="5832762" y="1828724"/>
                </a:cubicBezTo>
                <a:cubicBezTo>
                  <a:pt x="5832975" y="1826448"/>
                  <a:pt x="5836817" y="1823887"/>
                  <a:pt x="5839591" y="1822180"/>
                </a:cubicBezTo>
                <a:close/>
                <a:moveTo>
                  <a:pt x="1682457" y="1821913"/>
                </a:moveTo>
                <a:cubicBezTo>
                  <a:pt x="1684832" y="1822068"/>
                  <a:pt x="1686794" y="1822687"/>
                  <a:pt x="1688239" y="1824081"/>
                </a:cubicBezTo>
                <a:cubicBezTo>
                  <a:pt x="1689582" y="1825475"/>
                  <a:pt x="1690305" y="1827334"/>
                  <a:pt x="1690201" y="1829967"/>
                </a:cubicBezTo>
                <a:cubicBezTo>
                  <a:pt x="1687310" y="1833375"/>
                  <a:pt x="1682147" y="1831361"/>
                  <a:pt x="1679256" y="1830587"/>
                </a:cubicBezTo>
                <a:cubicBezTo>
                  <a:pt x="1679772" y="1827024"/>
                  <a:pt x="1680392" y="1823462"/>
                  <a:pt x="1682457" y="1821913"/>
                </a:cubicBezTo>
                <a:close/>
                <a:moveTo>
                  <a:pt x="1057963" y="1821448"/>
                </a:moveTo>
                <a:cubicBezTo>
                  <a:pt x="1058273" y="1822532"/>
                  <a:pt x="1058170" y="1824546"/>
                  <a:pt x="1057447" y="1826559"/>
                </a:cubicBezTo>
                <a:lnTo>
                  <a:pt x="1054246" y="1830432"/>
                </a:lnTo>
                <a:lnTo>
                  <a:pt x="1061061" y="1831361"/>
                </a:lnTo>
                <a:cubicBezTo>
                  <a:pt x="1063849" y="1832446"/>
                  <a:pt x="1066121" y="1833995"/>
                  <a:pt x="1067979" y="1835853"/>
                </a:cubicBezTo>
                <a:cubicBezTo>
                  <a:pt x="1074175" y="1842359"/>
                  <a:pt x="1075517" y="1853202"/>
                  <a:pt x="1070251" y="1862495"/>
                </a:cubicBezTo>
                <a:cubicBezTo>
                  <a:pt x="1069012" y="1862340"/>
                  <a:pt x="1067876" y="1862340"/>
                  <a:pt x="1067670" y="1863580"/>
                </a:cubicBezTo>
                <a:cubicBezTo>
                  <a:pt x="1055692" y="1863580"/>
                  <a:pt x="1046812" y="1851653"/>
                  <a:pt x="1047638" y="1840500"/>
                </a:cubicBezTo>
                <a:cubicBezTo>
                  <a:pt x="1047741" y="1838642"/>
                  <a:pt x="1048154" y="1836937"/>
                  <a:pt x="1048877" y="1835079"/>
                </a:cubicBezTo>
                <a:lnTo>
                  <a:pt x="1051562" y="1830432"/>
                </a:lnTo>
                <a:lnTo>
                  <a:pt x="1050529" y="1829813"/>
                </a:lnTo>
                <a:cubicBezTo>
                  <a:pt x="1048567" y="1827954"/>
                  <a:pt x="1049187" y="1825166"/>
                  <a:pt x="1051665" y="1821758"/>
                </a:cubicBezTo>
                <a:cubicBezTo>
                  <a:pt x="1053627" y="1821913"/>
                  <a:pt x="1055279" y="1821448"/>
                  <a:pt x="1057963" y="1821448"/>
                </a:cubicBezTo>
                <a:close/>
                <a:moveTo>
                  <a:pt x="5269120" y="1820899"/>
                </a:moveTo>
                <a:cubicBezTo>
                  <a:pt x="5270828" y="1821184"/>
                  <a:pt x="5272535" y="1821753"/>
                  <a:pt x="5274029" y="1822607"/>
                </a:cubicBezTo>
                <a:lnTo>
                  <a:pt x="5274242" y="1822749"/>
                </a:lnTo>
                <a:lnTo>
                  <a:pt x="5275096" y="1820899"/>
                </a:lnTo>
                <a:cubicBezTo>
                  <a:pt x="5276590" y="1821469"/>
                  <a:pt x="5278084" y="1822180"/>
                  <a:pt x="5278937" y="1823034"/>
                </a:cubicBezTo>
                <a:cubicBezTo>
                  <a:pt x="5280004" y="1824029"/>
                  <a:pt x="5280218" y="1825025"/>
                  <a:pt x="5279364" y="1826591"/>
                </a:cubicBezTo>
                <a:lnTo>
                  <a:pt x="5278724" y="1827444"/>
                </a:lnTo>
                <a:lnTo>
                  <a:pt x="5280004" y="1830005"/>
                </a:lnTo>
                <a:cubicBezTo>
                  <a:pt x="5281285" y="1832423"/>
                  <a:pt x="5282566" y="1835695"/>
                  <a:pt x="5282139" y="1839110"/>
                </a:cubicBezTo>
                <a:cubicBezTo>
                  <a:pt x="5281925" y="1841386"/>
                  <a:pt x="5281072" y="1843804"/>
                  <a:pt x="5278937" y="1846223"/>
                </a:cubicBezTo>
                <a:cubicBezTo>
                  <a:pt x="5273816" y="1851487"/>
                  <a:pt x="5266559" y="1855044"/>
                  <a:pt x="5258022" y="1845085"/>
                </a:cubicBezTo>
                <a:cubicBezTo>
                  <a:pt x="5255888" y="1843520"/>
                  <a:pt x="5256955" y="1843804"/>
                  <a:pt x="5255888" y="1842382"/>
                </a:cubicBezTo>
                <a:lnTo>
                  <a:pt x="5255461" y="1842097"/>
                </a:lnTo>
                <a:lnTo>
                  <a:pt x="5254821" y="1843804"/>
                </a:lnTo>
                <a:cubicBezTo>
                  <a:pt x="5254394" y="1844231"/>
                  <a:pt x="5253754" y="1844231"/>
                  <a:pt x="5253114" y="1844089"/>
                </a:cubicBezTo>
                <a:cubicBezTo>
                  <a:pt x="5253114" y="1844089"/>
                  <a:pt x="5251406" y="1843662"/>
                  <a:pt x="5249912" y="1843235"/>
                </a:cubicBezTo>
                <a:cubicBezTo>
                  <a:pt x="5248205" y="1842808"/>
                  <a:pt x="5247351" y="1843520"/>
                  <a:pt x="5247351" y="1843520"/>
                </a:cubicBezTo>
                <a:cubicBezTo>
                  <a:pt x="5245644" y="1843094"/>
                  <a:pt x="5245217" y="1842097"/>
                  <a:pt x="5245644" y="1840390"/>
                </a:cubicBezTo>
                <a:cubicBezTo>
                  <a:pt x="5245644" y="1840390"/>
                  <a:pt x="5248205" y="1840105"/>
                  <a:pt x="5248205" y="1840105"/>
                </a:cubicBezTo>
                <a:cubicBezTo>
                  <a:pt x="5249912" y="1840532"/>
                  <a:pt x="5250979" y="1840817"/>
                  <a:pt x="5252047" y="1840959"/>
                </a:cubicBezTo>
                <a:lnTo>
                  <a:pt x="5253967" y="1841101"/>
                </a:lnTo>
                <a:lnTo>
                  <a:pt x="5251406" y="1839252"/>
                </a:lnTo>
                <a:cubicBezTo>
                  <a:pt x="5252474" y="1838256"/>
                  <a:pt x="5252900" y="1837260"/>
                  <a:pt x="5253327" y="1836264"/>
                </a:cubicBezTo>
                <a:lnTo>
                  <a:pt x="5253754" y="1833561"/>
                </a:lnTo>
                <a:lnTo>
                  <a:pt x="5251619" y="1831570"/>
                </a:lnTo>
                <a:cubicBezTo>
                  <a:pt x="5252687" y="1830858"/>
                  <a:pt x="5254394" y="1828582"/>
                  <a:pt x="5254821" y="1829578"/>
                </a:cubicBezTo>
                <a:lnTo>
                  <a:pt x="5255248" y="1829720"/>
                </a:lnTo>
                <a:lnTo>
                  <a:pt x="5258022" y="1825879"/>
                </a:lnTo>
                <a:cubicBezTo>
                  <a:pt x="5261864" y="1821753"/>
                  <a:pt x="5265705" y="1820615"/>
                  <a:pt x="5269120" y="1820899"/>
                </a:cubicBezTo>
                <a:close/>
                <a:moveTo>
                  <a:pt x="5688917" y="1820757"/>
                </a:moveTo>
                <a:cubicBezTo>
                  <a:pt x="5691051" y="1822038"/>
                  <a:pt x="5691904" y="1823460"/>
                  <a:pt x="5693826" y="1826021"/>
                </a:cubicBezTo>
                <a:cubicBezTo>
                  <a:pt x="5690411" y="1830289"/>
                  <a:pt x="5685929" y="1826875"/>
                  <a:pt x="5686569" y="1823602"/>
                </a:cubicBezTo>
                <a:cubicBezTo>
                  <a:pt x="5686783" y="1822607"/>
                  <a:pt x="5687423" y="1821469"/>
                  <a:pt x="5688917" y="1820757"/>
                </a:cubicBezTo>
                <a:close/>
                <a:moveTo>
                  <a:pt x="1293388" y="1820673"/>
                </a:moveTo>
                <a:lnTo>
                  <a:pt x="1296589" y="1823926"/>
                </a:lnTo>
                <a:lnTo>
                  <a:pt x="1296795" y="1823771"/>
                </a:lnTo>
                <a:lnTo>
                  <a:pt x="1297208" y="1824391"/>
                </a:lnTo>
                <a:lnTo>
                  <a:pt x="1298447" y="1825475"/>
                </a:lnTo>
                <a:cubicBezTo>
                  <a:pt x="1299067" y="1826250"/>
                  <a:pt x="1299686" y="1827334"/>
                  <a:pt x="1300306" y="1828728"/>
                </a:cubicBezTo>
                <a:cubicBezTo>
                  <a:pt x="1301235" y="1830587"/>
                  <a:pt x="1301648" y="1832291"/>
                  <a:pt x="1301648" y="1833840"/>
                </a:cubicBezTo>
                <a:lnTo>
                  <a:pt x="1301132" y="1835853"/>
                </a:lnTo>
                <a:lnTo>
                  <a:pt x="1304126" y="1835543"/>
                </a:lnTo>
                <a:cubicBezTo>
                  <a:pt x="1305778" y="1835698"/>
                  <a:pt x="1307327" y="1836008"/>
                  <a:pt x="1308566" y="1836627"/>
                </a:cubicBezTo>
                <a:cubicBezTo>
                  <a:pt x="1310425" y="1840190"/>
                  <a:pt x="1310528" y="1842824"/>
                  <a:pt x="1309599" y="1844837"/>
                </a:cubicBezTo>
                <a:cubicBezTo>
                  <a:pt x="1307534" y="1849329"/>
                  <a:pt x="1299996" y="1849949"/>
                  <a:pt x="1295143" y="1846386"/>
                </a:cubicBezTo>
                <a:lnTo>
                  <a:pt x="1294110" y="1844992"/>
                </a:lnTo>
                <a:lnTo>
                  <a:pt x="1292768" y="1851653"/>
                </a:lnTo>
                <a:cubicBezTo>
                  <a:pt x="1292665" y="1858778"/>
                  <a:pt x="1294937" y="1865748"/>
                  <a:pt x="1290187" y="1870395"/>
                </a:cubicBezTo>
                <a:cubicBezTo>
                  <a:pt x="1288741" y="1864354"/>
                  <a:pt x="1283165" y="1856454"/>
                  <a:pt x="1283888" y="1850879"/>
                </a:cubicBezTo>
                <a:cubicBezTo>
                  <a:pt x="1284095" y="1849329"/>
                  <a:pt x="1284817" y="1847780"/>
                  <a:pt x="1286469" y="1846696"/>
                </a:cubicBezTo>
                <a:lnTo>
                  <a:pt x="1293801" y="1844682"/>
                </a:lnTo>
                <a:lnTo>
                  <a:pt x="1292562" y="1842978"/>
                </a:lnTo>
                <a:lnTo>
                  <a:pt x="1291839" y="1843133"/>
                </a:lnTo>
                <a:cubicBezTo>
                  <a:pt x="1289877" y="1843288"/>
                  <a:pt x="1287399" y="1843443"/>
                  <a:pt x="1285230" y="1842359"/>
                </a:cubicBezTo>
                <a:cubicBezTo>
                  <a:pt x="1283785" y="1841584"/>
                  <a:pt x="1282442" y="1840346"/>
                  <a:pt x="1281513" y="1838177"/>
                </a:cubicBezTo>
                <a:cubicBezTo>
                  <a:pt x="1280997" y="1837092"/>
                  <a:pt x="1280584" y="1835853"/>
                  <a:pt x="1280377" y="1834459"/>
                </a:cubicBezTo>
                <a:cubicBezTo>
                  <a:pt x="1280274" y="1833530"/>
                  <a:pt x="1280171" y="1832601"/>
                  <a:pt x="1280377" y="1831516"/>
                </a:cubicBezTo>
                <a:cubicBezTo>
                  <a:pt x="1280791" y="1828728"/>
                  <a:pt x="1282856" y="1825940"/>
                  <a:pt x="1287708" y="1823926"/>
                </a:cubicBezTo>
                <a:cubicBezTo>
                  <a:pt x="1289361" y="1822687"/>
                  <a:pt x="1288948" y="1823462"/>
                  <a:pt x="1290187" y="1822997"/>
                </a:cubicBezTo>
                <a:cubicBezTo>
                  <a:pt x="1291323" y="1822687"/>
                  <a:pt x="1292974" y="1821448"/>
                  <a:pt x="1293388" y="1820673"/>
                </a:cubicBezTo>
                <a:close/>
                <a:moveTo>
                  <a:pt x="1527986" y="1820364"/>
                </a:moveTo>
                <a:cubicBezTo>
                  <a:pt x="1530464" y="1821603"/>
                  <a:pt x="1532116" y="1823152"/>
                  <a:pt x="1533355" y="1825011"/>
                </a:cubicBezTo>
                <a:lnTo>
                  <a:pt x="1535936" y="1831052"/>
                </a:lnTo>
                <a:lnTo>
                  <a:pt x="1535936" y="1830742"/>
                </a:lnTo>
                <a:cubicBezTo>
                  <a:pt x="1536453" y="1829813"/>
                  <a:pt x="1537382" y="1829348"/>
                  <a:pt x="1538518" y="1829193"/>
                </a:cubicBezTo>
                <a:cubicBezTo>
                  <a:pt x="1539550" y="1829193"/>
                  <a:pt x="1540893" y="1829502"/>
                  <a:pt x="1541925" y="1830122"/>
                </a:cubicBezTo>
                <a:cubicBezTo>
                  <a:pt x="1542958" y="1830277"/>
                  <a:pt x="1543577" y="1831052"/>
                  <a:pt x="1543991" y="1831981"/>
                </a:cubicBezTo>
                <a:cubicBezTo>
                  <a:pt x="1544507" y="1832756"/>
                  <a:pt x="1544610" y="1833840"/>
                  <a:pt x="1544507" y="1834769"/>
                </a:cubicBezTo>
                <a:cubicBezTo>
                  <a:pt x="1543991" y="1835698"/>
                  <a:pt x="1543991" y="1835853"/>
                  <a:pt x="1543474" y="1836782"/>
                </a:cubicBezTo>
                <a:cubicBezTo>
                  <a:pt x="1541925" y="1837247"/>
                  <a:pt x="1540480" y="1838486"/>
                  <a:pt x="1538621" y="1838022"/>
                </a:cubicBezTo>
                <a:cubicBezTo>
                  <a:pt x="1537485" y="1837402"/>
                  <a:pt x="1536763" y="1836163"/>
                  <a:pt x="1536349" y="1834614"/>
                </a:cubicBezTo>
                <a:lnTo>
                  <a:pt x="1536040" y="1831206"/>
                </a:lnTo>
                <a:lnTo>
                  <a:pt x="1532013" y="1835389"/>
                </a:lnTo>
                <a:cubicBezTo>
                  <a:pt x="1530773" y="1835853"/>
                  <a:pt x="1529431" y="1835389"/>
                  <a:pt x="1528296" y="1834304"/>
                </a:cubicBezTo>
                <a:lnTo>
                  <a:pt x="1526127" y="1831826"/>
                </a:lnTo>
                <a:lnTo>
                  <a:pt x="1523856" y="1838486"/>
                </a:lnTo>
                <a:lnTo>
                  <a:pt x="1520448" y="1843598"/>
                </a:lnTo>
                <a:lnTo>
                  <a:pt x="1523236" y="1844063"/>
                </a:lnTo>
                <a:cubicBezTo>
                  <a:pt x="1528502" y="1851033"/>
                  <a:pt x="1525301" y="1855215"/>
                  <a:pt x="1526127" y="1855990"/>
                </a:cubicBezTo>
                <a:cubicBezTo>
                  <a:pt x="1523133" y="1858468"/>
                  <a:pt x="1521584" y="1856764"/>
                  <a:pt x="1518280" y="1855060"/>
                </a:cubicBezTo>
                <a:cubicBezTo>
                  <a:pt x="1518796" y="1854595"/>
                  <a:pt x="1518486" y="1853666"/>
                  <a:pt x="1517867" y="1852891"/>
                </a:cubicBezTo>
                <a:lnTo>
                  <a:pt x="1517041" y="1851807"/>
                </a:lnTo>
                <a:lnTo>
                  <a:pt x="1514769" y="1852582"/>
                </a:lnTo>
                <a:cubicBezTo>
                  <a:pt x="1513839" y="1853202"/>
                  <a:pt x="1512704" y="1853976"/>
                  <a:pt x="1511568" y="1855370"/>
                </a:cubicBezTo>
                <a:cubicBezTo>
                  <a:pt x="1511155" y="1853511"/>
                  <a:pt x="1510845" y="1851807"/>
                  <a:pt x="1510948" y="1850103"/>
                </a:cubicBezTo>
                <a:cubicBezTo>
                  <a:pt x="1510948" y="1848400"/>
                  <a:pt x="1511362" y="1846851"/>
                  <a:pt x="1512188" y="1845147"/>
                </a:cubicBezTo>
                <a:lnTo>
                  <a:pt x="1517144" y="1847161"/>
                </a:lnTo>
                <a:lnTo>
                  <a:pt x="1517557" y="1845147"/>
                </a:lnTo>
                <a:cubicBezTo>
                  <a:pt x="1517763" y="1844372"/>
                  <a:pt x="1518176" y="1843753"/>
                  <a:pt x="1518899" y="1843133"/>
                </a:cubicBezTo>
                <a:lnTo>
                  <a:pt x="1520241" y="1843443"/>
                </a:lnTo>
                <a:lnTo>
                  <a:pt x="1517970" y="1838177"/>
                </a:lnTo>
                <a:cubicBezTo>
                  <a:pt x="1517763" y="1836937"/>
                  <a:pt x="1517763" y="1835543"/>
                  <a:pt x="1518073" y="1834149"/>
                </a:cubicBezTo>
                <a:cubicBezTo>
                  <a:pt x="1518693" y="1830122"/>
                  <a:pt x="1521171" y="1826095"/>
                  <a:pt x="1523546" y="1822223"/>
                </a:cubicBezTo>
                <a:lnTo>
                  <a:pt x="1524268" y="1822997"/>
                </a:lnTo>
                <a:close/>
                <a:moveTo>
                  <a:pt x="4953045" y="1820330"/>
                </a:moveTo>
                <a:cubicBezTo>
                  <a:pt x="4954326" y="1820046"/>
                  <a:pt x="4955607" y="1820330"/>
                  <a:pt x="4957314" y="1821184"/>
                </a:cubicBezTo>
                <a:cubicBezTo>
                  <a:pt x="4954753" y="1823176"/>
                  <a:pt x="4952192" y="1824029"/>
                  <a:pt x="4948777" y="1822180"/>
                </a:cubicBezTo>
                <a:cubicBezTo>
                  <a:pt x="4950698" y="1821326"/>
                  <a:pt x="4951979" y="1820615"/>
                  <a:pt x="4953045" y="1820330"/>
                </a:cubicBezTo>
                <a:close/>
                <a:moveTo>
                  <a:pt x="739315" y="1819899"/>
                </a:moveTo>
                <a:cubicBezTo>
                  <a:pt x="747575" y="1818815"/>
                  <a:pt x="759759" y="1822687"/>
                  <a:pt x="760482" y="1829658"/>
                </a:cubicBezTo>
                <a:cubicBezTo>
                  <a:pt x="750673" y="1826250"/>
                  <a:pt x="743445" y="1828573"/>
                  <a:pt x="732913" y="1822687"/>
                </a:cubicBezTo>
                <a:cubicBezTo>
                  <a:pt x="734255" y="1821138"/>
                  <a:pt x="736630" y="1820209"/>
                  <a:pt x="739315" y="1819899"/>
                </a:cubicBezTo>
                <a:close/>
                <a:moveTo>
                  <a:pt x="1577342" y="1819435"/>
                </a:moveTo>
                <a:cubicBezTo>
                  <a:pt x="1580233" y="1819744"/>
                  <a:pt x="1581886" y="1820983"/>
                  <a:pt x="1582505" y="1822532"/>
                </a:cubicBezTo>
                <a:cubicBezTo>
                  <a:pt x="1584570" y="1827334"/>
                  <a:pt x="1578168" y="1835079"/>
                  <a:pt x="1572179" y="1830587"/>
                </a:cubicBezTo>
                <a:cubicBezTo>
                  <a:pt x="1571973" y="1829813"/>
                  <a:pt x="1571973" y="1828883"/>
                  <a:pt x="1572283" y="1827799"/>
                </a:cubicBezTo>
                <a:cubicBezTo>
                  <a:pt x="1573109" y="1824546"/>
                  <a:pt x="1575690" y="1820673"/>
                  <a:pt x="1577342" y="1819435"/>
                </a:cubicBezTo>
                <a:close/>
                <a:moveTo>
                  <a:pt x="1494944" y="1818969"/>
                </a:moveTo>
                <a:lnTo>
                  <a:pt x="1496596" y="1821293"/>
                </a:lnTo>
                <a:lnTo>
                  <a:pt x="1497422" y="1821603"/>
                </a:lnTo>
                <a:cubicBezTo>
                  <a:pt x="1498145" y="1822068"/>
                  <a:pt x="1498455" y="1822687"/>
                  <a:pt x="1497938" y="1823771"/>
                </a:cubicBezTo>
                <a:cubicBezTo>
                  <a:pt x="1497835" y="1824701"/>
                  <a:pt x="1497215" y="1825011"/>
                  <a:pt x="1496596" y="1825475"/>
                </a:cubicBezTo>
                <a:lnTo>
                  <a:pt x="1496493" y="1825630"/>
                </a:lnTo>
                <a:lnTo>
                  <a:pt x="1496183" y="1827334"/>
                </a:lnTo>
                <a:lnTo>
                  <a:pt x="1494840" y="1827799"/>
                </a:lnTo>
                <a:lnTo>
                  <a:pt x="1495254" y="1830122"/>
                </a:lnTo>
                <a:cubicBezTo>
                  <a:pt x="1495770" y="1831206"/>
                  <a:pt x="1496596" y="1832136"/>
                  <a:pt x="1497422" y="1833375"/>
                </a:cubicBezTo>
                <a:lnTo>
                  <a:pt x="1497732" y="1833995"/>
                </a:lnTo>
                <a:lnTo>
                  <a:pt x="1501139" y="1834924"/>
                </a:lnTo>
                <a:cubicBezTo>
                  <a:pt x="1500933" y="1836163"/>
                  <a:pt x="1500726" y="1837247"/>
                  <a:pt x="1500520" y="1838486"/>
                </a:cubicBezTo>
                <a:lnTo>
                  <a:pt x="1499384" y="1838642"/>
                </a:lnTo>
                <a:lnTo>
                  <a:pt x="1499280" y="1842204"/>
                </a:lnTo>
                <a:cubicBezTo>
                  <a:pt x="1497009" y="1840965"/>
                  <a:pt x="1494118" y="1845457"/>
                  <a:pt x="1490813" y="1843598"/>
                </a:cubicBezTo>
                <a:cubicBezTo>
                  <a:pt x="1480178" y="1839106"/>
                  <a:pt x="1481004" y="1836318"/>
                  <a:pt x="1481314" y="1829967"/>
                </a:cubicBezTo>
                <a:cubicBezTo>
                  <a:pt x="1481624" y="1830742"/>
                  <a:pt x="1482140" y="1829658"/>
                  <a:pt x="1482140" y="1829658"/>
                </a:cubicBezTo>
                <a:cubicBezTo>
                  <a:pt x="1483172" y="1827644"/>
                  <a:pt x="1477906" y="1828108"/>
                  <a:pt x="1478630" y="1825166"/>
                </a:cubicBezTo>
                <a:cubicBezTo>
                  <a:pt x="1479559" y="1822997"/>
                  <a:pt x="1481521" y="1821758"/>
                  <a:pt x="1483792" y="1821138"/>
                </a:cubicBezTo>
                <a:lnTo>
                  <a:pt x="1485961" y="1820983"/>
                </a:lnTo>
                <a:lnTo>
                  <a:pt x="1486374" y="1819589"/>
                </a:lnTo>
                <a:cubicBezTo>
                  <a:pt x="1489471" y="1817730"/>
                  <a:pt x="1492879" y="1817576"/>
                  <a:pt x="1494944" y="1818969"/>
                </a:cubicBezTo>
                <a:close/>
                <a:moveTo>
                  <a:pt x="1192094" y="1818815"/>
                </a:moveTo>
                <a:lnTo>
                  <a:pt x="1190854" y="1819899"/>
                </a:lnTo>
                <a:lnTo>
                  <a:pt x="1190751" y="1820519"/>
                </a:lnTo>
                <a:lnTo>
                  <a:pt x="1192300" y="1819280"/>
                </a:lnTo>
                <a:close/>
                <a:moveTo>
                  <a:pt x="5349153" y="1818765"/>
                </a:moveTo>
                <a:cubicBezTo>
                  <a:pt x="5350860" y="1818907"/>
                  <a:pt x="5352140" y="1819761"/>
                  <a:pt x="5353421" y="1821469"/>
                </a:cubicBezTo>
                <a:cubicBezTo>
                  <a:pt x="5353848" y="1825167"/>
                  <a:pt x="5354275" y="1828724"/>
                  <a:pt x="5350220" y="1833277"/>
                </a:cubicBezTo>
                <a:cubicBezTo>
                  <a:pt x="5345525" y="1833988"/>
                  <a:pt x="5342537" y="1832565"/>
                  <a:pt x="5338695" y="1827301"/>
                </a:cubicBezTo>
                <a:cubicBezTo>
                  <a:pt x="5339549" y="1822891"/>
                  <a:pt x="5344671" y="1818054"/>
                  <a:pt x="5349153" y="1818765"/>
                </a:cubicBezTo>
                <a:close/>
                <a:moveTo>
                  <a:pt x="1278622" y="1818350"/>
                </a:moveTo>
                <a:cubicBezTo>
                  <a:pt x="1278209" y="1819435"/>
                  <a:pt x="1279758" y="1820828"/>
                  <a:pt x="1279241" y="1821913"/>
                </a:cubicBezTo>
                <a:cubicBezTo>
                  <a:pt x="1279241" y="1821913"/>
                  <a:pt x="1277073" y="1823462"/>
                  <a:pt x="1277073" y="1823462"/>
                </a:cubicBezTo>
                <a:cubicBezTo>
                  <a:pt x="1275937" y="1822842"/>
                  <a:pt x="1275937" y="1822842"/>
                  <a:pt x="1276763" y="1822687"/>
                </a:cubicBezTo>
                <a:cubicBezTo>
                  <a:pt x="1275318" y="1821293"/>
                  <a:pt x="1274905" y="1820364"/>
                  <a:pt x="1274595" y="1819589"/>
                </a:cubicBezTo>
                <a:cubicBezTo>
                  <a:pt x="1275111" y="1818505"/>
                  <a:pt x="1276660" y="1818040"/>
                  <a:pt x="1278622" y="1818350"/>
                </a:cubicBezTo>
                <a:close/>
                <a:moveTo>
                  <a:pt x="3589933" y="1817770"/>
                </a:moveTo>
                <a:cubicBezTo>
                  <a:pt x="3593348" y="1818623"/>
                  <a:pt x="3598470" y="1824456"/>
                  <a:pt x="3598044" y="1827871"/>
                </a:cubicBezTo>
                <a:cubicBezTo>
                  <a:pt x="3596763" y="1828724"/>
                  <a:pt x="3595483" y="1829578"/>
                  <a:pt x="3594202" y="1830431"/>
                </a:cubicBezTo>
                <a:cubicBezTo>
                  <a:pt x="3588653" y="1828013"/>
                  <a:pt x="3584598" y="1822464"/>
                  <a:pt x="3589933" y="1817770"/>
                </a:cubicBezTo>
                <a:close/>
                <a:moveTo>
                  <a:pt x="1587771" y="1817266"/>
                </a:moveTo>
                <a:cubicBezTo>
                  <a:pt x="1589010" y="1817421"/>
                  <a:pt x="1590146" y="1817421"/>
                  <a:pt x="1591385" y="1817576"/>
                </a:cubicBezTo>
                <a:cubicBezTo>
                  <a:pt x="1591178" y="1822842"/>
                  <a:pt x="1593760" y="1826095"/>
                  <a:pt x="1593657" y="1830277"/>
                </a:cubicBezTo>
                <a:cubicBezTo>
                  <a:pt x="1590766" y="1828728"/>
                  <a:pt x="1586222" y="1826095"/>
                  <a:pt x="1586119" y="1821913"/>
                </a:cubicBezTo>
                <a:cubicBezTo>
                  <a:pt x="1586119" y="1820673"/>
                  <a:pt x="1586532" y="1818969"/>
                  <a:pt x="1587771" y="1817266"/>
                </a:cubicBezTo>
                <a:close/>
                <a:moveTo>
                  <a:pt x="1539034" y="1817266"/>
                </a:moveTo>
                <a:cubicBezTo>
                  <a:pt x="1539447" y="1817266"/>
                  <a:pt x="1540170" y="1817421"/>
                  <a:pt x="1540686" y="1817576"/>
                </a:cubicBezTo>
                <a:cubicBezTo>
                  <a:pt x="1541925" y="1817885"/>
                  <a:pt x="1543164" y="1818350"/>
                  <a:pt x="1544403" y="1818660"/>
                </a:cubicBezTo>
                <a:cubicBezTo>
                  <a:pt x="1544403" y="1818660"/>
                  <a:pt x="1544403" y="1818660"/>
                  <a:pt x="1538002" y="1818040"/>
                </a:cubicBezTo>
                <a:cubicBezTo>
                  <a:pt x="1538105" y="1817421"/>
                  <a:pt x="1538518" y="1817266"/>
                  <a:pt x="1539034" y="1817266"/>
                </a:cubicBezTo>
                <a:close/>
                <a:moveTo>
                  <a:pt x="5158142" y="1816774"/>
                </a:moveTo>
                <a:lnTo>
                  <a:pt x="5156008" y="1823887"/>
                </a:lnTo>
                <a:lnTo>
                  <a:pt x="5157502" y="1824741"/>
                </a:lnTo>
                <a:cubicBezTo>
                  <a:pt x="5158142" y="1825452"/>
                  <a:pt x="5158568" y="1826306"/>
                  <a:pt x="5159849" y="1828866"/>
                </a:cubicBezTo>
                <a:cubicBezTo>
                  <a:pt x="5157075" y="1831001"/>
                  <a:pt x="5154514" y="1833277"/>
                  <a:pt x="5151739" y="1835411"/>
                </a:cubicBezTo>
                <a:cubicBezTo>
                  <a:pt x="5151312" y="1834273"/>
                  <a:pt x="5150672" y="1833277"/>
                  <a:pt x="5150032" y="1832423"/>
                </a:cubicBezTo>
                <a:lnTo>
                  <a:pt x="5149605" y="1832138"/>
                </a:lnTo>
                <a:lnTo>
                  <a:pt x="5136160" y="1839679"/>
                </a:lnTo>
                <a:cubicBezTo>
                  <a:pt x="5133385" y="1828440"/>
                  <a:pt x="5148111" y="1819761"/>
                  <a:pt x="5158142" y="1816774"/>
                </a:cubicBezTo>
                <a:close/>
                <a:moveTo>
                  <a:pt x="1202316" y="1816491"/>
                </a:moveTo>
                <a:cubicBezTo>
                  <a:pt x="1203245" y="1816646"/>
                  <a:pt x="1204691" y="1817421"/>
                  <a:pt x="1205826" y="1818350"/>
                </a:cubicBezTo>
                <a:lnTo>
                  <a:pt x="1207582" y="1820828"/>
                </a:lnTo>
                <a:lnTo>
                  <a:pt x="1207892" y="1820519"/>
                </a:lnTo>
                <a:cubicBezTo>
                  <a:pt x="1209440" y="1819589"/>
                  <a:pt x="1211196" y="1818969"/>
                  <a:pt x="1212951" y="1818815"/>
                </a:cubicBezTo>
                <a:lnTo>
                  <a:pt x="1215636" y="1819899"/>
                </a:lnTo>
                <a:lnTo>
                  <a:pt x="1216359" y="1818350"/>
                </a:lnTo>
                <a:cubicBezTo>
                  <a:pt x="1218321" y="1816956"/>
                  <a:pt x="1222760" y="1817576"/>
                  <a:pt x="1231227" y="1822842"/>
                </a:cubicBezTo>
                <a:cubicBezTo>
                  <a:pt x="1228956" y="1840500"/>
                  <a:pt x="1218527" y="1831516"/>
                  <a:pt x="1215842" y="1824236"/>
                </a:cubicBezTo>
                <a:lnTo>
                  <a:pt x="1215532" y="1822068"/>
                </a:lnTo>
                <a:lnTo>
                  <a:pt x="1209647" y="1825475"/>
                </a:lnTo>
                <a:cubicBezTo>
                  <a:pt x="1206859" y="1827179"/>
                  <a:pt x="1203968" y="1828418"/>
                  <a:pt x="1200870" y="1829038"/>
                </a:cubicBezTo>
                <a:cubicBezTo>
                  <a:pt x="1201386" y="1827489"/>
                  <a:pt x="1202316" y="1825940"/>
                  <a:pt x="1203555" y="1824391"/>
                </a:cubicBezTo>
                <a:lnTo>
                  <a:pt x="1207272" y="1821138"/>
                </a:lnTo>
                <a:lnTo>
                  <a:pt x="1203658" y="1819899"/>
                </a:lnTo>
                <a:cubicBezTo>
                  <a:pt x="1201696" y="1819435"/>
                  <a:pt x="1201386" y="1818660"/>
                  <a:pt x="1202316" y="1816491"/>
                </a:cubicBezTo>
                <a:close/>
                <a:moveTo>
                  <a:pt x="677774" y="1816491"/>
                </a:moveTo>
                <a:lnTo>
                  <a:pt x="680252" y="1819280"/>
                </a:lnTo>
                <a:cubicBezTo>
                  <a:pt x="679426" y="1820054"/>
                  <a:pt x="677774" y="1820828"/>
                  <a:pt x="676948" y="1819899"/>
                </a:cubicBezTo>
                <a:cubicBezTo>
                  <a:pt x="676122" y="1819280"/>
                  <a:pt x="676122" y="1818969"/>
                  <a:pt x="676432" y="1818350"/>
                </a:cubicBezTo>
                <a:cubicBezTo>
                  <a:pt x="676742" y="1817885"/>
                  <a:pt x="677361" y="1817421"/>
                  <a:pt x="677774" y="1816491"/>
                </a:cubicBezTo>
                <a:close/>
                <a:moveTo>
                  <a:pt x="4656819" y="1816205"/>
                </a:moveTo>
                <a:cubicBezTo>
                  <a:pt x="4657886" y="1817343"/>
                  <a:pt x="4658100" y="1818481"/>
                  <a:pt x="4658100" y="1819761"/>
                </a:cubicBezTo>
                <a:cubicBezTo>
                  <a:pt x="4657032" y="1820899"/>
                  <a:pt x="4655752" y="1820757"/>
                  <a:pt x="4654685" y="1821895"/>
                </a:cubicBezTo>
                <a:cubicBezTo>
                  <a:pt x="4654685" y="1823176"/>
                  <a:pt x="4654898" y="1825594"/>
                  <a:pt x="4653617" y="1826591"/>
                </a:cubicBezTo>
                <a:cubicBezTo>
                  <a:pt x="4652550" y="1827728"/>
                  <a:pt x="4650416" y="1828866"/>
                  <a:pt x="4650416" y="1828866"/>
                </a:cubicBezTo>
                <a:cubicBezTo>
                  <a:pt x="4649136" y="1827586"/>
                  <a:pt x="4649136" y="1827586"/>
                  <a:pt x="4650416" y="1827586"/>
                </a:cubicBezTo>
                <a:cubicBezTo>
                  <a:pt x="4651483" y="1825310"/>
                  <a:pt x="4651483" y="1826591"/>
                  <a:pt x="4652550" y="1825452"/>
                </a:cubicBezTo>
                <a:cubicBezTo>
                  <a:pt x="4653617" y="1824314"/>
                  <a:pt x="4655752" y="1818481"/>
                  <a:pt x="4654471" y="1817200"/>
                </a:cubicBezTo>
                <a:cubicBezTo>
                  <a:pt x="4655752" y="1817343"/>
                  <a:pt x="4656819" y="1816205"/>
                  <a:pt x="4656819" y="1816205"/>
                </a:cubicBezTo>
                <a:close/>
                <a:moveTo>
                  <a:pt x="5999656" y="1815778"/>
                </a:moveTo>
                <a:cubicBezTo>
                  <a:pt x="6001150" y="1815635"/>
                  <a:pt x="6002644" y="1815635"/>
                  <a:pt x="6004138" y="1816347"/>
                </a:cubicBezTo>
                <a:cubicBezTo>
                  <a:pt x="6004138" y="1816347"/>
                  <a:pt x="6004138" y="1816347"/>
                  <a:pt x="6002857" y="1816205"/>
                </a:cubicBezTo>
                <a:cubicBezTo>
                  <a:pt x="6002857" y="1816205"/>
                  <a:pt x="6004138" y="1816347"/>
                  <a:pt x="6004138" y="1817485"/>
                </a:cubicBezTo>
                <a:cubicBezTo>
                  <a:pt x="5998375" y="1820757"/>
                  <a:pt x="5988985" y="1819192"/>
                  <a:pt x="5987918" y="1819050"/>
                </a:cubicBezTo>
                <a:cubicBezTo>
                  <a:pt x="5987918" y="1817912"/>
                  <a:pt x="5987918" y="1817912"/>
                  <a:pt x="5987918" y="1817912"/>
                </a:cubicBezTo>
                <a:cubicBezTo>
                  <a:pt x="5991333" y="1818907"/>
                  <a:pt x="5995387" y="1816062"/>
                  <a:pt x="5999656" y="1815778"/>
                </a:cubicBezTo>
                <a:close/>
                <a:moveTo>
                  <a:pt x="1781790" y="1815349"/>
                </a:moveTo>
                <a:cubicBezTo>
                  <a:pt x="1783881" y="1813781"/>
                  <a:pt x="1786746" y="1813781"/>
                  <a:pt x="1789431" y="1817266"/>
                </a:cubicBezTo>
                <a:cubicBezTo>
                  <a:pt x="1786539" y="1822068"/>
                  <a:pt x="1784577" y="1825320"/>
                  <a:pt x="1782306" y="1827179"/>
                </a:cubicBezTo>
                <a:cubicBezTo>
                  <a:pt x="1780138" y="1826250"/>
                  <a:pt x="1779105" y="1824701"/>
                  <a:pt x="1778795" y="1822842"/>
                </a:cubicBezTo>
                <a:cubicBezTo>
                  <a:pt x="1778382" y="1820054"/>
                  <a:pt x="1779699" y="1816917"/>
                  <a:pt x="1781790" y="1815349"/>
                </a:cubicBezTo>
                <a:close/>
                <a:moveTo>
                  <a:pt x="5980662" y="1815066"/>
                </a:moveTo>
                <a:cubicBezTo>
                  <a:pt x="5980662" y="1815066"/>
                  <a:pt x="5980662" y="1815208"/>
                  <a:pt x="5981942" y="1816489"/>
                </a:cubicBezTo>
                <a:cubicBezTo>
                  <a:pt x="5979595" y="1816347"/>
                  <a:pt x="5978527" y="1821042"/>
                  <a:pt x="5976180" y="1818623"/>
                </a:cubicBezTo>
                <a:cubicBezTo>
                  <a:pt x="5977247" y="1817343"/>
                  <a:pt x="5979595" y="1816205"/>
                  <a:pt x="5980662" y="1815066"/>
                </a:cubicBezTo>
                <a:close/>
                <a:moveTo>
                  <a:pt x="917638" y="1814942"/>
                </a:moveTo>
                <a:cubicBezTo>
                  <a:pt x="918464" y="1814478"/>
                  <a:pt x="919084" y="1814633"/>
                  <a:pt x="919703" y="1815252"/>
                </a:cubicBezTo>
                <a:cubicBezTo>
                  <a:pt x="920426" y="1816026"/>
                  <a:pt x="921046" y="1817111"/>
                  <a:pt x="921768" y="1818505"/>
                </a:cubicBezTo>
                <a:cubicBezTo>
                  <a:pt x="923111" y="1821448"/>
                  <a:pt x="923627" y="1825630"/>
                  <a:pt x="924040" y="1826714"/>
                </a:cubicBezTo>
                <a:cubicBezTo>
                  <a:pt x="924350" y="1827954"/>
                  <a:pt x="925073" y="1828418"/>
                  <a:pt x="925073" y="1828418"/>
                </a:cubicBezTo>
                <a:cubicBezTo>
                  <a:pt x="923421" y="1829348"/>
                  <a:pt x="918567" y="1818505"/>
                  <a:pt x="917122" y="1815562"/>
                </a:cubicBezTo>
                <a:cubicBezTo>
                  <a:pt x="917638" y="1814942"/>
                  <a:pt x="917638" y="1814942"/>
                  <a:pt x="917638" y="1814942"/>
                </a:cubicBezTo>
                <a:close/>
                <a:moveTo>
                  <a:pt x="5438149" y="1814355"/>
                </a:moveTo>
                <a:cubicBezTo>
                  <a:pt x="5439002" y="1814213"/>
                  <a:pt x="5439856" y="1814497"/>
                  <a:pt x="5440923" y="1815066"/>
                </a:cubicBezTo>
                <a:cubicBezTo>
                  <a:pt x="5443911" y="1820046"/>
                  <a:pt x="5439856" y="1824883"/>
                  <a:pt x="5438149" y="1830858"/>
                </a:cubicBezTo>
                <a:cubicBezTo>
                  <a:pt x="5437081" y="1830858"/>
                  <a:pt x="5435588" y="1831996"/>
                  <a:pt x="5435588" y="1833135"/>
                </a:cubicBezTo>
                <a:cubicBezTo>
                  <a:pt x="5434307" y="1834273"/>
                  <a:pt x="5433026" y="1835553"/>
                  <a:pt x="5434307" y="1835553"/>
                </a:cubicBezTo>
                <a:cubicBezTo>
                  <a:pt x="5430465" y="1839110"/>
                  <a:pt x="5430252" y="1840390"/>
                  <a:pt x="5426837" y="1839110"/>
                </a:cubicBezTo>
                <a:lnTo>
                  <a:pt x="5428331" y="1835127"/>
                </a:lnTo>
                <a:lnTo>
                  <a:pt x="5427051" y="1835127"/>
                </a:lnTo>
                <a:cubicBezTo>
                  <a:pt x="5425343" y="1832565"/>
                  <a:pt x="5425557" y="1830716"/>
                  <a:pt x="5426624" y="1829436"/>
                </a:cubicBezTo>
                <a:lnTo>
                  <a:pt x="5430679" y="1828013"/>
                </a:lnTo>
                <a:lnTo>
                  <a:pt x="5431746" y="1825025"/>
                </a:lnTo>
                <a:cubicBezTo>
                  <a:pt x="5433667" y="1820757"/>
                  <a:pt x="5435588" y="1817485"/>
                  <a:pt x="5436228" y="1816205"/>
                </a:cubicBezTo>
                <a:cubicBezTo>
                  <a:pt x="5436868" y="1815066"/>
                  <a:pt x="5437508" y="1814497"/>
                  <a:pt x="5438149" y="1814355"/>
                </a:cubicBezTo>
                <a:close/>
                <a:moveTo>
                  <a:pt x="1493808" y="1813858"/>
                </a:moveTo>
                <a:cubicBezTo>
                  <a:pt x="1493911" y="1813084"/>
                  <a:pt x="1494840" y="1813084"/>
                  <a:pt x="1494737" y="1813858"/>
                </a:cubicBezTo>
                <a:cubicBezTo>
                  <a:pt x="1496286" y="1814788"/>
                  <a:pt x="1494324" y="1816336"/>
                  <a:pt x="1493292" y="1816956"/>
                </a:cubicBezTo>
                <a:cubicBezTo>
                  <a:pt x="1493498" y="1815872"/>
                  <a:pt x="1493498" y="1814942"/>
                  <a:pt x="1493395" y="1814478"/>
                </a:cubicBezTo>
                <a:cubicBezTo>
                  <a:pt x="1493395" y="1814013"/>
                  <a:pt x="1493395" y="1813858"/>
                  <a:pt x="1493808" y="1813858"/>
                </a:cubicBezTo>
                <a:close/>
                <a:moveTo>
                  <a:pt x="5048018" y="1813075"/>
                </a:moveTo>
                <a:cubicBezTo>
                  <a:pt x="5048231" y="1813075"/>
                  <a:pt x="5048658" y="1813359"/>
                  <a:pt x="5048658" y="1813928"/>
                </a:cubicBezTo>
                <a:cubicBezTo>
                  <a:pt x="5051005" y="1815208"/>
                  <a:pt x="5048658" y="1817343"/>
                  <a:pt x="5047590" y="1818481"/>
                </a:cubicBezTo>
                <a:cubicBezTo>
                  <a:pt x="5047377" y="1815066"/>
                  <a:pt x="5046310" y="1813928"/>
                  <a:pt x="5047377" y="1813928"/>
                </a:cubicBezTo>
                <a:cubicBezTo>
                  <a:pt x="5047377" y="1813359"/>
                  <a:pt x="5047590" y="1813075"/>
                  <a:pt x="5048018" y="1813075"/>
                </a:cubicBezTo>
                <a:close/>
                <a:moveTo>
                  <a:pt x="1546882" y="1812929"/>
                </a:moveTo>
                <a:cubicBezTo>
                  <a:pt x="1547708" y="1813703"/>
                  <a:pt x="1547708" y="1813703"/>
                  <a:pt x="1547604" y="1815407"/>
                </a:cubicBezTo>
                <a:cubicBezTo>
                  <a:pt x="1545023" y="1814633"/>
                  <a:pt x="1545023" y="1814633"/>
                  <a:pt x="1543268" y="1813084"/>
                </a:cubicBezTo>
                <a:cubicBezTo>
                  <a:pt x="1544197" y="1813084"/>
                  <a:pt x="1546056" y="1812154"/>
                  <a:pt x="1546882" y="1812929"/>
                </a:cubicBezTo>
                <a:close/>
                <a:moveTo>
                  <a:pt x="1542751" y="1812929"/>
                </a:moveTo>
                <a:cubicBezTo>
                  <a:pt x="1542751" y="1812929"/>
                  <a:pt x="1542648" y="1813703"/>
                  <a:pt x="1542648" y="1813703"/>
                </a:cubicBezTo>
                <a:cubicBezTo>
                  <a:pt x="1541719" y="1813858"/>
                  <a:pt x="1540790" y="1813858"/>
                  <a:pt x="1540790" y="1813084"/>
                </a:cubicBezTo>
                <a:cubicBezTo>
                  <a:pt x="1540790" y="1812309"/>
                  <a:pt x="1541822" y="1812309"/>
                  <a:pt x="1542751" y="1812929"/>
                </a:cubicBezTo>
                <a:close/>
                <a:moveTo>
                  <a:pt x="1182181" y="1812774"/>
                </a:moveTo>
                <a:cubicBezTo>
                  <a:pt x="1183317" y="1812619"/>
                  <a:pt x="1184246" y="1812774"/>
                  <a:pt x="1185072" y="1813084"/>
                </a:cubicBezTo>
                <a:cubicBezTo>
                  <a:pt x="1185898" y="1813548"/>
                  <a:pt x="1186621" y="1814168"/>
                  <a:pt x="1187137" y="1814942"/>
                </a:cubicBezTo>
                <a:cubicBezTo>
                  <a:pt x="1187447" y="1816181"/>
                  <a:pt x="1186518" y="1817576"/>
                  <a:pt x="1184452" y="1819124"/>
                </a:cubicBezTo>
                <a:cubicBezTo>
                  <a:pt x="1182491" y="1818815"/>
                  <a:pt x="1181561" y="1815252"/>
                  <a:pt x="1180529" y="1813703"/>
                </a:cubicBezTo>
                <a:cubicBezTo>
                  <a:pt x="1181664" y="1813393"/>
                  <a:pt x="1182903" y="1813238"/>
                  <a:pt x="1182181" y="1812774"/>
                </a:cubicBezTo>
                <a:close/>
                <a:moveTo>
                  <a:pt x="841125" y="1812619"/>
                </a:moveTo>
                <a:cubicBezTo>
                  <a:pt x="843397" y="1812309"/>
                  <a:pt x="844120" y="1812774"/>
                  <a:pt x="844843" y="1813238"/>
                </a:cubicBezTo>
                <a:cubicBezTo>
                  <a:pt x="844843" y="1813238"/>
                  <a:pt x="843707" y="1813393"/>
                  <a:pt x="843294" y="1814168"/>
                </a:cubicBezTo>
                <a:cubicBezTo>
                  <a:pt x="843294" y="1814168"/>
                  <a:pt x="842158" y="1814323"/>
                  <a:pt x="840919" y="1814478"/>
                </a:cubicBezTo>
                <a:cubicBezTo>
                  <a:pt x="840919" y="1814478"/>
                  <a:pt x="840506" y="1815097"/>
                  <a:pt x="840093" y="1815872"/>
                </a:cubicBezTo>
                <a:cubicBezTo>
                  <a:pt x="837305" y="1816956"/>
                  <a:pt x="835756" y="1817885"/>
                  <a:pt x="833175" y="1815252"/>
                </a:cubicBezTo>
                <a:cubicBezTo>
                  <a:pt x="833381" y="1814942"/>
                  <a:pt x="834104" y="1814633"/>
                  <a:pt x="834930" y="1814478"/>
                </a:cubicBezTo>
                <a:cubicBezTo>
                  <a:pt x="835653" y="1814168"/>
                  <a:pt x="836582" y="1814013"/>
                  <a:pt x="837098" y="1814013"/>
                </a:cubicBezTo>
                <a:cubicBezTo>
                  <a:pt x="837615" y="1813238"/>
                  <a:pt x="838751" y="1813084"/>
                  <a:pt x="839473" y="1813548"/>
                </a:cubicBezTo>
                <a:cubicBezTo>
                  <a:pt x="839473" y="1813548"/>
                  <a:pt x="840609" y="1813393"/>
                  <a:pt x="841125" y="1812619"/>
                </a:cubicBezTo>
                <a:close/>
                <a:moveTo>
                  <a:pt x="855168" y="1812464"/>
                </a:moveTo>
                <a:cubicBezTo>
                  <a:pt x="858679" y="1812929"/>
                  <a:pt x="863532" y="1818815"/>
                  <a:pt x="864152" y="1821448"/>
                </a:cubicBezTo>
                <a:cubicBezTo>
                  <a:pt x="862706" y="1823771"/>
                  <a:pt x="860744" y="1824546"/>
                  <a:pt x="858886" y="1824546"/>
                </a:cubicBezTo>
                <a:cubicBezTo>
                  <a:pt x="855788" y="1824391"/>
                  <a:pt x="852793" y="1821603"/>
                  <a:pt x="852071" y="1818660"/>
                </a:cubicBezTo>
                <a:cubicBezTo>
                  <a:pt x="851761" y="1817576"/>
                  <a:pt x="851761" y="1816646"/>
                  <a:pt x="852071" y="1815717"/>
                </a:cubicBezTo>
                <a:cubicBezTo>
                  <a:pt x="852484" y="1814323"/>
                  <a:pt x="853516" y="1813238"/>
                  <a:pt x="855168" y="1812464"/>
                </a:cubicBezTo>
                <a:close/>
                <a:moveTo>
                  <a:pt x="1310012" y="1811999"/>
                </a:moveTo>
                <a:cubicBezTo>
                  <a:pt x="1310631" y="1814633"/>
                  <a:pt x="1310838" y="1816491"/>
                  <a:pt x="1310735" y="1819435"/>
                </a:cubicBezTo>
                <a:cubicBezTo>
                  <a:pt x="1310735" y="1819435"/>
                  <a:pt x="1309599" y="1823926"/>
                  <a:pt x="1306501" y="1823462"/>
                </a:cubicBezTo>
                <a:cubicBezTo>
                  <a:pt x="1305778" y="1823926"/>
                  <a:pt x="1303817" y="1820983"/>
                  <a:pt x="1304126" y="1819899"/>
                </a:cubicBezTo>
                <a:cubicBezTo>
                  <a:pt x="1304746" y="1817576"/>
                  <a:pt x="1304952" y="1816491"/>
                  <a:pt x="1306501" y="1815717"/>
                </a:cubicBezTo>
                <a:cubicBezTo>
                  <a:pt x="1306708" y="1814633"/>
                  <a:pt x="1307018" y="1813548"/>
                  <a:pt x="1307534" y="1812774"/>
                </a:cubicBezTo>
                <a:cubicBezTo>
                  <a:pt x="1308050" y="1811999"/>
                  <a:pt x="1308773" y="1811690"/>
                  <a:pt x="1310012" y="1811999"/>
                </a:cubicBezTo>
                <a:close/>
                <a:moveTo>
                  <a:pt x="6179996" y="1811225"/>
                </a:moveTo>
                <a:cubicBezTo>
                  <a:pt x="6189599" y="1809945"/>
                  <a:pt x="6203472" y="1818481"/>
                  <a:pt x="6207313" y="1823318"/>
                </a:cubicBezTo>
                <a:cubicBezTo>
                  <a:pt x="6197070" y="1823318"/>
                  <a:pt x="6180209" y="1822749"/>
                  <a:pt x="6172526" y="1816205"/>
                </a:cubicBezTo>
                <a:cubicBezTo>
                  <a:pt x="6174020" y="1813217"/>
                  <a:pt x="6176795" y="1811652"/>
                  <a:pt x="6179996" y="1811225"/>
                </a:cubicBezTo>
                <a:close/>
                <a:moveTo>
                  <a:pt x="1500623" y="1811070"/>
                </a:moveTo>
                <a:cubicBezTo>
                  <a:pt x="1504031" y="1809056"/>
                  <a:pt x="1508883" y="1811070"/>
                  <a:pt x="1510639" y="1814478"/>
                </a:cubicBezTo>
                <a:cubicBezTo>
                  <a:pt x="1511362" y="1815872"/>
                  <a:pt x="1511568" y="1817576"/>
                  <a:pt x="1510742" y="1819280"/>
                </a:cubicBezTo>
                <a:cubicBezTo>
                  <a:pt x="1505476" y="1819435"/>
                  <a:pt x="1499694" y="1820519"/>
                  <a:pt x="1497938" y="1814788"/>
                </a:cubicBezTo>
                <a:cubicBezTo>
                  <a:pt x="1498558" y="1812929"/>
                  <a:pt x="1499590" y="1811845"/>
                  <a:pt x="1500623" y="1811070"/>
                </a:cubicBezTo>
                <a:close/>
                <a:moveTo>
                  <a:pt x="5703003" y="1810514"/>
                </a:moveTo>
                <a:cubicBezTo>
                  <a:pt x="5707698" y="1813075"/>
                  <a:pt x="5708978" y="1816774"/>
                  <a:pt x="5705777" y="1820188"/>
                </a:cubicBezTo>
                <a:cubicBezTo>
                  <a:pt x="5703216" y="1817627"/>
                  <a:pt x="5700868" y="1818765"/>
                  <a:pt x="5698521" y="1816205"/>
                </a:cubicBezTo>
                <a:cubicBezTo>
                  <a:pt x="5700655" y="1813928"/>
                  <a:pt x="5701935" y="1811652"/>
                  <a:pt x="5703003" y="1810514"/>
                </a:cubicBezTo>
                <a:close/>
                <a:moveTo>
                  <a:pt x="821300" y="1810141"/>
                </a:moveTo>
                <a:cubicBezTo>
                  <a:pt x="823159" y="1809366"/>
                  <a:pt x="823159" y="1809366"/>
                  <a:pt x="824088" y="1810295"/>
                </a:cubicBezTo>
                <a:cubicBezTo>
                  <a:pt x="824914" y="1811380"/>
                  <a:pt x="823985" y="1813858"/>
                  <a:pt x="824914" y="1814788"/>
                </a:cubicBezTo>
                <a:cubicBezTo>
                  <a:pt x="824914" y="1814788"/>
                  <a:pt x="824914" y="1814788"/>
                  <a:pt x="823056" y="1815407"/>
                </a:cubicBezTo>
                <a:cubicBezTo>
                  <a:pt x="822229" y="1815407"/>
                  <a:pt x="821300" y="1815252"/>
                  <a:pt x="820371" y="1814323"/>
                </a:cubicBezTo>
                <a:cubicBezTo>
                  <a:pt x="819441" y="1813393"/>
                  <a:pt x="819545" y="1811535"/>
                  <a:pt x="819545" y="1810760"/>
                </a:cubicBezTo>
                <a:cubicBezTo>
                  <a:pt x="820474" y="1810760"/>
                  <a:pt x="820474" y="1809986"/>
                  <a:pt x="821300" y="1810141"/>
                </a:cubicBezTo>
                <a:close/>
                <a:moveTo>
                  <a:pt x="1515905" y="1809831"/>
                </a:moveTo>
                <a:cubicBezTo>
                  <a:pt x="1515905" y="1809831"/>
                  <a:pt x="1515905" y="1809986"/>
                  <a:pt x="1516628" y="1810605"/>
                </a:cubicBezTo>
                <a:cubicBezTo>
                  <a:pt x="1514149" y="1810760"/>
                  <a:pt x="1510742" y="1810915"/>
                  <a:pt x="1509090" y="1810295"/>
                </a:cubicBezTo>
                <a:cubicBezTo>
                  <a:pt x="1510845" y="1809366"/>
                  <a:pt x="1514253" y="1808437"/>
                  <a:pt x="1515905" y="1809831"/>
                </a:cubicBezTo>
                <a:close/>
                <a:moveTo>
                  <a:pt x="3737406" y="1809803"/>
                </a:moveTo>
                <a:cubicBezTo>
                  <a:pt x="3741034" y="1809233"/>
                  <a:pt x="3746370" y="1812506"/>
                  <a:pt x="3747010" y="1814497"/>
                </a:cubicBezTo>
                <a:cubicBezTo>
                  <a:pt x="3745943" y="1816916"/>
                  <a:pt x="3733778" y="1817485"/>
                  <a:pt x="3734845" y="1811794"/>
                </a:cubicBezTo>
                <a:cubicBezTo>
                  <a:pt x="3735272" y="1810514"/>
                  <a:pt x="3736339" y="1809945"/>
                  <a:pt x="3737406" y="1809803"/>
                </a:cubicBezTo>
                <a:close/>
                <a:moveTo>
                  <a:pt x="3789268" y="1809660"/>
                </a:moveTo>
                <a:cubicBezTo>
                  <a:pt x="3799298" y="1808664"/>
                  <a:pt x="3802286" y="1819477"/>
                  <a:pt x="3797591" y="1822891"/>
                </a:cubicBezTo>
                <a:cubicBezTo>
                  <a:pt x="3796737" y="1823460"/>
                  <a:pt x="3795670" y="1823887"/>
                  <a:pt x="3794389" y="1824029"/>
                </a:cubicBezTo>
                <a:lnTo>
                  <a:pt x="3793749" y="1823887"/>
                </a:lnTo>
                <a:lnTo>
                  <a:pt x="3793536" y="1824029"/>
                </a:lnTo>
                <a:cubicBezTo>
                  <a:pt x="3792469" y="1824883"/>
                  <a:pt x="3791188" y="1825310"/>
                  <a:pt x="3789908" y="1825167"/>
                </a:cubicBezTo>
                <a:cubicBezTo>
                  <a:pt x="3788627" y="1824029"/>
                  <a:pt x="3786066" y="1822749"/>
                  <a:pt x="3784786" y="1820188"/>
                </a:cubicBezTo>
                <a:cubicBezTo>
                  <a:pt x="3785213" y="1817343"/>
                  <a:pt x="3786280" y="1815351"/>
                  <a:pt x="3787987" y="1814070"/>
                </a:cubicBezTo>
                <a:lnTo>
                  <a:pt x="3788841" y="1813928"/>
                </a:lnTo>
                <a:close/>
                <a:moveTo>
                  <a:pt x="4865330" y="1809376"/>
                </a:moveTo>
                <a:cubicBezTo>
                  <a:pt x="4866611" y="1818765"/>
                  <a:pt x="4864690" y="1830716"/>
                  <a:pt x="4864263" y="1833419"/>
                </a:cubicBezTo>
                <a:cubicBezTo>
                  <a:pt x="4864049" y="1834700"/>
                  <a:pt x="4863623" y="1835553"/>
                  <a:pt x="4862982" y="1835838"/>
                </a:cubicBezTo>
                <a:cubicBezTo>
                  <a:pt x="4862129" y="1836264"/>
                  <a:pt x="4861275" y="1836264"/>
                  <a:pt x="4859994" y="1836122"/>
                </a:cubicBezTo>
                <a:cubicBezTo>
                  <a:pt x="4855513" y="1832850"/>
                  <a:pt x="4857647" y="1827017"/>
                  <a:pt x="4857220" y="1820899"/>
                </a:cubicBezTo>
                <a:cubicBezTo>
                  <a:pt x="4858501" y="1820615"/>
                  <a:pt x="4859354" y="1819050"/>
                  <a:pt x="4858928" y="1817912"/>
                </a:cubicBezTo>
                <a:cubicBezTo>
                  <a:pt x="4859781" y="1816347"/>
                  <a:pt x="4860635" y="1814782"/>
                  <a:pt x="4859354" y="1815208"/>
                </a:cubicBezTo>
                <a:cubicBezTo>
                  <a:pt x="4861915" y="1810514"/>
                  <a:pt x="4861702" y="1809376"/>
                  <a:pt x="4865330" y="1809376"/>
                </a:cubicBezTo>
                <a:close/>
                <a:moveTo>
                  <a:pt x="5510071" y="1808664"/>
                </a:moveTo>
                <a:cubicBezTo>
                  <a:pt x="5511992" y="1811794"/>
                  <a:pt x="5515193" y="1815066"/>
                  <a:pt x="5518394" y="1818339"/>
                </a:cubicBezTo>
                <a:lnTo>
                  <a:pt x="5524157" y="1824883"/>
                </a:lnTo>
                <a:lnTo>
                  <a:pt x="5524157" y="1824456"/>
                </a:lnTo>
                <a:cubicBezTo>
                  <a:pt x="5524797" y="1823744"/>
                  <a:pt x="5525864" y="1823460"/>
                  <a:pt x="5527571" y="1822891"/>
                </a:cubicBezTo>
                <a:cubicBezTo>
                  <a:pt x="5527999" y="1824029"/>
                  <a:pt x="5528425" y="1825025"/>
                  <a:pt x="5528212" y="1825879"/>
                </a:cubicBezTo>
                <a:lnTo>
                  <a:pt x="5526504" y="1827586"/>
                </a:lnTo>
                <a:lnTo>
                  <a:pt x="5526931" y="1828013"/>
                </a:lnTo>
                <a:cubicBezTo>
                  <a:pt x="5531200" y="1834415"/>
                  <a:pt x="5531627" y="1840532"/>
                  <a:pt x="5520102" y="1845085"/>
                </a:cubicBezTo>
                <a:lnTo>
                  <a:pt x="5518608" y="1838398"/>
                </a:lnTo>
                <a:lnTo>
                  <a:pt x="5516901" y="1839679"/>
                </a:lnTo>
                <a:cubicBezTo>
                  <a:pt x="5516260" y="1840675"/>
                  <a:pt x="5513913" y="1837830"/>
                  <a:pt x="5513913" y="1837830"/>
                </a:cubicBezTo>
                <a:cubicBezTo>
                  <a:pt x="5513913" y="1836975"/>
                  <a:pt x="5514766" y="1835980"/>
                  <a:pt x="5515833" y="1835127"/>
                </a:cubicBezTo>
                <a:lnTo>
                  <a:pt x="5517328" y="1833988"/>
                </a:lnTo>
                <a:lnTo>
                  <a:pt x="5513273" y="1825594"/>
                </a:lnTo>
                <a:cubicBezTo>
                  <a:pt x="5510071" y="1819619"/>
                  <a:pt x="5507723" y="1813928"/>
                  <a:pt x="5510071" y="1808664"/>
                </a:cubicBezTo>
                <a:close/>
                <a:moveTo>
                  <a:pt x="1199528" y="1808591"/>
                </a:moveTo>
                <a:cubicBezTo>
                  <a:pt x="1200251" y="1809521"/>
                  <a:pt x="1200147" y="1810295"/>
                  <a:pt x="1200044" y="1811070"/>
                </a:cubicBezTo>
                <a:cubicBezTo>
                  <a:pt x="1199011" y="1811845"/>
                  <a:pt x="1198186" y="1811845"/>
                  <a:pt x="1197153" y="1812619"/>
                </a:cubicBezTo>
                <a:cubicBezTo>
                  <a:pt x="1197050" y="1813393"/>
                  <a:pt x="1196740" y="1815097"/>
                  <a:pt x="1195707" y="1815872"/>
                </a:cubicBezTo>
                <a:lnTo>
                  <a:pt x="1195604" y="1816026"/>
                </a:lnTo>
                <a:lnTo>
                  <a:pt x="1195088" y="1817885"/>
                </a:lnTo>
                <a:lnTo>
                  <a:pt x="1195810" y="1817576"/>
                </a:lnTo>
                <a:cubicBezTo>
                  <a:pt x="1199321" y="1818969"/>
                  <a:pt x="1198599" y="1821293"/>
                  <a:pt x="1198599" y="1825011"/>
                </a:cubicBezTo>
                <a:cubicBezTo>
                  <a:pt x="1197360" y="1824546"/>
                  <a:pt x="1196224" y="1827799"/>
                  <a:pt x="1195810" y="1828883"/>
                </a:cubicBezTo>
                <a:cubicBezTo>
                  <a:pt x="1193436" y="1827954"/>
                  <a:pt x="1191474" y="1831516"/>
                  <a:pt x="1187963" y="1830122"/>
                </a:cubicBezTo>
                <a:cubicBezTo>
                  <a:pt x="1187137" y="1828573"/>
                  <a:pt x="1186827" y="1827799"/>
                  <a:pt x="1186827" y="1825785"/>
                </a:cubicBezTo>
                <a:lnTo>
                  <a:pt x="1188996" y="1822223"/>
                </a:lnTo>
                <a:lnTo>
                  <a:pt x="1187860" y="1822223"/>
                </a:lnTo>
                <a:cubicBezTo>
                  <a:pt x="1188273" y="1821758"/>
                  <a:pt x="1189408" y="1820673"/>
                  <a:pt x="1190441" y="1819589"/>
                </a:cubicBezTo>
                <a:lnTo>
                  <a:pt x="1191784" y="1818350"/>
                </a:lnTo>
                <a:lnTo>
                  <a:pt x="1191577" y="1817730"/>
                </a:lnTo>
                <a:cubicBezTo>
                  <a:pt x="1191370" y="1816491"/>
                  <a:pt x="1191990" y="1815252"/>
                  <a:pt x="1193023" y="1814942"/>
                </a:cubicBezTo>
                <a:lnTo>
                  <a:pt x="1194571" y="1815252"/>
                </a:lnTo>
                <a:lnTo>
                  <a:pt x="1195088" y="1814942"/>
                </a:lnTo>
                <a:cubicBezTo>
                  <a:pt x="1196017" y="1814168"/>
                  <a:pt x="1198495" y="1810141"/>
                  <a:pt x="1197772" y="1809366"/>
                </a:cubicBezTo>
                <a:cubicBezTo>
                  <a:pt x="1198599" y="1809366"/>
                  <a:pt x="1199528" y="1808591"/>
                  <a:pt x="1199528" y="1808591"/>
                </a:cubicBezTo>
                <a:close/>
                <a:moveTo>
                  <a:pt x="5569188" y="1808380"/>
                </a:moveTo>
                <a:cubicBezTo>
                  <a:pt x="5571536" y="1808949"/>
                  <a:pt x="5573883" y="1808096"/>
                  <a:pt x="5576445" y="1808664"/>
                </a:cubicBezTo>
                <a:cubicBezTo>
                  <a:pt x="5576871" y="1810798"/>
                  <a:pt x="5578366" y="1812506"/>
                  <a:pt x="5579219" y="1814355"/>
                </a:cubicBezTo>
                <a:cubicBezTo>
                  <a:pt x="5579859" y="1816205"/>
                  <a:pt x="5580073" y="1818197"/>
                  <a:pt x="5577725" y="1821326"/>
                </a:cubicBezTo>
                <a:cubicBezTo>
                  <a:pt x="5570683" y="1823318"/>
                  <a:pt x="5564493" y="1815778"/>
                  <a:pt x="5569188" y="1808380"/>
                </a:cubicBezTo>
                <a:close/>
                <a:moveTo>
                  <a:pt x="1121879" y="1808282"/>
                </a:moveTo>
                <a:cubicBezTo>
                  <a:pt x="1128074" y="1817576"/>
                  <a:pt x="1134270" y="1816956"/>
                  <a:pt x="1140156" y="1821293"/>
                </a:cubicBezTo>
                <a:cubicBezTo>
                  <a:pt x="1146867" y="1834924"/>
                  <a:pt x="1151307" y="1854750"/>
                  <a:pt x="1140568" y="1867142"/>
                </a:cubicBezTo>
                <a:cubicBezTo>
                  <a:pt x="1131689" y="1877365"/>
                  <a:pt x="1120434" y="1873802"/>
                  <a:pt x="1107733" y="1877520"/>
                </a:cubicBezTo>
                <a:cubicBezTo>
                  <a:pt x="1101537" y="1868227"/>
                  <a:pt x="1095239" y="1869621"/>
                  <a:pt x="1089147" y="1867917"/>
                </a:cubicBezTo>
                <a:cubicBezTo>
                  <a:pt x="1088114" y="1860172"/>
                  <a:pt x="1080783" y="1852272"/>
                  <a:pt x="1077066" y="1844217"/>
                </a:cubicBezTo>
                <a:cubicBezTo>
                  <a:pt x="1079234" y="1839570"/>
                  <a:pt x="1080576" y="1835079"/>
                  <a:pt x="1081919" y="1830432"/>
                </a:cubicBezTo>
                <a:lnTo>
                  <a:pt x="1084500" y="1822997"/>
                </a:lnTo>
                <a:lnTo>
                  <a:pt x="1081196" y="1821138"/>
                </a:lnTo>
                <a:lnTo>
                  <a:pt x="1085636" y="1819280"/>
                </a:lnTo>
                <a:lnTo>
                  <a:pt x="1086669" y="1816646"/>
                </a:lnTo>
                <a:cubicBezTo>
                  <a:pt x="1098233" y="1816026"/>
                  <a:pt x="1109075" y="1802706"/>
                  <a:pt x="1121879" y="1808282"/>
                </a:cubicBezTo>
                <a:close/>
                <a:moveTo>
                  <a:pt x="672198" y="1807972"/>
                </a:moveTo>
                <a:cubicBezTo>
                  <a:pt x="673024" y="1807662"/>
                  <a:pt x="673644" y="1807507"/>
                  <a:pt x="673644" y="1807972"/>
                </a:cubicBezTo>
                <a:cubicBezTo>
                  <a:pt x="674470" y="1808746"/>
                  <a:pt x="674470" y="1807972"/>
                  <a:pt x="675399" y="1807972"/>
                </a:cubicBezTo>
                <a:cubicBezTo>
                  <a:pt x="677981" y="1810760"/>
                  <a:pt x="678807" y="1813393"/>
                  <a:pt x="677051" y="1815717"/>
                </a:cubicBezTo>
                <a:cubicBezTo>
                  <a:pt x="675193" y="1817111"/>
                  <a:pt x="672611" y="1819435"/>
                  <a:pt x="669927" y="1817421"/>
                </a:cubicBezTo>
                <a:cubicBezTo>
                  <a:pt x="670030" y="1816646"/>
                  <a:pt x="669100" y="1816491"/>
                  <a:pt x="669100" y="1815717"/>
                </a:cubicBezTo>
                <a:cubicBezTo>
                  <a:pt x="669100" y="1815717"/>
                  <a:pt x="668688" y="1814788"/>
                  <a:pt x="668584" y="1813548"/>
                </a:cubicBezTo>
                <a:cubicBezTo>
                  <a:pt x="668481" y="1812309"/>
                  <a:pt x="668791" y="1810760"/>
                  <a:pt x="670133" y="1809211"/>
                </a:cubicBezTo>
                <a:cubicBezTo>
                  <a:pt x="670546" y="1808902"/>
                  <a:pt x="671475" y="1808282"/>
                  <a:pt x="672198" y="1807972"/>
                </a:cubicBezTo>
                <a:close/>
                <a:moveTo>
                  <a:pt x="3774755" y="1807811"/>
                </a:moveTo>
                <a:cubicBezTo>
                  <a:pt x="3776035" y="1807953"/>
                  <a:pt x="3777103" y="1809376"/>
                  <a:pt x="3778170" y="1809660"/>
                </a:cubicBezTo>
                <a:cubicBezTo>
                  <a:pt x="3778170" y="1810798"/>
                  <a:pt x="3777956" y="1813217"/>
                  <a:pt x="3776676" y="1814355"/>
                </a:cubicBezTo>
                <a:cubicBezTo>
                  <a:pt x="3776676" y="1815493"/>
                  <a:pt x="3773261" y="1813643"/>
                  <a:pt x="3773261" y="1813643"/>
                </a:cubicBezTo>
                <a:cubicBezTo>
                  <a:pt x="3772194" y="1812221"/>
                  <a:pt x="3774755" y="1809091"/>
                  <a:pt x="3774755" y="1807811"/>
                </a:cubicBezTo>
                <a:close/>
                <a:moveTo>
                  <a:pt x="1203658" y="1807662"/>
                </a:moveTo>
                <a:cubicBezTo>
                  <a:pt x="1205310" y="1807507"/>
                  <a:pt x="1207375" y="1808746"/>
                  <a:pt x="1208924" y="1811070"/>
                </a:cubicBezTo>
                <a:cubicBezTo>
                  <a:pt x="1207478" y="1812619"/>
                  <a:pt x="1205930" y="1813238"/>
                  <a:pt x="1204484" y="1813084"/>
                </a:cubicBezTo>
                <a:lnTo>
                  <a:pt x="1203348" y="1812619"/>
                </a:lnTo>
                <a:lnTo>
                  <a:pt x="1202419" y="1812309"/>
                </a:lnTo>
                <a:lnTo>
                  <a:pt x="1200251" y="1811380"/>
                </a:lnTo>
                <a:cubicBezTo>
                  <a:pt x="1200457" y="1808902"/>
                  <a:pt x="1201902" y="1807662"/>
                  <a:pt x="1203658" y="1807662"/>
                </a:cubicBezTo>
                <a:close/>
                <a:moveTo>
                  <a:pt x="5342323" y="1806957"/>
                </a:moveTo>
                <a:cubicBezTo>
                  <a:pt x="5345525" y="1807384"/>
                  <a:pt x="5348726" y="1807953"/>
                  <a:pt x="5348512" y="1811225"/>
                </a:cubicBezTo>
                <a:cubicBezTo>
                  <a:pt x="5346165" y="1811652"/>
                  <a:pt x="5345951" y="1813217"/>
                  <a:pt x="5342110" y="1811794"/>
                </a:cubicBezTo>
                <a:cubicBezTo>
                  <a:pt x="5342110" y="1810229"/>
                  <a:pt x="5342323" y="1808522"/>
                  <a:pt x="5342323" y="1806957"/>
                </a:cubicBezTo>
                <a:close/>
                <a:moveTo>
                  <a:pt x="798894" y="1806578"/>
                </a:moveTo>
                <a:cubicBezTo>
                  <a:pt x="805708" y="1804255"/>
                  <a:pt x="813246" y="1804409"/>
                  <a:pt x="816654" y="1809521"/>
                </a:cubicBezTo>
                <a:cubicBezTo>
                  <a:pt x="804160" y="1808902"/>
                  <a:pt x="798997" y="1820983"/>
                  <a:pt x="785367" y="1818040"/>
                </a:cubicBezTo>
                <a:cubicBezTo>
                  <a:pt x="785987" y="1813548"/>
                  <a:pt x="792079" y="1808902"/>
                  <a:pt x="798894" y="1806578"/>
                </a:cubicBezTo>
                <a:close/>
                <a:moveTo>
                  <a:pt x="3486638" y="1806246"/>
                </a:moveTo>
                <a:cubicBezTo>
                  <a:pt x="3487492" y="1807526"/>
                  <a:pt x="3488346" y="1808806"/>
                  <a:pt x="3489199" y="1810087"/>
                </a:cubicBezTo>
                <a:cubicBezTo>
                  <a:pt x="3486638" y="1812221"/>
                  <a:pt x="3484078" y="1814355"/>
                  <a:pt x="3482370" y="1811794"/>
                </a:cubicBezTo>
                <a:cubicBezTo>
                  <a:pt x="3483864" y="1809518"/>
                  <a:pt x="3482797" y="1808238"/>
                  <a:pt x="3486638" y="1806246"/>
                </a:cubicBezTo>
                <a:close/>
                <a:moveTo>
                  <a:pt x="1150378" y="1806113"/>
                </a:moveTo>
                <a:cubicBezTo>
                  <a:pt x="1154405" y="1810915"/>
                  <a:pt x="1155850" y="1815097"/>
                  <a:pt x="1150481" y="1820364"/>
                </a:cubicBezTo>
                <a:cubicBezTo>
                  <a:pt x="1147073" y="1820054"/>
                  <a:pt x="1145731" y="1817111"/>
                  <a:pt x="1145834" y="1814013"/>
                </a:cubicBezTo>
                <a:cubicBezTo>
                  <a:pt x="1146041" y="1810915"/>
                  <a:pt x="1147693" y="1807507"/>
                  <a:pt x="1150378" y="1806113"/>
                </a:cubicBezTo>
                <a:close/>
                <a:moveTo>
                  <a:pt x="5161770" y="1805961"/>
                </a:moveTo>
                <a:cubicBezTo>
                  <a:pt x="5166465" y="1807811"/>
                  <a:pt x="5167532" y="1812933"/>
                  <a:pt x="5176709" y="1810656"/>
                </a:cubicBezTo>
                <a:lnTo>
                  <a:pt x="5175002" y="1813643"/>
                </a:lnTo>
                <a:lnTo>
                  <a:pt x="5177990" y="1815778"/>
                </a:lnTo>
                <a:lnTo>
                  <a:pt x="5177136" y="1819904"/>
                </a:lnTo>
                <a:lnTo>
                  <a:pt x="5177563" y="1819761"/>
                </a:lnTo>
                <a:cubicBezTo>
                  <a:pt x="5178844" y="1819761"/>
                  <a:pt x="5179270" y="1820757"/>
                  <a:pt x="5179697" y="1822038"/>
                </a:cubicBezTo>
                <a:cubicBezTo>
                  <a:pt x="5180124" y="1823318"/>
                  <a:pt x="5180337" y="1824883"/>
                  <a:pt x="5180551" y="1825879"/>
                </a:cubicBezTo>
                <a:cubicBezTo>
                  <a:pt x="5183112" y="1826164"/>
                  <a:pt x="5179697" y="1831285"/>
                  <a:pt x="5182258" y="1831428"/>
                </a:cubicBezTo>
                <a:cubicBezTo>
                  <a:pt x="5179270" y="1837687"/>
                  <a:pt x="5186527" y="1840959"/>
                  <a:pt x="5183325" y="1851060"/>
                </a:cubicBezTo>
                <a:cubicBezTo>
                  <a:pt x="5181618" y="1848641"/>
                  <a:pt x="5180337" y="1846223"/>
                  <a:pt x="5179697" y="1843804"/>
                </a:cubicBezTo>
                <a:lnTo>
                  <a:pt x="5177990" y="1836549"/>
                </a:lnTo>
                <a:lnTo>
                  <a:pt x="5171161" y="1838398"/>
                </a:lnTo>
                <a:cubicBezTo>
                  <a:pt x="5169239" y="1837830"/>
                  <a:pt x="5167319" y="1836691"/>
                  <a:pt x="5166038" y="1834842"/>
                </a:cubicBezTo>
                <a:cubicBezTo>
                  <a:pt x="5164331" y="1832423"/>
                  <a:pt x="5163904" y="1828866"/>
                  <a:pt x="5165185" y="1824456"/>
                </a:cubicBezTo>
                <a:cubicBezTo>
                  <a:pt x="5167959" y="1823460"/>
                  <a:pt x="5169880" y="1823602"/>
                  <a:pt x="5171801" y="1823744"/>
                </a:cubicBezTo>
                <a:lnTo>
                  <a:pt x="5175215" y="1824314"/>
                </a:lnTo>
                <a:lnTo>
                  <a:pt x="5175856" y="1822891"/>
                </a:lnTo>
                <a:lnTo>
                  <a:pt x="5175642" y="1821895"/>
                </a:lnTo>
                <a:lnTo>
                  <a:pt x="5174789" y="1822891"/>
                </a:lnTo>
                <a:cubicBezTo>
                  <a:pt x="5173935" y="1823176"/>
                  <a:pt x="5173508" y="1823176"/>
                  <a:pt x="5173508" y="1823176"/>
                </a:cubicBezTo>
                <a:lnTo>
                  <a:pt x="5168813" y="1820757"/>
                </a:lnTo>
                <a:lnTo>
                  <a:pt x="5167106" y="1822180"/>
                </a:lnTo>
                <a:cubicBezTo>
                  <a:pt x="5163691" y="1817912"/>
                  <a:pt x="5162837" y="1811083"/>
                  <a:pt x="5161770" y="1805961"/>
                </a:cubicBezTo>
                <a:close/>
                <a:moveTo>
                  <a:pt x="3895551" y="1805677"/>
                </a:moveTo>
                <a:cubicBezTo>
                  <a:pt x="3906648" y="1814070"/>
                  <a:pt x="3918600" y="1819761"/>
                  <a:pt x="3929271" y="1825879"/>
                </a:cubicBezTo>
                <a:cubicBezTo>
                  <a:pt x="3927777" y="1823176"/>
                  <a:pt x="3924362" y="1815493"/>
                  <a:pt x="3925429" y="1813217"/>
                </a:cubicBezTo>
                <a:cubicBezTo>
                  <a:pt x="3927777" y="1816774"/>
                  <a:pt x="3930338" y="1824456"/>
                  <a:pt x="3929484" y="1826021"/>
                </a:cubicBezTo>
                <a:cubicBezTo>
                  <a:pt x="3934393" y="1828866"/>
                  <a:pt x="3939088" y="1831854"/>
                  <a:pt x="3943143" y="1835269"/>
                </a:cubicBezTo>
                <a:cubicBezTo>
                  <a:pt x="3923936" y="1840817"/>
                  <a:pt x="3906008" y="1826021"/>
                  <a:pt x="3888081" y="1817200"/>
                </a:cubicBezTo>
                <a:cubicBezTo>
                  <a:pt x="3890855" y="1813786"/>
                  <a:pt x="3890215" y="1810087"/>
                  <a:pt x="3895551" y="1805677"/>
                </a:cubicBezTo>
                <a:close/>
                <a:moveTo>
                  <a:pt x="1539550" y="1805184"/>
                </a:moveTo>
                <a:cubicBezTo>
                  <a:pt x="1541099" y="1806888"/>
                  <a:pt x="1541099" y="1809366"/>
                  <a:pt x="1540170" y="1811380"/>
                </a:cubicBezTo>
                <a:lnTo>
                  <a:pt x="1538311" y="1814013"/>
                </a:lnTo>
                <a:lnTo>
                  <a:pt x="1538208" y="1814013"/>
                </a:lnTo>
                <a:lnTo>
                  <a:pt x="1535524" y="1815252"/>
                </a:lnTo>
                <a:cubicBezTo>
                  <a:pt x="1534181" y="1815562"/>
                  <a:pt x="1532839" y="1815097"/>
                  <a:pt x="1531600" y="1813858"/>
                </a:cubicBezTo>
                <a:lnTo>
                  <a:pt x="1531703" y="1812929"/>
                </a:lnTo>
                <a:lnTo>
                  <a:pt x="1529225" y="1812929"/>
                </a:lnTo>
                <a:cubicBezTo>
                  <a:pt x="1526747" y="1812774"/>
                  <a:pt x="1524268" y="1812464"/>
                  <a:pt x="1522616" y="1811380"/>
                </a:cubicBezTo>
                <a:cubicBezTo>
                  <a:pt x="1523442" y="1811225"/>
                  <a:pt x="1526334" y="1811380"/>
                  <a:pt x="1529225" y="1811690"/>
                </a:cubicBezTo>
                <a:lnTo>
                  <a:pt x="1531703" y="1811999"/>
                </a:lnTo>
                <a:lnTo>
                  <a:pt x="1531806" y="1810760"/>
                </a:lnTo>
                <a:cubicBezTo>
                  <a:pt x="1532942" y="1808437"/>
                  <a:pt x="1536659" y="1807817"/>
                  <a:pt x="1539550" y="1805184"/>
                </a:cubicBezTo>
                <a:close/>
                <a:moveTo>
                  <a:pt x="1173301" y="1804100"/>
                </a:moveTo>
                <a:cubicBezTo>
                  <a:pt x="1174127" y="1808282"/>
                  <a:pt x="1177224" y="1813703"/>
                  <a:pt x="1176192" y="1817576"/>
                </a:cubicBezTo>
                <a:cubicBezTo>
                  <a:pt x="1175572" y="1816026"/>
                  <a:pt x="1172681" y="1807043"/>
                  <a:pt x="1173301" y="1804100"/>
                </a:cubicBezTo>
                <a:close/>
                <a:moveTo>
                  <a:pt x="3911130" y="1803969"/>
                </a:moveTo>
                <a:cubicBezTo>
                  <a:pt x="3912197" y="1804254"/>
                  <a:pt x="3913478" y="1804823"/>
                  <a:pt x="3914758" y="1805534"/>
                </a:cubicBezTo>
                <a:cubicBezTo>
                  <a:pt x="3914758" y="1806672"/>
                  <a:pt x="3914758" y="1806530"/>
                  <a:pt x="3913691" y="1807669"/>
                </a:cubicBezTo>
                <a:cubicBezTo>
                  <a:pt x="3913691" y="1808806"/>
                  <a:pt x="3908782" y="1806388"/>
                  <a:pt x="3907502" y="1806246"/>
                </a:cubicBezTo>
                <a:cubicBezTo>
                  <a:pt x="3907502" y="1805107"/>
                  <a:pt x="3907502" y="1805250"/>
                  <a:pt x="3908782" y="1805250"/>
                </a:cubicBezTo>
                <a:cubicBezTo>
                  <a:pt x="3908569" y="1804966"/>
                  <a:pt x="3908569" y="1804966"/>
                  <a:pt x="3908356" y="1804823"/>
                </a:cubicBezTo>
                <a:cubicBezTo>
                  <a:pt x="3909209" y="1804396"/>
                  <a:pt x="3910063" y="1803827"/>
                  <a:pt x="3911130" y="1803969"/>
                </a:cubicBezTo>
                <a:close/>
                <a:moveTo>
                  <a:pt x="5640044" y="1803827"/>
                </a:moveTo>
                <a:cubicBezTo>
                  <a:pt x="5641537" y="1806104"/>
                  <a:pt x="5643672" y="1807384"/>
                  <a:pt x="5645379" y="1809803"/>
                </a:cubicBezTo>
                <a:cubicBezTo>
                  <a:pt x="5643032" y="1813643"/>
                  <a:pt x="5645592" y="1819335"/>
                  <a:pt x="5638336" y="1819904"/>
                </a:cubicBezTo>
                <a:cubicBezTo>
                  <a:pt x="5632147" y="1815778"/>
                  <a:pt x="5632361" y="1805250"/>
                  <a:pt x="5640044" y="1803827"/>
                </a:cubicBezTo>
                <a:close/>
                <a:moveTo>
                  <a:pt x="5186100" y="1803685"/>
                </a:moveTo>
                <a:cubicBezTo>
                  <a:pt x="5187594" y="1803685"/>
                  <a:pt x="5188874" y="1803969"/>
                  <a:pt x="5190155" y="1804823"/>
                </a:cubicBezTo>
                <a:cubicBezTo>
                  <a:pt x="5190795" y="1806530"/>
                  <a:pt x="5192289" y="1808949"/>
                  <a:pt x="5192289" y="1811510"/>
                </a:cubicBezTo>
                <a:cubicBezTo>
                  <a:pt x="5188448" y="1815778"/>
                  <a:pt x="5184179" y="1815778"/>
                  <a:pt x="5180124" y="1812933"/>
                </a:cubicBezTo>
                <a:cubicBezTo>
                  <a:pt x="5178630" y="1807953"/>
                  <a:pt x="5182045" y="1803969"/>
                  <a:pt x="5186100" y="1803685"/>
                </a:cubicBezTo>
                <a:close/>
                <a:moveTo>
                  <a:pt x="714533" y="1803635"/>
                </a:moveTo>
                <a:cubicBezTo>
                  <a:pt x="715359" y="1804409"/>
                  <a:pt x="718044" y="1804719"/>
                  <a:pt x="719799" y="1805803"/>
                </a:cubicBezTo>
                <a:cubicBezTo>
                  <a:pt x="719799" y="1806578"/>
                  <a:pt x="720729" y="1807507"/>
                  <a:pt x="720729" y="1808282"/>
                </a:cubicBezTo>
                <a:cubicBezTo>
                  <a:pt x="719799" y="1808127"/>
                  <a:pt x="718044" y="1808746"/>
                  <a:pt x="718044" y="1807972"/>
                </a:cubicBezTo>
                <a:cubicBezTo>
                  <a:pt x="717115" y="1807817"/>
                  <a:pt x="717115" y="1806268"/>
                  <a:pt x="717115" y="1806268"/>
                </a:cubicBezTo>
                <a:cubicBezTo>
                  <a:pt x="716185" y="1806268"/>
                  <a:pt x="715359" y="1806113"/>
                  <a:pt x="714430" y="1805184"/>
                </a:cubicBezTo>
                <a:cubicBezTo>
                  <a:pt x="715359" y="1804409"/>
                  <a:pt x="714430" y="1804409"/>
                  <a:pt x="714533" y="1803635"/>
                </a:cubicBezTo>
                <a:close/>
                <a:moveTo>
                  <a:pt x="6004351" y="1803258"/>
                </a:moveTo>
                <a:cubicBezTo>
                  <a:pt x="6005632" y="1805677"/>
                  <a:pt x="6005845" y="1805677"/>
                  <a:pt x="6004778" y="1808096"/>
                </a:cubicBezTo>
                <a:cubicBezTo>
                  <a:pt x="6003497" y="1808096"/>
                  <a:pt x="6003497" y="1809233"/>
                  <a:pt x="6002217" y="1807953"/>
                </a:cubicBezTo>
                <a:cubicBezTo>
                  <a:pt x="6000083" y="1811510"/>
                  <a:pt x="5989839" y="1814640"/>
                  <a:pt x="5985143" y="1813217"/>
                </a:cubicBezTo>
                <a:cubicBezTo>
                  <a:pt x="5992826" y="1802689"/>
                  <a:pt x="6000083" y="1809091"/>
                  <a:pt x="6004351" y="1803258"/>
                </a:cubicBezTo>
                <a:close/>
                <a:moveTo>
                  <a:pt x="4732369" y="1802974"/>
                </a:moveTo>
                <a:lnTo>
                  <a:pt x="4729168" y="1810371"/>
                </a:lnTo>
                <a:lnTo>
                  <a:pt x="4730876" y="1812790"/>
                </a:lnTo>
                <a:cubicBezTo>
                  <a:pt x="4731089" y="1814355"/>
                  <a:pt x="4730235" y="1816205"/>
                  <a:pt x="4729168" y="1818339"/>
                </a:cubicBezTo>
                <a:cubicBezTo>
                  <a:pt x="4727674" y="1817200"/>
                  <a:pt x="4726821" y="1815920"/>
                  <a:pt x="4726821" y="1814355"/>
                </a:cubicBezTo>
                <a:lnTo>
                  <a:pt x="4726821" y="1813643"/>
                </a:lnTo>
                <a:lnTo>
                  <a:pt x="4722552" y="1819619"/>
                </a:lnTo>
                <a:cubicBezTo>
                  <a:pt x="4720631" y="1822180"/>
                  <a:pt x="4718924" y="1824599"/>
                  <a:pt x="4718070" y="1827301"/>
                </a:cubicBezTo>
                <a:cubicBezTo>
                  <a:pt x="4718070" y="1827301"/>
                  <a:pt x="4718070" y="1827301"/>
                  <a:pt x="4714869" y="1828155"/>
                </a:cubicBezTo>
                <a:cubicBezTo>
                  <a:pt x="4714229" y="1829151"/>
                  <a:pt x="4714229" y="1829293"/>
                  <a:pt x="4714229" y="1829293"/>
                </a:cubicBezTo>
                <a:cubicBezTo>
                  <a:pt x="4714015" y="1829720"/>
                  <a:pt x="4713375" y="1829720"/>
                  <a:pt x="4712735" y="1829436"/>
                </a:cubicBezTo>
                <a:lnTo>
                  <a:pt x="4712308" y="1829862"/>
                </a:lnTo>
                <a:lnTo>
                  <a:pt x="4711881" y="1830431"/>
                </a:lnTo>
                <a:lnTo>
                  <a:pt x="4717643" y="1833846"/>
                </a:lnTo>
                <a:cubicBezTo>
                  <a:pt x="4716363" y="1836833"/>
                  <a:pt x="4720418" y="1838256"/>
                  <a:pt x="4717857" y="1841386"/>
                </a:cubicBezTo>
                <a:lnTo>
                  <a:pt x="4714655" y="1840959"/>
                </a:lnTo>
                <a:cubicBezTo>
                  <a:pt x="4714655" y="1842239"/>
                  <a:pt x="4714442" y="1843947"/>
                  <a:pt x="4714015" y="1846081"/>
                </a:cubicBezTo>
                <a:cubicBezTo>
                  <a:pt x="4713162" y="1850491"/>
                  <a:pt x="4710174" y="1855897"/>
                  <a:pt x="4709534" y="1857605"/>
                </a:cubicBezTo>
                <a:cubicBezTo>
                  <a:pt x="4708893" y="1859170"/>
                  <a:pt x="4709320" y="1860307"/>
                  <a:pt x="4709320" y="1860307"/>
                </a:cubicBezTo>
                <a:cubicBezTo>
                  <a:pt x="4707399" y="1860307"/>
                  <a:pt x="4709107" y="1851060"/>
                  <a:pt x="4710387" y="1844658"/>
                </a:cubicBezTo>
                <a:lnTo>
                  <a:pt x="4711241" y="1840390"/>
                </a:lnTo>
                <a:lnTo>
                  <a:pt x="4709747" y="1840248"/>
                </a:lnTo>
                <a:lnTo>
                  <a:pt x="4707826" y="1838967"/>
                </a:lnTo>
                <a:lnTo>
                  <a:pt x="4705265" y="1839394"/>
                </a:lnTo>
                <a:lnTo>
                  <a:pt x="4704838" y="1839963"/>
                </a:lnTo>
                <a:cubicBezTo>
                  <a:pt x="4704198" y="1841670"/>
                  <a:pt x="4703984" y="1843377"/>
                  <a:pt x="4704625" y="1844089"/>
                </a:cubicBezTo>
                <a:cubicBezTo>
                  <a:pt x="4703344" y="1843947"/>
                  <a:pt x="4702064" y="1845085"/>
                  <a:pt x="4702064" y="1845085"/>
                </a:cubicBezTo>
                <a:cubicBezTo>
                  <a:pt x="4700997" y="1843804"/>
                  <a:pt x="4700997" y="1842524"/>
                  <a:pt x="4700997" y="1841386"/>
                </a:cubicBezTo>
                <a:lnTo>
                  <a:pt x="4704198" y="1839536"/>
                </a:lnTo>
                <a:lnTo>
                  <a:pt x="4695021" y="1841244"/>
                </a:lnTo>
                <a:lnTo>
                  <a:pt x="4691393" y="1840675"/>
                </a:lnTo>
                <a:lnTo>
                  <a:pt x="4691606" y="1842097"/>
                </a:lnTo>
                <a:cubicBezTo>
                  <a:pt x="4689258" y="1841528"/>
                  <a:pt x="4688618" y="1842808"/>
                  <a:pt x="4685204" y="1840105"/>
                </a:cubicBezTo>
                <a:lnTo>
                  <a:pt x="4685417" y="1839679"/>
                </a:lnTo>
                <a:lnTo>
                  <a:pt x="4679442" y="1838683"/>
                </a:lnTo>
                <a:cubicBezTo>
                  <a:pt x="4676240" y="1837402"/>
                  <a:pt x="4673252" y="1835838"/>
                  <a:pt x="4670691" y="1833703"/>
                </a:cubicBezTo>
                <a:cubicBezTo>
                  <a:pt x="4675173" y="1825167"/>
                  <a:pt x="4685204" y="1827444"/>
                  <a:pt x="4693100" y="1827301"/>
                </a:cubicBezTo>
                <a:cubicBezTo>
                  <a:pt x="4690966" y="1819335"/>
                  <a:pt x="4685204" y="1808380"/>
                  <a:pt x="4693741" y="1804396"/>
                </a:cubicBezTo>
                <a:cubicBezTo>
                  <a:pt x="4700143" y="1806672"/>
                  <a:pt x="4700143" y="1814070"/>
                  <a:pt x="4701637" y="1821469"/>
                </a:cubicBezTo>
                <a:lnTo>
                  <a:pt x="4702491" y="1824456"/>
                </a:lnTo>
                <a:lnTo>
                  <a:pt x="4704412" y="1826021"/>
                </a:lnTo>
                <a:lnTo>
                  <a:pt x="4711241" y="1830005"/>
                </a:lnTo>
                <a:lnTo>
                  <a:pt x="4711668" y="1829436"/>
                </a:lnTo>
                <a:lnTo>
                  <a:pt x="4711668" y="1829151"/>
                </a:lnTo>
                <a:lnTo>
                  <a:pt x="4711668" y="1829009"/>
                </a:lnTo>
                <a:lnTo>
                  <a:pt x="4711881" y="1828155"/>
                </a:lnTo>
                <a:lnTo>
                  <a:pt x="4711881" y="1827017"/>
                </a:lnTo>
                <a:lnTo>
                  <a:pt x="4712095" y="1826875"/>
                </a:lnTo>
                <a:lnTo>
                  <a:pt x="4712308" y="1825594"/>
                </a:lnTo>
                <a:cubicBezTo>
                  <a:pt x="4712948" y="1824456"/>
                  <a:pt x="4714015" y="1823176"/>
                  <a:pt x="4714655" y="1822180"/>
                </a:cubicBezTo>
                <a:cubicBezTo>
                  <a:pt x="4713375" y="1819904"/>
                  <a:pt x="4719351" y="1819335"/>
                  <a:pt x="4718070" y="1817058"/>
                </a:cubicBezTo>
                <a:cubicBezTo>
                  <a:pt x="4724473" y="1815351"/>
                  <a:pt x="4723193" y="1807241"/>
                  <a:pt x="4732369" y="1802974"/>
                </a:cubicBezTo>
                <a:close/>
                <a:moveTo>
                  <a:pt x="5591597" y="1802404"/>
                </a:moveTo>
                <a:cubicBezTo>
                  <a:pt x="5595653" y="1803969"/>
                  <a:pt x="5600134" y="1810514"/>
                  <a:pt x="5596933" y="1814070"/>
                </a:cubicBezTo>
                <a:cubicBezTo>
                  <a:pt x="5593518" y="1816347"/>
                  <a:pt x="5581567" y="1808522"/>
                  <a:pt x="5588396" y="1802689"/>
                </a:cubicBezTo>
                <a:cubicBezTo>
                  <a:pt x="5589037" y="1801835"/>
                  <a:pt x="5590317" y="1801835"/>
                  <a:pt x="5591597" y="1802404"/>
                </a:cubicBezTo>
                <a:close/>
                <a:moveTo>
                  <a:pt x="5448179" y="1802262"/>
                </a:moveTo>
                <a:cubicBezTo>
                  <a:pt x="5452234" y="1810087"/>
                  <a:pt x="5466747" y="1829151"/>
                  <a:pt x="5455222" y="1834984"/>
                </a:cubicBezTo>
                <a:cubicBezTo>
                  <a:pt x="5452234" y="1827728"/>
                  <a:pt x="5439429" y="1805819"/>
                  <a:pt x="5448179" y="1802262"/>
                </a:cubicBezTo>
                <a:close/>
                <a:moveTo>
                  <a:pt x="1428937" y="1802241"/>
                </a:moveTo>
                <a:cubicBezTo>
                  <a:pt x="1430279" y="1801428"/>
                  <a:pt x="1431699" y="1801079"/>
                  <a:pt x="1433300" y="1802396"/>
                </a:cubicBezTo>
                <a:cubicBezTo>
                  <a:pt x="1428653" y="1811380"/>
                  <a:pt x="1437843" y="1819124"/>
                  <a:pt x="1435262" y="1826095"/>
                </a:cubicBezTo>
                <a:lnTo>
                  <a:pt x="1433403" y="1829038"/>
                </a:lnTo>
                <a:lnTo>
                  <a:pt x="1434952" y="1830432"/>
                </a:lnTo>
                <a:cubicBezTo>
                  <a:pt x="1436088" y="1830897"/>
                  <a:pt x="1437224" y="1831516"/>
                  <a:pt x="1437843" y="1832291"/>
                </a:cubicBezTo>
                <a:cubicBezTo>
                  <a:pt x="1438566" y="1832910"/>
                  <a:pt x="1438876" y="1833840"/>
                  <a:pt x="1438359" y="1834769"/>
                </a:cubicBezTo>
                <a:cubicBezTo>
                  <a:pt x="1435674" y="1834614"/>
                  <a:pt x="1433713" y="1834304"/>
                  <a:pt x="1430718" y="1833220"/>
                </a:cubicBezTo>
                <a:cubicBezTo>
                  <a:pt x="1430718" y="1833220"/>
                  <a:pt x="1426278" y="1830742"/>
                  <a:pt x="1427105" y="1827954"/>
                </a:cubicBezTo>
                <a:cubicBezTo>
                  <a:pt x="1426898" y="1827644"/>
                  <a:pt x="1427621" y="1827179"/>
                  <a:pt x="1428550" y="1826869"/>
                </a:cubicBezTo>
                <a:cubicBezTo>
                  <a:pt x="1429479" y="1826714"/>
                  <a:pt x="1430615" y="1826714"/>
                  <a:pt x="1431132" y="1826869"/>
                </a:cubicBezTo>
                <a:lnTo>
                  <a:pt x="1433197" y="1828883"/>
                </a:lnTo>
                <a:lnTo>
                  <a:pt x="1426898" y="1818815"/>
                </a:lnTo>
                <a:cubicBezTo>
                  <a:pt x="1425969" y="1816956"/>
                  <a:pt x="1425246" y="1814942"/>
                  <a:pt x="1424936" y="1812619"/>
                </a:cubicBezTo>
                <a:cubicBezTo>
                  <a:pt x="1424523" y="1810295"/>
                  <a:pt x="1424523" y="1807817"/>
                  <a:pt x="1425039" y="1804874"/>
                </a:cubicBezTo>
                <a:cubicBezTo>
                  <a:pt x="1426330" y="1804332"/>
                  <a:pt x="1427595" y="1803054"/>
                  <a:pt x="1428937" y="1802241"/>
                </a:cubicBezTo>
                <a:close/>
                <a:moveTo>
                  <a:pt x="6080755" y="1802120"/>
                </a:moveTo>
                <a:cubicBezTo>
                  <a:pt x="6080755" y="1802120"/>
                  <a:pt x="6081396" y="1802689"/>
                  <a:pt x="6082036" y="1803543"/>
                </a:cubicBezTo>
                <a:cubicBezTo>
                  <a:pt x="6082463" y="1804396"/>
                  <a:pt x="6083103" y="1805392"/>
                  <a:pt x="6082890" y="1806246"/>
                </a:cubicBezTo>
                <a:cubicBezTo>
                  <a:pt x="6082890" y="1808949"/>
                  <a:pt x="6078194" y="1807669"/>
                  <a:pt x="6077127" y="1808380"/>
                </a:cubicBezTo>
                <a:cubicBezTo>
                  <a:pt x="6075634" y="1807953"/>
                  <a:pt x="6074139" y="1807669"/>
                  <a:pt x="6074566" y="1805961"/>
                </a:cubicBezTo>
                <a:cubicBezTo>
                  <a:pt x="6074993" y="1804254"/>
                  <a:pt x="6074566" y="1803258"/>
                  <a:pt x="6077127" y="1802974"/>
                </a:cubicBezTo>
                <a:cubicBezTo>
                  <a:pt x="6078194" y="1802404"/>
                  <a:pt x="6079689" y="1802831"/>
                  <a:pt x="6080755" y="1802120"/>
                </a:cubicBezTo>
                <a:close/>
                <a:moveTo>
                  <a:pt x="5084726" y="1802120"/>
                </a:moveTo>
                <a:cubicBezTo>
                  <a:pt x="5085793" y="1803401"/>
                  <a:pt x="5086646" y="1804681"/>
                  <a:pt x="5087927" y="1803685"/>
                </a:cubicBezTo>
                <a:cubicBezTo>
                  <a:pt x="5089634" y="1805677"/>
                  <a:pt x="5090914" y="1807811"/>
                  <a:pt x="5091768" y="1810371"/>
                </a:cubicBezTo>
                <a:cubicBezTo>
                  <a:pt x="5098171" y="1827301"/>
                  <a:pt x="5086219" y="1853052"/>
                  <a:pt x="5067865" y="1855755"/>
                </a:cubicBezTo>
                <a:cubicBezTo>
                  <a:pt x="5061676" y="1849211"/>
                  <a:pt x="5059329" y="1841244"/>
                  <a:pt x="5060182" y="1833277"/>
                </a:cubicBezTo>
                <a:cubicBezTo>
                  <a:pt x="5061463" y="1820046"/>
                  <a:pt x="5071067" y="1807099"/>
                  <a:pt x="5084726" y="1802120"/>
                </a:cubicBezTo>
                <a:close/>
                <a:moveTo>
                  <a:pt x="1173404" y="1802086"/>
                </a:moveTo>
                <a:cubicBezTo>
                  <a:pt x="1173094" y="1803170"/>
                  <a:pt x="1173094" y="1803170"/>
                  <a:pt x="1173404" y="1804100"/>
                </a:cubicBezTo>
                <a:cubicBezTo>
                  <a:pt x="1173404" y="1804100"/>
                  <a:pt x="1172371" y="1803325"/>
                  <a:pt x="1172371" y="1803325"/>
                </a:cubicBezTo>
                <a:cubicBezTo>
                  <a:pt x="1172681" y="1802241"/>
                  <a:pt x="1171958" y="1802551"/>
                  <a:pt x="1173404" y="1802086"/>
                </a:cubicBezTo>
                <a:close/>
                <a:moveTo>
                  <a:pt x="1455397" y="1801621"/>
                </a:moveTo>
                <a:cubicBezTo>
                  <a:pt x="1458288" y="1803790"/>
                  <a:pt x="1459320" y="1805803"/>
                  <a:pt x="1460043" y="1807662"/>
                </a:cubicBezTo>
                <a:lnTo>
                  <a:pt x="1460456" y="1808746"/>
                </a:lnTo>
                <a:lnTo>
                  <a:pt x="1468510" y="1811690"/>
                </a:lnTo>
                <a:cubicBezTo>
                  <a:pt x="1472331" y="1813238"/>
                  <a:pt x="1476461" y="1814942"/>
                  <a:pt x="1481107" y="1816026"/>
                </a:cubicBezTo>
                <a:cubicBezTo>
                  <a:pt x="1476977" y="1818350"/>
                  <a:pt x="1475222" y="1821913"/>
                  <a:pt x="1474189" y="1825785"/>
                </a:cubicBezTo>
                <a:lnTo>
                  <a:pt x="1473157" y="1829967"/>
                </a:lnTo>
                <a:lnTo>
                  <a:pt x="1473983" y="1830277"/>
                </a:lnTo>
                <a:cubicBezTo>
                  <a:pt x="1474189" y="1830432"/>
                  <a:pt x="1474189" y="1830432"/>
                  <a:pt x="1474086" y="1829967"/>
                </a:cubicBezTo>
                <a:cubicBezTo>
                  <a:pt x="1476255" y="1831206"/>
                  <a:pt x="1479249" y="1832136"/>
                  <a:pt x="1479042" y="1833995"/>
                </a:cubicBezTo>
                <a:cubicBezTo>
                  <a:pt x="1477906" y="1836937"/>
                  <a:pt x="1474602" y="1837402"/>
                  <a:pt x="1471092" y="1837092"/>
                </a:cubicBezTo>
                <a:lnTo>
                  <a:pt x="1470678" y="1836937"/>
                </a:lnTo>
                <a:lnTo>
                  <a:pt x="1468613" y="1839725"/>
                </a:lnTo>
                <a:cubicBezTo>
                  <a:pt x="1467684" y="1840500"/>
                  <a:pt x="1466548" y="1841274"/>
                  <a:pt x="1465206" y="1841739"/>
                </a:cubicBezTo>
                <a:lnTo>
                  <a:pt x="1460456" y="1842669"/>
                </a:lnTo>
                <a:lnTo>
                  <a:pt x="1459837" y="1844682"/>
                </a:lnTo>
                <a:cubicBezTo>
                  <a:pt x="1450543" y="1845921"/>
                  <a:pt x="1447446" y="1843598"/>
                  <a:pt x="1447549" y="1840346"/>
                </a:cubicBezTo>
                <a:lnTo>
                  <a:pt x="1447859" y="1839725"/>
                </a:lnTo>
                <a:lnTo>
                  <a:pt x="1443626" y="1836627"/>
                </a:lnTo>
                <a:cubicBezTo>
                  <a:pt x="1440115" y="1832910"/>
                  <a:pt x="1437740" y="1827954"/>
                  <a:pt x="1437224" y="1823307"/>
                </a:cubicBezTo>
                <a:cubicBezTo>
                  <a:pt x="1436707" y="1817885"/>
                  <a:pt x="1438669" y="1812774"/>
                  <a:pt x="1444039" y="1809676"/>
                </a:cubicBezTo>
                <a:lnTo>
                  <a:pt x="1446310" y="1808902"/>
                </a:lnTo>
                <a:lnTo>
                  <a:pt x="1447549" y="1806733"/>
                </a:lnTo>
                <a:cubicBezTo>
                  <a:pt x="1449718" y="1803790"/>
                  <a:pt x="1452608" y="1801621"/>
                  <a:pt x="1455397" y="1801621"/>
                </a:cubicBezTo>
                <a:close/>
                <a:moveTo>
                  <a:pt x="6114903" y="1801267"/>
                </a:moveTo>
                <a:cubicBezTo>
                  <a:pt x="6117037" y="1801124"/>
                  <a:pt x="6119385" y="1801409"/>
                  <a:pt x="6122373" y="1802547"/>
                </a:cubicBezTo>
                <a:cubicBezTo>
                  <a:pt x="6124506" y="1807953"/>
                  <a:pt x="6119598" y="1818054"/>
                  <a:pt x="6112342" y="1815351"/>
                </a:cubicBezTo>
                <a:cubicBezTo>
                  <a:pt x="6109994" y="1812648"/>
                  <a:pt x="6107647" y="1809945"/>
                  <a:pt x="6109140" y="1804112"/>
                </a:cubicBezTo>
                <a:cubicBezTo>
                  <a:pt x="6111061" y="1802547"/>
                  <a:pt x="6112982" y="1801551"/>
                  <a:pt x="6114903" y="1801267"/>
                </a:cubicBezTo>
                <a:close/>
                <a:moveTo>
                  <a:pt x="5934990" y="1799986"/>
                </a:moveTo>
                <a:cubicBezTo>
                  <a:pt x="5937337" y="1801267"/>
                  <a:pt x="5937551" y="1802547"/>
                  <a:pt x="5936271" y="1803685"/>
                </a:cubicBezTo>
                <a:cubicBezTo>
                  <a:pt x="5936271" y="1803685"/>
                  <a:pt x="5935203" y="1804823"/>
                  <a:pt x="5933923" y="1805961"/>
                </a:cubicBezTo>
                <a:cubicBezTo>
                  <a:pt x="5932856" y="1807099"/>
                  <a:pt x="5932856" y="1808238"/>
                  <a:pt x="5932856" y="1808238"/>
                </a:cubicBezTo>
                <a:cubicBezTo>
                  <a:pt x="5931788" y="1809376"/>
                  <a:pt x="5930721" y="1809376"/>
                  <a:pt x="5929441" y="1808096"/>
                </a:cubicBezTo>
                <a:cubicBezTo>
                  <a:pt x="5929441" y="1808096"/>
                  <a:pt x="5930508" y="1805819"/>
                  <a:pt x="5930508" y="1805819"/>
                </a:cubicBezTo>
                <a:cubicBezTo>
                  <a:pt x="5932642" y="1803543"/>
                  <a:pt x="5933923" y="1802262"/>
                  <a:pt x="5934990" y="1799986"/>
                </a:cubicBezTo>
                <a:close/>
                <a:moveTo>
                  <a:pt x="958941" y="1799917"/>
                </a:moveTo>
                <a:cubicBezTo>
                  <a:pt x="962142" y="1802860"/>
                  <a:pt x="962968" y="1805494"/>
                  <a:pt x="962761" y="1807972"/>
                </a:cubicBezTo>
                <a:lnTo>
                  <a:pt x="960283" y="1814478"/>
                </a:lnTo>
                <a:lnTo>
                  <a:pt x="962864" y="1817885"/>
                </a:lnTo>
                <a:cubicBezTo>
                  <a:pt x="960490" y="1818350"/>
                  <a:pt x="961419" y="1823616"/>
                  <a:pt x="957805" y="1824236"/>
                </a:cubicBezTo>
                <a:cubicBezTo>
                  <a:pt x="947376" y="1827179"/>
                  <a:pt x="945930" y="1824236"/>
                  <a:pt x="941904" y="1818815"/>
                </a:cubicBezTo>
                <a:cubicBezTo>
                  <a:pt x="942626" y="1819280"/>
                  <a:pt x="942317" y="1818195"/>
                  <a:pt x="942317" y="1818195"/>
                </a:cubicBezTo>
                <a:cubicBezTo>
                  <a:pt x="941697" y="1815872"/>
                  <a:pt x="938290" y="1819435"/>
                  <a:pt x="936844" y="1816491"/>
                </a:cubicBezTo>
                <a:cubicBezTo>
                  <a:pt x="936431" y="1815407"/>
                  <a:pt x="936328" y="1814168"/>
                  <a:pt x="936534" y="1813084"/>
                </a:cubicBezTo>
                <a:cubicBezTo>
                  <a:pt x="937154" y="1809831"/>
                  <a:pt x="940148" y="1807352"/>
                  <a:pt x="942007" y="1805803"/>
                </a:cubicBezTo>
                <a:lnTo>
                  <a:pt x="942420" y="1805339"/>
                </a:lnTo>
                <a:lnTo>
                  <a:pt x="942936" y="1804409"/>
                </a:lnTo>
                <a:lnTo>
                  <a:pt x="942626" y="1804100"/>
                </a:lnTo>
                <a:lnTo>
                  <a:pt x="942936" y="1804100"/>
                </a:lnTo>
                <a:lnTo>
                  <a:pt x="943762" y="1802241"/>
                </a:lnTo>
                <a:lnTo>
                  <a:pt x="945208" y="1802860"/>
                </a:lnTo>
                <a:lnTo>
                  <a:pt x="947789" y="1802086"/>
                </a:lnTo>
                <a:cubicBezTo>
                  <a:pt x="948615" y="1801931"/>
                  <a:pt x="949234" y="1802396"/>
                  <a:pt x="949544" y="1803480"/>
                </a:cubicBezTo>
                <a:cubicBezTo>
                  <a:pt x="950577" y="1805184"/>
                  <a:pt x="948925" y="1806113"/>
                  <a:pt x="949648" y="1808437"/>
                </a:cubicBezTo>
                <a:cubicBezTo>
                  <a:pt x="950474" y="1810450"/>
                  <a:pt x="952952" y="1810760"/>
                  <a:pt x="955636" y="1811690"/>
                </a:cubicBezTo>
                <a:lnTo>
                  <a:pt x="958631" y="1813084"/>
                </a:lnTo>
                <a:lnTo>
                  <a:pt x="957805" y="1812154"/>
                </a:lnTo>
                <a:cubicBezTo>
                  <a:pt x="955636" y="1808591"/>
                  <a:pt x="954707" y="1802860"/>
                  <a:pt x="958941" y="1799917"/>
                </a:cubicBezTo>
                <a:close/>
                <a:moveTo>
                  <a:pt x="1561028" y="1799763"/>
                </a:moveTo>
                <a:cubicBezTo>
                  <a:pt x="1560925" y="1805803"/>
                  <a:pt x="1554419" y="1815717"/>
                  <a:pt x="1547088" y="1812154"/>
                </a:cubicBezTo>
                <a:cubicBezTo>
                  <a:pt x="1551425" y="1808127"/>
                  <a:pt x="1555452" y="1802551"/>
                  <a:pt x="1561028" y="1799763"/>
                </a:cubicBezTo>
                <a:close/>
                <a:moveTo>
                  <a:pt x="1036693" y="1799608"/>
                </a:moveTo>
                <a:cubicBezTo>
                  <a:pt x="1038861" y="1805803"/>
                  <a:pt x="1038035" y="1811690"/>
                  <a:pt x="1035144" y="1816801"/>
                </a:cubicBezTo>
                <a:cubicBezTo>
                  <a:pt x="1030394" y="1825166"/>
                  <a:pt x="1020275" y="1830897"/>
                  <a:pt x="1009743" y="1830122"/>
                </a:cubicBezTo>
                <a:cubicBezTo>
                  <a:pt x="1009536" y="1829038"/>
                  <a:pt x="1009226" y="1827954"/>
                  <a:pt x="1008091" y="1828263"/>
                </a:cubicBezTo>
                <a:cubicBezTo>
                  <a:pt x="1007574" y="1826404"/>
                  <a:pt x="1007368" y="1824546"/>
                  <a:pt x="1007471" y="1822687"/>
                </a:cubicBezTo>
                <a:cubicBezTo>
                  <a:pt x="1008297" y="1809521"/>
                  <a:pt x="1023579" y="1795890"/>
                  <a:pt x="1036693" y="1799608"/>
                </a:cubicBezTo>
                <a:close/>
                <a:moveTo>
                  <a:pt x="722794" y="1799608"/>
                </a:moveTo>
                <a:cubicBezTo>
                  <a:pt x="723207" y="1799608"/>
                  <a:pt x="723723" y="1799763"/>
                  <a:pt x="724136" y="1800227"/>
                </a:cubicBezTo>
                <a:cubicBezTo>
                  <a:pt x="724136" y="1800227"/>
                  <a:pt x="724962" y="1801157"/>
                  <a:pt x="725891" y="1802241"/>
                </a:cubicBezTo>
                <a:cubicBezTo>
                  <a:pt x="726718" y="1803170"/>
                  <a:pt x="727543" y="1803325"/>
                  <a:pt x="727543" y="1803325"/>
                </a:cubicBezTo>
                <a:cubicBezTo>
                  <a:pt x="728369" y="1804255"/>
                  <a:pt x="728369" y="1805029"/>
                  <a:pt x="727543" y="1805803"/>
                </a:cubicBezTo>
                <a:cubicBezTo>
                  <a:pt x="727543" y="1805803"/>
                  <a:pt x="725788" y="1804874"/>
                  <a:pt x="725788" y="1804874"/>
                </a:cubicBezTo>
                <a:cubicBezTo>
                  <a:pt x="724033" y="1802860"/>
                  <a:pt x="723207" y="1801931"/>
                  <a:pt x="721452" y="1800847"/>
                </a:cubicBezTo>
                <a:cubicBezTo>
                  <a:pt x="721864" y="1800072"/>
                  <a:pt x="722381" y="1799763"/>
                  <a:pt x="722794" y="1799608"/>
                </a:cubicBezTo>
                <a:close/>
                <a:moveTo>
                  <a:pt x="1760209" y="1799143"/>
                </a:moveTo>
                <a:cubicBezTo>
                  <a:pt x="1760829" y="1800692"/>
                  <a:pt x="1762274" y="1802086"/>
                  <a:pt x="1762791" y="1803790"/>
                </a:cubicBezTo>
                <a:cubicBezTo>
                  <a:pt x="1760312" y="1811535"/>
                  <a:pt x="1757731" y="1809521"/>
                  <a:pt x="1753601" y="1807972"/>
                </a:cubicBezTo>
                <a:cubicBezTo>
                  <a:pt x="1753704" y="1807043"/>
                  <a:pt x="1753291" y="1806113"/>
                  <a:pt x="1753084" y="1805029"/>
                </a:cubicBezTo>
                <a:cubicBezTo>
                  <a:pt x="1752774" y="1803945"/>
                  <a:pt x="1752671" y="1802860"/>
                  <a:pt x="1753188" y="1801776"/>
                </a:cubicBezTo>
                <a:cubicBezTo>
                  <a:pt x="1753188" y="1801776"/>
                  <a:pt x="1753704" y="1800847"/>
                  <a:pt x="1755356" y="1800382"/>
                </a:cubicBezTo>
                <a:cubicBezTo>
                  <a:pt x="1755769" y="1799917"/>
                  <a:pt x="1756389" y="1799608"/>
                  <a:pt x="1756905" y="1799453"/>
                </a:cubicBezTo>
                <a:cubicBezTo>
                  <a:pt x="1758660" y="1798988"/>
                  <a:pt x="1760519" y="1799917"/>
                  <a:pt x="1760519" y="1799917"/>
                </a:cubicBezTo>
                <a:cubicBezTo>
                  <a:pt x="1760519" y="1799917"/>
                  <a:pt x="1760519" y="1799917"/>
                  <a:pt x="1760209" y="1799143"/>
                </a:cubicBezTo>
                <a:close/>
                <a:moveTo>
                  <a:pt x="883770" y="1798988"/>
                </a:moveTo>
                <a:cubicBezTo>
                  <a:pt x="885938" y="1804255"/>
                  <a:pt x="889862" y="1809831"/>
                  <a:pt x="890275" y="1815717"/>
                </a:cubicBezTo>
                <a:cubicBezTo>
                  <a:pt x="885835" y="1813858"/>
                  <a:pt x="880672" y="1807972"/>
                  <a:pt x="881189" y="1803170"/>
                </a:cubicBezTo>
                <a:cubicBezTo>
                  <a:pt x="881396" y="1801621"/>
                  <a:pt x="882118" y="1800072"/>
                  <a:pt x="883770" y="1798988"/>
                </a:cubicBezTo>
                <a:close/>
                <a:moveTo>
                  <a:pt x="1220553" y="1798601"/>
                </a:moveTo>
                <a:cubicBezTo>
                  <a:pt x="1225032" y="1797207"/>
                  <a:pt x="1229369" y="1797904"/>
                  <a:pt x="1230401" y="1801931"/>
                </a:cubicBezTo>
                <a:cubicBezTo>
                  <a:pt x="1230711" y="1803015"/>
                  <a:pt x="1230711" y="1804409"/>
                  <a:pt x="1230401" y="1806113"/>
                </a:cubicBezTo>
                <a:cubicBezTo>
                  <a:pt x="1224722" y="1808902"/>
                  <a:pt x="1215532" y="1815407"/>
                  <a:pt x="1209854" y="1807817"/>
                </a:cubicBezTo>
                <a:cubicBezTo>
                  <a:pt x="1211454" y="1803480"/>
                  <a:pt x="1216075" y="1799995"/>
                  <a:pt x="1220553" y="1798601"/>
                </a:cubicBezTo>
                <a:close/>
                <a:moveTo>
                  <a:pt x="1171752" y="1798059"/>
                </a:moveTo>
                <a:cubicBezTo>
                  <a:pt x="1172062" y="1798833"/>
                  <a:pt x="1172474" y="1799763"/>
                  <a:pt x="1171752" y="1799917"/>
                </a:cubicBezTo>
                <a:cubicBezTo>
                  <a:pt x="1171339" y="1800072"/>
                  <a:pt x="1171132" y="1799917"/>
                  <a:pt x="1170926" y="1799608"/>
                </a:cubicBezTo>
                <a:cubicBezTo>
                  <a:pt x="1170823" y="1799298"/>
                  <a:pt x="1170823" y="1798833"/>
                  <a:pt x="1171029" y="1798213"/>
                </a:cubicBezTo>
                <a:cubicBezTo>
                  <a:pt x="1171029" y="1798213"/>
                  <a:pt x="1171752" y="1798059"/>
                  <a:pt x="1171752" y="1798059"/>
                </a:cubicBezTo>
                <a:close/>
                <a:moveTo>
                  <a:pt x="5970631" y="1797425"/>
                </a:moveTo>
                <a:cubicBezTo>
                  <a:pt x="5970844" y="1797425"/>
                  <a:pt x="5971058" y="1797710"/>
                  <a:pt x="5971698" y="1798421"/>
                </a:cubicBezTo>
                <a:cubicBezTo>
                  <a:pt x="5970844" y="1799702"/>
                  <a:pt x="5970631" y="1798421"/>
                  <a:pt x="5969564" y="1798421"/>
                </a:cubicBezTo>
                <a:cubicBezTo>
                  <a:pt x="5969991" y="1797852"/>
                  <a:pt x="5970204" y="1797425"/>
                  <a:pt x="5970631" y="1797425"/>
                </a:cubicBezTo>
                <a:close/>
                <a:moveTo>
                  <a:pt x="4691393" y="1797140"/>
                </a:moveTo>
                <a:cubicBezTo>
                  <a:pt x="4691820" y="1796998"/>
                  <a:pt x="4692460" y="1796998"/>
                  <a:pt x="4693100" y="1797567"/>
                </a:cubicBezTo>
                <a:cubicBezTo>
                  <a:pt x="4693100" y="1797567"/>
                  <a:pt x="4692887" y="1797567"/>
                  <a:pt x="4693100" y="1798705"/>
                </a:cubicBezTo>
                <a:cubicBezTo>
                  <a:pt x="4693100" y="1798705"/>
                  <a:pt x="4692033" y="1798705"/>
                  <a:pt x="4690966" y="1797567"/>
                </a:cubicBezTo>
                <a:cubicBezTo>
                  <a:pt x="4690966" y="1797567"/>
                  <a:pt x="4691180" y="1797283"/>
                  <a:pt x="4691393" y="1797140"/>
                </a:cubicBezTo>
                <a:close/>
                <a:moveTo>
                  <a:pt x="4825207" y="1796856"/>
                </a:moveTo>
                <a:cubicBezTo>
                  <a:pt x="4828408" y="1797710"/>
                  <a:pt x="4829903" y="1797994"/>
                  <a:pt x="4830969" y="1800128"/>
                </a:cubicBezTo>
                <a:cubicBezTo>
                  <a:pt x="4832463" y="1800412"/>
                  <a:pt x="4833957" y="1800840"/>
                  <a:pt x="4835024" y="1801551"/>
                </a:cubicBezTo>
                <a:cubicBezTo>
                  <a:pt x="4836091" y="1802262"/>
                  <a:pt x="4836518" y="1803258"/>
                  <a:pt x="4836091" y="1804966"/>
                </a:cubicBezTo>
                <a:cubicBezTo>
                  <a:pt x="4832463" y="1805819"/>
                  <a:pt x="4829903" y="1806104"/>
                  <a:pt x="4825847" y="1805961"/>
                </a:cubicBezTo>
                <a:cubicBezTo>
                  <a:pt x="4825847" y="1805961"/>
                  <a:pt x="4819658" y="1804396"/>
                  <a:pt x="4820298" y="1800128"/>
                </a:cubicBezTo>
                <a:cubicBezTo>
                  <a:pt x="4819658" y="1799132"/>
                  <a:pt x="4823713" y="1796430"/>
                  <a:pt x="4825207" y="1796856"/>
                </a:cubicBezTo>
                <a:close/>
                <a:moveTo>
                  <a:pt x="1228543" y="1796045"/>
                </a:moveTo>
                <a:cubicBezTo>
                  <a:pt x="1228853" y="1795890"/>
                  <a:pt x="1229265" y="1795890"/>
                  <a:pt x="1229575" y="1796355"/>
                </a:cubicBezTo>
                <a:cubicBezTo>
                  <a:pt x="1229575" y="1796355"/>
                  <a:pt x="1229575" y="1796355"/>
                  <a:pt x="1229472" y="1797129"/>
                </a:cubicBezTo>
                <a:cubicBezTo>
                  <a:pt x="1229472" y="1797129"/>
                  <a:pt x="1228646" y="1796974"/>
                  <a:pt x="1228027" y="1796200"/>
                </a:cubicBezTo>
                <a:cubicBezTo>
                  <a:pt x="1228027" y="1796200"/>
                  <a:pt x="1228233" y="1796045"/>
                  <a:pt x="1228543" y="1796045"/>
                </a:cubicBezTo>
                <a:close/>
                <a:moveTo>
                  <a:pt x="790220" y="1796045"/>
                </a:moveTo>
                <a:cubicBezTo>
                  <a:pt x="791150" y="1795270"/>
                  <a:pt x="792905" y="1795425"/>
                  <a:pt x="795486" y="1796510"/>
                </a:cubicBezTo>
                <a:cubicBezTo>
                  <a:pt x="796312" y="1798368"/>
                  <a:pt x="793627" y="1800537"/>
                  <a:pt x="792802" y="1802086"/>
                </a:cubicBezTo>
                <a:cubicBezTo>
                  <a:pt x="791872" y="1801157"/>
                  <a:pt x="791046" y="1800227"/>
                  <a:pt x="791046" y="1801002"/>
                </a:cubicBezTo>
                <a:cubicBezTo>
                  <a:pt x="790117" y="1800227"/>
                  <a:pt x="789704" y="1799298"/>
                  <a:pt x="789704" y="1798523"/>
                </a:cubicBezTo>
                <a:cubicBezTo>
                  <a:pt x="789600" y="1797594"/>
                  <a:pt x="789807" y="1796819"/>
                  <a:pt x="790220" y="1796045"/>
                </a:cubicBezTo>
                <a:close/>
                <a:moveTo>
                  <a:pt x="1044127" y="1795580"/>
                </a:moveTo>
                <a:cubicBezTo>
                  <a:pt x="1052078" y="1796200"/>
                  <a:pt x="1056415" y="1806888"/>
                  <a:pt x="1055898" y="1812619"/>
                </a:cubicBezTo>
                <a:cubicBezTo>
                  <a:pt x="1053007" y="1815252"/>
                  <a:pt x="1050219" y="1815872"/>
                  <a:pt x="1047741" y="1815252"/>
                </a:cubicBezTo>
                <a:cubicBezTo>
                  <a:pt x="1044024" y="1814478"/>
                  <a:pt x="1041236" y="1810760"/>
                  <a:pt x="1040306" y="1806733"/>
                </a:cubicBezTo>
                <a:cubicBezTo>
                  <a:pt x="1039274" y="1802551"/>
                  <a:pt x="1040203" y="1798059"/>
                  <a:pt x="1044127" y="1795580"/>
                </a:cubicBezTo>
                <a:close/>
                <a:moveTo>
                  <a:pt x="965859" y="1795425"/>
                </a:moveTo>
                <a:cubicBezTo>
                  <a:pt x="967098" y="1796045"/>
                  <a:pt x="968337" y="1796974"/>
                  <a:pt x="969266" y="1798059"/>
                </a:cubicBezTo>
                <a:cubicBezTo>
                  <a:pt x="968544" y="1797594"/>
                  <a:pt x="968544" y="1797594"/>
                  <a:pt x="968544" y="1797594"/>
                </a:cubicBezTo>
                <a:cubicBezTo>
                  <a:pt x="967304" y="1797749"/>
                  <a:pt x="968027" y="1798368"/>
                  <a:pt x="967614" y="1798988"/>
                </a:cubicBezTo>
                <a:cubicBezTo>
                  <a:pt x="967614" y="1798988"/>
                  <a:pt x="968027" y="1798213"/>
                  <a:pt x="968337" y="1799453"/>
                </a:cubicBezTo>
                <a:cubicBezTo>
                  <a:pt x="967614" y="1798988"/>
                  <a:pt x="967201" y="1799608"/>
                  <a:pt x="966788" y="1800382"/>
                </a:cubicBezTo>
                <a:cubicBezTo>
                  <a:pt x="964310" y="1800692"/>
                  <a:pt x="961109" y="1800692"/>
                  <a:pt x="960076" y="1798988"/>
                </a:cubicBezTo>
                <a:cubicBezTo>
                  <a:pt x="959457" y="1796665"/>
                  <a:pt x="961006" y="1795735"/>
                  <a:pt x="962245" y="1795580"/>
                </a:cubicBezTo>
                <a:cubicBezTo>
                  <a:pt x="963277" y="1794806"/>
                  <a:pt x="964620" y="1794961"/>
                  <a:pt x="965859" y="1795425"/>
                </a:cubicBezTo>
                <a:close/>
                <a:moveTo>
                  <a:pt x="5574951" y="1795007"/>
                </a:moveTo>
                <a:cubicBezTo>
                  <a:pt x="5578792" y="1798705"/>
                  <a:pt x="5577725" y="1801124"/>
                  <a:pt x="5574311" y="1804681"/>
                </a:cubicBezTo>
                <a:cubicBezTo>
                  <a:pt x="5568335" y="1799559"/>
                  <a:pt x="5570469" y="1798421"/>
                  <a:pt x="5574951" y="1795007"/>
                </a:cubicBezTo>
                <a:close/>
                <a:moveTo>
                  <a:pt x="6380184" y="1794865"/>
                </a:moveTo>
                <a:cubicBezTo>
                  <a:pt x="6380611" y="1799275"/>
                  <a:pt x="6385732" y="1798421"/>
                  <a:pt x="6383812" y="1803258"/>
                </a:cubicBezTo>
                <a:cubicBezTo>
                  <a:pt x="6381891" y="1804681"/>
                  <a:pt x="6379544" y="1805107"/>
                  <a:pt x="6375488" y="1803685"/>
                </a:cubicBezTo>
                <a:cubicBezTo>
                  <a:pt x="6373354" y="1797283"/>
                  <a:pt x="6376769" y="1796145"/>
                  <a:pt x="6380184" y="1794865"/>
                </a:cubicBezTo>
                <a:close/>
                <a:moveTo>
                  <a:pt x="4932984" y="1794580"/>
                </a:moveTo>
                <a:cubicBezTo>
                  <a:pt x="4935118" y="1794438"/>
                  <a:pt x="4937466" y="1794438"/>
                  <a:pt x="4939600" y="1794722"/>
                </a:cubicBezTo>
                <a:cubicBezTo>
                  <a:pt x="4942801" y="1794865"/>
                  <a:pt x="4945576" y="1795433"/>
                  <a:pt x="4948350" y="1796002"/>
                </a:cubicBezTo>
                <a:cubicBezTo>
                  <a:pt x="4953899" y="1796856"/>
                  <a:pt x="4959662" y="1798136"/>
                  <a:pt x="4962223" y="1801267"/>
                </a:cubicBezTo>
                <a:cubicBezTo>
                  <a:pt x="4963076" y="1802404"/>
                  <a:pt x="4963716" y="1803685"/>
                  <a:pt x="4963503" y="1805107"/>
                </a:cubicBezTo>
                <a:cubicBezTo>
                  <a:pt x="4963930" y="1813786"/>
                  <a:pt x="4954967" y="1819904"/>
                  <a:pt x="4944296" y="1817912"/>
                </a:cubicBezTo>
                <a:lnTo>
                  <a:pt x="4934905" y="1815351"/>
                </a:lnTo>
                <a:lnTo>
                  <a:pt x="4937039" y="1819477"/>
                </a:lnTo>
                <a:cubicBezTo>
                  <a:pt x="4941308" y="1834415"/>
                  <a:pt x="4926582" y="1850064"/>
                  <a:pt x="4911002" y="1848215"/>
                </a:cubicBezTo>
                <a:cubicBezTo>
                  <a:pt x="4907587" y="1847788"/>
                  <a:pt x="4903959" y="1846508"/>
                  <a:pt x="4900757" y="1844231"/>
                </a:cubicBezTo>
                <a:lnTo>
                  <a:pt x="4894355" y="1837260"/>
                </a:lnTo>
                <a:lnTo>
                  <a:pt x="4893074" y="1838683"/>
                </a:lnTo>
                <a:cubicBezTo>
                  <a:pt x="4887526" y="1837545"/>
                  <a:pt x="4886245" y="1834273"/>
                  <a:pt x="4882830" y="1831996"/>
                </a:cubicBezTo>
                <a:cubicBezTo>
                  <a:pt x="4884751" y="1822891"/>
                  <a:pt x="4889660" y="1820472"/>
                  <a:pt x="4893501" y="1821753"/>
                </a:cubicBezTo>
                <a:cubicBezTo>
                  <a:pt x="4894782" y="1822180"/>
                  <a:pt x="4895849" y="1823034"/>
                  <a:pt x="4896916" y="1824029"/>
                </a:cubicBezTo>
                <a:lnTo>
                  <a:pt x="4897983" y="1827728"/>
                </a:lnTo>
                <a:lnTo>
                  <a:pt x="4901184" y="1825025"/>
                </a:lnTo>
                <a:lnTo>
                  <a:pt x="4903319" y="1822038"/>
                </a:lnTo>
                <a:lnTo>
                  <a:pt x="4900757" y="1821469"/>
                </a:lnTo>
                <a:cubicBezTo>
                  <a:pt x="4900757" y="1820330"/>
                  <a:pt x="4900544" y="1820330"/>
                  <a:pt x="4901825" y="1820188"/>
                </a:cubicBezTo>
                <a:cubicBezTo>
                  <a:pt x="4901612" y="1820046"/>
                  <a:pt x="4901612" y="1820046"/>
                  <a:pt x="4901398" y="1820046"/>
                </a:cubicBezTo>
                <a:cubicBezTo>
                  <a:pt x="4902252" y="1819335"/>
                  <a:pt x="4903105" y="1818765"/>
                  <a:pt x="4903959" y="1818765"/>
                </a:cubicBezTo>
                <a:lnTo>
                  <a:pt x="4905453" y="1819335"/>
                </a:lnTo>
                <a:lnTo>
                  <a:pt x="4907800" y="1816489"/>
                </a:lnTo>
                <a:cubicBezTo>
                  <a:pt x="4909935" y="1813928"/>
                  <a:pt x="4912069" y="1811510"/>
                  <a:pt x="4914843" y="1809660"/>
                </a:cubicBezTo>
                <a:lnTo>
                  <a:pt x="4921246" y="1806957"/>
                </a:lnTo>
                <a:lnTo>
                  <a:pt x="4921032" y="1806672"/>
                </a:lnTo>
                <a:cubicBezTo>
                  <a:pt x="4921246" y="1798136"/>
                  <a:pt x="4926582" y="1795149"/>
                  <a:pt x="4932984" y="1794580"/>
                </a:cubicBezTo>
                <a:close/>
                <a:moveTo>
                  <a:pt x="1681218" y="1794496"/>
                </a:moveTo>
                <a:cubicBezTo>
                  <a:pt x="1682044" y="1795580"/>
                  <a:pt x="1683696" y="1796665"/>
                  <a:pt x="1684419" y="1798368"/>
                </a:cubicBezTo>
                <a:cubicBezTo>
                  <a:pt x="1683180" y="1802396"/>
                  <a:pt x="1680392" y="1803480"/>
                  <a:pt x="1676778" y="1803015"/>
                </a:cubicBezTo>
                <a:cubicBezTo>
                  <a:pt x="1676159" y="1802241"/>
                  <a:pt x="1675745" y="1801467"/>
                  <a:pt x="1675539" y="1800692"/>
                </a:cubicBezTo>
                <a:cubicBezTo>
                  <a:pt x="1675436" y="1799917"/>
                  <a:pt x="1675436" y="1799143"/>
                  <a:pt x="1675539" y="1798368"/>
                </a:cubicBezTo>
                <a:cubicBezTo>
                  <a:pt x="1675849" y="1796974"/>
                  <a:pt x="1676881" y="1795735"/>
                  <a:pt x="1678120" y="1794961"/>
                </a:cubicBezTo>
                <a:cubicBezTo>
                  <a:pt x="1679050" y="1794496"/>
                  <a:pt x="1680082" y="1794341"/>
                  <a:pt x="1681218" y="1794496"/>
                </a:cubicBezTo>
                <a:close/>
                <a:moveTo>
                  <a:pt x="1293284" y="1794496"/>
                </a:moveTo>
                <a:cubicBezTo>
                  <a:pt x="1294420" y="1794806"/>
                  <a:pt x="1297311" y="1796200"/>
                  <a:pt x="1297208" y="1799143"/>
                </a:cubicBezTo>
                <a:cubicBezTo>
                  <a:pt x="1297001" y="1802086"/>
                  <a:pt x="1299067" y="1803945"/>
                  <a:pt x="1298964" y="1806888"/>
                </a:cubicBezTo>
                <a:cubicBezTo>
                  <a:pt x="1298964" y="1806888"/>
                  <a:pt x="1298860" y="1806888"/>
                  <a:pt x="1297725" y="1806423"/>
                </a:cubicBezTo>
                <a:cubicBezTo>
                  <a:pt x="1296898" y="1802086"/>
                  <a:pt x="1293181" y="1799298"/>
                  <a:pt x="1293284" y="1794496"/>
                </a:cubicBezTo>
                <a:close/>
                <a:moveTo>
                  <a:pt x="1192119" y="1793896"/>
                </a:moveTo>
                <a:cubicBezTo>
                  <a:pt x="1194649" y="1792521"/>
                  <a:pt x="1197773" y="1792560"/>
                  <a:pt x="1199941" y="1795580"/>
                </a:cubicBezTo>
                <a:cubicBezTo>
                  <a:pt x="1199838" y="1798988"/>
                  <a:pt x="1194365" y="1804255"/>
                  <a:pt x="1191680" y="1805184"/>
                </a:cubicBezTo>
                <a:cubicBezTo>
                  <a:pt x="1189099" y="1803945"/>
                  <a:pt x="1188066" y="1802396"/>
                  <a:pt x="1187860" y="1800692"/>
                </a:cubicBezTo>
                <a:cubicBezTo>
                  <a:pt x="1187653" y="1798059"/>
                  <a:pt x="1189589" y="1795270"/>
                  <a:pt x="1192119" y="1793896"/>
                </a:cubicBezTo>
                <a:close/>
                <a:moveTo>
                  <a:pt x="1409344" y="1793877"/>
                </a:moveTo>
                <a:cubicBezTo>
                  <a:pt x="1409344" y="1793877"/>
                  <a:pt x="1409344" y="1794651"/>
                  <a:pt x="1409344" y="1794651"/>
                </a:cubicBezTo>
                <a:cubicBezTo>
                  <a:pt x="1408415" y="1794806"/>
                  <a:pt x="1407486" y="1794961"/>
                  <a:pt x="1407486" y="1794186"/>
                </a:cubicBezTo>
                <a:cubicBezTo>
                  <a:pt x="1407382" y="1793412"/>
                  <a:pt x="1408312" y="1793257"/>
                  <a:pt x="1409344" y="1793877"/>
                </a:cubicBezTo>
                <a:close/>
                <a:moveTo>
                  <a:pt x="1403872" y="1793877"/>
                </a:moveTo>
                <a:cubicBezTo>
                  <a:pt x="1404904" y="1794496"/>
                  <a:pt x="1404801" y="1793722"/>
                  <a:pt x="1404904" y="1795270"/>
                </a:cubicBezTo>
                <a:cubicBezTo>
                  <a:pt x="1403975" y="1794651"/>
                  <a:pt x="1403975" y="1794651"/>
                  <a:pt x="1402942" y="1794806"/>
                </a:cubicBezTo>
                <a:cubicBezTo>
                  <a:pt x="1402942" y="1794806"/>
                  <a:pt x="1403872" y="1793877"/>
                  <a:pt x="1403872" y="1793877"/>
                </a:cubicBezTo>
                <a:close/>
                <a:moveTo>
                  <a:pt x="1098233" y="1793722"/>
                </a:moveTo>
                <a:cubicBezTo>
                  <a:pt x="1102364" y="1796819"/>
                  <a:pt x="1097614" y="1800847"/>
                  <a:pt x="1094929" y="1800537"/>
                </a:cubicBezTo>
                <a:cubicBezTo>
                  <a:pt x="1093070" y="1799298"/>
                  <a:pt x="1092658" y="1797904"/>
                  <a:pt x="1093070" y="1796819"/>
                </a:cubicBezTo>
                <a:cubicBezTo>
                  <a:pt x="1093381" y="1795735"/>
                  <a:pt x="1094620" y="1794651"/>
                  <a:pt x="1095859" y="1794186"/>
                </a:cubicBezTo>
                <a:cubicBezTo>
                  <a:pt x="1096685" y="1793877"/>
                  <a:pt x="1097510" y="1793567"/>
                  <a:pt x="1098233" y="1793722"/>
                </a:cubicBezTo>
                <a:close/>
                <a:moveTo>
                  <a:pt x="757488" y="1793567"/>
                </a:moveTo>
                <a:cubicBezTo>
                  <a:pt x="762134" y="1795580"/>
                  <a:pt x="763683" y="1798678"/>
                  <a:pt x="764096" y="1803170"/>
                </a:cubicBezTo>
                <a:cubicBezTo>
                  <a:pt x="762651" y="1803790"/>
                  <a:pt x="759140" y="1802241"/>
                  <a:pt x="756868" y="1801312"/>
                </a:cubicBezTo>
                <a:cubicBezTo>
                  <a:pt x="756249" y="1800227"/>
                  <a:pt x="756042" y="1798833"/>
                  <a:pt x="756146" y="1797594"/>
                </a:cubicBezTo>
                <a:cubicBezTo>
                  <a:pt x="756249" y="1796200"/>
                  <a:pt x="756765" y="1794806"/>
                  <a:pt x="757488" y="1793567"/>
                </a:cubicBezTo>
                <a:close/>
                <a:moveTo>
                  <a:pt x="5775352" y="1793441"/>
                </a:moveTo>
                <a:cubicBezTo>
                  <a:pt x="5777913" y="1793584"/>
                  <a:pt x="5780260" y="1794153"/>
                  <a:pt x="5782822" y="1795149"/>
                </a:cubicBezTo>
                <a:lnTo>
                  <a:pt x="5789224" y="1798990"/>
                </a:lnTo>
                <a:lnTo>
                  <a:pt x="5790078" y="1797425"/>
                </a:lnTo>
                <a:cubicBezTo>
                  <a:pt x="5792639" y="1794722"/>
                  <a:pt x="5796481" y="1795575"/>
                  <a:pt x="5801389" y="1798990"/>
                </a:cubicBezTo>
                <a:cubicBezTo>
                  <a:pt x="5800962" y="1801693"/>
                  <a:pt x="5801602" y="1803969"/>
                  <a:pt x="5801816" y="1807669"/>
                </a:cubicBezTo>
                <a:cubicBezTo>
                  <a:pt x="5800109" y="1808096"/>
                  <a:pt x="5797334" y="1808096"/>
                  <a:pt x="5794773" y="1806957"/>
                </a:cubicBezTo>
                <a:lnTo>
                  <a:pt x="5789224" y="1802547"/>
                </a:lnTo>
                <a:lnTo>
                  <a:pt x="5787943" y="1811936"/>
                </a:lnTo>
                <a:cubicBezTo>
                  <a:pt x="5786450" y="1815778"/>
                  <a:pt x="5784315" y="1818907"/>
                  <a:pt x="5781755" y="1821469"/>
                </a:cubicBezTo>
                <a:cubicBezTo>
                  <a:pt x="5772791" y="1830147"/>
                  <a:pt x="5758065" y="1831854"/>
                  <a:pt x="5745046" y="1824599"/>
                </a:cubicBezTo>
                <a:cubicBezTo>
                  <a:pt x="5745259" y="1822891"/>
                  <a:pt x="5745259" y="1821326"/>
                  <a:pt x="5743766" y="1821042"/>
                </a:cubicBezTo>
                <a:cubicBezTo>
                  <a:pt x="5743552" y="1804539"/>
                  <a:pt x="5759985" y="1792446"/>
                  <a:pt x="5775352" y="1793441"/>
                </a:cubicBezTo>
                <a:close/>
                <a:moveTo>
                  <a:pt x="3923508" y="1793441"/>
                </a:moveTo>
                <a:cubicBezTo>
                  <a:pt x="3928204" y="1793441"/>
                  <a:pt x="3931405" y="1795291"/>
                  <a:pt x="3935247" y="1801124"/>
                </a:cubicBezTo>
                <a:cubicBezTo>
                  <a:pt x="3934607" y="1806957"/>
                  <a:pt x="3925856" y="1812079"/>
                  <a:pt x="3920948" y="1804823"/>
                </a:cubicBezTo>
                <a:cubicBezTo>
                  <a:pt x="3920308" y="1801124"/>
                  <a:pt x="3919667" y="1797425"/>
                  <a:pt x="3923508" y="1793441"/>
                </a:cubicBezTo>
                <a:close/>
                <a:moveTo>
                  <a:pt x="1413474" y="1793412"/>
                </a:moveTo>
                <a:cubicBezTo>
                  <a:pt x="1414404" y="1794031"/>
                  <a:pt x="1414404" y="1794031"/>
                  <a:pt x="1414507" y="1795735"/>
                </a:cubicBezTo>
                <a:cubicBezTo>
                  <a:pt x="1411823" y="1795270"/>
                  <a:pt x="1411823" y="1795270"/>
                  <a:pt x="1409964" y="1793877"/>
                </a:cubicBezTo>
                <a:cubicBezTo>
                  <a:pt x="1410790" y="1793722"/>
                  <a:pt x="1412545" y="1792637"/>
                  <a:pt x="1413474" y="1793412"/>
                </a:cubicBezTo>
                <a:close/>
                <a:moveTo>
                  <a:pt x="3717772" y="1793157"/>
                </a:moveTo>
                <a:cubicBezTo>
                  <a:pt x="3720547" y="1792873"/>
                  <a:pt x="3723535" y="1793868"/>
                  <a:pt x="3727163" y="1796998"/>
                </a:cubicBezTo>
                <a:cubicBezTo>
                  <a:pt x="3723747" y="1805961"/>
                  <a:pt x="3701552" y="1836264"/>
                  <a:pt x="3692588" y="1817200"/>
                </a:cubicBezTo>
                <a:cubicBezTo>
                  <a:pt x="3704113" y="1807811"/>
                  <a:pt x="3709662" y="1794153"/>
                  <a:pt x="3717772" y="1793157"/>
                </a:cubicBezTo>
                <a:close/>
                <a:moveTo>
                  <a:pt x="1494428" y="1792947"/>
                </a:moveTo>
                <a:cubicBezTo>
                  <a:pt x="1499797" y="1796200"/>
                  <a:pt x="1489574" y="1802396"/>
                  <a:pt x="1489058" y="1797284"/>
                </a:cubicBezTo>
                <a:cubicBezTo>
                  <a:pt x="1490297" y="1795735"/>
                  <a:pt x="1492362" y="1794341"/>
                  <a:pt x="1494428" y="1792947"/>
                </a:cubicBezTo>
                <a:close/>
                <a:moveTo>
                  <a:pt x="1171649" y="1792792"/>
                </a:moveTo>
                <a:cubicBezTo>
                  <a:pt x="1171752" y="1794186"/>
                  <a:pt x="1171752" y="1794806"/>
                  <a:pt x="1171649" y="1795425"/>
                </a:cubicBezTo>
                <a:lnTo>
                  <a:pt x="1171545" y="1795735"/>
                </a:lnTo>
                <a:lnTo>
                  <a:pt x="1171958" y="1795735"/>
                </a:lnTo>
                <a:lnTo>
                  <a:pt x="1171132" y="1796974"/>
                </a:lnTo>
                <a:lnTo>
                  <a:pt x="1170823" y="1797594"/>
                </a:lnTo>
                <a:lnTo>
                  <a:pt x="1170719" y="1797439"/>
                </a:lnTo>
                <a:lnTo>
                  <a:pt x="1168861" y="1798833"/>
                </a:lnTo>
                <a:cubicBezTo>
                  <a:pt x="1168861" y="1798833"/>
                  <a:pt x="1168757" y="1799763"/>
                  <a:pt x="1168551" y="1800537"/>
                </a:cubicBezTo>
                <a:cubicBezTo>
                  <a:pt x="1166486" y="1802860"/>
                  <a:pt x="1165350" y="1804564"/>
                  <a:pt x="1162149" y="1803480"/>
                </a:cubicBezTo>
                <a:cubicBezTo>
                  <a:pt x="1162252" y="1802706"/>
                  <a:pt x="1164214" y="1801002"/>
                  <a:pt x="1165247" y="1800227"/>
                </a:cubicBezTo>
                <a:cubicBezTo>
                  <a:pt x="1165350" y="1799453"/>
                  <a:pt x="1166279" y="1798678"/>
                  <a:pt x="1167208" y="1798678"/>
                </a:cubicBezTo>
                <a:cubicBezTo>
                  <a:pt x="1167208" y="1798678"/>
                  <a:pt x="1168241" y="1797904"/>
                  <a:pt x="1168344" y="1797129"/>
                </a:cubicBezTo>
                <a:lnTo>
                  <a:pt x="1169893" y="1796200"/>
                </a:lnTo>
                <a:lnTo>
                  <a:pt x="1169893" y="1796045"/>
                </a:lnTo>
                <a:cubicBezTo>
                  <a:pt x="1169480" y="1795580"/>
                  <a:pt x="1169274" y="1794961"/>
                  <a:pt x="1169480" y="1794341"/>
                </a:cubicBezTo>
                <a:cubicBezTo>
                  <a:pt x="1169687" y="1793877"/>
                  <a:pt x="1169893" y="1793567"/>
                  <a:pt x="1170100" y="1793412"/>
                </a:cubicBezTo>
                <a:cubicBezTo>
                  <a:pt x="1170409" y="1793257"/>
                  <a:pt x="1170823" y="1793102"/>
                  <a:pt x="1171649" y="1792792"/>
                </a:cubicBezTo>
                <a:close/>
                <a:moveTo>
                  <a:pt x="6247650" y="1792303"/>
                </a:moveTo>
                <a:cubicBezTo>
                  <a:pt x="6248930" y="1792303"/>
                  <a:pt x="6250211" y="1792730"/>
                  <a:pt x="6251918" y="1793584"/>
                </a:cubicBezTo>
                <a:cubicBezTo>
                  <a:pt x="6253625" y="1805819"/>
                  <a:pt x="6239753" y="1810514"/>
                  <a:pt x="6234845" y="1804396"/>
                </a:cubicBezTo>
                <a:cubicBezTo>
                  <a:pt x="6233138" y="1802404"/>
                  <a:pt x="6232711" y="1799132"/>
                  <a:pt x="6233991" y="1794438"/>
                </a:cubicBezTo>
                <a:cubicBezTo>
                  <a:pt x="6239967" y="1794722"/>
                  <a:pt x="6243595" y="1792019"/>
                  <a:pt x="6247650" y="1792303"/>
                </a:cubicBezTo>
                <a:close/>
                <a:moveTo>
                  <a:pt x="1283578" y="1792018"/>
                </a:moveTo>
                <a:lnTo>
                  <a:pt x="1284611" y="1792327"/>
                </a:lnTo>
                <a:lnTo>
                  <a:pt x="1284301" y="1792173"/>
                </a:lnTo>
                <a:close/>
                <a:moveTo>
                  <a:pt x="4715296" y="1791592"/>
                </a:moveTo>
                <a:cubicBezTo>
                  <a:pt x="4715723" y="1791592"/>
                  <a:pt x="4716363" y="1792019"/>
                  <a:pt x="4717003" y="1792588"/>
                </a:cubicBezTo>
                <a:cubicBezTo>
                  <a:pt x="4715936" y="1796145"/>
                  <a:pt x="4714869" y="1798421"/>
                  <a:pt x="4712735" y="1801835"/>
                </a:cubicBezTo>
                <a:cubicBezTo>
                  <a:pt x="4712735" y="1801835"/>
                  <a:pt x="4708467" y="1806388"/>
                  <a:pt x="4704838" y="1803827"/>
                </a:cubicBezTo>
                <a:cubicBezTo>
                  <a:pt x="4703771" y="1803827"/>
                  <a:pt x="4703558" y="1799132"/>
                  <a:pt x="4704625" y="1797994"/>
                </a:cubicBezTo>
                <a:cubicBezTo>
                  <a:pt x="4706759" y="1795718"/>
                  <a:pt x="4707826" y="1794580"/>
                  <a:pt x="4710174" y="1794722"/>
                </a:cubicBezTo>
                <a:cubicBezTo>
                  <a:pt x="4711241" y="1793584"/>
                  <a:pt x="4712308" y="1792303"/>
                  <a:pt x="4713588" y="1791876"/>
                </a:cubicBezTo>
                <a:cubicBezTo>
                  <a:pt x="4714015" y="1791592"/>
                  <a:pt x="4714655" y="1791450"/>
                  <a:pt x="4715296" y="1791592"/>
                </a:cubicBezTo>
                <a:close/>
                <a:moveTo>
                  <a:pt x="3776462" y="1791308"/>
                </a:moveTo>
                <a:cubicBezTo>
                  <a:pt x="3778170" y="1791165"/>
                  <a:pt x="3779877" y="1792019"/>
                  <a:pt x="3781158" y="1793726"/>
                </a:cubicBezTo>
                <a:cubicBezTo>
                  <a:pt x="3781798" y="1794865"/>
                  <a:pt x="3782438" y="1796287"/>
                  <a:pt x="3782865" y="1798136"/>
                </a:cubicBezTo>
                <a:lnTo>
                  <a:pt x="3779664" y="1798705"/>
                </a:lnTo>
                <a:lnTo>
                  <a:pt x="3778597" y="1801551"/>
                </a:lnTo>
                <a:cubicBezTo>
                  <a:pt x="3778597" y="1801551"/>
                  <a:pt x="3777530" y="1801267"/>
                  <a:pt x="3777530" y="1801267"/>
                </a:cubicBezTo>
                <a:lnTo>
                  <a:pt x="3776249" y="1799132"/>
                </a:lnTo>
                <a:lnTo>
                  <a:pt x="3776035" y="1799275"/>
                </a:lnTo>
                <a:cubicBezTo>
                  <a:pt x="3774114" y="1798705"/>
                  <a:pt x="3772621" y="1797140"/>
                  <a:pt x="3771767" y="1795433"/>
                </a:cubicBezTo>
                <a:cubicBezTo>
                  <a:pt x="3773047" y="1792873"/>
                  <a:pt x="3774755" y="1791592"/>
                  <a:pt x="3776462" y="1791308"/>
                </a:cubicBezTo>
                <a:close/>
                <a:moveTo>
                  <a:pt x="1387351" y="1791089"/>
                </a:moveTo>
                <a:cubicBezTo>
                  <a:pt x="1388280" y="1791553"/>
                  <a:pt x="1391275" y="1792482"/>
                  <a:pt x="1392514" y="1793257"/>
                </a:cubicBezTo>
                <a:lnTo>
                  <a:pt x="1392927" y="1793877"/>
                </a:lnTo>
                <a:lnTo>
                  <a:pt x="1393856" y="1793877"/>
                </a:lnTo>
                <a:cubicBezTo>
                  <a:pt x="1394372" y="1792792"/>
                  <a:pt x="1394372" y="1792792"/>
                  <a:pt x="1394682" y="1793722"/>
                </a:cubicBezTo>
                <a:lnTo>
                  <a:pt x="1395405" y="1793877"/>
                </a:lnTo>
                <a:lnTo>
                  <a:pt x="1397780" y="1793877"/>
                </a:lnTo>
                <a:cubicBezTo>
                  <a:pt x="1399948" y="1793877"/>
                  <a:pt x="1402013" y="1794186"/>
                  <a:pt x="1402942" y="1794651"/>
                </a:cubicBezTo>
                <a:lnTo>
                  <a:pt x="1397470" y="1794961"/>
                </a:lnTo>
                <a:lnTo>
                  <a:pt x="1400258" y="1795580"/>
                </a:lnTo>
                <a:cubicBezTo>
                  <a:pt x="1401600" y="1795580"/>
                  <a:pt x="1402942" y="1795425"/>
                  <a:pt x="1403149" y="1794961"/>
                </a:cubicBezTo>
                <a:cubicBezTo>
                  <a:pt x="1403459" y="1795735"/>
                  <a:pt x="1404595" y="1796355"/>
                  <a:pt x="1404595" y="1796355"/>
                </a:cubicBezTo>
                <a:cubicBezTo>
                  <a:pt x="1404078" y="1797439"/>
                  <a:pt x="1403252" y="1797594"/>
                  <a:pt x="1402426" y="1797904"/>
                </a:cubicBezTo>
                <a:cubicBezTo>
                  <a:pt x="1401394" y="1797284"/>
                  <a:pt x="1401084" y="1796510"/>
                  <a:pt x="1399948" y="1795890"/>
                </a:cubicBezTo>
                <a:cubicBezTo>
                  <a:pt x="1399122" y="1796045"/>
                  <a:pt x="1397470" y="1796510"/>
                  <a:pt x="1396437" y="1795890"/>
                </a:cubicBezTo>
                <a:lnTo>
                  <a:pt x="1395198" y="1794961"/>
                </a:lnTo>
                <a:lnTo>
                  <a:pt x="1389416" y="1794186"/>
                </a:lnTo>
                <a:lnTo>
                  <a:pt x="1393856" y="1796045"/>
                </a:lnTo>
                <a:cubicBezTo>
                  <a:pt x="1398502" y="1798678"/>
                  <a:pt x="1402839" y="1802396"/>
                  <a:pt x="1408931" y="1804874"/>
                </a:cubicBezTo>
                <a:cubicBezTo>
                  <a:pt x="1406040" y="1815407"/>
                  <a:pt x="1411719" y="1818040"/>
                  <a:pt x="1414714" y="1822997"/>
                </a:cubicBezTo>
                <a:cubicBezTo>
                  <a:pt x="1412029" y="1826250"/>
                  <a:pt x="1410480" y="1830277"/>
                  <a:pt x="1409138" y="1834614"/>
                </a:cubicBezTo>
                <a:lnTo>
                  <a:pt x="1408518" y="1836627"/>
                </a:lnTo>
                <a:lnTo>
                  <a:pt x="1411616" y="1836782"/>
                </a:lnTo>
                <a:cubicBezTo>
                  <a:pt x="1412545" y="1837402"/>
                  <a:pt x="1413474" y="1838642"/>
                  <a:pt x="1414817" y="1839725"/>
                </a:cubicBezTo>
                <a:cubicBezTo>
                  <a:pt x="1413578" y="1840190"/>
                  <a:pt x="1413991" y="1841274"/>
                  <a:pt x="1414301" y="1842359"/>
                </a:cubicBezTo>
                <a:cubicBezTo>
                  <a:pt x="1412545" y="1842978"/>
                  <a:pt x="1409861" y="1844217"/>
                  <a:pt x="1408105" y="1842978"/>
                </a:cubicBezTo>
                <a:lnTo>
                  <a:pt x="1406969" y="1841120"/>
                </a:lnTo>
                <a:lnTo>
                  <a:pt x="1404698" y="1847470"/>
                </a:lnTo>
                <a:cubicBezTo>
                  <a:pt x="1399535" y="1849639"/>
                  <a:pt x="1394992" y="1852117"/>
                  <a:pt x="1390448" y="1854750"/>
                </a:cubicBezTo>
                <a:lnTo>
                  <a:pt x="1389003" y="1855370"/>
                </a:lnTo>
                <a:lnTo>
                  <a:pt x="1391275" y="1856609"/>
                </a:lnTo>
                <a:cubicBezTo>
                  <a:pt x="1391997" y="1857538"/>
                  <a:pt x="1392514" y="1859552"/>
                  <a:pt x="1392720" y="1861566"/>
                </a:cubicBezTo>
                <a:cubicBezTo>
                  <a:pt x="1392927" y="1863580"/>
                  <a:pt x="1392720" y="1865593"/>
                  <a:pt x="1391688" y="1866832"/>
                </a:cubicBezTo>
                <a:cubicBezTo>
                  <a:pt x="1390139" y="1866058"/>
                  <a:pt x="1388590" y="1865128"/>
                  <a:pt x="1386938" y="1864199"/>
                </a:cubicBezTo>
                <a:cubicBezTo>
                  <a:pt x="1387867" y="1864199"/>
                  <a:pt x="1387041" y="1856609"/>
                  <a:pt x="1387041" y="1856609"/>
                </a:cubicBezTo>
                <a:lnTo>
                  <a:pt x="1388590" y="1855525"/>
                </a:lnTo>
                <a:lnTo>
                  <a:pt x="1376096" y="1861876"/>
                </a:lnTo>
                <a:cubicBezTo>
                  <a:pt x="1367319" y="1855370"/>
                  <a:pt x="1349043" y="1858313"/>
                  <a:pt x="1344087" y="1846696"/>
                </a:cubicBezTo>
                <a:lnTo>
                  <a:pt x="1344499" y="1843753"/>
                </a:lnTo>
                <a:lnTo>
                  <a:pt x="1344190" y="1843598"/>
                </a:lnTo>
                <a:cubicBezTo>
                  <a:pt x="1343570" y="1842669"/>
                  <a:pt x="1343157" y="1841739"/>
                  <a:pt x="1343260" y="1840810"/>
                </a:cubicBezTo>
                <a:lnTo>
                  <a:pt x="1344293" y="1839106"/>
                </a:lnTo>
                <a:lnTo>
                  <a:pt x="1343364" y="1834304"/>
                </a:lnTo>
                <a:lnTo>
                  <a:pt x="1343467" y="1833375"/>
                </a:lnTo>
                <a:lnTo>
                  <a:pt x="1342951" y="1831826"/>
                </a:lnTo>
                <a:lnTo>
                  <a:pt x="1339646" y="1832136"/>
                </a:lnTo>
                <a:cubicBezTo>
                  <a:pt x="1338511" y="1831671"/>
                  <a:pt x="1337788" y="1830897"/>
                  <a:pt x="1337478" y="1829813"/>
                </a:cubicBezTo>
                <a:cubicBezTo>
                  <a:pt x="1337168" y="1828728"/>
                  <a:pt x="1337375" y="1827489"/>
                  <a:pt x="1337788" y="1826559"/>
                </a:cubicBezTo>
                <a:cubicBezTo>
                  <a:pt x="1337788" y="1825630"/>
                  <a:pt x="1338304" y="1824856"/>
                  <a:pt x="1339130" y="1824391"/>
                </a:cubicBezTo>
                <a:cubicBezTo>
                  <a:pt x="1339956" y="1823926"/>
                  <a:pt x="1341092" y="1823771"/>
                  <a:pt x="1342021" y="1823926"/>
                </a:cubicBezTo>
                <a:lnTo>
                  <a:pt x="1342228" y="1823926"/>
                </a:lnTo>
                <a:lnTo>
                  <a:pt x="1346771" y="1815252"/>
                </a:lnTo>
                <a:lnTo>
                  <a:pt x="1354722" y="1806113"/>
                </a:lnTo>
                <a:lnTo>
                  <a:pt x="1352347" y="1804874"/>
                </a:lnTo>
                <a:cubicBezTo>
                  <a:pt x="1350385" y="1804874"/>
                  <a:pt x="1348113" y="1803945"/>
                  <a:pt x="1347081" y="1802396"/>
                </a:cubicBezTo>
                <a:cubicBezTo>
                  <a:pt x="1346771" y="1801312"/>
                  <a:pt x="1346874" y="1800382"/>
                  <a:pt x="1347081" y="1799763"/>
                </a:cubicBezTo>
                <a:cubicBezTo>
                  <a:pt x="1347391" y="1798988"/>
                  <a:pt x="1347907" y="1798523"/>
                  <a:pt x="1348423" y="1798368"/>
                </a:cubicBezTo>
                <a:cubicBezTo>
                  <a:pt x="1353070" y="1796045"/>
                  <a:pt x="1356580" y="1796510"/>
                  <a:pt x="1359162" y="1797594"/>
                </a:cubicBezTo>
                <a:lnTo>
                  <a:pt x="1362156" y="1798833"/>
                </a:lnTo>
                <a:lnTo>
                  <a:pt x="1367732" y="1795425"/>
                </a:lnTo>
                <a:cubicBezTo>
                  <a:pt x="1370624" y="1794031"/>
                  <a:pt x="1373721" y="1793102"/>
                  <a:pt x="1377025" y="1792637"/>
                </a:cubicBezTo>
                <a:cubicBezTo>
                  <a:pt x="1380639" y="1792173"/>
                  <a:pt x="1383737" y="1792327"/>
                  <a:pt x="1386422" y="1792947"/>
                </a:cubicBezTo>
                <a:lnTo>
                  <a:pt x="1389209" y="1794186"/>
                </a:lnTo>
                <a:lnTo>
                  <a:pt x="1391481" y="1794031"/>
                </a:lnTo>
                <a:lnTo>
                  <a:pt x="1392617" y="1793877"/>
                </a:lnTo>
                <a:lnTo>
                  <a:pt x="1390758" y="1792947"/>
                </a:lnTo>
                <a:cubicBezTo>
                  <a:pt x="1389623" y="1792327"/>
                  <a:pt x="1389623" y="1792327"/>
                  <a:pt x="1389106" y="1793412"/>
                </a:cubicBezTo>
                <a:cubicBezTo>
                  <a:pt x="1387970" y="1792792"/>
                  <a:pt x="1387970" y="1792792"/>
                  <a:pt x="1387351" y="1791089"/>
                </a:cubicBezTo>
                <a:close/>
                <a:moveTo>
                  <a:pt x="1323758" y="1790701"/>
                </a:moveTo>
                <a:cubicBezTo>
                  <a:pt x="1327023" y="1790972"/>
                  <a:pt x="1329682" y="1791398"/>
                  <a:pt x="1330663" y="1791553"/>
                </a:cubicBezTo>
                <a:cubicBezTo>
                  <a:pt x="1331593" y="1791708"/>
                  <a:pt x="1332212" y="1792018"/>
                  <a:pt x="1332419" y="1792482"/>
                </a:cubicBezTo>
                <a:cubicBezTo>
                  <a:pt x="1332728" y="1793102"/>
                  <a:pt x="1332728" y="1793722"/>
                  <a:pt x="1332625" y="1794651"/>
                </a:cubicBezTo>
                <a:cubicBezTo>
                  <a:pt x="1330250" y="1797904"/>
                  <a:pt x="1326017" y="1796355"/>
                  <a:pt x="1321576" y="1796665"/>
                </a:cubicBezTo>
                <a:cubicBezTo>
                  <a:pt x="1321370" y="1795735"/>
                  <a:pt x="1320234" y="1795115"/>
                  <a:pt x="1319408" y="1795425"/>
                </a:cubicBezTo>
                <a:cubicBezTo>
                  <a:pt x="1318272" y="1794806"/>
                  <a:pt x="1317136" y="1794186"/>
                  <a:pt x="1317446" y="1795115"/>
                </a:cubicBezTo>
                <a:cubicBezTo>
                  <a:pt x="1314039" y="1793257"/>
                  <a:pt x="1313213" y="1793412"/>
                  <a:pt x="1313213" y="1790779"/>
                </a:cubicBezTo>
                <a:cubicBezTo>
                  <a:pt x="1316620" y="1790314"/>
                  <a:pt x="1320492" y="1790430"/>
                  <a:pt x="1323758" y="1790701"/>
                </a:cubicBezTo>
                <a:close/>
                <a:moveTo>
                  <a:pt x="739212" y="1790314"/>
                </a:moveTo>
                <a:cubicBezTo>
                  <a:pt x="740037" y="1789539"/>
                  <a:pt x="740967" y="1790469"/>
                  <a:pt x="741793" y="1790623"/>
                </a:cubicBezTo>
                <a:cubicBezTo>
                  <a:pt x="743445" y="1791553"/>
                  <a:pt x="745923" y="1797439"/>
                  <a:pt x="745097" y="1798213"/>
                </a:cubicBezTo>
                <a:cubicBezTo>
                  <a:pt x="743135" y="1796819"/>
                  <a:pt x="739831" y="1794341"/>
                  <a:pt x="739005" y="1792173"/>
                </a:cubicBezTo>
                <a:cubicBezTo>
                  <a:pt x="738695" y="1791553"/>
                  <a:pt x="738798" y="1790934"/>
                  <a:pt x="739212" y="1790314"/>
                </a:cubicBezTo>
                <a:close/>
                <a:moveTo>
                  <a:pt x="5927520" y="1790169"/>
                </a:moveTo>
                <a:cubicBezTo>
                  <a:pt x="5928801" y="1791450"/>
                  <a:pt x="5928801" y="1790169"/>
                  <a:pt x="5929868" y="1790169"/>
                </a:cubicBezTo>
                <a:cubicBezTo>
                  <a:pt x="5928801" y="1791450"/>
                  <a:pt x="5928801" y="1795149"/>
                  <a:pt x="5927947" y="1797567"/>
                </a:cubicBezTo>
                <a:cubicBezTo>
                  <a:pt x="5926666" y="1797567"/>
                  <a:pt x="5925600" y="1798705"/>
                  <a:pt x="5924532" y="1798705"/>
                </a:cubicBezTo>
                <a:cubicBezTo>
                  <a:pt x="5924532" y="1797425"/>
                  <a:pt x="5923465" y="1794865"/>
                  <a:pt x="5924532" y="1794865"/>
                </a:cubicBezTo>
                <a:cubicBezTo>
                  <a:pt x="5924532" y="1793726"/>
                  <a:pt x="5926666" y="1793726"/>
                  <a:pt x="5926666" y="1793726"/>
                </a:cubicBezTo>
                <a:cubicBezTo>
                  <a:pt x="5926666" y="1792588"/>
                  <a:pt x="5926453" y="1791308"/>
                  <a:pt x="5927520" y="1790169"/>
                </a:cubicBezTo>
                <a:close/>
                <a:moveTo>
                  <a:pt x="957082" y="1790159"/>
                </a:moveTo>
                <a:cubicBezTo>
                  <a:pt x="959560" y="1791708"/>
                  <a:pt x="960386" y="1794186"/>
                  <a:pt x="958528" y="1796819"/>
                </a:cubicBezTo>
                <a:cubicBezTo>
                  <a:pt x="956772" y="1797749"/>
                  <a:pt x="955017" y="1797129"/>
                  <a:pt x="953365" y="1796355"/>
                </a:cubicBezTo>
                <a:cubicBezTo>
                  <a:pt x="952126" y="1795425"/>
                  <a:pt x="951713" y="1794651"/>
                  <a:pt x="951816" y="1793722"/>
                </a:cubicBezTo>
                <a:cubicBezTo>
                  <a:pt x="952023" y="1792947"/>
                  <a:pt x="952745" y="1792018"/>
                  <a:pt x="953571" y="1791243"/>
                </a:cubicBezTo>
                <a:cubicBezTo>
                  <a:pt x="955430" y="1789385"/>
                  <a:pt x="957082" y="1790159"/>
                  <a:pt x="957082" y="1790159"/>
                </a:cubicBezTo>
                <a:close/>
                <a:moveTo>
                  <a:pt x="710403" y="1789694"/>
                </a:moveTo>
                <a:cubicBezTo>
                  <a:pt x="711332" y="1788146"/>
                  <a:pt x="713088" y="1789230"/>
                  <a:pt x="714843" y="1790934"/>
                </a:cubicBezTo>
                <a:cubicBezTo>
                  <a:pt x="719180" y="1793877"/>
                  <a:pt x="720006" y="1796510"/>
                  <a:pt x="717321" y="1798678"/>
                </a:cubicBezTo>
                <a:cubicBezTo>
                  <a:pt x="716495" y="1798678"/>
                  <a:pt x="713811" y="1797594"/>
                  <a:pt x="713811" y="1798368"/>
                </a:cubicBezTo>
                <a:cubicBezTo>
                  <a:pt x="711849" y="1796355"/>
                  <a:pt x="709887" y="1793722"/>
                  <a:pt x="709887" y="1791708"/>
                </a:cubicBezTo>
                <a:cubicBezTo>
                  <a:pt x="709784" y="1790934"/>
                  <a:pt x="709990" y="1790314"/>
                  <a:pt x="710403" y="1789694"/>
                </a:cubicBezTo>
                <a:close/>
                <a:moveTo>
                  <a:pt x="871586" y="1789385"/>
                </a:moveTo>
                <a:cubicBezTo>
                  <a:pt x="872515" y="1790159"/>
                  <a:pt x="873445" y="1790779"/>
                  <a:pt x="872619" y="1790934"/>
                </a:cubicBezTo>
                <a:cubicBezTo>
                  <a:pt x="872619" y="1791708"/>
                  <a:pt x="871792" y="1791863"/>
                  <a:pt x="870966" y="1792792"/>
                </a:cubicBezTo>
                <a:cubicBezTo>
                  <a:pt x="869314" y="1793877"/>
                  <a:pt x="866733" y="1794186"/>
                  <a:pt x="865803" y="1793567"/>
                </a:cubicBezTo>
                <a:cubicBezTo>
                  <a:pt x="864874" y="1792792"/>
                  <a:pt x="864874" y="1792018"/>
                  <a:pt x="864874" y="1792018"/>
                </a:cubicBezTo>
                <a:cubicBezTo>
                  <a:pt x="866423" y="1789230"/>
                  <a:pt x="868901" y="1787216"/>
                  <a:pt x="871586" y="1789385"/>
                </a:cubicBezTo>
                <a:close/>
                <a:moveTo>
                  <a:pt x="1176089" y="1789075"/>
                </a:moveTo>
                <a:cubicBezTo>
                  <a:pt x="1180529" y="1789694"/>
                  <a:pt x="1181664" y="1790004"/>
                  <a:pt x="1182491" y="1794496"/>
                </a:cubicBezTo>
                <a:cubicBezTo>
                  <a:pt x="1182491" y="1794496"/>
                  <a:pt x="1182284" y="1795580"/>
                  <a:pt x="1182284" y="1795580"/>
                </a:cubicBezTo>
                <a:cubicBezTo>
                  <a:pt x="1181871" y="1799763"/>
                  <a:pt x="1178360" y="1803635"/>
                  <a:pt x="1176501" y="1803635"/>
                </a:cubicBezTo>
                <a:cubicBezTo>
                  <a:pt x="1174643" y="1803015"/>
                  <a:pt x="1172784" y="1801467"/>
                  <a:pt x="1172268" y="1799298"/>
                </a:cubicBezTo>
                <a:cubicBezTo>
                  <a:pt x="1172062" y="1798523"/>
                  <a:pt x="1172062" y="1797749"/>
                  <a:pt x="1172268" y="1796819"/>
                </a:cubicBezTo>
                <a:cubicBezTo>
                  <a:pt x="1172371" y="1793877"/>
                  <a:pt x="1175263" y="1792327"/>
                  <a:pt x="1176089" y="1789075"/>
                </a:cubicBezTo>
                <a:close/>
                <a:moveTo>
                  <a:pt x="4688832" y="1788604"/>
                </a:moveTo>
                <a:cubicBezTo>
                  <a:pt x="4690113" y="1788462"/>
                  <a:pt x="4690753" y="1788604"/>
                  <a:pt x="4691393" y="1789173"/>
                </a:cubicBezTo>
                <a:cubicBezTo>
                  <a:pt x="4691820" y="1789743"/>
                  <a:pt x="4692033" y="1790738"/>
                  <a:pt x="4692033" y="1792019"/>
                </a:cubicBezTo>
                <a:cubicBezTo>
                  <a:pt x="4689472" y="1797710"/>
                  <a:pt x="4683710" y="1797140"/>
                  <a:pt x="4677947" y="1799417"/>
                </a:cubicBezTo>
                <a:cubicBezTo>
                  <a:pt x="4677521" y="1798279"/>
                  <a:pt x="4675813" y="1797994"/>
                  <a:pt x="4674959" y="1798563"/>
                </a:cubicBezTo>
                <a:cubicBezTo>
                  <a:pt x="4673252" y="1798136"/>
                  <a:pt x="4671758" y="1797852"/>
                  <a:pt x="4672185" y="1798848"/>
                </a:cubicBezTo>
                <a:cubicBezTo>
                  <a:pt x="4667490" y="1797710"/>
                  <a:pt x="4666423" y="1798421"/>
                  <a:pt x="4665996" y="1794722"/>
                </a:cubicBezTo>
                <a:cubicBezTo>
                  <a:pt x="4674746" y="1790596"/>
                  <a:pt x="4686057" y="1788889"/>
                  <a:pt x="4688832" y="1788604"/>
                </a:cubicBezTo>
                <a:close/>
                <a:moveTo>
                  <a:pt x="5160703" y="1788035"/>
                </a:moveTo>
                <a:cubicBezTo>
                  <a:pt x="5163904" y="1788889"/>
                  <a:pt x="5165398" y="1789316"/>
                  <a:pt x="5166679" y="1791308"/>
                </a:cubicBezTo>
                <a:cubicBezTo>
                  <a:pt x="5168386" y="1791734"/>
                  <a:pt x="5169880" y="1792161"/>
                  <a:pt x="5171161" y="1792873"/>
                </a:cubicBezTo>
                <a:cubicBezTo>
                  <a:pt x="5172227" y="1793584"/>
                  <a:pt x="5172868" y="1794580"/>
                  <a:pt x="5172654" y="1796287"/>
                </a:cubicBezTo>
                <a:cubicBezTo>
                  <a:pt x="5169239" y="1796998"/>
                  <a:pt x="5166679" y="1797283"/>
                  <a:pt x="5162624" y="1796998"/>
                </a:cubicBezTo>
                <a:cubicBezTo>
                  <a:pt x="5162624" y="1796998"/>
                  <a:pt x="5156221" y="1795433"/>
                  <a:pt x="5156008" y="1791165"/>
                </a:cubicBezTo>
                <a:cubicBezTo>
                  <a:pt x="5155368" y="1790027"/>
                  <a:pt x="5158996" y="1787609"/>
                  <a:pt x="5160703" y="1788035"/>
                </a:cubicBezTo>
                <a:close/>
                <a:moveTo>
                  <a:pt x="1074071" y="1787835"/>
                </a:moveTo>
                <a:cubicBezTo>
                  <a:pt x="1076550" y="1791553"/>
                  <a:pt x="1075827" y="1794961"/>
                  <a:pt x="1073245" y="1798833"/>
                </a:cubicBezTo>
                <a:cubicBezTo>
                  <a:pt x="1071594" y="1798678"/>
                  <a:pt x="1069735" y="1795890"/>
                  <a:pt x="1068496" y="1794031"/>
                </a:cubicBezTo>
                <a:cubicBezTo>
                  <a:pt x="1069012" y="1791398"/>
                  <a:pt x="1071180" y="1789230"/>
                  <a:pt x="1074071" y="1787835"/>
                </a:cubicBezTo>
                <a:close/>
                <a:moveTo>
                  <a:pt x="4761608" y="1787609"/>
                </a:moveTo>
                <a:cubicBezTo>
                  <a:pt x="4763955" y="1788462"/>
                  <a:pt x="4768437" y="1789600"/>
                  <a:pt x="4769931" y="1791450"/>
                </a:cubicBezTo>
                <a:cubicBezTo>
                  <a:pt x="4770358" y="1792019"/>
                  <a:pt x="4770572" y="1792730"/>
                  <a:pt x="4770358" y="1793584"/>
                </a:cubicBezTo>
                <a:cubicBezTo>
                  <a:pt x="4767370" y="1792446"/>
                  <a:pt x="4762248" y="1792446"/>
                  <a:pt x="4761608" y="1787609"/>
                </a:cubicBezTo>
                <a:close/>
                <a:moveTo>
                  <a:pt x="5341896" y="1786471"/>
                </a:moveTo>
                <a:cubicBezTo>
                  <a:pt x="5350006" y="1789458"/>
                  <a:pt x="5357263" y="1793015"/>
                  <a:pt x="5368787" y="1793157"/>
                </a:cubicBezTo>
                <a:cubicBezTo>
                  <a:pt x="5368574" y="1796571"/>
                  <a:pt x="5372842" y="1796287"/>
                  <a:pt x="5371562" y="1800412"/>
                </a:cubicBezTo>
                <a:lnTo>
                  <a:pt x="5366653" y="1801693"/>
                </a:lnTo>
                <a:lnTo>
                  <a:pt x="5371135" y="1806246"/>
                </a:lnTo>
                <a:lnTo>
                  <a:pt x="5372415" y="1810229"/>
                </a:lnTo>
                <a:lnTo>
                  <a:pt x="5381166" y="1811225"/>
                </a:lnTo>
                <a:cubicBezTo>
                  <a:pt x="5380312" y="1812790"/>
                  <a:pt x="5384367" y="1813786"/>
                  <a:pt x="5386074" y="1815493"/>
                </a:cubicBezTo>
                <a:cubicBezTo>
                  <a:pt x="5387141" y="1818907"/>
                  <a:pt x="5387781" y="1821042"/>
                  <a:pt x="5386288" y="1824314"/>
                </a:cubicBezTo>
                <a:lnTo>
                  <a:pt x="5387781" y="1830858"/>
                </a:lnTo>
                <a:cubicBezTo>
                  <a:pt x="5386714" y="1837687"/>
                  <a:pt x="5378818" y="1842524"/>
                  <a:pt x="5373696" y="1839820"/>
                </a:cubicBezTo>
                <a:cubicBezTo>
                  <a:pt x="5371348" y="1838683"/>
                  <a:pt x="5369641" y="1835980"/>
                  <a:pt x="5369214" y="1831285"/>
                </a:cubicBezTo>
                <a:lnTo>
                  <a:pt x="5369854" y="1830858"/>
                </a:lnTo>
                <a:lnTo>
                  <a:pt x="5366867" y="1829151"/>
                </a:lnTo>
                <a:lnTo>
                  <a:pt x="5364305" y="1829436"/>
                </a:lnTo>
                <a:lnTo>
                  <a:pt x="5363025" y="1828866"/>
                </a:lnTo>
                <a:lnTo>
                  <a:pt x="5358756" y="1836691"/>
                </a:lnTo>
                <a:cubicBezTo>
                  <a:pt x="5356622" y="1840248"/>
                  <a:pt x="5354488" y="1843094"/>
                  <a:pt x="5352781" y="1843235"/>
                </a:cubicBezTo>
                <a:cubicBezTo>
                  <a:pt x="5352354" y="1842097"/>
                  <a:pt x="5352140" y="1840959"/>
                  <a:pt x="5352781" y="1839394"/>
                </a:cubicBezTo>
                <a:cubicBezTo>
                  <a:pt x="5353634" y="1837830"/>
                  <a:pt x="5353848" y="1838825"/>
                  <a:pt x="5353421" y="1837830"/>
                </a:cubicBezTo>
                <a:cubicBezTo>
                  <a:pt x="5354275" y="1836264"/>
                  <a:pt x="5353208" y="1836549"/>
                  <a:pt x="5353208" y="1836549"/>
                </a:cubicBezTo>
                <a:cubicBezTo>
                  <a:pt x="5353208" y="1836549"/>
                  <a:pt x="5354275" y="1836122"/>
                  <a:pt x="5354275" y="1836122"/>
                </a:cubicBezTo>
                <a:cubicBezTo>
                  <a:pt x="5354275" y="1836122"/>
                  <a:pt x="5354275" y="1836264"/>
                  <a:pt x="5355768" y="1832992"/>
                </a:cubicBezTo>
                <a:cubicBezTo>
                  <a:pt x="5356836" y="1828724"/>
                  <a:pt x="5356622" y="1827728"/>
                  <a:pt x="5357049" y="1825025"/>
                </a:cubicBezTo>
                <a:lnTo>
                  <a:pt x="5357263" y="1824456"/>
                </a:lnTo>
                <a:lnTo>
                  <a:pt x="5355128" y="1820899"/>
                </a:lnTo>
                <a:cubicBezTo>
                  <a:pt x="5353208" y="1814924"/>
                  <a:pt x="5354915" y="1807384"/>
                  <a:pt x="5359824" y="1803401"/>
                </a:cubicBezTo>
                <a:lnTo>
                  <a:pt x="5362598" y="1802120"/>
                </a:lnTo>
                <a:lnTo>
                  <a:pt x="5354061" y="1800412"/>
                </a:lnTo>
                <a:cubicBezTo>
                  <a:pt x="5347658" y="1797710"/>
                  <a:pt x="5341896" y="1792873"/>
                  <a:pt x="5341896" y="1786471"/>
                </a:cubicBezTo>
                <a:close/>
                <a:moveTo>
                  <a:pt x="1543784" y="1785822"/>
                </a:moveTo>
                <a:cubicBezTo>
                  <a:pt x="1544713" y="1785822"/>
                  <a:pt x="1545230" y="1786442"/>
                  <a:pt x="1545539" y="1787371"/>
                </a:cubicBezTo>
                <a:cubicBezTo>
                  <a:pt x="1546469" y="1790159"/>
                  <a:pt x="1544713" y="1795425"/>
                  <a:pt x="1540996" y="1795270"/>
                </a:cubicBezTo>
                <a:cubicBezTo>
                  <a:pt x="1539550" y="1794806"/>
                  <a:pt x="1538518" y="1792173"/>
                  <a:pt x="1538828" y="1789849"/>
                </a:cubicBezTo>
                <a:cubicBezTo>
                  <a:pt x="1539034" y="1787526"/>
                  <a:pt x="1540480" y="1785357"/>
                  <a:pt x="1543784" y="1785822"/>
                </a:cubicBezTo>
                <a:close/>
                <a:moveTo>
                  <a:pt x="1776317" y="1785202"/>
                </a:moveTo>
                <a:cubicBezTo>
                  <a:pt x="1781376" y="1791089"/>
                  <a:pt x="1776936" y="1800692"/>
                  <a:pt x="1770844" y="1803635"/>
                </a:cubicBezTo>
                <a:cubicBezTo>
                  <a:pt x="1768883" y="1804564"/>
                  <a:pt x="1766611" y="1804874"/>
                  <a:pt x="1764442" y="1804100"/>
                </a:cubicBezTo>
                <a:cubicBezTo>
                  <a:pt x="1762791" y="1802086"/>
                  <a:pt x="1762171" y="1799917"/>
                  <a:pt x="1762377" y="1797594"/>
                </a:cubicBezTo>
                <a:cubicBezTo>
                  <a:pt x="1762791" y="1791089"/>
                  <a:pt x="1770328" y="1784582"/>
                  <a:pt x="1776317" y="1785202"/>
                </a:cubicBezTo>
                <a:close/>
                <a:moveTo>
                  <a:pt x="5183112" y="1784479"/>
                </a:moveTo>
                <a:cubicBezTo>
                  <a:pt x="5186527" y="1784336"/>
                  <a:pt x="5189515" y="1785332"/>
                  <a:pt x="5190581" y="1787466"/>
                </a:cubicBezTo>
                <a:cubicBezTo>
                  <a:pt x="5191862" y="1803401"/>
                  <a:pt x="5180551" y="1806815"/>
                  <a:pt x="5175856" y="1799417"/>
                </a:cubicBezTo>
                <a:cubicBezTo>
                  <a:pt x="5174362" y="1796998"/>
                  <a:pt x="5173722" y="1793299"/>
                  <a:pt x="5174362" y="1788462"/>
                </a:cubicBezTo>
                <a:cubicBezTo>
                  <a:pt x="5176282" y="1786044"/>
                  <a:pt x="5179697" y="1784763"/>
                  <a:pt x="5183112" y="1784479"/>
                </a:cubicBezTo>
                <a:close/>
                <a:moveTo>
                  <a:pt x="1213984" y="1784428"/>
                </a:moveTo>
                <a:cubicBezTo>
                  <a:pt x="1215945" y="1782724"/>
                  <a:pt x="1219146" y="1782724"/>
                  <a:pt x="1222760" y="1785512"/>
                </a:cubicBezTo>
                <a:cubicBezTo>
                  <a:pt x="1225548" y="1792792"/>
                  <a:pt x="1218114" y="1798368"/>
                  <a:pt x="1212331" y="1792327"/>
                </a:cubicBezTo>
                <a:cubicBezTo>
                  <a:pt x="1211712" y="1790623"/>
                  <a:pt x="1211609" y="1789075"/>
                  <a:pt x="1211919" y="1787680"/>
                </a:cubicBezTo>
                <a:cubicBezTo>
                  <a:pt x="1212228" y="1786286"/>
                  <a:pt x="1212951" y="1785202"/>
                  <a:pt x="1213984" y="1784428"/>
                </a:cubicBezTo>
                <a:close/>
                <a:moveTo>
                  <a:pt x="5945447" y="1784336"/>
                </a:moveTo>
                <a:cubicBezTo>
                  <a:pt x="5946301" y="1784336"/>
                  <a:pt x="5947368" y="1784621"/>
                  <a:pt x="5948222" y="1785190"/>
                </a:cubicBezTo>
                <a:cubicBezTo>
                  <a:pt x="5950570" y="1786613"/>
                  <a:pt x="5949502" y="1788889"/>
                  <a:pt x="5947368" y="1791165"/>
                </a:cubicBezTo>
                <a:cubicBezTo>
                  <a:pt x="5944167" y="1796998"/>
                  <a:pt x="5940752" y="1798136"/>
                  <a:pt x="5937124" y="1794295"/>
                </a:cubicBezTo>
                <a:cubicBezTo>
                  <a:pt x="5937124" y="1793157"/>
                  <a:pt x="5937978" y="1789600"/>
                  <a:pt x="5936911" y="1789458"/>
                </a:cubicBezTo>
                <a:cubicBezTo>
                  <a:pt x="5939258" y="1786897"/>
                  <a:pt x="5942459" y="1784336"/>
                  <a:pt x="5945447" y="1784336"/>
                </a:cubicBezTo>
                <a:close/>
                <a:moveTo>
                  <a:pt x="5664587" y="1784052"/>
                </a:moveTo>
                <a:lnTo>
                  <a:pt x="5669496" y="1786755"/>
                </a:lnTo>
                <a:lnTo>
                  <a:pt x="5672910" y="1787039"/>
                </a:lnTo>
                <a:cubicBezTo>
                  <a:pt x="5675045" y="1785901"/>
                  <a:pt x="5678673" y="1786044"/>
                  <a:pt x="5681020" y="1787324"/>
                </a:cubicBezTo>
                <a:cubicBezTo>
                  <a:pt x="5683368" y="1789885"/>
                  <a:pt x="5683368" y="1792161"/>
                  <a:pt x="5682301" y="1793299"/>
                </a:cubicBezTo>
                <a:cubicBezTo>
                  <a:pt x="5674831" y="1803685"/>
                  <a:pt x="5664374" y="1798421"/>
                  <a:pt x="5662239" y="1799559"/>
                </a:cubicBezTo>
                <a:cubicBezTo>
                  <a:pt x="5659465" y="1796714"/>
                  <a:pt x="5658825" y="1796002"/>
                  <a:pt x="5660746" y="1793015"/>
                </a:cubicBezTo>
                <a:lnTo>
                  <a:pt x="5663093" y="1790027"/>
                </a:lnTo>
                <a:lnTo>
                  <a:pt x="5661386" y="1787324"/>
                </a:lnTo>
                <a:cubicBezTo>
                  <a:pt x="5662453" y="1786186"/>
                  <a:pt x="5663520" y="1785190"/>
                  <a:pt x="5664587" y="1784052"/>
                </a:cubicBezTo>
                <a:close/>
                <a:moveTo>
                  <a:pt x="4618617" y="1784052"/>
                </a:moveTo>
                <a:cubicBezTo>
                  <a:pt x="4619684" y="1783482"/>
                  <a:pt x="4622672" y="1784621"/>
                  <a:pt x="4624166" y="1785190"/>
                </a:cubicBezTo>
                <a:cubicBezTo>
                  <a:pt x="4625232" y="1784621"/>
                  <a:pt x="4626727" y="1785190"/>
                  <a:pt x="4627154" y="1786186"/>
                </a:cubicBezTo>
                <a:cubicBezTo>
                  <a:pt x="4627154" y="1786186"/>
                  <a:pt x="4628647" y="1786755"/>
                  <a:pt x="4629715" y="1786186"/>
                </a:cubicBezTo>
                <a:cubicBezTo>
                  <a:pt x="4632702" y="1787324"/>
                  <a:pt x="4633129" y="1788320"/>
                  <a:pt x="4633343" y="1789316"/>
                </a:cubicBezTo>
                <a:cubicBezTo>
                  <a:pt x="4633343" y="1789316"/>
                  <a:pt x="4632062" y="1788746"/>
                  <a:pt x="4630995" y="1789316"/>
                </a:cubicBezTo>
                <a:cubicBezTo>
                  <a:pt x="4630995" y="1789316"/>
                  <a:pt x="4629501" y="1788889"/>
                  <a:pt x="4628007" y="1788320"/>
                </a:cubicBezTo>
                <a:cubicBezTo>
                  <a:pt x="4628007" y="1788320"/>
                  <a:pt x="4626940" y="1788746"/>
                  <a:pt x="4625873" y="1789316"/>
                </a:cubicBezTo>
                <a:cubicBezTo>
                  <a:pt x="4621818" y="1788746"/>
                  <a:pt x="4619257" y="1788889"/>
                  <a:pt x="4618617" y="1784052"/>
                </a:cubicBezTo>
                <a:close/>
                <a:moveTo>
                  <a:pt x="1802854" y="1783963"/>
                </a:moveTo>
                <a:cubicBezTo>
                  <a:pt x="1805332" y="1787990"/>
                  <a:pt x="1803990" y="1795425"/>
                  <a:pt x="1800582" y="1801467"/>
                </a:cubicBezTo>
                <a:cubicBezTo>
                  <a:pt x="1797175" y="1807507"/>
                  <a:pt x="1791702" y="1811999"/>
                  <a:pt x="1785817" y="1809831"/>
                </a:cubicBezTo>
                <a:cubicBezTo>
                  <a:pt x="1795316" y="1802860"/>
                  <a:pt x="1791083" y="1789694"/>
                  <a:pt x="1802854" y="1783963"/>
                </a:cubicBezTo>
                <a:close/>
                <a:moveTo>
                  <a:pt x="1365796" y="1783905"/>
                </a:moveTo>
                <a:cubicBezTo>
                  <a:pt x="1368997" y="1784273"/>
                  <a:pt x="1370571" y="1787138"/>
                  <a:pt x="1364428" y="1794341"/>
                </a:cubicBezTo>
                <a:cubicBezTo>
                  <a:pt x="1358852" y="1792482"/>
                  <a:pt x="1357097" y="1790314"/>
                  <a:pt x="1357406" y="1788455"/>
                </a:cubicBezTo>
                <a:cubicBezTo>
                  <a:pt x="1357768" y="1785667"/>
                  <a:pt x="1362595" y="1783537"/>
                  <a:pt x="1365796" y="1783905"/>
                </a:cubicBezTo>
                <a:close/>
                <a:moveTo>
                  <a:pt x="5256529" y="1783625"/>
                </a:moveTo>
                <a:cubicBezTo>
                  <a:pt x="5261224" y="1782202"/>
                  <a:pt x="5266346" y="1787751"/>
                  <a:pt x="5267840" y="1793015"/>
                </a:cubicBezTo>
                <a:cubicBezTo>
                  <a:pt x="5268480" y="1794865"/>
                  <a:pt x="5268480" y="1796571"/>
                  <a:pt x="5268053" y="1797994"/>
                </a:cubicBezTo>
                <a:cubicBezTo>
                  <a:pt x="5265278" y="1800270"/>
                  <a:pt x="5262717" y="1802404"/>
                  <a:pt x="5259943" y="1804681"/>
                </a:cubicBezTo>
                <a:cubicBezTo>
                  <a:pt x="5253967" y="1805392"/>
                  <a:pt x="5249699" y="1801409"/>
                  <a:pt x="5249272" y="1796287"/>
                </a:cubicBezTo>
                <a:cubicBezTo>
                  <a:pt x="5249059" y="1794580"/>
                  <a:pt x="5249486" y="1792588"/>
                  <a:pt x="5250126" y="1790738"/>
                </a:cubicBezTo>
                <a:cubicBezTo>
                  <a:pt x="5251406" y="1788320"/>
                  <a:pt x="5253327" y="1785759"/>
                  <a:pt x="5256529" y="1783625"/>
                </a:cubicBezTo>
                <a:close/>
                <a:moveTo>
                  <a:pt x="1501862" y="1783499"/>
                </a:moveTo>
                <a:cubicBezTo>
                  <a:pt x="1503514" y="1784428"/>
                  <a:pt x="1506922" y="1785822"/>
                  <a:pt x="1508058" y="1787371"/>
                </a:cubicBezTo>
                <a:cubicBezTo>
                  <a:pt x="1508367" y="1787835"/>
                  <a:pt x="1508573" y="1788455"/>
                  <a:pt x="1508264" y="1788920"/>
                </a:cubicBezTo>
                <a:cubicBezTo>
                  <a:pt x="1506096" y="1787680"/>
                  <a:pt x="1502172" y="1786906"/>
                  <a:pt x="1501862" y="1783499"/>
                </a:cubicBezTo>
                <a:close/>
                <a:moveTo>
                  <a:pt x="5822091" y="1783340"/>
                </a:moveTo>
                <a:cubicBezTo>
                  <a:pt x="5827639" y="1781917"/>
                  <a:pt x="5833829" y="1783340"/>
                  <a:pt x="5837244" y="1788604"/>
                </a:cubicBezTo>
                <a:cubicBezTo>
                  <a:pt x="5836603" y="1799559"/>
                  <a:pt x="5821877" y="1805534"/>
                  <a:pt x="5813981" y="1804823"/>
                </a:cubicBezTo>
                <a:cubicBezTo>
                  <a:pt x="5810353" y="1800840"/>
                  <a:pt x="5809285" y="1796998"/>
                  <a:pt x="5810139" y="1793584"/>
                </a:cubicBezTo>
                <a:cubicBezTo>
                  <a:pt x="5811420" y="1788462"/>
                  <a:pt x="5816328" y="1784621"/>
                  <a:pt x="5822091" y="1783340"/>
                </a:cubicBezTo>
                <a:close/>
                <a:moveTo>
                  <a:pt x="829354" y="1782879"/>
                </a:moveTo>
                <a:cubicBezTo>
                  <a:pt x="829974" y="1782879"/>
                  <a:pt x="830903" y="1783499"/>
                  <a:pt x="832142" y="1784428"/>
                </a:cubicBezTo>
                <a:cubicBezTo>
                  <a:pt x="833898" y="1786286"/>
                  <a:pt x="835653" y="1787216"/>
                  <a:pt x="835653" y="1788146"/>
                </a:cubicBezTo>
                <a:cubicBezTo>
                  <a:pt x="836582" y="1788146"/>
                  <a:pt x="837408" y="1789075"/>
                  <a:pt x="838337" y="1789230"/>
                </a:cubicBezTo>
                <a:cubicBezTo>
                  <a:pt x="838337" y="1789230"/>
                  <a:pt x="838337" y="1789230"/>
                  <a:pt x="838337" y="1790004"/>
                </a:cubicBezTo>
                <a:cubicBezTo>
                  <a:pt x="834827" y="1788920"/>
                  <a:pt x="830387" y="1789230"/>
                  <a:pt x="827702" y="1787371"/>
                </a:cubicBezTo>
                <a:cubicBezTo>
                  <a:pt x="827289" y="1786906"/>
                  <a:pt x="826876" y="1786442"/>
                  <a:pt x="826773" y="1785822"/>
                </a:cubicBezTo>
                <a:cubicBezTo>
                  <a:pt x="826669" y="1785357"/>
                  <a:pt x="826876" y="1784738"/>
                  <a:pt x="827805" y="1783963"/>
                </a:cubicBezTo>
                <a:cubicBezTo>
                  <a:pt x="828218" y="1783189"/>
                  <a:pt x="828631" y="1782879"/>
                  <a:pt x="829354" y="1782879"/>
                </a:cubicBezTo>
                <a:close/>
                <a:moveTo>
                  <a:pt x="1117697" y="1782801"/>
                </a:moveTo>
                <a:cubicBezTo>
                  <a:pt x="1118601" y="1782298"/>
                  <a:pt x="1119452" y="1782027"/>
                  <a:pt x="1120743" y="1783344"/>
                </a:cubicBezTo>
                <a:cubicBezTo>
                  <a:pt x="1121260" y="1784892"/>
                  <a:pt x="1120846" y="1786906"/>
                  <a:pt x="1118678" y="1789385"/>
                </a:cubicBezTo>
                <a:cubicBezTo>
                  <a:pt x="1114032" y="1789075"/>
                  <a:pt x="1114238" y="1786442"/>
                  <a:pt x="1114341" y="1783653"/>
                </a:cubicBezTo>
                <a:cubicBezTo>
                  <a:pt x="1115838" y="1784041"/>
                  <a:pt x="1116794" y="1783305"/>
                  <a:pt x="1117697" y="1782801"/>
                </a:cubicBezTo>
                <a:close/>
                <a:moveTo>
                  <a:pt x="1407176" y="1782414"/>
                </a:moveTo>
                <a:cubicBezTo>
                  <a:pt x="1411823" y="1779936"/>
                  <a:pt x="1420496" y="1785047"/>
                  <a:pt x="1416675" y="1791398"/>
                </a:cubicBezTo>
                <a:cubicBezTo>
                  <a:pt x="1413578" y="1792637"/>
                  <a:pt x="1406453" y="1789849"/>
                  <a:pt x="1404491" y="1787835"/>
                </a:cubicBezTo>
                <a:cubicBezTo>
                  <a:pt x="1404595" y="1785047"/>
                  <a:pt x="1405627" y="1783344"/>
                  <a:pt x="1407176" y="1782414"/>
                </a:cubicBezTo>
                <a:close/>
                <a:moveTo>
                  <a:pt x="6111275" y="1782345"/>
                </a:moveTo>
                <a:cubicBezTo>
                  <a:pt x="6117464" y="1783340"/>
                  <a:pt x="6120665" y="1792873"/>
                  <a:pt x="6118104" y="1797425"/>
                </a:cubicBezTo>
                <a:cubicBezTo>
                  <a:pt x="6117250" y="1798990"/>
                  <a:pt x="6115756" y="1799986"/>
                  <a:pt x="6113409" y="1799844"/>
                </a:cubicBezTo>
                <a:cubicBezTo>
                  <a:pt x="6107006" y="1795433"/>
                  <a:pt x="6111488" y="1790169"/>
                  <a:pt x="6111275" y="1782345"/>
                </a:cubicBezTo>
                <a:close/>
                <a:moveTo>
                  <a:pt x="1738319" y="1782104"/>
                </a:moveTo>
                <a:cubicBezTo>
                  <a:pt x="1740694" y="1781330"/>
                  <a:pt x="1743275" y="1781795"/>
                  <a:pt x="1745443" y="1782569"/>
                </a:cubicBezTo>
                <a:cubicBezTo>
                  <a:pt x="1745030" y="1783344"/>
                  <a:pt x="1750606" y="1785512"/>
                  <a:pt x="1752258" y="1790314"/>
                </a:cubicBezTo>
                <a:cubicBezTo>
                  <a:pt x="1752774" y="1791863"/>
                  <a:pt x="1752878" y="1793722"/>
                  <a:pt x="1752155" y="1796045"/>
                </a:cubicBezTo>
                <a:cubicBezTo>
                  <a:pt x="1750296" y="1800847"/>
                  <a:pt x="1746682" y="1805339"/>
                  <a:pt x="1738009" y="1801467"/>
                </a:cubicBezTo>
                <a:cubicBezTo>
                  <a:pt x="1736150" y="1801002"/>
                  <a:pt x="1736873" y="1800847"/>
                  <a:pt x="1735737" y="1800227"/>
                </a:cubicBezTo>
                <a:cubicBezTo>
                  <a:pt x="1734705" y="1799608"/>
                  <a:pt x="1732743" y="1799298"/>
                  <a:pt x="1731917" y="1799453"/>
                </a:cubicBezTo>
                <a:cubicBezTo>
                  <a:pt x="1732846" y="1796510"/>
                  <a:pt x="1731401" y="1795270"/>
                  <a:pt x="1731607" y="1792173"/>
                </a:cubicBezTo>
                <a:cubicBezTo>
                  <a:pt x="1731607" y="1791243"/>
                  <a:pt x="1731813" y="1790159"/>
                  <a:pt x="1732433" y="1788610"/>
                </a:cubicBezTo>
                <a:cubicBezTo>
                  <a:pt x="1733672" y="1784738"/>
                  <a:pt x="1735840" y="1782724"/>
                  <a:pt x="1738319" y="1782104"/>
                </a:cubicBezTo>
                <a:close/>
                <a:moveTo>
                  <a:pt x="5721570" y="1782060"/>
                </a:moveTo>
                <a:cubicBezTo>
                  <a:pt x="5724558" y="1784763"/>
                  <a:pt x="5726692" y="1787182"/>
                  <a:pt x="5727759" y="1789316"/>
                </a:cubicBezTo>
                <a:cubicBezTo>
                  <a:pt x="5736510" y="1804254"/>
                  <a:pt x="5707058" y="1806246"/>
                  <a:pt x="5706417" y="1797283"/>
                </a:cubicBezTo>
                <a:cubicBezTo>
                  <a:pt x="5705990" y="1793726"/>
                  <a:pt x="5710045" y="1788746"/>
                  <a:pt x="5721570" y="1782060"/>
                </a:cubicBezTo>
                <a:close/>
                <a:moveTo>
                  <a:pt x="4860208" y="1781917"/>
                </a:moveTo>
                <a:cubicBezTo>
                  <a:pt x="4859781" y="1783482"/>
                  <a:pt x="4857860" y="1787466"/>
                  <a:pt x="4853805" y="1787324"/>
                </a:cubicBezTo>
                <a:cubicBezTo>
                  <a:pt x="4849750" y="1787039"/>
                  <a:pt x="4847189" y="1789885"/>
                  <a:pt x="4843134" y="1789743"/>
                </a:cubicBezTo>
                <a:cubicBezTo>
                  <a:pt x="4843134" y="1789743"/>
                  <a:pt x="4843134" y="1789600"/>
                  <a:pt x="4843774" y="1788035"/>
                </a:cubicBezTo>
                <a:cubicBezTo>
                  <a:pt x="4849750" y="1786897"/>
                  <a:pt x="4853592" y="1781776"/>
                  <a:pt x="4860208" y="1781917"/>
                </a:cubicBezTo>
                <a:close/>
                <a:moveTo>
                  <a:pt x="5627025" y="1781633"/>
                </a:moveTo>
                <a:cubicBezTo>
                  <a:pt x="5628306" y="1781633"/>
                  <a:pt x="5628733" y="1782202"/>
                  <a:pt x="5628733" y="1783056"/>
                </a:cubicBezTo>
                <a:cubicBezTo>
                  <a:pt x="5628733" y="1783909"/>
                  <a:pt x="5628519" y="1785190"/>
                  <a:pt x="5628733" y="1786471"/>
                </a:cubicBezTo>
                <a:lnTo>
                  <a:pt x="5624037" y="1785190"/>
                </a:lnTo>
                <a:cubicBezTo>
                  <a:pt x="5624251" y="1783482"/>
                  <a:pt x="5625531" y="1781207"/>
                  <a:pt x="5627025" y="1781633"/>
                </a:cubicBezTo>
                <a:close/>
                <a:moveTo>
                  <a:pt x="985064" y="1781485"/>
                </a:moveTo>
                <a:cubicBezTo>
                  <a:pt x="985787" y="1781020"/>
                  <a:pt x="986820" y="1781175"/>
                  <a:pt x="987749" y="1781640"/>
                </a:cubicBezTo>
                <a:cubicBezTo>
                  <a:pt x="988679" y="1782104"/>
                  <a:pt x="989505" y="1782879"/>
                  <a:pt x="990021" y="1783653"/>
                </a:cubicBezTo>
                <a:cubicBezTo>
                  <a:pt x="990331" y="1784892"/>
                  <a:pt x="990331" y="1784892"/>
                  <a:pt x="990640" y="1785977"/>
                </a:cubicBezTo>
                <a:cubicBezTo>
                  <a:pt x="989814" y="1787371"/>
                  <a:pt x="989608" y="1789230"/>
                  <a:pt x="987956" y="1790159"/>
                </a:cubicBezTo>
                <a:cubicBezTo>
                  <a:pt x="985581" y="1790469"/>
                  <a:pt x="982380" y="1787371"/>
                  <a:pt x="981244" y="1785822"/>
                </a:cubicBezTo>
                <a:cubicBezTo>
                  <a:pt x="980625" y="1783499"/>
                  <a:pt x="982690" y="1781949"/>
                  <a:pt x="985064" y="1781485"/>
                </a:cubicBezTo>
                <a:close/>
                <a:moveTo>
                  <a:pt x="5608458" y="1781207"/>
                </a:moveTo>
                <a:cubicBezTo>
                  <a:pt x="5609738" y="1781207"/>
                  <a:pt x="5611445" y="1782060"/>
                  <a:pt x="5613366" y="1783198"/>
                </a:cubicBezTo>
                <a:cubicBezTo>
                  <a:pt x="5617208" y="1785332"/>
                  <a:pt x="5616567" y="1789031"/>
                  <a:pt x="5619129" y="1791308"/>
                </a:cubicBezTo>
                <a:cubicBezTo>
                  <a:pt x="5616994" y="1792588"/>
                  <a:pt x="5613793" y="1795291"/>
                  <a:pt x="5608671" y="1791876"/>
                </a:cubicBezTo>
                <a:cubicBezTo>
                  <a:pt x="5607391" y="1790738"/>
                  <a:pt x="5607391" y="1790738"/>
                  <a:pt x="5607177" y="1789600"/>
                </a:cubicBezTo>
                <a:cubicBezTo>
                  <a:pt x="5605683" y="1787182"/>
                  <a:pt x="5604189" y="1786044"/>
                  <a:pt x="5605043" y="1783625"/>
                </a:cubicBezTo>
                <a:cubicBezTo>
                  <a:pt x="5606110" y="1781776"/>
                  <a:pt x="5607177" y="1781064"/>
                  <a:pt x="5608458" y="1781207"/>
                </a:cubicBezTo>
                <a:close/>
                <a:moveTo>
                  <a:pt x="6006912" y="1781064"/>
                </a:moveTo>
                <a:cubicBezTo>
                  <a:pt x="6024199" y="1792161"/>
                  <a:pt x="6028467" y="1817058"/>
                  <a:pt x="6036151" y="1837545"/>
                </a:cubicBezTo>
                <a:cubicBezTo>
                  <a:pt x="6031882" y="1837830"/>
                  <a:pt x="6030175" y="1840959"/>
                  <a:pt x="6023559" y="1839963"/>
                </a:cubicBezTo>
                <a:cubicBezTo>
                  <a:pt x="6019291" y="1818197"/>
                  <a:pt x="6009900" y="1799132"/>
                  <a:pt x="6006912" y="1781064"/>
                </a:cubicBezTo>
                <a:close/>
                <a:moveTo>
                  <a:pt x="1834450" y="1780556"/>
                </a:moveTo>
                <a:cubicBezTo>
                  <a:pt x="1836825" y="1781795"/>
                  <a:pt x="1838477" y="1784428"/>
                  <a:pt x="1838994" y="1787371"/>
                </a:cubicBezTo>
                <a:cubicBezTo>
                  <a:pt x="1834450" y="1788455"/>
                  <a:pt x="1831249" y="1786906"/>
                  <a:pt x="1827945" y="1783344"/>
                </a:cubicBezTo>
                <a:cubicBezTo>
                  <a:pt x="1828358" y="1782724"/>
                  <a:pt x="1829391" y="1782104"/>
                  <a:pt x="1830630" y="1781640"/>
                </a:cubicBezTo>
                <a:cubicBezTo>
                  <a:pt x="1831869" y="1781175"/>
                  <a:pt x="1833314" y="1780865"/>
                  <a:pt x="1834450" y="1780556"/>
                </a:cubicBezTo>
                <a:close/>
                <a:moveTo>
                  <a:pt x="5086859" y="1780495"/>
                </a:moveTo>
                <a:cubicBezTo>
                  <a:pt x="5093689" y="1782060"/>
                  <a:pt x="5100945" y="1788462"/>
                  <a:pt x="5102653" y="1793584"/>
                </a:cubicBezTo>
                <a:cubicBezTo>
                  <a:pt x="5101159" y="1798705"/>
                  <a:pt x="5098598" y="1801267"/>
                  <a:pt x="5095610" y="1802262"/>
                </a:cubicBezTo>
                <a:cubicBezTo>
                  <a:pt x="5088994" y="1804254"/>
                  <a:pt x="5080884" y="1797283"/>
                  <a:pt x="5079603" y="1789173"/>
                </a:cubicBezTo>
                <a:lnTo>
                  <a:pt x="5080244" y="1783767"/>
                </a:lnTo>
                <a:lnTo>
                  <a:pt x="5079817" y="1783198"/>
                </a:lnTo>
                <a:lnTo>
                  <a:pt x="5080457" y="1781917"/>
                </a:lnTo>
                <a:lnTo>
                  <a:pt x="5080671" y="1780922"/>
                </a:lnTo>
                <a:cubicBezTo>
                  <a:pt x="5082591" y="1780068"/>
                  <a:pt x="5084726" y="1780068"/>
                  <a:pt x="5086859" y="1780495"/>
                </a:cubicBezTo>
                <a:close/>
                <a:moveTo>
                  <a:pt x="865700" y="1780091"/>
                </a:moveTo>
                <a:lnTo>
                  <a:pt x="868489" y="1782259"/>
                </a:lnTo>
                <a:cubicBezTo>
                  <a:pt x="867662" y="1783189"/>
                  <a:pt x="866010" y="1784273"/>
                  <a:pt x="865184" y="1783653"/>
                </a:cubicBezTo>
                <a:cubicBezTo>
                  <a:pt x="864255" y="1783344"/>
                  <a:pt x="864255" y="1782879"/>
                  <a:pt x="864461" y="1782259"/>
                </a:cubicBezTo>
                <a:cubicBezTo>
                  <a:pt x="864771" y="1781795"/>
                  <a:pt x="865391" y="1781020"/>
                  <a:pt x="865700" y="1780091"/>
                </a:cubicBezTo>
                <a:close/>
                <a:moveTo>
                  <a:pt x="867972" y="1779781"/>
                </a:moveTo>
                <a:cubicBezTo>
                  <a:pt x="868901" y="1780556"/>
                  <a:pt x="867972" y="1780401"/>
                  <a:pt x="867972" y="1781175"/>
                </a:cubicBezTo>
                <a:cubicBezTo>
                  <a:pt x="867456" y="1780710"/>
                  <a:pt x="867249" y="1780556"/>
                  <a:pt x="867249" y="1780401"/>
                </a:cubicBezTo>
                <a:cubicBezTo>
                  <a:pt x="867249" y="1780245"/>
                  <a:pt x="867456" y="1780091"/>
                  <a:pt x="867972" y="1779781"/>
                </a:cubicBezTo>
                <a:close/>
                <a:moveTo>
                  <a:pt x="5103293" y="1779499"/>
                </a:moveTo>
                <a:cubicBezTo>
                  <a:pt x="5108842" y="1779926"/>
                  <a:pt x="5112897" y="1782629"/>
                  <a:pt x="5115031" y="1790027"/>
                </a:cubicBezTo>
                <a:cubicBezTo>
                  <a:pt x="5112256" y="1793584"/>
                  <a:pt x="5107775" y="1793015"/>
                  <a:pt x="5103933" y="1790454"/>
                </a:cubicBezTo>
                <a:cubicBezTo>
                  <a:pt x="5100092" y="1788035"/>
                  <a:pt x="5097104" y="1783625"/>
                  <a:pt x="5097104" y="1779642"/>
                </a:cubicBezTo>
                <a:cubicBezTo>
                  <a:pt x="5099238" y="1779357"/>
                  <a:pt x="5101372" y="1779357"/>
                  <a:pt x="5103293" y="1779499"/>
                </a:cubicBezTo>
                <a:close/>
                <a:moveTo>
                  <a:pt x="1455087" y="1779316"/>
                </a:moveTo>
                <a:cubicBezTo>
                  <a:pt x="1457978" y="1782414"/>
                  <a:pt x="1455087" y="1787216"/>
                  <a:pt x="1451473" y="1787526"/>
                </a:cubicBezTo>
                <a:cubicBezTo>
                  <a:pt x="1450131" y="1786751"/>
                  <a:pt x="1449511" y="1785822"/>
                  <a:pt x="1449304" y="1784892"/>
                </a:cubicBezTo>
                <a:cubicBezTo>
                  <a:pt x="1448788" y="1781949"/>
                  <a:pt x="1452608" y="1779006"/>
                  <a:pt x="1455087" y="1779316"/>
                </a:cubicBezTo>
                <a:close/>
                <a:moveTo>
                  <a:pt x="1806674" y="1779161"/>
                </a:moveTo>
                <a:cubicBezTo>
                  <a:pt x="1807500" y="1779006"/>
                  <a:pt x="1807810" y="1779781"/>
                  <a:pt x="1808533" y="1779471"/>
                </a:cubicBezTo>
                <a:cubicBezTo>
                  <a:pt x="1808533" y="1779471"/>
                  <a:pt x="1808842" y="1780401"/>
                  <a:pt x="1808842" y="1780401"/>
                </a:cubicBezTo>
                <a:cubicBezTo>
                  <a:pt x="1809256" y="1780245"/>
                  <a:pt x="1809153" y="1780245"/>
                  <a:pt x="1809049" y="1780556"/>
                </a:cubicBezTo>
                <a:cubicBezTo>
                  <a:pt x="1808946" y="1780710"/>
                  <a:pt x="1808739" y="1781175"/>
                  <a:pt x="1808636" y="1782104"/>
                </a:cubicBezTo>
                <a:cubicBezTo>
                  <a:pt x="1808120" y="1783034"/>
                  <a:pt x="1808430" y="1783808"/>
                  <a:pt x="1807294" y="1783189"/>
                </a:cubicBezTo>
                <a:cubicBezTo>
                  <a:pt x="1806261" y="1782724"/>
                  <a:pt x="1806365" y="1782724"/>
                  <a:pt x="1805435" y="1780401"/>
                </a:cubicBezTo>
                <a:cubicBezTo>
                  <a:pt x="1806571" y="1780865"/>
                  <a:pt x="1806571" y="1781020"/>
                  <a:pt x="1806984" y="1779936"/>
                </a:cubicBezTo>
                <a:cubicBezTo>
                  <a:pt x="1806984" y="1779936"/>
                  <a:pt x="1806984" y="1779936"/>
                  <a:pt x="1806674" y="1779161"/>
                </a:cubicBezTo>
                <a:close/>
                <a:moveTo>
                  <a:pt x="5635775" y="1778930"/>
                </a:moveTo>
                <a:cubicBezTo>
                  <a:pt x="5636629" y="1779926"/>
                  <a:pt x="5637483" y="1779357"/>
                  <a:pt x="5638123" y="1780353"/>
                </a:cubicBezTo>
                <a:cubicBezTo>
                  <a:pt x="5638123" y="1780353"/>
                  <a:pt x="5639190" y="1781064"/>
                  <a:pt x="5640471" y="1782487"/>
                </a:cubicBezTo>
                <a:cubicBezTo>
                  <a:pt x="5641537" y="1783909"/>
                  <a:pt x="5642605" y="1786186"/>
                  <a:pt x="5642605" y="1789173"/>
                </a:cubicBezTo>
                <a:cubicBezTo>
                  <a:pt x="5642392" y="1790738"/>
                  <a:pt x="5640897" y="1794722"/>
                  <a:pt x="5640257" y="1793726"/>
                </a:cubicBezTo>
                <a:cubicBezTo>
                  <a:pt x="5638550" y="1793299"/>
                  <a:pt x="5639190" y="1794153"/>
                  <a:pt x="5638336" y="1794865"/>
                </a:cubicBezTo>
                <a:cubicBezTo>
                  <a:pt x="5633428" y="1793584"/>
                  <a:pt x="5630653" y="1791165"/>
                  <a:pt x="5630440" y="1786897"/>
                </a:cubicBezTo>
                <a:cubicBezTo>
                  <a:pt x="5630866" y="1783625"/>
                  <a:pt x="5631721" y="1778788"/>
                  <a:pt x="5635775" y="1778930"/>
                </a:cubicBezTo>
                <a:close/>
                <a:moveTo>
                  <a:pt x="5195704" y="1776796"/>
                </a:moveTo>
                <a:cubicBezTo>
                  <a:pt x="5197411" y="1777223"/>
                  <a:pt x="5197411" y="1777223"/>
                  <a:pt x="5198051" y="1778219"/>
                </a:cubicBezTo>
                <a:cubicBezTo>
                  <a:pt x="5197838" y="1779784"/>
                  <a:pt x="5196771" y="1780495"/>
                  <a:pt x="5196557" y="1782060"/>
                </a:cubicBezTo>
                <a:cubicBezTo>
                  <a:pt x="5199759" y="1782914"/>
                  <a:pt x="5199119" y="1781917"/>
                  <a:pt x="5198905" y="1783482"/>
                </a:cubicBezTo>
                <a:cubicBezTo>
                  <a:pt x="5198905" y="1783482"/>
                  <a:pt x="5198905" y="1783482"/>
                  <a:pt x="5198692" y="1785190"/>
                </a:cubicBezTo>
                <a:cubicBezTo>
                  <a:pt x="5198692" y="1785190"/>
                  <a:pt x="5199332" y="1786186"/>
                  <a:pt x="5195277" y="1785901"/>
                </a:cubicBezTo>
                <a:cubicBezTo>
                  <a:pt x="5195490" y="1784336"/>
                  <a:pt x="5196131" y="1779499"/>
                  <a:pt x="5196131" y="1779499"/>
                </a:cubicBezTo>
                <a:cubicBezTo>
                  <a:pt x="5195490" y="1778361"/>
                  <a:pt x="5195490" y="1778361"/>
                  <a:pt x="5195704" y="1776796"/>
                </a:cubicBezTo>
                <a:close/>
                <a:moveTo>
                  <a:pt x="5022407" y="1776654"/>
                </a:moveTo>
                <a:cubicBezTo>
                  <a:pt x="5023688" y="1776512"/>
                  <a:pt x="5024541" y="1776796"/>
                  <a:pt x="5025181" y="1777365"/>
                </a:cubicBezTo>
                <a:cubicBezTo>
                  <a:pt x="5025608" y="1777935"/>
                  <a:pt x="5025821" y="1778788"/>
                  <a:pt x="5026035" y="1780210"/>
                </a:cubicBezTo>
                <a:lnTo>
                  <a:pt x="5022620" y="1783482"/>
                </a:lnTo>
                <a:lnTo>
                  <a:pt x="5025395" y="1784621"/>
                </a:lnTo>
                <a:lnTo>
                  <a:pt x="5028169" y="1787893"/>
                </a:lnTo>
                <a:lnTo>
                  <a:pt x="5028383" y="1784479"/>
                </a:lnTo>
                <a:cubicBezTo>
                  <a:pt x="5034359" y="1790027"/>
                  <a:pt x="5039054" y="1796002"/>
                  <a:pt x="5049511" y="1800128"/>
                </a:cubicBezTo>
                <a:cubicBezTo>
                  <a:pt x="5047804" y="1803116"/>
                  <a:pt x="5051646" y="1804396"/>
                  <a:pt x="5048658" y="1807669"/>
                </a:cubicBezTo>
                <a:cubicBezTo>
                  <a:pt x="5041828" y="1809803"/>
                  <a:pt x="5030304" y="1802120"/>
                  <a:pt x="5027742" y="1793299"/>
                </a:cubicBezTo>
                <a:lnTo>
                  <a:pt x="5027956" y="1789743"/>
                </a:lnTo>
                <a:lnTo>
                  <a:pt x="5021553" y="1794865"/>
                </a:lnTo>
                <a:lnTo>
                  <a:pt x="5016218" y="1793868"/>
                </a:lnTo>
                <a:lnTo>
                  <a:pt x="5020913" y="1796430"/>
                </a:lnTo>
                <a:cubicBezTo>
                  <a:pt x="5025608" y="1799986"/>
                  <a:pt x="5029236" y="1804823"/>
                  <a:pt x="5031157" y="1810229"/>
                </a:cubicBezTo>
                <a:cubicBezTo>
                  <a:pt x="5032011" y="1812648"/>
                  <a:pt x="5032651" y="1815208"/>
                  <a:pt x="5032864" y="1817770"/>
                </a:cubicBezTo>
                <a:lnTo>
                  <a:pt x="5031797" y="1825167"/>
                </a:lnTo>
                <a:lnTo>
                  <a:pt x="5033504" y="1825310"/>
                </a:lnTo>
                <a:cubicBezTo>
                  <a:pt x="5035425" y="1826021"/>
                  <a:pt x="5036492" y="1827159"/>
                  <a:pt x="5036919" y="1829009"/>
                </a:cubicBezTo>
                <a:lnTo>
                  <a:pt x="5036706" y="1832138"/>
                </a:lnTo>
                <a:lnTo>
                  <a:pt x="5042255" y="1831001"/>
                </a:lnTo>
                <a:cubicBezTo>
                  <a:pt x="5050365" y="1830716"/>
                  <a:pt x="5058048" y="1833135"/>
                  <a:pt x="5059329" y="1839679"/>
                </a:cubicBezTo>
                <a:cubicBezTo>
                  <a:pt x="5046096" y="1838540"/>
                  <a:pt x="5036919" y="1844374"/>
                  <a:pt x="5022407" y="1839963"/>
                </a:cubicBezTo>
                <a:lnTo>
                  <a:pt x="5027529" y="1835980"/>
                </a:lnTo>
                <a:lnTo>
                  <a:pt x="5026676" y="1833419"/>
                </a:lnTo>
                <a:lnTo>
                  <a:pt x="5028596" y="1826591"/>
                </a:lnTo>
                <a:lnTo>
                  <a:pt x="5019419" y="1829293"/>
                </a:lnTo>
                <a:cubicBezTo>
                  <a:pt x="5015364" y="1829436"/>
                  <a:pt x="5011522" y="1828866"/>
                  <a:pt x="5008108" y="1827444"/>
                </a:cubicBezTo>
                <a:cubicBezTo>
                  <a:pt x="4996796" y="1822749"/>
                  <a:pt x="4989113" y="1809945"/>
                  <a:pt x="4990394" y="1795291"/>
                </a:cubicBezTo>
                <a:cubicBezTo>
                  <a:pt x="4992101" y="1794722"/>
                  <a:pt x="4993595" y="1794153"/>
                  <a:pt x="4993168" y="1792588"/>
                </a:cubicBezTo>
                <a:cubicBezTo>
                  <a:pt x="4996796" y="1790881"/>
                  <a:pt x="5000851" y="1790169"/>
                  <a:pt x="5004693" y="1790454"/>
                </a:cubicBezTo>
                <a:lnTo>
                  <a:pt x="5011736" y="1791876"/>
                </a:lnTo>
                <a:lnTo>
                  <a:pt x="5009602" y="1788178"/>
                </a:lnTo>
                <a:lnTo>
                  <a:pt x="5011096" y="1786613"/>
                </a:lnTo>
                <a:lnTo>
                  <a:pt x="5010029" y="1786328"/>
                </a:lnTo>
                <a:cubicBezTo>
                  <a:pt x="5008321" y="1786044"/>
                  <a:pt x="5006827" y="1785474"/>
                  <a:pt x="5007467" y="1786613"/>
                </a:cubicBezTo>
                <a:cubicBezTo>
                  <a:pt x="5002559" y="1785332"/>
                  <a:pt x="5001705" y="1785901"/>
                  <a:pt x="5000425" y="1782202"/>
                </a:cubicBezTo>
                <a:cubicBezTo>
                  <a:pt x="5008748" y="1778219"/>
                  <a:pt x="5019846" y="1776796"/>
                  <a:pt x="5022407" y="1776654"/>
                </a:cubicBezTo>
                <a:close/>
                <a:moveTo>
                  <a:pt x="5152380" y="1775943"/>
                </a:moveTo>
                <a:cubicBezTo>
                  <a:pt x="5152380" y="1775943"/>
                  <a:pt x="5152806" y="1775943"/>
                  <a:pt x="5153020" y="1776227"/>
                </a:cubicBezTo>
                <a:cubicBezTo>
                  <a:pt x="5153447" y="1776512"/>
                  <a:pt x="5153660" y="1777080"/>
                  <a:pt x="5153660" y="1777792"/>
                </a:cubicBezTo>
                <a:cubicBezTo>
                  <a:pt x="5153660" y="1777792"/>
                  <a:pt x="5153447" y="1777792"/>
                  <a:pt x="5152593" y="1778361"/>
                </a:cubicBezTo>
                <a:cubicBezTo>
                  <a:pt x="5152593" y="1778361"/>
                  <a:pt x="5152166" y="1777365"/>
                  <a:pt x="5152380" y="1775943"/>
                </a:cubicBezTo>
                <a:close/>
                <a:moveTo>
                  <a:pt x="6212436" y="1775800"/>
                </a:moveTo>
                <a:cubicBezTo>
                  <a:pt x="6214997" y="1776085"/>
                  <a:pt x="6217131" y="1777223"/>
                  <a:pt x="6218625" y="1779215"/>
                </a:cubicBezTo>
                <a:cubicBezTo>
                  <a:pt x="6219692" y="1780637"/>
                  <a:pt x="6220332" y="1782345"/>
                  <a:pt x="6220546" y="1784194"/>
                </a:cubicBezTo>
                <a:lnTo>
                  <a:pt x="6220546" y="1784479"/>
                </a:lnTo>
                <a:lnTo>
                  <a:pt x="6222040" y="1783340"/>
                </a:lnTo>
                <a:cubicBezTo>
                  <a:pt x="6222893" y="1782914"/>
                  <a:pt x="6223747" y="1782914"/>
                  <a:pt x="6224387" y="1783482"/>
                </a:cubicBezTo>
                <a:cubicBezTo>
                  <a:pt x="6224600" y="1784621"/>
                  <a:pt x="6225668" y="1784621"/>
                  <a:pt x="6225881" y="1785759"/>
                </a:cubicBezTo>
                <a:cubicBezTo>
                  <a:pt x="6227375" y="1788178"/>
                  <a:pt x="6227588" y="1789316"/>
                  <a:pt x="6226521" y="1790596"/>
                </a:cubicBezTo>
                <a:cubicBezTo>
                  <a:pt x="6226735" y="1791734"/>
                  <a:pt x="6225668" y="1791876"/>
                  <a:pt x="6224600" y="1793157"/>
                </a:cubicBezTo>
                <a:cubicBezTo>
                  <a:pt x="6223533" y="1793157"/>
                  <a:pt x="6222253" y="1792019"/>
                  <a:pt x="6222253" y="1792019"/>
                </a:cubicBezTo>
                <a:cubicBezTo>
                  <a:pt x="6220972" y="1790881"/>
                  <a:pt x="6220972" y="1790881"/>
                  <a:pt x="6219905" y="1792161"/>
                </a:cubicBezTo>
                <a:cubicBezTo>
                  <a:pt x="6219905" y="1792161"/>
                  <a:pt x="6219692" y="1791023"/>
                  <a:pt x="6219692" y="1791023"/>
                </a:cubicBezTo>
                <a:cubicBezTo>
                  <a:pt x="6220332" y="1791023"/>
                  <a:pt x="6220332" y="1791023"/>
                  <a:pt x="6219905" y="1790881"/>
                </a:cubicBezTo>
                <a:lnTo>
                  <a:pt x="6219052" y="1790169"/>
                </a:lnTo>
                <a:lnTo>
                  <a:pt x="6218412" y="1793441"/>
                </a:lnTo>
                <a:cubicBezTo>
                  <a:pt x="6213716" y="1798279"/>
                  <a:pt x="6201978" y="1793868"/>
                  <a:pt x="6200911" y="1788035"/>
                </a:cubicBezTo>
                <a:cubicBezTo>
                  <a:pt x="6202191" y="1784763"/>
                  <a:pt x="6203472" y="1781491"/>
                  <a:pt x="6204753" y="1778361"/>
                </a:cubicBezTo>
                <a:cubicBezTo>
                  <a:pt x="6207313" y="1776369"/>
                  <a:pt x="6209875" y="1775516"/>
                  <a:pt x="6212436" y="1775800"/>
                </a:cubicBezTo>
                <a:close/>
                <a:moveTo>
                  <a:pt x="5214911" y="1775800"/>
                </a:moveTo>
                <a:cubicBezTo>
                  <a:pt x="5218113" y="1776654"/>
                  <a:pt x="5222381" y="1776938"/>
                  <a:pt x="5222808" y="1779499"/>
                </a:cubicBezTo>
                <a:cubicBezTo>
                  <a:pt x="5222168" y="1788746"/>
                  <a:pt x="5206588" y="1787324"/>
                  <a:pt x="5203174" y="1788035"/>
                </a:cubicBezTo>
                <a:cubicBezTo>
                  <a:pt x="5203174" y="1788035"/>
                  <a:pt x="5202320" y="1788604"/>
                  <a:pt x="5200612" y="1788320"/>
                </a:cubicBezTo>
                <a:cubicBezTo>
                  <a:pt x="5198264" y="1788462"/>
                  <a:pt x="5200186" y="1785617"/>
                  <a:pt x="5198692" y="1785190"/>
                </a:cubicBezTo>
                <a:cubicBezTo>
                  <a:pt x="5207442" y="1782345"/>
                  <a:pt x="5212350" y="1776085"/>
                  <a:pt x="5212350" y="1776085"/>
                </a:cubicBezTo>
                <a:cubicBezTo>
                  <a:pt x="5214911" y="1775943"/>
                  <a:pt x="5215765" y="1776796"/>
                  <a:pt x="5214911" y="1775800"/>
                </a:cubicBezTo>
                <a:close/>
                <a:moveTo>
                  <a:pt x="3841982" y="1775516"/>
                </a:moveTo>
                <a:cubicBezTo>
                  <a:pt x="3849239" y="1774804"/>
                  <a:pt x="3856281" y="1777365"/>
                  <a:pt x="3860550" y="1784763"/>
                </a:cubicBezTo>
                <a:lnTo>
                  <a:pt x="3860550" y="1784905"/>
                </a:lnTo>
                <a:lnTo>
                  <a:pt x="3866526" y="1790596"/>
                </a:lnTo>
                <a:cubicBezTo>
                  <a:pt x="3869513" y="1793726"/>
                  <a:pt x="3872501" y="1796998"/>
                  <a:pt x="3874422" y="1800840"/>
                </a:cubicBezTo>
                <a:cubicBezTo>
                  <a:pt x="3872288" y="1800840"/>
                  <a:pt x="3869940" y="1800270"/>
                  <a:pt x="3867593" y="1799132"/>
                </a:cubicBezTo>
                <a:lnTo>
                  <a:pt x="3863751" y="1796856"/>
                </a:lnTo>
                <a:lnTo>
                  <a:pt x="3863751" y="1799417"/>
                </a:lnTo>
                <a:lnTo>
                  <a:pt x="3863965" y="1799702"/>
                </a:lnTo>
                <a:lnTo>
                  <a:pt x="3863537" y="1801835"/>
                </a:lnTo>
                <a:lnTo>
                  <a:pt x="3863324" y="1803685"/>
                </a:lnTo>
                <a:cubicBezTo>
                  <a:pt x="3861190" y="1813359"/>
                  <a:pt x="3855001" y="1823034"/>
                  <a:pt x="3852013" y="1835838"/>
                </a:cubicBezTo>
                <a:cubicBezTo>
                  <a:pt x="3850306" y="1832992"/>
                  <a:pt x="3848171" y="1831001"/>
                  <a:pt x="3846037" y="1829436"/>
                </a:cubicBezTo>
                <a:lnTo>
                  <a:pt x="3844756" y="1829009"/>
                </a:lnTo>
                <a:lnTo>
                  <a:pt x="3843049" y="1830431"/>
                </a:lnTo>
                <a:cubicBezTo>
                  <a:pt x="3839635" y="1831854"/>
                  <a:pt x="3835366" y="1830289"/>
                  <a:pt x="3832592" y="1827444"/>
                </a:cubicBezTo>
                <a:lnTo>
                  <a:pt x="3832378" y="1826875"/>
                </a:lnTo>
                <a:lnTo>
                  <a:pt x="3830244" y="1830858"/>
                </a:lnTo>
                <a:cubicBezTo>
                  <a:pt x="3829390" y="1832281"/>
                  <a:pt x="3828323" y="1833277"/>
                  <a:pt x="3827043" y="1832992"/>
                </a:cubicBezTo>
                <a:cubicBezTo>
                  <a:pt x="3822988" y="1831428"/>
                  <a:pt x="3822561" y="1826875"/>
                  <a:pt x="3822988" y="1822180"/>
                </a:cubicBezTo>
                <a:lnTo>
                  <a:pt x="3822988" y="1821469"/>
                </a:lnTo>
                <a:lnTo>
                  <a:pt x="3819360" y="1818623"/>
                </a:lnTo>
                <a:cubicBezTo>
                  <a:pt x="3818293" y="1817343"/>
                  <a:pt x="3817226" y="1815920"/>
                  <a:pt x="3816372" y="1813928"/>
                </a:cubicBezTo>
                <a:lnTo>
                  <a:pt x="3815305" y="1807526"/>
                </a:lnTo>
                <a:lnTo>
                  <a:pt x="3812530" y="1806530"/>
                </a:lnTo>
                <a:cubicBezTo>
                  <a:pt x="3810823" y="1793726"/>
                  <a:pt x="3814024" y="1789458"/>
                  <a:pt x="3818506" y="1789743"/>
                </a:cubicBezTo>
                <a:lnTo>
                  <a:pt x="3819146" y="1790027"/>
                </a:lnTo>
                <a:lnTo>
                  <a:pt x="3823628" y="1784194"/>
                </a:lnTo>
                <a:cubicBezTo>
                  <a:pt x="3828750" y="1779357"/>
                  <a:pt x="3835580" y="1776085"/>
                  <a:pt x="3841982" y="1775516"/>
                </a:cubicBezTo>
                <a:close/>
                <a:moveTo>
                  <a:pt x="1537666" y="1774921"/>
                </a:moveTo>
                <a:cubicBezTo>
                  <a:pt x="1538621" y="1774553"/>
                  <a:pt x="1540067" y="1774979"/>
                  <a:pt x="1542132" y="1775444"/>
                </a:cubicBezTo>
                <a:cubicBezTo>
                  <a:pt x="1541616" y="1779006"/>
                  <a:pt x="1539757" y="1779471"/>
                  <a:pt x="1536143" y="1779161"/>
                </a:cubicBezTo>
                <a:cubicBezTo>
                  <a:pt x="1536246" y="1776451"/>
                  <a:pt x="1536711" y="1775289"/>
                  <a:pt x="1537666" y="1774921"/>
                </a:cubicBezTo>
                <a:close/>
                <a:moveTo>
                  <a:pt x="3777743" y="1774378"/>
                </a:moveTo>
                <a:cubicBezTo>
                  <a:pt x="3779023" y="1776227"/>
                  <a:pt x="3779450" y="1777650"/>
                  <a:pt x="3779237" y="1779215"/>
                </a:cubicBezTo>
                <a:lnTo>
                  <a:pt x="3777956" y="1782629"/>
                </a:lnTo>
                <a:lnTo>
                  <a:pt x="3786066" y="1784194"/>
                </a:lnTo>
                <a:cubicBezTo>
                  <a:pt x="3788841" y="1784479"/>
                  <a:pt x="3791401" y="1785048"/>
                  <a:pt x="3792469" y="1786755"/>
                </a:cubicBezTo>
                <a:cubicBezTo>
                  <a:pt x="3793323" y="1787893"/>
                  <a:pt x="3793323" y="1789600"/>
                  <a:pt x="3792682" y="1792161"/>
                </a:cubicBezTo>
                <a:cubicBezTo>
                  <a:pt x="3787987" y="1793157"/>
                  <a:pt x="3769633" y="1792019"/>
                  <a:pt x="3776035" y="1782345"/>
                </a:cubicBezTo>
                <a:lnTo>
                  <a:pt x="3776249" y="1782345"/>
                </a:lnTo>
                <a:lnTo>
                  <a:pt x="3774969" y="1779072"/>
                </a:lnTo>
                <a:cubicBezTo>
                  <a:pt x="3775182" y="1777365"/>
                  <a:pt x="3776249" y="1776085"/>
                  <a:pt x="3777743" y="1774378"/>
                </a:cubicBezTo>
                <a:close/>
                <a:moveTo>
                  <a:pt x="1211609" y="1774049"/>
                </a:moveTo>
                <a:cubicBezTo>
                  <a:pt x="1212331" y="1774205"/>
                  <a:pt x="1212951" y="1774669"/>
                  <a:pt x="1213261" y="1775444"/>
                </a:cubicBezTo>
                <a:cubicBezTo>
                  <a:pt x="1213570" y="1776528"/>
                  <a:pt x="1212435" y="1776683"/>
                  <a:pt x="1212022" y="1777457"/>
                </a:cubicBezTo>
                <a:cubicBezTo>
                  <a:pt x="1210370" y="1778232"/>
                  <a:pt x="1203968" y="1776993"/>
                  <a:pt x="1203658" y="1775753"/>
                </a:cubicBezTo>
                <a:cubicBezTo>
                  <a:pt x="1205723" y="1774979"/>
                  <a:pt x="1209337" y="1773585"/>
                  <a:pt x="1211609" y="1774049"/>
                </a:cubicBezTo>
                <a:close/>
                <a:moveTo>
                  <a:pt x="1297001" y="1773740"/>
                </a:moveTo>
                <a:cubicBezTo>
                  <a:pt x="1302061" y="1774824"/>
                  <a:pt x="1302784" y="1781330"/>
                  <a:pt x="1303197" y="1785667"/>
                </a:cubicBezTo>
                <a:lnTo>
                  <a:pt x="1303403" y="1788610"/>
                </a:lnTo>
                <a:lnTo>
                  <a:pt x="1305985" y="1789694"/>
                </a:lnTo>
                <a:cubicBezTo>
                  <a:pt x="1306914" y="1790934"/>
                  <a:pt x="1305778" y="1793102"/>
                  <a:pt x="1304126" y="1793567"/>
                </a:cubicBezTo>
                <a:lnTo>
                  <a:pt x="1301855" y="1792947"/>
                </a:lnTo>
                <a:lnTo>
                  <a:pt x="1302061" y="1794496"/>
                </a:lnTo>
                <a:cubicBezTo>
                  <a:pt x="1300925" y="1794186"/>
                  <a:pt x="1297311" y="1793102"/>
                  <a:pt x="1297311" y="1793102"/>
                </a:cubicBezTo>
                <a:cubicBezTo>
                  <a:pt x="1296589" y="1793412"/>
                  <a:pt x="1296589" y="1793412"/>
                  <a:pt x="1295350" y="1793102"/>
                </a:cubicBezTo>
                <a:cubicBezTo>
                  <a:pt x="1295659" y="1792018"/>
                  <a:pt x="1295659" y="1792018"/>
                  <a:pt x="1296382" y="1791553"/>
                </a:cubicBezTo>
                <a:cubicBezTo>
                  <a:pt x="1297621" y="1792018"/>
                  <a:pt x="1298034" y="1792637"/>
                  <a:pt x="1299273" y="1793102"/>
                </a:cubicBezTo>
                <a:cubicBezTo>
                  <a:pt x="1299790" y="1790779"/>
                  <a:pt x="1299067" y="1791243"/>
                  <a:pt x="1300306" y="1791553"/>
                </a:cubicBezTo>
                <a:cubicBezTo>
                  <a:pt x="1300306" y="1791553"/>
                  <a:pt x="1300306" y="1791553"/>
                  <a:pt x="1301545" y="1791863"/>
                </a:cubicBezTo>
                <a:lnTo>
                  <a:pt x="1301648" y="1792018"/>
                </a:lnTo>
                <a:lnTo>
                  <a:pt x="1301855" y="1791863"/>
                </a:lnTo>
                <a:lnTo>
                  <a:pt x="1301545" y="1791863"/>
                </a:lnTo>
                <a:lnTo>
                  <a:pt x="1297415" y="1784428"/>
                </a:lnTo>
                <a:lnTo>
                  <a:pt x="1296382" y="1784273"/>
                </a:lnTo>
                <a:cubicBezTo>
                  <a:pt x="1297208" y="1784738"/>
                  <a:pt x="1295969" y="1785047"/>
                  <a:pt x="1295969" y="1785047"/>
                </a:cubicBezTo>
                <a:cubicBezTo>
                  <a:pt x="1295969" y="1785047"/>
                  <a:pt x="1295969" y="1785047"/>
                  <a:pt x="1296589" y="1787371"/>
                </a:cubicBezTo>
                <a:cubicBezTo>
                  <a:pt x="1296589" y="1787371"/>
                  <a:pt x="1297415" y="1792637"/>
                  <a:pt x="1292252" y="1794031"/>
                </a:cubicBezTo>
                <a:cubicBezTo>
                  <a:pt x="1292045" y="1793722"/>
                  <a:pt x="1291013" y="1793567"/>
                  <a:pt x="1289670" y="1793412"/>
                </a:cubicBezTo>
                <a:lnTo>
                  <a:pt x="1287089" y="1792947"/>
                </a:lnTo>
                <a:lnTo>
                  <a:pt x="1288225" y="1793257"/>
                </a:lnTo>
                <a:cubicBezTo>
                  <a:pt x="1289258" y="1794186"/>
                  <a:pt x="1289774" y="1795580"/>
                  <a:pt x="1289774" y="1796974"/>
                </a:cubicBezTo>
                <a:cubicBezTo>
                  <a:pt x="1286676" y="1799453"/>
                  <a:pt x="1283785" y="1798368"/>
                  <a:pt x="1283165" y="1795425"/>
                </a:cubicBezTo>
                <a:lnTo>
                  <a:pt x="1283372" y="1792018"/>
                </a:lnTo>
                <a:lnTo>
                  <a:pt x="1283269" y="1792018"/>
                </a:lnTo>
                <a:cubicBezTo>
                  <a:pt x="1281720" y="1791863"/>
                  <a:pt x="1280377" y="1791708"/>
                  <a:pt x="1279551" y="1791553"/>
                </a:cubicBezTo>
                <a:cubicBezTo>
                  <a:pt x="1279138" y="1790779"/>
                  <a:pt x="1279138" y="1790779"/>
                  <a:pt x="1279138" y="1790779"/>
                </a:cubicBezTo>
                <a:cubicBezTo>
                  <a:pt x="1279035" y="1789849"/>
                  <a:pt x="1279448" y="1789385"/>
                  <a:pt x="1280377" y="1789230"/>
                </a:cubicBezTo>
                <a:lnTo>
                  <a:pt x="1281720" y="1789230"/>
                </a:lnTo>
                <a:lnTo>
                  <a:pt x="1280067" y="1786286"/>
                </a:lnTo>
                <a:cubicBezTo>
                  <a:pt x="1281410" y="1784273"/>
                  <a:pt x="1280377" y="1780710"/>
                  <a:pt x="1286057" y="1778542"/>
                </a:cubicBezTo>
                <a:cubicBezTo>
                  <a:pt x="1292459" y="1776993"/>
                  <a:pt x="1294833" y="1783344"/>
                  <a:pt x="1295350" y="1782724"/>
                </a:cubicBezTo>
                <a:lnTo>
                  <a:pt x="1296072" y="1782414"/>
                </a:lnTo>
                <a:lnTo>
                  <a:pt x="1295350" y="1781640"/>
                </a:lnTo>
                <a:cubicBezTo>
                  <a:pt x="1294937" y="1781175"/>
                  <a:pt x="1294627" y="1780865"/>
                  <a:pt x="1294627" y="1780865"/>
                </a:cubicBezTo>
                <a:cubicBezTo>
                  <a:pt x="1294420" y="1779006"/>
                  <a:pt x="1295143" y="1778697"/>
                  <a:pt x="1294420" y="1779006"/>
                </a:cubicBezTo>
                <a:cubicBezTo>
                  <a:pt x="1294937" y="1776838"/>
                  <a:pt x="1295143" y="1773740"/>
                  <a:pt x="1297001" y="1773740"/>
                </a:cubicBezTo>
                <a:close/>
                <a:moveTo>
                  <a:pt x="3700698" y="1773097"/>
                </a:moveTo>
                <a:cubicBezTo>
                  <a:pt x="3701552" y="1772955"/>
                  <a:pt x="3702619" y="1773097"/>
                  <a:pt x="3703686" y="1773524"/>
                </a:cubicBezTo>
                <a:cubicBezTo>
                  <a:pt x="3701979" y="1775089"/>
                  <a:pt x="3698778" y="1778361"/>
                  <a:pt x="3696430" y="1778930"/>
                </a:cubicBezTo>
                <a:cubicBezTo>
                  <a:pt x="3695576" y="1779072"/>
                  <a:pt x="3694936" y="1778930"/>
                  <a:pt x="3694509" y="1778361"/>
                </a:cubicBezTo>
                <a:cubicBezTo>
                  <a:pt x="3696217" y="1776796"/>
                  <a:pt x="3697924" y="1773808"/>
                  <a:pt x="3700698" y="1773097"/>
                </a:cubicBezTo>
                <a:close/>
                <a:moveTo>
                  <a:pt x="990227" y="1772811"/>
                </a:moveTo>
                <a:cubicBezTo>
                  <a:pt x="993841" y="1771881"/>
                  <a:pt x="997455" y="1770952"/>
                  <a:pt x="998178" y="1774359"/>
                </a:cubicBezTo>
                <a:cubicBezTo>
                  <a:pt x="995803" y="1778077"/>
                  <a:pt x="990744" y="1778077"/>
                  <a:pt x="990227" y="1772811"/>
                </a:cubicBezTo>
                <a:close/>
                <a:moveTo>
                  <a:pt x="5773644" y="1772528"/>
                </a:moveTo>
                <a:cubicBezTo>
                  <a:pt x="5775565" y="1775373"/>
                  <a:pt x="5778127" y="1772386"/>
                  <a:pt x="5780047" y="1776512"/>
                </a:cubicBezTo>
                <a:cubicBezTo>
                  <a:pt x="5778767" y="1786044"/>
                  <a:pt x="5758705" y="1795860"/>
                  <a:pt x="5750595" y="1785474"/>
                </a:cubicBezTo>
                <a:cubicBezTo>
                  <a:pt x="5758065" y="1782345"/>
                  <a:pt x="5765535" y="1780353"/>
                  <a:pt x="5773644" y="1772528"/>
                </a:cubicBezTo>
                <a:close/>
                <a:moveTo>
                  <a:pt x="1099369" y="1772346"/>
                </a:moveTo>
                <a:cubicBezTo>
                  <a:pt x="1104326" y="1776528"/>
                  <a:pt x="1119504" y="1784738"/>
                  <a:pt x="1113515" y="1792018"/>
                </a:cubicBezTo>
                <a:cubicBezTo>
                  <a:pt x="1110005" y="1788610"/>
                  <a:pt x="1098130" y="1779936"/>
                  <a:pt x="1098440" y="1774514"/>
                </a:cubicBezTo>
                <a:cubicBezTo>
                  <a:pt x="1098543" y="1773740"/>
                  <a:pt x="1098750" y="1772966"/>
                  <a:pt x="1099369" y="1772346"/>
                </a:cubicBezTo>
                <a:close/>
                <a:moveTo>
                  <a:pt x="862809" y="1772346"/>
                </a:moveTo>
                <a:cubicBezTo>
                  <a:pt x="865494" y="1774359"/>
                  <a:pt x="866526" y="1776683"/>
                  <a:pt x="864874" y="1779471"/>
                </a:cubicBezTo>
                <a:cubicBezTo>
                  <a:pt x="863222" y="1781330"/>
                  <a:pt x="860744" y="1784118"/>
                  <a:pt x="858059" y="1782879"/>
                </a:cubicBezTo>
                <a:cubicBezTo>
                  <a:pt x="857956" y="1782104"/>
                  <a:pt x="857130" y="1782104"/>
                  <a:pt x="857130" y="1781330"/>
                </a:cubicBezTo>
                <a:cubicBezTo>
                  <a:pt x="857130" y="1781330"/>
                  <a:pt x="856614" y="1780556"/>
                  <a:pt x="856407" y="1779316"/>
                </a:cubicBezTo>
                <a:cubicBezTo>
                  <a:pt x="856304" y="1778852"/>
                  <a:pt x="856304" y="1778077"/>
                  <a:pt x="856511" y="1777302"/>
                </a:cubicBezTo>
                <a:cubicBezTo>
                  <a:pt x="856614" y="1776528"/>
                  <a:pt x="857027" y="1775599"/>
                  <a:pt x="857646" y="1774669"/>
                </a:cubicBezTo>
                <a:cubicBezTo>
                  <a:pt x="858472" y="1773740"/>
                  <a:pt x="860951" y="1771726"/>
                  <a:pt x="860951" y="1772501"/>
                </a:cubicBezTo>
                <a:cubicBezTo>
                  <a:pt x="861880" y="1773121"/>
                  <a:pt x="861880" y="1772346"/>
                  <a:pt x="862809" y="1772346"/>
                </a:cubicBezTo>
                <a:close/>
                <a:moveTo>
                  <a:pt x="984549" y="1772191"/>
                </a:moveTo>
                <a:cubicBezTo>
                  <a:pt x="985374" y="1770642"/>
                  <a:pt x="987026" y="1772501"/>
                  <a:pt x="987853" y="1773430"/>
                </a:cubicBezTo>
                <a:cubicBezTo>
                  <a:pt x="985374" y="1773121"/>
                  <a:pt x="984445" y="1773895"/>
                  <a:pt x="984549" y="1773121"/>
                </a:cubicBezTo>
                <a:cubicBezTo>
                  <a:pt x="984135" y="1772966"/>
                  <a:pt x="983929" y="1772811"/>
                  <a:pt x="983929" y="1772501"/>
                </a:cubicBezTo>
                <a:cubicBezTo>
                  <a:pt x="983929" y="1772346"/>
                  <a:pt x="984135" y="1772191"/>
                  <a:pt x="984549" y="1772191"/>
                </a:cubicBezTo>
                <a:close/>
                <a:moveTo>
                  <a:pt x="4729809" y="1772101"/>
                </a:moveTo>
                <a:cubicBezTo>
                  <a:pt x="4735144" y="1772528"/>
                  <a:pt x="4740693" y="1773951"/>
                  <a:pt x="4746668" y="1777792"/>
                </a:cubicBezTo>
                <a:cubicBezTo>
                  <a:pt x="4737918" y="1788035"/>
                  <a:pt x="4721058" y="1778930"/>
                  <a:pt x="4713802" y="1772670"/>
                </a:cubicBezTo>
                <a:cubicBezTo>
                  <a:pt x="4719138" y="1772386"/>
                  <a:pt x="4724259" y="1771674"/>
                  <a:pt x="4729809" y="1772101"/>
                </a:cubicBezTo>
                <a:close/>
                <a:moveTo>
                  <a:pt x="839680" y="1771571"/>
                </a:moveTo>
                <a:lnTo>
                  <a:pt x="842984" y="1772346"/>
                </a:lnTo>
                <a:lnTo>
                  <a:pt x="843810" y="1772036"/>
                </a:lnTo>
                <a:cubicBezTo>
                  <a:pt x="844636" y="1771881"/>
                  <a:pt x="845462" y="1772191"/>
                  <a:pt x="846288" y="1773121"/>
                </a:cubicBezTo>
                <a:lnTo>
                  <a:pt x="846908" y="1774049"/>
                </a:lnTo>
                <a:lnTo>
                  <a:pt x="849696" y="1776218"/>
                </a:lnTo>
                <a:lnTo>
                  <a:pt x="848353" y="1776993"/>
                </a:lnTo>
                <a:lnTo>
                  <a:pt x="847940" y="1780091"/>
                </a:lnTo>
                <a:cubicBezTo>
                  <a:pt x="848766" y="1781949"/>
                  <a:pt x="850419" y="1782879"/>
                  <a:pt x="849490" y="1784428"/>
                </a:cubicBezTo>
                <a:cubicBezTo>
                  <a:pt x="847837" y="1781795"/>
                  <a:pt x="847114" y="1780865"/>
                  <a:pt x="846288" y="1779006"/>
                </a:cubicBezTo>
                <a:lnTo>
                  <a:pt x="845049" y="1778542"/>
                </a:lnTo>
                <a:lnTo>
                  <a:pt x="844843" y="1778697"/>
                </a:lnTo>
                <a:lnTo>
                  <a:pt x="844533" y="1778387"/>
                </a:lnTo>
                <a:lnTo>
                  <a:pt x="843707" y="1777922"/>
                </a:lnTo>
                <a:lnTo>
                  <a:pt x="843500" y="1777612"/>
                </a:lnTo>
                <a:lnTo>
                  <a:pt x="841435" y="1776528"/>
                </a:lnTo>
                <a:cubicBezTo>
                  <a:pt x="839577" y="1775753"/>
                  <a:pt x="837615" y="1774979"/>
                  <a:pt x="837615" y="1774979"/>
                </a:cubicBezTo>
                <a:cubicBezTo>
                  <a:pt x="837305" y="1773740"/>
                  <a:pt x="837098" y="1773275"/>
                  <a:pt x="837408" y="1772811"/>
                </a:cubicBezTo>
                <a:cubicBezTo>
                  <a:pt x="837718" y="1772346"/>
                  <a:pt x="838337" y="1772191"/>
                  <a:pt x="839680" y="1771571"/>
                </a:cubicBezTo>
                <a:close/>
                <a:moveTo>
                  <a:pt x="3804847" y="1770963"/>
                </a:moveTo>
                <a:cubicBezTo>
                  <a:pt x="3807408" y="1770109"/>
                  <a:pt x="3809756" y="1770251"/>
                  <a:pt x="3810823" y="1770963"/>
                </a:cubicBezTo>
                <a:cubicBezTo>
                  <a:pt x="3813170" y="1773524"/>
                  <a:pt x="3814238" y="1778503"/>
                  <a:pt x="3810610" y="1781633"/>
                </a:cubicBezTo>
                <a:cubicBezTo>
                  <a:pt x="3808262" y="1784905"/>
                  <a:pt x="3803567" y="1784336"/>
                  <a:pt x="3799939" y="1787466"/>
                </a:cubicBezTo>
                <a:cubicBezTo>
                  <a:pt x="3795457" y="1783340"/>
                  <a:pt x="3794176" y="1782060"/>
                  <a:pt x="3796737" y="1776369"/>
                </a:cubicBezTo>
                <a:cubicBezTo>
                  <a:pt x="3796737" y="1776369"/>
                  <a:pt x="3798018" y="1775231"/>
                  <a:pt x="3798018" y="1775231"/>
                </a:cubicBezTo>
                <a:cubicBezTo>
                  <a:pt x="3799725" y="1773097"/>
                  <a:pt x="3802499" y="1771674"/>
                  <a:pt x="3804847" y="1770963"/>
                </a:cubicBezTo>
                <a:close/>
                <a:moveTo>
                  <a:pt x="3555573" y="1770678"/>
                </a:moveTo>
                <a:cubicBezTo>
                  <a:pt x="3561335" y="1771248"/>
                  <a:pt x="3566884" y="1773951"/>
                  <a:pt x="3567311" y="1777792"/>
                </a:cubicBezTo>
                <a:cubicBezTo>
                  <a:pt x="3567738" y="1781349"/>
                  <a:pt x="3564110" y="1785901"/>
                  <a:pt x="3552799" y="1790738"/>
                </a:cubicBezTo>
                <a:cubicBezTo>
                  <a:pt x="3540207" y="1778361"/>
                  <a:pt x="3543621" y="1772386"/>
                  <a:pt x="3550237" y="1770963"/>
                </a:cubicBezTo>
                <a:cubicBezTo>
                  <a:pt x="3551944" y="1770678"/>
                  <a:pt x="3553865" y="1770536"/>
                  <a:pt x="3555573" y="1770678"/>
                </a:cubicBezTo>
                <a:close/>
                <a:moveTo>
                  <a:pt x="1531187" y="1770642"/>
                </a:moveTo>
                <a:cubicBezTo>
                  <a:pt x="1531187" y="1770642"/>
                  <a:pt x="1531600" y="1771262"/>
                  <a:pt x="1531600" y="1771262"/>
                </a:cubicBezTo>
                <a:cubicBezTo>
                  <a:pt x="1531497" y="1774205"/>
                  <a:pt x="1530258" y="1773895"/>
                  <a:pt x="1527882" y="1773275"/>
                </a:cubicBezTo>
                <a:cubicBezTo>
                  <a:pt x="1527779" y="1772346"/>
                  <a:pt x="1527882" y="1771571"/>
                  <a:pt x="1528296" y="1771107"/>
                </a:cubicBezTo>
                <a:cubicBezTo>
                  <a:pt x="1528709" y="1770642"/>
                  <a:pt x="1529638" y="1770487"/>
                  <a:pt x="1531187" y="1770642"/>
                </a:cubicBezTo>
                <a:close/>
                <a:moveTo>
                  <a:pt x="1189408" y="1770642"/>
                </a:moveTo>
                <a:cubicBezTo>
                  <a:pt x="1190648" y="1770332"/>
                  <a:pt x="1191784" y="1769867"/>
                  <a:pt x="1191370" y="1770642"/>
                </a:cubicBezTo>
                <a:cubicBezTo>
                  <a:pt x="1192094" y="1770952"/>
                  <a:pt x="1191784" y="1771726"/>
                  <a:pt x="1192094" y="1772811"/>
                </a:cubicBezTo>
                <a:cubicBezTo>
                  <a:pt x="1191990" y="1774669"/>
                  <a:pt x="1190648" y="1776993"/>
                  <a:pt x="1189512" y="1777302"/>
                </a:cubicBezTo>
                <a:cubicBezTo>
                  <a:pt x="1188273" y="1777767"/>
                  <a:pt x="1187550" y="1777302"/>
                  <a:pt x="1187550" y="1777302"/>
                </a:cubicBezTo>
                <a:cubicBezTo>
                  <a:pt x="1186827" y="1776063"/>
                  <a:pt x="1186414" y="1774669"/>
                  <a:pt x="1186621" y="1773585"/>
                </a:cubicBezTo>
                <a:cubicBezTo>
                  <a:pt x="1186827" y="1772346"/>
                  <a:pt x="1187653" y="1771262"/>
                  <a:pt x="1189408" y="1770642"/>
                </a:cubicBezTo>
                <a:close/>
                <a:moveTo>
                  <a:pt x="1181251" y="1769867"/>
                </a:moveTo>
                <a:cubicBezTo>
                  <a:pt x="1181664" y="1770952"/>
                  <a:pt x="1181561" y="1772811"/>
                  <a:pt x="1180425" y="1773121"/>
                </a:cubicBezTo>
                <a:cubicBezTo>
                  <a:pt x="1179599" y="1773740"/>
                  <a:pt x="1179186" y="1773585"/>
                  <a:pt x="1178876" y="1773121"/>
                </a:cubicBezTo>
                <a:cubicBezTo>
                  <a:pt x="1178567" y="1772501"/>
                  <a:pt x="1178257" y="1771726"/>
                  <a:pt x="1177740" y="1771107"/>
                </a:cubicBezTo>
                <a:close/>
                <a:moveTo>
                  <a:pt x="1168964" y="1769867"/>
                </a:moveTo>
                <a:cubicBezTo>
                  <a:pt x="1172578" y="1768628"/>
                  <a:pt x="1175159" y="1768783"/>
                  <a:pt x="1176605" y="1771416"/>
                </a:cubicBezTo>
                <a:cubicBezTo>
                  <a:pt x="1177224" y="1773585"/>
                  <a:pt x="1178154" y="1776993"/>
                  <a:pt x="1175366" y="1778542"/>
                </a:cubicBezTo>
                <a:cubicBezTo>
                  <a:pt x="1174643" y="1778232"/>
                  <a:pt x="1174127" y="1779006"/>
                  <a:pt x="1173404" y="1778542"/>
                </a:cubicBezTo>
                <a:cubicBezTo>
                  <a:pt x="1173404" y="1778542"/>
                  <a:pt x="1172474" y="1778697"/>
                  <a:pt x="1171339" y="1778232"/>
                </a:cubicBezTo>
                <a:cubicBezTo>
                  <a:pt x="1170100" y="1777767"/>
                  <a:pt x="1168757" y="1776838"/>
                  <a:pt x="1167828" y="1775134"/>
                </a:cubicBezTo>
                <a:cubicBezTo>
                  <a:pt x="1167725" y="1774514"/>
                  <a:pt x="1167622" y="1773585"/>
                  <a:pt x="1167622" y="1772656"/>
                </a:cubicBezTo>
                <a:cubicBezTo>
                  <a:pt x="1167622" y="1771881"/>
                  <a:pt x="1167725" y="1771107"/>
                  <a:pt x="1168138" y="1771262"/>
                </a:cubicBezTo>
                <a:cubicBezTo>
                  <a:pt x="1169274" y="1770952"/>
                  <a:pt x="1168551" y="1770642"/>
                  <a:pt x="1168964" y="1769867"/>
                </a:cubicBezTo>
                <a:close/>
                <a:moveTo>
                  <a:pt x="6106793" y="1769825"/>
                </a:moveTo>
                <a:cubicBezTo>
                  <a:pt x="6107006" y="1771106"/>
                  <a:pt x="6107219" y="1773381"/>
                  <a:pt x="6109567" y="1774520"/>
                </a:cubicBezTo>
                <a:cubicBezTo>
                  <a:pt x="6107647" y="1776938"/>
                  <a:pt x="6105726" y="1779499"/>
                  <a:pt x="6103164" y="1777223"/>
                </a:cubicBezTo>
                <a:cubicBezTo>
                  <a:pt x="6101884" y="1776085"/>
                  <a:pt x="6100604" y="1774946"/>
                  <a:pt x="6100176" y="1772670"/>
                </a:cubicBezTo>
                <a:cubicBezTo>
                  <a:pt x="6102097" y="1770109"/>
                  <a:pt x="6105726" y="1771106"/>
                  <a:pt x="6106793" y="1769825"/>
                </a:cubicBezTo>
                <a:close/>
                <a:moveTo>
                  <a:pt x="5618702" y="1769398"/>
                </a:moveTo>
                <a:cubicBezTo>
                  <a:pt x="5620195" y="1769825"/>
                  <a:pt x="5621050" y="1770963"/>
                  <a:pt x="5621050" y="1770963"/>
                </a:cubicBezTo>
                <a:cubicBezTo>
                  <a:pt x="5621263" y="1775231"/>
                  <a:pt x="5619769" y="1779072"/>
                  <a:pt x="5615074" y="1777792"/>
                </a:cubicBezTo>
                <a:cubicBezTo>
                  <a:pt x="5613366" y="1777365"/>
                  <a:pt x="5611872" y="1776938"/>
                  <a:pt x="5612726" y="1776369"/>
                </a:cubicBezTo>
                <a:cubicBezTo>
                  <a:pt x="5612086" y="1775373"/>
                  <a:pt x="5612939" y="1774662"/>
                  <a:pt x="5613366" y="1773097"/>
                </a:cubicBezTo>
                <a:cubicBezTo>
                  <a:pt x="5614433" y="1770821"/>
                  <a:pt x="5616994" y="1768971"/>
                  <a:pt x="5618702" y="1769398"/>
                </a:cubicBezTo>
                <a:close/>
                <a:moveTo>
                  <a:pt x="5599921" y="1769256"/>
                </a:moveTo>
                <a:cubicBezTo>
                  <a:pt x="5603976" y="1771674"/>
                  <a:pt x="5604829" y="1777792"/>
                  <a:pt x="5603122" y="1782060"/>
                </a:cubicBezTo>
                <a:lnTo>
                  <a:pt x="5602482" y="1783198"/>
                </a:lnTo>
                <a:lnTo>
                  <a:pt x="5602482" y="1786471"/>
                </a:lnTo>
                <a:cubicBezTo>
                  <a:pt x="5601628" y="1787751"/>
                  <a:pt x="5600134" y="1788462"/>
                  <a:pt x="5598000" y="1788320"/>
                </a:cubicBezTo>
                <a:cubicBezTo>
                  <a:pt x="5594799" y="1787751"/>
                  <a:pt x="5592878" y="1786044"/>
                  <a:pt x="5592025" y="1783625"/>
                </a:cubicBezTo>
                <a:lnTo>
                  <a:pt x="5591597" y="1778219"/>
                </a:lnTo>
                <a:lnTo>
                  <a:pt x="5589677" y="1779784"/>
                </a:lnTo>
                <a:cubicBezTo>
                  <a:pt x="5587116" y="1781207"/>
                  <a:pt x="5586049" y="1778788"/>
                  <a:pt x="5584128" y="1774946"/>
                </a:cubicBezTo>
                <a:cubicBezTo>
                  <a:pt x="5586262" y="1773381"/>
                  <a:pt x="5587756" y="1772955"/>
                  <a:pt x="5589037" y="1773381"/>
                </a:cubicBezTo>
                <a:lnTo>
                  <a:pt x="5591384" y="1775516"/>
                </a:lnTo>
                <a:lnTo>
                  <a:pt x="5591384" y="1774520"/>
                </a:lnTo>
                <a:cubicBezTo>
                  <a:pt x="5593732" y="1774093"/>
                  <a:pt x="5595439" y="1772813"/>
                  <a:pt x="5598000" y="1772386"/>
                </a:cubicBezTo>
                <a:close/>
                <a:moveTo>
                  <a:pt x="4991248" y="1768971"/>
                </a:moveTo>
                <a:cubicBezTo>
                  <a:pt x="4992528" y="1769541"/>
                  <a:pt x="4994022" y="1770678"/>
                  <a:pt x="4995089" y="1771959"/>
                </a:cubicBezTo>
                <a:cubicBezTo>
                  <a:pt x="4996156" y="1772813"/>
                  <a:pt x="4996583" y="1773951"/>
                  <a:pt x="4996583" y="1775373"/>
                </a:cubicBezTo>
                <a:cubicBezTo>
                  <a:pt x="4996583" y="1776654"/>
                  <a:pt x="4996156" y="1778219"/>
                  <a:pt x="4995516" y="1779215"/>
                </a:cubicBezTo>
                <a:cubicBezTo>
                  <a:pt x="4994449" y="1780210"/>
                  <a:pt x="4994449" y="1780210"/>
                  <a:pt x="4993168" y="1781207"/>
                </a:cubicBezTo>
                <a:cubicBezTo>
                  <a:pt x="4991034" y="1780922"/>
                  <a:pt x="4988473" y="1781633"/>
                  <a:pt x="4986339" y="1780068"/>
                </a:cubicBezTo>
                <a:cubicBezTo>
                  <a:pt x="4984205" y="1777365"/>
                  <a:pt x="4985699" y="1771674"/>
                  <a:pt x="4986979" y="1769541"/>
                </a:cubicBezTo>
                <a:cubicBezTo>
                  <a:pt x="4988260" y="1768544"/>
                  <a:pt x="4989754" y="1768402"/>
                  <a:pt x="4991248" y="1768971"/>
                </a:cubicBezTo>
                <a:close/>
                <a:moveTo>
                  <a:pt x="4863623" y="1768544"/>
                </a:moveTo>
                <a:lnTo>
                  <a:pt x="4863196" y="1769967"/>
                </a:lnTo>
                <a:lnTo>
                  <a:pt x="4863409" y="1769541"/>
                </a:lnTo>
                <a:close/>
                <a:moveTo>
                  <a:pt x="732396" y="1768474"/>
                </a:moveTo>
                <a:cubicBezTo>
                  <a:pt x="732396" y="1770178"/>
                  <a:pt x="735907" y="1771416"/>
                  <a:pt x="734152" y="1772811"/>
                </a:cubicBezTo>
                <a:cubicBezTo>
                  <a:pt x="733223" y="1771881"/>
                  <a:pt x="732396" y="1770178"/>
                  <a:pt x="731570" y="1769248"/>
                </a:cubicBezTo>
                <a:cubicBezTo>
                  <a:pt x="731570" y="1769248"/>
                  <a:pt x="731570" y="1769248"/>
                  <a:pt x="732396" y="1768474"/>
                </a:cubicBezTo>
                <a:close/>
                <a:moveTo>
                  <a:pt x="5578792" y="1767406"/>
                </a:moveTo>
                <a:cubicBezTo>
                  <a:pt x="5579646" y="1767549"/>
                  <a:pt x="5580713" y="1768260"/>
                  <a:pt x="5581994" y="1769541"/>
                </a:cubicBezTo>
                <a:cubicBezTo>
                  <a:pt x="5583061" y="1769541"/>
                  <a:pt x="5584554" y="1774378"/>
                  <a:pt x="5583487" y="1775516"/>
                </a:cubicBezTo>
                <a:cubicBezTo>
                  <a:pt x="5581354" y="1779072"/>
                  <a:pt x="5577725" y="1776369"/>
                  <a:pt x="5573030" y="1774946"/>
                </a:cubicBezTo>
                <a:cubicBezTo>
                  <a:pt x="5574097" y="1773808"/>
                  <a:pt x="5573030" y="1772670"/>
                  <a:pt x="5571749" y="1771390"/>
                </a:cubicBezTo>
                <a:cubicBezTo>
                  <a:pt x="5573457" y="1769683"/>
                  <a:pt x="5575591" y="1766695"/>
                  <a:pt x="5578792" y="1767406"/>
                </a:cubicBezTo>
                <a:close/>
                <a:moveTo>
                  <a:pt x="932300" y="1767389"/>
                </a:moveTo>
                <a:cubicBezTo>
                  <a:pt x="932921" y="1767544"/>
                  <a:pt x="933333" y="1767854"/>
                  <a:pt x="933540" y="1768474"/>
                </a:cubicBezTo>
                <a:cubicBezTo>
                  <a:pt x="931165" y="1768783"/>
                  <a:pt x="927861" y="1770642"/>
                  <a:pt x="925279" y="1768009"/>
                </a:cubicBezTo>
                <a:cubicBezTo>
                  <a:pt x="927034" y="1767699"/>
                  <a:pt x="930442" y="1766770"/>
                  <a:pt x="932300" y="1767389"/>
                </a:cubicBezTo>
                <a:close/>
                <a:moveTo>
                  <a:pt x="1539654" y="1767079"/>
                </a:moveTo>
                <a:cubicBezTo>
                  <a:pt x="1540376" y="1766770"/>
                  <a:pt x="1541099" y="1769403"/>
                  <a:pt x="1541099" y="1769403"/>
                </a:cubicBezTo>
                <a:cubicBezTo>
                  <a:pt x="1540790" y="1770487"/>
                  <a:pt x="1537589" y="1770178"/>
                  <a:pt x="1536763" y="1770487"/>
                </a:cubicBezTo>
                <a:cubicBezTo>
                  <a:pt x="1536349" y="1769867"/>
                  <a:pt x="1536659" y="1768628"/>
                  <a:pt x="1536143" y="1767854"/>
                </a:cubicBezTo>
                <a:cubicBezTo>
                  <a:pt x="1536866" y="1767544"/>
                  <a:pt x="1538415" y="1766770"/>
                  <a:pt x="1539654" y="1767079"/>
                </a:cubicBezTo>
                <a:close/>
                <a:moveTo>
                  <a:pt x="5473149" y="1765984"/>
                </a:moveTo>
                <a:cubicBezTo>
                  <a:pt x="5477845" y="1766268"/>
                  <a:pt x="5483180" y="1769683"/>
                  <a:pt x="5486168" y="1773524"/>
                </a:cubicBezTo>
                <a:lnTo>
                  <a:pt x="5487235" y="1775658"/>
                </a:lnTo>
                <a:lnTo>
                  <a:pt x="5491931" y="1773524"/>
                </a:lnTo>
                <a:cubicBezTo>
                  <a:pt x="5491931" y="1774378"/>
                  <a:pt x="5491717" y="1774804"/>
                  <a:pt x="5491077" y="1775231"/>
                </a:cubicBezTo>
                <a:cubicBezTo>
                  <a:pt x="5490436" y="1775516"/>
                  <a:pt x="5489583" y="1775800"/>
                  <a:pt x="5488729" y="1776085"/>
                </a:cubicBezTo>
                <a:lnTo>
                  <a:pt x="5487662" y="1776369"/>
                </a:lnTo>
                <a:lnTo>
                  <a:pt x="5488729" y="1778788"/>
                </a:lnTo>
                <a:cubicBezTo>
                  <a:pt x="5486381" y="1783909"/>
                  <a:pt x="5483393" y="1786613"/>
                  <a:pt x="5480406" y="1787609"/>
                </a:cubicBezTo>
                <a:cubicBezTo>
                  <a:pt x="5471229" y="1790596"/>
                  <a:pt x="5461625" y="1777792"/>
                  <a:pt x="5468454" y="1766695"/>
                </a:cubicBezTo>
                <a:cubicBezTo>
                  <a:pt x="5469948" y="1766126"/>
                  <a:pt x="5471442" y="1765841"/>
                  <a:pt x="5473149" y="1765984"/>
                </a:cubicBezTo>
                <a:close/>
                <a:moveTo>
                  <a:pt x="6046181" y="1765699"/>
                </a:moveTo>
                <a:cubicBezTo>
                  <a:pt x="6047035" y="1765984"/>
                  <a:pt x="6047462" y="1766837"/>
                  <a:pt x="6048102" y="1768687"/>
                </a:cubicBezTo>
                <a:lnTo>
                  <a:pt x="6048316" y="1769256"/>
                </a:lnTo>
                <a:lnTo>
                  <a:pt x="6050237" y="1768402"/>
                </a:lnTo>
                <a:cubicBezTo>
                  <a:pt x="6050237" y="1769683"/>
                  <a:pt x="6050450" y="1770821"/>
                  <a:pt x="6051517" y="1770821"/>
                </a:cubicBezTo>
                <a:lnTo>
                  <a:pt x="6049169" y="1772670"/>
                </a:lnTo>
                <a:lnTo>
                  <a:pt x="6049596" y="1773666"/>
                </a:lnTo>
                <a:lnTo>
                  <a:pt x="6049169" y="1777507"/>
                </a:lnTo>
                <a:lnTo>
                  <a:pt x="6049596" y="1777792"/>
                </a:lnTo>
                <a:cubicBezTo>
                  <a:pt x="6049596" y="1777792"/>
                  <a:pt x="6054505" y="1784052"/>
                  <a:pt x="6050023" y="1789743"/>
                </a:cubicBezTo>
                <a:cubicBezTo>
                  <a:pt x="6048742" y="1788462"/>
                  <a:pt x="6042126" y="1795433"/>
                  <a:pt x="6037431" y="1792730"/>
                </a:cubicBezTo>
                <a:cubicBezTo>
                  <a:pt x="6035084" y="1791450"/>
                  <a:pt x="6033803" y="1790312"/>
                  <a:pt x="6031455" y="1789031"/>
                </a:cubicBezTo>
                <a:lnTo>
                  <a:pt x="6030602" y="1785617"/>
                </a:lnTo>
                <a:lnTo>
                  <a:pt x="6023986" y="1783056"/>
                </a:lnTo>
                <a:cubicBezTo>
                  <a:pt x="6022705" y="1781917"/>
                  <a:pt x="6019717" y="1777365"/>
                  <a:pt x="6020784" y="1776085"/>
                </a:cubicBezTo>
                <a:cubicBezTo>
                  <a:pt x="6021852" y="1774804"/>
                  <a:pt x="6022919" y="1774662"/>
                  <a:pt x="6023986" y="1774662"/>
                </a:cubicBezTo>
                <a:lnTo>
                  <a:pt x="6030815" y="1777650"/>
                </a:lnTo>
                <a:lnTo>
                  <a:pt x="6031882" y="1774662"/>
                </a:lnTo>
                <a:cubicBezTo>
                  <a:pt x="6033376" y="1772955"/>
                  <a:pt x="6034870" y="1771959"/>
                  <a:pt x="6036151" y="1771674"/>
                </a:cubicBezTo>
                <a:lnTo>
                  <a:pt x="6037858" y="1771674"/>
                </a:lnTo>
                <a:lnTo>
                  <a:pt x="6037645" y="1770251"/>
                </a:lnTo>
                <a:lnTo>
                  <a:pt x="6041059" y="1768544"/>
                </a:lnTo>
                <a:lnTo>
                  <a:pt x="6042553" y="1766268"/>
                </a:lnTo>
                <a:cubicBezTo>
                  <a:pt x="6044261" y="1765841"/>
                  <a:pt x="6045328" y="1765557"/>
                  <a:pt x="6046181" y="1765699"/>
                </a:cubicBezTo>
                <a:close/>
                <a:moveTo>
                  <a:pt x="3760243" y="1765272"/>
                </a:moveTo>
                <a:cubicBezTo>
                  <a:pt x="3771767" y="1774235"/>
                  <a:pt x="3772621" y="1784052"/>
                  <a:pt x="3766645" y="1793726"/>
                </a:cubicBezTo>
                <a:cubicBezTo>
                  <a:pt x="3750212" y="1798279"/>
                  <a:pt x="3736339" y="1781917"/>
                  <a:pt x="3743809" y="1769825"/>
                </a:cubicBezTo>
                <a:cubicBezTo>
                  <a:pt x="3747864" y="1768687"/>
                  <a:pt x="3753627" y="1765130"/>
                  <a:pt x="3760243" y="1765272"/>
                </a:cubicBezTo>
                <a:close/>
                <a:moveTo>
                  <a:pt x="3720973" y="1764277"/>
                </a:moveTo>
                <a:cubicBezTo>
                  <a:pt x="3721400" y="1764988"/>
                  <a:pt x="3721400" y="1765557"/>
                  <a:pt x="3721187" y="1766126"/>
                </a:cubicBezTo>
                <a:cubicBezTo>
                  <a:pt x="3720760" y="1766695"/>
                  <a:pt x="3720120" y="1767122"/>
                  <a:pt x="3719479" y="1767691"/>
                </a:cubicBezTo>
                <a:cubicBezTo>
                  <a:pt x="3718199" y="1768687"/>
                  <a:pt x="3716918" y="1769683"/>
                  <a:pt x="3715851" y="1770678"/>
                </a:cubicBezTo>
                <a:cubicBezTo>
                  <a:pt x="3715851" y="1770678"/>
                  <a:pt x="3715638" y="1770821"/>
                  <a:pt x="3720973" y="1764277"/>
                </a:cubicBezTo>
                <a:close/>
                <a:moveTo>
                  <a:pt x="4805146" y="1764134"/>
                </a:moveTo>
                <a:cubicBezTo>
                  <a:pt x="4806426" y="1763992"/>
                  <a:pt x="4807706" y="1763850"/>
                  <a:pt x="4809201" y="1764134"/>
                </a:cubicBezTo>
                <a:cubicBezTo>
                  <a:pt x="4813042" y="1764704"/>
                  <a:pt x="4816884" y="1767549"/>
                  <a:pt x="4819658" y="1774235"/>
                </a:cubicBezTo>
                <a:cubicBezTo>
                  <a:pt x="4821365" y="1776512"/>
                  <a:pt x="4820298" y="1775943"/>
                  <a:pt x="4820939" y="1777650"/>
                </a:cubicBezTo>
                <a:cubicBezTo>
                  <a:pt x="4821365" y="1779215"/>
                  <a:pt x="4823073" y="1781491"/>
                  <a:pt x="4824140" y="1782060"/>
                </a:cubicBezTo>
                <a:lnTo>
                  <a:pt x="4819658" y="1786471"/>
                </a:lnTo>
                <a:lnTo>
                  <a:pt x="4819872" y="1786755"/>
                </a:lnTo>
                <a:lnTo>
                  <a:pt x="4819018" y="1787324"/>
                </a:lnTo>
                <a:lnTo>
                  <a:pt x="4817524" y="1789031"/>
                </a:lnTo>
                <a:cubicBezTo>
                  <a:pt x="4816457" y="1789885"/>
                  <a:pt x="4814963" y="1790738"/>
                  <a:pt x="4813042" y="1791592"/>
                </a:cubicBezTo>
                <a:cubicBezTo>
                  <a:pt x="4810481" y="1792873"/>
                  <a:pt x="4808133" y="1793441"/>
                  <a:pt x="4805999" y="1793441"/>
                </a:cubicBezTo>
                <a:lnTo>
                  <a:pt x="4803225" y="1792730"/>
                </a:lnTo>
                <a:lnTo>
                  <a:pt x="4803651" y="1796856"/>
                </a:lnTo>
                <a:cubicBezTo>
                  <a:pt x="4803438" y="1799132"/>
                  <a:pt x="4803011" y="1801267"/>
                  <a:pt x="4802158" y="1802974"/>
                </a:cubicBezTo>
                <a:cubicBezTo>
                  <a:pt x="4797249" y="1805534"/>
                  <a:pt x="4793621" y="1805677"/>
                  <a:pt x="4790847" y="1804396"/>
                </a:cubicBezTo>
                <a:cubicBezTo>
                  <a:pt x="4784657" y="1801551"/>
                  <a:pt x="4783804" y="1791165"/>
                  <a:pt x="4788712" y="1784479"/>
                </a:cubicBezTo>
                <a:lnTo>
                  <a:pt x="4790633" y="1783056"/>
                </a:lnTo>
                <a:lnTo>
                  <a:pt x="4781456" y="1781207"/>
                </a:lnTo>
                <a:cubicBezTo>
                  <a:pt x="4771638" y="1781064"/>
                  <a:pt x="4762035" y="1784194"/>
                  <a:pt x="4755632" y="1777650"/>
                </a:cubicBezTo>
                <a:cubicBezTo>
                  <a:pt x="4763955" y="1775658"/>
                  <a:pt x="4774840" y="1767976"/>
                  <a:pt x="4782523" y="1768971"/>
                </a:cubicBezTo>
                <a:cubicBezTo>
                  <a:pt x="4784657" y="1769256"/>
                  <a:pt x="4786792" y="1770251"/>
                  <a:pt x="4788285" y="1772528"/>
                </a:cubicBezTo>
                <a:lnTo>
                  <a:pt x="4791060" y="1782629"/>
                </a:lnTo>
                <a:lnTo>
                  <a:pt x="4793407" y="1780922"/>
                </a:lnTo>
                <a:lnTo>
                  <a:pt x="4793194" y="1779926"/>
                </a:lnTo>
                <a:cubicBezTo>
                  <a:pt x="4792980" y="1777223"/>
                  <a:pt x="4792767" y="1773808"/>
                  <a:pt x="4794261" y="1770821"/>
                </a:cubicBezTo>
                <a:cubicBezTo>
                  <a:pt x="4795328" y="1768829"/>
                  <a:pt x="4797035" y="1766979"/>
                  <a:pt x="4800023" y="1765699"/>
                </a:cubicBezTo>
                <a:cubicBezTo>
                  <a:pt x="4801518" y="1764988"/>
                  <a:pt x="4803225" y="1764419"/>
                  <a:pt x="4805146" y="1764134"/>
                </a:cubicBezTo>
                <a:close/>
                <a:moveTo>
                  <a:pt x="6063255" y="1763850"/>
                </a:moveTo>
                <a:cubicBezTo>
                  <a:pt x="6067310" y="1764419"/>
                  <a:pt x="6073713" y="1768118"/>
                  <a:pt x="6076487" y="1770536"/>
                </a:cubicBezTo>
                <a:cubicBezTo>
                  <a:pt x="6073499" y="1773097"/>
                  <a:pt x="6063682" y="1767691"/>
                  <a:pt x="6059840" y="1764419"/>
                </a:cubicBezTo>
                <a:cubicBezTo>
                  <a:pt x="6060480" y="1763850"/>
                  <a:pt x="6061761" y="1763565"/>
                  <a:pt x="6063255" y="1763850"/>
                </a:cubicBezTo>
                <a:close/>
                <a:moveTo>
                  <a:pt x="5396318" y="1763850"/>
                </a:moveTo>
                <a:cubicBezTo>
                  <a:pt x="5397599" y="1763850"/>
                  <a:pt x="5398880" y="1764845"/>
                  <a:pt x="5399733" y="1765984"/>
                </a:cubicBezTo>
                <a:cubicBezTo>
                  <a:pt x="5401440" y="1768402"/>
                  <a:pt x="5401654" y="1772101"/>
                  <a:pt x="5398239" y="1772955"/>
                </a:cubicBezTo>
                <a:cubicBezTo>
                  <a:pt x="5396105" y="1771532"/>
                  <a:pt x="5394184" y="1768971"/>
                  <a:pt x="5392264" y="1766410"/>
                </a:cubicBezTo>
                <a:cubicBezTo>
                  <a:pt x="5393544" y="1764419"/>
                  <a:pt x="5395038" y="1763707"/>
                  <a:pt x="5396318" y="1763850"/>
                </a:cubicBezTo>
                <a:close/>
                <a:moveTo>
                  <a:pt x="5352781" y="1763707"/>
                </a:moveTo>
                <a:cubicBezTo>
                  <a:pt x="5350433" y="1768402"/>
                  <a:pt x="5345951" y="1769114"/>
                  <a:pt x="5342537" y="1774235"/>
                </a:cubicBezTo>
                <a:cubicBezTo>
                  <a:pt x="5338482" y="1773381"/>
                  <a:pt x="5334000" y="1778930"/>
                  <a:pt x="5328664" y="1777365"/>
                </a:cubicBezTo>
                <a:cubicBezTo>
                  <a:pt x="5331012" y="1768829"/>
                  <a:pt x="5348512" y="1761715"/>
                  <a:pt x="5352781" y="1763707"/>
                </a:cubicBezTo>
                <a:close/>
                <a:moveTo>
                  <a:pt x="5280431" y="1762569"/>
                </a:moveTo>
                <a:cubicBezTo>
                  <a:pt x="5284487" y="1765414"/>
                  <a:pt x="5290035" y="1769256"/>
                  <a:pt x="5294730" y="1773524"/>
                </a:cubicBezTo>
                <a:lnTo>
                  <a:pt x="5299639" y="1778788"/>
                </a:lnTo>
                <a:lnTo>
                  <a:pt x="5302200" y="1777080"/>
                </a:lnTo>
                <a:cubicBezTo>
                  <a:pt x="5302841" y="1778219"/>
                  <a:pt x="5303694" y="1777507"/>
                  <a:pt x="5304334" y="1778503"/>
                </a:cubicBezTo>
                <a:cubicBezTo>
                  <a:pt x="5304334" y="1778503"/>
                  <a:pt x="5305401" y="1779215"/>
                  <a:pt x="5306255" y="1780637"/>
                </a:cubicBezTo>
                <a:cubicBezTo>
                  <a:pt x="5306682" y="1781349"/>
                  <a:pt x="5307109" y="1782202"/>
                  <a:pt x="5307322" y="1783340"/>
                </a:cubicBezTo>
                <a:cubicBezTo>
                  <a:pt x="5307536" y="1784479"/>
                  <a:pt x="5307536" y="1785759"/>
                  <a:pt x="5307322" y="1787182"/>
                </a:cubicBezTo>
                <a:cubicBezTo>
                  <a:pt x="5306896" y="1788889"/>
                  <a:pt x="5304761" y="1792873"/>
                  <a:pt x="5304334" y="1791876"/>
                </a:cubicBezTo>
                <a:cubicBezTo>
                  <a:pt x="5302627" y="1791450"/>
                  <a:pt x="5303267" y="1792446"/>
                  <a:pt x="5302200" y="1793015"/>
                </a:cubicBezTo>
                <a:cubicBezTo>
                  <a:pt x="5299853" y="1792446"/>
                  <a:pt x="5298145" y="1791592"/>
                  <a:pt x="5297078" y="1790454"/>
                </a:cubicBezTo>
                <a:lnTo>
                  <a:pt x="5296438" y="1788320"/>
                </a:lnTo>
                <a:lnTo>
                  <a:pt x="5291956" y="1784336"/>
                </a:lnTo>
                <a:lnTo>
                  <a:pt x="5289608" y="1783625"/>
                </a:lnTo>
                <a:lnTo>
                  <a:pt x="5290035" y="1782629"/>
                </a:lnTo>
                <a:lnTo>
                  <a:pt x="5288755" y="1781349"/>
                </a:lnTo>
                <a:lnTo>
                  <a:pt x="5285340" y="1775373"/>
                </a:lnTo>
                <a:lnTo>
                  <a:pt x="5281499" y="1776369"/>
                </a:lnTo>
                <a:cubicBezTo>
                  <a:pt x="5280004" y="1776085"/>
                  <a:pt x="5278511" y="1775658"/>
                  <a:pt x="5279364" y="1775089"/>
                </a:cubicBezTo>
                <a:cubicBezTo>
                  <a:pt x="5278937" y="1774093"/>
                  <a:pt x="5280004" y="1773381"/>
                  <a:pt x="5280431" y="1771817"/>
                </a:cubicBezTo>
                <a:lnTo>
                  <a:pt x="5282566" y="1769825"/>
                </a:lnTo>
                <a:close/>
                <a:moveTo>
                  <a:pt x="5972765" y="1762427"/>
                </a:moveTo>
                <a:cubicBezTo>
                  <a:pt x="5974045" y="1763423"/>
                  <a:pt x="5975540" y="1765699"/>
                  <a:pt x="5973619" y="1768260"/>
                </a:cubicBezTo>
                <a:cubicBezTo>
                  <a:pt x="5971698" y="1771959"/>
                  <a:pt x="5968284" y="1772101"/>
                  <a:pt x="5964655" y="1771106"/>
                </a:cubicBezTo>
                <a:cubicBezTo>
                  <a:pt x="5962521" y="1772386"/>
                  <a:pt x="5961667" y="1774804"/>
                  <a:pt x="5959106" y="1773808"/>
                </a:cubicBezTo>
                <a:cubicBezTo>
                  <a:pt x="5962308" y="1771248"/>
                  <a:pt x="5963161" y="1769967"/>
                  <a:pt x="5965296" y="1768687"/>
                </a:cubicBezTo>
                <a:cubicBezTo>
                  <a:pt x="5965296" y="1767549"/>
                  <a:pt x="5965082" y="1766410"/>
                  <a:pt x="5966149" y="1765130"/>
                </a:cubicBezTo>
                <a:cubicBezTo>
                  <a:pt x="5968070" y="1762712"/>
                  <a:pt x="5970631" y="1763707"/>
                  <a:pt x="5972765" y="1762427"/>
                </a:cubicBezTo>
                <a:close/>
                <a:moveTo>
                  <a:pt x="4865330" y="1762427"/>
                </a:moveTo>
                <a:cubicBezTo>
                  <a:pt x="4866611" y="1762285"/>
                  <a:pt x="4867251" y="1762854"/>
                  <a:pt x="4867464" y="1764134"/>
                </a:cubicBezTo>
                <a:lnTo>
                  <a:pt x="4867464" y="1765984"/>
                </a:lnTo>
                <a:lnTo>
                  <a:pt x="4871519" y="1763707"/>
                </a:lnTo>
                <a:cubicBezTo>
                  <a:pt x="4874294" y="1765557"/>
                  <a:pt x="4879202" y="1764134"/>
                  <a:pt x="4882190" y="1771959"/>
                </a:cubicBezTo>
                <a:cubicBezTo>
                  <a:pt x="4884324" y="1780780"/>
                  <a:pt x="4875574" y="1784052"/>
                  <a:pt x="4876428" y="1784763"/>
                </a:cubicBezTo>
                <a:lnTo>
                  <a:pt x="4876855" y="1785759"/>
                </a:lnTo>
                <a:lnTo>
                  <a:pt x="4877922" y="1784763"/>
                </a:lnTo>
                <a:cubicBezTo>
                  <a:pt x="4878562" y="1784194"/>
                  <a:pt x="4878989" y="1783767"/>
                  <a:pt x="4878989" y="1783767"/>
                </a:cubicBezTo>
                <a:cubicBezTo>
                  <a:pt x="4881550" y="1783482"/>
                  <a:pt x="4881977" y="1784479"/>
                  <a:pt x="4881550" y="1783482"/>
                </a:cubicBezTo>
                <a:cubicBezTo>
                  <a:pt x="4884538" y="1784194"/>
                  <a:pt x="4888806" y="1784479"/>
                  <a:pt x="4888806" y="1787039"/>
                </a:cubicBezTo>
                <a:cubicBezTo>
                  <a:pt x="4887312" y="1794011"/>
                  <a:pt x="4878348" y="1795007"/>
                  <a:pt x="4872373" y="1795575"/>
                </a:cubicBezTo>
                <a:lnTo>
                  <a:pt x="4868318" y="1795860"/>
                </a:lnTo>
                <a:lnTo>
                  <a:pt x="4866824" y="1799417"/>
                </a:lnTo>
                <a:cubicBezTo>
                  <a:pt x="4865116" y="1800697"/>
                  <a:pt x="4862129" y="1799132"/>
                  <a:pt x="4861488" y="1796856"/>
                </a:cubicBezTo>
                <a:lnTo>
                  <a:pt x="4862342" y="1793726"/>
                </a:lnTo>
                <a:lnTo>
                  <a:pt x="4860208" y="1794011"/>
                </a:lnTo>
                <a:cubicBezTo>
                  <a:pt x="4860635" y="1792446"/>
                  <a:pt x="4862129" y="1787466"/>
                  <a:pt x="4862129" y="1787466"/>
                </a:cubicBezTo>
                <a:cubicBezTo>
                  <a:pt x="4861702" y="1786471"/>
                  <a:pt x="4861702" y="1786471"/>
                  <a:pt x="4862129" y="1784763"/>
                </a:cubicBezTo>
                <a:cubicBezTo>
                  <a:pt x="4863623" y="1785190"/>
                  <a:pt x="4863623" y="1785190"/>
                  <a:pt x="4864263" y="1786186"/>
                </a:cubicBezTo>
                <a:cubicBezTo>
                  <a:pt x="4863623" y="1787893"/>
                  <a:pt x="4862769" y="1788462"/>
                  <a:pt x="4862129" y="1790169"/>
                </a:cubicBezTo>
                <a:cubicBezTo>
                  <a:pt x="4865330" y="1790881"/>
                  <a:pt x="4864690" y="1789885"/>
                  <a:pt x="4864263" y="1791592"/>
                </a:cubicBezTo>
                <a:cubicBezTo>
                  <a:pt x="4864263" y="1791592"/>
                  <a:pt x="4864263" y="1791592"/>
                  <a:pt x="4863836" y="1793299"/>
                </a:cubicBezTo>
                <a:lnTo>
                  <a:pt x="4863623" y="1793441"/>
                </a:lnTo>
                <a:lnTo>
                  <a:pt x="4863836" y="1793726"/>
                </a:lnTo>
                <a:lnTo>
                  <a:pt x="4863836" y="1793299"/>
                </a:lnTo>
                <a:lnTo>
                  <a:pt x="4874080" y="1787609"/>
                </a:lnTo>
                <a:lnTo>
                  <a:pt x="4874294" y="1786186"/>
                </a:lnTo>
                <a:cubicBezTo>
                  <a:pt x="4873653" y="1787324"/>
                  <a:pt x="4873227" y="1785617"/>
                  <a:pt x="4873227" y="1785617"/>
                </a:cubicBezTo>
                <a:cubicBezTo>
                  <a:pt x="4873227" y="1785617"/>
                  <a:pt x="4873227" y="1785617"/>
                  <a:pt x="4870025" y="1786471"/>
                </a:cubicBezTo>
                <a:cubicBezTo>
                  <a:pt x="4870025" y="1786471"/>
                  <a:pt x="4862769" y="1787609"/>
                  <a:pt x="4860848" y="1780495"/>
                </a:cubicBezTo>
                <a:cubicBezTo>
                  <a:pt x="4861275" y="1780210"/>
                  <a:pt x="4861488" y="1778788"/>
                  <a:pt x="4861702" y="1776938"/>
                </a:cubicBezTo>
                <a:lnTo>
                  <a:pt x="4862342" y="1773381"/>
                </a:lnTo>
                <a:lnTo>
                  <a:pt x="4861915" y="1774946"/>
                </a:lnTo>
                <a:cubicBezTo>
                  <a:pt x="4860635" y="1776369"/>
                  <a:pt x="4858714" y="1777080"/>
                  <a:pt x="4856793" y="1777080"/>
                </a:cubicBezTo>
                <a:cubicBezTo>
                  <a:pt x="4853378" y="1772813"/>
                  <a:pt x="4854873" y="1768829"/>
                  <a:pt x="4858928" y="1767976"/>
                </a:cubicBezTo>
                <a:lnTo>
                  <a:pt x="4863623" y="1768260"/>
                </a:lnTo>
                <a:lnTo>
                  <a:pt x="4863623" y="1768118"/>
                </a:lnTo>
                <a:cubicBezTo>
                  <a:pt x="4863836" y="1765984"/>
                  <a:pt x="4864049" y="1764134"/>
                  <a:pt x="4864263" y="1762996"/>
                </a:cubicBezTo>
                <a:cubicBezTo>
                  <a:pt x="4865330" y="1762427"/>
                  <a:pt x="4865330" y="1762427"/>
                  <a:pt x="4865330" y="1762427"/>
                </a:cubicBezTo>
                <a:close/>
                <a:moveTo>
                  <a:pt x="4905666" y="1761715"/>
                </a:moveTo>
                <a:cubicBezTo>
                  <a:pt x="4907800" y="1761715"/>
                  <a:pt x="4909508" y="1761715"/>
                  <a:pt x="4910361" y="1762000"/>
                </a:cubicBezTo>
                <a:cubicBezTo>
                  <a:pt x="4911428" y="1762427"/>
                  <a:pt x="4911855" y="1763138"/>
                  <a:pt x="4911428" y="1764845"/>
                </a:cubicBezTo>
                <a:cubicBezTo>
                  <a:pt x="4911428" y="1767549"/>
                  <a:pt x="4908868" y="1767833"/>
                  <a:pt x="4907800" y="1771248"/>
                </a:cubicBezTo>
                <a:cubicBezTo>
                  <a:pt x="4906947" y="1777223"/>
                  <a:pt x="4918258" y="1778219"/>
                  <a:pt x="4916337" y="1790312"/>
                </a:cubicBezTo>
                <a:cubicBezTo>
                  <a:pt x="4913136" y="1789458"/>
                  <a:pt x="4910148" y="1796856"/>
                  <a:pt x="4905453" y="1795575"/>
                </a:cubicBezTo>
                <a:cubicBezTo>
                  <a:pt x="4891154" y="1793726"/>
                  <a:pt x="4891581" y="1789458"/>
                  <a:pt x="4890941" y="1780353"/>
                </a:cubicBezTo>
                <a:cubicBezTo>
                  <a:pt x="4891367" y="1781349"/>
                  <a:pt x="4892007" y="1779784"/>
                  <a:pt x="4892007" y="1779784"/>
                </a:cubicBezTo>
                <a:cubicBezTo>
                  <a:pt x="4892861" y="1776369"/>
                  <a:pt x="4886245" y="1779215"/>
                  <a:pt x="4886672" y="1774804"/>
                </a:cubicBezTo>
                <a:cubicBezTo>
                  <a:pt x="4888166" y="1767833"/>
                  <a:pt x="4896276" y="1764988"/>
                  <a:pt x="4900757" y="1763707"/>
                </a:cubicBezTo>
                <a:lnTo>
                  <a:pt x="4903319" y="1762996"/>
                </a:lnTo>
                <a:lnTo>
                  <a:pt x="4902678" y="1762000"/>
                </a:lnTo>
                <a:lnTo>
                  <a:pt x="4904386" y="1762427"/>
                </a:lnTo>
                <a:lnTo>
                  <a:pt x="4904599" y="1762285"/>
                </a:lnTo>
                <a:cubicBezTo>
                  <a:pt x="4905026" y="1763281"/>
                  <a:pt x="4906093" y="1762712"/>
                  <a:pt x="4905666" y="1761715"/>
                </a:cubicBezTo>
                <a:close/>
                <a:moveTo>
                  <a:pt x="1503824" y="1761193"/>
                </a:moveTo>
                <a:cubicBezTo>
                  <a:pt x="1504650" y="1761038"/>
                  <a:pt x="1505992" y="1761348"/>
                  <a:pt x="1507851" y="1762588"/>
                </a:cubicBezTo>
                <a:cubicBezTo>
                  <a:pt x="1506922" y="1765530"/>
                  <a:pt x="1505786" y="1766614"/>
                  <a:pt x="1504857" y="1766614"/>
                </a:cubicBezTo>
                <a:cubicBezTo>
                  <a:pt x="1503824" y="1766614"/>
                  <a:pt x="1502895" y="1765376"/>
                  <a:pt x="1502585" y="1764136"/>
                </a:cubicBezTo>
                <a:cubicBezTo>
                  <a:pt x="1502275" y="1762742"/>
                  <a:pt x="1502585" y="1761503"/>
                  <a:pt x="1503824" y="1761193"/>
                </a:cubicBezTo>
                <a:close/>
                <a:moveTo>
                  <a:pt x="4708680" y="1760293"/>
                </a:moveTo>
                <a:cubicBezTo>
                  <a:pt x="4709960" y="1761573"/>
                  <a:pt x="4712522" y="1765272"/>
                  <a:pt x="4710174" y="1768544"/>
                </a:cubicBezTo>
                <a:cubicBezTo>
                  <a:pt x="4708040" y="1771959"/>
                  <a:pt x="4709320" y="1775516"/>
                  <a:pt x="4707186" y="1778930"/>
                </a:cubicBezTo>
                <a:cubicBezTo>
                  <a:pt x="4707186" y="1778930"/>
                  <a:pt x="4707186" y="1778930"/>
                  <a:pt x="4705905" y="1777650"/>
                </a:cubicBezTo>
                <a:cubicBezTo>
                  <a:pt x="4708040" y="1771959"/>
                  <a:pt x="4705265" y="1765984"/>
                  <a:pt x="4708680" y="1760293"/>
                </a:cubicBezTo>
                <a:close/>
                <a:moveTo>
                  <a:pt x="1394166" y="1760109"/>
                </a:moveTo>
                <a:cubicBezTo>
                  <a:pt x="1394992" y="1759954"/>
                  <a:pt x="1397160" y="1761038"/>
                  <a:pt x="1398296" y="1761658"/>
                </a:cubicBezTo>
                <a:cubicBezTo>
                  <a:pt x="1399122" y="1761503"/>
                  <a:pt x="1400155" y="1761968"/>
                  <a:pt x="1400464" y="1762742"/>
                </a:cubicBezTo>
                <a:cubicBezTo>
                  <a:pt x="1400464" y="1762742"/>
                  <a:pt x="1401600" y="1763362"/>
                  <a:pt x="1402426" y="1763207"/>
                </a:cubicBezTo>
                <a:cubicBezTo>
                  <a:pt x="1404595" y="1764291"/>
                  <a:pt x="1404904" y="1765066"/>
                  <a:pt x="1405214" y="1765840"/>
                </a:cubicBezTo>
                <a:cubicBezTo>
                  <a:pt x="1405214" y="1765840"/>
                  <a:pt x="1404078" y="1765376"/>
                  <a:pt x="1403252" y="1765530"/>
                </a:cubicBezTo>
                <a:cubicBezTo>
                  <a:pt x="1403252" y="1765530"/>
                  <a:pt x="1402116" y="1764911"/>
                  <a:pt x="1401084" y="1764291"/>
                </a:cubicBezTo>
                <a:cubicBezTo>
                  <a:pt x="1401084" y="1764291"/>
                  <a:pt x="1400258" y="1764601"/>
                  <a:pt x="1399432" y="1764756"/>
                </a:cubicBezTo>
                <a:cubicBezTo>
                  <a:pt x="1396437" y="1763827"/>
                  <a:pt x="1394475" y="1763517"/>
                  <a:pt x="1394166" y="1760109"/>
                </a:cubicBezTo>
                <a:close/>
                <a:moveTo>
                  <a:pt x="4714442" y="1759155"/>
                </a:moveTo>
                <a:cubicBezTo>
                  <a:pt x="4715723" y="1760435"/>
                  <a:pt x="4715723" y="1761573"/>
                  <a:pt x="4717003" y="1762854"/>
                </a:cubicBezTo>
                <a:cubicBezTo>
                  <a:pt x="4719138" y="1760577"/>
                  <a:pt x="4717857" y="1760577"/>
                  <a:pt x="4719138" y="1761715"/>
                </a:cubicBezTo>
                <a:cubicBezTo>
                  <a:pt x="4719138" y="1761715"/>
                  <a:pt x="4719138" y="1761715"/>
                  <a:pt x="4720418" y="1762996"/>
                </a:cubicBezTo>
                <a:cubicBezTo>
                  <a:pt x="4720418" y="1762996"/>
                  <a:pt x="4721485" y="1762996"/>
                  <a:pt x="4719351" y="1766410"/>
                </a:cubicBezTo>
                <a:cubicBezTo>
                  <a:pt x="4718283" y="1765272"/>
                  <a:pt x="4714655" y="1761431"/>
                  <a:pt x="4714655" y="1761431"/>
                </a:cubicBezTo>
                <a:cubicBezTo>
                  <a:pt x="4713375" y="1761431"/>
                  <a:pt x="4713375" y="1761431"/>
                  <a:pt x="4712308" y="1760293"/>
                </a:cubicBezTo>
                <a:cubicBezTo>
                  <a:pt x="4713375" y="1759155"/>
                  <a:pt x="4713375" y="1759155"/>
                  <a:pt x="4714442" y="1759155"/>
                </a:cubicBezTo>
                <a:close/>
                <a:moveTo>
                  <a:pt x="1379039" y="1759121"/>
                </a:moveTo>
                <a:cubicBezTo>
                  <a:pt x="1382756" y="1757011"/>
                  <a:pt x="1386989" y="1756469"/>
                  <a:pt x="1388487" y="1759180"/>
                </a:cubicBezTo>
                <a:cubicBezTo>
                  <a:pt x="1389003" y="1759954"/>
                  <a:pt x="1389106" y="1760884"/>
                  <a:pt x="1389003" y="1762278"/>
                </a:cubicBezTo>
                <a:cubicBezTo>
                  <a:pt x="1385389" y="1768628"/>
                  <a:pt x="1381052" y="1772656"/>
                  <a:pt x="1374134" y="1770642"/>
                </a:cubicBezTo>
                <a:cubicBezTo>
                  <a:pt x="1374754" y="1769558"/>
                  <a:pt x="1373721" y="1768938"/>
                  <a:pt x="1372689" y="1768474"/>
                </a:cubicBezTo>
                <a:cubicBezTo>
                  <a:pt x="1372121" y="1764911"/>
                  <a:pt x="1375322" y="1761232"/>
                  <a:pt x="1379039" y="1759121"/>
                </a:cubicBezTo>
                <a:close/>
                <a:moveTo>
                  <a:pt x="1669860" y="1758715"/>
                </a:moveTo>
                <a:cubicBezTo>
                  <a:pt x="1670893" y="1758715"/>
                  <a:pt x="1672441" y="1759334"/>
                  <a:pt x="1675642" y="1760729"/>
                </a:cubicBezTo>
                <a:cubicBezTo>
                  <a:pt x="1676778" y="1761348"/>
                  <a:pt x="1677707" y="1762123"/>
                  <a:pt x="1678430" y="1763207"/>
                </a:cubicBezTo>
                <a:cubicBezTo>
                  <a:pt x="1679153" y="1764291"/>
                  <a:pt x="1679566" y="1765376"/>
                  <a:pt x="1679669" y="1766614"/>
                </a:cubicBezTo>
                <a:cubicBezTo>
                  <a:pt x="1681011" y="1768009"/>
                  <a:pt x="1681837" y="1770487"/>
                  <a:pt x="1681631" y="1772346"/>
                </a:cubicBezTo>
                <a:cubicBezTo>
                  <a:pt x="1680598" y="1774359"/>
                  <a:pt x="1679050" y="1774824"/>
                  <a:pt x="1677914" y="1774205"/>
                </a:cubicBezTo>
                <a:cubicBezTo>
                  <a:pt x="1668517" y="1770487"/>
                  <a:pt x="1669137" y="1762433"/>
                  <a:pt x="1667692" y="1761038"/>
                </a:cubicBezTo>
                <a:cubicBezTo>
                  <a:pt x="1668517" y="1759489"/>
                  <a:pt x="1668931" y="1758715"/>
                  <a:pt x="1669860" y="1758715"/>
                </a:cubicBezTo>
                <a:close/>
                <a:moveTo>
                  <a:pt x="1142221" y="1758560"/>
                </a:moveTo>
                <a:lnTo>
                  <a:pt x="1150481" y="1762433"/>
                </a:lnTo>
                <a:lnTo>
                  <a:pt x="1151720" y="1760884"/>
                </a:lnTo>
                <a:cubicBezTo>
                  <a:pt x="1152649" y="1760109"/>
                  <a:pt x="1154715" y="1759334"/>
                  <a:pt x="1156883" y="1759180"/>
                </a:cubicBezTo>
                <a:cubicBezTo>
                  <a:pt x="1158948" y="1758870"/>
                  <a:pt x="1161116" y="1759025"/>
                  <a:pt x="1162356" y="1759954"/>
                </a:cubicBezTo>
                <a:cubicBezTo>
                  <a:pt x="1161220" y="1761503"/>
                  <a:pt x="1160084" y="1763052"/>
                  <a:pt x="1158948" y="1764601"/>
                </a:cubicBezTo>
                <a:cubicBezTo>
                  <a:pt x="1159051" y="1764136"/>
                  <a:pt x="1157090" y="1764291"/>
                  <a:pt x="1155025" y="1764446"/>
                </a:cubicBezTo>
                <a:lnTo>
                  <a:pt x="1159051" y="1766305"/>
                </a:lnTo>
                <a:cubicBezTo>
                  <a:pt x="1163904" y="1769248"/>
                  <a:pt x="1165969" y="1773121"/>
                  <a:pt x="1159671" y="1779626"/>
                </a:cubicBezTo>
                <a:cubicBezTo>
                  <a:pt x="1155231" y="1770487"/>
                  <a:pt x="1142427" y="1766770"/>
                  <a:pt x="1142221" y="1758560"/>
                </a:cubicBezTo>
                <a:close/>
                <a:moveTo>
                  <a:pt x="901117" y="1758560"/>
                </a:moveTo>
                <a:cubicBezTo>
                  <a:pt x="902047" y="1759180"/>
                  <a:pt x="904731" y="1758715"/>
                  <a:pt x="906590" y="1759334"/>
                </a:cubicBezTo>
                <a:cubicBezTo>
                  <a:pt x="906590" y="1760109"/>
                  <a:pt x="907519" y="1760729"/>
                  <a:pt x="907622" y="1761658"/>
                </a:cubicBezTo>
                <a:cubicBezTo>
                  <a:pt x="906693" y="1761658"/>
                  <a:pt x="904938" y="1762742"/>
                  <a:pt x="904938" y="1761968"/>
                </a:cubicBezTo>
                <a:cubicBezTo>
                  <a:pt x="904008" y="1762123"/>
                  <a:pt x="903905" y="1760419"/>
                  <a:pt x="903905" y="1760419"/>
                </a:cubicBezTo>
                <a:cubicBezTo>
                  <a:pt x="902976" y="1760574"/>
                  <a:pt x="902150" y="1760729"/>
                  <a:pt x="901117" y="1760109"/>
                </a:cubicBezTo>
                <a:cubicBezTo>
                  <a:pt x="902047" y="1759180"/>
                  <a:pt x="901117" y="1759334"/>
                  <a:pt x="901117" y="1758560"/>
                </a:cubicBezTo>
                <a:close/>
                <a:moveTo>
                  <a:pt x="3964699" y="1758443"/>
                </a:moveTo>
                <a:cubicBezTo>
                  <a:pt x="3965979" y="1759012"/>
                  <a:pt x="3966619" y="1759440"/>
                  <a:pt x="3966833" y="1760008"/>
                </a:cubicBezTo>
                <a:cubicBezTo>
                  <a:pt x="3967046" y="1760720"/>
                  <a:pt x="3966833" y="1761858"/>
                  <a:pt x="3966192" y="1763850"/>
                </a:cubicBezTo>
                <a:cubicBezTo>
                  <a:pt x="3965339" y="1765414"/>
                  <a:pt x="3962991" y="1767406"/>
                  <a:pt x="3960430" y="1768829"/>
                </a:cubicBezTo>
                <a:cubicBezTo>
                  <a:pt x="3957869" y="1770394"/>
                  <a:pt x="3955095" y="1771532"/>
                  <a:pt x="3953174" y="1770963"/>
                </a:cubicBezTo>
                <a:cubicBezTo>
                  <a:pt x="3953601" y="1768402"/>
                  <a:pt x="3954241" y="1765841"/>
                  <a:pt x="3954881" y="1763138"/>
                </a:cubicBezTo>
                <a:cubicBezTo>
                  <a:pt x="3955095" y="1764277"/>
                  <a:pt x="3964699" y="1758443"/>
                  <a:pt x="3964699" y="1758443"/>
                </a:cubicBezTo>
                <a:close/>
                <a:moveTo>
                  <a:pt x="6179569" y="1757448"/>
                </a:moveTo>
                <a:cubicBezTo>
                  <a:pt x="6181916" y="1757021"/>
                  <a:pt x="6184478" y="1758159"/>
                  <a:pt x="6187466" y="1760293"/>
                </a:cubicBezTo>
                <a:cubicBezTo>
                  <a:pt x="6186612" y="1762996"/>
                  <a:pt x="6187039" y="1765272"/>
                  <a:pt x="6186612" y="1769114"/>
                </a:cubicBezTo>
                <a:cubicBezTo>
                  <a:pt x="6183197" y="1770109"/>
                  <a:pt x="6175728" y="1768687"/>
                  <a:pt x="6173593" y="1763138"/>
                </a:cubicBezTo>
                <a:cubicBezTo>
                  <a:pt x="6175300" y="1759582"/>
                  <a:pt x="6177221" y="1757732"/>
                  <a:pt x="6179569" y="1757448"/>
                </a:cubicBezTo>
                <a:close/>
                <a:moveTo>
                  <a:pt x="4825634" y="1756167"/>
                </a:moveTo>
                <a:cubicBezTo>
                  <a:pt x="4827128" y="1756878"/>
                  <a:pt x="4827768" y="1759012"/>
                  <a:pt x="4827341" y="1761715"/>
                </a:cubicBezTo>
                <a:cubicBezTo>
                  <a:pt x="4825847" y="1761147"/>
                  <a:pt x="4823927" y="1763281"/>
                  <a:pt x="4822432" y="1762569"/>
                </a:cubicBezTo>
                <a:cubicBezTo>
                  <a:pt x="4822432" y="1762569"/>
                  <a:pt x="4820298" y="1759582"/>
                  <a:pt x="4820298" y="1759582"/>
                </a:cubicBezTo>
                <a:cubicBezTo>
                  <a:pt x="4821152" y="1758017"/>
                  <a:pt x="4821152" y="1758017"/>
                  <a:pt x="4821365" y="1759155"/>
                </a:cubicBezTo>
                <a:cubicBezTo>
                  <a:pt x="4823286" y="1757163"/>
                  <a:pt x="4824567" y="1756594"/>
                  <a:pt x="4825634" y="1756167"/>
                </a:cubicBezTo>
                <a:close/>
                <a:moveTo>
                  <a:pt x="1533562" y="1756081"/>
                </a:moveTo>
                <a:cubicBezTo>
                  <a:pt x="1531083" y="1760264"/>
                  <a:pt x="1528605" y="1761038"/>
                  <a:pt x="1525714" y="1760419"/>
                </a:cubicBezTo>
                <a:cubicBezTo>
                  <a:pt x="1525301" y="1759025"/>
                  <a:pt x="1525404" y="1757785"/>
                  <a:pt x="1525817" y="1756701"/>
                </a:cubicBezTo>
                <a:cubicBezTo>
                  <a:pt x="1527057" y="1753603"/>
                  <a:pt x="1531187" y="1752364"/>
                  <a:pt x="1533562" y="1756081"/>
                </a:cubicBezTo>
                <a:close/>
                <a:moveTo>
                  <a:pt x="1748644" y="1755772"/>
                </a:moveTo>
                <a:cubicBezTo>
                  <a:pt x="1749883" y="1756701"/>
                  <a:pt x="1750606" y="1757941"/>
                  <a:pt x="1750709" y="1759334"/>
                </a:cubicBezTo>
                <a:cubicBezTo>
                  <a:pt x="1747922" y="1765685"/>
                  <a:pt x="1737906" y="1763207"/>
                  <a:pt x="1736150" y="1758405"/>
                </a:cubicBezTo>
                <a:cubicBezTo>
                  <a:pt x="1738319" y="1753603"/>
                  <a:pt x="1745237" y="1753294"/>
                  <a:pt x="1748644" y="1755772"/>
                </a:cubicBezTo>
                <a:close/>
                <a:moveTo>
                  <a:pt x="6235058" y="1755598"/>
                </a:moveTo>
                <a:cubicBezTo>
                  <a:pt x="6239326" y="1755313"/>
                  <a:pt x="6246156" y="1757305"/>
                  <a:pt x="6246369" y="1758159"/>
                </a:cubicBezTo>
                <a:cubicBezTo>
                  <a:pt x="6247437" y="1758159"/>
                  <a:pt x="6247650" y="1759297"/>
                  <a:pt x="6248717" y="1759297"/>
                </a:cubicBezTo>
                <a:cubicBezTo>
                  <a:pt x="6248717" y="1759297"/>
                  <a:pt x="6249997" y="1759155"/>
                  <a:pt x="6251278" y="1760293"/>
                </a:cubicBezTo>
                <a:cubicBezTo>
                  <a:pt x="6252559" y="1761431"/>
                  <a:pt x="6253839" y="1762569"/>
                  <a:pt x="6252985" y="1765130"/>
                </a:cubicBezTo>
                <a:cubicBezTo>
                  <a:pt x="6243381" y="1762000"/>
                  <a:pt x="6238686" y="1762285"/>
                  <a:pt x="6231217" y="1759155"/>
                </a:cubicBezTo>
                <a:cubicBezTo>
                  <a:pt x="6231217" y="1757874"/>
                  <a:pt x="6232283" y="1757874"/>
                  <a:pt x="6232070" y="1756594"/>
                </a:cubicBezTo>
                <a:cubicBezTo>
                  <a:pt x="6232497" y="1756025"/>
                  <a:pt x="6233778" y="1755598"/>
                  <a:pt x="6235058" y="1755598"/>
                </a:cubicBezTo>
                <a:close/>
                <a:moveTo>
                  <a:pt x="1455809" y="1755462"/>
                </a:moveTo>
                <a:cubicBezTo>
                  <a:pt x="1460043" y="1756081"/>
                  <a:pt x="1463760" y="1762433"/>
                  <a:pt x="1458598" y="1765995"/>
                </a:cubicBezTo>
                <a:lnTo>
                  <a:pt x="1459217" y="1767389"/>
                </a:lnTo>
                <a:lnTo>
                  <a:pt x="1459527" y="1770797"/>
                </a:lnTo>
                <a:lnTo>
                  <a:pt x="1460560" y="1771262"/>
                </a:lnTo>
                <a:cubicBezTo>
                  <a:pt x="1461386" y="1771262"/>
                  <a:pt x="1459630" y="1774824"/>
                  <a:pt x="1459630" y="1775599"/>
                </a:cubicBezTo>
                <a:lnTo>
                  <a:pt x="1459527" y="1775444"/>
                </a:lnTo>
                <a:lnTo>
                  <a:pt x="1458804" y="1780091"/>
                </a:lnTo>
                <a:cubicBezTo>
                  <a:pt x="1454158" y="1778077"/>
                  <a:pt x="1452608" y="1773895"/>
                  <a:pt x="1452505" y="1769248"/>
                </a:cubicBezTo>
                <a:lnTo>
                  <a:pt x="1452919" y="1765530"/>
                </a:lnTo>
                <a:lnTo>
                  <a:pt x="1450337" y="1763981"/>
                </a:lnTo>
                <a:cubicBezTo>
                  <a:pt x="1450234" y="1760574"/>
                  <a:pt x="1451679" y="1758405"/>
                  <a:pt x="1455809" y="1755462"/>
                </a:cubicBezTo>
                <a:close/>
                <a:moveTo>
                  <a:pt x="4607946" y="1755029"/>
                </a:moveTo>
                <a:cubicBezTo>
                  <a:pt x="4610080" y="1755740"/>
                  <a:pt x="4612428" y="1756309"/>
                  <a:pt x="4612854" y="1758586"/>
                </a:cubicBezTo>
                <a:cubicBezTo>
                  <a:pt x="4612854" y="1759440"/>
                  <a:pt x="4612854" y="1760293"/>
                  <a:pt x="4612641" y="1761573"/>
                </a:cubicBezTo>
                <a:cubicBezTo>
                  <a:pt x="4612641" y="1761573"/>
                  <a:pt x="4612428" y="1761573"/>
                  <a:pt x="4611574" y="1762142"/>
                </a:cubicBezTo>
                <a:cubicBezTo>
                  <a:pt x="4609440" y="1763423"/>
                  <a:pt x="4608586" y="1764134"/>
                  <a:pt x="4607519" y="1764845"/>
                </a:cubicBezTo>
                <a:cubicBezTo>
                  <a:pt x="4606025" y="1764419"/>
                  <a:pt x="4602183" y="1762569"/>
                  <a:pt x="4602824" y="1761004"/>
                </a:cubicBezTo>
                <a:cubicBezTo>
                  <a:pt x="4603677" y="1757732"/>
                  <a:pt x="4606238" y="1754745"/>
                  <a:pt x="4607946" y="1755029"/>
                </a:cubicBezTo>
                <a:close/>
                <a:moveTo>
                  <a:pt x="6209234" y="1754887"/>
                </a:moveTo>
                <a:cubicBezTo>
                  <a:pt x="6214997" y="1755313"/>
                  <a:pt x="6219905" y="1757448"/>
                  <a:pt x="6221186" y="1765130"/>
                </a:cubicBezTo>
                <a:cubicBezTo>
                  <a:pt x="6212649" y="1775089"/>
                  <a:pt x="6191734" y="1773666"/>
                  <a:pt x="6194082" y="1761431"/>
                </a:cubicBezTo>
                <a:cubicBezTo>
                  <a:pt x="6194295" y="1759724"/>
                  <a:pt x="6195149" y="1757874"/>
                  <a:pt x="6196429" y="1755740"/>
                </a:cubicBezTo>
                <a:cubicBezTo>
                  <a:pt x="6198563" y="1755598"/>
                  <a:pt x="6200911" y="1755171"/>
                  <a:pt x="6203472" y="1755029"/>
                </a:cubicBezTo>
                <a:cubicBezTo>
                  <a:pt x="6205393" y="1754887"/>
                  <a:pt x="6207313" y="1754745"/>
                  <a:pt x="6209234" y="1754887"/>
                </a:cubicBezTo>
                <a:close/>
                <a:moveTo>
                  <a:pt x="5262504" y="1754887"/>
                </a:moveTo>
                <a:cubicBezTo>
                  <a:pt x="5264425" y="1754460"/>
                  <a:pt x="5265919" y="1755313"/>
                  <a:pt x="5267200" y="1756736"/>
                </a:cubicBezTo>
                <a:cubicBezTo>
                  <a:pt x="5268480" y="1758159"/>
                  <a:pt x="5269547" y="1760293"/>
                  <a:pt x="5269974" y="1762142"/>
                </a:cubicBezTo>
                <a:cubicBezTo>
                  <a:pt x="5269333" y="1761004"/>
                  <a:pt x="5269333" y="1761004"/>
                  <a:pt x="5269333" y="1761004"/>
                </a:cubicBezTo>
                <a:cubicBezTo>
                  <a:pt x="5267626" y="1760577"/>
                  <a:pt x="5268480" y="1761715"/>
                  <a:pt x="5267413" y="1762285"/>
                </a:cubicBezTo>
                <a:cubicBezTo>
                  <a:pt x="5267413" y="1762285"/>
                  <a:pt x="5268266" y="1761573"/>
                  <a:pt x="5268053" y="1763281"/>
                </a:cubicBezTo>
                <a:cubicBezTo>
                  <a:pt x="5267413" y="1762285"/>
                  <a:pt x="5266346" y="1762854"/>
                  <a:pt x="5265492" y="1763565"/>
                </a:cubicBezTo>
                <a:cubicBezTo>
                  <a:pt x="5262290" y="1762712"/>
                  <a:pt x="5258236" y="1760720"/>
                  <a:pt x="5257809" y="1758017"/>
                </a:cubicBezTo>
                <a:cubicBezTo>
                  <a:pt x="5258449" y="1754745"/>
                  <a:pt x="5261010" y="1754460"/>
                  <a:pt x="5262504" y="1754887"/>
                </a:cubicBezTo>
                <a:close/>
                <a:moveTo>
                  <a:pt x="1497938" y="1754378"/>
                </a:moveTo>
                <a:cubicBezTo>
                  <a:pt x="1498558" y="1756701"/>
                  <a:pt x="1502895" y="1755772"/>
                  <a:pt x="1503824" y="1759180"/>
                </a:cubicBezTo>
                <a:cubicBezTo>
                  <a:pt x="1502998" y="1760729"/>
                  <a:pt x="1502481" y="1761503"/>
                  <a:pt x="1500829" y="1762742"/>
                </a:cubicBezTo>
                <a:cubicBezTo>
                  <a:pt x="1491639" y="1765221"/>
                  <a:pt x="1489265" y="1761193"/>
                  <a:pt x="1488026" y="1761658"/>
                </a:cubicBezTo>
                <a:cubicBezTo>
                  <a:pt x="1487819" y="1760729"/>
                  <a:pt x="1487716" y="1760109"/>
                  <a:pt x="1487923" y="1759489"/>
                </a:cubicBezTo>
                <a:cubicBezTo>
                  <a:pt x="1488335" y="1757631"/>
                  <a:pt x="1490297" y="1756856"/>
                  <a:pt x="1492775" y="1754997"/>
                </a:cubicBezTo>
                <a:cubicBezTo>
                  <a:pt x="1493085" y="1756081"/>
                  <a:pt x="1496699" y="1754843"/>
                  <a:pt x="1497938" y="1754378"/>
                </a:cubicBezTo>
                <a:close/>
                <a:moveTo>
                  <a:pt x="1210886" y="1754378"/>
                </a:moveTo>
                <a:cubicBezTo>
                  <a:pt x="1212022" y="1756081"/>
                  <a:pt x="1211609" y="1756856"/>
                  <a:pt x="1210370" y="1757011"/>
                </a:cubicBezTo>
                <a:cubicBezTo>
                  <a:pt x="1210370" y="1757011"/>
                  <a:pt x="1209131" y="1757166"/>
                  <a:pt x="1207892" y="1757321"/>
                </a:cubicBezTo>
                <a:cubicBezTo>
                  <a:pt x="1206756" y="1757476"/>
                  <a:pt x="1206239" y="1758250"/>
                  <a:pt x="1206239" y="1758250"/>
                </a:cubicBezTo>
                <a:cubicBezTo>
                  <a:pt x="1205000" y="1758405"/>
                  <a:pt x="1204277" y="1757785"/>
                  <a:pt x="1203968" y="1756701"/>
                </a:cubicBezTo>
                <a:cubicBezTo>
                  <a:pt x="1203968" y="1756701"/>
                  <a:pt x="1205620" y="1755772"/>
                  <a:pt x="1205620" y="1755772"/>
                </a:cubicBezTo>
                <a:cubicBezTo>
                  <a:pt x="1208098" y="1755462"/>
                  <a:pt x="1209234" y="1755307"/>
                  <a:pt x="1210886" y="1754378"/>
                </a:cubicBezTo>
                <a:close/>
                <a:moveTo>
                  <a:pt x="5092409" y="1754175"/>
                </a:moveTo>
                <a:cubicBezTo>
                  <a:pt x="5094116" y="1754602"/>
                  <a:pt x="5100945" y="1754602"/>
                  <a:pt x="5100732" y="1756309"/>
                </a:cubicBezTo>
                <a:cubicBezTo>
                  <a:pt x="5100732" y="1756309"/>
                  <a:pt x="5099238" y="1755883"/>
                  <a:pt x="5097530" y="1755456"/>
                </a:cubicBezTo>
                <a:cubicBezTo>
                  <a:pt x="5095823" y="1755029"/>
                  <a:pt x="5095823" y="1755029"/>
                  <a:pt x="5095610" y="1756736"/>
                </a:cubicBezTo>
                <a:cubicBezTo>
                  <a:pt x="5093902" y="1756309"/>
                  <a:pt x="5093902" y="1756309"/>
                  <a:pt x="5092409" y="1754175"/>
                </a:cubicBezTo>
                <a:close/>
                <a:moveTo>
                  <a:pt x="4998504" y="1754033"/>
                </a:moveTo>
                <a:cubicBezTo>
                  <a:pt x="4999144" y="1754318"/>
                  <a:pt x="4999784" y="1754887"/>
                  <a:pt x="5000425" y="1755456"/>
                </a:cubicBezTo>
                <a:cubicBezTo>
                  <a:pt x="5001919" y="1756594"/>
                  <a:pt x="5003199" y="1757732"/>
                  <a:pt x="5004479" y="1758870"/>
                </a:cubicBezTo>
                <a:cubicBezTo>
                  <a:pt x="5004479" y="1758870"/>
                  <a:pt x="5004479" y="1758870"/>
                  <a:pt x="4996796" y="1754460"/>
                </a:cubicBezTo>
                <a:cubicBezTo>
                  <a:pt x="4997223" y="1753891"/>
                  <a:pt x="4997863" y="1753748"/>
                  <a:pt x="4998504" y="1754033"/>
                </a:cubicBezTo>
                <a:close/>
                <a:moveTo>
                  <a:pt x="1299376" y="1753758"/>
                </a:moveTo>
                <a:cubicBezTo>
                  <a:pt x="1298757" y="1756081"/>
                  <a:pt x="1304126" y="1758250"/>
                  <a:pt x="1303197" y="1761658"/>
                </a:cubicBezTo>
                <a:cubicBezTo>
                  <a:pt x="1301855" y="1772036"/>
                  <a:pt x="1298757" y="1771726"/>
                  <a:pt x="1292149" y="1772191"/>
                </a:cubicBezTo>
                <a:cubicBezTo>
                  <a:pt x="1292871" y="1771881"/>
                  <a:pt x="1291735" y="1771416"/>
                  <a:pt x="1291735" y="1771416"/>
                </a:cubicBezTo>
                <a:cubicBezTo>
                  <a:pt x="1289258" y="1770797"/>
                  <a:pt x="1291323" y="1775599"/>
                  <a:pt x="1288122" y="1775289"/>
                </a:cubicBezTo>
                <a:cubicBezTo>
                  <a:pt x="1283062" y="1774205"/>
                  <a:pt x="1280997" y="1768318"/>
                  <a:pt x="1280067" y="1765066"/>
                </a:cubicBezTo>
                <a:lnTo>
                  <a:pt x="1279551" y="1763207"/>
                </a:lnTo>
                <a:lnTo>
                  <a:pt x="1278829" y="1763672"/>
                </a:lnTo>
                <a:lnTo>
                  <a:pt x="1279138" y="1762433"/>
                </a:lnTo>
                <a:lnTo>
                  <a:pt x="1279035" y="1762278"/>
                </a:lnTo>
                <a:cubicBezTo>
                  <a:pt x="1279758" y="1761968"/>
                  <a:pt x="1279345" y="1761193"/>
                  <a:pt x="1278622" y="1761503"/>
                </a:cubicBezTo>
                <a:cubicBezTo>
                  <a:pt x="1278622" y="1759954"/>
                  <a:pt x="1278622" y="1758715"/>
                  <a:pt x="1278829" y="1758095"/>
                </a:cubicBezTo>
                <a:cubicBezTo>
                  <a:pt x="1279138" y="1757321"/>
                  <a:pt x="1279655" y="1757011"/>
                  <a:pt x="1280894" y="1757321"/>
                </a:cubicBezTo>
                <a:cubicBezTo>
                  <a:pt x="1282856" y="1757321"/>
                  <a:pt x="1283062" y="1759180"/>
                  <a:pt x="1285540" y="1759954"/>
                </a:cubicBezTo>
                <a:cubicBezTo>
                  <a:pt x="1289877" y="1760574"/>
                  <a:pt x="1290600" y="1752364"/>
                  <a:pt x="1299376" y="1753758"/>
                </a:cubicBezTo>
                <a:close/>
                <a:moveTo>
                  <a:pt x="5602055" y="1753179"/>
                </a:moveTo>
                <a:cubicBezTo>
                  <a:pt x="5603122" y="1753322"/>
                  <a:pt x="5604189" y="1753606"/>
                  <a:pt x="5604829" y="1754602"/>
                </a:cubicBezTo>
                <a:cubicBezTo>
                  <a:pt x="5606537" y="1758443"/>
                  <a:pt x="5597787" y="1769967"/>
                  <a:pt x="5593091" y="1762142"/>
                </a:cubicBezTo>
                <a:cubicBezTo>
                  <a:pt x="5592451" y="1761289"/>
                  <a:pt x="5592665" y="1760008"/>
                  <a:pt x="5593305" y="1758586"/>
                </a:cubicBezTo>
                <a:cubicBezTo>
                  <a:pt x="5594799" y="1755740"/>
                  <a:pt x="5598853" y="1752753"/>
                  <a:pt x="5602055" y="1753179"/>
                </a:cubicBezTo>
                <a:close/>
                <a:moveTo>
                  <a:pt x="5235613" y="1752895"/>
                </a:moveTo>
                <a:lnTo>
                  <a:pt x="5237107" y="1754602"/>
                </a:lnTo>
                <a:lnTo>
                  <a:pt x="5240735" y="1755029"/>
                </a:lnTo>
                <a:cubicBezTo>
                  <a:pt x="5241803" y="1755456"/>
                  <a:pt x="5242443" y="1756309"/>
                  <a:pt x="5242229" y="1757874"/>
                </a:cubicBezTo>
                <a:cubicBezTo>
                  <a:pt x="5242656" y="1760577"/>
                  <a:pt x="5239882" y="1760720"/>
                  <a:pt x="5239455" y="1764134"/>
                </a:cubicBezTo>
                <a:cubicBezTo>
                  <a:pt x="5239455" y="1767122"/>
                  <a:pt x="5242443" y="1768971"/>
                  <a:pt x="5245217" y="1771532"/>
                </a:cubicBezTo>
                <a:lnTo>
                  <a:pt x="5248205" y="1774946"/>
                </a:lnTo>
                <a:lnTo>
                  <a:pt x="5247778" y="1773381"/>
                </a:lnTo>
                <a:cubicBezTo>
                  <a:pt x="5247138" y="1767691"/>
                  <a:pt x="5249059" y="1760008"/>
                  <a:pt x="5255888" y="1758443"/>
                </a:cubicBezTo>
                <a:cubicBezTo>
                  <a:pt x="5258449" y="1763992"/>
                  <a:pt x="5258022" y="1767833"/>
                  <a:pt x="5256315" y="1770821"/>
                </a:cubicBezTo>
                <a:lnTo>
                  <a:pt x="5249486" y="1777792"/>
                </a:lnTo>
                <a:lnTo>
                  <a:pt x="5250979" y="1783482"/>
                </a:lnTo>
                <a:cubicBezTo>
                  <a:pt x="5247778" y="1782629"/>
                  <a:pt x="5245858" y="1789885"/>
                  <a:pt x="5240948" y="1788604"/>
                </a:cubicBezTo>
                <a:cubicBezTo>
                  <a:pt x="5226223" y="1786471"/>
                  <a:pt x="5226009" y="1782060"/>
                  <a:pt x="5223875" y="1772813"/>
                </a:cubicBezTo>
                <a:cubicBezTo>
                  <a:pt x="5224516" y="1773951"/>
                  <a:pt x="5224942" y="1772243"/>
                  <a:pt x="5224942" y="1772243"/>
                </a:cubicBezTo>
                <a:cubicBezTo>
                  <a:pt x="5225369" y="1768971"/>
                  <a:pt x="5218966" y="1771674"/>
                  <a:pt x="5218753" y="1767264"/>
                </a:cubicBezTo>
                <a:cubicBezTo>
                  <a:pt x="5219180" y="1760293"/>
                  <a:pt x="5227077" y="1757590"/>
                  <a:pt x="5231345" y="1756452"/>
                </a:cubicBezTo>
                <a:lnTo>
                  <a:pt x="5232199" y="1756309"/>
                </a:lnTo>
                <a:lnTo>
                  <a:pt x="5233265" y="1755171"/>
                </a:lnTo>
                <a:lnTo>
                  <a:pt x="5233052" y="1754887"/>
                </a:lnTo>
                <a:lnTo>
                  <a:pt x="5233479" y="1754887"/>
                </a:lnTo>
                <a:close/>
                <a:moveTo>
                  <a:pt x="3615544" y="1752895"/>
                </a:moveTo>
                <a:cubicBezTo>
                  <a:pt x="3621093" y="1759155"/>
                  <a:pt x="3618745" y="1764988"/>
                  <a:pt x="3613623" y="1768829"/>
                </a:cubicBezTo>
                <a:lnTo>
                  <a:pt x="3613196" y="1769114"/>
                </a:lnTo>
                <a:lnTo>
                  <a:pt x="3613623" y="1769967"/>
                </a:lnTo>
                <a:cubicBezTo>
                  <a:pt x="3614690" y="1772243"/>
                  <a:pt x="3616184" y="1774662"/>
                  <a:pt x="3616184" y="1774662"/>
                </a:cubicBezTo>
                <a:lnTo>
                  <a:pt x="3614690" y="1776654"/>
                </a:lnTo>
                <a:lnTo>
                  <a:pt x="3626855" y="1762000"/>
                </a:lnTo>
                <a:lnTo>
                  <a:pt x="3636672" y="1761858"/>
                </a:lnTo>
                <a:lnTo>
                  <a:pt x="3636886" y="1761715"/>
                </a:lnTo>
                <a:cubicBezTo>
                  <a:pt x="3636672" y="1761289"/>
                  <a:pt x="3636246" y="1761004"/>
                  <a:pt x="3636459" y="1760435"/>
                </a:cubicBezTo>
                <a:cubicBezTo>
                  <a:pt x="3636459" y="1760435"/>
                  <a:pt x="3636459" y="1761573"/>
                  <a:pt x="3635179" y="1760293"/>
                </a:cubicBezTo>
                <a:cubicBezTo>
                  <a:pt x="3636459" y="1760435"/>
                  <a:pt x="3636459" y="1759297"/>
                  <a:pt x="3636459" y="1758017"/>
                </a:cubicBezTo>
                <a:cubicBezTo>
                  <a:pt x="3638807" y="1755883"/>
                  <a:pt x="3642435" y="1754033"/>
                  <a:pt x="3644782" y="1755456"/>
                </a:cubicBezTo>
                <a:cubicBezTo>
                  <a:pt x="3645850" y="1756736"/>
                  <a:pt x="3646063" y="1758017"/>
                  <a:pt x="3646063" y="1759012"/>
                </a:cubicBezTo>
                <a:lnTo>
                  <a:pt x="3644996" y="1760720"/>
                </a:lnTo>
                <a:lnTo>
                  <a:pt x="3652038" y="1759297"/>
                </a:lnTo>
                <a:cubicBezTo>
                  <a:pt x="3660789" y="1757732"/>
                  <a:pt x="3669325" y="1757163"/>
                  <a:pt x="3675728" y="1763138"/>
                </a:cubicBezTo>
                <a:cubicBezTo>
                  <a:pt x="3678076" y="1778077"/>
                  <a:pt x="3686186" y="1779499"/>
                  <a:pt x="3690881" y="1787324"/>
                </a:cubicBezTo>
                <a:cubicBezTo>
                  <a:pt x="3691095" y="1792588"/>
                  <a:pt x="3690667" y="1798279"/>
                  <a:pt x="3689814" y="1804112"/>
                </a:cubicBezTo>
                <a:lnTo>
                  <a:pt x="3687680" y="1812790"/>
                </a:lnTo>
                <a:lnTo>
                  <a:pt x="3690881" y="1817770"/>
                </a:lnTo>
                <a:lnTo>
                  <a:pt x="3686399" y="1818765"/>
                </a:lnTo>
                <a:lnTo>
                  <a:pt x="3685546" y="1821469"/>
                </a:lnTo>
                <a:lnTo>
                  <a:pt x="3681704" y="1828866"/>
                </a:lnTo>
                <a:lnTo>
                  <a:pt x="3682344" y="1829293"/>
                </a:lnTo>
                <a:cubicBezTo>
                  <a:pt x="3683198" y="1830431"/>
                  <a:pt x="3683198" y="1831712"/>
                  <a:pt x="3682558" y="1832850"/>
                </a:cubicBezTo>
                <a:lnTo>
                  <a:pt x="3677863" y="1836406"/>
                </a:lnTo>
                <a:lnTo>
                  <a:pt x="3677436" y="1837402"/>
                </a:lnTo>
                <a:cubicBezTo>
                  <a:pt x="3673808" y="1842239"/>
                  <a:pt x="3669753" y="1846365"/>
                  <a:pt x="3664417" y="1849637"/>
                </a:cubicBezTo>
                <a:cubicBezTo>
                  <a:pt x="3660149" y="1852198"/>
                  <a:pt x="3656307" y="1853763"/>
                  <a:pt x="3652466" y="1854332"/>
                </a:cubicBezTo>
                <a:lnTo>
                  <a:pt x="3648197" y="1854474"/>
                </a:lnTo>
                <a:lnTo>
                  <a:pt x="3645422" y="1856040"/>
                </a:lnTo>
                <a:cubicBezTo>
                  <a:pt x="3641155" y="1858173"/>
                  <a:pt x="3633684" y="1861588"/>
                  <a:pt x="3630484" y="1861588"/>
                </a:cubicBezTo>
                <a:cubicBezTo>
                  <a:pt x="3633471" y="1860450"/>
                  <a:pt x="3636459" y="1858600"/>
                  <a:pt x="3639660" y="1857035"/>
                </a:cubicBezTo>
                <a:lnTo>
                  <a:pt x="3647770" y="1854474"/>
                </a:lnTo>
                <a:lnTo>
                  <a:pt x="3641155" y="1854617"/>
                </a:lnTo>
                <a:cubicBezTo>
                  <a:pt x="3633898" y="1853906"/>
                  <a:pt x="3626428" y="1851771"/>
                  <a:pt x="3617465" y="1852056"/>
                </a:cubicBezTo>
                <a:cubicBezTo>
                  <a:pt x="3615117" y="1837118"/>
                  <a:pt x="3606367" y="1836833"/>
                  <a:pt x="3599964" y="1832138"/>
                </a:cubicBezTo>
                <a:cubicBezTo>
                  <a:pt x="3600604" y="1829436"/>
                  <a:pt x="3601031" y="1826733"/>
                  <a:pt x="3601031" y="1823744"/>
                </a:cubicBezTo>
                <a:lnTo>
                  <a:pt x="3600818" y="1817627"/>
                </a:lnTo>
                <a:lnTo>
                  <a:pt x="3596549" y="1814070"/>
                </a:lnTo>
                <a:lnTo>
                  <a:pt x="3597403" y="1812506"/>
                </a:lnTo>
                <a:lnTo>
                  <a:pt x="3595055" y="1810798"/>
                </a:lnTo>
                <a:cubicBezTo>
                  <a:pt x="3592281" y="1807241"/>
                  <a:pt x="3591854" y="1802547"/>
                  <a:pt x="3594202" y="1799702"/>
                </a:cubicBezTo>
                <a:lnTo>
                  <a:pt x="3598897" y="1797283"/>
                </a:lnTo>
                <a:lnTo>
                  <a:pt x="3598897" y="1795860"/>
                </a:lnTo>
                <a:cubicBezTo>
                  <a:pt x="3604233" y="1790454"/>
                  <a:pt x="3608501" y="1784621"/>
                  <a:pt x="3612982" y="1778930"/>
                </a:cubicBezTo>
                <a:lnTo>
                  <a:pt x="3614263" y="1777223"/>
                </a:lnTo>
                <a:lnTo>
                  <a:pt x="3610849" y="1776796"/>
                </a:lnTo>
                <a:lnTo>
                  <a:pt x="3606367" y="1771817"/>
                </a:lnTo>
                <a:lnTo>
                  <a:pt x="3601458" y="1773666"/>
                </a:lnTo>
                <a:cubicBezTo>
                  <a:pt x="3596976" y="1774235"/>
                  <a:pt x="3592495" y="1773808"/>
                  <a:pt x="3589080" y="1771817"/>
                </a:cubicBezTo>
                <a:lnTo>
                  <a:pt x="3585025" y="1766410"/>
                </a:lnTo>
                <a:lnTo>
                  <a:pt x="3584171" y="1766410"/>
                </a:lnTo>
                <a:cubicBezTo>
                  <a:pt x="3581824" y="1763992"/>
                  <a:pt x="3580543" y="1760435"/>
                  <a:pt x="3581610" y="1759297"/>
                </a:cubicBezTo>
                <a:cubicBezTo>
                  <a:pt x="3583317" y="1757590"/>
                  <a:pt x="3585025" y="1755883"/>
                  <a:pt x="3587159" y="1756736"/>
                </a:cubicBezTo>
                <a:cubicBezTo>
                  <a:pt x="3588013" y="1757021"/>
                  <a:pt x="3588866" y="1757448"/>
                  <a:pt x="3589720" y="1758443"/>
                </a:cubicBezTo>
                <a:cubicBezTo>
                  <a:pt x="3589720" y="1758443"/>
                  <a:pt x="3589720" y="1758443"/>
                  <a:pt x="3589720" y="1759582"/>
                </a:cubicBezTo>
                <a:lnTo>
                  <a:pt x="3589933" y="1761715"/>
                </a:lnTo>
                <a:lnTo>
                  <a:pt x="3596976" y="1756309"/>
                </a:lnTo>
                <a:cubicBezTo>
                  <a:pt x="3602099" y="1754033"/>
                  <a:pt x="3608287" y="1752611"/>
                  <a:pt x="3615544" y="1752895"/>
                </a:cubicBezTo>
                <a:close/>
                <a:moveTo>
                  <a:pt x="910410" y="1752829"/>
                </a:moveTo>
                <a:cubicBezTo>
                  <a:pt x="910410" y="1752829"/>
                  <a:pt x="911236" y="1753603"/>
                  <a:pt x="912166" y="1754378"/>
                </a:cubicBezTo>
                <a:cubicBezTo>
                  <a:pt x="913095" y="1755152"/>
                  <a:pt x="914024" y="1754997"/>
                  <a:pt x="914024" y="1754997"/>
                </a:cubicBezTo>
                <a:cubicBezTo>
                  <a:pt x="914954" y="1755772"/>
                  <a:pt x="914954" y="1756546"/>
                  <a:pt x="914127" y="1757631"/>
                </a:cubicBezTo>
                <a:cubicBezTo>
                  <a:pt x="914127" y="1757631"/>
                  <a:pt x="912372" y="1757011"/>
                  <a:pt x="912372" y="1757011"/>
                </a:cubicBezTo>
                <a:cubicBezTo>
                  <a:pt x="910514" y="1755462"/>
                  <a:pt x="909584" y="1754688"/>
                  <a:pt x="907829" y="1754068"/>
                </a:cubicBezTo>
                <a:cubicBezTo>
                  <a:pt x="908552" y="1752210"/>
                  <a:pt x="909481" y="1752210"/>
                  <a:pt x="910410" y="1752829"/>
                </a:cubicBezTo>
                <a:close/>
                <a:moveTo>
                  <a:pt x="731880" y="1752364"/>
                </a:moveTo>
                <a:cubicBezTo>
                  <a:pt x="731880" y="1752364"/>
                  <a:pt x="731880" y="1752364"/>
                  <a:pt x="731880" y="1753294"/>
                </a:cubicBezTo>
                <a:cubicBezTo>
                  <a:pt x="731880" y="1753294"/>
                  <a:pt x="731880" y="1752364"/>
                  <a:pt x="732706" y="1752519"/>
                </a:cubicBezTo>
                <a:cubicBezTo>
                  <a:pt x="735185" y="1757011"/>
                  <a:pt x="734255" y="1763517"/>
                  <a:pt x="734255" y="1764446"/>
                </a:cubicBezTo>
                <a:cubicBezTo>
                  <a:pt x="733429" y="1764291"/>
                  <a:pt x="733429" y="1764291"/>
                  <a:pt x="733429" y="1764291"/>
                </a:cubicBezTo>
                <a:cubicBezTo>
                  <a:pt x="734049" y="1761968"/>
                  <a:pt x="731880" y="1758715"/>
                  <a:pt x="731570" y="1755462"/>
                </a:cubicBezTo>
                <a:cubicBezTo>
                  <a:pt x="731364" y="1754533"/>
                  <a:pt x="731467" y="1753448"/>
                  <a:pt x="731880" y="1752364"/>
                </a:cubicBezTo>
                <a:close/>
                <a:moveTo>
                  <a:pt x="3928631" y="1752183"/>
                </a:moveTo>
                <a:cubicBezTo>
                  <a:pt x="3930551" y="1751614"/>
                  <a:pt x="3932259" y="1751757"/>
                  <a:pt x="3933753" y="1752326"/>
                </a:cubicBezTo>
                <a:cubicBezTo>
                  <a:pt x="3938021" y="1754033"/>
                  <a:pt x="3939729" y="1759724"/>
                  <a:pt x="3934607" y="1762854"/>
                </a:cubicBezTo>
                <a:cubicBezTo>
                  <a:pt x="3928631" y="1759582"/>
                  <a:pt x="3927564" y="1756167"/>
                  <a:pt x="3928631" y="1752183"/>
                </a:cubicBezTo>
                <a:close/>
                <a:moveTo>
                  <a:pt x="722278" y="1750815"/>
                </a:moveTo>
                <a:cubicBezTo>
                  <a:pt x="724136" y="1750041"/>
                  <a:pt x="724136" y="1750041"/>
                  <a:pt x="725891" y="1751125"/>
                </a:cubicBezTo>
                <a:cubicBezTo>
                  <a:pt x="725788" y="1751900"/>
                  <a:pt x="726718" y="1752055"/>
                  <a:pt x="725891" y="1752829"/>
                </a:cubicBezTo>
                <a:cubicBezTo>
                  <a:pt x="728473" y="1754688"/>
                  <a:pt x="730951" y="1762588"/>
                  <a:pt x="730022" y="1765840"/>
                </a:cubicBezTo>
                <a:cubicBezTo>
                  <a:pt x="722174" y="1759180"/>
                  <a:pt x="726718" y="1754533"/>
                  <a:pt x="722278" y="1750815"/>
                </a:cubicBezTo>
                <a:close/>
                <a:moveTo>
                  <a:pt x="5299212" y="1749907"/>
                </a:moveTo>
                <a:cubicBezTo>
                  <a:pt x="5300279" y="1749907"/>
                  <a:pt x="5301560" y="1750619"/>
                  <a:pt x="5302414" y="1751614"/>
                </a:cubicBezTo>
                <a:cubicBezTo>
                  <a:pt x="5303267" y="1752753"/>
                  <a:pt x="5303908" y="1754175"/>
                  <a:pt x="5304121" y="1755598"/>
                </a:cubicBezTo>
                <a:cubicBezTo>
                  <a:pt x="5303908" y="1757163"/>
                  <a:pt x="5303908" y="1757163"/>
                  <a:pt x="5303694" y="1758870"/>
                </a:cubicBezTo>
                <a:cubicBezTo>
                  <a:pt x="5301773" y="1760008"/>
                  <a:pt x="5300706" y="1762285"/>
                  <a:pt x="5298145" y="1762427"/>
                </a:cubicBezTo>
                <a:cubicBezTo>
                  <a:pt x="5296438" y="1762000"/>
                  <a:pt x="5294944" y="1760293"/>
                  <a:pt x="5293877" y="1758443"/>
                </a:cubicBezTo>
                <a:lnTo>
                  <a:pt x="5292810" y="1755456"/>
                </a:lnTo>
                <a:lnTo>
                  <a:pt x="5291743" y="1756736"/>
                </a:lnTo>
                <a:cubicBezTo>
                  <a:pt x="5290462" y="1757448"/>
                  <a:pt x="5288542" y="1756878"/>
                  <a:pt x="5285767" y="1756309"/>
                </a:cubicBezTo>
                <a:cubicBezTo>
                  <a:pt x="5286407" y="1751188"/>
                  <a:pt x="5288755" y="1750476"/>
                  <a:pt x="5293663" y="1750619"/>
                </a:cubicBezTo>
                <a:lnTo>
                  <a:pt x="5293663" y="1751188"/>
                </a:lnTo>
                <a:lnTo>
                  <a:pt x="5294517" y="1750050"/>
                </a:lnTo>
                <a:cubicBezTo>
                  <a:pt x="5295798" y="1749481"/>
                  <a:pt x="5297505" y="1749481"/>
                  <a:pt x="5299212" y="1749907"/>
                </a:cubicBezTo>
                <a:close/>
                <a:moveTo>
                  <a:pt x="4012291" y="1749907"/>
                </a:moveTo>
                <a:cubicBezTo>
                  <a:pt x="4012931" y="1750334"/>
                  <a:pt x="4013358" y="1751046"/>
                  <a:pt x="4013999" y="1751614"/>
                </a:cubicBezTo>
                <a:lnTo>
                  <a:pt x="4017627" y="1755313"/>
                </a:lnTo>
                <a:lnTo>
                  <a:pt x="4016773" y="1754745"/>
                </a:lnTo>
                <a:cubicBezTo>
                  <a:pt x="4015919" y="1754033"/>
                  <a:pt x="4014212" y="1752753"/>
                  <a:pt x="4010371" y="1750192"/>
                </a:cubicBezTo>
                <a:cubicBezTo>
                  <a:pt x="4011011" y="1749623"/>
                  <a:pt x="4011651" y="1749623"/>
                  <a:pt x="4012291" y="1749907"/>
                </a:cubicBezTo>
                <a:close/>
                <a:moveTo>
                  <a:pt x="1480694" y="1749886"/>
                </a:moveTo>
                <a:cubicBezTo>
                  <a:pt x="1482656" y="1756856"/>
                  <a:pt x="1481004" y="1763517"/>
                  <a:pt x="1478010" y="1770178"/>
                </a:cubicBezTo>
                <a:lnTo>
                  <a:pt x="1477287" y="1771416"/>
                </a:lnTo>
                <a:lnTo>
                  <a:pt x="1478733" y="1771416"/>
                </a:lnTo>
                <a:cubicBezTo>
                  <a:pt x="1480385" y="1772501"/>
                  <a:pt x="1481417" y="1774514"/>
                  <a:pt x="1481933" y="1776838"/>
                </a:cubicBezTo>
                <a:cubicBezTo>
                  <a:pt x="1483792" y="1784738"/>
                  <a:pt x="1479765" y="1796819"/>
                  <a:pt x="1471608" y="1796355"/>
                </a:cubicBezTo>
                <a:lnTo>
                  <a:pt x="1469440" y="1786286"/>
                </a:lnTo>
                <a:lnTo>
                  <a:pt x="1467477" y="1789849"/>
                </a:lnTo>
                <a:cubicBezTo>
                  <a:pt x="1465103" y="1787835"/>
                  <a:pt x="1462315" y="1788146"/>
                  <a:pt x="1459217" y="1784428"/>
                </a:cubicBezTo>
                <a:cubicBezTo>
                  <a:pt x="1465309" y="1776373"/>
                  <a:pt x="1469440" y="1767699"/>
                  <a:pt x="1473879" y="1759954"/>
                </a:cubicBezTo>
                <a:cubicBezTo>
                  <a:pt x="1471918" y="1761038"/>
                  <a:pt x="1466238" y="1763517"/>
                  <a:pt x="1464690" y="1762742"/>
                </a:cubicBezTo>
                <a:cubicBezTo>
                  <a:pt x="1467271" y="1761038"/>
                  <a:pt x="1472743" y="1759180"/>
                  <a:pt x="1473983" y="1759799"/>
                </a:cubicBezTo>
                <a:cubicBezTo>
                  <a:pt x="1476048" y="1756237"/>
                  <a:pt x="1478216" y="1752829"/>
                  <a:pt x="1480694" y="1749886"/>
                </a:cubicBezTo>
                <a:close/>
                <a:moveTo>
                  <a:pt x="999972" y="1749847"/>
                </a:moveTo>
                <a:cubicBezTo>
                  <a:pt x="1007781" y="1750738"/>
                  <a:pt x="1016041" y="1752829"/>
                  <a:pt x="1023786" y="1753913"/>
                </a:cubicBezTo>
                <a:cubicBezTo>
                  <a:pt x="1022857" y="1756701"/>
                  <a:pt x="1024405" y="1759025"/>
                  <a:pt x="1022030" y="1762897"/>
                </a:cubicBezTo>
                <a:lnTo>
                  <a:pt x="1010672" y="1760419"/>
                </a:lnTo>
                <a:lnTo>
                  <a:pt x="1009123" y="1760729"/>
                </a:lnTo>
                <a:cubicBezTo>
                  <a:pt x="1008091" y="1760729"/>
                  <a:pt x="1007265" y="1760574"/>
                  <a:pt x="1006852" y="1760264"/>
                </a:cubicBezTo>
                <a:lnTo>
                  <a:pt x="1006542" y="1759334"/>
                </a:lnTo>
                <a:lnTo>
                  <a:pt x="999521" y="1757785"/>
                </a:lnTo>
                <a:cubicBezTo>
                  <a:pt x="992189" y="1756546"/>
                  <a:pt x="985271" y="1755307"/>
                  <a:pt x="978869" y="1752984"/>
                </a:cubicBezTo>
                <a:cubicBezTo>
                  <a:pt x="984806" y="1749266"/>
                  <a:pt x="992163" y="1748957"/>
                  <a:pt x="999972" y="1749847"/>
                </a:cubicBezTo>
                <a:close/>
                <a:moveTo>
                  <a:pt x="3581610" y="1749338"/>
                </a:moveTo>
                <a:cubicBezTo>
                  <a:pt x="3584171" y="1749054"/>
                  <a:pt x="3586732" y="1751757"/>
                  <a:pt x="3586305" y="1754175"/>
                </a:cubicBezTo>
                <a:cubicBezTo>
                  <a:pt x="3586305" y="1755313"/>
                  <a:pt x="3585452" y="1756309"/>
                  <a:pt x="3583957" y="1756878"/>
                </a:cubicBezTo>
                <a:cubicBezTo>
                  <a:pt x="3581824" y="1755171"/>
                  <a:pt x="3580970" y="1753748"/>
                  <a:pt x="3579049" y="1750761"/>
                </a:cubicBezTo>
                <a:cubicBezTo>
                  <a:pt x="3579903" y="1749907"/>
                  <a:pt x="3580757" y="1749481"/>
                  <a:pt x="3581610" y="1749338"/>
                </a:cubicBezTo>
                <a:close/>
                <a:moveTo>
                  <a:pt x="4979296" y="1749196"/>
                </a:moveTo>
                <a:cubicBezTo>
                  <a:pt x="4982284" y="1750334"/>
                  <a:pt x="4984845" y="1750334"/>
                  <a:pt x="4986339" y="1750903"/>
                </a:cubicBezTo>
                <a:cubicBezTo>
                  <a:pt x="4985912" y="1756309"/>
                  <a:pt x="4982924" y="1759012"/>
                  <a:pt x="4978442" y="1757305"/>
                </a:cubicBezTo>
                <a:cubicBezTo>
                  <a:pt x="4979936" y="1754033"/>
                  <a:pt x="4978016" y="1752468"/>
                  <a:pt x="4979296" y="1749196"/>
                </a:cubicBezTo>
                <a:close/>
                <a:moveTo>
                  <a:pt x="4959235" y="1749196"/>
                </a:moveTo>
                <a:cubicBezTo>
                  <a:pt x="4960302" y="1749481"/>
                  <a:pt x="4961155" y="1750334"/>
                  <a:pt x="4961795" y="1751046"/>
                </a:cubicBezTo>
                <a:cubicBezTo>
                  <a:pt x="4963503" y="1751899"/>
                  <a:pt x="4964143" y="1753464"/>
                  <a:pt x="4964357" y="1755313"/>
                </a:cubicBezTo>
                <a:lnTo>
                  <a:pt x="4964143" y="1756736"/>
                </a:lnTo>
                <a:lnTo>
                  <a:pt x="4964997" y="1755740"/>
                </a:lnTo>
                <a:cubicBezTo>
                  <a:pt x="4966491" y="1755313"/>
                  <a:pt x="4968198" y="1755313"/>
                  <a:pt x="4969692" y="1755598"/>
                </a:cubicBezTo>
                <a:cubicBezTo>
                  <a:pt x="4970973" y="1755456"/>
                  <a:pt x="4972040" y="1756309"/>
                  <a:pt x="4972680" y="1757305"/>
                </a:cubicBezTo>
                <a:cubicBezTo>
                  <a:pt x="4973321" y="1758443"/>
                  <a:pt x="4973747" y="1759866"/>
                  <a:pt x="4973747" y="1761147"/>
                </a:cubicBezTo>
                <a:cubicBezTo>
                  <a:pt x="4973321" y="1762854"/>
                  <a:pt x="4973321" y="1762854"/>
                  <a:pt x="4972894" y="1764419"/>
                </a:cubicBezTo>
                <a:cubicBezTo>
                  <a:pt x="4970759" y="1765699"/>
                  <a:pt x="4969266" y="1767976"/>
                  <a:pt x="4966704" y="1768118"/>
                </a:cubicBezTo>
                <a:cubicBezTo>
                  <a:pt x="4965210" y="1767833"/>
                  <a:pt x="4964143" y="1766268"/>
                  <a:pt x="4963290" y="1764277"/>
                </a:cubicBezTo>
                <a:lnTo>
                  <a:pt x="4962009" y="1759297"/>
                </a:lnTo>
                <a:lnTo>
                  <a:pt x="4961155" y="1759440"/>
                </a:lnTo>
                <a:cubicBezTo>
                  <a:pt x="4961155" y="1759440"/>
                  <a:pt x="4962436" y="1759582"/>
                  <a:pt x="4961155" y="1760577"/>
                </a:cubicBezTo>
                <a:cubicBezTo>
                  <a:pt x="4961155" y="1759440"/>
                  <a:pt x="4960088" y="1759297"/>
                  <a:pt x="4958808" y="1759155"/>
                </a:cubicBezTo>
                <a:cubicBezTo>
                  <a:pt x="4956674" y="1756309"/>
                  <a:pt x="4954539" y="1752183"/>
                  <a:pt x="4956033" y="1750050"/>
                </a:cubicBezTo>
                <a:cubicBezTo>
                  <a:pt x="4957100" y="1749054"/>
                  <a:pt x="4958381" y="1748911"/>
                  <a:pt x="4959235" y="1749196"/>
                </a:cubicBezTo>
                <a:close/>
                <a:moveTo>
                  <a:pt x="3432003" y="1749196"/>
                </a:moveTo>
                <a:cubicBezTo>
                  <a:pt x="3424960" y="1749196"/>
                  <a:pt x="3424106" y="1755171"/>
                  <a:pt x="3424747" y="1761573"/>
                </a:cubicBezTo>
                <a:lnTo>
                  <a:pt x="3424747" y="1762142"/>
                </a:lnTo>
                <a:lnTo>
                  <a:pt x="3426880" y="1764134"/>
                </a:lnTo>
                <a:cubicBezTo>
                  <a:pt x="3427308" y="1765699"/>
                  <a:pt x="3427521" y="1767691"/>
                  <a:pt x="3427521" y="1770109"/>
                </a:cubicBezTo>
                <a:cubicBezTo>
                  <a:pt x="3425600" y="1771248"/>
                  <a:pt x="3423680" y="1772813"/>
                  <a:pt x="3421545" y="1774378"/>
                </a:cubicBezTo>
                <a:lnTo>
                  <a:pt x="3421069" y="1774672"/>
                </a:lnTo>
                <a:lnTo>
                  <a:pt x="3426390" y="1787214"/>
                </a:lnTo>
                <a:lnTo>
                  <a:pt x="3427948" y="1785759"/>
                </a:lnTo>
                <a:cubicBezTo>
                  <a:pt x="3429015" y="1782629"/>
                  <a:pt x="3428801" y="1778930"/>
                  <a:pt x="3428161" y="1775089"/>
                </a:cubicBezTo>
                <a:cubicBezTo>
                  <a:pt x="3427735" y="1767691"/>
                  <a:pt x="3426027" y="1757732"/>
                  <a:pt x="3432003" y="1749196"/>
                </a:cubicBezTo>
                <a:close/>
                <a:moveTo>
                  <a:pt x="5535468" y="1748200"/>
                </a:moveTo>
                <a:cubicBezTo>
                  <a:pt x="5535682" y="1749338"/>
                  <a:pt x="5536962" y="1750476"/>
                  <a:pt x="5537175" y="1751757"/>
                </a:cubicBezTo>
                <a:cubicBezTo>
                  <a:pt x="5535255" y="1754318"/>
                  <a:pt x="5531413" y="1752041"/>
                  <a:pt x="5531200" y="1750761"/>
                </a:cubicBezTo>
                <a:cubicBezTo>
                  <a:pt x="5532267" y="1749481"/>
                  <a:pt x="5534401" y="1749481"/>
                  <a:pt x="5535468" y="1748200"/>
                </a:cubicBezTo>
                <a:close/>
                <a:moveTo>
                  <a:pt x="4954112" y="1747489"/>
                </a:moveTo>
                <a:cubicBezTo>
                  <a:pt x="4954539" y="1747346"/>
                  <a:pt x="4954967" y="1747346"/>
                  <a:pt x="4955607" y="1747773"/>
                </a:cubicBezTo>
                <a:cubicBezTo>
                  <a:pt x="4954539" y="1750050"/>
                  <a:pt x="4953472" y="1751188"/>
                  <a:pt x="4951124" y="1751046"/>
                </a:cubicBezTo>
                <a:cubicBezTo>
                  <a:pt x="4951979" y="1750192"/>
                  <a:pt x="4952832" y="1748058"/>
                  <a:pt x="4954112" y="1747489"/>
                </a:cubicBezTo>
                <a:close/>
                <a:moveTo>
                  <a:pt x="1786643" y="1747253"/>
                </a:moveTo>
                <a:cubicBezTo>
                  <a:pt x="1790773" y="1751280"/>
                  <a:pt x="1795109" y="1750196"/>
                  <a:pt x="1796659" y="1755152"/>
                </a:cubicBezTo>
                <a:cubicBezTo>
                  <a:pt x="1791806" y="1762897"/>
                  <a:pt x="1782099" y="1759180"/>
                  <a:pt x="1782512" y="1753294"/>
                </a:cubicBezTo>
                <a:lnTo>
                  <a:pt x="1783029" y="1751900"/>
                </a:lnTo>
                <a:lnTo>
                  <a:pt x="1782719" y="1751125"/>
                </a:lnTo>
                <a:lnTo>
                  <a:pt x="1783235" y="1751125"/>
                </a:lnTo>
                <a:lnTo>
                  <a:pt x="1783545" y="1750351"/>
                </a:lnTo>
                <a:cubicBezTo>
                  <a:pt x="1784268" y="1749266"/>
                  <a:pt x="1785300" y="1748182"/>
                  <a:pt x="1786643" y="1747253"/>
                </a:cubicBezTo>
                <a:close/>
                <a:moveTo>
                  <a:pt x="1008194" y="1746788"/>
                </a:moveTo>
                <a:lnTo>
                  <a:pt x="1010672" y="1749266"/>
                </a:lnTo>
                <a:cubicBezTo>
                  <a:pt x="1009743" y="1750041"/>
                  <a:pt x="1007988" y="1750970"/>
                  <a:pt x="1007265" y="1750196"/>
                </a:cubicBezTo>
                <a:cubicBezTo>
                  <a:pt x="1006438" y="1749731"/>
                  <a:pt x="1006438" y="1749421"/>
                  <a:pt x="1006748" y="1748802"/>
                </a:cubicBezTo>
                <a:cubicBezTo>
                  <a:pt x="1007162" y="1748337"/>
                  <a:pt x="1007678" y="1747562"/>
                  <a:pt x="1008194" y="1746788"/>
                </a:cubicBezTo>
                <a:close/>
                <a:moveTo>
                  <a:pt x="4751151" y="1746777"/>
                </a:moveTo>
                <a:cubicBezTo>
                  <a:pt x="4759687" y="1747489"/>
                  <a:pt x="4770145" y="1753322"/>
                  <a:pt x="4773346" y="1760577"/>
                </a:cubicBezTo>
                <a:lnTo>
                  <a:pt x="4773560" y="1765130"/>
                </a:lnTo>
                <a:lnTo>
                  <a:pt x="4774200" y="1765130"/>
                </a:lnTo>
                <a:cubicBezTo>
                  <a:pt x="4774413" y="1765272"/>
                  <a:pt x="4774626" y="1765557"/>
                  <a:pt x="4775267" y="1765699"/>
                </a:cubicBezTo>
                <a:cubicBezTo>
                  <a:pt x="4776761" y="1766126"/>
                  <a:pt x="4782950" y="1764988"/>
                  <a:pt x="4783590" y="1763423"/>
                </a:cubicBezTo>
                <a:cubicBezTo>
                  <a:pt x="4784017" y="1764419"/>
                  <a:pt x="4785511" y="1764845"/>
                  <a:pt x="4785511" y="1764845"/>
                </a:cubicBezTo>
                <a:cubicBezTo>
                  <a:pt x="4785084" y="1766410"/>
                  <a:pt x="4784017" y="1767122"/>
                  <a:pt x="4782950" y="1767691"/>
                </a:cubicBezTo>
                <a:cubicBezTo>
                  <a:pt x="4781456" y="1767406"/>
                  <a:pt x="4781029" y="1766268"/>
                  <a:pt x="4779322" y="1765984"/>
                </a:cubicBezTo>
                <a:cubicBezTo>
                  <a:pt x="4778468" y="1766553"/>
                  <a:pt x="4776334" y="1767833"/>
                  <a:pt x="4774840" y="1767406"/>
                </a:cubicBezTo>
                <a:lnTo>
                  <a:pt x="4773560" y="1766979"/>
                </a:lnTo>
                <a:lnTo>
                  <a:pt x="4773560" y="1768118"/>
                </a:lnTo>
                <a:cubicBezTo>
                  <a:pt x="4763315" y="1768829"/>
                  <a:pt x="4751791" y="1766979"/>
                  <a:pt x="4739839" y="1757021"/>
                </a:cubicBezTo>
                <a:cubicBezTo>
                  <a:pt x="4738985" y="1748911"/>
                  <a:pt x="4744535" y="1746209"/>
                  <a:pt x="4751151" y="1746777"/>
                </a:cubicBezTo>
                <a:close/>
                <a:moveTo>
                  <a:pt x="4662795" y="1746777"/>
                </a:moveTo>
                <a:lnTo>
                  <a:pt x="4660874" y="1747062"/>
                </a:lnTo>
                <a:lnTo>
                  <a:pt x="4663221" y="1747204"/>
                </a:lnTo>
                <a:lnTo>
                  <a:pt x="4663008" y="1746777"/>
                </a:lnTo>
                <a:close/>
                <a:moveTo>
                  <a:pt x="3837287" y="1746635"/>
                </a:moveTo>
                <a:cubicBezTo>
                  <a:pt x="3841982" y="1749196"/>
                  <a:pt x="3843263" y="1750476"/>
                  <a:pt x="3845824" y="1755313"/>
                </a:cubicBezTo>
                <a:cubicBezTo>
                  <a:pt x="3844330" y="1758728"/>
                  <a:pt x="3841982" y="1761004"/>
                  <a:pt x="3839421" y="1762712"/>
                </a:cubicBezTo>
                <a:lnTo>
                  <a:pt x="3836860" y="1763850"/>
                </a:lnTo>
                <a:lnTo>
                  <a:pt x="3836860" y="1766979"/>
                </a:lnTo>
                <a:lnTo>
                  <a:pt x="3834299" y="1769967"/>
                </a:lnTo>
                <a:lnTo>
                  <a:pt x="3848171" y="1761147"/>
                </a:lnTo>
                <a:cubicBezTo>
                  <a:pt x="3850732" y="1759866"/>
                  <a:pt x="3853507" y="1759012"/>
                  <a:pt x="3856708" y="1758443"/>
                </a:cubicBezTo>
                <a:cubicBezTo>
                  <a:pt x="3859910" y="1758017"/>
                  <a:pt x="3863324" y="1757874"/>
                  <a:pt x="3867379" y="1758586"/>
                </a:cubicBezTo>
                <a:cubicBezTo>
                  <a:pt x="3868873" y="1762142"/>
                  <a:pt x="3874422" y="1765557"/>
                  <a:pt x="3870794" y="1769967"/>
                </a:cubicBezTo>
                <a:cubicBezTo>
                  <a:pt x="3858202" y="1763707"/>
                  <a:pt x="3847744" y="1776369"/>
                  <a:pt x="3838141" y="1772813"/>
                </a:cubicBezTo>
                <a:lnTo>
                  <a:pt x="3834085" y="1770251"/>
                </a:lnTo>
                <a:lnTo>
                  <a:pt x="3832165" y="1772386"/>
                </a:lnTo>
                <a:cubicBezTo>
                  <a:pt x="3831311" y="1773808"/>
                  <a:pt x="3830671" y="1775373"/>
                  <a:pt x="3829604" y="1776369"/>
                </a:cubicBezTo>
                <a:cubicBezTo>
                  <a:pt x="3828750" y="1777365"/>
                  <a:pt x="3827470" y="1777792"/>
                  <a:pt x="3825976" y="1777080"/>
                </a:cubicBezTo>
                <a:cubicBezTo>
                  <a:pt x="3826402" y="1773240"/>
                  <a:pt x="3826829" y="1770678"/>
                  <a:pt x="3828110" y="1766410"/>
                </a:cubicBezTo>
                <a:cubicBezTo>
                  <a:pt x="3828110" y="1766410"/>
                  <a:pt x="3828537" y="1766126"/>
                  <a:pt x="3828750" y="1765557"/>
                </a:cubicBezTo>
                <a:lnTo>
                  <a:pt x="3829390" y="1764845"/>
                </a:lnTo>
                <a:lnTo>
                  <a:pt x="3825336" y="1760862"/>
                </a:lnTo>
                <a:cubicBezTo>
                  <a:pt x="3823628" y="1755598"/>
                  <a:pt x="3833019" y="1750903"/>
                  <a:pt x="3837287" y="1746635"/>
                </a:cubicBezTo>
                <a:close/>
                <a:moveTo>
                  <a:pt x="1248574" y="1746478"/>
                </a:moveTo>
                <a:cubicBezTo>
                  <a:pt x="1248988" y="1751280"/>
                  <a:pt x="1251569" y="1754378"/>
                  <a:pt x="1254563" y="1756856"/>
                </a:cubicBezTo>
                <a:lnTo>
                  <a:pt x="1257971" y="1759645"/>
                </a:lnTo>
                <a:lnTo>
                  <a:pt x="1258694" y="1758870"/>
                </a:lnTo>
                <a:cubicBezTo>
                  <a:pt x="1258900" y="1758715"/>
                  <a:pt x="1258900" y="1758715"/>
                  <a:pt x="1258487" y="1758715"/>
                </a:cubicBezTo>
                <a:cubicBezTo>
                  <a:pt x="1260449" y="1757166"/>
                  <a:pt x="1262514" y="1754843"/>
                  <a:pt x="1264166" y="1755772"/>
                </a:cubicBezTo>
                <a:cubicBezTo>
                  <a:pt x="1266334" y="1757941"/>
                  <a:pt x="1265405" y="1761348"/>
                  <a:pt x="1263753" y="1764291"/>
                </a:cubicBezTo>
                <a:lnTo>
                  <a:pt x="1263443" y="1764756"/>
                </a:lnTo>
                <a:lnTo>
                  <a:pt x="1265095" y="1767544"/>
                </a:lnTo>
                <a:cubicBezTo>
                  <a:pt x="1265508" y="1768783"/>
                  <a:pt x="1265715" y="1770023"/>
                  <a:pt x="1265612" y="1771571"/>
                </a:cubicBezTo>
                <a:lnTo>
                  <a:pt x="1264166" y="1777612"/>
                </a:lnTo>
                <a:lnTo>
                  <a:pt x="1266025" y="1777922"/>
                </a:lnTo>
                <a:cubicBezTo>
                  <a:pt x="1265715" y="1780865"/>
                  <a:pt x="1264166" y="1781640"/>
                  <a:pt x="1262204" y="1781795"/>
                </a:cubicBezTo>
                <a:lnTo>
                  <a:pt x="1261998" y="1781640"/>
                </a:lnTo>
                <a:lnTo>
                  <a:pt x="1259210" y="1785047"/>
                </a:lnTo>
                <a:lnTo>
                  <a:pt x="1265405" y="1786596"/>
                </a:lnTo>
                <a:cubicBezTo>
                  <a:pt x="1267573" y="1787371"/>
                  <a:pt x="1269742" y="1788455"/>
                  <a:pt x="1271600" y="1789230"/>
                </a:cubicBezTo>
                <a:cubicBezTo>
                  <a:pt x="1275525" y="1790934"/>
                  <a:pt x="1279551" y="1792947"/>
                  <a:pt x="1280894" y="1795580"/>
                </a:cubicBezTo>
                <a:lnTo>
                  <a:pt x="1280894" y="1795890"/>
                </a:lnTo>
                <a:lnTo>
                  <a:pt x="1282959" y="1797284"/>
                </a:lnTo>
                <a:cubicBezTo>
                  <a:pt x="1285437" y="1799453"/>
                  <a:pt x="1286573" y="1802086"/>
                  <a:pt x="1283062" y="1804409"/>
                </a:cubicBezTo>
                <a:lnTo>
                  <a:pt x="1278519" y="1801312"/>
                </a:lnTo>
                <a:lnTo>
                  <a:pt x="1277073" y="1803170"/>
                </a:lnTo>
                <a:cubicBezTo>
                  <a:pt x="1275008" y="1804100"/>
                  <a:pt x="1272427" y="1804564"/>
                  <a:pt x="1269639" y="1804255"/>
                </a:cubicBezTo>
                <a:lnTo>
                  <a:pt x="1268709" y="1804100"/>
                </a:lnTo>
                <a:lnTo>
                  <a:pt x="1269019" y="1814323"/>
                </a:lnTo>
                <a:lnTo>
                  <a:pt x="1269329" y="1817266"/>
                </a:lnTo>
                <a:lnTo>
                  <a:pt x="1270258" y="1817730"/>
                </a:lnTo>
                <a:cubicBezTo>
                  <a:pt x="1271084" y="1818660"/>
                  <a:pt x="1271704" y="1819589"/>
                  <a:pt x="1272943" y="1820054"/>
                </a:cubicBezTo>
                <a:cubicBezTo>
                  <a:pt x="1272324" y="1820673"/>
                  <a:pt x="1271600" y="1821758"/>
                  <a:pt x="1270465" y="1822377"/>
                </a:cubicBezTo>
                <a:lnTo>
                  <a:pt x="1269948" y="1822532"/>
                </a:lnTo>
                <a:lnTo>
                  <a:pt x="1269948" y="1822997"/>
                </a:lnTo>
                <a:lnTo>
                  <a:pt x="1269535" y="1822687"/>
                </a:lnTo>
                <a:lnTo>
                  <a:pt x="1268503" y="1822997"/>
                </a:lnTo>
                <a:cubicBezTo>
                  <a:pt x="1267677" y="1823152"/>
                  <a:pt x="1266748" y="1823152"/>
                  <a:pt x="1265715" y="1822842"/>
                </a:cubicBezTo>
                <a:cubicBezTo>
                  <a:pt x="1264476" y="1822377"/>
                  <a:pt x="1264476" y="1822377"/>
                  <a:pt x="1264063" y="1821603"/>
                </a:cubicBezTo>
                <a:cubicBezTo>
                  <a:pt x="1263237" y="1820983"/>
                  <a:pt x="1262617" y="1820519"/>
                  <a:pt x="1262101" y="1820054"/>
                </a:cubicBezTo>
                <a:lnTo>
                  <a:pt x="1261998" y="1819589"/>
                </a:lnTo>
                <a:lnTo>
                  <a:pt x="1260552" y="1819280"/>
                </a:lnTo>
                <a:cubicBezTo>
                  <a:pt x="1257455" y="1818969"/>
                  <a:pt x="1254254" y="1819124"/>
                  <a:pt x="1251156" y="1819280"/>
                </a:cubicBezTo>
                <a:lnTo>
                  <a:pt x="1251053" y="1820983"/>
                </a:lnTo>
                <a:cubicBezTo>
                  <a:pt x="1250330" y="1822377"/>
                  <a:pt x="1249400" y="1823771"/>
                  <a:pt x="1249194" y="1825166"/>
                </a:cubicBezTo>
                <a:cubicBezTo>
                  <a:pt x="1245373" y="1824546"/>
                  <a:pt x="1243412" y="1822377"/>
                  <a:pt x="1242895" y="1820209"/>
                </a:cubicBezTo>
                <a:lnTo>
                  <a:pt x="1243102" y="1818195"/>
                </a:lnTo>
                <a:lnTo>
                  <a:pt x="1241450" y="1817576"/>
                </a:lnTo>
                <a:cubicBezTo>
                  <a:pt x="1240211" y="1817111"/>
                  <a:pt x="1238971" y="1816181"/>
                  <a:pt x="1237836" y="1815097"/>
                </a:cubicBezTo>
                <a:cubicBezTo>
                  <a:pt x="1229059" y="1807043"/>
                  <a:pt x="1230814" y="1796510"/>
                  <a:pt x="1236803" y="1790004"/>
                </a:cubicBezTo>
                <a:lnTo>
                  <a:pt x="1237320" y="1789539"/>
                </a:lnTo>
                <a:lnTo>
                  <a:pt x="1235151" y="1788300"/>
                </a:lnTo>
                <a:lnTo>
                  <a:pt x="1235048" y="1790004"/>
                </a:lnTo>
                <a:cubicBezTo>
                  <a:pt x="1234119" y="1791398"/>
                  <a:pt x="1232363" y="1792018"/>
                  <a:pt x="1229678" y="1791243"/>
                </a:cubicBezTo>
                <a:cubicBezTo>
                  <a:pt x="1229059" y="1790159"/>
                  <a:pt x="1229162" y="1788300"/>
                  <a:pt x="1229575" y="1786596"/>
                </a:cubicBezTo>
                <a:lnTo>
                  <a:pt x="1230814" y="1784738"/>
                </a:lnTo>
                <a:lnTo>
                  <a:pt x="1228027" y="1779936"/>
                </a:lnTo>
                <a:cubicBezTo>
                  <a:pt x="1227820" y="1778697"/>
                  <a:pt x="1227613" y="1777302"/>
                  <a:pt x="1227613" y="1775753"/>
                </a:cubicBezTo>
                <a:cubicBezTo>
                  <a:pt x="1227613" y="1774359"/>
                  <a:pt x="1227923" y="1772656"/>
                  <a:pt x="1228233" y="1770952"/>
                </a:cubicBezTo>
                <a:cubicBezTo>
                  <a:pt x="1229575" y="1766305"/>
                  <a:pt x="1232776" y="1762742"/>
                  <a:pt x="1236494" y="1759025"/>
                </a:cubicBezTo>
                <a:lnTo>
                  <a:pt x="1239075" y="1756546"/>
                </a:lnTo>
                <a:lnTo>
                  <a:pt x="1239385" y="1755462"/>
                </a:lnTo>
                <a:cubicBezTo>
                  <a:pt x="1239695" y="1754223"/>
                  <a:pt x="1240107" y="1752984"/>
                  <a:pt x="1240727" y="1752364"/>
                </a:cubicBezTo>
                <a:cubicBezTo>
                  <a:pt x="1241140" y="1751900"/>
                  <a:pt x="1241553" y="1751745"/>
                  <a:pt x="1242173" y="1751900"/>
                </a:cubicBezTo>
                <a:lnTo>
                  <a:pt x="1241863" y="1754068"/>
                </a:lnTo>
                <a:lnTo>
                  <a:pt x="1242482" y="1753448"/>
                </a:lnTo>
                <a:cubicBezTo>
                  <a:pt x="1244547" y="1751435"/>
                  <a:pt x="1246612" y="1749111"/>
                  <a:pt x="1248574" y="1746478"/>
                </a:cubicBezTo>
                <a:close/>
                <a:moveTo>
                  <a:pt x="3509901" y="1746351"/>
                </a:moveTo>
                <a:cubicBezTo>
                  <a:pt x="3521639" y="1750334"/>
                  <a:pt x="3526761" y="1765984"/>
                  <a:pt x="3527188" y="1774378"/>
                </a:cubicBezTo>
                <a:lnTo>
                  <a:pt x="3521852" y="1771106"/>
                </a:lnTo>
                <a:lnTo>
                  <a:pt x="3519718" y="1772101"/>
                </a:lnTo>
                <a:lnTo>
                  <a:pt x="3529109" y="1775089"/>
                </a:lnTo>
                <a:cubicBezTo>
                  <a:pt x="3533164" y="1777080"/>
                  <a:pt x="3537005" y="1779357"/>
                  <a:pt x="3540207" y="1782060"/>
                </a:cubicBezTo>
                <a:lnTo>
                  <a:pt x="3542768" y="1784905"/>
                </a:lnTo>
                <a:lnTo>
                  <a:pt x="3546396" y="1785474"/>
                </a:lnTo>
                <a:lnTo>
                  <a:pt x="3544688" y="1786897"/>
                </a:lnTo>
                <a:lnTo>
                  <a:pt x="3548530" y="1791165"/>
                </a:lnTo>
                <a:cubicBezTo>
                  <a:pt x="3550451" y="1794438"/>
                  <a:pt x="3551944" y="1797994"/>
                  <a:pt x="3552158" y="1801551"/>
                </a:cubicBezTo>
                <a:lnTo>
                  <a:pt x="3551732" y="1803827"/>
                </a:lnTo>
                <a:lnTo>
                  <a:pt x="3552372" y="1803685"/>
                </a:lnTo>
                <a:cubicBezTo>
                  <a:pt x="3552372" y="1803685"/>
                  <a:pt x="3553865" y="1804254"/>
                  <a:pt x="3553865" y="1804254"/>
                </a:cubicBezTo>
                <a:cubicBezTo>
                  <a:pt x="3559201" y="1805819"/>
                  <a:pt x="3563256" y="1811652"/>
                  <a:pt x="3563043" y="1814355"/>
                </a:cubicBezTo>
                <a:cubicBezTo>
                  <a:pt x="3561335" y="1817485"/>
                  <a:pt x="3557494" y="1820330"/>
                  <a:pt x="3553012" y="1818339"/>
                </a:cubicBezTo>
                <a:lnTo>
                  <a:pt x="3551304" y="1817058"/>
                </a:lnTo>
                <a:lnTo>
                  <a:pt x="3551091" y="1817200"/>
                </a:lnTo>
                <a:cubicBezTo>
                  <a:pt x="3550237" y="1818197"/>
                  <a:pt x="3549170" y="1819050"/>
                  <a:pt x="3547463" y="1819761"/>
                </a:cubicBezTo>
                <a:cubicBezTo>
                  <a:pt x="3544688" y="1819050"/>
                  <a:pt x="3543194" y="1817200"/>
                  <a:pt x="3542128" y="1815066"/>
                </a:cubicBezTo>
                <a:lnTo>
                  <a:pt x="3539566" y="1811083"/>
                </a:lnTo>
                <a:lnTo>
                  <a:pt x="3531670" y="1810087"/>
                </a:lnTo>
                <a:lnTo>
                  <a:pt x="3531457" y="1811652"/>
                </a:lnTo>
                <a:lnTo>
                  <a:pt x="3530816" y="1813359"/>
                </a:lnTo>
                <a:lnTo>
                  <a:pt x="3531883" y="1813502"/>
                </a:lnTo>
                <a:cubicBezTo>
                  <a:pt x="3531457" y="1817343"/>
                  <a:pt x="3532310" y="1820899"/>
                  <a:pt x="3532737" y="1824029"/>
                </a:cubicBezTo>
                <a:lnTo>
                  <a:pt x="3532097" y="1829720"/>
                </a:lnTo>
                <a:lnTo>
                  <a:pt x="3538286" y="1826591"/>
                </a:lnTo>
                <a:cubicBezTo>
                  <a:pt x="3544475" y="1824314"/>
                  <a:pt x="3547676" y="1825736"/>
                  <a:pt x="3548743" y="1828724"/>
                </a:cubicBezTo>
                <a:cubicBezTo>
                  <a:pt x="3551518" y="1835553"/>
                  <a:pt x="3544261" y="1850206"/>
                  <a:pt x="3538286" y="1849211"/>
                </a:cubicBezTo>
                <a:cubicBezTo>
                  <a:pt x="3535725" y="1848641"/>
                  <a:pt x="3533377" y="1845796"/>
                  <a:pt x="3532097" y="1838683"/>
                </a:cubicBezTo>
                <a:lnTo>
                  <a:pt x="3531243" y="1831712"/>
                </a:lnTo>
                <a:lnTo>
                  <a:pt x="3527188" y="1833135"/>
                </a:lnTo>
                <a:cubicBezTo>
                  <a:pt x="3526334" y="1831143"/>
                  <a:pt x="3525054" y="1826306"/>
                  <a:pt x="3524840" y="1821895"/>
                </a:cubicBezTo>
                <a:lnTo>
                  <a:pt x="3524840" y="1821611"/>
                </a:lnTo>
                <a:lnTo>
                  <a:pt x="3523987" y="1822464"/>
                </a:lnTo>
                <a:cubicBezTo>
                  <a:pt x="3520999" y="1824029"/>
                  <a:pt x="3513103" y="1826448"/>
                  <a:pt x="3513956" y="1824314"/>
                </a:cubicBezTo>
                <a:lnTo>
                  <a:pt x="3512889" y="1823460"/>
                </a:lnTo>
                <a:lnTo>
                  <a:pt x="3510115" y="1823176"/>
                </a:lnTo>
                <a:lnTo>
                  <a:pt x="3509901" y="1822891"/>
                </a:lnTo>
                <a:lnTo>
                  <a:pt x="3509688" y="1822891"/>
                </a:lnTo>
                <a:lnTo>
                  <a:pt x="3509261" y="1821753"/>
                </a:lnTo>
                <a:lnTo>
                  <a:pt x="3506700" y="1816489"/>
                </a:lnTo>
                <a:lnTo>
                  <a:pt x="3507767" y="1815208"/>
                </a:lnTo>
                <a:lnTo>
                  <a:pt x="3506700" y="1811225"/>
                </a:lnTo>
                <a:lnTo>
                  <a:pt x="3510541" y="1804681"/>
                </a:lnTo>
                <a:lnTo>
                  <a:pt x="3502432" y="1800982"/>
                </a:lnTo>
                <a:lnTo>
                  <a:pt x="3490694" y="1791734"/>
                </a:lnTo>
                <a:lnTo>
                  <a:pt x="3474047" y="1801267"/>
                </a:lnTo>
                <a:cubicBezTo>
                  <a:pt x="3474473" y="1794011"/>
                  <a:pt x="3478102" y="1785332"/>
                  <a:pt x="3483864" y="1778077"/>
                </a:cubicBezTo>
                <a:lnTo>
                  <a:pt x="3493468" y="1768971"/>
                </a:lnTo>
                <a:lnTo>
                  <a:pt x="3493041" y="1767833"/>
                </a:lnTo>
                <a:cubicBezTo>
                  <a:pt x="3491974" y="1764988"/>
                  <a:pt x="3491974" y="1762000"/>
                  <a:pt x="3494749" y="1761289"/>
                </a:cubicBezTo>
                <a:cubicBezTo>
                  <a:pt x="3496029" y="1761289"/>
                  <a:pt x="3497096" y="1761858"/>
                  <a:pt x="3497736" y="1762854"/>
                </a:cubicBezTo>
                <a:lnTo>
                  <a:pt x="3498376" y="1766695"/>
                </a:lnTo>
                <a:lnTo>
                  <a:pt x="3505846" y="1763565"/>
                </a:lnTo>
                <a:lnTo>
                  <a:pt x="3506486" y="1763707"/>
                </a:lnTo>
                <a:lnTo>
                  <a:pt x="3512035" y="1760720"/>
                </a:lnTo>
                <a:lnTo>
                  <a:pt x="3512889" y="1760720"/>
                </a:lnTo>
                <a:lnTo>
                  <a:pt x="3510115" y="1753606"/>
                </a:lnTo>
                <a:cubicBezTo>
                  <a:pt x="3509474" y="1750903"/>
                  <a:pt x="3509474" y="1748342"/>
                  <a:pt x="3509901" y="1746351"/>
                </a:cubicBezTo>
                <a:close/>
                <a:moveTo>
                  <a:pt x="896058" y="1745704"/>
                </a:moveTo>
                <a:cubicBezTo>
                  <a:pt x="896781" y="1744000"/>
                  <a:pt x="898639" y="1744465"/>
                  <a:pt x="900394" y="1745858"/>
                </a:cubicBezTo>
                <a:cubicBezTo>
                  <a:pt x="904938" y="1747717"/>
                  <a:pt x="905970" y="1750196"/>
                  <a:pt x="903492" y="1752984"/>
                </a:cubicBezTo>
                <a:cubicBezTo>
                  <a:pt x="902666" y="1753139"/>
                  <a:pt x="899982" y="1752674"/>
                  <a:pt x="900085" y="1753448"/>
                </a:cubicBezTo>
                <a:cubicBezTo>
                  <a:pt x="898020" y="1751900"/>
                  <a:pt x="895851" y="1749886"/>
                  <a:pt x="895645" y="1747717"/>
                </a:cubicBezTo>
                <a:cubicBezTo>
                  <a:pt x="895541" y="1747098"/>
                  <a:pt x="895645" y="1746323"/>
                  <a:pt x="896058" y="1745704"/>
                </a:cubicBezTo>
                <a:close/>
                <a:moveTo>
                  <a:pt x="4639745" y="1745639"/>
                </a:moveTo>
                <a:cubicBezTo>
                  <a:pt x="4640599" y="1745497"/>
                  <a:pt x="4641453" y="1745782"/>
                  <a:pt x="4642733" y="1746351"/>
                </a:cubicBezTo>
                <a:cubicBezTo>
                  <a:pt x="4646788" y="1750903"/>
                  <a:pt x="4644014" y="1755883"/>
                  <a:pt x="4643800" y="1762000"/>
                </a:cubicBezTo>
                <a:cubicBezTo>
                  <a:pt x="4642520" y="1762142"/>
                  <a:pt x="4641666" y="1763423"/>
                  <a:pt x="4641879" y="1764561"/>
                </a:cubicBezTo>
                <a:cubicBezTo>
                  <a:pt x="4640812" y="1765841"/>
                  <a:pt x="4639745" y="1767122"/>
                  <a:pt x="4641026" y="1767122"/>
                </a:cubicBezTo>
                <a:cubicBezTo>
                  <a:pt x="4638038" y="1770963"/>
                  <a:pt x="4638251" y="1772101"/>
                  <a:pt x="4634623" y="1771106"/>
                </a:cubicBezTo>
                <a:cubicBezTo>
                  <a:pt x="4634410" y="1761431"/>
                  <a:pt x="4637398" y="1750334"/>
                  <a:pt x="4638251" y="1747773"/>
                </a:cubicBezTo>
                <a:cubicBezTo>
                  <a:pt x="4638678" y="1746635"/>
                  <a:pt x="4639105" y="1745924"/>
                  <a:pt x="4639745" y="1745639"/>
                </a:cubicBezTo>
                <a:close/>
                <a:moveTo>
                  <a:pt x="1618722" y="1745587"/>
                </a:moveTo>
                <a:cubicBezTo>
                  <a:pt x="1621226" y="1744310"/>
                  <a:pt x="1624221" y="1745084"/>
                  <a:pt x="1625873" y="1747717"/>
                </a:cubicBezTo>
                <a:cubicBezTo>
                  <a:pt x="1626905" y="1749421"/>
                  <a:pt x="1627422" y="1752055"/>
                  <a:pt x="1626699" y="1755462"/>
                </a:cubicBezTo>
                <a:cubicBezTo>
                  <a:pt x="1623808" y="1758870"/>
                  <a:pt x="1615960" y="1758870"/>
                  <a:pt x="1614514" y="1755772"/>
                </a:cubicBezTo>
                <a:cubicBezTo>
                  <a:pt x="1614204" y="1750196"/>
                  <a:pt x="1616218" y="1746865"/>
                  <a:pt x="1618722" y="1745587"/>
                </a:cubicBezTo>
                <a:close/>
                <a:moveTo>
                  <a:pt x="4696728" y="1745355"/>
                </a:moveTo>
                <a:cubicBezTo>
                  <a:pt x="4697796" y="1745782"/>
                  <a:pt x="4699289" y="1746635"/>
                  <a:pt x="4701210" y="1747916"/>
                </a:cubicBezTo>
                <a:cubicBezTo>
                  <a:pt x="4704838" y="1750619"/>
                  <a:pt x="4708467" y="1755598"/>
                  <a:pt x="4709747" y="1756736"/>
                </a:cubicBezTo>
                <a:cubicBezTo>
                  <a:pt x="4711027" y="1758017"/>
                  <a:pt x="4712095" y="1758159"/>
                  <a:pt x="4712095" y="1758159"/>
                </a:cubicBezTo>
                <a:cubicBezTo>
                  <a:pt x="4711027" y="1760435"/>
                  <a:pt x="4697796" y="1750192"/>
                  <a:pt x="4694167" y="1747631"/>
                </a:cubicBezTo>
                <a:cubicBezTo>
                  <a:pt x="4694167" y="1746493"/>
                  <a:pt x="4694167" y="1746493"/>
                  <a:pt x="4694167" y="1746493"/>
                </a:cubicBezTo>
                <a:cubicBezTo>
                  <a:pt x="4694594" y="1745355"/>
                  <a:pt x="4695448" y="1745070"/>
                  <a:pt x="4696728" y="1745355"/>
                </a:cubicBezTo>
                <a:close/>
                <a:moveTo>
                  <a:pt x="5735869" y="1745212"/>
                </a:moveTo>
                <a:cubicBezTo>
                  <a:pt x="5751449" y="1748484"/>
                  <a:pt x="5739284" y="1759155"/>
                  <a:pt x="5735656" y="1766410"/>
                </a:cubicBezTo>
                <a:lnTo>
                  <a:pt x="5732028" y="1765272"/>
                </a:lnTo>
                <a:lnTo>
                  <a:pt x="5731387" y="1765557"/>
                </a:lnTo>
                <a:cubicBezTo>
                  <a:pt x="5726265" y="1767406"/>
                  <a:pt x="5721570" y="1763281"/>
                  <a:pt x="5722637" y="1758443"/>
                </a:cubicBezTo>
                <a:cubicBezTo>
                  <a:pt x="5723064" y="1756309"/>
                  <a:pt x="5724772" y="1754175"/>
                  <a:pt x="5727759" y="1752183"/>
                </a:cubicBezTo>
                <a:lnTo>
                  <a:pt x="5728613" y="1752753"/>
                </a:lnTo>
                <a:lnTo>
                  <a:pt x="5729253" y="1751330"/>
                </a:lnTo>
                <a:cubicBezTo>
                  <a:pt x="5731174" y="1748911"/>
                  <a:pt x="5733522" y="1747062"/>
                  <a:pt x="5735869" y="1745212"/>
                </a:cubicBezTo>
                <a:close/>
                <a:moveTo>
                  <a:pt x="4628647" y="1744643"/>
                </a:moveTo>
                <a:cubicBezTo>
                  <a:pt x="4629501" y="1747916"/>
                  <a:pt x="4630568" y="1752326"/>
                  <a:pt x="4630141" y="1754887"/>
                </a:cubicBezTo>
                <a:cubicBezTo>
                  <a:pt x="4628434" y="1753179"/>
                  <a:pt x="4626300" y="1749196"/>
                  <a:pt x="4627794" y="1746209"/>
                </a:cubicBezTo>
                <a:cubicBezTo>
                  <a:pt x="4627794" y="1746209"/>
                  <a:pt x="4627794" y="1746209"/>
                  <a:pt x="4628647" y="1744643"/>
                </a:cubicBezTo>
                <a:close/>
                <a:moveTo>
                  <a:pt x="5949716" y="1742794"/>
                </a:moveTo>
                <a:cubicBezTo>
                  <a:pt x="5950356" y="1742652"/>
                  <a:pt x="5951423" y="1742936"/>
                  <a:pt x="5952703" y="1744074"/>
                </a:cubicBezTo>
                <a:cubicBezTo>
                  <a:pt x="5955051" y="1745212"/>
                  <a:pt x="5955265" y="1746351"/>
                  <a:pt x="5953558" y="1750050"/>
                </a:cubicBezTo>
                <a:cubicBezTo>
                  <a:pt x="5951637" y="1752611"/>
                  <a:pt x="5950783" y="1755171"/>
                  <a:pt x="5949502" y="1755171"/>
                </a:cubicBezTo>
                <a:cubicBezTo>
                  <a:pt x="5949716" y="1756452"/>
                  <a:pt x="5948862" y="1757732"/>
                  <a:pt x="5948862" y="1758870"/>
                </a:cubicBezTo>
                <a:cubicBezTo>
                  <a:pt x="5948862" y="1758870"/>
                  <a:pt x="5948862" y="1758870"/>
                  <a:pt x="5947795" y="1759012"/>
                </a:cubicBezTo>
                <a:cubicBezTo>
                  <a:pt x="5948222" y="1754033"/>
                  <a:pt x="5946301" y="1748058"/>
                  <a:pt x="5948008" y="1744359"/>
                </a:cubicBezTo>
                <a:cubicBezTo>
                  <a:pt x="5948649" y="1743647"/>
                  <a:pt x="5949075" y="1743078"/>
                  <a:pt x="5949716" y="1742794"/>
                </a:cubicBezTo>
                <a:close/>
                <a:moveTo>
                  <a:pt x="4588311" y="1742509"/>
                </a:moveTo>
                <a:cubicBezTo>
                  <a:pt x="4588098" y="1743790"/>
                  <a:pt x="4589378" y="1743932"/>
                  <a:pt x="4589378" y="1743932"/>
                </a:cubicBezTo>
                <a:cubicBezTo>
                  <a:pt x="4589378" y="1743932"/>
                  <a:pt x="4589378" y="1743932"/>
                  <a:pt x="4589378" y="1742794"/>
                </a:cubicBezTo>
                <a:cubicBezTo>
                  <a:pt x="4590019" y="1743363"/>
                  <a:pt x="4589805" y="1744074"/>
                  <a:pt x="4589805" y="1744359"/>
                </a:cubicBezTo>
                <a:cubicBezTo>
                  <a:pt x="4589591" y="1744786"/>
                  <a:pt x="4589165" y="1745070"/>
                  <a:pt x="4589165" y="1745070"/>
                </a:cubicBezTo>
                <a:cubicBezTo>
                  <a:pt x="4588098" y="1746066"/>
                  <a:pt x="4586817" y="1747204"/>
                  <a:pt x="4585750" y="1745782"/>
                </a:cubicBezTo>
                <a:cubicBezTo>
                  <a:pt x="4585750" y="1745782"/>
                  <a:pt x="4585750" y="1744501"/>
                  <a:pt x="4588311" y="1742509"/>
                </a:cubicBezTo>
                <a:close/>
                <a:moveTo>
                  <a:pt x="1555452" y="1742296"/>
                </a:moveTo>
                <a:cubicBezTo>
                  <a:pt x="1556278" y="1742296"/>
                  <a:pt x="1557207" y="1742296"/>
                  <a:pt x="1557930" y="1743225"/>
                </a:cubicBezTo>
                <a:cubicBezTo>
                  <a:pt x="1558653" y="1744155"/>
                  <a:pt x="1557724" y="1744155"/>
                  <a:pt x="1558653" y="1744155"/>
                </a:cubicBezTo>
                <a:cubicBezTo>
                  <a:pt x="1559376" y="1745084"/>
                  <a:pt x="1559479" y="1744155"/>
                  <a:pt x="1559479" y="1744155"/>
                </a:cubicBezTo>
                <a:cubicBezTo>
                  <a:pt x="1559479" y="1744155"/>
                  <a:pt x="1559376" y="1745084"/>
                  <a:pt x="1559376" y="1745084"/>
                </a:cubicBezTo>
                <a:cubicBezTo>
                  <a:pt x="1559376" y="1745084"/>
                  <a:pt x="1559376" y="1745084"/>
                  <a:pt x="1560821" y="1746788"/>
                </a:cubicBezTo>
                <a:cubicBezTo>
                  <a:pt x="1563093" y="1748647"/>
                  <a:pt x="1564022" y="1748647"/>
                  <a:pt x="1565674" y="1749576"/>
                </a:cubicBezTo>
                <a:cubicBezTo>
                  <a:pt x="1567120" y="1751435"/>
                  <a:pt x="1566913" y="1752210"/>
                  <a:pt x="1568256" y="1754843"/>
                </a:cubicBezTo>
                <a:cubicBezTo>
                  <a:pt x="1567120" y="1756546"/>
                  <a:pt x="1567120" y="1756546"/>
                  <a:pt x="1566294" y="1756391"/>
                </a:cubicBezTo>
                <a:cubicBezTo>
                  <a:pt x="1567120" y="1756546"/>
                  <a:pt x="1567017" y="1757321"/>
                  <a:pt x="1567739" y="1758250"/>
                </a:cubicBezTo>
                <a:lnTo>
                  <a:pt x="1569495" y="1760419"/>
                </a:lnTo>
                <a:lnTo>
                  <a:pt x="1571560" y="1760419"/>
                </a:lnTo>
                <a:cubicBezTo>
                  <a:pt x="1572386" y="1760574"/>
                  <a:pt x="1573315" y="1760729"/>
                  <a:pt x="1574451" y="1761813"/>
                </a:cubicBezTo>
                <a:cubicBezTo>
                  <a:pt x="1573315" y="1763827"/>
                  <a:pt x="1571973" y="1764911"/>
                  <a:pt x="1570837" y="1766924"/>
                </a:cubicBezTo>
                <a:lnTo>
                  <a:pt x="1568462" y="1764601"/>
                </a:lnTo>
                <a:lnTo>
                  <a:pt x="1565158" y="1768938"/>
                </a:lnTo>
                <a:cubicBezTo>
                  <a:pt x="1564435" y="1768009"/>
                  <a:pt x="1562267" y="1770487"/>
                  <a:pt x="1560305" y="1771107"/>
                </a:cubicBezTo>
                <a:cubicBezTo>
                  <a:pt x="1557724" y="1770952"/>
                  <a:pt x="1555968" y="1770797"/>
                  <a:pt x="1554523" y="1769093"/>
                </a:cubicBezTo>
                <a:lnTo>
                  <a:pt x="1553490" y="1766150"/>
                </a:lnTo>
                <a:lnTo>
                  <a:pt x="1552561" y="1767234"/>
                </a:lnTo>
                <a:cubicBezTo>
                  <a:pt x="1551735" y="1767854"/>
                  <a:pt x="1550702" y="1768318"/>
                  <a:pt x="1550186" y="1769248"/>
                </a:cubicBezTo>
                <a:cubicBezTo>
                  <a:pt x="1549463" y="1768628"/>
                  <a:pt x="1548534" y="1767699"/>
                  <a:pt x="1547811" y="1766614"/>
                </a:cubicBezTo>
                <a:lnTo>
                  <a:pt x="1547708" y="1764291"/>
                </a:lnTo>
                <a:lnTo>
                  <a:pt x="1546469" y="1764601"/>
                </a:lnTo>
                <a:cubicBezTo>
                  <a:pt x="1543268" y="1763981"/>
                  <a:pt x="1539964" y="1760884"/>
                  <a:pt x="1540376" y="1756237"/>
                </a:cubicBezTo>
                <a:cubicBezTo>
                  <a:pt x="1541719" y="1755307"/>
                  <a:pt x="1543164" y="1754688"/>
                  <a:pt x="1544403" y="1754223"/>
                </a:cubicBezTo>
                <a:cubicBezTo>
                  <a:pt x="1545642" y="1753758"/>
                  <a:pt x="1546778" y="1753603"/>
                  <a:pt x="1547708" y="1753294"/>
                </a:cubicBezTo>
                <a:cubicBezTo>
                  <a:pt x="1549257" y="1755307"/>
                  <a:pt x="1550908" y="1756391"/>
                  <a:pt x="1552561" y="1758405"/>
                </a:cubicBezTo>
                <a:lnTo>
                  <a:pt x="1552458" y="1758715"/>
                </a:lnTo>
                <a:lnTo>
                  <a:pt x="1552664" y="1758715"/>
                </a:lnTo>
                <a:lnTo>
                  <a:pt x="1554006" y="1759799"/>
                </a:lnTo>
                <a:lnTo>
                  <a:pt x="1554626" y="1758095"/>
                </a:lnTo>
                <a:cubicBezTo>
                  <a:pt x="1557724" y="1754997"/>
                  <a:pt x="1560408" y="1754378"/>
                  <a:pt x="1563093" y="1754533"/>
                </a:cubicBezTo>
                <a:cubicBezTo>
                  <a:pt x="1563093" y="1754533"/>
                  <a:pt x="1563093" y="1754533"/>
                  <a:pt x="1562267" y="1754533"/>
                </a:cubicBezTo>
                <a:cubicBezTo>
                  <a:pt x="1559272" y="1750970"/>
                  <a:pt x="1554213" y="1744774"/>
                  <a:pt x="1555452" y="1742296"/>
                </a:cubicBezTo>
                <a:close/>
                <a:moveTo>
                  <a:pt x="1602227" y="1741831"/>
                </a:moveTo>
                <a:lnTo>
                  <a:pt x="1607287" y="1743845"/>
                </a:lnTo>
                <a:lnTo>
                  <a:pt x="1607803" y="1743070"/>
                </a:lnTo>
                <a:cubicBezTo>
                  <a:pt x="1610178" y="1744774"/>
                  <a:pt x="1610798" y="1749111"/>
                  <a:pt x="1610488" y="1753139"/>
                </a:cubicBezTo>
                <a:lnTo>
                  <a:pt x="1609662" y="1757321"/>
                </a:lnTo>
                <a:lnTo>
                  <a:pt x="1610074" y="1757476"/>
                </a:lnTo>
                <a:cubicBezTo>
                  <a:pt x="1610901" y="1757476"/>
                  <a:pt x="1611520" y="1757476"/>
                  <a:pt x="1612553" y="1757476"/>
                </a:cubicBezTo>
                <a:cubicBezTo>
                  <a:pt x="1614928" y="1758405"/>
                  <a:pt x="1615237" y="1759180"/>
                  <a:pt x="1617922" y="1760884"/>
                </a:cubicBezTo>
                <a:cubicBezTo>
                  <a:pt x="1617922" y="1762742"/>
                  <a:pt x="1618025" y="1762897"/>
                  <a:pt x="1617199" y="1763207"/>
                </a:cubicBezTo>
                <a:cubicBezTo>
                  <a:pt x="1618025" y="1762897"/>
                  <a:pt x="1618335" y="1763517"/>
                  <a:pt x="1619471" y="1763981"/>
                </a:cubicBezTo>
                <a:cubicBezTo>
                  <a:pt x="1622052" y="1764446"/>
                  <a:pt x="1623395" y="1765840"/>
                  <a:pt x="1624014" y="1767699"/>
                </a:cubicBezTo>
                <a:lnTo>
                  <a:pt x="1624014" y="1767854"/>
                </a:lnTo>
                <a:lnTo>
                  <a:pt x="1625873" y="1769248"/>
                </a:lnTo>
                <a:cubicBezTo>
                  <a:pt x="1629383" y="1773895"/>
                  <a:pt x="1630209" y="1780710"/>
                  <a:pt x="1624117" y="1788610"/>
                </a:cubicBezTo>
                <a:lnTo>
                  <a:pt x="1622981" y="1788610"/>
                </a:lnTo>
                <a:lnTo>
                  <a:pt x="1626699" y="1789694"/>
                </a:lnTo>
                <a:cubicBezTo>
                  <a:pt x="1627215" y="1791243"/>
                  <a:pt x="1627008" y="1792637"/>
                  <a:pt x="1626389" y="1793877"/>
                </a:cubicBezTo>
                <a:lnTo>
                  <a:pt x="1625047" y="1795115"/>
                </a:lnTo>
                <a:lnTo>
                  <a:pt x="1627422" y="1795425"/>
                </a:lnTo>
                <a:cubicBezTo>
                  <a:pt x="1627112" y="1797749"/>
                  <a:pt x="1627422" y="1799608"/>
                  <a:pt x="1626596" y="1801312"/>
                </a:cubicBezTo>
                <a:cubicBezTo>
                  <a:pt x="1624324" y="1802086"/>
                  <a:pt x="1622878" y="1801621"/>
                  <a:pt x="1622052" y="1800537"/>
                </a:cubicBezTo>
                <a:lnTo>
                  <a:pt x="1621949" y="1797439"/>
                </a:lnTo>
                <a:lnTo>
                  <a:pt x="1619677" y="1798368"/>
                </a:lnTo>
                <a:cubicBezTo>
                  <a:pt x="1620503" y="1801312"/>
                  <a:pt x="1619987" y="1805029"/>
                  <a:pt x="1617819" y="1807043"/>
                </a:cubicBezTo>
                <a:cubicBezTo>
                  <a:pt x="1613689" y="1804409"/>
                  <a:pt x="1611107" y="1801931"/>
                  <a:pt x="1611623" y="1798059"/>
                </a:cubicBezTo>
                <a:cubicBezTo>
                  <a:pt x="1611830" y="1796819"/>
                  <a:pt x="1612449" y="1795425"/>
                  <a:pt x="1613275" y="1793722"/>
                </a:cubicBezTo>
                <a:lnTo>
                  <a:pt x="1614721" y="1794031"/>
                </a:lnTo>
                <a:lnTo>
                  <a:pt x="1616270" y="1791708"/>
                </a:lnTo>
                <a:lnTo>
                  <a:pt x="1622568" y="1788455"/>
                </a:lnTo>
                <a:lnTo>
                  <a:pt x="1615340" y="1787680"/>
                </a:lnTo>
                <a:cubicBezTo>
                  <a:pt x="1607183" y="1785357"/>
                  <a:pt x="1601607" y="1779471"/>
                  <a:pt x="1602640" y="1772346"/>
                </a:cubicBezTo>
                <a:cubicBezTo>
                  <a:pt x="1603569" y="1769403"/>
                  <a:pt x="1605015" y="1767389"/>
                  <a:pt x="1606874" y="1765840"/>
                </a:cubicBezTo>
                <a:lnTo>
                  <a:pt x="1610694" y="1764446"/>
                </a:lnTo>
                <a:lnTo>
                  <a:pt x="1613275" y="1762742"/>
                </a:lnTo>
                <a:cubicBezTo>
                  <a:pt x="1613275" y="1762742"/>
                  <a:pt x="1613275" y="1762742"/>
                  <a:pt x="1612449" y="1763052"/>
                </a:cubicBezTo>
                <a:lnTo>
                  <a:pt x="1608009" y="1761193"/>
                </a:lnTo>
                <a:lnTo>
                  <a:pt x="1607287" y="1762278"/>
                </a:lnTo>
                <a:lnTo>
                  <a:pt x="1606770" y="1760574"/>
                </a:lnTo>
                <a:lnTo>
                  <a:pt x="1604189" y="1759489"/>
                </a:lnTo>
                <a:cubicBezTo>
                  <a:pt x="1601504" y="1758095"/>
                  <a:pt x="1599336" y="1756701"/>
                  <a:pt x="1599233" y="1755307"/>
                </a:cubicBezTo>
                <a:cubicBezTo>
                  <a:pt x="1599955" y="1754997"/>
                  <a:pt x="1600781" y="1754688"/>
                  <a:pt x="1601917" y="1755152"/>
                </a:cubicBezTo>
                <a:cubicBezTo>
                  <a:pt x="1603156" y="1755617"/>
                  <a:pt x="1602330" y="1755927"/>
                  <a:pt x="1603156" y="1755617"/>
                </a:cubicBezTo>
                <a:cubicBezTo>
                  <a:pt x="1604292" y="1756081"/>
                  <a:pt x="1603879" y="1755307"/>
                  <a:pt x="1603879" y="1755307"/>
                </a:cubicBezTo>
                <a:cubicBezTo>
                  <a:pt x="1603879" y="1755307"/>
                  <a:pt x="1604292" y="1756081"/>
                  <a:pt x="1604292" y="1756081"/>
                </a:cubicBezTo>
                <a:cubicBezTo>
                  <a:pt x="1604292" y="1756081"/>
                  <a:pt x="1604292" y="1756081"/>
                  <a:pt x="1604499" y="1756237"/>
                </a:cubicBezTo>
                <a:lnTo>
                  <a:pt x="1605531" y="1756546"/>
                </a:lnTo>
                <a:lnTo>
                  <a:pt x="1604499" y="1753139"/>
                </a:lnTo>
                <a:lnTo>
                  <a:pt x="1603466" y="1753913"/>
                </a:lnTo>
                <a:cubicBezTo>
                  <a:pt x="1601504" y="1753294"/>
                  <a:pt x="1600369" y="1752364"/>
                  <a:pt x="1599336" y="1751280"/>
                </a:cubicBezTo>
                <a:lnTo>
                  <a:pt x="1597477" y="1749421"/>
                </a:lnTo>
                <a:lnTo>
                  <a:pt x="1594896" y="1752519"/>
                </a:lnTo>
                <a:cubicBezTo>
                  <a:pt x="1593243" y="1754997"/>
                  <a:pt x="1591798" y="1757631"/>
                  <a:pt x="1589836" y="1760264"/>
                </a:cubicBezTo>
                <a:cubicBezTo>
                  <a:pt x="1588184" y="1760109"/>
                  <a:pt x="1586738" y="1759025"/>
                  <a:pt x="1584776" y="1756237"/>
                </a:cubicBezTo>
                <a:cubicBezTo>
                  <a:pt x="1592624" y="1752210"/>
                  <a:pt x="1584054" y="1747562"/>
                  <a:pt x="1590146" y="1744155"/>
                </a:cubicBezTo>
                <a:cubicBezTo>
                  <a:pt x="1592728" y="1743845"/>
                  <a:pt x="1595619" y="1742761"/>
                  <a:pt x="1598510" y="1743380"/>
                </a:cubicBezTo>
                <a:lnTo>
                  <a:pt x="1599130" y="1743690"/>
                </a:lnTo>
                <a:cubicBezTo>
                  <a:pt x="1600162" y="1742606"/>
                  <a:pt x="1601195" y="1742141"/>
                  <a:pt x="1602227" y="1741831"/>
                </a:cubicBezTo>
                <a:close/>
                <a:moveTo>
                  <a:pt x="1384124" y="1741328"/>
                </a:moveTo>
                <a:cubicBezTo>
                  <a:pt x="1386215" y="1741405"/>
                  <a:pt x="1388125" y="1743070"/>
                  <a:pt x="1388693" y="1745394"/>
                </a:cubicBezTo>
                <a:cubicBezTo>
                  <a:pt x="1389106" y="1746943"/>
                  <a:pt x="1388900" y="1748802"/>
                  <a:pt x="1387867" y="1750660"/>
                </a:cubicBezTo>
                <a:lnTo>
                  <a:pt x="1386731" y="1750506"/>
                </a:lnTo>
                <a:lnTo>
                  <a:pt x="1382085" y="1756546"/>
                </a:lnTo>
                <a:cubicBezTo>
                  <a:pt x="1380020" y="1757631"/>
                  <a:pt x="1377541" y="1757631"/>
                  <a:pt x="1374031" y="1756237"/>
                </a:cubicBezTo>
                <a:cubicBezTo>
                  <a:pt x="1373721" y="1755462"/>
                  <a:pt x="1373618" y="1754688"/>
                  <a:pt x="1373721" y="1754068"/>
                </a:cubicBezTo>
                <a:cubicBezTo>
                  <a:pt x="1373928" y="1751900"/>
                  <a:pt x="1375683" y="1750351"/>
                  <a:pt x="1377851" y="1749576"/>
                </a:cubicBezTo>
                <a:lnTo>
                  <a:pt x="1380742" y="1749111"/>
                </a:lnTo>
                <a:lnTo>
                  <a:pt x="1379916" y="1748492"/>
                </a:lnTo>
                <a:cubicBezTo>
                  <a:pt x="1379194" y="1748027"/>
                  <a:pt x="1378677" y="1747408"/>
                  <a:pt x="1378471" y="1746788"/>
                </a:cubicBezTo>
                <a:cubicBezTo>
                  <a:pt x="1379761" y="1742761"/>
                  <a:pt x="1382033" y="1741250"/>
                  <a:pt x="1384124" y="1741328"/>
                </a:cubicBezTo>
                <a:close/>
                <a:moveTo>
                  <a:pt x="1531497" y="1741212"/>
                </a:moveTo>
                <a:cubicBezTo>
                  <a:pt x="1530670" y="1744929"/>
                  <a:pt x="1523442" y="1751590"/>
                  <a:pt x="1517144" y="1748492"/>
                </a:cubicBezTo>
                <a:lnTo>
                  <a:pt x="1518899" y="1745704"/>
                </a:lnTo>
                <a:lnTo>
                  <a:pt x="1518693" y="1745704"/>
                </a:lnTo>
                <a:cubicBezTo>
                  <a:pt x="1518899" y="1745239"/>
                  <a:pt x="1518899" y="1744929"/>
                  <a:pt x="1519106" y="1744929"/>
                </a:cubicBezTo>
                <a:lnTo>
                  <a:pt x="1519415" y="1744929"/>
                </a:lnTo>
                <a:lnTo>
                  <a:pt x="1520035" y="1744155"/>
                </a:lnTo>
                <a:cubicBezTo>
                  <a:pt x="1523236" y="1740902"/>
                  <a:pt x="1527470" y="1741367"/>
                  <a:pt x="1531497" y="1741212"/>
                </a:cubicBezTo>
                <a:close/>
                <a:moveTo>
                  <a:pt x="1751639" y="1741057"/>
                </a:moveTo>
                <a:cubicBezTo>
                  <a:pt x="1755253" y="1741212"/>
                  <a:pt x="1757731" y="1741367"/>
                  <a:pt x="1759486" y="1741986"/>
                </a:cubicBezTo>
                <a:cubicBezTo>
                  <a:pt x="1759693" y="1746633"/>
                  <a:pt x="1753084" y="1747562"/>
                  <a:pt x="1751329" y="1744929"/>
                </a:cubicBezTo>
                <a:cubicBezTo>
                  <a:pt x="1751019" y="1744465"/>
                  <a:pt x="1750916" y="1743845"/>
                  <a:pt x="1750916" y="1743225"/>
                </a:cubicBezTo>
                <a:cubicBezTo>
                  <a:pt x="1751019" y="1742606"/>
                  <a:pt x="1751123" y="1741831"/>
                  <a:pt x="1751639" y="1741057"/>
                </a:cubicBezTo>
                <a:close/>
                <a:moveTo>
                  <a:pt x="5176496" y="1740802"/>
                </a:moveTo>
                <a:cubicBezTo>
                  <a:pt x="5188661" y="1740091"/>
                  <a:pt x="5199759" y="1745355"/>
                  <a:pt x="5204027" y="1753891"/>
                </a:cubicBezTo>
                <a:cubicBezTo>
                  <a:pt x="5205307" y="1756736"/>
                  <a:pt x="5205948" y="1759724"/>
                  <a:pt x="5205521" y="1763138"/>
                </a:cubicBezTo>
                <a:lnTo>
                  <a:pt x="5204027" y="1765841"/>
                </a:lnTo>
                <a:lnTo>
                  <a:pt x="5203814" y="1768829"/>
                </a:lnTo>
                <a:cubicBezTo>
                  <a:pt x="5204881" y="1771390"/>
                  <a:pt x="5204667" y="1774946"/>
                  <a:pt x="5203174" y="1777080"/>
                </a:cubicBezTo>
                <a:cubicBezTo>
                  <a:pt x="5200826" y="1779072"/>
                  <a:pt x="5198478" y="1778645"/>
                  <a:pt x="5197411" y="1777365"/>
                </a:cubicBezTo>
                <a:lnTo>
                  <a:pt x="5195704" y="1774662"/>
                </a:lnTo>
                <a:lnTo>
                  <a:pt x="5192503" y="1775943"/>
                </a:lnTo>
                <a:lnTo>
                  <a:pt x="5192076" y="1777080"/>
                </a:lnTo>
                <a:cubicBezTo>
                  <a:pt x="5191222" y="1778219"/>
                  <a:pt x="5189728" y="1779215"/>
                  <a:pt x="5187807" y="1779072"/>
                </a:cubicBezTo>
                <a:cubicBezTo>
                  <a:pt x="5183539" y="1778645"/>
                  <a:pt x="5181618" y="1781491"/>
                  <a:pt x="5177563" y="1781207"/>
                </a:cubicBezTo>
                <a:cubicBezTo>
                  <a:pt x="5177563" y="1781207"/>
                  <a:pt x="5177563" y="1781207"/>
                  <a:pt x="5177777" y="1779499"/>
                </a:cubicBezTo>
                <a:cubicBezTo>
                  <a:pt x="5180551" y="1779072"/>
                  <a:pt x="5182898" y="1777650"/>
                  <a:pt x="5185246" y="1776227"/>
                </a:cubicBezTo>
                <a:lnTo>
                  <a:pt x="5187807" y="1775516"/>
                </a:lnTo>
                <a:lnTo>
                  <a:pt x="5182685" y="1774662"/>
                </a:lnTo>
                <a:cubicBezTo>
                  <a:pt x="5179697" y="1773381"/>
                  <a:pt x="5177136" y="1771248"/>
                  <a:pt x="5175002" y="1768544"/>
                </a:cubicBezTo>
                <a:cubicBezTo>
                  <a:pt x="5170094" y="1762285"/>
                  <a:pt x="5168813" y="1752468"/>
                  <a:pt x="5176496" y="1740802"/>
                </a:cubicBezTo>
                <a:close/>
                <a:moveTo>
                  <a:pt x="3944850" y="1740375"/>
                </a:moveTo>
                <a:cubicBezTo>
                  <a:pt x="3955735" y="1744928"/>
                  <a:pt x="3954881" y="1752753"/>
                  <a:pt x="3954881" y="1760150"/>
                </a:cubicBezTo>
                <a:cubicBezTo>
                  <a:pt x="3949973" y="1759012"/>
                  <a:pt x="3940795" y="1748911"/>
                  <a:pt x="3944850" y="1740375"/>
                </a:cubicBezTo>
                <a:close/>
                <a:moveTo>
                  <a:pt x="787742" y="1739818"/>
                </a:moveTo>
                <a:cubicBezTo>
                  <a:pt x="790220" y="1742606"/>
                  <a:pt x="789394" y="1745084"/>
                  <a:pt x="788465" y="1747408"/>
                </a:cubicBezTo>
                <a:cubicBezTo>
                  <a:pt x="787639" y="1748956"/>
                  <a:pt x="787639" y="1749886"/>
                  <a:pt x="788465" y="1751590"/>
                </a:cubicBezTo>
                <a:cubicBezTo>
                  <a:pt x="788465" y="1751590"/>
                  <a:pt x="788361" y="1751590"/>
                  <a:pt x="786606" y="1753139"/>
                </a:cubicBezTo>
                <a:lnTo>
                  <a:pt x="785780" y="1752984"/>
                </a:lnTo>
                <a:cubicBezTo>
                  <a:pt x="785367" y="1752674"/>
                  <a:pt x="785161" y="1752055"/>
                  <a:pt x="785058" y="1751125"/>
                </a:cubicBezTo>
                <a:cubicBezTo>
                  <a:pt x="784851" y="1748337"/>
                  <a:pt x="785987" y="1743690"/>
                  <a:pt x="785987" y="1743070"/>
                </a:cubicBezTo>
                <a:cubicBezTo>
                  <a:pt x="785987" y="1743070"/>
                  <a:pt x="785987" y="1742141"/>
                  <a:pt x="785987" y="1741367"/>
                </a:cubicBezTo>
                <a:cubicBezTo>
                  <a:pt x="786813" y="1740592"/>
                  <a:pt x="787742" y="1740747"/>
                  <a:pt x="787742" y="1739818"/>
                </a:cubicBezTo>
                <a:close/>
                <a:moveTo>
                  <a:pt x="4669411" y="1739664"/>
                </a:moveTo>
                <a:cubicBezTo>
                  <a:pt x="4669411" y="1739664"/>
                  <a:pt x="4669624" y="1739664"/>
                  <a:pt x="4670264" y="1739664"/>
                </a:cubicBezTo>
                <a:cubicBezTo>
                  <a:pt x="4670904" y="1739806"/>
                  <a:pt x="4671758" y="1739948"/>
                  <a:pt x="4673252" y="1740660"/>
                </a:cubicBezTo>
                <a:cubicBezTo>
                  <a:pt x="4672185" y="1741087"/>
                  <a:pt x="4672399" y="1742225"/>
                  <a:pt x="4672399" y="1742225"/>
                </a:cubicBezTo>
                <a:cubicBezTo>
                  <a:pt x="4672399" y="1742225"/>
                  <a:pt x="4672399" y="1742225"/>
                  <a:pt x="4673466" y="1741798"/>
                </a:cubicBezTo>
                <a:cubicBezTo>
                  <a:pt x="4673039" y="1742652"/>
                  <a:pt x="4672612" y="1742794"/>
                  <a:pt x="4672185" y="1742794"/>
                </a:cubicBezTo>
                <a:cubicBezTo>
                  <a:pt x="4671758" y="1742794"/>
                  <a:pt x="4671331" y="1742652"/>
                  <a:pt x="4671331" y="1742652"/>
                </a:cubicBezTo>
                <a:cubicBezTo>
                  <a:pt x="4669838" y="1741940"/>
                  <a:pt x="4668557" y="1741229"/>
                  <a:pt x="4669411" y="1739664"/>
                </a:cubicBezTo>
                <a:close/>
                <a:moveTo>
                  <a:pt x="5048231" y="1739237"/>
                </a:moveTo>
                <a:cubicBezTo>
                  <a:pt x="5060182" y="1739664"/>
                  <a:pt x="5071707" y="1753037"/>
                  <a:pt x="5072134" y="1761715"/>
                </a:cubicBezTo>
                <a:lnTo>
                  <a:pt x="5071067" y="1761289"/>
                </a:lnTo>
                <a:lnTo>
                  <a:pt x="5071067" y="1762427"/>
                </a:lnTo>
                <a:cubicBezTo>
                  <a:pt x="5071067" y="1764419"/>
                  <a:pt x="5070213" y="1765984"/>
                  <a:pt x="5067865" y="1766979"/>
                </a:cubicBezTo>
                <a:cubicBezTo>
                  <a:pt x="5065304" y="1765699"/>
                  <a:pt x="5064024" y="1763281"/>
                  <a:pt x="5064237" y="1761004"/>
                </a:cubicBezTo>
                <a:lnTo>
                  <a:pt x="5065731" y="1759724"/>
                </a:lnTo>
                <a:lnTo>
                  <a:pt x="5063810" y="1759155"/>
                </a:lnTo>
                <a:lnTo>
                  <a:pt x="5059329" y="1755456"/>
                </a:lnTo>
                <a:lnTo>
                  <a:pt x="5058902" y="1762427"/>
                </a:lnTo>
                <a:cubicBezTo>
                  <a:pt x="5055701" y="1767122"/>
                  <a:pt x="5045883" y="1763281"/>
                  <a:pt x="5039907" y="1762996"/>
                </a:cubicBezTo>
                <a:cubicBezTo>
                  <a:pt x="5038840" y="1757874"/>
                  <a:pt x="5038840" y="1756167"/>
                  <a:pt x="5040975" y="1751046"/>
                </a:cubicBezTo>
                <a:cubicBezTo>
                  <a:pt x="5044816" y="1750050"/>
                  <a:pt x="5048018" y="1750192"/>
                  <a:pt x="5051005" y="1751046"/>
                </a:cubicBezTo>
                <a:lnTo>
                  <a:pt x="5056981" y="1753606"/>
                </a:lnTo>
                <a:lnTo>
                  <a:pt x="5056767" y="1753322"/>
                </a:lnTo>
                <a:cubicBezTo>
                  <a:pt x="5052499" y="1748769"/>
                  <a:pt x="5049511" y="1743220"/>
                  <a:pt x="5048231" y="1739237"/>
                </a:cubicBezTo>
                <a:close/>
                <a:moveTo>
                  <a:pt x="5005974" y="1739237"/>
                </a:moveTo>
                <a:cubicBezTo>
                  <a:pt x="5007894" y="1745497"/>
                  <a:pt x="5000425" y="1751188"/>
                  <a:pt x="4995089" y="1749765"/>
                </a:cubicBezTo>
                <a:cubicBezTo>
                  <a:pt x="4993382" y="1749338"/>
                  <a:pt x="4991888" y="1748058"/>
                  <a:pt x="4991034" y="1745782"/>
                </a:cubicBezTo>
                <a:cubicBezTo>
                  <a:pt x="4992315" y="1738383"/>
                  <a:pt x="4999144" y="1741514"/>
                  <a:pt x="5005974" y="1739237"/>
                </a:cubicBezTo>
                <a:close/>
                <a:moveTo>
                  <a:pt x="5519035" y="1739095"/>
                </a:moveTo>
                <a:cubicBezTo>
                  <a:pt x="5520102" y="1738953"/>
                  <a:pt x="5521169" y="1739095"/>
                  <a:pt x="5521809" y="1739664"/>
                </a:cubicBezTo>
                <a:cubicBezTo>
                  <a:pt x="5524157" y="1741087"/>
                  <a:pt x="5520956" y="1744359"/>
                  <a:pt x="5520956" y="1745639"/>
                </a:cubicBezTo>
                <a:cubicBezTo>
                  <a:pt x="5519888" y="1746777"/>
                  <a:pt x="5518608" y="1747916"/>
                  <a:pt x="5517541" y="1746635"/>
                </a:cubicBezTo>
                <a:cubicBezTo>
                  <a:pt x="5516260" y="1745355"/>
                  <a:pt x="5515193" y="1745355"/>
                  <a:pt x="5516260" y="1742936"/>
                </a:cubicBezTo>
                <a:cubicBezTo>
                  <a:pt x="5516047" y="1741798"/>
                  <a:pt x="5517328" y="1740660"/>
                  <a:pt x="5517114" y="1739522"/>
                </a:cubicBezTo>
                <a:cubicBezTo>
                  <a:pt x="5517114" y="1739522"/>
                  <a:pt x="5517968" y="1739237"/>
                  <a:pt x="5519035" y="1739095"/>
                </a:cubicBezTo>
                <a:close/>
                <a:moveTo>
                  <a:pt x="1004270" y="1738578"/>
                </a:moveTo>
                <a:cubicBezTo>
                  <a:pt x="1005199" y="1739353"/>
                  <a:pt x="1005199" y="1738578"/>
                  <a:pt x="1006026" y="1738578"/>
                </a:cubicBezTo>
                <a:lnTo>
                  <a:pt x="1006748" y="1739663"/>
                </a:lnTo>
                <a:lnTo>
                  <a:pt x="1007368" y="1739198"/>
                </a:lnTo>
                <a:cubicBezTo>
                  <a:pt x="1009123" y="1738114"/>
                  <a:pt x="1009123" y="1738269"/>
                  <a:pt x="1010053" y="1738888"/>
                </a:cubicBezTo>
                <a:cubicBezTo>
                  <a:pt x="1010982" y="1739663"/>
                  <a:pt x="1010259" y="1742296"/>
                  <a:pt x="1011189" y="1743070"/>
                </a:cubicBezTo>
                <a:cubicBezTo>
                  <a:pt x="1011189" y="1743070"/>
                  <a:pt x="1011189" y="1743070"/>
                  <a:pt x="1009433" y="1744155"/>
                </a:cubicBezTo>
                <a:lnTo>
                  <a:pt x="1007884" y="1743845"/>
                </a:lnTo>
                <a:lnTo>
                  <a:pt x="1007471" y="1746013"/>
                </a:lnTo>
                <a:cubicBezTo>
                  <a:pt x="1005613" y="1747717"/>
                  <a:pt x="1002825" y="1750351"/>
                  <a:pt x="1000346" y="1748802"/>
                </a:cubicBezTo>
                <a:cubicBezTo>
                  <a:pt x="1000346" y="1747872"/>
                  <a:pt x="999521" y="1748027"/>
                  <a:pt x="999521" y="1747098"/>
                </a:cubicBezTo>
                <a:cubicBezTo>
                  <a:pt x="999521" y="1747098"/>
                  <a:pt x="999107" y="1746323"/>
                  <a:pt x="999107" y="1745084"/>
                </a:cubicBezTo>
                <a:cubicBezTo>
                  <a:pt x="999004" y="1743845"/>
                  <a:pt x="999314" y="1742141"/>
                  <a:pt x="1000656" y="1740437"/>
                </a:cubicBezTo>
                <a:cubicBezTo>
                  <a:pt x="1001586" y="1739663"/>
                  <a:pt x="1004373" y="1737804"/>
                  <a:pt x="1004270" y="1738578"/>
                </a:cubicBezTo>
                <a:close/>
                <a:moveTo>
                  <a:pt x="5799895" y="1738099"/>
                </a:moveTo>
                <a:cubicBezTo>
                  <a:pt x="5818036" y="1739237"/>
                  <a:pt x="5836817" y="1760293"/>
                  <a:pt x="5831694" y="1778361"/>
                </a:cubicBezTo>
                <a:cubicBezTo>
                  <a:pt x="5823371" y="1781349"/>
                  <a:pt x="5815048" y="1780210"/>
                  <a:pt x="5808219" y="1776227"/>
                </a:cubicBezTo>
                <a:cubicBezTo>
                  <a:pt x="5796481" y="1769683"/>
                  <a:pt x="5788584" y="1755740"/>
                  <a:pt x="5789651" y="1741229"/>
                </a:cubicBezTo>
                <a:cubicBezTo>
                  <a:pt x="5791145" y="1740945"/>
                  <a:pt x="5792852" y="1740517"/>
                  <a:pt x="5792212" y="1738953"/>
                </a:cubicBezTo>
                <a:cubicBezTo>
                  <a:pt x="5794773" y="1738241"/>
                  <a:pt x="5797334" y="1737957"/>
                  <a:pt x="5799895" y="1738099"/>
                </a:cubicBezTo>
                <a:close/>
                <a:moveTo>
                  <a:pt x="5103080" y="1738099"/>
                </a:moveTo>
                <a:cubicBezTo>
                  <a:pt x="5103933" y="1740233"/>
                  <a:pt x="5105854" y="1741798"/>
                  <a:pt x="5106708" y="1743932"/>
                </a:cubicBezTo>
                <a:lnTo>
                  <a:pt x="5106281" y="1744786"/>
                </a:lnTo>
                <a:lnTo>
                  <a:pt x="5107135" y="1743932"/>
                </a:lnTo>
                <a:cubicBezTo>
                  <a:pt x="5110122" y="1745070"/>
                  <a:pt x="5112256" y="1746777"/>
                  <a:pt x="5113537" y="1749196"/>
                </a:cubicBezTo>
                <a:lnTo>
                  <a:pt x="5113751" y="1753606"/>
                </a:lnTo>
                <a:lnTo>
                  <a:pt x="5115884" y="1755029"/>
                </a:lnTo>
                <a:lnTo>
                  <a:pt x="5113964" y="1757732"/>
                </a:lnTo>
                <a:lnTo>
                  <a:pt x="5113964" y="1758443"/>
                </a:lnTo>
                <a:cubicBezTo>
                  <a:pt x="5109056" y="1762142"/>
                  <a:pt x="5103506" y="1757305"/>
                  <a:pt x="5100092" y="1755029"/>
                </a:cubicBezTo>
                <a:lnTo>
                  <a:pt x="5100945" y="1753037"/>
                </a:lnTo>
                <a:lnTo>
                  <a:pt x="5098385" y="1753179"/>
                </a:lnTo>
                <a:cubicBezTo>
                  <a:pt x="5097317" y="1753037"/>
                  <a:pt x="5096037" y="1752753"/>
                  <a:pt x="5094756" y="1752468"/>
                </a:cubicBezTo>
                <a:cubicBezTo>
                  <a:pt x="5094970" y="1749765"/>
                  <a:pt x="5092622" y="1747062"/>
                  <a:pt x="5093902" y="1743932"/>
                </a:cubicBezTo>
                <a:cubicBezTo>
                  <a:pt x="5093902" y="1743932"/>
                  <a:pt x="5094543" y="1742225"/>
                  <a:pt x="5096677" y="1741087"/>
                </a:cubicBezTo>
                <a:cubicBezTo>
                  <a:pt x="5099025" y="1737388"/>
                  <a:pt x="5103506" y="1739095"/>
                  <a:pt x="5103506" y="1739095"/>
                </a:cubicBezTo>
                <a:cubicBezTo>
                  <a:pt x="5103506" y="1739095"/>
                  <a:pt x="5103506" y="1739095"/>
                  <a:pt x="5103080" y="1738099"/>
                </a:cubicBezTo>
                <a:close/>
                <a:moveTo>
                  <a:pt x="5303694" y="1737957"/>
                </a:moveTo>
                <a:cubicBezTo>
                  <a:pt x="5305615" y="1736392"/>
                  <a:pt x="5306682" y="1739664"/>
                  <a:pt x="5307109" y="1741229"/>
                </a:cubicBezTo>
                <a:cubicBezTo>
                  <a:pt x="5304121" y="1739522"/>
                  <a:pt x="5302627" y="1740091"/>
                  <a:pt x="5303267" y="1738953"/>
                </a:cubicBezTo>
                <a:cubicBezTo>
                  <a:pt x="5302200" y="1738383"/>
                  <a:pt x="5302627" y="1737388"/>
                  <a:pt x="5303694" y="1737957"/>
                </a:cubicBezTo>
                <a:close/>
                <a:moveTo>
                  <a:pt x="3882532" y="1737815"/>
                </a:moveTo>
                <a:cubicBezTo>
                  <a:pt x="3882745" y="1739095"/>
                  <a:pt x="3884026" y="1741514"/>
                  <a:pt x="3883172" y="1742794"/>
                </a:cubicBezTo>
                <a:cubicBezTo>
                  <a:pt x="3882105" y="1744074"/>
                  <a:pt x="3882319" y="1744074"/>
                  <a:pt x="3879971" y="1744217"/>
                </a:cubicBezTo>
                <a:cubicBezTo>
                  <a:pt x="3880611" y="1740375"/>
                  <a:pt x="3880611" y="1740375"/>
                  <a:pt x="3882532" y="1737815"/>
                </a:cubicBezTo>
                <a:close/>
                <a:moveTo>
                  <a:pt x="5989839" y="1737388"/>
                </a:moveTo>
                <a:cubicBezTo>
                  <a:pt x="5991119" y="1738241"/>
                  <a:pt x="5991973" y="1739379"/>
                  <a:pt x="5992400" y="1740802"/>
                </a:cubicBezTo>
                <a:cubicBezTo>
                  <a:pt x="5993254" y="1742936"/>
                  <a:pt x="5993040" y="1745497"/>
                  <a:pt x="5992400" y="1747916"/>
                </a:cubicBezTo>
                <a:lnTo>
                  <a:pt x="5990479" y="1750761"/>
                </a:lnTo>
                <a:lnTo>
                  <a:pt x="5991119" y="1752326"/>
                </a:lnTo>
                <a:cubicBezTo>
                  <a:pt x="5983650" y="1761858"/>
                  <a:pt x="5977247" y="1755456"/>
                  <a:pt x="5978527" y="1748484"/>
                </a:cubicBezTo>
                <a:cubicBezTo>
                  <a:pt x="5978955" y="1746066"/>
                  <a:pt x="5980235" y="1743647"/>
                  <a:pt x="5982583" y="1741798"/>
                </a:cubicBezTo>
                <a:cubicBezTo>
                  <a:pt x="5983436" y="1741798"/>
                  <a:pt x="5984503" y="1742225"/>
                  <a:pt x="5985570" y="1742936"/>
                </a:cubicBezTo>
                <a:lnTo>
                  <a:pt x="5985784" y="1743220"/>
                </a:lnTo>
                <a:close/>
                <a:moveTo>
                  <a:pt x="5901696" y="1737103"/>
                </a:moveTo>
                <a:cubicBezTo>
                  <a:pt x="5902550" y="1737672"/>
                  <a:pt x="5903404" y="1738526"/>
                  <a:pt x="5904684" y="1739095"/>
                </a:cubicBezTo>
                <a:lnTo>
                  <a:pt x="5901270" y="1742509"/>
                </a:lnTo>
                <a:cubicBezTo>
                  <a:pt x="5899989" y="1741229"/>
                  <a:pt x="5898708" y="1738810"/>
                  <a:pt x="5899775" y="1737815"/>
                </a:cubicBezTo>
                <a:cubicBezTo>
                  <a:pt x="5900416" y="1736676"/>
                  <a:pt x="5901056" y="1736676"/>
                  <a:pt x="5901696" y="1737103"/>
                </a:cubicBezTo>
                <a:close/>
                <a:moveTo>
                  <a:pt x="965007" y="1736875"/>
                </a:moveTo>
                <a:cubicBezTo>
                  <a:pt x="969525" y="1738656"/>
                  <a:pt x="973706" y="1741831"/>
                  <a:pt x="976185" y="1744310"/>
                </a:cubicBezTo>
                <a:cubicBezTo>
                  <a:pt x="972158" y="1744155"/>
                  <a:pt x="968130" y="1744000"/>
                  <a:pt x="964103" y="1743225"/>
                </a:cubicBezTo>
                <a:cubicBezTo>
                  <a:pt x="960076" y="1742451"/>
                  <a:pt x="955946" y="1741057"/>
                  <a:pt x="951816" y="1737804"/>
                </a:cubicBezTo>
                <a:cubicBezTo>
                  <a:pt x="955637" y="1734706"/>
                  <a:pt x="960490" y="1735093"/>
                  <a:pt x="965007" y="1736875"/>
                </a:cubicBezTo>
                <a:close/>
                <a:moveTo>
                  <a:pt x="5740991" y="1735823"/>
                </a:moveTo>
                <a:cubicBezTo>
                  <a:pt x="5745900" y="1736676"/>
                  <a:pt x="5750809" y="1737388"/>
                  <a:pt x="5750595" y="1742509"/>
                </a:cubicBezTo>
                <a:cubicBezTo>
                  <a:pt x="5746327" y="1745924"/>
                  <a:pt x="5739711" y="1743220"/>
                  <a:pt x="5740991" y="1735823"/>
                </a:cubicBezTo>
                <a:close/>
                <a:moveTo>
                  <a:pt x="5789864" y="1735111"/>
                </a:moveTo>
                <a:cubicBezTo>
                  <a:pt x="5791998" y="1734969"/>
                  <a:pt x="5793493" y="1734827"/>
                  <a:pt x="5794773" y="1735111"/>
                </a:cubicBezTo>
                <a:cubicBezTo>
                  <a:pt x="5795840" y="1735396"/>
                  <a:pt x="5796907" y="1735965"/>
                  <a:pt x="5797974" y="1737388"/>
                </a:cubicBezTo>
                <a:cubicBezTo>
                  <a:pt x="5794773" y="1738241"/>
                  <a:pt x="5791998" y="1737957"/>
                  <a:pt x="5789864" y="1735111"/>
                </a:cubicBezTo>
                <a:close/>
                <a:moveTo>
                  <a:pt x="1724982" y="1734975"/>
                </a:moveTo>
                <a:cubicBezTo>
                  <a:pt x="1728774" y="1734115"/>
                  <a:pt x="1732356" y="1734551"/>
                  <a:pt x="1735118" y="1736875"/>
                </a:cubicBezTo>
                <a:cubicBezTo>
                  <a:pt x="1722210" y="1744620"/>
                  <a:pt x="1717771" y="1755772"/>
                  <a:pt x="1701663" y="1761658"/>
                </a:cubicBezTo>
                <a:cubicBezTo>
                  <a:pt x="1700346" y="1751783"/>
                  <a:pt x="1713608" y="1737552"/>
                  <a:pt x="1724982" y="1734975"/>
                </a:cubicBezTo>
                <a:close/>
                <a:moveTo>
                  <a:pt x="4736638" y="1734969"/>
                </a:moveTo>
                <a:lnTo>
                  <a:pt x="4735571" y="1735396"/>
                </a:lnTo>
                <a:lnTo>
                  <a:pt x="4735571" y="1735965"/>
                </a:lnTo>
                <a:close/>
                <a:moveTo>
                  <a:pt x="5468668" y="1734400"/>
                </a:moveTo>
                <a:cubicBezTo>
                  <a:pt x="5468668" y="1734400"/>
                  <a:pt x="5467387" y="1735538"/>
                  <a:pt x="5466106" y="1736818"/>
                </a:cubicBezTo>
                <a:cubicBezTo>
                  <a:pt x="5464826" y="1737957"/>
                  <a:pt x="5464826" y="1737957"/>
                  <a:pt x="5465893" y="1739237"/>
                </a:cubicBezTo>
                <a:cubicBezTo>
                  <a:pt x="5464613" y="1740517"/>
                  <a:pt x="5464613" y="1740517"/>
                  <a:pt x="5462265" y="1740517"/>
                </a:cubicBezTo>
                <a:cubicBezTo>
                  <a:pt x="5463546" y="1739237"/>
                  <a:pt x="5467601" y="1733119"/>
                  <a:pt x="5468668" y="1734400"/>
                </a:cubicBezTo>
                <a:close/>
                <a:moveTo>
                  <a:pt x="3882105" y="1734400"/>
                </a:moveTo>
                <a:cubicBezTo>
                  <a:pt x="3883172" y="1734258"/>
                  <a:pt x="3883386" y="1735538"/>
                  <a:pt x="3882532" y="1736961"/>
                </a:cubicBezTo>
                <a:cubicBezTo>
                  <a:pt x="3882532" y="1736961"/>
                  <a:pt x="3881465" y="1737103"/>
                  <a:pt x="3881465" y="1737103"/>
                </a:cubicBezTo>
                <a:cubicBezTo>
                  <a:pt x="3881251" y="1735680"/>
                  <a:pt x="3881038" y="1734400"/>
                  <a:pt x="3882105" y="1734400"/>
                </a:cubicBezTo>
                <a:close/>
                <a:moveTo>
                  <a:pt x="1645181" y="1734396"/>
                </a:moveTo>
                <a:cubicBezTo>
                  <a:pt x="1651377" y="1735635"/>
                  <a:pt x="1657572" y="1748027"/>
                  <a:pt x="1656333" y="1751280"/>
                </a:cubicBezTo>
                <a:cubicBezTo>
                  <a:pt x="1652823" y="1749886"/>
                  <a:pt x="1652100" y="1746478"/>
                  <a:pt x="1648176" y="1744310"/>
                </a:cubicBezTo>
                <a:cubicBezTo>
                  <a:pt x="1648589" y="1741367"/>
                  <a:pt x="1644356" y="1738423"/>
                  <a:pt x="1645181" y="1734396"/>
                </a:cubicBezTo>
                <a:close/>
                <a:moveTo>
                  <a:pt x="1796245" y="1734242"/>
                </a:moveTo>
                <a:cubicBezTo>
                  <a:pt x="1797072" y="1736565"/>
                  <a:pt x="1799756" y="1735171"/>
                  <a:pt x="1800272" y="1738269"/>
                </a:cubicBezTo>
                <a:cubicBezTo>
                  <a:pt x="1797278" y="1744155"/>
                  <a:pt x="1780241" y="1746168"/>
                  <a:pt x="1776524" y="1737804"/>
                </a:cubicBezTo>
                <a:cubicBezTo>
                  <a:pt x="1782719" y="1737339"/>
                  <a:pt x="1788501" y="1737649"/>
                  <a:pt x="1796245" y="1734242"/>
                </a:cubicBezTo>
                <a:close/>
                <a:moveTo>
                  <a:pt x="4748589" y="1734116"/>
                </a:moveTo>
                <a:cubicBezTo>
                  <a:pt x="4750296" y="1733831"/>
                  <a:pt x="4752004" y="1733973"/>
                  <a:pt x="4754565" y="1734116"/>
                </a:cubicBezTo>
                <a:cubicBezTo>
                  <a:pt x="4751151" y="1739095"/>
                  <a:pt x="4748803" y="1738810"/>
                  <a:pt x="4744535" y="1736961"/>
                </a:cubicBezTo>
                <a:cubicBezTo>
                  <a:pt x="4745815" y="1735253"/>
                  <a:pt x="4747095" y="1734400"/>
                  <a:pt x="4748589" y="1734116"/>
                </a:cubicBezTo>
                <a:close/>
                <a:moveTo>
                  <a:pt x="1260242" y="1733932"/>
                </a:moveTo>
                <a:cubicBezTo>
                  <a:pt x="1260965" y="1733467"/>
                  <a:pt x="1261688" y="1733467"/>
                  <a:pt x="1262411" y="1734396"/>
                </a:cubicBezTo>
                <a:cubicBezTo>
                  <a:pt x="1263237" y="1734861"/>
                  <a:pt x="1263340" y="1735480"/>
                  <a:pt x="1263443" y="1736255"/>
                </a:cubicBezTo>
                <a:lnTo>
                  <a:pt x="1264166" y="1738269"/>
                </a:lnTo>
                <a:lnTo>
                  <a:pt x="1264682" y="1736875"/>
                </a:lnTo>
                <a:cubicBezTo>
                  <a:pt x="1264992" y="1736100"/>
                  <a:pt x="1265612" y="1735480"/>
                  <a:pt x="1266438" y="1735325"/>
                </a:cubicBezTo>
                <a:cubicBezTo>
                  <a:pt x="1267057" y="1735016"/>
                  <a:pt x="1267677" y="1735016"/>
                  <a:pt x="1268606" y="1735171"/>
                </a:cubicBezTo>
                <a:cubicBezTo>
                  <a:pt x="1268606" y="1735171"/>
                  <a:pt x="1268606" y="1735171"/>
                  <a:pt x="1269019" y="1735790"/>
                </a:cubicBezTo>
                <a:cubicBezTo>
                  <a:pt x="1269948" y="1737184"/>
                  <a:pt x="1270362" y="1737804"/>
                  <a:pt x="1270878" y="1738578"/>
                </a:cubicBezTo>
                <a:lnTo>
                  <a:pt x="1270671" y="1738888"/>
                </a:lnTo>
                <a:lnTo>
                  <a:pt x="1275318" y="1738423"/>
                </a:lnTo>
                <a:lnTo>
                  <a:pt x="1279138" y="1740282"/>
                </a:lnTo>
                <a:lnTo>
                  <a:pt x="1279655" y="1739043"/>
                </a:lnTo>
                <a:cubicBezTo>
                  <a:pt x="1280687" y="1738269"/>
                  <a:pt x="1282133" y="1737804"/>
                  <a:pt x="1283475" y="1737649"/>
                </a:cubicBezTo>
                <a:cubicBezTo>
                  <a:pt x="1282752" y="1737959"/>
                  <a:pt x="1282752" y="1737959"/>
                  <a:pt x="1282752" y="1737959"/>
                </a:cubicBezTo>
                <a:cubicBezTo>
                  <a:pt x="1282546" y="1739043"/>
                  <a:pt x="1283269" y="1738733"/>
                  <a:pt x="1283682" y="1739508"/>
                </a:cubicBezTo>
                <a:cubicBezTo>
                  <a:pt x="1283682" y="1739508"/>
                  <a:pt x="1283269" y="1738733"/>
                  <a:pt x="1284507" y="1739043"/>
                </a:cubicBezTo>
                <a:cubicBezTo>
                  <a:pt x="1283682" y="1739508"/>
                  <a:pt x="1284198" y="1740127"/>
                  <a:pt x="1284611" y="1740902"/>
                </a:cubicBezTo>
                <a:cubicBezTo>
                  <a:pt x="1284095" y="1743225"/>
                  <a:pt x="1282752" y="1745858"/>
                  <a:pt x="1280791" y="1745858"/>
                </a:cubicBezTo>
                <a:lnTo>
                  <a:pt x="1279138" y="1744620"/>
                </a:lnTo>
                <a:lnTo>
                  <a:pt x="1278932" y="1746788"/>
                </a:lnTo>
                <a:cubicBezTo>
                  <a:pt x="1278829" y="1747562"/>
                  <a:pt x="1278415" y="1748337"/>
                  <a:pt x="1277590" y="1748802"/>
                </a:cubicBezTo>
                <a:lnTo>
                  <a:pt x="1274285" y="1751590"/>
                </a:lnTo>
                <a:lnTo>
                  <a:pt x="1275937" y="1752519"/>
                </a:lnTo>
                <a:cubicBezTo>
                  <a:pt x="1276557" y="1753139"/>
                  <a:pt x="1276970" y="1753758"/>
                  <a:pt x="1277073" y="1754688"/>
                </a:cubicBezTo>
                <a:cubicBezTo>
                  <a:pt x="1277073" y="1755152"/>
                  <a:pt x="1276867" y="1755772"/>
                  <a:pt x="1276557" y="1756546"/>
                </a:cubicBezTo>
                <a:cubicBezTo>
                  <a:pt x="1276557" y="1756546"/>
                  <a:pt x="1276557" y="1756546"/>
                  <a:pt x="1275731" y="1756856"/>
                </a:cubicBezTo>
                <a:cubicBezTo>
                  <a:pt x="1274079" y="1757166"/>
                  <a:pt x="1273253" y="1757476"/>
                  <a:pt x="1272427" y="1757631"/>
                </a:cubicBezTo>
                <a:cubicBezTo>
                  <a:pt x="1271910" y="1757321"/>
                  <a:pt x="1271084" y="1756701"/>
                  <a:pt x="1270362" y="1755927"/>
                </a:cubicBezTo>
                <a:lnTo>
                  <a:pt x="1269432" y="1754223"/>
                </a:lnTo>
                <a:lnTo>
                  <a:pt x="1268503" y="1754533"/>
                </a:lnTo>
                <a:cubicBezTo>
                  <a:pt x="1266128" y="1754688"/>
                  <a:pt x="1264166" y="1753448"/>
                  <a:pt x="1261275" y="1752055"/>
                </a:cubicBezTo>
                <a:cubicBezTo>
                  <a:pt x="1262204" y="1752055"/>
                  <a:pt x="1261481" y="1751125"/>
                  <a:pt x="1261481" y="1751125"/>
                </a:cubicBezTo>
                <a:cubicBezTo>
                  <a:pt x="1259933" y="1749421"/>
                  <a:pt x="1258280" y="1754378"/>
                  <a:pt x="1255905" y="1752519"/>
                </a:cubicBezTo>
                <a:cubicBezTo>
                  <a:pt x="1255080" y="1751745"/>
                  <a:pt x="1254563" y="1750660"/>
                  <a:pt x="1254357" y="1749576"/>
                </a:cubicBezTo>
                <a:cubicBezTo>
                  <a:pt x="1254150" y="1748492"/>
                  <a:pt x="1254150" y="1747408"/>
                  <a:pt x="1254357" y="1746168"/>
                </a:cubicBezTo>
                <a:cubicBezTo>
                  <a:pt x="1254666" y="1744000"/>
                  <a:pt x="1255699" y="1741831"/>
                  <a:pt x="1256422" y="1740282"/>
                </a:cubicBezTo>
                <a:lnTo>
                  <a:pt x="1257248" y="1738423"/>
                </a:lnTo>
                <a:lnTo>
                  <a:pt x="1256422" y="1738423"/>
                </a:lnTo>
                <a:lnTo>
                  <a:pt x="1257455" y="1737649"/>
                </a:lnTo>
                <a:lnTo>
                  <a:pt x="1257455" y="1737494"/>
                </a:lnTo>
                <a:cubicBezTo>
                  <a:pt x="1258384" y="1737494"/>
                  <a:pt x="1258487" y="1736720"/>
                  <a:pt x="1257661" y="1736565"/>
                </a:cubicBezTo>
                <a:cubicBezTo>
                  <a:pt x="1258694" y="1735480"/>
                  <a:pt x="1259520" y="1734396"/>
                  <a:pt x="1260242" y="1733932"/>
                </a:cubicBezTo>
                <a:close/>
                <a:moveTo>
                  <a:pt x="4662581" y="1733119"/>
                </a:moveTo>
                <a:cubicBezTo>
                  <a:pt x="4665142" y="1733546"/>
                  <a:pt x="4669624" y="1737103"/>
                  <a:pt x="4669197" y="1739806"/>
                </a:cubicBezTo>
                <a:lnTo>
                  <a:pt x="4666423" y="1738810"/>
                </a:lnTo>
                <a:lnTo>
                  <a:pt x="4668557" y="1740802"/>
                </a:lnTo>
                <a:cubicBezTo>
                  <a:pt x="4670051" y="1743078"/>
                  <a:pt x="4671118" y="1745782"/>
                  <a:pt x="4670691" y="1747916"/>
                </a:cubicBezTo>
                <a:lnTo>
                  <a:pt x="4667703" y="1747916"/>
                </a:lnTo>
                <a:lnTo>
                  <a:pt x="4673466" y="1749338"/>
                </a:lnTo>
                <a:cubicBezTo>
                  <a:pt x="4676027" y="1750050"/>
                  <a:pt x="4678374" y="1750476"/>
                  <a:pt x="4680722" y="1750334"/>
                </a:cubicBezTo>
                <a:cubicBezTo>
                  <a:pt x="4683923" y="1748911"/>
                  <a:pt x="4684563" y="1745212"/>
                  <a:pt x="4688405" y="1744359"/>
                </a:cubicBezTo>
                <a:cubicBezTo>
                  <a:pt x="4689685" y="1744217"/>
                  <a:pt x="4691393" y="1744074"/>
                  <a:pt x="4693527" y="1744643"/>
                </a:cubicBezTo>
                <a:cubicBezTo>
                  <a:pt x="4692033" y="1759012"/>
                  <a:pt x="4687551" y="1769541"/>
                  <a:pt x="4680295" y="1776654"/>
                </a:cubicBezTo>
                <a:cubicBezTo>
                  <a:pt x="4677947" y="1778930"/>
                  <a:pt x="4675173" y="1781064"/>
                  <a:pt x="4672185" y="1782629"/>
                </a:cubicBezTo>
                <a:cubicBezTo>
                  <a:pt x="4666209" y="1774946"/>
                  <a:pt x="4672399" y="1766695"/>
                  <a:pt x="4675386" y="1759582"/>
                </a:cubicBezTo>
                <a:cubicBezTo>
                  <a:pt x="4667276" y="1758443"/>
                  <a:pt x="4654898" y="1759012"/>
                  <a:pt x="4654685" y="1749623"/>
                </a:cubicBezTo>
                <a:lnTo>
                  <a:pt x="4659807" y="1747204"/>
                </a:lnTo>
                <a:lnTo>
                  <a:pt x="4659380" y="1742794"/>
                </a:lnTo>
                <a:lnTo>
                  <a:pt x="4660447" y="1741655"/>
                </a:lnTo>
                <a:lnTo>
                  <a:pt x="4659380" y="1739948"/>
                </a:lnTo>
                <a:cubicBezTo>
                  <a:pt x="4658740" y="1739095"/>
                  <a:pt x="4658313" y="1738526"/>
                  <a:pt x="4658313" y="1738526"/>
                </a:cubicBezTo>
                <a:cubicBezTo>
                  <a:pt x="4658953" y="1736961"/>
                  <a:pt x="4659380" y="1736107"/>
                  <a:pt x="4660020" y="1735823"/>
                </a:cubicBezTo>
                <a:lnTo>
                  <a:pt x="4661941" y="1735965"/>
                </a:lnTo>
                <a:close/>
                <a:moveTo>
                  <a:pt x="871792" y="1732692"/>
                </a:moveTo>
                <a:cubicBezTo>
                  <a:pt x="873135" y="1732692"/>
                  <a:pt x="874374" y="1733467"/>
                  <a:pt x="875303" y="1735325"/>
                </a:cubicBezTo>
                <a:cubicBezTo>
                  <a:pt x="870966" y="1738269"/>
                  <a:pt x="869108" y="1743070"/>
                  <a:pt x="865907" y="1743225"/>
                </a:cubicBezTo>
                <a:cubicBezTo>
                  <a:pt x="864874" y="1743225"/>
                  <a:pt x="863739" y="1742761"/>
                  <a:pt x="862293" y="1741522"/>
                </a:cubicBezTo>
                <a:cubicBezTo>
                  <a:pt x="862913" y="1739663"/>
                  <a:pt x="865700" y="1735635"/>
                  <a:pt x="868798" y="1733777"/>
                </a:cubicBezTo>
                <a:cubicBezTo>
                  <a:pt x="869727" y="1733002"/>
                  <a:pt x="870863" y="1732692"/>
                  <a:pt x="871792" y="1732692"/>
                </a:cubicBezTo>
                <a:close/>
                <a:moveTo>
                  <a:pt x="1426072" y="1732538"/>
                </a:moveTo>
                <a:cubicBezTo>
                  <a:pt x="1426588" y="1732538"/>
                  <a:pt x="1427414" y="1732692"/>
                  <a:pt x="1428860" y="1733157"/>
                </a:cubicBezTo>
                <a:cubicBezTo>
                  <a:pt x="1429996" y="1733777"/>
                  <a:pt x="1431338" y="1735480"/>
                  <a:pt x="1432474" y="1737339"/>
                </a:cubicBezTo>
                <a:cubicBezTo>
                  <a:pt x="1433610" y="1739198"/>
                  <a:pt x="1434332" y="1741212"/>
                  <a:pt x="1434023" y="1742606"/>
                </a:cubicBezTo>
                <a:cubicBezTo>
                  <a:pt x="1432164" y="1742141"/>
                  <a:pt x="1430202" y="1741831"/>
                  <a:pt x="1428343" y="1741367"/>
                </a:cubicBezTo>
                <a:cubicBezTo>
                  <a:pt x="1429169" y="1741212"/>
                  <a:pt x="1424833" y="1734242"/>
                  <a:pt x="1424833" y="1734242"/>
                </a:cubicBezTo>
                <a:cubicBezTo>
                  <a:pt x="1425349" y="1733157"/>
                  <a:pt x="1425556" y="1732692"/>
                  <a:pt x="1426072" y="1732538"/>
                </a:cubicBezTo>
                <a:close/>
                <a:moveTo>
                  <a:pt x="980728" y="1732073"/>
                </a:moveTo>
                <a:cubicBezTo>
                  <a:pt x="981657" y="1733622"/>
                  <a:pt x="979179" y="1736410"/>
                  <a:pt x="978456" y="1738269"/>
                </a:cubicBezTo>
                <a:cubicBezTo>
                  <a:pt x="977527" y="1737494"/>
                  <a:pt x="976701" y="1736875"/>
                  <a:pt x="976701" y="1737649"/>
                </a:cubicBezTo>
                <a:cubicBezTo>
                  <a:pt x="975771" y="1736875"/>
                  <a:pt x="975359" y="1736255"/>
                  <a:pt x="975152" y="1735325"/>
                </a:cubicBezTo>
                <a:cubicBezTo>
                  <a:pt x="975049" y="1734551"/>
                  <a:pt x="975152" y="1733622"/>
                  <a:pt x="975565" y="1732847"/>
                </a:cubicBezTo>
                <a:cubicBezTo>
                  <a:pt x="976391" y="1731918"/>
                  <a:pt x="978043" y="1731608"/>
                  <a:pt x="980728" y="1732073"/>
                </a:cubicBezTo>
                <a:close/>
                <a:moveTo>
                  <a:pt x="1632894" y="1731918"/>
                </a:moveTo>
                <a:cubicBezTo>
                  <a:pt x="1635475" y="1735016"/>
                  <a:pt x="1635889" y="1739818"/>
                  <a:pt x="1636508" y="1743380"/>
                </a:cubicBezTo>
                <a:cubicBezTo>
                  <a:pt x="1633101" y="1742141"/>
                  <a:pt x="1632481" y="1738578"/>
                  <a:pt x="1625563" y="1739973"/>
                </a:cubicBezTo>
                <a:cubicBezTo>
                  <a:pt x="1627318" y="1736410"/>
                  <a:pt x="1629590" y="1733622"/>
                  <a:pt x="1632894" y="1731918"/>
                </a:cubicBezTo>
                <a:close/>
                <a:moveTo>
                  <a:pt x="6297164" y="1731555"/>
                </a:moveTo>
                <a:cubicBezTo>
                  <a:pt x="6298657" y="1731555"/>
                  <a:pt x="6300151" y="1731697"/>
                  <a:pt x="6301859" y="1732266"/>
                </a:cubicBezTo>
                <a:cubicBezTo>
                  <a:pt x="6302712" y="1734969"/>
                  <a:pt x="6304206" y="1736961"/>
                  <a:pt x="6305700" y="1740517"/>
                </a:cubicBezTo>
                <a:cubicBezTo>
                  <a:pt x="6302926" y="1742652"/>
                  <a:pt x="6295456" y="1743932"/>
                  <a:pt x="6290761" y="1739806"/>
                </a:cubicBezTo>
                <a:cubicBezTo>
                  <a:pt x="6290547" y="1733973"/>
                  <a:pt x="6292895" y="1731555"/>
                  <a:pt x="6297164" y="1731555"/>
                </a:cubicBezTo>
                <a:close/>
                <a:moveTo>
                  <a:pt x="4763742" y="1730701"/>
                </a:moveTo>
                <a:cubicBezTo>
                  <a:pt x="4762889" y="1732266"/>
                  <a:pt x="4764596" y="1734116"/>
                  <a:pt x="4763742" y="1735680"/>
                </a:cubicBezTo>
                <a:cubicBezTo>
                  <a:pt x="4763742" y="1735680"/>
                  <a:pt x="4760754" y="1738099"/>
                  <a:pt x="4760754" y="1738099"/>
                </a:cubicBezTo>
                <a:cubicBezTo>
                  <a:pt x="4759260" y="1737388"/>
                  <a:pt x="4759260" y="1737388"/>
                  <a:pt x="4760327" y="1736961"/>
                </a:cubicBezTo>
                <a:cubicBezTo>
                  <a:pt x="4758620" y="1735111"/>
                  <a:pt x="4758407" y="1733973"/>
                  <a:pt x="4757980" y="1732835"/>
                </a:cubicBezTo>
                <a:cubicBezTo>
                  <a:pt x="4758834" y="1731270"/>
                  <a:pt x="4761181" y="1730274"/>
                  <a:pt x="4763742" y="1730701"/>
                </a:cubicBezTo>
                <a:close/>
                <a:moveTo>
                  <a:pt x="3890855" y="1730416"/>
                </a:moveTo>
                <a:cubicBezTo>
                  <a:pt x="3894697" y="1730416"/>
                  <a:pt x="3897045" y="1731981"/>
                  <a:pt x="3898325" y="1733973"/>
                </a:cubicBezTo>
                <a:cubicBezTo>
                  <a:pt x="3901740" y="1740375"/>
                  <a:pt x="3894697" y="1752326"/>
                  <a:pt x="3885733" y="1747062"/>
                </a:cubicBezTo>
                <a:cubicBezTo>
                  <a:pt x="3884239" y="1742794"/>
                  <a:pt x="3888081" y="1733119"/>
                  <a:pt x="3890855" y="1730416"/>
                </a:cubicBezTo>
                <a:close/>
                <a:moveTo>
                  <a:pt x="5538883" y="1729421"/>
                </a:moveTo>
                <a:cubicBezTo>
                  <a:pt x="5539523" y="1733973"/>
                  <a:pt x="5538883" y="1735965"/>
                  <a:pt x="5537602" y="1736534"/>
                </a:cubicBezTo>
                <a:cubicBezTo>
                  <a:pt x="5534401" y="1738241"/>
                  <a:pt x="5527358" y="1726860"/>
                  <a:pt x="5538883" y="1729421"/>
                </a:cubicBezTo>
                <a:close/>
                <a:moveTo>
                  <a:pt x="1045263" y="1728356"/>
                </a:moveTo>
                <a:cubicBezTo>
                  <a:pt x="1046192" y="1729130"/>
                  <a:pt x="1048877" y="1729130"/>
                  <a:pt x="1050632" y="1729904"/>
                </a:cubicBezTo>
                <a:cubicBezTo>
                  <a:pt x="1050632" y="1730679"/>
                  <a:pt x="1051458" y="1731453"/>
                  <a:pt x="1051458" y="1732228"/>
                </a:cubicBezTo>
                <a:cubicBezTo>
                  <a:pt x="1050529" y="1732228"/>
                  <a:pt x="1048670" y="1733157"/>
                  <a:pt x="1048670" y="1732228"/>
                </a:cubicBezTo>
                <a:cubicBezTo>
                  <a:pt x="1047844" y="1732383"/>
                  <a:pt x="1047844" y="1730679"/>
                  <a:pt x="1047844" y="1730679"/>
                </a:cubicBezTo>
                <a:cubicBezTo>
                  <a:pt x="1047018" y="1730834"/>
                  <a:pt x="1046089" y="1730834"/>
                  <a:pt x="1045263" y="1730059"/>
                </a:cubicBezTo>
                <a:cubicBezTo>
                  <a:pt x="1046192" y="1729130"/>
                  <a:pt x="1045263" y="1729285"/>
                  <a:pt x="1045263" y="1728356"/>
                </a:cubicBezTo>
                <a:close/>
                <a:moveTo>
                  <a:pt x="4922099" y="1728282"/>
                </a:moveTo>
                <a:cubicBezTo>
                  <a:pt x="4923594" y="1727998"/>
                  <a:pt x="4925087" y="1727998"/>
                  <a:pt x="4926795" y="1728282"/>
                </a:cubicBezTo>
                <a:cubicBezTo>
                  <a:pt x="4929782" y="1728709"/>
                  <a:pt x="4932770" y="1730132"/>
                  <a:pt x="4934905" y="1731128"/>
                </a:cubicBezTo>
                <a:lnTo>
                  <a:pt x="4937466" y="1732266"/>
                </a:lnTo>
                <a:lnTo>
                  <a:pt x="4937466" y="1731128"/>
                </a:lnTo>
                <a:lnTo>
                  <a:pt x="4938533" y="1732551"/>
                </a:lnTo>
                <a:lnTo>
                  <a:pt x="4938746" y="1732551"/>
                </a:lnTo>
                <a:cubicBezTo>
                  <a:pt x="4938746" y="1733831"/>
                  <a:pt x="4939813" y="1733973"/>
                  <a:pt x="4940027" y="1732835"/>
                </a:cubicBezTo>
                <a:cubicBezTo>
                  <a:pt x="4941521" y="1734258"/>
                  <a:pt x="4943015" y="1735396"/>
                  <a:pt x="4943655" y="1736392"/>
                </a:cubicBezTo>
                <a:cubicBezTo>
                  <a:pt x="4944296" y="1737388"/>
                  <a:pt x="4944296" y="1738383"/>
                  <a:pt x="4943015" y="1739379"/>
                </a:cubicBezTo>
                <a:cubicBezTo>
                  <a:pt x="4942374" y="1740517"/>
                  <a:pt x="4941521" y="1740660"/>
                  <a:pt x="4940453" y="1740802"/>
                </a:cubicBezTo>
                <a:lnTo>
                  <a:pt x="4937679" y="1741798"/>
                </a:lnTo>
                <a:lnTo>
                  <a:pt x="4939600" y="1742509"/>
                </a:lnTo>
                <a:cubicBezTo>
                  <a:pt x="4940667" y="1742936"/>
                  <a:pt x="4941521" y="1743790"/>
                  <a:pt x="4941734" y="1744928"/>
                </a:cubicBezTo>
                <a:cubicBezTo>
                  <a:pt x="4942161" y="1745782"/>
                  <a:pt x="4942161" y="1746635"/>
                  <a:pt x="4941948" y="1747916"/>
                </a:cubicBezTo>
                <a:cubicBezTo>
                  <a:pt x="4941948" y="1747916"/>
                  <a:pt x="4941948" y="1747916"/>
                  <a:pt x="4941094" y="1748484"/>
                </a:cubicBezTo>
                <a:cubicBezTo>
                  <a:pt x="4939173" y="1749765"/>
                  <a:pt x="4938320" y="1750334"/>
                  <a:pt x="4937253" y="1751046"/>
                </a:cubicBezTo>
                <a:lnTo>
                  <a:pt x="4936825" y="1750761"/>
                </a:lnTo>
                <a:lnTo>
                  <a:pt x="4937466" y="1757163"/>
                </a:lnTo>
                <a:lnTo>
                  <a:pt x="4934905" y="1762427"/>
                </a:lnTo>
                <a:lnTo>
                  <a:pt x="4936612" y="1763138"/>
                </a:lnTo>
                <a:cubicBezTo>
                  <a:pt x="4937679" y="1764561"/>
                  <a:pt x="4938320" y="1766553"/>
                  <a:pt x="4938533" y="1768402"/>
                </a:cubicBezTo>
                <a:cubicBezTo>
                  <a:pt x="4938106" y="1767406"/>
                  <a:pt x="4938106" y="1767406"/>
                  <a:pt x="4938106" y="1767406"/>
                </a:cubicBezTo>
                <a:cubicBezTo>
                  <a:pt x="4936612" y="1767122"/>
                  <a:pt x="4937039" y="1768118"/>
                  <a:pt x="4935972" y="1768687"/>
                </a:cubicBezTo>
                <a:cubicBezTo>
                  <a:pt x="4935972" y="1768687"/>
                  <a:pt x="4937039" y="1768118"/>
                  <a:pt x="4936612" y="1769825"/>
                </a:cubicBezTo>
                <a:cubicBezTo>
                  <a:pt x="4935972" y="1768687"/>
                  <a:pt x="4935118" y="1769398"/>
                  <a:pt x="4934051" y="1769967"/>
                </a:cubicBezTo>
                <a:cubicBezTo>
                  <a:pt x="4930850" y="1769256"/>
                  <a:pt x="4927222" y="1767406"/>
                  <a:pt x="4927222" y="1764704"/>
                </a:cubicBezTo>
                <a:lnTo>
                  <a:pt x="4928929" y="1762427"/>
                </a:lnTo>
                <a:lnTo>
                  <a:pt x="4925941" y="1762142"/>
                </a:lnTo>
                <a:cubicBezTo>
                  <a:pt x="4924874" y="1762000"/>
                  <a:pt x="4923807" y="1761431"/>
                  <a:pt x="4923167" y="1760293"/>
                </a:cubicBezTo>
                <a:lnTo>
                  <a:pt x="4919325" y="1755740"/>
                </a:lnTo>
                <a:lnTo>
                  <a:pt x="4918045" y="1758017"/>
                </a:lnTo>
                <a:cubicBezTo>
                  <a:pt x="4917191" y="1758870"/>
                  <a:pt x="4916337" y="1759440"/>
                  <a:pt x="4915057" y="1759582"/>
                </a:cubicBezTo>
                <a:cubicBezTo>
                  <a:pt x="4914416" y="1759582"/>
                  <a:pt x="4913563" y="1759297"/>
                  <a:pt x="4912496" y="1758870"/>
                </a:cubicBezTo>
                <a:cubicBezTo>
                  <a:pt x="4912496" y="1758870"/>
                  <a:pt x="4912496" y="1758870"/>
                  <a:pt x="4912069" y="1757732"/>
                </a:cubicBezTo>
                <a:cubicBezTo>
                  <a:pt x="4911642" y="1755456"/>
                  <a:pt x="4911215" y="1754318"/>
                  <a:pt x="4911002" y="1753179"/>
                </a:cubicBezTo>
                <a:cubicBezTo>
                  <a:pt x="4911428" y="1752468"/>
                  <a:pt x="4912283" y="1751330"/>
                  <a:pt x="4913349" y="1750334"/>
                </a:cubicBezTo>
                <a:lnTo>
                  <a:pt x="4915697" y="1749054"/>
                </a:lnTo>
                <a:lnTo>
                  <a:pt x="4915270" y="1747773"/>
                </a:lnTo>
                <a:cubicBezTo>
                  <a:pt x="4915057" y="1744501"/>
                  <a:pt x="4916764" y="1741798"/>
                  <a:pt x="4918685" y="1737815"/>
                </a:cubicBezTo>
                <a:cubicBezTo>
                  <a:pt x="4918685" y="1739095"/>
                  <a:pt x="4919966" y="1738099"/>
                  <a:pt x="4919966" y="1738099"/>
                </a:cubicBezTo>
                <a:cubicBezTo>
                  <a:pt x="4922313" y="1735965"/>
                  <a:pt x="4915483" y="1733688"/>
                  <a:pt x="4918045" y="1730416"/>
                </a:cubicBezTo>
                <a:cubicBezTo>
                  <a:pt x="4919111" y="1729279"/>
                  <a:pt x="4920606" y="1728567"/>
                  <a:pt x="4922099" y="1728282"/>
                </a:cubicBezTo>
                <a:close/>
                <a:moveTo>
                  <a:pt x="3881251" y="1728282"/>
                </a:moveTo>
                <a:cubicBezTo>
                  <a:pt x="3881251" y="1728282"/>
                  <a:pt x="3882532" y="1729563"/>
                  <a:pt x="3882532" y="1729563"/>
                </a:cubicBezTo>
                <a:cubicBezTo>
                  <a:pt x="3881678" y="1730843"/>
                  <a:pt x="3882745" y="1730843"/>
                  <a:pt x="3880611" y="1730986"/>
                </a:cubicBezTo>
                <a:cubicBezTo>
                  <a:pt x="3881465" y="1729563"/>
                  <a:pt x="3881465" y="1729563"/>
                  <a:pt x="3881251" y="1728282"/>
                </a:cubicBezTo>
                <a:close/>
                <a:moveTo>
                  <a:pt x="1184865" y="1728200"/>
                </a:moveTo>
                <a:cubicBezTo>
                  <a:pt x="1185692" y="1728510"/>
                  <a:pt x="1186827" y="1728045"/>
                  <a:pt x="1187550" y="1728356"/>
                </a:cubicBezTo>
                <a:cubicBezTo>
                  <a:pt x="1187137" y="1729285"/>
                  <a:pt x="1186931" y="1731144"/>
                  <a:pt x="1186207" y="1730834"/>
                </a:cubicBezTo>
                <a:cubicBezTo>
                  <a:pt x="1185795" y="1731608"/>
                  <a:pt x="1184246" y="1730989"/>
                  <a:pt x="1184246" y="1730989"/>
                </a:cubicBezTo>
                <a:lnTo>
                  <a:pt x="1183213" y="1731918"/>
                </a:lnTo>
                <a:lnTo>
                  <a:pt x="1184349" y="1732847"/>
                </a:lnTo>
                <a:cubicBezTo>
                  <a:pt x="1184659" y="1733932"/>
                  <a:pt x="1184349" y="1735171"/>
                  <a:pt x="1183730" y="1736875"/>
                </a:cubicBezTo>
                <a:cubicBezTo>
                  <a:pt x="1181045" y="1736100"/>
                  <a:pt x="1179909" y="1735325"/>
                  <a:pt x="1179702" y="1734396"/>
                </a:cubicBezTo>
                <a:cubicBezTo>
                  <a:pt x="1179599" y="1733312"/>
                  <a:pt x="1180425" y="1732073"/>
                  <a:pt x="1181458" y="1730214"/>
                </a:cubicBezTo>
                <a:lnTo>
                  <a:pt x="1182181" y="1730989"/>
                </a:lnTo>
                <a:lnTo>
                  <a:pt x="1182697" y="1730524"/>
                </a:lnTo>
                <a:cubicBezTo>
                  <a:pt x="1183317" y="1729749"/>
                  <a:pt x="1184142" y="1728820"/>
                  <a:pt x="1184865" y="1728200"/>
                </a:cubicBezTo>
                <a:close/>
                <a:moveTo>
                  <a:pt x="5286407" y="1727998"/>
                </a:moveTo>
                <a:cubicBezTo>
                  <a:pt x="5287474" y="1728282"/>
                  <a:pt x="5288115" y="1729279"/>
                  <a:pt x="5288755" y="1730701"/>
                </a:cubicBezTo>
                <a:cubicBezTo>
                  <a:pt x="5290462" y="1734827"/>
                  <a:pt x="5289822" y="1742367"/>
                  <a:pt x="5283206" y="1741514"/>
                </a:cubicBezTo>
                <a:cubicBezTo>
                  <a:pt x="5281925" y="1741514"/>
                  <a:pt x="5281072" y="1740660"/>
                  <a:pt x="5280645" y="1739379"/>
                </a:cubicBezTo>
                <a:cubicBezTo>
                  <a:pt x="5279364" y="1735396"/>
                  <a:pt x="5281499" y="1727856"/>
                  <a:pt x="5286407" y="1727998"/>
                </a:cubicBezTo>
                <a:close/>
                <a:moveTo>
                  <a:pt x="4802798" y="1727856"/>
                </a:moveTo>
                <a:cubicBezTo>
                  <a:pt x="4804932" y="1729847"/>
                  <a:pt x="4806213" y="1732551"/>
                  <a:pt x="4807280" y="1735396"/>
                </a:cubicBezTo>
                <a:cubicBezTo>
                  <a:pt x="4808561" y="1739664"/>
                  <a:pt x="4808774" y="1744501"/>
                  <a:pt x="4808133" y="1748911"/>
                </a:cubicBezTo>
                <a:lnTo>
                  <a:pt x="4808133" y="1749338"/>
                </a:lnTo>
                <a:lnTo>
                  <a:pt x="4810054" y="1753037"/>
                </a:lnTo>
                <a:cubicBezTo>
                  <a:pt x="4807920" y="1754602"/>
                  <a:pt x="4807706" y="1758301"/>
                  <a:pt x="4804505" y="1759155"/>
                </a:cubicBezTo>
                <a:lnTo>
                  <a:pt x="4803865" y="1759155"/>
                </a:lnTo>
                <a:lnTo>
                  <a:pt x="4803651" y="1759866"/>
                </a:lnTo>
                <a:lnTo>
                  <a:pt x="4803225" y="1759155"/>
                </a:lnTo>
                <a:lnTo>
                  <a:pt x="4800877" y="1758443"/>
                </a:lnTo>
                <a:cubicBezTo>
                  <a:pt x="4796822" y="1758728"/>
                  <a:pt x="4795115" y="1753748"/>
                  <a:pt x="4795115" y="1753748"/>
                </a:cubicBezTo>
                <a:cubicBezTo>
                  <a:pt x="4795115" y="1753748"/>
                  <a:pt x="4795115" y="1753748"/>
                  <a:pt x="4794688" y="1754887"/>
                </a:cubicBezTo>
                <a:cubicBezTo>
                  <a:pt x="4795542" y="1752753"/>
                  <a:pt x="4795542" y="1750050"/>
                  <a:pt x="4796395" y="1747916"/>
                </a:cubicBezTo>
                <a:lnTo>
                  <a:pt x="4798956" y="1747204"/>
                </a:lnTo>
                <a:lnTo>
                  <a:pt x="4798530" y="1743505"/>
                </a:lnTo>
                <a:cubicBezTo>
                  <a:pt x="4798956" y="1737530"/>
                  <a:pt x="4800877" y="1731555"/>
                  <a:pt x="4802798" y="1727856"/>
                </a:cubicBezTo>
                <a:close/>
                <a:moveTo>
                  <a:pt x="3524627" y="1727287"/>
                </a:moveTo>
                <a:cubicBezTo>
                  <a:pt x="3524627" y="1727287"/>
                  <a:pt x="3524627" y="1727287"/>
                  <a:pt x="3532737" y="1729279"/>
                </a:cubicBezTo>
                <a:cubicBezTo>
                  <a:pt x="3532310" y="1730132"/>
                  <a:pt x="3531670" y="1730274"/>
                  <a:pt x="3531030" y="1730274"/>
                </a:cubicBezTo>
                <a:cubicBezTo>
                  <a:pt x="3530390" y="1730132"/>
                  <a:pt x="3529749" y="1729705"/>
                  <a:pt x="3528895" y="1729421"/>
                </a:cubicBezTo>
                <a:cubicBezTo>
                  <a:pt x="3527615" y="1728709"/>
                  <a:pt x="3526121" y="1727998"/>
                  <a:pt x="3524627" y="1727287"/>
                </a:cubicBezTo>
                <a:close/>
                <a:moveTo>
                  <a:pt x="1169377" y="1726806"/>
                </a:moveTo>
                <a:cubicBezTo>
                  <a:pt x="1173817" y="1724018"/>
                  <a:pt x="1176501" y="1724328"/>
                  <a:pt x="1177431" y="1727736"/>
                </a:cubicBezTo>
                <a:cubicBezTo>
                  <a:pt x="1177018" y="1728510"/>
                  <a:pt x="1174953" y="1730524"/>
                  <a:pt x="1175675" y="1730834"/>
                </a:cubicBezTo>
                <a:cubicBezTo>
                  <a:pt x="1172991" y="1731763"/>
                  <a:pt x="1169893" y="1732538"/>
                  <a:pt x="1167931" y="1731763"/>
                </a:cubicBezTo>
                <a:cubicBezTo>
                  <a:pt x="1167312" y="1731453"/>
                  <a:pt x="1166692" y="1730989"/>
                  <a:pt x="1166383" y="1730369"/>
                </a:cubicBezTo>
                <a:cubicBezTo>
                  <a:pt x="1165350" y="1728820"/>
                  <a:pt x="1167002" y="1727736"/>
                  <a:pt x="1169377" y="1726806"/>
                </a:cubicBezTo>
                <a:close/>
                <a:moveTo>
                  <a:pt x="5906818" y="1726575"/>
                </a:moveTo>
                <a:cubicBezTo>
                  <a:pt x="5908526" y="1726433"/>
                  <a:pt x="5910874" y="1726860"/>
                  <a:pt x="5913221" y="1728851"/>
                </a:cubicBezTo>
                <a:cubicBezTo>
                  <a:pt x="5914502" y="1729989"/>
                  <a:pt x="5916849" y="1733831"/>
                  <a:pt x="5915782" y="1733831"/>
                </a:cubicBezTo>
                <a:cubicBezTo>
                  <a:pt x="5914715" y="1734969"/>
                  <a:pt x="5915782" y="1734969"/>
                  <a:pt x="5915782" y="1736107"/>
                </a:cubicBezTo>
                <a:lnTo>
                  <a:pt x="5914288" y="1737103"/>
                </a:lnTo>
                <a:lnTo>
                  <a:pt x="5914929" y="1737957"/>
                </a:lnTo>
                <a:cubicBezTo>
                  <a:pt x="5916422" y="1740375"/>
                  <a:pt x="5916422" y="1740375"/>
                  <a:pt x="5915355" y="1741655"/>
                </a:cubicBezTo>
                <a:cubicBezTo>
                  <a:pt x="5914288" y="1742936"/>
                  <a:pt x="5910660" y="1741940"/>
                  <a:pt x="5909593" y="1743220"/>
                </a:cubicBezTo>
                <a:cubicBezTo>
                  <a:pt x="5909593" y="1743220"/>
                  <a:pt x="5909593" y="1743220"/>
                  <a:pt x="5908099" y="1740802"/>
                </a:cubicBezTo>
                <a:lnTo>
                  <a:pt x="5908526" y="1738810"/>
                </a:lnTo>
                <a:lnTo>
                  <a:pt x="5905751" y="1738099"/>
                </a:lnTo>
                <a:cubicBezTo>
                  <a:pt x="5903190" y="1735538"/>
                  <a:pt x="5899775" y="1731697"/>
                  <a:pt x="5901910" y="1728282"/>
                </a:cubicBezTo>
                <a:cubicBezTo>
                  <a:pt x="5902977" y="1728282"/>
                  <a:pt x="5902977" y="1727144"/>
                  <a:pt x="5904044" y="1727144"/>
                </a:cubicBezTo>
                <a:cubicBezTo>
                  <a:pt x="5904044" y="1727144"/>
                  <a:pt x="5905111" y="1726575"/>
                  <a:pt x="5906818" y="1726575"/>
                </a:cubicBezTo>
                <a:close/>
                <a:moveTo>
                  <a:pt x="853826" y="1726032"/>
                </a:moveTo>
                <a:cubicBezTo>
                  <a:pt x="856717" y="1724948"/>
                  <a:pt x="859712" y="1726806"/>
                  <a:pt x="863325" y="1726342"/>
                </a:cubicBezTo>
                <a:cubicBezTo>
                  <a:pt x="864152" y="1728356"/>
                  <a:pt x="864668" y="1729595"/>
                  <a:pt x="864461" y="1730679"/>
                </a:cubicBezTo>
                <a:lnTo>
                  <a:pt x="864152" y="1730989"/>
                </a:lnTo>
                <a:lnTo>
                  <a:pt x="859815" y="1739508"/>
                </a:lnTo>
                <a:cubicBezTo>
                  <a:pt x="858886" y="1740127"/>
                  <a:pt x="855375" y="1741522"/>
                  <a:pt x="854549" y="1740592"/>
                </a:cubicBezTo>
                <a:cubicBezTo>
                  <a:pt x="853723" y="1739663"/>
                  <a:pt x="853723" y="1738888"/>
                  <a:pt x="853723" y="1737959"/>
                </a:cubicBezTo>
                <a:lnTo>
                  <a:pt x="855891" y="1734242"/>
                </a:lnTo>
                <a:lnTo>
                  <a:pt x="854032" y="1734242"/>
                </a:lnTo>
                <a:cubicBezTo>
                  <a:pt x="852071" y="1733777"/>
                  <a:pt x="850419" y="1733002"/>
                  <a:pt x="849902" y="1732228"/>
                </a:cubicBezTo>
                <a:cubicBezTo>
                  <a:pt x="849283" y="1729904"/>
                  <a:pt x="850315" y="1726652"/>
                  <a:pt x="853826" y="1726032"/>
                </a:cubicBezTo>
                <a:close/>
                <a:moveTo>
                  <a:pt x="5441777" y="1726006"/>
                </a:moveTo>
                <a:cubicBezTo>
                  <a:pt x="5450740" y="1726148"/>
                  <a:pt x="5458423" y="1733404"/>
                  <a:pt x="5461411" y="1740660"/>
                </a:cubicBezTo>
                <a:cubicBezTo>
                  <a:pt x="5462265" y="1743078"/>
                  <a:pt x="5462905" y="1745639"/>
                  <a:pt x="5462692" y="1747773"/>
                </a:cubicBezTo>
                <a:cubicBezTo>
                  <a:pt x="5450740" y="1747631"/>
                  <a:pt x="5443271" y="1734116"/>
                  <a:pt x="5441777" y="1726006"/>
                </a:cubicBezTo>
                <a:close/>
                <a:moveTo>
                  <a:pt x="1268503" y="1725257"/>
                </a:moveTo>
                <a:cubicBezTo>
                  <a:pt x="1270155" y="1726032"/>
                  <a:pt x="1270981" y="1726806"/>
                  <a:pt x="1270878" y="1728510"/>
                </a:cubicBezTo>
                <a:cubicBezTo>
                  <a:pt x="1270258" y="1727890"/>
                  <a:pt x="1268709" y="1727271"/>
                  <a:pt x="1268296" y="1726342"/>
                </a:cubicBezTo>
                <a:cubicBezTo>
                  <a:pt x="1268193" y="1726032"/>
                  <a:pt x="1268193" y="1725722"/>
                  <a:pt x="1268503" y="1725257"/>
                </a:cubicBezTo>
                <a:close/>
                <a:moveTo>
                  <a:pt x="979386" y="1725102"/>
                </a:moveTo>
                <a:cubicBezTo>
                  <a:pt x="982690" y="1725102"/>
                  <a:pt x="984135" y="1725722"/>
                  <a:pt x="984652" y="1726652"/>
                </a:cubicBezTo>
                <a:cubicBezTo>
                  <a:pt x="985994" y="1729130"/>
                  <a:pt x="977837" y="1733157"/>
                  <a:pt x="979386" y="1725102"/>
                </a:cubicBezTo>
                <a:close/>
                <a:moveTo>
                  <a:pt x="4953686" y="1725010"/>
                </a:moveTo>
                <a:cubicBezTo>
                  <a:pt x="4959021" y="1724157"/>
                  <a:pt x="4963930" y="1729563"/>
                  <a:pt x="4964143" y="1734684"/>
                </a:cubicBezTo>
                <a:cubicBezTo>
                  <a:pt x="4964357" y="1737103"/>
                  <a:pt x="4963716" y="1739237"/>
                  <a:pt x="4961795" y="1740945"/>
                </a:cubicBezTo>
                <a:cubicBezTo>
                  <a:pt x="4955180" y="1738241"/>
                  <a:pt x="4947070" y="1736392"/>
                  <a:pt x="4948137" y="1728140"/>
                </a:cubicBezTo>
                <a:cubicBezTo>
                  <a:pt x="4949844" y="1726148"/>
                  <a:pt x="4951765" y="1725295"/>
                  <a:pt x="4953686" y="1725010"/>
                </a:cubicBezTo>
                <a:close/>
                <a:moveTo>
                  <a:pt x="1321783" y="1724018"/>
                </a:moveTo>
                <a:cubicBezTo>
                  <a:pt x="1323229" y="1725877"/>
                  <a:pt x="1323848" y="1727736"/>
                  <a:pt x="1322506" y="1730214"/>
                </a:cubicBezTo>
                <a:cubicBezTo>
                  <a:pt x="1321886" y="1728820"/>
                  <a:pt x="1321370" y="1727890"/>
                  <a:pt x="1321164" y="1727116"/>
                </a:cubicBezTo>
                <a:cubicBezTo>
                  <a:pt x="1320957" y="1726187"/>
                  <a:pt x="1321164" y="1725257"/>
                  <a:pt x="1321783" y="1724018"/>
                </a:cubicBezTo>
                <a:close/>
                <a:moveTo>
                  <a:pt x="1055072" y="1723709"/>
                </a:moveTo>
                <a:cubicBezTo>
                  <a:pt x="1055072" y="1723709"/>
                  <a:pt x="1055898" y="1724483"/>
                  <a:pt x="1056724" y="1725412"/>
                </a:cubicBezTo>
                <a:cubicBezTo>
                  <a:pt x="1057551" y="1726187"/>
                  <a:pt x="1058376" y="1726187"/>
                  <a:pt x="1058376" y="1726187"/>
                </a:cubicBezTo>
                <a:cubicBezTo>
                  <a:pt x="1059202" y="1726961"/>
                  <a:pt x="1059202" y="1727890"/>
                  <a:pt x="1058273" y="1728665"/>
                </a:cubicBezTo>
                <a:cubicBezTo>
                  <a:pt x="1058273" y="1728665"/>
                  <a:pt x="1056621" y="1727890"/>
                  <a:pt x="1056621" y="1727890"/>
                </a:cubicBezTo>
                <a:cubicBezTo>
                  <a:pt x="1054969" y="1726342"/>
                  <a:pt x="1054040" y="1725412"/>
                  <a:pt x="1052388" y="1724638"/>
                </a:cubicBezTo>
                <a:cubicBezTo>
                  <a:pt x="1053317" y="1722934"/>
                  <a:pt x="1054246" y="1722934"/>
                  <a:pt x="1055072" y="1723709"/>
                </a:cubicBezTo>
                <a:close/>
                <a:moveTo>
                  <a:pt x="1600575" y="1723554"/>
                </a:moveTo>
                <a:cubicBezTo>
                  <a:pt x="1603053" y="1726032"/>
                  <a:pt x="1603776" y="1728356"/>
                  <a:pt x="1604602" y="1730059"/>
                </a:cubicBezTo>
                <a:cubicBezTo>
                  <a:pt x="1602743" y="1731763"/>
                  <a:pt x="1601814" y="1733467"/>
                  <a:pt x="1600059" y="1735325"/>
                </a:cubicBezTo>
                <a:cubicBezTo>
                  <a:pt x="1594793" y="1736255"/>
                  <a:pt x="1592521" y="1733467"/>
                  <a:pt x="1592728" y="1730369"/>
                </a:cubicBezTo>
                <a:cubicBezTo>
                  <a:pt x="1593037" y="1727271"/>
                  <a:pt x="1595722" y="1723863"/>
                  <a:pt x="1600575" y="1723554"/>
                </a:cubicBezTo>
                <a:close/>
                <a:moveTo>
                  <a:pt x="3624721" y="1722876"/>
                </a:moveTo>
                <a:lnTo>
                  <a:pt x="3617678" y="1729847"/>
                </a:lnTo>
                <a:lnTo>
                  <a:pt x="3620026" y="1729421"/>
                </a:lnTo>
                <a:cubicBezTo>
                  <a:pt x="3623013" y="1729705"/>
                  <a:pt x="3626001" y="1731697"/>
                  <a:pt x="3629203" y="1734400"/>
                </a:cubicBezTo>
                <a:cubicBezTo>
                  <a:pt x="3635392" y="1739664"/>
                  <a:pt x="3632191" y="1745070"/>
                  <a:pt x="3632191" y="1745070"/>
                </a:cubicBezTo>
                <a:cubicBezTo>
                  <a:pt x="3627922" y="1750761"/>
                  <a:pt x="3621946" y="1753464"/>
                  <a:pt x="3615544" y="1752895"/>
                </a:cubicBezTo>
                <a:cubicBezTo>
                  <a:pt x="3612982" y="1752611"/>
                  <a:pt x="3610422" y="1751899"/>
                  <a:pt x="3607647" y="1750334"/>
                </a:cubicBezTo>
                <a:cubicBezTo>
                  <a:pt x="3606154" y="1747773"/>
                  <a:pt x="3606154" y="1745070"/>
                  <a:pt x="3607007" y="1742367"/>
                </a:cubicBezTo>
                <a:lnTo>
                  <a:pt x="3609995" y="1735965"/>
                </a:lnTo>
                <a:lnTo>
                  <a:pt x="3606794" y="1737815"/>
                </a:lnTo>
                <a:cubicBezTo>
                  <a:pt x="3604233" y="1738810"/>
                  <a:pt x="3601458" y="1739664"/>
                  <a:pt x="3598044" y="1739948"/>
                </a:cubicBezTo>
                <a:cubicBezTo>
                  <a:pt x="3598257" y="1725579"/>
                  <a:pt x="3615757" y="1722307"/>
                  <a:pt x="3624721" y="1722876"/>
                </a:cubicBezTo>
                <a:close/>
                <a:moveTo>
                  <a:pt x="1539344" y="1722779"/>
                </a:moveTo>
                <a:cubicBezTo>
                  <a:pt x="1544713" y="1720920"/>
                  <a:pt x="1545333" y="1725877"/>
                  <a:pt x="1549463" y="1729130"/>
                </a:cubicBezTo>
                <a:cubicBezTo>
                  <a:pt x="1546056" y="1732538"/>
                  <a:pt x="1539447" y="1730214"/>
                  <a:pt x="1538311" y="1726652"/>
                </a:cubicBezTo>
                <a:cubicBezTo>
                  <a:pt x="1538208" y="1726032"/>
                  <a:pt x="1538105" y="1725412"/>
                  <a:pt x="1538311" y="1724792"/>
                </a:cubicBezTo>
                <a:cubicBezTo>
                  <a:pt x="1538415" y="1724173"/>
                  <a:pt x="1538828" y="1723399"/>
                  <a:pt x="1539344" y="1722779"/>
                </a:cubicBezTo>
                <a:close/>
                <a:moveTo>
                  <a:pt x="1447136" y="1722469"/>
                </a:moveTo>
                <a:cubicBezTo>
                  <a:pt x="1450647" y="1726961"/>
                  <a:pt x="1450853" y="1729749"/>
                  <a:pt x="1449718" y="1731299"/>
                </a:cubicBezTo>
                <a:cubicBezTo>
                  <a:pt x="1447446" y="1734087"/>
                  <a:pt x="1440115" y="1732692"/>
                  <a:pt x="1439289" y="1729440"/>
                </a:cubicBezTo>
                <a:cubicBezTo>
                  <a:pt x="1438772" y="1727581"/>
                  <a:pt x="1440528" y="1725102"/>
                  <a:pt x="1447136" y="1722469"/>
                </a:cubicBezTo>
                <a:close/>
                <a:moveTo>
                  <a:pt x="5683795" y="1721880"/>
                </a:moveTo>
                <a:cubicBezTo>
                  <a:pt x="5692332" y="1722450"/>
                  <a:pt x="5700228" y="1727002"/>
                  <a:pt x="5702575" y="1736392"/>
                </a:cubicBezTo>
                <a:cubicBezTo>
                  <a:pt x="5703430" y="1739948"/>
                  <a:pt x="5703643" y="1744217"/>
                  <a:pt x="5702789" y="1749196"/>
                </a:cubicBezTo>
                <a:cubicBezTo>
                  <a:pt x="5699588" y="1762712"/>
                  <a:pt x="5686569" y="1769967"/>
                  <a:pt x="5676752" y="1784905"/>
                </a:cubicBezTo>
                <a:lnTo>
                  <a:pt x="5675685" y="1782060"/>
                </a:lnTo>
                <a:lnTo>
                  <a:pt x="5674618" y="1782772"/>
                </a:lnTo>
                <a:cubicBezTo>
                  <a:pt x="5670136" y="1781776"/>
                  <a:pt x="5667148" y="1778503"/>
                  <a:pt x="5666721" y="1774946"/>
                </a:cubicBezTo>
                <a:lnTo>
                  <a:pt x="5668002" y="1770109"/>
                </a:lnTo>
                <a:lnTo>
                  <a:pt x="5661813" y="1765414"/>
                </a:lnTo>
                <a:cubicBezTo>
                  <a:pt x="5659891" y="1763707"/>
                  <a:pt x="5657971" y="1762000"/>
                  <a:pt x="5656477" y="1760008"/>
                </a:cubicBezTo>
                <a:cubicBezTo>
                  <a:pt x="5654343" y="1757305"/>
                  <a:pt x="5653063" y="1754175"/>
                  <a:pt x="5653063" y="1749907"/>
                </a:cubicBezTo>
                <a:cubicBezTo>
                  <a:pt x="5652422" y="1731128"/>
                  <a:pt x="5669496" y="1720885"/>
                  <a:pt x="5683795" y="1721880"/>
                </a:cubicBezTo>
                <a:close/>
                <a:moveTo>
                  <a:pt x="1656643" y="1720455"/>
                </a:moveTo>
                <a:cubicBezTo>
                  <a:pt x="1658502" y="1728356"/>
                  <a:pt x="1647247" y="1734242"/>
                  <a:pt x="1639606" y="1736100"/>
                </a:cubicBezTo>
                <a:cubicBezTo>
                  <a:pt x="1640948" y="1726496"/>
                  <a:pt x="1648796" y="1723399"/>
                  <a:pt x="1656643" y="1720455"/>
                </a:cubicBezTo>
                <a:close/>
                <a:moveTo>
                  <a:pt x="1187860" y="1720146"/>
                </a:moveTo>
                <a:cubicBezTo>
                  <a:pt x="1202212" y="1722159"/>
                  <a:pt x="1209854" y="1737339"/>
                  <a:pt x="1219146" y="1748492"/>
                </a:cubicBezTo>
                <a:lnTo>
                  <a:pt x="1218114" y="1749266"/>
                </a:lnTo>
                <a:lnTo>
                  <a:pt x="1220489" y="1748956"/>
                </a:lnTo>
                <a:cubicBezTo>
                  <a:pt x="1221831" y="1749111"/>
                  <a:pt x="1223173" y="1749266"/>
                  <a:pt x="1224103" y="1749886"/>
                </a:cubicBezTo>
                <a:cubicBezTo>
                  <a:pt x="1224826" y="1750196"/>
                  <a:pt x="1225238" y="1750815"/>
                  <a:pt x="1225652" y="1751435"/>
                </a:cubicBezTo>
                <a:cubicBezTo>
                  <a:pt x="1226684" y="1753139"/>
                  <a:pt x="1225135" y="1754068"/>
                  <a:pt x="1222760" y="1754378"/>
                </a:cubicBezTo>
                <a:cubicBezTo>
                  <a:pt x="1218217" y="1756391"/>
                  <a:pt x="1215532" y="1755617"/>
                  <a:pt x="1214603" y="1752210"/>
                </a:cubicBezTo>
                <a:lnTo>
                  <a:pt x="1215429" y="1751125"/>
                </a:lnTo>
                <a:lnTo>
                  <a:pt x="1210679" y="1753758"/>
                </a:lnTo>
                <a:lnTo>
                  <a:pt x="1207892" y="1749731"/>
                </a:lnTo>
                <a:lnTo>
                  <a:pt x="1207169" y="1750351"/>
                </a:lnTo>
                <a:cubicBezTo>
                  <a:pt x="1206446" y="1749886"/>
                  <a:pt x="1205207" y="1750041"/>
                  <a:pt x="1204484" y="1749576"/>
                </a:cubicBezTo>
                <a:cubicBezTo>
                  <a:pt x="1205000" y="1748802"/>
                  <a:pt x="1205104" y="1747098"/>
                  <a:pt x="1205930" y="1747562"/>
                </a:cubicBezTo>
                <a:lnTo>
                  <a:pt x="1206343" y="1747408"/>
                </a:lnTo>
                <a:lnTo>
                  <a:pt x="1199425" y="1737339"/>
                </a:lnTo>
                <a:lnTo>
                  <a:pt x="1199011" y="1737649"/>
                </a:lnTo>
                <a:cubicBezTo>
                  <a:pt x="1195604" y="1737959"/>
                  <a:pt x="1190441" y="1735790"/>
                  <a:pt x="1192506" y="1731453"/>
                </a:cubicBezTo>
                <a:cubicBezTo>
                  <a:pt x="1192713" y="1730679"/>
                  <a:pt x="1193539" y="1730369"/>
                  <a:pt x="1194571" y="1730214"/>
                </a:cubicBezTo>
                <a:close/>
                <a:moveTo>
                  <a:pt x="1185692" y="1720146"/>
                </a:moveTo>
                <a:cubicBezTo>
                  <a:pt x="1186931" y="1719836"/>
                  <a:pt x="1187653" y="1720146"/>
                  <a:pt x="1187963" y="1721230"/>
                </a:cubicBezTo>
                <a:cubicBezTo>
                  <a:pt x="1187963" y="1721230"/>
                  <a:pt x="1186414" y="1722469"/>
                  <a:pt x="1186414" y="1722469"/>
                </a:cubicBezTo>
                <a:cubicBezTo>
                  <a:pt x="1183936" y="1723244"/>
                  <a:pt x="1182800" y="1723554"/>
                  <a:pt x="1181148" y="1724792"/>
                </a:cubicBezTo>
                <a:cubicBezTo>
                  <a:pt x="1180529" y="1724018"/>
                  <a:pt x="1180322" y="1723554"/>
                  <a:pt x="1180425" y="1723089"/>
                </a:cubicBezTo>
                <a:cubicBezTo>
                  <a:pt x="1180529" y="1722624"/>
                  <a:pt x="1181045" y="1722314"/>
                  <a:pt x="1181664" y="1722159"/>
                </a:cubicBezTo>
                <a:cubicBezTo>
                  <a:pt x="1181664" y="1722159"/>
                  <a:pt x="1182800" y="1721695"/>
                  <a:pt x="1184039" y="1721385"/>
                </a:cubicBezTo>
                <a:cubicBezTo>
                  <a:pt x="1185175" y="1720920"/>
                  <a:pt x="1185692" y="1720146"/>
                  <a:pt x="1185692" y="1720146"/>
                </a:cubicBezTo>
                <a:close/>
                <a:moveTo>
                  <a:pt x="4998931" y="1720031"/>
                </a:moveTo>
                <a:cubicBezTo>
                  <a:pt x="5001278" y="1721311"/>
                  <a:pt x="5002346" y="1720173"/>
                  <a:pt x="5004693" y="1723730"/>
                </a:cubicBezTo>
                <a:cubicBezTo>
                  <a:pt x="5003626" y="1724868"/>
                  <a:pt x="5002559" y="1726006"/>
                  <a:pt x="5001492" y="1727144"/>
                </a:cubicBezTo>
                <a:cubicBezTo>
                  <a:pt x="4999144" y="1724726"/>
                  <a:pt x="4996796" y="1722165"/>
                  <a:pt x="4998931" y="1720031"/>
                </a:cubicBezTo>
                <a:close/>
                <a:moveTo>
                  <a:pt x="1310115" y="1719526"/>
                </a:moveTo>
                <a:cubicBezTo>
                  <a:pt x="1316414" y="1719216"/>
                  <a:pt x="1320854" y="1725722"/>
                  <a:pt x="1319408" y="1733467"/>
                </a:cubicBezTo>
                <a:lnTo>
                  <a:pt x="1317550" y="1740282"/>
                </a:lnTo>
                <a:lnTo>
                  <a:pt x="1320544" y="1738733"/>
                </a:lnTo>
                <a:cubicBezTo>
                  <a:pt x="1331386" y="1735635"/>
                  <a:pt x="1342744" y="1746323"/>
                  <a:pt x="1341402" y="1757631"/>
                </a:cubicBezTo>
                <a:cubicBezTo>
                  <a:pt x="1341092" y="1760109"/>
                  <a:pt x="1340163" y="1762742"/>
                  <a:pt x="1338511" y="1765066"/>
                </a:cubicBezTo>
                <a:lnTo>
                  <a:pt x="1333451" y="1769712"/>
                </a:lnTo>
                <a:lnTo>
                  <a:pt x="1334484" y="1770642"/>
                </a:lnTo>
                <a:cubicBezTo>
                  <a:pt x="1333658" y="1774669"/>
                  <a:pt x="1331283" y="1775599"/>
                  <a:pt x="1329631" y="1778077"/>
                </a:cubicBezTo>
                <a:cubicBezTo>
                  <a:pt x="1323022" y="1776683"/>
                  <a:pt x="1321267" y="1773121"/>
                  <a:pt x="1322196" y="1770332"/>
                </a:cubicBezTo>
                <a:cubicBezTo>
                  <a:pt x="1322506" y="1769403"/>
                  <a:pt x="1323126" y="1768628"/>
                  <a:pt x="1323848" y="1767854"/>
                </a:cubicBezTo>
                <a:lnTo>
                  <a:pt x="1326533" y="1767079"/>
                </a:lnTo>
                <a:lnTo>
                  <a:pt x="1324571" y="1764756"/>
                </a:lnTo>
                <a:lnTo>
                  <a:pt x="1322403" y="1763207"/>
                </a:lnTo>
                <a:lnTo>
                  <a:pt x="1321990" y="1765066"/>
                </a:lnTo>
                <a:cubicBezTo>
                  <a:pt x="1321164" y="1765066"/>
                  <a:pt x="1321164" y="1765221"/>
                  <a:pt x="1321060" y="1764291"/>
                </a:cubicBezTo>
                <a:cubicBezTo>
                  <a:pt x="1320957" y="1764446"/>
                  <a:pt x="1320957" y="1764446"/>
                  <a:pt x="1320957" y="1764601"/>
                </a:cubicBezTo>
                <a:cubicBezTo>
                  <a:pt x="1320441" y="1763981"/>
                  <a:pt x="1320028" y="1763362"/>
                  <a:pt x="1320028" y="1762742"/>
                </a:cubicBezTo>
                <a:lnTo>
                  <a:pt x="1320441" y="1761658"/>
                </a:lnTo>
                <a:lnTo>
                  <a:pt x="1318375" y="1759954"/>
                </a:lnTo>
                <a:cubicBezTo>
                  <a:pt x="1316517" y="1758405"/>
                  <a:pt x="1314762" y="1756856"/>
                  <a:pt x="1313419" y="1754843"/>
                </a:cubicBezTo>
                <a:lnTo>
                  <a:pt x="1311458" y="1750196"/>
                </a:lnTo>
                <a:lnTo>
                  <a:pt x="1311251" y="1750351"/>
                </a:lnTo>
                <a:cubicBezTo>
                  <a:pt x="1305056" y="1750196"/>
                  <a:pt x="1302887" y="1746323"/>
                  <a:pt x="1302474" y="1741677"/>
                </a:cubicBezTo>
                <a:cubicBezTo>
                  <a:pt x="1302371" y="1740127"/>
                  <a:pt x="1302371" y="1738423"/>
                  <a:pt x="1302577" y="1736875"/>
                </a:cubicBezTo>
                <a:cubicBezTo>
                  <a:pt x="1302681" y="1734551"/>
                  <a:pt x="1303094" y="1732538"/>
                  <a:pt x="1303507" y="1730524"/>
                </a:cubicBezTo>
                <a:cubicBezTo>
                  <a:pt x="1304126" y="1726496"/>
                  <a:pt x="1305056" y="1722314"/>
                  <a:pt x="1307327" y="1720455"/>
                </a:cubicBezTo>
                <a:cubicBezTo>
                  <a:pt x="1308153" y="1719836"/>
                  <a:pt x="1309083" y="1719371"/>
                  <a:pt x="1310115" y="1719526"/>
                </a:cubicBezTo>
                <a:close/>
                <a:moveTo>
                  <a:pt x="1584983" y="1719371"/>
                </a:moveTo>
                <a:cubicBezTo>
                  <a:pt x="1586016" y="1719836"/>
                  <a:pt x="1587874" y="1720146"/>
                  <a:pt x="1589217" y="1721385"/>
                </a:cubicBezTo>
                <a:cubicBezTo>
                  <a:pt x="1588391" y="1726187"/>
                  <a:pt x="1584261" y="1724328"/>
                  <a:pt x="1583847" y="1721850"/>
                </a:cubicBezTo>
                <a:cubicBezTo>
                  <a:pt x="1583744" y="1721075"/>
                  <a:pt x="1583951" y="1720146"/>
                  <a:pt x="1584983" y="1719371"/>
                </a:cubicBezTo>
                <a:close/>
                <a:moveTo>
                  <a:pt x="1154818" y="1719371"/>
                </a:moveTo>
                <a:cubicBezTo>
                  <a:pt x="1155644" y="1720146"/>
                  <a:pt x="1154611" y="1722779"/>
                  <a:pt x="1155437" y="1723554"/>
                </a:cubicBezTo>
                <a:cubicBezTo>
                  <a:pt x="1155437" y="1723554"/>
                  <a:pt x="1155437" y="1723554"/>
                  <a:pt x="1153579" y="1724483"/>
                </a:cubicBezTo>
                <a:cubicBezTo>
                  <a:pt x="1152753" y="1724638"/>
                  <a:pt x="1151823" y="1724638"/>
                  <a:pt x="1150997" y="1723709"/>
                </a:cubicBezTo>
                <a:cubicBezTo>
                  <a:pt x="1150068" y="1722934"/>
                  <a:pt x="1150171" y="1721230"/>
                  <a:pt x="1150274" y="1720301"/>
                </a:cubicBezTo>
                <a:cubicBezTo>
                  <a:pt x="1151204" y="1720301"/>
                  <a:pt x="1151204" y="1719526"/>
                  <a:pt x="1152030" y="1719526"/>
                </a:cubicBezTo>
                <a:cubicBezTo>
                  <a:pt x="1153889" y="1718442"/>
                  <a:pt x="1153889" y="1718442"/>
                  <a:pt x="1154818" y="1719371"/>
                </a:cubicBezTo>
                <a:close/>
                <a:moveTo>
                  <a:pt x="916193" y="1719371"/>
                </a:moveTo>
                <a:cubicBezTo>
                  <a:pt x="916296" y="1721075"/>
                  <a:pt x="919910" y="1721385"/>
                  <a:pt x="918258" y="1723399"/>
                </a:cubicBezTo>
                <a:cubicBezTo>
                  <a:pt x="917329" y="1722624"/>
                  <a:pt x="916296" y="1721075"/>
                  <a:pt x="915366" y="1720301"/>
                </a:cubicBezTo>
                <a:cubicBezTo>
                  <a:pt x="915366" y="1720301"/>
                  <a:pt x="915366" y="1720301"/>
                  <a:pt x="916193" y="1719371"/>
                </a:cubicBezTo>
                <a:close/>
                <a:moveTo>
                  <a:pt x="1259003" y="1719062"/>
                </a:moveTo>
                <a:cubicBezTo>
                  <a:pt x="1260759" y="1718907"/>
                  <a:pt x="1262307" y="1719371"/>
                  <a:pt x="1263547" y="1720766"/>
                </a:cubicBezTo>
                <a:cubicBezTo>
                  <a:pt x="1261585" y="1725567"/>
                  <a:pt x="1260242" y="1731453"/>
                  <a:pt x="1254254" y="1730679"/>
                </a:cubicBezTo>
                <a:cubicBezTo>
                  <a:pt x="1252808" y="1729440"/>
                  <a:pt x="1252189" y="1728045"/>
                  <a:pt x="1251982" y="1726652"/>
                </a:cubicBezTo>
                <a:cubicBezTo>
                  <a:pt x="1251363" y="1722779"/>
                  <a:pt x="1255286" y="1719216"/>
                  <a:pt x="1259003" y="1719062"/>
                </a:cubicBezTo>
                <a:close/>
                <a:moveTo>
                  <a:pt x="820835" y="1718984"/>
                </a:moveTo>
                <a:cubicBezTo>
                  <a:pt x="823778" y="1717706"/>
                  <a:pt x="827289" y="1718055"/>
                  <a:pt x="829044" y="1720301"/>
                </a:cubicBezTo>
                <a:cubicBezTo>
                  <a:pt x="830180" y="1721695"/>
                  <a:pt x="830593" y="1724018"/>
                  <a:pt x="829457" y="1727271"/>
                </a:cubicBezTo>
                <a:cubicBezTo>
                  <a:pt x="823365" y="1726806"/>
                  <a:pt x="820474" y="1730214"/>
                  <a:pt x="816034" y="1727426"/>
                </a:cubicBezTo>
                <a:cubicBezTo>
                  <a:pt x="815518" y="1723166"/>
                  <a:pt x="817893" y="1720262"/>
                  <a:pt x="820835" y="1718984"/>
                </a:cubicBezTo>
                <a:close/>
                <a:moveTo>
                  <a:pt x="3586305" y="1718324"/>
                </a:moveTo>
                <a:cubicBezTo>
                  <a:pt x="3588653" y="1719320"/>
                  <a:pt x="3590360" y="1720885"/>
                  <a:pt x="3591641" y="1723019"/>
                </a:cubicBezTo>
                <a:cubicBezTo>
                  <a:pt x="3595269" y="1729279"/>
                  <a:pt x="3593988" y="1739806"/>
                  <a:pt x="3591001" y="1745497"/>
                </a:cubicBezTo>
                <a:cubicBezTo>
                  <a:pt x="3585878" y="1748058"/>
                  <a:pt x="3582037" y="1747916"/>
                  <a:pt x="3579262" y="1746351"/>
                </a:cubicBezTo>
                <a:cubicBezTo>
                  <a:pt x="3570939" y="1741371"/>
                  <a:pt x="3573714" y="1722307"/>
                  <a:pt x="3586305" y="1718324"/>
                </a:cubicBezTo>
                <a:close/>
                <a:moveTo>
                  <a:pt x="6066243" y="1718181"/>
                </a:moveTo>
                <a:cubicBezTo>
                  <a:pt x="6069444" y="1718608"/>
                  <a:pt x="6072006" y="1718181"/>
                  <a:pt x="6075207" y="1718608"/>
                </a:cubicBezTo>
                <a:cubicBezTo>
                  <a:pt x="6080542" y="1723730"/>
                  <a:pt x="6079689" y="1728851"/>
                  <a:pt x="6076487" y="1731412"/>
                </a:cubicBezTo>
                <a:cubicBezTo>
                  <a:pt x="6073072" y="1733973"/>
                  <a:pt x="6067310" y="1733973"/>
                  <a:pt x="6063042" y="1728567"/>
                </a:cubicBezTo>
                <a:cubicBezTo>
                  <a:pt x="6063468" y="1723587"/>
                  <a:pt x="6065176" y="1720458"/>
                  <a:pt x="6066243" y="1718181"/>
                </a:cubicBezTo>
                <a:close/>
                <a:moveTo>
                  <a:pt x="5078536" y="1718181"/>
                </a:moveTo>
                <a:cubicBezTo>
                  <a:pt x="5080030" y="1717897"/>
                  <a:pt x="5081524" y="1718039"/>
                  <a:pt x="5083018" y="1718324"/>
                </a:cubicBezTo>
                <a:cubicBezTo>
                  <a:pt x="5082591" y="1719604"/>
                  <a:pt x="5090061" y="1721169"/>
                  <a:pt x="5092409" y="1727571"/>
                </a:cubicBezTo>
                <a:cubicBezTo>
                  <a:pt x="5093049" y="1729705"/>
                  <a:pt x="5093262" y="1732408"/>
                  <a:pt x="5092195" y="1735680"/>
                </a:cubicBezTo>
                <a:cubicBezTo>
                  <a:pt x="5090061" y="1743220"/>
                  <a:pt x="5085366" y="1750761"/>
                  <a:pt x="5073841" y="1747489"/>
                </a:cubicBezTo>
                <a:cubicBezTo>
                  <a:pt x="5071280" y="1747489"/>
                  <a:pt x="5072347" y="1746777"/>
                  <a:pt x="5070853" y="1746351"/>
                </a:cubicBezTo>
                <a:cubicBezTo>
                  <a:pt x="5069359" y="1745782"/>
                  <a:pt x="5066798" y="1745782"/>
                  <a:pt x="5065731" y="1746351"/>
                </a:cubicBezTo>
                <a:cubicBezTo>
                  <a:pt x="5067225" y="1740375"/>
                  <a:pt x="5063384" y="1739806"/>
                  <a:pt x="5066158" y="1730701"/>
                </a:cubicBezTo>
                <a:cubicBezTo>
                  <a:pt x="5068292" y="1721738"/>
                  <a:pt x="5073628" y="1718608"/>
                  <a:pt x="5078536" y="1718181"/>
                </a:cubicBezTo>
                <a:close/>
                <a:moveTo>
                  <a:pt x="4768437" y="1717897"/>
                </a:moveTo>
                <a:cubicBezTo>
                  <a:pt x="4769505" y="1718039"/>
                  <a:pt x="4770572" y="1718324"/>
                  <a:pt x="4771425" y="1718466"/>
                </a:cubicBezTo>
                <a:cubicBezTo>
                  <a:pt x="4772493" y="1717897"/>
                  <a:pt x="4773986" y="1718181"/>
                  <a:pt x="4774413" y="1719177"/>
                </a:cubicBezTo>
                <a:cubicBezTo>
                  <a:pt x="4774413" y="1719177"/>
                  <a:pt x="4775907" y="1719604"/>
                  <a:pt x="4776974" y="1718893"/>
                </a:cubicBezTo>
                <a:cubicBezTo>
                  <a:pt x="4780176" y="1719604"/>
                  <a:pt x="4780602" y="1720742"/>
                  <a:pt x="4781029" y="1721738"/>
                </a:cubicBezTo>
                <a:cubicBezTo>
                  <a:pt x="4781029" y="1721738"/>
                  <a:pt x="4779535" y="1721311"/>
                  <a:pt x="4778468" y="1721880"/>
                </a:cubicBezTo>
                <a:cubicBezTo>
                  <a:pt x="4778468" y="1721880"/>
                  <a:pt x="4776974" y="1721595"/>
                  <a:pt x="4775480" y="1721169"/>
                </a:cubicBezTo>
                <a:cubicBezTo>
                  <a:pt x="4775480" y="1721169"/>
                  <a:pt x="4774413" y="1721880"/>
                  <a:pt x="4773560" y="1722450"/>
                </a:cubicBezTo>
                <a:cubicBezTo>
                  <a:pt x="4769291" y="1722307"/>
                  <a:pt x="4766730" y="1722592"/>
                  <a:pt x="4765663" y="1718039"/>
                </a:cubicBezTo>
                <a:cubicBezTo>
                  <a:pt x="4766303" y="1717755"/>
                  <a:pt x="4767370" y="1717755"/>
                  <a:pt x="4768437" y="1717897"/>
                </a:cubicBezTo>
                <a:close/>
                <a:moveTo>
                  <a:pt x="1385699" y="1717822"/>
                </a:moveTo>
                <a:cubicBezTo>
                  <a:pt x="1386938" y="1717977"/>
                  <a:pt x="1386938" y="1717977"/>
                  <a:pt x="1386112" y="1718597"/>
                </a:cubicBezTo>
                <a:cubicBezTo>
                  <a:pt x="1387867" y="1719371"/>
                  <a:pt x="1388383" y="1720146"/>
                  <a:pt x="1388797" y="1720766"/>
                </a:cubicBezTo>
                <a:cubicBezTo>
                  <a:pt x="1388487" y="1722005"/>
                  <a:pt x="1386938" y="1723089"/>
                  <a:pt x="1384976" y="1723399"/>
                </a:cubicBezTo>
                <a:cubicBezTo>
                  <a:pt x="1385286" y="1722159"/>
                  <a:pt x="1383634" y="1721230"/>
                  <a:pt x="1383840" y="1719991"/>
                </a:cubicBezTo>
                <a:cubicBezTo>
                  <a:pt x="1383840" y="1719991"/>
                  <a:pt x="1385699" y="1717822"/>
                  <a:pt x="1385699" y="1717822"/>
                </a:cubicBezTo>
                <a:close/>
                <a:moveTo>
                  <a:pt x="1551218" y="1717203"/>
                </a:moveTo>
                <a:cubicBezTo>
                  <a:pt x="1553180" y="1717357"/>
                  <a:pt x="1555142" y="1717667"/>
                  <a:pt x="1557104" y="1717822"/>
                </a:cubicBezTo>
                <a:cubicBezTo>
                  <a:pt x="1560511" y="1719216"/>
                  <a:pt x="1564126" y="1720611"/>
                  <a:pt x="1563712" y="1723554"/>
                </a:cubicBezTo>
                <a:cubicBezTo>
                  <a:pt x="1559789" y="1723244"/>
                  <a:pt x="1557104" y="1723399"/>
                  <a:pt x="1553180" y="1722934"/>
                </a:cubicBezTo>
                <a:cubicBezTo>
                  <a:pt x="1552044" y="1722469"/>
                  <a:pt x="1548947" y="1719991"/>
                  <a:pt x="1549360" y="1718907"/>
                </a:cubicBezTo>
                <a:cubicBezTo>
                  <a:pt x="1549669" y="1717822"/>
                  <a:pt x="1550496" y="1717512"/>
                  <a:pt x="1551218" y="1717203"/>
                </a:cubicBezTo>
                <a:close/>
                <a:moveTo>
                  <a:pt x="4626300" y="1717185"/>
                </a:moveTo>
                <a:cubicBezTo>
                  <a:pt x="4626727" y="1723303"/>
                  <a:pt x="4629928" y="1730843"/>
                  <a:pt x="4627794" y="1736534"/>
                </a:cubicBezTo>
                <a:cubicBezTo>
                  <a:pt x="4627154" y="1734258"/>
                  <a:pt x="4625019" y="1721453"/>
                  <a:pt x="4626300" y="1717185"/>
                </a:cubicBezTo>
                <a:close/>
                <a:moveTo>
                  <a:pt x="1227200" y="1717048"/>
                </a:moveTo>
                <a:cubicBezTo>
                  <a:pt x="1228853" y="1718132"/>
                  <a:pt x="1230608" y="1718442"/>
                  <a:pt x="1232363" y="1719526"/>
                </a:cubicBezTo>
                <a:cubicBezTo>
                  <a:pt x="1232054" y="1722779"/>
                  <a:pt x="1235358" y="1725722"/>
                  <a:pt x="1230608" y="1728200"/>
                </a:cubicBezTo>
                <a:cubicBezTo>
                  <a:pt x="1227717" y="1727736"/>
                  <a:pt x="1225445" y="1725257"/>
                  <a:pt x="1224929" y="1722624"/>
                </a:cubicBezTo>
                <a:cubicBezTo>
                  <a:pt x="1224722" y="1721695"/>
                  <a:pt x="1224722" y="1720920"/>
                  <a:pt x="1224929" y="1719991"/>
                </a:cubicBezTo>
                <a:cubicBezTo>
                  <a:pt x="1225238" y="1718907"/>
                  <a:pt x="1225961" y="1717822"/>
                  <a:pt x="1227200" y="1717048"/>
                </a:cubicBezTo>
                <a:close/>
                <a:moveTo>
                  <a:pt x="1485857" y="1716893"/>
                </a:moveTo>
                <a:cubicBezTo>
                  <a:pt x="1487716" y="1720146"/>
                  <a:pt x="1483895" y="1725257"/>
                  <a:pt x="1480178" y="1725102"/>
                </a:cubicBezTo>
                <a:cubicBezTo>
                  <a:pt x="1482656" y="1722005"/>
                  <a:pt x="1482140" y="1718907"/>
                  <a:pt x="1483586" y="1717512"/>
                </a:cubicBezTo>
                <a:cubicBezTo>
                  <a:pt x="1484102" y="1717203"/>
                  <a:pt x="1484722" y="1716893"/>
                  <a:pt x="1485857" y="1716893"/>
                </a:cubicBezTo>
                <a:close/>
                <a:moveTo>
                  <a:pt x="944691" y="1715964"/>
                </a:moveTo>
                <a:cubicBezTo>
                  <a:pt x="946137" y="1715499"/>
                  <a:pt x="947066" y="1715654"/>
                  <a:pt x="947892" y="1716273"/>
                </a:cubicBezTo>
                <a:cubicBezTo>
                  <a:pt x="948719" y="1716893"/>
                  <a:pt x="949441" y="1717977"/>
                  <a:pt x="950164" y="1719526"/>
                </a:cubicBezTo>
                <a:cubicBezTo>
                  <a:pt x="951609" y="1722314"/>
                  <a:pt x="949441" y="1723863"/>
                  <a:pt x="950164" y="1726342"/>
                </a:cubicBezTo>
                <a:lnTo>
                  <a:pt x="948615" y="1725877"/>
                </a:lnTo>
                <a:lnTo>
                  <a:pt x="947583" y="1734242"/>
                </a:lnTo>
                <a:cubicBezTo>
                  <a:pt x="946653" y="1736875"/>
                  <a:pt x="945104" y="1739198"/>
                  <a:pt x="943142" y="1741057"/>
                </a:cubicBezTo>
                <a:lnTo>
                  <a:pt x="939116" y="1743690"/>
                </a:lnTo>
                <a:lnTo>
                  <a:pt x="942729" y="1744465"/>
                </a:lnTo>
                <a:cubicBezTo>
                  <a:pt x="946860" y="1746168"/>
                  <a:pt x="951093" y="1748647"/>
                  <a:pt x="955120" y="1752674"/>
                </a:cubicBezTo>
                <a:cubicBezTo>
                  <a:pt x="954914" y="1758250"/>
                  <a:pt x="950577" y="1759645"/>
                  <a:pt x="945518" y="1758560"/>
                </a:cubicBezTo>
                <a:cubicBezTo>
                  <a:pt x="939116" y="1757321"/>
                  <a:pt x="931681" y="1752364"/>
                  <a:pt x="930029" y="1747098"/>
                </a:cubicBezTo>
                <a:lnTo>
                  <a:pt x="930029" y="1746633"/>
                </a:lnTo>
                <a:lnTo>
                  <a:pt x="923214" y="1746478"/>
                </a:lnTo>
                <a:cubicBezTo>
                  <a:pt x="920736" y="1746013"/>
                  <a:pt x="918155" y="1745239"/>
                  <a:pt x="915676" y="1744000"/>
                </a:cubicBezTo>
                <a:cubicBezTo>
                  <a:pt x="915676" y="1742916"/>
                  <a:pt x="915780" y="1741677"/>
                  <a:pt x="914540" y="1741522"/>
                </a:cubicBezTo>
                <a:cubicBezTo>
                  <a:pt x="914231" y="1733932"/>
                  <a:pt x="919497" y="1727271"/>
                  <a:pt x="926415" y="1724018"/>
                </a:cubicBezTo>
                <a:cubicBezTo>
                  <a:pt x="931681" y="1721385"/>
                  <a:pt x="937773" y="1720611"/>
                  <a:pt x="943349" y="1722469"/>
                </a:cubicBezTo>
                <a:lnTo>
                  <a:pt x="944175" y="1722934"/>
                </a:lnTo>
                <a:lnTo>
                  <a:pt x="943142" y="1721850"/>
                </a:lnTo>
                <a:cubicBezTo>
                  <a:pt x="942833" y="1720611"/>
                  <a:pt x="942833" y="1720611"/>
                  <a:pt x="943246" y="1719836"/>
                </a:cubicBezTo>
                <a:cubicBezTo>
                  <a:pt x="943349" y="1717977"/>
                  <a:pt x="943039" y="1716893"/>
                  <a:pt x="944691" y="1715964"/>
                </a:cubicBezTo>
                <a:close/>
                <a:moveTo>
                  <a:pt x="5771937" y="1715905"/>
                </a:moveTo>
                <a:cubicBezTo>
                  <a:pt x="5773004" y="1715621"/>
                  <a:pt x="5774071" y="1715905"/>
                  <a:pt x="5774712" y="1717185"/>
                </a:cubicBezTo>
                <a:cubicBezTo>
                  <a:pt x="5776206" y="1722165"/>
                  <a:pt x="5766388" y="1726148"/>
                  <a:pt x="5764254" y="1724726"/>
                </a:cubicBezTo>
                <a:cubicBezTo>
                  <a:pt x="5763827" y="1722876"/>
                  <a:pt x="5768309" y="1716758"/>
                  <a:pt x="5771937" y="1715905"/>
                </a:cubicBezTo>
                <a:close/>
                <a:moveTo>
                  <a:pt x="1465309" y="1715654"/>
                </a:moveTo>
                <a:cubicBezTo>
                  <a:pt x="1465722" y="1716428"/>
                  <a:pt x="1466445" y="1716119"/>
                  <a:pt x="1466858" y="1716893"/>
                </a:cubicBezTo>
                <a:cubicBezTo>
                  <a:pt x="1468510" y="1718132"/>
                  <a:pt x="1468510" y="1718132"/>
                  <a:pt x="1468097" y="1719216"/>
                </a:cubicBezTo>
                <a:cubicBezTo>
                  <a:pt x="1467684" y="1720301"/>
                  <a:pt x="1464793" y="1720455"/>
                  <a:pt x="1464380" y="1721695"/>
                </a:cubicBezTo>
                <a:cubicBezTo>
                  <a:pt x="1464380" y="1721695"/>
                  <a:pt x="1464483" y="1721695"/>
                  <a:pt x="1462831" y="1720301"/>
                </a:cubicBezTo>
                <a:cubicBezTo>
                  <a:pt x="1462418" y="1719526"/>
                  <a:pt x="1462108" y="1718752"/>
                  <a:pt x="1462521" y="1717667"/>
                </a:cubicBezTo>
                <a:cubicBezTo>
                  <a:pt x="1462934" y="1716583"/>
                  <a:pt x="1464483" y="1715964"/>
                  <a:pt x="1465309" y="1715654"/>
                </a:cubicBezTo>
                <a:close/>
                <a:moveTo>
                  <a:pt x="5161770" y="1715478"/>
                </a:moveTo>
                <a:cubicBezTo>
                  <a:pt x="5161556" y="1723445"/>
                  <a:pt x="5163477" y="1732693"/>
                  <a:pt x="5160703" y="1740233"/>
                </a:cubicBezTo>
                <a:cubicBezTo>
                  <a:pt x="5154514" y="1733546"/>
                  <a:pt x="5150885" y="1717755"/>
                  <a:pt x="5161770" y="1715478"/>
                </a:cubicBezTo>
                <a:close/>
                <a:moveTo>
                  <a:pt x="1041649" y="1715034"/>
                </a:moveTo>
                <a:cubicBezTo>
                  <a:pt x="1042578" y="1713331"/>
                  <a:pt x="1044333" y="1714105"/>
                  <a:pt x="1045986" y="1715654"/>
                </a:cubicBezTo>
                <a:cubicBezTo>
                  <a:pt x="1050219" y="1717977"/>
                  <a:pt x="1051045" y="1720455"/>
                  <a:pt x="1048258" y="1723089"/>
                </a:cubicBezTo>
                <a:cubicBezTo>
                  <a:pt x="1047431" y="1723244"/>
                  <a:pt x="1044850" y="1722469"/>
                  <a:pt x="1044747" y="1723399"/>
                </a:cubicBezTo>
                <a:cubicBezTo>
                  <a:pt x="1042888" y="1721540"/>
                  <a:pt x="1041029" y="1719216"/>
                  <a:pt x="1041029" y="1717203"/>
                </a:cubicBezTo>
                <a:cubicBezTo>
                  <a:pt x="1041029" y="1716428"/>
                  <a:pt x="1041236" y="1715654"/>
                  <a:pt x="1041649" y="1715034"/>
                </a:cubicBezTo>
                <a:close/>
                <a:moveTo>
                  <a:pt x="5868616" y="1714340"/>
                </a:moveTo>
                <a:cubicBezTo>
                  <a:pt x="5869897" y="1719320"/>
                  <a:pt x="5871177" y="1724299"/>
                  <a:pt x="5866482" y="1725295"/>
                </a:cubicBezTo>
                <a:cubicBezTo>
                  <a:pt x="5861574" y="1722022"/>
                  <a:pt x="5861360" y="1715051"/>
                  <a:pt x="5868616" y="1714340"/>
                </a:cubicBezTo>
                <a:close/>
                <a:moveTo>
                  <a:pt x="5448393" y="1714340"/>
                </a:moveTo>
                <a:cubicBezTo>
                  <a:pt x="5453942" y="1714909"/>
                  <a:pt x="5459918" y="1717612"/>
                  <a:pt x="5463973" y="1720458"/>
                </a:cubicBezTo>
                <a:cubicBezTo>
                  <a:pt x="5453302" y="1729421"/>
                  <a:pt x="5443697" y="1724726"/>
                  <a:pt x="5434307" y="1720315"/>
                </a:cubicBezTo>
                <a:cubicBezTo>
                  <a:pt x="5437295" y="1714909"/>
                  <a:pt x="5442844" y="1713629"/>
                  <a:pt x="5448393" y="1714340"/>
                </a:cubicBezTo>
                <a:close/>
                <a:moveTo>
                  <a:pt x="4626940" y="1714340"/>
                </a:moveTo>
                <a:cubicBezTo>
                  <a:pt x="4626300" y="1716047"/>
                  <a:pt x="4626300" y="1716047"/>
                  <a:pt x="4626513" y="1717185"/>
                </a:cubicBezTo>
                <a:cubicBezTo>
                  <a:pt x="4626513" y="1717185"/>
                  <a:pt x="4625232" y="1716332"/>
                  <a:pt x="4625232" y="1716332"/>
                </a:cubicBezTo>
                <a:cubicBezTo>
                  <a:pt x="4625873" y="1714767"/>
                  <a:pt x="4625019" y="1715051"/>
                  <a:pt x="4626940" y="1714340"/>
                </a:cubicBezTo>
                <a:close/>
                <a:moveTo>
                  <a:pt x="3708595" y="1714198"/>
                </a:moveTo>
                <a:cubicBezTo>
                  <a:pt x="3714144" y="1717470"/>
                  <a:pt x="3720120" y="1718181"/>
                  <a:pt x="3725668" y="1721453"/>
                </a:cubicBezTo>
                <a:cubicBezTo>
                  <a:pt x="3729083" y="1729989"/>
                  <a:pt x="3719266" y="1747773"/>
                  <a:pt x="3707528" y="1749765"/>
                </a:cubicBezTo>
                <a:cubicBezTo>
                  <a:pt x="3703473" y="1750476"/>
                  <a:pt x="3699418" y="1749196"/>
                  <a:pt x="3695363" y="1745355"/>
                </a:cubicBezTo>
                <a:cubicBezTo>
                  <a:pt x="3684905" y="1733404"/>
                  <a:pt x="3695149" y="1723730"/>
                  <a:pt x="3708595" y="1714198"/>
                </a:cubicBezTo>
                <a:close/>
                <a:moveTo>
                  <a:pt x="3560482" y="1714056"/>
                </a:moveTo>
                <a:cubicBezTo>
                  <a:pt x="3563683" y="1716047"/>
                  <a:pt x="3569659" y="1715051"/>
                  <a:pt x="3570086" y="1721169"/>
                </a:cubicBezTo>
                <a:cubicBezTo>
                  <a:pt x="3555573" y="1725010"/>
                  <a:pt x="3558561" y="1747204"/>
                  <a:pt x="3544475" y="1746351"/>
                </a:cubicBezTo>
                <a:cubicBezTo>
                  <a:pt x="3547249" y="1734969"/>
                  <a:pt x="3547463" y="1723161"/>
                  <a:pt x="3560482" y="1714056"/>
                </a:cubicBezTo>
                <a:close/>
                <a:moveTo>
                  <a:pt x="4669197" y="1713629"/>
                </a:moveTo>
                <a:lnTo>
                  <a:pt x="4674533" y="1719746"/>
                </a:lnTo>
                <a:lnTo>
                  <a:pt x="4677521" y="1719035"/>
                </a:lnTo>
                <a:cubicBezTo>
                  <a:pt x="4679014" y="1719604"/>
                  <a:pt x="4680295" y="1721027"/>
                  <a:pt x="4681789" y="1723019"/>
                </a:cubicBezTo>
                <a:cubicBezTo>
                  <a:pt x="4680082" y="1723872"/>
                  <a:pt x="4678587" y="1723872"/>
                  <a:pt x="4677094" y="1723303"/>
                </a:cubicBezTo>
                <a:lnTo>
                  <a:pt x="4676667" y="1723161"/>
                </a:lnTo>
                <a:lnTo>
                  <a:pt x="4680295" y="1729421"/>
                </a:lnTo>
                <a:cubicBezTo>
                  <a:pt x="4681789" y="1732266"/>
                  <a:pt x="4683496" y="1734827"/>
                  <a:pt x="4685630" y="1736676"/>
                </a:cubicBezTo>
                <a:cubicBezTo>
                  <a:pt x="4685630" y="1736676"/>
                  <a:pt x="4685630" y="1736534"/>
                  <a:pt x="4684990" y="1739948"/>
                </a:cubicBezTo>
                <a:cubicBezTo>
                  <a:pt x="4685844" y="1740945"/>
                  <a:pt x="4685844" y="1740945"/>
                  <a:pt x="4685844" y="1740945"/>
                </a:cubicBezTo>
                <a:cubicBezTo>
                  <a:pt x="4686484" y="1741940"/>
                  <a:pt x="4684563" y="1743220"/>
                  <a:pt x="4684563" y="1743220"/>
                </a:cubicBezTo>
                <a:cubicBezTo>
                  <a:pt x="4682002" y="1743363"/>
                  <a:pt x="4680935" y="1739664"/>
                  <a:pt x="4679655" y="1737672"/>
                </a:cubicBezTo>
                <a:cubicBezTo>
                  <a:pt x="4677094" y="1737957"/>
                  <a:pt x="4678801" y="1732408"/>
                  <a:pt x="4676240" y="1732551"/>
                </a:cubicBezTo>
                <a:cubicBezTo>
                  <a:pt x="4677307" y="1726006"/>
                  <a:pt x="4669197" y="1724014"/>
                  <a:pt x="4669197" y="1713629"/>
                </a:cubicBezTo>
                <a:close/>
                <a:moveTo>
                  <a:pt x="1681734" y="1713331"/>
                </a:moveTo>
                <a:cubicBezTo>
                  <a:pt x="1682354" y="1713021"/>
                  <a:pt x="1683076" y="1713176"/>
                  <a:pt x="1683386" y="1713640"/>
                </a:cubicBezTo>
                <a:cubicBezTo>
                  <a:pt x="1683283" y="1714415"/>
                  <a:pt x="1684109" y="1714415"/>
                  <a:pt x="1684006" y="1715344"/>
                </a:cubicBezTo>
                <a:cubicBezTo>
                  <a:pt x="1684522" y="1717048"/>
                  <a:pt x="1684419" y="1717822"/>
                  <a:pt x="1683490" y="1718752"/>
                </a:cubicBezTo>
                <a:cubicBezTo>
                  <a:pt x="1683283" y="1719526"/>
                  <a:pt x="1682457" y="1719526"/>
                  <a:pt x="1681425" y="1720301"/>
                </a:cubicBezTo>
                <a:cubicBezTo>
                  <a:pt x="1680598" y="1720301"/>
                  <a:pt x="1679875" y="1719371"/>
                  <a:pt x="1679875" y="1719371"/>
                </a:cubicBezTo>
                <a:cubicBezTo>
                  <a:pt x="1679153" y="1718442"/>
                  <a:pt x="1679153" y="1718442"/>
                  <a:pt x="1678120" y="1719216"/>
                </a:cubicBezTo>
                <a:cubicBezTo>
                  <a:pt x="1678120" y="1719216"/>
                  <a:pt x="1678327" y="1718287"/>
                  <a:pt x="1678327" y="1718287"/>
                </a:cubicBezTo>
                <a:cubicBezTo>
                  <a:pt x="1679153" y="1718442"/>
                  <a:pt x="1678327" y="1718287"/>
                  <a:pt x="1677604" y="1717512"/>
                </a:cubicBezTo>
                <a:cubicBezTo>
                  <a:pt x="1678740" y="1715809"/>
                  <a:pt x="1678843" y="1715034"/>
                  <a:pt x="1679875" y="1714260"/>
                </a:cubicBezTo>
                <a:cubicBezTo>
                  <a:pt x="1680392" y="1713795"/>
                  <a:pt x="1681011" y="1713485"/>
                  <a:pt x="1681734" y="1713331"/>
                </a:cubicBezTo>
                <a:close/>
                <a:moveTo>
                  <a:pt x="1515595" y="1713176"/>
                </a:moveTo>
                <a:cubicBezTo>
                  <a:pt x="1516628" y="1713021"/>
                  <a:pt x="1517763" y="1713176"/>
                  <a:pt x="1519209" y="1713795"/>
                </a:cubicBezTo>
                <a:cubicBezTo>
                  <a:pt x="1519519" y="1715499"/>
                  <a:pt x="1518486" y="1717203"/>
                  <a:pt x="1516937" y="1718907"/>
                </a:cubicBezTo>
                <a:lnTo>
                  <a:pt x="1514046" y="1721385"/>
                </a:lnTo>
                <a:lnTo>
                  <a:pt x="1514459" y="1721695"/>
                </a:lnTo>
                <a:cubicBezTo>
                  <a:pt x="1514872" y="1722314"/>
                  <a:pt x="1514975" y="1723089"/>
                  <a:pt x="1514563" y="1724173"/>
                </a:cubicBezTo>
                <a:cubicBezTo>
                  <a:pt x="1514149" y="1727116"/>
                  <a:pt x="1511774" y="1728045"/>
                  <a:pt x="1509090" y="1728200"/>
                </a:cubicBezTo>
                <a:cubicBezTo>
                  <a:pt x="1507851" y="1729595"/>
                  <a:pt x="1507747" y="1731453"/>
                  <a:pt x="1505786" y="1731299"/>
                </a:cubicBezTo>
                <a:cubicBezTo>
                  <a:pt x="1507438" y="1728820"/>
                  <a:pt x="1507851" y="1727736"/>
                  <a:pt x="1509090" y="1726342"/>
                </a:cubicBezTo>
                <a:cubicBezTo>
                  <a:pt x="1508677" y="1725722"/>
                  <a:pt x="1508367" y="1724792"/>
                  <a:pt x="1508780" y="1723709"/>
                </a:cubicBezTo>
                <a:lnTo>
                  <a:pt x="1509916" y="1722469"/>
                </a:lnTo>
                <a:lnTo>
                  <a:pt x="1509193" y="1721695"/>
                </a:lnTo>
                <a:cubicBezTo>
                  <a:pt x="1508573" y="1721075"/>
                  <a:pt x="1507954" y="1720455"/>
                  <a:pt x="1507128" y="1719991"/>
                </a:cubicBezTo>
                <a:cubicBezTo>
                  <a:pt x="1511362" y="1717048"/>
                  <a:pt x="1512704" y="1713485"/>
                  <a:pt x="1515595" y="1713176"/>
                </a:cubicBezTo>
                <a:close/>
                <a:moveTo>
                  <a:pt x="697806" y="1713176"/>
                </a:moveTo>
                <a:cubicBezTo>
                  <a:pt x="699458" y="1715034"/>
                  <a:pt x="699458" y="1715809"/>
                  <a:pt x="700284" y="1716738"/>
                </a:cubicBezTo>
                <a:cubicBezTo>
                  <a:pt x="700284" y="1715964"/>
                  <a:pt x="701110" y="1716738"/>
                  <a:pt x="701110" y="1716738"/>
                </a:cubicBezTo>
                <a:cubicBezTo>
                  <a:pt x="701110" y="1716738"/>
                  <a:pt x="701213" y="1716893"/>
                  <a:pt x="702969" y="1715344"/>
                </a:cubicBezTo>
                <a:cubicBezTo>
                  <a:pt x="702969" y="1715344"/>
                  <a:pt x="707305" y="1712401"/>
                  <a:pt x="711642" y="1716273"/>
                </a:cubicBezTo>
                <a:cubicBezTo>
                  <a:pt x="710713" y="1717048"/>
                  <a:pt x="715876" y="1722469"/>
                  <a:pt x="714017" y="1725722"/>
                </a:cubicBezTo>
                <a:cubicBezTo>
                  <a:pt x="713191" y="1727271"/>
                  <a:pt x="712262" y="1728045"/>
                  <a:pt x="711435" y="1729595"/>
                </a:cubicBezTo>
                <a:cubicBezTo>
                  <a:pt x="708751" y="1729440"/>
                  <a:pt x="706169" y="1731608"/>
                  <a:pt x="701007" y="1727736"/>
                </a:cubicBezTo>
                <a:cubicBezTo>
                  <a:pt x="695844" y="1723089"/>
                  <a:pt x="700284" y="1718442"/>
                  <a:pt x="699355" y="1718287"/>
                </a:cubicBezTo>
                <a:cubicBezTo>
                  <a:pt x="698528" y="1717357"/>
                  <a:pt x="698528" y="1717357"/>
                  <a:pt x="697702" y="1717357"/>
                </a:cubicBezTo>
                <a:cubicBezTo>
                  <a:pt x="697702" y="1716428"/>
                  <a:pt x="696877" y="1714724"/>
                  <a:pt x="696051" y="1713795"/>
                </a:cubicBezTo>
                <a:cubicBezTo>
                  <a:pt x="696877" y="1713795"/>
                  <a:pt x="697806" y="1713950"/>
                  <a:pt x="697806" y="1713176"/>
                </a:cubicBezTo>
                <a:close/>
                <a:moveTo>
                  <a:pt x="4973107" y="1712633"/>
                </a:moveTo>
                <a:cubicBezTo>
                  <a:pt x="4982497" y="1713059"/>
                  <a:pt x="4997223" y="1732978"/>
                  <a:pt x="4989540" y="1742082"/>
                </a:cubicBezTo>
                <a:cubicBezTo>
                  <a:pt x="4984418" y="1734684"/>
                  <a:pt x="4980790" y="1727429"/>
                  <a:pt x="4970973" y="1719746"/>
                </a:cubicBezTo>
                <a:cubicBezTo>
                  <a:pt x="4973321" y="1717470"/>
                  <a:pt x="4969692" y="1714909"/>
                  <a:pt x="4973107" y="1712633"/>
                </a:cubicBezTo>
                <a:close/>
                <a:moveTo>
                  <a:pt x="1278209" y="1712091"/>
                </a:moveTo>
                <a:cubicBezTo>
                  <a:pt x="1279448" y="1712401"/>
                  <a:pt x="1279448" y="1712401"/>
                  <a:pt x="1280584" y="1712711"/>
                </a:cubicBezTo>
                <a:cubicBezTo>
                  <a:pt x="1281513" y="1714260"/>
                  <a:pt x="1283165" y="1715344"/>
                  <a:pt x="1283269" y="1717203"/>
                </a:cubicBezTo>
                <a:cubicBezTo>
                  <a:pt x="1283062" y="1718287"/>
                  <a:pt x="1281926" y="1719062"/>
                  <a:pt x="1280481" y="1719681"/>
                </a:cubicBezTo>
                <a:lnTo>
                  <a:pt x="1276867" y="1720611"/>
                </a:lnTo>
                <a:lnTo>
                  <a:pt x="1276970" y="1721230"/>
                </a:lnTo>
                <a:cubicBezTo>
                  <a:pt x="1276970" y="1721230"/>
                  <a:pt x="1277073" y="1720301"/>
                  <a:pt x="1277796" y="1721230"/>
                </a:cubicBezTo>
                <a:cubicBezTo>
                  <a:pt x="1276970" y="1721230"/>
                  <a:pt x="1276867" y="1722005"/>
                  <a:pt x="1276763" y="1722934"/>
                </a:cubicBezTo>
                <a:cubicBezTo>
                  <a:pt x="1274698" y="1724483"/>
                  <a:pt x="1271704" y="1726032"/>
                  <a:pt x="1270155" y="1724948"/>
                </a:cubicBezTo>
                <a:cubicBezTo>
                  <a:pt x="1269432" y="1724173"/>
                  <a:pt x="1269329" y="1723244"/>
                  <a:pt x="1269535" y="1722624"/>
                </a:cubicBezTo>
                <a:cubicBezTo>
                  <a:pt x="1269742" y="1721850"/>
                  <a:pt x="1270362" y="1721230"/>
                  <a:pt x="1270878" y="1720766"/>
                </a:cubicBezTo>
                <a:cubicBezTo>
                  <a:pt x="1271497" y="1719526"/>
                  <a:pt x="1272633" y="1719062"/>
                  <a:pt x="1273975" y="1718907"/>
                </a:cubicBezTo>
                <a:lnTo>
                  <a:pt x="1275008" y="1719062"/>
                </a:lnTo>
                <a:lnTo>
                  <a:pt x="1274285" y="1718442"/>
                </a:lnTo>
                <a:cubicBezTo>
                  <a:pt x="1273975" y="1717357"/>
                  <a:pt x="1273975" y="1716119"/>
                  <a:pt x="1274182" y="1715034"/>
                </a:cubicBezTo>
                <a:cubicBezTo>
                  <a:pt x="1274079" y="1714105"/>
                  <a:pt x="1274698" y="1713331"/>
                  <a:pt x="1275421" y="1712866"/>
                </a:cubicBezTo>
                <a:cubicBezTo>
                  <a:pt x="1276247" y="1712401"/>
                  <a:pt x="1277280" y="1712091"/>
                  <a:pt x="1278209" y="1712091"/>
                </a:cubicBezTo>
                <a:close/>
                <a:moveTo>
                  <a:pt x="1430822" y="1711936"/>
                </a:moveTo>
                <a:cubicBezTo>
                  <a:pt x="1435055" y="1711936"/>
                  <a:pt x="1436707" y="1713795"/>
                  <a:pt x="1437843" y="1717512"/>
                </a:cubicBezTo>
                <a:cubicBezTo>
                  <a:pt x="1435985" y="1718907"/>
                  <a:pt x="1431751" y="1719062"/>
                  <a:pt x="1429996" y="1717048"/>
                </a:cubicBezTo>
                <a:cubicBezTo>
                  <a:pt x="1429479" y="1714105"/>
                  <a:pt x="1431338" y="1713795"/>
                  <a:pt x="1430822" y="1711936"/>
                </a:cubicBezTo>
                <a:close/>
                <a:moveTo>
                  <a:pt x="1073039" y="1711317"/>
                </a:moveTo>
                <a:cubicBezTo>
                  <a:pt x="1074691" y="1712091"/>
                  <a:pt x="1076963" y="1717667"/>
                  <a:pt x="1076033" y="1718597"/>
                </a:cubicBezTo>
                <a:cubicBezTo>
                  <a:pt x="1074175" y="1717357"/>
                  <a:pt x="1070974" y="1715499"/>
                  <a:pt x="1070148" y="1713485"/>
                </a:cubicBezTo>
                <a:cubicBezTo>
                  <a:pt x="1069941" y="1712711"/>
                  <a:pt x="1070044" y="1712091"/>
                  <a:pt x="1070458" y="1711472"/>
                </a:cubicBezTo>
                <a:cubicBezTo>
                  <a:pt x="1071387" y="1710542"/>
                  <a:pt x="1072213" y="1711317"/>
                  <a:pt x="1073039" y="1711317"/>
                </a:cubicBezTo>
                <a:close/>
                <a:moveTo>
                  <a:pt x="1016145" y="1711317"/>
                </a:moveTo>
                <a:cubicBezTo>
                  <a:pt x="1018003" y="1712711"/>
                  <a:pt x="1019862" y="1713331"/>
                  <a:pt x="1019862" y="1714105"/>
                </a:cubicBezTo>
                <a:cubicBezTo>
                  <a:pt x="1020791" y="1713950"/>
                  <a:pt x="1021721" y="1714724"/>
                  <a:pt x="1022547" y="1714570"/>
                </a:cubicBezTo>
                <a:cubicBezTo>
                  <a:pt x="1022547" y="1714570"/>
                  <a:pt x="1022547" y="1714570"/>
                  <a:pt x="1022650" y="1715344"/>
                </a:cubicBezTo>
                <a:cubicBezTo>
                  <a:pt x="1019036" y="1715034"/>
                  <a:pt x="1014699" y="1716428"/>
                  <a:pt x="1012014" y="1715189"/>
                </a:cubicBezTo>
                <a:cubicBezTo>
                  <a:pt x="1011498" y="1714879"/>
                  <a:pt x="1011085" y="1714415"/>
                  <a:pt x="1010879" y="1713950"/>
                </a:cubicBezTo>
                <a:cubicBezTo>
                  <a:pt x="1010775" y="1713485"/>
                  <a:pt x="1010982" y="1712711"/>
                  <a:pt x="1011808" y="1711781"/>
                </a:cubicBezTo>
                <a:cubicBezTo>
                  <a:pt x="1012634" y="1710077"/>
                  <a:pt x="1013460" y="1709923"/>
                  <a:pt x="1016145" y="1711317"/>
                </a:cubicBezTo>
                <a:close/>
                <a:moveTo>
                  <a:pt x="1175675" y="1710852"/>
                </a:moveTo>
                <a:cubicBezTo>
                  <a:pt x="1176398" y="1710697"/>
                  <a:pt x="1177328" y="1710852"/>
                  <a:pt x="1178463" y="1711317"/>
                </a:cubicBezTo>
                <a:cubicBezTo>
                  <a:pt x="1179186" y="1711007"/>
                  <a:pt x="1181561" y="1713795"/>
                  <a:pt x="1181148" y="1714879"/>
                </a:cubicBezTo>
                <a:cubicBezTo>
                  <a:pt x="1180735" y="1717822"/>
                  <a:pt x="1177740" y="1717203"/>
                  <a:pt x="1174230" y="1717667"/>
                </a:cubicBezTo>
                <a:cubicBezTo>
                  <a:pt x="1174643" y="1716583"/>
                  <a:pt x="1173507" y="1716119"/>
                  <a:pt x="1172371" y="1715654"/>
                </a:cubicBezTo>
                <a:cubicBezTo>
                  <a:pt x="1172888" y="1713950"/>
                  <a:pt x="1173507" y="1711317"/>
                  <a:pt x="1175675" y="1710852"/>
                </a:cubicBezTo>
                <a:close/>
                <a:moveTo>
                  <a:pt x="1141395" y="1710852"/>
                </a:moveTo>
                <a:cubicBezTo>
                  <a:pt x="1141807" y="1711627"/>
                  <a:pt x="1143047" y="1711936"/>
                  <a:pt x="1143563" y="1712711"/>
                </a:cubicBezTo>
                <a:cubicBezTo>
                  <a:pt x="1142943" y="1715034"/>
                  <a:pt x="1139742" y="1714724"/>
                  <a:pt x="1139329" y="1713950"/>
                </a:cubicBezTo>
                <a:cubicBezTo>
                  <a:pt x="1139536" y="1712711"/>
                  <a:pt x="1141085" y="1711936"/>
                  <a:pt x="1141395" y="1710852"/>
                </a:cubicBezTo>
                <a:close/>
                <a:moveTo>
                  <a:pt x="803747" y="1710852"/>
                </a:moveTo>
                <a:cubicBezTo>
                  <a:pt x="806534" y="1712091"/>
                  <a:pt x="809116" y="1717977"/>
                  <a:pt x="807361" y="1720611"/>
                </a:cubicBezTo>
                <a:cubicBezTo>
                  <a:pt x="806844" y="1721540"/>
                  <a:pt x="805812" y="1722159"/>
                  <a:pt x="804160" y="1722159"/>
                </a:cubicBezTo>
                <a:cubicBezTo>
                  <a:pt x="799203" y="1721540"/>
                  <a:pt x="798687" y="1717357"/>
                  <a:pt x="798790" y="1712556"/>
                </a:cubicBezTo>
                <a:cubicBezTo>
                  <a:pt x="800649" y="1712246"/>
                  <a:pt x="801888" y="1711162"/>
                  <a:pt x="803747" y="1710852"/>
                </a:cubicBezTo>
                <a:close/>
                <a:moveTo>
                  <a:pt x="5216832" y="1710784"/>
                </a:moveTo>
                <a:cubicBezTo>
                  <a:pt x="5220461" y="1710214"/>
                  <a:pt x="5223449" y="1713486"/>
                  <a:pt x="5226223" y="1717328"/>
                </a:cubicBezTo>
                <a:cubicBezTo>
                  <a:pt x="5224729" y="1719604"/>
                  <a:pt x="5224302" y="1722022"/>
                  <a:pt x="5222808" y="1724299"/>
                </a:cubicBezTo>
                <a:cubicBezTo>
                  <a:pt x="5218966" y="1725722"/>
                  <a:pt x="5211497" y="1722022"/>
                  <a:pt x="5211070" y="1717470"/>
                </a:cubicBezTo>
                <a:cubicBezTo>
                  <a:pt x="5210857" y="1715905"/>
                  <a:pt x="5211283" y="1714198"/>
                  <a:pt x="5212991" y="1712491"/>
                </a:cubicBezTo>
                <a:cubicBezTo>
                  <a:pt x="5214485" y="1711495"/>
                  <a:pt x="5215765" y="1710926"/>
                  <a:pt x="5216832" y="1710784"/>
                </a:cubicBezTo>
                <a:close/>
                <a:moveTo>
                  <a:pt x="5314365" y="1710499"/>
                </a:moveTo>
                <a:cubicBezTo>
                  <a:pt x="5331012" y="1712064"/>
                  <a:pt x="5347232" y="1726860"/>
                  <a:pt x="5363238" y="1736818"/>
                </a:cubicBezTo>
                <a:cubicBezTo>
                  <a:pt x="5360464" y="1739806"/>
                  <a:pt x="5361317" y="1743647"/>
                  <a:pt x="5356196" y="1747204"/>
                </a:cubicBezTo>
                <a:cubicBezTo>
                  <a:pt x="5339335" y="1732551"/>
                  <a:pt x="5320768" y="1723303"/>
                  <a:pt x="5307322" y="1710641"/>
                </a:cubicBezTo>
                <a:cubicBezTo>
                  <a:pt x="5309670" y="1710356"/>
                  <a:pt x="5312017" y="1710214"/>
                  <a:pt x="5314365" y="1710499"/>
                </a:cubicBezTo>
                <a:close/>
                <a:moveTo>
                  <a:pt x="1233189" y="1710388"/>
                </a:moveTo>
                <a:cubicBezTo>
                  <a:pt x="1233809" y="1710233"/>
                  <a:pt x="1234429" y="1710388"/>
                  <a:pt x="1234738" y="1710852"/>
                </a:cubicBezTo>
                <a:cubicBezTo>
                  <a:pt x="1232776" y="1712401"/>
                  <a:pt x="1230504" y="1715499"/>
                  <a:pt x="1227200" y="1714415"/>
                </a:cubicBezTo>
                <a:cubicBezTo>
                  <a:pt x="1228749" y="1713331"/>
                  <a:pt x="1231331" y="1710852"/>
                  <a:pt x="1233189" y="1710388"/>
                </a:cubicBezTo>
                <a:close/>
                <a:moveTo>
                  <a:pt x="4698009" y="1710072"/>
                </a:moveTo>
                <a:cubicBezTo>
                  <a:pt x="4698009" y="1711210"/>
                  <a:pt x="4697369" y="1712348"/>
                  <a:pt x="4696301" y="1713344"/>
                </a:cubicBezTo>
                <a:cubicBezTo>
                  <a:pt x="4693313" y="1716758"/>
                  <a:pt x="4686698" y="1719888"/>
                  <a:pt x="4683283" y="1720885"/>
                </a:cubicBezTo>
                <a:cubicBezTo>
                  <a:pt x="4683283" y="1716616"/>
                  <a:pt x="4693313" y="1711352"/>
                  <a:pt x="4698009" y="1710072"/>
                </a:cubicBezTo>
                <a:close/>
                <a:moveTo>
                  <a:pt x="1493292" y="1709768"/>
                </a:moveTo>
                <a:cubicBezTo>
                  <a:pt x="1493705" y="1710388"/>
                  <a:pt x="1495357" y="1711317"/>
                  <a:pt x="1495047" y="1712556"/>
                </a:cubicBezTo>
                <a:lnTo>
                  <a:pt x="1494944" y="1712711"/>
                </a:lnTo>
                <a:lnTo>
                  <a:pt x="1496493" y="1713331"/>
                </a:lnTo>
                <a:cubicBezTo>
                  <a:pt x="1496802" y="1713950"/>
                  <a:pt x="1496699" y="1714879"/>
                  <a:pt x="1496493" y="1716428"/>
                </a:cubicBezTo>
                <a:lnTo>
                  <a:pt x="1503411" y="1712866"/>
                </a:lnTo>
                <a:cubicBezTo>
                  <a:pt x="1505682" y="1712091"/>
                  <a:pt x="1507644" y="1711317"/>
                  <a:pt x="1509090" y="1711162"/>
                </a:cubicBezTo>
                <a:cubicBezTo>
                  <a:pt x="1504134" y="1717357"/>
                  <a:pt x="1495563" y="1727426"/>
                  <a:pt x="1487923" y="1729904"/>
                </a:cubicBezTo>
                <a:cubicBezTo>
                  <a:pt x="1487406" y="1728820"/>
                  <a:pt x="1487303" y="1727736"/>
                  <a:pt x="1487406" y="1726806"/>
                </a:cubicBezTo>
                <a:cubicBezTo>
                  <a:pt x="1487612" y="1724948"/>
                  <a:pt x="1488748" y="1723089"/>
                  <a:pt x="1490297" y="1721385"/>
                </a:cubicBezTo>
                <a:lnTo>
                  <a:pt x="1492879" y="1719371"/>
                </a:lnTo>
                <a:lnTo>
                  <a:pt x="1492569" y="1718597"/>
                </a:lnTo>
                <a:cubicBezTo>
                  <a:pt x="1491846" y="1716893"/>
                  <a:pt x="1491330" y="1715189"/>
                  <a:pt x="1491536" y="1713640"/>
                </a:cubicBezTo>
                <a:cubicBezTo>
                  <a:pt x="1491743" y="1713176"/>
                  <a:pt x="1491846" y="1712556"/>
                  <a:pt x="1492259" y="1712246"/>
                </a:cubicBezTo>
                <a:lnTo>
                  <a:pt x="1492879" y="1712401"/>
                </a:lnTo>
                <a:lnTo>
                  <a:pt x="1492775" y="1712091"/>
                </a:lnTo>
                <a:cubicBezTo>
                  <a:pt x="1492775" y="1711472"/>
                  <a:pt x="1492982" y="1710852"/>
                  <a:pt x="1493292" y="1709768"/>
                </a:cubicBezTo>
                <a:close/>
                <a:moveTo>
                  <a:pt x="5108842" y="1709645"/>
                </a:moveTo>
                <a:cubicBezTo>
                  <a:pt x="5110122" y="1709788"/>
                  <a:pt x="5111189" y="1709788"/>
                  <a:pt x="5112470" y="1711068"/>
                </a:cubicBezTo>
                <a:cubicBezTo>
                  <a:pt x="5113537" y="1712206"/>
                  <a:pt x="5112470" y="1712206"/>
                  <a:pt x="5113537" y="1712206"/>
                </a:cubicBezTo>
                <a:cubicBezTo>
                  <a:pt x="5114818" y="1713486"/>
                  <a:pt x="5114818" y="1712348"/>
                  <a:pt x="5114818" y="1712348"/>
                </a:cubicBezTo>
                <a:cubicBezTo>
                  <a:pt x="5114818" y="1712348"/>
                  <a:pt x="5114818" y="1713486"/>
                  <a:pt x="5114818" y="1713486"/>
                </a:cubicBezTo>
                <a:cubicBezTo>
                  <a:pt x="5114818" y="1713486"/>
                  <a:pt x="5114818" y="1713486"/>
                  <a:pt x="5117165" y="1716047"/>
                </a:cubicBezTo>
                <a:lnTo>
                  <a:pt x="5118232" y="1716474"/>
                </a:lnTo>
                <a:lnTo>
                  <a:pt x="5118659" y="1716758"/>
                </a:lnTo>
                <a:lnTo>
                  <a:pt x="5121220" y="1718324"/>
                </a:lnTo>
                <a:cubicBezTo>
                  <a:pt x="5122287" y="1718893"/>
                  <a:pt x="5123141" y="1719177"/>
                  <a:pt x="5124422" y="1719888"/>
                </a:cubicBezTo>
                <a:cubicBezTo>
                  <a:pt x="5126769" y="1722450"/>
                  <a:pt x="5126983" y="1723587"/>
                  <a:pt x="5129330" y="1727287"/>
                </a:cubicBezTo>
                <a:cubicBezTo>
                  <a:pt x="5128263" y="1729563"/>
                  <a:pt x="5128263" y="1729563"/>
                  <a:pt x="5127196" y="1729563"/>
                </a:cubicBezTo>
                <a:cubicBezTo>
                  <a:pt x="5128263" y="1729563"/>
                  <a:pt x="5128263" y="1730701"/>
                  <a:pt x="5129543" y="1731981"/>
                </a:cubicBezTo>
                <a:cubicBezTo>
                  <a:pt x="5132531" y="1733831"/>
                  <a:pt x="5133598" y="1736392"/>
                  <a:pt x="5133172" y="1738953"/>
                </a:cubicBezTo>
                <a:lnTo>
                  <a:pt x="5130184" y="1744928"/>
                </a:lnTo>
                <a:lnTo>
                  <a:pt x="5132531" y="1746351"/>
                </a:lnTo>
                <a:cubicBezTo>
                  <a:pt x="5132531" y="1748058"/>
                  <a:pt x="5132958" y="1750619"/>
                  <a:pt x="5131891" y="1753179"/>
                </a:cubicBezTo>
                <a:cubicBezTo>
                  <a:pt x="5126769" y="1756309"/>
                  <a:pt x="5122714" y="1755171"/>
                  <a:pt x="5119727" y="1751614"/>
                </a:cubicBezTo>
                <a:lnTo>
                  <a:pt x="5120367" y="1750334"/>
                </a:lnTo>
                <a:lnTo>
                  <a:pt x="5118872" y="1750192"/>
                </a:lnTo>
                <a:cubicBezTo>
                  <a:pt x="5117592" y="1749907"/>
                  <a:pt x="5116312" y="1749196"/>
                  <a:pt x="5115244" y="1747916"/>
                </a:cubicBezTo>
                <a:cubicBezTo>
                  <a:pt x="5111616" y="1744217"/>
                  <a:pt x="5108842" y="1735823"/>
                  <a:pt x="5112256" y="1732408"/>
                </a:cubicBezTo>
                <a:lnTo>
                  <a:pt x="5113751" y="1731128"/>
                </a:lnTo>
                <a:lnTo>
                  <a:pt x="5112256" y="1729563"/>
                </a:lnTo>
                <a:cubicBezTo>
                  <a:pt x="5110336" y="1726006"/>
                  <a:pt x="5110122" y="1721595"/>
                  <a:pt x="5112684" y="1718893"/>
                </a:cubicBezTo>
                <a:lnTo>
                  <a:pt x="5113537" y="1718466"/>
                </a:lnTo>
                <a:lnTo>
                  <a:pt x="5112897" y="1717755"/>
                </a:lnTo>
                <a:cubicBezTo>
                  <a:pt x="5110336" y="1714483"/>
                  <a:pt x="5108415" y="1711495"/>
                  <a:pt x="5108842" y="1709645"/>
                </a:cubicBezTo>
                <a:close/>
                <a:moveTo>
                  <a:pt x="1129727" y="1709303"/>
                </a:moveTo>
                <a:cubicBezTo>
                  <a:pt x="1131689" y="1709458"/>
                  <a:pt x="1130553" y="1712711"/>
                  <a:pt x="1130862" y="1713485"/>
                </a:cubicBezTo>
                <a:cubicBezTo>
                  <a:pt x="1130553" y="1714570"/>
                  <a:pt x="1130139" y="1715654"/>
                  <a:pt x="1129004" y="1715189"/>
                </a:cubicBezTo>
                <a:cubicBezTo>
                  <a:pt x="1127765" y="1714724"/>
                  <a:pt x="1127042" y="1715034"/>
                  <a:pt x="1127042" y="1713176"/>
                </a:cubicBezTo>
                <a:cubicBezTo>
                  <a:pt x="1126629" y="1712401"/>
                  <a:pt x="1127042" y="1711317"/>
                  <a:pt x="1126629" y="1710542"/>
                </a:cubicBezTo>
                <a:cubicBezTo>
                  <a:pt x="1126629" y="1710542"/>
                  <a:pt x="1127145" y="1710077"/>
                  <a:pt x="1127765" y="1709768"/>
                </a:cubicBezTo>
                <a:cubicBezTo>
                  <a:pt x="1128384" y="1709303"/>
                  <a:pt x="1129210" y="1708993"/>
                  <a:pt x="1129727" y="1709303"/>
                </a:cubicBezTo>
                <a:close/>
                <a:moveTo>
                  <a:pt x="1466548" y="1709148"/>
                </a:moveTo>
                <a:cubicBezTo>
                  <a:pt x="1467788" y="1708684"/>
                  <a:pt x="1469336" y="1708684"/>
                  <a:pt x="1471092" y="1709613"/>
                </a:cubicBezTo>
                <a:cubicBezTo>
                  <a:pt x="1474086" y="1710542"/>
                  <a:pt x="1475325" y="1713795"/>
                  <a:pt x="1478630" y="1715654"/>
                </a:cubicBezTo>
                <a:cubicBezTo>
                  <a:pt x="1477390" y="1719526"/>
                  <a:pt x="1476874" y="1720455"/>
                  <a:pt x="1472228" y="1719991"/>
                </a:cubicBezTo>
                <a:cubicBezTo>
                  <a:pt x="1472228" y="1719991"/>
                  <a:pt x="1471092" y="1719371"/>
                  <a:pt x="1471092" y="1719371"/>
                </a:cubicBezTo>
                <a:cubicBezTo>
                  <a:pt x="1466858" y="1717822"/>
                  <a:pt x="1463451" y="1713331"/>
                  <a:pt x="1463657" y="1711472"/>
                </a:cubicBezTo>
                <a:cubicBezTo>
                  <a:pt x="1464173" y="1710542"/>
                  <a:pt x="1465206" y="1709613"/>
                  <a:pt x="1466548" y="1709148"/>
                </a:cubicBezTo>
                <a:close/>
                <a:moveTo>
                  <a:pt x="5178417" y="1708934"/>
                </a:moveTo>
                <a:cubicBezTo>
                  <a:pt x="5185673" y="1714056"/>
                  <a:pt x="5186527" y="1733119"/>
                  <a:pt x="5183112" y="1736534"/>
                </a:cubicBezTo>
                <a:cubicBezTo>
                  <a:pt x="5181191" y="1734684"/>
                  <a:pt x="5180551" y="1732551"/>
                  <a:pt x="5179910" y="1730274"/>
                </a:cubicBezTo>
                <a:lnTo>
                  <a:pt x="5178844" y="1727856"/>
                </a:lnTo>
                <a:lnTo>
                  <a:pt x="5179057" y="1730843"/>
                </a:lnTo>
                <a:cubicBezTo>
                  <a:pt x="5176496" y="1731555"/>
                  <a:pt x="5173935" y="1732266"/>
                  <a:pt x="5171801" y="1731412"/>
                </a:cubicBezTo>
                <a:cubicBezTo>
                  <a:pt x="5172014" y="1727998"/>
                  <a:pt x="5171587" y="1725437"/>
                  <a:pt x="5172654" y="1722876"/>
                </a:cubicBezTo>
                <a:cubicBezTo>
                  <a:pt x="5174148" y="1722307"/>
                  <a:pt x="5175215" y="1722165"/>
                  <a:pt x="5176282" y="1722450"/>
                </a:cubicBezTo>
                <a:lnTo>
                  <a:pt x="5176709" y="1722592"/>
                </a:lnTo>
                <a:lnTo>
                  <a:pt x="5177136" y="1716474"/>
                </a:lnTo>
                <a:cubicBezTo>
                  <a:pt x="5176923" y="1713913"/>
                  <a:pt x="5176709" y="1711210"/>
                  <a:pt x="5178417" y="1708934"/>
                </a:cubicBezTo>
                <a:close/>
                <a:moveTo>
                  <a:pt x="6129415" y="1708649"/>
                </a:moveTo>
                <a:cubicBezTo>
                  <a:pt x="6133257" y="1709219"/>
                  <a:pt x="6135177" y="1710499"/>
                  <a:pt x="6136031" y="1712064"/>
                </a:cubicBezTo>
                <a:cubicBezTo>
                  <a:pt x="6138379" y="1716758"/>
                  <a:pt x="6129842" y="1724441"/>
                  <a:pt x="6126214" y="1729989"/>
                </a:cubicBezTo>
                <a:cubicBezTo>
                  <a:pt x="6121305" y="1728994"/>
                  <a:pt x="6119811" y="1728140"/>
                  <a:pt x="6116610" y="1724299"/>
                </a:cubicBezTo>
                <a:cubicBezTo>
                  <a:pt x="6118744" y="1716474"/>
                  <a:pt x="6124080" y="1712633"/>
                  <a:pt x="6129415" y="1708649"/>
                </a:cubicBezTo>
                <a:close/>
                <a:moveTo>
                  <a:pt x="4625446" y="1708649"/>
                </a:moveTo>
                <a:cubicBezTo>
                  <a:pt x="4625660" y="1709788"/>
                  <a:pt x="4626087" y="1711068"/>
                  <a:pt x="4625019" y="1711495"/>
                </a:cubicBezTo>
                <a:cubicBezTo>
                  <a:pt x="4624166" y="1711779"/>
                  <a:pt x="4623739" y="1710499"/>
                  <a:pt x="4624379" y="1708934"/>
                </a:cubicBezTo>
                <a:cubicBezTo>
                  <a:pt x="4624379" y="1708934"/>
                  <a:pt x="4625446" y="1708649"/>
                  <a:pt x="4625446" y="1708649"/>
                </a:cubicBezTo>
                <a:close/>
                <a:moveTo>
                  <a:pt x="1392824" y="1708374"/>
                </a:moveTo>
                <a:cubicBezTo>
                  <a:pt x="1393339" y="1711472"/>
                  <a:pt x="1397160" y="1710697"/>
                  <a:pt x="1395714" y="1714105"/>
                </a:cubicBezTo>
                <a:cubicBezTo>
                  <a:pt x="1394475" y="1715189"/>
                  <a:pt x="1392617" y="1715499"/>
                  <a:pt x="1389519" y="1714570"/>
                </a:cubicBezTo>
                <a:cubicBezTo>
                  <a:pt x="1389106" y="1713485"/>
                  <a:pt x="1388900" y="1712556"/>
                  <a:pt x="1388900" y="1711936"/>
                </a:cubicBezTo>
                <a:cubicBezTo>
                  <a:pt x="1389003" y="1709768"/>
                  <a:pt x="1390965" y="1709148"/>
                  <a:pt x="1392824" y="1708374"/>
                </a:cubicBezTo>
                <a:close/>
                <a:moveTo>
                  <a:pt x="1155747" y="1708219"/>
                </a:moveTo>
                <a:cubicBezTo>
                  <a:pt x="1158741" y="1710852"/>
                  <a:pt x="1159464" y="1711781"/>
                  <a:pt x="1157090" y="1715809"/>
                </a:cubicBezTo>
                <a:cubicBezTo>
                  <a:pt x="1157090" y="1715809"/>
                  <a:pt x="1156160" y="1716583"/>
                  <a:pt x="1156160" y="1716583"/>
                </a:cubicBezTo>
                <a:cubicBezTo>
                  <a:pt x="1152959" y="1719836"/>
                  <a:pt x="1147487" y="1721075"/>
                  <a:pt x="1145938" y="1720146"/>
                </a:cubicBezTo>
                <a:cubicBezTo>
                  <a:pt x="1145215" y="1719216"/>
                  <a:pt x="1144699" y="1717977"/>
                  <a:pt x="1144802" y="1716583"/>
                </a:cubicBezTo>
                <a:cubicBezTo>
                  <a:pt x="1145008" y="1715189"/>
                  <a:pt x="1145628" y="1713795"/>
                  <a:pt x="1147177" y="1712711"/>
                </a:cubicBezTo>
                <a:cubicBezTo>
                  <a:pt x="1149345" y="1710233"/>
                  <a:pt x="1152753" y="1710542"/>
                  <a:pt x="1155747" y="1708219"/>
                </a:cubicBezTo>
                <a:close/>
                <a:moveTo>
                  <a:pt x="1492053" y="1707754"/>
                </a:moveTo>
                <a:cubicBezTo>
                  <a:pt x="1492672" y="1707289"/>
                  <a:pt x="1493189" y="1708064"/>
                  <a:pt x="1492982" y="1709148"/>
                </a:cubicBezTo>
                <a:cubicBezTo>
                  <a:pt x="1492982" y="1709148"/>
                  <a:pt x="1492362" y="1709613"/>
                  <a:pt x="1492362" y="1709613"/>
                </a:cubicBezTo>
                <a:cubicBezTo>
                  <a:pt x="1492053" y="1709303"/>
                  <a:pt x="1491846" y="1708838"/>
                  <a:pt x="1491743" y="1708528"/>
                </a:cubicBezTo>
                <a:cubicBezTo>
                  <a:pt x="1491639" y="1708219"/>
                  <a:pt x="1491639" y="1707909"/>
                  <a:pt x="1492053" y="1707754"/>
                </a:cubicBezTo>
                <a:close/>
                <a:moveTo>
                  <a:pt x="5088994" y="1707654"/>
                </a:moveTo>
                <a:cubicBezTo>
                  <a:pt x="5089421" y="1707369"/>
                  <a:pt x="5090488" y="1707511"/>
                  <a:pt x="5091555" y="1707654"/>
                </a:cubicBezTo>
                <a:cubicBezTo>
                  <a:pt x="5092622" y="1707796"/>
                  <a:pt x="5093902" y="1708080"/>
                  <a:pt x="5094543" y="1708364"/>
                </a:cubicBezTo>
                <a:cubicBezTo>
                  <a:pt x="5095610" y="1707796"/>
                  <a:pt x="5097104" y="1708080"/>
                  <a:pt x="5097744" y="1709076"/>
                </a:cubicBezTo>
                <a:cubicBezTo>
                  <a:pt x="5097744" y="1709076"/>
                  <a:pt x="5099451" y="1709503"/>
                  <a:pt x="5100305" y="1708934"/>
                </a:cubicBezTo>
                <a:cubicBezTo>
                  <a:pt x="5103506" y="1709788"/>
                  <a:pt x="5104147" y="1710641"/>
                  <a:pt x="5104787" y="1711779"/>
                </a:cubicBezTo>
                <a:cubicBezTo>
                  <a:pt x="5104787" y="1711779"/>
                  <a:pt x="5103293" y="1711352"/>
                  <a:pt x="5102439" y="1711921"/>
                </a:cubicBezTo>
                <a:cubicBezTo>
                  <a:pt x="5102439" y="1711921"/>
                  <a:pt x="5100732" y="1711637"/>
                  <a:pt x="5099238" y="1711210"/>
                </a:cubicBezTo>
                <a:cubicBezTo>
                  <a:pt x="5099238" y="1711210"/>
                  <a:pt x="5098171" y="1711779"/>
                  <a:pt x="5097317" y="1712348"/>
                </a:cubicBezTo>
                <a:cubicBezTo>
                  <a:pt x="5093262" y="1712206"/>
                  <a:pt x="5090701" y="1712348"/>
                  <a:pt x="5088994" y="1707654"/>
                </a:cubicBezTo>
                <a:close/>
                <a:moveTo>
                  <a:pt x="4717430" y="1706942"/>
                </a:moveTo>
                <a:cubicBezTo>
                  <a:pt x="4717857" y="1707084"/>
                  <a:pt x="4718497" y="1707511"/>
                  <a:pt x="4719138" y="1708080"/>
                </a:cubicBezTo>
                <a:cubicBezTo>
                  <a:pt x="4721485" y="1709361"/>
                  <a:pt x="4720418" y="1711637"/>
                  <a:pt x="4722766" y="1714198"/>
                </a:cubicBezTo>
                <a:cubicBezTo>
                  <a:pt x="4727674" y="1718039"/>
                  <a:pt x="4734290" y="1708792"/>
                  <a:pt x="4743894" y="1716332"/>
                </a:cubicBezTo>
                <a:cubicBezTo>
                  <a:pt x="4741547" y="1718608"/>
                  <a:pt x="4746668" y="1724868"/>
                  <a:pt x="4743254" y="1728282"/>
                </a:cubicBezTo>
                <a:lnTo>
                  <a:pt x="4740906" y="1730701"/>
                </a:lnTo>
                <a:lnTo>
                  <a:pt x="4743680" y="1731128"/>
                </a:lnTo>
                <a:cubicBezTo>
                  <a:pt x="4742187" y="1740517"/>
                  <a:pt x="4737278" y="1750761"/>
                  <a:pt x="4735997" y="1753037"/>
                </a:cubicBezTo>
                <a:cubicBezTo>
                  <a:pt x="4735357" y="1754175"/>
                  <a:pt x="4734717" y="1754745"/>
                  <a:pt x="4734077" y="1754745"/>
                </a:cubicBezTo>
                <a:cubicBezTo>
                  <a:pt x="4733437" y="1754745"/>
                  <a:pt x="4732369" y="1754460"/>
                  <a:pt x="4731302" y="1753606"/>
                </a:cubicBezTo>
                <a:cubicBezTo>
                  <a:pt x="4730449" y="1752326"/>
                  <a:pt x="4730022" y="1751046"/>
                  <a:pt x="4730022" y="1749907"/>
                </a:cubicBezTo>
                <a:lnTo>
                  <a:pt x="4729168" y="1750334"/>
                </a:lnTo>
                <a:lnTo>
                  <a:pt x="4729168" y="1750619"/>
                </a:lnTo>
                <a:cubicBezTo>
                  <a:pt x="4727888" y="1755029"/>
                  <a:pt x="4725326" y="1759012"/>
                  <a:pt x="4724900" y="1760720"/>
                </a:cubicBezTo>
                <a:cubicBezTo>
                  <a:pt x="4724900" y="1760720"/>
                  <a:pt x="4724900" y="1762000"/>
                  <a:pt x="4723833" y="1763138"/>
                </a:cubicBezTo>
                <a:cubicBezTo>
                  <a:pt x="4722766" y="1765414"/>
                  <a:pt x="4721485" y="1761858"/>
                  <a:pt x="4720418" y="1762996"/>
                </a:cubicBezTo>
                <a:lnTo>
                  <a:pt x="4720631" y="1754175"/>
                </a:lnTo>
                <a:lnTo>
                  <a:pt x="4713588" y="1753748"/>
                </a:lnTo>
                <a:cubicBezTo>
                  <a:pt x="4709960" y="1746919"/>
                  <a:pt x="4714869" y="1737957"/>
                  <a:pt x="4720845" y="1732408"/>
                </a:cubicBezTo>
                <a:lnTo>
                  <a:pt x="4721271" y="1731839"/>
                </a:lnTo>
                <a:lnTo>
                  <a:pt x="4720845" y="1731697"/>
                </a:lnTo>
                <a:cubicBezTo>
                  <a:pt x="4719351" y="1732551"/>
                  <a:pt x="4718283" y="1736107"/>
                  <a:pt x="4715509" y="1734258"/>
                </a:cubicBezTo>
                <a:cubicBezTo>
                  <a:pt x="4710174" y="1729421"/>
                  <a:pt x="4711668" y="1721027"/>
                  <a:pt x="4712735" y="1716616"/>
                </a:cubicBezTo>
                <a:lnTo>
                  <a:pt x="4713375" y="1714056"/>
                </a:lnTo>
                <a:lnTo>
                  <a:pt x="4712308" y="1714056"/>
                </a:lnTo>
                <a:lnTo>
                  <a:pt x="4713375" y="1712917"/>
                </a:lnTo>
                <a:lnTo>
                  <a:pt x="4713375" y="1712633"/>
                </a:lnTo>
                <a:cubicBezTo>
                  <a:pt x="4714655" y="1712633"/>
                  <a:pt x="4714442" y="1711352"/>
                  <a:pt x="4713375" y="1711352"/>
                </a:cubicBezTo>
                <a:cubicBezTo>
                  <a:pt x="4714442" y="1709645"/>
                  <a:pt x="4715296" y="1708222"/>
                  <a:pt x="4716150" y="1707511"/>
                </a:cubicBezTo>
                <a:cubicBezTo>
                  <a:pt x="4716576" y="1707084"/>
                  <a:pt x="4717003" y="1706942"/>
                  <a:pt x="4717430" y="1706942"/>
                </a:cubicBezTo>
                <a:close/>
                <a:moveTo>
                  <a:pt x="3587373" y="1706800"/>
                </a:moveTo>
                <a:cubicBezTo>
                  <a:pt x="3588866" y="1708507"/>
                  <a:pt x="3588013" y="1713486"/>
                  <a:pt x="3587586" y="1716901"/>
                </a:cubicBezTo>
                <a:cubicBezTo>
                  <a:pt x="3584812" y="1719320"/>
                  <a:pt x="3580970" y="1720173"/>
                  <a:pt x="3576915" y="1719320"/>
                </a:cubicBezTo>
                <a:cubicBezTo>
                  <a:pt x="3577982" y="1712633"/>
                  <a:pt x="3581610" y="1709219"/>
                  <a:pt x="3587373" y="1706800"/>
                </a:cubicBezTo>
                <a:close/>
                <a:moveTo>
                  <a:pt x="1524475" y="1706670"/>
                </a:moveTo>
                <a:cubicBezTo>
                  <a:pt x="1526437" y="1706515"/>
                  <a:pt x="1525714" y="1708684"/>
                  <a:pt x="1525404" y="1709768"/>
                </a:cubicBezTo>
                <a:cubicBezTo>
                  <a:pt x="1524165" y="1707754"/>
                  <a:pt x="1522926" y="1707444"/>
                  <a:pt x="1523752" y="1706980"/>
                </a:cubicBezTo>
                <a:cubicBezTo>
                  <a:pt x="1523236" y="1706360"/>
                  <a:pt x="1524062" y="1705895"/>
                  <a:pt x="1524475" y="1706670"/>
                </a:cubicBezTo>
                <a:close/>
                <a:moveTo>
                  <a:pt x="3668899" y="1706657"/>
                </a:moveTo>
                <a:lnTo>
                  <a:pt x="3670393" y="1709219"/>
                </a:lnTo>
                <a:lnTo>
                  <a:pt x="3676795" y="1710499"/>
                </a:lnTo>
                <a:cubicBezTo>
                  <a:pt x="3678716" y="1711779"/>
                  <a:pt x="3680424" y="1713629"/>
                  <a:pt x="3682344" y="1715336"/>
                </a:cubicBezTo>
                <a:cubicBezTo>
                  <a:pt x="3684691" y="1718608"/>
                  <a:pt x="3684905" y="1721169"/>
                  <a:pt x="3683838" y="1723303"/>
                </a:cubicBezTo>
                <a:lnTo>
                  <a:pt x="3678716" y="1727714"/>
                </a:lnTo>
                <a:lnTo>
                  <a:pt x="3679356" y="1731128"/>
                </a:lnTo>
                <a:cubicBezTo>
                  <a:pt x="3679143" y="1733831"/>
                  <a:pt x="3677863" y="1736392"/>
                  <a:pt x="3674875" y="1738241"/>
                </a:cubicBezTo>
                <a:cubicBezTo>
                  <a:pt x="3674234" y="1736534"/>
                  <a:pt x="3672954" y="1734116"/>
                  <a:pt x="3671673" y="1731128"/>
                </a:cubicBezTo>
                <a:lnTo>
                  <a:pt x="3671033" y="1729705"/>
                </a:lnTo>
                <a:lnTo>
                  <a:pt x="3670820" y="1729705"/>
                </a:lnTo>
                <a:cubicBezTo>
                  <a:pt x="3669325" y="1729279"/>
                  <a:pt x="3668472" y="1728282"/>
                  <a:pt x="3668472" y="1728282"/>
                </a:cubicBezTo>
                <a:cubicBezTo>
                  <a:pt x="3666124" y="1725152"/>
                  <a:pt x="3664844" y="1721738"/>
                  <a:pt x="3665057" y="1718324"/>
                </a:cubicBezTo>
                <a:lnTo>
                  <a:pt x="3666338" y="1716190"/>
                </a:lnTo>
                <a:lnTo>
                  <a:pt x="3665697" y="1712633"/>
                </a:lnTo>
                <a:cubicBezTo>
                  <a:pt x="3665697" y="1710072"/>
                  <a:pt x="3666551" y="1707938"/>
                  <a:pt x="3668899" y="1706657"/>
                </a:cubicBezTo>
                <a:close/>
                <a:moveTo>
                  <a:pt x="1770535" y="1706515"/>
                </a:moveTo>
                <a:cubicBezTo>
                  <a:pt x="1772600" y="1707599"/>
                  <a:pt x="1774149" y="1708993"/>
                  <a:pt x="1774871" y="1710852"/>
                </a:cubicBezTo>
                <a:cubicBezTo>
                  <a:pt x="1775594" y="1712556"/>
                  <a:pt x="1775491" y="1714724"/>
                  <a:pt x="1774355" y="1717203"/>
                </a:cubicBezTo>
                <a:cubicBezTo>
                  <a:pt x="1770431" y="1719371"/>
                  <a:pt x="1766714" y="1715499"/>
                  <a:pt x="1764339" y="1713640"/>
                </a:cubicBezTo>
                <a:cubicBezTo>
                  <a:pt x="1766198" y="1710542"/>
                  <a:pt x="1768057" y="1707444"/>
                  <a:pt x="1770535" y="1706515"/>
                </a:cubicBezTo>
                <a:close/>
                <a:moveTo>
                  <a:pt x="1441664" y="1706515"/>
                </a:moveTo>
                <a:cubicBezTo>
                  <a:pt x="1443626" y="1706515"/>
                  <a:pt x="1446826" y="1706050"/>
                  <a:pt x="1448582" y="1709768"/>
                </a:cubicBezTo>
                <a:cubicBezTo>
                  <a:pt x="1448995" y="1710852"/>
                  <a:pt x="1448995" y="1711007"/>
                  <a:pt x="1448582" y="1711781"/>
                </a:cubicBezTo>
                <a:cubicBezTo>
                  <a:pt x="1448478" y="1713640"/>
                  <a:pt x="1448788" y="1714724"/>
                  <a:pt x="1447136" y="1715964"/>
                </a:cubicBezTo>
                <a:cubicBezTo>
                  <a:pt x="1445691" y="1716738"/>
                  <a:pt x="1444761" y="1716583"/>
                  <a:pt x="1443935" y="1716119"/>
                </a:cubicBezTo>
                <a:cubicBezTo>
                  <a:pt x="1443109" y="1715654"/>
                  <a:pt x="1442386" y="1714724"/>
                  <a:pt x="1441664" y="1713331"/>
                </a:cubicBezTo>
                <a:cubicBezTo>
                  <a:pt x="1440941" y="1712091"/>
                  <a:pt x="1441147" y="1710852"/>
                  <a:pt x="1441354" y="1709768"/>
                </a:cubicBezTo>
                <a:cubicBezTo>
                  <a:pt x="1441664" y="1708684"/>
                  <a:pt x="1441973" y="1707599"/>
                  <a:pt x="1441664" y="1706515"/>
                </a:cubicBezTo>
                <a:close/>
                <a:moveTo>
                  <a:pt x="5637909" y="1706231"/>
                </a:moveTo>
                <a:cubicBezTo>
                  <a:pt x="5646020" y="1706800"/>
                  <a:pt x="5654556" y="1712206"/>
                  <a:pt x="5658611" y="1725437"/>
                </a:cubicBezTo>
                <a:cubicBezTo>
                  <a:pt x="5648794" y="1738099"/>
                  <a:pt x="5631721" y="1742082"/>
                  <a:pt x="5621903" y="1732124"/>
                </a:cubicBezTo>
                <a:cubicBezTo>
                  <a:pt x="5619342" y="1728567"/>
                  <a:pt x="5618062" y="1725152"/>
                  <a:pt x="5618062" y="1722022"/>
                </a:cubicBezTo>
                <a:lnTo>
                  <a:pt x="5620195" y="1715478"/>
                </a:lnTo>
                <a:lnTo>
                  <a:pt x="5619769" y="1714625"/>
                </a:lnTo>
                <a:lnTo>
                  <a:pt x="5620409" y="1714340"/>
                </a:lnTo>
                <a:lnTo>
                  <a:pt x="5620836" y="1713629"/>
                </a:lnTo>
                <a:cubicBezTo>
                  <a:pt x="5624251" y="1708792"/>
                  <a:pt x="5630866" y="1705804"/>
                  <a:pt x="5637909" y="1706231"/>
                </a:cubicBezTo>
                <a:close/>
                <a:moveTo>
                  <a:pt x="1190235" y="1705895"/>
                </a:moveTo>
                <a:cubicBezTo>
                  <a:pt x="1193745" y="1706360"/>
                  <a:pt x="1196120" y="1710077"/>
                  <a:pt x="1196327" y="1713331"/>
                </a:cubicBezTo>
                <a:lnTo>
                  <a:pt x="1196120" y="1714415"/>
                </a:lnTo>
                <a:lnTo>
                  <a:pt x="1197050" y="1716583"/>
                </a:lnTo>
                <a:cubicBezTo>
                  <a:pt x="1196843" y="1717667"/>
                  <a:pt x="1196224" y="1718597"/>
                  <a:pt x="1194674" y="1719062"/>
                </a:cubicBezTo>
                <a:cubicBezTo>
                  <a:pt x="1190028" y="1720301"/>
                  <a:pt x="1187963" y="1716583"/>
                  <a:pt x="1186207" y="1711936"/>
                </a:cubicBezTo>
                <a:cubicBezTo>
                  <a:pt x="1187757" y="1711007"/>
                  <a:pt x="1188376" y="1709458"/>
                  <a:pt x="1189925" y="1708528"/>
                </a:cubicBezTo>
                <a:lnTo>
                  <a:pt x="1190028" y="1708528"/>
                </a:lnTo>
                <a:close/>
                <a:moveTo>
                  <a:pt x="6228869" y="1705804"/>
                </a:moveTo>
                <a:cubicBezTo>
                  <a:pt x="6237619" y="1706800"/>
                  <a:pt x="6232070" y="1719320"/>
                  <a:pt x="6231643" y="1726575"/>
                </a:cubicBezTo>
                <a:cubicBezTo>
                  <a:pt x="6226521" y="1727571"/>
                  <a:pt x="6225027" y="1727287"/>
                  <a:pt x="6220119" y="1725010"/>
                </a:cubicBezTo>
                <a:cubicBezTo>
                  <a:pt x="6218412" y="1717043"/>
                  <a:pt x="6221186" y="1711637"/>
                  <a:pt x="6224174" y="1706089"/>
                </a:cubicBezTo>
                <a:cubicBezTo>
                  <a:pt x="6225881" y="1705804"/>
                  <a:pt x="6227588" y="1705662"/>
                  <a:pt x="6228869" y="1705804"/>
                </a:cubicBezTo>
                <a:close/>
                <a:moveTo>
                  <a:pt x="5869043" y="1705662"/>
                </a:moveTo>
                <a:cubicBezTo>
                  <a:pt x="5869257" y="1705662"/>
                  <a:pt x="5869470" y="1705946"/>
                  <a:pt x="5869470" y="1706515"/>
                </a:cubicBezTo>
                <a:cubicBezTo>
                  <a:pt x="5871604" y="1707654"/>
                  <a:pt x="5869043" y="1709930"/>
                  <a:pt x="5867976" y="1711068"/>
                </a:cubicBezTo>
                <a:cubicBezTo>
                  <a:pt x="5868190" y="1707654"/>
                  <a:pt x="5867122" y="1706515"/>
                  <a:pt x="5868403" y="1706515"/>
                </a:cubicBezTo>
                <a:cubicBezTo>
                  <a:pt x="5868403" y="1705946"/>
                  <a:pt x="5868830" y="1705662"/>
                  <a:pt x="5869043" y="1705662"/>
                </a:cubicBezTo>
                <a:close/>
                <a:moveTo>
                  <a:pt x="5695533" y="1705377"/>
                </a:moveTo>
                <a:cubicBezTo>
                  <a:pt x="5697027" y="1706800"/>
                  <a:pt x="5697667" y="1707938"/>
                  <a:pt x="5697880" y="1709219"/>
                </a:cubicBezTo>
                <a:cubicBezTo>
                  <a:pt x="5698521" y="1713059"/>
                  <a:pt x="5694252" y="1716474"/>
                  <a:pt x="5691691" y="1720885"/>
                </a:cubicBezTo>
                <a:cubicBezTo>
                  <a:pt x="5689344" y="1718181"/>
                  <a:pt x="5688490" y="1715763"/>
                  <a:pt x="5689344" y="1713202"/>
                </a:cubicBezTo>
                <a:cubicBezTo>
                  <a:pt x="5689984" y="1710641"/>
                  <a:pt x="5692118" y="1708222"/>
                  <a:pt x="5695533" y="1705377"/>
                </a:cubicBezTo>
                <a:close/>
                <a:moveTo>
                  <a:pt x="1489781" y="1704346"/>
                </a:moveTo>
                <a:cubicBezTo>
                  <a:pt x="1489781" y="1704346"/>
                  <a:pt x="1490917" y="1704501"/>
                  <a:pt x="1490917" y="1704501"/>
                </a:cubicBezTo>
                <a:cubicBezTo>
                  <a:pt x="1490710" y="1705740"/>
                  <a:pt x="1491433" y="1705276"/>
                  <a:pt x="1490091" y="1706205"/>
                </a:cubicBezTo>
                <a:cubicBezTo>
                  <a:pt x="1490297" y="1704966"/>
                  <a:pt x="1490297" y="1704966"/>
                  <a:pt x="1489781" y="1704346"/>
                </a:cubicBezTo>
                <a:close/>
                <a:moveTo>
                  <a:pt x="5724558" y="1704097"/>
                </a:moveTo>
                <a:cubicBezTo>
                  <a:pt x="5726692" y="1704239"/>
                  <a:pt x="5729253" y="1705235"/>
                  <a:pt x="5732028" y="1707511"/>
                </a:cubicBezTo>
                <a:cubicBezTo>
                  <a:pt x="5738003" y="1712491"/>
                  <a:pt x="5742912" y="1719746"/>
                  <a:pt x="5735229" y="1728994"/>
                </a:cubicBezTo>
                <a:cubicBezTo>
                  <a:pt x="5734162" y="1731270"/>
                  <a:pt x="5734162" y="1730132"/>
                  <a:pt x="5733095" y="1731270"/>
                </a:cubicBezTo>
                <a:cubicBezTo>
                  <a:pt x="5731814" y="1732408"/>
                  <a:pt x="5730747" y="1734684"/>
                  <a:pt x="5730960" y="1735965"/>
                </a:cubicBezTo>
                <a:cubicBezTo>
                  <a:pt x="5726052" y="1732124"/>
                  <a:pt x="5723917" y="1735538"/>
                  <a:pt x="5716661" y="1729279"/>
                </a:cubicBezTo>
                <a:cubicBezTo>
                  <a:pt x="5707058" y="1721738"/>
                  <a:pt x="5708978" y="1713486"/>
                  <a:pt x="5712393" y="1708934"/>
                </a:cubicBezTo>
                <a:cubicBezTo>
                  <a:pt x="5713246" y="1709788"/>
                  <a:pt x="5717729" y="1703527"/>
                  <a:pt x="5724558" y="1704097"/>
                </a:cubicBezTo>
                <a:close/>
                <a:moveTo>
                  <a:pt x="6003071" y="1703527"/>
                </a:moveTo>
                <a:cubicBezTo>
                  <a:pt x="6004992" y="1705092"/>
                  <a:pt x="6005845" y="1707796"/>
                  <a:pt x="6006272" y="1711210"/>
                </a:cubicBezTo>
                <a:lnTo>
                  <a:pt x="6006485" y="1720458"/>
                </a:lnTo>
                <a:lnTo>
                  <a:pt x="6009687" y="1722450"/>
                </a:lnTo>
                <a:cubicBezTo>
                  <a:pt x="6008406" y="1723587"/>
                  <a:pt x="6009260" y="1724868"/>
                  <a:pt x="6010113" y="1726148"/>
                </a:cubicBezTo>
                <a:cubicBezTo>
                  <a:pt x="6007553" y="1736534"/>
                  <a:pt x="5987064" y="1738953"/>
                  <a:pt x="5986638" y="1729989"/>
                </a:cubicBezTo>
                <a:cubicBezTo>
                  <a:pt x="5986424" y="1728709"/>
                  <a:pt x="5986851" y="1727144"/>
                  <a:pt x="5987704" y="1725437"/>
                </a:cubicBezTo>
                <a:cubicBezTo>
                  <a:pt x="5989626" y="1723730"/>
                  <a:pt x="5991546" y="1722307"/>
                  <a:pt x="5993467" y="1721169"/>
                </a:cubicBezTo>
                <a:lnTo>
                  <a:pt x="5999016" y="1718893"/>
                </a:lnTo>
                <a:lnTo>
                  <a:pt x="5998589" y="1710356"/>
                </a:lnTo>
                <a:cubicBezTo>
                  <a:pt x="5998589" y="1707227"/>
                  <a:pt x="5999229" y="1705092"/>
                  <a:pt x="6003071" y="1703527"/>
                </a:cubicBezTo>
                <a:close/>
                <a:moveTo>
                  <a:pt x="4990607" y="1703527"/>
                </a:moveTo>
                <a:cubicBezTo>
                  <a:pt x="4992101" y="1704097"/>
                  <a:pt x="4993595" y="1704666"/>
                  <a:pt x="4995089" y="1705235"/>
                </a:cubicBezTo>
                <a:lnTo>
                  <a:pt x="4994449" y="1710784"/>
                </a:lnTo>
                <a:lnTo>
                  <a:pt x="4995516" y="1714056"/>
                </a:lnTo>
                <a:cubicBezTo>
                  <a:pt x="4997437" y="1715621"/>
                  <a:pt x="4998717" y="1718893"/>
                  <a:pt x="4998504" y="1721453"/>
                </a:cubicBezTo>
                <a:cubicBezTo>
                  <a:pt x="4997223" y="1724726"/>
                  <a:pt x="4995089" y="1725722"/>
                  <a:pt x="4993595" y="1725295"/>
                </a:cubicBezTo>
                <a:cubicBezTo>
                  <a:pt x="4981217" y="1722592"/>
                  <a:pt x="4981644" y="1710784"/>
                  <a:pt x="4979723" y="1709219"/>
                </a:cubicBezTo>
                <a:cubicBezTo>
                  <a:pt x="4981217" y="1705662"/>
                  <a:pt x="4981644" y="1704666"/>
                  <a:pt x="4985272" y="1705377"/>
                </a:cubicBezTo>
                <a:lnTo>
                  <a:pt x="4988900" y="1706231"/>
                </a:lnTo>
                <a:close/>
                <a:moveTo>
                  <a:pt x="1559995" y="1703417"/>
                </a:moveTo>
                <a:cubicBezTo>
                  <a:pt x="1561131" y="1704037"/>
                  <a:pt x="1561751" y="1705740"/>
                  <a:pt x="1562886" y="1706360"/>
                </a:cubicBezTo>
                <a:cubicBezTo>
                  <a:pt x="1562061" y="1706515"/>
                  <a:pt x="1561544" y="1707444"/>
                  <a:pt x="1560718" y="1707754"/>
                </a:cubicBezTo>
                <a:cubicBezTo>
                  <a:pt x="1559582" y="1707134"/>
                  <a:pt x="1559169" y="1706050"/>
                  <a:pt x="1559169" y="1705121"/>
                </a:cubicBezTo>
                <a:cubicBezTo>
                  <a:pt x="1559169" y="1704346"/>
                  <a:pt x="1559582" y="1703417"/>
                  <a:pt x="1559995" y="1703417"/>
                </a:cubicBezTo>
                <a:close/>
                <a:moveTo>
                  <a:pt x="1270774" y="1702952"/>
                </a:moveTo>
                <a:cubicBezTo>
                  <a:pt x="1274698" y="1703262"/>
                  <a:pt x="1276660" y="1705431"/>
                  <a:pt x="1275421" y="1708684"/>
                </a:cubicBezTo>
                <a:cubicBezTo>
                  <a:pt x="1273046" y="1707599"/>
                  <a:pt x="1271910" y="1708993"/>
                  <a:pt x="1269535" y="1708064"/>
                </a:cubicBezTo>
                <a:cubicBezTo>
                  <a:pt x="1270362" y="1705895"/>
                  <a:pt x="1270362" y="1704037"/>
                  <a:pt x="1270774" y="1702952"/>
                </a:cubicBezTo>
                <a:close/>
                <a:moveTo>
                  <a:pt x="928158" y="1702836"/>
                </a:moveTo>
                <a:cubicBezTo>
                  <a:pt x="930106" y="1703340"/>
                  <a:pt x="932249" y="1704811"/>
                  <a:pt x="934366" y="1706670"/>
                </a:cubicBezTo>
                <a:cubicBezTo>
                  <a:pt x="933540" y="1707444"/>
                  <a:pt x="936018" y="1709458"/>
                  <a:pt x="936844" y="1711162"/>
                </a:cubicBezTo>
                <a:cubicBezTo>
                  <a:pt x="936844" y="1713640"/>
                  <a:pt x="936741" y="1715344"/>
                  <a:pt x="934985" y="1716893"/>
                </a:cubicBezTo>
                <a:cubicBezTo>
                  <a:pt x="932404" y="1719062"/>
                  <a:pt x="926312" y="1720301"/>
                  <a:pt x="923834" y="1717512"/>
                </a:cubicBezTo>
                <a:cubicBezTo>
                  <a:pt x="920426" y="1714570"/>
                  <a:pt x="919600" y="1711936"/>
                  <a:pt x="919600" y="1709458"/>
                </a:cubicBezTo>
                <a:cubicBezTo>
                  <a:pt x="919600" y="1709458"/>
                  <a:pt x="919600" y="1709458"/>
                  <a:pt x="919497" y="1710233"/>
                </a:cubicBezTo>
                <a:lnTo>
                  <a:pt x="917638" y="1711781"/>
                </a:lnTo>
                <a:lnTo>
                  <a:pt x="917741" y="1713331"/>
                </a:lnTo>
                <a:cubicBezTo>
                  <a:pt x="917741" y="1714105"/>
                  <a:pt x="917741" y="1714724"/>
                  <a:pt x="917741" y="1714879"/>
                </a:cubicBezTo>
                <a:cubicBezTo>
                  <a:pt x="916916" y="1715034"/>
                  <a:pt x="916916" y="1715034"/>
                  <a:pt x="916916" y="1715034"/>
                </a:cubicBezTo>
                <a:lnTo>
                  <a:pt x="916399" y="1712866"/>
                </a:lnTo>
                <a:lnTo>
                  <a:pt x="913301" y="1715189"/>
                </a:lnTo>
                <a:lnTo>
                  <a:pt x="913715" y="1717203"/>
                </a:lnTo>
                <a:lnTo>
                  <a:pt x="912166" y="1715964"/>
                </a:lnTo>
                <a:lnTo>
                  <a:pt x="909791" y="1717203"/>
                </a:lnTo>
                <a:cubicBezTo>
                  <a:pt x="908758" y="1717512"/>
                  <a:pt x="907932" y="1717667"/>
                  <a:pt x="907313" y="1717512"/>
                </a:cubicBezTo>
                <a:cubicBezTo>
                  <a:pt x="907313" y="1716583"/>
                  <a:pt x="907313" y="1715809"/>
                  <a:pt x="908138" y="1715034"/>
                </a:cubicBezTo>
                <a:cubicBezTo>
                  <a:pt x="909068" y="1714260"/>
                  <a:pt x="909068" y="1715189"/>
                  <a:pt x="909068" y="1714260"/>
                </a:cubicBezTo>
                <a:cubicBezTo>
                  <a:pt x="909997" y="1713485"/>
                  <a:pt x="909068" y="1713485"/>
                  <a:pt x="909068" y="1713485"/>
                </a:cubicBezTo>
                <a:lnTo>
                  <a:pt x="909378" y="1713485"/>
                </a:lnTo>
                <a:lnTo>
                  <a:pt x="907932" y="1709923"/>
                </a:lnTo>
                <a:cubicBezTo>
                  <a:pt x="907313" y="1707599"/>
                  <a:pt x="907209" y="1705586"/>
                  <a:pt x="904938" y="1704191"/>
                </a:cubicBezTo>
                <a:cubicBezTo>
                  <a:pt x="906590" y="1703107"/>
                  <a:pt x="906590" y="1703107"/>
                  <a:pt x="908449" y="1703727"/>
                </a:cubicBezTo>
                <a:cubicBezTo>
                  <a:pt x="908449" y="1704501"/>
                  <a:pt x="909378" y="1704501"/>
                  <a:pt x="908552" y="1705431"/>
                </a:cubicBezTo>
                <a:cubicBezTo>
                  <a:pt x="909894" y="1706050"/>
                  <a:pt x="911339" y="1708064"/>
                  <a:pt x="912372" y="1710542"/>
                </a:cubicBezTo>
                <a:lnTo>
                  <a:pt x="912475" y="1710852"/>
                </a:lnTo>
                <a:lnTo>
                  <a:pt x="913405" y="1709303"/>
                </a:lnTo>
                <a:cubicBezTo>
                  <a:pt x="913715" y="1708684"/>
                  <a:pt x="914024" y="1708064"/>
                  <a:pt x="914437" y="1707289"/>
                </a:cubicBezTo>
                <a:lnTo>
                  <a:pt x="914540" y="1707134"/>
                </a:lnTo>
                <a:lnTo>
                  <a:pt x="914334" y="1706670"/>
                </a:lnTo>
                <a:cubicBezTo>
                  <a:pt x="914127" y="1705586"/>
                  <a:pt x="914127" y="1704656"/>
                  <a:pt x="914540" y="1703572"/>
                </a:cubicBezTo>
                <a:cubicBezTo>
                  <a:pt x="914540" y="1703572"/>
                  <a:pt x="914540" y="1703572"/>
                  <a:pt x="914540" y="1704346"/>
                </a:cubicBezTo>
                <a:cubicBezTo>
                  <a:pt x="914540" y="1704346"/>
                  <a:pt x="914540" y="1703572"/>
                  <a:pt x="915366" y="1703417"/>
                </a:cubicBezTo>
                <a:lnTo>
                  <a:pt x="916193" y="1706050"/>
                </a:lnTo>
                <a:lnTo>
                  <a:pt x="916709" y="1705740"/>
                </a:lnTo>
                <a:cubicBezTo>
                  <a:pt x="917432" y="1705431"/>
                  <a:pt x="918361" y="1705121"/>
                  <a:pt x="919703" y="1704346"/>
                </a:cubicBezTo>
                <a:cubicBezTo>
                  <a:pt x="921356" y="1705431"/>
                  <a:pt x="921356" y="1705431"/>
                  <a:pt x="921356" y="1706205"/>
                </a:cubicBezTo>
                <a:cubicBezTo>
                  <a:pt x="921356" y="1705431"/>
                  <a:pt x="922285" y="1705431"/>
                  <a:pt x="923111" y="1704811"/>
                </a:cubicBezTo>
                <a:cubicBezTo>
                  <a:pt x="924453" y="1702797"/>
                  <a:pt x="926209" y="1702333"/>
                  <a:pt x="928158" y="1702836"/>
                </a:cubicBezTo>
                <a:close/>
                <a:moveTo>
                  <a:pt x="1382395" y="1702798"/>
                </a:moveTo>
                <a:cubicBezTo>
                  <a:pt x="1386318" y="1702488"/>
                  <a:pt x="1392514" y="1707289"/>
                  <a:pt x="1381878" y="1710077"/>
                </a:cubicBezTo>
                <a:cubicBezTo>
                  <a:pt x="1380226" y="1707444"/>
                  <a:pt x="1379710" y="1705740"/>
                  <a:pt x="1379916" y="1704501"/>
                </a:cubicBezTo>
                <a:cubicBezTo>
                  <a:pt x="1380226" y="1703417"/>
                  <a:pt x="1381259" y="1702952"/>
                  <a:pt x="1382395" y="1702798"/>
                </a:cubicBezTo>
                <a:close/>
                <a:moveTo>
                  <a:pt x="1159877" y="1702023"/>
                </a:moveTo>
                <a:cubicBezTo>
                  <a:pt x="1163491" y="1701713"/>
                  <a:pt x="1166589" y="1707289"/>
                  <a:pt x="1164937" y="1710542"/>
                </a:cubicBezTo>
                <a:cubicBezTo>
                  <a:pt x="1163078" y="1707134"/>
                  <a:pt x="1160187" y="1706360"/>
                  <a:pt x="1159567" y="1704501"/>
                </a:cubicBezTo>
                <a:cubicBezTo>
                  <a:pt x="1159361" y="1703882"/>
                  <a:pt x="1159464" y="1703107"/>
                  <a:pt x="1159877" y="1702023"/>
                </a:cubicBezTo>
                <a:close/>
                <a:moveTo>
                  <a:pt x="5850903" y="1701963"/>
                </a:moveTo>
                <a:cubicBezTo>
                  <a:pt x="5854104" y="1701109"/>
                  <a:pt x="5856238" y="1703955"/>
                  <a:pt x="5856665" y="1707227"/>
                </a:cubicBezTo>
                <a:cubicBezTo>
                  <a:pt x="5857305" y="1708364"/>
                  <a:pt x="5857092" y="1709645"/>
                  <a:pt x="5856451" y="1710926"/>
                </a:cubicBezTo>
                <a:cubicBezTo>
                  <a:pt x="5855811" y="1712206"/>
                  <a:pt x="5854744" y="1713344"/>
                  <a:pt x="5853677" y="1714056"/>
                </a:cubicBezTo>
                <a:cubicBezTo>
                  <a:pt x="5851969" y="1714483"/>
                  <a:pt x="5851969" y="1714483"/>
                  <a:pt x="5850476" y="1714909"/>
                </a:cubicBezTo>
                <a:cubicBezTo>
                  <a:pt x="5848555" y="1713771"/>
                  <a:pt x="5845994" y="1713629"/>
                  <a:pt x="5844927" y="1711352"/>
                </a:cubicBezTo>
                <a:cubicBezTo>
                  <a:pt x="5844286" y="1708080"/>
                  <a:pt x="5848555" y="1703527"/>
                  <a:pt x="5850903" y="1701963"/>
                </a:cubicBezTo>
                <a:close/>
                <a:moveTo>
                  <a:pt x="5398880" y="1701963"/>
                </a:moveTo>
                <a:cubicBezTo>
                  <a:pt x="5399947" y="1701820"/>
                  <a:pt x="5401227" y="1701963"/>
                  <a:pt x="5402935" y="1701963"/>
                </a:cubicBezTo>
                <a:cubicBezTo>
                  <a:pt x="5403575" y="1707084"/>
                  <a:pt x="5397812" y="1708649"/>
                  <a:pt x="5395892" y="1706231"/>
                </a:cubicBezTo>
                <a:cubicBezTo>
                  <a:pt x="5395251" y="1705377"/>
                  <a:pt x="5395038" y="1704097"/>
                  <a:pt x="5395465" y="1702532"/>
                </a:cubicBezTo>
                <a:cubicBezTo>
                  <a:pt x="5396745" y="1702105"/>
                  <a:pt x="5397812" y="1701963"/>
                  <a:pt x="5398880" y="1701963"/>
                </a:cubicBezTo>
                <a:close/>
                <a:moveTo>
                  <a:pt x="1155850" y="1701713"/>
                </a:moveTo>
                <a:cubicBezTo>
                  <a:pt x="1157399" y="1702333"/>
                  <a:pt x="1159981" y="1699699"/>
                  <a:pt x="1160600" y="1701868"/>
                </a:cubicBezTo>
                <a:cubicBezTo>
                  <a:pt x="1159361" y="1702333"/>
                  <a:pt x="1157399" y="1702333"/>
                  <a:pt x="1156160" y="1702798"/>
                </a:cubicBezTo>
                <a:cubicBezTo>
                  <a:pt x="1156160" y="1702798"/>
                  <a:pt x="1156160" y="1702798"/>
                  <a:pt x="1155850" y="1701713"/>
                </a:cubicBezTo>
                <a:close/>
                <a:moveTo>
                  <a:pt x="5260370" y="1701536"/>
                </a:moveTo>
                <a:cubicBezTo>
                  <a:pt x="5261224" y="1701252"/>
                  <a:pt x="5261650" y="1701252"/>
                  <a:pt x="5262504" y="1701536"/>
                </a:cubicBezTo>
                <a:cubicBezTo>
                  <a:pt x="5263571" y="1701109"/>
                  <a:pt x="5263998" y="1702105"/>
                  <a:pt x="5265492" y="1702816"/>
                </a:cubicBezTo>
                <a:cubicBezTo>
                  <a:pt x="5265705" y="1703955"/>
                  <a:pt x="5265065" y="1705519"/>
                  <a:pt x="5265065" y="1705519"/>
                </a:cubicBezTo>
                <a:cubicBezTo>
                  <a:pt x="5264212" y="1707084"/>
                  <a:pt x="5264212" y="1707084"/>
                  <a:pt x="5265492" y="1707654"/>
                </a:cubicBezTo>
                <a:cubicBezTo>
                  <a:pt x="5265492" y="1707654"/>
                  <a:pt x="5264425" y="1708222"/>
                  <a:pt x="5264425" y="1708222"/>
                </a:cubicBezTo>
                <a:cubicBezTo>
                  <a:pt x="5264212" y="1707084"/>
                  <a:pt x="5264425" y="1708222"/>
                  <a:pt x="5263785" y="1709788"/>
                </a:cubicBezTo>
                <a:cubicBezTo>
                  <a:pt x="5261224" y="1709503"/>
                  <a:pt x="5260157" y="1710072"/>
                  <a:pt x="5258662" y="1709361"/>
                </a:cubicBezTo>
                <a:cubicBezTo>
                  <a:pt x="5258022" y="1709076"/>
                  <a:pt x="5256955" y="1708364"/>
                  <a:pt x="5256529" y="1707654"/>
                </a:cubicBezTo>
                <a:cubicBezTo>
                  <a:pt x="5255888" y="1706942"/>
                  <a:pt x="5255888" y="1706231"/>
                  <a:pt x="5256102" y="1705377"/>
                </a:cubicBezTo>
                <a:cubicBezTo>
                  <a:pt x="5257382" y="1704950"/>
                  <a:pt x="5256955" y="1703812"/>
                  <a:pt x="5258022" y="1703385"/>
                </a:cubicBezTo>
                <a:cubicBezTo>
                  <a:pt x="5258876" y="1702390"/>
                  <a:pt x="5259730" y="1701820"/>
                  <a:pt x="5260370" y="1701536"/>
                </a:cubicBezTo>
                <a:close/>
                <a:moveTo>
                  <a:pt x="1184452" y="1701210"/>
                </a:moveTo>
                <a:cubicBezTo>
                  <a:pt x="1186311" y="1701210"/>
                  <a:pt x="1188015" y="1701481"/>
                  <a:pt x="1188169" y="1702023"/>
                </a:cubicBezTo>
                <a:cubicBezTo>
                  <a:pt x="1186104" y="1703262"/>
                  <a:pt x="1182491" y="1705276"/>
                  <a:pt x="1180219" y="1705121"/>
                </a:cubicBezTo>
                <a:cubicBezTo>
                  <a:pt x="1179496" y="1705121"/>
                  <a:pt x="1178876" y="1704811"/>
                  <a:pt x="1178567" y="1704191"/>
                </a:cubicBezTo>
                <a:cubicBezTo>
                  <a:pt x="1178257" y="1703107"/>
                  <a:pt x="1179393" y="1702798"/>
                  <a:pt x="1179806" y="1702023"/>
                </a:cubicBezTo>
                <a:cubicBezTo>
                  <a:pt x="1180580" y="1701481"/>
                  <a:pt x="1182594" y="1701210"/>
                  <a:pt x="1184452" y="1701210"/>
                </a:cubicBezTo>
                <a:close/>
                <a:moveTo>
                  <a:pt x="4626087" y="1701109"/>
                </a:moveTo>
                <a:cubicBezTo>
                  <a:pt x="4625873" y="1704950"/>
                  <a:pt x="4625873" y="1705092"/>
                  <a:pt x="4624379" y="1708222"/>
                </a:cubicBezTo>
                <a:cubicBezTo>
                  <a:pt x="4623952" y="1706942"/>
                  <a:pt x="4622245" y="1705092"/>
                  <a:pt x="4623099" y="1703527"/>
                </a:cubicBezTo>
                <a:cubicBezTo>
                  <a:pt x="4623952" y="1701963"/>
                  <a:pt x="4623952" y="1701963"/>
                  <a:pt x="4626087" y="1701109"/>
                </a:cubicBezTo>
                <a:close/>
                <a:moveTo>
                  <a:pt x="1576103" y="1700939"/>
                </a:moveTo>
                <a:cubicBezTo>
                  <a:pt x="1579201" y="1700474"/>
                  <a:pt x="1584364" y="1701558"/>
                  <a:pt x="1586945" y="1702488"/>
                </a:cubicBezTo>
                <a:cubicBezTo>
                  <a:pt x="1585396" y="1704966"/>
                  <a:pt x="1577239" y="1703572"/>
                  <a:pt x="1573832" y="1702178"/>
                </a:cubicBezTo>
                <a:cubicBezTo>
                  <a:pt x="1574244" y="1701558"/>
                  <a:pt x="1575071" y="1701248"/>
                  <a:pt x="1576103" y="1700939"/>
                </a:cubicBezTo>
                <a:close/>
                <a:moveTo>
                  <a:pt x="1264373" y="1700629"/>
                </a:moveTo>
                <a:cubicBezTo>
                  <a:pt x="1259003" y="1704346"/>
                  <a:pt x="1253737" y="1706980"/>
                  <a:pt x="1248161" y="1714105"/>
                </a:cubicBezTo>
                <a:cubicBezTo>
                  <a:pt x="1246509" y="1712401"/>
                  <a:pt x="1244651" y="1715034"/>
                  <a:pt x="1242999" y="1712556"/>
                </a:cubicBezTo>
                <a:cubicBezTo>
                  <a:pt x="1243308" y="1705740"/>
                  <a:pt x="1257764" y="1695053"/>
                  <a:pt x="1264373" y="1700629"/>
                </a:cubicBezTo>
                <a:close/>
                <a:moveTo>
                  <a:pt x="1210473" y="1700474"/>
                </a:moveTo>
                <a:cubicBezTo>
                  <a:pt x="1211712" y="1701558"/>
                  <a:pt x="1212435" y="1702333"/>
                  <a:pt x="1212744" y="1703107"/>
                </a:cubicBezTo>
                <a:lnTo>
                  <a:pt x="1212951" y="1704501"/>
                </a:lnTo>
                <a:lnTo>
                  <a:pt x="1217907" y="1701094"/>
                </a:lnTo>
                <a:cubicBezTo>
                  <a:pt x="1219766" y="1700319"/>
                  <a:pt x="1221521" y="1700164"/>
                  <a:pt x="1223173" y="1700784"/>
                </a:cubicBezTo>
                <a:lnTo>
                  <a:pt x="1221315" y="1703107"/>
                </a:lnTo>
                <a:lnTo>
                  <a:pt x="1224412" y="1706515"/>
                </a:lnTo>
                <a:cubicBezTo>
                  <a:pt x="1224722" y="1707754"/>
                  <a:pt x="1224929" y="1710697"/>
                  <a:pt x="1224206" y="1710233"/>
                </a:cubicBezTo>
                <a:cubicBezTo>
                  <a:pt x="1222967" y="1710388"/>
                  <a:pt x="1223793" y="1710852"/>
                  <a:pt x="1223380" y="1711627"/>
                </a:cubicBezTo>
                <a:cubicBezTo>
                  <a:pt x="1221625" y="1711936"/>
                  <a:pt x="1219972" y="1711936"/>
                  <a:pt x="1218733" y="1711472"/>
                </a:cubicBezTo>
                <a:lnTo>
                  <a:pt x="1216875" y="1709768"/>
                </a:lnTo>
                <a:lnTo>
                  <a:pt x="1215429" y="1712091"/>
                </a:lnTo>
                <a:cubicBezTo>
                  <a:pt x="1213158" y="1715809"/>
                  <a:pt x="1210473" y="1719526"/>
                  <a:pt x="1205723" y="1723089"/>
                </a:cubicBezTo>
                <a:lnTo>
                  <a:pt x="1205723" y="1717822"/>
                </a:lnTo>
                <a:lnTo>
                  <a:pt x="1202832" y="1718287"/>
                </a:lnTo>
                <a:cubicBezTo>
                  <a:pt x="1201593" y="1717977"/>
                  <a:pt x="1201593" y="1717977"/>
                  <a:pt x="1201076" y="1717203"/>
                </a:cubicBezTo>
                <a:cubicBezTo>
                  <a:pt x="1199425" y="1716119"/>
                  <a:pt x="1198186" y="1715809"/>
                  <a:pt x="1197979" y="1713950"/>
                </a:cubicBezTo>
                <a:cubicBezTo>
                  <a:pt x="1198082" y="1712401"/>
                  <a:pt x="1198599" y="1711627"/>
                  <a:pt x="1199528" y="1711317"/>
                </a:cubicBezTo>
                <a:cubicBezTo>
                  <a:pt x="1200354" y="1710852"/>
                  <a:pt x="1201696" y="1711007"/>
                  <a:pt x="1203348" y="1711162"/>
                </a:cubicBezTo>
                <a:cubicBezTo>
                  <a:pt x="1204897" y="1711317"/>
                  <a:pt x="1205826" y="1712091"/>
                  <a:pt x="1206756" y="1712866"/>
                </a:cubicBezTo>
                <a:lnTo>
                  <a:pt x="1207065" y="1713176"/>
                </a:lnTo>
                <a:lnTo>
                  <a:pt x="1208408" y="1710077"/>
                </a:lnTo>
                <a:lnTo>
                  <a:pt x="1211919" y="1705740"/>
                </a:lnTo>
                <a:lnTo>
                  <a:pt x="1211712" y="1705895"/>
                </a:lnTo>
                <a:cubicBezTo>
                  <a:pt x="1209957" y="1706360"/>
                  <a:pt x="1207065" y="1705431"/>
                  <a:pt x="1207582" y="1703572"/>
                </a:cubicBezTo>
                <a:cubicBezTo>
                  <a:pt x="1207788" y="1702798"/>
                  <a:pt x="1208614" y="1701713"/>
                  <a:pt x="1210473" y="1700474"/>
                </a:cubicBezTo>
                <a:close/>
                <a:moveTo>
                  <a:pt x="1202832" y="1700474"/>
                </a:moveTo>
                <a:cubicBezTo>
                  <a:pt x="1204071" y="1700319"/>
                  <a:pt x="1204794" y="1700784"/>
                  <a:pt x="1204794" y="1700784"/>
                </a:cubicBezTo>
                <a:cubicBezTo>
                  <a:pt x="1206136" y="1703572"/>
                  <a:pt x="1206343" y="1706515"/>
                  <a:pt x="1202832" y="1707134"/>
                </a:cubicBezTo>
                <a:cubicBezTo>
                  <a:pt x="1201696" y="1707289"/>
                  <a:pt x="1200457" y="1707444"/>
                  <a:pt x="1200870" y="1706824"/>
                </a:cubicBezTo>
                <a:cubicBezTo>
                  <a:pt x="1200147" y="1706360"/>
                  <a:pt x="1200560" y="1705586"/>
                  <a:pt x="1200251" y="1704501"/>
                </a:cubicBezTo>
                <a:cubicBezTo>
                  <a:pt x="1200354" y="1702643"/>
                  <a:pt x="1201696" y="1700629"/>
                  <a:pt x="1202832" y="1700474"/>
                </a:cubicBezTo>
                <a:close/>
                <a:moveTo>
                  <a:pt x="3929911" y="1700113"/>
                </a:moveTo>
                <a:cubicBezTo>
                  <a:pt x="3932259" y="1700682"/>
                  <a:pt x="3933539" y="1703385"/>
                  <a:pt x="3936100" y="1706800"/>
                </a:cubicBezTo>
                <a:cubicBezTo>
                  <a:pt x="3934393" y="1707227"/>
                  <a:pt x="3936314" y="1712206"/>
                  <a:pt x="3936741" y="1713913"/>
                </a:cubicBezTo>
                <a:cubicBezTo>
                  <a:pt x="3933753" y="1714767"/>
                  <a:pt x="3935033" y="1720742"/>
                  <a:pt x="3930338" y="1722022"/>
                </a:cubicBezTo>
                <a:cubicBezTo>
                  <a:pt x="3929271" y="1721453"/>
                  <a:pt x="3928417" y="1721027"/>
                  <a:pt x="3927777" y="1720458"/>
                </a:cubicBezTo>
                <a:lnTo>
                  <a:pt x="3927564" y="1720315"/>
                </a:lnTo>
                <a:lnTo>
                  <a:pt x="3926923" y="1721738"/>
                </a:lnTo>
                <a:cubicBezTo>
                  <a:pt x="3927137" y="1722876"/>
                  <a:pt x="3926283" y="1724441"/>
                  <a:pt x="3925216" y="1724726"/>
                </a:cubicBezTo>
                <a:cubicBezTo>
                  <a:pt x="3925216" y="1724726"/>
                  <a:pt x="3924576" y="1726291"/>
                  <a:pt x="3924789" y="1727429"/>
                </a:cubicBezTo>
                <a:cubicBezTo>
                  <a:pt x="3923295" y="1730416"/>
                  <a:pt x="3922015" y="1730843"/>
                  <a:pt x="3920948" y="1731270"/>
                </a:cubicBezTo>
                <a:cubicBezTo>
                  <a:pt x="3920948" y="1731270"/>
                  <a:pt x="3921801" y="1729705"/>
                  <a:pt x="3921588" y="1728567"/>
                </a:cubicBezTo>
                <a:cubicBezTo>
                  <a:pt x="3921588" y="1728567"/>
                  <a:pt x="3922441" y="1727144"/>
                  <a:pt x="3923082" y="1725579"/>
                </a:cubicBezTo>
                <a:cubicBezTo>
                  <a:pt x="3923082" y="1725579"/>
                  <a:pt x="3922868" y="1724441"/>
                  <a:pt x="3922441" y="1723303"/>
                </a:cubicBezTo>
                <a:cubicBezTo>
                  <a:pt x="3923082" y="1721311"/>
                  <a:pt x="3923722" y="1719462"/>
                  <a:pt x="3924576" y="1718324"/>
                </a:cubicBezTo>
                <a:lnTo>
                  <a:pt x="3925429" y="1717897"/>
                </a:lnTo>
                <a:lnTo>
                  <a:pt x="3924362" y="1710072"/>
                </a:lnTo>
                <a:cubicBezTo>
                  <a:pt x="3924362" y="1703670"/>
                  <a:pt x="3927350" y="1701536"/>
                  <a:pt x="3926923" y="1700255"/>
                </a:cubicBezTo>
                <a:cubicBezTo>
                  <a:pt x="3928204" y="1699971"/>
                  <a:pt x="3929058" y="1699828"/>
                  <a:pt x="3929911" y="1700113"/>
                </a:cubicBezTo>
                <a:close/>
                <a:moveTo>
                  <a:pt x="5231558" y="1699686"/>
                </a:moveTo>
                <a:lnTo>
                  <a:pt x="5236253" y="1700682"/>
                </a:lnTo>
                <a:cubicBezTo>
                  <a:pt x="5237961" y="1701109"/>
                  <a:pt x="5239668" y="1701820"/>
                  <a:pt x="5240522" y="1702674"/>
                </a:cubicBezTo>
                <a:cubicBezTo>
                  <a:pt x="5241376" y="1703243"/>
                  <a:pt x="5241589" y="1703812"/>
                  <a:pt x="5241589" y="1704666"/>
                </a:cubicBezTo>
                <a:cubicBezTo>
                  <a:pt x="5239882" y="1704239"/>
                  <a:pt x="5237748" y="1704239"/>
                  <a:pt x="5235827" y="1703670"/>
                </a:cubicBezTo>
                <a:close/>
                <a:moveTo>
                  <a:pt x="853620" y="1699544"/>
                </a:moveTo>
                <a:cubicBezTo>
                  <a:pt x="855271" y="1702178"/>
                  <a:pt x="850935" y="1708374"/>
                  <a:pt x="848353" y="1710542"/>
                </a:cubicBezTo>
                <a:cubicBezTo>
                  <a:pt x="847940" y="1709923"/>
                  <a:pt x="847837" y="1708993"/>
                  <a:pt x="848044" y="1708064"/>
                </a:cubicBezTo>
                <a:cubicBezTo>
                  <a:pt x="848663" y="1705121"/>
                  <a:pt x="851658" y="1701248"/>
                  <a:pt x="853620" y="1699544"/>
                </a:cubicBezTo>
                <a:close/>
                <a:moveTo>
                  <a:pt x="5934563" y="1699402"/>
                </a:moveTo>
                <a:cubicBezTo>
                  <a:pt x="5934349" y="1703955"/>
                  <a:pt x="5933496" y="1706089"/>
                  <a:pt x="5932429" y="1706657"/>
                </a:cubicBezTo>
                <a:cubicBezTo>
                  <a:pt x="5928801" y="1708507"/>
                  <a:pt x="5923252" y="1697268"/>
                  <a:pt x="5934563" y="1699402"/>
                </a:cubicBezTo>
                <a:close/>
                <a:moveTo>
                  <a:pt x="1756285" y="1699080"/>
                </a:moveTo>
                <a:cubicBezTo>
                  <a:pt x="1758350" y="1700629"/>
                  <a:pt x="1761241" y="1701403"/>
                  <a:pt x="1762687" y="1703727"/>
                </a:cubicBezTo>
                <a:cubicBezTo>
                  <a:pt x="1763203" y="1704501"/>
                  <a:pt x="1763513" y="1705431"/>
                  <a:pt x="1763616" y="1706670"/>
                </a:cubicBezTo>
                <a:cubicBezTo>
                  <a:pt x="1756182" y="1707444"/>
                  <a:pt x="1751535" y="1710077"/>
                  <a:pt x="1745030" y="1712091"/>
                </a:cubicBezTo>
                <a:cubicBezTo>
                  <a:pt x="1744514" y="1711472"/>
                  <a:pt x="1744204" y="1710697"/>
                  <a:pt x="1743998" y="1709613"/>
                </a:cubicBezTo>
                <a:cubicBezTo>
                  <a:pt x="1743895" y="1708528"/>
                  <a:pt x="1743998" y="1707289"/>
                  <a:pt x="1744308" y="1705586"/>
                </a:cubicBezTo>
                <a:cubicBezTo>
                  <a:pt x="1752568" y="1707134"/>
                  <a:pt x="1749780" y="1698151"/>
                  <a:pt x="1756285" y="1699080"/>
                </a:cubicBezTo>
                <a:close/>
                <a:moveTo>
                  <a:pt x="5067865" y="1698975"/>
                </a:moveTo>
                <a:cubicBezTo>
                  <a:pt x="5070000" y="1700682"/>
                  <a:pt x="5072347" y="1700113"/>
                  <a:pt x="5074055" y="1704097"/>
                </a:cubicBezTo>
                <a:cubicBezTo>
                  <a:pt x="5071493" y="1705946"/>
                  <a:pt x="5069146" y="1706657"/>
                  <a:pt x="5066585" y="1708364"/>
                </a:cubicBezTo>
                <a:cubicBezTo>
                  <a:pt x="5062530" y="1705092"/>
                  <a:pt x="5065091" y="1701963"/>
                  <a:pt x="5067865" y="1698975"/>
                </a:cubicBezTo>
                <a:close/>
                <a:moveTo>
                  <a:pt x="1675332" y="1698925"/>
                </a:moveTo>
                <a:cubicBezTo>
                  <a:pt x="1677398" y="1700009"/>
                  <a:pt x="1679256" y="1700164"/>
                  <a:pt x="1680392" y="1700784"/>
                </a:cubicBezTo>
                <a:cubicBezTo>
                  <a:pt x="1679566" y="1704501"/>
                  <a:pt x="1677294" y="1706050"/>
                  <a:pt x="1674093" y="1704501"/>
                </a:cubicBezTo>
                <a:cubicBezTo>
                  <a:pt x="1675332" y="1702333"/>
                  <a:pt x="1674093" y="1701094"/>
                  <a:pt x="1675332" y="1698925"/>
                </a:cubicBezTo>
                <a:close/>
                <a:moveTo>
                  <a:pt x="5895934" y="1698690"/>
                </a:moveTo>
                <a:cubicBezTo>
                  <a:pt x="5906178" y="1715051"/>
                  <a:pt x="5897855" y="1739237"/>
                  <a:pt x="5894653" y="1760577"/>
                </a:cubicBezTo>
                <a:cubicBezTo>
                  <a:pt x="5890812" y="1759297"/>
                  <a:pt x="5887824" y="1761431"/>
                  <a:pt x="5882275" y="1758159"/>
                </a:cubicBezTo>
                <a:lnTo>
                  <a:pt x="5885903" y="1742509"/>
                </a:lnTo>
                <a:lnTo>
                  <a:pt x="5885263" y="1740375"/>
                </a:lnTo>
                <a:cubicBezTo>
                  <a:pt x="5885263" y="1738953"/>
                  <a:pt x="5885476" y="1737815"/>
                  <a:pt x="5885903" y="1737388"/>
                </a:cubicBezTo>
                <a:lnTo>
                  <a:pt x="5887184" y="1736818"/>
                </a:lnTo>
                <a:lnTo>
                  <a:pt x="5889318" y="1727144"/>
                </a:lnTo>
                <a:cubicBezTo>
                  <a:pt x="5891025" y="1717043"/>
                  <a:pt x="5892946" y="1707511"/>
                  <a:pt x="5895934" y="1698690"/>
                </a:cubicBezTo>
                <a:close/>
                <a:moveTo>
                  <a:pt x="4804505" y="1698406"/>
                </a:moveTo>
                <a:cubicBezTo>
                  <a:pt x="4805573" y="1697979"/>
                  <a:pt x="4806853" y="1697837"/>
                  <a:pt x="4807493" y="1698406"/>
                </a:cubicBezTo>
                <a:cubicBezTo>
                  <a:pt x="4809627" y="1701109"/>
                  <a:pt x="4810694" y="1704808"/>
                  <a:pt x="4809627" y="1705804"/>
                </a:cubicBezTo>
                <a:cubicBezTo>
                  <a:pt x="4807706" y="1707369"/>
                  <a:pt x="4805999" y="1708934"/>
                  <a:pt x="4803865" y="1707938"/>
                </a:cubicBezTo>
                <a:cubicBezTo>
                  <a:pt x="4803011" y="1707654"/>
                  <a:pt x="4802158" y="1707084"/>
                  <a:pt x="4801304" y="1706089"/>
                </a:cubicBezTo>
                <a:cubicBezTo>
                  <a:pt x="4801304" y="1706089"/>
                  <a:pt x="4801518" y="1706089"/>
                  <a:pt x="4801518" y="1704808"/>
                </a:cubicBezTo>
                <a:cubicBezTo>
                  <a:pt x="4801518" y="1702532"/>
                  <a:pt x="4801518" y="1701394"/>
                  <a:pt x="4801518" y="1700113"/>
                </a:cubicBezTo>
                <a:cubicBezTo>
                  <a:pt x="4802158" y="1699686"/>
                  <a:pt x="4803225" y="1698975"/>
                  <a:pt x="4804505" y="1698406"/>
                </a:cubicBezTo>
                <a:close/>
                <a:moveTo>
                  <a:pt x="1453538" y="1698151"/>
                </a:moveTo>
                <a:cubicBezTo>
                  <a:pt x="1455397" y="1697841"/>
                  <a:pt x="1456636" y="1698151"/>
                  <a:pt x="1457875" y="1698305"/>
                </a:cubicBezTo>
                <a:cubicBezTo>
                  <a:pt x="1459733" y="1698151"/>
                  <a:pt x="1460250" y="1698770"/>
                  <a:pt x="1459733" y="1701094"/>
                </a:cubicBezTo>
                <a:cubicBezTo>
                  <a:pt x="1457771" y="1701403"/>
                  <a:pt x="1453744" y="1700009"/>
                  <a:pt x="1453538" y="1698151"/>
                </a:cubicBezTo>
                <a:close/>
                <a:moveTo>
                  <a:pt x="1051149" y="1697996"/>
                </a:moveTo>
                <a:cubicBezTo>
                  <a:pt x="1052181" y="1698615"/>
                  <a:pt x="1051252" y="1698770"/>
                  <a:pt x="1051252" y="1699544"/>
                </a:cubicBezTo>
                <a:cubicBezTo>
                  <a:pt x="1050839" y="1699235"/>
                  <a:pt x="1050529" y="1699080"/>
                  <a:pt x="1050529" y="1698925"/>
                </a:cubicBezTo>
                <a:cubicBezTo>
                  <a:pt x="1050529" y="1698615"/>
                  <a:pt x="1050735" y="1698460"/>
                  <a:pt x="1051149" y="1697996"/>
                </a:cubicBezTo>
                <a:close/>
                <a:moveTo>
                  <a:pt x="1138091" y="1697376"/>
                </a:moveTo>
                <a:cubicBezTo>
                  <a:pt x="1138916" y="1698770"/>
                  <a:pt x="1139433" y="1699855"/>
                  <a:pt x="1139639" y="1700784"/>
                </a:cubicBezTo>
                <a:lnTo>
                  <a:pt x="1139536" y="1701094"/>
                </a:lnTo>
                <a:lnTo>
                  <a:pt x="1141807" y="1700474"/>
                </a:lnTo>
                <a:cubicBezTo>
                  <a:pt x="1145422" y="1700164"/>
                  <a:pt x="1150584" y="1701094"/>
                  <a:pt x="1152546" y="1702798"/>
                </a:cubicBezTo>
                <a:cubicBezTo>
                  <a:pt x="1143253" y="1707289"/>
                  <a:pt x="1140878" y="1701248"/>
                  <a:pt x="1135612" y="1703727"/>
                </a:cubicBezTo>
                <a:lnTo>
                  <a:pt x="1135922" y="1702023"/>
                </a:lnTo>
                <a:lnTo>
                  <a:pt x="1134580" y="1700939"/>
                </a:lnTo>
                <a:cubicBezTo>
                  <a:pt x="1134270" y="1700319"/>
                  <a:pt x="1134270" y="1699699"/>
                  <a:pt x="1134476" y="1699235"/>
                </a:cubicBezTo>
                <a:cubicBezTo>
                  <a:pt x="1134889" y="1698460"/>
                  <a:pt x="1136025" y="1697841"/>
                  <a:pt x="1138091" y="1697376"/>
                </a:cubicBezTo>
                <a:close/>
                <a:moveTo>
                  <a:pt x="6109354" y="1697268"/>
                </a:moveTo>
                <a:cubicBezTo>
                  <a:pt x="6109781" y="1698975"/>
                  <a:pt x="6111275" y="1698406"/>
                  <a:pt x="6112768" y="1697979"/>
                </a:cubicBezTo>
                <a:cubicBezTo>
                  <a:pt x="6113195" y="1700540"/>
                  <a:pt x="6114476" y="1704239"/>
                  <a:pt x="6112342" y="1706657"/>
                </a:cubicBezTo>
                <a:cubicBezTo>
                  <a:pt x="6111488" y="1707511"/>
                  <a:pt x="6110421" y="1708080"/>
                  <a:pt x="6108714" y="1708507"/>
                </a:cubicBezTo>
                <a:cubicBezTo>
                  <a:pt x="6108073" y="1709503"/>
                  <a:pt x="6103805" y="1708222"/>
                  <a:pt x="6103378" y="1706515"/>
                </a:cubicBezTo>
                <a:cubicBezTo>
                  <a:pt x="6101884" y="1702674"/>
                  <a:pt x="6105726" y="1700825"/>
                  <a:pt x="6109354" y="1697268"/>
                </a:cubicBezTo>
                <a:close/>
                <a:moveTo>
                  <a:pt x="1450647" y="1696756"/>
                </a:moveTo>
                <a:cubicBezTo>
                  <a:pt x="1450957" y="1696756"/>
                  <a:pt x="1451266" y="1696756"/>
                  <a:pt x="1451266" y="1696756"/>
                </a:cubicBezTo>
                <a:cubicBezTo>
                  <a:pt x="1452505" y="1696911"/>
                  <a:pt x="1453641" y="1697066"/>
                  <a:pt x="1453332" y="1698305"/>
                </a:cubicBezTo>
                <a:cubicBezTo>
                  <a:pt x="1453332" y="1698305"/>
                  <a:pt x="1452712" y="1698770"/>
                  <a:pt x="1450234" y="1698305"/>
                </a:cubicBezTo>
                <a:cubicBezTo>
                  <a:pt x="1451060" y="1697841"/>
                  <a:pt x="1450543" y="1697221"/>
                  <a:pt x="1450543" y="1697221"/>
                </a:cubicBezTo>
                <a:cubicBezTo>
                  <a:pt x="1450543" y="1697221"/>
                  <a:pt x="1450543" y="1697221"/>
                  <a:pt x="1449821" y="1697686"/>
                </a:cubicBezTo>
                <a:cubicBezTo>
                  <a:pt x="1450027" y="1697066"/>
                  <a:pt x="1450337" y="1696911"/>
                  <a:pt x="1450647" y="1696756"/>
                </a:cubicBezTo>
                <a:close/>
                <a:moveTo>
                  <a:pt x="1029259" y="1696601"/>
                </a:moveTo>
                <a:cubicBezTo>
                  <a:pt x="1031943" y="1697996"/>
                  <a:pt x="1032150" y="1700474"/>
                  <a:pt x="1031427" y="1703262"/>
                </a:cubicBezTo>
                <a:cubicBezTo>
                  <a:pt x="1032356" y="1704811"/>
                  <a:pt x="1034111" y="1705431"/>
                  <a:pt x="1033389" y="1707134"/>
                </a:cubicBezTo>
                <a:cubicBezTo>
                  <a:pt x="1031530" y="1704966"/>
                  <a:pt x="1030601" y="1704191"/>
                  <a:pt x="1029671" y="1702643"/>
                </a:cubicBezTo>
                <a:cubicBezTo>
                  <a:pt x="1028845" y="1702798"/>
                  <a:pt x="1027916" y="1702798"/>
                  <a:pt x="1026987" y="1702023"/>
                </a:cubicBezTo>
                <a:cubicBezTo>
                  <a:pt x="1025231" y="1700629"/>
                  <a:pt x="1025954" y="1698925"/>
                  <a:pt x="1025025" y="1697376"/>
                </a:cubicBezTo>
                <a:cubicBezTo>
                  <a:pt x="1025851" y="1696292"/>
                  <a:pt x="1027503" y="1695207"/>
                  <a:pt x="1029259" y="1696601"/>
                </a:cubicBezTo>
                <a:close/>
                <a:moveTo>
                  <a:pt x="5163691" y="1696414"/>
                </a:moveTo>
                <a:cubicBezTo>
                  <a:pt x="5164758" y="1695987"/>
                  <a:pt x="5165185" y="1696983"/>
                  <a:pt x="5166252" y="1696556"/>
                </a:cubicBezTo>
                <a:cubicBezTo>
                  <a:pt x="5166252" y="1696556"/>
                  <a:pt x="5166465" y="1697553"/>
                  <a:pt x="5166465" y="1697553"/>
                </a:cubicBezTo>
                <a:cubicBezTo>
                  <a:pt x="5167106" y="1697268"/>
                  <a:pt x="5167106" y="1697268"/>
                  <a:pt x="5166892" y="1697695"/>
                </a:cubicBezTo>
                <a:cubicBezTo>
                  <a:pt x="5166679" y="1698121"/>
                  <a:pt x="5166465" y="1698833"/>
                  <a:pt x="5166465" y="1700113"/>
                </a:cubicBezTo>
                <a:cubicBezTo>
                  <a:pt x="5165825" y="1701678"/>
                  <a:pt x="5166252" y="1702674"/>
                  <a:pt x="5164758" y="1702247"/>
                </a:cubicBezTo>
                <a:cubicBezTo>
                  <a:pt x="5163264" y="1701678"/>
                  <a:pt x="5163264" y="1701536"/>
                  <a:pt x="5162197" y="1698406"/>
                </a:cubicBezTo>
                <a:cubicBezTo>
                  <a:pt x="5163477" y="1698975"/>
                  <a:pt x="5163477" y="1698975"/>
                  <a:pt x="5164118" y="1697553"/>
                </a:cubicBezTo>
                <a:cubicBezTo>
                  <a:pt x="5164118" y="1697553"/>
                  <a:pt x="5164118" y="1697410"/>
                  <a:pt x="5163691" y="1696414"/>
                </a:cubicBezTo>
                <a:close/>
                <a:moveTo>
                  <a:pt x="1422664" y="1695672"/>
                </a:moveTo>
                <a:cubicBezTo>
                  <a:pt x="1422664" y="1695672"/>
                  <a:pt x="1422664" y="1695672"/>
                  <a:pt x="1418947" y="1700939"/>
                </a:cubicBezTo>
                <a:cubicBezTo>
                  <a:pt x="1418534" y="1700629"/>
                  <a:pt x="1418534" y="1700164"/>
                  <a:pt x="1418740" y="1699699"/>
                </a:cubicBezTo>
                <a:cubicBezTo>
                  <a:pt x="1418947" y="1699235"/>
                  <a:pt x="1419464" y="1698925"/>
                  <a:pt x="1419980" y="1698460"/>
                </a:cubicBezTo>
                <a:cubicBezTo>
                  <a:pt x="1420909" y="1697531"/>
                  <a:pt x="1421735" y="1696601"/>
                  <a:pt x="1422664" y="1695672"/>
                </a:cubicBezTo>
                <a:close/>
                <a:moveTo>
                  <a:pt x="1697429" y="1695517"/>
                </a:moveTo>
                <a:cubicBezTo>
                  <a:pt x="1700527" y="1695672"/>
                  <a:pt x="1705173" y="1697686"/>
                  <a:pt x="1705070" y="1698305"/>
                </a:cubicBezTo>
                <a:cubicBezTo>
                  <a:pt x="1705897" y="1698305"/>
                  <a:pt x="1705793" y="1699235"/>
                  <a:pt x="1706722" y="1699235"/>
                </a:cubicBezTo>
                <a:cubicBezTo>
                  <a:pt x="1706722" y="1699235"/>
                  <a:pt x="1707548" y="1699390"/>
                  <a:pt x="1708271" y="1700164"/>
                </a:cubicBezTo>
                <a:cubicBezTo>
                  <a:pt x="1708994" y="1701094"/>
                  <a:pt x="1709717" y="1702023"/>
                  <a:pt x="1708581" y="1703572"/>
                </a:cubicBezTo>
                <a:cubicBezTo>
                  <a:pt x="1702076" y="1700629"/>
                  <a:pt x="1698565" y="1700474"/>
                  <a:pt x="1693815" y="1697531"/>
                </a:cubicBezTo>
                <a:cubicBezTo>
                  <a:pt x="1693918" y="1696601"/>
                  <a:pt x="1694848" y="1696756"/>
                  <a:pt x="1694951" y="1695827"/>
                </a:cubicBezTo>
                <a:cubicBezTo>
                  <a:pt x="1695468" y="1695517"/>
                  <a:pt x="1696294" y="1695363"/>
                  <a:pt x="1697429" y="1695517"/>
                </a:cubicBezTo>
                <a:close/>
                <a:moveTo>
                  <a:pt x="1288535" y="1695517"/>
                </a:moveTo>
                <a:cubicBezTo>
                  <a:pt x="1289464" y="1695517"/>
                  <a:pt x="1290600" y="1695827"/>
                  <a:pt x="1291323" y="1696292"/>
                </a:cubicBezTo>
                <a:cubicBezTo>
                  <a:pt x="1292045" y="1697066"/>
                  <a:pt x="1292045" y="1697066"/>
                  <a:pt x="1292768" y="1697996"/>
                </a:cubicBezTo>
                <a:cubicBezTo>
                  <a:pt x="1292562" y="1699544"/>
                  <a:pt x="1293078" y="1701403"/>
                  <a:pt x="1291942" y="1702952"/>
                </a:cubicBezTo>
                <a:cubicBezTo>
                  <a:pt x="1289980" y="1704501"/>
                  <a:pt x="1285850" y="1703417"/>
                  <a:pt x="1284301" y="1702488"/>
                </a:cubicBezTo>
                <a:cubicBezTo>
                  <a:pt x="1283578" y="1701558"/>
                  <a:pt x="1283475" y="1700474"/>
                  <a:pt x="1283888" y="1699390"/>
                </a:cubicBezTo>
                <a:cubicBezTo>
                  <a:pt x="1284301" y="1698460"/>
                  <a:pt x="1285127" y="1697376"/>
                  <a:pt x="1286057" y="1696601"/>
                </a:cubicBezTo>
                <a:cubicBezTo>
                  <a:pt x="1286676" y="1695827"/>
                  <a:pt x="1287502" y="1695517"/>
                  <a:pt x="1288535" y="1695517"/>
                </a:cubicBezTo>
                <a:close/>
                <a:moveTo>
                  <a:pt x="1140981" y="1695517"/>
                </a:moveTo>
                <a:lnTo>
                  <a:pt x="1141702" y="1695975"/>
                </a:lnTo>
                <a:lnTo>
                  <a:pt x="1141704" y="1695982"/>
                </a:lnTo>
                <a:cubicBezTo>
                  <a:pt x="1140981" y="1695672"/>
                  <a:pt x="1140981" y="1695517"/>
                  <a:pt x="1140981" y="1695517"/>
                </a:cubicBezTo>
                <a:close/>
                <a:moveTo>
                  <a:pt x="1141395" y="1694898"/>
                </a:moveTo>
                <a:cubicBezTo>
                  <a:pt x="1146454" y="1694433"/>
                  <a:pt x="1152133" y="1697996"/>
                  <a:pt x="1152856" y="1698305"/>
                </a:cubicBezTo>
                <a:cubicBezTo>
                  <a:pt x="1152443" y="1699080"/>
                  <a:pt x="1152546" y="1699080"/>
                  <a:pt x="1152546" y="1699080"/>
                </a:cubicBezTo>
                <a:cubicBezTo>
                  <a:pt x="1150584" y="1697376"/>
                  <a:pt x="1146764" y="1698151"/>
                  <a:pt x="1143666" y="1697221"/>
                </a:cubicBezTo>
                <a:lnTo>
                  <a:pt x="1141702" y="1695975"/>
                </a:lnTo>
                <a:close/>
                <a:moveTo>
                  <a:pt x="6286919" y="1694849"/>
                </a:moveTo>
                <a:cubicBezTo>
                  <a:pt x="6288840" y="1696414"/>
                  <a:pt x="6291614" y="1696414"/>
                  <a:pt x="6293108" y="1696841"/>
                </a:cubicBezTo>
                <a:cubicBezTo>
                  <a:pt x="6294389" y="1700113"/>
                  <a:pt x="6293962" y="1702674"/>
                  <a:pt x="6291614" y="1706515"/>
                </a:cubicBezTo>
                <a:cubicBezTo>
                  <a:pt x="6286279" y="1706515"/>
                  <a:pt x="6287773" y="1707084"/>
                  <a:pt x="6282864" y="1704381"/>
                </a:cubicBezTo>
                <a:cubicBezTo>
                  <a:pt x="6284358" y="1701252"/>
                  <a:pt x="6285638" y="1697979"/>
                  <a:pt x="6286919" y="1694849"/>
                </a:cubicBezTo>
                <a:close/>
                <a:moveTo>
                  <a:pt x="5074268" y="1694423"/>
                </a:moveTo>
                <a:cubicBezTo>
                  <a:pt x="5075335" y="1695134"/>
                  <a:pt x="5075975" y="1693996"/>
                  <a:pt x="5077043" y="1694707"/>
                </a:cubicBezTo>
                <a:cubicBezTo>
                  <a:pt x="5079603" y="1694849"/>
                  <a:pt x="5079603" y="1694707"/>
                  <a:pt x="5080244" y="1696414"/>
                </a:cubicBezTo>
                <a:cubicBezTo>
                  <a:pt x="5080884" y="1698121"/>
                  <a:pt x="5078323" y="1700825"/>
                  <a:pt x="5078750" y="1702532"/>
                </a:cubicBezTo>
                <a:cubicBezTo>
                  <a:pt x="5078750" y="1702532"/>
                  <a:pt x="5078750" y="1702390"/>
                  <a:pt x="5076188" y="1702247"/>
                </a:cubicBezTo>
                <a:cubicBezTo>
                  <a:pt x="5075122" y="1701678"/>
                  <a:pt x="5074055" y="1701109"/>
                  <a:pt x="5073414" y="1699402"/>
                </a:cubicBezTo>
                <a:cubicBezTo>
                  <a:pt x="5072774" y="1697695"/>
                  <a:pt x="5073841" y="1695561"/>
                  <a:pt x="5074268" y="1694423"/>
                </a:cubicBezTo>
                <a:close/>
                <a:moveTo>
                  <a:pt x="1661290" y="1694123"/>
                </a:moveTo>
                <a:cubicBezTo>
                  <a:pt x="1662941" y="1695053"/>
                  <a:pt x="1665730" y="1696137"/>
                  <a:pt x="1666143" y="1698305"/>
                </a:cubicBezTo>
                <a:cubicBezTo>
                  <a:pt x="1666246" y="1699080"/>
                  <a:pt x="1666143" y="1699855"/>
                  <a:pt x="1665626" y="1700939"/>
                </a:cubicBezTo>
                <a:cubicBezTo>
                  <a:pt x="1665833" y="1701713"/>
                  <a:pt x="1662838" y="1703262"/>
                  <a:pt x="1661806" y="1702798"/>
                </a:cubicBezTo>
                <a:cubicBezTo>
                  <a:pt x="1658708" y="1701713"/>
                  <a:pt x="1659534" y="1698925"/>
                  <a:pt x="1659121" y="1695517"/>
                </a:cubicBezTo>
                <a:cubicBezTo>
                  <a:pt x="1660257" y="1696137"/>
                  <a:pt x="1660773" y="1695053"/>
                  <a:pt x="1661290" y="1694123"/>
                </a:cubicBezTo>
                <a:close/>
                <a:moveTo>
                  <a:pt x="1249400" y="1694123"/>
                </a:moveTo>
                <a:cubicBezTo>
                  <a:pt x="1251775" y="1695053"/>
                  <a:pt x="1252498" y="1696601"/>
                  <a:pt x="1252189" y="1697686"/>
                </a:cubicBezTo>
                <a:cubicBezTo>
                  <a:pt x="1250227" y="1706670"/>
                  <a:pt x="1241656" y="1706360"/>
                  <a:pt x="1240521" y="1707754"/>
                </a:cubicBezTo>
                <a:cubicBezTo>
                  <a:pt x="1237939" y="1706670"/>
                  <a:pt x="1237216" y="1706360"/>
                  <a:pt x="1237732" y="1703727"/>
                </a:cubicBezTo>
                <a:lnTo>
                  <a:pt x="1238352" y="1701094"/>
                </a:lnTo>
                <a:lnTo>
                  <a:pt x="1236390" y="1699855"/>
                </a:lnTo>
                <a:cubicBezTo>
                  <a:pt x="1236803" y="1698770"/>
                  <a:pt x="1237216" y="1697686"/>
                  <a:pt x="1237629" y="1696601"/>
                </a:cubicBezTo>
                <a:lnTo>
                  <a:pt x="1241656" y="1697066"/>
                </a:lnTo>
                <a:lnTo>
                  <a:pt x="1244031" y="1696292"/>
                </a:lnTo>
                <a:cubicBezTo>
                  <a:pt x="1245167" y="1694898"/>
                  <a:pt x="1247542" y="1693968"/>
                  <a:pt x="1249400" y="1694123"/>
                </a:cubicBezTo>
                <a:close/>
                <a:moveTo>
                  <a:pt x="5593945" y="1693853"/>
                </a:moveTo>
                <a:cubicBezTo>
                  <a:pt x="5601628" y="1697553"/>
                  <a:pt x="5604189" y="1712633"/>
                  <a:pt x="5600988" y="1718608"/>
                </a:cubicBezTo>
                <a:cubicBezTo>
                  <a:pt x="5596079" y="1720458"/>
                  <a:pt x="5592238" y="1719888"/>
                  <a:pt x="5589463" y="1718181"/>
                </a:cubicBezTo>
                <a:cubicBezTo>
                  <a:pt x="5587542" y="1716901"/>
                  <a:pt x="5586049" y="1714909"/>
                  <a:pt x="5585195" y="1712491"/>
                </a:cubicBezTo>
                <a:lnTo>
                  <a:pt x="5584768" y="1710072"/>
                </a:lnTo>
                <a:lnTo>
                  <a:pt x="5584768" y="1710214"/>
                </a:lnTo>
                <a:cubicBezTo>
                  <a:pt x="5580713" y="1711210"/>
                  <a:pt x="5575164" y="1708792"/>
                  <a:pt x="5573030" y="1702390"/>
                </a:cubicBezTo>
                <a:cubicBezTo>
                  <a:pt x="5575164" y="1697979"/>
                  <a:pt x="5577939" y="1695987"/>
                  <a:pt x="5579859" y="1694138"/>
                </a:cubicBezTo>
                <a:lnTo>
                  <a:pt x="5587329" y="1697837"/>
                </a:lnTo>
                <a:close/>
                <a:moveTo>
                  <a:pt x="5920264" y="1693569"/>
                </a:moveTo>
                <a:cubicBezTo>
                  <a:pt x="5921331" y="1693426"/>
                  <a:pt x="5922612" y="1693569"/>
                  <a:pt x="5923892" y="1694138"/>
                </a:cubicBezTo>
                <a:cubicBezTo>
                  <a:pt x="5925173" y="1695276"/>
                  <a:pt x="5925386" y="1697695"/>
                  <a:pt x="5924745" y="1701252"/>
                </a:cubicBezTo>
                <a:cubicBezTo>
                  <a:pt x="5922612" y="1702674"/>
                  <a:pt x="5918770" y="1699117"/>
                  <a:pt x="5916422" y="1698121"/>
                </a:cubicBezTo>
                <a:cubicBezTo>
                  <a:pt x="5917276" y="1696841"/>
                  <a:pt x="5918343" y="1695703"/>
                  <a:pt x="5917062" y="1695703"/>
                </a:cubicBezTo>
                <a:cubicBezTo>
                  <a:pt x="5918130" y="1694423"/>
                  <a:pt x="5919197" y="1693853"/>
                  <a:pt x="5920264" y="1693569"/>
                </a:cubicBezTo>
                <a:close/>
                <a:moveTo>
                  <a:pt x="5752942" y="1693426"/>
                </a:moveTo>
                <a:cubicBezTo>
                  <a:pt x="5755717" y="1693284"/>
                  <a:pt x="5758492" y="1694280"/>
                  <a:pt x="5761480" y="1696841"/>
                </a:cubicBezTo>
                <a:cubicBezTo>
                  <a:pt x="5762760" y="1702674"/>
                  <a:pt x="5756144" y="1705946"/>
                  <a:pt x="5752942" y="1708222"/>
                </a:cubicBezTo>
                <a:lnTo>
                  <a:pt x="5751235" y="1706515"/>
                </a:lnTo>
                <a:lnTo>
                  <a:pt x="5750382" y="1708934"/>
                </a:lnTo>
                <a:cubicBezTo>
                  <a:pt x="5749742" y="1709788"/>
                  <a:pt x="5749101" y="1710784"/>
                  <a:pt x="5748247" y="1711921"/>
                </a:cubicBezTo>
                <a:cubicBezTo>
                  <a:pt x="5745900" y="1710641"/>
                  <a:pt x="5742485" y="1711779"/>
                  <a:pt x="5740138" y="1709219"/>
                </a:cubicBezTo>
                <a:cubicBezTo>
                  <a:pt x="5740138" y="1709219"/>
                  <a:pt x="5738857" y="1707938"/>
                  <a:pt x="5738643" y="1705519"/>
                </a:cubicBezTo>
                <a:cubicBezTo>
                  <a:pt x="5736296" y="1701820"/>
                  <a:pt x="5739497" y="1698406"/>
                  <a:pt x="5739497" y="1698406"/>
                </a:cubicBezTo>
                <a:cubicBezTo>
                  <a:pt x="5739497" y="1698406"/>
                  <a:pt x="5739497" y="1698406"/>
                  <a:pt x="5738430" y="1698406"/>
                </a:cubicBezTo>
                <a:cubicBezTo>
                  <a:pt x="5740778" y="1698548"/>
                  <a:pt x="5742912" y="1697410"/>
                  <a:pt x="5745259" y="1697553"/>
                </a:cubicBezTo>
                <a:lnTo>
                  <a:pt x="5745900" y="1698264"/>
                </a:lnTo>
                <a:lnTo>
                  <a:pt x="5745473" y="1697268"/>
                </a:lnTo>
                <a:cubicBezTo>
                  <a:pt x="5747821" y="1694991"/>
                  <a:pt x="5750168" y="1693569"/>
                  <a:pt x="5752942" y="1693426"/>
                </a:cubicBezTo>
                <a:close/>
                <a:moveTo>
                  <a:pt x="1099266" y="1693349"/>
                </a:moveTo>
                <a:cubicBezTo>
                  <a:pt x="1102777" y="1693504"/>
                  <a:pt x="1104945" y="1695672"/>
                  <a:pt x="1107010" y="1698615"/>
                </a:cubicBezTo>
                <a:lnTo>
                  <a:pt x="1108766" y="1700784"/>
                </a:lnTo>
                <a:lnTo>
                  <a:pt x="1109385" y="1701094"/>
                </a:lnTo>
                <a:lnTo>
                  <a:pt x="1110624" y="1703262"/>
                </a:lnTo>
                <a:lnTo>
                  <a:pt x="1113825" y="1707289"/>
                </a:lnTo>
                <a:cubicBezTo>
                  <a:pt x="1116406" y="1708374"/>
                  <a:pt x="1118575" y="1706980"/>
                  <a:pt x="1121260" y="1708684"/>
                </a:cubicBezTo>
                <a:lnTo>
                  <a:pt x="1122292" y="1709768"/>
                </a:lnTo>
                <a:lnTo>
                  <a:pt x="1126629" y="1709613"/>
                </a:lnTo>
                <a:cubicBezTo>
                  <a:pt x="1127352" y="1711162"/>
                  <a:pt x="1124667" y="1713795"/>
                  <a:pt x="1123634" y="1715654"/>
                </a:cubicBezTo>
                <a:cubicBezTo>
                  <a:pt x="1122808" y="1714724"/>
                  <a:pt x="1122086" y="1713950"/>
                  <a:pt x="1121982" y="1714879"/>
                </a:cubicBezTo>
                <a:lnTo>
                  <a:pt x="1120950" y="1712866"/>
                </a:lnTo>
                <a:lnTo>
                  <a:pt x="1119091" y="1713795"/>
                </a:lnTo>
                <a:lnTo>
                  <a:pt x="1120021" y="1714570"/>
                </a:lnTo>
                <a:cubicBezTo>
                  <a:pt x="1121776" y="1716738"/>
                  <a:pt x="1123325" y="1719216"/>
                  <a:pt x="1124667" y="1721695"/>
                </a:cubicBezTo>
                <a:lnTo>
                  <a:pt x="1126629" y="1726032"/>
                </a:lnTo>
                <a:lnTo>
                  <a:pt x="1127661" y="1724173"/>
                </a:lnTo>
                <a:cubicBezTo>
                  <a:pt x="1130243" y="1720611"/>
                  <a:pt x="1133134" y="1720766"/>
                  <a:pt x="1133340" y="1719836"/>
                </a:cubicBezTo>
                <a:cubicBezTo>
                  <a:pt x="1136955" y="1720920"/>
                  <a:pt x="1136438" y="1723244"/>
                  <a:pt x="1136851" y="1726961"/>
                </a:cubicBezTo>
                <a:cubicBezTo>
                  <a:pt x="1135612" y="1726652"/>
                  <a:pt x="1134786" y="1730059"/>
                  <a:pt x="1134476" y="1731144"/>
                </a:cubicBezTo>
                <a:cubicBezTo>
                  <a:pt x="1133340" y="1730834"/>
                  <a:pt x="1132308" y="1731608"/>
                  <a:pt x="1131172" y="1732228"/>
                </a:cubicBezTo>
                <a:lnTo>
                  <a:pt x="1129623" y="1733002"/>
                </a:lnTo>
                <a:lnTo>
                  <a:pt x="1134889" y="1746323"/>
                </a:lnTo>
                <a:cubicBezTo>
                  <a:pt x="1131792" y="1746478"/>
                  <a:pt x="1130553" y="1748647"/>
                  <a:pt x="1125596" y="1748182"/>
                </a:cubicBezTo>
                <a:cubicBezTo>
                  <a:pt x="1123737" y="1740592"/>
                  <a:pt x="1120950" y="1733622"/>
                  <a:pt x="1118265" y="1726806"/>
                </a:cubicBezTo>
                <a:lnTo>
                  <a:pt x="1114548" y="1715964"/>
                </a:lnTo>
                <a:lnTo>
                  <a:pt x="1111657" y="1717203"/>
                </a:lnTo>
                <a:cubicBezTo>
                  <a:pt x="1107527" y="1718442"/>
                  <a:pt x="1103500" y="1718907"/>
                  <a:pt x="1099576" y="1718597"/>
                </a:cubicBezTo>
                <a:cubicBezTo>
                  <a:pt x="1096994" y="1718287"/>
                  <a:pt x="1094413" y="1717822"/>
                  <a:pt x="1091831" y="1716893"/>
                </a:cubicBezTo>
                <a:cubicBezTo>
                  <a:pt x="1092038" y="1715344"/>
                  <a:pt x="1092658" y="1714105"/>
                  <a:pt x="1093587" y="1713021"/>
                </a:cubicBezTo>
                <a:lnTo>
                  <a:pt x="1094310" y="1712556"/>
                </a:lnTo>
                <a:lnTo>
                  <a:pt x="1093277" y="1712556"/>
                </a:lnTo>
                <a:cubicBezTo>
                  <a:pt x="1092451" y="1712556"/>
                  <a:pt x="1091728" y="1712556"/>
                  <a:pt x="1091212" y="1712866"/>
                </a:cubicBezTo>
                <a:cubicBezTo>
                  <a:pt x="1091625" y="1712091"/>
                  <a:pt x="1092038" y="1711317"/>
                  <a:pt x="1091212" y="1711007"/>
                </a:cubicBezTo>
                <a:cubicBezTo>
                  <a:pt x="1093587" y="1710077"/>
                  <a:pt x="1094310" y="1710388"/>
                  <a:pt x="1095549" y="1710077"/>
                </a:cubicBezTo>
                <a:cubicBezTo>
                  <a:pt x="1094826" y="1709613"/>
                  <a:pt x="1095962" y="1709303"/>
                  <a:pt x="1095962" y="1709303"/>
                </a:cubicBezTo>
                <a:cubicBezTo>
                  <a:pt x="1095962" y="1709303"/>
                  <a:pt x="1096065" y="1709303"/>
                  <a:pt x="1095342" y="1707134"/>
                </a:cubicBezTo>
                <a:cubicBezTo>
                  <a:pt x="1095342" y="1707134"/>
                  <a:pt x="1094826" y="1704191"/>
                  <a:pt x="1096788" y="1701713"/>
                </a:cubicBezTo>
                <a:lnTo>
                  <a:pt x="1098956" y="1700009"/>
                </a:lnTo>
                <a:lnTo>
                  <a:pt x="1097717" y="1696756"/>
                </a:lnTo>
                <a:cubicBezTo>
                  <a:pt x="1097614" y="1695517"/>
                  <a:pt x="1098027" y="1694433"/>
                  <a:pt x="1099266" y="1693349"/>
                </a:cubicBezTo>
                <a:close/>
                <a:moveTo>
                  <a:pt x="1345119" y="1693194"/>
                </a:moveTo>
                <a:cubicBezTo>
                  <a:pt x="1349559" y="1694898"/>
                  <a:pt x="1353896" y="1702023"/>
                  <a:pt x="1355651" y="1708993"/>
                </a:cubicBezTo>
                <a:cubicBezTo>
                  <a:pt x="1357406" y="1716119"/>
                  <a:pt x="1356580" y="1723244"/>
                  <a:pt x="1351004" y="1725102"/>
                </a:cubicBezTo>
                <a:lnTo>
                  <a:pt x="1350592" y="1719991"/>
                </a:lnTo>
                <a:lnTo>
                  <a:pt x="1348630" y="1717822"/>
                </a:lnTo>
                <a:cubicBezTo>
                  <a:pt x="1347184" y="1715499"/>
                  <a:pt x="1346358" y="1712711"/>
                  <a:pt x="1345945" y="1710542"/>
                </a:cubicBezTo>
                <a:lnTo>
                  <a:pt x="1347081" y="1709148"/>
                </a:lnTo>
                <a:lnTo>
                  <a:pt x="1344499" y="1701713"/>
                </a:lnTo>
                <a:cubicBezTo>
                  <a:pt x="1344190" y="1700319"/>
                  <a:pt x="1344087" y="1698925"/>
                  <a:pt x="1344190" y="1697531"/>
                </a:cubicBezTo>
                <a:cubicBezTo>
                  <a:pt x="1344293" y="1696137"/>
                  <a:pt x="1344603" y="1694743"/>
                  <a:pt x="1345119" y="1693194"/>
                </a:cubicBezTo>
                <a:close/>
                <a:moveTo>
                  <a:pt x="1163698" y="1692110"/>
                </a:moveTo>
                <a:cubicBezTo>
                  <a:pt x="1165350" y="1693659"/>
                  <a:pt x="1167105" y="1694433"/>
                  <a:pt x="1167002" y="1695363"/>
                </a:cubicBezTo>
                <a:cubicBezTo>
                  <a:pt x="1167931" y="1695207"/>
                  <a:pt x="1168757" y="1696137"/>
                  <a:pt x="1169687" y="1695982"/>
                </a:cubicBezTo>
                <a:cubicBezTo>
                  <a:pt x="1169687" y="1695982"/>
                  <a:pt x="1169687" y="1695982"/>
                  <a:pt x="1169584" y="1696911"/>
                </a:cubicBezTo>
                <a:cubicBezTo>
                  <a:pt x="1166176" y="1696137"/>
                  <a:pt x="1161736" y="1697221"/>
                  <a:pt x="1159155" y="1695672"/>
                </a:cubicBezTo>
                <a:cubicBezTo>
                  <a:pt x="1158741" y="1695207"/>
                  <a:pt x="1158329" y="1694898"/>
                  <a:pt x="1158225" y="1694278"/>
                </a:cubicBezTo>
                <a:cubicBezTo>
                  <a:pt x="1158122" y="1693813"/>
                  <a:pt x="1158329" y="1693194"/>
                  <a:pt x="1159258" y="1692265"/>
                </a:cubicBezTo>
                <a:cubicBezTo>
                  <a:pt x="1160291" y="1690561"/>
                  <a:pt x="1161116" y="1690561"/>
                  <a:pt x="1163698" y="1692110"/>
                </a:cubicBezTo>
                <a:close/>
                <a:moveTo>
                  <a:pt x="4857860" y="1692004"/>
                </a:moveTo>
                <a:cubicBezTo>
                  <a:pt x="4857860" y="1692004"/>
                  <a:pt x="4858073" y="1692289"/>
                  <a:pt x="4858073" y="1692716"/>
                </a:cubicBezTo>
                <a:cubicBezTo>
                  <a:pt x="4858287" y="1693142"/>
                  <a:pt x="4858287" y="1693711"/>
                  <a:pt x="4857647" y="1694138"/>
                </a:cubicBezTo>
                <a:cubicBezTo>
                  <a:pt x="4857647" y="1694138"/>
                  <a:pt x="4857647" y="1694138"/>
                  <a:pt x="4856580" y="1693996"/>
                </a:cubicBezTo>
                <a:cubicBezTo>
                  <a:pt x="4856580" y="1693996"/>
                  <a:pt x="4856793" y="1692858"/>
                  <a:pt x="4857860" y="1692004"/>
                </a:cubicBezTo>
                <a:close/>
                <a:moveTo>
                  <a:pt x="4886032" y="1691434"/>
                </a:moveTo>
                <a:cubicBezTo>
                  <a:pt x="4887953" y="1691434"/>
                  <a:pt x="4890300" y="1691861"/>
                  <a:pt x="4892648" y="1692289"/>
                </a:cubicBezTo>
                <a:cubicBezTo>
                  <a:pt x="4899050" y="1694138"/>
                  <a:pt x="4903959" y="1698548"/>
                  <a:pt x="4909081" y="1703670"/>
                </a:cubicBezTo>
                <a:lnTo>
                  <a:pt x="4912496" y="1707227"/>
                </a:lnTo>
                <a:lnTo>
                  <a:pt x="4913990" y="1707654"/>
                </a:lnTo>
                <a:cubicBezTo>
                  <a:pt x="4915697" y="1708080"/>
                  <a:pt x="4917404" y="1708649"/>
                  <a:pt x="4918258" y="1709503"/>
                </a:cubicBezTo>
                <a:cubicBezTo>
                  <a:pt x="4918898" y="1710072"/>
                  <a:pt x="4919111" y="1710641"/>
                  <a:pt x="4918898" y="1711495"/>
                </a:cubicBezTo>
                <a:lnTo>
                  <a:pt x="4915911" y="1711068"/>
                </a:lnTo>
                <a:lnTo>
                  <a:pt x="4916764" y="1711921"/>
                </a:lnTo>
                <a:cubicBezTo>
                  <a:pt x="4919539" y="1714767"/>
                  <a:pt x="4922740" y="1717612"/>
                  <a:pt x="4926368" y="1720315"/>
                </a:cubicBezTo>
                <a:cubicBezTo>
                  <a:pt x="4919752" y="1720885"/>
                  <a:pt x="4915483" y="1724441"/>
                  <a:pt x="4912069" y="1728567"/>
                </a:cubicBezTo>
                <a:lnTo>
                  <a:pt x="4908227" y="1733262"/>
                </a:lnTo>
                <a:lnTo>
                  <a:pt x="4909295" y="1734258"/>
                </a:lnTo>
                <a:cubicBezTo>
                  <a:pt x="4909508" y="1734542"/>
                  <a:pt x="4909508" y="1734542"/>
                  <a:pt x="4909508" y="1733973"/>
                </a:cubicBezTo>
                <a:cubicBezTo>
                  <a:pt x="4911642" y="1736676"/>
                  <a:pt x="4914843" y="1739522"/>
                  <a:pt x="4913563" y="1741798"/>
                </a:cubicBezTo>
                <a:cubicBezTo>
                  <a:pt x="4910575" y="1744786"/>
                  <a:pt x="4905880" y="1743505"/>
                  <a:pt x="4901825" y="1741229"/>
                </a:cubicBezTo>
                <a:lnTo>
                  <a:pt x="4901184" y="1740802"/>
                </a:lnTo>
                <a:lnTo>
                  <a:pt x="4897343" y="1743078"/>
                </a:lnTo>
                <a:cubicBezTo>
                  <a:pt x="4895636" y="1743647"/>
                  <a:pt x="4893928" y="1743932"/>
                  <a:pt x="4891794" y="1743790"/>
                </a:cubicBezTo>
                <a:lnTo>
                  <a:pt x="4883471" y="1741798"/>
                </a:lnTo>
                <a:lnTo>
                  <a:pt x="4883044" y="1744359"/>
                </a:lnTo>
                <a:cubicBezTo>
                  <a:pt x="4878989" y="1743932"/>
                  <a:pt x="4877922" y="1741798"/>
                  <a:pt x="4877708" y="1739095"/>
                </a:cubicBezTo>
                <a:lnTo>
                  <a:pt x="4877922" y="1738810"/>
                </a:lnTo>
                <a:lnTo>
                  <a:pt x="4873227" y="1734969"/>
                </a:lnTo>
                <a:lnTo>
                  <a:pt x="4871092" y="1743505"/>
                </a:lnTo>
                <a:cubicBezTo>
                  <a:pt x="4870025" y="1746493"/>
                  <a:pt x="4868531" y="1749481"/>
                  <a:pt x="4867464" y="1752041"/>
                </a:cubicBezTo>
                <a:cubicBezTo>
                  <a:pt x="4865116" y="1757448"/>
                  <a:pt x="4862342" y="1762996"/>
                  <a:pt x="4858714" y="1764845"/>
                </a:cubicBezTo>
                <a:lnTo>
                  <a:pt x="4858287" y="1764845"/>
                </a:lnTo>
                <a:lnTo>
                  <a:pt x="4856366" y="1767691"/>
                </a:lnTo>
                <a:cubicBezTo>
                  <a:pt x="4853378" y="1771106"/>
                  <a:pt x="4849750" y="1772670"/>
                  <a:pt x="4846549" y="1767833"/>
                </a:cubicBezTo>
                <a:lnTo>
                  <a:pt x="4850817" y="1761573"/>
                </a:lnTo>
                <a:lnTo>
                  <a:pt x="4848257" y="1759582"/>
                </a:lnTo>
                <a:cubicBezTo>
                  <a:pt x="4846976" y="1756736"/>
                  <a:pt x="4846335" y="1753179"/>
                  <a:pt x="4846762" y="1749338"/>
                </a:cubicBezTo>
                <a:lnTo>
                  <a:pt x="4846976" y="1748058"/>
                </a:lnTo>
                <a:lnTo>
                  <a:pt x="4832890" y="1748484"/>
                </a:lnTo>
                <a:lnTo>
                  <a:pt x="4828835" y="1748911"/>
                </a:lnTo>
                <a:lnTo>
                  <a:pt x="4828195" y="1750192"/>
                </a:lnTo>
                <a:cubicBezTo>
                  <a:pt x="4826915" y="1751330"/>
                  <a:pt x="4825634" y="1752183"/>
                  <a:pt x="4824993" y="1753891"/>
                </a:cubicBezTo>
                <a:cubicBezTo>
                  <a:pt x="4824140" y="1753037"/>
                  <a:pt x="4822646" y="1752041"/>
                  <a:pt x="4821792" y="1750476"/>
                </a:cubicBezTo>
                <a:lnTo>
                  <a:pt x="4821579" y="1749765"/>
                </a:lnTo>
                <a:lnTo>
                  <a:pt x="4820939" y="1749765"/>
                </a:lnTo>
                <a:lnTo>
                  <a:pt x="4821365" y="1749196"/>
                </a:lnTo>
                <a:lnTo>
                  <a:pt x="4820939" y="1747773"/>
                </a:lnTo>
                <a:cubicBezTo>
                  <a:pt x="4820725" y="1746635"/>
                  <a:pt x="4820725" y="1745355"/>
                  <a:pt x="4821152" y="1743932"/>
                </a:cubicBezTo>
                <a:cubicBezTo>
                  <a:pt x="4821792" y="1742225"/>
                  <a:pt x="4821792" y="1742225"/>
                  <a:pt x="4822860" y="1741655"/>
                </a:cubicBezTo>
                <a:cubicBezTo>
                  <a:pt x="4823713" y="1740517"/>
                  <a:pt x="4824353" y="1739664"/>
                  <a:pt x="4824993" y="1738953"/>
                </a:cubicBezTo>
                <a:lnTo>
                  <a:pt x="4825634" y="1738810"/>
                </a:lnTo>
                <a:lnTo>
                  <a:pt x="4826060" y="1736818"/>
                </a:lnTo>
                <a:cubicBezTo>
                  <a:pt x="4826488" y="1732551"/>
                  <a:pt x="4826274" y="1728140"/>
                  <a:pt x="4826060" y="1723872"/>
                </a:cubicBezTo>
                <a:lnTo>
                  <a:pt x="4823713" y="1723730"/>
                </a:lnTo>
                <a:cubicBezTo>
                  <a:pt x="4821792" y="1722734"/>
                  <a:pt x="4819872" y="1721453"/>
                  <a:pt x="4817951" y="1721169"/>
                </a:cubicBezTo>
                <a:cubicBezTo>
                  <a:pt x="4818804" y="1715905"/>
                  <a:pt x="4821792" y="1713202"/>
                  <a:pt x="4824780" y="1712491"/>
                </a:cubicBezTo>
                <a:lnTo>
                  <a:pt x="4827555" y="1712775"/>
                </a:lnTo>
                <a:lnTo>
                  <a:pt x="4828408" y="1710499"/>
                </a:lnTo>
                <a:cubicBezTo>
                  <a:pt x="4829048" y="1708792"/>
                  <a:pt x="4830329" y="1707084"/>
                  <a:pt x="4831823" y="1705519"/>
                </a:cubicBezTo>
                <a:cubicBezTo>
                  <a:pt x="4842921" y="1693426"/>
                  <a:pt x="4857433" y="1695845"/>
                  <a:pt x="4866397" y="1704097"/>
                </a:cubicBezTo>
                <a:lnTo>
                  <a:pt x="4867037" y="1704808"/>
                </a:lnTo>
                <a:lnTo>
                  <a:pt x="4868744" y="1701820"/>
                </a:lnTo>
                <a:lnTo>
                  <a:pt x="4866397" y="1701678"/>
                </a:lnTo>
                <a:cubicBezTo>
                  <a:pt x="4864476" y="1700398"/>
                  <a:pt x="4863623" y="1697979"/>
                  <a:pt x="4864690" y="1694280"/>
                </a:cubicBezTo>
                <a:cubicBezTo>
                  <a:pt x="4866184" y="1693426"/>
                  <a:pt x="4868744" y="1693569"/>
                  <a:pt x="4871092" y="1694138"/>
                </a:cubicBezTo>
                <a:lnTo>
                  <a:pt x="4873653" y="1695845"/>
                </a:lnTo>
                <a:lnTo>
                  <a:pt x="4880270" y="1692004"/>
                </a:lnTo>
                <a:cubicBezTo>
                  <a:pt x="4881977" y="1691719"/>
                  <a:pt x="4883898" y="1691434"/>
                  <a:pt x="4886032" y="1691434"/>
                </a:cubicBezTo>
                <a:close/>
                <a:moveTo>
                  <a:pt x="4794688" y="1691292"/>
                </a:moveTo>
                <a:cubicBezTo>
                  <a:pt x="4795968" y="1692716"/>
                  <a:pt x="4796822" y="1693996"/>
                  <a:pt x="4797463" y="1695418"/>
                </a:cubicBezTo>
                <a:lnTo>
                  <a:pt x="4797463" y="1696556"/>
                </a:lnTo>
                <a:lnTo>
                  <a:pt x="4798530" y="1695561"/>
                </a:lnTo>
                <a:cubicBezTo>
                  <a:pt x="4798956" y="1694707"/>
                  <a:pt x="4799170" y="1693853"/>
                  <a:pt x="4799383" y="1692573"/>
                </a:cubicBezTo>
                <a:cubicBezTo>
                  <a:pt x="4799383" y="1692573"/>
                  <a:pt x="4799383" y="1692573"/>
                  <a:pt x="4802585" y="1691577"/>
                </a:cubicBezTo>
                <a:lnTo>
                  <a:pt x="4803438" y="1692289"/>
                </a:lnTo>
                <a:cubicBezTo>
                  <a:pt x="4803865" y="1692858"/>
                  <a:pt x="4803438" y="1693711"/>
                  <a:pt x="4802798" y="1694849"/>
                </a:cubicBezTo>
                <a:cubicBezTo>
                  <a:pt x="4800877" y="1698548"/>
                  <a:pt x="4795968" y="1703812"/>
                  <a:pt x="4795542" y="1704666"/>
                </a:cubicBezTo>
                <a:cubicBezTo>
                  <a:pt x="4795542" y="1704666"/>
                  <a:pt x="4794902" y="1705662"/>
                  <a:pt x="4794261" y="1706800"/>
                </a:cubicBezTo>
                <a:cubicBezTo>
                  <a:pt x="4792554" y="1707227"/>
                  <a:pt x="4791700" y="1706657"/>
                  <a:pt x="4791060" y="1707654"/>
                </a:cubicBezTo>
                <a:cubicBezTo>
                  <a:pt x="4790633" y="1705235"/>
                  <a:pt x="4791060" y="1703243"/>
                  <a:pt x="4792127" y="1701820"/>
                </a:cubicBezTo>
                <a:lnTo>
                  <a:pt x="4795968" y="1697695"/>
                </a:lnTo>
                <a:lnTo>
                  <a:pt x="4794688" y="1695703"/>
                </a:lnTo>
                <a:cubicBezTo>
                  <a:pt x="4794261" y="1694423"/>
                  <a:pt x="4794261" y="1693142"/>
                  <a:pt x="4794688" y="1691292"/>
                </a:cubicBezTo>
                <a:close/>
                <a:moveTo>
                  <a:pt x="5647087" y="1691150"/>
                </a:moveTo>
                <a:cubicBezTo>
                  <a:pt x="5649220" y="1691292"/>
                  <a:pt x="5650288" y="1692004"/>
                  <a:pt x="5650928" y="1693142"/>
                </a:cubicBezTo>
                <a:cubicBezTo>
                  <a:pt x="5651355" y="1694280"/>
                  <a:pt x="5651568" y="1695703"/>
                  <a:pt x="5651142" y="1697410"/>
                </a:cubicBezTo>
                <a:cubicBezTo>
                  <a:pt x="5650715" y="1700682"/>
                  <a:pt x="5648154" y="1700825"/>
                  <a:pt x="5648154" y="1700825"/>
                </a:cubicBezTo>
                <a:cubicBezTo>
                  <a:pt x="5644099" y="1700540"/>
                  <a:pt x="5641111" y="1698121"/>
                  <a:pt x="5640897" y="1693711"/>
                </a:cubicBezTo>
                <a:cubicBezTo>
                  <a:pt x="5641964" y="1691434"/>
                  <a:pt x="5644525" y="1691292"/>
                  <a:pt x="5647087" y="1691150"/>
                </a:cubicBezTo>
                <a:close/>
                <a:moveTo>
                  <a:pt x="4970546" y="1690866"/>
                </a:moveTo>
                <a:cubicBezTo>
                  <a:pt x="4972040" y="1693000"/>
                  <a:pt x="4975454" y="1696556"/>
                  <a:pt x="4976095" y="1699117"/>
                </a:cubicBezTo>
                <a:cubicBezTo>
                  <a:pt x="4976308" y="1699971"/>
                  <a:pt x="4976095" y="1700825"/>
                  <a:pt x="4975454" y="1701252"/>
                </a:cubicBezTo>
                <a:cubicBezTo>
                  <a:pt x="4973321" y="1698548"/>
                  <a:pt x="4969052" y="1695418"/>
                  <a:pt x="4970546" y="1690866"/>
                </a:cubicBezTo>
                <a:close/>
                <a:moveTo>
                  <a:pt x="1064365" y="1690561"/>
                </a:moveTo>
                <a:cubicBezTo>
                  <a:pt x="1064262" y="1692265"/>
                  <a:pt x="1067670" y="1693039"/>
                  <a:pt x="1065914" y="1694743"/>
                </a:cubicBezTo>
                <a:cubicBezTo>
                  <a:pt x="1064985" y="1693968"/>
                  <a:pt x="1064159" y="1692265"/>
                  <a:pt x="1063333" y="1691490"/>
                </a:cubicBezTo>
                <a:cubicBezTo>
                  <a:pt x="1063333" y="1691490"/>
                  <a:pt x="1063436" y="1691490"/>
                  <a:pt x="1064365" y="1690561"/>
                </a:cubicBezTo>
                <a:close/>
                <a:moveTo>
                  <a:pt x="5022407" y="1690439"/>
                </a:moveTo>
                <a:cubicBezTo>
                  <a:pt x="5023474" y="1690297"/>
                  <a:pt x="5025821" y="1690154"/>
                  <a:pt x="5027316" y="1691292"/>
                </a:cubicBezTo>
                <a:cubicBezTo>
                  <a:pt x="5028383" y="1691150"/>
                  <a:pt x="5027742" y="1694849"/>
                  <a:pt x="5027742" y="1694849"/>
                </a:cubicBezTo>
                <a:cubicBezTo>
                  <a:pt x="5026889" y="1696130"/>
                  <a:pt x="5022833" y="1693996"/>
                  <a:pt x="5021767" y="1694138"/>
                </a:cubicBezTo>
                <a:cubicBezTo>
                  <a:pt x="5021553" y="1692858"/>
                  <a:pt x="5022620" y="1691577"/>
                  <a:pt x="5022407" y="1690439"/>
                </a:cubicBezTo>
                <a:close/>
                <a:moveTo>
                  <a:pt x="4679228" y="1690297"/>
                </a:moveTo>
                <a:cubicBezTo>
                  <a:pt x="4681789" y="1690439"/>
                  <a:pt x="4684137" y="1691861"/>
                  <a:pt x="4684777" y="1693426"/>
                </a:cubicBezTo>
                <a:cubicBezTo>
                  <a:pt x="4684137" y="1701536"/>
                  <a:pt x="4675386" y="1698121"/>
                  <a:pt x="4674106" y="1694849"/>
                </a:cubicBezTo>
                <a:cubicBezTo>
                  <a:pt x="4674533" y="1691292"/>
                  <a:pt x="4676880" y="1690154"/>
                  <a:pt x="4679228" y="1690297"/>
                </a:cubicBezTo>
                <a:close/>
                <a:moveTo>
                  <a:pt x="5010669" y="1690012"/>
                </a:moveTo>
                <a:cubicBezTo>
                  <a:pt x="5011522" y="1689728"/>
                  <a:pt x="5012803" y="1690012"/>
                  <a:pt x="5014724" y="1691008"/>
                </a:cubicBezTo>
                <a:cubicBezTo>
                  <a:pt x="5014724" y="1691008"/>
                  <a:pt x="5014724" y="1692146"/>
                  <a:pt x="5014724" y="1692146"/>
                </a:cubicBezTo>
                <a:cubicBezTo>
                  <a:pt x="5013017" y="1695703"/>
                  <a:pt x="5011522" y="1694565"/>
                  <a:pt x="5008962" y="1692431"/>
                </a:cubicBezTo>
                <a:cubicBezTo>
                  <a:pt x="5009388" y="1691292"/>
                  <a:pt x="5009815" y="1690297"/>
                  <a:pt x="5010669" y="1690012"/>
                </a:cubicBezTo>
                <a:close/>
                <a:moveTo>
                  <a:pt x="4715296" y="1690012"/>
                </a:moveTo>
                <a:cubicBezTo>
                  <a:pt x="4716363" y="1689869"/>
                  <a:pt x="4717430" y="1690012"/>
                  <a:pt x="4718497" y="1690439"/>
                </a:cubicBezTo>
                <a:cubicBezTo>
                  <a:pt x="4722552" y="1691008"/>
                  <a:pt x="4724259" y="1695276"/>
                  <a:pt x="4728741" y="1696841"/>
                </a:cubicBezTo>
                <a:cubicBezTo>
                  <a:pt x="4727247" y="1702816"/>
                  <a:pt x="4726394" y="1704523"/>
                  <a:pt x="4720205" y="1704950"/>
                </a:cubicBezTo>
                <a:cubicBezTo>
                  <a:pt x="4720205" y="1704950"/>
                  <a:pt x="4718924" y="1704381"/>
                  <a:pt x="4718924" y="1704381"/>
                </a:cubicBezTo>
                <a:cubicBezTo>
                  <a:pt x="4713375" y="1703385"/>
                  <a:pt x="4708680" y="1697837"/>
                  <a:pt x="4708893" y="1695134"/>
                </a:cubicBezTo>
                <a:cubicBezTo>
                  <a:pt x="4709747" y="1692716"/>
                  <a:pt x="4712308" y="1690439"/>
                  <a:pt x="4715296" y="1690012"/>
                </a:cubicBezTo>
                <a:close/>
                <a:moveTo>
                  <a:pt x="1276557" y="1689786"/>
                </a:moveTo>
                <a:cubicBezTo>
                  <a:pt x="1276557" y="1689786"/>
                  <a:pt x="1276557" y="1689786"/>
                  <a:pt x="1273356" y="1695363"/>
                </a:cubicBezTo>
                <a:cubicBezTo>
                  <a:pt x="1272943" y="1695053"/>
                  <a:pt x="1272839" y="1694588"/>
                  <a:pt x="1273046" y="1694123"/>
                </a:cubicBezTo>
                <a:cubicBezTo>
                  <a:pt x="1273253" y="1693659"/>
                  <a:pt x="1273666" y="1693194"/>
                  <a:pt x="1274079" y="1692729"/>
                </a:cubicBezTo>
                <a:cubicBezTo>
                  <a:pt x="1274905" y="1691645"/>
                  <a:pt x="1275731" y="1690716"/>
                  <a:pt x="1276557" y="1689786"/>
                </a:cubicBezTo>
                <a:close/>
                <a:moveTo>
                  <a:pt x="1251053" y="1689631"/>
                </a:moveTo>
                <a:cubicBezTo>
                  <a:pt x="1251879" y="1690406"/>
                  <a:pt x="1252705" y="1691180"/>
                  <a:pt x="1253531" y="1691955"/>
                </a:cubicBezTo>
                <a:cubicBezTo>
                  <a:pt x="1251775" y="1693659"/>
                  <a:pt x="1249917" y="1695363"/>
                  <a:pt x="1248368" y="1693813"/>
                </a:cubicBezTo>
                <a:cubicBezTo>
                  <a:pt x="1249297" y="1692110"/>
                  <a:pt x="1248471" y="1691335"/>
                  <a:pt x="1251053" y="1689631"/>
                </a:cubicBezTo>
                <a:close/>
                <a:moveTo>
                  <a:pt x="766484" y="1689554"/>
                </a:moveTo>
                <a:cubicBezTo>
                  <a:pt x="768717" y="1690367"/>
                  <a:pt x="770601" y="1692032"/>
                  <a:pt x="771221" y="1694123"/>
                </a:cubicBezTo>
                <a:cubicBezTo>
                  <a:pt x="771737" y="1696137"/>
                  <a:pt x="771221" y="1698305"/>
                  <a:pt x="769053" y="1700784"/>
                </a:cubicBezTo>
                <a:cubicBezTo>
                  <a:pt x="763683" y="1697376"/>
                  <a:pt x="759863" y="1698925"/>
                  <a:pt x="756765" y="1694278"/>
                </a:cubicBezTo>
                <a:cubicBezTo>
                  <a:pt x="757282" y="1692265"/>
                  <a:pt x="758314" y="1690870"/>
                  <a:pt x="759657" y="1690096"/>
                </a:cubicBezTo>
                <a:cubicBezTo>
                  <a:pt x="761670" y="1688779"/>
                  <a:pt x="764251" y="1688741"/>
                  <a:pt x="766484" y="1689554"/>
                </a:cubicBezTo>
                <a:close/>
                <a:moveTo>
                  <a:pt x="1487819" y="1689476"/>
                </a:moveTo>
                <a:cubicBezTo>
                  <a:pt x="1489058" y="1689321"/>
                  <a:pt x="1490400" y="1689476"/>
                  <a:pt x="1491743" y="1689941"/>
                </a:cubicBezTo>
                <a:cubicBezTo>
                  <a:pt x="1493395" y="1690716"/>
                  <a:pt x="1494944" y="1692265"/>
                  <a:pt x="1496183" y="1694433"/>
                </a:cubicBezTo>
                <a:cubicBezTo>
                  <a:pt x="1496596" y="1696601"/>
                  <a:pt x="1494737" y="1699080"/>
                  <a:pt x="1492259" y="1700939"/>
                </a:cubicBezTo>
                <a:lnTo>
                  <a:pt x="1492156" y="1700939"/>
                </a:lnTo>
                <a:lnTo>
                  <a:pt x="1493189" y="1701094"/>
                </a:lnTo>
                <a:cubicBezTo>
                  <a:pt x="1492672" y="1701558"/>
                  <a:pt x="1492569" y="1701403"/>
                  <a:pt x="1492362" y="1701248"/>
                </a:cubicBezTo>
                <a:lnTo>
                  <a:pt x="1491846" y="1701094"/>
                </a:lnTo>
                <a:lnTo>
                  <a:pt x="1489265" y="1702488"/>
                </a:lnTo>
                <a:lnTo>
                  <a:pt x="1489884" y="1704191"/>
                </a:lnTo>
                <a:lnTo>
                  <a:pt x="1489058" y="1702488"/>
                </a:lnTo>
                <a:lnTo>
                  <a:pt x="1488232" y="1702952"/>
                </a:lnTo>
                <a:cubicBezTo>
                  <a:pt x="1486890" y="1703417"/>
                  <a:pt x="1485651" y="1703417"/>
                  <a:pt x="1484618" y="1703107"/>
                </a:cubicBezTo>
                <a:cubicBezTo>
                  <a:pt x="1483276" y="1701248"/>
                  <a:pt x="1481933" y="1699390"/>
                  <a:pt x="1480591" y="1697531"/>
                </a:cubicBezTo>
                <a:cubicBezTo>
                  <a:pt x="1480591" y="1693194"/>
                  <a:pt x="1483999" y="1689941"/>
                  <a:pt x="1487819" y="1689476"/>
                </a:cubicBezTo>
                <a:close/>
                <a:moveTo>
                  <a:pt x="5326743" y="1688874"/>
                </a:moveTo>
                <a:cubicBezTo>
                  <a:pt x="5328664" y="1689016"/>
                  <a:pt x="5329731" y="1689585"/>
                  <a:pt x="5330158" y="1690724"/>
                </a:cubicBezTo>
                <a:cubicBezTo>
                  <a:pt x="5330585" y="1691861"/>
                  <a:pt x="5330371" y="1693426"/>
                  <a:pt x="5329945" y="1695134"/>
                </a:cubicBezTo>
                <a:cubicBezTo>
                  <a:pt x="5328878" y="1698406"/>
                  <a:pt x="5326316" y="1698690"/>
                  <a:pt x="5326316" y="1698690"/>
                </a:cubicBezTo>
                <a:cubicBezTo>
                  <a:pt x="5322262" y="1698406"/>
                  <a:pt x="5319700" y="1695987"/>
                  <a:pt x="5320128" y="1691577"/>
                </a:cubicBezTo>
                <a:cubicBezTo>
                  <a:pt x="5321621" y="1689301"/>
                  <a:pt x="5324183" y="1689159"/>
                  <a:pt x="5326743" y="1688874"/>
                </a:cubicBezTo>
                <a:close/>
                <a:moveTo>
                  <a:pt x="1262307" y="1688702"/>
                </a:moveTo>
                <a:cubicBezTo>
                  <a:pt x="1266851" y="1687308"/>
                  <a:pt x="1270981" y="1692729"/>
                  <a:pt x="1269948" y="1696601"/>
                </a:cubicBezTo>
                <a:cubicBezTo>
                  <a:pt x="1269639" y="1697841"/>
                  <a:pt x="1268709" y="1698925"/>
                  <a:pt x="1267057" y="1699544"/>
                </a:cubicBezTo>
                <a:cubicBezTo>
                  <a:pt x="1261688" y="1698615"/>
                  <a:pt x="1263960" y="1693659"/>
                  <a:pt x="1262307" y="1688702"/>
                </a:cubicBezTo>
                <a:close/>
                <a:moveTo>
                  <a:pt x="1588958" y="1688682"/>
                </a:moveTo>
                <a:cubicBezTo>
                  <a:pt x="1590688" y="1688624"/>
                  <a:pt x="1591953" y="1689864"/>
                  <a:pt x="1589836" y="1693659"/>
                </a:cubicBezTo>
                <a:cubicBezTo>
                  <a:pt x="1586635" y="1693194"/>
                  <a:pt x="1585396" y="1692265"/>
                  <a:pt x="1585293" y="1691490"/>
                </a:cubicBezTo>
                <a:cubicBezTo>
                  <a:pt x="1585035" y="1690096"/>
                  <a:pt x="1587229" y="1688740"/>
                  <a:pt x="1588958" y="1688682"/>
                </a:cubicBezTo>
                <a:close/>
                <a:moveTo>
                  <a:pt x="4030645" y="1688163"/>
                </a:moveTo>
                <a:cubicBezTo>
                  <a:pt x="4031499" y="1687878"/>
                  <a:pt x="4032566" y="1688305"/>
                  <a:pt x="4034487" y="1689443"/>
                </a:cubicBezTo>
                <a:lnTo>
                  <a:pt x="4034487" y="1690154"/>
                </a:lnTo>
                <a:lnTo>
                  <a:pt x="4034701" y="1690012"/>
                </a:lnTo>
                <a:cubicBezTo>
                  <a:pt x="4036194" y="1689159"/>
                  <a:pt x="4037688" y="1688589"/>
                  <a:pt x="4038968" y="1688447"/>
                </a:cubicBezTo>
                <a:cubicBezTo>
                  <a:pt x="4037688" y="1690724"/>
                  <a:pt x="4034914" y="1693996"/>
                  <a:pt x="4031712" y="1693284"/>
                </a:cubicBezTo>
                <a:cubicBezTo>
                  <a:pt x="4031712" y="1693284"/>
                  <a:pt x="4031712" y="1693284"/>
                  <a:pt x="4030005" y="1692858"/>
                </a:cubicBezTo>
                <a:lnTo>
                  <a:pt x="4031072" y="1692289"/>
                </a:lnTo>
                <a:lnTo>
                  <a:pt x="4028725" y="1690439"/>
                </a:lnTo>
                <a:cubicBezTo>
                  <a:pt x="4029151" y="1689301"/>
                  <a:pt x="4029792" y="1688447"/>
                  <a:pt x="4030645" y="1688163"/>
                </a:cubicBezTo>
                <a:close/>
                <a:moveTo>
                  <a:pt x="3937381" y="1687878"/>
                </a:moveTo>
                <a:cubicBezTo>
                  <a:pt x="3940155" y="1688163"/>
                  <a:pt x="3942503" y="1690581"/>
                  <a:pt x="3943570" y="1693711"/>
                </a:cubicBezTo>
                <a:cubicBezTo>
                  <a:pt x="3945278" y="1697695"/>
                  <a:pt x="3945064" y="1702959"/>
                  <a:pt x="3942503" y="1706089"/>
                </a:cubicBezTo>
                <a:cubicBezTo>
                  <a:pt x="3934820" y="1702247"/>
                  <a:pt x="3930338" y="1697979"/>
                  <a:pt x="3934179" y="1688305"/>
                </a:cubicBezTo>
                <a:cubicBezTo>
                  <a:pt x="3935460" y="1687878"/>
                  <a:pt x="3936314" y="1687736"/>
                  <a:pt x="3937381" y="1687878"/>
                </a:cubicBezTo>
                <a:close/>
                <a:moveTo>
                  <a:pt x="4959235" y="1687736"/>
                </a:moveTo>
                <a:cubicBezTo>
                  <a:pt x="4960515" y="1687451"/>
                  <a:pt x="4961582" y="1687451"/>
                  <a:pt x="4962863" y="1687736"/>
                </a:cubicBezTo>
                <a:cubicBezTo>
                  <a:pt x="4964357" y="1688163"/>
                  <a:pt x="4965851" y="1689159"/>
                  <a:pt x="4966918" y="1690866"/>
                </a:cubicBezTo>
                <a:cubicBezTo>
                  <a:pt x="4965424" y="1693142"/>
                  <a:pt x="4964997" y="1695561"/>
                  <a:pt x="4963503" y="1697979"/>
                </a:cubicBezTo>
                <a:cubicBezTo>
                  <a:pt x="4959021" y="1697553"/>
                  <a:pt x="4954967" y="1702105"/>
                  <a:pt x="4951552" y="1695561"/>
                </a:cubicBezTo>
                <a:cubicBezTo>
                  <a:pt x="4952192" y="1691577"/>
                  <a:pt x="4955607" y="1688447"/>
                  <a:pt x="4959235" y="1687736"/>
                </a:cubicBezTo>
                <a:close/>
                <a:moveTo>
                  <a:pt x="1634236" y="1687463"/>
                </a:moveTo>
                <a:cubicBezTo>
                  <a:pt x="1639090" y="1692420"/>
                  <a:pt x="1644149" y="1692110"/>
                  <a:pt x="1642187" y="1698151"/>
                </a:cubicBezTo>
                <a:cubicBezTo>
                  <a:pt x="1638780" y="1699080"/>
                  <a:pt x="1634649" y="1695053"/>
                  <a:pt x="1630623" y="1691955"/>
                </a:cubicBezTo>
                <a:cubicBezTo>
                  <a:pt x="1632378" y="1690096"/>
                  <a:pt x="1633307" y="1689166"/>
                  <a:pt x="1634236" y="1687463"/>
                </a:cubicBezTo>
                <a:close/>
                <a:moveTo>
                  <a:pt x="1077066" y="1687463"/>
                </a:moveTo>
                <a:cubicBezTo>
                  <a:pt x="1082125" y="1683745"/>
                  <a:pt x="1085843" y="1690406"/>
                  <a:pt x="1084397" y="1693194"/>
                </a:cubicBezTo>
                <a:cubicBezTo>
                  <a:pt x="1080473" y="1694898"/>
                  <a:pt x="1076446" y="1690870"/>
                  <a:pt x="1077066" y="1687463"/>
                </a:cubicBezTo>
                <a:close/>
                <a:moveTo>
                  <a:pt x="5612939" y="1686882"/>
                </a:moveTo>
                <a:cubicBezTo>
                  <a:pt x="5615927" y="1687309"/>
                  <a:pt x="5619342" y="1689159"/>
                  <a:pt x="5622543" y="1692716"/>
                </a:cubicBezTo>
                <a:cubicBezTo>
                  <a:pt x="5624037" y="1698690"/>
                  <a:pt x="5617421" y="1706657"/>
                  <a:pt x="5612726" y="1705377"/>
                </a:cubicBezTo>
                <a:cubicBezTo>
                  <a:pt x="5599281" y="1695845"/>
                  <a:pt x="5604189" y="1685317"/>
                  <a:pt x="5612939" y="1686882"/>
                </a:cubicBezTo>
                <a:close/>
                <a:moveTo>
                  <a:pt x="1200457" y="1686688"/>
                </a:moveTo>
                <a:cubicBezTo>
                  <a:pt x="1200354" y="1688392"/>
                  <a:pt x="1197669" y="1690870"/>
                  <a:pt x="1195810" y="1692574"/>
                </a:cubicBezTo>
                <a:cubicBezTo>
                  <a:pt x="1193229" y="1692729"/>
                  <a:pt x="1190648" y="1691180"/>
                  <a:pt x="1188996" y="1688857"/>
                </a:cubicBezTo>
                <a:cubicBezTo>
                  <a:pt x="1192713" y="1685449"/>
                  <a:pt x="1196120" y="1685294"/>
                  <a:pt x="1200457" y="1686688"/>
                </a:cubicBezTo>
                <a:close/>
                <a:moveTo>
                  <a:pt x="1558653" y="1686378"/>
                </a:moveTo>
                <a:cubicBezTo>
                  <a:pt x="1559376" y="1689786"/>
                  <a:pt x="1559892" y="1692110"/>
                  <a:pt x="1559685" y="1693968"/>
                </a:cubicBezTo>
                <a:cubicBezTo>
                  <a:pt x="1556691" y="1695363"/>
                  <a:pt x="1554523" y="1693504"/>
                  <a:pt x="1554006" y="1691180"/>
                </a:cubicBezTo>
                <a:cubicBezTo>
                  <a:pt x="1553490" y="1688857"/>
                  <a:pt x="1554729" y="1686223"/>
                  <a:pt x="1558653" y="1686378"/>
                </a:cubicBezTo>
                <a:close/>
                <a:moveTo>
                  <a:pt x="4729168" y="1686171"/>
                </a:moveTo>
                <a:lnTo>
                  <a:pt x="4727888" y="1686455"/>
                </a:lnTo>
                <a:lnTo>
                  <a:pt x="4727461" y="1687594"/>
                </a:lnTo>
                <a:close/>
                <a:moveTo>
                  <a:pt x="955533" y="1686068"/>
                </a:moveTo>
                <a:cubicBezTo>
                  <a:pt x="960386" y="1684210"/>
                  <a:pt x="963484" y="1686688"/>
                  <a:pt x="964310" y="1689786"/>
                </a:cubicBezTo>
                <a:cubicBezTo>
                  <a:pt x="965136" y="1692884"/>
                  <a:pt x="963484" y="1696601"/>
                  <a:pt x="958941" y="1697531"/>
                </a:cubicBezTo>
                <a:cubicBezTo>
                  <a:pt x="955636" y="1695517"/>
                  <a:pt x="954088" y="1693194"/>
                  <a:pt x="952745" y="1691645"/>
                </a:cubicBezTo>
                <a:cubicBezTo>
                  <a:pt x="953985" y="1689786"/>
                  <a:pt x="954294" y="1687927"/>
                  <a:pt x="955533" y="1686068"/>
                </a:cubicBezTo>
                <a:close/>
                <a:moveTo>
                  <a:pt x="1568359" y="1685604"/>
                </a:moveTo>
                <a:cubicBezTo>
                  <a:pt x="1571353" y="1686378"/>
                  <a:pt x="1575174" y="1689476"/>
                  <a:pt x="1576723" y="1691490"/>
                </a:cubicBezTo>
                <a:cubicBezTo>
                  <a:pt x="1573935" y="1692884"/>
                  <a:pt x="1567842" y="1688392"/>
                  <a:pt x="1565674" y="1685759"/>
                </a:cubicBezTo>
                <a:cubicBezTo>
                  <a:pt x="1566397" y="1685294"/>
                  <a:pt x="1567327" y="1685449"/>
                  <a:pt x="1568359" y="1685604"/>
                </a:cubicBezTo>
                <a:close/>
                <a:moveTo>
                  <a:pt x="1597167" y="1684830"/>
                </a:moveTo>
                <a:cubicBezTo>
                  <a:pt x="1610798" y="1695672"/>
                  <a:pt x="1622362" y="1697841"/>
                  <a:pt x="1635992" y="1704346"/>
                </a:cubicBezTo>
                <a:cubicBezTo>
                  <a:pt x="1635992" y="1708684"/>
                  <a:pt x="1634030" y="1713021"/>
                  <a:pt x="1628247" y="1719526"/>
                </a:cubicBezTo>
                <a:cubicBezTo>
                  <a:pt x="1616579" y="1702178"/>
                  <a:pt x="1608835" y="1726187"/>
                  <a:pt x="1599130" y="1713021"/>
                </a:cubicBezTo>
                <a:cubicBezTo>
                  <a:pt x="1598406" y="1709768"/>
                  <a:pt x="1597064" y="1706515"/>
                  <a:pt x="1596135" y="1703107"/>
                </a:cubicBezTo>
                <a:lnTo>
                  <a:pt x="1594999" y="1698305"/>
                </a:lnTo>
                <a:lnTo>
                  <a:pt x="1593863" y="1695053"/>
                </a:lnTo>
                <a:lnTo>
                  <a:pt x="1594793" y="1694743"/>
                </a:lnTo>
                <a:lnTo>
                  <a:pt x="1594689" y="1692574"/>
                </a:lnTo>
                <a:cubicBezTo>
                  <a:pt x="1594999" y="1690096"/>
                  <a:pt x="1595722" y="1687463"/>
                  <a:pt x="1597167" y="1684830"/>
                </a:cubicBezTo>
                <a:close/>
                <a:moveTo>
                  <a:pt x="1463244" y="1684830"/>
                </a:moveTo>
                <a:cubicBezTo>
                  <a:pt x="1464380" y="1685294"/>
                  <a:pt x="1465103" y="1686843"/>
                  <a:pt x="1465516" y="1689476"/>
                </a:cubicBezTo>
                <a:cubicBezTo>
                  <a:pt x="1464380" y="1690870"/>
                  <a:pt x="1460869" y="1689476"/>
                  <a:pt x="1458907" y="1689321"/>
                </a:cubicBezTo>
                <a:cubicBezTo>
                  <a:pt x="1459320" y="1688237"/>
                  <a:pt x="1459733" y="1687153"/>
                  <a:pt x="1458907" y="1687463"/>
                </a:cubicBezTo>
                <a:cubicBezTo>
                  <a:pt x="1459320" y="1686378"/>
                  <a:pt x="1459940" y="1685759"/>
                  <a:pt x="1460663" y="1685294"/>
                </a:cubicBezTo>
                <a:cubicBezTo>
                  <a:pt x="1461386" y="1684984"/>
                  <a:pt x="1462315" y="1684830"/>
                  <a:pt x="1463244" y="1684830"/>
                </a:cubicBezTo>
                <a:close/>
                <a:moveTo>
                  <a:pt x="3664417" y="1684464"/>
                </a:moveTo>
                <a:lnTo>
                  <a:pt x="3664204" y="1686740"/>
                </a:lnTo>
                <a:lnTo>
                  <a:pt x="3666124" y="1686029"/>
                </a:lnTo>
                <a:lnTo>
                  <a:pt x="3666338" y="1685032"/>
                </a:lnTo>
                <a:lnTo>
                  <a:pt x="3665271" y="1684748"/>
                </a:lnTo>
                <a:close/>
                <a:moveTo>
                  <a:pt x="1374857" y="1683590"/>
                </a:moveTo>
                <a:cubicBezTo>
                  <a:pt x="1374857" y="1683590"/>
                  <a:pt x="1375683" y="1683590"/>
                  <a:pt x="1375683" y="1683590"/>
                </a:cubicBezTo>
                <a:cubicBezTo>
                  <a:pt x="1378161" y="1685139"/>
                  <a:pt x="1377232" y="1686068"/>
                  <a:pt x="1375476" y="1687772"/>
                </a:cubicBezTo>
                <a:cubicBezTo>
                  <a:pt x="1374650" y="1687308"/>
                  <a:pt x="1374031" y="1686998"/>
                  <a:pt x="1373928" y="1686378"/>
                </a:cubicBezTo>
                <a:cubicBezTo>
                  <a:pt x="1373721" y="1685759"/>
                  <a:pt x="1373928" y="1684830"/>
                  <a:pt x="1374857" y="1683590"/>
                </a:cubicBezTo>
                <a:close/>
                <a:moveTo>
                  <a:pt x="4608373" y="1683325"/>
                </a:moveTo>
                <a:cubicBezTo>
                  <a:pt x="4618190" y="1684464"/>
                  <a:pt x="4625660" y="1702390"/>
                  <a:pt x="4616483" y="1710926"/>
                </a:cubicBezTo>
                <a:cubicBezTo>
                  <a:pt x="4606238" y="1711637"/>
                  <a:pt x="4598555" y="1696983"/>
                  <a:pt x="4598342" y="1688732"/>
                </a:cubicBezTo>
                <a:cubicBezTo>
                  <a:pt x="4601543" y="1684322"/>
                  <a:pt x="4604958" y="1682899"/>
                  <a:pt x="4608373" y="1683325"/>
                </a:cubicBezTo>
                <a:close/>
                <a:moveTo>
                  <a:pt x="1009433" y="1682971"/>
                </a:moveTo>
                <a:cubicBezTo>
                  <a:pt x="1010982" y="1682351"/>
                  <a:pt x="1012840" y="1682506"/>
                  <a:pt x="1014493" y="1682971"/>
                </a:cubicBezTo>
                <a:lnTo>
                  <a:pt x="1016661" y="1684365"/>
                </a:lnTo>
                <a:lnTo>
                  <a:pt x="1017797" y="1683900"/>
                </a:lnTo>
                <a:cubicBezTo>
                  <a:pt x="1024715" y="1689476"/>
                  <a:pt x="1020069" y="1693968"/>
                  <a:pt x="1015009" y="1693039"/>
                </a:cubicBezTo>
                <a:cubicBezTo>
                  <a:pt x="1013254" y="1692729"/>
                  <a:pt x="1011498" y="1691800"/>
                  <a:pt x="1010156" y="1690096"/>
                </a:cubicBezTo>
                <a:cubicBezTo>
                  <a:pt x="1010156" y="1689476"/>
                  <a:pt x="1010465" y="1688702"/>
                  <a:pt x="1010982" y="1688082"/>
                </a:cubicBezTo>
                <a:lnTo>
                  <a:pt x="1011189" y="1687772"/>
                </a:lnTo>
                <a:lnTo>
                  <a:pt x="1006955" y="1684830"/>
                </a:lnTo>
                <a:cubicBezTo>
                  <a:pt x="1007471" y="1683900"/>
                  <a:pt x="1008400" y="1683280"/>
                  <a:pt x="1009433" y="1682971"/>
                </a:cubicBezTo>
                <a:close/>
                <a:moveTo>
                  <a:pt x="3928417" y="1682756"/>
                </a:moveTo>
                <a:cubicBezTo>
                  <a:pt x="3929484" y="1683325"/>
                  <a:pt x="3931191" y="1682899"/>
                  <a:pt x="3932259" y="1683468"/>
                </a:cubicBezTo>
                <a:cubicBezTo>
                  <a:pt x="3933326" y="1686882"/>
                  <a:pt x="3929698" y="1688732"/>
                  <a:pt x="3928631" y="1688163"/>
                </a:cubicBezTo>
                <a:cubicBezTo>
                  <a:pt x="3927991" y="1686455"/>
                  <a:pt x="3929058" y="1684464"/>
                  <a:pt x="3928417" y="1682756"/>
                </a:cubicBezTo>
                <a:close/>
                <a:moveTo>
                  <a:pt x="1227303" y="1682351"/>
                </a:moveTo>
                <a:cubicBezTo>
                  <a:pt x="1227303" y="1682351"/>
                  <a:pt x="1228130" y="1682351"/>
                  <a:pt x="1228130" y="1682351"/>
                </a:cubicBezTo>
                <a:cubicBezTo>
                  <a:pt x="1230711" y="1683590"/>
                  <a:pt x="1229885" y="1684675"/>
                  <a:pt x="1228336" y="1686533"/>
                </a:cubicBezTo>
                <a:cubicBezTo>
                  <a:pt x="1227510" y="1686223"/>
                  <a:pt x="1226788" y="1685914"/>
                  <a:pt x="1226581" y="1685294"/>
                </a:cubicBezTo>
                <a:cubicBezTo>
                  <a:pt x="1226374" y="1684675"/>
                  <a:pt x="1226581" y="1683745"/>
                  <a:pt x="1227303" y="1682351"/>
                </a:cubicBezTo>
                <a:close/>
                <a:moveTo>
                  <a:pt x="772460" y="1682351"/>
                </a:moveTo>
                <a:cubicBezTo>
                  <a:pt x="775248" y="1680338"/>
                  <a:pt x="781547" y="1683590"/>
                  <a:pt x="782269" y="1686998"/>
                </a:cubicBezTo>
                <a:cubicBezTo>
                  <a:pt x="777210" y="1684210"/>
                  <a:pt x="773596" y="1686688"/>
                  <a:pt x="772460" y="1682351"/>
                </a:cubicBezTo>
                <a:close/>
                <a:moveTo>
                  <a:pt x="5990266" y="1682330"/>
                </a:moveTo>
                <a:cubicBezTo>
                  <a:pt x="5992400" y="1682472"/>
                  <a:pt x="5994321" y="1682756"/>
                  <a:pt x="5994747" y="1682756"/>
                </a:cubicBezTo>
                <a:cubicBezTo>
                  <a:pt x="5994747" y="1682756"/>
                  <a:pt x="5996028" y="1682756"/>
                  <a:pt x="5997095" y="1682614"/>
                </a:cubicBezTo>
                <a:cubicBezTo>
                  <a:pt x="5998375" y="1683752"/>
                  <a:pt x="5998589" y="1684890"/>
                  <a:pt x="5999656" y="1684890"/>
                </a:cubicBezTo>
                <a:cubicBezTo>
                  <a:pt x="5996882" y="1688589"/>
                  <a:pt x="5993254" y="1687594"/>
                  <a:pt x="5989626" y="1686597"/>
                </a:cubicBezTo>
                <a:cubicBezTo>
                  <a:pt x="5987278" y="1685602"/>
                  <a:pt x="5985997" y="1685744"/>
                  <a:pt x="5984076" y="1687024"/>
                </a:cubicBezTo>
                <a:cubicBezTo>
                  <a:pt x="5984076" y="1687024"/>
                  <a:pt x="5983863" y="1687024"/>
                  <a:pt x="5981302" y="1684748"/>
                </a:cubicBezTo>
                <a:lnTo>
                  <a:pt x="5981088" y="1683468"/>
                </a:lnTo>
                <a:cubicBezTo>
                  <a:pt x="5981302" y="1682899"/>
                  <a:pt x="5982156" y="1682614"/>
                  <a:pt x="5983436" y="1682472"/>
                </a:cubicBezTo>
                <a:cubicBezTo>
                  <a:pt x="5985357" y="1682187"/>
                  <a:pt x="5987918" y="1682187"/>
                  <a:pt x="5990266" y="1682330"/>
                </a:cubicBezTo>
                <a:close/>
                <a:moveTo>
                  <a:pt x="1199631" y="1682196"/>
                </a:moveTo>
                <a:cubicBezTo>
                  <a:pt x="1200560" y="1682971"/>
                  <a:pt x="1199631" y="1682971"/>
                  <a:pt x="1199528" y="1683745"/>
                </a:cubicBezTo>
                <a:cubicBezTo>
                  <a:pt x="1199115" y="1683280"/>
                  <a:pt x="1198805" y="1683126"/>
                  <a:pt x="1198805" y="1682971"/>
                </a:cubicBezTo>
                <a:cubicBezTo>
                  <a:pt x="1198805" y="1682816"/>
                  <a:pt x="1199115" y="1682661"/>
                  <a:pt x="1199631" y="1682196"/>
                </a:cubicBezTo>
                <a:close/>
                <a:moveTo>
                  <a:pt x="5094116" y="1681760"/>
                </a:moveTo>
                <a:cubicBezTo>
                  <a:pt x="5096677" y="1681903"/>
                  <a:pt x="5099451" y="1682899"/>
                  <a:pt x="5101372" y="1683468"/>
                </a:cubicBezTo>
                <a:cubicBezTo>
                  <a:pt x="5100732" y="1688447"/>
                  <a:pt x="5100305" y="1693426"/>
                  <a:pt x="5097530" y="1695845"/>
                </a:cubicBezTo>
                <a:cubicBezTo>
                  <a:pt x="5094329" y="1695703"/>
                  <a:pt x="5091555" y="1694849"/>
                  <a:pt x="5089847" y="1693000"/>
                </a:cubicBezTo>
                <a:cubicBezTo>
                  <a:pt x="5087927" y="1691150"/>
                  <a:pt x="5086646" y="1688447"/>
                  <a:pt x="5086646" y="1684606"/>
                </a:cubicBezTo>
                <a:cubicBezTo>
                  <a:pt x="5088567" y="1682187"/>
                  <a:pt x="5091342" y="1681618"/>
                  <a:pt x="5094116" y="1681760"/>
                </a:cubicBezTo>
                <a:close/>
                <a:moveTo>
                  <a:pt x="5231985" y="1681476"/>
                </a:moveTo>
                <a:lnTo>
                  <a:pt x="5231985" y="1690154"/>
                </a:lnTo>
                <a:lnTo>
                  <a:pt x="5233479" y="1687167"/>
                </a:lnTo>
                <a:cubicBezTo>
                  <a:pt x="5234973" y="1685744"/>
                  <a:pt x="5236894" y="1684748"/>
                  <a:pt x="5238601" y="1684890"/>
                </a:cubicBezTo>
                <a:cubicBezTo>
                  <a:pt x="5241589" y="1687451"/>
                  <a:pt x="5240095" y="1689585"/>
                  <a:pt x="5242016" y="1691008"/>
                </a:cubicBezTo>
                <a:cubicBezTo>
                  <a:pt x="5239882" y="1693142"/>
                  <a:pt x="5238174" y="1694280"/>
                  <a:pt x="5236253" y="1694423"/>
                </a:cubicBezTo>
                <a:lnTo>
                  <a:pt x="5231772" y="1692716"/>
                </a:lnTo>
                <a:lnTo>
                  <a:pt x="5231772" y="1693853"/>
                </a:lnTo>
                <a:lnTo>
                  <a:pt x="5231558" y="1699686"/>
                </a:lnTo>
                <a:lnTo>
                  <a:pt x="5231345" y="1704523"/>
                </a:lnTo>
                <a:cubicBezTo>
                  <a:pt x="5230064" y="1704950"/>
                  <a:pt x="5229851" y="1703812"/>
                  <a:pt x="5228784" y="1704239"/>
                </a:cubicBezTo>
                <a:cubicBezTo>
                  <a:pt x="5227930" y="1703955"/>
                  <a:pt x="5227503" y="1702816"/>
                  <a:pt x="5227077" y="1701536"/>
                </a:cubicBezTo>
                <a:cubicBezTo>
                  <a:pt x="5225796" y="1697410"/>
                  <a:pt x="5226009" y="1690154"/>
                  <a:pt x="5226863" y="1689869"/>
                </a:cubicBezTo>
                <a:cubicBezTo>
                  <a:pt x="5226436" y="1688732"/>
                  <a:pt x="5227717" y="1688305"/>
                  <a:pt x="5227290" y="1687167"/>
                </a:cubicBezTo>
                <a:cubicBezTo>
                  <a:pt x="5227290" y="1687167"/>
                  <a:pt x="5226863" y="1686029"/>
                  <a:pt x="5227717" y="1684464"/>
                </a:cubicBezTo>
                <a:cubicBezTo>
                  <a:pt x="5228570" y="1682899"/>
                  <a:pt x="5229211" y="1681333"/>
                  <a:pt x="5231985" y="1681476"/>
                </a:cubicBezTo>
                <a:close/>
                <a:moveTo>
                  <a:pt x="5363452" y="1680622"/>
                </a:moveTo>
                <a:cubicBezTo>
                  <a:pt x="5367080" y="1679911"/>
                  <a:pt x="5370708" y="1682472"/>
                  <a:pt x="5370922" y="1686171"/>
                </a:cubicBezTo>
                <a:cubicBezTo>
                  <a:pt x="5366226" y="1694280"/>
                  <a:pt x="5359183" y="1687594"/>
                  <a:pt x="5359824" y="1682756"/>
                </a:cubicBezTo>
                <a:cubicBezTo>
                  <a:pt x="5360891" y="1681760"/>
                  <a:pt x="5362171" y="1680907"/>
                  <a:pt x="5363452" y="1680622"/>
                </a:cubicBezTo>
                <a:close/>
                <a:moveTo>
                  <a:pt x="1479559" y="1680338"/>
                </a:moveTo>
                <a:cubicBezTo>
                  <a:pt x="1481107" y="1681112"/>
                  <a:pt x="1483482" y="1683280"/>
                  <a:pt x="1482966" y="1685604"/>
                </a:cubicBezTo>
                <a:cubicBezTo>
                  <a:pt x="1482966" y="1685604"/>
                  <a:pt x="1482966" y="1685604"/>
                  <a:pt x="1482656" y="1686688"/>
                </a:cubicBezTo>
                <a:cubicBezTo>
                  <a:pt x="1481417" y="1684830"/>
                  <a:pt x="1479662" y="1682196"/>
                  <a:pt x="1479559" y="1680338"/>
                </a:cubicBezTo>
                <a:close/>
                <a:moveTo>
                  <a:pt x="5214911" y="1680195"/>
                </a:moveTo>
                <a:cubicBezTo>
                  <a:pt x="5217686" y="1681476"/>
                  <a:pt x="5221314" y="1683610"/>
                  <a:pt x="5223449" y="1686597"/>
                </a:cubicBezTo>
                <a:cubicBezTo>
                  <a:pt x="5225582" y="1689585"/>
                  <a:pt x="5226436" y="1693426"/>
                  <a:pt x="5223449" y="1698406"/>
                </a:cubicBezTo>
                <a:cubicBezTo>
                  <a:pt x="5221741" y="1698264"/>
                  <a:pt x="5220247" y="1698264"/>
                  <a:pt x="5218540" y="1698264"/>
                </a:cubicBezTo>
                <a:cubicBezTo>
                  <a:pt x="5218540" y="1690581"/>
                  <a:pt x="5215125" y="1686171"/>
                  <a:pt x="5214911" y="1680195"/>
                </a:cubicBezTo>
                <a:close/>
                <a:moveTo>
                  <a:pt x="1537589" y="1679873"/>
                </a:moveTo>
                <a:cubicBezTo>
                  <a:pt x="1540170" y="1679718"/>
                  <a:pt x="1542029" y="1681267"/>
                  <a:pt x="1543061" y="1683280"/>
                </a:cubicBezTo>
                <a:lnTo>
                  <a:pt x="1543164" y="1684984"/>
                </a:lnTo>
                <a:lnTo>
                  <a:pt x="1544920" y="1685139"/>
                </a:lnTo>
                <a:lnTo>
                  <a:pt x="1544816" y="1685604"/>
                </a:lnTo>
                <a:lnTo>
                  <a:pt x="1546365" y="1685604"/>
                </a:lnTo>
                <a:cubicBezTo>
                  <a:pt x="1554523" y="1690716"/>
                  <a:pt x="1553593" y="1695363"/>
                  <a:pt x="1554729" y="1695982"/>
                </a:cubicBezTo>
                <a:cubicBezTo>
                  <a:pt x="1553903" y="1697531"/>
                  <a:pt x="1552974" y="1697996"/>
                  <a:pt x="1551735" y="1697996"/>
                </a:cubicBezTo>
                <a:lnTo>
                  <a:pt x="1549463" y="1697531"/>
                </a:lnTo>
                <a:lnTo>
                  <a:pt x="1549463" y="1697841"/>
                </a:lnTo>
                <a:cubicBezTo>
                  <a:pt x="1549050" y="1700784"/>
                  <a:pt x="1546572" y="1705276"/>
                  <a:pt x="1544094" y="1703572"/>
                </a:cubicBezTo>
                <a:cubicBezTo>
                  <a:pt x="1543474" y="1702798"/>
                  <a:pt x="1543371" y="1702023"/>
                  <a:pt x="1543577" y="1701094"/>
                </a:cubicBezTo>
                <a:cubicBezTo>
                  <a:pt x="1543887" y="1699855"/>
                  <a:pt x="1545023" y="1698460"/>
                  <a:pt x="1546159" y="1697376"/>
                </a:cubicBezTo>
                <a:lnTo>
                  <a:pt x="1546882" y="1697066"/>
                </a:lnTo>
                <a:lnTo>
                  <a:pt x="1545539" y="1695207"/>
                </a:lnTo>
                <a:cubicBezTo>
                  <a:pt x="1544610" y="1694588"/>
                  <a:pt x="1543474" y="1693968"/>
                  <a:pt x="1542958" y="1693659"/>
                </a:cubicBezTo>
                <a:cubicBezTo>
                  <a:pt x="1543371" y="1692884"/>
                  <a:pt x="1543061" y="1692110"/>
                  <a:pt x="1542648" y="1691180"/>
                </a:cubicBezTo>
                <a:lnTo>
                  <a:pt x="1542648" y="1691025"/>
                </a:lnTo>
                <a:lnTo>
                  <a:pt x="1542545" y="1691025"/>
                </a:lnTo>
                <a:lnTo>
                  <a:pt x="1541409" y="1692265"/>
                </a:lnTo>
                <a:lnTo>
                  <a:pt x="1541719" y="1692420"/>
                </a:lnTo>
                <a:cubicBezTo>
                  <a:pt x="1543887" y="1695053"/>
                  <a:pt x="1546056" y="1697686"/>
                  <a:pt x="1543991" y="1700164"/>
                </a:cubicBezTo>
                <a:cubicBezTo>
                  <a:pt x="1540790" y="1698151"/>
                  <a:pt x="1538311" y="1697221"/>
                  <a:pt x="1535214" y="1695363"/>
                </a:cubicBezTo>
                <a:cubicBezTo>
                  <a:pt x="1534801" y="1694898"/>
                  <a:pt x="1534388" y="1693813"/>
                  <a:pt x="1534078" y="1692729"/>
                </a:cubicBezTo>
                <a:lnTo>
                  <a:pt x="1534284" y="1690406"/>
                </a:lnTo>
                <a:lnTo>
                  <a:pt x="1533355" y="1690406"/>
                </a:lnTo>
                <a:cubicBezTo>
                  <a:pt x="1531806" y="1690406"/>
                  <a:pt x="1530154" y="1690406"/>
                  <a:pt x="1528399" y="1691025"/>
                </a:cubicBezTo>
                <a:cubicBezTo>
                  <a:pt x="1527470" y="1689166"/>
                  <a:pt x="1526953" y="1688082"/>
                  <a:pt x="1527160" y="1686998"/>
                </a:cubicBezTo>
                <a:cubicBezTo>
                  <a:pt x="1527263" y="1685759"/>
                  <a:pt x="1528089" y="1684675"/>
                  <a:pt x="1529948" y="1683126"/>
                </a:cubicBezTo>
                <a:cubicBezTo>
                  <a:pt x="1529948" y="1683126"/>
                  <a:pt x="1531083" y="1682816"/>
                  <a:pt x="1531083" y="1682816"/>
                </a:cubicBezTo>
                <a:lnTo>
                  <a:pt x="1536349" y="1681732"/>
                </a:lnTo>
                <a:close/>
                <a:moveTo>
                  <a:pt x="4661514" y="1679058"/>
                </a:moveTo>
                <a:cubicBezTo>
                  <a:pt x="4659380" y="1686597"/>
                  <a:pt x="4656179" y="1711210"/>
                  <a:pt x="4646788" y="1709503"/>
                </a:cubicBezTo>
                <a:cubicBezTo>
                  <a:pt x="4648496" y="1700967"/>
                  <a:pt x="4648282" y="1677919"/>
                  <a:pt x="4661514" y="1679058"/>
                </a:cubicBezTo>
                <a:close/>
                <a:moveTo>
                  <a:pt x="3747651" y="1678773"/>
                </a:moveTo>
                <a:cubicBezTo>
                  <a:pt x="3752132" y="1678488"/>
                  <a:pt x="3755334" y="1681760"/>
                  <a:pt x="3756828" y="1686597"/>
                </a:cubicBezTo>
                <a:cubicBezTo>
                  <a:pt x="3759602" y="1694565"/>
                  <a:pt x="3758535" y="1706657"/>
                  <a:pt x="3753200" y="1712491"/>
                </a:cubicBezTo>
                <a:lnTo>
                  <a:pt x="3752986" y="1712491"/>
                </a:lnTo>
                <a:lnTo>
                  <a:pt x="3759388" y="1717470"/>
                </a:lnTo>
                <a:cubicBezTo>
                  <a:pt x="3759602" y="1723161"/>
                  <a:pt x="3757895" y="1726717"/>
                  <a:pt x="3755120" y="1728567"/>
                </a:cubicBezTo>
                <a:lnTo>
                  <a:pt x="3748291" y="1729847"/>
                </a:lnTo>
                <a:lnTo>
                  <a:pt x="3748291" y="1730986"/>
                </a:lnTo>
                <a:cubicBezTo>
                  <a:pt x="3746797" y="1733262"/>
                  <a:pt x="3744236" y="1735538"/>
                  <a:pt x="3739754" y="1737957"/>
                </a:cubicBezTo>
                <a:cubicBezTo>
                  <a:pt x="3739754" y="1730986"/>
                  <a:pt x="3736126" y="1725152"/>
                  <a:pt x="3733351" y="1719604"/>
                </a:cubicBezTo>
                <a:lnTo>
                  <a:pt x="3731644" y="1715478"/>
                </a:lnTo>
                <a:lnTo>
                  <a:pt x="3729723" y="1719604"/>
                </a:lnTo>
                <a:cubicBezTo>
                  <a:pt x="3723961" y="1716047"/>
                  <a:pt x="3722254" y="1711495"/>
                  <a:pt x="3722467" y="1705092"/>
                </a:cubicBezTo>
                <a:cubicBezTo>
                  <a:pt x="3723535" y="1704808"/>
                  <a:pt x="3725242" y="1705235"/>
                  <a:pt x="3726949" y="1706089"/>
                </a:cubicBezTo>
                <a:lnTo>
                  <a:pt x="3730150" y="1707938"/>
                </a:lnTo>
                <a:lnTo>
                  <a:pt x="3730363" y="1703243"/>
                </a:lnTo>
                <a:cubicBezTo>
                  <a:pt x="3731644" y="1704950"/>
                  <a:pt x="3733351" y="1706657"/>
                  <a:pt x="3735272" y="1708364"/>
                </a:cubicBezTo>
                <a:lnTo>
                  <a:pt x="3736126" y="1709076"/>
                </a:lnTo>
                <a:lnTo>
                  <a:pt x="3738901" y="1707796"/>
                </a:lnTo>
                <a:lnTo>
                  <a:pt x="3744236" y="1709076"/>
                </a:lnTo>
                <a:lnTo>
                  <a:pt x="3741248" y="1700113"/>
                </a:lnTo>
                <a:cubicBezTo>
                  <a:pt x="3740394" y="1694280"/>
                  <a:pt x="3740608" y="1687878"/>
                  <a:pt x="3742956" y="1680338"/>
                </a:cubicBezTo>
                <a:cubicBezTo>
                  <a:pt x="3744663" y="1679342"/>
                  <a:pt x="3746370" y="1678773"/>
                  <a:pt x="3747651" y="1678773"/>
                </a:cubicBezTo>
                <a:close/>
                <a:moveTo>
                  <a:pt x="1656436" y="1678169"/>
                </a:moveTo>
                <a:cubicBezTo>
                  <a:pt x="1657572" y="1682661"/>
                  <a:pt x="1651377" y="1683126"/>
                  <a:pt x="1649622" y="1681112"/>
                </a:cubicBezTo>
                <a:cubicBezTo>
                  <a:pt x="1649312" y="1680802"/>
                  <a:pt x="1649105" y="1680338"/>
                  <a:pt x="1649105" y="1679873"/>
                </a:cubicBezTo>
                <a:cubicBezTo>
                  <a:pt x="1649105" y="1679408"/>
                  <a:pt x="1649209" y="1678943"/>
                  <a:pt x="1649622" y="1678324"/>
                </a:cubicBezTo>
                <a:cubicBezTo>
                  <a:pt x="1651583" y="1677859"/>
                  <a:pt x="1653959" y="1678014"/>
                  <a:pt x="1656436" y="1678169"/>
                </a:cubicBezTo>
                <a:close/>
                <a:moveTo>
                  <a:pt x="1349146" y="1678014"/>
                </a:moveTo>
                <a:cubicBezTo>
                  <a:pt x="1350178" y="1677859"/>
                  <a:pt x="1351624" y="1677859"/>
                  <a:pt x="1353483" y="1678169"/>
                </a:cubicBezTo>
                <a:cubicBezTo>
                  <a:pt x="1351934" y="1686068"/>
                  <a:pt x="1361330" y="1683126"/>
                  <a:pt x="1360504" y="1689476"/>
                </a:cubicBezTo>
                <a:cubicBezTo>
                  <a:pt x="1359059" y="1691490"/>
                  <a:pt x="1358232" y="1694278"/>
                  <a:pt x="1355858" y="1695827"/>
                </a:cubicBezTo>
                <a:cubicBezTo>
                  <a:pt x="1355032" y="1696292"/>
                  <a:pt x="1354102" y="1696601"/>
                  <a:pt x="1352863" y="1696756"/>
                </a:cubicBezTo>
                <a:cubicBezTo>
                  <a:pt x="1351831" y="1689631"/>
                  <a:pt x="1348940" y="1685139"/>
                  <a:pt x="1346668" y="1679099"/>
                </a:cubicBezTo>
                <a:cubicBezTo>
                  <a:pt x="1347288" y="1678479"/>
                  <a:pt x="1348010" y="1678169"/>
                  <a:pt x="1349146" y="1678014"/>
                </a:cubicBezTo>
                <a:close/>
                <a:moveTo>
                  <a:pt x="5349580" y="1677919"/>
                </a:moveTo>
                <a:cubicBezTo>
                  <a:pt x="5354488" y="1676923"/>
                  <a:pt x="5358970" y="1679627"/>
                  <a:pt x="5359610" y="1684037"/>
                </a:cubicBezTo>
                <a:cubicBezTo>
                  <a:pt x="5359824" y="1686029"/>
                  <a:pt x="5359397" y="1688305"/>
                  <a:pt x="5357903" y="1690866"/>
                </a:cubicBezTo>
                <a:cubicBezTo>
                  <a:pt x="5353848" y="1693711"/>
                  <a:pt x="5349366" y="1693996"/>
                  <a:pt x="5346378" y="1692004"/>
                </a:cubicBezTo>
                <a:cubicBezTo>
                  <a:pt x="5343390" y="1690154"/>
                  <a:pt x="5342110" y="1686171"/>
                  <a:pt x="5344457" y="1680195"/>
                </a:cubicBezTo>
                <a:cubicBezTo>
                  <a:pt x="5346165" y="1679058"/>
                  <a:pt x="5347872" y="1678204"/>
                  <a:pt x="5349580" y="1677919"/>
                </a:cubicBezTo>
                <a:close/>
                <a:moveTo>
                  <a:pt x="1938842" y="1677859"/>
                </a:moveTo>
                <a:cubicBezTo>
                  <a:pt x="1944418" y="1680957"/>
                  <a:pt x="1944625" y="1688857"/>
                  <a:pt x="1936674" y="1690406"/>
                </a:cubicBezTo>
                <a:cubicBezTo>
                  <a:pt x="1935951" y="1687618"/>
                  <a:pt x="1935125" y="1684984"/>
                  <a:pt x="1935228" y="1682661"/>
                </a:cubicBezTo>
                <a:cubicBezTo>
                  <a:pt x="1935435" y="1680492"/>
                  <a:pt x="1936261" y="1678633"/>
                  <a:pt x="1938842" y="1677859"/>
                </a:cubicBezTo>
                <a:close/>
                <a:moveTo>
                  <a:pt x="1692886" y="1677859"/>
                </a:moveTo>
                <a:cubicBezTo>
                  <a:pt x="1693299" y="1678633"/>
                  <a:pt x="1694022" y="1678479"/>
                  <a:pt x="1694435" y="1679253"/>
                </a:cubicBezTo>
                <a:cubicBezTo>
                  <a:pt x="1695984" y="1680492"/>
                  <a:pt x="1696397" y="1681267"/>
                  <a:pt x="1695984" y="1682351"/>
                </a:cubicBezTo>
                <a:cubicBezTo>
                  <a:pt x="1696397" y="1683126"/>
                  <a:pt x="1695571" y="1683435"/>
                  <a:pt x="1695158" y="1684520"/>
                </a:cubicBezTo>
                <a:cubicBezTo>
                  <a:pt x="1694435" y="1684830"/>
                  <a:pt x="1693299" y="1684365"/>
                  <a:pt x="1693299" y="1684365"/>
                </a:cubicBezTo>
                <a:cubicBezTo>
                  <a:pt x="1692060" y="1683900"/>
                  <a:pt x="1692060" y="1683900"/>
                  <a:pt x="1691750" y="1684984"/>
                </a:cubicBezTo>
                <a:cubicBezTo>
                  <a:pt x="1691750" y="1684984"/>
                  <a:pt x="1691337" y="1684210"/>
                  <a:pt x="1691337" y="1684210"/>
                </a:cubicBezTo>
                <a:cubicBezTo>
                  <a:pt x="1692060" y="1683900"/>
                  <a:pt x="1691337" y="1684210"/>
                  <a:pt x="1690201" y="1683745"/>
                </a:cubicBezTo>
                <a:cubicBezTo>
                  <a:pt x="1690201" y="1682816"/>
                  <a:pt x="1690098" y="1682042"/>
                  <a:pt x="1689995" y="1681576"/>
                </a:cubicBezTo>
                <a:cubicBezTo>
                  <a:pt x="1689995" y="1680957"/>
                  <a:pt x="1689995" y="1680492"/>
                  <a:pt x="1690201" y="1679873"/>
                </a:cubicBezTo>
                <a:cubicBezTo>
                  <a:pt x="1690408" y="1679408"/>
                  <a:pt x="1690718" y="1678788"/>
                  <a:pt x="1691234" y="1678324"/>
                </a:cubicBezTo>
                <a:cubicBezTo>
                  <a:pt x="1691647" y="1677859"/>
                  <a:pt x="1692266" y="1677704"/>
                  <a:pt x="1692886" y="1677859"/>
                </a:cubicBezTo>
                <a:close/>
                <a:moveTo>
                  <a:pt x="5040334" y="1677777"/>
                </a:moveTo>
                <a:lnTo>
                  <a:pt x="5043962" y="1678346"/>
                </a:lnTo>
                <a:lnTo>
                  <a:pt x="5050578" y="1677777"/>
                </a:lnTo>
                <a:cubicBezTo>
                  <a:pt x="5060396" y="1678631"/>
                  <a:pt x="5070000" y="1683041"/>
                  <a:pt x="5071493" y="1691292"/>
                </a:cubicBezTo>
                <a:cubicBezTo>
                  <a:pt x="5063810" y="1687451"/>
                  <a:pt x="5056554" y="1688589"/>
                  <a:pt x="5049298" y="1689301"/>
                </a:cubicBezTo>
                <a:lnTo>
                  <a:pt x="5048871" y="1689301"/>
                </a:lnTo>
                <a:lnTo>
                  <a:pt x="5050365" y="1692004"/>
                </a:lnTo>
                <a:cubicBezTo>
                  <a:pt x="5050151" y="1693426"/>
                  <a:pt x="5049084" y="1694849"/>
                  <a:pt x="5047804" y="1696414"/>
                </a:cubicBezTo>
                <a:cubicBezTo>
                  <a:pt x="5045243" y="1699686"/>
                  <a:pt x="5041828" y="1697979"/>
                  <a:pt x="5039267" y="1699971"/>
                </a:cubicBezTo>
                <a:cubicBezTo>
                  <a:pt x="5038840" y="1698690"/>
                  <a:pt x="5038200" y="1697126"/>
                  <a:pt x="5037987" y="1695134"/>
                </a:cubicBezTo>
                <a:lnTo>
                  <a:pt x="5039054" y="1692289"/>
                </a:lnTo>
                <a:lnTo>
                  <a:pt x="5037347" y="1691861"/>
                </a:lnTo>
                <a:lnTo>
                  <a:pt x="5034145" y="1687451"/>
                </a:lnTo>
                <a:lnTo>
                  <a:pt x="5027316" y="1684464"/>
                </a:lnTo>
                <a:lnTo>
                  <a:pt x="5033932" y="1680480"/>
                </a:lnTo>
                <a:lnTo>
                  <a:pt x="5034145" y="1678061"/>
                </a:lnTo>
                <a:cubicBezTo>
                  <a:pt x="5036492" y="1677635"/>
                  <a:pt x="5038627" y="1677635"/>
                  <a:pt x="5040334" y="1677777"/>
                </a:cubicBezTo>
                <a:close/>
                <a:moveTo>
                  <a:pt x="968854" y="1677704"/>
                </a:moveTo>
                <a:cubicBezTo>
                  <a:pt x="971538" y="1679873"/>
                  <a:pt x="970815" y="1682351"/>
                  <a:pt x="970093" y="1684984"/>
                </a:cubicBezTo>
                <a:cubicBezTo>
                  <a:pt x="969369" y="1686843"/>
                  <a:pt x="969473" y="1687618"/>
                  <a:pt x="970402" y="1689166"/>
                </a:cubicBezTo>
                <a:cubicBezTo>
                  <a:pt x="970402" y="1689166"/>
                  <a:pt x="970402" y="1689166"/>
                  <a:pt x="968750" y="1691025"/>
                </a:cubicBezTo>
                <a:lnTo>
                  <a:pt x="967821" y="1691180"/>
                </a:lnTo>
                <a:cubicBezTo>
                  <a:pt x="967408" y="1691025"/>
                  <a:pt x="967201" y="1690406"/>
                  <a:pt x="967098" y="1689476"/>
                </a:cubicBezTo>
                <a:cubicBezTo>
                  <a:pt x="966891" y="1688237"/>
                  <a:pt x="966891" y="1686223"/>
                  <a:pt x="966995" y="1684675"/>
                </a:cubicBezTo>
                <a:cubicBezTo>
                  <a:pt x="967098" y="1682971"/>
                  <a:pt x="967304" y="1681576"/>
                  <a:pt x="967304" y="1681267"/>
                </a:cubicBezTo>
                <a:cubicBezTo>
                  <a:pt x="967304" y="1681267"/>
                  <a:pt x="967304" y="1680338"/>
                  <a:pt x="967201" y="1679563"/>
                </a:cubicBezTo>
                <a:cubicBezTo>
                  <a:pt x="968027" y="1678633"/>
                  <a:pt x="968854" y="1678479"/>
                  <a:pt x="968854" y="1677704"/>
                </a:cubicBezTo>
                <a:close/>
                <a:moveTo>
                  <a:pt x="1602433" y="1676465"/>
                </a:moveTo>
                <a:cubicBezTo>
                  <a:pt x="1604911" y="1677239"/>
                  <a:pt x="1606254" y="1678633"/>
                  <a:pt x="1606461" y="1680338"/>
                </a:cubicBezTo>
                <a:cubicBezTo>
                  <a:pt x="1606770" y="1682042"/>
                  <a:pt x="1605944" y="1684365"/>
                  <a:pt x="1604396" y="1686998"/>
                </a:cubicBezTo>
                <a:cubicBezTo>
                  <a:pt x="1601504" y="1686223"/>
                  <a:pt x="1600781" y="1684830"/>
                  <a:pt x="1600988" y="1682816"/>
                </a:cubicBezTo>
                <a:cubicBezTo>
                  <a:pt x="1601195" y="1680957"/>
                  <a:pt x="1602124" y="1678633"/>
                  <a:pt x="1602433" y="1676465"/>
                </a:cubicBezTo>
                <a:close/>
                <a:moveTo>
                  <a:pt x="1501759" y="1676465"/>
                </a:moveTo>
                <a:cubicBezTo>
                  <a:pt x="1502481" y="1677395"/>
                  <a:pt x="1503101" y="1679099"/>
                  <a:pt x="1501036" y="1680492"/>
                </a:cubicBezTo>
                <a:cubicBezTo>
                  <a:pt x="1498867" y="1682816"/>
                  <a:pt x="1496286" y="1682816"/>
                  <a:pt x="1493808" y="1681732"/>
                </a:cubicBezTo>
                <a:cubicBezTo>
                  <a:pt x="1491949" y="1682506"/>
                  <a:pt x="1490813" y="1684055"/>
                  <a:pt x="1489161" y="1683126"/>
                </a:cubicBezTo>
                <a:cubicBezTo>
                  <a:pt x="1492053" y="1681576"/>
                  <a:pt x="1493085" y="1680802"/>
                  <a:pt x="1494944" y="1680183"/>
                </a:cubicBezTo>
                <a:cubicBezTo>
                  <a:pt x="1495047" y="1679408"/>
                  <a:pt x="1495254" y="1678479"/>
                  <a:pt x="1496183" y="1677704"/>
                </a:cubicBezTo>
                <a:cubicBezTo>
                  <a:pt x="1498248" y="1676310"/>
                  <a:pt x="1499900" y="1677239"/>
                  <a:pt x="1501759" y="1676465"/>
                </a:cubicBezTo>
                <a:close/>
                <a:moveTo>
                  <a:pt x="858266" y="1676465"/>
                </a:moveTo>
                <a:cubicBezTo>
                  <a:pt x="859918" y="1678324"/>
                  <a:pt x="861673" y="1680028"/>
                  <a:pt x="859918" y="1681576"/>
                </a:cubicBezTo>
                <a:cubicBezTo>
                  <a:pt x="858989" y="1682351"/>
                  <a:pt x="858163" y="1683126"/>
                  <a:pt x="856407" y="1682971"/>
                </a:cubicBezTo>
                <a:cubicBezTo>
                  <a:pt x="854652" y="1681112"/>
                  <a:pt x="855581" y="1678633"/>
                  <a:pt x="854755" y="1677704"/>
                </a:cubicBezTo>
                <a:cubicBezTo>
                  <a:pt x="855581" y="1677859"/>
                  <a:pt x="857337" y="1678014"/>
                  <a:pt x="858266" y="1676465"/>
                </a:cubicBezTo>
                <a:close/>
                <a:moveTo>
                  <a:pt x="1041726" y="1676426"/>
                </a:moveTo>
                <a:cubicBezTo>
                  <a:pt x="1043714" y="1676504"/>
                  <a:pt x="1045676" y="1677782"/>
                  <a:pt x="1046089" y="1679408"/>
                </a:cubicBezTo>
                <a:cubicBezTo>
                  <a:pt x="1044437" y="1683435"/>
                  <a:pt x="1038861" y="1683590"/>
                  <a:pt x="1037209" y="1680647"/>
                </a:cubicBezTo>
                <a:cubicBezTo>
                  <a:pt x="1037725" y="1677472"/>
                  <a:pt x="1039739" y="1676349"/>
                  <a:pt x="1041726" y="1676426"/>
                </a:cubicBezTo>
                <a:close/>
                <a:moveTo>
                  <a:pt x="4631422" y="1676354"/>
                </a:moveTo>
                <a:cubicBezTo>
                  <a:pt x="4631208" y="1677493"/>
                  <a:pt x="4632275" y="1680053"/>
                  <a:pt x="4630995" y="1681192"/>
                </a:cubicBezTo>
                <a:cubicBezTo>
                  <a:pt x="4629715" y="1682472"/>
                  <a:pt x="4629715" y="1682472"/>
                  <a:pt x="4627367" y="1682330"/>
                </a:cubicBezTo>
                <a:cubicBezTo>
                  <a:pt x="4628861" y="1678773"/>
                  <a:pt x="4628861" y="1678773"/>
                  <a:pt x="4631422" y="1676354"/>
                </a:cubicBezTo>
                <a:close/>
                <a:moveTo>
                  <a:pt x="5323542" y="1675643"/>
                </a:moveTo>
                <a:cubicBezTo>
                  <a:pt x="5327597" y="1677635"/>
                  <a:pt x="5329091" y="1679342"/>
                  <a:pt x="5329304" y="1680622"/>
                </a:cubicBezTo>
                <a:cubicBezTo>
                  <a:pt x="5329518" y="1684606"/>
                  <a:pt x="5317140" y="1685032"/>
                  <a:pt x="5323542" y="1675643"/>
                </a:cubicBezTo>
                <a:close/>
                <a:moveTo>
                  <a:pt x="3624294" y="1675501"/>
                </a:moveTo>
                <a:cubicBezTo>
                  <a:pt x="3626641" y="1675074"/>
                  <a:pt x="3628562" y="1675501"/>
                  <a:pt x="3629629" y="1677350"/>
                </a:cubicBezTo>
                <a:cubicBezTo>
                  <a:pt x="3630484" y="1678346"/>
                  <a:pt x="3630910" y="1679769"/>
                  <a:pt x="3630910" y="1681618"/>
                </a:cubicBezTo>
                <a:cubicBezTo>
                  <a:pt x="3627068" y="1691150"/>
                  <a:pt x="3622160" y="1697553"/>
                  <a:pt x="3612556" y="1695845"/>
                </a:cubicBezTo>
                <a:cubicBezTo>
                  <a:pt x="3613196" y="1694138"/>
                  <a:pt x="3611702" y="1693711"/>
                  <a:pt x="3610422" y="1693142"/>
                </a:cubicBezTo>
                <a:cubicBezTo>
                  <a:pt x="3608287" y="1685744"/>
                  <a:pt x="3617465" y="1676639"/>
                  <a:pt x="3624294" y="1675501"/>
                </a:cubicBezTo>
                <a:close/>
                <a:moveTo>
                  <a:pt x="5427691" y="1674931"/>
                </a:moveTo>
                <a:cubicBezTo>
                  <a:pt x="5430892" y="1679627"/>
                  <a:pt x="5434307" y="1684037"/>
                  <a:pt x="5436868" y="1689301"/>
                </a:cubicBezTo>
                <a:cubicBezTo>
                  <a:pt x="5439429" y="1694565"/>
                  <a:pt x="5440923" y="1700825"/>
                  <a:pt x="5440069" y="1709219"/>
                </a:cubicBezTo>
                <a:cubicBezTo>
                  <a:pt x="5438362" y="1710072"/>
                  <a:pt x="5436655" y="1711921"/>
                  <a:pt x="5434948" y="1713202"/>
                </a:cubicBezTo>
                <a:lnTo>
                  <a:pt x="5432386" y="1714056"/>
                </a:lnTo>
                <a:lnTo>
                  <a:pt x="5431746" y="1715051"/>
                </a:lnTo>
                <a:cubicBezTo>
                  <a:pt x="5430465" y="1715905"/>
                  <a:pt x="5428972" y="1716190"/>
                  <a:pt x="5426837" y="1715478"/>
                </a:cubicBezTo>
                <a:cubicBezTo>
                  <a:pt x="5426837" y="1714909"/>
                  <a:pt x="5427478" y="1714056"/>
                  <a:pt x="5428331" y="1713202"/>
                </a:cubicBezTo>
                <a:lnTo>
                  <a:pt x="5429185" y="1712206"/>
                </a:lnTo>
                <a:lnTo>
                  <a:pt x="5430465" y="1707654"/>
                </a:lnTo>
                <a:cubicBezTo>
                  <a:pt x="5431746" y="1695134"/>
                  <a:pt x="5419581" y="1685032"/>
                  <a:pt x="5427691" y="1674931"/>
                </a:cubicBezTo>
                <a:close/>
                <a:moveTo>
                  <a:pt x="5758065" y="1674789"/>
                </a:moveTo>
                <a:cubicBezTo>
                  <a:pt x="5759559" y="1675643"/>
                  <a:pt x="5762120" y="1676212"/>
                  <a:pt x="5764041" y="1678204"/>
                </a:cubicBezTo>
                <a:cubicBezTo>
                  <a:pt x="5764681" y="1684322"/>
                  <a:pt x="5762120" y="1687451"/>
                  <a:pt x="5757638" y="1688732"/>
                </a:cubicBezTo>
                <a:cubicBezTo>
                  <a:pt x="5751662" y="1685317"/>
                  <a:pt x="5752302" y="1676354"/>
                  <a:pt x="5758065" y="1674789"/>
                </a:cubicBezTo>
                <a:close/>
                <a:moveTo>
                  <a:pt x="4673892" y="1674789"/>
                </a:moveTo>
                <a:cubicBezTo>
                  <a:pt x="4674533" y="1674505"/>
                  <a:pt x="4675173" y="1674647"/>
                  <a:pt x="4675813" y="1675216"/>
                </a:cubicBezTo>
                <a:cubicBezTo>
                  <a:pt x="4673679" y="1677493"/>
                  <a:pt x="4671545" y="1682330"/>
                  <a:pt x="4666850" y="1680907"/>
                </a:cubicBezTo>
                <a:cubicBezTo>
                  <a:pt x="4668557" y="1679200"/>
                  <a:pt x="4671545" y="1675358"/>
                  <a:pt x="4673892" y="1674789"/>
                </a:cubicBezTo>
                <a:close/>
                <a:moveTo>
                  <a:pt x="1065088" y="1674452"/>
                </a:moveTo>
                <a:cubicBezTo>
                  <a:pt x="1067463" y="1678633"/>
                  <a:pt x="1066327" y="1685449"/>
                  <a:pt x="1066224" y="1686223"/>
                </a:cubicBezTo>
                <a:cubicBezTo>
                  <a:pt x="1065398" y="1686378"/>
                  <a:pt x="1065398" y="1686223"/>
                  <a:pt x="1065398" y="1686223"/>
                </a:cubicBezTo>
                <a:cubicBezTo>
                  <a:pt x="1066121" y="1683745"/>
                  <a:pt x="1064056" y="1680802"/>
                  <a:pt x="1063849" y="1677704"/>
                </a:cubicBezTo>
                <a:lnTo>
                  <a:pt x="1064159" y="1675381"/>
                </a:lnTo>
                <a:close/>
                <a:moveTo>
                  <a:pt x="1375993" y="1674297"/>
                </a:moveTo>
                <a:cubicBezTo>
                  <a:pt x="1376096" y="1673522"/>
                  <a:pt x="1378677" y="1674297"/>
                  <a:pt x="1378677" y="1674297"/>
                </a:cubicBezTo>
                <a:cubicBezTo>
                  <a:pt x="1379503" y="1675071"/>
                  <a:pt x="1377645" y="1677704"/>
                  <a:pt x="1377645" y="1678633"/>
                </a:cubicBezTo>
                <a:cubicBezTo>
                  <a:pt x="1376715" y="1678633"/>
                  <a:pt x="1375890" y="1677859"/>
                  <a:pt x="1374960" y="1677859"/>
                </a:cubicBezTo>
                <a:cubicBezTo>
                  <a:pt x="1375063" y="1676930"/>
                  <a:pt x="1375063" y="1675226"/>
                  <a:pt x="1375993" y="1674297"/>
                </a:cubicBezTo>
                <a:close/>
                <a:moveTo>
                  <a:pt x="1058273" y="1674142"/>
                </a:moveTo>
                <a:cubicBezTo>
                  <a:pt x="1058170" y="1674916"/>
                  <a:pt x="1059099" y="1674916"/>
                  <a:pt x="1058170" y="1675845"/>
                </a:cubicBezTo>
                <a:cubicBezTo>
                  <a:pt x="1060752" y="1677395"/>
                  <a:pt x="1063023" y="1684830"/>
                  <a:pt x="1061991" y="1688237"/>
                </a:cubicBezTo>
                <a:cubicBezTo>
                  <a:pt x="1054350" y="1682661"/>
                  <a:pt x="1058996" y="1677395"/>
                  <a:pt x="1054660" y="1674297"/>
                </a:cubicBezTo>
                <a:cubicBezTo>
                  <a:pt x="1056518" y="1673367"/>
                  <a:pt x="1056518" y="1673367"/>
                  <a:pt x="1058273" y="1674142"/>
                </a:cubicBezTo>
                <a:close/>
                <a:moveTo>
                  <a:pt x="4570597" y="1674078"/>
                </a:moveTo>
                <a:cubicBezTo>
                  <a:pt x="4575292" y="1677919"/>
                  <a:pt x="4576573" y="1679200"/>
                  <a:pt x="4574652" y="1685032"/>
                </a:cubicBezTo>
                <a:cubicBezTo>
                  <a:pt x="4574652" y="1685032"/>
                  <a:pt x="4573372" y="1686171"/>
                  <a:pt x="4573372" y="1686171"/>
                </a:cubicBezTo>
                <a:cubicBezTo>
                  <a:pt x="4570170" y="1690866"/>
                  <a:pt x="4563341" y="1692858"/>
                  <a:pt x="4560993" y="1691577"/>
                </a:cubicBezTo>
                <a:cubicBezTo>
                  <a:pt x="4558646" y="1689159"/>
                  <a:pt x="4557152" y="1684322"/>
                  <a:pt x="4560566" y="1680907"/>
                </a:cubicBezTo>
                <a:cubicBezTo>
                  <a:pt x="4562701" y="1677350"/>
                  <a:pt x="4567182" y="1677493"/>
                  <a:pt x="4570597" y="1674078"/>
                </a:cubicBezTo>
                <a:close/>
                <a:moveTo>
                  <a:pt x="1565365" y="1672902"/>
                </a:moveTo>
                <a:cubicBezTo>
                  <a:pt x="1567739" y="1673212"/>
                  <a:pt x="1570527" y="1676155"/>
                  <a:pt x="1570011" y="1678479"/>
                </a:cubicBezTo>
                <a:cubicBezTo>
                  <a:pt x="1567739" y="1680802"/>
                  <a:pt x="1566294" y="1679873"/>
                  <a:pt x="1565055" y="1681267"/>
                </a:cubicBezTo>
                <a:cubicBezTo>
                  <a:pt x="1563712" y="1679873"/>
                  <a:pt x="1563196" y="1678479"/>
                  <a:pt x="1563300" y="1677239"/>
                </a:cubicBezTo>
                <a:cubicBezTo>
                  <a:pt x="1563403" y="1675845"/>
                  <a:pt x="1564126" y="1674452"/>
                  <a:pt x="1565365" y="1672902"/>
                </a:cubicBezTo>
                <a:close/>
                <a:moveTo>
                  <a:pt x="1230092" y="1672902"/>
                </a:moveTo>
                <a:cubicBezTo>
                  <a:pt x="1231021" y="1673522"/>
                  <a:pt x="1229472" y="1676465"/>
                  <a:pt x="1229575" y="1677239"/>
                </a:cubicBezTo>
                <a:cubicBezTo>
                  <a:pt x="1228646" y="1677395"/>
                  <a:pt x="1227717" y="1676620"/>
                  <a:pt x="1226891" y="1676775"/>
                </a:cubicBezTo>
                <a:cubicBezTo>
                  <a:pt x="1226788" y="1676000"/>
                  <a:pt x="1226684" y="1674297"/>
                  <a:pt x="1227510" y="1673212"/>
                </a:cubicBezTo>
                <a:cubicBezTo>
                  <a:pt x="1227407" y="1672438"/>
                  <a:pt x="1230092" y="1672902"/>
                  <a:pt x="1230092" y="1672902"/>
                </a:cubicBezTo>
                <a:close/>
                <a:moveTo>
                  <a:pt x="5832548" y="1672797"/>
                </a:moveTo>
                <a:cubicBezTo>
                  <a:pt x="5835750" y="1671944"/>
                  <a:pt x="5837030" y="1674078"/>
                  <a:pt x="5837457" y="1675785"/>
                </a:cubicBezTo>
                <a:cubicBezTo>
                  <a:pt x="5838524" y="1677208"/>
                  <a:pt x="5838310" y="1679058"/>
                  <a:pt x="5837457" y="1680765"/>
                </a:cubicBezTo>
                <a:cubicBezTo>
                  <a:pt x="5836603" y="1682472"/>
                  <a:pt x="5835323" y="1684179"/>
                  <a:pt x="5833829" y="1685460"/>
                </a:cubicBezTo>
                <a:cubicBezTo>
                  <a:pt x="5834469" y="1684464"/>
                  <a:pt x="5834469" y="1684464"/>
                  <a:pt x="5834469" y="1684464"/>
                </a:cubicBezTo>
                <a:cubicBezTo>
                  <a:pt x="5834256" y="1682756"/>
                  <a:pt x="5833615" y="1683752"/>
                  <a:pt x="5832548" y="1683183"/>
                </a:cubicBezTo>
                <a:cubicBezTo>
                  <a:pt x="5832548" y="1683183"/>
                  <a:pt x="5833615" y="1683752"/>
                  <a:pt x="5831908" y="1684179"/>
                </a:cubicBezTo>
                <a:cubicBezTo>
                  <a:pt x="5832548" y="1683183"/>
                  <a:pt x="5831694" y="1682614"/>
                  <a:pt x="5830627" y="1682045"/>
                </a:cubicBezTo>
                <a:cubicBezTo>
                  <a:pt x="5830201" y="1678631"/>
                  <a:pt x="5830201" y="1674220"/>
                  <a:pt x="5832548" y="1672797"/>
                </a:cubicBezTo>
                <a:close/>
                <a:moveTo>
                  <a:pt x="4631849" y="1672797"/>
                </a:moveTo>
                <a:cubicBezTo>
                  <a:pt x="4632275" y="1672797"/>
                  <a:pt x="4632702" y="1673224"/>
                  <a:pt x="4632489" y="1673651"/>
                </a:cubicBezTo>
                <a:cubicBezTo>
                  <a:pt x="4632489" y="1674220"/>
                  <a:pt x="4632062" y="1674789"/>
                  <a:pt x="4631635" y="1675501"/>
                </a:cubicBezTo>
                <a:cubicBezTo>
                  <a:pt x="4631635" y="1675501"/>
                  <a:pt x="4630568" y="1675501"/>
                  <a:pt x="4630568" y="1675501"/>
                </a:cubicBezTo>
                <a:cubicBezTo>
                  <a:pt x="4630782" y="1674078"/>
                  <a:pt x="4630782" y="1672797"/>
                  <a:pt x="4631849" y="1672797"/>
                </a:cubicBezTo>
                <a:close/>
                <a:moveTo>
                  <a:pt x="885668" y="1672070"/>
                </a:moveTo>
                <a:cubicBezTo>
                  <a:pt x="887255" y="1671431"/>
                  <a:pt x="889398" y="1671121"/>
                  <a:pt x="891618" y="1672438"/>
                </a:cubicBezTo>
                <a:cubicBezTo>
                  <a:pt x="890895" y="1673367"/>
                  <a:pt x="896367" y="1677704"/>
                  <a:pt x="894819" y="1681267"/>
                </a:cubicBezTo>
                <a:cubicBezTo>
                  <a:pt x="894096" y="1683126"/>
                  <a:pt x="893167" y="1684055"/>
                  <a:pt x="892444" y="1685759"/>
                </a:cubicBezTo>
                <a:cubicBezTo>
                  <a:pt x="889862" y="1686223"/>
                  <a:pt x="887384" y="1689166"/>
                  <a:pt x="882015" y="1686533"/>
                </a:cubicBezTo>
                <a:cubicBezTo>
                  <a:pt x="876646" y="1682971"/>
                  <a:pt x="880672" y="1677395"/>
                  <a:pt x="879743" y="1677549"/>
                </a:cubicBezTo>
                <a:cubicBezTo>
                  <a:pt x="878917" y="1676775"/>
                  <a:pt x="878814" y="1676775"/>
                  <a:pt x="877988" y="1676930"/>
                </a:cubicBezTo>
                <a:cubicBezTo>
                  <a:pt x="877988" y="1676155"/>
                  <a:pt x="876955" y="1674606"/>
                  <a:pt x="876026" y="1673832"/>
                </a:cubicBezTo>
                <a:cubicBezTo>
                  <a:pt x="876955" y="1673677"/>
                  <a:pt x="877781" y="1673522"/>
                  <a:pt x="877781" y="1672748"/>
                </a:cubicBezTo>
                <a:cubicBezTo>
                  <a:pt x="879536" y="1674142"/>
                  <a:pt x="879640" y="1674916"/>
                  <a:pt x="880466" y="1675691"/>
                </a:cubicBezTo>
                <a:cubicBezTo>
                  <a:pt x="880466" y="1674916"/>
                  <a:pt x="881396" y="1675535"/>
                  <a:pt x="881396" y="1675535"/>
                </a:cubicBezTo>
                <a:cubicBezTo>
                  <a:pt x="881396" y="1675535"/>
                  <a:pt x="881396" y="1675691"/>
                  <a:pt x="883047" y="1673677"/>
                </a:cubicBezTo>
                <a:cubicBezTo>
                  <a:pt x="883047" y="1673677"/>
                  <a:pt x="884080" y="1672709"/>
                  <a:pt x="885668" y="1672070"/>
                </a:cubicBezTo>
                <a:close/>
                <a:moveTo>
                  <a:pt x="1445587" y="1671818"/>
                </a:moveTo>
                <a:cubicBezTo>
                  <a:pt x="1446826" y="1671663"/>
                  <a:pt x="1447962" y="1671973"/>
                  <a:pt x="1448995" y="1673212"/>
                </a:cubicBezTo>
                <a:cubicBezTo>
                  <a:pt x="1451576" y="1677085"/>
                  <a:pt x="1448272" y="1680028"/>
                  <a:pt x="1444142" y="1682971"/>
                </a:cubicBezTo>
                <a:cubicBezTo>
                  <a:pt x="1442696" y="1681887"/>
                  <a:pt x="1441044" y="1681732"/>
                  <a:pt x="1439495" y="1680647"/>
                </a:cubicBezTo>
                <a:cubicBezTo>
                  <a:pt x="1438772" y="1678014"/>
                  <a:pt x="1442180" y="1672438"/>
                  <a:pt x="1445587" y="1671818"/>
                </a:cubicBezTo>
                <a:close/>
                <a:moveTo>
                  <a:pt x="1364841" y="1670579"/>
                </a:moveTo>
                <a:cubicBezTo>
                  <a:pt x="1367423" y="1670114"/>
                  <a:pt x="1370313" y="1671199"/>
                  <a:pt x="1372689" y="1673212"/>
                </a:cubicBezTo>
                <a:cubicBezTo>
                  <a:pt x="1370313" y="1677085"/>
                  <a:pt x="1366906" y="1677704"/>
                  <a:pt x="1362260" y="1676930"/>
                </a:cubicBezTo>
                <a:cubicBezTo>
                  <a:pt x="1361846" y="1675381"/>
                  <a:pt x="1363602" y="1672438"/>
                  <a:pt x="1364841" y="1670579"/>
                </a:cubicBezTo>
                <a:close/>
                <a:moveTo>
                  <a:pt x="1876992" y="1670424"/>
                </a:moveTo>
                <a:cubicBezTo>
                  <a:pt x="1889279" y="1678479"/>
                  <a:pt x="1887834" y="1690870"/>
                  <a:pt x="1886388" y="1703417"/>
                </a:cubicBezTo>
                <a:cubicBezTo>
                  <a:pt x="1877095" y="1701403"/>
                  <a:pt x="1874824" y="1690251"/>
                  <a:pt x="1875443" y="1680028"/>
                </a:cubicBezTo>
                <a:cubicBezTo>
                  <a:pt x="1875649" y="1676620"/>
                  <a:pt x="1876269" y="1673212"/>
                  <a:pt x="1876992" y="1670424"/>
                </a:cubicBezTo>
                <a:close/>
                <a:moveTo>
                  <a:pt x="998798" y="1670114"/>
                </a:moveTo>
                <a:cubicBezTo>
                  <a:pt x="1006335" y="1672128"/>
                  <a:pt x="1008091" y="1686843"/>
                  <a:pt x="1001586" y="1687308"/>
                </a:cubicBezTo>
                <a:cubicBezTo>
                  <a:pt x="1000656" y="1687308"/>
                  <a:pt x="999417" y="1687153"/>
                  <a:pt x="998178" y="1686533"/>
                </a:cubicBezTo>
                <a:cubicBezTo>
                  <a:pt x="996939" y="1684984"/>
                  <a:pt x="996010" y="1683590"/>
                  <a:pt x="995184" y="1682196"/>
                </a:cubicBezTo>
                <a:lnTo>
                  <a:pt x="993531" y="1678169"/>
                </a:lnTo>
                <a:lnTo>
                  <a:pt x="987336" y="1678479"/>
                </a:lnTo>
                <a:cubicBezTo>
                  <a:pt x="985064" y="1678633"/>
                  <a:pt x="983516" y="1678014"/>
                  <a:pt x="982380" y="1675226"/>
                </a:cubicBezTo>
                <a:cubicBezTo>
                  <a:pt x="983516" y="1673832"/>
                  <a:pt x="985478" y="1673212"/>
                  <a:pt x="987956" y="1673057"/>
                </a:cubicBezTo>
                <a:lnTo>
                  <a:pt x="994668" y="1672748"/>
                </a:lnTo>
                <a:lnTo>
                  <a:pt x="996113" y="1670424"/>
                </a:lnTo>
                <a:cubicBezTo>
                  <a:pt x="996939" y="1671509"/>
                  <a:pt x="997868" y="1670734"/>
                  <a:pt x="998798" y="1670114"/>
                </a:cubicBezTo>
                <a:close/>
                <a:moveTo>
                  <a:pt x="4869599" y="1669810"/>
                </a:moveTo>
                <a:cubicBezTo>
                  <a:pt x="4871519" y="1670237"/>
                  <a:pt x="4873013" y="1671233"/>
                  <a:pt x="4874080" y="1672656"/>
                </a:cubicBezTo>
                <a:cubicBezTo>
                  <a:pt x="4876428" y="1675358"/>
                  <a:pt x="4876428" y="1679769"/>
                  <a:pt x="4872586" y="1684748"/>
                </a:cubicBezTo>
                <a:cubicBezTo>
                  <a:pt x="4862556" y="1688589"/>
                  <a:pt x="4854873" y="1678346"/>
                  <a:pt x="4863196" y="1670379"/>
                </a:cubicBezTo>
                <a:cubicBezTo>
                  <a:pt x="4865544" y="1669525"/>
                  <a:pt x="4867677" y="1669383"/>
                  <a:pt x="4869599" y="1669810"/>
                </a:cubicBezTo>
                <a:close/>
                <a:moveTo>
                  <a:pt x="5205521" y="1669525"/>
                </a:moveTo>
                <a:cubicBezTo>
                  <a:pt x="5208722" y="1669952"/>
                  <a:pt x="5211710" y="1671659"/>
                  <a:pt x="5213418" y="1674078"/>
                </a:cubicBezTo>
                <a:cubicBezTo>
                  <a:pt x="5214485" y="1675785"/>
                  <a:pt x="5215125" y="1677777"/>
                  <a:pt x="5214698" y="1679911"/>
                </a:cubicBezTo>
                <a:cubicBezTo>
                  <a:pt x="5208935" y="1687878"/>
                  <a:pt x="5197198" y="1680765"/>
                  <a:pt x="5196771" y="1673366"/>
                </a:cubicBezTo>
                <a:cubicBezTo>
                  <a:pt x="5199119" y="1670379"/>
                  <a:pt x="5202320" y="1669241"/>
                  <a:pt x="5205521" y="1669525"/>
                </a:cubicBezTo>
                <a:close/>
                <a:moveTo>
                  <a:pt x="6134110" y="1668956"/>
                </a:moveTo>
                <a:cubicBezTo>
                  <a:pt x="6134537" y="1669241"/>
                  <a:pt x="6135177" y="1669668"/>
                  <a:pt x="6135604" y="1670237"/>
                </a:cubicBezTo>
                <a:cubicBezTo>
                  <a:pt x="6137739" y="1673509"/>
                  <a:pt x="6137312" y="1680765"/>
                  <a:pt x="6132830" y="1680195"/>
                </a:cubicBezTo>
                <a:lnTo>
                  <a:pt x="6131976" y="1679484"/>
                </a:lnTo>
                <a:lnTo>
                  <a:pt x="6131549" y="1679911"/>
                </a:lnTo>
                <a:cubicBezTo>
                  <a:pt x="6130269" y="1679911"/>
                  <a:pt x="6128775" y="1679769"/>
                  <a:pt x="6127494" y="1679769"/>
                </a:cubicBezTo>
                <a:cubicBezTo>
                  <a:pt x="6126641" y="1682330"/>
                  <a:pt x="6122586" y="1677635"/>
                  <a:pt x="6121946" y="1680195"/>
                </a:cubicBezTo>
                <a:cubicBezTo>
                  <a:pt x="6116610" y="1675643"/>
                  <a:pt x="6111702" y="1681903"/>
                  <a:pt x="6102951" y="1676354"/>
                </a:cubicBezTo>
                <a:cubicBezTo>
                  <a:pt x="6105726" y="1675216"/>
                  <a:pt x="6108287" y="1674789"/>
                  <a:pt x="6110634" y="1674505"/>
                </a:cubicBezTo>
                <a:cubicBezTo>
                  <a:pt x="6114476" y="1674220"/>
                  <a:pt x="6117677" y="1674505"/>
                  <a:pt x="6120878" y="1674647"/>
                </a:cubicBezTo>
                <a:lnTo>
                  <a:pt x="6128348" y="1673651"/>
                </a:lnTo>
                <a:lnTo>
                  <a:pt x="6129629" y="1671375"/>
                </a:lnTo>
                <a:cubicBezTo>
                  <a:pt x="6130482" y="1670237"/>
                  <a:pt x="6131336" y="1669668"/>
                  <a:pt x="6131976" y="1669241"/>
                </a:cubicBezTo>
                <a:cubicBezTo>
                  <a:pt x="6132830" y="1668814"/>
                  <a:pt x="6133470" y="1668672"/>
                  <a:pt x="6134110" y="1668956"/>
                </a:cubicBezTo>
                <a:close/>
                <a:moveTo>
                  <a:pt x="6080969" y="1668529"/>
                </a:moveTo>
                <a:cubicBezTo>
                  <a:pt x="6082463" y="1680480"/>
                  <a:pt x="6060908" y="1697410"/>
                  <a:pt x="6050877" y="1688020"/>
                </a:cubicBezTo>
                <a:cubicBezTo>
                  <a:pt x="6062401" y="1682187"/>
                  <a:pt x="6066243" y="1672513"/>
                  <a:pt x="6080969" y="1668529"/>
                </a:cubicBezTo>
                <a:close/>
                <a:moveTo>
                  <a:pt x="1687827" y="1667946"/>
                </a:moveTo>
                <a:cubicBezTo>
                  <a:pt x="1688859" y="1668410"/>
                  <a:pt x="1689892" y="1669030"/>
                  <a:pt x="1690924" y="1669495"/>
                </a:cubicBezTo>
                <a:cubicBezTo>
                  <a:pt x="1688652" y="1674606"/>
                  <a:pt x="1689685" y="1678479"/>
                  <a:pt x="1688033" y="1682506"/>
                </a:cubicBezTo>
                <a:cubicBezTo>
                  <a:pt x="1686691" y="1680802"/>
                  <a:pt x="1684832" y="1678324"/>
                  <a:pt x="1684212" y="1675845"/>
                </a:cubicBezTo>
                <a:cubicBezTo>
                  <a:pt x="1683593" y="1673212"/>
                  <a:pt x="1684316" y="1670424"/>
                  <a:pt x="1687827" y="1667946"/>
                </a:cubicBezTo>
                <a:close/>
                <a:moveTo>
                  <a:pt x="5221314" y="1667107"/>
                </a:moveTo>
                <a:cubicBezTo>
                  <a:pt x="5222808" y="1669241"/>
                  <a:pt x="5225796" y="1672229"/>
                  <a:pt x="5224942" y="1675216"/>
                </a:cubicBezTo>
                <a:cubicBezTo>
                  <a:pt x="5224729" y="1676212"/>
                  <a:pt x="5224089" y="1677066"/>
                  <a:pt x="5222808" y="1678061"/>
                </a:cubicBezTo>
                <a:cubicBezTo>
                  <a:pt x="5222808" y="1679342"/>
                  <a:pt x="5218113" y="1679769"/>
                  <a:pt x="5217046" y="1678346"/>
                </a:cubicBezTo>
                <a:cubicBezTo>
                  <a:pt x="5213631" y="1675501"/>
                  <a:pt x="5216192" y="1672371"/>
                  <a:pt x="5217686" y="1667818"/>
                </a:cubicBezTo>
                <a:cubicBezTo>
                  <a:pt x="5218753" y="1669099"/>
                  <a:pt x="5220034" y="1668102"/>
                  <a:pt x="5221314" y="1667107"/>
                </a:cubicBezTo>
                <a:close/>
                <a:moveTo>
                  <a:pt x="4841854" y="1666965"/>
                </a:moveTo>
                <a:cubicBezTo>
                  <a:pt x="4853805" y="1671375"/>
                  <a:pt x="4861061" y="1692431"/>
                  <a:pt x="4849964" y="1695276"/>
                </a:cubicBezTo>
                <a:cubicBezTo>
                  <a:pt x="4848470" y="1695703"/>
                  <a:pt x="4846549" y="1695703"/>
                  <a:pt x="4844202" y="1695276"/>
                </a:cubicBezTo>
                <a:cubicBezTo>
                  <a:pt x="4840360" y="1687451"/>
                  <a:pt x="4831396" y="1674789"/>
                  <a:pt x="4841854" y="1666965"/>
                </a:cubicBezTo>
                <a:close/>
                <a:moveTo>
                  <a:pt x="1667485" y="1666706"/>
                </a:moveTo>
                <a:cubicBezTo>
                  <a:pt x="1668724" y="1666862"/>
                  <a:pt x="1670066" y="1667326"/>
                  <a:pt x="1671512" y="1668255"/>
                </a:cubicBezTo>
                <a:cubicBezTo>
                  <a:pt x="1670996" y="1674142"/>
                  <a:pt x="1672131" y="1684520"/>
                  <a:pt x="1662012" y="1686533"/>
                </a:cubicBezTo>
                <a:cubicBezTo>
                  <a:pt x="1660464" y="1685139"/>
                  <a:pt x="1659534" y="1682971"/>
                  <a:pt x="1659018" y="1680802"/>
                </a:cubicBezTo>
                <a:cubicBezTo>
                  <a:pt x="1658605" y="1678479"/>
                  <a:pt x="1658605" y="1676155"/>
                  <a:pt x="1659225" y="1673832"/>
                </a:cubicBezTo>
                <a:cubicBezTo>
                  <a:pt x="1660257" y="1669495"/>
                  <a:pt x="1663251" y="1666087"/>
                  <a:pt x="1667485" y="1666706"/>
                </a:cubicBezTo>
                <a:close/>
                <a:moveTo>
                  <a:pt x="4806213" y="1665827"/>
                </a:moveTo>
                <a:cubicBezTo>
                  <a:pt x="4807706" y="1666253"/>
                  <a:pt x="4809841" y="1667960"/>
                  <a:pt x="4811548" y="1670094"/>
                </a:cubicBezTo>
                <a:cubicBezTo>
                  <a:pt x="4813256" y="1672229"/>
                  <a:pt x="4814749" y="1674789"/>
                  <a:pt x="4814536" y="1676923"/>
                </a:cubicBezTo>
                <a:cubicBezTo>
                  <a:pt x="4811975" y="1677208"/>
                  <a:pt x="4809414" y="1677350"/>
                  <a:pt x="4807066" y="1677635"/>
                </a:cubicBezTo>
                <a:cubicBezTo>
                  <a:pt x="4807920" y="1676923"/>
                  <a:pt x="4801091" y="1668956"/>
                  <a:pt x="4801091" y="1668956"/>
                </a:cubicBezTo>
                <a:cubicBezTo>
                  <a:pt x="4802158" y="1665684"/>
                  <a:pt x="4802158" y="1665684"/>
                  <a:pt x="4806213" y="1665827"/>
                </a:cubicBezTo>
                <a:close/>
                <a:moveTo>
                  <a:pt x="5102226" y="1664830"/>
                </a:moveTo>
                <a:cubicBezTo>
                  <a:pt x="5103080" y="1665257"/>
                  <a:pt x="5103933" y="1666395"/>
                  <a:pt x="5105000" y="1668387"/>
                </a:cubicBezTo>
                <a:cubicBezTo>
                  <a:pt x="5106068" y="1671659"/>
                  <a:pt x="5107775" y="1673936"/>
                  <a:pt x="5107348" y="1674931"/>
                </a:cubicBezTo>
                <a:cubicBezTo>
                  <a:pt x="5108415" y="1675501"/>
                  <a:pt x="5108842" y="1677208"/>
                  <a:pt x="5109909" y="1677777"/>
                </a:cubicBezTo>
                <a:cubicBezTo>
                  <a:pt x="5109909" y="1677777"/>
                  <a:pt x="5109909" y="1677777"/>
                  <a:pt x="5109482" y="1678773"/>
                </a:cubicBezTo>
                <a:cubicBezTo>
                  <a:pt x="5105641" y="1675358"/>
                  <a:pt x="5099878" y="1673366"/>
                  <a:pt x="5097744" y="1669525"/>
                </a:cubicBezTo>
                <a:cubicBezTo>
                  <a:pt x="5097530" y="1668672"/>
                  <a:pt x="5097104" y="1667818"/>
                  <a:pt x="5097317" y="1667107"/>
                </a:cubicBezTo>
                <a:cubicBezTo>
                  <a:pt x="5097530" y="1666395"/>
                  <a:pt x="5098171" y="1665684"/>
                  <a:pt x="5099665" y="1665257"/>
                </a:cubicBezTo>
                <a:cubicBezTo>
                  <a:pt x="5100732" y="1664546"/>
                  <a:pt x="5101372" y="1664404"/>
                  <a:pt x="5102226" y="1664830"/>
                </a:cubicBezTo>
                <a:close/>
                <a:moveTo>
                  <a:pt x="5736083" y="1664404"/>
                </a:moveTo>
                <a:cubicBezTo>
                  <a:pt x="5737150" y="1664404"/>
                  <a:pt x="5738003" y="1665115"/>
                  <a:pt x="5738430" y="1666111"/>
                </a:cubicBezTo>
                <a:cubicBezTo>
                  <a:pt x="5739711" y="1668102"/>
                  <a:pt x="5739284" y="1671517"/>
                  <a:pt x="5736296" y="1672371"/>
                </a:cubicBezTo>
                <a:cubicBezTo>
                  <a:pt x="5735443" y="1671091"/>
                  <a:pt x="5733308" y="1669668"/>
                  <a:pt x="5732668" y="1667249"/>
                </a:cubicBezTo>
                <a:cubicBezTo>
                  <a:pt x="5733735" y="1665257"/>
                  <a:pt x="5735015" y="1664404"/>
                  <a:pt x="5736083" y="1664404"/>
                </a:cubicBezTo>
                <a:close/>
                <a:moveTo>
                  <a:pt x="4651057" y="1664261"/>
                </a:moveTo>
                <a:cubicBezTo>
                  <a:pt x="4651057" y="1664261"/>
                  <a:pt x="4649989" y="1665542"/>
                  <a:pt x="4648922" y="1666965"/>
                </a:cubicBezTo>
                <a:cubicBezTo>
                  <a:pt x="4648069" y="1668245"/>
                  <a:pt x="4648069" y="1668245"/>
                  <a:pt x="4649349" y="1669383"/>
                </a:cubicBezTo>
                <a:cubicBezTo>
                  <a:pt x="4648282" y="1670664"/>
                  <a:pt x="4648282" y="1670664"/>
                  <a:pt x="4646148" y="1670806"/>
                </a:cubicBezTo>
                <a:cubicBezTo>
                  <a:pt x="4647001" y="1669525"/>
                  <a:pt x="4649562" y="1663123"/>
                  <a:pt x="4651057" y="1664261"/>
                </a:cubicBezTo>
                <a:close/>
                <a:moveTo>
                  <a:pt x="3644782" y="1664119"/>
                </a:moveTo>
                <a:cubicBezTo>
                  <a:pt x="3646490" y="1664119"/>
                  <a:pt x="3647983" y="1664119"/>
                  <a:pt x="3649478" y="1664261"/>
                </a:cubicBezTo>
                <a:cubicBezTo>
                  <a:pt x="3649264" y="1667534"/>
                  <a:pt x="3648837" y="1670948"/>
                  <a:pt x="3645636" y="1670806"/>
                </a:cubicBezTo>
                <a:cubicBezTo>
                  <a:pt x="3644996" y="1668245"/>
                  <a:pt x="3643502" y="1668245"/>
                  <a:pt x="3644782" y="1664119"/>
                </a:cubicBezTo>
                <a:close/>
                <a:moveTo>
                  <a:pt x="918748" y="1664054"/>
                </a:moveTo>
                <a:cubicBezTo>
                  <a:pt x="921743" y="1664461"/>
                  <a:pt x="924298" y="1665312"/>
                  <a:pt x="925279" y="1666397"/>
                </a:cubicBezTo>
                <a:cubicBezTo>
                  <a:pt x="922595" y="1668565"/>
                  <a:pt x="919187" y="1667481"/>
                  <a:pt x="915676" y="1669650"/>
                </a:cubicBezTo>
                <a:cubicBezTo>
                  <a:pt x="913095" y="1667636"/>
                  <a:pt x="908655" y="1669805"/>
                  <a:pt x="905248" y="1666862"/>
                </a:cubicBezTo>
                <a:cubicBezTo>
                  <a:pt x="906177" y="1665622"/>
                  <a:pt x="907726" y="1664848"/>
                  <a:pt x="909584" y="1664383"/>
                </a:cubicBezTo>
                <a:cubicBezTo>
                  <a:pt x="912320" y="1663686"/>
                  <a:pt x="915754" y="1663647"/>
                  <a:pt x="918748" y="1664054"/>
                </a:cubicBezTo>
                <a:close/>
                <a:moveTo>
                  <a:pt x="5595866" y="1663977"/>
                </a:moveTo>
                <a:cubicBezTo>
                  <a:pt x="5597146" y="1670237"/>
                  <a:pt x="5598853" y="1681333"/>
                  <a:pt x="5587969" y="1684037"/>
                </a:cubicBezTo>
                <a:cubicBezTo>
                  <a:pt x="5587116" y="1682614"/>
                  <a:pt x="5586262" y="1681333"/>
                  <a:pt x="5585195" y="1680053"/>
                </a:cubicBezTo>
                <a:cubicBezTo>
                  <a:pt x="5590744" y="1674505"/>
                  <a:pt x="5591811" y="1668529"/>
                  <a:pt x="5595866" y="1663977"/>
                </a:cubicBezTo>
                <a:close/>
                <a:moveTo>
                  <a:pt x="1850093" y="1663163"/>
                </a:moveTo>
                <a:cubicBezTo>
                  <a:pt x="1852391" y="1663686"/>
                  <a:pt x="1854482" y="1665157"/>
                  <a:pt x="1855514" y="1667016"/>
                </a:cubicBezTo>
                <a:cubicBezTo>
                  <a:pt x="1856237" y="1668255"/>
                  <a:pt x="1856444" y="1669805"/>
                  <a:pt x="1856031" y="1671199"/>
                </a:cubicBezTo>
                <a:cubicBezTo>
                  <a:pt x="1850971" y="1676310"/>
                  <a:pt x="1843021" y="1670269"/>
                  <a:pt x="1843434" y="1665002"/>
                </a:cubicBezTo>
                <a:cubicBezTo>
                  <a:pt x="1845292" y="1663067"/>
                  <a:pt x="1847796" y="1662641"/>
                  <a:pt x="1850093" y="1663163"/>
                </a:cubicBezTo>
                <a:close/>
                <a:moveTo>
                  <a:pt x="5980448" y="1662697"/>
                </a:moveTo>
                <a:cubicBezTo>
                  <a:pt x="5983223" y="1664404"/>
                  <a:pt x="5985570" y="1664973"/>
                  <a:pt x="5988345" y="1666538"/>
                </a:cubicBezTo>
                <a:cubicBezTo>
                  <a:pt x="5990692" y="1673224"/>
                  <a:pt x="5987278" y="1677493"/>
                  <a:pt x="5983009" y="1678631"/>
                </a:cubicBezTo>
                <a:cubicBezTo>
                  <a:pt x="5978741" y="1679769"/>
                  <a:pt x="5973619" y="1677635"/>
                  <a:pt x="5972338" y="1671233"/>
                </a:cubicBezTo>
                <a:cubicBezTo>
                  <a:pt x="5975113" y="1666822"/>
                  <a:pt x="5978314" y="1664546"/>
                  <a:pt x="5980448" y="1662697"/>
                </a:cubicBezTo>
                <a:close/>
                <a:moveTo>
                  <a:pt x="5344244" y="1662412"/>
                </a:moveTo>
                <a:cubicBezTo>
                  <a:pt x="5346165" y="1662412"/>
                  <a:pt x="5347658" y="1663123"/>
                  <a:pt x="5348726" y="1664546"/>
                </a:cubicBezTo>
                <a:cubicBezTo>
                  <a:pt x="5349366" y="1665684"/>
                  <a:pt x="5349793" y="1667107"/>
                  <a:pt x="5349793" y="1668956"/>
                </a:cubicBezTo>
                <a:cubicBezTo>
                  <a:pt x="5347018" y="1671375"/>
                  <a:pt x="5339762" y="1672086"/>
                  <a:pt x="5337628" y="1669525"/>
                </a:cubicBezTo>
                <a:cubicBezTo>
                  <a:pt x="5337841" y="1667818"/>
                  <a:pt x="5338055" y="1666253"/>
                  <a:pt x="5338268" y="1664546"/>
                </a:cubicBezTo>
                <a:cubicBezTo>
                  <a:pt x="5340189" y="1663265"/>
                  <a:pt x="5342323" y="1662555"/>
                  <a:pt x="5344244" y="1662412"/>
                </a:cubicBezTo>
                <a:close/>
                <a:moveTo>
                  <a:pt x="1716738" y="1661750"/>
                </a:moveTo>
                <a:cubicBezTo>
                  <a:pt x="1721281" y="1664848"/>
                  <a:pt x="1725721" y="1667791"/>
                  <a:pt x="1726547" y="1671663"/>
                </a:cubicBezTo>
                <a:cubicBezTo>
                  <a:pt x="1724586" y="1674761"/>
                  <a:pt x="1722107" y="1676930"/>
                  <a:pt x="1719216" y="1678014"/>
                </a:cubicBezTo>
                <a:cubicBezTo>
                  <a:pt x="1716428" y="1678943"/>
                  <a:pt x="1713124" y="1678633"/>
                  <a:pt x="1709407" y="1676775"/>
                </a:cubicBezTo>
                <a:cubicBezTo>
                  <a:pt x="1708787" y="1675226"/>
                  <a:pt x="1708787" y="1673832"/>
                  <a:pt x="1709097" y="1672283"/>
                </a:cubicBezTo>
                <a:cubicBezTo>
                  <a:pt x="1710027" y="1668100"/>
                  <a:pt x="1714363" y="1664383"/>
                  <a:pt x="1716738" y="1661750"/>
                </a:cubicBezTo>
                <a:close/>
                <a:moveTo>
                  <a:pt x="1684316" y="1661595"/>
                </a:moveTo>
                <a:cubicBezTo>
                  <a:pt x="1685142" y="1661595"/>
                  <a:pt x="1685142" y="1662524"/>
                  <a:pt x="1685968" y="1662524"/>
                </a:cubicBezTo>
                <a:cubicBezTo>
                  <a:pt x="1686381" y="1662989"/>
                  <a:pt x="1686381" y="1663764"/>
                  <a:pt x="1686277" y="1664848"/>
                </a:cubicBezTo>
                <a:cubicBezTo>
                  <a:pt x="1685761" y="1667946"/>
                  <a:pt x="1683593" y="1672593"/>
                  <a:pt x="1682973" y="1672593"/>
                </a:cubicBezTo>
                <a:cubicBezTo>
                  <a:pt x="1682870" y="1673522"/>
                  <a:pt x="1681941" y="1673367"/>
                  <a:pt x="1681837" y="1674297"/>
                </a:cubicBezTo>
                <a:cubicBezTo>
                  <a:pt x="1681837" y="1674297"/>
                  <a:pt x="1681734" y="1675071"/>
                  <a:pt x="1680702" y="1675845"/>
                </a:cubicBezTo>
                <a:cubicBezTo>
                  <a:pt x="1679772" y="1676775"/>
                  <a:pt x="1678740" y="1677549"/>
                  <a:pt x="1677088" y="1676620"/>
                </a:cubicBezTo>
                <a:lnTo>
                  <a:pt x="1679669" y="1670889"/>
                </a:lnTo>
                <a:lnTo>
                  <a:pt x="1677810" y="1672283"/>
                </a:lnTo>
                <a:cubicBezTo>
                  <a:pt x="1676365" y="1672902"/>
                  <a:pt x="1674816" y="1673057"/>
                  <a:pt x="1673680" y="1672438"/>
                </a:cubicBezTo>
                <a:cubicBezTo>
                  <a:pt x="1672544" y="1669805"/>
                  <a:pt x="1674197" y="1668875"/>
                  <a:pt x="1673164" y="1667326"/>
                </a:cubicBezTo>
                <a:cubicBezTo>
                  <a:pt x="1675229" y="1666552"/>
                  <a:pt x="1676778" y="1666397"/>
                  <a:pt x="1678017" y="1666862"/>
                </a:cubicBezTo>
                <a:lnTo>
                  <a:pt x="1680495" y="1669185"/>
                </a:lnTo>
                <a:lnTo>
                  <a:pt x="1680805" y="1668410"/>
                </a:lnTo>
                <a:cubicBezTo>
                  <a:pt x="1681734" y="1666242"/>
                  <a:pt x="1682664" y="1664073"/>
                  <a:pt x="1684316" y="1661595"/>
                </a:cubicBezTo>
                <a:close/>
                <a:moveTo>
                  <a:pt x="5839805" y="1661558"/>
                </a:moveTo>
                <a:cubicBezTo>
                  <a:pt x="5840872" y="1661700"/>
                  <a:pt x="5842152" y="1662697"/>
                  <a:pt x="5843433" y="1663835"/>
                </a:cubicBezTo>
                <a:cubicBezTo>
                  <a:pt x="5845780" y="1666395"/>
                  <a:pt x="5844713" y="1668672"/>
                  <a:pt x="5844713" y="1668672"/>
                </a:cubicBezTo>
                <a:cubicBezTo>
                  <a:pt x="5842579" y="1672086"/>
                  <a:pt x="5839165" y="1673224"/>
                  <a:pt x="5835536" y="1670664"/>
                </a:cubicBezTo>
                <a:cubicBezTo>
                  <a:pt x="5834256" y="1668245"/>
                  <a:pt x="5835323" y="1665969"/>
                  <a:pt x="5836390" y="1663692"/>
                </a:cubicBezTo>
                <a:cubicBezTo>
                  <a:pt x="5837457" y="1661843"/>
                  <a:pt x="5838524" y="1661274"/>
                  <a:pt x="5839805" y="1661558"/>
                </a:cubicBezTo>
                <a:close/>
                <a:moveTo>
                  <a:pt x="5916849" y="1661416"/>
                </a:moveTo>
                <a:cubicBezTo>
                  <a:pt x="5925386" y="1671944"/>
                  <a:pt x="5914715" y="1688305"/>
                  <a:pt x="5907886" y="1694991"/>
                </a:cubicBezTo>
                <a:cubicBezTo>
                  <a:pt x="5908312" y="1689443"/>
                  <a:pt x="5908312" y="1684037"/>
                  <a:pt x="5909379" y="1678488"/>
                </a:cubicBezTo>
                <a:cubicBezTo>
                  <a:pt x="5910446" y="1672940"/>
                  <a:pt x="5912367" y="1667107"/>
                  <a:pt x="5916849" y="1661416"/>
                </a:cubicBezTo>
                <a:close/>
                <a:moveTo>
                  <a:pt x="1488955" y="1661131"/>
                </a:moveTo>
                <a:cubicBezTo>
                  <a:pt x="1489574" y="1660976"/>
                  <a:pt x="1490194" y="1661131"/>
                  <a:pt x="1490813" y="1662060"/>
                </a:cubicBezTo>
                <a:lnTo>
                  <a:pt x="1491020" y="1662369"/>
                </a:lnTo>
                <a:lnTo>
                  <a:pt x="1494118" y="1664228"/>
                </a:lnTo>
                <a:cubicBezTo>
                  <a:pt x="1495150" y="1665158"/>
                  <a:pt x="1495770" y="1666242"/>
                  <a:pt x="1495976" y="1667481"/>
                </a:cubicBezTo>
                <a:cubicBezTo>
                  <a:pt x="1497319" y="1674297"/>
                  <a:pt x="1486064" y="1683126"/>
                  <a:pt x="1478010" y="1678633"/>
                </a:cubicBezTo>
                <a:cubicBezTo>
                  <a:pt x="1477287" y="1676930"/>
                  <a:pt x="1477390" y="1675071"/>
                  <a:pt x="1477906" y="1673367"/>
                </a:cubicBezTo>
                <a:cubicBezTo>
                  <a:pt x="1478630" y="1670734"/>
                  <a:pt x="1480591" y="1668100"/>
                  <a:pt x="1482760" y="1666087"/>
                </a:cubicBezTo>
                <a:lnTo>
                  <a:pt x="1486683" y="1663764"/>
                </a:lnTo>
                <a:lnTo>
                  <a:pt x="1487406" y="1661905"/>
                </a:lnTo>
                <a:cubicBezTo>
                  <a:pt x="1487923" y="1661440"/>
                  <a:pt x="1488438" y="1661131"/>
                  <a:pt x="1488955" y="1661131"/>
                </a:cubicBezTo>
                <a:close/>
                <a:moveTo>
                  <a:pt x="6163136" y="1660563"/>
                </a:moveTo>
                <a:cubicBezTo>
                  <a:pt x="6163562" y="1660563"/>
                  <a:pt x="6163989" y="1660847"/>
                  <a:pt x="6164629" y="1661985"/>
                </a:cubicBezTo>
                <a:cubicBezTo>
                  <a:pt x="6165697" y="1662555"/>
                  <a:pt x="6165910" y="1664261"/>
                  <a:pt x="6166764" y="1664830"/>
                </a:cubicBezTo>
                <a:cubicBezTo>
                  <a:pt x="6166764" y="1664830"/>
                  <a:pt x="6166550" y="1665827"/>
                  <a:pt x="6166124" y="1666822"/>
                </a:cubicBezTo>
                <a:cubicBezTo>
                  <a:pt x="6165697" y="1667818"/>
                  <a:pt x="6165057" y="1668814"/>
                  <a:pt x="6164203" y="1669099"/>
                </a:cubicBezTo>
                <a:cubicBezTo>
                  <a:pt x="6161855" y="1670521"/>
                  <a:pt x="6161001" y="1665542"/>
                  <a:pt x="6160148" y="1664973"/>
                </a:cubicBezTo>
                <a:cubicBezTo>
                  <a:pt x="6159934" y="1663265"/>
                  <a:pt x="6159721" y="1661700"/>
                  <a:pt x="6161215" y="1661274"/>
                </a:cubicBezTo>
                <a:cubicBezTo>
                  <a:pt x="6162069" y="1660989"/>
                  <a:pt x="6162495" y="1660563"/>
                  <a:pt x="6163136" y="1660563"/>
                </a:cubicBezTo>
                <a:close/>
                <a:moveTo>
                  <a:pt x="1511671" y="1660511"/>
                </a:moveTo>
                <a:cubicBezTo>
                  <a:pt x="1512910" y="1660976"/>
                  <a:pt x="1513220" y="1661750"/>
                  <a:pt x="1514046" y="1661440"/>
                </a:cubicBezTo>
                <a:cubicBezTo>
                  <a:pt x="1512807" y="1664538"/>
                  <a:pt x="1510123" y="1664848"/>
                  <a:pt x="1507438" y="1665002"/>
                </a:cubicBezTo>
                <a:cubicBezTo>
                  <a:pt x="1505476" y="1664693"/>
                  <a:pt x="1504650" y="1665002"/>
                  <a:pt x="1503514" y="1666397"/>
                </a:cubicBezTo>
                <a:cubicBezTo>
                  <a:pt x="1503514" y="1666397"/>
                  <a:pt x="1503514" y="1666397"/>
                  <a:pt x="1501139" y="1665467"/>
                </a:cubicBezTo>
                <a:lnTo>
                  <a:pt x="1500829" y="1664693"/>
                </a:lnTo>
                <a:cubicBezTo>
                  <a:pt x="1500829" y="1664228"/>
                  <a:pt x="1501346" y="1663919"/>
                  <a:pt x="1502172" y="1663454"/>
                </a:cubicBezTo>
                <a:cubicBezTo>
                  <a:pt x="1504650" y="1662215"/>
                  <a:pt x="1509606" y="1661285"/>
                  <a:pt x="1510123" y="1661131"/>
                </a:cubicBezTo>
                <a:cubicBezTo>
                  <a:pt x="1510123" y="1661131"/>
                  <a:pt x="1510948" y="1660821"/>
                  <a:pt x="1511671" y="1660511"/>
                </a:cubicBezTo>
                <a:close/>
                <a:moveTo>
                  <a:pt x="891205" y="1659736"/>
                </a:moveTo>
                <a:cubicBezTo>
                  <a:pt x="900394" y="1658807"/>
                  <a:pt x="902872" y="1663299"/>
                  <a:pt x="904008" y="1662989"/>
                </a:cubicBezTo>
                <a:cubicBezTo>
                  <a:pt x="905041" y="1666552"/>
                  <a:pt x="902563" y="1667016"/>
                  <a:pt x="899259" y="1668875"/>
                </a:cubicBezTo>
                <a:cubicBezTo>
                  <a:pt x="898949" y="1667636"/>
                  <a:pt x="895438" y="1668255"/>
                  <a:pt x="894199" y="1668410"/>
                </a:cubicBezTo>
                <a:cubicBezTo>
                  <a:pt x="893580" y="1666087"/>
                  <a:pt x="889140" y="1666242"/>
                  <a:pt x="888210" y="1662679"/>
                </a:cubicBezTo>
                <a:cubicBezTo>
                  <a:pt x="889140" y="1661285"/>
                  <a:pt x="889553" y="1660665"/>
                  <a:pt x="891205" y="1659736"/>
                </a:cubicBezTo>
                <a:close/>
                <a:moveTo>
                  <a:pt x="1726754" y="1659427"/>
                </a:moveTo>
                <a:cubicBezTo>
                  <a:pt x="1728612" y="1659736"/>
                  <a:pt x="1730471" y="1659891"/>
                  <a:pt x="1731710" y="1661285"/>
                </a:cubicBezTo>
                <a:cubicBezTo>
                  <a:pt x="1730471" y="1663454"/>
                  <a:pt x="1730162" y="1665312"/>
                  <a:pt x="1728716" y="1666552"/>
                </a:cubicBezTo>
                <a:cubicBezTo>
                  <a:pt x="1726444" y="1666552"/>
                  <a:pt x="1725205" y="1665622"/>
                  <a:pt x="1724999" y="1664228"/>
                </a:cubicBezTo>
                <a:cubicBezTo>
                  <a:pt x="1724792" y="1662834"/>
                  <a:pt x="1725411" y="1661131"/>
                  <a:pt x="1726754" y="1659427"/>
                </a:cubicBezTo>
                <a:close/>
                <a:moveTo>
                  <a:pt x="1393030" y="1659117"/>
                </a:moveTo>
                <a:cubicBezTo>
                  <a:pt x="1395818" y="1660046"/>
                  <a:pt x="1395921" y="1661750"/>
                  <a:pt x="1396231" y="1665312"/>
                </a:cubicBezTo>
                <a:cubicBezTo>
                  <a:pt x="1394269" y="1664848"/>
                  <a:pt x="1393236" y="1664073"/>
                  <a:pt x="1392824" y="1662989"/>
                </a:cubicBezTo>
                <a:cubicBezTo>
                  <a:pt x="1392410" y="1662060"/>
                  <a:pt x="1392617" y="1660821"/>
                  <a:pt x="1393030" y="1659117"/>
                </a:cubicBezTo>
                <a:close/>
                <a:moveTo>
                  <a:pt x="4912283" y="1658855"/>
                </a:moveTo>
                <a:cubicBezTo>
                  <a:pt x="4912283" y="1658855"/>
                  <a:pt x="4913563" y="1661132"/>
                  <a:pt x="4913563" y="1661132"/>
                </a:cubicBezTo>
                <a:cubicBezTo>
                  <a:pt x="4913990" y="1664546"/>
                  <a:pt x="4914203" y="1666111"/>
                  <a:pt x="4915483" y="1668387"/>
                </a:cubicBezTo>
                <a:cubicBezTo>
                  <a:pt x="4913136" y="1669952"/>
                  <a:pt x="4912069" y="1669383"/>
                  <a:pt x="4911855" y="1667676"/>
                </a:cubicBezTo>
                <a:cubicBezTo>
                  <a:pt x="4911855" y="1667676"/>
                  <a:pt x="4911642" y="1665969"/>
                  <a:pt x="4911428" y="1664261"/>
                </a:cubicBezTo>
                <a:cubicBezTo>
                  <a:pt x="4911215" y="1662697"/>
                  <a:pt x="4910148" y="1661985"/>
                  <a:pt x="4910148" y="1661985"/>
                </a:cubicBezTo>
                <a:cubicBezTo>
                  <a:pt x="4909935" y="1660278"/>
                  <a:pt x="4910788" y="1659282"/>
                  <a:pt x="4912283" y="1658855"/>
                </a:cubicBezTo>
                <a:close/>
                <a:moveTo>
                  <a:pt x="4886032" y="1658428"/>
                </a:moveTo>
                <a:cubicBezTo>
                  <a:pt x="4887099" y="1661274"/>
                  <a:pt x="4889019" y="1666253"/>
                  <a:pt x="4888379" y="1669383"/>
                </a:cubicBezTo>
                <a:cubicBezTo>
                  <a:pt x="4888166" y="1670379"/>
                  <a:pt x="4887526" y="1671233"/>
                  <a:pt x="4886458" y="1671659"/>
                </a:cubicBezTo>
                <a:cubicBezTo>
                  <a:pt x="4884965" y="1672086"/>
                  <a:pt x="4884751" y="1670521"/>
                  <a:pt x="4883684" y="1669952"/>
                </a:cubicBezTo>
                <a:cubicBezTo>
                  <a:pt x="4882617" y="1667676"/>
                  <a:pt x="4884324" y="1658855"/>
                  <a:pt x="4886032" y="1658428"/>
                </a:cubicBezTo>
                <a:close/>
                <a:moveTo>
                  <a:pt x="1461489" y="1658187"/>
                </a:moveTo>
                <a:lnTo>
                  <a:pt x="1461282" y="1660046"/>
                </a:lnTo>
                <a:lnTo>
                  <a:pt x="1462005" y="1659891"/>
                </a:lnTo>
                <a:cubicBezTo>
                  <a:pt x="1463347" y="1659427"/>
                  <a:pt x="1464896" y="1659427"/>
                  <a:pt x="1466135" y="1660511"/>
                </a:cubicBezTo>
                <a:cubicBezTo>
                  <a:pt x="1465309" y="1660821"/>
                  <a:pt x="1463967" y="1661285"/>
                  <a:pt x="1462625" y="1661750"/>
                </a:cubicBezTo>
                <a:lnTo>
                  <a:pt x="1461076" y="1662060"/>
                </a:lnTo>
                <a:lnTo>
                  <a:pt x="1460766" y="1664383"/>
                </a:lnTo>
                <a:cubicBezTo>
                  <a:pt x="1459837" y="1666242"/>
                  <a:pt x="1458081" y="1667791"/>
                  <a:pt x="1455500" y="1668875"/>
                </a:cubicBezTo>
                <a:cubicBezTo>
                  <a:pt x="1451473" y="1667636"/>
                  <a:pt x="1452196" y="1661905"/>
                  <a:pt x="1452196" y="1658962"/>
                </a:cubicBezTo>
                <a:cubicBezTo>
                  <a:pt x="1455809" y="1658032"/>
                  <a:pt x="1459320" y="1656948"/>
                  <a:pt x="1461489" y="1658187"/>
                </a:cubicBezTo>
                <a:close/>
                <a:moveTo>
                  <a:pt x="1316517" y="1657723"/>
                </a:moveTo>
                <a:cubicBezTo>
                  <a:pt x="1317446" y="1656019"/>
                  <a:pt x="1318995" y="1657723"/>
                  <a:pt x="1319821" y="1658497"/>
                </a:cubicBezTo>
                <a:cubicBezTo>
                  <a:pt x="1317343" y="1658652"/>
                  <a:pt x="1316517" y="1659427"/>
                  <a:pt x="1316517" y="1658652"/>
                </a:cubicBezTo>
                <a:cubicBezTo>
                  <a:pt x="1316104" y="1658652"/>
                  <a:pt x="1315897" y="1658497"/>
                  <a:pt x="1315897" y="1658187"/>
                </a:cubicBezTo>
                <a:cubicBezTo>
                  <a:pt x="1315897" y="1658032"/>
                  <a:pt x="1316104" y="1657723"/>
                  <a:pt x="1316517" y="1657723"/>
                </a:cubicBezTo>
                <a:close/>
                <a:moveTo>
                  <a:pt x="1164111" y="1657567"/>
                </a:moveTo>
                <a:cubicBezTo>
                  <a:pt x="1170306" y="1657723"/>
                  <a:pt x="1176605" y="1667016"/>
                  <a:pt x="1176089" y="1671973"/>
                </a:cubicBezTo>
                <a:lnTo>
                  <a:pt x="1173714" y="1673522"/>
                </a:lnTo>
                <a:lnTo>
                  <a:pt x="1174230" y="1674452"/>
                </a:lnTo>
                <a:lnTo>
                  <a:pt x="1175366" y="1678169"/>
                </a:lnTo>
                <a:lnTo>
                  <a:pt x="1175779" y="1677859"/>
                </a:lnTo>
                <a:cubicBezTo>
                  <a:pt x="1176501" y="1677704"/>
                  <a:pt x="1177431" y="1678014"/>
                  <a:pt x="1178154" y="1678788"/>
                </a:cubicBezTo>
                <a:cubicBezTo>
                  <a:pt x="1180632" y="1680338"/>
                  <a:pt x="1180529" y="1682971"/>
                  <a:pt x="1179599" y="1685449"/>
                </a:cubicBezTo>
                <a:cubicBezTo>
                  <a:pt x="1180322" y="1687153"/>
                  <a:pt x="1182077" y="1687927"/>
                  <a:pt x="1181148" y="1689631"/>
                </a:cubicBezTo>
                <a:cubicBezTo>
                  <a:pt x="1179496" y="1687308"/>
                  <a:pt x="1178670" y="1686378"/>
                  <a:pt x="1177844" y="1684675"/>
                </a:cubicBezTo>
                <a:cubicBezTo>
                  <a:pt x="1177018" y="1684830"/>
                  <a:pt x="1176192" y="1684830"/>
                  <a:pt x="1175366" y="1683900"/>
                </a:cubicBezTo>
                <a:lnTo>
                  <a:pt x="1174643" y="1682351"/>
                </a:lnTo>
                <a:lnTo>
                  <a:pt x="1173610" y="1682661"/>
                </a:lnTo>
                <a:cubicBezTo>
                  <a:pt x="1172784" y="1682971"/>
                  <a:pt x="1172062" y="1683280"/>
                  <a:pt x="1171235" y="1683900"/>
                </a:cubicBezTo>
                <a:cubicBezTo>
                  <a:pt x="1170719" y="1681422"/>
                  <a:pt x="1169893" y="1679408"/>
                  <a:pt x="1169170" y="1677704"/>
                </a:cubicBezTo>
                <a:lnTo>
                  <a:pt x="1168757" y="1675071"/>
                </a:lnTo>
                <a:lnTo>
                  <a:pt x="1168448" y="1675071"/>
                </a:lnTo>
                <a:cubicBezTo>
                  <a:pt x="1166692" y="1674761"/>
                  <a:pt x="1165143" y="1673832"/>
                  <a:pt x="1163801" y="1672593"/>
                </a:cubicBezTo>
                <a:lnTo>
                  <a:pt x="1162872" y="1671199"/>
                </a:lnTo>
                <a:cubicBezTo>
                  <a:pt x="1160497" y="1673057"/>
                  <a:pt x="1156057" y="1673057"/>
                  <a:pt x="1152753" y="1669495"/>
                </a:cubicBezTo>
                <a:cubicBezTo>
                  <a:pt x="1152856" y="1665932"/>
                  <a:pt x="1154198" y="1663764"/>
                  <a:pt x="1154921" y="1662060"/>
                </a:cubicBezTo>
                <a:lnTo>
                  <a:pt x="1160910" y="1662215"/>
                </a:lnTo>
                <a:close/>
                <a:moveTo>
                  <a:pt x="5121647" y="1656579"/>
                </a:moveTo>
                <a:lnTo>
                  <a:pt x="5125275" y="1659140"/>
                </a:lnTo>
                <a:lnTo>
                  <a:pt x="5126555" y="1659140"/>
                </a:lnTo>
                <a:cubicBezTo>
                  <a:pt x="5127623" y="1659566"/>
                  <a:pt x="5128477" y="1660420"/>
                  <a:pt x="5129117" y="1661985"/>
                </a:cubicBezTo>
                <a:lnTo>
                  <a:pt x="5129117" y="1663550"/>
                </a:lnTo>
                <a:lnTo>
                  <a:pt x="5131678" y="1667818"/>
                </a:lnTo>
                <a:lnTo>
                  <a:pt x="5129543" y="1667818"/>
                </a:lnTo>
                <a:lnTo>
                  <a:pt x="5127196" y="1671659"/>
                </a:lnTo>
                <a:cubicBezTo>
                  <a:pt x="5127196" y="1674363"/>
                  <a:pt x="5128690" y="1676639"/>
                  <a:pt x="5126769" y="1678061"/>
                </a:cubicBezTo>
                <a:cubicBezTo>
                  <a:pt x="5126129" y="1673794"/>
                  <a:pt x="5125702" y="1672229"/>
                  <a:pt x="5125489" y="1669525"/>
                </a:cubicBezTo>
                <a:lnTo>
                  <a:pt x="5124422" y="1668245"/>
                </a:lnTo>
                <a:lnTo>
                  <a:pt x="5124208" y="1668245"/>
                </a:lnTo>
                <a:lnTo>
                  <a:pt x="5123995" y="1667676"/>
                </a:lnTo>
                <a:lnTo>
                  <a:pt x="5122927" y="1666680"/>
                </a:lnTo>
                <a:lnTo>
                  <a:pt x="5122927" y="1666111"/>
                </a:lnTo>
                <a:lnTo>
                  <a:pt x="5121007" y="1663692"/>
                </a:lnTo>
                <a:cubicBezTo>
                  <a:pt x="5119086" y="1661558"/>
                  <a:pt x="5116952" y="1659424"/>
                  <a:pt x="5116952" y="1659424"/>
                </a:cubicBezTo>
                <a:cubicBezTo>
                  <a:pt x="5117379" y="1656152"/>
                  <a:pt x="5117592" y="1656152"/>
                  <a:pt x="5121647" y="1656579"/>
                </a:cubicBezTo>
                <a:close/>
                <a:moveTo>
                  <a:pt x="4812615" y="1654587"/>
                </a:moveTo>
                <a:cubicBezTo>
                  <a:pt x="4814749" y="1655298"/>
                  <a:pt x="4816884" y="1656579"/>
                  <a:pt x="4819018" y="1658286"/>
                </a:cubicBezTo>
                <a:lnTo>
                  <a:pt x="4823500" y="1663408"/>
                </a:lnTo>
                <a:lnTo>
                  <a:pt x="4825207" y="1658428"/>
                </a:lnTo>
                <a:cubicBezTo>
                  <a:pt x="4825847" y="1655725"/>
                  <a:pt x="4826915" y="1655298"/>
                  <a:pt x="4829903" y="1656579"/>
                </a:cubicBezTo>
                <a:cubicBezTo>
                  <a:pt x="4829689" y="1657859"/>
                  <a:pt x="4828622" y="1659851"/>
                  <a:pt x="4827341" y="1661416"/>
                </a:cubicBezTo>
                <a:lnTo>
                  <a:pt x="4823927" y="1663835"/>
                </a:lnTo>
                <a:lnTo>
                  <a:pt x="4824353" y="1664261"/>
                </a:lnTo>
                <a:cubicBezTo>
                  <a:pt x="4825634" y="1666395"/>
                  <a:pt x="4826488" y="1668814"/>
                  <a:pt x="4826701" y="1671233"/>
                </a:cubicBezTo>
                <a:lnTo>
                  <a:pt x="4825207" y="1674931"/>
                </a:lnTo>
                <a:lnTo>
                  <a:pt x="4827341" y="1675928"/>
                </a:lnTo>
                <a:cubicBezTo>
                  <a:pt x="4829262" y="1678631"/>
                  <a:pt x="4828408" y="1684748"/>
                  <a:pt x="4821152" y="1696414"/>
                </a:cubicBezTo>
                <a:cubicBezTo>
                  <a:pt x="4796822" y="1693284"/>
                  <a:pt x="4809201" y="1678915"/>
                  <a:pt x="4819232" y="1675216"/>
                </a:cubicBezTo>
                <a:lnTo>
                  <a:pt x="4822219" y="1674789"/>
                </a:lnTo>
                <a:lnTo>
                  <a:pt x="4817524" y="1666680"/>
                </a:lnTo>
                <a:cubicBezTo>
                  <a:pt x="4815176" y="1662839"/>
                  <a:pt x="4813469" y="1658855"/>
                  <a:pt x="4812615" y="1654587"/>
                </a:cubicBezTo>
                <a:close/>
                <a:moveTo>
                  <a:pt x="1691453" y="1654179"/>
                </a:moveTo>
                <a:cubicBezTo>
                  <a:pt x="1692705" y="1654857"/>
                  <a:pt x="1693970" y="1655864"/>
                  <a:pt x="1694641" y="1655864"/>
                </a:cubicBezTo>
                <a:lnTo>
                  <a:pt x="1695054" y="1656329"/>
                </a:lnTo>
                <a:lnTo>
                  <a:pt x="1699185" y="1655554"/>
                </a:lnTo>
                <a:cubicBezTo>
                  <a:pt x="1700940" y="1655399"/>
                  <a:pt x="1702282" y="1655399"/>
                  <a:pt x="1702386" y="1655709"/>
                </a:cubicBezTo>
                <a:cubicBezTo>
                  <a:pt x="1703212" y="1655399"/>
                  <a:pt x="1703625" y="1656329"/>
                  <a:pt x="1704451" y="1656019"/>
                </a:cubicBezTo>
                <a:cubicBezTo>
                  <a:pt x="1704451" y="1656019"/>
                  <a:pt x="1705173" y="1655709"/>
                  <a:pt x="1706309" y="1656174"/>
                </a:cubicBezTo>
                <a:cubicBezTo>
                  <a:pt x="1707548" y="1656638"/>
                  <a:pt x="1708787" y="1657103"/>
                  <a:pt x="1708787" y="1658962"/>
                </a:cubicBezTo>
                <a:cubicBezTo>
                  <a:pt x="1704967" y="1658962"/>
                  <a:pt x="1702282" y="1659427"/>
                  <a:pt x="1699804" y="1659581"/>
                </a:cubicBezTo>
                <a:lnTo>
                  <a:pt x="1695880" y="1659736"/>
                </a:lnTo>
                <a:cubicBezTo>
                  <a:pt x="1694641" y="1661131"/>
                  <a:pt x="1694641" y="1662524"/>
                  <a:pt x="1692060" y="1661131"/>
                </a:cubicBezTo>
                <a:cubicBezTo>
                  <a:pt x="1690821" y="1661131"/>
                  <a:pt x="1689582" y="1659736"/>
                  <a:pt x="1688342" y="1659736"/>
                </a:cubicBezTo>
                <a:cubicBezTo>
                  <a:pt x="1688342" y="1659736"/>
                  <a:pt x="1687930" y="1658807"/>
                  <a:pt x="1687827" y="1657567"/>
                </a:cubicBezTo>
                <a:cubicBezTo>
                  <a:pt x="1687620" y="1656483"/>
                  <a:pt x="1687620" y="1655089"/>
                  <a:pt x="1688342" y="1654470"/>
                </a:cubicBezTo>
                <a:cubicBezTo>
                  <a:pt x="1688962" y="1653153"/>
                  <a:pt x="1690201" y="1653502"/>
                  <a:pt x="1691453" y="1654179"/>
                </a:cubicBezTo>
                <a:close/>
                <a:moveTo>
                  <a:pt x="5222381" y="1654161"/>
                </a:moveTo>
                <a:cubicBezTo>
                  <a:pt x="5226863" y="1655725"/>
                  <a:pt x="5230064" y="1656863"/>
                  <a:pt x="5231985" y="1658428"/>
                </a:cubicBezTo>
                <a:cubicBezTo>
                  <a:pt x="5230064" y="1667107"/>
                  <a:pt x="5215338" y="1662697"/>
                  <a:pt x="5222381" y="1654161"/>
                </a:cubicBezTo>
                <a:close/>
                <a:moveTo>
                  <a:pt x="1863981" y="1653850"/>
                </a:moveTo>
                <a:cubicBezTo>
                  <a:pt x="1867182" y="1655399"/>
                  <a:pt x="1869351" y="1656329"/>
                  <a:pt x="1870590" y="1657723"/>
                </a:cubicBezTo>
                <a:cubicBezTo>
                  <a:pt x="1869041" y="1662060"/>
                  <a:pt x="1862742" y="1660821"/>
                  <a:pt x="1862226" y="1657567"/>
                </a:cubicBezTo>
                <a:cubicBezTo>
                  <a:pt x="1862020" y="1656483"/>
                  <a:pt x="1862536" y="1655244"/>
                  <a:pt x="1863981" y="1653850"/>
                </a:cubicBezTo>
                <a:close/>
                <a:moveTo>
                  <a:pt x="1120537" y="1653850"/>
                </a:moveTo>
                <a:cubicBezTo>
                  <a:pt x="1123015" y="1656174"/>
                  <a:pt x="1121982" y="1658807"/>
                  <a:pt x="1121053" y="1661285"/>
                </a:cubicBezTo>
                <a:cubicBezTo>
                  <a:pt x="1120124" y="1662989"/>
                  <a:pt x="1120021" y="1663919"/>
                  <a:pt x="1120846" y="1665467"/>
                </a:cubicBezTo>
                <a:cubicBezTo>
                  <a:pt x="1120846" y="1665467"/>
                  <a:pt x="1120846" y="1665467"/>
                  <a:pt x="1118988" y="1667326"/>
                </a:cubicBezTo>
                <a:lnTo>
                  <a:pt x="1118162" y="1667326"/>
                </a:lnTo>
                <a:cubicBezTo>
                  <a:pt x="1117749" y="1667171"/>
                  <a:pt x="1117542" y="1666397"/>
                  <a:pt x="1117542" y="1665467"/>
                </a:cubicBezTo>
                <a:cubicBezTo>
                  <a:pt x="1117439" y="1662834"/>
                  <a:pt x="1118575" y="1657877"/>
                  <a:pt x="1118678" y="1657258"/>
                </a:cubicBezTo>
                <a:cubicBezTo>
                  <a:pt x="1118678" y="1657258"/>
                  <a:pt x="1118678" y="1656483"/>
                  <a:pt x="1118678" y="1655554"/>
                </a:cubicBezTo>
                <a:cubicBezTo>
                  <a:pt x="1119607" y="1654780"/>
                  <a:pt x="1120434" y="1654625"/>
                  <a:pt x="1120537" y="1653850"/>
                </a:cubicBezTo>
                <a:close/>
                <a:moveTo>
                  <a:pt x="4984205" y="1653734"/>
                </a:moveTo>
                <a:cubicBezTo>
                  <a:pt x="4986766" y="1653876"/>
                  <a:pt x="4989540" y="1655725"/>
                  <a:pt x="4989754" y="1657290"/>
                </a:cubicBezTo>
                <a:cubicBezTo>
                  <a:pt x="4989967" y="1658998"/>
                  <a:pt x="4989327" y="1659993"/>
                  <a:pt x="4989327" y="1659993"/>
                </a:cubicBezTo>
                <a:cubicBezTo>
                  <a:pt x="4985485" y="1661843"/>
                  <a:pt x="4981430" y="1662127"/>
                  <a:pt x="4980577" y="1657290"/>
                </a:cubicBezTo>
                <a:cubicBezTo>
                  <a:pt x="4980363" y="1655725"/>
                  <a:pt x="4980150" y="1654018"/>
                  <a:pt x="4981004" y="1654587"/>
                </a:cubicBezTo>
                <a:cubicBezTo>
                  <a:pt x="4981644" y="1653591"/>
                  <a:pt x="4982711" y="1654161"/>
                  <a:pt x="4984205" y="1653734"/>
                </a:cubicBezTo>
                <a:close/>
                <a:moveTo>
                  <a:pt x="4836945" y="1653734"/>
                </a:moveTo>
                <a:cubicBezTo>
                  <a:pt x="4840360" y="1654018"/>
                  <a:pt x="4842067" y="1656010"/>
                  <a:pt x="4842067" y="1658428"/>
                </a:cubicBezTo>
                <a:cubicBezTo>
                  <a:pt x="4842281" y="1660705"/>
                  <a:pt x="4840573" y="1663550"/>
                  <a:pt x="4837372" y="1665684"/>
                </a:cubicBezTo>
                <a:cubicBezTo>
                  <a:pt x="4835238" y="1663692"/>
                  <a:pt x="4834384" y="1661558"/>
                  <a:pt x="4834598" y="1659566"/>
                </a:cubicBezTo>
                <a:lnTo>
                  <a:pt x="4835238" y="1658002"/>
                </a:lnTo>
                <a:lnTo>
                  <a:pt x="4835664" y="1656721"/>
                </a:lnTo>
                <a:close/>
                <a:moveTo>
                  <a:pt x="1107010" y="1653386"/>
                </a:moveTo>
                <a:cubicBezTo>
                  <a:pt x="1110005" y="1655399"/>
                  <a:pt x="1109695" y="1661131"/>
                  <a:pt x="1110108" y="1666552"/>
                </a:cubicBezTo>
                <a:cubicBezTo>
                  <a:pt x="1107630" y="1666242"/>
                  <a:pt x="1106391" y="1666087"/>
                  <a:pt x="1104532" y="1666552"/>
                </a:cubicBezTo>
                <a:cubicBezTo>
                  <a:pt x="1104738" y="1662989"/>
                  <a:pt x="1103912" y="1660356"/>
                  <a:pt x="1103809" y="1658187"/>
                </a:cubicBezTo>
                <a:cubicBezTo>
                  <a:pt x="1103706" y="1656019"/>
                  <a:pt x="1104222" y="1654470"/>
                  <a:pt x="1107010" y="1653386"/>
                </a:cubicBezTo>
                <a:close/>
                <a:moveTo>
                  <a:pt x="4102995" y="1653307"/>
                </a:moveTo>
                <a:cubicBezTo>
                  <a:pt x="4109610" y="1655156"/>
                  <a:pt x="4106196" y="1663408"/>
                  <a:pt x="4102995" y="1664261"/>
                </a:cubicBezTo>
                <a:cubicBezTo>
                  <a:pt x="4095311" y="1662697"/>
                  <a:pt x="4099793" y="1654161"/>
                  <a:pt x="4102995" y="1653307"/>
                </a:cubicBezTo>
                <a:close/>
                <a:moveTo>
                  <a:pt x="1193023" y="1652146"/>
                </a:moveTo>
                <a:lnTo>
                  <a:pt x="1197360" y="1652921"/>
                </a:lnTo>
                <a:lnTo>
                  <a:pt x="1206239" y="1652611"/>
                </a:lnTo>
                <a:cubicBezTo>
                  <a:pt x="1209647" y="1653541"/>
                  <a:pt x="1213158" y="1655864"/>
                  <a:pt x="1216359" y="1659581"/>
                </a:cubicBezTo>
                <a:cubicBezTo>
                  <a:pt x="1213570" y="1670889"/>
                  <a:pt x="1203452" y="1678479"/>
                  <a:pt x="1194055" y="1674761"/>
                </a:cubicBezTo>
                <a:cubicBezTo>
                  <a:pt x="1189822" y="1672438"/>
                  <a:pt x="1187860" y="1669340"/>
                  <a:pt x="1187550" y="1666087"/>
                </a:cubicBezTo>
                <a:cubicBezTo>
                  <a:pt x="1187447" y="1665002"/>
                  <a:pt x="1187550" y="1663919"/>
                  <a:pt x="1187757" y="1662834"/>
                </a:cubicBezTo>
                <a:lnTo>
                  <a:pt x="1189615" y="1659427"/>
                </a:lnTo>
                <a:lnTo>
                  <a:pt x="1189512" y="1659117"/>
                </a:lnTo>
                <a:cubicBezTo>
                  <a:pt x="1188996" y="1656174"/>
                  <a:pt x="1190235" y="1653076"/>
                  <a:pt x="1193023" y="1652146"/>
                </a:cubicBezTo>
                <a:close/>
                <a:moveTo>
                  <a:pt x="5013870" y="1651742"/>
                </a:moveTo>
                <a:cubicBezTo>
                  <a:pt x="5014083" y="1651742"/>
                  <a:pt x="5014297" y="1652169"/>
                  <a:pt x="5014937" y="1652880"/>
                </a:cubicBezTo>
                <a:cubicBezTo>
                  <a:pt x="5013870" y="1654161"/>
                  <a:pt x="5013870" y="1652880"/>
                  <a:pt x="5012803" y="1652738"/>
                </a:cubicBezTo>
                <a:cubicBezTo>
                  <a:pt x="5013443" y="1652169"/>
                  <a:pt x="5013657" y="1651742"/>
                  <a:pt x="5013870" y="1651742"/>
                </a:cubicBezTo>
                <a:close/>
                <a:moveTo>
                  <a:pt x="1079647" y="1651372"/>
                </a:moveTo>
                <a:cubicBezTo>
                  <a:pt x="1079854" y="1654315"/>
                  <a:pt x="1082125" y="1655709"/>
                  <a:pt x="1081402" y="1660356"/>
                </a:cubicBezTo>
                <a:cubicBezTo>
                  <a:pt x="1065604" y="1663454"/>
                  <a:pt x="1051768" y="1670269"/>
                  <a:pt x="1038655" y="1672438"/>
                </a:cubicBezTo>
                <a:cubicBezTo>
                  <a:pt x="1046708" y="1659891"/>
                  <a:pt x="1064778" y="1656948"/>
                  <a:pt x="1079647" y="1651372"/>
                </a:cubicBezTo>
                <a:close/>
                <a:moveTo>
                  <a:pt x="703485" y="1651372"/>
                </a:moveTo>
                <a:cubicBezTo>
                  <a:pt x="709784" y="1649823"/>
                  <a:pt x="710816" y="1657103"/>
                  <a:pt x="708338" y="1659117"/>
                </a:cubicBezTo>
                <a:cubicBezTo>
                  <a:pt x="705033" y="1659117"/>
                  <a:pt x="702865" y="1656329"/>
                  <a:pt x="702865" y="1653695"/>
                </a:cubicBezTo>
                <a:cubicBezTo>
                  <a:pt x="702762" y="1652921"/>
                  <a:pt x="703072" y="1651991"/>
                  <a:pt x="703485" y="1651372"/>
                </a:cubicBezTo>
                <a:close/>
                <a:moveTo>
                  <a:pt x="3916252" y="1651315"/>
                </a:moveTo>
                <a:cubicBezTo>
                  <a:pt x="3922655" y="1651172"/>
                  <a:pt x="3929271" y="1653164"/>
                  <a:pt x="3933539" y="1655156"/>
                </a:cubicBezTo>
                <a:cubicBezTo>
                  <a:pt x="3928631" y="1657006"/>
                  <a:pt x="3923936" y="1659140"/>
                  <a:pt x="3918813" y="1660420"/>
                </a:cubicBezTo>
                <a:cubicBezTo>
                  <a:pt x="3913691" y="1661700"/>
                  <a:pt x="3908142" y="1661985"/>
                  <a:pt x="3901526" y="1659993"/>
                </a:cubicBezTo>
                <a:cubicBezTo>
                  <a:pt x="3904087" y="1653591"/>
                  <a:pt x="3910063" y="1651457"/>
                  <a:pt x="3916252" y="1651315"/>
                </a:cubicBezTo>
                <a:close/>
                <a:moveTo>
                  <a:pt x="4068421" y="1650888"/>
                </a:moveTo>
                <a:cubicBezTo>
                  <a:pt x="4069701" y="1655868"/>
                  <a:pt x="4071195" y="1660705"/>
                  <a:pt x="4069488" y="1663692"/>
                </a:cubicBezTo>
                <a:lnTo>
                  <a:pt x="4066713" y="1663408"/>
                </a:lnTo>
                <a:lnTo>
                  <a:pt x="4067140" y="1664261"/>
                </a:lnTo>
                <a:cubicBezTo>
                  <a:pt x="4067780" y="1666253"/>
                  <a:pt x="4067780" y="1668387"/>
                  <a:pt x="4066286" y="1670094"/>
                </a:cubicBezTo>
                <a:cubicBezTo>
                  <a:pt x="4065859" y="1668814"/>
                  <a:pt x="4065219" y="1667107"/>
                  <a:pt x="4064579" y="1665257"/>
                </a:cubicBezTo>
                <a:lnTo>
                  <a:pt x="4064152" y="1663123"/>
                </a:lnTo>
                <a:lnTo>
                  <a:pt x="4060951" y="1662697"/>
                </a:lnTo>
                <a:cubicBezTo>
                  <a:pt x="4058390" y="1661416"/>
                  <a:pt x="4056255" y="1658998"/>
                  <a:pt x="4054762" y="1655441"/>
                </a:cubicBezTo>
                <a:cubicBezTo>
                  <a:pt x="4056469" y="1649892"/>
                  <a:pt x="4064152" y="1650888"/>
                  <a:pt x="4068421" y="1650888"/>
                </a:cubicBezTo>
                <a:close/>
                <a:moveTo>
                  <a:pt x="1560821" y="1650752"/>
                </a:moveTo>
                <a:cubicBezTo>
                  <a:pt x="1574244" y="1657567"/>
                  <a:pt x="1588804" y="1660356"/>
                  <a:pt x="1599645" y="1666552"/>
                </a:cubicBezTo>
                <a:lnTo>
                  <a:pt x="1592728" y="1667636"/>
                </a:lnTo>
                <a:lnTo>
                  <a:pt x="1593037" y="1668410"/>
                </a:lnTo>
                <a:cubicBezTo>
                  <a:pt x="1595619" y="1670424"/>
                  <a:pt x="1600369" y="1667946"/>
                  <a:pt x="1600885" y="1672748"/>
                </a:cubicBezTo>
                <a:cubicBezTo>
                  <a:pt x="1599955" y="1675226"/>
                  <a:pt x="1599852" y="1678169"/>
                  <a:pt x="1597994" y="1680492"/>
                </a:cubicBezTo>
                <a:cubicBezTo>
                  <a:pt x="1597374" y="1681267"/>
                  <a:pt x="1596444" y="1682042"/>
                  <a:pt x="1595309" y="1682661"/>
                </a:cubicBezTo>
                <a:cubicBezTo>
                  <a:pt x="1592728" y="1676155"/>
                  <a:pt x="1588907" y="1673057"/>
                  <a:pt x="1585293" y="1668100"/>
                </a:cubicBezTo>
                <a:lnTo>
                  <a:pt x="1585603" y="1667791"/>
                </a:lnTo>
                <a:lnTo>
                  <a:pt x="1578065" y="1666552"/>
                </a:lnTo>
                <a:lnTo>
                  <a:pt x="1569082" y="1663609"/>
                </a:lnTo>
                <a:lnTo>
                  <a:pt x="1568978" y="1665158"/>
                </a:lnTo>
                <a:cubicBezTo>
                  <a:pt x="1568669" y="1666087"/>
                  <a:pt x="1568152" y="1667016"/>
                  <a:pt x="1567223" y="1668100"/>
                </a:cubicBezTo>
                <a:cubicBezTo>
                  <a:pt x="1563093" y="1669340"/>
                  <a:pt x="1561131" y="1665777"/>
                  <a:pt x="1558240" y="1665002"/>
                </a:cubicBezTo>
                <a:cubicBezTo>
                  <a:pt x="1558756" y="1663144"/>
                  <a:pt x="1559582" y="1661905"/>
                  <a:pt x="1560718" y="1660976"/>
                </a:cubicBezTo>
                <a:lnTo>
                  <a:pt x="1560925" y="1660821"/>
                </a:lnTo>
                <a:lnTo>
                  <a:pt x="1556175" y="1659272"/>
                </a:lnTo>
                <a:cubicBezTo>
                  <a:pt x="1558034" y="1656638"/>
                  <a:pt x="1557310" y="1654160"/>
                  <a:pt x="1560821" y="1650752"/>
                </a:cubicBezTo>
                <a:close/>
                <a:moveTo>
                  <a:pt x="4971186" y="1650604"/>
                </a:moveTo>
                <a:cubicBezTo>
                  <a:pt x="4973321" y="1650746"/>
                  <a:pt x="4974387" y="1651457"/>
                  <a:pt x="4974814" y="1652738"/>
                </a:cubicBezTo>
                <a:cubicBezTo>
                  <a:pt x="4975454" y="1653876"/>
                  <a:pt x="4975241" y="1655725"/>
                  <a:pt x="4975028" y="1658002"/>
                </a:cubicBezTo>
                <a:cubicBezTo>
                  <a:pt x="4974814" y="1660136"/>
                  <a:pt x="4973747" y="1661416"/>
                  <a:pt x="4972680" y="1662697"/>
                </a:cubicBezTo>
                <a:lnTo>
                  <a:pt x="4972253" y="1663123"/>
                </a:lnTo>
                <a:lnTo>
                  <a:pt x="4976522" y="1664973"/>
                </a:lnTo>
                <a:lnTo>
                  <a:pt x="4982497" y="1669810"/>
                </a:lnTo>
                <a:lnTo>
                  <a:pt x="4982284" y="1669525"/>
                </a:lnTo>
                <a:cubicBezTo>
                  <a:pt x="4981644" y="1667107"/>
                  <a:pt x="4982924" y="1663123"/>
                  <a:pt x="4985485" y="1663835"/>
                </a:cubicBezTo>
                <a:cubicBezTo>
                  <a:pt x="4986552" y="1664119"/>
                  <a:pt x="4988046" y="1665257"/>
                  <a:pt x="4989754" y="1667818"/>
                </a:cubicBezTo>
                <a:cubicBezTo>
                  <a:pt x="4988260" y="1669525"/>
                  <a:pt x="4987193" y="1670521"/>
                  <a:pt x="4986125" y="1670948"/>
                </a:cubicBezTo>
                <a:lnTo>
                  <a:pt x="4984205" y="1671233"/>
                </a:lnTo>
                <a:lnTo>
                  <a:pt x="4988900" y="1678061"/>
                </a:lnTo>
                <a:cubicBezTo>
                  <a:pt x="4989967" y="1680622"/>
                  <a:pt x="4990180" y="1683041"/>
                  <a:pt x="4989327" y="1685317"/>
                </a:cubicBezTo>
                <a:lnTo>
                  <a:pt x="4986125" y="1682756"/>
                </a:lnTo>
                <a:lnTo>
                  <a:pt x="4981430" y="1687024"/>
                </a:lnTo>
                <a:cubicBezTo>
                  <a:pt x="4979723" y="1687451"/>
                  <a:pt x="4975668" y="1687736"/>
                  <a:pt x="4976308" y="1686740"/>
                </a:cubicBezTo>
                <a:cubicBezTo>
                  <a:pt x="4976095" y="1685032"/>
                  <a:pt x="4975454" y="1686171"/>
                  <a:pt x="4974387" y="1685602"/>
                </a:cubicBezTo>
                <a:cubicBezTo>
                  <a:pt x="4973961" y="1683183"/>
                  <a:pt x="4973961" y="1680907"/>
                  <a:pt x="4974601" y="1679200"/>
                </a:cubicBezTo>
                <a:lnTo>
                  <a:pt x="4976949" y="1676639"/>
                </a:lnTo>
                <a:lnTo>
                  <a:pt x="4973747" y="1674647"/>
                </a:lnTo>
                <a:cubicBezTo>
                  <a:pt x="4968625" y="1671517"/>
                  <a:pt x="4963503" y="1667818"/>
                  <a:pt x="4958595" y="1661274"/>
                </a:cubicBezTo>
                <a:lnTo>
                  <a:pt x="4965851" y="1661274"/>
                </a:lnTo>
                <a:lnTo>
                  <a:pt x="4965210" y="1657290"/>
                </a:lnTo>
                <a:cubicBezTo>
                  <a:pt x="4965637" y="1655583"/>
                  <a:pt x="4965637" y="1655583"/>
                  <a:pt x="4966704" y="1654871"/>
                </a:cubicBezTo>
                <a:cubicBezTo>
                  <a:pt x="4968198" y="1652596"/>
                  <a:pt x="4968625" y="1650888"/>
                  <a:pt x="4971186" y="1650604"/>
                </a:cubicBezTo>
                <a:close/>
                <a:moveTo>
                  <a:pt x="1595205" y="1650287"/>
                </a:moveTo>
                <a:cubicBezTo>
                  <a:pt x="1597787" y="1649513"/>
                  <a:pt x="1602846" y="1651217"/>
                  <a:pt x="1603466" y="1653541"/>
                </a:cubicBezTo>
                <a:cubicBezTo>
                  <a:pt x="1602846" y="1654625"/>
                  <a:pt x="1602227" y="1655554"/>
                  <a:pt x="1601607" y="1656638"/>
                </a:cubicBezTo>
                <a:cubicBezTo>
                  <a:pt x="1598303" y="1657103"/>
                  <a:pt x="1595102" y="1656174"/>
                  <a:pt x="1594689" y="1653541"/>
                </a:cubicBezTo>
                <a:cubicBezTo>
                  <a:pt x="1594586" y="1652611"/>
                  <a:pt x="1594689" y="1651527"/>
                  <a:pt x="1595205" y="1650287"/>
                </a:cubicBezTo>
                <a:close/>
                <a:moveTo>
                  <a:pt x="1335206" y="1649978"/>
                </a:moveTo>
                <a:cubicBezTo>
                  <a:pt x="1334380" y="1659581"/>
                  <a:pt x="1338614" y="1666242"/>
                  <a:pt x="1335413" y="1676775"/>
                </a:cubicBezTo>
                <a:lnTo>
                  <a:pt x="1332522" y="1673057"/>
                </a:lnTo>
                <a:lnTo>
                  <a:pt x="1330663" y="1673677"/>
                </a:lnTo>
                <a:lnTo>
                  <a:pt x="1325707" y="1672283"/>
                </a:lnTo>
                <a:lnTo>
                  <a:pt x="1327669" y="1678943"/>
                </a:lnTo>
                <a:cubicBezTo>
                  <a:pt x="1327772" y="1681887"/>
                  <a:pt x="1327359" y="1684675"/>
                  <a:pt x="1326326" y="1687153"/>
                </a:cubicBezTo>
                <a:cubicBezTo>
                  <a:pt x="1322919" y="1695363"/>
                  <a:pt x="1313626" y="1700939"/>
                  <a:pt x="1302991" y="1700009"/>
                </a:cubicBezTo>
                <a:cubicBezTo>
                  <a:pt x="1302577" y="1698770"/>
                  <a:pt x="1302164" y="1697686"/>
                  <a:pt x="1301029" y="1697996"/>
                </a:cubicBezTo>
                <a:cubicBezTo>
                  <a:pt x="1299790" y="1695363"/>
                  <a:pt x="1299273" y="1692420"/>
                  <a:pt x="1299480" y="1689631"/>
                </a:cubicBezTo>
                <a:lnTo>
                  <a:pt x="1300512" y="1684520"/>
                </a:lnTo>
                <a:lnTo>
                  <a:pt x="1297828" y="1686068"/>
                </a:lnTo>
                <a:lnTo>
                  <a:pt x="1296692" y="1684984"/>
                </a:lnTo>
                <a:lnTo>
                  <a:pt x="1296485" y="1685759"/>
                </a:lnTo>
                <a:cubicBezTo>
                  <a:pt x="1296279" y="1686998"/>
                  <a:pt x="1295866" y="1688082"/>
                  <a:pt x="1296692" y="1687618"/>
                </a:cubicBezTo>
                <a:cubicBezTo>
                  <a:pt x="1295763" y="1691180"/>
                  <a:pt x="1296176" y="1691800"/>
                  <a:pt x="1293491" y="1692729"/>
                </a:cubicBezTo>
                <a:cubicBezTo>
                  <a:pt x="1290600" y="1686688"/>
                  <a:pt x="1289567" y="1678633"/>
                  <a:pt x="1289464" y="1676775"/>
                </a:cubicBezTo>
                <a:cubicBezTo>
                  <a:pt x="1289361" y="1675845"/>
                  <a:pt x="1289567" y="1675226"/>
                  <a:pt x="1289980" y="1674761"/>
                </a:cubicBezTo>
                <a:cubicBezTo>
                  <a:pt x="1290393" y="1674452"/>
                  <a:pt x="1291013" y="1674297"/>
                  <a:pt x="1292045" y="1674142"/>
                </a:cubicBezTo>
                <a:lnTo>
                  <a:pt x="1294420" y="1676620"/>
                </a:lnTo>
                <a:lnTo>
                  <a:pt x="1295246" y="1674606"/>
                </a:lnTo>
                <a:lnTo>
                  <a:pt x="1297621" y="1672593"/>
                </a:lnTo>
                <a:lnTo>
                  <a:pt x="1295143" y="1672438"/>
                </a:lnTo>
                <a:cubicBezTo>
                  <a:pt x="1299170" y="1668100"/>
                  <a:pt x="1303507" y="1664693"/>
                  <a:pt x="1306501" y="1657103"/>
                </a:cubicBezTo>
                <a:cubicBezTo>
                  <a:pt x="1308669" y="1658342"/>
                  <a:pt x="1309599" y="1655554"/>
                  <a:pt x="1311974" y="1657723"/>
                </a:cubicBezTo>
                <a:cubicBezTo>
                  <a:pt x="1313523" y="1662679"/>
                  <a:pt x="1307947" y="1671044"/>
                  <a:pt x="1301545" y="1672902"/>
                </a:cubicBezTo>
                <a:lnTo>
                  <a:pt x="1298964" y="1672748"/>
                </a:lnTo>
                <a:lnTo>
                  <a:pt x="1302681" y="1677395"/>
                </a:lnTo>
                <a:lnTo>
                  <a:pt x="1301958" y="1681267"/>
                </a:lnTo>
                <a:lnTo>
                  <a:pt x="1303817" y="1677859"/>
                </a:lnTo>
                <a:cubicBezTo>
                  <a:pt x="1306398" y="1674452"/>
                  <a:pt x="1309908" y="1671818"/>
                  <a:pt x="1313832" y="1670424"/>
                </a:cubicBezTo>
                <a:cubicBezTo>
                  <a:pt x="1315588" y="1669805"/>
                  <a:pt x="1317446" y="1669340"/>
                  <a:pt x="1319305" y="1669185"/>
                </a:cubicBezTo>
                <a:lnTo>
                  <a:pt x="1324674" y="1669959"/>
                </a:lnTo>
                <a:lnTo>
                  <a:pt x="1324777" y="1668720"/>
                </a:lnTo>
                <a:cubicBezTo>
                  <a:pt x="1325294" y="1667326"/>
                  <a:pt x="1326120" y="1666552"/>
                  <a:pt x="1327462" y="1666242"/>
                </a:cubicBezTo>
                <a:lnTo>
                  <a:pt x="1329734" y="1666397"/>
                </a:lnTo>
                <a:lnTo>
                  <a:pt x="1328908" y="1662369"/>
                </a:lnTo>
                <a:cubicBezTo>
                  <a:pt x="1328701" y="1656483"/>
                  <a:pt x="1330457" y="1650907"/>
                  <a:pt x="1335206" y="1649978"/>
                </a:cubicBezTo>
                <a:close/>
                <a:moveTo>
                  <a:pt x="4655752" y="1649607"/>
                </a:moveTo>
                <a:cubicBezTo>
                  <a:pt x="4657032" y="1650746"/>
                  <a:pt x="4657245" y="1651884"/>
                  <a:pt x="4657459" y="1653164"/>
                </a:cubicBezTo>
                <a:cubicBezTo>
                  <a:pt x="4656392" y="1654444"/>
                  <a:pt x="4655112" y="1654444"/>
                  <a:pt x="4654258" y="1655725"/>
                </a:cubicBezTo>
                <a:cubicBezTo>
                  <a:pt x="4654471" y="1656863"/>
                  <a:pt x="4654685" y="1659282"/>
                  <a:pt x="4653831" y="1660563"/>
                </a:cubicBezTo>
                <a:cubicBezTo>
                  <a:pt x="4652764" y="1661700"/>
                  <a:pt x="4650629" y="1663123"/>
                  <a:pt x="4650629" y="1663123"/>
                </a:cubicBezTo>
                <a:cubicBezTo>
                  <a:pt x="4649349" y="1661985"/>
                  <a:pt x="4649349" y="1661985"/>
                  <a:pt x="4650416" y="1661985"/>
                </a:cubicBezTo>
                <a:cubicBezTo>
                  <a:pt x="4651270" y="1659424"/>
                  <a:pt x="4651483" y="1660563"/>
                  <a:pt x="4652550" y="1659424"/>
                </a:cubicBezTo>
                <a:cubicBezTo>
                  <a:pt x="4653404" y="1658144"/>
                  <a:pt x="4654898" y="1652169"/>
                  <a:pt x="4653617" y="1651030"/>
                </a:cubicBezTo>
                <a:cubicBezTo>
                  <a:pt x="4654685" y="1650888"/>
                  <a:pt x="4655752" y="1649607"/>
                  <a:pt x="4655752" y="1649607"/>
                </a:cubicBezTo>
                <a:close/>
                <a:moveTo>
                  <a:pt x="1403356" y="1649513"/>
                </a:moveTo>
                <a:cubicBezTo>
                  <a:pt x="1405730" y="1648584"/>
                  <a:pt x="1409035" y="1651217"/>
                  <a:pt x="1410170" y="1652611"/>
                </a:cubicBezTo>
                <a:cubicBezTo>
                  <a:pt x="1410790" y="1654780"/>
                  <a:pt x="1408725" y="1656638"/>
                  <a:pt x="1406453" y="1657567"/>
                </a:cubicBezTo>
                <a:cubicBezTo>
                  <a:pt x="1405627" y="1658032"/>
                  <a:pt x="1404698" y="1658187"/>
                  <a:pt x="1403768" y="1657877"/>
                </a:cubicBezTo>
                <a:cubicBezTo>
                  <a:pt x="1402839" y="1657567"/>
                  <a:pt x="1402013" y="1656948"/>
                  <a:pt x="1401394" y="1656174"/>
                </a:cubicBezTo>
                <a:cubicBezTo>
                  <a:pt x="1401084" y="1655089"/>
                  <a:pt x="1401084" y="1655089"/>
                  <a:pt x="1400774" y="1654005"/>
                </a:cubicBezTo>
                <a:cubicBezTo>
                  <a:pt x="1401600" y="1652456"/>
                  <a:pt x="1401806" y="1650598"/>
                  <a:pt x="1403356" y="1649513"/>
                </a:cubicBezTo>
                <a:close/>
                <a:moveTo>
                  <a:pt x="871173" y="1649513"/>
                </a:moveTo>
                <a:cubicBezTo>
                  <a:pt x="872722" y="1654470"/>
                  <a:pt x="875406" y="1659891"/>
                  <a:pt x="869830" y="1662060"/>
                </a:cubicBezTo>
                <a:cubicBezTo>
                  <a:pt x="865907" y="1661131"/>
                  <a:pt x="864048" y="1658807"/>
                  <a:pt x="863635" y="1656483"/>
                </a:cubicBezTo>
                <a:cubicBezTo>
                  <a:pt x="863222" y="1654005"/>
                  <a:pt x="864255" y="1651372"/>
                  <a:pt x="866217" y="1650133"/>
                </a:cubicBezTo>
                <a:cubicBezTo>
                  <a:pt x="867456" y="1649203"/>
                  <a:pt x="869211" y="1648894"/>
                  <a:pt x="871173" y="1649513"/>
                </a:cubicBezTo>
                <a:close/>
                <a:moveTo>
                  <a:pt x="1664284" y="1648584"/>
                </a:moveTo>
                <a:cubicBezTo>
                  <a:pt x="1665936" y="1649358"/>
                  <a:pt x="1666762" y="1649358"/>
                  <a:pt x="1667588" y="1650287"/>
                </a:cubicBezTo>
                <a:cubicBezTo>
                  <a:pt x="1668001" y="1650752"/>
                  <a:pt x="1668311" y="1651372"/>
                  <a:pt x="1668517" y="1651991"/>
                </a:cubicBezTo>
                <a:lnTo>
                  <a:pt x="1668311" y="1652456"/>
                </a:lnTo>
                <a:lnTo>
                  <a:pt x="1668517" y="1652611"/>
                </a:lnTo>
                <a:cubicBezTo>
                  <a:pt x="1668931" y="1653386"/>
                  <a:pt x="1669240" y="1654160"/>
                  <a:pt x="1668931" y="1654625"/>
                </a:cubicBezTo>
                <a:cubicBezTo>
                  <a:pt x="1668724" y="1656483"/>
                  <a:pt x="1665420" y="1654780"/>
                  <a:pt x="1664594" y="1654934"/>
                </a:cubicBezTo>
                <a:lnTo>
                  <a:pt x="1663664" y="1654315"/>
                </a:lnTo>
                <a:lnTo>
                  <a:pt x="1662735" y="1654315"/>
                </a:lnTo>
                <a:cubicBezTo>
                  <a:pt x="1661909" y="1654315"/>
                  <a:pt x="1662012" y="1653541"/>
                  <a:pt x="1661186" y="1652611"/>
                </a:cubicBezTo>
                <a:cubicBezTo>
                  <a:pt x="1661290" y="1651837"/>
                  <a:pt x="1662322" y="1651062"/>
                  <a:pt x="1662322" y="1651062"/>
                </a:cubicBezTo>
                <a:cubicBezTo>
                  <a:pt x="1663251" y="1650133"/>
                  <a:pt x="1663251" y="1650133"/>
                  <a:pt x="1662529" y="1649358"/>
                </a:cubicBezTo>
                <a:cubicBezTo>
                  <a:pt x="1662529" y="1649358"/>
                  <a:pt x="1663355" y="1649358"/>
                  <a:pt x="1663355" y="1649358"/>
                </a:cubicBezTo>
                <a:cubicBezTo>
                  <a:pt x="1663251" y="1650133"/>
                  <a:pt x="1663355" y="1649358"/>
                  <a:pt x="1664284" y="1648584"/>
                </a:cubicBezTo>
                <a:close/>
                <a:moveTo>
                  <a:pt x="4638038" y="1647616"/>
                </a:moveTo>
                <a:cubicBezTo>
                  <a:pt x="4637825" y="1650034"/>
                  <a:pt x="4635263" y="1663123"/>
                  <a:pt x="4632702" y="1666680"/>
                </a:cubicBezTo>
                <a:cubicBezTo>
                  <a:pt x="4634410" y="1660705"/>
                  <a:pt x="4634196" y="1652311"/>
                  <a:pt x="4638038" y="1647616"/>
                </a:cubicBezTo>
                <a:close/>
                <a:moveTo>
                  <a:pt x="4009517" y="1647616"/>
                </a:moveTo>
                <a:lnTo>
                  <a:pt x="4015279" y="1648043"/>
                </a:lnTo>
                <a:lnTo>
                  <a:pt x="4015492" y="1648185"/>
                </a:lnTo>
                <a:lnTo>
                  <a:pt x="4021255" y="1648470"/>
                </a:lnTo>
                <a:lnTo>
                  <a:pt x="4014212" y="1655868"/>
                </a:lnTo>
                <a:lnTo>
                  <a:pt x="4013999" y="1658713"/>
                </a:lnTo>
                <a:cubicBezTo>
                  <a:pt x="4014426" y="1661274"/>
                  <a:pt x="4013572" y="1661985"/>
                  <a:pt x="4010371" y="1661274"/>
                </a:cubicBezTo>
                <a:lnTo>
                  <a:pt x="4010797" y="1658144"/>
                </a:lnTo>
                <a:lnTo>
                  <a:pt x="3999272" y="1662981"/>
                </a:lnTo>
                <a:cubicBezTo>
                  <a:pt x="3989669" y="1665400"/>
                  <a:pt x="3979851" y="1664404"/>
                  <a:pt x="3977290" y="1656721"/>
                </a:cubicBezTo>
                <a:lnTo>
                  <a:pt x="3984120" y="1656010"/>
                </a:lnTo>
                <a:lnTo>
                  <a:pt x="3987321" y="1653307"/>
                </a:lnTo>
                <a:cubicBezTo>
                  <a:pt x="3990522" y="1651315"/>
                  <a:pt x="3994364" y="1650177"/>
                  <a:pt x="3997352" y="1649607"/>
                </a:cubicBezTo>
                <a:lnTo>
                  <a:pt x="3999272" y="1651172"/>
                </a:lnTo>
                <a:close/>
                <a:moveTo>
                  <a:pt x="1174746" y="1647344"/>
                </a:moveTo>
                <a:cubicBezTo>
                  <a:pt x="1176811" y="1646880"/>
                  <a:pt x="1179599" y="1647034"/>
                  <a:pt x="1182903" y="1648429"/>
                </a:cubicBezTo>
                <a:cubicBezTo>
                  <a:pt x="1185588" y="1651991"/>
                  <a:pt x="1183626" y="1659272"/>
                  <a:pt x="1180116" y="1659736"/>
                </a:cubicBezTo>
                <a:cubicBezTo>
                  <a:pt x="1174230" y="1658497"/>
                  <a:pt x="1171339" y="1655864"/>
                  <a:pt x="1170616" y="1653231"/>
                </a:cubicBezTo>
                <a:cubicBezTo>
                  <a:pt x="1169996" y="1650598"/>
                  <a:pt x="1171545" y="1648119"/>
                  <a:pt x="1174746" y="1647344"/>
                </a:cubicBezTo>
                <a:close/>
                <a:moveTo>
                  <a:pt x="5067865" y="1646905"/>
                </a:moveTo>
                <a:cubicBezTo>
                  <a:pt x="5070426" y="1647047"/>
                  <a:pt x="5071493" y="1649323"/>
                  <a:pt x="5072774" y="1651599"/>
                </a:cubicBezTo>
                <a:cubicBezTo>
                  <a:pt x="5073414" y="1653449"/>
                  <a:pt x="5073201" y="1654871"/>
                  <a:pt x="5072560" y="1655868"/>
                </a:cubicBezTo>
                <a:cubicBezTo>
                  <a:pt x="5071707" y="1656721"/>
                  <a:pt x="5070426" y="1657433"/>
                  <a:pt x="5068719" y="1657859"/>
                </a:cubicBezTo>
                <a:cubicBezTo>
                  <a:pt x="5065517" y="1658713"/>
                  <a:pt x="5064237" y="1656579"/>
                  <a:pt x="5064237" y="1656579"/>
                </a:cubicBezTo>
                <a:cubicBezTo>
                  <a:pt x="5062957" y="1652596"/>
                  <a:pt x="5064024" y="1648897"/>
                  <a:pt x="5067865" y="1646905"/>
                </a:cubicBezTo>
                <a:close/>
                <a:moveTo>
                  <a:pt x="3894910" y="1646905"/>
                </a:moveTo>
                <a:cubicBezTo>
                  <a:pt x="3898752" y="1646193"/>
                  <a:pt x="3902807" y="1651315"/>
                  <a:pt x="3902380" y="1654871"/>
                </a:cubicBezTo>
                <a:cubicBezTo>
                  <a:pt x="3898325" y="1658855"/>
                  <a:pt x="3891709" y="1654871"/>
                  <a:pt x="3891069" y="1649892"/>
                </a:cubicBezTo>
                <a:cubicBezTo>
                  <a:pt x="3892349" y="1648043"/>
                  <a:pt x="3893630" y="1647189"/>
                  <a:pt x="3894910" y="1646905"/>
                </a:cubicBezTo>
                <a:close/>
                <a:moveTo>
                  <a:pt x="1909539" y="1646672"/>
                </a:moveTo>
                <a:cubicBezTo>
                  <a:pt x="1916436" y="1642794"/>
                  <a:pt x="1921779" y="1652030"/>
                  <a:pt x="1926658" y="1661440"/>
                </a:cubicBezTo>
                <a:lnTo>
                  <a:pt x="1931821" y="1670734"/>
                </a:lnTo>
                <a:lnTo>
                  <a:pt x="1933060" y="1669030"/>
                </a:lnTo>
                <a:lnTo>
                  <a:pt x="1932957" y="1672748"/>
                </a:lnTo>
                <a:lnTo>
                  <a:pt x="1933060" y="1672902"/>
                </a:lnTo>
                <a:lnTo>
                  <a:pt x="1932957" y="1673057"/>
                </a:lnTo>
                <a:lnTo>
                  <a:pt x="1932440" y="1687463"/>
                </a:lnTo>
                <a:cubicBezTo>
                  <a:pt x="1931614" y="1693659"/>
                  <a:pt x="1929653" y="1699855"/>
                  <a:pt x="1925109" y="1706050"/>
                </a:cubicBezTo>
                <a:cubicBezTo>
                  <a:pt x="1922528" y="1702952"/>
                  <a:pt x="1921392" y="1699699"/>
                  <a:pt x="1921082" y="1696137"/>
                </a:cubicBezTo>
                <a:cubicBezTo>
                  <a:pt x="1920876" y="1693504"/>
                  <a:pt x="1921186" y="1690870"/>
                  <a:pt x="1921805" y="1688237"/>
                </a:cubicBezTo>
                <a:lnTo>
                  <a:pt x="1923767" y="1683435"/>
                </a:lnTo>
                <a:lnTo>
                  <a:pt x="1918088" y="1686533"/>
                </a:lnTo>
                <a:cubicBezTo>
                  <a:pt x="1907349" y="1678479"/>
                  <a:pt x="1904768" y="1667016"/>
                  <a:pt x="1902083" y="1655399"/>
                </a:cubicBezTo>
                <a:cubicBezTo>
                  <a:pt x="1904768" y="1650713"/>
                  <a:pt x="1907240" y="1647964"/>
                  <a:pt x="1909539" y="1646672"/>
                </a:cubicBezTo>
                <a:close/>
                <a:moveTo>
                  <a:pt x="3669539" y="1646335"/>
                </a:moveTo>
                <a:cubicBezTo>
                  <a:pt x="3670606" y="1646478"/>
                  <a:pt x="3670606" y="1646335"/>
                  <a:pt x="3670606" y="1647616"/>
                </a:cubicBezTo>
                <a:cubicBezTo>
                  <a:pt x="3670820" y="1647474"/>
                  <a:pt x="3670820" y="1647474"/>
                  <a:pt x="3670820" y="1647332"/>
                </a:cubicBezTo>
                <a:lnTo>
                  <a:pt x="3671033" y="1647901"/>
                </a:lnTo>
                <a:lnTo>
                  <a:pt x="3671673" y="1647758"/>
                </a:lnTo>
                <a:cubicBezTo>
                  <a:pt x="3672740" y="1647758"/>
                  <a:pt x="3673594" y="1648043"/>
                  <a:pt x="3674448" y="1648754"/>
                </a:cubicBezTo>
                <a:cubicBezTo>
                  <a:pt x="3675515" y="1648897"/>
                  <a:pt x="3675515" y="1653591"/>
                  <a:pt x="3674234" y="1654587"/>
                </a:cubicBezTo>
                <a:cubicBezTo>
                  <a:pt x="3671887" y="1656579"/>
                  <a:pt x="3670606" y="1657717"/>
                  <a:pt x="3668472" y="1657433"/>
                </a:cubicBezTo>
                <a:cubicBezTo>
                  <a:pt x="3667192" y="1658428"/>
                  <a:pt x="3666124" y="1659424"/>
                  <a:pt x="3664844" y="1659851"/>
                </a:cubicBezTo>
                <a:lnTo>
                  <a:pt x="3662283" y="1659140"/>
                </a:lnTo>
                <a:lnTo>
                  <a:pt x="3663990" y="1659993"/>
                </a:lnTo>
                <a:cubicBezTo>
                  <a:pt x="3664630" y="1660563"/>
                  <a:pt x="3665271" y="1661416"/>
                  <a:pt x="3665057" y="1662270"/>
                </a:cubicBezTo>
                <a:cubicBezTo>
                  <a:pt x="3664204" y="1662839"/>
                  <a:pt x="3664844" y="1663835"/>
                  <a:pt x="3663777" y="1664546"/>
                </a:cubicBezTo>
                <a:cubicBezTo>
                  <a:pt x="3663350" y="1665400"/>
                  <a:pt x="3662923" y="1665827"/>
                  <a:pt x="3662497" y="1666253"/>
                </a:cubicBezTo>
                <a:cubicBezTo>
                  <a:pt x="3664417" y="1664546"/>
                  <a:pt x="3666551" y="1663265"/>
                  <a:pt x="3669112" y="1663123"/>
                </a:cubicBezTo>
                <a:cubicBezTo>
                  <a:pt x="3667832" y="1667392"/>
                  <a:pt x="3666551" y="1671375"/>
                  <a:pt x="3665271" y="1675928"/>
                </a:cubicBezTo>
                <a:lnTo>
                  <a:pt x="3664417" y="1683752"/>
                </a:lnTo>
                <a:lnTo>
                  <a:pt x="3665271" y="1684037"/>
                </a:lnTo>
                <a:lnTo>
                  <a:pt x="3666551" y="1683468"/>
                </a:lnTo>
                <a:lnTo>
                  <a:pt x="3666551" y="1683183"/>
                </a:lnTo>
                <a:cubicBezTo>
                  <a:pt x="3668899" y="1679911"/>
                  <a:pt x="3668045" y="1676354"/>
                  <a:pt x="3670393" y="1673224"/>
                </a:cubicBezTo>
                <a:cubicBezTo>
                  <a:pt x="3670393" y="1673224"/>
                  <a:pt x="3670393" y="1673224"/>
                  <a:pt x="3671673" y="1674505"/>
                </a:cubicBezTo>
                <a:cubicBezTo>
                  <a:pt x="3670393" y="1677208"/>
                  <a:pt x="3670180" y="1680195"/>
                  <a:pt x="3669966" y="1683041"/>
                </a:cubicBezTo>
                <a:lnTo>
                  <a:pt x="3669539" y="1684748"/>
                </a:lnTo>
                <a:lnTo>
                  <a:pt x="3672313" y="1683752"/>
                </a:lnTo>
                <a:cubicBezTo>
                  <a:pt x="3677863" y="1681192"/>
                  <a:pt x="3683625" y="1678488"/>
                  <a:pt x="3690454" y="1679200"/>
                </a:cubicBezTo>
                <a:lnTo>
                  <a:pt x="3696003" y="1680480"/>
                </a:lnTo>
                <a:lnTo>
                  <a:pt x="3694296" y="1674931"/>
                </a:lnTo>
                <a:lnTo>
                  <a:pt x="3693869" y="1673794"/>
                </a:lnTo>
                <a:lnTo>
                  <a:pt x="3690881" y="1673794"/>
                </a:lnTo>
                <a:cubicBezTo>
                  <a:pt x="3690881" y="1673794"/>
                  <a:pt x="3685119" y="1671659"/>
                  <a:pt x="3685972" y="1667392"/>
                </a:cubicBezTo>
                <a:cubicBezTo>
                  <a:pt x="3685759" y="1666822"/>
                  <a:pt x="3686613" y="1665969"/>
                  <a:pt x="3687893" y="1665400"/>
                </a:cubicBezTo>
                <a:lnTo>
                  <a:pt x="3691095" y="1664688"/>
                </a:lnTo>
                <a:lnTo>
                  <a:pt x="3689814" y="1659708"/>
                </a:lnTo>
                <a:lnTo>
                  <a:pt x="3687253" y="1657148"/>
                </a:lnTo>
                <a:lnTo>
                  <a:pt x="3687039" y="1656294"/>
                </a:lnTo>
                <a:lnTo>
                  <a:pt x="3685972" y="1655868"/>
                </a:lnTo>
                <a:cubicBezTo>
                  <a:pt x="3685972" y="1655868"/>
                  <a:pt x="3685759" y="1655868"/>
                  <a:pt x="3685972" y="1654729"/>
                </a:cubicBezTo>
                <a:lnTo>
                  <a:pt x="3687039" y="1655298"/>
                </a:lnTo>
                <a:lnTo>
                  <a:pt x="3686613" y="1654018"/>
                </a:lnTo>
                <a:lnTo>
                  <a:pt x="3685759" y="1654444"/>
                </a:lnTo>
                <a:cubicBezTo>
                  <a:pt x="3685759" y="1654444"/>
                  <a:pt x="3685546" y="1653449"/>
                  <a:pt x="3685972" y="1652026"/>
                </a:cubicBezTo>
                <a:cubicBezTo>
                  <a:pt x="3685972" y="1652026"/>
                  <a:pt x="3686399" y="1652169"/>
                  <a:pt x="3686613" y="1652453"/>
                </a:cubicBezTo>
                <a:lnTo>
                  <a:pt x="3686826" y="1653449"/>
                </a:lnTo>
                <a:lnTo>
                  <a:pt x="3689174" y="1649750"/>
                </a:lnTo>
                <a:cubicBezTo>
                  <a:pt x="3690454" y="1648897"/>
                  <a:pt x="3692162" y="1648327"/>
                  <a:pt x="3694082" y="1648470"/>
                </a:cubicBezTo>
                <a:cubicBezTo>
                  <a:pt x="3696430" y="1648612"/>
                  <a:pt x="3698778" y="1649607"/>
                  <a:pt x="3700912" y="1651742"/>
                </a:cubicBezTo>
                <a:lnTo>
                  <a:pt x="3700912" y="1652311"/>
                </a:lnTo>
                <a:lnTo>
                  <a:pt x="3709235" y="1653876"/>
                </a:lnTo>
                <a:lnTo>
                  <a:pt x="3712009" y="1654871"/>
                </a:lnTo>
                <a:lnTo>
                  <a:pt x="3712650" y="1654444"/>
                </a:lnTo>
                <a:cubicBezTo>
                  <a:pt x="3713930" y="1654161"/>
                  <a:pt x="3715211" y="1654303"/>
                  <a:pt x="3716918" y="1655014"/>
                </a:cubicBezTo>
                <a:lnTo>
                  <a:pt x="3717345" y="1655441"/>
                </a:lnTo>
                <a:lnTo>
                  <a:pt x="3718412" y="1655156"/>
                </a:lnTo>
                <a:cubicBezTo>
                  <a:pt x="3721187" y="1653876"/>
                  <a:pt x="3723961" y="1652880"/>
                  <a:pt x="3727163" y="1653164"/>
                </a:cubicBezTo>
                <a:cubicBezTo>
                  <a:pt x="3726522" y="1654871"/>
                  <a:pt x="3724388" y="1658571"/>
                  <a:pt x="3720333" y="1658002"/>
                </a:cubicBezTo>
                <a:lnTo>
                  <a:pt x="3719906" y="1658002"/>
                </a:lnTo>
                <a:lnTo>
                  <a:pt x="3726522" y="1660563"/>
                </a:lnTo>
                <a:lnTo>
                  <a:pt x="3727589" y="1661274"/>
                </a:lnTo>
                <a:lnTo>
                  <a:pt x="3728443" y="1659140"/>
                </a:lnTo>
                <a:cubicBezTo>
                  <a:pt x="3728016" y="1658002"/>
                  <a:pt x="3728016" y="1658002"/>
                  <a:pt x="3728656" y="1656437"/>
                </a:cubicBezTo>
                <a:cubicBezTo>
                  <a:pt x="3730150" y="1657006"/>
                  <a:pt x="3730150" y="1657006"/>
                  <a:pt x="3730577" y="1658002"/>
                </a:cubicBezTo>
                <a:lnTo>
                  <a:pt x="3728230" y="1661700"/>
                </a:lnTo>
                <a:lnTo>
                  <a:pt x="3730577" y="1662412"/>
                </a:lnTo>
                <a:lnTo>
                  <a:pt x="3730363" y="1663123"/>
                </a:lnTo>
                <a:lnTo>
                  <a:pt x="3731858" y="1664119"/>
                </a:lnTo>
                <a:lnTo>
                  <a:pt x="3741034" y="1660278"/>
                </a:lnTo>
                <a:cubicBezTo>
                  <a:pt x="3743809" y="1658571"/>
                  <a:pt x="3745516" y="1657006"/>
                  <a:pt x="3745516" y="1657006"/>
                </a:cubicBezTo>
                <a:cubicBezTo>
                  <a:pt x="3748077" y="1657006"/>
                  <a:pt x="3748505" y="1658144"/>
                  <a:pt x="3748077" y="1657148"/>
                </a:cubicBezTo>
                <a:cubicBezTo>
                  <a:pt x="3751065" y="1658286"/>
                  <a:pt x="3754907" y="1658713"/>
                  <a:pt x="3754693" y="1661416"/>
                </a:cubicBezTo>
                <a:cubicBezTo>
                  <a:pt x="3752772" y="1668245"/>
                  <a:pt x="3743596" y="1668387"/>
                  <a:pt x="3737834" y="1668245"/>
                </a:cubicBezTo>
                <a:lnTo>
                  <a:pt x="3735913" y="1668245"/>
                </a:lnTo>
                <a:lnTo>
                  <a:pt x="3737620" y="1670521"/>
                </a:lnTo>
                <a:cubicBezTo>
                  <a:pt x="3739327" y="1674363"/>
                  <a:pt x="3738474" y="1678488"/>
                  <a:pt x="3733351" y="1682899"/>
                </a:cubicBezTo>
                <a:lnTo>
                  <a:pt x="3725242" y="1679058"/>
                </a:lnTo>
                <a:lnTo>
                  <a:pt x="3726735" y="1694991"/>
                </a:lnTo>
                <a:cubicBezTo>
                  <a:pt x="3720120" y="1693000"/>
                  <a:pt x="3717345" y="1687309"/>
                  <a:pt x="3716491" y="1680907"/>
                </a:cubicBezTo>
                <a:lnTo>
                  <a:pt x="3716491" y="1676781"/>
                </a:lnTo>
                <a:lnTo>
                  <a:pt x="3712650" y="1674363"/>
                </a:lnTo>
                <a:lnTo>
                  <a:pt x="3712650" y="1674220"/>
                </a:lnTo>
                <a:lnTo>
                  <a:pt x="3709235" y="1673082"/>
                </a:lnTo>
                <a:cubicBezTo>
                  <a:pt x="3705394" y="1671802"/>
                  <a:pt x="3702193" y="1670521"/>
                  <a:pt x="3699631" y="1668956"/>
                </a:cubicBezTo>
                <a:lnTo>
                  <a:pt x="3697070" y="1666538"/>
                </a:lnTo>
                <a:lnTo>
                  <a:pt x="3697710" y="1668387"/>
                </a:lnTo>
                <a:lnTo>
                  <a:pt x="3697924" y="1669241"/>
                </a:lnTo>
                <a:lnTo>
                  <a:pt x="3700272" y="1670379"/>
                </a:lnTo>
                <a:cubicBezTo>
                  <a:pt x="3701338" y="1671233"/>
                  <a:pt x="3701765" y="1672229"/>
                  <a:pt x="3701125" y="1673794"/>
                </a:cubicBezTo>
                <a:lnTo>
                  <a:pt x="3698778" y="1673794"/>
                </a:lnTo>
                <a:lnTo>
                  <a:pt x="3698778" y="1674078"/>
                </a:lnTo>
                <a:cubicBezTo>
                  <a:pt x="3698778" y="1674505"/>
                  <a:pt x="3698564" y="1674931"/>
                  <a:pt x="3698991" y="1675501"/>
                </a:cubicBezTo>
                <a:cubicBezTo>
                  <a:pt x="3698991" y="1675501"/>
                  <a:pt x="3699631" y="1676496"/>
                  <a:pt x="3699418" y="1678061"/>
                </a:cubicBezTo>
                <a:cubicBezTo>
                  <a:pt x="3699205" y="1679769"/>
                  <a:pt x="3698778" y="1681476"/>
                  <a:pt x="3696217" y="1681618"/>
                </a:cubicBezTo>
                <a:lnTo>
                  <a:pt x="3696217" y="1681333"/>
                </a:lnTo>
                <a:lnTo>
                  <a:pt x="3694296" y="1685032"/>
                </a:lnTo>
                <a:cubicBezTo>
                  <a:pt x="3690667" y="1689301"/>
                  <a:pt x="3683838" y="1692858"/>
                  <a:pt x="3676795" y="1694423"/>
                </a:cubicBezTo>
                <a:lnTo>
                  <a:pt x="3667405" y="1694423"/>
                </a:lnTo>
                <a:lnTo>
                  <a:pt x="3671673" y="1697410"/>
                </a:lnTo>
                <a:cubicBezTo>
                  <a:pt x="3675515" y="1700255"/>
                  <a:pt x="3679356" y="1703670"/>
                  <a:pt x="3681277" y="1705092"/>
                </a:cubicBezTo>
                <a:cubicBezTo>
                  <a:pt x="3681064" y="1706373"/>
                  <a:pt x="3681277" y="1706373"/>
                  <a:pt x="3681277" y="1706373"/>
                </a:cubicBezTo>
                <a:cubicBezTo>
                  <a:pt x="3680637" y="1707511"/>
                  <a:pt x="3679570" y="1707654"/>
                  <a:pt x="3678503" y="1707227"/>
                </a:cubicBezTo>
                <a:cubicBezTo>
                  <a:pt x="3677436" y="1706800"/>
                  <a:pt x="3675942" y="1705804"/>
                  <a:pt x="3674234" y="1704381"/>
                </a:cubicBezTo>
                <a:cubicBezTo>
                  <a:pt x="3670606" y="1701536"/>
                  <a:pt x="3667192" y="1696272"/>
                  <a:pt x="3666124" y="1694849"/>
                </a:cubicBezTo>
                <a:lnTo>
                  <a:pt x="3665484" y="1694423"/>
                </a:lnTo>
                <a:lnTo>
                  <a:pt x="3663137" y="1694423"/>
                </a:lnTo>
                <a:lnTo>
                  <a:pt x="3660362" y="1693284"/>
                </a:lnTo>
                <a:lnTo>
                  <a:pt x="3656734" y="1694423"/>
                </a:lnTo>
                <a:lnTo>
                  <a:pt x="3655667" y="1690439"/>
                </a:lnTo>
                <a:lnTo>
                  <a:pt x="3654813" y="1700255"/>
                </a:lnTo>
                <a:cubicBezTo>
                  <a:pt x="3654813" y="1701820"/>
                  <a:pt x="3655026" y="1703243"/>
                  <a:pt x="3655240" y="1704097"/>
                </a:cubicBezTo>
                <a:lnTo>
                  <a:pt x="3655453" y="1705092"/>
                </a:lnTo>
                <a:lnTo>
                  <a:pt x="3655667" y="1705235"/>
                </a:lnTo>
                <a:cubicBezTo>
                  <a:pt x="3657588" y="1707654"/>
                  <a:pt x="3657801" y="1710214"/>
                  <a:pt x="3657161" y="1712633"/>
                </a:cubicBezTo>
                <a:lnTo>
                  <a:pt x="3656307" y="1716474"/>
                </a:lnTo>
                <a:lnTo>
                  <a:pt x="3656521" y="1716332"/>
                </a:lnTo>
                <a:cubicBezTo>
                  <a:pt x="3657161" y="1716047"/>
                  <a:pt x="3658014" y="1716190"/>
                  <a:pt x="3658868" y="1716901"/>
                </a:cubicBezTo>
                <a:cubicBezTo>
                  <a:pt x="3663990" y="1722022"/>
                  <a:pt x="3661642" y="1730274"/>
                  <a:pt x="3660362" y="1734542"/>
                </a:cubicBezTo>
                <a:lnTo>
                  <a:pt x="3659508" y="1736961"/>
                </a:lnTo>
                <a:lnTo>
                  <a:pt x="3660575" y="1737103"/>
                </a:lnTo>
                <a:lnTo>
                  <a:pt x="3659295" y="1738241"/>
                </a:lnTo>
                <a:lnTo>
                  <a:pt x="3659295" y="1738526"/>
                </a:lnTo>
                <a:cubicBezTo>
                  <a:pt x="3658228" y="1738383"/>
                  <a:pt x="3658228" y="1739522"/>
                  <a:pt x="3659295" y="1739664"/>
                </a:cubicBezTo>
                <a:cubicBezTo>
                  <a:pt x="3658014" y="1741229"/>
                  <a:pt x="3657161" y="1742652"/>
                  <a:pt x="3656307" y="1743220"/>
                </a:cubicBezTo>
                <a:cubicBezTo>
                  <a:pt x="3655453" y="1743932"/>
                  <a:pt x="3654386" y="1743790"/>
                  <a:pt x="3653319" y="1742509"/>
                </a:cubicBezTo>
                <a:lnTo>
                  <a:pt x="3652892" y="1741798"/>
                </a:lnTo>
                <a:lnTo>
                  <a:pt x="3646703" y="1743078"/>
                </a:lnTo>
                <a:cubicBezTo>
                  <a:pt x="3644569" y="1739948"/>
                  <a:pt x="3645850" y="1737530"/>
                  <a:pt x="3647983" y="1736107"/>
                </a:cubicBezTo>
                <a:lnTo>
                  <a:pt x="3649051" y="1735823"/>
                </a:lnTo>
                <a:lnTo>
                  <a:pt x="3646063" y="1734969"/>
                </a:lnTo>
                <a:cubicBezTo>
                  <a:pt x="3641795" y="1735253"/>
                  <a:pt x="3636032" y="1738526"/>
                  <a:pt x="3628989" y="1732408"/>
                </a:cubicBezTo>
                <a:cubicBezTo>
                  <a:pt x="3630910" y="1730701"/>
                  <a:pt x="3628776" y="1726717"/>
                  <a:pt x="3628989" y="1723445"/>
                </a:cubicBezTo>
                <a:lnTo>
                  <a:pt x="3630270" y="1721169"/>
                </a:lnTo>
                <a:lnTo>
                  <a:pt x="3628562" y="1722450"/>
                </a:lnTo>
                <a:cubicBezTo>
                  <a:pt x="3627068" y="1722022"/>
                  <a:pt x="3626001" y="1719888"/>
                  <a:pt x="3626001" y="1717185"/>
                </a:cubicBezTo>
                <a:cubicBezTo>
                  <a:pt x="3627709" y="1717612"/>
                  <a:pt x="3629203" y="1715193"/>
                  <a:pt x="3630697" y="1715621"/>
                </a:cubicBezTo>
                <a:cubicBezTo>
                  <a:pt x="3630697" y="1715621"/>
                  <a:pt x="3631337" y="1716190"/>
                  <a:pt x="3632191" y="1716758"/>
                </a:cubicBezTo>
                <a:lnTo>
                  <a:pt x="3633258" y="1717897"/>
                </a:lnTo>
                <a:lnTo>
                  <a:pt x="3635392" y="1715905"/>
                </a:lnTo>
                <a:cubicBezTo>
                  <a:pt x="3639660" y="1712491"/>
                  <a:pt x="3642648" y="1712633"/>
                  <a:pt x="3646276" y="1714340"/>
                </a:cubicBezTo>
                <a:lnTo>
                  <a:pt x="3647983" y="1715193"/>
                </a:lnTo>
                <a:lnTo>
                  <a:pt x="3648197" y="1714767"/>
                </a:lnTo>
                <a:lnTo>
                  <a:pt x="3649264" y="1711352"/>
                </a:lnTo>
                <a:lnTo>
                  <a:pt x="3647130" y="1711779"/>
                </a:lnTo>
                <a:cubicBezTo>
                  <a:pt x="3640514" y="1704950"/>
                  <a:pt x="3650118" y="1693142"/>
                  <a:pt x="3651398" y="1689728"/>
                </a:cubicBezTo>
                <a:cubicBezTo>
                  <a:pt x="3651398" y="1689728"/>
                  <a:pt x="3651185" y="1688589"/>
                  <a:pt x="3652466" y="1687594"/>
                </a:cubicBezTo>
                <a:cubicBezTo>
                  <a:pt x="3652679" y="1687024"/>
                  <a:pt x="3653106" y="1686740"/>
                  <a:pt x="3653319" y="1686882"/>
                </a:cubicBezTo>
                <a:lnTo>
                  <a:pt x="3653959" y="1687309"/>
                </a:lnTo>
                <a:lnTo>
                  <a:pt x="3654813" y="1687167"/>
                </a:lnTo>
                <a:lnTo>
                  <a:pt x="3654600" y="1686597"/>
                </a:lnTo>
                <a:lnTo>
                  <a:pt x="3655240" y="1682330"/>
                </a:lnTo>
                <a:lnTo>
                  <a:pt x="3652892" y="1682045"/>
                </a:lnTo>
                <a:cubicBezTo>
                  <a:pt x="3650971" y="1682187"/>
                  <a:pt x="3649264" y="1682614"/>
                  <a:pt x="3648837" y="1683325"/>
                </a:cubicBezTo>
                <a:cubicBezTo>
                  <a:pt x="3648624" y="1682187"/>
                  <a:pt x="3647130" y="1681618"/>
                  <a:pt x="3647130" y="1681618"/>
                </a:cubicBezTo>
                <a:cubicBezTo>
                  <a:pt x="3647983" y="1680053"/>
                  <a:pt x="3649051" y="1679484"/>
                  <a:pt x="3650118" y="1679058"/>
                </a:cubicBezTo>
                <a:cubicBezTo>
                  <a:pt x="3651398" y="1679769"/>
                  <a:pt x="3651826" y="1680907"/>
                  <a:pt x="3653319" y="1681618"/>
                </a:cubicBezTo>
                <a:lnTo>
                  <a:pt x="3655453" y="1681192"/>
                </a:lnTo>
                <a:lnTo>
                  <a:pt x="3656307" y="1676212"/>
                </a:lnTo>
                <a:cubicBezTo>
                  <a:pt x="3657588" y="1672513"/>
                  <a:pt x="3659508" y="1669099"/>
                  <a:pt x="3661856" y="1666680"/>
                </a:cubicBezTo>
                <a:cubicBezTo>
                  <a:pt x="3661429" y="1666965"/>
                  <a:pt x="3660789" y="1667107"/>
                  <a:pt x="3660149" y="1666965"/>
                </a:cubicBezTo>
                <a:cubicBezTo>
                  <a:pt x="3659082" y="1667676"/>
                  <a:pt x="3658441" y="1666538"/>
                  <a:pt x="3656947" y="1666111"/>
                </a:cubicBezTo>
                <a:lnTo>
                  <a:pt x="3656521" y="1664830"/>
                </a:lnTo>
                <a:lnTo>
                  <a:pt x="3655026" y="1665257"/>
                </a:lnTo>
                <a:cubicBezTo>
                  <a:pt x="3652466" y="1665542"/>
                  <a:pt x="3650118" y="1665542"/>
                  <a:pt x="3649691" y="1664830"/>
                </a:cubicBezTo>
                <a:cubicBezTo>
                  <a:pt x="3650758" y="1664404"/>
                  <a:pt x="3653533" y="1663692"/>
                  <a:pt x="3656093" y="1663123"/>
                </a:cubicBezTo>
                <a:lnTo>
                  <a:pt x="3656521" y="1663123"/>
                </a:lnTo>
                <a:lnTo>
                  <a:pt x="3656521" y="1661985"/>
                </a:lnTo>
                <a:cubicBezTo>
                  <a:pt x="3656307" y="1661700"/>
                  <a:pt x="3655880" y="1661558"/>
                  <a:pt x="3655026" y="1661416"/>
                </a:cubicBezTo>
                <a:cubicBezTo>
                  <a:pt x="3655026" y="1661416"/>
                  <a:pt x="3656093" y="1660847"/>
                  <a:pt x="3656093" y="1660847"/>
                </a:cubicBezTo>
                <a:cubicBezTo>
                  <a:pt x="3656734" y="1661843"/>
                  <a:pt x="3656093" y="1660847"/>
                  <a:pt x="3656307" y="1659140"/>
                </a:cubicBezTo>
                <a:cubicBezTo>
                  <a:pt x="3658868" y="1658998"/>
                  <a:pt x="3659722" y="1658286"/>
                  <a:pt x="3661429" y="1658713"/>
                </a:cubicBezTo>
                <a:lnTo>
                  <a:pt x="3666338" y="1650177"/>
                </a:lnTo>
                <a:lnTo>
                  <a:pt x="3668685" y="1648612"/>
                </a:lnTo>
                <a:close/>
                <a:moveTo>
                  <a:pt x="1362260" y="1645950"/>
                </a:moveTo>
                <a:cubicBezTo>
                  <a:pt x="1371036" y="1650907"/>
                  <a:pt x="1376509" y="1656793"/>
                  <a:pt x="1379090" y="1663609"/>
                </a:cubicBezTo>
                <a:cubicBezTo>
                  <a:pt x="1380020" y="1665932"/>
                  <a:pt x="1380536" y="1668410"/>
                  <a:pt x="1380742" y="1670889"/>
                </a:cubicBezTo>
                <a:cubicBezTo>
                  <a:pt x="1374031" y="1673057"/>
                  <a:pt x="1370417" y="1666552"/>
                  <a:pt x="1366700" y="1662679"/>
                </a:cubicBezTo>
                <a:cubicBezTo>
                  <a:pt x="1363602" y="1667946"/>
                  <a:pt x="1360504" y="1676775"/>
                  <a:pt x="1354412" y="1674452"/>
                </a:cubicBezTo>
                <a:cubicBezTo>
                  <a:pt x="1353793" y="1672902"/>
                  <a:pt x="1353793" y="1671354"/>
                  <a:pt x="1354206" y="1669959"/>
                </a:cubicBezTo>
                <a:cubicBezTo>
                  <a:pt x="1355445" y="1665622"/>
                  <a:pt x="1360298" y="1661595"/>
                  <a:pt x="1362260" y="1656329"/>
                </a:cubicBezTo>
                <a:cubicBezTo>
                  <a:pt x="1362260" y="1652921"/>
                  <a:pt x="1358232" y="1651682"/>
                  <a:pt x="1362260" y="1645950"/>
                </a:cubicBezTo>
                <a:close/>
                <a:moveTo>
                  <a:pt x="5257382" y="1644770"/>
                </a:moveTo>
                <a:cubicBezTo>
                  <a:pt x="5265492" y="1644486"/>
                  <a:pt x="5273602" y="1646905"/>
                  <a:pt x="5279578" y="1652311"/>
                </a:cubicBezTo>
                <a:lnTo>
                  <a:pt x="5280431" y="1653307"/>
                </a:lnTo>
                <a:lnTo>
                  <a:pt x="5279578" y="1651315"/>
                </a:lnTo>
                <a:cubicBezTo>
                  <a:pt x="5279791" y="1649607"/>
                  <a:pt x="5280004" y="1649607"/>
                  <a:pt x="5280858" y="1649039"/>
                </a:cubicBezTo>
                <a:cubicBezTo>
                  <a:pt x="5282139" y="1646762"/>
                  <a:pt x="5282352" y="1645197"/>
                  <a:pt x="5284913" y="1644913"/>
                </a:cubicBezTo>
                <a:cubicBezTo>
                  <a:pt x="5287047" y="1645055"/>
                  <a:pt x="5288115" y="1645767"/>
                  <a:pt x="5288755" y="1647047"/>
                </a:cubicBezTo>
                <a:cubicBezTo>
                  <a:pt x="5289395" y="1648327"/>
                  <a:pt x="5289608" y="1650177"/>
                  <a:pt x="5289822" y="1652311"/>
                </a:cubicBezTo>
                <a:cubicBezTo>
                  <a:pt x="5290035" y="1656721"/>
                  <a:pt x="5286407" y="1657575"/>
                  <a:pt x="5285980" y="1660847"/>
                </a:cubicBezTo>
                <a:lnTo>
                  <a:pt x="5284273" y="1659566"/>
                </a:lnTo>
                <a:lnTo>
                  <a:pt x="5278297" y="1669525"/>
                </a:lnTo>
                <a:cubicBezTo>
                  <a:pt x="5275523" y="1672229"/>
                  <a:pt x="5272321" y="1674220"/>
                  <a:pt x="5268907" y="1675501"/>
                </a:cubicBezTo>
                <a:lnTo>
                  <a:pt x="5262290" y="1676639"/>
                </a:lnTo>
                <a:lnTo>
                  <a:pt x="5266559" y="1679769"/>
                </a:lnTo>
                <a:lnTo>
                  <a:pt x="5270401" y="1684464"/>
                </a:lnTo>
                <a:lnTo>
                  <a:pt x="5274242" y="1680907"/>
                </a:lnTo>
                <a:lnTo>
                  <a:pt x="5281712" y="1676496"/>
                </a:lnTo>
                <a:lnTo>
                  <a:pt x="5281712" y="1676354"/>
                </a:lnTo>
                <a:lnTo>
                  <a:pt x="5281925" y="1676354"/>
                </a:lnTo>
                <a:lnTo>
                  <a:pt x="5283632" y="1675501"/>
                </a:lnTo>
                <a:lnTo>
                  <a:pt x="5283206" y="1676496"/>
                </a:lnTo>
                <a:lnTo>
                  <a:pt x="5290889" y="1677066"/>
                </a:lnTo>
                <a:cubicBezTo>
                  <a:pt x="5299639" y="1680622"/>
                  <a:pt x="5306042" y="1691434"/>
                  <a:pt x="5308603" y="1698264"/>
                </a:cubicBezTo>
                <a:cubicBezTo>
                  <a:pt x="5303908" y="1695703"/>
                  <a:pt x="5298786" y="1693284"/>
                  <a:pt x="5294090" y="1690154"/>
                </a:cubicBezTo>
                <a:cubicBezTo>
                  <a:pt x="5291743" y="1688447"/>
                  <a:pt x="5289608" y="1686597"/>
                  <a:pt x="5287474" y="1684464"/>
                </a:cubicBezTo>
                <a:lnTo>
                  <a:pt x="5282779" y="1678061"/>
                </a:lnTo>
                <a:lnTo>
                  <a:pt x="5280858" y="1685317"/>
                </a:lnTo>
                <a:lnTo>
                  <a:pt x="5275096" y="1692004"/>
                </a:lnTo>
                <a:lnTo>
                  <a:pt x="5277444" y="1696841"/>
                </a:lnTo>
                <a:cubicBezTo>
                  <a:pt x="5275736" y="1700398"/>
                  <a:pt x="5273388" y="1701963"/>
                  <a:pt x="5270614" y="1702105"/>
                </a:cubicBezTo>
                <a:lnTo>
                  <a:pt x="5264212" y="1699828"/>
                </a:lnTo>
                <a:lnTo>
                  <a:pt x="5262077" y="1700967"/>
                </a:lnTo>
                <a:cubicBezTo>
                  <a:pt x="5258662" y="1701963"/>
                  <a:pt x="5255461" y="1701820"/>
                  <a:pt x="5253114" y="1699828"/>
                </a:cubicBezTo>
                <a:lnTo>
                  <a:pt x="5258449" y="1694991"/>
                </a:lnTo>
                <a:lnTo>
                  <a:pt x="5252474" y="1688305"/>
                </a:lnTo>
                <a:lnTo>
                  <a:pt x="5251833" y="1686740"/>
                </a:lnTo>
                <a:lnTo>
                  <a:pt x="5249486" y="1688732"/>
                </a:lnTo>
                <a:cubicBezTo>
                  <a:pt x="5247991" y="1689159"/>
                  <a:pt x="5245858" y="1689301"/>
                  <a:pt x="5243723" y="1688874"/>
                </a:cubicBezTo>
                <a:cubicBezTo>
                  <a:pt x="5242229" y="1685032"/>
                  <a:pt x="5239882" y="1680053"/>
                  <a:pt x="5239241" y="1674931"/>
                </a:cubicBezTo>
                <a:lnTo>
                  <a:pt x="5239455" y="1670237"/>
                </a:lnTo>
                <a:lnTo>
                  <a:pt x="5232625" y="1664119"/>
                </a:lnTo>
                <a:cubicBezTo>
                  <a:pt x="5233265" y="1662555"/>
                  <a:pt x="5234120" y="1661132"/>
                  <a:pt x="5232625" y="1660278"/>
                </a:cubicBezTo>
                <a:cubicBezTo>
                  <a:pt x="5236467" y="1650461"/>
                  <a:pt x="5246711" y="1645197"/>
                  <a:pt x="5257382" y="1644770"/>
                </a:cubicBezTo>
                <a:close/>
                <a:moveTo>
                  <a:pt x="5220247" y="1644628"/>
                </a:moveTo>
                <a:cubicBezTo>
                  <a:pt x="5219820" y="1648043"/>
                  <a:pt x="5222168" y="1649039"/>
                  <a:pt x="5221741" y="1652453"/>
                </a:cubicBezTo>
                <a:cubicBezTo>
                  <a:pt x="5218540" y="1652311"/>
                  <a:pt x="5215978" y="1653022"/>
                  <a:pt x="5214485" y="1653022"/>
                </a:cubicBezTo>
                <a:cubicBezTo>
                  <a:pt x="5213418" y="1647758"/>
                  <a:pt x="5215338" y="1644344"/>
                  <a:pt x="5220247" y="1644628"/>
                </a:cubicBezTo>
                <a:close/>
                <a:moveTo>
                  <a:pt x="5599921" y="1643490"/>
                </a:moveTo>
                <a:cubicBezTo>
                  <a:pt x="5604189" y="1648327"/>
                  <a:pt x="5605896" y="1655014"/>
                  <a:pt x="5605896" y="1661132"/>
                </a:cubicBezTo>
                <a:lnTo>
                  <a:pt x="5605256" y="1666822"/>
                </a:lnTo>
                <a:lnTo>
                  <a:pt x="5609311" y="1668102"/>
                </a:lnTo>
                <a:cubicBezTo>
                  <a:pt x="5612086" y="1669383"/>
                  <a:pt x="5614647" y="1670948"/>
                  <a:pt x="5616994" y="1672229"/>
                </a:cubicBezTo>
                <a:cubicBezTo>
                  <a:pt x="5612512" y="1674363"/>
                  <a:pt x="5607817" y="1671802"/>
                  <a:pt x="5603762" y="1679911"/>
                </a:cubicBezTo>
                <a:lnTo>
                  <a:pt x="5601628" y="1674931"/>
                </a:lnTo>
                <a:lnTo>
                  <a:pt x="5601415" y="1675643"/>
                </a:lnTo>
                <a:cubicBezTo>
                  <a:pt x="5592878" y="1665969"/>
                  <a:pt x="5596079" y="1650461"/>
                  <a:pt x="5599921" y="1643490"/>
                </a:cubicBezTo>
                <a:close/>
                <a:moveTo>
                  <a:pt x="1463038" y="1642543"/>
                </a:moveTo>
                <a:cubicBezTo>
                  <a:pt x="1465412" y="1642853"/>
                  <a:pt x="1467994" y="1643163"/>
                  <a:pt x="1470369" y="1643317"/>
                </a:cubicBezTo>
                <a:cubicBezTo>
                  <a:pt x="1474086" y="1646105"/>
                  <a:pt x="1474809" y="1650598"/>
                  <a:pt x="1472847" y="1653541"/>
                </a:cubicBezTo>
                <a:cubicBezTo>
                  <a:pt x="1472124" y="1654470"/>
                  <a:pt x="1471092" y="1655244"/>
                  <a:pt x="1469853" y="1655864"/>
                </a:cubicBezTo>
                <a:lnTo>
                  <a:pt x="1464587" y="1656019"/>
                </a:lnTo>
                <a:lnTo>
                  <a:pt x="1464690" y="1656174"/>
                </a:lnTo>
                <a:cubicBezTo>
                  <a:pt x="1464587" y="1656483"/>
                  <a:pt x="1464380" y="1656793"/>
                  <a:pt x="1463864" y="1657103"/>
                </a:cubicBezTo>
                <a:cubicBezTo>
                  <a:pt x="1462831" y="1657877"/>
                  <a:pt x="1460250" y="1656948"/>
                  <a:pt x="1459217" y="1657723"/>
                </a:cubicBezTo>
                <a:cubicBezTo>
                  <a:pt x="1459217" y="1657723"/>
                  <a:pt x="1459217" y="1657723"/>
                  <a:pt x="1458598" y="1655864"/>
                </a:cubicBezTo>
                <a:cubicBezTo>
                  <a:pt x="1458701" y="1655089"/>
                  <a:pt x="1458907" y="1654160"/>
                  <a:pt x="1459940" y="1653386"/>
                </a:cubicBezTo>
                <a:lnTo>
                  <a:pt x="1460766" y="1653231"/>
                </a:lnTo>
                <a:lnTo>
                  <a:pt x="1460043" y="1649203"/>
                </a:lnTo>
                <a:cubicBezTo>
                  <a:pt x="1460146" y="1646260"/>
                  <a:pt x="1461076" y="1643472"/>
                  <a:pt x="1463038" y="1642543"/>
                </a:cubicBezTo>
                <a:close/>
                <a:moveTo>
                  <a:pt x="3525267" y="1642494"/>
                </a:moveTo>
                <a:lnTo>
                  <a:pt x="3524414" y="1644913"/>
                </a:lnTo>
                <a:lnTo>
                  <a:pt x="3527828" y="1647189"/>
                </a:lnTo>
                <a:lnTo>
                  <a:pt x="3526334" y="1644913"/>
                </a:lnTo>
                <a:close/>
                <a:moveTo>
                  <a:pt x="789394" y="1642078"/>
                </a:moveTo>
                <a:cubicBezTo>
                  <a:pt x="789807" y="1642078"/>
                  <a:pt x="790220" y="1642078"/>
                  <a:pt x="790220" y="1642078"/>
                </a:cubicBezTo>
                <a:cubicBezTo>
                  <a:pt x="791975" y="1643163"/>
                  <a:pt x="791150" y="1645486"/>
                  <a:pt x="791046" y="1647190"/>
                </a:cubicBezTo>
                <a:cubicBezTo>
                  <a:pt x="792802" y="1648119"/>
                  <a:pt x="789291" y="1650287"/>
                  <a:pt x="791046" y="1651217"/>
                </a:cubicBezTo>
                <a:cubicBezTo>
                  <a:pt x="787432" y="1654160"/>
                  <a:pt x="791769" y="1658807"/>
                  <a:pt x="787226" y="1664228"/>
                </a:cubicBezTo>
                <a:cubicBezTo>
                  <a:pt x="786606" y="1662060"/>
                  <a:pt x="786400" y="1660046"/>
                  <a:pt x="786400" y="1658342"/>
                </a:cubicBezTo>
                <a:cubicBezTo>
                  <a:pt x="786296" y="1652921"/>
                  <a:pt x="787949" y="1648894"/>
                  <a:pt x="786709" y="1645021"/>
                </a:cubicBezTo>
                <a:cubicBezTo>
                  <a:pt x="786709" y="1645021"/>
                  <a:pt x="786709" y="1645021"/>
                  <a:pt x="788465" y="1643627"/>
                </a:cubicBezTo>
                <a:cubicBezTo>
                  <a:pt x="788465" y="1642698"/>
                  <a:pt x="788465" y="1642698"/>
                  <a:pt x="788465" y="1642698"/>
                </a:cubicBezTo>
                <a:cubicBezTo>
                  <a:pt x="788465" y="1642388"/>
                  <a:pt x="788981" y="1642078"/>
                  <a:pt x="789394" y="1642078"/>
                </a:cubicBezTo>
                <a:close/>
                <a:moveTo>
                  <a:pt x="3465510" y="1641783"/>
                </a:moveTo>
                <a:cubicBezTo>
                  <a:pt x="3463589" y="1641498"/>
                  <a:pt x="3461455" y="1642210"/>
                  <a:pt x="3459534" y="1644628"/>
                </a:cubicBezTo>
                <a:cubicBezTo>
                  <a:pt x="3459321" y="1647901"/>
                  <a:pt x="3459534" y="1649892"/>
                  <a:pt x="3459961" y="1650888"/>
                </a:cubicBezTo>
                <a:lnTo>
                  <a:pt x="3461028" y="1651457"/>
                </a:lnTo>
                <a:lnTo>
                  <a:pt x="3465936" y="1641783"/>
                </a:lnTo>
                <a:close/>
                <a:moveTo>
                  <a:pt x="1691750" y="1641304"/>
                </a:moveTo>
                <a:cubicBezTo>
                  <a:pt x="1691337" y="1642233"/>
                  <a:pt x="1691337" y="1642233"/>
                  <a:pt x="1692473" y="1642853"/>
                </a:cubicBezTo>
                <a:cubicBezTo>
                  <a:pt x="1692473" y="1642853"/>
                  <a:pt x="1692370" y="1642853"/>
                  <a:pt x="1693196" y="1642543"/>
                </a:cubicBezTo>
                <a:cubicBezTo>
                  <a:pt x="1693505" y="1643317"/>
                  <a:pt x="1692679" y="1643472"/>
                  <a:pt x="1692989" y="1644247"/>
                </a:cubicBezTo>
                <a:cubicBezTo>
                  <a:pt x="1692989" y="1644247"/>
                  <a:pt x="1692266" y="1644556"/>
                  <a:pt x="1692266" y="1644556"/>
                </a:cubicBezTo>
                <a:cubicBezTo>
                  <a:pt x="1692370" y="1644866"/>
                  <a:pt x="1692370" y="1644866"/>
                  <a:pt x="1692060" y="1644866"/>
                </a:cubicBezTo>
                <a:cubicBezTo>
                  <a:pt x="1691853" y="1644711"/>
                  <a:pt x="1691337" y="1644401"/>
                  <a:pt x="1690408" y="1644247"/>
                </a:cubicBezTo>
                <a:cubicBezTo>
                  <a:pt x="1689272" y="1643782"/>
                  <a:pt x="1688446" y="1643937"/>
                  <a:pt x="1688963" y="1643008"/>
                </a:cubicBezTo>
                <a:cubicBezTo>
                  <a:pt x="1689169" y="1642543"/>
                  <a:pt x="1689272" y="1642233"/>
                  <a:pt x="1689685" y="1642078"/>
                </a:cubicBezTo>
                <a:cubicBezTo>
                  <a:pt x="1689995" y="1641768"/>
                  <a:pt x="1690614" y="1641613"/>
                  <a:pt x="1691750" y="1641304"/>
                </a:cubicBezTo>
                <a:close/>
                <a:moveTo>
                  <a:pt x="1227510" y="1641149"/>
                </a:moveTo>
                <a:cubicBezTo>
                  <a:pt x="1224722" y="1646725"/>
                  <a:pt x="1225548" y="1651991"/>
                  <a:pt x="1226065" y="1657258"/>
                </a:cubicBezTo>
                <a:lnTo>
                  <a:pt x="1226065" y="1657567"/>
                </a:lnTo>
                <a:lnTo>
                  <a:pt x="1228027" y="1656483"/>
                </a:lnTo>
                <a:cubicBezTo>
                  <a:pt x="1229059" y="1656638"/>
                  <a:pt x="1230092" y="1657413"/>
                  <a:pt x="1231227" y="1658342"/>
                </a:cubicBezTo>
                <a:cubicBezTo>
                  <a:pt x="1233602" y="1660201"/>
                  <a:pt x="1232363" y="1662679"/>
                  <a:pt x="1233809" y="1664538"/>
                </a:cubicBezTo>
                <a:cubicBezTo>
                  <a:pt x="1232879" y="1664848"/>
                  <a:pt x="1231744" y="1665312"/>
                  <a:pt x="1230298" y="1665467"/>
                </a:cubicBezTo>
                <a:lnTo>
                  <a:pt x="1228233" y="1664693"/>
                </a:lnTo>
                <a:lnTo>
                  <a:pt x="1227923" y="1665932"/>
                </a:lnTo>
                <a:lnTo>
                  <a:pt x="1224722" y="1668255"/>
                </a:lnTo>
                <a:lnTo>
                  <a:pt x="1222554" y="1673212"/>
                </a:lnTo>
                <a:lnTo>
                  <a:pt x="1219663" y="1668410"/>
                </a:lnTo>
                <a:lnTo>
                  <a:pt x="1217907" y="1668255"/>
                </a:lnTo>
                <a:cubicBezTo>
                  <a:pt x="1217598" y="1666552"/>
                  <a:pt x="1217598" y="1665002"/>
                  <a:pt x="1217701" y="1663764"/>
                </a:cubicBezTo>
                <a:lnTo>
                  <a:pt x="1218114" y="1661131"/>
                </a:lnTo>
                <a:lnTo>
                  <a:pt x="1217701" y="1656329"/>
                </a:lnTo>
                <a:cubicBezTo>
                  <a:pt x="1218321" y="1649203"/>
                  <a:pt x="1221521" y="1642233"/>
                  <a:pt x="1227510" y="1641149"/>
                </a:cubicBezTo>
                <a:close/>
                <a:moveTo>
                  <a:pt x="1278622" y="1640684"/>
                </a:moveTo>
                <a:lnTo>
                  <a:pt x="1278312" y="1641459"/>
                </a:lnTo>
                <a:lnTo>
                  <a:pt x="1279138" y="1641459"/>
                </a:lnTo>
                <a:cubicBezTo>
                  <a:pt x="1280584" y="1641459"/>
                  <a:pt x="1281720" y="1642078"/>
                  <a:pt x="1282442" y="1643782"/>
                </a:cubicBezTo>
                <a:cubicBezTo>
                  <a:pt x="1281513" y="1645641"/>
                  <a:pt x="1279758" y="1646570"/>
                  <a:pt x="1278106" y="1646415"/>
                </a:cubicBezTo>
                <a:lnTo>
                  <a:pt x="1277176" y="1645331"/>
                </a:lnTo>
                <a:lnTo>
                  <a:pt x="1276763" y="1646725"/>
                </a:lnTo>
                <a:lnTo>
                  <a:pt x="1274079" y="1649978"/>
                </a:lnTo>
                <a:lnTo>
                  <a:pt x="1279138" y="1650287"/>
                </a:lnTo>
                <a:cubicBezTo>
                  <a:pt x="1282546" y="1652611"/>
                  <a:pt x="1279758" y="1659736"/>
                  <a:pt x="1279551" y="1664073"/>
                </a:cubicBezTo>
                <a:cubicBezTo>
                  <a:pt x="1275834" y="1664848"/>
                  <a:pt x="1274595" y="1664848"/>
                  <a:pt x="1270878" y="1663299"/>
                </a:cubicBezTo>
                <a:cubicBezTo>
                  <a:pt x="1270155" y="1660511"/>
                  <a:pt x="1270258" y="1658187"/>
                  <a:pt x="1270878" y="1656019"/>
                </a:cubicBezTo>
                <a:lnTo>
                  <a:pt x="1272736" y="1651682"/>
                </a:lnTo>
                <a:lnTo>
                  <a:pt x="1272530" y="1651837"/>
                </a:lnTo>
                <a:cubicBezTo>
                  <a:pt x="1269226" y="1654934"/>
                  <a:pt x="1265199" y="1657103"/>
                  <a:pt x="1262307" y="1658032"/>
                </a:cubicBezTo>
                <a:cubicBezTo>
                  <a:pt x="1262617" y="1649358"/>
                  <a:pt x="1272324" y="1640994"/>
                  <a:pt x="1278622" y="1640684"/>
                </a:cubicBezTo>
                <a:close/>
                <a:moveTo>
                  <a:pt x="4824353" y="1640645"/>
                </a:moveTo>
                <a:lnTo>
                  <a:pt x="4826060" y="1642779"/>
                </a:lnTo>
                <a:lnTo>
                  <a:pt x="4826701" y="1642494"/>
                </a:lnTo>
                <a:lnTo>
                  <a:pt x="4825207" y="1640787"/>
                </a:lnTo>
                <a:close/>
                <a:moveTo>
                  <a:pt x="5813127" y="1640360"/>
                </a:moveTo>
                <a:cubicBezTo>
                  <a:pt x="5817609" y="1641213"/>
                  <a:pt x="5821237" y="1645340"/>
                  <a:pt x="5823158" y="1647901"/>
                </a:cubicBezTo>
                <a:lnTo>
                  <a:pt x="5823798" y="1648470"/>
                </a:lnTo>
                <a:lnTo>
                  <a:pt x="5825292" y="1649181"/>
                </a:lnTo>
                <a:lnTo>
                  <a:pt x="5825506" y="1648754"/>
                </a:lnTo>
                <a:lnTo>
                  <a:pt x="5825506" y="1649181"/>
                </a:lnTo>
                <a:lnTo>
                  <a:pt x="5828280" y="1650319"/>
                </a:lnTo>
                <a:lnTo>
                  <a:pt x="5827213" y="1652311"/>
                </a:lnTo>
                <a:lnTo>
                  <a:pt x="5828494" y="1655868"/>
                </a:lnTo>
                <a:cubicBezTo>
                  <a:pt x="5828494" y="1657006"/>
                  <a:pt x="5828066" y="1657859"/>
                  <a:pt x="5826359" y="1658286"/>
                </a:cubicBezTo>
                <a:cubicBezTo>
                  <a:pt x="5824011" y="1659851"/>
                  <a:pt x="5822731" y="1657433"/>
                  <a:pt x="5819530" y="1658428"/>
                </a:cubicBezTo>
                <a:cubicBezTo>
                  <a:pt x="5816755" y="1659566"/>
                  <a:pt x="5816328" y="1662981"/>
                  <a:pt x="5815261" y="1666680"/>
                </a:cubicBezTo>
                <a:lnTo>
                  <a:pt x="5813127" y="1670806"/>
                </a:lnTo>
                <a:lnTo>
                  <a:pt x="5814408" y="1669668"/>
                </a:lnTo>
                <a:cubicBezTo>
                  <a:pt x="5819316" y="1666680"/>
                  <a:pt x="5827213" y="1665400"/>
                  <a:pt x="5831481" y="1671233"/>
                </a:cubicBezTo>
                <a:cubicBezTo>
                  <a:pt x="5827213" y="1675643"/>
                  <a:pt x="5823585" y="1676781"/>
                  <a:pt x="5820383" y="1676496"/>
                </a:cubicBezTo>
                <a:lnTo>
                  <a:pt x="5811206" y="1673082"/>
                </a:lnTo>
                <a:lnTo>
                  <a:pt x="5806511" y="1676639"/>
                </a:lnTo>
                <a:cubicBezTo>
                  <a:pt x="5806084" y="1673366"/>
                  <a:pt x="5798614" y="1674647"/>
                  <a:pt x="5797761" y="1669668"/>
                </a:cubicBezTo>
                <a:cubicBezTo>
                  <a:pt x="5793919" y="1655298"/>
                  <a:pt x="5797761" y="1653307"/>
                  <a:pt x="5805231" y="1647758"/>
                </a:cubicBezTo>
                <a:cubicBezTo>
                  <a:pt x="5804590" y="1648754"/>
                  <a:pt x="5806084" y="1648327"/>
                  <a:pt x="5806084" y="1648327"/>
                </a:cubicBezTo>
                <a:cubicBezTo>
                  <a:pt x="5809499" y="1647474"/>
                  <a:pt x="5804590" y="1642779"/>
                  <a:pt x="5808432" y="1640787"/>
                </a:cubicBezTo>
                <a:cubicBezTo>
                  <a:pt x="5810139" y="1640218"/>
                  <a:pt x="5811633" y="1640076"/>
                  <a:pt x="5813127" y="1640360"/>
                </a:cubicBezTo>
                <a:close/>
                <a:moveTo>
                  <a:pt x="1198702" y="1640219"/>
                </a:moveTo>
                <a:cubicBezTo>
                  <a:pt x="1200044" y="1639755"/>
                  <a:pt x="1201076" y="1639909"/>
                  <a:pt x="1201799" y="1640374"/>
                </a:cubicBezTo>
                <a:cubicBezTo>
                  <a:pt x="1202419" y="1640994"/>
                  <a:pt x="1202935" y="1641923"/>
                  <a:pt x="1203245" y="1643163"/>
                </a:cubicBezTo>
                <a:cubicBezTo>
                  <a:pt x="1203865" y="1645486"/>
                  <a:pt x="1202316" y="1646415"/>
                  <a:pt x="1202316" y="1646415"/>
                </a:cubicBezTo>
                <a:cubicBezTo>
                  <a:pt x="1199425" y="1647344"/>
                  <a:pt x="1196740" y="1646570"/>
                  <a:pt x="1195294" y="1643782"/>
                </a:cubicBezTo>
                <a:cubicBezTo>
                  <a:pt x="1195397" y="1641923"/>
                  <a:pt x="1197050" y="1641149"/>
                  <a:pt x="1198702" y="1640219"/>
                </a:cubicBezTo>
                <a:close/>
                <a:moveTo>
                  <a:pt x="5558944" y="1640218"/>
                </a:moveTo>
                <a:cubicBezTo>
                  <a:pt x="5565133" y="1646335"/>
                  <a:pt x="5554676" y="1659140"/>
                  <a:pt x="5553182" y="1662697"/>
                </a:cubicBezTo>
                <a:cubicBezTo>
                  <a:pt x="5553182" y="1662697"/>
                  <a:pt x="5552969" y="1663835"/>
                  <a:pt x="5551688" y="1664973"/>
                </a:cubicBezTo>
                <a:cubicBezTo>
                  <a:pt x="5550407" y="1667392"/>
                  <a:pt x="5549554" y="1663835"/>
                  <a:pt x="5548273" y="1664973"/>
                </a:cubicBezTo>
                <a:cubicBezTo>
                  <a:pt x="5551688" y="1655583"/>
                  <a:pt x="5550194" y="1647189"/>
                  <a:pt x="5550194" y="1647189"/>
                </a:cubicBezTo>
                <a:cubicBezTo>
                  <a:pt x="5551474" y="1644770"/>
                  <a:pt x="5552541" y="1644913"/>
                  <a:pt x="5551474" y="1644913"/>
                </a:cubicBezTo>
                <a:cubicBezTo>
                  <a:pt x="5554036" y="1642494"/>
                  <a:pt x="5556597" y="1639080"/>
                  <a:pt x="5558944" y="1640218"/>
                </a:cubicBezTo>
                <a:close/>
                <a:moveTo>
                  <a:pt x="1031220" y="1640065"/>
                </a:moveTo>
                <a:lnTo>
                  <a:pt x="1032562" y="1641768"/>
                </a:lnTo>
                <a:lnTo>
                  <a:pt x="1033285" y="1641613"/>
                </a:lnTo>
                <a:lnTo>
                  <a:pt x="1036073" y="1641768"/>
                </a:lnTo>
                <a:lnTo>
                  <a:pt x="1036280" y="1641459"/>
                </a:lnTo>
                <a:cubicBezTo>
                  <a:pt x="1036280" y="1641459"/>
                  <a:pt x="1040823" y="1638051"/>
                  <a:pt x="1044953" y="1641149"/>
                </a:cubicBezTo>
                <a:cubicBezTo>
                  <a:pt x="1044024" y="1642078"/>
                  <a:pt x="1049084" y="1646880"/>
                  <a:pt x="1047122" y="1650287"/>
                </a:cubicBezTo>
                <a:cubicBezTo>
                  <a:pt x="1046192" y="1652146"/>
                  <a:pt x="1045366" y="1652921"/>
                  <a:pt x="1044333" y="1654625"/>
                </a:cubicBezTo>
                <a:lnTo>
                  <a:pt x="1041959" y="1655244"/>
                </a:lnTo>
                <a:lnTo>
                  <a:pt x="1040100" y="1660046"/>
                </a:lnTo>
                <a:cubicBezTo>
                  <a:pt x="1039274" y="1660976"/>
                  <a:pt x="1035970" y="1663144"/>
                  <a:pt x="1035040" y="1662369"/>
                </a:cubicBezTo>
                <a:cubicBezTo>
                  <a:pt x="1034111" y="1661750"/>
                  <a:pt x="1034008" y="1660976"/>
                  <a:pt x="1034008" y="1660046"/>
                </a:cubicBezTo>
                <a:lnTo>
                  <a:pt x="1036176" y="1655244"/>
                </a:lnTo>
                <a:lnTo>
                  <a:pt x="1034008" y="1654315"/>
                </a:lnTo>
                <a:cubicBezTo>
                  <a:pt x="1032769" y="1653231"/>
                  <a:pt x="1032046" y="1652301"/>
                  <a:pt x="1031840" y="1651217"/>
                </a:cubicBezTo>
                <a:lnTo>
                  <a:pt x="1031840" y="1649978"/>
                </a:lnTo>
                <a:lnTo>
                  <a:pt x="1030807" y="1650287"/>
                </a:lnTo>
                <a:lnTo>
                  <a:pt x="1029465" y="1647654"/>
                </a:lnTo>
                <a:lnTo>
                  <a:pt x="1027916" y="1646725"/>
                </a:lnTo>
                <a:cubicBezTo>
                  <a:pt x="1027606" y="1645331"/>
                  <a:pt x="1027296" y="1644556"/>
                  <a:pt x="1027503" y="1643937"/>
                </a:cubicBezTo>
                <a:cubicBezTo>
                  <a:pt x="1027710" y="1643317"/>
                  <a:pt x="1028329" y="1643008"/>
                  <a:pt x="1029671" y="1642543"/>
                </a:cubicBezTo>
                <a:lnTo>
                  <a:pt x="1030084" y="1642543"/>
                </a:lnTo>
                <a:lnTo>
                  <a:pt x="1029465" y="1640994"/>
                </a:lnTo>
                <a:cubicBezTo>
                  <a:pt x="1030291" y="1640994"/>
                  <a:pt x="1031220" y="1640994"/>
                  <a:pt x="1031220" y="1640065"/>
                </a:cubicBezTo>
                <a:close/>
                <a:moveTo>
                  <a:pt x="1236803" y="1639290"/>
                </a:moveTo>
                <a:cubicBezTo>
                  <a:pt x="1238145" y="1641149"/>
                  <a:pt x="1238662" y="1642853"/>
                  <a:pt x="1239901" y="1644711"/>
                </a:cubicBezTo>
                <a:cubicBezTo>
                  <a:pt x="1237526" y="1647654"/>
                  <a:pt x="1235255" y="1645796"/>
                  <a:pt x="1233086" y="1643782"/>
                </a:cubicBezTo>
                <a:cubicBezTo>
                  <a:pt x="1234325" y="1642233"/>
                  <a:pt x="1233912" y="1640529"/>
                  <a:pt x="1236803" y="1639290"/>
                </a:cubicBezTo>
                <a:close/>
                <a:moveTo>
                  <a:pt x="4804719" y="1638938"/>
                </a:moveTo>
                <a:cubicBezTo>
                  <a:pt x="4807706" y="1637941"/>
                  <a:pt x="4809414" y="1640218"/>
                  <a:pt x="4809414" y="1640218"/>
                </a:cubicBezTo>
                <a:cubicBezTo>
                  <a:pt x="4811548" y="1644060"/>
                  <a:pt x="4811121" y="1647901"/>
                  <a:pt x="4807493" y="1649892"/>
                </a:cubicBezTo>
                <a:cubicBezTo>
                  <a:pt x="4804932" y="1649750"/>
                  <a:pt x="4803438" y="1647616"/>
                  <a:pt x="4801731" y="1645340"/>
                </a:cubicBezTo>
                <a:cubicBezTo>
                  <a:pt x="4800664" y="1643348"/>
                  <a:pt x="4800664" y="1641925"/>
                  <a:pt x="4801304" y="1640930"/>
                </a:cubicBezTo>
                <a:cubicBezTo>
                  <a:pt x="4801944" y="1639933"/>
                  <a:pt x="4803225" y="1639365"/>
                  <a:pt x="4804719" y="1638938"/>
                </a:cubicBezTo>
                <a:close/>
                <a:moveTo>
                  <a:pt x="5153233" y="1638795"/>
                </a:moveTo>
                <a:cubicBezTo>
                  <a:pt x="5153233" y="1640076"/>
                  <a:pt x="5153447" y="1642352"/>
                  <a:pt x="5155794" y="1643775"/>
                </a:cubicBezTo>
                <a:cubicBezTo>
                  <a:pt x="5153447" y="1646051"/>
                  <a:pt x="5151312" y="1648185"/>
                  <a:pt x="5148965" y="1645767"/>
                </a:cubicBezTo>
                <a:cubicBezTo>
                  <a:pt x="5147684" y="1644486"/>
                  <a:pt x="5146404" y="1643205"/>
                  <a:pt x="5146404" y="1640930"/>
                </a:cubicBezTo>
                <a:cubicBezTo>
                  <a:pt x="5148538" y="1638511"/>
                  <a:pt x="5152166" y="1639933"/>
                  <a:pt x="5153233" y="1638795"/>
                </a:cubicBezTo>
                <a:close/>
                <a:moveTo>
                  <a:pt x="5005760" y="1638226"/>
                </a:moveTo>
                <a:cubicBezTo>
                  <a:pt x="5010455" y="1643348"/>
                  <a:pt x="5010669" y="1648043"/>
                  <a:pt x="5008748" y="1654018"/>
                </a:cubicBezTo>
                <a:cubicBezTo>
                  <a:pt x="5006400" y="1653876"/>
                  <a:pt x="5002986" y="1650177"/>
                  <a:pt x="5000638" y="1647616"/>
                </a:cubicBezTo>
                <a:cubicBezTo>
                  <a:pt x="5000425" y="1644060"/>
                  <a:pt x="5002559" y="1640503"/>
                  <a:pt x="5005760" y="1638226"/>
                </a:cubicBezTo>
                <a:close/>
                <a:moveTo>
                  <a:pt x="3833019" y="1638084"/>
                </a:moveTo>
                <a:cubicBezTo>
                  <a:pt x="3834513" y="1637657"/>
                  <a:pt x="3836007" y="1637799"/>
                  <a:pt x="3837500" y="1638368"/>
                </a:cubicBezTo>
                <a:cubicBezTo>
                  <a:pt x="3838781" y="1638368"/>
                  <a:pt x="3839848" y="1639222"/>
                  <a:pt x="3840488" y="1640360"/>
                </a:cubicBezTo>
                <a:cubicBezTo>
                  <a:pt x="3840915" y="1641498"/>
                  <a:pt x="3841128" y="1642921"/>
                  <a:pt x="3841128" y="1644202"/>
                </a:cubicBezTo>
                <a:lnTo>
                  <a:pt x="3840915" y="1644486"/>
                </a:lnTo>
                <a:lnTo>
                  <a:pt x="3852866" y="1650746"/>
                </a:lnTo>
                <a:cubicBezTo>
                  <a:pt x="3860336" y="1655441"/>
                  <a:pt x="3867593" y="1661274"/>
                  <a:pt x="3873141" y="1668387"/>
                </a:cubicBezTo>
                <a:lnTo>
                  <a:pt x="3879117" y="1677635"/>
                </a:lnTo>
                <a:lnTo>
                  <a:pt x="3894697" y="1674220"/>
                </a:lnTo>
                <a:cubicBezTo>
                  <a:pt x="3900459" y="1674078"/>
                  <a:pt x="3906648" y="1675216"/>
                  <a:pt x="3913691" y="1678346"/>
                </a:cubicBezTo>
                <a:cubicBezTo>
                  <a:pt x="3916679" y="1686029"/>
                  <a:pt x="3912411" y="1690439"/>
                  <a:pt x="3906008" y="1691861"/>
                </a:cubicBezTo>
                <a:cubicBezTo>
                  <a:pt x="3900459" y="1693142"/>
                  <a:pt x="3893630" y="1692431"/>
                  <a:pt x="3888295" y="1689869"/>
                </a:cubicBezTo>
                <a:lnTo>
                  <a:pt x="3882105" y="1685460"/>
                </a:lnTo>
                <a:lnTo>
                  <a:pt x="3884239" y="1692573"/>
                </a:lnTo>
                <a:cubicBezTo>
                  <a:pt x="3884880" y="1697553"/>
                  <a:pt x="3884666" y="1701678"/>
                  <a:pt x="3883812" y="1705377"/>
                </a:cubicBezTo>
                <a:lnTo>
                  <a:pt x="3882105" y="1709361"/>
                </a:lnTo>
                <a:lnTo>
                  <a:pt x="3882319" y="1712491"/>
                </a:lnTo>
                <a:lnTo>
                  <a:pt x="3882532" y="1714056"/>
                </a:lnTo>
                <a:lnTo>
                  <a:pt x="3883812" y="1711495"/>
                </a:lnTo>
                <a:cubicBezTo>
                  <a:pt x="3884666" y="1709930"/>
                  <a:pt x="3884666" y="1709930"/>
                  <a:pt x="3883172" y="1709076"/>
                </a:cubicBezTo>
                <a:cubicBezTo>
                  <a:pt x="3884026" y="1707511"/>
                  <a:pt x="3884026" y="1707511"/>
                  <a:pt x="3886160" y="1706800"/>
                </a:cubicBezTo>
                <a:cubicBezTo>
                  <a:pt x="3885733" y="1707938"/>
                  <a:pt x="3884453" y="1712064"/>
                  <a:pt x="3883172" y="1713913"/>
                </a:cubicBezTo>
                <a:lnTo>
                  <a:pt x="3882532" y="1714340"/>
                </a:lnTo>
                <a:lnTo>
                  <a:pt x="3882532" y="1715763"/>
                </a:lnTo>
                <a:cubicBezTo>
                  <a:pt x="3884026" y="1716474"/>
                  <a:pt x="3883812" y="1716332"/>
                  <a:pt x="3882745" y="1716758"/>
                </a:cubicBezTo>
                <a:lnTo>
                  <a:pt x="3882532" y="1717897"/>
                </a:lnTo>
                <a:lnTo>
                  <a:pt x="3882532" y="1721169"/>
                </a:lnTo>
                <a:cubicBezTo>
                  <a:pt x="3882319" y="1724157"/>
                  <a:pt x="3882105" y="1726860"/>
                  <a:pt x="3881465" y="1728282"/>
                </a:cubicBezTo>
                <a:lnTo>
                  <a:pt x="3881038" y="1720600"/>
                </a:lnTo>
                <a:lnTo>
                  <a:pt x="3880184" y="1724583"/>
                </a:lnTo>
                <a:cubicBezTo>
                  <a:pt x="3880184" y="1726433"/>
                  <a:pt x="3880398" y="1728140"/>
                  <a:pt x="3881038" y="1728567"/>
                </a:cubicBezTo>
                <a:cubicBezTo>
                  <a:pt x="3879971" y="1728994"/>
                  <a:pt x="3879117" y="1730416"/>
                  <a:pt x="3879117" y="1730416"/>
                </a:cubicBezTo>
                <a:cubicBezTo>
                  <a:pt x="3877624" y="1729705"/>
                  <a:pt x="3877410" y="1728709"/>
                  <a:pt x="3876983" y="1727571"/>
                </a:cubicBezTo>
                <a:cubicBezTo>
                  <a:pt x="3877837" y="1726006"/>
                  <a:pt x="3878904" y="1725579"/>
                  <a:pt x="3879757" y="1724014"/>
                </a:cubicBezTo>
                <a:cubicBezTo>
                  <a:pt x="3879544" y="1723019"/>
                  <a:pt x="3878904" y="1720742"/>
                  <a:pt x="3879757" y="1719177"/>
                </a:cubicBezTo>
                <a:lnTo>
                  <a:pt x="3881038" y="1717470"/>
                </a:lnTo>
                <a:lnTo>
                  <a:pt x="3881892" y="1709645"/>
                </a:lnTo>
                <a:lnTo>
                  <a:pt x="3879544" y="1715621"/>
                </a:lnTo>
                <a:cubicBezTo>
                  <a:pt x="3875703" y="1722022"/>
                  <a:pt x="3870794" y="1728140"/>
                  <a:pt x="3867379" y="1736392"/>
                </a:cubicBezTo>
                <a:cubicBezTo>
                  <a:pt x="3852866" y="1732551"/>
                  <a:pt x="3849025" y="1740375"/>
                  <a:pt x="3842195" y="1744359"/>
                </a:cubicBezTo>
                <a:cubicBezTo>
                  <a:pt x="3833659" y="1737103"/>
                  <a:pt x="3819786" y="1735823"/>
                  <a:pt x="3808475" y="1730701"/>
                </a:cubicBezTo>
                <a:lnTo>
                  <a:pt x="3801006" y="1715621"/>
                </a:lnTo>
                <a:lnTo>
                  <a:pt x="3799725" y="1715478"/>
                </a:lnTo>
                <a:lnTo>
                  <a:pt x="3799939" y="1713202"/>
                </a:lnTo>
                <a:lnTo>
                  <a:pt x="3798658" y="1711068"/>
                </a:lnTo>
                <a:lnTo>
                  <a:pt x="3797804" y="1709076"/>
                </a:lnTo>
                <a:lnTo>
                  <a:pt x="3795884" y="1712064"/>
                </a:lnTo>
                <a:cubicBezTo>
                  <a:pt x="3794816" y="1713059"/>
                  <a:pt x="3792042" y="1713913"/>
                  <a:pt x="3789268" y="1714056"/>
                </a:cubicBezTo>
                <a:cubicBezTo>
                  <a:pt x="3786493" y="1714340"/>
                  <a:pt x="3783718" y="1714056"/>
                  <a:pt x="3781798" y="1712633"/>
                </a:cubicBezTo>
                <a:cubicBezTo>
                  <a:pt x="3783078" y="1710499"/>
                  <a:pt x="3784359" y="1708364"/>
                  <a:pt x="3785640" y="1706231"/>
                </a:cubicBezTo>
                <a:cubicBezTo>
                  <a:pt x="3785426" y="1707369"/>
                  <a:pt x="3796097" y="1706231"/>
                  <a:pt x="3796097" y="1706231"/>
                </a:cubicBezTo>
                <a:lnTo>
                  <a:pt x="3797377" y="1708364"/>
                </a:lnTo>
                <a:lnTo>
                  <a:pt x="3793536" y="1700398"/>
                </a:lnTo>
                <a:lnTo>
                  <a:pt x="3792469" y="1701394"/>
                </a:lnTo>
                <a:cubicBezTo>
                  <a:pt x="3789054" y="1703101"/>
                  <a:pt x="3785640" y="1701252"/>
                  <a:pt x="3781798" y="1696556"/>
                </a:cubicBezTo>
                <a:cubicBezTo>
                  <a:pt x="3782865" y="1694138"/>
                  <a:pt x="3782865" y="1691861"/>
                  <a:pt x="3783718" y="1688305"/>
                </a:cubicBezTo>
                <a:lnTo>
                  <a:pt x="3789268" y="1690581"/>
                </a:lnTo>
                <a:lnTo>
                  <a:pt x="3793749" y="1680195"/>
                </a:lnTo>
                <a:cubicBezTo>
                  <a:pt x="3797164" y="1667676"/>
                  <a:pt x="3797804" y="1652169"/>
                  <a:pt x="3809756" y="1647047"/>
                </a:cubicBezTo>
                <a:lnTo>
                  <a:pt x="3813811" y="1647616"/>
                </a:lnTo>
                <a:lnTo>
                  <a:pt x="3814238" y="1647189"/>
                </a:lnTo>
                <a:cubicBezTo>
                  <a:pt x="3815305" y="1646335"/>
                  <a:pt x="3816585" y="1645767"/>
                  <a:pt x="3817866" y="1646051"/>
                </a:cubicBezTo>
                <a:lnTo>
                  <a:pt x="3820214" y="1647474"/>
                </a:lnTo>
                <a:lnTo>
                  <a:pt x="3826616" y="1646051"/>
                </a:lnTo>
                <a:lnTo>
                  <a:pt x="3828110" y="1646335"/>
                </a:lnTo>
                <a:lnTo>
                  <a:pt x="3830244" y="1645624"/>
                </a:lnTo>
                <a:lnTo>
                  <a:pt x="3829817" y="1640930"/>
                </a:lnTo>
                <a:cubicBezTo>
                  <a:pt x="3830457" y="1639365"/>
                  <a:pt x="3831524" y="1638368"/>
                  <a:pt x="3833019" y="1638084"/>
                </a:cubicBezTo>
                <a:close/>
                <a:moveTo>
                  <a:pt x="1422045" y="1638051"/>
                </a:moveTo>
                <a:lnTo>
                  <a:pt x="1422770" y="1638512"/>
                </a:lnTo>
                <a:lnTo>
                  <a:pt x="1422768" y="1638515"/>
                </a:lnTo>
                <a:cubicBezTo>
                  <a:pt x="1422768" y="1638515"/>
                  <a:pt x="1422768" y="1638515"/>
                  <a:pt x="1422045" y="1638051"/>
                </a:cubicBezTo>
                <a:close/>
                <a:moveTo>
                  <a:pt x="3771340" y="1637941"/>
                </a:moveTo>
                <a:lnTo>
                  <a:pt x="3772621" y="1638368"/>
                </a:lnTo>
                <a:lnTo>
                  <a:pt x="3772834" y="1638226"/>
                </a:lnTo>
                <a:cubicBezTo>
                  <a:pt x="3773047" y="1638795"/>
                  <a:pt x="3773261" y="1638938"/>
                  <a:pt x="3773688" y="1638795"/>
                </a:cubicBezTo>
                <a:lnTo>
                  <a:pt x="3773901" y="1637941"/>
                </a:lnTo>
                <a:close/>
                <a:moveTo>
                  <a:pt x="6161429" y="1637231"/>
                </a:moveTo>
                <a:cubicBezTo>
                  <a:pt x="6162922" y="1638084"/>
                  <a:pt x="6165483" y="1638511"/>
                  <a:pt x="6166977" y="1640360"/>
                </a:cubicBezTo>
                <a:cubicBezTo>
                  <a:pt x="6166977" y="1646478"/>
                  <a:pt x="6163989" y="1649750"/>
                  <a:pt x="6159294" y="1651172"/>
                </a:cubicBezTo>
                <a:cubicBezTo>
                  <a:pt x="6153745" y="1648043"/>
                  <a:pt x="6155666" y="1638938"/>
                  <a:pt x="6161429" y="1637231"/>
                </a:cubicBezTo>
                <a:close/>
                <a:moveTo>
                  <a:pt x="4962650" y="1636661"/>
                </a:moveTo>
                <a:cubicBezTo>
                  <a:pt x="4959875" y="1656437"/>
                  <a:pt x="4938960" y="1666965"/>
                  <a:pt x="4923594" y="1679769"/>
                </a:cubicBezTo>
                <a:lnTo>
                  <a:pt x="4922526" y="1678346"/>
                </a:lnTo>
                <a:lnTo>
                  <a:pt x="4922954" y="1681618"/>
                </a:lnTo>
                <a:cubicBezTo>
                  <a:pt x="4922740" y="1683468"/>
                  <a:pt x="4922526" y="1685317"/>
                  <a:pt x="4921673" y="1686597"/>
                </a:cubicBezTo>
                <a:cubicBezTo>
                  <a:pt x="4921246" y="1687594"/>
                  <a:pt x="4920392" y="1688163"/>
                  <a:pt x="4919539" y="1688732"/>
                </a:cubicBezTo>
                <a:cubicBezTo>
                  <a:pt x="4917191" y="1690154"/>
                  <a:pt x="4915911" y="1688020"/>
                  <a:pt x="4915483" y="1684748"/>
                </a:cubicBezTo>
                <a:cubicBezTo>
                  <a:pt x="4912709" y="1678488"/>
                  <a:pt x="4913776" y="1674789"/>
                  <a:pt x="4918471" y="1673509"/>
                </a:cubicBezTo>
                <a:lnTo>
                  <a:pt x="4919966" y="1674647"/>
                </a:lnTo>
                <a:lnTo>
                  <a:pt x="4916337" y="1668102"/>
                </a:lnTo>
                <a:lnTo>
                  <a:pt x="4921886" y="1664261"/>
                </a:lnTo>
                <a:lnTo>
                  <a:pt x="4921032" y="1663265"/>
                </a:lnTo>
                <a:cubicBezTo>
                  <a:pt x="4921673" y="1662270"/>
                  <a:pt x="4921459" y="1660563"/>
                  <a:pt x="4922099" y="1659566"/>
                </a:cubicBezTo>
                <a:cubicBezTo>
                  <a:pt x="4923167" y="1660278"/>
                  <a:pt x="4925514" y="1660420"/>
                  <a:pt x="4924874" y="1661558"/>
                </a:cubicBezTo>
                <a:lnTo>
                  <a:pt x="4925087" y="1662127"/>
                </a:lnTo>
                <a:lnTo>
                  <a:pt x="4938960" y="1652596"/>
                </a:lnTo>
                <a:lnTo>
                  <a:pt x="4938533" y="1652026"/>
                </a:lnTo>
                <a:cubicBezTo>
                  <a:pt x="4938106" y="1647332"/>
                  <a:pt x="4941094" y="1640218"/>
                  <a:pt x="4947070" y="1643063"/>
                </a:cubicBezTo>
                <a:cubicBezTo>
                  <a:pt x="4948137" y="1643348"/>
                  <a:pt x="4948564" y="1644486"/>
                  <a:pt x="4948777" y="1645908"/>
                </a:cubicBezTo>
                <a:close/>
                <a:moveTo>
                  <a:pt x="4851671" y="1636661"/>
                </a:moveTo>
                <a:cubicBezTo>
                  <a:pt x="4858928" y="1636092"/>
                  <a:pt x="4867037" y="1647332"/>
                  <a:pt x="4858714" y="1653307"/>
                </a:cubicBezTo>
                <a:cubicBezTo>
                  <a:pt x="4854019" y="1653164"/>
                  <a:pt x="4846762" y="1645624"/>
                  <a:pt x="4845482" y="1641925"/>
                </a:cubicBezTo>
                <a:cubicBezTo>
                  <a:pt x="4847189" y="1638368"/>
                  <a:pt x="4849323" y="1636946"/>
                  <a:pt x="4851671" y="1636661"/>
                </a:cubicBezTo>
                <a:close/>
                <a:moveTo>
                  <a:pt x="5037133" y="1636234"/>
                </a:moveTo>
                <a:cubicBezTo>
                  <a:pt x="5038627" y="1636092"/>
                  <a:pt x="5040121" y="1636234"/>
                  <a:pt x="5041615" y="1636519"/>
                </a:cubicBezTo>
                <a:lnTo>
                  <a:pt x="5046310" y="1639080"/>
                </a:lnTo>
                <a:lnTo>
                  <a:pt x="5046737" y="1638938"/>
                </a:lnTo>
                <a:cubicBezTo>
                  <a:pt x="5050792" y="1638226"/>
                  <a:pt x="5055060" y="1639933"/>
                  <a:pt x="5056341" y="1643775"/>
                </a:cubicBezTo>
                <a:lnTo>
                  <a:pt x="5055274" y="1649750"/>
                </a:lnTo>
                <a:lnTo>
                  <a:pt x="5055701" y="1661985"/>
                </a:lnTo>
                <a:cubicBezTo>
                  <a:pt x="5054420" y="1666680"/>
                  <a:pt x="5051218" y="1671517"/>
                  <a:pt x="5046096" y="1675928"/>
                </a:cubicBezTo>
                <a:cubicBezTo>
                  <a:pt x="5030517" y="1672086"/>
                  <a:pt x="5020059" y="1658144"/>
                  <a:pt x="5025181" y="1645197"/>
                </a:cubicBezTo>
                <a:cubicBezTo>
                  <a:pt x="5028383" y="1639365"/>
                  <a:pt x="5032651" y="1636661"/>
                  <a:pt x="5037133" y="1636234"/>
                </a:cubicBezTo>
                <a:close/>
                <a:moveTo>
                  <a:pt x="5742058" y="1635950"/>
                </a:moveTo>
                <a:cubicBezTo>
                  <a:pt x="5742485" y="1638511"/>
                  <a:pt x="5743979" y="1640360"/>
                  <a:pt x="5744406" y="1642921"/>
                </a:cubicBezTo>
                <a:cubicBezTo>
                  <a:pt x="5740991" y="1646051"/>
                  <a:pt x="5741205" y="1652026"/>
                  <a:pt x="5734162" y="1650888"/>
                </a:cubicBezTo>
                <a:cubicBezTo>
                  <a:pt x="5729680" y="1645482"/>
                  <a:pt x="5733948" y="1635523"/>
                  <a:pt x="5742058" y="1635950"/>
                </a:cubicBezTo>
                <a:close/>
                <a:moveTo>
                  <a:pt x="3998205" y="1635950"/>
                </a:moveTo>
                <a:cubicBezTo>
                  <a:pt x="3999700" y="1636376"/>
                  <a:pt x="4001193" y="1636803"/>
                  <a:pt x="4002901" y="1636376"/>
                </a:cubicBezTo>
                <a:cubicBezTo>
                  <a:pt x="4002901" y="1639080"/>
                  <a:pt x="4003541" y="1643490"/>
                  <a:pt x="3998419" y="1645908"/>
                </a:cubicBezTo>
                <a:cubicBezTo>
                  <a:pt x="3996712" y="1646335"/>
                  <a:pt x="3996712" y="1646478"/>
                  <a:pt x="3995645" y="1645908"/>
                </a:cubicBezTo>
                <a:cubicBezTo>
                  <a:pt x="3993084" y="1645767"/>
                  <a:pt x="3991589" y="1646193"/>
                  <a:pt x="3989882" y="1643917"/>
                </a:cubicBezTo>
                <a:cubicBezTo>
                  <a:pt x="3988815" y="1641925"/>
                  <a:pt x="3988815" y="1640503"/>
                  <a:pt x="3989455" y="1639507"/>
                </a:cubicBezTo>
                <a:cubicBezTo>
                  <a:pt x="3990309" y="1638368"/>
                  <a:pt x="3991589" y="1637373"/>
                  <a:pt x="3993297" y="1636376"/>
                </a:cubicBezTo>
                <a:cubicBezTo>
                  <a:pt x="3995217" y="1635381"/>
                  <a:pt x="3996712" y="1635666"/>
                  <a:pt x="3998205" y="1635950"/>
                </a:cubicBezTo>
                <a:close/>
                <a:moveTo>
                  <a:pt x="6103378" y="1635523"/>
                </a:moveTo>
                <a:cubicBezTo>
                  <a:pt x="6106366" y="1636661"/>
                  <a:pt x="6108073" y="1634527"/>
                  <a:pt x="6111061" y="1635666"/>
                </a:cubicBezTo>
                <a:cubicBezTo>
                  <a:pt x="6107006" y="1645197"/>
                  <a:pt x="6103591" y="1655868"/>
                  <a:pt x="6095908" y="1655868"/>
                </a:cubicBezTo>
                <a:cubicBezTo>
                  <a:pt x="6092493" y="1650034"/>
                  <a:pt x="6098896" y="1640360"/>
                  <a:pt x="6103378" y="1635523"/>
                </a:cubicBezTo>
                <a:close/>
                <a:moveTo>
                  <a:pt x="1424523" y="1635417"/>
                </a:moveTo>
                <a:cubicBezTo>
                  <a:pt x="1426898" y="1634488"/>
                  <a:pt x="1430099" y="1634023"/>
                  <a:pt x="1431235" y="1635573"/>
                </a:cubicBezTo>
                <a:cubicBezTo>
                  <a:pt x="1431958" y="1637896"/>
                  <a:pt x="1430305" y="1638980"/>
                  <a:pt x="1429066" y="1639445"/>
                </a:cubicBezTo>
                <a:cubicBezTo>
                  <a:pt x="1428034" y="1640374"/>
                  <a:pt x="1426692" y="1640529"/>
                  <a:pt x="1425452" y="1640219"/>
                </a:cubicBezTo>
                <a:lnTo>
                  <a:pt x="1422770" y="1638512"/>
                </a:lnTo>
                <a:lnTo>
                  <a:pt x="1423697" y="1636966"/>
                </a:lnTo>
                <a:cubicBezTo>
                  <a:pt x="1423697" y="1636966"/>
                  <a:pt x="1423284" y="1637741"/>
                  <a:pt x="1422974" y="1636502"/>
                </a:cubicBezTo>
                <a:cubicBezTo>
                  <a:pt x="1423697" y="1636966"/>
                  <a:pt x="1424110" y="1636192"/>
                  <a:pt x="1424523" y="1635417"/>
                </a:cubicBezTo>
                <a:close/>
                <a:moveTo>
                  <a:pt x="4817097" y="1635239"/>
                </a:moveTo>
                <a:lnTo>
                  <a:pt x="4822006" y="1638226"/>
                </a:lnTo>
                <a:lnTo>
                  <a:pt x="4822006" y="1636661"/>
                </a:lnTo>
                <a:cubicBezTo>
                  <a:pt x="4822646" y="1637231"/>
                  <a:pt x="4824140" y="1638795"/>
                  <a:pt x="4825634" y="1640218"/>
                </a:cubicBezTo>
                <a:lnTo>
                  <a:pt x="4827341" y="1642068"/>
                </a:lnTo>
                <a:lnTo>
                  <a:pt x="4828195" y="1641783"/>
                </a:lnTo>
                <a:cubicBezTo>
                  <a:pt x="4829903" y="1641498"/>
                  <a:pt x="4831610" y="1642352"/>
                  <a:pt x="4832036" y="1643775"/>
                </a:cubicBezTo>
                <a:lnTo>
                  <a:pt x="4831610" y="1645908"/>
                </a:lnTo>
                <a:lnTo>
                  <a:pt x="4832036" y="1646620"/>
                </a:lnTo>
                <a:cubicBezTo>
                  <a:pt x="4833103" y="1647901"/>
                  <a:pt x="4838652" y="1651315"/>
                  <a:pt x="4839719" y="1650319"/>
                </a:cubicBezTo>
                <a:cubicBezTo>
                  <a:pt x="4839719" y="1651457"/>
                  <a:pt x="4840787" y="1652738"/>
                  <a:pt x="4840787" y="1652738"/>
                </a:cubicBezTo>
                <a:cubicBezTo>
                  <a:pt x="4839506" y="1653734"/>
                  <a:pt x="4838439" y="1653591"/>
                  <a:pt x="4837372" y="1653449"/>
                </a:cubicBezTo>
                <a:cubicBezTo>
                  <a:pt x="4836305" y="1652026"/>
                  <a:pt x="4836305" y="1650888"/>
                  <a:pt x="4835238" y="1649466"/>
                </a:cubicBezTo>
                <a:cubicBezTo>
                  <a:pt x="4834171" y="1649323"/>
                  <a:pt x="4831823" y="1648897"/>
                  <a:pt x="4830756" y="1647474"/>
                </a:cubicBezTo>
                <a:lnTo>
                  <a:pt x="4830543" y="1647332"/>
                </a:lnTo>
                <a:lnTo>
                  <a:pt x="4827981" y="1646620"/>
                </a:lnTo>
                <a:lnTo>
                  <a:pt x="4828408" y="1647616"/>
                </a:lnTo>
                <a:cubicBezTo>
                  <a:pt x="4826488" y="1652453"/>
                  <a:pt x="4823286" y="1651457"/>
                  <a:pt x="4818164" y="1651457"/>
                </a:cubicBezTo>
                <a:cubicBezTo>
                  <a:pt x="4818804" y="1649750"/>
                  <a:pt x="4814322" y="1648185"/>
                  <a:pt x="4812829" y="1647616"/>
                </a:cubicBezTo>
                <a:cubicBezTo>
                  <a:pt x="4814109" y="1644344"/>
                  <a:pt x="4809201" y="1641641"/>
                  <a:pt x="4811121" y="1636803"/>
                </a:cubicBezTo>
                <a:cubicBezTo>
                  <a:pt x="4813256" y="1635666"/>
                  <a:pt x="4814322" y="1635239"/>
                  <a:pt x="4817097" y="1635239"/>
                </a:cubicBezTo>
                <a:close/>
                <a:moveTo>
                  <a:pt x="1953092" y="1635108"/>
                </a:moveTo>
                <a:lnTo>
                  <a:pt x="1958339" y="1639964"/>
                </a:lnTo>
                <a:lnTo>
                  <a:pt x="1958339" y="1636773"/>
                </a:lnTo>
                <a:close/>
                <a:moveTo>
                  <a:pt x="5069573" y="1634954"/>
                </a:moveTo>
                <a:cubicBezTo>
                  <a:pt x="5071920" y="1636234"/>
                  <a:pt x="5074481" y="1637515"/>
                  <a:pt x="5076829" y="1638795"/>
                </a:cubicBezTo>
                <a:cubicBezTo>
                  <a:pt x="5080457" y="1642636"/>
                  <a:pt x="5084085" y="1646335"/>
                  <a:pt x="5081738" y="1649892"/>
                </a:cubicBezTo>
                <a:cubicBezTo>
                  <a:pt x="5077043" y="1647189"/>
                  <a:pt x="5073628" y="1645908"/>
                  <a:pt x="5068932" y="1643205"/>
                </a:cubicBezTo>
                <a:cubicBezTo>
                  <a:pt x="5067652" y="1642068"/>
                  <a:pt x="5065091" y="1637088"/>
                  <a:pt x="5066372" y="1635950"/>
                </a:cubicBezTo>
                <a:cubicBezTo>
                  <a:pt x="5067438" y="1634812"/>
                  <a:pt x="5068505" y="1634812"/>
                  <a:pt x="5069573" y="1634954"/>
                </a:cubicBezTo>
                <a:close/>
                <a:moveTo>
                  <a:pt x="4889019" y="1634954"/>
                </a:moveTo>
                <a:cubicBezTo>
                  <a:pt x="4890727" y="1635239"/>
                  <a:pt x="4892221" y="1636376"/>
                  <a:pt x="4893074" y="1638795"/>
                </a:cubicBezTo>
                <a:cubicBezTo>
                  <a:pt x="4893501" y="1640503"/>
                  <a:pt x="4894142" y="1642068"/>
                  <a:pt x="4893074" y="1641498"/>
                </a:cubicBezTo>
                <a:cubicBezTo>
                  <a:pt x="4892648" y="1642494"/>
                  <a:pt x="4891581" y="1642068"/>
                  <a:pt x="4890086" y="1642494"/>
                </a:cubicBezTo>
                <a:cubicBezTo>
                  <a:pt x="4887526" y="1642352"/>
                  <a:pt x="4884324" y="1640503"/>
                  <a:pt x="4883898" y="1638938"/>
                </a:cubicBezTo>
                <a:cubicBezTo>
                  <a:pt x="4883257" y="1637231"/>
                  <a:pt x="4883898" y="1636234"/>
                  <a:pt x="4883898" y="1636234"/>
                </a:cubicBezTo>
                <a:cubicBezTo>
                  <a:pt x="4885605" y="1635239"/>
                  <a:pt x="4887526" y="1634669"/>
                  <a:pt x="4889019" y="1634954"/>
                </a:cubicBezTo>
                <a:close/>
                <a:moveTo>
                  <a:pt x="1231227" y="1634798"/>
                </a:moveTo>
                <a:cubicBezTo>
                  <a:pt x="1232466" y="1634333"/>
                  <a:pt x="1234429" y="1636192"/>
                  <a:pt x="1235667" y="1635882"/>
                </a:cubicBezTo>
                <a:cubicBezTo>
                  <a:pt x="1235667" y="1635882"/>
                  <a:pt x="1235564" y="1635882"/>
                  <a:pt x="1235461" y="1637741"/>
                </a:cubicBezTo>
                <a:cubicBezTo>
                  <a:pt x="1235048" y="1638515"/>
                  <a:pt x="1234635" y="1639290"/>
                  <a:pt x="1233396" y="1639755"/>
                </a:cubicBezTo>
                <a:cubicBezTo>
                  <a:pt x="1232157" y="1640219"/>
                  <a:pt x="1230608" y="1639445"/>
                  <a:pt x="1229782" y="1639135"/>
                </a:cubicBezTo>
                <a:cubicBezTo>
                  <a:pt x="1230298" y="1638361"/>
                  <a:pt x="1229472" y="1637896"/>
                  <a:pt x="1229988" y="1637121"/>
                </a:cubicBezTo>
                <a:cubicBezTo>
                  <a:pt x="1230092" y="1635263"/>
                  <a:pt x="1229988" y="1635263"/>
                  <a:pt x="1231227" y="1634798"/>
                </a:cubicBezTo>
                <a:close/>
                <a:moveTo>
                  <a:pt x="4973961" y="1634385"/>
                </a:moveTo>
                <a:cubicBezTo>
                  <a:pt x="4975241" y="1636519"/>
                  <a:pt x="4977375" y="1637373"/>
                  <a:pt x="4978656" y="1639507"/>
                </a:cubicBezTo>
                <a:lnTo>
                  <a:pt x="4978656" y="1639649"/>
                </a:lnTo>
                <a:lnTo>
                  <a:pt x="4982284" y="1639933"/>
                </a:lnTo>
                <a:cubicBezTo>
                  <a:pt x="4981644" y="1644770"/>
                  <a:pt x="4976522" y="1648043"/>
                  <a:pt x="4972040" y="1648327"/>
                </a:cubicBezTo>
                <a:lnTo>
                  <a:pt x="4970546" y="1648043"/>
                </a:lnTo>
                <a:lnTo>
                  <a:pt x="4967558" y="1649323"/>
                </a:lnTo>
                <a:cubicBezTo>
                  <a:pt x="4966064" y="1649039"/>
                  <a:pt x="4964783" y="1648185"/>
                  <a:pt x="4964143" y="1646051"/>
                </a:cubicBezTo>
                <a:cubicBezTo>
                  <a:pt x="4962436" y="1639649"/>
                  <a:pt x="4967558" y="1636803"/>
                  <a:pt x="4973961" y="1634385"/>
                </a:cubicBezTo>
                <a:close/>
                <a:moveTo>
                  <a:pt x="1197463" y="1633714"/>
                </a:moveTo>
                <a:cubicBezTo>
                  <a:pt x="1195501" y="1637121"/>
                  <a:pt x="1194571" y="1639600"/>
                  <a:pt x="1192609" y="1643008"/>
                </a:cubicBezTo>
                <a:cubicBezTo>
                  <a:pt x="1191784" y="1643937"/>
                  <a:pt x="1188169" y="1645796"/>
                  <a:pt x="1187343" y="1644866"/>
                </a:cubicBezTo>
                <a:cubicBezTo>
                  <a:pt x="1186518" y="1644092"/>
                  <a:pt x="1186518" y="1643317"/>
                  <a:pt x="1186621" y="1642543"/>
                </a:cubicBezTo>
                <a:cubicBezTo>
                  <a:pt x="1187550" y="1640839"/>
                  <a:pt x="1188479" y="1638980"/>
                  <a:pt x="1189408" y="1637276"/>
                </a:cubicBezTo>
                <a:cubicBezTo>
                  <a:pt x="1192197" y="1634643"/>
                  <a:pt x="1194881" y="1632010"/>
                  <a:pt x="1197463" y="1633714"/>
                </a:cubicBezTo>
                <a:close/>
                <a:moveTo>
                  <a:pt x="1596238" y="1633404"/>
                </a:moveTo>
                <a:cubicBezTo>
                  <a:pt x="1599749" y="1632784"/>
                  <a:pt x="1602846" y="1633869"/>
                  <a:pt x="1604189" y="1636037"/>
                </a:cubicBezTo>
                <a:lnTo>
                  <a:pt x="1604911" y="1639445"/>
                </a:lnTo>
                <a:lnTo>
                  <a:pt x="1606254" y="1639445"/>
                </a:lnTo>
                <a:cubicBezTo>
                  <a:pt x="1607700" y="1640684"/>
                  <a:pt x="1607596" y="1642543"/>
                  <a:pt x="1607390" y="1644401"/>
                </a:cubicBezTo>
                <a:cubicBezTo>
                  <a:pt x="1607080" y="1645796"/>
                  <a:pt x="1606357" y="1646415"/>
                  <a:pt x="1605531" y="1646570"/>
                </a:cubicBezTo>
                <a:cubicBezTo>
                  <a:pt x="1604705" y="1646725"/>
                  <a:pt x="1603569" y="1646415"/>
                  <a:pt x="1602433" y="1645950"/>
                </a:cubicBezTo>
                <a:lnTo>
                  <a:pt x="1600885" y="1644401"/>
                </a:lnTo>
                <a:lnTo>
                  <a:pt x="1597994" y="1644401"/>
                </a:lnTo>
                <a:cubicBezTo>
                  <a:pt x="1595309" y="1643782"/>
                  <a:pt x="1593450" y="1641923"/>
                  <a:pt x="1593037" y="1639755"/>
                </a:cubicBezTo>
                <a:cubicBezTo>
                  <a:pt x="1592934" y="1638980"/>
                  <a:pt x="1592934" y="1638206"/>
                  <a:pt x="1593140" y="1637431"/>
                </a:cubicBezTo>
                <a:cubicBezTo>
                  <a:pt x="1593554" y="1636037"/>
                  <a:pt x="1594586" y="1634643"/>
                  <a:pt x="1596238" y="1633404"/>
                </a:cubicBezTo>
                <a:close/>
                <a:moveTo>
                  <a:pt x="4038542" y="1633389"/>
                </a:moveTo>
                <a:cubicBezTo>
                  <a:pt x="4042170" y="1632394"/>
                  <a:pt x="4049853" y="1637088"/>
                  <a:pt x="4050707" y="1641783"/>
                </a:cubicBezTo>
                <a:cubicBezTo>
                  <a:pt x="4050920" y="1643490"/>
                  <a:pt x="4050280" y="1645055"/>
                  <a:pt x="4048572" y="1646478"/>
                </a:cubicBezTo>
                <a:cubicBezTo>
                  <a:pt x="4043451" y="1650034"/>
                  <a:pt x="4039396" y="1645482"/>
                  <a:pt x="4035341" y="1639791"/>
                </a:cubicBezTo>
                <a:cubicBezTo>
                  <a:pt x="4036834" y="1637799"/>
                  <a:pt x="4037048" y="1635381"/>
                  <a:pt x="4038542" y="1633389"/>
                </a:cubicBezTo>
                <a:close/>
                <a:moveTo>
                  <a:pt x="4445533" y="1632109"/>
                </a:moveTo>
                <a:cubicBezTo>
                  <a:pt x="4449801" y="1631682"/>
                  <a:pt x="4457912" y="1633674"/>
                  <a:pt x="4458552" y="1635381"/>
                </a:cubicBezTo>
                <a:cubicBezTo>
                  <a:pt x="4455991" y="1635239"/>
                  <a:pt x="4447241" y="1634243"/>
                  <a:pt x="4445533" y="1632109"/>
                </a:cubicBezTo>
                <a:close/>
                <a:moveTo>
                  <a:pt x="1458210" y="1631138"/>
                </a:moveTo>
                <a:cubicBezTo>
                  <a:pt x="1459966" y="1631429"/>
                  <a:pt x="1461644" y="1632629"/>
                  <a:pt x="1462005" y="1633869"/>
                </a:cubicBezTo>
                <a:cubicBezTo>
                  <a:pt x="1460766" y="1639445"/>
                  <a:pt x="1454570" y="1636192"/>
                  <a:pt x="1453951" y="1633869"/>
                </a:cubicBezTo>
                <a:cubicBezTo>
                  <a:pt x="1454622" y="1631468"/>
                  <a:pt x="1456455" y="1630848"/>
                  <a:pt x="1458210" y="1631138"/>
                </a:cubicBezTo>
                <a:close/>
                <a:moveTo>
                  <a:pt x="6218412" y="1629832"/>
                </a:moveTo>
                <a:cubicBezTo>
                  <a:pt x="6219265" y="1629975"/>
                  <a:pt x="6220332" y="1629832"/>
                  <a:pt x="6221399" y="1629975"/>
                </a:cubicBezTo>
                <a:cubicBezTo>
                  <a:pt x="6222467" y="1629975"/>
                  <a:pt x="6223747" y="1630117"/>
                  <a:pt x="6225027" y="1630686"/>
                </a:cubicBezTo>
                <a:cubicBezTo>
                  <a:pt x="6227802" y="1636234"/>
                  <a:pt x="6226735" y="1640360"/>
                  <a:pt x="6223107" y="1643205"/>
                </a:cubicBezTo>
                <a:cubicBezTo>
                  <a:pt x="6216704" y="1642352"/>
                  <a:pt x="6213929" y="1633531"/>
                  <a:pt x="6218412" y="1629832"/>
                </a:cubicBezTo>
                <a:close/>
                <a:moveTo>
                  <a:pt x="5783675" y="1629548"/>
                </a:moveTo>
                <a:cubicBezTo>
                  <a:pt x="5789864" y="1636376"/>
                  <a:pt x="5797761" y="1638511"/>
                  <a:pt x="5797761" y="1638511"/>
                </a:cubicBezTo>
                <a:cubicBezTo>
                  <a:pt x="5798828" y="1640787"/>
                  <a:pt x="5798401" y="1641783"/>
                  <a:pt x="5799041" y="1640787"/>
                </a:cubicBezTo>
                <a:cubicBezTo>
                  <a:pt x="5799468" y="1644060"/>
                  <a:pt x="5800962" y="1647901"/>
                  <a:pt x="5798614" y="1649466"/>
                </a:cubicBezTo>
                <a:cubicBezTo>
                  <a:pt x="5790078" y="1652596"/>
                  <a:pt x="5785169" y="1637799"/>
                  <a:pt x="5783035" y="1634954"/>
                </a:cubicBezTo>
                <a:cubicBezTo>
                  <a:pt x="5783035" y="1634954"/>
                  <a:pt x="5782181" y="1634385"/>
                  <a:pt x="5781755" y="1632678"/>
                </a:cubicBezTo>
                <a:cubicBezTo>
                  <a:pt x="5780687" y="1630402"/>
                  <a:pt x="5784102" y="1631255"/>
                  <a:pt x="5783675" y="1629548"/>
                </a:cubicBezTo>
                <a:close/>
                <a:moveTo>
                  <a:pt x="4601757" y="1629121"/>
                </a:moveTo>
                <a:cubicBezTo>
                  <a:pt x="4603890" y="1630402"/>
                  <a:pt x="4604958" y="1631539"/>
                  <a:pt x="4605812" y="1632820"/>
                </a:cubicBezTo>
                <a:cubicBezTo>
                  <a:pt x="4606878" y="1633531"/>
                  <a:pt x="4607519" y="1634243"/>
                  <a:pt x="4607305" y="1634954"/>
                </a:cubicBezTo>
                <a:lnTo>
                  <a:pt x="4606238" y="1636661"/>
                </a:lnTo>
                <a:lnTo>
                  <a:pt x="4606665" y="1636519"/>
                </a:lnTo>
                <a:lnTo>
                  <a:pt x="4612641" y="1636803"/>
                </a:lnTo>
                <a:lnTo>
                  <a:pt x="4612641" y="1636661"/>
                </a:lnTo>
                <a:cubicBezTo>
                  <a:pt x="4613281" y="1636376"/>
                  <a:pt x="4613921" y="1636376"/>
                  <a:pt x="4614348" y="1636376"/>
                </a:cubicBezTo>
                <a:lnTo>
                  <a:pt x="4614348" y="1636803"/>
                </a:lnTo>
                <a:lnTo>
                  <a:pt x="4614135" y="1636946"/>
                </a:lnTo>
                <a:lnTo>
                  <a:pt x="4613708" y="1638795"/>
                </a:lnTo>
                <a:lnTo>
                  <a:pt x="4613068" y="1639365"/>
                </a:lnTo>
                <a:lnTo>
                  <a:pt x="4612001" y="1642210"/>
                </a:lnTo>
                <a:lnTo>
                  <a:pt x="4612001" y="1643632"/>
                </a:lnTo>
                <a:lnTo>
                  <a:pt x="4609866" y="1647474"/>
                </a:lnTo>
                <a:lnTo>
                  <a:pt x="4608586" y="1653449"/>
                </a:lnTo>
                <a:lnTo>
                  <a:pt x="4610720" y="1653449"/>
                </a:lnTo>
                <a:cubicBezTo>
                  <a:pt x="4612001" y="1654018"/>
                  <a:pt x="4613281" y="1654729"/>
                  <a:pt x="4614135" y="1655583"/>
                </a:cubicBezTo>
                <a:lnTo>
                  <a:pt x="4615629" y="1658144"/>
                </a:lnTo>
                <a:lnTo>
                  <a:pt x="4615629" y="1655868"/>
                </a:lnTo>
                <a:cubicBezTo>
                  <a:pt x="4616696" y="1657148"/>
                  <a:pt x="4619257" y="1656294"/>
                  <a:pt x="4620324" y="1657717"/>
                </a:cubicBezTo>
                <a:cubicBezTo>
                  <a:pt x="4620324" y="1657717"/>
                  <a:pt x="4621178" y="1661558"/>
                  <a:pt x="4621178" y="1661558"/>
                </a:cubicBezTo>
                <a:cubicBezTo>
                  <a:pt x="4619897" y="1662555"/>
                  <a:pt x="4620111" y="1662555"/>
                  <a:pt x="4620111" y="1661416"/>
                </a:cubicBezTo>
                <a:lnTo>
                  <a:pt x="4616269" y="1661700"/>
                </a:lnTo>
                <a:lnTo>
                  <a:pt x="4616483" y="1665827"/>
                </a:lnTo>
                <a:lnTo>
                  <a:pt x="4615842" y="1667818"/>
                </a:lnTo>
                <a:lnTo>
                  <a:pt x="4616269" y="1669810"/>
                </a:lnTo>
                <a:lnTo>
                  <a:pt x="4623739" y="1667818"/>
                </a:lnTo>
                <a:cubicBezTo>
                  <a:pt x="4626727" y="1667249"/>
                  <a:pt x="4629715" y="1666822"/>
                  <a:pt x="4631849" y="1666965"/>
                </a:cubicBezTo>
                <a:lnTo>
                  <a:pt x="4632275" y="1667107"/>
                </a:lnTo>
                <a:lnTo>
                  <a:pt x="4632489" y="1666680"/>
                </a:lnTo>
                <a:lnTo>
                  <a:pt x="4632916" y="1667107"/>
                </a:lnTo>
                <a:lnTo>
                  <a:pt x="4635050" y="1667960"/>
                </a:lnTo>
                <a:cubicBezTo>
                  <a:pt x="4634196" y="1668956"/>
                  <a:pt x="4633556" y="1670094"/>
                  <a:pt x="4632062" y="1670521"/>
                </a:cubicBezTo>
                <a:cubicBezTo>
                  <a:pt x="4630355" y="1670948"/>
                  <a:pt x="4630995" y="1669952"/>
                  <a:pt x="4630355" y="1670948"/>
                </a:cubicBezTo>
                <a:cubicBezTo>
                  <a:pt x="4628861" y="1671517"/>
                  <a:pt x="4629715" y="1672086"/>
                  <a:pt x="4629715" y="1672086"/>
                </a:cubicBezTo>
                <a:cubicBezTo>
                  <a:pt x="4629715" y="1672086"/>
                  <a:pt x="4628861" y="1671375"/>
                  <a:pt x="4628861" y="1671375"/>
                </a:cubicBezTo>
                <a:cubicBezTo>
                  <a:pt x="4628861" y="1671375"/>
                  <a:pt x="4628861" y="1671375"/>
                  <a:pt x="4625660" y="1672371"/>
                </a:cubicBezTo>
                <a:cubicBezTo>
                  <a:pt x="4621818" y="1674220"/>
                  <a:pt x="4620964" y="1675358"/>
                  <a:pt x="4618830" y="1676923"/>
                </a:cubicBezTo>
                <a:cubicBezTo>
                  <a:pt x="4615629" y="1677777"/>
                  <a:pt x="4614561" y="1677066"/>
                  <a:pt x="4610507" y="1677350"/>
                </a:cubicBezTo>
                <a:cubicBezTo>
                  <a:pt x="4609226" y="1675216"/>
                  <a:pt x="4609226" y="1675216"/>
                  <a:pt x="4609866" y="1674078"/>
                </a:cubicBezTo>
                <a:cubicBezTo>
                  <a:pt x="4609226" y="1675216"/>
                  <a:pt x="4608373" y="1674505"/>
                  <a:pt x="4606665" y="1674931"/>
                </a:cubicBezTo>
                <a:cubicBezTo>
                  <a:pt x="4600476" y="1678488"/>
                  <a:pt x="4597275" y="1673366"/>
                  <a:pt x="4595141" y="1666253"/>
                </a:cubicBezTo>
                <a:cubicBezTo>
                  <a:pt x="4596848" y="1665684"/>
                  <a:pt x="4595354" y="1661843"/>
                  <a:pt x="4595781" y="1659140"/>
                </a:cubicBezTo>
                <a:cubicBezTo>
                  <a:pt x="4596848" y="1657575"/>
                  <a:pt x="4597702" y="1656294"/>
                  <a:pt x="4598769" y="1655298"/>
                </a:cubicBezTo>
                <a:lnTo>
                  <a:pt x="4598769" y="1655156"/>
                </a:lnTo>
                <a:lnTo>
                  <a:pt x="4598342" y="1647332"/>
                </a:lnTo>
                <a:cubicBezTo>
                  <a:pt x="4598342" y="1643632"/>
                  <a:pt x="4599409" y="1640360"/>
                  <a:pt x="4601757" y="1638511"/>
                </a:cubicBezTo>
                <a:lnTo>
                  <a:pt x="4604745" y="1637231"/>
                </a:lnTo>
                <a:lnTo>
                  <a:pt x="4602183" y="1633958"/>
                </a:lnTo>
                <a:cubicBezTo>
                  <a:pt x="4601330" y="1632251"/>
                  <a:pt x="4601116" y="1630402"/>
                  <a:pt x="4601757" y="1629121"/>
                </a:cubicBezTo>
                <a:close/>
                <a:moveTo>
                  <a:pt x="1623085" y="1628757"/>
                </a:moveTo>
                <a:cubicBezTo>
                  <a:pt x="1628661" y="1628912"/>
                  <a:pt x="1632688" y="1630771"/>
                  <a:pt x="1636714" y="1629841"/>
                </a:cubicBezTo>
                <a:cubicBezTo>
                  <a:pt x="1636714" y="1629841"/>
                  <a:pt x="1636714" y="1629841"/>
                  <a:pt x="1638160" y="1631545"/>
                </a:cubicBezTo>
                <a:cubicBezTo>
                  <a:pt x="1638986" y="1631700"/>
                  <a:pt x="1638986" y="1631700"/>
                  <a:pt x="1638986" y="1631700"/>
                </a:cubicBezTo>
                <a:cubicBezTo>
                  <a:pt x="1639812" y="1631700"/>
                  <a:pt x="1639606" y="1633404"/>
                  <a:pt x="1639606" y="1633404"/>
                </a:cubicBezTo>
                <a:cubicBezTo>
                  <a:pt x="1638470" y="1634953"/>
                  <a:pt x="1636095" y="1633869"/>
                  <a:pt x="1634340" y="1633869"/>
                </a:cubicBezTo>
                <a:cubicBezTo>
                  <a:pt x="1633204" y="1635417"/>
                  <a:pt x="1631139" y="1632010"/>
                  <a:pt x="1630003" y="1633559"/>
                </a:cubicBezTo>
                <a:cubicBezTo>
                  <a:pt x="1627215" y="1629996"/>
                  <a:pt x="1622259" y="1633869"/>
                  <a:pt x="1616890" y="1629376"/>
                </a:cubicBezTo>
                <a:cubicBezTo>
                  <a:pt x="1619161" y="1628757"/>
                  <a:pt x="1621226" y="1628602"/>
                  <a:pt x="1623085" y="1628757"/>
                </a:cubicBezTo>
                <a:close/>
                <a:moveTo>
                  <a:pt x="5110122" y="1628267"/>
                </a:moveTo>
                <a:cubicBezTo>
                  <a:pt x="5114177" y="1629405"/>
                  <a:pt x="5120153" y="1633531"/>
                  <a:pt x="5122927" y="1636376"/>
                </a:cubicBezTo>
                <a:cubicBezTo>
                  <a:pt x="5119513" y="1638511"/>
                  <a:pt x="5110122" y="1632251"/>
                  <a:pt x="5106708" y="1628552"/>
                </a:cubicBezTo>
                <a:cubicBezTo>
                  <a:pt x="5107561" y="1627983"/>
                  <a:pt x="5108628" y="1627983"/>
                  <a:pt x="5110122" y="1628267"/>
                </a:cubicBezTo>
                <a:close/>
                <a:moveTo>
                  <a:pt x="3816799" y="1628125"/>
                </a:moveTo>
                <a:cubicBezTo>
                  <a:pt x="3816372" y="1632109"/>
                  <a:pt x="3811463" y="1639080"/>
                  <a:pt x="3805274" y="1640930"/>
                </a:cubicBezTo>
                <a:lnTo>
                  <a:pt x="3801219" y="1640930"/>
                </a:lnTo>
                <a:lnTo>
                  <a:pt x="3804207" y="1642494"/>
                </a:lnTo>
                <a:cubicBezTo>
                  <a:pt x="3805274" y="1643917"/>
                  <a:pt x="3805701" y="1646051"/>
                  <a:pt x="3805701" y="1648043"/>
                </a:cubicBezTo>
                <a:cubicBezTo>
                  <a:pt x="3805487" y="1646905"/>
                  <a:pt x="3805274" y="1646905"/>
                  <a:pt x="3805274" y="1646905"/>
                </a:cubicBezTo>
                <a:cubicBezTo>
                  <a:pt x="3803780" y="1646335"/>
                  <a:pt x="3804207" y="1647474"/>
                  <a:pt x="3803140" y="1648043"/>
                </a:cubicBezTo>
                <a:cubicBezTo>
                  <a:pt x="3803140" y="1648043"/>
                  <a:pt x="3804207" y="1647474"/>
                  <a:pt x="3803567" y="1649039"/>
                </a:cubicBezTo>
                <a:cubicBezTo>
                  <a:pt x="3803140" y="1647901"/>
                  <a:pt x="3802073" y="1648470"/>
                  <a:pt x="3801006" y="1649039"/>
                </a:cubicBezTo>
                <a:cubicBezTo>
                  <a:pt x="3798018" y="1647901"/>
                  <a:pt x="3794603" y="1645767"/>
                  <a:pt x="3794816" y="1643063"/>
                </a:cubicBezTo>
                <a:cubicBezTo>
                  <a:pt x="3795457" y="1641356"/>
                  <a:pt x="3796524" y="1640645"/>
                  <a:pt x="3797377" y="1640218"/>
                </a:cubicBezTo>
                <a:lnTo>
                  <a:pt x="3799085" y="1640218"/>
                </a:lnTo>
                <a:lnTo>
                  <a:pt x="3802073" y="1634100"/>
                </a:lnTo>
                <a:cubicBezTo>
                  <a:pt x="3805701" y="1629121"/>
                  <a:pt x="3811250" y="1628979"/>
                  <a:pt x="3816799" y="1628125"/>
                </a:cubicBezTo>
                <a:close/>
                <a:moveTo>
                  <a:pt x="3770914" y="1627840"/>
                </a:moveTo>
                <a:lnTo>
                  <a:pt x="3771767" y="1628979"/>
                </a:lnTo>
                <a:lnTo>
                  <a:pt x="3773261" y="1628837"/>
                </a:lnTo>
                <a:cubicBezTo>
                  <a:pt x="3779664" y="1628979"/>
                  <a:pt x="3785640" y="1630829"/>
                  <a:pt x="3786706" y="1637799"/>
                </a:cubicBezTo>
                <a:cubicBezTo>
                  <a:pt x="3784786" y="1637657"/>
                  <a:pt x="3782011" y="1637799"/>
                  <a:pt x="3778810" y="1637941"/>
                </a:cubicBezTo>
                <a:lnTo>
                  <a:pt x="3775182" y="1637941"/>
                </a:lnTo>
                <a:lnTo>
                  <a:pt x="3778597" y="1638653"/>
                </a:lnTo>
                <a:cubicBezTo>
                  <a:pt x="3779450" y="1639080"/>
                  <a:pt x="3779877" y="1639933"/>
                  <a:pt x="3779237" y="1641641"/>
                </a:cubicBezTo>
                <a:cubicBezTo>
                  <a:pt x="3779023" y="1644344"/>
                  <a:pt x="3776462" y="1644202"/>
                  <a:pt x="3775182" y="1647474"/>
                </a:cubicBezTo>
                <a:cubicBezTo>
                  <a:pt x="3774328" y="1650461"/>
                  <a:pt x="3776676" y="1652453"/>
                  <a:pt x="3779023" y="1655298"/>
                </a:cubicBezTo>
                <a:lnTo>
                  <a:pt x="3779237" y="1655868"/>
                </a:lnTo>
                <a:lnTo>
                  <a:pt x="3779450" y="1655868"/>
                </a:lnTo>
                <a:cubicBezTo>
                  <a:pt x="3780304" y="1656721"/>
                  <a:pt x="3780944" y="1657859"/>
                  <a:pt x="3781158" y="1659140"/>
                </a:cubicBezTo>
                <a:lnTo>
                  <a:pt x="3781798" y="1660278"/>
                </a:lnTo>
                <a:cubicBezTo>
                  <a:pt x="3782225" y="1662270"/>
                  <a:pt x="3782438" y="1664688"/>
                  <a:pt x="3781585" y="1667676"/>
                </a:cubicBezTo>
                <a:cubicBezTo>
                  <a:pt x="3778597" y="1666538"/>
                  <a:pt x="3774969" y="1673509"/>
                  <a:pt x="3770487" y="1671802"/>
                </a:cubicBezTo>
                <a:lnTo>
                  <a:pt x="3767285" y="1670664"/>
                </a:lnTo>
                <a:lnTo>
                  <a:pt x="3768139" y="1673366"/>
                </a:lnTo>
                <a:cubicBezTo>
                  <a:pt x="3758962" y="1675785"/>
                  <a:pt x="3747651" y="1675501"/>
                  <a:pt x="3745090" y="1675216"/>
                </a:cubicBezTo>
                <a:cubicBezTo>
                  <a:pt x="3743809" y="1675216"/>
                  <a:pt x="3742956" y="1674789"/>
                  <a:pt x="3742529" y="1674220"/>
                </a:cubicBezTo>
                <a:cubicBezTo>
                  <a:pt x="3742315" y="1673509"/>
                  <a:pt x="3742315" y="1672656"/>
                  <a:pt x="3742529" y="1671233"/>
                </a:cubicBezTo>
                <a:cubicBezTo>
                  <a:pt x="3745943" y="1666111"/>
                  <a:pt x="3751279" y="1667676"/>
                  <a:pt x="3757255" y="1666395"/>
                </a:cubicBezTo>
                <a:cubicBezTo>
                  <a:pt x="3757681" y="1667534"/>
                  <a:pt x="3759176" y="1668102"/>
                  <a:pt x="3760243" y="1667676"/>
                </a:cubicBezTo>
                <a:lnTo>
                  <a:pt x="3761736" y="1668387"/>
                </a:lnTo>
                <a:lnTo>
                  <a:pt x="3758535" y="1665542"/>
                </a:lnTo>
                <a:cubicBezTo>
                  <a:pt x="3757041" y="1662981"/>
                  <a:pt x="3757468" y="1659566"/>
                  <a:pt x="3757468" y="1654871"/>
                </a:cubicBezTo>
                <a:cubicBezTo>
                  <a:pt x="3757895" y="1656010"/>
                  <a:pt x="3758535" y="1654444"/>
                  <a:pt x="3758535" y="1654444"/>
                </a:cubicBezTo>
                <a:cubicBezTo>
                  <a:pt x="3759816" y="1651172"/>
                  <a:pt x="3752986" y="1653164"/>
                  <a:pt x="3753840" y="1648897"/>
                </a:cubicBezTo>
                <a:cubicBezTo>
                  <a:pt x="3755974" y="1641925"/>
                  <a:pt x="3764511" y="1640076"/>
                  <a:pt x="3768993" y="1639222"/>
                </a:cubicBezTo>
                <a:lnTo>
                  <a:pt x="3771340" y="1638795"/>
                </a:lnTo>
                <a:lnTo>
                  <a:pt x="3771127" y="1637941"/>
                </a:lnTo>
                <a:lnTo>
                  <a:pt x="3768566" y="1637941"/>
                </a:lnTo>
                <a:cubicBezTo>
                  <a:pt x="3761736" y="1637373"/>
                  <a:pt x="3755761" y="1635666"/>
                  <a:pt x="3755334" y="1630544"/>
                </a:cubicBezTo>
                <a:cubicBezTo>
                  <a:pt x="3757468" y="1630402"/>
                  <a:pt x="3760243" y="1629975"/>
                  <a:pt x="3763231" y="1629548"/>
                </a:cubicBezTo>
                <a:lnTo>
                  <a:pt x="3768779" y="1629121"/>
                </a:lnTo>
                <a:lnTo>
                  <a:pt x="3769633" y="1627983"/>
                </a:lnTo>
                <a:cubicBezTo>
                  <a:pt x="3770059" y="1627556"/>
                  <a:pt x="3770487" y="1627556"/>
                  <a:pt x="3770914" y="1627840"/>
                </a:cubicBezTo>
                <a:close/>
                <a:moveTo>
                  <a:pt x="1421735" y="1627828"/>
                </a:moveTo>
                <a:cubicBezTo>
                  <a:pt x="1423697" y="1627982"/>
                  <a:pt x="1424110" y="1628757"/>
                  <a:pt x="1423697" y="1629841"/>
                </a:cubicBezTo>
                <a:cubicBezTo>
                  <a:pt x="1423697" y="1629841"/>
                  <a:pt x="1423181" y="1630926"/>
                  <a:pt x="1422768" y="1632010"/>
                </a:cubicBezTo>
                <a:cubicBezTo>
                  <a:pt x="1422355" y="1633094"/>
                  <a:pt x="1422768" y="1633869"/>
                  <a:pt x="1422768" y="1633869"/>
                </a:cubicBezTo>
                <a:cubicBezTo>
                  <a:pt x="1422355" y="1634953"/>
                  <a:pt x="1421529" y="1635263"/>
                  <a:pt x="1420393" y="1634798"/>
                </a:cubicBezTo>
                <a:cubicBezTo>
                  <a:pt x="1420393" y="1634798"/>
                  <a:pt x="1420393" y="1632939"/>
                  <a:pt x="1420393" y="1632939"/>
                </a:cubicBezTo>
                <a:cubicBezTo>
                  <a:pt x="1421219" y="1630771"/>
                  <a:pt x="1421632" y="1629686"/>
                  <a:pt x="1421735" y="1627828"/>
                </a:cubicBezTo>
                <a:close/>
                <a:moveTo>
                  <a:pt x="1181251" y="1627363"/>
                </a:moveTo>
                <a:cubicBezTo>
                  <a:pt x="1181148" y="1628137"/>
                  <a:pt x="1181871" y="1629067"/>
                  <a:pt x="1181768" y="1629996"/>
                </a:cubicBezTo>
                <a:cubicBezTo>
                  <a:pt x="1179702" y="1631545"/>
                  <a:pt x="1177431" y="1629686"/>
                  <a:pt x="1177534" y="1628757"/>
                </a:cubicBezTo>
                <a:cubicBezTo>
                  <a:pt x="1178567" y="1627982"/>
                  <a:pt x="1180322" y="1628137"/>
                  <a:pt x="1181251" y="1627363"/>
                </a:cubicBezTo>
                <a:close/>
                <a:moveTo>
                  <a:pt x="4667276" y="1626702"/>
                </a:moveTo>
                <a:cubicBezTo>
                  <a:pt x="4669411" y="1625565"/>
                  <a:pt x="4680082" y="1633104"/>
                  <a:pt x="4675600" y="1636519"/>
                </a:cubicBezTo>
                <a:cubicBezTo>
                  <a:pt x="4671118" y="1638653"/>
                  <a:pt x="4666209" y="1628979"/>
                  <a:pt x="4667276" y="1626702"/>
                </a:cubicBezTo>
                <a:close/>
                <a:moveTo>
                  <a:pt x="4833744" y="1626560"/>
                </a:moveTo>
                <a:cubicBezTo>
                  <a:pt x="4834171" y="1628125"/>
                  <a:pt x="4834384" y="1629832"/>
                  <a:pt x="4835024" y="1628837"/>
                </a:cubicBezTo>
                <a:cubicBezTo>
                  <a:pt x="4835238" y="1630402"/>
                  <a:pt x="4835024" y="1631682"/>
                  <a:pt x="4834598" y="1632820"/>
                </a:cubicBezTo>
                <a:cubicBezTo>
                  <a:pt x="4833957" y="1633958"/>
                  <a:pt x="4833103" y="1634954"/>
                  <a:pt x="4832036" y="1635666"/>
                </a:cubicBezTo>
                <a:cubicBezTo>
                  <a:pt x="4830329" y="1636092"/>
                  <a:pt x="4828408" y="1634812"/>
                  <a:pt x="4826274" y="1631966"/>
                </a:cubicBezTo>
                <a:cubicBezTo>
                  <a:pt x="4826701" y="1629263"/>
                  <a:pt x="4831610" y="1627983"/>
                  <a:pt x="4833744" y="1626560"/>
                </a:cubicBezTo>
                <a:close/>
                <a:moveTo>
                  <a:pt x="1313936" y="1626433"/>
                </a:moveTo>
                <a:cubicBezTo>
                  <a:pt x="1326223" y="1621787"/>
                  <a:pt x="1344912" y="1630461"/>
                  <a:pt x="1346874" y="1643782"/>
                </a:cubicBezTo>
                <a:cubicBezTo>
                  <a:pt x="1342125" y="1648274"/>
                  <a:pt x="1336342" y="1649978"/>
                  <a:pt x="1330560" y="1649358"/>
                </a:cubicBezTo>
                <a:cubicBezTo>
                  <a:pt x="1320957" y="1648429"/>
                  <a:pt x="1311561" y="1641459"/>
                  <a:pt x="1307947" y="1631545"/>
                </a:cubicBezTo>
                <a:cubicBezTo>
                  <a:pt x="1308876" y="1630771"/>
                  <a:pt x="1309805" y="1630151"/>
                  <a:pt x="1309083" y="1629222"/>
                </a:cubicBezTo>
                <a:cubicBezTo>
                  <a:pt x="1310528" y="1627982"/>
                  <a:pt x="1312077" y="1627053"/>
                  <a:pt x="1313936" y="1626433"/>
                </a:cubicBezTo>
                <a:close/>
                <a:moveTo>
                  <a:pt x="4958595" y="1626418"/>
                </a:moveTo>
                <a:cubicBezTo>
                  <a:pt x="4959235" y="1626560"/>
                  <a:pt x="4959662" y="1627272"/>
                  <a:pt x="4959875" y="1628125"/>
                </a:cubicBezTo>
                <a:cubicBezTo>
                  <a:pt x="4959875" y="1628125"/>
                  <a:pt x="4960515" y="1629690"/>
                  <a:pt x="4960942" y="1631397"/>
                </a:cubicBezTo>
                <a:cubicBezTo>
                  <a:pt x="4961582" y="1632962"/>
                  <a:pt x="4962650" y="1633674"/>
                  <a:pt x="4962650" y="1633674"/>
                </a:cubicBezTo>
                <a:cubicBezTo>
                  <a:pt x="4963076" y="1635381"/>
                  <a:pt x="4962650" y="1636376"/>
                  <a:pt x="4961155" y="1636803"/>
                </a:cubicBezTo>
                <a:cubicBezTo>
                  <a:pt x="4961155" y="1636803"/>
                  <a:pt x="4959448" y="1634669"/>
                  <a:pt x="4959448" y="1634669"/>
                </a:cubicBezTo>
                <a:cubicBezTo>
                  <a:pt x="4958381" y="1631255"/>
                  <a:pt x="4957954" y="1629690"/>
                  <a:pt x="4956247" y="1627414"/>
                </a:cubicBezTo>
                <a:cubicBezTo>
                  <a:pt x="4957314" y="1626560"/>
                  <a:pt x="4957954" y="1626276"/>
                  <a:pt x="4958595" y="1626418"/>
                </a:cubicBezTo>
                <a:close/>
                <a:moveTo>
                  <a:pt x="1253840" y="1625969"/>
                </a:moveTo>
                <a:cubicBezTo>
                  <a:pt x="1255389" y="1625504"/>
                  <a:pt x="1257351" y="1625349"/>
                  <a:pt x="1259726" y="1626124"/>
                </a:cubicBezTo>
                <a:cubicBezTo>
                  <a:pt x="1265199" y="1627673"/>
                  <a:pt x="1270671" y="1631080"/>
                  <a:pt x="1268296" y="1639445"/>
                </a:cubicBezTo>
                <a:cubicBezTo>
                  <a:pt x="1268296" y="1641304"/>
                  <a:pt x="1267780" y="1640529"/>
                  <a:pt x="1267470" y="1641613"/>
                </a:cubicBezTo>
                <a:cubicBezTo>
                  <a:pt x="1267057" y="1642698"/>
                  <a:pt x="1267057" y="1644556"/>
                  <a:pt x="1267470" y="1645331"/>
                </a:cubicBezTo>
                <a:cubicBezTo>
                  <a:pt x="1263133" y="1644247"/>
                  <a:pt x="1262721" y="1647034"/>
                  <a:pt x="1256112" y="1645021"/>
                </a:cubicBezTo>
                <a:cubicBezTo>
                  <a:pt x="1249607" y="1643472"/>
                  <a:pt x="1247335" y="1639600"/>
                  <a:pt x="1247026" y="1636037"/>
                </a:cubicBezTo>
                <a:cubicBezTo>
                  <a:pt x="1246819" y="1634953"/>
                  <a:pt x="1246922" y="1633869"/>
                  <a:pt x="1247129" y="1632784"/>
                </a:cubicBezTo>
                <a:cubicBezTo>
                  <a:pt x="1248058" y="1633094"/>
                  <a:pt x="1249194" y="1627673"/>
                  <a:pt x="1253840" y="1625969"/>
                </a:cubicBezTo>
                <a:close/>
                <a:moveTo>
                  <a:pt x="1731568" y="1625543"/>
                </a:moveTo>
                <a:cubicBezTo>
                  <a:pt x="1735815" y="1626976"/>
                  <a:pt x="1739403" y="1630848"/>
                  <a:pt x="1740591" y="1635573"/>
                </a:cubicBezTo>
                <a:cubicBezTo>
                  <a:pt x="1741933" y="1641304"/>
                  <a:pt x="1739868" y="1648119"/>
                  <a:pt x="1731401" y="1653541"/>
                </a:cubicBezTo>
                <a:cubicBezTo>
                  <a:pt x="1723037" y="1650443"/>
                  <a:pt x="1717254" y="1643627"/>
                  <a:pt x="1716944" y="1636811"/>
                </a:cubicBezTo>
                <a:cubicBezTo>
                  <a:pt x="1716841" y="1634643"/>
                  <a:pt x="1717358" y="1632320"/>
                  <a:pt x="1718597" y="1630151"/>
                </a:cubicBezTo>
                <a:cubicBezTo>
                  <a:pt x="1722417" y="1625117"/>
                  <a:pt x="1727322" y="1624110"/>
                  <a:pt x="1731568" y="1625543"/>
                </a:cubicBezTo>
                <a:close/>
                <a:moveTo>
                  <a:pt x="1787778" y="1625504"/>
                </a:moveTo>
                <a:cubicBezTo>
                  <a:pt x="1789328" y="1627208"/>
                  <a:pt x="1789224" y="1631235"/>
                  <a:pt x="1787159" y="1632939"/>
                </a:cubicBezTo>
                <a:cubicBezTo>
                  <a:pt x="1784062" y="1633404"/>
                  <a:pt x="1783751" y="1631545"/>
                  <a:pt x="1781893" y="1632165"/>
                </a:cubicBezTo>
                <a:cubicBezTo>
                  <a:pt x="1781996" y="1627982"/>
                  <a:pt x="1784062" y="1626433"/>
                  <a:pt x="1787778" y="1625504"/>
                </a:cubicBezTo>
                <a:close/>
                <a:moveTo>
                  <a:pt x="4943015" y="1625422"/>
                </a:moveTo>
                <a:cubicBezTo>
                  <a:pt x="4944509" y="1625280"/>
                  <a:pt x="4946216" y="1626418"/>
                  <a:pt x="4948777" y="1627840"/>
                </a:cubicBezTo>
                <a:lnTo>
                  <a:pt x="4947710" y="1628837"/>
                </a:lnTo>
                <a:lnTo>
                  <a:pt x="4948350" y="1629548"/>
                </a:lnTo>
                <a:cubicBezTo>
                  <a:pt x="4949417" y="1630402"/>
                  <a:pt x="4950698" y="1631539"/>
                  <a:pt x="4951552" y="1632535"/>
                </a:cubicBezTo>
                <a:cubicBezTo>
                  <a:pt x="4951124" y="1633674"/>
                  <a:pt x="4951765" y="1635239"/>
                  <a:pt x="4951338" y="1636234"/>
                </a:cubicBezTo>
                <a:cubicBezTo>
                  <a:pt x="4950058" y="1635666"/>
                  <a:pt x="4947496" y="1635381"/>
                  <a:pt x="4947924" y="1634385"/>
                </a:cubicBezTo>
                <a:cubicBezTo>
                  <a:pt x="4946856" y="1633816"/>
                  <a:pt x="4947710" y="1631682"/>
                  <a:pt x="4947710" y="1631682"/>
                </a:cubicBezTo>
                <a:lnTo>
                  <a:pt x="4946429" y="1630259"/>
                </a:lnTo>
                <a:lnTo>
                  <a:pt x="4945149" y="1631824"/>
                </a:lnTo>
                <a:cubicBezTo>
                  <a:pt x="4943655" y="1632251"/>
                  <a:pt x="4941948" y="1631824"/>
                  <a:pt x="4939600" y="1630971"/>
                </a:cubicBezTo>
                <a:cubicBezTo>
                  <a:pt x="4940667" y="1627272"/>
                  <a:pt x="4941734" y="1625707"/>
                  <a:pt x="4943015" y="1625422"/>
                </a:cubicBezTo>
                <a:close/>
                <a:moveTo>
                  <a:pt x="5875446" y="1624995"/>
                </a:moveTo>
                <a:cubicBezTo>
                  <a:pt x="5875659" y="1627414"/>
                  <a:pt x="5876940" y="1631966"/>
                  <a:pt x="5876299" y="1634527"/>
                </a:cubicBezTo>
                <a:cubicBezTo>
                  <a:pt x="5875873" y="1635381"/>
                  <a:pt x="5875446" y="1636092"/>
                  <a:pt x="5874806" y="1636234"/>
                </a:cubicBezTo>
                <a:cubicBezTo>
                  <a:pt x="5874165" y="1632962"/>
                  <a:pt x="5871818" y="1628552"/>
                  <a:pt x="5875446" y="1624995"/>
                </a:cubicBezTo>
                <a:close/>
                <a:moveTo>
                  <a:pt x="4600049" y="1624995"/>
                </a:moveTo>
                <a:cubicBezTo>
                  <a:pt x="4600476" y="1625137"/>
                  <a:pt x="4600690" y="1625422"/>
                  <a:pt x="4600690" y="1625422"/>
                </a:cubicBezTo>
                <a:cubicBezTo>
                  <a:pt x="4601330" y="1626133"/>
                  <a:pt x="4601757" y="1626702"/>
                  <a:pt x="4601970" y="1627272"/>
                </a:cubicBezTo>
                <a:cubicBezTo>
                  <a:pt x="4602183" y="1627840"/>
                  <a:pt x="4602183" y="1628552"/>
                  <a:pt x="4601543" y="1629121"/>
                </a:cubicBezTo>
                <a:cubicBezTo>
                  <a:pt x="4601543" y="1629121"/>
                  <a:pt x="4600476" y="1629121"/>
                  <a:pt x="4598342" y="1626702"/>
                </a:cubicBezTo>
                <a:cubicBezTo>
                  <a:pt x="4599409" y="1626702"/>
                  <a:pt x="4599622" y="1625422"/>
                  <a:pt x="4599622" y="1625422"/>
                </a:cubicBezTo>
                <a:cubicBezTo>
                  <a:pt x="4599622" y="1625422"/>
                  <a:pt x="4599622" y="1625422"/>
                  <a:pt x="4598555" y="1625422"/>
                </a:cubicBezTo>
                <a:cubicBezTo>
                  <a:pt x="4599195" y="1624853"/>
                  <a:pt x="4599622" y="1624853"/>
                  <a:pt x="4600049" y="1624995"/>
                </a:cubicBezTo>
                <a:close/>
                <a:moveTo>
                  <a:pt x="5179270" y="1624853"/>
                </a:moveTo>
                <a:cubicBezTo>
                  <a:pt x="5180978" y="1624568"/>
                  <a:pt x="5182472" y="1624710"/>
                  <a:pt x="5183752" y="1625280"/>
                </a:cubicBezTo>
                <a:cubicBezTo>
                  <a:pt x="5185460" y="1625991"/>
                  <a:pt x="5186527" y="1627698"/>
                  <a:pt x="5186740" y="1630402"/>
                </a:cubicBezTo>
                <a:cubicBezTo>
                  <a:pt x="5179484" y="1631966"/>
                  <a:pt x="5174362" y="1636946"/>
                  <a:pt x="5170520" y="1635239"/>
                </a:cubicBezTo>
                <a:cubicBezTo>
                  <a:pt x="5169239" y="1634669"/>
                  <a:pt x="5167959" y="1633389"/>
                  <a:pt x="5166892" y="1630971"/>
                </a:cubicBezTo>
                <a:cubicBezTo>
                  <a:pt x="5168599" y="1629121"/>
                  <a:pt x="5174362" y="1625565"/>
                  <a:pt x="5179270" y="1624853"/>
                </a:cubicBezTo>
                <a:close/>
                <a:moveTo>
                  <a:pt x="4800664" y="1624853"/>
                </a:moveTo>
                <a:cubicBezTo>
                  <a:pt x="4801518" y="1625137"/>
                  <a:pt x="4802371" y="1625707"/>
                  <a:pt x="4803225" y="1626845"/>
                </a:cubicBezTo>
                <a:cubicBezTo>
                  <a:pt x="4797890" y="1633247"/>
                  <a:pt x="4798530" y="1640645"/>
                  <a:pt x="4798956" y="1647474"/>
                </a:cubicBezTo>
                <a:lnTo>
                  <a:pt x="4798743" y="1654444"/>
                </a:lnTo>
                <a:lnTo>
                  <a:pt x="4798956" y="1656579"/>
                </a:lnTo>
                <a:lnTo>
                  <a:pt x="4798743" y="1656721"/>
                </a:lnTo>
                <a:lnTo>
                  <a:pt x="4798743" y="1657148"/>
                </a:lnTo>
                <a:cubicBezTo>
                  <a:pt x="4798103" y="1660136"/>
                  <a:pt x="4796609" y="1662697"/>
                  <a:pt x="4793621" y="1664830"/>
                </a:cubicBezTo>
                <a:lnTo>
                  <a:pt x="4791700" y="1657575"/>
                </a:lnTo>
                <a:lnTo>
                  <a:pt x="4789566" y="1657006"/>
                </a:lnTo>
                <a:cubicBezTo>
                  <a:pt x="4786792" y="1655441"/>
                  <a:pt x="4784444" y="1652169"/>
                  <a:pt x="4784657" y="1648043"/>
                </a:cubicBezTo>
                <a:lnTo>
                  <a:pt x="4789139" y="1646335"/>
                </a:lnTo>
                <a:lnTo>
                  <a:pt x="4788926" y="1638511"/>
                </a:lnTo>
                <a:cubicBezTo>
                  <a:pt x="4789352" y="1635096"/>
                  <a:pt x="4790206" y="1631397"/>
                  <a:pt x="4791914" y="1627414"/>
                </a:cubicBezTo>
                <a:cubicBezTo>
                  <a:pt x="4794475" y="1626987"/>
                  <a:pt x="4797890" y="1624142"/>
                  <a:pt x="4800664" y="1624853"/>
                </a:cubicBezTo>
                <a:close/>
                <a:moveTo>
                  <a:pt x="1601607" y="1624575"/>
                </a:moveTo>
                <a:cubicBezTo>
                  <a:pt x="1601607" y="1624575"/>
                  <a:pt x="1601607" y="1624575"/>
                  <a:pt x="1603982" y="1625504"/>
                </a:cubicBezTo>
                <a:cubicBezTo>
                  <a:pt x="1604705" y="1625195"/>
                  <a:pt x="1604705" y="1625195"/>
                  <a:pt x="1604705" y="1625195"/>
                </a:cubicBezTo>
                <a:cubicBezTo>
                  <a:pt x="1605531" y="1624885"/>
                  <a:pt x="1606254" y="1626433"/>
                  <a:pt x="1606254" y="1626433"/>
                </a:cubicBezTo>
                <a:cubicBezTo>
                  <a:pt x="1606254" y="1628292"/>
                  <a:pt x="1603569" y="1628447"/>
                  <a:pt x="1602021" y="1629067"/>
                </a:cubicBezTo>
                <a:cubicBezTo>
                  <a:pt x="1602021" y="1630926"/>
                  <a:pt x="1598097" y="1628757"/>
                  <a:pt x="1598097" y="1630616"/>
                </a:cubicBezTo>
                <a:cubicBezTo>
                  <a:pt x="1593450" y="1628602"/>
                  <a:pt x="1591592" y="1634023"/>
                  <a:pt x="1584157" y="1632320"/>
                </a:cubicBezTo>
                <a:cubicBezTo>
                  <a:pt x="1585809" y="1630926"/>
                  <a:pt x="1587461" y="1629996"/>
                  <a:pt x="1589113" y="1629222"/>
                </a:cubicBezTo>
                <a:cubicBezTo>
                  <a:pt x="1594070" y="1627053"/>
                  <a:pt x="1598716" y="1627053"/>
                  <a:pt x="1601607" y="1624575"/>
                </a:cubicBezTo>
                <a:close/>
                <a:moveTo>
                  <a:pt x="1539241" y="1624575"/>
                </a:moveTo>
                <a:cubicBezTo>
                  <a:pt x="1539241" y="1624575"/>
                  <a:pt x="1539241" y="1624575"/>
                  <a:pt x="1538518" y="1625040"/>
                </a:cubicBezTo>
                <a:lnTo>
                  <a:pt x="1537795" y="1624730"/>
                </a:lnTo>
                <a:lnTo>
                  <a:pt x="1538311" y="1625349"/>
                </a:lnTo>
                <a:close/>
                <a:moveTo>
                  <a:pt x="1456429" y="1624420"/>
                </a:moveTo>
                <a:cubicBezTo>
                  <a:pt x="1456429" y="1624420"/>
                  <a:pt x="1456532" y="1624420"/>
                  <a:pt x="1457668" y="1624885"/>
                </a:cubicBezTo>
                <a:cubicBezTo>
                  <a:pt x="1456120" y="1625504"/>
                  <a:pt x="1456945" y="1629067"/>
                  <a:pt x="1454570" y="1627982"/>
                </a:cubicBezTo>
                <a:cubicBezTo>
                  <a:pt x="1454984" y="1626898"/>
                  <a:pt x="1456120" y="1625504"/>
                  <a:pt x="1456429" y="1624420"/>
                </a:cubicBezTo>
                <a:close/>
                <a:moveTo>
                  <a:pt x="5664587" y="1624142"/>
                </a:moveTo>
                <a:cubicBezTo>
                  <a:pt x="5675258" y="1623430"/>
                  <a:pt x="5685716" y="1627556"/>
                  <a:pt x="5689984" y="1637231"/>
                </a:cubicBezTo>
                <a:cubicBezTo>
                  <a:pt x="5685716" y="1646193"/>
                  <a:pt x="5679100" y="1651884"/>
                  <a:pt x="5671843" y="1654587"/>
                </a:cubicBezTo>
                <a:cubicBezTo>
                  <a:pt x="5659465" y="1659282"/>
                  <a:pt x="5645166" y="1655583"/>
                  <a:pt x="5637056" y="1644344"/>
                </a:cubicBezTo>
                <a:cubicBezTo>
                  <a:pt x="5637909" y="1642921"/>
                  <a:pt x="5638977" y="1641356"/>
                  <a:pt x="5637483" y="1640645"/>
                </a:cubicBezTo>
                <a:cubicBezTo>
                  <a:pt x="5642818" y="1630544"/>
                  <a:pt x="5653916" y="1624853"/>
                  <a:pt x="5664587" y="1624142"/>
                </a:cubicBezTo>
                <a:close/>
                <a:moveTo>
                  <a:pt x="4984632" y="1623857"/>
                </a:moveTo>
                <a:cubicBezTo>
                  <a:pt x="4986125" y="1623430"/>
                  <a:pt x="4986552" y="1624995"/>
                  <a:pt x="4987620" y="1625565"/>
                </a:cubicBezTo>
                <a:cubicBezTo>
                  <a:pt x="4989113" y="1627698"/>
                  <a:pt x="4989113" y="1636661"/>
                  <a:pt x="4987620" y="1637088"/>
                </a:cubicBezTo>
                <a:cubicBezTo>
                  <a:pt x="4985912" y="1634243"/>
                  <a:pt x="4983137" y="1629263"/>
                  <a:pt x="4983351" y="1626133"/>
                </a:cubicBezTo>
                <a:cubicBezTo>
                  <a:pt x="4983351" y="1625137"/>
                  <a:pt x="4983778" y="1624284"/>
                  <a:pt x="4984632" y="1623857"/>
                </a:cubicBezTo>
                <a:close/>
                <a:moveTo>
                  <a:pt x="5790291" y="1623573"/>
                </a:moveTo>
                <a:cubicBezTo>
                  <a:pt x="5790718" y="1625137"/>
                  <a:pt x="5790505" y="1625137"/>
                  <a:pt x="5789864" y="1626133"/>
                </a:cubicBezTo>
                <a:cubicBezTo>
                  <a:pt x="5788370" y="1626702"/>
                  <a:pt x="5787517" y="1625991"/>
                  <a:pt x="5785810" y="1626418"/>
                </a:cubicBezTo>
                <a:cubicBezTo>
                  <a:pt x="5786450" y="1629690"/>
                  <a:pt x="5786877" y="1628694"/>
                  <a:pt x="5785383" y="1629121"/>
                </a:cubicBezTo>
                <a:cubicBezTo>
                  <a:pt x="5785383" y="1629121"/>
                  <a:pt x="5785383" y="1629121"/>
                  <a:pt x="5783675" y="1629548"/>
                </a:cubicBezTo>
                <a:cubicBezTo>
                  <a:pt x="5783675" y="1629548"/>
                  <a:pt x="5783248" y="1630544"/>
                  <a:pt x="5781755" y="1626702"/>
                </a:cubicBezTo>
                <a:cubicBezTo>
                  <a:pt x="5783248" y="1626276"/>
                  <a:pt x="5787943" y="1624995"/>
                  <a:pt x="5787943" y="1624995"/>
                </a:cubicBezTo>
                <a:cubicBezTo>
                  <a:pt x="5788797" y="1623999"/>
                  <a:pt x="5788797" y="1623999"/>
                  <a:pt x="5790291" y="1623573"/>
                </a:cubicBezTo>
                <a:close/>
                <a:moveTo>
                  <a:pt x="1415333" y="1622871"/>
                </a:moveTo>
                <a:cubicBezTo>
                  <a:pt x="1415024" y="1623955"/>
                  <a:pt x="1416263" y="1626433"/>
                  <a:pt x="1416263" y="1628292"/>
                </a:cubicBezTo>
                <a:cubicBezTo>
                  <a:pt x="1415540" y="1628602"/>
                  <a:pt x="1415127" y="1629686"/>
                  <a:pt x="1414404" y="1629996"/>
                </a:cubicBezTo>
                <a:cubicBezTo>
                  <a:pt x="1413991" y="1629222"/>
                  <a:pt x="1412442" y="1627828"/>
                  <a:pt x="1413268" y="1627518"/>
                </a:cubicBezTo>
                <a:cubicBezTo>
                  <a:pt x="1412855" y="1626743"/>
                  <a:pt x="1414301" y="1626124"/>
                  <a:pt x="1414301" y="1626124"/>
                </a:cubicBezTo>
                <a:cubicBezTo>
                  <a:pt x="1413991" y="1625349"/>
                  <a:pt x="1413578" y="1624575"/>
                  <a:pt x="1413888" y="1623491"/>
                </a:cubicBezTo>
                <a:cubicBezTo>
                  <a:pt x="1415024" y="1623955"/>
                  <a:pt x="1414610" y="1623181"/>
                  <a:pt x="1415333" y="1622871"/>
                </a:cubicBezTo>
                <a:close/>
                <a:moveTo>
                  <a:pt x="4892434" y="1622719"/>
                </a:moveTo>
                <a:lnTo>
                  <a:pt x="4894142" y="1627556"/>
                </a:lnTo>
                <a:cubicBezTo>
                  <a:pt x="4892648" y="1628125"/>
                  <a:pt x="4890086" y="1627983"/>
                  <a:pt x="4889660" y="1626418"/>
                </a:cubicBezTo>
                <a:cubicBezTo>
                  <a:pt x="4888806" y="1625280"/>
                  <a:pt x="4889019" y="1624710"/>
                  <a:pt x="4889660" y="1624284"/>
                </a:cubicBezTo>
                <a:cubicBezTo>
                  <a:pt x="4890514" y="1623857"/>
                  <a:pt x="4891581" y="1623430"/>
                  <a:pt x="4892434" y="1622719"/>
                </a:cubicBezTo>
                <a:close/>
                <a:moveTo>
                  <a:pt x="5088567" y="1622435"/>
                </a:moveTo>
                <a:cubicBezTo>
                  <a:pt x="5089634" y="1623857"/>
                  <a:pt x="5089421" y="1626276"/>
                  <a:pt x="5090488" y="1627556"/>
                </a:cubicBezTo>
                <a:cubicBezTo>
                  <a:pt x="5089421" y="1627414"/>
                  <a:pt x="5088140" y="1628410"/>
                  <a:pt x="5086859" y="1628267"/>
                </a:cubicBezTo>
                <a:cubicBezTo>
                  <a:pt x="5084726" y="1625422"/>
                  <a:pt x="5087286" y="1622292"/>
                  <a:pt x="5088567" y="1622435"/>
                </a:cubicBezTo>
                <a:close/>
                <a:moveTo>
                  <a:pt x="1002618" y="1622097"/>
                </a:moveTo>
                <a:cubicBezTo>
                  <a:pt x="1004477" y="1624420"/>
                  <a:pt x="1004477" y="1628602"/>
                  <a:pt x="1000553" y="1631700"/>
                </a:cubicBezTo>
                <a:cubicBezTo>
                  <a:pt x="996939" y="1631545"/>
                  <a:pt x="994668" y="1630151"/>
                  <a:pt x="992912" y="1629376"/>
                </a:cubicBezTo>
                <a:cubicBezTo>
                  <a:pt x="993325" y="1627053"/>
                  <a:pt x="993015" y="1625195"/>
                  <a:pt x="993325" y="1622871"/>
                </a:cubicBezTo>
                <a:cubicBezTo>
                  <a:pt x="997042" y="1618843"/>
                  <a:pt x="1000759" y="1619618"/>
                  <a:pt x="1002618" y="1622097"/>
                </a:cubicBezTo>
                <a:close/>
                <a:moveTo>
                  <a:pt x="1031014" y="1621942"/>
                </a:moveTo>
                <a:cubicBezTo>
                  <a:pt x="1032872" y="1624110"/>
                  <a:pt x="1028949" y="1631235"/>
                  <a:pt x="1026574" y="1634023"/>
                </a:cubicBezTo>
                <a:cubicBezTo>
                  <a:pt x="1026161" y="1633559"/>
                  <a:pt x="1025954" y="1632630"/>
                  <a:pt x="1026161" y="1631700"/>
                </a:cubicBezTo>
                <a:cubicBezTo>
                  <a:pt x="1026574" y="1628602"/>
                  <a:pt x="1029259" y="1624110"/>
                  <a:pt x="1031014" y="1621942"/>
                </a:cubicBezTo>
                <a:close/>
                <a:moveTo>
                  <a:pt x="4819018" y="1621865"/>
                </a:moveTo>
                <a:cubicBezTo>
                  <a:pt x="4819018" y="1621865"/>
                  <a:pt x="4819018" y="1621865"/>
                  <a:pt x="4820512" y="1622435"/>
                </a:cubicBezTo>
                <a:cubicBezTo>
                  <a:pt x="4817310" y="1623715"/>
                  <a:pt x="4813042" y="1625565"/>
                  <a:pt x="4810481" y="1625422"/>
                </a:cubicBezTo>
                <a:cubicBezTo>
                  <a:pt x="4812402" y="1623430"/>
                  <a:pt x="4816244" y="1620585"/>
                  <a:pt x="4819018" y="1621865"/>
                </a:cubicBezTo>
                <a:close/>
                <a:moveTo>
                  <a:pt x="3940369" y="1621723"/>
                </a:moveTo>
                <a:cubicBezTo>
                  <a:pt x="3943143" y="1625137"/>
                  <a:pt x="3946771" y="1633389"/>
                  <a:pt x="3945704" y="1634669"/>
                </a:cubicBezTo>
                <a:cubicBezTo>
                  <a:pt x="3944210" y="1632394"/>
                  <a:pt x="3939515" y="1624142"/>
                  <a:pt x="3940369" y="1621723"/>
                </a:cubicBezTo>
                <a:close/>
                <a:moveTo>
                  <a:pt x="1119091" y="1620857"/>
                </a:moveTo>
                <a:cubicBezTo>
                  <a:pt x="1120640" y="1621787"/>
                  <a:pt x="1122602" y="1622097"/>
                  <a:pt x="1124047" y="1623026"/>
                </a:cubicBezTo>
                <a:cubicBezTo>
                  <a:pt x="1127455" y="1631080"/>
                  <a:pt x="1124357" y="1630926"/>
                  <a:pt x="1120330" y="1632165"/>
                </a:cubicBezTo>
                <a:cubicBezTo>
                  <a:pt x="1119298" y="1630616"/>
                  <a:pt x="1116613" y="1629841"/>
                  <a:pt x="1115890" y="1627518"/>
                </a:cubicBezTo>
                <a:cubicBezTo>
                  <a:pt x="1115890" y="1627518"/>
                  <a:pt x="1115890" y="1627208"/>
                  <a:pt x="1115890" y="1626743"/>
                </a:cubicBezTo>
                <a:cubicBezTo>
                  <a:pt x="1115890" y="1626278"/>
                  <a:pt x="1116097" y="1625659"/>
                  <a:pt x="1116510" y="1624885"/>
                </a:cubicBezTo>
                <a:cubicBezTo>
                  <a:pt x="1116303" y="1621942"/>
                  <a:pt x="1119917" y="1621322"/>
                  <a:pt x="1119917" y="1621322"/>
                </a:cubicBezTo>
                <a:cubicBezTo>
                  <a:pt x="1119917" y="1621322"/>
                  <a:pt x="1119814" y="1621322"/>
                  <a:pt x="1119091" y="1620857"/>
                </a:cubicBezTo>
                <a:close/>
                <a:moveTo>
                  <a:pt x="3988388" y="1620300"/>
                </a:moveTo>
                <a:cubicBezTo>
                  <a:pt x="3992443" y="1619589"/>
                  <a:pt x="3992870" y="1622150"/>
                  <a:pt x="3995431" y="1621438"/>
                </a:cubicBezTo>
                <a:cubicBezTo>
                  <a:pt x="3995431" y="1627272"/>
                  <a:pt x="3992657" y="1629548"/>
                  <a:pt x="3987748" y="1631113"/>
                </a:cubicBezTo>
                <a:cubicBezTo>
                  <a:pt x="3985614" y="1628552"/>
                  <a:pt x="3985614" y="1622719"/>
                  <a:pt x="3988388" y="1620300"/>
                </a:cubicBezTo>
                <a:close/>
                <a:moveTo>
                  <a:pt x="3474473" y="1620016"/>
                </a:moveTo>
                <a:lnTo>
                  <a:pt x="3472339" y="1627840"/>
                </a:lnTo>
                <a:cubicBezTo>
                  <a:pt x="3472126" y="1630402"/>
                  <a:pt x="3471699" y="1632820"/>
                  <a:pt x="3471485" y="1635523"/>
                </a:cubicBezTo>
                <a:lnTo>
                  <a:pt x="3471699" y="1638795"/>
                </a:lnTo>
                <a:lnTo>
                  <a:pt x="3473620" y="1638368"/>
                </a:lnTo>
                <a:lnTo>
                  <a:pt x="3476394" y="1628837"/>
                </a:lnTo>
                <a:lnTo>
                  <a:pt x="3477675" y="1625991"/>
                </a:lnTo>
                <a:lnTo>
                  <a:pt x="3475540" y="1623857"/>
                </a:lnTo>
                <a:close/>
                <a:moveTo>
                  <a:pt x="1274698" y="1619928"/>
                </a:moveTo>
                <a:cubicBezTo>
                  <a:pt x="1274698" y="1619928"/>
                  <a:pt x="1274389" y="1621012"/>
                  <a:pt x="1274079" y="1622252"/>
                </a:cubicBezTo>
                <a:cubicBezTo>
                  <a:pt x="1273769" y="1623491"/>
                  <a:pt x="1273769" y="1623491"/>
                  <a:pt x="1275008" y="1623645"/>
                </a:cubicBezTo>
                <a:cubicBezTo>
                  <a:pt x="1274698" y="1624885"/>
                  <a:pt x="1274698" y="1624885"/>
                  <a:pt x="1273149" y="1625969"/>
                </a:cubicBezTo>
                <a:cubicBezTo>
                  <a:pt x="1273459" y="1624730"/>
                  <a:pt x="1273459" y="1619773"/>
                  <a:pt x="1274698" y="1619928"/>
                </a:cubicBezTo>
                <a:close/>
                <a:moveTo>
                  <a:pt x="1221831" y="1619463"/>
                </a:moveTo>
                <a:cubicBezTo>
                  <a:pt x="1225445" y="1619928"/>
                  <a:pt x="1229059" y="1620238"/>
                  <a:pt x="1230814" y="1622252"/>
                </a:cubicBezTo>
                <a:cubicBezTo>
                  <a:pt x="1230711" y="1624575"/>
                  <a:pt x="1230092" y="1626588"/>
                  <a:pt x="1228749" y="1627828"/>
                </a:cubicBezTo>
                <a:cubicBezTo>
                  <a:pt x="1227407" y="1629222"/>
                  <a:pt x="1225445" y="1630151"/>
                  <a:pt x="1222657" y="1630151"/>
                </a:cubicBezTo>
                <a:cubicBezTo>
                  <a:pt x="1220902" y="1628757"/>
                  <a:pt x="1220489" y="1626743"/>
                  <a:pt x="1220592" y="1624730"/>
                </a:cubicBezTo>
                <a:cubicBezTo>
                  <a:pt x="1220695" y="1622871"/>
                  <a:pt x="1221418" y="1620857"/>
                  <a:pt x="1221831" y="1619463"/>
                </a:cubicBezTo>
                <a:close/>
                <a:moveTo>
                  <a:pt x="956979" y="1618843"/>
                </a:moveTo>
                <a:cubicBezTo>
                  <a:pt x="965653" y="1617605"/>
                  <a:pt x="977940" y="1633249"/>
                  <a:pt x="971125" y="1640684"/>
                </a:cubicBezTo>
                <a:cubicBezTo>
                  <a:pt x="966788" y="1632165"/>
                  <a:pt x="959870" y="1629376"/>
                  <a:pt x="956979" y="1618843"/>
                </a:cubicBezTo>
                <a:close/>
                <a:moveTo>
                  <a:pt x="1301751" y="1618534"/>
                </a:moveTo>
                <a:cubicBezTo>
                  <a:pt x="1305469" y="1619618"/>
                  <a:pt x="1307327" y="1621477"/>
                  <a:pt x="1308050" y="1623645"/>
                </a:cubicBezTo>
                <a:cubicBezTo>
                  <a:pt x="1309496" y="1628447"/>
                  <a:pt x="1304436" y="1634333"/>
                  <a:pt x="1298550" y="1635263"/>
                </a:cubicBezTo>
                <a:lnTo>
                  <a:pt x="1294627" y="1634798"/>
                </a:lnTo>
                <a:lnTo>
                  <a:pt x="1294214" y="1635108"/>
                </a:lnTo>
                <a:lnTo>
                  <a:pt x="1293284" y="1634643"/>
                </a:lnTo>
                <a:lnTo>
                  <a:pt x="1292562" y="1634488"/>
                </a:lnTo>
                <a:cubicBezTo>
                  <a:pt x="1291942" y="1633094"/>
                  <a:pt x="1291942" y="1631545"/>
                  <a:pt x="1292252" y="1629996"/>
                </a:cubicBezTo>
                <a:cubicBezTo>
                  <a:pt x="1293388" y="1625040"/>
                  <a:pt x="1298034" y="1619773"/>
                  <a:pt x="1301751" y="1618534"/>
                </a:cubicBezTo>
                <a:close/>
                <a:moveTo>
                  <a:pt x="1527366" y="1618069"/>
                </a:moveTo>
                <a:cubicBezTo>
                  <a:pt x="1528502" y="1618379"/>
                  <a:pt x="1527779" y="1618843"/>
                  <a:pt x="1528502" y="1618379"/>
                </a:cubicBezTo>
                <a:cubicBezTo>
                  <a:pt x="1529638" y="1618843"/>
                  <a:pt x="1529225" y="1618069"/>
                  <a:pt x="1529225" y="1618069"/>
                </a:cubicBezTo>
                <a:cubicBezTo>
                  <a:pt x="1529225" y="1618069"/>
                  <a:pt x="1529741" y="1618689"/>
                  <a:pt x="1529741" y="1618689"/>
                </a:cubicBezTo>
                <a:cubicBezTo>
                  <a:pt x="1529741" y="1618689"/>
                  <a:pt x="1529638" y="1618689"/>
                  <a:pt x="1532116" y="1619463"/>
                </a:cubicBezTo>
                <a:cubicBezTo>
                  <a:pt x="1535214" y="1619773"/>
                  <a:pt x="1536040" y="1619463"/>
                  <a:pt x="1538002" y="1619309"/>
                </a:cubicBezTo>
                <a:cubicBezTo>
                  <a:pt x="1540376" y="1620083"/>
                  <a:pt x="1540790" y="1620857"/>
                  <a:pt x="1543681" y="1622252"/>
                </a:cubicBezTo>
                <a:cubicBezTo>
                  <a:pt x="1543887" y="1624110"/>
                  <a:pt x="1543887" y="1624110"/>
                  <a:pt x="1543164" y="1624575"/>
                </a:cubicBezTo>
                <a:cubicBezTo>
                  <a:pt x="1543887" y="1624110"/>
                  <a:pt x="1544403" y="1624885"/>
                  <a:pt x="1545539" y="1625195"/>
                </a:cubicBezTo>
                <a:cubicBezTo>
                  <a:pt x="1550702" y="1625504"/>
                  <a:pt x="1551528" y="1629996"/>
                  <a:pt x="1550805" y="1635263"/>
                </a:cubicBezTo>
                <a:cubicBezTo>
                  <a:pt x="1550186" y="1635108"/>
                  <a:pt x="1549876" y="1635727"/>
                  <a:pt x="1549566" y="1636657"/>
                </a:cubicBezTo>
                <a:lnTo>
                  <a:pt x="1549463" y="1636811"/>
                </a:lnTo>
                <a:lnTo>
                  <a:pt x="1549876" y="1636966"/>
                </a:lnTo>
                <a:cubicBezTo>
                  <a:pt x="1551735" y="1637431"/>
                  <a:pt x="1553593" y="1637896"/>
                  <a:pt x="1553593" y="1637896"/>
                </a:cubicBezTo>
                <a:lnTo>
                  <a:pt x="1553800" y="1639445"/>
                </a:lnTo>
                <a:lnTo>
                  <a:pt x="1555968" y="1636347"/>
                </a:lnTo>
                <a:cubicBezTo>
                  <a:pt x="1560098" y="1633094"/>
                  <a:pt x="1567327" y="1631235"/>
                  <a:pt x="1569185" y="1634178"/>
                </a:cubicBezTo>
                <a:cubicBezTo>
                  <a:pt x="1570424" y="1636192"/>
                  <a:pt x="1569185" y="1640529"/>
                  <a:pt x="1562783" y="1647964"/>
                </a:cubicBezTo>
                <a:cubicBezTo>
                  <a:pt x="1556898" y="1646570"/>
                  <a:pt x="1554213" y="1644556"/>
                  <a:pt x="1553387" y="1642543"/>
                </a:cubicBezTo>
                <a:lnTo>
                  <a:pt x="1553284" y="1640374"/>
                </a:lnTo>
                <a:lnTo>
                  <a:pt x="1551528" y="1641459"/>
                </a:lnTo>
                <a:cubicBezTo>
                  <a:pt x="1550289" y="1641923"/>
                  <a:pt x="1548224" y="1641923"/>
                  <a:pt x="1546159" y="1641459"/>
                </a:cubicBezTo>
                <a:lnTo>
                  <a:pt x="1543371" y="1640374"/>
                </a:lnTo>
                <a:lnTo>
                  <a:pt x="1542235" y="1640684"/>
                </a:lnTo>
                <a:cubicBezTo>
                  <a:pt x="1538621" y="1639600"/>
                  <a:pt x="1533975" y="1635108"/>
                  <a:pt x="1534801" y="1631700"/>
                </a:cubicBezTo>
                <a:cubicBezTo>
                  <a:pt x="1535007" y="1629686"/>
                  <a:pt x="1535627" y="1628137"/>
                  <a:pt x="1536349" y="1627053"/>
                </a:cubicBezTo>
                <a:lnTo>
                  <a:pt x="1537279" y="1626278"/>
                </a:lnTo>
                <a:lnTo>
                  <a:pt x="1534491" y="1627208"/>
                </a:lnTo>
                <a:cubicBezTo>
                  <a:pt x="1533149" y="1627053"/>
                  <a:pt x="1531909" y="1626588"/>
                  <a:pt x="1530773" y="1626124"/>
                </a:cubicBezTo>
                <a:cubicBezTo>
                  <a:pt x="1529122" y="1625195"/>
                  <a:pt x="1528296" y="1625195"/>
                  <a:pt x="1526437" y="1625814"/>
                </a:cubicBezTo>
                <a:cubicBezTo>
                  <a:pt x="1526437" y="1625814"/>
                  <a:pt x="1526437" y="1625814"/>
                  <a:pt x="1524991" y="1624110"/>
                </a:cubicBezTo>
                <a:lnTo>
                  <a:pt x="1525198" y="1623181"/>
                </a:lnTo>
                <a:cubicBezTo>
                  <a:pt x="1525507" y="1622871"/>
                  <a:pt x="1526127" y="1622716"/>
                  <a:pt x="1527160" y="1622716"/>
                </a:cubicBezTo>
                <a:cubicBezTo>
                  <a:pt x="1528502" y="1622716"/>
                  <a:pt x="1530464" y="1622871"/>
                  <a:pt x="1532116" y="1623181"/>
                </a:cubicBezTo>
                <a:lnTo>
                  <a:pt x="1535110" y="1623800"/>
                </a:lnTo>
                <a:lnTo>
                  <a:pt x="1529948" y="1622097"/>
                </a:lnTo>
                <a:cubicBezTo>
                  <a:pt x="1527160" y="1621012"/>
                  <a:pt x="1524888" y="1619773"/>
                  <a:pt x="1524578" y="1618534"/>
                </a:cubicBezTo>
                <a:cubicBezTo>
                  <a:pt x="1525404" y="1618069"/>
                  <a:pt x="1526127" y="1617605"/>
                  <a:pt x="1527366" y="1618069"/>
                </a:cubicBezTo>
                <a:close/>
                <a:moveTo>
                  <a:pt x="4637611" y="1617881"/>
                </a:moveTo>
                <a:cubicBezTo>
                  <a:pt x="4646574" y="1618878"/>
                  <a:pt x="4655752" y="1624995"/>
                  <a:pt x="4658526" y="1631113"/>
                </a:cubicBezTo>
                <a:cubicBezTo>
                  <a:pt x="4655752" y="1632251"/>
                  <a:pt x="4652764" y="1632394"/>
                  <a:pt x="4649989" y="1631966"/>
                </a:cubicBezTo>
                <a:lnTo>
                  <a:pt x="4642306" y="1629405"/>
                </a:lnTo>
                <a:lnTo>
                  <a:pt x="4642946" y="1633531"/>
                </a:lnTo>
                <a:cubicBezTo>
                  <a:pt x="4642946" y="1635381"/>
                  <a:pt x="4642520" y="1637088"/>
                  <a:pt x="4641239" y="1638226"/>
                </a:cubicBezTo>
                <a:cubicBezTo>
                  <a:pt x="4641239" y="1638226"/>
                  <a:pt x="4641239" y="1638226"/>
                  <a:pt x="4639958" y="1639365"/>
                </a:cubicBezTo>
                <a:cubicBezTo>
                  <a:pt x="4640172" y="1637657"/>
                  <a:pt x="4640386" y="1635523"/>
                  <a:pt x="4640812" y="1633674"/>
                </a:cubicBezTo>
                <a:lnTo>
                  <a:pt x="4642093" y="1629263"/>
                </a:lnTo>
                <a:lnTo>
                  <a:pt x="4641666" y="1629121"/>
                </a:lnTo>
                <a:cubicBezTo>
                  <a:pt x="4636330" y="1626418"/>
                  <a:pt x="4631635" y="1622292"/>
                  <a:pt x="4628861" y="1618878"/>
                </a:cubicBezTo>
                <a:cubicBezTo>
                  <a:pt x="4631635" y="1617881"/>
                  <a:pt x="4634623" y="1617597"/>
                  <a:pt x="4637611" y="1617881"/>
                </a:cubicBezTo>
                <a:close/>
                <a:moveTo>
                  <a:pt x="1056931" y="1617449"/>
                </a:moveTo>
                <a:cubicBezTo>
                  <a:pt x="1058790" y="1617295"/>
                  <a:pt x="1057963" y="1620702"/>
                  <a:pt x="1058480" y="1621477"/>
                </a:cubicBezTo>
                <a:cubicBezTo>
                  <a:pt x="1058170" y="1622561"/>
                  <a:pt x="1057860" y="1623800"/>
                  <a:pt x="1056724" y="1623336"/>
                </a:cubicBezTo>
                <a:cubicBezTo>
                  <a:pt x="1055485" y="1623026"/>
                  <a:pt x="1054763" y="1623336"/>
                  <a:pt x="1054556" y="1621477"/>
                </a:cubicBezTo>
                <a:cubicBezTo>
                  <a:pt x="1054143" y="1620702"/>
                  <a:pt x="1054350" y="1619618"/>
                  <a:pt x="1053936" y="1618998"/>
                </a:cubicBezTo>
                <a:cubicBezTo>
                  <a:pt x="1053936" y="1618998"/>
                  <a:pt x="1054350" y="1618379"/>
                  <a:pt x="1054969" y="1618069"/>
                </a:cubicBezTo>
                <a:cubicBezTo>
                  <a:pt x="1055589" y="1617605"/>
                  <a:pt x="1056311" y="1617140"/>
                  <a:pt x="1056931" y="1617449"/>
                </a:cubicBezTo>
                <a:close/>
                <a:moveTo>
                  <a:pt x="1346048" y="1617295"/>
                </a:moveTo>
                <a:cubicBezTo>
                  <a:pt x="1350282" y="1617759"/>
                  <a:pt x="1351831" y="1622252"/>
                  <a:pt x="1346874" y="1625195"/>
                </a:cubicBezTo>
                <a:cubicBezTo>
                  <a:pt x="1345429" y="1623026"/>
                  <a:pt x="1343983" y="1620857"/>
                  <a:pt x="1344706" y="1618998"/>
                </a:cubicBezTo>
                <a:cubicBezTo>
                  <a:pt x="1344912" y="1618379"/>
                  <a:pt x="1345326" y="1617759"/>
                  <a:pt x="1346048" y="1617295"/>
                </a:cubicBezTo>
                <a:close/>
                <a:moveTo>
                  <a:pt x="1242379" y="1616985"/>
                </a:moveTo>
                <a:cubicBezTo>
                  <a:pt x="1242379" y="1616985"/>
                  <a:pt x="1242069" y="1618069"/>
                  <a:pt x="1242482" y="1618689"/>
                </a:cubicBezTo>
                <a:cubicBezTo>
                  <a:pt x="1242482" y="1618689"/>
                  <a:pt x="1242276" y="1619928"/>
                  <a:pt x="1241966" y="1621012"/>
                </a:cubicBezTo>
                <a:cubicBezTo>
                  <a:pt x="1241966" y="1621012"/>
                  <a:pt x="1242379" y="1621787"/>
                  <a:pt x="1242792" y="1622406"/>
                </a:cubicBezTo>
                <a:cubicBezTo>
                  <a:pt x="1242689" y="1625349"/>
                  <a:pt x="1242792" y="1627208"/>
                  <a:pt x="1239385" y="1628447"/>
                </a:cubicBezTo>
                <a:cubicBezTo>
                  <a:pt x="1239178" y="1628137"/>
                  <a:pt x="1239281" y="1627363"/>
                  <a:pt x="1239385" y="1626588"/>
                </a:cubicBezTo>
                <a:cubicBezTo>
                  <a:pt x="1239488" y="1625814"/>
                  <a:pt x="1239695" y="1624885"/>
                  <a:pt x="1239901" y="1624420"/>
                </a:cubicBezTo>
                <a:cubicBezTo>
                  <a:pt x="1239488" y="1623645"/>
                  <a:pt x="1239695" y="1622561"/>
                  <a:pt x="1240417" y="1622097"/>
                </a:cubicBezTo>
                <a:cubicBezTo>
                  <a:pt x="1240417" y="1622097"/>
                  <a:pt x="1240727" y="1620857"/>
                  <a:pt x="1240314" y="1620238"/>
                </a:cubicBezTo>
                <a:cubicBezTo>
                  <a:pt x="1240934" y="1617914"/>
                  <a:pt x="1241553" y="1617449"/>
                  <a:pt x="1242379" y="1616985"/>
                </a:cubicBezTo>
                <a:close/>
                <a:moveTo>
                  <a:pt x="3911770" y="1616744"/>
                </a:moveTo>
                <a:cubicBezTo>
                  <a:pt x="3912837" y="1616601"/>
                  <a:pt x="3913905" y="1616601"/>
                  <a:pt x="3914972" y="1616886"/>
                </a:cubicBezTo>
                <a:cubicBezTo>
                  <a:pt x="3916252" y="1617313"/>
                  <a:pt x="3917320" y="1618166"/>
                  <a:pt x="3918173" y="1619304"/>
                </a:cubicBezTo>
                <a:cubicBezTo>
                  <a:pt x="3919453" y="1620727"/>
                  <a:pt x="3920308" y="1622577"/>
                  <a:pt x="3920308" y="1624710"/>
                </a:cubicBezTo>
                <a:lnTo>
                  <a:pt x="3919667" y="1626560"/>
                </a:lnTo>
                <a:lnTo>
                  <a:pt x="3922441" y="1626418"/>
                </a:lnTo>
                <a:cubicBezTo>
                  <a:pt x="3923722" y="1627414"/>
                  <a:pt x="3923722" y="1627414"/>
                  <a:pt x="3922868" y="1628552"/>
                </a:cubicBezTo>
                <a:cubicBezTo>
                  <a:pt x="3921588" y="1628552"/>
                  <a:pt x="3920520" y="1628694"/>
                  <a:pt x="3920308" y="1627556"/>
                </a:cubicBezTo>
                <a:lnTo>
                  <a:pt x="3919453" y="1626845"/>
                </a:lnTo>
                <a:lnTo>
                  <a:pt x="3918813" y="1629263"/>
                </a:lnTo>
                <a:cubicBezTo>
                  <a:pt x="3917960" y="1630829"/>
                  <a:pt x="3916466" y="1632394"/>
                  <a:pt x="3914545" y="1633816"/>
                </a:cubicBezTo>
                <a:cubicBezTo>
                  <a:pt x="3908996" y="1632678"/>
                  <a:pt x="3907716" y="1629405"/>
                  <a:pt x="3904301" y="1627129"/>
                </a:cubicBezTo>
                <a:cubicBezTo>
                  <a:pt x="3905581" y="1620300"/>
                  <a:pt x="3908782" y="1617313"/>
                  <a:pt x="3911770" y="1616744"/>
                </a:cubicBezTo>
                <a:close/>
                <a:moveTo>
                  <a:pt x="4846976" y="1616601"/>
                </a:moveTo>
                <a:cubicBezTo>
                  <a:pt x="4841214" y="1617740"/>
                  <a:pt x="4833744" y="1622008"/>
                  <a:pt x="4828408" y="1620585"/>
                </a:cubicBezTo>
                <a:cubicBezTo>
                  <a:pt x="4830543" y="1619731"/>
                  <a:pt x="4842921" y="1615748"/>
                  <a:pt x="4846976" y="1616601"/>
                </a:cubicBezTo>
                <a:close/>
                <a:moveTo>
                  <a:pt x="5374976" y="1616174"/>
                </a:moveTo>
                <a:cubicBezTo>
                  <a:pt x="5375403" y="1617881"/>
                  <a:pt x="5377110" y="1617597"/>
                  <a:pt x="5378605" y="1617313"/>
                </a:cubicBezTo>
                <a:cubicBezTo>
                  <a:pt x="5380738" y="1619020"/>
                  <a:pt x="5382019" y="1621438"/>
                  <a:pt x="5382446" y="1624142"/>
                </a:cubicBezTo>
                <a:lnTo>
                  <a:pt x="5382019" y="1629263"/>
                </a:lnTo>
                <a:lnTo>
                  <a:pt x="5388209" y="1629832"/>
                </a:lnTo>
                <a:cubicBezTo>
                  <a:pt x="5388635" y="1632394"/>
                  <a:pt x="5388209" y="1634527"/>
                  <a:pt x="5387355" y="1636234"/>
                </a:cubicBezTo>
                <a:lnTo>
                  <a:pt x="5387141" y="1636519"/>
                </a:lnTo>
                <a:lnTo>
                  <a:pt x="5393971" y="1635950"/>
                </a:lnTo>
                <a:cubicBezTo>
                  <a:pt x="5393544" y="1638084"/>
                  <a:pt x="5393971" y="1639791"/>
                  <a:pt x="5393971" y="1641783"/>
                </a:cubicBezTo>
                <a:lnTo>
                  <a:pt x="5393544" y="1645197"/>
                </a:lnTo>
                <a:lnTo>
                  <a:pt x="5394824" y="1645197"/>
                </a:lnTo>
                <a:cubicBezTo>
                  <a:pt x="5396318" y="1647901"/>
                  <a:pt x="5396745" y="1650177"/>
                  <a:pt x="5396745" y="1651884"/>
                </a:cubicBezTo>
                <a:lnTo>
                  <a:pt x="5395892" y="1653734"/>
                </a:lnTo>
                <a:lnTo>
                  <a:pt x="5401654" y="1653307"/>
                </a:lnTo>
                <a:cubicBezTo>
                  <a:pt x="5404215" y="1653591"/>
                  <a:pt x="5405922" y="1654444"/>
                  <a:pt x="5406989" y="1655441"/>
                </a:cubicBezTo>
                <a:lnTo>
                  <a:pt x="5408270" y="1658002"/>
                </a:lnTo>
                <a:lnTo>
                  <a:pt x="5409764" y="1655583"/>
                </a:lnTo>
                <a:cubicBezTo>
                  <a:pt x="5411044" y="1654444"/>
                  <a:pt x="5413819" y="1653449"/>
                  <a:pt x="5416593" y="1652880"/>
                </a:cubicBezTo>
                <a:cubicBezTo>
                  <a:pt x="5419368" y="1652311"/>
                  <a:pt x="5422355" y="1652311"/>
                  <a:pt x="5423850" y="1653449"/>
                </a:cubicBezTo>
                <a:cubicBezTo>
                  <a:pt x="5422569" y="1655725"/>
                  <a:pt x="5421075" y="1658144"/>
                  <a:pt x="5419794" y="1660420"/>
                </a:cubicBezTo>
                <a:cubicBezTo>
                  <a:pt x="5419794" y="1659282"/>
                  <a:pt x="5409123" y="1661416"/>
                  <a:pt x="5409123" y="1661416"/>
                </a:cubicBezTo>
                <a:lnTo>
                  <a:pt x="5408056" y="1659566"/>
                </a:lnTo>
                <a:lnTo>
                  <a:pt x="5406989" y="1664546"/>
                </a:lnTo>
                <a:cubicBezTo>
                  <a:pt x="5403575" y="1671091"/>
                  <a:pt x="5395465" y="1677493"/>
                  <a:pt x="5391623" y="1674789"/>
                </a:cubicBezTo>
                <a:cubicBezTo>
                  <a:pt x="5389489" y="1673509"/>
                  <a:pt x="5388635" y="1669668"/>
                  <a:pt x="5389916" y="1662412"/>
                </a:cubicBezTo>
                <a:lnTo>
                  <a:pt x="5391196" y="1656721"/>
                </a:lnTo>
                <a:lnTo>
                  <a:pt x="5390769" y="1656863"/>
                </a:lnTo>
                <a:cubicBezTo>
                  <a:pt x="5389276" y="1656721"/>
                  <a:pt x="5387781" y="1656152"/>
                  <a:pt x="5386288" y="1655156"/>
                </a:cubicBezTo>
                <a:lnTo>
                  <a:pt x="5382233" y="1649607"/>
                </a:lnTo>
                <a:lnTo>
                  <a:pt x="5362598" y="1650319"/>
                </a:lnTo>
                <a:cubicBezTo>
                  <a:pt x="5352994" y="1651172"/>
                  <a:pt x="5343817" y="1651884"/>
                  <a:pt x="5335280" y="1651030"/>
                </a:cubicBezTo>
                <a:lnTo>
                  <a:pt x="5343177" y="1645767"/>
                </a:lnTo>
                <a:lnTo>
                  <a:pt x="5342323" y="1644913"/>
                </a:lnTo>
                <a:cubicBezTo>
                  <a:pt x="5338055" y="1643917"/>
                  <a:pt x="5333573" y="1649466"/>
                  <a:pt x="5330158" y="1643775"/>
                </a:cubicBezTo>
                <a:cubicBezTo>
                  <a:pt x="5329945" y="1640218"/>
                  <a:pt x="5328451" y="1636519"/>
                  <a:pt x="5329518" y="1632394"/>
                </a:cubicBezTo>
                <a:cubicBezTo>
                  <a:pt x="5329945" y="1631113"/>
                  <a:pt x="5330585" y="1629690"/>
                  <a:pt x="5331652" y="1628267"/>
                </a:cubicBezTo>
                <a:cubicBezTo>
                  <a:pt x="5338482" y="1634812"/>
                  <a:pt x="5345098" y="1636661"/>
                  <a:pt x="5352354" y="1640930"/>
                </a:cubicBezTo>
                <a:lnTo>
                  <a:pt x="5352140" y="1641641"/>
                </a:lnTo>
                <a:lnTo>
                  <a:pt x="5362384" y="1638938"/>
                </a:lnTo>
                <a:lnTo>
                  <a:pt x="5369427" y="1638084"/>
                </a:lnTo>
                <a:lnTo>
                  <a:pt x="5368787" y="1637515"/>
                </a:lnTo>
                <a:cubicBezTo>
                  <a:pt x="5366013" y="1627698"/>
                  <a:pt x="5366226" y="1619731"/>
                  <a:pt x="5374976" y="1616174"/>
                </a:cubicBezTo>
                <a:close/>
                <a:moveTo>
                  <a:pt x="1096994" y="1615901"/>
                </a:moveTo>
                <a:lnTo>
                  <a:pt x="1097098" y="1616675"/>
                </a:lnTo>
                <a:lnTo>
                  <a:pt x="1097201" y="1616520"/>
                </a:lnTo>
                <a:close/>
                <a:moveTo>
                  <a:pt x="4771638" y="1615890"/>
                </a:moveTo>
                <a:cubicBezTo>
                  <a:pt x="4774626" y="1619304"/>
                  <a:pt x="4780176" y="1621438"/>
                  <a:pt x="4781669" y="1625280"/>
                </a:cubicBezTo>
                <a:cubicBezTo>
                  <a:pt x="4781883" y="1626133"/>
                  <a:pt x="4782096" y="1626987"/>
                  <a:pt x="4781669" y="1627698"/>
                </a:cubicBezTo>
                <a:cubicBezTo>
                  <a:pt x="4781456" y="1628410"/>
                  <a:pt x="4780602" y="1629121"/>
                  <a:pt x="4779108" y="1629548"/>
                </a:cubicBezTo>
                <a:cubicBezTo>
                  <a:pt x="4776761" y="1630971"/>
                  <a:pt x="4775907" y="1630259"/>
                  <a:pt x="4774413" y="1626418"/>
                </a:cubicBezTo>
                <a:cubicBezTo>
                  <a:pt x="4773773" y="1623146"/>
                  <a:pt x="4772493" y="1620869"/>
                  <a:pt x="4773133" y="1619731"/>
                </a:cubicBezTo>
                <a:cubicBezTo>
                  <a:pt x="4772279" y="1619162"/>
                  <a:pt x="4771852" y="1617597"/>
                  <a:pt x="4770998" y="1616886"/>
                </a:cubicBezTo>
                <a:cubicBezTo>
                  <a:pt x="4770998" y="1616886"/>
                  <a:pt x="4770998" y="1616886"/>
                  <a:pt x="4771638" y="1615890"/>
                </a:cubicBezTo>
                <a:close/>
                <a:moveTo>
                  <a:pt x="3974516" y="1615463"/>
                </a:moveTo>
                <a:cubicBezTo>
                  <a:pt x="3975796" y="1615321"/>
                  <a:pt x="3976863" y="1615463"/>
                  <a:pt x="3978784" y="1616459"/>
                </a:cubicBezTo>
                <a:cubicBezTo>
                  <a:pt x="3976223" y="1618451"/>
                  <a:pt x="3973662" y="1619162"/>
                  <a:pt x="3970247" y="1617455"/>
                </a:cubicBezTo>
                <a:cubicBezTo>
                  <a:pt x="3971955" y="1616459"/>
                  <a:pt x="3973235" y="1615748"/>
                  <a:pt x="3974516" y="1615463"/>
                </a:cubicBezTo>
                <a:close/>
                <a:moveTo>
                  <a:pt x="4968838" y="1615321"/>
                </a:moveTo>
                <a:cubicBezTo>
                  <a:pt x="4971186" y="1616032"/>
                  <a:pt x="4974814" y="1616886"/>
                  <a:pt x="4975454" y="1619873"/>
                </a:cubicBezTo>
                <a:cubicBezTo>
                  <a:pt x="4975668" y="1620869"/>
                  <a:pt x="4975454" y="1622150"/>
                  <a:pt x="4974814" y="1623715"/>
                </a:cubicBezTo>
                <a:cubicBezTo>
                  <a:pt x="4975241" y="1624710"/>
                  <a:pt x="4971400" y="1627983"/>
                  <a:pt x="4969906" y="1627414"/>
                </a:cubicBezTo>
                <a:cubicBezTo>
                  <a:pt x="4965851" y="1626845"/>
                  <a:pt x="4966704" y="1622719"/>
                  <a:pt x="4966064" y="1617881"/>
                </a:cubicBezTo>
                <a:cubicBezTo>
                  <a:pt x="4967558" y="1618451"/>
                  <a:pt x="4968198" y="1616886"/>
                  <a:pt x="4968838" y="1615321"/>
                </a:cubicBezTo>
                <a:close/>
                <a:moveTo>
                  <a:pt x="4848043" y="1615321"/>
                </a:moveTo>
                <a:cubicBezTo>
                  <a:pt x="4849537" y="1615748"/>
                  <a:pt x="4849110" y="1614752"/>
                  <a:pt x="4849750" y="1616744"/>
                </a:cubicBezTo>
                <a:cubicBezTo>
                  <a:pt x="4848257" y="1616317"/>
                  <a:pt x="4848257" y="1616317"/>
                  <a:pt x="4846976" y="1616744"/>
                </a:cubicBezTo>
                <a:cubicBezTo>
                  <a:pt x="4846976" y="1616744"/>
                  <a:pt x="4848043" y="1615321"/>
                  <a:pt x="4848043" y="1615321"/>
                </a:cubicBezTo>
                <a:close/>
                <a:moveTo>
                  <a:pt x="1884530" y="1615281"/>
                </a:moveTo>
                <a:cubicBezTo>
                  <a:pt x="1885769" y="1617449"/>
                  <a:pt x="1887937" y="1619309"/>
                  <a:pt x="1888350" y="1622097"/>
                </a:cubicBezTo>
                <a:cubicBezTo>
                  <a:pt x="1888557" y="1623026"/>
                  <a:pt x="1888453" y="1624110"/>
                  <a:pt x="1888143" y="1625195"/>
                </a:cubicBezTo>
                <a:cubicBezTo>
                  <a:pt x="1881225" y="1623336"/>
                  <a:pt x="1875959" y="1624110"/>
                  <a:pt x="1869351" y="1623645"/>
                </a:cubicBezTo>
                <a:lnTo>
                  <a:pt x="1869454" y="1622252"/>
                </a:lnTo>
                <a:lnTo>
                  <a:pt x="1868215" y="1623800"/>
                </a:lnTo>
                <a:cubicBezTo>
                  <a:pt x="1866873" y="1622406"/>
                  <a:pt x="1866873" y="1619773"/>
                  <a:pt x="1865530" y="1618379"/>
                </a:cubicBezTo>
                <a:cubicBezTo>
                  <a:pt x="1866873" y="1618379"/>
                  <a:pt x="1868215" y="1616985"/>
                  <a:pt x="1869454" y="1616985"/>
                </a:cubicBezTo>
                <a:lnTo>
                  <a:pt x="1870383" y="1618998"/>
                </a:lnTo>
                <a:lnTo>
                  <a:pt x="1871313" y="1617140"/>
                </a:lnTo>
                <a:cubicBezTo>
                  <a:pt x="1878025" y="1621787"/>
                  <a:pt x="1879057" y="1612028"/>
                  <a:pt x="1884530" y="1615281"/>
                </a:cubicBezTo>
                <a:close/>
                <a:moveTo>
                  <a:pt x="4853592" y="1615179"/>
                </a:moveTo>
                <a:cubicBezTo>
                  <a:pt x="4854659" y="1614894"/>
                  <a:pt x="4855726" y="1614894"/>
                  <a:pt x="4857006" y="1615179"/>
                </a:cubicBezTo>
                <a:cubicBezTo>
                  <a:pt x="4861061" y="1615321"/>
                  <a:pt x="4863196" y="1619304"/>
                  <a:pt x="4867677" y="1620443"/>
                </a:cubicBezTo>
                <a:cubicBezTo>
                  <a:pt x="4866824" y="1626560"/>
                  <a:pt x="4866397" y="1628125"/>
                  <a:pt x="4860208" y="1629263"/>
                </a:cubicBezTo>
                <a:cubicBezTo>
                  <a:pt x="4860208" y="1629263"/>
                  <a:pt x="4858714" y="1628979"/>
                  <a:pt x="4858714" y="1628979"/>
                </a:cubicBezTo>
                <a:cubicBezTo>
                  <a:pt x="4852952" y="1628410"/>
                  <a:pt x="4847616" y="1623573"/>
                  <a:pt x="4847616" y="1621012"/>
                </a:cubicBezTo>
                <a:cubicBezTo>
                  <a:pt x="4848470" y="1618451"/>
                  <a:pt x="4850604" y="1615890"/>
                  <a:pt x="4853592" y="1615179"/>
                </a:cubicBezTo>
                <a:close/>
                <a:moveTo>
                  <a:pt x="5734375" y="1614894"/>
                </a:moveTo>
                <a:cubicBezTo>
                  <a:pt x="5736296" y="1616886"/>
                  <a:pt x="5737150" y="1618878"/>
                  <a:pt x="5737576" y="1620727"/>
                </a:cubicBezTo>
                <a:cubicBezTo>
                  <a:pt x="5738217" y="1622719"/>
                  <a:pt x="5738430" y="1624568"/>
                  <a:pt x="5739284" y="1626418"/>
                </a:cubicBezTo>
                <a:cubicBezTo>
                  <a:pt x="5731387" y="1636092"/>
                  <a:pt x="5724772" y="1631966"/>
                  <a:pt x="5724131" y="1625991"/>
                </a:cubicBezTo>
                <a:cubicBezTo>
                  <a:pt x="5723704" y="1623999"/>
                  <a:pt x="5724131" y="1621865"/>
                  <a:pt x="5725198" y="1620016"/>
                </a:cubicBezTo>
                <a:cubicBezTo>
                  <a:pt x="5726905" y="1617455"/>
                  <a:pt x="5729680" y="1615463"/>
                  <a:pt x="5734375" y="1614894"/>
                </a:cubicBezTo>
                <a:close/>
                <a:moveTo>
                  <a:pt x="5247565" y="1614609"/>
                </a:moveTo>
                <a:cubicBezTo>
                  <a:pt x="5247991" y="1614467"/>
                  <a:pt x="5248632" y="1614467"/>
                  <a:pt x="5249699" y="1615321"/>
                </a:cubicBezTo>
                <a:lnTo>
                  <a:pt x="5252687" y="1616744"/>
                </a:lnTo>
                <a:lnTo>
                  <a:pt x="5255248" y="1616459"/>
                </a:lnTo>
                <a:cubicBezTo>
                  <a:pt x="5256529" y="1616459"/>
                  <a:pt x="5257809" y="1616459"/>
                  <a:pt x="5259730" y="1616317"/>
                </a:cubicBezTo>
                <a:cubicBezTo>
                  <a:pt x="5261437" y="1618593"/>
                  <a:pt x="5261437" y="1618593"/>
                  <a:pt x="5260797" y="1619589"/>
                </a:cubicBezTo>
                <a:cubicBezTo>
                  <a:pt x="5261437" y="1618593"/>
                  <a:pt x="5262504" y="1619162"/>
                  <a:pt x="5263998" y="1618736"/>
                </a:cubicBezTo>
                <a:cubicBezTo>
                  <a:pt x="5269547" y="1615321"/>
                  <a:pt x="5273816" y="1620300"/>
                  <a:pt x="5277016" y="1627414"/>
                </a:cubicBezTo>
                <a:cubicBezTo>
                  <a:pt x="5275523" y="1627840"/>
                  <a:pt x="5277657" y="1631824"/>
                  <a:pt x="5277657" y="1634527"/>
                </a:cubicBezTo>
                <a:lnTo>
                  <a:pt x="5277230" y="1635239"/>
                </a:lnTo>
                <a:lnTo>
                  <a:pt x="5281925" y="1636376"/>
                </a:lnTo>
                <a:lnTo>
                  <a:pt x="5281072" y="1638653"/>
                </a:lnTo>
                <a:lnTo>
                  <a:pt x="5283419" y="1638084"/>
                </a:lnTo>
                <a:cubicBezTo>
                  <a:pt x="5287687" y="1638368"/>
                  <a:pt x="5294517" y="1640930"/>
                  <a:pt x="5294517" y="1641783"/>
                </a:cubicBezTo>
                <a:cubicBezTo>
                  <a:pt x="5295584" y="1641925"/>
                  <a:pt x="5295584" y="1643063"/>
                  <a:pt x="5296865" y="1643205"/>
                </a:cubicBezTo>
                <a:cubicBezTo>
                  <a:pt x="5296865" y="1643205"/>
                  <a:pt x="5297932" y="1643205"/>
                  <a:pt x="5299212" y="1644486"/>
                </a:cubicBezTo>
                <a:cubicBezTo>
                  <a:pt x="5300493" y="1645767"/>
                  <a:pt x="5301773" y="1647047"/>
                  <a:pt x="5300706" y="1649466"/>
                </a:cubicBezTo>
                <a:cubicBezTo>
                  <a:pt x="5295798" y="1647474"/>
                  <a:pt x="5292383" y="1646335"/>
                  <a:pt x="5288968" y="1645340"/>
                </a:cubicBezTo>
                <a:lnTo>
                  <a:pt x="5280431" y="1641641"/>
                </a:lnTo>
                <a:lnTo>
                  <a:pt x="5280004" y="1643917"/>
                </a:lnTo>
                <a:cubicBezTo>
                  <a:pt x="5275523" y="1642210"/>
                  <a:pt x="5271681" y="1642068"/>
                  <a:pt x="5268907" y="1641356"/>
                </a:cubicBezTo>
                <a:lnTo>
                  <a:pt x="5267200" y="1640360"/>
                </a:lnTo>
                <a:lnTo>
                  <a:pt x="5263785" y="1640218"/>
                </a:lnTo>
                <a:cubicBezTo>
                  <a:pt x="5261010" y="1639222"/>
                  <a:pt x="5258449" y="1637515"/>
                  <a:pt x="5257595" y="1635096"/>
                </a:cubicBezTo>
                <a:cubicBezTo>
                  <a:pt x="5255034" y="1629548"/>
                  <a:pt x="5255461" y="1625849"/>
                  <a:pt x="5256955" y="1622577"/>
                </a:cubicBezTo>
                <a:cubicBezTo>
                  <a:pt x="5256955" y="1622577"/>
                  <a:pt x="5256742" y="1622719"/>
                  <a:pt x="5256315" y="1623715"/>
                </a:cubicBezTo>
                <a:lnTo>
                  <a:pt x="5250126" y="1625280"/>
                </a:lnTo>
                <a:lnTo>
                  <a:pt x="5251833" y="1627414"/>
                </a:lnTo>
                <a:cubicBezTo>
                  <a:pt x="5249912" y="1639365"/>
                  <a:pt x="5246284" y="1637515"/>
                  <a:pt x="5240522" y="1637088"/>
                </a:cubicBezTo>
                <a:cubicBezTo>
                  <a:pt x="5240522" y="1634385"/>
                  <a:pt x="5237961" y="1631966"/>
                  <a:pt x="5239028" y="1628694"/>
                </a:cubicBezTo>
                <a:cubicBezTo>
                  <a:pt x="5239028" y="1628694"/>
                  <a:pt x="5239028" y="1628267"/>
                  <a:pt x="5239455" y="1627698"/>
                </a:cubicBezTo>
                <a:lnTo>
                  <a:pt x="5240095" y="1626987"/>
                </a:lnTo>
                <a:lnTo>
                  <a:pt x="5236894" y="1625991"/>
                </a:lnTo>
                <a:cubicBezTo>
                  <a:pt x="5237534" y="1624853"/>
                  <a:pt x="5237961" y="1623857"/>
                  <a:pt x="5239455" y="1623288"/>
                </a:cubicBezTo>
                <a:cubicBezTo>
                  <a:pt x="5240948" y="1622861"/>
                  <a:pt x="5240522" y="1623999"/>
                  <a:pt x="5240948" y="1622861"/>
                </a:cubicBezTo>
                <a:cubicBezTo>
                  <a:pt x="5242443" y="1622435"/>
                  <a:pt x="5241376" y="1621865"/>
                  <a:pt x="5241376" y="1621865"/>
                </a:cubicBezTo>
                <a:cubicBezTo>
                  <a:pt x="5241376" y="1621865"/>
                  <a:pt x="5242443" y="1622435"/>
                  <a:pt x="5242443" y="1622435"/>
                </a:cubicBezTo>
                <a:cubicBezTo>
                  <a:pt x="5242443" y="1622435"/>
                  <a:pt x="5242443" y="1622435"/>
                  <a:pt x="5245644" y="1621438"/>
                </a:cubicBezTo>
                <a:lnTo>
                  <a:pt x="5247778" y="1620016"/>
                </a:lnTo>
                <a:lnTo>
                  <a:pt x="5247138" y="1619589"/>
                </a:lnTo>
                <a:cubicBezTo>
                  <a:pt x="5246071" y="1618308"/>
                  <a:pt x="5245004" y="1616886"/>
                  <a:pt x="5246284" y="1615890"/>
                </a:cubicBezTo>
                <a:cubicBezTo>
                  <a:pt x="5246924" y="1615321"/>
                  <a:pt x="5247138" y="1614894"/>
                  <a:pt x="5247565" y="1614609"/>
                </a:cubicBezTo>
                <a:close/>
                <a:moveTo>
                  <a:pt x="1426175" y="1614197"/>
                </a:moveTo>
                <a:cubicBezTo>
                  <a:pt x="1428137" y="1614352"/>
                  <a:pt x="1428137" y="1616210"/>
                  <a:pt x="1427311" y="1618379"/>
                </a:cubicBezTo>
                <a:cubicBezTo>
                  <a:pt x="1426898" y="1623181"/>
                  <a:pt x="1424936" y="1624885"/>
                  <a:pt x="1421425" y="1623491"/>
                </a:cubicBezTo>
                <a:cubicBezTo>
                  <a:pt x="1421012" y="1622716"/>
                  <a:pt x="1420703" y="1619928"/>
                  <a:pt x="1419876" y="1620238"/>
                </a:cubicBezTo>
                <a:cubicBezTo>
                  <a:pt x="1420806" y="1617914"/>
                  <a:pt x="1422148" y="1615281"/>
                  <a:pt x="1424007" y="1614352"/>
                </a:cubicBezTo>
                <a:cubicBezTo>
                  <a:pt x="1424627" y="1614041"/>
                  <a:pt x="1425349" y="1614041"/>
                  <a:pt x="1426175" y="1614197"/>
                </a:cubicBezTo>
                <a:close/>
                <a:moveTo>
                  <a:pt x="3925429" y="1614041"/>
                </a:moveTo>
                <a:cubicBezTo>
                  <a:pt x="3926710" y="1614041"/>
                  <a:pt x="3927777" y="1614609"/>
                  <a:pt x="3929058" y="1615036"/>
                </a:cubicBezTo>
                <a:cubicBezTo>
                  <a:pt x="3929271" y="1616174"/>
                  <a:pt x="3929271" y="1616174"/>
                  <a:pt x="3928204" y="1617455"/>
                </a:cubicBezTo>
                <a:cubicBezTo>
                  <a:pt x="3928417" y="1618593"/>
                  <a:pt x="3923508" y="1616601"/>
                  <a:pt x="3922228" y="1616744"/>
                </a:cubicBezTo>
                <a:cubicBezTo>
                  <a:pt x="3922015" y="1615606"/>
                  <a:pt x="3922015" y="1615463"/>
                  <a:pt x="3923295" y="1615463"/>
                </a:cubicBezTo>
                <a:cubicBezTo>
                  <a:pt x="3923082" y="1615321"/>
                  <a:pt x="3923082" y="1615321"/>
                  <a:pt x="3922868" y="1615179"/>
                </a:cubicBezTo>
                <a:cubicBezTo>
                  <a:pt x="3923722" y="1614609"/>
                  <a:pt x="3924576" y="1613899"/>
                  <a:pt x="3925429" y="1614041"/>
                </a:cubicBezTo>
                <a:close/>
                <a:moveTo>
                  <a:pt x="5638763" y="1613899"/>
                </a:moveTo>
                <a:cubicBezTo>
                  <a:pt x="5640044" y="1613899"/>
                  <a:pt x="5641537" y="1614041"/>
                  <a:pt x="5642818" y="1614609"/>
                </a:cubicBezTo>
                <a:cubicBezTo>
                  <a:pt x="5645379" y="1616886"/>
                  <a:pt x="5645806" y="1619304"/>
                  <a:pt x="5644739" y="1620443"/>
                </a:cubicBezTo>
                <a:lnTo>
                  <a:pt x="5639404" y="1626133"/>
                </a:lnTo>
                <a:lnTo>
                  <a:pt x="5639617" y="1627129"/>
                </a:lnTo>
                <a:cubicBezTo>
                  <a:pt x="5638763" y="1630829"/>
                  <a:pt x="5632147" y="1632109"/>
                  <a:pt x="5628092" y="1630402"/>
                </a:cubicBezTo>
                <a:lnTo>
                  <a:pt x="5625745" y="1628837"/>
                </a:lnTo>
                <a:lnTo>
                  <a:pt x="5625318" y="1628837"/>
                </a:lnTo>
                <a:cubicBezTo>
                  <a:pt x="5621476" y="1625422"/>
                  <a:pt x="5621476" y="1625422"/>
                  <a:pt x="5626171" y="1617881"/>
                </a:cubicBezTo>
                <a:cubicBezTo>
                  <a:pt x="5627025" y="1616744"/>
                  <a:pt x="5628306" y="1615748"/>
                  <a:pt x="5629800" y="1615179"/>
                </a:cubicBezTo>
                <a:cubicBezTo>
                  <a:pt x="5631293" y="1614609"/>
                  <a:pt x="5633001" y="1614609"/>
                  <a:pt x="5634921" y="1615036"/>
                </a:cubicBezTo>
                <a:cubicBezTo>
                  <a:pt x="5635989" y="1614467"/>
                  <a:pt x="5637269" y="1614041"/>
                  <a:pt x="5638763" y="1613899"/>
                </a:cubicBezTo>
                <a:close/>
                <a:moveTo>
                  <a:pt x="5809712" y="1613614"/>
                </a:moveTo>
                <a:cubicBezTo>
                  <a:pt x="5810780" y="1614325"/>
                  <a:pt x="5810780" y="1614325"/>
                  <a:pt x="5810780" y="1614325"/>
                </a:cubicBezTo>
                <a:cubicBezTo>
                  <a:pt x="5811420" y="1615463"/>
                  <a:pt x="5810993" y="1616317"/>
                  <a:pt x="5810139" y="1617171"/>
                </a:cubicBezTo>
                <a:cubicBezTo>
                  <a:pt x="5809072" y="1618166"/>
                  <a:pt x="5807578" y="1619020"/>
                  <a:pt x="5805657" y="1620016"/>
                </a:cubicBezTo>
                <a:cubicBezTo>
                  <a:pt x="5801816" y="1621865"/>
                  <a:pt x="5796054" y="1622577"/>
                  <a:pt x="5794346" y="1623146"/>
                </a:cubicBezTo>
                <a:cubicBezTo>
                  <a:pt x="5792639" y="1623573"/>
                  <a:pt x="5791998" y="1624568"/>
                  <a:pt x="5791998" y="1624568"/>
                </a:cubicBezTo>
                <a:cubicBezTo>
                  <a:pt x="5790931" y="1622292"/>
                  <a:pt x="5805871" y="1615606"/>
                  <a:pt x="5809712" y="1613614"/>
                </a:cubicBezTo>
                <a:close/>
                <a:moveTo>
                  <a:pt x="4853165" y="1613329"/>
                </a:moveTo>
                <a:cubicBezTo>
                  <a:pt x="4853592" y="1613187"/>
                  <a:pt x="4854232" y="1613187"/>
                  <a:pt x="4855086" y="1613471"/>
                </a:cubicBezTo>
                <a:cubicBezTo>
                  <a:pt x="4855086" y="1613471"/>
                  <a:pt x="4855299" y="1614467"/>
                  <a:pt x="4855299" y="1614467"/>
                </a:cubicBezTo>
                <a:cubicBezTo>
                  <a:pt x="4854232" y="1614894"/>
                  <a:pt x="4852952" y="1615463"/>
                  <a:pt x="4852738" y="1614467"/>
                </a:cubicBezTo>
                <a:cubicBezTo>
                  <a:pt x="4852525" y="1613899"/>
                  <a:pt x="4852738" y="1613614"/>
                  <a:pt x="4853165" y="1613329"/>
                </a:cubicBezTo>
                <a:close/>
                <a:moveTo>
                  <a:pt x="1217701" y="1613267"/>
                </a:moveTo>
                <a:cubicBezTo>
                  <a:pt x="1217701" y="1613267"/>
                  <a:pt x="1217701" y="1613267"/>
                  <a:pt x="1218424" y="1613577"/>
                </a:cubicBezTo>
                <a:cubicBezTo>
                  <a:pt x="1215945" y="1616365"/>
                  <a:pt x="1214500" y="1620548"/>
                  <a:pt x="1211712" y="1622097"/>
                </a:cubicBezTo>
                <a:cubicBezTo>
                  <a:pt x="1211093" y="1622252"/>
                  <a:pt x="1210473" y="1622561"/>
                  <a:pt x="1209957" y="1622406"/>
                </a:cubicBezTo>
                <a:cubicBezTo>
                  <a:pt x="1209440" y="1622252"/>
                  <a:pt x="1208924" y="1621787"/>
                  <a:pt x="1208614" y="1620702"/>
                </a:cubicBezTo>
                <a:cubicBezTo>
                  <a:pt x="1208098" y="1619928"/>
                  <a:pt x="1207995" y="1619463"/>
                  <a:pt x="1208304" y="1618843"/>
                </a:cubicBezTo>
                <a:cubicBezTo>
                  <a:pt x="1208614" y="1618224"/>
                  <a:pt x="1209440" y="1617605"/>
                  <a:pt x="1210886" y="1616830"/>
                </a:cubicBezTo>
                <a:cubicBezTo>
                  <a:pt x="1213261" y="1616055"/>
                  <a:pt x="1214913" y="1614816"/>
                  <a:pt x="1215636" y="1615126"/>
                </a:cubicBezTo>
                <a:cubicBezTo>
                  <a:pt x="1216049" y="1614352"/>
                  <a:pt x="1217288" y="1614041"/>
                  <a:pt x="1217701" y="1613267"/>
                </a:cubicBezTo>
                <a:close/>
                <a:moveTo>
                  <a:pt x="5315219" y="1613187"/>
                </a:moveTo>
                <a:cubicBezTo>
                  <a:pt x="5322262" y="1613614"/>
                  <a:pt x="5324823" y="1618451"/>
                  <a:pt x="5324183" y="1622861"/>
                </a:cubicBezTo>
                <a:lnTo>
                  <a:pt x="5320981" y="1628125"/>
                </a:lnTo>
                <a:lnTo>
                  <a:pt x="5322262" y="1628267"/>
                </a:lnTo>
                <a:cubicBezTo>
                  <a:pt x="5323329" y="1628979"/>
                  <a:pt x="5323969" y="1629975"/>
                  <a:pt x="5324396" y="1631113"/>
                </a:cubicBezTo>
                <a:cubicBezTo>
                  <a:pt x="5325250" y="1633674"/>
                  <a:pt x="5325250" y="1637088"/>
                  <a:pt x="5326103" y="1640076"/>
                </a:cubicBezTo>
                <a:cubicBezTo>
                  <a:pt x="5322475" y="1640360"/>
                  <a:pt x="5320128" y="1639507"/>
                  <a:pt x="5318847" y="1637373"/>
                </a:cubicBezTo>
                <a:lnTo>
                  <a:pt x="5317780" y="1628837"/>
                </a:lnTo>
                <a:lnTo>
                  <a:pt x="5313085" y="1629548"/>
                </a:lnTo>
                <a:cubicBezTo>
                  <a:pt x="5310097" y="1625280"/>
                  <a:pt x="5309457" y="1621438"/>
                  <a:pt x="5308603" y="1618878"/>
                </a:cubicBezTo>
                <a:cubicBezTo>
                  <a:pt x="5311164" y="1617171"/>
                  <a:pt x="5312658" y="1615036"/>
                  <a:pt x="5315219" y="1613187"/>
                </a:cubicBezTo>
                <a:close/>
                <a:moveTo>
                  <a:pt x="1132101" y="1613112"/>
                </a:moveTo>
                <a:cubicBezTo>
                  <a:pt x="1134373" y="1611099"/>
                  <a:pt x="1140671" y="1610944"/>
                  <a:pt x="1142530" y="1613732"/>
                </a:cubicBezTo>
                <a:cubicBezTo>
                  <a:pt x="1143150" y="1614662"/>
                  <a:pt x="1143150" y="1615745"/>
                  <a:pt x="1142427" y="1617295"/>
                </a:cubicBezTo>
                <a:cubicBezTo>
                  <a:pt x="1139949" y="1621632"/>
                  <a:pt x="1135922" y="1620393"/>
                  <a:pt x="1131689" y="1618379"/>
                </a:cubicBezTo>
                <a:cubicBezTo>
                  <a:pt x="1132101" y="1616520"/>
                  <a:pt x="1131689" y="1614971"/>
                  <a:pt x="1132101" y="1613112"/>
                </a:cubicBezTo>
                <a:close/>
                <a:moveTo>
                  <a:pt x="5054846" y="1612902"/>
                </a:moveTo>
                <a:cubicBezTo>
                  <a:pt x="5058475" y="1612049"/>
                  <a:pt x="5061889" y="1614182"/>
                  <a:pt x="5062957" y="1618593"/>
                </a:cubicBezTo>
                <a:cubicBezTo>
                  <a:pt x="5063597" y="1621438"/>
                  <a:pt x="5063384" y="1625280"/>
                  <a:pt x="5061463" y="1629832"/>
                </a:cubicBezTo>
                <a:cubicBezTo>
                  <a:pt x="5056554" y="1633531"/>
                  <a:pt x="5046523" y="1630829"/>
                  <a:pt x="5045883" y="1625991"/>
                </a:cubicBezTo>
                <a:cubicBezTo>
                  <a:pt x="5047590" y="1617881"/>
                  <a:pt x="5051218" y="1613899"/>
                  <a:pt x="5054846" y="1612902"/>
                </a:cubicBezTo>
                <a:close/>
                <a:moveTo>
                  <a:pt x="1385905" y="1612493"/>
                </a:moveTo>
                <a:cubicBezTo>
                  <a:pt x="1386008" y="1615591"/>
                  <a:pt x="1386422" y="1616830"/>
                  <a:pt x="1384253" y="1618843"/>
                </a:cubicBezTo>
                <a:cubicBezTo>
                  <a:pt x="1383943" y="1617605"/>
                  <a:pt x="1383840" y="1616520"/>
                  <a:pt x="1384047" y="1615591"/>
                </a:cubicBezTo>
                <a:cubicBezTo>
                  <a:pt x="1384357" y="1614507"/>
                  <a:pt x="1384873" y="1613577"/>
                  <a:pt x="1385905" y="1612493"/>
                </a:cubicBezTo>
                <a:close/>
                <a:moveTo>
                  <a:pt x="1154611" y="1612338"/>
                </a:moveTo>
                <a:cubicBezTo>
                  <a:pt x="1158948" y="1612493"/>
                  <a:pt x="1161942" y="1615591"/>
                  <a:pt x="1163698" y="1619463"/>
                </a:cubicBezTo>
                <a:lnTo>
                  <a:pt x="1165969" y="1630616"/>
                </a:lnTo>
                <a:lnTo>
                  <a:pt x="1168551" y="1630616"/>
                </a:lnTo>
                <a:cubicBezTo>
                  <a:pt x="1169687" y="1632010"/>
                  <a:pt x="1169790" y="1633094"/>
                  <a:pt x="1169274" y="1634333"/>
                </a:cubicBezTo>
                <a:lnTo>
                  <a:pt x="1167931" y="1636037"/>
                </a:lnTo>
                <a:lnTo>
                  <a:pt x="1173197" y="1636502"/>
                </a:lnTo>
                <a:cubicBezTo>
                  <a:pt x="1170823" y="1639290"/>
                  <a:pt x="1167002" y="1638980"/>
                  <a:pt x="1166589" y="1645641"/>
                </a:cubicBezTo>
                <a:lnTo>
                  <a:pt x="1163801" y="1642853"/>
                </a:lnTo>
                <a:lnTo>
                  <a:pt x="1163698" y="1643317"/>
                </a:lnTo>
                <a:lnTo>
                  <a:pt x="1159464" y="1640065"/>
                </a:lnTo>
                <a:lnTo>
                  <a:pt x="1158225" y="1639755"/>
                </a:lnTo>
                <a:cubicBezTo>
                  <a:pt x="1157709" y="1639755"/>
                  <a:pt x="1157090" y="1639755"/>
                  <a:pt x="1156470" y="1639600"/>
                </a:cubicBezTo>
                <a:cubicBezTo>
                  <a:pt x="1157606" y="1640065"/>
                  <a:pt x="1158432" y="1640994"/>
                  <a:pt x="1159258" y="1641923"/>
                </a:cubicBezTo>
                <a:cubicBezTo>
                  <a:pt x="1160394" y="1643317"/>
                  <a:pt x="1161116" y="1643627"/>
                  <a:pt x="1163078" y="1643627"/>
                </a:cubicBezTo>
                <a:cubicBezTo>
                  <a:pt x="1163078" y="1643627"/>
                  <a:pt x="1163078" y="1643627"/>
                  <a:pt x="1163698" y="1645796"/>
                </a:cubicBezTo>
                <a:lnTo>
                  <a:pt x="1163285" y="1646570"/>
                </a:lnTo>
                <a:cubicBezTo>
                  <a:pt x="1162872" y="1646880"/>
                  <a:pt x="1162252" y="1646725"/>
                  <a:pt x="1161323" y="1646415"/>
                </a:cubicBezTo>
                <a:cubicBezTo>
                  <a:pt x="1158741" y="1645486"/>
                  <a:pt x="1154818" y="1642543"/>
                  <a:pt x="1154301" y="1642388"/>
                </a:cubicBezTo>
                <a:cubicBezTo>
                  <a:pt x="1154301" y="1642388"/>
                  <a:pt x="1153579" y="1642078"/>
                  <a:pt x="1152753" y="1641768"/>
                </a:cubicBezTo>
                <a:cubicBezTo>
                  <a:pt x="1152443" y="1640529"/>
                  <a:pt x="1152856" y="1639755"/>
                  <a:pt x="1152133" y="1639445"/>
                </a:cubicBezTo>
                <a:cubicBezTo>
                  <a:pt x="1153785" y="1638825"/>
                  <a:pt x="1155025" y="1639135"/>
                  <a:pt x="1156057" y="1639600"/>
                </a:cubicBezTo>
                <a:cubicBezTo>
                  <a:pt x="1155334" y="1639445"/>
                  <a:pt x="1154715" y="1638980"/>
                  <a:pt x="1154198" y="1638361"/>
                </a:cubicBezTo>
                <a:lnTo>
                  <a:pt x="1155644" y="1634488"/>
                </a:lnTo>
                <a:lnTo>
                  <a:pt x="1155128" y="1633714"/>
                </a:lnTo>
                <a:cubicBezTo>
                  <a:pt x="1153579" y="1629686"/>
                  <a:pt x="1153062" y="1625349"/>
                  <a:pt x="1153269" y="1622406"/>
                </a:cubicBezTo>
                <a:cubicBezTo>
                  <a:pt x="1155437" y="1623491"/>
                  <a:pt x="1157296" y="1624885"/>
                  <a:pt x="1158845" y="1626588"/>
                </a:cubicBezTo>
                <a:lnTo>
                  <a:pt x="1161839" y="1631235"/>
                </a:lnTo>
                <a:lnTo>
                  <a:pt x="1164421" y="1630771"/>
                </a:lnTo>
                <a:lnTo>
                  <a:pt x="1160600" y="1628292"/>
                </a:lnTo>
                <a:cubicBezTo>
                  <a:pt x="1156264" y="1624265"/>
                  <a:pt x="1155437" y="1618379"/>
                  <a:pt x="1154611" y="1612338"/>
                </a:cubicBezTo>
                <a:close/>
                <a:moveTo>
                  <a:pt x="1575690" y="1612028"/>
                </a:moveTo>
                <a:cubicBezTo>
                  <a:pt x="1575794" y="1612803"/>
                  <a:pt x="1575587" y="1613732"/>
                  <a:pt x="1574761" y="1614662"/>
                </a:cubicBezTo>
                <a:cubicBezTo>
                  <a:pt x="1572902" y="1614352"/>
                  <a:pt x="1571766" y="1613887"/>
                  <a:pt x="1569701" y="1612803"/>
                </a:cubicBezTo>
                <a:cubicBezTo>
                  <a:pt x="1570734" y="1609240"/>
                  <a:pt x="1575071" y="1609860"/>
                  <a:pt x="1575690" y="1612028"/>
                </a:cubicBezTo>
                <a:close/>
                <a:moveTo>
                  <a:pt x="6213503" y="1611195"/>
                </a:moveTo>
                <a:cubicBezTo>
                  <a:pt x="6210728" y="1623003"/>
                  <a:pt x="6183411" y="1634100"/>
                  <a:pt x="6177435" y="1622861"/>
                </a:cubicBezTo>
                <a:cubicBezTo>
                  <a:pt x="6190880" y="1619873"/>
                  <a:pt x="6198137" y="1611622"/>
                  <a:pt x="6213503" y="1611195"/>
                </a:cubicBezTo>
                <a:close/>
                <a:moveTo>
                  <a:pt x="5940966" y="1611195"/>
                </a:moveTo>
                <a:cubicBezTo>
                  <a:pt x="5940966" y="1611195"/>
                  <a:pt x="5940966" y="1611337"/>
                  <a:pt x="5942459" y="1612476"/>
                </a:cubicBezTo>
                <a:cubicBezTo>
                  <a:pt x="5940112" y="1612618"/>
                  <a:pt x="5939472" y="1617455"/>
                  <a:pt x="5936911" y="1615179"/>
                </a:cubicBezTo>
                <a:cubicBezTo>
                  <a:pt x="5937764" y="1613899"/>
                  <a:pt x="5940112" y="1612476"/>
                  <a:pt x="5940966" y="1611195"/>
                </a:cubicBezTo>
                <a:close/>
                <a:moveTo>
                  <a:pt x="5337201" y="1610484"/>
                </a:moveTo>
                <a:cubicBezTo>
                  <a:pt x="5338482" y="1610626"/>
                  <a:pt x="5339122" y="1611053"/>
                  <a:pt x="5339549" y="1611480"/>
                </a:cubicBezTo>
                <a:cubicBezTo>
                  <a:pt x="5341469" y="1614609"/>
                  <a:pt x="5331439" y="1623288"/>
                  <a:pt x="5332292" y="1611195"/>
                </a:cubicBezTo>
                <a:cubicBezTo>
                  <a:pt x="5334427" y="1610626"/>
                  <a:pt x="5336134" y="1610484"/>
                  <a:pt x="5337201" y="1610484"/>
                </a:cubicBezTo>
                <a:close/>
                <a:moveTo>
                  <a:pt x="1743468" y="1610227"/>
                </a:moveTo>
                <a:cubicBezTo>
                  <a:pt x="1746192" y="1609898"/>
                  <a:pt x="1748541" y="1611718"/>
                  <a:pt x="1748954" y="1614816"/>
                </a:cubicBezTo>
                <a:cubicBezTo>
                  <a:pt x="1749264" y="1616985"/>
                  <a:pt x="1748644" y="1619618"/>
                  <a:pt x="1746786" y="1622561"/>
                </a:cubicBezTo>
                <a:cubicBezTo>
                  <a:pt x="1742862" y="1624730"/>
                  <a:pt x="1735737" y="1621942"/>
                  <a:pt x="1735737" y="1618534"/>
                </a:cubicBezTo>
                <a:cubicBezTo>
                  <a:pt x="1737647" y="1613035"/>
                  <a:pt x="1740745" y="1610557"/>
                  <a:pt x="1743468" y="1610227"/>
                </a:cubicBezTo>
                <a:close/>
                <a:moveTo>
                  <a:pt x="5911727" y="1610057"/>
                </a:moveTo>
                <a:cubicBezTo>
                  <a:pt x="5922398" y="1609630"/>
                  <a:pt x="5931361" y="1616886"/>
                  <a:pt x="5936057" y="1626418"/>
                </a:cubicBezTo>
                <a:cubicBezTo>
                  <a:pt x="5939472" y="1633674"/>
                  <a:pt x="5940539" y="1642068"/>
                  <a:pt x="5937978" y="1649750"/>
                </a:cubicBezTo>
                <a:lnTo>
                  <a:pt x="5937551" y="1650888"/>
                </a:lnTo>
                <a:lnTo>
                  <a:pt x="5939045" y="1649466"/>
                </a:lnTo>
                <a:cubicBezTo>
                  <a:pt x="5940539" y="1649039"/>
                  <a:pt x="5940539" y="1649039"/>
                  <a:pt x="5941606" y="1649607"/>
                </a:cubicBezTo>
                <a:cubicBezTo>
                  <a:pt x="5944167" y="1649750"/>
                  <a:pt x="5945874" y="1649323"/>
                  <a:pt x="5946942" y="1651599"/>
                </a:cubicBezTo>
                <a:cubicBezTo>
                  <a:pt x="5947795" y="1653591"/>
                  <a:pt x="5947368" y="1654871"/>
                  <a:pt x="5946515" y="1656010"/>
                </a:cubicBezTo>
                <a:cubicBezTo>
                  <a:pt x="5945661" y="1657148"/>
                  <a:pt x="5944167" y="1658144"/>
                  <a:pt x="5942246" y="1659140"/>
                </a:cubicBezTo>
                <a:cubicBezTo>
                  <a:pt x="5938191" y="1661132"/>
                  <a:pt x="5936057" y="1658144"/>
                  <a:pt x="5932856" y="1659140"/>
                </a:cubicBezTo>
                <a:lnTo>
                  <a:pt x="5933283" y="1657006"/>
                </a:lnTo>
                <a:lnTo>
                  <a:pt x="5921758" y="1655583"/>
                </a:lnTo>
                <a:cubicBezTo>
                  <a:pt x="5918130" y="1654303"/>
                  <a:pt x="5915142" y="1652169"/>
                  <a:pt x="5912581" y="1649466"/>
                </a:cubicBezTo>
                <a:lnTo>
                  <a:pt x="5908739" y="1643917"/>
                </a:lnTo>
                <a:lnTo>
                  <a:pt x="5907672" y="1648897"/>
                </a:lnTo>
                <a:cubicBezTo>
                  <a:pt x="5905538" y="1654587"/>
                  <a:pt x="5901910" y="1660420"/>
                  <a:pt x="5896574" y="1665969"/>
                </a:cubicBezTo>
                <a:cubicBezTo>
                  <a:pt x="5888891" y="1665684"/>
                  <a:pt x="5886757" y="1659708"/>
                  <a:pt x="5888251" y="1652738"/>
                </a:cubicBezTo>
                <a:cubicBezTo>
                  <a:pt x="5889958" y="1643917"/>
                  <a:pt x="5897001" y="1633816"/>
                  <a:pt x="5904044" y="1631397"/>
                </a:cubicBezTo>
                <a:lnTo>
                  <a:pt x="5904684" y="1631397"/>
                </a:lnTo>
                <a:lnTo>
                  <a:pt x="5905111" y="1622008"/>
                </a:lnTo>
                <a:cubicBezTo>
                  <a:pt x="5905538" y="1618593"/>
                  <a:pt x="5906605" y="1615036"/>
                  <a:pt x="5908312" y="1611622"/>
                </a:cubicBezTo>
                <a:cubicBezTo>
                  <a:pt x="5910020" y="1611622"/>
                  <a:pt x="5911514" y="1611764"/>
                  <a:pt x="5911727" y="1610057"/>
                </a:cubicBezTo>
                <a:close/>
                <a:moveTo>
                  <a:pt x="5616141" y="1609772"/>
                </a:moveTo>
                <a:cubicBezTo>
                  <a:pt x="5617208" y="1614041"/>
                  <a:pt x="5619555" y="1619020"/>
                  <a:pt x="5621690" y="1623857"/>
                </a:cubicBezTo>
                <a:cubicBezTo>
                  <a:pt x="5623824" y="1628552"/>
                  <a:pt x="5625531" y="1633389"/>
                  <a:pt x="5625318" y="1637373"/>
                </a:cubicBezTo>
                <a:lnTo>
                  <a:pt x="5623824" y="1641498"/>
                </a:lnTo>
                <a:lnTo>
                  <a:pt x="5624464" y="1641925"/>
                </a:lnTo>
                <a:cubicBezTo>
                  <a:pt x="5621903" y="1644202"/>
                  <a:pt x="5622757" y="1646620"/>
                  <a:pt x="5619982" y="1648897"/>
                </a:cubicBezTo>
                <a:lnTo>
                  <a:pt x="5616994" y="1645624"/>
                </a:lnTo>
                <a:lnTo>
                  <a:pt x="5614647" y="1646193"/>
                </a:lnTo>
                <a:lnTo>
                  <a:pt x="5613580" y="1654587"/>
                </a:lnTo>
                <a:cubicBezTo>
                  <a:pt x="5612939" y="1657433"/>
                  <a:pt x="5611872" y="1660278"/>
                  <a:pt x="5610805" y="1662555"/>
                </a:cubicBezTo>
                <a:cubicBezTo>
                  <a:pt x="5600988" y="1652596"/>
                  <a:pt x="5604189" y="1642068"/>
                  <a:pt x="5607177" y="1631539"/>
                </a:cubicBezTo>
                <a:cubicBezTo>
                  <a:pt x="5609738" y="1632820"/>
                  <a:pt x="5611659" y="1634812"/>
                  <a:pt x="5612939" y="1637373"/>
                </a:cubicBezTo>
                <a:lnTo>
                  <a:pt x="5613153" y="1638511"/>
                </a:lnTo>
                <a:lnTo>
                  <a:pt x="5613366" y="1636661"/>
                </a:lnTo>
                <a:cubicBezTo>
                  <a:pt x="5613366" y="1626418"/>
                  <a:pt x="5609952" y="1616459"/>
                  <a:pt x="5616141" y="1609772"/>
                </a:cubicBezTo>
                <a:close/>
                <a:moveTo>
                  <a:pt x="1299170" y="1609550"/>
                </a:moveTo>
                <a:cubicBezTo>
                  <a:pt x="1301751" y="1611564"/>
                  <a:pt x="1301338" y="1614816"/>
                  <a:pt x="1299480" y="1617605"/>
                </a:cubicBezTo>
                <a:cubicBezTo>
                  <a:pt x="1297725" y="1620393"/>
                  <a:pt x="1294524" y="1622561"/>
                  <a:pt x="1291632" y="1622561"/>
                </a:cubicBezTo>
                <a:cubicBezTo>
                  <a:pt x="1291426" y="1621012"/>
                  <a:pt x="1291426" y="1619463"/>
                  <a:pt x="1291529" y="1618069"/>
                </a:cubicBezTo>
                <a:cubicBezTo>
                  <a:pt x="1291839" y="1614041"/>
                  <a:pt x="1293801" y="1611099"/>
                  <a:pt x="1299170" y="1609550"/>
                </a:cubicBezTo>
                <a:close/>
                <a:moveTo>
                  <a:pt x="1659508" y="1609104"/>
                </a:moveTo>
                <a:cubicBezTo>
                  <a:pt x="1660515" y="1609085"/>
                  <a:pt x="1661651" y="1610014"/>
                  <a:pt x="1663355" y="1611254"/>
                </a:cubicBezTo>
                <a:lnTo>
                  <a:pt x="1661290" y="1612958"/>
                </a:lnTo>
                <a:lnTo>
                  <a:pt x="1667795" y="1616365"/>
                </a:lnTo>
                <a:cubicBezTo>
                  <a:pt x="1671718" y="1620702"/>
                  <a:pt x="1672751" y="1627828"/>
                  <a:pt x="1664800" y="1632320"/>
                </a:cubicBezTo>
                <a:lnTo>
                  <a:pt x="1660154" y="1626898"/>
                </a:lnTo>
                <a:lnTo>
                  <a:pt x="1659328" y="1628602"/>
                </a:lnTo>
                <a:lnTo>
                  <a:pt x="1655610" y="1629531"/>
                </a:lnTo>
                <a:lnTo>
                  <a:pt x="1655714" y="1629841"/>
                </a:lnTo>
                <a:cubicBezTo>
                  <a:pt x="1654888" y="1632010"/>
                  <a:pt x="1652823" y="1633714"/>
                  <a:pt x="1649828" y="1633559"/>
                </a:cubicBezTo>
                <a:cubicBezTo>
                  <a:pt x="1647557" y="1632165"/>
                  <a:pt x="1645388" y="1630926"/>
                  <a:pt x="1645388" y="1626743"/>
                </a:cubicBezTo>
                <a:cubicBezTo>
                  <a:pt x="1647660" y="1623955"/>
                  <a:pt x="1650241" y="1622871"/>
                  <a:pt x="1655094" y="1623181"/>
                </a:cubicBezTo>
                <a:lnTo>
                  <a:pt x="1655094" y="1623955"/>
                </a:lnTo>
                <a:lnTo>
                  <a:pt x="1655817" y="1622252"/>
                </a:lnTo>
                <a:lnTo>
                  <a:pt x="1656333" y="1622097"/>
                </a:lnTo>
                <a:lnTo>
                  <a:pt x="1653029" y="1616985"/>
                </a:lnTo>
                <a:cubicBezTo>
                  <a:pt x="1653959" y="1615281"/>
                  <a:pt x="1655197" y="1614041"/>
                  <a:pt x="1656436" y="1613422"/>
                </a:cubicBezTo>
                <a:lnTo>
                  <a:pt x="1657985" y="1613112"/>
                </a:lnTo>
                <a:lnTo>
                  <a:pt x="1656436" y="1612648"/>
                </a:lnTo>
                <a:cubicBezTo>
                  <a:pt x="1657624" y="1610092"/>
                  <a:pt x="1658502" y="1609124"/>
                  <a:pt x="1659508" y="1609104"/>
                </a:cubicBezTo>
                <a:close/>
                <a:moveTo>
                  <a:pt x="1273769" y="1608930"/>
                </a:moveTo>
                <a:lnTo>
                  <a:pt x="1275731" y="1610324"/>
                </a:lnTo>
                <a:lnTo>
                  <a:pt x="1276247" y="1610324"/>
                </a:lnTo>
                <a:cubicBezTo>
                  <a:pt x="1278932" y="1613887"/>
                  <a:pt x="1275421" y="1617914"/>
                  <a:pt x="1273769" y="1620393"/>
                </a:cubicBezTo>
                <a:lnTo>
                  <a:pt x="1272324" y="1619773"/>
                </a:lnTo>
                <a:lnTo>
                  <a:pt x="1272427" y="1621632"/>
                </a:lnTo>
                <a:cubicBezTo>
                  <a:pt x="1272324" y="1622406"/>
                  <a:pt x="1272117" y="1623336"/>
                  <a:pt x="1271910" y="1624265"/>
                </a:cubicBezTo>
                <a:cubicBezTo>
                  <a:pt x="1269948" y="1624110"/>
                  <a:pt x="1267987" y="1625814"/>
                  <a:pt x="1265715" y="1624885"/>
                </a:cubicBezTo>
                <a:cubicBezTo>
                  <a:pt x="1265715" y="1624885"/>
                  <a:pt x="1264476" y="1624420"/>
                  <a:pt x="1263650" y="1622871"/>
                </a:cubicBezTo>
                <a:cubicBezTo>
                  <a:pt x="1260965" y="1621167"/>
                  <a:pt x="1262204" y="1617914"/>
                  <a:pt x="1262204" y="1617914"/>
                </a:cubicBezTo>
                <a:cubicBezTo>
                  <a:pt x="1262204" y="1617914"/>
                  <a:pt x="1262204" y="1617914"/>
                  <a:pt x="1261481" y="1618224"/>
                </a:cubicBezTo>
                <a:cubicBezTo>
                  <a:pt x="1263030" y="1617605"/>
                  <a:pt x="1264166" y="1616210"/>
                  <a:pt x="1265715" y="1615591"/>
                </a:cubicBezTo>
                <a:lnTo>
                  <a:pt x="1266334" y="1615901"/>
                </a:lnTo>
                <a:lnTo>
                  <a:pt x="1265715" y="1615281"/>
                </a:lnTo>
                <a:cubicBezTo>
                  <a:pt x="1266541" y="1613112"/>
                  <a:pt x="1267780" y="1611564"/>
                  <a:pt x="1269535" y="1610634"/>
                </a:cubicBezTo>
                <a:lnTo>
                  <a:pt x="1272736" y="1610479"/>
                </a:lnTo>
                <a:close/>
                <a:moveTo>
                  <a:pt x="4666636" y="1608919"/>
                </a:moveTo>
                <a:cubicBezTo>
                  <a:pt x="4667703" y="1608919"/>
                  <a:pt x="4668771" y="1609488"/>
                  <a:pt x="4669838" y="1610199"/>
                </a:cubicBezTo>
                <a:cubicBezTo>
                  <a:pt x="4668771" y="1611337"/>
                  <a:pt x="4669838" y="1613899"/>
                  <a:pt x="4668557" y="1615036"/>
                </a:cubicBezTo>
                <a:cubicBezTo>
                  <a:pt x="4668557" y="1615036"/>
                  <a:pt x="4665142" y="1615748"/>
                  <a:pt x="4665142" y="1615748"/>
                </a:cubicBezTo>
                <a:cubicBezTo>
                  <a:pt x="4663862" y="1614467"/>
                  <a:pt x="4663862" y="1614467"/>
                  <a:pt x="4665142" y="1614609"/>
                </a:cubicBezTo>
                <a:cubicBezTo>
                  <a:pt x="4664075" y="1611907"/>
                  <a:pt x="4664075" y="1610768"/>
                  <a:pt x="4664075" y="1609488"/>
                </a:cubicBezTo>
                <a:cubicBezTo>
                  <a:pt x="4664715" y="1608919"/>
                  <a:pt x="4665569" y="1608777"/>
                  <a:pt x="4666636" y="1608919"/>
                </a:cubicBezTo>
                <a:close/>
                <a:moveTo>
                  <a:pt x="4890300" y="1608777"/>
                </a:moveTo>
                <a:cubicBezTo>
                  <a:pt x="4891367" y="1608777"/>
                  <a:pt x="4892434" y="1608919"/>
                  <a:pt x="4892221" y="1609488"/>
                </a:cubicBezTo>
                <a:cubicBezTo>
                  <a:pt x="4892648" y="1611053"/>
                  <a:pt x="4893074" y="1610057"/>
                  <a:pt x="4894142" y="1610626"/>
                </a:cubicBezTo>
                <a:cubicBezTo>
                  <a:pt x="4895849" y="1615606"/>
                  <a:pt x="4895636" y="1619162"/>
                  <a:pt x="4892007" y="1621154"/>
                </a:cubicBezTo>
                <a:cubicBezTo>
                  <a:pt x="4889019" y="1622008"/>
                  <a:pt x="4884324" y="1623288"/>
                  <a:pt x="4882190" y="1619446"/>
                </a:cubicBezTo>
                <a:cubicBezTo>
                  <a:pt x="4882617" y="1618451"/>
                  <a:pt x="4881550" y="1617740"/>
                  <a:pt x="4882190" y="1616744"/>
                </a:cubicBezTo>
                <a:cubicBezTo>
                  <a:pt x="4882190" y="1616744"/>
                  <a:pt x="4881977" y="1615463"/>
                  <a:pt x="4882617" y="1613899"/>
                </a:cubicBezTo>
                <a:cubicBezTo>
                  <a:pt x="4883257" y="1612191"/>
                  <a:pt x="4884538" y="1610342"/>
                  <a:pt x="4886885" y="1609061"/>
                </a:cubicBezTo>
                <a:cubicBezTo>
                  <a:pt x="4887739" y="1608919"/>
                  <a:pt x="4889019" y="1608777"/>
                  <a:pt x="4890300" y="1608777"/>
                </a:cubicBezTo>
                <a:close/>
                <a:moveTo>
                  <a:pt x="4196045" y="1608634"/>
                </a:moveTo>
                <a:cubicBezTo>
                  <a:pt x="4198180" y="1608919"/>
                  <a:pt x="4199033" y="1609772"/>
                  <a:pt x="4199460" y="1610910"/>
                </a:cubicBezTo>
                <a:cubicBezTo>
                  <a:pt x="4199673" y="1612049"/>
                  <a:pt x="4199247" y="1613614"/>
                  <a:pt x="4198606" y="1615179"/>
                </a:cubicBezTo>
                <a:cubicBezTo>
                  <a:pt x="4197326" y="1618451"/>
                  <a:pt x="4194765" y="1618308"/>
                  <a:pt x="4194765" y="1618308"/>
                </a:cubicBezTo>
                <a:cubicBezTo>
                  <a:pt x="4190710" y="1617740"/>
                  <a:pt x="4188362" y="1615036"/>
                  <a:pt x="4189216" y="1610626"/>
                </a:cubicBezTo>
                <a:cubicBezTo>
                  <a:pt x="4190923" y="1608492"/>
                  <a:pt x="4193485" y="1608492"/>
                  <a:pt x="4196045" y="1608634"/>
                </a:cubicBezTo>
                <a:close/>
                <a:moveTo>
                  <a:pt x="5780474" y="1608207"/>
                </a:moveTo>
                <a:cubicBezTo>
                  <a:pt x="5783675" y="1613187"/>
                  <a:pt x="5789651" y="1614041"/>
                  <a:pt x="5792212" y="1620158"/>
                </a:cubicBezTo>
                <a:cubicBezTo>
                  <a:pt x="5790718" y="1620585"/>
                  <a:pt x="5786450" y="1621012"/>
                  <a:pt x="5785169" y="1617171"/>
                </a:cubicBezTo>
                <a:cubicBezTo>
                  <a:pt x="5783675" y="1613187"/>
                  <a:pt x="5780260" y="1612476"/>
                  <a:pt x="5778980" y="1608634"/>
                </a:cubicBezTo>
                <a:cubicBezTo>
                  <a:pt x="5778980" y="1608634"/>
                  <a:pt x="5778980" y="1608634"/>
                  <a:pt x="5780474" y="1608207"/>
                </a:cubicBezTo>
                <a:close/>
                <a:moveTo>
                  <a:pt x="4069488" y="1608207"/>
                </a:moveTo>
                <a:cubicBezTo>
                  <a:pt x="4069701" y="1608207"/>
                  <a:pt x="4069914" y="1608492"/>
                  <a:pt x="4069914" y="1609061"/>
                </a:cubicBezTo>
                <a:cubicBezTo>
                  <a:pt x="4072262" y="1610342"/>
                  <a:pt x="4070128" y="1612618"/>
                  <a:pt x="4069061" y="1613614"/>
                </a:cubicBezTo>
                <a:cubicBezTo>
                  <a:pt x="4068847" y="1610199"/>
                  <a:pt x="4067780" y="1609061"/>
                  <a:pt x="4068847" y="1609061"/>
                </a:cubicBezTo>
                <a:cubicBezTo>
                  <a:pt x="4068847" y="1608492"/>
                  <a:pt x="4069061" y="1608207"/>
                  <a:pt x="4069488" y="1608207"/>
                </a:cubicBezTo>
                <a:close/>
                <a:moveTo>
                  <a:pt x="1105048" y="1607304"/>
                </a:moveTo>
                <a:cubicBezTo>
                  <a:pt x="1107010" y="1607343"/>
                  <a:pt x="1109230" y="1608311"/>
                  <a:pt x="1111450" y="1609705"/>
                </a:cubicBezTo>
                <a:cubicBezTo>
                  <a:pt x="1110624" y="1610634"/>
                  <a:pt x="1113412" y="1612028"/>
                  <a:pt x="1114341" y="1613577"/>
                </a:cubicBezTo>
                <a:cubicBezTo>
                  <a:pt x="1114445" y="1616055"/>
                  <a:pt x="1114548" y="1617605"/>
                  <a:pt x="1112896" y="1619618"/>
                </a:cubicBezTo>
                <a:lnTo>
                  <a:pt x="1109901" y="1621632"/>
                </a:lnTo>
                <a:lnTo>
                  <a:pt x="1111244" y="1623336"/>
                </a:lnTo>
                <a:cubicBezTo>
                  <a:pt x="1113309" y="1628447"/>
                  <a:pt x="1113619" y="1634488"/>
                  <a:pt x="1104842" y="1636502"/>
                </a:cubicBezTo>
                <a:lnTo>
                  <a:pt x="1104326" y="1636657"/>
                </a:lnTo>
                <a:lnTo>
                  <a:pt x="1108766" y="1640684"/>
                </a:lnTo>
                <a:cubicBezTo>
                  <a:pt x="1103603" y="1644247"/>
                  <a:pt x="1103500" y="1648429"/>
                  <a:pt x="1098027" y="1649358"/>
                </a:cubicBezTo>
                <a:cubicBezTo>
                  <a:pt x="1096375" y="1648119"/>
                  <a:pt x="1095445" y="1646415"/>
                  <a:pt x="1095239" y="1644866"/>
                </a:cubicBezTo>
                <a:cubicBezTo>
                  <a:pt x="1094826" y="1642543"/>
                  <a:pt x="1095859" y="1640219"/>
                  <a:pt x="1097510" y="1638515"/>
                </a:cubicBezTo>
                <a:lnTo>
                  <a:pt x="1098750" y="1638051"/>
                </a:lnTo>
                <a:lnTo>
                  <a:pt x="1095962" y="1634798"/>
                </a:lnTo>
                <a:cubicBezTo>
                  <a:pt x="1094826" y="1633869"/>
                  <a:pt x="1093484" y="1632475"/>
                  <a:pt x="1092348" y="1629376"/>
                </a:cubicBezTo>
                <a:cubicBezTo>
                  <a:pt x="1091419" y="1627363"/>
                  <a:pt x="1091109" y="1625659"/>
                  <a:pt x="1091109" y="1624110"/>
                </a:cubicBezTo>
                <a:lnTo>
                  <a:pt x="1091315" y="1623026"/>
                </a:lnTo>
                <a:lnTo>
                  <a:pt x="1091109" y="1623336"/>
                </a:lnTo>
                <a:cubicBezTo>
                  <a:pt x="1088940" y="1625504"/>
                  <a:pt x="1086772" y="1627053"/>
                  <a:pt x="1085533" y="1626743"/>
                </a:cubicBezTo>
                <a:cubicBezTo>
                  <a:pt x="1085430" y="1625969"/>
                  <a:pt x="1085430" y="1625195"/>
                  <a:pt x="1086153" y="1624265"/>
                </a:cubicBezTo>
                <a:cubicBezTo>
                  <a:pt x="1086978" y="1623336"/>
                  <a:pt x="1087082" y="1624110"/>
                  <a:pt x="1087082" y="1623181"/>
                </a:cubicBezTo>
                <a:cubicBezTo>
                  <a:pt x="1087804" y="1622252"/>
                  <a:pt x="1086978" y="1622406"/>
                  <a:pt x="1086978" y="1622406"/>
                </a:cubicBezTo>
                <a:cubicBezTo>
                  <a:pt x="1086978" y="1622406"/>
                  <a:pt x="1087908" y="1622252"/>
                  <a:pt x="1087908" y="1622252"/>
                </a:cubicBezTo>
                <a:cubicBezTo>
                  <a:pt x="1087908" y="1622252"/>
                  <a:pt x="1087908" y="1622252"/>
                  <a:pt x="1089457" y="1620393"/>
                </a:cubicBezTo>
                <a:cubicBezTo>
                  <a:pt x="1091109" y="1617605"/>
                  <a:pt x="1091005" y="1616830"/>
                  <a:pt x="1091728" y="1614971"/>
                </a:cubicBezTo>
                <a:cubicBezTo>
                  <a:pt x="1093381" y="1613112"/>
                  <a:pt x="1094310" y="1612958"/>
                  <a:pt x="1096788" y="1610789"/>
                </a:cubicBezTo>
                <a:cubicBezTo>
                  <a:pt x="1098543" y="1611408"/>
                  <a:pt x="1098543" y="1611564"/>
                  <a:pt x="1098543" y="1612338"/>
                </a:cubicBezTo>
                <a:cubicBezTo>
                  <a:pt x="1098543" y="1611564"/>
                  <a:pt x="1099369" y="1611408"/>
                  <a:pt x="1100195" y="1610479"/>
                </a:cubicBezTo>
                <a:cubicBezTo>
                  <a:pt x="1101383" y="1608156"/>
                  <a:pt x="1103086" y="1607265"/>
                  <a:pt x="1105048" y="1607304"/>
                </a:cubicBezTo>
                <a:close/>
                <a:moveTo>
                  <a:pt x="4948564" y="1607070"/>
                </a:moveTo>
                <a:cubicBezTo>
                  <a:pt x="4950698" y="1605646"/>
                  <a:pt x="4952192" y="1607923"/>
                  <a:pt x="4953472" y="1611195"/>
                </a:cubicBezTo>
                <a:cubicBezTo>
                  <a:pt x="4957314" y="1617313"/>
                  <a:pt x="4956887" y="1621012"/>
                  <a:pt x="4952192" y="1622292"/>
                </a:cubicBezTo>
                <a:cubicBezTo>
                  <a:pt x="4951124" y="1621723"/>
                  <a:pt x="4948350" y="1618878"/>
                  <a:pt x="4947924" y="1619873"/>
                </a:cubicBezTo>
                <a:cubicBezTo>
                  <a:pt x="4946643" y="1616174"/>
                  <a:pt x="4945576" y="1611907"/>
                  <a:pt x="4946643" y="1609204"/>
                </a:cubicBezTo>
                <a:cubicBezTo>
                  <a:pt x="4947070" y="1608350"/>
                  <a:pt x="4947710" y="1607496"/>
                  <a:pt x="4948564" y="1607070"/>
                </a:cubicBezTo>
                <a:close/>
                <a:moveTo>
                  <a:pt x="5161556" y="1606785"/>
                </a:moveTo>
                <a:cubicBezTo>
                  <a:pt x="5162624" y="1606500"/>
                  <a:pt x="5163477" y="1606642"/>
                  <a:pt x="5164758" y="1606927"/>
                </a:cubicBezTo>
                <a:cubicBezTo>
                  <a:pt x="5169026" y="1607070"/>
                  <a:pt x="5171587" y="1611195"/>
                  <a:pt x="5176496" y="1612476"/>
                </a:cubicBezTo>
                <a:cubicBezTo>
                  <a:pt x="5176496" y="1615463"/>
                  <a:pt x="5176496" y="1617455"/>
                  <a:pt x="5175642" y="1618736"/>
                </a:cubicBezTo>
                <a:lnTo>
                  <a:pt x="5175002" y="1619020"/>
                </a:lnTo>
                <a:lnTo>
                  <a:pt x="5164758" y="1627129"/>
                </a:lnTo>
                <a:cubicBezTo>
                  <a:pt x="5163264" y="1627556"/>
                  <a:pt x="5158142" y="1627272"/>
                  <a:pt x="5157502" y="1625707"/>
                </a:cubicBezTo>
                <a:cubicBezTo>
                  <a:pt x="5157075" y="1623999"/>
                  <a:pt x="5157502" y="1623003"/>
                  <a:pt x="5157928" y="1621865"/>
                </a:cubicBezTo>
                <a:lnTo>
                  <a:pt x="5162837" y="1618308"/>
                </a:lnTo>
                <a:lnTo>
                  <a:pt x="5160490" y="1617313"/>
                </a:lnTo>
                <a:cubicBezTo>
                  <a:pt x="5158355" y="1615606"/>
                  <a:pt x="5156648" y="1613756"/>
                  <a:pt x="5156435" y="1612476"/>
                </a:cubicBezTo>
                <a:cubicBezTo>
                  <a:pt x="5156861" y="1609915"/>
                  <a:pt x="5158568" y="1607354"/>
                  <a:pt x="5161556" y="1606785"/>
                </a:cubicBezTo>
                <a:close/>
                <a:moveTo>
                  <a:pt x="3509901" y="1606073"/>
                </a:moveTo>
                <a:cubicBezTo>
                  <a:pt x="3511395" y="1605931"/>
                  <a:pt x="3512889" y="1606073"/>
                  <a:pt x="3514383" y="1606358"/>
                </a:cubicBezTo>
                <a:cubicBezTo>
                  <a:pt x="3522919" y="1608492"/>
                  <a:pt x="3529322" y="1618308"/>
                  <a:pt x="3531670" y="1624710"/>
                </a:cubicBezTo>
                <a:cubicBezTo>
                  <a:pt x="3526761" y="1622861"/>
                  <a:pt x="3521852" y="1621438"/>
                  <a:pt x="3517157" y="1619020"/>
                </a:cubicBezTo>
                <a:cubicBezTo>
                  <a:pt x="3512676" y="1616459"/>
                  <a:pt x="3508407" y="1612902"/>
                  <a:pt x="3504992" y="1607212"/>
                </a:cubicBezTo>
                <a:cubicBezTo>
                  <a:pt x="3506700" y="1606500"/>
                  <a:pt x="3508407" y="1606073"/>
                  <a:pt x="3509901" y="1606073"/>
                </a:cubicBezTo>
                <a:close/>
                <a:moveTo>
                  <a:pt x="1437327" y="1605832"/>
                </a:moveTo>
                <a:cubicBezTo>
                  <a:pt x="1439289" y="1606142"/>
                  <a:pt x="1440425" y="1606762"/>
                  <a:pt x="1442386" y="1606917"/>
                </a:cubicBezTo>
                <a:lnTo>
                  <a:pt x="1442799" y="1607691"/>
                </a:lnTo>
                <a:lnTo>
                  <a:pt x="1443729" y="1607691"/>
                </a:lnTo>
                <a:cubicBezTo>
                  <a:pt x="1445897" y="1608310"/>
                  <a:pt x="1447239" y="1610169"/>
                  <a:pt x="1449201" y="1612493"/>
                </a:cubicBezTo>
                <a:cubicBezTo>
                  <a:pt x="1448478" y="1612183"/>
                  <a:pt x="1448892" y="1613267"/>
                  <a:pt x="1448892" y="1613267"/>
                </a:cubicBezTo>
                <a:cubicBezTo>
                  <a:pt x="1449511" y="1615436"/>
                  <a:pt x="1452815" y="1611254"/>
                  <a:pt x="1454261" y="1613887"/>
                </a:cubicBezTo>
                <a:lnTo>
                  <a:pt x="1454364" y="1614971"/>
                </a:lnTo>
                <a:lnTo>
                  <a:pt x="1455809" y="1613577"/>
                </a:lnTo>
                <a:cubicBezTo>
                  <a:pt x="1457049" y="1616210"/>
                  <a:pt x="1460456" y="1614041"/>
                  <a:pt x="1459940" y="1617759"/>
                </a:cubicBezTo>
                <a:cubicBezTo>
                  <a:pt x="1459010" y="1619309"/>
                  <a:pt x="1457255" y="1620393"/>
                  <a:pt x="1454054" y="1620702"/>
                </a:cubicBezTo>
                <a:lnTo>
                  <a:pt x="1453641" y="1619773"/>
                </a:lnTo>
                <a:lnTo>
                  <a:pt x="1453332" y="1620548"/>
                </a:lnTo>
                <a:cubicBezTo>
                  <a:pt x="1452196" y="1622561"/>
                  <a:pt x="1450440" y="1624420"/>
                  <a:pt x="1449201" y="1625504"/>
                </a:cubicBezTo>
                <a:lnTo>
                  <a:pt x="1447859" y="1626898"/>
                </a:lnTo>
                <a:lnTo>
                  <a:pt x="1448582" y="1627363"/>
                </a:lnTo>
                <a:lnTo>
                  <a:pt x="1447342" y="1627673"/>
                </a:lnTo>
                <a:lnTo>
                  <a:pt x="1447239" y="1627828"/>
                </a:lnTo>
                <a:cubicBezTo>
                  <a:pt x="1446517" y="1627518"/>
                  <a:pt x="1446103" y="1628292"/>
                  <a:pt x="1446826" y="1628602"/>
                </a:cubicBezTo>
                <a:cubicBezTo>
                  <a:pt x="1445484" y="1629531"/>
                  <a:pt x="1444245" y="1630151"/>
                  <a:pt x="1443419" y="1630306"/>
                </a:cubicBezTo>
                <a:lnTo>
                  <a:pt x="1442799" y="1629841"/>
                </a:lnTo>
                <a:lnTo>
                  <a:pt x="1441973" y="1631700"/>
                </a:lnTo>
                <a:lnTo>
                  <a:pt x="1442696" y="1632320"/>
                </a:lnTo>
                <a:cubicBezTo>
                  <a:pt x="1445691" y="1638980"/>
                  <a:pt x="1442903" y="1650598"/>
                  <a:pt x="1440425" y="1654315"/>
                </a:cubicBezTo>
                <a:lnTo>
                  <a:pt x="1438463" y="1645950"/>
                </a:lnTo>
                <a:lnTo>
                  <a:pt x="1436810" y="1647034"/>
                </a:lnTo>
                <a:cubicBezTo>
                  <a:pt x="1437017" y="1645950"/>
                  <a:pt x="1437224" y="1644401"/>
                  <a:pt x="1437533" y="1643008"/>
                </a:cubicBezTo>
                <a:lnTo>
                  <a:pt x="1437740" y="1642853"/>
                </a:lnTo>
                <a:lnTo>
                  <a:pt x="1437224" y="1640994"/>
                </a:lnTo>
                <a:lnTo>
                  <a:pt x="1437224" y="1640065"/>
                </a:lnTo>
                <a:lnTo>
                  <a:pt x="1437120" y="1640065"/>
                </a:lnTo>
                <a:cubicBezTo>
                  <a:pt x="1435674" y="1641459"/>
                  <a:pt x="1434126" y="1642233"/>
                  <a:pt x="1432371" y="1641768"/>
                </a:cubicBezTo>
                <a:cubicBezTo>
                  <a:pt x="1433403" y="1638825"/>
                  <a:pt x="1434436" y="1633249"/>
                  <a:pt x="1436295" y="1628757"/>
                </a:cubicBezTo>
                <a:lnTo>
                  <a:pt x="1440011" y="1623181"/>
                </a:lnTo>
                <a:lnTo>
                  <a:pt x="1439289" y="1622716"/>
                </a:lnTo>
                <a:lnTo>
                  <a:pt x="1437120" y="1622252"/>
                </a:lnTo>
                <a:lnTo>
                  <a:pt x="1437017" y="1623026"/>
                </a:lnTo>
                <a:cubicBezTo>
                  <a:pt x="1436191" y="1623181"/>
                  <a:pt x="1434849" y="1624575"/>
                  <a:pt x="1434436" y="1625504"/>
                </a:cubicBezTo>
                <a:cubicBezTo>
                  <a:pt x="1434126" y="1624730"/>
                  <a:pt x="1433816" y="1623955"/>
                  <a:pt x="1432990" y="1624265"/>
                </a:cubicBezTo>
                <a:cubicBezTo>
                  <a:pt x="1433506" y="1623181"/>
                  <a:pt x="1433919" y="1622561"/>
                  <a:pt x="1434229" y="1622097"/>
                </a:cubicBezTo>
                <a:lnTo>
                  <a:pt x="1434436" y="1621787"/>
                </a:lnTo>
                <a:lnTo>
                  <a:pt x="1433610" y="1621632"/>
                </a:lnTo>
                <a:cubicBezTo>
                  <a:pt x="1431544" y="1621167"/>
                  <a:pt x="1429583" y="1619928"/>
                  <a:pt x="1428240" y="1617140"/>
                </a:cubicBezTo>
                <a:cubicBezTo>
                  <a:pt x="1428860" y="1616985"/>
                  <a:pt x="1429273" y="1616520"/>
                  <a:pt x="1429583" y="1615901"/>
                </a:cubicBezTo>
                <a:lnTo>
                  <a:pt x="1429686" y="1615436"/>
                </a:lnTo>
                <a:lnTo>
                  <a:pt x="1429169" y="1614352"/>
                </a:lnTo>
                <a:cubicBezTo>
                  <a:pt x="1428963" y="1613422"/>
                  <a:pt x="1428963" y="1612183"/>
                  <a:pt x="1429376" y="1610944"/>
                </a:cubicBezTo>
                <a:cubicBezTo>
                  <a:pt x="1430202" y="1611408"/>
                  <a:pt x="1432061" y="1608001"/>
                  <a:pt x="1434642" y="1606452"/>
                </a:cubicBezTo>
                <a:cubicBezTo>
                  <a:pt x="1435468" y="1605987"/>
                  <a:pt x="1436398" y="1605677"/>
                  <a:pt x="1437327" y="1605832"/>
                </a:cubicBezTo>
                <a:close/>
                <a:moveTo>
                  <a:pt x="1799640" y="1604748"/>
                </a:moveTo>
                <a:cubicBezTo>
                  <a:pt x="1801718" y="1604477"/>
                  <a:pt x="1804248" y="1605600"/>
                  <a:pt x="1806674" y="1607691"/>
                </a:cubicBezTo>
                <a:cubicBezTo>
                  <a:pt x="1805848" y="1610479"/>
                  <a:pt x="1805126" y="1613422"/>
                  <a:pt x="1802854" y="1615126"/>
                </a:cubicBezTo>
                <a:cubicBezTo>
                  <a:pt x="1799860" y="1613267"/>
                  <a:pt x="1797072" y="1612493"/>
                  <a:pt x="1795316" y="1610169"/>
                </a:cubicBezTo>
                <a:cubicBezTo>
                  <a:pt x="1795936" y="1606684"/>
                  <a:pt x="1797562" y="1605019"/>
                  <a:pt x="1799640" y="1604748"/>
                </a:cubicBezTo>
                <a:close/>
                <a:moveTo>
                  <a:pt x="5993894" y="1604651"/>
                </a:moveTo>
                <a:cubicBezTo>
                  <a:pt x="5993254" y="1609630"/>
                  <a:pt x="5992613" y="1614894"/>
                  <a:pt x="5987704" y="1614752"/>
                </a:cubicBezTo>
                <a:cubicBezTo>
                  <a:pt x="5984290" y="1610342"/>
                  <a:pt x="5986638" y="1603513"/>
                  <a:pt x="5993894" y="1604651"/>
                </a:cubicBezTo>
                <a:close/>
                <a:moveTo>
                  <a:pt x="3886800" y="1604508"/>
                </a:moveTo>
                <a:cubicBezTo>
                  <a:pt x="3887867" y="1614041"/>
                  <a:pt x="3886160" y="1625849"/>
                  <a:pt x="3885733" y="1628552"/>
                </a:cubicBezTo>
                <a:cubicBezTo>
                  <a:pt x="3885307" y="1629975"/>
                  <a:pt x="3884880" y="1630686"/>
                  <a:pt x="3884239" y="1631113"/>
                </a:cubicBezTo>
                <a:cubicBezTo>
                  <a:pt x="3883599" y="1631539"/>
                  <a:pt x="3882745" y="1631539"/>
                  <a:pt x="3881465" y="1631397"/>
                </a:cubicBezTo>
                <a:cubicBezTo>
                  <a:pt x="3876983" y="1627983"/>
                  <a:pt x="3879117" y="1622292"/>
                  <a:pt x="3878691" y="1616174"/>
                </a:cubicBezTo>
                <a:cubicBezTo>
                  <a:pt x="3879757" y="1615748"/>
                  <a:pt x="3880611" y="1614182"/>
                  <a:pt x="3880398" y="1613044"/>
                </a:cubicBezTo>
                <a:cubicBezTo>
                  <a:pt x="3881251" y="1611480"/>
                  <a:pt x="3881892" y="1609915"/>
                  <a:pt x="3880824" y="1610342"/>
                </a:cubicBezTo>
                <a:cubicBezTo>
                  <a:pt x="3883386" y="1605789"/>
                  <a:pt x="3882959" y="1604651"/>
                  <a:pt x="3886800" y="1604508"/>
                </a:cubicBezTo>
                <a:close/>
                <a:moveTo>
                  <a:pt x="4596634" y="1603940"/>
                </a:moveTo>
                <a:cubicBezTo>
                  <a:pt x="4597275" y="1603797"/>
                  <a:pt x="4598128" y="1604508"/>
                  <a:pt x="4598769" y="1605505"/>
                </a:cubicBezTo>
                <a:cubicBezTo>
                  <a:pt x="4601330" y="1608777"/>
                  <a:pt x="4604318" y="1615321"/>
                  <a:pt x="4604745" y="1616174"/>
                </a:cubicBezTo>
                <a:cubicBezTo>
                  <a:pt x="4604745" y="1616174"/>
                  <a:pt x="4605385" y="1617313"/>
                  <a:pt x="4606238" y="1618308"/>
                </a:cubicBezTo>
                <a:cubicBezTo>
                  <a:pt x="4605812" y="1619873"/>
                  <a:pt x="4604958" y="1620443"/>
                  <a:pt x="4605598" y="1621438"/>
                </a:cubicBezTo>
                <a:cubicBezTo>
                  <a:pt x="4600903" y="1620158"/>
                  <a:pt x="4599622" y="1616601"/>
                  <a:pt x="4598555" y="1612902"/>
                </a:cubicBezTo>
                <a:cubicBezTo>
                  <a:pt x="4598128" y="1610199"/>
                  <a:pt x="4597488" y="1609204"/>
                  <a:pt x="4595141" y="1607638"/>
                </a:cubicBezTo>
                <a:cubicBezTo>
                  <a:pt x="4595141" y="1607638"/>
                  <a:pt x="4595141" y="1607781"/>
                  <a:pt x="4595567" y="1604508"/>
                </a:cubicBezTo>
                <a:close/>
                <a:moveTo>
                  <a:pt x="1187653" y="1603819"/>
                </a:moveTo>
                <a:cubicBezTo>
                  <a:pt x="1189202" y="1606297"/>
                  <a:pt x="1184659" y="1613112"/>
                  <a:pt x="1181974" y="1615591"/>
                </a:cubicBezTo>
                <a:cubicBezTo>
                  <a:pt x="1181561" y="1614971"/>
                  <a:pt x="1181561" y="1614197"/>
                  <a:pt x="1181768" y="1613112"/>
                </a:cubicBezTo>
                <a:cubicBezTo>
                  <a:pt x="1182594" y="1610169"/>
                  <a:pt x="1185588" y="1605832"/>
                  <a:pt x="1187653" y="1603819"/>
                </a:cubicBezTo>
                <a:close/>
                <a:moveTo>
                  <a:pt x="3571793" y="1603513"/>
                </a:moveTo>
                <a:cubicBezTo>
                  <a:pt x="3572220" y="1612191"/>
                  <a:pt x="3557280" y="1622008"/>
                  <a:pt x="3552372" y="1620727"/>
                </a:cubicBezTo>
                <a:cubicBezTo>
                  <a:pt x="3553225" y="1615890"/>
                  <a:pt x="3557707" y="1614325"/>
                  <a:pt x="3559201" y="1608777"/>
                </a:cubicBezTo>
                <a:cubicBezTo>
                  <a:pt x="3563470" y="1609061"/>
                  <a:pt x="3566030" y="1602801"/>
                  <a:pt x="3571793" y="1603513"/>
                </a:cubicBezTo>
                <a:close/>
                <a:moveTo>
                  <a:pt x="1328288" y="1603509"/>
                </a:moveTo>
                <a:cubicBezTo>
                  <a:pt x="1338407" y="1596848"/>
                  <a:pt x="1336239" y="1608930"/>
                  <a:pt x="1337375" y="1614662"/>
                </a:cubicBezTo>
                <a:cubicBezTo>
                  <a:pt x="1333967" y="1616830"/>
                  <a:pt x="1332831" y="1617140"/>
                  <a:pt x="1329011" y="1617140"/>
                </a:cubicBezTo>
                <a:cubicBezTo>
                  <a:pt x="1327565" y="1614816"/>
                  <a:pt x="1327153" y="1612493"/>
                  <a:pt x="1327153" y="1610169"/>
                </a:cubicBezTo>
                <a:cubicBezTo>
                  <a:pt x="1327256" y="1608001"/>
                  <a:pt x="1327772" y="1605677"/>
                  <a:pt x="1328288" y="1603509"/>
                </a:cubicBezTo>
                <a:close/>
                <a:moveTo>
                  <a:pt x="1724379" y="1602425"/>
                </a:moveTo>
                <a:cubicBezTo>
                  <a:pt x="1728612" y="1606917"/>
                  <a:pt x="1729335" y="1609705"/>
                  <a:pt x="1728406" y="1611254"/>
                </a:cubicBezTo>
                <a:cubicBezTo>
                  <a:pt x="1726547" y="1614041"/>
                  <a:pt x="1719010" y="1612493"/>
                  <a:pt x="1717667" y="1609240"/>
                </a:cubicBezTo>
                <a:cubicBezTo>
                  <a:pt x="1717461" y="1608775"/>
                  <a:pt x="1717358" y="1608310"/>
                  <a:pt x="1717461" y="1607691"/>
                </a:cubicBezTo>
                <a:cubicBezTo>
                  <a:pt x="1717771" y="1606142"/>
                  <a:pt x="1719733" y="1604284"/>
                  <a:pt x="1724379" y="1602425"/>
                </a:cubicBezTo>
                <a:close/>
                <a:moveTo>
                  <a:pt x="1761448" y="1602270"/>
                </a:moveTo>
                <a:cubicBezTo>
                  <a:pt x="1762481" y="1606142"/>
                  <a:pt x="1761035" y="1610944"/>
                  <a:pt x="1760209" y="1614662"/>
                </a:cubicBezTo>
                <a:cubicBezTo>
                  <a:pt x="1757731" y="1612028"/>
                  <a:pt x="1758557" y="1608310"/>
                  <a:pt x="1751742" y="1607226"/>
                </a:cubicBezTo>
                <a:cubicBezTo>
                  <a:pt x="1754737" y="1604438"/>
                  <a:pt x="1757834" y="1602580"/>
                  <a:pt x="1761448" y="1602270"/>
                </a:cubicBezTo>
                <a:close/>
                <a:moveTo>
                  <a:pt x="5126129" y="1602090"/>
                </a:moveTo>
                <a:cubicBezTo>
                  <a:pt x="5127410" y="1602232"/>
                  <a:pt x="5128903" y="1602374"/>
                  <a:pt x="5131251" y="1602659"/>
                </a:cubicBezTo>
                <a:cubicBezTo>
                  <a:pt x="5132745" y="1603086"/>
                  <a:pt x="5134239" y="1603940"/>
                  <a:pt x="5135306" y="1605078"/>
                </a:cubicBezTo>
                <a:cubicBezTo>
                  <a:pt x="5136373" y="1606215"/>
                  <a:pt x="5137226" y="1607781"/>
                  <a:pt x="5137440" y="1609630"/>
                </a:cubicBezTo>
                <a:cubicBezTo>
                  <a:pt x="5139361" y="1610910"/>
                  <a:pt x="5141069" y="1613899"/>
                  <a:pt x="5141069" y="1616601"/>
                </a:cubicBezTo>
                <a:cubicBezTo>
                  <a:pt x="5140001" y="1619873"/>
                  <a:pt x="5137867" y="1621154"/>
                  <a:pt x="5136373" y="1620727"/>
                </a:cubicBezTo>
                <a:lnTo>
                  <a:pt x="5129117" y="1618166"/>
                </a:lnTo>
                <a:lnTo>
                  <a:pt x="5128263" y="1618878"/>
                </a:lnTo>
                <a:cubicBezTo>
                  <a:pt x="5124635" y="1619589"/>
                  <a:pt x="5120793" y="1614182"/>
                  <a:pt x="5120580" y="1609630"/>
                </a:cubicBezTo>
                <a:lnTo>
                  <a:pt x="5121220" y="1606785"/>
                </a:lnTo>
                <a:lnTo>
                  <a:pt x="5121007" y="1606500"/>
                </a:lnTo>
                <a:cubicBezTo>
                  <a:pt x="5122074" y="1602801"/>
                  <a:pt x="5122501" y="1601805"/>
                  <a:pt x="5126129" y="1602090"/>
                </a:cubicBezTo>
                <a:close/>
                <a:moveTo>
                  <a:pt x="4363793" y="1602090"/>
                </a:moveTo>
                <a:cubicBezTo>
                  <a:pt x="4366995" y="1602517"/>
                  <a:pt x="4370196" y="1603086"/>
                  <a:pt x="4369983" y="1606358"/>
                </a:cubicBezTo>
                <a:cubicBezTo>
                  <a:pt x="4367421" y="1606785"/>
                  <a:pt x="4367421" y="1608350"/>
                  <a:pt x="4363367" y="1606927"/>
                </a:cubicBezTo>
                <a:cubicBezTo>
                  <a:pt x="4363580" y="1605362"/>
                  <a:pt x="4363793" y="1603797"/>
                  <a:pt x="4363793" y="1602090"/>
                </a:cubicBezTo>
                <a:close/>
                <a:moveTo>
                  <a:pt x="1111140" y="1601650"/>
                </a:moveTo>
                <a:cubicBezTo>
                  <a:pt x="1117749" y="1601805"/>
                  <a:pt x="1113412" y="1611873"/>
                  <a:pt x="1109488" y="1607846"/>
                </a:cubicBezTo>
                <a:cubicBezTo>
                  <a:pt x="1109488" y="1605987"/>
                  <a:pt x="1110314" y="1603819"/>
                  <a:pt x="1111140" y="1601650"/>
                </a:cubicBezTo>
                <a:close/>
                <a:moveTo>
                  <a:pt x="4352696" y="1601378"/>
                </a:moveTo>
                <a:cubicBezTo>
                  <a:pt x="4353336" y="1601663"/>
                  <a:pt x="4353336" y="1601948"/>
                  <a:pt x="4353336" y="1602232"/>
                </a:cubicBezTo>
                <a:cubicBezTo>
                  <a:pt x="4353336" y="1602517"/>
                  <a:pt x="4353122" y="1602943"/>
                  <a:pt x="4353336" y="1603370"/>
                </a:cubicBezTo>
                <a:cubicBezTo>
                  <a:pt x="4351629" y="1602943"/>
                  <a:pt x="4351629" y="1602943"/>
                  <a:pt x="4352696" y="1601378"/>
                </a:cubicBezTo>
                <a:close/>
                <a:moveTo>
                  <a:pt x="4847830" y="1601236"/>
                </a:moveTo>
                <a:cubicBezTo>
                  <a:pt x="4848897" y="1601378"/>
                  <a:pt x="4851244" y="1604082"/>
                  <a:pt x="4852311" y="1605505"/>
                </a:cubicBezTo>
                <a:cubicBezTo>
                  <a:pt x="4853378" y="1605646"/>
                  <a:pt x="4854445" y="1606927"/>
                  <a:pt x="4854445" y="1608207"/>
                </a:cubicBezTo>
                <a:cubicBezTo>
                  <a:pt x="4854445" y="1608207"/>
                  <a:pt x="4855513" y="1609630"/>
                  <a:pt x="4856580" y="1609772"/>
                </a:cubicBezTo>
                <a:lnTo>
                  <a:pt x="4857860" y="1611907"/>
                </a:lnTo>
                <a:lnTo>
                  <a:pt x="4858073" y="1611907"/>
                </a:lnTo>
                <a:cubicBezTo>
                  <a:pt x="4858714" y="1611337"/>
                  <a:pt x="4859568" y="1611053"/>
                  <a:pt x="4860421" y="1611337"/>
                </a:cubicBezTo>
                <a:cubicBezTo>
                  <a:pt x="4861061" y="1611622"/>
                  <a:pt x="4861488" y="1611907"/>
                  <a:pt x="4861702" y="1612191"/>
                </a:cubicBezTo>
                <a:cubicBezTo>
                  <a:pt x="4861915" y="1612618"/>
                  <a:pt x="4862129" y="1613187"/>
                  <a:pt x="4862556" y="1614325"/>
                </a:cubicBezTo>
                <a:cubicBezTo>
                  <a:pt x="4860635" y="1614467"/>
                  <a:pt x="4859781" y="1614467"/>
                  <a:pt x="4858928" y="1614325"/>
                </a:cubicBezTo>
                <a:lnTo>
                  <a:pt x="4858501" y="1614182"/>
                </a:lnTo>
                <a:lnTo>
                  <a:pt x="4858501" y="1614752"/>
                </a:lnTo>
                <a:lnTo>
                  <a:pt x="4856793" y="1613614"/>
                </a:lnTo>
                <a:lnTo>
                  <a:pt x="4855940" y="1613187"/>
                </a:lnTo>
                <a:lnTo>
                  <a:pt x="4856153" y="1613044"/>
                </a:lnTo>
                <a:lnTo>
                  <a:pt x="4854232" y="1610484"/>
                </a:lnTo>
                <a:cubicBezTo>
                  <a:pt x="4854232" y="1610484"/>
                  <a:pt x="4852952" y="1610342"/>
                  <a:pt x="4851885" y="1610057"/>
                </a:cubicBezTo>
                <a:cubicBezTo>
                  <a:pt x="4848683" y="1607212"/>
                  <a:pt x="4846335" y="1605646"/>
                  <a:pt x="4847830" y="1601236"/>
                </a:cubicBezTo>
                <a:close/>
                <a:moveTo>
                  <a:pt x="5894440" y="1600809"/>
                </a:moveTo>
                <a:cubicBezTo>
                  <a:pt x="5897001" y="1601805"/>
                  <a:pt x="5897215" y="1603086"/>
                  <a:pt x="5896147" y="1604366"/>
                </a:cubicBezTo>
                <a:cubicBezTo>
                  <a:pt x="5896147" y="1604366"/>
                  <a:pt x="5895080" y="1605505"/>
                  <a:pt x="5894013" y="1606785"/>
                </a:cubicBezTo>
                <a:cubicBezTo>
                  <a:pt x="5893160" y="1608065"/>
                  <a:pt x="5893160" y="1609345"/>
                  <a:pt x="5893160" y="1609345"/>
                </a:cubicBezTo>
                <a:cubicBezTo>
                  <a:pt x="5892092" y="1610626"/>
                  <a:pt x="5891025" y="1610768"/>
                  <a:pt x="5889745" y="1609630"/>
                </a:cubicBezTo>
                <a:cubicBezTo>
                  <a:pt x="5889745" y="1609630"/>
                  <a:pt x="5890599" y="1607070"/>
                  <a:pt x="5890599" y="1607070"/>
                </a:cubicBezTo>
                <a:cubicBezTo>
                  <a:pt x="5892519" y="1604508"/>
                  <a:pt x="5893587" y="1603228"/>
                  <a:pt x="5894440" y="1600809"/>
                </a:cubicBezTo>
                <a:close/>
                <a:moveTo>
                  <a:pt x="3601458" y="1600241"/>
                </a:moveTo>
                <a:cubicBezTo>
                  <a:pt x="3602311" y="1600383"/>
                  <a:pt x="3603166" y="1600951"/>
                  <a:pt x="3604233" y="1601805"/>
                </a:cubicBezTo>
                <a:cubicBezTo>
                  <a:pt x="3604233" y="1601805"/>
                  <a:pt x="3604019" y="1601663"/>
                  <a:pt x="3604233" y="1602943"/>
                </a:cubicBezTo>
                <a:cubicBezTo>
                  <a:pt x="3604659" y="1605220"/>
                  <a:pt x="3604873" y="1606500"/>
                  <a:pt x="3605086" y="1607638"/>
                </a:cubicBezTo>
                <a:cubicBezTo>
                  <a:pt x="3604019" y="1608919"/>
                  <a:pt x="3601031" y="1611480"/>
                  <a:pt x="3599751" y="1610342"/>
                </a:cubicBezTo>
                <a:cubicBezTo>
                  <a:pt x="3596976" y="1608065"/>
                  <a:pt x="3595483" y="1604651"/>
                  <a:pt x="3596336" y="1603370"/>
                </a:cubicBezTo>
                <a:cubicBezTo>
                  <a:pt x="3597830" y="1601521"/>
                  <a:pt x="3599324" y="1599671"/>
                  <a:pt x="3601458" y="1600241"/>
                </a:cubicBezTo>
                <a:close/>
                <a:moveTo>
                  <a:pt x="5432813" y="1599813"/>
                </a:moveTo>
                <a:cubicBezTo>
                  <a:pt x="5434093" y="1599956"/>
                  <a:pt x="5435801" y="1600241"/>
                  <a:pt x="5438149" y="1600525"/>
                </a:cubicBezTo>
                <a:cubicBezTo>
                  <a:pt x="5439643" y="1600951"/>
                  <a:pt x="5441136" y="1601805"/>
                  <a:pt x="5442417" y="1602943"/>
                </a:cubicBezTo>
                <a:cubicBezTo>
                  <a:pt x="5443697" y="1604224"/>
                  <a:pt x="5444764" y="1605646"/>
                  <a:pt x="5445191" y="1607496"/>
                </a:cubicBezTo>
                <a:cubicBezTo>
                  <a:pt x="5447539" y="1608919"/>
                  <a:pt x="5449460" y="1612049"/>
                  <a:pt x="5449887" y="1614609"/>
                </a:cubicBezTo>
                <a:cubicBezTo>
                  <a:pt x="5449460" y="1617881"/>
                  <a:pt x="5447539" y="1619162"/>
                  <a:pt x="5446045" y="1618736"/>
                </a:cubicBezTo>
                <a:cubicBezTo>
                  <a:pt x="5433026" y="1617028"/>
                  <a:pt x="5430679" y="1605505"/>
                  <a:pt x="5428331" y="1604082"/>
                </a:cubicBezTo>
                <a:cubicBezTo>
                  <a:pt x="5428972" y="1600383"/>
                  <a:pt x="5428972" y="1599529"/>
                  <a:pt x="5432813" y="1599813"/>
                </a:cubicBezTo>
                <a:close/>
                <a:moveTo>
                  <a:pt x="3663137" y="1599387"/>
                </a:moveTo>
                <a:cubicBezTo>
                  <a:pt x="3665911" y="1600525"/>
                  <a:pt x="3668899" y="1602232"/>
                  <a:pt x="3671673" y="1604508"/>
                </a:cubicBezTo>
                <a:lnTo>
                  <a:pt x="3678076" y="1611337"/>
                </a:lnTo>
                <a:lnTo>
                  <a:pt x="3678076" y="1611480"/>
                </a:lnTo>
                <a:lnTo>
                  <a:pt x="3679143" y="1612333"/>
                </a:lnTo>
                <a:cubicBezTo>
                  <a:pt x="3683411" y="1618166"/>
                  <a:pt x="3685972" y="1625280"/>
                  <a:pt x="3685119" y="1631824"/>
                </a:cubicBezTo>
                <a:cubicBezTo>
                  <a:pt x="3684478" y="1636376"/>
                  <a:pt x="3682344" y="1640645"/>
                  <a:pt x="3677863" y="1644202"/>
                </a:cubicBezTo>
                <a:lnTo>
                  <a:pt x="3670606" y="1626845"/>
                </a:lnTo>
                <a:lnTo>
                  <a:pt x="3669753" y="1627556"/>
                </a:lnTo>
                <a:cubicBezTo>
                  <a:pt x="3668685" y="1628837"/>
                  <a:pt x="3668685" y="1628837"/>
                  <a:pt x="3669966" y="1630117"/>
                </a:cubicBezTo>
                <a:cubicBezTo>
                  <a:pt x="3669325" y="1630686"/>
                  <a:pt x="3668899" y="1630971"/>
                  <a:pt x="3668472" y="1631113"/>
                </a:cubicBezTo>
                <a:lnTo>
                  <a:pt x="3667832" y="1631113"/>
                </a:lnTo>
                <a:lnTo>
                  <a:pt x="3665057" y="1637657"/>
                </a:lnTo>
                <a:lnTo>
                  <a:pt x="3660362" y="1643490"/>
                </a:lnTo>
                <a:lnTo>
                  <a:pt x="3658441" y="1645908"/>
                </a:lnTo>
                <a:cubicBezTo>
                  <a:pt x="3652038" y="1652026"/>
                  <a:pt x="3646276" y="1653164"/>
                  <a:pt x="3646276" y="1653164"/>
                </a:cubicBezTo>
                <a:cubicBezTo>
                  <a:pt x="3636672" y="1646478"/>
                  <a:pt x="3639020" y="1637231"/>
                  <a:pt x="3643288" y="1629263"/>
                </a:cubicBezTo>
                <a:lnTo>
                  <a:pt x="3642008" y="1628552"/>
                </a:lnTo>
                <a:cubicBezTo>
                  <a:pt x="3641368" y="1628125"/>
                  <a:pt x="3640941" y="1627698"/>
                  <a:pt x="3640941" y="1627698"/>
                </a:cubicBezTo>
                <a:cubicBezTo>
                  <a:pt x="3641581" y="1626133"/>
                  <a:pt x="3641581" y="1626133"/>
                  <a:pt x="3642008" y="1627129"/>
                </a:cubicBezTo>
                <a:cubicBezTo>
                  <a:pt x="3643288" y="1627129"/>
                  <a:pt x="3643715" y="1627272"/>
                  <a:pt x="3643929" y="1627556"/>
                </a:cubicBezTo>
                <a:lnTo>
                  <a:pt x="3644142" y="1627698"/>
                </a:lnTo>
                <a:lnTo>
                  <a:pt x="3647770" y="1622008"/>
                </a:lnTo>
                <a:cubicBezTo>
                  <a:pt x="3650545" y="1617313"/>
                  <a:pt x="3653959" y="1612618"/>
                  <a:pt x="3657801" y="1611907"/>
                </a:cubicBezTo>
                <a:cubicBezTo>
                  <a:pt x="3658868" y="1611764"/>
                  <a:pt x="3660149" y="1612049"/>
                  <a:pt x="3661429" y="1612902"/>
                </a:cubicBezTo>
                <a:cubicBezTo>
                  <a:pt x="3665271" y="1615036"/>
                  <a:pt x="3667618" y="1619020"/>
                  <a:pt x="3668259" y="1623573"/>
                </a:cubicBezTo>
                <a:lnTo>
                  <a:pt x="3667832" y="1628979"/>
                </a:lnTo>
                <a:lnTo>
                  <a:pt x="3669112" y="1627414"/>
                </a:lnTo>
                <a:lnTo>
                  <a:pt x="3670180" y="1626133"/>
                </a:lnTo>
                <a:lnTo>
                  <a:pt x="3668685" y="1622577"/>
                </a:lnTo>
                <a:cubicBezTo>
                  <a:pt x="3665697" y="1615179"/>
                  <a:pt x="3663350" y="1607496"/>
                  <a:pt x="3663137" y="1599387"/>
                </a:cubicBezTo>
                <a:close/>
                <a:moveTo>
                  <a:pt x="1371966" y="1599172"/>
                </a:moveTo>
                <a:cubicBezTo>
                  <a:pt x="1375063" y="1599791"/>
                  <a:pt x="1377748" y="1601495"/>
                  <a:pt x="1376509" y="1604748"/>
                </a:cubicBezTo>
                <a:cubicBezTo>
                  <a:pt x="1376096" y="1605832"/>
                  <a:pt x="1375786" y="1606917"/>
                  <a:pt x="1375373" y="1606142"/>
                </a:cubicBezTo>
                <a:cubicBezTo>
                  <a:pt x="1374547" y="1606452"/>
                  <a:pt x="1374237" y="1605677"/>
                  <a:pt x="1372998" y="1605213"/>
                </a:cubicBezTo>
                <a:cubicBezTo>
                  <a:pt x="1371553" y="1603974"/>
                  <a:pt x="1370417" y="1601650"/>
                  <a:pt x="1370830" y="1600566"/>
                </a:cubicBezTo>
                <a:cubicBezTo>
                  <a:pt x="1371139" y="1599482"/>
                  <a:pt x="1371966" y="1599172"/>
                  <a:pt x="1371966" y="1599172"/>
                </a:cubicBezTo>
                <a:close/>
                <a:moveTo>
                  <a:pt x="1775594" y="1598087"/>
                </a:moveTo>
                <a:cubicBezTo>
                  <a:pt x="1775491" y="1599017"/>
                  <a:pt x="1775697" y="1599791"/>
                  <a:pt x="1775904" y="1600566"/>
                </a:cubicBezTo>
                <a:lnTo>
                  <a:pt x="1776007" y="1600876"/>
                </a:lnTo>
                <a:lnTo>
                  <a:pt x="1787159" y="1599791"/>
                </a:lnTo>
                <a:cubicBezTo>
                  <a:pt x="1785713" y="1608156"/>
                  <a:pt x="1773426" y="1609550"/>
                  <a:pt x="1765888" y="1608465"/>
                </a:cubicBezTo>
                <a:lnTo>
                  <a:pt x="1769296" y="1604438"/>
                </a:lnTo>
                <a:lnTo>
                  <a:pt x="1768676" y="1603509"/>
                </a:lnTo>
                <a:cubicBezTo>
                  <a:pt x="1768469" y="1602889"/>
                  <a:pt x="1768469" y="1601960"/>
                  <a:pt x="1768263" y="1599946"/>
                </a:cubicBezTo>
                <a:cubicBezTo>
                  <a:pt x="1770741" y="1599327"/>
                  <a:pt x="1773116" y="1598707"/>
                  <a:pt x="1775594" y="1598087"/>
                </a:cubicBezTo>
                <a:close/>
                <a:moveTo>
                  <a:pt x="1033905" y="1597933"/>
                </a:moveTo>
                <a:cubicBezTo>
                  <a:pt x="1035660" y="1599327"/>
                  <a:pt x="1037519" y="1600721"/>
                  <a:pt x="1035866" y="1602580"/>
                </a:cubicBezTo>
                <a:cubicBezTo>
                  <a:pt x="1035040" y="1603509"/>
                  <a:pt x="1034215" y="1604438"/>
                  <a:pt x="1032562" y="1604748"/>
                </a:cubicBezTo>
                <a:cubicBezTo>
                  <a:pt x="1030704" y="1603354"/>
                  <a:pt x="1031427" y="1600721"/>
                  <a:pt x="1030498" y="1600101"/>
                </a:cubicBezTo>
                <a:cubicBezTo>
                  <a:pt x="1031427" y="1599946"/>
                  <a:pt x="1033079" y="1599637"/>
                  <a:pt x="1033905" y="1597933"/>
                </a:cubicBezTo>
                <a:close/>
                <a:moveTo>
                  <a:pt x="4984205" y="1597679"/>
                </a:moveTo>
                <a:cubicBezTo>
                  <a:pt x="4985058" y="1597395"/>
                  <a:pt x="4986125" y="1597537"/>
                  <a:pt x="4987620" y="1598106"/>
                </a:cubicBezTo>
                <a:cubicBezTo>
                  <a:pt x="4988046" y="1603086"/>
                  <a:pt x="4980363" y="1607354"/>
                  <a:pt x="4975881" y="1605078"/>
                </a:cubicBezTo>
                <a:cubicBezTo>
                  <a:pt x="4980577" y="1602517"/>
                  <a:pt x="4981644" y="1598533"/>
                  <a:pt x="4984205" y="1597679"/>
                </a:cubicBezTo>
                <a:close/>
                <a:moveTo>
                  <a:pt x="1063746" y="1597623"/>
                </a:moveTo>
                <a:cubicBezTo>
                  <a:pt x="1065398" y="1596384"/>
                  <a:pt x="1067153" y="1598242"/>
                  <a:pt x="1068599" y="1598862"/>
                </a:cubicBezTo>
                <a:cubicBezTo>
                  <a:pt x="1070251" y="1597623"/>
                  <a:pt x="1070870" y="1601805"/>
                  <a:pt x="1072420" y="1600566"/>
                </a:cubicBezTo>
                <a:cubicBezTo>
                  <a:pt x="1073762" y="1605058"/>
                  <a:pt x="1079647" y="1603044"/>
                  <a:pt x="1082745" y="1609240"/>
                </a:cubicBezTo>
                <a:cubicBezTo>
                  <a:pt x="1080473" y="1608930"/>
                  <a:pt x="1078615" y="1608465"/>
                  <a:pt x="1076963" y="1607691"/>
                </a:cubicBezTo>
                <a:cubicBezTo>
                  <a:pt x="1072006" y="1605677"/>
                  <a:pt x="1069012" y="1602425"/>
                  <a:pt x="1064985" y="1601960"/>
                </a:cubicBezTo>
                <a:cubicBezTo>
                  <a:pt x="1064985" y="1601960"/>
                  <a:pt x="1064985" y="1601960"/>
                  <a:pt x="1064365" y="1599791"/>
                </a:cubicBezTo>
                <a:cubicBezTo>
                  <a:pt x="1063642" y="1599482"/>
                  <a:pt x="1063642" y="1599482"/>
                  <a:pt x="1063642" y="1599482"/>
                </a:cubicBezTo>
                <a:cubicBezTo>
                  <a:pt x="1063229" y="1599327"/>
                  <a:pt x="1063229" y="1598707"/>
                  <a:pt x="1063333" y="1598397"/>
                </a:cubicBezTo>
                <a:cubicBezTo>
                  <a:pt x="1063436" y="1597933"/>
                  <a:pt x="1063746" y="1597623"/>
                  <a:pt x="1063746" y="1597623"/>
                </a:cubicBezTo>
                <a:close/>
                <a:moveTo>
                  <a:pt x="1210473" y="1597468"/>
                </a:moveTo>
                <a:lnTo>
                  <a:pt x="1210473" y="1599017"/>
                </a:lnTo>
                <a:lnTo>
                  <a:pt x="1213261" y="1600721"/>
                </a:lnTo>
                <a:cubicBezTo>
                  <a:pt x="1215223" y="1600721"/>
                  <a:pt x="1216875" y="1599637"/>
                  <a:pt x="1217907" y="1601030"/>
                </a:cubicBezTo>
                <a:cubicBezTo>
                  <a:pt x="1214810" y="1601495"/>
                  <a:pt x="1213674" y="1601805"/>
                  <a:pt x="1211712" y="1601960"/>
                </a:cubicBezTo>
                <a:lnTo>
                  <a:pt x="1210783" y="1602734"/>
                </a:lnTo>
                <a:lnTo>
                  <a:pt x="1210783" y="1602889"/>
                </a:lnTo>
                <a:lnTo>
                  <a:pt x="1210370" y="1603044"/>
                </a:lnTo>
                <a:lnTo>
                  <a:pt x="1209647" y="1603819"/>
                </a:lnTo>
                <a:lnTo>
                  <a:pt x="1209234" y="1603819"/>
                </a:lnTo>
                <a:lnTo>
                  <a:pt x="1207478" y="1605213"/>
                </a:lnTo>
                <a:cubicBezTo>
                  <a:pt x="1205930" y="1606607"/>
                  <a:pt x="1204381" y="1608156"/>
                  <a:pt x="1204381" y="1608156"/>
                </a:cubicBezTo>
                <a:cubicBezTo>
                  <a:pt x="1202006" y="1607846"/>
                  <a:pt x="1202006" y="1607691"/>
                  <a:pt x="1202316" y="1604748"/>
                </a:cubicBezTo>
                <a:lnTo>
                  <a:pt x="1204174" y="1602115"/>
                </a:lnTo>
                <a:lnTo>
                  <a:pt x="1204174" y="1601186"/>
                </a:lnTo>
                <a:cubicBezTo>
                  <a:pt x="1204484" y="1600411"/>
                  <a:pt x="1205104" y="1599791"/>
                  <a:pt x="1206239" y="1599327"/>
                </a:cubicBezTo>
                <a:lnTo>
                  <a:pt x="1207375" y="1599327"/>
                </a:lnTo>
                <a:close/>
                <a:moveTo>
                  <a:pt x="6014596" y="1597253"/>
                </a:moveTo>
                <a:cubicBezTo>
                  <a:pt x="6016303" y="1598533"/>
                  <a:pt x="6017370" y="1600668"/>
                  <a:pt x="6018010" y="1603228"/>
                </a:cubicBezTo>
                <a:cubicBezTo>
                  <a:pt x="6019931" y="1610768"/>
                  <a:pt x="6018224" y="1622150"/>
                  <a:pt x="6015449" y="1624853"/>
                </a:cubicBezTo>
                <a:cubicBezTo>
                  <a:pt x="6012248" y="1621154"/>
                  <a:pt x="6013955" y="1616459"/>
                  <a:pt x="6010968" y="1611622"/>
                </a:cubicBezTo>
                <a:cubicBezTo>
                  <a:pt x="6013528" y="1608065"/>
                  <a:pt x="6010754" y="1602090"/>
                  <a:pt x="6014596" y="1597253"/>
                </a:cubicBezTo>
                <a:close/>
                <a:moveTo>
                  <a:pt x="4363153" y="1597110"/>
                </a:moveTo>
                <a:cubicBezTo>
                  <a:pt x="4365714" y="1601805"/>
                  <a:pt x="4360806" y="1604508"/>
                  <a:pt x="4358031" y="1602659"/>
                </a:cubicBezTo>
                <a:cubicBezTo>
                  <a:pt x="4357177" y="1602090"/>
                  <a:pt x="4356537" y="1601094"/>
                  <a:pt x="4356324" y="1599387"/>
                </a:cubicBezTo>
                <a:cubicBezTo>
                  <a:pt x="4358458" y="1598106"/>
                  <a:pt x="4360165" y="1597679"/>
                  <a:pt x="4363153" y="1597110"/>
                </a:cubicBezTo>
                <a:close/>
                <a:moveTo>
                  <a:pt x="933127" y="1597003"/>
                </a:moveTo>
                <a:cubicBezTo>
                  <a:pt x="940045" y="1599791"/>
                  <a:pt x="947789" y="1602270"/>
                  <a:pt x="947789" y="1607846"/>
                </a:cubicBezTo>
                <a:cubicBezTo>
                  <a:pt x="943556" y="1610479"/>
                  <a:pt x="936534" y="1605677"/>
                  <a:pt x="933024" y="1602425"/>
                </a:cubicBezTo>
                <a:cubicBezTo>
                  <a:pt x="933850" y="1600256"/>
                  <a:pt x="932300" y="1599017"/>
                  <a:pt x="933127" y="1597003"/>
                </a:cubicBezTo>
                <a:close/>
                <a:moveTo>
                  <a:pt x="5963161" y="1596826"/>
                </a:moveTo>
                <a:cubicBezTo>
                  <a:pt x="5964655" y="1599102"/>
                  <a:pt x="5964655" y="1599102"/>
                  <a:pt x="5963801" y="1601663"/>
                </a:cubicBezTo>
                <a:cubicBezTo>
                  <a:pt x="5962734" y="1601663"/>
                  <a:pt x="5962948" y="1602943"/>
                  <a:pt x="5961667" y="1601805"/>
                </a:cubicBezTo>
                <a:cubicBezTo>
                  <a:pt x="5960600" y="1603655"/>
                  <a:pt x="5957826" y="1605646"/>
                  <a:pt x="5954625" y="1607070"/>
                </a:cubicBezTo>
                <a:lnTo>
                  <a:pt x="5953984" y="1607212"/>
                </a:lnTo>
                <a:lnTo>
                  <a:pt x="5956118" y="1608492"/>
                </a:lnTo>
                <a:cubicBezTo>
                  <a:pt x="5957186" y="1608919"/>
                  <a:pt x="5957826" y="1609345"/>
                  <a:pt x="5958893" y="1609915"/>
                </a:cubicBezTo>
                <a:lnTo>
                  <a:pt x="5959106" y="1610057"/>
                </a:lnTo>
                <a:lnTo>
                  <a:pt x="5959746" y="1609772"/>
                </a:lnTo>
                <a:cubicBezTo>
                  <a:pt x="5961241" y="1609488"/>
                  <a:pt x="5962521" y="1609488"/>
                  <a:pt x="5964228" y="1610057"/>
                </a:cubicBezTo>
                <a:cubicBezTo>
                  <a:pt x="5964228" y="1610057"/>
                  <a:pt x="5964228" y="1610057"/>
                  <a:pt x="5962948" y="1610057"/>
                </a:cubicBezTo>
                <a:cubicBezTo>
                  <a:pt x="5962948" y="1610057"/>
                  <a:pt x="5964228" y="1610057"/>
                  <a:pt x="5964228" y="1611195"/>
                </a:cubicBezTo>
                <a:lnTo>
                  <a:pt x="5960600" y="1612333"/>
                </a:lnTo>
                <a:lnTo>
                  <a:pt x="5961027" y="1613044"/>
                </a:lnTo>
                <a:cubicBezTo>
                  <a:pt x="5961454" y="1614041"/>
                  <a:pt x="5962094" y="1615321"/>
                  <a:pt x="5962948" y="1617171"/>
                </a:cubicBezTo>
                <a:cubicBezTo>
                  <a:pt x="5961667" y="1619446"/>
                  <a:pt x="5961667" y="1619446"/>
                  <a:pt x="5960387" y="1619446"/>
                </a:cubicBezTo>
                <a:cubicBezTo>
                  <a:pt x="5961667" y="1619446"/>
                  <a:pt x="5961454" y="1620727"/>
                  <a:pt x="5962521" y="1621865"/>
                </a:cubicBezTo>
                <a:cubicBezTo>
                  <a:pt x="5967857" y="1625565"/>
                  <a:pt x="5965082" y="1631539"/>
                  <a:pt x="5959746" y="1637373"/>
                </a:cubicBezTo>
                <a:cubicBezTo>
                  <a:pt x="5958679" y="1636234"/>
                  <a:pt x="5955905" y="1639649"/>
                  <a:pt x="5953558" y="1640930"/>
                </a:cubicBezTo>
                <a:cubicBezTo>
                  <a:pt x="5950143" y="1640787"/>
                  <a:pt x="5947795" y="1640787"/>
                  <a:pt x="5945661" y="1638368"/>
                </a:cubicBezTo>
                <a:cubicBezTo>
                  <a:pt x="5942673" y="1634669"/>
                  <a:pt x="5941179" y="1626276"/>
                  <a:pt x="5945020" y="1622861"/>
                </a:cubicBezTo>
                <a:cubicBezTo>
                  <a:pt x="5948862" y="1618166"/>
                  <a:pt x="5952490" y="1617028"/>
                  <a:pt x="5955905" y="1617028"/>
                </a:cubicBezTo>
                <a:cubicBezTo>
                  <a:pt x="5955905" y="1617028"/>
                  <a:pt x="5955905" y="1617028"/>
                  <a:pt x="5954838" y="1616886"/>
                </a:cubicBezTo>
                <a:lnTo>
                  <a:pt x="5952703" y="1614325"/>
                </a:lnTo>
                <a:lnTo>
                  <a:pt x="5950783" y="1614467"/>
                </a:lnTo>
                <a:cubicBezTo>
                  <a:pt x="5949502" y="1614467"/>
                  <a:pt x="5948862" y="1614467"/>
                  <a:pt x="5948435" y="1614467"/>
                </a:cubicBezTo>
                <a:cubicBezTo>
                  <a:pt x="5948435" y="1613329"/>
                  <a:pt x="5948222" y="1613329"/>
                  <a:pt x="5948222" y="1613329"/>
                </a:cubicBezTo>
                <a:lnTo>
                  <a:pt x="5951423" y="1612618"/>
                </a:lnTo>
                <a:lnTo>
                  <a:pt x="5948008" y="1608350"/>
                </a:lnTo>
                <a:lnTo>
                  <a:pt x="5945234" y="1608919"/>
                </a:lnTo>
                <a:lnTo>
                  <a:pt x="5946942" y="1606785"/>
                </a:lnTo>
                <a:lnTo>
                  <a:pt x="5945234" y="1603513"/>
                </a:lnTo>
                <a:cubicBezTo>
                  <a:pt x="5944807" y="1602090"/>
                  <a:pt x="5944594" y="1600951"/>
                  <a:pt x="5945020" y="1600098"/>
                </a:cubicBezTo>
                <a:cubicBezTo>
                  <a:pt x="5946087" y="1600098"/>
                  <a:pt x="5947368" y="1600241"/>
                  <a:pt x="5948222" y="1601378"/>
                </a:cubicBezTo>
                <a:cubicBezTo>
                  <a:pt x="5949289" y="1602659"/>
                  <a:pt x="5948222" y="1602517"/>
                  <a:pt x="5949289" y="1602517"/>
                </a:cubicBezTo>
                <a:cubicBezTo>
                  <a:pt x="5950356" y="1603797"/>
                  <a:pt x="5950356" y="1602517"/>
                  <a:pt x="5950356" y="1602517"/>
                </a:cubicBezTo>
                <a:lnTo>
                  <a:pt x="5950356" y="1602943"/>
                </a:lnTo>
                <a:lnTo>
                  <a:pt x="5955265" y="1600951"/>
                </a:lnTo>
                <a:cubicBezTo>
                  <a:pt x="5958466" y="1600098"/>
                  <a:pt x="5961454" y="1599956"/>
                  <a:pt x="5963161" y="1596826"/>
                </a:cubicBezTo>
                <a:close/>
                <a:moveTo>
                  <a:pt x="1832398" y="1596790"/>
                </a:moveTo>
                <a:cubicBezTo>
                  <a:pt x="1839381" y="1593363"/>
                  <a:pt x="1846841" y="1593053"/>
                  <a:pt x="1852933" y="1597158"/>
                </a:cubicBezTo>
                <a:cubicBezTo>
                  <a:pt x="1863362" y="1606297"/>
                  <a:pt x="1859438" y="1618534"/>
                  <a:pt x="1850662" y="1625504"/>
                </a:cubicBezTo>
                <a:lnTo>
                  <a:pt x="1848906" y="1626278"/>
                </a:lnTo>
                <a:lnTo>
                  <a:pt x="1850455" y="1626743"/>
                </a:lnTo>
                <a:cubicBezTo>
                  <a:pt x="1852520" y="1627363"/>
                  <a:pt x="1854482" y="1627982"/>
                  <a:pt x="1856547" y="1629067"/>
                </a:cubicBezTo>
                <a:lnTo>
                  <a:pt x="1860264" y="1631390"/>
                </a:lnTo>
                <a:lnTo>
                  <a:pt x="1861813" y="1627518"/>
                </a:lnTo>
                <a:cubicBezTo>
                  <a:pt x="1863465" y="1625349"/>
                  <a:pt x="1865530" y="1623800"/>
                  <a:pt x="1867492" y="1623800"/>
                </a:cubicBezTo>
                <a:cubicBezTo>
                  <a:pt x="1871519" y="1625504"/>
                  <a:pt x="1874204" y="1627518"/>
                  <a:pt x="1876063" y="1629686"/>
                </a:cubicBezTo>
                <a:lnTo>
                  <a:pt x="1878540" y="1635727"/>
                </a:lnTo>
                <a:lnTo>
                  <a:pt x="1883497" y="1638361"/>
                </a:lnTo>
                <a:cubicBezTo>
                  <a:pt x="1882258" y="1639755"/>
                  <a:pt x="1886078" y="1643782"/>
                  <a:pt x="1887421" y="1645021"/>
                </a:cubicBezTo>
                <a:cubicBezTo>
                  <a:pt x="1885459" y="1647034"/>
                  <a:pt x="1887214" y="1650598"/>
                  <a:pt x="1886492" y="1653850"/>
                </a:cubicBezTo>
                <a:lnTo>
                  <a:pt x="1885562" y="1655709"/>
                </a:lnTo>
                <a:lnTo>
                  <a:pt x="1885872" y="1656174"/>
                </a:lnTo>
                <a:cubicBezTo>
                  <a:pt x="1886905" y="1658652"/>
                  <a:pt x="1887524" y="1661285"/>
                  <a:pt x="1887421" y="1664073"/>
                </a:cubicBezTo>
                <a:cubicBezTo>
                  <a:pt x="1881225" y="1665467"/>
                  <a:pt x="1874204" y="1662989"/>
                  <a:pt x="1868732" y="1661440"/>
                </a:cubicBezTo>
                <a:cubicBezTo>
                  <a:pt x="1871003" y="1659581"/>
                  <a:pt x="1873378" y="1659117"/>
                  <a:pt x="1875753" y="1657723"/>
                </a:cubicBezTo>
                <a:lnTo>
                  <a:pt x="1878128" y="1655554"/>
                </a:lnTo>
                <a:lnTo>
                  <a:pt x="1873688" y="1648429"/>
                </a:lnTo>
                <a:lnTo>
                  <a:pt x="1872345" y="1643472"/>
                </a:lnTo>
                <a:lnTo>
                  <a:pt x="1870590" y="1644247"/>
                </a:lnTo>
                <a:cubicBezTo>
                  <a:pt x="1867286" y="1644556"/>
                  <a:pt x="1863362" y="1643627"/>
                  <a:pt x="1859129" y="1640529"/>
                </a:cubicBezTo>
                <a:cubicBezTo>
                  <a:pt x="1858509" y="1638980"/>
                  <a:pt x="1858406" y="1637121"/>
                  <a:pt x="1858612" y="1635263"/>
                </a:cubicBezTo>
                <a:lnTo>
                  <a:pt x="1859129" y="1634023"/>
                </a:lnTo>
                <a:lnTo>
                  <a:pt x="1855618" y="1634953"/>
                </a:lnTo>
                <a:cubicBezTo>
                  <a:pt x="1852830" y="1634953"/>
                  <a:pt x="1849732" y="1634333"/>
                  <a:pt x="1846944" y="1633249"/>
                </a:cubicBezTo>
                <a:lnTo>
                  <a:pt x="1843124" y="1630771"/>
                </a:lnTo>
                <a:lnTo>
                  <a:pt x="1842917" y="1632165"/>
                </a:lnTo>
                <a:cubicBezTo>
                  <a:pt x="1834554" y="1639135"/>
                  <a:pt x="1826603" y="1642233"/>
                  <a:pt x="1818652" y="1634488"/>
                </a:cubicBezTo>
                <a:cubicBezTo>
                  <a:pt x="1819995" y="1633249"/>
                  <a:pt x="1818962" y="1631855"/>
                  <a:pt x="1817826" y="1630306"/>
                </a:cubicBezTo>
                <a:lnTo>
                  <a:pt x="1821956" y="1624730"/>
                </a:lnTo>
                <a:lnTo>
                  <a:pt x="1820407" y="1623336"/>
                </a:lnTo>
                <a:cubicBezTo>
                  <a:pt x="1818342" y="1621167"/>
                  <a:pt x="1816380" y="1618534"/>
                  <a:pt x="1814729" y="1615126"/>
                </a:cubicBezTo>
                <a:cubicBezTo>
                  <a:pt x="1818910" y="1606762"/>
                  <a:pt x="1825415" y="1600217"/>
                  <a:pt x="1832398" y="1596790"/>
                </a:cubicBezTo>
                <a:close/>
                <a:moveTo>
                  <a:pt x="5238388" y="1596399"/>
                </a:moveTo>
                <a:cubicBezTo>
                  <a:pt x="5239668" y="1595688"/>
                  <a:pt x="5241162" y="1595546"/>
                  <a:pt x="5243083" y="1596399"/>
                </a:cubicBezTo>
                <a:cubicBezTo>
                  <a:pt x="5245217" y="1599245"/>
                  <a:pt x="5248419" y="1601378"/>
                  <a:pt x="5249486" y="1605362"/>
                </a:cubicBezTo>
                <a:cubicBezTo>
                  <a:pt x="5249912" y="1606642"/>
                  <a:pt x="5249912" y="1608065"/>
                  <a:pt x="5249486" y="1609772"/>
                </a:cubicBezTo>
                <a:cubicBezTo>
                  <a:pt x="5244790" y="1609061"/>
                  <a:pt x="5240735" y="1609061"/>
                  <a:pt x="5236894" y="1609488"/>
                </a:cubicBezTo>
                <a:lnTo>
                  <a:pt x="5233479" y="1609772"/>
                </a:lnTo>
                <a:lnTo>
                  <a:pt x="5235827" y="1612760"/>
                </a:lnTo>
                <a:cubicBezTo>
                  <a:pt x="5236680" y="1614752"/>
                  <a:pt x="5237107" y="1617455"/>
                  <a:pt x="5236467" y="1620869"/>
                </a:cubicBezTo>
                <a:cubicBezTo>
                  <a:pt x="5234973" y="1628552"/>
                  <a:pt x="5231132" y="1636376"/>
                  <a:pt x="5219180" y="1634243"/>
                </a:cubicBezTo>
                <a:cubicBezTo>
                  <a:pt x="5216619" y="1634527"/>
                  <a:pt x="5217686" y="1633958"/>
                  <a:pt x="5215978" y="1633531"/>
                </a:cubicBezTo>
                <a:cubicBezTo>
                  <a:pt x="5214485" y="1633247"/>
                  <a:pt x="5211923" y="1633389"/>
                  <a:pt x="5210857" y="1633958"/>
                </a:cubicBezTo>
                <a:cubicBezTo>
                  <a:pt x="5211923" y="1627983"/>
                  <a:pt x="5207655" y="1627840"/>
                  <a:pt x="5209576" y="1618593"/>
                </a:cubicBezTo>
                <a:cubicBezTo>
                  <a:pt x="5211070" y="1609488"/>
                  <a:pt x="5215978" y="1605931"/>
                  <a:pt x="5220887" y="1604935"/>
                </a:cubicBezTo>
                <a:lnTo>
                  <a:pt x="5224729" y="1604793"/>
                </a:lnTo>
                <a:lnTo>
                  <a:pt x="5225796" y="1601236"/>
                </a:lnTo>
                <a:cubicBezTo>
                  <a:pt x="5233052" y="1605220"/>
                  <a:pt x="5234760" y="1598533"/>
                  <a:pt x="5238388" y="1596399"/>
                </a:cubicBezTo>
                <a:close/>
                <a:moveTo>
                  <a:pt x="1262101" y="1596384"/>
                </a:moveTo>
                <a:lnTo>
                  <a:pt x="1266438" y="1598552"/>
                </a:lnTo>
                <a:lnTo>
                  <a:pt x="1267470" y="1596848"/>
                </a:lnTo>
                <a:cubicBezTo>
                  <a:pt x="1268709" y="1596848"/>
                  <a:pt x="1270568" y="1596539"/>
                  <a:pt x="1272427" y="1597313"/>
                </a:cubicBezTo>
                <a:cubicBezTo>
                  <a:pt x="1274698" y="1601030"/>
                  <a:pt x="1273872" y="1603974"/>
                  <a:pt x="1271291" y="1606142"/>
                </a:cubicBezTo>
                <a:lnTo>
                  <a:pt x="1270362" y="1605677"/>
                </a:lnTo>
                <a:lnTo>
                  <a:pt x="1270258" y="1606762"/>
                </a:lnTo>
                <a:cubicBezTo>
                  <a:pt x="1270052" y="1607691"/>
                  <a:pt x="1269535" y="1608620"/>
                  <a:pt x="1268606" y="1609395"/>
                </a:cubicBezTo>
                <a:cubicBezTo>
                  <a:pt x="1265922" y="1612028"/>
                  <a:pt x="1259829" y="1614041"/>
                  <a:pt x="1257351" y="1611564"/>
                </a:cubicBezTo>
                <a:lnTo>
                  <a:pt x="1256422" y="1610479"/>
                </a:lnTo>
                <a:lnTo>
                  <a:pt x="1255286" y="1611564"/>
                </a:lnTo>
                <a:cubicBezTo>
                  <a:pt x="1252705" y="1612958"/>
                  <a:pt x="1249504" y="1613112"/>
                  <a:pt x="1247542" y="1611254"/>
                </a:cubicBezTo>
                <a:lnTo>
                  <a:pt x="1247232" y="1610634"/>
                </a:lnTo>
                <a:lnTo>
                  <a:pt x="1246716" y="1611099"/>
                </a:lnTo>
                <a:cubicBezTo>
                  <a:pt x="1244341" y="1612958"/>
                  <a:pt x="1242173" y="1614352"/>
                  <a:pt x="1240830" y="1614041"/>
                </a:cubicBezTo>
                <a:cubicBezTo>
                  <a:pt x="1240934" y="1613112"/>
                  <a:pt x="1240934" y="1612338"/>
                  <a:pt x="1241863" y="1611408"/>
                </a:cubicBezTo>
                <a:cubicBezTo>
                  <a:pt x="1242689" y="1610634"/>
                  <a:pt x="1242689" y="1611408"/>
                  <a:pt x="1242689" y="1610634"/>
                </a:cubicBezTo>
                <a:cubicBezTo>
                  <a:pt x="1243618" y="1609705"/>
                  <a:pt x="1242792" y="1609705"/>
                  <a:pt x="1242792" y="1609705"/>
                </a:cubicBezTo>
                <a:cubicBezTo>
                  <a:pt x="1242792" y="1609705"/>
                  <a:pt x="1243618" y="1609705"/>
                  <a:pt x="1243618" y="1609705"/>
                </a:cubicBezTo>
                <a:cubicBezTo>
                  <a:pt x="1243618" y="1609705"/>
                  <a:pt x="1243618" y="1609705"/>
                  <a:pt x="1245477" y="1608001"/>
                </a:cubicBezTo>
                <a:lnTo>
                  <a:pt x="1245787" y="1607226"/>
                </a:lnTo>
                <a:lnTo>
                  <a:pt x="1245993" y="1606917"/>
                </a:lnTo>
                <a:lnTo>
                  <a:pt x="1247129" y="1605058"/>
                </a:lnTo>
                <a:cubicBezTo>
                  <a:pt x="1247542" y="1604284"/>
                  <a:pt x="1247748" y="1603664"/>
                  <a:pt x="1248265" y="1602734"/>
                </a:cubicBezTo>
                <a:cubicBezTo>
                  <a:pt x="1250124" y="1601030"/>
                  <a:pt x="1250949" y="1600876"/>
                  <a:pt x="1253634" y="1599172"/>
                </a:cubicBezTo>
                <a:cubicBezTo>
                  <a:pt x="1255286" y="1599946"/>
                  <a:pt x="1255286" y="1599946"/>
                  <a:pt x="1255286" y="1600721"/>
                </a:cubicBezTo>
                <a:cubicBezTo>
                  <a:pt x="1255286" y="1599946"/>
                  <a:pt x="1256112" y="1599946"/>
                  <a:pt x="1257041" y="1599017"/>
                </a:cubicBezTo>
                <a:cubicBezTo>
                  <a:pt x="1258384" y="1596848"/>
                  <a:pt x="1260242" y="1596074"/>
                  <a:pt x="1262101" y="1596384"/>
                </a:cubicBezTo>
                <a:close/>
                <a:moveTo>
                  <a:pt x="1381156" y="1595919"/>
                </a:moveTo>
                <a:cubicBezTo>
                  <a:pt x="1381775" y="1595919"/>
                  <a:pt x="1382601" y="1596229"/>
                  <a:pt x="1383634" y="1596384"/>
                </a:cubicBezTo>
                <a:lnTo>
                  <a:pt x="1382395" y="1599637"/>
                </a:lnTo>
                <a:cubicBezTo>
                  <a:pt x="1381259" y="1599172"/>
                  <a:pt x="1379710" y="1597933"/>
                  <a:pt x="1380123" y="1596848"/>
                </a:cubicBezTo>
                <a:cubicBezTo>
                  <a:pt x="1380123" y="1595919"/>
                  <a:pt x="1380536" y="1595764"/>
                  <a:pt x="1381156" y="1595919"/>
                </a:cubicBezTo>
                <a:close/>
                <a:moveTo>
                  <a:pt x="4998291" y="1595830"/>
                </a:moveTo>
                <a:cubicBezTo>
                  <a:pt x="4998931" y="1595688"/>
                  <a:pt x="4999784" y="1595972"/>
                  <a:pt x="5001065" y="1597253"/>
                </a:cubicBezTo>
                <a:cubicBezTo>
                  <a:pt x="5003412" y="1598676"/>
                  <a:pt x="5003412" y="1599813"/>
                  <a:pt x="5001278" y="1603370"/>
                </a:cubicBezTo>
                <a:cubicBezTo>
                  <a:pt x="4999144" y="1605646"/>
                  <a:pt x="4998077" y="1608065"/>
                  <a:pt x="4996796" y="1607923"/>
                </a:cubicBezTo>
                <a:cubicBezTo>
                  <a:pt x="4997010" y="1609204"/>
                  <a:pt x="4995729" y="1610342"/>
                  <a:pt x="4995943" y="1611622"/>
                </a:cubicBezTo>
                <a:cubicBezTo>
                  <a:pt x="4995943" y="1611622"/>
                  <a:pt x="4995943" y="1611622"/>
                  <a:pt x="4994663" y="1611480"/>
                </a:cubicBezTo>
                <a:cubicBezTo>
                  <a:pt x="4995729" y="1606785"/>
                  <a:pt x="4994235" y="1600668"/>
                  <a:pt x="4996370" y="1597110"/>
                </a:cubicBezTo>
                <a:cubicBezTo>
                  <a:pt x="4997010" y="1596541"/>
                  <a:pt x="4997437" y="1595972"/>
                  <a:pt x="4998291" y="1595830"/>
                </a:cubicBezTo>
                <a:close/>
                <a:moveTo>
                  <a:pt x="1554419" y="1595609"/>
                </a:moveTo>
                <a:cubicBezTo>
                  <a:pt x="1555452" y="1595454"/>
                  <a:pt x="1556484" y="1595609"/>
                  <a:pt x="1557724" y="1596693"/>
                </a:cubicBezTo>
                <a:cubicBezTo>
                  <a:pt x="1557517" y="1597158"/>
                  <a:pt x="1556898" y="1597468"/>
                  <a:pt x="1556071" y="1597933"/>
                </a:cubicBezTo>
                <a:lnTo>
                  <a:pt x="1555245" y="1598242"/>
                </a:lnTo>
                <a:lnTo>
                  <a:pt x="1553077" y="1600876"/>
                </a:lnTo>
                <a:lnTo>
                  <a:pt x="1552767" y="1601650"/>
                </a:lnTo>
                <a:lnTo>
                  <a:pt x="1553180" y="1601805"/>
                </a:lnTo>
                <a:cubicBezTo>
                  <a:pt x="1554626" y="1603199"/>
                  <a:pt x="1555659" y="1605522"/>
                  <a:pt x="1555142" y="1606607"/>
                </a:cubicBezTo>
                <a:cubicBezTo>
                  <a:pt x="1554626" y="1607536"/>
                  <a:pt x="1553800" y="1607846"/>
                  <a:pt x="1553800" y="1607846"/>
                </a:cubicBezTo>
                <a:lnTo>
                  <a:pt x="1551322" y="1606452"/>
                </a:lnTo>
                <a:lnTo>
                  <a:pt x="1551115" y="1607226"/>
                </a:lnTo>
                <a:cubicBezTo>
                  <a:pt x="1550289" y="1613577"/>
                  <a:pt x="1551528" y="1620238"/>
                  <a:pt x="1545230" y="1623491"/>
                </a:cubicBezTo>
                <a:lnTo>
                  <a:pt x="1544507" y="1618224"/>
                </a:lnTo>
                <a:lnTo>
                  <a:pt x="1543371" y="1618998"/>
                </a:lnTo>
                <a:cubicBezTo>
                  <a:pt x="1542235" y="1619463"/>
                  <a:pt x="1540583" y="1619618"/>
                  <a:pt x="1538518" y="1618998"/>
                </a:cubicBezTo>
                <a:cubicBezTo>
                  <a:pt x="1537382" y="1618379"/>
                  <a:pt x="1534801" y="1616520"/>
                  <a:pt x="1535627" y="1616210"/>
                </a:cubicBezTo>
                <a:cubicBezTo>
                  <a:pt x="1536040" y="1615126"/>
                  <a:pt x="1535214" y="1615436"/>
                  <a:pt x="1534904" y="1614662"/>
                </a:cubicBezTo>
                <a:cubicBezTo>
                  <a:pt x="1535524" y="1612958"/>
                  <a:pt x="1536453" y="1611873"/>
                  <a:pt x="1537485" y="1611254"/>
                </a:cubicBezTo>
                <a:cubicBezTo>
                  <a:pt x="1538621" y="1610479"/>
                  <a:pt x="1539964" y="1610324"/>
                  <a:pt x="1541409" y="1610789"/>
                </a:cubicBezTo>
                <a:lnTo>
                  <a:pt x="1543474" y="1612028"/>
                </a:lnTo>
                <a:lnTo>
                  <a:pt x="1543371" y="1611254"/>
                </a:lnTo>
                <a:lnTo>
                  <a:pt x="1543474" y="1610169"/>
                </a:lnTo>
                <a:lnTo>
                  <a:pt x="1541925" y="1609860"/>
                </a:lnTo>
                <a:lnTo>
                  <a:pt x="1543474" y="1606762"/>
                </a:lnTo>
                <a:lnTo>
                  <a:pt x="1543784" y="1607072"/>
                </a:lnTo>
                <a:lnTo>
                  <a:pt x="1544094" y="1604593"/>
                </a:lnTo>
                <a:cubicBezTo>
                  <a:pt x="1544713" y="1602270"/>
                  <a:pt x="1545642" y="1599637"/>
                  <a:pt x="1547295" y="1597003"/>
                </a:cubicBezTo>
                <a:cubicBezTo>
                  <a:pt x="1548637" y="1597003"/>
                  <a:pt x="1550186" y="1596384"/>
                  <a:pt x="1551735" y="1596074"/>
                </a:cubicBezTo>
                <a:lnTo>
                  <a:pt x="1553593" y="1596074"/>
                </a:lnTo>
                <a:close/>
                <a:moveTo>
                  <a:pt x="978353" y="1595609"/>
                </a:moveTo>
                <a:cubicBezTo>
                  <a:pt x="980108" y="1595299"/>
                  <a:pt x="982896" y="1594370"/>
                  <a:pt x="984652" y="1596074"/>
                </a:cubicBezTo>
                <a:cubicBezTo>
                  <a:pt x="985271" y="1596539"/>
                  <a:pt x="985684" y="1597313"/>
                  <a:pt x="985994" y="1598552"/>
                </a:cubicBezTo>
                <a:cubicBezTo>
                  <a:pt x="986717" y="1599017"/>
                  <a:pt x="985787" y="1602270"/>
                  <a:pt x="984549" y="1602425"/>
                </a:cubicBezTo>
                <a:cubicBezTo>
                  <a:pt x="981761" y="1603509"/>
                  <a:pt x="980418" y="1600721"/>
                  <a:pt x="977837" y="1598087"/>
                </a:cubicBezTo>
                <a:cubicBezTo>
                  <a:pt x="979076" y="1597933"/>
                  <a:pt x="978663" y="1596693"/>
                  <a:pt x="978353" y="1595609"/>
                </a:cubicBezTo>
                <a:close/>
                <a:moveTo>
                  <a:pt x="872722" y="1594990"/>
                </a:moveTo>
                <a:cubicBezTo>
                  <a:pt x="874477" y="1594215"/>
                  <a:pt x="875406" y="1594370"/>
                  <a:pt x="876233" y="1595299"/>
                </a:cubicBezTo>
                <a:cubicBezTo>
                  <a:pt x="877162" y="1595299"/>
                  <a:pt x="877059" y="1596229"/>
                  <a:pt x="877885" y="1597158"/>
                </a:cubicBezTo>
                <a:cubicBezTo>
                  <a:pt x="877885" y="1597933"/>
                  <a:pt x="877059" y="1598707"/>
                  <a:pt x="877059" y="1598707"/>
                </a:cubicBezTo>
                <a:cubicBezTo>
                  <a:pt x="876129" y="1599482"/>
                  <a:pt x="876129" y="1599482"/>
                  <a:pt x="877059" y="1600411"/>
                </a:cubicBezTo>
                <a:cubicBezTo>
                  <a:pt x="877059" y="1600411"/>
                  <a:pt x="876129" y="1600256"/>
                  <a:pt x="876129" y="1600256"/>
                </a:cubicBezTo>
                <a:cubicBezTo>
                  <a:pt x="876129" y="1599327"/>
                  <a:pt x="876129" y="1600256"/>
                  <a:pt x="875200" y="1601030"/>
                </a:cubicBezTo>
                <a:cubicBezTo>
                  <a:pt x="873445" y="1599946"/>
                  <a:pt x="872619" y="1599946"/>
                  <a:pt x="871689" y="1599017"/>
                </a:cubicBezTo>
                <a:cubicBezTo>
                  <a:pt x="871276" y="1598552"/>
                  <a:pt x="870863" y="1597777"/>
                  <a:pt x="870657" y="1597158"/>
                </a:cubicBezTo>
                <a:cubicBezTo>
                  <a:pt x="870450" y="1596539"/>
                  <a:pt x="870554" y="1595919"/>
                  <a:pt x="870966" y="1595609"/>
                </a:cubicBezTo>
                <a:cubicBezTo>
                  <a:pt x="871792" y="1595609"/>
                  <a:pt x="871792" y="1594835"/>
                  <a:pt x="872722" y="1594990"/>
                </a:cubicBezTo>
                <a:close/>
                <a:moveTo>
                  <a:pt x="795073" y="1594215"/>
                </a:moveTo>
                <a:cubicBezTo>
                  <a:pt x="797448" y="1595144"/>
                  <a:pt x="798997" y="1596384"/>
                  <a:pt x="801268" y="1597313"/>
                </a:cubicBezTo>
                <a:cubicBezTo>
                  <a:pt x="801268" y="1601030"/>
                  <a:pt x="798068" y="1600411"/>
                  <a:pt x="794970" y="1599791"/>
                </a:cubicBezTo>
                <a:cubicBezTo>
                  <a:pt x="795073" y="1598862"/>
                  <a:pt x="794660" y="1598087"/>
                  <a:pt x="794454" y="1597158"/>
                </a:cubicBezTo>
                <a:cubicBezTo>
                  <a:pt x="794247" y="1596384"/>
                  <a:pt x="794247" y="1595454"/>
                  <a:pt x="795073" y="1594215"/>
                </a:cubicBezTo>
                <a:close/>
                <a:moveTo>
                  <a:pt x="3487492" y="1594123"/>
                </a:moveTo>
                <a:cubicBezTo>
                  <a:pt x="3488559" y="1594550"/>
                  <a:pt x="3489413" y="1595119"/>
                  <a:pt x="3489840" y="1595830"/>
                </a:cubicBezTo>
                <a:cubicBezTo>
                  <a:pt x="3491120" y="1598106"/>
                  <a:pt x="3489626" y="1601663"/>
                  <a:pt x="3487278" y="1602232"/>
                </a:cubicBezTo>
                <a:cubicBezTo>
                  <a:pt x="3486211" y="1602517"/>
                  <a:pt x="3485144" y="1602374"/>
                  <a:pt x="3484078" y="1601236"/>
                </a:cubicBezTo>
                <a:cubicBezTo>
                  <a:pt x="3484718" y="1598676"/>
                  <a:pt x="3485571" y="1597110"/>
                  <a:pt x="3487492" y="1594123"/>
                </a:cubicBezTo>
                <a:close/>
                <a:moveTo>
                  <a:pt x="3637953" y="1593838"/>
                </a:moveTo>
                <a:cubicBezTo>
                  <a:pt x="3637953" y="1593838"/>
                  <a:pt x="3636886" y="1594976"/>
                  <a:pt x="3636886" y="1596114"/>
                </a:cubicBezTo>
                <a:cubicBezTo>
                  <a:pt x="3636886" y="1596114"/>
                  <a:pt x="3636032" y="1597395"/>
                  <a:pt x="3634752" y="1598391"/>
                </a:cubicBezTo>
                <a:cubicBezTo>
                  <a:pt x="3634752" y="1598391"/>
                  <a:pt x="3634965" y="1599529"/>
                  <a:pt x="3634965" y="1600809"/>
                </a:cubicBezTo>
                <a:lnTo>
                  <a:pt x="3632191" y="1604651"/>
                </a:lnTo>
                <a:lnTo>
                  <a:pt x="3633044" y="1604793"/>
                </a:lnTo>
                <a:cubicBezTo>
                  <a:pt x="3638380" y="1605505"/>
                  <a:pt x="3644142" y="1606785"/>
                  <a:pt x="3646276" y="1609915"/>
                </a:cubicBezTo>
                <a:cubicBezTo>
                  <a:pt x="3646917" y="1610910"/>
                  <a:pt x="3647343" y="1612191"/>
                  <a:pt x="3647130" y="1613614"/>
                </a:cubicBezTo>
                <a:cubicBezTo>
                  <a:pt x="3646490" y="1618024"/>
                  <a:pt x="3643715" y="1621723"/>
                  <a:pt x="3639874" y="1624142"/>
                </a:cubicBezTo>
                <a:lnTo>
                  <a:pt x="3634752" y="1626133"/>
                </a:lnTo>
                <a:lnTo>
                  <a:pt x="3636886" y="1626560"/>
                </a:lnTo>
                <a:cubicBezTo>
                  <a:pt x="3638807" y="1626987"/>
                  <a:pt x="3640300" y="1627556"/>
                  <a:pt x="3639874" y="1628267"/>
                </a:cubicBezTo>
                <a:cubicBezTo>
                  <a:pt x="3639874" y="1628267"/>
                  <a:pt x="3638380" y="1627840"/>
                  <a:pt x="3636886" y="1627272"/>
                </a:cubicBezTo>
                <a:cubicBezTo>
                  <a:pt x="3635179" y="1626702"/>
                  <a:pt x="3635179" y="1626702"/>
                  <a:pt x="3634538" y="1628267"/>
                </a:cubicBezTo>
                <a:cubicBezTo>
                  <a:pt x="3633898" y="1628125"/>
                  <a:pt x="3633471" y="1627983"/>
                  <a:pt x="3633258" y="1627556"/>
                </a:cubicBezTo>
                <a:lnTo>
                  <a:pt x="3632831" y="1626845"/>
                </a:lnTo>
                <a:lnTo>
                  <a:pt x="3625788" y="1626845"/>
                </a:lnTo>
                <a:lnTo>
                  <a:pt x="3618532" y="1624995"/>
                </a:lnTo>
                <a:lnTo>
                  <a:pt x="3615757" y="1624284"/>
                </a:lnTo>
                <a:lnTo>
                  <a:pt x="3608074" y="1619731"/>
                </a:lnTo>
                <a:lnTo>
                  <a:pt x="3608501" y="1620300"/>
                </a:lnTo>
                <a:cubicBezTo>
                  <a:pt x="3609568" y="1623003"/>
                  <a:pt x="3608287" y="1626418"/>
                  <a:pt x="3605726" y="1628552"/>
                </a:cubicBezTo>
                <a:lnTo>
                  <a:pt x="3603379" y="1629121"/>
                </a:lnTo>
                <a:lnTo>
                  <a:pt x="3605086" y="1632251"/>
                </a:lnTo>
                <a:lnTo>
                  <a:pt x="3605086" y="1632394"/>
                </a:lnTo>
                <a:lnTo>
                  <a:pt x="3614904" y="1633247"/>
                </a:lnTo>
                <a:lnTo>
                  <a:pt x="3617251" y="1634812"/>
                </a:lnTo>
                <a:lnTo>
                  <a:pt x="3619813" y="1634669"/>
                </a:lnTo>
                <a:cubicBezTo>
                  <a:pt x="3620026" y="1635666"/>
                  <a:pt x="3620026" y="1635666"/>
                  <a:pt x="3618958" y="1636092"/>
                </a:cubicBezTo>
                <a:cubicBezTo>
                  <a:pt x="3619172" y="1636234"/>
                  <a:pt x="3619172" y="1636234"/>
                  <a:pt x="3619385" y="1636234"/>
                </a:cubicBezTo>
                <a:lnTo>
                  <a:pt x="3618745" y="1636661"/>
                </a:lnTo>
                <a:lnTo>
                  <a:pt x="3619172" y="1637231"/>
                </a:lnTo>
                <a:cubicBezTo>
                  <a:pt x="3619599" y="1638084"/>
                  <a:pt x="3619813" y="1638938"/>
                  <a:pt x="3619385" y="1640076"/>
                </a:cubicBezTo>
                <a:cubicBezTo>
                  <a:pt x="3619813" y="1641213"/>
                  <a:pt x="3615544" y="1642921"/>
                  <a:pt x="3614050" y="1642352"/>
                </a:cubicBezTo>
                <a:cubicBezTo>
                  <a:pt x="3611275" y="1640930"/>
                  <a:pt x="3609782" y="1640360"/>
                  <a:pt x="3609141" y="1638084"/>
                </a:cubicBezTo>
                <a:cubicBezTo>
                  <a:pt x="3607647" y="1637515"/>
                  <a:pt x="3606154" y="1636803"/>
                  <a:pt x="3605300" y="1635950"/>
                </a:cubicBezTo>
                <a:lnTo>
                  <a:pt x="3605086" y="1633104"/>
                </a:lnTo>
                <a:lnTo>
                  <a:pt x="3604873" y="1635096"/>
                </a:lnTo>
                <a:cubicBezTo>
                  <a:pt x="3604659" y="1635950"/>
                  <a:pt x="3604019" y="1636803"/>
                  <a:pt x="3603379" y="1636946"/>
                </a:cubicBezTo>
                <a:cubicBezTo>
                  <a:pt x="3602311" y="1636376"/>
                  <a:pt x="3601671" y="1637373"/>
                  <a:pt x="3600818" y="1636803"/>
                </a:cubicBezTo>
                <a:cubicBezTo>
                  <a:pt x="3598257" y="1636661"/>
                  <a:pt x="3597190" y="1635950"/>
                  <a:pt x="3596976" y="1634385"/>
                </a:cubicBezTo>
                <a:cubicBezTo>
                  <a:pt x="3596123" y="1633816"/>
                  <a:pt x="3596549" y="1632678"/>
                  <a:pt x="3596336" y="1631113"/>
                </a:cubicBezTo>
                <a:lnTo>
                  <a:pt x="3597403" y="1630259"/>
                </a:lnTo>
                <a:lnTo>
                  <a:pt x="3596549" y="1628979"/>
                </a:lnTo>
                <a:cubicBezTo>
                  <a:pt x="3595269" y="1626845"/>
                  <a:pt x="3594202" y="1624710"/>
                  <a:pt x="3594628" y="1623857"/>
                </a:cubicBezTo>
                <a:lnTo>
                  <a:pt x="3598470" y="1628694"/>
                </a:lnTo>
                <a:lnTo>
                  <a:pt x="3596976" y="1622719"/>
                </a:lnTo>
                <a:cubicBezTo>
                  <a:pt x="3596976" y="1619731"/>
                  <a:pt x="3597616" y="1616886"/>
                  <a:pt x="3598897" y="1615748"/>
                </a:cubicBezTo>
                <a:lnTo>
                  <a:pt x="3604446" y="1616744"/>
                </a:lnTo>
                <a:lnTo>
                  <a:pt x="3604019" y="1616174"/>
                </a:lnTo>
                <a:cubicBezTo>
                  <a:pt x="3606154" y="1604651"/>
                  <a:pt x="3615757" y="1603086"/>
                  <a:pt x="3624721" y="1603655"/>
                </a:cubicBezTo>
                <a:lnTo>
                  <a:pt x="3627709" y="1604082"/>
                </a:lnTo>
                <a:lnTo>
                  <a:pt x="3628349" y="1602943"/>
                </a:lnTo>
                <a:cubicBezTo>
                  <a:pt x="3628989" y="1602090"/>
                  <a:pt x="3629843" y="1601094"/>
                  <a:pt x="3630484" y="1600525"/>
                </a:cubicBezTo>
                <a:cubicBezTo>
                  <a:pt x="3630270" y="1599387"/>
                  <a:pt x="3631337" y="1598249"/>
                  <a:pt x="3632617" y="1598391"/>
                </a:cubicBezTo>
                <a:cubicBezTo>
                  <a:pt x="3632617" y="1598391"/>
                  <a:pt x="3633684" y="1597110"/>
                  <a:pt x="3633684" y="1595972"/>
                </a:cubicBezTo>
                <a:cubicBezTo>
                  <a:pt x="3635819" y="1593696"/>
                  <a:pt x="3636886" y="1593838"/>
                  <a:pt x="3637953" y="1593838"/>
                </a:cubicBezTo>
                <a:close/>
                <a:moveTo>
                  <a:pt x="1460043" y="1593441"/>
                </a:moveTo>
                <a:cubicBezTo>
                  <a:pt x="1461592" y="1592356"/>
                  <a:pt x="1461076" y="1594990"/>
                  <a:pt x="1462315" y="1594680"/>
                </a:cubicBezTo>
                <a:cubicBezTo>
                  <a:pt x="1457359" y="1599946"/>
                  <a:pt x="1455913" y="1605832"/>
                  <a:pt x="1455913" y="1605832"/>
                </a:cubicBezTo>
                <a:cubicBezTo>
                  <a:pt x="1454261" y="1606917"/>
                  <a:pt x="1453538" y="1606607"/>
                  <a:pt x="1454261" y="1606917"/>
                </a:cubicBezTo>
                <a:cubicBezTo>
                  <a:pt x="1451886" y="1607846"/>
                  <a:pt x="1449098" y="1609395"/>
                  <a:pt x="1448065" y="1607846"/>
                </a:cubicBezTo>
                <a:cubicBezTo>
                  <a:pt x="1447756" y="1607226"/>
                  <a:pt x="1447652" y="1606452"/>
                  <a:pt x="1447652" y="1605832"/>
                </a:cubicBezTo>
                <a:cubicBezTo>
                  <a:pt x="1448169" y="1600721"/>
                  <a:pt x="1456636" y="1596384"/>
                  <a:pt x="1458391" y="1594680"/>
                </a:cubicBezTo>
                <a:cubicBezTo>
                  <a:pt x="1458391" y="1594680"/>
                  <a:pt x="1458804" y="1593905"/>
                  <a:pt x="1460043" y="1593441"/>
                </a:cubicBezTo>
                <a:close/>
                <a:moveTo>
                  <a:pt x="1567739" y="1593131"/>
                </a:moveTo>
                <a:cubicBezTo>
                  <a:pt x="1572489" y="1593596"/>
                  <a:pt x="1577755" y="1600256"/>
                  <a:pt x="1579820" y="1605058"/>
                </a:cubicBezTo>
                <a:lnTo>
                  <a:pt x="1580233" y="1607226"/>
                </a:lnTo>
                <a:lnTo>
                  <a:pt x="1580337" y="1607072"/>
                </a:lnTo>
                <a:cubicBezTo>
                  <a:pt x="1584673" y="1608310"/>
                  <a:pt x="1585499" y="1613577"/>
                  <a:pt x="1582712" y="1615591"/>
                </a:cubicBezTo>
                <a:cubicBezTo>
                  <a:pt x="1579407" y="1615591"/>
                  <a:pt x="1577962" y="1613732"/>
                  <a:pt x="1577859" y="1611719"/>
                </a:cubicBezTo>
                <a:cubicBezTo>
                  <a:pt x="1577755" y="1610789"/>
                  <a:pt x="1578065" y="1609705"/>
                  <a:pt x="1578478" y="1608930"/>
                </a:cubicBezTo>
                <a:lnTo>
                  <a:pt x="1579304" y="1608156"/>
                </a:lnTo>
                <a:lnTo>
                  <a:pt x="1576310" y="1606142"/>
                </a:lnTo>
                <a:cubicBezTo>
                  <a:pt x="1575071" y="1604903"/>
                  <a:pt x="1573832" y="1603664"/>
                  <a:pt x="1571766" y="1602734"/>
                </a:cubicBezTo>
                <a:cubicBezTo>
                  <a:pt x="1571870" y="1599791"/>
                  <a:pt x="1567327" y="1597158"/>
                  <a:pt x="1567739" y="1593131"/>
                </a:cubicBezTo>
                <a:close/>
                <a:moveTo>
                  <a:pt x="5761053" y="1592984"/>
                </a:moveTo>
                <a:cubicBezTo>
                  <a:pt x="5761693" y="1591847"/>
                  <a:pt x="5765535" y="1594407"/>
                  <a:pt x="5765748" y="1595972"/>
                </a:cubicBezTo>
                <a:cubicBezTo>
                  <a:pt x="5766388" y="1599245"/>
                  <a:pt x="5766601" y="1600809"/>
                  <a:pt x="5765108" y="1602943"/>
                </a:cubicBezTo>
                <a:cubicBezTo>
                  <a:pt x="5765535" y="1604508"/>
                  <a:pt x="5765748" y="1606215"/>
                  <a:pt x="5765535" y="1607496"/>
                </a:cubicBezTo>
                <a:cubicBezTo>
                  <a:pt x="5765321" y="1608919"/>
                  <a:pt x="5764681" y="1609772"/>
                  <a:pt x="5762973" y="1610342"/>
                </a:cubicBezTo>
                <a:cubicBezTo>
                  <a:pt x="5760839" y="1607496"/>
                  <a:pt x="5759772" y="1605220"/>
                  <a:pt x="5758278" y="1601378"/>
                </a:cubicBezTo>
                <a:cubicBezTo>
                  <a:pt x="5758278" y="1601378"/>
                  <a:pt x="5757211" y="1594834"/>
                  <a:pt x="5761053" y="1592984"/>
                </a:cubicBezTo>
                <a:close/>
                <a:moveTo>
                  <a:pt x="3535511" y="1592700"/>
                </a:moveTo>
                <a:cubicBezTo>
                  <a:pt x="3537005" y="1593127"/>
                  <a:pt x="3538286" y="1594407"/>
                  <a:pt x="3539566" y="1595688"/>
                </a:cubicBezTo>
                <a:cubicBezTo>
                  <a:pt x="3535725" y="1597964"/>
                  <a:pt x="3538713" y="1602232"/>
                  <a:pt x="3533377" y="1602374"/>
                </a:cubicBezTo>
                <a:cubicBezTo>
                  <a:pt x="3531457" y="1601378"/>
                  <a:pt x="3529962" y="1599245"/>
                  <a:pt x="3529536" y="1594834"/>
                </a:cubicBezTo>
                <a:cubicBezTo>
                  <a:pt x="3532097" y="1592700"/>
                  <a:pt x="3534018" y="1592273"/>
                  <a:pt x="3535511" y="1592700"/>
                </a:cubicBezTo>
                <a:close/>
                <a:moveTo>
                  <a:pt x="4988046" y="1592558"/>
                </a:moveTo>
                <a:cubicBezTo>
                  <a:pt x="4987193" y="1594692"/>
                  <a:pt x="4990821" y="1598249"/>
                  <a:pt x="4987833" y="1599102"/>
                </a:cubicBezTo>
                <a:cubicBezTo>
                  <a:pt x="4987193" y="1597395"/>
                  <a:pt x="4987193" y="1594692"/>
                  <a:pt x="4986552" y="1592984"/>
                </a:cubicBezTo>
                <a:cubicBezTo>
                  <a:pt x="4986552" y="1592984"/>
                  <a:pt x="4986552" y="1592984"/>
                  <a:pt x="4988046" y="1592558"/>
                </a:cubicBezTo>
                <a:close/>
                <a:moveTo>
                  <a:pt x="4806426" y="1592415"/>
                </a:moveTo>
                <a:cubicBezTo>
                  <a:pt x="4806426" y="1592415"/>
                  <a:pt x="4806426" y="1592415"/>
                  <a:pt x="4809201" y="1592558"/>
                </a:cubicBezTo>
                <a:cubicBezTo>
                  <a:pt x="4810054" y="1593269"/>
                  <a:pt x="4811121" y="1593838"/>
                  <a:pt x="4811335" y="1595546"/>
                </a:cubicBezTo>
                <a:cubicBezTo>
                  <a:pt x="4811548" y="1597253"/>
                  <a:pt x="4810268" y="1599387"/>
                  <a:pt x="4809627" y="1600525"/>
                </a:cubicBezTo>
                <a:cubicBezTo>
                  <a:pt x="4808561" y="1599813"/>
                  <a:pt x="4807920" y="1600951"/>
                  <a:pt x="4806853" y="1600383"/>
                </a:cubicBezTo>
                <a:cubicBezTo>
                  <a:pt x="4804292" y="1600098"/>
                  <a:pt x="4804292" y="1600098"/>
                  <a:pt x="4803865" y="1598391"/>
                </a:cubicBezTo>
                <a:cubicBezTo>
                  <a:pt x="4803651" y="1596826"/>
                  <a:pt x="4806639" y="1594123"/>
                  <a:pt x="4806426" y="1592415"/>
                </a:cubicBezTo>
                <a:close/>
                <a:moveTo>
                  <a:pt x="3712864" y="1592273"/>
                </a:moveTo>
                <a:cubicBezTo>
                  <a:pt x="3713290" y="1592273"/>
                  <a:pt x="3713930" y="1592273"/>
                  <a:pt x="3714357" y="1592700"/>
                </a:cubicBezTo>
                <a:cubicBezTo>
                  <a:pt x="3714357" y="1592700"/>
                  <a:pt x="3714357" y="1592700"/>
                  <a:pt x="3714357" y="1593838"/>
                </a:cubicBezTo>
                <a:cubicBezTo>
                  <a:pt x="3714357" y="1593838"/>
                  <a:pt x="3713290" y="1593838"/>
                  <a:pt x="3712223" y="1592700"/>
                </a:cubicBezTo>
                <a:cubicBezTo>
                  <a:pt x="3712223" y="1592700"/>
                  <a:pt x="3712436" y="1592415"/>
                  <a:pt x="3712864" y="1592273"/>
                </a:cubicBezTo>
                <a:close/>
                <a:moveTo>
                  <a:pt x="5374976" y="1591989"/>
                </a:moveTo>
                <a:cubicBezTo>
                  <a:pt x="5376470" y="1592273"/>
                  <a:pt x="5377964" y="1593269"/>
                  <a:pt x="5378818" y="1594550"/>
                </a:cubicBezTo>
                <a:cubicBezTo>
                  <a:pt x="5380738" y="1597110"/>
                  <a:pt x="5380738" y="1601094"/>
                  <a:pt x="5375830" y="1603086"/>
                </a:cubicBezTo>
                <a:cubicBezTo>
                  <a:pt x="5372842" y="1599102"/>
                  <a:pt x="5370922" y="1596541"/>
                  <a:pt x="5370281" y="1593981"/>
                </a:cubicBezTo>
                <a:cubicBezTo>
                  <a:pt x="5371775" y="1592273"/>
                  <a:pt x="5373269" y="1591847"/>
                  <a:pt x="5374976" y="1591989"/>
                </a:cubicBezTo>
                <a:close/>
                <a:moveTo>
                  <a:pt x="3846678" y="1591989"/>
                </a:moveTo>
                <a:cubicBezTo>
                  <a:pt x="3849665" y="1592842"/>
                  <a:pt x="3851159" y="1593269"/>
                  <a:pt x="3852226" y="1595261"/>
                </a:cubicBezTo>
                <a:cubicBezTo>
                  <a:pt x="3853934" y="1595688"/>
                  <a:pt x="3855427" y="1596114"/>
                  <a:pt x="3856495" y="1596826"/>
                </a:cubicBezTo>
                <a:cubicBezTo>
                  <a:pt x="3857349" y="1597537"/>
                  <a:pt x="3857989" y="1598533"/>
                  <a:pt x="3857562" y="1600098"/>
                </a:cubicBezTo>
                <a:cubicBezTo>
                  <a:pt x="3853934" y="1600951"/>
                  <a:pt x="3851373" y="1601236"/>
                  <a:pt x="3847318" y="1601094"/>
                </a:cubicBezTo>
                <a:cubicBezTo>
                  <a:pt x="3847318" y="1601094"/>
                  <a:pt x="3841128" y="1599529"/>
                  <a:pt x="3841555" y="1595261"/>
                </a:cubicBezTo>
                <a:cubicBezTo>
                  <a:pt x="3841128" y="1594265"/>
                  <a:pt x="3845184" y="1591704"/>
                  <a:pt x="3846678" y="1591989"/>
                </a:cubicBezTo>
                <a:close/>
                <a:moveTo>
                  <a:pt x="1044088" y="1591853"/>
                </a:moveTo>
                <a:cubicBezTo>
                  <a:pt x="1046321" y="1590962"/>
                  <a:pt x="1048877" y="1590885"/>
                  <a:pt x="1050529" y="1591892"/>
                </a:cubicBezTo>
                <a:cubicBezTo>
                  <a:pt x="1051562" y="1592511"/>
                  <a:pt x="1052388" y="1593596"/>
                  <a:pt x="1052284" y="1595144"/>
                </a:cubicBezTo>
                <a:cubicBezTo>
                  <a:pt x="1049084" y="1599791"/>
                  <a:pt x="1045263" y="1596539"/>
                  <a:pt x="1039584" y="1596693"/>
                </a:cubicBezTo>
                <a:cubicBezTo>
                  <a:pt x="1039945" y="1594447"/>
                  <a:pt x="1041855" y="1592743"/>
                  <a:pt x="1044088" y="1591853"/>
                </a:cubicBezTo>
                <a:close/>
                <a:moveTo>
                  <a:pt x="1435674" y="1591737"/>
                </a:moveTo>
                <a:cubicBezTo>
                  <a:pt x="1436914" y="1592047"/>
                  <a:pt x="1438566" y="1593131"/>
                  <a:pt x="1437946" y="1595454"/>
                </a:cubicBezTo>
                <a:cubicBezTo>
                  <a:pt x="1437843" y="1598397"/>
                  <a:pt x="1435571" y="1599482"/>
                  <a:pt x="1432887" y="1599946"/>
                </a:cubicBezTo>
                <a:cubicBezTo>
                  <a:pt x="1431854" y="1601495"/>
                  <a:pt x="1431958" y="1603199"/>
                  <a:pt x="1429996" y="1603354"/>
                </a:cubicBezTo>
                <a:cubicBezTo>
                  <a:pt x="1431338" y="1600721"/>
                  <a:pt x="1431648" y="1599637"/>
                  <a:pt x="1432680" y="1598087"/>
                </a:cubicBezTo>
                <a:cubicBezTo>
                  <a:pt x="1432164" y="1597313"/>
                  <a:pt x="1431751" y="1596693"/>
                  <a:pt x="1432061" y="1595454"/>
                </a:cubicBezTo>
                <a:cubicBezTo>
                  <a:pt x="1432680" y="1593286"/>
                  <a:pt x="1434642" y="1593286"/>
                  <a:pt x="1435674" y="1591737"/>
                </a:cubicBezTo>
                <a:close/>
                <a:moveTo>
                  <a:pt x="5886117" y="1591562"/>
                </a:moveTo>
                <a:cubicBezTo>
                  <a:pt x="5887397" y="1592842"/>
                  <a:pt x="5887397" y="1591562"/>
                  <a:pt x="5888464" y="1591562"/>
                </a:cubicBezTo>
                <a:cubicBezTo>
                  <a:pt x="5887397" y="1592842"/>
                  <a:pt x="5888037" y="1596541"/>
                  <a:pt x="5887184" y="1599102"/>
                </a:cubicBezTo>
                <a:cubicBezTo>
                  <a:pt x="5886117" y="1599102"/>
                  <a:pt x="5885263" y="1600383"/>
                  <a:pt x="5884196" y="1600525"/>
                </a:cubicBezTo>
                <a:cubicBezTo>
                  <a:pt x="5883982" y="1599245"/>
                  <a:pt x="5882489" y="1596826"/>
                  <a:pt x="5883556" y="1596826"/>
                </a:cubicBezTo>
                <a:cubicBezTo>
                  <a:pt x="5883342" y="1595546"/>
                  <a:pt x="5885690" y="1595404"/>
                  <a:pt x="5885690" y="1595404"/>
                </a:cubicBezTo>
                <a:cubicBezTo>
                  <a:pt x="5885476" y="1594265"/>
                  <a:pt x="5885263" y="1592984"/>
                  <a:pt x="5886117" y="1591562"/>
                </a:cubicBezTo>
                <a:close/>
                <a:moveTo>
                  <a:pt x="5633214" y="1590993"/>
                </a:moveTo>
                <a:cubicBezTo>
                  <a:pt x="5634281" y="1592273"/>
                  <a:pt x="5634921" y="1593554"/>
                  <a:pt x="5635135" y="1594834"/>
                </a:cubicBezTo>
                <a:cubicBezTo>
                  <a:pt x="5635562" y="1596257"/>
                  <a:pt x="5635349" y="1597822"/>
                  <a:pt x="5634495" y="1599671"/>
                </a:cubicBezTo>
                <a:cubicBezTo>
                  <a:pt x="5632574" y="1595972"/>
                  <a:pt x="5631721" y="1594692"/>
                  <a:pt x="5633214" y="1590993"/>
                </a:cubicBezTo>
                <a:close/>
                <a:moveTo>
                  <a:pt x="1173301" y="1590652"/>
                </a:moveTo>
                <a:cubicBezTo>
                  <a:pt x="1175675" y="1591427"/>
                  <a:pt x="1176605" y="1592976"/>
                  <a:pt x="1176295" y="1594060"/>
                </a:cubicBezTo>
                <a:lnTo>
                  <a:pt x="1174437" y="1599327"/>
                </a:lnTo>
                <a:lnTo>
                  <a:pt x="1174953" y="1599946"/>
                </a:lnTo>
                <a:cubicBezTo>
                  <a:pt x="1175469" y="1602580"/>
                  <a:pt x="1171545" y="1605368"/>
                  <a:pt x="1168241" y="1605522"/>
                </a:cubicBezTo>
                <a:lnTo>
                  <a:pt x="1166176" y="1605058"/>
                </a:lnTo>
                <a:lnTo>
                  <a:pt x="1165969" y="1605213"/>
                </a:lnTo>
                <a:cubicBezTo>
                  <a:pt x="1163285" y="1604438"/>
                  <a:pt x="1162562" y="1604129"/>
                  <a:pt x="1162769" y="1601495"/>
                </a:cubicBezTo>
                <a:cubicBezTo>
                  <a:pt x="1162872" y="1600566"/>
                  <a:pt x="1162975" y="1599482"/>
                  <a:pt x="1163182" y="1597777"/>
                </a:cubicBezTo>
                <a:cubicBezTo>
                  <a:pt x="1163491" y="1596693"/>
                  <a:pt x="1164111" y="1595609"/>
                  <a:pt x="1164937" y="1594835"/>
                </a:cubicBezTo>
                <a:cubicBezTo>
                  <a:pt x="1165763" y="1594060"/>
                  <a:pt x="1166899" y="1593441"/>
                  <a:pt x="1168241" y="1593286"/>
                </a:cubicBezTo>
                <a:cubicBezTo>
                  <a:pt x="1169170" y="1591892"/>
                  <a:pt x="1171339" y="1590652"/>
                  <a:pt x="1173301" y="1590652"/>
                </a:cubicBezTo>
                <a:close/>
                <a:moveTo>
                  <a:pt x="1352450" y="1590497"/>
                </a:moveTo>
                <a:cubicBezTo>
                  <a:pt x="1354722" y="1593441"/>
                  <a:pt x="1357097" y="1596229"/>
                  <a:pt x="1354309" y="1598397"/>
                </a:cubicBezTo>
                <a:cubicBezTo>
                  <a:pt x="1352140" y="1597933"/>
                  <a:pt x="1350488" y="1596693"/>
                  <a:pt x="1349972" y="1595144"/>
                </a:cubicBezTo>
                <a:cubicBezTo>
                  <a:pt x="1349456" y="1593596"/>
                  <a:pt x="1350075" y="1591737"/>
                  <a:pt x="1352450" y="1590497"/>
                </a:cubicBezTo>
                <a:close/>
                <a:moveTo>
                  <a:pt x="5559798" y="1589001"/>
                </a:moveTo>
                <a:lnTo>
                  <a:pt x="5560865" y="1596968"/>
                </a:lnTo>
                <a:lnTo>
                  <a:pt x="5561292" y="1597537"/>
                </a:lnTo>
                <a:lnTo>
                  <a:pt x="5561078" y="1597964"/>
                </a:lnTo>
                <a:lnTo>
                  <a:pt x="5561932" y="1607496"/>
                </a:lnTo>
                <a:lnTo>
                  <a:pt x="5560438" y="1616459"/>
                </a:lnTo>
                <a:lnTo>
                  <a:pt x="5561719" y="1616744"/>
                </a:lnTo>
                <a:cubicBezTo>
                  <a:pt x="5566200" y="1616032"/>
                  <a:pt x="5572176" y="1612049"/>
                  <a:pt x="5578579" y="1617597"/>
                </a:cubicBezTo>
                <a:cubicBezTo>
                  <a:pt x="5576018" y="1619873"/>
                  <a:pt x="5580073" y="1625991"/>
                  <a:pt x="5576231" y="1629548"/>
                </a:cubicBezTo>
                <a:cubicBezTo>
                  <a:pt x="5568335" y="1638368"/>
                  <a:pt x="5564707" y="1639222"/>
                  <a:pt x="5560012" y="1637515"/>
                </a:cubicBezTo>
                <a:lnTo>
                  <a:pt x="5559584" y="1637373"/>
                </a:lnTo>
                <a:lnTo>
                  <a:pt x="5552755" y="1637373"/>
                </a:lnTo>
                <a:lnTo>
                  <a:pt x="5551688" y="1635096"/>
                </a:lnTo>
                <a:cubicBezTo>
                  <a:pt x="5550621" y="1636234"/>
                  <a:pt x="5549341" y="1637515"/>
                  <a:pt x="5547633" y="1636234"/>
                </a:cubicBezTo>
                <a:cubicBezTo>
                  <a:pt x="5545285" y="1633958"/>
                  <a:pt x="5544858" y="1630686"/>
                  <a:pt x="5545072" y="1627414"/>
                </a:cubicBezTo>
                <a:cubicBezTo>
                  <a:pt x="5543578" y="1632251"/>
                  <a:pt x="5539523" y="1635808"/>
                  <a:pt x="5530986" y="1634243"/>
                </a:cubicBezTo>
                <a:cubicBezTo>
                  <a:pt x="5528425" y="1634385"/>
                  <a:pt x="5529279" y="1633674"/>
                  <a:pt x="5527785" y="1633247"/>
                </a:cubicBezTo>
                <a:lnTo>
                  <a:pt x="5526077" y="1633247"/>
                </a:lnTo>
                <a:lnTo>
                  <a:pt x="5537389" y="1637231"/>
                </a:lnTo>
                <a:cubicBezTo>
                  <a:pt x="5540803" y="1639222"/>
                  <a:pt x="5543791" y="1641925"/>
                  <a:pt x="5545499" y="1646051"/>
                </a:cubicBezTo>
                <a:cubicBezTo>
                  <a:pt x="5543791" y="1653734"/>
                  <a:pt x="5544645" y="1658571"/>
                  <a:pt x="5546139" y="1662839"/>
                </a:cubicBezTo>
                <a:lnTo>
                  <a:pt x="5546353" y="1663408"/>
                </a:lnTo>
                <a:lnTo>
                  <a:pt x="5546779" y="1663123"/>
                </a:lnTo>
                <a:cubicBezTo>
                  <a:pt x="5546779" y="1662981"/>
                  <a:pt x="5546779" y="1663265"/>
                  <a:pt x="5547206" y="1663835"/>
                </a:cubicBezTo>
                <a:cubicBezTo>
                  <a:pt x="5547206" y="1663835"/>
                  <a:pt x="5547419" y="1663835"/>
                  <a:pt x="5548273" y="1664973"/>
                </a:cubicBezTo>
                <a:cubicBezTo>
                  <a:pt x="5548273" y="1664973"/>
                  <a:pt x="5548700" y="1664973"/>
                  <a:pt x="5548486" y="1665542"/>
                </a:cubicBezTo>
                <a:lnTo>
                  <a:pt x="5547846" y="1666965"/>
                </a:lnTo>
                <a:lnTo>
                  <a:pt x="5548486" y="1668814"/>
                </a:lnTo>
                <a:cubicBezTo>
                  <a:pt x="5549341" y="1670806"/>
                  <a:pt x="5549981" y="1672940"/>
                  <a:pt x="5550407" y="1675216"/>
                </a:cubicBezTo>
                <a:cubicBezTo>
                  <a:pt x="5548700" y="1680338"/>
                  <a:pt x="5546139" y="1685602"/>
                  <a:pt x="5543365" y="1690866"/>
                </a:cubicBezTo>
                <a:lnTo>
                  <a:pt x="5540377" y="1695418"/>
                </a:lnTo>
                <a:lnTo>
                  <a:pt x="5538242" y="1699544"/>
                </a:lnTo>
                <a:lnTo>
                  <a:pt x="5538029" y="1699971"/>
                </a:lnTo>
                <a:lnTo>
                  <a:pt x="5536535" y="1709788"/>
                </a:lnTo>
                <a:cubicBezTo>
                  <a:pt x="5535468" y="1712917"/>
                  <a:pt x="5533547" y="1715621"/>
                  <a:pt x="5530773" y="1717897"/>
                </a:cubicBezTo>
                <a:cubicBezTo>
                  <a:pt x="5527144" y="1720173"/>
                  <a:pt x="5523943" y="1721027"/>
                  <a:pt x="5520956" y="1720742"/>
                </a:cubicBezTo>
                <a:lnTo>
                  <a:pt x="5517541" y="1719035"/>
                </a:lnTo>
                <a:lnTo>
                  <a:pt x="5504095" y="1724583"/>
                </a:lnTo>
                <a:lnTo>
                  <a:pt x="5503669" y="1724583"/>
                </a:lnTo>
                <a:lnTo>
                  <a:pt x="5501961" y="1726006"/>
                </a:lnTo>
                <a:lnTo>
                  <a:pt x="5502815" y="1728282"/>
                </a:lnTo>
                <a:cubicBezTo>
                  <a:pt x="5506230" y="1731981"/>
                  <a:pt x="5511565" y="1729989"/>
                  <a:pt x="5513273" y="1739237"/>
                </a:cubicBezTo>
                <a:lnTo>
                  <a:pt x="5505802" y="1739522"/>
                </a:lnTo>
                <a:lnTo>
                  <a:pt x="5506657" y="1741087"/>
                </a:lnTo>
                <a:cubicBezTo>
                  <a:pt x="5507510" y="1744786"/>
                  <a:pt x="5508150" y="1748627"/>
                  <a:pt x="5508364" y="1752468"/>
                </a:cubicBezTo>
                <a:lnTo>
                  <a:pt x="5508364" y="1759155"/>
                </a:lnTo>
                <a:lnTo>
                  <a:pt x="5510711" y="1757305"/>
                </a:lnTo>
                <a:cubicBezTo>
                  <a:pt x="5515833" y="1754318"/>
                  <a:pt x="5519675" y="1756025"/>
                  <a:pt x="5520315" y="1755029"/>
                </a:cubicBezTo>
                <a:cubicBezTo>
                  <a:pt x="5524370" y="1758443"/>
                  <a:pt x="5522449" y="1761004"/>
                  <a:pt x="5520742" y="1765984"/>
                </a:cubicBezTo>
                <a:cubicBezTo>
                  <a:pt x="5519461" y="1764845"/>
                  <a:pt x="5516473" y="1768687"/>
                  <a:pt x="5515406" y="1769967"/>
                </a:cubicBezTo>
                <a:cubicBezTo>
                  <a:pt x="5514126" y="1768829"/>
                  <a:pt x="5512632" y="1769256"/>
                  <a:pt x="5510711" y="1769541"/>
                </a:cubicBezTo>
                <a:lnTo>
                  <a:pt x="5508364" y="1769541"/>
                </a:lnTo>
                <a:lnTo>
                  <a:pt x="5507510" y="1789173"/>
                </a:lnTo>
                <a:cubicBezTo>
                  <a:pt x="5503455" y="1787751"/>
                  <a:pt x="5500681" y="1789743"/>
                  <a:pt x="5494705" y="1786328"/>
                </a:cubicBezTo>
                <a:cubicBezTo>
                  <a:pt x="5496626" y="1775800"/>
                  <a:pt x="5497052" y="1765414"/>
                  <a:pt x="5497479" y="1755456"/>
                </a:cubicBezTo>
                <a:lnTo>
                  <a:pt x="5498974" y="1739664"/>
                </a:lnTo>
                <a:lnTo>
                  <a:pt x="5494491" y="1739664"/>
                </a:lnTo>
                <a:cubicBezTo>
                  <a:pt x="5488729" y="1738953"/>
                  <a:pt x="5483393" y="1737103"/>
                  <a:pt x="5478485" y="1734542"/>
                </a:cubicBezTo>
                <a:lnTo>
                  <a:pt x="5474430" y="1731697"/>
                </a:lnTo>
                <a:lnTo>
                  <a:pt x="5472296" y="1732124"/>
                </a:lnTo>
                <a:lnTo>
                  <a:pt x="5470589" y="1732124"/>
                </a:lnTo>
                <a:lnTo>
                  <a:pt x="5470161" y="1732408"/>
                </a:lnTo>
                <a:cubicBezTo>
                  <a:pt x="5469308" y="1732835"/>
                  <a:pt x="5468668" y="1733119"/>
                  <a:pt x="5468668" y="1733119"/>
                </a:cubicBezTo>
                <a:cubicBezTo>
                  <a:pt x="5467601" y="1731981"/>
                  <a:pt x="5467814" y="1731981"/>
                  <a:pt x="5468881" y="1731981"/>
                </a:cubicBezTo>
                <a:lnTo>
                  <a:pt x="5469094" y="1731839"/>
                </a:lnTo>
                <a:lnTo>
                  <a:pt x="5465466" y="1731412"/>
                </a:lnTo>
                <a:cubicBezTo>
                  <a:pt x="5465893" y="1728424"/>
                  <a:pt x="5467387" y="1725579"/>
                  <a:pt x="5468881" y="1722876"/>
                </a:cubicBezTo>
                <a:lnTo>
                  <a:pt x="5473789" y="1715336"/>
                </a:lnTo>
                <a:lnTo>
                  <a:pt x="5474430" y="1721311"/>
                </a:lnTo>
                <a:cubicBezTo>
                  <a:pt x="5475710" y="1721311"/>
                  <a:pt x="5476991" y="1720173"/>
                  <a:pt x="5476991" y="1720173"/>
                </a:cubicBezTo>
                <a:lnTo>
                  <a:pt x="5477632" y="1723730"/>
                </a:lnTo>
                <a:lnTo>
                  <a:pt x="5479552" y="1723445"/>
                </a:lnTo>
                <a:lnTo>
                  <a:pt x="5487022" y="1724583"/>
                </a:lnTo>
                <a:lnTo>
                  <a:pt x="5487022" y="1722592"/>
                </a:lnTo>
                <a:lnTo>
                  <a:pt x="5481686" y="1720458"/>
                </a:lnTo>
                <a:lnTo>
                  <a:pt x="5473789" y="1715336"/>
                </a:lnTo>
                <a:lnTo>
                  <a:pt x="5472296" y="1714340"/>
                </a:lnTo>
                <a:cubicBezTo>
                  <a:pt x="5468881" y="1712348"/>
                  <a:pt x="5465466" y="1710214"/>
                  <a:pt x="5461411" y="1708649"/>
                </a:cubicBezTo>
                <a:cubicBezTo>
                  <a:pt x="5464613" y="1693426"/>
                  <a:pt x="5456930" y="1689585"/>
                  <a:pt x="5452875" y="1682614"/>
                </a:cubicBezTo>
                <a:cubicBezTo>
                  <a:pt x="5459704" y="1673509"/>
                  <a:pt x="5460344" y="1659140"/>
                  <a:pt x="5465039" y="1647332"/>
                </a:cubicBezTo>
                <a:cubicBezTo>
                  <a:pt x="5478698" y="1641071"/>
                  <a:pt x="5488516" y="1632109"/>
                  <a:pt x="5502388" y="1625707"/>
                </a:cubicBezTo>
                <a:cubicBezTo>
                  <a:pt x="5505376" y="1627983"/>
                  <a:pt x="5509217" y="1629263"/>
                  <a:pt x="5513273" y="1630402"/>
                </a:cubicBezTo>
                <a:lnTo>
                  <a:pt x="5522236" y="1632394"/>
                </a:lnTo>
                <a:lnTo>
                  <a:pt x="5520742" y="1627129"/>
                </a:lnTo>
                <a:cubicBezTo>
                  <a:pt x="5519675" y="1625137"/>
                  <a:pt x="5518821" y="1622861"/>
                  <a:pt x="5519035" y="1618166"/>
                </a:cubicBezTo>
                <a:cubicBezTo>
                  <a:pt x="5519248" y="1606215"/>
                  <a:pt x="5527144" y="1604082"/>
                  <a:pt x="5532907" y="1604651"/>
                </a:cubicBezTo>
                <a:cubicBezTo>
                  <a:pt x="5532694" y="1604935"/>
                  <a:pt x="5533334" y="1605220"/>
                  <a:pt x="5533974" y="1605505"/>
                </a:cubicBezTo>
                <a:lnTo>
                  <a:pt x="5536322" y="1606642"/>
                </a:lnTo>
                <a:lnTo>
                  <a:pt x="5539950" y="1605078"/>
                </a:lnTo>
                <a:cubicBezTo>
                  <a:pt x="5541017" y="1605220"/>
                  <a:pt x="5542084" y="1605931"/>
                  <a:pt x="5543578" y="1606927"/>
                </a:cubicBezTo>
                <a:cubicBezTo>
                  <a:pt x="5544645" y="1606927"/>
                  <a:pt x="5546353" y="1611622"/>
                  <a:pt x="5545499" y="1612902"/>
                </a:cubicBezTo>
                <a:lnTo>
                  <a:pt x="5544645" y="1613899"/>
                </a:lnTo>
                <a:lnTo>
                  <a:pt x="5546353" y="1621012"/>
                </a:lnTo>
                <a:cubicBezTo>
                  <a:pt x="5546353" y="1622577"/>
                  <a:pt x="5545926" y="1623999"/>
                  <a:pt x="5545712" y="1625422"/>
                </a:cubicBezTo>
                <a:cubicBezTo>
                  <a:pt x="5546139" y="1623003"/>
                  <a:pt x="5546779" y="1620300"/>
                  <a:pt x="5547419" y="1618593"/>
                </a:cubicBezTo>
                <a:lnTo>
                  <a:pt x="5548486" y="1616174"/>
                </a:lnTo>
                <a:lnTo>
                  <a:pt x="5547206" y="1616174"/>
                </a:lnTo>
                <a:lnTo>
                  <a:pt x="5548700" y="1614894"/>
                </a:lnTo>
                <a:lnTo>
                  <a:pt x="5548700" y="1614609"/>
                </a:lnTo>
                <a:cubicBezTo>
                  <a:pt x="5549981" y="1614609"/>
                  <a:pt x="5549981" y="1613471"/>
                  <a:pt x="5548913" y="1613471"/>
                </a:cubicBezTo>
                <a:cubicBezTo>
                  <a:pt x="5550194" y="1611764"/>
                  <a:pt x="5551261" y="1610199"/>
                  <a:pt x="5552115" y="1609488"/>
                </a:cubicBezTo>
                <a:lnTo>
                  <a:pt x="5553182" y="1609630"/>
                </a:lnTo>
                <a:lnTo>
                  <a:pt x="5553182" y="1602943"/>
                </a:lnTo>
                <a:lnTo>
                  <a:pt x="5553395" y="1601094"/>
                </a:lnTo>
                <a:lnTo>
                  <a:pt x="5552755" y="1600525"/>
                </a:lnTo>
                <a:lnTo>
                  <a:pt x="5553609" y="1599529"/>
                </a:lnTo>
                <a:lnTo>
                  <a:pt x="5554676" y="1593554"/>
                </a:lnTo>
                <a:cubicBezTo>
                  <a:pt x="5555743" y="1590993"/>
                  <a:pt x="5557237" y="1589286"/>
                  <a:pt x="5559798" y="1589001"/>
                </a:cubicBezTo>
                <a:close/>
                <a:moveTo>
                  <a:pt x="1054246" y="1588639"/>
                </a:moveTo>
                <a:cubicBezTo>
                  <a:pt x="1058170" y="1587090"/>
                  <a:pt x="1065501" y="1590652"/>
                  <a:pt x="1063436" y="1596074"/>
                </a:cubicBezTo>
                <a:cubicBezTo>
                  <a:pt x="1061577" y="1597777"/>
                  <a:pt x="1059512" y="1599327"/>
                  <a:pt x="1055279" y="1598242"/>
                </a:cubicBezTo>
                <a:cubicBezTo>
                  <a:pt x="1054143" y="1596848"/>
                  <a:pt x="1053420" y="1595609"/>
                  <a:pt x="1053317" y="1594060"/>
                </a:cubicBezTo>
                <a:cubicBezTo>
                  <a:pt x="1053110" y="1592511"/>
                  <a:pt x="1053420" y="1590808"/>
                  <a:pt x="1054246" y="1588639"/>
                </a:cubicBezTo>
                <a:close/>
                <a:moveTo>
                  <a:pt x="5032438" y="1588290"/>
                </a:moveTo>
                <a:cubicBezTo>
                  <a:pt x="5037347" y="1588432"/>
                  <a:pt x="5040334" y="1590282"/>
                  <a:pt x="5042682" y="1591277"/>
                </a:cubicBezTo>
                <a:lnTo>
                  <a:pt x="5042468" y="1599529"/>
                </a:lnTo>
                <a:lnTo>
                  <a:pt x="5048871" y="1603940"/>
                </a:lnTo>
                <a:cubicBezTo>
                  <a:pt x="5048658" y="1612476"/>
                  <a:pt x="5035852" y="1621154"/>
                  <a:pt x="5029023" y="1620443"/>
                </a:cubicBezTo>
                <a:lnTo>
                  <a:pt x="5026889" y="1617171"/>
                </a:lnTo>
                <a:lnTo>
                  <a:pt x="5025608" y="1617881"/>
                </a:lnTo>
                <a:lnTo>
                  <a:pt x="5020486" y="1619446"/>
                </a:lnTo>
                <a:lnTo>
                  <a:pt x="5020913" y="1620016"/>
                </a:lnTo>
                <a:cubicBezTo>
                  <a:pt x="5021126" y="1621012"/>
                  <a:pt x="5020700" y="1622292"/>
                  <a:pt x="5019633" y="1623288"/>
                </a:cubicBezTo>
                <a:cubicBezTo>
                  <a:pt x="5017498" y="1626702"/>
                  <a:pt x="5013870" y="1626560"/>
                  <a:pt x="5010455" y="1625280"/>
                </a:cubicBezTo>
                <a:cubicBezTo>
                  <a:pt x="5008108" y="1626276"/>
                  <a:pt x="5007041" y="1628694"/>
                  <a:pt x="5004693" y="1627414"/>
                </a:cubicBezTo>
                <a:cubicBezTo>
                  <a:pt x="5007894" y="1625137"/>
                  <a:pt x="5009175" y="1623999"/>
                  <a:pt x="5011522" y="1622861"/>
                </a:cubicBezTo>
                <a:cubicBezTo>
                  <a:pt x="5011309" y="1621723"/>
                  <a:pt x="5011309" y="1620585"/>
                  <a:pt x="5012590" y="1619446"/>
                </a:cubicBezTo>
                <a:lnTo>
                  <a:pt x="5014724" y="1618451"/>
                </a:lnTo>
                <a:lnTo>
                  <a:pt x="5014297" y="1617028"/>
                </a:lnTo>
                <a:cubicBezTo>
                  <a:pt x="5013870" y="1615890"/>
                  <a:pt x="5013443" y="1614894"/>
                  <a:pt x="5012590" y="1613756"/>
                </a:cubicBezTo>
                <a:cubicBezTo>
                  <a:pt x="5016005" y="1613044"/>
                  <a:pt x="5018779" y="1611907"/>
                  <a:pt x="5021126" y="1610910"/>
                </a:cubicBezTo>
                <a:lnTo>
                  <a:pt x="5024754" y="1610342"/>
                </a:lnTo>
                <a:lnTo>
                  <a:pt x="5024754" y="1609915"/>
                </a:lnTo>
                <a:cubicBezTo>
                  <a:pt x="5025181" y="1607496"/>
                  <a:pt x="5026462" y="1605362"/>
                  <a:pt x="5028169" y="1603513"/>
                </a:cubicBezTo>
                <a:lnTo>
                  <a:pt x="5030090" y="1602232"/>
                </a:lnTo>
                <a:cubicBezTo>
                  <a:pt x="5027529" y="1598960"/>
                  <a:pt x="5027529" y="1592842"/>
                  <a:pt x="5032438" y="1588290"/>
                </a:cubicBezTo>
                <a:close/>
                <a:moveTo>
                  <a:pt x="4701637" y="1588290"/>
                </a:moveTo>
                <a:cubicBezTo>
                  <a:pt x="4702917" y="1589286"/>
                  <a:pt x="4705692" y="1592700"/>
                  <a:pt x="4703771" y="1596257"/>
                </a:cubicBezTo>
                <a:cubicBezTo>
                  <a:pt x="4702917" y="1598106"/>
                  <a:pt x="4702917" y="1599956"/>
                  <a:pt x="4702917" y="1601663"/>
                </a:cubicBezTo>
                <a:lnTo>
                  <a:pt x="4702491" y="1603797"/>
                </a:lnTo>
                <a:lnTo>
                  <a:pt x="4703984" y="1602517"/>
                </a:lnTo>
                <a:cubicBezTo>
                  <a:pt x="4713802" y="1595688"/>
                  <a:pt x="4724900" y="1591420"/>
                  <a:pt x="4736211" y="1592842"/>
                </a:cubicBezTo>
                <a:cubicBezTo>
                  <a:pt x="4754992" y="1595119"/>
                  <a:pt x="4758407" y="1610199"/>
                  <a:pt x="4771852" y="1621723"/>
                </a:cubicBezTo>
                <a:cubicBezTo>
                  <a:pt x="4768010" y="1628694"/>
                  <a:pt x="4767797" y="1633531"/>
                  <a:pt x="4768651" y="1637799"/>
                </a:cubicBezTo>
                <a:lnTo>
                  <a:pt x="4769505" y="1640787"/>
                </a:lnTo>
                <a:lnTo>
                  <a:pt x="4776121" y="1643063"/>
                </a:lnTo>
                <a:cubicBezTo>
                  <a:pt x="4775907" y="1647189"/>
                  <a:pt x="4775480" y="1650034"/>
                  <a:pt x="4774626" y="1651884"/>
                </a:cubicBezTo>
                <a:lnTo>
                  <a:pt x="4771425" y="1654871"/>
                </a:lnTo>
                <a:lnTo>
                  <a:pt x="4772493" y="1656863"/>
                </a:lnTo>
                <a:cubicBezTo>
                  <a:pt x="4773986" y="1665115"/>
                  <a:pt x="4766517" y="1673082"/>
                  <a:pt x="4761181" y="1678488"/>
                </a:cubicBezTo>
                <a:cubicBezTo>
                  <a:pt x="4757553" y="1682614"/>
                  <a:pt x="4753284" y="1686455"/>
                  <a:pt x="4749443" y="1686455"/>
                </a:cubicBezTo>
                <a:cubicBezTo>
                  <a:pt x="4748376" y="1686455"/>
                  <a:pt x="4747095" y="1686029"/>
                  <a:pt x="4745815" y="1684890"/>
                </a:cubicBezTo>
                <a:lnTo>
                  <a:pt x="4744748" y="1683468"/>
                </a:lnTo>
                <a:lnTo>
                  <a:pt x="4743040" y="1682756"/>
                </a:lnTo>
                <a:lnTo>
                  <a:pt x="4731089" y="1685602"/>
                </a:lnTo>
                <a:lnTo>
                  <a:pt x="4735571" y="1686313"/>
                </a:lnTo>
                <a:cubicBezTo>
                  <a:pt x="4734504" y="1686313"/>
                  <a:pt x="4734504" y="1686313"/>
                  <a:pt x="4734504" y="1686313"/>
                </a:cubicBezTo>
                <a:cubicBezTo>
                  <a:pt x="4733437" y="1687451"/>
                  <a:pt x="4734504" y="1687594"/>
                  <a:pt x="4734504" y="1688732"/>
                </a:cubicBezTo>
                <a:cubicBezTo>
                  <a:pt x="4734504" y="1688732"/>
                  <a:pt x="4734504" y="1687451"/>
                  <a:pt x="4735784" y="1688732"/>
                </a:cubicBezTo>
                <a:cubicBezTo>
                  <a:pt x="4734504" y="1688732"/>
                  <a:pt x="4734717" y="1690012"/>
                  <a:pt x="4734717" y="1691150"/>
                </a:cubicBezTo>
                <a:cubicBezTo>
                  <a:pt x="4732369" y="1693426"/>
                  <a:pt x="4729168" y="1695703"/>
                  <a:pt x="4726607" y="1694423"/>
                </a:cubicBezTo>
                <a:cubicBezTo>
                  <a:pt x="4725540" y="1693142"/>
                  <a:pt x="4725113" y="1692004"/>
                  <a:pt x="4725113" y="1690866"/>
                </a:cubicBezTo>
                <a:lnTo>
                  <a:pt x="4725967" y="1689301"/>
                </a:lnTo>
                <a:lnTo>
                  <a:pt x="4724259" y="1687309"/>
                </a:lnTo>
                <a:lnTo>
                  <a:pt x="4710600" y="1690724"/>
                </a:lnTo>
                <a:cubicBezTo>
                  <a:pt x="4701851" y="1678346"/>
                  <a:pt x="4677947" y="1675928"/>
                  <a:pt x="4676027" y="1657717"/>
                </a:cubicBezTo>
                <a:lnTo>
                  <a:pt x="4676454" y="1656152"/>
                </a:lnTo>
                <a:lnTo>
                  <a:pt x="4674959" y="1654587"/>
                </a:lnTo>
                <a:cubicBezTo>
                  <a:pt x="4673466" y="1652169"/>
                  <a:pt x="4672825" y="1649323"/>
                  <a:pt x="4673039" y="1646193"/>
                </a:cubicBezTo>
                <a:cubicBezTo>
                  <a:pt x="4674319" y="1644770"/>
                  <a:pt x="4676240" y="1643917"/>
                  <a:pt x="4678374" y="1643490"/>
                </a:cubicBezTo>
                <a:lnTo>
                  <a:pt x="4679655" y="1643490"/>
                </a:lnTo>
                <a:lnTo>
                  <a:pt x="4679868" y="1641071"/>
                </a:lnTo>
                <a:cubicBezTo>
                  <a:pt x="4679655" y="1636519"/>
                  <a:pt x="4678801" y="1632394"/>
                  <a:pt x="4679442" y="1627556"/>
                </a:cubicBezTo>
                <a:cubicBezTo>
                  <a:pt x="4682642" y="1623146"/>
                  <a:pt x="4686271" y="1618593"/>
                  <a:pt x="4690326" y="1614325"/>
                </a:cubicBezTo>
                <a:lnTo>
                  <a:pt x="4700570" y="1605505"/>
                </a:lnTo>
                <a:lnTo>
                  <a:pt x="4700570" y="1597110"/>
                </a:lnTo>
                <a:cubicBezTo>
                  <a:pt x="4700356" y="1594265"/>
                  <a:pt x="4700143" y="1591277"/>
                  <a:pt x="4701637" y="1588290"/>
                </a:cubicBezTo>
                <a:close/>
                <a:moveTo>
                  <a:pt x="1378780" y="1588174"/>
                </a:moveTo>
                <a:lnTo>
                  <a:pt x="1378884" y="1589568"/>
                </a:lnTo>
                <a:lnTo>
                  <a:pt x="1379194" y="1589258"/>
                </a:lnTo>
                <a:cubicBezTo>
                  <a:pt x="1379297" y="1589104"/>
                  <a:pt x="1379400" y="1588794"/>
                  <a:pt x="1379710" y="1588639"/>
                </a:cubicBezTo>
                <a:lnTo>
                  <a:pt x="1380123" y="1588484"/>
                </a:lnTo>
                <a:close/>
                <a:moveTo>
                  <a:pt x="5073841" y="1587436"/>
                </a:moveTo>
                <a:cubicBezTo>
                  <a:pt x="5074695" y="1589712"/>
                  <a:pt x="5074268" y="1591420"/>
                  <a:pt x="5073628" y="1592842"/>
                </a:cubicBezTo>
                <a:cubicBezTo>
                  <a:pt x="5073841" y="1591847"/>
                  <a:pt x="5074481" y="1590993"/>
                  <a:pt x="5075335" y="1590282"/>
                </a:cubicBezTo>
                <a:lnTo>
                  <a:pt x="5080671" y="1592273"/>
                </a:lnTo>
                <a:lnTo>
                  <a:pt x="5081738" y="1591562"/>
                </a:lnTo>
                <a:cubicBezTo>
                  <a:pt x="5087286" y="1589428"/>
                  <a:pt x="5093262" y="1588717"/>
                  <a:pt x="5097317" y="1589001"/>
                </a:cubicBezTo>
                <a:cubicBezTo>
                  <a:pt x="5095823" y="1591989"/>
                  <a:pt x="5093902" y="1594550"/>
                  <a:pt x="5091555" y="1596684"/>
                </a:cubicBezTo>
                <a:lnTo>
                  <a:pt x="5085152" y="1600809"/>
                </a:lnTo>
                <a:lnTo>
                  <a:pt x="5085793" y="1604366"/>
                </a:lnTo>
                <a:lnTo>
                  <a:pt x="5089207" y="1599102"/>
                </a:lnTo>
                <a:cubicBezTo>
                  <a:pt x="5094756" y="1593127"/>
                  <a:pt x="5102866" y="1591989"/>
                  <a:pt x="5111189" y="1590851"/>
                </a:cubicBezTo>
                <a:cubicBezTo>
                  <a:pt x="5110976" y="1596826"/>
                  <a:pt x="5106708" y="1600951"/>
                  <a:pt x="5101372" y="1603370"/>
                </a:cubicBezTo>
                <a:lnTo>
                  <a:pt x="5086006" y="1606500"/>
                </a:lnTo>
                <a:lnTo>
                  <a:pt x="5086006" y="1610057"/>
                </a:lnTo>
                <a:cubicBezTo>
                  <a:pt x="5084085" y="1611622"/>
                  <a:pt x="5082591" y="1611764"/>
                  <a:pt x="5080884" y="1611053"/>
                </a:cubicBezTo>
                <a:lnTo>
                  <a:pt x="5078536" y="1609204"/>
                </a:lnTo>
                <a:lnTo>
                  <a:pt x="5077896" y="1616459"/>
                </a:lnTo>
                <a:cubicBezTo>
                  <a:pt x="5074055" y="1613187"/>
                  <a:pt x="5074481" y="1607923"/>
                  <a:pt x="5065304" y="1607354"/>
                </a:cubicBezTo>
                <a:lnTo>
                  <a:pt x="5069146" y="1603513"/>
                </a:lnTo>
                <a:lnTo>
                  <a:pt x="5068505" y="1603370"/>
                </a:lnTo>
                <a:lnTo>
                  <a:pt x="5072987" y="1597537"/>
                </a:lnTo>
                <a:lnTo>
                  <a:pt x="5073414" y="1595830"/>
                </a:lnTo>
                <a:cubicBezTo>
                  <a:pt x="5073414" y="1595119"/>
                  <a:pt x="5073414" y="1594265"/>
                  <a:pt x="5073628" y="1593412"/>
                </a:cubicBezTo>
                <a:cubicBezTo>
                  <a:pt x="5072987" y="1594976"/>
                  <a:pt x="5071707" y="1596114"/>
                  <a:pt x="5070426" y="1597253"/>
                </a:cubicBezTo>
                <a:cubicBezTo>
                  <a:pt x="5068505" y="1598818"/>
                  <a:pt x="5068079" y="1599813"/>
                  <a:pt x="5068079" y="1602517"/>
                </a:cubicBezTo>
                <a:cubicBezTo>
                  <a:pt x="5068079" y="1602517"/>
                  <a:pt x="5068079" y="1602517"/>
                  <a:pt x="5065091" y="1603370"/>
                </a:cubicBezTo>
                <a:lnTo>
                  <a:pt x="5064024" y="1602801"/>
                </a:lnTo>
                <a:cubicBezTo>
                  <a:pt x="5063597" y="1602232"/>
                  <a:pt x="5063810" y="1601378"/>
                  <a:pt x="5064237" y="1600098"/>
                </a:cubicBezTo>
                <a:cubicBezTo>
                  <a:pt x="5065517" y="1596541"/>
                  <a:pt x="5069573" y="1591135"/>
                  <a:pt x="5069786" y="1590424"/>
                </a:cubicBezTo>
                <a:cubicBezTo>
                  <a:pt x="5069786" y="1590424"/>
                  <a:pt x="5070213" y="1589428"/>
                  <a:pt x="5070640" y="1588290"/>
                </a:cubicBezTo>
                <a:cubicBezTo>
                  <a:pt x="5072347" y="1587863"/>
                  <a:pt x="5073414" y="1588432"/>
                  <a:pt x="5073841" y="1587436"/>
                </a:cubicBezTo>
                <a:close/>
                <a:moveTo>
                  <a:pt x="5569402" y="1587010"/>
                </a:moveTo>
                <a:cubicBezTo>
                  <a:pt x="5571109" y="1586725"/>
                  <a:pt x="5573030" y="1587010"/>
                  <a:pt x="5574737" y="1587720"/>
                </a:cubicBezTo>
                <a:cubicBezTo>
                  <a:pt x="5573670" y="1587720"/>
                  <a:pt x="5573670" y="1587720"/>
                  <a:pt x="5573670" y="1587720"/>
                </a:cubicBezTo>
                <a:cubicBezTo>
                  <a:pt x="5572390" y="1588859"/>
                  <a:pt x="5573457" y="1588859"/>
                  <a:pt x="5573457" y="1590139"/>
                </a:cubicBezTo>
                <a:cubicBezTo>
                  <a:pt x="5573457" y="1590139"/>
                  <a:pt x="5573457" y="1588859"/>
                  <a:pt x="5574524" y="1590139"/>
                </a:cubicBezTo>
                <a:cubicBezTo>
                  <a:pt x="5573243" y="1590139"/>
                  <a:pt x="5573243" y="1591277"/>
                  <a:pt x="5573243" y="1592558"/>
                </a:cubicBezTo>
                <a:cubicBezTo>
                  <a:pt x="5570683" y="1594834"/>
                  <a:pt x="5566840" y="1597253"/>
                  <a:pt x="5564707" y="1596114"/>
                </a:cubicBezTo>
                <a:cubicBezTo>
                  <a:pt x="5562572" y="1593554"/>
                  <a:pt x="5563853" y="1591135"/>
                  <a:pt x="5565133" y="1589855"/>
                </a:cubicBezTo>
                <a:cubicBezTo>
                  <a:pt x="5565987" y="1588147"/>
                  <a:pt x="5567481" y="1587294"/>
                  <a:pt x="5569402" y="1587010"/>
                </a:cubicBezTo>
                <a:close/>
                <a:moveTo>
                  <a:pt x="5351927" y="1587010"/>
                </a:moveTo>
                <a:cubicBezTo>
                  <a:pt x="5354701" y="1594976"/>
                  <a:pt x="5354061" y="1598818"/>
                  <a:pt x="5351927" y="1600241"/>
                </a:cubicBezTo>
                <a:cubicBezTo>
                  <a:pt x="5345951" y="1604366"/>
                  <a:pt x="5327384" y="1585871"/>
                  <a:pt x="5351927" y="1587010"/>
                </a:cubicBezTo>
                <a:close/>
                <a:moveTo>
                  <a:pt x="4583829" y="1586867"/>
                </a:moveTo>
                <a:cubicBezTo>
                  <a:pt x="4585110" y="1586867"/>
                  <a:pt x="4586177" y="1587152"/>
                  <a:pt x="4587031" y="1587578"/>
                </a:cubicBezTo>
                <a:cubicBezTo>
                  <a:pt x="4586391" y="1589997"/>
                  <a:pt x="4585536" y="1592415"/>
                  <a:pt x="4584683" y="1594834"/>
                </a:cubicBezTo>
                <a:cubicBezTo>
                  <a:pt x="4584470" y="1593696"/>
                  <a:pt x="4574439" y="1596541"/>
                  <a:pt x="4574439" y="1596541"/>
                </a:cubicBezTo>
                <a:cubicBezTo>
                  <a:pt x="4571877" y="1594407"/>
                  <a:pt x="4571877" y="1594407"/>
                  <a:pt x="4573585" y="1590709"/>
                </a:cubicBezTo>
                <a:cubicBezTo>
                  <a:pt x="4574652" y="1589428"/>
                  <a:pt x="4577000" y="1588147"/>
                  <a:pt x="4579774" y="1587436"/>
                </a:cubicBezTo>
                <a:cubicBezTo>
                  <a:pt x="4581055" y="1587010"/>
                  <a:pt x="4582548" y="1586867"/>
                  <a:pt x="4583829" y="1586867"/>
                </a:cubicBezTo>
                <a:close/>
                <a:moveTo>
                  <a:pt x="1694641" y="1586625"/>
                </a:moveTo>
                <a:cubicBezTo>
                  <a:pt x="1696810" y="1587245"/>
                  <a:pt x="1698255" y="1588639"/>
                  <a:pt x="1699081" y="1590188"/>
                </a:cubicBezTo>
                <a:lnTo>
                  <a:pt x="1699288" y="1593441"/>
                </a:lnTo>
                <a:lnTo>
                  <a:pt x="1700527" y="1593131"/>
                </a:lnTo>
                <a:cubicBezTo>
                  <a:pt x="1708891" y="1594990"/>
                  <a:pt x="1715602" y="1606297"/>
                  <a:pt x="1715705" y="1615901"/>
                </a:cubicBezTo>
                <a:lnTo>
                  <a:pt x="1715396" y="1618379"/>
                </a:lnTo>
                <a:lnTo>
                  <a:pt x="1716325" y="1618534"/>
                </a:lnTo>
                <a:cubicBezTo>
                  <a:pt x="1718906" y="1619153"/>
                  <a:pt x="1721178" y="1620083"/>
                  <a:pt x="1722417" y="1620857"/>
                </a:cubicBezTo>
                <a:cubicBezTo>
                  <a:pt x="1714776" y="1622871"/>
                  <a:pt x="1701973" y="1625659"/>
                  <a:pt x="1695054" y="1622871"/>
                </a:cubicBezTo>
                <a:lnTo>
                  <a:pt x="1698668" y="1618998"/>
                </a:lnTo>
                <a:lnTo>
                  <a:pt x="1693712" y="1613887"/>
                </a:lnTo>
                <a:cubicBezTo>
                  <a:pt x="1692060" y="1611408"/>
                  <a:pt x="1690924" y="1608620"/>
                  <a:pt x="1690408" y="1605832"/>
                </a:cubicBezTo>
                <a:lnTo>
                  <a:pt x="1690201" y="1601030"/>
                </a:lnTo>
                <a:lnTo>
                  <a:pt x="1686897" y="1598087"/>
                </a:lnTo>
                <a:cubicBezTo>
                  <a:pt x="1686071" y="1596229"/>
                  <a:pt x="1685761" y="1594060"/>
                  <a:pt x="1686071" y="1592047"/>
                </a:cubicBezTo>
                <a:cubicBezTo>
                  <a:pt x="1686277" y="1590652"/>
                  <a:pt x="1686691" y="1589568"/>
                  <a:pt x="1687413" y="1588794"/>
                </a:cubicBezTo>
                <a:cubicBezTo>
                  <a:pt x="1689892" y="1588019"/>
                  <a:pt x="1692266" y="1587400"/>
                  <a:pt x="1694641" y="1586625"/>
                </a:cubicBezTo>
                <a:close/>
                <a:moveTo>
                  <a:pt x="4026163" y="1585587"/>
                </a:moveTo>
                <a:cubicBezTo>
                  <a:pt x="4037688" y="1586156"/>
                  <a:pt x="4048572" y="1594550"/>
                  <a:pt x="4052628" y="1605362"/>
                </a:cubicBezTo>
                <a:cubicBezTo>
                  <a:pt x="4053481" y="1607781"/>
                  <a:pt x="4054122" y="1610342"/>
                  <a:pt x="4054122" y="1612902"/>
                </a:cubicBezTo>
                <a:lnTo>
                  <a:pt x="4053268" y="1620300"/>
                </a:lnTo>
                <a:lnTo>
                  <a:pt x="4054975" y="1620443"/>
                </a:lnTo>
                <a:cubicBezTo>
                  <a:pt x="4058603" y="1621865"/>
                  <a:pt x="4059243" y="1625565"/>
                  <a:pt x="4057963" y="1631397"/>
                </a:cubicBezTo>
                <a:cubicBezTo>
                  <a:pt x="4055402" y="1632109"/>
                  <a:pt x="4053695" y="1633816"/>
                  <a:pt x="4050280" y="1635381"/>
                </a:cubicBezTo>
                <a:cubicBezTo>
                  <a:pt x="4049213" y="1634100"/>
                  <a:pt x="4048146" y="1631539"/>
                  <a:pt x="4048146" y="1628552"/>
                </a:cubicBezTo>
                <a:lnTo>
                  <a:pt x="4049853" y="1621865"/>
                </a:lnTo>
                <a:lnTo>
                  <a:pt x="4040676" y="1624426"/>
                </a:lnTo>
                <a:cubicBezTo>
                  <a:pt x="4036834" y="1624710"/>
                  <a:pt x="4032993" y="1623999"/>
                  <a:pt x="4029578" y="1622577"/>
                </a:cubicBezTo>
                <a:cubicBezTo>
                  <a:pt x="4018054" y="1618024"/>
                  <a:pt x="4010584" y="1605220"/>
                  <a:pt x="4011864" y="1590424"/>
                </a:cubicBezTo>
                <a:cubicBezTo>
                  <a:pt x="4013358" y="1589855"/>
                  <a:pt x="4015066" y="1589286"/>
                  <a:pt x="4014639" y="1587720"/>
                </a:cubicBezTo>
                <a:cubicBezTo>
                  <a:pt x="4018267" y="1586014"/>
                  <a:pt x="4022322" y="1585302"/>
                  <a:pt x="4026163" y="1585587"/>
                </a:cubicBezTo>
                <a:close/>
                <a:moveTo>
                  <a:pt x="1723346" y="1584921"/>
                </a:moveTo>
                <a:cubicBezTo>
                  <a:pt x="1725308" y="1586316"/>
                  <a:pt x="1725618" y="1587864"/>
                  <a:pt x="1725308" y="1589878"/>
                </a:cubicBezTo>
                <a:lnTo>
                  <a:pt x="1724586" y="1592356"/>
                </a:lnTo>
                <a:lnTo>
                  <a:pt x="1724896" y="1592666"/>
                </a:lnTo>
                <a:cubicBezTo>
                  <a:pt x="1725515" y="1594370"/>
                  <a:pt x="1725721" y="1596539"/>
                  <a:pt x="1724999" y="1599172"/>
                </a:cubicBezTo>
                <a:cubicBezTo>
                  <a:pt x="1722521" y="1603199"/>
                  <a:pt x="1712814" y="1602580"/>
                  <a:pt x="1710956" y="1598862"/>
                </a:cubicBezTo>
                <a:cubicBezTo>
                  <a:pt x="1711266" y="1596539"/>
                  <a:pt x="1711678" y="1594060"/>
                  <a:pt x="1711988" y="1591737"/>
                </a:cubicBezTo>
                <a:lnTo>
                  <a:pt x="1714983" y="1590033"/>
                </a:lnTo>
                <a:cubicBezTo>
                  <a:pt x="1715189" y="1588794"/>
                  <a:pt x="1715809" y="1587554"/>
                  <a:pt x="1717048" y="1586160"/>
                </a:cubicBezTo>
                <a:cubicBezTo>
                  <a:pt x="1717048" y="1584921"/>
                  <a:pt x="1722107" y="1583682"/>
                  <a:pt x="1723346" y="1584921"/>
                </a:cubicBezTo>
                <a:close/>
                <a:moveTo>
                  <a:pt x="4962436" y="1584875"/>
                </a:moveTo>
                <a:cubicBezTo>
                  <a:pt x="4962436" y="1586156"/>
                  <a:pt x="4963503" y="1586156"/>
                  <a:pt x="4963503" y="1587294"/>
                </a:cubicBezTo>
                <a:cubicBezTo>
                  <a:pt x="4964997" y="1589855"/>
                  <a:pt x="4964997" y="1589855"/>
                  <a:pt x="4963716" y="1591135"/>
                </a:cubicBezTo>
                <a:cubicBezTo>
                  <a:pt x="4962650" y="1592273"/>
                  <a:pt x="4959021" y="1590851"/>
                  <a:pt x="4957954" y="1591989"/>
                </a:cubicBezTo>
                <a:cubicBezTo>
                  <a:pt x="4957954" y="1591989"/>
                  <a:pt x="4957954" y="1591989"/>
                  <a:pt x="4956674" y="1589428"/>
                </a:cubicBezTo>
                <a:cubicBezTo>
                  <a:pt x="4956460" y="1588290"/>
                  <a:pt x="4956460" y="1587010"/>
                  <a:pt x="4957741" y="1585871"/>
                </a:cubicBezTo>
                <a:cubicBezTo>
                  <a:pt x="4958808" y="1584591"/>
                  <a:pt x="4961155" y="1584733"/>
                  <a:pt x="4962436" y="1584875"/>
                </a:cubicBezTo>
                <a:close/>
                <a:moveTo>
                  <a:pt x="1410067" y="1584147"/>
                </a:moveTo>
                <a:lnTo>
                  <a:pt x="1411100" y="1587245"/>
                </a:lnTo>
                <a:lnTo>
                  <a:pt x="1414301" y="1587864"/>
                </a:lnTo>
                <a:lnTo>
                  <a:pt x="1413991" y="1586935"/>
                </a:lnTo>
                <a:cubicBezTo>
                  <a:pt x="1414198" y="1586470"/>
                  <a:pt x="1414301" y="1585851"/>
                  <a:pt x="1414714" y="1585541"/>
                </a:cubicBezTo>
                <a:cubicBezTo>
                  <a:pt x="1415127" y="1585231"/>
                  <a:pt x="1415746" y="1585076"/>
                  <a:pt x="1416985" y="1585541"/>
                </a:cubicBezTo>
                <a:cubicBezTo>
                  <a:pt x="1418947" y="1585541"/>
                  <a:pt x="1419361" y="1586160"/>
                  <a:pt x="1419361" y="1589258"/>
                </a:cubicBezTo>
                <a:cubicBezTo>
                  <a:pt x="1418740" y="1591582"/>
                  <a:pt x="1418947" y="1593441"/>
                  <a:pt x="1418225" y="1593905"/>
                </a:cubicBezTo>
                <a:cubicBezTo>
                  <a:pt x="1418637" y="1594525"/>
                  <a:pt x="1418431" y="1595609"/>
                  <a:pt x="1418947" y="1596384"/>
                </a:cubicBezTo>
                <a:cubicBezTo>
                  <a:pt x="1418947" y="1596384"/>
                  <a:pt x="1418844" y="1596384"/>
                  <a:pt x="1418121" y="1596848"/>
                </a:cubicBezTo>
                <a:cubicBezTo>
                  <a:pt x="1417605" y="1595144"/>
                  <a:pt x="1416572" y="1593441"/>
                  <a:pt x="1415643" y="1591737"/>
                </a:cubicBezTo>
                <a:lnTo>
                  <a:pt x="1414507" y="1588484"/>
                </a:lnTo>
                <a:lnTo>
                  <a:pt x="1410790" y="1594215"/>
                </a:lnTo>
                <a:cubicBezTo>
                  <a:pt x="1407899" y="1601030"/>
                  <a:pt x="1407176" y="1608620"/>
                  <a:pt x="1401084" y="1611254"/>
                </a:cubicBezTo>
                <a:cubicBezTo>
                  <a:pt x="1401703" y="1608156"/>
                  <a:pt x="1401497" y="1604129"/>
                  <a:pt x="1401497" y="1600411"/>
                </a:cubicBezTo>
                <a:cubicBezTo>
                  <a:pt x="1401497" y="1596539"/>
                  <a:pt x="1401703" y="1592821"/>
                  <a:pt x="1403149" y="1590343"/>
                </a:cubicBezTo>
                <a:lnTo>
                  <a:pt x="1405421" y="1588019"/>
                </a:lnTo>
                <a:lnTo>
                  <a:pt x="1404904" y="1587400"/>
                </a:lnTo>
                <a:cubicBezTo>
                  <a:pt x="1407382" y="1586780"/>
                  <a:pt x="1407589" y="1584921"/>
                  <a:pt x="1410067" y="1584147"/>
                </a:cubicBezTo>
                <a:close/>
                <a:moveTo>
                  <a:pt x="5903190" y="1584022"/>
                </a:moveTo>
                <a:cubicBezTo>
                  <a:pt x="5904044" y="1583879"/>
                  <a:pt x="5905111" y="1584022"/>
                  <a:pt x="5905965" y="1584591"/>
                </a:cubicBezTo>
                <a:cubicBezTo>
                  <a:pt x="5908526" y="1585729"/>
                  <a:pt x="5907672" y="1588147"/>
                  <a:pt x="5905751" y="1590566"/>
                </a:cubicBezTo>
                <a:cubicBezTo>
                  <a:pt x="5903190" y="1596826"/>
                  <a:pt x="5899989" y="1598249"/>
                  <a:pt x="5895934" y="1594834"/>
                </a:cubicBezTo>
                <a:cubicBezTo>
                  <a:pt x="5895720" y="1593696"/>
                  <a:pt x="5896574" y="1589997"/>
                  <a:pt x="5895294" y="1590139"/>
                </a:cubicBezTo>
                <a:cubicBezTo>
                  <a:pt x="5897428" y="1587294"/>
                  <a:pt x="5900203" y="1584306"/>
                  <a:pt x="5903190" y="1584022"/>
                </a:cubicBezTo>
                <a:close/>
                <a:moveTo>
                  <a:pt x="3710089" y="1583737"/>
                </a:moveTo>
                <a:cubicBezTo>
                  <a:pt x="3711369" y="1583595"/>
                  <a:pt x="3712223" y="1583879"/>
                  <a:pt x="3712650" y="1584448"/>
                </a:cubicBezTo>
                <a:cubicBezTo>
                  <a:pt x="3713290" y="1585018"/>
                  <a:pt x="3713290" y="1585871"/>
                  <a:pt x="3713290" y="1587294"/>
                </a:cubicBezTo>
                <a:cubicBezTo>
                  <a:pt x="3710729" y="1592842"/>
                  <a:pt x="3705180" y="1592415"/>
                  <a:pt x="3699418" y="1594550"/>
                </a:cubicBezTo>
                <a:cubicBezTo>
                  <a:pt x="3698778" y="1593554"/>
                  <a:pt x="3697284" y="1593127"/>
                  <a:pt x="3696217" y="1593696"/>
                </a:cubicBezTo>
                <a:cubicBezTo>
                  <a:pt x="3694723" y="1593412"/>
                  <a:pt x="3693015" y="1592984"/>
                  <a:pt x="3693655" y="1593981"/>
                </a:cubicBezTo>
                <a:cubicBezTo>
                  <a:pt x="3688960" y="1592842"/>
                  <a:pt x="3687893" y="1593554"/>
                  <a:pt x="3687466" y="1589855"/>
                </a:cubicBezTo>
                <a:cubicBezTo>
                  <a:pt x="3696217" y="1585729"/>
                  <a:pt x="3707528" y="1584022"/>
                  <a:pt x="3710089" y="1583737"/>
                </a:cubicBezTo>
                <a:close/>
                <a:moveTo>
                  <a:pt x="5260797" y="1583026"/>
                </a:moveTo>
                <a:cubicBezTo>
                  <a:pt x="5265278" y="1585729"/>
                  <a:pt x="5269547" y="1588432"/>
                  <a:pt x="5267626" y="1592700"/>
                </a:cubicBezTo>
                <a:cubicBezTo>
                  <a:pt x="5262077" y="1594265"/>
                  <a:pt x="5256955" y="1589286"/>
                  <a:pt x="5260797" y="1583026"/>
                </a:cubicBezTo>
                <a:close/>
                <a:moveTo>
                  <a:pt x="3783078" y="1582883"/>
                </a:moveTo>
                <a:cubicBezTo>
                  <a:pt x="3785213" y="1583595"/>
                  <a:pt x="3789694" y="1584733"/>
                  <a:pt x="3791401" y="1586583"/>
                </a:cubicBezTo>
                <a:cubicBezTo>
                  <a:pt x="3791828" y="1587294"/>
                  <a:pt x="3792042" y="1588005"/>
                  <a:pt x="3791828" y="1588717"/>
                </a:cubicBezTo>
                <a:cubicBezTo>
                  <a:pt x="3788841" y="1587720"/>
                  <a:pt x="3783718" y="1587578"/>
                  <a:pt x="3783078" y="1582883"/>
                </a:cubicBezTo>
                <a:close/>
                <a:moveTo>
                  <a:pt x="1631035" y="1582598"/>
                </a:moveTo>
                <a:cubicBezTo>
                  <a:pt x="1633410" y="1584302"/>
                  <a:pt x="1637954" y="1581978"/>
                  <a:pt x="1641155" y="1584612"/>
                </a:cubicBezTo>
                <a:cubicBezTo>
                  <a:pt x="1637025" y="1589568"/>
                  <a:pt x="1623291" y="1589104"/>
                  <a:pt x="1621020" y="1586470"/>
                </a:cubicBezTo>
                <a:cubicBezTo>
                  <a:pt x="1623911" y="1584147"/>
                  <a:pt x="1627318" y="1585076"/>
                  <a:pt x="1631035" y="1582598"/>
                </a:cubicBezTo>
                <a:close/>
                <a:moveTo>
                  <a:pt x="1534594" y="1582598"/>
                </a:moveTo>
                <a:cubicBezTo>
                  <a:pt x="1544300" y="1579810"/>
                  <a:pt x="1549257" y="1585696"/>
                  <a:pt x="1554316" y="1591427"/>
                </a:cubicBezTo>
                <a:cubicBezTo>
                  <a:pt x="1546985" y="1596539"/>
                  <a:pt x="1538415" y="1588794"/>
                  <a:pt x="1534594" y="1582598"/>
                </a:cubicBezTo>
                <a:close/>
                <a:moveTo>
                  <a:pt x="1290290" y="1581514"/>
                </a:moveTo>
                <a:cubicBezTo>
                  <a:pt x="1290290" y="1581514"/>
                  <a:pt x="1290290" y="1581669"/>
                  <a:pt x="1290703" y="1582288"/>
                </a:cubicBezTo>
                <a:cubicBezTo>
                  <a:pt x="1290703" y="1582288"/>
                  <a:pt x="1289980" y="1582598"/>
                  <a:pt x="1288948" y="1582443"/>
                </a:cubicBezTo>
                <a:cubicBezTo>
                  <a:pt x="1288948" y="1582443"/>
                  <a:pt x="1288948" y="1582133"/>
                  <a:pt x="1289154" y="1581978"/>
                </a:cubicBezTo>
                <a:cubicBezTo>
                  <a:pt x="1289361" y="1581669"/>
                  <a:pt x="1289774" y="1581514"/>
                  <a:pt x="1290290" y="1581514"/>
                </a:cubicBezTo>
                <a:close/>
                <a:moveTo>
                  <a:pt x="4133940" y="1580465"/>
                </a:moveTo>
                <a:cubicBezTo>
                  <a:pt x="4138422" y="1581318"/>
                  <a:pt x="4143971" y="1581034"/>
                  <a:pt x="4149093" y="1581034"/>
                </a:cubicBezTo>
                <a:cubicBezTo>
                  <a:pt x="4154429" y="1581034"/>
                  <a:pt x="4159337" y="1581318"/>
                  <a:pt x="4162965" y="1583310"/>
                </a:cubicBezTo>
                <a:lnTo>
                  <a:pt x="4166167" y="1586440"/>
                </a:lnTo>
                <a:lnTo>
                  <a:pt x="4166807" y="1585729"/>
                </a:lnTo>
                <a:cubicBezTo>
                  <a:pt x="4167874" y="1589143"/>
                  <a:pt x="4170435" y="1589428"/>
                  <a:pt x="4171289" y="1592700"/>
                </a:cubicBezTo>
                <a:lnTo>
                  <a:pt x="4167020" y="1594123"/>
                </a:lnTo>
                <a:lnTo>
                  <a:pt x="4166167" y="1599387"/>
                </a:lnTo>
                <a:cubicBezTo>
                  <a:pt x="4155922" y="1589570"/>
                  <a:pt x="4138849" y="1591704"/>
                  <a:pt x="4133940" y="1580465"/>
                </a:cubicBezTo>
                <a:close/>
                <a:moveTo>
                  <a:pt x="5411258" y="1580181"/>
                </a:moveTo>
                <a:cubicBezTo>
                  <a:pt x="5413392" y="1582030"/>
                  <a:pt x="5414886" y="1583310"/>
                  <a:pt x="5415313" y="1584875"/>
                </a:cubicBezTo>
                <a:cubicBezTo>
                  <a:pt x="5415526" y="1586298"/>
                  <a:pt x="5415099" y="1588147"/>
                  <a:pt x="5413606" y="1591135"/>
                </a:cubicBezTo>
                <a:cubicBezTo>
                  <a:pt x="5413606" y="1591135"/>
                  <a:pt x="5412538" y="1592273"/>
                  <a:pt x="5412538" y="1592273"/>
                </a:cubicBezTo>
                <a:lnTo>
                  <a:pt x="5406349" y="1596541"/>
                </a:lnTo>
                <a:lnTo>
                  <a:pt x="5405922" y="1599671"/>
                </a:lnTo>
                <a:cubicBezTo>
                  <a:pt x="5399520" y="1602659"/>
                  <a:pt x="5393330" y="1596257"/>
                  <a:pt x="5392904" y="1589855"/>
                </a:cubicBezTo>
                <a:cubicBezTo>
                  <a:pt x="5392904" y="1587863"/>
                  <a:pt x="5393330" y="1585729"/>
                  <a:pt x="5394824" y="1584022"/>
                </a:cubicBezTo>
                <a:cubicBezTo>
                  <a:pt x="5396959" y="1583026"/>
                  <a:pt x="5399093" y="1583026"/>
                  <a:pt x="5400800" y="1583737"/>
                </a:cubicBezTo>
                <a:lnTo>
                  <a:pt x="5402721" y="1585587"/>
                </a:lnTo>
                <a:lnTo>
                  <a:pt x="5405282" y="1583737"/>
                </a:lnTo>
                <a:cubicBezTo>
                  <a:pt x="5407203" y="1582883"/>
                  <a:pt x="5409337" y="1582030"/>
                  <a:pt x="5411258" y="1580181"/>
                </a:cubicBezTo>
                <a:close/>
                <a:moveTo>
                  <a:pt x="3840275" y="1580181"/>
                </a:moveTo>
                <a:cubicBezTo>
                  <a:pt x="3840275" y="1580181"/>
                  <a:pt x="3840702" y="1580181"/>
                  <a:pt x="3840915" y="1580465"/>
                </a:cubicBezTo>
                <a:cubicBezTo>
                  <a:pt x="3841128" y="1580750"/>
                  <a:pt x="3841342" y="1581176"/>
                  <a:pt x="3841128" y="1581888"/>
                </a:cubicBezTo>
                <a:cubicBezTo>
                  <a:pt x="3841128" y="1581888"/>
                  <a:pt x="3841128" y="1582030"/>
                  <a:pt x="3840275" y="1582599"/>
                </a:cubicBezTo>
                <a:cubicBezTo>
                  <a:pt x="3840275" y="1582599"/>
                  <a:pt x="3839848" y="1581603"/>
                  <a:pt x="3840275" y="1580181"/>
                </a:cubicBezTo>
                <a:close/>
                <a:moveTo>
                  <a:pt x="3595269" y="1580181"/>
                </a:moveTo>
                <a:cubicBezTo>
                  <a:pt x="3598470" y="1580750"/>
                  <a:pt x="3602952" y="1581461"/>
                  <a:pt x="3605086" y="1583026"/>
                </a:cubicBezTo>
                <a:cubicBezTo>
                  <a:pt x="3602952" y="1583737"/>
                  <a:pt x="3598257" y="1584164"/>
                  <a:pt x="3596336" y="1581461"/>
                </a:cubicBezTo>
                <a:cubicBezTo>
                  <a:pt x="3596336" y="1581461"/>
                  <a:pt x="3596336" y="1581461"/>
                  <a:pt x="3595269" y="1580181"/>
                </a:cubicBezTo>
                <a:close/>
                <a:moveTo>
                  <a:pt x="4075250" y="1580038"/>
                </a:moveTo>
                <a:cubicBezTo>
                  <a:pt x="4077384" y="1581176"/>
                  <a:pt x="4079945" y="1581461"/>
                  <a:pt x="4081439" y="1583595"/>
                </a:cubicBezTo>
                <a:cubicBezTo>
                  <a:pt x="4082506" y="1586867"/>
                  <a:pt x="4079092" y="1591420"/>
                  <a:pt x="4077171" y="1592984"/>
                </a:cubicBezTo>
                <a:cubicBezTo>
                  <a:pt x="4074183" y="1593838"/>
                  <a:pt x="4071409" y="1590993"/>
                  <a:pt x="4070341" y="1587863"/>
                </a:cubicBezTo>
                <a:cubicBezTo>
                  <a:pt x="4069488" y="1586725"/>
                  <a:pt x="4069488" y="1585302"/>
                  <a:pt x="4069914" y="1584022"/>
                </a:cubicBezTo>
                <a:cubicBezTo>
                  <a:pt x="4070341" y="1582883"/>
                  <a:pt x="4071195" y="1581746"/>
                  <a:pt x="4072262" y="1580892"/>
                </a:cubicBezTo>
                <a:cubicBezTo>
                  <a:pt x="4073756" y="1580465"/>
                  <a:pt x="4073756" y="1580465"/>
                  <a:pt x="4075250" y="1580038"/>
                </a:cubicBezTo>
                <a:close/>
                <a:moveTo>
                  <a:pt x="1193023" y="1579965"/>
                </a:moveTo>
                <a:cubicBezTo>
                  <a:pt x="1194674" y="1581669"/>
                  <a:pt x="1196224" y="1583218"/>
                  <a:pt x="1194468" y="1584921"/>
                </a:cubicBezTo>
                <a:cubicBezTo>
                  <a:pt x="1193539" y="1585851"/>
                  <a:pt x="1192609" y="1586780"/>
                  <a:pt x="1190958" y="1586780"/>
                </a:cubicBezTo>
                <a:cubicBezTo>
                  <a:pt x="1189202" y="1585231"/>
                  <a:pt x="1190235" y="1582598"/>
                  <a:pt x="1189408" y="1581823"/>
                </a:cubicBezTo>
                <a:cubicBezTo>
                  <a:pt x="1190338" y="1581823"/>
                  <a:pt x="1191990" y="1581669"/>
                  <a:pt x="1193023" y="1579965"/>
                </a:cubicBezTo>
                <a:close/>
                <a:moveTo>
                  <a:pt x="4049853" y="1579611"/>
                </a:moveTo>
                <a:cubicBezTo>
                  <a:pt x="4055829" y="1585160"/>
                  <a:pt x="4060524" y="1591135"/>
                  <a:pt x="4070981" y="1595404"/>
                </a:cubicBezTo>
                <a:cubicBezTo>
                  <a:pt x="4069061" y="1598391"/>
                  <a:pt x="4072902" y="1599529"/>
                  <a:pt x="4069914" y="1602943"/>
                </a:cubicBezTo>
                <a:cubicBezTo>
                  <a:pt x="4060951" y="1605646"/>
                  <a:pt x="4043664" y="1591135"/>
                  <a:pt x="4049853" y="1579611"/>
                </a:cubicBezTo>
                <a:close/>
                <a:moveTo>
                  <a:pt x="3640087" y="1579327"/>
                </a:moveTo>
                <a:cubicBezTo>
                  <a:pt x="3641155" y="1578758"/>
                  <a:pt x="3644142" y="1579754"/>
                  <a:pt x="3645636" y="1580323"/>
                </a:cubicBezTo>
                <a:cubicBezTo>
                  <a:pt x="3646703" y="1579754"/>
                  <a:pt x="3648197" y="1580323"/>
                  <a:pt x="3648624" y="1581461"/>
                </a:cubicBezTo>
                <a:cubicBezTo>
                  <a:pt x="3648624" y="1581461"/>
                  <a:pt x="3650118" y="1581888"/>
                  <a:pt x="3651185" y="1581461"/>
                </a:cubicBezTo>
                <a:cubicBezTo>
                  <a:pt x="3654173" y="1582457"/>
                  <a:pt x="3654386" y="1583453"/>
                  <a:pt x="3654813" y="1584448"/>
                </a:cubicBezTo>
                <a:cubicBezTo>
                  <a:pt x="3654813" y="1584448"/>
                  <a:pt x="3653533" y="1584022"/>
                  <a:pt x="3652466" y="1584448"/>
                </a:cubicBezTo>
                <a:cubicBezTo>
                  <a:pt x="3652466" y="1584448"/>
                  <a:pt x="3650758" y="1584022"/>
                  <a:pt x="3649264" y="1583595"/>
                </a:cubicBezTo>
                <a:cubicBezTo>
                  <a:pt x="3649264" y="1583595"/>
                  <a:pt x="3648411" y="1584022"/>
                  <a:pt x="3647343" y="1584448"/>
                </a:cubicBezTo>
                <a:cubicBezTo>
                  <a:pt x="3643288" y="1584022"/>
                  <a:pt x="3640727" y="1584022"/>
                  <a:pt x="3640087" y="1579327"/>
                </a:cubicBezTo>
                <a:close/>
                <a:moveTo>
                  <a:pt x="1468304" y="1579190"/>
                </a:moveTo>
                <a:cubicBezTo>
                  <a:pt x="1465619" y="1588329"/>
                  <a:pt x="1459114" y="1585696"/>
                  <a:pt x="1457462" y="1590808"/>
                </a:cubicBezTo>
                <a:cubicBezTo>
                  <a:pt x="1456016" y="1589413"/>
                  <a:pt x="1456016" y="1589413"/>
                  <a:pt x="1456120" y="1587554"/>
                </a:cubicBezTo>
                <a:cubicBezTo>
                  <a:pt x="1456945" y="1587245"/>
                  <a:pt x="1456636" y="1586470"/>
                  <a:pt x="1457875" y="1586935"/>
                </a:cubicBezTo>
                <a:cubicBezTo>
                  <a:pt x="1458494" y="1583992"/>
                  <a:pt x="1464793" y="1579500"/>
                  <a:pt x="1468304" y="1579190"/>
                </a:cubicBezTo>
                <a:close/>
                <a:moveTo>
                  <a:pt x="958218" y="1579190"/>
                </a:moveTo>
                <a:cubicBezTo>
                  <a:pt x="960593" y="1577641"/>
                  <a:pt x="965859" y="1577796"/>
                  <a:pt x="965446" y="1581049"/>
                </a:cubicBezTo>
                <a:lnTo>
                  <a:pt x="964930" y="1581669"/>
                </a:lnTo>
                <a:lnTo>
                  <a:pt x="965239" y="1582133"/>
                </a:lnTo>
                <a:cubicBezTo>
                  <a:pt x="965239" y="1583063"/>
                  <a:pt x="965136" y="1584147"/>
                  <a:pt x="965136" y="1584921"/>
                </a:cubicBezTo>
                <a:cubicBezTo>
                  <a:pt x="966995" y="1585541"/>
                  <a:pt x="963588" y="1588484"/>
                  <a:pt x="965446" y="1589104"/>
                </a:cubicBezTo>
                <a:cubicBezTo>
                  <a:pt x="962142" y="1592821"/>
                  <a:pt x="966685" y="1596384"/>
                  <a:pt x="962658" y="1602734"/>
                </a:cubicBezTo>
                <a:cubicBezTo>
                  <a:pt x="961832" y="1600721"/>
                  <a:pt x="961522" y="1598862"/>
                  <a:pt x="961316" y="1597158"/>
                </a:cubicBezTo>
                <a:cubicBezTo>
                  <a:pt x="961109" y="1594525"/>
                  <a:pt x="961212" y="1592047"/>
                  <a:pt x="961316" y="1589878"/>
                </a:cubicBezTo>
                <a:lnTo>
                  <a:pt x="960696" y="1584302"/>
                </a:lnTo>
                <a:lnTo>
                  <a:pt x="959044" y="1583373"/>
                </a:lnTo>
                <a:cubicBezTo>
                  <a:pt x="958218" y="1582753"/>
                  <a:pt x="957701" y="1582288"/>
                  <a:pt x="957392" y="1581669"/>
                </a:cubicBezTo>
                <a:cubicBezTo>
                  <a:pt x="957082" y="1581204"/>
                  <a:pt x="957082" y="1580584"/>
                  <a:pt x="957289" y="1580274"/>
                </a:cubicBezTo>
                <a:cubicBezTo>
                  <a:pt x="957495" y="1579810"/>
                  <a:pt x="957805" y="1579500"/>
                  <a:pt x="958218" y="1579190"/>
                </a:cubicBezTo>
                <a:close/>
                <a:moveTo>
                  <a:pt x="4833317" y="1578758"/>
                </a:moveTo>
                <a:cubicBezTo>
                  <a:pt x="4837586" y="1579042"/>
                  <a:pt x="4842281" y="1581318"/>
                  <a:pt x="4844202" y="1585018"/>
                </a:cubicBezTo>
                <a:cubicBezTo>
                  <a:pt x="4837586" y="1590566"/>
                  <a:pt x="4831823" y="1592558"/>
                  <a:pt x="4824567" y="1585160"/>
                </a:cubicBezTo>
                <a:cubicBezTo>
                  <a:pt x="4824993" y="1580465"/>
                  <a:pt x="4829048" y="1578616"/>
                  <a:pt x="4833317" y="1578758"/>
                </a:cubicBezTo>
                <a:close/>
                <a:moveTo>
                  <a:pt x="988575" y="1578725"/>
                </a:moveTo>
                <a:cubicBezTo>
                  <a:pt x="991983" y="1577176"/>
                  <a:pt x="997559" y="1583218"/>
                  <a:pt x="1001586" y="1585851"/>
                </a:cubicBezTo>
                <a:cubicBezTo>
                  <a:pt x="1000863" y="1589413"/>
                  <a:pt x="1000243" y="1590497"/>
                  <a:pt x="997455" y="1592821"/>
                </a:cubicBezTo>
                <a:cubicBezTo>
                  <a:pt x="991776" y="1591272"/>
                  <a:pt x="988885" y="1587400"/>
                  <a:pt x="986097" y="1583527"/>
                </a:cubicBezTo>
                <a:cubicBezTo>
                  <a:pt x="986510" y="1580739"/>
                  <a:pt x="987439" y="1579345"/>
                  <a:pt x="988575" y="1578725"/>
                </a:cubicBezTo>
                <a:close/>
                <a:moveTo>
                  <a:pt x="1759280" y="1578416"/>
                </a:moveTo>
                <a:cubicBezTo>
                  <a:pt x="1759693" y="1580584"/>
                  <a:pt x="1759693" y="1582443"/>
                  <a:pt x="1759486" y="1584302"/>
                </a:cubicBezTo>
                <a:cubicBezTo>
                  <a:pt x="1759073" y="1589723"/>
                  <a:pt x="1756905" y="1593905"/>
                  <a:pt x="1757731" y="1597623"/>
                </a:cubicBezTo>
                <a:cubicBezTo>
                  <a:pt x="1757731" y="1597623"/>
                  <a:pt x="1757834" y="1597623"/>
                  <a:pt x="1755872" y="1599327"/>
                </a:cubicBezTo>
                <a:cubicBezTo>
                  <a:pt x="1755769" y="1600101"/>
                  <a:pt x="1755769" y="1600101"/>
                  <a:pt x="1755769" y="1600101"/>
                </a:cubicBezTo>
                <a:cubicBezTo>
                  <a:pt x="1755666" y="1600876"/>
                  <a:pt x="1753910" y="1600876"/>
                  <a:pt x="1753910" y="1600876"/>
                </a:cubicBezTo>
                <a:cubicBezTo>
                  <a:pt x="1753084" y="1600411"/>
                  <a:pt x="1752981" y="1599637"/>
                  <a:pt x="1753084" y="1598707"/>
                </a:cubicBezTo>
                <a:cubicBezTo>
                  <a:pt x="1753188" y="1597777"/>
                  <a:pt x="1753601" y="1596693"/>
                  <a:pt x="1753704" y="1595919"/>
                </a:cubicBezTo>
                <a:cubicBezTo>
                  <a:pt x="1752052" y="1594990"/>
                  <a:pt x="1755769" y="1592511"/>
                  <a:pt x="1754117" y="1591737"/>
                </a:cubicBezTo>
                <a:cubicBezTo>
                  <a:pt x="1758040" y="1588484"/>
                  <a:pt x="1754220" y="1584147"/>
                  <a:pt x="1759280" y="1578416"/>
                </a:cubicBezTo>
                <a:close/>
                <a:moveTo>
                  <a:pt x="1574451" y="1578261"/>
                </a:moveTo>
                <a:cubicBezTo>
                  <a:pt x="1577342" y="1579035"/>
                  <a:pt x="1578994" y="1580429"/>
                  <a:pt x="1579717" y="1582133"/>
                </a:cubicBezTo>
                <a:cubicBezTo>
                  <a:pt x="1581886" y="1587245"/>
                  <a:pt x="1575794" y="1594060"/>
                  <a:pt x="1569598" y="1588794"/>
                </a:cubicBezTo>
                <a:cubicBezTo>
                  <a:pt x="1568566" y="1585541"/>
                  <a:pt x="1572179" y="1579655"/>
                  <a:pt x="1574451" y="1578261"/>
                </a:cubicBezTo>
                <a:close/>
                <a:moveTo>
                  <a:pt x="4536877" y="1577762"/>
                </a:moveTo>
                <a:cubicBezTo>
                  <a:pt x="4544347" y="1592415"/>
                  <a:pt x="4564835" y="1587294"/>
                  <a:pt x="4567609" y="1601805"/>
                </a:cubicBezTo>
                <a:cubicBezTo>
                  <a:pt x="4556085" y="1600098"/>
                  <a:pt x="4544560" y="1600668"/>
                  <a:pt x="4532609" y="1588290"/>
                </a:cubicBezTo>
                <a:cubicBezTo>
                  <a:pt x="4533676" y="1584733"/>
                  <a:pt x="4531115" y="1578616"/>
                  <a:pt x="4536877" y="1577762"/>
                </a:cubicBezTo>
                <a:close/>
                <a:moveTo>
                  <a:pt x="1634649" y="1577641"/>
                </a:moveTo>
                <a:cubicBezTo>
                  <a:pt x="1634959" y="1577796"/>
                  <a:pt x="1635372" y="1578261"/>
                  <a:pt x="1635889" y="1578571"/>
                </a:cubicBezTo>
                <a:cubicBezTo>
                  <a:pt x="1635166" y="1578880"/>
                  <a:pt x="1635889" y="1578571"/>
                  <a:pt x="1634030" y="1578106"/>
                </a:cubicBezTo>
                <a:cubicBezTo>
                  <a:pt x="1634236" y="1577641"/>
                  <a:pt x="1634443" y="1577486"/>
                  <a:pt x="1634649" y="1577641"/>
                </a:cubicBezTo>
                <a:close/>
                <a:moveTo>
                  <a:pt x="5769376" y="1577619"/>
                </a:moveTo>
                <a:cubicBezTo>
                  <a:pt x="5770656" y="1579896"/>
                  <a:pt x="5772791" y="1581176"/>
                  <a:pt x="5774284" y="1583595"/>
                </a:cubicBezTo>
                <a:cubicBezTo>
                  <a:pt x="5774071" y="1587578"/>
                  <a:pt x="5767669" y="1592842"/>
                  <a:pt x="5763187" y="1591420"/>
                </a:cubicBezTo>
                <a:cubicBezTo>
                  <a:pt x="5761693" y="1590993"/>
                  <a:pt x="5760413" y="1589855"/>
                  <a:pt x="5759772" y="1587578"/>
                </a:cubicBezTo>
                <a:cubicBezTo>
                  <a:pt x="5757851" y="1581034"/>
                  <a:pt x="5762973" y="1578900"/>
                  <a:pt x="5769376" y="1577619"/>
                </a:cubicBezTo>
                <a:close/>
                <a:moveTo>
                  <a:pt x="4967558" y="1577335"/>
                </a:moveTo>
                <a:cubicBezTo>
                  <a:pt x="4969479" y="1577619"/>
                  <a:pt x="4971400" y="1578473"/>
                  <a:pt x="4972894" y="1580607"/>
                </a:cubicBezTo>
                <a:cubicBezTo>
                  <a:pt x="4976308" y="1583595"/>
                  <a:pt x="4975881" y="1588290"/>
                  <a:pt x="4979083" y="1592415"/>
                </a:cubicBezTo>
                <a:cubicBezTo>
                  <a:pt x="4975454" y="1596541"/>
                  <a:pt x="4974174" y="1597537"/>
                  <a:pt x="4968625" y="1594265"/>
                </a:cubicBezTo>
                <a:cubicBezTo>
                  <a:pt x="4968625" y="1594265"/>
                  <a:pt x="4967558" y="1592984"/>
                  <a:pt x="4967558" y="1592984"/>
                </a:cubicBezTo>
                <a:cubicBezTo>
                  <a:pt x="4963076" y="1588574"/>
                  <a:pt x="4961369" y="1581034"/>
                  <a:pt x="4962650" y="1578900"/>
                </a:cubicBezTo>
                <a:cubicBezTo>
                  <a:pt x="4963930" y="1577904"/>
                  <a:pt x="4965637" y="1577193"/>
                  <a:pt x="4967558" y="1577335"/>
                </a:cubicBezTo>
                <a:close/>
                <a:moveTo>
                  <a:pt x="3881678" y="1577051"/>
                </a:moveTo>
                <a:cubicBezTo>
                  <a:pt x="3881251" y="1578758"/>
                  <a:pt x="3879331" y="1582741"/>
                  <a:pt x="3875276" y="1582457"/>
                </a:cubicBezTo>
                <a:cubicBezTo>
                  <a:pt x="3871221" y="1582173"/>
                  <a:pt x="3868660" y="1585018"/>
                  <a:pt x="3864605" y="1584875"/>
                </a:cubicBezTo>
                <a:cubicBezTo>
                  <a:pt x="3864605" y="1584875"/>
                  <a:pt x="3864605" y="1584875"/>
                  <a:pt x="3865032" y="1583168"/>
                </a:cubicBezTo>
                <a:cubicBezTo>
                  <a:pt x="3871221" y="1582173"/>
                  <a:pt x="3875062" y="1577051"/>
                  <a:pt x="3881678" y="1577051"/>
                </a:cubicBezTo>
                <a:close/>
                <a:moveTo>
                  <a:pt x="1327359" y="1577021"/>
                </a:moveTo>
                <a:cubicBezTo>
                  <a:pt x="1328908" y="1579035"/>
                  <a:pt x="1330560" y="1580894"/>
                  <a:pt x="1332109" y="1582908"/>
                </a:cubicBezTo>
                <a:cubicBezTo>
                  <a:pt x="1331283" y="1583218"/>
                  <a:pt x="1330560" y="1583682"/>
                  <a:pt x="1329940" y="1584147"/>
                </a:cubicBezTo>
                <a:lnTo>
                  <a:pt x="1329734" y="1584457"/>
                </a:lnTo>
                <a:lnTo>
                  <a:pt x="1335206" y="1594215"/>
                </a:lnTo>
                <a:cubicBezTo>
                  <a:pt x="1327049" y="1596229"/>
                  <a:pt x="1320751" y="1585541"/>
                  <a:pt x="1318582" y="1578261"/>
                </a:cubicBezTo>
                <a:lnTo>
                  <a:pt x="1323745" y="1579810"/>
                </a:lnTo>
                <a:lnTo>
                  <a:pt x="1324365" y="1578725"/>
                </a:lnTo>
                <a:cubicBezTo>
                  <a:pt x="1324881" y="1578261"/>
                  <a:pt x="1325500" y="1577951"/>
                  <a:pt x="1327359" y="1577021"/>
                </a:cubicBezTo>
                <a:close/>
                <a:moveTo>
                  <a:pt x="5609952" y="1576197"/>
                </a:moveTo>
                <a:cubicBezTo>
                  <a:pt x="5609952" y="1576197"/>
                  <a:pt x="5610592" y="1577193"/>
                  <a:pt x="5610592" y="1577193"/>
                </a:cubicBezTo>
                <a:cubicBezTo>
                  <a:pt x="5611019" y="1576909"/>
                  <a:pt x="5611019" y="1576909"/>
                  <a:pt x="5611019" y="1577335"/>
                </a:cubicBezTo>
                <a:cubicBezTo>
                  <a:pt x="5610805" y="1577762"/>
                  <a:pt x="5610805" y="1578473"/>
                  <a:pt x="5611019" y="1579754"/>
                </a:cubicBezTo>
                <a:cubicBezTo>
                  <a:pt x="5610805" y="1581318"/>
                  <a:pt x="5611445" y="1582315"/>
                  <a:pt x="5609952" y="1581888"/>
                </a:cubicBezTo>
                <a:cubicBezTo>
                  <a:pt x="5608458" y="1581461"/>
                  <a:pt x="5608458" y="1581603"/>
                  <a:pt x="5606323" y="1578616"/>
                </a:cubicBezTo>
                <a:cubicBezTo>
                  <a:pt x="5608031" y="1578900"/>
                  <a:pt x="5608031" y="1578900"/>
                  <a:pt x="5608244" y="1577335"/>
                </a:cubicBezTo>
                <a:cubicBezTo>
                  <a:pt x="5608244" y="1577335"/>
                  <a:pt x="5608244" y="1577478"/>
                  <a:pt x="5607391" y="1576481"/>
                </a:cubicBezTo>
                <a:cubicBezTo>
                  <a:pt x="5608458" y="1575770"/>
                  <a:pt x="5609098" y="1576766"/>
                  <a:pt x="5609952" y="1576197"/>
                </a:cubicBezTo>
                <a:close/>
                <a:moveTo>
                  <a:pt x="1464999" y="1575937"/>
                </a:moveTo>
                <a:cubicBezTo>
                  <a:pt x="1465309" y="1576712"/>
                  <a:pt x="1465309" y="1576712"/>
                  <a:pt x="1465309" y="1576712"/>
                </a:cubicBezTo>
                <a:cubicBezTo>
                  <a:pt x="1462625" y="1576867"/>
                  <a:pt x="1460560" y="1579810"/>
                  <a:pt x="1457668" y="1581049"/>
                </a:cubicBezTo>
                <a:cubicBezTo>
                  <a:pt x="1456739" y="1581514"/>
                  <a:pt x="1455706" y="1581823"/>
                  <a:pt x="1454570" y="1581823"/>
                </a:cubicBezTo>
                <a:cubicBezTo>
                  <a:pt x="1454570" y="1581823"/>
                  <a:pt x="1454570" y="1581823"/>
                  <a:pt x="1455397" y="1581514"/>
                </a:cubicBezTo>
                <a:cubicBezTo>
                  <a:pt x="1455397" y="1581514"/>
                  <a:pt x="1454570" y="1581823"/>
                  <a:pt x="1454261" y="1581049"/>
                </a:cubicBezTo>
                <a:cubicBezTo>
                  <a:pt x="1455809" y="1579190"/>
                  <a:pt x="1458288" y="1577951"/>
                  <a:pt x="1460456" y="1577176"/>
                </a:cubicBezTo>
                <a:cubicBezTo>
                  <a:pt x="1462728" y="1576402"/>
                  <a:pt x="1464587" y="1576092"/>
                  <a:pt x="1464999" y="1575937"/>
                </a:cubicBezTo>
                <a:close/>
                <a:moveTo>
                  <a:pt x="1245064" y="1575627"/>
                </a:moveTo>
                <a:cubicBezTo>
                  <a:pt x="1250846" y="1575783"/>
                  <a:pt x="1257558" y="1574388"/>
                  <a:pt x="1263030" y="1576402"/>
                </a:cubicBezTo>
                <a:cubicBezTo>
                  <a:pt x="1258177" y="1580894"/>
                  <a:pt x="1246716" y="1583527"/>
                  <a:pt x="1245064" y="1575627"/>
                </a:cubicBezTo>
                <a:close/>
                <a:moveTo>
                  <a:pt x="4742187" y="1575486"/>
                </a:moveTo>
                <a:cubicBezTo>
                  <a:pt x="4740480" y="1577619"/>
                  <a:pt x="4733650" y="1584164"/>
                  <a:pt x="4731302" y="1583879"/>
                </a:cubicBezTo>
                <a:cubicBezTo>
                  <a:pt x="4733864" y="1580323"/>
                  <a:pt x="4740906" y="1574774"/>
                  <a:pt x="4742187" y="1575486"/>
                </a:cubicBezTo>
                <a:close/>
                <a:moveTo>
                  <a:pt x="4591299" y="1575486"/>
                </a:moveTo>
                <a:cubicBezTo>
                  <a:pt x="4594500" y="1574632"/>
                  <a:pt x="4599836" y="1578046"/>
                  <a:pt x="4607519" y="1589428"/>
                </a:cubicBezTo>
                <a:lnTo>
                  <a:pt x="4602610" y="1595688"/>
                </a:lnTo>
                <a:lnTo>
                  <a:pt x="4603464" y="1596114"/>
                </a:lnTo>
                <a:cubicBezTo>
                  <a:pt x="4602183" y="1598960"/>
                  <a:pt x="4600476" y="1600668"/>
                  <a:pt x="4598555" y="1601521"/>
                </a:cubicBezTo>
                <a:cubicBezTo>
                  <a:pt x="4596634" y="1602374"/>
                  <a:pt x="4594714" y="1602374"/>
                  <a:pt x="4592793" y="1601805"/>
                </a:cubicBezTo>
                <a:lnTo>
                  <a:pt x="4593006" y="1597964"/>
                </a:lnTo>
                <a:lnTo>
                  <a:pt x="4592366" y="1597822"/>
                </a:lnTo>
                <a:cubicBezTo>
                  <a:pt x="4586604" y="1592842"/>
                  <a:pt x="4585323" y="1576909"/>
                  <a:pt x="4591299" y="1575486"/>
                </a:cubicBezTo>
                <a:close/>
                <a:moveTo>
                  <a:pt x="1140156" y="1574853"/>
                </a:moveTo>
                <a:cubicBezTo>
                  <a:pt x="1140156" y="1574853"/>
                  <a:pt x="1140981" y="1575318"/>
                  <a:pt x="1140981" y="1575318"/>
                </a:cubicBezTo>
                <a:cubicBezTo>
                  <a:pt x="1141188" y="1575008"/>
                  <a:pt x="1141188" y="1575008"/>
                  <a:pt x="1141188" y="1575318"/>
                </a:cubicBezTo>
                <a:cubicBezTo>
                  <a:pt x="1141291" y="1575473"/>
                  <a:pt x="1141498" y="1576092"/>
                  <a:pt x="1142014" y="1576867"/>
                </a:cubicBezTo>
                <a:cubicBezTo>
                  <a:pt x="1142324" y="1577951"/>
                  <a:pt x="1143047" y="1578416"/>
                  <a:pt x="1141911" y="1578725"/>
                </a:cubicBezTo>
                <a:cubicBezTo>
                  <a:pt x="1140775" y="1578880"/>
                  <a:pt x="1140775" y="1578880"/>
                  <a:pt x="1138606" y="1577486"/>
                </a:cubicBezTo>
                <a:cubicBezTo>
                  <a:pt x="1139742" y="1577331"/>
                  <a:pt x="1139742" y="1577331"/>
                  <a:pt x="1139433" y="1576092"/>
                </a:cubicBezTo>
                <a:cubicBezTo>
                  <a:pt x="1139433" y="1576092"/>
                  <a:pt x="1139329" y="1576092"/>
                  <a:pt x="1138606" y="1575627"/>
                </a:cubicBezTo>
                <a:cubicBezTo>
                  <a:pt x="1139020" y="1575008"/>
                  <a:pt x="1139742" y="1575473"/>
                  <a:pt x="1140156" y="1574853"/>
                </a:cubicBezTo>
                <a:close/>
                <a:moveTo>
                  <a:pt x="4579134" y="1574489"/>
                </a:moveTo>
                <a:cubicBezTo>
                  <a:pt x="4579134" y="1574489"/>
                  <a:pt x="4580415" y="1574632"/>
                  <a:pt x="4582548" y="1577335"/>
                </a:cubicBezTo>
                <a:cubicBezTo>
                  <a:pt x="4581482" y="1577193"/>
                  <a:pt x="4581268" y="1578331"/>
                  <a:pt x="4581268" y="1578331"/>
                </a:cubicBezTo>
                <a:cubicBezTo>
                  <a:pt x="4581268" y="1578331"/>
                  <a:pt x="4581268" y="1578331"/>
                  <a:pt x="4582548" y="1578473"/>
                </a:cubicBezTo>
                <a:cubicBezTo>
                  <a:pt x="4581908" y="1579042"/>
                  <a:pt x="4581268" y="1578900"/>
                  <a:pt x="4580841" y="1578758"/>
                </a:cubicBezTo>
                <a:cubicBezTo>
                  <a:pt x="4580415" y="1578473"/>
                  <a:pt x="4580201" y="1578189"/>
                  <a:pt x="4580201" y="1578189"/>
                </a:cubicBezTo>
                <a:cubicBezTo>
                  <a:pt x="4579134" y="1576909"/>
                  <a:pt x="4577853" y="1575486"/>
                  <a:pt x="4579134" y="1574489"/>
                </a:cubicBezTo>
                <a:close/>
                <a:moveTo>
                  <a:pt x="6020358" y="1573779"/>
                </a:moveTo>
                <a:cubicBezTo>
                  <a:pt x="6022279" y="1575059"/>
                  <a:pt x="6023346" y="1575628"/>
                  <a:pt x="6024413" y="1577904"/>
                </a:cubicBezTo>
                <a:cubicBezTo>
                  <a:pt x="6025907" y="1590566"/>
                  <a:pt x="6019504" y="1593981"/>
                  <a:pt x="6019931" y="1595546"/>
                </a:cubicBezTo>
                <a:cubicBezTo>
                  <a:pt x="6015022" y="1596968"/>
                  <a:pt x="6014382" y="1593554"/>
                  <a:pt x="6011821" y="1589001"/>
                </a:cubicBezTo>
                <a:cubicBezTo>
                  <a:pt x="6013528" y="1588574"/>
                  <a:pt x="6012675" y="1583737"/>
                  <a:pt x="6012461" y="1582030"/>
                </a:cubicBezTo>
                <a:cubicBezTo>
                  <a:pt x="6015663" y="1581176"/>
                  <a:pt x="6015449" y="1575201"/>
                  <a:pt x="6020358" y="1573779"/>
                </a:cubicBezTo>
                <a:close/>
                <a:moveTo>
                  <a:pt x="4909721" y="1573779"/>
                </a:moveTo>
                <a:lnTo>
                  <a:pt x="4904386" y="1585160"/>
                </a:lnTo>
                <a:lnTo>
                  <a:pt x="4906520" y="1586867"/>
                </a:lnTo>
                <a:cubicBezTo>
                  <a:pt x="4907587" y="1588147"/>
                  <a:pt x="4908654" y="1590993"/>
                  <a:pt x="4908868" y="1593981"/>
                </a:cubicBezTo>
                <a:cubicBezTo>
                  <a:pt x="4909295" y="1596826"/>
                  <a:pt x="4909081" y="1599813"/>
                  <a:pt x="4907800" y="1601521"/>
                </a:cubicBezTo>
                <a:cubicBezTo>
                  <a:pt x="4905666" y="1599956"/>
                  <a:pt x="4903532" y="1598391"/>
                  <a:pt x="4901398" y="1596826"/>
                </a:cubicBezTo>
                <a:cubicBezTo>
                  <a:pt x="4902038" y="1596968"/>
                  <a:pt x="4901825" y="1594265"/>
                  <a:pt x="4901612" y="1591420"/>
                </a:cubicBezTo>
                <a:lnTo>
                  <a:pt x="4899050" y="1596968"/>
                </a:lnTo>
                <a:cubicBezTo>
                  <a:pt x="4894995" y="1603655"/>
                  <a:pt x="4889660" y="1606500"/>
                  <a:pt x="4880696" y="1597822"/>
                </a:cubicBezTo>
                <a:cubicBezTo>
                  <a:pt x="4893288" y="1591704"/>
                  <a:pt x="4898410" y="1574063"/>
                  <a:pt x="4909721" y="1573779"/>
                </a:cubicBezTo>
                <a:close/>
                <a:moveTo>
                  <a:pt x="5384580" y="1573494"/>
                </a:moveTo>
                <a:cubicBezTo>
                  <a:pt x="5385647" y="1573921"/>
                  <a:pt x="5386288" y="1574774"/>
                  <a:pt x="5386501" y="1576055"/>
                </a:cubicBezTo>
                <a:cubicBezTo>
                  <a:pt x="5387141" y="1579754"/>
                  <a:pt x="5384153" y="1585587"/>
                  <a:pt x="5382233" y="1586156"/>
                </a:cubicBezTo>
                <a:cubicBezTo>
                  <a:pt x="5380098" y="1585160"/>
                  <a:pt x="5379031" y="1572356"/>
                  <a:pt x="5384580" y="1573494"/>
                </a:cubicBezTo>
                <a:close/>
                <a:moveTo>
                  <a:pt x="5179270" y="1573352"/>
                </a:moveTo>
                <a:cubicBezTo>
                  <a:pt x="5179910" y="1577619"/>
                  <a:pt x="5170947" y="1582883"/>
                  <a:pt x="5166465" y="1584306"/>
                </a:cubicBezTo>
                <a:cubicBezTo>
                  <a:pt x="5166252" y="1583168"/>
                  <a:pt x="5166679" y="1582030"/>
                  <a:pt x="5167532" y="1580892"/>
                </a:cubicBezTo>
                <a:cubicBezTo>
                  <a:pt x="5170094" y="1577619"/>
                  <a:pt x="5175856" y="1574347"/>
                  <a:pt x="5179270" y="1573352"/>
                </a:cubicBezTo>
                <a:close/>
                <a:moveTo>
                  <a:pt x="1471918" y="1573304"/>
                </a:moveTo>
                <a:cubicBezTo>
                  <a:pt x="1472228" y="1573149"/>
                  <a:pt x="1472640" y="1573149"/>
                  <a:pt x="1473157" y="1573459"/>
                </a:cubicBezTo>
                <a:cubicBezTo>
                  <a:pt x="1472743" y="1574543"/>
                  <a:pt x="1471401" y="1575783"/>
                  <a:pt x="1470885" y="1576867"/>
                </a:cubicBezTo>
                <a:cubicBezTo>
                  <a:pt x="1470885" y="1576867"/>
                  <a:pt x="1470885" y="1576867"/>
                  <a:pt x="1469749" y="1576247"/>
                </a:cubicBezTo>
                <a:cubicBezTo>
                  <a:pt x="1470988" y="1575937"/>
                  <a:pt x="1471092" y="1573769"/>
                  <a:pt x="1471918" y="1573304"/>
                </a:cubicBezTo>
                <a:close/>
                <a:moveTo>
                  <a:pt x="4997437" y="1572640"/>
                </a:moveTo>
                <a:cubicBezTo>
                  <a:pt x="4998077" y="1579611"/>
                  <a:pt x="4993168" y="1587436"/>
                  <a:pt x="4992741" y="1588432"/>
                </a:cubicBezTo>
                <a:cubicBezTo>
                  <a:pt x="4991675" y="1587863"/>
                  <a:pt x="4991675" y="1588005"/>
                  <a:pt x="4991675" y="1588005"/>
                </a:cubicBezTo>
                <a:cubicBezTo>
                  <a:pt x="4994022" y="1585302"/>
                  <a:pt x="4992955" y="1580038"/>
                  <a:pt x="4994235" y="1575770"/>
                </a:cubicBezTo>
                <a:lnTo>
                  <a:pt x="4995953" y="1573064"/>
                </a:lnTo>
                <a:close/>
                <a:moveTo>
                  <a:pt x="4996583" y="1572071"/>
                </a:moveTo>
                <a:lnTo>
                  <a:pt x="4995953" y="1573064"/>
                </a:lnTo>
                <a:lnTo>
                  <a:pt x="4995943" y="1573067"/>
                </a:lnTo>
                <a:cubicBezTo>
                  <a:pt x="4996370" y="1572071"/>
                  <a:pt x="4996583" y="1572071"/>
                  <a:pt x="4996583" y="1572071"/>
                </a:cubicBezTo>
                <a:close/>
                <a:moveTo>
                  <a:pt x="4754992" y="1571929"/>
                </a:moveTo>
                <a:cubicBezTo>
                  <a:pt x="4756913" y="1571360"/>
                  <a:pt x="4758834" y="1571502"/>
                  <a:pt x="4760754" y="1572356"/>
                </a:cubicBezTo>
                <a:cubicBezTo>
                  <a:pt x="4763315" y="1573636"/>
                  <a:pt x="4765663" y="1576481"/>
                  <a:pt x="4766730" y="1581176"/>
                </a:cubicBezTo>
                <a:cubicBezTo>
                  <a:pt x="4763529" y="1585729"/>
                  <a:pt x="4760114" y="1585729"/>
                  <a:pt x="4756699" y="1587863"/>
                </a:cubicBezTo>
                <a:cubicBezTo>
                  <a:pt x="4746455" y="1580750"/>
                  <a:pt x="4749656" y="1573494"/>
                  <a:pt x="4754992" y="1571929"/>
                </a:cubicBezTo>
                <a:close/>
                <a:moveTo>
                  <a:pt x="1232157" y="1571910"/>
                </a:moveTo>
                <a:cubicBezTo>
                  <a:pt x="1232466" y="1572065"/>
                  <a:pt x="1232983" y="1572220"/>
                  <a:pt x="1233912" y="1572220"/>
                </a:cubicBezTo>
                <a:cubicBezTo>
                  <a:pt x="1235048" y="1572685"/>
                  <a:pt x="1235771" y="1572375"/>
                  <a:pt x="1235461" y="1573459"/>
                </a:cubicBezTo>
                <a:cubicBezTo>
                  <a:pt x="1235048" y="1574543"/>
                  <a:pt x="1234945" y="1574543"/>
                  <a:pt x="1232673" y="1575318"/>
                </a:cubicBezTo>
                <a:cubicBezTo>
                  <a:pt x="1233086" y="1574388"/>
                  <a:pt x="1233086" y="1574388"/>
                  <a:pt x="1232054" y="1573924"/>
                </a:cubicBezTo>
                <a:cubicBezTo>
                  <a:pt x="1232054" y="1573924"/>
                  <a:pt x="1231950" y="1573924"/>
                  <a:pt x="1231227" y="1574233"/>
                </a:cubicBezTo>
                <a:cubicBezTo>
                  <a:pt x="1230918" y="1573459"/>
                  <a:pt x="1231640" y="1573149"/>
                  <a:pt x="1231331" y="1572375"/>
                </a:cubicBezTo>
                <a:cubicBezTo>
                  <a:pt x="1231331" y="1572375"/>
                  <a:pt x="1232054" y="1572220"/>
                  <a:pt x="1232054" y="1572220"/>
                </a:cubicBezTo>
                <a:cubicBezTo>
                  <a:pt x="1231847" y="1571755"/>
                  <a:pt x="1231847" y="1571755"/>
                  <a:pt x="1232157" y="1571910"/>
                </a:cubicBezTo>
                <a:close/>
                <a:moveTo>
                  <a:pt x="5724558" y="1571644"/>
                </a:moveTo>
                <a:cubicBezTo>
                  <a:pt x="5726692" y="1571360"/>
                  <a:pt x="5728613" y="1571644"/>
                  <a:pt x="5730534" y="1572925"/>
                </a:cubicBezTo>
                <a:cubicBezTo>
                  <a:pt x="5735443" y="1581461"/>
                  <a:pt x="5724131" y="1589143"/>
                  <a:pt x="5717088" y="1586440"/>
                </a:cubicBezTo>
                <a:cubicBezTo>
                  <a:pt x="5713460" y="1580038"/>
                  <a:pt x="5718796" y="1572782"/>
                  <a:pt x="5724558" y="1571644"/>
                </a:cubicBezTo>
                <a:close/>
                <a:moveTo>
                  <a:pt x="1089754" y="1571619"/>
                </a:moveTo>
                <a:cubicBezTo>
                  <a:pt x="1093923" y="1570709"/>
                  <a:pt x="1098027" y="1570748"/>
                  <a:pt x="1099369" y="1571755"/>
                </a:cubicBezTo>
                <a:cubicBezTo>
                  <a:pt x="1096994" y="1574698"/>
                  <a:pt x="1093484" y="1574388"/>
                  <a:pt x="1090179" y="1577331"/>
                </a:cubicBezTo>
                <a:cubicBezTo>
                  <a:pt x="1087495" y="1575937"/>
                  <a:pt x="1083364" y="1579190"/>
                  <a:pt x="1079751" y="1577176"/>
                </a:cubicBezTo>
                <a:cubicBezTo>
                  <a:pt x="1081351" y="1574388"/>
                  <a:pt x="1085585" y="1572529"/>
                  <a:pt x="1089754" y="1571619"/>
                </a:cubicBezTo>
                <a:close/>
                <a:moveTo>
                  <a:pt x="857233" y="1571445"/>
                </a:moveTo>
                <a:cubicBezTo>
                  <a:pt x="857853" y="1571291"/>
                  <a:pt x="858472" y="1571291"/>
                  <a:pt x="859298" y="1571755"/>
                </a:cubicBezTo>
                <a:cubicBezTo>
                  <a:pt x="856614" y="1578261"/>
                  <a:pt x="856511" y="1581669"/>
                  <a:pt x="853826" y="1586470"/>
                </a:cubicBezTo>
                <a:cubicBezTo>
                  <a:pt x="852896" y="1586316"/>
                  <a:pt x="852896" y="1585541"/>
                  <a:pt x="852071" y="1585386"/>
                </a:cubicBezTo>
                <a:cubicBezTo>
                  <a:pt x="851658" y="1584921"/>
                  <a:pt x="851451" y="1584147"/>
                  <a:pt x="851451" y="1583063"/>
                </a:cubicBezTo>
                <a:cubicBezTo>
                  <a:pt x="851554" y="1579965"/>
                  <a:pt x="853310" y="1575318"/>
                  <a:pt x="854032" y="1575473"/>
                </a:cubicBezTo>
                <a:cubicBezTo>
                  <a:pt x="854032" y="1574543"/>
                  <a:pt x="854858" y="1574698"/>
                  <a:pt x="854858" y="1573924"/>
                </a:cubicBezTo>
                <a:cubicBezTo>
                  <a:pt x="854858" y="1573924"/>
                  <a:pt x="854858" y="1572995"/>
                  <a:pt x="855788" y="1572220"/>
                </a:cubicBezTo>
                <a:cubicBezTo>
                  <a:pt x="856201" y="1571910"/>
                  <a:pt x="856717" y="1571600"/>
                  <a:pt x="857233" y="1571445"/>
                </a:cubicBezTo>
                <a:close/>
                <a:moveTo>
                  <a:pt x="3569232" y="1571217"/>
                </a:moveTo>
                <a:cubicBezTo>
                  <a:pt x="3574994" y="1573209"/>
                  <a:pt x="3583104" y="1573352"/>
                  <a:pt x="3587373" y="1577619"/>
                </a:cubicBezTo>
                <a:cubicBezTo>
                  <a:pt x="3585025" y="1577193"/>
                  <a:pt x="3572646" y="1574063"/>
                  <a:pt x="3569232" y="1571217"/>
                </a:cubicBezTo>
                <a:close/>
                <a:moveTo>
                  <a:pt x="5319700" y="1570791"/>
                </a:moveTo>
                <a:cubicBezTo>
                  <a:pt x="5321195" y="1570364"/>
                  <a:pt x="5323329" y="1571075"/>
                  <a:pt x="5324183" y="1572498"/>
                </a:cubicBezTo>
                <a:cubicBezTo>
                  <a:pt x="5324823" y="1573494"/>
                  <a:pt x="5325036" y="1574774"/>
                  <a:pt x="5324183" y="1576197"/>
                </a:cubicBezTo>
                <a:cubicBezTo>
                  <a:pt x="5322475" y="1576197"/>
                  <a:pt x="5319914" y="1576909"/>
                  <a:pt x="5317780" y="1576055"/>
                </a:cubicBezTo>
                <a:cubicBezTo>
                  <a:pt x="5316926" y="1572782"/>
                  <a:pt x="5317993" y="1571217"/>
                  <a:pt x="5319700" y="1570791"/>
                </a:cubicBezTo>
                <a:close/>
                <a:moveTo>
                  <a:pt x="1441457" y="1570361"/>
                </a:moveTo>
                <a:cubicBezTo>
                  <a:pt x="1441767" y="1571445"/>
                  <a:pt x="1442076" y="1572530"/>
                  <a:pt x="1442283" y="1573769"/>
                </a:cubicBezTo>
                <a:cubicBezTo>
                  <a:pt x="1439598" y="1574698"/>
                  <a:pt x="1437637" y="1576247"/>
                  <a:pt x="1435881" y="1577641"/>
                </a:cubicBezTo>
                <a:lnTo>
                  <a:pt x="1431544" y="1580429"/>
                </a:lnTo>
                <a:lnTo>
                  <a:pt x="1432061" y="1580274"/>
                </a:lnTo>
                <a:cubicBezTo>
                  <a:pt x="1435055" y="1582443"/>
                  <a:pt x="1436191" y="1584921"/>
                  <a:pt x="1435985" y="1589568"/>
                </a:cubicBezTo>
                <a:cubicBezTo>
                  <a:pt x="1432784" y="1592047"/>
                  <a:pt x="1424833" y="1590652"/>
                  <a:pt x="1425142" y="1584921"/>
                </a:cubicBezTo>
                <a:cubicBezTo>
                  <a:pt x="1425762" y="1583837"/>
                  <a:pt x="1426382" y="1582598"/>
                  <a:pt x="1427414" y="1581823"/>
                </a:cubicBezTo>
                <a:lnTo>
                  <a:pt x="1430615" y="1580739"/>
                </a:lnTo>
                <a:lnTo>
                  <a:pt x="1433403" y="1573614"/>
                </a:lnTo>
                <a:cubicBezTo>
                  <a:pt x="1435055" y="1571291"/>
                  <a:pt x="1437533" y="1569586"/>
                  <a:pt x="1441457" y="1570361"/>
                </a:cubicBezTo>
                <a:close/>
                <a:moveTo>
                  <a:pt x="4971186" y="1569795"/>
                </a:moveTo>
                <a:cubicBezTo>
                  <a:pt x="4972894" y="1570080"/>
                  <a:pt x="4973961" y="1572214"/>
                  <a:pt x="4975454" y="1572640"/>
                </a:cubicBezTo>
                <a:cubicBezTo>
                  <a:pt x="4974387" y="1573209"/>
                  <a:pt x="4973961" y="1574917"/>
                  <a:pt x="4972894" y="1575628"/>
                </a:cubicBezTo>
                <a:cubicBezTo>
                  <a:pt x="4969692" y="1574774"/>
                  <a:pt x="4970119" y="1570364"/>
                  <a:pt x="4971186" y="1569795"/>
                </a:cubicBezTo>
                <a:close/>
                <a:moveTo>
                  <a:pt x="1662322" y="1569586"/>
                </a:moveTo>
                <a:cubicBezTo>
                  <a:pt x="1666556" y="1570981"/>
                  <a:pt x="1667175" y="1568038"/>
                  <a:pt x="1673680" y="1570516"/>
                </a:cubicBezTo>
                <a:cubicBezTo>
                  <a:pt x="1682147" y="1573304"/>
                  <a:pt x="1682870" y="1579500"/>
                  <a:pt x="1681734" y="1583373"/>
                </a:cubicBezTo>
                <a:cubicBezTo>
                  <a:pt x="1680908" y="1582908"/>
                  <a:pt x="1679256" y="1588329"/>
                  <a:pt x="1674506" y="1589568"/>
                </a:cubicBezTo>
                <a:cubicBezTo>
                  <a:pt x="1672854" y="1590033"/>
                  <a:pt x="1670996" y="1590033"/>
                  <a:pt x="1668517" y="1589258"/>
                </a:cubicBezTo>
                <a:lnTo>
                  <a:pt x="1666039" y="1587554"/>
                </a:lnTo>
                <a:lnTo>
                  <a:pt x="1668827" y="1593751"/>
                </a:lnTo>
                <a:cubicBezTo>
                  <a:pt x="1670066" y="1599172"/>
                  <a:pt x="1669757" y="1605522"/>
                  <a:pt x="1668827" y="1608465"/>
                </a:cubicBezTo>
                <a:lnTo>
                  <a:pt x="1663251" y="1598397"/>
                </a:lnTo>
                <a:lnTo>
                  <a:pt x="1661806" y="1599172"/>
                </a:lnTo>
                <a:cubicBezTo>
                  <a:pt x="1657572" y="1597777"/>
                  <a:pt x="1655920" y="1596384"/>
                  <a:pt x="1655404" y="1594990"/>
                </a:cubicBezTo>
                <a:cubicBezTo>
                  <a:pt x="1654991" y="1593596"/>
                  <a:pt x="1655714" y="1592047"/>
                  <a:pt x="1656230" y="1590033"/>
                </a:cubicBezTo>
                <a:cubicBezTo>
                  <a:pt x="1657159" y="1590188"/>
                  <a:pt x="1658192" y="1589878"/>
                  <a:pt x="1659225" y="1589723"/>
                </a:cubicBezTo>
                <a:lnTo>
                  <a:pt x="1660257" y="1589723"/>
                </a:lnTo>
                <a:lnTo>
                  <a:pt x="1659844" y="1584457"/>
                </a:lnTo>
                <a:lnTo>
                  <a:pt x="1661598" y="1584595"/>
                </a:lnTo>
                <a:lnTo>
                  <a:pt x="1661599" y="1584612"/>
                </a:lnTo>
                <a:lnTo>
                  <a:pt x="1661806" y="1584612"/>
                </a:lnTo>
                <a:lnTo>
                  <a:pt x="1661598" y="1584595"/>
                </a:lnTo>
                <a:lnTo>
                  <a:pt x="1661083" y="1575318"/>
                </a:lnTo>
                <a:cubicBezTo>
                  <a:pt x="1661186" y="1573459"/>
                  <a:pt x="1661599" y="1574233"/>
                  <a:pt x="1662012" y="1573304"/>
                </a:cubicBezTo>
                <a:cubicBezTo>
                  <a:pt x="1662529" y="1572220"/>
                  <a:pt x="1662735" y="1570361"/>
                  <a:pt x="1662322" y="1569586"/>
                </a:cubicBezTo>
                <a:close/>
                <a:moveTo>
                  <a:pt x="1027193" y="1569432"/>
                </a:moveTo>
                <a:cubicBezTo>
                  <a:pt x="1030601" y="1570826"/>
                  <a:pt x="1028742" y="1573459"/>
                  <a:pt x="1026987" y="1576092"/>
                </a:cubicBezTo>
                <a:cubicBezTo>
                  <a:pt x="1025335" y="1575318"/>
                  <a:pt x="1023476" y="1576247"/>
                  <a:pt x="1021927" y="1573769"/>
                </a:cubicBezTo>
                <a:cubicBezTo>
                  <a:pt x="1023683" y="1572065"/>
                  <a:pt x="1025438" y="1571136"/>
                  <a:pt x="1027193" y="1569432"/>
                </a:cubicBezTo>
                <a:close/>
                <a:moveTo>
                  <a:pt x="3566670" y="1569368"/>
                </a:moveTo>
                <a:cubicBezTo>
                  <a:pt x="3567951" y="1570648"/>
                  <a:pt x="3567951" y="1570648"/>
                  <a:pt x="3569232" y="1570933"/>
                </a:cubicBezTo>
                <a:cubicBezTo>
                  <a:pt x="3569232" y="1570933"/>
                  <a:pt x="3567951" y="1571787"/>
                  <a:pt x="3567951" y="1571787"/>
                </a:cubicBezTo>
                <a:cubicBezTo>
                  <a:pt x="3566670" y="1570506"/>
                  <a:pt x="3566670" y="1571502"/>
                  <a:pt x="3566670" y="1569368"/>
                </a:cubicBezTo>
                <a:close/>
                <a:moveTo>
                  <a:pt x="4062658" y="1569083"/>
                </a:moveTo>
                <a:cubicBezTo>
                  <a:pt x="4064152" y="1568515"/>
                  <a:pt x="4065859" y="1568657"/>
                  <a:pt x="4068207" y="1569368"/>
                </a:cubicBezTo>
                <a:cubicBezTo>
                  <a:pt x="4066926" y="1573067"/>
                  <a:pt x="4064366" y="1573352"/>
                  <a:pt x="4059457" y="1573779"/>
                </a:cubicBezTo>
                <a:cubicBezTo>
                  <a:pt x="4060310" y="1571075"/>
                  <a:pt x="4061378" y="1569652"/>
                  <a:pt x="4062658" y="1569083"/>
                </a:cubicBezTo>
                <a:close/>
                <a:moveTo>
                  <a:pt x="5159209" y="1568799"/>
                </a:moveTo>
                <a:cubicBezTo>
                  <a:pt x="5159423" y="1570364"/>
                  <a:pt x="5159423" y="1570364"/>
                  <a:pt x="5161130" y="1569937"/>
                </a:cubicBezTo>
                <a:cubicBezTo>
                  <a:pt x="5161130" y="1569937"/>
                  <a:pt x="5161130" y="1569795"/>
                  <a:pt x="5161770" y="1568799"/>
                </a:cubicBezTo>
                <a:cubicBezTo>
                  <a:pt x="5162624" y="1569368"/>
                  <a:pt x="5161983" y="1570364"/>
                  <a:pt x="5162837" y="1570933"/>
                </a:cubicBezTo>
                <a:cubicBezTo>
                  <a:pt x="5162837" y="1570933"/>
                  <a:pt x="5162197" y="1572071"/>
                  <a:pt x="5162197" y="1572071"/>
                </a:cubicBezTo>
                <a:cubicBezTo>
                  <a:pt x="5162624" y="1572356"/>
                  <a:pt x="5162624" y="1572356"/>
                  <a:pt x="5162197" y="1572356"/>
                </a:cubicBezTo>
                <a:cubicBezTo>
                  <a:pt x="5161983" y="1572498"/>
                  <a:pt x="5161130" y="1572782"/>
                  <a:pt x="5160063" y="1573494"/>
                </a:cubicBezTo>
                <a:cubicBezTo>
                  <a:pt x="5158568" y="1573921"/>
                  <a:pt x="5157928" y="1574917"/>
                  <a:pt x="5157502" y="1573352"/>
                </a:cubicBezTo>
                <a:cubicBezTo>
                  <a:pt x="5157288" y="1571787"/>
                  <a:pt x="5157288" y="1571787"/>
                  <a:pt x="5159209" y="1568799"/>
                </a:cubicBezTo>
                <a:close/>
                <a:moveTo>
                  <a:pt x="3560908" y="1568515"/>
                </a:moveTo>
                <a:cubicBezTo>
                  <a:pt x="3562189" y="1568657"/>
                  <a:pt x="3563470" y="1568799"/>
                  <a:pt x="3563470" y="1569937"/>
                </a:cubicBezTo>
                <a:cubicBezTo>
                  <a:pt x="3563256" y="1570933"/>
                  <a:pt x="3561975" y="1570791"/>
                  <a:pt x="3560908" y="1569510"/>
                </a:cubicBezTo>
                <a:cubicBezTo>
                  <a:pt x="3560908" y="1569510"/>
                  <a:pt x="3560908" y="1568515"/>
                  <a:pt x="3560908" y="1568515"/>
                </a:cubicBezTo>
                <a:close/>
                <a:moveTo>
                  <a:pt x="1521791" y="1568502"/>
                </a:moveTo>
                <a:lnTo>
                  <a:pt x="1520241" y="1568657"/>
                </a:lnTo>
                <a:lnTo>
                  <a:pt x="1521171" y="1570826"/>
                </a:lnTo>
                <a:lnTo>
                  <a:pt x="1520965" y="1571291"/>
                </a:lnTo>
                <a:lnTo>
                  <a:pt x="1521068" y="1571600"/>
                </a:lnTo>
                <a:lnTo>
                  <a:pt x="1520965" y="1571755"/>
                </a:lnTo>
                <a:lnTo>
                  <a:pt x="1521068" y="1571755"/>
                </a:lnTo>
                <a:lnTo>
                  <a:pt x="1521068" y="1571600"/>
                </a:lnTo>
                <a:lnTo>
                  <a:pt x="1521274" y="1571136"/>
                </a:lnTo>
                <a:lnTo>
                  <a:pt x="1521171" y="1570826"/>
                </a:lnTo>
                <a:close/>
                <a:moveTo>
                  <a:pt x="5481686" y="1567945"/>
                </a:moveTo>
                <a:cubicBezTo>
                  <a:pt x="5483393" y="1569795"/>
                  <a:pt x="5484460" y="1571929"/>
                  <a:pt x="5484888" y="1574489"/>
                </a:cubicBezTo>
                <a:cubicBezTo>
                  <a:pt x="5485315" y="1578189"/>
                  <a:pt x="5484247" y="1582457"/>
                  <a:pt x="5482540" y="1586440"/>
                </a:cubicBezTo>
                <a:lnTo>
                  <a:pt x="5481260" y="1588432"/>
                </a:lnTo>
                <a:lnTo>
                  <a:pt x="5480832" y="1589428"/>
                </a:lnTo>
                <a:lnTo>
                  <a:pt x="5479552" y="1590566"/>
                </a:lnTo>
                <a:lnTo>
                  <a:pt x="5476137" y="1595830"/>
                </a:lnTo>
                <a:cubicBezTo>
                  <a:pt x="5470589" y="1596257"/>
                  <a:pt x="5467174" y="1594692"/>
                  <a:pt x="5465253" y="1591989"/>
                </a:cubicBezTo>
                <a:cubicBezTo>
                  <a:pt x="5459918" y="1584022"/>
                  <a:pt x="5468881" y="1566807"/>
                  <a:pt x="5481686" y="1567945"/>
                </a:cubicBezTo>
                <a:close/>
                <a:moveTo>
                  <a:pt x="1303713" y="1567728"/>
                </a:moveTo>
                <a:cubicBezTo>
                  <a:pt x="1304230" y="1570206"/>
                  <a:pt x="1304436" y="1572065"/>
                  <a:pt x="1304230" y="1575008"/>
                </a:cubicBezTo>
                <a:cubicBezTo>
                  <a:pt x="1304230" y="1575008"/>
                  <a:pt x="1303094" y="1579655"/>
                  <a:pt x="1299996" y="1579810"/>
                </a:cubicBezTo>
                <a:cubicBezTo>
                  <a:pt x="1299170" y="1580274"/>
                  <a:pt x="1297415" y="1577641"/>
                  <a:pt x="1297725" y="1576402"/>
                </a:cubicBezTo>
                <a:cubicBezTo>
                  <a:pt x="1298344" y="1574079"/>
                  <a:pt x="1298654" y="1572995"/>
                  <a:pt x="1300099" y="1572065"/>
                </a:cubicBezTo>
                <a:cubicBezTo>
                  <a:pt x="1300409" y="1570826"/>
                  <a:pt x="1300719" y="1569741"/>
                  <a:pt x="1301235" y="1568812"/>
                </a:cubicBezTo>
                <a:cubicBezTo>
                  <a:pt x="1301751" y="1568038"/>
                  <a:pt x="1302474" y="1567573"/>
                  <a:pt x="1303713" y="1567728"/>
                </a:cubicBezTo>
                <a:close/>
                <a:moveTo>
                  <a:pt x="5515406" y="1567661"/>
                </a:moveTo>
                <a:cubicBezTo>
                  <a:pt x="5521169" y="1566950"/>
                  <a:pt x="5523516" y="1574489"/>
                  <a:pt x="5525011" y="1578189"/>
                </a:cubicBezTo>
                <a:cubicBezTo>
                  <a:pt x="5521169" y="1581461"/>
                  <a:pt x="5517328" y="1584733"/>
                  <a:pt x="5513913" y="1584448"/>
                </a:cubicBezTo>
                <a:lnTo>
                  <a:pt x="5513059" y="1581888"/>
                </a:lnTo>
                <a:lnTo>
                  <a:pt x="5512419" y="1582599"/>
                </a:lnTo>
                <a:cubicBezTo>
                  <a:pt x="5510711" y="1584022"/>
                  <a:pt x="5509004" y="1584733"/>
                  <a:pt x="5506870" y="1584164"/>
                </a:cubicBezTo>
                <a:cubicBezTo>
                  <a:pt x="5507723" y="1583310"/>
                  <a:pt x="5509004" y="1581888"/>
                  <a:pt x="5510498" y="1580607"/>
                </a:cubicBezTo>
                <a:lnTo>
                  <a:pt x="5512205" y="1579327"/>
                </a:lnTo>
                <a:lnTo>
                  <a:pt x="5511138" y="1576197"/>
                </a:lnTo>
                <a:cubicBezTo>
                  <a:pt x="5511352" y="1573352"/>
                  <a:pt x="5512845" y="1570506"/>
                  <a:pt x="5515406" y="1567661"/>
                </a:cubicBezTo>
                <a:close/>
                <a:moveTo>
                  <a:pt x="3751065" y="1567234"/>
                </a:moveTo>
                <a:cubicBezTo>
                  <a:pt x="3756614" y="1567661"/>
                  <a:pt x="3762163" y="1569083"/>
                  <a:pt x="3768139" y="1572925"/>
                </a:cubicBezTo>
                <a:lnTo>
                  <a:pt x="3760456" y="1577193"/>
                </a:lnTo>
                <a:lnTo>
                  <a:pt x="3762803" y="1582457"/>
                </a:lnTo>
                <a:cubicBezTo>
                  <a:pt x="3763231" y="1585160"/>
                  <a:pt x="3763231" y="1588005"/>
                  <a:pt x="3762376" y="1590566"/>
                </a:cubicBezTo>
                <a:lnTo>
                  <a:pt x="3760029" y="1593127"/>
                </a:lnTo>
                <a:lnTo>
                  <a:pt x="3763657" y="1596968"/>
                </a:lnTo>
                <a:cubicBezTo>
                  <a:pt x="3761523" y="1602943"/>
                  <a:pt x="3757895" y="1601663"/>
                  <a:pt x="3754480" y="1600241"/>
                </a:cubicBezTo>
                <a:lnTo>
                  <a:pt x="3754480" y="1599387"/>
                </a:lnTo>
                <a:lnTo>
                  <a:pt x="3753840" y="1600241"/>
                </a:lnTo>
                <a:lnTo>
                  <a:pt x="3752986" y="1599813"/>
                </a:lnTo>
                <a:lnTo>
                  <a:pt x="3750425" y="1605505"/>
                </a:lnTo>
                <a:lnTo>
                  <a:pt x="3752346" y="1607923"/>
                </a:lnTo>
                <a:cubicBezTo>
                  <a:pt x="3752346" y="1609630"/>
                  <a:pt x="3751705" y="1611337"/>
                  <a:pt x="3750425" y="1613614"/>
                </a:cubicBezTo>
                <a:cubicBezTo>
                  <a:pt x="3748931" y="1612333"/>
                  <a:pt x="3748291" y="1611053"/>
                  <a:pt x="3748291" y="1609488"/>
                </a:cubicBezTo>
                <a:lnTo>
                  <a:pt x="3748291" y="1608777"/>
                </a:lnTo>
                <a:lnTo>
                  <a:pt x="3744022" y="1614752"/>
                </a:lnTo>
                <a:cubicBezTo>
                  <a:pt x="3742102" y="1617455"/>
                  <a:pt x="3740394" y="1619731"/>
                  <a:pt x="3739541" y="1622577"/>
                </a:cubicBezTo>
                <a:cubicBezTo>
                  <a:pt x="3739541" y="1622577"/>
                  <a:pt x="3739541" y="1622435"/>
                  <a:pt x="3736339" y="1623288"/>
                </a:cubicBezTo>
                <a:cubicBezTo>
                  <a:pt x="3735699" y="1624426"/>
                  <a:pt x="3735699" y="1624426"/>
                  <a:pt x="3735699" y="1624426"/>
                </a:cubicBezTo>
                <a:cubicBezTo>
                  <a:pt x="3735272" y="1624995"/>
                  <a:pt x="3734632" y="1624853"/>
                  <a:pt x="3734205" y="1624710"/>
                </a:cubicBezTo>
                <a:lnTo>
                  <a:pt x="3733992" y="1624710"/>
                </a:lnTo>
                <a:lnTo>
                  <a:pt x="3733778" y="1624995"/>
                </a:lnTo>
                <a:lnTo>
                  <a:pt x="3733351" y="1625565"/>
                </a:lnTo>
                <a:lnTo>
                  <a:pt x="3739114" y="1628979"/>
                </a:lnTo>
                <a:cubicBezTo>
                  <a:pt x="3737620" y="1631966"/>
                  <a:pt x="3741675" y="1633389"/>
                  <a:pt x="3739327" y="1636661"/>
                </a:cubicBezTo>
                <a:lnTo>
                  <a:pt x="3736126" y="1636092"/>
                </a:lnTo>
                <a:cubicBezTo>
                  <a:pt x="3736126" y="1637373"/>
                  <a:pt x="3735913" y="1639080"/>
                  <a:pt x="3735486" y="1641356"/>
                </a:cubicBezTo>
                <a:cubicBezTo>
                  <a:pt x="3734632" y="1645624"/>
                  <a:pt x="3731431" y="1651172"/>
                  <a:pt x="3730791" y="1652738"/>
                </a:cubicBezTo>
                <a:cubicBezTo>
                  <a:pt x="3730150" y="1654444"/>
                  <a:pt x="3730791" y="1655441"/>
                  <a:pt x="3730791" y="1655441"/>
                </a:cubicBezTo>
                <a:cubicBezTo>
                  <a:pt x="3728656" y="1655441"/>
                  <a:pt x="3730577" y="1646193"/>
                  <a:pt x="3731858" y="1639791"/>
                </a:cubicBezTo>
                <a:lnTo>
                  <a:pt x="3732711" y="1635666"/>
                </a:lnTo>
                <a:lnTo>
                  <a:pt x="3731218" y="1635381"/>
                </a:lnTo>
                <a:lnTo>
                  <a:pt x="3729083" y="1634100"/>
                </a:lnTo>
                <a:lnTo>
                  <a:pt x="3726735" y="1634527"/>
                </a:lnTo>
                <a:lnTo>
                  <a:pt x="3726309" y="1635239"/>
                </a:lnTo>
                <a:cubicBezTo>
                  <a:pt x="3725668" y="1636803"/>
                  <a:pt x="3725455" y="1638653"/>
                  <a:pt x="3725882" y="1639222"/>
                </a:cubicBezTo>
                <a:cubicBezTo>
                  <a:pt x="3724815" y="1639080"/>
                  <a:pt x="3723535" y="1640218"/>
                  <a:pt x="3723535" y="1640218"/>
                </a:cubicBezTo>
                <a:cubicBezTo>
                  <a:pt x="3722467" y="1638938"/>
                  <a:pt x="3722467" y="1637657"/>
                  <a:pt x="3722467" y="1636519"/>
                </a:cubicBezTo>
                <a:lnTo>
                  <a:pt x="3725668" y="1634669"/>
                </a:lnTo>
                <a:lnTo>
                  <a:pt x="3716491" y="1636376"/>
                </a:lnTo>
                <a:lnTo>
                  <a:pt x="3712864" y="1635950"/>
                </a:lnTo>
                <a:lnTo>
                  <a:pt x="3713076" y="1637231"/>
                </a:lnTo>
                <a:cubicBezTo>
                  <a:pt x="3710516" y="1636661"/>
                  <a:pt x="3709876" y="1638084"/>
                  <a:pt x="3706674" y="1635239"/>
                </a:cubicBezTo>
                <a:lnTo>
                  <a:pt x="3706888" y="1634812"/>
                </a:lnTo>
                <a:lnTo>
                  <a:pt x="3700912" y="1633816"/>
                </a:lnTo>
                <a:cubicBezTo>
                  <a:pt x="3697710" y="1632678"/>
                  <a:pt x="3694723" y="1630971"/>
                  <a:pt x="3691948" y="1628979"/>
                </a:cubicBezTo>
                <a:cubicBezTo>
                  <a:pt x="3696643" y="1620300"/>
                  <a:pt x="3706674" y="1622719"/>
                  <a:pt x="3714357" y="1622435"/>
                </a:cubicBezTo>
                <a:cubicBezTo>
                  <a:pt x="3712223" y="1614609"/>
                  <a:pt x="3706674" y="1603513"/>
                  <a:pt x="3715211" y="1599671"/>
                </a:cubicBezTo>
                <a:cubicBezTo>
                  <a:pt x="3721614" y="1601805"/>
                  <a:pt x="3721614" y="1609204"/>
                  <a:pt x="3722894" y="1616601"/>
                </a:cubicBezTo>
                <a:lnTo>
                  <a:pt x="3723747" y="1619589"/>
                </a:lnTo>
                <a:lnTo>
                  <a:pt x="3725882" y="1621154"/>
                </a:lnTo>
                <a:lnTo>
                  <a:pt x="3732498" y="1625280"/>
                </a:lnTo>
                <a:lnTo>
                  <a:pt x="3733138" y="1624710"/>
                </a:lnTo>
                <a:lnTo>
                  <a:pt x="3733138" y="1624284"/>
                </a:lnTo>
                <a:lnTo>
                  <a:pt x="3733351" y="1623288"/>
                </a:lnTo>
                <a:lnTo>
                  <a:pt x="3733351" y="1622150"/>
                </a:lnTo>
                <a:lnTo>
                  <a:pt x="3733565" y="1620727"/>
                </a:lnTo>
                <a:cubicBezTo>
                  <a:pt x="3734418" y="1619589"/>
                  <a:pt x="3735486" y="1618451"/>
                  <a:pt x="3736126" y="1617455"/>
                </a:cubicBezTo>
                <a:cubicBezTo>
                  <a:pt x="3734845" y="1615179"/>
                  <a:pt x="3740821" y="1614467"/>
                  <a:pt x="3739541" y="1612191"/>
                </a:cubicBezTo>
                <a:cubicBezTo>
                  <a:pt x="3744236" y="1610910"/>
                  <a:pt x="3744663" y="1606073"/>
                  <a:pt x="3748505" y="1601948"/>
                </a:cubicBezTo>
                <a:lnTo>
                  <a:pt x="3751919" y="1599529"/>
                </a:lnTo>
                <a:lnTo>
                  <a:pt x="3746797" y="1597395"/>
                </a:lnTo>
                <a:cubicBezTo>
                  <a:pt x="3744449" y="1595830"/>
                  <a:pt x="3741889" y="1593554"/>
                  <a:pt x="3739754" y="1591277"/>
                </a:cubicBezTo>
                <a:lnTo>
                  <a:pt x="3738047" y="1588717"/>
                </a:lnTo>
                <a:lnTo>
                  <a:pt x="3734205" y="1596968"/>
                </a:lnTo>
                <a:cubicBezTo>
                  <a:pt x="3734205" y="1596968"/>
                  <a:pt x="3729723" y="1601521"/>
                  <a:pt x="3726309" y="1598960"/>
                </a:cubicBezTo>
                <a:cubicBezTo>
                  <a:pt x="3725028" y="1598960"/>
                  <a:pt x="3724815" y="1594265"/>
                  <a:pt x="3725882" y="1593127"/>
                </a:cubicBezTo>
                <a:cubicBezTo>
                  <a:pt x="3728230" y="1590851"/>
                  <a:pt x="3729297" y="1589712"/>
                  <a:pt x="3731644" y="1589855"/>
                </a:cubicBezTo>
                <a:cubicBezTo>
                  <a:pt x="3732711" y="1588717"/>
                  <a:pt x="3733778" y="1587578"/>
                  <a:pt x="3735059" y="1587010"/>
                </a:cubicBezTo>
                <a:lnTo>
                  <a:pt x="3737193" y="1587578"/>
                </a:lnTo>
                <a:lnTo>
                  <a:pt x="3734418" y="1584022"/>
                </a:lnTo>
                <a:cubicBezTo>
                  <a:pt x="3732925" y="1581603"/>
                  <a:pt x="3732071" y="1579327"/>
                  <a:pt x="3731644" y="1577619"/>
                </a:cubicBezTo>
                <a:cubicBezTo>
                  <a:pt x="3733778" y="1574205"/>
                  <a:pt x="3736126" y="1571929"/>
                  <a:pt x="3738474" y="1570364"/>
                </a:cubicBezTo>
                <a:lnTo>
                  <a:pt x="3738687" y="1570222"/>
                </a:lnTo>
                <a:lnTo>
                  <a:pt x="3735272" y="1567945"/>
                </a:lnTo>
                <a:cubicBezTo>
                  <a:pt x="3740608" y="1567519"/>
                  <a:pt x="3745730" y="1566807"/>
                  <a:pt x="3751065" y="1567234"/>
                </a:cubicBezTo>
                <a:close/>
                <a:moveTo>
                  <a:pt x="1593657" y="1567108"/>
                </a:moveTo>
                <a:lnTo>
                  <a:pt x="1594793" y="1570516"/>
                </a:lnTo>
                <a:lnTo>
                  <a:pt x="1599026" y="1570826"/>
                </a:lnTo>
                <a:lnTo>
                  <a:pt x="1600162" y="1572065"/>
                </a:lnTo>
                <a:lnTo>
                  <a:pt x="1600781" y="1572065"/>
                </a:lnTo>
                <a:cubicBezTo>
                  <a:pt x="1607390" y="1572995"/>
                  <a:pt x="1612759" y="1577021"/>
                  <a:pt x="1611830" y="1583682"/>
                </a:cubicBezTo>
                <a:cubicBezTo>
                  <a:pt x="1611623" y="1585541"/>
                  <a:pt x="1610798" y="1587709"/>
                  <a:pt x="1609455" y="1590033"/>
                </a:cubicBezTo>
                <a:cubicBezTo>
                  <a:pt x="1605015" y="1590188"/>
                  <a:pt x="1598820" y="1591117"/>
                  <a:pt x="1593347" y="1590033"/>
                </a:cubicBezTo>
                <a:lnTo>
                  <a:pt x="1588700" y="1588019"/>
                </a:lnTo>
                <a:lnTo>
                  <a:pt x="1585603" y="1588019"/>
                </a:lnTo>
                <a:lnTo>
                  <a:pt x="1584776" y="1584612"/>
                </a:lnTo>
                <a:lnTo>
                  <a:pt x="1581472" y="1578416"/>
                </a:lnTo>
                <a:lnTo>
                  <a:pt x="1585087" y="1576247"/>
                </a:lnTo>
                <a:lnTo>
                  <a:pt x="1585706" y="1574698"/>
                </a:lnTo>
                <a:lnTo>
                  <a:pt x="1590662" y="1571136"/>
                </a:lnTo>
                <a:lnTo>
                  <a:pt x="1590972" y="1568192"/>
                </a:lnTo>
                <a:cubicBezTo>
                  <a:pt x="1591488" y="1567263"/>
                  <a:pt x="1592418" y="1566798"/>
                  <a:pt x="1593657" y="1567108"/>
                </a:cubicBezTo>
                <a:close/>
                <a:moveTo>
                  <a:pt x="4376599" y="1565527"/>
                </a:moveTo>
                <a:cubicBezTo>
                  <a:pt x="4386203" y="1573067"/>
                  <a:pt x="4396874" y="1578758"/>
                  <a:pt x="4401355" y="1595261"/>
                </a:cubicBezTo>
                <a:cubicBezTo>
                  <a:pt x="4398794" y="1597537"/>
                  <a:pt x="4397941" y="1603797"/>
                  <a:pt x="4392392" y="1601521"/>
                </a:cubicBezTo>
                <a:lnTo>
                  <a:pt x="4390898" y="1596114"/>
                </a:lnTo>
                <a:lnTo>
                  <a:pt x="4385349" y="1597537"/>
                </a:lnTo>
                <a:cubicBezTo>
                  <a:pt x="4376172" y="1597395"/>
                  <a:pt x="4363367" y="1591277"/>
                  <a:pt x="4363367" y="1581603"/>
                </a:cubicBezTo>
                <a:cubicBezTo>
                  <a:pt x="4367421" y="1583168"/>
                  <a:pt x="4371263" y="1584733"/>
                  <a:pt x="4375532" y="1586014"/>
                </a:cubicBezTo>
                <a:lnTo>
                  <a:pt x="4387056" y="1587863"/>
                </a:lnTo>
                <a:lnTo>
                  <a:pt x="4383001" y="1582457"/>
                </a:lnTo>
                <a:cubicBezTo>
                  <a:pt x="4378519" y="1577051"/>
                  <a:pt x="4374251" y="1572071"/>
                  <a:pt x="4376599" y="1565527"/>
                </a:cubicBezTo>
                <a:close/>
                <a:moveTo>
                  <a:pt x="4574652" y="1565242"/>
                </a:moveTo>
                <a:cubicBezTo>
                  <a:pt x="4577000" y="1566665"/>
                  <a:pt x="4580201" y="1572071"/>
                  <a:pt x="4578920" y="1574489"/>
                </a:cubicBezTo>
                <a:cubicBezTo>
                  <a:pt x="4576786" y="1572925"/>
                  <a:pt x="4575506" y="1571502"/>
                  <a:pt x="4574439" y="1570222"/>
                </a:cubicBezTo>
                <a:cubicBezTo>
                  <a:pt x="4572305" y="1568657"/>
                  <a:pt x="4572305" y="1567376"/>
                  <a:pt x="4574652" y="1565242"/>
                </a:cubicBezTo>
                <a:close/>
                <a:moveTo>
                  <a:pt x="1560718" y="1565095"/>
                </a:moveTo>
                <a:cubicBezTo>
                  <a:pt x="1562370" y="1564475"/>
                  <a:pt x="1564229" y="1566024"/>
                  <a:pt x="1565984" y="1567573"/>
                </a:cubicBezTo>
                <a:cubicBezTo>
                  <a:pt x="1565055" y="1568967"/>
                  <a:pt x="1565777" y="1570826"/>
                  <a:pt x="1562990" y="1571910"/>
                </a:cubicBezTo>
                <a:cubicBezTo>
                  <a:pt x="1561441" y="1570052"/>
                  <a:pt x="1560615" y="1568348"/>
                  <a:pt x="1559066" y="1566334"/>
                </a:cubicBezTo>
                <a:cubicBezTo>
                  <a:pt x="1559582" y="1565714"/>
                  <a:pt x="1560098" y="1565250"/>
                  <a:pt x="1560718" y="1565095"/>
                </a:cubicBezTo>
                <a:close/>
                <a:moveTo>
                  <a:pt x="1170306" y="1564940"/>
                </a:moveTo>
                <a:cubicBezTo>
                  <a:pt x="1172474" y="1564940"/>
                  <a:pt x="1173920" y="1564940"/>
                  <a:pt x="1174850" y="1565559"/>
                </a:cubicBezTo>
                <a:lnTo>
                  <a:pt x="1175056" y="1566024"/>
                </a:lnTo>
                <a:lnTo>
                  <a:pt x="1180941" y="1573459"/>
                </a:lnTo>
                <a:cubicBezTo>
                  <a:pt x="1181251" y="1574543"/>
                  <a:pt x="1181045" y="1578261"/>
                  <a:pt x="1179909" y="1578725"/>
                </a:cubicBezTo>
                <a:cubicBezTo>
                  <a:pt x="1178670" y="1579035"/>
                  <a:pt x="1177947" y="1578725"/>
                  <a:pt x="1177121" y="1578416"/>
                </a:cubicBezTo>
                <a:lnTo>
                  <a:pt x="1174540" y="1574853"/>
                </a:lnTo>
                <a:lnTo>
                  <a:pt x="1173817" y="1576557"/>
                </a:lnTo>
                <a:cubicBezTo>
                  <a:pt x="1172578" y="1578106"/>
                  <a:pt x="1171235" y="1579345"/>
                  <a:pt x="1170306" y="1579500"/>
                </a:cubicBezTo>
                <a:cubicBezTo>
                  <a:pt x="1168448" y="1579190"/>
                  <a:pt x="1166589" y="1577951"/>
                  <a:pt x="1166176" y="1575783"/>
                </a:cubicBezTo>
                <a:cubicBezTo>
                  <a:pt x="1165969" y="1575008"/>
                  <a:pt x="1166072" y="1574388"/>
                  <a:pt x="1166279" y="1573459"/>
                </a:cubicBezTo>
                <a:cubicBezTo>
                  <a:pt x="1166383" y="1570361"/>
                  <a:pt x="1169377" y="1568502"/>
                  <a:pt x="1170306" y="1564940"/>
                </a:cubicBezTo>
                <a:close/>
                <a:moveTo>
                  <a:pt x="3554506" y="1564815"/>
                </a:moveTo>
                <a:cubicBezTo>
                  <a:pt x="3557920" y="1566523"/>
                  <a:pt x="3557920" y="1566523"/>
                  <a:pt x="3560055" y="1569368"/>
                </a:cubicBezTo>
                <a:cubicBezTo>
                  <a:pt x="3558774" y="1569083"/>
                  <a:pt x="3556427" y="1569937"/>
                  <a:pt x="3555359" y="1568515"/>
                </a:cubicBezTo>
                <a:cubicBezTo>
                  <a:pt x="3554292" y="1567092"/>
                  <a:pt x="3554292" y="1567092"/>
                  <a:pt x="3554506" y="1564815"/>
                </a:cubicBezTo>
                <a:close/>
                <a:moveTo>
                  <a:pt x="1691957" y="1564785"/>
                </a:moveTo>
                <a:cubicBezTo>
                  <a:pt x="1693402" y="1566488"/>
                  <a:pt x="1692266" y="1568967"/>
                  <a:pt x="1692989" y="1569896"/>
                </a:cubicBezTo>
                <a:cubicBezTo>
                  <a:pt x="1692163" y="1569741"/>
                  <a:pt x="1690408" y="1569741"/>
                  <a:pt x="1689375" y="1571445"/>
                </a:cubicBezTo>
                <a:cubicBezTo>
                  <a:pt x="1688652" y="1570516"/>
                  <a:pt x="1687827" y="1569741"/>
                  <a:pt x="1687517" y="1568812"/>
                </a:cubicBezTo>
                <a:cubicBezTo>
                  <a:pt x="1687310" y="1568502"/>
                  <a:pt x="1687310" y="1568038"/>
                  <a:pt x="1687413" y="1567573"/>
                </a:cubicBezTo>
                <a:cubicBezTo>
                  <a:pt x="1687517" y="1567108"/>
                  <a:pt x="1687723" y="1566798"/>
                  <a:pt x="1688239" y="1566334"/>
                </a:cubicBezTo>
                <a:cubicBezTo>
                  <a:pt x="1689169" y="1565559"/>
                  <a:pt x="1690201" y="1564785"/>
                  <a:pt x="1691957" y="1564785"/>
                </a:cubicBezTo>
                <a:close/>
                <a:moveTo>
                  <a:pt x="1533562" y="1564320"/>
                </a:moveTo>
                <a:cubicBezTo>
                  <a:pt x="1537898" y="1563081"/>
                  <a:pt x="1542855" y="1568502"/>
                  <a:pt x="1542441" y="1572375"/>
                </a:cubicBezTo>
                <a:cubicBezTo>
                  <a:pt x="1542338" y="1573614"/>
                  <a:pt x="1541616" y="1574698"/>
                  <a:pt x="1540067" y="1575318"/>
                </a:cubicBezTo>
                <a:cubicBezTo>
                  <a:pt x="1538621" y="1575008"/>
                  <a:pt x="1537692" y="1574388"/>
                  <a:pt x="1537072" y="1573769"/>
                </a:cubicBezTo>
                <a:lnTo>
                  <a:pt x="1535936" y="1571755"/>
                </a:lnTo>
                <a:lnTo>
                  <a:pt x="1535627" y="1571291"/>
                </a:lnTo>
                <a:cubicBezTo>
                  <a:pt x="1535007" y="1569277"/>
                  <a:pt x="1534801" y="1566798"/>
                  <a:pt x="1533562" y="1564320"/>
                </a:cubicBezTo>
                <a:close/>
                <a:moveTo>
                  <a:pt x="5826786" y="1564104"/>
                </a:moveTo>
                <a:cubicBezTo>
                  <a:pt x="5828920" y="1564388"/>
                  <a:pt x="5831054" y="1565385"/>
                  <a:pt x="5832762" y="1567661"/>
                </a:cubicBezTo>
                <a:cubicBezTo>
                  <a:pt x="5825292" y="1570648"/>
                  <a:pt x="5817609" y="1576055"/>
                  <a:pt x="5809499" y="1576624"/>
                </a:cubicBezTo>
                <a:cubicBezTo>
                  <a:pt x="5812273" y="1570506"/>
                  <a:pt x="5820170" y="1563393"/>
                  <a:pt x="5826786" y="1564104"/>
                </a:cubicBezTo>
                <a:close/>
                <a:moveTo>
                  <a:pt x="4012504" y="1564104"/>
                </a:moveTo>
                <a:cubicBezTo>
                  <a:pt x="4013999" y="1564673"/>
                  <a:pt x="4015279" y="1565811"/>
                  <a:pt x="4016346" y="1567234"/>
                </a:cubicBezTo>
                <a:cubicBezTo>
                  <a:pt x="4017414" y="1567945"/>
                  <a:pt x="4018054" y="1569226"/>
                  <a:pt x="4018054" y="1570506"/>
                </a:cubicBezTo>
                <a:cubicBezTo>
                  <a:pt x="4018054" y="1571929"/>
                  <a:pt x="4017627" y="1573352"/>
                  <a:pt x="4016987" y="1574489"/>
                </a:cubicBezTo>
                <a:cubicBezTo>
                  <a:pt x="4015706" y="1575486"/>
                  <a:pt x="4015919" y="1575486"/>
                  <a:pt x="4014639" y="1576481"/>
                </a:cubicBezTo>
                <a:cubicBezTo>
                  <a:pt x="4012291" y="1576055"/>
                  <a:pt x="4009943" y="1576766"/>
                  <a:pt x="4007809" y="1575201"/>
                </a:cubicBezTo>
                <a:cubicBezTo>
                  <a:pt x="4005675" y="1572498"/>
                  <a:pt x="4007169" y="1566807"/>
                  <a:pt x="4008450" y="1564673"/>
                </a:cubicBezTo>
                <a:cubicBezTo>
                  <a:pt x="4009730" y="1563678"/>
                  <a:pt x="4011224" y="1563678"/>
                  <a:pt x="4012504" y="1564104"/>
                </a:cubicBezTo>
                <a:close/>
                <a:moveTo>
                  <a:pt x="3803780" y="1564104"/>
                </a:moveTo>
                <a:cubicBezTo>
                  <a:pt x="3806128" y="1564388"/>
                  <a:pt x="3808048" y="1565527"/>
                  <a:pt x="3809543" y="1567661"/>
                </a:cubicBezTo>
                <a:lnTo>
                  <a:pt x="3812530" y="1577904"/>
                </a:lnTo>
                <a:lnTo>
                  <a:pt x="3817012" y="1574347"/>
                </a:lnTo>
                <a:cubicBezTo>
                  <a:pt x="3820854" y="1575628"/>
                  <a:pt x="3823414" y="1579896"/>
                  <a:pt x="3824482" y="1584733"/>
                </a:cubicBezTo>
                <a:cubicBezTo>
                  <a:pt x="3825549" y="1589570"/>
                  <a:pt x="3825336" y="1594834"/>
                  <a:pt x="3823628" y="1598106"/>
                </a:cubicBezTo>
                <a:cubicBezTo>
                  <a:pt x="3818719" y="1600668"/>
                  <a:pt x="3814878" y="1600951"/>
                  <a:pt x="3812103" y="1599671"/>
                </a:cubicBezTo>
                <a:cubicBezTo>
                  <a:pt x="3805914" y="1596684"/>
                  <a:pt x="3805274" y="1586440"/>
                  <a:pt x="3810183" y="1579611"/>
                </a:cubicBezTo>
                <a:lnTo>
                  <a:pt x="3812103" y="1578189"/>
                </a:lnTo>
                <a:lnTo>
                  <a:pt x="3802927" y="1576481"/>
                </a:lnTo>
                <a:cubicBezTo>
                  <a:pt x="3793109" y="1576197"/>
                  <a:pt x="3783505" y="1579469"/>
                  <a:pt x="3777103" y="1572782"/>
                </a:cubicBezTo>
                <a:cubicBezTo>
                  <a:pt x="3785426" y="1570933"/>
                  <a:pt x="3796311" y="1563251"/>
                  <a:pt x="3803780" y="1564104"/>
                </a:cubicBezTo>
                <a:close/>
                <a:moveTo>
                  <a:pt x="3885093" y="1563820"/>
                </a:moveTo>
                <a:lnTo>
                  <a:pt x="3884666" y="1565100"/>
                </a:lnTo>
                <a:lnTo>
                  <a:pt x="3884880" y="1564815"/>
                </a:lnTo>
                <a:close/>
                <a:moveTo>
                  <a:pt x="4991461" y="1563108"/>
                </a:moveTo>
                <a:cubicBezTo>
                  <a:pt x="4992528" y="1563678"/>
                  <a:pt x="4993382" y="1565242"/>
                  <a:pt x="4994022" y="1568088"/>
                </a:cubicBezTo>
                <a:cubicBezTo>
                  <a:pt x="4992101" y="1569226"/>
                  <a:pt x="4990607" y="1569937"/>
                  <a:pt x="4989327" y="1570222"/>
                </a:cubicBezTo>
                <a:lnTo>
                  <a:pt x="4988900" y="1570080"/>
                </a:lnTo>
                <a:lnTo>
                  <a:pt x="4989754" y="1573209"/>
                </a:lnTo>
                <a:cubicBezTo>
                  <a:pt x="4990180" y="1578189"/>
                  <a:pt x="4988900" y="1585302"/>
                  <a:pt x="4986552" y="1588005"/>
                </a:cubicBezTo>
                <a:cubicBezTo>
                  <a:pt x="4980363" y="1575201"/>
                  <a:pt x="4988687" y="1571929"/>
                  <a:pt x="4985272" y="1564673"/>
                </a:cubicBezTo>
                <a:lnTo>
                  <a:pt x="4987620" y="1565100"/>
                </a:lnTo>
                <a:lnTo>
                  <a:pt x="4989113" y="1563251"/>
                </a:lnTo>
                <a:cubicBezTo>
                  <a:pt x="4989967" y="1562824"/>
                  <a:pt x="4990821" y="1562824"/>
                  <a:pt x="4991461" y="1563108"/>
                </a:cubicBezTo>
                <a:close/>
                <a:moveTo>
                  <a:pt x="1141911" y="1562926"/>
                </a:moveTo>
                <a:cubicBezTo>
                  <a:pt x="1145008" y="1562462"/>
                  <a:pt x="1148829" y="1568967"/>
                  <a:pt x="1149862" y="1572220"/>
                </a:cubicBezTo>
                <a:cubicBezTo>
                  <a:pt x="1149035" y="1572375"/>
                  <a:pt x="1148209" y="1572065"/>
                  <a:pt x="1147383" y="1571445"/>
                </a:cubicBezTo>
                <a:cubicBezTo>
                  <a:pt x="1145008" y="1569586"/>
                  <a:pt x="1142633" y="1565405"/>
                  <a:pt x="1141911" y="1562926"/>
                </a:cubicBezTo>
                <a:close/>
                <a:moveTo>
                  <a:pt x="5300493" y="1562539"/>
                </a:moveTo>
                <a:cubicBezTo>
                  <a:pt x="5301773" y="1562255"/>
                  <a:pt x="5303054" y="1562255"/>
                  <a:pt x="5303908" y="1562539"/>
                </a:cubicBezTo>
                <a:cubicBezTo>
                  <a:pt x="5306042" y="1563108"/>
                  <a:pt x="5307536" y="1564673"/>
                  <a:pt x="5308176" y="1566665"/>
                </a:cubicBezTo>
                <a:cubicBezTo>
                  <a:pt x="5309029" y="1568799"/>
                  <a:pt x="5309029" y="1571217"/>
                  <a:pt x="5307962" y="1573636"/>
                </a:cubicBezTo>
                <a:lnTo>
                  <a:pt x="5307109" y="1574632"/>
                </a:lnTo>
                <a:lnTo>
                  <a:pt x="5307536" y="1575486"/>
                </a:lnTo>
                <a:cubicBezTo>
                  <a:pt x="5307962" y="1575201"/>
                  <a:pt x="5307962" y="1575059"/>
                  <a:pt x="5307749" y="1575486"/>
                </a:cubicBezTo>
                <a:cubicBezTo>
                  <a:pt x="5307749" y="1575912"/>
                  <a:pt x="5307536" y="1576766"/>
                  <a:pt x="5307536" y="1578046"/>
                </a:cubicBezTo>
                <a:cubicBezTo>
                  <a:pt x="5306896" y="1579611"/>
                  <a:pt x="5307536" y="1580465"/>
                  <a:pt x="5306042" y="1580181"/>
                </a:cubicBezTo>
                <a:cubicBezTo>
                  <a:pt x="5305401" y="1579896"/>
                  <a:pt x="5304974" y="1579896"/>
                  <a:pt x="5304548" y="1579469"/>
                </a:cubicBezTo>
                <a:lnTo>
                  <a:pt x="5303694" y="1578046"/>
                </a:lnTo>
                <a:lnTo>
                  <a:pt x="5302200" y="1579611"/>
                </a:lnTo>
                <a:cubicBezTo>
                  <a:pt x="5297718" y="1578046"/>
                  <a:pt x="5295371" y="1575343"/>
                  <a:pt x="5293450" y="1573779"/>
                </a:cubicBezTo>
                <a:cubicBezTo>
                  <a:pt x="5294730" y="1570506"/>
                  <a:pt x="5294944" y="1567803"/>
                  <a:pt x="5296438" y="1564531"/>
                </a:cubicBezTo>
                <a:cubicBezTo>
                  <a:pt x="5297932" y="1563535"/>
                  <a:pt x="5299212" y="1562824"/>
                  <a:pt x="5300493" y="1562539"/>
                </a:cubicBezTo>
                <a:close/>
                <a:moveTo>
                  <a:pt x="1530773" y="1562152"/>
                </a:moveTo>
                <a:cubicBezTo>
                  <a:pt x="1531393" y="1563855"/>
                  <a:pt x="1531393" y="1563855"/>
                  <a:pt x="1530258" y="1565559"/>
                </a:cubicBezTo>
                <a:cubicBezTo>
                  <a:pt x="1529431" y="1565559"/>
                  <a:pt x="1529225" y="1566334"/>
                  <a:pt x="1528502" y="1565405"/>
                </a:cubicBezTo>
                <a:cubicBezTo>
                  <a:pt x="1527986" y="1566024"/>
                  <a:pt x="1527057" y="1566644"/>
                  <a:pt x="1525921" y="1567108"/>
                </a:cubicBezTo>
                <a:lnTo>
                  <a:pt x="1524268" y="1567728"/>
                </a:lnTo>
                <a:lnTo>
                  <a:pt x="1526127" y="1568192"/>
                </a:lnTo>
                <a:cubicBezTo>
                  <a:pt x="1527160" y="1568502"/>
                  <a:pt x="1527779" y="1568967"/>
                  <a:pt x="1528192" y="1569432"/>
                </a:cubicBezTo>
                <a:lnTo>
                  <a:pt x="1528192" y="1571291"/>
                </a:lnTo>
                <a:lnTo>
                  <a:pt x="1528192" y="1571755"/>
                </a:lnTo>
                <a:lnTo>
                  <a:pt x="1532529" y="1572375"/>
                </a:lnTo>
                <a:lnTo>
                  <a:pt x="1533562" y="1572995"/>
                </a:lnTo>
                <a:lnTo>
                  <a:pt x="1534078" y="1572840"/>
                </a:lnTo>
                <a:cubicBezTo>
                  <a:pt x="1534697" y="1572685"/>
                  <a:pt x="1535214" y="1572685"/>
                  <a:pt x="1535214" y="1572685"/>
                </a:cubicBezTo>
                <a:cubicBezTo>
                  <a:pt x="1535524" y="1573769"/>
                  <a:pt x="1535524" y="1573924"/>
                  <a:pt x="1534697" y="1573459"/>
                </a:cubicBezTo>
                <a:lnTo>
                  <a:pt x="1534594" y="1573614"/>
                </a:lnTo>
                <a:lnTo>
                  <a:pt x="1536866" y="1574853"/>
                </a:lnTo>
                <a:cubicBezTo>
                  <a:pt x="1535627" y="1576712"/>
                  <a:pt x="1533871" y="1578106"/>
                  <a:pt x="1532013" y="1579500"/>
                </a:cubicBezTo>
                <a:lnTo>
                  <a:pt x="1526540" y="1583063"/>
                </a:lnTo>
                <a:lnTo>
                  <a:pt x="1527986" y="1578725"/>
                </a:lnTo>
                <a:lnTo>
                  <a:pt x="1527882" y="1578880"/>
                </a:lnTo>
                <a:cubicBezTo>
                  <a:pt x="1527057" y="1578571"/>
                  <a:pt x="1525921" y="1578880"/>
                  <a:pt x="1525921" y="1578880"/>
                </a:cubicBezTo>
                <a:cubicBezTo>
                  <a:pt x="1525611" y="1577796"/>
                  <a:pt x="1526024" y="1577021"/>
                  <a:pt x="1526437" y="1576402"/>
                </a:cubicBezTo>
                <a:lnTo>
                  <a:pt x="1528399" y="1576092"/>
                </a:lnTo>
                <a:lnTo>
                  <a:pt x="1528502" y="1575163"/>
                </a:lnTo>
                <a:lnTo>
                  <a:pt x="1527573" y="1572530"/>
                </a:lnTo>
                <a:lnTo>
                  <a:pt x="1525817" y="1573924"/>
                </a:lnTo>
                <a:cubicBezTo>
                  <a:pt x="1524268" y="1574543"/>
                  <a:pt x="1522513" y="1574543"/>
                  <a:pt x="1521687" y="1573614"/>
                </a:cubicBezTo>
                <a:lnTo>
                  <a:pt x="1521481" y="1573304"/>
                </a:lnTo>
                <a:lnTo>
                  <a:pt x="1520758" y="1573304"/>
                </a:lnTo>
                <a:lnTo>
                  <a:pt x="1520345" y="1573304"/>
                </a:lnTo>
                <a:lnTo>
                  <a:pt x="1519932" y="1574388"/>
                </a:lnTo>
                <a:lnTo>
                  <a:pt x="1522823" y="1577331"/>
                </a:lnTo>
                <a:lnTo>
                  <a:pt x="1526540" y="1583063"/>
                </a:lnTo>
                <a:lnTo>
                  <a:pt x="1527366" y="1584147"/>
                </a:lnTo>
                <a:cubicBezTo>
                  <a:pt x="1528915" y="1586625"/>
                  <a:pt x="1530670" y="1588949"/>
                  <a:pt x="1532839" y="1591272"/>
                </a:cubicBezTo>
                <a:cubicBezTo>
                  <a:pt x="1526230" y="1600411"/>
                  <a:pt x="1530154" y="1605058"/>
                  <a:pt x="1530877" y="1610944"/>
                </a:cubicBezTo>
                <a:cubicBezTo>
                  <a:pt x="1523752" y="1614971"/>
                  <a:pt x="1518899" y="1624265"/>
                  <a:pt x="1512394" y="1630771"/>
                </a:cubicBezTo>
                <a:cubicBezTo>
                  <a:pt x="1501449" y="1630926"/>
                  <a:pt x="1492259" y="1634023"/>
                  <a:pt x="1481314" y="1634178"/>
                </a:cubicBezTo>
                <a:lnTo>
                  <a:pt x="1476977" y="1629531"/>
                </a:lnTo>
                <a:lnTo>
                  <a:pt x="1476667" y="1629376"/>
                </a:lnTo>
                <a:cubicBezTo>
                  <a:pt x="1475738" y="1628757"/>
                  <a:pt x="1474809" y="1627828"/>
                  <a:pt x="1473983" y="1627363"/>
                </a:cubicBezTo>
                <a:lnTo>
                  <a:pt x="1474396" y="1627053"/>
                </a:lnTo>
                <a:lnTo>
                  <a:pt x="1467994" y="1622406"/>
                </a:lnTo>
                <a:lnTo>
                  <a:pt x="1466755" y="1623336"/>
                </a:lnTo>
                <a:cubicBezTo>
                  <a:pt x="1464690" y="1624265"/>
                  <a:pt x="1462831" y="1624730"/>
                  <a:pt x="1462418" y="1624885"/>
                </a:cubicBezTo>
                <a:cubicBezTo>
                  <a:pt x="1462005" y="1624110"/>
                  <a:pt x="1462108" y="1624110"/>
                  <a:pt x="1462108" y="1624110"/>
                </a:cubicBezTo>
                <a:cubicBezTo>
                  <a:pt x="1463451" y="1623955"/>
                  <a:pt x="1464483" y="1623181"/>
                  <a:pt x="1465619" y="1622097"/>
                </a:cubicBezTo>
                <a:lnTo>
                  <a:pt x="1466755" y="1621322"/>
                </a:lnTo>
                <a:lnTo>
                  <a:pt x="1464173" y="1618998"/>
                </a:lnTo>
                <a:lnTo>
                  <a:pt x="1458907" y="1621787"/>
                </a:lnTo>
                <a:cubicBezTo>
                  <a:pt x="1459320" y="1619463"/>
                  <a:pt x="1460146" y="1617914"/>
                  <a:pt x="1461076" y="1616675"/>
                </a:cubicBezTo>
                <a:lnTo>
                  <a:pt x="1461489" y="1616365"/>
                </a:lnTo>
                <a:lnTo>
                  <a:pt x="1461386" y="1616210"/>
                </a:lnTo>
                <a:cubicBezTo>
                  <a:pt x="1459630" y="1613887"/>
                  <a:pt x="1458598" y="1611254"/>
                  <a:pt x="1458598" y="1608001"/>
                </a:cubicBezTo>
                <a:cubicBezTo>
                  <a:pt x="1461902" y="1603354"/>
                  <a:pt x="1462831" y="1599946"/>
                  <a:pt x="1463141" y="1596693"/>
                </a:cubicBezTo>
                <a:lnTo>
                  <a:pt x="1463141" y="1596229"/>
                </a:lnTo>
                <a:lnTo>
                  <a:pt x="1462831" y="1596384"/>
                </a:lnTo>
                <a:cubicBezTo>
                  <a:pt x="1462728" y="1596384"/>
                  <a:pt x="1462728" y="1596229"/>
                  <a:pt x="1462625" y="1595764"/>
                </a:cubicBezTo>
                <a:cubicBezTo>
                  <a:pt x="1462625" y="1595764"/>
                  <a:pt x="1462625" y="1595764"/>
                  <a:pt x="1462315" y="1594680"/>
                </a:cubicBezTo>
                <a:cubicBezTo>
                  <a:pt x="1462315" y="1594680"/>
                  <a:pt x="1462108" y="1594525"/>
                  <a:pt x="1462315" y="1594215"/>
                </a:cubicBezTo>
                <a:lnTo>
                  <a:pt x="1463244" y="1593441"/>
                </a:lnTo>
                <a:lnTo>
                  <a:pt x="1463347" y="1591892"/>
                </a:lnTo>
                <a:cubicBezTo>
                  <a:pt x="1463347" y="1590343"/>
                  <a:pt x="1463451" y="1588794"/>
                  <a:pt x="1463967" y="1587245"/>
                </a:cubicBezTo>
                <a:cubicBezTo>
                  <a:pt x="1466652" y="1584302"/>
                  <a:pt x="1469749" y="1581514"/>
                  <a:pt x="1473157" y="1578880"/>
                </a:cubicBezTo>
                <a:lnTo>
                  <a:pt x="1476564" y="1576712"/>
                </a:lnTo>
                <a:lnTo>
                  <a:pt x="1479145" y="1574543"/>
                </a:lnTo>
                <a:lnTo>
                  <a:pt x="1479455" y="1574388"/>
                </a:lnTo>
                <a:lnTo>
                  <a:pt x="1483276" y="1568348"/>
                </a:lnTo>
                <a:cubicBezTo>
                  <a:pt x="1484928" y="1566644"/>
                  <a:pt x="1486993" y="1565250"/>
                  <a:pt x="1489471" y="1564630"/>
                </a:cubicBezTo>
                <a:cubicBezTo>
                  <a:pt x="1492569" y="1564165"/>
                  <a:pt x="1494944" y="1564630"/>
                  <a:pt x="1496905" y="1565714"/>
                </a:cubicBezTo>
                <a:lnTo>
                  <a:pt x="1497215" y="1566024"/>
                </a:lnTo>
                <a:lnTo>
                  <a:pt x="1501656" y="1565714"/>
                </a:lnTo>
                <a:cubicBezTo>
                  <a:pt x="1503617" y="1565869"/>
                  <a:pt x="1505682" y="1566334"/>
                  <a:pt x="1507025" y="1566644"/>
                </a:cubicBezTo>
                <a:lnTo>
                  <a:pt x="1505166" y="1567883"/>
                </a:lnTo>
                <a:lnTo>
                  <a:pt x="1509090" y="1567883"/>
                </a:lnTo>
                <a:lnTo>
                  <a:pt x="1509400" y="1568038"/>
                </a:lnTo>
                <a:lnTo>
                  <a:pt x="1515595" y="1566334"/>
                </a:lnTo>
                <a:lnTo>
                  <a:pt x="1517454" y="1566953"/>
                </a:lnTo>
                <a:lnTo>
                  <a:pt x="1519829" y="1565250"/>
                </a:lnTo>
                <a:cubicBezTo>
                  <a:pt x="1524372" y="1563391"/>
                  <a:pt x="1527676" y="1565095"/>
                  <a:pt x="1530773" y="1562152"/>
                </a:cubicBezTo>
                <a:close/>
                <a:moveTo>
                  <a:pt x="5676752" y="1562112"/>
                </a:moveTo>
                <a:cubicBezTo>
                  <a:pt x="5679740" y="1563962"/>
                  <a:pt x="5682728" y="1565811"/>
                  <a:pt x="5682941" y="1568657"/>
                </a:cubicBezTo>
                <a:cubicBezTo>
                  <a:pt x="5682941" y="1569510"/>
                  <a:pt x="5682728" y="1570506"/>
                  <a:pt x="5682088" y="1571644"/>
                </a:cubicBezTo>
                <a:cubicBezTo>
                  <a:pt x="5676538" y="1573209"/>
                  <a:pt x="5672057" y="1568372"/>
                  <a:pt x="5676752" y="1562112"/>
                </a:cubicBezTo>
                <a:close/>
                <a:moveTo>
                  <a:pt x="3832592" y="1561116"/>
                </a:moveTo>
                <a:cubicBezTo>
                  <a:pt x="3834513" y="1562681"/>
                  <a:pt x="3831952" y="1575628"/>
                  <a:pt x="3827043" y="1572925"/>
                </a:cubicBezTo>
                <a:cubicBezTo>
                  <a:pt x="3823414" y="1569652"/>
                  <a:pt x="3830031" y="1561116"/>
                  <a:pt x="3832592" y="1561116"/>
                </a:cubicBezTo>
                <a:close/>
                <a:moveTo>
                  <a:pt x="1383221" y="1560758"/>
                </a:moveTo>
                <a:cubicBezTo>
                  <a:pt x="1384357" y="1561222"/>
                  <a:pt x="1385286" y="1562771"/>
                  <a:pt x="1385905" y="1565250"/>
                </a:cubicBezTo>
                <a:cubicBezTo>
                  <a:pt x="1385079" y="1566644"/>
                  <a:pt x="1382188" y="1565869"/>
                  <a:pt x="1380123" y="1565714"/>
                </a:cubicBezTo>
                <a:cubicBezTo>
                  <a:pt x="1388383" y="1567418"/>
                  <a:pt x="1395508" y="1573459"/>
                  <a:pt x="1397367" y="1582288"/>
                </a:cubicBezTo>
                <a:cubicBezTo>
                  <a:pt x="1396334" y="1582908"/>
                  <a:pt x="1395302" y="1583682"/>
                  <a:pt x="1395921" y="1584612"/>
                </a:cubicBezTo>
                <a:lnTo>
                  <a:pt x="1387867" y="1587864"/>
                </a:lnTo>
                <a:lnTo>
                  <a:pt x="1388693" y="1588329"/>
                </a:lnTo>
                <a:cubicBezTo>
                  <a:pt x="1389416" y="1588794"/>
                  <a:pt x="1389829" y="1589413"/>
                  <a:pt x="1389416" y="1589568"/>
                </a:cubicBezTo>
                <a:cubicBezTo>
                  <a:pt x="1389003" y="1590652"/>
                  <a:pt x="1389829" y="1590343"/>
                  <a:pt x="1390242" y="1591117"/>
                </a:cubicBezTo>
                <a:lnTo>
                  <a:pt x="1389519" y="1592201"/>
                </a:lnTo>
                <a:lnTo>
                  <a:pt x="1390139" y="1592666"/>
                </a:lnTo>
                <a:cubicBezTo>
                  <a:pt x="1391894" y="1593751"/>
                  <a:pt x="1391894" y="1593751"/>
                  <a:pt x="1391584" y="1594835"/>
                </a:cubicBezTo>
                <a:cubicBezTo>
                  <a:pt x="1391378" y="1595454"/>
                  <a:pt x="1390655" y="1595764"/>
                  <a:pt x="1389932" y="1596229"/>
                </a:cubicBezTo>
                <a:lnTo>
                  <a:pt x="1389003" y="1597003"/>
                </a:lnTo>
                <a:lnTo>
                  <a:pt x="1390345" y="1598552"/>
                </a:lnTo>
                <a:cubicBezTo>
                  <a:pt x="1391068" y="1599172"/>
                  <a:pt x="1391791" y="1599791"/>
                  <a:pt x="1392617" y="1600721"/>
                </a:cubicBezTo>
                <a:cubicBezTo>
                  <a:pt x="1391171" y="1603044"/>
                  <a:pt x="1386112" y="1606142"/>
                  <a:pt x="1381981" y="1604903"/>
                </a:cubicBezTo>
                <a:cubicBezTo>
                  <a:pt x="1381568" y="1603664"/>
                  <a:pt x="1381465" y="1602580"/>
                  <a:pt x="1381568" y="1601650"/>
                </a:cubicBezTo>
                <a:cubicBezTo>
                  <a:pt x="1381672" y="1600256"/>
                  <a:pt x="1382395" y="1599172"/>
                  <a:pt x="1383634" y="1598242"/>
                </a:cubicBezTo>
                <a:lnTo>
                  <a:pt x="1387247" y="1597003"/>
                </a:lnTo>
                <a:lnTo>
                  <a:pt x="1386422" y="1596539"/>
                </a:lnTo>
                <a:lnTo>
                  <a:pt x="1386112" y="1594990"/>
                </a:lnTo>
                <a:lnTo>
                  <a:pt x="1384047" y="1595299"/>
                </a:lnTo>
                <a:cubicBezTo>
                  <a:pt x="1382807" y="1594835"/>
                  <a:pt x="1381465" y="1594215"/>
                  <a:pt x="1380329" y="1593441"/>
                </a:cubicBezTo>
                <a:lnTo>
                  <a:pt x="1378987" y="1590652"/>
                </a:lnTo>
                <a:lnTo>
                  <a:pt x="1379090" y="1592666"/>
                </a:lnTo>
                <a:cubicBezTo>
                  <a:pt x="1376715" y="1593286"/>
                  <a:pt x="1375373" y="1592047"/>
                  <a:pt x="1374960" y="1590497"/>
                </a:cubicBezTo>
                <a:lnTo>
                  <a:pt x="1375476" y="1587864"/>
                </a:lnTo>
                <a:lnTo>
                  <a:pt x="1373205" y="1587554"/>
                </a:lnTo>
                <a:cubicBezTo>
                  <a:pt x="1365873" y="1584921"/>
                  <a:pt x="1360194" y="1579035"/>
                  <a:pt x="1360194" y="1571445"/>
                </a:cubicBezTo>
                <a:cubicBezTo>
                  <a:pt x="1365564" y="1566798"/>
                  <a:pt x="1371656" y="1564785"/>
                  <a:pt x="1377335" y="1565250"/>
                </a:cubicBezTo>
                <a:cubicBezTo>
                  <a:pt x="1378058" y="1565250"/>
                  <a:pt x="1378677" y="1565559"/>
                  <a:pt x="1379400" y="1565559"/>
                </a:cubicBezTo>
                <a:cubicBezTo>
                  <a:pt x="1379607" y="1564475"/>
                  <a:pt x="1379916" y="1563391"/>
                  <a:pt x="1379194" y="1563855"/>
                </a:cubicBezTo>
                <a:cubicBezTo>
                  <a:pt x="1379503" y="1562771"/>
                  <a:pt x="1380020" y="1561997"/>
                  <a:pt x="1380639" y="1561532"/>
                </a:cubicBezTo>
                <a:cubicBezTo>
                  <a:pt x="1381362" y="1561067"/>
                  <a:pt x="1382188" y="1560758"/>
                  <a:pt x="1383221" y="1560758"/>
                </a:cubicBezTo>
                <a:close/>
                <a:moveTo>
                  <a:pt x="5471229" y="1560263"/>
                </a:moveTo>
                <a:cubicBezTo>
                  <a:pt x="5474003" y="1562112"/>
                  <a:pt x="5477632" y="1564388"/>
                  <a:pt x="5478912" y="1566523"/>
                </a:cubicBezTo>
                <a:cubicBezTo>
                  <a:pt x="5476351" y="1566380"/>
                  <a:pt x="5472082" y="1564958"/>
                  <a:pt x="5471656" y="1561828"/>
                </a:cubicBezTo>
                <a:cubicBezTo>
                  <a:pt x="5471656" y="1561828"/>
                  <a:pt x="5471656" y="1561970"/>
                  <a:pt x="5471229" y="1560263"/>
                </a:cubicBezTo>
                <a:close/>
                <a:moveTo>
                  <a:pt x="5269333" y="1560263"/>
                </a:moveTo>
                <a:cubicBezTo>
                  <a:pt x="5277016" y="1561543"/>
                  <a:pt x="5286834" y="1567803"/>
                  <a:pt x="5288115" y="1571502"/>
                </a:cubicBezTo>
                <a:cubicBezTo>
                  <a:pt x="5283419" y="1572925"/>
                  <a:pt x="5279791" y="1569510"/>
                  <a:pt x="5274242" y="1570222"/>
                </a:cubicBezTo>
                <a:cubicBezTo>
                  <a:pt x="5272108" y="1566380"/>
                  <a:pt x="5265278" y="1566523"/>
                  <a:pt x="5262717" y="1560974"/>
                </a:cubicBezTo>
                <a:cubicBezTo>
                  <a:pt x="5264425" y="1560121"/>
                  <a:pt x="5266773" y="1559836"/>
                  <a:pt x="5269333" y="1560263"/>
                </a:cubicBezTo>
                <a:close/>
                <a:moveTo>
                  <a:pt x="4539651" y="1560121"/>
                </a:moveTo>
                <a:cubicBezTo>
                  <a:pt x="4539651" y="1563535"/>
                  <a:pt x="4539438" y="1568230"/>
                  <a:pt x="4538371" y="1570364"/>
                </a:cubicBezTo>
                <a:cubicBezTo>
                  <a:pt x="4537304" y="1567945"/>
                  <a:pt x="4536237" y="1563108"/>
                  <a:pt x="4538584" y="1561116"/>
                </a:cubicBezTo>
                <a:cubicBezTo>
                  <a:pt x="4538584" y="1561116"/>
                  <a:pt x="4538584" y="1561116"/>
                  <a:pt x="4539651" y="1560121"/>
                </a:cubicBezTo>
                <a:close/>
                <a:moveTo>
                  <a:pt x="1343467" y="1559983"/>
                </a:moveTo>
                <a:cubicBezTo>
                  <a:pt x="1341711" y="1561222"/>
                  <a:pt x="1339956" y="1562152"/>
                  <a:pt x="1338201" y="1562616"/>
                </a:cubicBezTo>
                <a:lnTo>
                  <a:pt x="1332935" y="1563855"/>
                </a:lnTo>
                <a:lnTo>
                  <a:pt x="1334277" y="1568812"/>
                </a:lnTo>
                <a:cubicBezTo>
                  <a:pt x="1333864" y="1570206"/>
                  <a:pt x="1333038" y="1571600"/>
                  <a:pt x="1331696" y="1572530"/>
                </a:cubicBezTo>
                <a:cubicBezTo>
                  <a:pt x="1329940" y="1573769"/>
                  <a:pt x="1327359" y="1574079"/>
                  <a:pt x="1324158" y="1573149"/>
                </a:cubicBezTo>
                <a:cubicBezTo>
                  <a:pt x="1323435" y="1571136"/>
                  <a:pt x="1323538" y="1569741"/>
                  <a:pt x="1323641" y="1568348"/>
                </a:cubicBezTo>
                <a:lnTo>
                  <a:pt x="1324055" y="1565869"/>
                </a:lnTo>
                <a:lnTo>
                  <a:pt x="1323022" y="1565405"/>
                </a:lnTo>
                <a:lnTo>
                  <a:pt x="1322299" y="1565559"/>
                </a:lnTo>
                <a:lnTo>
                  <a:pt x="1323022" y="1566179"/>
                </a:lnTo>
                <a:cubicBezTo>
                  <a:pt x="1323229" y="1566798"/>
                  <a:pt x="1323229" y="1567108"/>
                  <a:pt x="1323229" y="1567108"/>
                </a:cubicBezTo>
                <a:lnTo>
                  <a:pt x="1321473" y="1570516"/>
                </a:lnTo>
                <a:lnTo>
                  <a:pt x="1322506" y="1571755"/>
                </a:lnTo>
                <a:cubicBezTo>
                  <a:pt x="1319408" y="1574233"/>
                  <a:pt x="1314452" y="1574853"/>
                  <a:pt x="1310735" y="1575627"/>
                </a:cubicBezTo>
                <a:cubicBezTo>
                  <a:pt x="1312077" y="1572220"/>
                  <a:pt x="1315794" y="1571445"/>
                  <a:pt x="1314142" y="1564785"/>
                </a:cubicBezTo>
                <a:lnTo>
                  <a:pt x="1316310" y="1566024"/>
                </a:lnTo>
                <a:lnTo>
                  <a:pt x="1317860" y="1563855"/>
                </a:lnTo>
                <a:lnTo>
                  <a:pt x="1320854" y="1564475"/>
                </a:lnTo>
                <a:lnTo>
                  <a:pt x="1320751" y="1564165"/>
                </a:lnTo>
                <a:cubicBezTo>
                  <a:pt x="1320751" y="1563236"/>
                  <a:pt x="1321473" y="1562926"/>
                  <a:pt x="1322403" y="1562616"/>
                </a:cubicBezTo>
                <a:cubicBezTo>
                  <a:pt x="1323332" y="1562307"/>
                  <a:pt x="1324468" y="1562152"/>
                  <a:pt x="1325191" y="1561997"/>
                </a:cubicBezTo>
                <a:cubicBezTo>
                  <a:pt x="1325397" y="1560138"/>
                  <a:pt x="1329114" y="1562616"/>
                  <a:pt x="1329218" y="1560758"/>
                </a:cubicBezTo>
                <a:cubicBezTo>
                  <a:pt x="1333761" y="1562926"/>
                  <a:pt x="1336136" y="1557659"/>
                  <a:pt x="1343467" y="1559983"/>
                </a:cubicBezTo>
                <a:close/>
                <a:moveTo>
                  <a:pt x="5102866" y="1559267"/>
                </a:moveTo>
                <a:cubicBezTo>
                  <a:pt x="5105427" y="1559836"/>
                  <a:pt x="5107561" y="1559267"/>
                  <a:pt x="5110122" y="1559836"/>
                </a:cubicBezTo>
                <a:cubicBezTo>
                  <a:pt x="5112897" y="1562966"/>
                  <a:pt x="5113110" y="1571644"/>
                  <a:pt x="5109269" y="1574205"/>
                </a:cubicBezTo>
                <a:cubicBezTo>
                  <a:pt x="5107988" y="1575059"/>
                  <a:pt x="5106494" y="1575059"/>
                  <a:pt x="5104360" y="1574063"/>
                </a:cubicBezTo>
                <a:cubicBezTo>
                  <a:pt x="5098385" y="1570648"/>
                  <a:pt x="5100092" y="1565100"/>
                  <a:pt x="5102866" y="1559267"/>
                </a:cubicBezTo>
                <a:close/>
                <a:moveTo>
                  <a:pt x="1250794" y="1558937"/>
                </a:moveTo>
                <a:cubicBezTo>
                  <a:pt x="1255028" y="1558434"/>
                  <a:pt x="1259107" y="1558899"/>
                  <a:pt x="1260346" y="1560138"/>
                </a:cubicBezTo>
                <a:cubicBezTo>
                  <a:pt x="1259003" y="1561532"/>
                  <a:pt x="1257455" y="1561997"/>
                  <a:pt x="1255802" y="1562462"/>
                </a:cubicBezTo>
                <a:lnTo>
                  <a:pt x="1254047" y="1563236"/>
                </a:lnTo>
                <a:lnTo>
                  <a:pt x="1256215" y="1563081"/>
                </a:lnTo>
                <a:cubicBezTo>
                  <a:pt x="1256732" y="1564940"/>
                  <a:pt x="1257248" y="1566798"/>
                  <a:pt x="1256628" y="1568348"/>
                </a:cubicBezTo>
                <a:cubicBezTo>
                  <a:pt x="1254150" y="1568192"/>
                  <a:pt x="1252292" y="1568502"/>
                  <a:pt x="1250433" y="1567728"/>
                </a:cubicBezTo>
                <a:cubicBezTo>
                  <a:pt x="1250020" y="1566644"/>
                  <a:pt x="1249917" y="1565869"/>
                  <a:pt x="1250124" y="1565095"/>
                </a:cubicBezTo>
                <a:lnTo>
                  <a:pt x="1250227" y="1564785"/>
                </a:lnTo>
                <a:lnTo>
                  <a:pt x="1245787" y="1564475"/>
                </a:lnTo>
                <a:cubicBezTo>
                  <a:pt x="1243928" y="1564630"/>
                  <a:pt x="1241966" y="1564785"/>
                  <a:pt x="1240314" y="1563546"/>
                </a:cubicBezTo>
                <a:cubicBezTo>
                  <a:pt x="1242173" y="1560912"/>
                  <a:pt x="1246561" y="1559441"/>
                  <a:pt x="1250794" y="1558937"/>
                </a:cubicBezTo>
                <a:close/>
                <a:moveTo>
                  <a:pt x="1479042" y="1558744"/>
                </a:moveTo>
                <a:cubicBezTo>
                  <a:pt x="1480694" y="1559673"/>
                  <a:pt x="1480488" y="1560603"/>
                  <a:pt x="1479559" y="1561377"/>
                </a:cubicBezTo>
                <a:cubicBezTo>
                  <a:pt x="1479559" y="1561377"/>
                  <a:pt x="1478423" y="1562152"/>
                  <a:pt x="1477494" y="1562926"/>
                </a:cubicBezTo>
                <a:cubicBezTo>
                  <a:pt x="1476461" y="1563701"/>
                  <a:pt x="1476255" y="1564475"/>
                  <a:pt x="1476255" y="1564475"/>
                </a:cubicBezTo>
                <a:cubicBezTo>
                  <a:pt x="1475222" y="1565250"/>
                  <a:pt x="1474396" y="1565250"/>
                  <a:pt x="1473673" y="1564320"/>
                </a:cubicBezTo>
                <a:cubicBezTo>
                  <a:pt x="1473673" y="1564320"/>
                  <a:pt x="1474809" y="1562616"/>
                  <a:pt x="1474809" y="1562616"/>
                </a:cubicBezTo>
                <a:cubicBezTo>
                  <a:pt x="1476874" y="1561067"/>
                  <a:pt x="1477906" y="1560293"/>
                  <a:pt x="1479042" y="1558744"/>
                </a:cubicBezTo>
                <a:close/>
                <a:moveTo>
                  <a:pt x="4563981" y="1558129"/>
                </a:moveTo>
                <a:cubicBezTo>
                  <a:pt x="4565049" y="1558129"/>
                  <a:pt x="4566115" y="1558698"/>
                  <a:pt x="4566969" y="1560263"/>
                </a:cubicBezTo>
                <a:lnTo>
                  <a:pt x="4564835" y="1563108"/>
                </a:lnTo>
                <a:lnTo>
                  <a:pt x="4565902" y="1562966"/>
                </a:lnTo>
                <a:cubicBezTo>
                  <a:pt x="4569530" y="1566807"/>
                  <a:pt x="4567396" y="1569226"/>
                  <a:pt x="4565262" y="1573921"/>
                </a:cubicBezTo>
                <a:cubicBezTo>
                  <a:pt x="4563981" y="1572640"/>
                  <a:pt x="4560780" y="1576197"/>
                  <a:pt x="4559499" y="1577335"/>
                </a:cubicBezTo>
                <a:cubicBezTo>
                  <a:pt x="4557152" y="1574774"/>
                  <a:pt x="4552670" y="1578189"/>
                  <a:pt x="4549042" y="1574347"/>
                </a:cubicBezTo>
                <a:cubicBezTo>
                  <a:pt x="4548828" y="1571929"/>
                  <a:pt x="4548828" y="1570791"/>
                  <a:pt x="4549895" y="1568372"/>
                </a:cubicBezTo>
                <a:cubicBezTo>
                  <a:pt x="4552243" y="1566380"/>
                  <a:pt x="4554164" y="1565100"/>
                  <a:pt x="4556085" y="1564388"/>
                </a:cubicBezTo>
                <a:lnTo>
                  <a:pt x="4560566" y="1563108"/>
                </a:lnTo>
                <a:lnTo>
                  <a:pt x="4560353" y="1560832"/>
                </a:lnTo>
                <a:cubicBezTo>
                  <a:pt x="4560993" y="1559267"/>
                  <a:pt x="4562274" y="1557986"/>
                  <a:pt x="4563981" y="1558129"/>
                </a:cubicBezTo>
                <a:close/>
                <a:moveTo>
                  <a:pt x="1609558" y="1557659"/>
                </a:moveTo>
                <a:cubicBezTo>
                  <a:pt x="1612966" y="1557505"/>
                  <a:pt x="1615340" y="1560138"/>
                  <a:pt x="1616270" y="1563236"/>
                </a:cubicBezTo>
                <a:cubicBezTo>
                  <a:pt x="1617096" y="1566334"/>
                  <a:pt x="1616683" y="1569741"/>
                  <a:pt x="1614514" y="1571445"/>
                </a:cubicBezTo>
                <a:cubicBezTo>
                  <a:pt x="1610384" y="1568348"/>
                  <a:pt x="1607700" y="1565559"/>
                  <a:pt x="1608113" y="1561687"/>
                </a:cubicBezTo>
                <a:cubicBezTo>
                  <a:pt x="1608216" y="1560448"/>
                  <a:pt x="1608732" y="1559208"/>
                  <a:pt x="1609558" y="1557659"/>
                </a:cubicBezTo>
                <a:close/>
                <a:moveTo>
                  <a:pt x="4511480" y="1557560"/>
                </a:moveTo>
                <a:cubicBezTo>
                  <a:pt x="4512974" y="1557986"/>
                  <a:pt x="4514468" y="1560121"/>
                  <a:pt x="4515108" y="1561259"/>
                </a:cubicBezTo>
                <a:cubicBezTo>
                  <a:pt x="4514254" y="1561828"/>
                  <a:pt x="4514895" y="1562824"/>
                  <a:pt x="4514041" y="1563535"/>
                </a:cubicBezTo>
                <a:cubicBezTo>
                  <a:pt x="4512761" y="1565811"/>
                  <a:pt x="4512761" y="1565953"/>
                  <a:pt x="4511053" y="1565527"/>
                </a:cubicBezTo>
                <a:cubicBezTo>
                  <a:pt x="4509559" y="1565100"/>
                  <a:pt x="4508279" y="1561259"/>
                  <a:pt x="4506571" y="1560832"/>
                </a:cubicBezTo>
                <a:cubicBezTo>
                  <a:pt x="4506571" y="1560832"/>
                  <a:pt x="4506571" y="1560690"/>
                  <a:pt x="4507852" y="1558414"/>
                </a:cubicBezTo>
                <a:cubicBezTo>
                  <a:pt x="4508706" y="1557702"/>
                  <a:pt x="4509773" y="1557133"/>
                  <a:pt x="4511480" y="1557560"/>
                </a:cubicBezTo>
                <a:close/>
                <a:moveTo>
                  <a:pt x="3886800" y="1557560"/>
                </a:moveTo>
                <a:cubicBezTo>
                  <a:pt x="3888081" y="1557417"/>
                  <a:pt x="3888721" y="1558129"/>
                  <a:pt x="3888935" y="1559267"/>
                </a:cubicBezTo>
                <a:lnTo>
                  <a:pt x="3888935" y="1561116"/>
                </a:lnTo>
                <a:lnTo>
                  <a:pt x="3892990" y="1558840"/>
                </a:lnTo>
                <a:cubicBezTo>
                  <a:pt x="3895764" y="1560690"/>
                  <a:pt x="3900673" y="1559409"/>
                  <a:pt x="3903447" y="1567234"/>
                </a:cubicBezTo>
                <a:cubicBezTo>
                  <a:pt x="3905795" y="1576055"/>
                  <a:pt x="3897045" y="1579327"/>
                  <a:pt x="3897898" y="1579896"/>
                </a:cubicBezTo>
                <a:lnTo>
                  <a:pt x="3898111" y="1580892"/>
                </a:lnTo>
                <a:lnTo>
                  <a:pt x="3899392" y="1580038"/>
                </a:lnTo>
                <a:cubicBezTo>
                  <a:pt x="3900033" y="1579327"/>
                  <a:pt x="3900459" y="1578900"/>
                  <a:pt x="3900459" y="1578900"/>
                </a:cubicBezTo>
                <a:cubicBezTo>
                  <a:pt x="3903020" y="1578616"/>
                  <a:pt x="3903447" y="1579611"/>
                  <a:pt x="3903020" y="1578616"/>
                </a:cubicBezTo>
                <a:cubicBezTo>
                  <a:pt x="3906008" y="1579469"/>
                  <a:pt x="3910063" y="1579611"/>
                  <a:pt x="3910277" y="1582315"/>
                </a:cubicBezTo>
                <a:cubicBezTo>
                  <a:pt x="3908782" y="1589143"/>
                  <a:pt x="3899819" y="1590282"/>
                  <a:pt x="3893843" y="1590709"/>
                </a:cubicBezTo>
                <a:lnTo>
                  <a:pt x="3889788" y="1591135"/>
                </a:lnTo>
                <a:lnTo>
                  <a:pt x="3888295" y="1594692"/>
                </a:lnTo>
                <a:cubicBezTo>
                  <a:pt x="3886374" y="1595830"/>
                  <a:pt x="3883599" y="1594265"/>
                  <a:pt x="3882959" y="1591989"/>
                </a:cubicBezTo>
                <a:lnTo>
                  <a:pt x="3883812" y="1589001"/>
                </a:lnTo>
                <a:lnTo>
                  <a:pt x="3881678" y="1589143"/>
                </a:lnTo>
                <a:cubicBezTo>
                  <a:pt x="3882105" y="1587578"/>
                  <a:pt x="3883599" y="1582599"/>
                  <a:pt x="3883599" y="1582599"/>
                </a:cubicBezTo>
                <a:cubicBezTo>
                  <a:pt x="3883172" y="1581603"/>
                  <a:pt x="3883172" y="1581603"/>
                  <a:pt x="3883599" y="1580038"/>
                </a:cubicBezTo>
                <a:cubicBezTo>
                  <a:pt x="3885093" y="1580323"/>
                  <a:pt x="3885093" y="1580323"/>
                  <a:pt x="3885733" y="1581461"/>
                </a:cubicBezTo>
                <a:cubicBezTo>
                  <a:pt x="3885093" y="1583026"/>
                  <a:pt x="3884026" y="1583595"/>
                  <a:pt x="3883599" y="1585302"/>
                </a:cubicBezTo>
                <a:cubicBezTo>
                  <a:pt x="3886587" y="1586014"/>
                  <a:pt x="3886160" y="1585018"/>
                  <a:pt x="3885733" y="1586725"/>
                </a:cubicBezTo>
                <a:cubicBezTo>
                  <a:pt x="3885733" y="1586725"/>
                  <a:pt x="3885733" y="1586725"/>
                  <a:pt x="3885093" y="1588432"/>
                </a:cubicBezTo>
                <a:lnTo>
                  <a:pt x="3885093" y="1588717"/>
                </a:lnTo>
                <a:lnTo>
                  <a:pt x="3885307" y="1588859"/>
                </a:lnTo>
                <a:lnTo>
                  <a:pt x="3885093" y="1588432"/>
                </a:lnTo>
                <a:lnTo>
                  <a:pt x="3895551" y="1582883"/>
                </a:lnTo>
                <a:lnTo>
                  <a:pt x="3895764" y="1581461"/>
                </a:lnTo>
                <a:cubicBezTo>
                  <a:pt x="3894910" y="1582457"/>
                  <a:pt x="3894697" y="1580750"/>
                  <a:pt x="3894697" y="1580750"/>
                </a:cubicBezTo>
                <a:cubicBezTo>
                  <a:pt x="3894697" y="1580750"/>
                  <a:pt x="3894697" y="1580750"/>
                  <a:pt x="3891496" y="1581603"/>
                </a:cubicBezTo>
                <a:cubicBezTo>
                  <a:pt x="3891496" y="1581603"/>
                  <a:pt x="3884239" y="1582741"/>
                  <a:pt x="3882105" y="1575628"/>
                </a:cubicBezTo>
                <a:cubicBezTo>
                  <a:pt x="3882745" y="1575486"/>
                  <a:pt x="3882959" y="1574063"/>
                  <a:pt x="3883172" y="1572071"/>
                </a:cubicBezTo>
                <a:lnTo>
                  <a:pt x="3883812" y="1568657"/>
                </a:lnTo>
                <a:lnTo>
                  <a:pt x="3883386" y="1570080"/>
                </a:lnTo>
                <a:cubicBezTo>
                  <a:pt x="3882105" y="1571502"/>
                  <a:pt x="3880184" y="1572214"/>
                  <a:pt x="3878264" y="1572356"/>
                </a:cubicBezTo>
                <a:cubicBezTo>
                  <a:pt x="3874636" y="1567945"/>
                  <a:pt x="3876343" y="1563962"/>
                  <a:pt x="3880398" y="1563108"/>
                </a:cubicBezTo>
                <a:lnTo>
                  <a:pt x="3885093" y="1563393"/>
                </a:lnTo>
                <a:cubicBezTo>
                  <a:pt x="3885307" y="1561116"/>
                  <a:pt x="3885520" y="1559267"/>
                  <a:pt x="3885733" y="1558129"/>
                </a:cubicBezTo>
                <a:cubicBezTo>
                  <a:pt x="3886587" y="1557560"/>
                  <a:pt x="3886800" y="1557560"/>
                  <a:pt x="3886800" y="1557560"/>
                </a:cubicBezTo>
                <a:close/>
                <a:moveTo>
                  <a:pt x="1183317" y="1557505"/>
                </a:moveTo>
                <a:cubicBezTo>
                  <a:pt x="1184452" y="1562771"/>
                  <a:pt x="1188066" y="1566488"/>
                  <a:pt x="1186827" y="1569277"/>
                </a:cubicBezTo>
                <a:cubicBezTo>
                  <a:pt x="1186414" y="1570206"/>
                  <a:pt x="1185485" y="1571136"/>
                  <a:pt x="1183730" y="1571910"/>
                </a:cubicBezTo>
                <a:cubicBezTo>
                  <a:pt x="1182387" y="1570671"/>
                  <a:pt x="1179806" y="1566488"/>
                  <a:pt x="1179290" y="1562926"/>
                </a:cubicBezTo>
                <a:cubicBezTo>
                  <a:pt x="1179083" y="1561687"/>
                  <a:pt x="1179186" y="1560603"/>
                  <a:pt x="1179599" y="1559673"/>
                </a:cubicBezTo>
                <a:cubicBezTo>
                  <a:pt x="1180116" y="1558434"/>
                  <a:pt x="1181355" y="1557659"/>
                  <a:pt x="1183317" y="1557505"/>
                </a:cubicBezTo>
                <a:close/>
                <a:moveTo>
                  <a:pt x="3615971" y="1557417"/>
                </a:moveTo>
                <a:cubicBezTo>
                  <a:pt x="3617251" y="1557275"/>
                  <a:pt x="3618318" y="1557417"/>
                  <a:pt x="3618958" y="1557702"/>
                </a:cubicBezTo>
                <a:cubicBezTo>
                  <a:pt x="3624294" y="1567661"/>
                  <a:pt x="3615971" y="1572214"/>
                  <a:pt x="3610208" y="1569083"/>
                </a:cubicBezTo>
                <a:cubicBezTo>
                  <a:pt x="3608287" y="1568088"/>
                  <a:pt x="3606580" y="1566238"/>
                  <a:pt x="3605726" y="1563393"/>
                </a:cubicBezTo>
                <a:cubicBezTo>
                  <a:pt x="3607007" y="1560974"/>
                  <a:pt x="3612129" y="1558129"/>
                  <a:pt x="3615971" y="1557417"/>
                </a:cubicBezTo>
                <a:close/>
                <a:moveTo>
                  <a:pt x="1526850" y="1557350"/>
                </a:moveTo>
                <a:cubicBezTo>
                  <a:pt x="1527263" y="1558124"/>
                  <a:pt x="1528192" y="1559519"/>
                  <a:pt x="1530154" y="1559519"/>
                </a:cubicBezTo>
                <a:cubicBezTo>
                  <a:pt x="1529638" y="1561687"/>
                  <a:pt x="1529018" y="1564010"/>
                  <a:pt x="1526643" y="1563236"/>
                </a:cubicBezTo>
                <a:cubicBezTo>
                  <a:pt x="1525404" y="1562926"/>
                  <a:pt x="1524268" y="1562616"/>
                  <a:pt x="1523339" y="1561067"/>
                </a:cubicBezTo>
                <a:cubicBezTo>
                  <a:pt x="1523856" y="1558744"/>
                  <a:pt x="1526540" y="1558434"/>
                  <a:pt x="1526850" y="1557350"/>
                </a:cubicBezTo>
                <a:close/>
                <a:moveTo>
                  <a:pt x="6004992" y="1556991"/>
                </a:moveTo>
                <a:cubicBezTo>
                  <a:pt x="6005205" y="1558271"/>
                  <a:pt x="6005418" y="1559409"/>
                  <a:pt x="6006485" y="1559409"/>
                </a:cubicBezTo>
                <a:cubicBezTo>
                  <a:pt x="6004565" y="1561828"/>
                  <a:pt x="6003497" y="1561970"/>
                  <a:pt x="6002430" y="1563108"/>
                </a:cubicBezTo>
                <a:cubicBezTo>
                  <a:pt x="6003711" y="1563108"/>
                  <a:pt x="6002644" y="1564388"/>
                  <a:pt x="6002644" y="1564388"/>
                </a:cubicBezTo>
                <a:cubicBezTo>
                  <a:pt x="6002644" y="1564388"/>
                  <a:pt x="6002644" y="1564388"/>
                  <a:pt x="6005205" y="1566665"/>
                </a:cubicBezTo>
                <a:cubicBezTo>
                  <a:pt x="6005205" y="1566665"/>
                  <a:pt x="6010754" y="1572356"/>
                  <a:pt x="6006912" y="1578616"/>
                </a:cubicBezTo>
                <a:cubicBezTo>
                  <a:pt x="6005632" y="1577478"/>
                  <a:pt x="5999656" y="1585018"/>
                  <a:pt x="5994747" y="1582883"/>
                </a:cubicBezTo>
                <a:cubicBezTo>
                  <a:pt x="5992186" y="1581888"/>
                  <a:pt x="5990906" y="1580607"/>
                  <a:pt x="5988558" y="1579611"/>
                </a:cubicBezTo>
                <a:cubicBezTo>
                  <a:pt x="5987918" y="1576055"/>
                  <a:pt x="5984076" y="1572782"/>
                  <a:pt x="5987704" y="1565242"/>
                </a:cubicBezTo>
                <a:cubicBezTo>
                  <a:pt x="5992400" y="1557844"/>
                  <a:pt x="6000083" y="1563393"/>
                  <a:pt x="5999869" y="1562255"/>
                </a:cubicBezTo>
                <a:cubicBezTo>
                  <a:pt x="6000937" y="1560974"/>
                  <a:pt x="6000937" y="1560832"/>
                  <a:pt x="6000723" y="1559694"/>
                </a:cubicBezTo>
                <a:cubicBezTo>
                  <a:pt x="6002004" y="1559694"/>
                  <a:pt x="6004138" y="1558271"/>
                  <a:pt x="6004992" y="1556991"/>
                </a:cubicBezTo>
                <a:close/>
                <a:moveTo>
                  <a:pt x="4128178" y="1556991"/>
                </a:moveTo>
                <a:cubicBezTo>
                  <a:pt x="4129459" y="1557275"/>
                  <a:pt x="4130952" y="1558129"/>
                  <a:pt x="4132233" y="1559551"/>
                </a:cubicBezTo>
                <a:cubicBezTo>
                  <a:pt x="4128178" y="1559694"/>
                  <a:pt x="4126471" y="1560263"/>
                  <a:pt x="4123696" y="1557275"/>
                </a:cubicBezTo>
                <a:cubicBezTo>
                  <a:pt x="4125190" y="1556849"/>
                  <a:pt x="4126684" y="1556706"/>
                  <a:pt x="4128178" y="1556991"/>
                </a:cubicBezTo>
                <a:close/>
                <a:moveTo>
                  <a:pt x="1797381" y="1556730"/>
                </a:moveTo>
                <a:cubicBezTo>
                  <a:pt x="1799240" y="1557040"/>
                  <a:pt x="1801305" y="1557969"/>
                  <a:pt x="1803473" y="1559053"/>
                </a:cubicBezTo>
                <a:cubicBezTo>
                  <a:pt x="1802647" y="1563855"/>
                  <a:pt x="1796968" y="1561997"/>
                  <a:pt x="1796142" y="1559363"/>
                </a:cubicBezTo>
                <a:cubicBezTo>
                  <a:pt x="1795936" y="1558589"/>
                  <a:pt x="1796142" y="1557505"/>
                  <a:pt x="1797381" y="1556730"/>
                </a:cubicBezTo>
                <a:close/>
                <a:moveTo>
                  <a:pt x="1557414" y="1556420"/>
                </a:moveTo>
                <a:cubicBezTo>
                  <a:pt x="1557414" y="1560912"/>
                  <a:pt x="1554006" y="1567108"/>
                  <a:pt x="1549050" y="1567883"/>
                </a:cubicBezTo>
                <a:lnTo>
                  <a:pt x="1546469" y="1567263"/>
                </a:lnTo>
                <a:lnTo>
                  <a:pt x="1548224" y="1568657"/>
                </a:lnTo>
                <a:cubicBezTo>
                  <a:pt x="1551735" y="1573614"/>
                  <a:pt x="1552044" y="1581049"/>
                  <a:pt x="1551012" y="1585386"/>
                </a:cubicBezTo>
                <a:cubicBezTo>
                  <a:pt x="1545023" y="1582753"/>
                  <a:pt x="1542132" y="1575627"/>
                  <a:pt x="1542235" y="1569896"/>
                </a:cubicBezTo>
                <a:cubicBezTo>
                  <a:pt x="1542338" y="1568038"/>
                  <a:pt x="1542751" y="1566179"/>
                  <a:pt x="1543474" y="1564785"/>
                </a:cubicBezTo>
                <a:lnTo>
                  <a:pt x="1544713" y="1565869"/>
                </a:lnTo>
                <a:lnTo>
                  <a:pt x="1550083" y="1560912"/>
                </a:lnTo>
                <a:cubicBezTo>
                  <a:pt x="1552251" y="1559053"/>
                  <a:pt x="1554626" y="1557350"/>
                  <a:pt x="1557414" y="1556420"/>
                </a:cubicBezTo>
                <a:close/>
                <a:moveTo>
                  <a:pt x="954294" y="1556420"/>
                </a:moveTo>
                <a:cubicBezTo>
                  <a:pt x="954294" y="1556420"/>
                  <a:pt x="955017" y="1556575"/>
                  <a:pt x="955740" y="1556885"/>
                </a:cubicBezTo>
                <a:cubicBezTo>
                  <a:pt x="956463" y="1557195"/>
                  <a:pt x="957186" y="1557815"/>
                  <a:pt x="957392" y="1558279"/>
                </a:cubicBezTo>
                <a:cubicBezTo>
                  <a:pt x="958425" y="1559983"/>
                  <a:pt x="954810" y="1560603"/>
                  <a:pt x="954397" y="1561222"/>
                </a:cubicBezTo>
                <a:cubicBezTo>
                  <a:pt x="953158" y="1561377"/>
                  <a:pt x="952023" y="1561687"/>
                  <a:pt x="951713" y="1560448"/>
                </a:cubicBezTo>
                <a:cubicBezTo>
                  <a:pt x="951506" y="1559828"/>
                  <a:pt x="951196" y="1559519"/>
                  <a:pt x="951196" y="1559053"/>
                </a:cubicBezTo>
                <a:cubicBezTo>
                  <a:pt x="951196" y="1558744"/>
                  <a:pt x="951403" y="1558434"/>
                  <a:pt x="952229" y="1557969"/>
                </a:cubicBezTo>
                <a:cubicBezTo>
                  <a:pt x="952642" y="1557350"/>
                  <a:pt x="953881" y="1557040"/>
                  <a:pt x="954294" y="1556420"/>
                </a:cubicBezTo>
                <a:close/>
                <a:moveTo>
                  <a:pt x="936534" y="1556265"/>
                </a:moveTo>
                <a:cubicBezTo>
                  <a:pt x="940974" y="1556265"/>
                  <a:pt x="943349" y="1558589"/>
                  <a:pt x="944382" y="1561842"/>
                </a:cubicBezTo>
                <a:cubicBezTo>
                  <a:pt x="942110" y="1565869"/>
                  <a:pt x="935502" y="1564475"/>
                  <a:pt x="934263" y="1560293"/>
                </a:cubicBezTo>
                <a:cubicBezTo>
                  <a:pt x="934779" y="1559208"/>
                  <a:pt x="935192" y="1557505"/>
                  <a:pt x="936534" y="1556265"/>
                </a:cubicBezTo>
                <a:close/>
                <a:moveTo>
                  <a:pt x="1492362" y="1555955"/>
                </a:moveTo>
                <a:cubicBezTo>
                  <a:pt x="1491846" y="1557969"/>
                  <a:pt x="1491123" y="1561687"/>
                  <a:pt x="1489471" y="1563081"/>
                </a:cubicBezTo>
                <a:cubicBezTo>
                  <a:pt x="1488852" y="1563546"/>
                  <a:pt x="1488232" y="1563701"/>
                  <a:pt x="1487509" y="1563546"/>
                </a:cubicBezTo>
                <a:cubicBezTo>
                  <a:pt x="1486374" y="1562926"/>
                  <a:pt x="1486890" y="1561997"/>
                  <a:pt x="1486580" y="1561222"/>
                </a:cubicBezTo>
                <a:cubicBezTo>
                  <a:pt x="1486683" y="1559828"/>
                  <a:pt x="1489265" y="1557195"/>
                  <a:pt x="1491020" y="1556265"/>
                </a:cubicBezTo>
                <a:cubicBezTo>
                  <a:pt x="1491536" y="1555955"/>
                  <a:pt x="1492053" y="1555801"/>
                  <a:pt x="1492362" y="1555955"/>
                </a:cubicBezTo>
                <a:close/>
                <a:moveTo>
                  <a:pt x="3730150" y="1555568"/>
                </a:moveTo>
                <a:cubicBezTo>
                  <a:pt x="3731218" y="1556706"/>
                  <a:pt x="3733778" y="1560405"/>
                  <a:pt x="3731644" y="1563820"/>
                </a:cubicBezTo>
                <a:cubicBezTo>
                  <a:pt x="3729510" y="1567234"/>
                  <a:pt x="3730791" y="1570648"/>
                  <a:pt x="3728656" y="1574063"/>
                </a:cubicBezTo>
                <a:cubicBezTo>
                  <a:pt x="3728656" y="1574063"/>
                  <a:pt x="3728443" y="1574063"/>
                  <a:pt x="3727376" y="1572925"/>
                </a:cubicBezTo>
                <a:cubicBezTo>
                  <a:pt x="3729510" y="1567092"/>
                  <a:pt x="3726735" y="1561259"/>
                  <a:pt x="3730150" y="1555568"/>
                </a:cubicBezTo>
                <a:close/>
                <a:moveTo>
                  <a:pt x="1125906" y="1555336"/>
                </a:moveTo>
                <a:cubicBezTo>
                  <a:pt x="1127661" y="1556111"/>
                  <a:pt x="1126629" y="1558744"/>
                  <a:pt x="1126629" y="1560293"/>
                </a:cubicBezTo>
                <a:cubicBezTo>
                  <a:pt x="1128281" y="1561067"/>
                  <a:pt x="1124667" y="1563701"/>
                  <a:pt x="1126422" y="1564475"/>
                </a:cubicBezTo>
                <a:cubicBezTo>
                  <a:pt x="1122705" y="1567883"/>
                  <a:pt x="1126939" y="1571910"/>
                  <a:pt x="1122292" y="1577951"/>
                </a:cubicBezTo>
                <a:cubicBezTo>
                  <a:pt x="1121673" y="1575937"/>
                  <a:pt x="1121466" y="1574079"/>
                  <a:pt x="1121466" y="1572220"/>
                </a:cubicBezTo>
                <a:cubicBezTo>
                  <a:pt x="1121569" y="1566798"/>
                  <a:pt x="1123428" y="1562616"/>
                  <a:pt x="1122292" y="1558899"/>
                </a:cubicBezTo>
                <a:cubicBezTo>
                  <a:pt x="1122292" y="1558899"/>
                  <a:pt x="1122189" y="1558899"/>
                  <a:pt x="1124047" y="1557195"/>
                </a:cubicBezTo>
                <a:cubicBezTo>
                  <a:pt x="1124151" y="1556265"/>
                  <a:pt x="1124151" y="1556265"/>
                  <a:pt x="1124151" y="1556265"/>
                </a:cubicBezTo>
                <a:cubicBezTo>
                  <a:pt x="1124151" y="1555491"/>
                  <a:pt x="1125906" y="1555336"/>
                  <a:pt x="1125906" y="1555336"/>
                </a:cubicBezTo>
                <a:close/>
                <a:moveTo>
                  <a:pt x="4252388" y="1554857"/>
                </a:moveTo>
                <a:cubicBezTo>
                  <a:pt x="4253242" y="1554572"/>
                  <a:pt x="4254096" y="1554572"/>
                  <a:pt x="4255376" y="1554857"/>
                </a:cubicBezTo>
                <a:cubicBezTo>
                  <a:pt x="4257297" y="1560263"/>
                  <a:pt x="4253242" y="1566096"/>
                  <a:pt x="4246840" y="1562966"/>
                </a:cubicBezTo>
                <a:cubicBezTo>
                  <a:pt x="4248333" y="1559409"/>
                  <a:pt x="4249827" y="1555710"/>
                  <a:pt x="4252388" y="1554857"/>
                </a:cubicBezTo>
                <a:close/>
                <a:moveTo>
                  <a:pt x="1297311" y="1554717"/>
                </a:moveTo>
                <a:cubicBezTo>
                  <a:pt x="1308876" y="1553787"/>
                  <a:pt x="1311354" y="1561997"/>
                  <a:pt x="1305985" y="1565405"/>
                </a:cubicBezTo>
                <a:cubicBezTo>
                  <a:pt x="1304230" y="1566488"/>
                  <a:pt x="1301545" y="1566953"/>
                  <a:pt x="1298034" y="1566488"/>
                </a:cubicBezTo>
                <a:cubicBezTo>
                  <a:pt x="1296279" y="1565095"/>
                  <a:pt x="1295350" y="1562616"/>
                  <a:pt x="1295143" y="1560138"/>
                </a:cubicBezTo>
                <a:cubicBezTo>
                  <a:pt x="1295040" y="1557659"/>
                  <a:pt x="1295763" y="1555491"/>
                  <a:pt x="1297311" y="1554717"/>
                </a:cubicBezTo>
                <a:close/>
                <a:moveTo>
                  <a:pt x="4578067" y="1554714"/>
                </a:moveTo>
                <a:cubicBezTo>
                  <a:pt x="4579134" y="1554288"/>
                  <a:pt x="4580201" y="1554288"/>
                  <a:pt x="4581268" y="1554857"/>
                </a:cubicBezTo>
                <a:cubicBezTo>
                  <a:pt x="4583616" y="1555710"/>
                  <a:pt x="4585536" y="1558414"/>
                  <a:pt x="4585963" y="1562255"/>
                </a:cubicBezTo>
                <a:cubicBezTo>
                  <a:pt x="4583403" y="1563251"/>
                  <a:pt x="4581268" y="1563108"/>
                  <a:pt x="4579348" y="1562255"/>
                </a:cubicBezTo>
                <a:lnTo>
                  <a:pt x="4578067" y="1560974"/>
                </a:lnTo>
                <a:lnTo>
                  <a:pt x="4577213" y="1560121"/>
                </a:lnTo>
                <a:lnTo>
                  <a:pt x="4575079" y="1557702"/>
                </a:lnTo>
                <a:cubicBezTo>
                  <a:pt x="4575933" y="1556137"/>
                  <a:pt x="4576786" y="1555141"/>
                  <a:pt x="4578067" y="1554714"/>
                </a:cubicBezTo>
                <a:close/>
                <a:moveTo>
                  <a:pt x="3735913" y="1554430"/>
                </a:moveTo>
                <a:cubicBezTo>
                  <a:pt x="3736980" y="1555568"/>
                  <a:pt x="3737193" y="1556706"/>
                  <a:pt x="3738260" y="1557986"/>
                </a:cubicBezTo>
                <a:cubicBezTo>
                  <a:pt x="3740608" y="1555710"/>
                  <a:pt x="3739327" y="1555710"/>
                  <a:pt x="3740608" y="1556991"/>
                </a:cubicBezTo>
                <a:cubicBezTo>
                  <a:pt x="3740608" y="1556991"/>
                  <a:pt x="3740608" y="1556991"/>
                  <a:pt x="3741889" y="1558129"/>
                </a:cubicBezTo>
                <a:cubicBezTo>
                  <a:pt x="3741889" y="1558129"/>
                  <a:pt x="3742956" y="1558271"/>
                  <a:pt x="3740821" y="1561686"/>
                </a:cubicBezTo>
                <a:cubicBezTo>
                  <a:pt x="3739541" y="1560405"/>
                  <a:pt x="3736126" y="1556706"/>
                  <a:pt x="3736126" y="1556706"/>
                </a:cubicBezTo>
                <a:cubicBezTo>
                  <a:pt x="3734845" y="1556564"/>
                  <a:pt x="3734845" y="1556706"/>
                  <a:pt x="3733565" y="1555426"/>
                </a:cubicBezTo>
                <a:cubicBezTo>
                  <a:pt x="3734632" y="1554288"/>
                  <a:pt x="3734632" y="1554288"/>
                  <a:pt x="3735913" y="1554430"/>
                </a:cubicBezTo>
                <a:close/>
                <a:moveTo>
                  <a:pt x="1314762" y="1553477"/>
                </a:moveTo>
                <a:cubicBezTo>
                  <a:pt x="1317860" y="1556265"/>
                  <a:pt x="1317860" y="1559363"/>
                  <a:pt x="1315794" y="1562307"/>
                </a:cubicBezTo>
                <a:cubicBezTo>
                  <a:pt x="1312180" y="1563391"/>
                  <a:pt x="1309289" y="1560912"/>
                  <a:pt x="1309083" y="1557969"/>
                </a:cubicBezTo>
                <a:cubicBezTo>
                  <a:pt x="1309083" y="1556885"/>
                  <a:pt x="1309289" y="1555955"/>
                  <a:pt x="1309908" y="1555026"/>
                </a:cubicBezTo>
                <a:cubicBezTo>
                  <a:pt x="1311148" y="1554562"/>
                  <a:pt x="1312903" y="1553477"/>
                  <a:pt x="1314762" y="1553477"/>
                </a:cubicBezTo>
                <a:close/>
                <a:moveTo>
                  <a:pt x="5586902" y="1552722"/>
                </a:moveTo>
                <a:cubicBezTo>
                  <a:pt x="5588182" y="1552580"/>
                  <a:pt x="5589463" y="1552865"/>
                  <a:pt x="5590530" y="1553434"/>
                </a:cubicBezTo>
                <a:cubicBezTo>
                  <a:pt x="5591597" y="1554714"/>
                  <a:pt x="5591597" y="1554714"/>
                  <a:pt x="5592665" y="1555852"/>
                </a:cubicBezTo>
                <a:cubicBezTo>
                  <a:pt x="5592451" y="1558271"/>
                  <a:pt x="5593305" y="1560690"/>
                  <a:pt x="5592025" y="1562966"/>
                </a:cubicBezTo>
                <a:cubicBezTo>
                  <a:pt x="5589463" y="1565385"/>
                  <a:pt x="5583701" y="1564104"/>
                  <a:pt x="5581567" y="1562824"/>
                </a:cubicBezTo>
                <a:cubicBezTo>
                  <a:pt x="5579646" y="1560405"/>
                  <a:pt x="5581140" y="1556849"/>
                  <a:pt x="5583701" y="1554572"/>
                </a:cubicBezTo>
                <a:cubicBezTo>
                  <a:pt x="5584341" y="1553434"/>
                  <a:pt x="5585622" y="1552865"/>
                  <a:pt x="5586902" y="1552722"/>
                </a:cubicBezTo>
                <a:close/>
                <a:moveTo>
                  <a:pt x="4975881" y="1552296"/>
                </a:moveTo>
                <a:cubicBezTo>
                  <a:pt x="4975881" y="1552296"/>
                  <a:pt x="4976522" y="1553007"/>
                  <a:pt x="4976949" y="1553861"/>
                </a:cubicBezTo>
                <a:cubicBezTo>
                  <a:pt x="4977589" y="1554714"/>
                  <a:pt x="4978016" y="1555852"/>
                  <a:pt x="4977589" y="1556564"/>
                </a:cubicBezTo>
                <a:cubicBezTo>
                  <a:pt x="4977375" y="1559267"/>
                  <a:pt x="4972894" y="1557702"/>
                  <a:pt x="4971826" y="1558129"/>
                </a:cubicBezTo>
                <a:cubicBezTo>
                  <a:pt x="4970333" y="1557702"/>
                  <a:pt x="4968838" y="1557133"/>
                  <a:pt x="4969479" y="1555568"/>
                </a:cubicBezTo>
                <a:cubicBezTo>
                  <a:pt x="4970119" y="1553861"/>
                  <a:pt x="4969692" y="1552865"/>
                  <a:pt x="4972253" y="1552865"/>
                </a:cubicBezTo>
                <a:cubicBezTo>
                  <a:pt x="4973321" y="1552296"/>
                  <a:pt x="4974814" y="1552865"/>
                  <a:pt x="4975881" y="1552296"/>
                </a:cubicBezTo>
                <a:close/>
                <a:moveTo>
                  <a:pt x="4585536" y="1552154"/>
                </a:moveTo>
                <a:cubicBezTo>
                  <a:pt x="4588098" y="1553861"/>
                  <a:pt x="4589591" y="1553292"/>
                  <a:pt x="4588951" y="1554430"/>
                </a:cubicBezTo>
                <a:cubicBezTo>
                  <a:pt x="4589805" y="1554999"/>
                  <a:pt x="4589165" y="1555995"/>
                  <a:pt x="4588311" y="1555426"/>
                </a:cubicBezTo>
                <a:cubicBezTo>
                  <a:pt x="4585963" y="1556991"/>
                  <a:pt x="4585750" y="1553719"/>
                  <a:pt x="4585536" y="1552154"/>
                </a:cubicBezTo>
                <a:close/>
                <a:moveTo>
                  <a:pt x="1474912" y="1551774"/>
                </a:moveTo>
                <a:cubicBezTo>
                  <a:pt x="1475635" y="1552548"/>
                  <a:pt x="1475738" y="1551774"/>
                  <a:pt x="1476564" y="1551774"/>
                </a:cubicBezTo>
                <a:cubicBezTo>
                  <a:pt x="1475635" y="1552703"/>
                  <a:pt x="1475222" y="1555181"/>
                  <a:pt x="1474086" y="1556885"/>
                </a:cubicBezTo>
                <a:cubicBezTo>
                  <a:pt x="1473260" y="1556885"/>
                  <a:pt x="1472228" y="1557659"/>
                  <a:pt x="1471401" y="1557659"/>
                </a:cubicBezTo>
                <a:cubicBezTo>
                  <a:pt x="1471504" y="1557195"/>
                  <a:pt x="1471401" y="1556575"/>
                  <a:pt x="1471401" y="1555955"/>
                </a:cubicBezTo>
                <a:cubicBezTo>
                  <a:pt x="1471401" y="1555336"/>
                  <a:pt x="1471504" y="1555026"/>
                  <a:pt x="1471918" y="1555026"/>
                </a:cubicBezTo>
                <a:cubicBezTo>
                  <a:pt x="1472021" y="1554097"/>
                  <a:pt x="1473673" y="1554251"/>
                  <a:pt x="1473673" y="1554251"/>
                </a:cubicBezTo>
                <a:cubicBezTo>
                  <a:pt x="1473879" y="1553477"/>
                  <a:pt x="1473983" y="1552548"/>
                  <a:pt x="1474912" y="1551774"/>
                </a:cubicBezTo>
                <a:close/>
                <a:moveTo>
                  <a:pt x="1821027" y="1551309"/>
                </a:moveTo>
                <a:cubicBezTo>
                  <a:pt x="1830320" y="1554717"/>
                  <a:pt x="1833521" y="1561997"/>
                  <a:pt x="1832592" y="1570981"/>
                </a:cubicBezTo>
                <a:cubicBezTo>
                  <a:pt x="1823918" y="1578880"/>
                  <a:pt x="1811218" y="1570361"/>
                  <a:pt x="1812354" y="1559208"/>
                </a:cubicBezTo>
                <a:cubicBezTo>
                  <a:pt x="1814522" y="1557195"/>
                  <a:pt x="1816897" y="1553013"/>
                  <a:pt x="1821027" y="1551309"/>
                </a:cubicBezTo>
                <a:close/>
                <a:moveTo>
                  <a:pt x="3847104" y="1551300"/>
                </a:moveTo>
                <a:cubicBezTo>
                  <a:pt x="3848599" y="1552011"/>
                  <a:pt x="3849239" y="1554288"/>
                  <a:pt x="3848811" y="1556991"/>
                </a:cubicBezTo>
                <a:cubicBezTo>
                  <a:pt x="3847318" y="1556279"/>
                  <a:pt x="3845397" y="1558414"/>
                  <a:pt x="3843903" y="1557702"/>
                </a:cubicBezTo>
                <a:cubicBezTo>
                  <a:pt x="3843903" y="1557702"/>
                  <a:pt x="3841769" y="1554857"/>
                  <a:pt x="3841769" y="1554857"/>
                </a:cubicBezTo>
                <a:cubicBezTo>
                  <a:pt x="3842409" y="1553149"/>
                  <a:pt x="3842623" y="1553292"/>
                  <a:pt x="3842836" y="1554430"/>
                </a:cubicBezTo>
                <a:cubicBezTo>
                  <a:pt x="3844756" y="1552296"/>
                  <a:pt x="3845824" y="1551869"/>
                  <a:pt x="3847104" y="1551300"/>
                </a:cubicBezTo>
                <a:close/>
                <a:moveTo>
                  <a:pt x="4091470" y="1550731"/>
                </a:moveTo>
                <a:cubicBezTo>
                  <a:pt x="4092750" y="1555568"/>
                  <a:pt x="4093818" y="1560263"/>
                  <a:pt x="4089122" y="1562112"/>
                </a:cubicBezTo>
                <a:cubicBezTo>
                  <a:pt x="4084213" y="1559551"/>
                  <a:pt x="4084213" y="1552580"/>
                  <a:pt x="4091470" y="1550731"/>
                </a:cubicBezTo>
                <a:close/>
                <a:moveTo>
                  <a:pt x="3629203" y="1550304"/>
                </a:moveTo>
                <a:cubicBezTo>
                  <a:pt x="3631550" y="1550873"/>
                  <a:pt x="3633898" y="1551442"/>
                  <a:pt x="3634324" y="1553861"/>
                </a:cubicBezTo>
                <a:cubicBezTo>
                  <a:pt x="3634324" y="1554572"/>
                  <a:pt x="3634324" y="1555568"/>
                  <a:pt x="3633898" y="1556706"/>
                </a:cubicBezTo>
                <a:cubicBezTo>
                  <a:pt x="3633898" y="1556706"/>
                  <a:pt x="3633898" y="1556706"/>
                  <a:pt x="3632831" y="1557417"/>
                </a:cubicBezTo>
                <a:cubicBezTo>
                  <a:pt x="3630910" y="1558698"/>
                  <a:pt x="3629843" y="1559267"/>
                  <a:pt x="3628989" y="1559978"/>
                </a:cubicBezTo>
                <a:cubicBezTo>
                  <a:pt x="3627282" y="1559551"/>
                  <a:pt x="3623653" y="1557844"/>
                  <a:pt x="3624294" y="1556137"/>
                </a:cubicBezTo>
                <a:cubicBezTo>
                  <a:pt x="3625148" y="1552865"/>
                  <a:pt x="3627709" y="1549877"/>
                  <a:pt x="3629203" y="1550304"/>
                </a:cubicBezTo>
                <a:close/>
                <a:moveTo>
                  <a:pt x="3533804" y="1549877"/>
                </a:moveTo>
                <a:cubicBezTo>
                  <a:pt x="3534871" y="1550589"/>
                  <a:pt x="3537432" y="1550731"/>
                  <a:pt x="3538073" y="1552296"/>
                </a:cubicBezTo>
                <a:cubicBezTo>
                  <a:pt x="3538713" y="1554003"/>
                  <a:pt x="3538713" y="1554003"/>
                  <a:pt x="3537646" y="1555995"/>
                </a:cubicBezTo>
                <a:cubicBezTo>
                  <a:pt x="3534871" y="1553149"/>
                  <a:pt x="3534871" y="1553149"/>
                  <a:pt x="3533804" y="1549877"/>
                </a:cubicBezTo>
                <a:close/>
                <a:moveTo>
                  <a:pt x="6110634" y="1549593"/>
                </a:moveTo>
                <a:cubicBezTo>
                  <a:pt x="6111488" y="1549308"/>
                  <a:pt x="6112342" y="1549450"/>
                  <a:pt x="6112768" y="1550020"/>
                </a:cubicBezTo>
                <a:cubicBezTo>
                  <a:pt x="6112768" y="1551157"/>
                  <a:pt x="6113835" y="1551157"/>
                  <a:pt x="6113835" y="1552438"/>
                </a:cubicBezTo>
                <a:cubicBezTo>
                  <a:pt x="6114690" y="1554857"/>
                  <a:pt x="6114690" y="1556137"/>
                  <a:pt x="6113409" y="1557275"/>
                </a:cubicBezTo>
                <a:cubicBezTo>
                  <a:pt x="6113195" y="1558556"/>
                  <a:pt x="6111915" y="1558414"/>
                  <a:pt x="6110634" y="1559551"/>
                </a:cubicBezTo>
                <a:cubicBezTo>
                  <a:pt x="6109567" y="1559551"/>
                  <a:pt x="6108500" y="1558414"/>
                  <a:pt x="6108500" y="1558414"/>
                </a:cubicBezTo>
                <a:cubicBezTo>
                  <a:pt x="6107647" y="1557133"/>
                  <a:pt x="6107647" y="1557133"/>
                  <a:pt x="6106366" y="1558414"/>
                </a:cubicBezTo>
                <a:cubicBezTo>
                  <a:pt x="6106366" y="1558414"/>
                  <a:pt x="6106366" y="1557133"/>
                  <a:pt x="6106366" y="1557133"/>
                </a:cubicBezTo>
                <a:cubicBezTo>
                  <a:pt x="6107433" y="1557133"/>
                  <a:pt x="6106366" y="1557133"/>
                  <a:pt x="6105512" y="1555995"/>
                </a:cubicBezTo>
                <a:cubicBezTo>
                  <a:pt x="6106793" y="1553576"/>
                  <a:pt x="6106793" y="1552296"/>
                  <a:pt x="6108073" y="1551015"/>
                </a:cubicBezTo>
                <a:cubicBezTo>
                  <a:pt x="6108714" y="1550447"/>
                  <a:pt x="6109781" y="1549877"/>
                  <a:pt x="6110634" y="1549593"/>
                </a:cubicBezTo>
                <a:close/>
                <a:moveTo>
                  <a:pt x="4551390" y="1549450"/>
                </a:moveTo>
                <a:cubicBezTo>
                  <a:pt x="4553097" y="1549735"/>
                  <a:pt x="4554164" y="1550447"/>
                  <a:pt x="4555018" y="1551442"/>
                </a:cubicBezTo>
                <a:cubicBezTo>
                  <a:pt x="4555658" y="1552438"/>
                  <a:pt x="4556085" y="1553576"/>
                  <a:pt x="4556298" y="1554857"/>
                </a:cubicBezTo>
                <a:cubicBezTo>
                  <a:pt x="4556085" y="1556564"/>
                  <a:pt x="4554164" y="1557844"/>
                  <a:pt x="4550749" y="1558698"/>
                </a:cubicBezTo>
                <a:cubicBezTo>
                  <a:pt x="4548402" y="1557133"/>
                  <a:pt x="4549255" y="1552296"/>
                  <a:pt x="4548828" y="1549593"/>
                </a:cubicBezTo>
                <a:cubicBezTo>
                  <a:pt x="4550322" y="1550020"/>
                  <a:pt x="4552030" y="1550447"/>
                  <a:pt x="4551390" y="1549450"/>
                </a:cubicBezTo>
                <a:close/>
                <a:moveTo>
                  <a:pt x="1122705" y="1549295"/>
                </a:moveTo>
                <a:cubicBezTo>
                  <a:pt x="1125080" y="1548520"/>
                  <a:pt x="1127455" y="1547746"/>
                  <a:pt x="1128074" y="1549915"/>
                </a:cubicBezTo>
                <a:cubicBezTo>
                  <a:pt x="1128384" y="1550999"/>
                  <a:pt x="1128694" y="1552084"/>
                  <a:pt x="1127868" y="1553632"/>
                </a:cubicBezTo>
                <a:cubicBezTo>
                  <a:pt x="1125493" y="1554407"/>
                  <a:pt x="1123634" y="1552703"/>
                  <a:pt x="1122499" y="1553013"/>
                </a:cubicBezTo>
                <a:cubicBezTo>
                  <a:pt x="1122912" y="1552238"/>
                  <a:pt x="1123737" y="1550844"/>
                  <a:pt x="1122705" y="1549295"/>
                </a:cubicBezTo>
                <a:close/>
                <a:moveTo>
                  <a:pt x="4019974" y="1549166"/>
                </a:moveTo>
                <a:cubicBezTo>
                  <a:pt x="4020401" y="1549450"/>
                  <a:pt x="4021255" y="1550020"/>
                  <a:pt x="4021895" y="1550589"/>
                </a:cubicBezTo>
                <a:cubicBezTo>
                  <a:pt x="4023175" y="1551727"/>
                  <a:pt x="4024670" y="1553007"/>
                  <a:pt x="4025950" y="1554145"/>
                </a:cubicBezTo>
                <a:cubicBezTo>
                  <a:pt x="4025950" y="1554145"/>
                  <a:pt x="4025950" y="1554145"/>
                  <a:pt x="4018267" y="1549593"/>
                </a:cubicBezTo>
                <a:cubicBezTo>
                  <a:pt x="4018694" y="1549024"/>
                  <a:pt x="4019334" y="1548881"/>
                  <a:pt x="4019974" y="1549166"/>
                </a:cubicBezTo>
                <a:close/>
                <a:moveTo>
                  <a:pt x="1329863" y="1549024"/>
                </a:moveTo>
                <a:cubicBezTo>
                  <a:pt x="1331231" y="1548250"/>
                  <a:pt x="1332728" y="1547979"/>
                  <a:pt x="1334897" y="1549450"/>
                </a:cubicBezTo>
                <a:cubicBezTo>
                  <a:pt x="1336239" y="1554251"/>
                  <a:pt x="1330560" y="1559519"/>
                  <a:pt x="1325294" y="1556885"/>
                </a:cubicBezTo>
                <a:cubicBezTo>
                  <a:pt x="1325707" y="1555026"/>
                  <a:pt x="1325191" y="1553477"/>
                  <a:pt x="1325603" y="1551618"/>
                </a:cubicBezTo>
                <a:cubicBezTo>
                  <a:pt x="1327256" y="1551076"/>
                  <a:pt x="1328495" y="1549798"/>
                  <a:pt x="1329863" y="1549024"/>
                </a:cubicBezTo>
                <a:close/>
                <a:moveTo>
                  <a:pt x="1294420" y="1548676"/>
                </a:moveTo>
                <a:cubicBezTo>
                  <a:pt x="1294420" y="1548676"/>
                  <a:pt x="1294420" y="1548676"/>
                  <a:pt x="1295659" y="1548830"/>
                </a:cubicBezTo>
                <a:cubicBezTo>
                  <a:pt x="1295659" y="1548830"/>
                  <a:pt x="1296382" y="1548366"/>
                  <a:pt x="1296176" y="1551309"/>
                </a:cubicBezTo>
                <a:cubicBezTo>
                  <a:pt x="1295040" y="1551154"/>
                  <a:pt x="1291529" y="1550689"/>
                  <a:pt x="1291529" y="1550689"/>
                </a:cubicBezTo>
                <a:cubicBezTo>
                  <a:pt x="1290703" y="1551154"/>
                  <a:pt x="1290703" y="1551154"/>
                  <a:pt x="1289567" y="1550999"/>
                </a:cubicBezTo>
                <a:cubicBezTo>
                  <a:pt x="1289877" y="1549760"/>
                  <a:pt x="1289877" y="1549760"/>
                  <a:pt x="1290600" y="1549295"/>
                </a:cubicBezTo>
                <a:cubicBezTo>
                  <a:pt x="1291735" y="1549450"/>
                  <a:pt x="1292252" y="1550225"/>
                  <a:pt x="1293388" y="1550380"/>
                </a:cubicBezTo>
                <a:cubicBezTo>
                  <a:pt x="1294007" y="1548056"/>
                  <a:pt x="1293284" y="1548520"/>
                  <a:pt x="1294420" y="1548676"/>
                </a:cubicBezTo>
                <a:close/>
                <a:moveTo>
                  <a:pt x="4217387" y="1548597"/>
                </a:moveTo>
                <a:cubicBezTo>
                  <a:pt x="4218668" y="1549024"/>
                  <a:pt x="4220375" y="1550731"/>
                  <a:pt x="4223577" y="1554288"/>
                </a:cubicBezTo>
                <a:cubicBezTo>
                  <a:pt x="4224644" y="1555568"/>
                  <a:pt x="4225498" y="1557275"/>
                  <a:pt x="4225711" y="1558983"/>
                </a:cubicBezTo>
                <a:cubicBezTo>
                  <a:pt x="4226138" y="1560690"/>
                  <a:pt x="4225924" y="1562397"/>
                  <a:pt x="4225284" y="1564104"/>
                </a:cubicBezTo>
                <a:cubicBezTo>
                  <a:pt x="4226138" y="1566523"/>
                  <a:pt x="4225924" y="1570080"/>
                  <a:pt x="4224644" y="1572214"/>
                </a:cubicBezTo>
                <a:cubicBezTo>
                  <a:pt x="4222296" y="1574205"/>
                  <a:pt x="4219948" y="1573921"/>
                  <a:pt x="4218882" y="1572498"/>
                </a:cubicBezTo>
                <a:cubicBezTo>
                  <a:pt x="4209277" y="1562539"/>
                  <a:pt x="4214399" y="1552865"/>
                  <a:pt x="4213546" y="1550304"/>
                </a:cubicBezTo>
                <a:cubicBezTo>
                  <a:pt x="4215253" y="1548739"/>
                  <a:pt x="4216320" y="1548028"/>
                  <a:pt x="4217387" y="1548597"/>
                </a:cubicBezTo>
                <a:close/>
                <a:moveTo>
                  <a:pt x="5717729" y="1548455"/>
                </a:moveTo>
                <a:cubicBezTo>
                  <a:pt x="5724985" y="1553719"/>
                  <a:pt x="5714954" y="1565385"/>
                  <a:pt x="5710045" y="1555426"/>
                </a:cubicBezTo>
                <a:cubicBezTo>
                  <a:pt x="5713246" y="1552011"/>
                  <a:pt x="5715594" y="1549593"/>
                  <a:pt x="5717729" y="1548455"/>
                </a:cubicBezTo>
                <a:close/>
                <a:moveTo>
                  <a:pt x="1489161" y="1547901"/>
                </a:moveTo>
                <a:cubicBezTo>
                  <a:pt x="1489884" y="1547901"/>
                  <a:pt x="1490607" y="1548211"/>
                  <a:pt x="1491227" y="1548676"/>
                </a:cubicBezTo>
                <a:cubicBezTo>
                  <a:pt x="1492775" y="1549605"/>
                  <a:pt x="1491639" y="1551154"/>
                  <a:pt x="1489678" y="1552858"/>
                </a:cubicBezTo>
                <a:cubicBezTo>
                  <a:pt x="1486374" y="1556885"/>
                  <a:pt x="1483689" y="1557505"/>
                  <a:pt x="1481521" y="1554872"/>
                </a:cubicBezTo>
                <a:cubicBezTo>
                  <a:pt x="1481624" y="1553942"/>
                  <a:pt x="1482863" y="1551464"/>
                  <a:pt x="1482037" y="1551464"/>
                </a:cubicBezTo>
                <a:cubicBezTo>
                  <a:pt x="1484308" y="1549605"/>
                  <a:pt x="1486993" y="1547901"/>
                  <a:pt x="1489161" y="1547901"/>
                </a:cubicBezTo>
                <a:close/>
                <a:moveTo>
                  <a:pt x="3531883" y="1547743"/>
                </a:moveTo>
                <a:cubicBezTo>
                  <a:pt x="3532310" y="1548028"/>
                  <a:pt x="3532737" y="1548597"/>
                  <a:pt x="3533164" y="1549450"/>
                </a:cubicBezTo>
                <a:cubicBezTo>
                  <a:pt x="3533164" y="1549450"/>
                  <a:pt x="3532523" y="1550304"/>
                  <a:pt x="3532523" y="1550304"/>
                </a:cubicBezTo>
                <a:cubicBezTo>
                  <a:pt x="3531457" y="1549735"/>
                  <a:pt x="3530390" y="1549024"/>
                  <a:pt x="3530816" y="1548170"/>
                </a:cubicBezTo>
                <a:cubicBezTo>
                  <a:pt x="3531030" y="1547743"/>
                  <a:pt x="3531457" y="1547601"/>
                  <a:pt x="3531883" y="1547743"/>
                </a:cubicBezTo>
                <a:close/>
                <a:moveTo>
                  <a:pt x="5192929" y="1546605"/>
                </a:moveTo>
                <a:cubicBezTo>
                  <a:pt x="5193996" y="1547174"/>
                  <a:pt x="5195917" y="1548312"/>
                  <a:pt x="5198051" y="1546890"/>
                </a:cubicBezTo>
                <a:cubicBezTo>
                  <a:pt x="5199119" y="1550162"/>
                  <a:pt x="5200186" y="1553434"/>
                  <a:pt x="5197198" y="1554288"/>
                </a:cubicBezTo>
                <a:cubicBezTo>
                  <a:pt x="5195704" y="1554714"/>
                  <a:pt x="5194210" y="1555141"/>
                  <a:pt x="5192076" y="1554003"/>
                </a:cubicBezTo>
                <a:cubicBezTo>
                  <a:pt x="5191008" y="1550731"/>
                  <a:pt x="5193356" y="1548170"/>
                  <a:pt x="5192929" y="1546605"/>
                </a:cubicBezTo>
                <a:close/>
                <a:moveTo>
                  <a:pt x="4258151" y="1546036"/>
                </a:moveTo>
                <a:cubicBezTo>
                  <a:pt x="4261779" y="1547032"/>
                  <a:pt x="4263273" y="1552296"/>
                  <a:pt x="4266261" y="1556279"/>
                </a:cubicBezTo>
                <a:cubicBezTo>
                  <a:pt x="4262846" y="1557417"/>
                  <a:pt x="4260285" y="1557133"/>
                  <a:pt x="4258151" y="1555426"/>
                </a:cubicBezTo>
                <a:cubicBezTo>
                  <a:pt x="4256230" y="1553719"/>
                  <a:pt x="4254736" y="1550731"/>
                  <a:pt x="4253669" y="1546605"/>
                </a:cubicBezTo>
                <a:cubicBezTo>
                  <a:pt x="4255376" y="1545752"/>
                  <a:pt x="4256870" y="1545609"/>
                  <a:pt x="4258151" y="1546036"/>
                </a:cubicBezTo>
                <a:close/>
                <a:moveTo>
                  <a:pt x="5493851" y="1545609"/>
                </a:moveTo>
                <a:cubicBezTo>
                  <a:pt x="5499614" y="1545894"/>
                  <a:pt x="5506870" y="1554430"/>
                  <a:pt x="5501534" y="1560121"/>
                </a:cubicBezTo>
                <a:cubicBezTo>
                  <a:pt x="5498119" y="1561116"/>
                  <a:pt x="5494705" y="1562112"/>
                  <a:pt x="5489796" y="1558414"/>
                </a:cubicBezTo>
                <a:cubicBezTo>
                  <a:pt x="5488516" y="1553576"/>
                  <a:pt x="5489583" y="1550020"/>
                  <a:pt x="5493851" y="1545609"/>
                </a:cubicBezTo>
                <a:close/>
                <a:moveTo>
                  <a:pt x="5166465" y="1545183"/>
                </a:moveTo>
                <a:cubicBezTo>
                  <a:pt x="5173935" y="1545325"/>
                  <a:pt x="5179697" y="1547885"/>
                  <a:pt x="5184819" y="1546320"/>
                </a:cubicBezTo>
                <a:cubicBezTo>
                  <a:pt x="5184819" y="1546320"/>
                  <a:pt x="5184819" y="1546178"/>
                  <a:pt x="5187167" y="1548739"/>
                </a:cubicBezTo>
                <a:cubicBezTo>
                  <a:pt x="5188448" y="1548881"/>
                  <a:pt x="5188448" y="1548881"/>
                  <a:pt x="5188448" y="1548881"/>
                </a:cubicBezTo>
                <a:cubicBezTo>
                  <a:pt x="5189515" y="1548881"/>
                  <a:pt x="5189728" y="1551300"/>
                  <a:pt x="5189728" y="1551300"/>
                </a:cubicBezTo>
                <a:cubicBezTo>
                  <a:pt x="5188661" y="1553719"/>
                  <a:pt x="5185033" y="1552296"/>
                  <a:pt x="5182898" y="1552296"/>
                </a:cubicBezTo>
                <a:cubicBezTo>
                  <a:pt x="5181832" y="1554572"/>
                  <a:pt x="5178203" y="1549593"/>
                  <a:pt x="5177136" y="1552011"/>
                </a:cubicBezTo>
                <a:cubicBezTo>
                  <a:pt x="5172441" y="1546890"/>
                  <a:pt x="5166892" y="1552722"/>
                  <a:pt x="5158568" y="1546320"/>
                </a:cubicBezTo>
                <a:cubicBezTo>
                  <a:pt x="5161343" y="1545467"/>
                  <a:pt x="5163904" y="1545183"/>
                  <a:pt x="5166465" y="1545183"/>
                </a:cubicBezTo>
                <a:close/>
                <a:moveTo>
                  <a:pt x="5858372" y="1544898"/>
                </a:moveTo>
                <a:cubicBezTo>
                  <a:pt x="5858586" y="1544898"/>
                  <a:pt x="5858799" y="1545183"/>
                  <a:pt x="5859226" y="1545894"/>
                </a:cubicBezTo>
                <a:cubicBezTo>
                  <a:pt x="5857945" y="1547174"/>
                  <a:pt x="5858159" y="1545894"/>
                  <a:pt x="5857092" y="1545894"/>
                </a:cubicBezTo>
                <a:cubicBezTo>
                  <a:pt x="5857732" y="1545183"/>
                  <a:pt x="5857945" y="1544898"/>
                  <a:pt x="5858372" y="1544898"/>
                </a:cubicBezTo>
                <a:close/>
                <a:moveTo>
                  <a:pt x="4000767" y="1544471"/>
                </a:moveTo>
                <a:cubicBezTo>
                  <a:pt x="4003755" y="1545467"/>
                  <a:pt x="4006102" y="1545609"/>
                  <a:pt x="4007596" y="1546036"/>
                </a:cubicBezTo>
                <a:cubicBezTo>
                  <a:pt x="4007169" y="1551442"/>
                  <a:pt x="4004395" y="1554145"/>
                  <a:pt x="3999913" y="1552438"/>
                </a:cubicBezTo>
                <a:cubicBezTo>
                  <a:pt x="4001193" y="1549308"/>
                  <a:pt x="3999272" y="1547601"/>
                  <a:pt x="4000767" y="1544471"/>
                </a:cubicBezTo>
                <a:close/>
                <a:moveTo>
                  <a:pt x="3980705" y="1544471"/>
                </a:moveTo>
                <a:cubicBezTo>
                  <a:pt x="3981772" y="1544756"/>
                  <a:pt x="3982626" y="1545467"/>
                  <a:pt x="3983053" y="1546178"/>
                </a:cubicBezTo>
                <a:cubicBezTo>
                  <a:pt x="3984760" y="1547032"/>
                  <a:pt x="3985614" y="1548739"/>
                  <a:pt x="3985827" y="1550589"/>
                </a:cubicBezTo>
                <a:lnTo>
                  <a:pt x="3985614" y="1552011"/>
                </a:lnTo>
                <a:lnTo>
                  <a:pt x="3986467" y="1551015"/>
                </a:lnTo>
                <a:cubicBezTo>
                  <a:pt x="3987748" y="1550447"/>
                  <a:pt x="3989455" y="1550447"/>
                  <a:pt x="3991162" y="1550873"/>
                </a:cubicBezTo>
                <a:cubicBezTo>
                  <a:pt x="3992443" y="1550731"/>
                  <a:pt x="3993297" y="1551442"/>
                  <a:pt x="3994150" y="1552438"/>
                </a:cubicBezTo>
                <a:cubicBezTo>
                  <a:pt x="3994791" y="1553576"/>
                  <a:pt x="3995217" y="1554999"/>
                  <a:pt x="3995217" y="1556279"/>
                </a:cubicBezTo>
                <a:cubicBezTo>
                  <a:pt x="3994791" y="1557986"/>
                  <a:pt x="3994791" y="1557986"/>
                  <a:pt x="3994364" y="1559551"/>
                </a:cubicBezTo>
                <a:cubicBezTo>
                  <a:pt x="3992230" y="1560832"/>
                  <a:pt x="3990736" y="1563108"/>
                  <a:pt x="3988175" y="1563393"/>
                </a:cubicBezTo>
                <a:lnTo>
                  <a:pt x="3985827" y="1560690"/>
                </a:lnTo>
                <a:lnTo>
                  <a:pt x="3984546" y="1562397"/>
                </a:lnTo>
                <a:cubicBezTo>
                  <a:pt x="3984120" y="1562824"/>
                  <a:pt x="3983693" y="1563251"/>
                  <a:pt x="3983053" y="1563535"/>
                </a:cubicBezTo>
                <a:cubicBezTo>
                  <a:pt x="3981559" y="1563108"/>
                  <a:pt x="3980065" y="1560974"/>
                  <a:pt x="3979638" y="1558271"/>
                </a:cubicBezTo>
                <a:cubicBezTo>
                  <a:pt x="3980491" y="1558414"/>
                  <a:pt x="3981132" y="1557986"/>
                  <a:pt x="3981986" y="1557417"/>
                </a:cubicBezTo>
                <a:lnTo>
                  <a:pt x="3984120" y="1556849"/>
                </a:lnTo>
                <a:lnTo>
                  <a:pt x="3983479" y="1554430"/>
                </a:lnTo>
                <a:lnTo>
                  <a:pt x="3982626" y="1554572"/>
                </a:lnTo>
                <a:cubicBezTo>
                  <a:pt x="3982626" y="1554572"/>
                  <a:pt x="3983693" y="1554714"/>
                  <a:pt x="3982626" y="1555852"/>
                </a:cubicBezTo>
                <a:cubicBezTo>
                  <a:pt x="3982626" y="1554572"/>
                  <a:pt x="3981559" y="1554430"/>
                  <a:pt x="3980278" y="1554288"/>
                </a:cubicBezTo>
                <a:cubicBezTo>
                  <a:pt x="3978144" y="1551442"/>
                  <a:pt x="3976010" y="1547459"/>
                  <a:pt x="3977290" y="1545183"/>
                </a:cubicBezTo>
                <a:cubicBezTo>
                  <a:pt x="3978571" y="1544186"/>
                  <a:pt x="3979851" y="1544044"/>
                  <a:pt x="3980705" y="1544471"/>
                </a:cubicBezTo>
                <a:close/>
                <a:moveTo>
                  <a:pt x="5248845" y="1544186"/>
                </a:moveTo>
                <a:cubicBezTo>
                  <a:pt x="5261010" y="1548170"/>
                  <a:pt x="5261650" y="1555141"/>
                  <a:pt x="5263145" y="1555568"/>
                </a:cubicBezTo>
                <a:cubicBezTo>
                  <a:pt x="5262504" y="1560547"/>
                  <a:pt x="5259089" y="1559694"/>
                  <a:pt x="5253967" y="1560121"/>
                </a:cubicBezTo>
                <a:cubicBezTo>
                  <a:pt x="5254181" y="1558414"/>
                  <a:pt x="5249272" y="1557275"/>
                  <a:pt x="5247778" y="1556849"/>
                </a:cubicBezTo>
                <a:cubicBezTo>
                  <a:pt x="5248205" y="1553576"/>
                  <a:pt x="5242656" y="1551300"/>
                  <a:pt x="5243510" y="1546320"/>
                </a:cubicBezTo>
                <a:cubicBezTo>
                  <a:pt x="5245431" y="1545040"/>
                  <a:pt x="5246284" y="1544471"/>
                  <a:pt x="5248845" y="1544186"/>
                </a:cubicBezTo>
                <a:close/>
                <a:moveTo>
                  <a:pt x="1900225" y="1543874"/>
                </a:moveTo>
                <a:cubicBezTo>
                  <a:pt x="1902909" y="1550689"/>
                  <a:pt x="1909311" y="1557505"/>
                  <a:pt x="1916333" y="1564475"/>
                </a:cubicBezTo>
                <a:cubicBezTo>
                  <a:pt x="1919120" y="1561532"/>
                  <a:pt x="1912615" y="1557659"/>
                  <a:pt x="1915816" y="1554717"/>
                </a:cubicBezTo>
                <a:cubicBezTo>
                  <a:pt x="1917468" y="1557659"/>
                  <a:pt x="1919120" y="1557505"/>
                  <a:pt x="1920669" y="1557505"/>
                </a:cubicBezTo>
                <a:lnTo>
                  <a:pt x="1921186" y="1557659"/>
                </a:lnTo>
                <a:lnTo>
                  <a:pt x="1921805" y="1556420"/>
                </a:lnTo>
                <a:lnTo>
                  <a:pt x="1925006" y="1558434"/>
                </a:lnTo>
                <a:lnTo>
                  <a:pt x="1920669" y="1554097"/>
                </a:lnTo>
                <a:cubicBezTo>
                  <a:pt x="1916952" y="1551309"/>
                  <a:pt x="1912615" y="1550225"/>
                  <a:pt x="1909931" y="1551929"/>
                </a:cubicBezTo>
                <a:cubicBezTo>
                  <a:pt x="1908278" y="1553013"/>
                  <a:pt x="1906110" y="1546662"/>
                  <a:pt x="1906110" y="1544958"/>
                </a:cubicBezTo>
                <a:cubicBezTo>
                  <a:pt x="1903942" y="1542635"/>
                  <a:pt x="1901773" y="1547282"/>
                  <a:pt x="1900225" y="1543874"/>
                </a:cubicBezTo>
                <a:close/>
                <a:moveTo>
                  <a:pt x="1279655" y="1543874"/>
                </a:moveTo>
                <a:lnTo>
                  <a:pt x="1281616" y="1544958"/>
                </a:lnTo>
                <a:lnTo>
                  <a:pt x="1283785" y="1545113"/>
                </a:lnTo>
                <a:cubicBezTo>
                  <a:pt x="1285643" y="1544339"/>
                  <a:pt x="1288225" y="1544494"/>
                  <a:pt x="1289774" y="1545578"/>
                </a:cubicBezTo>
                <a:cubicBezTo>
                  <a:pt x="1291219" y="1547282"/>
                  <a:pt x="1290909" y="1548985"/>
                  <a:pt x="1289980" y="1549760"/>
                </a:cubicBezTo>
                <a:lnTo>
                  <a:pt x="1288018" y="1550999"/>
                </a:lnTo>
                <a:lnTo>
                  <a:pt x="1288948" y="1553322"/>
                </a:lnTo>
                <a:lnTo>
                  <a:pt x="1289774" y="1553632"/>
                </a:lnTo>
                <a:cubicBezTo>
                  <a:pt x="1290600" y="1554251"/>
                  <a:pt x="1291323" y="1555336"/>
                  <a:pt x="1291219" y="1556730"/>
                </a:cubicBezTo>
                <a:cubicBezTo>
                  <a:pt x="1290909" y="1559828"/>
                  <a:pt x="1292974" y="1561222"/>
                  <a:pt x="1292768" y="1564165"/>
                </a:cubicBezTo>
                <a:cubicBezTo>
                  <a:pt x="1292768" y="1564165"/>
                  <a:pt x="1292768" y="1564165"/>
                  <a:pt x="1291529" y="1564010"/>
                </a:cubicBezTo>
                <a:cubicBezTo>
                  <a:pt x="1291219" y="1561997"/>
                  <a:pt x="1290187" y="1560293"/>
                  <a:pt x="1289154" y="1558589"/>
                </a:cubicBezTo>
                <a:lnTo>
                  <a:pt x="1288638" y="1556730"/>
                </a:lnTo>
                <a:lnTo>
                  <a:pt x="1288018" y="1560448"/>
                </a:lnTo>
                <a:cubicBezTo>
                  <a:pt x="1287089" y="1562616"/>
                  <a:pt x="1285540" y="1564475"/>
                  <a:pt x="1283578" y="1566024"/>
                </a:cubicBezTo>
                <a:cubicBezTo>
                  <a:pt x="1279035" y="1569586"/>
                  <a:pt x="1271910" y="1570516"/>
                  <a:pt x="1263443" y="1564940"/>
                </a:cubicBezTo>
                <a:cubicBezTo>
                  <a:pt x="1262927" y="1556111"/>
                  <a:pt x="1266748" y="1548056"/>
                  <a:pt x="1272943" y="1544958"/>
                </a:cubicBezTo>
                <a:cubicBezTo>
                  <a:pt x="1275008" y="1544029"/>
                  <a:pt x="1277176" y="1543564"/>
                  <a:pt x="1279655" y="1543874"/>
                </a:cubicBezTo>
                <a:close/>
                <a:moveTo>
                  <a:pt x="1438566" y="1543719"/>
                </a:moveTo>
                <a:cubicBezTo>
                  <a:pt x="1441973" y="1544648"/>
                  <a:pt x="1443935" y="1550380"/>
                  <a:pt x="1446310" y="1555336"/>
                </a:cubicBezTo>
                <a:cubicBezTo>
                  <a:pt x="1444039" y="1555955"/>
                  <a:pt x="1442903" y="1556265"/>
                  <a:pt x="1441457" y="1557350"/>
                </a:cubicBezTo>
                <a:cubicBezTo>
                  <a:pt x="1439598" y="1552238"/>
                  <a:pt x="1436604" y="1549605"/>
                  <a:pt x="1436914" y="1546662"/>
                </a:cubicBezTo>
                <a:cubicBezTo>
                  <a:pt x="1437017" y="1545732"/>
                  <a:pt x="1437533" y="1544803"/>
                  <a:pt x="1438566" y="1543719"/>
                </a:cubicBezTo>
                <a:close/>
                <a:moveTo>
                  <a:pt x="5521809" y="1543618"/>
                </a:moveTo>
                <a:cubicBezTo>
                  <a:pt x="5524370" y="1544044"/>
                  <a:pt x="5526718" y="1543475"/>
                  <a:pt x="5529065" y="1543902"/>
                </a:cubicBezTo>
                <a:cubicBezTo>
                  <a:pt x="5531413" y="1546890"/>
                  <a:pt x="5530132" y="1555710"/>
                  <a:pt x="5526077" y="1558414"/>
                </a:cubicBezTo>
                <a:cubicBezTo>
                  <a:pt x="5524797" y="1559267"/>
                  <a:pt x="5523090" y="1559409"/>
                  <a:pt x="5521169" y="1558414"/>
                </a:cubicBezTo>
                <a:cubicBezTo>
                  <a:pt x="5515833" y="1555141"/>
                  <a:pt x="5518181" y="1549593"/>
                  <a:pt x="5521809" y="1543618"/>
                </a:cubicBezTo>
                <a:close/>
                <a:moveTo>
                  <a:pt x="5281499" y="1543048"/>
                </a:moveTo>
                <a:cubicBezTo>
                  <a:pt x="5287261" y="1542479"/>
                  <a:pt x="5289608" y="1545183"/>
                  <a:pt x="5293450" y="1546178"/>
                </a:cubicBezTo>
                <a:cubicBezTo>
                  <a:pt x="5294517" y="1558271"/>
                  <a:pt x="5286834" y="1560690"/>
                  <a:pt x="5281925" y="1557702"/>
                </a:cubicBezTo>
                <a:cubicBezTo>
                  <a:pt x="5280431" y="1556706"/>
                  <a:pt x="5279151" y="1555284"/>
                  <a:pt x="5278511" y="1553149"/>
                </a:cubicBezTo>
                <a:cubicBezTo>
                  <a:pt x="5277871" y="1550447"/>
                  <a:pt x="5278511" y="1547032"/>
                  <a:pt x="5281499" y="1543048"/>
                </a:cubicBezTo>
                <a:close/>
                <a:moveTo>
                  <a:pt x="3975583" y="1542764"/>
                </a:moveTo>
                <a:cubicBezTo>
                  <a:pt x="3976010" y="1542621"/>
                  <a:pt x="3976437" y="1542621"/>
                  <a:pt x="3977077" y="1542906"/>
                </a:cubicBezTo>
                <a:cubicBezTo>
                  <a:pt x="3976010" y="1545183"/>
                  <a:pt x="3974943" y="1546320"/>
                  <a:pt x="3972595" y="1546320"/>
                </a:cubicBezTo>
                <a:cubicBezTo>
                  <a:pt x="3973449" y="1545467"/>
                  <a:pt x="3974089" y="1543191"/>
                  <a:pt x="3975583" y="1542764"/>
                </a:cubicBezTo>
                <a:close/>
                <a:moveTo>
                  <a:pt x="5452448" y="1542337"/>
                </a:moveTo>
                <a:cubicBezTo>
                  <a:pt x="5456503" y="1546320"/>
                  <a:pt x="5463759" y="1549593"/>
                  <a:pt x="5465466" y="1554999"/>
                </a:cubicBezTo>
                <a:cubicBezTo>
                  <a:pt x="5463546" y="1553719"/>
                  <a:pt x="5453942" y="1546178"/>
                  <a:pt x="5452448" y="1542337"/>
                </a:cubicBezTo>
                <a:close/>
                <a:moveTo>
                  <a:pt x="1789637" y="1541938"/>
                </a:moveTo>
                <a:cubicBezTo>
                  <a:pt x="1793742" y="1541202"/>
                  <a:pt x="1797898" y="1542325"/>
                  <a:pt x="1800995" y="1547746"/>
                </a:cubicBezTo>
                <a:cubicBezTo>
                  <a:pt x="1799963" y="1549295"/>
                  <a:pt x="1799033" y="1550844"/>
                  <a:pt x="1798001" y="1552548"/>
                </a:cubicBezTo>
                <a:cubicBezTo>
                  <a:pt x="1790773" y="1548676"/>
                  <a:pt x="1784474" y="1550070"/>
                  <a:pt x="1778589" y="1547282"/>
                </a:cubicBezTo>
                <a:cubicBezTo>
                  <a:pt x="1781480" y="1545268"/>
                  <a:pt x="1785533" y="1542673"/>
                  <a:pt x="1789637" y="1541938"/>
                </a:cubicBezTo>
                <a:close/>
                <a:moveTo>
                  <a:pt x="3772621" y="1541910"/>
                </a:moveTo>
                <a:cubicBezTo>
                  <a:pt x="3781158" y="1542621"/>
                  <a:pt x="3791615" y="1548455"/>
                  <a:pt x="3794603" y="1555710"/>
                </a:cubicBezTo>
                <a:lnTo>
                  <a:pt x="3794816" y="1560263"/>
                </a:lnTo>
                <a:lnTo>
                  <a:pt x="3795670" y="1560263"/>
                </a:lnTo>
                <a:cubicBezTo>
                  <a:pt x="3795884" y="1560547"/>
                  <a:pt x="3795884" y="1560690"/>
                  <a:pt x="3796737" y="1560974"/>
                </a:cubicBezTo>
                <a:cubicBezTo>
                  <a:pt x="3798231" y="1561259"/>
                  <a:pt x="3804420" y="1560263"/>
                  <a:pt x="3804847" y="1558556"/>
                </a:cubicBezTo>
                <a:cubicBezTo>
                  <a:pt x="3805487" y="1559551"/>
                  <a:pt x="3806982" y="1559978"/>
                  <a:pt x="3806982" y="1559978"/>
                </a:cubicBezTo>
                <a:cubicBezTo>
                  <a:pt x="3806555" y="1561686"/>
                  <a:pt x="3805487" y="1562255"/>
                  <a:pt x="3804420" y="1562966"/>
                </a:cubicBezTo>
                <a:cubicBezTo>
                  <a:pt x="3802927" y="1562539"/>
                  <a:pt x="3802286" y="1561543"/>
                  <a:pt x="3800792" y="1561116"/>
                </a:cubicBezTo>
                <a:cubicBezTo>
                  <a:pt x="3799725" y="1561686"/>
                  <a:pt x="3797804" y="1562966"/>
                  <a:pt x="3796311" y="1562681"/>
                </a:cubicBezTo>
                <a:lnTo>
                  <a:pt x="3795030" y="1562112"/>
                </a:lnTo>
                <a:lnTo>
                  <a:pt x="3795030" y="1563251"/>
                </a:lnTo>
                <a:cubicBezTo>
                  <a:pt x="3784786" y="1563962"/>
                  <a:pt x="3773047" y="1562255"/>
                  <a:pt x="3761096" y="1552154"/>
                </a:cubicBezTo>
                <a:cubicBezTo>
                  <a:pt x="3760456" y="1544044"/>
                  <a:pt x="3765791" y="1541341"/>
                  <a:pt x="3772621" y="1541910"/>
                </a:cubicBezTo>
                <a:close/>
                <a:moveTo>
                  <a:pt x="3684265" y="1541910"/>
                </a:moveTo>
                <a:lnTo>
                  <a:pt x="3682344" y="1542337"/>
                </a:lnTo>
                <a:lnTo>
                  <a:pt x="3684478" y="1542479"/>
                </a:lnTo>
                <a:lnTo>
                  <a:pt x="3684478" y="1542053"/>
                </a:lnTo>
                <a:close/>
                <a:moveTo>
                  <a:pt x="1076343" y="1541705"/>
                </a:moveTo>
                <a:cubicBezTo>
                  <a:pt x="1084500" y="1537058"/>
                  <a:pt x="1090283" y="1545268"/>
                  <a:pt x="1086875" y="1550380"/>
                </a:cubicBezTo>
                <a:cubicBezTo>
                  <a:pt x="1085739" y="1552084"/>
                  <a:pt x="1083571" y="1553477"/>
                  <a:pt x="1080164" y="1553787"/>
                </a:cubicBezTo>
                <a:cubicBezTo>
                  <a:pt x="1079234" y="1549605"/>
                  <a:pt x="1076756" y="1547746"/>
                  <a:pt x="1076240" y="1544958"/>
                </a:cubicBezTo>
                <a:cubicBezTo>
                  <a:pt x="1076033" y="1544029"/>
                  <a:pt x="1076033" y="1542944"/>
                  <a:pt x="1076343" y="1541705"/>
                </a:cubicBezTo>
                <a:close/>
                <a:moveTo>
                  <a:pt x="5842365" y="1541626"/>
                </a:moveTo>
                <a:cubicBezTo>
                  <a:pt x="5845994" y="1543760"/>
                  <a:pt x="5848768" y="1547174"/>
                  <a:pt x="5845780" y="1550873"/>
                </a:cubicBezTo>
                <a:cubicBezTo>
                  <a:pt x="5844927" y="1552154"/>
                  <a:pt x="5843860" y="1553434"/>
                  <a:pt x="5843646" y="1552296"/>
                </a:cubicBezTo>
                <a:cubicBezTo>
                  <a:pt x="5842579" y="1552296"/>
                  <a:pt x="5842365" y="1551157"/>
                  <a:pt x="5841085" y="1550020"/>
                </a:cubicBezTo>
                <a:cubicBezTo>
                  <a:pt x="5839591" y="1547743"/>
                  <a:pt x="5839165" y="1544186"/>
                  <a:pt x="5840232" y="1542906"/>
                </a:cubicBezTo>
                <a:cubicBezTo>
                  <a:pt x="5841085" y="1541626"/>
                  <a:pt x="5842365" y="1541626"/>
                  <a:pt x="5842365" y="1541626"/>
                </a:cubicBezTo>
                <a:close/>
                <a:moveTo>
                  <a:pt x="1023579" y="1541551"/>
                </a:moveTo>
                <a:cubicBezTo>
                  <a:pt x="1025541" y="1542015"/>
                  <a:pt x="1027193" y="1541705"/>
                  <a:pt x="1029981" y="1542015"/>
                </a:cubicBezTo>
                <a:cubicBezTo>
                  <a:pt x="1030704" y="1544494"/>
                  <a:pt x="1029671" y="1549915"/>
                  <a:pt x="1025644" y="1551464"/>
                </a:cubicBezTo>
                <a:cubicBezTo>
                  <a:pt x="1023063" y="1550225"/>
                  <a:pt x="1021721" y="1548830"/>
                  <a:pt x="1021514" y="1547127"/>
                </a:cubicBezTo>
                <a:cubicBezTo>
                  <a:pt x="1021204" y="1545423"/>
                  <a:pt x="1022030" y="1543564"/>
                  <a:pt x="1023579" y="1541551"/>
                </a:cubicBezTo>
                <a:close/>
                <a:moveTo>
                  <a:pt x="3917533" y="1541341"/>
                </a:moveTo>
                <a:cubicBezTo>
                  <a:pt x="3924789" y="1540203"/>
                  <a:pt x="3932472" y="1550589"/>
                  <a:pt x="3932899" y="1557702"/>
                </a:cubicBezTo>
                <a:lnTo>
                  <a:pt x="3932472" y="1558840"/>
                </a:lnTo>
                <a:lnTo>
                  <a:pt x="3932686" y="1560121"/>
                </a:lnTo>
                <a:cubicBezTo>
                  <a:pt x="3932686" y="1562681"/>
                  <a:pt x="3930338" y="1562966"/>
                  <a:pt x="3929271" y="1566380"/>
                </a:cubicBezTo>
                <a:cubicBezTo>
                  <a:pt x="3928417" y="1572356"/>
                  <a:pt x="3939729" y="1573352"/>
                  <a:pt x="3937808" y="1585445"/>
                </a:cubicBezTo>
                <a:cubicBezTo>
                  <a:pt x="3934607" y="1584733"/>
                  <a:pt x="3931618" y="1591989"/>
                  <a:pt x="3926923" y="1590851"/>
                </a:cubicBezTo>
                <a:cubicBezTo>
                  <a:pt x="3912411" y="1589001"/>
                  <a:pt x="3912837" y="1584591"/>
                  <a:pt x="3912411" y="1575486"/>
                </a:cubicBezTo>
                <a:cubicBezTo>
                  <a:pt x="3912837" y="1576624"/>
                  <a:pt x="3913478" y="1574917"/>
                  <a:pt x="3913478" y="1574917"/>
                </a:cubicBezTo>
                <a:cubicBezTo>
                  <a:pt x="3914332" y="1571502"/>
                  <a:pt x="3907716" y="1574347"/>
                  <a:pt x="3908142" y="1570080"/>
                </a:cubicBezTo>
                <a:cubicBezTo>
                  <a:pt x="3908782" y="1566523"/>
                  <a:pt x="3911344" y="1563962"/>
                  <a:pt x="3914118" y="1562255"/>
                </a:cubicBezTo>
                <a:lnTo>
                  <a:pt x="3920734" y="1559409"/>
                </a:lnTo>
                <a:lnTo>
                  <a:pt x="3916039" y="1555284"/>
                </a:lnTo>
                <a:cubicBezTo>
                  <a:pt x="3913905" y="1552011"/>
                  <a:pt x="3913051" y="1548028"/>
                  <a:pt x="3914545" y="1543333"/>
                </a:cubicBezTo>
                <a:cubicBezTo>
                  <a:pt x="3916039" y="1544186"/>
                  <a:pt x="3916679" y="1542764"/>
                  <a:pt x="3917533" y="1541341"/>
                </a:cubicBezTo>
                <a:close/>
                <a:moveTo>
                  <a:pt x="1643220" y="1541240"/>
                </a:moveTo>
                <a:cubicBezTo>
                  <a:pt x="1646524" y="1542015"/>
                  <a:pt x="1648176" y="1544029"/>
                  <a:pt x="1649105" y="1548520"/>
                </a:cubicBezTo>
                <a:cubicBezTo>
                  <a:pt x="1646731" y="1552084"/>
                  <a:pt x="1638780" y="1553787"/>
                  <a:pt x="1637644" y="1548211"/>
                </a:cubicBezTo>
                <a:cubicBezTo>
                  <a:pt x="1638367" y="1545578"/>
                  <a:pt x="1639090" y="1542944"/>
                  <a:pt x="1643220" y="1541240"/>
                </a:cubicBezTo>
                <a:close/>
                <a:moveTo>
                  <a:pt x="5855598" y="1541057"/>
                </a:moveTo>
                <a:cubicBezTo>
                  <a:pt x="5856451" y="1541483"/>
                  <a:pt x="5857305" y="1542337"/>
                  <a:pt x="5858586" y="1542906"/>
                </a:cubicBezTo>
                <a:lnTo>
                  <a:pt x="5855598" y="1546605"/>
                </a:lnTo>
                <a:cubicBezTo>
                  <a:pt x="5854317" y="1545467"/>
                  <a:pt x="5852823" y="1543191"/>
                  <a:pt x="5853890" y="1542053"/>
                </a:cubicBezTo>
                <a:cubicBezTo>
                  <a:pt x="5854317" y="1540772"/>
                  <a:pt x="5854744" y="1540772"/>
                  <a:pt x="5855598" y="1541057"/>
                </a:cubicBezTo>
                <a:close/>
                <a:moveTo>
                  <a:pt x="3661216" y="1540914"/>
                </a:moveTo>
                <a:cubicBezTo>
                  <a:pt x="3661856" y="1540630"/>
                  <a:pt x="3662923" y="1540914"/>
                  <a:pt x="3664204" y="1541483"/>
                </a:cubicBezTo>
                <a:cubicBezTo>
                  <a:pt x="3668259" y="1546036"/>
                  <a:pt x="3665484" y="1551157"/>
                  <a:pt x="3665271" y="1557275"/>
                </a:cubicBezTo>
                <a:cubicBezTo>
                  <a:pt x="3663990" y="1557275"/>
                  <a:pt x="3663137" y="1558556"/>
                  <a:pt x="3663137" y="1559836"/>
                </a:cubicBezTo>
                <a:cubicBezTo>
                  <a:pt x="3662283" y="1561116"/>
                  <a:pt x="3661216" y="1562397"/>
                  <a:pt x="3662497" y="1562255"/>
                </a:cubicBezTo>
                <a:cubicBezTo>
                  <a:pt x="3659508" y="1566096"/>
                  <a:pt x="3659722" y="1567234"/>
                  <a:pt x="3656093" y="1566238"/>
                </a:cubicBezTo>
                <a:cubicBezTo>
                  <a:pt x="3655880" y="1556564"/>
                  <a:pt x="3658868" y="1545467"/>
                  <a:pt x="3659722" y="1543048"/>
                </a:cubicBezTo>
                <a:cubicBezTo>
                  <a:pt x="3660149" y="1541768"/>
                  <a:pt x="3660575" y="1541057"/>
                  <a:pt x="3661216" y="1540914"/>
                </a:cubicBezTo>
                <a:close/>
                <a:moveTo>
                  <a:pt x="3717985" y="1540630"/>
                </a:moveTo>
                <a:cubicBezTo>
                  <a:pt x="3719266" y="1540914"/>
                  <a:pt x="3720760" y="1541910"/>
                  <a:pt x="3722680" y="1543191"/>
                </a:cubicBezTo>
                <a:cubicBezTo>
                  <a:pt x="3726309" y="1545752"/>
                  <a:pt x="3729937" y="1550731"/>
                  <a:pt x="3731218" y="1552011"/>
                </a:cubicBezTo>
                <a:cubicBezTo>
                  <a:pt x="3732285" y="1553292"/>
                  <a:pt x="3733565" y="1553292"/>
                  <a:pt x="3733565" y="1553292"/>
                </a:cubicBezTo>
                <a:cubicBezTo>
                  <a:pt x="3732498" y="1555710"/>
                  <a:pt x="3719266" y="1545325"/>
                  <a:pt x="3715638" y="1542764"/>
                </a:cubicBezTo>
                <a:cubicBezTo>
                  <a:pt x="3715424" y="1541626"/>
                  <a:pt x="3715424" y="1541626"/>
                  <a:pt x="3715424" y="1541626"/>
                </a:cubicBezTo>
                <a:cubicBezTo>
                  <a:pt x="3716064" y="1540488"/>
                  <a:pt x="3716918" y="1540203"/>
                  <a:pt x="3717985" y="1540630"/>
                </a:cubicBezTo>
                <a:close/>
                <a:moveTo>
                  <a:pt x="6029108" y="1539919"/>
                </a:moveTo>
                <a:cubicBezTo>
                  <a:pt x="6032310" y="1539349"/>
                  <a:pt x="6035938" y="1540772"/>
                  <a:pt x="6037858" y="1543475"/>
                </a:cubicBezTo>
                <a:cubicBezTo>
                  <a:pt x="6038925" y="1545183"/>
                  <a:pt x="6039352" y="1547601"/>
                  <a:pt x="6038498" y="1550304"/>
                </a:cubicBezTo>
                <a:cubicBezTo>
                  <a:pt x="6031669" y="1552438"/>
                  <a:pt x="6024199" y="1556137"/>
                  <a:pt x="6021211" y="1548455"/>
                </a:cubicBezTo>
                <a:cubicBezTo>
                  <a:pt x="6022492" y="1543048"/>
                  <a:pt x="6025693" y="1540488"/>
                  <a:pt x="6029108" y="1539919"/>
                </a:cubicBezTo>
                <a:close/>
                <a:moveTo>
                  <a:pt x="5451167" y="1539919"/>
                </a:moveTo>
                <a:cubicBezTo>
                  <a:pt x="5451594" y="1541483"/>
                  <a:pt x="5451594" y="1541483"/>
                  <a:pt x="5452448" y="1542195"/>
                </a:cubicBezTo>
                <a:cubicBezTo>
                  <a:pt x="5452448" y="1542195"/>
                  <a:pt x="5450954" y="1542479"/>
                  <a:pt x="5450954" y="1542479"/>
                </a:cubicBezTo>
                <a:cubicBezTo>
                  <a:pt x="5450527" y="1540914"/>
                  <a:pt x="5449887" y="1541768"/>
                  <a:pt x="5451167" y="1539919"/>
                </a:cubicBezTo>
                <a:close/>
                <a:moveTo>
                  <a:pt x="3650118" y="1539919"/>
                </a:moveTo>
                <a:cubicBezTo>
                  <a:pt x="3650971" y="1543191"/>
                  <a:pt x="3652038" y="1547459"/>
                  <a:pt x="3651612" y="1550162"/>
                </a:cubicBezTo>
                <a:cubicBezTo>
                  <a:pt x="3649904" y="1548312"/>
                  <a:pt x="3647770" y="1544328"/>
                  <a:pt x="3649264" y="1541341"/>
                </a:cubicBezTo>
                <a:cubicBezTo>
                  <a:pt x="3649264" y="1541341"/>
                  <a:pt x="3649264" y="1541341"/>
                  <a:pt x="3650118" y="1539919"/>
                </a:cubicBezTo>
                <a:close/>
                <a:moveTo>
                  <a:pt x="5037987" y="1539776"/>
                </a:moveTo>
                <a:cubicBezTo>
                  <a:pt x="5041615" y="1539634"/>
                  <a:pt x="5048444" y="1541199"/>
                  <a:pt x="5049298" y="1541341"/>
                </a:cubicBezTo>
                <a:cubicBezTo>
                  <a:pt x="5049298" y="1541341"/>
                  <a:pt x="5050365" y="1541341"/>
                  <a:pt x="5051646" y="1541341"/>
                </a:cubicBezTo>
                <a:cubicBezTo>
                  <a:pt x="5052713" y="1542621"/>
                  <a:pt x="5052926" y="1543760"/>
                  <a:pt x="5053993" y="1543902"/>
                </a:cubicBezTo>
                <a:cubicBezTo>
                  <a:pt x="5050792" y="1547316"/>
                  <a:pt x="5047163" y="1545894"/>
                  <a:pt x="5043749" y="1544613"/>
                </a:cubicBezTo>
                <a:cubicBezTo>
                  <a:pt x="5041401" y="1543333"/>
                  <a:pt x="5040121" y="1543191"/>
                  <a:pt x="5037987" y="1544328"/>
                </a:cubicBezTo>
                <a:cubicBezTo>
                  <a:pt x="5037987" y="1544328"/>
                  <a:pt x="5037987" y="1544328"/>
                  <a:pt x="5035425" y="1541768"/>
                </a:cubicBezTo>
                <a:lnTo>
                  <a:pt x="5035425" y="1540630"/>
                </a:lnTo>
                <a:cubicBezTo>
                  <a:pt x="5035639" y="1540061"/>
                  <a:pt x="5036706" y="1539776"/>
                  <a:pt x="5037987" y="1539776"/>
                </a:cubicBezTo>
                <a:close/>
                <a:moveTo>
                  <a:pt x="5592025" y="1538923"/>
                </a:moveTo>
                <a:cubicBezTo>
                  <a:pt x="5594799" y="1538496"/>
                  <a:pt x="5596720" y="1538923"/>
                  <a:pt x="5597787" y="1539919"/>
                </a:cubicBezTo>
                <a:cubicBezTo>
                  <a:pt x="5598853" y="1541057"/>
                  <a:pt x="5599281" y="1542764"/>
                  <a:pt x="5599708" y="1545183"/>
                </a:cubicBezTo>
                <a:cubicBezTo>
                  <a:pt x="5595653" y="1545325"/>
                  <a:pt x="5594372" y="1543191"/>
                  <a:pt x="5592025" y="1538923"/>
                </a:cubicBezTo>
                <a:close/>
                <a:moveTo>
                  <a:pt x="5370708" y="1538780"/>
                </a:moveTo>
                <a:cubicBezTo>
                  <a:pt x="5373909" y="1538354"/>
                  <a:pt x="5377110" y="1539065"/>
                  <a:pt x="5378818" y="1541057"/>
                </a:cubicBezTo>
                <a:cubicBezTo>
                  <a:pt x="5379885" y="1542337"/>
                  <a:pt x="5380525" y="1544186"/>
                  <a:pt x="5379671" y="1546463"/>
                </a:cubicBezTo>
                <a:cubicBezTo>
                  <a:pt x="5374123" y="1551869"/>
                  <a:pt x="5370495" y="1545894"/>
                  <a:pt x="5363452" y="1544186"/>
                </a:cubicBezTo>
                <a:cubicBezTo>
                  <a:pt x="5364519" y="1541057"/>
                  <a:pt x="5367720" y="1539349"/>
                  <a:pt x="5370708" y="1538780"/>
                </a:cubicBezTo>
                <a:close/>
                <a:moveTo>
                  <a:pt x="1570527" y="1538762"/>
                </a:moveTo>
                <a:cubicBezTo>
                  <a:pt x="1570321" y="1539537"/>
                  <a:pt x="1570218" y="1540311"/>
                  <a:pt x="1571044" y="1540466"/>
                </a:cubicBezTo>
                <a:cubicBezTo>
                  <a:pt x="1569082" y="1542015"/>
                  <a:pt x="1568152" y="1541860"/>
                  <a:pt x="1567223" y="1542635"/>
                </a:cubicBezTo>
                <a:cubicBezTo>
                  <a:pt x="1568049" y="1542790"/>
                  <a:pt x="1567017" y="1543564"/>
                  <a:pt x="1567017" y="1543564"/>
                </a:cubicBezTo>
                <a:cubicBezTo>
                  <a:pt x="1567017" y="1543564"/>
                  <a:pt x="1567017" y="1543564"/>
                  <a:pt x="1568462" y="1545268"/>
                </a:cubicBezTo>
                <a:cubicBezTo>
                  <a:pt x="1568462" y="1545268"/>
                  <a:pt x="1571250" y="1549760"/>
                  <a:pt x="1567120" y="1553632"/>
                </a:cubicBezTo>
                <a:cubicBezTo>
                  <a:pt x="1566397" y="1552703"/>
                  <a:pt x="1560408" y="1557350"/>
                  <a:pt x="1557207" y="1555491"/>
                </a:cubicBezTo>
                <a:cubicBezTo>
                  <a:pt x="1555555" y="1554562"/>
                  <a:pt x="1554832" y="1553632"/>
                  <a:pt x="1553284" y="1552703"/>
                </a:cubicBezTo>
                <a:cubicBezTo>
                  <a:pt x="1553490" y="1551464"/>
                  <a:pt x="1552974" y="1550225"/>
                  <a:pt x="1553077" y="1548676"/>
                </a:cubicBezTo>
                <a:cubicBezTo>
                  <a:pt x="1553077" y="1546972"/>
                  <a:pt x="1553593" y="1545113"/>
                  <a:pt x="1555762" y="1542790"/>
                </a:cubicBezTo>
                <a:cubicBezTo>
                  <a:pt x="1560925" y="1538143"/>
                  <a:pt x="1565468" y="1542635"/>
                  <a:pt x="1565571" y="1541705"/>
                </a:cubicBezTo>
                <a:cubicBezTo>
                  <a:pt x="1566603" y="1540931"/>
                  <a:pt x="1566500" y="1540931"/>
                  <a:pt x="1566707" y="1540156"/>
                </a:cubicBezTo>
                <a:cubicBezTo>
                  <a:pt x="1567533" y="1540156"/>
                  <a:pt x="1569495" y="1539537"/>
                  <a:pt x="1570527" y="1538762"/>
                </a:cubicBezTo>
                <a:close/>
                <a:moveTo>
                  <a:pt x="5911941" y="1538069"/>
                </a:moveTo>
                <a:cubicBezTo>
                  <a:pt x="5914288" y="1538923"/>
                  <a:pt x="5919837" y="1542764"/>
                  <a:pt x="5922612" y="1547032"/>
                </a:cubicBezTo>
                <a:cubicBezTo>
                  <a:pt x="5923465" y="1548312"/>
                  <a:pt x="5923892" y="1549877"/>
                  <a:pt x="5923892" y="1551157"/>
                </a:cubicBezTo>
                <a:cubicBezTo>
                  <a:pt x="5923892" y="1553007"/>
                  <a:pt x="5922825" y="1554714"/>
                  <a:pt x="5920477" y="1555995"/>
                </a:cubicBezTo>
                <a:cubicBezTo>
                  <a:pt x="5916209" y="1550020"/>
                  <a:pt x="5909593" y="1547459"/>
                  <a:pt x="5909379" y="1543048"/>
                </a:cubicBezTo>
                <a:cubicBezTo>
                  <a:pt x="5909379" y="1541626"/>
                  <a:pt x="5910020" y="1540061"/>
                  <a:pt x="5911941" y="1538069"/>
                </a:cubicBezTo>
                <a:close/>
                <a:moveTo>
                  <a:pt x="3609782" y="1537784"/>
                </a:moveTo>
                <a:cubicBezTo>
                  <a:pt x="3609568" y="1538923"/>
                  <a:pt x="3610849" y="1539207"/>
                  <a:pt x="3610849" y="1539207"/>
                </a:cubicBezTo>
                <a:cubicBezTo>
                  <a:pt x="3610849" y="1539207"/>
                  <a:pt x="3610849" y="1539065"/>
                  <a:pt x="3610849" y="1537927"/>
                </a:cubicBezTo>
                <a:cubicBezTo>
                  <a:pt x="3611489" y="1538638"/>
                  <a:pt x="3611275" y="1539207"/>
                  <a:pt x="3611062" y="1539634"/>
                </a:cubicBezTo>
                <a:cubicBezTo>
                  <a:pt x="3610849" y="1540061"/>
                  <a:pt x="3610635" y="1540345"/>
                  <a:pt x="3610635" y="1540345"/>
                </a:cubicBezTo>
                <a:cubicBezTo>
                  <a:pt x="3609355" y="1541341"/>
                  <a:pt x="3608287" y="1542337"/>
                  <a:pt x="3607220" y="1540914"/>
                </a:cubicBezTo>
                <a:cubicBezTo>
                  <a:pt x="3607220" y="1540914"/>
                  <a:pt x="3607220" y="1539776"/>
                  <a:pt x="3609782" y="1537784"/>
                </a:cubicBezTo>
                <a:close/>
                <a:moveTo>
                  <a:pt x="5090274" y="1537500"/>
                </a:moveTo>
                <a:cubicBezTo>
                  <a:pt x="5090274" y="1537500"/>
                  <a:pt x="5090701" y="1537500"/>
                  <a:pt x="5091342" y="1537500"/>
                </a:cubicBezTo>
                <a:cubicBezTo>
                  <a:pt x="5091982" y="1537500"/>
                  <a:pt x="5092835" y="1537784"/>
                  <a:pt x="5093902" y="1538354"/>
                </a:cubicBezTo>
                <a:cubicBezTo>
                  <a:pt x="5097957" y="1538069"/>
                  <a:pt x="5098811" y="1543048"/>
                  <a:pt x="5098811" y="1543048"/>
                </a:cubicBezTo>
                <a:cubicBezTo>
                  <a:pt x="5098811" y="1543048"/>
                  <a:pt x="5098811" y="1542906"/>
                  <a:pt x="5099451" y="1541910"/>
                </a:cubicBezTo>
                <a:cubicBezTo>
                  <a:pt x="5098171" y="1544044"/>
                  <a:pt x="5097744" y="1546747"/>
                  <a:pt x="5096464" y="1548739"/>
                </a:cubicBezTo>
                <a:cubicBezTo>
                  <a:pt x="5085366" y="1553434"/>
                  <a:pt x="5085579" y="1549166"/>
                  <a:pt x="5083872" y="1543618"/>
                </a:cubicBezTo>
                <a:cubicBezTo>
                  <a:pt x="5086006" y="1542195"/>
                  <a:pt x="5087073" y="1538496"/>
                  <a:pt x="5090274" y="1537500"/>
                </a:cubicBezTo>
                <a:close/>
                <a:moveTo>
                  <a:pt x="1219250" y="1537213"/>
                </a:moveTo>
                <a:cubicBezTo>
                  <a:pt x="1225032" y="1541396"/>
                  <a:pt x="1219869" y="1549915"/>
                  <a:pt x="1214500" y="1550225"/>
                </a:cubicBezTo>
                <a:cubicBezTo>
                  <a:pt x="1212331" y="1548520"/>
                  <a:pt x="1211505" y="1546197"/>
                  <a:pt x="1211712" y="1543874"/>
                </a:cubicBezTo>
                <a:cubicBezTo>
                  <a:pt x="1212022" y="1541551"/>
                  <a:pt x="1213261" y="1539382"/>
                  <a:pt x="1215016" y="1538143"/>
                </a:cubicBezTo>
                <a:cubicBezTo>
                  <a:pt x="1216255" y="1537368"/>
                  <a:pt x="1217701" y="1536903"/>
                  <a:pt x="1219250" y="1537213"/>
                </a:cubicBezTo>
                <a:close/>
                <a:moveTo>
                  <a:pt x="5446259" y="1536789"/>
                </a:moveTo>
                <a:cubicBezTo>
                  <a:pt x="5446899" y="1537216"/>
                  <a:pt x="5447326" y="1537500"/>
                  <a:pt x="5447752" y="1537784"/>
                </a:cubicBezTo>
                <a:cubicBezTo>
                  <a:pt x="5447966" y="1538211"/>
                  <a:pt x="5447966" y="1538638"/>
                  <a:pt x="5447752" y="1539065"/>
                </a:cubicBezTo>
                <a:cubicBezTo>
                  <a:pt x="5447112" y="1540061"/>
                  <a:pt x="5446045" y="1539349"/>
                  <a:pt x="5445619" y="1537784"/>
                </a:cubicBezTo>
                <a:cubicBezTo>
                  <a:pt x="5445619" y="1537784"/>
                  <a:pt x="5446259" y="1536789"/>
                  <a:pt x="5446259" y="1536789"/>
                </a:cubicBezTo>
                <a:close/>
                <a:moveTo>
                  <a:pt x="4630995" y="1536646"/>
                </a:moveTo>
                <a:cubicBezTo>
                  <a:pt x="4632702" y="1537073"/>
                  <a:pt x="4635050" y="1538496"/>
                  <a:pt x="4636544" y="1538923"/>
                </a:cubicBezTo>
                <a:cubicBezTo>
                  <a:pt x="4636544" y="1538923"/>
                  <a:pt x="4636544" y="1538923"/>
                  <a:pt x="4636330" y="1540630"/>
                </a:cubicBezTo>
                <a:cubicBezTo>
                  <a:pt x="4635050" y="1538496"/>
                  <a:pt x="4630568" y="1539919"/>
                  <a:pt x="4630995" y="1536646"/>
                </a:cubicBezTo>
                <a:close/>
                <a:moveTo>
                  <a:pt x="3417704" y="1536504"/>
                </a:moveTo>
                <a:lnTo>
                  <a:pt x="3413222" y="1538069"/>
                </a:lnTo>
                <a:lnTo>
                  <a:pt x="3411942" y="1537500"/>
                </a:lnTo>
                <a:lnTo>
                  <a:pt x="3411301" y="1543618"/>
                </a:lnTo>
                <a:cubicBezTo>
                  <a:pt x="3410874" y="1553861"/>
                  <a:pt x="3409594" y="1562966"/>
                  <a:pt x="3410661" y="1571502"/>
                </a:cubicBezTo>
                <a:cubicBezTo>
                  <a:pt x="3409167" y="1570080"/>
                  <a:pt x="3407886" y="1569368"/>
                  <a:pt x="3406819" y="1569652"/>
                </a:cubicBezTo>
                <a:lnTo>
                  <a:pt x="3405326" y="1571929"/>
                </a:lnTo>
                <a:lnTo>
                  <a:pt x="3406179" y="1571502"/>
                </a:lnTo>
                <a:cubicBezTo>
                  <a:pt x="3407886" y="1571360"/>
                  <a:pt x="3409381" y="1571929"/>
                  <a:pt x="3410234" y="1573209"/>
                </a:cubicBezTo>
                <a:cubicBezTo>
                  <a:pt x="3410661" y="1573921"/>
                  <a:pt x="3410874" y="1575059"/>
                  <a:pt x="3411088" y="1576481"/>
                </a:cubicBezTo>
                <a:lnTo>
                  <a:pt x="3408313" y="1577904"/>
                </a:lnTo>
                <a:lnTo>
                  <a:pt x="3409594" y="1580038"/>
                </a:lnTo>
                <a:cubicBezTo>
                  <a:pt x="3411088" y="1582741"/>
                  <a:pt x="3412795" y="1584591"/>
                  <a:pt x="3415356" y="1581176"/>
                </a:cubicBezTo>
                <a:lnTo>
                  <a:pt x="3415783" y="1583453"/>
                </a:lnTo>
                <a:lnTo>
                  <a:pt x="3417704" y="1580750"/>
                </a:lnTo>
                <a:cubicBezTo>
                  <a:pt x="3420052" y="1581318"/>
                  <a:pt x="3421759" y="1582599"/>
                  <a:pt x="3422826" y="1584022"/>
                </a:cubicBezTo>
                <a:cubicBezTo>
                  <a:pt x="3425814" y="1588290"/>
                  <a:pt x="3423253" y="1594550"/>
                  <a:pt x="3418771" y="1595688"/>
                </a:cubicBezTo>
                <a:lnTo>
                  <a:pt x="3415356" y="1595546"/>
                </a:lnTo>
                <a:lnTo>
                  <a:pt x="3415356" y="1595830"/>
                </a:lnTo>
                <a:cubicBezTo>
                  <a:pt x="3416637" y="1598249"/>
                  <a:pt x="3419624" y="1598106"/>
                  <a:pt x="3426240" y="1599102"/>
                </a:cubicBezTo>
                <a:cubicBezTo>
                  <a:pt x="3426454" y="1586725"/>
                  <a:pt x="3427521" y="1569368"/>
                  <a:pt x="3418344" y="1572782"/>
                </a:cubicBezTo>
                <a:cubicBezTo>
                  <a:pt x="3418984" y="1567803"/>
                  <a:pt x="3424960" y="1570791"/>
                  <a:pt x="3424747" y="1565527"/>
                </a:cubicBezTo>
                <a:cubicBezTo>
                  <a:pt x="3423039" y="1557133"/>
                  <a:pt x="3419198" y="1550447"/>
                  <a:pt x="3417704" y="1537784"/>
                </a:cubicBezTo>
                <a:close/>
                <a:moveTo>
                  <a:pt x="1702902" y="1536439"/>
                </a:moveTo>
                <a:cubicBezTo>
                  <a:pt x="1703315" y="1537058"/>
                  <a:pt x="1703212" y="1537987"/>
                  <a:pt x="1702902" y="1538917"/>
                </a:cubicBezTo>
                <a:cubicBezTo>
                  <a:pt x="1701973" y="1541860"/>
                  <a:pt x="1698668" y="1546042"/>
                  <a:pt x="1696500" y="1547901"/>
                </a:cubicBezTo>
                <a:cubicBezTo>
                  <a:pt x="1696190" y="1547127"/>
                  <a:pt x="1696190" y="1546352"/>
                  <a:pt x="1696500" y="1545268"/>
                </a:cubicBezTo>
                <a:cubicBezTo>
                  <a:pt x="1697429" y="1542325"/>
                  <a:pt x="1700837" y="1538143"/>
                  <a:pt x="1702902" y="1536439"/>
                </a:cubicBezTo>
                <a:close/>
                <a:moveTo>
                  <a:pt x="4875147" y="1535366"/>
                </a:moveTo>
                <a:cubicBezTo>
                  <a:pt x="4874080" y="1539491"/>
                  <a:pt x="4879202" y="1540630"/>
                  <a:pt x="4875574" y="1544186"/>
                </a:cubicBezTo>
                <a:cubicBezTo>
                  <a:pt x="4873440" y="1544898"/>
                  <a:pt x="4870665" y="1544328"/>
                  <a:pt x="4867251" y="1541341"/>
                </a:cubicBezTo>
                <a:cubicBezTo>
                  <a:pt x="4867677" y="1534939"/>
                  <a:pt x="4871306" y="1535224"/>
                  <a:pt x="4875147" y="1535366"/>
                </a:cubicBezTo>
                <a:close/>
                <a:moveTo>
                  <a:pt x="3690667" y="1534939"/>
                </a:moveTo>
                <a:cubicBezTo>
                  <a:pt x="3690667" y="1534939"/>
                  <a:pt x="3691095" y="1534797"/>
                  <a:pt x="3691734" y="1534939"/>
                </a:cubicBezTo>
                <a:cubicBezTo>
                  <a:pt x="3692375" y="1534939"/>
                  <a:pt x="3693229" y="1535224"/>
                  <a:pt x="3694723" y="1535935"/>
                </a:cubicBezTo>
                <a:cubicBezTo>
                  <a:pt x="3693655" y="1536219"/>
                  <a:pt x="3693869" y="1537500"/>
                  <a:pt x="3693869" y="1537500"/>
                </a:cubicBezTo>
                <a:cubicBezTo>
                  <a:pt x="3693869" y="1537500"/>
                  <a:pt x="3693869" y="1537500"/>
                  <a:pt x="3694936" y="1537073"/>
                </a:cubicBezTo>
                <a:cubicBezTo>
                  <a:pt x="3694509" y="1537784"/>
                  <a:pt x="3694082" y="1537927"/>
                  <a:pt x="3693442" y="1538069"/>
                </a:cubicBezTo>
                <a:cubicBezTo>
                  <a:pt x="3693015" y="1538069"/>
                  <a:pt x="3692802" y="1537784"/>
                  <a:pt x="3692802" y="1537784"/>
                </a:cubicBezTo>
                <a:cubicBezTo>
                  <a:pt x="3691308" y="1537073"/>
                  <a:pt x="3690027" y="1536504"/>
                  <a:pt x="3690667" y="1534939"/>
                </a:cubicBezTo>
                <a:close/>
                <a:moveTo>
                  <a:pt x="5747821" y="1534512"/>
                </a:moveTo>
                <a:cubicBezTo>
                  <a:pt x="5748888" y="1536504"/>
                  <a:pt x="5749742" y="1538354"/>
                  <a:pt x="5750382" y="1540061"/>
                </a:cubicBezTo>
                <a:cubicBezTo>
                  <a:pt x="5752302" y="1545325"/>
                  <a:pt x="5751449" y="1550162"/>
                  <a:pt x="5745473" y="1555141"/>
                </a:cubicBezTo>
                <a:cubicBezTo>
                  <a:pt x="5741205" y="1554145"/>
                  <a:pt x="5739924" y="1549735"/>
                  <a:pt x="5740564" y="1545183"/>
                </a:cubicBezTo>
                <a:cubicBezTo>
                  <a:pt x="5741418" y="1540772"/>
                  <a:pt x="5744193" y="1536077"/>
                  <a:pt x="5747821" y="1534512"/>
                </a:cubicBezTo>
                <a:close/>
                <a:moveTo>
                  <a:pt x="1339750" y="1534425"/>
                </a:moveTo>
                <a:cubicBezTo>
                  <a:pt x="1340060" y="1535509"/>
                  <a:pt x="1340989" y="1537058"/>
                  <a:pt x="1340679" y="1538917"/>
                </a:cubicBezTo>
                <a:cubicBezTo>
                  <a:pt x="1337994" y="1540931"/>
                  <a:pt x="1336549" y="1539692"/>
                  <a:pt x="1336445" y="1537987"/>
                </a:cubicBezTo>
                <a:cubicBezTo>
                  <a:pt x="1336239" y="1536284"/>
                  <a:pt x="1337478" y="1534116"/>
                  <a:pt x="1339750" y="1534425"/>
                </a:cubicBezTo>
                <a:close/>
                <a:moveTo>
                  <a:pt x="4027444" y="1534370"/>
                </a:moveTo>
                <a:cubicBezTo>
                  <a:pt x="4029151" y="1540630"/>
                  <a:pt x="4021895" y="1546320"/>
                  <a:pt x="4016559" y="1544898"/>
                </a:cubicBezTo>
                <a:cubicBezTo>
                  <a:pt x="4014852" y="1544471"/>
                  <a:pt x="4013358" y="1543191"/>
                  <a:pt x="4012504" y="1540914"/>
                </a:cubicBezTo>
                <a:cubicBezTo>
                  <a:pt x="4013785" y="1533517"/>
                  <a:pt x="4020614" y="1536646"/>
                  <a:pt x="4027444" y="1534370"/>
                </a:cubicBezTo>
                <a:close/>
                <a:moveTo>
                  <a:pt x="4289523" y="1533943"/>
                </a:moveTo>
                <a:cubicBezTo>
                  <a:pt x="4294645" y="1532947"/>
                  <a:pt x="4298914" y="1537216"/>
                  <a:pt x="4301048" y="1542337"/>
                </a:cubicBezTo>
                <a:cubicBezTo>
                  <a:pt x="4303395" y="1547316"/>
                  <a:pt x="4303395" y="1553149"/>
                  <a:pt x="4299341" y="1555284"/>
                </a:cubicBezTo>
                <a:cubicBezTo>
                  <a:pt x="4298274" y="1555995"/>
                  <a:pt x="4296779" y="1556279"/>
                  <a:pt x="4294859" y="1556279"/>
                </a:cubicBezTo>
                <a:cubicBezTo>
                  <a:pt x="4286749" y="1551442"/>
                  <a:pt x="4282053" y="1545609"/>
                  <a:pt x="4286322" y="1536077"/>
                </a:cubicBezTo>
                <a:cubicBezTo>
                  <a:pt x="4287603" y="1536789"/>
                  <a:pt x="4288670" y="1535366"/>
                  <a:pt x="4289523" y="1533943"/>
                </a:cubicBezTo>
                <a:close/>
                <a:moveTo>
                  <a:pt x="1637231" y="1533806"/>
                </a:moveTo>
                <a:cubicBezTo>
                  <a:pt x="1638160" y="1533031"/>
                  <a:pt x="1639193" y="1533186"/>
                  <a:pt x="1640019" y="1533806"/>
                </a:cubicBezTo>
                <a:lnTo>
                  <a:pt x="1640845" y="1534890"/>
                </a:lnTo>
                <a:lnTo>
                  <a:pt x="1641980" y="1534270"/>
                </a:lnTo>
                <a:cubicBezTo>
                  <a:pt x="1643013" y="1533806"/>
                  <a:pt x="1643839" y="1533651"/>
                  <a:pt x="1644459" y="1533806"/>
                </a:cubicBezTo>
                <a:cubicBezTo>
                  <a:pt x="1644356" y="1534735"/>
                  <a:pt x="1644252" y="1535509"/>
                  <a:pt x="1643323" y="1536284"/>
                </a:cubicBezTo>
                <a:cubicBezTo>
                  <a:pt x="1642394" y="1537213"/>
                  <a:pt x="1642497" y="1536284"/>
                  <a:pt x="1642394" y="1537213"/>
                </a:cubicBezTo>
                <a:cubicBezTo>
                  <a:pt x="1641361" y="1537987"/>
                  <a:pt x="1642291" y="1537987"/>
                  <a:pt x="1642291" y="1537987"/>
                </a:cubicBezTo>
                <a:lnTo>
                  <a:pt x="1641877" y="1537987"/>
                </a:lnTo>
                <a:lnTo>
                  <a:pt x="1641980" y="1539227"/>
                </a:lnTo>
                <a:cubicBezTo>
                  <a:pt x="1641671" y="1540001"/>
                  <a:pt x="1641051" y="1540621"/>
                  <a:pt x="1639915" y="1540776"/>
                </a:cubicBezTo>
                <a:lnTo>
                  <a:pt x="1638883" y="1540466"/>
                </a:lnTo>
                <a:lnTo>
                  <a:pt x="1637540" y="1542480"/>
                </a:lnTo>
                <a:cubicBezTo>
                  <a:pt x="1637128" y="1543254"/>
                  <a:pt x="1636818" y="1543874"/>
                  <a:pt x="1636301" y="1544648"/>
                </a:cubicBezTo>
                <a:cubicBezTo>
                  <a:pt x="1634340" y="1546352"/>
                  <a:pt x="1633513" y="1546197"/>
                  <a:pt x="1630726" y="1547901"/>
                </a:cubicBezTo>
                <a:cubicBezTo>
                  <a:pt x="1629177" y="1546972"/>
                  <a:pt x="1629177" y="1546972"/>
                  <a:pt x="1629280" y="1546197"/>
                </a:cubicBezTo>
                <a:cubicBezTo>
                  <a:pt x="1629177" y="1546972"/>
                  <a:pt x="1628247" y="1546972"/>
                  <a:pt x="1627318" y="1547901"/>
                </a:cubicBezTo>
                <a:cubicBezTo>
                  <a:pt x="1624221" y="1551929"/>
                  <a:pt x="1620090" y="1550225"/>
                  <a:pt x="1616270" y="1546662"/>
                </a:cubicBezTo>
                <a:cubicBezTo>
                  <a:pt x="1617199" y="1545887"/>
                  <a:pt x="1614824" y="1544029"/>
                  <a:pt x="1614205" y="1542325"/>
                </a:cubicBezTo>
                <a:cubicBezTo>
                  <a:pt x="1614514" y="1539847"/>
                  <a:pt x="1614721" y="1538143"/>
                  <a:pt x="1616579" y="1536439"/>
                </a:cubicBezTo>
                <a:cubicBezTo>
                  <a:pt x="1619471" y="1533961"/>
                  <a:pt x="1625666" y="1532566"/>
                  <a:pt x="1627938" y="1535045"/>
                </a:cubicBezTo>
                <a:cubicBezTo>
                  <a:pt x="1631139" y="1537678"/>
                  <a:pt x="1631655" y="1540311"/>
                  <a:pt x="1631345" y="1542790"/>
                </a:cubicBezTo>
                <a:cubicBezTo>
                  <a:pt x="1631345" y="1542790"/>
                  <a:pt x="1631345" y="1542790"/>
                  <a:pt x="1631448" y="1542015"/>
                </a:cubicBezTo>
                <a:lnTo>
                  <a:pt x="1634856" y="1539382"/>
                </a:lnTo>
                <a:close/>
                <a:moveTo>
                  <a:pt x="4705052" y="1533801"/>
                </a:moveTo>
                <a:cubicBezTo>
                  <a:pt x="4705479" y="1533801"/>
                  <a:pt x="4706119" y="1534085"/>
                  <a:pt x="4706759" y="1534654"/>
                </a:cubicBezTo>
                <a:cubicBezTo>
                  <a:pt x="4709320" y="1535650"/>
                  <a:pt x="4708467" y="1538211"/>
                  <a:pt x="4711027" y="1540345"/>
                </a:cubicBezTo>
                <a:cubicBezTo>
                  <a:pt x="4716150" y="1543760"/>
                  <a:pt x="4721698" y="1533801"/>
                  <a:pt x="4731942" y="1540345"/>
                </a:cubicBezTo>
                <a:cubicBezTo>
                  <a:pt x="4730022" y="1542906"/>
                  <a:pt x="4735571" y="1548597"/>
                  <a:pt x="4732583" y="1552438"/>
                </a:cubicBezTo>
                <a:cubicBezTo>
                  <a:pt x="4724900" y="1564958"/>
                  <a:pt x="4721058" y="1562681"/>
                  <a:pt x="4712522" y="1559551"/>
                </a:cubicBezTo>
                <a:cubicBezTo>
                  <a:pt x="4713802" y="1559551"/>
                  <a:pt x="4712308" y="1558414"/>
                  <a:pt x="4712308" y="1558414"/>
                </a:cubicBezTo>
                <a:cubicBezTo>
                  <a:pt x="4709747" y="1556137"/>
                  <a:pt x="4709534" y="1563393"/>
                  <a:pt x="4705905" y="1561259"/>
                </a:cubicBezTo>
                <a:lnTo>
                  <a:pt x="4705052" y="1560263"/>
                </a:lnTo>
                <a:lnTo>
                  <a:pt x="4704625" y="1560263"/>
                </a:lnTo>
                <a:lnTo>
                  <a:pt x="4700783" y="1564388"/>
                </a:lnTo>
                <a:lnTo>
                  <a:pt x="4701424" y="1564388"/>
                </a:lnTo>
                <a:cubicBezTo>
                  <a:pt x="4710387" y="1565811"/>
                  <a:pt x="4709960" y="1575201"/>
                  <a:pt x="4710814" y="1574489"/>
                </a:cubicBezTo>
                <a:lnTo>
                  <a:pt x="4711668" y="1574774"/>
                </a:lnTo>
                <a:lnTo>
                  <a:pt x="4711454" y="1573352"/>
                </a:lnTo>
                <a:cubicBezTo>
                  <a:pt x="4711027" y="1572356"/>
                  <a:pt x="4710814" y="1571929"/>
                  <a:pt x="4710814" y="1571929"/>
                </a:cubicBezTo>
                <a:cubicBezTo>
                  <a:pt x="4711668" y="1569510"/>
                  <a:pt x="4712735" y="1569368"/>
                  <a:pt x="4711668" y="1569510"/>
                </a:cubicBezTo>
                <a:cubicBezTo>
                  <a:pt x="4713588" y="1566950"/>
                  <a:pt x="4715509" y="1563251"/>
                  <a:pt x="4717857" y="1564388"/>
                </a:cubicBezTo>
                <a:cubicBezTo>
                  <a:pt x="4723619" y="1568515"/>
                  <a:pt x="4720845" y="1577193"/>
                  <a:pt x="4718924" y="1582741"/>
                </a:cubicBezTo>
                <a:lnTo>
                  <a:pt x="4717643" y="1586583"/>
                </a:lnTo>
                <a:lnTo>
                  <a:pt x="4720418" y="1589286"/>
                </a:lnTo>
                <a:cubicBezTo>
                  <a:pt x="4720631" y="1591562"/>
                  <a:pt x="4718283" y="1593412"/>
                  <a:pt x="4715936" y="1593127"/>
                </a:cubicBezTo>
                <a:lnTo>
                  <a:pt x="4713375" y="1591135"/>
                </a:lnTo>
                <a:lnTo>
                  <a:pt x="4712735" y="1593269"/>
                </a:lnTo>
                <a:cubicBezTo>
                  <a:pt x="4711454" y="1592131"/>
                  <a:pt x="4707399" y="1588717"/>
                  <a:pt x="4707399" y="1588717"/>
                </a:cubicBezTo>
                <a:cubicBezTo>
                  <a:pt x="4706332" y="1588859"/>
                  <a:pt x="4706332" y="1588859"/>
                  <a:pt x="4705052" y="1587720"/>
                </a:cubicBezTo>
                <a:cubicBezTo>
                  <a:pt x="4706119" y="1586440"/>
                  <a:pt x="4705905" y="1586583"/>
                  <a:pt x="4707186" y="1586440"/>
                </a:cubicBezTo>
                <a:cubicBezTo>
                  <a:pt x="4708467" y="1587578"/>
                  <a:pt x="4708680" y="1588717"/>
                  <a:pt x="4709960" y="1589855"/>
                </a:cubicBezTo>
                <a:cubicBezTo>
                  <a:pt x="4711881" y="1587294"/>
                  <a:pt x="4710814" y="1587436"/>
                  <a:pt x="4712095" y="1588432"/>
                </a:cubicBezTo>
                <a:cubicBezTo>
                  <a:pt x="4712095" y="1588432"/>
                  <a:pt x="4712095" y="1588574"/>
                  <a:pt x="4713375" y="1589712"/>
                </a:cubicBezTo>
                <a:lnTo>
                  <a:pt x="4713588" y="1589855"/>
                </a:lnTo>
                <a:lnTo>
                  <a:pt x="4713802" y="1589712"/>
                </a:lnTo>
                <a:lnTo>
                  <a:pt x="4713375" y="1589712"/>
                </a:lnTo>
                <a:lnTo>
                  <a:pt x="4712522" y="1577904"/>
                </a:lnTo>
                <a:lnTo>
                  <a:pt x="4711241" y="1577193"/>
                </a:lnTo>
                <a:cubicBezTo>
                  <a:pt x="4711881" y="1578189"/>
                  <a:pt x="4710174" y="1577904"/>
                  <a:pt x="4710174" y="1577904"/>
                </a:cubicBezTo>
                <a:cubicBezTo>
                  <a:pt x="4710174" y="1577904"/>
                  <a:pt x="4710387" y="1577762"/>
                  <a:pt x="4709747" y="1581176"/>
                </a:cubicBezTo>
                <a:cubicBezTo>
                  <a:pt x="4709747" y="1581176"/>
                  <a:pt x="4707826" y="1588290"/>
                  <a:pt x="4700570" y="1587294"/>
                </a:cubicBezTo>
                <a:cubicBezTo>
                  <a:pt x="4700570" y="1586014"/>
                  <a:pt x="4695234" y="1584306"/>
                  <a:pt x="4692246" y="1581176"/>
                </a:cubicBezTo>
                <a:lnTo>
                  <a:pt x="4691606" y="1580323"/>
                </a:lnTo>
                <a:lnTo>
                  <a:pt x="4690326" y="1579611"/>
                </a:lnTo>
                <a:cubicBezTo>
                  <a:pt x="4688618" y="1578473"/>
                  <a:pt x="4686911" y="1577478"/>
                  <a:pt x="4686057" y="1576909"/>
                </a:cubicBezTo>
                <a:cubicBezTo>
                  <a:pt x="4685844" y="1575770"/>
                  <a:pt x="4685844" y="1575770"/>
                  <a:pt x="4685844" y="1575770"/>
                </a:cubicBezTo>
                <a:cubicBezTo>
                  <a:pt x="4686271" y="1574489"/>
                  <a:pt x="4687125" y="1574205"/>
                  <a:pt x="4688192" y="1574489"/>
                </a:cubicBezTo>
                <a:lnTo>
                  <a:pt x="4689899" y="1575201"/>
                </a:lnTo>
                <a:lnTo>
                  <a:pt x="4689472" y="1570648"/>
                </a:lnTo>
                <a:cubicBezTo>
                  <a:pt x="4690966" y="1569652"/>
                  <a:pt x="4691820" y="1568088"/>
                  <a:pt x="4693313" y="1566665"/>
                </a:cubicBezTo>
                <a:lnTo>
                  <a:pt x="4695234" y="1565527"/>
                </a:lnTo>
                <a:lnTo>
                  <a:pt x="4692460" y="1565669"/>
                </a:lnTo>
                <a:cubicBezTo>
                  <a:pt x="4690966" y="1564958"/>
                  <a:pt x="4689685" y="1563678"/>
                  <a:pt x="4688192" y="1561686"/>
                </a:cubicBezTo>
                <a:cubicBezTo>
                  <a:pt x="4690539" y="1555710"/>
                  <a:pt x="4692673" y="1545752"/>
                  <a:pt x="4699289" y="1541626"/>
                </a:cubicBezTo>
                <a:lnTo>
                  <a:pt x="4700570" y="1541341"/>
                </a:lnTo>
                <a:lnTo>
                  <a:pt x="4701637" y="1540061"/>
                </a:lnTo>
                <a:lnTo>
                  <a:pt x="4701637" y="1539776"/>
                </a:lnTo>
                <a:cubicBezTo>
                  <a:pt x="4702704" y="1539776"/>
                  <a:pt x="4702704" y="1538496"/>
                  <a:pt x="4701424" y="1538496"/>
                </a:cubicBezTo>
                <a:cubicBezTo>
                  <a:pt x="4702277" y="1536646"/>
                  <a:pt x="4702917" y="1535224"/>
                  <a:pt x="4703771" y="1534370"/>
                </a:cubicBezTo>
                <a:cubicBezTo>
                  <a:pt x="4704198" y="1533943"/>
                  <a:pt x="4704625" y="1533801"/>
                  <a:pt x="4705052" y="1533801"/>
                </a:cubicBezTo>
                <a:close/>
                <a:moveTo>
                  <a:pt x="4544987" y="1533517"/>
                </a:moveTo>
                <a:cubicBezTo>
                  <a:pt x="4543707" y="1539349"/>
                  <a:pt x="4544560" y="1547743"/>
                  <a:pt x="4541145" y="1552011"/>
                </a:cubicBezTo>
                <a:cubicBezTo>
                  <a:pt x="4541145" y="1549735"/>
                  <a:pt x="4542852" y="1536789"/>
                  <a:pt x="4544987" y="1533517"/>
                </a:cubicBezTo>
                <a:close/>
                <a:moveTo>
                  <a:pt x="3422399" y="1533374"/>
                </a:moveTo>
                <a:lnTo>
                  <a:pt x="3421545" y="1534228"/>
                </a:lnTo>
                <a:lnTo>
                  <a:pt x="3422399" y="1534654"/>
                </a:lnTo>
                <a:close/>
                <a:moveTo>
                  <a:pt x="4124550" y="1533232"/>
                </a:moveTo>
                <a:cubicBezTo>
                  <a:pt x="4125404" y="1535366"/>
                  <a:pt x="4127324" y="1536931"/>
                  <a:pt x="4128178" y="1539065"/>
                </a:cubicBezTo>
                <a:lnTo>
                  <a:pt x="4127751" y="1539919"/>
                </a:lnTo>
                <a:lnTo>
                  <a:pt x="4128605" y="1539207"/>
                </a:lnTo>
                <a:cubicBezTo>
                  <a:pt x="4131593" y="1540203"/>
                  <a:pt x="4133727" y="1542053"/>
                  <a:pt x="4135008" y="1544471"/>
                </a:cubicBezTo>
                <a:cubicBezTo>
                  <a:pt x="4136288" y="1546747"/>
                  <a:pt x="4136502" y="1549877"/>
                  <a:pt x="4135435" y="1553576"/>
                </a:cubicBezTo>
                <a:cubicBezTo>
                  <a:pt x="4130526" y="1557275"/>
                  <a:pt x="4124764" y="1552438"/>
                  <a:pt x="4121562" y="1550304"/>
                </a:cubicBezTo>
                <a:lnTo>
                  <a:pt x="4122416" y="1548170"/>
                </a:lnTo>
                <a:lnTo>
                  <a:pt x="4119855" y="1548455"/>
                </a:lnTo>
                <a:cubicBezTo>
                  <a:pt x="4118788" y="1548170"/>
                  <a:pt x="4117507" y="1547885"/>
                  <a:pt x="4116226" y="1547601"/>
                </a:cubicBezTo>
                <a:cubicBezTo>
                  <a:pt x="4116440" y="1544898"/>
                  <a:pt x="4114093" y="1542337"/>
                  <a:pt x="4115373" y="1539065"/>
                </a:cubicBezTo>
                <a:cubicBezTo>
                  <a:pt x="4115373" y="1539065"/>
                  <a:pt x="4116013" y="1537358"/>
                  <a:pt x="4118147" y="1536362"/>
                </a:cubicBezTo>
                <a:cubicBezTo>
                  <a:pt x="4120495" y="1532520"/>
                  <a:pt x="4124977" y="1534228"/>
                  <a:pt x="4124977" y="1534228"/>
                </a:cubicBezTo>
                <a:cubicBezTo>
                  <a:pt x="4124977" y="1534228"/>
                  <a:pt x="4124977" y="1534228"/>
                  <a:pt x="4124550" y="1533232"/>
                </a:cubicBezTo>
                <a:close/>
                <a:moveTo>
                  <a:pt x="1543474" y="1533186"/>
                </a:moveTo>
                <a:cubicBezTo>
                  <a:pt x="1550393" y="1533961"/>
                  <a:pt x="1552974" y="1545268"/>
                  <a:pt x="1545230" y="1550534"/>
                </a:cubicBezTo>
                <a:cubicBezTo>
                  <a:pt x="1542855" y="1550534"/>
                  <a:pt x="1540790" y="1549295"/>
                  <a:pt x="1539034" y="1547436"/>
                </a:cubicBezTo>
                <a:lnTo>
                  <a:pt x="1538518" y="1546507"/>
                </a:lnTo>
                <a:lnTo>
                  <a:pt x="1535730" y="1546042"/>
                </a:lnTo>
                <a:cubicBezTo>
                  <a:pt x="1532529" y="1545113"/>
                  <a:pt x="1530154" y="1543719"/>
                  <a:pt x="1529328" y="1540931"/>
                </a:cubicBezTo>
                <a:cubicBezTo>
                  <a:pt x="1530154" y="1540001"/>
                  <a:pt x="1531187" y="1539537"/>
                  <a:pt x="1532529" y="1539227"/>
                </a:cubicBezTo>
                <a:lnTo>
                  <a:pt x="1535420" y="1539537"/>
                </a:lnTo>
                <a:lnTo>
                  <a:pt x="1535420" y="1539072"/>
                </a:lnTo>
                <a:lnTo>
                  <a:pt x="1531703" y="1539227"/>
                </a:lnTo>
                <a:cubicBezTo>
                  <a:pt x="1531909" y="1538607"/>
                  <a:pt x="1532219" y="1538297"/>
                  <a:pt x="1532735" y="1538297"/>
                </a:cubicBezTo>
                <a:cubicBezTo>
                  <a:pt x="1533252" y="1538143"/>
                  <a:pt x="1533871" y="1538297"/>
                  <a:pt x="1534491" y="1538452"/>
                </a:cubicBezTo>
                <a:lnTo>
                  <a:pt x="1535420" y="1538607"/>
                </a:lnTo>
                <a:lnTo>
                  <a:pt x="1535317" y="1536594"/>
                </a:lnTo>
                <a:cubicBezTo>
                  <a:pt x="1538415" y="1533961"/>
                  <a:pt x="1541099" y="1532876"/>
                  <a:pt x="1543474" y="1533186"/>
                </a:cubicBezTo>
                <a:close/>
                <a:moveTo>
                  <a:pt x="4655752" y="1532805"/>
                </a:moveTo>
                <a:cubicBezTo>
                  <a:pt x="4659167" y="1533374"/>
                  <a:pt x="4663008" y="1534797"/>
                  <a:pt x="4666850" y="1537500"/>
                </a:cubicBezTo>
                <a:cubicBezTo>
                  <a:pt x="4669197" y="1539491"/>
                  <a:pt x="4671118" y="1541910"/>
                  <a:pt x="4672399" y="1544613"/>
                </a:cubicBezTo>
                <a:lnTo>
                  <a:pt x="4674746" y="1551015"/>
                </a:lnTo>
                <a:lnTo>
                  <a:pt x="4676454" y="1552296"/>
                </a:lnTo>
                <a:lnTo>
                  <a:pt x="4675386" y="1553149"/>
                </a:lnTo>
                <a:lnTo>
                  <a:pt x="4677521" y="1558698"/>
                </a:lnTo>
                <a:cubicBezTo>
                  <a:pt x="4679014" y="1563962"/>
                  <a:pt x="4680722" y="1569510"/>
                  <a:pt x="4683496" y="1575059"/>
                </a:cubicBezTo>
                <a:lnTo>
                  <a:pt x="4681575" y="1574917"/>
                </a:lnTo>
                <a:lnTo>
                  <a:pt x="4682642" y="1576197"/>
                </a:lnTo>
                <a:cubicBezTo>
                  <a:pt x="4684137" y="1578473"/>
                  <a:pt x="4685204" y="1580750"/>
                  <a:pt x="4685417" y="1582741"/>
                </a:cubicBezTo>
                <a:cubicBezTo>
                  <a:pt x="4685417" y="1584022"/>
                  <a:pt x="4684990" y="1585302"/>
                  <a:pt x="4684137" y="1586440"/>
                </a:cubicBezTo>
                <a:cubicBezTo>
                  <a:pt x="4680295" y="1591135"/>
                  <a:pt x="4673039" y="1591277"/>
                  <a:pt x="4666423" y="1587578"/>
                </a:cubicBezTo>
                <a:lnTo>
                  <a:pt x="4665356" y="1586583"/>
                </a:lnTo>
                <a:lnTo>
                  <a:pt x="4660020" y="1599813"/>
                </a:lnTo>
                <a:lnTo>
                  <a:pt x="4658740" y="1603655"/>
                </a:lnTo>
                <a:lnTo>
                  <a:pt x="4659593" y="1604793"/>
                </a:lnTo>
                <a:cubicBezTo>
                  <a:pt x="4660020" y="1606358"/>
                  <a:pt x="4660447" y="1607923"/>
                  <a:pt x="4661728" y="1609061"/>
                </a:cubicBezTo>
                <a:cubicBezTo>
                  <a:pt x="4660447" y="1609630"/>
                  <a:pt x="4659167" y="1610484"/>
                  <a:pt x="4657459" y="1610768"/>
                </a:cubicBezTo>
                <a:lnTo>
                  <a:pt x="4656392" y="1610626"/>
                </a:lnTo>
                <a:lnTo>
                  <a:pt x="4656392" y="1611053"/>
                </a:lnTo>
                <a:lnTo>
                  <a:pt x="4655965" y="1610626"/>
                </a:lnTo>
                <a:lnTo>
                  <a:pt x="4654471" y="1610484"/>
                </a:lnTo>
                <a:cubicBezTo>
                  <a:pt x="4653404" y="1610199"/>
                  <a:pt x="4652337" y="1609630"/>
                  <a:pt x="4651057" y="1608634"/>
                </a:cubicBezTo>
                <a:cubicBezTo>
                  <a:pt x="4649776" y="1607354"/>
                  <a:pt x="4649776" y="1607354"/>
                  <a:pt x="4649776" y="1606215"/>
                </a:cubicBezTo>
                <a:cubicBezTo>
                  <a:pt x="4649136" y="1604935"/>
                  <a:pt x="4648496" y="1603940"/>
                  <a:pt x="4648069" y="1603086"/>
                </a:cubicBezTo>
                <a:lnTo>
                  <a:pt x="4648069" y="1602517"/>
                </a:lnTo>
                <a:lnTo>
                  <a:pt x="4646574" y="1601236"/>
                </a:lnTo>
                <a:cubicBezTo>
                  <a:pt x="4642733" y="1599102"/>
                  <a:pt x="4638678" y="1597679"/>
                  <a:pt x="4634623" y="1596114"/>
                </a:cubicBezTo>
                <a:lnTo>
                  <a:pt x="4633556" y="1598249"/>
                </a:lnTo>
                <a:cubicBezTo>
                  <a:pt x="4631849" y="1599671"/>
                  <a:pt x="4629928" y="1600668"/>
                  <a:pt x="4628861" y="1602374"/>
                </a:cubicBezTo>
                <a:cubicBezTo>
                  <a:pt x="4624379" y="1599529"/>
                  <a:pt x="4623312" y="1595546"/>
                  <a:pt x="4623739" y="1592558"/>
                </a:cubicBezTo>
                <a:lnTo>
                  <a:pt x="4625019" y="1590282"/>
                </a:lnTo>
                <a:lnTo>
                  <a:pt x="4623312" y="1588574"/>
                </a:lnTo>
                <a:cubicBezTo>
                  <a:pt x="4622031" y="1587152"/>
                  <a:pt x="4621178" y="1585445"/>
                  <a:pt x="4620324" y="1583453"/>
                </a:cubicBezTo>
                <a:cubicBezTo>
                  <a:pt x="4618830" y="1579611"/>
                  <a:pt x="4617976" y="1576055"/>
                  <a:pt x="4617976" y="1572640"/>
                </a:cubicBezTo>
                <a:lnTo>
                  <a:pt x="4619044" y="1567234"/>
                </a:lnTo>
                <a:lnTo>
                  <a:pt x="4618830" y="1566950"/>
                </a:lnTo>
                <a:cubicBezTo>
                  <a:pt x="4617549" y="1565100"/>
                  <a:pt x="4617763" y="1561970"/>
                  <a:pt x="4619470" y="1558414"/>
                </a:cubicBezTo>
                <a:lnTo>
                  <a:pt x="4622245" y="1560121"/>
                </a:lnTo>
                <a:lnTo>
                  <a:pt x="4625446" y="1555995"/>
                </a:lnTo>
                <a:lnTo>
                  <a:pt x="4629501" y="1553434"/>
                </a:lnTo>
                <a:lnTo>
                  <a:pt x="4630568" y="1550162"/>
                </a:lnTo>
                <a:lnTo>
                  <a:pt x="4627367" y="1550873"/>
                </a:lnTo>
                <a:cubicBezTo>
                  <a:pt x="4626087" y="1550731"/>
                  <a:pt x="4624806" y="1550020"/>
                  <a:pt x="4623312" y="1548739"/>
                </a:cubicBezTo>
                <a:cubicBezTo>
                  <a:pt x="4623099" y="1545183"/>
                  <a:pt x="4627367" y="1539349"/>
                  <a:pt x="4630782" y="1539491"/>
                </a:cubicBezTo>
                <a:cubicBezTo>
                  <a:pt x="4632062" y="1540772"/>
                  <a:pt x="4633343" y="1542053"/>
                  <a:pt x="4634410" y="1543191"/>
                </a:cubicBezTo>
                <a:lnTo>
                  <a:pt x="4633556" y="1544898"/>
                </a:lnTo>
                <a:lnTo>
                  <a:pt x="4637184" y="1539634"/>
                </a:lnTo>
                <a:cubicBezTo>
                  <a:pt x="4642093" y="1534797"/>
                  <a:pt x="4648496" y="1531809"/>
                  <a:pt x="4655752" y="1532805"/>
                </a:cubicBezTo>
                <a:close/>
                <a:moveTo>
                  <a:pt x="1490813" y="1532566"/>
                </a:moveTo>
                <a:cubicBezTo>
                  <a:pt x="1495976" y="1534425"/>
                  <a:pt x="1496905" y="1538143"/>
                  <a:pt x="1495460" y="1540776"/>
                </a:cubicBezTo>
                <a:cubicBezTo>
                  <a:pt x="1494014" y="1543409"/>
                  <a:pt x="1490091" y="1545113"/>
                  <a:pt x="1485754" y="1542790"/>
                </a:cubicBezTo>
                <a:cubicBezTo>
                  <a:pt x="1484515" y="1539382"/>
                  <a:pt x="1484825" y="1536749"/>
                  <a:pt x="1484722" y="1534890"/>
                </a:cubicBezTo>
                <a:cubicBezTo>
                  <a:pt x="1487096" y="1534270"/>
                  <a:pt x="1488542" y="1533186"/>
                  <a:pt x="1490813" y="1532566"/>
                </a:cubicBezTo>
                <a:close/>
                <a:moveTo>
                  <a:pt x="1199321" y="1532102"/>
                </a:moveTo>
                <a:cubicBezTo>
                  <a:pt x="1199218" y="1534425"/>
                  <a:pt x="1199734" y="1536284"/>
                  <a:pt x="1199734" y="1537368"/>
                </a:cubicBezTo>
                <a:cubicBezTo>
                  <a:pt x="1195914" y="1538143"/>
                  <a:pt x="1193436" y="1536749"/>
                  <a:pt x="1193642" y="1533186"/>
                </a:cubicBezTo>
                <a:cubicBezTo>
                  <a:pt x="1196120" y="1533496"/>
                  <a:pt x="1196843" y="1531792"/>
                  <a:pt x="1199321" y="1532102"/>
                </a:cubicBezTo>
                <a:close/>
                <a:moveTo>
                  <a:pt x="1608835" y="1531792"/>
                </a:moveTo>
                <a:cubicBezTo>
                  <a:pt x="1609352" y="1532566"/>
                  <a:pt x="1610074" y="1532102"/>
                  <a:pt x="1610591" y="1532876"/>
                </a:cubicBezTo>
                <a:cubicBezTo>
                  <a:pt x="1612243" y="1533961"/>
                  <a:pt x="1612656" y="1534735"/>
                  <a:pt x="1612449" y="1535819"/>
                </a:cubicBezTo>
                <a:cubicBezTo>
                  <a:pt x="1612862" y="1536594"/>
                  <a:pt x="1612140" y="1537058"/>
                  <a:pt x="1611933" y="1538143"/>
                </a:cubicBezTo>
                <a:cubicBezTo>
                  <a:pt x="1611210" y="1538452"/>
                  <a:pt x="1609971" y="1538143"/>
                  <a:pt x="1609971" y="1538143"/>
                </a:cubicBezTo>
                <a:cubicBezTo>
                  <a:pt x="1608732" y="1537833"/>
                  <a:pt x="1608732" y="1537833"/>
                  <a:pt x="1608526" y="1538917"/>
                </a:cubicBezTo>
                <a:cubicBezTo>
                  <a:pt x="1608526" y="1538917"/>
                  <a:pt x="1608009" y="1538143"/>
                  <a:pt x="1608009" y="1538143"/>
                </a:cubicBezTo>
                <a:cubicBezTo>
                  <a:pt x="1608732" y="1537833"/>
                  <a:pt x="1608009" y="1538143"/>
                  <a:pt x="1606770" y="1537833"/>
                </a:cubicBezTo>
                <a:cubicBezTo>
                  <a:pt x="1606564" y="1535819"/>
                  <a:pt x="1606151" y="1535200"/>
                  <a:pt x="1606461" y="1533961"/>
                </a:cubicBezTo>
                <a:cubicBezTo>
                  <a:pt x="1606564" y="1533496"/>
                  <a:pt x="1606874" y="1532721"/>
                  <a:pt x="1607287" y="1532257"/>
                </a:cubicBezTo>
                <a:cubicBezTo>
                  <a:pt x="1607803" y="1531792"/>
                  <a:pt x="1608319" y="1531637"/>
                  <a:pt x="1608835" y="1531792"/>
                </a:cubicBezTo>
                <a:close/>
                <a:moveTo>
                  <a:pt x="1428447" y="1531637"/>
                </a:moveTo>
                <a:cubicBezTo>
                  <a:pt x="1429686" y="1532102"/>
                  <a:pt x="1430099" y="1532721"/>
                  <a:pt x="1430822" y="1532412"/>
                </a:cubicBezTo>
                <a:cubicBezTo>
                  <a:pt x="1430408" y="1534116"/>
                  <a:pt x="1429479" y="1535045"/>
                  <a:pt x="1428447" y="1535509"/>
                </a:cubicBezTo>
                <a:lnTo>
                  <a:pt x="1429479" y="1536439"/>
                </a:lnTo>
                <a:cubicBezTo>
                  <a:pt x="1430099" y="1537833"/>
                  <a:pt x="1429996" y="1539227"/>
                  <a:pt x="1429479" y="1540621"/>
                </a:cubicBezTo>
                <a:cubicBezTo>
                  <a:pt x="1425659" y="1541860"/>
                  <a:pt x="1423491" y="1539847"/>
                  <a:pt x="1424110" y="1536749"/>
                </a:cubicBezTo>
                <a:lnTo>
                  <a:pt x="1424213" y="1536594"/>
                </a:lnTo>
                <a:lnTo>
                  <a:pt x="1422458" y="1536903"/>
                </a:lnTo>
                <a:cubicBezTo>
                  <a:pt x="1421942" y="1537213"/>
                  <a:pt x="1421529" y="1537678"/>
                  <a:pt x="1421012" y="1538452"/>
                </a:cubicBezTo>
                <a:cubicBezTo>
                  <a:pt x="1421012" y="1538452"/>
                  <a:pt x="1421012" y="1538452"/>
                  <a:pt x="1418637" y="1537678"/>
                </a:cubicBezTo>
                <a:lnTo>
                  <a:pt x="1418328" y="1537213"/>
                </a:lnTo>
                <a:cubicBezTo>
                  <a:pt x="1417089" y="1536749"/>
                  <a:pt x="1416779" y="1535974"/>
                  <a:pt x="1416056" y="1536129"/>
                </a:cubicBezTo>
                <a:cubicBezTo>
                  <a:pt x="1416779" y="1534580"/>
                  <a:pt x="1417811" y="1533806"/>
                  <a:pt x="1418947" y="1533496"/>
                </a:cubicBezTo>
                <a:cubicBezTo>
                  <a:pt x="1420186" y="1533031"/>
                  <a:pt x="1421529" y="1533031"/>
                  <a:pt x="1422974" y="1533186"/>
                </a:cubicBezTo>
                <a:lnTo>
                  <a:pt x="1425039" y="1533186"/>
                </a:lnTo>
                <a:lnTo>
                  <a:pt x="1425349" y="1533031"/>
                </a:lnTo>
                <a:lnTo>
                  <a:pt x="1427001" y="1531947"/>
                </a:lnTo>
                <a:cubicBezTo>
                  <a:pt x="1427001" y="1531947"/>
                  <a:pt x="1427001" y="1531947"/>
                  <a:pt x="1427208" y="1531947"/>
                </a:cubicBezTo>
                <a:lnTo>
                  <a:pt x="1427517" y="1532102"/>
                </a:lnTo>
                <a:close/>
                <a:moveTo>
                  <a:pt x="1291529" y="1531327"/>
                </a:moveTo>
                <a:cubicBezTo>
                  <a:pt x="1298240" y="1531792"/>
                  <a:pt x="1297208" y="1543099"/>
                  <a:pt x="1297725" y="1545578"/>
                </a:cubicBezTo>
                <a:cubicBezTo>
                  <a:pt x="1297725" y="1545578"/>
                  <a:pt x="1298137" y="1546197"/>
                  <a:pt x="1297931" y="1547436"/>
                </a:cubicBezTo>
                <a:cubicBezTo>
                  <a:pt x="1298034" y="1549140"/>
                  <a:pt x="1295969" y="1547746"/>
                  <a:pt x="1295659" y="1548830"/>
                </a:cubicBezTo>
                <a:cubicBezTo>
                  <a:pt x="1293594" y="1542480"/>
                  <a:pt x="1289051" y="1538917"/>
                  <a:pt x="1289051" y="1538917"/>
                </a:cubicBezTo>
                <a:cubicBezTo>
                  <a:pt x="1288948" y="1537058"/>
                  <a:pt x="1289567" y="1536439"/>
                  <a:pt x="1288844" y="1537058"/>
                </a:cubicBezTo>
                <a:cubicBezTo>
                  <a:pt x="1289464" y="1534735"/>
                  <a:pt x="1289670" y="1531637"/>
                  <a:pt x="1291529" y="1531327"/>
                </a:cubicBezTo>
                <a:close/>
                <a:moveTo>
                  <a:pt x="4607305" y="1531240"/>
                </a:moveTo>
                <a:cubicBezTo>
                  <a:pt x="4610720" y="1530387"/>
                  <a:pt x="4614775" y="1532094"/>
                  <a:pt x="4617976" y="1537500"/>
                </a:cubicBezTo>
                <a:cubicBezTo>
                  <a:pt x="4617123" y="1548312"/>
                  <a:pt x="4604745" y="1551442"/>
                  <a:pt x="4600903" y="1540345"/>
                </a:cubicBezTo>
                <a:cubicBezTo>
                  <a:pt x="4601116" y="1535650"/>
                  <a:pt x="4603890" y="1532094"/>
                  <a:pt x="4607305" y="1531240"/>
                </a:cubicBezTo>
                <a:close/>
                <a:moveTo>
                  <a:pt x="5442417" y="1531098"/>
                </a:moveTo>
                <a:cubicBezTo>
                  <a:pt x="5443484" y="1532520"/>
                  <a:pt x="5443911" y="1533232"/>
                  <a:pt x="5444338" y="1533943"/>
                </a:cubicBezTo>
                <a:cubicBezTo>
                  <a:pt x="5444551" y="1534797"/>
                  <a:pt x="5444764" y="1535508"/>
                  <a:pt x="5444978" y="1537216"/>
                </a:cubicBezTo>
                <a:cubicBezTo>
                  <a:pt x="5444124" y="1536646"/>
                  <a:pt x="5441563" y="1536504"/>
                  <a:pt x="5441350" y="1534797"/>
                </a:cubicBezTo>
                <a:cubicBezTo>
                  <a:pt x="5440923" y="1533090"/>
                  <a:pt x="5440923" y="1533090"/>
                  <a:pt x="5442417" y="1531098"/>
                </a:cubicBezTo>
                <a:close/>
                <a:moveTo>
                  <a:pt x="4544987" y="1530955"/>
                </a:moveTo>
                <a:cubicBezTo>
                  <a:pt x="4545200" y="1530813"/>
                  <a:pt x="4545414" y="1530813"/>
                  <a:pt x="4546481" y="1530955"/>
                </a:cubicBezTo>
                <a:cubicBezTo>
                  <a:pt x="4545414" y="1532094"/>
                  <a:pt x="4545200" y="1532236"/>
                  <a:pt x="4545200" y="1533517"/>
                </a:cubicBezTo>
                <a:cubicBezTo>
                  <a:pt x="4545200" y="1533517"/>
                  <a:pt x="4544347" y="1532094"/>
                  <a:pt x="4544347" y="1532094"/>
                </a:cubicBezTo>
                <a:cubicBezTo>
                  <a:pt x="4544773" y="1531525"/>
                  <a:pt x="4544773" y="1531098"/>
                  <a:pt x="4544987" y="1530955"/>
                </a:cubicBezTo>
                <a:close/>
                <a:moveTo>
                  <a:pt x="1224103" y="1530862"/>
                </a:moveTo>
                <a:cubicBezTo>
                  <a:pt x="1226271" y="1529314"/>
                  <a:pt x="1229059" y="1528694"/>
                  <a:pt x="1232673" y="1530862"/>
                </a:cubicBezTo>
                <a:cubicBezTo>
                  <a:pt x="1232570" y="1532102"/>
                  <a:pt x="1232570" y="1533186"/>
                  <a:pt x="1232570" y="1534425"/>
                </a:cubicBezTo>
                <a:cubicBezTo>
                  <a:pt x="1226994" y="1534425"/>
                  <a:pt x="1223793" y="1536903"/>
                  <a:pt x="1219456" y="1537058"/>
                </a:cubicBezTo>
                <a:cubicBezTo>
                  <a:pt x="1220386" y="1535045"/>
                  <a:pt x="1221934" y="1532412"/>
                  <a:pt x="1224103" y="1530862"/>
                </a:cubicBezTo>
                <a:close/>
                <a:moveTo>
                  <a:pt x="3757895" y="1530102"/>
                </a:moveTo>
                <a:lnTo>
                  <a:pt x="3757041" y="1530529"/>
                </a:lnTo>
                <a:lnTo>
                  <a:pt x="3756828" y="1531098"/>
                </a:lnTo>
                <a:close/>
                <a:moveTo>
                  <a:pt x="5859652" y="1529960"/>
                </a:moveTo>
                <a:cubicBezTo>
                  <a:pt x="5860507" y="1529817"/>
                  <a:pt x="5861360" y="1529817"/>
                  <a:pt x="5862640" y="1530102"/>
                </a:cubicBezTo>
                <a:cubicBezTo>
                  <a:pt x="5863707" y="1530387"/>
                  <a:pt x="5864988" y="1530813"/>
                  <a:pt x="5866269" y="1531667"/>
                </a:cubicBezTo>
                <a:cubicBezTo>
                  <a:pt x="5867549" y="1532805"/>
                  <a:pt x="5870323" y="1536219"/>
                  <a:pt x="5869043" y="1536362"/>
                </a:cubicBezTo>
                <a:cubicBezTo>
                  <a:pt x="5868190" y="1537642"/>
                  <a:pt x="5869257" y="1537500"/>
                  <a:pt x="5869470" y="1538780"/>
                </a:cubicBezTo>
                <a:cubicBezTo>
                  <a:pt x="5866482" y="1542479"/>
                  <a:pt x="5863281" y="1543902"/>
                  <a:pt x="5859439" y="1541626"/>
                </a:cubicBezTo>
                <a:cubicBezTo>
                  <a:pt x="5856878" y="1539349"/>
                  <a:pt x="5853036" y="1535935"/>
                  <a:pt x="5854744" y="1532236"/>
                </a:cubicBezTo>
                <a:cubicBezTo>
                  <a:pt x="5856024" y="1532236"/>
                  <a:pt x="5855811" y="1530955"/>
                  <a:pt x="5856878" y="1530955"/>
                </a:cubicBezTo>
                <a:cubicBezTo>
                  <a:pt x="5856878" y="1530955"/>
                  <a:pt x="5857945" y="1530244"/>
                  <a:pt x="5859652" y="1529960"/>
                </a:cubicBezTo>
                <a:close/>
                <a:moveTo>
                  <a:pt x="1215842" y="1529778"/>
                </a:moveTo>
                <a:cubicBezTo>
                  <a:pt x="1216565" y="1529933"/>
                  <a:pt x="1217185" y="1530398"/>
                  <a:pt x="1217907" y="1531327"/>
                </a:cubicBezTo>
                <a:cubicBezTo>
                  <a:pt x="1218836" y="1531327"/>
                  <a:pt x="1219146" y="1534735"/>
                  <a:pt x="1218114" y="1535509"/>
                </a:cubicBezTo>
                <a:cubicBezTo>
                  <a:pt x="1216049" y="1537987"/>
                  <a:pt x="1213777" y="1536129"/>
                  <a:pt x="1210473" y="1535045"/>
                </a:cubicBezTo>
                <a:cubicBezTo>
                  <a:pt x="1211402" y="1534270"/>
                  <a:pt x="1210679" y="1533341"/>
                  <a:pt x="1209957" y="1532412"/>
                </a:cubicBezTo>
                <a:cubicBezTo>
                  <a:pt x="1211505" y="1531327"/>
                  <a:pt x="1213674" y="1529159"/>
                  <a:pt x="1215842" y="1529778"/>
                </a:cubicBezTo>
                <a:close/>
                <a:moveTo>
                  <a:pt x="3770059" y="1529248"/>
                </a:moveTo>
                <a:cubicBezTo>
                  <a:pt x="3771554" y="1528964"/>
                  <a:pt x="3773474" y="1529106"/>
                  <a:pt x="3776035" y="1529248"/>
                </a:cubicBezTo>
                <a:cubicBezTo>
                  <a:pt x="3772621" y="1534228"/>
                  <a:pt x="3770059" y="1534085"/>
                  <a:pt x="3766005" y="1532094"/>
                </a:cubicBezTo>
                <a:cubicBezTo>
                  <a:pt x="3767285" y="1530387"/>
                  <a:pt x="3768566" y="1529675"/>
                  <a:pt x="3770059" y="1529248"/>
                </a:cubicBezTo>
                <a:close/>
                <a:moveTo>
                  <a:pt x="1246406" y="1528849"/>
                </a:moveTo>
                <a:cubicBezTo>
                  <a:pt x="1248058" y="1529933"/>
                  <a:pt x="1249813" y="1530243"/>
                  <a:pt x="1251466" y="1531327"/>
                </a:cubicBezTo>
                <a:cubicBezTo>
                  <a:pt x="1252498" y="1534116"/>
                  <a:pt x="1249813" y="1539537"/>
                  <a:pt x="1246509" y="1539847"/>
                </a:cubicBezTo>
                <a:cubicBezTo>
                  <a:pt x="1245373" y="1540001"/>
                  <a:pt x="1244134" y="1539692"/>
                  <a:pt x="1242895" y="1538452"/>
                </a:cubicBezTo>
                <a:cubicBezTo>
                  <a:pt x="1242173" y="1537368"/>
                  <a:pt x="1241760" y="1536439"/>
                  <a:pt x="1241656" y="1535664"/>
                </a:cubicBezTo>
                <a:cubicBezTo>
                  <a:pt x="1241243" y="1533031"/>
                  <a:pt x="1243618" y="1530862"/>
                  <a:pt x="1246406" y="1528849"/>
                </a:cubicBezTo>
                <a:close/>
                <a:moveTo>
                  <a:pt x="5773004" y="1528680"/>
                </a:moveTo>
                <a:cubicBezTo>
                  <a:pt x="5773004" y="1528822"/>
                  <a:pt x="5773004" y="1529106"/>
                  <a:pt x="5772577" y="1529533"/>
                </a:cubicBezTo>
                <a:cubicBezTo>
                  <a:pt x="5773858" y="1531809"/>
                  <a:pt x="5772791" y="1531240"/>
                  <a:pt x="5773004" y="1532805"/>
                </a:cubicBezTo>
                <a:cubicBezTo>
                  <a:pt x="5773431" y="1534512"/>
                  <a:pt x="5776632" y="1539491"/>
                  <a:pt x="5778340" y="1539065"/>
                </a:cubicBezTo>
                <a:cubicBezTo>
                  <a:pt x="5777699" y="1540061"/>
                  <a:pt x="5777913" y="1541768"/>
                  <a:pt x="5777913" y="1541768"/>
                </a:cubicBezTo>
                <a:cubicBezTo>
                  <a:pt x="5776206" y="1542195"/>
                  <a:pt x="5775352" y="1541483"/>
                  <a:pt x="5774498" y="1540914"/>
                </a:cubicBezTo>
                <a:cubicBezTo>
                  <a:pt x="5774071" y="1539349"/>
                  <a:pt x="5774712" y="1538354"/>
                  <a:pt x="5774498" y="1536646"/>
                </a:cubicBezTo>
                <a:cubicBezTo>
                  <a:pt x="5773644" y="1536077"/>
                  <a:pt x="5771724" y="1534797"/>
                  <a:pt x="5771510" y="1533232"/>
                </a:cubicBezTo>
                <a:cubicBezTo>
                  <a:pt x="5771297" y="1531525"/>
                  <a:pt x="5771510" y="1528964"/>
                  <a:pt x="5771510" y="1528964"/>
                </a:cubicBezTo>
                <a:cubicBezTo>
                  <a:pt x="5772364" y="1528680"/>
                  <a:pt x="5772791" y="1528537"/>
                  <a:pt x="5773004" y="1528680"/>
                </a:cubicBezTo>
                <a:close/>
                <a:moveTo>
                  <a:pt x="5117379" y="1528680"/>
                </a:moveTo>
                <a:cubicBezTo>
                  <a:pt x="5119940" y="1528680"/>
                  <a:pt x="5122927" y="1529817"/>
                  <a:pt x="5125915" y="1530955"/>
                </a:cubicBezTo>
                <a:cubicBezTo>
                  <a:pt x="5125702" y="1540061"/>
                  <a:pt x="5111830" y="1534085"/>
                  <a:pt x="5117379" y="1528680"/>
                </a:cubicBezTo>
                <a:close/>
                <a:moveTo>
                  <a:pt x="3684051" y="1528252"/>
                </a:moveTo>
                <a:cubicBezTo>
                  <a:pt x="3686613" y="1528680"/>
                  <a:pt x="3691095" y="1532236"/>
                  <a:pt x="3690667" y="1534939"/>
                </a:cubicBezTo>
                <a:lnTo>
                  <a:pt x="3687893" y="1533943"/>
                </a:lnTo>
                <a:lnTo>
                  <a:pt x="3690027" y="1535935"/>
                </a:lnTo>
                <a:cubicBezTo>
                  <a:pt x="3691522" y="1538354"/>
                  <a:pt x="3692588" y="1541057"/>
                  <a:pt x="3692162" y="1543191"/>
                </a:cubicBezTo>
                <a:lnTo>
                  <a:pt x="3689174" y="1543048"/>
                </a:lnTo>
                <a:lnTo>
                  <a:pt x="3694936" y="1544613"/>
                </a:lnTo>
                <a:cubicBezTo>
                  <a:pt x="3697284" y="1545183"/>
                  <a:pt x="3699845" y="1545609"/>
                  <a:pt x="3702193" y="1545609"/>
                </a:cubicBezTo>
                <a:cubicBezTo>
                  <a:pt x="3705394" y="1544186"/>
                  <a:pt x="3706034" y="1540488"/>
                  <a:pt x="3709876" y="1539634"/>
                </a:cubicBezTo>
                <a:cubicBezTo>
                  <a:pt x="3711156" y="1539349"/>
                  <a:pt x="3712650" y="1539349"/>
                  <a:pt x="3714997" y="1539919"/>
                </a:cubicBezTo>
                <a:cubicBezTo>
                  <a:pt x="3713504" y="1554145"/>
                  <a:pt x="3708808" y="1564673"/>
                  <a:pt x="3701765" y="1571787"/>
                </a:cubicBezTo>
                <a:cubicBezTo>
                  <a:pt x="3699418" y="1574205"/>
                  <a:pt x="3696643" y="1576197"/>
                  <a:pt x="3693655" y="1577904"/>
                </a:cubicBezTo>
                <a:cubicBezTo>
                  <a:pt x="3687466" y="1570222"/>
                  <a:pt x="3693869" y="1561970"/>
                  <a:pt x="3696643" y="1554857"/>
                </a:cubicBezTo>
                <a:cubicBezTo>
                  <a:pt x="3688534" y="1553576"/>
                  <a:pt x="3676368" y="1554145"/>
                  <a:pt x="3676155" y="1544898"/>
                </a:cubicBezTo>
                <a:lnTo>
                  <a:pt x="3681277" y="1542337"/>
                </a:lnTo>
                <a:lnTo>
                  <a:pt x="3680851" y="1537927"/>
                </a:lnTo>
                <a:lnTo>
                  <a:pt x="3681704" y="1536789"/>
                </a:lnTo>
                <a:lnTo>
                  <a:pt x="3680637" y="1535224"/>
                </a:lnTo>
                <a:cubicBezTo>
                  <a:pt x="3680210" y="1534370"/>
                  <a:pt x="3679783" y="1533801"/>
                  <a:pt x="3679783" y="1533801"/>
                </a:cubicBezTo>
                <a:cubicBezTo>
                  <a:pt x="3680424" y="1532094"/>
                  <a:pt x="3680637" y="1531240"/>
                  <a:pt x="3681277" y="1530955"/>
                </a:cubicBezTo>
                <a:lnTo>
                  <a:pt x="3683411" y="1531098"/>
                </a:lnTo>
                <a:close/>
                <a:moveTo>
                  <a:pt x="5497266" y="1528110"/>
                </a:moveTo>
                <a:cubicBezTo>
                  <a:pt x="5499187" y="1527968"/>
                  <a:pt x="5500894" y="1528395"/>
                  <a:pt x="5501534" y="1529533"/>
                </a:cubicBezTo>
                <a:cubicBezTo>
                  <a:pt x="5499400" y="1530955"/>
                  <a:pt x="5497693" y="1531383"/>
                  <a:pt x="5495986" y="1531809"/>
                </a:cubicBezTo>
                <a:cubicBezTo>
                  <a:pt x="5493638" y="1533232"/>
                  <a:pt x="5492784" y="1532663"/>
                  <a:pt x="5492144" y="1529248"/>
                </a:cubicBezTo>
                <a:cubicBezTo>
                  <a:pt x="5493424" y="1528537"/>
                  <a:pt x="5495345" y="1528110"/>
                  <a:pt x="5497266" y="1528110"/>
                </a:cubicBezTo>
                <a:close/>
                <a:moveTo>
                  <a:pt x="5999656" y="1527683"/>
                </a:moveTo>
                <a:cubicBezTo>
                  <a:pt x="5999442" y="1528964"/>
                  <a:pt x="5999229" y="1531240"/>
                  <a:pt x="6001577" y="1532520"/>
                </a:cubicBezTo>
                <a:cubicBezTo>
                  <a:pt x="5999016" y="1534797"/>
                  <a:pt x="5996455" y="1537216"/>
                  <a:pt x="5994321" y="1534797"/>
                </a:cubicBezTo>
                <a:cubicBezTo>
                  <a:pt x="5993254" y="1533659"/>
                  <a:pt x="5992186" y="1532378"/>
                  <a:pt x="5992400" y="1529960"/>
                </a:cubicBezTo>
                <a:cubicBezTo>
                  <a:pt x="5994961" y="1527541"/>
                  <a:pt x="5998375" y="1528822"/>
                  <a:pt x="5999656" y="1527683"/>
                </a:cubicBezTo>
                <a:close/>
                <a:moveTo>
                  <a:pt x="5505589" y="1527541"/>
                </a:moveTo>
                <a:cubicBezTo>
                  <a:pt x="5504949" y="1528537"/>
                  <a:pt x="5505802" y="1529106"/>
                  <a:pt x="5505802" y="1529106"/>
                </a:cubicBezTo>
                <a:cubicBezTo>
                  <a:pt x="5505802" y="1529106"/>
                  <a:pt x="5505802" y="1529248"/>
                  <a:pt x="5506443" y="1528110"/>
                </a:cubicBezTo>
                <a:cubicBezTo>
                  <a:pt x="5506657" y="1528964"/>
                  <a:pt x="5506443" y="1529391"/>
                  <a:pt x="5506016" y="1529675"/>
                </a:cubicBezTo>
                <a:cubicBezTo>
                  <a:pt x="5505589" y="1530102"/>
                  <a:pt x="5505162" y="1530244"/>
                  <a:pt x="5505162" y="1530244"/>
                </a:cubicBezTo>
                <a:cubicBezTo>
                  <a:pt x="5503669" y="1530671"/>
                  <a:pt x="5501961" y="1530955"/>
                  <a:pt x="5501748" y="1529391"/>
                </a:cubicBezTo>
                <a:cubicBezTo>
                  <a:pt x="5501748" y="1529391"/>
                  <a:pt x="5502388" y="1528395"/>
                  <a:pt x="5505589" y="1527541"/>
                </a:cubicBezTo>
                <a:close/>
                <a:moveTo>
                  <a:pt x="1069322" y="1526990"/>
                </a:moveTo>
                <a:cubicBezTo>
                  <a:pt x="1069322" y="1534580"/>
                  <a:pt x="1068805" y="1546817"/>
                  <a:pt x="1064159" y="1552393"/>
                </a:cubicBezTo>
                <a:cubicBezTo>
                  <a:pt x="1061887" y="1551154"/>
                  <a:pt x="1060855" y="1549140"/>
                  <a:pt x="1060545" y="1546817"/>
                </a:cubicBezTo>
                <a:cubicBezTo>
                  <a:pt x="1059616" y="1539847"/>
                  <a:pt x="1065811" y="1529778"/>
                  <a:pt x="1069322" y="1526990"/>
                </a:cubicBezTo>
                <a:close/>
                <a:moveTo>
                  <a:pt x="1103396" y="1526526"/>
                </a:moveTo>
                <a:cubicBezTo>
                  <a:pt x="1108456" y="1527145"/>
                  <a:pt x="1114548" y="1526990"/>
                  <a:pt x="1114238" y="1532876"/>
                </a:cubicBezTo>
                <a:cubicBezTo>
                  <a:pt x="1109385" y="1539382"/>
                  <a:pt x="1102570" y="1536129"/>
                  <a:pt x="1101847" y="1531482"/>
                </a:cubicBezTo>
                <a:cubicBezTo>
                  <a:pt x="1101537" y="1529933"/>
                  <a:pt x="1101951" y="1528074"/>
                  <a:pt x="1103396" y="1526526"/>
                </a:cubicBezTo>
                <a:close/>
                <a:moveTo>
                  <a:pt x="3785213" y="1525834"/>
                </a:moveTo>
                <a:cubicBezTo>
                  <a:pt x="3784359" y="1527399"/>
                  <a:pt x="3786066" y="1529391"/>
                  <a:pt x="3785213" y="1530955"/>
                </a:cubicBezTo>
                <a:cubicBezTo>
                  <a:pt x="3785213" y="1530955"/>
                  <a:pt x="3782225" y="1533232"/>
                  <a:pt x="3782225" y="1533232"/>
                </a:cubicBezTo>
                <a:cubicBezTo>
                  <a:pt x="3780730" y="1532520"/>
                  <a:pt x="3780730" y="1532520"/>
                  <a:pt x="3781798" y="1532094"/>
                </a:cubicBezTo>
                <a:cubicBezTo>
                  <a:pt x="3780090" y="1530244"/>
                  <a:pt x="3779877" y="1529106"/>
                  <a:pt x="3779450" y="1527968"/>
                </a:cubicBezTo>
                <a:cubicBezTo>
                  <a:pt x="3780304" y="1526403"/>
                  <a:pt x="3782652" y="1525549"/>
                  <a:pt x="3785213" y="1525834"/>
                </a:cubicBezTo>
                <a:close/>
                <a:moveTo>
                  <a:pt x="4545627" y="1524838"/>
                </a:moveTo>
                <a:cubicBezTo>
                  <a:pt x="4545627" y="1524838"/>
                  <a:pt x="4546694" y="1524980"/>
                  <a:pt x="4546694" y="1524980"/>
                </a:cubicBezTo>
                <a:cubicBezTo>
                  <a:pt x="4546481" y="1526261"/>
                  <a:pt x="4546481" y="1527541"/>
                  <a:pt x="4545414" y="1527399"/>
                </a:cubicBezTo>
                <a:cubicBezTo>
                  <a:pt x="4544347" y="1527256"/>
                  <a:pt x="4544347" y="1525976"/>
                  <a:pt x="4545627" y="1524838"/>
                </a:cubicBezTo>
                <a:close/>
                <a:moveTo>
                  <a:pt x="1203658" y="1524667"/>
                </a:moveTo>
                <a:cubicBezTo>
                  <a:pt x="1209957" y="1526061"/>
                  <a:pt x="1206756" y="1536749"/>
                  <a:pt x="1200560" y="1531637"/>
                </a:cubicBezTo>
                <a:cubicBezTo>
                  <a:pt x="1201696" y="1528384"/>
                  <a:pt x="1202522" y="1526061"/>
                  <a:pt x="1203658" y="1524667"/>
                </a:cubicBezTo>
                <a:close/>
                <a:moveTo>
                  <a:pt x="5805657" y="1523984"/>
                </a:moveTo>
                <a:cubicBezTo>
                  <a:pt x="5806938" y="1523558"/>
                  <a:pt x="5808432" y="1523558"/>
                  <a:pt x="5809712" y="1523984"/>
                </a:cubicBezTo>
                <a:cubicBezTo>
                  <a:pt x="5811420" y="1524553"/>
                  <a:pt x="5812914" y="1525976"/>
                  <a:pt x="5814194" y="1528252"/>
                </a:cubicBezTo>
                <a:cubicBezTo>
                  <a:pt x="5813340" y="1533090"/>
                  <a:pt x="5805231" y="1539776"/>
                  <a:pt x="5801602" y="1540630"/>
                </a:cubicBezTo>
                <a:cubicBezTo>
                  <a:pt x="5798614" y="1538638"/>
                  <a:pt x="5797334" y="1535935"/>
                  <a:pt x="5797548" y="1533374"/>
                </a:cubicBezTo>
                <a:cubicBezTo>
                  <a:pt x="5797761" y="1529106"/>
                  <a:pt x="5801389" y="1524980"/>
                  <a:pt x="5805657" y="1523984"/>
                </a:cubicBezTo>
                <a:close/>
                <a:moveTo>
                  <a:pt x="4189002" y="1523984"/>
                </a:moveTo>
                <a:cubicBezTo>
                  <a:pt x="4195405" y="1531525"/>
                  <a:pt x="4197966" y="1539919"/>
                  <a:pt x="4197540" y="1547743"/>
                </a:cubicBezTo>
                <a:cubicBezTo>
                  <a:pt x="4196899" y="1560832"/>
                  <a:pt x="4187722" y="1572356"/>
                  <a:pt x="4174063" y="1575343"/>
                </a:cubicBezTo>
                <a:cubicBezTo>
                  <a:pt x="4173210" y="1573921"/>
                  <a:pt x="4172143" y="1572498"/>
                  <a:pt x="4170862" y="1573352"/>
                </a:cubicBezTo>
                <a:cubicBezTo>
                  <a:pt x="4167234" y="1568942"/>
                  <a:pt x="4165313" y="1563535"/>
                  <a:pt x="4164673" y="1558129"/>
                </a:cubicBezTo>
                <a:lnTo>
                  <a:pt x="4165740" y="1549735"/>
                </a:lnTo>
                <a:lnTo>
                  <a:pt x="4159764" y="1550162"/>
                </a:lnTo>
                <a:cubicBezTo>
                  <a:pt x="4158910" y="1546890"/>
                  <a:pt x="4160618" y="1545040"/>
                  <a:pt x="4162752" y="1544471"/>
                </a:cubicBezTo>
                <a:lnTo>
                  <a:pt x="4166380" y="1545183"/>
                </a:lnTo>
                <a:lnTo>
                  <a:pt x="4166807" y="1542053"/>
                </a:lnTo>
                <a:cubicBezTo>
                  <a:pt x="4170435" y="1531952"/>
                  <a:pt x="4178331" y="1523984"/>
                  <a:pt x="4189002" y="1523984"/>
                </a:cubicBezTo>
                <a:close/>
                <a:moveTo>
                  <a:pt x="3811250" y="1523984"/>
                </a:moveTo>
                <a:cubicBezTo>
                  <a:pt x="3813384" y="1524553"/>
                  <a:pt x="3812530" y="1526688"/>
                  <a:pt x="3814665" y="1527399"/>
                </a:cubicBezTo>
                <a:cubicBezTo>
                  <a:pt x="3814665" y="1527399"/>
                  <a:pt x="3813811" y="1529533"/>
                  <a:pt x="3813811" y="1529533"/>
                </a:cubicBezTo>
                <a:cubicBezTo>
                  <a:pt x="3814878" y="1529817"/>
                  <a:pt x="3814878" y="1529675"/>
                  <a:pt x="3814238" y="1530102"/>
                </a:cubicBezTo>
                <a:cubicBezTo>
                  <a:pt x="3813384" y="1530529"/>
                  <a:pt x="3812103" y="1531240"/>
                  <a:pt x="3810396" y="1533090"/>
                </a:cubicBezTo>
                <a:cubicBezTo>
                  <a:pt x="3807622" y="1534654"/>
                  <a:pt x="3806982" y="1536646"/>
                  <a:pt x="3805701" y="1533943"/>
                </a:cubicBezTo>
                <a:cubicBezTo>
                  <a:pt x="3804420" y="1531240"/>
                  <a:pt x="3804420" y="1531240"/>
                  <a:pt x="3806555" y="1524838"/>
                </a:cubicBezTo>
                <a:cubicBezTo>
                  <a:pt x="3807835" y="1527541"/>
                  <a:pt x="3807835" y="1527541"/>
                  <a:pt x="3810610" y="1526118"/>
                </a:cubicBezTo>
                <a:cubicBezTo>
                  <a:pt x="3810610" y="1526118"/>
                  <a:pt x="3810610" y="1526118"/>
                  <a:pt x="3811250" y="1523984"/>
                </a:cubicBezTo>
                <a:close/>
                <a:moveTo>
                  <a:pt x="3943570" y="1523415"/>
                </a:moveTo>
                <a:cubicBezTo>
                  <a:pt x="3945064" y="1523131"/>
                  <a:pt x="3946558" y="1523131"/>
                  <a:pt x="3948052" y="1523415"/>
                </a:cubicBezTo>
                <a:cubicBezTo>
                  <a:pt x="3951253" y="1523984"/>
                  <a:pt x="3954241" y="1525407"/>
                  <a:pt x="3956375" y="1526403"/>
                </a:cubicBezTo>
                <a:lnTo>
                  <a:pt x="3958723" y="1527399"/>
                </a:lnTo>
                <a:lnTo>
                  <a:pt x="3958936" y="1526261"/>
                </a:lnTo>
                <a:lnTo>
                  <a:pt x="3960004" y="1527825"/>
                </a:lnTo>
                <a:lnTo>
                  <a:pt x="3960216" y="1527825"/>
                </a:lnTo>
                <a:cubicBezTo>
                  <a:pt x="3960216" y="1528964"/>
                  <a:pt x="3961284" y="1529106"/>
                  <a:pt x="3961284" y="1527968"/>
                </a:cubicBezTo>
                <a:cubicBezTo>
                  <a:pt x="3962991" y="1529391"/>
                  <a:pt x="3964485" y="1530529"/>
                  <a:pt x="3965125" y="1531667"/>
                </a:cubicBezTo>
                <a:cubicBezTo>
                  <a:pt x="3965766" y="1532663"/>
                  <a:pt x="3965552" y="1533517"/>
                  <a:pt x="3964485" y="1534512"/>
                </a:cubicBezTo>
                <a:cubicBezTo>
                  <a:pt x="3962991" y="1536789"/>
                  <a:pt x="3960857" y="1535224"/>
                  <a:pt x="3958509" y="1537216"/>
                </a:cubicBezTo>
                <a:cubicBezTo>
                  <a:pt x="3955521" y="1540345"/>
                  <a:pt x="3959790" y="1546178"/>
                  <a:pt x="3958936" y="1552296"/>
                </a:cubicBezTo>
                <a:lnTo>
                  <a:pt x="3956375" y="1557702"/>
                </a:lnTo>
                <a:lnTo>
                  <a:pt x="3958083" y="1558414"/>
                </a:lnTo>
                <a:cubicBezTo>
                  <a:pt x="3959150" y="1559694"/>
                  <a:pt x="3959790" y="1561686"/>
                  <a:pt x="3960004" y="1563678"/>
                </a:cubicBezTo>
                <a:cubicBezTo>
                  <a:pt x="3959576" y="1562539"/>
                  <a:pt x="3959576" y="1562681"/>
                  <a:pt x="3959576" y="1562681"/>
                </a:cubicBezTo>
                <a:cubicBezTo>
                  <a:pt x="3957869" y="1562255"/>
                  <a:pt x="3958509" y="1563251"/>
                  <a:pt x="3957442" y="1563820"/>
                </a:cubicBezTo>
                <a:cubicBezTo>
                  <a:pt x="3957442" y="1563820"/>
                  <a:pt x="3958509" y="1563251"/>
                  <a:pt x="3958083" y="1564958"/>
                </a:cubicBezTo>
                <a:cubicBezTo>
                  <a:pt x="3957442" y="1563962"/>
                  <a:pt x="3956375" y="1564531"/>
                  <a:pt x="3955521" y="1565242"/>
                </a:cubicBezTo>
                <a:cubicBezTo>
                  <a:pt x="3953814" y="1564815"/>
                  <a:pt x="3952107" y="1564104"/>
                  <a:pt x="3950826" y="1563251"/>
                </a:cubicBezTo>
                <a:lnTo>
                  <a:pt x="3950400" y="1562681"/>
                </a:lnTo>
                <a:lnTo>
                  <a:pt x="3949333" y="1563393"/>
                </a:lnTo>
                <a:cubicBezTo>
                  <a:pt x="3947198" y="1563820"/>
                  <a:pt x="3944637" y="1563678"/>
                  <a:pt x="3942076" y="1562255"/>
                </a:cubicBezTo>
                <a:cubicBezTo>
                  <a:pt x="3941436" y="1560405"/>
                  <a:pt x="3941863" y="1557417"/>
                  <a:pt x="3942930" y="1554857"/>
                </a:cubicBezTo>
                <a:lnTo>
                  <a:pt x="3943357" y="1554145"/>
                </a:lnTo>
                <a:lnTo>
                  <a:pt x="3940795" y="1551015"/>
                </a:lnTo>
                <a:lnTo>
                  <a:pt x="3939515" y="1553149"/>
                </a:lnTo>
                <a:cubicBezTo>
                  <a:pt x="3938662" y="1554145"/>
                  <a:pt x="3937808" y="1554714"/>
                  <a:pt x="3936527" y="1554714"/>
                </a:cubicBezTo>
                <a:cubicBezTo>
                  <a:pt x="3935887" y="1554714"/>
                  <a:pt x="3935033" y="1554572"/>
                  <a:pt x="3933966" y="1554003"/>
                </a:cubicBezTo>
                <a:cubicBezTo>
                  <a:pt x="3933966" y="1554003"/>
                  <a:pt x="3933753" y="1554003"/>
                  <a:pt x="3933539" y="1553007"/>
                </a:cubicBezTo>
                <a:cubicBezTo>
                  <a:pt x="3932899" y="1550731"/>
                  <a:pt x="3932686" y="1549593"/>
                  <a:pt x="3932472" y="1548455"/>
                </a:cubicBezTo>
                <a:cubicBezTo>
                  <a:pt x="3932899" y="1547601"/>
                  <a:pt x="3933753" y="1546463"/>
                  <a:pt x="3934607" y="1545467"/>
                </a:cubicBezTo>
                <a:lnTo>
                  <a:pt x="3937167" y="1544186"/>
                </a:lnTo>
                <a:lnTo>
                  <a:pt x="3936741" y="1542906"/>
                </a:lnTo>
                <a:cubicBezTo>
                  <a:pt x="3936527" y="1539634"/>
                  <a:pt x="3938021" y="1536931"/>
                  <a:pt x="3940155" y="1533090"/>
                </a:cubicBezTo>
                <a:cubicBezTo>
                  <a:pt x="3940155" y="1534228"/>
                  <a:pt x="3941222" y="1533232"/>
                  <a:pt x="3941222" y="1533232"/>
                </a:cubicBezTo>
                <a:cubicBezTo>
                  <a:pt x="3943783" y="1531240"/>
                  <a:pt x="3936954" y="1528822"/>
                  <a:pt x="3939515" y="1525692"/>
                </a:cubicBezTo>
                <a:cubicBezTo>
                  <a:pt x="3940582" y="1524411"/>
                  <a:pt x="3942076" y="1523700"/>
                  <a:pt x="3943570" y="1523415"/>
                </a:cubicBezTo>
                <a:close/>
                <a:moveTo>
                  <a:pt x="1744346" y="1523292"/>
                </a:moveTo>
                <a:cubicBezTo>
                  <a:pt x="1745908" y="1522614"/>
                  <a:pt x="1747870" y="1522963"/>
                  <a:pt x="1749574" y="1524976"/>
                </a:cubicBezTo>
                <a:lnTo>
                  <a:pt x="1749367" y="1525131"/>
                </a:lnTo>
                <a:lnTo>
                  <a:pt x="1751845" y="1525751"/>
                </a:lnTo>
                <a:cubicBezTo>
                  <a:pt x="1753188" y="1525751"/>
                  <a:pt x="1754427" y="1525906"/>
                  <a:pt x="1755976" y="1526835"/>
                </a:cubicBezTo>
                <a:cubicBezTo>
                  <a:pt x="1754014" y="1530088"/>
                  <a:pt x="1753291" y="1532876"/>
                  <a:pt x="1752258" y="1534580"/>
                </a:cubicBezTo>
                <a:cubicBezTo>
                  <a:pt x="1749470" y="1533806"/>
                  <a:pt x="1747612" y="1532412"/>
                  <a:pt x="1746786" y="1530862"/>
                </a:cubicBezTo>
                <a:cubicBezTo>
                  <a:pt x="1746373" y="1529933"/>
                  <a:pt x="1746269" y="1529004"/>
                  <a:pt x="1746373" y="1528074"/>
                </a:cubicBezTo>
                <a:lnTo>
                  <a:pt x="1746579" y="1527300"/>
                </a:lnTo>
                <a:lnTo>
                  <a:pt x="1745443" y="1528229"/>
                </a:lnTo>
                <a:cubicBezTo>
                  <a:pt x="1744101" y="1528849"/>
                  <a:pt x="1742759" y="1529004"/>
                  <a:pt x="1741520" y="1527764"/>
                </a:cubicBezTo>
                <a:cubicBezTo>
                  <a:pt x="1741623" y="1525674"/>
                  <a:pt x="1742784" y="1523970"/>
                  <a:pt x="1744346" y="1523292"/>
                </a:cubicBezTo>
                <a:close/>
                <a:moveTo>
                  <a:pt x="1382498" y="1523273"/>
                </a:moveTo>
                <a:cubicBezTo>
                  <a:pt x="1386422" y="1521879"/>
                  <a:pt x="1390758" y="1524822"/>
                  <a:pt x="1388383" y="1529468"/>
                </a:cubicBezTo>
                <a:cubicBezTo>
                  <a:pt x="1385802" y="1528384"/>
                  <a:pt x="1383117" y="1527300"/>
                  <a:pt x="1382498" y="1525441"/>
                </a:cubicBezTo>
                <a:cubicBezTo>
                  <a:pt x="1382291" y="1524822"/>
                  <a:pt x="1382291" y="1524047"/>
                  <a:pt x="1382498" y="1523273"/>
                </a:cubicBezTo>
                <a:close/>
                <a:moveTo>
                  <a:pt x="6130056" y="1523131"/>
                </a:moveTo>
                <a:cubicBezTo>
                  <a:pt x="6134324" y="1523273"/>
                  <a:pt x="6140727" y="1525692"/>
                  <a:pt x="6140513" y="1526688"/>
                </a:cubicBezTo>
                <a:cubicBezTo>
                  <a:pt x="6141794" y="1526688"/>
                  <a:pt x="6141580" y="1527825"/>
                  <a:pt x="6142647" y="1527825"/>
                </a:cubicBezTo>
                <a:cubicBezTo>
                  <a:pt x="6142647" y="1527825"/>
                  <a:pt x="6143928" y="1527825"/>
                  <a:pt x="6144995" y="1529106"/>
                </a:cubicBezTo>
                <a:cubicBezTo>
                  <a:pt x="6145422" y="1529675"/>
                  <a:pt x="6146062" y="1530387"/>
                  <a:pt x="6146275" y="1531098"/>
                </a:cubicBezTo>
                <a:cubicBezTo>
                  <a:pt x="6146489" y="1531952"/>
                  <a:pt x="6146275" y="1532805"/>
                  <a:pt x="6145635" y="1533943"/>
                </a:cubicBezTo>
                <a:cubicBezTo>
                  <a:pt x="6136672" y="1530244"/>
                  <a:pt x="6132189" y="1530102"/>
                  <a:pt x="6125574" y="1526403"/>
                </a:cubicBezTo>
                <a:cubicBezTo>
                  <a:pt x="6125574" y="1525123"/>
                  <a:pt x="6126854" y="1525123"/>
                  <a:pt x="6126854" y="1523984"/>
                </a:cubicBezTo>
                <a:cubicBezTo>
                  <a:pt x="6127494" y="1523415"/>
                  <a:pt x="6128775" y="1523131"/>
                  <a:pt x="6130056" y="1523131"/>
                </a:cubicBezTo>
                <a:close/>
                <a:moveTo>
                  <a:pt x="3824268" y="1522988"/>
                </a:moveTo>
                <a:cubicBezTo>
                  <a:pt x="3826189" y="1525123"/>
                  <a:pt x="3827683" y="1527683"/>
                  <a:pt x="3828750" y="1530529"/>
                </a:cubicBezTo>
                <a:cubicBezTo>
                  <a:pt x="3831524" y="1539207"/>
                  <a:pt x="3829604" y="1550020"/>
                  <a:pt x="3824909" y="1554999"/>
                </a:cubicBezTo>
                <a:cubicBezTo>
                  <a:pt x="3816799" y="1546747"/>
                  <a:pt x="3820214" y="1530529"/>
                  <a:pt x="3824268" y="1522988"/>
                </a:cubicBezTo>
                <a:close/>
                <a:moveTo>
                  <a:pt x="3575634" y="1522561"/>
                </a:moveTo>
                <a:cubicBezTo>
                  <a:pt x="3581824" y="1525265"/>
                  <a:pt x="3587159" y="1528395"/>
                  <a:pt x="3591214" y="1532094"/>
                </a:cubicBezTo>
                <a:lnTo>
                  <a:pt x="3594628" y="1536219"/>
                </a:lnTo>
                <a:lnTo>
                  <a:pt x="3594628" y="1536077"/>
                </a:lnTo>
                <a:cubicBezTo>
                  <a:pt x="3595909" y="1534512"/>
                  <a:pt x="3597616" y="1533090"/>
                  <a:pt x="3599751" y="1531809"/>
                </a:cubicBezTo>
                <a:cubicBezTo>
                  <a:pt x="3600178" y="1533517"/>
                  <a:pt x="3601885" y="1532947"/>
                  <a:pt x="3603379" y="1532378"/>
                </a:cubicBezTo>
                <a:cubicBezTo>
                  <a:pt x="3605513" y="1533659"/>
                  <a:pt x="3606580" y="1535935"/>
                  <a:pt x="3607007" y="1538638"/>
                </a:cubicBezTo>
                <a:lnTo>
                  <a:pt x="3606794" y="1541057"/>
                </a:lnTo>
                <a:lnTo>
                  <a:pt x="3607220" y="1541057"/>
                </a:lnTo>
                <a:lnTo>
                  <a:pt x="3606794" y="1541483"/>
                </a:lnTo>
                <a:lnTo>
                  <a:pt x="3606580" y="1542479"/>
                </a:lnTo>
                <a:lnTo>
                  <a:pt x="3607861" y="1542053"/>
                </a:lnTo>
                <a:cubicBezTo>
                  <a:pt x="3610635" y="1541626"/>
                  <a:pt x="3613410" y="1541768"/>
                  <a:pt x="3615330" y="1543048"/>
                </a:cubicBezTo>
                <a:cubicBezTo>
                  <a:pt x="3614263" y="1545325"/>
                  <a:pt x="3613196" y="1547601"/>
                  <a:pt x="3612129" y="1549877"/>
                </a:cubicBezTo>
                <a:lnTo>
                  <a:pt x="3611062" y="1549593"/>
                </a:lnTo>
                <a:lnTo>
                  <a:pt x="3610849" y="1549735"/>
                </a:lnTo>
                <a:cubicBezTo>
                  <a:pt x="3610422" y="1550447"/>
                  <a:pt x="3609995" y="1551442"/>
                  <a:pt x="3610208" y="1552722"/>
                </a:cubicBezTo>
                <a:cubicBezTo>
                  <a:pt x="3608714" y="1552296"/>
                  <a:pt x="3607007" y="1551869"/>
                  <a:pt x="3605940" y="1551157"/>
                </a:cubicBezTo>
                <a:lnTo>
                  <a:pt x="3605300" y="1549877"/>
                </a:lnTo>
                <a:lnTo>
                  <a:pt x="3604659" y="1550020"/>
                </a:lnTo>
                <a:lnTo>
                  <a:pt x="3603592" y="1552011"/>
                </a:lnTo>
                <a:lnTo>
                  <a:pt x="3604446" y="1554430"/>
                </a:lnTo>
                <a:lnTo>
                  <a:pt x="3600178" y="1555141"/>
                </a:lnTo>
                <a:lnTo>
                  <a:pt x="3596763" y="1556564"/>
                </a:lnTo>
                <a:cubicBezTo>
                  <a:pt x="3595483" y="1556279"/>
                  <a:pt x="3594202" y="1555568"/>
                  <a:pt x="3593135" y="1554288"/>
                </a:cubicBezTo>
                <a:lnTo>
                  <a:pt x="3592921" y="1552865"/>
                </a:lnTo>
                <a:lnTo>
                  <a:pt x="3584384" y="1545183"/>
                </a:lnTo>
                <a:cubicBezTo>
                  <a:pt x="3581183" y="1553149"/>
                  <a:pt x="3578622" y="1565953"/>
                  <a:pt x="3570086" y="1563820"/>
                </a:cubicBezTo>
                <a:cubicBezTo>
                  <a:pt x="3565603" y="1555710"/>
                  <a:pt x="3574994" y="1547316"/>
                  <a:pt x="3577341" y="1537073"/>
                </a:cubicBezTo>
                <a:cubicBezTo>
                  <a:pt x="3576915" y="1532236"/>
                  <a:pt x="3571366" y="1531240"/>
                  <a:pt x="3575634" y="1522561"/>
                </a:cubicBezTo>
                <a:close/>
                <a:moveTo>
                  <a:pt x="915366" y="1522498"/>
                </a:moveTo>
                <a:cubicBezTo>
                  <a:pt x="923937" y="1524667"/>
                  <a:pt x="931991" y="1544339"/>
                  <a:pt x="923834" y="1548676"/>
                </a:cubicBezTo>
                <a:cubicBezTo>
                  <a:pt x="921665" y="1539072"/>
                  <a:pt x="915676" y="1533651"/>
                  <a:pt x="915366" y="1522498"/>
                </a:cubicBezTo>
                <a:close/>
                <a:moveTo>
                  <a:pt x="4698009" y="1522135"/>
                </a:moveTo>
                <a:cubicBezTo>
                  <a:pt x="4699289" y="1521851"/>
                  <a:pt x="4700570" y="1521993"/>
                  <a:pt x="4700997" y="1522704"/>
                </a:cubicBezTo>
                <a:cubicBezTo>
                  <a:pt x="4702704" y="1524838"/>
                  <a:pt x="4704198" y="1526830"/>
                  <a:pt x="4703344" y="1528964"/>
                </a:cubicBezTo>
                <a:cubicBezTo>
                  <a:pt x="4703131" y="1529817"/>
                  <a:pt x="4702704" y="1530529"/>
                  <a:pt x="4701637" y="1531240"/>
                </a:cubicBezTo>
                <a:cubicBezTo>
                  <a:pt x="4701637" y="1531240"/>
                  <a:pt x="4701637" y="1531240"/>
                  <a:pt x="4700570" y="1531098"/>
                </a:cubicBezTo>
                <a:cubicBezTo>
                  <a:pt x="4698222" y="1530671"/>
                  <a:pt x="4697155" y="1530529"/>
                  <a:pt x="4696088" y="1530244"/>
                </a:cubicBezTo>
                <a:cubicBezTo>
                  <a:pt x="4695021" y="1528964"/>
                  <a:pt x="4692887" y="1524980"/>
                  <a:pt x="4694167" y="1523984"/>
                </a:cubicBezTo>
                <a:cubicBezTo>
                  <a:pt x="4695234" y="1522988"/>
                  <a:pt x="4696728" y="1522277"/>
                  <a:pt x="4698009" y="1522135"/>
                </a:cubicBezTo>
                <a:close/>
                <a:moveTo>
                  <a:pt x="1505269" y="1521724"/>
                </a:moveTo>
                <a:cubicBezTo>
                  <a:pt x="1509916" y="1523737"/>
                  <a:pt x="1509090" y="1527764"/>
                  <a:pt x="1507541" y="1532102"/>
                </a:cubicBezTo>
                <a:cubicBezTo>
                  <a:pt x="1505682" y="1531947"/>
                  <a:pt x="1504134" y="1532566"/>
                  <a:pt x="1502172" y="1532412"/>
                </a:cubicBezTo>
                <a:cubicBezTo>
                  <a:pt x="1501036" y="1531327"/>
                  <a:pt x="1500210" y="1529314"/>
                  <a:pt x="1500003" y="1527300"/>
                </a:cubicBezTo>
                <a:cubicBezTo>
                  <a:pt x="1499797" y="1525286"/>
                  <a:pt x="1500210" y="1523273"/>
                  <a:pt x="1501552" y="1522188"/>
                </a:cubicBezTo>
                <a:cubicBezTo>
                  <a:pt x="1502378" y="1521569"/>
                  <a:pt x="1503617" y="1521259"/>
                  <a:pt x="1505269" y="1521724"/>
                </a:cubicBezTo>
                <a:close/>
                <a:moveTo>
                  <a:pt x="1757731" y="1521259"/>
                </a:moveTo>
                <a:cubicBezTo>
                  <a:pt x="1759486" y="1522033"/>
                  <a:pt x="1761448" y="1521414"/>
                  <a:pt x="1762687" y="1521569"/>
                </a:cubicBezTo>
                <a:cubicBezTo>
                  <a:pt x="1764236" y="1523428"/>
                  <a:pt x="1764546" y="1525286"/>
                  <a:pt x="1763410" y="1528074"/>
                </a:cubicBezTo>
                <a:cubicBezTo>
                  <a:pt x="1759486" y="1529159"/>
                  <a:pt x="1760725" y="1529159"/>
                  <a:pt x="1756595" y="1528384"/>
                </a:cubicBezTo>
                <a:cubicBezTo>
                  <a:pt x="1757008" y="1526061"/>
                  <a:pt x="1757421" y="1523737"/>
                  <a:pt x="1757731" y="1521259"/>
                </a:cubicBezTo>
                <a:close/>
                <a:moveTo>
                  <a:pt x="5924745" y="1520997"/>
                </a:moveTo>
                <a:cubicBezTo>
                  <a:pt x="5927947" y="1520143"/>
                  <a:pt x="5932216" y="1521566"/>
                  <a:pt x="5933069" y="1526403"/>
                </a:cubicBezTo>
                <a:cubicBezTo>
                  <a:pt x="5934563" y="1530387"/>
                  <a:pt x="5932002" y="1534512"/>
                  <a:pt x="5932856" y="1539491"/>
                </a:cubicBezTo>
                <a:cubicBezTo>
                  <a:pt x="5930081" y="1540630"/>
                  <a:pt x="5928160" y="1541341"/>
                  <a:pt x="5926666" y="1541057"/>
                </a:cubicBezTo>
                <a:lnTo>
                  <a:pt x="5926240" y="1540630"/>
                </a:lnTo>
                <a:lnTo>
                  <a:pt x="5914715" y="1534654"/>
                </a:lnTo>
                <a:cubicBezTo>
                  <a:pt x="5913648" y="1533374"/>
                  <a:pt x="5911727" y="1528680"/>
                  <a:pt x="5913007" y="1527399"/>
                </a:cubicBezTo>
                <a:cubicBezTo>
                  <a:pt x="5914288" y="1526261"/>
                  <a:pt x="5915355" y="1526261"/>
                  <a:pt x="5916636" y="1526261"/>
                </a:cubicBezTo>
                <a:lnTo>
                  <a:pt x="5921758" y="1529248"/>
                </a:lnTo>
                <a:lnTo>
                  <a:pt x="5921758" y="1526688"/>
                </a:lnTo>
                <a:cubicBezTo>
                  <a:pt x="5922398" y="1523984"/>
                  <a:pt x="5923465" y="1521708"/>
                  <a:pt x="5924745" y="1520997"/>
                </a:cubicBezTo>
                <a:close/>
                <a:moveTo>
                  <a:pt x="5048018" y="1520854"/>
                </a:moveTo>
                <a:cubicBezTo>
                  <a:pt x="5051005" y="1520712"/>
                  <a:pt x="5053139" y="1521423"/>
                  <a:pt x="5054633" y="1525265"/>
                </a:cubicBezTo>
                <a:cubicBezTo>
                  <a:pt x="5051859" y="1529391"/>
                  <a:pt x="5043962" y="1528964"/>
                  <a:pt x="5036492" y="1529533"/>
                </a:cubicBezTo>
                <a:cubicBezTo>
                  <a:pt x="5036919" y="1526118"/>
                  <a:pt x="5037133" y="1524411"/>
                  <a:pt x="5036492" y="1521851"/>
                </a:cubicBezTo>
                <a:cubicBezTo>
                  <a:pt x="5041401" y="1522135"/>
                  <a:pt x="5045030" y="1520997"/>
                  <a:pt x="5048018" y="1520854"/>
                </a:cubicBezTo>
                <a:close/>
                <a:moveTo>
                  <a:pt x="3975156" y="1520143"/>
                </a:moveTo>
                <a:cubicBezTo>
                  <a:pt x="3980491" y="1519289"/>
                  <a:pt x="3985187" y="1524696"/>
                  <a:pt x="3985614" y="1529960"/>
                </a:cubicBezTo>
                <a:cubicBezTo>
                  <a:pt x="3985827" y="1532236"/>
                  <a:pt x="3985187" y="1534512"/>
                  <a:pt x="3983053" y="1536077"/>
                </a:cubicBezTo>
                <a:cubicBezTo>
                  <a:pt x="3976437" y="1533374"/>
                  <a:pt x="3968540" y="1531525"/>
                  <a:pt x="3969607" y="1523273"/>
                </a:cubicBezTo>
                <a:cubicBezTo>
                  <a:pt x="3971315" y="1521423"/>
                  <a:pt x="3973235" y="1520428"/>
                  <a:pt x="3975156" y="1520143"/>
                </a:cubicBezTo>
                <a:close/>
                <a:moveTo>
                  <a:pt x="5769163" y="1520001"/>
                </a:moveTo>
                <a:cubicBezTo>
                  <a:pt x="5769589" y="1521708"/>
                  <a:pt x="5772364" y="1527968"/>
                  <a:pt x="5770656" y="1528395"/>
                </a:cubicBezTo>
                <a:cubicBezTo>
                  <a:pt x="5770656" y="1528395"/>
                  <a:pt x="5770230" y="1526688"/>
                  <a:pt x="5770016" y="1524980"/>
                </a:cubicBezTo>
                <a:cubicBezTo>
                  <a:pt x="5769803" y="1523415"/>
                  <a:pt x="5769803" y="1523415"/>
                  <a:pt x="5768096" y="1523842"/>
                </a:cubicBezTo>
                <a:cubicBezTo>
                  <a:pt x="5767882" y="1522135"/>
                  <a:pt x="5767882" y="1522135"/>
                  <a:pt x="5769163" y="1520001"/>
                </a:cubicBezTo>
                <a:close/>
                <a:moveTo>
                  <a:pt x="5740138" y="1520001"/>
                </a:moveTo>
                <a:cubicBezTo>
                  <a:pt x="5741418" y="1521281"/>
                  <a:pt x="5742271" y="1523273"/>
                  <a:pt x="5742699" y="1525407"/>
                </a:cubicBezTo>
                <a:cubicBezTo>
                  <a:pt x="5744193" y="1532236"/>
                  <a:pt x="5741205" y="1541626"/>
                  <a:pt x="5737363" y="1545325"/>
                </a:cubicBezTo>
                <a:cubicBezTo>
                  <a:pt x="5732028" y="1545894"/>
                  <a:pt x="5728613" y="1544613"/>
                  <a:pt x="5726479" y="1542337"/>
                </a:cubicBezTo>
                <a:cubicBezTo>
                  <a:pt x="5720503" y="1535366"/>
                  <a:pt x="5727972" y="1519432"/>
                  <a:pt x="5740138" y="1520001"/>
                </a:cubicBezTo>
                <a:close/>
                <a:moveTo>
                  <a:pt x="4386203" y="1518720"/>
                </a:moveTo>
                <a:cubicBezTo>
                  <a:pt x="4387056" y="1519005"/>
                  <a:pt x="4387696" y="1519432"/>
                  <a:pt x="4388550" y="1520428"/>
                </a:cubicBezTo>
                <a:cubicBezTo>
                  <a:pt x="4388550" y="1520428"/>
                  <a:pt x="4388550" y="1520428"/>
                  <a:pt x="4388337" y="1521566"/>
                </a:cubicBezTo>
                <a:cubicBezTo>
                  <a:pt x="4388123" y="1523984"/>
                  <a:pt x="4388123" y="1525123"/>
                  <a:pt x="4387910" y="1526403"/>
                </a:cubicBezTo>
                <a:cubicBezTo>
                  <a:pt x="4386630" y="1527541"/>
                  <a:pt x="4383001" y="1529817"/>
                  <a:pt x="4381934" y="1528537"/>
                </a:cubicBezTo>
                <a:cubicBezTo>
                  <a:pt x="4379800" y="1526118"/>
                  <a:pt x="4379160" y="1522704"/>
                  <a:pt x="4380440" y="1521423"/>
                </a:cubicBezTo>
                <a:cubicBezTo>
                  <a:pt x="4382147" y="1519717"/>
                  <a:pt x="4384282" y="1518009"/>
                  <a:pt x="4386203" y="1518720"/>
                </a:cubicBezTo>
                <a:close/>
                <a:moveTo>
                  <a:pt x="5957826" y="1518436"/>
                </a:moveTo>
                <a:cubicBezTo>
                  <a:pt x="5961881" y="1519289"/>
                  <a:pt x="5967216" y="1523415"/>
                  <a:pt x="5969564" y="1526118"/>
                </a:cubicBezTo>
                <a:cubicBezTo>
                  <a:pt x="5965936" y="1528395"/>
                  <a:pt x="5957399" y="1522419"/>
                  <a:pt x="5954411" y="1518863"/>
                </a:cubicBezTo>
                <a:cubicBezTo>
                  <a:pt x="5955265" y="1518294"/>
                  <a:pt x="5956545" y="1518151"/>
                  <a:pt x="5957826" y="1518436"/>
                </a:cubicBezTo>
                <a:close/>
                <a:moveTo>
                  <a:pt x="5222594" y="1518151"/>
                </a:moveTo>
                <a:cubicBezTo>
                  <a:pt x="5224729" y="1517724"/>
                  <a:pt x="5227290" y="1518294"/>
                  <a:pt x="5229424" y="1520286"/>
                </a:cubicBezTo>
                <a:cubicBezTo>
                  <a:pt x="5228570" y="1527256"/>
                  <a:pt x="5228784" y="1535650"/>
                  <a:pt x="5220674" y="1535224"/>
                </a:cubicBezTo>
                <a:cubicBezTo>
                  <a:pt x="5211710" y="1528537"/>
                  <a:pt x="5216192" y="1519147"/>
                  <a:pt x="5222594" y="1518151"/>
                </a:cubicBezTo>
                <a:close/>
                <a:moveTo>
                  <a:pt x="4547121" y="1518151"/>
                </a:moveTo>
                <a:cubicBezTo>
                  <a:pt x="4547548" y="1518151"/>
                  <a:pt x="4548188" y="1518294"/>
                  <a:pt x="4549255" y="1518294"/>
                </a:cubicBezTo>
                <a:cubicBezTo>
                  <a:pt x="4547975" y="1521851"/>
                  <a:pt x="4547975" y="1521851"/>
                  <a:pt x="4545627" y="1523984"/>
                </a:cubicBezTo>
                <a:cubicBezTo>
                  <a:pt x="4545627" y="1522704"/>
                  <a:pt x="4544560" y="1520143"/>
                  <a:pt x="4545840" y="1519005"/>
                </a:cubicBezTo>
                <a:cubicBezTo>
                  <a:pt x="4546481" y="1518578"/>
                  <a:pt x="4546694" y="1518294"/>
                  <a:pt x="4547121" y="1518151"/>
                </a:cubicBezTo>
                <a:close/>
                <a:moveTo>
                  <a:pt x="1237216" y="1517696"/>
                </a:moveTo>
                <a:cubicBezTo>
                  <a:pt x="1236906" y="1518935"/>
                  <a:pt x="1236906" y="1520484"/>
                  <a:pt x="1236494" y="1521879"/>
                </a:cubicBezTo>
                <a:lnTo>
                  <a:pt x="1233602" y="1524976"/>
                </a:lnTo>
                <a:lnTo>
                  <a:pt x="1234325" y="1521569"/>
                </a:lnTo>
                <a:cubicBezTo>
                  <a:pt x="1234635" y="1520329"/>
                  <a:pt x="1235151" y="1519090"/>
                  <a:pt x="1235771" y="1518471"/>
                </a:cubicBezTo>
                <a:cubicBezTo>
                  <a:pt x="1236184" y="1517851"/>
                  <a:pt x="1236597" y="1517696"/>
                  <a:pt x="1237216" y="1517696"/>
                </a:cubicBezTo>
                <a:close/>
                <a:moveTo>
                  <a:pt x="5697454" y="1517582"/>
                </a:moveTo>
                <a:cubicBezTo>
                  <a:pt x="5707484" y="1524269"/>
                  <a:pt x="5704497" y="1526830"/>
                  <a:pt x="5701722" y="1531809"/>
                </a:cubicBezTo>
                <a:cubicBezTo>
                  <a:pt x="5699374" y="1530813"/>
                  <a:pt x="5696173" y="1532236"/>
                  <a:pt x="5693399" y="1529960"/>
                </a:cubicBezTo>
                <a:cubicBezTo>
                  <a:pt x="5693399" y="1529960"/>
                  <a:pt x="5692118" y="1528822"/>
                  <a:pt x="5691904" y="1526403"/>
                </a:cubicBezTo>
                <a:cubicBezTo>
                  <a:pt x="5689130" y="1522988"/>
                  <a:pt x="5691904" y="1519289"/>
                  <a:pt x="5691904" y="1519289"/>
                </a:cubicBezTo>
                <a:cubicBezTo>
                  <a:pt x="5691904" y="1519289"/>
                  <a:pt x="5691904" y="1519147"/>
                  <a:pt x="5690838" y="1519289"/>
                </a:cubicBezTo>
                <a:cubicBezTo>
                  <a:pt x="5692972" y="1519147"/>
                  <a:pt x="5695106" y="1517724"/>
                  <a:pt x="5697454" y="1517582"/>
                </a:cubicBezTo>
                <a:close/>
                <a:moveTo>
                  <a:pt x="1227303" y="1517386"/>
                </a:moveTo>
                <a:cubicBezTo>
                  <a:pt x="1228853" y="1518935"/>
                  <a:pt x="1229678" y="1520175"/>
                  <a:pt x="1229782" y="1521569"/>
                </a:cubicBezTo>
                <a:lnTo>
                  <a:pt x="1228543" y="1524822"/>
                </a:lnTo>
                <a:lnTo>
                  <a:pt x="1229369" y="1524822"/>
                </a:lnTo>
                <a:lnTo>
                  <a:pt x="1233602" y="1524976"/>
                </a:lnTo>
                <a:lnTo>
                  <a:pt x="1237113" y="1525131"/>
                </a:lnTo>
                <a:cubicBezTo>
                  <a:pt x="1237423" y="1526061"/>
                  <a:pt x="1236597" y="1526216"/>
                  <a:pt x="1236906" y="1526990"/>
                </a:cubicBezTo>
                <a:cubicBezTo>
                  <a:pt x="1236700" y="1527610"/>
                  <a:pt x="1235874" y="1527919"/>
                  <a:pt x="1234945" y="1528229"/>
                </a:cubicBezTo>
                <a:cubicBezTo>
                  <a:pt x="1231950" y="1529159"/>
                  <a:pt x="1226684" y="1529004"/>
                  <a:pt x="1226477" y="1528384"/>
                </a:cubicBezTo>
                <a:cubicBezTo>
                  <a:pt x="1225652" y="1528694"/>
                  <a:pt x="1225342" y="1527764"/>
                  <a:pt x="1224516" y="1528074"/>
                </a:cubicBezTo>
                <a:cubicBezTo>
                  <a:pt x="1224516" y="1528074"/>
                  <a:pt x="1223690" y="1528384"/>
                  <a:pt x="1222554" y="1527764"/>
                </a:cubicBezTo>
                <a:cubicBezTo>
                  <a:pt x="1221418" y="1527145"/>
                  <a:pt x="1220282" y="1526680"/>
                  <a:pt x="1220386" y="1524667"/>
                </a:cubicBezTo>
                <a:lnTo>
                  <a:pt x="1226684" y="1524667"/>
                </a:lnTo>
                <a:lnTo>
                  <a:pt x="1224516" y="1523583"/>
                </a:lnTo>
                <a:cubicBezTo>
                  <a:pt x="1223483" y="1522498"/>
                  <a:pt x="1222760" y="1521104"/>
                  <a:pt x="1222864" y="1519865"/>
                </a:cubicBezTo>
                <a:cubicBezTo>
                  <a:pt x="1224722" y="1517696"/>
                  <a:pt x="1226271" y="1518781"/>
                  <a:pt x="1227303" y="1517386"/>
                </a:cubicBezTo>
                <a:close/>
                <a:moveTo>
                  <a:pt x="3595696" y="1517156"/>
                </a:moveTo>
                <a:cubicBezTo>
                  <a:pt x="3600391" y="1515875"/>
                  <a:pt x="3603592" y="1519432"/>
                  <a:pt x="3609355" y="1518578"/>
                </a:cubicBezTo>
                <a:cubicBezTo>
                  <a:pt x="3610849" y="1522561"/>
                  <a:pt x="3617465" y="1522277"/>
                  <a:pt x="3619172" y="1527825"/>
                </a:cubicBezTo>
                <a:cubicBezTo>
                  <a:pt x="3611489" y="1531809"/>
                  <a:pt x="3596549" y="1522135"/>
                  <a:pt x="3595696" y="1517156"/>
                </a:cubicBezTo>
                <a:close/>
                <a:moveTo>
                  <a:pt x="1356580" y="1516922"/>
                </a:moveTo>
                <a:cubicBezTo>
                  <a:pt x="1357716" y="1517231"/>
                  <a:pt x="1357510" y="1518316"/>
                  <a:pt x="1357923" y="1519090"/>
                </a:cubicBezTo>
                <a:cubicBezTo>
                  <a:pt x="1358129" y="1520949"/>
                  <a:pt x="1354412" y="1525751"/>
                  <a:pt x="1353276" y="1525441"/>
                </a:cubicBezTo>
                <a:cubicBezTo>
                  <a:pt x="1353276" y="1523118"/>
                  <a:pt x="1353379" y="1519245"/>
                  <a:pt x="1354722" y="1517696"/>
                </a:cubicBezTo>
                <a:cubicBezTo>
                  <a:pt x="1355135" y="1517077"/>
                  <a:pt x="1355755" y="1516767"/>
                  <a:pt x="1356580" y="1516922"/>
                </a:cubicBezTo>
                <a:close/>
                <a:moveTo>
                  <a:pt x="1027090" y="1516922"/>
                </a:moveTo>
                <a:cubicBezTo>
                  <a:pt x="1034318" y="1523118"/>
                  <a:pt x="1033182" y="1538297"/>
                  <a:pt x="1024405" y="1536594"/>
                </a:cubicBezTo>
                <a:cubicBezTo>
                  <a:pt x="1023166" y="1536439"/>
                  <a:pt x="1021824" y="1535819"/>
                  <a:pt x="1020275" y="1534890"/>
                </a:cubicBezTo>
                <a:cubicBezTo>
                  <a:pt x="1020172" y="1533341"/>
                  <a:pt x="1019862" y="1531637"/>
                  <a:pt x="1019759" y="1529778"/>
                </a:cubicBezTo>
                <a:cubicBezTo>
                  <a:pt x="1019655" y="1528384"/>
                  <a:pt x="1019552" y="1526990"/>
                  <a:pt x="1019655" y="1525596"/>
                </a:cubicBezTo>
                <a:cubicBezTo>
                  <a:pt x="1019965" y="1521569"/>
                  <a:pt x="1021514" y="1517851"/>
                  <a:pt x="1027090" y="1516922"/>
                </a:cubicBezTo>
                <a:close/>
                <a:moveTo>
                  <a:pt x="4646148" y="1515733"/>
                </a:moveTo>
                <a:cubicBezTo>
                  <a:pt x="4646148" y="1515733"/>
                  <a:pt x="4646148" y="1515733"/>
                  <a:pt x="4643800" y="1524411"/>
                </a:cubicBezTo>
                <a:cubicBezTo>
                  <a:pt x="4642946" y="1524127"/>
                  <a:pt x="4642946" y="1523558"/>
                  <a:pt x="4642946" y="1522846"/>
                </a:cubicBezTo>
                <a:cubicBezTo>
                  <a:pt x="4643160" y="1522135"/>
                  <a:pt x="4643373" y="1521281"/>
                  <a:pt x="4643800" y="1520428"/>
                </a:cubicBezTo>
                <a:cubicBezTo>
                  <a:pt x="4644441" y="1518863"/>
                  <a:pt x="4645294" y="1517298"/>
                  <a:pt x="4646148" y="1515733"/>
                </a:cubicBezTo>
                <a:close/>
                <a:moveTo>
                  <a:pt x="4053268" y="1515733"/>
                </a:moveTo>
                <a:cubicBezTo>
                  <a:pt x="4059243" y="1517440"/>
                  <a:pt x="4064793" y="1524127"/>
                  <a:pt x="4072049" y="1526830"/>
                </a:cubicBezTo>
                <a:cubicBezTo>
                  <a:pt x="4076744" y="1526830"/>
                  <a:pt x="4078451" y="1521423"/>
                  <a:pt x="4086134" y="1526830"/>
                </a:cubicBezTo>
                <a:cubicBezTo>
                  <a:pt x="4082933" y="1532947"/>
                  <a:pt x="4079092" y="1537927"/>
                  <a:pt x="4075037" y="1541768"/>
                </a:cubicBezTo>
                <a:lnTo>
                  <a:pt x="4068207" y="1546178"/>
                </a:lnTo>
                <a:lnTo>
                  <a:pt x="4072476" y="1546178"/>
                </a:lnTo>
                <a:cubicBezTo>
                  <a:pt x="4075463" y="1547032"/>
                  <a:pt x="4078024" y="1548312"/>
                  <a:pt x="4080799" y="1549735"/>
                </a:cubicBezTo>
                <a:cubicBezTo>
                  <a:pt x="4084000" y="1565242"/>
                  <a:pt x="4069274" y="1558556"/>
                  <a:pt x="4061378" y="1558129"/>
                </a:cubicBezTo>
                <a:cubicBezTo>
                  <a:pt x="4060738" y="1555568"/>
                  <a:pt x="4060524" y="1553861"/>
                  <a:pt x="4060738" y="1552154"/>
                </a:cubicBezTo>
                <a:lnTo>
                  <a:pt x="4061164" y="1550304"/>
                </a:lnTo>
                <a:lnTo>
                  <a:pt x="4051987" y="1552438"/>
                </a:lnTo>
                <a:cubicBezTo>
                  <a:pt x="4048999" y="1543191"/>
                  <a:pt x="4057963" y="1538211"/>
                  <a:pt x="4063299" y="1533090"/>
                </a:cubicBezTo>
                <a:cubicBezTo>
                  <a:pt x="4056042" y="1528822"/>
                  <a:pt x="4043877" y="1524553"/>
                  <a:pt x="4047079" y="1516160"/>
                </a:cubicBezTo>
                <a:cubicBezTo>
                  <a:pt x="4049213" y="1515306"/>
                  <a:pt x="4051134" y="1515164"/>
                  <a:pt x="4053268" y="1515733"/>
                </a:cubicBezTo>
                <a:close/>
                <a:moveTo>
                  <a:pt x="1615134" y="1515683"/>
                </a:moveTo>
                <a:cubicBezTo>
                  <a:pt x="1613998" y="1522653"/>
                  <a:pt x="1613482" y="1530398"/>
                  <a:pt x="1607700" y="1531792"/>
                </a:cubicBezTo>
                <a:cubicBezTo>
                  <a:pt x="1606770" y="1531018"/>
                  <a:pt x="1606254" y="1529933"/>
                  <a:pt x="1606047" y="1528694"/>
                </a:cubicBezTo>
                <a:cubicBezTo>
                  <a:pt x="1605841" y="1527455"/>
                  <a:pt x="1605944" y="1526061"/>
                  <a:pt x="1606254" y="1524667"/>
                </a:cubicBezTo>
                <a:cubicBezTo>
                  <a:pt x="1606770" y="1521879"/>
                  <a:pt x="1608216" y="1519090"/>
                  <a:pt x="1609455" y="1517077"/>
                </a:cubicBezTo>
                <a:cubicBezTo>
                  <a:pt x="1611830" y="1517231"/>
                  <a:pt x="1612656" y="1515528"/>
                  <a:pt x="1615134" y="1515683"/>
                </a:cubicBezTo>
                <a:close/>
                <a:moveTo>
                  <a:pt x="1383531" y="1515373"/>
                </a:moveTo>
                <a:cubicBezTo>
                  <a:pt x="1384357" y="1517851"/>
                  <a:pt x="1384150" y="1519710"/>
                  <a:pt x="1382911" y="1521104"/>
                </a:cubicBezTo>
                <a:cubicBezTo>
                  <a:pt x="1381672" y="1522653"/>
                  <a:pt x="1379607" y="1523737"/>
                  <a:pt x="1376509" y="1524512"/>
                </a:cubicBezTo>
                <a:cubicBezTo>
                  <a:pt x="1375890" y="1523273"/>
                  <a:pt x="1375786" y="1522188"/>
                  <a:pt x="1376096" y="1521259"/>
                </a:cubicBezTo>
                <a:cubicBezTo>
                  <a:pt x="1376819" y="1518626"/>
                  <a:pt x="1380639" y="1517541"/>
                  <a:pt x="1383531" y="1515373"/>
                </a:cubicBezTo>
                <a:close/>
                <a:moveTo>
                  <a:pt x="1594070" y="1514753"/>
                </a:moveTo>
                <a:cubicBezTo>
                  <a:pt x="1589733" y="1520484"/>
                  <a:pt x="1582815" y="1526061"/>
                  <a:pt x="1581163" y="1527145"/>
                </a:cubicBezTo>
                <a:cubicBezTo>
                  <a:pt x="1580337" y="1527764"/>
                  <a:pt x="1579820" y="1528074"/>
                  <a:pt x="1579304" y="1527919"/>
                </a:cubicBezTo>
                <a:cubicBezTo>
                  <a:pt x="1578685" y="1527764"/>
                  <a:pt x="1578271" y="1527300"/>
                  <a:pt x="1577755" y="1526526"/>
                </a:cubicBezTo>
                <a:cubicBezTo>
                  <a:pt x="1577239" y="1522343"/>
                  <a:pt x="1581266" y="1520329"/>
                  <a:pt x="1584157" y="1516922"/>
                </a:cubicBezTo>
                <a:cubicBezTo>
                  <a:pt x="1584880" y="1517231"/>
                  <a:pt x="1586119" y="1516922"/>
                  <a:pt x="1586532" y="1516148"/>
                </a:cubicBezTo>
                <a:cubicBezTo>
                  <a:pt x="1587771" y="1515683"/>
                  <a:pt x="1588907" y="1515218"/>
                  <a:pt x="1588184" y="1514908"/>
                </a:cubicBezTo>
                <a:cubicBezTo>
                  <a:pt x="1591695" y="1513669"/>
                  <a:pt x="1592211" y="1512895"/>
                  <a:pt x="1594070" y="1514753"/>
                </a:cubicBezTo>
                <a:close/>
                <a:moveTo>
                  <a:pt x="1712401" y="1514598"/>
                </a:moveTo>
                <a:cubicBezTo>
                  <a:pt x="1713331" y="1514444"/>
                  <a:pt x="1714363" y="1514598"/>
                  <a:pt x="1715602" y="1515218"/>
                </a:cubicBezTo>
                <a:cubicBezTo>
                  <a:pt x="1719526" y="1520794"/>
                  <a:pt x="1720972" y="1526061"/>
                  <a:pt x="1715396" y="1531173"/>
                </a:cubicBezTo>
                <a:cubicBezTo>
                  <a:pt x="1714776" y="1530243"/>
                  <a:pt x="1713744" y="1531018"/>
                  <a:pt x="1712711" y="1531637"/>
                </a:cubicBezTo>
                <a:cubicBezTo>
                  <a:pt x="1708994" y="1530862"/>
                  <a:pt x="1707342" y="1526680"/>
                  <a:pt x="1707342" y="1522653"/>
                </a:cubicBezTo>
                <a:cubicBezTo>
                  <a:pt x="1707342" y="1518781"/>
                  <a:pt x="1709097" y="1514908"/>
                  <a:pt x="1712401" y="1514598"/>
                </a:cubicBezTo>
                <a:close/>
                <a:moveTo>
                  <a:pt x="1463347" y="1514289"/>
                </a:moveTo>
                <a:cubicBezTo>
                  <a:pt x="1463760" y="1514753"/>
                  <a:pt x="1464380" y="1515373"/>
                  <a:pt x="1465206" y="1515838"/>
                </a:cubicBezTo>
                <a:lnTo>
                  <a:pt x="1462108" y="1518006"/>
                </a:lnTo>
                <a:cubicBezTo>
                  <a:pt x="1461799" y="1517541"/>
                  <a:pt x="1461386" y="1516922"/>
                  <a:pt x="1461282" y="1516302"/>
                </a:cubicBezTo>
                <a:cubicBezTo>
                  <a:pt x="1461179" y="1515683"/>
                  <a:pt x="1461282" y="1515063"/>
                  <a:pt x="1461799" y="1514753"/>
                </a:cubicBezTo>
                <a:cubicBezTo>
                  <a:pt x="1462315" y="1513979"/>
                  <a:pt x="1462831" y="1513979"/>
                  <a:pt x="1463347" y="1514289"/>
                </a:cubicBezTo>
                <a:close/>
                <a:moveTo>
                  <a:pt x="929513" y="1514289"/>
                </a:moveTo>
                <a:cubicBezTo>
                  <a:pt x="933540" y="1512120"/>
                  <a:pt x="936534" y="1512895"/>
                  <a:pt x="938599" y="1515528"/>
                </a:cubicBezTo>
                <a:cubicBezTo>
                  <a:pt x="937980" y="1520329"/>
                  <a:pt x="931578" y="1522188"/>
                  <a:pt x="928893" y="1518935"/>
                </a:cubicBezTo>
                <a:cubicBezTo>
                  <a:pt x="928997" y="1518316"/>
                  <a:pt x="928893" y="1517696"/>
                  <a:pt x="928997" y="1516767"/>
                </a:cubicBezTo>
                <a:cubicBezTo>
                  <a:pt x="928997" y="1515993"/>
                  <a:pt x="929100" y="1515063"/>
                  <a:pt x="929513" y="1514289"/>
                </a:cubicBezTo>
                <a:close/>
                <a:moveTo>
                  <a:pt x="4493766" y="1513741"/>
                </a:moveTo>
                <a:cubicBezTo>
                  <a:pt x="4494620" y="1513883"/>
                  <a:pt x="4495687" y="1514310"/>
                  <a:pt x="4496327" y="1514737"/>
                </a:cubicBezTo>
                <a:cubicBezTo>
                  <a:pt x="4493340" y="1516017"/>
                  <a:pt x="4492485" y="1517582"/>
                  <a:pt x="4492272" y="1516444"/>
                </a:cubicBezTo>
                <a:cubicBezTo>
                  <a:pt x="4491205" y="1516871"/>
                  <a:pt x="4490778" y="1515733"/>
                  <a:pt x="4491845" y="1515306"/>
                </a:cubicBezTo>
                <a:cubicBezTo>
                  <a:pt x="4492059" y="1513883"/>
                  <a:pt x="4492699" y="1513599"/>
                  <a:pt x="4493766" y="1513741"/>
                </a:cubicBezTo>
                <a:close/>
                <a:moveTo>
                  <a:pt x="4887739" y="1513457"/>
                </a:moveTo>
                <a:cubicBezTo>
                  <a:pt x="4888806" y="1513599"/>
                  <a:pt x="4889873" y="1513883"/>
                  <a:pt x="4890727" y="1514737"/>
                </a:cubicBezTo>
                <a:cubicBezTo>
                  <a:pt x="4884965" y="1521566"/>
                  <a:pt x="4873653" y="1542479"/>
                  <a:pt x="4863623" y="1534228"/>
                </a:cubicBezTo>
                <a:cubicBezTo>
                  <a:pt x="4868318" y="1529391"/>
                  <a:pt x="4880270" y="1513030"/>
                  <a:pt x="4887739" y="1513457"/>
                </a:cubicBezTo>
                <a:close/>
                <a:moveTo>
                  <a:pt x="4099793" y="1513314"/>
                </a:moveTo>
                <a:cubicBezTo>
                  <a:pt x="4101501" y="1513172"/>
                  <a:pt x="4102995" y="1513314"/>
                  <a:pt x="4104489" y="1513599"/>
                </a:cubicBezTo>
                <a:cubicBezTo>
                  <a:pt x="4103848" y="1514737"/>
                  <a:pt x="4111531" y="1516302"/>
                  <a:pt x="4113666" y="1522704"/>
                </a:cubicBezTo>
                <a:cubicBezTo>
                  <a:pt x="4114519" y="1524838"/>
                  <a:pt x="4114519" y="1527541"/>
                  <a:pt x="4113666" y="1530955"/>
                </a:cubicBezTo>
                <a:cubicBezTo>
                  <a:pt x="4111531" y="1538496"/>
                  <a:pt x="4106836" y="1546036"/>
                  <a:pt x="4095311" y="1542621"/>
                </a:cubicBezTo>
                <a:cubicBezTo>
                  <a:pt x="4092750" y="1542621"/>
                  <a:pt x="4093818" y="1542053"/>
                  <a:pt x="4092324" y="1541483"/>
                </a:cubicBezTo>
                <a:cubicBezTo>
                  <a:pt x="4090830" y="1540914"/>
                  <a:pt x="4088268" y="1540914"/>
                  <a:pt x="4087201" y="1541483"/>
                </a:cubicBezTo>
                <a:cubicBezTo>
                  <a:pt x="4088695" y="1535508"/>
                  <a:pt x="4084640" y="1534939"/>
                  <a:pt x="4087628" y="1525834"/>
                </a:cubicBezTo>
                <a:cubicBezTo>
                  <a:pt x="4089763" y="1516871"/>
                  <a:pt x="4095098" y="1513883"/>
                  <a:pt x="4099793" y="1513314"/>
                </a:cubicBezTo>
                <a:close/>
                <a:moveTo>
                  <a:pt x="1858096" y="1513050"/>
                </a:moveTo>
                <a:cubicBezTo>
                  <a:pt x="1856960" y="1514134"/>
                  <a:pt x="1859129" y="1516457"/>
                  <a:pt x="1859645" y="1518161"/>
                </a:cubicBezTo>
                <a:cubicBezTo>
                  <a:pt x="1856444" y="1515993"/>
                  <a:pt x="1856960" y="1516457"/>
                  <a:pt x="1854275" y="1517696"/>
                </a:cubicBezTo>
                <a:lnTo>
                  <a:pt x="1853553" y="1515838"/>
                </a:lnTo>
                <a:lnTo>
                  <a:pt x="1853243" y="1516612"/>
                </a:lnTo>
                <a:cubicBezTo>
                  <a:pt x="1853036" y="1517077"/>
                  <a:pt x="1852830" y="1517386"/>
                  <a:pt x="1853036" y="1517386"/>
                </a:cubicBezTo>
                <a:cubicBezTo>
                  <a:pt x="1853862" y="1518316"/>
                  <a:pt x="1853862" y="1518316"/>
                  <a:pt x="1854689" y="1518316"/>
                </a:cubicBezTo>
                <a:cubicBezTo>
                  <a:pt x="1854585" y="1519245"/>
                  <a:pt x="1855205" y="1520949"/>
                  <a:pt x="1856031" y="1521724"/>
                </a:cubicBezTo>
                <a:cubicBezTo>
                  <a:pt x="1855101" y="1521724"/>
                  <a:pt x="1854275" y="1521724"/>
                  <a:pt x="1854172" y="1522653"/>
                </a:cubicBezTo>
                <a:cubicBezTo>
                  <a:pt x="1852624" y="1520794"/>
                  <a:pt x="1852830" y="1520020"/>
                  <a:pt x="1852004" y="1519090"/>
                </a:cubicBezTo>
                <a:cubicBezTo>
                  <a:pt x="1851901" y="1520020"/>
                  <a:pt x="1851178" y="1519090"/>
                  <a:pt x="1851178" y="1519090"/>
                </a:cubicBezTo>
                <a:cubicBezTo>
                  <a:pt x="1851178" y="1519090"/>
                  <a:pt x="1851178" y="1519090"/>
                  <a:pt x="1850971" y="1519245"/>
                </a:cubicBezTo>
                <a:lnTo>
                  <a:pt x="1849629" y="1520329"/>
                </a:lnTo>
                <a:lnTo>
                  <a:pt x="1852004" y="1523428"/>
                </a:lnTo>
                <a:cubicBezTo>
                  <a:pt x="1856340" y="1528539"/>
                  <a:pt x="1860161" y="1533031"/>
                  <a:pt x="1862330" y="1537678"/>
                </a:cubicBezTo>
                <a:cubicBezTo>
                  <a:pt x="1863981" y="1540466"/>
                  <a:pt x="1868835" y="1544494"/>
                  <a:pt x="1872655" y="1547901"/>
                </a:cubicBezTo>
                <a:cubicBezTo>
                  <a:pt x="1876372" y="1551929"/>
                  <a:pt x="1879676" y="1555336"/>
                  <a:pt x="1878540" y="1558124"/>
                </a:cubicBezTo>
                <a:cubicBezTo>
                  <a:pt x="1882361" y="1563236"/>
                  <a:pt x="1886078" y="1567883"/>
                  <a:pt x="1889383" y="1572375"/>
                </a:cubicBezTo>
                <a:cubicBezTo>
                  <a:pt x="1893100" y="1576402"/>
                  <a:pt x="1896920" y="1580429"/>
                  <a:pt x="1900225" y="1584302"/>
                </a:cubicBezTo>
                <a:cubicBezTo>
                  <a:pt x="1903942" y="1587709"/>
                  <a:pt x="1907762" y="1591117"/>
                  <a:pt x="1911583" y="1595144"/>
                </a:cubicBezTo>
                <a:cubicBezTo>
                  <a:pt x="1914784" y="1598552"/>
                  <a:pt x="1918501" y="1601960"/>
                  <a:pt x="1921805" y="1605368"/>
                </a:cubicBezTo>
                <a:cubicBezTo>
                  <a:pt x="1920669" y="1606607"/>
                  <a:pt x="1919017" y="1605522"/>
                  <a:pt x="1917985" y="1606607"/>
                </a:cubicBezTo>
                <a:cubicBezTo>
                  <a:pt x="1915816" y="1608310"/>
                  <a:pt x="1920669" y="1610015"/>
                  <a:pt x="1921805" y="1611719"/>
                </a:cubicBezTo>
                <a:cubicBezTo>
                  <a:pt x="1925626" y="1610015"/>
                  <a:pt x="1919017" y="1608310"/>
                  <a:pt x="1922838" y="1606607"/>
                </a:cubicBezTo>
                <a:cubicBezTo>
                  <a:pt x="1927174" y="1608930"/>
                  <a:pt x="1932543" y="1614041"/>
                  <a:pt x="1938016" y="1619153"/>
                </a:cubicBezTo>
                <a:cubicBezTo>
                  <a:pt x="1943386" y="1624265"/>
                  <a:pt x="1948755" y="1629376"/>
                  <a:pt x="1953711" y="1632320"/>
                </a:cubicBezTo>
                <a:cubicBezTo>
                  <a:pt x="1952059" y="1634023"/>
                  <a:pt x="1949891" y="1630616"/>
                  <a:pt x="1948755" y="1632939"/>
                </a:cubicBezTo>
                <a:cubicBezTo>
                  <a:pt x="1950665" y="1635185"/>
                  <a:pt x="1952704" y="1634450"/>
                  <a:pt x="1954460" y="1634004"/>
                </a:cubicBezTo>
                <a:lnTo>
                  <a:pt x="1958339" y="1636726"/>
                </a:lnTo>
                <a:lnTo>
                  <a:pt x="1958339" y="1585092"/>
                </a:lnTo>
                <a:lnTo>
                  <a:pt x="1948755" y="1583837"/>
                </a:lnTo>
                <a:cubicBezTo>
                  <a:pt x="1949891" y="1582753"/>
                  <a:pt x="1950923" y="1579810"/>
                  <a:pt x="1947103" y="1576402"/>
                </a:cubicBezTo>
                <a:cubicBezTo>
                  <a:pt x="1948755" y="1584457"/>
                  <a:pt x="1938533" y="1577021"/>
                  <a:pt x="1942353" y="1572995"/>
                </a:cubicBezTo>
                <a:cubicBezTo>
                  <a:pt x="1940701" y="1572375"/>
                  <a:pt x="1935848" y="1571755"/>
                  <a:pt x="1937500" y="1574698"/>
                </a:cubicBezTo>
                <a:cubicBezTo>
                  <a:pt x="1936674" y="1573769"/>
                  <a:pt x="1936158" y="1568192"/>
                  <a:pt x="1932957" y="1566334"/>
                </a:cubicBezTo>
                <a:lnTo>
                  <a:pt x="1929033" y="1566179"/>
                </a:lnTo>
                <a:lnTo>
                  <a:pt x="1929240" y="1566798"/>
                </a:lnTo>
                <a:cubicBezTo>
                  <a:pt x="1928930" y="1568192"/>
                  <a:pt x="1928104" y="1569432"/>
                  <a:pt x="1926865" y="1570052"/>
                </a:cubicBezTo>
                <a:lnTo>
                  <a:pt x="1922115" y="1567263"/>
                </a:lnTo>
                <a:lnTo>
                  <a:pt x="1922528" y="1569277"/>
                </a:lnTo>
                <a:cubicBezTo>
                  <a:pt x="1923767" y="1572995"/>
                  <a:pt x="1926142" y="1576712"/>
                  <a:pt x="1928827" y="1580274"/>
                </a:cubicBezTo>
                <a:cubicBezTo>
                  <a:pt x="1922838" y="1579190"/>
                  <a:pt x="1919637" y="1570671"/>
                  <a:pt x="1919120" y="1567263"/>
                </a:cubicBezTo>
                <a:cubicBezTo>
                  <a:pt x="1917159" y="1567108"/>
                  <a:pt x="1915300" y="1566024"/>
                  <a:pt x="1913441" y="1564475"/>
                </a:cubicBezTo>
                <a:lnTo>
                  <a:pt x="1909104" y="1560758"/>
                </a:lnTo>
                <a:lnTo>
                  <a:pt x="1910860" y="1563701"/>
                </a:lnTo>
                <a:cubicBezTo>
                  <a:pt x="1905077" y="1570206"/>
                  <a:pt x="1899398" y="1576712"/>
                  <a:pt x="1893616" y="1576712"/>
                </a:cubicBezTo>
                <a:cubicBezTo>
                  <a:pt x="1889796" y="1572375"/>
                  <a:pt x="1887317" y="1567418"/>
                  <a:pt x="1886801" y="1562307"/>
                </a:cubicBezTo>
                <a:cubicBezTo>
                  <a:pt x="1886595" y="1559673"/>
                  <a:pt x="1886801" y="1557040"/>
                  <a:pt x="1887627" y="1554407"/>
                </a:cubicBezTo>
                <a:lnTo>
                  <a:pt x="1889176" y="1551309"/>
                </a:lnTo>
                <a:lnTo>
                  <a:pt x="1881225" y="1548985"/>
                </a:lnTo>
                <a:cubicBezTo>
                  <a:pt x="1881638" y="1542944"/>
                  <a:pt x="1885356" y="1547282"/>
                  <a:pt x="1888350" y="1549295"/>
                </a:cubicBezTo>
                <a:lnTo>
                  <a:pt x="1889899" y="1549760"/>
                </a:lnTo>
                <a:lnTo>
                  <a:pt x="1890931" y="1547591"/>
                </a:lnTo>
                <a:lnTo>
                  <a:pt x="1888453" y="1546352"/>
                </a:lnTo>
                <a:cubicBezTo>
                  <a:pt x="1886285" y="1545423"/>
                  <a:pt x="1883703" y="1544494"/>
                  <a:pt x="1884013" y="1541551"/>
                </a:cubicBezTo>
                <a:cubicBezTo>
                  <a:pt x="1880193" y="1539227"/>
                  <a:pt x="1884013" y="1546662"/>
                  <a:pt x="1879676" y="1544958"/>
                </a:cubicBezTo>
                <a:cubicBezTo>
                  <a:pt x="1876372" y="1540466"/>
                  <a:pt x="1873171" y="1534116"/>
                  <a:pt x="1869867" y="1527919"/>
                </a:cubicBezTo>
                <a:lnTo>
                  <a:pt x="1867596" y="1524202"/>
                </a:lnTo>
                <a:lnTo>
                  <a:pt x="1864601" y="1523118"/>
                </a:lnTo>
                <a:cubicBezTo>
                  <a:pt x="1862536" y="1522188"/>
                  <a:pt x="1860780" y="1521104"/>
                  <a:pt x="1859541" y="1519710"/>
                </a:cubicBezTo>
                <a:lnTo>
                  <a:pt x="1863259" y="1518006"/>
                </a:lnTo>
                <a:close/>
                <a:moveTo>
                  <a:pt x="1045572" y="1513050"/>
                </a:moveTo>
                <a:cubicBezTo>
                  <a:pt x="1046399" y="1512895"/>
                  <a:pt x="1046502" y="1513824"/>
                  <a:pt x="1047431" y="1514444"/>
                </a:cubicBezTo>
                <a:cubicBezTo>
                  <a:pt x="1047431" y="1515373"/>
                  <a:pt x="1046605" y="1516148"/>
                  <a:pt x="1046605" y="1516148"/>
                </a:cubicBezTo>
                <a:cubicBezTo>
                  <a:pt x="1045779" y="1517231"/>
                  <a:pt x="1045779" y="1517231"/>
                  <a:pt x="1046708" y="1517851"/>
                </a:cubicBezTo>
                <a:cubicBezTo>
                  <a:pt x="1046708" y="1517851"/>
                  <a:pt x="1045883" y="1518006"/>
                  <a:pt x="1045883" y="1518006"/>
                </a:cubicBezTo>
                <a:cubicBezTo>
                  <a:pt x="1045883" y="1517541"/>
                  <a:pt x="1045883" y="1517541"/>
                  <a:pt x="1045779" y="1517851"/>
                </a:cubicBezTo>
                <a:lnTo>
                  <a:pt x="1045263" y="1518471"/>
                </a:lnTo>
                <a:lnTo>
                  <a:pt x="1047638" y="1519090"/>
                </a:lnTo>
                <a:cubicBezTo>
                  <a:pt x="1051149" y="1522343"/>
                  <a:pt x="1047948" y="1531018"/>
                  <a:pt x="1043714" y="1531637"/>
                </a:cubicBezTo>
                <a:cubicBezTo>
                  <a:pt x="1041339" y="1530708"/>
                  <a:pt x="1038964" y="1529778"/>
                  <a:pt x="1036693" y="1528849"/>
                </a:cubicBezTo>
                <a:cubicBezTo>
                  <a:pt x="1035247" y="1526990"/>
                  <a:pt x="1034628" y="1525131"/>
                  <a:pt x="1034834" y="1523273"/>
                </a:cubicBezTo>
                <a:cubicBezTo>
                  <a:pt x="1035040" y="1521569"/>
                  <a:pt x="1035866" y="1519865"/>
                  <a:pt x="1037312" y="1518781"/>
                </a:cubicBezTo>
                <a:cubicBezTo>
                  <a:pt x="1038345" y="1518006"/>
                  <a:pt x="1039584" y="1517541"/>
                  <a:pt x="1040926" y="1517386"/>
                </a:cubicBezTo>
                <a:lnTo>
                  <a:pt x="1041133" y="1517541"/>
                </a:lnTo>
                <a:lnTo>
                  <a:pt x="1040306" y="1516302"/>
                </a:lnTo>
                <a:cubicBezTo>
                  <a:pt x="1039997" y="1515683"/>
                  <a:pt x="1039894" y="1515063"/>
                  <a:pt x="1040306" y="1514598"/>
                </a:cubicBezTo>
                <a:cubicBezTo>
                  <a:pt x="1041236" y="1514444"/>
                  <a:pt x="1041236" y="1513669"/>
                  <a:pt x="1042062" y="1513514"/>
                </a:cubicBezTo>
                <a:cubicBezTo>
                  <a:pt x="1043817" y="1512430"/>
                  <a:pt x="1044643" y="1512275"/>
                  <a:pt x="1045572" y="1513050"/>
                </a:cubicBezTo>
                <a:close/>
                <a:moveTo>
                  <a:pt x="3789908" y="1513030"/>
                </a:moveTo>
                <a:cubicBezTo>
                  <a:pt x="3790975" y="1513172"/>
                  <a:pt x="3792042" y="1513457"/>
                  <a:pt x="3792896" y="1513599"/>
                </a:cubicBezTo>
                <a:cubicBezTo>
                  <a:pt x="3793749" y="1513030"/>
                  <a:pt x="3795243" y="1513314"/>
                  <a:pt x="3795884" y="1514310"/>
                </a:cubicBezTo>
                <a:cubicBezTo>
                  <a:pt x="3795884" y="1514310"/>
                  <a:pt x="3797377" y="1514737"/>
                  <a:pt x="3798444" y="1514025"/>
                </a:cubicBezTo>
                <a:cubicBezTo>
                  <a:pt x="3801432" y="1514879"/>
                  <a:pt x="3802073" y="1515875"/>
                  <a:pt x="3802499" y="1516871"/>
                </a:cubicBezTo>
                <a:cubicBezTo>
                  <a:pt x="3802499" y="1516871"/>
                  <a:pt x="3801006" y="1516444"/>
                  <a:pt x="3799939" y="1517156"/>
                </a:cubicBezTo>
                <a:cubicBezTo>
                  <a:pt x="3799939" y="1517156"/>
                  <a:pt x="3798444" y="1516729"/>
                  <a:pt x="3796951" y="1516444"/>
                </a:cubicBezTo>
                <a:cubicBezTo>
                  <a:pt x="3796951" y="1516444"/>
                  <a:pt x="3795884" y="1517013"/>
                  <a:pt x="3794816" y="1517582"/>
                </a:cubicBezTo>
                <a:cubicBezTo>
                  <a:pt x="3790761" y="1517582"/>
                  <a:pt x="3788201" y="1517867"/>
                  <a:pt x="3787133" y="1513172"/>
                </a:cubicBezTo>
                <a:cubicBezTo>
                  <a:pt x="3787560" y="1512887"/>
                  <a:pt x="3788627" y="1512887"/>
                  <a:pt x="3789908" y="1513030"/>
                </a:cubicBezTo>
                <a:close/>
                <a:moveTo>
                  <a:pt x="5394397" y="1512034"/>
                </a:moveTo>
                <a:cubicBezTo>
                  <a:pt x="5396959" y="1512603"/>
                  <a:pt x="5400800" y="1513030"/>
                  <a:pt x="5402080" y="1516017"/>
                </a:cubicBezTo>
                <a:cubicBezTo>
                  <a:pt x="5402508" y="1517013"/>
                  <a:pt x="5402721" y="1518294"/>
                  <a:pt x="5402508" y="1520001"/>
                </a:cubicBezTo>
                <a:cubicBezTo>
                  <a:pt x="5403148" y="1520997"/>
                  <a:pt x="5399947" y="1524411"/>
                  <a:pt x="5398452" y="1523984"/>
                </a:cubicBezTo>
                <a:cubicBezTo>
                  <a:pt x="5394184" y="1523842"/>
                  <a:pt x="5394184" y="1519574"/>
                  <a:pt x="5392264" y="1514879"/>
                </a:cubicBezTo>
                <a:cubicBezTo>
                  <a:pt x="5393971" y="1515306"/>
                  <a:pt x="5394184" y="1513741"/>
                  <a:pt x="5394397" y="1512034"/>
                </a:cubicBezTo>
                <a:close/>
                <a:moveTo>
                  <a:pt x="1165143" y="1511965"/>
                </a:moveTo>
                <a:cubicBezTo>
                  <a:pt x="1166072" y="1511655"/>
                  <a:pt x="1167105" y="1511655"/>
                  <a:pt x="1168344" y="1511965"/>
                </a:cubicBezTo>
                <a:cubicBezTo>
                  <a:pt x="1167828" y="1515373"/>
                  <a:pt x="1167828" y="1518316"/>
                  <a:pt x="1168138" y="1521104"/>
                </a:cubicBezTo>
                <a:lnTo>
                  <a:pt x="1168344" y="1523583"/>
                </a:lnTo>
                <a:lnTo>
                  <a:pt x="1170513" y="1521879"/>
                </a:lnTo>
                <a:cubicBezTo>
                  <a:pt x="1171958" y="1521259"/>
                  <a:pt x="1173920" y="1520949"/>
                  <a:pt x="1176398" y="1521414"/>
                </a:cubicBezTo>
                <a:cubicBezTo>
                  <a:pt x="1181974" y="1522498"/>
                  <a:pt x="1187653" y="1525286"/>
                  <a:pt x="1186104" y="1533961"/>
                </a:cubicBezTo>
                <a:cubicBezTo>
                  <a:pt x="1186311" y="1535819"/>
                  <a:pt x="1185898" y="1535045"/>
                  <a:pt x="1185588" y="1536284"/>
                </a:cubicBezTo>
                <a:cubicBezTo>
                  <a:pt x="1185382" y="1537368"/>
                  <a:pt x="1185485" y="1539227"/>
                  <a:pt x="1185898" y="1540001"/>
                </a:cubicBezTo>
                <a:cubicBezTo>
                  <a:pt x="1181561" y="1539227"/>
                  <a:pt x="1181458" y="1542325"/>
                  <a:pt x="1174746" y="1540931"/>
                </a:cubicBezTo>
                <a:cubicBezTo>
                  <a:pt x="1168138" y="1539847"/>
                  <a:pt x="1165557" y="1536284"/>
                  <a:pt x="1164834" y="1532721"/>
                </a:cubicBezTo>
                <a:lnTo>
                  <a:pt x="1164730" y="1529933"/>
                </a:lnTo>
                <a:lnTo>
                  <a:pt x="1162149" y="1529159"/>
                </a:lnTo>
                <a:cubicBezTo>
                  <a:pt x="1165040" y="1523892"/>
                  <a:pt x="1160187" y="1522653"/>
                  <a:pt x="1158638" y="1520020"/>
                </a:cubicBezTo>
                <a:cubicBezTo>
                  <a:pt x="1158122" y="1519090"/>
                  <a:pt x="1158019" y="1518006"/>
                  <a:pt x="1158638" y="1516612"/>
                </a:cubicBezTo>
                <a:cubicBezTo>
                  <a:pt x="1160703" y="1515063"/>
                  <a:pt x="1162252" y="1512740"/>
                  <a:pt x="1165143" y="1511965"/>
                </a:cubicBezTo>
                <a:close/>
                <a:moveTo>
                  <a:pt x="1088643" y="1511810"/>
                </a:moveTo>
                <a:cubicBezTo>
                  <a:pt x="1089534" y="1511423"/>
                  <a:pt x="1090386" y="1511268"/>
                  <a:pt x="1091728" y="1512740"/>
                </a:cubicBezTo>
                <a:cubicBezTo>
                  <a:pt x="1092141" y="1514444"/>
                  <a:pt x="1091831" y="1516302"/>
                  <a:pt x="1089766" y="1518471"/>
                </a:cubicBezTo>
                <a:lnTo>
                  <a:pt x="1088218" y="1517851"/>
                </a:lnTo>
                <a:lnTo>
                  <a:pt x="1088321" y="1518006"/>
                </a:lnTo>
                <a:cubicBezTo>
                  <a:pt x="1088011" y="1519400"/>
                  <a:pt x="1087082" y="1520484"/>
                  <a:pt x="1085843" y="1521569"/>
                </a:cubicBezTo>
                <a:cubicBezTo>
                  <a:pt x="1083468" y="1523428"/>
                  <a:pt x="1079854" y="1524357"/>
                  <a:pt x="1077169" y="1523273"/>
                </a:cubicBezTo>
                <a:cubicBezTo>
                  <a:pt x="1077789" y="1518471"/>
                  <a:pt x="1079131" y="1515063"/>
                  <a:pt x="1082848" y="1513979"/>
                </a:cubicBezTo>
                <a:lnTo>
                  <a:pt x="1085533" y="1513824"/>
                </a:lnTo>
                <a:lnTo>
                  <a:pt x="1085326" y="1512275"/>
                </a:lnTo>
                <a:cubicBezTo>
                  <a:pt x="1086824" y="1512817"/>
                  <a:pt x="1087753" y="1512197"/>
                  <a:pt x="1088643" y="1511810"/>
                </a:cubicBezTo>
                <a:close/>
                <a:moveTo>
                  <a:pt x="5106281" y="1511465"/>
                </a:moveTo>
                <a:lnTo>
                  <a:pt x="5105213" y="1511607"/>
                </a:lnTo>
                <a:lnTo>
                  <a:pt x="5105427" y="1511749"/>
                </a:lnTo>
                <a:close/>
                <a:moveTo>
                  <a:pt x="5676325" y="1510895"/>
                </a:moveTo>
                <a:cubicBezTo>
                  <a:pt x="5677605" y="1511038"/>
                  <a:pt x="5679100" y="1511607"/>
                  <a:pt x="5680593" y="1512603"/>
                </a:cubicBezTo>
                <a:cubicBezTo>
                  <a:pt x="5677819" y="1516586"/>
                  <a:pt x="5676325" y="1520428"/>
                  <a:pt x="5675045" y="1524269"/>
                </a:cubicBezTo>
                <a:lnTo>
                  <a:pt x="5673977" y="1527399"/>
                </a:lnTo>
                <a:lnTo>
                  <a:pt x="5677605" y="1526403"/>
                </a:lnTo>
                <a:cubicBezTo>
                  <a:pt x="5679953" y="1526403"/>
                  <a:pt x="5682301" y="1527114"/>
                  <a:pt x="5685289" y="1528964"/>
                </a:cubicBezTo>
                <a:cubicBezTo>
                  <a:pt x="5691691" y="1533517"/>
                  <a:pt x="5697240" y="1540345"/>
                  <a:pt x="5690624" y="1550304"/>
                </a:cubicBezTo>
                <a:cubicBezTo>
                  <a:pt x="5689771" y="1552865"/>
                  <a:pt x="5689557" y="1551585"/>
                  <a:pt x="5688704" y="1552865"/>
                </a:cubicBezTo>
                <a:cubicBezTo>
                  <a:pt x="5687636" y="1554145"/>
                  <a:pt x="5686783" y="1556564"/>
                  <a:pt x="5686996" y="1557702"/>
                </a:cubicBezTo>
                <a:cubicBezTo>
                  <a:pt x="5681874" y="1554430"/>
                  <a:pt x="5680167" y="1558129"/>
                  <a:pt x="5672484" y="1552580"/>
                </a:cubicBezTo>
                <a:cubicBezTo>
                  <a:pt x="5664800" y="1547601"/>
                  <a:pt x="5663520" y="1541626"/>
                  <a:pt x="5664374" y="1536789"/>
                </a:cubicBezTo>
                <a:lnTo>
                  <a:pt x="5665867" y="1533232"/>
                </a:lnTo>
                <a:lnTo>
                  <a:pt x="5663093" y="1530813"/>
                </a:lnTo>
                <a:cubicBezTo>
                  <a:pt x="5671843" y="1524127"/>
                  <a:pt x="5659038" y="1518720"/>
                  <a:pt x="5665654" y="1513172"/>
                </a:cubicBezTo>
                <a:cubicBezTo>
                  <a:pt x="5669069" y="1512318"/>
                  <a:pt x="5672484" y="1510327"/>
                  <a:pt x="5676325" y="1510895"/>
                </a:cubicBezTo>
                <a:close/>
                <a:moveTo>
                  <a:pt x="4715509" y="1510895"/>
                </a:moveTo>
                <a:cubicBezTo>
                  <a:pt x="4717217" y="1510469"/>
                  <a:pt x="4719351" y="1510611"/>
                  <a:pt x="4721058" y="1511180"/>
                </a:cubicBezTo>
                <a:cubicBezTo>
                  <a:pt x="4719991" y="1511180"/>
                  <a:pt x="4719991" y="1511180"/>
                  <a:pt x="4719991" y="1511180"/>
                </a:cubicBezTo>
                <a:cubicBezTo>
                  <a:pt x="4718924" y="1512461"/>
                  <a:pt x="4719991" y="1512461"/>
                  <a:pt x="4720205" y="1513599"/>
                </a:cubicBezTo>
                <a:cubicBezTo>
                  <a:pt x="4720205" y="1513599"/>
                  <a:pt x="4719991" y="1512461"/>
                  <a:pt x="4721271" y="1513599"/>
                </a:cubicBezTo>
                <a:cubicBezTo>
                  <a:pt x="4720205" y="1513599"/>
                  <a:pt x="4720418" y="1514879"/>
                  <a:pt x="4720631" y="1516017"/>
                </a:cubicBezTo>
                <a:cubicBezTo>
                  <a:pt x="4718497" y="1518578"/>
                  <a:pt x="4715509" y="1521281"/>
                  <a:pt x="4712948" y="1520143"/>
                </a:cubicBezTo>
                <a:cubicBezTo>
                  <a:pt x="4710387" y="1517867"/>
                  <a:pt x="4711027" y="1515306"/>
                  <a:pt x="4712095" y="1514025"/>
                </a:cubicBezTo>
                <a:cubicBezTo>
                  <a:pt x="4712522" y="1512318"/>
                  <a:pt x="4713802" y="1511322"/>
                  <a:pt x="4715509" y="1510895"/>
                </a:cubicBezTo>
                <a:close/>
                <a:moveTo>
                  <a:pt x="1806674" y="1510106"/>
                </a:moveTo>
                <a:cubicBezTo>
                  <a:pt x="1807810" y="1510726"/>
                  <a:pt x="1808636" y="1510571"/>
                  <a:pt x="1808533" y="1512275"/>
                </a:cubicBezTo>
                <a:cubicBezTo>
                  <a:pt x="1808842" y="1513205"/>
                  <a:pt x="1808327" y="1514134"/>
                  <a:pt x="1808739" y="1514908"/>
                </a:cubicBezTo>
                <a:cubicBezTo>
                  <a:pt x="1808739" y="1514908"/>
                  <a:pt x="1808120" y="1515373"/>
                  <a:pt x="1807500" y="1515683"/>
                </a:cubicBezTo>
                <a:cubicBezTo>
                  <a:pt x="1806777" y="1515993"/>
                  <a:pt x="1806055" y="1516302"/>
                  <a:pt x="1805435" y="1515993"/>
                </a:cubicBezTo>
                <a:cubicBezTo>
                  <a:pt x="1804506" y="1515838"/>
                  <a:pt x="1804403" y="1514908"/>
                  <a:pt x="1804403" y="1513979"/>
                </a:cubicBezTo>
                <a:cubicBezTo>
                  <a:pt x="1804506" y="1513050"/>
                  <a:pt x="1804816" y="1512120"/>
                  <a:pt x="1804609" y="1511655"/>
                </a:cubicBezTo>
                <a:cubicBezTo>
                  <a:pt x="1804816" y="1511191"/>
                  <a:pt x="1805126" y="1510726"/>
                  <a:pt x="1805435" y="1510416"/>
                </a:cubicBezTo>
                <a:cubicBezTo>
                  <a:pt x="1805745" y="1509951"/>
                  <a:pt x="1806158" y="1509797"/>
                  <a:pt x="1806674" y="1510106"/>
                </a:cubicBezTo>
                <a:close/>
                <a:moveTo>
                  <a:pt x="3648411" y="1509615"/>
                </a:moveTo>
                <a:cubicBezTo>
                  <a:pt x="3647770" y="1511180"/>
                  <a:pt x="3647770" y="1511180"/>
                  <a:pt x="3647983" y="1512461"/>
                </a:cubicBezTo>
                <a:cubicBezTo>
                  <a:pt x="3647983" y="1512461"/>
                  <a:pt x="3646703" y="1511465"/>
                  <a:pt x="3646703" y="1511465"/>
                </a:cubicBezTo>
                <a:cubicBezTo>
                  <a:pt x="3647343" y="1509900"/>
                  <a:pt x="3646276" y="1510327"/>
                  <a:pt x="3648411" y="1509615"/>
                </a:cubicBezTo>
                <a:close/>
                <a:moveTo>
                  <a:pt x="3690667" y="1508904"/>
                </a:moveTo>
                <a:lnTo>
                  <a:pt x="3696003" y="1514879"/>
                </a:lnTo>
                <a:lnTo>
                  <a:pt x="3698991" y="1514310"/>
                </a:lnTo>
                <a:cubicBezTo>
                  <a:pt x="3700485" y="1514879"/>
                  <a:pt x="3701765" y="1516160"/>
                  <a:pt x="3703259" y="1518151"/>
                </a:cubicBezTo>
                <a:cubicBezTo>
                  <a:pt x="3701552" y="1519005"/>
                  <a:pt x="3700058" y="1519147"/>
                  <a:pt x="3698564" y="1518578"/>
                </a:cubicBezTo>
                <a:lnTo>
                  <a:pt x="3698137" y="1518294"/>
                </a:lnTo>
                <a:lnTo>
                  <a:pt x="3701765" y="1524553"/>
                </a:lnTo>
                <a:cubicBezTo>
                  <a:pt x="3703259" y="1527399"/>
                  <a:pt x="3704753" y="1529960"/>
                  <a:pt x="3707101" y="1531809"/>
                </a:cubicBezTo>
                <a:cubicBezTo>
                  <a:pt x="3707101" y="1531809"/>
                  <a:pt x="3707101" y="1531809"/>
                  <a:pt x="3706461" y="1535081"/>
                </a:cubicBezTo>
                <a:cubicBezTo>
                  <a:pt x="3707101" y="1536077"/>
                  <a:pt x="3707314" y="1536077"/>
                  <a:pt x="3707314" y="1536077"/>
                </a:cubicBezTo>
                <a:cubicBezTo>
                  <a:pt x="3707955" y="1537216"/>
                  <a:pt x="3706034" y="1538354"/>
                  <a:pt x="3706034" y="1538354"/>
                </a:cubicBezTo>
                <a:cubicBezTo>
                  <a:pt x="3703473" y="1538638"/>
                  <a:pt x="3702405" y="1534939"/>
                  <a:pt x="3700912" y="1532805"/>
                </a:cubicBezTo>
                <a:cubicBezTo>
                  <a:pt x="3698351" y="1533090"/>
                  <a:pt x="3700272" y="1527541"/>
                  <a:pt x="3697710" y="1527825"/>
                </a:cubicBezTo>
                <a:cubicBezTo>
                  <a:pt x="3698778" y="1521139"/>
                  <a:pt x="3690667" y="1519147"/>
                  <a:pt x="3690667" y="1508904"/>
                </a:cubicBezTo>
                <a:close/>
                <a:moveTo>
                  <a:pt x="5754437" y="1508193"/>
                </a:moveTo>
                <a:cubicBezTo>
                  <a:pt x="5765535" y="1511607"/>
                  <a:pt x="5775352" y="1540061"/>
                  <a:pt x="5764254" y="1545894"/>
                </a:cubicBezTo>
                <a:cubicBezTo>
                  <a:pt x="5761906" y="1532094"/>
                  <a:pt x="5754223" y="1524127"/>
                  <a:pt x="5754437" y="1508193"/>
                </a:cubicBezTo>
                <a:close/>
                <a:moveTo>
                  <a:pt x="3571153" y="1508193"/>
                </a:moveTo>
                <a:cubicBezTo>
                  <a:pt x="3578195" y="1511892"/>
                  <a:pt x="3571579" y="1518578"/>
                  <a:pt x="3568165" y="1518294"/>
                </a:cubicBezTo>
                <a:cubicBezTo>
                  <a:pt x="3562189" y="1514595"/>
                  <a:pt x="3567524" y="1508050"/>
                  <a:pt x="3571153" y="1508193"/>
                </a:cubicBezTo>
                <a:close/>
                <a:moveTo>
                  <a:pt x="989827" y="1507938"/>
                </a:moveTo>
                <a:cubicBezTo>
                  <a:pt x="992835" y="1508170"/>
                  <a:pt x="996423" y="1509254"/>
                  <a:pt x="999107" y="1509487"/>
                </a:cubicBezTo>
                <a:cubicBezTo>
                  <a:pt x="999830" y="1513050"/>
                  <a:pt x="999624" y="1514289"/>
                  <a:pt x="997971" y="1517696"/>
                </a:cubicBezTo>
                <a:cubicBezTo>
                  <a:pt x="992189" y="1519090"/>
                  <a:pt x="988266" y="1516922"/>
                  <a:pt x="984239" y="1514908"/>
                </a:cubicBezTo>
                <a:cubicBezTo>
                  <a:pt x="984032" y="1513514"/>
                  <a:pt x="983929" y="1512275"/>
                  <a:pt x="984032" y="1511501"/>
                </a:cubicBezTo>
                <a:cubicBezTo>
                  <a:pt x="984393" y="1508325"/>
                  <a:pt x="986820" y="1507706"/>
                  <a:pt x="989827" y="1507938"/>
                </a:cubicBezTo>
                <a:close/>
                <a:moveTo>
                  <a:pt x="1645181" y="1507783"/>
                </a:moveTo>
                <a:cubicBezTo>
                  <a:pt x="1646317" y="1507473"/>
                  <a:pt x="1649415" y="1506854"/>
                  <a:pt x="1649725" y="1508093"/>
                </a:cubicBezTo>
                <a:cubicBezTo>
                  <a:pt x="1650344" y="1510262"/>
                  <a:pt x="1649828" y="1512895"/>
                  <a:pt x="1648692" y="1513205"/>
                </a:cubicBezTo>
                <a:cubicBezTo>
                  <a:pt x="1646937" y="1513824"/>
                  <a:pt x="1645078" y="1514444"/>
                  <a:pt x="1643942" y="1513359"/>
                </a:cubicBezTo>
                <a:cubicBezTo>
                  <a:pt x="1643530" y="1513050"/>
                  <a:pt x="1643220" y="1512430"/>
                  <a:pt x="1642910" y="1511501"/>
                </a:cubicBezTo>
                <a:cubicBezTo>
                  <a:pt x="1642910" y="1511501"/>
                  <a:pt x="1642910" y="1511501"/>
                  <a:pt x="1643426" y="1510726"/>
                </a:cubicBezTo>
                <a:cubicBezTo>
                  <a:pt x="1644252" y="1509332"/>
                  <a:pt x="1644665" y="1508558"/>
                  <a:pt x="1645181" y="1507783"/>
                </a:cubicBezTo>
                <a:close/>
                <a:moveTo>
                  <a:pt x="1285230" y="1507008"/>
                </a:moveTo>
                <a:lnTo>
                  <a:pt x="1290290" y="1511965"/>
                </a:lnTo>
                <a:lnTo>
                  <a:pt x="1294420" y="1510881"/>
                </a:lnTo>
                <a:cubicBezTo>
                  <a:pt x="1293801" y="1513205"/>
                  <a:pt x="1299067" y="1514598"/>
                  <a:pt x="1298137" y="1518161"/>
                </a:cubicBezTo>
                <a:cubicBezTo>
                  <a:pt x="1296589" y="1528849"/>
                  <a:pt x="1293388" y="1529004"/>
                  <a:pt x="1286676" y="1530553"/>
                </a:cubicBezTo>
                <a:cubicBezTo>
                  <a:pt x="1287502" y="1530088"/>
                  <a:pt x="1286263" y="1529778"/>
                  <a:pt x="1286263" y="1529778"/>
                </a:cubicBezTo>
                <a:cubicBezTo>
                  <a:pt x="1283888" y="1529468"/>
                  <a:pt x="1285850" y="1534116"/>
                  <a:pt x="1282649" y="1534270"/>
                </a:cubicBezTo>
                <a:cubicBezTo>
                  <a:pt x="1277590" y="1533961"/>
                  <a:pt x="1275628" y="1528229"/>
                  <a:pt x="1274801" y="1525131"/>
                </a:cubicBezTo>
                <a:lnTo>
                  <a:pt x="1274698" y="1524512"/>
                </a:lnTo>
                <a:lnTo>
                  <a:pt x="1273872" y="1523737"/>
                </a:lnTo>
                <a:lnTo>
                  <a:pt x="1273666" y="1523892"/>
                </a:lnTo>
                <a:lnTo>
                  <a:pt x="1273666" y="1523583"/>
                </a:lnTo>
                <a:lnTo>
                  <a:pt x="1272220" y="1522033"/>
                </a:lnTo>
                <a:lnTo>
                  <a:pt x="1273459" y="1520949"/>
                </a:lnTo>
                <a:lnTo>
                  <a:pt x="1273769" y="1518316"/>
                </a:lnTo>
                <a:cubicBezTo>
                  <a:pt x="1274079" y="1517541"/>
                  <a:pt x="1274698" y="1517077"/>
                  <a:pt x="1275834" y="1517231"/>
                </a:cubicBezTo>
                <a:cubicBezTo>
                  <a:pt x="1277796" y="1516922"/>
                  <a:pt x="1277899" y="1518935"/>
                  <a:pt x="1280377" y="1519245"/>
                </a:cubicBezTo>
                <a:cubicBezTo>
                  <a:pt x="1282546" y="1519245"/>
                  <a:pt x="1283888" y="1517077"/>
                  <a:pt x="1285747" y="1515063"/>
                </a:cubicBezTo>
                <a:lnTo>
                  <a:pt x="1288225" y="1512895"/>
                </a:lnTo>
                <a:lnTo>
                  <a:pt x="1287089" y="1513205"/>
                </a:lnTo>
                <a:cubicBezTo>
                  <a:pt x="1282959" y="1513669"/>
                  <a:pt x="1277383" y="1512275"/>
                  <a:pt x="1276247" y="1507318"/>
                </a:cubicBezTo>
                <a:cubicBezTo>
                  <a:pt x="1280274" y="1505460"/>
                  <a:pt x="1283062" y="1505769"/>
                  <a:pt x="1285230" y="1507008"/>
                </a:cubicBezTo>
                <a:close/>
                <a:moveTo>
                  <a:pt x="1674093" y="1506389"/>
                </a:moveTo>
                <a:cubicBezTo>
                  <a:pt x="1674609" y="1508248"/>
                  <a:pt x="1676468" y="1509022"/>
                  <a:pt x="1675745" y="1511810"/>
                </a:cubicBezTo>
                <a:cubicBezTo>
                  <a:pt x="1673267" y="1511501"/>
                  <a:pt x="1671408" y="1510726"/>
                  <a:pt x="1669034" y="1510571"/>
                </a:cubicBezTo>
                <a:cubicBezTo>
                  <a:pt x="1668724" y="1509642"/>
                  <a:pt x="1668724" y="1508867"/>
                  <a:pt x="1668931" y="1508402"/>
                </a:cubicBezTo>
                <a:cubicBezTo>
                  <a:pt x="1669137" y="1507938"/>
                  <a:pt x="1669550" y="1507473"/>
                  <a:pt x="1670066" y="1507318"/>
                </a:cubicBezTo>
                <a:cubicBezTo>
                  <a:pt x="1671099" y="1506698"/>
                  <a:pt x="1672544" y="1506544"/>
                  <a:pt x="1674093" y="1506389"/>
                </a:cubicBezTo>
                <a:close/>
                <a:moveTo>
                  <a:pt x="1522513" y="1506079"/>
                </a:moveTo>
                <a:cubicBezTo>
                  <a:pt x="1524268" y="1505460"/>
                  <a:pt x="1526643" y="1506079"/>
                  <a:pt x="1528296" y="1508712"/>
                </a:cubicBezTo>
                <a:cubicBezTo>
                  <a:pt x="1525921" y="1512585"/>
                  <a:pt x="1523442" y="1513050"/>
                  <a:pt x="1520551" y="1511965"/>
                </a:cubicBezTo>
                <a:cubicBezTo>
                  <a:pt x="1519726" y="1509022"/>
                  <a:pt x="1520861" y="1506854"/>
                  <a:pt x="1522513" y="1506079"/>
                </a:cubicBezTo>
                <a:close/>
                <a:moveTo>
                  <a:pt x="4857006" y="1506058"/>
                </a:moveTo>
                <a:cubicBezTo>
                  <a:pt x="4858501" y="1506486"/>
                  <a:pt x="4859994" y="1508193"/>
                  <a:pt x="4860635" y="1509900"/>
                </a:cubicBezTo>
                <a:cubicBezTo>
                  <a:pt x="4861061" y="1511038"/>
                  <a:pt x="4861488" y="1512176"/>
                  <a:pt x="4861275" y="1513172"/>
                </a:cubicBezTo>
                <a:cubicBezTo>
                  <a:pt x="4857006" y="1518863"/>
                  <a:pt x="4851458" y="1512318"/>
                  <a:pt x="4851885" y="1508620"/>
                </a:cubicBezTo>
                <a:cubicBezTo>
                  <a:pt x="4853592" y="1506058"/>
                  <a:pt x="4855513" y="1505489"/>
                  <a:pt x="4857006" y="1506058"/>
                </a:cubicBezTo>
                <a:close/>
                <a:moveTo>
                  <a:pt x="1027503" y="1505924"/>
                </a:moveTo>
                <a:cubicBezTo>
                  <a:pt x="1032253" y="1511036"/>
                  <a:pt x="1035350" y="1512430"/>
                  <a:pt x="1038551" y="1516922"/>
                </a:cubicBezTo>
                <a:cubicBezTo>
                  <a:pt x="1038138" y="1517696"/>
                  <a:pt x="1037312" y="1517386"/>
                  <a:pt x="1036899" y="1518161"/>
                </a:cubicBezTo>
                <a:cubicBezTo>
                  <a:pt x="1036280" y="1518316"/>
                  <a:pt x="1035454" y="1518161"/>
                  <a:pt x="1034628" y="1517696"/>
                </a:cubicBezTo>
                <a:cubicBezTo>
                  <a:pt x="1031840" y="1516302"/>
                  <a:pt x="1028329" y="1512895"/>
                  <a:pt x="1028638" y="1512275"/>
                </a:cubicBezTo>
                <a:cubicBezTo>
                  <a:pt x="1027916" y="1511965"/>
                  <a:pt x="1028329" y="1511191"/>
                  <a:pt x="1027503" y="1510881"/>
                </a:cubicBezTo>
                <a:cubicBezTo>
                  <a:pt x="1027503" y="1510881"/>
                  <a:pt x="1026780" y="1510571"/>
                  <a:pt x="1026470" y="1509332"/>
                </a:cubicBezTo>
                <a:cubicBezTo>
                  <a:pt x="1026264" y="1508867"/>
                  <a:pt x="1026057" y="1508248"/>
                  <a:pt x="1026161" y="1507628"/>
                </a:cubicBezTo>
                <a:cubicBezTo>
                  <a:pt x="1026264" y="1507163"/>
                  <a:pt x="1026677" y="1506544"/>
                  <a:pt x="1027503" y="1505924"/>
                </a:cubicBezTo>
                <a:close/>
                <a:moveTo>
                  <a:pt x="4658953" y="1505916"/>
                </a:moveTo>
                <a:cubicBezTo>
                  <a:pt x="4659593" y="1505632"/>
                  <a:pt x="4660447" y="1505632"/>
                  <a:pt x="4661087" y="1506201"/>
                </a:cubicBezTo>
                <a:cubicBezTo>
                  <a:pt x="4658953" y="1508762"/>
                  <a:pt x="4657459" y="1513741"/>
                  <a:pt x="4652764" y="1512745"/>
                </a:cubicBezTo>
                <a:cubicBezTo>
                  <a:pt x="4654258" y="1510895"/>
                  <a:pt x="4656605" y="1506770"/>
                  <a:pt x="4658953" y="1505916"/>
                </a:cubicBezTo>
                <a:close/>
                <a:moveTo>
                  <a:pt x="4238302" y="1505916"/>
                </a:moveTo>
                <a:cubicBezTo>
                  <a:pt x="4241931" y="1505489"/>
                  <a:pt x="4244705" y="1508620"/>
                  <a:pt x="4247693" y="1512461"/>
                </a:cubicBezTo>
                <a:cubicBezTo>
                  <a:pt x="4246199" y="1514737"/>
                  <a:pt x="4245772" y="1517156"/>
                  <a:pt x="4244065" y="1519432"/>
                </a:cubicBezTo>
                <a:cubicBezTo>
                  <a:pt x="4240437" y="1520854"/>
                  <a:pt x="4232967" y="1517298"/>
                  <a:pt x="4232327" y="1512603"/>
                </a:cubicBezTo>
                <a:cubicBezTo>
                  <a:pt x="4232327" y="1511038"/>
                  <a:pt x="4232754" y="1509330"/>
                  <a:pt x="4234461" y="1507766"/>
                </a:cubicBezTo>
                <a:cubicBezTo>
                  <a:pt x="4235741" y="1506628"/>
                  <a:pt x="4237022" y="1506058"/>
                  <a:pt x="4238302" y="1505916"/>
                </a:cubicBezTo>
                <a:close/>
                <a:moveTo>
                  <a:pt x="3719479" y="1505347"/>
                </a:moveTo>
                <a:cubicBezTo>
                  <a:pt x="3719266" y="1506343"/>
                  <a:pt x="3718626" y="1507481"/>
                  <a:pt x="3717772" y="1508620"/>
                </a:cubicBezTo>
                <a:cubicBezTo>
                  <a:pt x="3714571" y="1511892"/>
                  <a:pt x="3708168" y="1515022"/>
                  <a:pt x="3704540" y="1516017"/>
                </a:cubicBezTo>
                <a:cubicBezTo>
                  <a:pt x="3704753" y="1511749"/>
                  <a:pt x="3714571" y="1506628"/>
                  <a:pt x="3719479" y="1505347"/>
                </a:cubicBezTo>
                <a:close/>
                <a:moveTo>
                  <a:pt x="4130312" y="1504920"/>
                </a:moveTo>
                <a:cubicBezTo>
                  <a:pt x="4131380" y="1504920"/>
                  <a:pt x="4132660" y="1504920"/>
                  <a:pt x="4133940" y="1506201"/>
                </a:cubicBezTo>
                <a:cubicBezTo>
                  <a:pt x="4135008" y="1507481"/>
                  <a:pt x="4133727" y="1507339"/>
                  <a:pt x="4135008" y="1507481"/>
                </a:cubicBezTo>
                <a:cubicBezTo>
                  <a:pt x="4136288" y="1508620"/>
                  <a:pt x="4136075" y="1507481"/>
                  <a:pt x="4136075" y="1507481"/>
                </a:cubicBezTo>
                <a:cubicBezTo>
                  <a:pt x="4136075" y="1507481"/>
                  <a:pt x="4136288" y="1508620"/>
                  <a:pt x="4136288" y="1508620"/>
                </a:cubicBezTo>
                <a:cubicBezTo>
                  <a:pt x="4136288" y="1508620"/>
                  <a:pt x="4136288" y="1508620"/>
                  <a:pt x="4138636" y="1511180"/>
                </a:cubicBezTo>
                <a:cubicBezTo>
                  <a:pt x="4142264" y="1513741"/>
                  <a:pt x="4143544" y="1513741"/>
                  <a:pt x="4145892" y="1515022"/>
                </a:cubicBezTo>
                <a:cubicBezTo>
                  <a:pt x="4148239" y="1517582"/>
                  <a:pt x="4148239" y="1518720"/>
                  <a:pt x="4150801" y="1522419"/>
                </a:cubicBezTo>
                <a:cubicBezTo>
                  <a:pt x="4149733" y="1524838"/>
                  <a:pt x="4149733" y="1524696"/>
                  <a:pt x="4148666" y="1524696"/>
                </a:cubicBezTo>
                <a:cubicBezTo>
                  <a:pt x="4149733" y="1524696"/>
                  <a:pt x="4149733" y="1525976"/>
                  <a:pt x="4151014" y="1527114"/>
                </a:cubicBezTo>
                <a:cubicBezTo>
                  <a:pt x="4154002" y="1529106"/>
                  <a:pt x="4154856" y="1531525"/>
                  <a:pt x="4154642" y="1534228"/>
                </a:cubicBezTo>
                <a:lnTo>
                  <a:pt x="4151654" y="1540203"/>
                </a:lnTo>
                <a:lnTo>
                  <a:pt x="4154002" y="1541483"/>
                </a:lnTo>
                <a:cubicBezTo>
                  <a:pt x="4153789" y="1543191"/>
                  <a:pt x="4154429" y="1545752"/>
                  <a:pt x="4153362" y="1548312"/>
                </a:cubicBezTo>
                <a:cubicBezTo>
                  <a:pt x="4148239" y="1551442"/>
                  <a:pt x="4144185" y="1550447"/>
                  <a:pt x="4141197" y="1546747"/>
                </a:cubicBezTo>
                <a:lnTo>
                  <a:pt x="4141837" y="1545609"/>
                </a:lnTo>
                <a:lnTo>
                  <a:pt x="4140343" y="1545325"/>
                </a:lnTo>
                <a:cubicBezTo>
                  <a:pt x="4139062" y="1545040"/>
                  <a:pt x="4137782" y="1544471"/>
                  <a:pt x="4136502" y="1543191"/>
                </a:cubicBezTo>
                <a:cubicBezTo>
                  <a:pt x="4132873" y="1539491"/>
                  <a:pt x="4130312" y="1530955"/>
                  <a:pt x="4133514" y="1527541"/>
                </a:cubicBezTo>
                <a:cubicBezTo>
                  <a:pt x="4136928" y="1522988"/>
                  <a:pt x="4140343" y="1521993"/>
                  <a:pt x="4143758" y="1522135"/>
                </a:cubicBezTo>
                <a:cubicBezTo>
                  <a:pt x="4143758" y="1522135"/>
                  <a:pt x="4143758" y="1521993"/>
                  <a:pt x="4142691" y="1521993"/>
                </a:cubicBezTo>
                <a:cubicBezTo>
                  <a:pt x="4137782" y="1517013"/>
                  <a:pt x="4129245" y="1508335"/>
                  <a:pt x="4130312" y="1504920"/>
                </a:cubicBezTo>
                <a:close/>
                <a:moveTo>
                  <a:pt x="4300835" y="1504636"/>
                </a:moveTo>
                <a:cubicBezTo>
                  <a:pt x="4301688" y="1505205"/>
                  <a:pt x="4302115" y="1506343"/>
                  <a:pt x="4302115" y="1507766"/>
                </a:cubicBezTo>
                <a:cubicBezTo>
                  <a:pt x="4302755" y="1512034"/>
                  <a:pt x="4300835" y="1519147"/>
                  <a:pt x="4299127" y="1522561"/>
                </a:cubicBezTo>
                <a:cubicBezTo>
                  <a:pt x="4298274" y="1521993"/>
                  <a:pt x="4297847" y="1520854"/>
                  <a:pt x="4297633" y="1519432"/>
                </a:cubicBezTo>
                <a:cubicBezTo>
                  <a:pt x="4297207" y="1515164"/>
                  <a:pt x="4299127" y="1508050"/>
                  <a:pt x="4300835" y="1504636"/>
                </a:cubicBezTo>
                <a:close/>
                <a:moveTo>
                  <a:pt x="1761448" y="1504530"/>
                </a:moveTo>
                <a:cubicBezTo>
                  <a:pt x="1761035" y="1505460"/>
                  <a:pt x="1762068" y="1506079"/>
                  <a:pt x="1763203" y="1506698"/>
                </a:cubicBezTo>
                <a:cubicBezTo>
                  <a:pt x="1762481" y="1508248"/>
                  <a:pt x="1761758" y="1510726"/>
                  <a:pt x="1759486" y="1511036"/>
                </a:cubicBezTo>
                <a:cubicBezTo>
                  <a:pt x="1758660" y="1511191"/>
                  <a:pt x="1757834" y="1511036"/>
                  <a:pt x="1756698" y="1510416"/>
                </a:cubicBezTo>
                <a:cubicBezTo>
                  <a:pt x="1755872" y="1510726"/>
                  <a:pt x="1753807" y="1507628"/>
                  <a:pt x="1754220" y="1506698"/>
                </a:cubicBezTo>
                <a:cubicBezTo>
                  <a:pt x="1754427" y="1505924"/>
                  <a:pt x="1754737" y="1505460"/>
                  <a:pt x="1755149" y="1505150"/>
                </a:cubicBezTo>
                <a:cubicBezTo>
                  <a:pt x="1756389" y="1504220"/>
                  <a:pt x="1758867" y="1504530"/>
                  <a:pt x="1761448" y="1504530"/>
                </a:cubicBezTo>
                <a:close/>
                <a:moveTo>
                  <a:pt x="5639830" y="1504209"/>
                </a:moveTo>
                <a:cubicBezTo>
                  <a:pt x="5641324" y="1505774"/>
                  <a:pt x="5642178" y="1507623"/>
                  <a:pt x="5642605" y="1509615"/>
                </a:cubicBezTo>
                <a:cubicBezTo>
                  <a:pt x="5643458" y="1515733"/>
                  <a:pt x="5639617" y="1523700"/>
                  <a:pt x="5640044" y="1531383"/>
                </a:cubicBezTo>
                <a:cubicBezTo>
                  <a:pt x="5641964" y="1535650"/>
                  <a:pt x="5647727" y="1535081"/>
                  <a:pt x="5645806" y="1544328"/>
                </a:cubicBezTo>
                <a:cubicBezTo>
                  <a:pt x="5631934" y="1543191"/>
                  <a:pt x="5621690" y="1538780"/>
                  <a:pt x="5614647" y="1531667"/>
                </a:cubicBezTo>
                <a:cubicBezTo>
                  <a:pt x="5612299" y="1529248"/>
                  <a:pt x="5610165" y="1526403"/>
                  <a:pt x="5608458" y="1523415"/>
                </a:cubicBezTo>
                <a:cubicBezTo>
                  <a:pt x="5615714" y="1516871"/>
                  <a:pt x="5623824" y="1523131"/>
                  <a:pt x="5630866" y="1525976"/>
                </a:cubicBezTo>
                <a:cubicBezTo>
                  <a:pt x="5631721" y="1517440"/>
                  <a:pt x="5630866" y="1504778"/>
                  <a:pt x="5639830" y="1504209"/>
                </a:cubicBezTo>
                <a:close/>
                <a:moveTo>
                  <a:pt x="4199887" y="1504209"/>
                </a:moveTo>
                <a:cubicBezTo>
                  <a:pt x="4206930" y="1509188"/>
                  <a:pt x="4207784" y="1528252"/>
                  <a:pt x="4204582" y="1531667"/>
                </a:cubicBezTo>
                <a:cubicBezTo>
                  <a:pt x="4200954" y="1527968"/>
                  <a:pt x="4201808" y="1523273"/>
                  <a:pt x="4198180" y="1518294"/>
                </a:cubicBezTo>
                <a:cubicBezTo>
                  <a:pt x="4200314" y="1514879"/>
                  <a:pt x="4196472" y="1508762"/>
                  <a:pt x="4199887" y="1504209"/>
                </a:cubicBezTo>
                <a:close/>
                <a:moveTo>
                  <a:pt x="1596754" y="1504065"/>
                </a:moveTo>
                <a:cubicBezTo>
                  <a:pt x="1598820" y="1503911"/>
                  <a:pt x="1600988" y="1505150"/>
                  <a:pt x="1602124" y="1507008"/>
                </a:cubicBezTo>
                <a:cubicBezTo>
                  <a:pt x="1602950" y="1508248"/>
                  <a:pt x="1603363" y="1509797"/>
                  <a:pt x="1603156" y="1511191"/>
                </a:cubicBezTo>
                <a:cubicBezTo>
                  <a:pt x="1602950" y="1513205"/>
                  <a:pt x="1601504" y="1515063"/>
                  <a:pt x="1598406" y="1516302"/>
                </a:cubicBezTo>
                <a:cubicBezTo>
                  <a:pt x="1594379" y="1514444"/>
                  <a:pt x="1593554" y="1511965"/>
                  <a:pt x="1591178" y="1509797"/>
                </a:cubicBezTo>
                <a:cubicBezTo>
                  <a:pt x="1592521" y="1505924"/>
                  <a:pt x="1594586" y="1504220"/>
                  <a:pt x="1596754" y="1504065"/>
                </a:cubicBezTo>
                <a:close/>
                <a:moveTo>
                  <a:pt x="5868616" y="1503782"/>
                </a:moveTo>
                <a:cubicBezTo>
                  <a:pt x="5869257" y="1504209"/>
                  <a:pt x="5869683" y="1505205"/>
                  <a:pt x="5870323" y="1507055"/>
                </a:cubicBezTo>
                <a:lnTo>
                  <a:pt x="5869257" y="1511465"/>
                </a:lnTo>
                <a:lnTo>
                  <a:pt x="5869897" y="1512745"/>
                </a:lnTo>
                <a:cubicBezTo>
                  <a:pt x="5869897" y="1513741"/>
                  <a:pt x="5869470" y="1514879"/>
                  <a:pt x="5868190" y="1516017"/>
                </a:cubicBezTo>
                <a:lnTo>
                  <a:pt x="5866909" y="1516871"/>
                </a:lnTo>
                <a:lnTo>
                  <a:pt x="5863921" y="1520712"/>
                </a:lnTo>
                <a:lnTo>
                  <a:pt x="5863067" y="1518863"/>
                </a:lnTo>
                <a:lnTo>
                  <a:pt x="5858586" y="1518294"/>
                </a:lnTo>
                <a:cubicBezTo>
                  <a:pt x="5856238" y="1519432"/>
                  <a:pt x="5854744" y="1521708"/>
                  <a:pt x="5852610" y="1520428"/>
                </a:cubicBezTo>
                <a:cubicBezTo>
                  <a:pt x="5856238" y="1518151"/>
                  <a:pt x="5857519" y="1517156"/>
                  <a:pt x="5860079" y="1516017"/>
                </a:cubicBezTo>
                <a:lnTo>
                  <a:pt x="5860720" y="1514310"/>
                </a:lnTo>
                <a:lnTo>
                  <a:pt x="5860507" y="1514168"/>
                </a:lnTo>
                <a:lnTo>
                  <a:pt x="5860933" y="1513599"/>
                </a:lnTo>
                <a:lnTo>
                  <a:pt x="5861574" y="1512461"/>
                </a:lnTo>
                <a:lnTo>
                  <a:pt x="5862000" y="1512176"/>
                </a:lnTo>
                <a:lnTo>
                  <a:pt x="5863494" y="1509330"/>
                </a:lnTo>
                <a:cubicBezTo>
                  <a:pt x="5864775" y="1506770"/>
                  <a:pt x="5865842" y="1504209"/>
                  <a:pt x="5865842" y="1504209"/>
                </a:cubicBezTo>
                <a:cubicBezTo>
                  <a:pt x="5867336" y="1503640"/>
                  <a:pt x="5868190" y="1503356"/>
                  <a:pt x="5868616" y="1503782"/>
                </a:cubicBezTo>
                <a:close/>
                <a:moveTo>
                  <a:pt x="3646917" y="1503782"/>
                </a:moveTo>
                <a:cubicBezTo>
                  <a:pt x="3647130" y="1505063"/>
                  <a:pt x="3647557" y="1506201"/>
                  <a:pt x="3646490" y="1506628"/>
                </a:cubicBezTo>
                <a:cubicBezTo>
                  <a:pt x="3645422" y="1507055"/>
                  <a:pt x="3645209" y="1505774"/>
                  <a:pt x="3645850" y="1504209"/>
                </a:cubicBezTo>
                <a:cubicBezTo>
                  <a:pt x="3645850" y="1504209"/>
                  <a:pt x="3646917" y="1503782"/>
                  <a:pt x="3646917" y="1503782"/>
                </a:cubicBezTo>
                <a:close/>
                <a:moveTo>
                  <a:pt x="4972680" y="1503498"/>
                </a:moveTo>
                <a:cubicBezTo>
                  <a:pt x="4973747" y="1504066"/>
                  <a:pt x="4974814" y="1504636"/>
                  <a:pt x="4975241" y="1503498"/>
                </a:cubicBezTo>
                <a:cubicBezTo>
                  <a:pt x="4976522" y="1506770"/>
                  <a:pt x="4976095" y="1507766"/>
                  <a:pt x="4976522" y="1509473"/>
                </a:cubicBezTo>
                <a:cubicBezTo>
                  <a:pt x="4977162" y="1508477"/>
                  <a:pt x="4977589" y="1510042"/>
                  <a:pt x="4977589" y="1510042"/>
                </a:cubicBezTo>
                <a:cubicBezTo>
                  <a:pt x="4977589" y="1510042"/>
                  <a:pt x="4977589" y="1510184"/>
                  <a:pt x="4980577" y="1509188"/>
                </a:cubicBezTo>
                <a:cubicBezTo>
                  <a:pt x="4980577" y="1509188"/>
                  <a:pt x="4984632" y="1508477"/>
                  <a:pt x="4988046" y="1511180"/>
                </a:cubicBezTo>
                <a:lnTo>
                  <a:pt x="4990394" y="1514168"/>
                </a:lnTo>
                <a:lnTo>
                  <a:pt x="4994876" y="1512461"/>
                </a:lnTo>
                <a:cubicBezTo>
                  <a:pt x="4996583" y="1512318"/>
                  <a:pt x="4998077" y="1512887"/>
                  <a:pt x="4999571" y="1514595"/>
                </a:cubicBezTo>
                <a:cubicBezTo>
                  <a:pt x="4999358" y="1519432"/>
                  <a:pt x="4996370" y="1522419"/>
                  <a:pt x="4992315" y="1525265"/>
                </a:cubicBezTo>
                <a:lnTo>
                  <a:pt x="4989327" y="1527683"/>
                </a:lnTo>
                <a:lnTo>
                  <a:pt x="4988900" y="1528537"/>
                </a:lnTo>
                <a:lnTo>
                  <a:pt x="4985912" y="1530244"/>
                </a:lnTo>
                <a:lnTo>
                  <a:pt x="4980363" y="1534654"/>
                </a:lnTo>
                <a:cubicBezTo>
                  <a:pt x="4978869" y="1538211"/>
                  <a:pt x="4980790" y="1541199"/>
                  <a:pt x="4978442" y="1544898"/>
                </a:cubicBezTo>
                <a:lnTo>
                  <a:pt x="4976949" y="1546320"/>
                </a:lnTo>
                <a:lnTo>
                  <a:pt x="4977162" y="1552296"/>
                </a:lnTo>
                <a:cubicBezTo>
                  <a:pt x="4975028" y="1553292"/>
                  <a:pt x="4971400" y="1549593"/>
                  <a:pt x="4968838" y="1548170"/>
                </a:cubicBezTo>
                <a:cubicBezTo>
                  <a:pt x="4970119" y="1547032"/>
                  <a:pt x="4971186" y="1546036"/>
                  <a:pt x="4969906" y="1545894"/>
                </a:cubicBezTo>
                <a:lnTo>
                  <a:pt x="4972680" y="1544471"/>
                </a:lnTo>
                <a:lnTo>
                  <a:pt x="4971400" y="1541910"/>
                </a:lnTo>
                <a:lnTo>
                  <a:pt x="4970333" y="1543191"/>
                </a:lnTo>
                <a:cubicBezTo>
                  <a:pt x="4967345" y="1545609"/>
                  <a:pt x="4963930" y="1547743"/>
                  <a:pt x="4960515" y="1549593"/>
                </a:cubicBezTo>
                <a:lnTo>
                  <a:pt x="4954539" y="1552296"/>
                </a:lnTo>
                <a:lnTo>
                  <a:pt x="4957100" y="1553719"/>
                </a:lnTo>
                <a:cubicBezTo>
                  <a:pt x="4962009" y="1557275"/>
                  <a:pt x="4961795" y="1561259"/>
                  <a:pt x="4963076" y="1561543"/>
                </a:cubicBezTo>
                <a:cubicBezTo>
                  <a:pt x="4961582" y="1566523"/>
                  <a:pt x="4958381" y="1565811"/>
                  <a:pt x="4953259" y="1566380"/>
                </a:cubicBezTo>
                <a:cubicBezTo>
                  <a:pt x="4953686" y="1564673"/>
                  <a:pt x="4948991" y="1563535"/>
                  <a:pt x="4947496" y="1563108"/>
                </a:cubicBezTo>
                <a:cubicBezTo>
                  <a:pt x="4947924" y="1561543"/>
                  <a:pt x="4946856" y="1560121"/>
                  <a:pt x="4946003" y="1558556"/>
                </a:cubicBezTo>
                <a:lnTo>
                  <a:pt x="4944936" y="1556422"/>
                </a:lnTo>
                <a:lnTo>
                  <a:pt x="4926582" y="1563678"/>
                </a:lnTo>
                <a:cubicBezTo>
                  <a:pt x="4926368" y="1559409"/>
                  <a:pt x="4923380" y="1557702"/>
                  <a:pt x="4924020" y="1550873"/>
                </a:cubicBezTo>
                <a:cubicBezTo>
                  <a:pt x="4934478" y="1548312"/>
                  <a:pt x="4944082" y="1544471"/>
                  <a:pt x="4953472" y="1540772"/>
                </a:cubicBezTo>
                <a:lnTo>
                  <a:pt x="4968412" y="1535650"/>
                </a:lnTo>
                <a:lnTo>
                  <a:pt x="4966704" y="1531667"/>
                </a:lnTo>
                <a:cubicBezTo>
                  <a:pt x="4964997" y="1525976"/>
                  <a:pt x="4964357" y="1520428"/>
                  <a:pt x="4964783" y="1515022"/>
                </a:cubicBezTo>
                <a:cubicBezTo>
                  <a:pt x="4965210" y="1511465"/>
                  <a:pt x="4965851" y="1507908"/>
                  <a:pt x="4967131" y="1504351"/>
                </a:cubicBezTo>
                <a:cubicBezTo>
                  <a:pt x="4969266" y="1504636"/>
                  <a:pt x="4970973" y="1505489"/>
                  <a:pt x="4972466" y="1506770"/>
                </a:cubicBezTo>
                <a:lnTo>
                  <a:pt x="4973107" y="1507766"/>
                </a:lnTo>
                <a:lnTo>
                  <a:pt x="4973107" y="1506343"/>
                </a:lnTo>
                <a:cubicBezTo>
                  <a:pt x="4973107" y="1505205"/>
                  <a:pt x="4973107" y="1504209"/>
                  <a:pt x="4972680" y="1503498"/>
                </a:cubicBezTo>
                <a:close/>
                <a:moveTo>
                  <a:pt x="1624737" y="1503291"/>
                </a:moveTo>
                <a:cubicBezTo>
                  <a:pt x="1627938" y="1508093"/>
                  <a:pt x="1632378" y="1507938"/>
                  <a:pt x="1631139" y="1511965"/>
                </a:cubicBezTo>
                <a:cubicBezTo>
                  <a:pt x="1628454" y="1512120"/>
                  <a:pt x="1625563" y="1509022"/>
                  <a:pt x="1624737" y="1506079"/>
                </a:cubicBezTo>
                <a:cubicBezTo>
                  <a:pt x="1624530" y="1504995"/>
                  <a:pt x="1624427" y="1504065"/>
                  <a:pt x="1624737" y="1503291"/>
                </a:cubicBezTo>
                <a:close/>
                <a:moveTo>
                  <a:pt x="5308816" y="1503213"/>
                </a:moveTo>
                <a:cubicBezTo>
                  <a:pt x="5310097" y="1506343"/>
                  <a:pt x="5308389" y="1512034"/>
                  <a:pt x="5305188" y="1513599"/>
                </a:cubicBezTo>
                <a:cubicBezTo>
                  <a:pt x="5301346" y="1513172"/>
                  <a:pt x="5301560" y="1510469"/>
                  <a:pt x="5298999" y="1510611"/>
                </a:cubicBezTo>
                <a:cubicBezTo>
                  <a:pt x="5300493" y="1504778"/>
                  <a:pt x="5303694" y="1503213"/>
                  <a:pt x="5308816" y="1503213"/>
                </a:cubicBezTo>
                <a:close/>
                <a:moveTo>
                  <a:pt x="4123483" y="1502786"/>
                </a:moveTo>
                <a:cubicBezTo>
                  <a:pt x="4124337" y="1503071"/>
                  <a:pt x="4125190" y="1503640"/>
                  <a:pt x="4125831" y="1504636"/>
                </a:cubicBezTo>
                <a:cubicBezTo>
                  <a:pt x="4124977" y="1510469"/>
                  <a:pt x="4118788" y="1512603"/>
                  <a:pt x="4114946" y="1505774"/>
                </a:cubicBezTo>
                <a:cubicBezTo>
                  <a:pt x="4117934" y="1503782"/>
                  <a:pt x="4120922" y="1501791"/>
                  <a:pt x="4123483" y="1502786"/>
                </a:cubicBezTo>
                <a:close/>
                <a:moveTo>
                  <a:pt x="3591641" y="1502786"/>
                </a:moveTo>
                <a:cubicBezTo>
                  <a:pt x="3592708" y="1503213"/>
                  <a:pt x="3593348" y="1504209"/>
                  <a:pt x="3593988" y="1505632"/>
                </a:cubicBezTo>
                <a:cubicBezTo>
                  <a:pt x="3595696" y="1509757"/>
                  <a:pt x="3596123" y="1517013"/>
                  <a:pt x="3595483" y="1520570"/>
                </a:cubicBezTo>
                <a:cubicBezTo>
                  <a:pt x="3591641" y="1518720"/>
                  <a:pt x="3591001" y="1507623"/>
                  <a:pt x="3591641" y="1502786"/>
                </a:cubicBezTo>
                <a:close/>
                <a:moveTo>
                  <a:pt x="3738901" y="1502217"/>
                </a:moveTo>
                <a:cubicBezTo>
                  <a:pt x="3739327" y="1502217"/>
                  <a:pt x="3739754" y="1502644"/>
                  <a:pt x="3740394" y="1503213"/>
                </a:cubicBezTo>
                <a:cubicBezTo>
                  <a:pt x="3742956" y="1504494"/>
                  <a:pt x="3741675" y="1506912"/>
                  <a:pt x="3744236" y="1509330"/>
                </a:cubicBezTo>
                <a:cubicBezTo>
                  <a:pt x="3748931" y="1513172"/>
                  <a:pt x="3755547" y="1503925"/>
                  <a:pt x="3765364" y="1511465"/>
                </a:cubicBezTo>
                <a:cubicBezTo>
                  <a:pt x="3763017" y="1513741"/>
                  <a:pt x="3767926" y="1520001"/>
                  <a:pt x="3764724" y="1523415"/>
                </a:cubicBezTo>
                <a:lnTo>
                  <a:pt x="3762376" y="1525976"/>
                </a:lnTo>
                <a:lnTo>
                  <a:pt x="3764938" y="1526261"/>
                </a:lnTo>
                <a:cubicBezTo>
                  <a:pt x="3763657" y="1535792"/>
                  <a:pt x="3758748" y="1546036"/>
                  <a:pt x="3757468" y="1548170"/>
                </a:cubicBezTo>
                <a:cubicBezTo>
                  <a:pt x="3756828" y="1549308"/>
                  <a:pt x="3756187" y="1549877"/>
                  <a:pt x="3755547" y="1549877"/>
                </a:cubicBezTo>
                <a:cubicBezTo>
                  <a:pt x="3754693" y="1550020"/>
                  <a:pt x="3753840" y="1549593"/>
                  <a:pt x="3752772" y="1548881"/>
                </a:cubicBezTo>
                <a:cubicBezTo>
                  <a:pt x="3751919" y="1547601"/>
                  <a:pt x="3751492" y="1546320"/>
                  <a:pt x="3751492" y="1545040"/>
                </a:cubicBezTo>
                <a:lnTo>
                  <a:pt x="3750639" y="1545467"/>
                </a:lnTo>
                <a:lnTo>
                  <a:pt x="3750639" y="1545894"/>
                </a:lnTo>
                <a:cubicBezTo>
                  <a:pt x="3749145" y="1550162"/>
                  <a:pt x="3746797" y="1554288"/>
                  <a:pt x="3746370" y="1555995"/>
                </a:cubicBezTo>
                <a:cubicBezTo>
                  <a:pt x="3746370" y="1555995"/>
                  <a:pt x="3746370" y="1557133"/>
                  <a:pt x="3745303" y="1558271"/>
                </a:cubicBezTo>
                <a:cubicBezTo>
                  <a:pt x="3744236" y="1560547"/>
                  <a:pt x="3742956" y="1556991"/>
                  <a:pt x="3741889" y="1558129"/>
                </a:cubicBezTo>
                <a:lnTo>
                  <a:pt x="3741889" y="1549450"/>
                </a:lnTo>
                <a:lnTo>
                  <a:pt x="3735059" y="1548881"/>
                </a:lnTo>
                <a:cubicBezTo>
                  <a:pt x="3731431" y="1542053"/>
                  <a:pt x="3736339" y="1533090"/>
                  <a:pt x="3742102" y="1527541"/>
                </a:cubicBezTo>
                <a:lnTo>
                  <a:pt x="3742742" y="1526972"/>
                </a:lnTo>
                <a:lnTo>
                  <a:pt x="3742315" y="1526830"/>
                </a:lnTo>
                <a:cubicBezTo>
                  <a:pt x="3740821" y="1527683"/>
                  <a:pt x="3739754" y="1531240"/>
                  <a:pt x="3736980" y="1529391"/>
                </a:cubicBezTo>
                <a:cubicBezTo>
                  <a:pt x="3731644" y="1524696"/>
                  <a:pt x="3733138" y="1516160"/>
                  <a:pt x="3734205" y="1511749"/>
                </a:cubicBezTo>
                <a:lnTo>
                  <a:pt x="3734845" y="1509330"/>
                </a:lnTo>
                <a:lnTo>
                  <a:pt x="3733778" y="1509188"/>
                </a:lnTo>
                <a:lnTo>
                  <a:pt x="3734845" y="1508050"/>
                </a:lnTo>
                <a:lnTo>
                  <a:pt x="3734845" y="1507766"/>
                </a:lnTo>
                <a:cubicBezTo>
                  <a:pt x="3736126" y="1507908"/>
                  <a:pt x="3735913" y="1506628"/>
                  <a:pt x="3734845" y="1506486"/>
                </a:cubicBezTo>
                <a:cubicBezTo>
                  <a:pt x="3735913" y="1504778"/>
                  <a:pt x="3736766" y="1503356"/>
                  <a:pt x="3737620" y="1502644"/>
                </a:cubicBezTo>
                <a:cubicBezTo>
                  <a:pt x="3738047" y="1502217"/>
                  <a:pt x="3738474" y="1502075"/>
                  <a:pt x="3738901" y="1502217"/>
                </a:cubicBezTo>
                <a:close/>
                <a:moveTo>
                  <a:pt x="1129004" y="1502052"/>
                </a:moveTo>
                <a:cubicBezTo>
                  <a:pt x="1132618" y="1502517"/>
                  <a:pt x="1131998" y="1504995"/>
                  <a:pt x="1132308" y="1508712"/>
                </a:cubicBezTo>
                <a:cubicBezTo>
                  <a:pt x="1131069" y="1508558"/>
                  <a:pt x="1130243" y="1512120"/>
                  <a:pt x="1129933" y="1513205"/>
                </a:cubicBezTo>
                <a:cubicBezTo>
                  <a:pt x="1127558" y="1512895"/>
                  <a:pt x="1125906" y="1516922"/>
                  <a:pt x="1122292" y="1516302"/>
                </a:cubicBezTo>
                <a:cubicBezTo>
                  <a:pt x="1121363" y="1514908"/>
                  <a:pt x="1120950" y="1514289"/>
                  <a:pt x="1120743" y="1512430"/>
                </a:cubicBezTo>
                <a:cubicBezTo>
                  <a:pt x="1123634" y="1503601"/>
                  <a:pt x="1128694" y="1503136"/>
                  <a:pt x="1129004" y="1502052"/>
                </a:cubicBezTo>
                <a:close/>
                <a:moveTo>
                  <a:pt x="5393330" y="1501648"/>
                </a:moveTo>
                <a:cubicBezTo>
                  <a:pt x="5393544" y="1513457"/>
                  <a:pt x="5386074" y="1515733"/>
                  <a:pt x="5379245" y="1518863"/>
                </a:cubicBezTo>
                <a:cubicBezTo>
                  <a:pt x="5378178" y="1513741"/>
                  <a:pt x="5383726" y="1501364"/>
                  <a:pt x="5393330" y="1501648"/>
                </a:cubicBezTo>
                <a:close/>
                <a:moveTo>
                  <a:pt x="5503669" y="1501506"/>
                </a:moveTo>
                <a:cubicBezTo>
                  <a:pt x="5504949" y="1501791"/>
                  <a:pt x="5506443" y="1502644"/>
                  <a:pt x="5507937" y="1503925"/>
                </a:cubicBezTo>
                <a:cubicBezTo>
                  <a:pt x="5509644" y="1505063"/>
                  <a:pt x="5510071" y="1506628"/>
                  <a:pt x="5510498" y="1508193"/>
                </a:cubicBezTo>
                <a:cubicBezTo>
                  <a:pt x="5510711" y="1509615"/>
                  <a:pt x="5510925" y="1511180"/>
                  <a:pt x="5511992" y="1512461"/>
                </a:cubicBezTo>
                <a:cubicBezTo>
                  <a:pt x="5509431" y="1513599"/>
                  <a:pt x="5505589" y="1515875"/>
                  <a:pt x="5501321" y="1512176"/>
                </a:cubicBezTo>
                <a:cubicBezTo>
                  <a:pt x="5500254" y="1511038"/>
                  <a:pt x="5500254" y="1510895"/>
                  <a:pt x="5500467" y="1509757"/>
                </a:cubicBezTo>
                <a:cubicBezTo>
                  <a:pt x="5499400" y="1507339"/>
                  <a:pt x="5498333" y="1506058"/>
                  <a:pt x="5499827" y="1503640"/>
                </a:cubicBezTo>
                <a:cubicBezTo>
                  <a:pt x="5501107" y="1501933"/>
                  <a:pt x="5502388" y="1501364"/>
                  <a:pt x="5503669" y="1501506"/>
                </a:cubicBezTo>
                <a:close/>
                <a:moveTo>
                  <a:pt x="4428887" y="1500794"/>
                </a:moveTo>
                <a:cubicBezTo>
                  <a:pt x="4443826" y="1506486"/>
                  <a:pt x="4464955" y="1495957"/>
                  <a:pt x="4477973" y="1510042"/>
                </a:cubicBezTo>
                <a:cubicBezTo>
                  <a:pt x="4480534" y="1525265"/>
                  <a:pt x="4488857" y="1527968"/>
                  <a:pt x="4493766" y="1536646"/>
                </a:cubicBezTo>
                <a:cubicBezTo>
                  <a:pt x="4494620" y="1557560"/>
                  <a:pt x="4489071" y="1585018"/>
                  <a:pt x="4468583" y="1594692"/>
                </a:cubicBezTo>
                <a:cubicBezTo>
                  <a:pt x="4451722" y="1602517"/>
                  <a:pt x="4439558" y="1591847"/>
                  <a:pt x="4421417" y="1589428"/>
                </a:cubicBezTo>
                <a:cubicBezTo>
                  <a:pt x="4418856" y="1574205"/>
                  <a:pt x="4410105" y="1572498"/>
                  <a:pt x="4403489" y="1566807"/>
                </a:cubicBezTo>
                <a:cubicBezTo>
                  <a:pt x="4406477" y="1556564"/>
                  <a:pt x="4401569" y="1542621"/>
                  <a:pt x="4401569" y="1530244"/>
                </a:cubicBezTo>
                <a:cubicBezTo>
                  <a:pt x="4406904" y="1525692"/>
                  <a:pt x="4410960" y="1520712"/>
                  <a:pt x="4415228" y="1515591"/>
                </a:cubicBezTo>
                <a:lnTo>
                  <a:pt x="4422484" y="1507908"/>
                </a:lnTo>
                <a:lnTo>
                  <a:pt x="4422911" y="1504209"/>
                </a:lnTo>
                <a:lnTo>
                  <a:pt x="4426112" y="1503925"/>
                </a:lnTo>
                <a:close/>
                <a:moveTo>
                  <a:pt x="1235874" y="1500348"/>
                </a:moveTo>
                <a:cubicBezTo>
                  <a:pt x="1236700" y="1500193"/>
                  <a:pt x="1237836" y="1500658"/>
                  <a:pt x="1237836" y="1500658"/>
                </a:cubicBezTo>
                <a:cubicBezTo>
                  <a:pt x="1238971" y="1501277"/>
                  <a:pt x="1238971" y="1501277"/>
                  <a:pt x="1239385" y="1500348"/>
                </a:cubicBezTo>
                <a:cubicBezTo>
                  <a:pt x="1239385" y="1500348"/>
                  <a:pt x="1239798" y="1501122"/>
                  <a:pt x="1239798" y="1501122"/>
                </a:cubicBezTo>
                <a:cubicBezTo>
                  <a:pt x="1238971" y="1501277"/>
                  <a:pt x="1239798" y="1501122"/>
                  <a:pt x="1240934" y="1501587"/>
                </a:cubicBezTo>
                <a:cubicBezTo>
                  <a:pt x="1240727" y="1503446"/>
                  <a:pt x="1241140" y="1504220"/>
                  <a:pt x="1240624" y="1505305"/>
                </a:cubicBezTo>
                <a:cubicBezTo>
                  <a:pt x="1240417" y="1505769"/>
                  <a:pt x="1239901" y="1506544"/>
                  <a:pt x="1239385" y="1506854"/>
                </a:cubicBezTo>
                <a:cubicBezTo>
                  <a:pt x="1238868" y="1507318"/>
                  <a:pt x="1238352" y="1507318"/>
                  <a:pt x="1237732" y="1507163"/>
                </a:cubicBezTo>
                <a:cubicBezTo>
                  <a:pt x="1237423" y="1506234"/>
                  <a:pt x="1236597" y="1506544"/>
                  <a:pt x="1236287" y="1505769"/>
                </a:cubicBezTo>
                <a:cubicBezTo>
                  <a:pt x="1235564" y="1505150"/>
                  <a:pt x="1235151" y="1504530"/>
                  <a:pt x="1234945" y="1504065"/>
                </a:cubicBezTo>
                <a:cubicBezTo>
                  <a:pt x="1234738" y="1503446"/>
                  <a:pt x="1234738" y="1503136"/>
                  <a:pt x="1234945" y="1502517"/>
                </a:cubicBezTo>
                <a:cubicBezTo>
                  <a:pt x="1234635" y="1501742"/>
                  <a:pt x="1235358" y="1501432"/>
                  <a:pt x="1235874" y="1500348"/>
                </a:cubicBezTo>
                <a:close/>
                <a:moveTo>
                  <a:pt x="1736254" y="1500038"/>
                </a:moveTo>
                <a:cubicBezTo>
                  <a:pt x="1750916" y="1503291"/>
                  <a:pt x="1744204" y="1520949"/>
                  <a:pt x="1736564" y="1522653"/>
                </a:cubicBezTo>
                <a:cubicBezTo>
                  <a:pt x="1732123" y="1520329"/>
                  <a:pt x="1730162" y="1515683"/>
                  <a:pt x="1730265" y="1511191"/>
                </a:cubicBezTo>
                <a:cubicBezTo>
                  <a:pt x="1730471" y="1506544"/>
                  <a:pt x="1732640" y="1502052"/>
                  <a:pt x="1736254" y="1500038"/>
                </a:cubicBezTo>
                <a:close/>
                <a:moveTo>
                  <a:pt x="1010879" y="1499728"/>
                </a:moveTo>
                <a:cubicBezTo>
                  <a:pt x="1015628" y="1501587"/>
                  <a:pt x="1015835" y="1507938"/>
                  <a:pt x="1011911" y="1509487"/>
                </a:cubicBezTo>
                <a:cubicBezTo>
                  <a:pt x="1010672" y="1509022"/>
                  <a:pt x="1008710" y="1508867"/>
                  <a:pt x="1007058" y="1507628"/>
                </a:cubicBezTo>
                <a:cubicBezTo>
                  <a:pt x="1006026" y="1503446"/>
                  <a:pt x="1007574" y="1500968"/>
                  <a:pt x="1010879" y="1499728"/>
                </a:cubicBezTo>
                <a:close/>
                <a:moveTo>
                  <a:pt x="1155954" y="1498799"/>
                </a:moveTo>
                <a:cubicBezTo>
                  <a:pt x="1157090" y="1502826"/>
                  <a:pt x="1153475" y="1506544"/>
                  <a:pt x="1148932" y="1503756"/>
                </a:cubicBezTo>
                <a:cubicBezTo>
                  <a:pt x="1150894" y="1500503"/>
                  <a:pt x="1152856" y="1497405"/>
                  <a:pt x="1155954" y="1498799"/>
                </a:cubicBezTo>
                <a:close/>
                <a:moveTo>
                  <a:pt x="4011864" y="1498661"/>
                </a:moveTo>
                <a:cubicBezTo>
                  <a:pt x="4013358" y="1499229"/>
                  <a:pt x="4015066" y="1499799"/>
                  <a:pt x="4016559" y="1500368"/>
                </a:cubicBezTo>
                <a:lnTo>
                  <a:pt x="4015919" y="1505916"/>
                </a:lnTo>
                <a:lnTo>
                  <a:pt x="4016987" y="1509188"/>
                </a:lnTo>
                <a:cubicBezTo>
                  <a:pt x="4018054" y="1510042"/>
                  <a:pt x="4018907" y="1511180"/>
                  <a:pt x="4019334" y="1512461"/>
                </a:cubicBezTo>
                <a:lnTo>
                  <a:pt x="4019334" y="1513030"/>
                </a:lnTo>
                <a:lnTo>
                  <a:pt x="4028938" y="1510327"/>
                </a:lnTo>
                <a:cubicBezTo>
                  <a:pt x="4032780" y="1508762"/>
                  <a:pt x="4036408" y="1507055"/>
                  <a:pt x="4040676" y="1505489"/>
                </a:cubicBezTo>
                <a:cubicBezTo>
                  <a:pt x="4041316" y="1506343"/>
                  <a:pt x="4041957" y="1507339"/>
                  <a:pt x="4042170" y="1508904"/>
                </a:cubicBezTo>
                <a:cubicBezTo>
                  <a:pt x="4042383" y="1510327"/>
                  <a:pt x="4042383" y="1512318"/>
                  <a:pt x="4041957" y="1514737"/>
                </a:cubicBezTo>
                <a:cubicBezTo>
                  <a:pt x="4030859" y="1512745"/>
                  <a:pt x="4035127" y="1525692"/>
                  <a:pt x="4026377" y="1524553"/>
                </a:cubicBezTo>
                <a:cubicBezTo>
                  <a:pt x="4024883" y="1523558"/>
                  <a:pt x="4023389" y="1522704"/>
                  <a:pt x="4021682" y="1521708"/>
                </a:cubicBezTo>
                <a:lnTo>
                  <a:pt x="4018267" y="1518863"/>
                </a:lnTo>
                <a:lnTo>
                  <a:pt x="4017627" y="1519859"/>
                </a:lnTo>
                <a:cubicBezTo>
                  <a:pt x="4016773" y="1520428"/>
                  <a:pt x="4015706" y="1520712"/>
                  <a:pt x="4015066" y="1520428"/>
                </a:cubicBezTo>
                <a:cubicBezTo>
                  <a:pt x="4002474" y="1517724"/>
                  <a:pt x="4003114" y="1506058"/>
                  <a:pt x="4001193" y="1504351"/>
                </a:cubicBezTo>
                <a:cubicBezTo>
                  <a:pt x="4002687" y="1500794"/>
                  <a:pt x="4003114" y="1499941"/>
                  <a:pt x="4006743" y="1500652"/>
                </a:cubicBezTo>
                <a:lnTo>
                  <a:pt x="4010371" y="1501506"/>
                </a:lnTo>
                <a:close/>
                <a:moveTo>
                  <a:pt x="1449718" y="1498489"/>
                </a:moveTo>
                <a:cubicBezTo>
                  <a:pt x="1451266" y="1502052"/>
                  <a:pt x="1453022" y="1505769"/>
                  <a:pt x="1454054" y="1509642"/>
                </a:cubicBezTo>
                <a:lnTo>
                  <a:pt x="1454777" y="1514753"/>
                </a:lnTo>
                <a:lnTo>
                  <a:pt x="1455809" y="1514134"/>
                </a:lnTo>
                <a:cubicBezTo>
                  <a:pt x="1458185" y="1513359"/>
                  <a:pt x="1460766" y="1513669"/>
                  <a:pt x="1461076" y="1516922"/>
                </a:cubicBezTo>
                <a:cubicBezTo>
                  <a:pt x="1461282" y="1517851"/>
                  <a:pt x="1460869" y="1518626"/>
                  <a:pt x="1460043" y="1519245"/>
                </a:cubicBezTo>
                <a:cubicBezTo>
                  <a:pt x="1458804" y="1520175"/>
                  <a:pt x="1456739" y="1520949"/>
                  <a:pt x="1454880" y="1520794"/>
                </a:cubicBezTo>
                <a:lnTo>
                  <a:pt x="1454261" y="1520794"/>
                </a:lnTo>
                <a:lnTo>
                  <a:pt x="1454054" y="1522188"/>
                </a:lnTo>
                <a:lnTo>
                  <a:pt x="1452815" y="1520949"/>
                </a:lnTo>
                <a:lnTo>
                  <a:pt x="1452608" y="1521104"/>
                </a:lnTo>
                <a:cubicBezTo>
                  <a:pt x="1452299" y="1521259"/>
                  <a:pt x="1451989" y="1521259"/>
                  <a:pt x="1452093" y="1520794"/>
                </a:cubicBezTo>
                <a:cubicBezTo>
                  <a:pt x="1451266" y="1520794"/>
                  <a:pt x="1451370" y="1520020"/>
                  <a:pt x="1450647" y="1519090"/>
                </a:cubicBezTo>
                <a:lnTo>
                  <a:pt x="1450647" y="1518781"/>
                </a:lnTo>
                <a:lnTo>
                  <a:pt x="1449098" y="1517077"/>
                </a:lnTo>
                <a:cubicBezTo>
                  <a:pt x="1447962" y="1515063"/>
                  <a:pt x="1447549" y="1512895"/>
                  <a:pt x="1447342" y="1510571"/>
                </a:cubicBezTo>
                <a:cubicBezTo>
                  <a:pt x="1447136" y="1506079"/>
                  <a:pt x="1448375" y="1501432"/>
                  <a:pt x="1449718" y="1498489"/>
                </a:cubicBezTo>
                <a:close/>
                <a:moveTo>
                  <a:pt x="1304952" y="1498489"/>
                </a:moveTo>
                <a:cubicBezTo>
                  <a:pt x="1306604" y="1500503"/>
                  <a:pt x="1308153" y="1502362"/>
                  <a:pt x="1309805" y="1504375"/>
                </a:cubicBezTo>
                <a:cubicBezTo>
                  <a:pt x="1310322" y="1508712"/>
                  <a:pt x="1307430" y="1511810"/>
                  <a:pt x="1303713" y="1512120"/>
                </a:cubicBezTo>
                <a:cubicBezTo>
                  <a:pt x="1302474" y="1512275"/>
                  <a:pt x="1301029" y="1511965"/>
                  <a:pt x="1299686" y="1511501"/>
                </a:cubicBezTo>
                <a:cubicBezTo>
                  <a:pt x="1297931" y="1510571"/>
                  <a:pt x="1296072" y="1509177"/>
                  <a:pt x="1294524" y="1506854"/>
                </a:cubicBezTo>
                <a:cubicBezTo>
                  <a:pt x="1293491" y="1503446"/>
                  <a:pt x="1297518" y="1499728"/>
                  <a:pt x="1301338" y="1498644"/>
                </a:cubicBezTo>
                <a:cubicBezTo>
                  <a:pt x="1302681" y="1498179"/>
                  <a:pt x="1303920" y="1498179"/>
                  <a:pt x="1304952" y="1498489"/>
                </a:cubicBezTo>
                <a:close/>
                <a:moveTo>
                  <a:pt x="5810139" y="1497949"/>
                </a:moveTo>
                <a:cubicBezTo>
                  <a:pt x="5810566" y="1498376"/>
                  <a:pt x="5810993" y="1499229"/>
                  <a:pt x="5811420" y="1500368"/>
                </a:cubicBezTo>
                <a:cubicBezTo>
                  <a:pt x="5811633" y="1501364"/>
                  <a:pt x="5811847" y="1502644"/>
                  <a:pt x="5812060" y="1503498"/>
                </a:cubicBezTo>
                <a:cubicBezTo>
                  <a:pt x="5812914" y="1504066"/>
                  <a:pt x="5813127" y="1505632"/>
                  <a:pt x="5812487" y="1506628"/>
                </a:cubicBezTo>
                <a:cubicBezTo>
                  <a:pt x="5812487" y="1506628"/>
                  <a:pt x="5812700" y="1508193"/>
                  <a:pt x="5813767" y="1508904"/>
                </a:cubicBezTo>
                <a:cubicBezTo>
                  <a:pt x="5814194" y="1512034"/>
                  <a:pt x="5813767" y="1513030"/>
                  <a:pt x="5813127" y="1514025"/>
                </a:cubicBezTo>
                <a:cubicBezTo>
                  <a:pt x="5813127" y="1514025"/>
                  <a:pt x="5812700" y="1512461"/>
                  <a:pt x="5811847" y="1511892"/>
                </a:cubicBezTo>
                <a:cubicBezTo>
                  <a:pt x="5811847" y="1511892"/>
                  <a:pt x="5811420" y="1510327"/>
                  <a:pt x="5811206" y="1508620"/>
                </a:cubicBezTo>
                <a:cubicBezTo>
                  <a:pt x="5811206" y="1508620"/>
                  <a:pt x="5810353" y="1508050"/>
                  <a:pt x="5809285" y="1507481"/>
                </a:cubicBezTo>
                <a:cubicBezTo>
                  <a:pt x="5807792" y="1503640"/>
                  <a:pt x="5806724" y="1501506"/>
                  <a:pt x="5810139" y="1497949"/>
                </a:cubicBezTo>
                <a:close/>
                <a:moveTo>
                  <a:pt x="1479869" y="1497715"/>
                </a:moveTo>
                <a:cubicBezTo>
                  <a:pt x="1482243" y="1501432"/>
                  <a:pt x="1481004" y="1507628"/>
                  <a:pt x="1478010" y="1512585"/>
                </a:cubicBezTo>
                <a:lnTo>
                  <a:pt x="1473983" y="1516767"/>
                </a:lnTo>
                <a:lnTo>
                  <a:pt x="1477184" y="1522343"/>
                </a:lnTo>
                <a:cubicBezTo>
                  <a:pt x="1479249" y="1530398"/>
                  <a:pt x="1475738" y="1542015"/>
                  <a:pt x="1467477" y="1540311"/>
                </a:cubicBezTo>
                <a:cubicBezTo>
                  <a:pt x="1466032" y="1536594"/>
                  <a:pt x="1464896" y="1532721"/>
                  <a:pt x="1464587" y="1528539"/>
                </a:cubicBezTo>
                <a:cubicBezTo>
                  <a:pt x="1464483" y="1526526"/>
                  <a:pt x="1464587" y="1524357"/>
                  <a:pt x="1464999" y="1522188"/>
                </a:cubicBezTo>
                <a:lnTo>
                  <a:pt x="1465826" y="1519400"/>
                </a:lnTo>
                <a:lnTo>
                  <a:pt x="1465619" y="1519555"/>
                </a:lnTo>
                <a:lnTo>
                  <a:pt x="1466032" y="1518781"/>
                </a:lnTo>
                <a:lnTo>
                  <a:pt x="1467168" y="1515373"/>
                </a:lnTo>
                <a:lnTo>
                  <a:pt x="1466135" y="1515063"/>
                </a:lnTo>
                <a:cubicBezTo>
                  <a:pt x="1464999" y="1513669"/>
                  <a:pt x="1463554" y="1511810"/>
                  <a:pt x="1463760" y="1509951"/>
                </a:cubicBezTo>
                <a:cubicBezTo>
                  <a:pt x="1463864" y="1509332"/>
                  <a:pt x="1464173" y="1508712"/>
                  <a:pt x="1464690" y="1508093"/>
                </a:cubicBezTo>
                <a:lnTo>
                  <a:pt x="1465826" y="1507628"/>
                </a:lnTo>
                <a:lnTo>
                  <a:pt x="1465619" y="1507163"/>
                </a:lnTo>
                <a:cubicBezTo>
                  <a:pt x="1468201" y="1506079"/>
                  <a:pt x="1469543" y="1505924"/>
                  <a:pt x="1470162" y="1506698"/>
                </a:cubicBezTo>
                <a:lnTo>
                  <a:pt x="1470266" y="1507628"/>
                </a:lnTo>
                <a:lnTo>
                  <a:pt x="1471918" y="1508248"/>
                </a:lnTo>
                <a:lnTo>
                  <a:pt x="1474912" y="1502981"/>
                </a:lnTo>
                <a:cubicBezTo>
                  <a:pt x="1476151" y="1501122"/>
                  <a:pt x="1477803" y="1499418"/>
                  <a:pt x="1479869" y="1497715"/>
                </a:cubicBezTo>
                <a:close/>
                <a:moveTo>
                  <a:pt x="1278932" y="1497095"/>
                </a:moveTo>
                <a:cubicBezTo>
                  <a:pt x="1278106" y="1497560"/>
                  <a:pt x="1278106" y="1497560"/>
                  <a:pt x="1278106" y="1497560"/>
                </a:cubicBezTo>
                <a:cubicBezTo>
                  <a:pt x="1277796" y="1498799"/>
                  <a:pt x="1278622" y="1498179"/>
                  <a:pt x="1279035" y="1498954"/>
                </a:cubicBezTo>
                <a:cubicBezTo>
                  <a:pt x="1279035" y="1498954"/>
                  <a:pt x="1278519" y="1498334"/>
                  <a:pt x="1279758" y="1498489"/>
                </a:cubicBezTo>
                <a:cubicBezTo>
                  <a:pt x="1279035" y="1498954"/>
                  <a:pt x="1279448" y="1499728"/>
                  <a:pt x="1279964" y="1500348"/>
                </a:cubicBezTo>
                <a:cubicBezTo>
                  <a:pt x="1279345" y="1502672"/>
                  <a:pt x="1277899" y="1505615"/>
                  <a:pt x="1275937" y="1505924"/>
                </a:cubicBezTo>
                <a:cubicBezTo>
                  <a:pt x="1273562" y="1505460"/>
                  <a:pt x="1273356" y="1503601"/>
                  <a:pt x="1273666" y="1502517"/>
                </a:cubicBezTo>
                <a:cubicBezTo>
                  <a:pt x="1273356" y="1501122"/>
                  <a:pt x="1273975" y="1500038"/>
                  <a:pt x="1275008" y="1499109"/>
                </a:cubicBezTo>
                <a:cubicBezTo>
                  <a:pt x="1276040" y="1498179"/>
                  <a:pt x="1277590" y="1497405"/>
                  <a:pt x="1278932" y="1497095"/>
                </a:cubicBezTo>
                <a:close/>
                <a:moveTo>
                  <a:pt x="5416593" y="1496527"/>
                </a:moveTo>
                <a:cubicBezTo>
                  <a:pt x="5421715" y="1496242"/>
                  <a:pt x="5425343" y="1507197"/>
                  <a:pt x="5428972" y="1512745"/>
                </a:cubicBezTo>
                <a:cubicBezTo>
                  <a:pt x="5426197" y="1516871"/>
                  <a:pt x="5424917" y="1517867"/>
                  <a:pt x="5420008" y="1519147"/>
                </a:cubicBezTo>
                <a:cubicBezTo>
                  <a:pt x="5413819" y="1514025"/>
                  <a:pt x="5412325" y="1507623"/>
                  <a:pt x="5410831" y="1501079"/>
                </a:cubicBezTo>
                <a:cubicBezTo>
                  <a:pt x="5412965" y="1497949"/>
                  <a:pt x="5414886" y="1496527"/>
                  <a:pt x="5416593" y="1496527"/>
                </a:cubicBezTo>
                <a:close/>
                <a:moveTo>
                  <a:pt x="3647557" y="1496384"/>
                </a:moveTo>
                <a:cubicBezTo>
                  <a:pt x="3647343" y="1500226"/>
                  <a:pt x="3647343" y="1500226"/>
                  <a:pt x="3645636" y="1503356"/>
                </a:cubicBezTo>
                <a:cubicBezTo>
                  <a:pt x="3645422" y="1502217"/>
                  <a:pt x="3643715" y="1500226"/>
                  <a:pt x="3644569" y="1498661"/>
                </a:cubicBezTo>
                <a:cubicBezTo>
                  <a:pt x="3645422" y="1497096"/>
                  <a:pt x="3645422" y="1497096"/>
                  <a:pt x="3647557" y="1496384"/>
                </a:cubicBezTo>
                <a:close/>
                <a:moveTo>
                  <a:pt x="5091342" y="1495673"/>
                </a:moveTo>
                <a:cubicBezTo>
                  <a:pt x="5092409" y="1495530"/>
                  <a:pt x="5093476" y="1495530"/>
                  <a:pt x="5094756" y="1496527"/>
                </a:cubicBezTo>
                <a:cubicBezTo>
                  <a:pt x="5096037" y="1497664"/>
                  <a:pt x="5094970" y="1497807"/>
                  <a:pt x="5096250" y="1497807"/>
                </a:cubicBezTo>
                <a:cubicBezTo>
                  <a:pt x="5097530" y="1498803"/>
                  <a:pt x="5097317" y="1497664"/>
                  <a:pt x="5097317" y="1497664"/>
                </a:cubicBezTo>
                <a:cubicBezTo>
                  <a:pt x="5097317" y="1497664"/>
                  <a:pt x="5097530" y="1498945"/>
                  <a:pt x="5097530" y="1498945"/>
                </a:cubicBezTo>
                <a:cubicBezTo>
                  <a:pt x="5097530" y="1498945"/>
                  <a:pt x="5097530" y="1498945"/>
                  <a:pt x="5100092" y="1501079"/>
                </a:cubicBezTo>
                <a:cubicBezTo>
                  <a:pt x="5103933" y="1503356"/>
                  <a:pt x="5105000" y="1503213"/>
                  <a:pt x="5107561" y="1504209"/>
                </a:cubicBezTo>
                <a:cubicBezTo>
                  <a:pt x="5110122" y="1506486"/>
                  <a:pt x="5110336" y="1507766"/>
                  <a:pt x="5113324" y="1511180"/>
                </a:cubicBezTo>
                <a:cubicBezTo>
                  <a:pt x="5112470" y="1513599"/>
                  <a:pt x="5112256" y="1513599"/>
                  <a:pt x="5111189" y="1513599"/>
                </a:cubicBezTo>
                <a:cubicBezTo>
                  <a:pt x="5112256" y="1513599"/>
                  <a:pt x="5112470" y="1514737"/>
                  <a:pt x="5113751" y="1515875"/>
                </a:cubicBezTo>
                <a:cubicBezTo>
                  <a:pt x="5120153" y="1519147"/>
                  <a:pt x="5118659" y="1525265"/>
                  <a:pt x="5114818" y="1531383"/>
                </a:cubicBezTo>
                <a:cubicBezTo>
                  <a:pt x="5113537" y="1530244"/>
                  <a:pt x="5111616" y="1534085"/>
                  <a:pt x="5109482" y="1535366"/>
                </a:cubicBezTo>
                <a:cubicBezTo>
                  <a:pt x="5106068" y="1535508"/>
                  <a:pt x="5103933" y="1535650"/>
                  <a:pt x="5101159" y="1533374"/>
                </a:cubicBezTo>
                <a:lnTo>
                  <a:pt x="5098385" y="1529248"/>
                </a:lnTo>
                <a:lnTo>
                  <a:pt x="5096037" y="1531098"/>
                </a:lnTo>
                <a:cubicBezTo>
                  <a:pt x="5088994" y="1533943"/>
                  <a:pt x="5080671" y="1534370"/>
                  <a:pt x="5077896" y="1522277"/>
                </a:cubicBezTo>
                <a:lnTo>
                  <a:pt x="5077683" y="1521566"/>
                </a:lnTo>
                <a:lnTo>
                  <a:pt x="5072134" y="1527683"/>
                </a:lnTo>
                <a:cubicBezTo>
                  <a:pt x="5067225" y="1520570"/>
                  <a:pt x="5061463" y="1520428"/>
                  <a:pt x="5060182" y="1512887"/>
                </a:cubicBezTo>
                <a:cubicBezTo>
                  <a:pt x="5061889" y="1510611"/>
                  <a:pt x="5064237" y="1509330"/>
                  <a:pt x="5066372" y="1509046"/>
                </a:cubicBezTo>
                <a:cubicBezTo>
                  <a:pt x="5069573" y="1508477"/>
                  <a:pt x="5072774" y="1509900"/>
                  <a:pt x="5075122" y="1512176"/>
                </a:cubicBezTo>
                <a:lnTo>
                  <a:pt x="5075762" y="1513883"/>
                </a:lnTo>
                <a:lnTo>
                  <a:pt x="5080244" y="1510042"/>
                </a:lnTo>
                <a:cubicBezTo>
                  <a:pt x="5081524" y="1508477"/>
                  <a:pt x="5083445" y="1506628"/>
                  <a:pt x="5087714" y="1505063"/>
                </a:cubicBezTo>
                <a:cubicBezTo>
                  <a:pt x="5090488" y="1503782"/>
                  <a:pt x="5092835" y="1503356"/>
                  <a:pt x="5094970" y="1503356"/>
                </a:cubicBezTo>
                <a:lnTo>
                  <a:pt x="5096464" y="1503640"/>
                </a:lnTo>
                <a:lnTo>
                  <a:pt x="5096037" y="1503356"/>
                </a:lnTo>
                <a:cubicBezTo>
                  <a:pt x="5093049" y="1500368"/>
                  <a:pt x="5090914" y="1497380"/>
                  <a:pt x="5091342" y="1495673"/>
                </a:cubicBezTo>
                <a:close/>
                <a:moveTo>
                  <a:pt x="4089336" y="1494250"/>
                </a:moveTo>
                <a:cubicBezTo>
                  <a:pt x="4091470" y="1495815"/>
                  <a:pt x="4093818" y="1495246"/>
                  <a:pt x="4095525" y="1499229"/>
                </a:cubicBezTo>
                <a:cubicBezTo>
                  <a:pt x="4092964" y="1501079"/>
                  <a:pt x="4090616" y="1501791"/>
                  <a:pt x="4088055" y="1503640"/>
                </a:cubicBezTo>
                <a:cubicBezTo>
                  <a:pt x="4083787" y="1500226"/>
                  <a:pt x="4086561" y="1497096"/>
                  <a:pt x="4089336" y="1494250"/>
                </a:cubicBezTo>
                <a:close/>
                <a:moveTo>
                  <a:pt x="1725928" y="1494152"/>
                </a:moveTo>
                <a:cubicBezTo>
                  <a:pt x="1732536" y="1492448"/>
                  <a:pt x="1733878" y="1494307"/>
                  <a:pt x="1732949" y="1496475"/>
                </a:cubicBezTo>
                <a:cubicBezTo>
                  <a:pt x="1731504" y="1500193"/>
                  <a:pt x="1724069" y="1504530"/>
                  <a:pt x="1725928" y="1494152"/>
                </a:cubicBezTo>
                <a:close/>
                <a:moveTo>
                  <a:pt x="1027090" y="1493842"/>
                </a:moveTo>
                <a:cubicBezTo>
                  <a:pt x="1024818" y="1500968"/>
                  <a:pt x="1025025" y="1504220"/>
                  <a:pt x="1022753" y="1509642"/>
                </a:cubicBezTo>
                <a:cubicBezTo>
                  <a:pt x="1021824" y="1509797"/>
                  <a:pt x="1021824" y="1508867"/>
                  <a:pt x="1020894" y="1509022"/>
                </a:cubicBezTo>
                <a:cubicBezTo>
                  <a:pt x="1020482" y="1508712"/>
                  <a:pt x="1020172" y="1507938"/>
                  <a:pt x="1020172" y="1506854"/>
                </a:cubicBezTo>
                <a:cubicBezTo>
                  <a:pt x="1019965" y="1503756"/>
                  <a:pt x="1021411" y="1498799"/>
                  <a:pt x="1022030" y="1498799"/>
                </a:cubicBezTo>
                <a:cubicBezTo>
                  <a:pt x="1022030" y="1497870"/>
                  <a:pt x="1022857" y="1497715"/>
                  <a:pt x="1022857" y="1496940"/>
                </a:cubicBezTo>
                <a:cubicBezTo>
                  <a:pt x="1022857" y="1496940"/>
                  <a:pt x="1022753" y="1496011"/>
                  <a:pt x="1023579" y="1495082"/>
                </a:cubicBezTo>
                <a:cubicBezTo>
                  <a:pt x="1024405" y="1494152"/>
                  <a:pt x="1025231" y="1493223"/>
                  <a:pt x="1027090" y="1493842"/>
                </a:cubicBezTo>
                <a:close/>
                <a:moveTo>
                  <a:pt x="1715602" y="1493687"/>
                </a:moveTo>
                <a:cubicBezTo>
                  <a:pt x="1717254" y="1496321"/>
                  <a:pt x="1720352" y="1494152"/>
                  <a:pt x="1720455" y="1498025"/>
                </a:cubicBezTo>
                <a:cubicBezTo>
                  <a:pt x="1719733" y="1499418"/>
                  <a:pt x="1718184" y="1500658"/>
                  <a:pt x="1714983" y="1500813"/>
                </a:cubicBezTo>
                <a:cubicBezTo>
                  <a:pt x="1713434" y="1498954"/>
                  <a:pt x="1713021" y="1497715"/>
                  <a:pt x="1713331" y="1496475"/>
                </a:cubicBezTo>
                <a:cubicBezTo>
                  <a:pt x="1713641" y="1495391"/>
                  <a:pt x="1714673" y="1494462"/>
                  <a:pt x="1715602" y="1493687"/>
                </a:cubicBezTo>
                <a:close/>
                <a:moveTo>
                  <a:pt x="3825976" y="1493681"/>
                </a:moveTo>
                <a:cubicBezTo>
                  <a:pt x="3827043" y="1493254"/>
                  <a:pt x="3828323" y="1492970"/>
                  <a:pt x="3828750" y="1493681"/>
                </a:cubicBezTo>
                <a:cubicBezTo>
                  <a:pt x="3831098" y="1496242"/>
                  <a:pt x="3832165" y="1499941"/>
                  <a:pt x="3830885" y="1501079"/>
                </a:cubicBezTo>
                <a:cubicBezTo>
                  <a:pt x="3829177" y="1502644"/>
                  <a:pt x="3827470" y="1504209"/>
                  <a:pt x="3825122" y="1503213"/>
                </a:cubicBezTo>
                <a:cubicBezTo>
                  <a:pt x="3824482" y="1502786"/>
                  <a:pt x="3823628" y="1502217"/>
                  <a:pt x="3822774" y="1501221"/>
                </a:cubicBezTo>
                <a:cubicBezTo>
                  <a:pt x="3822774" y="1501221"/>
                  <a:pt x="3822774" y="1501221"/>
                  <a:pt x="3822774" y="1500083"/>
                </a:cubicBezTo>
                <a:cubicBezTo>
                  <a:pt x="3822988" y="1497664"/>
                  <a:pt x="3822988" y="1496527"/>
                  <a:pt x="3822988" y="1495388"/>
                </a:cubicBezTo>
                <a:cubicBezTo>
                  <a:pt x="3823628" y="1494820"/>
                  <a:pt x="3824695" y="1494108"/>
                  <a:pt x="3825976" y="1493681"/>
                </a:cubicBezTo>
                <a:close/>
                <a:moveTo>
                  <a:pt x="1525921" y="1492758"/>
                </a:moveTo>
                <a:cubicBezTo>
                  <a:pt x="1525921" y="1492758"/>
                  <a:pt x="1526334" y="1493378"/>
                  <a:pt x="1526334" y="1493378"/>
                </a:cubicBezTo>
                <a:cubicBezTo>
                  <a:pt x="1526230" y="1494927"/>
                  <a:pt x="1525921" y="1495546"/>
                  <a:pt x="1525301" y="1495856"/>
                </a:cubicBezTo>
                <a:lnTo>
                  <a:pt x="1524475" y="1495856"/>
                </a:lnTo>
                <a:lnTo>
                  <a:pt x="1524165" y="1496475"/>
                </a:lnTo>
                <a:cubicBezTo>
                  <a:pt x="1521584" y="1499418"/>
                  <a:pt x="1516421" y="1501742"/>
                  <a:pt x="1511568" y="1498799"/>
                </a:cubicBezTo>
                <a:cubicBezTo>
                  <a:pt x="1513117" y="1495082"/>
                  <a:pt x="1515285" y="1493687"/>
                  <a:pt x="1517763" y="1493223"/>
                </a:cubicBezTo>
                <a:lnTo>
                  <a:pt x="1523752" y="1493533"/>
                </a:lnTo>
                <a:close/>
                <a:moveTo>
                  <a:pt x="5376043" y="1491547"/>
                </a:moveTo>
                <a:cubicBezTo>
                  <a:pt x="5377324" y="1492970"/>
                  <a:pt x="5377751" y="1494677"/>
                  <a:pt x="5377964" y="1496242"/>
                </a:cubicBezTo>
                <a:cubicBezTo>
                  <a:pt x="5377964" y="1500937"/>
                  <a:pt x="5373482" y="1504636"/>
                  <a:pt x="5368574" y="1501364"/>
                </a:cubicBezTo>
                <a:cubicBezTo>
                  <a:pt x="5369214" y="1494535"/>
                  <a:pt x="5371988" y="1492258"/>
                  <a:pt x="5376043" y="1491547"/>
                </a:cubicBezTo>
                <a:close/>
                <a:moveTo>
                  <a:pt x="4185161" y="1491547"/>
                </a:moveTo>
                <a:cubicBezTo>
                  <a:pt x="4186228" y="1491120"/>
                  <a:pt x="4186655" y="1492258"/>
                  <a:pt x="4187722" y="1491690"/>
                </a:cubicBezTo>
                <a:cubicBezTo>
                  <a:pt x="4187722" y="1491690"/>
                  <a:pt x="4187935" y="1492827"/>
                  <a:pt x="4187935" y="1492827"/>
                </a:cubicBezTo>
                <a:cubicBezTo>
                  <a:pt x="4188576" y="1492543"/>
                  <a:pt x="4188576" y="1492401"/>
                  <a:pt x="4188362" y="1492827"/>
                </a:cubicBezTo>
                <a:cubicBezTo>
                  <a:pt x="4188149" y="1493254"/>
                  <a:pt x="4187935" y="1494108"/>
                  <a:pt x="4187722" y="1495388"/>
                </a:cubicBezTo>
                <a:cubicBezTo>
                  <a:pt x="4187295" y="1496953"/>
                  <a:pt x="4187722" y="1497949"/>
                  <a:pt x="4186228" y="1497380"/>
                </a:cubicBezTo>
                <a:cubicBezTo>
                  <a:pt x="4184734" y="1496811"/>
                  <a:pt x="4184734" y="1496811"/>
                  <a:pt x="4183454" y="1493681"/>
                </a:cubicBezTo>
                <a:cubicBezTo>
                  <a:pt x="4184948" y="1494250"/>
                  <a:pt x="4184948" y="1494250"/>
                  <a:pt x="4185588" y="1492685"/>
                </a:cubicBezTo>
                <a:cubicBezTo>
                  <a:pt x="4185588" y="1492685"/>
                  <a:pt x="4185588" y="1492685"/>
                  <a:pt x="4185161" y="1491547"/>
                </a:cubicBezTo>
                <a:close/>
                <a:moveTo>
                  <a:pt x="4235101" y="1491405"/>
                </a:moveTo>
                <a:cubicBezTo>
                  <a:pt x="4237449" y="1491120"/>
                  <a:pt x="4240437" y="1492685"/>
                  <a:pt x="4240010" y="1495815"/>
                </a:cubicBezTo>
                <a:cubicBezTo>
                  <a:pt x="4238516" y="1496242"/>
                  <a:pt x="4236382" y="1497664"/>
                  <a:pt x="4233821" y="1497238"/>
                </a:cubicBezTo>
                <a:cubicBezTo>
                  <a:pt x="4231046" y="1493539"/>
                  <a:pt x="4232754" y="1491547"/>
                  <a:pt x="4235101" y="1491405"/>
                </a:cubicBezTo>
                <a:close/>
                <a:moveTo>
                  <a:pt x="4612641" y="1490693"/>
                </a:moveTo>
                <a:cubicBezTo>
                  <a:pt x="4616056" y="1491690"/>
                  <a:pt x="4617549" y="1491974"/>
                  <a:pt x="4620111" y="1491832"/>
                </a:cubicBezTo>
                <a:cubicBezTo>
                  <a:pt x="4620751" y="1494677"/>
                  <a:pt x="4619684" y="1495246"/>
                  <a:pt x="4618190" y="1494820"/>
                </a:cubicBezTo>
                <a:cubicBezTo>
                  <a:pt x="4618190" y="1494820"/>
                  <a:pt x="4616483" y="1494392"/>
                  <a:pt x="4614775" y="1493966"/>
                </a:cubicBezTo>
                <a:cubicBezTo>
                  <a:pt x="4613281" y="1493397"/>
                  <a:pt x="4612214" y="1494108"/>
                  <a:pt x="4612214" y="1494108"/>
                </a:cubicBezTo>
                <a:cubicBezTo>
                  <a:pt x="4610720" y="1493681"/>
                  <a:pt x="4609866" y="1492543"/>
                  <a:pt x="4610080" y="1490835"/>
                </a:cubicBezTo>
                <a:cubicBezTo>
                  <a:pt x="4610080" y="1490835"/>
                  <a:pt x="4612641" y="1490693"/>
                  <a:pt x="4612641" y="1490693"/>
                </a:cubicBezTo>
                <a:close/>
                <a:moveTo>
                  <a:pt x="1039790" y="1489970"/>
                </a:moveTo>
                <a:cubicBezTo>
                  <a:pt x="1042991" y="1489505"/>
                  <a:pt x="1047638" y="1490280"/>
                  <a:pt x="1049496" y="1491364"/>
                </a:cubicBezTo>
                <a:cubicBezTo>
                  <a:pt x="1049909" y="1492758"/>
                  <a:pt x="1050013" y="1493842"/>
                  <a:pt x="1049806" y="1494927"/>
                </a:cubicBezTo>
                <a:lnTo>
                  <a:pt x="1049703" y="1495082"/>
                </a:lnTo>
                <a:lnTo>
                  <a:pt x="1053317" y="1495701"/>
                </a:lnTo>
                <a:cubicBezTo>
                  <a:pt x="1054763" y="1496475"/>
                  <a:pt x="1055898" y="1497715"/>
                  <a:pt x="1056621" y="1499109"/>
                </a:cubicBezTo>
                <a:lnTo>
                  <a:pt x="1056724" y="1499573"/>
                </a:lnTo>
                <a:lnTo>
                  <a:pt x="1058170" y="1499109"/>
                </a:lnTo>
                <a:cubicBezTo>
                  <a:pt x="1058893" y="1499573"/>
                  <a:pt x="1059202" y="1500658"/>
                  <a:pt x="1059202" y="1500658"/>
                </a:cubicBezTo>
                <a:cubicBezTo>
                  <a:pt x="1059512" y="1501742"/>
                  <a:pt x="1059512" y="1501742"/>
                  <a:pt x="1060752" y="1501432"/>
                </a:cubicBezTo>
                <a:cubicBezTo>
                  <a:pt x="1060752" y="1501432"/>
                  <a:pt x="1060235" y="1502052"/>
                  <a:pt x="1060235" y="1502052"/>
                </a:cubicBezTo>
                <a:cubicBezTo>
                  <a:pt x="1059512" y="1501742"/>
                  <a:pt x="1060235" y="1502052"/>
                  <a:pt x="1060545" y="1503291"/>
                </a:cubicBezTo>
                <a:cubicBezTo>
                  <a:pt x="1058996" y="1504375"/>
                  <a:pt x="1058583" y="1505150"/>
                  <a:pt x="1057344" y="1505615"/>
                </a:cubicBezTo>
                <a:lnTo>
                  <a:pt x="1056311" y="1505769"/>
                </a:lnTo>
                <a:lnTo>
                  <a:pt x="1055589" y="1507008"/>
                </a:lnTo>
                <a:cubicBezTo>
                  <a:pt x="1054143" y="1508248"/>
                  <a:pt x="1051768" y="1508712"/>
                  <a:pt x="1048361" y="1507628"/>
                </a:cubicBezTo>
                <a:cubicBezTo>
                  <a:pt x="1048464" y="1505460"/>
                  <a:pt x="1048051" y="1503756"/>
                  <a:pt x="1047638" y="1502207"/>
                </a:cubicBezTo>
                <a:lnTo>
                  <a:pt x="1046812" y="1498179"/>
                </a:lnTo>
                <a:lnTo>
                  <a:pt x="1045056" y="1498954"/>
                </a:lnTo>
                <a:cubicBezTo>
                  <a:pt x="1040926" y="1499418"/>
                  <a:pt x="1035866" y="1496630"/>
                  <a:pt x="1037106" y="1491054"/>
                </a:cubicBezTo>
                <a:cubicBezTo>
                  <a:pt x="1037725" y="1490590"/>
                  <a:pt x="1038655" y="1490280"/>
                  <a:pt x="1039790" y="1489970"/>
                </a:cubicBezTo>
                <a:close/>
                <a:moveTo>
                  <a:pt x="5850689" y="1489128"/>
                </a:moveTo>
                <a:cubicBezTo>
                  <a:pt x="5851543" y="1488986"/>
                  <a:pt x="5852183" y="1489271"/>
                  <a:pt x="5853250" y="1490551"/>
                </a:cubicBezTo>
                <a:cubicBezTo>
                  <a:pt x="5854317" y="1491120"/>
                  <a:pt x="5854957" y="1491832"/>
                  <a:pt x="5854744" y="1492685"/>
                </a:cubicBezTo>
                <a:cubicBezTo>
                  <a:pt x="5854744" y="1493539"/>
                  <a:pt x="5854104" y="1494820"/>
                  <a:pt x="5852610" y="1496527"/>
                </a:cubicBezTo>
                <a:cubicBezTo>
                  <a:pt x="5850049" y="1498945"/>
                  <a:pt x="5848768" y="1501364"/>
                  <a:pt x="5847701" y="1501364"/>
                </a:cubicBezTo>
                <a:cubicBezTo>
                  <a:pt x="5847488" y="1502644"/>
                  <a:pt x="5846207" y="1503782"/>
                  <a:pt x="5845994" y="1505063"/>
                </a:cubicBezTo>
                <a:cubicBezTo>
                  <a:pt x="5845994" y="1505063"/>
                  <a:pt x="5845994" y="1505063"/>
                  <a:pt x="5844927" y="1505063"/>
                </a:cubicBezTo>
                <a:cubicBezTo>
                  <a:pt x="5846634" y="1500226"/>
                  <a:pt x="5845994" y="1494108"/>
                  <a:pt x="5848768" y="1490408"/>
                </a:cubicBezTo>
                <a:cubicBezTo>
                  <a:pt x="5849408" y="1489840"/>
                  <a:pt x="5850049" y="1489271"/>
                  <a:pt x="5850689" y="1489128"/>
                </a:cubicBezTo>
                <a:close/>
                <a:moveTo>
                  <a:pt x="1769296" y="1489040"/>
                </a:moveTo>
                <a:lnTo>
                  <a:pt x="1770122" y="1489040"/>
                </a:lnTo>
                <a:cubicBezTo>
                  <a:pt x="1770535" y="1489350"/>
                  <a:pt x="1770638" y="1489970"/>
                  <a:pt x="1770638" y="1490899"/>
                </a:cubicBezTo>
                <a:cubicBezTo>
                  <a:pt x="1770535" y="1493687"/>
                  <a:pt x="1768986" y="1498489"/>
                  <a:pt x="1768883" y="1499109"/>
                </a:cubicBezTo>
                <a:lnTo>
                  <a:pt x="1768779" y="1500038"/>
                </a:lnTo>
                <a:lnTo>
                  <a:pt x="1768573" y="1503756"/>
                </a:lnTo>
                <a:cubicBezTo>
                  <a:pt x="1764752" y="1505305"/>
                  <a:pt x="1760829" y="1500968"/>
                  <a:pt x="1758454" y="1498799"/>
                </a:cubicBezTo>
                <a:cubicBezTo>
                  <a:pt x="1760209" y="1495856"/>
                  <a:pt x="1761964" y="1492913"/>
                  <a:pt x="1764442" y="1492448"/>
                </a:cubicBezTo>
                <a:lnTo>
                  <a:pt x="1766817" y="1495082"/>
                </a:lnTo>
                <a:lnTo>
                  <a:pt x="1766921" y="1494927"/>
                </a:lnTo>
                <a:cubicBezTo>
                  <a:pt x="1767953" y="1493223"/>
                  <a:pt x="1767953" y="1492294"/>
                  <a:pt x="1767334" y="1490590"/>
                </a:cubicBezTo>
                <a:cubicBezTo>
                  <a:pt x="1767334" y="1490590"/>
                  <a:pt x="1767334" y="1490744"/>
                  <a:pt x="1769296" y="1489040"/>
                </a:cubicBezTo>
                <a:close/>
                <a:moveTo>
                  <a:pt x="3474473" y="1488702"/>
                </a:moveTo>
                <a:lnTo>
                  <a:pt x="3473833" y="1489271"/>
                </a:lnTo>
                <a:lnTo>
                  <a:pt x="3474473" y="1489982"/>
                </a:lnTo>
                <a:close/>
                <a:moveTo>
                  <a:pt x="5336561" y="1488560"/>
                </a:moveTo>
                <a:cubicBezTo>
                  <a:pt x="5343817" y="1495957"/>
                  <a:pt x="5352140" y="1503498"/>
                  <a:pt x="5349153" y="1510469"/>
                </a:cubicBezTo>
                <a:cubicBezTo>
                  <a:pt x="5342110" y="1511322"/>
                  <a:pt x="5336134" y="1501506"/>
                  <a:pt x="5333573" y="1495388"/>
                </a:cubicBezTo>
                <a:cubicBezTo>
                  <a:pt x="5335707" y="1493112"/>
                  <a:pt x="5334427" y="1490835"/>
                  <a:pt x="5336561" y="1488560"/>
                </a:cubicBezTo>
                <a:close/>
                <a:moveTo>
                  <a:pt x="4629928" y="1488560"/>
                </a:moveTo>
                <a:cubicBezTo>
                  <a:pt x="4633556" y="1489555"/>
                  <a:pt x="4637611" y="1490978"/>
                  <a:pt x="4639318" y="1493539"/>
                </a:cubicBezTo>
                <a:cubicBezTo>
                  <a:pt x="4639958" y="1494250"/>
                  <a:pt x="4640386" y="1495388"/>
                  <a:pt x="4640386" y="1496384"/>
                </a:cubicBezTo>
                <a:cubicBezTo>
                  <a:pt x="4640812" y="1499087"/>
                  <a:pt x="4638251" y="1499229"/>
                  <a:pt x="4635050" y="1498518"/>
                </a:cubicBezTo>
                <a:cubicBezTo>
                  <a:pt x="4628220" y="1498518"/>
                  <a:pt x="4625446" y="1495957"/>
                  <a:pt x="4626087" y="1491120"/>
                </a:cubicBezTo>
                <a:cubicBezTo>
                  <a:pt x="4627154" y="1490408"/>
                  <a:pt x="4630568" y="1489555"/>
                  <a:pt x="4629928" y="1488560"/>
                </a:cubicBezTo>
                <a:close/>
                <a:moveTo>
                  <a:pt x="1700940" y="1488421"/>
                </a:moveTo>
                <a:cubicBezTo>
                  <a:pt x="1701766" y="1489195"/>
                  <a:pt x="1702592" y="1489970"/>
                  <a:pt x="1703521" y="1489040"/>
                </a:cubicBezTo>
                <a:cubicBezTo>
                  <a:pt x="1715086" y="1498644"/>
                  <a:pt x="1708891" y="1522653"/>
                  <a:pt x="1693196" y="1526680"/>
                </a:cubicBezTo>
                <a:lnTo>
                  <a:pt x="1688446" y="1521104"/>
                </a:lnTo>
                <a:lnTo>
                  <a:pt x="1684212" y="1522498"/>
                </a:lnTo>
                <a:cubicBezTo>
                  <a:pt x="1681941" y="1521414"/>
                  <a:pt x="1681218" y="1519710"/>
                  <a:pt x="1681734" y="1518781"/>
                </a:cubicBezTo>
                <a:cubicBezTo>
                  <a:pt x="1682354" y="1516457"/>
                  <a:pt x="1683386" y="1514908"/>
                  <a:pt x="1684626" y="1513824"/>
                </a:cubicBezTo>
                <a:lnTo>
                  <a:pt x="1685555" y="1513205"/>
                </a:lnTo>
                <a:lnTo>
                  <a:pt x="1685245" y="1511965"/>
                </a:lnTo>
                <a:cubicBezTo>
                  <a:pt x="1684935" y="1502826"/>
                  <a:pt x="1691027" y="1493068"/>
                  <a:pt x="1700940" y="1488421"/>
                </a:cubicBezTo>
                <a:close/>
                <a:moveTo>
                  <a:pt x="1334794" y="1488266"/>
                </a:moveTo>
                <a:cubicBezTo>
                  <a:pt x="1336445" y="1488421"/>
                  <a:pt x="1338201" y="1489040"/>
                  <a:pt x="1339956" y="1490590"/>
                </a:cubicBezTo>
                <a:cubicBezTo>
                  <a:pt x="1343777" y="1494307"/>
                  <a:pt x="1346358" y="1499573"/>
                  <a:pt x="1339130" y="1505769"/>
                </a:cubicBezTo>
                <a:cubicBezTo>
                  <a:pt x="1337994" y="1507318"/>
                  <a:pt x="1338201" y="1506544"/>
                  <a:pt x="1337168" y="1507318"/>
                </a:cubicBezTo>
                <a:lnTo>
                  <a:pt x="1336962" y="1507628"/>
                </a:lnTo>
                <a:lnTo>
                  <a:pt x="1338201" y="1508093"/>
                </a:lnTo>
                <a:cubicBezTo>
                  <a:pt x="1338511" y="1508402"/>
                  <a:pt x="1338511" y="1508867"/>
                  <a:pt x="1338407" y="1509332"/>
                </a:cubicBezTo>
                <a:cubicBezTo>
                  <a:pt x="1338407" y="1509332"/>
                  <a:pt x="1338098" y="1510571"/>
                  <a:pt x="1337788" y="1511655"/>
                </a:cubicBezTo>
                <a:cubicBezTo>
                  <a:pt x="1337478" y="1512895"/>
                  <a:pt x="1337994" y="1513514"/>
                  <a:pt x="1337994" y="1513514"/>
                </a:cubicBezTo>
                <a:cubicBezTo>
                  <a:pt x="1337685" y="1514753"/>
                  <a:pt x="1336962" y="1515063"/>
                  <a:pt x="1335723" y="1514753"/>
                </a:cubicBezTo>
                <a:cubicBezTo>
                  <a:pt x="1335723" y="1514753"/>
                  <a:pt x="1335516" y="1512895"/>
                  <a:pt x="1335516" y="1512895"/>
                </a:cubicBezTo>
                <a:cubicBezTo>
                  <a:pt x="1335826" y="1511655"/>
                  <a:pt x="1336033" y="1510881"/>
                  <a:pt x="1336136" y="1510106"/>
                </a:cubicBezTo>
                <a:lnTo>
                  <a:pt x="1336239" y="1508712"/>
                </a:lnTo>
                <a:lnTo>
                  <a:pt x="1334897" y="1510571"/>
                </a:lnTo>
                <a:cubicBezTo>
                  <a:pt x="1334174" y="1509797"/>
                  <a:pt x="1333451" y="1509487"/>
                  <a:pt x="1332728" y="1509177"/>
                </a:cubicBezTo>
                <a:lnTo>
                  <a:pt x="1330767" y="1508867"/>
                </a:lnTo>
                <a:lnTo>
                  <a:pt x="1329321" y="1510416"/>
                </a:lnTo>
                <a:cubicBezTo>
                  <a:pt x="1328804" y="1509642"/>
                  <a:pt x="1327153" y="1508402"/>
                  <a:pt x="1327875" y="1508093"/>
                </a:cubicBezTo>
                <a:lnTo>
                  <a:pt x="1327978" y="1507783"/>
                </a:lnTo>
                <a:lnTo>
                  <a:pt x="1325191" y="1505769"/>
                </a:lnTo>
                <a:cubicBezTo>
                  <a:pt x="1322196" y="1502981"/>
                  <a:pt x="1321370" y="1500193"/>
                  <a:pt x="1321576" y="1497715"/>
                </a:cubicBezTo>
                <a:cubicBezTo>
                  <a:pt x="1321783" y="1496475"/>
                  <a:pt x="1322196" y="1495237"/>
                  <a:pt x="1322816" y="1494152"/>
                </a:cubicBezTo>
                <a:lnTo>
                  <a:pt x="1322919" y="1493997"/>
                </a:lnTo>
                <a:lnTo>
                  <a:pt x="1321576" y="1493378"/>
                </a:lnTo>
                <a:cubicBezTo>
                  <a:pt x="1321990" y="1492294"/>
                  <a:pt x="1322506" y="1491209"/>
                  <a:pt x="1323126" y="1490590"/>
                </a:cubicBezTo>
                <a:cubicBezTo>
                  <a:pt x="1323848" y="1489815"/>
                  <a:pt x="1324571" y="1489660"/>
                  <a:pt x="1325707" y="1490280"/>
                </a:cubicBezTo>
                <a:lnTo>
                  <a:pt x="1326326" y="1490744"/>
                </a:lnTo>
                <a:lnTo>
                  <a:pt x="1328185" y="1489815"/>
                </a:lnTo>
                <a:cubicBezTo>
                  <a:pt x="1329940" y="1488886"/>
                  <a:pt x="1332315" y="1487956"/>
                  <a:pt x="1334794" y="1488266"/>
                </a:cubicBezTo>
                <a:close/>
                <a:moveTo>
                  <a:pt x="5159636" y="1487706"/>
                </a:moveTo>
                <a:cubicBezTo>
                  <a:pt x="5167319" y="1492116"/>
                  <a:pt x="5169880" y="1511038"/>
                  <a:pt x="5167106" y="1514737"/>
                </a:cubicBezTo>
                <a:cubicBezTo>
                  <a:pt x="5163051" y="1511465"/>
                  <a:pt x="5163477" y="1506628"/>
                  <a:pt x="5159423" y="1502075"/>
                </a:cubicBezTo>
                <a:cubicBezTo>
                  <a:pt x="5161343" y="1498376"/>
                  <a:pt x="5156861" y="1492685"/>
                  <a:pt x="5159636" y="1487706"/>
                </a:cubicBezTo>
                <a:close/>
                <a:moveTo>
                  <a:pt x="3879331" y="1487137"/>
                </a:moveTo>
                <a:cubicBezTo>
                  <a:pt x="3879331" y="1487137"/>
                  <a:pt x="3879544" y="1487421"/>
                  <a:pt x="3879544" y="1487848"/>
                </a:cubicBezTo>
                <a:cubicBezTo>
                  <a:pt x="3879757" y="1488275"/>
                  <a:pt x="3879757" y="1488844"/>
                  <a:pt x="3879117" y="1489271"/>
                </a:cubicBezTo>
                <a:cubicBezTo>
                  <a:pt x="3879117" y="1489271"/>
                  <a:pt x="3879117" y="1489271"/>
                  <a:pt x="3878050" y="1489128"/>
                </a:cubicBezTo>
                <a:cubicBezTo>
                  <a:pt x="3878050" y="1489128"/>
                  <a:pt x="3878050" y="1488133"/>
                  <a:pt x="3879331" y="1487137"/>
                </a:cubicBezTo>
                <a:close/>
                <a:moveTo>
                  <a:pt x="1513324" y="1486872"/>
                </a:moveTo>
                <a:cubicBezTo>
                  <a:pt x="1513324" y="1486872"/>
                  <a:pt x="1513324" y="1486872"/>
                  <a:pt x="1515698" y="1487646"/>
                </a:cubicBezTo>
                <a:cubicBezTo>
                  <a:pt x="1516421" y="1487337"/>
                  <a:pt x="1516524" y="1487337"/>
                  <a:pt x="1516524" y="1487337"/>
                </a:cubicBezTo>
                <a:cubicBezTo>
                  <a:pt x="1517247" y="1486872"/>
                  <a:pt x="1518073" y="1488421"/>
                  <a:pt x="1518073" y="1488421"/>
                </a:cubicBezTo>
                <a:cubicBezTo>
                  <a:pt x="1518280" y="1490280"/>
                  <a:pt x="1515595" y="1490744"/>
                  <a:pt x="1514149" y="1491364"/>
                </a:cubicBezTo>
                <a:cubicBezTo>
                  <a:pt x="1514356" y="1493378"/>
                  <a:pt x="1510226" y="1491364"/>
                  <a:pt x="1510432" y="1493378"/>
                </a:cubicBezTo>
                <a:cubicBezTo>
                  <a:pt x="1505682" y="1491829"/>
                  <a:pt x="1504340" y="1497560"/>
                  <a:pt x="1496905" y="1496475"/>
                </a:cubicBezTo>
                <a:cubicBezTo>
                  <a:pt x="1498351" y="1494927"/>
                  <a:pt x="1499900" y="1493842"/>
                  <a:pt x="1501449" y="1492913"/>
                </a:cubicBezTo>
                <a:cubicBezTo>
                  <a:pt x="1506096" y="1490280"/>
                  <a:pt x="1510742" y="1489815"/>
                  <a:pt x="1513324" y="1486872"/>
                </a:cubicBezTo>
                <a:close/>
                <a:moveTo>
                  <a:pt x="3907502" y="1486568"/>
                </a:moveTo>
                <a:cubicBezTo>
                  <a:pt x="3909423" y="1486710"/>
                  <a:pt x="3911770" y="1486994"/>
                  <a:pt x="3914118" y="1487563"/>
                </a:cubicBezTo>
                <a:cubicBezTo>
                  <a:pt x="3920520" y="1489413"/>
                  <a:pt x="3925429" y="1493681"/>
                  <a:pt x="3930338" y="1498945"/>
                </a:cubicBezTo>
                <a:lnTo>
                  <a:pt x="3933753" y="1502502"/>
                </a:lnTo>
                <a:lnTo>
                  <a:pt x="3935460" y="1502786"/>
                </a:lnTo>
                <a:cubicBezTo>
                  <a:pt x="3937167" y="1503213"/>
                  <a:pt x="3938874" y="1503782"/>
                  <a:pt x="3939729" y="1504636"/>
                </a:cubicBezTo>
                <a:cubicBezTo>
                  <a:pt x="3940369" y="1505205"/>
                  <a:pt x="3940582" y="1505916"/>
                  <a:pt x="3940369" y="1506770"/>
                </a:cubicBezTo>
                <a:lnTo>
                  <a:pt x="3937381" y="1506201"/>
                </a:lnTo>
                <a:lnTo>
                  <a:pt x="3938234" y="1507197"/>
                </a:lnTo>
                <a:cubicBezTo>
                  <a:pt x="3941009" y="1510042"/>
                  <a:pt x="3944210" y="1512887"/>
                  <a:pt x="3947625" y="1515448"/>
                </a:cubicBezTo>
                <a:cubicBezTo>
                  <a:pt x="3941222" y="1516160"/>
                  <a:pt x="3936954" y="1519574"/>
                  <a:pt x="3933539" y="1523842"/>
                </a:cubicBezTo>
                <a:lnTo>
                  <a:pt x="3929698" y="1528537"/>
                </a:lnTo>
                <a:lnTo>
                  <a:pt x="3930551" y="1529391"/>
                </a:lnTo>
                <a:cubicBezTo>
                  <a:pt x="3930978" y="1529675"/>
                  <a:pt x="3930978" y="1529675"/>
                  <a:pt x="3930978" y="1529106"/>
                </a:cubicBezTo>
                <a:cubicBezTo>
                  <a:pt x="3933112" y="1531809"/>
                  <a:pt x="3936314" y="1534797"/>
                  <a:pt x="3935033" y="1536931"/>
                </a:cubicBezTo>
                <a:cubicBezTo>
                  <a:pt x="3932046" y="1540061"/>
                  <a:pt x="3927350" y="1538780"/>
                  <a:pt x="3923295" y="1536362"/>
                </a:cubicBezTo>
                <a:lnTo>
                  <a:pt x="3922655" y="1536077"/>
                </a:lnTo>
                <a:lnTo>
                  <a:pt x="3918600" y="1538211"/>
                </a:lnTo>
                <a:cubicBezTo>
                  <a:pt x="3917106" y="1538780"/>
                  <a:pt x="3915185" y="1539065"/>
                  <a:pt x="3913264" y="1538923"/>
                </a:cubicBezTo>
                <a:lnTo>
                  <a:pt x="3904941" y="1537073"/>
                </a:lnTo>
                <a:lnTo>
                  <a:pt x="3904514" y="1539634"/>
                </a:lnTo>
                <a:cubicBezTo>
                  <a:pt x="3900459" y="1539065"/>
                  <a:pt x="3899178" y="1536931"/>
                  <a:pt x="3899178" y="1534228"/>
                </a:cubicBezTo>
                <a:lnTo>
                  <a:pt x="3899178" y="1533943"/>
                </a:lnTo>
                <a:lnTo>
                  <a:pt x="3896191" y="1531383"/>
                </a:lnTo>
                <a:lnTo>
                  <a:pt x="3896191" y="1531809"/>
                </a:lnTo>
                <a:cubicBezTo>
                  <a:pt x="3896191" y="1532947"/>
                  <a:pt x="3895764" y="1533801"/>
                  <a:pt x="3895124" y="1534512"/>
                </a:cubicBezTo>
                <a:lnTo>
                  <a:pt x="3893203" y="1535366"/>
                </a:lnTo>
                <a:lnTo>
                  <a:pt x="3892563" y="1538638"/>
                </a:lnTo>
                <a:cubicBezTo>
                  <a:pt x="3891496" y="1541626"/>
                  <a:pt x="3890002" y="1544613"/>
                  <a:pt x="3888935" y="1547174"/>
                </a:cubicBezTo>
                <a:cubicBezTo>
                  <a:pt x="3886587" y="1552580"/>
                  <a:pt x="3883599" y="1558271"/>
                  <a:pt x="3880184" y="1559978"/>
                </a:cubicBezTo>
                <a:lnTo>
                  <a:pt x="3879757" y="1559978"/>
                </a:lnTo>
                <a:lnTo>
                  <a:pt x="3877837" y="1562966"/>
                </a:lnTo>
                <a:cubicBezTo>
                  <a:pt x="3874849" y="1566380"/>
                  <a:pt x="3871007" y="1567945"/>
                  <a:pt x="3868020" y="1562966"/>
                </a:cubicBezTo>
                <a:lnTo>
                  <a:pt x="3872288" y="1556706"/>
                </a:lnTo>
                <a:lnTo>
                  <a:pt x="3869727" y="1554714"/>
                </a:lnTo>
                <a:cubicBezTo>
                  <a:pt x="3868233" y="1551869"/>
                  <a:pt x="3867806" y="1548312"/>
                  <a:pt x="3868020" y="1544613"/>
                </a:cubicBezTo>
                <a:lnTo>
                  <a:pt x="3868446" y="1543191"/>
                </a:lnTo>
                <a:lnTo>
                  <a:pt x="3854361" y="1543618"/>
                </a:lnTo>
                <a:lnTo>
                  <a:pt x="3850306" y="1544044"/>
                </a:lnTo>
                <a:lnTo>
                  <a:pt x="3849452" y="1545325"/>
                </a:lnTo>
                <a:cubicBezTo>
                  <a:pt x="3848385" y="1546463"/>
                  <a:pt x="3847104" y="1547459"/>
                  <a:pt x="3846464" y="1549024"/>
                </a:cubicBezTo>
                <a:cubicBezTo>
                  <a:pt x="3845397" y="1548170"/>
                  <a:pt x="3844116" y="1547174"/>
                  <a:pt x="3843263" y="1545609"/>
                </a:cubicBezTo>
                <a:lnTo>
                  <a:pt x="3843049" y="1544898"/>
                </a:lnTo>
                <a:lnTo>
                  <a:pt x="3842409" y="1544898"/>
                </a:lnTo>
                <a:lnTo>
                  <a:pt x="3842836" y="1544471"/>
                </a:lnTo>
                <a:lnTo>
                  <a:pt x="3842195" y="1542906"/>
                </a:lnTo>
                <a:cubicBezTo>
                  <a:pt x="3842195" y="1541768"/>
                  <a:pt x="3842195" y="1540630"/>
                  <a:pt x="3842623" y="1539065"/>
                </a:cubicBezTo>
                <a:cubicBezTo>
                  <a:pt x="3843263" y="1537500"/>
                  <a:pt x="3843263" y="1537358"/>
                  <a:pt x="3844330" y="1536789"/>
                </a:cubicBezTo>
                <a:cubicBezTo>
                  <a:pt x="3845184" y="1535792"/>
                  <a:pt x="3845824" y="1534797"/>
                  <a:pt x="3846464" y="1534228"/>
                </a:cubicBezTo>
                <a:lnTo>
                  <a:pt x="3847104" y="1533943"/>
                </a:lnTo>
                <a:lnTo>
                  <a:pt x="3847531" y="1532094"/>
                </a:lnTo>
                <a:cubicBezTo>
                  <a:pt x="3847958" y="1527683"/>
                  <a:pt x="3847531" y="1523273"/>
                  <a:pt x="3847531" y="1519005"/>
                </a:cubicBezTo>
                <a:lnTo>
                  <a:pt x="3845184" y="1518863"/>
                </a:lnTo>
                <a:cubicBezTo>
                  <a:pt x="3843049" y="1518009"/>
                  <a:pt x="3841342" y="1516586"/>
                  <a:pt x="3839421" y="1516302"/>
                </a:cubicBezTo>
                <a:cubicBezTo>
                  <a:pt x="3840061" y="1511038"/>
                  <a:pt x="3843263" y="1508335"/>
                  <a:pt x="3846251" y="1507766"/>
                </a:cubicBezTo>
                <a:lnTo>
                  <a:pt x="3849025" y="1507908"/>
                </a:lnTo>
                <a:lnTo>
                  <a:pt x="3849665" y="1505632"/>
                </a:lnTo>
                <a:cubicBezTo>
                  <a:pt x="3850519" y="1503925"/>
                  <a:pt x="3851586" y="1502359"/>
                  <a:pt x="3853294" y="1500794"/>
                </a:cubicBezTo>
                <a:cubicBezTo>
                  <a:pt x="3864391" y="1488560"/>
                  <a:pt x="3878904" y="1490978"/>
                  <a:pt x="3887867" y="1499372"/>
                </a:cubicBezTo>
                <a:lnTo>
                  <a:pt x="3888295" y="1500083"/>
                </a:lnTo>
                <a:lnTo>
                  <a:pt x="3890215" y="1497096"/>
                </a:lnTo>
                <a:lnTo>
                  <a:pt x="3887867" y="1496811"/>
                </a:lnTo>
                <a:cubicBezTo>
                  <a:pt x="3885947" y="1495673"/>
                  <a:pt x="3884880" y="1493112"/>
                  <a:pt x="3886160" y="1489413"/>
                </a:cubicBezTo>
                <a:cubicBezTo>
                  <a:pt x="3887654" y="1488702"/>
                  <a:pt x="3890215" y="1488702"/>
                  <a:pt x="3892563" y="1489271"/>
                </a:cubicBezTo>
                <a:lnTo>
                  <a:pt x="3895124" y="1490978"/>
                </a:lnTo>
                <a:lnTo>
                  <a:pt x="3901740" y="1487279"/>
                </a:lnTo>
                <a:cubicBezTo>
                  <a:pt x="3903447" y="1486852"/>
                  <a:pt x="3905368" y="1486568"/>
                  <a:pt x="3907502" y="1486568"/>
                </a:cubicBezTo>
                <a:close/>
                <a:moveTo>
                  <a:pt x="3816158" y="1486568"/>
                </a:moveTo>
                <a:cubicBezTo>
                  <a:pt x="3817226" y="1487848"/>
                  <a:pt x="3818293" y="1489128"/>
                  <a:pt x="3818719" y="1490551"/>
                </a:cubicBezTo>
                <a:lnTo>
                  <a:pt x="3818719" y="1491690"/>
                </a:lnTo>
                <a:lnTo>
                  <a:pt x="3819786" y="1490693"/>
                </a:lnTo>
                <a:cubicBezTo>
                  <a:pt x="3820427" y="1489982"/>
                  <a:pt x="3820640" y="1488986"/>
                  <a:pt x="3820854" y="1487706"/>
                </a:cubicBezTo>
                <a:cubicBezTo>
                  <a:pt x="3820854" y="1487706"/>
                  <a:pt x="3820854" y="1487706"/>
                  <a:pt x="3823841" y="1486852"/>
                </a:cubicBezTo>
                <a:lnTo>
                  <a:pt x="3824909" y="1487421"/>
                </a:lnTo>
                <a:cubicBezTo>
                  <a:pt x="3825122" y="1487990"/>
                  <a:pt x="3824909" y="1488844"/>
                  <a:pt x="3824268" y="1490125"/>
                </a:cubicBezTo>
                <a:cubicBezTo>
                  <a:pt x="3822348" y="1493681"/>
                  <a:pt x="3817439" y="1498945"/>
                  <a:pt x="3817012" y="1499799"/>
                </a:cubicBezTo>
                <a:cubicBezTo>
                  <a:pt x="3817012" y="1499799"/>
                  <a:pt x="3816158" y="1500937"/>
                  <a:pt x="3815518" y="1501933"/>
                </a:cubicBezTo>
                <a:cubicBezTo>
                  <a:pt x="3814024" y="1502359"/>
                  <a:pt x="3812957" y="1501791"/>
                  <a:pt x="3812317" y="1502786"/>
                </a:cubicBezTo>
                <a:cubicBezTo>
                  <a:pt x="3811890" y="1500368"/>
                  <a:pt x="3812530" y="1498518"/>
                  <a:pt x="3813598" y="1496953"/>
                </a:cubicBezTo>
                <a:lnTo>
                  <a:pt x="3817439" y="1492970"/>
                </a:lnTo>
                <a:lnTo>
                  <a:pt x="3816158" y="1490835"/>
                </a:lnTo>
                <a:cubicBezTo>
                  <a:pt x="3815731" y="1489698"/>
                  <a:pt x="3815731" y="1488417"/>
                  <a:pt x="3816158" y="1486568"/>
                </a:cubicBezTo>
                <a:close/>
                <a:moveTo>
                  <a:pt x="3991803" y="1486141"/>
                </a:moveTo>
                <a:cubicBezTo>
                  <a:pt x="3993510" y="1488133"/>
                  <a:pt x="3996925" y="1491832"/>
                  <a:pt x="3997565" y="1494392"/>
                </a:cubicBezTo>
                <a:cubicBezTo>
                  <a:pt x="3997565" y="1495246"/>
                  <a:pt x="3997565" y="1495957"/>
                  <a:pt x="3996925" y="1496527"/>
                </a:cubicBezTo>
                <a:cubicBezTo>
                  <a:pt x="3994791" y="1493823"/>
                  <a:pt x="3990309" y="1490693"/>
                  <a:pt x="3991803" y="1486141"/>
                </a:cubicBezTo>
                <a:close/>
                <a:moveTo>
                  <a:pt x="3700698" y="1485430"/>
                </a:moveTo>
                <a:cubicBezTo>
                  <a:pt x="3703046" y="1485571"/>
                  <a:pt x="3705607" y="1486994"/>
                  <a:pt x="3706247" y="1488702"/>
                </a:cubicBezTo>
                <a:cubicBezTo>
                  <a:pt x="3705607" y="1496811"/>
                  <a:pt x="3696857" y="1493254"/>
                  <a:pt x="3695576" y="1489982"/>
                </a:cubicBezTo>
                <a:cubicBezTo>
                  <a:pt x="3696003" y="1486568"/>
                  <a:pt x="3698351" y="1485287"/>
                  <a:pt x="3700698" y="1485430"/>
                </a:cubicBezTo>
                <a:close/>
                <a:moveTo>
                  <a:pt x="4032139" y="1485145"/>
                </a:moveTo>
                <a:cubicBezTo>
                  <a:pt x="4032993" y="1484861"/>
                  <a:pt x="4034060" y="1485145"/>
                  <a:pt x="4035981" y="1486141"/>
                </a:cubicBezTo>
                <a:cubicBezTo>
                  <a:pt x="4035981" y="1486141"/>
                  <a:pt x="4036194" y="1487279"/>
                  <a:pt x="4036194" y="1487279"/>
                </a:cubicBezTo>
                <a:cubicBezTo>
                  <a:pt x="4034487" y="1490978"/>
                  <a:pt x="4032993" y="1489840"/>
                  <a:pt x="4030432" y="1487563"/>
                </a:cubicBezTo>
                <a:cubicBezTo>
                  <a:pt x="4030859" y="1486425"/>
                  <a:pt x="4031286" y="1485571"/>
                  <a:pt x="4032139" y="1485145"/>
                </a:cubicBezTo>
                <a:close/>
                <a:moveTo>
                  <a:pt x="3736766" y="1485145"/>
                </a:moveTo>
                <a:cubicBezTo>
                  <a:pt x="3737834" y="1485145"/>
                  <a:pt x="3738901" y="1485145"/>
                  <a:pt x="3739968" y="1485571"/>
                </a:cubicBezTo>
                <a:cubicBezTo>
                  <a:pt x="3744022" y="1486141"/>
                  <a:pt x="3745730" y="1490408"/>
                  <a:pt x="3750212" y="1492116"/>
                </a:cubicBezTo>
                <a:cubicBezTo>
                  <a:pt x="3748717" y="1497949"/>
                  <a:pt x="3747864" y="1499656"/>
                  <a:pt x="3741675" y="1500083"/>
                </a:cubicBezTo>
                <a:cubicBezTo>
                  <a:pt x="3741675" y="1500083"/>
                  <a:pt x="3740394" y="1499656"/>
                  <a:pt x="3740394" y="1499656"/>
                </a:cubicBezTo>
                <a:cubicBezTo>
                  <a:pt x="3734845" y="1498518"/>
                  <a:pt x="3729937" y="1493112"/>
                  <a:pt x="3730150" y="1490408"/>
                </a:cubicBezTo>
                <a:cubicBezTo>
                  <a:pt x="3731218" y="1487990"/>
                  <a:pt x="3733778" y="1485571"/>
                  <a:pt x="3736766" y="1485145"/>
                </a:cubicBezTo>
                <a:close/>
                <a:moveTo>
                  <a:pt x="1432680" y="1484704"/>
                </a:moveTo>
                <a:cubicBezTo>
                  <a:pt x="1437946" y="1484704"/>
                  <a:pt x="1441664" y="1492139"/>
                  <a:pt x="1443006" y="1496475"/>
                </a:cubicBezTo>
                <a:cubicBezTo>
                  <a:pt x="1441147" y="1497870"/>
                  <a:pt x="1441870" y="1499573"/>
                  <a:pt x="1440011" y="1500968"/>
                </a:cubicBezTo>
                <a:cubicBezTo>
                  <a:pt x="1436398" y="1496630"/>
                  <a:pt x="1432371" y="1492139"/>
                  <a:pt x="1431854" y="1488266"/>
                </a:cubicBezTo>
                <a:cubicBezTo>
                  <a:pt x="1431751" y="1487027"/>
                  <a:pt x="1431958" y="1485788"/>
                  <a:pt x="1432680" y="1484704"/>
                </a:cubicBezTo>
                <a:close/>
                <a:moveTo>
                  <a:pt x="5233906" y="1484149"/>
                </a:moveTo>
                <a:cubicBezTo>
                  <a:pt x="5240522" y="1485003"/>
                  <a:pt x="5245217" y="1486852"/>
                  <a:pt x="5246711" y="1491974"/>
                </a:cubicBezTo>
                <a:lnTo>
                  <a:pt x="5246924" y="1495673"/>
                </a:lnTo>
                <a:lnTo>
                  <a:pt x="5249059" y="1495388"/>
                </a:lnTo>
                <a:cubicBezTo>
                  <a:pt x="5247565" y="1499514"/>
                  <a:pt x="5252474" y="1500510"/>
                  <a:pt x="5248419" y="1504209"/>
                </a:cubicBezTo>
                <a:cubicBezTo>
                  <a:pt x="5246071" y="1504778"/>
                  <a:pt x="5243510" y="1504351"/>
                  <a:pt x="5240522" y="1501506"/>
                </a:cubicBezTo>
                <a:lnTo>
                  <a:pt x="5241376" y="1499372"/>
                </a:lnTo>
                <a:lnTo>
                  <a:pt x="5241162" y="1499514"/>
                </a:lnTo>
                <a:cubicBezTo>
                  <a:pt x="5239241" y="1499087"/>
                  <a:pt x="5237748" y="1497807"/>
                  <a:pt x="5236253" y="1496100"/>
                </a:cubicBezTo>
                <a:cubicBezTo>
                  <a:pt x="5233692" y="1492827"/>
                  <a:pt x="5232412" y="1487848"/>
                  <a:pt x="5233906" y="1484149"/>
                </a:cubicBezTo>
                <a:close/>
                <a:moveTo>
                  <a:pt x="1351418" y="1484084"/>
                </a:moveTo>
                <a:cubicBezTo>
                  <a:pt x="1354412" y="1486717"/>
                  <a:pt x="1355238" y="1488576"/>
                  <a:pt x="1354928" y="1489970"/>
                </a:cubicBezTo>
                <a:lnTo>
                  <a:pt x="1354825" y="1490125"/>
                </a:lnTo>
                <a:lnTo>
                  <a:pt x="1359162" y="1491519"/>
                </a:lnTo>
                <a:cubicBezTo>
                  <a:pt x="1358645" y="1492139"/>
                  <a:pt x="1357820" y="1492448"/>
                  <a:pt x="1356787" y="1492603"/>
                </a:cubicBezTo>
                <a:lnTo>
                  <a:pt x="1353483" y="1492139"/>
                </a:lnTo>
                <a:lnTo>
                  <a:pt x="1351521" y="1494152"/>
                </a:lnTo>
                <a:cubicBezTo>
                  <a:pt x="1349869" y="1493223"/>
                  <a:pt x="1347184" y="1493842"/>
                  <a:pt x="1345738" y="1492139"/>
                </a:cubicBezTo>
                <a:cubicBezTo>
                  <a:pt x="1345738" y="1492139"/>
                  <a:pt x="1345016" y="1491209"/>
                  <a:pt x="1345326" y="1489505"/>
                </a:cubicBezTo>
                <a:cubicBezTo>
                  <a:pt x="1345016" y="1488886"/>
                  <a:pt x="1344912" y="1488266"/>
                  <a:pt x="1345016" y="1487646"/>
                </a:cubicBezTo>
                <a:cubicBezTo>
                  <a:pt x="1345326" y="1485942"/>
                  <a:pt x="1346977" y="1484549"/>
                  <a:pt x="1346977" y="1484549"/>
                </a:cubicBezTo>
                <a:cubicBezTo>
                  <a:pt x="1346977" y="1484549"/>
                  <a:pt x="1346977" y="1484549"/>
                  <a:pt x="1346152" y="1484549"/>
                </a:cubicBezTo>
                <a:cubicBezTo>
                  <a:pt x="1347907" y="1484704"/>
                  <a:pt x="1349765" y="1483929"/>
                  <a:pt x="1351418" y="1484084"/>
                </a:cubicBezTo>
                <a:close/>
                <a:moveTo>
                  <a:pt x="5007681" y="1484007"/>
                </a:moveTo>
                <a:cubicBezTo>
                  <a:pt x="5012803" y="1490978"/>
                  <a:pt x="5003626" y="1496100"/>
                  <a:pt x="4999784" y="1494108"/>
                </a:cubicBezTo>
                <a:cubicBezTo>
                  <a:pt x="4997437" y="1488702"/>
                  <a:pt x="5002986" y="1483153"/>
                  <a:pt x="5007681" y="1484007"/>
                </a:cubicBezTo>
                <a:close/>
                <a:moveTo>
                  <a:pt x="4791700" y="1484007"/>
                </a:moveTo>
                <a:cubicBezTo>
                  <a:pt x="4798103" y="1486994"/>
                  <a:pt x="4804292" y="1488844"/>
                  <a:pt x="4810694" y="1490693"/>
                </a:cubicBezTo>
                <a:lnTo>
                  <a:pt x="4820939" y="1494250"/>
                </a:lnTo>
                <a:lnTo>
                  <a:pt x="4823500" y="1489698"/>
                </a:lnTo>
                <a:lnTo>
                  <a:pt x="4826060" y="1495815"/>
                </a:lnTo>
                <a:lnTo>
                  <a:pt x="4829689" y="1497238"/>
                </a:lnTo>
                <a:cubicBezTo>
                  <a:pt x="4830543" y="1513172"/>
                  <a:pt x="4848897" y="1528110"/>
                  <a:pt x="4841214" y="1545752"/>
                </a:cubicBezTo>
                <a:cubicBezTo>
                  <a:pt x="4828408" y="1554288"/>
                  <a:pt x="4829262" y="1562824"/>
                  <a:pt x="4823286" y="1570933"/>
                </a:cubicBezTo>
                <a:cubicBezTo>
                  <a:pt x="4804505" y="1580181"/>
                  <a:pt x="4777188" y="1586298"/>
                  <a:pt x="4760114" y="1571502"/>
                </a:cubicBezTo>
                <a:cubicBezTo>
                  <a:pt x="4746028" y="1559267"/>
                  <a:pt x="4750937" y="1543760"/>
                  <a:pt x="4745815" y="1526261"/>
                </a:cubicBezTo>
                <a:cubicBezTo>
                  <a:pt x="4758620" y="1517724"/>
                  <a:pt x="4756699" y="1509046"/>
                  <a:pt x="4759047" y="1500652"/>
                </a:cubicBezTo>
                <a:cubicBezTo>
                  <a:pt x="4769718" y="1499229"/>
                  <a:pt x="4780602" y="1489128"/>
                  <a:pt x="4791700" y="1484007"/>
                </a:cubicBezTo>
                <a:close/>
                <a:moveTo>
                  <a:pt x="4348000" y="1484007"/>
                </a:moveTo>
                <a:cubicBezTo>
                  <a:pt x="4350134" y="1484149"/>
                  <a:pt x="4351202" y="1484861"/>
                  <a:pt x="4351629" y="1485856"/>
                </a:cubicBezTo>
                <a:cubicBezTo>
                  <a:pt x="4352055" y="1486994"/>
                  <a:pt x="4351842" y="1488560"/>
                  <a:pt x="4351202" y="1490267"/>
                </a:cubicBezTo>
                <a:cubicBezTo>
                  <a:pt x="4350348" y="1493539"/>
                  <a:pt x="4347787" y="1493823"/>
                  <a:pt x="4347787" y="1493823"/>
                </a:cubicBezTo>
                <a:cubicBezTo>
                  <a:pt x="4343519" y="1493681"/>
                  <a:pt x="4341171" y="1491120"/>
                  <a:pt x="4341598" y="1486852"/>
                </a:cubicBezTo>
                <a:cubicBezTo>
                  <a:pt x="4343091" y="1484576"/>
                  <a:pt x="4345439" y="1484291"/>
                  <a:pt x="4348000" y="1484007"/>
                </a:cubicBezTo>
                <a:close/>
                <a:moveTo>
                  <a:pt x="1140568" y="1483929"/>
                </a:moveTo>
                <a:cubicBezTo>
                  <a:pt x="1141601" y="1487337"/>
                  <a:pt x="1139123" y="1489970"/>
                  <a:pt x="1139639" y="1493997"/>
                </a:cubicBezTo>
                <a:cubicBezTo>
                  <a:pt x="1136851" y="1495546"/>
                  <a:pt x="1136955" y="1500503"/>
                  <a:pt x="1132928" y="1502362"/>
                </a:cubicBezTo>
                <a:cubicBezTo>
                  <a:pt x="1132308" y="1501122"/>
                  <a:pt x="1132101" y="1499418"/>
                  <a:pt x="1132411" y="1497560"/>
                </a:cubicBezTo>
                <a:cubicBezTo>
                  <a:pt x="1133340" y="1491984"/>
                  <a:pt x="1137884" y="1484858"/>
                  <a:pt x="1140568" y="1483929"/>
                </a:cubicBezTo>
                <a:close/>
                <a:moveTo>
                  <a:pt x="1569701" y="1483619"/>
                </a:moveTo>
                <a:cubicBezTo>
                  <a:pt x="1572179" y="1483619"/>
                  <a:pt x="1573109" y="1482845"/>
                  <a:pt x="1573005" y="1483774"/>
                </a:cubicBezTo>
                <a:cubicBezTo>
                  <a:pt x="1573832" y="1483774"/>
                  <a:pt x="1573728" y="1484549"/>
                  <a:pt x="1572902" y="1484549"/>
                </a:cubicBezTo>
                <a:cubicBezTo>
                  <a:pt x="1571870" y="1486252"/>
                  <a:pt x="1570424" y="1484549"/>
                  <a:pt x="1569701" y="1483619"/>
                </a:cubicBezTo>
                <a:close/>
                <a:moveTo>
                  <a:pt x="1261391" y="1483213"/>
                </a:moveTo>
                <a:cubicBezTo>
                  <a:pt x="1263056" y="1483774"/>
                  <a:pt x="1264269" y="1485091"/>
                  <a:pt x="1263960" y="1487492"/>
                </a:cubicBezTo>
                <a:cubicBezTo>
                  <a:pt x="1263960" y="1488421"/>
                  <a:pt x="1263340" y="1489040"/>
                  <a:pt x="1262411" y="1489350"/>
                </a:cubicBezTo>
                <a:cubicBezTo>
                  <a:pt x="1259520" y="1490280"/>
                  <a:pt x="1254047" y="1488730"/>
                  <a:pt x="1254150" y="1485168"/>
                </a:cubicBezTo>
                <a:cubicBezTo>
                  <a:pt x="1254357" y="1484394"/>
                  <a:pt x="1255080" y="1483929"/>
                  <a:pt x="1256112" y="1483464"/>
                </a:cubicBezTo>
                <a:cubicBezTo>
                  <a:pt x="1257609" y="1482845"/>
                  <a:pt x="1259726" y="1482651"/>
                  <a:pt x="1261391" y="1483213"/>
                </a:cubicBezTo>
                <a:close/>
                <a:moveTo>
                  <a:pt x="5204027" y="1482869"/>
                </a:moveTo>
                <a:cubicBezTo>
                  <a:pt x="5205307" y="1482584"/>
                  <a:pt x="5206802" y="1482584"/>
                  <a:pt x="5208509" y="1483011"/>
                </a:cubicBezTo>
                <a:cubicBezTo>
                  <a:pt x="5214911" y="1494250"/>
                  <a:pt x="5203600" y="1502217"/>
                  <a:pt x="5196557" y="1497522"/>
                </a:cubicBezTo>
                <a:cubicBezTo>
                  <a:pt x="5194210" y="1495957"/>
                  <a:pt x="5192289" y="1492970"/>
                  <a:pt x="5191862" y="1488275"/>
                </a:cubicBezTo>
                <a:cubicBezTo>
                  <a:pt x="5197624" y="1486994"/>
                  <a:pt x="5200186" y="1483580"/>
                  <a:pt x="5204027" y="1482869"/>
                </a:cubicBezTo>
                <a:close/>
                <a:moveTo>
                  <a:pt x="3980705" y="1482869"/>
                </a:moveTo>
                <a:cubicBezTo>
                  <a:pt x="3981772" y="1482584"/>
                  <a:pt x="3983053" y="1482726"/>
                  <a:pt x="3984120" y="1483011"/>
                </a:cubicBezTo>
                <a:cubicBezTo>
                  <a:pt x="3985827" y="1483438"/>
                  <a:pt x="3987321" y="1484291"/>
                  <a:pt x="3988388" y="1485998"/>
                </a:cubicBezTo>
                <a:cubicBezTo>
                  <a:pt x="3986894" y="1488275"/>
                  <a:pt x="3986467" y="1490835"/>
                  <a:pt x="3984974" y="1493112"/>
                </a:cubicBezTo>
                <a:cubicBezTo>
                  <a:pt x="3980491" y="1492685"/>
                  <a:pt x="3976437" y="1497238"/>
                  <a:pt x="3973022" y="1490835"/>
                </a:cubicBezTo>
                <a:cubicBezTo>
                  <a:pt x="3973662" y="1486710"/>
                  <a:pt x="3977077" y="1483580"/>
                  <a:pt x="3980705" y="1482869"/>
                </a:cubicBezTo>
                <a:close/>
                <a:moveTo>
                  <a:pt x="1488852" y="1482225"/>
                </a:moveTo>
                <a:cubicBezTo>
                  <a:pt x="1494014" y="1482845"/>
                  <a:pt x="1495976" y="1489815"/>
                  <a:pt x="1490710" y="1493378"/>
                </a:cubicBezTo>
                <a:cubicBezTo>
                  <a:pt x="1489161" y="1492294"/>
                  <a:pt x="1487406" y="1492139"/>
                  <a:pt x="1485857" y="1491054"/>
                </a:cubicBezTo>
                <a:cubicBezTo>
                  <a:pt x="1486270" y="1489350"/>
                  <a:pt x="1485754" y="1487801"/>
                  <a:pt x="1485754" y="1486407"/>
                </a:cubicBezTo>
                <a:cubicBezTo>
                  <a:pt x="1485754" y="1485013"/>
                  <a:pt x="1486374" y="1483619"/>
                  <a:pt x="1488852" y="1482225"/>
                </a:cubicBezTo>
                <a:close/>
                <a:moveTo>
                  <a:pt x="4592366" y="1481589"/>
                </a:moveTo>
                <a:cubicBezTo>
                  <a:pt x="4590019" y="1495246"/>
                  <a:pt x="4600903" y="1502359"/>
                  <a:pt x="4604318" y="1512176"/>
                </a:cubicBezTo>
                <a:lnTo>
                  <a:pt x="4604958" y="1515306"/>
                </a:lnTo>
                <a:lnTo>
                  <a:pt x="4610080" y="1517156"/>
                </a:lnTo>
                <a:cubicBezTo>
                  <a:pt x="4610933" y="1517724"/>
                  <a:pt x="4611574" y="1518578"/>
                  <a:pt x="4611574" y="1519574"/>
                </a:cubicBezTo>
                <a:cubicBezTo>
                  <a:pt x="4611361" y="1521281"/>
                  <a:pt x="4609653" y="1520712"/>
                  <a:pt x="4608799" y="1521423"/>
                </a:cubicBezTo>
                <a:lnTo>
                  <a:pt x="4605171" y="1519717"/>
                </a:lnTo>
                <a:lnTo>
                  <a:pt x="4604745" y="1523131"/>
                </a:lnTo>
                <a:cubicBezTo>
                  <a:pt x="4599409" y="1544328"/>
                  <a:pt x="4575720" y="1547885"/>
                  <a:pt x="4562914" y="1538496"/>
                </a:cubicBezTo>
                <a:lnTo>
                  <a:pt x="4557152" y="1531667"/>
                </a:lnTo>
                <a:lnTo>
                  <a:pt x="4555018" y="1533517"/>
                </a:lnTo>
                <a:cubicBezTo>
                  <a:pt x="4552883" y="1534654"/>
                  <a:pt x="4550536" y="1535081"/>
                  <a:pt x="4549255" y="1534512"/>
                </a:cubicBezTo>
                <a:cubicBezTo>
                  <a:pt x="4546694" y="1532236"/>
                  <a:pt x="4544987" y="1527541"/>
                  <a:pt x="4547761" y="1523842"/>
                </a:cubicBezTo>
                <a:cubicBezTo>
                  <a:pt x="4548828" y="1521993"/>
                  <a:pt x="4550322" y="1520997"/>
                  <a:pt x="4552030" y="1520001"/>
                </a:cubicBezTo>
                <a:lnTo>
                  <a:pt x="4556085" y="1516871"/>
                </a:lnTo>
                <a:lnTo>
                  <a:pt x="4558219" y="1508762"/>
                </a:lnTo>
                <a:cubicBezTo>
                  <a:pt x="4564835" y="1496384"/>
                  <a:pt x="4578920" y="1493254"/>
                  <a:pt x="4592366" y="1481589"/>
                </a:cubicBezTo>
                <a:close/>
                <a:moveTo>
                  <a:pt x="3750639" y="1481304"/>
                </a:moveTo>
                <a:lnTo>
                  <a:pt x="3749358" y="1481589"/>
                </a:lnTo>
                <a:lnTo>
                  <a:pt x="3748717" y="1482869"/>
                </a:lnTo>
                <a:close/>
                <a:moveTo>
                  <a:pt x="1671305" y="1480521"/>
                </a:moveTo>
                <a:cubicBezTo>
                  <a:pt x="1674300" y="1482535"/>
                  <a:pt x="1674300" y="1485788"/>
                  <a:pt x="1672958" y="1488576"/>
                </a:cubicBezTo>
                <a:cubicBezTo>
                  <a:pt x="1671512" y="1491209"/>
                  <a:pt x="1668724" y="1493378"/>
                  <a:pt x="1665833" y="1493378"/>
                </a:cubicBezTo>
                <a:cubicBezTo>
                  <a:pt x="1665420" y="1491674"/>
                  <a:pt x="1665110" y="1490280"/>
                  <a:pt x="1665007" y="1488886"/>
                </a:cubicBezTo>
                <a:cubicBezTo>
                  <a:pt x="1664904" y="1487492"/>
                  <a:pt x="1665007" y="1486252"/>
                  <a:pt x="1665420" y="1485168"/>
                </a:cubicBezTo>
                <a:cubicBezTo>
                  <a:pt x="1666143" y="1483154"/>
                  <a:pt x="1667898" y="1481450"/>
                  <a:pt x="1671305" y="1480521"/>
                </a:cubicBezTo>
                <a:close/>
                <a:moveTo>
                  <a:pt x="1586016" y="1480521"/>
                </a:moveTo>
                <a:cubicBezTo>
                  <a:pt x="1595102" y="1474171"/>
                  <a:pt x="1594896" y="1486097"/>
                  <a:pt x="1596961" y="1491829"/>
                </a:cubicBezTo>
                <a:cubicBezTo>
                  <a:pt x="1593863" y="1493997"/>
                  <a:pt x="1592831" y="1494307"/>
                  <a:pt x="1588907" y="1494152"/>
                </a:cubicBezTo>
                <a:cubicBezTo>
                  <a:pt x="1587152" y="1491829"/>
                  <a:pt x="1586326" y="1489505"/>
                  <a:pt x="1586016" y="1487337"/>
                </a:cubicBezTo>
                <a:cubicBezTo>
                  <a:pt x="1585603" y="1485013"/>
                  <a:pt x="1585809" y="1482845"/>
                  <a:pt x="1586016" y="1480521"/>
                </a:cubicBezTo>
                <a:close/>
                <a:moveTo>
                  <a:pt x="4617763" y="1480308"/>
                </a:moveTo>
                <a:cubicBezTo>
                  <a:pt x="4618617" y="1479739"/>
                  <a:pt x="4620111" y="1481589"/>
                  <a:pt x="4620111" y="1481589"/>
                </a:cubicBezTo>
                <a:cubicBezTo>
                  <a:pt x="4620964" y="1481019"/>
                  <a:pt x="4622031" y="1480450"/>
                  <a:pt x="4623525" y="1480734"/>
                </a:cubicBezTo>
                <a:cubicBezTo>
                  <a:pt x="4623312" y="1482442"/>
                  <a:pt x="4624166" y="1481872"/>
                  <a:pt x="4624806" y="1482869"/>
                </a:cubicBezTo>
                <a:cubicBezTo>
                  <a:pt x="4623312" y="1482442"/>
                  <a:pt x="4620324" y="1484291"/>
                  <a:pt x="4617763" y="1484576"/>
                </a:cubicBezTo>
                <a:cubicBezTo>
                  <a:pt x="4617123" y="1483580"/>
                  <a:pt x="4615416" y="1483296"/>
                  <a:pt x="4614775" y="1482299"/>
                </a:cubicBezTo>
                <a:cubicBezTo>
                  <a:pt x="4615842" y="1481589"/>
                  <a:pt x="4617123" y="1479312"/>
                  <a:pt x="4617763" y="1480308"/>
                </a:cubicBezTo>
                <a:close/>
                <a:moveTo>
                  <a:pt x="1122189" y="1480057"/>
                </a:moveTo>
                <a:cubicBezTo>
                  <a:pt x="1130966" y="1479282"/>
                  <a:pt x="1132721" y="1484858"/>
                  <a:pt x="1130553" y="1488421"/>
                </a:cubicBezTo>
                <a:cubicBezTo>
                  <a:pt x="1129830" y="1489505"/>
                  <a:pt x="1128797" y="1490435"/>
                  <a:pt x="1127248" y="1490899"/>
                </a:cubicBezTo>
                <a:cubicBezTo>
                  <a:pt x="1125287" y="1491364"/>
                  <a:pt x="1122808" y="1490899"/>
                  <a:pt x="1119917" y="1488730"/>
                </a:cubicBezTo>
                <a:cubicBezTo>
                  <a:pt x="1119504" y="1484549"/>
                  <a:pt x="1121466" y="1482845"/>
                  <a:pt x="1122189" y="1480057"/>
                </a:cubicBezTo>
                <a:close/>
                <a:moveTo>
                  <a:pt x="5378391" y="1480024"/>
                </a:moveTo>
                <a:cubicBezTo>
                  <a:pt x="5383300" y="1479169"/>
                  <a:pt x="5393330" y="1485145"/>
                  <a:pt x="5380525" y="1490408"/>
                </a:cubicBezTo>
                <a:cubicBezTo>
                  <a:pt x="5374123" y="1483438"/>
                  <a:pt x="5375190" y="1480592"/>
                  <a:pt x="5378391" y="1480024"/>
                </a:cubicBezTo>
                <a:close/>
                <a:moveTo>
                  <a:pt x="1470369" y="1479902"/>
                </a:moveTo>
                <a:cubicBezTo>
                  <a:pt x="1470369" y="1479902"/>
                  <a:pt x="1470472" y="1480057"/>
                  <a:pt x="1471918" y="1481296"/>
                </a:cubicBezTo>
                <a:cubicBezTo>
                  <a:pt x="1472331" y="1482225"/>
                  <a:pt x="1472537" y="1483000"/>
                  <a:pt x="1472124" y="1484084"/>
                </a:cubicBezTo>
                <a:cubicBezTo>
                  <a:pt x="1471608" y="1485168"/>
                  <a:pt x="1469956" y="1485633"/>
                  <a:pt x="1469130" y="1485942"/>
                </a:cubicBezTo>
                <a:cubicBezTo>
                  <a:pt x="1468820" y="1485168"/>
                  <a:pt x="1467891" y="1485323"/>
                  <a:pt x="1467581" y="1484549"/>
                </a:cubicBezTo>
                <a:cubicBezTo>
                  <a:pt x="1466858" y="1483774"/>
                  <a:pt x="1466445" y="1483464"/>
                  <a:pt x="1466342" y="1483154"/>
                </a:cubicBezTo>
                <a:cubicBezTo>
                  <a:pt x="1466238" y="1482845"/>
                  <a:pt x="1466342" y="1482690"/>
                  <a:pt x="1466652" y="1482070"/>
                </a:cubicBezTo>
                <a:cubicBezTo>
                  <a:pt x="1467065" y="1480986"/>
                  <a:pt x="1469956" y="1480986"/>
                  <a:pt x="1470369" y="1479902"/>
                </a:cubicBezTo>
                <a:close/>
                <a:moveTo>
                  <a:pt x="1532323" y="1479747"/>
                </a:moveTo>
                <a:cubicBezTo>
                  <a:pt x="1535420" y="1482380"/>
                  <a:pt x="1535833" y="1485323"/>
                  <a:pt x="1534904" y="1487492"/>
                </a:cubicBezTo>
                <a:lnTo>
                  <a:pt x="1534491" y="1487956"/>
                </a:lnTo>
                <a:lnTo>
                  <a:pt x="1534594" y="1487956"/>
                </a:lnTo>
                <a:cubicBezTo>
                  <a:pt x="1535317" y="1487492"/>
                  <a:pt x="1535936" y="1489970"/>
                  <a:pt x="1535936" y="1489970"/>
                </a:cubicBezTo>
                <a:cubicBezTo>
                  <a:pt x="1535627" y="1491209"/>
                  <a:pt x="1532323" y="1491364"/>
                  <a:pt x="1531600" y="1491829"/>
                </a:cubicBezTo>
                <a:lnTo>
                  <a:pt x="1531290" y="1490590"/>
                </a:lnTo>
                <a:lnTo>
                  <a:pt x="1529122" y="1491209"/>
                </a:lnTo>
                <a:cubicBezTo>
                  <a:pt x="1527470" y="1491364"/>
                  <a:pt x="1525714" y="1490744"/>
                  <a:pt x="1524268" y="1489195"/>
                </a:cubicBezTo>
                <a:cubicBezTo>
                  <a:pt x="1525301" y="1485633"/>
                  <a:pt x="1525817" y="1481606"/>
                  <a:pt x="1528605" y="1480211"/>
                </a:cubicBezTo>
                <a:cubicBezTo>
                  <a:pt x="1529535" y="1479747"/>
                  <a:pt x="1530773" y="1479437"/>
                  <a:pt x="1532323" y="1479747"/>
                </a:cubicBezTo>
                <a:close/>
                <a:moveTo>
                  <a:pt x="5816328" y="1479169"/>
                </a:moveTo>
                <a:cubicBezTo>
                  <a:pt x="5816328" y="1480450"/>
                  <a:pt x="5817395" y="1480450"/>
                  <a:pt x="5817395" y="1481589"/>
                </a:cubicBezTo>
                <a:cubicBezTo>
                  <a:pt x="5818249" y="1484149"/>
                  <a:pt x="5818249" y="1484149"/>
                  <a:pt x="5816968" y="1485430"/>
                </a:cubicBezTo>
                <a:cubicBezTo>
                  <a:pt x="5815688" y="1486568"/>
                  <a:pt x="5812273" y="1485287"/>
                  <a:pt x="5810993" y="1486568"/>
                </a:cubicBezTo>
                <a:cubicBezTo>
                  <a:pt x="5810993" y="1486568"/>
                  <a:pt x="5810780" y="1486568"/>
                  <a:pt x="5809926" y="1484007"/>
                </a:cubicBezTo>
                <a:cubicBezTo>
                  <a:pt x="5810139" y="1482869"/>
                  <a:pt x="5810139" y="1481589"/>
                  <a:pt x="5811420" y="1480308"/>
                </a:cubicBezTo>
                <a:cubicBezTo>
                  <a:pt x="5812914" y="1479169"/>
                  <a:pt x="5815261" y="1479169"/>
                  <a:pt x="5816328" y="1479169"/>
                </a:cubicBezTo>
                <a:close/>
                <a:moveTo>
                  <a:pt x="1578581" y="1479127"/>
                </a:moveTo>
                <a:cubicBezTo>
                  <a:pt x="1579717" y="1479902"/>
                  <a:pt x="1581576" y="1480366"/>
                  <a:pt x="1582918" y="1481761"/>
                </a:cubicBezTo>
                <a:cubicBezTo>
                  <a:pt x="1582299" y="1486407"/>
                  <a:pt x="1578065" y="1484084"/>
                  <a:pt x="1577549" y="1481450"/>
                </a:cubicBezTo>
                <a:cubicBezTo>
                  <a:pt x="1577445" y="1480676"/>
                  <a:pt x="1577652" y="1479747"/>
                  <a:pt x="1578581" y="1479127"/>
                </a:cubicBezTo>
                <a:close/>
                <a:moveTo>
                  <a:pt x="5547419" y="1476467"/>
                </a:moveTo>
                <a:cubicBezTo>
                  <a:pt x="5543151" y="1485856"/>
                  <a:pt x="5535682" y="1501079"/>
                  <a:pt x="5526718" y="1505489"/>
                </a:cubicBezTo>
                <a:cubicBezTo>
                  <a:pt x="5518181" y="1494250"/>
                  <a:pt x="5539310" y="1478458"/>
                  <a:pt x="5547419" y="1476467"/>
                </a:cubicBezTo>
                <a:close/>
                <a:moveTo>
                  <a:pt x="4208851" y="1476040"/>
                </a:moveTo>
                <a:cubicBezTo>
                  <a:pt x="4211625" y="1476609"/>
                  <a:pt x="4213759" y="1475897"/>
                  <a:pt x="4216320" y="1476467"/>
                </a:cubicBezTo>
                <a:cubicBezTo>
                  <a:pt x="4217814" y="1481019"/>
                  <a:pt x="4223363" y="1483296"/>
                  <a:pt x="4219308" y="1489271"/>
                </a:cubicBezTo>
                <a:cubicBezTo>
                  <a:pt x="4212692" y="1491120"/>
                  <a:pt x="4205223" y="1483296"/>
                  <a:pt x="4208851" y="1476040"/>
                </a:cubicBezTo>
                <a:close/>
                <a:moveTo>
                  <a:pt x="1440321" y="1475719"/>
                </a:moveTo>
                <a:cubicBezTo>
                  <a:pt x="1440837" y="1479282"/>
                  <a:pt x="1443316" y="1483000"/>
                  <a:pt x="1442696" y="1485942"/>
                </a:cubicBezTo>
                <a:cubicBezTo>
                  <a:pt x="1442386" y="1486407"/>
                  <a:pt x="1442180" y="1487027"/>
                  <a:pt x="1441767" y="1487182"/>
                </a:cubicBezTo>
                <a:cubicBezTo>
                  <a:pt x="1441251" y="1487492"/>
                  <a:pt x="1440631" y="1487492"/>
                  <a:pt x="1439392" y="1486872"/>
                </a:cubicBezTo>
                <a:cubicBezTo>
                  <a:pt x="1438463" y="1486717"/>
                  <a:pt x="1437843" y="1486562"/>
                  <a:pt x="1437637" y="1485942"/>
                </a:cubicBezTo>
                <a:cubicBezTo>
                  <a:pt x="1437430" y="1485323"/>
                  <a:pt x="1437430" y="1484394"/>
                  <a:pt x="1437740" y="1482845"/>
                </a:cubicBezTo>
                <a:cubicBezTo>
                  <a:pt x="1438669" y="1480831"/>
                  <a:pt x="1438876" y="1478973"/>
                  <a:pt x="1439702" y="1478662"/>
                </a:cubicBezTo>
                <a:cubicBezTo>
                  <a:pt x="1439392" y="1477888"/>
                  <a:pt x="1439805" y="1476804"/>
                  <a:pt x="1439495" y="1476029"/>
                </a:cubicBezTo>
                <a:cubicBezTo>
                  <a:pt x="1439495" y="1476029"/>
                  <a:pt x="1439495" y="1476029"/>
                  <a:pt x="1440321" y="1475719"/>
                </a:cubicBezTo>
                <a:close/>
                <a:moveTo>
                  <a:pt x="4749443" y="1475471"/>
                </a:moveTo>
                <a:cubicBezTo>
                  <a:pt x="4746455" y="1487279"/>
                  <a:pt x="4745601" y="1499229"/>
                  <a:pt x="4732369" y="1510184"/>
                </a:cubicBezTo>
                <a:cubicBezTo>
                  <a:pt x="4729168" y="1508762"/>
                  <a:pt x="4723193" y="1510611"/>
                  <a:pt x="4722979" y="1504636"/>
                </a:cubicBezTo>
                <a:cubicBezTo>
                  <a:pt x="4737705" y="1498661"/>
                  <a:pt x="4735571" y="1476751"/>
                  <a:pt x="4749443" y="1475471"/>
                </a:cubicBezTo>
                <a:close/>
                <a:moveTo>
                  <a:pt x="4724686" y="1475471"/>
                </a:moveTo>
                <a:cubicBezTo>
                  <a:pt x="4725967" y="1475329"/>
                  <a:pt x="4727247" y="1475471"/>
                  <a:pt x="4728528" y="1476040"/>
                </a:cubicBezTo>
                <a:cubicBezTo>
                  <a:pt x="4729809" y="1477177"/>
                  <a:pt x="4730022" y="1477177"/>
                  <a:pt x="4731302" y="1478316"/>
                </a:cubicBezTo>
                <a:cubicBezTo>
                  <a:pt x="4731516" y="1480592"/>
                  <a:pt x="4733009" y="1483011"/>
                  <a:pt x="4732156" y="1485430"/>
                </a:cubicBezTo>
                <a:cubicBezTo>
                  <a:pt x="4730235" y="1487848"/>
                  <a:pt x="4724259" y="1486994"/>
                  <a:pt x="4721912" y="1485998"/>
                </a:cubicBezTo>
                <a:cubicBezTo>
                  <a:pt x="4719351" y="1483722"/>
                  <a:pt x="4719991" y="1480166"/>
                  <a:pt x="4721912" y="1477605"/>
                </a:cubicBezTo>
                <a:cubicBezTo>
                  <a:pt x="4722339" y="1476467"/>
                  <a:pt x="4723406" y="1475755"/>
                  <a:pt x="4724686" y="1475471"/>
                </a:cubicBezTo>
                <a:close/>
                <a:moveTo>
                  <a:pt x="1645285" y="1474945"/>
                </a:moveTo>
                <a:cubicBezTo>
                  <a:pt x="1646524" y="1476494"/>
                  <a:pt x="1648176" y="1477423"/>
                  <a:pt x="1650138" y="1479437"/>
                </a:cubicBezTo>
                <a:cubicBezTo>
                  <a:pt x="1649105" y="1481606"/>
                  <a:pt x="1644459" y="1484549"/>
                  <a:pt x="1640122" y="1483309"/>
                </a:cubicBezTo>
                <a:cubicBezTo>
                  <a:pt x="1639502" y="1482070"/>
                  <a:pt x="1639193" y="1480831"/>
                  <a:pt x="1639090" y="1479902"/>
                </a:cubicBezTo>
                <a:cubicBezTo>
                  <a:pt x="1639090" y="1478973"/>
                  <a:pt x="1639296" y="1478198"/>
                  <a:pt x="1639812" y="1477578"/>
                </a:cubicBezTo>
                <a:cubicBezTo>
                  <a:pt x="1640741" y="1476184"/>
                  <a:pt x="1642600" y="1475410"/>
                  <a:pt x="1645285" y="1474945"/>
                </a:cubicBezTo>
                <a:close/>
                <a:moveTo>
                  <a:pt x="1197153" y="1474790"/>
                </a:moveTo>
                <a:cubicBezTo>
                  <a:pt x="1195707" y="1478353"/>
                  <a:pt x="1194881" y="1480831"/>
                  <a:pt x="1194158" y="1483309"/>
                </a:cubicBezTo>
                <a:lnTo>
                  <a:pt x="1191474" y="1489505"/>
                </a:lnTo>
                <a:lnTo>
                  <a:pt x="1193126" y="1489815"/>
                </a:lnTo>
                <a:cubicBezTo>
                  <a:pt x="1191887" y="1493068"/>
                  <a:pt x="1191784" y="1495856"/>
                  <a:pt x="1191267" y="1497870"/>
                </a:cubicBezTo>
                <a:lnTo>
                  <a:pt x="1190544" y="1499109"/>
                </a:lnTo>
                <a:lnTo>
                  <a:pt x="1190441" y="1501587"/>
                </a:lnTo>
                <a:cubicBezTo>
                  <a:pt x="1189719" y="1503601"/>
                  <a:pt x="1188479" y="1505460"/>
                  <a:pt x="1186724" y="1506079"/>
                </a:cubicBezTo>
                <a:cubicBezTo>
                  <a:pt x="1182697" y="1507938"/>
                  <a:pt x="1180012" y="1507628"/>
                  <a:pt x="1177637" y="1506544"/>
                </a:cubicBezTo>
                <a:cubicBezTo>
                  <a:pt x="1177637" y="1506544"/>
                  <a:pt x="1177740" y="1506698"/>
                  <a:pt x="1178463" y="1507008"/>
                </a:cubicBezTo>
                <a:lnTo>
                  <a:pt x="1179599" y="1511501"/>
                </a:lnTo>
                <a:lnTo>
                  <a:pt x="1181148" y="1510262"/>
                </a:lnTo>
                <a:cubicBezTo>
                  <a:pt x="1189822" y="1511655"/>
                  <a:pt x="1188479" y="1514289"/>
                  <a:pt x="1188169" y="1518471"/>
                </a:cubicBezTo>
                <a:cubicBezTo>
                  <a:pt x="1186207" y="1518471"/>
                  <a:pt x="1184452" y="1520329"/>
                  <a:pt x="1182077" y="1519555"/>
                </a:cubicBezTo>
                <a:cubicBezTo>
                  <a:pt x="1182077" y="1519555"/>
                  <a:pt x="1181768" y="1519555"/>
                  <a:pt x="1181355" y="1519245"/>
                </a:cubicBezTo>
                <a:lnTo>
                  <a:pt x="1180838" y="1518781"/>
                </a:lnTo>
                <a:lnTo>
                  <a:pt x="1180116" y="1521104"/>
                </a:lnTo>
                <a:cubicBezTo>
                  <a:pt x="1179290" y="1520639"/>
                  <a:pt x="1178567" y="1520329"/>
                  <a:pt x="1178154" y="1519245"/>
                </a:cubicBezTo>
                <a:cubicBezTo>
                  <a:pt x="1177844" y="1518161"/>
                  <a:pt x="1178670" y="1518471"/>
                  <a:pt x="1177844" y="1518161"/>
                </a:cubicBezTo>
                <a:cubicBezTo>
                  <a:pt x="1177534" y="1517077"/>
                  <a:pt x="1177121" y="1517851"/>
                  <a:pt x="1177121" y="1517851"/>
                </a:cubicBezTo>
                <a:cubicBezTo>
                  <a:pt x="1177121" y="1517851"/>
                  <a:pt x="1177534" y="1517077"/>
                  <a:pt x="1177534" y="1517077"/>
                </a:cubicBezTo>
                <a:cubicBezTo>
                  <a:pt x="1177534" y="1517077"/>
                  <a:pt x="1177534" y="1517077"/>
                  <a:pt x="1176811" y="1514753"/>
                </a:cubicBezTo>
                <a:lnTo>
                  <a:pt x="1175779" y="1513205"/>
                </a:lnTo>
                <a:lnTo>
                  <a:pt x="1175469" y="1513669"/>
                </a:lnTo>
                <a:cubicBezTo>
                  <a:pt x="1174540" y="1514444"/>
                  <a:pt x="1173507" y="1515218"/>
                  <a:pt x="1172784" y="1514289"/>
                </a:cubicBezTo>
                <a:cubicBezTo>
                  <a:pt x="1172371" y="1513824"/>
                  <a:pt x="1172062" y="1513669"/>
                  <a:pt x="1171855" y="1513359"/>
                </a:cubicBezTo>
                <a:cubicBezTo>
                  <a:pt x="1171752" y="1513050"/>
                  <a:pt x="1171752" y="1512585"/>
                  <a:pt x="1172371" y="1511810"/>
                </a:cubicBezTo>
                <a:lnTo>
                  <a:pt x="1173404" y="1509642"/>
                </a:lnTo>
                <a:lnTo>
                  <a:pt x="1173197" y="1507783"/>
                </a:lnTo>
                <a:cubicBezTo>
                  <a:pt x="1173197" y="1506854"/>
                  <a:pt x="1173197" y="1505924"/>
                  <a:pt x="1173094" y="1504530"/>
                </a:cubicBezTo>
                <a:cubicBezTo>
                  <a:pt x="1174746" y="1503291"/>
                  <a:pt x="1174746" y="1503291"/>
                  <a:pt x="1175469" y="1503756"/>
                </a:cubicBezTo>
                <a:cubicBezTo>
                  <a:pt x="1174746" y="1503291"/>
                  <a:pt x="1175159" y="1502517"/>
                  <a:pt x="1174850" y="1501432"/>
                </a:cubicBezTo>
                <a:cubicBezTo>
                  <a:pt x="1172371" y="1497405"/>
                  <a:pt x="1175985" y="1494307"/>
                  <a:pt x="1181148" y="1491984"/>
                </a:cubicBezTo>
                <a:cubicBezTo>
                  <a:pt x="1181458" y="1493068"/>
                  <a:pt x="1184349" y="1491519"/>
                  <a:pt x="1186311" y="1491519"/>
                </a:cubicBezTo>
                <a:lnTo>
                  <a:pt x="1186827" y="1491829"/>
                </a:lnTo>
                <a:lnTo>
                  <a:pt x="1187653" y="1488421"/>
                </a:lnTo>
                <a:lnTo>
                  <a:pt x="1189305" y="1489040"/>
                </a:lnTo>
                <a:lnTo>
                  <a:pt x="1188892" y="1487337"/>
                </a:lnTo>
                <a:cubicBezTo>
                  <a:pt x="1189099" y="1484239"/>
                  <a:pt x="1190958" y="1479282"/>
                  <a:pt x="1191577" y="1479282"/>
                </a:cubicBezTo>
                <a:cubicBezTo>
                  <a:pt x="1191680" y="1478507"/>
                  <a:pt x="1192506" y="1478507"/>
                  <a:pt x="1192609" y="1477578"/>
                </a:cubicBezTo>
                <a:cubicBezTo>
                  <a:pt x="1192609" y="1477578"/>
                  <a:pt x="1192609" y="1476804"/>
                  <a:pt x="1193539" y="1475874"/>
                </a:cubicBezTo>
                <a:cubicBezTo>
                  <a:pt x="1194468" y="1474945"/>
                  <a:pt x="1195397" y="1474016"/>
                  <a:pt x="1197153" y="1474790"/>
                </a:cubicBezTo>
                <a:close/>
                <a:moveTo>
                  <a:pt x="4971826" y="1474475"/>
                </a:moveTo>
                <a:cubicBezTo>
                  <a:pt x="4972894" y="1474190"/>
                  <a:pt x="4973747" y="1474332"/>
                  <a:pt x="4974601" y="1474902"/>
                </a:cubicBezTo>
                <a:cubicBezTo>
                  <a:pt x="4975881" y="1476182"/>
                  <a:pt x="4974814" y="1477320"/>
                  <a:pt x="4974814" y="1478458"/>
                </a:cubicBezTo>
                <a:cubicBezTo>
                  <a:pt x="4973747" y="1480734"/>
                  <a:pt x="4966064" y="1483865"/>
                  <a:pt x="4964783" y="1482584"/>
                </a:cubicBezTo>
                <a:cubicBezTo>
                  <a:pt x="4966491" y="1480024"/>
                  <a:pt x="4969052" y="1475613"/>
                  <a:pt x="4971826" y="1474475"/>
                </a:cubicBezTo>
                <a:close/>
                <a:moveTo>
                  <a:pt x="5931148" y="1474332"/>
                </a:moveTo>
                <a:cubicBezTo>
                  <a:pt x="5942887" y="1472910"/>
                  <a:pt x="5947155" y="1487421"/>
                  <a:pt x="5940966" y="1492258"/>
                </a:cubicBezTo>
                <a:cubicBezTo>
                  <a:pt x="5939045" y="1493823"/>
                  <a:pt x="5935844" y="1494392"/>
                  <a:pt x="5931361" y="1492827"/>
                </a:cubicBezTo>
                <a:cubicBezTo>
                  <a:pt x="5932002" y="1484433"/>
                  <a:pt x="5927520" y="1480450"/>
                  <a:pt x="5931148" y="1474332"/>
                </a:cubicBezTo>
                <a:close/>
                <a:moveTo>
                  <a:pt x="3682771" y="1474332"/>
                </a:moveTo>
                <a:cubicBezTo>
                  <a:pt x="3681277" y="1479881"/>
                  <a:pt x="3679143" y="1495104"/>
                  <a:pt x="3674234" y="1501648"/>
                </a:cubicBezTo>
                <a:lnTo>
                  <a:pt x="3673167" y="1502502"/>
                </a:lnTo>
                <a:lnTo>
                  <a:pt x="3675301" y="1504920"/>
                </a:lnTo>
                <a:cubicBezTo>
                  <a:pt x="3675942" y="1505774"/>
                  <a:pt x="3676155" y="1506343"/>
                  <a:pt x="3676155" y="1506343"/>
                </a:cubicBezTo>
                <a:cubicBezTo>
                  <a:pt x="3676155" y="1506343"/>
                  <a:pt x="3676155" y="1506201"/>
                  <a:pt x="3677009" y="1504066"/>
                </a:cubicBezTo>
                <a:cubicBezTo>
                  <a:pt x="3675515" y="1508477"/>
                  <a:pt x="3675942" y="1513457"/>
                  <a:pt x="3674448" y="1517867"/>
                </a:cubicBezTo>
                <a:cubicBezTo>
                  <a:pt x="3660362" y="1527968"/>
                  <a:pt x="3655880" y="1526118"/>
                  <a:pt x="3651826" y="1520712"/>
                </a:cubicBezTo>
                <a:lnTo>
                  <a:pt x="3648197" y="1515591"/>
                </a:lnTo>
                <a:lnTo>
                  <a:pt x="3649478" y="1522135"/>
                </a:lnTo>
                <a:cubicBezTo>
                  <a:pt x="3649904" y="1525549"/>
                  <a:pt x="3650331" y="1528822"/>
                  <a:pt x="3649264" y="1531667"/>
                </a:cubicBezTo>
                <a:cubicBezTo>
                  <a:pt x="3648837" y="1529960"/>
                  <a:pt x="3647557" y="1522277"/>
                  <a:pt x="3647343" y="1516871"/>
                </a:cubicBezTo>
                <a:lnTo>
                  <a:pt x="3647557" y="1514595"/>
                </a:lnTo>
                <a:lnTo>
                  <a:pt x="3647557" y="1514310"/>
                </a:lnTo>
                <a:lnTo>
                  <a:pt x="3647557" y="1514025"/>
                </a:lnTo>
                <a:lnTo>
                  <a:pt x="3647770" y="1512461"/>
                </a:lnTo>
                <a:lnTo>
                  <a:pt x="3647983" y="1513457"/>
                </a:lnTo>
                <a:lnTo>
                  <a:pt x="3651398" y="1507055"/>
                </a:lnTo>
                <a:cubicBezTo>
                  <a:pt x="3652679" y="1504351"/>
                  <a:pt x="3654173" y="1501791"/>
                  <a:pt x="3656947" y="1500368"/>
                </a:cubicBezTo>
                <a:cubicBezTo>
                  <a:pt x="3656947" y="1500368"/>
                  <a:pt x="3657801" y="1499941"/>
                  <a:pt x="3658868" y="1499656"/>
                </a:cubicBezTo>
                <a:cubicBezTo>
                  <a:pt x="3660149" y="1499514"/>
                  <a:pt x="3662069" y="1499514"/>
                  <a:pt x="3664204" y="1500083"/>
                </a:cubicBezTo>
                <a:lnTo>
                  <a:pt x="3668899" y="1500083"/>
                </a:lnTo>
                <a:lnTo>
                  <a:pt x="3669325" y="1496100"/>
                </a:lnTo>
                <a:cubicBezTo>
                  <a:pt x="3670606" y="1486141"/>
                  <a:pt x="3672954" y="1473336"/>
                  <a:pt x="3682771" y="1474332"/>
                </a:cubicBezTo>
                <a:close/>
                <a:moveTo>
                  <a:pt x="5764894" y="1473336"/>
                </a:moveTo>
                <a:cubicBezTo>
                  <a:pt x="5769376" y="1484576"/>
                  <a:pt x="5761906" y="1500368"/>
                  <a:pt x="5754010" y="1504351"/>
                </a:cubicBezTo>
                <a:cubicBezTo>
                  <a:pt x="5749742" y="1493254"/>
                  <a:pt x="5758705" y="1479169"/>
                  <a:pt x="5764894" y="1473336"/>
                </a:cubicBezTo>
                <a:close/>
                <a:moveTo>
                  <a:pt x="4061805" y="1472910"/>
                </a:moveTo>
                <a:cubicBezTo>
                  <a:pt x="4063726" y="1473052"/>
                  <a:pt x="4065219" y="1473336"/>
                  <a:pt x="4066500" y="1473621"/>
                </a:cubicBezTo>
                <a:lnTo>
                  <a:pt x="4069488" y="1481872"/>
                </a:lnTo>
                <a:lnTo>
                  <a:pt x="4074823" y="1482869"/>
                </a:lnTo>
                <a:cubicBezTo>
                  <a:pt x="4077811" y="1484149"/>
                  <a:pt x="4080159" y="1486425"/>
                  <a:pt x="4080799" y="1489698"/>
                </a:cubicBezTo>
                <a:cubicBezTo>
                  <a:pt x="4077384" y="1489413"/>
                  <a:pt x="4074397" y="1489555"/>
                  <a:pt x="4071409" y="1489840"/>
                </a:cubicBezTo>
                <a:lnTo>
                  <a:pt x="4070128" y="1489982"/>
                </a:lnTo>
                <a:lnTo>
                  <a:pt x="4069274" y="1491547"/>
                </a:lnTo>
                <a:cubicBezTo>
                  <a:pt x="4066713" y="1494820"/>
                  <a:pt x="4063299" y="1493112"/>
                  <a:pt x="4060738" y="1495104"/>
                </a:cubicBezTo>
                <a:lnTo>
                  <a:pt x="4059670" y="1491263"/>
                </a:lnTo>
                <a:lnTo>
                  <a:pt x="4053908" y="1491547"/>
                </a:lnTo>
                <a:cubicBezTo>
                  <a:pt x="4050920" y="1491547"/>
                  <a:pt x="4047505" y="1491120"/>
                  <a:pt x="4043877" y="1489982"/>
                </a:cubicBezTo>
                <a:lnTo>
                  <a:pt x="4044304" y="1489698"/>
                </a:lnTo>
                <a:lnTo>
                  <a:pt x="4043237" y="1489271"/>
                </a:lnTo>
                <a:cubicBezTo>
                  <a:pt x="4043024" y="1488133"/>
                  <a:pt x="4043877" y="1486710"/>
                  <a:pt x="4043877" y="1485571"/>
                </a:cubicBezTo>
                <a:lnTo>
                  <a:pt x="4048359" y="1486425"/>
                </a:lnTo>
                <a:lnTo>
                  <a:pt x="4051774" y="1483580"/>
                </a:lnTo>
                <a:lnTo>
                  <a:pt x="4055615" y="1482869"/>
                </a:lnTo>
                <a:lnTo>
                  <a:pt x="4054548" y="1481304"/>
                </a:lnTo>
                <a:cubicBezTo>
                  <a:pt x="4053908" y="1478885"/>
                  <a:pt x="4054122" y="1476040"/>
                  <a:pt x="4055615" y="1473336"/>
                </a:cubicBezTo>
                <a:cubicBezTo>
                  <a:pt x="4057963" y="1472767"/>
                  <a:pt x="4060097" y="1472767"/>
                  <a:pt x="4061805" y="1472910"/>
                </a:cubicBezTo>
                <a:close/>
                <a:moveTo>
                  <a:pt x="1274182" y="1472312"/>
                </a:moveTo>
                <a:cubicBezTo>
                  <a:pt x="1275318" y="1472467"/>
                  <a:pt x="1275318" y="1472467"/>
                  <a:pt x="1276557" y="1472622"/>
                </a:cubicBezTo>
                <a:cubicBezTo>
                  <a:pt x="1277383" y="1474016"/>
                  <a:pt x="1279035" y="1474790"/>
                  <a:pt x="1279138" y="1476649"/>
                </a:cubicBezTo>
                <a:cubicBezTo>
                  <a:pt x="1278829" y="1477888"/>
                  <a:pt x="1277590" y="1478973"/>
                  <a:pt x="1276247" y="1479747"/>
                </a:cubicBezTo>
                <a:lnTo>
                  <a:pt x="1274079" y="1480521"/>
                </a:lnTo>
                <a:lnTo>
                  <a:pt x="1275008" y="1481296"/>
                </a:lnTo>
                <a:cubicBezTo>
                  <a:pt x="1275525" y="1482225"/>
                  <a:pt x="1275111" y="1483619"/>
                  <a:pt x="1274698" y="1485633"/>
                </a:cubicBezTo>
                <a:cubicBezTo>
                  <a:pt x="1270981" y="1485168"/>
                  <a:pt x="1270465" y="1483464"/>
                  <a:pt x="1270568" y="1479902"/>
                </a:cubicBezTo>
                <a:lnTo>
                  <a:pt x="1270981" y="1479902"/>
                </a:lnTo>
                <a:lnTo>
                  <a:pt x="1270155" y="1479282"/>
                </a:lnTo>
                <a:cubicBezTo>
                  <a:pt x="1269742" y="1478353"/>
                  <a:pt x="1269742" y="1477113"/>
                  <a:pt x="1270052" y="1475874"/>
                </a:cubicBezTo>
                <a:cubicBezTo>
                  <a:pt x="1270052" y="1475100"/>
                  <a:pt x="1270568" y="1474171"/>
                  <a:pt x="1271291" y="1473551"/>
                </a:cubicBezTo>
                <a:cubicBezTo>
                  <a:pt x="1272117" y="1472931"/>
                  <a:pt x="1273149" y="1472467"/>
                  <a:pt x="1274182" y="1472312"/>
                </a:cubicBezTo>
                <a:close/>
                <a:moveTo>
                  <a:pt x="4860848" y="1472198"/>
                </a:moveTo>
                <a:cubicBezTo>
                  <a:pt x="4864476" y="1472910"/>
                  <a:pt x="4867464" y="1475897"/>
                  <a:pt x="4869385" y="1479881"/>
                </a:cubicBezTo>
                <a:cubicBezTo>
                  <a:pt x="4864263" y="1483296"/>
                  <a:pt x="4859568" y="1482299"/>
                  <a:pt x="4854232" y="1478743"/>
                </a:cubicBezTo>
                <a:cubicBezTo>
                  <a:pt x="4854445" y="1476467"/>
                  <a:pt x="4858287" y="1473905"/>
                  <a:pt x="4860848" y="1472198"/>
                </a:cubicBezTo>
                <a:close/>
                <a:moveTo>
                  <a:pt x="1827429" y="1472002"/>
                </a:moveTo>
                <a:cubicBezTo>
                  <a:pt x="1834554" y="1478198"/>
                  <a:pt x="1829597" y="1483154"/>
                  <a:pt x="1833521" y="1486562"/>
                </a:cubicBezTo>
                <a:cubicBezTo>
                  <a:pt x="1831663" y="1487337"/>
                  <a:pt x="1831663" y="1487337"/>
                  <a:pt x="1830010" y="1486407"/>
                </a:cubicBezTo>
                <a:cubicBezTo>
                  <a:pt x="1830113" y="1485633"/>
                  <a:pt x="1829288" y="1485633"/>
                  <a:pt x="1830217" y="1484858"/>
                </a:cubicBezTo>
                <a:cubicBezTo>
                  <a:pt x="1828978" y="1483929"/>
                  <a:pt x="1827945" y="1481606"/>
                  <a:pt x="1827429" y="1478973"/>
                </a:cubicBezTo>
                <a:cubicBezTo>
                  <a:pt x="1826809" y="1476494"/>
                  <a:pt x="1826706" y="1473706"/>
                  <a:pt x="1827429" y="1472002"/>
                </a:cubicBezTo>
                <a:close/>
                <a:moveTo>
                  <a:pt x="5787090" y="1471630"/>
                </a:moveTo>
                <a:cubicBezTo>
                  <a:pt x="5788370" y="1471772"/>
                  <a:pt x="5789651" y="1472625"/>
                  <a:pt x="5790931" y="1473763"/>
                </a:cubicBezTo>
                <a:cubicBezTo>
                  <a:pt x="5793706" y="1476040"/>
                  <a:pt x="5792852" y="1478316"/>
                  <a:pt x="5792852" y="1478316"/>
                </a:cubicBezTo>
                <a:cubicBezTo>
                  <a:pt x="5790931" y="1482015"/>
                  <a:pt x="5787730" y="1483438"/>
                  <a:pt x="5783889" y="1481304"/>
                </a:cubicBezTo>
                <a:cubicBezTo>
                  <a:pt x="5782395" y="1479027"/>
                  <a:pt x="5783248" y="1476467"/>
                  <a:pt x="5784102" y="1474048"/>
                </a:cubicBezTo>
                <a:cubicBezTo>
                  <a:pt x="5784955" y="1472198"/>
                  <a:pt x="5786023" y="1471630"/>
                  <a:pt x="5787090" y="1471630"/>
                </a:cubicBezTo>
                <a:close/>
                <a:moveTo>
                  <a:pt x="1668621" y="1471383"/>
                </a:moveTo>
                <a:cubicBezTo>
                  <a:pt x="1670789" y="1472776"/>
                  <a:pt x="1672648" y="1473241"/>
                  <a:pt x="1673680" y="1474016"/>
                </a:cubicBezTo>
                <a:cubicBezTo>
                  <a:pt x="1673061" y="1477578"/>
                  <a:pt x="1670789" y="1478817"/>
                  <a:pt x="1667485" y="1476804"/>
                </a:cubicBezTo>
                <a:cubicBezTo>
                  <a:pt x="1668724" y="1474945"/>
                  <a:pt x="1667382" y="1473396"/>
                  <a:pt x="1668621" y="1471383"/>
                </a:cubicBezTo>
                <a:close/>
                <a:moveTo>
                  <a:pt x="1737596" y="1471228"/>
                </a:moveTo>
                <a:cubicBezTo>
                  <a:pt x="1748954" y="1480366"/>
                  <a:pt x="1743895" y="1492294"/>
                  <a:pt x="1745237" y="1494927"/>
                </a:cubicBezTo>
                <a:cubicBezTo>
                  <a:pt x="1741416" y="1498954"/>
                  <a:pt x="1741416" y="1498799"/>
                  <a:pt x="1733775" y="1492294"/>
                </a:cubicBezTo>
                <a:cubicBezTo>
                  <a:pt x="1732536" y="1490899"/>
                  <a:pt x="1731607" y="1489350"/>
                  <a:pt x="1731091" y="1487492"/>
                </a:cubicBezTo>
                <a:cubicBezTo>
                  <a:pt x="1730677" y="1485633"/>
                  <a:pt x="1730677" y="1483774"/>
                  <a:pt x="1731298" y="1481761"/>
                </a:cubicBezTo>
                <a:cubicBezTo>
                  <a:pt x="1730677" y="1480366"/>
                  <a:pt x="1730368" y="1478817"/>
                  <a:pt x="1730368" y="1477113"/>
                </a:cubicBezTo>
                <a:cubicBezTo>
                  <a:pt x="1730368" y="1475410"/>
                  <a:pt x="1730677" y="1473861"/>
                  <a:pt x="1731298" y="1472467"/>
                </a:cubicBezTo>
                <a:cubicBezTo>
                  <a:pt x="1733775" y="1469833"/>
                  <a:pt x="1736357" y="1469833"/>
                  <a:pt x="1737596" y="1471228"/>
                </a:cubicBezTo>
                <a:close/>
                <a:moveTo>
                  <a:pt x="4710387" y="1470776"/>
                </a:moveTo>
                <a:cubicBezTo>
                  <a:pt x="4712308" y="1472056"/>
                  <a:pt x="4713375" y="1473479"/>
                  <a:pt x="4715082" y="1476040"/>
                </a:cubicBezTo>
                <a:cubicBezTo>
                  <a:pt x="4711881" y="1480308"/>
                  <a:pt x="4707399" y="1476894"/>
                  <a:pt x="4708040" y="1473621"/>
                </a:cubicBezTo>
                <a:cubicBezTo>
                  <a:pt x="4708040" y="1472483"/>
                  <a:pt x="4708893" y="1471487"/>
                  <a:pt x="4710387" y="1470776"/>
                </a:cubicBezTo>
                <a:close/>
                <a:moveTo>
                  <a:pt x="4305103" y="1470633"/>
                </a:moveTo>
                <a:cubicBezTo>
                  <a:pt x="4305316" y="1473621"/>
                  <a:pt x="4304250" y="1477035"/>
                  <a:pt x="4302115" y="1480450"/>
                </a:cubicBezTo>
                <a:lnTo>
                  <a:pt x="4299767" y="1483296"/>
                </a:lnTo>
                <a:lnTo>
                  <a:pt x="4300621" y="1487137"/>
                </a:lnTo>
                <a:cubicBezTo>
                  <a:pt x="4300621" y="1489271"/>
                  <a:pt x="4299981" y="1490978"/>
                  <a:pt x="4299127" y="1491547"/>
                </a:cubicBezTo>
                <a:cubicBezTo>
                  <a:pt x="4298700" y="1491405"/>
                  <a:pt x="4298060" y="1490978"/>
                  <a:pt x="4297420" y="1490267"/>
                </a:cubicBezTo>
                <a:lnTo>
                  <a:pt x="4295926" y="1487848"/>
                </a:lnTo>
                <a:lnTo>
                  <a:pt x="4294005" y="1490125"/>
                </a:lnTo>
                <a:cubicBezTo>
                  <a:pt x="4287389" y="1495673"/>
                  <a:pt x="4279493" y="1498945"/>
                  <a:pt x="4274370" y="1495104"/>
                </a:cubicBezTo>
                <a:cubicBezTo>
                  <a:pt x="4280346" y="1491120"/>
                  <a:pt x="4284188" y="1486568"/>
                  <a:pt x="4288670" y="1482299"/>
                </a:cubicBezTo>
                <a:lnTo>
                  <a:pt x="4294219" y="1477177"/>
                </a:lnTo>
                <a:lnTo>
                  <a:pt x="4292938" y="1474902"/>
                </a:lnTo>
                <a:cubicBezTo>
                  <a:pt x="4294005" y="1474475"/>
                  <a:pt x="4296139" y="1473621"/>
                  <a:pt x="4296566" y="1470918"/>
                </a:cubicBezTo>
                <a:cubicBezTo>
                  <a:pt x="4298060" y="1471487"/>
                  <a:pt x="4299554" y="1472198"/>
                  <a:pt x="4300408" y="1473052"/>
                </a:cubicBezTo>
                <a:lnTo>
                  <a:pt x="4300408" y="1473336"/>
                </a:lnTo>
                <a:close/>
                <a:moveTo>
                  <a:pt x="1263753" y="1470143"/>
                </a:moveTo>
                <a:cubicBezTo>
                  <a:pt x="1262514" y="1472312"/>
                  <a:pt x="1262927" y="1473396"/>
                  <a:pt x="1262101" y="1472931"/>
                </a:cubicBezTo>
                <a:cubicBezTo>
                  <a:pt x="1261688" y="1473706"/>
                  <a:pt x="1260965" y="1473396"/>
                  <a:pt x="1261378" y="1472622"/>
                </a:cubicBezTo>
                <a:cubicBezTo>
                  <a:pt x="1260242" y="1471228"/>
                  <a:pt x="1262617" y="1470453"/>
                  <a:pt x="1263753" y="1470143"/>
                </a:cubicBezTo>
                <a:close/>
                <a:moveTo>
                  <a:pt x="1294317" y="1469988"/>
                </a:moveTo>
                <a:cubicBezTo>
                  <a:pt x="1295143" y="1469833"/>
                  <a:pt x="1296072" y="1469833"/>
                  <a:pt x="1297105" y="1469988"/>
                </a:cubicBezTo>
                <a:cubicBezTo>
                  <a:pt x="1298344" y="1470298"/>
                  <a:pt x="1301235" y="1471847"/>
                  <a:pt x="1300512" y="1472157"/>
                </a:cubicBezTo>
                <a:cubicBezTo>
                  <a:pt x="1300203" y="1473396"/>
                  <a:pt x="1300925" y="1472931"/>
                  <a:pt x="1301338" y="1473706"/>
                </a:cubicBezTo>
                <a:cubicBezTo>
                  <a:pt x="1300925" y="1475410"/>
                  <a:pt x="1300306" y="1476649"/>
                  <a:pt x="1299480" y="1477423"/>
                </a:cubicBezTo>
                <a:lnTo>
                  <a:pt x="1297931" y="1477888"/>
                </a:lnTo>
                <a:lnTo>
                  <a:pt x="1295040" y="1481141"/>
                </a:lnTo>
                <a:lnTo>
                  <a:pt x="1294524" y="1482845"/>
                </a:lnTo>
                <a:lnTo>
                  <a:pt x="1293801" y="1482535"/>
                </a:lnTo>
                <a:lnTo>
                  <a:pt x="1292871" y="1483464"/>
                </a:lnTo>
                <a:lnTo>
                  <a:pt x="1288535" y="1485942"/>
                </a:lnTo>
                <a:lnTo>
                  <a:pt x="1289258" y="1488730"/>
                </a:lnTo>
                <a:cubicBezTo>
                  <a:pt x="1289051" y="1489815"/>
                  <a:pt x="1288741" y="1490899"/>
                  <a:pt x="1288328" y="1490280"/>
                </a:cubicBezTo>
                <a:cubicBezTo>
                  <a:pt x="1287605" y="1490590"/>
                  <a:pt x="1287089" y="1489815"/>
                  <a:pt x="1285953" y="1489505"/>
                </a:cubicBezTo>
                <a:lnTo>
                  <a:pt x="1284507" y="1487956"/>
                </a:lnTo>
                <a:lnTo>
                  <a:pt x="1279241" y="1489505"/>
                </a:lnTo>
                <a:cubicBezTo>
                  <a:pt x="1281306" y="1486562"/>
                  <a:pt x="1284095" y="1482535"/>
                  <a:pt x="1287193" y="1479127"/>
                </a:cubicBezTo>
                <a:lnTo>
                  <a:pt x="1291013" y="1475565"/>
                </a:lnTo>
                <a:lnTo>
                  <a:pt x="1289774" y="1473706"/>
                </a:lnTo>
                <a:cubicBezTo>
                  <a:pt x="1290600" y="1473241"/>
                  <a:pt x="1290083" y="1472622"/>
                  <a:pt x="1290806" y="1472157"/>
                </a:cubicBezTo>
                <a:cubicBezTo>
                  <a:pt x="1290806" y="1472157"/>
                  <a:pt x="1291323" y="1471383"/>
                  <a:pt x="1292355" y="1470763"/>
                </a:cubicBezTo>
                <a:cubicBezTo>
                  <a:pt x="1292871" y="1470453"/>
                  <a:pt x="1293491" y="1470143"/>
                  <a:pt x="1294317" y="1469988"/>
                </a:cubicBezTo>
                <a:close/>
                <a:moveTo>
                  <a:pt x="3695149" y="1469922"/>
                </a:moveTo>
                <a:cubicBezTo>
                  <a:pt x="3696003" y="1469638"/>
                  <a:pt x="3696643" y="1469780"/>
                  <a:pt x="3697284" y="1470491"/>
                </a:cubicBezTo>
                <a:cubicBezTo>
                  <a:pt x="3695149" y="1472767"/>
                  <a:pt x="3693015" y="1477462"/>
                  <a:pt x="3688320" y="1476040"/>
                </a:cubicBezTo>
                <a:cubicBezTo>
                  <a:pt x="3690027" y="1474332"/>
                  <a:pt x="3692802" y="1470633"/>
                  <a:pt x="3695149" y="1469922"/>
                </a:cubicBezTo>
                <a:close/>
                <a:moveTo>
                  <a:pt x="4198820" y="1469780"/>
                </a:moveTo>
                <a:cubicBezTo>
                  <a:pt x="4200100" y="1469780"/>
                  <a:pt x="4200741" y="1470776"/>
                  <a:pt x="4201168" y="1472056"/>
                </a:cubicBezTo>
                <a:cubicBezTo>
                  <a:pt x="4201594" y="1473336"/>
                  <a:pt x="4201594" y="1474902"/>
                  <a:pt x="4202021" y="1475897"/>
                </a:cubicBezTo>
                <a:cubicBezTo>
                  <a:pt x="4204582" y="1476182"/>
                  <a:pt x="4201168" y="1481304"/>
                  <a:pt x="4203728" y="1481446"/>
                </a:cubicBezTo>
                <a:cubicBezTo>
                  <a:pt x="4200528" y="1487706"/>
                  <a:pt x="4207784" y="1490978"/>
                  <a:pt x="4204796" y="1501079"/>
                </a:cubicBezTo>
                <a:cubicBezTo>
                  <a:pt x="4203088" y="1498661"/>
                  <a:pt x="4201808" y="1496242"/>
                  <a:pt x="4200954" y="1493823"/>
                </a:cubicBezTo>
                <a:lnTo>
                  <a:pt x="4199460" y="1486568"/>
                </a:lnTo>
                <a:lnTo>
                  <a:pt x="4192631" y="1488417"/>
                </a:lnTo>
                <a:cubicBezTo>
                  <a:pt x="4190710" y="1487848"/>
                  <a:pt x="4188789" y="1486710"/>
                  <a:pt x="4187509" y="1484861"/>
                </a:cubicBezTo>
                <a:cubicBezTo>
                  <a:pt x="4185801" y="1482442"/>
                  <a:pt x="4185161" y="1478885"/>
                  <a:pt x="4186655" y="1474475"/>
                </a:cubicBezTo>
                <a:cubicBezTo>
                  <a:pt x="4189216" y="1473479"/>
                  <a:pt x="4191350" y="1473621"/>
                  <a:pt x="4193271" y="1473763"/>
                </a:cubicBezTo>
                <a:lnTo>
                  <a:pt x="4196686" y="1474332"/>
                </a:lnTo>
                <a:lnTo>
                  <a:pt x="4197326" y="1472910"/>
                </a:lnTo>
                <a:cubicBezTo>
                  <a:pt x="4196899" y="1471772"/>
                  <a:pt x="4197113" y="1471772"/>
                  <a:pt x="4197113" y="1471772"/>
                </a:cubicBezTo>
                <a:cubicBezTo>
                  <a:pt x="4196686" y="1470633"/>
                  <a:pt x="4198820" y="1469780"/>
                  <a:pt x="4198820" y="1469780"/>
                </a:cubicBezTo>
                <a:close/>
                <a:moveTo>
                  <a:pt x="1137058" y="1469369"/>
                </a:moveTo>
                <a:cubicBezTo>
                  <a:pt x="1138606" y="1468749"/>
                  <a:pt x="1140362" y="1468749"/>
                  <a:pt x="1142117" y="1469524"/>
                </a:cubicBezTo>
                <a:lnTo>
                  <a:pt x="1142840" y="1470143"/>
                </a:lnTo>
                <a:lnTo>
                  <a:pt x="1143460" y="1469833"/>
                </a:lnTo>
                <a:cubicBezTo>
                  <a:pt x="1143253" y="1469524"/>
                  <a:pt x="1143150" y="1469524"/>
                  <a:pt x="1143460" y="1469678"/>
                </a:cubicBezTo>
                <a:cubicBezTo>
                  <a:pt x="1143769" y="1469678"/>
                  <a:pt x="1144389" y="1469833"/>
                  <a:pt x="1145318" y="1469833"/>
                </a:cubicBezTo>
                <a:cubicBezTo>
                  <a:pt x="1146454" y="1470298"/>
                  <a:pt x="1147073" y="1469833"/>
                  <a:pt x="1146867" y="1470918"/>
                </a:cubicBezTo>
                <a:cubicBezTo>
                  <a:pt x="1146661" y="1471383"/>
                  <a:pt x="1146661" y="1471692"/>
                  <a:pt x="1146351" y="1472002"/>
                </a:cubicBezTo>
                <a:lnTo>
                  <a:pt x="1145318" y="1472622"/>
                </a:lnTo>
                <a:lnTo>
                  <a:pt x="1146454" y="1473706"/>
                </a:lnTo>
                <a:cubicBezTo>
                  <a:pt x="1145318" y="1476959"/>
                  <a:pt x="1143357" y="1478662"/>
                  <a:pt x="1142221" y="1480057"/>
                </a:cubicBezTo>
                <a:cubicBezTo>
                  <a:pt x="1139846" y="1479127"/>
                  <a:pt x="1137884" y="1478973"/>
                  <a:pt x="1135509" y="1477888"/>
                </a:cubicBezTo>
                <a:cubicBezTo>
                  <a:pt x="1134786" y="1476804"/>
                  <a:pt x="1134270" y="1475874"/>
                  <a:pt x="1134063" y="1474945"/>
                </a:cubicBezTo>
                <a:cubicBezTo>
                  <a:pt x="1133857" y="1474016"/>
                  <a:pt x="1133857" y="1473086"/>
                  <a:pt x="1134063" y="1472467"/>
                </a:cubicBezTo>
                <a:cubicBezTo>
                  <a:pt x="1134476" y="1470918"/>
                  <a:pt x="1135612" y="1469833"/>
                  <a:pt x="1137058" y="1469369"/>
                </a:cubicBezTo>
                <a:close/>
                <a:moveTo>
                  <a:pt x="4005248" y="1469353"/>
                </a:moveTo>
                <a:cubicBezTo>
                  <a:pt x="4007169" y="1469495"/>
                  <a:pt x="4008663" y="1470065"/>
                  <a:pt x="4009517" y="1472056"/>
                </a:cubicBezTo>
                <a:cubicBezTo>
                  <a:pt x="4008876" y="1473052"/>
                  <a:pt x="4009730" y="1473621"/>
                  <a:pt x="4009090" y="1474759"/>
                </a:cubicBezTo>
                <a:cubicBezTo>
                  <a:pt x="4009090" y="1474759"/>
                  <a:pt x="4008876" y="1476040"/>
                  <a:pt x="4008023" y="1477605"/>
                </a:cubicBezTo>
                <a:cubicBezTo>
                  <a:pt x="4007169" y="1479312"/>
                  <a:pt x="4005462" y="1481161"/>
                  <a:pt x="4002901" y="1482299"/>
                </a:cubicBezTo>
                <a:cubicBezTo>
                  <a:pt x="4001193" y="1482726"/>
                  <a:pt x="3997138" y="1483011"/>
                  <a:pt x="3997779" y="1481872"/>
                </a:cubicBezTo>
                <a:cubicBezTo>
                  <a:pt x="3997352" y="1480308"/>
                  <a:pt x="3996712" y="1481304"/>
                  <a:pt x="3995858" y="1480734"/>
                </a:cubicBezTo>
                <a:cubicBezTo>
                  <a:pt x="3995004" y="1475897"/>
                  <a:pt x="3996071" y="1472198"/>
                  <a:pt x="3999913" y="1470207"/>
                </a:cubicBezTo>
                <a:cubicBezTo>
                  <a:pt x="4001407" y="1469780"/>
                  <a:pt x="4003541" y="1469353"/>
                  <a:pt x="4005248" y="1469353"/>
                </a:cubicBezTo>
                <a:close/>
                <a:moveTo>
                  <a:pt x="3592068" y="1469353"/>
                </a:moveTo>
                <a:cubicBezTo>
                  <a:pt x="3596763" y="1473052"/>
                  <a:pt x="3598044" y="1474332"/>
                  <a:pt x="3595909" y="1480166"/>
                </a:cubicBezTo>
                <a:cubicBezTo>
                  <a:pt x="3595909" y="1480166"/>
                  <a:pt x="3594842" y="1481446"/>
                  <a:pt x="3594842" y="1481446"/>
                </a:cubicBezTo>
                <a:cubicBezTo>
                  <a:pt x="3591641" y="1485998"/>
                  <a:pt x="3584812" y="1488133"/>
                  <a:pt x="3582464" y="1486852"/>
                </a:cubicBezTo>
                <a:cubicBezTo>
                  <a:pt x="3579903" y="1484291"/>
                  <a:pt x="3578622" y="1479454"/>
                  <a:pt x="3582037" y="1476040"/>
                </a:cubicBezTo>
                <a:cubicBezTo>
                  <a:pt x="3584171" y="1472625"/>
                  <a:pt x="3588653" y="1472767"/>
                  <a:pt x="3592068" y="1469353"/>
                </a:cubicBezTo>
                <a:close/>
                <a:moveTo>
                  <a:pt x="5481686" y="1469068"/>
                </a:moveTo>
                <a:cubicBezTo>
                  <a:pt x="5483820" y="1470776"/>
                  <a:pt x="5486168" y="1471345"/>
                  <a:pt x="5489369" y="1473336"/>
                </a:cubicBezTo>
                <a:cubicBezTo>
                  <a:pt x="5488943" y="1476751"/>
                  <a:pt x="5484674" y="1483011"/>
                  <a:pt x="5478698" y="1482869"/>
                </a:cubicBezTo>
                <a:cubicBezTo>
                  <a:pt x="5473576" y="1476894"/>
                  <a:pt x="5475284" y="1472483"/>
                  <a:pt x="5481686" y="1469068"/>
                </a:cubicBezTo>
                <a:close/>
                <a:moveTo>
                  <a:pt x="1232570" y="1469059"/>
                </a:moveTo>
                <a:cubicBezTo>
                  <a:pt x="1230711" y="1472467"/>
                  <a:pt x="1228956" y="1476184"/>
                  <a:pt x="1226684" y="1479592"/>
                </a:cubicBezTo>
                <a:cubicBezTo>
                  <a:pt x="1225445" y="1481296"/>
                  <a:pt x="1224103" y="1482845"/>
                  <a:pt x="1222554" y="1484394"/>
                </a:cubicBezTo>
                <a:lnTo>
                  <a:pt x="1217907" y="1487801"/>
                </a:lnTo>
                <a:lnTo>
                  <a:pt x="1223173" y="1489195"/>
                </a:lnTo>
                <a:lnTo>
                  <a:pt x="1228027" y="1493378"/>
                </a:lnTo>
                <a:lnTo>
                  <a:pt x="1231537" y="1491674"/>
                </a:lnTo>
                <a:cubicBezTo>
                  <a:pt x="1234119" y="1492913"/>
                  <a:pt x="1235255" y="1494617"/>
                  <a:pt x="1235358" y="1496630"/>
                </a:cubicBezTo>
                <a:lnTo>
                  <a:pt x="1233705" y="1501277"/>
                </a:lnTo>
                <a:lnTo>
                  <a:pt x="1234532" y="1502826"/>
                </a:lnTo>
                <a:cubicBezTo>
                  <a:pt x="1235255" y="1505305"/>
                  <a:pt x="1235151" y="1507628"/>
                  <a:pt x="1233705" y="1509332"/>
                </a:cubicBezTo>
                <a:lnTo>
                  <a:pt x="1230195" y="1505460"/>
                </a:lnTo>
                <a:lnTo>
                  <a:pt x="1225342" y="1509797"/>
                </a:lnTo>
                <a:lnTo>
                  <a:pt x="1224206" y="1510262"/>
                </a:lnTo>
                <a:lnTo>
                  <a:pt x="1225652" y="1511965"/>
                </a:lnTo>
                <a:cubicBezTo>
                  <a:pt x="1225961" y="1513050"/>
                  <a:pt x="1226065" y="1514598"/>
                  <a:pt x="1225755" y="1516148"/>
                </a:cubicBezTo>
                <a:cubicBezTo>
                  <a:pt x="1222967" y="1517231"/>
                  <a:pt x="1219353" y="1518935"/>
                  <a:pt x="1215636" y="1519400"/>
                </a:cubicBezTo>
                <a:lnTo>
                  <a:pt x="1212228" y="1519245"/>
                </a:lnTo>
                <a:lnTo>
                  <a:pt x="1207788" y="1524202"/>
                </a:lnTo>
                <a:cubicBezTo>
                  <a:pt x="1206653" y="1523737"/>
                  <a:pt x="1205620" y="1523118"/>
                  <a:pt x="1205000" y="1524202"/>
                </a:cubicBezTo>
                <a:cubicBezTo>
                  <a:pt x="1197875" y="1521414"/>
                  <a:pt x="1194055" y="1513979"/>
                  <a:pt x="1193745" y="1506234"/>
                </a:cubicBezTo>
                <a:cubicBezTo>
                  <a:pt x="1193539" y="1500348"/>
                  <a:pt x="1195294" y="1494462"/>
                  <a:pt x="1199218" y="1490125"/>
                </a:cubicBezTo>
                <a:lnTo>
                  <a:pt x="1199941" y="1489505"/>
                </a:lnTo>
                <a:lnTo>
                  <a:pt x="1198495" y="1490125"/>
                </a:lnTo>
                <a:cubicBezTo>
                  <a:pt x="1197256" y="1489970"/>
                  <a:pt x="1197256" y="1489815"/>
                  <a:pt x="1196843" y="1489195"/>
                </a:cubicBezTo>
                <a:cubicBezTo>
                  <a:pt x="1195191" y="1488266"/>
                  <a:pt x="1194055" y="1488111"/>
                  <a:pt x="1193849" y="1486252"/>
                </a:cubicBezTo>
                <a:cubicBezTo>
                  <a:pt x="1193952" y="1484704"/>
                  <a:pt x="1194468" y="1483929"/>
                  <a:pt x="1195397" y="1483464"/>
                </a:cubicBezTo>
                <a:cubicBezTo>
                  <a:pt x="1196327" y="1483000"/>
                  <a:pt x="1197669" y="1482845"/>
                  <a:pt x="1199218" y="1482690"/>
                </a:cubicBezTo>
                <a:cubicBezTo>
                  <a:pt x="1202419" y="1482535"/>
                  <a:pt x="1203038" y="1485168"/>
                  <a:pt x="1205413" y="1485478"/>
                </a:cubicBezTo>
                <a:lnTo>
                  <a:pt x="1204484" y="1486717"/>
                </a:lnTo>
                <a:lnTo>
                  <a:pt x="1211712" y="1491054"/>
                </a:lnTo>
                <a:cubicBezTo>
                  <a:pt x="1213674" y="1493068"/>
                  <a:pt x="1215120" y="1495391"/>
                  <a:pt x="1216049" y="1497870"/>
                </a:cubicBezTo>
                <a:lnTo>
                  <a:pt x="1216875" y="1502672"/>
                </a:lnTo>
                <a:lnTo>
                  <a:pt x="1219146" y="1499573"/>
                </a:lnTo>
                <a:lnTo>
                  <a:pt x="1222554" y="1496785"/>
                </a:lnTo>
                <a:lnTo>
                  <a:pt x="1219972" y="1493997"/>
                </a:lnTo>
                <a:lnTo>
                  <a:pt x="1216772" y="1488576"/>
                </a:lnTo>
                <a:lnTo>
                  <a:pt x="1216668" y="1488576"/>
                </a:lnTo>
                <a:lnTo>
                  <a:pt x="1216668" y="1488421"/>
                </a:lnTo>
                <a:lnTo>
                  <a:pt x="1216049" y="1487182"/>
                </a:lnTo>
                <a:lnTo>
                  <a:pt x="1216772" y="1487492"/>
                </a:lnTo>
                <a:lnTo>
                  <a:pt x="1217185" y="1481916"/>
                </a:lnTo>
                <a:cubicBezTo>
                  <a:pt x="1219766" y="1475565"/>
                  <a:pt x="1227613" y="1470918"/>
                  <a:pt x="1232570" y="1469059"/>
                </a:cubicBezTo>
                <a:close/>
                <a:moveTo>
                  <a:pt x="5422782" y="1468926"/>
                </a:moveTo>
                <a:cubicBezTo>
                  <a:pt x="5425770" y="1472625"/>
                  <a:pt x="5423209" y="1475044"/>
                  <a:pt x="5420435" y="1479881"/>
                </a:cubicBezTo>
                <a:cubicBezTo>
                  <a:pt x="5419368" y="1478601"/>
                  <a:pt x="5415526" y="1482299"/>
                  <a:pt x="5414246" y="1483580"/>
                </a:cubicBezTo>
                <a:cubicBezTo>
                  <a:pt x="5412325" y="1481019"/>
                  <a:pt x="5407203" y="1484576"/>
                  <a:pt x="5404215" y="1480877"/>
                </a:cubicBezTo>
                <a:cubicBezTo>
                  <a:pt x="5404428" y="1478458"/>
                  <a:pt x="5404642" y="1477177"/>
                  <a:pt x="5405922" y="1474759"/>
                </a:cubicBezTo>
                <a:cubicBezTo>
                  <a:pt x="5416166" y="1466366"/>
                  <a:pt x="5421502" y="1470207"/>
                  <a:pt x="5422782" y="1468926"/>
                </a:cubicBezTo>
                <a:close/>
                <a:moveTo>
                  <a:pt x="1091005" y="1468904"/>
                </a:moveTo>
                <a:cubicBezTo>
                  <a:pt x="1093277" y="1467974"/>
                  <a:pt x="1097407" y="1469214"/>
                  <a:pt x="1098543" y="1471537"/>
                </a:cubicBezTo>
                <a:cubicBezTo>
                  <a:pt x="1098233" y="1474326"/>
                  <a:pt x="1096271" y="1474171"/>
                  <a:pt x="1096375" y="1476029"/>
                </a:cubicBezTo>
                <a:cubicBezTo>
                  <a:pt x="1092141" y="1474945"/>
                  <a:pt x="1091005" y="1472622"/>
                  <a:pt x="1091005" y="1468904"/>
                </a:cubicBezTo>
                <a:close/>
                <a:moveTo>
                  <a:pt x="4370623" y="1468784"/>
                </a:moveTo>
                <a:cubicBezTo>
                  <a:pt x="4372117" y="1468926"/>
                  <a:pt x="4373611" y="1469780"/>
                  <a:pt x="4374678" y="1471345"/>
                </a:cubicBezTo>
                <a:cubicBezTo>
                  <a:pt x="4375318" y="1475044"/>
                  <a:pt x="4375745" y="1478743"/>
                  <a:pt x="4371690" y="1483296"/>
                </a:cubicBezTo>
                <a:cubicBezTo>
                  <a:pt x="4366995" y="1484007"/>
                  <a:pt x="4363793" y="1482584"/>
                  <a:pt x="4360165" y="1477320"/>
                </a:cubicBezTo>
                <a:cubicBezTo>
                  <a:pt x="4360806" y="1472910"/>
                  <a:pt x="4366141" y="1468073"/>
                  <a:pt x="4370623" y="1468784"/>
                </a:cubicBezTo>
                <a:close/>
                <a:moveTo>
                  <a:pt x="1535975" y="1468129"/>
                </a:moveTo>
                <a:cubicBezTo>
                  <a:pt x="1538389" y="1467123"/>
                  <a:pt x="1541306" y="1467432"/>
                  <a:pt x="1543164" y="1468904"/>
                </a:cubicBezTo>
                <a:cubicBezTo>
                  <a:pt x="1544403" y="1469833"/>
                  <a:pt x="1545127" y="1471383"/>
                  <a:pt x="1545023" y="1473241"/>
                </a:cubicBezTo>
                <a:cubicBezTo>
                  <a:pt x="1540273" y="1475874"/>
                  <a:pt x="1535420" y="1479747"/>
                  <a:pt x="1531806" y="1475255"/>
                </a:cubicBezTo>
                <a:cubicBezTo>
                  <a:pt x="1531652" y="1471460"/>
                  <a:pt x="1533562" y="1469136"/>
                  <a:pt x="1535975" y="1468129"/>
                </a:cubicBezTo>
                <a:close/>
                <a:moveTo>
                  <a:pt x="1429583" y="1467510"/>
                </a:moveTo>
                <a:cubicBezTo>
                  <a:pt x="1427827" y="1469833"/>
                  <a:pt x="1427311" y="1470763"/>
                  <a:pt x="1426072" y="1472157"/>
                </a:cubicBezTo>
                <a:cubicBezTo>
                  <a:pt x="1426382" y="1472931"/>
                  <a:pt x="1426692" y="1473706"/>
                  <a:pt x="1426175" y="1474790"/>
                </a:cubicBezTo>
                <a:cubicBezTo>
                  <a:pt x="1425142" y="1476804"/>
                  <a:pt x="1423181" y="1476494"/>
                  <a:pt x="1421942" y="1477733"/>
                </a:cubicBezTo>
                <a:cubicBezTo>
                  <a:pt x="1421322" y="1477423"/>
                  <a:pt x="1420703" y="1477113"/>
                  <a:pt x="1420290" y="1476339"/>
                </a:cubicBezTo>
                <a:cubicBezTo>
                  <a:pt x="1419876" y="1475719"/>
                  <a:pt x="1419773" y="1474790"/>
                  <a:pt x="1420290" y="1473861"/>
                </a:cubicBezTo>
                <a:cubicBezTo>
                  <a:pt x="1420909" y="1470918"/>
                  <a:pt x="1423387" y="1470298"/>
                  <a:pt x="1426175" y="1470298"/>
                </a:cubicBezTo>
                <a:cubicBezTo>
                  <a:pt x="1427517" y="1469059"/>
                  <a:pt x="1427621" y="1467200"/>
                  <a:pt x="1429583" y="1467510"/>
                </a:cubicBezTo>
                <a:close/>
                <a:moveTo>
                  <a:pt x="1690821" y="1466890"/>
                </a:moveTo>
                <a:cubicBezTo>
                  <a:pt x="1691647" y="1467665"/>
                  <a:pt x="1691647" y="1467665"/>
                  <a:pt x="1690614" y="1468284"/>
                </a:cubicBezTo>
                <a:cubicBezTo>
                  <a:pt x="1690201" y="1467974"/>
                  <a:pt x="1690201" y="1467820"/>
                  <a:pt x="1690408" y="1467510"/>
                </a:cubicBezTo>
                <a:cubicBezTo>
                  <a:pt x="1690511" y="1467355"/>
                  <a:pt x="1690718" y="1467200"/>
                  <a:pt x="1690821" y="1466890"/>
                </a:cubicBezTo>
                <a:close/>
                <a:moveTo>
                  <a:pt x="4179612" y="1466793"/>
                </a:moveTo>
                <a:lnTo>
                  <a:pt x="4177478" y="1473905"/>
                </a:lnTo>
                <a:lnTo>
                  <a:pt x="4178972" y="1474759"/>
                </a:lnTo>
                <a:cubicBezTo>
                  <a:pt x="4179612" y="1475471"/>
                  <a:pt x="4179826" y="1476324"/>
                  <a:pt x="4181319" y="1478885"/>
                </a:cubicBezTo>
                <a:cubicBezTo>
                  <a:pt x="4178545" y="1481019"/>
                  <a:pt x="4175771" y="1483153"/>
                  <a:pt x="4173210" y="1485430"/>
                </a:cubicBezTo>
                <a:cubicBezTo>
                  <a:pt x="4172783" y="1484149"/>
                  <a:pt x="4172143" y="1483153"/>
                  <a:pt x="4171289" y="1482299"/>
                </a:cubicBezTo>
                <a:lnTo>
                  <a:pt x="4171075" y="1482157"/>
                </a:lnTo>
                <a:lnTo>
                  <a:pt x="4157630" y="1489698"/>
                </a:lnTo>
                <a:cubicBezTo>
                  <a:pt x="4154856" y="1478458"/>
                  <a:pt x="4169581" y="1469780"/>
                  <a:pt x="4179612" y="1466793"/>
                </a:cubicBezTo>
                <a:close/>
                <a:moveTo>
                  <a:pt x="1634236" y="1466445"/>
                </a:moveTo>
                <a:cubicBezTo>
                  <a:pt x="1637489" y="1466426"/>
                  <a:pt x="1639296" y="1467045"/>
                  <a:pt x="1639296" y="1467045"/>
                </a:cubicBezTo>
                <a:cubicBezTo>
                  <a:pt x="1643530" y="1476494"/>
                  <a:pt x="1631965" y="1481606"/>
                  <a:pt x="1624427" y="1484858"/>
                </a:cubicBezTo>
                <a:lnTo>
                  <a:pt x="1618748" y="1487027"/>
                </a:lnTo>
                <a:lnTo>
                  <a:pt x="1626182" y="1488266"/>
                </a:lnTo>
                <a:cubicBezTo>
                  <a:pt x="1624737" y="1494772"/>
                  <a:pt x="1616683" y="1495391"/>
                  <a:pt x="1611004" y="1497250"/>
                </a:cubicBezTo>
                <a:cubicBezTo>
                  <a:pt x="1612656" y="1499573"/>
                  <a:pt x="1615134" y="1502207"/>
                  <a:pt x="1616476" y="1504840"/>
                </a:cubicBezTo>
                <a:lnTo>
                  <a:pt x="1617406" y="1508558"/>
                </a:lnTo>
                <a:lnTo>
                  <a:pt x="1617922" y="1508558"/>
                </a:lnTo>
                <a:cubicBezTo>
                  <a:pt x="1617922" y="1508558"/>
                  <a:pt x="1618645" y="1508093"/>
                  <a:pt x="1619884" y="1508558"/>
                </a:cubicBezTo>
                <a:cubicBezTo>
                  <a:pt x="1621123" y="1508867"/>
                  <a:pt x="1622362" y="1509332"/>
                  <a:pt x="1622568" y="1511191"/>
                </a:cubicBezTo>
                <a:cubicBezTo>
                  <a:pt x="1615134" y="1511965"/>
                  <a:pt x="1612140" y="1513514"/>
                  <a:pt x="1606254" y="1513514"/>
                </a:cubicBezTo>
                <a:cubicBezTo>
                  <a:pt x="1605841" y="1512740"/>
                  <a:pt x="1606564" y="1512430"/>
                  <a:pt x="1606047" y="1511655"/>
                </a:cubicBezTo>
                <a:cubicBezTo>
                  <a:pt x="1606254" y="1511191"/>
                  <a:pt x="1606874" y="1510571"/>
                  <a:pt x="1607803" y="1510106"/>
                </a:cubicBezTo>
                <a:lnTo>
                  <a:pt x="1610074" y="1509487"/>
                </a:lnTo>
                <a:lnTo>
                  <a:pt x="1608319" y="1507318"/>
                </a:lnTo>
                <a:cubicBezTo>
                  <a:pt x="1606667" y="1504530"/>
                  <a:pt x="1605325" y="1501122"/>
                  <a:pt x="1602846" y="1498799"/>
                </a:cubicBezTo>
                <a:cubicBezTo>
                  <a:pt x="1599645" y="1497405"/>
                  <a:pt x="1596341" y="1500348"/>
                  <a:pt x="1593243" y="1494927"/>
                </a:cubicBezTo>
                <a:cubicBezTo>
                  <a:pt x="1597890" y="1491984"/>
                  <a:pt x="1602227" y="1489970"/>
                  <a:pt x="1606461" y="1488730"/>
                </a:cubicBezTo>
                <a:lnTo>
                  <a:pt x="1617612" y="1487182"/>
                </a:lnTo>
                <a:lnTo>
                  <a:pt x="1613585" y="1487337"/>
                </a:lnTo>
                <a:cubicBezTo>
                  <a:pt x="1612656" y="1487027"/>
                  <a:pt x="1612036" y="1486407"/>
                  <a:pt x="1611623" y="1485478"/>
                </a:cubicBezTo>
                <a:cubicBezTo>
                  <a:pt x="1608732" y="1480366"/>
                  <a:pt x="1612966" y="1472776"/>
                  <a:pt x="1620503" y="1469678"/>
                </a:cubicBezTo>
                <a:cubicBezTo>
                  <a:pt x="1626286" y="1467123"/>
                  <a:pt x="1630984" y="1466464"/>
                  <a:pt x="1634236" y="1466445"/>
                </a:cubicBezTo>
                <a:close/>
                <a:moveTo>
                  <a:pt x="1585499" y="1465961"/>
                </a:moveTo>
                <a:cubicBezTo>
                  <a:pt x="1593450" y="1465496"/>
                  <a:pt x="1595515" y="1473086"/>
                  <a:pt x="1592624" y="1476649"/>
                </a:cubicBezTo>
                <a:cubicBezTo>
                  <a:pt x="1591695" y="1477888"/>
                  <a:pt x="1590146" y="1478662"/>
                  <a:pt x="1588081" y="1478662"/>
                </a:cubicBezTo>
                <a:cubicBezTo>
                  <a:pt x="1585912" y="1475255"/>
                  <a:pt x="1583021" y="1472002"/>
                  <a:pt x="1583641" y="1468904"/>
                </a:cubicBezTo>
                <a:cubicBezTo>
                  <a:pt x="1583847" y="1467974"/>
                  <a:pt x="1584364" y="1466890"/>
                  <a:pt x="1585499" y="1465961"/>
                </a:cubicBezTo>
                <a:close/>
                <a:moveTo>
                  <a:pt x="5021126" y="1465796"/>
                </a:moveTo>
                <a:lnTo>
                  <a:pt x="5024328" y="1466223"/>
                </a:lnTo>
                <a:lnTo>
                  <a:pt x="5025608" y="1467503"/>
                </a:lnTo>
                <a:cubicBezTo>
                  <a:pt x="5019846" y="1470776"/>
                  <a:pt x="5010455" y="1469211"/>
                  <a:pt x="5009388" y="1469068"/>
                </a:cubicBezTo>
                <a:cubicBezTo>
                  <a:pt x="5009175" y="1467930"/>
                  <a:pt x="5009388" y="1467930"/>
                  <a:pt x="5009388" y="1467930"/>
                </a:cubicBezTo>
                <a:cubicBezTo>
                  <a:pt x="5012803" y="1468926"/>
                  <a:pt x="5016858" y="1466081"/>
                  <a:pt x="5021126" y="1465796"/>
                </a:cubicBezTo>
                <a:close/>
                <a:moveTo>
                  <a:pt x="1824022" y="1465186"/>
                </a:moveTo>
                <a:cubicBezTo>
                  <a:pt x="1824847" y="1466116"/>
                  <a:pt x="1825570" y="1467820"/>
                  <a:pt x="1826293" y="1468594"/>
                </a:cubicBezTo>
                <a:cubicBezTo>
                  <a:pt x="1826293" y="1468594"/>
                  <a:pt x="1826293" y="1468749"/>
                  <a:pt x="1825261" y="1469524"/>
                </a:cubicBezTo>
                <a:cubicBezTo>
                  <a:pt x="1825467" y="1468284"/>
                  <a:pt x="1823608" y="1467355"/>
                  <a:pt x="1823505" y="1466271"/>
                </a:cubicBezTo>
                <a:cubicBezTo>
                  <a:pt x="1823402" y="1465961"/>
                  <a:pt x="1823505" y="1465651"/>
                  <a:pt x="1824022" y="1465186"/>
                </a:cubicBezTo>
                <a:close/>
                <a:moveTo>
                  <a:pt x="5130398" y="1465085"/>
                </a:moveTo>
                <a:cubicBezTo>
                  <a:pt x="5131038" y="1465227"/>
                  <a:pt x="5131464" y="1465654"/>
                  <a:pt x="5131464" y="1465654"/>
                </a:cubicBezTo>
                <a:cubicBezTo>
                  <a:pt x="5133172" y="1467930"/>
                  <a:pt x="5130611" y="1470349"/>
                  <a:pt x="5129757" y="1472340"/>
                </a:cubicBezTo>
                <a:cubicBezTo>
                  <a:pt x="5131464" y="1474617"/>
                  <a:pt x="5125702" y="1475471"/>
                  <a:pt x="5127410" y="1477605"/>
                </a:cubicBezTo>
                <a:cubicBezTo>
                  <a:pt x="5121220" y="1479454"/>
                  <a:pt x="5123995" y="1487563"/>
                  <a:pt x="5115458" y="1491832"/>
                </a:cubicBezTo>
                <a:cubicBezTo>
                  <a:pt x="5115884" y="1488702"/>
                  <a:pt x="5116525" y="1486141"/>
                  <a:pt x="5117592" y="1483865"/>
                </a:cubicBezTo>
                <a:cubicBezTo>
                  <a:pt x="5120367" y="1477035"/>
                  <a:pt x="5124848" y="1472910"/>
                  <a:pt x="5125489" y="1467361"/>
                </a:cubicBezTo>
                <a:cubicBezTo>
                  <a:pt x="5125489" y="1467361"/>
                  <a:pt x="5125489" y="1467361"/>
                  <a:pt x="5128477" y="1466508"/>
                </a:cubicBezTo>
                <a:cubicBezTo>
                  <a:pt x="5128903" y="1465512"/>
                  <a:pt x="5128903" y="1465512"/>
                  <a:pt x="5128903" y="1465512"/>
                </a:cubicBezTo>
                <a:cubicBezTo>
                  <a:pt x="5129117" y="1464943"/>
                  <a:pt x="5129970" y="1464943"/>
                  <a:pt x="5130398" y="1465085"/>
                </a:cubicBezTo>
                <a:close/>
                <a:moveTo>
                  <a:pt x="5002132" y="1465085"/>
                </a:moveTo>
                <a:cubicBezTo>
                  <a:pt x="5002132" y="1465085"/>
                  <a:pt x="5002132" y="1465227"/>
                  <a:pt x="5003412" y="1466508"/>
                </a:cubicBezTo>
                <a:cubicBezTo>
                  <a:pt x="5001065" y="1466366"/>
                  <a:pt x="4999998" y="1471060"/>
                  <a:pt x="4997650" y="1468641"/>
                </a:cubicBezTo>
                <a:cubicBezTo>
                  <a:pt x="4998717" y="1467361"/>
                  <a:pt x="5001065" y="1466223"/>
                  <a:pt x="5002132" y="1465085"/>
                </a:cubicBezTo>
                <a:close/>
                <a:moveTo>
                  <a:pt x="3891069" y="1465085"/>
                </a:moveTo>
                <a:cubicBezTo>
                  <a:pt x="3892776" y="1465369"/>
                  <a:pt x="3894483" y="1466366"/>
                  <a:pt x="3895551" y="1467788"/>
                </a:cubicBezTo>
                <a:cubicBezTo>
                  <a:pt x="3897685" y="1470491"/>
                  <a:pt x="3897898" y="1474902"/>
                  <a:pt x="3894057" y="1480024"/>
                </a:cubicBezTo>
                <a:cubicBezTo>
                  <a:pt x="3884026" y="1483722"/>
                  <a:pt x="3876129" y="1473621"/>
                  <a:pt x="3884666" y="1465512"/>
                </a:cubicBezTo>
                <a:cubicBezTo>
                  <a:pt x="3887014" y="1464800"/>
                  <a:pt x="3889148" y="1464658"/>
                  <a:pt x="3891069" y="1465085"/>
                </a:cubicBezTo>
                <a:close/>
                <a:moveTo>
                  <a:pt x="4226991" y="1464800"/>
                </a:moveTo>
                <a:cubicBezTo>
                  <a:pt x="4229979" y="1465085"/>
                  <a:pt x="4233181" y="1466793"/>
                  <a:pt x="4234888" y="1469353"/>
                </a:cubicBezTo>
                <a:cubicBezTo>
                  <a:pt x="4235955" y="1470918"/>
                  <a:pt x="4236595" y="1472910"/>
                  <a:pt x="4236169" y="1475044"/>
                </a:cubicBezTo>
                <a:cubicBezTo>
                  <a:pt x="4230406" y="1483011"/>
                  <a:pt x="4218668" y="1476040"/>
                  <a:pt x="4218241" y="1468499"/>
                </a:cubicBezTo>
                <a:cubicBezTo>
                  <a:pt x="4220375" y="1465512"/>
                  <a:pt x="4223790" y="1464374"/>
                  <a:pt x="4226991" y="1464800"/>
                </a:cubicBezTo>
                <a:close/>
                <a:moveTo>
                  <a:pt x="977527" y="1464722"/>
                </a:moveTo>
                <a:cubicBezTo>
                  <a:pt x="979902" y="1463948"/>
                  <a:pt x="981761" y="1464102"/>
                  <a:pt x="984549" y="1465961"/>
                </a:cubicBezTo>
                <a:cubicBezTo>
                  <a:pt x="984549" y="1469678"/>
                  <a:pt x="984961" y="1468594"/>
                  <a:pt x="983000" y="1472157"/>
                </a:cubicBezTo>
                <a:cubicBezTo>
                  <a:pt x="980728" y="1471228"/>
                  <a:pt x="978353" y="1470143"/>
                  <a:pt x="976081" y="1469214"/>
                </a:cubicBezTo>
                <a:cubicBezTo>
                  <a:pt x="977217" y="1467820"/>
                  <a:pt x="977114" y="1465806"/>
                  <a:pt x="977527" y="1464722"/>
                </a:cubicBezTo>
                <a:close/>
                <a:moveTo>
                  <a:pt x="4459619" y="1464374"/>
                </a:moveTo>
                <a:cubicBezTo>
                  <a:pt x="4460472" y="1464231"/>
                  <a:pt x="4461327" y="1464516"/>
                  <a:pt x="4462393" y="1465085"/>
                </a:cubicBezTo>
                <a:cubicBezTo>
                  <a:pt x="4465381" y="1470065"/>
                  <a:pt x="4461327" y="1474759"/>
                  <a:pt x="4459619" y="1480877"/>
                </a:cubicBezTo>
                <a:cubicBezTo>
                  <a:pt x="4458339" y="1480877"/>
                  <a:pt x="4457058" y="1482015"/>
                  <a:pt x="4457058" y="1483153"/>
                </a:cubicBezTo>
                <a:cubicBezTo>
                  <a:pt x="4455777" y="1484291"/>
                  <a:pt x="4454497" y="1485571"/>
                  <a:pt x="4455564" y="1485571"/>
                </a:cubicBezTo>
                <a:cubicBezTo>
                  <a:pt x="4451722" y="1489128"/>
                  <a:pt x="4451722" y="1490408"/>
                  <a:pt x="4448308" y="1489128"/>
                </a:cubicBezTo>
                <a:lnTo>
                  <a:pt x="4449588" y="1485145"/>
                </a:lnTo>
                <a:lnTo>
                  <a:pt x="4448521" y="1485145"/>
                </a:lnTo>
                <a:cubicBezTo>
                  <a:pt x="4446814" y="1482584"/>
                  <a:pt x="4447027" y="1480734"/>
                  <a:pt x="4448094" y="1479454"/>
                </a:cubicBezTo>
                <a:lnTo>
                  <a:pt x="4452149" y="1478032"/>
                </a:lnTo>
                <a:lnTo>
                  <a:pt x="4453216" y="1475044"/>
                </a:lnTo>
                <a:cubicBezTo>
                  <a:pt x="4455137" y="1470776"/>
                  <a:pt x="4456844" y="1467503"/>
                  <a:pt x="4457698" y="1466223"/>
                </a:cubicBezTo>
                <a:cubicBezTo>
                  <a:pt x="4458339" y="1465085"/>
                  <a:pt x="4458979" y="1464516"/>
                  <a:pt x="4459619" y="1464374"/>
                </a:cubicBezTo>
                <a:close/>
                <a:moveTo>
                  <a:pt x="1390862" y="1464102"/>
                </a:moveTo>
                <a:lnTo>
                  <a:pt x="1390242" y="1464412"/>
                </a:lnTo>
                <a:lnTo>
                  <a:pt x="1391275" y="1464722"/>
                </a:lnTo>
                <a:close/>
                <a:moveTo>
                  <a:pt x="4001620" y="1463663"/>
                </a:moveTo>
                <a:cubicBezTo>
                  <a:pt x="4002474" y="1463804"/>
                  <a:pt x="4003114" y="1464231"/>
                  <a:pt x="4003327" y="1465085"/>
                </a:cubicBezTo>
                <a:cubicBezTo>
                  <a:pt x="4003755" y="1466081"/>
                  <a:pt x="4003541" y="1466650"/>
                  <a:pt x="4002687" y="1467219"/>
                </a:cubicBezTo>
                <a:cubicBezTo>
                  <a:pt x="4002047" y="1467646"/>
                  <a:pt x="4000767" y="1467930"/>
                  <a:pt x="3999700" y="1468641"/>
                </a:cubicBezTo>
                <a:lnTo>
                  <a:pt x="3999059" y="1463804"/>
                </a:lnTo>
                <a:cubicBezTo>
                  <a:pt x="3999700" y="1463520"/>
                  <a:pt x="4000767" y="1463378"/>
                  <a:pt x="4001620" y="1463663"/>
                </a:cubicBezTo>
                <a:close/>
                <a:moveTo>
                  <a:pt x="5439429" y="1463236"/>
                </a:moveTo>
                <a:cubicBezTo>
                  <a:pt x="5439216" y="1464516"/>
                  <a:pt x="5440283" y="1465796"/>
                  <a:pt x="5440283" y="1466935"/>
                </a:cubicBezTo>
                <a:cubicBezTo>
                  <a:pt x="5437508" y="1469353"/>
                  <a:pt x="5434307" y="1466935"/>
                  <a:pt x="5434520" y="1465654"/>
                </a:cubicBezTo>
                <a:cubicBezTo>
                  <a:pt x="5435801" y="1464516"/>
                  <a:pt x="5438149" y="1464516"/>
                  <a:pt x="5439429" y="1463236"/>
                </a:cubicBezTo>
                <a:close/>
                <a:moveTo>
                  <a:pt x="4242571" y="1462382"/>
                </a:moveTo>
                <a:cubicBezTo>
                  <a:pt x="4244278" y="1464374"/>
                  <a:pt x="4247053" y="1467361"/>
                  <a:pt x="4246412" y="1470349"/>
                </a:cubicBezTo>
                <a:cubicBezTo>
                  <a:pt x="4246199" y="1471345"/>
                  <a:pt x="4245559" y="1472340"/>
                  <a:pt x="4244278" y="1473336"/>
                </a:cubicBezTo>
                <a:cubicBezTo>
                  <a:pt x="4244065" y="1474475"/>
                  <a:pt x="4239369" y="1474902"/>
                  <a:pt x="4238302" y="1473621"/>
                </a:cubicBezTo>
                <a:cubicBezTo>
                  <a:pt x="4235101" y="1470633"/>
                  <a:pt x="4237662" y="1467503"/>
                  <a:pt x="4239156" y="1462951"/>
                </a:cubicBezTo>
                <a:cubicBezTo>
                  <a:pt x="4240224" y="1464374"/>
                  <a:pt x="4241504" y="1463378"/>
                  <a:pt x="4242571" y="1462382"/>
                </a:cubicBezTo>
                <a:close/>
                <a:moveTo>
                  <a:pt x="1709510" y="1462089"/>
                </a:moveTo>
                <a:cubicBezTo>
                  <a:pt x="1710956" y="1464722"/>
                  <a:pt x="1711678" y="1465651"/>
                  <a:pt x="1712298" y="1467355"/>
                </a:cubicBezTo>
                <a:cubicBezTo>
                  <a:pt x="1713124" y="1467355"/>
                  <a:pt x="1714054" y="1467355"/>
                  <a:pt x="1714776" y="1468284"/>
                </a:cubicBezTo>
                <a:cubicBezTo>
                  <a:pt x="1716222" y="1469988"/>
                  <a:pt x="1715189" y="1471692"/>
                  <a:pt x="1715809" y="1473396"/>
                </a:cubicBezTo>
                <a:cubicBezTo>
                  <a:pt x="1714879" y="1474326"/>
                  <a:pt x="1713124" y="1475100"/>
                  <a:pt x="1711575" y="1473241"/>
                </a:cubicBezTo>
                <a:cubicBezTo>
                  <a:pt x="1709200" y="1471537"/>
                  <a:pt x="1709510" y="1469059"/>
                  <a:pt x="1710646" y="1466426"/>
                </a:cubicBezTo>
                <a:cubicBezTo>
                  <a:pt x="1710336" y="1465651"/>
                  <a:pt x="1709820" y="1464877"/>
                  <a:pt x="1709407" y="1464257"/>
                </a:cubicBezTo>
                <a:cubicBezTo>
                  <a:pt x="1709097" y="1463638"/>
                  <a:pt x="1708994" y="1463018"/>
                  <a:pt x="1709510" y="1462089"/>
                </a:cubicBezTo>
                <a:close/>
                <a:moveTo>
                  <a:pt x="1741416" y="1461624"/>
                </a:moveTo>
                <a:cubicBezTo>
                  <a:pt x="1741933" y="1463948"/>
                  <a:pt x="1743895" y="1463948"/>
                  <a:pt x="1744411" y="1466271"/>
                </a:cubicBezTo>
                <a:cubicBezTo>
                  <a:pt x="1737183" y="1468284"/>
                  <a:pt x="1729439" y="1470918"/>
                  <a:pt x="1726547" y="1466426"/>
                </a:cubicBezTo>
                <a:cubicBezTo>
                  <a:pt x="1728716" y="1461624"/>
                  <a:pt x="1736873" y="1461159"/>
                  <a:pt x="1741416" y="1461624"/>
                </a:cubicBezTo>
                <a:close/>
                <a:moveTo>
                  <a:pt x="5201466" y="1461244"/>
                </a:moveTo>
                <a:cubicBezTo>
                  <a:pt x="5211070" y="1459964"/>
                  <a:pt x="5224942" y="1468499"/>
                  <a:pt x="5228784" y="1473336"/>
                </a:cubicBezTo>
                <a:cubicBezTo>
                  <a:pt x="5218326" y="1473336"/>
                  <a:pt x="5201466" y="1472625"/>
                  <a:pt x="5193783" y="1466223"/>
                </a:cubicBezTo>
                <a:cubicBezTo>
                  <a:pt x="5195490" y="1463093"/>
                  <a:pt x="5198264" y="1461671"/>
                  <a:pt x="5201466" y="1461244"/>
                </a:cubicBezTo>
                <a:close/>
                <a:moveTo>
                  <a:pt x="3827683" y="1460959"/>
                </a:moveTo>
                <a:cubicBezTo>
                  <a:pt x="3829177" y="1461386"/>
                  <a:pt x="3831311" y="1463093"/>
                  <a:pt x="3833019" y="1465227"/>
                </a:cubicBezTo>
                <a:cubicBezTo>
                  <a:pt x="3834726" y="1467361"/>
                  <a:pt x="3836220" y="1469922"/>
                  <a:pt x="3836007" y="1472198"/>
                </a:cubicBezTo>
                <a:cubicBezTo>
                  <a:pt x="3833445" y="1472340"/>
                  <a:pt x="3830885" y="1472483"/>
                  <a:pt x="3828323" y="1472767"/>
                </a:cubicBezTo>
                <a:cubicBezTo>
                  <a:pt x="3829390" y="1472198"/>
                  <a:pt x="3822561" y="1464089"/>
                  <a:pt x="3822561" y="1464089"/>
                </a:cubicBezTo>
                <a:cubicBezTo>
                  <a:pt x="3823628" y="1460817"/>
                  <a:pt x="3823628" y="1460817"/>
                  <a:pt x="3827683" y="1460959"/>
                </a:cubicBezTo>
                <a:close/>
                <a:moveTo>
                  <a:pt x="1043817" y="1460694"/>
                </a:moveTo>
                <a:cubicBezTo>
                  <a:pt x="1049290" y="1463018"/>
                  <a:pt x="1056105" y="1464412"/>
                  <a:pt x="1060855" y="1468439"/>
                </a:cubicBezTo>
                <a:cubicBezTo>
                  <a:pt x="1055175" y="1470763"/>
                  <a:pt x="1043611" y="1468904"/>
                  <a:pt x="1043817" y="1460694"/>
                </a:cubicBezTo>
                <a:close/>
                <a:moveTo>
                  <a:pt x="1427827" y="1460539"/>
                </a:moveTo>
                <a:cubicBezTo>
                  <a:pt x="1428653" y="1460694"/>
                  <a:pt x="1429479" y="1461314"/>
                  <a:pt x="1430202" y="1462244"/>
                </a:cubicBezTo>
                <a:cubicBezTo>
                  <a:pt x="1431648" y="1464102"/>
                  <a:pt x="1430512" y="1465651"/>
                  <a:pt x="1430512" y="1465651"/>
                </a:cubicBezTo>
                <a:cubicBezTo>
                  <a:pt x="1428343" y="1468129"/>
                  <a:pt x="1425556" y="1468749"/>
                  <a:pt x="1423284" y="1466890"/>
                </a:cubicBezTo>
                <a:cubicBezTo>
                  <a:pt x="1422664" y="1465186"/>
                  <a:pt x="1423800" y="1463483"/>
                  <a:pt x="1424936" y="1461934"/>
                </a:cubicBezTo>
                <a:cubicBezTo>
                  <a:pt x="1425969" y="1460694"/>
                  <a:pt x="1427001" y="1460385"/>
                  <a:pt x="1427827" y="1460539"/>
                </a:cubicBezTo>
                <a:close/>
                <a:moveTo>
                  <a:pt x="4724473" y="1460532"/>
                </a:moveTo>
                <a:cubicBezTo>
                  <a:pt x="4729168" y="1463093"/>
                  <a:pt x="4730449" y="1466793"/>
                  <a:pt x="4727034" y="1470207"/>
                </a:cubicBezTo>
                <a:cubicBezTo>
                  <a:pt x="4724686" y="1467646"/>
                  <a:pt x="4722339" y="1468784"/>
                  <a:pt x="4719991" y="1466223"/>
                </a:cubicBezTo>
                <a:cubicBezTo>
                  <a:pt x="4722125" y="1463947"/>
                  <a:pt x="4723193" y="1461671"/>
                  <a:pt x="4724473" y="1460532"/>
                </a:cubicBezTo>
                <a:close/>
                <a:moveTo>
                  <a:pt x="5573883" y="1459537"/>
                </a:moveTo>
                <a:cubicBezTo>
                  <a:pt x="5574097" y="1461244"/>
                  <a:pt x="5576871" y="1461529"/>
                  <a:pt x="5577085" y="1463093"/>
                </a:cubicBezTo>
                <a:cubicBezTo>
                  <a:pt x="5577085" y="1463093"/>
                  <a:pt x="5576871" y="1464231"/>
                  <a:pt x="5576658" y="1465085"/>
                </a:cubicBezTo>
                <a:lnTo>
                  <a:pt x="5576018" y="1466935"/>
                </a:lnTo>
                <a:lnTo>
                  <a:pt x="5577939" y="1467930"/>
                </a:lnTo>
                <a:cubicBezTo>
                  <a:pt x="5580286" y="1468358"/>
                  <a:pt x="5582207" y="1466935"/>
                  <a:pt x="5583487" y="1470918"/>
                </a:cubicBezTo>
                <a:cubicBezTo>
                  <a:pt x="5583061" y="1473336"/>
                  <a:pt x="5581567" y="1475471"/>
                  <a:pt x="5577939" y="1477035"/>
                </a:cubicBezTo>
                <a:cubicBezTo>
                  <a:pt x="5575164" y="1475186"/>
                  <a:pt x="5574311" y="1473336"/>
                  <a:pt x="5574097" y="1471630"/>
                </a:cubicBezTo>
                <a:lnTo>
                  <a:pt x="5575591" y="1467077"/>
                </a:lnTo>
                <a:lnTo>
                  <a:pt x="5574737" y="1467219"/>
                </a:lnTo>
                <a:cubicBezTo>
                  <a:pt x="5574524" y="1467219"/>
                  <a:pt x="5574737" y="1466935"/>
                  <a:pt x="5574951" y="1466366"/>
                </a:cubicBezTo>
                <a:cubicBezTo>
                  <a:pt x="5572390" y="1466223"/>
                  <a:pt x="5571536" y="1465512"/>
                  <a:pt x="5570469" y="1464943"/>
                </a:cubicBezTo>
                <a:cubicBezTo>
                  <a:pt x="5570255" y="1463236"/>
                  <a:pt x="5571536" y="1461101"/>
                  <a:pt x="5573883" y="1459537"/>
                </a:cubicBezTo>
                <a:close/>
                <a:moveTo>
                  <a:pt x="4289096" y="1459252"/>
                </a:moveTo>
                <a:cubicBezTo>
                  <a:pt x="4289950" y="1458967"/>
                  <a:pt x="4290804" y="1458967"/>
                  <a:pt x="4291444" y="1459537"/>
                </a:cubicBezTo>
                <a:cubicBezTo>
                  <a:pt x="4291444" y="1460817"/>
                  <a:pt x="4292724" y="1460817"/>
                  <a:pt x="4292724" y="1462097"/>
                </a:cubicBezTo>
                <a:cubicBezTo>
                  <a:pt x="4294005" y="1464516"/>
                  <a:pt x="4294005" y="1465796"/>
                  <a:pt x="4292938" y="1466935"/>
                </a:cubicBezTo>
                <a:cubicBezTo>
                  <a:pt x="4292938" y="1468073"/>
                  <a:pt x="4291871" y="1468073"/>
                  <a:pt x="4290804" y="1469211"/>
                </a:cubicBezTo>
                <a:cubicBezTo>
                  <a:pt x="4289523" y="1469211"/>
                  <a:pt x="4288456" y="1467930"/>
                  <a:pt x="4288456" y="1467930"/>
                </a:cubicBezTo>
                <a:cubicBezTo>
                  <a:pt x="4287176" y="1466650"/>
                  <a:pt x="4287176" y="1466650"/>
                  <a:pt x="4286109" y="1467788"/>
                </a:cubicBezTo>
                <a:cubicBezTo>
                  <a:pt x="4286109" y="1467788"/>
                  <a:pt x="4286109" y="1466650"/>
                  <a:pt x="4286109" y="1466650"/>
                </a:cubicBezTo>
                <a:cubicBezTo>
                  <a:pt x="4287176" y="1466650"/>
                  <a:pt x="4286109" y="1466650"/>
                  <a:pt x="4284828" y="1465369"/>
                </a:cubicBezTo>
                <a:cubicBezTo>
                  <a:pt x="4285895" y="1462951"/>
                  <a:pt x="4285895" y="1461671"/>
                  <a:pt x="4286962" y="1460532"/>
                </a:cubicBezTo>
                <a:cubicBezTo>
                  <a:pt x="4287389" y="1459964"/>
                  <a:pt x="4288243" y="1459537"/>
                  <a:pt x="4289096" y="1459252"/>
                </a:cubicBezTo>
                <a:close/>
                <a:moveTo>
                  <a:pt x="4006956" y="1458967"/>
                </a:moveTo>
                <a:cubicBezTo>
                  <a:pt x="4008023" y="1459252"/>
                  <a:pt x="4009303" y="1460532"/>
                  <a:pt x="4011011" y="1463093"/>
                </a:cubicBezTo>
                <a:cubicBezTo>
                  <a:pt x="4008236" y="1466223"/>
                  <a:pt x="4006316" y="1466935"/>
                  <a:pt x="4005035" y="1466508"/>
                </a:cubicBezTo>
                <a:cubicBezTo>
                  <a:pt x="4002474" y="1465369"/>
                  <a:pt x="4003327" y="1458114"/>
                  <a:pt x="4006956" y="1458967"/>
                </a:cubicBezTo>
                <a:close/>
                <a:moveTo>
                  <a:pt x="4531328" y="1458682"/>
                </a:moveTo>
                <a:cubicBezTo>
                  <a:pt x="4533462" y="1461813"/>
                  <a:pt x="4536664" y="1464943"/>
                  <a:pt x="4539651" y="1468215"/>
                </a:cubicBezTo>
                <a:lnTo>
                  <a:pt x="4545627" y="1474759"/>
                </a:lnTo>
                <a:lnTo>
                  <a:pt x="4545627" y="1474475"/>
                </a:lnTo>
                <a:cubicBezTo>
                  <a:pt x="4546054" y="1473763"/>
                  <a:pt x="4547335" y="1473336"/>
                  <a:pt x="4548828" y="1472910"/>
                </a:cubicBezTo>
                <a:cubicBezTo>
                  <a:pt x="4549469" y="1474048"/>
                  <a:pt x="4549895" y="1475044"/>
                  <a:pt x="4549469" y="1475897"/>
                </a:cubicBezTo>
                <a:lnTo>
                  <a:pt x="4547761" y="1477605"/>
                </a:lnTo>
                <a:lnTo>
                  <a:pt x="4548188" y="1478032"/>
                </a:lnTo>
                <a:cubicBezTo>
                  <a:pt x="4552670" y="1484433"/>
                  <a:pt x="4553097" y="1490551"/>
                  <a:pt x="4541572" y="1495104"/>
                </a:cubicBezTo>
                <a:lnTo>
                  <a:pt x="4540078" y="1488417"/>
                </a:lnTo>
                <a:lnTo>
                  <a:pt x="4538371" y="1489698"/>
                </a:lnTo>
                <a:cubicBezTo>
                  <a:pt x="4537731" y="1490693"/>
                  <a:pt x="4535383" y="1487848"/>
                  <a:pt x="4535383" y="1487848"/>
                </a:cubicBezTo>
                <a:cubicBezTo>
                  <a:pt x="4535169" y="1486994"/>
                  <a:pt x="4536237" y="1485998"/>
                  <a:pt x="4537304" y="1485145"/>
                </a:cubicBezTo>
                <a:lnTo>
                  <a:pt x="4538584" y="1484007"/>
                </a:lnTo>
                <a:lnTo>
                  <a:pt x="4534529" y="1475613"/>
                </a:lnTo>
                <a:cubicBezTo>
                  <a:pt x="4531541" y="1469638"/>
                  <a:pt x="4529194" y="1463947"/>
                  <a:pt x="4531328" y="1458682"/>
                </a:cubicBezTo>
                <a:close/>
                <a:moveTo>
                  <a:pt x="4590445" y="1458399"/>
                </a:moveTo>
                <a:cubicBezTo>
                  <a:pt x="4593006" y="1458825"/>
                  <a:pt x="4595354" y="1458114"/>
                  <a:pt x="4597702" y="1458682"/>
                </a:cubicBezTo>
                <a:cubicBezTo>
                  <a:pt x="4598128" y="1460817"/>
                  <a:pt x="4599836" y="1462524"/>
                  <a:pt x="4600476" y="1464374"/>
                </a:cubicBezTo>
                <a:cubicBezTo>
                  <a:pt x="4601330" y="1466223"/>
                  <a:pt x="4601543" y="1468215"/>
                  <a:pt x="4598982" y="1471345"/>
                </a:cubicBezTo>
                <a:cubicBezTo>
                  <a:pt x="4592153" y="1473336"/>
                  <a:pt x="4585750" y="1465796"/>
                  <a:pt x="4590445" y="1458399"/>
                </a:cubicBezTo>
                <a:close/>
                <a:moveTo>
                  <a:pt x="1141291" y="1457751"/>
                </a:moveTo>
                <a:cubicBezTo>
                  <a:pt x="1142014" y="1457287"/>
                  <a:pt x="1142943" y="1457132"/>
                  <a:pt x="1143976" y="1457751"/>
                </a:cubicBezTo>
                <a:cubicBezTo>
                  <a:pt x="1143976" y="1458991"/>
                  <a:pt x="1144492" y="1460849"/>
                  <a:pt x="1143872" y="1462398"/>
                </a:cubicBezTo>
                <a:cubicBezTo>
                  <a:pt x="1141498" y="1463018"/>
                  <a:pt x="1140362" y="1462244"/>
                  <a:pt x="1140052" y="1461005"/>
                </a:cubicBezTo>
                <a:cubicBezTo>
                  <a:pt x="1139742" y="1459920"/>
                  <a:pt x="1140259" y="1458371"/>
                  <a:pt x="1141291" y="1457751"/>
                </a:cubicBezTo>
                <a:close/>
                <a:moveTo>
                  <a:pt x="4028085" y="1456976"/>
                </a:moveTo>
                <a:cubicBezTo>
                  <a:pt x="4029151" y="1457260"/>
                  <a:pt x="4030218" y="1457829"/>
                  <a:pt x="4030859" y="1458825"/>
                </a:cubicBezTo>
                <a:cubicBezTo>
                  <a:pt x="4031712" y="1460105"/>
                  <a:pt x="4031712" y="1461955"/>
                  <a:pt x="4030645" y="1464516"/>
                </a:cubicBezTo>
                <a:cubicBezTo>
                  <a:pt x="4025737" y="1464374"/>
                  <a:pt x="4022535" y="1464231"/>
                  <a:pt x="4020188" y="1463378"/>
                </a:cubicBezTo>
                <a:cubicBezTo>
                  <a:pt x="4019761" y="1458541"/>
                  <a:pt x="4024670" y="1456264"/>
                  <a:pt x="4028085" y="1456976"/>
                </a:cubicBezTo>
                <a:close/>
                <a:moveTo>
                  <a:pt x="1746063" y="1456358"/>
                </a:moveTo>
                <a:cubicBezTo>
                  <a:pt x="1749987" y="1456358"/>
                  <a:pt x="1754014" y="1456358"/>
                  <a:pt x="1757937" y="1456977"/>
                </a:cubicBezTo>
                <a:cubicBezTo>
                  <a:pt x="1761964" y="1457597"/>
                  <a:pt x="1765785" y="1458991"/>
                  <a:pt x="1769502" y="1461934"/>
                </a:cubicBezTo>
                <a:cubicBezTo>
                  <a:pt x="1760932" y="1468439"/>
                  <a:pt x="1750193" y="1461159"/>
                  <a:pt x="1746063" y="1456358"/>
                </a:cubicBezTo>
                <a:close/>
                <a:moveTo>
                  <a:pt x="1190338" y="1456358"/>
                </a:moveTo>
                <a:cubicBezTo>
                  <a:pt x="1190544" y="1458991"/>
                  <a:pt x="1189925" y="1460694"/>
                  <a:pt x="1188376" y="1461624"/>
                </a:cubicBezTo>
                <a:lnTo>
                  <a:pt x="1182181" y="1462398"/>
                </a:lnTo>
                <a:lnTo>
                  <a:pt x="1182697" y="1465806"/>
                </a:lnTo>
                <a:cubicBezTo>
                  <a:pt x="1179599" y="1467974"/>
                  <a:pt x="1176811" y="1468439"/>
                  <a:pt x="1174953" y="1469059"/>
                </a:cubicBezTo>
                <a:cubicBezTo>
                  <a:pt x="1173714" y="1467200"/>
                  <a:pt x="1172165" y="1466116"/>
                  <a:pt x="1170823" y="1464257"/>
                </a:cubicBezTo>
                <a:cubicBezTo>
                  <a:pt x="1171132" y="1459145"/>
                  <a:pt x="1174643" y="1457287"/>
                  <a:pt x="1177844" y="1457751"/>
                </a:cubicBezTo>
                <a:lnTo>
                  <a:pt x="1181664" y="1460075"/>
                </a:lnTo>
                <a:lnTo>
                  <a:pt x="1181768" y="1459145"/>
                </a:lnTo>
                <a:cubicBezTo>
                  <a:pt x="1182284" y="1458371"/>
                  <a:pt x="1183007" y="1457906"/>
                  <a:pt x="1183833" y="1457597"/>
                </a:cubicBezTo>
                <a:cubicBezTo>
                  <a:pt x="1185692" y="1456977"/>
                  <a:pt x="1188169" y="1456977"/>
                  <a:pt x="1190338" y="1456358"/>
                </a:cubicBezTo>
                <a:close/>
                <a:moveTo>
                  <a:pt x="4183240" y="1455980"/>
                </a:moveTo>
                <a:cubicBezTo>
                  <a:pt x="4187935" y="1457829"/>
                  <a:pt x="4189002" y="1462951"/>
                  <a:pt x="4198180" y="1460674"/>
                </a:cubicBezTo>
                <a:cubicBezTo>
                  <a:pt x="4195832" y="1465654"/>
                  <a:pt x="4192844" y="1469780"/>
                  <a:pt x="4188576" y="1472198"/>
                </a:cubicBezTo>
                <a:cubicBezTo>
                  <a:pt x="4185161" y="1467930"/>
                  <a:pt x="4184307" y="1461101"/>
                  <a:pt x="4183240" y="1455980"/>
                </a:cubicBezTo>
                <a:close/>
                <a:moveTo>
                  <a:pt x="1721385" y="1455738"/>
                </a:moveTo>
                <a:cubicBezTo>
                  <a:pt x="1724792" y="1456667"/>
                  <a:pt x="1729335" y="1455893"/>
                  <a:pt x="1731710" y="1457751"/>
                </a:cubicBezTo>
                <a:cubicBezTo>
                  <a:pt x="1732123" y="1458061"/>
                  <a:pt x="1732536" y="1458526"/>
                  <a:pt x="1732536" y="1459145"/>
                </a:cubicBezTo>
                <a:cubicBezTo>
                  <a:pt x="1732640" y="1459610"/>
                  <a:pt x="1732330" y="1460230"/>
                  <a:pt x="1731298" y="1461005"/>
                </a:cubicBezTo>
                <a:cubicBezTo>
                  <a:pt x="1730265" y="1462708"/>
                  <a:pt x="1729335" y="1462708"/>
                  <a:pt x="1726961" y="1460849"/>
                </a:cubicBezTo>
                <a:cubicBezTo>
                  <a:pt x="1725411" y="1459145"/>
                  <a:pt x="1723760" y="1458371"/>
                  <a:pt x="1723863" y="1457441"/>
                </a:cubicBezTo>
                <a:cubicBezTo>
                  <a:pt x="1722933" y="1457441"/>
                  <a:pt x="1722210" y="1456667"/>
                  <a:pt x="1721281" y="1456667"/>
                </a:cubicBezTo>
                <a:cubicBezTo>
                  <a:pt x="1721281" y="1456667"/>
                  <a:pt x="1721281" y="1456667"/>
                  <a:pt x="1721385" y="1455738"/>
                </a:cubicBezTo>
                <a:close/>
                <a:moveTo>
                  <a:pt x="1009226" y="1455738"/>
                </a:moveTo>
                <a:cubicBezTo>
                  <a:pt x="1010775" y="1457597"/>
                  <a:pt x="1011704" y="1463018"/>
                  <a:pt x="1008710" y="1466426"/>
                </a:cubicBezTo>
                <a:cubicBezTo>
                  <a:pt x="1004477" y="1466580"/>
                  <a:pt x="1002721" y="1464877"/>
                  <a:pt x="1002721" y="1461779"/>
                </a:cubicBezTo>
                <a:cubicBezTo>
                  <a:pt x="1002721" y="1460849"/>
                  <a:pt x="1002825" y="1459610"/>
                  <a:pt x="1003237" y="1458371"/>
                </a:cubicBezTo>
                <a:cubicBezTo>
                  <a:pt x="1005096" y="1457906"/>
                  <a:pt x="1006542" y="1456667"/>
                  <a:pt x="1009226" y="1455738"/>
                </a:cubicBezTo>
                <a:close/>
                <a:moveTo>
                  <a:pt x="1219766" y="1454034"/>
                </a:moveTo>
                <a:cubicBezTo>
                  <a:pt x="1222657" y="1453879"/>
                  <a:pt x="1222967" y="1462863"/>
                  <a:pt x="1216152" y="1458216"/>
                </a:cubicBezTo>
                <a:cubicBezTo>
                  <a:pt x="1217598" y="1455273"/>
                  <a:pt x="1218836" y="1454189"/>
                  <a:pt x="1219766" y="1454034"/>
                </a:cubicBezTo>
                <a:close/>
                <a:moveTo>
                  <a:pt x="3933753" y="1453988"/>
                </a:moveTo>
                <a:cubicBezTo>
                  <a:pt x="3933753" y="1453988"/>
                  <a:pt x="3934820" y="1456264"/>
                  <a:pt x="3934820" y="1456264"/>
                </a:cubicBezTo>
                <a:cubicBezTo>
                  <a:pt x="3935460" y="1459679"/>
                  <a:pt x="3935674" y="1461386"/>
                  <a:pt x="3936741" y="1463663"/>
                </a:cubicBezTo>
                <a:cubicBezTo>
                  <a:pt x="3934607" y="1465085"/>
                  <a:pt x="3933539" y="1464516"/>
                  <a:pt x="3933326" y="1462951"/>
                </a:cubicBezTo>
                <a:cubicBezTo>
                  <a:pt x="3933326" y="1462951"/>
                  <a:pt x="3933112" y="1461244"/>
                  <a:pt x="3932899" y="1459537"/>
                </a:cubicBezTo>
                <a:cubicBezTo>
                  <a:pt x="3932686" y="1457829"/>
                  <a:pt x="3931618" y="1457260"/>
                  <a:pt x="3931618" y="1457260"/>
                </a:cubicBezTo>
                <a:cubicBezTo>
                  <a:pt x="3931405" y="1455553"/>
                  <a:pt x="3932046" y="1454415"/>
                  <a:pt x="3933753" y="1453988"/>
                </a:cubicBezTo>
                <a:close/>
                <a:moveTo>
                  <a:pt x="4661514" y="1453845"/>
                </a:moveTo>
                <a:cubicBezTo>
                  <a:pt x="4663008" y="1456122"/>
                  <a:pt x="4665142" y="1457402"/>
                  <a:pt x="4666636" y="1459821"/>
                </a:cubicBezTo>
                <a:cubicBezTo>
                  <a:pt x="4664502" y="1463663"/>
                  <a:pt x="4667063" y="1469353"/>
                  <a:pt x="4659593" y="1469780"/>
                </a:cubicBezTo>
                <a:cubicBezTo>
                  <a:pt x="4653404" y="1465796"/>
                  <a:pt x="4653617" y="1455268"/>
                  <a:pt x="4661514" y="1453845"/>
                </a:cubicBezTo>
                <a:close/>
                <a:moveTo>
                  <a:pt x="3907502" y="1453704"/>
                </a:moveTo>
                <a:cubicBezTo>
                  <a:pt x="3908569" y="1456549"/>
                  <a:pt x="3910490" y="1461529"/>
                  <a:pt x="3909637" y="1464516"/>
                </a:cubicBezTo>
                <a:cubicBezTo>
                  <a:pt x="3909423" y="1465654"/>
                  <a:pt x="3908996" y="1466366"/>
                  <a:pt x="3907929" y="1466935"/>
                </a:cubicBezTo>
                <a:cubicBezTo>
                  <a:pt x="3906435" y="1467361"/>
                  <a:pt x="3906222" y="1465654"/>
                  <a:pt x="3905154" y="1465085"/>
                </a:cubicBezTo>
                <a:cubicBezTo>
                  <a:pt x="3904087" y="1462951"/>
                  <a:pt x="3905795" y="1454130"/>
                  <a:pt x="3907502" y="1453704"/>
                </a:cubicBezTo>
                <a:close/>
                <a:moveTo>
                  <a:pt x="1227097" y="1453415"/>
                </a:moveTo>
                <a:cubicBezTo>
                  <a:pt x="1227923" y="1453105"/>
                  <a:pt x="1229059" y="1453260"/>
                  <a:pt x="1230298" y="1453569"/>
                </a:cubicBezTo>
                <a:cubicBezTo>
                  <a:pt x="1232673" y="1454344"/>
                  <a:pt x="1232879" y="1456203"/>
                  <a:pt x="1232879" y="1456203"/>
                </a:cubicBezTo>
                <a:cubicBezTo>
                  <a:pt x="1232673" y="1459145"/>
                  <a:pt x="1230918" y="1461005"/>
                  <a:pt x="1227717" y="1460694"/>
                </a:cubicBezTo>
                <a:cubicBezTo>
                  <a:pt x="1226065" y="1459610"/>
                  <a:pt x="1225961" y="1457751"/>
                  <a:pt x="1225755" y="1455893"/>
                </a:cubicBezTo>
                <a:cubicBezTo>
                  <a:pt x="1225858" y="1454499"/>
                  <a:pt x="1226271" y="1453724"/>
                  <a:pt x="1227097" y="1453415"/>
                </a:cubicBezTo>
                <a:close/>
                <a:moveTo>
                  <a:pt x="5025821" y="1453135"/>
                </a:moveTo>
                <a:cubicBezTo>
                  <a:pt x="5027102" y="1455695"/>
                  <a:pt x="5027102" y="1455695"/>
                  <a:pt x="5026035" y="1458114"/>
                </a:cubicBezTo>
                <a:cubicBezTo>
                  <a:pt x="5024968" y="1457972"/>
                  <a:pt x="5024968" y="1459252"/>
                  <a:pt x="5023688" y="1457972"/>
                </a:cubicBezTo>
                <a:cubicBezTo>
                  <a:pt x="5021553" y="1461529"/>
                  <a:pt x="5011309" y="1464658"/>
                  <a:pt x="5006614" y="1463236"/>
                </a:cubicBezTo>
                <a:cubicBezTo>
                  <a:pt x="5014297" y="1452708"/>
                  <a:pt x="5021553" y="1459109"/>
                  <a:pt x="5025821" y="1453135"/>
                </a:cubicBezTo>
                <a:close/>
                <a:moveTo>
                  <a:pt x="4613068" y="1452423"/>
                </a:moveTo>
                <a:cubicBezTo>
                  <a:pt x="4616909" y="1453988"/>
                  <a:pt x="4621604" y="1460532"/>
                  <a:pt x="4618403" y="1464089"/>
                </a:cubicBezTo>
                <a:cubicBezTo>
                  <a:pt x="4614989" y="1466366"/>
                  <a:pt x="4603037" y="1458541"/>
                  <a:pt x="4609653" y="1452708"/>
                </a:cubicBezTo>
                <a:cubicBezTo>
                  <a:pt x="4610507" y="1451854"/>
                  <a:pt x="4611787" y="1451854"/>
                  <a:pt x="4613068" y="1452423"/>
                </a:cubicBezTo>
                <a:close/>
                <a:moveTo>
                  <a:pt x="4469650" y="1452281"/>
                </a:moveTo>
                <a:cubicBezTo>
                  <a:pt x="4473705" y="1460105"/>
                  <a:pt x="4488004" y="1479169"/>
                  <a:pt x="4476479" y="1485003"/>
                </a:cubicBezTo>
                <a:cubicBezTo>
                  <a:pt x="4473705" y="1477605"/>
                  <a:pt x="4460899" y="1455837"/>
                  <a:pt x="4469650" y="1452281"/>
                </a:cubicBezTo>
                <a:close/>
                <a:moveTo>
                  <a:pt x="1416882" y="1452175"/>
                </a:moveTo>
                <a:cubicBezTo>
                  <a:pt x="1417192" y="1452175"/>
                  <a:pt x="1417398" y="1452330"/>
                  <a:pt x="1417811" y="1452175"/>
                </a:cubicBezTo>
                <a:cubicBezTo>
                  <a:pt x="1417398" y="1453260"/>
                  <a:pt x="1417398" y="1453260"/>
                  <a:pt x="1416263" y="1452640"/>
                </a:cubicBezTo>
                <a:cubicBezTo>
                  <a:pt x="1416469" y="1452175"/>
                  <a:pt x="1416675" y="1452020"/>
                  <a:pt x="1416882" y="1452175"/>
                </a:cubicBezTo>
                <a:close/>
                <a:moveTo>
                  <a:pt x="5102013" y="1452138"/>
                </a:moveTo>
                <a:cubicBezTo>
                  <a:pt x="5102013" y="1452138"/>
                  <a:pt x="5102866" y="1452708"/>
                  <a:pt x="5103293" y="1453561"/>
                </a:cubicBezTo>
                <a:cubicBezTo>
                  <a:pt x="5103933" y="1454415"/>
                  <a:pt x="5104573" y="1455410"/>
                  <a:pt x="5104147" y="1456264"/>
                </a:cubicBezTo>
                <a:cubicBezTo>
                  <a:pt x="5104360" y="1458825"/>
                  <a:pt x="5099665" y="1457687"/>
                  <a:pt x="5098598" y="1458399"/>
                </a:cubicBezTo>
                <a:cubicBezTo>
                  <a:pt x="5097104" y="1457972"/>
                  <a:pt x="5095397" y="1457545"/>
                  <a:pt x="5096037" y="1455980"/>
                </a:cubicBezTo>
                <a:cubicBezTo>
                  <a:pt x="5096464" y="1454272"/>
                  <a:pt x="5096037" y="1453277"/>
                  <a:pt x="5098598" y="1452992"/>
                </a:cubicBezTo>
                <a:cubicBezTo>
                  <a:pt x="5099665" y="1452423"/>
                  <a:pt x="5101159" y="1452708"/>
                  <a:pt x="5102013" y="1452138"/>
                </a:cubicBezTo>
                <a:close/>
                <a:moveTo>
                  <a:pt x="5136373" y="1451285"/>
                </a:moveTo>
                <a:cubicBezTo>
                  <a:pt x="5138507" y="1451000"/>
                  <a:pt x="5140855" y="1451427"/>
                  <a:pt x="5143843" y="1452565"/>
                </a:cubicBezTo>
                <a:cubicBezTo>
                  <a:pt x="5145977" y="1457972"/>
                  <a:pt x="5141069" y="1468073"/>
                  <a:pt x="5133598" y="1465227"/>
                </a:cubicBezTo>
                <a:cubicBezTo>
                  <a:pt x="5131251" y="1462666"/>
                  <a:pt x="5129117" y="1459821"/>
                  <a:pt x="5130611" y="1453988"/>
                </a:cubicBezTo>
                <a:cubicBezTo>
                  <a:pt x="5132531" y="1452423"/>
                  <a:pt x="5134239" y="1451427"/>
                  <a:pt x="5136373" y="1451285"/>
                </a:cubicBezTo>
                <a:close/>
                <a:moveTo>
                  <a:pt x="4387056" y="1450716"/>
                </a:moveTo>
                <a:cubicBezTo>
                  <a:pt x="4389618" y="1451996"/>
                  <a:pt x="4391325" y="1453988"/>
                  <a:pt x="4392605" y="1456264"/>
                </a:cubicBezTo>
                <a:lnTo>
                  <a:pt x="4393672" y="1460248"/>
                </a:lnTo>
                <a:lnTo>
                  <a:pt x="4402636" y="1461244"/>
                </a:lnTo>
                <a:cubicBezTo>
                  <a:pt x="4401782" y="1462809"/>
                  <a:pt x="4405837" y="1463804"/>
                  <a:pt x="4407545" y="1465512"/>
                </a:cubicBezTo>
                <a:cubicBezTo>
                  <a:pt x="4408612" y="1468926"/>
                  <a:pt x="4409252" y="1471060"/>
                  <a:pt x="4407758" y="1474332"/>
                </a:cubicBezTo>
                <a:cubicBezTo>
                  <a:pt x="4405410" y="1479027"/>
                  <a:pt x="4398581" y="1484433"/>
                  <a:pt x="4394313" y="1482299"/>
                </a:cubicBezTo>
                <a:lnTo>
                  <a:pt x="4392392" y="1481446"/>
                </a:lnTo>
                <a:lnTo>
                  <a:pt x="4388550" y="1485003"/>
                </a:lnTo>
                <a:cubicBezTo>
                  <a:pt x="4387270" y="1485430"/>
                  <a:pt x="4385989" y="1485145"/>
                  <a:pt x="4384709" y="1484433"/>
                </a:cubicBezTo>
                <a:lnTo>
                  <a:pt x="4382575" y="1482299"/>
                </a:lnTo>
                <a:lnTo>
                  <a:pt x="4380227" y="1486710"/>
                </a:lnTo>
                <a:cubicBezTo>
                  <a:pt x="4378092" y="1490267"/>
                  <a:pt x="4375959" y="1493112"/>
                  <a:pt x="4374038" y="1493254"/>
                </a:cubicBezTo>
                <a:cubicBezTo>
                  <a:pt x="4373824" y="1492116"/>
                  <a:pt x="4373397" y="1490978"/>
                  <a:pt x="4374251" y="1489413"/>
                </a:cubicBezTo>
                <a:cubicBezTo>
                  <a:pt x="4374891" y="1487848"/>
                  <a:pt x="4375318" y="1488844"/>
                  <a:pt x="4374891" y="1487848"/>
                </a:cubicBezTo>
                <a:cubicBezTo>
                  <a:pt x="4375745" y="1486141"/>
                  <a:pt x="4374678" y="1486568"/>
                  <a:pt x="4374678" y="1486568"/>
                </a:cubicBezTo>
                <a:cubicBezTo>
                  <a:pt x="4374678" y="1486568"/>
                  <a:pt x="4375745" y="1486141"/>
                  <a:pt x="4375745" y="1486141"/>
                </a:cubicBezTo>
                <a:cubicBezTo>
                  <a:pt x="4375745" y="1486141"/>
                  <a:pt x="4375745" y="1486283"/>
                  <a:pt x="4377239" y="1483011"/>
                </a:cubicBezTo>
                <a:cubicBezTo>
                  <a:pt x="4378306" y="1478743"/>
                  <a:pt x="4377879" y="1477747"/>
                  <a:pt x="4378306" y="1475044"/>
                </a:cubicBezTo>
                <a:lnTo>
                  <a:pt x="4378733" y="1474475"/>
                </a:lnTo>
                <a:lnTo>
                  <a:pt x="4376385" y="1470918"/>
                </a:lnTo>
                <a:cubicBezTo>
                  <a:pt x="4374038" y="1462951"/>
                  <a:pt x="4377666" y="1452138"/>
                  <a:pt x="4387056" y="1450716"/>
                </a:cubicBezTo>
                <a:close/>
                <a:moveTo>
                  <a:pt x="5951637" y="1450574"/>
                </a:moveTo>
                <a:cubicBezTo>
                  <a:pt x="5952063" y="1453135"/>
                  <a:pt x="5953558" y="1454842"/>
                  <a:pt x="5953984" y="1457402"/>
                </a:cubicBezTo>
                <a:cubicBezTo>
                  <a:pt x="5952277" y="1461244"/>
                  <a:pt x="5944380" y="1464800"/>
                  <a:pt x="5940539" y="1462382"/>
                </a:cubicBezTo>
                <a:cubicBezTo>
                  <a:pt x="5939258" y="1461671"/>
                  <a:pt x="5938404" y="1460248"/>
                  <a:pt x="5938618" y="1457972"/>
                </a:cubicBezTo>
                <a:cubicBezTo>
                  <a:pt x="5939472" y="1451143"/>
                  <a:pt x="5945234" y="1450431"/>
                  <a:pt x="5951637" y="1450574"/>
                </a:cubicBezTo>
                <a:close/>
                <a:moveTo>
                  <a:pt x="1542029" y="1450472"/>
                </a:moveTo>
                <a:cubicBezTo>
                  <a:pt x="1543371" y="1452020"/>
                  <a:pt x="1540480" y="1460385"/>
                  <a:pt x="1537072" y="1457597"/>
                </a:cubicBezTo>
                <a:cubicBezTo>
                  <a:pt x="1536556" y="1456977"/>
                  <a:pt x="1536453" y="1456358"/>
                  <a:pt x="1536453" y="1455738"/>
                </a:cubicBezTo>
                <a:cubicBezTo>
                  <a:pt x="1536453" y="1455118"/>
                  <a:pt x="1536659" y="1454499"/>
                  <a:pt x="1536969" y="1453879"/>
                </a:cubicBezTo>
                <a:cubicBezTo>
                  <a:pt x="1537692" y="1452640"/>
                  <a:pt x="1538931" y="1451556"/>
                  <a:pt x="1540067" y="1450936"/>
                </a:cubicBezTo>
                <a:cubicBezTo>
                  <a:pt x="1540893" y="1450626"/>
                  <a:pt x="1541512" y="1450472"/>
                  <a:pt x="1542029" y="1450472"/>
                </a:cubicBezTo>
                <a:close/>
                <a:moveTo>
                  <a:pt x="4956460" y="1450005"/>
                </a:moveTo>
                <a:cubicBezTo>
                  <a:pt x="4958808" y="1451285"/>
                  <a:pt x="4958808" y="1452565"/>
                  <a:pt x="4957741" y="1453704"/>
                </a:cubicBezTo>
                <a:cubicBezTo>
                  <a:pt x="4957741" y="1453704"/>
                  <a:pt x="4956674" y="1454842"/>
                  <a:pt x="4955393" y="1455980"/>
                </a:cubicBezTo>
                <a:cubicBezTo>
                  <a:pt x="4954326" y="1457118"/>
                  <a:pt x="4954326" y="1458256"/>
                  <a:pt x="4954326" y="1458256"/>
                </a:cubicBezTo>
                <a:cubicBezTo>
                  <a:pt x="4953259" y="1459394"/>
                  <a:pt x="4951979" y="1459394"/>
                  <a:pt x="4950911" y="1458114"/>
                </a:cubicBezTo>
                <a:cubicBezTo>
                  <a:pt x="4950911" y="1458114"/>
                  <a:pt x="4951979" y="1455837"/>
                  <a:pt x="4951979" y="1455837"/>
                </a:cubicBezTo>
                <a:cubicBezTo>
                  <a:pt x="4954112" y="1453561"/>
                  <a:pt x="4955393" y="1452281"/>
                  <a:pt x="4956460" y="1450005"/>
                </a:cubicBezTo>
                <a:close/>
                <a:moveTo>
                  <a:pt x="3834085" y="1449862"/>
                </a:moveTo>
                <a:cubicBezTo>
                  <a:pt x="3836220" y="1450574"/>
                  <a:pt x="3838354" y="1451854"/>
                  <a:pt x="3840488" y="1453419"/>
                </a:cubicBezTo>
                <a:lnTo>
                  <a:pt x="3844970" y="1458541"/>
                </a:lnTo>
                <a:lnTo>
                  <a:pt x="3846678" y="1453561"/>
                </a:lnTo>
                <a:cubicBezTo>
                  <a:pt x="3847104" y="1450858"/>
                  <a:pt x="3848385" y="1450431"/>
                  <a:pt x="3851373" y="1451712"/>
                </a:cubicBezTo>
                <a:cubicBezTo>
                  <a:pt x="3851159" y="1452992"/>
                  <a:pt x="3850092" y="1454984"/>
                  <a:pt x="3848811" y="1456549"/>
                </a:cubicBezTo>
                <a:lnTo>
                  <a:pt x="3845184" y="1458967"/>
                </a:lnTo>
                <a:lnTo>
                  <a:pt x="3845824" y="1459394"/>
                </a:lnTo>
                <a:cubicBezTo>
                  <a:pt x="3847104" y="1461671"/>
                  <a:pt x="3847958" y="1464089"/>
                  <a:pt x="3847958" y="1466366"/>
                </a:cubicBezTo>
                <a:lnTo>
                  <a:pt x="3846678" y="1470065"/>
                </a:lnTo>
                <a:lnTo>
                  <a:pt x="3848811" y="1471203"/>
                </a:lnTo>
                <a:cubicBezTo>
                  <a:pt x="3850732" y="1473763"/>
                  <a:pt x="3849879" y="1480024"/>
                  <a:pt x="3842623" y="1491547"/>
                </a:cubicBezTo>
                <a:cubicBezTo>
                  <a:pt x="3818293" y="1488417"/>
                  <a:pt x="3830671" y="1474048"/>
                  <a:pt x="3840702" y="1470491"/>
                </a:cubicBezTo>
                <a:lnTo>
                  <a:pt x="3843690" y="1469922"/>
                </a:lnTo>
                <a:lnTo>
                  <a:pt x="3838781" y="1461813"/>
                </a:lnTo>
                <a:cubicBezTo>
                  <a:pt x="3836647" y="1457972"/>
                  <a:pt x="3834939" y="1453988"/>
                  <a:pt x="3834085" y="1449862"/>
                </a:cubicBezTo>
                <a:close/>
                <a:moveTo>
                  <a:pt x="4243852" y="1449293"/>
                </a:moveTo>
                <a:cubicBezTo>
                  <a:pt x="4248333" y="1450858"/>
                  <a:pt x="4251321" y="1451996"/>
                  <a:pt x="4253242" y="1453704"/>
                </a:cubicBezTo>
                <a:cubicBezTo>
                  <a:pt x="4251535" y="1462240"/>
                  <a:pt x="4236809" y="1457972"/>
                  <a:pt x="4243852" y="1449293"/>
                </a:cubicBezTo>
                <a:close/>
                <a:moveTo>
                  <a:pt x="5386074" y="1449151"/>
                </a:moveTo>
                <a:cubicBezTo>
                  <a:pt x="5386074" y="1449151"/>
                  <a:pt x="5386714" y="1449862"/>
                  <a:pt x="5387568" y="1450716"/>
                </a:cubicBezTo>
                <a:cubicBezTo>
                  <a:pt x="5388209" y="1451569"/>
                  <a:pt x="5388849" y="1452565"/>
                  <a:pt x="5388635" y="1453419"/>
                </a:cubicBezTo>
                <a:cubicBezTo>
                  <a:pt x="5389062" y="1455980"/>
                  <a:pt x="5384367" y="1454842"/>
                  <a:pt x="5383300" y="1455410"/>
                </a:cubicBezTo>
                <a:cubicBezTo>
                  <a:pt x="5381806" y="1454984"/>
                  <a:pt x="5380098" y="1454557"/>
                  <a:pt x="5380525" y="1452992"/>
                </a:cubicBezTo>
                <a:cubicBezTo>
                  <a:pt x="5380738" y="1451285"/>
                  <a:pt x="5380098" y="1450289"/>
                  <a:pt x="5382659" y="1450146"/>
                </a:cubicBezTo>
                <a:cubicBezTo>
                  <a:pt x="5383513" y="1449435"/>
                  <a:pt x="5385221" y="1449862"/>
                  <a:pt x="5386074" y="1449151"/>
                </a:cubicBezTo>
                <a:close/>
                <a:moveTo>
                  <a:pt x="4005675" y="1448866"/>
                </a:moveTo>
                <a:cubicBezTo>
                  <a:pt x="4008236" y="1449151"/>
                  <a:pt x="4010797" y="1450858"/>
                  <a:pt x="4011224" y="1452423"/>
                </a:cubicBezTo>
                <a:cubicBezTo>
                  <a:pt x="4011438" y="1454130"/>
                  <a:pt x="4010797" y="1455127"/>
                  <a:pt x="4010797" y="1455127"/>
                </a:cubicBezTo>
                <a:cubicBezTo>
                  <a:pt x="4006956" y="1457118"/>
                  <a:pt x="4002687" y="1457402"/>
                  <a:pt x="4002047" y="1452423"/>
                </a:cubicBezTo>
                <a:cubicBezTo>
                  <a:pt x="4001833" y="1450858"/>
                  <a:pt x="4001620" y="1449293"/>
                  <a:pt x="4002474" y="1449862"/>
                </a:cubicBezTo>
                <a:cubicBezTo>
                  <a:pt x="4003114" y="1448724"/>
                  <a:pt x="4003968" y="1449435"/>
                  <a:pt x="4005675" y="1448866"/>
                </a:cubicBezTo>
                <a:close/>
                <a:moveTo>
                  <a:pt x="3858415" y="1448866"/>
                </a:moveTo>
                <a:cubicBezTo>
                  <a:pt x="3861830" y="1449293"/>
                  <a:pt x="3863537" y="1451143"/>
                  <a:pt x="3863537" y="1453561"/>
                </a:cubicBezTo>
                <a:cubicBezTo>
                  <a:pt x="3863537" y="1455980"/>
                  <a:pt x="3862044" y="1458682"/>
                  <a:pt x="3858629" y="1460817"/>
                </a:cubicBezTo>
                <a:cubicBezTo>
                  <a:pt x="3856708" y="1458825"/>
                  <a:pt x="3855855" y="1456833"/>
                  <a:pt x="3855855" y="1454700"/>
                </a:cubicBezTo>
                <a:lnTo>
                  <a:pt x="3856708" y="1453135"/>
                </a:lnTo>
                <a:lnTo>
                  <a:pt x="3857135" y="1451996"/>
                </a:lnTo>
                <a:close/>
                <a:moveTo>
                  <a:pt x="5511565" y="1448155"/>
                </a:moveTo>
                <a:cubicBezTo>
                  <a:pt x="5513273" y="1447871"/>
                  <a:pt x="5514980" y="1447871"/>
                  <a:pt x="5516901" y="1448440"/>
                </a:cubicBezTo>
                <a:cubicBezTo>
                  <a:pt x="5519461" y="1449293"/>
                  <a:pt x="5522023" y="1451143"/>
                  <a:pt x="5524370" y="1454272"/>
                </a:cubicBezTo>
                <a:cubicBezTo>
                  <a:pt x="5526931" y="1460390"/>
                  <a:pt x="5518181" y="1469353"/>
                  <a:pt x="5512419" y="1467930"/>
                </a:cubicBezTo>
                <a:cubicBezTo>
                  <a:pt x="5509858" y="1465512"/>
                  <a:pt x="5507510" y="1462951"/>
                  <a:pt x="5505162" y="1460532"/>
                </a:cubicBezTo>
                <a:cubicBezTo>
                  <a:pt x="5503455" y="1454415"/>
                  <a:pt x="5506657" y="1449293"/>
                  <a:pt x="5511565" y="1448155"/>
                </a:cubicBezTo>
                <a:close/>
                <a:moveTo>
                  <a:pt x="4991888" y="1447443"/>
                </a:moveTo>
                <a:cubicBezTo>
                  <a:pt x="4992315" y="1447443"/>
                  <a:pt x="4992528" y="1447728"/>
                  <a:pt x="4993168" y="1448298"/>
                </a:cubicBezTo>
                <a:cubicBezTo>
                  <a:pt x="4992315" y="1449720"/>
                  <a:pt x="4992101" y="1448440"/>
                  <a:pt x="4991034" y="1448440"/>
                </a:cubicBezTo>
                <a:cubicBezTo>
                  <a:pt x="4991461" y="1447871"/>
                  <a:pt x="4991675" y="1447443"/>
                  <a:pt x="4991888" y="1447443"/>
                </a:cubicBezTo>
                <a:close/>
                <a:moveTo>
                  <a:pt x="5706204" y="1447301"/>
                </a:moveTo>
                <a:cubicBezTo>
                  <a:pt x="5713246" y="1453135"/>
                  <a:pt x="5719009" y="1462809"/>
                  <a:pt x="5720289" y="1465085"/>
                </a:cubicBezTo>
                <a:cubicBezTo>
                  <a:pt x="5720930" y="1466223"/>
                  <a:pt x="5721143" y="1466935"/>
                  <a:pt x="5720716" y="1467646"/>
                </a:cubicBezTo>
                <a:cubicBezTo>
                  <a:pt x="5720503" y="1468358"/>
                  <a:pt x="5719649" y="1469068"/>
                  <a:pt x="5718582" y="1469780"/>
                </a:cubicBezTo>
                <a:cubicBezTo>
                  <a:pt x="5712820" y="1470491"/>
                  <a:pt x="5710899" y="1464943"/>
                  <a:pt x="5706844" y="1460817"/>
                </a:cubicBezTo>
                <a:cubicBezTo>
                  <a:pt x="5707484" y="1459821"/>
                  <a:pt x="5707271" y="1458114"/>
                  <a:pt x="5706417" y="1457545"/>
                </a:cubicBezTo>
                <a:cubicBezTo>
                  <a:pt x="5705990" y="1455837"/>
                  <a:pt x="5705777" y="1454272"/>
                  <a:pt x="5705137" y="1455268"/>
                </a:cubicBezTo>
                <a:cubicBezTo>
                  <a:pt x="5704283" y="1450431"/>
                  <a:pt x="5703216" y="1449720"/>
                  <a:pt x="5706204" y="1447301"/>
                </a:cubicBezTo>
                <a:close/>
                <a:moveTo>
                  <a:pt x="4035341" y="1447017"/>
                </a:moveTo>
                <a:cubicBezTo>
                  <a:pt x="4035554" y="1447017"/>
                  <a:pt x="4035768" y="1447301"/>
                  <a:pt x="4036408" y="1448013"/>
                </a:cubicBezTo>
                <a:cubicBezTo>
                  <a:pt x="4035341" y="1449293"/>
                  <a:pt x="4035341" y="1448013"/>
                  <a:pt x="4034273" y="1448013"/>
                </a:cubicBezTo>
                <a:cubicBezTo>
                  <a:pt x="4034701" y="1447301"/>
                  <a:pt x="4034914" y="1447017"/>
                  <a:pt x="4035341" y="1447017"/>
                </a:cubicBezTo>
                <a:close/>
                <a:moveTo>
                  <a:pt x="1169584" y="1446599"/>
                </a:moveTo>
                <a:cubicBezTo>
                  <a:pt x="1171855" y="1445205"/>
                  <a:pt x="1178154" y="1452485"/>
                  <a:pt x="1169377" y="1451865"/>
                </a:cubicBezTo>
                <a:cubicBezTo>
                  <a:pt x="1168964" y="1450316"/>
                  <a:pt x="1168861" y="1449077"/>
                  <a:pt x="1168861" y="1448303"/>
                </a:cubicBezTo>
                <a:cubicBezTo>
                  <a:pt x="1168964" y="1447373"/>
                  <a:pt x="1169274" y="1446908"/>
                  <a:pt x="1169584" y="1446599"/>
                </a:cubicBezTo>
                <a:close/>
                <a:moveTo>
                  <a:pt x="1396747" y="1445979"/>
                </a:moveTo>
                <a:cubicBezTo>
                  <a:pt x="1397263" y="1446754"/>
                  <a:pt x="1397676" y="1447528"/>
                  <a:pt x="1398502" y="1447064"/>
                </a:cubicBezTo>
                <a:cubicBezTo>
                  <a:pt x="1397883" y="1449387"/>
                  <a:pt x="1397160" y="1449697"/>
                  <a:pt x="1396850" y="1450781"/>
                </a:cubicBezTo>
                <a:cubicBezTo>
                  <a:pt x="1397573" y="1450472"/>
                  <a:pt x="1397263" y="1451556"/>
                  <a:pt x="1397263" y="1451556"/>
                </a:cubicBezTo>
                <a:cubicBezTo>
                  <a:pt x="1397263" y="1451556"/>
                  <a:pt x="1397367" y="1451556"/>
                  <a:pt x="1399741" y="1452330"/>
                </a:cubicBezTo>
                <a:cubicBezTo>
                  <a:pt x="1399741" y="1452330"/>
                  <a:pt x="1405007" y="1454499"/>
                  <a:pt x="1404388" y="1459765"/>
                </a:cubicBezTo>
                <a:cubicBezTo>
                  <a:pt x="1403149" y="1459301"/>
                  <a:pt x="1401497" y="1466116"/>
                  <a:pt x="1397573" y="1466116"/>
                </a:cubicBezTo>
                <a:lnTo>
                  <a:pt x="1395611" y="1466116"/>
                </a:lnTo>
                <a:lnTo>
                  <a:pt x="1402116" y="1470298"/>
                </a:lnTo>
                <a:cubicBezTo>
                  <a:pt x="1401703" y="1471383"/>
                  <a:pt x="1401394" y="1472467"/>
                  <a:pt x="1402529" y="1472931"/>
                </a:cubicBezTo>
                <a:cubicBezTo>
                  <a:pt x="1400258" y="1481141"/>
                  <a:pt x="1391481" y="1485942"/>
                  <a:pt x="1382498" y="1486252"/>
                </a:cubicBezTo>
                <a:lnTo>
                  <a:pt x="1382291" y="1486252"/>
                </a:lnTo>
                <a:lnTo>
                  <a:pt x="1382601" y="1487646"/>
                </a:lnTo>
                <a:cubicBezTo>
                  <a:pt x="1381878" y="1488111"/>
                  <a:pt x="1382291" y="1488886"/>
                  <a:pt x="1381156" y="1488421"/>
                </a:cubicBezTo>
                <a:lnTo>
                  <a:pt x="1380639" y="1489970"/>
                </a:lnTo>
                <a:lnTo>
                  <a:pt x="1382807" y="1491364"/>
                </a:lnTo>
                <a:lnTo>
                  <a:pt x="1383324" y="1493842"/>
                </a:lnTo>
                <a:lnTo>
                  <a:pt x="1384563" y="1493378"/>
                </a:lnTo>
                <a:cubicBezTo>
                  <a:pt x="1390655" y="1485323"/>
                  <a:pt x="1401394" y="1484394"/>
                  <a:pt x="1412235" y="1477269"/>
                </a:cubicBezTo>
                <a:lnTo>
                  <a:pt x="1412132" y="1479437"/>
                </a:lnTo>
                <a:lnTo>
                  <a:pt x="1413165" y="1479282"/>
                </a:lnTo>
                <a:cubicBezTo>
                  <a:pt x="1415850" y="1481296"/>
                  <a:pt x="1416779" y="1484239"/>
                  <a:pt x="1416056" y="1486717"/>
                </a:cubicBezTo>
                <a:lnTo>
                  <a:pt x="1413784" y="1489660"/>
                </a:lnTo>
                <a:lnTo>
                  <a:pt x="1416366" y="1494617"/>
                </a:lnTo>
                <a:cubicBezTo>
                  <a:pt x="1417295" y="1496321"/>
                  <a:pt x="1418121" y="1498025"/>
                  <a:pt x="1418534" y="1499728"/>
                </a:cubicBezTo>
                <a:cubicBezTo>
                  <a:pt x="1419154" y="1502207"/>
                  <a:pt x="1419050" y="1504685"/>
                  <a:pt x="1417811" y="1507473"/>
                </a:cubicBezTo>
                <a:cubicBezTo>
                  <a:pt x="1409654" y="1527610"/>
                  <a:pt x="1377851" y="1520329"/>
                  <a:pt x="1380949" y="1501897"/>
                </a:cubicBezTo>
                <a:lnTo>
                  <a:pt x="1383634" y="1495701"/>
                </a:lnTo>
                <a:lnTo>
                  <a:pt x="1380226" y="1498644"/>
                </a:lnTo>
                <a:lnTo>
                  <a:pt x="1379090" y="1499264"/>
                </a:lnTo>
                <a:lnTo>
                  <a:pt x="1377541" y="1500968"/>
                </a:lnTo>
                <a:lnTo>
                  <a:pt x="1370520" y="1500813"/>
                </a:lnTo>
                <a:lnTo>
                  <a:pt x="1371449" y="1501122"/>
                </a:lnTo>
                <a:cubicBezTo>
                  <a:pt x="1369900" y="1501897"/>
                  <a:pt x="1371036" y="1505305"/>
                  <a:pt x="1368558" y="1504530"/>
                </a:cubicBezTo>
                <a:lnTo>
                  <a:pt x="1370210" y="1500813"/>
                </a:lnTo>
                <a:lnTo>
                  <a:pt x="1368868" y="1500813"/>
                </a:lnTo>
                <a:cubicBezTo>
                  <a:pt x="1369488" y="1499883"/>
                  <a:pt x="1368352" y="1499109"/>
                  <a:pt x="1367319" y="1498489"/>
                </a:cubicBezTo>
                <a:cubicBezTo>
                  <a:pt x="1366596" y="1494772"/>
                  <a:pt x="1369694" y="1491674"/>
                  <a:pt x="1373411" y="1489970"/>
                </a:cubicBezTo>
                <a:lnTo>
                  <a:pt x="1377129" y="1489350"/>
                </a:lnTo>
                <a:lnTo>
                  <a:pt x="1379194" y="1487646"/>
                </a:lnTo>
                <a:lnTo>
                  <a:pt x="1380123" y="1485942"/>
                </a:lnTo>
                <a:lnTo>
                  <a:pt x="1373721" y="1485168"/>
                </a:lnTo>
                <a:lnTo>
                  <a:pt x="1370624" y="1483000"/>
                </a:lnTo>
                <a:lnTo>
                  <a:pt x="1368868" y="1483929"/>
                </a:lnTo>
                <a:cubicBezTo>
                  <a:pt x="1367938" y="1483464"/>
                  <a:pt x="1367423" y="1482845"/>
                  <a:pt x="1367009" y="1482070"/>
                </a:cubicBezTo>
                <a:lnTo>
                  <a:pt x="1366596" y="1480366"/>
                </a:lnTo>
                <a:lnTo>
                  <a:pt x="1364015" y="1478662"/>
                </a:lnTo>
                <a:cubicBezTo>
                  <a:pt x="1365357" y="1472312"/>
                  <a:pt x="1369281" y="1467820"/>
                  <a:pt x="1374237" y="1465496"/>
                </a:cubicBezTo>
                <a:cubicBezTo>
                  <a:pt x="1376302" y="1464412"/>
                  <a:pt x="1378574" y="1463793"/>
                  <a:pt x="1380949" y="1463483"/>
                </a:cubicBezTo>
                <a:lnTo>
                  <a:pt x="1381052" y="1463483"/>
                </a:lnTo>
                <a:lnTo>
                  <a:pt x="1379710" y="1459301"/>
                </a:lnTo>
                <a:cubicBezTo>
                  <a:pt x="1378987" y="1453105"/>
                  <a:pt x="1383737" y="1451865"/>
                  <a:pt x="1388280" y="1452795"/>
                </a:cubicBezTo>
                <a:lnTo>
                  <a:pt x="1389209" y="1453260"/>
                </a:lnTo>
                <a:lnTo>
                  <a:pt x="1389209" y="1453105"/>
                </a:lnTo>
                <a:cubicBezTo>
                  <a:pt x="1391584" y="1450781"/>
                  <a:pt x="1395302" y="1451401"/>
                  <a:pt x="1394889" y="1450781"/>
                </a:cubicBezTo>
                <a:cubicBezTo>
                  <a:pt x="1395198" y="1449697"/>
                  <a:pt x="1395198" y="1449697"/>
                  <a:pt x="1394682" y="1448922"/>
                </a:cubicBezTo>
                <a:cubicBezTo>
                  <a:pt x="1395508" y="1448612"/>
                  <a:pt x="1396541" y="1447064"/>
                  <a:pt x="1396747" y="1445979"/>
                </a:cubicBezTo>
                <a:close/>
                <a:moveTo>
                  <a:pt x="3992657" y="1445879"/>
                </a:moveTo>
                <a:cubicBezTo>
                  <a:pt x="3994791" y="1445879"/>
                  <a:pt x="3995858" y="1446590"/>
                  <a:pt x="3996285" y="1447871"/>
                </a:cubicBezTo>
                <a:cubicBezTo>
                  <a:pt x="3996712" y="1449151"/>
                  <a:pt x="3996712" y="1450858"/>
                  <a:pt x="3996498" y="1453135"/>
                </a:cubicBezTo>
                <a:cubicBezTo>
                  <a:pt x="3995858" y="1457545"/>
                  <a:pt x="3992230" y="1458399"/>
                  <a:pt x="3991376" y="1461813"/>
                </a:cubicBezTo>
                <a:cubicBezTo>
                  <a:pt x="3989242" y="1460390"/>
                  <a:pt x="3985614" y="1458541"/>
                  <a:pt x="3986467" y="1452423"/>
                </a:cubicBezTo>
                <a:cubicBezTo>
                  <a:pt x="3987108" y="1450716"/>
                  <a:pt x="3987108" y="1450716"/>
                  <a:pt x="3987961" y="1450146"/>
                </a:cubicBezTo>
                <a:cubicBezTo>
                  <a:pt x="3989669" y="1447728"/>
                  <a:pt x="3990096" y="1446021"/>
                  <a:pt x="3992657" y="1445879"/>
                </a:cubicBezTo>
                <a:close/>
                <a:moveTo>
                  <a:pt x="5672697" y="1445452"/>
                </a:moveTo>
                <a:cubicBezTo>
                  <a:pt x="5673124" y="1445736"/>
                  <a:pt x="5673764" y="1446306"/>
                  <a:pt x="5674831" y="1446732"/>
                </a:cubicBezTo>
                <a:cubicBezTo>
                  <a:pt x="5676112" y="1447871"/>
                  <a:pt x="5677179" y="1447728"/>
                  <a:pt x="5676325" y="1448866"/>
                </a:cubicBezTo>
                <a:cubicBezTo>
                  <a:pt x="5675258" y="1450146"/>
                  <a:pt x="5675258" y="1450146"/>
                  <a:pt x="5672057" y="1450289"/>
                </a:cubicBezTo>
                <a:cubicBezTo>
                  <a:pt x="5672910" y="1449151"/>
                  <a:pt x="5673124" y="1449151"/>
                  <a:pt x="5671843" y="1448155"/>
                </a:cubicBezTo>
                <a:cubicBezTo>
                  <a:pt x="5671843" y="1448155"/>
                  <a:pt x="5671630" y="1448013"/>
                  <a:pt x="5670562" y="1448155"/>
                </a:cubicBezTo>
                <a:cubicBezTo>
                  <a:pt x="5670349" y="1447017"/>
                  <a:pt x="5671630" y="1447017"/>
                  <a:pt x="5671417" y="1445879"/>
                </a:cubicBezTo>
                <a:cubicBezTo>
                  <a:pt x="5671417" y="1445879"/>
                  <a:pt x="5672484" y="1445879"/>
                  <a:pt x="5672484" y="1445879"/>
                </a:cubicBezTo>
                <a:cubicBezTo>
                  <a:pt x="5672484" y="1445309"/>
                  <a:pt x="5672484" y="1445168"/>
                  <a:pt x="5672697" y="1445452"/>
                </a:cubicBezTo>
                <a:close/>
                <a:moveTo>
                  <a:pt x="1611623" y="1445205"/>
                </a:moveTo>
                <a:cubicBezTo>
                  <a:pt x="1617406" y="1445515"/>
                  <a:pt x="1623911" y="1444430"/>
                  <a:pt x="1629796" y="1446599"/>
                </a:cubicBezTo>
                <a:cubicBezTo>
                  <a:pt x="1625666" y="1450781"/>
                  <a:pt x="1614514" y="1453260"/>
                  <a:pt x="1611623" y="1445205"/>
                </a:cubicBezTo>
                <a:close/>
                <a:moveTo>
                  <a:pt x="1413165" y="1445050"/>
                </a:moveTo>
                <a:cubicBezTo>
                  <a:pt x="1416572" y="1443037"/>
                  <a:pt x="1418534" y="1446754"/>
                  <a:pt x="1417295" y="1448768"/>
                </a:cubicBezTo>
                <a:cubicBezTo>
                  <a:pt x="1416779" y="1449387"/>
                  <a:pt x="1416056" y="1449852"/>
                  <a:pt x="1414817" y="1450007"/>
                </a:cubicBezTo>
                <a:cubicBezTo>
                  <a:pt x="1413888" y="1448458"/>
                  <a:pt x="1413578" y="1447218"/>
                  <a:pt x="1413165" y="1445050"/>
                </a:cubicBezTo>
                <a:close/>
                <a:moveTo>
                  <a:pt x="4596421" y="1445025"/>
                </a:moveTo>
                <a:cubicBezTo>
                  <a:pt x="4600049" y="1448724"/>
                  <a:pt x="4598982" y="1451143"/>
                  <a:pt x="4595781" y="1454557"/>
                </a:cubicBezTo>
                <a:cubicBezTo>
                  <a:pt x="4589805" y="1449435"/>
                  <a:pt x="4591939" y="1448440"/>
                  <a:pt x="4596421" y="1445025"/>
                </a:cubicBezTo>
                <a:close/>
                <a:moveTo>
                  <a:pt x="5401440" y="1444883"/>
                </a:moveTo>
                <a:cubicBezTo>
                  <a:pt x="5402080" y="1449293"/>
                  <a:pt x="5407203" y="1448298"/>
                  <a:pt x="5405068" y="1453135"/>
                </a:cubicBezTo>
                <a:cubicBezTo>
                  <a:pt x="5403361" y="1454700"/>
                  <a:pt x="5400800" y="1454984"/>
                  <a:pt x="5396745" y="1453561"/>
                </a:cubicBezTo>
                <a:cubicBezTo>
                  <a:pt x="5394611" y="1447301"/>
                  <a:pt x="5398026" y="1446163"/>
                  <a:pt x="5401440" y="1444883"/>
                </a:cubicBezTo>
                <a:close/>
                <a:moveTo>
                  <a:pt x="6110634" y="1444598"/>
                </a:moveTo>
                <a:cubicBezTo>
                  <a:pt x="6111915" y="1444314"/>
                  <a:pt x="6112982" y="1444314"/>
                  <a:pt x="6114690" y="1445452"/>
                </a:cubicBezTo>
                <a:cubicBezTo>
                  <a:pt x="6113409" y="1448724"/>
                  <a:pt x="6111702" y="1450858"/>
                  <a:pt x="6110421" y="1453988"/>
                </a:cubicBezTo>
                <a:cubicBezTo>
                  <a:pt x="6105512" y="1453988"/>
                  <a:pt x="6106152" y="1449578"/>
                  <a:pt x="6107006" y="1445309"/>
                </a:cubicBezTo>
                <a:cubicBezTo>
                  <a:pt x="6108287" y="1445452"/>
                  <a:pt x="6109567" y="1444883"/>
                  <a:pt x="6110634" y="1444598"/>
                </a:cubicBezTo>
                <a:close/>
                <a:moveTo>
                  <a:pt x="4796822" y="1443460"/>
                </a:moveTo>
                <a:cubicBezTo>
                  <a:pt x="4799383" y="1443603"/>
                  <a:pt x="4801731" y="1444171"/>
                  <a:pt x="4804292" y="1445168"/>
                </a:cubicBezTo>
                <a:lnTo>
                  <a:pt x="4810694" y="1448866"/>
                </a:lnTo>
                <a:lnTo>
                  <a:pt x="4811548" y="1447443"/>
                </a:lnTo>
                <a:cubicBezTo>
                  <a:pt x="4814109" y="1444741"/>
                  <a:pt x="4817951" y="1445594"/>
                  <a:pt x="4822646" y="1449008"/>
                </a:cubicBezTo>
                <a:cubicBezTo>
                  <a:pt x="4822432" y="1451712"/>
                  <a:pt x="4823073" y="1453988"/>
                  <a:pt x="4823073" y="1457687"/>
                </a:cubicBezTo>
                <a:cubicBezTo>
                  <a:pt x="4821579" y="1458114"/>
                  <a:pt x="4818804" y="1457972"/>
                  <a:pt x="4816030" y="1456976"/>
                </a:cubicBezTo>
                <a:lnTo>
                  <a:pt x="4810694" y="1452565"/>
                </a:lnTo>
                <a:lnTo>
                  <a:pt x="4809414" y="1461955"/>
                </a:lnTo>
                <a:cubicBezTo>
                  <a:pt x="4807920" y="1465796"/>
                  <a:pt x="4805786" y="1468926"/>
                  <a:pt x="4803225" y="1471487"/>
                </a:cubicBezTo>
                <a:cubicBezTo>
                  <a:pt x="4794261" y="1480024"/>
                  <a:pt x="4779322" y="1481872"/>
                  <a:pt x="4766517" y="1474617"/>
                </a:cubicBezTo>
                <a:cubicBezTo>
                  <a:pt x="4766730" y="1472910"/>
                  <a:pt x="4766730" y="1471345"/>
                  <a:pt x="4765022" y="1471060"/>
                </a:cubicBezTo>
                <a:cubicBezTo>
                  <a:pt x="4765022" y="1454557"/>
                  <a:pt x="4781456" y="1442322"/>
                  <a:pt x="4796822" y="1443460"/>
                </a:cubicBezTo>
                <a:close/>
                <a:moveTo>
                  <a:pt x="1020275" y="1443346"/>
                </a:moveTo>
                <a:cubicBezTo>
                  <a:pt x="1024199" y="1443656"/>
                  <a:pt x="1025438" y="1444121"/>
                  <a:pt x="1028535" y="1446599"/>
                </a:cubicBezTo>
                <a:cubicBezTo>
                  <a:pt x="1028432" y="1452175"/>
                  <a:pt x="1025231" y="1455273"/>
                  <a:pt x="1022030" y="1458216"/>
                </a:cubicBezTo>
                <a:cubicBezTo>
                  <a:pt x="1017591" y="1457906"/>
                  <a:pt x="1015938" y="1456512"/>
                  <a:pt x="1015732" y="1454654"/>
                </a:cubicBezTo>
                <a:cubicBezTo>
                  <a:pt x="1015628" y="1453879"/>
                  <a:pt x="1015732" y="1453260"/>
                  <a:pt x="1015938" y="1452485"/>
                </a:cubicBezTo>
                <a:cubicBezTo>
                  <a:pt x="1016764" y="1449542"/>
                  <a:pt x="1019243" y="1445979"/>
                  <a:pt x="1020275" y="1443346"/>
                </a:cubicBezTo>
                <a:close/>
                <a:moveTo>
                  <a:pt x="1680082" y="1442107"/>
                </a:moveTo>
                <a:cubicBezTo>
                  <a:pt x="1681115" y="1442882"/>
                  <a:pt x="1682147" y="1443501"/>
                  <a:pt x="1683283" y="1444121"/>
                </a:cubicBezTo>
                <a:cubicBezTo>
                  <a:pt x="1681115" y="1448922"/>
                  <a:pt x="1682354" y="1452950"/>
                  <a:pt x="1680805" y="1456822"/>
                </a:cubicBezTo>
                <a:cubicBezTo>
                  <a:pt x="1679360" y="1454963"/>
                  <a:pt x="1677501" y="1452175"/>
                  <a:pt x="1676778" y="1449542"/>
                </a:cubicBezTo>
                <a:cubicBezTo>
                  <a:pt x="1676159" y="1446754"/>
                  <a:pt x="1676675" y="1444121"/>
                  <a:pt x="1680082" y="1442107"/>
                </a:cubicBezTo>
                <a:close/>
                <a:moveTo>
                  <a:pt x="4089336" y="1442037"/>
                </a:moveTo>
                <a:cubicBezTo>
                  <a:pt x="4091896" y="1442179"/>
                  <a:pt x="4092964" y="1444456"/>
                  <a:pt x="4094244" y="1446732"/>
                </a:cubicBezTo>
                <a:cubicBezTo>
                  <a:pt x="4094884" y="1448724"/>
                  <a:pt x="4094671" y="1450005"/>
                  <a:pt x="4093818" y="1451000"/>
                </a:cubicBezTo>
                <a:cubicBezTo>
                  <a:pt x="4093177" y="1451996"/>
                  <a:pt x="4091896" y="1452565"/>
                  <a:pt x="4090189" y="1452992"/>
                </a:cubicBezTo>
                <a:cubicBezTo>
                  <a:pt x="4086988" y="1453988"/>
                  <a:pt x="4085708" y="1451712"/>
                  <a:pt x="4085708" y="1451712"/>
                </a:cubicBezTo>
                <a:cubicBezTo>
                  <a:pt x="4084213" y="1447728"/>
                  <a:pt x="4085494" y="1444029"/>
                  <a:pt x="4089336" y="1442037"/>
                </a:cubicBezTo>
                <a:close/>
                <a:moveTo>
                  <a:pt x="4948991" y="1440188"/>
                </a:moveTo>
                <a:cubicBezTo>
                  <a:pt x="4950271" y="1441469"/>
                  <a:pt x="4950058" y="1440188"/>
                  <a:pt x="4951338" y="1440188"/>
                </a:cubicBezTo>
                <a:cubicBezTo>
                  <a:pt x="4950271" y="1441469"/>
                  <a:pt x="4950271" y="1445168"/>
                  <a:pt x="4949204" y="1447586"/>
                </a:cubicBezTo>
                <a:cubicBezTo>
                  <a:pt x="4948137" y="1447586"/>
                  <a:pt x="4947070" y="1448724"/>
                  <a:pt x="4946003" y="1448724"/>
                </a:cubicBezTo>
                <a:cubicBezTo>
                  <a:pt x="4946003" y="1447443"/>
                  <a:pt x="4944722" y="1444883"/>
                  <a:pt x="4946003" y="1444883"/>
                </a:cubicBezTo>
                <a:cubicBezTo>
                  <a:pt x="4945789" y="1443745"/>
                  <a:pt x="4948137" y="1443745"/>
                  <a:pt x="4948137" y="1443745"/>
                </a:cubicBezTo>
                <a:cubicBezTo>
                  <a:pt x="4947924" y="1442606"/>
                  <a:pt x="4947924" y="1441326"/>
                  <a:pt x="4948991" y="1440188"/>
                </a:cubicBezTo>
                <a:close/>
                <a:moveTo>
                  <a:pt x="1314555" y="1440093"/>
                </a:moveTo>
                <a:cubicBezTo>
                  <a:pt x="1314865" y="1441797"/>
                  <a:pt x="1316001" y="1441952"/>
                  <a:pt x="1314968" y="1444740"/>
                </a:cubicBezTo>
                <a:cubicBezTo>
                  <a:pt x="1313832" y="1444740"/>
                  <a:pt x="1312593" y="1444585"/>
                  <a:pt x="1311458" y="1444585"/>
                </a:cubicBezTo>
                <a:cubicBezTo>
                  <a:pt x="1311767" y="1442262"/>
                  <a:pt x="1312180" y="1439938"/>
                  <a:pt x="1314555" y="1440093"/>
                </a:cubicBezTo>
                <a:close/>
                <a:moveTo>
                  <a:pt x="1096271" y="1439629"/>
                </a:moveTo>
                <a:cubicBezTo>
                  <a:pt x="1096891" y="1444740"/>
                  <a:pt x="1089766" y="1449077"/>
                  <a:pt x="1085326" y="1450936"/>
                </a:cubicBezTo>
                <a:cubicBezTo>
                  <a:pt x="1083674" y="1449387"/>
                  <a:pt x="1082022" y="1450316"/>
                  <a:pt x="1080370" y="1448768"/>
                </a:cubicBezTo>
                <a:cubicBezTo>
                  <a:pt x="1085739" y="1443501"/>
                  <a:pt x="1091212" y="1437460"/>
                  <a:pt x="1096271" y="1439629"/>
                </a:cubicBezTo>
                <a:close/>
                <a:moveTo>
                  <a:pt x="5495131" y="1439619"/>
                </a:moveTo>
                <a:cubicBezTo>
                  <a:pt x="5496626" y="1439477"/>
                  <a:pt x="5498119" y="1439761"/>
                  <a:pt x="5499827" y="1440188"/>
                </a:cubicBezTo>
                <a:cubicBezTo>
                  <a:pt x="5505376" y="1451996"/>
                  <a:pt x="5495559" y="1470491"/>
                  <a:pt x="5485528" y="1463520"/>
                </a:cubicBezTo>
                <a:cubicBezTo>
                  <a:pt x="5484034" y="1462524"/>
                  <a:pt x="5482540" y="1460959"/>
                  <a:pt x="5481046" y="1458825"/>
                </a:cubicBezTo>
                <a:cubicBezTo>
                  <a:pt x="5483607" y="1452281"/>
                  <a:pt x="5485741" y="1440188"/>
                  <a:pt x="5495131" y="1439619"/>
                </a:cubicBezTo>
                <a:close/>
                <a:moveTo>
                  <a:pt x="1349456" y="1439319"/>
                </a:moveTo>
                <a:cubicBezTo>
                  <a:pt x="1354102" y="1438854"/>
                  <a:pt x="1360504" y="1443037"/>
                  <a:pt x="1364634" y="1448612"/>
                </a:cubicBezTo>
                <a:cubicBezTo>
                  <a:pt x="1368765" y="1454189"/>
                  <a:pt x="1370624" y="1461005"/>
                  <a:pt x="1366287" y="1465496"/>
                </a:cubicBezTo>
                <a:cubicBezTo>
                  <a:pt x="1363705" y="1454034"/>
                  <a:pt x="1349869" y="1452485"/>
                  <a:pt x="1349456" y="1439319"/>
                </a:cubicBezTo>
                <a:close/>
                <a:moveTo>
                  <a:pt x="5363665" y="1439192"/>
                </a:moveTo>
                <a:cubicBezTo>
                  <a:pt x="5369214" y="1441610"/>
                  <a:pt x="5371135" y="1445879"/>
                  <a:pt x="5370495" y="1450574"/>
                </a:cubicBezTo>
                <a:cubicBezTo>
                  <a:pt x="5365159" y="1454415"/>
                  <a:pt x="5357689" y="1448866"/>
                  <a:pt x="5358543" y="1442891"/>
                </a:cubicBezTo>
                <a:cubicBezTo>
                  <a:pt x="5359824" y="1441895"/>
                  <a:pt x="5361317" y="1439904"/>
                  <a:pt x="5363665" y="1439192"/>
                </a:cubicBezTo>
                <a:close/>
                <a:moveTo>
                  <a:pt x="1718906" y="1439164"/>
                </a:moveTo>
                <a:cubicBezTo>
                  <a:pt x="1720765" y="1439629"/>
                  <a:pt x="1722624" y="1440248"/>
                  <a:pt x="1723966" y="1441642"/>
                </a:cubicBezTo>
                <a:cubicBezTo>
                  <a:pt x="1722830" y="1443656"/>
                  <a:pt x="1722417" y="1445515"/>
                  <a:pt x="1721075" y="1446599"/>
                </a:cubicBezTo>
                <a:cubicBezTo>
                  <a:pt x="1718803" y="1446134"/>
                  <a:pt x="1717564" y="1445050"/>
                  <a:pt x="1717254" y="1443656"/>
                </a:cubicBezTo>
                <a:cubicBezTo>
                  <a:pt x="1716944" y="1442262"/>
                  <a:pt x="1717564" y="1440713"/>
                  <a:pt x="1718906" y="1439164"/>
                </a:cubicBezTo>
                <a:close/>
                <a:moveTo>
                  <a:pt x="1211299" y="1439164"/>
                </a:moveTo>
                <a:cubicBezTo>
                  <a:pt x="1213054" y="1441178"/>
                  <a:pt x="1213570" y="1446444"/>
                  <a:pt x="1211712" y="1447993"/>
                </a:cubicBezTo>
                <a:cubicBezTo>
                  <a:pt x="1210473" y="1447838"/>
                  <a:pt x="1209337" y="1447683"/>
                  <a:pt x="1208098" y="1447528"/>
                </a:cubicBezTo>
                <a:cubicBezTo>
                  <a:pt x="1207169" y="1446134"/>
                  <a:pt x="1206653" y="1444585"/>
                  <a:pt x="1206549" y="1443191"/>
                </a:cubicBezTo>
                <a:cubicBezTo>
                  <a:pt x="1206549" y="1441797"/>
                  <a:pt x="1207065" y="1440713"/>
                  <a:pt x="1208098" y="1439938"/>
                </a:cubicBezTo>
                <a:cubicBezTo>
                  <a:pt x="1208924" y="1439474"/>
                  <a:pt x="1209957" y="1439164"/>
                  <a:pt x="1211299" y="1439164"/>
                </a:cubicBezTo>
                <a:close/>
                <a:moveTo>
                  <a:pt x="1594689" y="1438699"/>
                </a:moveTo>
                <a:cubicBezTo>
                  <a:pt x="1597271" y="1439938"/>
                  <a:pt x="1598613" y="1441333"/>
                  <a:pt x="1598923" y="1443191"/>
                </a:cubicBezTo>
                <a:cubicBezTo>
                  <a:pt x="1599233" y="1444895"/>
                  <a:pt x="1598510" y="1447064"/>
                  <a:pt x="1597064" y="1449542"/>
                </a:cubicBezTo>
                <a:cubicBezTo>
                  <a:pt x="1594070" y="1448303"/>
                  <a:pt x="1593347" y="1446754"/>
                  <a:pt x="1593450" y="1444895"/>
                </a:cubicBezTo>
                <a:cubicBezTo>
                  <a:pt x="1593554" y="1443037"/>
                  <a:pt x="1594483" y="1440868"/>
                  <a:pt x="1594689" y="1438699"/>
                </a:cubicBezTo>
                <a:close/>
                <a:moveTo>
                  <a:pt x="1514219" y="1438590"/>
                </a:moveTo>
                <a:cubicBezTo>
                  <a:pt x="1529180" y="1437741"/>
                  <a:pt x="1543835" y="1454731"/>
                  <a:pt x="1526953" y="1469369"/>
                </a:cubicBezTo>
                <a:cubicBezTo>
                  <a:pt x="1518899" y="1475565"/>
                  <a:pt x="1508573" y="1473551"/>
                  <a:pt x="1496286" y="1477423"/>
                </a:cubicBezTo>
                <a:cubicBezTo>
                  <a:pt x="1501862" y="1469059"/>
                  <a:pt x="1496699" y="1461005"/>
                  <a:pt x="1497215" y="1453569"/>
                </a:cubicBezTo>
                <a:cubicBezTo>
                  <a:pt x="1497422" y="1451091"/>
                  <a:pt x="1498248" y="1448612"/>
                  <a:pt x="1500313" y="1446134"/>
                </a:cubicBezTo>
                <a:cubicBezTo>
                  <a:pt x="1504211" y="1441139"/>
                  <a:pt x="1509232" y="1438873"/>
                  <a:pt x="1514219" y="1438590"/>
                </a:cubicBezTo>
                <a:close/>
                <a:moveTo>
                  <a:pt x="5320128" y="1438196"/>
                </a:moveTo>
                <a:cubicBezTo>
                  <a:pt x="5316926" y="1445736"/>
                  <a:pt x="5315005" y="1455127"/>
                  <a:pt x="5309457" y="1461671"/>
                </a:cubicBezTo>
                <a:cubicBezTo>
                  <a:pt x="5306255" y="1453845"/>
                  <a:pt x="5308816" y="1437912"/>
                  <a:pt x="5320128" y="1438196"/>
                </a:cubicBezTo>
                <a:close/>
                <a:moveTo>
                  <a:pt x="5833189" y="1438054"/>
                </a:moveTo>
                <a:cubicBezTo>
                  <a:pt x="5834469" y="1437912"/>
                  <a:pt x="5835536" y="1438196"/>
                  <a:pt x="5836603" y="1438765"/>
                </a:cubicBezTo>
                <a:cubicBezTo>
                  <a:pt x="5837670" y="1440046"/>
                  <a:pt x="5837457" y="1442464"/>
                  <a:pt x="5835963" y="1446021"/>
                </a:cubicBezTo>
                <a:cubicBezTo>
                  <a:pt x="5833615" y="1447159"/>
                  <a:pt x="5830414" y="1443460"/>
                  <a:pt x="5828280" y="1442322"/>
                </a:cubicBezTo>
                <a:cubicBezTo>
                  <a:pt x="5829561" y="1441042"/>
                  <a:pt x="5830841" y="1439904"/>
                  <a:pt x="5829774" y="1439904"/>
                </a:cubicBezTo>
                <a:cubicBezTo>
                  <a:pt x="5831054" y="1438623"/>
                  <a:pt x="5832122" y="1438196"/>
                  <a:pt x="5833189" y="1438054"/>
                </a:cubicBezTo>
                <a:close/>
                <a:moveTo>
                  <a:pt x="4181960" y="1438054"/>
                </a:moveTo>
                <a:cubicBezTo>
                  <a:pt x="4185161" y="1438907"/>
                  <a:pt x="4186869" y="1439334"/>
                  <a:pt x="4188149" y="1441326"/>
                </a:cubicBezTo>
                <a:cubicBezTo>
                  <a:pt x="4189857" y="1441753"/>
                  <a:pt x="4191350" y="1442179"/>
                  <a:pt x="4192417" y="1442891"/>
                </a:cubicBezTo>
                <a:cubicBezTo>
                  <a:pt x="4193698" y="1443603"/>
                  <a:pt x="4194338" y="1444598"/>
                  <a:pt x="4194125" y="1446306"/>
                </a:cubicBezTo>
                <a:cubicBezTo>
                  <a:pt x="4190497" y="1447017"/>
                  <a:pt x="4188149" y="1447301"/>
                  <a:pt x="4183881" y="1447017"/>
                </a:cubicBezTo>
                <a:cubicBezTo>
                  <a:pt x="4183881" y="1447017"/>
                  <a:pt x="4177691" y="1445309"/>
                  <a:pt x="4177478" y="1441042"/>
                </a:cubicBezTo>
                <a:cubicBezTo>
                  <a:pt x="4176624" y="1440046"/>
                  <a:pt x="4180466" y="1437627"/>
                  <a:pt x="4181960" y="1438054"/>
                </a:cubicBezTo>
                <a:close/>
                <a:moveTo>
                  <a:pt x="1151823" y="1437615"/>
                </a:moveTo>
                <a:cubicBezTo>
                  <a:pt x="1157606" y="1435601"/>
                  <a:pt x="1160394" y="1436066"/>
                  <a:pt x="1161426" y="1437615"/>
                </a:cubicBezTo>
                <a:cubicBezTo>
                  <a:pt x="1164421" y="1441952"/>
                  <a:pt x="1150997" y="1455428"/>
                  <a:pt x="1151823" y="1437615"/>
                </a:cubicBezTo>
                <a:close/>
                <a:moveTo>
                  <a:pt x="1280067" y="1436995"/>
                </a:moveTo>
                <a:cubicBezTo>
                  <a:pt x="1283475" y="1438699"/>
                  <a:pt x="1283991" y="1441952"/>
                  <a:pt x="1287708" y="1444430"/>
                </a:cubicBezTo>
                <a:cubicBezTo>
                  <a:pt x="1287089" y="1447373"/>
                  <a:pt x="1291116" y="1450626"/>
                  <a:pt x="1289980" y="1454499"/>
                </a:cubicBezTo>
                <a:cubicBezTo>
                  <a:pt x="1283785" y="1452795"/>
                  <a:pt x="1278622" y="1440093"/>
                  <a:pt x="1280067" y="1436995"/>
                </a:cubicBezTo>
                <a:close/>
                <a:moveTo>
                  <a:pt x="1321990" y="1436531"/>
                </a:moveTo>
                <a:cubicBezTo>
                  <a:pt x="1324674" y="1436221"/>
                  <a:pt x="1327256" y="1435911"/>
                  <a:pt x="1330560" y="1438854"/>
                </a:cubicBezTo>
                <a:cubicBezTo>
                  <a:pt x="1331076" y="1442262"/>
                  <a:pt x="1330043" y="1444430"/>
                  <a:pt x="1326223" y="1447218"/>
                </a:cubicBezTo>
                <a:cubicBezTo>
                  <a:pt x="1323022" y="1446599"/>
                  <a:pt x="1319511" y="1442882"/>
                  <a:pt x="1320028" y="1439629"/>
                </a:cubicBezTo>
                <a:cubicBezTo>
                  <a:pt x="1320131" y="1438389"/>
                  <a:pt x="1320751" y="1437460"/>
                  <a:pt x="1321990" y="1436531"/>
                </a:cubicBezTo>
                <a:close/>
                <a:moveTo>
                  <a:pt x="3845824" y="1435777"/>
                </a:moveTo>
                <a:lnTo>
                  <a:pt x="3847531" y="1437912"/>
                </a:lnTo>
                <a:lnTo>
                  <a:pt x="3847958" y="1437627"/>
                </a:lnTo>
                <a:lnTo>
                  <a:pt x="3846678" y="1435920"/>
                </a:lnTo>
                <a:close/>
                <a:moveTo>
                  <a:pt x="1697610" y="1435117"/>
                </a:moveTo>
                <a:cubicBezTo>
                  <a:pt x="1699443" y="1436337"/>
                  <a:pt x="1700269" y="1438544"/>
                  <a:pt x="1700010" y="1440558"/>
                </a:cubicBezTo>
                <a:cubicBezTo>
                  <a:pt x="1699804" y="1441952"/>
                  <a:pt x="1699185" y="1443191"/>
                  <a:pt x="1697945" y="1444121"/>
                </a:cubicBezTo>
                <a:cubicBezTo>
                  <a:pt x="1696397" y="1445360"/>
                  <a:pt x="1693918" y="1445825"/>
                  <a:pt x="1690511" y="1444585"/>
                </a:cubicBezTo>
                <a:cubicBezTo>
                  <a:pt x="1688549" y="1440868"/>
                  <a:pt x="1689685" y="1438544"/>
                  <a:pt x="1689169" y="1435601"/>
                </a:cubicBezTo>
                <a:cubicBezTo>
                  <a:pt x="1692937" y="1433665"/>
                  <a:pt x="1695777" y="1433897"/>
                  <a:pt x="1697610" y="1435117"/>
                </a:cubicBezTo>
                <a:close/>
                <a:moveTo>
                  <a:pt x="4204582" y="1434497"/>
                </a:moveTo>
                <a:cubicBezTo>
                  <a:pt x="4207784" y="1434213"/>
                  <a:pt x="4210985" y="1435351"/>
                  <a:pt x="4212052" y="1437485"/>
                </a:cubicBezTo>
                <a:cubicBezTo>
                  <a:pt x="4213332" y="1453419"/>
                  <a:pt x="4201808" y="1456833"/>
                  <a:pt x="4197326" y="1449435"/>
                </a:cubicBezTo>
                <a:cubicBezTo>
                  <a:pt x="4195832" y="1447017"/>
                  <a:pt x="4194978" y="1443318"/>
                  <a:pt x="4195832" y="1438481"/>
                </a:cubicBezTo>
                <a:cubicBezTo>
                  <a:pt x="4197753" y="1435920"/>
                  <a:pt x="4201168" y="1434640"/>
                  <a:pt x="4204582" y="1434497"/>
                </a:cubicBezTo>
                <a:close/>
                <a:moveTo>
                  <a:pt x="4966704" y="1434355"/>
                </a:moveTo>
                <a:cubicBezTo>
                  <a:pt x="4967771" y="1434355"/>
                  <a:pt x="4968838" y="1434640"/>
                  <a:pt x="4969692" y="1435209"/>
                </a:cubicBezTo>
                <a:cubicBezTo>
                  <a:pt x="4972040" y="1436489"/>
                  <a:pt x="4970973" y="1438907"/>
                  <a:pt x="4968838" y="1441184"/>
                </a:cubicBezTo>
                <a:cubicBezTo>
                  <a:pt x="4965637" y="1447017"/>
                  <a:pt x="4962223" y="1448155"/>
                  <a:pt x="4958595" y="1444314"/>
                </a:cubicBezTo>
                <a:cubicBezTo>
                  <a:pt x="4958381" y="1443176"/>
                  <a:pt x="4959448" y="1439619"/>
                  <a:pt x="4958167" y="1439477"/>
                </a:cubicBezTo>
                <a:cubicBezTo>
                  <a:pt x="4960729" y="1436915"/>
                  <a:pt x="4963930" y="1434355"/>
                  <a:pt x="4966704" y="1434355"/>
                </a:cubicBezTo>
                <a:close/>
                <a:moveTo>
                  <a:pt x="4686057" y="1434070"/>
                </a:moveTo>
                <a:lnTo>
                  <a:pt x="4690966" y="1436773"/>
                </a:lnTo>
                <a:lnTo>
                  <a:pt x="4694381" y="1437058"/>
                </a:lnTo>
                <a:cubicBezTo>
                  <a:pt x="4696515" y="1435920"/>
                  <a:pt x="4699929" y="1436062"/>
                  <a:pt x="4702277" y="1437343"/>
                </a:cubicBezTo>
                <a:cubicBezTo>
                  <a:pt x="4704625" y="1439904"/>
                  <a:pt x="4704838" y="1442179"/>
                  <a:pt x="4703771" y="1443318"/>
                </a:cubicBezTo>
                <a:cubicBezTo>
                  <a:pt x="4696301" y="1453704"/>
                  <a:pt x="4685844" y="1448440"/>
                  <a:pt x="4683496" y="1449578"/>
                </a:cubicBezTo>
                <a:cubicBezTo>
                  <a:pt x="4680935" y="1446732"/>
                  <a:pt x="4680082" y="1446021"/>
                  <a:pt x="4682216" y="1443033"/>
                </a:cubicBezTo>
                <a:lnTo>
                  <a:pt x="4684563" y="1440046"/>
                </a:lnTo>
                <a:lnTo>
                  <a:pt x="4682856" y="1437343"/>
                </a:lnTo>
                <a:cubicBezTo>
                  <a:pt x="4683923" y="1436205"/>
                  <a:pt x="4684990" y="1435209"/>
                  <a:pt x="4686057" y="1434070"/>
                </a:cubicBezTo>
                <a:close/>
                <a:moveTo>
                  <a:pt x="4174703" y="1434070"/>
                </a:moveTo>
                <a:cubicBezTo>
                  <a:pt x="4174703" y="1435209"/>
                  <a:pt x="4174703" y="1437627"/>
                  <a:pt x="4177051" y="1438907"/>
                </a:cubicBezTo>
                <a:cubicBezTo>
                  <a:pt x="4174917" y="1441184"/>
                  <a:pt x="4172783" y="1443460"/>
                  <a:pt x="4170435" y="1440899"/>
                </a:cubicBezTo>
                <a:cubicBezTo>
                  <a:pt x="4169155" y="1439619"/>
                  <a:pt x="4167874" y="1438481"/>
                  <a:pt x="4167874" y="1436062"/>
                </a:cubicBezTo>
                <a:cubicBezTo>
                  <a:pt x="4170008" y="1433786"/>
                  <a:pt x="4173636" y="1435209"/>
                  <a:pt x="4174703" y="1434070"/>
                </a:cubicBezTo>
                <a:close/>
                <a:moveTo>
                  <a:pt x="1474706" y="1433897"/>
                </a:moveTo>
                <a:cubicBezTo>
                  <a:pt x="1475119" y="1434362"/>
                  <a:pt x="1475119" y="1434827"/>
                  <a:pt x="1474809" y="1435137"/>
                </a:cubicBezTo>
                <a:cubicBezTo>
                  <a:pt x="1474499" y="1435601"/>
                  <a:pt x="1474086" y="1436066"/>
                  <a:pt x="1473570" y="1436531"/>
                </a:cubicBezTo>
                <a:cubicBezTo>
                  <a:pt x="1472537" y="1437305"/>
                  <a:pt x="1471608" y="1438080"/>
                  <a:pt x="1470575" y="1439009"/>
                </a:cubicBezTo>
                <a:cubicBezTo>
                  <a:pt x="1470575" y="1439009"/>
                  <a:pt x="1470575" y="1439009"/>
                  <a:pt x="1474706" y="1433897"/>
                </a:cubicBezTo>
                <a:close/>
                <a:moveTo>
                  <a:pt x="4277999" y="1433643"/>
                </a:moveTo>
                <a:cubicBezTo>
                  <a:pt x="4282480" y="1432221"/>
                  <a:pt x="4287816" y="1437769"/>
                  <a:pt x="4289310" y="1443033"/>
                </a:cubicBezTo>
                <a:cubicBezTo>
                  <a:pt x="4289737" y="1444883"/>
                  <a:pt x="4289950" y="1446590"/>
                  <a:pt x="4289310" y="1448013"/>
                </a:cubicBezTo>
                <a:cubicBezTo>
                  <a:pt x="4286749" y="1450289"/>
                  <a:pt x="4283974" y="1452423"/>
                  <a:pt x="4281413" y="1454557"/>
                </a:cubicBezTo>
                <a:cubicBezTo>
                  <a:pt x="4275438" y="1455410"/>
                  <a:pt x="4271169" y="1451427"/>
                  <a:pt x="4270742" y="1446306"/>
                </a:cubicBezTo>
                <a:cubicBezTo>
                  <a:pt x="4270529" y="1444598"/>
                  <a:pt x="4270742" y="1442606"/>
                  <a:pt x="4271596" y="1440757"/>
                </a:cubicBezTo>
                <a:cubicBezTo>
                  <a:pt x="4272663" y="1438196"/>
                  <a:pt x="4274797" y="1435777"/>
                  <a:pt x="4277999" y="1433643"/>
                </a:cubicBezTo>
                <a:close/>
                <a:moveTo>
                  <a:pt x="6026547" y="1433501"/>
                </a:moveTo>
                <a:cubicBezTo>
                  <a:pt x="6033803" y="1433359"/>
                  <a:pt x="6039352" y="1435635"/>
                  <a:pt x="6044688" y="1433928"/>
                </a:cubicBezTo>
                <a:cubicBezTo>
                  <a:pt x="6044688" y="1433928"/>
                  <a:pt x="6044688" y="1433928"/>
                  <a:pt x="6046822" y="1436347"/>
                </a:cubicBezTo>
                <a:cubicBezTo>
                  <a:pt x="6047889" y="1436489"/>
                  <a:pt x="6047889" y="1436347"/>
                  <a:pt x="6047889" y="1436347"/>
                </a:cubicBezTo>
                <a:cubicBezTo>
                  <a:pt x="6048529" y="1436347"/>
                  <a:pt x="6048742" y="1437058"/>
                  <a:pt x="6048742" y="1437627"/>
                </a:cubicBezTo>
                <a:cubicBezTo>
                  <a:pt x="6048956" y="1438196"/>
                  <a:pt x="6048742" y="1438765"/>
                  <a:pt x="6048742" y="1438765"/>
                </a:cubicBezTo>
                <a:cubicBezTo>
                  <a:pt x="6047462" y="1441184"/>
                  <a:pt x="6044047" y="1440046"/>
                  <a:pt x="6041913" y="1439904"/>
                </a:cubicBezTo>
                <a:cubicBezTo>
                  <a:pt x="6040419" y="1442322"/>
                  <a:pt x="6037645" y="1437485"/>
                  <a:pt x="6036151" y="1439904"/>
                </a:cubicBezTo>
                <a:cubicBezTo>
                  <a:pt x="6032096" y="1434924"/>
                  <a:pt x="6025693" y="1440899"/>
                  <a:pt x="6018437" y="1434782"/>
                </a:cubicBezTo>
                <a:cubicBezTo>
                  <a:pt x="6021425" y="1433786"/>
                  <a:pt x="6023986" y="1433501"/>
                  <a:pt x="6026547" y="1433501"/>
                </a:cubicBezTo>
                <a:close/>
                <a:moveTo>
                  <a:pt x="4843348" y="1433359"/>
                </a:moveTo>
                <a:cubicBezTo>
                  <a:pt x="4849110" y="1431936"/>
                  <a:pt x="4855299" y="1433217"/>
                  <a:pt x="4858714" y="1438623"/>
                </a:cubicBezTo>
                <a:cubicBezTo>
                  <a:pt x="4857860" y="1449578"/>
                  <a:pt x="4843134" y="1455553"/>
                  <a:pt x="4835238" y="1454842"/>
                </a:cubicBezTo>
                <a:cubicBezTo>
                  <a:pt x="4831610" y="1450858"/>
                  <a:pt x="4830756" y="1447017"/>
                  <a:pt x="4831610" y="1443603"/>
                </a:cubicBezTo>
                <a:cubicBezTo>
                  <a:pt x="4832677" y="1438481"/>
                  <a:pt x="4837799" y="1434640"/>
                  <a:pt x="4843348" y="1433359"/>
                </a:cubicBezTo>
                <a:close/>
                <a:moveTo>
                  <a:pt x="5796054" y="1432363"/>
                </a:moveTo>
                <a:cubicBezTo>
                  <a:pt x="5797121" y="1432078"/>
                  <a:pt x="5798401" y="1432078"/>
                  <a:pt x="5799682" y="1432505"/>
                </a:cubicBezTo>
                <a:cubicBezTo>
                  <a:pt x="5805017" y="1440188"/>
                  <a:pt x="5796054" y="1444029"/>
                  <a:pt x="5791998" y="1441326"/>
                </a:cubicBezTo>
                <a:cubicBezTo>
                  <a:pt x="5790078" y="1437058"/>
                  <a:pt x="5792639" y="1433359"/>
                  <a:pt x="5796054" y="1432363"/>
                </a:cubicBezTo>
                <a:close/>
                <a:moveTo>
                  <a:pt x="5132745" y="1432363"/>
                </a:moveTo>
                <a:cubicBezTo>
                  <a:pt x="5138934" y="1433359"/>
                  <a:pt x="5142135" y="1442891"/>
                  <a:pt x="5139361" y="1447443"/>
                </a:cubicBezTo>
                <a:cubicBezTo>
                  <a:pt x="5138507" y="1448866"/>
                  <a:pt x="5137013" y="1450005"/>
                  <a:pt x="5134879" y="1449862"/>
                </a:cubicBezTo>
                <a:cubicBezTo>
                  <a:pt x="5128477" y="1445452"/>
                  <a:pt x="5132958" y="1440188"/>
                  <a:pt x="5132745" y="1432363"/>
                </a:cubicBezTo>
                <a:close/>
                <a:moveTo>
                  <a:pt x="1348836" y="1432349"/>
                </a:moveTo>
                <a:cubicBezTo>
                  <a:pt x="1349043" y="1432504"/>
                  <a:pt x="1349353" y="1432968"/>
                  <a:pt x="1350178" y="1433433"/>
                </a:cubicBezTo>
                <a:cubicBezTo>
                  <a:pt x="1350798" y="1434207"/>
                  <a:pt x="1351727" y="1434362"/>
                  <a:pt x="1350695" y="1434982"/>
                </a:cubicBezTo>
                <a:cubicBezTo>
                  <a:pt x="1349765" y="1435756"/>
                  <a:pt x="1349765" y="1435756"/>
                  <a:pt x="1347288" y="1435601"/>
                </a:cubicBezTo>
                <a:cubicBezTo>
                  <a:pt x="1348217" y="1434827"/>
                  <a:pt x="1348217" y="1434827"/>
                  <a:pt x="1347494" y="1434052"/>
                </a:cubicBezTo>
                <a:cubicBezTo>
                  <a:pt x="1347494" y="1434052"/>
                  <a:pt x="1347494" y="1434052"/>
                  <a:pt x="1346668" y="1433897"/>
                </a:cubicBezTo>
                <a:cubicBezTo>
                  <a:pt x="1346771" y="1433123"/>
                  <a:pt x="1347597" y="1433278"/>
                  <a:pt x="1347804" y="1432504"/>
                </a:cubicBezTo>
                <a:cubicBezTo>
                  <a:pt x="1347804" y="1432504"/>
                  <a:pt x="1348630" y="1432504"/>
                  <a:pt x="1348630" y="1432504"/>
                </a:cubicBezTo>
                <a:cubicBezTo>
                  <a:pt x="1348630" y="1432039"/>
                  <a:pt x="1348630" y="1432193"/>
                  <a:pt x="1348836" y="1432349"/>
                </a:cubicBezTo>
                <a:close/>
                <a:moveTo>
                  <a:pt x="5806511" y="1432078"/>
                </a:moveTo>
                <a:cubicBezTo>
                  <a:pt x="5812487" y="1432932"/>
                  <a:pt x="5818890" y="1441469"/>
                  <a:pt x="5822091" y="1450858"/>
                </a:cubicBezTo>
                <a:cubicBezTo>
                  <a:pt x="5825292" y="1460105"/>
                  <a:pt x="5825079" y="1470491"/>
                  <a:pt x="5818036" y="1475186"/>
                </a:cubicBezTo>
                <a:cubicBezTo>
                  <a:pt x="5819103" y="1457972"/>
                  <a:pt x="5802243" y="1451000"/>
                  <a:pt x="5806511" y="1432078"/>
                </a:cubicBezTo>
                <a:close/>
                <a:moveTo>
                  <a:pt x="4743040" y="1432078"/>
                </a:moveTo>
                <a:cubicBezTo>
                  <a:pt x="4746028" y="1434782"/>
                  <a:pt x="4747949" y="1437200"/>
                  <a:pt x="4749230" y="1439334"/>
                </a:cubicBezTo>
                <a:cubicBezTo>
                  <a:pt x="4757980" y="1454272"/>
                  <a:pt x="4728528" y="1456264"/>
                  <a:pt x="4727674" y="1447301"/>
                </a:cubicBezTo>
                <a:cubicBezTo>
                  <a:pt x="4727461" y="1443745"/>
                  <a:pt x="4731302" y="1438765"/>
                  <a:pt x="4743040" y="1432078"/>
                </a:cubicBezTo>
                <a:close/>
                <a:moveTo>
                  <a:pt x="1222244" y="1432039"/>
                </a:moveTo>
                <a:cubicBezTo>
                  <a:pt x="1223690" y="1431884"/>
                  <a:pt x="1225342" y="1432193"/>
                  <a:pt x="1227200" y="1433278"/>
                </a:cubicBezTo>
                <a:cubicBezTo>
                  <a:pt x="1229265" y="1436221"/>
                  <a:pt x="1229472" y="1439474"/>
                  <a:pt x="1228027" y="1441642"/>
                </a:cubicBezTo>
                <a:cubicBezTo>
                  <a:pt x="1226684" y="1443811"/>
                  <a:pt x="1223793" y="1444740"/>
                  <a:pt x="1219456" y="1443037"/>
                </a:cubicBezTo>
                <a:cubicBezTo>
                  <a:pt x="1218630" y="1441797"/>
                  <a:pt x="1218011" y="1440558"/>
                  <a:pt x="1217804" y="1439319"/>
                </a:cubicBezTo>
                <a:cubicBezTo>
                  <a:pt x="1217081" y="1435756"/>
                  <a:pt x="1219043" y="1432504"/>
                  <a:pt x="1222244" y="1432039"/>
                </a:cubicBezTo>
                <a:close/>
                <a:moveTo>
                  <a:pt x="3873141" y="1431936"/>
                </a:moveTo>
                <a:cubicBezTo>
                  <a:pt x="3880398" y="1431225"/>
                  <a:pt x="3888507" y="1442606"/>
                  <a:pt x="3880184" y="1448440"/>
                </a:cubicBezTo>
                <a:cubicBezTo>
                  <a:pt x="3875489" y="1448298"/>
                  <a:pt x="3868233" y="1440757"/>
                  <a:pt x="3866953" y="1437058"/>
                </a:cubicBezTo>
                <a:cubicBezTo>
                  <a:pt x="3868446" y="1433643"/>
                  <a:pt x="3870794" y="1432078"/>
                  <a:pt x="3873141" y="1431936"/>
                </a:cubicBezTo>
                <a:close/>
                <a:moveTo>
                  <a:pt x="3984120" y="1431794"/>
                </a:moveTo>
                <a:cubicBezTo>
                  <a:pt x="3983479" y="1436773"/>
                  <a:pt x="3981559" y="1441184"/>
                  <a:pt x="3978998" y="1445168"/>
                </a:cubicBezTo>
                <a:lnTo>
                  <a:pt x="3976650" y="1447443"/>
                </a:lnTo>
                <a:lnTo>
                  <a:pt x="3977717" y="1447728"/>
                </a:lnTo>
                <a:cubicBezTo>
                  <a:pt x="3980278" y="1448582"/>
                  <a:pt x="3982413" y="1449720"/>
                  <a:pt x="3983693" y="1451285"/>
                </a:cubicBezTo>
                <a:cubicBezTo>
                  <a:pt x="3984546" y="1452423"/>
                  <a:pt x="3984974" y="1453704"/>
                  <a:pt x="3984974" y="1455127"/>
                </a:cubicBezTo>
                <a:cubicBezTo>
                  <a:pt x="3985400" y="1463804"/>
                  <a:pt x="3976223" y="1469922"/>
                  <a:pt x="3965766" y="1467930"/>
                </a:cubicBezTo>
                <a:lnTo>
                  <a:pt x="3957016" y="1465512"/>
                </a:lnTo>
                <a:lnTo>
                  <a:pt x="3945064" y="1474902"/>
                </a:lnTo>
                <a:lnTo>
                  <a:pt x="3943997" y="1473479"/>
                </a:lnTo>
                <a:lnTo>
                  <a:pt x="3944210" y="1476894"/>
                </a:lnTo>
                <a:cubicBezTo>
                  <a:pt x="3944210" y="1478743"/>
                  <a:pt x="3943997" y="1480450"/>
                  <a:pt x="3943143" y="1481872"/>
                </a:cubicBezTo>
                <a:cubicBezTo>
                  <a:pt x="3942717" y="1482726"/>
                  <a:pt x="3941863" y="1483438"/>
                  <a:pt x="3941009" y="1483865"/>
                </a:cubicBezTo>
                <a:cubicBezTo>
                  <a:pt x="3938662" y="1485287"/>
                  <a:pt x="3937381" y="1483153"/>
                  <a:pt x="3936741" y="1479881"/>
                </a:cubicBezTo>
                <a:cubicBezTo>
                  <a:pt x="3934179" y="1473763"/>
                  <a:pt x="3935033" y="1469922"/>
                  <a:pt x="3939942" y="1468641"/>
                </a:cubicBezTo>
                <a:lnTo>
                  <a:pt x="3941222" y="1469780"/>
                </a:lnTo>
                <a:lnTo>
                  <a:pt x="3937808" y="1463378"/>
                </a:lnTo>
                <a:lnTo>
                  <a:pt x="3943357" y="1459394"/>
                </a:lnTo>
                <a:lnTo>
                  <a:pt x="3942503" y="1458399"/>
                </a:lnTo>
                <a:lnTo>
                  <a:pt x="3942930" y="1457118"/>
                </a:lnTo>
                <a:lnTo>
                  <a:pt x="3942289" y="1456691"/>
                </a:lnTo>
                <a:cubicBezTo>
                  <a:pt x="3942717" y="1448155"/>
                  <a:pt x="3948052" y="1445168"/>
                  <a:pt x="3954454" y="1444598"/>
                </a:cubicBezTo>
                <a:lnTo>
                  <a:pt x="3960644" y="1444598"/>
                </a:lnTo>
                <a:lnTo>
                  <a:pt x="3961924" y="1439904"/>
                </a:lnTo>
                <a:cubicBezTo>
                  <a:pt x="3963205" y="1437769"/>
                  <a:pt x="3965339" y="1436773"/>
                  <a:pt x="3968327" y="1438196"/>
                </a:cubicBezTo>
                <a:cubicBezTo>
                  <a:pt x="3969607" y="1438623"/>
                  <a:pt x="3970034" y="1439761"/>
                  <a:pt x="3970034" y="1441042"/>
                </a:cubicBezTo>
                <a:close/>
                <a:moveTo>
                  <a:pt x="5898495" y="1431652"/>
                </a:moveTo>
                <a:cubicBezTo>
                  <a:pt x="5902336" y="1431367"/>
                  <a:pt x="5908953" y="1432932"/>
                  <a:pt x="5909806" y="1432932"/>
                </a:cubicBezTo>
                <a:cubicBezTo>
                  <a:pt x="5909806" y="1432932"/>
                  <a:pt x="5910874" y="1432932"/>
                  <a:pt x="5912154" y="1432932"/>
                </a:cubicBezTo>
                <a:cubicBezTo>
                  <a:pt x="5913007" y="1434070"/>
                  <a:pt x="5913007" y="1435351"/>
                  <a:pt x="5914074" y="1435351"/>
                </a:cubicBezTo>
                <a:cubicBezTo>
                  <a:pt x="5910233" y="1438765"/>
                  <a:pt x="5906818" y="1437627"/>
                  <a:pt x="5903617" y="1436347"/>
                </a:cubicBezTo>
                <a:cubicBezTo>
                  <a:pt x="5901483" y="1435209"/>
                  <a:pt x="5900416" y="1435209"/>
                  <a:pt x="5897855" y="1436347"/>
                </a:cubicBezTo>
                <a:cubicBezTo>
                  <a:pt x="5897855" y="1436347"/>
                  <a:pt x="5897855" y="1436347"/>
                  <a:pt x="5895934" y="1433928"/>
                </a:cubicBezTo>
                <a:lnTo>
                  <a:pt x="5895934" y="1432648"/>
                </a:lnTo>
                <a:cubicBezTo>
                  <a:pt x="5896361" y="1432078"/>
                  <a:pt x="5897215" y="1431794"/>
                  <a:pt x="5898495" y="1431652"/>
                </a:cubicBezTo>
                <a:close/>
                <a:moveTo>
                  <a:pt x="4648496" y="1431652"/>
                </a:moveTo>
                <a:cubicBezTo>
                  <a:pt x="4649776" y="1431652"/>
                  <a:pt x="4649989" y="1432078"/>
                  <a:pt x="4650203" y="1433074"/>
                </a:cubicBezTo>
                <a:cubicBezTo>
                  <a:pt x="4650203" y="1433928"/>
                  <a:pt x="4649989" y="1435209"/>
                  <a:pt x="4650203" y="1436489"/>
                </a:cubicBezTo>
                <a:lnTo>
                  <a:pt x="4645508" y="1435209"/>
                </a:lnTo>
                <a:cubicBezTo>
                  <a:pt x="4645721" y="1433501"/>
                  <a:pt x="4646788" y="1431225"/>
                  <a:pt x="4648496" y="1431652"/>
                </a:cubicBezTo>
                <a:close/>
                <a:moveTo>
                  <a:pt x="4629928" y="1431225"/>
                </a:moveTo>
                <a:cubicBezTo>
                  <a:pt x="4631208" y="1431225"/>
                  <a:pt x="4632916" y="1432078"/>
                  <a:pt x="4634837" y="1433074"/>
                </a:cubicBezTo>
                <a:cubicBezTo>
                  <a:pt x="4638678" y="1435351"/>
                  <a:pt x="4638038" y="1439050"/>
                  <a:pt x="4640599" y="1441326"/>
                </a:cubicBezTo>
                <a:cubicBezTo>
                  <a:pt x="4638465" y="1442606"/>
                  <a:pt x="4635263" y="1445309"/>
                  <a:pt x="4630141" y="1441895"/>
                </a:cubicBezTo>
                <a:cubicBezTo>
                  <a:pt x="4628647" y="1440757"/>
                  <a:pt x="4628647" y="1440757"/>
                  <a:pt x="4628647" y="1439619"/>
                </a:cubicBezTo>
                <a:cubicBezTo>
                  <a:pt x="4626940" y="1437200"/>
                  <a:pt x="4625660" y="1436062"/>
                  <a:pt x="4626513" y="1433643"/>
                </a:cubicBezTo>
                <a:cubicBezTo>
                  <a:pt x="4627367" y="1431794"/>
                  <a:pt x="4628647" y="1431083"/>
                  <a:pt x="4629928" y="1431225"/>
                </a:cubicBezTo>
                <a:close/>
                <a:moveTo>
                  <a:pt x="5028383" y="1431083"/>
                </a:moveTo>
                <a:cubicBezTo>
                  <a:pt x="5045670" y="1442179"/>
                  <a:pt x="5049725" y="1467077"/>
                  <a:pt x="5057408" y="1487563"/>
                </a:cubicBezTo>
                <a:cubicBezTo>
                  <a:pt x="5053353" y="1487848"/>
                  <a:pt x="5051432" y="1490978"/>
                  <a:pt x="5045030" y="1489982"/>
                </a:cubicBezTo>
                <a:cubicBezTo>
                  <a:pt x="5040761" y="1468215"/>
                  <a:pt x="5031371" y="1449151"/>
                  <a:pt x="5028383" y="1431083"/>
                </a:cubicBezTo>
                <a:close/>
                <a:moveTo>
                  <a:pt x="1020559" y="1430102"/>
                </a:moveTo>
                <a:cubicBezTo>
                  <a:pt x="1026625" y="1430567"/>
                  <a:pt x="1032098" y="1433046"/>
                  <a:pt x="1032459" y="1437615"/>
                </a:cubicBezTo>
                <a:cubicBezTo>
                  <a:pt x="1022753" y="1435756"/>
                  <a:pt x="1015422" y="1439009"/>
                  <a:pt x="1005096" y="1434672"/>
                </a:cubicBezTo>
                <a:cubicBezTo>
                  <a:pt x="1007833" y="1431187"/>
                  <a:pt x="1014493" y="1429638"/>
                  <a:pt x="1020559" y="1430102"/>
                </a:cubicBezTo>
                <a:close/>
                <a:moveTo>
                  <a:pt x="4091043" y="1430087"/>
                </a:moveTo>
                <a:cubicBezTo>
                  <a:pt x="4093391" y="1431367"/>
                  <a:pt x="4095739" y="1432648"/>
                  <a:pt x="4098086" y="1434070"/>
                </a:cubicBezTo>
                <a:lnTo>
                  <a:pt x="4101074" y="1437485"/>
                </a:lnTo>
                <a:lnTo>
                  <a:pt x="4102141" y="1430798"/>
                </a:lnTo>
                <a:cubicBezTo>
                  <a:pt x="4103848" y="1429945"/>
                  <a:pt x="4106196" y="1430087"/>
                  <a:pt x="4108330" y="1430514"/>
                </a:cubicBezTo>
                <a:cubicBezTo>
                  <a:pt x="4114946" y="1432078"/>
                  <a:pt x="4122416" y="1438338"/>
                  <a:pt x="4124123" y="1443460"/>
                </a:cubicBezTo>
                <a:cubicBezTo>
                  <a:pt x="4122629" y="1448582"/>
                  <a:pt x="4119855" y="1451285"/>
                  <a:pt x="4117081" y="1452281"/>
                </a:cubicBezTo>
                <a:cubicBezTo>
                  <a:pt x="4112598" y="1453561"/>
                  <a:pt x="4107476" y="1450858"/>
                  <a:pt x="4104275" y="1446590"/>
                </a:cubicBezTo>
                <a:lnTo>
                  <a:pt x="4103208" y="1444171"/>
                </a:lnTo>
                <a:lnTo>
                  <a:pt x="4103208" y="1445025"/>
                </a:lnTo>
                <a:cubicBezTo>
                  <a:pt x="4098513" y="1442464"/>
                  <a:pt x="4095098" y="1441042"/>
                  <a:pt x="4090403" y="1438481"/>
                </a:cubicBezTo>
                <a:cubicBezTo>
                  <a:pt x="4089122" y="1437200"/>
                  <a:pt x="4086561" y="1432363"/>
                  <a:pt x="4087628" y="1431225"/>
                </a:cubicBezTo>
                <a:cubicBezTo>
                  <a:pt x="4088695" y="1429945"/>
                  <a:pt x="4089976" y="1430087"/>
                  <a:pt x="4091043" y="1430087"/>
                </a:cubicBezTo>
                <a:close/>
                <a:moveTo>
                  <a:pt x="1520655" y="1429560"/>
                </a:moveTo>
                <a:cubicBezTo>
                  <a:pt x="1522616" y="1429250"/>
                  <a:pt x="1521997" y="1431574"/>
                  <a:pt x="1521687" y="1432658"/>
                </a:cubicBezTo>
                <a:cubicBezTo>
                  <a:pt x="1520345" y="1430800"/>
                  <a:pt x="1519209" y="1430645"/>
                  <a:pt x="1519932" y="1430025"/>
                </a:cubicBezTo>
                <a:cubicBezTo>
                  <a:pt x="1519519" y="1429405"/>
                  <a:pt x="1520241" y="1428940"/>
                  <a:pt x="1520655" y="1429560"/>
                </a:cubicBezTo>
                <a:close/>
                <a:moveTo>
                  <a:pt x="4124764" y="1429518"/>
                </a:moveTo>
                <a:cubicBezTo>
                  <a:pt x="4130312" y="1429945"/>
                  <a:pt x="4134367" y="1432505"/>
                  <a:pt x="4136502" y="1439904"/>
                </a:cubicBezTo>
                <a:cubicBezTo>
                  <a:pt x="4133727" y="1443603"/>
                  <a:pt x="4129245" y="1443033"/>
                  <a:pt x="4125404" y="1440472"/>
                </a:cubicBezTo>
                <a:cubicBezTo>
                  <a:pt x="4121562" y="1438054"/>
                  <a:pt x="4118361" y="1433643"/>
                  <a:pt x="4118574" y="1429660"/>
                </a:cubicBezTo>
                <a:cubicBezTo>
                  <a:pt x="4120708" y="1429376"/>
                  <a:pt x="4122843" y="1429376"/>
                  <a:pt x="4124764" y="1429518"/>
                </a:cubicBezTo>
                <a:close/>
                <a:moveTo>
                  <a:pt x="3995431" y="1429518"/>
                </a:moveTo>
                <a:cubicBezTo>
                  <a:pt x="3996712" y="1431652"/>
                  <a:pt x="3998632" y="1432648"/>
                  <a:pt x="4000126" y="1434782"/>
                </a:cubicBezTo>
                <a:lnTo>
                  <a:pt x="4003755" y="1435209"/>
                </a:lnTo>
                <a:cubicBezTo>
                  <a:pt x="4003114" y="1440046"/>
                  <a:pt x="3997779" y="1443318"/>
                  <a:pt x="3993297" y="1443460"/>
                </a:cubicBezTo>
                <a:lnTo>
                  <a:pt x="3992016" y="1443176"/>
                </a:lnTo>
                <a:lnTo>
                  <a:pt x="3989029" y="1444456"/>
                </a:lnTo>
                <a:cubicBezTo>
                  <a:pt x="3987534" y="1444314"/>
                  <a:pt x="3986254" y="1443318"/>
                  <a:pt x="3985400" y="1441184"/>
                </a:cubicBezTo>
                <a:cubicBezTo>
                  <a:pt x="3983906" y="1434782"/>
                  <a:pt x="3989029" y="1431936"/>
                  <a:pt x="3995431" y="1429518"/>
                </a:cubicBezTo>
                <a:close/>
                <a:moveTo>
                  <a:pt x="1260552" y="1429405"/>
                </a:moveTo>
                <a:cubicBezTo>
                  <a:pt x="1262721" y="1431419"/>
                  <a:pt x="1265508" y="1430800"/>
                  <a:pt x="1268090" y="1434517"/>
                </a:cubicBezTo>
                <a:cubicBezTo>
                  <a:pt x="1257455" y="1446754"/>
                  <a:pt x="1250743" y="1460230"/>
                  <a:pt x="1241553" y="1469988"/>
                </a:cubicBezTo>
                <a:cubicBezTo>
                  <a:pt x="1241346" y="1468284"/>
                  <a:pt x="1241243" y="1466580"/>
                  <a:pt x="1241450" y="1464877"/>
                </a:cubicBezTo>
                <a:cubicBezTo>
                  <a:pt x="1242586" y="1452795"/>
                  <a:pt x="1253324" y="1441023"/>
                  <a:pt x="1260552" y="1429405"/>
                </a:cubicBezTo>
                <a:close/>
                <a:moveTo>
                  <a:pt x="5449247" y="1429376"/>
                </a:moveTo>
                <a:cubicBezTo>
                  <a:pt x="5456290" y="1429233"/>
                  <a:pt x="5460558" y="1433643"/>
                  <a:pt x="5463118" y="1439334"/>
                </a:cubicBezTo>
                <a:cubicBezTo>
                  <a:pt x="5465893" y="1445025"/>
                  <a:pt x="5466747" y="1451854"/>
                  <a:pt x="5466747" y="1456549"/>
                </a:cubicBezTo>
                <a:cubicBezTo>
                  <a:pt x="5462905" y="1452992"/>
                  <a:pt x="5459064" y="1449720"/>
                  <a:pt x="5455862" y="1445452"/>
                </a:cubicBezTo>
                <a:cubicBezTo>
                  <a:pt x="5452661" y="1441326"/>
                  <a:pt x="5450100" y="1436205"/>
                  <a:pt x="5449247" y="1429376"/>
                </a:cubicBezTo>
                <a:close/>
                <a:moveTo>
                  <a:pt x="1739351" y="1429096"/>
                </a:moveTo>
                <a:cubicBezTo>
                  <a:pt x="1740281" y="1429096"/>
                  <a:pt x="1741106" y="1429096"/>
                  <a:pt x="1741933" y="1430025"/>
                </a:cubicBezTo>
                <a:cubicBezTo>
                  <a:pt x="1742656" y="1430954"/>
                  <a:pt x="1742552" y="1432658"/>
                  <a:pt x="1742449" y="1433588"/>
                </a:cubicBezTo>
                <a:cubicBezTo>
                  <a:pt x="1741520" y="1433588"/>
                  <a:pt x="1741416" y="1434362"/>
                  <a:pt x="1740487" y="1434362"/>
                </a:cubicBezTo>
                <a:cubicBezTo>
                  <a:pt x="1738629" y="1435137"/>
                  <a:pt x="1738629" y="1435137"/>
                  <a:pt x="1737803" y="1434207"/>
                </a:cubicBezTo>
                <a:cubicBezTo>
                  <a:pt x="1737080" y="1433433"/>
                  <a:pt x="1738215" y="1430800"/>
                  <a:pt x="1737493" y="1429870"/>
                </a:cubicBezTo>
                <a:cubicBezTo>
                  <a:pt x="1737493" y="1429870"/>
                  <a:pt x="1737493" y="1429870"/>
                  <a:pt x="1739351" y="1429096"/>
                </a:cubicBezTo>
                <a:close/>
                <a:moveTo>
                  <a:pt x="5017071" y="1429091"/>
                </a:moveTo>
                <a:cubicBezTo>
                  <a:pt x="5025821" y="1430514"/>
                  <a:pt x="5023261" y="1440188"/>
                  <a:pt x="5018779" y="1441326"/>
                </a:cubicBezTo>
                <a:cubicBezTo>
                  <a:pt x="5013230" y="1439050"/>
                  <a:pt x="5013017" y="1431367"/>
                  <a:pt x="5017071" y="1429091"/>
                </a:cubicBezTo>
                <a:close/>
                <a:moveTo>
                  <a:pt x="5278297" y="1428948"/>
                </a:moveTo>
                <a:cubicBezTo>
                  <a:pt x="5278937" y="1429802"/>
                  <a:pt x="5279364" y="1431083"/>
                  <a:pt x="5279791" y="1432648"/>
                </a:cubicBezTo>
                <a:cubicBezTo>
                  <a:pt x="5280431" y="1437058"/>
                  <a:pt x="5279364" y="1443460"/>
                  <a:pt x="5277871" y="1446021"/>
                </a:cubicBezTo>
                <a:cubicBezTo>
                  <a:pt x="5275949" y="1446590"/>
                  <a:pt x="5274456" y="1446732"/>
                  <a:pt x="5272961" y="1446448"/>
                </a:cubicBezTo>
                <a:lnTo>
                  <a:pt x="5272748" y="1446306"/>
                </a:lnTo>
                <a:lnTo>
                  <a:pt x="5271895" y="1451285"/>
                </a:lnTo>
                <a:cubicBezTo>
                  <a:pt x="5270828" y="1453277"/>
                  <a:pt x="5269120" y="1454842"/>
                  <a:pt x="5267200" y="1455837"/>
                </a:cubicBezTo>
                <a:lnTo>
                  <a:pt x="5266559" y="1455980"/>
                </a:lnTo>
                <a:lnTo>
                  <a:pt x="5267200" y="1457972"/>
                </a:lnTo>
                <a:cubicBezTo>
                  <a:pt x="5266559" y="1458967"/>
                  <a:pt x="5265065" y="1459394"/>
                  <a:pt x="5265065" y="1459394"/>
                </a:cubicBezTo>
                <a:cubicBezTo>
                  <a:pt x="5263571" y="1459821"/>
                  <a:pt x="5263571" y="1459821"/>
                  <a:pt x="5263998" y="1461529"/>
                </a:cubicBezTo>
                <a:cubicBezTo>
                  <a:pt x="5263998" y="1461529"/>
                  <a:pt x="5263145" y="1460817"/>
                  <a:pt x="5263145" y="1460817"/>
                </a:cubicBezTo>
                <a:cubicBezTo>
                  <a:pt x="5263571" y="1459821"/>
                  <a:pt x="5263145" y="1460817"/>
                  <a:pt x="5261437" y="1461244"/>
                </a:cubicBezTo>
                <a:cubicBezTo>
                  <a:pt x="5259943" y="1459109"/>
                  <a:pt x="5258876" y="1458541"/>
                  <a:pt x="5258236" y="1456833"/>
                </a:cubicBezTo>
                <a:lnTo>
                  <a:pt x="5258022" y="1455410"/>
                </a:lnTo>
                <a:lnTo>
                  <a:pt x="5256315" y="1454415"/>
                </a:lnTo>
                <a:cubicBezTo>
                  <a:pt x="5254607" y="1452423"/>
                  <a:pt x="5253967" y="1449151"/>
                  <a:pt x="5255461" y="1444456"/>
                </a:cubicBezTo>
                <a:cubicBezTo>
                  <a:pt x="5258449" y="1444598"/>
                  <a:pt x="5260797" y="1444029"/>
                  <a:pt x="5262931" y="1443460"/>
                </a:cubicBezTo>
                <a:lnTo>
                  <a:pt x="5268480" y="1442322"/>
                </a:lnTo>
                <a:lnTo>
                  <a:pt x="5267413" y="1439904"/>
                </a:lnTo>
                <a:cubicBezTo>
                  <a:pt x="5266773" y="1434213"/>
                  <a:pt x="5270614" y="1427241"/>
                  <a:pt x="5278297" y="1428948"/>
                </a:cubicBezTo>
                <a:close/>
                <a:moveTo>
                  <a:pt x="4657245" y="1428948"/>
                </a:moveTo>
                <a:cubicBezTo>
                  <a:pt x="4657886" y="1429945"/>
                  <a:pt x="4658953" y="1429376"/>
                  <a:pt x="4659593" y="1430371"/>
                </a:cubicBezTo>
                <a:cubicBezTo>
                  <a:pt x="4659593" y="1430371"/>
                  <a:pt x="4660660" y="1431083"/>
                  <a:pt x="4661728" y="1432505"/>
                </a:cubicBezTo>
                <a:cubicBezTo>
                  <a:pt x="4663008" y="1433928"/>
                  <a:pt x="4664075" y="1436205"/>
                  <a:pt x="4664075" y="1439192"/>
                </a:cubicBezTo>
                <a:cubicBezTo>
                  <a:pt x="4663862" y="1440757"/>
                  <a:pt x="4662368" y="1444598"/>
                  <a:pt x="4661728" y="1443603"/>
                </a:cubicBezTo>
                <a:cubicBezTo>
                  <a:pt x="4660020" y="1443176"/>
                  <a:pt x="4660660" y="1444171"/>
                  <a:pt x="4659807" y="1444883"/>
                </a:cubicBezTo>
                <a:cubicBezTo>
                  <a:pt x="4654898" y="1443603"/>
                  <a:pt x="4651910" y="1441184"/>
                  <a:pt x="4651910" y="1436915"/>
                </a:cubicBezTo>
                <a:cubicBezTo>
                  <a:pt x="4652337" y="1433643"/>
                  <a:pt x="4653191" y="1428806"/>
                  <a:pt x="4657245" y="1428948"/>
                </a:cubicBezTo>
                <a:close/>
                <a:moveTo>
                  <a:pt x="1567430" y="1427856"/>
                </a:moveTo>
                <a:cubicBezTo>
                  <a:pt x="1570527" y="1436840"/>
                  <a:pt x="1582815" y="1440093"/>
                  <a:pt x="1581782" y="1448458"/>
                </a:cubicBezTo>
                <a:cubicBezTo>
                  <a:pt x="1577032" y="1445360"/>
                  <a:pt x="1568566" y="1443501"/>
                  <a:pt x="1564539" y="1440093"/>
                </a:cubicBezTo>
                <a:lnTo>
                  <a:pt x="1563816" y="1438544"/>
                </a:lnTo>
                <a:lnTo>
                  <a:pt x="1562061" y="1438235"/>
                </a:lnTo>
                <a:cubicBezTo>
                  <a:pt x="1560718" y="1437305"/>
                  <a:pt x="1559789" y="1436066"/>
                  <a:pt x="1559479" y="1434517"/>
                </a:cubicBezTo>
                <a:cubicBezTo>
                  <a:pt x="1559272" y="1433588"/>
                  <a:pt x="1559272" y="1432504"/>
                  <a:pt x="1559789" y="1431574"/>
                </a:cubicBezTo>
                <a:cubicBezTo>
                  <a:pt x="1560305" y="1431419"/>
                  <a:pt x="1561028" y="1431109"/>
                  <a:pt x="1561751" y="1430800"/>
                </a:cubicBezTo>
                <a:cubicBezTo>
                  <a:pt x="1562576" y="1430490"/>
                  <a:pt x="1563403" y="1430180"/>
                  <a:pt x="1564435" y="1430335"/>
                </a:cubicBezTo>
                <a:lnTo>
                  <a:pt x="1564848" y="1430800"/>
                </a:lnTo>
                <a:close/>
                <a:moveTo>
                  <a:pt x="4217174" y="1426815"/>
                </a:moveTo>
                <a:cubicBezTo>
                  <a:pt x="4218668" y="1427241"/>
                  <a:pt x="4218668" y="1427241"/>
                  <a:pt x="4219522" y="1428237"/>
                </a:cubicBezTo>
                <a:cubicBezTo>
                  <a:pt x="4219308" y="1429802"/>
                  <a:pt x="4218241" y="1430371"/>
                  <a:pt x="4218027" y="1432078"/>
                </a:cubicBezTo>
                <a:cubicBezTo>
                  <a:pt x="4221229" y="1432932"/>
                  <a:pt x="4220589" y="1431936"/>
                  <a:pt x="4220375" y="1433501"/>
                </a:cubicBezTo>
                <a:cubicBezTo>
                  <a:pt x="4220375" y="1433501"/>
                  <a:pt x="4220375" y="1433501"/>
                  <a:pt x="4220162" y="1435209"/>
                </a:cubicBezTo>
                <a:cubicBezTo>
                  <a:pt x="4220162" y="1435209"/>
                  <a:pt x="4220802" y="1436205"/>
                  <a:pt x="4216534" y="1435920"/>
                </a:cubicBezTo>
                <a:cubicBezTo>
                  <a:pt x="4216747" y="1434355"/>
                  <a:pt x="4217601" y="1429518"/>
                  <a:pt x="4217601" y="1429518"/>
                </a:cubicBezTo>
                <a:cubicBezTo>
                  <a:pt x="4216961" y="1428379"/>
                  <a:pt x="4216961" y="1428379"/>
                  <a:pt x="4217174" y="1426815"/>
                </a:cubicBezTo>
                <a:close/>
                <a:moveTo>
                  <a:pt x="4043877" y="1426673"/>
                </a:moveTo>
                <a:cubicBezTo>
                  <a:pt x="4045158" y="1426530"/>
                  <a:pt x="4046012" y="1426815"/>
                  <a:pt x="4046439" y="1427384"/>
                </a:cubicBezTo>
                <a:cubicBezTo>
                  <a:pt x="4047079" y="1427953"/>
                  <a:pt x="4047292" y="1428806"/>
                  <a:pt x="4047505" y="1430229"/>
                </a:cubicBezTo>
                <a:lnTo>
                  <a:pt x="4043877" y="1433501"/>
                </a:lnTo>
                <a:lnTo>
                  <a:pt x="4046865" y="1434640"/>
                </a:lnTo>
                <a:lnTo>
                  <a:pt x="4049213" y="1437627"/>
                </a:lnTo>
                <a:lnTo>
                  <a:pt x="4054122" y="1432648"/>
                </a:lnTo>
                <a:cubicBezTo>
                  <a:pt x="4057109" y="1431367"/>
                  <a:pt x="4060097" y="1431083"/>
                  <a:pt x="4063085" y="1431652"/>
                </a:cubicBezTo>
                <a:cubicBezTo>
                  <a:pt x="4068847" y="1432932"/>
                  <a:pt x="4074397" y="1437912"/>
                  <a:pt x="4076744" y="1444314"/>
                </a:cubicBezTo>
                <a:cubicBezTo>
                  <a:pt x="4079518" y="1451996"/>
                  <a:pt x="4078024" y="1462097"/>
                  <a:pt x="4067567" y="1471203"/>
                </a:cubicBezTo>
                <a:cubicBezTo>
                  <a:pt x="4055829" y="1468215"/>
                  <a:pt x="4047079" y="1459679"/>
                  <a:pt x="4045371" y="1450146"/>
                </a:cubicBezTo>
                <a:lnTo>
                  <a:pt x="4046439" y="1442179"/>
                </a:lnTo>
                <a:lnTo>
                  <a:pt x="4043024" y="1444883"/>
                </a:lnTo>
                <a:cubicBezTo>
                  <a:pt x="4039822" y="1445594"/>
                  <a:pt x="4036194" y="1444883"/>
                  <a:pt x="4033846" y="1443176"/>
                </a:cubicBezTo>
                <a:cubicBezTo>
                  <a:pt x="4032353" y="1442037"/>
                  <a:pt x="4031286" y="1440330"/>
                  <a:pt x="4031072" y="1438196"/>
                </a:cubicBezTo>
                <a:lnTo>
                  <a:pt x="4032566" y="1436632"/>
                </a:lnTo>
                <a:lnTo>
                  <a:pt x="4031499" y="1436347"/>
                </a:lnTo>
                <a:cubicBezTo>
                  <a:pt x="4029792" y="1435920"/>
                  <a:pt x="4028085" y="1435493"/>
                  <a:pt x="4028938" y="1436632"/>
                </a:cubicBezTo>
                <a:cubicBezTo>
                  <a:pt x="4024030" y="1435351"/>
                  <a:pt x="4022962" y="1435920"/>
                  <a:pt x="4021895" y="1432221"/>
                </a:cubicBezTo>
                <a:cubicBezTo>
                  <a:pt x="4030218" y="1428237"/>
                  <a:pt x="4041316" y="1426815"/>
                  <a:pt x="4043877" y="1426673"/>
                </a:cubicBezTo>
                <a:close/>
                <a:moveTo>
                  <a:pt x="1357510" y="1426617"/>
                </a:moveTo>
                <a:cubicBezTo>
                  <a:pt x="1357510" y="1426617"/>
                  <a:pt x="1357510" y="1426617"/>
                  <a:pt x="1358336" y="1426772"/>
                </a:cubicBezTo>
                <a:cubicBezTo>
                  <a:pt x="1360091" y="1426927"/>
                  <a:pt x="1360917" y="1426927"/>
                  <a:pt x="1361846" y="1427082"/>
                </a:cubicBezTo>
                <a:cubicBezTo>
                  <a:pt x="1362672" y="1428011"/>
                  <a:pt x="1364325" y="1430645"/>
                  <a:pt x="1363395" y="1431419"/>
                </a:cubicBezTo>
                <a:cubicBezTo>
                  <a:pt x="1361640" y="1432813"/>
                  <a:pt x="1359162" y="1433433"/>
                  <a:pt x="1358232" y="1432504"/>
                </a:cubicBezTo>
                <a:cubicBezTo>
                  <a:pt x="1356994" y="1431109"/>
                  <a:pt x="1355755" y="1429715"/>
                  <a:pt x="1356271" y="1428166"/>
                </a:cubicBezTo>
                <a:cubicBezTo>
                  <a:pt x="1356477" y="1427702"/>
                  <a:pt x="1356890" y="1427082"/>
                  <a:pt x="1357510" y="1426617"/>
                </a:cubicBezTo>
                <a:close/>
                <a:moveTo>
                  <a:pt x="4173850" y="1425961"/>
                </a:moveTo>
                <a:cubicBezTo>
                  <a:pt x="4173850" y="1425961"/>
                  <a:pt x="4174063" y="1425961"/>
                  <a:pt x="4174490" y="1426246"/>
                </a:cubicBezTo>
                <a:cubicBezTo>
                  <a:pt x="4174703" y="1426530"/>
                  <a:pt x="4175130" y="1427099"/>
                  <a:pt x="4174917" y="1427811"/>
                </a:cubicBezTo>
                <a:cubicBezTo>
                  <a:pt x="4174917" y="1427811"/>
                  <a:pt x="4174917" y="1427811"/>
                  <a:pt x="4174063" y="1428379"/>
                </a:cubicBezTo>
                <a:cubicBezTo>
                  <a:pt x="4174063" y="1428379"/>
                  <a:pt x="4173423" y="1427384"/>
                  <a:pt x="4173850" y="1425961"/>
                </a:cubicBezTo>
                <a:close/>
                <a:moveTo>
                  <a:pt x="1546778" y="1425843"/>
                </a:moveTo>
                <a:cubicBezTo>
                  <a:pt x="1548637" y="1430954"/>
                  <a:pt x="1552871" y="1434827"/>
                  <a:pt x="1552148" y="1437615"/>
                </a:cubicBezTo>
                <a:cubicBezTo>
                  <a:pt x="1551941" y="1438544"/>
                  <a:pt x="1551115" y="1439474"/>
                  <a:pt x="1549463" y="1440248"/>
                </a:cubicBezTo>
                <a:cubicBezTo>
                  <a:pt x="1547708" y="1438699"/>
                  <a:pt x="1543577" y="1433123"/>
                  <a:pt x="1543268" y="1429405"/>
                </a:cubicBezTo>
                <a:cubicBezTo>
                  <a:pt x="1543268" y="1428166"/>
                  <a:pt x="1543474" y="1427082"/>
                  <a:pt x="1544507" y="1426462"/>
                </a:cubicBezTo>
                <a:cubicBezTo>
                  <a:pt x="1545023" y="1425998"/>
                  <a:pt x="1545746" y="1425843"/>
                  <a:pt x="1546778" y="1425843"/>
                </a:cubicBezTo>
                <a:close/>
                <a:moveTo>
                  <a:pt x="5233906" y="1425819"/>
                </a:moveTo>
                <a:cubicBezTo>
                  <a:pt x="5236253" y="1426103"/>
                  <a:pt x="5238601" y="1427241"/>
                  <a:pt x="5240095" y="1429233"/>
                </a:cubicBezTo>
                <a:cubicBezTo>
                  <a:pt x="5241162" y="1430656"/>
                  <a:pt x="5241803" y="1432363"/>
                  <a:pt x="5242016" y="1434213"/>
                </a:cubicBezTo>
                <a:lnTo>
                  <a:pt x="5241803" y="1434497"/>
                </a:lnTo>
                <a:lnTo>
                  <a:pt x="5243510" y="1433359"/>
                </a:lnTo>
                <a:cubicBezTo>
                  <a:pt x="5244363" y="1432932"/>
                  <a:pt x="5245217" y="1432790"/>
                  <a:pt x="5245858" y="1433359"/>
                </a:cubicBezTo>
                <a:cubicBezTo>
                  <a:pt x="5246071" y="1434640"/>
                  <a:pt x="5247138" y="1434640"/>
                  <a:pt x="5247351" y="1435777"/>
                </a:cubicBezTo>
                <a:cubicBezTo>
                  <a:pt x="5248845" y="1438196"/>
                  <a:pt x="5249059" y="1439334"/>
                  <a:pt x="5247991" y="1440614"/>
                </a:cubicBezTo>
                <a:cubicBezTo>
                  <a:pt x="5248205" y="1441753"/>
                  <a:pt x="5246924" y="1441895"/>
                  <a:pt x="5246071" y="1443176"/>
                </a:cubicBezTo>
                <a:cubicBezTo>
                  <a:pt x="5244790" y="1443176"/>
                  <a:pt x="5243723" y="1442037"/>
                  <a:pt x="5243723" y="1442037"/>
                </a:cubicBezTo>
                <a:cubicBezTo>
                  <a:pt x="5242229" y="1440899"/>
                  <a:pt x="5242229" y="1440899"/>
                  <a:pt x="5241376" y="1442179"/>
                </a:cubicBezTo>
                <a:cubicBezTo>
                  <a:pt x="5241376" y="1442179"/>
                  <a:pt x="5241162" y="1441042"/>
                  <a:pt x="5241162" y="1441042"/>
                </a:cubicBezTo>
                <a:cubicBezTo>
                  <a:pt x="5241803" y="1441042"/>
                  <a:pt x="5241803" y="1441042"/>
                  <a:pt x="5241376" y="1440899"/>
                </a:cubicBezTo>
                <a:lnTo>
                  <a:pt x="5240522" y="1440188"/>
                </a:lnTo>
                <a:lnTo>
                  <a:pt x="5239668" y="1443460"/>
                </a:lnTo>
                <a:cubicBezTo>
                  <a:pt x="5235187" y="1448298"/>
                  <a:pt x="5223235" y="1443887"/>
                  <a:pt x="5222381" y="1438054"/>
                </a:cubicBezTo>
                <a:cubicBezTo>
                  <a:pt x="5223662" y="1434782"/>
                  <a:pt x="5224942" y="1431510"/>
                  <a:pt x="5226223" y="1428379"/>
                </a:cubicBezTo>
                <a:cubicBezTo>
                  <a:pt x="5228784" y="1426388"/>
                  <a:pt x="5231345" y="1425534"/>
                  <a:pt x="5233906" y="1425819"/>
                </a:cubicBezTo>
                <a:close/>
                <a:moveTo>
                  <a:pt x="5562145" y="1424681"/>
                </a:moveTo>
                <a:cubicBezTo>
                  <a:pt x="5565133" y="1424538"/>
                  <a:pt x="5567908" y="1425107"/>
                  <a:pt x="5568975" y="1426388"/>
                </a:cubicBezTo>
                <a:cubicBezTo>
                  <a:pt x="5570255" y="1438054"/>
                  <a:pt x="5561078" y="1439192"/>
                  <a:pt x="5556810" y="1433928"/>
                </a:cubicBezTo>
                <a:cubicBezTo>
                  <a:pt x="5555529" y="1432221"/>
                  <a:pt x="5554676" y="1429660"/>
                  <a:pt x="5555103" y="1426673"/>
                </a:cubicBezTo>
                <a:cubicBezTo>
                  <a:pt x="5556383" y="1425534"/>
                  <a:pt x="5559371" y="1424823"/>
                  <a:pt x="5562145" y="1424681"/>
                </a:cubicBezTo>
                <a:close/>
                <a:moveTo>
                  <a:pt x="3663563" y="1424538"/>
                </a:moveTo>
                <a:lnTo>
                  <a:pt x="3664417" y="1428806"/>
                </a:lnTo>
                <a:cubicBezTo>
                  <a:pt x="3664417" y="1430514"/>
                  <a:pt x="3663990" y="1432221"/>
                  <a:pt x="3662709" y="1433359"/>
                </a:cubicBezTo>
                <a:cubicBezTo>
                  <a:pt x="3662709" y="1433359"/>
                  <a:pt x="3662709" y="1433359"/>
                  <a:pt x="3661429" y="1434497"/>
                </a:cubicBezTo>
                <a:cubicBezTo>
                  <a:pt x="3661642" y="1432790"/>
                  <a:pt x="3661856" y="1430798"/>
                  <a:pt x="3662069" y="1428806"/>
                </a:cubicBezTo>
                <a:close/>
                <a:moveTo>
                  <a:pt x="3623227" y="1424254"/>
                </a:moveTo>
                <a:cubicBezTo>
                  <a:pt x="3625361" y="1425534"/>
                  <a:pt x="3626215" y="1426815"/>
                  <a:pt x="3627282" y="1428095"/>
                </a:cubicBezTo>
                <a:cubicBezTo>
                  <a:pt x="3628349" y="1428664"/>
                  <a:pt x="3628989" y="1429376"/>
                  <a:pt x="3628776" y="1430229"/>
                </a:cubicBezTo>
                <a:lnTo>
                  <a:pt x="3627709" y="1431936"/>
                </a:lnTo>
                <a:lnTo>
                  <a:pt x="3628136" y="1431652"/>
                </a:lnTo>
                <a:lnTo>
                  <a:pt x="3634111" y="1431936"/>
                </a:lnTo>
                <a:cubicBezTo>
                  <a:pt x="3634752" y="1431510"/>
                  <a:pt x="3635392" y="1431510"/>
                  <a:pt x="3635819" y="1431510"/>
                </a:cubicBezTo>
                <a:lnTo>
                  <a:pt x="3635819" y="1432078"/>
                </a:lnTo>
                <a:lnTo>
                  <a:pt x="3635605" y="1432078"/>
                </a:lnTo>
                <a:lnTo>
                  <a:pt x="3635179" y="1433928"/>
                </a:lnTo>
                <a:lnTo>
                  <a:pt x="3634538" y="1434497"/>
                </a:lnTo>
                <a:lnTo>
                  <a:pt x="3633258" y="1437343"/>
                </a:lnTo>
                <a:lnTo>
                  <a:pt x="3633471" y="1438765"/>
                </a:lnTo>
                <a:lnTo>
                  <a:pt x="3631337" y="1442749"/>
                </a:lnTo>
                <a:lnTo>
                  <a:pt x="3630484" y="1446306"/>
                </a:lnTo>
                <a:lnTo>
                  <a:pt x="3634965" y="1442464"/>
                </a:lnTo>
                <a:cubicBezTo>
                  <a:pt x="3639660" y="1439050"/>
                  <a:pt x="3643929" y="1437058"/>
                  <a:pt x="3647983" y="1436062"/>
                </a:cubicBezTo>
                <a:cubicBezTo>
                  <a:pt x="3650971" y="1435351"/>
                  <a:pt x="3653746" y="1435209"/>
                  <a:pt x="3656307" y="1435635"/>
                </a:cubicBezTo>
                <a:cubicBezTo>
                  <a:pt x="3663990" y="1436632"/>
                  <a:pt x="3669753" y="1441753"/>
                  <a:pt x="3673380" y="1447017"/>
                </a:cubicBezTo>
                <a:cubicBezTo>
                  <a:pt x="3672740" y="1447301"/>
                  <a:pt x="3672954" y="1448298"/>
                  <a:pt x="3673380" y="1449862"/>
                </a:cubicBezTo>
                <a:lnTo>
                  <a:pt x="3674234" y="1453277"/>
                </a:lnTo>
                <a:lnTo>
                  <a:pt x="3675301" y="1450289"/>
                </a:lnTo>
                <a:cubicBezTo>
                  <a:pt x="3675728" y="1448440"/>
                  <a:pt x="3675728" y="1446732"/>
                  <a:pt x="3675088" y="1446163"/>
                </a:cubicBezTo>
                <a:cubicBezTo>
                  <a:pt x="3676155" y="1446163"/>
                  <a:pt x="3677222" y="1444883"/>
                  <a:pt x="3677222" y="1444883"/>
                </a:cubicBezTo>
                <a:cubicBezTo>
                  <a:pt x="3678503" y="1446021"/>
                  <a:pt x="3678503" y="1447159"/>
                  <a:pt x="3678716" y="1448298"/>
                </a:cubicBezTo>
                <a:cubicBezTo>
                  <a:pt x="3677863" y="1449578"/>
                  <a:pt x="3676582" y="1449578"/>
                  <a:pt x="3675728" y="1450858"/>
                </a:cubicBezTo>
                <a:cubicBezTo>
                  <a:pt x="3675728" y="1452138"/>
                  <a:pt x="3676155" y="1454415"/>
                  <a:pt x="3675301" y="1455695"/>
                </a:cubicBezTo>
                <a:lnTo>
                  <a:pt x="3675088" y="1455837"/>
                </a:lnTo>
                <a:cubicBezTo>
                  <a:pt x="3676368" y="1460817"/>
                  <a:pt x="3677222" y="1467077"/>
                  <a:pt x="3674875" y="1473479"/>
                </a:cubicBezTo>
                <a:cubicBezTo>
                  <a:pt x="3673167" y="1477747"/>
                  <a:pt x="3670180" y="1482015"/>
                  <a:pt x="3664844" y="1485856"/>
                </a:cubicBezTo>
                <a:cubicBezTo>
                  <a:pt x="3658654" y="1489982"/>
                  <a:pt x="3651612" y="1493397"/>
                  <a:pt x="3644782" y="1492970"/>
                </a:cubicBezTo>
                <a:lnTo>
                  <a:pt x="3641155" y="1491832"/>
                </a:lnTo>
                <a:lnTo>
                  <a:pt x="3641795" y="1498376"/>
                </a:lnTo>
                <a:cubicBezTo>
                  <a:pt x="3641368" y="1501221"/>
                  <a:pt x="3640300" y="1503925"/>
                  <a:pt x="3637953" y="1506058"/>
                </a:cubicBezTo>
                <a:cubicBezTo>
                  <a:pt x="3627495" y="1506770"/>
                  <a:pt x="3620026" y="1492258"/>
                  <a:pt x="3619599" y="1483865"/>
                </a:cubicBezTo>
                <a:cubicBezTo>
                  <a:pt x="3621306" y="1481731"/>
                  <a:pt x="3623013" y="1480308"/>
                  <a:pt x="3624721" y="1479454"/>
                </a:cubicBezTo>
                <a:lnTo>
                  <a:pt x="3625575" y="1479312"/>
                </a:lnTo>
                <a:lnTo>
                  <a:pt x="3625148" y="1478458"/>
                </a:lnTo>
                <a:cubicBezTo>
                  <a:pt x="3621520" y="1474902"/>
                  <a:pt x="3623653" y="1475613"/>
                  <a:pt x="3622373" y="1472767"/>
                </a:cubicBezTo>
                <a:cubicBezTo>
                  <a:pt x="3620879" y="1469922"/>
                  <a:pt x="3617465" y="1466366"/>
                  <a:pt x="3615330" y="1465654"/>
                </a:cubicBezTo>
                <a:lnTo>
                  <a:pt x="3617678" y="1463236"/>
                </a:lnTo>
                <a:lnTo>
                  <a:pt x="3616611" y="1461386"/>
                </a:lnTo>
                <a:cubicBezTo>
                  <a:pt x="3618318" y="1460959"/>
                  <a:pt x="3616825" y="1457118"/>
                  <a:pt x="3617251" y="1454415"/>
                </a:cubicBezTo>
                <a:cubicBezTo>
                  <a:pt x="3618318" y="1452850"/>
                  <a:pt x="3619172" y="1451427"/>
                  <a:pt x="3620026" y="1450431"/>
                </a:cubicBezTo>
                <a:lnTo>
                  <a:pt x="3620239" y="1450289"/>
                </a:lnTo>
                <a:lnTo>
                  <a:pt x="3619599" y="1442464"/>
                </a:lnTo>
                <a:cubicBezTo>
                  <a:pt x="3619813" y="1438765"/>
                  <a:pt x="3620879" y="1435635"/>
                  <a:pt x="3623227" y="1433643"/>
                </a:cubicBezTo>
                <a:lnTo>
                  <a:pt x="3626215" y="1432363"/>
                </a:lnTo>
                <a:lnTo>
                  <a:pt x="3623653" y="1429091"/>
                </a:lnTo>
                <a:cubicBezTo>
                  <a:pt x="3622800" y="1427384"/>
                  <a:pt x="3622373" y="1425534"/>
                  <a:pt x="3623227" y="1424254"/>
                </a:cubicBezTo>
                <a:close/>
                <a:moveTo>
                  <a:pt x="1052801" y="1424139"/>
                </a:moveTo>
                <a:cubicBezTo>
                  <a:pt x="1055589" y="1428011"/>
                  <a:pt x="1051562" y="1433433"/>
                  <a:pt x="1047225" y="1432813"/>
                </a:cubicBezTo>
                <a:cubicBezTo>
                  <a:pt x="1046502" y="1431884"/>
                  <a:pt x="1045056" y="1430800"/>
                  <a:pt x="1044540" y="1429096"/>
                </a:cubicBezTo>
                <a:cubicBezTo>
                  <a:pt x="1046295" y="1425069"/>
                  <a:pt x="1049393" y="1423674"/>
                  <a:pt x="1052801" y="1424139"/>
                </a:cubicBezTo>
                <a:close/>
                <a:moveTo>
                  <a:pt x="1223793" y="1423829"/>
                </a:moveTo>
                <a:cubicBezTo>
                  <a:pt x="1229678" y="1427237"/>
                  <a:pt x="1224826" y="1432349"/>
                  <a:pt x="1221315" y="1431884"/>
                </a:cubicBezTo>
                <a:cubicBezTo>
                  <a:pt x="1220592" y="1431109"/>
                  <a:pt x="1219972" y="1430180"/>
                  <a:pt x="1219766" y="1429250"/>
                </a:cubicBezTo>
                <a:cubicBezTo>
                  <a:pt x="1219250" y="1426617"/>
                  <a:pt x="1221108" y="1423984"/>
                  <a:pt x="1223793" y="1423829"/>
                </a:cubicBezTo>
                <a:close/>
                <a:moveTo>
                  <a:pt x="5538242" y="1423542"/>
                </a:moveTo>
                <a:cubicBezTo>
                  <a:pt x="5549981" y="1426957"/>
                  <a:pt x="5548700" y="1441610"/>
                  <a:pt x="5541230" y="1443603"/>
                </a:cubicBezTo>
                <a:cubicBezTo>
                  <a:pt x="5538670" y="1444314"/>
                  <a:pt x="5535468" y="1443460"/>
                  <a:pt x="5531840" y="1440330"/>
                </a:cubicBezTo>
                <a:cubicBezTo>
                  <a:pt x="5535255" y="1433217"/>
                  <a:pt x="5532267" y="1427668"/>
                  <a:pt x="5538242" y="1423542"/>
                </a:cubicBezTo>
                <a:close/>
                <a:moveTo>
                  <a:pt x="4131380" y="1423542"/>
                </a:moveTo>
                <a:cubicBezTo>
                  <a:pt x="4135647" y="1424538"/>
                  <a:pt x="4141623" y="1428806"/>
                  <a:pt x="4144185" y="1431510"/>
                </a:cubicBezTo>
                <a:cubicBezTo>
                  <a:pt x="4140983" y="1433643"/>
                  <a:pt x="4131593" y="1427526"/>
                  <a:pt x="4127964" y="1423827"/>
                </a:cubicBezTo>
                <a:cubicBezTo>
                  <a:pt x="4128818" y="1423258"/>
                  <a:pt x="4130099" y="1423116"/>
                  <a:pt x="4131380" y="1423542"/>
                </a:cubicBezTo>
                <a:close/>
                <a:moveTo>
                  <a:pt x="4794902" y="1422547"/>
                </a:moveTo>
                <a:cubicBezTo>
                  <a:pt x="4797035" y="1425392"/>
                  <a:pt x="4799597" y="1422404"/>
                  <a:pt x="4801518" y="1426530"/>
                </a:cubicBezTo>
                <a:cubicBezTo>
                  <a:pt x="4800237" y="1435920"/>
                  <a:pt x="4780176" y="1445879"/>
                  <a:pt x="4772065" y="1435493"/>
                </a:cubicBezTo>
                <a:cubicBezTo>
                  <a:pt x="4779535" y="1432363"/>
                  <a:pt x="4786792" y="1430371"/>
                  <a:pt x="4794902" y="1422547"/>
                </a:cubicBezTo>
                <a:close/>
                <a:moveTo>
                  <a:pt x="1594341" y="1422338"/>
                </a:moveTo>
                <a:cubicBezTo>
                  <a:pt x="1596626" y="1421273"/>
                  <a:pt x="1599388" y="1421351"/>
                  <a:pt x="1601401" y="1423365"/>
                </a:cubicBezTo>
                <a:cubicBezTo>
                  <a:pt x="1600472" y="1425069"/>
                  <a:pt x="1600369" y="1426772"/>
                  <a:pt x="1599439" y="1428476"/>
                </a:cubicBezTo>
                <a:cubicBezTo>
                  <a:pt x="1596032" y="1428631"/>
                  <a:pt x="1593347" y="1432193"/>
                  <a:pt x="1590146" y="1428166"/>
                </a:cubicBezTo>
                <a:cubicBezTo>
                  <a:pt x="1590249" y="1425611"/>
                  <a:pt x="1592056" y="1423403"/>
                  <a:pt x="1594341" y="1422338"/>
                </a:cubicBezTo>
                <a:close/>
                <a:moveTo>
                  <a:pt x="3688534" y="1421835"/>
                </a:moveTo>
                <a:cubicBezTo>
                  <a:pt x="3690881" y="1420697"/>
                  <a:pt x="3701552" y="1428379"/>
                  <a:pt x="3697070" y="1431652"/>
                </a:cubicBezTo>
                <a:cubicBezTo>
                  <a:pt x="3692588" y="1433786"/>
                  <a:pt x="3687680" y="1424111"/>
                  <a:pt x="3688534" y="1421835"/>
                </a:cubicBezTo>
                <a:close/>
                <a:moveTo>
                  <a:pt x="3855214" y="1421693"/>
                </a:moveTo>
                <a:cubicBezTo>
                  <a:pt x="3855427" y="1423400"/>
                  <a:pt x="3855641" y="1424965"/>
                  <a:pt x="3856495" y="1423969"/>
                </a:cubicBezTo>
                <a:cubicBezTo>
                  <a:pt x="3856708" y="1425534"/>
                  <a:pt x="3856495" y="1426957"/>
                  <a:pt x="3855855" y="1428095"/>
                </a:cubicBezTo>
                <a:cubicBezTo>
                  <a:pt x="3855427" y="1429091"/>
                  <a:pt x="3854574" y="1430087"/>
                  <a:pt x="3853294" y="1430798"/>
                </a:cubicBezTo>
                <a:cubicBezTo>
                  <a:pt x="3851799" y="1431225"/>
                  <a:pt x="3849879" y="1429945"/>
                  <a:pt x="3847744" y="1427099"/>
                </a:cubicBezTo>
                <a:cubicBezTo>
                  <a:pt x="3848171" y="1424538"/>
                  <a:pt x="3852866" y="1423258"/>
                  <a:pt x="3855214" y="1421693"/>
                </a:cubicBezTo>
                <a:close/>
                <a:moveTo>
                  <a:pt x="3964485" y="1420697"/>
                </a:moveTo>
                <a:cubicBezTo>
                  <a:pt x="3965766" y="1420412"/>
                  <a:pt x="3967687" y="1421551"/>
                  <a:pt x="3970034" y="1422974"/>
                </a:cubicBezTo>
                <a:cubicBezTo>
                  <a:pt x="3968113" y="1427811"/>
                  <a:pt x="3965552" y="1427811"/>
                  <a:pt x="3961071" y="1426246"/>
                </a:cubicBezTo>
                <a:cubicBezTo>
                  <a:pt x="3962137" y="1422404"/>
                  <a:pt x="3963205" y="1420839"/>
                  <a:pt x="3964485" y="1420697"/>
                </a:cubicBezTo>
                <a:close/>
                <a:moveTo>
                  <a:pt x="5762547" y="1420555"/>
                </a:moveTo>
                <a:cubicBezTo>
                  <a:pt x="5762333" y="1423258"/>
                  <a:pt x="5763827" y="1423684"/>
                  <a:pt x="5761480" y="1427384"/>
                </a:cubicBezTo>
                <a:cubicBezTo>
                  <a:pt x="5759985" y="1426815"/>
                  <a:pt x="5758492" y="1426388"/>
                  <a:pt x="5757211" y="1425819"/>
                </a:cubicBezTo>
                <a:cubicBezTo>
                  <a:pt x="5758278" y="1422689"/>
                  <a:pt x="5759559" y="1419559"/>
                  <a:pt x="5762547" y="1420555"/>
                </a:cubicBezTo>
                <a:close/>
                <a:moveTo>
                  <a:pt x="3621520" y="1420270"/>
                </a:moveTo>
                <a:cubicBezTo>
                  <a:pt x="3621946" y="1420412"/>
                  <a:pt x="3622160" y="1420697"/>
                  <a:pt x="3622160" y="1420697"/>
                </a:cubicBezTo>
                <a:cubicBezTo>
                  <a:pt x="3622587" y="1421266"/>
                  <a:pt x="3623227" y="1421835"/>
                  <a:pt x="3623441" y="1422404"/>
                </a:cubicBezTo>
                <a:cubicBezTo>
                  <a:pt x="3623653" y="1423116"/>
                  <a:pt x="3623653" y="1423684"/>
                  <a:pt x="3623013" y="1424254"/>
                </a:cubicBezTo>
                <a:cubicBezTo>
                  <a:pt x="3623013" y="1424254"/>
                  <a:pt x="3621733" y="1424254"/>
                  <a:pt x="3619813" y="1421835"/>
                </a:cubicBezTo>
                <a:cubicBezTo>
                  <a:pt x="3620879" y="1421835"/>
                  <a:pt x="3621093" y="1420697"/>
                  <a:pt x="3621093" y="1420697"/>
                </a:cubicBezTo>
                <a:cubicBezTo>
                  <a:pt x="3621093" y="1420697"/>
                  <a:pt x="3621093" y="1420555"/>
                  <a:pt x="3620026" y="1420555"/>
                </a:cubicBezTo>
                <a:cubicBezTo>
                  <a:pt x="3620453" y="1419986"/>
                  <a:pt x="3621093" y="1420128"/>
                  <a:pt x="3621520" y="1420270"/>
                </a:cubicBezTo>
                <a:close/>
                <a:moveTo>
                  <a:pt x="967614" y="1420267"/>
                </a:moveTo>
                <a:cubicBezTo>
                  <a:pt x="969989" y="1419492"/>
                  <a:pt x="975771" y="1419957"/>
                  <a:pt x="978559" y="1423519"/>
                </a:cubicBezTo>
                <a:cubicBezTo>
                  <a:pt x="977320" y="1428631"/>
                  <a:pt x="973810" y="1429096"/>
                  <a:pt x="968750" y="1426462"/>
                </a:cubicBezTo>
                <a:cubicBezTo>
                  <a:pt x="968750" y="1424604"/>
                  <a:pt x="968027" y="1423055"/>
                  <a:pt x="967614" y="1420267"/>
                </a:cubicBezTo>
                <a:close/>
                <a:moveTo>
                  <a:pt x="5128050" y="1419843"/>
                </a:moveTo>
                <a:cubicBezTo>
                  <a:pt x="5128263" y="1421124"/>
                  <a:pt x="5128690" y="1423400"/>
                  <a:pt x="5131038" y="1424538"/>
                </a:cubicBezTo>
                <a:cubicBezTo>
                  <a:pt x="5129117" y="1426957"/>
                  <a:pt x="5127196" y="1429518"/>
                  <a:pt x="5124635" y="1427241"/>
                </a:cubicBezTo>
                <a:cubicBezTo>
                  <a:pt x="5123355" y="1426103"/>
                  <a:pt x="5122074" y="1424965"/>
                  <a:pt x="5121647" y="1422689"/>
                </a:cubicBezTo>
                <a:cubicBezTo>
                  <a:pt x="5123568" y="1420128"/>
                  <a:pt x="5127196" y="1421124"/>
                  <a:pt x="5128050" y="1419843"/>
                </a:cubicBezTo>
                <a:close/>
                <a:moveTo>
                  <a:pt x="986820" y="1419647"/>
                </a:moveTo>
                <a:cubicBezTo>
                  <a:pt x="987439" y="1419492"/>
                  <a:pt x="988266" y="1419647"/>
                  <a:pt x="989195" y="1419957"/>
                </a:cubicBezTo>
                <a:cubicBezTo>
                  <a:pt x="988988" y="1425223"/>
                  <a:pt x="991570" y="1430180"/>
                  <a:pt x="989711" y="1432504"/>
                </a:cubicBezTo>
                <a:cubicBezTo>
                  <a:pt x="989092" y="1433278"/>
                  <a:pt x="988059" y="1433588"/>
                  <a:pt x="986200" y="1433743"/>
                </a:cubicBezTo>
                <a:cubicBezTo>
                  <a:pt x="985478" y="1432349"/>
                  <a:pt x="984342" y="1429096"/>
                  <a:pt x="984135" y="1425998"/>
                </a:cubicBezTo>
                <a:cubicBezTo>
                  <a:pt x="983825" y="1422900"/>
                  <a:pt x="984445" y="1420112"/>
                  <a:pt x="986820" y="1419647"/>
                </a:cubicBezTo>
                <a:close/>
                <a:moveTo>
                  <a:pt x="4640172" y="1419417"/>
                </a:moveTo>
                <a:cubicBezTo>
                  <a:pt x="4641666" y="1419843"/>
                  <a:pt x="4642520" y="1420982"/>
                  <a:pt x="4642520" y="1420982"/>
                </a:cubicBezTo>
                <a:cubicBezTo>
                  <a:pt x="4642520" y="1425250"/>
                  <a:pt x="4641239" y="1429091"/>
                  <a:pt x="4636544" y="1427811"/>
                </a:cubicBezTo>
                <a:cubicBezTo>
                  <a:pt x="4634837" y="1427384"/>
                  <a:pt x="4633343" y="1426957"/>
                  <a:pt x="4634196" y="1426388"/>
                </a:cubicBezTo>
                <a:cubicBezTo>
                  <a:pt x="4633556" y="1425392"/>
                  <a:pt x="4634410" y="1424681"/>
                  <a:pt x="4634623" y="1423116"/>
                </a:cubicBezTo>
                <a:cubicBezTo>
                  <a:pt x="4635903" y="1420839"/>
                  <a:pt x="4638465" y="1418990"/>
                  <a:pt x="4640172" y="1419417"/>
                </a:cubicBezTo>
                <a:close/>
                <a:moveTo>
                  <a:pt x="4621178" y="1419274"/>
                </a:moveTo>
                <a:cubicBezTo>
                  <a:pt x="4625446" y="1421693"/>
                  <a:pt x="4626300" y="1427811"/>
                  <a:pt x="4624592" y="1432078"/>
                </a:cubicBezTo>
                <a:lnTo>
                  <a:pt x="4623739" y="1433217"/>
                </a:lnTo>
                <a:lnTo>
                  <a:pt x="4623739" y="1436489"/>
                </a:lnTo>
                <a:cubicBezTo>
                  <a:pt x="4623099" y="1437769"/>
                  <a:pt x="4621604" y="1438481"/>
                  <a:pt x="4619470" y="1438338"/>
                </a:cubicBezTo>
                <a:cubicBezTo>
                  <a:pt x="4616056" y="1437769"/>
                  <a:pt x="4614348" y="1436062"/>
                  <a:pt x="4613495" y="1433501"/>
                </a:cubicBezTo>
                <a:lnTo>
                  <a:pt x="4613068" y="1428237"/>
                </a:lnTo>
                <a:lnTo>
                  <a:pt x="4611147" y="1429802"/>
                </a:lnTo>
                <a:cubicBezTo>
                  <a:pt x="4608373" y="1431225"/>
                  <a:pt x="4607519" y="1428806"/>
                  <a:pt x="4605598" y="1424965"/>
                </a:cubicBezTo>
                <a:cubicBezTo>
                  <a:pt x="4607519" y="1423400"/>
                  <a:pt x="4609226" y="1422974"/>
                  <a:pt x="4610507" y="1423400"/>
                </a:cubicBezTo>
                <a:lnTo>
                  <a:pt x="4612854" y="1425534"/>
                </a:lnTo>
                <a:lnTo>
                  <a:pt x="4612641" y="1424538"/>
                </a:lnTo>
                <a:cubicBezTo>
                  <a:pt x="4615202" y="1424111"/>
                  <a:pt x="4616909" y="1422831"/>
                  <a:pt x="4619470" y="1422404"/>
                </a:cubicBezTo>
                <a:close/>
                <a:moveTo>
                  <a:pt x="1085946" y="1418717"/>
                </a:moveTo>
                <a:cubicBezTo>
                  <a:pt x="1089354" y="1418717"/>
                  <a:pt x="1092038" y="1421971"/>
                  <a:pt x="1089663" y="1425533"/>
                </a:cubicBezTo>
                <a:cubicBezTo>
                  <a:pt x="1084707" y="1425069"/>
                  <a:pt x="1083055" y="1423055"/>
                  <a:pt x="1082538" y="1420112"/>
                </a:cubicBezTo>
                <a:cubicBezTo>
                  <a:pt x="1083571" y="1419182"/>
                  <a:pt x="1084810" y="1418872"/>
                  <a:pt x="1085946" y="1418717"/>
                </a:cubicBezTo>
                <a:close/>
                <a:moveTo>
                  <a:pt x="1704038" y="1418408"/>
                </a:moveTo>
                <a:cubicBezTo>
                  <a:pt x="1705690" y="1418563"/>
                  <a:pt x="1708065" y="1421506"/>
                  <a:pt x="1709613" y="1423365"/>
                </a:cubicBezTo>
                <a:cubicBezTo>
                  <a:pt x="1709407" y="1425843"/>
                  <a:pt x="1707445" y="1428166"/>
                  <a:pt x="1704761" y="1429405"/>
                </a:cubicBezTo>
                <a:cubicBezTo>
                  <a:pt x="1703315" y="1427392"/>
                  <a:pt x="1702592" y="1425688"/>
                  <a:pt x="1702489" y="1423829"/>
                </a:cubicBezTo>
                <a:cubicBezTo>
                  <a:pt x="1702386" y="1421971"/>
                  <a:pt x="1703005" y="1420267"/>
                  <a:pt x="1704038" y="1418408"/>
                </a:cubicBezTo>
                <a:close/>
                <a:moveTo>
                  <a:pt x="1580646" y="1418408"/>
                </a:moveTo>
                <a:cubicBezTo>
                  <a:pt x="1581782" y="1418098"/>
                  <a:pt x="1583331" y="1418717"/>
                  <a:pt x="1584467" y="1420267"/>
                </a:cubicBezTo>
                <a:cubicBezTo>
                  <a:pt x="1583228" y="1420576"/>
                  <a:pt x="1583125" y="1422590"/>
                  <a:pt x="1581886" y="1423055"/>
                </a:cubicBezTo>
                <a:cubicBezTo>
                  <a:pt x="1581886" y="1423055"/>
                  <a:pt x="1579098" y="1422745"/>
                  <a:pt x="1579098" y="1422745"/>
                </a:cubicBezTo>
                <a:cubicBezTo>
                  <a:pt x="1578994" y="1422126"/>
                  <a:pt x="1578891" y="1421815"/>
                  <a:pt x="1578891" y="1421815"/>
                </a:cubicBezTo>
                <a:cubicBezTo>
                  <a:pt x="1578994" y="1421661"/>
                  <a:pt x="1579201" y="1421815"/>
                  <a:pt x="1579614" y="1421971"/>
                </a:cubicBezTo>
                <a:cubicBezTo>
                  <a:pt x="1579717" y="1419957"/>
                  <a:pt x="1580130" y="1419182"/>
                  <a:pt x="1580646" y="1418408"/>
                </a:cubicBezTo>
                <a:close/>
                <a:moveTo>
                  <a:pt x="1157296" y="1418098"/>
                </a:moveTo>
                <a:cubicBezTo>
                  <a:pt x="1159155" y="1416704"/>
                  <a:pt x="1162046" y="1416704"/>
                  <a:pt x="1163491" y="1420267"/>
                </a:cubicBezTo>
                <a:cubicBezTo>
                  <a:pt x="1160600" y="1422435"/>
                  <a:pt x="1158741" y="1423829"/>
                  <a:pt x="1156883" y="1424294"/>
                </a:cubicBezTo>
                <a:cubicBezTo>
                  <a:pt x="1155644" y="1423210"/>
                  <a:pt x="1155334" y="1422126"/>
                  <a:pt x="1155437" y="1420886"/>
                </a:cubicBezTo>
                <a:cubicBezTo>
                  <a:pt x="1155644" y="1419802"/>
                  <a:pt x="1156367" y="1418717"/>
                  <a:pt x="1157296" y="1418098"/>
                </a:cubicBezTo>
                <a:close/>
                <a:moveTo>
                  <a:pt x="4109824" y="1417710"/>
                </a:moveTo>
                <a:cubicBezTo>
                  <a:pt x="4111105" y="1418990"/>
                  <a:pt x="4110891" y="1421409"/>
                  <a:pt x="4111958" y="1422831"/>
                </a:cubicBezTo>
                <a:cubicBezTo>
                  <a:pt x="4110891" y="1422547"/>
                  <a:pt x="4109397" y="1423542"/>
                  <a:pt x="4108330" y="1423400"/>
                </a:cubicBezTo>
                <a:cubicBezTo>
                  <a:pt x="4106196" y="1420697"/>
                  <a:pt x="4108757" y="1417425"/>
                  <a:pt x="4109824" y="1417710"/>
                </a:cubicBezTo>
                <a:close/>
                <a:moveTo>
                  <a:pt x="3483864" y="1417710"/>
                </a:moveTo>
                <a:lnTo>
                  <a:pt x="3484078" y="1421409"/>
                </a:lnTo>
                <a:lnTo>
                  <a:pt x="3485571" y="1421693"/>
                </a:lnTo>
                <a:cubicBezTo>
                  <a:pt x="3486425" y="1422262"/>
                  <a:pt x="3486852" y="1422974"/>
                  <a:pt x="3487278" y="1424111"/>
                </a:cubicBezTo>
                <a:cubicBezTo>
                  <a:pt x="3486638" y="1423684"/>
                  <a:pt x="3485358" y="1423542"/>
                  <a:pt x="3484291" y="1423258"/>
                </a:cubicBezTo>
                <a:lnTo>
                  <a:pt x="3484078" y="1423258"/>
                </a:lnTo>
                <a:lnTo>
                  <a:pt x="3484718" y="1431367"/>
                </a:lnTo>
                <a:cubicBezTo>
                  <a:pt x="3485144" y="1436205"/>
                  <a:pt x="3484078" y="1441184"/>
                  <a:pt x="3483437" y="1442322"/>
                </a:cubicBezTo>
                <a:lnTo>
                  <a:pt x="3483010" y="1442322"/>
                </a:lnTo>
                <a:lnTo>
                  <a:pt x="3483010" y="1442606"/>
                </a:lnTo>
                <a:lnTo>
                  <a:pt x="3483010" y="1442749"/>
                </a:lnTo>
                <a:lnTo>
                  <a:pt x="3483223" y="1445309"/>
                </a:lnTo>
                <a:lnTo>
                  <a:pt x="3483864" y="1445309"/>
                </a:lnTo>
                <a:cubicBezTo>
                  <a:pt x="3484504" y="1445452"/>
                  <a:pt x="3485571" y="1445879"/>
                  <a:pt x="3486211" y="1446590"/>
                </a:cubicBezTo>
                <a:cubicBezTo>
                  <a:pt x="3486852" y="1447159"/>
                  <a:pt x="3487278" y="1447871"/>
                  <a:pt x="3486852" y="1448724"/>
                </a:cubicBezTo>
                <a:cubicBezTo>
                  <a:pt x="3485998" y="1449435"/>
                  <a:pt x="3486425" y="1450431"/>
                  <a:pt x="3485358" y="1451000"/>
                </a:cubicBezTo>
                <a:lnTo>
                  <a:pt x="3484291" y="1452423"/>
                </a:lnTo>
                <a:lnTo>
                  <a:pt x="3484718" y="1455695"/>
                </a:lnTo>
                <a:lnTo>
                  <a:pt x="3484931" y="1464516"/>
                </a:lnTo>
                <a:lnTo>
                  <a:pt x="3493894" y="1453988"/>
                </a:lnTo>
                <a:lnTo>
                  <a:pt x="3489840" y="1451854"/>
                </a:lnTo>
                <a:cubicBezTo>
                  <a:pt x="3488346" y="1450716"/>
                  <a:pt x="3487492" y="1449151"/>
                  <a:pt x="3486852" y="1447159"/>
                </a:cubicBezTo>
                <a:cubicBezTo>
                  <a:pt x="3488132" y="1445879"/>
                  <a:pt x="3489413" y="1445168"/>
                  <a:pt x="3491120" y="1444883"/>
                </a:cubicBezTo>
                <a:lnTo>
                  <a:pt x="3495389" y="1445025"/>
                </a:lnTo>
                <a:lnTo>
                  <a:pt x="3494749" y="1436347"/>
                </a:lnTo>
                <a:lnTo>
                  <a:pt x="3499017" y="1423400"/>
                </a:lnTo>
                <a:lnTo>
                  <a:pt x="3491974" y="1420839"/>
                </a:lnTo>
                <a:lnTo>
                  <a:pt x="3489626" y="1419843"/>
                </a:lnTo>
                <a:lnTo>
                  <a:pt x="3489626" y="1421266"/>
                </a:lnTo>
                <a:lnTo>
                  <a:pt x="3489199" y="1419701"/>
                </a:lnTo>
                <a:close/>
                <a:moveTo>
                  <a:pt x="1122395" y="1417479"/>
                </a:moveTo>
                <a:cubicBezTo>
                  <a:pt x="1126319" y="1421506"/>
                  <a:pt x="1121982" y="1424139"/>
                  <a:pt x="1120743" y="1429250"/>
                </a:cubicBezTo>
                <a:cubicBezTo>
                  <a:pt x="1118472" y="1428476"/>
                  <a:pt x="1117232" y="1426152"/>
                  <a:pt x="1116820" y="1423984"/>
                </a:cubicBezTo>
                <a:cubicBezTo>
                  <a:pt x="1116510" y="1421661"/>
                  <a:pt x="1117026" y="1419337"/>
                  <a:pt x="1118472" y="1418098"/>
                </a:cubicBezTo>
                <a:cubicBezTo>
                  <a:pt x="1119401" y="1417323"/>
                  <a:pt x="1120743" y="1416859"/>
                  <a:pt x="1122395" y="1417479"/>
                </a:cubicBezTo>
                <a:close/>
                <a:moveTo>
                  <a:pt x="4600049" y="1417425"/>
                </a:moveTo>
                <a:cubicBezTo>
                  <a:pt x="4601116" y="1417567"/>
                  <a:pt x="4602183" y="1418279"/>
                  <a:pt x="4603464" y="1419559"/>
                </a:cubicBezTo>
                <a:cubicBezTo>
                  <a:pt x="4604531" y="1419559"/>
                  <a:pt x="4605812" y="1424396"/>
                  <a:pt x="4604745" y="1425534"/>
                </a:cubicBezTo>
                <a:cubicBezTo>
                  <a:pt x="4602610" y="1429091"/>
                  <a:pt x="4599195" y="1426388"/>
                  <a:pt x="4594500" y="1424965"/>
                </a:cubicBezTo>
                <a:cubicBezTo>
                  <a:pt x="4595567" y="1423827"/>
                  <a:pt x="4594500" y="1422689"/>
                  <a:pt x="4593219" y="1421409"/>
                </a:cubicBezTo>
                <a:cubicBezTo>
                  <a:pt x="4594927" y="1419701"/>
                  <a:pt x="4597062" y="1416714"/>
                  <a:pt x="4600049" y="1417425"/>
                </a:cubicBezTo>
                <a:close/>
                <a:moveTo>
                  <a:pt x="1552251" y="1417323"/>
                </a:moveTo>
                <a:cubicBezTo>
                  <a:pt x="1555349" y="1415155"/>
                  <a:pt x="1559995" y="1416859"/>
                  <a:pt x="1560821" y="1420267"/>
                </a:cubicBezTo>
                <a:cubicBezTo>
                  <a:pt x="1561131" y="1421661"/>
                  <a:pt x="1560821" y="1423519"/>
                  <a:pt x="1559169" y="1425378"/>
                </a:cubicBezTo>
                <a:cubicBezTo>
                  <a:pt x="1554936" y="1426152"/>
                  <a:pt x="1552871" y="1422126"/>
                  <a:pt x="1549876" y="1421041"/>
                </a:cubicBezTo>
                <a:cubicBezTo>
                  <a:pt x="1550393" y="1419182"/>
                  <a:pt x="1551218" y="1418098"/>
                  <a:pt x="1552251" y="1417323"/>
                </a:cubicBezTo>
                <a:close/>
                <a:moveTo>
                  <a:pt x="1411823" y="1417169"/>
                </a:moveTo>
                <a:cubicBezTo>
                  <a:pt x="1413474" y="1419182"/>
                  <a:pt x="1418018" y="1419647"/>
                  <a:pt x="1416366" y="1423829"/>
                </a:cubicBezTo>
                <a:cubicBezTo>
                  <a:pt x="1404801" y="1423365"/>
                  <a:pt x="1399845" y="1438544"/>
                  <a:pt x="1390242" y="1435292"/>
                </a:cubicBezTo>
                <a:cubicBezTo>
                  <a:pt x="1395714" y="1428321"/>
                  <a:pt x="1399845" y="1420576"/>
                  <a:pt x="1411823" y="1417169"/>
                </a:cubicBezTo>
                <a:close/>
                <a:moveTo>
                  <a:pt x="5424063" y="1416002"/>
                </a:moveTo>
                <a:cubicBezTo>
                  <a:pt x="5427691" y="1419559"/>
                  <a:pt x="5431106" y="1423684"/>
                  <a:pt x="5433453" y="1428948"/>
                </a:cubicBezTo>
                <a:cubicBezTo>
                  <a:pt x="5436014" y="1434070"/>
                  <a:pt x="5437508" y="1440330"/>
                  <a:pt x="5437508" y="1448013"/>
                </a:cubicBezTo>
                <a:cubicBezTo>
                  <a:pt x="5431533" y="1453845"/>
                  <a:pt x="5425770" y="1451712"/>
                  <a:pt x="5421929" y="1446306"/>
                </a:cubicBezTo>
                <a:cubicBezTo>
                  <a:pt x="5415313" y="1437485"/>
                  <a:pt x="5413392" y="1419986"/>
                  <a:pt x="5424063" y="1416002"/>
                </a:cubicBezTo>
                <a:close/>
                <a:moveTo>
                  <a:pt x="4494406" y="1416002"/>
                </a:moveTo>
                <a:cubicBezTo>
                  <a:pt x="4499315" y="1416287"/>
                  <a:pt x="4504437" y="1419701"/>
                  <a:pt x="4507639" y="1423542"/>
                </a:cubicBezTo>
                <a:lnTo>
                  <a:pt x="4508706" y="1425677"/>
                </a:lnTo>
                <a:lnTo>
                  <a:pt x="4513187" y="1423542"/>
                </a:lnTo>
                <a:cubicBezTo>
                  <a:pt x="4513401" y="1424396"/>
                  <a:pt x="4512974" y="1424823"/>
                  <a:pt x="4512547" y="1425250"/>
                </a:cubicBezTo>
                <a:cubicBezTo>
                  <a:pt x="4511907" y="1425534"/>
                  <a:pt x="4511053" y="1425819"/>
                  <a:pt x="4510199" y="1426103"/>
                </a:cubicBezTo>
                <a:lnTo>
                  <a:pt x="4508919" y="1426388"/>
                </a:lnTo>
                <a:lnTo>
                  <a:pt x="4510199" y="1428806"/>
                </a:lnTo>
                <a:cubicBezTo>
                  <a:pt x="4507852" y="1433928"/>
                  <a:pt x="4504864" y="1436632"/>
                  <a:pt x="4501876" y="1437627"/>
                </a:cubicBezTo>
                <a:cubicBezTo>
                  <a:pt x="4492699" y="1440614"/>
                  <a:pt x="4483095" y="1427811"/>
                  <a:pt x="4489925" y="1416714"/>
                </a:cubicBezTo>
                <a:cubicBezTo>
                  <a:pt x="4491419" y="1416145"/>
                  <a:pt x="4492912" y="1415860"/>
                  <a:pt x="4494406" y="1416002"/>
                </a:cubicBezTo>
                <a:close/>
                <a:moveTo>
                  <a:pt x="5454368" y="1415718"/>
                </a:moveTo>
                <a:cubicBezTo>
                  <a:pt x="5456503" y="1416002"/>
                  <a:pt x="5457783" y="1416856"/>
                  <a:pt x="5458637" y="1417994"/>
                </a:cubicBezTo>
                <a:cubicBezTo>
                  <a:pt x="5460771" y="1421266"/>
                  <a:pt x="5457570" y="1427241"/>
                  <a:pt x="5454155" y="1428237"/>
                </a:cubicBezTo>
                <a:cubicBezTo>
                  <a:pt x="5449033" y="1426103"/>
                  <a:pt x="5450100" y="1418279"/>
                  <a:pt x="5454368" y="1415718"/>
                </a:cubicBezTo>
                <a:close/>
                <a:moveTo>
                  <a:pt x="5067652" y="1415718"/>
                </a:moveTo>
                <a:cubicBezTo>
                  <a:pt x="5068505" y="1416002"/>
                  <a:pt x="5068932" y="1416856"/>
                  <a:pt x="5069573" y="1418705"/>
                </a:cubicBezTo>
                <a:lnTo>
                  <a:pt x="5069573" y="1419274"/>
                </a:lnTo>
                <a:lnTo>
                  <a:pt x="5071707" y="1418421"/>
                </a:lnTo>
                <a:cubicBezTo>
                  <a:pt x="5071707" y="1419559"/>
                  <a:pt x="5071707" y="1420839"/>
                  <a:pt x="5072987" y="1420839"/>
                </a:cubicBezTo>
                <a:lnTo>
                  <a:pt x="5070640" y="1422689"/>
                </a:lnTo>
                <a:lnTo>
                  <a:pt x="5070853" y="1423684"/>
                </a:lnTo>
                <a:lnTo>
                  <a:pt x="5070640" y="1427526"/>
                </a:lnTo>
                <a:lnTo>
                  <a:pt x="5071067" y="1427811"/>
                </a:lnTo>
                <a:cubicBezTo>
                  <a:pt x="5071067" y="1427811"/>
                  <a:pt x="5075762" y="1434070"/>
                  <a:pt x="5071493" y="1439761"/>
                </a:cubicBezTo>
                <a:cubicBezTo>
                  <a:pt x="5070213" y="1438481"/>
                  <a:pt x="5063597" y="1445452"/>
                  <a:pt x="5058902" y="1442749"/>
                </a:cubicBezTo>
                <a:cubicBezTo>
                  <a:pt x="5056341" y="1441469"/>
                  <a:pt x="5055274" y="1440330"/>
                  <a:pt x="5052926" y="1438907"/>
                </a:cubicBezTo>
                <a:lnTo>
                  <a:pt x="5052072" y="1435635"/>
                </a:lnTo>
                <a:lnTo>
                  <a:pt x="5045456" y="1433074"/>
                </a:lnTo>
                <a:cubicBezTo>
                  <a:pt x="5044175" y="1431936"/>
                  <a:pt x="5041188" y="1427384"/>
                  <a:pt x="5042255" y="1426103"/>
                </a:cubicBezTo>
                <a:cubicBezTo>
                  <a:pt x="5043109" y="1424823"/>
                  <a:pt x="5044175" y="1424681"/>
                  <a:pt x="5045456" y="1424681"/>
                </a:cubicBezTo>
                <a:lnTo>
                  <a:pt x="5052072" y="1427668"/>
                </a:lnTo>
                <a:lnTo>
                  <a:pt x="5053353" y="1424681"/>
                </a:lnTo>
                <a:cubicBezTo>
                  <a:pt x="5054846" y="1422974"/>
                  <a:pt x="5056127" y="1421978"/>
                  <a:pt x="5057621" y="1421693"/>
                </a:cubicBezTo>
                <a:lnTo>
                  <a:pt x="5059329" y="1421693"/>
                </a:lnTo>
                <a:lnTo>
                  <a:pt x="5058902" y="1420270"/>
                </a:lnTo>
                <a:lnTo>
                  <a:pt x="5062530" y="1418421"/>
                </a:lnTo>
                <a:lnTo>
                  <a:pt x="5063810" y="1416287"/>
                </a:lnTo>
                <a:cubicBezTo>
                  <a:pt x="5065731" y="1415860"/>
                  <a:pt x="5066798" y="1415433"/>
                  <a:pt x="5067652" y="1415718"/>
                </a:cubicBezTo>
                <a:close/>
                <a:moveTo>
                  <a:pt x="5606964" y="1415291"/>
                </a:moveTo>
                <a:cubicBezTo>
                  <a:pt x="5610379" y="1415433"/>
                  <a:pt x="5615074" y="1419132"/>
                  <a:pt x="5615074" y="1422689"/>
                </a:cubicBezTo>
                <a:cubicBezTo>
                  <a:pt x="5613153" y="1426103"/>
                  <a:pt x="5610805" y="1424823"/>
                  <a:pt x="5609738" y="1427099"/>
                </a:cubicBezTo>
                <a:cubicBezTo>
                  <a:pt x="5605256" y="1423400"/>
                  <a:pt x="5605043" y="1419986"/>
                  <a:pt x="5606964" y="1415291"/>
                </a:cubicBezTo>
                <a:close/>
                <a:moveTo>
                  <a:pt x="5993254" y="1414295"/>
                </a:moveTo>
                <a:cubicBezTo>
                  <a:pt x="5996028" y="1418137"/>
                  <a:pt x="5991759" y="1426815"/>
                  <a:pt x="5986851" y="1427811"/>
                </a:cubicBezTo>
                <a:cubicBezTo>
                  <a:pt x="5990692" y="1420839"/>
                  <a:pt x="5987491" y="1415860"/>
                  <a:pt x="5993254" y="1414295"/>
                </a:cubicBezTo>
                <a:close/>
                <a:moveTo>
                  <a:pt x="3826616" y="1414153"/>
                </a:moveTo>
                <a:cubicBezTo>
                  <a:pt x="3829177" y="1413726"/>
                  <a:pt x="3831952" y="1414010"/>
                  <a:pt x="3834513" y="1415575"/>
                </a:cubicBezTo>
                <a:lnTo>
                  <a:pt x="3836647" y="1417425"/>
                </a:lnTo>
                <a:lnTo>
                  <a:pt x="3840488" y="1416998"/>
                </a:lnTo>
                <a:cubicBezTo>
                  <a:pt x="3840488" y="1416998"/>
                  <a:pt x="3840488" y="1416998"/>
                  <a:pt x="3841982" y="1417710"/>
                </a:cubicBezTo>
                <a:lnTo>
                  <a:pt x="3838141" y="1419132"/>
                </a:lnTo>
                <a:lnTo>
                  <a:pt x="3841128" y="1424254"/>
                </a:lnTo>
                <a:cubicBezTo>
                  <a:pt x="3842623" y="1426530"/>
                  <a:pt x="3841769" y="1425961"/>
                  <a:pt x="3842195" y="1427668"/>
                </a:cubicBezTo>
                <a:cubicBezTo>
                  <a:pt x="3842836" y="1429233"/>
                  <a:pt x="3844330" y="1431510"/>
                  <a:pt x="3845397" y="1432078"/>
                </a:cubicBezTo>
                <a:lnTo>
                  <a:pt x="3844543" y="1432932"/>
                </a:lnTo>
                <a:lnTo>
                  <a:pt x="3847104" y="1435493"/>
                </a:lnTo>
                <a:lnTo>
                  <a:pt x="3848599" y="1437343"/>
                </a:lnTo>
                <a:lnTo>
                  <a:pt x="3849452" y="1436915"/>
                </a:lnTo>
                <a:cubicBezTo>
                  <a:pt x="3851159" y="1436773"/>
                  <a:pt x="3852866" y="1437485"/>
                  <a:pt x="3853507" y="1438907"/>
                </a:cubicBezTo>
                <a:lnTo>
                  <a:pt x="3853080" y="1441042"/>
                </a:lnTo>
                <a:lnTo>
                  <a:pt x="3853294" y="1441753"/>
                </a:lnTo>
                <a:cubicBezTo>
                  <a:pt x="3854361" y="1443033"/>
                  <a:pt x="3859910" y="1446448"/>
                  <a:pt x="3861190" y="1445452"/>
                </a:cubicBezTo>
                <a:cubicBezTo>
                  <a:pt x="3861190" y="1446590"/>
                  <a:pt x="3862257" y="1448013"/>
                  <a:pt x="3862257" y="1448013"/>
                </a:cubicBezTo>
                <a:cubicBezTo>
                  <a:pt x="3860977" y="1449008"/>
                  <a:pt x="3859910" y="1448724"/>
                  <a:pt x="3858629" y="1448582"/>
                </a:cubicBezTo>
                <a:cubicBezTo>
                  <a:pt x="3857562" y="1447159"/>
                  <a:pt x="3857775" y="1446021"/>
                  <a:pt x="3856708" y="1444598"/>
                </a:cubicBezTo>
                <a:cubicBezTo>
                  <a:pt x="3855427" y="1444456"/>
                  <a:pt x="3853294" y="1444029"/>
                  <a:pt x="3852226" y="1442749"/>
                </a:cubicBezTo>
                <a:lnTo>
                  <a:pt x="3852013" y="1442464"/>
                </a:lnTo>
                <a:lnTo>
                  <a:pt x="3849452" y="1441753"/>
                </a:lnTo>
                <a:lnTo>
                  <a:pt x="3849879" y="1442749"/>
                </a:lnTo>
                <a:cubicBezTo>
                  <a:pt x="3847744" y="1447728"/>
                  <a:pt x="3844756" y="1446590"/>
                  <a:pt x="3839635" y="1446590"/>
                </a:cubicBezTo>
                <a:cubicBezTo>
                  <a:pt x="3840275" y="1445025"/>
                  <a:pt x="3835580" y="1443318"/>
                  <a:pt x="3834085" y="1442749"/>
                </a:cubicBezTo>
                <a:lnTo>
                  <a:pt x="3834085" y="1441753"/>
                </a:lnTo>
                <a:lnTo>
                  <a:pt x="3827470" y="1443318"/>
                </a:lnTo>
                <a:cubicBezTo>
                  <a:pt x="3825336" y="1443318"/>
                  <a:pt x="3823628" y="1442891"/>
                  <a:pt x="3821921" y="1442037"/>
                </a:cubicBezTo>
                <a:lnTo>
                  <a:pt x="3820427" y="1440330"/>
                </a:lnTo>
                <a:lnTo>
                  <a:pt x="3820427" y="1442749"/>
                </a:lnTo>
                <a:lnTo>
                  <a:pt x="3820214" y="1449578"/>
                </a:lnTo>
                <a:lnTo>
                  <a:pt x="3820214" y="1451712"/>
                </a:lnTo>
                <a:lnTo>
                  <a:pt x="3820214" y="1451854"/>
                </a:lnTo>
                <a:lnTo>
                  <a:pt x="3820214" y="1452281"/>
                </a:lnTo>
                <a:cubicBezTo>
                  <a:pt x="3819573" y="1455268"/>
                  <a:pt x="3818079" y="1457972"/>
                  <a:pt x="3815091" y="1460105"/>
                </a:cubicBezTo>
                <a:lnTo>
                  <a:pt x="3813170" y="1452708"/>
                </a:lnTo>
                <a:lnTo>
                  <a:pt x="3811036" y="1452281"/>
                </a:lnTo>
                <a:cubicBezTo>
                  <a:pt x="3808048" y="1450574"/>
                  <a:pt x="3805914" y="1447301"/>
                  <a:pt x="3806128" y="1443176"/>
                </a:cubicBezTo>
                <a:lnTo>
                  <a:pt x="3810610" y="1441610"/>
                </a:lnTo>
                <a:lnTo>
                  <a:pt x="3810396" y="1433643"/>
                </a:lnTo>
                <a:cubicBezTo>
                  <a:pt x="3810610" y="1430229"/>
                  <a:pt x="3811677" y="1426673"/>
                  <a:pt x="3813170" y="1422689"/>
                </a:cubicBezTo>
                <a:lnTo>
                  <a:pt x="3815518" y="1421693"/>
                </a:lnTo>
                <a:lnTo>
                  <a:pt x="3815731" y="1420839"/>
                </a:lnTo>
                <a:cubicBezTo>
                  <a:pt x="3816585" y="1418847"/>
                  <a:pt x="3818506" y="1416998"/>
                  <a:pt x="3821281" y="1415718"/>
                </a:cubicBezTo>
                <a:cubicBezTo>
                  <a:pt x="3822988" y="1415006"/>
                  <a:pt x="3824695" y="1414295"/>
                  <a:pt x="3826616" y="1414153"/>
                </a:cubicBezTo>
                <a:close/>
                <a:moveTo>
                  <a:pt x="5255461" y="1413868"/>
                </a:moveTo>
                <a:cubicBezTo>
                  <a:pt x="5256102" y="1414010"/>
                  <a:pt x="5256955" y="1414580"/>
                  <a:pt x="5257809" y="1415718"/>
                </a:cubicBezTo>
                <a:cubicBezTo>
                  <a:pt x="5250766" y="1422262"/>
                  <a:pt x="5248845" y="1426530"/>
                  <a:pt x="5242656" y="1430940"/>
                </a:cubicBezTo>
                <a:cubicBezTo>
                  <a:pt x="5241589" y="1430371"/>
                  <a:pt x="5242016" y="1429233"/>
                  <a:pt x="5240948" y="1428664"/>
                </a:cubicBezTo>
                <a:cubicBezTo>
                  <a:pt x="5240735" y="1427811"/>
                  <a:pt x="5240948" y="1426673"/>
                  <a:pt x="5241589" y="1425534"/>
                </a:cubicBezTo>
                <a:cubicBezTo>
                  <a:pt x="5243510" y="1421693"/>
                  <a:pt x="5248205" y="1416856"/>
                  <a:pt x="5249059" y="1417282"/>
                </a:cubicBezTo>
                <a:cubicBezTo>
                  <a:pt x="5249486" y="1416287"/>
                  <a:pt x="5250553" y="1416856"/>
                  <a:pt x="5250979" y="1415718"/>
                </a:cubicBezTo>
                <a:cubicBezTo>
                  <a:pt x="5250979" y="1415718"/>
                  <a:pt x="5251406" y="1414722"/>
                  <a:pt x="5253114" y="1414295"/>
                </a:cubicBezTo>
                <a:cubicBezTo>
                  <a:pt x="5253754" y="1414010"/>
                  <a:pt x="5254607" y="1413726"/>
                  <a:pt x="5255461" y="1413868"/>
                </a:cubicBezTo>
                <a:close/>
                <a:moveTo>
                  <a:pt x="5084512" y="1413868"/>
                </a:moveTo>
                <a:cubicBezTo>
                  <a:pt x="5088780" y="1414437"/>
                  <a:pt x="5094970" y="1418137"/>
                  <a:pt x="5097957" y="1420555"/>
                </a:cubicBezTo>
                <a:cubicBezTo>
                  <a:pt x="5094970" y="1423116"/>
                  <a:pt x="5085152" y="1417710"/>
                  <a:pt x="5081311" y="1414437"/>
                </a:cubicBezTo>
                <a:cubicBezTo>
                  <a:pt x="5081951" y="1413868"/>
                  <a:pt x="5083231" y="1413583"/>
                  <a:pt x="5084512" y="1413868"/>
                </a:cubicBezTo>
                <a:close/>
                <a:moveTo>
                  <a:pt x="4417788" y="1413868"/>
                </a:moveTo>
                <a:cubicBezTo>
                  <a:pt x="4419069" y="1413868"/>
                  <a:pt x="4420350" y="1414864"/>
                  <a:pt x="4421203" y="1416002"/>
                </a:cubicBezTo>
                <a:cubicBezTo>
                  <a:pt x="4422911" y="1418421"/>
                  <a:pt x="4423124" y="1422120"/>
                  <a:pt x="4419496" y="1422974"/>
                </a:cubicBezTo>
                <a:cubicBezTo>
                  <a:pt x="4417575" y="1421551"/>
                  <a:pt x="4415655" y="1418990"/>
                  <a:pt x="4413734" y="1416429"/>
                </a:cubicBezTo>
                <a:cubicBezTo>
                  <a:pt x="4415014" y="1414437"/>
                  <a:pt x="4416295" y="1413726"/>
                  <a:pt x="4417788" y="1413868"/>
                </a:cubicBezTo>
                <a:close/>
                <a:moveTo>
                  <a:pt x="1615444" y="1413761"/>
                </a:moveTo>
                <a:cubicBezTo>
                  <a:pt x="1618955" y="1417479"/>
                  <a:pt x="1632274" y="1427702"/>
                  <a:pt x="1626699" y="1432813"/>
                </a:cubicBezTo>
                <a:cubicBezTo>
                  <a:pt x="1625769" y="1432039"/>
                  <a:pt x="1624324" y="1430954"/>
                  <a:pt x="1622775" y="1429715"/>
                </a:cubicBezTo>
                <a:lnTo>
                  <a:pt x="1622465" y="1429560"/>
                </a:lnTo>
                <a:lnTo>
                  <a:pt x="1622465" y="1430180"/>
                </a:lnTo>
                <a:cubicBezTo>
                  <a:pt x="1621329" y="1433278"/>
                  <a:pt x="1618232" y="1435292"/>
                  <a:pt x="1614721" y="1436066"/>
                </a:cubicBezTo>
                <a:cubicBezTo>
                  <a:pt x="1609971" y="1437150"/>
                  <a:pt x="1604499" y="1436066"/>
                  <a:pt x="1601814" y="1432658"/>
                </a:cubicBezTo>
                <a:cubicBezTo>
                  <a:pt x="1604911" y="1428476"/>
                  <a:pt x="1607906" y="1425533"/>
                  <a:pt x="1611210" y="1424294"/>
                </a:cubicBezTo>
                <a:lnTo>
                  <a:pt x="1616373" y="1423829"/>
                </a:lnTo>
                <a:lnTo>
                  <a:pt x="1614411" y="1421351"/>
                </a:lnTo>
                <a:cubicBezTo>
                  <a:pt x="1613585" y="1419802"/>
                  <a:pt x="1613172" y="1418098"/>
                  <a:pt x="1613689" y="1416549"/>
                </a:cubicBezTo>
                <a:cubicBezTo>
                  <a:pt x="1613998" y="1415620"/>
                  <a:pt x="1614618" y="1414690"/>
                  <a:pt x="1615444" y="1413761"/>
                </a:cubicBezTo>
                <a:close/>
                <a:moveTo>
                  <a:pt x="4374251" y="1413726"/>
                </a:moveTo>
                <a:cubicBezTo>
                  <a:pt x="4371904" y="1418421"/>
                  <a:pt x="4367208" y="1418990"/>
                  <a:pt x="4364007" y="1424254"/>
                </a:cubicBezTo>
                <a:cubicBezTo>
                  <a:pt x="4359952" y="1423400"/>
                  <a:pt x="4355470" y="1428948"/>
                  <a:pt x="4350134" y="1427384"/>
                </a:cubicBezTo>
                <a:cubicBezTo>
                  <a:pt x="4352269" y="1418847"/>
                  <a:pt x="4369983" y="1411734"/>
                  <a:pt x="4374251" y="1413726"/>
                </a:cubicBezTo>
                <a:close/>
                <a:moveTo>
                  <a:pt x="3659082" y="1413157"/>
                </a:moveTo>
                <a:cubicBezTo>
                  <a:pt x="3668045" y="1414010"/>
                  <a:pt x="3677222" y="1420270"/>
                  <a:pt x="3679783" y="1426388"/>
                </a:cubicBezTo>
                <a:cubicBezTo>
                  <a:pt x="3677009" y="1427384"/>
                  <a:pt x="3674234" y="1427526"/>
                  <a:pt x="3671460" y="1427099"/>
                </a:cubicBezTo>
                <a:lnTo>
                  <a:pt x="3663563" y="1424538"/>
                </a:lnTo>
                <a:lnTo>
                  <a:pt x="3663137" y="1424254"/>
                </a:lnTo>
                <a:cubicBezTo>
                  <a:pt x="3657588" y="1421551"/>
                  <a:pt x="3652892" y="1417425"/>
                  <a:pt x="3650331" y="1414153"/>
                </a:cubicBezTo>
                <a:cubicBezTo>
                  <a:pt x="3653106" y="1413015"/>
                  <a:pt x="3656093" y="1412730"/>
                  <a:pt x="3659082" y="1413157"/>
                </a:cubicBezTo>
                <a:close/>
                <a:moveTo>
                  <a:pt x="1076279" y="1412812"/>
                </a:moveTo>
                <a:cubicBezTo>
                  <a:pt x="1077763" y="1411709"/>
                  <a:pt x="1079802" y="1412212"/>
                  <a:pt x="1081712" y="1416859"/>
                </a:cubicBezTo>
                <a:cubicBezTo>
                  <a:pt x="1076653" y="1421506"/>
                  <a:pt x="1074588" y="1420731"/>
                  <a:pt x="1074175" y="1418408"/>
                </a:cubicBezTo>
                <a:cubicBezTo>
                  <a:pt x="1073865" y="1416626"/>
                  <a:pt x="1074794" y="1413916"/>
                  <a:pt x="1076279" y="1412812"/>
                </a:cubicBezTo>
                <a:close/>
                <a:moveTo>
                  <a:pt x="4301902" y="1412588"/>
                </a:moveTo>
                <a:cubicBezTo>
                  <a:pt x="4310225" y="1418137"/>
                  <a:pt x="4323457" y="1427953"/>
                  <a:pt x="4326445" y="1438054"/>
                </a:cubicBezTo>
                <a:cubicBezTo>
                  <a:pt x="4324951" y="1438907"/>
                  <a:pt x="4323670" y="1439334"/>
                  <a:pt x="4322177" y="1439477"/>
                </a:cubicBezTo>
                <a:lnTo>
                  <a:pt x="4318549" y="1438481"/>
                </a:lnTo>
                <a:lnTo>
                  <a:pt x="4320683" y="1439619"/>
                </a:lnTo>
                <a:cubicBezTo>
                  <a:pt x="4321749" y="1440899"/>
                  <a:pt x="4323030" y="1442322"/>
                  <a:pt x="4321963" y="1444598"/>
                </a:cubicBezTo>
                <a:cubicBezTo>
                  <a:pt x="4312573" y="1440614"/>
                  <a:pt x="4307878" y="1440330"/>
                  <a:pt x="4300621" y="1436347"/>
                </a:cubicBezTo>
                <a:cubicBezTo>
                  <a:pt x="4300621" y="1435067"/>
                  <a:pt x="4301902" y="1435209"/>
                  <a:pt x="4301688" y="1434070"/>
                </a:cubicBezTo>
                <a:cubicBezTo>
                  <a:pt x="4302328" y="1433359"/>
                  <a:pt x="4303395" y="1433217"/>
                  <a:pt x="4304890" y="1433359"/>
                </a:cubicBezTo>
                <a:cubicBezTo>
                  <a:pt x="4309158" y="1433501"/>
                  <a:pt x="4315774" y="1436062"/>
                  <a:pt x="4315987" y="1437058"/>
                </a:cubicBezTo>
                <a:lnTo>
                  <a:pt x="4317268" y="1437769"/>
                </a:lnTo>
                <a:lnTo>
                  <a:pt x="4310225" y="1431367"/>
                </a:lnTo>
                <a:cubicBezTo>
                  <a:pt x="4305530" y="1425107"/>
                  <a:pt x="4302328" y="1416856"/>
                  <a:pt x="4301902" y="1412588"/>
                </a:cubicBezTo>
                <a:close/>
                <a:moveTo>
                  <a:pt x="1143872" y="1412522"/>
                </a:moveTo>
                <a:cubicBezTo>
                  <a:pt x="1146557" y="1412057"/>
                  <a:pt x="1150791" y="1414226"/>
                  <a:pt x="1151204" y="1415620"/>
                </a:cubicBezTo>
                <a:cubicBezTo>
                  <a:pt x="1150481" y="1417169"/>
                  <a:pt x="1141188" y="1417943"/>
                  <a:pt x="1142014" y="1413916"/>
                </a:cubicBezTo>
                <a:cubicBezTo>
                  <a:pt x="1142324" y="1413141"/>
                  <a:pt x="1142943" y="1412677"/>
                  <a:pt x="1143872" y="1412522"/>
                </a:cubicBezTo>
                <a:close/>
                <a:moveTo>
                  <a:pt x="4994022" y="1412303"/>
                </a:moveTo>
                <a:cubicBezTo>
                  <a:pt x="4995516" y="1413442"/>
                  <a:pt x="4997010" y="1415718"/>
                  <a:pt x="4995089" y="1418137"/>
                </a:cubicBezTo>
                <a:cubicBezTo>
                  <a:pt x="4993168" y="1421835"/>
                  <a:pt x="4989754" y="1422120"/>
                  <a:pt x="4985912" y="1421124"/>
                </a:cubicBezTo>
                <a:cubicBezTo>
                  <a:pt x="4983778" y="1422404"/>
                  <a:pt x="4982924" y="1424823"/>
                  <a:pt x="4980577" y="1423827"/>
                </a:cubicBezTo>
                <a:cubicBezTo>
                  <a:pt x="4983564" y="1421266"/>
                  <a:pt x="4984632" y="1419986"/>
                  <a:pt x="4986766" y="1418705"/>
                </a:cubicBezTo>
                <a:cubicBezTo>
                  <a:pt x="4986552" y="1417567"/>
                  <a:pt x="4986552" y="1416287"/>
                  <a:pt x="4987620" y="1415006"/>
                </a:cubicBezTo>
                <a:cubicBezTo>
                  <a:pt x="4989540" y="1412588"/>
                  <a:pt x="4991888" y="1413583"/>
                  <a:pt x="4994022" y="1412303"/>
                </a:cubicBezTo>
                <a:close/>
                <a:moveTo>
                  <a:pt x="3868446" y="1411734"/>
                </a:moveTo>
                <a:cubicBezTo>
                  <a:pt x="3862470" y="1413015"/>
                  <a:pt x="3855214" y="1417140"/>
                  <a:pt x="3849879" y="1415718"/>
                </a:cubicBezTo>
                <a:cubicBezTo>
                  <a:pt x="3852013" y="1414864"/>
                  <a:pt x="3864391" y="1411023"/>
                  <a:pt x="3868446" y="1411734"/>
                </a:cubicBezTo>
                <a:close/>
                <a:moveTo>
                  <a:pt x="1328804" y="1411593"/>
                </a:moveTo>
                <a:cubicBezTo>
                  <a:pt x="1333761" y="1412367"/>
                  <a:pt x="1337272" y="1418098"/>
                  <a:pt x="1335309" y="1421815"/>
                </a:cubicBezTo>
                <a:cubicBezTo>
                  <a:pt x="1334484" y="1423519"/>
                  <a:pt x="1332522" y="1424759"/>
                  <a:pt x="1329114" y="1425069"/>
                </a:cubicBezTo>
                <a:lnTo>
                  <a:pt x="1328804" y="1424604"/>
                </a:lnTo>
                <a:lnTo>
                  <a:pt x="1327565" y="1426772"/>
                </a:lnTo>
                <a:lnTo>
                  <a:pt x="1327772" y="1428631"/>
                </a:lnTo>
                <a:lnTo>
                  <a:pt x="1327359" y="1429560"/>
                </a:lnTo>
                <a:lnTo>
                  <a:pt x="1333038" y="1432658"/>
                </a:lnTo>
                <a:cubicBezTo>
                  <a:pt x="1335620" y="1434207"/>
                  <a:pt x="1337685" y="1435756"/>
                  <a:pt x="1337788" y="1436995"/>
                </a:cubicBezTo>
                <a:cubicBezTo>
                  <a:pt x="1336962" y="1437305"/>
                  <a:pt x="1336136" y="1437460"/>
                  <a:pt x="1335000" y="1436995"/>
                </a:cubicBezTo>
                <a:cubicBezTo>
                  <a:pt x="1333864" y="1436376"/>
                  <a:pt x="1334587" y="1436221"/>
                  <a:pt x="1333864" y="1436531"/>
                </a:cubicBezTo>
                <a:cubicBezTo>
                  <a:pt x="1332728" y="1435911"/>
                  <a:pt x="1332935" y="1436685"/>
                  <a:pt x="1332935" y="1436685"/>
                </a:cubicBezTo>
                <a:cubicBezTo>
                  <a:pt x="1332935" y="1436685"/>
                  <a:pt x="1332625" y="1435911"/>
                  <a:pt x="1332625" y="1435911"/>
                </a:cubicBezTo>
                <a:cubicBezTo>
                  <a:pt x="1332625" y="1435911"/>
                  <a:pt x="1332728" y="1435911"/>
                  <a:pt x="1330353" y="1434827"/>
                </a:cubicBezTo>
                <a:cubicBezTo>
                  <a:pt x="1327256" y="1434052"/>
                  <a:pt x="1326533" y="1434207"/>
                  <a:pt x="1324571" y="1433897"/>
                </a:cubicBezTo>
                <a:lnTo>
                  <a:pt x="1324158" y="1433743"/>
                </a:lnTo>
                <a:lnTo>
                  <a:pt x="1321576" y="1435292"/>
                </a:lnTo>
                <a:cubicBezTo>
                  <a:pt x="1317240" y="1436685"/>
                  <a:pt x="1311767" y="1435447"/>
                  <a:pt x="1308876" y="1431884"/>
                </a:cubicBezTo>
                <a:lnTo>
                  <a:pt x="1307947" y="1429870"/>
                </a:lnTo>
                <a:lnTo>
                  <a:pt x="1306708" y="1436066"/>
                </a:lnTo>
                <a:cubicBezTo>
                  <a:pt x="1304746" y="1440713"/>
                  <a:pt x="1301235" y="1444895"/>
                  <a:pt x="1296589" y="1444895"/>
                </a:cubicBezTo>
                <a:cubicBezTo>
                  <a:pt x="1298757" y="1439009"/>
                  <a:pt x="1301338" y="1433743"/>
                  <a:pt x="1301442" y="1425378"/>
                </a:cubicBezTo>
                <a:cubicBezTo>
                  <a:pt x="1303920" y="1425533"/>
                  <a:pt x="1303713" y="1422435"/>
                  <a:pt x="1306708" y="1423365"/>
                </a:cubicBezTo>
                <a:lnTo>
                  <a:pt x="1307637" y="1426927"/>
                </a:lnTo>
                <a:lnTo>
                  <a:pt x="1310941" y="1423674"/>
                </a:lnTo>
                <a:lnTo>
                  <a:pt x="1313832" y="1422745"/>
                </a:lnTo>
                <a:lnTo>
                  <a:pt x="1314555" y="1416394"/>
                </a:lnTo>
                <a:cubicBezTo>
                  <a:pt x="1315691" y="1417014"/>
                  <a:pt x="1316414" y="1414071"/>
                  <a:pt x="1317653" y="1412832"/>
                </a:cubicBezTo>
                <a:cubicBezTo>
                  <a:pt x="1320131" y="1412057"/>
                  <a:pt x="1321680" y="1411593"/>
                  <a:pt x="1324055" y="1412677"/>
                </a:cubicBezTo>
                <a:close/>
                <a:moveTo>
                  <a:pt x="1586635" y="1411438"/>
                </a:moveTo>
                <a:cubicBezTo>
                  <a:pt x="1589113" y="1410973"/>
                  <a:pt x="1594276" y="1413451"/>
                  <a:pt x="1594999" y="1415929"/>
                </a:cubicBezTo>
                <a:cubicBezTo>
                  <a:pt x="1594379" y="1416859"/>
                  <a:pt x="1593760" y="1417788"/>
                  <a:pt x="1593140" y="1418717"/>
                </a:cubicBezTo>
                <a:cubicBezTo>
                  <a:pt x="1589836" y="1418717"/>
                  <a:pt x="1586635" y="1417323"/>
                  <a:pt x="1586119" y="1414536"/>
                </a:cubicBezTo>
                <a:cubicBezTo>
                  <a:pt x="1585912" y="1413761"/>
                  <a:pt x="1586119" y="1412677"/>
                  <a:pt x="1586635" y="1411438"/>
                </a:cubicBezTo>
                <a:close/>
                <a:moveTo>
                  <a:pt x="3793109" y="1411023"/>
                </a:moveTo>
                <a:cubicBezTo>
                  <a:pt x="3796097" y="1414580"/>
                  <a:pt x="3801646" y="1416571"/>
                  <a:pt x="3803140" y="1420555"/>
                </a:cubicBezTo>
                <a:cubicBezTo>
                  <a:pt x="3803353" y="1421266"/>
                  <a:pt x="3803353" y="1422120"/>
                  <a:pt x="3803140" y="1422831"/>
                </a:cubicBezTo>
                <a:cubicBezTo>
                  <a:pt x="3802927" y="1423542"/>
                  <a:pt x="3802073" y="1424254"/>
                  <a:pt x="3800579" y="1424681"/>
                </a:cubicBezTo>
                <a:cubicBezTo>
                  <a:pt x="3798231" y="1426103"/>
                  <a:pt x="3797377" y="1425392"/>
                  <a:pt x="3795670" y="1421551"/>
                </a:cubicBezTo>
                <a:cubicBezTo>
                  <a:pt x="3795243" y="1418279"/>
                  <a:pt x="3793963" y="1416002"/>
                  <a:pt x="3794603" y="1415006"/>
                </a:cubicBezTo>
                <a:cubicBezTo>
                  <a:pt x="3793749" y="1414295"/>
                  <a:pt x="3793323" y="1412730"/>
                  <a:pt x="3792469" y="1412161"/>
                </a:cubicBezTo>
                <a:cubicBezTo>
                  <a:pt x="3792469" y="1412161"/>
                  <a:pt x="3792256" y="1412161"/>
                  <a:pt x="3793109" y="1411023"/>
                </a:cubicBezTo>
                <a:close/>
                <a:moveTo>
                  <a:pt x="1054866" y="1410973"/>
                </a:moveTo>
                <a:cubicBezTo>
                  <a:pt x="1056724" y="1410663"/>
                  <a:pt x="1055898" y="1414071"/>
                  <a:pt x="1056311" y="1414845"/>
                </a:cubicBezTo>
                <a:cubicBezTo>
                  <a:pt x="1056001" y="1415929"/>
                  <a:pt x="1055692" y="1417169"/>
                  <a:pt x="1054556" y="1416859"/>
                </a:cubicBezTo>
                <a:cubicBezTo>
                  <a:pt x="1053317" y="1416704"/>
                  <a:pt x="1052594" y="1417169"/>
                  <a:pt x="1052491" y="1415310"/>
                </a:cubicBezTo>
                <a:cubicBezTo>
                  <a:pt x="1051974" y="1414690"/>
                  <a:pt x="1052284" y="1413451"/>
                  <a:pt x="1051768" y="1412832"/>
                </a:cubicBezTo>
                <a:cubicBezTo>
                  <a:pt x="1051768" y="1412832"/>
                  <a:pt x="1052284" y="1412367"/>
                  <a:pt x="1052904" y="1411747"/>
                </a:cubicBezTo>
                <a:cubicBezTo>
                  <a:pt x="1053524" y="1411282"/>
                  <a:pt x="1054246" y="1410818"/>
                  <a:pt x="1054866" y="1410973"/>
                </a:cubicBezTo>
                <a:close/>
                <a:moveTo>
                  <a:pt x="3990309" y="1410454"/>
                </a:moveTo>
                <a:cubicBezTo>
                  <a:pt x="3992657" y="1411307"/>
                  <a:pt x="3996285" y="1412018"/>
                  <a:pt x="3996925" y="1415006"/>
                </a:cubicBezTo>
                <a:cubicBezTo>
                  <a:pt x="3997138" y="1416145"/>
                  <a:pt x="3996925" y="1417282"/>
                  <a:pt x="3996285" y="1418847"/>
                </a:cubicBezTo>
                <a:cubicBezTo>
                  <a:pt x="3996712" y="1419986"/>
                  <a:pt x="3992657" y="1423116"/>
                  <a:pt x="3991162" y="1422689"/>
                </a:cubicBezTo>
                <a:cubicBezTo>
                  <a:pt x="3987108" y="1422120"/>
                  <a:pt x="3988175" y="1417852"/>
                  <a:pt x="3987534" y="1413157"/>
                </a:cubicBezTo>
                <a:cubicBezTo>
                  <a:pt x="3989029" y="1413583"/>
                  <a:pt x="3989669" y="1412018"/>
                  <a:pt x="3990309" y="1410454"/>
                </a:cubicBezTo>
                <a:close/>
                <a:moveTo>
                  <a:pt x="3869300" y="1410454"/>
                </a:moveTo>
                <a:cubicBezTo>
                  <a:pt x="3870794" y="1411023"/>
                  <a:pt x="3870581" y="1409885"/>
                  <a:pt x="3871221" y="1412018"/>
                </a:cubicBezTo>
                <a:cubicBezTo>
                  <a:pt x="3869727" y="1411450"/>
                  <a:pt x="3869727" y="1411450"/>
                  <a:pt x="3868446" y="1412018"/>
                </a:cubicBezTo>
                <a:cubicBezTo>
                  <a:pt x="3868446" y="1412018"/>
                  <a:pt x="3869300" y="1410454"/>
                  <a:pt x="3869300" y="1410454"/>
                </a:cubicBezTo>
                <a:close/>
                <a:moveTo>
                  <a:pt x="3875062" y="1410311"/>
                </a:moveTo>
                <a:cubicBezTo>
                  <a:pt x="3876129" y="1410169"/>
                  <a:pt x="3877197" y="1410027"/>
                  <a:pt x="3878264" y="1410311"/>
                </a:cubicBezTo>
                <a:cubicBezTo>
                  <a:pt x="3882532" y="1410454"/>
                  <a:pt x="3884453" y="1414580"/>
                  <a:pt x="3889148" y="1415718"/>
                </a:cubicBezTo>
                <a:cubicBezTo>
                  <a:pt x="3888295" y="1421693"/>
                  <a:pt x="3887654" y="1423400"/>
                  <a:pt x="3881465" y="1424538"/>
                </a:cubicBezTo>
                <a:cubicBezTo>
                  <a:pt x="3881465" y="1424538"/>
                  <a:pt x="3879971" y="1424111"/>
                  <a:pt x="3879971" y="1424111"/>
                </a:cubicBezTo>
                <a:cubicBezTo>
                  <a:pt x="3874422" y="1423684"/>
                  <a:pt x="3869086" y="1418847"/>
                  <a:pt x="3869086" y="1416145"/>
                </a:cubicBezTo>
                <a:cubicBezTo>
                  <a:pt x="3869940" y="1413583"/>
                  <a:pt x="3872074" y="1411023"/>
                  <a:pt x="3875062" y="1410311"/>
                </a:cubicBezTo>
                <a:close/>
                <a:moveTo>
                  <a:pt x="1499487" y="1410198"/>
                </a:moveTo>
                <a:cubicBezTo>
                  <a:pt x="1504753" y="1410043"/>
                  <a:pt x="1505372" y="1415000"/>
                  <a:pt x="1500829" y="1418408"/>
                </a:cubicBezTo>
                <a:cubicBezTo>
                  <a:pt x="1499074" y="1417323"/>
                  <a:pt x="1498351" y="1415929"/>
                  <a:pt x="1498145" y="1414536"/>
                </a:cubicBezTo>
                <a:cubicBezTo>
                  <a:pt x="1498041" y="1412986"/>
                  <a:pt x="1498558" y="1411593"/>
                  <a:pt x="1499487" y="1410198"/>
                </a:cubicBezTo>
                <a:close/>
                <a:moveTo>
                  <a:pt x="3874636" y="1408604"/>
                </a:moveTo>
                <a:cubicBezTo>
                  <a:pt x="3875062" y="1408320"/>
                  <a:pt x="3875703" y="1408462"/>
                  <a:pt x="3876556" y="1408604"/>
                </a:cubicBezTo>
                <a:cubicBezTo>
                  <a:pt x="3876556" y="1408604"/>
                  <a:pt x="3876769" y="1409600"/>
                  <a:pt x="3876769" y="1409600"/>
                </a:cubicBezTo>
                <a:cubicBezTo>
                  <a:pt x="3875489" y="1410169"/>
                  <a:pt x="3874422" y="1410596"/>
                  <a:pt x="3873995" y="1409600"/>
                </a:cubicBezTo>
                <a:cubicBezTo>
                  <a:pt x="3873995" y="1409173"/>
                  <a:pt x="3874209" y="1408746"/>
                  <a:pt x="3874636" y="1408604"/>
                </a:cubicBezTo>
                <a:close/>
                <a:moveTo>
                  <a:pt x="4076317" y="1408178"/>
                </a:moveTo>
                <a:cubicBezTo>
                  <a:pt x="4079732" y="1407181"/>
                  <a:pt x="4083147" y="1409458"/>
                  <a:pt x="4084427" y="1413726"/>
                </a:cubicBezTo>
                <a:cubicBezTo>
                  <a:pt x="4085068" y="1416571"/>
                  <a:pt x="4084854" y="1420412"/>
                  <a:pt x="4082720" y="1424965"/>
                </a:cubicBezTo>
                <a:cubicBezTo>
                  <a:pt x="4078024" y="1428664"/>
                  <a:pt x="4067994" y="1425961"/>
                  <a:pt x="4067354" y="1421124"/>
                </a:cubicBezTo>
                <a:cubicBezTo>
                  <a:pt x="4068847" y="1413015"/>
                  <a:pt x="4072689" y="1409031"/>
                  <a:pt x="4076317" y="1408178"/>
                </a:cubicBezTo>
                <a:close/>
                <a:moveTo>
                  <a:pt x="5164331" y="1408035"/>
                </a:moveTo>
                <a:cubicBezTo>
                  <a:pt x="5166679" y="1410454"/>
                  <a:pt x="5167959" y="1412872"/>
                  <a:pt x="5170307" y="1415291"/>
                </a:cubicBezTo>
                <a:cubicBezTo>
                  <a:pt x="5168386" y="1419986"/>
                  <a:pt x="5164758" y="1417425"/>
                  <a:pt x="5161130" y="1415006"/>
                </a:cubicBezTo>
                <a:cubicBezTo>
                  <a:pt x="5162197" y="1412730"/>
                  <a:pt x="5160916" y="1410169"/>
                  <a:pt x="5164331" y="1408035"/>
                </a:cubicBezTo>
                <a:close/>
                <a:moveTo>
                  <a:pt x="1738422" y="1407875"/>
                </a:moveTo>
                <a:cubicBezTo>
                  <a:pt x="1739351" y="1407875"/>
                  <a:pt x="1740281" y="1408184"/>
                  <a:pt x="1740384" y="1408649"/>
                </a:cubicBezTo>
                <a:cubicBezTo>
                  <a:pt x="1739971" y="1409734"/>
                  <a:pt x="1738319" y="1410198"/>
                  <a:pt x="1737803" y="1411282"/>
                </a:cubicBezTo>
                <a:cubicBezTo>
                  <a:pt x="1737493" y="1410508"/>
                  <a:pt x="1736357" y="1409888"/>
                  <a:pt x="1735944" y="1409114"/>
                </a:cubicBezTo>
                <a:cubicBezTo>
                  <a:pt x="1736460" y="1408030"/>
                  <a:pt x="1737493" y="1407720"/>
                  <a:pt x="1738422" y="1407875"/>
                </a:cubicBezTo>
                <a:close/>
                <a:moveTo>
                  <a:pt x="1089869" y="1407565"/>
                </a:moveTo>
                <a:cubicBezTo>
                  <a:pt x="1098440" y="1407410"/>
                  <a:pt x="1100092" y="1412832"/>
                  <a:pt x="1102364" y="1417788"/>
                </a:cubicBezTo>
                <a:cubicBezTo>
                  <a:pt x="1098646" y="1418563"/>
                  <a:pt x="1089663" y="1414536"/>
                  <a:pt x="1089869" y="1407565"/>
                </a:cubicBezTo>
                <a:close/>
                <a:moveTo>
                  <a:pt x="5201039" y="1407466"/>
                </a:moveTo>
                <a:cubicBezTo>
                  <a:pt x="5203387" y="1407039"/>
                  <a:pt x="5205948" y="1408178"/>
                  <a:pt x="5208722" y="1410311"/>
                </a:cubicBezTo>
                <a:cubicBezTo>
                  <a:pt x="5208082" y="1413015"/>
                  <a:pt x="5208509" y="1415291"/>
                  <a:pt x="5208082" y="1419132"/>
                </a:cubicBezTo>
                <a:cubicBezTo>
                  <a:pt x="5204667" y="1420128"/>
                  <a:pt x="5197198" y="1418705"/>
                  <a:pt x="5195064" y="1413157"/>
                </a:cubicBezTo>
                <a:cubicBezTo>
                  <a:pt x="5196771" y="1409600"/>
                  <a:pt x="5198692" y="1407751"/>
                  <a:pt x="5201039" y="1407466"/>
                </a:cubicBezTo>
                <a:close/>
                <a:moveTo>
                  <a:pt x="1558653" y="1406791"/>
                </a:moveTo>
                <a:cubicBezTo>
                  <a:pt x="1559789" y="1408030"/>
                  <a:pt x="1559789" y="1408030"/>
                  <a:pt x="1559789" y="1411902"/>
                </a:cubicBezTo>
                <a:cubicBezTo>
                  <a:pt x="1558550" y="1410663"/>
                  <a:pt x="1558550" y="1410663"/>
                  <a:pt x="1557414" y="1411902"/>
                </a:cubicBezTo>
                <a:cubicBezTo>
                  <a:pt x="1557414" y="1411902"/>
                  <a:pt x="1557414" y="1411902"/>
                  <a:pt x="1557414" y="1413296"/>
                </a:cubicBezTo>
                <a:cubicBezTo>
                  <a:pt x="1556175" y="1413296"/>
                  <a:pt x="1556175" y="1411902"/>
                  <a:pt x="1555039" y="1411902"/>
                </a:cubicBezTo>
                <a:cubicBezTo>
                  <a:pt x="1555039" y="1411902"/>
                  <a:pt x="1555039" y="1410663"/>
                  <a:pt x="1555039" y="1410663"/>
                </a:cubicBezTo>
                <a:cubicBezTo>
                  <a:pt x="1554419" y="1410663"/>
                  <a:pt x="1554419" y="1410663"/>
                  <a:pt x="1554626" y="1410353"/>
                </a:cubicBezTo>
                <a:cubicBezTo>
                  <a:pt x="1554936" y="1410043"/>
                  <a:pt x="1555555" y="1409424"/>
                  <a:pt x="1556175" y="1408030"/>
                </a:cubicBezTo>
                <a:cubicBezTo>
                  <a:pt x="1557310" y="1406791"/>
                  <a:pt x="1557414" y="1405551"/>
                  <a:pt x="1558653" y="1406791"/>
                </a:cubicBezTo>
                <a:close/>
                <a:moveTo>
                  <a:pt x="1712608" y="1406016"/>
                </a:moveTo>
                <a:cubicBezTo>
                  <a:pt x="1719836" y="1401524"/>
                  <a:pt x="1729542" y="1408649"/>
                  <a:pt x="1731917" y="1417169"/>
                </a:cubicBezTo>
                <a:cubicBezTo>
                  <a:pt x="1733569" y="1423055"/>
                  <a:pt x="1731710" y="1429715"/>
                  <a:pt x="1723346" y="1433897"/>
                </a:cubicBezTo>
                <a:cubicBezTo>
                  <a:pt x="1714776" y="1429715"/>
                  <a:pt x="1708684" y="1421971"/>
                  <a:pt x="1708271" y="1415155"/>
                </a:cubicBezTo>
                <a:cubicBezTo>
                  <a:pt x="1708065" y="1412832"/>
                  <a:pt x="1708478" y="1410663"/>
                  <a:pt x="1709717" y="1408649"/>
                </a:cubicBezTo>
                <a:cubicBezTo>
                  <a:pt x="1710646" y="1407565"/>
                  <a:pt x="1711575" y="1406636"/>
                  <a:pt x="1712608" y="1406016"/>
                </a:cubicBezTo>
                <a:close/>
                <a:moveTo>
                  <a:pt x="5256529" y="1405616"/>
                </a:moveTo>
                <a:cubicBezTo>
                  <a:pt x="5260797" y="1405332"/>
                  <a:pt x="5267626" y="1407324"/>
                  <a:pt x="5267626" y="1408178"/>
                </a:cubicBezTo>
                <a:cubicBezTo>
                  <a:pt x="5268907" y="1408178"/>
                  <a:pt x="5269120" y="1409316"/>
                  <a:pt x="5270187" y="1409316"/>
                </a:cubicBezTo>
                <a:cubicBezTo>
                  <a:pt x="5270187" y="1409316"/>
                  <a:pt x="5271468" y="1409173"/>
                  <a:pt x="5272748" y="1410311"/>
                </a:cubicBezTo>
                <a:cubicBezTo>
                  <a:pt x="5274029" y="1411450"/>
                  <a:pt x="5275309" y="1412588"/>
                  <a:pt x="5274456" y="1415148"/>
                </a:cubicBezTo>
                <a:cubicBezTo>
                  <a:pt x="5264638" y="1412018"/>
                  <a:pt x="5260157" y="1412303"/>
                  <a:pt x="5252687" y="1409173"/>
                </a:cubicBezTo>
                <a:cubicBezTo>
                  <a:pt x="5252474" y="1407893"/>
                  <a:pt x="5253754" y="1407893"/>
                  <a:pt x="5253541" y="1406612"/>
                </a:cubicBezTo>
                <a:cubicBezTo>
                  <a:pt x="5253967" y="1406044"/>
                  <a:pt x="5255034" y="1405616"/>
                  <a:pt x="5256529" y="1405616"/>
                </a:cubicBezTo>
                <a:close/>
                <a:moveTo>
                  <a:pt x="5230705" y="1404906"/>
                </a:moveTo>
                <a:cubicBezTo>
                  <a:pt x="5236253" y="1405332"/>
                  <a:pt x="5241376" y="1407466"/>
                  <a:pt x="5242656" y="1415148"/>
                </a:cubicBezTo>
                <a:cubicBezTo>
                  <a:pt x="5234120" y="1425107"/>
                  <a:pt x="5213204" y="1423542"/>
                  <a:pt x="5215552" y="1411450"/>
                </a:cubicBezTo>
                <a:cubicBezTo>
                  <a:pt x="5215765" y="1409743"/>
                  <a:pt x="5216619" y="1407893"/>
                  <a:pt x="5217899" y="1405759"/>
                </a:cubicBezTo>
                <a:cubicBezTo>
                  <a:pt x="5220034" y="1405616"/>
                  <a:pt x="5222381" y="1405190"/>
                  <a:pt x="5224942" y="1405047"/>
                </a:cubicBezTo>
                <a:cubicBezTo>
                  <a:pt x="5226863" y="1404906"/>
                  <a:pt x="5228784" y="1404763"/>
                  <a:pt x="5230705" y="1404906"/>
                </a:cubicBezTo>
                <a:close/>
                <a:moveTo>
                  <a:pt x="4283974" y="1404906"/>
                </a:moveTo>
                <a:cubicBezTo>
                  <a:pt x="4285682" y="1404479"/>
                  <a:pt x="4287389" y="1405332"/>
                  <a:pt x="4288670" y="1406755"/>
                </a:cubicBezTo>
                <a:cubicBezTo>
                  <a:pt x="4289950" y="1408178"/>
                  <a:pt x="4290804" y="1410169"/>
                  <a:pt x="4291444" y="1412018"/>
                </a:cubicBezTo>
                <a:cubicBezTo>
                  <a:pt x="4290804" y="1411023"/>
                  <a:pt x="4290804" y="1411023"/>
                  <a:pt x="4290804" y="1411023"/>
                </a:cubicBezTo>
                <a:cubicBezTo>
                  <a:pt x="4289096" y="1410596"/>
                  <a:pt x="4289737" y="1411734"/>
                  <a:pt x="4288883" y="1412303"/>
                </a:cubicBezTo>
                <a:cubicBezTo>
                  <a:pt x="4288883" y="1412303"/>
                  <a:pt x="4289737" y="1411592"/>
                  <a:pt x="4289523" y="1413299"/>
                </a:cubicBezTo>
                <a:cubicBezTo>
                  <a:pt x="4288883" y="1412303"/>
                  <a:pt x="4288029" y="1412872"/>
                  <a:pt x="4286962" y="1413583"/>
                </a:cubicBezTo>
                <a:cubicBezTo>
                  <a:pt x="4283761" y="1412730"/>
                  <a:pt x="4279706" y="1410738"/>
                  <a:pt x="4279279" y="1408035"/>
                </a:cubicBezTo>
                <a:cubicBezTo>
                  <a:pt x="4279706" y="1404763"/>
                  <a:pt x="4282267" y="1404479"/>
                  <a:pt x="4283974" y="1404906"/>
                </a:cubicBezTo>
                <a:close/>
                <a:moveTo>
                  <a:pt x="1635269" y="1404467"/>
                </a:moveTo>
                <a:cubicBezTo>
                  <a:pt x="1639812" y="1407565"/>
                  <a:pt x="1633617" y="1411747"/>
                  <a:pt x="1631035" y="1411438"/>
                </a:cubicBezTo>
                <a:cubicBezTo>
                  <a:pt x="1630106" y="1410663"/>
                  <a:pt x="1629693" y="1409734"/>
                  <a:pt x="1629693" y="1408959"/>
                </a:cubicBezTo>
                <a:cubicBezTo>
                  <a:pt x="1629796" y="1406481"/>
                  <a:pt x="1633307" y="1404158"/>
                  <a:pt x="1635269" y="1404467"/>
                </a:cubicBezTo>
                <a:close/>
                <a:moveTo>
                  <a:pt x="4113879" y="1404194"/>
                </a:moveTo>
                <a:cubicBezTo>
                  <a:pt x="4115586" y="1404621"/>
                  <a:pt x="4122416" y="1404621"/>
                  <a:pt x="4122202" y="1406328"/>
                </a:cubicBezTo>
                <a:cubicBezTo>
                  <a:pt x="4122202" y="1406328"/>
                  <a:pt x="4120495" y="1405901"/>
                  <a:pt x="4119001" y="1405474"/>
                </a:cubicBezTo>
                <a:cubicBezTo>
                  <a:pt x="4117293" y="1405047"/>
                  <a:pt x="4117293" y="1405047"/>
                  <a:pt x="4116867" y="1406755"/>
                </a:cubicBezTo>
                <a:cubicBezTo>
                  <a:pt x="4115373" y="1406328"/>
                  <a:pt x="4115373" y="1406328"/>
                  <a:pt x="4113879" y="1404194"/>
                </a:cubicBezTo>
                <a:close/>
                <a:moveTo>
                  <a:pt x="3688107" y="1404052"/>
                </a:moveTo>
                <a:cubicBezTo>
                  <a:pt x="3688960" y="1404194"/>
                  <a:pt x="3690241" y="1404621"/>
                  <a:pt x="3691308" y="1405332"/>
                </a:cubicBezTo>
                <a:cubicBezTo>
                  <a:pt x="3690027" y="1406470"/>
                  <a:pt x="3691308" y="1409031"/>
                  <a:pt x="3690027" y="1410169"/>
                </a:cubicBezTo>
                <a:cubicBezTo>
                  <a:pt x="3690027" y="1410169"/>
                  <a:pt x="3686613" y="1411023"/>
                  <a:pt x="3686613" y="1411023"/>
                </a:cubicBezTo>
                <a:cubicBezTo>
                  <a:pt x="3685332" y="1409600"/>
                  <a:pt x="3685332" y="1409600"/>
                  <a:pt x="3686613" y="1409743"/>
                </a:cubicBezTo>
                <a:cubicBezTo>
                  <a:pt x="3685332" y="1407181"/>
                  <a:pt x="3685332" y="1405901"/>
                  <a:pt x="3685546" y="1404621"/>
                </a:cubicBezTo>
                <a:cubicBezTo>
                  <a:pt x="3685972" y="1404194"/>
                  <a:pt x="3687039" y="1403909"/>
                  <a:pt x="3688107" y="1404052"/>
                </a:cubicBezTo>
                <a:close/>
                <a:moveTo>
                  <a:pt x="1695364" y="1403693"/>
                </a:moveTo>
                <a:lnTo>
                  <a:pt x="1699495" y="1406481"/>
                </a:lnTo>
                <a:lnTo>
                  <a:pt x="1699907" y="1406326"/>
                </a:lnTo>
                <a:lnTo>
                  <a:pt x="1700217" y="1406946"/>
                </a:lnTo>
                <a:lnTo>
                  <a:pt x="1701973" y="1408030"/>
                </a:lnTo>
                <a:cubicBezTo>
                  <a:pt x="1706206" y="1412677"/>
                  <a:pt x="1704038" y="1418408"/>
                  <a:pt x="1699804" y="1420886"/>
                </a:cubicBezTo>
                <a:cubicBezTo>
                  <a:pt x="1697945" y="1421971"/>
                  <a:pt x="1695777" y="1422435"/>
                  <a:pt x="1693505" y="1421971"/>
                </a:cubicBezTo>
                <a:lnTo>
                  <a:pt x="1692370" y="1421351"/>
                </a:lnTo>
                <a:lnTo>
                  <a:pt x="1693402" y="1423210"/>
                </a:lnTo>
                <a:cubicBezTo>
                  <a:pt x="1694848" y="1426617"/>
                  <a:pt x="1695054" y="1430335"/>
                  <a:pt x="1691543" y="1433433"/>
                </a:cubicBezTo>
                <a:cubicBezTo>
                  <a:pt x="1684626" y="1431884"/>
                  <a:pt x="1678740" y="1423519"/>
                  <a:pt x="1679669" y="1418253"/>
                </a:cubicBezTo>
                <a:cubicBezTo>
                  <a:pt x="1679979" y="1416549"/>
                  <a:pt x="1681011" y="1415000"/>
                  <a:pt x="1682973" y="1414381"/>
                </a:cubicBezTo>
                <a:lnTo>
                  <a:pt x="1685555" y="1414071"/>
                </a:lnTo>
                <a:cubicBezTo>
                  <a:pt x="1688342" y="1408030"/>
                  <a:pt x="1692163" y="1407255"/>
                  <a:pt x="1695364" y="1403693"/>
                </a:cubicBezTo>
                <a:close/>
                <a:moveTo>
                  <a:pt x="4135008" y="1403625"/>
                </a:moveTo>
                <a:cubicBezTo>
                  <a:pt x="4135861" y="1404621"/>
                  <a:pt x="4137355" y="1405047"/>
                  <a:pt x="4137355" y="1405047"/>
                </a:cubicBezTo>
                <a:cubicBezTo>
                  <a:pt x="4137142" y="1406612"/>
                  <a:pt x="4136288" y="1407324"/>
                  <a:pt x="4135221" y="1407893"/>
                </a:cubicBezTo>
                <a:cubicBezTo>
                  <a:pt x="4133727" y="1407466"/>
                  <a:pt x="4132873" y="1406470"/>
                  <a:pt x="4131380" y="1406044"/>
                </a:cubicBezTo>
                <a:cubicBezTo>
                  <a:pt x="4130526" y="1406612"/>
                  <a:pt x="4128605" y="1407893"/>
                  <a:pt x="4126897" y="1407466"/>
                </a:cubicBezTo>
                <a:cubicBezTo>
                  <a:pt x="4125404" y="1407039"/>
                  <a:pt x="4123056" y="1405616"/>
                  <a:pt x="4123056" y="1405616"/>
                </a:cubicBezTo>
                <a:cubicBezTo>
                  <a:pt x="4123269" y="1403909"/>
                  <a:pt x="4123483" y="1403909"/>
                  <a:pt x="4124123" y="1404906"/>
                </a:cubicBezTo>
                <a:cubicBezTo>
                  <a:pt x="4126684" y="1404763"/>
                  <a:pt x="4125617" y="1405332"/>
                  <a:pt x="4127324" y="1405759"/>
                </a:cubicBezTo>
                <a:cubicBezTo>
                  <a:pt x="4128818" y="1406186"/>
                  <a:pt x="4134794" y="1405190"/>
                  <a:pt x="4135008" y="1403625"/>
                </a:cubicBezTo>
                <a:close/>
                <a:moveTo>
                  <a:pt x="4623525" y="1403198"/>
                </a:moveTo>
                <a:cubicBezTo>
                  <a:pt x="4624592" y="1403340"/>
                  <a:pt x="4625660" y="1403625"/>
                  <a:pt x="4626300" y="1404621"/>
                </a:cubicBezTo>
                <a:cubicBezTo>
                  <a:pt x="4628007" y="1408462"/>
                  <a:pt x="4619044" y="1419986"/>
                  <a:pt x="4614561" y="1412161"/>
                </a:cubicBezTo>
                <a:cubicBezTo>
                  <a:pt x="4613921" y="1411307"/>
                  <a:pt x="4613921" y="1410027"/>
                  <a:pt x="4614775" y="1408604"/>
                </a:cubicBezTo>
                <a:cubicBezTo>
                  <a:pt x="4616269" y="1405759"/>
                  <a:pt x="4620324" y="1402771"/>
                  <a:pt x="4623525" y="1403198"/>
                </a:cubicBezTo>
                <a:close/>
                <a:moveTo>
                  <a:pt x="1281720" y="1402918"/>
                </a:moveTo>
                <a:cubicBezTo>
                  <a:pt x="1283475" y="1401679"/>
                  <a:pt x="1286160" y="1401524"/>
                  <a:pt x="1286779" y="1404003"/>
                </a:cubicBezTo>
                <a:cubicBezTo>
                  <a:pt x="1285747" y="1405551"/>
                  <a:pt x="1283888" y="1406946"/>
                  <a:pt x="1282030" y="1408339"/>
                </a:cubicBezTo>
                <a:cubicBezTo>
                  <a:pt x="1280584" y="1407410"/>
                  <a:pt x="1280067" y="1406326"/>
                  <a:pt x="1280171" y="1405397"/>
                </a:cubicBezTo>
                <a:cubicBezTo>
                  <a:pt x="1280171" y="1404467"/>
                  <a:pt x="1280894" y="1403538"/>
                  <a:pt x="1281720" y="1402918"/>
                </a:cubicBezTo>
                <a:close/>
                <a:moveTo>
                  <a:pt x="1793767" y="1402299"/>
                </a:moveTo>
                <a:cubicBezTo>
                  <a:pt x="1794077" y="1403073"/>
                  <a:pt x="1795626" y="1404312"/>
                  <a:pt x="1795316" y="1405397"/>
                </a:cubicBezTo>
                <a:cubicBezTo>
                  <a:pt x="1794903" y="1406481"/>
                  <a:pt x="1794903" y="1406636"/>
                  <a:pt x="1793354" y="1407101"/>
                </a:cubicBezTo>
                <a:cubicBezTo>
                  <a:pt x="1793148" y="1405861"/>
                  <a:pt x="1793044" y="1405087"/>
                  <a:pt x="1793044" y="1404467"/>
                </a:cubicBezTo>
                <a:cubicBezTo>
                  <a:pt x="1793148" y="1403848"/>
                  <a:pt x="1793354" y="1403383"/>
                  <a:pt x="1793767" y="1402299"/>
                </a:cubicBezTo>
                <a:close/>
                <a:moveTo>
                  <a:pt x="1653106" y="1401931"/>
                </a:moveTo>
                <a:cubicBezTo>
                  <a:pt x="1656901" y="1400905"/>
                  <a:pt x="1661341" y="1401911"/>
                  <a:pt x="1666452" y="1406636"/>
                </a:cubicBezTo>
                <a:cubicBezTo>
                  <a:pt x="1668931" y="1408030"/>
                  <a:pt x="1667692" y="1408030"/>
                  <a:pt x="1668931" y="1409424"/>
                </a:cubicBezTo>
                <a:cubicBezTo>
                  <a:pt x="1670170" y="1410663"/>
                  <a:pt x="1672751" y="1412057"/>
                  <a:pt x="1673990" y="1412057"/>
                </a:cubicBezTo>
                <a:cubicBezTo>
                  <a:pt x="1670273" y="1417323"/>
                  <a:pt x="1674093" y="1420112"/>
                  <a:pt x="1667692" y="1428166"/>
                </a:cubicBezTo>
                <a:cubicBezTo>
                  <a:pt x="1660154" y="1438854"/>
                  <a:pt x="1651274" y="1436221"/>
                  <a:pt x="1646214" y="1432193"/>
                </a:cubicBezTo>
                <a:cubicBezTo>
                  <a:pt x="1647143" y="1431264"/>
                  <a:pt x="1640225" y="1425688"/>
                  <a:pt x="1640432" y="1417788"/>
                </a:cubicBezTo>
                <a:cubicBezTo>
                  <a:pt x="1640535" y="1415155"/>
                  <a:pt x="1641361" y="1412367"/>
                  <a:pt x="1643633" y="1409424"/>
                </a:cubicBezTo>
                <a:cubicBezTo>
                  <a:pt x="1646163" y="1406016"/>
                  <a:pt x="1649312" y="1402957"/>
                  <a:pt x="1653106" y="1401931"/>
                </a:cubicBezTo>
                <a:close/>
                <a:moveTo>
                  <a:pt x="1103190" y="1400904"/>
                </a:moveTo>
                <a:cubicBezTo>
                  <a:pt x="1103912" y="1400440"/>
                  <a:pt x="1106391" y="1402763"/>
                  <a:pt x="1106081" y="1403848"/>
                </a:cubicBezTo>
                <a:cubicBezTo>
                  <a:pt x="1105978" y="1406946"/>
                  <a:pt x="1102880" y="1406946"/>
                  <a:pt x="1099472" y="1408339"/>
                </a:cubicBezTo>
                <a:cubicBezTo>
                  <a:pt x="1099782" y="1407101"/>
                  <a:pt x="1098646" y="1406946"/>
                  <a:pt x="1097407" y="1406791"/>
                </a:cubicBezTo>
                <a:cubicBezTo>
                  <a:pt x="1097821" y="1404932"/>
                  <a:pt x="1098130" y="1402144"/>
                  <a:pt x="1100298" y="1401215"/>
                </a:cubicBezTo>
                <a:cubicBezTo>
                  <a:pt x="1101022" y="1400904"/>
                  <a:pt x="1101951" y="1400750"/>
                  <a:pt x="1103190" y="1400904"/>
                </a:cubicBezTo>
                <a:close/>
                <a:moveTo>
                  <a:pt x="1235255" y="1400595"/>
                </a:moveTo>
                <a:cubicBezTo>
                  <a:pt x="1238971" y="1400130"/>
                  <a:pt x="1240107" y="1404312"/>
                  <a:pt x="1238352" y="1405706"/>
                </a:cubicBezTo>
                <a:cubicBezTo>
                  <a:pt x="1237732" y="1406171"/>
                  <a:pt x="1236803" y="1406326"/>
                  <a:pt x="1235667" y="1406016"/>
                </a:cubicBezTo>
                <a:cubicBezTo>
                  <a:pt x="1235358" y="1405087"/>
                  <a:pt x="1235255" y="1404312"/>
                  <a:pt x="1235255" y="1403538"/>
                </a:cubicBezTo>
                <a:cubicBezTo>
                  <a:pt x="1235151" y="1402763"/>
                  <a:pt x="1235255" y="1401834"/>
                  <a:pt x="1235255" y="1400595"/>
                </a:cubicBezTo>
                <a:close/>
                <a:moveTo>
                  <a:pt x="1792735" y="1399975"/>
                </a:moveTo>
                <a:cubicBezTo>
                  <a:pt x="1793354" y="1399665"/>
                  <a:pt x="1793767" y="1400595"/>
                  <a:pt x="1793561" y="1401679"/>
                </a:cubicBezTo>
                <a:cubicBezTo>
                  <a:pt x="1793561" y="1401679"/>
                  <a:pt x="1792838" y="1401989"/>
                  <a:pt x="1792838" y="1401989"/>
                </a:cubicBezTo>
                <a:cubicBezTo>
                  <a:pt x="1792631" y="1401524"/>
                  <a:pt x="1792322" y="1401215"/>
                  <a:pt x="1792322" y="1400750"/>
                </a:cubicBezTo>
                <a:cubicBezTo>
                  <a:pt x="1792219" y="1400440"/>
                  <a:pt x="1792322" y="1400130"/>
                  <a:pt x="1792735" y="1399975"/>
                </a:cubicBezTo>
                <a:close/>
                <a:moveTo>
                  <a:pt x="4320469" y="1399926"/>
                </a:moveTo>
                <a:cubicBezTo>
                  <a:pt x="4321749" y="1399926"/>
                  <a:pt x="4323030" y="1400495"/>
                  <a:pt x="4323884" y="1401633"/>
                </a:cubicBezTo>
                <a:cubicBezTo>
                  <a:pt x="4324737" y="1402771"/>
                  <a:pt x="4325378" y="1404194"/>
                  <a:pt x="4325592" y="1405616"/>
                </a:cubicBezTo>
                <a:cubicBezTo>
                  <a:pt x="4325164" y="1407181"/>
                  <a:pt x="4325378" y="1407181"/>
                  <a:pt x="4324951" y="1408889"/>
                </a:cubicBezTo>
                <a:cubicBezTo>
                  <a:pt x="4323244" y="1410027"/>
                  <a:pt x="4322177" y="1412303"/>
                  <a:pt x="4319616" y="1412446"/>
                </a:cubicBezTo>
                <a:cubicBezTo>
                  <a:pt x="4317908" y="1412018"/>
                  <a:pt x="4316414" y="1410311"/>
                  <a:pt x="4315347" y="1408462"/>
                </a:cubicBezTo>
                <a:lnTo>
                  <a:pt x="4314280" y="1405474"/>
                </a:lnTo>
                <a:lnTo>
                  <a:pt x="4313213" y="1406755"/>
                </a:lnTo>
                <a:cubicBezTo>
                  <a:pt x="4311933" y="1407324"/>
                  <a:pt x="4310012" y="1406755"/>
                  <a:pt x="4307237" y="1406328"/>
                </a:cubicBezTo>
                <a:cubicBezTo>
                  <a:pt x="4307664" y="1401206"/>
                  <a:pt x="4310225" y="1400495"/>
                  <a:pt x="4315134" y="1400637"/>
                </a:cubicBezTo>
                <a:lnTo>
                  <a:pt x="4314921" y="1401206"/>
                </a:lnTo>
                <a:lnTo>
                  <a:pt x="4315987" y="1400068"/>
                </a:lnTo>
                <a:cubicBezTo>
                  <a:pt x="4317268" y="1399499"/>
                  <a:pt x="4318975" y="1399499"/>
                  <a:pt x="4320469" y="1399926"/>
                </a:cubicBezTo>
                <a:close/>
                <a:moveTo>
                  <a:pt x="5328451" y="1399499"/>
                </a:moveTo>
                <a:cubicBezTo>
                  <a:pt x="5329518" y="1399357"/>
                  <a:pt x="5330371" y="1399499"/>
                  <a:pt x="5331439" y="1399784"/>
                </a:cubicBezTo>
                <a:cubicBezTo>
                  <a:pt x="5335494" y="1400922"/>
                  <a:pt x="5340402" y="1404337"/>
                  <a:pt x="5344030" y="1405759"/>
                </a:cubicBezTo>
                <a:cubicBezTo>
                  <a:pt x="5343604" y="1411165"/>
                  <a:pt x="5342963" y="1412872"/>
                  <a:pt x="5339549" y="1417140"/>
                </a:cubicBezTo>
                <a:cubicBezTo>
                  <a:pt x="5331866" y="1416998"/>
                  <a:pt x="5327597" y="1412588"/>
                  <a:pt x="5323542" y="1408178"/>
                </a:cubicBezTo>
                <a:cubicBezTo>
                  <a:pt x="5323969" y="1402060"/>
                  <a:pt x="5325890" y="1399784"/>
                  <a:pt x="5328451" y="1399499"/>
                </a:cubicBezTo>
                <a:close/>
                <a:moveTo>
                  <a:pt x="3618105" y="1399072"/>
                </a:moveTo>
                <a:cubicBezTo>
                  <a:pt x="3618745" y="1399072"/>
                  <a:pt x="3619385" y="1399642"/>
                  <a:pt x="3620239" y="1400780"/>
                </a:cubicBezTo>
                <a:cubicBezTo>
                  <a:pt x="3622800" y="1403909"/>
                  <a:pt x="3625575" y="1410596"/>
                  <a:pt x="3626215" y="1411307"/>
                </a:cubicBezTo>
                <a:cubicBezTo>
                  <a:pt x="3626215" y="1411307"/>
                  <a:pt x="3626855" y="1412446"/>
                  <a:pt x="3627495" y="1413442"/>
                </a:cubicBezTo>
                <a:cubicBezTo>
                  <a:pt x="3627282" y="1415148"/>
                  <a:pt x="3626428" y="1415575"/>
                  <a:pt x="3627068" y="1416714"/>
                </a:cubicBezTo>
                <a:cubicBezTo>
                  <a:pt x="3622160" y="1415433"/>
                  <a:pt x="3621093" y="1411734"/>
                  <a:pt x="3620026" y="1408035"/>
                </a:cubicBezTo>
                <a:cubicBezTo>
                  <a:pt x="3619599" y="1405332"/>
                  <a:pt x="3618958" y="1404337"/>
                  <a:pt x="3616611" y="1402914"/>
                </a:cubicBezTo>
                <a:cubicBezTo>
                  <a:pt x="3616611" y="1402914"/>
                  <a:pt x="3616611" y="1402914"/>
                  <a:pt x="3617038" y="1399642"/>
                </a:cubicBezTo>
                <a:close/>
                <a:moveTo>
                  <a:pt x="1054660" y="1399046"/>
                </a:moveTo>
                <a:cubicBezTo>
                  <a:pt x="1055795" y="1400285"/>
                  <a:pt x="1056001" y="1402144"/>
                  <a:pt x="1054969" y="1405087"/>
                </a:cubicBezTo>
                <a:cubicBezTo>
                  <a:pt x="1050426" y="1406636"/>
                  <a:pt x="1049600" y="1404158"/>
                  <a:pt x="1048670" y="1401679"/>
                </a:cubicBezTo>
                <a:cubicBezTo>
                  <a:pt x="1051871" y="1401215"/>
                  <a:pt x="1051149" y="1397497"/>
                  <a:pt x="1054660" y="1399046"/>
                </a:cubicBezTo>
                <a:close/>
                <a:moveTo>
                  <a:pt x="4556938" y="1398219"/>
                </a:moveTo>
                <a:cubicBezTo>
                  <a:pt x="4557152" y="1399357"/>
                  <a:pt x="4558432" y="1400495"/>
                  <a:pt x="4558646" y="1401775"/>
                </a:cubicBezTo>
                <a:cubicBezTo>
                  <a:pt x="4556511" y="1404337"/>
                  <a:pt x="4552883" y="1402060"/>
                  <a:pt x="4552670" y="1400780"/>
                </a:cubicBezTo>
                <a:cubicBezTo>
                  <a:pt x="4553523" y="1399499"/>
                  <a:pt x="4555871" y="1399499"/>
                  <a:pt x="4556938" y="1398219"/>
                </a:cubicBezTo>
                <a:close/>
                <a:moveTo>
                  <a:pt x="4147599" y="1397223"/>
                </a:moveTo>
                <a:cubicBezTo>
                  <a:pt x="4148880" y="1397365"/>
                  <a:pt x="4150374" y="1397650"/>
                  <a:pt x="4152508" y="1397934"/>
                </a:cubicBezTo>
                <a:cubicBezTo>
                  <a:pt x="4154215" y="1398219"/>
                  <a:pt x="4155496" y="1399072"/>
                  <a:pt x="4156777" y="1400210"/>
                </a:cubicBezTo>
                <a:cubicBezTo>
                  <a:pt x="4157844" y="1401349"/>
                  <a:pt x="4158484" y="1402914"/>
                  <a:pt x="4158910" y="1404763"/>
                </a:cubicBezTo>
                <a:cubicBezTo>
                  <a:pt x="4160831" y="1406186"/>
                  <a:pt x="4162539" y="1409173"/>
                  <a:pt x="4162539" y="1411734"/>
                </a:cubicBezTo>
                <a:cubicBezTo>
                  <a:pt x="4161472" y="1415006"/>
                  <a:pt x="4159337" y="1416287"/>
                  <a:pt x="4157844" y="1416002"/>
                </a:cubicBezTo>
                <a:lnTo>
                  <a:pt x="4150374" y="1413442"/>
                </a:lnTo>
                <a:lnTo>
                  <a:pt x="4149733" y="1414010"/>
                </a:lnTo>
                <a:cubicBezTo>
                  <a:pt x="4145892" y="1414722"/>
                  <a:pt x="4142264" y="1409316"/>
                  <a:pt x="4142051" y="1404906"/>
                </a:cubicBezTo>
                <a:lnTo>
                  <a:pt x="4142691" y="1401917"/>
                </a:lnTo>
                <a:lnTo>
                  <a:pt x="4142477" y="1401633"/>
                </a:lnTo>
                <a:cubicBezTo>
                  <a:pt x="4143544" y="1397934"/>
                  <a:pt x="4143971" y="1396938"/>
                  <a:pt x="4147599" y="1397223"/>
                </a:cubicBezTo>
                <a:close/>
                <a:moveTo>
                  <a:pt x="3869300" y="1396369"/>
                </a:moveTo>
                <a:cubicBezTo>
                  <a:pt x="3870367" y="1396654"/>
                  <a:pt x="3872501" y="1399357"/>
                  <a:pt x="3873568" y="1400637"/>
                </a:cubicBezTo>
                <a:cubicBezTo>
                  <a:pt x="3874849" y="1400780"/>
                  <a:pt x="3875916" y="1402202"/>
                  <a:pt x="3875703" y="1403340"/>
                </a:cubicBezTo>
                <a:cubicBezTo>
                  <a:pt x="3875703" y="1403340"/>
                  <a:pt x="3876769" y="1404763"/>
                  <a:pt x="3878050" y="1404906"/>
                </a:cubicBezTo>
                <a:lnTo>
                  <a:pt x="3879331" y="1407181"/>
                </a:lnTo>
                <a:lnTo>
                  <a:pt x="3879331" y="1407039"/>
                </a:lnTo>
                <a:cubicBezTo>
                  <a:pt x="3880184" y="1406612"/>
                  <a:pt x="3881038" y="1406186"/>
                  <a:pt x="3881892" y="1406470"/>
                </a:cubicBezTo>
                <a:cubicBezTo>
                  <a:pt x="3882532" y="1406897"/>
                  <a:pt x="3882959" y="1407039"/>
                  <a:pt x="3883172" y="1407466"/>
                </a:cubicBezTo>
                <a:cubicBezTo>
                  <a:pt x="3883386" y="1407751"/>
                  <a:pt x="3883599" y="1408320"/>
                  <a:pt x="3884026" y="1409458"/>
                </a:cubicBezTo>
                <a:cubicBezTo>
                  <a:pt x="3882105" y="1409600"/>
                  <a:pt x="3881038" y="1409743"/>
                  <a:pt x="3880398" y="1409600"/>
                </a:cubicBezTo>
                <a:lnTo>
                  <a:pt x="3879757" y="1409316"/>
                </a:lnTo>
                <a:lnTo>
                  <a:pt x="3879971" y="1409885"/>
                </a:lnTo>
                <a:lnTo>
                  <a:pt x="3878264" y="1408746"/>
                </a:lnTo>
                <a:lnTo>
                  <a:pt x="3877197" y="1408462"/>
                </a:lnTo>
                <a:lnTo>
                  <a:pt x="3877624" y="1408178"/>
                </a:lnTo>
                <a:lnTo>
                  <a:pt x="3875489" y="1405616"/>
                </a:lnTo>
                <a:cubicBezTo>
                  <a:pt x="3875489" y="1405616"/>
                  <a:pt x="3874422" y="1405474"/>
                  <a:pt x="3873355" y="1405332"/>
                </a:cubicBezTo>
                <a:cubicBezTo>
                  <a:pt x="3869940" y="1402344"/>
                  <a:pt x="3867806" y="1400922"/>
                  <a:pt x="3869300" y="1396369"/>
                </a:cubicBezTo>
                <a:close/>
                <a:moveTo>
                  <a:pt x="3823841" y="1396085"/>
                </a:moveTo>
                <a:cubicBezTo>
                  <a:pt x="3828537" y="1395515"/>
                  <a:pt x="3829390" y="1398930"/>
                  <a:pt x="3831311" y="1403056"/>
                </a:cubicBezTo>
                <a:cubicBezTo>
                  <a:pt x="3829390" y="1404479"/>
                  <a:pt x="3828964" y="1408178"/>
                  <a:pt x="3825976" y="1409173"/>
                </a:cubicBezTo>
                <a:cubicBezTo>
                  <a:pt x="3825976" y="1409173"/>
                  <a:pt x="3824482" y="1409600"/>
                  <a:pt x="3822348" y="1408462"/>
                </a:cubicBezTo>
                <a:cubicBezTo>
                  <a:pt x="3818293" y="1408746"/>
                  <a:pt x="3816585" y="1403767"/>
                  <a:pt x="3816585" y="1403767"/>
                </a:cubicBezTo>
                <a:cubicBezTo>
                  <a:pt x="3816585" y="1403767"/>
                  <a:pt x="3816585" y="1403767"/>
                  <a:pt x="3815945" y="1404906"/>
                </a:cubicBezTo>
                <a:cubicBezTo>
                  <a:pt x="3817012" y="1402771"/>
                  <a:pt x="3817012" y="1400068"/>
                  <a:pt x="3817866" y="1397934"/>
                </a:cubicBezTo>
                <a:cubicBezTo>
                  <a:pt x="3820427" y="1396796"/>
                  <a:pt x="3822348" y="1396227"/>
                  <a:pt x="3823841" y="1396085"/>
                </a:cubicBezTo>
                <a:close/>
                <a:moveTo>
                  <a:pt x="1790670" y="1395948"/>
                </a:moveTo>
                <a:cubicBezTo>
                  <a:pt x="1790670" y="1395948"/>
                  <a:pt x="1791806" y="1396568"/>
                  <a:pt x="1791806" y="1396568"/>
                </a:cubicBezTo>
                <a:cubicBezTo>
                  <a:pt x="1791599" y="1397651"/>
                  <a:pt x="1792219" y="1397497"/>
                  <a:pt x="1790773" y="1397961"/>
                </a:cubicBezTo>
                <a:cubicBezTo>
                  <a:pt x="1791083" y="1396877"/>
                  <a:pt x="1791083" y="1396877"/>
                  <a:pt x="1790670" y="1395948"/>
                </a:cubicBezTo>
                <a:close/>
                <a:moveTo>
                  <a:pt x="4757339" y="1395089"/>
                </a:moveTo>
                <a:cubicBezTo>
                  <a:pt x="4772919" y="1398361"/>
                  <a:pt x="4760754" y="1409173"/>
                  <a:pt x="4756913" y="1416429"/>
                </a:cubicBezTo>
                <a:lnTo>
                  <a:pt x="4753284" y="1415291"/>
                </a:lnTo>
                <a:lnTo>
                  <a:pt x="4752858" y="1415575"/>
                </a:lnTo>
                <a:cubicBezTo>
                  <a:pt x="4747736" y="1417425"/>
                  <a:pt x="4743040" y="1413299"/>
                  <a:pt x="4744108" y="1408462"/>
                </a:cubicBezTo>
                <a:cubicBezTo>
                  <a:pt x="4744535" y="1406328"/>
                  <a:pt x="4746028" y="1404052"/>
                  <a:pt x="4749230" y="1402202"/>
                </a:cubicBezTo>
                <a:lnTo>
                  <a:pt x="4750083" y="1402771"/>
                </a:lnTo>
                <a:lnTo>
                  <a:pt x="4750510" y="1401349"/>
                </a:lnTo>
                <a:cubicBezTo>
                  <a:pt x="4752431" y="1398930"/>
                  <a:pt x="4754992" y="1397080"/>
                  <a:pt x="4757339" y="1395089"/>
                </a:cubicBezTo>
                <a:close/>
                <a:moveTo>
                  <a:pt x="1587048" y="1394709"/>
                </a:moveTo>
                <a:cubicBezTo>
                  <a:pt x="1590559" y="1394554"/>
                  <a:pt x="1593657" y="1396103"/>
                  <a:pt x="1595102" y="1398271"/>
                </a:cubicBezTo>
                <a:cubicBezTo>
                  <a:pt x="1596548" y="1400595"/>
                  <a:pt x="1596341" y="1403693"/>
                  <a:pt x="1593140" y="1406481"/>
                </a:cubicBezTo>
                <a:cubicBezTo>
                  <a:pt x="1587358" y="1406946"/>
                  <a:pt x="1583021" y="1402299"/>
                  <a:pt x="1584054" y="1398271"/>
                </a:cubicBezTo>
                <a:cubicBezTo>
                  <a:pt x="1584467" y="1396877"/>
                  <a:pt x="1585396" y="1395638"/>
                  <a:pt x="1587048" y="1394709"/>
                </a:cubicBezTo>
                <a:close/>
                <a:moveTo>
                  <a:pt x="5561078" y="1394093"/>
                </a:moveTo>
                <a:cubicBezTo>
                  <a:pt x="5561078" y="1395800"/>
                  <a:pt x="5562572" y="1395942"/>
                  <a:pt x="5564280" y="1395942"/>
                </a:cubicBezTo>
                <a:cubicBezTo>
                  <a:pt x="5569615" y="1404337"/>
                  <a:pt x="5556169" y="1421551"/>
                  <a:pt x="5549341" y="1416571"/>
                </a:cubicBezTo>
                <a:cubicBezTo>
                  <a:pt x="5548486" y="1415860"/>
                  <a:pt x="5547633" y="1414722"/>
                  <a:pt x="5546993" y="1412872"/>
                </a:cubicBezTo>
                <a:cubicBezTo>
                  <a:pt x="5548060" y="1402771"/>
                  <a:pt x="5551261" y="1395373"/>
                  <a:pt x="5561078" y="1394093"/>
                </a:cubicBezTo>
                <a:close/>
                <a:moveTo>
                  <a:pt x="5756571" y="1393524"/>
                </a:moveTo>
                <a:cubicBezTo>
                  <a:pt x="5757211" y="1393381"/>
                  <a:pt x="5757851" y="1393381"/>
                  <a:pt x="5758705" y="1393950"/>
                </a:cubicBezTo>
                <a:cubicBezTo>
                  <a:pt x="5762120" y="1402629"/>
                  <a:pt x="5749955" y="1424254"/>
                  <a:pt x="5738430" y="1420982"/>
                </a:cubicBezTo>
                <a:cubicBezTo>
                  <a:pt x="5743126" y="1413442"/>
                  <a:pt x="5748461" y="1406897"/>
                  <a:pt x="5751449" y="1395089"/>
                </a:cubicBezTo>
                <a:cubicBezTo>
                  <a:pt x="5753583" y="1395942"/>
                  <a:pt x="5754650" y="1393666"/>
                  <a:pt x="5756571" y="1393524"/>
                </a:cubicBezTo>
                <a:close/>
                <a:moveTo>
                  <a:pt x="4971186" y="1392813"/>
                </a:moveTo>
                <a:cubicBezTo>
                  <a:pt x="4971826" y="1392670"/>
                  <a:pt x="4972894" y="1392955"/>
                  <a:pt x="4974174" y="1394093"/>
                </a:cubicBezTo>
                <a:cubicBezTo>
                  <a:pt x="4976522" y="1395231"/>
                  <a:pt x="4976735" y="1396369"/>
                  <a:pt x="4974814" y="1400068"/>
                </a:cubicBezTo>
                <a:cubicBezTo>
                  <a:pt x="4972894" y="1402629"/>
                  <a:pt x="4972040" y="1405190"/>
                  <a:pt x="4970973" y="1405190"/>
                </a:cubicBezTo>
                <a:cubicBezTo>
                  <a:pt x="4971186" y="1406470"/>
                  <a:pt x="4970119" y="1407751"/>
                  <a:pt x="4970333" y="1408889"/>
                </a:cubicBezTo>
                <a:cubicBezTo>
                  <a:pt x="4970333" y="1408889"/>
                  <a:pt x="4970333" y="1408889"/>
                  <a:pt x="4969266" y="1409031"/>
                </a:cubicBezTo>
                <a:cubicBezTo>
                  <a:pt x="4969692" y="1404052"/>
                  <a:pt x="4967771" y="1398076"/>
                  <a:pt x="4969479" y="1394377"/>
                </a:cubicBezTo>
                <a:cubicBezTo>
                  <a:pt x="4969906" y="1393666"/>
                  <a:pt x="4970546" y="1393097"/>
                  <a:pt x="4971186" y="1392813"/>
                </a:cubicBezTo>
                <a:close/>
                <a:moveTo>
                  <a:pt x="4005675" y="1392813"/>
                </a:moveTo>
                <a:cubicBezTo>
                  <a:pt x="4006529" y="1392528"/>
                  <a:pt x="4007596" y="1392670"/>
                  <a:pt x="4008876" y="1393239"/>
                </a:cubicBezTo>
                <a:cubicBezTo>
                  <a:pt x="4009517" y="1398361"/>
                  <a:pt x="4001620" y="1402629"/>
                  <a:pt x="3997138" y="1400352"/>
                </a:cubicBezTo>
                <a:cubicBezTo>
                  <a:pt x="4002047" y="1397792"/>
                  <a:pt x="4003114" y="1393666"/>
                  <a:pt x="4005675" y="1392813"/>
                </a:cubicBezTo>
                <a:close/>
                <a:moveTo>
                  <a:pt x="5976820" y="1392670"/>
                </a:moveTo>
                <a:cubicBezTo>
                  <a:pt x="5979595" y="1393381"/>
                  <a:pt x="5981515" y="1394946"/>
                  <a:pt x="5982796" y="1396796"/>
                </a:cubicBezTo>
                <a:cubicBezTo>
                  <a:pt x="5986211" y="1402202"/>
                  <a:pt x="5983009" y="1410881"/>
                  <a:pt x="5977033" y="1412588"/>
                </a:cubicBezTo>
                <a:cubicBezTo>
                  <a:pt x="5974472" y="1413299"/>
                  <a:pt x="5971271" y="1412730"/>
                  <a:pt x="5968070" y="1409743"/>
                </a:cubicBezTo>
                <a:cubicBezTo>
                  <a:pt x="5972552" y="1402344"/>
                  <a:pt x="5970417" y="1396938"/>
                  <a:pt x="5976820" y="1392670"/>
                </a:cubicBezTo>
                <a:close/>
                <a:moveTo>
                  <a:pt x="5834682" y="1391816"/>
                </a:moveTo>
                <a:cubicBezTo>
                  <a:pt x="5836390" y="1392101"/>
                  <a:pt x="5838310" y="1392670"/>
                  <a:pt x="5840018" y="1393666"/>
                </a:cubicBezTo>
                <a:cubicBezTo>
                  <a:pt x="5837244" y="1400068"/>
                  <a:pt x="5832975" y="1402202"/>
                  <a:pt x="5826786" y="1402771"/>
                </a:cubicBezTo>
                <a:cubicBezTo>
                  <a:pt x="5825932" y="1400780"/>
                  <a:pt x="5828066" y="1395942"/>
                  <a:pt x="5829347" y="1392813"/>
                </a:cubicBezTo>
                <a:cubicBezTo>
                  <a:pt x="5831054" y="1391959"/>
                  <a:pt x="5832762" y="1391674"/>
                  <a:pt x="5834682" y="1391816"/>
                </a:cubicBezTo>
                <a:close/>
                <a:moveTo>
                  <a:pt x="3539993" y="1391816"/>
                </a:moveTo>
                <a:cubicBezTo>
                  <a:pt x="3540420" y="1392528"/>
                  <a:pt x="3540633" y="1392813"/>
                  <a:pt x="3540633" y="1392955"/>
                </a:cubicBezTo>
                <a:cubicBezTo>
                  <a:pt x="3540633" y="1393239"/>
                  <a:pt x="3540420" y="1393097"/>
                  <a:pt x="3539780" y="1393097"/>
                </a:cubicBezTo>
                <a:lnTo>
                  <a:pt x="3539993" y="1394946"/>
                </a:lnTo>
                <a:lnTo>
                  <a:pt x="3541701" y="1393950"/>
                </a:lnTo>
                <a:cubicBezTo>
                  <a:pt x="3543835" y="1392670"/>
                  <a:pt x="3545969" y="1391816"/>
                  <a:pt x="3548103" y="1391816"/>
                </a:cubicBezTo>
                <a:cubicBezTo>
                  <a:pt x="3548957" y="1392101"/>
                  <a:pt x="3549597" y="1392243"/>
                  <a:pt x="3550237" y="1392813"/>
                </a:cubicBezTo>
                <a:cubicBezTo>
                  <a:pt x="3550664" y="1393381"/>
                  <a:pt x="3551091" y="1394235"/>
                  <a:pt x="3550664" y="1395942"/>
                </a:cubicBezTo>
                <a:cubicBezTo>
                  <a:pt x="3551091" y="1398645"/>
                  <a:pt x="3550237" y="1399215"/>
                  <a:pt x="3545969" y="1399072"/>
                </a:cubicBezTo>
                <a:cubicBezTo>
                  <a:pt x="3544475" y="1398645"/>
                  <a:pt x="3542981" y="1398503"/>
                  <a:pt x="3541914" y="1398361"/>
                </a:cubicBezTo>
                <a:lnTo>
                  <a:pt x="3540420" y="1397792"/>
                </a:lnTo>
                <a:lnTo>
                  <a:pt x="3540420" y="1398076"/>
                </a:lnTo>
                <a:lnTo>
                  <a:pt x="3537219" y="1397934"/>
                </a:lnTo>
                <a:lnTo>
                  <a:pt x="3536152" y="1398219"/>
                </a:lnTo>
                <a:lnTo>
                  <a:pt x="3535725" y="1397934"/>
                </a:lnTo>
                <a:lnTo>
                  <a:pt x="3534658" y="1397934"/>
                </a:lnTo>
                <a:cubicBezTo>
                  <a:pt x="3535938" y="1396796"/>
                  <a:pt x="3535085" y="1394235"/>
                  <a:pt x="3536365" y="1392955"/>
                </a:cubicBezTo>
                <a:cubicBezTo>
                  <a:pt x="3536365" y="1392955"/>
                  <a:pt x="3539993" y="1391816"/>
                  <a:pt x="3539993" y="1391816"/>
                </a:cubicBezTo>
                <a:close/>
                <a:moveTo>
                  <a:pt x="1559892" y="1391611"/>
                </a:moveTo>
                <a:cubicBezTo>
                  <a:pt x="1561234" y="1393934"/>
                  <a:pt x="1560098" y="1397961"/>
                  <a:pt x="1554006" y="1404467"/>
                </a:cubicBezTo>
                <a:cubicBezTo>
                  <a:pt x="1548017" y="1402299"/>
                  <a:pt x="1545127" y="1399975"/>
                  <a:pt x="1544300" y="1397807"/>
                </a:cubicBezTo>
                <a:cubicBezTo>
                  <a:pt x="1543371" y="1395638"/>
                  <a:pt x="1544507" y="1393625"/>
                  <a:pt x="1546572" y="1392230"/>
                </a:cubicBezTo>
                <a:cubicBezTo>
                  <a:pt x="1550496" y="1389287"/>
                  <a:pt x="1557930" y="1388358"/>
                  <a:pt x="1559892" y="1391611"/>
                </a:cubicBezTo>
                <a:close/>
                <a:moveTo>
                  <a:pt x="1150274" y="1391611"/>
                </a:moveTo>
                <a:cubicBezTo>
                  <a:pt x="1151307" y="1391456"/>
                  <a:pt x="1152649" y="1391766"/>
                  <a:pt x="1154818" y="1392850"/>
                </a:cubicBezTo>
                <a:cubicBezTo>
                  <a:pt x="1154818" y="1392850"/>
                  <a:pt x="1155644" y="1393625"/>
                  <a:pt x="1155644" y="1393625"/>
                </a:cubicBezTo>
                <a:lnTo>
                  <a:pt x="1158741" y="1398116"/>
                </a:lnTo>
                <a:lnTo>
                  <a:pt x="1161013" y="1398426"/>
                </a:lnTo>
                <a:cubicBezTo>
                  <a:pt x="1163182" y="1403073"/>
                  <a:pt x="1158535" y="1407565"/>
                  <a:pt x="1153889" y="1407875"/>
                </a:cubicBezTo>
                <a:cubicBezTo>
                  <a:pt x="1152443" y="1407875"/>
                  <a:pt x="1150894" y="1407565"/>
                  <a:pt x="1149655" y="1406481"/>
                </a:cubicBezTo>
                <a:cubicBezTo>
                  <a:pt x="1148932" y="1404932"/>
                  <a:pt x="1148932" y="1403383"/>
                  <a:pt x="1149448" y="1402144"/>
                </a:cubicBezTo>
                <a:lnTo>
                  <a:pt x="1150791" y="1400750"/>
                </a:lnTo>
                <a:lnTo>
                  <a:pt x="1149448" y="1398891"/>
                </a:lnTo>
                <a:cubicBezTo>
                  <a:pt x="1148829" y="1397497"/>
                  <a:pt x="1148209" y="1395948"/>
                  <a:pt x="1146867" y="1394554"/>
                </a:cubicBezTo>
                <a:cubicBezTo>
                  <a:pt x="1148209" y="1393005"/>
                  <a:pt x="1149138" y="1391921"/>
                  <a:pt x="1150274" y="1391611"/>
                </a:cubicBezTo>
                <a:close/>
                <a:moveTo>
                  <a:pt x="4259858" y="1391532"/>
                </a:moveTo>
                <a:cubicBezTo>
                  <a:pt x="4261139" y="1390963"/>
                  <a:pt x="4262632" y="1390678"/>
                  <a:pt x="4264553" y="1391532"/>
                </a:cubicBezTo>
                <a:cubicBezTo>
                  <a:pt x="4266474" y="1394377"/>
                  <a:pt x="4269889" y="1396654"/>
                  <a:pt x="4270956" y="1400495"/>
                </a:cubicBezTo>
                <a:cubicBezTo>
                  <a:pt x="4271169" y="1401775"/>
                  <a:pt x="4271382" y="1403340"/>
                  <a:pt x="4270956" y="1405047"/>
                </a:cubicBezTo>
                <a:lnTo>
                  <a:pt x="4259004" y="1404763"/>
                </a:lnTo>
                <a:lnTo>
                  <a:pt x="4262206" y="1405047"/>
                </a:lnTo>
                <a:cubicBezTo>
                  <a:pt x="4263273" y="1405474"/>
                  <a:pt x="4263699" y="1406186"/>
                  <a:pt x="4263486" y="1407893"/>
                </a:cubicBezTo>
                <a:cubicBezTo>
                  <a:pt x="4263913" y="1410596"/>
                  <a:pt x="4261352" y="1410738"/>
                  <a:pt x="4260925" y="1414153"/>
                </a:cubicBezTo>
                <a:cubicBezTo>
                  <a:pt x="4260925" y="1415575"/>
                  <a:pt x="4261566" y="1416856"/>
                  <a:pt x="4262632" y="1417994"/>
                </a:cubicBezTo>
                <a:lnTo>
                  <a:pt x="4264553" y="1419701"/>
                </a:lnTo>
                <a:lnTo>
                  <a:pt x="4266901" y="1418137"/>
                </a:lnTo>
                <a:cubicBezTo>
                  <a:pt x="4268395" y="1417852"/>
                  <a:pt x="4269675" y="1418137"/>
                  <a:pt x="4269675" y="1418137"/>
                </a:cubicBezTo>
                <a:cubicBezTo>
                  <a:pt x="4269675" y="1418137"/>
                  <a:pt x="4269675" y="1418137"/>
                  <a:pt x="4269035" y="1417140"/>
                </a:cubicBezTo>
                <a:lnTo>
                  <a:pt x="4269889" y="1418137"/>
                </a:lnTo>
                <a:lnTo>
                  <a:pt x="4270102" y="1416002"/>
                </a:lnTo>
                <a:lnTo>
                  <a:pt x="4268608" y="1414864"/>
                </a:lnTo>
                <a:cubicBezTo>
                  <a:pt x="4267541" y="1413442"/>
                  <a:pt x="4266474" y="1412018"/>
                  <a:pt x="4267754" y="1411023"/>
                </a:cubicBezTo>
                <a:cubicBezTo>
                  <a:pt x="4268395" y="1410596"/>
                  <a:pt x="4268608" y="1410027"/>
                  <a:pt x="4269035" y="1409885"/>
                </a:cubicBezTo>
                <a:cubicBezTo>
                  <a:pt x="4269462" y="1409600"/>
                  <a:pt x="4270102" y="1409600"/>
                  <a:pt x="4271169" y="1410454"/>
                </a:cubicBezTo>
                <a:lnTo>
                  <a:pt x="4272663" y="1411307"/>
                </a:lnTo>
                <a:lnTo>
                  <a:pt x="4273090" y="1410596"/>
                </a:lnTo>
                <a:cubicBezTo>
                  <a:pt x="4274157" y="1409600"/>
                  <a:pt x="4275651" y="1408889"/>
                  <a:pt x="4277358" y="1408462"/>
                </a:cubicBezTo>
                <a:cubicBezTo>
                  <a:pt x="4279706" y="1414010"/>
                  <a:pt x="4279493" y="1417852"/>
                  <a:pt x="4277785" y="1420697"/>
                </a:cubicBezTo>
                <a:lnTo>
                  <a:pt x="4272237" y="1426673"/>
                </a:lnTo>
                <a:lnTo>
                  <a:pt x="4271382" y="1429233"/>
                </a:lnTo>
                <a:lnTo>
                  <a:pt x="4272237" y="1433501"/>
                </a:lnTo>
                <a:cubicBezTo>
                  <a:pt x="4269035" y="1432648"/>
                  <a:pt x="4267328" y="1439761"/>
                  <a:pt x="4262419" y="1438481"/>
                </a:cubicBezTo>
                <a:cubicBezTo>
                  <a:pt x="4254949" y="1437485"/>
                  <a:pt x="4251108" y="1435920"/>
                  <a:pt x="4248973" y="1433359"/>
                </a:cubicBezTo>
                <a:lnTo>
                  <a:pt x="4247693" y="1429376"/>
                </a:lnTo>
                <a:lnTo>
                  <a:pt x="4244065" y="1429518"/>
                </a:lnTo>
                <a:cubicBezTo>
                  <a:pt x="4243638" y="1438765"/>
                  <a:pt x="4228058" y="1437343"/>
                  <a:pt x="4224644" y="1438054"/>
                </a:cubicBezTo>
                <a:cubicBezTo>
                  <a:pt x="4224644" y="1438054"/>
                  <a:pt x="4223790" y="1438623"/>
                  <a:pt x="4222083" y="1438196"/>
                </a:cubicBezTo>
                <a:cubicBezTo>
                  <a:pt x="4219522" y="1438481"/>
                  <a:pt x="4221656" y="1435635"/>
                  <a:pt x="4220162" y="1435209"/>
                </a:cubicBezTo>
                <a:cubicBezTo>
                  <a:pt x="4224430" y="1433786"/>
                  <a:pt x="4227845" y="1431510"/>
                  <a:pt x="4230193" y="1429518"/>
                </a:cubicBezTo>
                <a:lnTo>
                  <a:pt x="4232113" y="1427811"/>
                </a:lnTo>
                <a:lnTo>
                  <a:pt x="4231260" y="1422689"/>
                </a:lnTo>
                <a:cubicBezTo>
                  <a:pt x="4230619" y="1420697"/>
                  <a:pt x="4230193" y="1418421"/>
                  <a:pt x="4231046" y="1413726"/>
                </a:cubicBezTo>
                <a:cubicBezTo>
                  <a:pt x="4232541" y="1404763"/>
                  <a:pt x="4237449" y="1401206"/>
                  <a:pt x="4242357" y="1400068"/>
                </a:cubicBezTo>
                <a:lnTo>
                  <a:pt x="4246199" y="1399926"/>
                </a:lnTo>
                <a:lnTo>
                  <a:pt x="4247266" y="1396369"/>
                </a:lnTo>
                <a:cubicBezTo>
                  <a:pt x="4254523" y="1400352"/>
                  <a:pt x="4256230" y="1393666"/>
                  <a:pt x="4259858" y="1391532"/>
                </a:cubicBezTo>
                <a:close/>
                <a:moveTo>
                  <a:pt x="3957656" y="1391390"/>
                </a:moveTo>
                <a:cubicBezTo>
                  <a:pt x="3960004" y="1391959"/>
                  <a:pt x="3962564" y="1392670"/>
                  <a:pt x="3963205" y="1394946"/>
                </a:cubicBezTo>
                <a:cubicBezTo>
                  <a:pt x="3963418" y="1395800"/>
                  <a:pt x="3963418" y="1396654"/>
                  <a:pt x="3963418" y="1397934"/>
                </a:cubicBezTo>
                <a:cubicBezTo>
                  <a:pt x="3963418" y="1397934"/>
                  <a:pt x="3963418" y="1397934"/>
                  <a:pt x="3962351" y="1398503"/>
                </a:cubicBezTo>
                <a:cubicBezTo>
                  <a:pt x="3960644" y="1399784"/>
                  <a:pt x="3959576" y="1400352"/>
                  <a:pt x="3958723" y="1400922"/>
                </a:cubicBezTo>
                <a:cubicBezTo>
                  <a:pt x="3957016" y="1400495"/>
                  <a:pt x="3953174" y="1398645"/>
                  <a:pt x="3953388" y="1397080"/>
                </a:cubicBezTo>
                <a:cubicBezTo>
                  <a:pt x="3954028" y="1393808"/>
                  <a:pt x="3955949" y="1390963"/>
                  <a:pt x="3957656" y="1391390"/>
                </a:cubicBezTo>
                <a:close/>
                <a:moveTo>
                  <a:pt x="4019547" y="1390963"/>
                </a:moveTo>
                <a:cubicBezTo>
                  <a:pt x="4020401" y="1390821"/>
                  <a:pt x="4021255" y="1391248"/>
                  <a:pt x="4022535" y="1392528"/>
                </a:cubicBezTo>
                <a:cubicBezTo>
                  <a:pt x="4024883" y="1393808"/>
                  <a:pt x="4024883" y="1394946"/>
                  <a:pt x="4022749" y="1398503"/>
                </a:cubicBezTo>
                <a:cubicBezTo>
                  <a:pt x="4020614" y="1400780"/>
                  <a:pt x="4019334" y="1403198"/>
                  <a:pt x="4018267" y="1403198"/>
                </a:cubicBezTo>
                <a:cubicBezTo>
                  <a:pt x="4018267" y="1404337"/>
                  <a:pt x="4017200" y="1405616"/>
                  <a:pt x="4017200" y="1406755"/>
                </a:cubicBezTo>
                <a:cubicBezTo>
                  <a:pt x="4017200" y="1406755"/>
                  <a:pt x="4017200" y="1406755"/>
                  <a:pt x="4016133" y="1406755"/>
                </a:cubicBezTo>
                <a:cubicBezTo>
                  <a:pt x="4016987" y="1401917"/>
                  <a:pt x="4015706" y="1395800"/>
                  <a:pt x="4017840" y="1392243"/>
                </a:cubicBezTo>
                <a:cubicBezTo>
                  <a:pt x="4018480" y="1391674"/>
                  <a:pt x="4018907" y="1391106"/>
                  <a:pt x="4019547" y="1390963"/>
                </a:cubicBezTo>
                <a:close/>
                <a:moveTo>
                  <a:pt x="4197753" y="1390821"/>
                </a:moveTo>
                <a:cubicBezTo>
                  <a:pt x="4210131" y="1390109"/>
                  <a:pt x="4221229" y="1395373"/>
                  <a:pt x="4225498" y="1403909"/>
                </a:cubicBezTo>
                <a:cubicBezTo>
                  <a:pt x="4226778" y="1406612"/>
                  <a:pt x="4227418" y="1409743"/>
                  <a:pt x="4226991" y="1413157"/>
                </a:cubicBezTo>
                <a:cubicBezTo>
                  <a:pt x="4225924" y="1417425"/>
                  <a:pt x="4224217" y="1420555"/>
                  <a:pt x="4221656" y="1422689"/>
                </a:cubicBezTo>
                <a:lnTo>
                  <a:pt x="4218455" y="1424111"/>
                </a:lnTo>
                <a:lnTo>
                  <a:pt x="4218882" y="1425677"/>
                </a:lnTo>
                <a:lnTo>
                  <a:pt x="4218027" y="1424254"/>
                </a:lnTo>
                <a:lnTo>
                  <a:pt x="4213973" y="1425961"/>
                </a:lnTo>
                <a:lnTo>
                  <a:pt x="4213546" y="1427099"/>
                </a:lnTo>
                <a:cubicBezTo>
                  <a:pt x="4212692" y="1428237"/>
                  <a:pt x="4211199" y="1429233"/>
                  <a:pt x="4209277" y="1429091"/>
                </a:cubicBezTo>
                <a:cubicBezTo>
                  <a:pt x="4205009" y="1428664"/>
                  <a:pt x="4203088" y="1431510"/>
                  <a:pt x="4198820" y="1431225"/>
                </a:cubicBezTo>
                <a:cubicBezTo>
                  <a:pt x="4198820" y="1431225"/>
                  <a:pt x="4198820" y="1431225"/>
                  <a:pt x="4199033" y="1429518"/>
                </a:cubicBezTo>
                <a:cubicBezTo>
                  <a:pt x="4202021" y="1429091"/>
                  <a:pt x="4204369" y="1427668"/>
                  <a:pt x="4206716" y="1426246"/>
                </a:cubicBezTo>
                <a:lnTo>
                  <a:pt x="4209064" y="1425534"/>
                </a:lnTo>
                <a:lnTo>
                  <a:pt x="4204156" y="1424681"/>
                </a:lnTo>
                <a:cubicBezTo>
                  <a:pt x="4201168" y="1423400"/>
                  <a:pt x="4198393" y="1421266"/>
                  <a:pt x="4196472" y="1418563"/>
                </a:cubicBezTo>
                <a:cubicBezTo>
                  <a:pt x="4191564" y="1412303"/>
                  <a:pt x="4190070" y="1402487"/>
                  <a:pt x="4197753" y="1390821"/>
                </a:cubicBezTo>
                <a:close/>
                <a:moveTo>
                  <a:pt x="3519078" y="1390251"/>
                </a:moveTo>
                <a:cubicBezTo>
                  <a:pt x="3520145" y="1390109"/>
                  <a:pt x="3521426" y="1390394"/>
                  <a:pt x="3522919" y="1391248"/>
                </a:cubicBezTo>
                <a:cubicBezTo>
                  <a:pt x="3525481" y="1397792"/>
                  <a:pt x="3518865" y="1406328"/>
                  <a:pt x="3511608" y="1403482"/>
                </a:cubicBezTo>
                <a:cubicBezTo>
                  <a:pt x="3511822" y="1400780"/>
                  <a:pt x="3510968" y="1398503"/>
                  <a:pt x="3511182" y="1395800"/>
                </a:cubicBezTo>
                <a:cubicBezTo>
                  <a:pt x="3514169" y="1394235"/>
                  <a:pt x="3515877" y="1390536"/>
                  <a:pt x="3519078" y="1390251"/>
                </a:cubicBezTo>
                <a:close/>
                <a:moveTo>
                  <a:pt x="1449614" y="1390217"/>
                </a:moveTo>
                <a:cubicBezTo>
                  <a:pt x="1451576" y="1390062"/>
                  <a:pt x="1453228" y="1390526"/>
                  <a:pt x="1454570" y="1392075"/>
                </a:cubicBezTo>
                <a:cubicBezTo>
                  <a:pt x="1455294" y="1393005"/>
                  <a:pt x="1455809" y="1394399"/>
                  <a:pt x="1456223" y="1395948"/>
                </a:cubicBezTo>
                <a:cubicBezTo>
                  <a:pt x="1451886" y="1400440"/>
                  <a:pt x="1445484" y="1409579"/>
                  <a:pt x="1437017" y="1404932"/>
                </a:cubicBezTo>
                <a:cubicBezTo>
                  <a:pt x="1437017" y="1402763"/>
                  <a:pt x="1437740" y="1400440"/>
                  <a:pt x="1438979" y="1398271"/>
                </a:cubicBezTo>
                <a:lnTo>
                  <a:pt x="1443212" y="1393470"/>
                </a:lnTo>
                <a:lnTo>
                  <a:pt x="1442696" y="1393005"/>
                </a:lnTo>
                <a:cubicBezTo>
                  <a:pt x="1443109" y="1392230"/>
                  <a:pt x="1443109" y="1392230"/>
                  <a:pt x="1444245" y="1391921"/>
                </a:cubicBezTo>
                <a:lnTo>
                  <a:pt x="1444968" y="1392230"/>
                </a:lnTo>
                <a:close/>
                <a:moveTo>
                  <a:pt x="1582195" y="1389907"/>
                </a:moveTo>
                <a:cubicBezTo>
                  <a:pt x="1581886" y="1392230"/>
                  <a:pt x="1581060" y="1393934"/>
                  <a:pt x="1580646" y="1396258"/>
                </a:cubicBezTo>
                <a:cubicBezTo>
                  <a:pt x="1576929" y="1397187"/>
                  <a:pt x="1576723" y="1394244"/>
                  <a:pt x="1576516" y="1391301"/>
                </a:cubicBezTo>
                <a:cubicBezTo>
                  <a:pt x="1578478" y="1390836"/>
                  <a:pt x="1579304" y="1389132"/>
                  <a:pt x="1582195" y="1389907"/>
                </a:cubicBezTo>
                <a:close/>
                <a:moveTo>
                  <a:pt x="4540505" y="1389113"/>
                </a:moveTo>
                <a:cubicBezTo>
                  <a:pt x="4541359" y="1388971"/>
                  <a:pt x="4542639" y="1389113"/>
                  <a:pt x="4543279" y="1389683"/>
                </a:cubicBezTo>
                <a:cubicBezTo>
                  <a:pt x="4545627" y="1390963"/>
                  <a:pt x="4542212" y="1394377"/>
                  <a:pt x="4542426" y="1395658"/>
                </a:cubicBezTo>
                <a:cubicBezTo>
                  <a:pt x="4541145" y="1396796"/>
                  <a:pt x="4540078" y="1397934"/>
                  <a:pt x="4538798" y="1396654"/>
                </a:cubicBezTo>
                <a:cubicBezTo>
                  <a:pt x="4537731" y="1395373"/>
                  <a:pt x="4536664" y="1395373"/>
                  <a:pt x="4537517" y="1392955"/>
                </a:cubicBezTo>
                <a:cubicBezTo>
                  <a:pt x="4537517" y="1391816"/>
                  <a:pt x="4538584" y="1390678"/>
                  <a:pt x="4538584" y="1389398"/>
                </a:cubicBezTo>
                <a:cubicBezTo>
                  <a:pt x="4538584" y="1389398"/>
                  <a:pt x="4539438" y="1389256"/>
                  <a:pt x="4540505" y="1389113"/>
                </a:cubicBezTo>
                <a:close/>
                <a:moveTo>
                  <a:pt x="1463244" y="1388668"/>
                </a:moveTo>
                <a:cubicBezTo>
                  <a:pt x="1470369" y="1394709"/>
                  <a:pt x="1479972" y="1390526"/>
                  <a:pt x="1487509" y="1391611"/>
                </a:cubicBezTo>
                <a:cubicBezTo>
                  <a:pt x="1489988" y="1392075"/>
                  <a:pt x="1492259" y="1393005"/>
                  <a:pt x="1494221" y="1395173"/>
                </a:cubicBezTo>
                <a:cubicBezTo>
                  <a:pt x="1510536" y="1411902"/>
                  <a:pt x="1477287" y="1441642"/>
                  <a:pt x="1463347" y="1418408"/>
                </a:cubicBezTo>
                <a:cubicBezTo>
                  <a:pt x="1462211" y="1416394"/>
                  <a:pt x="1461799" y="1414226"/>
                  <a:pt x="1461592" y="1412057"/>
                </a:cubicBezTo>
                <a:cubicBezTo>
                  <a:pt x="1461179" y="1405242"/>
                  <a:pt x="1463760" y="1397651"/>
                  <a:pt x="1463244" y="1388668"/>
                </a:cubicBezTo>
                <a:close/>
                <a:moveTo>
                  <a:pt x="4821365" y="1388118"/>
                </a:moveTo>
                <a:cubicBezTo>
                  <a:pt x="4839506" y="1389256"/>
                  <a:pt x="4858287" y="1410311"/>
                  <a:pt x="4853165" y="1428379"/>
                </a:cubicBezTo>
                <a:cubicBezTo>
                  <a:pt x="4844628" y="1431367"/>
                  <a:pt x="4836518" y="1430229"/>
                  <a:pt x="4829475" y="1426246"/>
                </a:cubicBezTo>
                <a:cubicBezTo>
                  <a:pt x="4817951" y="1419701"/>
                  <a:pt x="4810054" y="1405759"/>
                  <a:pt x="4811121" y="1391248"/>
                </a:cubicBezTo>
                <a:cubicBezTo>
                  <a:pt x="4812615" y="1390963"/>
                  <a:pt x="4814109" y="1390536"/>
                  <a:pt x="4813682" y="1388971"/>
                </a:cubicBezTo>
                <a:cubicBezTo>
                  <a:pt x="4816244" y="1388260"/>
                  <a:pt x="4818804" y="1387975"/>
                  <a:pt x="4821365" y="1388118"/>
                </a:cubicBezTo>
                <a:close/>
                <a:moveTo>
                  <a:pt x="4324951" y="1387975"/>
                </a:moveTo>
                <a:cubicBezTo>
                  <a:pt x="4327085" y="1386410"/>
                  <a:pt x="4327939" y="1389683"/>
                  <a:pt x="4328579" y="1391248"/>
                </a:cubicBezTo>
                <a:cubicBezTo>
                  <a:pt x="4325592" y="1389540"/>
                  <a:pt x="4324097" y="1390109"/>
                  <a:pt x="4324524" y="1388971"/>
                </a:cubicBezTo>
                <a:cubicBezTo>
                  <a:pt x="4323670" y="1388402"/>
                  <a:pt x="4324097" y="1387406"/>
                  <a:pt x="4324951" y="1387975"/>
                </a:cubicBezTo>
                <a:close/>
                <a:moveTo>
                  <a:pt x="1512497" y="1387583"/>
                </a:moveTo>
                <a:cubicBezTo>
                  <a:pt x="1519209" y="1387119"/>
                  <a:pt x="1525404" y="1391921"/>
                  <a:pt x="1529225" y="1396722"/>
                </a:cubicBezTo>
                <a:lnTo>
                  <a:pt x="1531290" y="1397497"/>
                </a:lnTo>
                <a:lnTo>
                  <a:pt x="1530670" y="1398891"/>
                </a:lnTo>
                <a:lnTo>
                  <a:pt x="1532219" y="1401215"/>
                </a:lnTo>
                <a:lnTo>
                  <a:pt x="1529018" y="1400750"/>
                </a:lnTo>
                <a:lnTo>
                  <a:pt x="1527470" y="1401524"/>
                </a:lnTo>
                <a:cubicBezTo>
                  <a:pt x="1526540" y="1401524"/>
                  <a:pt x="1525611" y="1401215"/>
                  <a:pt x="1524785" y="1400750"/>
                </a:cubicBezTo>
                <a:lnTo>
                  <a:pt x="1523546" y="1399201"/>
                </a:lnTo>
                <a:lnTo>
                  <a:pt x="1519415" y="1397032"/>
                </a:lnTo>
                <a:cubicBezTo>
                  <a:pt x="1515698" y="1394244"/>
                  <a:pt x="1513014" y="1390682"/>
                  <a:pt x="1512497" y="1387583"/>
                </a:cubicBezTo>
                <a:close/>
                <a:moveTo>
                  <a:pt x="5255461" y="1387549"/>
                </a:moveTo>
                <a:cubicBezTo>
                  <a:pt x="5261224" y="1386126"/>
                  <a:pt x="5264638" y="1388260"/>
                  <a:pt x="5266346" y="1392813"/>
                </a:cubicBezTo>
                <a:cubicBezTo>
                  <a:pt x="5263785" y="1399357"/>
                  <a:pt x="5255034" y="1399642"/>
                  <a:pt x="5252900" y="1394235"/>
                </a:cubicBezTo>
                <a:cubicBezTo>
                  <a:pt x="5253541" y="1392528"/>
                  <a:pt x="5253754" y="1389825"/>
                  <a:pt x="5255461" y="1387549"/>
                </a:cubicBezTo>
                <a:close/>
                <a:moveTo>
                  <a:pt x="3827897" y="1387549"/>
                </a:moveTo>
                <a:cubicBezTo>
                  <a:pt x="3827897" y="1387549"/>
                  <a:pt x="3827897" y="1387549"/>
                  <a:pt x="3830457" y="1387833"/>
                </a:cubicBezTo>
                <a:cubicBezTo>
                  <a:pt x="3831524" y="1388402"/>
                  <a:pt x="3832378" y="1388971"/>
                  <a:pt x="3832805" y="1390678"/>
                </a:cubicBezTo>
                <a:cubicBezTo>
                  <a:pt x="3833019" y="1392386"/>
                  <a:pt x="3831738" y="1394662"/>
                  <a:pt x="3830885" y="1395658"/>
                </a:cubicBezTo>
                <a:cubicBezTo>
                  <a:pt x="3830031" y="1395089"/>
                  <a:pt x="3829177" y="1396085"/>
                  <a:pt x="3828323" y="1395515"/>
                </a:cubicBezTo>
                <a:cubicBezTo>
                  <a:pt x="3825762" y="1395373"/>
                  <a:pt x="3825549" y="1395373"/>
                  <a:pt x="3825336" y="1393666"/>
                </a:cubicBezTo>
                <a:cubicBezTo>
                  <a:pt x="3825122" y="1391959"/>
                  <a:pt x="3828110" y="1389256"/>
                  <a:pt x="3827897" y="1387549"/>
                </a:cubicBezTo>
                <a:close/>
                <a:moveTo>
                  <a:pt x="5011309" y="1387406"/>
                </a:moveTo>
                <a:cubicBezTo>
                  <a:pt x="5012590" y="1388118"/>
                  <a:pt x="5013443" y="1389398"/>
                  <a:pt x="5013870" y="1390821"/>
                </a:cubicBezTo>
                <a:cubicBezTo>
                  <a:pt x="5014724" y="1392955"/>
                  <a:pt x="5014510" y="1395515"/>
                  <a:pt x="5013870" y="1397792"/>
                </a:cubicBezTo>
                <a:lnTo>
                  <a:pt x="5011949" y="1400780"/>
                </a:lnTo>
                <a:lnTo>
                  <a:pt x="5012590" y="1402344"/>
                </a:lnTo>
                <a:cubicBezTo>
                  <a:pt x="5004906" y="1411876"/>
                  <a:pt x="4998717" y="1405474"/>
                  <a:pt x="4999998" y="1398503"/>
                </a:cubicBezTo>
                <a:cubicBezTo>
                  <a:pt x="5000425" y="1396085"/>
                  <a:pt x="5001705" y="1393666"/>
                  <a:pt x="5004053" y="1391816"/>
                </a:cubicBezTo>
                <a:cubicBezTo>
                  <a:pt x="5004906" y="1391816"/>
                  <a:pt x="5005974" y="1392243"/>
                  <a:pt x="5006827" y="1392955"/>
                </a:cubicBezTo>
                <a:lnTo>
                  <a:pt x="5007254" y="1393239"/>
                </a:lnTo>
                <a:close/>
                <a:moveTo>
                  <a:pt x="1452815" y="1387274"/>
                </a:moveTo>
                <a:cubicBezTo>
                  <a:pt x="1453538" y="1387583"/>
                  <a:pt x="1454261" y="1387893"/>
                  <a:pt x="1453848" y="1388668"/>
                </a:cubicBezTo>
                <a:cubicBezTo>
                  <a:pt x="1454674" y="1388978"/>
                  <a:pt x="1454570" y="1388978"/>
                  <a:pt x="1454261" y="1389752"/>
                </a:cubicBezTo>
                <a:cubicBezTo>
                  <a:pt x="1453435" y="1389287"/>
                  <a:pt x="1452712" y="1388978"/>
                  <a:pt x="1451989" y="1388668"/>
                </a:cubicBezTo>
                <a:cubicBezTo>
                  <a:pt x="1451783" y="1388203"/>
                  <a:pt x="1451679" y="1387893"/>
                  <a:pt x="1451783" y="1387738"/>
                </a:cubicBezTo>
                <a:cubicBezTo>
                  <a:pt x="1451886" y="1387583"/>
                  <a:pt x="1452196" y="1387428"/>
                  <a:pt x="1452815" y="1387274"/>
                </a:cubicBezTo>
                <a:close/>
                <a:moveTo>
                  <a:pt x="4923167" y="1387121"/>
                </a:moveTo>
                <a:cubicBezTo>
                  <a:pt x="4923807" y="1387691"/>
                  <a:pt x="4924874" y="1388402"/>
                  <a:pt x="4925941" y="1389113"/>
                </a:cubicBezTo>
                <a:lnTo>
                  <a:pt x="4922526" y="1392528"/>
                </a:lnTo>
                <a:cubicBezTo>
                  <a:pt x="4921459" y="1391248"/>
                  <a:pt x="4920179" y="1388829"/>
                  <a:pt x="4921246" y="1387833"/>
                </a:cubicBezTo>
                <a:cubicBezTo>
                  <a:pt x="4921886" y="1386695"/>
                  <a:pt x="4922313" y="1386695"/>
                  <a:pt x="4923167" y="1387121"/>
                </a:cubicBezTo>
                <a:close/>
                <a:moveTo>
                  <a:pt x="1066121" y="1386190"/>
                </a:moveTo>
                <a:cubicBezTo>
                  <a:pt x="1068805" y="1384021"/>
                  <a:pt x="1070561" y="1385880"/>
                  <a:pt x="1074071" y="1387893"/>
                </a:cubicBezTo>
                <a:cubicBezTo>
                  <a:pt x="1073142" y="1388668"/>
                  <a:pt x="1075827" y="1391456"/>
                  <a:pt x="1076756" y="1392385"/>
                </a:cubicBezTo>
                <a:cubicBezTo>
                  <a:pt x="1074897" y="1393779"/>
                  <a:pt x="1077479" y="1397497"/>
                  <a:pt x="1074794" y="1399665"/>
                </a:cubicBezTo>
                <a:cubicBezTo>
                  <a:pt x="1073039" y="1399511"/>
                  <a:pt x="1072109" y="1399355"/>
                  <a:pt x="1070354" y="1398426"/>
                </a:cubicBezTo>
                <a:cubicBezTo>
                  <a:pt x="1064262" y="1390991"/>
                  <a:pt x="1067050" y="1387119"/>
                  <a:pt x="1066121" y="1386190"/>
                </a:cubicBezTo>
                <a:close/>
                <a:moveTo>
                  <a:pt x="4762462" y="1385841"/>
                </a:moveTo>
                <a:cubicBezTo>
                  <a:pt x="4767370" y="1386695"/>
                  <a:pt x="4772279" y="1387406"/>
                  <a:pt x="4771852" y="1392528"/>
                </a:cubicBezTo>
                <a:cubicBezTo>
                  <a:pt x="4767584" y="1395942"/>
                  <a:pt x="4761181" y="1393239"/>
                  <a:pt x="4762462" y="1385841"/>
                </a:cubicBezTo>
                <a:close/>
                <a:moveTo>
                  <a:pt x="1200044" y="1385415"/>
                </a:moveTo>
                <a:cubicBezTo>
                  <a:pt x="1201696" y="1386344"/>
                  <a:pt x="1203452" y="1387428"/>
                  <a:pt x="1205104" y="1388358"/>
                </a:cubicBezTo>
                <a:cubicBezTo>
                  <a:pt x="1204277" y="1388358"/>
                  <a:pt x="1205826" y="1396103"/>
                  <a:pt x="1205826" y="1396103"/>
                </a:cubicBezTo>
                <a:lnTo>
                  <a:pt x="1204484" y="1396877"/>
                </a:lnTo>
                <a:lnTo>
                  <a:pt x="1208098" y="1397651"/>
                </a:lnTo>
                <a:cubicBezTo>
                  <a:pt x="1212848" y="1400130"/>
                  <a:pt x="1217494" y="1406016"/>
                  <a:pt x="1215532" y="1408804"/>
                </a:cubicBezTo>
                <a:cubicBezTo>
                  <a:pt x="1214603" y="1410353"/>
                  <a:pt x="1211815" y="1410973"/>
                  <a:pt x="1206549" y="1410043"/>
                </a:cubicBezTo>
                <a:lnTo>
                  <a:pt x="1202419" y="1409114"/>
                </a:lnTo>
                <a:lnTo>
                  <a:pt x="1202522" y="1409424"/>
                </a:lnTo>
                <a:cubicBezTo>
                  <a:pt x="1202419" y="1410508"/>
                  <a:pt x="1202006" y="1411593"/>
                  <a:pt x="1201283" y="1412677"/>
                </a:cubicBezTo>
                <a:lnTo>
                  <a:pt x="1197256" y="1415620"/>
                </a:lnTo>
                <a:lnTo>
                  <a:pt x="1197772" y="1429870"/>
                </a:lnTo>
                <a:cubicBezTo>
                  <a:pt x="1198392" y="1436840"/>
                  <a:pt x="1198908" y="1443501"/>
                  <a:pt x="1198289" y="1449697"/>
                </a:cubicBezTo>
                <a:lnTo>
                  <a:pt x="1194468" y="1443966"/>
                </a:lnTo>
                <a:lnTo>
                  <a:pt x="1193849" y="1444585"/>
                </a:lnTo>
                <a:cubicBezTo>
                  <a:pt x="1193126" y="1447683"/>
                  <a:pt x="1197153" y="1450936"/>
                  <a:pt x="1193023" y="1453415"/>
                </a:cubicBezTo>
                <a:cubicBezTo>
                  <a:pt x="1190441" y="1453569"/>
                  <a:pt x="1187757" y="1454654"/>
                  <a:pt x="1184762" y="1453879"/>
                </a:cubicBezTo>
                <a:cubicBezTo>
                  <a:pt x="1183833" y="1453569"/>
                  <a:pt x="1182800" y="1453105"/>
                  <a:pt x="1181768" y="1452330"/>
                </a:cubicBezTo>
                <a:cubicBezTo>
                  <a:pt x="1186518" y="1447373"/>
                  <a:pt x="1187860" y="1442571"/>
                  <a:pt x="1190958" y="1437305"/>
                </a:cubicBezTo>
                <a:lnTo>
                  <a:pt x="1191474" y="1437460"/>
                </a:lnTo>
                <a:lnTo>
                  <a:pt x="1189512" y="1430025"/>
                </a:lnTo>
                <a:lnTo>
                  <a:pt x="1188892" y="1424914"/>
                </a:lnTo>
                <a:lnTo>
                  <a:pt x="1188479" y="1425378"/>
                </a:lnTo>
                <a:cubicBezTo>
                  <a:pt x="1181355" y="1427392"/>
                  <a:pt x="1175572" y="1427237"/>
                  <a:pt x="1172991" y="1420886"/>
                </a:cubicBezTo>
                <a:cubicBezTo>
                  <a:pt x="1174230" y="1420576"/>
                  <a:pt x="1174024" y="1419337"/>
                  <a:pt x="1173817" y="1418253"/>
                </a:cubicBezTo>
                <a:cubicBezTo>
                  <a:pt x="1175056" y="1416704"/>
                  <a:pt x="1176811" y="1415775"/>
                  <a:pt x="1178773" y="1415465"/>
                </a:cubicBezTo>
                <a:lnTo>
                  <a:pt x="1182491" y="1415775"/>
                </a:lnTo>
                <a:lnTo>
                  <a:pt x="1182903" y="1411282"/>
                </a:lnTo>
                <a:cubicBezTo>
                  <a:pt x="1184762" y="1410973"/>
                  <a:pt x="1186311" y="1411282"/>
                  <a:pt x="1187550" y="1411902"/>
                </a:cubicBezTo>
                <a:lnTo>
                  <a:pt x="1187757" y="1412057"/>
                </a:lnTo>
                <a:lnTo>
                  <a:pt x="1187343" y="1407101"/>
                </a:lnTo>
                <a:cubicBezTo>
                  <a:pt x="1188892" y="1407410"/>
                  <a:pt x="1190131" y="1407101"/>
                  <a:pt x="1191577" y="1407101"/>
                </a:cubicBezTo>
                <a:lnTo>
                  <a:pt x="1194055" y="1407410"/>
                </a:lnTo>
                <a:lnTo>
                  <a:pt x="1194055" y="1406481"/>
                </a:lnTo>
                <a:cubicBezTo>
                  <a:pt x="1196017" y="1405397"/>
                  <a:pt x="1197669" y="1405087"/>
                  <a:pt x="1198908" y="1405087"/>
                </a:cubicBezTo>
                <a:lnTo>
                  <a:pt x="1200251" y="1405706"/>
                </a:lnTo>
                <a:lnTo>
                  <a:pt x="1199941" y="1401524"/>
                </a:lnTo>
                <a:cubicBezTo>
                  <a:pt x="1200147" y="1399665"/>
                  <a:pt x="1200767" y="1398426"/>
                  <a:pt x="1201490" y="1397651"/>
                </a:cubicBezTo>
                <a:lnTo>
                  <a:pt x="1203348" y="1396722"/>
                </a:lnTo>
                <a:lnTo>
                  <a:pt x="1201593" y="1395638"/>
                </a:lnTo>
                <a:cubicBezTo>
                  <a:pt x="1200767" y="1394709"/>
                  <a:pt x="1200044" y="1392695"/>
                  <a:pt x="1199631" y="1390682"/>
                </a:cubicBezTo>
                <a:cubicBezTo>
                  <a:pt x="1199218" y="1388668"/>
                  <a:pt x="1199218" y="1386499"/>
                  <a:pt x="1200044" y="1385415"/>
                </a:cubicBezTo>
                <a:close/>
                <a:moveTo>
                  <a:pt x="4816030" y="1384988"/>
                </a:moveTo>
                <a:cubicBezTo>
                  <a:pt x="4817310" y="1385272"/>
                  <a:pt x="4818377" y="1385984"/>
                  <a:pt x="4819445" y="1387406"/>
                </a:cubicBezTo>
                <a:cubicBezTo>
                  <a:pt x="4816030" y="1388260"/>
                  <a:pt x="4813469" y="1387975"/>
                  <a:pt x="4811335" y="1385130"/>
                </a:cubicBezTo>
                <a:cubicBezTo>
                  <a:pt x="4813469" y="1384988"/>
                  <a:pt x="4814963" y="1384845"/>
                  <a:pt x="4816030" y="1384988"/>
                </a:cubicBezTo>
                <a:close/>
                <a:moveTo>
                  <a:pt x="5355982" y="1384845"/>
                </a:moveTo>
                <a:cubicBezTo>
                  <a:pt x="5365586" y="1392386"/>
                  <a:pt x="5364519" y="1421551"/>
                  <a:pt x="5351927" y="1422547"/>
                </a:cubicBezTo>
                <a:cubicBezTo>
                  <a:pt x="5354488" y="1409173"/>
                  <a:pt x="5350006" y="1399072"/>
                  <a:pt x="5355982" y="1384845"/>
                </a:cubicBezTo>
                <a:close/>
                <a:moveTo>
                  <a:pt x="4490138" y="1384419"/>
                </a:moveTo>
                <a:cubicBezTo>
                  <a:pt x="4490138" y="1384419"/>
                  <a:pt x="4488857" y="1385557"/>
                  <a:pt x="4487577" y="1386837"/>
                </a:cubicBezTo>
                <a:cubicBezTo>
                  <a:pt x="4486297" y="1387975"/>
                  <a:pt x="4486297" y="1387975"/>
                  <a:pt x="4487364" y="1389256"/>
                </a:cubicBezTo>
                <a:cubicBezTo>
                  <a:pt x="4486083" y="1390536"/>
                  <a:pt x="4486083" y="1390536"/>
                  <a:pt x="4483735" y="1390394"/>
                </a:cubicBezTo>
                <a:cubicBezTo>
                  <a:pt x="4485016" y="1389256"/>
                  <a:pt x="4489071" y="1383138"/>
                  <a:pt x="4490138" y="1384419"/>
                </a:cubicBezTo>
                <a:close/>
                <a:moveTo>
                  <a:pt x="4118574" y="1384276"/>
                </a:moveTo>
                <a:cubicBezTo>
                  <a:pt x="4117293" y="1387121"/>
                  <a:pt x="4115373" y="1389683"/>
                  <a:pt x="4113025" y="1391816"/>
                </a:cubicBezTo>
                <a:lnTo>
                  <a:pt x="4106622" y="1395942"/>
                </a:lnTo>
                <a:lnTo>
                  <a:pt x="4107263" y="1399499"/>
                </a:lnTo>
                <a:lnTo>
                  <a:pt x="4110464" y="1394235"/>
                </a:lnTo>
                <a:cubicBezTo>
                  <a:pt x="4116226" y="1388260"/>
                  <a:pt x="4124337" y="1387264"/>
                  <a:pt x="4132447" y="1386126"/>
                </a:cubicBezTo>
                <a:cubicBezTo>
                  <a:pt x="4132233" y="1392101"/>
                  <a:pt x="4128178" y="1396085"/>
                  <a:pt x="4122843" y="1398645"/>
                </a:cubicBezTo>
                <a:lnTo>
                  <a:pt x="4107263" y="1401775"/>
                </a:lnTo>
                <a:lnTo>
                  <a:pt x="4107263" y="1405332"/>
                </a:lnTo>
                <a:cubicBezTo>
                  <a:pt x="4105555" y="1406755"/>
                  <a:pt x="4103848" y="1406897"/>
                  <a:pt x="4102354" y="1406186"/>
                </a:cubicBezTo>
                <a:lnTo>
                  <a:pt x="4099793" y="1404337"/>
                </a:lnTo>
                <a:lnTo>
                  <a:pt x="4099153" y="1411592"/>
                </a:lnTo>
                <a:cubicBezTo>
                  <a:pt x="4096379" y="1409173"/>
                  <a:pt x="4095951" y="1405616"/>
                  <a:pt x="4092110" y="1403625"/>
                </a:cubicBezTo>
                <a:lnTo>
                  <a:pt x="4090403" y="1403340"/>
                </a:lnTo>
                <a:lnTo>
                  <a:pt x="4091256" y="1404621"/>
                </a:lnTo>
                <a:cubicBezTo>
                  <a:pt x="4092750" y="1407039"/>
                  <a:pt x="4093391" y="1409458"/>
                  <a:pt x="4093604" y="1411734"/>
                </a:cubicBezTo>
                <a:cubicBezTo>
                  <a:pt x="4081653" y="1411165"/>
                  <a:pt x="4072262" y="1397223"/>
                  <a:pt x="4069488" y="1389256"/>
                </a:cubicBezTo>
                <a:cubicBezTo>
                  <a:pt x="4075677" y="1389398"/>
                  <a:pt x="4081439" y="1392955"/>
                  <a:pt x="4085921" y="1397365"/>
                </a:cubicBezTo>
                <a:lnTo>
                  <a:pt x="4088482" y="1400780"/>
                </a:lnTo>
                <a:lnTo>
                  <a:pt x="4090616" y="1398645"/>
                </a:lnTo>
                <a:lnTo>
                  <a:pt x="4089763" y="1398645"/>
                </a:lnTo>
                <a:lnTo>
                  <a:pt x="4094458" y="1392813"/>
                </a:lnTo>
                <a:lnTo>
                  <a:pt x="4094884" y="1391106"/>
                </a:lnTo>
                <a:cubicBezTo>
                  <a:pt x="4094884" y="1389113"/>
                  <a:pt x="4094884" y="1386979"/>
                  <a:pt x="4096805" y="1385414"/>
                </a:cubicBezTo>
                <a:lnTo>
                  <a:pt x="4102141" y="1387549"/>
                </a:lnTo>
                <a:lnTo>
                  <a:pt x="4103208" y="1386837"/>
                </a:lnTo>
                <a:cubicBezTo>
                  <a:pt x="4108757" y="1384561"/>
                  <a:pt x="4114733" y="1383849"/>
                  <a:pt x="4118574" y="1384276"/>
                </a:cubicBezTo>
                <a:close/>
                <a:moveTo>
                  <a:pt x="941387" y="1384021"/>
                </a:moveTo>
                <a:cubicBezTo>
                  <a:pt x="942523" y="1384176"/>
                  <a:pt x="944072" y="1385725"/>
                  <a:pt x="944795" y="1385880"/>
                </a:cubicBezTo>
                <a:cubicBezTo>
                  <a:pt x="945621" y="1386809"/>
                  <a:pt x="946447" y="1387583"/>
                  <a:pt x="945621" y="1388358"/>
                </a:cubicBezTo>
                <a:cubicBezTo>
                  <a:pt x="944691" y="1389132"/>
                  <a:pt x="944691" y="1389907"/>
                  <a:pt x="942936" y="1388978"/>
                </a:cubicBezTo>
                <a:cubicBezTo>
                  <a:pt x="942110" y="1388823"/>
                  <a:pt x="941284" y="1387893"/>
                  <a:pt x="940355" y="1387893"/>
                </a:cubicBezTo>
                <a:cubicBezTo>
                  <a:pt x="940355" y="1387893"/>
                  <a:pt x="940148" y="1387274"/>
                  <a:pt x="940045" y="1386499"/>
                </a:cubicBezTo>
                <a:cubicBezTo>
                  <a:pt x="939941" y="1385725"/>
                  <a:pt x="939941" y="1384950"/>
                  <a:pt x="940355" y="1384486"/>
                </a:cubicBezTo>
                <a:cubicBezTo>
                  <a:pt x="940561" y="1384176"/>
                  <a:pt x="940974" y="1384021"/>
                  <a:pt x="941387" y="1384021"/>
                </a:cubicBezTo>
                <a:close/>
                <a:moveTo>
                  <a:pt x="1686484" y="1383866"/>
                </a:moveTo>
                <a:cubicBezTo>
                  <a:pt x="1687723" y="1384331"/>
                  <a:pt x="1687620" y="1384331"/>
                  <a:pt x="1686897" y="1384640"/>
                </a:cubicBezTo>
                <a:cubicBezTo>
                  <a:pt x="1688446" y="1385880"/>
                  <a:pt x="1688859" y="1386809"/>
                  <a:pt x="1689272" y="1387583"/>
                </a:cubicBezTo>
                <a:lnTo>
                  <a:pt x="1686071" y="1388823"/>
                </a:lnTo>
                <a:lnTo>
                  <a:pt x="1688963" y="1390836"/>
                </a:lnTo>
                <a:lnTo>
                  <a:pt x="1690305" y="1394399"/>
                </a:lnTo>
                <a:lnTo>
                  <a:pt x="1692783" y="1395638"/>
                </a:lnTo>
                <a:lnTo>
                  <a:pt x="1690821" y="1397032"/>
                </a:lnTo>
                <a:lnTo>
                  <a:pt x="1689892" y="1402299"/>
                </a:lnTo>
                <a:cubicBezTo>
                  <a:pt x="1689066" y="1404312"/>
                  <a:pt x="1687620" y="1406171"/>
                  <a:pt x="1685451" y="1407410"/>
                </a:cubicBezTo>
                <a:cubicBezTo>
                  <a:pt x="1681528" y="1407410"/>
                  <a:pt x="1678843" y="1404622"/>
                  <a:pt x="1677294" y="1401215"/>
                </a:cubicBezTo>
                <a:lnTo>
                  <a:pt x="1677191" y="1400904"/>
                </a:lnTo>
                <a:lnTo>
                  <a:pt x="1675952" y="1400595"/>
                </a:lnTo>
                <a:cubicBezTo>
                  <a:pt x="1674300" y="1400285"/>
                  <a:pt x="1673474" y="1399355"/>
                  <a:pt x="1672751" y="1398426"/>
                </a:cubicBezTo>
                <a:lnTo>
                  <a:pt x="1670996" y="1396722"/>
                </a:lnTo>
                <a:lnTo>
                  <a:pt x="1664594" y="1394244"/>
                </a:lnTo>
                <a:cubicBezTo>
                  <a:pt x="1662012" y="1392385"/>
                  <a:pt x="1660257" y="1389907"/>
                  <a:pt x="1660050" y="1386964"/>
                </a:cubicBezTo>
                <a:cubicBezTo>
                  <a:pt x="1665523" y="1390371"/>
                  <a:pt x="1670996" y="1390217"/>
                  <a:pt x="1676468" y="1390371"/>
                </a:cubicBezTo>
                <a:lnTo>
                  <a:pt x="1676881" y="1390526"/>
                </a:lnTo>
                <a:lnTo>
                  <a:pt x="1680702" y="1388203"/>
                </a:lnTo>
                <a:cubicBezTo>
                  <a:pt x="1682147" y="1387583"/>
                  <a:pt x="1683490" y="1387583"/>
                  <a:pt x="1684729" y="1387893"/>
                </a:cubicBezTo>
                <a:lnTo>
                  <a:pt x="1685038" y="1388048"/>
                </a:lnTo>
                <a:lnTo>
                  <a:pt x="1684832" y="1387428"/>
                </a:lnTo>
                <a:cubicBezTo>
                  <a:pt x="1684626" y="1386809"/>
                  <a:pt x="1684316" y="1386190"/>
                  <a:pt x="1684522" y="1385570"/>
                </a:cubicBezTo>
                <a:cubicBezTo>
                  <a:pt x="1684522" y="1385570"/>
                  <a:pt x="1686484" y="1383866"/>
                  <a:pt x="1686484" y="1383866"/>
                </a:cubicBezTo>
                <a:close/>
                <a:moveTo>
                  <a:pt x="4053908" y="1383565"/>
                </a:moveTo>
                <a:cubicBezTo>
                  <a:pt x="4058817" y="1383707"/>
                  <a:pt x="4061805" y="1385557"/>
                  <a:pt x="4064152" y="1386410"/>
                </a:cubicBezTo>
                <a:lnTo>
                  <a:pt x="4063939" y="1394662"/>
                </a:lnTo>
                <a:lnTo>
                  <a:pt x="4070341" y="1399215"/>
                </a:lnTo>
                <a:cubicBezTo>
                  <a:pt x="4069914" y="1407608"/>
                  <a:pt x="4057323" y="1416287"/>
                  <a:pt x="4050493" y="1415718"/>
                </a:cubicBezTo>
                <a:lnTo>
                  <a:pt x="4048146" y="1412303"/>
                </a:lnTo>
                <a:lnTo>
                  <a:pt x="4047079" y="1413015"/>
                </a:lnTo>
                <a:lnTo>
                  <a:pt x="4041957" y="1414580"/>
                </a:lnTo>
                <a:lnTo>
                  <a:pt x="4042170" y="1415148"/>
                </a:lnTo>
                <a:cubicBezTo>
                  <a:pt x="4042383" y="1416145"/>
                  <a:pt x="4042170" y="1417425"/>
                  <a:pt x="4041103" y="1418563"/>
                </a:cubicBezTo>
                <a:cubicBezTo>
                  <a:pt x="4038756" y="1421978"/>
                  <a:pt x="4035341" y="1421693"/>
                  <a:pt x="4031712" y="1420412"/>
                </a:cubicBezTo>
                <a:cubicBezTo>
                  <a:pt x="4029578" y="1421409"/>
                  <a:pt x="4028297" y="1423827"/>
                  <a:pt x="4025950" y="1422547"/>
                </a:cubicBezTo>
                <a:cubicBezTo>
                  <a:pt x="4029365" y="1420412"/>
                  <a:pt x="4030645" y="1419132"/>
                  <a:pt x="4032780" y="1418137"/>
                </a:cubicBezTo>
                <a:cubicBezTo>
                  <a:pt x="4032780" y="1416856"/>
                  <a:pt x="4032780" y="1415718"/>
                  <a:pt x="4033846" y="1414580"/>
                </a:cubicBezTo>
                <a:lnTo>
                  <a:pt x="4036194" y="1413583"/>
                </a:lnTo>
                <a:lnTo>
                  <a:pt x="4035768" y="1412161"/>
                </a:lnTo>
                <a:cubicBezTo>
                  <a:pt x="4035341" y="1411165"/>
                  <a:pt x="4034701" y="1410027"/>
                  <a:pt x="4034060" y="1408889"/>
                </a:cubicBezTo>
                <a:cubicBezTo>
                  <a:pt x="4037475" y="1408320"/>
                  <a:pt x="4040249" y="1407039"/>
                  <a:pt x="4042383" y="1406044"/>
                </a:cubicBezTo>
                <a:lnTo>
                  <a:pt x="4046225" y="1405474"/>
                </a:lnTo>
                <a:lnTo>
                  <a:pt x="4046225" y="1405047"/>
                </a:lnTo>
                <a:cubicBezTo>
                  <a:pt x="4046439" y="1402629"/>
                  <a:pt x="4047719" y="1400495"/>
                  <a:pt x="4049639" y="1398645"/>
                </a:cubicBezTo>
                <a:lnTo>
                  <a:pt x="4051560" y="1397507"/>
                </a:lnTo>
                <a:cubicBezTo>
                  <a:pt x="4048999" y="1394093"/>
                  <a:pt x="4048999" y="1387975"/>
                  <a:pt x="4053908" y="1383565"/>
                </a:cubicBezTo>
                <a:close/>
                <a:moveTo>
                  <a:pt x="3722894" y="1383423"/>
                </a:moveTo>
                <a:cubicBezTo>
                  <a:pt x="3724388" y="1384561"/>
                  <a:pt x="3727163" y="1387833"/>
                  <a:pt x="3725242" y="1391532"/>
                </a:cubicBezTo>
                <a:cubicBezTo>
                  <a:pt x="3724388" y="1393381"/>
                  <a:pt x="3724388" y="1395089"/>
                  <a:pt x="3724388" y="1396796"/>
                </a:cubicBezTo>
                <a:lnTo>
                  <a:pt x="3723747" y="1398930"/>
                </a:lnTo>
                <a:lnTo>
                  <a:pt x="3725455" y="1397792"/>
                </a:lnTo>
                <a:cubicBezTo>
                  <a:pt x="3735059" y="1390963"/>
                  <a:pt x="3746370" y="1386553"/>
                  <a:pt x="3757681" y="1387975"/>
                </a:cubicBezTo>
                <a:cubicBezTo>
                  <a:pt x="3776462" y="1390251"/>
                  <a:pt x="3779877" y="1405474"/>
                  <a:pt x="3793109" y="1416856"/>
                </a:cubicBezTo>
                <a:cubicBezTo>
                  <a:pt x="3789481" y="1423827"/>
                  <a:pt x="3789268" y="1428806"/>
                  <a:pt x="3790121" y="1433074"/>
                </a:cubicBezTo>
                <a:lnTo>
                  <a:pt x="3790975" y="1435920"/>
                </a:lnTo>
                <a:lnTo>
                  <a:pt x="3797377" y="1438196"/>
                </a:lnTo>
                <a:cubicBezTo>
                  <a:pt x="3797377" y="1442322"/>
                  <a:pt x="3796737" y="1445168"/>
                  <a:pt x="3795884" y="1447017"/>
                </a:cubicBezTo>
                <a:lnTo>
                  <a:pt x="3792682" y="1450005"/>
                </a:lnTo>
                <a:lnTo>
                  <a:pt x="3793963" y="1451996"/>
                </a:lnTo>
                <a:cubicBezTo>
                  <a:pt x="3795457" y="1460248"/>
                  <a:pt x="3787987" y="1468215"/>
                  <a:pt x="3782652" y="1473763"/>
                </a:cubicBezTo>
                <a:cubicBezTo>
                  <a:pt x="3779023" y="1477747"/>
                  <a:pt x="3774755" y="1481731"/>
                  <a:pt x="3770914" y="1481589"/>
                </a:cubicBezTo>
                <a:cubicBezTo>
                  <a:pt x="3769633" y="1481589"/>
                  <a:pt x="3768352" y="1481161"/>
                  <a:pt x="3767285" y="1480166"/>
                </a:cubicBezTo>
                <a:lnTo>
                  <a:pt x="3766218" y="1478601"/>
                </a:lnTo>
                <a:lnTo>
                  <a:pt x="3764298" y="1478032"/>
                </a:lnTo>
                <a:lnTo>
                  <a:pt x="3752560" y="1480877"/>
                </a:lnTo>
                <a:lnTo>
                  <a:pt x="3757041" y="1481589"/>
                </a:lnTo>
                <a:cubicBezTo>
                  <a:pt x="3755974" y="1481446"/>
                  <a:pt x="3755974" y="1481446"/>
                  <a:pt x="3755974" y="1481446"/>
                </a:cubicBezTo>
                <a:cubicBezTo>
                  <a:pt x="3754907" y="1482584"/>
                  <a:pt x="3755974" y="1482726"/>
                  <a:pt x="3755974" y="1484007"/>
                </a:cubicBezTo>
                <a:cubicBezTo>
                  <a:pt x="3755974" y="1484007"/>
                  <a:pt x="3755974" y="1482726"/>
                  <a:pt x="3757255" y="1484007"/>
                </a:cubicBezTo>
                <a:cubicBezTo>
                  <a:pt x="3755974" y="1483865"/>
                  <a:pt x="3755974" y="1485145"/>
                  <a:pt x="3756187" y="1486425"/>
                </a:cubicBezTo>
                <a:cubicBezTo>
                  <a:pt x="3753840" y="1488702"/>
                  <a:pt x="3750425" y="1490835"/>
                  <a:pt x="3748077" y="1489555"/>
                </a:cubicBezTo>
                <a:cubicBezTo>
                  <a:pt x="3746797" y="1488275"/>
                  <a:pt x="3746584" y="1487137"/>
                  <a:pt x="3746584" y="1486141"/>
                </a:cubicBezTo>
                <a:lnTo>
                  <a:pt x="3747437" y="1484433"/>
                </a:lnTo>
                <a:lnTo>
                  <a:pt x="3745516" y="1482584"/>
                </a:lnTo>
                <a:lnTo>
                  <a:pt x="3731858" y="1485856"/>
                </a:lnTo>
                <a:cubicBezTo>
                  <a:pt x="3729723" y="1482869"/>
                  <a:pt x="3726522" y="1480308"/>
                  <a:pt x="3723107" y="1478032"/>
                </a:cubicBezTo>
                <a:lnTo>
                  <a:pt x="3720333" y="1476467"/>
                </a:lnTo>
                <a:lnTo>
                  <a:pt x="3717985" y="1475897"/>
                </a:lnTo>
                <a:lnTo>
                  <a:pt x="3715211" y="1473336"/>
                </a:lnTo>
                <a:lnTo>
                  <a:pt x="3712009" y="1471630"/>
                </a:lnTo>
                <a:cubicBezTo>
                  <a:pt x="3704753" y="1467219"/>
                  <a:pt x="3698351" y="1461955"/>
                  <a:pt x="3697284" y="1452850"/>
                </a:cubicBezTo>
                <a:lnTo>
                  <a:pt x="3697924" y="1451285"/>
                </a:lnTo>
                <a:lnTo>
                  <a:pt x="3696430" y="1449862"/>
                </a:lnTo>
                <a:cubicBezTo>
                  <a:pt x="3694936" y="1447443"/>
                  <a:pt x="3694296" y="1444456"/>
                  <a:pt x="3694509" y="1441326"/>
                </a:cubicBezTo>
                <a:cubicBezTo>
                  <a:pt x="3695790" y="1439904"/>
                  <a:pt x="3697710" y="1439050"/>
                  <a:pt x="3699845" y="1438765"/>
                </a:cubicBezTo>
                <a:lnTo>
                  <a:pt x="3701125" y="1438765"/>
                </a:lnTo>
                <a:lnTo>
                  <a:pt x="3701338" y="1436205"/>
                </a:lnTo>
                <a:cubicBezTo>
                  <a:pt x="3701125" y="1431652"/>
                  <a:pt x="3700272" y="1427526"/>
                  <a:pt x="3700912" y="1422689"/>
                </a:cubicBezTo>
                <a:cubicBezTo>
                  <a:pt x="3703900" y="1418279"/>
                  <a:pt x="3707741" y="1413726"/>
                  <a:pt x="3711796" y="1409458"/>
                </a:cubicBezTo>
                <a:lnTo>
                  <a:pt x="3721827" y="1400637"/>
                </a:lnTo>
                <a:lnTo>
                  <a:pt x="3722040" y="1392243"/>
                </a:lnTo>
                <a:cubicBezTo>
                  <a:pt x="3721614" y="1389398"/>
                  <a:pt x="3721614" y="1386410"/>
                  <a:pt x="3722894" y="1383423"/>
                </a:cubicBezTo>
                <a:close/>
                <a:moveTo>
                  <a:pt x="5658611" y="1383280"/>
                </a:moveTo>
                <a:cubicBezTo>
                  <a:pt x="5664800" y="1384134"/>
                  <a:pt x="5668002" y="1390251"/>
                  <a:pt x="5670349" y="1396654"/>
                </a:cubicBezTo>
                <a:cubicBezTo>
                  <a:pt x="5671203" y="1399499"/>
                  <a:pt x="5671843" y="1402487"/>
                  <a:pt x="5672484" y="1405047"/>
                </a:cubicBezTo>
                <a:cubicBezTo>
                  <a:pt x="5673977" y="1410454"/>
                  <a:pt x="5675045" y="1416429"/>
                  <a:pt x="5673337" y="1419986"/>
                </a:cubicBezTo>
                <a:cubicBezTo>
                  <a:pt x="5672697" y="1421266"/>
                  <a:pt x="5671630" y="1422262"/>
                  <a:pt x="5670349" y="1422831"/>
                </a:cubicBezTo>
                <a:cubicBezTo>
                  <a:pt x="5662666" y="1426673"/>
                  <a:pt x="5653276" y="1420697"/>
                  <a:pt x="5650928" y="1410311"/>
                </a:cubicBezTo>
                <a:cubicBezTo>
                  <a:pt x="5646660" y="1394377"/>
                  <a:pt x="5651568" y="1384419"/>
                  <a:pt x="5651568" y="1384419"/>
                </a:cubicBezTo>
                <a:cubicBezTo>
                  <a:pt x="5654343" y="1383280"/>
                  <a:pt x="5656691" y="1382996"/>
                  <a:pt x="5658611" y="1383280"/>
                </a:cubicBezTo>
                <a:close/>
                <a:moveTo>
                  <a:pt x="1786952" y="1382627"/>
                </a:moveTo>
                <a:cubicBezTo>
                  <a:pt x="1787675" y="1384176"/>
                  <a:pt x="1791186" y="1393005"/>
                  <a:pt x="1790773" y="1395948"/>
                </a:cubicBezTo>
                <a:cubicBezTo>
                  <a:pt x="1789637" y="1391766"/>
                  <a:pt x="1786230" y="1386654"/>
                  <a:pt x="1786952" y="1382627"/>
                </a:cubicBezTo>
                <a:close/>
                <a:moveTo>
                  <a:pt x="3605086" y="1382142"/>
                </a:moveTo>
                <a:cubicBezTo>
                  <a:pt x="3606367" y="1382142"/>
                  <a:pt x="3607647" y="1382284"/>
                  <a:pt x="3608501" y="1382854"/>
                </a:cubicBezTo>
                <a:cubicBezTo>
                  <a:pt x="3607647" y="1385130"/>
                  <a:pt x="3606794" y="1387549"/>
                  <a:pt x="3606154" y="1389967"/>
                </a:cubicBezTo>
                <a:cubicBezTo>
                  <a:pt x="3605940" y="1388829"/>
                  <a:pt x="3595909" y="1391816"/>
                  <a:pt x="3595909" y="1391816"/>
                </a:cubicBezTo>
                <a:cubicBezTo>
                  <a:pt x="3593135" y="1389540"/>
                  <a:pt x="3593135" y="1389540"/>
                  <a:pt x="3595055" y="1385841"/>
                </a:cubicBezTo>
                <a:cubicBezTo>
                  <a:pt x="3596123" y="1384703"/>
                  <a:pt x="3598470" y="1383423"/>
                  <a:pt x="3601245" y="1382569"/>
                </a:cubicBezTo>
                <a:cubicBezTo>
                  <a:pt x="3602525" y="1382284"/>
                  <a:pt x="3603806" y="1382142"/>
                  <a:pt x="3605086" y="1382142"/>
                </a:cubicBezTo>
                <a:close/>
                <a:moveTo>
                  <a:pt x="1097924" y="1381697"/>
                </a:moveTo>
                <a:cubicBezTo>
                  <a:pt x="1100918" y="1383711"/>
                  <a:pt x="1101641" y="1384640"/>
                  <a:pt x="1102570" y="1388203"/>
                </a:cubicBezTo>
                <a:cubicBezTo>
                  <a:pt x="1098853" y="1392695"/>
                  <a:pt x="1094206" y="1393779"/>
                  <a:pt x="1089457" y="1394864"/>
                </a:cubicBezTo>
                <a:cubicBezTo>
                  <a:pt x="1087185" y="1393315"/>
                  <a:pt x="1086153" y="1391921"/>
                  <a:pt x="1086153" y="1390682"/>
                </a:cubicBezTo>
                <a:cubicBezTo>
                  <a:pt x="1085946" y="1386964"/>
                  <a:pt x="1093897" y="1384331"/>
                  <a:pt x="1097924" y="1381697"/>
                </a:cubicBezTo>
                <a:close/>
                <a:moveTo>
                  <a:pt x="5318633" y="1381573"/>
                </a:moveTo>
                <a:cubicBezTo>
                  <a:pt x="5319914" y="1381573"/>
                  <a:pt x="5321621" y="1381715"/>
                  <a:pt x="5323329" y="1382284"/>
                </a:cubicBezTo>
                <a:cubicBezTo>
                  <a:pt x="5323969" y="1384845"/>
                  <a:pt x="5325676" y="1386837"/>
                  <a:pt x="5326957" y="1390536"/>
                </a:cubicBezTo>
                <a:cubicBezTo>
                  <a:pt x="5324396" y="1392670"/>
                  <a:pt x="5316926" y="1393950"/>
                  <a:pt x="5312231" y="1389825"/>
                </a:cubicBezTo>
                <a:cubicBezTo>
                  <a:pt x="5312017" y="1383992"/>
                  <a:pt x="5314365" y="1381573"/>
                  <a:pt x="5318633" y="1381573"/>
                </a:cubicBezTo>
                <a:close/>
                <a:moveTo>
                  <a:pt x="3983693" y="1380008"/>
                </a:moveTo>
                <a:cubicBezTo>
                  <a:pt x="3983906" y="1381289"/>
                  <a:pt x="3984974" y="1381289"/>
                  <a:pt x="3984974" y="1382569"/>
                </a:cubicBezTo>
                <a:cubicBezTo>
                  <a:pt x="3986254" y="1384988"/>
                  <a:pt x="3986254" y="1385130"/>
                  <a:pt x="3985187" y="1386268"/>
                </a:cubicBezTo>
                <a:cubicBezTo>
                  <a:pt x="3984120" y="1387406"/>
                  <a:pt x="3980491" y="1386126"/>
                  <a:pt x="3979425" y="1387264"/>
                </a:cubicBezTo>
                <a:cubicBezTo>
                  <a:pt x="3979425" y="1387264"/>
                  <a:pt x="3979211" y="1387121"/>
                  <a:pt x="3977931" y="1384703"/>
                </a:cubicBezTo>
                <a:cubicBezTo>
                  <a:pt x="3977931" y="1383423"/>
                  <a:pt x="3977931" y="1382142"/>
                  <a:pt x="3978998" y="1381004"/>
                </a:cubicBezTo>
                <a:cubicBezTo>
                  <a:pt x="3980278" y="1379866"/>
                  <a:pt x="3982626" y="1380008"/>
                  <a:pt x="3983693" y="1380008"/>
                </a:cubicBezTo>
                <a:close/>
                <a:moveTo>
                  <a:pt x="4560353" y="1379439"/>
                </a:moveTo>
                <a:cubicBezTo>
                  <a:pt x="4560780" y="1383992"/>
                  <a:pt x="4560140" y="1385984"/>
                  <a:pt x="4559073" y="1386553"/>
                </a:cubicBezTo>
                <a:cubicBezTo>
                  <a:pt x="4555871" y="1388260"/>
                  <a:pt x="4548828" y="1376878"/>
                  <a:pt x="4560353" y="1379439"/>
                </a:cubicBezTo>
                <a:close/>
                <a:moveTo>
                  <a:pt x="4307878" y="1378017"/>
                </a:moveTo>
                <a:cubicBezTo>
                  <a:pt x="4308731" y="1378301"/>
                  <a:pt x="4309585" y="1379297"/>
                  <a:pt x="4310225" y="1380720"/>
                </a:cubicBezTo>
                <a:cubicBezTo>
                  <a:pt x="4311933" y="1384845"/>
                  <a:pt x="4311078" y="1392386"/>
                  <a:pt x="4304463" y="1391532"/>
                </a:cubicBezTo>
                <a:cubicBezTo>
                  <a:pt x="4303395" y="1391532"/>
                  <a:pt x="4302542" y="1390678"/>
                  <a:pt x="4302115" y="1389398"/>
                </a:cubicBezTo>
                <a:cubicBezTo>
                  <a:pt x="4300835" y="1385414"/>
                  <a:pt x="4302969" y="1377874"/>
                  <a:pt x="4307878" y="1378017"/>
                </a:cubicBezTo>
                <a:close/>
                <a:moveTo>
                  <a:pt x="1533562" y="1376741"/>
                </a:moveTo>
                <a:cubicBezTo>
                  <a:pt x="1533562" y="1376741"/>
                  <a:pt x="1534284" y="1377205"/>
                  <a:pt x="1534904" y="1379374"/>
                </a:cubicBezTo>
                <a:cubicBezTo>
                  <a:pt x="1534181" y="1379064"/>
                  <a:pt x="1533768" y="1379839"/>
                  <a:pt x="1533768" y="1379839"/>
                </a:cubicBezTo>
                <a:cubicBezTo>
                  <a:pt x="1533768" y="1379839"/>
                  <a:pt x="1533768" y="1379839"/>
                  <a:pt x="1534491" y="1380148"/>
                </a:cubicBezTo>
                <a:cubicBezTo>
                  <a:pt x="1533871" y="1380303"/>
                  <a:pt x="1533562" y="1380148"/>
                  <a:pt x="1533355" y="1379993"/>
                </a:cubicBezTo>
                <a:cubicBezTo>
                  <a:pt x="1533045" y="1379684"/>
                  <a:pt x="1533045" y="1379374"/>
                  <a:pt x="1533045" y="1379374"/>
                </a:cubicBezTo>
                <a:cubicBezTo>
                  <a:pt x="1532839" y="1378909"/>
                  <a:pt x="1532632" y="1378290"/>
                  <a:pt x="1532632" y="1377825"/>
                </a:cubicBezTo>
                <a:cubicBezTo>
                  <a:pt x="1532735" y="1377360"/>
                  <a:pt x="1532942" y="1377050"/>
                  <a:pt x="1533562" y="1376741"/>
                </a:cubicBezTo>
                <a:close/>
                <a:moveTo>
                  <a:pt x="4928289" y="1376594"/>
                </a:moveTo>
                <a:cubicBezTo>
                  <a:pt x="4929996" y="1376452"/>
                  <a:pt x="4932344" y="1376878"/>
                  <a:pt x="4934691" y="1378728"/>
                </a:cubicBezTo>
                <a:cubicBezTo>
                  <a:pt x="4935758" y="1380008"/>
                  <a:pt x="4938320" y="1383849"/>
                  <a:pt x="4937253" y="1383707"/>
                </a:cubicBezTo>
                <a:cubicBezTo>
                  <a:pt x="4936185" y="1384988"/>
                  <a:pt x="4937253" y="1384988"/>
                  <a:pt x="4937253" y="1386126"/>
                </a:cubicBezTo>
                <a:lnTo>
                  <a:pt x="4935758" y="1387121"/>
                </a:lnTo>
                <a:lnTo>
                  <a:pt x="4936399" y="1387975"/>
                </a:lnTo>
                <a:cubicBezTo>
                  <a:pt x="4937893" y="1390394"/>
                  <a:pt x="4937679" y="1390394"/>
                  <a:pt x="4936825" y="1391674"/>
                </a:cubicBezTo>
                <a:cubicBezTo>
                  <a:pt x="4935758" y="1392955"/>
                  <a:pt x="4932130" y="1391959"/>
                  <a:pt x="4931063" y="1393239"/>
                </a:cubicBezTo>
                <a:cubicBezTo>
                  <a:pt x="4931063" y="1393239"/>
                  <a:pt x="4931063" y="1393239"/>
                  <a:pt x="4929569" y="1390821"/>
                </a:cubicBezTo>
                <a:lnTo>
                  <a:pt x="4929996" y="1388686"/>
                </a:lnTo>
                <a:lnTo>
                  <a:pt x="4927008" y="1388118"/>
                </a:lnTo>
                <a:cubicBezTo>
                  <a:pt x="4924661" y="1385557"/>
                  <a:pt x="4921032" y="1381715"/>
                  <a:pt x="4923167" y="1378301"/>
                </a:cubicBezTo>
                <a:cubicBezTo>
                  <a:pt x="4924447" y="1378301"/>
                  <a:pt x="4924234" y="1377163"/>
                  <a:pt x="4925514" y="1377163"/>
                </a:cubicBezTo>
                <a:cubicBezTo>
                  <a:pt x="4925514" y="1377163"/>
                  <a:pt x="4926582" y="1376594"/>
                  <a:pt x="4928289" y="1376594"/>
                </a:cubicBezTo>
                <a:close/>
                <a:moveTo>
                  <a:pt x="4463247" y="1376025"/>
                </a:moveTo>
                <a:cubicBezTo>
                  <a:pt x="4472211" y="1376167"/>
                  <a:pt x="4479894" y="1383423"/>
                  <a:pt x="4482669" y="1390678"/>
                </a:cubicBezTo>
                <a:cubicBezTo>
                  <a:pt x="4483735" y="1393097"/>
                  <a:pt x="4484376" y="1395515"/>
                  <a:pt x="4484162" y="1397792"/>
                </a:cubicBezTo>
                <a:cubicBezTo>
                  <a:pt x="4472211" y="1397650"/>
                  <a:pt x="4464741" y="1384134"/>
                  <a:pt x="4463247" y="1376025"/>
                </a:cubicBezTo>
                <a:close/>
                <a:moveTo>
                  <a:pt x="1440941" y="1375811"/>
                </a:moveTo>
                <a:cubicBezTo>
                  <a:pt x="1440837" y="1377670"/>
                  <a:pt x="1440115" y="1384021"/>
                  <a:pt x="1438566" y="1385105"/>
                </a:cubicBezTo>
                <a:cubicBezTo>
                  <a:pt x="1438256" y="1382162"/>
                  <a:pt x="1439702" y="1376276"/>
                  <a:pt x="1440941" y="1375811"/>
                </a:cubicBezTo>
                <a:close/>
                <a:moveTo>
                  <a:pt x="1050942" y="1375502"/>
                </a:moveTo>
                <a:cubicBezTo>
                  <a:pt x="1055175" y="1379839"/>
                  <a:pt x="1053627" y="1384021"/>
                  <a:pt x="1049703" y="1386809"/>
                </a:cubicBezTo>
                <a:cubicBezTo>
                  <a:pt x="1043301" y="1391611"/>
                  <a:pt x="1030601" y="1393005"/>
                  <a:pt x="1027710" y="1385260"/>
                </a:cubicBezTo>
                <a:cubicBezTo>
                  <a:pt x="1030291" y="1382627"/>
                  <a:pt x="1033285" y="1380148"/>
                  <a:pt x="1037106" y="1378445"/>
                </a:cubicBezTo>
                <a:cubicBezTo>
                  <a:pt x="1040823" y="1376586"/>
                  <a:pt x="1045366" y="1375502"/>
                  <a:pt x="1050942" y="1375502"/>
                </a:cubicBezTo>
                <a:close/>
                <a:moveTo>
                  <a:pt x="3854787" y="1374033"/>
                </a:moveTo>
                <a:cubicBezTo>
                  <a:pt x="3859056" y="1374175"/>
                  <a:pt x="3863751" y="1376452"/>
                  <a:pt x="3865672" y="1380150"/>
                </a:cubicBezTo>
                <a:cubicBezTo>
                  <a:pt x="3859056" y="1385699"/>
                  <a:pt x="3853294" y="1387833"/>
                  <a:pt x="3846037" y="1380435"/>
                </a:cubicBezTo>
                <a:cubicBezTo>
                  <a:pt x="3846464" y="1375740"/>
                  <a:pt x="3850306" y="1373748"/>
                  <a:pt x="3854787" y="1374033"/>
                </a:cubicBezTo>
                <a:close/>
                <a:moveTo>
                  <a:pt x="1240521" y="1373643"/>
                </a:moveTo>
                <a:cubicBezTo>
                  <a:pt x="1241140" y="1374882"/>
                  <a:pt x="1242482" y="1376121"/>
                  <a:pt x="1243412" y="1377360"/>
                </a:cubicBezTo>
                <a:lnTo>
                  <a:pt x="1244031" y="1379219"/>
                </a:lnTo>
                <a:lnTo>
                  <a:pt x="1244754" y="1379684"/>
                </a:lnTo>
                <a:cubicBezTo>
                  <a:pt x="1245373" y="1380613"/>
                  <a:pt x="1245580" y="1381697"/>
                  <a:pt x="1245064" y="1383247"/>
                </a:cubicBezTo>
                <a:cubicBezTo>
                  <a:pt x="1244651" y="1383247"/>
                  <a:pt x="1244031" y="1382782"/>
                  <a:pt x="1243412" y="1382162"/>
                </a:cubicBezTo>
                <a:lnTo>
                  <a:pt x="1242689" y="1381543"/>
                </a:lnTo>
                <a:lnTo>
                  <a:pt x="1239385" y="1380613"/>
                </a:lnTo>
                <a:cubicBezTo>
                  <a:pt x="1230298" y="1379684"/>
                  <a:pt x="1222967" y="1388513"/>
                  <a:pt x="1215636" y="1382627"/>
                </a:cubicBezTo>
                <a:cubicBezTo>
                  <a:pt x="1219043" y="1380303"/>
                  <a:pt x="1222244" y="1377825"/>
                  <a:pt x="1226065" y="1375966"/>
                </a:cubicBezTo>
                <a:cubicBezTo>
                  <a:pt x="1229885" y="1374107"/>
                  <a:pt x="1234429" y="1373023"/>
                  <a:pt x="1240521" y="1373643"/>
                </a:cubicBezTo>
                <a:close/>
                <a:moveTo>
                  <a:pt x="1064675" y="1373488"/>
                </a:moveTo>
                <a:cubicBezTo>
                  <a:pt x="1066431" y="1375502"/>
                  <a:pt x="1064675" y="1377825"/>
                  <a:pt x="1063746" y="1377670"/>
                </a:cubicBezTo>
                <a:cubicBezTo>
                  <a:pt x="1062920" y="1376741"/>
                  <a:pt x="1062920" y="1375037"/>
                  <a:pt x="1061991" y="1374107"/>
                </a:cubicBezTo>
                <a:cubicBezTo>
                  <a:pt x="1062920" y="1374262"/>
                  <a:pt x="1063849" y="1373488"/>
                  <a:pt x="1064675" y="1373488"/>
                </a:cubicBezTo>
                <a:close/>
                <a:moveTo>
                  <a:pt x="3751492" y="1373037"/>
                </a:moveTo>
                <a:cubicBezTo>
                  <a:pt x="3751705" y="1373037"/>
                  <a:pt x="3752132" y="1373179"/>
                  <a:pt x="3752346" y="1373891"/>
                </a:cubicBezTo>
                <a:cubicBezTo>
                  <a:pt x="3752772" y="1375455"/>
                  <a:pt x="3752772" y="1375455"/>
                  <a:pt x="3751492" y="1378443"/>
                </a:cubicBezTo>
                <a:cubicBezTo>
                  <a:pt x="3750852" y="1376878"/>
                  <a:pt x="3750852" y="1376878"/>
                  <a:pt x="3749358" y="1377305"/>
                </a:cubicBezTo>
                <a:cubicBezTo>
                  <a:pt x="3749358" y="1377305"/>
                  <a:pt x="3749572" y="1377305"/>
                  <a:pt x="3748931" y="1378301"/>
                </a:cubicBezTo>
                <a:cubicBezTo>
                  <a:pt x="3748077" y="1377732"/>
                  <a:pt x="3748505" y="1376736"/>
                  <a:pt x="3747437" y="1376167"/>
                </a:cubicBezTo>
                <a:cubicBezTo>
                  <a:pt x="3747437" y="1376167"/>
                  <a:pt x="3747864" y="1375171"/>
                  <a:pt x="3747864" y="1375171"/>
                </a:cubicBezTo>
                <a:cubicBezTo>
                  <a:pt x="3747437" y="1374886"/>
                  <a:pt x="3747437" y="1374886"/>
                  <a:pt x="3747651" y="1374744"/>
                </a:cubicBezTo>
                <a:cubicBezTo>
                  <a:pt x="3748077" y="1374744"/>
                  <a:pt x="3748931" y="1374460"/>
                  <a:pt x="3749785" y="1373748"/>
                </a:cubicBezTo>
                <a:cubicBezTo>
                  <a:pt x="3750639" y="1373464"/>
                  <a:pt x="3751065" y="1373179"/>
                  <a:pt x="3751492" y="1373037"/>
                </a:cubicBezTo>
                <a:close/>
                <a:moveTo>
                  <a:pt x="1445897" y="1373023"/>
                </a:moveTo>
                <a:cubicBezTo>
                  <a:pt x="1448169" y="1372094"/>
                  <a:pt x="1451679" y="1374262"/>
                  <a:pt x="1452299" y="1376276"/>
                </a:cubicBezTo>
                <a:cubicBezTo>
                  <a:pt x="1451370" y="1381697"/>
                  <a:pt x="1444968" y="1377670"/>
                  <a:pt x="1444245" y="1375037"/>
                </a:cubicBezTo>
                <a:cubicBezTo>
                  <a:pt x="1444555" y="1373953"/>
                  <a:pt x="1445174" y="1373333"/>
                  <a:pt x="1445897" y="1373023"/>
                </a:cubicBezTo>
                <a:close/>
                <a:moveTo>
                  <a:pt x="3558134" y="1372895"/>
                </a:moveTo>
                <a:cubicBezTo>
                  <a:pt x="3565817" y="1387549"/>
                  <a:pt x="3586092" y="1382569"/>
                  <a:pt x="3589080" y="1396938"/>
                </a:cubicBezTo>
                <a:cubicBezTo>
                  <a:pt x="3577555" y="1395231"/>
                  <a:pt x="3566030" y="1395800"/>
                  <a:pt x="3554079" y="1383423"/>
                </a:cubicBezTo>
                <a:cubicBezTo>
                  <a:pt x="3554932" y="1379866"/>
                  <a:pt x="3552585" y="1373891"/>
                  <a:pt x="3558134" y="1372895"/>
                </a:cubicBezTo>
                <a:close/>
                <a:moveTo>
                  <a:pt x="1322803" y="1372752"/>
                </a:moveTo>
                <a:cubicBezTo>
                  <a:pt x="1324674" y="1373372"/>
                  <a:pt x="1326636" y="1374417"/>
                  <a:pt x="1328804" y="1375037"/>
                </a:cubicBezTo>
                <a:cubicBezTo>
                  <a:pt x="1328804" y="1375811"/>
                  <a:pt x="1329631" y="1376895"/>
                  <a:pt x="1330457" y="1376895"/>
                </a:cubicBezTo>
                <a:cubicBezTo>
                  <a:pt x="1331283" y="1377825"/>
                  <a:pt x="1332212" y="1378754"/>
                  <a:pt x="1332212" y="1377825"/>
                </a:cubicBezTo>
                <a:cubicBezTo>
                  <a:pt x="1334794" y="1380613"/>
                  <a:pt x="1335723" y="1380768"/>
                  <a:pt x="1334794" y="1383247"/>
                </a:cubicBezTo>
                <a:lnTo>
                  <a:pt x="1331902" y="1382162"/>
                </a:lnTo>
                <a:lnTo>
                  <a:pt x="1331902" y="1383092"/>
                </a:lnTo>
                <a:cubicBezTo>
                  <a:pt x="1330043" y="1384331"/>
                  <a:pt x="1328701" y="1384176"/>
                  <a:pt x="1327772" y="1383401"/>
                </a:cubicBezTo>
                <a:lnTo>
                  <a:pt x="1326739" y="1380458"/>
                </a:lnTo>
                <a:lnTo>
                  <a:pt x="1324571" y="1379684"/>
                </a:lnTo>
                <a:cubicBezTo>
                  <a:pt x="1321473" y="1378290"/>
                  <a:pt x="1319098" y="1376895"/>
                  <a:pt x="1318169" y="1376431"/>
                </a:cubicBezTo>
                <a:cubicBezTo>
                  <a:pt x="1317343" y="1375966"/>
                  <a:pt x="1316930" y="1375502"/>
                  <a:pt x="1316827" y="1375037"/>
                </a:cubicBezTo>
                <a:cubicBezTo>
                  <a:pt x="1316724" y="1374417"/>
                  <a:pt x="1316930" y="1373798"/>
                  <a:pt x="1317343" y="1373023"/>
                </a:cubicBezTo>
                <a:cubicBezTo>
                  <a:pt x="1319150" y="1371939"/>
                  <a:pt x="1320931" y="1372133"/>
                  <a:pt x="1322803" y="1372752"/>
                </a:cubicBezTo>
                <a:close/>
                <a:moveTo>
                  <a:pt x="3989029" y="1372610"/>
                </a:moveTo>
                <a:cubicBezTo>
                  <a:pt x="3990736" y="1372753"/>
                  <a:pt x="3992657" y="1373748"/>
                  <a:pt x="3994364" y="1375740"/>
                </a:cubicBezTo>
                <a:cubicBezTo>
                  <a:pt x="3997565" y="1378728"/>
                  <a:pt x="3997352" y="1383423"/>
                  <a:pt x="4000553" y="1387549"/>
                </a:cubicBezTo>
                <a:cubicBezTo>
                  <a:pt x="3996712" y="1391816"/>
                  <a:pt x="3995645" y="1392813"/>
                  <a:pt x="3990096" y="1389398"/>
                </a:cubicBezTo>
                <a:cubicBezTo>
                  <a:pt x="3990096" y="1389398"/>
                  <a:pt x="3989029" y="1388118"/>
                  <a:pt x="3989029" y="1388118"/>
                </a:cubicBezTo>
                <a:cubicBezTo>
                  <a:pt x="3984546" y="1383849"/>
                  <a:pt x="3982839" y="1376309"/>
                  <a:pt x="3984120" y="1374033"/>
                </a:cubicBezTo>
                <a:cubicBezTo>
                  <a:pt x="3985187" y="1373037"/>
                  <a:pt x="3987108" y="1372468"/>
                  <a:pt x="3989029" y="1372610"/>
                </a:cubicBezTo>
                <a:close/>
                <a:moveTo>
                  <a:pt x="4197753" y="1372326"/>
                </a:moveTo>
                <a:cubicBezTo>
                  <a:pt x="4198606" y="1372610"/>
                  <a:pt x="4199460" y="1373037"/>
                  <a:pt x="4199887" y="1373748"/>
                </a:cubicBezTo>
                <a:cubicBezTo>
                  <a:pt x="4200954" y="1375313"/>
                  <a:pt x="4201168" y="1377874"/>
                  <a:pt x="4200528" y="1380862"/>
                </a:cubicBezTo>
                <a:cubicBezTo>
                  <a:pt x="4197966" y="1381573"/>
                  <a:pt x="4195405" y="1382284"/>
                  <a:pt x="4193058" y="1381431"/>
                </a:cubicBezTo>
                <a:cubicBezTo>
                  <a:pt x="4193485" y="1378017"/>
                  <a:pt x="4193058" y="1375455"/>
                  <a:pt x="4194125" y="1372895"/>
                </a:cubicBezTo>
                <a:cubicBezTo>
                  <a:pt x="4195405" y="1372326"/>
                  <a:pt x="4196686" y="1372183"/>
                  <a:pt x="4197753" y="1372326"/>
                </a:cubicBezTo>
                <a:close/>
                <a:moveTo>
                  <a:pt x="4705265" y="1371756"/>
                </a:moveTo>
                <a:cubicBezTo>
                  <a:pt x="4713802" y="1372326"/>
                  <a:pt x="4721485" y="1377020"/>
                  <a:pt x="4724046" y="1386410"/>
                </a:cubicBezTo>
                <a:cubicBezTo>
                  <a:pt x="4724900" y="1389967"/>
                  <a:pt x="4724900" y="1394235"/>
                  <a:pt x="4724046" y="1399215"/>
                </a:cubicBezTo>
                <a:cubicBezTo>
                  <a:pt x="4721058" y="1412730"/>
                  <a:pt x="4708040" y="1419986"/>
                  <a:pt x="4698222" y="1434924"/>
                </a:cubicBezTo>
                <a:lnTo>
                  <a:pt x="4697155" y="1432078"/>
                </a:lnTo>
                <a:lnTo>
                  <a:pt x="4695875" y="1432790"/>
                </a:lnTo>
                <a:cubicBezTo>
                  <a:pt x="4691393" y="1431794"/>
                  <a:pt x="4688618" y="1428522"/>
                  <a:pt x="4688192" y="1424965"/>
                </a:cubicBezTo>
                <a:lnTo>
                  <a:pt x="4689472" y="1420128"/>
                </a:lnTo>
                <a:lnTo>
                  <a:pt x="4683283" y="1415433"/>
                </a:lnTo>
                <a:cubicBezTo>
                  <a:pt x="4681149" y="1413726"/>
                  <a:pt x="4679442" y="1412018"/>
                  <a:pt x="4677734" y="1410027"/>
                </a:cubicBezTo>
                <a:cubicBezTo>
                  <a:pt x="4675813" y="1407324"/>
                  <a:pt x="4674533" y="1404052"/>
                  <a:pt x="4674533" y="1399926"/>
                </a:cubicBezTo>
                <a:cubicBezTo>
                  <a:pt x="4673892" y="1381147"/>
                  <a:pt x="4690753" y="1370761"/>
                  <a:pt x="4705265" y="1371756"/>
                </a:cubicBezTo>
                <a:close/>
                <a:moveTo>
                  <a:pt x="3763657" y="1370761"/>
                </a:moveTo>
                <a:cubicBezTo>
                  <a:pt x="3761736" y="1372753"/>
                  <a:pt x="3755120" y="1379297"/>
                  <a:pt x="3752560" y="1379012"/>
                </a:cubicBezTo>
                <a:cubicBezTo>
                  <a:pt x="3755334" y="1375455"/>
                  <a:pt x="3762163" y="1370049"/>
                  <a:pt x="3763657" y="1370761"/>
                </a:cubicBezTo>
                <a:close/>
                <a:moveTo>
                  <a:pt x="3612770" y="1370618"/>
                </a:moveTo>
                <a:cubicBezTo>
                  <a:pt x="3615971" y="1369907"/>
                  <a:pt x="3621306" y="1373179"/>
                  <a:pt x="3628989" y="1384561"/>
                </a:cubicBezTo>
                <a:lnTo>
                  <a:pt x="3626855" y="1387406"/>
                </a:lnTo>
                <a:lnTo>
                  <a:pt x="3626641" y="1387549"/>
                </a:lnTo>
                <a:lnTo>
                  <a:pt x="3624081" y="1390821"/>
                </a:lnTo>
                <a:lnTo>
                  <a:pt x="3624721" y="1391390"/>
                </a:lnTo>
                <a:cubicBezTo>
                  <a:pt x="3623653" y="1394093"/>
                  <a:pt x="3621733" y="1395942"/>
                  <a:pt x="3620026" y="1396796"/>
                </a:cubicBezTo>
                <a:cubicBezTo>
                  <a:pt x="3618105" y="1397650"/>
                  <a:pt x="3615971" y="1397650"/>
                  <a:pt x="3614050" y="1396938"/>
                </a:cubicBezTo>
                <a:lnTo>
                  <a:pt x="3614477" y="1393239"/>
                </a:lnTo>
                <a:lnTo>
                  <a:pt x="3613837" y="1392955"/>
                </a:lnTo>
                <a:cubicBezTo>
                  <a:pt x="3608074" y="1387975"/>
                  <a:pt x="3606794" y="1372041"/>
                  <a:pt x="3612770" y="1370618"/>
                </a:cubicBezTo>
                <a:close/>
                <a:moveTo>
                  <a:pt x="5715168" y="1370191"/>
                </a:moveTo>
                <a:cubicBezTo>
                  <a:pt x="5716448" y="1370476"/>
                  <a:pt x="5717515" y="1371188"/>
                  <a:pt x="5717729" y="1371899"/>
                </a:cubicBezTo>
                <a:cubicBezTo>
                  <a:pt x="5717942" y="1374460"/>
                  <a:pt x="5718369" y="1376878"/>
                  <a:pt x="5716661" y="1378443"/>
                </a:cubicBezTo>
                <a:cubicBezTo>
                  <a:pt x="5716021" y="1379012"/>
                  <a:pt x="5715168" y="1379439"/>
                  <a:pt x="5713887" y="1379724"/>
                </a:cubicBezTo>
                <a:cubicBezTo>
                  <a:pt x="5713887" y="1379724"/>
                  <a:pt x="5713887" y="1379724"/>
                  <a:pt x="5713033" y="1379155"/>
                </a:cubicBezTo>
                <a:cubicBezTo>
                  <a:pt x="5711113" y="1378017"/>
                  <a:pt x="5710259" y="1377305"/>
                  <a:pt x="5709192" y="1376736"/>
                </a:cubicBezTo>
                <a:cubicBezTo>
                  <a:pt x="5708978" y="1375171"/>
                  <a:pt x="5709192" y="1370903"/>
                  <a:pt x="5710686" y="1370476"/>
                </a:cubicBezTo>
                <a:cubicBezTo>
                  <a:pt x="5712393" y="1370049"/>
                  <a:pt x="5713887" y="1369907"/>
                  <a:pt x="5715168" y="1370191"/>
                </a:cubicBezTo>
                <a:close/>
                <a:moveTo>
                  <a:pt x="1115684" y="1370080"/>
                </a:moveTo>
                <a:cubicBezTo>
                  <a:pt x="1115271" y="1370700"/>
                  <a:pt x="1115168" y="1372559"/>
                  <a:pt x="1113929" y="1372714"/>
                </a:cubicBezTo>
                <a:cubicBezTo>
                  <a:pt x="1112690" y="1373023"/>
                  <a:pt x="1112690" y="1373023"/>
                  <a:pt x="1111244" y="1371939"/>
                </a:cubicBezTo>
                <a:cubicBezTo>
                  <a:pt x="1112276" y="1371164"/>
                  <a:pt x="1112793" y="1370855"/>
                  <a:pt x="1113309" y="1370545"/>
                </a:cubicBezTo>
                <a:cubicBezTo>
                  <a:pt x="1113929" y="1370390"/>
                  <a:pt x="1114445" y="1370235"/>
                  <a:pt x="1115684" y="1370080"/>
                </a:cubicBezTo>
                <a:close/>
                <a:moveTo>
                  <a:pt x="4020401" y="1370049"/>
                </a:moveTo>
                <a:cubicBezTo>
                  <a:pt x="4022535" y="1371188"/>
                  <a:pt x="4023816" y="1370191"/>
                  <a:pt x="4026163" y="1373748"/>
                </a:cubicBezTo>
                <a:cubicBezTo>
                  <a:pt x="4025097" y="1374886"/>
                  <a:pt x="4024030" y="1376025"/>
                  <a:pt x="4022962" y="1377163"/>
                </a:cubicBezTo>
                <a:cubicBezTo>
                  <a:pt x="4020614" y="1374744"/>
                  <a:pt x="4018054" y="1372183"/>
                  <a:pt x="4020401" y="1370049"/>
                </a:cubicBezTo>
                <a:close/>
                <a:moveTo>
                  <a:pt x="4328366" y="1369623"/>
                </a:moveTo>
                <a:cubicBezTo>
                  <a:pt x="4328366" y="1369623"/>
                  <a:pt x="4328792" y="1370618"/>
                  <a:pt x="4328792" y="1370618"/>
                </a:cubicBezTo>
                <a:cubicBezTo>
                  <a:pt x="4329433" y="1370334"/>
                  <a:pt x="4329433" y="1370334"/>
                  <a:pt x="4329220" y="1370761"/>
                </a:cubicBezTo>
                <a:cubicBezTo>
                  <a:pt x="4329220" y="1371045"/>
                  <a:pt x="4328792" y="1371899"/>
                  <a:pt x="4328792" y="1373179"/>
                </a:cubicBezTo>
                <a:cubicBezTo>
                  <a:pt x="4328366" y="1374744"/>
                  <a:pt x="4329006" y="1375740"/>
                  <a:pt x="4327512" y="1375313"/>
                </a:cubicBezTo>
                <a:cubicBezTo>
                  <a:pt x="4326018" y="1374886"/>
                  <a:pt x="4326018" y="1375029"/>
                  <a:pt x="4324524" y="1372041"/>
                </a:cubicBezTo>
                <a:cubicBezTo>
                  <a:pt x="4325805" y="1372468"/>
                  <a:pt x="4326018" y="1372326"/>
                  <a:pt x="4326445" y="1370761"/>
                </a:cubicBezTo>
                <a:cubicBezTo>
                  <a:pt x="4326445" y="1370761"/>
                  <a:pt x="4326445" y="1370761"/>
                  <a:pt x="4326018" y="1369765"/>
                </a:cubicBezTo>
                <a:cubicBezTo>
                  <a:pt x="4326872" y="1369196"/>
                  <a:pt x="4327299" y="1370191"/>
                  <a:pt x="4328366" y="1369623"/>
                </a:cubicBezTo>
                <a:close/>
                <a:moveTo>
                  <a:pt x="3600604" y="1369623"/>
                </a:moveTo>
                <a:cubicBezTo>
                  <a:pt x="3600604" y="1369623"/>
                  <a:pt x="3601671" y="1369765"/>
                  <a:pt x="3604019" y="1372468"/>
                </a:cubicBezTo>
                <a:cubicBezTo>
                  <a:pt x="3602952" y="1372326"/>
                  <a:pt x="3602739" y="1373464"/>
                  <a:pt x="3602739" y="1373464"/>
                </a:cubicBezTo>
                <a:cubicBezTo>
                  <a:pt x="3602739" y="1373464"/>
                  <a:pt x="3602739" y="1373464"/>
                  <a:pt x="3604019" y="1373606"/>
                </a:cubicBezTo>
                <a:cubicBezTo>
                  <a:pt x="3603379" y="1374175"/>
                  <a:pt x="3602739" y="1374175"/>
                  <a:pt x="3602311" y="1373891"/>
                </a:cubicBezTo>
                <a:cubicBezTo>
                  <a:pt x="3601885" y="1373748"/>
                  <a:pt x="3601671" y="1373322"/>
                  <a:pt x="3601671" y="1373322"/>
                </a:cubicBezTo>
                <a:cubicBezTo>
                  <a:pt x="3600391" y="1372041"/>
                  <a:pt x="3599324" y="1370618"/>
                  <a:pt x="3600604" y="1369623"/>
                </a:cubicBezTo>
                <a:close/>
                <a:moveTo>
                  <a:pt x="3931191" y="1369053"/>
                </a:moveTo>
                <a:lnTo>
                  <a:pt x="3925856" y="1380435"/>
                </a:lnTo>
                <a:lnTo>
                  <a:pt x="3927991" y="1382000"/>
                </a:lnTo>
                <a:cubicBezTo>
                  <a:pt x="3929058" y="1383423"/>
                  <a:pt x="3929911" y="1386126"/>
                  <a:pt x="3930338" y="1389113"/>
                </a:cubicBezTo>
                <a:cubicBezTo>
                  <a:pt x="3930765" y="1392101"/>
                  <a:pt x="3930551" y="1395089"/>
                  <a:pt x="3929271" y="1396654"/>
                </a:cubicBezTo>
                <a:cubicBezTo>
                  <a:pt x="3927137" y="1395089"/>
                  <a:pt x="3925003" y="1393666"/>
                  <a:pt x="3922868" y="1392101"/>
                </a:cubicBezTo>
                <a:cubicBezTo>
                  <a:pt x="3923295" y="1392101"/>
                  <a:pt x="3923295" y="1389398"/>
                  <a:pt x="3923082" y="1386553"/>
                </a:cubicBezTo>
                <a:lnTo>
                  <a:pt x="3920308" y="1392243"/>
                </a:lnTo>
                <a:cubicBezTo>
                  <a:pt x="3916252" y="1398787"/>
                  <a:pt x="3910917" y="1401633"/>
                  <a:pt x="3902166" y="1392955"/>
                </a:cubicBezTo>
                <a:cubicBezTo>
                  <a:pt x="3914545" y="1386837"/>
                  <a:pt x="3919880" y="1369196"/>
                  <a:pt x="3931191" y="1369053"/>
                </a:cubicBezTo>
                <a:close/>
                <a:moveTo>
                  <a:pt x="1716325" y="1368996"/>
                </a:moveTo>
                <a:cubicBezTo>
                  <a:pt x="1717977" y="1370855"/>
                  <a:pt x="1719526" y="1372714"/>
                  <a:pt x="1717667" y="1374107"/>
                </a:cubicBezTo>
                <a:cubicBezTo>
                  <a:pt x="1716015" y="1373023"/>
                  <a:pt x="1715086" y="1373643"/>
                  <a:pt x="1713537" y="1371010"/>
                </a:cubicBezTo>
                <a:cubicBezTo>
                  <a:pt x="1714466" y="1370390"/>
                  <a:pt x="1715396" y="1369770"/>
                  <a:pt x="1716325" y="1368996"/>
                </a:cubicBezTo>
                <a:close/>
                <a:moveTo>
                  <a:pt x="1560925" y="1368531"/>
                </a:moveTo>
                <a:cubicBezTo>
                  <a:pt x="1562576" y="1367602"/>
                  <a:pt x="1565055" y="1368841"/>
                  <a:pt x="1565571" y="1370390"/>
                </a:cubicBezTo>
                <a:cubicBezTo>
                  <a:pt x="1565777" y="1371164"/>
                  <a:pt x="1565674" y="1372094"/>
                  <a:pt x="1564848" y="1372869"/>
                </a:cubicBezTo>
                <a:cubicBezTo>
                  <a:pt x="1562886" y="1372403"/>
                  <a:pt x="1561854" y="1371629"/>
                  <a:pt x="1559685" y="1370390"/>
                </a:cubicBezTo>
                <a:cubicBezTo>
                  <a:pt x="1559892" y="1369460"/>
                  <a:pt x="1560408" y="1368841"/>
                  <a:pt x="1560925" y="1368531"/>
                </a:cubicBezTo>
                <a:close/>
                <a:moveTo>
                  <a:pt x="5841939" y="1368342"/>
                </a:moveTo>
                <a:cubicBezTo>
                  <a:pt x="5842793" y="1367916"/>
                  <a:pt x="5843860" y="1367916"/>
                  <a:pt x="5844500" y="1368484"/>
                </a:cubicBezTo>
                <a:cubicBezTo>
                  <a:pt x="5845567" y="1369623"/>
                  <a:pt x="5844286" y="1370903"/>
                  <a:pt x="5844286" y="1372041"/>
                </a:cubicBezTo>
                <a:cubicBezTo>
                  <a:pt x="5842793" y="1374318"/>
                  <a:pt x="5834682" y="1377732"/>
                  <a:pt x="5833615" y="1376594"/>
                </a:cubicBezTo>
                <a:cubicBezTo>
                  <a:pt x="5835536" y="1373891"/>
                  <a:pt x="5838951" y="1369481"/>
                  <a:pt x="5841939" y="1368342"/>
                </a:cubicBezTo>
                <a:close/>
                <a:moveTo>
                  <a:pt x="1116097" y="1368066"/>
                </a:moveTo>
                <a:cubicBezTo>
                  <a:pt x="1116406" y="1367912"/>
                  <a:pt x="1116716" y="1367912"/>
                  <a:pt x="1117026" y="1368066"/>
                </a:cubicBezTo>
                <a:cubicBezTo>
                  <a:pt x="1117749" y="1368531"/>
                  <a:pt x="1117232" y="1369306"/>
                  <a:pt x="1116097" y="1369615"/>
                </a:cubicBezTo>
                <a:cubicBezTo>
                  <a:pt x="1116097" y="1369615"/>
                  <a:pt x="1115374" y="1369151"/>
                  <a:pt x="1115374" y="1369151"/>
                </a:cubicBezTo>
                <a:cubicBezTo>
                  <a:pt x="1115684" y="1368686"/>
                  <a:pt x="1115890" y="1368376"/>
                  <a:pt x="1116097" y="1368066"/>
                </a:cubicBezTo>
                <a:close/>
                <a:moveTo>
                  <a:pt x="5087714" y="1368058"/>
                </a:moveTo>
                <a:cubicBezTo>
                  <a:pt x="5090914" y="1368627"/>
                  <a:pt x="5093476" y="1368200"/>
                  <a:pt x="5096677" y="1368627"/>
                </a:cubicBezTo>
                <a:cubicBezTo>
                  <a:pt x="5102226" y="1373748"/>
                  <a:pt x="5101159" y="1378870"/>
                  <a:pt x="5097744" y="1381431"/>
                </a:cubicBezTo>
                <a:cubicBezTo>
                  <a:pt x="5094543" y="1383992"/>
                  <a:pt x="5088780" y="1383992"/>
                  <a:pt x="5084512" y="1378585"/>
                </a:cubicBezTo>
                <a:cubicBezTo>
                  <a:pt x="5084726" y="1373606"/>
                  <a:pt x="5086646" y="1370476"/>
                  <a:pt x="5087714" y="1368058"/>
                </a:cubicBezTo>
                <a:close/>
                <a:moveTo>
                  <a:pt x="3776462" y="1367062"/>
                </a:moveTo>
                <a:cubicBezTo>
                  <a:pt x="3778383" y="1366493"/>
                  <a:pt x="3780304" y="1366635"/>
                  <a:pt x="3782225" y="1367631"/>
                </a:cubicBezTo>
                <a:cubicBezTo>
                  <a:pt x="3784786" y="1368911"/>
                  <a:pt x="3787133" y="1371614"/>
                  <a:pt x="3788201" y="1376452"/>
                </a:cubicBezTo>
                <a:cubicBezTo>
                  <a:pt x="3784999" y="1381004"/>
                  <a:pt x="3781371" y="1380862"/>
                  <a:pt x="3778170" y="1382996"/>
                </a:cubicBezTo>
                <a:cubicBezTo>
                  <a:pt x="3767926" y="1375883"/>
                  <a:pt x="3771127" y="1368627"/>
                  <a:pt x="3776462" y="1367062"/>
                </a:cubicBezTo>
                <a:close/>
                <a:moveTo>
                  <a:pt x="1171855" y="1366518"/>
                </a:moveTo>
                <a:cubicBezTo>
                  <a:pt x="1174230" y="1366827"/>
                  <a:pt x="1175159" y="1368222"/>
                  <a:pt x="1174850" y="1369306"/>
                </a:cubicBezTo>
                <a:cubicBezTo>
                  <a:pt x="1173610" y="1378754"/>
                  <a:pt x="1165247" y="1380458"/>
                  <a:pt x="1164214" y="1382162"/>
                </a:cubicBezTo>
                <a:cubicBezTo>
                  <a:pt x="1161530" y="1381697"/>
                  <a:pt x="1160910" y="1381697"/>
                  <a:pt x="1161116" y="1378909"/>
                </a:cubicBezTo>
                <a:cubicBezTo>
                  <a:pt x="1161220" y="1377980"/>
                  <a:pt x="1161426" y="1376741"/>
                  <a:pt x="1161633" y="1375037"/>
                </a:cubicBezTo>
                <a:cubicBezTo>
                  <a:pt x="1161942" y="1373953"/>
                  <a:pt x="1162562" y="1372869"/>
                  <a:pt x="1163388" y="1371939"/>
                </a:cubicBezTo>
                <a:cubicBezTo>
                  <a:pt x="1164317" y="1371010"/>
                  <a:pt x="1165350" y="1370235"/>
                  <a:pt x="1166692" y="1369926"/>
                </a:cubicBezTo>
                <a:cubicBezTo>
                  <a:pt x="1167725" y="1368222"/>
                  <a:pt x="1169996" y="1366827"/>
                  <a:pt x="1171855" y="1366518"/>
                </a:cubicBezTo>
                <a:close/>
                <a:moveTo>
                  <a:pt x="4139703" y="1366493"/>
                </a:moveTo>
                <a:cubicBezTo>
                  <a:pt x="4143758" y="1369196"/>
                  <a:pt x="4146532" y="1379155"/>
                  <a:pt x="4145892" y="1382854"/>
                </a:cubicBezTo>
                <a:cubicBezTo>
                  <a:pt x="4142691" y="1384845"/>
                  <a:pt x="4139916" y="1384845"/>
                  <a:pt x="4137568" y="1383707"/>
                </a:cubicBezTo>
                <a:cubicBezTo>
                  <a:pt x="4130739" y="1380292"/>
                  <a:pt x="4129245" y="1366777"/>
                  <a:pt x="4139703" y="1366493"/>
                </a:cubicBezTo>
                <a:close/>
                <a:moveTo>
                  <a:pt x="4793194" y="1365924"/>
                </a:moveTo>
                <a:cubicBezTo>
                  <a:pt x="4794475" y="1365639"/>
                  <a:pt x="4795542" y="1365924"/>
                  <a:pt x="4796182" y="1367204"/>
                </a:cubicBezTo>
                <a:cubicBezTo>
                  <a:pt x="4797676" y="1372183"/>
                  <a:pt x="4787859" y="1376167"/>
                  <a:pt x="4785724" y="1374744"/>
                </a:cubicBezTo>
                <a:cubicBezTo>
                  <a:pt x="4785084" y="1372895"/>
                  <a:pt x="4789779" y="1366777"/>
                  <a:pt x="4793194" y="1365924"/>
                </a:cubicBezTo>
                <a:close/>
                <a:moveTo>
                  <a:pt x="1119298" y="1364659"/>
                </a:moveTo>
                <a:cubicBezTo>
                  <a:pt x="1119298" y="1364659"/>
                  <a:pt x="1119504" y="1365743"/>
                  <a:pt x="1119504" y="1365743"/>
                </a:cubicBezTo>
                <a:cubicBezTo>
                  <a:pt x="1118368" y="1366053"/>
                  <a:pt x="1118988" y="1366518"/>
                  <a:pt x="1117646" y="1365588"/>
                </a:cubicBezTo>
                <a:cubicBezTo>
                  <a:pt x="1118781" y="1365279"/>
                  <a:pt x="1118781" y="1365279"/>
                  <a:pt x="1119298" y="1364659"/>
                </a:cubicBezTo>
                <a:close/>
                <a:moveTo>
                  <a:pt x="921149" y="1364504"/>
                </a:moveTo>
                <a:cubicBezTo>
                  <a:pt x="922698" y="1363884"/>
                  <a:pt x="924763" y="1364039"/>
                  <a:pt x="927448" y="1365743"/>
                </a:cubicBezTo>
                <a:cubicBezTo>
                  <a:pt x="927861" y="1370235"/>
                  <a:pt x="924969" y="1370390"/>
                  <a:pt x="922285" y="1370545"/>
                </a:cubicBezTo>
                <a:cubicBezTo>
                  <a:pt x="922595" y="1368222"/>
                  <a:pt x="920426" y="1367602"/>
                  <a:pt x="920426" y="1366208"/>
                </a:cubicBezTo>
                <a:cubicBezTo>
                  <a:pt x="920323" y="1365588"/>
                  <a:pt x="920529" y="1365124"/>
                  <a:pt x="921149" y="1364504"/>
                </a:cubicBezTo>
                <a:close/>
                <a:moveTo>
                  <a:pt x="4890086" y="1364359"/>
                </a:moveTo>
                <a:cubicBezTo>
                  <a:pt x="4891367" y="1369338"/>
                  <a:pt x="4892648" y="1374318"/>
                  <a:pt x="4887953" y="1375313"/>
                </a:cubicBezTo>
                <a:cubicBezTo>
                  <a:pt x="4882830" y="1372041"/>
                  <a:pt x="4882830" y="1365070"/>
                  <a:pt x="4890086" y="1364359"/>
                </a:cubicBezTo>
                <a:close/>
                <a:moveTo>
                  <a:pt x="4469863" y="1364359"/>
                </a:moveTo>
                <a:cubicBezTo>
                  <a:pt x="4475412" y="1364928"/>
                  <a:pt x="4481174" y="1367631"/>
                  <a:pt x="4485443" y="1370476"/>
                </a:cubicBezTo>
                <a:cubicBezTo>
                  <a:pt x="4474772" y="1379439"/>
                  <a:pt x="4465168" y="1374744"/>
                  <a:pt x="4455564" y="1370191"/>
                </a:cubicBezTo>
                <a:cubicBezTo>
                  <a:pt x="4458765" y="1364928"/>
                  <a:pt x="4464101" y="1363647"/>
                  <a:pt x="4469863" y="1364359"/>
                </a:cubicBezTo>
                <a:close/>
                <a:moveTo>
                  <a:pt x="4180679" y="1363932"/>
                </a:moveTo>
                <a:cubicBezTo>
                  <a:pt x="4180893" y="1365497"/>
                  <a:pt x="4180893" y="1365497"/>
                  <a:pt x="4182387" y="1365070"/>
                </a:cubicBezTo>
                <a:cubicBezTo>
                  <a:pt x="4182387" y="1365070"/>
                  <a:pt x="4182600" y="1365070"/>
                  <a:pt x="4183240" y="1364074"/>
                </a:cubicBezTo>
                <a:cubicBezTo>
                  <a:pt x="4184094" y="1364643"/>
                  <a:pt x="4183454" y="1365639"/>
                  <a:pt x="4184307" y="1366208"/>
                </a:cubicBezTo>
                <a:cubicBezTo>
                  <a:pt x="4184307" y="1366208"/>
                  <a:pt x="4183667" y="1367204"/>
                  <a:pt x="4183667" y="1367204"/>
                </a:cubicBezTo>
                <a:cubicBezTo>
                  <a:pt x="4184094" y="1367489"/>
                  <a:pt x="4184094" y="1367489"/>
                  <a:pt x="4183667" y="1367631"/>
                </a:cubicBezTo>
                <a:lnTo>
                  <a:pt x="4183454" y="1367773"/>
                </a:lnTo>
                <a:lnTo>
                  <a:pt x="4183667" y="1378017"/>
                </a:lnTo>
                <a:cubicBezTo>
                  <a:pt x="4183667" y="1382284"/>
                  <a:pt x="4183454" y="1386410"/>
                  <a:pt x="4181960" y="1390251"/>
                </a:cubicBezTo>
                <a:cubicBezTo>
                  <a:pt x="4177478" y="1385272"/>
                  <a:pt x="4174277" y="1375171"/>
                  <a:pt x="4177691" y="1369338"/>
                </a:cubicBezTo>
                <a:lnTo>
                  <a:pt x="4178972" y="1368342"/>
                </a:lnTo>
                <a:lnTo>
                  <a:pt x="4179186" y="1366777"/>
                </a:lnTo>
                <a:cubicBezTo>
                  <a:pt x="4179399" y="1366208"/>
                  <a:pt x="4179826" y="1365497"/>
                  <a:pt x="4180679" y="1363932"/>
                </a:cubicBezTo>
                <a:close/>
                <a:moveTo>
                  <a:pt x="1682147" y="1362955"/>
                </a:moveTo>
                <a:cubicBezTo>
                  <a:pt x="1684316" y="1361561"/>
                  <a:pt x="1688963" y="1362025"/>
                  <a:pt x="1689892" y="1363110"/>
                </a:cubicBezTo>
                <a:cubicBezTo>
                  <a:pt x="1689892" y="1364969"/>
                  <a:pt x="1681941" y="1369151"/>
                  <a:pt x="1681011" y="1364969"/>
                </a:cubicBezTo>
                <a:cubicBezTo>
                  <a:pt x="1681011" y="1364039"/>
                  <a:pt x="1681425" y="1363420"/>
                  <a:pt x="1682147" y="1362955"/>
                </a:cubicBezTo>
                <a:close/>
                <a:moveTo>
                  <a:pt x="3994577" y="1362652"/>
                </a:moveTo>
                <a:cubicBezTo>
                  <a:pt x="4003755" y="1363078"/>
                  <a:pt x="4018694" y="1382996"/>
                  <a:pt x="4010797" y="1392101"/>
                </a:cubicBezTo>
                <a:cubicBezTo>
                  <a:pt x="4005888" y="1384703"/>
                  <a:pt x="4002047" y="1377447"/>
                  <a:pt x="3992443" y="1369765"/>
                </a:cubicBezTo>
                <a:lnTo>
                  <a:pt x="3992657" y="1368769"/>
                </a:lnTo>
                <a:lnTo>
                  <a:pt x="3992016" y="1367773"/>
                </a:lnTo>
                <a:cubicBezTo>
                  <a:pt x="3991803" y="1366493"/>
                  <a:pt x="3992230" y="1365212"/>
                  <a:pt x="3992657" y="1364928"/>
                </a:cubicBezTo>
                <a:lnTo>
                  <a:pt x="3993297" y="1365497"/>
                </a:lnTo>
                <a:close/>
                <a:moveTo>
                  <a:pt x="1320467" y="1360961"/>
                </a:moveTo>
                <a:cubicBezTo>
                  <a:pt x="1325165" y="1359005"/>
                  <a:pt x="1329682" y="1358463"/>
                  <a:pt x="1331799" y="1362645"/>
                </a:cubicBezTo>
                <a:cubicBezTo>
                  <a:pt x="1326533" y="1364814"/>
                  <a:pt x="1310631" y="1374107"/>
                  <a:pt x="1308050" y="1367757"/>
                </a:cubicBezTo>
                <a:cubicBezTo>
                  <a:pt x="1310890" y="1366285"/>
                  <a:pt x="1315768" y="1362916"/>
                  <a:pt x="1320467" y="1360961"/>
                </a:cubicBezTo>
                <a:close/>
                <a:moveTo>
                  <a:pt x="3540420" y="1360944"/>
                </a:moveTo>
                <a:cubicBezTo>
                  <a:pt x="3546396" y="1360944"/>
                  <a:pt x="3551732" y="1361798"/>
                  <a:pt x="3553652" y="1365781"/>
                </a:cubicBezTo>
                <a:cubicBezTo>
                  <a:pt x="3554719" y="1368484"/>
                  <a:pt x="3554506" y="1372610"/>
                  <a:pt x="3551732" y="1378728"/>
                </a:cubicBezTo>
                <a:cubicBezTo>
                  <a:pt x="3542981" y="1369338"/>
                  <a:pt x="3525481" y="1372041"/>
                  <a:pt x="3522279" y="1361087"/>
                </a:cubicBezTo>
                <a:cubicBezTo>
                  <a:pt x="3527188" y="1361798"/>
                  <a:pt x="3534231" y="1360944"/>
                  <a:pt x="3540420" y="1360944"/>
                </a:cubicBezTo>
                <a:close/>
                <a:moveTo>
                  <a:pt x="4335835" y="1360517"/>
                </a:moveTo>
                <a:cubicBezTo>
                  <a:pt x="4352482" y="1362082"/>
                  <a:pt x="4368702" y="1376878"/>
                  <a:pt x="4384709" y="1386837"/>
                </a:cubicBezTo>
                <a:cubicBezTo>
                  <a:pt x="4381934" y="1389825"/>
                  <a:pt x="4382788" y="1393524"/>
                  <a:pt x="4377666" y="1397223"/>
                </a:cubicBezTo>
                <a:lnTo>
                  <a:pt x="4373824" y="1394377"/>
                </a:lnTo>
                <a:lnTo>
                  <a:pt x="4373397" y="1395373"/>
                </a:lnTo>
                <a:cubicBezTo>
                  <a:pt x="4370409" y="1397507"/>
                  <a:pt x="4364220" y="1393950"/>
                  <a:pt x="4361873" y="1389967"/>
                </a:cubicBezTo>
                <a:lnTo>
                  <a:pt x="4362086" y="1385699"/>
                </a:lnTo>
                <a:lnTo>
                  <a:pt x="4351842" y="1378159"/>
                </a:lnTo>
                <a:cubicBezTo>
                  <a:pt x="4343519" y="1372468"/>
                  <a:pt x="4335408" y="1367062"/>
                  <a:pt x="4328792" y="1360660"/>
                </a:cubicBezTo>
                <a:cubicBezTo>
                  <a:pt x="4331140" y="1360375"/>
                  <a:pt x="4333488" y="1360233"/>
                  <a:pt x="4335835" y="1360517"/>
                </a:cubicBezTo>
                <a:close/>
                <a:moveTo>
                  <a:pt x="3596123" y="1360375"/>
                </a:moveTo>
                <a:cubicBezTo>
                  <a:pt x="3598257" y="1361940"/>
                  <a:pt x="3601671" y="1367346"/>
                  <a:pt x="3600391" y="1369623"/>
                </a:cubicBezTo>
                <a:cubicBezTo>
                  <a:pt x="3598044" y="1368058"/>
                  <a:pt x="3596976" y="1366777"/>
                  <a:pt x="3595909" y="1365354"/>
                </a:cubicBezTo>
                <a:cubicBezTo>
                  <a:pt x="3593775" y="1363789"/>
                  <a:pt x="3593775" y="1362652"/>
                  <a:pt x="3596123" y="1360375"/>
                </a:cubicBezTo>
                <a:close/>
                <a:moveTo>
                  <a:pt x="1029155" y="1360167"/>
                </a:moveTo>
                <a:cubicBezTo>
                  <a:pt x="1031530" y="1358618"/>
                  <a:pt x="1035866" y="1360941"/>
                  <a:pt x="1036589" y="1363420"/>
                </a:cubicBezTo>
                <a:cubicBezTo>
                  <a:pt x="1035040" y="1367137"/>
                  <a:pt x="1029362" y="1366362"/>
                  <a:pt x="1027503" y="1363265"/>
                </a:cubicBezTo>
                <a:cubicBezTo>
                  <a:pt x="1027710" y="1361716"/>
                  <a:pt x="1028329" y="1360786"/>
                  <a:pt x="1029155" y="1360167"/>
                </a:cubicBezTo>
                <a:close/>
                <a:moveTo>
                  <a:pt x="1726857" y="1359857"/>
                </a:moveTo>
                <a:cubicBezTo>
                  <a:pt x="1729955" y="1365279"/>
                  <a:pt x="1732123" y="1370700"/>
                  <a:pt x="1738732" y="1376895"/>
                </a:cubicBezTo>
                <a:cubicBezTo>
                  <a:pt x="1736873" y="1378135"/>
                  <a:pt x="1739351" y="1380303"/>
                  <a:pt x="1736564" y="1381543"/>
                </a:cubicBezTo>
                <a:cubicBezTo>
                  <a:pt x="1731298" y="1380613"/>
                  <a:pt x="1724689" y="1372094"/>
                  <a:pt x="1724586" y="1365433"/>
                </a:cubicBezTo>
                <a:cubicBezTo>
                  <a:pt x="1724482" y="1363265"/>
                  <a:pt x="1725205" y="1361251"/>
                  <a:pt x="1726857" y="1359857"/>
                </a:cubicBezTo>
                <a:close/>
                <a:moveTo>
                  <a:pt x="5799895" y="1359806"/>
                </a:moveTo>
                <a:cubicBezTo>
                  <a:pt x="5802029" y="1361655"/>
                  <a:pt x="5803310" y="1364928"/>
                  <a:pt x="5803737" y="1368627"/>
                </a:cubicBezTo>
                <a:cubicBezTo>
                  <a:pt x="5805231" y="1380008"/>
                  <a:pt x="5800109" y="1396796"/>
                  <a:pt x="5790291" y="1397792"/>
                </a:cubicBezTo>
                <a:cubicBezTo>
                  <a:pt x="5794986" y="1384276"/>
                  <a:pt x="5791998" y="1374318"/>
                  <a:pt x="5799895" y="1359806"/>
                </a:cubicBezTo>
                <a:close/>
                <a:moveTo>
                  <a:pt x="5560225" y="1358668"/>
                </a:moveTo>
                <a:cubicBezTo>
                  <a:pt x="5568335" y="1357957"/>
                  <a:pt x="5571536" y="1359664"/>
                  <a:pt x="5572390" y="1362225"/>
                </a:cubicBezTo>
                <a:cubicBezTo>
                  <a:pt x="5574524" y="1369623"/>
                  <a:pt x="5552969" y="1383707"/>
                  <a:pt x="5560225" y="1358668"/>
                </a:cubicBezTo>
                <a:close/>
                <a:moveTo>
                  <a:pt x="5150885" y="1358668"/>
                </a:moveTo>
                <a:cubicBezTo>
                  <a:pt x="5154727" y="1359237"/>
                  <a:pt x="5156648" y="1360517"/>
                  <a:pt x="5157502" y="1362082"/>
                </a:cubicBezTo>
                <a:cubicBezTo>
                  <a:pt x="5159636" y="1366777"/>
                  <a:pt x="5151312" y="1374460"/>
                  <a:pt x="5147684" y="1380008"/>
                </a:cubicBezTo>
                <a:cubicBezTo>
                  <a:pt x="5142776" y="1379012"/>
                  <a:pt x="5141282" y="1378159"/>
                  <a:pt x="5138081" y="1374318"/>
                </a:cubicBezTo>
                <a:cubicBezTo>
                  <a:pt x="5140214" y="1366493"/>
                  <a:pt x="5145550" y="1362509"/>
                  <a:pt x="5150885" y="1358668"/>
                </a:cubicBezTo>
                <a:close/>
                <a:moveTo>
                  <a:pt x="4012931" y="1358383"/>
                </a:moveTo>
                <a:cubicBezTo>
                  <a:pt x="4013999" y="1358952"/>
                  <a:pt x="4014852" y="1360375"/>
                  <a:pt x="4015492" y="1363220"/>
                </a:cubicBezTo>
                <a:cubicBezTo>
                  <a:pt x="4011438" y="1365639"/>
                  <a:pt x="4009303" y="1365924"/>
                  <a:pt x="4008450" y="1365070"/>
                </a:cubicBezTo>
                <a:cubicBezTo>
                  <a:pt x="4006316" y="1363363"/>
                  <a:pt x="4009943" y="1356676"/>
                  <a:pt x="4012931" y="1358383"/>
                </a:cubicBezTo>
                <a:close/>
                <a:moveTo>
                  <a:pt x="5892519" y="1357957"/>
                </a:moveTo>
                <a:cubicBezTo>
                  <a:pt x="5894013" y="1357672"/>
                  <a:pt x="5895294" y="1357814"/>
                  <a:pt x="5896788" y="1358383"/>
                </a:cubicBezTo>
                <a:cubicBezTo>
                  <a:pt x="5896788" y="1358383"/>
                  <a:pt x="5896788" y="1358525"/>
                  <a:pt x="5895507" y="1358383"/>
                </a:cubicBezTo>
                <a:cubicBezTo>
                  <a:pt x="5895507" y="1358383"/>
                  <a:pt x="5896788" y="1358383"/>
                  <a:pt x="5896574" y="1359664"/>
                </a:cubicBezTo>
                <a:cubicBezTo>
                  <a:pt x="5890599" y="1362936"/>
                  <a:pt x="5881421" y="1361655"/>
                  <a:pt x="5880141" y="1361655"/>
                </a:cubicBezTo>
                <a:cubicBezTo>
                  <a:pt x="5880354" y="1360517"/>
                  <a:pt x="5880354" y="1360517"/>
                  <a:pt x="5880354" y="1360517"/>
                </a:cubicBezTo>
                <a:cubicBezTo>
                  <a:pt x="5883769" y="1361371"/>
                  <a:pt x="5888037" y="1358383"/>
                  <a:pt x="5892519" y="1357957"/>
                </a:cubicBezTo>
                <a:close/>
                <a:moveTo>
                  <a:pt x="5873525" y="1357957"/>
                </a:moveTo>
                <a:cubicBezTo>
                  <a:pt x="5873525" y="1357957"/>
                  <a:pt x="5873525" y="1357957"/>
                  <a:pt x="5874592" y="1359095"/>
                </a:cubicBezTo>
                <a:cubicBezTo>
                  <a:pt x="5872245" y="1359095"/>
                  <a:pt x="5870750" y="1363932"/>
                  <a:pt x="5868616" y="1361513"/>
                </a:cubicBezTo>
                <a:cubicBezTo>
                  <a:pt x="5869897" y="1360233"/>
                  <a:pt x="5872245" y="1359095"/>
                  <a:pt x="5873525" y="1357957"/>
                </a:cubicBezTo>
                <a:close/>
                <a:moveTo>
                  <a:pt x="4110464" y="1357672"/>
                </a:moveTo>
                <a:cubicBezTo>
                  <a:pt x="4110891" y="1357387"/>
                  <a:pt x="4111958" y="1357530"/>
                  <a:pt x="4113025" y="1357672"/>
                </a:cubicBezTo>
                <a:cubicBezTo>
                  <a:pt x="4114093" y="1357814"/>
                  <a:pt x="4115160" y="1358099"/>
                  <a:pt x="4116013" y="1358383"/>
                </a:cubicBezTo>
                <a:cubicBezTo>
                  <a:pt x="4117081" y="1357672"/>
                  <a:pt x="4118574" y="1358099"/>
                  <a:pt x="4119214" y="1359095"/>
                </a:cubicBezTo>
                <a:cubicBezTo>
                  <a:pt x="4119214" y="1359095"/>
                  <a:pt x="4120922" y="1359522"/>
                  <a:pt x="4121776" y="1358952"/>
                </a:cubicBezTo>
                <a:cubicBezTo>
                  <a:pt x="4124977" y="1359664"/>
                  <a:pt x="4125617" y="1360660"/>
                  <a:pt x="4126257" y="1361655"/>
                </a:cubicBezTo>
                <a:cubicBezTo>
                  <a:pt x="4126257" y="1361655"/>
                  <a:pt x="4124764" y="1361229"/>
                  <a:pt x="4123696" y="1361940"/>
                </a:cubicBezTo>
                <a:cubicBezTo>
                  <a:pt x="4123696" y="1361940"/>
                  <a:pt x="4122202" y="1361513"/>
                  <a:pt x="4120495" y="1361087"/>
                </a:cubicBezTo>
                <a:cubicBezTo>
                  <a:pt x="4120495" y="1361087"/>
                  <a:pt x="4119641" y="1361798"/>
                  <a:pt x="4118788" y="1362367"/>
                </a:cubicBezTo>
                <a:cubicBezTo>
                  <a:pt x="4114519" y="1362225"/>
                  <a:pt x="4112172" y="1362367"/>
                  <a:pt x="4110464" y="1357672"/>
                </a:cubicBezTo>
                <a:close/>
                <a:moveTo>
                  <a:pt x="1268503" y="1357224"/>
                </a:moveTo>
                <a:cubicBezTo>
                  <a:pt x="1268400" y="1365898"/>
                  <a:pt x="1258590" y="1371319"/>
                  <a:pt x="1252705" y="1372403"/>
                </a:cubicBezTo>
                <a:cubicBezTo>
                  <a:pt x="1252808" y="1365898"/>
                  <a:pt x="1258074" y="1360322"/>
                  <a:pt x="1263340" y="1358153"/>
                </a:cubicBezTo>
                <a:cubicBezTo>
                  <a:pt x="1265095" y="1357533"/>
                  <a:pt x="1266954" y="1357069"/>
                  <a:pt x="1268503" y="1357224"/>
                </a:cubicBezTo>
                <a:close/>
                <a:moveTo>
                  <a:pt x="1248678" y="1356294"/>
                </a:moveTo>
                <a:cubicBezTo>
                  <a:pt x="1255183" y="1364039"/>
                  <a:pt x="1251775" y="1371010"/>
                  <a:pt x="1248574" y="1377825"/>
                </a:cubicBezTo>
                <a:cubicBezTo>
                  <a:pt x="1244651" y="1375657"/>
                  <a:pt x="1243722" y="1371629"/>
                  <a:pt x="1244238" y="1367602"/>
                </a:cubicBezTo>
                <a:cubicBezTo>
                  <a:pt x="1244651" y="1363575"/>
                  <a:pt x="1246612" y="1359237"/>
                  <a:pt x="1248678" y="1356294"/>
                </a:cubicBezTo>
                <a:close/>
                <a:moveTo>
                  <a:pt x="4659167" y="1356250"/>
                </a:moveTo>
                <a:cubicBezTo>
                  <a:pt x="4667490" y="1356818"/>
                  <a:pt x="4676027" y="1362225"/>
                  <a:pt x="4680082" y="1375455"/>
                </a:cubicBezTo>
                <a:cubicBezTo>
                  <a:pt x="4670264" y="1388118"/>
                  <a:pt x="4652977" y="1392101"/>
                  <a:pt x="4643373" y="1382142"/>
                </a:cubicBezTo>
                <a:cubicBezTo>
                  <a:pt x="4640812" y="1378585"/>
                  <a:pt x="4639532" y="1375171"/>
                  <a:pt x="4639318" y="1372041"/>
                </a:cubicBezTo>
                <a:lnTo>
                  <a:pt x="4641453" y="1365497"/>
                </a:lnTo>
                <a:lnTo>
                  <a:pt x="4641239" y="1364501"/>
                </a:lnTo>
                <a:lnTo>
                  <a:pt x="4641879" y="1364359"/>
                </a:lnTo>
                <a:lnTo>
                  <a:pt x="4642093" y="1363647"/>
                </a:lnTo>
                <a:cubicBezTo>
                  <a:pt x="4645721" y="1358810"/>
                  <a:pt x="4652337" y="1355823"/>
                  <a:pt x="4659167" y="1356250"/>
                </a:cubicBezTo>
                <a:close/>
                <a:moveTo>
                  <a:pt x="5367934" y="1355965"/>
                </a:moveTo>
                <a:cubicBezTo>
                  <a:pt x="5372202" y="1355538"/>
                  <a:pt x="5376043" y="1356392"/>
                  <a:pt x="5376684" y="1359664"/>
                </a:cubicBezTo>
                <a:cubicBezTo>
                  <a:pt x="5376897" y="1360517"/>
                  <a:pt x="5376684" y="1361655"/>
                  <a:pt x="5376257" y="1362936"/>
                </a:cubicBezTo>
                <a:cubicBezTo>
                  <a:pt x="5369000" y="1362652"/>
                  <a:pt x="5362171" y="1366208"/>
                  <a:pt x="5358970" y="1363647"/>
                </a:cubicBezTo>
                <a:cubicBezTo>
                  <a:pt x="5357903" y="1362794"/>
                  <a:pt x="5357476" y="1361371"/>
                  <a:pt x="5357263" y="1358810"/>
                </a:cubicBezTo>
                <a:cubicBezTo>
                  <a:pt x="5359183" y="1357814"/>
                  <a:pt x="5363665" y="1356250"/>
                  <a:pt x="5367934" y="1355965"/>
                </a:cubicBezTo>
                <a:close/>
                <a:moveTo>
                  <a:pt x="5250126" y="1355823"/>
                </a:moveTo>
                <a:cubicBezTo>
                  <a:pt x="5258876" y="1356818"/>
                  <a:pt x="5253541" y="1369196"/>
                  <a:pt x="5252900" y="1376594"/>
                </a:cubicBezTo>
                <a:cubicBezTo>
                  <a:pt x="5247991" y="1377590"/>
                  <a:pt x="5246284" y="1377305"/>
                  <a:pt x="5241589" y="1375029"/>
                </a:cubicBezTo>
                <a:cubicBezTo>
                  <a:pt x="5239668" y="1367062"/>
                  <a:pt x="5242656" y="1361655"/>
                  <a:pt x="5245431" y="1356107"/>
                </a:cubicBezTo>
                <a:cubicBezTo>
                  <a:pt x="5247351" y="1355823"/>
                  <a:pt x="5249059" y="1355680"/>
                  <a:pt x="5250126" y="1355823"/>
                </a:cubicBezTo>
                <a:close/>
                <a:moveTo>
                  <a:pt x="4890514" y="1355680"/>
                </a:moveTo>
                <a:cubicBezTo>
                  <a:pt x="4890727" y="1355680"/>
                  <a:pt x="4890941" y="1355965"/>
                  <a:pt x="4890941" y="1356534"/>
                </a:cubicBezTo>
                <a:cubicBezTo>
                  <a:pt x="4893074" y="1357672"/>
                  <a:pt x="4890514" y="1359948"/>
                  <a:pt x="4889233" y="1361087"/>
                </a:cubicBezTo>
                <a:cubicBezTo>
                  <a:pt x="4889660" y="1357672"/>
                  <a:pt x="4888593" y="1356392"/>
                  <a:pt x="4889660" y="1356534"/>
                </a:cubicBezTo>
                <a:cubicBezTo>
                  <a:pt x="4889873" y="1355965"/>
                  <a:pt x="4890086" y="1355680"/>
                  <a:pt x="4890514" y="1355680"/>
                </a:cubicBezTo>
                <a:close/>
                <a:moveTo>
                  <a:pt x="4717003" y="1355396"/>
                </a:moveTo>
                <a:cubicBezTo>
                  <a:pt x="4718497" y="1356676"/>
                  <a:pt x="4719138" y="1357957"/>
                  <a:pt x="4719351" y="1359237"/>
                </a:cubicBezTo>
                <a:cubicBezTo>
                  <a:pt x="4719778" y="1362936"/>
                  <a:pt x="4715723" y="1366493"/>
                  <a:pt x="4713162" y="1370903"/>
                </a:cubicBezTo>
                <a:cubicBezTo>
                  <a:pt x="4710814" y="1368200"/>
                  <a:pt x="4709960" y="1365781"/>
                  <a:pt x="4710600" y="1363220"/>
                </a:cubicBezTo>
                <a:cubicBezTo>
                  <a:pt x="4711454" y="1360660"/>
                  <a:pt x="4713588" y="1358099"/>
                  <a:pt x="4717003" y="1355396"/>
                </a:cubicBezTo>
                <a:close/>
                <a:moveTo>
                  <a:pt x="3561122" y="1355396"/>
                </a:moveTo>
                <a:cubicBezTo>
                  <a:pt x="3561122" y="1358810"/>
                  <a:pt x="3560908" y="1363363"/>
                  <a:pt x="3559841" y="1365497"/>
                </a:cubicBezTo>
                <a:cubicBezTo>
                  <a:pt x="3558774" y="1363078"/>
                  <a:pt x="3557707" y="1358383"/>
                  <a:pt x="3560055" y="1356250"/>
                </a:cubicBezTo>
                <a:cubicBezTo>
                  <a:pt x="3560055" y="1356250"/>
                  <a:pt x="3560055" y="1356392"/>
                  <a:pt x="3561122" y="1355396"/>
                </a:cubicBezTo>
                <a:close/>
                <a:moveTo>
                  <a:pt x="1128591" y="1355210"/>
                </a:moveTo>
                <a:cubicBezTo>
                  <a:pt x="1127661" y="1356604"/>
                  <a:pt x="1122189" y="1363575"/>
                  <a:pt x="1119401" y="1364659"/>
                </a:cubicBezTo>
                <a:cubicBezTo>
                  <a:pt x="1122292" y="1361716"/>
                  <a:pt x="1124667" y="1356449"/>
                  <a:pt x="1128591" y="1355210"/>
                </a:cubicBezTo>
                <a:close/>
                <a:moveTo>
                  <a:pt x="1260575" y="1354747"/>
                </a:moveTo>
                <a:lnTo>
                  <a:pt x="1262307" y="1354901"/>
                </a:lnTo>
                <a:cubicBezTo>
                  <a:pt x="1263237" y="1355829"/>
                  <a:pt x="1263237" y="1355829"/>
                  <a:pt x="1263237" y="1357533"/>
                </a:cubicBezTo>
                <a:close/>
                <a:moveTo>
                  <a:pt x="1057137" y="1354281"/>
                </a:moveTo>
                <a:cubicBezTo>
                  <a:pt x="1054556" y="1357069"/>
                  <a:pt x="1052181" y="1359857"/>
                  <a:pt x="1049084" y="1362181"/>
                </a:cubicBezTo>
                <a:cubicBezTo>
                  <a:pt x="1046089" y="1364504"/>
                  <a:pt x="1042372" y="1366362"/>
                  <a:pt x="1037416" y="1366982"/>
                </a:cubicBezTo>
                <a:cubicBezTo>
                  <a:pt x="1037312" y="1361871"/>
                  <a:pt x="1040513" y="1358773"/>
                  <a:pt x="1044643" y="1356914"/>
                </a:cubicBezTo>
                <a:cubicBezTo>
                  <a:pt x="1048774" y="1354901"/>
                  <a:pt x="1053730" y="1354281"/>
                  <a:pt x="1057137" y="1354281"/>
                </a:cubicBezTo>
                <a:close/>
                <a:moveTo>
                  <a:pt x="4745815" y="1354115"/>
                </a:moveTo>
                <a:cubicBezTo>
                  <a:pt x="4748163" y="1354258"/>
                  <a:pt x="4750723" y="1355253"/>
                  <a:pt x="4753284" y="1357530"/>
                </a:cubicBezTo>
                <a:cubicBezTo>
                  <a:pt x="4759474" y="1362509"/>
                  <a:pt x="4764382" y="1369765"/>
                  <a:pt x="4756699" y="1379012"/>
                </a:cubicBezTo>
                <a:cubicBezTo>
                  <a:pt x="4755632" y="1381289"/>
                  <a:pt x="4755632" y="1380150"/>
                  <a:pt x="4754351" y="1381289"/>
                </a:cubicBezTo>
                <a:cubicBezTo>
                  <a:pt x="4753284" y="1382427"/>
                  <a:pt x="4752218" y="1384703"/>
                  <a:pt x="4752218" y="1385841"/>
                </a:cubicBezTo>
                <a:cubicBezTo>
                  <a:pt x="4747522" y="1382142"/>
                  <a:pt x="4745388" y="1385557"/>
                  <a:pt x="4738132" y="1379297"/>
                </a:cubicBezTo>
                <a:cubicBezTo>
                  <a:pt x="4728528" y="1371756"/>
                  <a:pt x="4730449" y="1363505"/>
                  <a:pt x="4733650" y="1358952"/>
                </a:cubicBezTo>
                <a:cubicBezTo>
                  <a:pt x="4734717" y="1359806"/>
                  <a:pt x="4739199" y="1353546"/>
                  <a:pt x="4745815" y="1354115"/>
                </a:cubicBezTo>
                <a:close/>
                <a:moveTo>
                  <a:pt x="1779621" y="1353971"/>
                </a:moveTo>
                <a:lnTo>
                  <a:pt x="1773013" y="1354901"/>
                </a:lnTo>
                <a:lnTo>
                  <a:pt x="1771670" y="1354746"/>
                </a:lnTo>
                <a:lnTo>
                  <a:pt x="1774252" y="1356759"/>
                </a:lnTo>
                <a:lnTo>
                  <a:pt x="1773219" y="1357998"/>
                </a:lnTo>
                <a:lnTo>
                  <a:pt x="1773219" y="1358153"/>
                </a:lnTo>
                <a:lnTo>
                  <a:pt x="1772703" y="1358463"/>
                </a:lnTo>
                <a:lnTo>
                  <a:pt x="1772394" y="1358773"/>
                </a:lnTo>
                <a:cubicBezTo>
                  <a:pt x="1771774" y="1359547"/>
                  <a:pt x="1771258" y="1360477"/>
                  <a:pt x="1771051" y="1362490"/>
                </a:cubicBezTo>
                <a:cubicBezTo>
                  <a:pt x="1773736" y="1364814"/>
                  <a:pt x="1774252" y="1369306"/>
                  <a:pt x="1775284" y="1372714"/>
                </a:cubicBezTo>
                <a:cubicBezTo>
                  <a:pt x="1775904" y="1376741"/>
                  <a:pt x="1777556" y="1380148"/>
                  <a:pt x="1781893" y="1381388"/>
                </a:cubicBezTo>
                <a:cubicBezTo>
                  <a:pt x="1782409" y="1384176"/>
                  <a:pt x="1780757" y="1385880"/>
                  <a:pt x="1781893" y="1388668"/>
                </a:cubicBezTo>
                <a:cubicBezTo>
                  <a:pt x="1783441" y="1391611"/>
                  <a:pt x="1784474" y="1386499"/>
                  <a:pt x="1782926" y="1384176"/>
                </a:cubicBezTo>
                <a:lnTo>
                  <a:pt x="1785610" y="1389442"/>
                </a:lnTo>
                <a:lnTo>
                  <a:pt x="1787159" y="1388668"/>
                </a:lnTo>
                <a:cubicBezTo>
                  <a:pt x="1789843" y="1392385"/>
                  <a:pt x="1789224" y="1394864"/>
                  <a:pt x="1786952" y="1397032"/>
                </a:cubicBezTo>
                <a:lnTo>
                  <a:pt x="1786126" y="1396722"/>
                </a:lnTo>
                <a:lnTo>
                  <a:pt x="1786126" y="1397342"/>
                </a:lnTo>
                <a:cubicBezTo>
                  <a:pt x="1786126" y="1402454"/>
                  <a:pt x="1786126" y="1406946"/>
                  <a:pt x="1789431" y="1409269"/>
                </a:cubicBezTo>
                <a:cubicBezTo>
                  <a:pt x="1789947" y="1413296"/>
                  <a:pt x="1786746" y="1408649"/>
                  <a:pt x="1785094" y="1410973"/>
                </a:cubicBezTo>
                <a:lnTo>
                  <a:pt x="1789224" y="1416859"/>
                </a:lnTo>
                <a:lnTo>
                  <a:pt x="1789740" y="1415000"/>
                </a:lnTo>
                <a:lnTo>
                  <a:pt x="1791496" y="1414536"/>
                </a:lnTo>
                <a:lnTo>
                  <a:pt x="1790463" y="1408649"/>
                </a:lnTo>
                <a:cubicBezTo>
                  <a:pt x="1791806" y="1409579"/>
                  <a:pt x="1792631" y="1410973"/>
                  <a:pt x="1793251" y="1412677"/>
                </a:cubicBezTo>
                <a:lnTo>
                  <a:pt x="1793561" y="1413916"/>
                </a:lnTo>
                <a:lnTo>
                  <a:pt x="1795109" y="1413606"/>
                </a:lnTo>
                <a:lnTo>
                  <a:pt x="1797794" y="1415465"/>
                </a:lnTo>
                <a:lnTo>
                  <a:pt x="1799756" y="1415929"/>
                </a:lnTo>
                <a:lnTo>
                  <a:pt x="1799963" y="1415775"/>
                </a:lnTo>
                <a:lnTo>
                  <a:pt x="1800066" y="1416084"/>
                </a:lnTo>
                <a:lnTo>
                  <a:pt x="1804093" y="1417169"/>
                </a:lnTo>
                <a:lnTo>
                  <a:pt x="1801615" y="1420576"/>
                </a:lnTo>
                <a:lnTo>
                  <a:pt x="1803164" y="1423674"/>
                </a:lnTo>
                <a:lnTo>
                  <a:pt x="1797485" y="1425843"/>
                </a:lnTo>
                <a:lnTo>
                  <a:pt x="1799653" y="1429250"/>
                </a:lnTo>
                <a:lnTo>
                  <a:pt x="1796452" y="1426307"/>
                </a:lnTo>
                <a:lnTo>
                  <a:pt x="1796142" y="1426462"/>
                </a:lnTo>
                <a:lnTo>
                  <a:pt x="1797485" y="1431109"/>
                </a:lnTo>
                <a:cubicBezTo>
                  <a:pt x="1798930" y="1434207"/>
                  <a:pt x="1799756" y="1432813"/>
                  <a:pt x="1796968" y="1440093"/>
                </a:cubicBezTo>
                <a:cubicBezTo>
                  <a:pt x="1797794" y="1442571"/>
                  <a:pt x="1798724" y="1443501"/>
                  <a:pt x="1799653" y="1444121"/>
                </a:cubicBezTo>
                <a:lnTo>
                  <a:pt x="1802028" y="1446134"/>
                </a:lnTo>
                <a:lnTo>
                  <a:pt x="1802544" y="1445515"/>
                </a:lnTo>
                <a:lnTo>
                  <a:pt x="1802751" y="1444121"/>
                </a:lnTo>
                <a:cubicBezTo>
                  <a:pt x="1802131" y="1441797"/>
                  <a:pt x="1798930" y="1439319"/>
                  <a:pt x="1798517" y="1437305"/>
                </a:cubicBezTo>
                <a:cubicBezTo>
                  <a:pt x="1800686" y="1439009"/>
                  <a:pt x="1803473" y="1440093"/>
                  <a:pt x="1806158" y="1440713"/>
                </a:cubicBezTo>
                <a:lnTo>
                  <a:pt x="1805642" y="1444740"/>
                </a:lnTo>
                <a:lnTo>
                  <a:pt x="1807810" y="1444585"/>
                </a:lnTo>
                <a:cubicBezTo>
                  <a:pt x="1808223" y="1445670"/>
                  <a:pt x="1808636" y="1446908"/>
                  <a:pt x="1809049" y="1447993"/>
                </a:cubicBezTo>
                <a:lnTo>
                  <a:pt x="1805229" y="1450472"/>
                </a:lnTo>
                <a:lnTo>
                  <a:pt x="1805642" y="1453724"/>
                </a:lnTo>
                <a:cubicBezTo>
                  <a:pt x="1805642" y="1454344"/>
                  <a:pt x="1805642" y="1454344"/>
                  <a:pt x="1806158" y="1454963"/>
                </a:cubicBezTo>
                <a:cubicBezTo>
                  <a:pt x="1806158" y="1454963"/>
                  <a:pt x="1806158" y="1454963"/>
                  <a:pt x="1806158" y="1455428"/>
                </a:cubicBezTo>
                <a:cubicBezTo>
                  <a:pt x="1806158" y="1455428"/>
                  <a:pt x="1806158" y="1456048"/>
                  <a:pt x="1806158" y="1456048"/>
                </a:cubicBezTo>
                <a:cubicBezTo>
                  <a:pt x="1806158" y="1456667"/>
                  <a:pt x="1806158" y="1457132"/>
                  <a:pt x="1806674" y="1457132"/>
                </a:cubicBezTo>
                <a:cubicBezTo>
                  <a:pt x="1807191" y="1458371"/>
                  <a:pt x="1809462" y="1456667"/>
                  <a:pt x="1810495" y="1456048"/>
                </a:cubicBezTo>
                <a:cubicBezTo>
                  <a:pt x="1812147" y="1457287"/>
                  <a:pt x="1809875" y="1457751"/>
                  <a:pt x="1808327" y="1458991"/>
                </a:cubicBezTo>
                <a:cubicBezTo>
                  <a:pt x="1811011" y="1460075"/>
                  <a:pt x="1812663" y="1462244"/>
                  <a:pt x="1814212" y="1463948"/>
                </a:cubicBezTo>
                <a:cubicBezTo>
                  <a:pt x="1814729" y="1464567"/>
                  <a:pt x="1814832" y="1465186"/>
                  <a:pt x="1815348" y="1465806"/>
                </a:cubicBezTo>
                <a:cubicBezTo>
                  <a:pt x="1815348" y="1465806"/>
                  <a:pt x="1815348" y="1465651"/>
                  <a:pt x="1815864" y="1466890"/>
                </a:cubicBezTo>
                <a:cubicBezTo>
                  <a:pt x="1815864" y="1466890"/>
                  <a:pt x="1815864" y="1466890"/>
                  <a:pt x="1816380" y="1466890"/>
                </a:cubicBezTo>
                <a:cubicBezTo>
                  <a:pt x="1816380" y="1466890"/>
                  <a:pt x="1816380" y="1466890"/>
                  <a:pt x="1816380" y="1467510"/>
                </a:cubicBezTo>
                <a:cubicBezTo>
                  <a:pt x="1816380" y="1467510"/>
                  <a:pt x="1816484" y="1467510"/>
                  <a:pt x="1819168" y="1473241"/>
                </a:cubicBezTo>
                <a:lnTo>
                  <a:pt x="1822472" y="1479282"/>
                </a:lnTo>
                <a:lnTo>
                  <a:pt x="1822369" y="1478353"/>
                </a:lnTo>
                <a:cubicBezTo>
                  <a:pt x="1822576" y="1476029"/>
                  <a:pt x="1822989" y="1474171"/>
                  <a:pt x="1822989" y="1473706"/>
                </a:cubicBezTo>
                <a:cubicBezTo>
                  <a:pt x="1823815" y="1473706"/>
                  <a:pt x="1823815" y="1473706"/>
                  <a:pt x="1823815" y="1473706"/>
                </a:cubicBezTo>
                <a:cubicBezTo>
                  <a:pt x="1822886" y="1476339"/>
                  <a:pt x="1824744" y="1479282"/>
                  <a:pt x="1824847" y="1482535"/>
                </a:cubicBezTo>
                <a:lnTo>
                  <a:pt x="1824641" y="1483154"/>
                </a:lnTo>
                <a:lnTo>
                  <a:pt x="1830423" y="1493687"/>
                </a:lnTo>
                <a:cubicBezTo>
                  <a:pt x="1833108" y="1498334"/>
                  <a:pt x="1836412" y="1502826"/>
                  <a:pt x="1839613" y="1506854"/>
                </a:cubicBezTo>
                <a:lnTo>
                  <a:pt x="1841059" y="1508712"/>
                </a:lnTo>
                <a:lnTo>
                  <a:pt x="1842298" y="1507008"/>
                </a:lnTo>
                <a:cubicBezTo>
                  <a:pt x="1843640" y="1507008"/>
                  <a:pt x="1844879" y="1506389"/>
                  <a:pt x="1846531" y="1506234"/>
                </a:cubicBezTo>
                <a:lnTo>
                  <a:pt x="1849939" y="1507318"/>
                </a:lnTo>
                <a:lnTo>
                  <a:pt x="1849216" y="1504530"/>
                </a:lnTo>
                <a:cubicBezTo>
                  <a:pt x="1848700" y="1503291"/>
                  <a:pt x="1847873" y="1502207"/>
                  <a:pt x="1846738" y="1501742"/>
                </a:cubicBezTo>
                <a:cubicBezTo>
                  <a:pt x="1847770" y="1502207"/>
                  <a:pt x="1848803" y="1502207"/>
                  <a:pt x="1849939" y="1501122"/>
                </a:cubicBezTo>
                <a:cubicBezTo>
                  <a:pt x="1849423" y="1499418"/>
                  <a:pt x="1848287" y="1498179"/>
                  <a:pt x="1847254" y="1496475"/>
                </a:cubicBezTo>
                <a:cubicBezTo>
                  <a:pt x="1846634" y="1497715"/>
                  <a:pt x="1846118" y="1498799"/>
                  <a:pt x="1847254" y="1499883"/>
                </a:cubicBezTo>
                <a:cubicBezTo>
                  <a:pt x="1842298" y="1490899"/>
                  <a:pt x="1836928" y="1481141"/>
                  <a:pt x="1831559" y="1471383"/>
                </a:cubicBezTo>
                <a:cubicBezTo>
                  <a:pt x="1830939" y="1469678"/>
                  <a:pt x="1829907" y="1468594"/>
                  <a:pt x="1829391" y="1467510"/>
                </a:cubicBezTo>
                <a:cubicBezTo>
                  <a:pt x="1829391" y="1467510"/>
                  <a:pt x="1829391" y="1467510"/>
                  <a:pt x="1826706" y="1461779"/>
                </a:cubicBezTo>
                <a:cubicBezTo>
                  <a:pt x="1826706" y="1461779"/>
                  <a:pt x="1826706" y="1461779"/>
                  <a:pt x="1826706" y="1461159"/>
                </a:cubicBezTo>
                <a:cubicBezTo>
                  <a:pt x="1826706" y="1461159"/>
                  <a:pt x="1826603" y="1461159"/>
                  <a:pt x="1826087" y="1461159"/>
                </a:cubicBezTo>
                <a:cubicBezTo>
                  <a:pt x="1826087" y="1461159"/>
                  <a:pt x="1826087" y="1461159"/>
                  <a:pt x="1825570" y="1460075"/>
                </a:cubicBezTo>
                <a:cubicBezTo>
                  <a:pt x="1825054" y="1458371"/>
                  <a:pt x="1824538" y="1457287"/>
                  <a:pt x="1824022" y="1455428"/>
                </a:cubicBezTo>
                <a:cubicBezTo>
                  <a:pt x="1823402" y="1454344"/>
                  <a:pt x="1823402" y="1452640"/>
                  <a:pt x="1822886" y="1451556"/>
                </a:cubicBezTo>
                <a:cubicBezTo>
                  <a:pt x="1822886" y="1450316"/>
                  <a:pt x="1822886" y="1449697"/>
                  <a:pt x="1822369" y="1449232"/>
                </a:cubicBezTo>
                <a:cubicBezTo>
                  <a:pt x="1822369" y="1448612"/>
                  <a:pt x="1822369" y="1448148"/>
                  <a:pt x="1822369" y="1448148"/>
                </a:cubicBezTo>
                <a:cubicBezTo>
                  <a:pt x="1822369" y="1447528"/>
                  <a:pt x="1822369" y="1447528"/>
                  <a:pt x="1822369" y="1446289"/>
                </a:cubicBezTo>
                <a:cubicBezTo>
                  <a:pt x="1821853" y="1445515"/>
                  <a:pt x="1821440" y="1445205"/>
                  <a:pt x="1821130" y="1445360"/>
                </a:cubicBezTo>
                <a:lnTo>
                  <a:pt x="1820924" y="1445825"/>
                </a:lnTo>
                <a:lnTo>
                  <a:pt x="1821130" y="1446134"/>
                </a:lnTo>
                <a:cubicBezTo>
                  <a:pt x="1821337" y="1446908"/>
                  <a:pt x="1821234" y="1447528"/>
                  <a:pt x="1820717" y="1448148"/>
                </a:cubicBezTo>
                <a:lnTo>
                  <a:pt x="1820717" y="1448612"/>
                </a:lnTo>
                <a:cubicBezTo>
                  <a:pt x="1820717" y="1448612"/>
                  <a:pt x="1820717" y="1449232"/>
                  <a:pt x="1821234" y="1449232"/>
                </a:cubicBezTo>
                <a:cubicBezTo>
                  <a:pt x="1820201" y="1449232"/>
                  <a:pt x="1820201" y="1449232"/>
                  <a:pt x="1819685" y="1448612"/>
                </a:cubicBezTo>
                <a:lnTo>
                  <a:pt x="1819478" y="1448458"/>
                </a:lnTo>
                <a:cubicBezTo>
                  <a:pt x="1819065" y="1448303"/>
                  <a:pt x="1818652" y="1448148"/>
                  <a:pt x="1818239" y="1448148"/>
                </a:cubicBezTo>
                <a:cubicBezTo>
                  <a:pt x="1817000" y="1447373"/>
                  <a:pt x="1815761" y="1443966"/>
                  <a:pt x="1815554" y="1441952"/>
                </a:cubicBezTo>
                <a:cubicBezTo>
                  <a:pt x="1815451" y="1441333"/>
                  <a:pt x="1815451" y="1440868"/>
                  <a:pt x="1815761" y="1440558"/>
                </a:cubicBezTo>
                <a:lnTo>
                  <a:pt x="1817413" y="1441952"/>
                </a:lnTo>
                <a:lnTo>
                  <a:pt x="1818033" y="1440093"/>
                </a:lnTo>
                <a:cubicBezTo>
                  <a:pt x="1813179" y="1435447"/>
                  <a:pt x="1811011" y="1430954"/>
                  <a:pt x="1809359" y="1426462"/>
                </a:cubicBezTo>
                <a:cubicBezTo>
                  <a:pt x="1808327" y="1424139"/>
                  <a:pt x="1807810" y="1421196"/>
                  <a:pt x="1806674" y="1419027"/>
                </a:cubicBezTo>
                <a:cubicBezTo>
                  <a:pt x="1806158" y="1418408"/>
                  <a:pt x="1806158" y="1417788"/>
                  <a:pt x="1805642" y="1417169"/>
                </a:cubicBezTo>
                <a:cubicBezTo>
                  <a:pt x="1805642" y="1416704"/>
                  <a:pt x="1805022" y="1416084"/>
                  <a:pt x="1804506" y="1415620"/>
                </a:cubicBezTo>
                <a:cubicBezTo>
                  <a:pt x="1803990" y="1414381"/>
                  <a:pt x="1803473" y="1413296"/>
                  <a:pt x="1802337" y="1412212"/>
                </a:cubicBezTo>
                <a:cubicBezTo>
                  <a:pt x="1805642" y="1409888"/>
                  <a:pt x="1803990" y="1405861"/>
                  <a:pt x="1802337" y="1402454"/>
                </a:cubicBezTo>
                <a:cubicBezTo>
                  <a:pt x="1800789" y="1399046"/>
                  <a:pt x="1799137" y="1395638"/>
                  <a:pt x="1801821" y="1395018"/>
                </a:cubicBezTo>
                <a:cubicBezTo>
                  <a:pt x="1800789" y="1388823"/>
                  <a:pt x="1797485" y="1397807"/>
                  <a:pt x="1796968" y="1394399"/>
                </a:cubicBezTo>
                <a:cubicBezTo>
                  <a:pt x="1796142" y="1392695"/>
                  <a:pt x="1794490" y="1388668"/>
                  <a:pt x="1792838" y="1384331"/>
                </a:cubicBezTo>
                <a:lnTo>
                  <a:pt x="1791186" y="1380148"/>
                </a:lnTo>
                <a:lnTo>
                  <a:pt x="1785507" y="1376121"/>
                </a:lnTo>
                <a:lnTo>
                  <a:pt x="1786023" y="1374417"/>
                </a:lnTo>
                <a:lnTo>
                  <a:pt x="1785300" y="1374727"/>
                </a:lnTo>
                <a:lnTo>
                  <a:pt x="1785507" y="1375811"/>
                </a:lnTo>
                <a:cubicBezTo>
                  <a:pt x="1785507" y="1375811"/>
                  <a:pt x="1785404" y="1375811"/>
                  <a:pt x="1785094" y="1376895"/>
                </a:cubicBezTo>
                <a:cubicBezTo>
                  <a:pt x="1783958" y="1374572"/>
                  <a:pt x="1782512" y="1371629"/>
                  <a:pt x="1782512" y="1369770"/>
                </a:cubicBezTo>
                <a:cubicBezTo>
                  <a:pt x="1783235" y="1370390"/>
                  <a:pt x="1784165" y="1371474"/>
                  <a:pt x="1784784" y="1372559"/>
                </a:cubicBezTo>
                <a:lnTo>
                  <a:pt x="1784887" y="1372714"/>
                </a:lnTo>
                <a:lnTo>
                  <a:pt x="1785817" y="1372714"/>
                </a:lnTo>
                <a:cubicBezTo>
                  <a:pt x="1786230" y="1372559"/>
                  <a:pt x="1786539" y="1372094"/>
                  <a:pt x="1786643" y="1371010"/>
                </a:cubicBezTo>
                <a:cubicBezTo>
                  <a:pt x="1785610" y="1371010"/>
                  <a:pt x="1785094" y="1369926"/>
                  <a:pt x="1784577" y="1368841"/>
                </a:cubicBezTo>
                <a:cubicBezTo>
                  <a:pt x="1784062" y="1367602"/>
                  <a:pt x="1783958" y="1366518"/>
                  <a:pt x="1783958" y="1365433"/>
                </a:cubicBezTo>
                <a:cubicBezTo>
                  <a:pt x="1783958" y="1362490"/>
                  <a:pt x="1783441" y="1360322"/>
                  <a:pt x="1779621" y="1359702"/>
                </a:cubicBezTo>
                <a:cubicBezTo>
                  <a:pt x="1779621" y="1356759"/>
                  <a:pt x="1780757" y="1356294"/>
                  <a:pt x="1782409" y="1357379"/>
                </a:cubicBezTo>
                <a:close/>
                <a:moveTo>
                  <a:pt x="5024541" y="1353546"/>
                </a:moveTo>
                <a:cubicBezTo>
                  <a:pt x="5026462" y="1355111"/>
                  <a:pt x="5027316" y="1357814"/>
                  <a:pt x="5027529" y="1361229"/>
                </a:cubicBezTo>
                <a:lnTo>
                  <a:pt x="5027956" y="1370476"/>
                </a:lnTo>
                <a:lnTo>
                  <a:pt x="5031157" y="1372468"/>
                </a:lnTo>
                <a:cubicBezTo>
                  <a:pt x="5029663" y="1373606"/>
                  <a:pt x="5030730" y="1374886"/>
                  <a:pt x="5031584" y="1376167"/>
                </a:cubicBezTo>
                <a:cubicBezTo>
                  <a:pt x="5028809" y="1386553"/>
                  <a:pt x="5008534" y="1388971"/>
                  <a:pt x="5007894" y="1380008"/>
                </a:cubicBezTo>
                <a:cubicBezTo>
                  <a:pt x="5007894" y="1378728"/>
                  <a:pt x="5008108" y="1377020"/>
                  <a:pt x="5008962" y="1375313"/>
                </a:cubicBezTo>
                <a:cubicBezTo>
                  <a:pt x="5011096" y="1373606"/>
                  <a:pt x="5013017" y="1372326"/>
                  <a:pt x="5014937" y="1371188"/>
                </a:cubicBezTo>
                <a:lnTo>
                  <a:pt x="5020486" y="1368911"/>
                </a:lnTo>
                <a:lnTo>
                  <a:pt x="5020059" y="1360375"/>
                </a:lnTo>
                <a:cubicBezTo>
                  <a:pt x="5019846" y="1357245"/>
                  <a:pt x="5020700" y="1355111"/>
                  <a:pt x="5024541" y="1353546"/>
                </a:cubicBezTo>
                <a:close/>
                <a:moveTo>
                  <a:pt x="3585238" y="1353262"/>
                </a:moveTo>
                <a:cubicBezTo>
                  <a:pt x="3586305" y="1353262"/>
                  <a:pt x="3587586" y="1353973"/>
                  <a:pt x="3588440" y="1355396"/>
                </a:cubicBezTo>
                <a:lnTo>
                  <a:pt x="3586305" y="1358241"/>
                </a:lnTo>
                <a:lnTo>
                  <a:pt x="3587373" y="1358241"/>
                </a:lnTo>
                <a:cubicBezTo>
                  <a:pt x="3591001" y="1361940"/>
                  <a:pt x="3588866" y="1364359"/>
                  <a:pt x="3586732" y="1369053"/>
                </a:cubicBezTo>
                <a:cubicBezTo>
                  <a:pt x="3585452" y="1367773"/>
                  <a:pt x="3582037" y="1371330"/>
                  <a:pt x="3580970" y="1372468"/>
                </a:cubicBezTo>
                <a:cubicBezTo>
                  <a:pt x="3578622" y="1369907"/>
                  <a:pt x="3574141" y="1373322"/>
                  <a:pt x="3570512" y="1369481"/>
                </a:cubicBezTo>
                <a:cubicBezTo>
                  <a:pt x="3570299" y="1367062"/>
                  <a:pt x="3570299" y="1365924"/>
                  <a:pt x="3571366" y="1363647"/>
                </a:cubicBezTo>
                <a:cubicBezTo>
                  <a:pt x="3573714" y="1361513"/>
                  <a:pt x="3575634" y="1360233"/>
                  <a:pt x="3577341" y="1359522"/>
                </a:cubicBezTo>
                <a:lnTo>
                  <a:pt x="3582037" y="1358383"/>
                </a:lnTo>
                <a:lnTo>
                  <a:pt x="3581824" y="1356107"/>
                </a:lnTo>
                <a:cubicBezTo>
                  <a:pt x="3582464" y="1354400"/>
                  <a:pt x="3583745" y="1353262"/>
                  <a:pt x="3585238" y="1353262"/>
                </a:cubicBezTo>
                <a:close/>
                <a:moveTo>
                  <a:pt x="1258797" y="1352887"/>
                </a:moveTo>
                <a:lnTo>
                  <a:pt x="1260575" y="1354747"/>
                </a:lnTo>
                <a:lnTo>
                  <a:pt x="1260552" y="1354746"/>
                </a:lnTo>
                <a:cubicBezTo>
                  <a:pt x="1259623" y="1353816"/>
                  <a:pt x="1258797" y="1352887"/>
                  <a:pt x="1258797" y="1352887"/>
                </a:cubicBezTo>
                <a:close/>
                <a:moveTo>
                  <a:pt x="3532737" y="1352693"/>
                </a:moveTo>
                <a:cubicBezTo>
                  <a:pt x="3534445" y="1353119"/>
                  <a:pt x="3535938" y="1355396"/>
                  <a:pt x="3536578" y="1356392"/>
                </a:cubicBezTo>
                <a:cubicBezTo>
                  <a:pt x="3535725" y="1356960"/>
                  <a:pt x="3536365" y="1358099"/>
                  <a:pt x="3535298" y="1358668"/>
                </a:cubicBezTo>
                <a:cubicBezTo>
                  <a:pt x="3534231" y="1361087"/>
                  <a:pt x="3534231" y="1361087"/>
                  <a:pt x="3532523" y="1360660"/>
                </a:cubicBezTo>
                <a:cubicBezTo>
                  <a:pt x="3530816" y="1360233"/>
                  <a:pt x="3529749" y="1356392"/>
                  <a:pt x="3528042" y="1355965"/>
                </a:cubicBezTo>
                <a:cubicBezTo>
                  <a:pt x="3528042" y="1355965"/>
                  <a:pt x="3528042" y="1355823"/>
                  <a:pt x="3529322" y="1353546"/>
                </a:cubicBezTo>
                <a:cubicBezTo>
                  <a:pt x="3530176" y="1352977"/>
                  <a:pt x="3531243" y="1352266"/>
                  <a:pt x="3532737" y="1352693"/>
                </a:cubicBezTo>
                <a:close/>
                <a:moveTo>
                  <a:pt x="4872159" y="1351981"/>
                </a:moveTo>
                <a:cubicBezTo>
                  <a:pt x="4875361" y="1351128"/>
                  <a:pt x="4877495" y="1353973"/>
                  <a:pt x="4878135" y="1357245"/>
                </a:cubicBezTo>
                <a:cubicBezTo>
                  <a:pt x="4878775" y="1358241"/>
                  <a:pt x="4878562" y="1359664"/>
                  <a:pt x="4877922" y="1360944"/>
                </a:cubicBezTo>
                <a:cubicBezTo>
                  <a:pt x="4877282" y="1362225"/>
                  <a:pt x="4876215" y="1363363"/>
                  <a:pt x="4875147" y="1364074"/>
                </a:cubicBezTo>
                <a:cubicBezTo>
                  <a:pt x="4873440" y="1364501"/>
                  <a:pt x="4873440" y="1364501"/>
                  <a:pt x="4871946" y="1364928"/>
                </a:cubicBezTo>
                <a:cubicBezTo>
                  <a:pt x="4870025" y="1363789"/>
                  <a:pt x="4867464" y="1363505"/>
                  <a:pt x="4866184" y="1361229"/>
                </a:cubicBezTo>
                <a:cubicBezTo>
                  <a:pt x="4865757" y="1357957"/>
                  <a:pt x="4870025" y="1353546"/>
                  <a:pt x="4872159" y="1351981"/>
                </a:cubicBezTo>
                <a:close/>
                <a:moveTo>
                  <a:pt x="4420350" y="1351981"/>
                </a:moveTo>
                <a:cubicBezTo>
                  <a:pt x="4421417" y="1351839"/>
                  <a:pt x="4422697" y="1351981"/>
                  <a:pt x="4424191" y="1351981"/>
                </a:cubicBezTo>
                <a:cubicBezTo>
                  <a:pt x="4425045" y="1357103"/>
                  <a:pt x="4419283" y="1358668"/>
                  <a:pt x="4417148" y="1356250"/>
                </a:cubicBezTo>
                <a:cubicBezTo>
                  <a:pt x="4416508" y="1355396"/>
                  <a:pt x="4416508" y="1354115"/>
                  <a:pt x="4416935" y="1352550"/>
                </a:cubicBezTo>
                <a:cubicBezTo>
                  <a:pt x="4418216" y="1352123"/>
                  <a:pt x="4419283" y="1351981"/>
                  <a:pt x="4420350" y="1351981"/>
                </a:cubicBezTo>
                <a:close/>
                <a:moveTo>
                  <a:pt x="4281840" y="1351555"/>
                </a:moveTo>
                <a:cubicBezTo>
                  <a:pt x="4282480" y="1351270"/>
                  <a:pt x="4283121" y="1351270"/>
                  <a:pt x="4283974" y="1351555"/>
                </a:cubicBezTo>
                <a:cubicBezTo>
                  <a:pt x="4285041" y="1351128"/>
                  <a:pt x="4285468" y="1352123"/>
                  <a:pt x="4286749" y="1352835"/>
                </a:cubicBezTo>
                <a:cubicBezTo>
                  <a:pt x="4287176" y="1353973"/>
                  <a:pt x="4286322" y="1355538"/>
                  <a:pt x="4286322" y="1355538"/>
                </a:cubicBezTo>
                <a:cubicBezTo>
                  <a:pt x="4285682" y="1357103"/>
                  <a:pt x="4285468" y="1357103"/>
                  <a:pt x="4286962" y="1357672"/>
                </a:cubicBezTo>
                <a:cubicBezTo>
                  <a:pt x="4286962" y="1357672"/>
                  <a:pt x="4285895" y="1358241"/>
                  <a:pt x="4285895" y="1358241"/>
                </a:cubicBezTo>
                <a:cubicBezTo>
                  <a:pt x="4285682" y="1357103"/>
                  <a:pt x="4285895" y="1358241"/>
                  <a:pt x="4285041" y="1359806"/>
                </a:cubicBezTo>
                <a:cubicBezTo>
                  <a:pt x="4282480" y="1359522"/>
                  <a:pt x="4281627" y="1360091"/>
                  <a:pt x="4280133" y="1359379"/>
                </a:cubicBezTo>
                <a:cubicBezTo>
                  <a:pt x="4279279" y="1359095"/>
                  <a:pt x="4278425" y="1358383"/>
                  <a:pt x="4277999" y="1357672"/>
                </a:cubicBezTo>
                <a:cubicBezTo>
                  <a:pt x="4277358" y="1356960"/>
                  <a:pt x="4277145" y="1356250"/>
                  <a:pt x="4277572" y="1355396"/>
                </a:cubicBezTo>
                <a:cubicBezTo>
                  <a:pt x="4278639" y="1354969"/>
                  <a:pt x="4278425" y="1353831"/>
                  <a:pt x="4279493" y="1353404"/>
                </a:cubicBezTo>
                <a:cubicBezTo>
                  <a:pt x="4280346" y="1352408"/>
                  <a:pt x="4281200" y="1351839"/>
                  <a:pt x="4281840" y="1351555"/>
                </a:cubicBezTo>
                <a:close/>
                <a:moveTo>
                  <a:pt x="1706309" y="1350563"/>
                </a:moveTo>
                <a:cubicBezTo>
                  <a:pt x="1707239" y="1350408"/>
                  <a:pt x="1708374" y="1351028"/>
                  <a:pt x="1709200" y="1350718"/>
                </a:cubicBezTo>
                <a:cubicBezTo>
                  <a:pt x="1709510" y="1351647"/>
                  <a:pt x="1710130" y="1353351"/>
                  <a:pt x="1709613" y="1354281"/>
                </a:cubicBezTo>
                <a:cubicBezTo>
                  <a:pt x="1709923" y="1355210"/>
                  <a:pt x="1707032" y="1354901"/>
                  <a:pt x="1707032" y="1354901"/>
                </a:cubicBezTo>
                <a:cubicBezTo>
                  <a:pt x="1705897" y="1354436"/>
                  <a:pt x="1706619" y="1351492"/>
                  <a:pt x="1706309" y="1350563"/>
                </a:cubicBezTo>
                <a:close/>
                <a:moveTo>
                  <a:pt x="1369281" y="1350254"/>
                </a:moveTo>
                <a:cubicBezTo>
                  <a:pt x="1384460" y="1349479"/>
                  <a:pt x="1404491" y="1353506"/>
                  <a:pt x="1411409" y="1368531"/>
                </a:cubicBezTo>
                <a:cubicBezTo>
                  <a:pt x="1417089" y="1380768"/>
                  <a:pt x="1409344" y="1389597"/>
                  <a:pt x="1407589" y="1402608"/>
                </a:cubicBezTo>
                <a:cubicBezTo>
                  <a:pt x="1396541" y="1404622"/>
                  <a:pt x="1395302" y="1410973"/>
                  <a:pt x="1391171" y="1415620"/>
                </a:cubicBezTo>
                <a:cubicBezTo>
                  <a:pt x="1383737" y="1413606"/>
                  <a:pt x="1373618" y="1417014"/>
                  <a:pt x="1364634" y="1417169"/>
                </a:cubicBezTo>
                <a:lnTo>
                  <a:pt x="1361950" y="1414536"/>
                </a:lnTo>
                <a:lnTo>
                  <a:pt x="1359162" y="1416239"/>
                </a:lnTo>
                <a:cubicBezTo>
                  <a:pt x="1358645" y="1415620"/>
                  <a:pt x="1358542" y="1414381"/>
                  <a:pt x="1358645" y="1413141"/>
                </a:cubicBezTo>
                <a:lnTo>
                  <a:pt x="1358852" y="1411747"/>
                </a:lnTo>
                <a:lnTo>
                  <a:pt x="1353999" y="1407255"/>
                </a:lnTo>
                <a:lnTo>
                  <a:pt x="1348423" y="1401989"/>
                </a:lnTo>
                <a:lnTo>
                  <a:pt x="1345738" y="1401679"/>
                </a:lnTo>
                <a:lnTo>
                  <a:pt x="1345532" y="1399355"/>
                </a:lnTo>
                <a:lnTo>
                  <a:pt x="1343260" y="1397342"/>
                </a:lnTo>
                <a:cubicBezTo>
                  <a:pt x="1347494" y="1386499"/>
                  <a:pt x="1339750" y="1371164"/>
                  <a:pt x="1349972" y="1361716"/>
                </a:cubicBezTo>
                <a:cubicBezTo>
                  <a:pt x="1361021" y="1359702"/>
                  <a:pt x="1362982" y="1353816"/>
                  <a:pt x="1369281" y="1350254"/>
                </a:cubicBezTo>
                <a:close/>
                <a:moveTo>
                  <a:pt x="3599324" y="1349847"/>
                </a:moveTo>
                <a:cubicBezTo>
                  <a:pt x="3600391" y="1349421"/>
                  <a:pt x="3601671" y="1349563"/>
                  <a:pt x="3602739" y="1349989"/>
                </a:cubicBezTo>
                <a:cubicBezTo>
                  <a:pt x="3604873" y="1350986"/>
                  <a:pt x="3606794" y="1353546"/>
                  <a:pt x="3607434" y="1357387"/>
                </a:cubicBezTo>
                <a:cubicBezTo>
                  <a:pt x="3604873" y="1358383"/>
                  <a:pt x="3602525" y="1358241"/>
                  <a:pt x="3600818" y="1357387"/>
                </a:cubicBezTo>
                <a:lnTo>
                  <a:pt x="3599537" y="1356250"/>
                </a:lnTo>
                <a:lnTo>
                  <a:pt x="3598684" y="1355253"/>
                </a:lnTo>
                <a:lnTo>
                  <a:pt x="3596549" y="1352835"/>
                </a:lnTo>
                <a:cubicBezTo>
                  <a:pt x="3597190" y="1351270"/>
                  <a:pt x="3598257" y="1350416"/>
                  <a:pt x="3599324" y="1349847"/>
                </a:cubicBezTo>
                <a:close/>
                <a:moveTo>
                  <a:pt x="4253028" y="1349705"/>
                </a:moveTo>
                <a:lnTo>
                  <a:pt x="4257511" y="1350701"/>
                </a:lnTo>
                <a:cubicBezTo>
                  <a:pt x="4259218" y="1351128"/>
                  <a:pt x="4260925" y="1351839"/>
                  <a:pt x="4261992" y="1352693"/>
                </a:cubicBezTo>
                <a:cubicBezTo>
                  <a:pt x="4262632" y="1353262"/>
                  <a:pt x="4263059" y="1353831"/>
                  <a:pt x="4262846" y="1354684"/>
                </a:cubicBezTo>
                <a:cubicBezTo>
                  <a:pt x="4261352" y="1354258"/>
                  <a:pt x="4259218" y="1354258"/>
                  <a:pt x="4257297" y="1353688"/>
                </a:cubicBezTo>
                <a:close/>
                <a:moveTo>
                  <a:pt x="4955820" y="1349421"/>
                </a:moveTo>
                <a:cubicBezTo>
                  <a:pt x="4955820" y="1353973"/>
                  <a:pt x="4954967" y="1355965"/>
                  <a:pt x="4953686" y="1356676"/>
                </a:cubicBezTo>
                <a:cubicBezTo>
                  <a:pt x="4950271" y="1358525"/>
                  <a:pt x="4944722" y="1347286"/>
                  <a:pt x="4955820" y="1349421"/>
                </a:cubicBezTo>
                <a:close/>
                <a:moveTo>
                  <a:pt x="4917404" y="1348709"/>
                </a:moveTo>
                <a:cubicBezTo>
                  <a:pt x="4927649" y="1365070"/>
                  <a:pt x="4919111" y="1389256"/>
                  <a:pt x="4916124" y="1410596"/>
                </a:cubicBezTo>
                <a:cubicBezTo>
                  <a:pt x="4912283" y="1409316"/>
                  <a:pt x="4909081" y="1411450"/>
                  <a:pt x="4903745" y="1408178"/>
                </a:cubicBezTo>
                <a:lnTo>
                  <a:pt x="4907160" y="1392528"/>
                </a:lnTo>
                <a:lnTo>
                  <a:pt x="4906733" y="1390394"/>
                </a:lnTo>
                <a:cubicBezTo>
                  <a:pt x="4906733" y="1388971"/>
                  <a:pt x="4906947" y="1387833"/>
                  <a:pt x="4907374" y="1387264"/>
                </a:cubicBezTo>
                <a:lnTo>
                  <a:pt x="4908654" y="1386837"/>
                </a:lnTo>
                <a:lnTo>
                  <a:pt x="4910788" y="1377163"/>
                </a:lnTo>
                <a:cubicBezTo>
                  <a:pt x="4912496" y="1367062"/>
                  <a:pt x="4914203" y="1357530"/>
                  <a:pt x="4917404" y="1348709"/>
                </a:cubicBezTo>
                <a:close/>
                <a:moveTo>
                  <a:pt x="981244" y="1348550"/>
                </a:moveTo>
                <a:cubicBezTo>
                  <a:pt x="984755" y="1350098"/>
                  <a:pt x="983929" y="1349324"/>
                  <a:pt x="986407" y="1352422"/>
                </a:cubicBezTo>
                <a:cubicBezTo>
                  <a:pt x="984549" y="1354126"/>
                  <a:pt x="982690" y="1355985"/>
                  <a:pt x="980934" y="1357689"/>
                </a:cubicBezTo>
                <a:cubicBezTo>
                  <a:pt x="980108" y="1356139"/>
                  <a:pt x="978353" y="1355365"/>
                  <a:pt x="977527" y="1354591"/>
                </a:cubicBezTo>
                <a:cubicBezTo>
                  <a:pt x="977630" y="1352112"/>
                  <a:pt x="978559" y="1350408"/>
                  <a:pt x="981244" y="1348550"/>
                </a:cubicBezTo>
                <a:close/>
                <a:moveTo>
                  <a:pt x="1353379" y="1348394"/>
                </a:moveTo>
                <a:cubicBezTo>
                  <a:pt x="1354309" y="1350563"/>
                  <a:pt x="1355445" y="1351183"/>
                  <a:pt x="1354619" y="1351338"/>
                </a:cubicBezTo>
                <a:cubicBezTo>
                  <a:pt x="1354928" y="1352112"/>
                  <a:pt x="1354102" y="1352422"/>
                  <a:pt x="1353793" y="1351647"/>
                </a:cubicBezTo>
                <a:cubicBezTo>
                  <a:pt x="1352760" y="1351492"/>
                  <a:pt x="1352554" y="1350873"/>
                  <a:pt x="1352657" y="1350254"/>
                </a:cubicBezTo>
                <a:cubicBezTo>
                  <a:pt x="1352760" y="1349634"/>
                  <a:pt x="1353173" y="1348859"/>
                  <a:pt x="1353379" y="1348394"/>
                </a:cubicBezTo>
                <a:close/>
                <a:moveTo>
                  <a:pt x="1716532" y="1347620"/>
                </a:moveTo>
                <a:cubicBezTo>
                  <a:pt x="1722830" y="1343903"/>
                  <a:pt x="1728096" y="1350254"/>
                  <a:pt x="1725928" y="1353971"/>
                </a:cubicBezTo>
                <a:cubicBezTo>
                  <a:pt x="1725205" y="1355210"/>
                  <a:pt x="1723656" y="1356139"/>
                  <a:pt x="1720972" y="1356449"/>
                </a:cubicBezTo>
                <a:cubicBezTo>
                  <a:pt x="1717048" y="1354281"/>
                  <a:pt x="1718184" y="1350254"/>
                  <a:pt x="1716532" y="1347620"/>
                </a:cubicBezTo>
                <a:close/>
                <a:moveTo>
                  <a:pt x="3997352" y="1347571"/>
                </a:moveTo>
                <a:cubicBezTo>
                  <a:pt x="3997352" y="1347571"/>
                  <a:pt x="3997992" y="1348140"/>
                  <a:pt x="3998419" y="1348994"/>
                </a:cubicBezTo>
                <a:cubicBezTo>
                  <a:pt x="3998846" y="1349847"/>
                  <a:pt x="3999486" y="1350986"/>
                  <a:pt x="3999059" y="1351839"/>
                </a:cubicBezTo>
                <a:cubicBezTo>
                  <a:pt x="3998846" y="1354400"/>
                  <a:pt x="3994364" y="1352835"/>
                  <a:pt x="3993297" y="1353404"/>
                </a:cubicBezTo>
                <a:cubicBezTo>
                  <a:pt x="3991803" y="1352835"/>
                  <a:pt x="3990309" y="1352266"/>
                  <a:pt x="3990949" y="1350701"/>
                </a:cubicBezTo>
                <a:cubicBezTo>
                  <a:pt x="3991589" y="1349136"/>
                  <a:pt x="3991162" y="1347998"/>
                  <a:pt x="3993724" y="1347998"/>
                </a:cubicBezTo>
                <a:cubicBezTo>
                  <a:pt x="3994791" y="1347571"/>
                  <a:pt x="3996285" y="1347998"/>
                  <a:pt x="3997352" y="1347571"/>
                </a:cubicBezTo>
                <a:close/>
                <a:moveTo>
                  <a:pt x="5130824" y="1347286"/>
                </a:moveTo>
                <a:cubicBezTo>
                  <a:pt x="5131038" y="1348994"/>
                  <a:pt x="5132745" y="1348424"/>
                  <a:pt x="5134239" y="1347998"/>
                </a:cubicBezTo>
                <a:cubicBezTo>
                  <a:pt x="5134666" y="1350416"/>
                  <a:pt x="5135946" y="1354258"/>
                  <a:pt x="5133598" y="1356676"/>
                </a:cubicBezTo>
                <a:cubicBezTo>
                  <a:pt x="5132958" y="1357530"/>
                  <a:pt x="5131891" y="1358099"/>
                  <a:pt x="5130184" y="1358525"/>
                </a:cubicBezTo>
                <a:cubicBezTo>
                  <a:pt x="5129543" y="1359522"/>
                  <a:pt x="5125062" y="1358241"/>
                  <a:pt x="5124848" y="1356534"/>
                </a:cubicBezTo>
                <a:cubicBezTo>
                  <a:pt x="5123355" y="1352693"/>
                  <a:pt x="5127196" y="1350843"/>
                  <a:pt x="5130824" y="1347286"/>
                </a:cubicBezTo>
                <a:close/>
                <a:moveTo>
                  <a:pt x="3606794" y="1347286"/>
                </a:moveTo>
                <a:cubicBezTo>
                  <a:pt x="3609568" y="1348994"/>
                  <a:pt x="3611062" y="1348567"/>
                  <a:pt x="3610422" y="1349563"/>
                </a:cubicBezTo>
                <a:cubicBezTo>
                  <a:pt x="3611275" y="1350132"/>
                  <a:pt x="3610635" y="1351128"/>
                  <a:pt x="3609782" y="1350558"/>
                </a:cubicBezTo>
                <a:cubicBezTo>
                  <a:pt x="3607434" y="1352123"/>
                  <a:pt x="3607007" y="1348994"/>
                  <a:pt x="3606794" y="1347286"/>
                </a:cubicBezTo>
                <a:close/>
                <a:moveTo>
                  <a:pt x="5466320" y="1346860"/>
                </a:moveTo>
                <a:cubicBezTo>
                  <a:pt x="5469735" y="1347002"/>
                  <a:pt x="5472082" y="1348282"/>
                  <a:pt x="5474644" y="1351981"/>
                </a:cubicBezTo>
                <a:cubicBezTo>
                  <a:pt x="5472509" y="1356818"/>
                  <a:pt x="5473576" y="1355680"/>
                  <a:pt x="5469308" y="1359095"/>
                </a:cubicBezTo>
                <a:cubicBezTo>
                  <a:pt x="5466961" y="1356534"/>
                  <a:pt x="5464399" y="1353973"/>
                  <a:pt x="5462051" y="1351555"/>
                </a:cubicBezTo>
                <a:cubicBezTo>
                  <a:pt x="5464186" y="1350416"/>
                  <a:pt x="5465253" y="1347998"/>
                  <a:pt x="5466320" y="1346860"/>
                </a:cubicBezTo>
                <a:close/>
                <a:moveTo>
                  <a:pt x="1136955" y="1345452"/>
                </a:moveTo>
                <a:cubicBezTo>
                  <a:pt x="1136851" y="1347311"/>
                  <a:pt x="1135819" y="1350408"/>
                  <a:pt x="1133547" y="1350718"/>
                </a:cubicBezTo>
                <a:cubicBezTo>
                  <a:pt x="1133547" y="1350718"/>
                  <a:pt x="1133650" y="1350718"/>
                  <a:pt x="1132411" y="1351028"/>
                </a:cubicBezTo>
                <a:cubicBezTo>
                  <a:pt x="1133754" y="1349014"/>
                  <a:pt x="1135405" y="1346381"/>
                  <a:pt x="1136955" y="1345452"/>
                </a:cubicBezTo>
                <a:close/>
                <a:moveTo>
                  <a:pt x="5899135" y="1345152"/>
                </a:moveTo>
                <a:cubicBezTo>
                  <a:pt x="5899989" y="1347713"/>
                  <a:pt x="5899989" y="1347713"/>
                  <a:pt x="5898495" y="1350132"/>
                </a:cubicBezTo>
                <a:cubicBezTo>
                  <a:pt x="5897428" y="1350132"/>
                  <a:pt x="5897215" y="1351270"/>
                  <a:pt x="5896147" y="1350132"/>
                </a:cubicBezTo>
                <a:cubicBezTo>
                  <a:pt x="5893587" y="1353688"/>
                  <a:pt x="5882702" y="1357103"/>
                  <a:pt x="5878220" y="1355823"/>
                </a:cubicBezTo>
                <a:cubicBezTo>
                  <a:pt x="5887397" y="1345010"/>
                  <a:pt x="5893800" y="1351270"/>
                  <a:pt x="5899135" y="1345152"/>
                </a:cubicBezTo>
                <a:close/>
                <a:moveTo>
                  <a:pt x="5308389" y="1344868"/>
                </a:moveTo>
                <a:cubicBezTo>
                  <a:pt x="5310310" y="1346433"/>
                  <a:pt x="5313085" y="1346291"/>
                  <a:pt x="5314579" y="1346860"/>
                </a:cubicBezTo>
                <a:cubicBezTo>
                  <a:pt x="5315645" y="1350132"/>
                  <a:pt x="5315432" y="1352693"/>
                  <a:pt x="5312871" y="1356534"/>
                </a:cubicBezTo>
                <a:cubicBezTo>
                  <a:pt x="5307749" y="1356534"/>
                  <a:pt x="5309243" y="1357103"/>
                  <a:pt x="5304334" y="1354400"/>
                </a:cubicBezTo>
                <a:cubicBezTo>
                  <a:pt x="5305615" y="1351270"/>
                  <a:pt x="5307109" y="1347998"/>
                  <a:pt x="5308389" y="1344868"/>
                </a:cubicBezTo>
                <a:close/>
                <a:moveTo>
                  <a:pt x="1412442" y="1344522"/>
                </a:moveTo>
                <a:cubicBezTo>
                  <a:pt x="1417192" y="1342664"/>
                  <a:pt x="1423387" y="1347465"/>
                  <a:pt x="1421322" y="1352887"/>
                </a:cubicBezTo>
                <a:cubicBezTo>
                  <a:pt x="1419361" y="1352732"/>
                  <a:pt x="1417708" y="1353351"/>
                  <a:pt x="1415746" y="1353196"/>
                </a:cubicBezTo>
                <a:cubicBezTo>
                  <a:pt x="1414610" y="1350873"/>
                  <a:pt x="1411926" y="1349789"/>
                  <a:pt x="1411719" y="1347311"/>
                </a:cubicBezTo>
                <a:cubicBezTo>
                  <a:pt x="1411616" y="1346536"/>
                  <a:pt x="1411823" y="1345607"/>
                  <a:pt x="1412442" y="1344522"/>
                </a:cubicBezTo>
                <a:close/>
                <a:moveTo>
                  <a:pt x="4095739" y="1344441"/>
                </a:moveTo>
                <a:cubicBezTo>
                  <a:pt x="4096805" y="1345152"/>
                  <a:pt x="4097232" y="1344014"/>
                  <a:pt x="4098299" y="1344726"/>
                </a:cubicBezTo>
                <a:cubicBezTo>
                  <a:pt x="4101074" y="1344868"/>
                  <a:pt x="4101074" y="1344726"/>
                  <a:pt x="4101714" y="1346433"/>
                </a:cubicBezTo>
                <a:cubicBezTo>
                  <a:pt x="4102141" y="1348140"/>
                  <a:pt x="4099580" y="1350843"/>
                  <a:pt x="4100220" y="1352550"/>
                </a:cubicBezTo>
                <a:cubicBezTo>
                  <a:pt x="4100220" y="1352550"/>
                  <a:pt x="4100220" y="1352408"/>
                  <a:pt x="4097659" y="1352266"/>
                </a:cubicBezTo>
                <a:cubicBezTo>
                  <a:pt x="4096592" y="1351697"/>
                  <a:pt x="4095311" y="1351128"/>
                  <a:pt x="4094884" y="1349421"/>
                </a:cubicBezTo>
                <a:cubicBezTo>
                  <a:pt x="4094244" y="1347713"/>
                  <a:pt x="4095098" y="1345579"/>
                  <a:pt x="4095739" y="1344441"/>
                </a:cubicBezTo>
                <a:close/>
                <a:moveTo>
                  <a:pt x="5829987" y="1344014"/>
                </a:moveTo>
                <a:cubicBezTo>
                  <a:pt x="5831054" y="1344726"/>
                  <a:pt x="5831694" y="1345294"/>
                  <a:pt x="5831694" y="1345864"/>
                </a:cubicBezTo>
                <a:cubicBezTo>
                  <a:pt x="5831694" y="1346575"/>
                  <a:pt x="5831481" y="1347144"/>
                  <a:pt x="5830841" y="1347713"/>
                </a:cubicBezTo>
                <a:cubicBezTo>
                  <a:pt x="5830841" y="1347713"/>
                  <a:pt x="5829561" y="1348851"/>
                  <a:pt x="5828280" y="1350132"/>
                </a:cubicBezTo>
                <a:cubicBezTo>
                  <a:pt x="5826999" y="1351270"/>
                  <a:pt x="5826786" y="1352408"/>
                  <a:pt x="5826786" y="1352408"/>
                </a:cubicBezTo>
                <a:cubicBezTo>
                  <a:pt x="5825506" y="1353546"/>
                  <a:pt x="5824225" y="1353546"/>
                  <a:pt x="5823158" y="1352408"/>
                </a:cubicBezTo>
                <a:cubicBezTo>
                  <a:pt x="5823158" y="1352408"/>
                  <a:pt x="5824652" y="1349989"/>
                  <a:pt x="5824652" y="1349989"/>
                </a:cubicBezTo>
                <a:cubicBezTo>
                  <a:pt x="5827213" y="1347571"/>
                  <a:pt x="5828494" y="1346433"/>
                  <a:pt x="5829987" y="1344014"/>
                </a:cubicBezTo>
                <a:close/>
                <a:moveTo>
                  <a:pt x="4615202" y="1343730"/>
                </a:moveTo>
                <a:cubicBezTo>
                  <a:pt x="4622885" y="1347429"/>
                  <a:pt x="4625660" y="1362652"/>
                  <a:pt x="4622458" y="1368627"/>
                </a:cubicBezTo>
                <a:cubicBezTo>
                  <a:pt x="4617549" y="1370476"/>
                  <a:pt x="4613708" y="1369907"/>
                  <a:pt x="4610933" y="1368200"/>
                </a:cubicBezTo>
                <a:cubicBezTo>
                  <a:pt x="4608799" y="1366919"/>
                  <a:pt x="4607305" y="1364928"/>
                  <a:pt x="4606452" y="1362509"/>
                </a:cubicBezTo>
                <a:lnTo>
                  <a:pt x="4606238" y="1360091"/>
                </a:lnTo>
                <a:lnTo>
                  <a:pt x="4606238" y="1360233"/>
                </a:lnTo>
                <a:cubicBezTo>
                  <a:pt x="4601970" y="1361229"/>
                  <a:pt x="4596634" y="1358810"/>
                  <a:pt x="4594500" y="1352408"/>
                </a:cubicBezTo>
                <a:cubicBezTo>
                  <a:pt x="4596421" y="1347998"/>
                  <a:pt x="4599409" y="1346006"/>
                  <a:pt x="4601116" y="1344157"/>
                </a:cubicBezTo>
                <a:lnTo>
                  <a:pt x="4608586" y="1347856"/>
                </a:lnTo>
                <a:close/>
                <a:moveTo>
                  <a:pt x="4941734" y="1343587"/>
                </a:moveTo>
                <a:cubicBezTo>
                  <a:pt x="4942801" y="1343445"/>
                  <a:pt x="4944082" y="1343587"/>
                  <a:pt x="4945149" y="1344157"/>
                </a:cubicBezTo>
                <a:cubicBezTo>
                  <a:pt x="4946429" y="1345294"/>
                  <a:pt x="4946856" y="1347571"/>
                  <a:pt x="4946216" y="1351270"/>
                </a:cubicBezTo>
                <a:cubicBezTo>
                  <a:pt x="4944082" y="1352550"/>
                  <a:pt x="4940240" y="1349136"/>
                  <a:pt x="4937679" y="1348140"/>
                </a:cubicBezTo>
                <a:cubicBezTo>
                  <a:pt x="4938746" y="1346860"/>
                  <a:pt x="4939600" y="1345721"/>
                  <a:pt x="4938533" y="1345721"/>
                </a:cubicBezTo>
                <a:cubicBezTo>
                  <a:pt x="4939600" y="1344441"/>
                  <a:pt x="4940453" y="1343872"/>
                  <a:pt x="4941734" y="1343587"/>
                </a:cubicBezTo>
                <a:close/>
                <a:moveTo>
                  <a:pt x="4774413" y="1343445"/>
                </a:moveTo>
                <a:cubicBezTo>
                  <a:pt x="4776974" y="1343303"/>
                  <a:pt x="4779962" y="1344299"/>
                  <a:pt x="4782950" y="1346860"/>
                </a:cubicBezTo>
                <a:cubicBezTo>
                  <a:pt x="4784231" y="1352693"/>
                  <a:pt x="4777614" y="1355965"/>
                  <a:pt x="4774200" y="1358241"/>
                </a:cubicBezTo>
                <a:lnTo>
                  <a:pt x="4772706" y="1356534"/>
                </a:lnTo>
                <a:lnTo>
                  <a:pt x="4771852" y="1358952"/>
                </a:lnTo>
                <a:cubicBezTo>
                  <a:pt x="4771212" y="1359806"/>
                  <a:pt x="4770358" y="1360802"/>
                  <a:pt x="4769718" y="1361940"/>
                </a:cubicBezTo>
                <a:cubicBezTo>
                  <a:pt x="4767370" y="1360660"/>
                  <a:pt x="4763955" y="1361798"/>
                  <a:pt x="4761394" y="1359237"/>
                </a:cubicBezTo>
                <a:cubicBezTo>
                  <a:pt x="4761394" y="1359237"/>
                  <a:pt x="4760327" y="1357957"/>
                  <a:pt x="4760114" y="1355538"/>
                </a:cubicBezTo>
                <a:cubicBezTo>
                  <a:pt x="4757766" y="1351839"/>
                  <a:pt x="4760967" y="1348424"/>
                  <a:pt x="4760967" y="1348424"/>
                </a:cubicBezTo>
                <a:cubicBezTo>
                  <a:pt x="4760967" y="1348424"/>
                  <a:pt x="4760967" y="1348424"/>
                  <a:pt x="4759901" y="1348424"/>
                </a:cubicBezTo>
                <a:cubicBezTo>
                  <a:pt x="4762248" y="1348567"/>
                  <a:pt x="4764382" y="1347429"/>
                  <a:pt x="4766730" y="1347571"/>
                </a:cubicBezTo>
                <a:lnTo>
                  <a:pt x="4767370" y="1348282"/>
                </a:lnTo>
                <a:lnTo>
                  <a:pt x="4766943" y="1347286"/>
                </a:lnTo>
                <a:cubicBezTo>
                  <a:pt x="4769078" y="1345010"/>
                  <a:pt x="4771638" y="1343587"/>
                  <a:pt x="4774413" y="1343445"/>
                </a:cubicBezTo>
                <a:close/>
                <a:moveTo>
                  <a:pt x="962658" y="1342973"/>
                </a:moveTo>
                <a:cubicBezTo>
                  <a:pt x="963691" y="1342973"/>
                  <a:pt x="964723" y="1342973"/>
                  <a:pt x="965136" y="1343438"/>
                </a:cubicBezTo>
                <a:cubicBezTo>
                  <a:pt x="967718" y="1345452"/>
                  <a:pt x="965962" y="1347775"/>
                  <a:pt x="965033" y="1350873"/>
                </a:cubicBezTo>
                <a:cubicBezTo>
                  <a:pt x="964207" y="1349944"/>
                  <a:pt x="963277" y="1350718"/>
                  <a:pt x="962452" y="1351492"/>
                </a:cubicBezTo>
                <a:cubicBezTo>
                  <a:pt x="961109" y="1350098"/>
                  <a:pt x="958941" y="1348240"/>
                  <a:pt x="959354" y="1346071"/>
                </a:cubicBezTo>
                <a:cubicBezTo>
                  <a:pt x="959457" y="1345297"/>
                  <a:pt x="959973" y="1344677"/>
                  <a:pt x="960799" y="1343903"/>
                </a:cubicBezTo>
                <a:cubicBezTo>
                  <a:pt x="960799" y="1343438"/>
                  <a:pt x="961729" y="1343128"/>
                  <a:pt x="962658" y="1342973"/>
                </a:cubicBezTo>
                <a:close/>
                <a:moveTo>
                  <a:pt x="1765578" y="1341425"/>
                </a:moveTo>
                <a:lnTo>
                  <a:pt x="1765785" y="1342199"/>
                </a:lnTo>
                <a:lnTo>
                  <a:pt x="1766198" y="1341425"/>
                </a:lnTo>
                <a:close/>
                <a:moveTo>
                  <a:pt x="1704761" y="1341425"/>
                </a:moveTo>
                <a:cubicBezTo>
                  <a:pt x="1705690" y="1341579"/>
                  <a:pt x="1706412" y="1341889"/>
                  <a:pt x="1706826" y="1342354"/>
                </a:cubicBezTo>
                <a:cubicBezTo>
                  <a:pt x="1707342" y="1342973"/>
                  <a:pt x="1707445" y="1343903"/>
                  <a:pt x="1707032" y="1345297"/>
                </a:cubicBezTo>
                <a:cubicBezTo>
                  <a:pt x="1707032" y="1345297"/>
                  <a:pt x="1706309" y="1345452"/>
                  <a:pt x="1706309" y="1345452"/>
                </a:cubicBezTo>
                <a:cubicBezTo>
                  <a:pt x="1704761" y="1344987"/>
                  <a:pt x="1704141" y="1344522"/>
                  <a:pt x="1704038" y="1343748"/>
                </a:cubicBezTo>
                <a:cubicBezTo>
                  <a:pt x="1703934" y="1343128"/>
                  <a:pt x="1704244" y="1342354"/>
                  <a:pt x="1704761" y="1341425"/>
                </a:cubicBezTo>
                <a:close/>
                <a:moveTo>
                  <a:pt x="1690511" y="1341425"/>
                </a:moveTo>
                <a:cubicBezTo>
                  <a:pt x="1687517" y="1349944"/>
                  <a:pt x="1676055" y="1355520"/>
                  <a:pt x="1670066" y="1354126"/>
                </a:cubicBezTo>
                <a:cubicBezTo>
                  <a:pt x="1673061" y="1345607"/>
                  <a:pt x="1684419" y="1341734"/>
                  <a:pt x="1690511" y="1341425"/>
                </a:cubicBezTo>
                <a:close/>
                <a:moveTo>
                  <a:pt x="4668557" y="1341169"/>
                </a:moveTo>
                <a:cubicBezTo>
                  <a:pt x="4670478" y="1341169"/>
                  <a:pt x="4671758" y="1342022"/>
                  <a:pt x="4672185" y="1343161"/>
                </a:cubicBezTo>
                <a:cubicBezTo>
                  <a:pt x="4672825" y="1344299"/>
                  <a:pt x="4672825" y="1345721"/>
                  <a:pt x="4672612" y="1347429"/>
                </a:cubicBezTo>
                <a:cubicBezTo>
                  <a:pt x="4672185" y="1350701"/>
                  <a:pt x="4669624" y="1350843"/>
                  <a:pt x="4669624" y="1350843"/>
                </a:cubicBezTo>
                <a:cubicBezTo>
                  <a:pt x="4665569" y="1350558"/>
                  <a:pt x="4662368" y="1348140"/>
                  <a:pt x="4662154" y="1343730"/>
                </a:cubicBezTo>
                <a:cubicBezTo>
                  <a:pt x="4663435" y="1341453"/>
                  <a:pt x="4665996" y="1341311"/>
                  <a:pt x="4668557" y="1341169"/>
                </a:cubicBezTo>
                <a:close/>
                <a:moveTo>
                  <a:pt x="1142737" y="1341114"/>
                </a:moveTo>
                <a:cubicBezTo>
                  <a:pt x="1145422" y="1340805"/>
                  <a:pt x="1148519" y="1341579"/>
                  <a:pt x="1151410" y="1342818"/>
                </a:cubicBezTo>
                <a:lnTo>
                  <a:pt x="1152856" y="1343748"/>
                </a:lnTo>
                <a:lnTo>
                  <a:pt x="1153579" y="1344058"/>
                </a:lnTo>
                <a:lnTo>
                  <a:pt x="1154405" y="1344987"/>
                </a:lnTo>
                <a:lnTo>
                  <a:pt x="1158225" y="1347465"/>
                </a:lnTo>
                <a:cubicBezTo>
                  <a:pt x="1158535" y="1351492"/>
                  <a:pt x="1157399" y="1353971"/>
                  <a:pt x="1155437" y="1355365"/>
                </a:cubicBezTo>
                <a:cubicBezTo>
                  <a:pt x="1149655" y="1359237"/>
                  <a:pt x="1137161" y="1352732"/>
                  <a:pt x="1137987" y="1343438"/>
                </a:cubicBezTo>
                <a:cubicBezTo>
                  <a:pt x="1139329" y="1342199"/>
                  <a:pt x="1140878" y="1341425"/>
                  <a:pt x="1142737" y="1341114"/>
                </a:cubicBezTo>
                <a:close/>
                <a:moveTo>
                  <a:pt x="4187935" y="1340457"/>
                </a:moveTo>
                <a:cubicBezTo>
                  <a:pt x="4195192" y="1340457"/>
                  <a:pt x="4201168" y="1343018"/>
                  <a:pt x="4206290" y="1341453"/>
                </a:cubicBezTo>
                <a:cubicBezTo>
                  <a:pt x="4206290" y="1341453"/>
                  <a:pt x="4206290" y="1341453"/>
                  <a:pt x="4208637" y="1344014"/>
                </a:cubicBezTo>
                <a:cubicBezTo>
                  <a:pt x="4209918" y="1344014"/>
                  <a:pt x="4209918" y="1344014"/>
                  <a:pt x="4209918" y="1344014"/>
                </a:cubicBezTo>
                <a:cubicBezTo>
                  <a:pt x="4210985" y="1344157"/>
                  <a:pt x="4210985" y="1346575"/>
                  <a:pt x="4210985" y="1346575"/>
                </a:cubicBezTo>
                <a:cubicBezTo>
                  <a:pt x="4210131" y="1348851"/>
                  <a:pt x="4206503" y="1347571"/>
                  <a:pt x="4204156" y="1347429"/>
                </a:cubicBezTo>
                <a:cubicBezTo>
                  <a:pt x="4203302" y="1349847"/>
                  <a:pt x="4199673" y="1344726"/>
                  <a:pt x="4198606" y="1347144"/>
                </a:cubicBezTo>
                <a:cubicBezTo>
                  <a:pt x="4193698" y="1342165"/>
                  <a:pt x="4188362" y="1347856"/>
                  <a:pt x="4180039" y="1341453"/>
                </a:cubicBezTo>
                <a:cubicBezTo>
                  <a:pt x="4182814" y="1340742"/>
                  <a:pt x="4185374" y="1340315"/>
                  <a:pt x="4187935" y="1340457"/>
                </a:cubicBezTo>
                <a:close/>
                <a:moveTo>
                  <a:pt x="1527470" y="1340030"/>
                </a:moveTo>
                <a:cubicBezTo>
                  <a:pt x="1527470" y="1340030"/>
                  <a:pt x="1527882" y="1340650"/>
                  <a:pt x="1527882" y="1340650"/>
                </a:cubicBezTo>
                <a:cubicBezTo>
                  <a:pt x="1527882" y="1340650"/>
                  <a:pt x="1527882" y="1340650"/>
                  <a:pt x="1530258" y="1341114"/>
                </a:cubicBezTo>
                <a:cubicBezTo>
                  <a:pt x="1533458" y="1340960"/>
                  <a:pt x="1534181" y="1340340"/>
                  <a:pt x="1536143" y="1340030"/>
                </a:cubicBezTo>
                <a:cubicBezTo>
                  <a:pt x="1538518" y="1340495"/>
                  <a:pt x="1539034" y="1341114"/>
                  <a:pt x="1541822" y="1342199"/>
                </a:cubicBezTo>
                <a:cubicBezTo>
                  <a:pt x="1541925" y="1343903"/>
                  <a:pt x="1541925" y="1343903"/>
                  <a:pt x="1541202" y="1344522"/>
                </a:cubicBezTo>
                <a:cubicBezTo>
                  <a:pt x="1541925" y="1343903"/>
                  <a:pt x="1542338" y="1344677"/>
                  <a:pt x="1543577" y="1344832"/>
                </a:cubicBezTo>
                <a:cubicBezTo>
                  <a:pt x="1548637" y="1344368"/>
                  <a:pt x="1549360" y="1348704"/>
                  <a:pt x="1548637" y="1353971"/>
                </a:cubicBezTo>
                <a:cubicBezTo>
                  <a:pt x="1547398" y="1353816"/>
                  <a:pt x="1547192" y="1356914"/>
                  <a:pt x="1546159" y="1358463"/>
                </a:cubicBezTo>
                <a:cubicBezTo>
                  <a:pt x="1545023" y="1359237"/>
                  <a:pt x="1544094" y="1360012"/>
                  <a:pt x="1543164" y="1360322"/>
                </a:cubicBezTo>
                <a:lnTo>
                  <a:pt x="1542958" y="1360322"/>
                </a:lnTo>
                <a:lnTo>
                  <a:pt x="1541099" y="1365743"/>
                </a:lnTo>
                <a:lnTo>
                  <a:pt x="1540686" y="1366208"/>
                </a:lnTo>
                <a:lnTo>
                  <a:pt x="1540583" y="1366518"/>
                </a:lnTo>
                <a:cubicBezTo>
                  <a:pt x="1540480" y="1371319"/>
                  <a:pt x="1540273" y="1375657"/>
                  <a:pt x="1535524" y="1377515"/>
                </a:cubicBezTo>
                <a:lnTo>
                  <a:pt x="1534181" y="1370390"/>
                </a:lnTo>
                <a:lnTo>
                  <a:pt x="1533665" y="1370390"/>
                </a:lnTo>
                <a:lnTo>
                  <a:pt x="1534491" y="1373333"/>
                </a:lnTo>
                <a:cubicBezTo>
                  <a:pt x="1534491" y="1374727"/>
                  <a:pt x="1534181" y="1376121"/>
                  <a:pt x="1533355" y="1376741"/>
                </a:cubicBezTo>
                <a:cubicBezTo>
                  <a:pt x="1532323" y="1375192"/>
                  <a:pt x="1532013" y="1374107"/>
                  <a:pt x="1531806" y="1373023"/>
                </a:cubicBezTo>
                <a:cubicBezTo>
                  <a:pt x="1531290" y="1372249"/>
                  <a:pt x="1531083" y="1371629"/>
                  <a:pt x="1531393" y="1371164"/>
                </a:cubicBezTo>
                <a:lnTo>
                  <a:pt x="1532632" y="1370390"/>
                </a:lnTo>
                <a:lnTo>
                  <a:pt x="1532323" y="1370390"/>
                </a:lnTo>
                <a:cubicBezTo>
                  <a:pt x="1530877" y="1369926"/>
                  <a:pt x="1529225" y="1369151"/>
                  <a:pt x="1527366" y="1367912"/>
                </a:cubicBezTo>
                <a:cubicBezTo>
                  <a:pt x="1529535" y="1366672"/>
                  <a:pt x="1531290" y="1364814"/>
                  <a:pt x="1532942" y="1362800"/>
                </a:cubicBezTo>
                <a:lnTo>
                  <a:pt x="1533458" y="1362181"/>
                </a:lnTo>
                <a:lnTo>
                  <a:pt x="1533665" y="1358463"/>
                </a:lnTo>
                <a:lnTo>
                  <a:pt x="1534181" y="1357224"/>
                </a:lnTo>
                <a:lnTo>
                  <a:pt x="1532942" y="1355520"/>
                </a:lnTo>
                <a:cubicBezTo>
                  <a:pt x="1532529" y="1354746"/>
                  <a:pt x="1532529" y="1353816"/>
                  <a:pt x="1532735" y="1352887"/>
                </a:cubicBezTo>
                <a:cubicBezTo>
                  <a:pt x="1533252" y="1348704"/>
                  <a:pt x="1535007" y="1346536"/>
                  <a:pt x="1537279" y="1345142"/>
                </a:cubicBezTo>
                <a:cubicBezTo>
                  <a:pt x="1537279" y="1345142"/>
                  <a:pt x="1537279" y="1345142"/>
                  <a:pt x="1536556" y="1345607"/>
                </a:cubicBezTo>
                <a:cubicBezTo>
                  <a:pt x="1532942" y="1345142"/>
                  <a:pt x="1527263" y="1344213"/>
                  <a:pt x="1524475" y="1342818"/>
                </a:cubicBezTo>
                <a:lnTo>
                  <a:pt x="1524268" y="1342509"/>
                </a:lnTo>
                <a:lnTo>
                  <a:pt x="1524062" y="1342664"/>
                </a:lnTo>
                <a:lnTo>
                  <a:pt x="1523959" y="1342354"/>
                </a:lnTo>
                <a:lnTo>
                  <a:pt x="1522823" y="1341114"/>
                </a:lnTo>
                <a:cubicBezTo>
                  <a:pt x="1523546" y="1340650"/>
                  <a:pt x="1524268" y="1340185"/>
                  <a:pt x="1525507" y="1340340"/>
                </a:cubicBezTo>
                <a:cubicBezTo>
                  <a:pt x="1526747" y="1340495"/>
                  <a:pt x="1525921" y="1340960"/>
                  <a:pt x="1526643" y="1340495"/>
                </a:cubicBezTo>
                <a:cubicBezTo>
                  <a:pt x="1527882" y="1340650"/>
                  <a:pt x="1527470" y="1340030"/>
                  <a:pt x="1527470" y="1340030"/>
                </a:cubicBezTo>
                <a:close/>
                <a:moveTo>
                  <a:pt x="1581886" y="1338326"/>
                </a:moveTo>
                <a:cubicBezTo>
                  <a:pt x="1580646" y="1341734"/>
                  <a:pt x="1579510" y="1345452"/>
                  <a:pt x="1577755" y="1348704"/>
                </a:cubicBezTo>
                <a:cubicBezTo>
                  <a:pt x="1575897" y="1352112"/>
                  <a:pt x="1573315" y="1355210"/>
                  <a:pt x="1569082" y="1357533"/>
                </a:cubicBezTo>
                <a:cubicBezTo>
                  <a:pt x="1568566" y="1356294"/>
                  <a:pt x="1568359" y="1355210"/>
                  <a:pt x="1568256" y="1354126"/>
                </a:cubicBezTo>
                <a:cubicBezTo>
                  <a:pt x="1568152" y="1352887"/>
                  <a:pt x="1568256" y="1351958"/>
                  <a:pt x="1568566" y="1350873"/>
                </a:cubicBezTo>
                <a:cubicBezTo>
                  <a:pt x="1570114" y="1344677"/>
                  <a:pt x="1577342" y="1340030"/>
                  <a:pt x="1581886" y="1338326"/>
                </a:cubicBezTo>
                <a:close/>
                <a:moveTo>
                  <a:pt x="5573670" y="1337897"/>
                </a:moveTo>
                <a:cubicBezTo>
                  <a:pt x="5574951" y="1337897"/>
                  <a:pt x="5576445" y="1338323"/>
                  <a:pt x="5577511" y="1338892"/>
                </a:cubicBezTo>
                <a:cubicBezTo>
                  <a:pt x="5578579" y="1340030"/>
                  <a:pt x="5579006" y="1341311"/>
                  <a:pt x="5579006" y="1342307"/>
                </a:cubicBezTo>
                <a:cubicBezTo>
                  <a:pt x="5579006" y="1343445"/>
                  <a:pt x="5578792" y="1344299"/>
                  <a:pt x="5578152" y="1344868"/>
                </a:cubicBezTo>
                <a:cubicBezTo>
                  <a:pt x="5568975" y="1355396"/>
                  <a:pt x="5559371" y="1350558"/>
                  <a:pt x="5556810" y="1351697"/>
                </a:cubicBezTo>
                <a:cubicBezTo>
                  <a:pt x="5553822" y="1347998"/>
                  <a:pt x="5553822" y="1347998"/>
                  <a:pt x="5560225" y="1340884"/>
                </a:cubicBezTo>
                <a:cubicBezTo>
                  <a:pt x="5561505" y="1339746"/>
                  <a:pt x="5562999" y="1338892"/>
                  <a:pt x="5564707" y="1338466"/>
                </a:cubicBezTo>
                <a:cubicBezTo>
                  <a:pt x="5566200" y="1338039"/>
                  <a:pt x="5567908" y="1338039"/>
                  <a:pt x="5569615" y="1338750"/>
                </a:cubicBezTo>
                <a:cubicBezTo>
                  <a:pt x="5570896" y="1338181"/>
                  <a:pt x="5572176" y="1337897"/>
                  <a:pt x="5573670" y="1337897"/>
                </a:cubicBezTo>
                <a:close/>
                <a:moveTo>
                  <a:pt x="1069322" y="1337861"/>
                </a:moveTo>
                <a:cubicBezTo>
                  <a:pt x="1071800" y="1338171"/>
                  <a:pt x="1076343" y="1341269"/>
                  <a:pt x="1076240" y="1345607"/>
                </a:cubicBezTo>
                <a:cubicBezTo>
                  <a:pt x="1071903" y="1349324"/>
                  <a:pt x="1068702" y="1348085"/>
                  <a:pt x="1066224" y="1343438"/>
                </a:cubicBezTo>
                <a:cubicBezTo>
                  <a:pt x="1067463" y="1341889"/>
                  <a:pt x="1067876" y="1340185"/>
                  <a:pt x="1069322" y="1337861"/>
                </a:cubicBezTo>
                <a:close/>
                <a:moveTo>
                  <a:pt x="1657779" y="1337552"/>
                </a:moveTo>
                <a:cubicBezTo>
                  <a:pt x="1658295" y="1337861"/>
                  <a:pt x="1658502" y="1338171"/>
                  <a:pt x="1658502" y="1338791"/>
                </a:cubicBezTo>
                <a:cubicBezTo>
                  <a:pt x="1658399" y="1339256"/>
                  <a:pt x="1658192" y="1339721"/>
                  <a:pt x="1657882" y="1340185"/>
                </a:cubicBezTo>
                <a:cubicBezTo>
                  <a:pt x="1657366" y="1341269"/>
                  <a:pt x="1656849" y="1342354"/>
                  <a:pt x="1656333" y="1343438"/>
                </a:cubicBezTo>
                <a:cubicBezTo>
                  <a:pt x="1656333" y="1343438"/>
                  <a:pt x="1656230" y="1343283"/>
                  <a:pt x="1657779" y="1337552"/>
                </a:cubicBezTo>
                <a:close/>
                <a:moveTo>
                  <a:pt x="1527160" y="1337242"/>
                </a:moveTo>
                <a:cubicBezTo>
                  <a:pt x="1527160" y="1337242"/>
                  <a:pt x="1527882" y="1337552"/>
                  <a:pt x="1527882" y="1337552"/>
                </a:cubicBezTo>
                <a:cubicBezTo>
                  <a:pt x="1527470" y="1338326"/>
                  <a:pt x="1526953" y="1339256"/>
                  <a:pt x="1526334" y="1338946"/>
                </a:cubicBezTo>
                <a:cubicBezTo>
                  <a:pt x="1525921" y="1338791"/>
                  <a:pt x="1525817" y="1338481"/>
                  <a:pt x="1526024" y="1338171"/>
                </a:cubicBezTo>
                <a:cubicBezTo>
                  <a:pt x="1526230" y="1337861"/>
                  <a:pt x="1526643" y="1337552"/>
                  <a:pt x="1527160" y="1337242"/>
                </a:cubicBezTo>
                <a:close/>
                <a:moveTo>
                  <a:pt x="4634410" y="1336901"/>
                </a:moveTo>
                <a:cubicBezTo>
                  <a:pt x="4637184" y="1337328"/>
                  <a:pt x="4640599" y="1339177"/>
                  <a:pt x="4644014" y="1342734"/>
                </a:cubicBezTo>
                <a:cubicBezTo>
                  <a:pt x="4645508" y="1348709"/>
                  <a:pt x="4638891" y="1356676"/>
                  <a:pt x="4634196" y="1355396"/>
                </a:cubicBezTo>
                <a:cubicBezTo>
                  <a:pt x="4620751" y="1345864"/>
                  <a:pt x="4625446" y="1335336"/>
                  <a:pt x="4634410" y="1336901"/>
                </a:cubicBezTo>
                <a:close/>
                <a:moveTo>
                  <a:pt x="1287193" y="1336003"/>
                </a:moveTo>
                <a:cubicBezTo>
                  <a:pt x="1287812" y="1336003"/>
                  <a:pt x="1288122" y="1336158"/>
                  <a:pt x="1288432" y="1336623"/>
                </a:cubicBezTo>
                <a:cubicBezTo>
                  <a:pt x="1288638" y="1337087"/>
                  <a:pt x="1288844" y="1337707"/>
                  <a:pt x="1289051" y="1338326"/>
                </a:cubicBezTo>
                <a:lnTo>
                  <a:pt x="1289258" y="1339101"/>
                </a:lnTo>
                <a:lnTo>
                  <a:pt x="1291013" y="1338326"/>
                </a:lnTo>
                <a:cubicBezTo>
                  <a:pt x="1294730" y="1340030"/>
                  <a:pt x="1296692" y="1342199"/>
                  <a:pt x="1297415" y="1344368"/>
                </a:cubicBezTo>
                <a:cubicBezTo>
                  <a:pt x="1299583" y="1351028"/>
                  <a:pt x="1290290" y="1357998"/>
                  <a:pt x="1282236" y="1353042"/>
                </a:cubicBezTo>
                <a:cubicBezTo>
                  <a:pt x="1281823" y="1351958"/>
                  <a:pt x="1281616" y="1350873"/>
                  <a:pt x="1281720" y="1349634"/>
                </a:cubicBezTo>
                <a:cubicBezTo>
                  <a:pt x="1281926" y="1346226"/>
                  <a:pt x="1284404" y="1342354"/>
                  <a:pt x="1287193" y="1340185"/>
                </a:cubicBezTo>
                <a:lnTo>
                  <a:pt x="1288741" y="1339411"/>
                </a:lnTo>
                <a:close/>
                <a:moveTo>
                  <a:pt x="1387144" y="1334609"/>
                </a:moveTo>
                <a:cubicBezTo>
                  <a:pt x="1387557" y="1335383"/>
                  <a:pt x="1388383" y="1334919"/>
                  <a:pt x="1388797" y="1335538"/>
                </a:cubicBezTo>
                <a:cubicBezTo>
                  <a:pt x="1390448" y="1336468"/>
                  <a:pt x="1390552" y="1336468"/>
                  <a:pt x="1390242" y="1337552"/>
                </a:cubicBezTo>
                <a:cubicBezTo>
                  <a:pt x="1389932" y="1338791"/>
                  <a:pt x="1387144" y="1339721"/>
                  <a:pt x="1386834" y="1340960"/>
                </a:cubicBezTo>
                <a:cubicBezTo>
                  <a:pt x="1386834" y="1340960"/>
                  <a:pt x="1386731" y="1340960"/>
                  <a:pt x="1385079" y="1340030"/>
                </a:cubicBezTo>
                <a:cubicBezTo>
                  <a:pt x="1384563" y="1339256"/>
                  <a:pt x="1384150" y="1338636"/>
                  <a:pt x="1384460" y="1337397"/>
                </a:cubicBezTo>
                <a:cubicBezTo>
                  <a:pt x="1384769" y="1336158"/>
                  <a:pt x="1386318" y="1335228"/>
                  <a:pt x="1387144" y="1334609"/>
                </a:cubicBezTo>
                <a:close/>
                <a:moveTo>
                  <a:pt x="5824011" y="1334340"/>
                </a:moveTo>
                <a:cubicBezTo>
                  <a:pt x="5825079" y="1335620"/>
                  <a:pt x="5825079" y="1334482"/>
                  <a:pt x="5826359" y="1334482"/>
                </a:cubicBezTo>
                <a:cubicBezTo>
                  <a:pt x="5825079" y="1335620"/>
                  <a:pt x="5824652" y="1339320"/>
                  <a:pt x="5823158" y="1341880"/>
                </a:cubicBezTo>
                <a:cubicBezTo>
                  <a:pt x="5822091" y="1341738"/>
                  <a:pt x="5820810" y="1343018"/>
                  <a:pt x="5819743" y="1343018"/>
                </a:cubicBezTo>
                <a:cubicBezTo>
                  <a:pt x="5819956" y="1341880"/>
                  <a:pt x="5819103" y="1339320"/>
                  <a:pt x="5820170" y="1339320"/>
                </a:cubicBezTo>
                <a:cubicBezTo>
                  <a:pt x="5820383" y="1338039"/>
                  <a:pt x="5822518" y="1338039"/>
                  <a:pt x="5822518" y="1338039"/>
                </a:cubicBezTo>
                <a:cubicBezTo>
                  <a:pt x="5822731" y="1336901"/>
                  <a:pt x="5822731" y="1335620"/>
                  <a:pt x="5824011" y="1334340"/>
                </a:cubicBezTo>
                <a:close/>
                <a:moveTo>
                  <a:pt x="1529431" y="1333680"/>
                </a:moveTo>
                <a:cubicBezTo>
                  <a:pt x="1530567" y="1333215"/>
                  <a:pt x="1530567" y="1333215"/>
                  <a:pt x="1532013" y="1333835"/>
                </a:cubicBezTo>
                <a:cubicBezTo>
                  <a:pt x="1529948" y="1335848"/>
                  <a:pt x="1529948" y="1335848"/>
                  <a:pt x="1527573" y="1336778"/>
                </a:cubicBezTo>
                <a:cubicBezTo>
                  <a:pt x="1527986" y="1336003"/>
                  <a:pt x="1528192" y="1333990"/>
                  <a:pt x="1529431" y="1333680"/>
                </a:cubicBezTo>
                <a:close/>
                <a:moveTo>
                  <a:pt x="5375830" y="1333202"/>
                </a:moveTo>
                <a:cubicBezTo>
                  <a:pt x="5376897" y="1336474"/>
                  <a:pt x="5376257" y="1344441"/>
                  <a:pt x="5371348" y="1348282"/>
                </a:cubicBezTo>
                <a:cubicBezTo>
                  <a:pt x="5364305" y="1346575"/>
                  <a:pt x="5363665" y="1341738"/>
                  <a:pt x="5367293" y="1334767"/>
                </a:cubicBezTo>
                <a:cubicBezTo>
                  <a:pt x="5369854" y="1334767"/>
                  <a:pt x="5371988" y="1333771"/>
                  <a:pt x="5375830" y="1333202"/>
                </a:cubicBezTo>
                <a:close/>
                <a:moveTo>
                  <a:pt x="5011522" y="1332348"/>
                </a:moveTo>
                <a:cubicBezTo>
                  <a:pt x="5013870" y="1332491"/>
                  <a:pt x="5015791" y="1332775"/>
                  <a:pt x="5016218" y="1332775"/>
                </a:cubicBezTo>
                <a:cubicBezTo>
                  <a:pt x="5016218" y="1332775"/>
                  <a:pt x="5017498" y="1332775"/>
                  <a:pt x="5018565" y="1332633"/>
                </a:cubicBezTo>
                <a:cubicBezTo>
                  <a:pt x="5019846" y="1333771"/>
                  <a:pt x="5020059" y="1334909"/>
                  <a:pt x="5021126" y="1334909"/>
                </a:cubicBezTo>
                <a:cubicBezTo>
                  <a:pt x="5018138" y="1338608"/>
                  <a:pt x="5014724" y="1337612"/>
                  <a:pt x="5011096" y="1336616"/>
                </a:cubicBezTo>
                <a:cubicBezTo>
                  <a:pt x="5008534" y="1335620"/>
                  <a:pt x="5007467" y="1335763"/>
                  <a:pt x="5005334" y="1337043"/>
                </a:cubicBezTo>
                <a:cubicBezTo>
                  <a:pt x="5005334" y="1337043"/>
                  <a:pt x="5005334" y="1337043"/>
                  <a:pt x="5002772" y="1334767"/>
                </a:cubicBezTo>
                <a:lnTo>
                  <a:pt x="5002559" y="1333486"/>
                </a:lnTo>
                <a:cubicBezTo>
                  <a:pt x="5002772" y="1332917"/>
                  <a:pt x="5003626" y="1332633"/>
                  <a:pt x="5004906" y="1332491"/>
                </a:cubicBezTo>
                <a:cubicBezTo>
                  <a:pt x="5006614" y="1332206"/>
                  <a:pt x="5009388" y="1332206"/>
                  <a:pt x="5011522" y="1332348"/>
                </a:cubicBezTo>
                <a:close/>
                <a:moveTo>
                  <a:pt x="4115373" y="1331779"/>
                </a:moveTo>
                <a:cubicBezTo>
                  <a:pt x="4118147" y="1331921"/>
                  <a:pt x="4120922" y="1332917"/>
                  <a:pt x="4122843" y="1333486"/>
                </a:cubicBezTo>
                <a:cubicBezTo>
                  <a:pt x="4122202" y="1338466"/>
                  <a:pt x="4121776" y="1343445"/>
                  <a:pt x="4119001" y="1345864"/>
                </a:cubicBezTo>
                <a:lnTo>
                  <a:pt x="4115586" y="1344726"/>
                </a:lnTo>
                <a:lnTo>
                  <a:pt x="4111531" y="1345864"/>
                </a:lnTo>
                <a:cubicBezTo>
                  <a:pt x="4106836" y="1346433"/>
                  <a:pt x="4106622" y="1342876"/>
                  <a:pt x="4105129" y="1338750"/>
                </a:cubicBezTo>
                <a:cubicBezTo>
                  <a:pt x="4106410" y="1338039"/>
                  <a:pt x="4107263" y="1336758"/>
                  <a:pt x="4108117" y="1335478"/>
                </a:cubicBezTo>
                <a:lnTo>
                  <a:pt x="4108330" y="1335336"/>
                </a:lnTo>
                <a:lnTo>
                  <a:pt x="4108117" y="1334625"/>
                </a:lnTo>
                <a:cubicBezTo>
                  <a:pt x="4110037" y="1332206"/>
                  <a:pt x="4112812" y="1331494"/>
                  <a:pt x="4115373" y="1331779"/>
                </a:cubicBezTo>
                <a:close/>
                <a:moveTo>
                  <a:pt x="3652466" y="1331779"/>
                </a:moveTo>
                <a:cubicBezTo>
                  <a:pt x="3654173" y="1332206"/>
                  <a:pt x="3656521" y="1333628"/>
                  <a:pt x="3658014" y="1334055"/>
                </a:cubicBezTo>
                <a:cubicBezTo>
                  <a:pt x="3658014" y="1334055"/>
                  <a:pt x="3658014" y="1334055"/>
                  <a:pt x="3657801" y="1335763"/>
                </a:cubicBezTo>
                <a:cubicBezTo>
                  <a:pt x="3656307" y="1333628"/>
                  <a:pt x="3652038" y="1335051"/>
                  <a:pt x="3652466" y="1331779"/>
                </a:cubicBezTo>
                <a:close/>
                <a:moveTo>
                  <a:pt x="4253242" y="1331494"/>
                </a:moveTo>
                <a:lnTo>
                  <a:pt x="4253242" y="1340173"/>
                </a:lnTo>
                <a:lnTo>
                  <a:pt x="4254949" y="1337185"/>
                </a:lnTo>
                <a:cubicBezTo>
                  <a:pt x="4256443" y="1335763"/>
                  <a:pt x="4258364" y="1334767"/>
                  <a:pt x="4260071" y="1334909"/>
                </a:cubicBezTo>
                <a:cubicBezTo>
                  <a:pt x="4262846" y="1337470"/>
                  <a:pt x="4261352" y="1339604"/>
                  <a:pt x="4263486" y="1341027"/>
                </a:cubicBezTo>
                <a:cubicBezTo>
                  <a:pt x="4261352" y="1343161"/>
                  <a:pt x="4259431" y="1344299"/>
                  <a:pt x="4257724" y="1344441"/>
                </a:cubicBezTo>
                <a:lnTo>
                  <a:pt x="4253242" y="1342734"/>
                </a:lnTo>
                <a:lnTo>
                  <a:pt x="4253242" y="1343872"/>
                </a:lnTo>
                <a:lnTo>
                  <a:pt x="4253028" y="1349705"/>
                </a:lnTo>
                <a:lnTo>
                  <a:pt x="4252602" y="1354542"/>
                </a:lnTo>
                <a:cubicBezTo>
                  <a:pt x="4251535" y="1354969"/>
                  <a:pt x="4251321" y="1353831"/>
                  <a:pt x="4250040" y="1354258"/>
                </a:cubicBezTo>
                <a:cubicBezTo>
                  <a:pt x="4249400" y="1353973"/>
                  <a:pt x="4248760" y="1352835"/>
                  <a:pt x="4248333" y="1351555"/>
                </a:cubicBezTo>
                <a:cubicBezTo>
                  <a:pt x="4247266" y="1347429"/>
                  <a:pt x="4247480" y="1340173"/>
                  <a:pt x="4248333" y="1339888"/>
                </a:cubicBezTo>
                <a:cubicBezTo>
                  <a:pt x="4247907" y="1338750"/>
                  <a:pt x="4248973" y="1338181"/>
                  <a:pt x="4248760" y="1337043"/>
                </a:cubicBezTo>
                <a:cubicBezTo>
                  <a:pt x="4248760" y="1337043"/>
                  <a:pt x="4248333" y="1336047"/>
                  <a:pt x="4249187" y="1334482"/>
                </a:cubicBezTo>
                <a:cubicBezTo>
                  <a:pt x="4249827" y="1332917"/>
                  <a:pt x="4250681" y="1331352"/>
                  <a:pt x="4253242" y="1331494"/>
                </a:cubicBezTo>
                <a:close/>
                <a:moveTo>
                  <a:pt x="3896404" y="1330641"/>
                </a:moveTo>
                <a:cubicBezTo>
                  <a:pt x="3895337" y="1334767"/>
                  <a:pt x="3900673" y="1335905"/>
                  <a:pt x="3897045" y="1339462"/>
                </a:cubicBezTo>
                <a:cubicBezTo>
                  <a:pt x="3894697" y="1340030"/>
                  <a:pt x="3892136" y="1339462"/>
                  <a:pt x="3888721" y="1336616"/>
                </a:cubicBezTo>
                <a:cubicBezTo>
                  <a:pt x="3888935" y="1330072"/>
                  <a:pt x="3892776" y="1330356"/>
                  <a:pt x="3896404" y="1330641"/>
                </a:cubicBezTo>
                <a:close/>
                <a:moveTo>
                  <a:pt x="1045263" y="1330272"/>
                </a:moveTo>
                <a:cubicBezTo>
                  <a:pt x="1053833" y="1326245"/>
                  <a:pt x="1067257" y="1333370"/>
                  <a:pt x="1062197" y="1340650"/>
                </a:cubicBezTo>
                <a:cubicBezTo>
                  <a:pt x="1061474" y="1341734"/>
                  <a:pt x="1060338" y="1342818"/>
                  <a:pt x="1058790" y="1343903"/>
                </a:cubicBezTo>
                <a:cubicBezTo>
                  <a:pt x="1054040" y="1342044"/>
                  <a:pt x="1045263" y="1340495"/>
                  <a:pt x="1044850" y="1333680"/>
                </a:cubicBezTo>
                <a:cubicBezTo>
                  <a:pt x="1044747" y="1332595"/>
                  <a:pt x="1044953" y="1331511"/>
                  <a:pt x="1045263" y="1330272"/>
                </a:cubicBezTo>
                <a:close/>
                <a:moveTo>
                  <a:pt x="4236382" y="1330214"/>
                </a:moveTo>
                <a:cubicBezTo>
                  <a:pt x="4238943" y="1331494"/>
                  <a:pt x="4242571" y="1333628"/>
                  <a:pt x="4244919" y="1336616"/>
                </a:cubicBezTo>
                <a:cubicBezTo>
                  <a:pt x="4247053" y="1339462"/>
                  <a:pt x="4247693" y="1343445"/>
                  <a:pt x="4244705" y="1348424"/>
                </a:cubicBezTo>
                <a:cubicBezTo>
                  <a:pt x="4243212" y="1348282"/>
                  <a:pt x="4241504" y="1348282"/>
                  <a:pt x="4240010" y="1348282"/>
                </a:cubicBezTo>
                <a:cubicBezTo>
                  <a:pt x="4240010" y="1340600"/>
                  <a:pt x="4236382" y="1336190"/>
                  <a:pt x="4236382" y="1330214"/>
                </a:cubicBezTo>
                <a:close/>
                <a:moveTo>
                  <a:pt x="3726522" y="1329076"/>
                </a:moveTo>
                <a:cubicBezTo>
                  <a:pt x="3726949" y="1329076"/>
                  <a:pt x="3727589" y="1329218"/>
                  <a:pt x="3728230" y="1329787"/>
                </a:cubicBezTo>
                <a:cubicBezTo>
                  <a:pt x="3730577" y="1330926"/>
                  <a:pt x="3729723" y="1333344"/>
                  <a:pt x="3732498" y="1335620"/>
                </a:cubicBezTo>
                <a:cubicBezTo>
                  <a:pt x="3737620" y="1338892"/>
                  <a:pt x="3743169" y="1328934"/>
                  <a:pt x="3753413" y="1335620"/>
                </a:cubicBezTo>
                <a:cubicBezTo>
                  <a:pt x="3751492" y="1338181"/>
                  <a:pt x="3757041" y="1343872"/>
                  <a:pt x="3754053" y="1347571"/>
                </a:cubicBezTo>
                <a:cubicBezTo>
                  <a:pt x="3746370" y="1360091"/>
                  <a:pt x="3742529" y="1357957"/>
                  <a:pt x="3733992" y="1354827"/>
                </a:cubicBezTo>
                <a:cubicBezTo>
                  <a:pt x="3735059" y="1354684"/>
                  <a:pt x="3733778" y="1353688"/>
                  <a:pt x="3733778" y="1353688"/>
                </a:cubicBezTo>
                <a:cubicBezTo>
                  <a:pt x="3731218" y="1351412"/>
                  <a:pt x="3731004" y="1358525"/>
                  <a:pt x="3727163" y="1356392"/>
                </a:cubicBezTo>
                <a:lnTo>
                  <a:pt x="3726522" y="1355396"/>
                </a:lnTo>
                <a:lnTo>
                  <a:pt x="3725882" y="1355396"/>
                </a:lnTo>
                <a:lnTo>
                  <a:pt x="3722254" y="1359664"/>
                </a:lnTo>
                <a:lnTo>
                  <a:pt x="3722680" y="1359522"/>
                </a:lnTo>
                <a:cubicBezTo>
                  <a:pt x="3731858" y="1361087"/>
                  <a:pt x="3731218" y="1370334"/>
                  <a:pt x="3732285" y="1369765"/>
                </a:cubicBezTo>
                <a:lnTo>
                  <a:pt x="3733138" y="1369907"/>
                </a:lnTo>
                <a:lnTo>
                  <a:pt x="3732925" y="1368484"/>
                </a:lnTo>
                <a:cubicBezTo>
                  <a:pt x="3732498" y="1367631"/>
                  <a:pt x="3732285" y="1367062"/>
                  <a:pt x="3732285" y="1367062"/>
                </a:cubicBezTo>
                <a:cubicBezTo>
                  <a:pt x="3733138" y="1364643"/>
                  <a:pt x="3734205" y="1364643"/>
                  <a:pt x="3733138" y="1364643"/>
                </a:cubicBezTo>
                <a:cubicBezTo>
                  <a:pt x="3735059" y="1362225"/>
                  <a:pt x="3736766" y="1358525"/>
                  <a:pt x="3739327" y="1359522"/>
                </a:cubicBezTo>
                <a:cubicBezTo>
                  <a:pt x="3745090" y="1363647"/>
                  <a:pt x="3742315" y="1372326"/>
                  <a:pt x="3740394" y="1377874"/>
                </a:cubicBezTo>
                <a:lnTo>
                  <a:pt x="3739114" y="1381715"/>
                </a:lnTo>
                <a:lnTo>
                  <a:pt x="3741889" y="1384419"/>
                </a:lnTo>
                <a:cubicBezTo>
                  <a:pt x="3742102" y="1386695"/>
                  <a:pt x="3739541" y="1388686"/>
                  <a:pt x="3737193" y="1388260"/>
                </a:cubicBezTo>
                <a:lnTo>
                  <a:pt x="3734845" y="1386268"/>
                </a:lnTo>
                <a:lnTo>
                  <a:pt x="3734205" y="1388402"/>
                </a:lnTo>
                <a:cubicBezTo>
                  <a:pt x="3732925" y="1387264"/>
                  <a:pt x="3728870" y="1383992"/>
                  <a:pt x="3728870" y="1383992"/>
                </a:cubicBezTo>
                <a:cubicBezTo>
                  <a:pt x="3727803" y="1383992"/>
                  <a:pt x="3727803" y="1383992"/>
                  <a:pt x="3726522" y="1382854"/>
                </a:cubicBezTo>
                <a:cubicBezTo>
                  <a:pt x="3727589" y="1381573"/>
                  <a:pt x="3727376" y="1381715"/>
                  <a:pt x="3728656" y="1381573"/>
                </a:cubicBezTo>
                <a:cubicBezTo>
                  <a:pt x="3729937" y="1382711"/>
                  <a:pt x="3730150" y="1383849"/>
                  <a:pt x="3731431" y="1384988"/>
                </a:cubicBezTo>
                <a:cubicBezTo>
                  <a:pt x="3733351" y="1382569"/>
                  <a:pt x="3732071" y="1382569"/>
                  <a:pt x="3733351" y="1383707"/>
                </a:cubicBezTo>
                <a:cubicBezTo>
                  <a:pt x="3733351" y="1383707"/>
                  <a:pt x="3733565" y="1383707"/>
                  <a:pt x="3734845" y="1384845"/>
                </a:cubicBezTo>
                <a:lnTo>
                  <a:pt x="3735059" y="1385130"/>
                </a:lnTo>
                <a:lnTo>
                  <a:pt x="3735272" y="1384988"/>
                </a:lnTo>
                <a:lnTo>
                  <a:pt x="3734845" y="1384845"/>
                </a:lnTo>
                <a:lnTo>
                  <a:pt x="3733992" y="1373037"/>
                </a:lnTo>
                <a:lnTo>
                  <a:pt x="3732711" y="1372326"/>
                </a:lnTo>
                <a:cubicBezTo>
                  <a:pt x="3733351" y="1373464"/>
                  <a:pt x="3731644" y="1373037"/>
                  <a:pt x="3731644" y="1373037"/>
                </a:cubicBezTo>
                <a:cubicBezTo>
                  <a:pt x="3731644" y="1373037"/>
                  <a:pt x="3731644" y="1373037"/>
                  <a:pt x="3731218" y="1376309"/>
                </a:cubicBezTo>
                <a:cubicBezTo>
                  <a:pt x="3731218" y="1376309"/>
                  <a:pt x="3729297" y="1383565"/>
                  <a:pt x="3721827" y="1382427"/>
                </a:cubicBezTo>
                <a:cubicBezTo>
                  <a:pt x="3722040" y="1381147"/>
                  <a:pt x="3716705" y="1379439"/>
                  <a:pt x="3713717" y="1376452"/>
                </a:cubicBezTo>
                <a:lnTo>
                  <a:pt x="3713076" y="1375455"/>
                </a:lnTo>
                <a:lnTo>
                  <a:pt x="3711796" y="1374744"/>
                </a:lnTo>
                <a:cubicBezTo>
                  <a:pt x="3709876" y="1373748"/>
                  <a:pt x="3708381" y="1372610"/>
                  <a:pt x="3707314" y="1372183"/>
                </a:cubicBezTo>
                <a:cubicBezTo>
                  <a:pt x="3707314" y="1370903"/>
                  <a:pt x="3707314" y="1370903"/>
                  <a:pt x="3707314" y="1370903"/>
                </a:cubicBezTo>
                <a:cubicBezTo>
                  <a:pt x="3707528" y="1369765"/>
                  <a:pt x="3708595" y="1369338"/>
                  <a:pt x="3709662" y="1369623"/>
                </a:cubicBezTo>
                <a:lnTo>
                  <a:pt x="3711369" y="1370334"/>
                </a:lnTo>
                <a:lnTo>
                  <a:pt x="3710943" y="1365781"/>
                </a:lnTo>
                <a:cubicBezTo>
                  <a:pt x="3712436" y="1364928"/>
                  <a:pt x="3713290" y="1363220"/>
                  <a:pt x="3714784" y="1361798"/>
                </a:cubicBezTo>
                <a:lnTo>
                  <a:pt x="3716491" y="1360802"/>
                </a:lnTo>
                <a:lnTo>
                  <a:pt x="3713930" y="1360802"/>
                </a:lnTo>
                <a:cubicBezTo>
                  <a:pt x="3712436" y="1360091"/>
                  <a:pt x="3711156" y="1358810"/>
                  <a:pt x="3709662" y="1356960"/>
                </a:cubicBezTo>
                <a:cubicBezTo>
                  <a:pt x="3712009" y="1350843"/>
                  <a:pt x="3714144" y="1340884"/>
                  <a:pt x="3720547" y="1336901"/>
                </a:cubicBezTo>
                <a:lnTo>
                  <a:pt x="3722040" y="1336474"/>
                </a:lnTo>
                <a:lnTo>
                  <a:pt x="3723107" y="1335194"/>
                </a:lnTo>
                <a:lnTo>
                  <a:pt x="3723107" y="1334909"/>
                </a:lnTo>
                <a:cubicBezTo>
                  <a:pt x="3724175" y="1334909"/>
                  <a:pt x="3723961" y="1333628"/>
                  <a:pt x="3722894" y="1333771"/>
                </a:cubicBezTo>
                <a:cubicBezTo>
                  <a:pt x="3723747" y="1331921"/>
                  <a:pt x="3724601" y="1330356"/>
                  <a:pt x="3725242" y="1329503"/>
                </a:cubicBezTo>
                <a:cubicBezTo>
                  <a:pt x="3725668" y="1329076"/>
                  <a:pt x="3726095" y="1328934"/>
                  <a:pt x="3726522" y="1329076"/>
                </a:cubicBezTo>
                <a:close/>
                <a:moveTo>
                  <a:pt x="1110108" y="1329033"/>
                </a:moveTo>
                <a:cubicBezTo>
                  <a:pt x="1111140" y="1330582"/>
                  <a:pt x="1111450" y="1331821"/>
                  <a:pt x="1111760" y="1333060"/>
                </a:cubicBezTo>
                <a:cubicBezTo>
                  <a:pt x="1112793" y="1334764"/>
                  <a:pt x="1112379" y="1335383"/>
                  <a:pt x="1109901" y="1335848"/>
                </a:cubicBezTo>
                <a:cubicBezTo>
                  <a:pt x="1109385" y="1334919"/>
                  <a:pt x="1109075" y="1333525"/>
                  <a:pt x="1109075" y="1332131"/>
                </a:cubicBezTo>
                <a:cubicBezTo>
                  <a:pt x="1108972" y="1330736"/>
                  <a:pt x="1109282" y="1329497"/>
                  <a:pt x="1110108" y="1329033"/>
                </a:cubicBezTo>
                <a:close/>
                <a:moveTo>
                  <a:pt x="1125570" y="1328800"/>
                </a:moveTo>
                <a:cubicBezTo>
                  <a:pt x="1127661" y="1327445"/>
                  <a:pt x="1130243" y="1327096"/>
                  <a:pt x="1132308" y="1329033"/>
                </a:cubicBezTo>
                <a:cubicBezTo>
                  <a:pt x="1133031" y="1331511"/>
                  <a:pt x="1133754" y="1333990"/>
                  <a:pt x="1131069" y="1337552"/>
                </a:cubicBezTo>
                <a:cubicBezTo>
                  <a:pt x="1127558" y="1338481"/>
                  <a:pt x="1124977" y="1337707"/>
                  <a:pt x="1121776" y="1334609"/>
                </a:cubicBezTo>
                <a:cubicBezTo>
                  <a:pt x="1121879" y="1332518"/>
                  <a:pt x="1123480" y="1330156"/>
                  <a:pt x="1125570" y="1328800"/>
                </a:cubicBezTo>
                <a:close/>
                <a:moveTo>
                  <a:pt x="3566458" y="1328649"/>
                </a:moveTo>
                <a:cubicBezTo>
                  <a:pt x="3565817" y="1331494"/>
                  <a:pt x="3565603" y="1335051"/>
                  <a:pt x="3565390" y="1338466"/>
                </a:cubicBezTo>
                <a:lnTo>
                  <a:pt x="3563470" y="1344299"/>
                </a:lnTo>
                <a:lnTo>
                  <a:pt x="3564750" y="1342592"/>
                </a:lnTo>
                <a:cubicBezTo>
                  <a:pt x="3567311" y="1342449"/>
                  <a:pt x="3569445" y="1343018"/>
                  <a:pt x="3571153" y="1344157"/>
                </a:cubicBezTo>
                <a:lnTo>
                  <a:pt x="3572006" y="1345152"/>
                </a:lnTo>
                <a:lnTo>
                  <a:pt x="3572433" y="1345152"/>
                </a:lnTo>
                <a:cubicBezTo>
                  <a:pt x="3572860" y="1345152"/>
                  <a:pt x="3573074" y="1345152"/>
                  <a:pt x="3572860" y="1344583"/>
                </a:cubicBezTo>
                <a:cubicBezTo>
                  <a:pt x="3574354" y="1345010"/>
                  <a:pt x="3575634" y="1345721"/>
                  <a:pt x="3576274" y="1346575"/>
                </a:cubicBezTo>
                <a:cubicBezTo>
                  <a:pt x="3577128" y="1347571"/>
                  <a:pt x="3577555" y="1348709"/>
                  <a:pt x="3577769" y="1350132"/>
                </a:cubicBezTo>
                <a:lnTo>
                  <a:pt x="3574141" y="1352550"/>
                </a:lnTo>
                <a:lnTo>
                  <a:pt x="3573500" y="1358241"/>
                </a:lnTo>
                <a:cubicBezTo>
                  <a:pt x="3572220" y="1359806"/>
                  <a:pt x="3570299" y="1360944"/>
                  <a:pt x="3567524" y="1360802"/>
                </a:cubicBezTo>
                <a:cubicBezTo>
                  <a:pt x="3564750" y="1355823"/>
                  <a:pt x="3561122" y="1350843"/>
                  <a:pt x="3561975" y="1346575"/>
                </a:cubicBezTo>
                <a:lnTo>
                  <a:pt x="3562829" y="1345437"/>
                </a:lnTo>
                <a:lnTo>
                  <a:pt x="3563043" y="1343730"/>
                </a:lnTo>
                <a:cubicBezTo>
                  <a:pt x="3563470" y="1339035"/>
                  <a:pt x="3564750" y="1331068"/>
                  <a:pt x="3566458" y="1328649"/>
                </a:cubicBezTo>
                <a:close/>
                <a:moveTo>
                  <a:pt x="5842793" y="1328080"/>
                </a:moveTo>
                <a:cubicBezTo>
                  <a:pt x="5843646" y="1327938"/>
                  <a:pt x="5844500" y="1328222"/>
                  <a:pt x="5845353" y="1328791"/>
                </a:cubicBezTo>
                <a:cubicBezTo>
                  <a:pt x="5847488" y="1330072"/>
                  <a:pt x="5846207" y="1332491"/>
                  <a:pt x="5843646" y="1334909"/>
                </a:cubicBezTo>
                <a:cubicBezTo>
                  <a:pt x="5839591" y="1340884"/>
                  <a:pt x="5835963" y="1342022"/>
                  <a:pt x="5832975" y="1338323"/>
                </a:cubicBezTo>
                <a:cubicBezTo>
                  <a:pt x="5832975" y="1337185"/>
                  <a:pt x="5834682" y="1333486"/>
                  <a:pt x="5833402" y="1333486"/>
                </a:cubicBezTo>
                <a:cubicBezTo>
                  <a:pt x="5836390" y="1330783"/>
                  <a:pt x="5839805" y="1328222"/>
                  <a:pt x="5842793" y="1328080"/>
                </a:cubicBezTo>
                <a:close/>
                <a:moveTo>
                  <a:pt x="3677009" y="1328080"/>
                </a:moveTo>
                <a:cubicBezTo>
                  <a:pt x="3680637" y="1328507"/>
                  <a:pt x="3684478" y="1329930"/>
                  <a:pt x="3688107" y="1332633"/>
                </a:cubicBezTo>
                <a:cubicBezTo>
                  <a:pt x="3690667" y="1334625"/>
                  <a:pt x="3692375" y="1337043"/>
                  <a:pt x="3693869" y="1339746"/>
                </a:cubicBezTo>
                <a:lnTo>
                  <a:pt x="3696217" y="1346291"/>
                </a:lnTo>
                <a:lnTo>
                  <a:pt x="3697924" y="1347429"/>
                </a:lnTo>
                <a:lnTo>
                  <a:pt x="3696857" y="1348424"/>
                </a:lnTo>
                <a:lnTo>
                  <a:pt x="3698778" y="1353973"/>
                </a:lnTo>
                <a:cubicBezTo>
                  <a:pt x="3700272" y="1359095"/>
                  <a:pt x="3701979" y="1364643"/>
                  <a:pt x="3704967" y="1370191"/>
                </a:cubicBezTo>
                <a:lnTo>
                  <a:pt x="3703046" y="1370049"/>
                </a:lnTo>
                <a:lnTo>
                  <a:pt x="3704113" y="1371472"/>
                </a:lnTo>
                <a:cubicBezTo>
                  <a:pt x="3705607" y="1373748"/>
                  <a:pt x="3706674" y="1375883"/>
                  <a:pt x="3706674" y="1377874"/>
                </a:cubicBezTo>
                <a:cubicBezTo>
                  <a:pt x="3706888" y="1379297"/>
                  <a:pt x="3706461" y="1380435"/>
                  <a:pt x="3705607" y="1381573"/>
                </a:cubicBezTo>
                <a:cubicBezTo>
                  <a:pt x="3701765" y="1386410"/>
                  <a:pt x="3694509" y="1386553"/>
                  <a:pt x="3687893" y="1382711"/>
                </a:cubicBezTo>
                <a:lnTo>
                  <a:pt x="3686826" y="1381858"/>
                </a:lnTo>
                <a:lnTo>
                  <a:pt x="3681277" y="1394946"/>
                </a:lnTo>
                <a:lnTo>
                  <a:pt x="3680210" y="1398787"/>
                </a:lnTo>
                <a:lnTo>
                  <a:pt x="3681064" y="1400068"/>
                </a:lnTo>
                <a:cubicBezTo>
                  <a:pt x="3681491" y="1401633"/>
                  <a:pt x="3681917" y="1403056"/>
                  <a:pt x="3683198" y="1404337"/>
                </a:cubicBezTo>
                <a:lnTo>
                  <a:pt x="3681064" y="1405047"/>
                </a:lnTo>
                <a:lnTo>
                  <a:pt x="3682131" y="1407608"/>
                </a:lnTo>
                <a:cubicBezTo>
                  <a:pt x="3682771" y="1408746"/>
                  <a:pt x="3682984" y="1410027"/>
                  <a:pt x="3682344" y="1412018"/>
                </a:cubicBezTo>
                <a:cubicBezTo>
                  <a:pt x="3679143" y="1411592"/>
                  <a:pt x="3676795" y="1410311"/>
                  <a:pt x="3673594" y="1409885"/>
                </a:cubicBezTo>
                <a:lnTo>
                  <a:pt x="3675088" y="1405332"/>
                </a:lnTo>
                <a:lnTo>
                  <a:pt x="3672527" y="1403909"/>
                </a:lnTo>
                <a:cubicBezTo>
                  <a:pt x="3671246" y="1402629"/>
                  <a:pt x="3671246" y="1402629"/>
                  <a:pt x="3671033" y="1401349"/>
                </a:cubicBezTo>
                <a:cubicBezTo>
                  <a:pt x="3670393" y="1400210"/>
                  <a:pt x="3669966" y="1399215"/>
                  <a:pt x="3669539" y="1398219"/>
                </a:cubicBezTo>
                <a:lnTo>
                  <a:pt x="3669539" y="1397650"/>
                </a:lnTo>
                <a:lnTo>
                  <a:pt x="3668045" y="1396511"/>
                </a:lnTo>
                <a:cubicBezTo>
                  <a:pt x="3664204" y="1394235"/>
                  <a:pt x="3659935" y="1392813"/>
                  <a:pt x="3656093" y="1391248"/>
                </a:cubicBezTo>
                <a:lnTo>
                  <a:pt x="3655026" y="1393381"/>
                </a:lnTo>
                <a:cubicBezTo>
                  <a:pt x="3653319" y="1394804"/>
                  <a:pt x="3651398" y="1395800"/>
                  <a:pt x="3650331" y="1397507"/>
                </a:cubicBezTo>
                <a:lnTo>
                  <a:pt x="3649904" y="1397223"/>
                </a:lnTo>
                <a:lnTo>
                  <a:pt x="3643075" y="1403340"/>
                </a:lnTo>
                <a:cubicBezTo>
                  <a:pt x="3640087" y="1404906"/>
                  <a:pt x="3636672" y="1405901"/>
                  <a:pt x="3633684" y="1405616"/>
                </a:cubicBezTo>
                <a:cubicBezTo>
                  <a:pt x="3625575" y="1398503"/>
                  <a:pt x="3627922" y="1387833"/>
                  <a:pt x="3634965" y="1382427"/>
                </a:cubicBezTo>
                <a:lnTo>
                  <a:pt x="3642221" y="1379439"/>
                </a:lnTo>
                <a:lnTo>
                  <a:pt x="3641795" y="1378585"/>
                </a:lnTo>
                <a:cubicBezTo>
                  <a:pt x="3640087" y="1374886"/>
                  <a:pt x="3639447" y="1371188"/>
                  <a:pt x="3639447" y="1367916"/>
                </a:cubicBezTo>
                <a:lnTo>
                  <a:pt x="3640514" y="1362367"/>
                </a:lnTo>
                <a:lnTo>
                  <a:pt x="3640300" y="1362225"/>
                </a:lnTo>
                <a:cubicBezTo>
                  <a:pt x="3639020" y="1360233"/>
                  <a:pt x="3639020" y="1357103"/>
                  <a:pt x="3640941" y="1353688"/>
                </a:cubicBezTo>
                <a:lnTo>
                  <a:pt x="3643715" y="1355396"/>
                </a:lnTo>
                <a:lnTo>
                  <a:pt x="3646703" y="1351270"/>
                </a:lnTo>
                <a:lnTo>
                  <a:pt x="3650758" y="1348709"/>
                </a:lnTo>
                <a:lnTo>
                  <a:pt x="3651826" y="1345437"/>
                </a:lnTo>
                <a:lnTo>
                  <a:pt x="3648837" y="1346148"/>
                </a:lnTo>
                <a:cubicBezTo>
                  <a:pt x="3647557" y="1345864"/>
                  <a:pt x="3646276" y="1345152"/>
                  <a:pt x="3644782" y="1344014"/>
                </a:cubicBezTo>
                <a:cubicBezTo>
                  <a:pt x="3644569" y="1340315"/>
                  <a:pt x="3648837" y="1334482"/>
                  <a:pt x="3652252" y="1334767"/>
                </a:cubicBezTo>
                <a:cubicBezTo>
                  <a:pt x="3653533" y="1335905"/>
                  <a:pt x="3654600" y="1337185"/>
                  <a:pt x="3655880" y="1338466"/>
                </a:cubicBezTo>
                <a:lnTo>
                  <a:pt x="3655026" y="1340173"/>
                </a:lnTo>
                <a:lnTo>
                  <a:pt x="3658654" y="1334909"/>
                </a:lnTo>
                <a:cubicBezTo>
                  <a:pt x="3663563" y="1329930"/>
                  <a:pt x="3669966" y="1327084"/>
                  <a:pt x="3677009" y="1328080"/>
                </a:cubicBezTo>
                <a:close/>
                <a:moveTo>
                  <a:pt x="4371050" y="1327938"/>
                </a:moveTo>
                <a:cubicBezTo>
                  <a:pt x="4375959" y="1326942"/>
                  <a:pt x="4380440" y="1329503"/>
                  <a:pt x="4380867" y="1334055"/>
                </a:cubicBezTo>
                <a:cubicBezTo>
                  <a:pt x="4381294" y="1335905"/>
                  <a:pt x="4380867" y="1338323"/>
                  <a:pt x="4379373" y="1340884"/>
                </a:cubicBezTo>
                <a:cubicBezTo>
                  <a:pt x="4375318" y="1343730"/>
                  <a:pt x="4370623" y="1344014"/>
                  <a:pt x="4367848" y="1342022"/>
                </a:cubicBezTo>
                <a:cubicBezTo>
                  <a:pt x="4364861" y="1340173"/>
                  <a:pt x="4363580" y="1336190"/>
                  <a:pt x="4365928" y="1330214"/>
                </a:cubicBezTo>
                <a:cubicBezTo>
                  <a:pt x="4367635" y="1329076"/>
                  <a:pt x="4369342" y="1328222"/>
                  <a:pt x="4371050" y="1327938"/>
                </a:cubicBezTo>
                <a:close/>
                <a:moveTo>
                  <a:pt x="4072049" y="1327796"/>
                </a:moveTo>
                <a:cubicBezTo>
                  <a:pt x="4081866" y="1328649"/>
                  <a:pt x="4091256" y="1332917"/>
                  <a:pt x="4092750" y="1341311"/>
                </a:cubicBezTo>
                <a:cubicBezTo>
                  <a:pt x="4089122" y="1339462"/>
                  <a:pt x="4085281" y="1338750"/>
                  <a:pt x="4081653" y="1338608"/>
                </a:cubicBezTo>
                <a:lnTo>
                  <a:pt x="4075250" y="1339035"/>
                </a:lnTo>
                <a:lnTo>
                  <a:pt x="4075463" y="1339035"/>
                </a:lnTo>
                <a:cubicBezTo>
                  <a:pt x="4072049" y="1342449"/>
                  <a:pt x="4068634" y="1341169"/>
                  <a:pt x="4065219" y="1339746"/>
                </a:cubicBezTo>
                <a:cubicBezTo>
                  <a:pt x="4062871" y="1338466"/>
                  <a:pt x="4061591" y="1338466"/>
                  <a:pt x="4059243" y="1339462"/>
                </a:cubicBezTo>
                <a:cubicBezTo>
                  <a:pt x="4059243" y="1339462"/>
                  <a:pt x="4059457" y="1339462"/>
                  <a:pt x="4059030" y="1339177"/>
                </a:cubicBezTo>
                <a:lnTo>
                  <a:pt x="4058603" y="1338750"/>
                </a:lnTo>
                <a:lnTo>
                  <a:pt x="4048572" y="1334482"/>
                </a:lnTo>
                <a:cubicBezTo>
                  <a:pt x="4051987" y="1329361"/>
                  <a:pt x="4062231" y="1326799"/>
                  <a:pt x="4072049" y="1327796"/>
                </a:cubicBezTo>
                <a:close/>
                <a:moveTo>
                  <a:pt x="1698565" y="1327484"/>
                </a:moveTo>
                <a:cubicBezTo>
                  <a:pt x="1701146" y="1329188"/>
                  <a:pt x="1701250" y="1331046"/>
                  <a:pt x="1701250" y="1334609"/>
                </a:cubicBezTo>
                <a:cubicBezTo>
                  <a:pt x="1699288" y="1333525"/>
                  <a:pt x="1698359" y="1332595"/>
                  <a:pt x="1698049" y="1331356"/>
                </a:cubicBezTo>
                <a:cubicBezTo>
                  <a:pt x="1697739" y="1330272"/>
                  <a:pt x="1697945" y="1329033"/>
                  <a:pt x="1698565" y="1327484"/>
                </a:cubicBezTo>
                <a:close/>
                <a:moveTo>
                  <a:pt x="3628776" y="1326373"/>
                </a:moveTo>
                <a:cubicBezTo>
                  <a:pt x="3632191" y="1325519"/>
                  <a:pt x="3636246" y="1327226"/>
                  <a:pt x="3639233" y="1332775"/>
                </a:cubicBezTo>
                <a:cubicBezTo>
                  <a:pt x="3638593" y="1343445"/>
                  <a:pt x="3626215" y="1346575"/>
                  <a:pt x="3622160" y="1335620"/>
                </a:cubicBezTo>
                <a:cubicBezTo>
                  <a:pt x="3622587" y="1330783"/>
                  <a:pt x="3625361" y="1327369"/>
                  <a:pt x="3628776" y="1326373"/>
                </a:cubicBezTo>
                <a:close/>
                <a:moveTo>
                  <a:pt x="3566458" y="1326231"/>
                </a:moveTo>
                <a:cubicBezTo>
                  <a:pt x="3566458" y="1326089"/>
                  <a:pt x="3566884" y="1326089"/>
                  <a:pt x="3567738" y="1326231"/>
                </a:cubicBezTo>
                <a:cubicBezTo>
                  <a:pt x="3566670" y="1327369"/>
                  <a:pt x="3566670" y="1327369"/>
                  <a:pt x="3566670" y="1328649"/>
                </a:cubicBezTo>
                <a:cubicBezTo>
                  <a:pt x="3566670" y="1328649"/>
                  <a:pt x="3565603" y="1327226"/>
                  <a:pt x="3565603" y="1327226"/>
                </a:cubicBezTo>
                <a:cubicBezTo>
                  <a:pt x="3566244" y="1326657"/>
                  <a:pt x="3566244" y="1326373"/>
                  <a:pt x="3566458" y="1326231"/>
                </a:cubicBezTo>
                <a:close/>
                <a:moveTo>
                  <a:pt x="4307878" y="1325946"/>
                </a:moveTo>
                <a:cubicBezTo>
                  <a:pt x="4318762" y="1326942"/>
                  <a:pt x="4327085" y="1340315"/>
                  <a:pt x="4330073" y="1348282"/>
                </a:cubicBezTo>
                <a:cubicBezTo>
                  <a:pt x="4325164" y="1345721"/>
                  <a:pt x="4320256" y="1343303"/>
                  <a:pt x="4315561" y="1340173"/>
                </a:cubicBezTo>
                <a:cubicBezTo>
                  <a:pt x="4310865" y="1336901"/>
                  <a:pt x="4306597" y="1332775"/>
                  <a:pt x="4303182" y="1326373"/>
                </a:cubicBezTo>
                <a:cubicBezTo>
                  <a:pt x="4304676" y="1325946"/>
                  <a:pt x="4306383" y="1325804"/>
                  <a:pt x="4307878" y="1325946"/>
                </a:cubicBezTo>
                <a:close/>
                <a:moveTo>
                  <a:pt x="4345012" y="1325662"/>
                </a:moveTo>
                <a:cubicBezTo>
                  <a:pt x="4349067" y="1327511"/>
                  <a:pt x="4350562" y="1329361"/>
                  <a:pt x="4350562" y="1330641"/>
                </a:cubicBezTo>
                <a:cubicBezTo>
                  <a:pt x="4350988" y="1334625"/>
                  <a:pt x="4338610" y="1335051"/>
                  <a:pt x="4345012" y="1325662"/>
                </a:cubicBezTo>
                <a:close/>
                <a:moveTo>
                  <a:pt x="1109075" y="1325470"/>
                </a:moveTo>
                <a:cubicBezTo>
                  <a:pt x="1109695" y="1325315"/>
                  <a:pt x="1110005" y="1325470"/>
                  <a:pt x="1110211" y="1325780"/>
                </a:cubicBezTo>
                <a:cubicBezTo>
                  <a:pt x="1110521" y="1326090"/>
                  <a:pt x="1110624" y="1326400"/>
                  <a:pt x="1110624" y="1326400"/>
                </a:cubicBezTo>
                <a:cubicBezTo>
                  <a:pt x="1110934" y="1327484"/>
                  <a:pt x="1111140" y="1328723"/>
                  <a:pt x="1110005" y="1328878"/>
                </a:cubicBezTo>
                <a:cubicBezTo>
                  <a:pt x="1110005" y="1328878"/>
                  <a:pt x="1109282" y="1328413"/>
                  <a:pt x="1108662" y="1326090"/>
                </a:cubicBezTo>
                <a:cubicBezTo>
                  <a:pt x="1109385" y="1326554"/>
                  <a:pt x="1109798" y="1325935"/>
                  <a:pt x="1109798" y="1325935"/>
                </a:cubicBezTo>
                <a:cubicBezTo>
                  <a:pt x="1109798" y="1325935"/>
                  <a:pt x="1109901" y="1325935"/>
                  <a:pt x="1109075" y="1325470"/>
                </a:cubicBezTo>
                <a:close/>
                <a:moveTo>
                  <a:pt x="4449161" y="1324950"/>
                </a:moveTo>
                <a:cubicBezTo>
                  <a:pt x="4452149" y="1329645"/>
                  <a:pt x="4455777" y="1334055"/>
                  <a:pt x="4458339" y="1339320"/>
                </a:cubicBezTo>
                <a:cubicBezTo>
                  <a:pt x="4460899" y="1344583"/>
                  <a:pt x="4462393" y="1350843"/>
                  <a:pt x="4461327" y="1359237"/>
                </a:cubicBezTo>
                <a:cubicBezTo>
                  <a:pt x="4459619" y="1360091"/>
                  <a:pt x="4458125" y="1361940"/>
                  <a:pt x="4456204" y="1363078"/>
                </a:cubicBezTo>
                <a:lnTo>
                  <a:pt x="4453856" y="1364074"/>
                </a:lnTo>
                <a:lnTo>
                  <a:pt x="4453003" y="1365070"/>
                </a:lnTo>
                <a:cubicBezTo>
                  <a:pt x="4451936" y="1365924"/>
                  <a:pt x="4450442" y="1366208"/>
                  <a:pt x="4448308" y="1365497"/>
                </a:cubicBezTo>
                <a:cubicBezTo>
                  <a:pt x="4448308" y="1364928"/>
                  <a:pt x="4448948" y="1364074"/>
                  <a:pt x="4449801" y="1363220"/>
                </a:cubicBezTo>
                <a:lnTo>
                  <a:pt x="4450656" y="1362225"/>
                </a:lnTo>
                <a:lnTo>
                  <a:pt x="4451936" y="1357672"/>
                </a:lnTo>
                <a:cubicBezTo>
                  <a:pt x="4453216" y="1345152"/>
                  <a:pt x="4440838" y="1335051"/>
                  <a:pt x="4449161" y="1324950"/>
                </a:cubicBezTo>
                <a:close/>
                <a:moveTo>
                  <a:pt x="4779322" y="1324808"/>
                </a:moveTo>
                <a:cubicBezTo>
                  <a:pt x="4780816" y="1325662"/>
                  <a:pt x="4783590" y="1326231"/>
                  <a:pt x="4785297" y="1328222"/>
                </a:cubicBezTo>
                <a:cubicBezTo>
                  <a:pt x="4786151" y="1334340"/>
                  <a:pt x="4783590" y="1337470"/>
                  <a:pt x="4779108" y="1338750"/>
                </a:cubicBezTo>
                <a:cubicBezTo>
                  <a:pt x="4773133" y="1335336"/>
                  <a:pt x="4773773" y="1326373"/>
                  <a:pt x="4779322" y="1324808"/>
                </a:cubicBezTo>
                <a:close/>
                <a:moveTo>
                  <a:pt x="1415850" y="1324386"/>
                </a:moveTo>
                <a:cubicBezTo>
                  <a:pt x="1417811" y="1324076"/>
                  <a:pt x="1418225" y="1324850"/>
                  <a:pt x="1418121" y="1327793"/>
                </a:cubicBezTo>
                <a:cubicBezTo>
                  <a:pt x="1417811" y="1329033"/>
                  <a:pt x="1417708" y="1329962"/>
                  <a:pt x="1417605" y="1330891"/>
                </a:cubicBezTo>
                <a:lnTo>
                  <a:pt x="1417192" y="1331821"/>
                </a:lnTo>
                <a:lnTo>
                  <a:pt x="1417398" y="1331821"/>
                </a:lnTo>
                <a:lnTo>
                  <a:pt x="1417295" y="1334299"/>
                </a:lnTo>
                <a:lnTo>
                  <a:pt x="1417502" y="1335074"/>
                </a:lnTo>
                <a:lnTo>
                  <a:pt x="1417295" y="1335228"/>
                </a:lnTo>
                <a:lnTo>
                  <a:pt x="1417295" y="1336158"/>
                </a:lnTo>
                <a:cubicBezTo>
                  <a:pt x="1416469" y="1335228"/>
                  <a:pt x="1414610" y="1335848"/>
                  <a:pt x="1413784" y="1334919"/>
                </a:cubicBezTo>
                <a:cubicBezTo>
                  <a:pt x="1413784" y="1334919"/>
                  <a:pt x="1412855" y="1332286"/>
                  <a:pt x="1412855" y="1332286"/>
                </a:cubicBezTo>
                <a:cubicBezTo>
                  <a:pt x="1413268" y="1331821"/>
                  <a:pt x="1413578" y="1331666"/>
                  <a:pt x="1413681" y="1331821"/>
                </a:cubicBezTo>
                <a:cubicBezTo>
                  <a:pt x="1413784" y="1331821"/>
                  <a:pt x="1413784" y="1331976"/>
                  <a:pt x="1413784" y="1332440"/>
                </a:cubicBezTo>
                <a:lnTo>
                  <a:pt x="1415024" y="1332131"/>
                </a:lnTo>
                <a:lnTo>
                  <a:pt x="1414301" y="1330891"/>
                </a:lnTo>
                <a:cubicBezTo>
                  <a:pt x="1413474" y="1329342"/>
                  <a:pt x="1412752" y="1327793"/>
                  <a:pt x="1412855" y="1326400"/>
                </a:cubicBezTo>
                <a:cubicBezTo>
                  <a:pt x="1412959" y="1325780"/>
                  <a:pt x="1413165" y="1325160"/>
                  <a:pt x="1413578" y="1324850"/>
                </a:cubicBezTo>
                <a:cubicBezTo>
                  <a:pt x="1413991" y="1324386"/>
                  <a:pt x="1414610" y="1324231"/>
                  <a:pt x="1415850" y="1324386"/>
                </a:cubicBezTo>
                <a:close/>
                <a:moveTo>
                  <a:pt x="4138849" y="1323812"/>
                </a:moveTo>
                <a:cubicBezTo>
                  <a:pt x="4141410" y="1323812"/>
                  <a:pt x="4144398" y="1324950"/>
                  <a:pt x="4147386" y="1326089"/>
                </a:cubicBezTo>
                <a:cubicBezTo>
                  <a:pt x="4146959" y="1335194"/>
                  <a:pt x="4133300" y="1329218"/>
                  <a:pt x="4138849" y="1323812"/>
                </a:cubicBezTo>
                <a:close/>
                <a:moveTo>
                  <a:pt x="4854019" y="1322816"/>
                </a:moveTo>
                <a:cubicBezTo>
                  <a:pt x="4857220" y="1321963"/>
                  <a:pt x="4858501" y="1324097"/>
                  <a:pt x="4858714" y="1325804"/>
                </a:cubicBezTo>
                <a:cubicBezTo>
                  <a:pt x="4859781" y="1327226"/>
                  <a:pt x="4859568" y="1329076"/>
                  <a:pt x="4858928" y="1330783"/>
                </a:cubicBezTo>
                <a:cubicBezTo>
                  <a:pt x="4858073" y="1332491"/>
                  <a:pt x="4856793" y="1334198"/>
                  <a:pt x="4855299" y="1335478"/>
                </a:cubicBezTo>
                <a:cubicBezTo>
                  <a:pt x="4855940" y="1334482"/>
                  <a:pt x="4855940" y="1334482"/>
                  <a:pt x="4855940" y="1334482"/>
                </a:cubicBezTo>
                <a:cubicBezTo>
                  <a:pt x="4855726" y="1332775"/>
                  <a:pt x="4854873" y="1333771"/>
                  <a:pt x="4854019" y="1333202"/>
                </a:cubicBezTo>
                <a:cubicBezTo>
                  <a:pt x="4854019" y="1333202"/>
                  <a:pt x="4855086" y="1333771"/>
                  <a:pt x="4853378" y="1334198"/>
                </a:cubicBezTo>
                <a:cubicBezTo>
                  <a:pt x="4854019" y="1333202"/>
                  <a:pt x="4853165" y="1332633"/>
                  <a:pt x="4852098" y="1332063"/>
                </a:cubicBezTo>
                <a:cubicBezTo>
                  <a:pt x="4851671" y="1328649"/>
                  <a:pt x="4851671" y="1324239"/>
                  <a:pt x="4854019" y="1322816"/>
                </a:cubicBezTo>
                <a:close/>
                <a:moveTo>
                  <a:pt x="1393959" y="1322372"/>
                </a:moveTo>
                <a:cubicBezTo>
                  <a:pt x="1395921" y="1321443"/>
                  <a:pt x="1398812" y="1321753"/>
                  <a:pt x="1403356" y="1323611"/>
                </a:cubicBezTo>
                <a:cubicBezTo>
                  <a:pt x="1396541" y="1330117"/>
                  <a:pt x="1398502" y="1342664"/>
                  <a:pt x="1390448" y="1345142"/>
                </a:cubicBezTo>
                <a:cubicBezTo>
                  <a:pt x="1391068" y="1341425"/>
                  <a:pt x="1390448" y="1336313"/>
                  <a:pt x="1390448" y="1331976"/>
                </a:cubicBezTo>
                <a:cubicBezTo>
                  <a:pt x="1390448" y="1327484"/>
                  <a:pt x="1391068" y="1323611"/>
                  <a:pt x="1393959" y="1322372"/>
                </a:cubicBezTo>
                <a:close/>
                <a:moveTo>
                  <a:pt x="5478058" y="1321820"/>
                </a:moveTo>
                <a:cubicBezTo>
                  <a:pt x="5479125" y="1321963"/>
                  <a:pt x="5479979" y="1322674"/>
                  <a:pt x="5481046" y="1323812"/>
                </a:cubicBezTo>
                <a:cubicBezTo>
                  <a:pt x="5481686" y="1323812"/>
                  <a:pt x="5482113" y="1325092"/>
                  <a:pt x="5482327" y="1326373"/>
                </a:cubicBezTo>
                <a:cubicBezTo>
                  <a:pt x="5482327" y="1327796"/>
                  <a:pt x="5482327" y="1329218"/>
                  <a:pt x="5481686" y="1329787"/>
                </a:cubicBezTo>
                <a:cubicBezTo>
                  <a:pt x="5478912" y="1333344"/>
                  <a:pt x="5475710" y="1330926"/>
                  <a:pt x="5471442" y="1329645"/>
                </a:cubicBezTo>
                <a:cubicBezTo>
                  <a:pt x="5472722" y="1328507"/>
                  <a:pt x="5471656" y="1327226"/>
                  <a:pt x="5470589" y="1326089"/>
                </a:cubicBezTo>
                <a:cubicBezTo>
                  <a:pt x="5472509" y="1324239"/>
                  <a:pt x="5475070" y="1321251"/>
                  <a:pt x="5478058" y="1321820"/>
                </a:cubicBezTo>
                <a:close/>
                <a:moveTo>
                  <a:pt x="1097717" y="1321443"/>
                </a:moveTo>
                <a:cubicBezTo>
                  <a:pt x="1098543" y="1323302"/>
                  <a:pt x="1100195" y="1326090"/>
                  <a:pt x="1097510" y="1329188"/>
                </a:cubicBezTo>
                <a:cubicBezTo>
                  <a:pt x="1096685" y="1329962"/>
                  <a:pt x="1096581" y="1329962"/>
                  <a:pt x="1095755" y="1329807"/>
                </a:cubicBezTo>
                <a:cubicBezTo>
                  <a:pt x="1094000" y="1330582"/>
                  <a:pt x="1093070" y="1331356"/>
                  <a:pt x="1091315" y="1330272"/>
                </a:cubicBezTo>
                <a:cubicBezTo>
                  <a:pt x="1090076" y="1329342"/>
                  <a:pt x="1089663" y="1328413"/>
                  <a:pt x="1089766" y="1327484"/>
                </a:cubicBezTo>
                <a:cubicBezTo>
                  <a:pt x="1089973" y="1326554"/>
                  <a:pt x="1090592" y="1325470"/>
                  <a:pt x="1091522" y="1324386"/>
                </a:cubicBezTo>
                <a:cubicBezTo>
                  <a:pt x="1092348" y="1323147"/>
                  <a:pt x="1093484" y="1322837"/>
                  <a:pt x="1094620" y="1322527"/>
                </a:cubicBezTo>
                <a:cubicBezTo>
                  <a:pt x="1095652" y="1322372"/>
                  <a:pt x="1096788" y="1322217"/>
                  <a:pt x="1097717" y="1321443"/>
                </a:cubicBezTo>
                <a:close/>
                <a:moveTo>
                  <a:pt x="3566884" y="1319971"/>
                </a:moveTo>
                <a:cubicBezTo>
                  <a:pt x="3566884" y="1319971"/>
                  <a:pt x="3567951" y="1320113"/>
                  <a:pt x="3567951" y="1320113"/>
                </a:cubicBezTo>
                <a:cubicBezTo>
                  <a:pt x="3567951" y="1321394"/>
                  <a:pt x="3567951" y="1322674"/>
                  <a:pt x="3566884" y="1322674"/>
                </a:cubicBezTo>
                <a:cubicBezTo>
                  <a:pt x="3565817" y="1322532"/>
                  <a:pt x="3565817" y="1321251"/>
                  <a:pt x="3566884" y="1319971"/>
                </a:cubicBezTo>
                <a:close/>
                <a:moveTo>
                  <a:pt x="5155368" y="1318975"/>
                </a:moveTo>
                <a:cubicBezTo>
                  <a:pt x="5156008" y="1319260"/>
                  <a:pt x="5156435" y="1319686"/>
                  <a:pt x="5156861" y="1320255"/>
                </a:cubicBezTo>
                <a:cubicBezTo>
                  <a:pt x="5158996" y="1323527"/>
                  <a:pt x="5158782" y="1330783"/>
                  <a:pt x="5154300" y="1330214"/>
                </a:cubicBezTo>
                <a:lnTo>
                  <a:pt x="5153447" y="1329503"/>
                </a:lnTo>
                <a:lnTo>
                  <a:pt x="5152806" y="1329930"/>
                </a:lnTo>
                <a:cubicBezTo>
                  <a:pt x="5151526" y="1329930"/>
                  <a:pt x="5150032" y="1329787"/>
                  <a:pt x="5148965" y="1329787"/>
                </a:cubicBezTo>
                <a:cubicBezTo>
                  <a:pt x="5148111" y="1332348"/>
                  <a:pt x="5144056" y="1327654"/>
                  <a:pt x="5143202" y="1330214"/>
                </a:cubicBezTo>
                <a:cubicBezTo>
                  <a:pt x="5138081" y="1325662"/>
                  <a:pt x="5133172" y="1331921"/>
                  <a:pt x="5124422" y="1326373"/>
                </a:cubicBezTo>
                <a:cubicBezTo>
                  <a:pt x="5127196" y="1325235"/>
                  <a:pt x="5129757" y="1324808"/>
                  <a:pt x="5132105" y="1324524"/>
                </a:cubicBezTo>
                <a:cubicBezTo>
                  <a:pt x="5135733" y="1324239"/>
                  <a:pt x="5139148" y="1324381"/>
                  <a:pt x="5142135" y="1324524"/>
                </a:cubicBezTo>
                <a:lnTo>
                  <a:pt x="5149819" y="1323670"/>
                </a:lnTo>
                <a:lnTo>
                  <a:pt x="5151099" y="1321394"/>
                </a:lnTo>
                <a:cubicBezTo>
                  <a:pt x="5151953" y="1320255"/>
                  <a:pt x="5152593" y="1319544"/>
                  <a:pt x="5153447" y="1319117"/>
                </a:cubicBezTo>
                <a:cubicBezTo>
                  <a:pt x="5154087" y="1318690"/>
                  <a:pt x="5154940" y="1318690"/>
                  <a:pt x="5155368" y="1318975"/>
                </a:cubicBezTo>
                <a:close/>
                <a:moveTo>
                  <a:pt x="5102226" y="1318548"/>
                </a:moveTo>
                <a:cubicBezTo>
                  <a:pt x="5103933" y="1330499"/>
                  <a:pt x="5082378" y="1347429"/>
                  <a:pt x="5072134" y="1338039"/>
                </a:cubicBezTo>
                <a:cubicBezTo>
                  <a:pt x="5083872" y="1332063"/>
                  <a:pt x="5087714" y="1322532"/>
                  <a:pt x="5102226" y="1318548"/>
                </a:cubicBezTo>
                <a:close/>
                <a:moveTo>
                  <a:pt x="6032736" y="1318406"/>
                </a:moveTo>
                <a:cubicBezTo>
                  <a:pt x="6033803" y="1318263"/>
                  <a:pt x="6035084" y="1318690"/>
                  <a:pt x="6035938" y="1319260"/>
                </a:cubicBezTo>
                <a:cubicBezTo>
                  <a:pt x="6038285" y="1327938"/>
                  <a:pt x="6028254" y="1329361"/>
                  <a:pt x="6025267" y="1325946"/>
                </a:cubicBezTo>
                <a:cubicBezTo>
                  <a:pt x="6025267" y="1321394"/>
                  <a:pt x="6029108" y="1318406"/>
                  <a:pt x="6032736" y="1318406"/>
                </a:cubicBezTo>
                <a:close/>
                <a:moveTo>
                  <a:pt x="1541616" y="1317725"/>
                </a:moveTo>
                <a:cubicBezTo>
                  <a:pt x="1541512" y="1318500"/>
                  <a:pt x="1542029" y="1320203"/>
                  <a:pt x="1541099" y="1320978"/>
                </a:cubicBezTo>
                <a:cubicBezTo>
                  <a:pt x="1540067" y="1321907"/>
                  <a:pt x="1540067" y="1321907"/>
                  <a:pt x="1538311" y="1321753"/>
                </a:cubicBezTo>
                <a:cubicBezTo>
                  <a:pt x="1539654" y="1319274"/>
                  <a:pt x="1539654" y="1319274"/>
                  <a:pt x="1541616" y="1317725"/>
                </a:cubicBezTo>
                <a:close/>
                <a:moveTo>
                  <a:pt x="3719479" y="1317268"/>
                </a:moveTo>
                <a:cubicBezTo>
                  <a:pt x="3720760" y="1316983"/>
                  <a:pt x="3722040" y="1317268"/>
                  <a:pt x="3722467" y="1317837"/>
                </a:cubicBezTo>
                <a:cubicBezTo>
                  <a:pt x="3724175" y="1319971"/>
                  <a:pt x="3725668" y="1322105"/>
                  <a:pt x="3724815" y="1324239"/>
                </a:cubicBezTo>
                <a:cubicBezTo>
                  <a:pt x="3724601" y="1324950"/>
                  <a:pt x="3723961" y="1325662"/>
                  <a:pt x="3723107" y="1326373"/>
                </a:cubicBezTo>
                <a:cubicBezTo>
                  <a:pt x="3723107" y="1326373"/>
                  <a:pt x="3723107" y="1326373"/>
                  <a:pt x="3722040" y="1326231"/>
                </a:cubicBezTo>
                <a:cubicBezTo>
                  <a:pt x="3719692" y="1325946"/>
                  <a:pt x="3718626" y="1325662"/>
                  <a:pt x="3717345" y="1325519"/>
                </a:cubicBezTo>
                <a:cubicBezTo>
                  <a:pt x="3716278" y="1324097"/>
                  <a:pt x="3714357" y="1320113"/>
                  <a:pt x="3715424" y="1319117"/>
                </a:cubicBezTo>
                <a:cubicBezTo>
                  <a:pt x="3716705" y="1318121"/>
                  <a:pt x="3718199" y="1317552"/>
                  <a:pt x="3719479" y="1317268"/>
                </a:cubicBezTo>
                <a:close/>
                <a:moveTo>
                  <a:pt x="1386318" y="1316796"/>
                </a:moveTo>
                <a:cubicBezTo>
                  <a:pt x="1388900" y="1316951"/>
                  <a:pt x="1392204" y="1316951"/>
                  <a:pt x="1393753" y="1317880"/>
                </a:cubicBezTo>
                <a:cubicBezTo>
                  <a:pt x="1391997" y="1318655"/>
                  <a:pt x="1388487" y="1319274"/>
                  <a:pt x="1387041" y="1317725"/>
                </a:cubicBezTo>
                <a:cubicBezTo>
                  <a:pt x="1387041" y="1317725"/>
                  <a:pt x="1387041" y="1317725"/>
                  <a:pt x="1386318" y="1316796"/>
                </a:cubicBezTo>
                <a:close/>
                <a:moveTo>
                  <a:pt x="1542132" y="1315247"/>
                </a:moveTo>
                <a:cubicBezTo>
                  <a:pt x="1542855" y="1315247"/>
                  <a:pt x="1542751" y="1316176"/>
                  <a:pt x="1541822" y="1317105"/>
                </a:cubicBezTo>
                <a:cubicBezTo>
                  <a:pt x="1541822" y="1317105"/>
                  <a:pt x="1541099" y="1317105"/>
                  <a:pt x="1541099" y="1317105"/>
                </a:cubicBezTo>
                <a:cubicBezTo>
                  <a:pt x="1541202" y="1316176"/>
                  <a:pt x="1541306" y="1315247"/>
                  <a:pt x="1542132" y="1315247"/>
                </a:cubicBezTo>
                <a:close/>
                <a:moveTo>
                  <a:pt x="4757553" y="1314422"/>
                </a:moveTo>
                <a:cubicBezTo>
                  <a:pt x="4758620" y="1314422"/>
                  <a:pt x="4759474" y="1315133"/>
                  <a:pt x="4759901" y="1316130"/>
                </a:cubicBezTo>
                <a:cubicBezTo>
                  <a:pt x="4760967" y="1318121"/>
                  <a:pt x="4760754" y="1321536"/>
                  <a:pt x="4757766" y="1322389"/>
                </a:cubicBezTo>
                <a:cubicBezTo>
                  <a:pt x="4756699" y="1321109"/>
                  <a:pt x="4754779" y="1319686"/>
                  <a:pt x="4753925" y="1317268"/>
                </a:cubicBezTo>
                <a:cubicBezTo>
                  <a:pt x="4755206" y="1315276"/>
                  <a:pt x="4756486" y="1314422"/>
                  <a:pt x="4757553" y="1314422"/>
                </a:cubicBezTo>
                <a:close/>
                <a:moveTo>
                  <a:pt x="1262617" y="1314318"/>
                </a:moveTo>
                <a:cubicBezTo>
                  <a:pt x="1263650" y="1312614"/>
                  <a:pt x="1266025" y="1314937"/>
                  <a:pt x="1266954" y="1314937"/>
                </a:cubicBezTo>
                <a:cubicBezTo>
                  <a:pt x="1267780" y="1315712"/>
                  <a:pt x="1268606" y="1316641"/>
                  <a:pt x="1267677" y="1317415"/>
                </a:cubicBezTo>
                <a:cubicBezTo>
                  <a:pt x="1266748" y="1318345"/>
                  <a:pt x="1266748" y="1319119"/>
                  <a:pt x="1264992" y="1318345"/>
                </a:cubicBezTo>
                <a:cubicBezTo>
                  <a:pt x="1264166" y="1318500"/>
                  <a:pt x="1263340" y="1317570"/>
                  <a:pt x="1262514" y="1317725"/>
                </a:cubicBezTo>
                <a:cubicBezTo>
                  <a:pt x="1262514" y="1317725"/>
                  <a:pt x="1262307" y="1317105"/>
                  <a:pt x="1262204" y="1316331"/>
                </a:cubicBezTo>
                <a:cubicBezTo>
                  <a:pt x="1262101" y="1315557"/>
                  <a:pt x="1262204" y="1314782"/>
                  <a:pt x="1262617" y="1314318"/>
                </a:cubicBezTo>
                <a:close/>
                <a:moveTo>
                  <a:pt x="4617336" y="1313996"/>
                </a:moveTo>
                <a:cubicBezTo>
                  <a:pt x="4618617" y="1320255"/>
                  <a:pt x="4620324" y="1331352"/>
                  <a:pt x="4609440" y="1334055"/>
                </a:cubicBezTo>
                <a:cubicBezTo>
                  <a:pt x="4608586" y="1332633"/>
                  <a:pt x="4607519" y="1331352"/>
                  <a:pt x="4606665" y="1330072"/>
                </a:cubicBezTo>
                <a:cubicBezTo>
                  <a:pt x="4612214" y="1324524"/>
                  <a:pt x="4613068" y="1318548"/>
                  <a:pt x="4617336" y="1313996"/>
                </a:cubicBezTo>
                <a:close/>
                <a:moveTo>
                  <a:pt x="3407673" y="1313853"/>
                </a:moveTo>
                <a:cubicBezTo>
                  <a:pt x="3408527" y="1314138"/>
                  <a:pt x="3409167" y="1314707"/>
                  <a:pt x="3410021" y="1315560"/>
                </a:cubicBezTo>
                <a:cubicBezTo>
                  <a:pt x="3410021" y="1315560"/>
                  <a:pt x="3409807" y="1315560"/>
                  <a:pt x="3409807" y="1316699"/>
                </a:cubicBezTo>
                <a:cubicBezTo>
                  <a:pt x="3409594" y="1319117"/>
                  <a:pt x="3409381" y="1320397"/>
                  <a:pt x="3409381" y="1321536"/>
                </a:cubicBezTo>
                <a:cubicBezTo>
                  <a:pt x="3408100" y="1322674"/>
                  <a:pt x="3404472" y="1324950"/>
                  <a:pt x="3403405" y="1323812"/>
                </a:cubicBezTo>
                <a:cubicBezTo>
                  <a:pt x="3401271" y="1321394"/>
                  <a:pt x="3400417" y="1317837"/>
                  <a:pt x="3401697" y="1316699"/>
                </a:cubicBezTo>
                <a:cubicBezTo>
                  <a:pt x="3403618" y="1314849"/>
                  <a:pt x="3405538" y="1313141"/>
                  <a:pt x="3407673" y="1313853"/>
                </a:cubicBezTo>
                <a:close/>
                <a:moveTo>
                  <a:pt x="3568591" y="1313426"/>
                </a:moveTo>
                <a:cubicBezTo>
                  <a:pt x="3569018" y="1313284"/>
                  <a:pt x="3569445" y="1313426"/>
                  <a:pt x="3570726" y="1313568"/>
                </a:cubicBezTo>
                <a:cubicBezTo>
                  <a:pt x="3569445" y="1316983"/>
                  <a:pt x="3569445" y="1316983"/>
                  <a:pt x="3567098" y="1319117"/>
                </a:cubicBezTo>
                <a:cubicBezTo>
                  <a:pt x="3567098" y="1317979"/>
                  <a:pt x="3566030" y="1315276"/>
                  <a:pt x="3567311" y="1314280"/>
                </a:cubicBezTo>
                <a:cubicBezTo>
                  <a:pt x="3567738" y="1313711"/>
                  <a:pt x="3568165" y="1313426"/>
                  <a:pt x="3568591" y="1313426"/>
                </a:cubicBezTo>
                <a:close/>
                <a:moveTo>
                  <a:pt x="1367009" y="1312924"/>
                </a:moveTo>
                <a:cubicBezTo>
                  <a:pt x="1371243" y="1313853"/>
                  <a:pt x="1377335" y="1313233"/>
                  <a:pt x="1380433" y="1315867"/>
                </a:cubicBezTo>
                <a:cubicBezTo>
                  <a:pt x="1378780" y="1315712"/>
                  <a:pt x="1369384" y="1314627"/>
                  <a:pt x="1367009" y="1312924"/>
                </a:cubicBezTo>
                <a:close/>
                <a:moveTo>
                  <a:pt x="5001919" y="1312715"/>
                </a:moveTo>
                <a:cubicBezTo>
                  <a:pt x="5004479" y="1314422"/>
                  <a:pt x="5007041" y="1314849"/>
                  <a:pt x="5009602" y="1316556"/>
                </a:cubicBezTo>
                <a:cubicBezTo>
                  <a:pt x="5012162" y="1323243"/>
                  <a:pt x="5008748" y="1327511"/>
                  <a:pt x="5004479" y="1328649"/>
                </a:cubicBezTo>
                <a:cubicBezTo>
                  <a:pt x="5000211" y="1329787"/>
                  <a:pt x="4995089" y="1327511"/>
                  <a:pt x="4993808" y="1321251"/>
                </a:cubicBezTo>
                <a:cubicBezTo>
                  <a:pt x="4996583" y="1316699"/>
                  <a:pt x="4999784" y="1314565"/>
                  <a:pt x="5001919" y="1312715"/>
                </a:cubicBezTo>
                <a:close/>
                <a:moveTo>
                  <a:pt x="1055485" y="1312459"/>
                </a:moveTo>
                <a:cubicBezTo>
                  <a:pt x="1059926" y="1310600"/>
                  <a:pt x="1066431" y="1316951"/>
                  <a:pt x="1065398" y="1321133"/>
                </a:cubicBezTo>
                <a:cubicBezTo>
                  <a:pt x="1063642" y="1322992"/>
                  <a:pt x="1061784" y="1324696"/>
                  <a:pt x="1060029" y="1326400"/>
                </a:cubicBezTo>
                <a:cubicBezTo>
                  <a:pt x="1055589" y="1327638"/>
                  <a:pt x="1051871" y="1325315"/>
                  <a:pt x="1051045" y="1321753"/>
                </a:cubicBezTo>
                <a:cubicBezTo>
                  <a:pt x="1050839" y="1320513"/>
                  <a:pt x="1050839" y="1319274"/>
                  <a:pt x="1051252" y="1317880"/>
                </a:cubicBezTo>
                <a:cubicBezTo>
                  <a:pt x="1051871" y="1316022"/>
                  <a:pt x="1053214" y="1314163"/>
                  <a:pt x="1055485" y="1312459"/>
                </a:cubicBezTo>
                <a:close/>
                <a:moveTo>
                  <a:pt x="4365501" y="1312431"/>
                </a:moveTo>
                <a:cubicBezTo>
                  <a:pt x="4367421" y="1312431"/>
                  <a:pt x="4369129" y="1313000"/>
                  <a:pt x="4370196" y="1314565"/>
                </a:cubicBezTo>
                <a:cubicBezTo>
                  <a:pt x="4370836" y="1315703"/>
                  <a:pt x="4371050" y="1317125"/>
                  <a:pt x="4371050" y="1318975"/>
                </a:cubicBezTo>
                <a:cubicBezTo>
                  <a:pt x="4368489" y="1321394"/>
                  <a:pt x="4361019" y="1322105"/>
                  <a:pt x="4359098" y="1319544"/>
                </a:cubicBezTo>
                <a:cubicBezTo>
                  <a:pt x="4359312" y="1317837"/>
                  <a:pt x="4359525" y="1316130"/>
                  <a:pt x="4359738" y="1314422"/>
                </a:cubicBezTo>
                <a:cubicBezTo>
                  <a:pt x="4361659" y="1313284"/>
                  <a:pt x="4363793" y="1312573"/>
                  <a:pt x="4365501" y="1312431"/>
                </a:cubicBezTo>
                <a:close/>
                <a:moveTo>
                  <a:pt x="1692989" y="1312304"/>
                </a:moveTo>
                <a:cubicBezTo>
                  <a:pt x="1695571" y="1311994"/>
                  <a:pt x="1698771" y="1314627"/>
                  <a:pt x="1702386" y="1322992"/>
                </a:cubicBezTo>
                <a:cubicBezTo>
                  <a:pt x="1693402" y="1331976"/>
                  <a:pt x="1689066" y="1329652"/>
                  <a:pt x="1688033" y="1324850"/>
                </a:cubicBezTo>
                <a:cubicBezTo>
                  <a:pt x="1687827" y="1323611"/>
                  <a:pt x="1687723" y="1322217"/>
                  <a:pt x="1687827" y="1320823"/>
                </a:cubicBezTo>
                <a:cubicBezTo>
                  <a:pt x="1688239" y="1316796"/>
                  <a:pt x="1690098" y="1312614"/>
                  <a:pt x="1692989" y="1312304"/>
                </a:cubicBezTo>
                <a:close/>
                <a:moveTo>
                  <a:pt x="1365151" y="1311994"/>
                </a:moveTo>
                <a:cubicBezTo>
                  <a:pt x="1365977" y="1312769"/>
                  <a:pt x="1366080" y="1312769"/>
                  <a:pt x="1367009" y="1312769"/>
                </a:cubicBezTo>
                <a:cubicBezTo>
                  <a:pt x="1367009" y="1312769"/>
                  <a:pt x="1365977" y="1313543"/>
                  <a:pt x="1365977" y="1313543"/>
                </a:cubicBezTo>
                <a:cubicBezTo>
                  <a:pt x="1365564" y="1313233"/>
                  <a:pt x="1365254" y="1313079"/>
                  <a:pt x="1365151" y="1313079"/>
                </a:cubicBezTo>
                <a:cubicBezTo>
                  <a:pt x="1365047" y="1312924"/>
                  <a:pt x="1365047" y="1312769"/>
                  <a:pt x="1365151" y="1311994"/>
                </a:cubicBezTo>
                <a:close/>
                <a:moveTo>
                  <a:pt x="1145422" y="1311994"/>
                </a:moveTo>
                <a:cubicBezTo>
                  <a:pt x="1147796" y="1314782"/>
                  <a:pt x="1150171" y="1317570"/>
                  <a:pt x="1149965" y="1320049"/>
                </a:cubicBezTo>
                <a:lnTo>
                  <a:pt x="1148106" y="1320668"/>
                </a:lnTo>
                <a:lnTo>
                  <a:pt x="1148623" y="1321133"/>
                </a:lnTo>
                <a:cubicBezTo>
                  <a:pt x="1149655" y="1322372"/>
                  <a:pt x="1150171" y="1323611"/>
                  <a:pt x="1149759" y="1325160"/>
                </a:cubicBezTo>
                <a:cubicBezTo>
                  <a:pt x="1149138" y="1324541"/>
                  <a:pt x="1148106" y="1323611"/>
                  <a:pt x="1147177" y="1322527"/>
                </a:cubicBezTo>
                <a:lnTo>
                  <a:pt x="1146248" y="1321288"/>
                </a:lnTo>
                <a:lnTo>
                  <a:pt x="1143976" y="1322062"/>
                </a:lnTo>
                <a:cubicBezTo>
                  <a:pt x="1141911" y="1321907"/>
                  <a:pt x="1139846" y="1320823"/>
                  <a:pt x="1137781" y="1318964"/>
                </a:cubicBezTo>
                <a:cubicBezTo>
                  <a:pt x="1137264" y="1314782"/>
                  <a:pt x="1142737" y="1313079"/>
                  <a:pt x="1145422" y="1311994"/>
                </a:cubicBezTo>
                <a:close/>
                <a:moveTo>
                  <a:pt x="1360814" y="1311839"/>
                </a:moveTo>
                <a:cubicBezTo>
                  <a:pt x="1361743" y="1311839"/>
                  <a:pt x="1362672" y="1311994"/>
                  <a:pt x="1362569" y="1312769"/>
                </a:cubicBezTo>
                <a:cubicBezTo>
                  <a:pt x="1362466" y="1313543"/>
                  <a:pt x="1361537" y="1313388"/>
                  <a:pt x="1360711" y="1312614"/>
                </a:cubicBezTo>
                <a:cubicBezTo>
                  <a:pt x="1360711" y="1312614"/>
                  <a:pt x="1360814" y="1311839"/>
                  <a:pt x="1360814" y="1311839"/>
                </a:cubicBezTo>
                <a:close/>
                <a:moveTo>
                  <a:pt x="4938320" y="1311435"/>
                </a:moveTo>
                <a:cubicBezTo>
                  <a:pt x="4946856" y="1321963"/>
                  <a:pt x="4936185" y="1338181"/>
                  <a:pt x="4929356" y="1345010"/>
                </a:cubicBezTo>
                <a:cubicBezTo>
                  <a:pt x="4929569" y="1339462"/>
                  <a:pt x="4929782" y="1333913"/>
                  <a:pt x="4930850" y="1328365"/>
                </a:cubicBezTo>
                <a:cubicBezTo>
                  <a:pt x="4931917" y="1322816"/>
                  <a:pt x="4933838" y="1317125"/>
                  <a:pt x="4938320" y="1311435"/>
                </a:cubicBezTo>
                <a:close/>
                <a:moveTo>
                  <a:pt x="4861275" y="1311435"/>
                </a:moveTo>
                <a:cubicBezTo>
                  <a:pt x="4862342" y="1311719"/>
                  <a:pt x="4863623" y="1312715"/>
                  <a:pt x="4864690" y="1313853"/>
                </a:cubicBezTo>
                <a:cubicBezTo>
                  <a:pt x="4867251" y="1316414"/>
                  <a:pt x="4866184" y="1318690"/>
                  <a:pt x="4866184" y="1318690"/>
                </a:cubicBezTo>
                <a:cubicBezTo>
                  <a:pt x="4864049" y="1322105"/>
                  <a:pt x="4860635" y="1323243"/>
                  <a:pt x="4857006" y="1320682"/>
                </a:cubicBezTo>
                <a:cubicBezTo>
                  <a:pt x="4855726" y="1318263"/>
                  <a:pt x="4856580" y="1315845"/>
                  <a:pt x="4857647" y="1313568"/>
                </a:cubicBezTo>
                <a:cubicBezTo>
                  <a:pt x="4858928" y="1311861"/>
                  <a:pt x="4859994" y="1311293"/>
                  <a:pt x="4861275" y="1311435"/>
                </a:cubicBezTo>
                <a:close/>
                <a:moveTo>
                  <a:pt x="1542751" y="1310910"/>
                </a:moveTo>
                <a:cubicBezTo>
                  <a:pt x="1542751" y="1310910"/>
                  <a:pt x="1543474" y="1311994"/>
                  <a:pt x="1543474" y="1311994"/>
                </a:cubicBezTo>
                <a:cubicBezTo>
                  <a:pt x="1542545" y="1312769"/>
                  <a:pt x="1543371" y="1312924"/>
                  <a:pt x="1541719" y="1312769"/>
                </a:cubicBezTo>
                <a:cubicBezTo>
                  <a:pt x="1542648" y="1311994"/>
                  <a:pt x="1542648" y="1311839"/>
                  <a:pt x="1542751" y="1310910"/>
                </a:cubicBezTo>
                <a:close/>
                <a:moveTo>
                  <a:pt x="3667618" y="1310866"/>
                </a:moveTo>
                <a:cubicBezTo>
                  <a:pt x="3667618" y="1310866"/>
                  <a:pt x="3667618" y="1310866"/>
                  <a:pt x="3665271" y="1319544"/>
                </a:cubicBezTo>
                <a:cubicBezTo>
                  <a:pt x="3664417" y="1319260"/>
                  <a:pt x="3664204" y="1318690"/>
                  <a:pt x="3664417" y="1317979"/>
                </a:cubicBezTo>
                <a:cubicBezTo>
                  <a:pt x="3664417" y="1317268"/>
                  <a:pt x="3664844" y="1316414"/>
                  <a:pt x="3665271" y="1315703"/>
                </a:cubicBezTo>
                <a:cubicBezTo>
                  <a:pt x="3665911" y="1314138"/>
                  <a:pt x="3666764" y="1312431"/>
                  <a:pt x="3667618" y="1310866"/>
                </a:cubicBezTo>
                <a:close/>
                <a:moveTo>
                  <a:pt x="5184606" y="1310581"/>
                </a:moveTo>
                <a:cubicBezTo>
                  <a:pt x="5185033" y="1310581"/>
                  <a:pt x="5185460" y="1310866"/>
                  <a:pt x="5186100" y="1312004"/>
                </a:cubicBezTo>
                <a:cubicBezTo>
                  <a:pt x="5186953" y="1312573"/>
                  <a:pt x="5187380" y="1314280"/>
                  <a:pt x="5188234" y="1314849"/>
                </a:cubicBezTo>
                <a:cubicBezTo>
                  <a:pt x="5188234" y="1314849"/>
                  <a:pt x="5188021" y="1315845"/>
                  <a:pt x="5187594" y="1316841"/>
                </a:cubicBezTo>
                <a:cubicBezTo>
                  <a:pt x="5187167" y="1317837"/>
                  <a:pt x="5186313" y="1318833"/>
                  <a:pt x="5185673" y="1319117"/>
                </a:cubicBezTo>
                <a:cubicBezTo>
                  <a:pt x="5183325" y="1320540"/>
                  <a:pt x="5182472" y="1315560"/>
                  <a:pt x="5181618" y="1314991"/>
                </a:cubicBezTo>
                <a:cubicBezTo>
                  <a:pt x="5181405" y="1313284"/>
                  <a:pt x="5180978" y="1311719"/>
                  <a:pt x="5182685" y="1311293"/>
                </a:cubicBezTo>
                <a:cubicBezTo>
                  <a:pt x="5183539" y="1311008"/>
                  <a:pt x="5183965" y="1310581"/>
                  <a:pt x="5184606" y="1310581"/>
                </a:cubicBezTo>
                <a:close/>
                <a:moveTo>
                  <a:pt x="1651790" y="1310445"/>
                </a:moveTo>
                <a:cubicBezTo>
                  <a:pt x="1654578" y="1320978"/>
                  <a:pt x="1670789" y="1318809"/>
                  <a:pt x="1670170" y="1328878"/>
                </a:cubicBezTo>
                <a:cubicBezTo>
                  <a:pt x="1661909" y="1327019"/>
                  <a:pt x="1653236" y="1326709"/>
                  <a:pt x="1646731" y="1317415"/>
                </a:cubicBezTo>
                <a:cubicBezTo>
                  <a:pt x="1648176" y="1314937"/>
                  <a:pt x="1647453" y="1310600"/>
                  <a:pt x="1651790" y="1310445"/>
                </a:cubicBezTo>
                <a:close/>
                <a:moveTo>
                  <a:pt x="1356064" y="1309980"/>
                </a:moveTo>
                <a:cubicBezTo>
                  <a:pt x="1358542" y="1310910"/>
                  <a:pt x="1358542" y="1310910"/>
                  <a:pt x="1360091" y="1312614"/>
                </a:cubicBezTo>
                <a:cubicBezTo>
                  <a:pt x="1359162" y="1312614"/>
                  <a:pt x="1357406" y="1313388"/>
                  <a:pt x="1356580" y="1312459"/>
                </a:cubicBezTo>
                <a:cubicBezTo>
                  <a:pt x="1356167" y="1311994"/>
                  <a:pt x="1355961" y="1311839"/>
                  <a:pt x="1355858" y="1311529"/>
                </a:cubicBezTo>
                <a:cubicBezTo>
                  <a:pt x="1355858" y="1311220"/>
                  <a:pt x="1355961" y="1310755"/>
                  <a:pt x="1356064" y="1309980"/>
                </a:cubicBezTo>
                <a:close/>
                <a:moveTo>
                  <a:pt x="4067140" y="1309585"/>
                </a:moveTo>
                <a:cubicBezTo>
                  <a:pt x="4068634" y="1309159"/>
                  <a:pt x="4070555" y="1310297"/>
                  <a:pt x="4073329" y="1313141"/>
                </a:cubicBezTo>
                <a:lnTo>
                  <a:pt x="4070981" y="1316272"/>
                </a:lnTo>
                <a:lnTo>
                  <a:pt x="4073329" y="1316699"/>
                </a:lnTo>
                <a:cubicBezTo>
                  <a:pt x="4074397" y="1317410"/>
                  <a:pt x="4075250" y="1318548"/>
                  <a:pt x="4076104" y="1320540"/>
                </a:cubicBezTo>
                <a:cubicBezTo>
                  <a:pt x="4073329" y="1324524"/>
                  <a:pt x="4065219" y="1324239"/>
                  <a:pt x="4057963" y="1324666"/>
                </a:cubicBezTo>
                <a:cubicBezTo>
                  <a:pt x="4058390" y="1321251"/>
                  <a:pt x="4058390" y="1319544"/>
                  <a:pt x="4057963" y="1316983"/>
                </a:cubicBezTo>
                <a:lnTo>
                  <a:pt x="4065219" y="1316414"/>
                </a:lnTo>
                <a:lnTo>
                  <a:pt x="4065006" y="1312289"/>
                </a:lnTo>
                <a:cubicBezTo>
                  <a:pt x="4065219" y="1311150"/>
                  <a:pt x="4066073" y="1310297"/>
                  <a:pt x="4067140" y="1309585"/>
                </a:cubicBezTo>
                <a:close/>
                <a:moveTo>
                  <a:pt x="1566500" y="1309206"/>
                </a:moveTo>
                <a:cubicBezTo>
                  <a:pt x="1572799" y="1308896"/>
                  <a:pt x="1579924" y="1319584"/>
                  <a:pt x="1578994" y="1323147"/>
                </a:cubicBezTo>
                <a:cubicBezTo>
                  <a:pt x="1575380" y="1322682"/>
                  <a:pt x="1574348" y="1319429"/>
                  <a:pt x="1570321" y="1318190"/>
                </a:cubicBezTo>
                <a:cubicBezTo>
                  <a:pt x="1570424" y="1315247"/>
                  <a:pt x="1565984" y="1313388"/>
                  <a:pt x="1566500" y="1309206"/>
                </a:cubicBezTo>
                <a:close/>
                <a:moveTo>
                  <a:pt x="1120537" y="1309051"/>
                </a:moveTo>
                <a:cubicBezTo>
                  <a:pt x="1122705" y="1307347"/>
                  <a:pt x="1129107" y="1308276"/>
                  <a:pt x="1131069" y="1311220"/>
                </a:cubicBezTo>
                <a:cubicBezTo>
                  <a:pt x="1131689" y="1312149"/>
                  <a:pt x="1131792" y="1313388"/>
                  <a:pt x="1131069" y="1314782"/>
                </a:cubicBezTo>
                <a:cubicBezTo>
                  <a:pt x="1128694" y="1318655"/>
                  <a:pt x="1124667" y="1316951"/>
                  <a:pt x="1120330" y="1314318"/>
                </a:cubicBezTo>
                <a:cubicBezTo>
                  <a:pt x="1120640" y="1312459"/>
                  <a:pt x="1120227" y="1310755"/>
                  <a:pt x="1120537" y="1309051"/>
                </a:cubicBezTo>
                <a:close/>
                <a:moveTo>
                  <a:pt x="5949929" y="1309016"/>
                </a:moveTo>
                <a:cubicBezTo>
                  <a:pt x="5949929" y="1310154"/>
                  <a:pt x="5949716" y="1311435"/>
                  <a:pt x="5950996" y="1311435"/>
                </a:cubicBezTo>
                <a:cubicBezTo>
                  <a:pt x="5948435" y="1313711"/>
                  <a:pt x="5947155" y="1313711"/>
                  <a:pt x="5945874" y="1314849"/>
                </a:cubicBezTo>
                <a:cubicBezTo>
                  <a:pt x="5947155" y="1314849"/>
                  <a:pt x="5945661" y="1316130"/>
                  <a:pt x="5945661" y="1316130"/>
                </a:cubicBezTo>
                <a:cubicBezTo>
                  <a:pt x="5945661" y="1316130"/>
                  <a:pt x="5945874" y="1316130"/>
                  <a:pt x="5947795" y="1318548"/>
                </a:cubicBezTo>
                <a:cubicBezTo>
                  <a:pt x="5947795" y="1318548"/>
                  <a:pt x="5951850" y="1324524"/>
                  <a:pt x="5946728" y="1330499"/>
                </a:cubicBezTo>
                <a:cubicBezTo>
                  <a:pt x="5945661" y="1329218"/>
                  <a:pt x="5937978" y="1336332"/>
                  <a:pt x="5933496" y="1333771"/>
                </a:cubicBezTo>
                <a:cubicBezTo>
                  <a:pt x="5931361" y="1332633"/>
                  <a:pt x="5930295" y="1331352"/>
                  <a:pt x="5928160" y="1330214"/>
                </a:cubicBezTo>
                <a:cubicBezTo>
                  <a:pt x="5928587" y="1326657"/>
                  <a:pt x="5925386" y="1322958"/>
                  <a:pt x="5930721" y="1315845"/>
                </a:cubicBezTo>
                <a:cubicBezTo>
                  <a:pt x="5937337" y="1308732"/>
                  <a:pt x="5943527" y="1314849"/>
                  <a:pt x="5943740" y="1313568"/>
                </a:cubicBezTo>
                <a:cubicBezTo>
                  <a:pt x="5945020" y="1312431"/>
                  <a:pt x="5945020" y="1312573"/>
                  <a:pt x="5945020" y="1311293"/>
                </a:cubicBezTo>
                <a:cubicBezTo>
                  <a:pt x="5946301" y="1311293"/>
                  <a:pt x="5948649" y="1310154"/>
                  <a:pt x="5949929" y="1309016"/>
                </a:cubicBezTo>
                <a:close/>
                <a:moveTo>
                  <a:pt x="3515023" y="1308874"/>
                </a:moveTo>
                <a:cubicBezTo>
                  <a:pt x="3516091" y="1309016"/>
                  <a:pt x="3517157" y="1309585"/>
                  <a:pt x="3517798" y="1309870"/>
                </a:cubicBezTo>
                <a:cubicBezTo>
                  <a:pt x="3514596" y="1311150"/>
                  <a:pt x="3513956" y="1312715"/>
                  <a:pt x="3513529" y="1311577"/>
                </a:cubicBezTo>
                <a:cubicBezTo>
                  <a:pt x="3512462" y="1312004"/>
                  <a:pt x="3512248" y="1310866"/>
                  <a:pt x="3513316" y="1310439"/>
                </a:cubicBezTo>
                <a:cubicBezTo>
                  <a:pt x="3513529" y="1309159"/>
                  <a:pt x="3514169" y="1308874"/>
                  <a:pt x="3515023" y="1308874"/>
                </a:cubicBezTo>
                <a:close/>
                <a:moveTo>
                  <a:pt x="1333438" y="1308780"/>
                </a:moveTo>
                <a:cubicBezTo>
                  <a:pt x="1335542" y="1309361"/>
                  <a:pt x="1337478" y="1311374"/>
                  <a:pt x="1339130" y="1315557"/>
                </a:cubicBezTo>
                <a:lnTo>
                  <a:pt x="1334277" y="1316641"/>
                </a:lnTo>
                <a:lnTo>
                  <a:pt x="1335206" y="1317880"/>
                </a:lnTo>
                <a:cubicBezTo>
                  <a:pt x="1335929" y="1318345"/>
                  <a:pt x="1333864" y="1320049"/>
                  <a:pt x="1333864" y="1320049"/>
                </a:cubicBezTo>
                <a:cubicBezTo>
                  <a:pt x="1333244" y="1320049"/>
                  <a:pt x="1332522" y="1319429"/>
                  <a:pt x="1331902" y="1318655"/>
                </a:cubicBezTo>
                <a:lnTo>
                  <a:pt x="1331076" y="1317570"/>
                </a:lnTo>
                <a:lnTo>
                  <a:pt x="1324984" y="1320513"/>
                </a:lnTo>
                <a:cubicBezTo>
                  <a:pt x="1320647" y="1322837"/>
                  <a:pt x="1316517" y="1324541"/>
                  <a:pt x="1312697" y="1322837"/>
                </a:cubicBezTo>
                <a:cubicBezTo>
                  <a:pt x="1314968" y="1321443"/>
                  <a:pt x="1317343" y="1319119"/>
                  <a:pt x="1319718" y="1316796"/>
                </a:cubicBezTo>
                <a:lnTo>
                  <a:pt x="1324468" y="1312614"/>
                </a:lnTo>
                <a:lnTo>
                  <a:pt x="1324158" y="1312614"/>
                </a:lnTo>
                <a:cubicBezTo>
                  <a:pt x="1323641" y="1312149"/>
                  <a:pt x="1323435" y="1311375"/>
                  <a:pt x="1323022" y="1310136"/>
                </a:cubicBezTo>
                <a:cubicBezTo>
                  <a:pt x="1323848" y="1309825"/>
                  <a:pt x="1324571" y="1309516"/>
                  <a:pt x="1325191" y="1309670"/>
                </a:cubicBezTo>
                <a:lnTo>
                  <a:pt x="1326430" y="1310910"/>
                </a:lnTo>
                <a:lnTo>
                  <a:pt x="1326739" y="1310600"/>
                </a:lnTo>
                <a:cubicBezTo>
                  <a:pt x="1329063" y="1309051"/>
                  <a:pt x="1331334" y="1308199"/>
                  <a:pt x="1333438" y="1308780"/>
                </a:cubicBezTo>
                <a:close/>
                <a:moveTo>
                  <a:pt x="3909209" y="1308589"/>
                </a:moveTo>
                <a:cubicBezTo>
                  <a:pt x="3910277" y="1308732"/>
                  <a:pt x="3911344" y="1309016"/>
                  <a:pt x="3912197" y="1309870"/>
                </a:cubicBezTo>
                <a:cubicBezTo>
                  <a:pt x="3906435" y="1316699"/>
                  <a:pt x="3894910" y="1337612"/>
                  <a:pt x="3885093" y="1329503"/>
                </a:cubicBezTo>
                <a:cubicBezTo>
                  <a:pt x="3889788" y="1324524"/>
                  <a:pt x="3901740" y="1308163"/>
                  <a:pt x="3909209" y="1308589"/>
                </a:cubicBezTo>
                <a:close/>
                <a:moveTo>
                  <a:pt x="1502069" y="1307792"/>
                </a:moveTo>
                <a:cubicBezTo>
                  <a:pt x="1503617" y="1308664"/>
                  <a:pt x="1504805" y="1310522"/>
                  <a:pt x="1504753" y="1311839"/>
                </a:cubicBezTo>
                <a:cubicBezTo>
                  <a:pt x="1501965" y="1316176"/>
                  <a:pt x="1497112" y="1312149"/>
                  <a:pt x="1497215" y="1309670"/>
                </a:cubicBezTo>
                <a:cubicBezTo>
                  <a:pt x="1498609" y="1307037"/>
                  <a:pt x="1500520" y="1306921"/>
                  <a:pt x="1502069" y="1307792"/>
                </a:cubicBezTo>
                <a:close/>
                <a:moveTo>
                  <a:pt x="4126684" y="1306740"/>
                </a:moveTo>
                <a:lnTo>
                  <a:pt x="4126897" y="1307024"/>
                </a:lnTo>
                <a:lnTo>
                  <a:pt x="4127751" y="1306740"/>
                </a:lnTo>
                <a:close/>
                <a:moveTo>
                  <a:pt x="1751639" y="1306728"/>
                </a:moveTo>
                <a:cubicBezTo>
                  <a:pt x="1753188" y="1311839"/>
                  <a:pt x="1755046" y="1318500"/>
                  <a:pt x="1757731" y="1320049"/>
                </a:cubicBezTo>
                <a:lnTo>
                  <a:pt x="1759796" y="1319894"/>
                </a:lnTo>
                <a:lnTo>
                  <a:pt x="1759176" y="1318500"/>
                </a:lnTo>
                <a:cubicBezTo>
                  <a:pt x="1762377" y="1316641"/>
                  <a:pt x="1764959" y="1320358"/>
                  <a:pt x="1763926" y="1322372"/>
                </a:cubicBezTo>
                <a:cubicBezTo>
                  <a:pt x="1763616" y="1322992"/>
                  <a:pt x="1762791" y="1323457"/>
                  <a:pt x="1761551" y="1323457"/>
                </a:cubicBezTo>
                <a:lnTo>
                  <a:pt x="1760312" y="1320668"/>
                </a:lnTo>
                <a:lnTo>
                  <a:pt x="1759486" y="1322372"/>
                </a:lnTo>
                <a:cubicBezTo>
                  <a:pt x="1758763" y="1322837"/>
                  <a:pt x="1758040" y="1323457"/>
                  <a:pt x="1758660" y="1324850"/>
                </a:cubicBezTo>
                <a:cubicBezTo>
                  <a:pt x="1761035" y="1329188"/>
                  <a:pt x="1764339" y="1332131"/>
                  <a:pt x="1767437" y="1338946"/>
                </a:cubicBezTo>
                <a:lnTo>
                  <a:pt x="1767747" y="1339565"/>
                </a:lnTo>
                <a:lnTo>
                  <a:pt x="1769915" y="1338017"/>
                </a:lnTo>
                <a:lnTo>
                  <a:pt x="1770741" y="1338017"/>
                </a:lnTo>
                <a:lnTo>
                  <a:pt x="1769915" y="1334609"/>
                </a:lnTo>
                <a:cubicBezTo>
                  <a:pt x="1768263" y="1328878"/>
                  <a:pt x="1767230" y="1323766"/>
                  <a:pt x="1765062" y="1319119"/>
                </a:cubicBezTo>
                <a:cubicBezTo>
                  <a:pt x="1767230" y="1320358"/>
                  <a:pt x="1768263" y="1319739"/>
                  <a:pt x="1768263" y="1316951"/>
                </a:cubicBezTo>
                <a:cubicBezTo>
                  <a:pt x="1765578" y="1317415"/>
                  <a:pt x="1762377" y="1309980"/>
                  <a:pt x="1760725" y="1314627"/>
                </a:cubicBezTo>
                <a:cubicBezTo>
                  <a:pt x="1759176" y="1312924"/>
                  <a:pt x="1757525" y="1308432"/>
                  <a:pt x="1758040" y="1306728"/>
                </a:cubicBezTo>
                <a:cubicBezTo>
                  <a:pt x="1757008" y="1305489"/>
                  <a:pt x="1755356" y="1306108"/>
                  <a:pt x="1751639" y="1306728"/>
                </a:cubicBezTo>
                <a:close/>
                <a:moveTo>
                  <a:pt x="4142904" y="1306455"/>
                </a:moveTo>
                <a:lnTo>
                  <a:pt x="4146746" y="1309159"/>
                </a:lnTo>
                <a:lnTo>
                  <a:pt x="4148026" y="1309159"/>
                </a:lnTo>
                <a:cubicBezTo>
                  <a:pt x="4149093" y="1309585"/>
                  <a:pt x="4149947" y="1310439"/>
                  <a:pt x="4150374" y="1312004"/>
                </a:cubicBezTo>
                <a:lnTo>
                  <a:pt x="4150587" y="1313568"/>
                </a:lnTo>
                <a:lnTo>
                  <a:pt x="4152935" y="1317837"/>
                </a:lnTo>
                <a:lnTo>
                  <a:pt x="4150801" y="1317837"/>
                </a:lnTo>
                <a:lnTo>
                  <a:pt x="4148666" y="1321678"/>
                </a:lnTo>
                <a:cubicBezTo>
                  <a:pt x="4148666" y="1324381"/>
                  <a:pt x="4150160" y="1326657"/>
                  <a:pt x="4148239" y="1328080"/>
                </a:cubicBezTo>
                <a:cubicBezTo>
                  <a:pt x="4147599" y="1323812"/>
                  <a:pt x="4146959" y="1322247"/>
                  <a:pt x="4146959" y="1319544"/>
                </a:cubicBezTo>
                <a:lnTo>
                  <a:pt x="4145892" y="1318263"/>
                </a:lnTo>
                <a:lnTo>
                  <a:pt x="4145678" y="1318263"/>
                </a:lnTo>
                <a:lnTo>
                  <a:pt x="4145251" y="1317695"/>
                </a:lnTo>
                <a:lnTo>
                  <a:pt x="4144398" y="1316699"/>
                </a:lnTo>
                <a:lnTo>
                  <a:pt x="4144398" y="1316130"/>
                </a:lnTo>
                <a:lnTo>
                  <a:pt x="4142477" y="1313568"/>
                </a:lnTo>
                <a:cubicBezTo>
                  <a:pt x="4140556" y="1311577"/>
                  <a:pt x="4138422" y="1309443"/>
                  <a:pt x="4138422" y="1309443"/>
                </a:cubicBezTo>
                <a:cubicBezTo>
                  <a:pt x="4138849" y="1306171"/>
                  <a:pt x="4138849" y="1306171"/>
                  <a:pt x="4142904" y="1306455"/>
                </a:cubicBezTo>
                <a:close/>
                <a:moveTo>
                  <a:pt x="3736980" y="1306029"/>
                </a:moveTo>
                <a:cubicBezTo>
                  <a:pt x="3738687" y="1305602"/>
                  <a:pt x="3740608" y="1305886"/>
                  <a:pt x="3742529" y="1306313"/>
                </a:cubicBezTo>
                <a:cubicBezTo>
                  <a:pt x="3741248" y="1306455"/>
                  <a:pt x="3741461" y="1306313"/>
                  <a:pt x="3741461" y="1306313"/>
                </a:cubicBezTo>
                <a:cubicBezTo>
                  <a:pt x="3740394" y="1307594"/>
                  <a:pt x="3741461" y="1307594"/>
                  <a:pt x="3741675" y="1308874"/>
                </a:cubicBezTo>
                <a:cubicBezTo>
                  <a:pt x="3741675" y="1308874"/>
                  <a:pt x="3741461" y="1307594"/>
                  <a:pt x="3742956" y="1308732"/>
                </a:cubicBezTo>
                <a:cubicBezTo>
                  <a:pt x="3741675" y="1308874"/>
                  <a:pt x="3741889" y="1310012"/>
                  <a:pt x="3741889" y="1311293"/>
                </a:cubicBezTo>
                <a:cubicBezTo>
                  <a:pt x="3739968" y="1313853"/>
                  <a:pt x="3736980" y="1316414"/>
                  <a:pt x="3734418" y="1315276"/>
                </a:cubicBezTo>
                <a:cubicBezTo>
                  <a:pt x="3731858" y="1313000"/>
                  <a:pt x="3732498" y="1310581"/>
                  <a:pt x="3733565" y="1309301"/>
                </a:cubicBezTo>
                <a:cubicBezTo>
                  <a:pt x="3733778" y="1307451"/>
                  <a:pt x="3735272" y="1306455"/>
                  <a:pt x="3736980" y="1306029"/>
                </a:cubicBezTo>
                <a:close/>
                <a:moveTo>
                  <a:pt x="1382498" y="1304714"/>
                </a:moveTo>
                <a:cubicBezTo>
                  <a:pt x="1383737" y="1305024"/>
                  <a:pt x="1384666" y="1306263"/>
                  <a:pt x="1385286" y="1308896"/>
                </a:cubicBezTo>
                <a:cubicBezTo>
                  <a:pt x="1384150" y="1310445"/>
                  <a:pt x="1380639" y="1309980"/>
                  <a:pt x="1378677" y="1310290"/>
                </a:cubicBezTo>
                <a:cubicBezTo>
                  <a:pt x="1378987" y="1309051"/>
                  <a:pt x="1379297" y="1307967"/>
                  <a:pt x="1378574" y="1308432"/>
                </a:cubicBezTo>
                <a:cubicBezTo>
                  <a:pt x="1378884" y="1307192"/>
                  <a:pt x="1379297" y="1306418"/>
                  <a:pt x="1380020" y="1305798"/>
                </a:cubicBezTo>
                <a:cubicBezTo>
                  <a:pt x="1380742" y="1305179"/>
                  <a:pt x="1381568" y="1304869"/>
                  <a:pt x="1382498" y="1304714"/>
                </a:cubicBezTo>
                <a:close/>
                <a:moveTo>
                  <a:pt x="1271394" y="1303165"/>
                </a:moveTo>
                <a:cubicBezTo>
                  <a:pt x="1273253" y="1304559"/>
                  <a:pt x="1271600" y="1307347"/>
                  <a:pt x="1270671" y="1307502"/>
                </a:cubicBezTo>
                <a:cubicBezTo>
                  <a:pt x="1269742" y="1306728"/>
                  <a:pt x="1269742" y="1305179"/>
                  <a:pt x="1268813" y="1304404"/>
                </a:cubicBezTo>
                <a:cubicBezTo>
                  <a:pt x="1269639" y="1304249"/>
                  <a:pt x="1270465" y="1303320"/>
                  <a:pt x="1271394" y="1303165"/>
                </a:cubicBezTo>
                <a:close/>
                <a:moveTo>
                  <a:pt x="1255183" y="1301926"/>
                </a:moveTo>
                <a:cubicBezTo>
                  <a:pt x="1258487" y="1301461"/>
                  <a:pt x="1259933" y="1301926"/>
                  <a:pt x="1260346" y="1302855"/>
                </a:cubicBezTo>
                <a:cubicBezTo>
                  <a:pt x="1261585" y="1305179"/>
                  <a:pt x="1253324" y="1310290"/>
                  <a:pt x="1255183" y="1301926"/>
                </a:cubicBezTo>
                <a:close/>
                <a:moveTo>
                  <a:pt x="3878477" y="1301191"/>
                </a:moveTo>
                <a:cubicBezTo>
                  <a:pt x="3879971" y="1301760"/>
                  <a:pt x="3881251" y="1303325"/>
                  <a:pt x="3882105" y="1305032"/>
                </a:cubicBezTo>
                <a:cubicBezTo>
                  <a:pt x="3882532" y="1306171"/>
                  <a:pt x="3882959" y="1307451"/>
                  <a:pt x="3882745" y="1308304"/>
                </a:cubicBezTo>
                <a:cubicBezTo>
                  <a:pt x="3878477" y="1313996"/>
                  <a:pt x="3872715" y="1307451"/>
                  <a:pt x="3873355" y="1303894"/>
                </a:cubicBezTo>
                <a:cubicBezTo>
                  <a:pt x="3875062" y="1301191"/>
                  <a:pt x="3876769" y="1300623"/>
                  <a:pt x="3878477" y="1301191"/>
                </a:cubicBezTo>
                <a:close/>
                <a:moveTo>
                  <a:pt x="3680210" y="1301049"/>
                </a:moveTo>
                <a:cubicBezTo>
                  <a:pt x="3681064" y="1300765"/>
                  <a:pt x="3681704" y="1300765"/>
                  <a:pt x="3682344" y="1301334"/>
                </a:cubicBezTo>
                <a:cubicBezTo>
                  <a:pt x="3680424" y="1303894"/>
                  <a:pt x="3678930" y="1308874"/>
                  <a:pt x="3674234" y="1307878"/>
                </a:cubicBezTo>
                <a:cubicBezTo>
                  <a:pt x="3675515" y="1306029"/>
                  <a:pt x="3678076" y="1302045"/>
                  <a:pt x="3680210" y="1301049"/>
                </a:cubicBezTo>
                <a:close/>
                <a:moveTo>
                  <a:pt x="3988388" y="1299627"/>
                </a:moveTo>
                <a:cubicBezTo>
                  <a:pt x="3993084" y="1300053"/>
                  <a:pt x="3995431" y="1302899"/>
                  <a:pt x="3996925" y="1306740"/>
                </a:cubicBezTo>
                <a:lnTo>
                  <a:pt x="3999486" y="1316272"/>
                </a:lnTo>
                <a:lnTo>
                  <a:pt x="4001193" y="1317695"/>
                </a:lnTo>
                <a:lnTo>
                  <a:pt x="4005462" y="1314138"/>
                </a:lnTo>
                <a:cubicBezTo>
                  <a:pt x="4010797" y="1309301"/>
                  <a:pt x="4016773" y="1304748"/>
                  <a:pt x="4021041" y="1309727"/>
                </a:cubicBezTo>
                <a:cubicBezTo>
                  <a:pt x="4020828" y="1314565"/>
                  <a:pt x="4017627" y="1317695"/>
                  <a:pt x="4013785" y="1320540"/>
                </a:cubicBezTo>
                <a:lnTo>
                  <a:pt x="4008236" y="1324950"/>
                </a:lnTo>
                <a:lnTo>
                  <a:pt x="4010371" y="1328080"/>
                </a:lnTo>
                <a:cubicBezTo>
                  <a:pt x="4011438" y="1330499"/>
                  <a:pt x="4011651" y="1333060"/>
                  <a:pt x="4010797" y="1335336"/>
                </a:cubicBezTo>
                <a:cubicBezTo>
                  <a:pt x="4008236" y="1332917"/>
                  <a:pt x="4005675" y="1331068"/>
                  <a:pt x="4002901" y="1329361"/>
                </a:cubicBezTo>
                <a:lnTo>
                  <a:pt x="4002687" y="1329076"/>
                </a:lnTo>
                <a:lnTo>
                  <a:pt x="4001833" y="1329787"/>
                </a:lnTo>
                <a:cubicBezTo>
                  <a:pt x="4000340" y="1333344"/>
                  <a:pt x="4002047" y="1336474"/>
                  <a:pt x="3999913" y="1340030"/>
                </a:cubicBezTo>
                <a:lnTo>
                  <a:pt x="3998419" y="1341596"/>
                </a:lnTo>
                <a:lnTo>
                  <a:pt x="3998632" y="1347429"/>
                </a:lnTo>
                <a:cubicBezTo>
                  <a:pt x="3996285" y="1348567"/>
                  <a:pt x="3992657" y="1344726"/>
                  <a:pt x="3990309" y="1343445"/>
                </a:cubicBezTo>
                <a:cubicBezTo>
                  <a:pt x="3991376" y="1342307"/>
                  <a:pt x="3992657" y="1341169"/>
                  <a:pt x="3991376" y="1341169"/>
                </a:cubicBezTo>
                <a:lnTo>
                  <a:pt x="3994150" y="1339746"/>
                </a:lnTo>
                <a:lnTo>
                  <a:pt x="3992870" y="1337043"/>
                </a:lnTo>
                <a:lnTo>
                  <a:pt x="3991589" y="1338466"/>
                </a:lnTo>
                <a:cubicBezTo>
                  <a:pt x="3988815" y="1340884"/>
                  <a:pt x="3985400" y="1342876"/>
                  <a:pt x="3981986" y="1344726"/>
                </a:cubicBezTo>
                <a:lnTo>
                  <a:pt x="3975796" y="1347571"/>
                </a:lnTo>
                <a:lnTo>
                  <a:pt x="3978571" y="1348851"/>
                </a:lnTo>
                <a:cubicBezTo>
                  <a:pt x="3983266" y="1352408"/>
                  <a:pt x="3983266" y="1356534"/>
                  <a:pt x="3984546" y="1356818"/>
                </a:cubicBezTo>
                <a:cubicBezTo>
                  <a:pt x="3982839" y="1361798"/>
                  <a:pt x="3979851" y="1360944"/>
                  <a:pt x="3974730" y="1361513"/>
                </a:cubicBezTo>
                <a:cubicBezTo>
                  <a:pt x="3975156" y="1359806"/>
                  <a:pt x="3970461" y="1358668"/>
                  <a:pt x="3968754" y="1358383"/>
                </a:cubicBezTo>
                <a:cubicBezTo>
                  <a:pt x="3969394" y="1356676"/>
                  <a:pt x="3968327" y="1355253"/>
                  <a:pt x="3967260" y="1353688"/>
                </a:cubicBezTo>
                <a:lnTo>
                  <a:pt x="3966406" y="1351555"/>
                </a:lnTo>
                <a:lnTo>
                  <a:pt x="3948052" y="1358952"/>
                </a:lnTo>
                <a:cubicBezTo>
                  <a:pt x="3947625" y="1354684"/>
                  <a:pt x="3944637" y="1352835"/>
                  <a:pt x="3945491" y="1346148"/>
                </a:cubicBezTo>
                <a:cubicBezTo>
                  <a:pt x="3955735" y="1343445"/>
                  <a:pt x="3965552" y="1339604"/>
                  <a:pt x="3974730" y="1335905"/>
                </a:cubicBezTo>
                <a:lnTo>
                  <a:pt x="3989882" y="1330926"/>
                </a:lnTo>
                <a:lnTo>
                  <a:pt x="3987961" y="1326799"/>
                </a:lnTo>
                <a:lnTo>
                  <a:pt x="3987108" y="1318833"/>
                </a:lnTo>
                <a:lnTo>
                  <a:pt x="3979851" y="1311293"/>
                </a:lnTo>
                <a:lnTo>
                  <a:pt x="3986467" y="1311293"/>
                </a:lnTo>
                <a:lnTo>
                  <a:pt x="3986254" y="1310297"/>
                </a:lnTo>
                <a:cubicBezTo>
                  <a:pt x="3986467" y="1306597"/>
                  <a:pt x="3987321" y="1303183"/>
                  <a:pt x="3988388" y="1299627"/>
                </a:cubicBezTo>
                <a:close/>
                <a:moveTo>
                  <a:pt x="1675849" y="1298518"/>
                </a:moveTo>
                <a:cubicBezTo>
                  <a:pt x="1676571" y="1298673"/>
                  <a:pt x="1677398" y="1299137"/>
                  <a:pt x="1677810" y="1300222"/>
                </a:cubicBezTo>
                <a:cubicBezTo>
                  <a:pt x="1676571" y="1301771"/>
                  <a:pt x="1675436" y="1302546"/>
                  <a:pt x="1673370" y="1303939"/>
                </a:cubicBezTo>
                <a:cubicBezTo>
                  <a:pt x="1672648" y="1303320"/>
                  <a:pt x="1672338" y="1302700"/>
                  <a:pt x="1672338" y="1302081"/>
                </a:cubicBezTo>
                <a:cubicBezTo>
                  <a:pt x="1672028" y="1300222"/>
                  <a:pt x="1674093" y="1298363"/>
                  <a:pt x="1675849" y="1298518"/>
                </a:cubicBezTo>
                <a:close/>
                <a:moveTo>
                  <a:pt x="1449304" y="1298518"/>
                </a:moveTo>
                <a:cubicBezTo>
                  <a:pt x="1459527" y="1301461"/>
                  <a:pt x="1469130" y="1300996"/>
                  <a:pt x="1479352" y="1303939"/>
                </a:cubicBezTo>
                <a:cubicBezTo>
                  <a:pt x="1479869" y="1306572"/>
                  <a:pt x="1481211" y="1309206"/>
                  <a:pt x="1482863" y="1311684"/>
                </a:cubicBezTo>
                <a:lnTo>
                  <a:pt x="1485238" y="1314937"/>
                </a:lnTo>
                <a:lnTo>
                  <a:pt x="1497422" y="1316951"/>
                </a:lnTo>
                <a:cubicBezTo>
                  <a:pt x="1500829" y="1318190"/>
                  <a:pt x="1503514" y="1319894"/>
                  <a:pt x="1505786" y="1321753"/>
                </a:cubicBezTo>
                <a:lnTo>
                  <a:pt x="1508883" y="1325470"/>
                </a:lnTo>
                <a:lnTo>
                  <a:pt x="1512084" y="1321133"/>
                </a:lnTo>
                <a:cubicBezTo>
                  <a:pt x="1516524" y="1315247"/>
                  <a:pt x="1522823" y="1307192"/>
                  <a:pt x="1527160" y="1310136"/>
                </a:cubicBezTo>
                <a:cubicBezTo>
                  <a:pt x="1523959" y="1314627"/>
                  <a:pt x="1518383" y="1327019"/>
                  <a:pt x="1511465" y="1326864"/>
                </a:cubicBezTo>
                <a:lnTo>
                  <a:pt x="1509813" y="1326400"/>
                </a:lnTo>
                <a:lnTo>
                  <a:pt x="1511362" y="1328258"/>
                </a:lnTo>
                <a:cubicBezTo>
                  <a:pt x="1514666" y="1332905"/>
                  <a:pt x="1517350" y="1338326"/>
                  <a:pt x="1521997" y="1343593"/>
                </a:cubicBezTo>
                <a:lnTo>
                  <a:pt x="1520861" y="1345607"/>
                </a:lnTo>
                <a:lnTo>
                  <a:pt x="1521481" y="1344987"/>
                </a:lnTo>
                <a:cubicBezTo>
                  <a:pt x="1522410" y="1343903"/>
                  <a:pt x="1523236" y="1343128"/>
                  <a:pt x="1523856" y="1342664"/>
                </a:cubicBezTo>
                <a:cubicBezTo>
                  <a:pt x="1522410" y="1344522"/>
                  <a:pt x="1521171" y="1346691"/>
                  <a:pt x="1519726" y="1348859"/>
                </a:cubicBezTo>
                <a:lnTo>
                  <a:pt x="1518899" y="1349634"/>
                </a:lnTo>
                <a:lnTo>
                  <a:pt x="1518590" y="1354126"/>
                </a:lnTo>
                <a:cubicBezTo>
                  <a:pt x="1518899" y="1357224"/>
                  <a:pt x="1520138" y="1360012"/>
                  <a:pt x="1520655" y="1362955"/>
                </a:cubicBezTo>
                <a:cubicBezTo>
                  <a:pt x="1513633" y="1366053"/>
                  <a:pt x="1509193" y="1374727"/>
                  <a:pt x="1502895" y="1380303"/>
                </a:cubicBezTo>
                <a:cubicBezTo>
                  <a:pt x="1491846" y="1378909"/>
                  <a:pt x="1482656" y="1380613"/>
                  <a:pt x="1471711" y="1379374"/>
                </a:cubicBezTo>
                <a:cubicBezTo>
                  <a:pt x="1468820" y="1374107"/>
                  <a:pt x="1463038" y="1370080"/>
                  <a:pt x="1457875" y="1365588"/>
                </a:cubicBezTo>
                <a:lnTo>
                  <a:pt x="1456636" y="1364349"/>
                </a:lnTo>
                <a:lnTo>
                  <a:pt x="1445071" y="1364969"/>
                </a:lnTo>
                <a:lnTo>
                  <a:pt x="1435778" y="1361871"/>
                </a:lnTo>
                <a:lnTo>
                  <a:pt x="1433919" y="1366982"/>
                </a:lnTo>
                <a:lnTo>
                  <a:pt x="1433197" y="1368841"/>
                </a:lnTo>
                <a:lnTo>
                  <a:pt x="1434126" y="1368686"/>
                </a:lnTo>
                <a:lnTo>
                  <a:pt x="1433093" y="1369151"/>
                </a:lnTo>
                <a:lnTo>
                  <a:pt x="1431132" y="1373798"/>
                </a:lnTo>
                <a:cubicBezTo>
                  <a:pt x="1429066" y="1378135"/>
                  <a:pt x="1426382" y="1381388"/>
                  <a:pt x="1422871" y="1379993"/>
                </a:cubicBezTo>
                <a:cubicBezTo>
                  <a:pt x="1423284" y="1378754"/>
                  <a:pt x="1423594" y="1377050"/>
                  <a:pt x="1424110" y="1375037"/>
                </a:cubicBezTo>
                <a:lnTo>
                  <a:pt x="1425246" y="1371164"/>
                </a:lnTo>
                <a:lnTo>
                  <a:pt x="1424420" y="1371010"/>
                </a:lnTo>
                <a:lnTo>
                  <a:pt x="1425349" y="1370700"/>
                </a:lnTo>
                <a:lnTo>
                  <a:pt x="1425762" y="1369151"/>
                </a:lnTo>
                <a:cubicBezTo>
                  <a:pt x="1427105" y="1365279"/>
                  <a:pt x="1429169" y="1361871"/>
                  <a:pt x="1432577" y="1361406"/>
                </a:cubicBezTo>
                <a:lnTo>
                  <a:pt x="1434849" y="1361716"/>
                </a:lnTo>
                <a:lnTo>
                  <a:pt x="1433506" y="1361251"/>
                </a:lnTo>
                <a:cubicBezTo>
                  <a:pt x="1421735" y="1354281"/>
                  <a:pt x="1423903" y="1343283"/>
                  <a:pt x="1418431" y="1331821"/>
                </a:cubicBezTo>
                <a:cubicBezTo>
                  <a:pt x="1427414" y="1324696"/>
                  <a:pt x="1425039" y="1318809"/>
                  <a:pt x="1426175" y="1312924"/>
                </a:cubicBezTo>
                <a:cubicBezTo>
                  <a:pt x="1434126" y="1310910"/>
                  <a:pt x="1441354" y="1303010"/>
                  <a:pt x="1449304" y="1298518"/>
                </a:cubicBezTo>
                <a:close/>
                <a:moveTo>
                  <a:pt x="4330287" y="1298488"/>
                </a:moveTo>
                <a:cubicBezTo>
                  <a:pt x="4331354" y="1301618"/>
                  <a:pt x="4329860" y="1307309"/>
                  <a:pt x="4326658" y="1308874"/>
                </a:cubicBezTo>
                <a:cubicBezTo>
                  <a:pt x="4322604" y="1308304"/>
                  <a:pt x="4323030" y="1305744"/>
                  <a:pt x="4320469" y="1305744"/>
                </a:cubicBezTo>
                <a:cubicBezTo>
                  <a:pt x="4321963" y="1300053"/>
                  <a:pt x="4325164" y="1298488"/>
                  <a:pt x="4330287" y="1298488"/>
                </a:cubicBezTo>
                <a:close/>
                <a:moveTo>
                  <a:pt x="1547604" y="1297744"/>
                </a:moveTo>
                <a:cubicBezTo>
                  <a:pt x="1547398" y="1299447"/>
                  <a:pt x="1545023" y="1308586"/>
                  <a:pt x="1542958" y="1310910"/>
                </a:cubicBezTo>
                <a:cubicBezTo>
                  <a:pt x="1544507" y="1306882"/>
                  <a:pt x="1544610" y="1300996"/>
                  <a:pt x="1547604" y="1297744"/>
                </a:cubicBezTo>
                <a:close/>
                <a:moveTo>
                  <a:pt x="1648692" y="1297589"/>
                </a:moveTo>
                <a:cubicBezTo>
                  <a:pt x="1650551" y="1299602"/>
                  <a:pt x="1651170" y="1302546"/>
                  <a:pt x="1650448" y="1305334"/>
                </a:cubicBezTo>
                <a:cubicBezTo>
                  <a:pt x="1645595" y="1304714"/>
                  <a:pt x="1643220" y="1302081"/>
                  <a:pt x="1641465" y="1297744"/>
                </a:cubicBezTo>
                <a:cubicBezTo>
                  <a:pt x="1642703" y="1296814"/>
                  <a:pt x="1646317" y="1297279"/>
                  <a:pt x="1648692" y="1297589"/>
                </a:cubicBezTo>
                <a:close/>
                <a:moveTo>
                  <a:pt x="3463376" y="1297208"/>
                </a:moveTo>
                <a:lnTo>
                  <a:pt x="3462736" y="1297919"/>
                </a:lnTo>
                <a:lnTo>
                  <a:pt x="3464869" y="1297777"/>
                </a:lnTo>
                <a:close/>
                <a:moveTo>
                  <a:pt x="1386422" y="1296969"/>
                </a:moveTo>
                <a:lnTo>
                  <a:pt x="1388487" y="1298518"/>
                </a:lnTo>
                <a:lnTo>
                  <a:pt x="1388487" y="1297744"/>
                </a:lnTo>
                <a:cubicBezTo>
                  <a:pt x="1391275" y="1295111"/>
                  <a:pt x="1392927" y="1296814"/>
                  <a:pt x="1396334" y="1298363"/>
                </a:cubicBezTo>
                <a:cubicBezTo>
                  <a:pt x="1395405" y="1299137"/>
                  <a:pt x="1397986" y="1301616"/>
                  <a:pt x="1398812" y="1302391"/>
                </a:cubicBezTo>
                <a:cubicBezTo>
                  <a:pt x="1396954" y="1304249"/>
                  <a:pt x="1399535" y="1307502"/>
                  <a:pt x="1396747" y="1310136"/>
                </a:cubicBezTo>
                <a:cubicBezTo>
                  <a:pt x="1394992" y="1310136"/>
                  <a:pt x="1394062" y="1310136"/>
                  <a:pt x="1392307" y="1309361"/>
                </a:cubicBezTo>
                <a:cubicBezTo>
                  <a:pt x="1390862" y="1307812"/>
                  <a:pt x="1389932" y="1306418"/>
                  <a:pt x="1389416" y="1305024"/>
                </a:cubicBezTo>
                <a:lnTo>
                  <a:pt x="1388487" y="1301771"/>
                </a:lnTo>
                <a:lnTo>
                  <a:pt x="1386834" y="1301771"/>
                </a:lnTo>
                <a:cubicBezTo>
                  <a:pt x="1385699" y="1301461"/>
                  <a:pt x="1384769" y="1300377"/>
                  <a:pt x="1384873" y="1299292"/>
                </a:cubicBezTo>
                <a:cubicBezTo>
                  <a:pt x="1384873" y="1298518"/>
                  <a:pt x="1385389" y="1297744"/>
                  <a:pt x="1386422" y="1296969"/>
                </a:cubicBezTo>
                <a:close/>
                <a:moveTo>
                  <a:pt x="1416572" y="1296659"/>
                </a:moveTo>
                <a:cubicBezTo>
                  <a:pt x="1415333" y="1305024"/>
                  <a:pt x="1415850" y="1313233"/>
                  <a:pt x="1406763" y="1322062"/>
                </a:cubicBezTo>
                <a:cubicBezTo>
                  <a:pt x="1404285" y="1321288"/>
                  <a:pt x="1399741" y="1323147"/>
                  <a:pt x="1399122" y="1318964"/>
                </a:cubicBezTo>
                <a:cubicBezTo>
                  <a:pt x="1409758" y="1313543"/>
                  <a:pt x="1406040" y="1298673"/>
                  <a:pt x="1416572" y="1296659"/>
                </a:cubicBezTo>
                <a:close/>
                <a:moveTo>
                  <a:pt x="1040849" y="1296078"/>
                </a:moveTo>
                <a:cubicBezTo>
                  <a:pt x="1043998" y="1295924"/>
                  <a:pt x="1047018" y="1297511"/>
                  <a:pt x="1047741" y="1300222"/>
                </a:cubicBezTo>
                <a:cubicBezTo>
                  <a:pt x="1048258" y="1302081"/>
                  <a:pt x="1047638" y="1304404"/>
                  <a:pt x="1045366" y="1307037"/>
                </a:cubicBezTo>
                <a:cubicBezTo>
                  <a:pt x="1040203" y="1304559"/>
                  <a:pt x="1036176" y="1306728"/>
                  <a:pt x="1033182" y="1302391"/>
                </a:cubicBezTo>
                <a:cubicBezTo>
                  <a:pt x="1034421" y="1298131"/>
                  <a:pt x="1037699" y="1296233"/>
                  <a:pt x="1040849" y="1296078"/>
                </a:cubicBezTo>
                <a:close/>
                <a:moveTo>
                  <a:pt x="1071594" y="1295730"/>
                </a:moveTo>
                <a:cubicBezTo>
                  <a:pt x="1078408" y="1298828"/>
                  <a:pt x="1089457" y="1304249"/>
                  <a:pt x="1092658" y="1310755"/>
                </a:cubicBezTo>
                <a:cubicBezTo>
                  <a:pt x="1084500" y="1316951"/>
                  <a:pt x="1073039" y="1301616"/>
                  <a:pt x="1071594" y="1295730"/>
                </a:cubicBezTo>
                <a:close/>
                <a:moveTo>
                  <a:pt x="5422355" y="1295216"/>
                </a:moveTo>
                <a:cubicBezTo>
                  <a:pt x="5423422" y="1295073"/>
                  <a:pt x="5424490" y="1295073"/>
                  <a:pt x="5425130" y="1295643"/>
                </a:cubicBezTo>
                <a:cubicBezTo>
                  <a:pt x="5425557" y="1295928"/>
                  <a:pt x="5425770" y="1296496"/>
                  <a:pt x="5425770" y="1297066"/>
                </a:cubicBezTo>
                <a:cubicBezTo>
                  <a:pt x="5425557" y="1298630"/>
                  <a:pt x="5423422" y="1300765"/>
                  <a:pt x="5423209" y="1301760"/>
                </a:cubicBezTo>
                <a:cubicBezTo>
                  <a:pt x="5421929" y="1302899"/>
                  <a:pt x="5420862" y="1304037"/>
                  <a:pt x="5419794" y="1302899"/>
                </a:cubicBezTo>
                <a:cubicBezTo>
                  <a:pt x="5418727" y="1301618"/>
                  <a:pt x="5417660" y="1301618"/>
                  <a:pt x="5418941" y="1299200"/>
                </a:cubicBezTo>
                <a:cubicBezTo>
                  <a:pt x="5419154" y="1298062"/>
                  <a:pt x="5420435" y="1296923"/>
                  <a:pt x="5420435" y="1295643"/>
                </a:cubicBezTo>
                <a:cubicBezTo>
                  <a:pt x="5420435" y="1295643"/>
                  <a:pt x="5421289" y="1295358"/>
                  <a:pt x="5422355" y="1295216"/>
                </a:cubicBezTo>
                <a:close/>
                <a:moveTo>
                  <a:pt x="1690305" y="1295111"/>
                </a:moveTo>
                <a:cubicBezTo>
                  <a:pt x="1698978" y="1293097"/>
                  <a:pt x="1703521" y="1302700"/>
                  <a:pt x="1695364" y="1307192"/>
                </a:cubicBezTo>
                <a:cubicBezTo>
                  <a:pt x="1692370" y="1305179"/>
                  <a:pt x="1690718" y="1303320"/>
                  <a:pt x="1689995" y="1301306"/>
                </a:cubicBezTo>
                <a:cubicBezTo>
                  <a:pt x="1689582" y="1300222"/>
                  <a:pt x="1689478" y="1299292"/>
                  <a:pt x="1689478" y="1298208"/>
                </a:cubicBezTo>
                <a:cubicBezTo>
                  <a:pt x="1689582" y="1297124"/>
                  <a:pt x="1689892" y="1296195"/>
                  <a:pt x="1690305" y="1295111"/>
                </a:cubicBezTo>
                <a:close/>
                <a:moveTo>
                  <a:pt x="1653236" y="1294801"/>
                </a:moveTo>
                <a:cubicBezTo>
                  <a:pt x="1657779" y="1292168"/>
                  <a:pt x="1665420" y="1293097"/>
                  <a:pt x="1669550" y="1295265"/>
                </a:cubicBezTo>
                <a:cubicBezTo>
                  <a:pt x="1671408" y="1298983"/>
                  <a:pt x="1671305" y="1301771"/>
                  <a:pt x="1670066" y="1303785"/>
                </a:cubicBezTo>
                <a:cubicBezTo>
                  <a:pt x="1666452" y="1309670"/>
                  <a:pt x="1652719" y="1307812"/>
                  <a:pt x="1649828" y="1298673"/>
                </a:cubicBezTo>
                <a:cubicBezTo>
                  <a:pt x="1650448" y="1296969"/>
                  <a:pt x="1651687" y="1295730"/>
                  <a:pt x="1653236" y="1294801"/>
                </a:cubicBezTo>
                <a:close/>
                <a:moveTo>
                  <a:pt x="4241504" y="1294647"/>
                </a:moveTo>
                <a:cubicBezTo>
                  <a:pt x="4241290" y="1298062"/>
                  <a:pt x="4243638" y="1299057"/>
                  <a:pt x="4243212" y="1302472"/>
                </a:cubicBezTo>
                <a:cubicBezTo>
                  <a:pt x="4240010" y="1302330"/>
                  <a:pt x="4237449" y="1303041"/>
                  <a:pt x="4235741" y="1302899"/>
                </a:cubicBezTo>
                <a:cubicBezTo>
                  <a:pt x="4234674" y="1297777"/>
                  <a:pt x="4236809" y="1294363"/>
                  <a:pt x="4241504" y="1294647"/>
                </a:cubicBezTo>
                <a:close/>
                <a:moveTo>
                  <a:pt x="4621178" y="1293509"/>
                </a:moveTo>
                <a:cubicBezTo>
                  <a:pt x="4625446" y="1298346"/>
                  <a:pt x="4627367" y="1304890"/>
                  <a:pt x="4627367" y="1311008"/>
                </a:cubicBezTo>
                <a:lnTo>
                  <a:pt x="4626513" y="1316841"/>
                </a:lnTo>
                <a:lnTo>
                  <a:pt x="4630782" y="1318121"/>
                </a:lnTo>
                <a:cubicBezTo>
                  <a:pt x="4633556" y="1319402"/>
                  <a:pt x="4636117" y="1320967"/>
                  <a:pt x="4638465" y="1322247"/>
                </a:cubicBezTo>
                <a:cubicBezTo>
                  <a:pt x="4633983" y="1324381"/>
                  <a:pt x="4629288" y="1321820"/>
                  <a:pt x="4625019" y="1329930"/>
                </a:cubicBezTo>
                <a:lnTo>
                  <a:pt x="4623099" y="1324950"/>
                </a:lnTo>
                <a:lnTo>
                  <a:pt x="4622672" y="1325662"/>
                </a:lnTo>
                <a:cubicBezTo>
                  <a:pt x="4614348" y="1315987"/>
                  <a:pt x="4617336" y="1300480"/>
                  <a:pt x="4621178" y="1293509"/>
                </a:cubicBezTo>
                <a:close/>
                <a:moveTo>
                  <a:pt x="1500997" y="1291838"/>
                </a:moveTo>
                <a:lnTo>
                  <a:pt x="1503825" y="1291848"/>
                </a:lnTo>
                <a:lnTo>
                  <a:pt x="1503824" y="1291857"/>
                </a:lnTo>
                <a:lnTo>
                  <a:pt x="1503833" y="1291848"/>
                </a:lnTo>
                <a:lnTo>
                  <a:pt x="1506302" y="1291857"/>
                </a:lnTo>
                <a:cubicBezTo>
                  <a:pt x="1504960" y="1294646"/>
                  <a:pt x="1496905" y="1295265"/>
                  <a:pt x="1493395" y="1294646"/>
                </a:cubicBezTo>
                <a:cubicBezTo>
                  <a:pt x="1493705" y="1294026"/>
                  <a:pt x="1494428" y="1293407"/>
                  <a:pt x="1495460" y="1293097"/>
                </a:cubicBezTo>
                <a:cubicBezTo>
                  <a:pt x="1496957" y="1292399"/>
                  <a:pt x="1498997" y="1292012"/>
                  <a:pt x="1500997" y="1291838"/>
                </a:cubicBezTo>
                <a:close/>
                <a:moveTo>
                  <a:pt x="1476977" y="1291548"/>
                </a:moveTo>
                <a:cubicBezTo>
                  <a:pt x="1476977" y="1291548"/>
                  <a:pt x="1477803" y="1292322"/>
                  <a:pt x="1477803" y="1292322"/>
                </a:cubicBezTo>
                <a:cubicBezTo>
                  <a:pt x="1481211" y="1294801"/>
                  <a:pt x="1482760" y="1299757"/>
                  <a:pt x="1481727" y="1301461"/>
                </a:cubicBezTo>
                <a:cubicBezTo>
                  <a:pt x="1479972" y="1303165"/>
                  <a:pt x="1476461" y="1304094"/>
                  <a:pt x="1473983" y="1301771"/>
                </a:cubicBezTo>
                <a:cubicBezTo>
                  <a:pt x="1471401" y="1300222"/>
                  <a:pt x="1471504" y="1296814"/>
                  <a:pt x="1469027" y="1294491"/>
                </a:cubicBezTo>
                <a:cubicBezTo>
                  <a:pt x="1471814" y="1290928"/>
                  <a:pt x="1472743" y="1289999"/>
                  <a:pt x="1476977" y="1291548"/>
                </a:cubicBezTo>
                <a:close/>
                <a:moveTo>
                  <a:pt x="4112598" y="1290806"/>
                </a:moveTo>
                <a:cubicBezTo>
                  <a:pt x="4113879" y="1290664"/>
                  <a:pt x="4114946" y="1290664"/>
                  <a:pt x="4116226" y="1291801"/>
                </a:cubicBezTo>
                <a:cubicBezTo>
                  <a:pt x="4117507" y="1292940"/>
                  <a:pt x="4116440" y="1292940"/>
                  <a:pt x="4117507" y="1292940"/>
                </a:cubicBezTo>
                <a:cubicBezTo>
                  <a:pt x="4118788" y="1294078"/>
                  <a:pt x="4118788" y="1292798"/>
                  <a:pt x="4118788" y="1292798"/>
                </a:cubicBezTo>
                <a:cubicBezTo>
                  <a:pt x="4118788" y="1292798"/>
                  <a:pt x="4119001" y="1294078"/>
                  <a:pt x="4119001" y="1294078"/>
                </a:cubicBezTo>
                <a:cubicBezTo>
                  <a:pt x="4119001" y="1294078"/>
                  <a:pt x="4119001" y="1294078"/>
                  <a:pt x="4121562" y="1296354"/>
                </a:cubicBezTo>
                <a:cubicBezTo>
                  <a:pt x="4125404" y="1298488"/>
                  <a:pt x="4126471" y="1298346"/>
                  <a:pt x="4129032" y="1299342"/>
                </a:cubicBezTo>
                <a:cubicBezTo>
                  <a:pt x="4131593" y="1301618"/>
                  <a:pt x="4131806" y="1302899"/>
                  <a:pt x="4134580" y="1306313"/>
                </a:cubicBezTo>
                <a:cubicBezTo>
                  <a:pt x="4133727" y="1308732"/>
                  <a:pt x="4133727" y="1308732"/>
                  <a:pt x="4132660" y="1308874"/>
                </a:cubicBezTo>
                <a:cubicBezTo>
                  <a:pt x="4133727" y="1308732"/>
                  <a:pt x="4133940" y="1309870"/>
                  <a:pt x="4135221" y="1311008"/>
                </a:cubicBezTo>
                <a:cubicBezTo>
                  <a:pt x="4141623" y="1314280"/>
                  <a:pt x="4139916" y="1320397"/>
                  <a:pt x="4136288" y="1326657"/>
                </a:cubicBezTo>
                <a:cubicBezTo>
                  <a:pt x="4135008" y="1325519"/>
                  <a:pt x="4133087" y="1329218"/>
                  <a:pt x="4130952" y="1330499"/>
                </a:cubicBezTo>
                <a:cubicBezTo>
                  <a:pt x="4127538" y="1330783"/>
                  <a:pt x="4125190" y="1330783"/>
                  <a:pt x="4122629" y="1328507"/>
                </a:cubicBezTo>
                <a:lnTo>
                  <a:pt x="4119855" y="1324381"/>
                </a:lnTo>
                <a:lnTo>
                  <a:pt x="4117507" y="1326231"/>
                </a:lnTo>
                <a:cubicBezTo>
                  <a:pt x="4110464" y="1329076"/>
                  <a:pt x="4102141" y="1329645"/>
                  <a:pt x="4099366" y="1317410"/>
                </a:cubicBezTo>
                <a:cubicBezTo>
                  <a:pt x="4098086" y="1315276"/>
                  <a:pt x="4099153" y="1315845"/>
                  <a:pt x="4098726" y="1314138"/>
                </a:cubicBezTo>
                <a:cubicBezTo>
                  <a:pt x="4098513" y="1312573"/>
                  <a:pt x="4097446" y="1310297"/>
                  <a:pt x="4096379" y="1309727"/>
                </a:cubicBezTo>
                <a:cubicBezTo>
                  <a:pt x="4101927" y="1307309"/>
                  <a:pt x="4100434" y="1303467"/>
                  <a:pt x="4109184" y="1300195"/>
                </a:cubicBezTo>
                <a:cubicBezTo>
                  <a:pt x="4111958" y="1299057"/>
                  <a:pt x="4114306" y="1298488"/>
                  <a:pt x="4116226" y="1298488"/>
                </a:cubicBezTo>
                <a:lnTo>
                  <a:pt x="4117934" y="1298915"/>
                </a:lnTo>
                <a:lnTo>
                  <a:pt x="4117293" y="1298488"/>
                </a:lnTo>
                <a:cubicBezTo>
                  <a:pt x="4114519" y="1295501"/>
                  <a:pt x="4112385" y="1292655"/>
                  <a:pt x="4112598" y="1290806"/>
                </a:cubicBezTo>
                <a:close/>
                <a:moveTo>
                  <a:pt x="4270529" y="1290521"/>
                </a:moveTo>
                <a:cubicBezTo>
                  <a:pt x="4269675" y="1292655"/>
                  <a:pt x="4270529" y="1293936"/>
                  <a:pt x="4271169" y="1295073"/>
                </a:cubicBezTo>
                <a:lnTo>
                  <a:pt x="4271382" y="1296781"/>
                </a:lnTo>
                <a:lnTo>
                  <a:pt x="4278852" y="1294789"/>
                </a:lnTo>
                <a:cubicBezTo>
                  <a:pt x="4286749" y="1294505"/>
                  <a:pt x="4295072" y="1296923"/>
                  <a:pt x="4301048" y="1302330"/>
                </a:cubicBezTo>
                <a:lnTo>
                  <a:pt x="4301688" y="1303325"/>
                </a:lnTo>
                <a:lnTo>
                  <a:pt x="4301048" y="1301334"/>
                </a:lnTo>
                <a:cubicBezTo>
                  <a:pt x="4301262" y="1299627"/>
                  <a:pt x="4301262" y="1299627"/>
                  <a:pt x="4302328" y="1299057"/>
                </a:cubicBezTo>
                <a:cubicBezTo>
                  <a:pt x="4303395" y="1296781"/>
                  <a:pt x="4303822" y="1295073"/>
                  <a:pt x="4306383" y="1294931"/>
                </a:cubicBezTo>
                <a:cubicBezTo>
                  <a:pt x="4308304" y="1295073"/>
                  <a:pt x="4309585" y="1295785"/>
                  <a:pt x="4310225" y="1297066"/>
                </a:cubicBezTo>
                <a:cubicBezTo>
                  <a:pt x="4310865" y="1298346"/>
                  <a:pt x="4311078" y="1300195"/>
                  <a:pt x="4311292" y="1302330"/>
                </a:cubicBezTo>
                <a:cubicBezTo>
                  <a:pt x="4311506" y="1306740"/>
                  <a:pt x="4307878" y="1307451"/>
                  <a:pt x="4307450" y="1310866"/>
                </a:cubicBezTo>
                <a:lnTo>
                  <a:pt x="4305530" y="1309585"/>
                </a:lnTo>
                <a:lnTo>
                  <a:pt x="4299767" y="1319544"/>
                </a:lnTo>
                <a:cubicBezTo>
                  <a:pt x="4296993" y="1322247"/>
                  <a:pt x="4293792" y="1324239"/>
                  <a:pt x="4290377" y="1325519"/>
                </a:cubicBezTo>
                <a:lnTo>
                  <a:pt x="4283761" y="1326657"/>
                </a:lnTo>
                <a:lnTo>
                  <a:pt x="4287816" y="1329645"/>
                </a:lnTo>
                <a:cubicBezTo>
                  <a:pt x="4292298" y="1334055"/>
                  <a:pt x="4296139" y="1339604"/>
                  <a:pt x="4298914" y="1346860"/>
                </a:cubicBezTo>
                <a:cubicBezTo>
                  <a:pt x="4295499" y="1353831"/>
                  <a:pt x="4289310" y="1353119"/>
                  <a:pt x="4283548" y="1348994"/>
                </a:cubicBezTo>
                <a:cubicBezTo>
                  <a:pt x="4279920" y="1346433"/>
                  <a:pt x="4276291" y="1342592"/>
                  <a:pt x="4273944" y="1338323"/>
                </a:cubicBezTo>
                <a:lnTo>
                  <a:pt x="4273303" y="1336758"/>
                </a:lnTo>
                <a:lnTo>
                  <a:pt x="4270956" y="1338750"/>
                </a:lnTo>
                <a:cubicBezTo>
                  <a:pt x="4269462" y="1339177"/>
                  <a:pt x="4267328" y="1339320"/>
                  <a:pt x="4264980" y="1338892"/>
                </a:cubicBezTo>
                <a:cubicBezTo>
                  <a:pt x="4263699" y="1335051"/>
                  <a:pt x="4261352" y="1330072"/>
                  <a:pt x="4260711" y="1324950"/>
                </a:cubicBezTo>
                <a:lnTo>
                  <a:pt x="4260925" y="1320255"/>
                </a:lnTo>
                <a:lnTo>
                  <a:pt x="4254096" y="1314138"/>
                </a:lnTo>
                <a:cubicBezTo>
                  <a:pt x="4254736" y="1312573"/>
                  <a:pt x="4255590" y="1311150"/>
                  <a:pt x="4254096" y="1310297"/>
                </a:cubicBezTo>
                <a:cubicBezTo>
                  <a:pt x="4256016" y="1305317"/>
                  <a:pt x="4259431" y="1301618"/>
                  <a:pt x="4263913" y="1298915"/>
                </a:cubicBezTo>
                <a:lnTo>
                  <a:pt x="4264980" y="1298630"/>
                </a:lnTo>
                <a:lnTo>
                  <a:pt x="4261992" y="1296781"/>
                </a:lnTo>
                <a:cubicBezTo>
                  <a:pt x="4263273" y="1290236"/>
                  <a:pt x="4266901" y="1290379"/>
                  <a:pt x="4270529" y="1290521"/>
                </a:cubicBezTo>
                <a:close/>
                <a:moveTo>
                  <a:pt x="4834598" y="1290379"/>
                </a:moveTo>
                <a:cubicBezTo>
                  <a:pt x="4839079" y="1291232"/>
                  <a:pt x="4842494" y="1295358"/>
                  <a:pt x="4844628" y="1297919"/>
                </a:cubicBezTo>
                <a:lnTo>
                  <a:pt x="4845269" y="1298488"/>
                </a:lnTo>
                <a:lnTo>
                  <a:pt x="4846549" y="1299200"/>
                </a:lnTo>
                <a:lnTo>
                  <a:pt x="4846976" y="1298773"/>
                </a:lnTo>
                <a:lnTo>
                  <a:pt x="4846976" y="1299200"/>
                </a:lnTo>
                <a:lnTo>
                  <a:pt x="4849537" y="1300338"/>
                </a:lnTo>
                <a:lnTo>
                  <a:pt x="4848683" y="1302330"/>
                </a:lnTo>
                <a:lnTo>
                  <a:pt x="4849750" y="1305886"/>
                </a:lnTo>
                <a:cubicBezTo>
                  <a:pt x="4849964" y="1307024"/>
                  <a:pt x="4849323" y="1307878"/>
                  <a:pt x="4847830" y="1308304"/>
                </a:cubicBezTo>
                <a:cubicBezTo>
                  <a:pt x="4845482" y="1309727"/>
                  <a:pt x="4844202" y="1307451"/>
                  <a:pt x="4841000" y="1308447"/>
                </a:cubicBezTo>
                <a:cubicBezTo>
                  <a:pt x="4838226" y="1309585"/>
                  <a:pt x="4837799" y="1313000"/>
                  <a:pt x="4836518" y="1316699"/>
                </a:cubicBezTo>
                <a:lnTo>
                  <a:pt x="4834598" y="1320825"/>
                </a:lnTo>
                <a:lnTo>
                  <a:pt x="4835878" y="1319686"/>
                </a:lnTo>
                <a:cubicBezTo>
                  <a:pt x="4840787" y="1316699"/>
                  <a:pt x="4848683" y="1315418"/>
                  <a:pt x="4852738" y="1321251"/>
                </a:cubicBezTo>
                <a:cubicBezTo>
                  <a:pt x="4848683" y="1325662"/>
                  <a:pt x="4845055" y="1326799"/>
                  <a:pt x="4841640" y="1326515"/>
                </a:cubicBezTo>
                <a:lnTo>
                  <a:pt x="4832677" y="1323101"/>
                </a:lnTo>
                <a:lnTo>
                  <a:pt x="4827981" y="1326657"/>
                </a:lnTo>
                <a:cubicBezTo>
                  <a:pt x="4827341" y="1323385"/>
                  <a:pt x="4820085" y="1324666"/>
                  <a:pt x="4819232" y="1319686"/>
                </a:cubicBezTo>
                <a:cubicBezTo>
                  <a:pt x="4815176" y="1305317"/>
                  <a:pt x="4819232" y="1303325"/>
                  <a:pt x="4826701" y="1297777"/>
                </a:cubicBezTo>
                <a:cubicBezTo>
                  <a:pt x="4826060" y="1298773"/>
                  <a:pt x="4827555" y="1298346"/>
                  <a:pt x="4827555" y="1298346"/>
                </a:cubicBezTo>
                <a:cubicBezTo>
                  <a:pt x="4830756" y="1297492"/>
                  <a:pt x="4825847" y="1292798"/>
                  <a:pt x="4829903" y="1290806"/>
                </a:cubicBezTo>
                <a:cubicBezTo>
                  <a:pt x="4831396" y="1290236"/>
                  <a:pt x="4833103" y="1290094"/>
                  <a:pt x="4834598" y="1290379"/>
                </a:cubicBezTo>
                <a:close/>
                <a:moveTo>
                  <a:pt x="4580201" y="1290236"/>
                </a:moveTo>
                <a:cubicBezTo>
                  <a:pt x="4586604" y="1296354"/>
                  <a:pt x="4576146" y="1309159"/>
                  <a:pt x="4574652" y="1312715"/>
                </a:cubicBezTo>
                <a:cubicBezTo>
                  <a:pt x="4574652" y="1312715"/>
                  <a:pt x="4574439" y="1313853"/>
                  <a:pt x="4573158" y="1314991"/>
                </a:cubicBezTo>
                <a:cubicBezTo>
                  <a:pt x="4571877" y="1317410"/>
                  <a:pt x="4571024" y="1313853"/>
                  <a:pt x="4569744" y="1314991"/>
                </a:cubicBezTo>
                <a:cubicBezTo>
                  <a:pt x="4572945" y="1305459"/>
                  <a:pt x="4571664" y="1297208"/>
                  <a:pt x="4571664" y="1297208"/>
                </a:cubicBezTo>
                <a:cubicBezTo>
                  <a:pt x="4572945" y="1294789"/>
                  <a:pt x="4574012" y="1294931"/>
                  <a:pt x="4572945" y="1294931"/>
                </a:cubicBezTo>
                <a:cubicBezTo>
                  <a:pt x="4575506" y="1292513"/>
                  <a:pt x="4578067" y="1289099"/>
                  <a:pt x="4580201" y="1290236"/>
                </a:cubicBezTo>
                <a:close/>
                <a:moveTo>
                  <a:pt x="3550664" y="1289952"/>
                </a:moveTo>
                <a:cubicBezTo>
                  <a:pt x="3553225" y="1290806"/>
                  <a:pt x="3555359" y="1294363"/>
                  <a:pt x="3560482" y="1302757"/>
                </a:cubicBezTo>
                <a:cubicBezTo>
                  <a:pt x="3561762" y="1305459"/>
                  <a:pt x="3562403" y="1308732"/>
                  <a:pt x="3562189" y="1312004"/>
                </a:cubicBezTo>
                <a:cubicBezTo>
                  <a:pt x="3561975" y="1315133"/>
                  <a:pt x="3560908" y="1318406"/>
                  <a:pt x="3558774" y="1321394"/>
                </a:cubicBezTo>
                <a:cubicBezTo>
                  <a:pt x="3559414" y="1326373"/>
                  <a:pt x="3557067" y="1332917"/>
                  <a:pt x="3553439" y="1336616"/>
                </a:cubicBezTo>
                <a:cubicBezTo>
                  <a:pt x="3547890" y="1339604"/>
                  <a:pt x="3543621" y="1338323"/>
                  <a:pt x="3542128" y="1335478"/>
                </a:cubicBezTo>
                <a:cubicBezTo>
                  <a:pt x="3535298" y="1324950"/>
                  <a:pt x="3535725" y="1315418"/>
                  <a:pt x="3537646" y="1307878"/>
                </a:cubicBezTo>
                <a:lnTo>
                  <a:pt x="3538286" y="1305886"/>
                </a:lnTo>
                <a:lnTo>
                  <a:pt x="3537859" y="1305175"/>
                </a:lnTo>
                <a:cubicBezTo>
                  <a:pt x="3536365" y="1302614"/>
                  <a:pt x="3534871" y="1299627"/>
                  <a:pt x="3535725" y="1294363"/>
                </a:cubicBezTo>
                <a:lnTo>
                  <a:pt x="3540207" y="1300480"/>
                </a:lnTo>
                <a:lnTo>
                  <a:pt x="3541061" y="1298346"/>
                </a:lnTo>
                <a:cubicBezTo>
                  <a:pt x="3542128" y="1295785"/>
                  <a:pt x="3542981" y="1293793"/>
                  <a:pt x="3542768" y="1292513"/>
                </a:cubicBezTo>
                <a:cubicBezTo>
                  <a:pt x="3544902" y="1291374"/>
                  <a:pt x="3546609" y="1290521"/>
                  <a:pt x="3548103" y="1290094"/>
                </a:cubicBezTo>
                <a:cubicBezTo>
                  <a:pt x="3548957" y="1289810"/>
                  <a:pt x="3549811" y="1289668"/>
                  <a:pt x="3550664" y="1289952"/>
                </a:cubicBezTo>
                <a:close/>
                <a:moveTo>
                  <a:pt x="4067994" y="1288956"/>
                </a:moveTo>
                <a:cubicBezTo>
                  <a:pt x="4072262" y="1288245"/>
                  <a:pt x="4076530" y="1289952"/>
                  <a:pt x="4077811" y="1293651"/>
                </a:cubicBezTo>
                <a:cubicBezTo>
                  <a:pt x="4078665" y="1296212"/>
                  <a:pt x="4078451" y="1299627"/>
                  <a:pt x="4075890" y="1303752"/>
                </a:cubicBezTo>
                <a:cubicBezTo>
                  <a:pt x="4068634" y="1301049"/>
                  <a:pt x="4063726" y="1304605"/>
                  <a:pt x="4059030" y="1299200"/>
                </a:cubicBezTo>
                <a:cubicBezTo>
                  <a:pt x="4059884" y="1292940"/>
                  <a:pt x="4063939" y="1289810"/>
                  <a:pt x="4067994" y="1288956"/>
                </a:cubicBezTo>
                <a:close/>
                <a:moveTo>
                  <a:pt x="1396747" y="1288450"/>
                </a:moveTo>
                <a:cubicBezTo>
                  <a:pt x="1395611" y="1289999"/>
                  <a:pt x="1394579" y="1290773"/>
                  <a:pt x="1393649" y="1291548"/>
                </a:cubicBezTo>
                <a:cubicBezTo>
                  <a:pt x="1392514" y="1293252"/>
                  <a:pt x="1391584" y="1293252"/>
                  <a:pt x="1390036" y="1291548"/>
                </a:cubicBezTo>
                <a:cubicBezTo>
                  <a:pt x="1391068" y="1289844"/>
                  <a:pt x="1394992" y="1287521"/>
                  <a:pt x="1396747" y="1288450"/>
                </a:cubicBezTo>
                <a:close/>
                <a:moveTo>
                  <a:pt x="1724379" y="1287985"/>
                </a:moveTo>
                <a:lnTo>
                  <a:pt x="1719733" y="1288295"/>
                </a:lnTo>
                <a:lnTo>
                  <a:pt x="1718906" y="1289534"/>
                </a:lnTo>
                <a:lnTo>
                  <a:pt x="1722521" y="1289844"/>
                </a:lnTo>
                <a:close/>
                <a:moveTo>
                  <a:pt x="1190441" y="1287366"/>
                </a:moveTo>
                <a:cubicBezTo>
                  <a:pt x="1194881" y="1282874"/>
                  <a:pt x="1204174" y="1290464"/>
                  <a:pt x="1206756" y="1291548"/>
                </a:cubicBezTo>
                <a:cubicBezTo>
                  <a:pt x="1206756" y="1291548"/>
                  <a:pt x="1207582" y="1291703"/>
                  <a:pt x="1208408" y="1292632"/>
                </a:cubicBezTo>
                <a:cubicBezTo>
                  <a:pt x="1210163" y="1293561"/>
                  <a:pt x="1207582" y="1294181"/>
                  <a:pt x="1208408" y="1295111"/>
                </a:cubicBezTo>
                <a:cubicBezTo>
                  <a:pt x="1201593" y="1292632"/>
                  <a:pt x="1195501" y="1293716"/>
                  <a:pt x="1195501" y="1293716"/>
                </a:cubicBezTo>
                <a:cubicBezTo>
                  <a:pt x="1193745" y="1292787"/>
                  <a:pt x="1193849" y="1292013"/>
                  <a:pt x="1193849" y="1292787"/>
                </a:cubicBezTo>
                <a:cubicBezTo>
                  <a:pt x="1192094" y="1290928"/>
                  <a:pt x="1189615" y="1289069"/>
                  <a:pt x="1190441" y="1287366"/>
                </a:cubicBezTo>
                <a:close/>
                <a:moveTo>
                  <a:pt x="5182898" y="1287249"/>
                </a:moveTo>
                <a:cubicBezTo>
                  <a:pt x="5184393" y="1287960"/>
                  <a:pt x="5186740" y="1288529"/>
                  <a:pt x="5188448" y="1290379"/>
                </a:cubicBezTo>
                <a:cubicBezTo>
                  <a:pt x="5188448" y="1296496"/>
                  <a:pt x="5185246" y="1299768"/>
                  <a:pt x="5180765" y="1301191"/>
                </a:cubicBezTo>
                <a:cubicBezTo>
                  <a:pt x="5175215" y="1298062"/>
                  <a:pt x="5177136" y="1288956"/>
                  <a:pt x="5182898" y="1287249"/>
                </a:cubicBezTo>
                <a:close/>
                <a:moveTo>
                  <a:pt x="4763315" y="1285969"/>
                </a:moveTo>
                <a:cubicBezTo>
                  <a:pt x="4763955" y="1288529"/>
                  <a:pt x="4765236" y="1290379"/>
                  <a:pt x="4765877" y="1292940"/>
                </a:cubicBezTo>
                <a:cubicBezTo>
                  <a:pt x="4762248" y="1296069"/>
                  <a:pt x="4762675" y="1302045"/>
                  <a:pt x="4755419" y="1300765"/>
                </a:cubicBezTo>
                <a:cubicBezTo>
                  <a:pt x="4751151" y="1295501"/>
                  <a:pt x="4755419" y="1285542"/>
                  <a:pt x="4763315" y="1285969"/>
                </a:cubicBezTo>
                <a:close/>
                <a:moveTo>
                  <a:pt x="3634111" y="1285969"/>
                </a:moveTo>
                <a:cubicBezTo>
                  <a:pt x="3637312" y="1286822"/>
                  <a:pt x="3639020" y="1287249"/>
                  <a:pt x="3641581" y="1287107"/>
                </a:cubicBezTo>
                <a:cubicBezTo>
                  <a:pt x="3642008" y="1289810"/>
                  <a:pt x="3641155" y="1290379"/>
                  <a:pt x="3639660" y="1289952"/>
                </a:cubicBezTo>
                <a:cubicBezTo>
                  <a:pt x="3639660" y="1289952"/>
                  <a:pt x="3637953" y="1289526"/>
                  <a:pt x="3636246" y="1289099"/>
                </a:cubicBezTo>
                <a:cubicBezTo>
                  <a:pt x="3634538" y="1288672"/>
                  <a:pt x="3633684" y="1289241"/>
                  <a:pt x="3633684" y="1289241"/>
                </a:cubicBezTo>
                <a:cubicBezTo>
                  <a:pt x="3631977" y="1288814"/>
                  <a:pt x="3631337" y="1287818"/>
                  <a:pt x="3631550" y="1286111"/>
                </a:cubicBezTo>
                <a:cubicBezTo>
                  <a:pt x="3631550" y="1286111"/>
                  <a:pt x="3634111" y="1285969"/>
                  <a:pt x="3634111" y="1285969"/>
                </a:cubicBezTo>
                <a:close/>
                <a:moveTo>
                  <a:pt x="1398812" y="1285817"/>
                </a:moveTo>
                <a:cubicBezTo>
                  <a:pt x="1398709" y="1286591"/>
                  <a:pt x="1399535" y="1286591"/>
                  <a:pt x="1399535" y="1286591"/>
                </a:cubicBezTo>
                <a:cubicBezTo>
                  <a:pt x="1399535" y="1286591"/>
                  <a:pt x="1399535" y="1286591"/>
                  <a:pt x="1399638" y="1285817"/>
                </a:cubicBezTo>
                <a:cubicBezTo>
                  <a:pt x="1400051" y="1286281"/>
                  <a:pt x="1399948" y="1286591"/>
                  <a:pt x="1399845" y="1286901"/>
                </a:cubicBezTo>
                <a:cubicBezTo>
                  <a:pt x="1399638" y="1287211"/>
                  <a:pt x="1399432" y="1287521"/>
                  <a:pt x="1399432" y="1287521"/>
                </a:cubicBezTo>
                <a:cubicBezTo>
                  <a:pt x="1398502" y="1288295"/>
                  <a:pt x="1397470" y="1289069"/>
                  <a:pt x="1396747" y="1288295"/>
                </a:cubicBezTo>
                <a:cubicBezTo>
                  <a:pt x="1396747" y="1288295"/>
                  <a:pt x="1396850" y="1287366"/>
                  <a:pt x="1398812" y="1285817"/>
                </a:cubicBezTo>
                <a:close/>
                <a:moveTo>
                  <a:pt x="5124848" y="1285542"/>
                </a:moveTo>
                <a:cubicBezTo>
                  <a:pt x="5127836" y="1286680"/>
                  <a:pt x="5129543" y="1284546"/>
                  <a:pt x="5132318" y="1285684"/>
                </a:cubicBezTo>
                <a:cubicBezTo>
                  <a:pt x="5128477" y="1295216"/>
                  <a:pt x="5125062" y="1305886"/>
                  <a:pt x="5117379" y="1305886"/>
                </a:cubicBezTo>
                <a:cubicBezTo>
                  <a:pt x="5113751" y="1300053"/>
                  <a:pt x="5120367" y="1290379"/>
                  <a:pt x="5124848" y="1285542"/>
                </a:cubicBezTo>
                <a:close/>
                <a:moveTo>
                  <a:pt x="1569495" y="1285042"/>
                </a:moveTo>
                <a:cubicBezTo>
                  <a:pt x="1570424" y="1285817"/>
                  <a:pt x="1572283" y="1287985"/>
                  <a:pt x="1571457" y="1288914"/>
                </a:cubicBezTo>
                <a:cubicBezTo>
                  <a:pt x="1569805" y="1290773"/>
                  <a:pt x="1567327" y="1292013"/>
                  <a:pt x="1566397" y="1291238"/>
                </a:cubicBezTo>
                <a:cubicBezTo>
                  <a:pt x="1565055" y="1290308"/>
                  <a:pt x="1563712" y="1289224"/>
                  <a:pt x="1564126" y="1287521"/>
                </a:cubicBezTo>
                <a:cubicBezTo>
                  <a:pt x="1564229" y="1287056"/>
                  <a:pt x="1564539" y="1286281"/>
                  <a:pt x="1565158" y="1285662"/>
                </a:cubicBezTo>
                <a:cubicBezTo>
                  <a:pt x="1565158" y="1285662"/>
                  <a:pt x="1565158" y="1285662"/>
                  <a:pt x="1565984" y="1285507"/>
                </a:cubicBezTo>
                <a:cubicBezTo>
                  <a:pt x="1567739" y="1285352"/>
                  <a:pt x="1568669" y="1285197"/>
                  <a:pt x="1569495" y="1285042"/>
                </a:cubicBezTo>
                <a:close/>
                <a:moveTo>
                  <a:pt x="3910490" y="1284973"/>
                </a:moveTo>
                <a:cubicBezTo>
                  <a:pt x="3912197" y="1285257"/>
                  <a:pt x="3913691" y="1286395"/>
                  <a:pt x="3914545" y="1288814"/>
                </a:cubicBezTo>
                <a:cubicBezTo>
                  <a:pt x="3914972" y="1290521"/>
                  <a:pt x="3915612" y="1292086"/>
                  <a:pt x="3914545" y="1291517"/>
                </a:cubicBezTo>
                <a:cubicBezTo>
                  <a:pt x="3914118" y="1292513"/>
                  <a:pt x="3913051" y="1291944"/>
                  <a:pt x="3911557" y="1292371"/>
                </a:cubicBezTo>
                <a:cubicBezTo>
                  <a:pt x="3908996" y="1292228"/>
                  <a:pt x="3905795" y="1290521"/>
                  <a:pt x="3905368" y="1288956"/>
                </a:cubicBezTo>
                <a:cubicBezTo>
                  <a:pt x="3904728" y="1287249"/>
                  <a:pt x="3905368" y="1286253"/>
                  <a:pt x="3905368" y="1286253"/>
                </a:cubicBezTo>
                <a:cubicBezTo>
                  <a:pt x="3907075" y="1285257"/>
                  <a:pt x="3908782" y="1284688"/>
                  <a:pt x="3910490" y="1284973"/>
                </a:cubicBezTo>
                <a:close/>
                <a:moveTo>
                  <a:pt x="1551528" y="1284887"/>
                </a:moveTo>
                <a:cubicBezTo>
                  <a:pt x="1552148" y="1286591"/>
                  <a:pt x="1552458" y="1289844"/>
                  <a:pt x="1550496" y="1291393"/>
                </a:cubicBezTo>
                <a:cubicBezTo>
                  <a:pt x="1550496" y="1291393"/>
                  <a:pt x="1550496" y="1291393"/>
                  <a:pt x="1549463" y="1292168"/>
                </a:cubicBezTo>
                <a:cubicBezTo>
                  <a:pt x="1549876" y="1289689"/>
                  <a:pt x="1550496" y="1286436"/>
                  <a:pt x="1551528" y="1284887"/>
                </a:cubicBezTo>
                <a:close/>
                <a:moveTo>
                  <a:pt x="3651398" y="1283835"/>
                </a:moveTo>
                <a:cubicBezTo>
                  <a:pt x="3655026" y="1284688"/>
                  <a:pt x="3658868" y="1286111"/>
                  <a:pt x="3660789" y="1288672"/>
                </a:cubicBezTo>
                <a:cubicBezTo>
                  <a:pt x="3661429" y="1289526"/>
                  <a:pt x="3661856" y="1290521"/>
                  <a:pt x="3661856" y="1291517"/>
                </a:cubicBezTo>
                <a:cubicBezTo>
                  <a:pt x="3662283" y="1294220"/>
                  <a:pt x="3659722" y="1294505"/>
                  <a:pt x="3656521" y="1293651"/>
                </a:cubicBezTo>
                <a:cubicBezTo>
                  <a:pt x="3649691" y="1293651"/>
                  <a:pt x="3646703" y="1291232"/>
                  <a:pt x="3647557" y="1286253"/>
                </a:cubicBezTo>
                <a:cubicBezTo>
                  <a:pt x="3648411" y="1285684"/>
                  <a:pt x="3652038" y="1284830"/>
                  <a:pt x="3651398" y="1283835"/>
                </a:cubicBezTo>
                <a:close/>
                <a:moveTo>
                  <a:pt x="1013150" y="1283493"/>
                </a:moveTo>
                <a:cubicBezTo>
                  <a:pt x="1019243" y="1279621"/>
                  <a:pt x="1031736" y="1289379"/>
                  <a:pt x="1028122" y="1294336"/>
                </a:cubicBezTo>
                <a:cubicBezTo>
                  <a:pt x="1027606" y="1294956"/>
                  <a:pt x="1026780" y="1295575"/>
                  <a:pt x="1025438" y="1296040"/>
                </a:cubicBezTo>
                <a:cubicBezTo>
                  <a:pt x="1018106" y="1295265"/>
                  <a:pt x="1012737" y="1292942"/>
                  <a:pt x="1011808" y="1285817"/>
                </a:cubicBezTo>
                <a:cubicBezTo>
                  <a:pt x="1013047" y="1285817"/>
                  <a:pt x="1013150" y="1284732"/>
                  <a:pt x="1013150" y="1283493"/>
                </a:cubicBezTo>
                <a:close/>
                <a:moveTo>
                  <a:pt x="1387867" y="1283183"/>
                </a:moveTo>
                <a:cubicBezTo>
                  <a:pt x="1388590" y="1285042"/>
                  <a:pt x="1388487" y="1286746"/>
                  <a:pt x="1387867" y="1288140"/>
                </a:cubicBezTo>
                <a:lnTo>
                  <a:pt x="1386938" y="1288914"/>
                </a:lnTo>
                <a:lnTo>
                  <a:pt x="1386318" y="1289689"/>
                </a:lnTo>
                <a:lnTo>
                  <a:pt x="1384563" y="1291238"/>
                </a:lnTo>
                <a:cubicBezTo>
                  <a:pt x="1383427" y="1290618"/>
                  <a:pt x="1382807" y="1289844"/>
                  <a:pt x="1382498" y="1289069"/>
                </a:cubicBezTo>
                <a:cubicBezTo>
                  <a:pt x="1382188" y="1288295"/>
                  <a:pt x="1382085" y="1287521"/>
                  <a:pt x="1382498" y="1286591"/>
                </a:cubicBezTo>
                <a:cubicBezTo>
                  <a:pt x="1383117" y="1285042"/>
                  <a:pt x="1385079" y="1283648"/>
                  <a:pt x="1387867" y="1283183"/>
                </a:cubicBezTo>
                <a:close/>
                <a:moveTo>
                  <a:pt x="4181106" y="1282838"/>
                </a:moveTo>
                <a:cubicBezTo>
                  <a:pt x="4188789" y="1287249"/>
                  <a:pt x="4191350" y="1306171"/>
                  <a:pt x="4188362" y="1310012"/>
                </a:cubicBezTo>
                <a:cubicBezTo>
                  <a:pt x="4184521" y="1306597"/>
                  <a:pt x="4184948" y="1301902"/>
                  <a:pt x="4180893" y="1297208"/>
                </a:cubicBezTo>
                <a:cubicBezTo>
                  <a:pt x="4182600" y="1293509"/>
                  <a:pt x="4178331" y="1287818"/>
                  <a:pt x="4181106" y="1282838"/>
                </a:cubicBezTo>
                <a:close/>
                <a:moveTo>
                  <a:pt x="1406247" y="1282409"/>
                </a:moveTo>
                <a:cubicBezTo>
                  <a:pt x="1408002" y="1283028"/>
                  <a:pt x="1409758" y="1283648"/>
                  <a:pt x="1411513" y="1284268"/>
                </a:cubicBezTo>
                <a:cubicBezTo>
                  <a:pt x="1410687" y="1284423"/>
                  <a:pt x="1412752" y="1291703"/>
                  <a:pt x="1412752" y="1291703"/>
                </a:cubicBezTo>
                <a:cubicBezTo>
                  <a:pt x="1411203" y="1293561"/>
                  <a:pt x="1411203" y="1293561"/>
                  <a:pt x="1408518" y="1292322"/>
                </a:cubicBezTo>
                <a:cubicBezTo>
                  <a:pt x="1407692" y="1291548"/>
                  <a:pt x="1406763" y="1289689"/>
                  <a:pt x="1406247" y="1287830"/>
                </a:cubicBezTo>
                <a:cubicBezTo>
                  <a:pt x="1405937" y="1286901"/>
                  <a:pt x="1405730" y="1285817"/>
                  <a:pt x="1405730" y="1284887"/>
                </a:cubicBezTo>
                <a:cubicBezTo>
                  <a:pt x="1405730" y="1283958"/>
                  <a:pt x="1405937" y="1283183"/>
                  <a:pt x="1406247" y="1282409"/>
                </a:cubicBezTo>
                <a:close/>
                <a:moveTo>
                  <a:pt x="5805871" y="1281985"/>
                </a:moveTo>
                <a:cubicBezTo>
                  <a:pt x="5806511" y="1282412"/>
                  <a:pt x="5807365" y="1283407"/>
                  <a:pt x="5808432" y="1283977"/>
                </a:cubicBezTo>
                <a:lnTo>
                  <a:pt x="5804590" y="1287249"/>
                </a:lnTo>
                <a:cubicBezTo>
                  <a:pt x="5803523" y="1286111"/>
                  <a:pt x="5802669" y="1283835"/>
                  <a:pt x="5803950" y="1282696"/>
                </a:cubicBezTo>
                <a:cubicBezTo>
                  <a:pt x="5804590" y="1281558"/>
                  <a:pt x="5805231" y="1281558"/>
                  <a:pt x="5805871" y="1281985"/>
                </a:cubicBezTo>
                <a:close/>
                <a:moveTo>
                  <a:pt x="5792425" y="1281416"/>
                </a:moveTo>
                <a:cubicBezTo>
                  <a:pt x="5794133" y="1282696"/>
                  <a:pt x="5795413" y="1284119"/>
                  <a:pt x="5795840" y="1285826"/>
                </a:cubicBezTo>
                <a:cubicBezTo>
                  <a:pt x="5796267" y="1287392"/>
                  <a:pt x="5795626" y="1289099"/>
                  <a:pt x="5793919" y="1290806"/>
                </a:cubicBezTo>
                <a:cubicBezTo>
                  <a:pt x="5792639" y="1292086"/>
                  <a:pt x="5791358" y="1293224"/>
                  <a:pt x="5791358" y="1292086"/>
                </a:cubicBezTo>
                <a:cubicBezTo>
                  <a:pt x="5790291" y="1291944"/>
                  <a:pt x="5790505" y="1290806"/>
                  <a:pt x="5789438" y="1289668"/>
                </a:cubicBezTo>
                <a:cubicBezTo>
                  <a:pt x="5788370" y="1287249"/>
                  <a:pt x="5788797" y="1283835"/>
                  <a:pt x="5790078" y="1282554"/>
                </a:cubicBezTo>
                <a:cubicBezTo>
                  <a:pt x="5791358" y="1281416"/>
                  <a:pt x="5792425" y="1281416"/>
                  <a:pt x="5792425" y="1281416"/>
                </a:cubicBezTo>
                <a:close/>
                <a:moveTo>
                  <a:pt x="1382188" y="1281170"/>
                </a:moveTo>
                <a:cubicBezTo>
                  <a:pt x="1382601" y="1280395"/>
                  <a:pt x="1383324" y="1281015"/>
                  <a:pt x="1382911" y="1281635"/>
                </a:cubicBezTo>
                <a:cubicBezTo>
                  <a:pt x="1384047" y="1283183"/>
                  <a:pt x="1381672" y="1283493"/>
                  <a:pt x="1380536" y="1283648"/>
                </a:cubicBezTo>
                <a:cubicBezTo>
                  <a:pt x="1381775" y="1281789"/>
                  <a:pt x="1381362" y="1280550"/>
                  <a:pt x="1382188" y="1281170"/>
                </a:cubicBezTo>
                <a:close/>
                <a:moveTo>
                  <a:pt x="1520138" y="1280550"/>
                </a:moveTo>
                <a:cubicBezTo>
                  <a:pt x="1520448" y="1280705"/>
                  <a:pt x="1520655" y="1280860"/>
                  <a:pt x="1520655" y="1280860"/>
                </a:cubicBezTo>
                <a:cubicBezTo>
                  <a:pt x="1521377" y="1281789"/>
                  <a:pt x="1522100" y="1282719"/>
                  <a:pt x="1521068" y="1283493"/>
                </a:cubicBezTo>
                <a:cubicBezTo>
                  <a:pt x="1521068" y="1283493"/>
                  <a:pt x="1520138" y="1283338"/>
                  <a:pt x="1518693" y="1281635"/>
                </a:cubicBezTo>
                <a:cubicBezTo>
                  <a:pt x="1519622" y="1281635"/>
                  <a:pt x="1519726" y="1280860"/>
                  <a:pt x="1519726" y="1280860"/>
                </a:cubicBezTo>
                <a:cubicBezTo>
                  <a:pt x="1519726" y="1280860"/>
                  <a:pt x="1519726" y="1280860"/>
                  <a:pt x="1518899" y="1280705"/>
                </a:cubicBezTo>
                <a:cubicBezTo>
                  <a:pt x="1519312" y="1280395"/>
                  <a:pt x="1519829" y="1280395"/>
                  <a:pt x="1520138" y="1280550"/>
                </a:cubicBezTo>
                <a:close/>
                <a:moveTo>
                  <a:pt x="1035247" y="1280085"/>
                </a:moveTo>
                <a:cubicBezTo>
                  <a:pt x="1043714" y="1279156"/>
                  <a:pt x="1044540" y="1285817"/>
                  <a:pt x="1040720" y="1288914"/>
                </a:cubicBezTo>
                <a:cubicBezTo>
                  <a:pt x="1039481" y="1289844"/>
                  <a:pt x="1037622" y="1290464"/>
                  <a:pt x="1035454" y="1290154"/>
                </a:cubicBezTo>
                <a:cubicBezTo>
                  <a:pt x="1034628" y="1289224"/>
                  <a:pt x="1034111" y="1287056"/>
                  <a:pt x="1034008" y="1285042"/>
                </a:cubicBezTo>
                <a:cubicBezTo>
                  <a:pt x="1033905" y="1282874"/>
                  <a:pt x="1034318" y="1280860"/>
                  <a:pt x="1035247" y="1280085"/>
                </a:cubicBezTo>
                <a:close/>
                <a:moveTo>
                  <a:pt x="5239882" y="1279851"/>
                </a:moveTo>
                <a:cubicBezTo>
                  <a:pt x="5240735" y="1279993"/>
                  <a:pt x="5241589" y="1279851"/>
                  <a:pt x="5242870" y="1279993"/>
                </a:cubicBezTo>
                <a:cubicBezTo>
                  <a:pt x="5243936" y="1279993"/>
                  <a:pt x="5245217" y="1280135"/>
                  <a:pt x="5246284" y="1280705"/>
                </a:cubicBezTo>
                <a:cubicBezTo>
                  <a:pt x="5249272" y="1286253"/>
                  <a:pt x="5248205" y="1290379"/>
                  <a:pt x="5244577" y="1293224"/>
                </a:cubicBezTo>
                <a:cubicBezTo>
                  <a:pt x="5237961" y="1292371"/>
                  <a:pt x="5235400" y="1283550"/>
                  <a:pt x="5239882" y="1279851"/>
                </a:cubicBezTo>
                <a:close/>
                <a:moveTo>
                  <a:pt x="4805146" y="1279567"/>
                </a:moveTo>
                <a:cubicBezTo>
                  <a:pt x="4811335" y="1286395"/>
                  <a:pt x="4819232" y="1288529"/>
                  <a:pt x="4819232" y="1288529"/>
                </a:cubicBezTo>
                <a:cubicBezTo>
                  <a:pt x="4820298" y="1290806"/>
                  <a:pt x="4819658" y="1291801"/>
                  <a:pt x="4820298" y="1290806"/>
                </a:cubicBezTo>
                <a:cubicBezTo>
                  <a:pt x="4820939" y="1294078"/>
                  <a:pt x="4822432" y="1297919"/>
                  <a:pt x="4820085" y="1299342"/>
                </a:cubicBezTo>
                <a:cubicBezTo>
                  <a:pt x="4811548" y="1302614"/>
                  <a:pt x="4806426" y="1287676"/>
                  <a:pt x="4804292" y="1284973"/>
                </a:cubicBezTo>
                <a:cubicBezTo>
                  <a:pt x="4804292" y="1284973"/>
                  <a:pt x="4803438" y="1284262"/>
                  <a:pt x="4803225" y="1282696"/>
                </a:cubicBezTo>
                <a:cubicBezTo>
                  <a:pt x="4801944" y="1280420"/>
                  <a:pt x="4805359" y="1281274"/>
                  <a:pt x="4805146" y="1279567"/>
                </a:cubicBezTo>
                <a:close/>
                <a:moveTo>
                  <a:pt x="4028938" y="1279282"/>
                </a:moveTo>
                <a:cubicBezTo>
                  <a:pt x="4031712" y="1282696"/>
                  <a:pt x="4030645" y="1285684"/>
                  <a:pt x="4028511" y="1287533"/>
                </a:cubicBezTo>
                <a:lnTo>
                  <a:pt x="4027230" y="1288245"/>
                </a:lnTo>
                <a:lnTo>
                  <a:pt x="4031072" y="1295785"/>
                </a:lnTo>
                <a:cubicBezTo>
                  <a:pt x="4031499" y="1298346"/>
                  <a:pt x="4031072" y="1301049"/>
                  <a:pt x="4030005" y="1304037"/>
                </a:cubicBezTo>
                <a:cubicBezTo>
                  <a:pt x="4027871" y="1303894"/>
                  <a:pt x="4024243" y="1300195"/>
                  <a:pt x="4022109" y="1297635"/>
                </a:cubicBezTo>
                <a:lnTo>
                  <a:pt x="4027017" y="1288245"/>
                </a:lnTo>
                <a:lnTo>
                  <a:pt x="4024883" y="1289526"/>
                </a:lnTo>
                <a:cubicBezTo>
                  <a:pt x="4023602" y="1289810"/>
                  <a:pt x="4022109" y="1289810"/>
                  <a:pt x="4021041" y="1289241"/>
                </a:cubicBezTo>
                <a:cubicBezTo>
                  <a:pt x="4018907" y="1283977"/>
                  <a:pt x="4024456" y="1278286"/>
                  <a:pt x="4028938" y="1279282"/>
                </a:cubicBezTo>
                <a:close/>
                <a:moveTo>
                  <a:pt x="3813170" y="1279282"/>
                </a:moveTo>
                <a:cubicBezTo>
                  <a:pt x="3819573" y="1282270"/>
                  <a:pt x="3825976" y="1283977"/>
                  <a:pt x="3832165" y="1285826"/>
                </a:cubicBezTo>
                <a:lnTo>
                  <a:pt x="3842409" y="1289383"/>
                </a:lnTo>
                <a:lnTo>
                  <a:pt x="3844756" y="1284830"/>
                </a:lnTo>
                <a:lnTo>
                  <a:pt x="3847531" y="1291091"/>
                </a:lnTo>
                <a:lnTo>
                  <a:pt x="3851159" y="1292371"/>
                </a:lnTo>
                <a:cubicBezTo>
                  <a:pt x="3851586" y="1300338"/>
                  <a:pt x="3856281" y="1308020"/>
                  <a:pt x="3860123" y="1315987"/>
                </a:cubicBezTo>
                <a:lnTo>
                  <a:pt x="3861403" y="1319829"/>
                </a:lnTo>
                <a:lnTo>
                  <a:pt x="3863324" y="1316983"/>
                </a:lnTo>
                <a:cubicBezTo>
                  <a:pt x="3875276" y="1321394"/>
                  <a:pt x="3882532" y="1342449"/>
                  <a:pt x="3871434" y="1345294"/>
                </a:cubicBezTo>
                <a:cubicBezTo>
                  <a:pt x="3869727" y="1345721"/>
                  <a:pt x="3868020" y="1345579"/>
                  <a:pt x="3865458" y="1345152"/>
                </a:cubicBezTo>
                <a:lnTo>
                  <a:pt x="3862897" y="1339320"/>
                </a:lnTo>
                <a:lnTo>
                  <a:pt x="3862684" y="1340884"/>
                </a:lnTo>
                <a:cubicBezTo>
                  <a:pt x="3849879" y="1349563"/>
                  <a:pt x="3850732" y="1358099"/>
                  <a:pt x="3844756" y="1366066"/>
                </a:cubicBezTo>
                <a:cubicBezTo>
                  <a:pt x="3825976" y="1375455"/>
                  <a:pt x="3798444" y="1381573"/>
                  <a:pt x="3781371" y="1366635"/>
                </a:cubicBezTo>
                <a:cubicBezTo>
                  <a:pt x="3767499" y="1354400"/>
                  <a:pt x="3772194" y="1339035"/>
                  <a:pt x="3767072" y="1321394"/>
                </a:cubicBezTo>
                <a:cubicBezTo>
                  <a:pt x="3780090" y="1312858"/>
                  <a:pt x="3777956" y="1304179"/>
                  <a:pt x="3780517" y="1295785"/>
                </a:cubicBezTo>
                <a:cubicBezTo>
                  <a:pt x="3791188" y="1294363"/>
                  <a:pt x="3802073" y="1284404"/>
                  <a:pt x="3813170" y="1279282"/>
                </a:cubicBezTo>
                <a:close/>
                <a:moveTo>
                  <a:pt x="4225498" y="1278001"/>
                </a:moveTo>
                <a:cubicBezTo>
                  <a:pt x="4226778" y="1277717"/>
                  <a:pt x="4228272" y="1277717"/>
                  <a:pt x="4229979" y="1278286"/>
                </a:cubicBezTo>
                <a:cubicBezTo>
                  <a:pt x="4236382" y="1289526"/>
                  <a:pt x="4224857" y="1297350"/>
                  <a:pt x="4218027" y="1292655"/>
                </a:cubicBezTo>
                <a:cubicBezTo>
                  <a:pt x="4215680" y="1291091"/>
                  <a:pt x="4213759" y="1288103"/>
                  <a:pt x="4213119" y="1283407"/>
                </a:cubicBezTo>
                <a:cubicBezTo>
                  <a:pt x="4219095" y="1282270"/>
                  <a:pt x="4221656" y="1278713"/>
                  <a:pt x="4225498" y="1278001"/>
                </a:cubicBezTo>
                <a:close/>
                <a:moveTo>
                  <a:pt x="1522513" y="1277607"/>
                </a:moveTo>
                <a:cubicBezTo>
                  <a:pt x="1524165" y="1278381"/>
                  <a:pt x="1525817" y="1279156"/>
                  <a:pt x="1527470" y="1279931"/>
                </a:cubicBezTo>
                <a:lnTo>
                  <a:pt x="1527366" y="1280550"/>
                </a:lnTo>
                <a:lnTo>
                  <a:pt x="1527470" y="1280705"/>
                </a:lnTo>
                <a:cubicBezTo>
                  <a:pt x="1527986" y="1281170"/>
                  <a:pt x="1528709" y="1281324"/>
                  <a:pt x="1529638" y="1281170"/>
                </a:cubicBezTo>
                <a:cubicBezTo>
                  <a:pt x="1529328" y="1282409"/>
                  <a:pt x="1529018" y="1283493"/>
                  <a:pt x="1528502" y="1284423"/>
                </a:cubicBezTo>
                <a:lnTo>
                  <a:pt x="1527573" y="1284732"/>
                </a:lnTo>
                <a:lnTo>
                  <a:pt x="1527676" y="1285197"/>
                </a:lnTo>
                <a:lnTo>
                  <a:pt x="1529122" y="1285971"/>
                </a:lnTo>
                <a:lnTo>
                  <a:pt x="1530773" y="1285352"/>
                </a:lnTo>
                <a:lnTo>
                  <a:pt x="1531393" y="1288450"/>
                </a:lnTo>
                <a:lnTo>
                  <a:pt x="1532323" y="1291083"/>
                </a:lnTo>
                <a:cubicBezTo>
                  <a:pt x="1532116" y="1291857"/>
                  <a:pt x="1531703" y="1292787"/>
                  <a:pt x="1530773" y="1293716"/>
                </a:cubicBezTo>
                <a:lnTo>
                  <a:pt x="1529741" y="1293716"/>
                </a:lnTo>
                <a:lnTo>
                  <a:pt x="1524062" y="1300067"/>
                </a:lnTo>
                <a:cubicBezTo>
                  <a:pt x="1529948" y="1302391"/>
                  <a:pt x="1539241" y="1304249"/>
                  <a:pt x="1537589" y="1310445"/>
                </a:cubicBezTo>
                <a:cubicBezTo>
                  <a:pt x="1531806" y="1313543"/>
                  <a:pt x="1525611" y="1306728"/>
                  <a:pt x="1518280" y="1305024"/>
                </a:cubicBezTo>
                <a:cubicBezTo>
                  <a:pt x="1514769" y="1305489"/>
                  <a:pt x="1513943" y="1309516"/>
                  <a:pt x="1507747" y="1306263"/>
                </a:cubicBezTo>
                <a:cubicBezTo>
                  <a:pt x="1509709" y="1301771"/>
                  <a:pt x="1511981" y="1298053"/>
                  <a:pt x="1514666" y="1294956"/>
                </a:cubicBezTo>
                <a:lnTo>
                  <a:pt x="1517660" y="1292632"/>
                </a:lnTo>
                <a:lnTo>
                  <a:pt x="1517557" y="1292477"/>
                </a:lnTo>
                <a:cubicBezTo>
                  <a:pt x="1516421" y="1291548"/>
                  <a:pt x="1515389" y="1290464"/>
                  <a:pt x="1514459" y="1288760"/>
                </a:cubicBezTo>
                <a:cubicBezTo>
                  <a:pt x="1515595" y="1288450"/>
                  <a:pt x="1515182" y="1287366"/>
                  <a:pt x="1514769" y="1286126"/>
                </a:cubicBezTo>
                <a:cubicBezTo>
                  <a:pt x="1515802" y="1284732"/>
                  <a:pt x="1517454" y="1283803"/>
                  <a:pt x="1519415" y="1283493"/>
                </a:cubicBezTo>
                <a:lnTo>
                  <a:pt x="1521171" y="1283648"/>
                </a:lnTo>
                <a:lnTo>
                  <a:pt x="1521171" y="1283493"/>
                </a:lnTo>
                <a:lnTo>
                  <a:pt x="1521481" y="1283803"/>
                </a:lnTo>
                <a:lnTo>
                  <a:pt x="1522204" y="1283803"/>
                </a:lnTo>
                <a:lnTo>
                  <a:pt x="1521894" y="1283028"/>
                </a:lnTo>
                <a:cubicBezTo>
                  <a:pt x="1521584" y="1281015"/>
                  <a:pt x="1521687" y="1278846"/>
                  <a:pt x="1522513" y="1277607"/>
                </a:cubicBezTo>
                <a:close/>
                <a:moveTo>
                  <a:pt x="988679" y="1277607"/>
                </a:moveTo>
                <a:cubicBezTo>
                  <a:pt x="994048" y="1276058"/>
                  <a:pt x="1004270" y="1291703"/>
                  <a:pt x="986097" y="1286436"/>
                </a:cubicBezTo>
                <a:cubicBezTo>
                  <a:pt x="985581" y="1280550"/>
                  <a:pt x="986820" y="1278227"/>
                  <a:pt x="988679" y="1277607"/>
                </a:cubicBezTo>
                <a:close/>
                <a:moveTo>
                  <a:pt x="3967260" y="1276863"/>
                </a:moveTo>
                <a:cubicBezTo>
                  <a:pt x="3967900" y="1278428"/>
                  <a:pt x="3971315" y="1280278"/>
                  <a:pt x="3973022" y="1282554"/>
                </a:cubicBezTo>
                <a:cubicBezTo>
                  <a:pt x="3972382" y="1283550"/>
                  <a:pt x="3973235" y="1285115"/>
                  <a:pt x="3972595" y="1286111"/>
                </a:cubicBezTo>
                <a:cubicBezTo>
                  <a:pt x="3971528" y="1285542"/>
                  <a:pt x="3968967" y="1285400"/>
                  <a:pt x="3969394" y="1284404"/>
                </a:cubicBezTo>
                <a:cubicBezTo>
                  <a:pt x="3968327" y="1283835"/>
                  <a:pt x="3969180" y="1281700"/>
                  <a:pt x="3969180" y="1281700"/>
                </a:cubicBezTo>
                <a:cubicBezTo>
                  <a:pt x="3968113" y="1281132"/>
                  <a:pt x="3967046" y="1280562"/>
                  <a:pt x="3966406" y="1278855"/>
                </a:cubicBezTo>
                <a:cubicBezTo>
                  <a:pt x="3967900" y="1278428"/>
                  <a:pt x="3966833" y="1277859"/>
                  <a:pt x="3967260" y="1276863"/>
                </a:cubicBezTo>
                <a:close/>
                <a:moveTo>
                  <a:pt x="3613623" y="1276721"/>
                </a:moveTo>
                <a:cubicBezTo>
                  <a:pt x="3611275" y="1290521"/>
                  <a:pt x="3622373" y="1297635"/>
                  <a:pt x="3625788" y="1307309"/>
                </a:cubicBezTo>
                <a:lnTo>
                  <a:pt x="3626428" y="1310581"/>
                </a:lnTo>
                <a:lnTo>
                  <a:pt x="3631550" y="1312289"/>
                </a:lnTo>
                <a:cubicBezTo>
                  <a:pt x="3632404" y="1313000"/>
                  <a:pt x="3633044" y="1313711"/>
                  <a:pt x="3633044" y="1314849"/>
                </a:cubicBezTo>
                <a:cubicBezTo>
                  <a:pt x="3632831" y="1316414"/>
                  <a:pt x="3631124" y="1315987"/>
                  <a:pt x="3630270" y="1316556"/>
                </a:cubicBezTo>
                <a:lnTo>
                  <a:pt x="3626428" y="1314849"/>
                </a:lnTo>
                <a:lnTo>
                  <a:pt x="3626001" y="1318406"/>
                </a:lnTo>
                <a:cubicBezTo>
                  <a:pt x="3620666" y="1339462"/>
                  <a:pt x="3596976" y="1343018"/>
                  <a:pt x="3584384" y="1333771"/>
                </a:cubicBezTo>
                <a:lnTo>
                  <a:pt x="3578409" y="1326799"/>
                </a:lnTo>
                <a:lnTo>
                  <a:pt x="3576488" y="1328649"/>
                </a:lnTo>
                <a:cubicBezTo>
                  <a:pt x="3574354" y="1329787"/>
                  <a:pt x="3572006" y="1330214"/>
                  <a:pt x="3570726" y="1329787"/>
                </a:cubicBezTo>
                <a:cubicBezTo>
                  <a:pt x="3568165" y="1327511"/>
                  <a:pt x="3566244" y="1322816"/>
                  <a:pt x="3569232" y="1318975"/>
                </a:cubicBezTo>
                <a:cubicBezTo>
                  <a:pt x="3570086" y="1317125"/>
                  <a:pt x="3571793" y="1316130"/>
                  <a:pt x="3573500" y="1315133"/>
                </a:cubicBezTo>
                <a:lnTo>
                  <a:pt x="3577555" y="1312004"/>
                </a:lnTo>
                <a:lnTo>
                  <a:pt x="3579689" y="1303894"/>
                </a:lnTo>
                <a:cubicBezTo>
                  <a:pt x="3586305" y="1291659"/>
                  <a:pt x="3600391" y="1288529"/>
                  <a:pt x="3613623" y="1276721"/>
                </a:cubicBezTo>
                <a:close/>
                <a:moveTo>
                  <a:pt x="3980065" y="1276437"/>
                </a:moveTo>
                <a:cubicBezTo>
                  <a:pt x="3980705" y="1276578"/>
                  <a:pt x="3981132" y="1277290"/>
                  <a:pt x="3981345" y="1278143"/>
                </a:cubicBezTo>
                <a:cubicBezTo>
                  <a:pt x="3981345" y="1278143"/>
                  <a:pt x="3981986" y="1279709"/>
                  <a:pt x="3982413" y="1281416"/>
                </a:cubicBezTo>
                <a:cubicBezTo>
                  <a:pt x="3983053" y="1282981"/>
                  <a:pt x="3984120" y="1283692"/>
                  <a:pt x="3984120" y="1283692"/>
                </a:cubicBezTo>
                <a:cubicBezTo>
                  <a:pt x="3984546" y="1285400"/>
                  <a:pt x="3984120" y="1286395"/>
                  <a:pt x="3982626" y="1286822"/>
                </a:cubicBezTo>
                <a:cubicBezTo>
                  <a:pt x="3982626" y="1286822"/>
                  <a:pt x="3980918" y="1284688"/>
                  <a:pt x="3980918" y="1284688"/>
                </a:cubicBezTo>
                <a:cubicBezTo>
                  <a:pt x="3979851" y="1281274"/>
                  <a:pt x="3979425" y="1279567"/>
                  <a:pt x="3977717" y="1277433"/>
                </a:cubicBezTo>
                <a:cubicBezTo>
                  <a:pt x="3978784" y="1276578"/>
                  <a:pt x="3979425" y="1276294"/>
                  <a:pt x="3980065" y="1276437"/>
                </a:cubicBezTo>
                <a:close/>
                <a:moveTo>
                  <a:pt x="1152340" y="1275903"/>
                </a:moveTo>
                <a:cubicBezTo>
                  <a:pt x="1152340" y="1276678"/>
                  <a:pt x="1152340" y="1276678"/>
                  <a:pt x="1152340" y="1276678"/>
                </a:cubicBezTo>
                <a:cubicBezTo>
                  <a:pt x="1153166" y="1277607"/>
                  <a:pt x="1153166" y="1276833"/>
                  <a:pt x="1154095" y="1276833"/>
                </a:cubicBezTo>
                <a:cubicBezTo>
                  <a:pt x="1154095" y="1276833"/>
                  <a:pt x="1153166" y="1276833"/>
                  <a:pt x="1154095" y="1276058"/>
                </a:cubicBezTo>
                <a:cubicBezTo>
                  <a:pt x="1154095" y="1276988"/>
                  <a:pt x="1154921" y="1276988"/>
                  <a:pt x="1155850" y="1276988"/>
                </a:cubicBezTo>
                <a:cubicBezTo>
                  <a:pt x="1157503" y="1278846"/>
                  <a:pt x="1159258" y="1281635"/>
                  <a:pt x="1158432" y="1283183"/>
                </a:cubicBezTo>
                <a:cubicBezTo>
                  <a:pt x="1156573" y="1284732"/>
                  <a:pt x="1154818" y="1283803"/>
                  <a:pt x="1153889" y="1282874"/>
                </a:cubicBezTo>
                <a:cubicBezTo>
                  <a:pt x="1152649" y="1282254"/>
                  <a:pt x="1152030" y="1281170"/>
                  <a:pt x="1151823" y="1279776"/>
                </a:cubicBezTo>
                <a:cubicBezTo>
                  <a:pt x="1151617" y="1278536"/>
                  <a:pt x="1151823" y="1277143"/>
                  <a:pt x="1152340" y="1275903"/>
                </a:cubicBezTo>
                <a:close/>
                <a:moveTo>
                  <a:pt x="3665057" y="1275868"/>
                </a:moveTo>
                <a:cubicBezTo>
                  <a:pt x="3668685" y="1276863"/>
                  <a:pt x="3671673" y="1276152"/>
                  <a:pt x="3673808" y="1276010"/>
                </a:cubicBezTo>
                <a:cubicBezTo>
                  <a:pt x="3675942" y="1275868"/>
                  <a:pt x="3677649" y="1276152"/>
                  <a:pt x="3679143" y="1278997"/>
                </a:cubicBezTo>
                <a:cubicBezTo>
                  <a:pt x="3676368" y="1282838"/>
                  <a:pt x="3667405" y="1280562"/>
                  <a:pt x="3665057" y="1275868"/>
                </a:cubicBezTo>
                <a:close/>
                <a:moveTo>
                  <a:pt x="1302784" y="1275748"/>
                </a:moveTo>
                <a:cubicBezTo>
                  <a:pt x="1305469" y="1272960"/>
                  <a:pt x="1307224" y="1273735"/>
                  <a:pt x="1309805" y="1276213"/>
                </a:cubicBezTo>
                <a:cubicBezTo>
                  <a:pt x="1306088" y="1280550"/>
                  <a:pt x="1305262" y="1279001"/>
                  <a:pt x="1302784" y="1275748"/>
                </a:cubicBezTo>
                <a:close/>
                <a:moveTo>
                  <a:pt x="3639020" y="1275441"/>
                </a:moveTo>
                <a:cubicBezTo>
                  <a:pt x="3640087" y="1274871"/>
                  <a:pt x="3641368" y="1276863"/>
                  <a:pt x="3641368" y="1276863"/>
                </a:cubicBezTo>
                <a:cubicBezTo>
                  <a:pt x="3642435" y="1276152"/>
                  <a:pt x="3643288" y="1275583"/>
                  <a:pt x="3644996" y="1276010"/>
                </a:cubicBezTo>
                <a:cubicBezTo>
                  <a:pt x="3644782" y="1277575"/>
                  <a:pt x="3645636" y="1277006"/>
                  <a:pt x="3646276" y="1278001"/>
                </a:cubicBezTo>
                <a:cubicBezTo>
                  <a:pt x="3644782" y="1277575"/>
                  <a:pt x="3641795" y="1279424"/>
                  <a:pt x="3639233" y="1279709"/>
                </a:cubicBezTo>
                <a:cubicBezTo>
                  <a:pt x="3638593" y="1278713"/>
                  <a:pt x="3636886" y="1278428"/>
                  <a:pt x="3636246" y="1277433"/>
                </a:cubicBezTo>
                <a:cubicBezTo>
                  <a:pt x="3637312" y="1276863"/>
                  <a:pt x="3638380" y="1274445"/>
                  <a:pt x="3639020" y="1275441"/>
                </a:cubicBezTo>
                <a:close/>
                <a:moveTo>
                  <a:pt x="4896703" y="1274871"/>
                </a:moveTo>
                <a:cubicBezTo>
                  <a:pt x="4897129" y="1277290"/>
                  <a:pt x="4898410" y="1281985"/>
                  <a:pt x="4897556" y="1284546"/>
                </a:cubicBezTo>
                <a:cubicBezTo>
                  <a:pt x="4897343" y="1285400"/>
                  <a:pt x="4896916" y="1285969"/>
                  <a:pt x="4896062" y="1286253"/>
                </a:cubicBezTo>
                <a:cubicBezTo>
                  <a:pt x="4895636" y="1282981"/>
                  <a:pt x="4893074" y="1278428"/>
                  <a:pt x="4896703" y="1274871"/>
                </a:cubicBezTo>
                <a:close/>
                <a:moveTo>
                  <a:pt x="4200741" y="1274871"/>
                </a:moveTo>
                <a:cubicBezTo>
                  <a:pt x="4202235" y="1274587"/>
                  <a:pt x="4203942" y="1274729"/>
                  <a:pt x="4205223" y="1275298"/>
                </a:cubicBezTo>
                <a:cubicBezTo>
                  <a:pt x="4206716" y="1276010"/>
                  <a:pt x="4207784" y="1277717"/>
                  <a:pt x="4207997" y="1280420"/>
                </a:cubicBezTo>
                <a:cubicBezTo>
                  <a:pt x="4200954" y="1281843"/>
                  <a:pt x="4195832" y="1286964"/>
                  <a:pt x="4191990" y="1285257"/>
                </a:cubicBezTo>
                <a:cubicBezTo>
                  <a:pt x="4190497" y="1284688"/>
                  <a:pt x="4189429" y="1283407"/>
                  <a:pt x="4188149" y="1280989"/>
                </a:cubicBezTo>
                <a:cubicBezTo>
                  <a:pt x="4190070" y="1278997"/>
                  <a:pt x="4195832" y="1275583"/>
                  <a:pt x="4200741" y="1274871"/>
                </a:cubicBezTo>
                <a:close/>
                <a:moveTo>
                  <a:pt x="1533252" y="1274819"/>
                </a:moveTo>
                <a:cubicBezTo>
                  <a:pt x="1540480" y="1270946"/>
                  <a:pt x="1543784" y="1277143"/>
                  <a:pt x="1541512" y="1281324"/>
                </a:cubicBezTo>
                <a:cubicBezTo>
                  <a:pt x="1540790" y="1282719"/>
                  <a:pt x="1539447" y="1283958"/>
                  <a:pt x="1537382" y="1284423"/>
                </a:cubicBezTo>
                <a:cubicBezTo>
                  <a:pt x="1535627" y="1283493"/>
                  <a:pt x="1533562" y="1279776"/>
                  <a:pt x="1533149" y="1277143"/>
                </a:cubicBezTo>
                <a:cubicBezTo>
                  <a:pt x="1532942" y="1276213"/>
                  <a:pt x="1532942" y="1275439"/>
                  <a:pt x="1533252" y="1274819"/>
                </a:cubicBezTo>
                <a:close/>
                <a:moveTo>
                  <a:pt x="1511568" y="1274664"/>
                </a:moveTo>
                <a:cubicBezTo>
                  <a:pt x="1512962" y="1277530"/>
                  <a:pt x="1511929" y="1281673"/>
                  <a:pt x="1510097" y="1285178"/>
                </a:cubicBezTo>
                <a:lnTo>
                  <a:pt x="1503833" y="1291848"/>
                </a:lnTo>
                <a:lnTo>
                  <a:pt x="1503825" y="1291848"/>
                </a:lnTo>
                <a:lnTo>
                  <a:pt x="1504185" y="1287133"/>
                </a:lnTo>
                <a:cubicBezTo>
                  <a:pt x="1504624" y="1285623"/>
                  <a:pt x="1505115" y="1284035"/>
                  <a:pt x="1504857" y="1281944"/>
                </a:cubicBezTo>
                <a:cubicBezTo>
                  <a:pt x="1507644" y="1280860"/>
                  <a:pt x="1507541" y="1275903"/>
                  <a:pt x="1511568" y="1274664"/>
                </a:cubicBezTo>
                <a:close/>
                <a:moveTo>
                  <a:pt x="4686057" y="1274160"/>
                </a:moveTo>
                <a:cubicBezTo>
                  <a:pt x="4696728" y="1273449"/>
                  <a:pt x="4706972" y="1277575"/>
                  <a:pt x="4711241" y="1287249"/>
                </a:cubicBezTo>
                <a:cubicBezTo>
                  <a:pt x="4707186" y="1296212"/>
                  <a:pt x="4700570" y="1301902"/>
                  <a:pt x="4693100" y="1304605"/>
                </a:cubicBezTo>
                <a:cubicBezTo>
                  <a:pt x="4680935" y="1309301"/>
                  <a:pt x="4666636" y="1305459"/>
                  <a:pt x="4658526" y="1294363"/>
                </a:cubicBezTo>
                <a:cubicBezTo>
                  <a:pt x="4659380" y="1292798"/>
                  <a:pt x="4660233" y="1291374"/>
                  <a:pt x="4658953" y="1290664"/>
                </a:cubicBezTo>
                <a:cubicBezTo>
                  <a:pt x="4664288" y="1280562"/>
                  <a:pt x="4675173" y="1274871"/>
                  <a:pt x="4686057" y="1274160"/>
                </a:cubicBezTo>
                <a:close/>
                <a:moveTo>
                  <a:pt x="4006102" y="1273876"/>
                </a:moveTo>
                <a:cubicBezTo>
                  <a:pt x="4007596" y="1273306"/>
                  <a:pt x="4008023" y="1275014"/>
                  <a:pt x="4009090" y="1275583"/>
                </a:cubicBezTo>
                <a:cubicBezTo>
                  <a:pt x="4010584" y="1277717"/>
                  <a:pt x="4010371" y="1286680"/>
                  <a:pt x="4008876" y="1287107"/>
                </a:cubicBezTo>
                <a:cubicBezTo>
                  <a:pt x="4007383" y="1284262"/>
                  <a:pt x="4004608" y="1279282"/>
                  <a:pt x="4004608" y="1276152"/>
                </a:cubicBezTo>
                <a:cubicBezTo>
                  <a:pt x="4004821" y="1275156"/>
                  <a:pt x="4005035" y="1274302"/>
                  <a:pt x="4006102" y="1273876"/>
                </a:cubicBezTo>
                <a:close/>
                <a:moveTo>
                  <a:pt x="4811761" y="1273591"/>
                </a:moveTo>
                <a:cubicBezTo>
                  <a:pt x="4811975" y="1275156"/>
                  <a:pt x="4811975" y="1275156"/>
                  <a:pt x="4811335" y="1276152"/>
                </a:cubicBezTo>
                <a:cubicBezTo>
                  <a:pt x="4809627" y="1276578"/>
                  <a:pt x="4808774" y="1276010"/>
                  <a:pt x="4807280" y="1276437"/>
                </a:cubicBezTo>
                <a:cubicBezTo>
                  <a:pt x="4807706" y="1279709"/>
                  <a:pt x="4808347" y="1278713"/>
                  <a:pt x="4806853" y="1279140"/>
                </a:cubicBezTo>
                <a:cubicBezTo>
                  <a:pt x="4806853" y="1279140"/>
                  <a:pt x="4806853" y="1279140"/>
                  <a:pt x="4805146" y="1279567"/>
                </a:cubicBezTo>
                <a:cubicBezTo>
                  <a:pt x="4805146" y="1279567"/>
                  <a:pt x="4804505" y="1280562"/>
                  <a:pt x="4803225" y="1276721"/>
                </a:cubicBezTo>
                <a:cubicBezTo>
                  <a:pt x="4804719" y="1276294"/>
                  <a:pt x="4809414" y="1275014"/>
                  <a:pt x="4809414" y="1275014"/>
                </a:cubicBezTo>
                <a:cubicBezTo>
                  <a:pt x="4810054" y="1274018"/>
                  <a:pt x="4810268" y="1274018"/>
                  <a:pt x="4811761" y="1273591"/>
                </a:cubicBezTo>
                <a:close/>
                <a:moveTo>
                  <a:pt x="1174024" y="1273115"/>
                </a:moveTo>
                <a:cubicBezTo>
                  <a:pt x="1175675" y="1274974"/>
                  <a:pt x="1180116" y="1272031"/>
                  <a:pt x="1182697" y="1274819"/>
                </a:cubicBezTo>
                <a:cubicBezTo>
                  <a:pt x="1189099" y="1280550"/>
                  <a:pt x="1189719" y="1283183"/>
                  <a:pt x="1188479" y="1286591"/>
                </a:cubicBezTo>
                <a:lnTo>
                  <a:pt x="1188376" y="1286901"/>
                </a:lnTo>
                <a:lnTo>
                  <a:pt x="1188376" y="1291857"/>
                </a:lnTo>
                <a:lnTo>
                  <a:pt x="1186724" y="1292632"/>
                </a:lnTo>
                <a:cubicBezTo>
                  <a:pt x="1187550" y="1293407"/>
                  <a:pt x="1188479" y="1294336"/>
                  <a:pt x="1187550" y="1295575"/>
                </a:cubicBezTo>
                <a:cubicBezTo>
                  <a:pt x="1185898" y="1297279"/>
                  <a:pt x="1183523" y="1297589"/>
                  <a:pt x="1181148" y="1297434"/>
                </a:cubicBezTo>
                <a:cubicBezTo>
                  <a:pt x="1184659" y="1298518"/>
                  <a:pt x="1187240" y="1301461"/>
                  <a:pt x="1186104" y="1307657"/>
                </a:cubicBezTo>
                <a:cubicBezTo>
                  <a:pt x="1186207" y="1309516"/>
                  <a:pt x="1185692" y="1308896"/>
                  <a:pt x="1185382" y="1309980"/>
                </a:cubicBezTo>
                <a:lnTo>
                  <a:pt x="1185382" y="1311220"/>
                </a:lnTo>
                <a:lnTo>
                  <a:pt x="1188273" y="1303010"/>
                </a:lnTo>
                <a:cubicBezTo>
                  <a:pt x="1189719" y="1300532"/>
                  <a:pt x="1191680" y="1298363"/>
                  <a:pt x="1194674" y="1297124"/>
                </a:cubicBezTo>
                <a:cubicBezTo>
                  <a:pt x="1200251" y="1298363"/>
                  <a:pt x="1203761" y="1297744"/>
                  <a:pt x="1206859" y="1296659"/>
                </a:cubicBezTo>
                <a:lnTo>
                  <a:pt x="1207272" y="1296504"/>
                </a:lnTo>
                <a:lnTo>
                  <a:pt x="1207065" y="1296195"/>
                </a:lnTo>
                <a:cubicBezTo>
                  <a:pt x="1206962" y="1296195"/>
                  <a:pt x="1207169" y="1296195"/>
                  <a:pt x="1207582" y="1295885"/>
                </a:cubicBezTo>
                <a:cubicBezTo>
                  <a:pt x="1207582" y="1295885"/>
                  <a:pt x="1207582" y="1295730"/>
                  <a:pt x="1208408" y="1295111"/>
                </a:cubicBezTo>
                <a:cubicBezTo>
                  <a:pt x="1208408" y="1295111"/>
                  <a:pt x="1208408" y="1294801"/>
                  <a:pt x="1208821" y="1294956"/>
                </a:cubicBezTo>
                <a:lnTo>
                  <a:pt x="1209854" y="1295420"/>
                </a:lnTo>
                <a:lnTo>
                  <a:pt x="1211196" y="1294956"/>
                </a:lnTo>
                <a:cubicBezTo>
                  <a:pt x="1212641" y="1294336"/>
                  <a:pt x="1214190" y="1293871"/>
                  <a:pt x="1215842" y="1293561"/>
                </a:cubicBezTo>
                <a:cubicBezTo>
                  <a:pt x="1219560" y="1294801"/>
                  <a:pt x="1223380" y="1296659"/>
                  <a:pt x="1227200" y="1298673"/>
                </a:cubicBezTo>
                <a:lnTo>
                  <a:pt x="1230504" y="1300841"/>
                </a:lnTo>
                <a:lnTo>
                  <a:pt x="1233499" y="1302391"/>
                </a:lnTo>
                <a:lnTo>
                  <a:pt x="1233809" y="1302546"/>
                </a:lnTo>
                <a:lnTo>
                  <a:pt x="1240934" y="1303630"/>
                </a:lnTo>
                <a:cubicBezTo>
                  <a:pt x="1243205" y="1304404"/>
                  <a:pt x="1245167" y="1305798"/>
                  <a:pt x="1246819" y="1307812"/>
                </a:cubicBezTo>
                <a:cubicBezTo>
                  <a:pt x="1248471" y="1310445"/>
                  <a:pt x="1249091" y="1312769"/>
                  <a:pt x="1248884" y="1314937"/>
                </a:cubicBezTo>
                <a:lnTo>
                  <a:pt x="1247645" y="1317415"/>
                </a:lnTo>
                <a:lnTo>
                  <a:pt x="1251672" y="1327174"/>
                </a:lnTo>
                <a:lnTo>
                  <a:pt x="1251672" y="1327484"/>
                </a:lnTo>
                <a:lnTo>
                  <a:pt x="1252705" y="1328723"/>
                </a:lnTo>
                <a:lnTo>
                  <a:pt x="1254357" y="1328103"/>
                </a:lnTo>
                <a:cubicBezTo>
                  <a:pt x="1257041" y="1325625"/>
                  <a:pt x="1255596" y="1321753"/>
                  <a:pt x="1262307" y="1320513"/>
                </a:cubicBezTo>
                <a:lnTo>
                  <a:pt x="1262514" y="1325935"/>
                </a:lnTo>
                <a:lnTo>
                  <a:pt x="1263650" y="1325315"/>
                </a:lnTo>
                <a:cubicBezTo>
                  <a:pt x="1266334" y="1324696"/>
                  <a:pt x="1269123" y="1324231"/>
                  <a:pt x="1271910" y="1324076"/>
                </a:cubicBezTo>
                <a:lnTo>
                  <a:pt x="1276763" y="1324076"/>
                </a:lnTo>
                <a:lnTo>
                  <a:pt x="1275421" y="1322372"/>
                </a:lnTo>
                <a:cubicBezTo>
                  <a:pt x="1273253" y="1318655"/>
                  <a:pt x="1274492" y="1315867"/>
                  <a:pt x="1273769" y="1315402"/>
                </a:cubicBezTo>
                <a:cubicBezTo>
                  <a:pt x="1276247" y="1312459"/>
                  <a:pt x="1278106" y="1313853"/>
                  <a:pt x="1281720" y="1315092"/>
                </a:cubicBezTo>
                <a:cubicBezTo>
                  <a:pt x="1280894" y="1316022"/>
                  <a:pt x="1283682" y="1318190"/>
                  <a:pt x="1284611" y="1318964"/>
                </a:cubicBezTo>
                <a:cubicBezTo>
                  <a:pt x="1283785" y="1319894"/>
                  <a:pt x="1284095" y="1320978"/>
                  <a:pt x="1284301" y="1322372"/>
                </a:cubicBezTo>
                <a:lnTo>
                  <a:pt x="1284301" y="1324076"/>
                </a:lnTo>
                <a:lnTo>
                  <a:pt x="1298550" y="1324696"/>
                </a:lnTo>
                <a:cubicBezTo>
                  <a:pt x="1297518" y="1327638"/>
                  <a:pt x="1298964" y="1329652"/>
                  <a:pt x="1296485" y="1333990"/>
                </a:cubicBezTo>
                <a:cubicBezTo>
                  <a:pt x="1288844" y="1332595"/>
                  <a:pt x="1281306" y="1332286"/>
                  <a:pt x="1274079" y="1331976"/>
                </a:cubicBezTo>
                <a:lnTo>
                  <a:pt x="1262617" y="1330891"/>
                </a:lnTo>
                <a:lnTo>
                  <a:pt x="1262617" y="1334144"/>
                </a:lnTo>
                <a:cubicBezTo>
                  <a:pt x="1262101" y="1338326"/>
                  <a:pt x="1260759" y="1342199"/>
                  <a:pt x="1258900" y="1345761"/>
                </a:cubicBezTo>
                <a:lnTo>
                  <a:pt x="1256835" y="1348704"/>
                </a:lnTo>
                <a:lnTo>
                  <a:pt x="1257145" y="1350254"/>
                </a:lnTo>
                <a:lnTo>
                  <a:pt x="1257145" y="1351492"/>
                </a:lnTo>
                <a:lnTo>
                  <a:pt x="1257351" y="1351803"/>
                </a:lnTo>
                <a:cubicBezTo>
                  <a:pt x="1257661" y="1352422"/>
                  <a:pt x="1257868" y="1352887"/>
                  <a:pt x="1257868" y="1352887"/>
                </a:cubicBezTo>
                <a:cubicBezTo>
                  <a:pt x="1257041" y="1353661"/>
                  <a:pt x="1257041" y="1353506"/>
                  <a:pt x="1257041" y="1352732"/>
                </a:cubicBezTo>
                <a:lnTo>
                  <a:pt x="1256938" y="1352577"/>
                </a:lnTo>
                <a:lnTo>
                  <a:pt x="1256628" y="1355210"/>
                </a:lnTo>
                <a:cubicBezTo>
                  <a:pt x="1254460" y="1354901"/>
                  <a:pt x="1252395" y="1353816"/>
                  <a:pt x="1250433" y="1352732"/>
                </a:cubicBezTo>
                <a:lnTo>
                  <a:pt x="1244961" y="1349169"/>
                </a:lnTo>
                <a:lnTo>
                  <a:pt x="1249297" y="1348704"/>
                </a:lnTo>
                <a:cubicBezTo>
                  <a:pt x="1249297" y="1347775"/>
                  <a:pt x="1248471" y="1346846"/>
                  <a:pt x="1248471" y="1346846"/>
                </a:cubicBezTo>
                <a:lnTo>
                  <a:pt x="1251053" y="1346381"/>
                </a:lnTo>
                <a:lnTo>
                  <a:pt x="1250846" y="1344987"/>
                </a:lnTo>
                <a:lnTo>
                  <a:pt x="1251672" y="1339565"/>
                </a:lnTo>
                <a:lnTo>
                  <a:pt x="1250227" y="1339565"/>
                </a:lnTo>
                <a:lnTo>
                  <a:pt x="1248678" y="1343438"/>
                </a:lnTo>
                <a:lnTo>
                  <a:pt x="1244961" y="1349169"/>
                </a:lnTo>
                <a:lnTo>
                  <a:pt x="1244238" y="1350254"/>
                </a:lnTo>
                <a:cubicBezTo>
                  <a:pt x="1242792" y="1352732"/>
                  <a:pt x="1241243" y="1355210"/>
                  <a:pt x="1240107" y="1358153"/>
                </a:cubicBezTo>
                <a:cubicBezTo>
                  <a:pt x="1229059" y="1355829"/>
                  <a:pt x="1226271" y="1361406"/>
                  <a:pt x="1221211" y="1364349"/>
                </a:cubicBezTo>
                <a:cubicBezTo>
                  <a:pt x="1214603" y="1359392"/>
                  <a:pt x="1204174" y="1358927"/>
                  <a:pt x="1195604" y="1355520"/>
                </a:cubicBezTo>
                <a:cubicBezTo>
                  <a:pt x="1191061" y="1345607"/>
                  <a:pt x="1184556" y="1338481"/>
                  <a:pt x="1179909" y="1328413"/>
                </a:cubicBezTo>
                <a:cubicBezTo>
                  <a:pt x="1181561" y="1326245"/>
                  <a:pt x="1182491" y="1323457"/>
                  <a:pt x="1183317" y="1320513"/>
                </a:cubicBezTo>
                <a:lnTo>
                  <a:pt x="1184762" y="1314008"/>
                </a:lnTo>
                <a:lnTo>
                  <a:pt x="1180941" y="1315092"/>
                </a:lnTo>
                <a:cubicBezTo>
                  <a:pt x="1179496" y="1315867"/>
                  <a:pt x="1177844" y="1316486"/>
                  <a:pt x="1174437" y="1316331"/>
                </a:cubicBezTo>
                <a:cubicBezTo>
                  <a:pt x="1165763" y="1316176"/>
                  <a:pt x="1164214" y="1310445"/>
                  <a:pt x="1164627" y="1306263"/>
                </a:cubicBezTo>
                <a:cubicBezTo>
                  <a:pt x="1164834" y="1306418"/>
                  <a:pt x="1165040" y="1305953"/>
                  <a:pt x="1165247" y="1305489"/>
                </a:cubicBezTo>
                <a:lnTo>
                  <a:pt x="1166072" y="1303785"/>
                </a:lnTo>
                <a:lnTo>
                  <a:pt x="1164937" y="1301151"/>
                </a:lnTo>
                <a:cubicBezTo>
                  <a:pt x="1165040" y="1300377"/>
                  <a:pt x="1165557" y="1299602"/>
                  <a:pt x="1166279" y="1298518"/>
                </a:cubicBezTo>
                <a:cubicBezTo>
                  <a:pt x="1166279" y="1297744"/>
                  <a:pt x="1169687" y="1296504"/>
                  <a:pt x="1170616" y="1297124"/>
                </a:cubicBezTo>
                <a:lnTo>
                  <a:pt x="1171339" y="1297744"/>
                </a:lnTo>
                <a:lnTo>
                  <a:pt x="1176501" y="1296504"/>
                </a:lnTo>
                <a:cubicBezTo>
                  <a:pt x="1177637" y="1296504"/>
                  <a:pt x="1178670" y="1296814"/>
                  <a:pt x="1179702" y="1296969"/>
                </a:cubicBezTo>
                <a:cubicBezTo>
                  <a:pt x="1177947" y="1296659"/>
                  <a:pt x="1175985" y="1296195"/>
                  <a:pt x="1174746" y="1295730"/>
                </a:cubicBezTo>
                <a:lnTo>
                  <a:pt x="1172991" y="1294956"/>
                </a:lnTo>
                <a:lnTo>
                  <a:pt x="1172991" y="1295885"/>
                </a:lnTo>
                <a:lnTo>
                  <a:pt x="1172062" y="1294801"/>
                </a:lnTo>
                <a:lnTo>
                  <a:pt x="1171855" y="1294801"/>
                </a:lnTo>
                <a:cubicBezTo>
                  <a:pt x="1171855" y="1293871"/>
                  <a:pt x="1171029" y="1293871"/>
                  <a:pt x="1171029" y="1294646"/>
                </a:cubicBezTo>
                <a:cubicBezTo>
                  <a:pt x="1169790" y="1293716"/>
                  <a:pt x="1168654" y="1292942"/>
                  <a:pt x="1168138" y="1292322"/>
                </a:cubicBezTo>
                <a:lnTo>
                  <a:pt x="1168241" y="1291548"/>
                </a:lnTo>
                <a:lnTo>
                  <a:pt x="1163388" y="1291548"/>
                </a:lnTo>
                <a:lnTo>
                  <a:pt x="1162046" y="1291393"/>
                </a:lnTo>
                <a:lnTo>
                  <a:pt x="1161633" y="1291857"/>
                </a:lnTo>
                <a:lnTo>
                  <a:pt x="1160910" y="1291238"/>
                </a:lnTo>
                <a:lnTo>
                  <a:pt x="1156573" y="1290464"/>
                </a:lnTo>
                <a:cubicBezTo>
                  <a:pt x="1154715" y="1289689"/>
                  <a:pt x="1153475" y="1288604"/>
                  <a:pt x="1153269" y="1286746"/>
                </a:cubicBezTo>
                <a:lnTo>
                  <a:pt x="1159051" y="1285971"/>
                </a:lnTo>
                <a:lnTo>
                  <a:pt x="1159464" y="1285662"/>
                </a:lnTo>
                <a:lnTo>
                  <a:pt x="1159774" y="1285817"/>
                </a:lnTo>
                <a:lnTo>
                  <a:pt x="1166692" y="1285197"/>
                </a:lnTo>
                <a:lnTo>
                  <a:pt x="1173197" y="1286281"/>
                </a:lnTo>
                <a:lnTo>
                  <a:pt x="1173404" y="1285352"/>
                </a:lnTo>
                <a:cubicBezTo>
                  <a:pt x="1172888" y="1282099"/>
                  <a:pt x="1169996" y="1277762"/>
                  <a:pt x="1174024" y="1273115"/>
                </a:cubicBezTo>
                <a:close/>
                <a:moveTo>
                  <a:pt x="974223" y="1272805"/>
                </a:moveTo>
                <a:cubicBezTo>
                  <a:pt x="975049" y="1272805"/>
                  <a:pt x="975668" y="1272960"/>
                  <a:pt x="976081" y="1273425"/>
                </a:cubicBezTo>
                <a:cubicBezTo>
                  <a:pt x="983722" y="1280085"/>
                  <a:pt x="980211" y="1287056"/>
                  <a:pt x="981037" y="1288914"/>
                </a:cubicBezTo>
                <a:cubicBezTo>
                  <a:pt x="978353" y="1291083"/>
                  <a:pt x="978353" y="1291083"/>
                  <a:pt x="973190" y="1286436"/>
                </a:cubicBezTo>
                <a:cubicBezTo>
                  <a:pt x="972364" y="1285507"/>
                  <a:pt x="971744" y="1284423"/>
                  <a:pt x="971435" y="1283183"/>
                </a:cubicBezTo>
                <a:cubicBezTo>
                  <a:pt x="971125" y="1282099"/>
                  <a:pt x="971125" y="1280860"/>
                  <a:pt x="971641" y="1279621"/>
                </a:cubicBezTo>
                <a:cubicBezTo>
                  <a:pt x="971228" y="1278691"/>
                  <a:pt x="971022" y="1277762"/>
                  <a:pt x="971022" y="1276678"/>
                </a:cubicBezTo>
                <a:cubicBezTo>
                  <a:pt x="971022" y="1275748"/>
                  <a:pt x="971332" y="1274664"/>
                  <a:pt x="971744" y="1273890"/>
                </a:cubicBezTo>
                <a:cubicBezTo>
                  <a:pt x="972571" y="1273115"/>
                  <a:pt x="973500" y="1272805"/>
                  <a:pt x="974223" y="1272805"/>
                </a:cubicBezTo>
                <a:close/>
                <a:moveTo>
                  <a:pt x="3913905" y="1272738"/>
                </a:moveTo>
                <a:lnTo>
                  <a:pt x="3915612" y="1277575"/>
                </a:lnTo>
                <a:cubicBezTo>
                  <a:pt x="3913905" y="1278143"/>
                  <a:pt x="3911557" y="1278001"/>
                  <a:pt x="3910917" y="1276437"/>
                </a:cubicBezTo>
                <a:cubicBezTo>
                  <a:pt x="3910277" y="1275298"/>
                  <a:pt x="3910490" y="1274729"/>
                  <a:pt x="3911130" y="1274302"/>
                </a:cubicBezTo>
                <a:cubicBezTo>
                  <a:pt x="3911770" y="1273876"/>
                  <a:pt x="3912837" y="1273449"/>
                  <a:pt x="3913905" y="1272738"/>
                </a:cubicBezTo>
                <a:close/>
                <a:moveTo>
                  <a:pt x="1316827" y="1272650"/>
                </a:moveTo>
                <a:cubicBezTo>
                  <a:pt x="1318169" y="1272186"/>
                  <a:pt x="1319615" y="1272031"/>
                  <a:pt x="1321886" y="1273735"/>
                </a:cubicBezTo>
                <a:cubicBezTo>
                  <a:pt x="1323332" y="1278846"/>
                  <a:pt x="1317860" y="1283338"/>
                  <a:pt x="1312490" y="1279931"/>
                </a:cubicBezTo>
                <a:cubicBezTo>
                  <a:pt x="1312903" y="1278227"/>
                  <a:pt x="1312284" y="1276523"/>
                  <a:pt x="1312697" y="1274664"/>
                </a:cubicBezTo>
                <a:cubicBezTo>
                  <a:pt x="1314245" y="1274354"/>
                  <a:pt x="1315485" y="1273270"/>
                  <a:pt x="1316827" y="1272650"/>
                </a:cubicBezTo>
                <a:close/>
                <a:moveTo>
                  <a:pt x="5812487" y="1271173"/>
                </a:moveTo>
                <a:cubicBezTo>
                  <a:pt x="5814194" y="1271173"/>
                  <a:pt x="5816542" y="1271457"/>
                  <a:pt x="5818463" y="1273306"/>
                </a:cubicBezTo>
                <a:cubicBezTo>
                  <a:pt x="5819103" y="1273876"/>
                  <a:pt x="5819743" y="1275156"/>
                  <a:pt x="5820170" y="1276152"/>
                </a:cubicBezTo>
                <a:cubicBezTo>
                  <a:pt x="5820597" y="1277290"/>
                  <a:pt x="5820810" y="1278143"/>
                  <a:pt x="5820383" y="1278143"/>
                </a:cubicBezTo>
                <a:cubicBezTo>
                  <a:pt x="5819103" y="1279282"/>
                  <a:pt x="5820170" y="1279424"/>
                  <a:pt x="5820170" y="1280562"/>
                </a:cubicBezTo>
                <a:cubicBezTo>
                  <a:pt x="5816328" y="1284119"/>
                  <a:pt x="5812914" y="1285257"/>
                  <a:pt x="5809712" y="1282838"/>
                </a:cubicBezTo>
                <a:cubicBezTo>
                  <a:pt x="5807578" y="1280278"/>
                  <a:pt x="5804590" y="1276721"/>
                  <a:pt x="5807152" y="1273164"/>
                </a:cubicBezTo>
                <a:cubicBezTo>
                  <a:pt x="5808219" y="1273164"/>
                  <a:pt x="5808432" y="1271884"/>
                  <a:pt x="5809499" y="1271884"/>
                </a:cubicBezTo>
                <a:cubicBezTo>
                  <a:pt x="5809499" y="1271884"/>
                  <a:pt x="5810780" y="1271315"/>
                  <a:pt x="5812487" y="1271173"/>
                </a:cubicBezTo>
                <a:close/>
                <a:moveTo>
                  <a:pt x="3770914" y="1270746"/>
                </a:moveTo>
                <a:cubicBezTo>
                  <a:pt x="3767926" y="1282554"/>
                  <a:pt x="3767072" y="1294505"/>
                  <a:pt x="3753627" y="1305317"/>
                </a:cubicBezTo>
                <a:cubicBezTo>
                  <a:pt x="3750425" y="1303894"/>
                  <a:pt x="3744449" y="1305886"/>
                  <a:pt x="3744449" y="1299768"/>
                </a:cubicBezTo>
                <a:cubicBezTo>
                  <a:pt x="3759176" y="1293793"/>
                  <a:pt x="3757041" y="1271884"/>
                  <a:pt x="3770914" y="1270746"/>
                </a:cubicBezTo>
                <a:close/>
                <a:moveTo>
                  <a:pt x="3746157" y="1270746"/>
                </a:moveTo>
                <a:cubicBezTo>
                  <a:pt x="3747224" y="1270461"/>
                  <a:pt x="3748717" y="1270746"/>
                  <a:pt x="3749998" y="1271173"/>
                </a:cubicBezTo>
                <a:cubicBezTo>
                  <a:pt x="3751279" y="1272311"/>
                  <a:pt x="3751279" y="1272311"/>
                  <a:pt x="3752560" y="1273449"/>
                </a:cubicBezTo>
                <a:cubicBezTo>
                  <a:pt x="3752986" y="1275868"/>
                  <a:pt x="3754480" y="1278143"/>
                  <a:pt x="3753627" y="1280562"/>
                </a:cubicBezTo>
                <a:cubicBezTo>
                  <a:pt x="3751705" y="1283123"/>
                  <a:pt x="3745730" y="1282270"/>
                  <a:pt x="3743382" y="1281132"/>
                </a:cubicBezTo>
                <a:cubicBezTo>
                  <a:pt x="3740608" y="1278997"/>
                  <a:pt x="3741461" y="1275298"/>
                  <a:pt x="3743382" y="1272879"/>
                </a:cubicBezTo>
                <a:cubicBezTo>
                  <a:pt x="3743809" y="1271599"/>
                  <a:pt x="3744876" y="1270888"/>
                  <a:pt x="3746157" y="1270746"/>
                </a:cubicBezTo>
                <a:close/>
                <a:moveTo>
                  <a:pt x="1653029" y="1270637"/>
                </a:moveTo>
                <a:cubicBezTo>
                  <a:pt x="1655714" y="1273270"/>
                  <a:pt x="1658605" y="1275593"/>
                  <a:pt x="1660980" y="1278691"/>
                </a:cubicBezTo>
                <a:cubicBezTo>
                  <a:pt x="1663251" y="1281635"/>
                  <a:pt x="1665007" y="1285197"/>
                  <a:pt x="1665523" y="1289999"/>
                </a:cubicBezTo>
                <a:cubicBezTo>
                  <a:pt x="1655094" y="1289999"/>
                  <a:pt x="1652719" y="1277143"/>
                  <a:pt x="1653029" y="1270637"/>
                </a:cubicBezTo>
                <a:close/>
                <a:moveTo>
                  <a:pt x="3993297" y="1269750"/>
                </a:moveTo>
                <a:cubicBezTo>
                  <a:pt x="3994150" y="1269323"/>
                  <a:pt x="3995217" y="1269466"/>
                  <a:pt x="3996071" y="1270034"/>
                </a:cubicBezTo>
                <a:cubicBezTo>
                  <a:pt x="3997138" y="1271315"/>
                  <a:pt x="3996071" y="1272453"/>
                  <a:pt x="3996285" y="1273591"/>
                </a:cubicBezTo>
                <a:cubicBezTo>
                  <a:pt x="3995217" y="1275868"/>
                  <a:pt x="3987534" y="1278997"/>
                  <a:pt x="3986254" y="1277859"/>
                </a:cubicBezTo>
                <a:cubicBezTo>
                  <a:pt x="3987748" y="1275298"/>
                  <a:pt x="3990522" y="1270746"/>
                  <a:pt x="3993297" y="1269750"/>
                </a:cubicBezTo>
                <a:close/>
                <a:moveTo>
                  <a:pt x="1288638" y="1269552"/>
                </a:moveTo>
                <a:cubicBezTo>
                  <a:pt x="1291219" y="1271101"/>
                  <a:pt x="1289258" y="1273735"/>
                  <a:pt x="1288225" y="1277143"/>
                </a:cubicBezTo>
                <a:cubicBezTo>
                  <a:pt x="1287399" y="1276368"/>
                  <a:pt x="1286573" y="1277143"/>
                  <a:pt x="1285643" y="1278072"/>
                </a:cubicBezTo>
                <a:cubicBezTo>
                  <a:pt x="1284404" y="1276833"/>
                  <a:pt x="1282236" y="1275284"/>
                  <a:pt x="1282752" y="1272960"/>
                </a:cubicBezTo>
                <a:cubicBezTo>
                  <a:pt x="1282856" y="1272341"/>
                  <a:pt x="1283372" y="1271566"/>
                  <a:pt x="1284301" y="1270637"/>
                </a:cubicBezTo>
                <a:cubicBezTo>
                  <a:pt x="1284301" y="1269862"/>
                  <a:pt x="1287812" y="1268778"/>
                  <a:pt x="1288638" y="1269552"/>
                </a:cubicBezTo>
                <a:close/>
                <a:moveTo>
                  <a:pt x="1067566" y="1269552"/>
                </a:moveTo>
                <a:cubicBezTo>
                  <a:pt x="1069322" y="1269862"/>
                  <a:pt x="1070870" y="1270946"/>
                  <a:pt x="1072006" y="1273580"/>
                </a:cubicBezTo>
                <a:cubicBezTo>
                  <a:pt x="1070664" y="1275593"/>
                  <a:pt x="1069322" y="1276213"/>
                  <a:pt x="1068083" y="1276368"/>
                </a:cubicBezTo>
                <a:lnTo>
                  <a:pt x="1064778" y="1275284"/>
                </a:lnTo>
                <a:lnTo>
                  <a:pt x="1064882" y="1275903"/>
                </a:lnTo>
                <a:cubicBezTo>
                  <a:pt x="1064882" y="1276058"/>
                  <a:pt x="1064675" y="1275903"/>
                  <a:pt x="1064262" y="1275748"/>
                </a:cubicBezTo>
                <a:cubicBezTo>
                  <a:pt x="1064159" y="1277607"/>
                  <a:pt x="1063642" y="1278227"/>
                  <a:pt x="1063229" y="1279001"/>
                </a:cubicBezTo>
                <a:cubicBezTo>
                  <a:pt x="1061991" y="1279156"/>
                  <a:pt x="1060441" y="1278227"/>
                  <a:pt x="1059306" y="1276523"/>
                </a:cubicBezTo>
                <a:cubicBezTo>
                  <a:pt x="1060545" y="1276368"/>
                  <a:pt x="1060752" y="1274354"/>
                  <a:pt x="1061887" y="1274200"/>
                </a:cubicBezTo>
                <a:cubicBezTo>
                  <a:pt x="1061887" y="1274200"/>
                  <a:pt x="1062713" y="1274354"/>
                  <a:pt x="1063333" y="1274509"/>
                </a:cubicBezTo>
                <a:lnTo>
                  <a:pt x="1064675" y="1274974"/>
                </a:lnTo>
                <a:lnTo>
                  <a:pt x="1065398" y="1273580"/>
                </a:lnTo>
                <a:cubicBezTo>
                  <a:pt x="1065708" y="1271876"/>
                  <a:pt x="1064675" y="1270482"/>
                  <a:pt x="1067566" y="1269552"/>
                </a:cubicBezTo>
                <a:close/>
                <a:moveTo>
                  <a:pt x="1606047" y="1268623"/>
                </a:moveTo>
                <a:cubicBezTo>
                  <a:pt x="1607596" y="1268003"/>
                  <a:pt x="1609455" y="1268003"/>
                  <a:pt x="1611520" y="1268778"/>
                </a:cubicBezTo>
                <a:cubicBezTo>
                  <a:pt x="1612346" y="1270482"/>
                  <a:pt x="1611727" y="1274509"/>
                  <a:pt x="1610281" y="1276678"/>
                </a:cubicBezTo>
                <a:lnTo>
                  <a:pt x="1610074" y="1276833"/>
                </a:lnTo>
                <a:lnTo>
                  <a:pt x="1610178" y="1276988"/>
                </a:lnTo>
                <a:cubicBezTo>
                  <a:pt x="1612966" y="1278846"/>
                  <a:pt x="1616373" y="1282874"/>
                  <a:pt x="1616064" y="1283338"/>
                </a:cubicBezTo>
                <a:cubicBezTo>
                  <a:pt x="1616786" y="1283803"/>
                  <a:pt x="1616373" y="1284578"/>
                  <a:pt x="1617096" y="1285042"/>
                </a:cubicBezTo>
                <a:cubicBezTo>
                  <a:pt x="1617096" y="1285042"/>
                  <a:pt x="1617922" y="1285507"/>
                  <a:pt x="1618232" y="1286746"/>
                </a:cubicBezTo>
                <a:cubicBezTo>
                  <a:pt x="1618541" y="1287830"/>
                  <a:pt x="1618851" y="1289069"/>
                  <a:pt x="1617199" y="1289999"/>
                </a:cubicBezTo>
                <a:lnTo>
                  <a:pt x="1617096" y="1289844"/>
                </a:lnTo>
                <a:lnTo>
                  <a:pt x="1616786" y="1292787"/>
                </a:lnTo>
                <a:cubicBezTo>
                  <a:pt x="1616270" y="1294801"/>
                  <a:pt x="1615031" y="1296814"/>
                  <a:pt x="1613482" y="1298828"/>
                </a:cubicBezTo>
                <a:lnTo>
                  <a:pt x="1608732" y="1303475"/>
                </a:lnTo>
                <a:lnTo>
                  <a:pt x="1608526" y="1304094"/>
                </a:lnTo>
                <a:lnTo>
                  <a:pt x="1605325" y="1307657"/>
                </a:lnTo>
                <a:lnTo>
                  <a:pt x="1605531" y="1307657"/>
                </a:lnTo>
                <a:cubicBezTo>
                  <a:pt x="1608835" y="1308432"/>
                  <a:pt x="1612553" y="1309516"/>
                  <a:pt x="1614101" y="1309980"/>
                </a:cubicBezTo>
                <a:cubicBezTo>
                  <a:pt x="1614411" y="1310755"/>
                  <a:pt x="1614411" y="1310910"/>
                  <a:pt x="1614411" y="1310910"/>
                </a:cubicBezTo>
                <a:cubicBezTo>
                  <a:pt x="1614308" y="1311839"/>
                  <a:pt x="1613792" y="1312149"/>
                  <a:pt x="1612966" y="1312149"/>
                </a:cubicBezTo>
                <a:cubicBezTo>
                  <a:pt x="1612036" y="1312304"/>
                  <a:pt x="1610798" y="1311994"/>
                  <a:pt x="1609145" y="1311529"/>
                </a:cubicBezTo>
                <a:cubicBezTo>
                  <a:pt x="1607596" y="1311065"/>
                  <a:pt x="1605944" y="1310290"/>
                  <a:pt x="1604396" y="1309361"/>
                </a:cubicBezTo>
                <a:lnTo>
                  <a:pt x="1603776" y="1309051"/>
                </a:lnTo>
                <a:lnTo>
                  <a:pt x="1596858" y="1315402"/>
                </a:lnTo>
                <a:lnTo>
                  <a:pt x="1596961" y="1317570"/>
                </a:lnTo>
                <a:lnTo>
                  <a:pt x="1597167" y="1317570"/>
                </a:lnTo>
                <a:cubicBezTo>
                  <a:pt x="1599130" y="1318655"/>
                  <a:pt x="1599955" y="1320203"/>
                  <a:pt x="1600369" y="1322062"/>
                </a:cubicBezTo>
                <a:lnTo>
                  <a:pt x="1600885" y="1324850"/>
                </a:lnTo>
                <a:lnTo>
                  <a:pt x="1600988" y="1324696"/>
                </a:lnTo>
                <a:cubicBezTo>
                  <a:pt x="1601401" y="1324386"/>
                  <a:pt x="1601814" y="1324231"/>
                  <a:pt x="1602640" y="1324386"/>
                </a:cubicBezTo>
                <a:lnTo>
                  <a:pt x="1605944" y="1327948"/>
                </a:lnTo>
                <a:lnTo>
                  <a:pt x="1607287" y="1324541"/>
                </a:lnTo>
                <a:lnTo>
                  <a:pt x="1613482" y="1331666"/>
                </a:lnTo>
                <a:lnTo>
                  <a:pt x="1615340" y="1331046"/>
                </a:lnTo>
                <a:cubicBezTo>
                  <a:pt x="1621020" y="1329962"/>
                  <a:pt x="1627008" y="1329652"/>
                  <a:pt x="1633617" y="1327484"/>
                </a:cubicBezTo>
                <a:cubicBezTo>
                  <a:pt x="1638573" y="1336778"/>
                  <a:pt x="1645078" y="1335074"/>
                  <a:pt x="1650758" y="1336623"/>
                </a:cubicBezTo>
                <a:cubicBezTo>
                  <a:pt x="1650758" y="1344368"/>
                  <a:pt x="1656953" y="1351958"/>
                  <a:pt x="1659431" y="1360012"/>
                </a:cubicBezTo>
                <a:cubicBezTo>
                  <a:pt x="1656643" y="1364659"/>
                  <a:pt x="1654681" y="1369306"/>
                  <a:pt x="1652719" y="1373953"/>
                </a:cubicBezTo>
                <a:lnTo>
                  <a:pt x="1650035" y="1379529"/>
                </a:lnTo>
                <a:lnTo>
                  <a:pt x="1653648" y="1381852"/>
                </a:lnTo>
                <a:cubicBezTo>
                  <a:pt x="1652719" y="1383401"/>
                  <a:pt x="1651893" y="1384021"/>
                  <a:pt x="1650758" y="1384021"/>
                </a:cubicBezTo>
                <a:lnTo>
                  <a:pt x="1648382" y="1382937"/>
                </a:lnTo>
                <a:lnTo>
                  <a:pt x="1646007" y="1388048"/>
                </a:lnTo>
                <a:lnTo>
                  <a:pt x="1644665" y="1388358"/>
                </a:lnTo>
                <a:lnTo>
                  <a:pt x="1647660" y="1390682"/>
                </a:lnTo>
                <a:lnTo>
                  <a:pt x="1647557" y="1391301"/>
                </a:lnTo>
                <a:lnTo>
                  <a:pt x="1647763" y="1391146"/>
                </a:lnTo>
                <a:cubicBezTo>
                  <a:pt x="1648796" y="1390836"/>
                  <a:pt x="1649931" y="1390991"/>
                  <a:pt x="1651377" y="1392075"/>
                </a:cubicBezTo>
                <a:cubicBezTo>
                  <a:pt x="1652203" y="1392540"/>
                  <a:pt x="1652513" y="1393470"/>
                  <a:pt x="1652513" y="1394399"/>
                </a:cubicBezTo>
                <a:cubicBezTo>
                  <a:pt x="1652306" y="1397342"/>
                  <a:pt x="1648796" y="1401215"/>
                  <a:pt x="1645492" y="1399355"/>
                </a:cubicBezTo>
                <a:lnTo>
                  <a:pt x="1645492" y="1399201"/>
                </a:lnTo>
                <a:lnTo>
                  <a:pt x="1645181" y="1400130"/>
                </a:lnTo>
                <a:cubicBezTo>
                  <a:pt x="1645181" y="1400130"/>
                  <a:pt x="1643839" y="1401369"/>
                  <a:pt x="1641361" y="1401369"/>
                </a:cubicBezTo>
                <a:cubicBezTo>
                  <a:pt x="1637540" y="1404003"/>
                  <a:pt x="1633720" y="1400130"/>
                  <a:pt x="1633720" y="1400130"/>
                </a:cubicBezTo>
                <a:cubicBezTo>
                  <a:pt x="1633720" y="1400130"/>
                  <a:pt x="1633720" y="1399975"/>
                  <a:pt x="1633720" y="1401369"/>
                </a:cubicBezTo>
                <a:cubicBezTo>
                  <a:pt x="1633720" y="1399975"/>
                  <a:pt x="1633410" y="1398736"/>
                  <a:pt x="1633101" y="1397342"/>
                </a:cubicBezTo>
                <a:lnTo>
                  <a:pt x="1632584" y="1394399"/>
                </a:lnTo>
                <a:lnTo>
                  <a:pt x="1631345" y="1393315"/>
                </a:lnTo>
                <a:lnTo>
                  <a:pt x="1627834" y="1395173"/>
                </a:lnTo>
                <a:cubicBezTo>
                  <a:pt x="1621639" y="1397961"/>
                  <a:pt x="1615444" y="1400130"/>
                  <a:pt x="1609455" y="1397651"/>
                </a:cubicBezTo>
                <a:lnTo>
                  <a:pt x="1609042" y="1397187"/>
                </a:lnTo>
                <a:lnTo>
                  <a:pt x="1604189" y="1394089"/>
                </a:lnTo>
                <a:lnTo>
                  <a:pt x="1602950" y="1390682"/>
                </a:lnTo>
                <a:lnTo>
                  <a:pt x="1601298" y="1389597"/>
                </a:lnTo>
                <a:cubicBezTo>
                  <a:pt x="1598510" y="1388203"/>
                  <a:pt x="1595619" y="1387274"/>
                  <a:pt x="1593037" y="1385260"/>
                </a:cubicBezTo>
                <a:cubicBezTo>
                  <a:pt x="1591798" y="1382007"/>
                  <a:pt x="1590766" y="1378135"/>
                  <a:pt x="1590146" y="1374262"/>
                </a:cubicBezTo>
                <a:lnTo>
                  <a:pt x="1590043" y="1371319"/>
                </a:lnTo>
                <a:lnTo>
                  <a:pt x="1588184" y="1375347"/>
                </a:lnTo>
                <a:cubicBezTo>
                  <a:pt x="1587152" y="1376586"/>
                  <a:pt x="1585912" y="1377515"/>
                  <a:pt x="1584673" y="1377980"/>
                </a:cubicBezTo>
                <a:lnTo>
                  <a:pt x="1582195" y="1378135"/>
                </a:lnTo>
                <a:lnTo>
                  <a:pt x="1581266" y="1378909"/>
                </a:lnTo>
                <a:cubicBezTo>
                  <a:pt x="1578478" y="1380613"/>
                  <a:pt x="1575380" y="1381697"/>
                  <a:pt x="1572593" y="1381233"/>
                </a:cubicBezTo>
                <a:lnTo>
                  <a:pt x="1568256" y="1378909"/>
                </a:lnTo>
                <a:lnTo>
                  <a:pt x="1567842" y="1379219"/>
                </a:lnTo>
                <a:cubicBezTo>
                  <a:pt x="1565468" y="1378290"/>
                  <a:pt x="1563609" y="1376121"/>
                  <a:pt x="1563919" y="1375037"/>
                </a:cubicBezTo>
                <a:cubicBezTo>
                  <a:pt x="1564539" y="1373488"/>
                  <a:pt x="1565158" y="1371939"/>
                  <a:pt x="1566913" y="1371784"/>
                </a:cubicBezTo>
                <a:cubicBezTo>
                  <a:pt x="1567430" y="1371784"/>
                  <a:pt x="1568152" y="1371939"/>
                  <a:pt x="1568978" y="1372249"/>
                </a:cubicBezTo>
                <a:cubicBezTo>
                  <a:pt x="1568978" y="1372249"/>
                  <a:pt x="1568978" y="1372249"/>
                  <a:pt x="1569392" y="1373023"/>
                </a:cubicBezTo>
                <a:lnTo>
                  <a:pt x="1570114" y="1374417"/>
                </a:lnTo>
                <a:lnTo>
                  <a:pt x="1572179" y="1370700"/>
                </a:lnTo>
                <a:lnTo>
                  <a:pt x="1571560" y="1368376"/>
                </a:lnTo>
                <a:cubicBezTo>
                  <a:pt x="1571560" y="1366208"/>
                  <a:pt x="1572386" y="1363729"/>
                  <a:pt x="1574348" y="1361561"/>
                </a:cubicBezTo>
                <a:cubicBezTo>
                  <a:pt x="1575587" y="1361251"/>
                  <a:pt x="1577136" y="1361406"/>
                  <a:pt x="1578685" y="1361871"/>
                </a:cubicBezTo>
                <a:lnTo>
                  <a:pt x="1580853" y="1362955"/>
                </a:lnTo>
                <a:lnTo>
                  <a:pt x="1584570" y="1360941"/>
                </a:lnTo>
                <a:cubicBezTo>
                  <a:pt x="1587255" y="1362181"/>
                  <a:pt x="1588700" y="1364039"/>
                  <a:pt x="1589113" y="1365898"/>
                </a:cubicBezTo>
                <a:lnTo>
                  <a:pt x="1588700" y="1368222"/>
                </a:lnTo>
                <a:lnTo>
                  <a:pt x="1589939" y="1369615"/>
                </a:lnTo>
                <a:lnTo>
                  <a:pt x="1589630" y="1362025"/>
                </a:lnTo>
                <a:cubicBezTo>
                  <a:pt x="1589939" y="1357998"/>
                  <a:pt x="1590766" y="1353816"/>
                  <a:pt x="1592314" y="1349944"/>
                </a:cubicBezTo>
                <a:lnTo>
                  <a:pt x="1598200" y="1341114"/>
                </a:lnTo>
                <a:lnTo>
                  <a:pt x="1596548" y="1342044"/>
                </a:lnTo>
                <a:cubicBezTo>
                  <a:pt x="1594379" y="1343593"/>
                  <a:pt x="1591695" y="1344832"/>
                  <a:pt x="1587461" y="1343438"/>
                </a:cubicBezTo>
                <a:cubicBezTo>
                  <a:pt x="1588391" y="1341269"/>
                  <a:pt x="1583537" y="1338326"/>
                  <a:pt x="1584983" y="1335228"/>
                </a:cubicBezTo>
                <a:cubicBezTo>
                  <a:pt x="1587461" y="1327638"/>
                  <a:pt x="1589836" y="1326245"/>
                  <a:pt x="1593657" y="1326400"/>
                </a:cubicBezTo>
                <a:lnTo>
                  <a:pt x="1594999" y="1326400"/>
                </a:lnTo>
                <a:lnTo>
                  <a:pt x="1594896" y="1326090"/>
                </a:lnTo>
                <a:lnTo>
                  <a:pt x="1594793" y="1324386"/>
                </a:lnTo>
                <a:lnTo>
                  <a:pt x="1593863" y="1325470"/>
                </a:lnTo>
                <a:lnTo>
                  <a:pt x="1592314" y="1323147"/>
                </a:lnTo>
                <a:lnTo>
                  <a:pt x="1590146" y="1321133"/>
                </a:lnTo>
                <a:lnTo>
                  <a:pt x="1589939" y="1319739"/>
                </a:lnTo>
                <a:lnTo>
                  <a:pt x="1586222" y="1314472"/>
                </a:lnTo>
                <a:lnTo>
                  <a:pt x="1585293" y="1310910"/>
                </a:lnTo>
                <a:lnTo>
                  <a:pt x="1585190" y="1310910"/>
                </a:lnTo>
                <a:cubicBezTo>
                  <a:pt x="1583847" y="1311529"/>
                  <a:pt x="1582299" y="1311994"/>
                  <a:pt x="1580440" y="1312149"/>
                </a:cubicBezTo>
                <a:cubicBezTo>
                  <a:pt x="1580646" y="1311065"/>
                  <a:pt x="1579407" y="1310910"/>
                  <a:pt x="1578271" y="1310910"/>
                </a:cubicBezTo>
                <a:cubicBezTo>
                  <a:pt x="1577239" y="1309361"/>
                  <a:pt x="1577239" y="1307502"/>
                  <a:pt x="1577755" y="1305643"/>
                </a:cubicBezTo>
                <a:cubicBezTo>
                  <a:pt x="1578168" y="1303785"/>
                  <a:pt x="1579304" y="1301771"/>
                  <a:pt x="1580646" y="1300222"/>
                </a:cubicBezTo>
                <a:lnTo>
                  <a:pt x="1583951" y="1297744"/>
                </a:lnTo>
                <a:lnTo>
                  <a:pt x="1584054" y="1295885"/>
                </a:lnTo>
                <a:lnTo>
                  <a:pt x="1587048" y="1296659"/>
                </a:lnTo>
                <a:lnTo>
                  <a:pt x="1589733" y="1296814"/>
                </a:lnTo>
                <a:cubicBezTo>
                  <a:pt x="1590456" y="1297279"/>
                  <a:pt x="1591075" y="1298208"/>
                  <a:pt x="1591488" y="1299292"/>
                </a:cubicBezTo>
                <a:lnTo>
                  <a:pt x="1591178" y="1300222"/>
                </a:lnTo>
                <a:lnTo>
                  <a:pt x="1592728" y="1303785"/>
                </a:lnTo>
                <a:lnTo>
                  <a:pt x="1594173" y="1304404"/>
                </a:lnTo>
                <a:lnTo>
                  <a:pt x="1596961" y="1303165"/>
                </a:lnTo>
                <a:lnTo>
                  <a:pt x="1598406" y="1301771"/>
                </a:lnTo>
                <a:lnTo>
                  <a:pt x="1597890" y="1299757"/>
                </a:lnTo>
                <a:cubicBezTo>
                  <a:pt x="1598613" y="1296969"/>
                  <a:pt x="1596858" y="1294801"/>
                  <a:pt x="1597477" y="1292013"/>
                </a:cubicBezTo>
                <a:cubicBezTo>
                  <a:pt x="1597477" y="1292013"/>
                  <a:pt x="1597477" y="1292013"/>
                  <a:pt x="1598716" y="1292477"/>
                </a:cubicBezTo>
                <a:cubicBezTo>
                  <a:pt x="1598613" y="1294801"/>
                  <a:pt x="1599439" y="1296659"/>
                  <a:pt x="1600162" y="1298673"/>
                </a:cubicBezTo>
                <a:lnTo>
                  <a:pt x="1600265" y="1299912"/>
                </a:lnTo>
                <a:lnTo>
                  <a:pt x="1601814" y="1298363"/>
                </a:lnTo>
                <a:cubicBezTo>
                  <a:pt x="1604911" y="1295111"/>
                  <a:pt x="1607803" y="1291548"/>
                  <a:pt x="1612553" y="1289999"/>
                </a:cubicBezTo>
                <a:lnTo>
                  <a:pt x="1616579" y="1289224"/>
                </a:lnTo>
                <a:lnTo>
                  <a:pt x="1613895" y="1286126"/>
                </a:lnTo>
                <a:cubicBezTo>
                  <a:pt x="1612862" y="1285042"/>
                  <a:pt x="1612036" y="1283958"/>
                  <a:pt x="1611107" y="1283028"/>
                </a:cubicBezTo>
                <a:lnTo>
                  <a:pt x="1606461" y="1277297"/>
                </a:lnTo>
                <a:lnTo>
                  <a:pt x="1603982" y="1276368"/>
                </a:lnTo>
                <a:lnTo>
                  <a:pt x="1603672" y="1275748"/>
                </a:lnTo>
                <a:lnTo>
                  <a:pt x="1602640" y="1275903"/>
                </a:lnTo>
                <a:cubicBezTo>
                  <a:pt x="1602640" y="1275903"/>
                  <a:pt x="1602743" y="1275903"/>
                  <a:pt x="1602433" y="1275129"/>
                </a:cubicBezTo>
                <a:lnTo>
                  <a:pt x="1603260" y="1275284"/>
                </a:lnTo>
                <a:lnTo>
                  <a:pt x="1602537" y="1274200"/>
                </a:lnTo>
                <a:cubicBezTo>
                  <a:pt x="1601917" y="1272031"/>
                  <a:pt x="1603466" y="1269552"/>
                  <a:pt x="1606047" y="1268623"/>
                </a:cubicBezTo>
                <a:close/>
                <a:moveTo>
                  <a:pt x="5450314" y="1268185"/>
                </a:moveTo>
                <a:cubicBezTo>
                  <a:pt x="5451167" y="1268042"/>
                  <a:pt x="5451807" y="1268327"/>
                  <a:pt x="5452661" y="1269181"/>
                </a:cubicBezTo>
                <a:cubicBezTo>
                  <a:pt x="5453515" y="1271315"/>
                  <a:pt x="5453302" y="1274160"/>
                  <a:pt x="5450954" y="1277859"/>
                </a:cubicBezTo>
                <a:cubicBezTo>
                  <a:pt x="5444764" y="1278428"/>
                  <a:pt x="5444551" y="1274445"/>
                  <a:pt x="5444338" y="1270746"/>
                </a:cubicBezTo>
                <a:cubicBezTo>
                  <a:pt x="5447539" y="1271173"/>
                  <a:pt x="5448393" y="1268185"/>
                  <a:pt x="5450314" y="1268185"/>
                </a:cubicBezTo>
                <a:close/>
                <a:moveTo>
                  <a:pt x="1427517" y="1268003"/>
                </a:moveTo>
                <a:cubicBezTo>
                  <a:pt x="1428963" y="1267539"/>
                  <a:pt x="1430408" y="1267848"/>
                  <a:pt x="1431648" y="1268623"/>
                </a:cubicBezTo>
                <a:lnTo>
                  <a:pt x="1434849" y="1271876"/>
                </a:lnTo>
                <a:lnTo>
                  <a:pt x="1435055" y="1271566"/>
                </a:lnTo>
                <a:cubicBezTo>
                  <a:pt x="1435468" y="1271411"/>
                  <a:pt x="1435985" y="1271566"/>
                  <a:pt x="1436398" y="1272031"/>
                </a:cubicBezTo>
                <a:cubicBezTo>
                  <a:pt x="1436398" y="1272031"/>
                  <a:pt x="1436398" y="1272186"/>
                  <a:pt x="1436191" y="1272650"/>
                </a:cubicBezTo>
                <a:lnTo>
                  <a:pt x="1435262" y="1273425"/>
                </a:lnTo>
                <a:lnTo>
                  <a:pt x="1435985" y="1276058"/>
                </a:lnTo>
                <a:cubicBezTo>
                  <a:pt x="1432577" y="1279621"/>
                  <a:pt x="1427621" y="1278536"/>
                  <a:pt x="1425039" y="1275439"/>
                </a:cubicBezTo>
                <a:lnTo>
                  <a:pt x="1424420" y="1274200"/>
                </a:lnTo>
                <a:lnTo>
                  <a:pt x="1422458" y="1274819"/>
                </a:lnTo>
                <a:cubicBezTo>
                  <a:pt x="1421838" y="1275284"/>
                  <a:pt x="1421425" y="1275748"/>
                  <a:pt x="1420909" y="1276523"/>
                </a:cubicBezTo>
                <a:cubicBezTo>
                  <a:pt x="1420909" y="1276523"/>
                  <a:pt x="1420909" y="1276678"/>
                  <a:pt x="1418534" y="1276213"/>
                </a:cubicBezTo>
                <a:lnTo>
                  <a:pt x="1418121" y="1275593"/>
                </a:lnTo>
                <a:cubicBezTo>
                  <a:pt x="1418018" y="1275129"/>
                  <a:pt x="1418534" y="1274509"/>
                  <a:pt x="1419361" y="1273890"/>
                </a:cubicBezTo>
                <a:cubicBezTo>
                  <a:pt x="1420496" y="1272960"/>
                  <a:pt x="1422251" y="1272031"/>
                  <a:pt x="1423800" y="1271256"/>
                </a:cubicBezTo>
                <a:lnTo>
                  <a:pt x="1424007" y="1271101"/>
                </a:lnTo>
                <a:close/>
                <a:moveTo>
                  <a:pt x="1407589" y="1267539"/>
                </a:moveTo>
                <a:lnTo>
                  <a:pt x="1412132" y="1271256"/>
                </a:lnTo>
                <a:lnTo>
                  <a:pt x="1412442" y="1270637"/>
                </a:lnTo>
                <a:cubicBezTo>
                  <a:pt x="1414507" y="1271566"/>
                  <a:pt x="1415746" y="1272805"/>
                  <a:pt x="1416366" y="1274200"/>
                </a:cubicBezTo>
                <a:cubicBezTo>
                  <a:pt x="1416985" y="1275593"/>
                  <a:pt x="1416985" y="1276988"/>
                  <a:pt x="1416572" y="1278381"/>
                </a:cubicBezTo>
                <a:lnTo>
                  <a:pt x="1413784" y="1278227"/>
                </a:lnTo>
                <a:lnTo>
                  <a:pt x="1413681" y="1278536"/>
                </a:lnTo>
                <a:cubicBezTo>
                  <a:pt x="1410067" y="1282874"/>
                  <a:pt x="1398502" y="1283648"/>
                  <a:pt x="1397470" y="1279311"/>
                </a:cubicBezTo>
                <a:cubicBezTo>
                  <a:pt x="1396850" y="1276988"/>
                  <a:pt x="1399329" y="1273270"/>
                  <a:pt x="1407589" y="1267539"/>
                </a:cubicBezTo>
                <a:close/>
                <a:moveTo>
                  <a:pt x="3882319" y="1267331"/>
                </a:moveTo>
                <a:cubicBezTo>
                  <a:pt x="3885733" y="1268185"/>
                  <a:pt x="3888935" y="1271173"/>
                  <a:pt x="3890855" y="1275014"/>
                </a:cubicBezTo>
                <a:cubicBezTo>
                  <a:pt x="3885520" y="1278570"/>
                  <a:pt x="3881038" y="1277433"/>
                  <a:pt x="3875489" y="1273876"/>
                </a:cubicBezTo>
                <a:cubicBezTo>
                  <a:pt x="3875916" y="1271599"/>
                  <a:pt x="3879757" y="1269039"/>
                  <a:pt x="3882319" y="1267331"/>
                </a:cubicBezTo>
                <a:close/>
                <a:moveTo>
                  <a:pt x="4281200" y="1266335"/>
                </a:moveTo>
                <a:cubicBezTo>
                  <a:pt x="4282908" y="1268612"/>
                  <a:pt x="4282694" y="1268612"/>
                  <a:pt x="4282267" y="1269607"/>
                </a:cubicBezTo>
                <a:cubicBezTo>
                  <a:pt x="4282694" y="1268612"/>
                  <a:pt x="4283974" y="1269181"/>
                  <a:pt x="4285468" y="1268754"/>
                </a:cubicBezTo>
                <a:cubicBezTo>
                  <a:pt x="4291017" y="1265197"/>
                  <a:pt x="4295072" y="1270319"/>
                  <a:pt x="4298487" y="1277433"/>
                </a:cubicBezTo>
                <a:cubicBezTo>
                  <a:pt x="4296779" y="1277859"/>
                  <a:pt x="4299127" y="1281843"/>
                  <a:pt x="4299127" y="1284546"/>
                </a:cubicBezTo>
                <a:lnTo>
                  <a:pt x="4298700" y="1285257"/>
                </a:lnTo>
                <a:lnTo>
                  <a:pt x="4303395" y="1286395"/>
                </a:lnTo>
                <a:cubicBezTo>
                  <a:pt x="4302115" y="1289526"/>
                  <a:pt x="4301475" y="1291091"/>
                  <a:pt x="4301262" y="1293793"/>
                </a:cubicBezTo>
                <a:cubicBezTo>
                  <a:pt x="4296993" y="1292086"/>
                  <a:pt x="4293151" y="1292086"/>
                  <a:pt x="4290377" y="1291374"/>
                </a:cubicBezTo>
                <a:lnTo>
                  <a:pt x="4288670" y="1290379"/>
                </a:lnTo>
                <a:lnTo>
                  <a:pt x="4285255" y="1290236"/>
                </a:lnTo>
                <a:cubicBezTo>
                  <a:pt x="4282480" y="1289241"/>
                  <a:pt x="4279920" y="1287533"/>
                  <a:pt x="4279066" y="1285115"/>
                </a:cubicBezTo>
                <a:cubicBezTo>
                  <a:pt x="4276291" y="1279567"/>
                  <a:pt x="4276932" y="1275868"/>
                  <a:pt x="4278212" y="1272596"/>
                </a:cubicBezTo>
                <a:cubicBezTo>
                  <a:pt x="4278212" y="1272596"/>
                  <a:pt x="4278212" y="1272738"/>
                  <a:pt x="4277785" y="1273733"/>
                </a:cubicBezTo>
                <a:cubicBezTo>
                  <a:pt x="4271596" y="1275583"/>
                  <a:pt x="4260925" y="1278713"/>
                  <a:pt x="4258364" y="1276010"/>
                </a:cubicBezTo>
                <a:cubicBezTo>
                  <a:pt x="4258791" y="1274871"/>
                  <a:pt x="4259431" y="1273876"/>
                  <a:pt x="4260925" y="1273306"/>
                </a:cubicBezTo>
                <a:cubicBezTo>
                  <a:pt x="4262419" y="1272879"/>
                  <a:pt x="4261992" y="1274018"/>
                  <a:pt x="4262419" y="1272879"/>
                </a:cubicBezTo>
                <a:cubicBezTo>
                  <a:pt x="4263913" y="1272453"/>
                  <a:pt x="4262846" y="1271884"/>
                  <a:pt x="4262846" y="1271884"/>
                </a:cubicBezTo>
                <a:cubicBezTo>
                  <a:pt x="4262846" y="1271884"/>
                  <a:pt x="4263913" y="1272453"/>
                  <a:pt x="4263913" y="1272453"/>
                </a:cubicBezTo>
                <a:cubicBezTo>
                  <a:pt x="4263913" y="1272453"/>
                  <a:pt x="4263913" y="1272453"/>
                  <a:pt x="4266901" y="1271457"/>
                </a:cubicBezTo>
                <a:cubicBezTo>
                  <a:pt x="4270529" y="1269466"/>
                  <a:pt x="4270956" y="1268469"/>
                  <a:pt x="4273090" y="1266904"/>
                </a:cubicBezTo>
                <a:cubicBezTo>
                  <a:pt x="4276078" y="1266051"/>
                  <a:pt x="4277145" y="1266620"/>
                  <a:pt x="4281200" y="1266335"/>
                </a:cubicBezTo>
                <a:close/>
                <a:moveTo>
                  <a:pt x="4396446" y="1266193"/>
                </a:moveTo>
                <a:cubicBezTo>
                  <a:pt x="4396874" y="1267901"/>
                  <a:pt x="4398367" y="1267616"/>
                  <a:pt x="4400075" y="1267331"/>
                </a:cubicBezTo>
                <a:cubicBezTo>
                  <a:pt x="4401996" y="1269039"/>
                  <a:pt x="4403276" y="1271457"/>
                  <a:pt x="4403917" y="1274160"/>
                </a:cubicBezTo>
                <a:lnTo>
                  <a:pt x="4403489" y="1279140"/>
                </a:lnTo>
                <a:lnTo>
                  <a:pt x="4409679" y="1279851"/>
                </a:lnTo>
                <a:cubicBezTo>
                  <a:pt x="4410105" y="1282412"/>
                  <a:pt x="4409679" y="1284546"/>
                  <a:pt x="4408825" y="1286253"/>
                </a:cubicBezTo>
                <a:lnTo>
                  <a:pt x="4408612" y="1286537"/>
                </a:lnTo>
                <a:lnTo>
                  <a:pt x="4415441" y="1285969"/>
                </a:lnTo>
                <a:cubicBezTo>
                  <a:pt x="4415014" y="1287960"/>
                  <a:pt x="4415228" y="1289810"/>
                  <a:pt x="4415441" y="1291801"/>
                </a:cubicBezTo>
                <a:lnTo>
                  <a:pt x="4415014" y="1295216"/>
                </a:lnTo>
                <a:lnTo>
                  <a:pt x="4416295" y="1295216"/>
                </a:lnTo>
                <a:cubicBezTo>
                  <a:pt x="4417575" y="1297919"/>
                  <a:pt x="4418216" y="1300195"/>
                  <a:pt x="4418216" y="1301902"/>
                </a:cubicBezTo>
                <a:lnTo>
                  <a:pt x="4417148" y="1303610"/>
                </a:lnTo>
                <a:lnTo>
                  <a:pt x="4423124" y="1303325"/>
                </a:lnTo>
                <a:cubicBezTo>
                  <a:pt x="4425472" y="1303610"/>
                  <a:pt x="4427393" y="1304464"/>
                  <a:pt x="4428459" y="1305459"/>
                </a:cubicBezTo>
                <a:lnTo>
                  <a:pt x="4429527" y="1308020"/>
                </a:lnTo>
                <a:lnTo>
                  <a:pt x="4431234" y="1305602"/>
                </a:lnTo>
                <a:cubicBezTo>
                  <a:pt x="4432515" y="1304464"/>
                  <a:pt x="4435076" y="1303325"/>
                  <a:pt x="4437850" y="1302757"/>
                </a:cubicBezTo>
                <a:cubicBezTo>
                  <a:pt x="4440838" y="1302187"/>
                  <a:pt x="4443613" y="1302330"/>
                  <a:pt x="4445320" y="1303467"/>
                </a:cubicBezTo>
                <a:cubicBezTo>
                  <a:pt x="4444039" y="1305744"/>
                  <a:pt x="4442545" y="1308163"/>
                  <a:pt x="4441051" y="1310439"/>
                </a:cubicBezTo>
                <a:cubicBezTo>
                  <a:pt x="4441265" y="1309301"/>
                  <a:pt x="4430594" y="1311435"/>
                  <a:pt x="4430594" y="1311435"/>
                </a:cubicBezTo>
                <a:lnTo>
                  <a:pt x="4429527" y="1309585"/>
                </a:lnTo>
                <a:lnTo>
                  <a:pt x="4428459" y="1314565"/>
                </a:lnTo>
                <a:cubicBezTo>
                  <a:pt x="4425045" y="1321109"/>
                  <a:pt x="4416935" y="1327511"/>
                  <a:pt x="4412880" y="1324808"/>
                </a:cubicBezTo>
                <a:cubicBezTo>
                  <a:pt x="4410960" y="1323385"/>
                  <a:pt x="4409892" y="1319686"/>
                  <a:pt x="4411386" y="1312431"/>
                </a:cubicBezTo>
                <a:lnTo>
                  <a:pt x="4412667" y="1306740"/>
                </a:lnTo>
                <a:lnTo>
                  <a:pt x="4412240" y="1306882"/>
                </a:lnTo>
                <a:cubicBezTo>
                  <a:pt x="4410746" y="1306740"/>
                  <a:pt x="4409038" y="1306171"/>
                  <a:pt x="4407545" y="1305175"/>
                </a:cubicBezTo>
                <a:lnTo>
                  <a:pt x="4403703" y="1299627"/>
                </a:lnTo>
                <a:lnTo>
                  <a:pt x="4384068" y="1300338"/>
                </a:lnTo>
                <a:cubicBezTo>
                  <a:pt x="4374464" y="1301191"/>
                  <a:pt x="4365288" y="1301902"/>
                  <a:pt x="4356537" y="1301049"/>
                </a:cubicBezTo>
                <a:lnTo>
                  <a:pt x="4364647" y="1295643"/>
                </a:lnTo>
                <a:lnTo>
                  <a:pt x="4363793" y="1294931"/>
                </a:lnTo>
                <a:cubicBezTo>
                  <a:pt x="4359525" y="1293793"/>
                  <a:pt x="4355043" y="1299484"/>
                  <a:pt x="4351629" y="1293793"/>
                </a:cubicBezTo>
                <a:cubicBezTo>
                  <a:pt x="4351415" y="1290236"/>
                  <a:pt x="4349921" y="1286395"/>
                  <a:pt x="4350988" y="1282412"/>
                </a:cubicBezTo>
                <a:cubicBezTo>
                  <a:pt x="4351202" y="1281132"/>
                  <a:pt x="4352055" y="1279709"/>
                  <a:pt x="4353122" y="1278286"/>
                </a:cubicBezTo>
                <a:cubicBezTo>
                  <a:pt x="4359952" y="1284830"/>
                  <a:pt x="4366568" y="1286680"/>
                  <a:pt x="4373824" y="1290948"/>
                </a:cubicBezTo>
                <a:lnTo>
                  <a:pt x="4373611" y="1291517"/>
                </a:lnTo>
                <a:lnTo>
                  <a:pt x="4383642" y="1288956"/>
                </a:lnTo>
                <a:lnTo>
                  <a:pt x="4390898" y="1288103"/>
                </a:lnTo>
                <a:lnTo>
                  <a:pt x="4390258" y="1287533"/>
                </a:lnTo>
                <a:cubicBezTo>
                  <a:pt x="4387270" y="1277717"/>
                  <a:pt x="4387483" y="1269750"/>
                  <a:pt x="4396446" y="1266193"/>
                </a:cubicBezTo>
                <a:close/>
                <a:moveTo>
                  <a:pt x="1623085" y="1266145"/>
                </a:moveTo>
                <a:cubicBezTo>
                  <a:pt x="1630106" y="1268933"/>
                  <a:pt x="1634753" y="1272650"/>
                  <a:pt x="1633513" y="1279466"/>
                </a:cubicBezTo>
                <a:cubicBezTo>
                  <a:pt x="1632378" y="1279001"/>
                  <a:pt x="1631965" y="1280085"/>
                  <a:pt x="1631552" y="1281170"/>
                </a:cubicBezTo>
                <a:cubicBezTo>
                  <a:pt x="1626079" y="1282719"/>
                  <a:pt x="1619471" y="1275903"/>
                  <a:pt x="1618645" y="1271101"/>
                </a:cubicBezTo>
                <a:cubicBezTo>
                  <a:pt x="1618438" y="1269398"/>
                  <a:pt x="1618748" y="1268003"/>
                  <a:pt x="1619987" y="1267074"/>
                </a:cubicBezTo>
                <a:cubicBezTo>
                  <a:pt x="1620710" y="1266610"/>
                  <a:pt x="1621742" y="1266300"/>
                  <a:pt x="1623085" y="1266145"/>
                </a:cubicBezTo>
                <a:close/>
                <a:moveTo>
                  <a:pt x="3731858" y="1265909"/>
                </a:moveTo>
                <a:cubicBezTo>
                  <a:pt x="3733778" y="1267331"/>
                  <a:pt x="3734632" y="1268612"/>
                  <a:pt x="3736553" y="1271173"/>
                </a:cubicBezTo>
                <a:cubicBezTo>
                  <a:pt x="3733351" y="1275583"/>
                  <a:pt x="3728870" y="1272169"/>
                  <a:pt x="3729297" y="1268896"/>
                </a:cubicBezTo>
                <a:cubicBezTo>
                  <a:pt x="3729510" y="1267758"/>
                  <a:pt x="3730150" y="1266620"/>
                  <a:pt x="3731858" y="1265909"/>
                </a:cubicBezTo>
                <a:close/>
                <a:moveTo>
                  <a:pt x="4755846" y="1264912"/>
                </a:moveTo>
                <a:cubicBezTo>
                  <a:pt x="4757766" y="1266904"/>
                  <a:pt x="4758407" y="1268896"/>
                  <a:pt x="4759047" y="1270746"/>
                </a:cubicBezTo>
                <a:cubicBezTo>
                  <a:pt x="4759687" y="1272738"/>
                  <a:pt x="4759901" y="1274445"/>
                  <a:pt x="4760754" y="1276437"/>
                </a:cubicBezTo>
                <a:cubicBezTo>
                  <a:pt x="4752644" y="1286111"/>
                  <a:pt x="4746242" y="1281985"/>
                  <a:pt x="4745388" y="1276010"/>
                </a:cubicBezTo>
                <a:cubicBezTo>
                  <a:pt x="4745175" y="1274018"/>
                  <a:pt x="4745601" y="1271884"/>
                  <a:pt x="4746668" y="1270034"/>
                </a:cubicBezTo>
                <a:cubicBezTo>
                  <a:pt x="4748163" y="1267474"/>
                  <a:pt x="4751151" y="1265482"/>
                  <a:pt x="4755846" y="1264912"/>
                </a:cubicBezTo>
                <a:close/>
                <a:moveTo>
                  <a:pt x="1356890" y="1264751"/>
                </a:moveTo>
                <a:cubicBezTo>
                  <a:pt x="1358129" y="1264906"/>
                  <a:pt x="1357820" y="1265990"/>
                  <a:pt x="1358232" y="1266764"/>
                </a:cubicBezTo>
                <a:lnTo>
                  <a:pt x="1357097" y="1269398"/>
                </a:lnTo>
                <a:lnTo>
                  <a:pt x="1359471" y="1269707"/>
                </a:lnTo>
                <a:cubicBezTo>
                  <a:pt x="1374857" y="1273580"/>
                  <a:pt x="1377438" y="1290773"/>
                  <a:pt x="1370624" y="1300067"/>
                </a:cubicBezTo>
                <a:lnTo>
                  <a:pt x="1365667" y="1304249"/>
                </a:lnTo>
                <a:lnTo>
                  <a:pt x="1367009" y="1305643"/>
                </a:lnTo>
                <a:cubicBezTo>
                  <a:pt x="1367835" y="1307347"/>
                  <a:pt x="1368145" y="1309051"/>
                  <a:pt x="1367732" y="1309825"/>
                </a:cubicBezTo>
                <a:cubicBezTo>
                  <a:pt x="1366080" y="1311839"/>
                  <a:pt x="1362672" y="1313079"/>
                  <a:pt x="1359988" y="1310910"/>
                </a:cubicBezTo>
                <a:cubicBezTo>
                  <a:pt x="1358645" y="1310290"/>
                  <a:pt x="1357923" y="1309206"/>
                  <a:pt x="1357200" y="1307967"/>
                </a:cubicBezTo>
                <a:lnTo>
                  <a:pt x="1354928" y="1305024"/>
                </a:lnTo>
                <a:lnTo>
                  <a:pt x="1349043" y="1303475"/>
                </a:lnTo>
                <a:cubicBezTo>
                  <a:pt x="1340060" y="1298518"/>
                  <a:pt x="1337891" y="1288295"/>
                  <a:pt x="1329321" y="1278691"/>
                </a:cubicBezTo>
                <a:cubicBezTo>
                  <a:pt x="1339233" y="1280395"/>
                  <a:pt x="1344396" y="1272496"/>
                  <a:pt x="1351521" y="1269862"/>
                </a:cubicBezTo>
                <a:lnTo>
                  <a:pt x="1353793" y="1269552"/>
                </a:lnTo>
                <a:lnTo>
                  <a:pt x="1355135" y="1265680"/>
                </a:lnTo>
                <a:cubicBezTo>
                  <a:pt x="1355548" y="1265060"/>
                  <a:pt x="1356167" y="1264751"/>
                  <a:pt x="1356890" y="1264751"/>
                </a:cubicBezTo>
                <a:close/>
                <a:moveTo>
                  <a:pt x="4660020" y="1263917"/>
                </a:moveTo>
                <a:cubicBezTo>
                  <a:pt x="4661514" y="1263917"/>
                  <a:pt x="4663008" y="1264059"/>
                  <a:pt x="4664288" y="1264628"/>
                </a:cubicBezTo>
                <a:cubicBezTo>
                  <a:pt x="4666850" y="1266762"/>
                  <a:pt x="4667063" y="1269323"/>
                  <a:pt x="4666209" y="1270461"/>
                </a:cubicBezTo>
                <a:lnTo>
                  <a:pt x="4660874" y="1276152"/>
                </a:lnTo>
                <a:lnTo>
                  <a:pt x="4661087" y="1277148"/>
                </a:lnTo>
                <a:cubicBezTo>
                  <a:pt x="4660233" y="1280847"/>
                  <a:pt x="4653617" y="1282127"/>
                  <a:pt x="4649562" y="1280420"/>
                </a:cubicBezTo>
                <a:lnTo>
                  <a:pt x="4647215" y="1278855"/>
                </a:lnTo>
                <a:lnTo>
                  <a:pt x="4646788" y="1278855"/>
                </a:lnTo>
                <a:cubicBezTo>
                  <a:pt x="4642946" y="1275441"/>
                  <a:pt x="4642946" y="1275441"/>
                  <a:pt x="4647642" y="1267901"/>
                </a:cubicBezTo>
                <a:cubicBezTo>
                  <a:pt x="4648496" y="1266620"/>
                  <a:pt x="4649776" y="1265766"/>
                  <a:pt x="4651270" y="1265197"/>
                </a:cubicBezTo>
                <a:cubicBezTo>
                  <a:pt x="4652764" y="1264628"/>
                  <a:pt x="4654471" y="1264628"/>
                  <a:pt x="4656392" y="1265055"/>
                </a:cubicBezTo>
                <a:cubicBezTo>
                  <a:pt x="4657245" y="1264486"/>
                  <a:pt x="4658740" y="1264059"/>
                  <a:pt x="4660020" y="1263917"/>
                </a:cubicBezTo>
                <a:close/>
                <a:moveTo>
                  <a:pt x="1530464" y="1263822"/>
                </a:moveTo>
                <a:cubicBezTo>
                  <a:pt x="1530980" y="1263667"/>
                  <a:pt x="1531600" y="1263667"/>
                  <a:pt x="1532529" y="1263976"/>
                </a:cubicBezTo>
                <a:cubicBezTo>
                  <a:pt x="1532529" y="1263976"/>
                  <a:pt x="1532529" y="1263976"/>
                  <a:pt x="1533045" y="1264751"/>
                </a:cubicBezTo>
                <a:cubicBezTo>
                  <a:pt x="1533871" y="1266300"/>
                  <a:pt x="1534388" y="1266919"/>
                  <a:pt x="1534904" y="1267694"/>
                </a:cubicBezTo>
                <a:cubicBezTo>
                  <a:pt x="1534594" y="1268778"/>
                  <a:pt x="1533252" y="1271411"/>
                  <a:pt x="1532116" y="1271101"/>
                </a:cubicBezTo>
                <a:cubicBezTo>
                  <a:pt x="1529741" y="1270327"/>
                  <a:pt x="1527573" y="1268468"/>
                  <a:pt x="1527882" y="1267384"/>
                </a:cubicBezTo>
                <a:cubicBezTo>
                  <a:pt x="1528296" y="1265680"/>
                  <a:pt x="1528709" y="1264131"/>
                  <a:pt x="1530464" y="1263822"/>
                </a:cubicBezTo>
                <a:close/>
                <a:moveTo>
                  <a:pt x="4831183" y="1263632"/>
                </a:moveTo>
                <a:cubicBezTo>
                  <a:pt x="4832036" y="1264343"/>
                  <a:pt x="4832036" y="1264343"/>
                  <a:pt x="4832036" y="1264343"/>
                </a:cubicBezTo>
                <a:cubicBezTo>
                  <a:pt x="4832677" y="1265482"/>
                  <a:pt x="4832463" y="1266335"/>
                  <a:pt x="4831610" y="1267189"/>
                </a:cubicBezTo>
                <a:cubicBezTo>
                  <a:pt x="4830543" y="1268185"/>
                  <a:pt x="4829048" y="1269039"/>
                  <a:pt x="4827128" y="1270034"/>
                </a:cubicBezTo>
                <a:cubicBezTo>
                  <a:pt x="4823073" y="1271884"/>
                  <a:pt x="4817310" y="1272596"/>
                  <a:pt x="4815817" y="1273164"/>
                </a:cubicBezTo>
                <a:cubicBezTo>
                  <a:pt x="4814109" y="1273591"/>
                  <a:pt x="4813469" y="1274587"/>
                  <a:pt x="4813469" y="1274587"/>
                </a:cubicBezTo>
                <a:cubicBezTo>
                  <a:pt x="4812189" y="1272311"/>
                  <a:pt x="4827128" y="1265624"/>
                  <a:pt x="4831183" y="1263632"/>
                </a:cubicBezTo>
                <a:close/>
                <a:moveTo>
                  <a:pt x="4336689" y="1263205"/>
                </a:moveTo>
                <a:cubicBezTo>
                  <a:pt x="4343732" y="1263632"/>
                  <a:pt x="4346293" y="1268469"/>
                  <a:pt x="4345653" y="1272879"/>
                </a:cubicBezTo>
                <a:lnTo>
                  <a:pt x="4342238" y="1278143"/>
                </a:lnTo>
                <a:lnTo>
                  <a:pt x="4343732" y="1278286"/>
                </a:lnTo>
                <a:cubicBezTo>
                  <a:pt x="4344799" y="1278997"/>
                  <a:pt x="4345439" y="1279993"/>
                  <a:pt x="4345866" y="1281132"/>
                </a:cubicBezTo>
                <a:cubicBezTo>
                  <a:pt x="4346506" y="1283692"/>
                  <a:pt x="4346720" y="1287107"/>
                  <a:pt x="4347574" y="1290094"/>
                </a:cubicBezTo>
                <a:cubicBezTo>
                  <a:pt x="4343946" y="1290379"/>
                  <a:pt x="4341598" y="1289526"/>
                  <a:pt x="4340317" y="1287392"/>
                </a:cubicBezTo>
                <a:lnTo>
                  <a:pt x="4339250" y="1278855"/>
                </a:lnTo>
                <a:lnTo>
                  <a:pt x="4334555" y="1279567"/>
                </a:lnTo>
                <a:cubicBezTo>
                  <a:pt x="4331567" y="1275298"/>
                  <a:pt x="4330927" y="1271457"/>
                  <a:pt x="4330073" y="1268896"/>
                </a:cubicBezTo>
                <a:cubicBezTo>
                  <a:pt x="4332634" y="1267047"/>
                  <a:pt x="4334128" y="1265055"/>
                  <a:pt x="4336689" y="1263205"/>
                </a:cubicBezTo>
                <a:close/>
                <a:moveTo>
                  <a:pt x="1129210" y="1262892"/>
                </a:moveTo>
                <a:cubicBezTo>
                  <a:pt x="1130966" y="1263047"/>
                  <a:pt x="1132721" y="1262427"/>
                  <a:pt x="1134373" y="1263356"/>
                </a:cubicBezTo>
                <a:cubicBezTo>
                  <a:pt x="1136128" y="1265215"/>
                  <a:pt x="1135199" y="1269398"/>
                  <a:pt x="1134270" y="1270946"/>
                </a:cubicBezTo>
                <a:cubicBezTo>
                  <a:pt x="1132514" y="1272341"/>
                  <a:pt x="1129933" y="1271256"/>
                  <a:pt x="1128281" y="1269398"/>
                </a:cubicBezTo>
                <a:cubicBezTo>
                  <a:pt x="1127455" y="1268933"/>
                  <a:pt x="1127042" y="1268003"/>
                  <a:pt x="1126939" y="1267074"/>
                </a:cubicBezTo>
                <a:cubicBezTo>
                  <a:pt x="1126835" y="1266145"/>
                  <a:pt x="1127042" y="1265215"/>
                  <a:pt x="1127455" y="1264441"/>
                </a:cubicBezTo>
                <a:cubicBezTo>
                  <a:pt x="1128384" y="1263667"/>
                  <a:pt x="1128384" y="1263667"/>
                  <a:pt x="1129210" y="1262892"/>
                </a:cubicBezTo>
                <a:close/>
                <a:moveTo>
                  <a:pt x="3442034" y="1262352"/>
                </a:moveTo>
                <a:cubicBezTo>
                  <a:pt x="3442034" y="1262352"/>
                  <a:pt x="3444381" y="1263917"/>
                  <a:pt x="3444381" y="1263917"/>
                </a:cubicBezTo>
                <a:cubicBezTo>
                  <a:pt x="3446515" y="1266762"/>
                  <a:pt x="3447582" y="1268185"/>
                  <a:pt x="3449717" y="1269750"/>
                </a:cubicBezTo>
                <a:cubicBezTo>
                  <a:pt x="3448436" y="1272026"/>
                  <a:pt x="3447369" y="1271884"/>
                  <a:pt x="3446302" y="1270461"/>
                </a:cubicBezTo>
                <a:cubicBezTo>
                  <a:pt x="3446302" y="1270461"/>
                  <a:pt x="3445235" y="1269039"/>
                  <a:pt x="3444168" y="1267616"/>
                </a:cubicBezTo>
                <a:cubicBezTo>
                  <a:pt x="3443101" y="1266193"/>
                  <a:pt x="3441820" y="1266051"/>
                  <a:pt x="3441820" y="1266051"/>
                </a:cubicBezTo>
                <a:cubicBezTo>
                  <a:pt x="3440753" y="1264628"/>
                  <a:pt x="3440967" y="1263348"/>
                  <a:pt x="3442034" y="1262352"/>
                </a:cubicBezTo>
                <a:close/>
                <a:moveTo>
                  <a:pt x="5234973" y="1261214"/>
                </a:moveTo>
                <a:cubicBezTo>
                  <a:pt x="5231985" y="1273022"/>
                  <a:pt x="5204881" y="1284119"/>
                  <a:pt x="5198905" y="1272879"/>
                </a:cubicBezTo>
                <a:cubicBezTo>
                  <a:pt x="5212137" y="1269892"/>
                  <a:pt x="5219606" y="1261640"/>
                  <a:pt x="5234973" y="1261214"/>
                </a:cubicBezTo>
                <a:close/>
                <a:moveTo>
                  <a:pt x="4962436" y="1261214"/>
                </a:moveTo>
                <a:cubicBezTo>
                  <a:pt x="4962436" y="1261214"/>
                  <a:pt x="4962436" y="1261214"/>
                  <a:pt x="4963716" y="1262352"/>
                </a:cubicBezTo>
                <a:cubicBezTo>
                  <a:pt x="4961369" y="1262495"/>
                  <a:pt x="4960942" y="1267474"/>
                  <a:pt x="4958167" y="1265197"/>
                </a:cubicBezTo>
                <a:cubicBezTo>
                  <a:pt x="4959235" y="1263917"/>
                  <a:pt x="4961369" y="1262495"/>
                  <a:pt x="4962436" y="1261214"/>
                </a:cubicBezTo>
                <a:close/>
                <a:moveTo>
                  <a:pt x="4042597" y="1260930"/>
                </a:moveTo>
                <a:cubicBezTo>
                  <a:pt x="4043877" y="1260787"/>
                  <a:pt x="4045371" y="1260930"/>
                  <a:pt x="4046865" y="1261498"/>
                </a:cubicBezTo>
                <a:cubicBezTo>
                  <a:pt x="4046865" y="1261498"/>
                  <a:pt x="4046865" y="1261498"/>
                  <a:pt x="4045798" y="1261498"/>
                </a:cubicBezTo>
                <a:cubicBezTo>
                  <a:pt x="4045798" y="1261498"/>
                  <a:pt x="4046865" y="1261498"/>
                  <a:pt x="4047079" y="1262637"/>
                </a:cubicBezTo>
                <a:cubicBezTo>
                  <a:pt x="4041316" y="1265909"/>
                  <a:pt x="4031926" y="1264343"/>
                  <a:pt x="4030645" y="1264343"/>
                </a:cubicBezTo>
                <a:cubicBezTo>
                  <a:pt x="4030645" y="1263205"/>
                  <a:pt x="4030645" y="1263205"/>
                  <a:pt x="4030645" y="1263205"/>
                </a:cubicBezTo>
                <a:cubicBezTo>
                  <a:pt x="4034273" y="1264202"/>
                  <a:pt x="4038328" y="1261356"/>
                  <a:pt x="4042597" y="1260930"/>
                </a:cubicBezTo>
                <a:close/>
                <a:moveTo>
                  <a:pt x="4358671" y="1260502"/>
                </a:moveTo>
                <a:cubicBezTo>
                  <a:pt x="4359738" y="1260645"/>
                  <a:pt x="4360592" y="1261071"/>
                  <a:pt x="4360806" y="1261498"/>
                </a:cubicBezTo>
                <a:cubicBezTo>
                  <a:pt x="4362940" y="1264628"/>
                  <a:pt x="4352696" y="1273306"/>
                  <a:pt x="4353763" y="1261214"/>
                </a:cubicBezTo>
                <a:cubicBezTo>
                  <a:pt x="4355897" y="1260645"/>
                  <a:pt x="4357605" y="1260502"/>
                  <a:pt x="4358671" y="1260502"/>
                </a:cubicBezTo>
                <a:close/>
                <a:moveTo>
                  <a:pt x="4023602" y="1260360"/>
                </a:moveTo>
                <a:cubicBezTo>
                  <a:pt x="4023602" y="1260360"/>
                  <a:pt x="4023602" y="1260360"/>
                  <a:pt x="4024670" y="1261640"/>
                </a:cubicBezTo>
                <a:cubicBezTo>
                  <a:pt x="4022322" y="1261498"/>
                  <a:pt x="4021468" y="1266335"/>
                  <a:pt x="4018907" y="1263775"/>
                </a:cubicBezTo>
                <a:cubicBezTo>
                  <a:pt x="4020188" y="1262637"/>
                  <a:pt x="4022322" y="1261498"/>
                  <a:pt x="4023602" y="1260360"/>
                </a:cubicBezTo>
                <a:close/>
                <a:moveTo>
                  <a:pt x="1215933" y="1260123"/>
                </a:moveTo>
                <a:cubicBezTo>
                  <a:pt x="1218759" y="1260685"/>
                  <a:pt x="1221263" y="1262350"/>
                  <a:pt x="1222244" y="1266300"/>
                </a:cubicBezTo>
                <a:cubicBezTo>
                  <a:pt x="1221211" y="1266919"/>
                  <a:pt x="1220282" y="1267539"/>
                  <a:pt x="1219353" y="1268313"/>
                </a:cubicBezTo>
                <a:cubicBezTo>
                  <a:pt x="1215326" y="1264286"/>
                  <a:pt x="1210989" y="1263512"/>
                  <a:pt x="1207685" y="1260568"/>
                </a:cubicBezTo>
                <a:cubicBezTo>
                  <a:pt x="1209957" y="1260104"/>
                  <a:pt x="1213106" y="1259562"/>
                  <a:pt x="1215933" y="1260123"/>
                </a:cubicBezTo>
                <a:close/>
                <a:moveTo>
                  <a:pt x="1370004" y="1260104"/>
                </a:moveTo>
                <a:cubicBezTo>
                  <a:pt x="1377748" y="1260568"/>
                  <a:pt x="1380020" y="1269707"/>
                  <a:pt x="1372069" y="1272496"/>
                </a:cubicBezTo>
                <a:cubicBezTo>
                  <a:pt x="1368558" y="1272186"/>
                  <a:pt x="1365977" y="1270327"/>
                  <a:pt x="1365357" y="1267848"/>
                </a:cubicBezTo>
                <a:cubicBezTo>
                  <a:pt x="1364738" y="1265370"/>
                  <a:pt x="1365977" y="1262427"/>
                  <a:pt x="1370004" y="1260104"/>
                </a:cubicBezTo>
                <a:close/>
                <a:moveTo>
                  <a:pt x="4933197" y="1260075"/>
                </a:moveTo>
                <a:cubicBezTo>
                  <a:pt x="4943655" y="1259648"/>
                  <a:pt x="4952832" y="1266904"/>
                  <a:pt x="4957314" y="1276437"/>
                </a:cubicBezTo>
                <a:cubicBezTo>
                  <a:pt x="4960942" y="1283692"/>
                  <a:pt x="4962009" y="1292086"/>
                  <a:pt x="4959448" y="1299768"/>
                </a:cubicBezTo>
                <a:lnTo>
                  <a:pt x="4958808" y="1300907"/>
                </a:lnTo>
                <a:lnTo>
                  <a:pt x="4960302" y="1299484"/>
                </a:lnTo>
                <a:cubicBezTo>
                  <a:pt x="4962009" y="1299057"/>
                  <a:pt x="4962009" y="1299057"/>
                  <a:pt x="4963076" y="1299627"/>
                </a:cubicBezTo>
                <a:cubicBezTo>
                  <a:pt x="4965637" y="1299768"/>
                  <a:pt x="4967131" y="1299342"/>
                  <a:pt x="4968412" y="1301618"/>
                </a:cubicBezTo>
                <a:cubicBezTo>
                  <a:pt x="4969052" y="1303610"/>
                  <a:pt x="4968838" y="1304890"/>
                  <a:pt x="4967985" y="1306029"/>
                </a:cubicBezTo>
                <a:cubicBezTo>
                  <a:pt x="4967131" y="1307167"/>
                  <a:pt x="4965637" y="1308163"/>
                  <a:pt x="4963503" y="1309159"/>
                </a:cubicBezTo>
                <a:cubicBezTo>
                  <a:pt x="4959662" y="1311150"/>
                  <a:pt x="4957527" y="1308163"/>
                  <a:pt x="4954112" y="1309159"/>
                </a:cubicBezTo>
                <a:lnTo>
                  <a:pt x="4954753" y="1307024"/>
                </a:lnTo>
                <a:lnTo>
                  <a:pt x="4943228" y="1305602"/>
                </a:lnTo>
                <a:cubicBezTo>
                  <a:pt x="4939600" y="1304321"/>
                  <a:pt x="4936399" y="1302187"/>
                  <a:pt x="4933838" y="1299484"/>
                </a:cubicBezTo>
                <a:lnTo>
                  <a:pt x="4930210" y="1293936"/>
                </a:lnTo>
                <a:lnTo>
                  <a:pt x="4929142" y="1298915"/>
                </a:lnTo>
                <a:cubicBezTo>
                  <a:pt x="4926795" y="1304605"/>
                  <a:pt x="4923380" y="1310439"/>
                  <a:pt x="4917831" y="1315987"/>
                </a:cubicBezTo>
                <a:cubicBezTo>
                  <a:pt x="4910148" y="1315703"/>
                  <a:pt x="4908227" y="1309727"/>
                  <a:pt x="4909721" y="1302757"/>
                </a:cubicBezTo>
                <a:cubicBezTo>
                  <a:pt x="4911428" y="1293936"/>
                  <a:pt x="4918258" y="1283692"/>
                  <a:pt x="4925514" y="1281416"/>
                </a:cubicBezTo>
                <a:lnTo>
                  <a:pt x="4926154" y="1281416"/>
                </a:lnTo>
                <a:lnTo>
                  <a:pt x="4926368" y="1272026"/>
                </a:lnTo>
                <a:cubicBezTo>
                  <a:pt x="4927008" y="1268612"/>
                  <a:pt x="4928075" y="1265055"/>
                  <a:pt x="4929782" y="1261640"/>
                </a:cubicBezTo>
                <a:cubicBezTo>
                  <a:pt x="4931277" y="1261640"/>
                  <a:pt x="4932984" y="1261783"/>
                  <a:pt x="4933197" y="1260075"/>
                </a:cubicBezTo>
                <a:close/>
                <a:moveTo>
                  <a:pt x="4637611" y="1259791"/>
                </a:moveTo>
                <a:cubicBezTo>
                  <a:pt x="4638465" y="1264059"/>
                  <a:pt x="4641026" y="1269039"/>
                  <a:pt x="4643160" y="1273876"/>
                </a:cubicBezTo>
                <a:cubicBezTo>
                  <a:pt x="4645294" y="1278570"/>
                  <a:pt x="4647001" y="1283407"/>
                  <a:pt x="4646788" y="1287249"/>
                </a:cubicBezTo>
                <a:lnTo>
                  <a:pt x="4645081" y="1291517"/>
                </a:lnTo>
                <a:lnTo>
                  <a:pt x="4645934" y="1291944"/>
                </a:lnTo>
                <a:cubicBezTo>
                  <a:pt x="4643373" y="1294220"/>
                  <a:pt x="4644014" y="1296639"/>
                  <a:pt x="4641453" y="1298915"/>
                </a:cubicBezTo>
                <a:lnTo>
                  <a:pt x="4638251" y="1295643"/>
                </a:lnTo>
                <a:lnTo>
                  <a:pt x="4636117" y="1296212"/>
                </a:lnTo>
                <a:lnTo>
                  <a:pt x="4635050" y="1304605"/>
                </a:lnTo>
                <a:cubicBezTo>
                  <a:pt x="4634410" y="1307451"/>
                  <a:pt x="4633343" y="1310297"/>
                  <a:pt x="4632275" y="1312573"/>
                </a:cubicBezTo>
                <a:cubicBezTo>
                  <a:pt x="4622458" y="1302614"/>
                  <a:pt x="4625446" y="1292086"/>
                  <a:pt x="4628647" y="1281558"/>
                </a:cubicBezTo>
                <a:cubicBezTo>
                  <a:pt x="4631208" y="1282838"/>
                  <a:pt x="4633129" y="1284830"/>
                  <a:pt x="4634410" y="1287249"/>
                </a:cubicBezTo>
                <a:lnTo>
                  <a:pt x="4634623" y="1288529"/>
                </a:lnTo>
                <a:lnTo>
                  <a:pt x="4634837" y="1286680"/>
                </a:lnTo>
                <a:cubicBezTo>
                  <a:pt x="4634623" y="1276437"/>
                  <a:pt x="4631422" y="1266478"/>
                  <a:pt x="4637611" y="1259791"/>
                </a:cubicBezTo>
                <a:close/>
                <a:moveTo>
                  <a:pt x="1311845" y="1259755"/>
                </a:moveTo>
                <a:cubicBezTo>
                  <a:pt x="1313497" y="1258865"/>
                  <a:pt x="1315330" y="1258632"/>
                  <a:pt x="1316620" y="1259794"/>
                </a:cubicBezTo>
                <a:cubicBezTo>
                  <a:pt x="1318272" y="1262272"/>
                  <a:pt x="1312593" y="1270946"/>
                  <a:pt x="1308360" y="1265990"/>
                </a:cubicBezTo>
                <a:cubicBezTo>
                  <a:pt x="1307740" y="1265525"/>
                  <a:pt x="1307740" y="1264596"/>
                  <a:pt x="1308153" y="1263667"/>
                </a:cubicBezTo>
                <a:cubicBezTo>
                  <a:pt x="1308721" y="1262195"/>
                  <a:pt x="1310193" y="1260646"/>
                  <a:pt x="1311845" y="1259755"/>
                </a:cubicBezTo>
                <a:close/>
                <a:moveTo>
                  <a:pt x="3481090" y="1259506"/>
                </a:moveTo>
                <a:cubicBezTo>
                  <a:pt x="3481730" y="1259365"/>
                  <a:pt x="3482583" y="1259648"/>
                  <a:pt x="3483651" y="1260360"/>
                </a:cubicBezTo>
                <a:cubicBezTo>
                  <a:pt x="3486638" y="1265197"/>
                  <a:pt x="3482797" y="1270034"/>
                  <a:pt x="3480876" y="1276010"/>
                </a:cubicBezTo>
                <a:lnTo>
                  <a:pt x="3479169" y="1277717"/>
                </a:lnTo>
                <a:lnTo>
                  <a:pt x="3482583" y="1277575"/>
                </a:lnTo>
                <a:cubicBezTo>
                  <a:pt x="3483437" y="1280847"/>
                  <a:pt x="3484931" y="1282981"/>
                  <a:pt x="3485785" y="1286111"/>
                </a:cubicBezTo>
                <a:cubicBezTo>
                  <a:pt x="3483223" y="1293224"/>
                  <a:pt x="3478102" y="1294363"/>
                  <a:pt x="3474473" y="1292371"/>
                </a:cubicBezTo>
                <a:cubicBezTo>
                  <a:pt x="3472552" y="1291374"/>
                  <a:pt x="3471272" y="1289526"/>
                  <a:pt x="3470632" y="1287249"/>
                </a:cubicBezTo>
                <a:lnTo>
                  <a:pt x="3471059" y="1284262"/>
                </a:lnTo>
                <a:lnTo>
                  <a:pt x="3469778" y="1284262"/>
                </a:lnTo>
                <a:lnTo>
                  <a:pt x="3471059" y="1280278"/>
                </a:lnTo>
                <a:lnTo>
                  <a:pt x="3469778" y="1280420"/>
                </a:lnTo>
                <a:cubicBezTo>
                  <a:pt x="3468071" y="1277717"/>
                  <a:pt x="3468284" y="1275868"/>
                  <a:pt x="3469565" y="1274729"/>
                </a:cubicBezTo>
                <a:lnTo>
                  <a:pt x="3473620" y="1273306"/>
                </a:lnTo>
                <a:lnTo>
                  <a:pt x="3474687" y="1270177"/>
                </a:lnTo>
                <a:cubicBezTo>
                  <a:pt x="3476607" y="1265909"/>
                  <a:pt x="3478315" y="1262637"/>
                  <a:pt x="3478955" y="1261498"/>
                </a:cubicBezTo>
                <a:cubicBezTo>
                  <a:pt x="3479809" y="1260218"/>
                  <a:pt x="3480236" y="1259648"/>
                  <a:pt x="3481090" y="1259506"/>
                </a:cubicBezTo>
                <a:close/>
                <a:moveTo>
                  <a:pt x="3451210" y="1259365"/>
                </a:moveTo>
                <a:cubicBezTo>
                  <a:pt x="3451851" y="1259506"/>
                  <a:pt x="3452918" y="1259365"/>
                  <a:pt x="3453558" y="1259365"/>
                </a:cubicBezTo>
                <a:cubicBezTo>
                  <a:pt x="3454412" y="1259365"/>
                  <a:pt x="3455052" y="1259365"/>
                  <a:pt x="3454839" y="1259933"/>
                </a:cubicBezTo>
                <a:cubicBezTo>
                  <a:pt x="3456119" y="1260075"/>
                  <a:pt x="3455906" y="1262495"/>
                  <a:pt x="3455906" y="1262495"/>
                </a:cubicBezTo>
                <a:cubicBezTo>
                  <a:pt x="3457186" y="1262637"/>
                  <a:pt x="3458253" y="1262921"/>
                  <a:pt x="3459534" y="1264202"/>
                </a:cubicBezTo>
                <a:cubicBezTo>
                  <a:pt x="3458253" y="1265197"/>
                  <a:pt x="3459321" y="1265340"/>
                  <a:pt x="3459321" y="1266478"/>
                </a:cubicBezTo>
                <a:cubicBezTo>
                  <a:pt x="3458253" y="1265055"/>
                  <a:pt x="3454625" y="1264486"/>
                  <a:pt x="3452278" y="1262921"/>
                </a:cubicBezTo>
                <a:cubicBezTo>
                  <a:pt x="3452278" y="1261783"/>
                  <a:pt x="3451210" y="1260502"/>
                  <a:pt x="3451210" y="1259365"/>
                </a:cubicBezTo>
                <a:close/>
                <a:moveTo>
                  <a:pt x="1483779" y="1258884"/>
                </a:moveTo>
                <a:cubicBezTo>
                  <a:pt x="1487896" y="1257432"/>
                  <a:pt x="1492672" y="1257703"/>
                  <a:pt x="1495770" y="1261033"/>
                </a:cubicBezTo>
                <a:cubicBezTo>
                  <a:pt x="1496286" y="1268623"/>
                  <a:pt x="1485651" y="1274200"/>
                  <a:pt x="1479662" y="1274354"/>
                </a:cubicBezTo>
                <a:cubicBezTo>
                  <a:pt x="1476564" y="1272031"/>
                  <a:pt x="1475532" y="1269552"/>
                  <a:pt x="1475738" y="1267074"/>
                </a:cubicBezTo>
                <a:cubicBezTo>
                  <a:pt x="1476203" y="1263511"/>
                  <a:pt x="1479662" y="1260336"/>
                  <a:pt x="1483779" y="1258884"/>
                </a:cubicBezTo>
                <a:close/>
                <a:moveTo>
                  <a:pt x="3911770" y="1258653"/>
                </a:moveTo>
                <a:cubicBezTo>
                  <a:pt x="3912837" y="1258653"/>
                  <a:pt x="3913691" y="1258938"/>
                  <a:pt x="3913478" y="1259365"/>
                </a:cubicBezTo>
                <a:cubicBezTo>
                  <a:pt x="3914118" y="1261071"/>
                  <a:pt x="3914545" y="1260075"/>
                  <a:pt x="3915612" y="1260645"/>
                </a:cubicBezTo>
                <a:cubicBezTo>
                  <a:pt x="3917320" y="1265482"/>
                  <a:pt x="3917106" y="1269181"/>
                  <a:pt x="3913478" y="1271173"/>
                </a:cubicBezTo>
                <a:cubicBezTo>
                  <a:pt x="3910490" y="1272026"/>
                  <a:pt x="3905795" y="1273306"/>
                  <a:pt x="3903661" y="1269466"/>
                </a:cubicBezTo>
                <a:cubicBezTo>
                  <a:pt x="3904087" y="1268469"/>
                  <a:pt x="3903020" y="1267758"/>
                  <a:pt x="3903447" y="1266762"/>
                </a:cubicBezTo>
                <a:cubicBezTo>
                  <a:pt x="3903447" y="1266762"/>
                  <a:pt x="3903447" y="1265482"/>
                  <a:pt x="3904087" y="1263917"/>
                </a:cubicBezTo>
                <a:cubicBezTo>
                  <a:pt x="3904728" y="1262210"/>
                  <a:pt x="3905795" y="1260360"/>
                  <a:pt x="3908356" y="1259080"/>
                </a:cubicBezTo>
                <a:cubicBezTo>
                  <a:pt x="3909209" y="1258938"/>
                  <a:pt x="3910490" y="1258653"/>
                  <a:pt x="3911770" y="1258653"/>
                </a:cubicBezTo>
                <a:close/>
                <a:moveTo>
                  <a:pt x="1336755" y="1258400"/>
                </a:moveTo>
                <a:cubicBezTo>
                  <a:pt x="1338821" y="1258090"/>
                  <a:pt x="1339233" y="1258710"/>
                  <a:pt x="1338924" y="1259949"/>
                </a:cubicBezTo>
                <a:cubicBezTo>
                  <a:pt x="1338924" y="1259949"/>
                  <a:pt x="1338614" y="1261188"/>
                  <a:pt x="1338304" y="1262272"/>
                </a:cubicBezTo>
                <a:cubicBezTo>
                  <a:pt x="1337994" y="1263512"/>
                  <a:pt x="1338407" y="1264131"/>
                  <a:pt x="1338407" y="1264131"/>
                </a:cubicBezTo>
                <a:cubicBezTo>
                  <a:pt x="1338098" y="1265370"/>
                  <a:pt x="1337272" y="1265835"/>
                  <a:pt x="1336033" y="1265680"/>
                </a:cubicBezTo>
                <a:cubicBezTo>
                  <a:pt x="1336033" y="1265680"/>
                  <a:pt x="1335929" y="1263822"/>
                  <a:pt x="1335929" y="1263822"/>
                </a:cubicBezTo>
                <a:cubicBezTo>
                  <a:pt x="1336652" y="1261498"/>
                  <a:pt x="1336859" y="1260259"/>
                  <a:pt x="1336755" y="1258400"/>
                </a:cubicBezTo>
                <a:close/>
                <a:moveTo>
                  <a:pt x="4801944" y="1258226"/>
                </a:moveTo>
                <a:cubicBezTo>
                  <a:pt x="4805146" y="1263205"/>
                  <a:pt x="4811121" y="1264059"/>
                  <a:pt x="4813682" y="1270177"/>
                </a:cubicBezTo>
                <a:cubicBezTo>
                  <a:pt x="4811975" y="1270604"/>
                  <a:pt x="4807920" y="1271031"/>
                  <a:pt x="4806426" y="1267189"/>
                </a:cubicBezTo>
                <a:cubicBezTo>
                  <a:pt x="4805146" y="1263205"/>
                  <a:pt x="4801731" y="1262495"/>
                  <a:pt x="4800237" y="1258653"/>
                </a:cubicBezTo>
                <a:cubicBezTo>
                  <a:pt x="4800237" y="1258653"/>
                  <a:pt x="4800237" y="1258653"/>
                  <a:pt x="4801944" y="1258226"/>
                </a:cubicBezTo>
                <a:close/>
                <a:moveTo>
                  <a:pt x="1121466" y="1257780"/>
                </a:moveTo>
                <a:cubicBezTo>
                  <a:pt x="1121569" y="1260723"/>
                  <a:pt x="1120021" y="1261653"/>
                  <a:pt x="1116923" y="1263356"/>
                </a:cubicBezTo>
                <a:cubicBezTo>
                  <a:pt x="1116613" y="1261343"/>
                  <a:pt x="1116923" y="1259949"/>
                  <a:pt x="1117646" y="1259175"/>
                </a:cubicBezTo>
                <a:cubicBezTo>
                  <a:pt x="1118472" y="1258400"/>
                  <a:pt x="1119711" y="1258090"/>
                  <a:pt x="1121466" y="1257780"/>
                </a:cubicBezTo>
                <a:close/>
                <a:moveTo>
                  <a:pt x="3970034" y="1257088"/>
                </a:moveTo>
                <a:cubicBezTo>
                  <a:pt x="3971955" y="1255665"/>
                  <a:pt x="3973662" y="1257942"/>
                  <a:pt x="3974730" y="1261214"/>
                </a:cubicBezTo>
                <a:cubicBezTo>
                  <a:pt x="3978571" y="1267331"/>
                  <a:pt x="3978358" y="1271031"/>
                  <a:pt x="3973662" y="1272311"/>
                </a:cubicBezTo>
                <a:cubicBezTo>
                  <a:pt x="3972595" y="1271741"/>
                  <a:pt x="3969821" y="1268896"/>
                  <a:pt x="3969394" y="1269892"/>
                </a:cubicBezTo>
                <a:cubicBezTo>
                  <a:pt x="3968113" y="1266193"/>
                  <a:pt x="3967046" y="1261925"/>
                  <a:pt x="3968113" y="1259222"/>
                </a:cubicBezTo>
                <a:cubicBezTo>
                  <a:pt x="3968540" y="1258368"/>
                  <a:pt x="3969180" y="1257515"/>
                  <a:pt x="3970034" y="1257088"/>
                </a:cubicBezTo>
                <a:close/>
                <a:moveTo>
                  <a:pt x="4183027" y="1256803"/>
                </a:moveTo>
                <a:cubicBezTo>
                  <a:pt x="4183881" y="1256519"/>
                  <a:pt x="4184948" y="1256661"/>
                  <a:pt x="4186228" y="1256946"/>
                </a:cubicBezTo>
                <a:cubicBezTo>
                  <a:pt x="4190283" y="1257088"/>
                  <a:pt x="4193058" y="1261214"/>
                  <a:pt x="4197966" y="1262495"/>
                </a:cubicBezTo>
                <a:cubicBezTo>
                  <a:pt x="4197966" y="1265482"/>
                  <a:pt x="4197966" y="1267331"/>
                  <a:pt x="4197113" y="1268612"/>
                </a:cubicBezTo>
                <a:lnTo>
                  <a:pt x="4196259" y="1269039"/>
                </a:lnTo>
                <a:lnTo>
                  <a:pt x="4186228" y="1277148"/>
                </a:lnTo>
                <a:cubicBezTo>
                  <a:pt x="4184734" y="1277575"/>
                  <a:pt x="4179612" y="1277290"/>
                  <a:pt x="4178972" y="1275726"/>
                </a:cubicBezTo>
                <a:cubicBezTo>
                  <a:pt x="4178331" y="1274018"/>
                  <a:pt x="4178972" y="1273022"/>
                  <a:pt x="4179399" y="1271884"/>
                </a:cubicBezTo>
                <a:lnTo>
                  <a:pt x="4184307" y="1268327"/>
                </a:lnTo>
                <a:lnTo>
                  <a:pt x="4181960" y="1267331"/>
                </a:lnTo>
                <a:cubicBezTo>
                  <a:pt x="4179612" y="1265624"/>
                  <a:pt x="4178118" y="1263775"/>
                  <a:pt x="4177905" y="1262495"/>
                </a:cubicBezTo>
                <a:cubicBezTo>
                  <a:pt x="4178118" y="1259933"/>
                  <a:pt x="4180039" y="1257373"/>
                  <a:pt x="4183027" y="1256803"/>
                </a:cubicBezTo>
                <a:close/>
                <a:moveTo>
                  <a:pt x="1237733" y="1256444"/>
                </a:moveTo>
                <a:cubicBezTo>
                  <a:pt x="1241347" y="1255573"/>
                  <a:pt x="1245167" y="1255689"/>
                  <a:pt x="1247335" y="1256851"/>
                </a:cubicBezTo>
                <a:cubicBezTo>
                  <a:pt x="1248678" y="1260413"/>
                  <a:pt x="1248265" y="1263202"/>
                  <a:pt x="1247026" y="1265215"/>
                </a:cubicBezTo>
                <a:cubicBezTo>
                  <a:pt x="1246097" y="1266610"/>
                  <a:pt x="1244651" y="1267694"/>
                  <a:pt x="1242895" y="1268313"/>
                </a:cubicBezTo>
                <a:lnTo>
                  <a:pt x="1241140" y="1268623"/>
                </a:lnTo>
                <a:lnTo>
                  <a:pt x="1241243" y="1268623"/>
                </a:lnTo>
                <a:cubicBezTo>
                  <a:pt x="1241966" y="1271566"/>
                  <a:pt x="1240211" y="1275593"/>
                  <a:pt x="1235564" y="1277143"/>
                </a:cubicBezTo>
                <a:cubicBezTo>
                  <a:pt x="1232363" y="1275593"/>
                  <a:pt x="1230918" y="1273580"/>
                  <a:pt x="1229575" y="1272186"/>
                </a:cubicBezTo>
                <a:lnTo>
                  <a:pt x="1232260" y="1266764"/>
                </a:lnTo>
                <a:lnTo>
                  <a:pt x="1229369" y="1261963"/>
                </a:lnTo>
                <a:cubicBezTo>
                  <a:pt x="1230711" y="1259174"/>
                  <a:pt x="1234119" y="1257316"/>
                  <a:pt x="1237733" y="1256444"/>
                </a:cubicBezTo>
                <a:close/>
                <a:moveTo>
                  <a:pt x="4222723" y="1256376"/>
                </a:moveTo>
                <a:cubicBezTo>
                  <a:pt x="4232327" y="1255096"/>
                  <a:pt x="4246199" y="1263632"/>
                  <a:pt x="4250040" y="1268612"/>
                </a:cubicBezTo>
                <a:cubicBezTo>
                  <a:pt x="4239797" y="1268469"/>
                  <a:pt x="4222936" y="1267901"/>
                  <a:pt x="4215253" y="1261356"/>
                </a:cubicBezTo>
                <a:cubicBezTo>
                  <a:pt x="4216961" y="1258226"/>
                  <a:pt x="4219735" y="1256803"/>
                  <a:pt x="4222723" y="1256376"/>
                </a:cubicBezTo>
                <a:close/>
                <a:moveTo>
                  <a:pt x="3745730" y="1255665"/>
                </a:moveTo>
                <a:cubicBezTo>
                  <a:pt x="3750639" y="1258226"/>
                  <a:pt x="3751919" y="1261925"/>
                  <a:pt x="3748505" y="1265340"/>
                </a:cubicBezTo>
                <a:cubicBezTo>
                  <a:pt x="3746157" y="1262921"/>
                  <a:pt x="3743809" y="1263917"/>
                  <a:pt x="3741461" y="1261498"/>
                </a:cubicBezTo>
                <a:cubicBezTo>
                  <a:pt x="3743596" y="1259222"/>
                  <a:pt x="3744663" y="1256803"/>
                  <a:pt x="3745730" y="1255665"/>
                </a:cubicBezTo>
                <a:close/>
                <a:moveTo>
                  <a:pt x="3398710" y="1255381"/>
                </a:moveTo>
                <a:lnTo>
                  <a:pt x="3395722" y="1263205"/>
                </a:lnTo>
                <a:lnTo>
                  <a:pt x="3394014" y="1265197"/>
                </a:lnTo>
                <a:lnTo>
                  <a:pt x="3396148" y="1266478"/>
                </a:lnTo>
                <a:cubicBezTo>
                  <a:pt x="3396788" y="1270177"/>
                  <a:pt x="3397215" y="1274018"/>
                  <a:pt x="3393160" y="1278428"/>
                </a:cubicBezTo>
                <a:cubicBezTo>
                  <a:pt x="3390813" y="1278855"/>
                  <a:pt x="3388679" y="1278570"/>
                  <a:pt x="3386971" y="1277717"/>
                </a:cubicBezTo>
                <a:lnTo>
                  <a:pt x="3385264" y="1276152"/>
                </a:lnTo>
                <a:lnTo>
                  <a:pt x="3383557" y="1277717"/>
                </a:lnTo>
                <a:lnTo>
                  <a:pt x="3385051" y="1286537"/>
                </a:lnTo>
                <a:cubicBezTo>
                  <a:pt x="3385051" y="1289668"/>
                  <a:pt x="3386117" y="1292086"/>
                  <a:pt x="3386544" y="1294220"/>
                </a:cubicBezTo>
                <a:cubicBezTo>
                  <a:pt x="3386544" y="1294220"/>
                  <a:pt x="3386544" y="1294220"/>
                  <a:pt x="3387825" y="1305032"/>
                </a:cubicBezTo>
                <a:cubicBezTo>
                  <a:pt x="3387825" y="1305032"/>
                  <a:pt x="3387825" y="1305032"/>
                  <a:pt x="3387398" y="1306029"/>
                </a:cubicBezTo>
                <a:cubicBezTo>
                  <a:pt x="3387398" y="1306029"/>
                  <a:pt x="3387611" y="1306029"/>
                  <a:pt x="3388465" y="1306313"/>
                </a:cubicBezTo>
                <a:cubicBezTo>
                  <a:pt x="3388465" y="1306313"/>
                  <a:pt x="3388465" y="1306171"/>
                  <a:pt x="3388679" y="1308447"/>
                </a:cubicBezTo>
                <a:cubicBezTo>
                  <a:pt x="3388679" y="1311435"/>
                  <a:pt x="3388892" y="1313711"/>
                  <a:pt x="3388892" y="1316699"/>
                </a:cubicBezTo>
                <a:cubicBezTo>
                  <a:pt x="3389105" y="1318833"/>
                  <a:pt x="3388039" y="1321678"/>
                  <a:pt x="3388252" y="1323812"/>
                </a:cubicBezTo>
                <a:cubicBezTo>
                  <a:pt x="3387611" y="1325804"/>
                  <a:pt x="3387398" y="1326657"/>
                  <a:pt x="3388039" y="1327938"/>
                </a:cubicBezTo>
                <a:cubicBezTo>
                  <a:pt x="3387611" y="1328934"/>
                  <a:pt x="3387398" y="1329787"/>
                  <a:pt x="3387398" y="1329787"/>
                </a:cubicBezTo>
                <a:cubicBezTo>
                  <a:pt x="3386971" y="1330783"/>
                  <a:pt x="3386971" y="1330641"/>
                  <a:pt x="3386331" y="1332633"/>
                </a:cubicBezTo>
                <a:cubicBezTo>
                  <a:pt x="3387184" y="1335905"/>
                  <a:pt x="3388465" y="1335336"/>
                  <a:pt x="3389105" y="1333486"/>
                </a:cubicBezTo>
                <a:cubicBezTo>
                  <a:pt x="3389532" y="1332491"/>
                  <a:pt x="3389532" y="1332491"/>
                  <a:pt x="3389746" y="1331637"/>
                </a:cubicBezTo>
                <a:cubicBezTo>
                  <a:pt x="3390172" y="1330641"/>
                  <a:pt x="3390172" y="1330641"/>
                  <a:pt x="3390386" y="1329787"/>
                </a:cubicBezTo>
                <a:cubicBezTo>
                  <a:pt x="3390386" y="1329787"/>
                  <a:pt x="3390600" y="1328791"/>
                  <a:pt x="3389746" y="1328507"/>
                </a:cubicBezTo>
                <a:cubicBezTo>
                  <a:pt x="3391667" y="1329076"/>
                  <a:pt x="3391667" y="1329076"/>
                  <a:pt x="3392093" y="1330214"/>
                </a:cubicBezTo>
                <a:cubicBezTo>
                  <a:pt x="3392734" y="1331494"/>
                  <a:pt x="3393160" y="1333628"/>
                  <a:pt x="3393374" y="1335763"/>
                </a:cubicBezTo>
                <a:cubicBezTo>
                  <a:pt x="3392520" y="1340742"/>
                  <a:pt x="3392307" y="1344868"/>
                  <a:pt x="3390172" y="1345152"/>
                </a:cubicBezTo>
                <a:cubicBezTo>
                  <a:pt x="3395722" y="1355253"/>
                  <a:pt x="3396788" y="1363789"/>
                  <a:pt x="3396788" y="1372183"/>
                </a:cubicBezTo>
                <a:cubicBezTo>
                  <a:pt x="3397429" y="1376452"/>
                  <a:pt x="3396788" y="1381431"/>
                  <a:pt x="3397215" y="1385699"/>
                </a:cubicBezTo>
                <a:cubicBezTo>
                  <a:pt x="3397856" y="1386979"/>
                  <a:pt x="3397429" y="1387833"/>
                  <a:pt x="3398069" y="1389113"/>
                </a:cubicBezTo>
                <a:cubicBezTo>
                  <a:pt x="3397642" y="1390109"/>
                  <a:pt x="3398282" y="1391248"/>
                  <a:pt x="3398923" y="1392528"/>
                </a:cubicBezTo>
                <a:lnTo>
                  <a:pt x="3402551" y="1391959"/>
                </a:lnTo>
                <a:lnTo>
                  <a:pt x="3399990" y="1397080"/>
                </a:lnTo>
                <a:lnTo>
                  <a:pt x="3400630" y="1399215"/>
                </a:lnTo>
                <a:cubicBezTo>
                  <a:pt x="3393801" y="1401349"/>
                  <a:pt x="3394441" y="1408746"/>
                  <a:pt x="3395295" y="1415291"/>
                </a:cubicBezTo>
                <a:cubicBezTo>
                  <a:pt x="3395935" y="1421693"/>
                  <a:pt x="3396788" y="1428095"/>
                  <a:pt x="3391880" y="1427668"/>
                </a:cubicBezTo>
                <a:cubicBezTo>
                  <a:pt x="3390172" y="1438623"/>
                  <a:pt x="3400843" y="1425250"/>
                  <a:pt x="3399776" y="1431225"/>
                </a:cubicBezTo>
                <a:cubicBezTo>
                  <a:pt x="3400203" y="1434355"/>
                  <a:pt x="3400417" y="1442037"/>
                  <a:pt x="3400843" y="1449862"/>
                </a:cubicBezTo>
                <a:lnTo>
                  <a:pt x="3401271" y="1457687"/>
                </a:lnTo>
                <a:lnTo>
                  <a:pt x="3408527" y="1467219"/>
                </a:lnTo>
                <a:lnTo>
                  <a:pt x="3406819" y="1469780"/>
                </a:lnTo>
                <a:lnTo>
                  <a:pt x="3409594" y="1469495"/>
                </a:lnTo>
                <a:cubicBezTo>
                  <a:pt x="3410234" y="1479027"/>
                  <a:pt x="3406819" y="1468641"/>
                  <a:pt x="3403618" y="1474902"/>
                </a:cubicBezTo>
                <a:cubicBezTo>
                  <a:pt x="3405538" y="1475471"/>
                  <a:pt x="3405752" y="1477605"/>
                  <a:pt x="3405966" y="1479739"/>
                </a:cubicBezTo>
                <a:cubicBezTo>
                  <a:pt x="3406393" y="1481872"/>
                  <a:pt x="3405752" y="1483865"/>
                  <a:pt x="3405112" y="1485714"/>
                </a:cubicBezTo>
                <a:cubicBezTo>
                  <a:pt x="3403405" y="1490408"/>
                  <a:pt x="3402978" y="1494392"/>
                  <a:pt x="3408953" y="1497238"/>
                </a:cubicBezTo>
                <a:cubicBezTo>
                  <a:pt x="3407459" y="1501933"/>
                  <a:pt x="3405326" y="1502359"/>
                  <a:pt x="3403191" y="1499656"/>
                </a:cubicBezTo>
                <a:lnTo>
                  <a:pt x="3405966" y="1506770"/>
                </a:lnTo>
                <a:lnTo>
                  <a:pt x="3417490" y="1508620"/>
                </a:lnTo>
                <a:lnTo>
                  <a:pt x="3419838" y="1509473"/>
                </a:lnTo>
                <a:lnTo>
                  <a:pt x="3416423" y="1504920"/>
                </a:lnTo>
                <a:cubicBezTo>
                  <a:pt x="3417917" y="1503782"/>
                  <a:pt x="3419198" y="1503356"/>
                  <a:pt x="3420692" y="1502502"/>
                </a:cubicBezTo>
                <a:lnTo>
                  <a:pt x="3420905" y="1502217"/>
                </a:lnTo>
                <a:lnTo>
                  <a:pt x="3416637" y="1498376"/>
                </a:lnTo>
                <a:cubicBezTo>
                  <a:pt x="3409807" y="1490125"/>
                  <a:pt x="3406819" y="1478743"/>
                  <a:pt x="3412368" y="1469638"/>
                </a:cubicBezTo>
                <a:lnTo>
                  <a:pt x="3419624" y="1462951"/>
                </a:lnTo>
                <a:lnTo>
                  <a:pt x="3417704" y="1460532"/>
                </a:lnTo>
                <a:cubicBezTo>
                  <a:pt x="3418344" y="1455553"/>
                  <a:pt x="3421972" y="1453561"/>
                  <a:pt x="3421759" y="1448298"/>
                </a:cubicBezTo>
                <a:cubicBezTo>
                  <a:pt x="3420692" y="1442749"/>
                  <a:pt x="3415997" y="1450716"/>
                  <a:pt x="3417490" y="1455268"/>
                </a:cubicBezTo>
                <a:cubicBezTo>
                  <a:pt x="3415143" y="1451427"/>
                  <a:pt x="3414929" y="1447443"/>
                  <a:pt x="3415356" y="1443460"/>
                </a:cubicBezTo>
                <a:lnTo>
                  <a:pt x="3416850" y="1439334"/>
                </a:lnTo>
                <a:lnTo>
                  <a:pt x="3414076" y="1439192"/>
                </a:lnTo>
                <a:cubicBezTo>
                  <a:pt x="3410234" y="1437627"/>
                  <a:pt x="3407673" y="1433786"/>
                  <a:pt x="3408527" y="1429660"/>
                </a:cubicBezTo>
                <a:cubicBezTo>
                  <a:pt x="3408953" y="1426815"/>
                  <a:pt x="3410874" y="1423969"/>
                  <a:pt x="3414929" y="1421551"/>
                </a:cubicBezTo>
                <a:cubicBezTo>
                  <a:pt x="3416637" y="1423969"/>
                  <a:pt x="3418557" y="1425534"/>
                  <a:pt x="3420265" y="1426673"/>
                </a:cubicBezTo>
                <a:lnTo>
                  <a:pt x="3420692" y="1427099"/>
                </a:lnTo>
                <a:lnTo>
                  <a:pt x="3422612" y="1420270"/>
                </a:lnTo>
                <a:cubicBezTo>
                  <a:pt x="3423039" y="1416571"/>
                  <a:pt x="3422826" y="1413299"/>
                  <a:pt x="3420692" y="1410596"/>
                </a:cubicBezTo>
                <a:cubicBezTo>
                  <a:pt x="3421972" y="1403767"/>
                  <a:pt x="3424960" y="1413015"/>
                  <a:pt x="3428801" y="1410027"/>
                </a:cubicBezTo>
                <a:cubicBezTo>
                  <a:pt x="3426454" y="1405190"/>
                  <a:pt x="3425600" y="1401775"/>
                  <a:pt x="3425173" y="1398219"/>
                </a:cubicBezTo>
                <a:lnTo>
                  <a:pt x="3422185" y="1400352"/>
                </a:lnTo>
                <a:lnTo>
                  <a:pt x="3420478" y="1400068"/>
                </a:lnTo>
                <a:lnTo>
                  <a:pt x="3418557" y="1411023"/>
                </a:lnTo>
                <a:cubicBezTo>
                  <a:pt x="3416850" y="1408889"/>
                  <a:pt x="3416209" y="1406044"/>
                  <a:pt x="3416209" y="1402914"/>
                </a:cubicBezTo>
                <a:lnTo>
                  <a:pt x="3416423" y="1399642"/>
                </a:lnTo>
                <a:lnTo>
                  <a:pt x="3415143" y="1399357"/>
                </a:lnTo>
                <a:lnTo>
                  <a:pt x="3407246" y="1394377"/>
                </a:lnTo>
                <a:lnTo>
                  <a:pt x="3406606" y="1394377"/>
                </a:lnTo>
                <a:lnTo>
                  <a:pt x="3406606" y="1393950"/>
                </a:lnTo>
                <a:lnTo>
                  <a:pt x="3400630" y="1390109"/>
                </a:lnTo>
                <a:lnTo>
                  <a:pt x="3406606" y="1385841"/>
                </a:lnTo>
                <a:lnTo>
                  <a:pt x="3405538" y="1379866"/>
                </a:lnTo>
                <a:lnTo>
                  <a:pt x="3406179" y="1379866"/>
                </a:lnTo>
                <a:lnTo>
                  <a:pt x="3404472" y="1377590"/>
                </a:lnTo>
                <a:cubicBezTo>
                  <a:pt x="3399776" y="1372326"/>
                  <a:pt x="3395722" y="1367204"/>
                  <a:pt x="3398069" y="1360660"/>
                </a:cubicBezTo>
                <a:cubicBezTo>
                  <a:pt x="3402764" y="1364501"/>
                  <a:pt x="3407886" y="1367631"/>
                  <a:pt x="3412155" y="1372183"/>
                </a:cubicBezTo>
                <a:lnTo>
                  <a:pt x="3415783" y="1376594"/>
                </a:lnTo>
                <a:lnTo>
                  <a:pt x="3414716" y="1372468"/>
                </a:lnTo>
                <a:lnTo>
                  <a:pt x="3418557" y="1379012"/>
                </a:lnTo>
                <a:lnTo>
                  <a:pt x="3419198" y="1378728"/>
                </a:lnTo>
                <a:lnTo>
                  <a:pt x="3419411" y="1370761"/>
                </a:lnTo>
                <a:cubicBezTo>
                  <a:pt x="3418771" y="1366208"/>
                  <a:pt x="3417490" y="1366066"/>
                  <a:pt x="3420692" y="1361940"/>
                </a:cubicBezTo>
                <a:lnTo>
                  <a:pt x="3424960" y="1356534"/>
                </a:lnTo>
                <a:lnTo>
                  <a:pt x="3424960" y="1353262"/>
                </a:lnTo>
                <a:lnTo>
                  <a:pt x="3424747" y="1350843"/>
                </a:lnTo>
                <a:cubicBezTo>
                  <a:pt x="3423466" y="1347144"/>
                  <a:pt x="3420692" y="1347144"/>
                  <a:pt x="3419838" y="1343018"/>
                </a:cubicBezTo>
                <a:cubicBezTo>
                  <a:pt x="3414502" y="1346575"/>
                  <a:pt x="3421759" y="1354827"/>
                  <a:pt x="3421118" y="1359806"/>
                </a:cubicBezTo>
                <a:cubicBezTo>
                  <a:pt x="3418344" y="1355965"/>
                  <a:pt x="3414502" y="1352693"/>
                  <a:pt x="3410234" y="1350416"/>
                </a:cubicBezTo>
                <a:cubicBezTo>
                  <a:pt x="3413435" y="1347144"/>
                  <a:pt x="3415997" y="1342734"/>
                  <a:pt x="3416637" y="1337755"/>
                </a:cubicBezTo>
                <a:cubicBezTo>
                  <a:pt x="3417490" y="1335051"/>
                  <a:pt x="3418557" y="1332063"/>
                  <a:pt x="3418557" y="1329076"/>
                </a:cubicBezTo>
                <a:cubicBezTo>
                  <a:pt x="3418984" y="1328080"/>
                  <a:pt x="3418984" y="1328080"/>
                  <a:pt x="3418344" y="1326942"/>
                </a:cubicBezTo>
                <a:cubicBezTo>
                  <a:pt x="3418344" y="1326942"/>
                  <a:pt x="3418344" y="1326942"/>
                  <a:pt x="3418557" y="1325946"/>
                </a:cubicBezTo>
                <a:cubicBezTo>
                  <a:pt x="3418557" y="1325946"/>
                  <a:pt x="3418984" y="1324950"/>
                  <a:pt x="3418984" y="1324950"/>
                </a:cubicBezTo>
                <a:cubicBezTo>
                  <a:pt x="3419411" y="1324097"/>
                  <a:pt x="3419624" y="1323101"/>
                  <a:pt x="3418771" y="1322816"/>
                </a:cubicBezTo>
                <a:cubicBezTo>
                  <a:pt x="3418557" y="1320682"/>
                  <a:pt x="3413862" y="1322389"/>
                  <a:pt x="3411728" y="1322816"/>
                </a:cubicBezTo>
                <a:cubicBezTo>
                  <a:pt x="3409594" y="1320113"/>
                  <a:pt x="3413649" y="1320255"/>
                  <a:pt x="3417064" y="1319260"/>
                </a:cubicBezTo>
                <a:cubicBezTo>
                  <a:pt x="3413009" y="1315987"/>
                  <a:pt x="3411514" y="1311293"/>
                  <a:pt x="3409807" y="1307736"/>
                </a:cubicBezTo>
                <a:cubicBezTo>
                  <a:pt x="3409381" y="1306455"/>
                  <a:pt x="3409594" y="1305459"/>
                  <a:pt x="3408953" y="1304321"/>
                </a:cubicBezTo>
                <a:cubicBezTo>
                  <a:pt x="3408953" y="1304321"/>
                  <a:pt x="3408953" y="1304321"/>
                  <a:pt x="3408740" y="1302187"/>
                </a:cubicBezTo>
                <a:cubicBezTo>
                  <a:pt x="3408740" y="1302187"/>
                  <a:pt x="3408740" y="1302187"/>
                  <a:pt x="3407886" y="1301902"/>
                </a:cubicBezTo>
                <a:cubicBezTo>
                  <a:pt x="3407886" y="1301902"/>
                  <a:pt x="3407886" y="1301902"/>
                  <a:pt x="3408100" y="1300907"/>
                </a:cubicBezTo>
                <a:cubicBezTo>
                  <a:pt x="3408100" y="1300907"/>
                  <a:pt x="3408313" y="1300907"/>
                  <a:pt x="3406819" y="1290094"/>
                </a:cubicBezTo>
                <a:lnTo>
                  <a:pt x="3406393" y="1287960"/>
                </a:lnTo>
                <a:lnTo>
                  <a:pt x="3403831" y="1285257"/>
                </a:lnTo>
                <a:cubicBezTo>
                  <a:pt x="3402978" y="1284119"/>
                  <a:pt x="3402551" y="1282838"/>
                  <a:pt x="3402551" y="1281558"/>
                </a:cubicBezTo>
                <a:lnTo>
                  <a:pt x="3402978" y="1279282"/>
                </a:lnTo>
                <a:lnTo>
                  <a:pt x="3401697" y="1281843"/>
                </a:lnTo>
                <a:cubicBezTo>
                  <a:pt x="3399563" y="1285400"/>
                  <a:pt x="3397429" y="1288245"/>
                  <a:pt x="3395508" y="1288387"/>
                </a:cubicBezTo>
                <a:cubicBezTo>
                  <a:pt x="3395295" y="1287249"/>
                  <a:pt x="3394867" y="1286111"/>
                  <a:pt x="3395722" y="1284546"/>
                </a:cubicBezTo>
                <a:cubicBezTo>
                  <a:pt x="3396362" y="1282981"/>
                  <a:pt x="3396788" y="1284119"/>
                  <a:pt x="3396362" y="1282981"/>
                </a:cubicBezTo>
                <a:cubicBezTo>
                  <a:pt x="3397002" y="1281416"/>
                  <a:pt x="3395935" y="1281843"/>
                  <a:pt x="3395935" y="1281843"/>
                </a:cubicBezTo>
                <a:cubicBezTo>
                  <a:pt x="3395935" y="1281843"/>
                  <a:pt x="3397002" y="1281416"/>
                  <a:pt x="3397002" y="1281416"/>
                </a:cubicBezTo>
                <a:cubicBezTo>
                  <a:pt x="3397002" y="1281416"/>
                  <a:pt x="3397002" y="1281416"/>
                  <a:pt x="3398496" y="1278286"/>
                </a:cubicBezTo>
                <a:cubicBezTo>
                  <a:pt x="3399776" y="1274018"/>
                  <a:pt x="3399350" y="1272879"/>
                  <a:pt x="3399776" y="1270177"/>
                </a:cubicBezTo>
                <a:lnTo>
                  <a:pt x="3400203" y="1269607"/>
                </a:lnTo>
                <a:lnTo>
                  <a:pt x="3397856" y="1266051"/>
                </a:lnTo>
                <a:close/>
                <a:moveTo>
                  <a:pt x="1293388" y="1255302"/>
                </a:moveTo>
                <a:lnTo>
                  <a:pt x="1294214" y="1255767"/>
                </a:lnTo>
                <a:lnTo>
                  <a:pt x="1296589" y="1255767"/>
                </a:lnTo>
                <a:cubicBezTo>
                  <a:pt x="1297518" y="1256386"/>
                  <a:pt x="1298034" y="1257471"/>
                  <a:pt x="1297931" y="1259019"/>
                </a:cubicBezTo>
                <a:cubicBezTo>
                  <a:pt x="1297518" y="1261343"/>
                  <a:pt x="1296279" y="1262737"/>
                  <a:pt x="1294524" y="1263356"/>
                </a:cubicBezTo>
                <a:lnTo>
                  <a:pt x="1290600" y="1263667"/>
                </a:lnTo>
                <a:lnTo>
                  <a:pt x="1291735" y="1265060"/>
                </a:lnTo>
                <a:cubicBezTo>
                  <a:pt x="1292768" y="1266919"/>
                  <a:pt x="1291013" y="1267694"/>
                  <a:pt x="1288225" y="1269088"/>
                </a:cubicBezTo>
                <a:cubicBezTo>
                  <a:pt x="1287089" y="1267539"/>
                  <a:pt x="1286779" y="1266455"/>
                  <a:pt x="1287089" y="1265525"/>
                </a:cubicBezTo>
                <a:lnTo>
                  <a:pt x="1288638" y="1263822"/>
                </a:lnTo>
                <a:lnTo>
                  <a:pt x="1287915" y="1263822"/>
                </a:lnTo>
                <a:cubicBezTo>
                  <a:pt x="1287605" y="1262118"/>
                  <a:pt x="1286676" y="1260879"/>
                  <a:pt x="1286366" y="1259019"/>
                </a:cubicBezTo>
                <a:lnTo>
                  <a:pt x="1284095" y="1257625"/>
                </a:lnTo>
                <a:cubicBezTo>
                  <a:pt x="1285850" y="1254682"/>
                  <a:pt x="1290290" y="1254063"/>
                  <a:pt x="1293388" y="1255302"/>
                </a:cubicBezTo>
                <a:close/>
                <a:moveTo>
                  <a:pt x="1330250" y="1254992"/>
                </a:moveTo>
                <a:cubicBezTo>
                  <a:pt x="1329940" y="1256232"/>
                  <a:pt x="1331283" y="1258245"/>
                  <a:pt x="1331489" y="1260259"/>
                </a:cubicBezTo>
                <a:cubicBezTo>
                  <a:pt x="1330767" y="1260723"/>
                  <a:pt x="1330560" y="1261808"/>
                  <a:pt x="1329837" y="1262272"/>
                </a:cubicBezTo>
                <a:cubicBezTo>
                  <a:pt x="1329321" y="1261653"/>
                  <a:pt x="1327669" y="1260723"/>
                  <a:pt x="1328392" y="1260259"/>
                </a:cubicBezTo>
                <a:cubicBezTo>
                  <a:pt x="1327978" y="1259484"/>
                  <a:pt x="1329424" y="1258555"/>
                  <a:pt x="1329424" y="1258555"/>
                </a:cubicBezTo>
                <a:cubicBezTo>
                  <a:pt x="1329011" y="1257935"/>
                  <a:pt x="1328495" y="1257161"/>
                  <a:pt x="1328701" y="1256077"/>
                </a:cubicBezTo>
                <a:cubicBezTo>
                  <a:pt x="1329940" y="1256232"/>
                  <a:pt x="1329528" y="1255457"/>
                  <a:pt x="1330250" y="1254992"/>
                </a:cubicBezTo>
                <a:close/>
                <a:moveTo>
                  <a:pt x="1494118" y="1254682"/>
                </a:moveTo>
                <a:cubicBezTo>
                  <a:pt x="1494944" y="1254373"/>
                  <a:pt x="1495873" y="1254218"/>
                  <a:pt x="1496183" y="1254837"/>
                </a:cubicBezTo>
                <a:cubicBezTo>
                  <a:pt x="1496390" y="1255612"/>
                  <a:pt x="1495460" y="1255922"/>
                  <a:pt x="1494324" y="1255302"/>
                </a:cubicBezTo>
                <a:cubicBezTo>
                  <a:pt x="1494324" y="1255302"/>
                  <a:pt x="1494118" y="1254682"/>
                  <a:pt x="1494118" y="1254682"/>
                </a:cubicBezTo>
                <a:close/>
                <a:moveTo>
                  <a:pt x="5015150" y="1254669"/>
                </a:moveTo>
                <a:cubicBezTo>
                  <a:pt x="5014724" y="1259648"/>
                  <a:pt x="5014083" y="1264912"/>
                  <a:pt x="5009175" y="1264770"/>
                </a:cubicBezTo>
                <a:cubicBezTo>
                  <a:pt x="5005547" y="1260360"/>
                  <a:pt x="5008108" y="1253531"/>
                  <a:pt x="5015150" y="1254669"/>
                </a:cubicBezTo>
                <a:close/>
                <a:moveTo>
                  <a:pt x="1573832" y="1254528"/>
                </a:moveTo>
                <a:cubicBezTo>
                  <a:pt x="1576929" y="1254837"/>
                  <a:pt x="1579717" y="1256851"/>
                  <a:pt x="1581472" y="1259794"/>
                </a:cubicBezTo>
                <a:lnTo>
                  <a:pt x="1582918" y="1263356"/>
                </a:lnTo>
                <a:lnTo>
                  <a:pt x="1583228" y="1261808"/>
                </a:lnTo>
                <a:cubicBezTo>
                  <a:pt x="1583537" y="1260568"/>
                  <a:pt x="1583847" y="1259484"/>
                  <a:pt x="1584467" y="1259639"/>
                </a:cubicBezTo>
                <a:cubicBezTo>
                  <a:pt x="1584467" y="1259639"/>
                  <a:pt x="1584054" y="1260879"/>
                  <a:pt x="1583744" y="1261963"/>
                </a:cubicBezTo>
                <a:cubicBezTo>
                  <a:pt x="1583331" y="1263047"/>
                  <a:pt x="1583331" y="1263047"/>
                  <a:pt x="1584467" y="1263512"/>
                </a:cubicBezTo>
                <a:cubicBezTo>
                  <a:pt x="1584261" y="1264131"/>
                  <a:pt x="1584261" y="1264441"/>
                  <a:pt x="1583951" y="1264596"/>
                </a:cubicBezTo>
                <a:lnTo>
                  <a:pt x="1583434" y="1264906"/>
                </a:lnTo>
                <a:lnTo>
                  <a:pt x="1583434" y="1270017"/>
                </a:lnTo>
                <a:lnTo>
                  <a:pt x="1582092" y="1275129"/>
                </a:lnTo>
                <a:lnTo>
                  <a:pt x="1582092" y="1275284"/>
                </a:lnTo>
                <a:lnTo>
                  <a:pt x="1581576" y="1277297"/>
                </a:lnTo>
                <a:lnTo>
                  <a:pt x="1578271" y="1282719"/>
                </a:lnTo>
                <a:lnTo>
                  <a:pt x="1578581" y="1282409"/>
                </a:lnTo>
                <a:cubicBezTo>
                  <a:pt x="1580646" y="1281789"/>
                  <a:pt x="1583125" y="1282564"/>
                  <a:pt x="1584570" y="1284423"/>
                </a:cubicBezTo>
                <a:lnTo>
                  <a:pt x="1585087" y="1286281"/>
                </a:lnTo>
                <a:lnTo>
                  <a:pt x="1587358" y="1285042"/>
                </a:lnTo>
                <a:lnTo>
                  <a:pt x="1588081" y="1277762"/>
                </a:lnTo>
                <a:lnTo>
                  <a:pt x="1589217" y="1276058"/>
                </a:lnTo>
                <a:lnTo>
                  <a:pt x="1589113" y="1274354"/>
                </a:lnTo>
                <a:cubicBezTo>
                  <a:pt x="1589836" y="1274200"/>
                  <a:pt x="1589836" y="1274200"/>
                  <a:pt x="1590146" y="1274974"/>
                </a:cubicBezTo>
                <a:cubicBezTo>
                  <a:pt x="1590146" y="1274819"/>
                  <a:pt x="1590146" y="1274819"/>
                  <a:pt x="1590249" y="1274664"/>
                </a:cubicBezTo>
                <a:lnTo>
                  <a:pt x="1590456" y="1274974"/>
                </a:lnTo>
                <a:lnTo>
                  <a:pt x="1590972" y="1274664"/>
                </a:lnTo>
                <a:cubicBezTo>
                  <a:pt x="1591592" y="1274509"/>
                  <a:pt x="1592211" y="1274354"/>
                  <a:pt x="1593037" y="1274509"/>
                </a:cubicBezTo>
                <a:cubicBezTo>
                  <a:pt x="1593450" y="1274354"/>
                  <a:pt x="1593967" y="1275129"/>
                  <a:pt x="1594276" y="1276058"/>
                </a:cubicBezTo>
                <a:lnTo>
                  <a:pt x="1594379" y="1276833"/>
                </a:lnTo>
                <a:lnTo>
                  <a:pt x="1595205" y="1276368"/>
                </a:lnTo>
                <a:cubicBezTo>
                  <a:pt x="1596238" y="1276368"/>
                  <a:pt x="1596754" y="1276678"/>
                  <a:pt x="1596754" y="1276678"/>
                </a:cubicBezTo>
                <a:cubicBezTo>
                  <a:pt x="1600575" y="1279311"/>
                  <a:pt x="1601917" y="1283493"/>
                  <a:pt x="1599336" y="1287521"/>
                </a:cubicBezTo>
                <a:cubicBezTo>
                  <a:pt x="1596858" y="1288914"/>
                  <a:pt x="1594276" y="1287521"/>
                  <a:pt x="1591798" y="1286126"/>
                </a:cubicBezTo>
                <a:lnTo>
                  <a:pt x="1590146" y="1284423"/>
                </a:lnTo>
                <a:lnTo>
                  <a:pt x="1589939" y="1284732"/>
                </a:lnTo>
                <a:lnTo>
                  <a:pt x="1587977" y="1285042"/>
                </a:lnTo>
                <a:lnTo>
                  <a:pt x="1589423" y="1285042"/>
                </a:lnTo>
                <a:cubicBezTo>
                  <a:pt x="1590043" y="1285352"/>
                  <a:pt x="1590559" y="1285662"/>
                  <a:pt x="1590766" y="1286281"/>
                </a:cubicBezTo>
                <a:cubicBezTo>
                  <a:pt x="1590249" y="1286901"/>
                  <a:pt x="1591075" y="1287366"/>
                  <a:pt x="1590662" y="1288140"/>
                </a:cubicBezTo>
                <a:cubicBezTo>
                  <a:pt x="1590456" y="1289999"/>
                  <a:pt x="1590043" y="1290618"/>
                  <a:pt x="1588907" y="1290773"/>
                </a:cubicBezTo>
                <a:cubicBezTo>
                  <a:pt x="1588391" y="1291548"/>
                  <a:pt x="1587668" y="1291083"/>
                  <a:pt x="1586532" y="1291238"/>
                </a:cubicBezTo>
                <a:lnTo>
                  <a:pt x="1585809" y="1290464"/>
                </a:lnTo>
                <a:lnTo>
                  <a:pt x="1584983" y="1291238"/>
                </a:lnTo>
                <a:cubicBezTo>
                  <a:pt x="1583331" y="1292168"/>
                  <a:pt x="1581886" y="1292787"/>
                  <a:pt x="1581369" y="1292477"/>
                </a:cubicBezTo>
                <a:lnTo>
                  <a:pt x="1584776" y="1289689"/>
                </a:lnTo>
                <a:lnTo>
                  <a:pt x="1580440" y="1290773"/>
                </a:lnTo>
                <a:cubicBezTo>
                  <a:pt x="1578271" y="1290773"/>
                  <a:pt x="1576206" y="1290308"/>
                  <a:pt x="1575380" y="1289379"/>
                </a:cubicBezTo>
                <a:lnTo>
                  <a:pt x="1576000" y="1285352"/>
                </a:lnTo>
                <a:lnTo>
                  <a:pt x="1575690" y="1285662"/>
                </a:lnTo>
                <a:cubicBezTo>
                  <a:pt x="1567327" y="1284113"/>
                  <a:pt x="1566191" y="1277297"/>
                  <a:pt x="1566603" y="1270792"/>
                </a:cubicBezTo>
                <a:lnTo>
                  <a:pt x="1566913" y="1268468"/>
                </a:lnTo>
                <a:lnTo>
                  <a:pt x="1565984" y="1268003"/>
                </a:lnTo>
                <a:cubicBezTo>
                  <a:pt x="1565365" y="1267539"/>
                  <a:pt x="1564745" y="1266919"/>
                  <a:pt x="1564332" y="1266610"/>
                </a:cubicBezTo>
                <a:cubicBezTo>
                  <a:pt x="1563506" y="1266610"/>
                  <a:pt x="1562680" y="1265835"/>
                  <a:pt x="1562783" y="1265060"/>
                </a:cubicBezTo>
                <a:cubicBezTo>
                  <a:pt x="1562783" y="1265060"/>
                  <a:pt x="1561957" y="1264286"/>
                  <a:pt x="1561028" y="1264286"/>
                </a:cubicBezTo>
                <a:cubicBezTo>
                  <a:pt x="1559376" y="1262737"/>
                  <a:pt x="1559376" y="1261963"/>
                  <a:pt x="1559479" y="1261033"/>
                </a:cubicBezTo>
                <a:cubicBezTo>
                  <a:pt x="1559479" y="1261033"/>
                  <a:pt x="1560305" y="1261808"/>
                  <a:pt x="1561131" y="1261808"/>
                </a:cubicBezTo>
                <a:cubicBezTo>
                  <a:pt x="1561131" y="1261808"/>
                  <a:pt x="1561957" y="1262582"/>
                  <a:pt x="1562783" y="1263356"/>
                </a:cubicBezTo>
                <a:cubicBezTo>
                  <a:pt x="1562783" y="1263356"/>
                  <a:pt x="1563609" y="1263356"/>
                  <a:pt x="1564435" y="1263356"/>
                </a:cubicBezTo>
                <a:lnTo>
                  <a:pt x="1567327" y="1265370"/>
                </a:lnTo>
                <a:lnTo>
                  <a:pt x="1567430" y="1264596"/>
                </a:lnTo>
                <a:cubicBezTo>
                  <a:pt x="1567946" y="1260723"/>
                  <a:pt x="1568875" y="1256696"/>
                  <a:pt x="1571147" y="1255147"/>
                </a:cubicBezTo>
                <a:cubicBezTo>
                  <a:pt x="1571870" y="1254528"/>
                  <a:pt x="1572799" y="1254373"/>
                  <a:pt x="1573832" y="1254528"/>
                </a:cubicBezTo>
                <a:close/>
                <a:moveTo>
                  <a:pt x="5633214" y="1254101"/>
                </a:moveTo>
                <a:cubicBezTo>
                  <a:pt x="5635349" y="1254243"/>
                  <a:pt x="5637696" y="1255096"/>
                  <a:pt x="5640044" y="1257230"/>
                </a:cubicBezTo>
                <a:cubicBezTo>
                  <a:pt x="5641537" y="1258368"/>
                  <a:pt x="5642605" y="1259791"/>
                  <a:pt x="5643672" y="1261214"/>
                </a:cubicBezTo>
                <a:cubicBezTo>
                  <a:pt x="5646660" y="1265766"/>
                  <a:pt x="5647087" y="1271599"/>
                  <a:pt x="5640257" y="1278713"/>
                </a:cubicBezTo>
                <a:cubicBezTo>
                  <a:pt x="5638977" y="1281132"/>
                  <a:pt x="5638977" y="1279851"/>
                  <a:pt x="5637696" y="1281132"/>
                </a:cubicBezTo>
                <a:cubicBezTo>
                  <a:pt x="5636416" y="1282270"/>
                  <a:pt x="5635135" y="1284546"/>
                  <a:pt x="5634921" y="1285826"/>
                </a:cubicBezTo>
                <a:cubicBezTo>
                  <a:pt x="5630653" y="1282127"/>
                  <a:pt x="5628092" y="1285684"/>
                  <a:pt x="5621690" y="1279567"/>
                </a:cubicBezTo>
                <a:cubicBezTo>
                  <a:pt x="5613153" y="1272311"/>
                  <a:pt x="5616354" y="1263917"/>
                  <a:pt x="5620195" y="1259222"/>
                </a:cubicBezTo>
                <a:cubicBezTo>
                  <a:pt x="5621050" y="1260075"/>
                  <a:pt x="5626598" y="1253673"/>
                  <a:pt x="5633214" y="1254101"/>
                </a:cubicBezTo>
                <a:close/>
                <a:moveTo>
                  <a:pt x="1488645" y="1254063"/>
                </a:moveTo>
                <a:cubicBezTo>
                  <a:pt x="1491433" y="1254218"/>
                  <a:pt x="1491536" y="1254373"/>
                  <a:pt x="1493808" y="1255457"/>
                </a:cubicBezTo>
                <a:cubicBezTo>
                  <a:pt x="1492982" y="1255767"/>
                  <a:pt x="1491536" y="1256851"/>
                  <a:pt x="1490400" y="1256386"/>
                </a:cubicBezTo>
                <a:cubicBezTo>
                  <a:pt x="1489265" y="1255767"/>
                  <a:pt x="1489265" y="1255767"/>
                  <a:pt x="1488645" y="1254063"/>
                </a:cubicBezTo>
                <a:close/>
                <a:moveTo>
                  <a:pt x="1273459" y="1254063"/>
                </a:moveTo>
                <a:cubicBezTo>
                  <a:pt x="1276247" y="1252824"/>
                  <a:pt x="1284611" y="1259175"/>
                  <a:pt x="1278932" y="1262582"/>
                </a:cubicBezTo>
                <a:cubicBezTo>
                  <a:pt x="1278312" y="1263047"/>
                  <a:pt x="1277383" y="1262892"/>
                  <a:pt x="1276350" y="1262427"/>
                </a:cubicBezTo>
                <a:cubicBezTo>
                  <a:pt x="1274285" y="1261343"/>
                  <a:pt x="1272117" y="1258400"/>
                  <a:pt x="1272427" y="1256077"/>
                </a:cubicBezTo>
                <a:cubicBezTo>
                  <a:pt x="1272530" y="1255302"/>
                  <a:pt x="1272736" y="1254528"/>
                  <a:pt x="1273459" y="1254063"/>
                </a:cubicBezTo>
                <a:close/>
                <a:moveTo>
                  <a:pt x="5739497" y="1253958"/>
                </a:moveTo>
                <a:cubicBezTo>
                  <a:pt x="5741845" y="1253531"/>
                  <a:pt x="5744619" y="1253958"/>
                  <a:pt x="5747394" y="1255523"/>
                </a:cubicBezTo>
                <a:cubicBezTo>
                  <a:pt x="5748034" y="1268185"/>
                  <a:pt x="5731814" y="1283407"/>
                  <a:pt x="5724772" y="1274445"/>
                </a:cubicBezTo>
                <a:cubicBezTo>
                  <a:pt x="5723917" y="1273164"/>
                  <a:pt x="5723064" y="1271315"/>
                  <a:pt x="5722424" y="1269039"/>
                </a:cubicBezTo>
                <a:cubicBezTo>
                  <a:pt x="5726692" y="1264059"/>
                  <a:pt x="5732241" y="1255381"/>
                  <a:pt x="5739497" y="1253958"/>
                </a:cubicBezTo>
                <a:close/>
                <a:moveTo>
                  <a:pt x="3552799" y="1253958"/>
                </a:moveTo>
                <a:cubicBezTo>
                  <a:pt x="3554932" y="1256946"/>
                  <a:pt x="3557920" y="1260075"/>
                  <a:pt x="3561122" y="1263348"/>
                </a:cubicBezTo>
                <a:lnTo>
                  <a:pt x="3566884" y="1270034"/>
                </a:lnTo>
                <a:lnTo>
                  <a:pt x="3566884" y="1269750"/>
                </a:lnTo>
                <a:cubicBezTo>
                  <a:pt x="3567524" y="1269039"/>
                  <a:pt x="3568805" y="1268612"/>
                  <a:pt x="3570299" y="1268185"/>
                </a:cubicBezTo>
                <a:cubicBezTo>
                  <a:pt x="3570939" y="1269181"/>
                  <a:pt x="3571153" y="1270177"/>
                  <a:pt x="3570939" y="1271173"/>
                </a:cubicBezTo>
                <a:lnTo>
                  <a:pt x="3569232" y="1272738"/>
                </a:lnTo>
                <a:lnTo>
                  <a:pt x="3569659" y="1273164"/>
                </a:lnTo>
                <a:cubicBezTo>
                  <a:pt x="3574141" y="1279567"/>
                  <a:pt x="3574567" y="1285684"/>
                  <a:pt x="3563043" y="1290236"/>
                </a:cubicBezTo>
                <a:lnTo>
                  <a:pt x="3561335" y="1283550"/>
                </a:lnTo>
                <a:lnTo>
                  <a:pt x="3559841" y="1284830"/>
                </a:lnTo>
                <a:cubicBezTo>
                  <a:pt x="3558988" y="1285969"/>
                  <a:pt x="3556853" y="1282981"/>
                  <a:pt x="3556853" y="1282981"/>
                </a:cubicBezTo>
                <a:cubicBezTo>
                  <a:pt x="3556640" y="1282127"/>
                  <a:pt x="3557707" y="1281274"/>
                  <a:pt x="3558774" y="1280420"/>
                </a:cubicBezTo>
                <a:lnTo>
                  <a:pt x="3560055" y="1279282"/>
                </a:lnTo>
                <a:lnTo>
                  <a:pt x="3556000" y="1270746"/>
                </a:lnTo>
                <a:cubicBezTo>
                  <a:pt x="3553012" y="1264770"/>
                  <a:pt x="3550664" y="1259222"/>
                  <a:pt x="3552799" y="1253958"/>
                </a:cubicBezTo>
                <a:close/>
                <a:moveTo>
                  <a:pt x="3611916" y="1253673"/>
                </a:moveTo>
                <a:cubicBezTo>
                  <a:pt x="3614477" y="1254101"/>
                  <a:pt x="3616611" y="1253389"/>
                  <a:pt x="3619172" y="1253816"/>
                </a:cubicBezTo>
                <a:cubicBezTo>
                  <a:pt x="3619599" y="1256092"/>
                  <a:pt x="3621093" y="1257657"/>
                  <a:pt x="3621946" y="1259506"/>
                </a:cubicBezTo>
                <a:cubicBezTo>
                  <a:pt x="3622800" y="1261356"/>
                  <a:pt x="3622800" y="1263348"/>
                  <a:pt x="3620453" y="1266478"/>
                </a:cubicBezTo>
                <a:cubicBezTo>
                  <a:pt x="3613623" y="1268612"/>
                  <a:pt x="3607220" y="1260930"/>
                  <a:pt x="3611916" y="1253673"/>
                </a:cubicBezTo>
                <a:close/>
                <a:moveTo>
                  <a:pt x="1498248" y="1253598"/>
                </a:moveTo>
                <a:cubicBezTo>
                  <a:pt x="1499487" y="1254063"/>
                  <a:pt x="1499487" y="1254063"/>
                  <a:pt x="1500313" y="1253753"/>
                </a:cubicBezTo>
                <a:cubicBezTo>
                  <a:pt x="1500313" y="1253753"/>
                  <a:pt x="1499694" y="1254837"/>
                  <a:pt x="1499694" y="1254837"/>
                </a:cubicBezTo>
                <a:cubicBezTo>
                  <a:pt x="1498558" y="1254218"/>
                  <a:pt x="1498867" y="1254992"/>
                  <a:pt x="1498248" y="1253598"/>
                </a:cubicBezTo>
                <a:close/>
                <a:moveTo>
                  <a:pt x="1514356" y="1252979"/>
                </a:moveTo>
                <a:cubicBezTo>
                  <a:pt x="1512704" y="1253289"/>
                  <a:pt x="1503411" y="1254992"/>
                  <a:pt x="1500313" y="1254063"/>
                </a:cubicBezTo>
                <a:cubicBezTo>
                  <a:pt x="1504753" y="1253753"/>
                  <a:pt x="1510226" y="1251430"/>
                  <a:pt x="1514356" y="1252979"/>
                </a:cubicBezTo>
                <a:close/>
                <a:moveTo>
                  <a:pt x="1610591" y="1252669"/>
                </a:moveTo>
                <a:cubicBezTo>
                  <a:pt x="1613069" y="1252979"/>
                  <a:pt x="1615444" y="1253289"/>
                  <a:pt x="1615340" y="1255612"/>
                </a:cubicBezTo>
                <a:cubicBezTo>
                  <a:pt x="1613482" y="1255922"/>
                  <a:pt x="1613379" y="1257006"/>
                  <a:pt x="1610384" y="1256077"/>
                </a:cubicBezTo>
                <a:cubicBezTo>
                  <a:pt x="1610488" y="1254992"/>
                  <a:pt x="1610591" y="1253908"/>
                  <a:pt x="1610591" y="1252669"/>
                </a:cubicBezTo>
                <a:close/>
                <a:moveTo>
                  <a:pt x="1527676" y="1251275"/>
                </a:moveTo>
                <a:cubicBezTo>
                  <a:pt x="1526437" y="1252359"/>
                  <a:pt x="1523546" y="1254063"/>
                  <a:pt x="1521377" y="1252979"/>
                </a:cubicBezTo>
                <a:cubicBezTo>
                  <a:pt x="1521377" y="1252979"/>
                  <a:pt x="1521377" y="1252824"/>
                  <a:pt x="1520241" y="1252359"/>
                </a:cubicBezTo>
                <a:cubicBezTo>
                  <a:pt x="1522616" y="1251739"/>
                  <a:pt x="1525817" y="1250810"/>
                  <a:pt x="1527676" y="1251275"/>
                </a:cubicBezTo>
                <a:close/>
                <a:moveTo>
                  <a:pt x="4915911" y="1250829"/>
                </a:moveTo>
                <a:cubicBezTo>
                  <a:pt x="4918471" y="1251824"/>
                  <a:pt x="4918471" y="1253104"/>
                  <a:pt x="4917618" y="1254385"/>
                </a:cubicBezTo>
                <a:cubicBezTo>
                  <a:pt x="4917618" y="1254385"/>
                  <a:pt x="4916551" y="1255523"/>
                  <a:pt x="4915483" y="1256803"/>
                </a:cubicBezTo>
                <a:cubicBezTo>
                  <a:pt x="4914416" y="1258084"/>
                  <a:pt x="4914630" y="1259365"/>
                  <a:pt x="4914630" y="1259365"/>
                </a:cubicBezTo>
                <a:cubicBezTo>
                  <a:pt x="4913563" y="1260645"/>
                  <a:pt x="4912496" y="1260645"/>
                  <a:pt x="4911002" y="1259506"/>
                </a:cubicBezTo>
                <a:cubicBezTo>
                  <a:pt x="4911002" y="1259506"/>
                  <a:pt x="4911855" y="1257088"/>
                  <a:pt x="4911855" y="1257088"/>
                </a:cubicBezTo>
                <a:cubicBezTo>
                  <a:pt x="4913990" y="1254527"/>
                  <a:pt x="4915057" y="1253247"/>
                  <a:pt x="4915911" y="1250829"/>
                </a:cubicBezTo>
                <a:close/>
                <a:moveTo>
                  <a:pt x="1470678" y="1250345"/>
                </a:moveTo>
                <a:cubicBezTo>
                  <a:pt x="1471504" y="1250345"/>
                  <a:pt x="1473363" y="1249726"/>
                  <a:pt x="1474189" y="1250655"/>
                </a:cubicBezTo>
                <a:cubicBezTo>
                  <a:pt x="1475119" y="1251585"/>
                  <a:pt x="1475119" y="1251585"/>
                  <a:pt x="1475015" y="1253289"/>
                </a:cubicBezTo>
                <a:cubicBezTo>
                  <a:pt x="1472434" y="1252204"/>
                  <a:pt x="1472434" y="1252204"/>
                  <a:pt x="1470678" y="1250345"/>
                </a:cubicBezTo>
                <a:close/>
                <a:moveTo>
                  <a:pt x="4454284" y="1249832"/>
                </a:moveTo>
                <a:cubicBezTo>
                  <a:pt x="4455564" y="1249974"/>
                  <a:pt x="4457271" y="1250259"/>
                  <a:pt x="4459406" y="1250544"/>
                </a:cubicBezTo>
                <a:cubicBezTo>
                  <a:pt x="4461113" y="1250970"/>
                  <a:pt x="4462607" y="1251824"/>
                  <a:pt x="4463887" y="1252962"/>
                </a:cubicBezTo>
                <a:cubicBezTo>
                  <a:pt x="4465168" y="1254243"/>
                  <a:pt x="4466022" y="1255665"/>
                  <a:pt x="4466662" y="1257515"/>
                </a:cubicBezTo>
                <a:cubicBezTo>
                  <a:pt x="4469010" y="1258938"/>
                  <a:pt x="4470930" y="1262067"/>
                  <a:pt x="4471357" y="1264628"/>
                </a:cubicBezTo>
                <a:cubicBezTo>
                  <a:pt x="4470930" y="1267901"/>
                  <a:pt x="4469010" y="1269181"/>
                  <a:pt x="4467302" y="1268754"/>
                </a:cubicBezTo>
                <a:cubicBezTo>
                  <a:pt x="4454284" y="1267047"/>
                  <a:pt x="4452149" y="1255523"/>
                  <a:pt x="4449801" y="1254101"/>
                </a:cubicBezTo>
                <a:cubicBezTo>
                  <a:pt x="4450442" y="1250401"/>
                  <a:pt x="4450442" y="1249548"/>
                  <a:pt x="4454284" y="1249832"/>
                </a:cubicBezTo>
                <a:close/>
                <a:moveTo>
                  <a:pt x="1144802" y="1249571"/>
                </a:moveTo>
                <a:cubicBezTo>
                  <a:pt x="1145112" y="1249726"/>
                  <a:pt x="1145628" y="1249726"/>
                  <a:pt x="1146557" y="1249571"/>
                </a:cubicBezTo>
                <a:cubicBezTo>
                  <a:pt x="1147693" y="1249726"/>
                  <a:pt x="1148416" y="1249261"/>
                  <a:pt x="1148106" y="1250345"/>
                </a:cubicBezTo>
                <a:cubicBezTo>
                  <a:pt x="1147796" y="1251430"/>
                  <a:pt x="1147900" y="1251430"/>
                  <a:pt x="1145731" y="1252979"/>
                </a:cubicBezTo>
                <a:cubicBezTo>
                  <a:pt x="1145938" y="1251739"/>
                  <a:pt x="1145938" y="1251739"/>
                  <a:pt x="1144802" y="1251585"/>
                </a:cubicBezTo>
                <a:cubicBezTo>
                  <a:pt x="1144802" y="1251585"/>
                  <a:pt x="1144905" y="1251585"/>
                  <a:pt x="1144182" y="1252204"/>
                </a:cubicBezTo>
                <a:cubicBezTo>
                  <a:pt x="1143666" y="1251430"/>
                  <a:pt x="1144389" y="1250965"/>
                  <a:pt x="1143976" y="1250345"/>
                </a:cubicBezTo>
                <a:cubicBezTo>
                  <a:pt x="1143976" y="1250345"/>
                  <a:pt x="1144699" y="1249880"/>
                  <a:pt x="1144699" y="1249880"/>
                </a:cubicBezTo>
                <a:cubicBezTo>
                  <a:pt x="1144492" y="1249571"/>
                  <a:pt x="1144492" y="1249571"/>
                  <a:pt x="1144802" y="1249571"/>
                </a:cubicBezTo>
                <a:close/>
                <a:moveTo>
                  <a:pt x="1468717" y="1249416"/>
                </a:moveTo>
                <a:cubicBezTo>
                  <a:pt x="1469130" y="1249571"/>
                  <a:pt x="1469543" y="1249726"/>
                  <a:pt x="1470059" y="1250190"/>
                </a:cubicBezTo>
                <a:cubicBezTo>
                  <a:pt x="1470059" y="1250190"/>
                  <a:pt x="1470059" y="1250965"/>
                  <a:pt x="1470059" y="1250965"/>
                </a:cubicBezTo>
                <a:cubicBezTo>
                  <a:pt x="1469027" y="1250810"/>
                  <a:pt x="1468097" y="1250810"/>
                  <a:pt x="1468201" y="1250035"/>
                </a:cubicBezTo>
                <a:cubicBezTo>
                  <a:pt x="1468201" y="1249571"/>
                  <a:pt x="1468407" y="1249416"/>
                  <a:pt x="1468717" y="1249416"/>
                </a:cubicBezTo>
                <a:close/>
                <a:moveTo>
                  <a:pt x="3682984" y="1248979"/>
                </a:moveTo>
                <a:cubicBezTo>
                  <a:pt x="3684478" y="1251397"/>
                  <a:pt x="3686613" y="1252678"/>
                  <a:pt x="3688107" y="1254954"/>
                </a:cubicBezTo>
                <a:cubicBezTo>
                  <a:pt x="3685972" y="1258795"/>
                  <a:pt x="3688320" y="1264486"/>
                  <a:pt x="3681064" y="1265055"/>
                </a:cubicBezTo>
                <a:cubicBezTo>
                  <a:pt x="3674875" y="1260930"/>
                  <a:pt x="3675088" y="1250544"/>
                  <a:pt x="3682984" y="1248979"/>
                </a:cubicBezTo>
                <a:close/>
                <a:moveTo>
                  <a:pt x="3516944" y="1248836"/>
                </a:moveTo>
                <a:cubicBezTo>
                  <a:pt x="3517798" y="1248979"/>
                  <a:pt x="3518651" y="1249263"/>
                  <a:pt x="3519505" y="1249974"/>
                </a:cubicBezTo>
                <a:cubicBezTo>
                  <a:pt x="3519292" y="1251112"/>
                  <a:pt x="3520572" y="1251397"/>
                  <a:pt x="3520359" y="1252535"/>
                </a:cubicBezTo>
                <a:cubicBezTo>
                  <a:pt x="3520359" y="1252535"/>
                  <a:pt x="3520999" y="1253816"/>
                  <a:pt x="3520999" y="1255523"/>
                </a:cubicBezTo>
                <a:lnTo>
                  <a:pt x="3519292" y="1259933"/>
                </a:lnTo>
                <a:lnTo>
                  <a:pt x="3526548" y="1264059"/>
                </a:lnTo>
                <a:cubicBezTo>
                  <a:pt x="3529109" y="1265909"/>
                  <a:pt x="3531457" y="1268042"/>
                  <a:pt x="3533804" y="1271031"/>
                </a:cubicBezTo>
                <a:cubicBezTo>
                  <a:pt x="3523560" y="1277290"/>
                  <a:pt x="3499444" y="1264343"/>
                  <a:pt x="3503925" y="1251397"/>
                </a:cubicBezTo>
                <a:lnTo>
                  <a:pt x="3509261" y="1254811"/>
                </a:lnTo>
                <a:lnTo>
                  <a:pt x="3509901" y="1251966"/>
                </a:lnTo>
                <a:cubicBezTo>
                  <a:pt x="3511822" y="1250544"/>
                  <a:pt x="3514383" y="1248552"/>
                  <a:pt x="3516944" y="1248836"/>
                </a:cubicBezTo>
                <a:close/>
                <a:moveTo>
                  <a:pt x="4047292" y="1248409"/>
                </a:moveTo>
                <a:cubicBezTo>
                  <a:pt x="4048572" y="1250829"/>
                  <a:pt x="4048572" y="1250829"/>
                  <a:pt x="4047505" y="1253247"/>
                </a:cubicBezTo>
                <a:cubicBezTo>
                  <a:pt x="4046439" y="1253247"/>
                  <a:pt x="4046439" y="1254385"/>
                  <a:pt x="4045158" y="1253247"/>
                </a:cubicBezTo>
                <a:cubicBezTo>
                  <a:pt x="4043024" y="1256661"/>
                  <a:pt x="4032566" y="1259791"/>
                  <a:pt x="4027871" y="1258368"/>
                </a:cubicBezTo>
                <a:cubicBezTo>
                  <a:pt x="4035554" y="1247840"/>
                  <a:pt x="4042810" y="1254243"/>
                  <a:pt x="4047292" y="1248409"/>
                </a:cubicBezTo>
                <a:close/>
                <a:moveTo>
                  <a:pt x="1464587" y="1247712"/>
                </a:moveTo>
                <a:cubicBezTo>
                  <a:pt x="1465412" y="1248177"/>
                  <a:pt x="1466135" y="1248642"/>
                  <a:pt x="1466445" y="1249880"/>
                </a:cubicBezTo>
                <a:cubicBezTo>
                  <a:pt x="1466755" y="1250965"/>
                  <a:pt x="1466032" y="1250500"/>
                  <a:pt x="1466755" y="1250965"/>
                </a:cubicBezTo>
                <a:cubicBezTo>
                  <a:pt x="1467168" y="1252204"/>
                  <a:pt x="1467581" y="1251585"/>
                  <a:pt x="1467581" y="1251585"/>
                </a:cubicBezTo>
                <a:cubicBezTo>
                  <a:pt x="1467581" y="1251585"/>
                  <a:pt x="1467168" y="1252204"/>
                  <a:pt x="1467168" y="1252204"/>
                </a:cubicBezTo>
                <a:cubicBezTo>
                  <a:pt x="1467168" y="1252204"/>
                  <a:pt x="1467065" y="1252204"/>
                  <a:pt x="1467788" y="1254528"/>
                </a:cubicBezTo>
                <a:cubicBezTo>
                  <a:pt x="1469130" y="1257315"/>
                  <a:pt x="1469956" y="1257780"/>
                  <a:pt x="1471092" y="1259484"/>
                </a:cubicBezTo>
                <a:cubicBezTo>
                  <a:pt x="1471711" y="1261808"/>
                  <a:pt x="1471195" y="1262427"/>
                  <a:pt x="1471401" y="1265525"/>
                </a:cubicBezTo>
                <a:cubicBezTo>
                  <a:pt x="1469853" y="1266300"/>
                  <a:pt x="1469853" y="1266300"/>
                  <a:pt x="1469027" y="1265835"/>
                </a:cubicBezTo>
                <a:cubicBezTo>
                  <a:pt x="1469853" y="1266300"/>
                  <a:pt x="1469336" y="1267074"/>
                  <a:pt x="1469749" y="1268313"/>
                </a:cubicBezTo>
                <a:cubicBezTo>
                  <a:pt x="1472228" y="1272805"/>
                  <a:pt x="1468510" y="1275129"/>
                  <a:pt x="1463347" y="1276523"/>
                </a:cubicBezTo>
                <a:cubicBezTo>
                  <a:pt x="1463038" y="1275439"/>
                  <a:pt x="1460146" y="1276368"/>
                  <a:pt x="1458185" y="1276058"/>
                </a:cubicBezTo>
                <a:cubicBezTo>
                  <a:pt x="1457049" y="1275439"/>
                  <a:pt x="1456120" y="1274819"/>
                  <a:pt x="1455397" y="1274045"/>
                </a:cubicBezTo>
                <a:lnTo>
                  <a:pt x="1455294" y="1274045"/>
                </a:lnTo>
                <a:lnTo>
                  <a:pt x="1449614" y="1274354"/>
                </a:lnTo>
                <a:cubicBezTo>
                  <a:pt x="1446930" y="1274200"/>
                  <a:pt x="1444658" y="1273580"/>
                  <a:pt x="1443212" y="1271876"/>
                </a:cubicBezTo>
                <a:lnTo>
                  <a:pt x="1442283" y="1269552"/>
                </a:lnTo>
                <a:lnTo>
                  <a:pt x="1439908" y="1271411"/>
                </a:lnTo>
                <a:cubicBezTo>
                  <a:pt x="1438669" y="1272031"/>
                  <a:pt x="1437327" y="1272341"/>
                  <a:pt x="1436398" y="1271876"/>
                </a:cubicBezTo>
                <a:cubicBezTo>
                  <a:pt x="1437327" y="1270327"/>
                  <a:pt x="1438256" y="1269552"/>
                  <a:pt x="1439185" y="1268778"/>
                </a:cubicBezTo>
                <a:cubicBezTo>
                  <a:pt x="1439598" y="1268003"/>
                  <a:pt x="1440115" y="1267694"/>
                  <a:pt x="1440631" y="1267694"/>
                </a:cubicBezTo>
                <a:lnTo>
                  <a:pt x="1441870" y="1268623"/>
                </a:lnTo>
                <a:lnTo>
                  <a:pt x="1441767" y="1268313"/>
                </a:lnTo>
                <a:lnTo>
                  <a:pt x="1441973" y="1263976"/>
                </a:lnTo>
                <a:lnTo>
                  <a:pt x="1441870" y="1263822"/>
                </a:lnTo>
                <a:cubicBezTo>
                  <a:pt x="1441664" y="1263356"/>
                  <a:pt x="1441664" y="1263047"/>
                  <a:pt x="1441664" y="1262582"/>
                </a:cubicBezTo>
                <a:lnTo>
                  <a:pt x="1441973" y="1262737"/>
                </a:lnTo>
                <a:lnTo>
                  <a:pt x="1442076" y="1262737"/>
                </a:lnTo>
                <a:lnTo>
                  <a:pt x="1443419" y="1263202"/>
                </a:lnTo>
                <a:lnTo>
                  <a:pt x="1443935" y="1263512"/>
                </a:lnTo>
                <a:lnTo>
                  <a:pt x="1445897" y="1264441"/>
                </a:lnTo>
                <a:lnTo>
                  <a:pt x="1446930" y="1264286"/>
                </a:lnTo>
                <a:lnTo>
                  <a:pt x="1449718" y="1265990"/>
                </a:lnTo>
                <a:lnTo>
                  <a:pt x="1454054" y="1266764"/>
                </a:lnTo>
                <a:lnTo>
                  <a:pt x="1454054" y="1265370"/>
                </a:lnTo>
                <a:cubicBezTo>
                  <a:pt x="1454467" y="1264441"/>
                  <a:pt x="1454984" y="1263512"/>
                  <a:pt x="1455603" y="1262892"/>
                </a:cubicBezTo>
                <a:lnTo>
                  <a:pt x="1457462" y="1261808"/>
                </a:lnTo>
                <a:lnTo>
                  <a:pt x="1455809" y="1261808"/>
                </a:lnTo>
                <a:cubicBezTo>
                  <a:pt x="1456739" y="1260879"/>
                  <a:pt x="1456120" y="1259175"/>
                  <a:pt x="1457152" y="1258400"/>
                </a:cubicBezTo>
                <a:cubicBezTo>
                  <a:pt x="1457152" y="1258400"/>
                  <a:pt x="1459940" y="1257625"/>
                  <a:pt x="1459940" y="1257625"/>
                </a:cubicBezTo>
                <a:cubicBezTo>
                  <a:pt x="1460663" y="1258555"/>
                  <a:pt x="1460663" y="1258555"/>
                  <a:pt x="1459837" y="1258555"/>
                </a:cubicBezTo>
                <a:lnTo>
                  <a:pt x="1460043" y="1261343"/>
                </a:lnTo>
                <a:lnTo>
                  <a:pt x="1463038" y="1261033"/>
                </a:lnTo>
                <a:lnTo>
                  <a:pt x="1464587" y="1261653"/>
                </a:lnTo>
                <a:lnTo>
                  <a:pt x="1465929" y="1261188"/>
                </a:lnTo>
                <a:lnTo>
                  <a:pt x="1464587" y="1255922"/>
                </a:lnTo>
                <a:cubicBezTo>
                  <a:pt x="1464070" y="1253753"/>
                  <a:pt x="1463760" y="1251585"/>
                  <a:pt x="1463864" y="1249880"/>
                </a:cubicBezTo>
                <a:lnTo>
                  <a:pt x="1463967" y="1249571"/>
                </a:lnTo>
                <a:lnTo>
                  <a:pt x="1463657" y="1249571"/>
                </a:lnTo>
                <a:lnTo>
                  <a:pt x="1464070" y="1249261"/>
                </a:lnTo>
                <a:close/>
                <a:moveTo>
                  <a:pt x="3634538" y="1247556"/>
                </a:moveTo>
                <a:cubicBezTo>
                  <a:pt x="3638380" y="1249121"/>
                  <a:pt x="3643075" y="1255807"/>
                  <a:pt x="3639660" y="1259222"/>
                </a:cubicBezTo>
                <a:cubicBezTo>
                  <a:pt x="3636459" y="1261498"/>
                  <a:pt x="3624508" y="1253673"/>
                  <a:pt x="3631124" y="1247982"/>
                </a:cubicBezTo>
                <a:cubicBezTo>
                  <a:pt x="3631977" y="1247129"/>
                  <a:pt x="3633258" y="1246987"/>
                  <a:pt x="3634538" y="1247556"/>
                </a:cubicBezTo>
                <a:close/>
                <a:moveTo>
                  <a:pt x="3491120" y="1247414"/>
                </a:moveTo>
                <a:cubicBezTo>
                  <a:pt x="3494961" y="1255381"/>
                  <a:pt x="3509474" y="1274302"/>
                  <a:pt x="3497950" y="1280135"/>
                </a:cubicBezTo>
                <a:cubicBezTo>
                  <a:pt x="3494961" y="1272879"/>
                  <a:pt x="3482156" y="1250970"/>
                  <a:pt x="3491120" y="1247414"/>
                </a:cubicBezTo>
                <a:close/>
                <a:moveTo>
                  <a:pt x="5036066" y="1247271"/>
                </a:moveTo>
                <a:cubicBezTo>
                  <a:pt x="5037773" y="1248552"/>
                  <a:pt x="5038840" y="1250686"/>
                  <a:pt x="5039480" y="1253247"/>
                </a:cubicBezTo>
                <a:cubicBezTo>
                  <a:pt x="5041401" y="1260787"/>
                  <a:pt x="5039694" y="1272169"/>
                  <a:pt x="5036706" y="1274871"/>
                </a:cubicBezTo>
                <a:cubicBezTo>
                  <a:pt x="5033718" y="1271173"/>
                  <a:pt x="5035212" y="1266478"/>
                  <a:pt x="5032224" y="1261640"/>
                </a:cubicBezTo>
                <a:cubicBezTo>
                  <a:pt x="5034999" y="1258084"/>
                  <a:pt x="5032011" y="1251966"/>
                  <a:pt x="5036066" y="1247271"/>
                </a:cubicBezTo>
                <a:close/>
                <a:moveTo>
                  <a:pt x="4123483" y="1247271"/>
                </a:moveTo>
                <a:cubicBezTo>
                  <a:pt x="4123483" y="1247271"/>
                  <a:pt x="4124123" y="1247982"/>
                  <a:pt x="4124764" y="1248694"/>
                </a:cubicBezTo>
                <a:cubicBezTo>
                  <a:pt x="4125404" y="1249548"/>
                  <a:pt x="4125831" y="1250544"/>
                  <a:pt x="4125617" y="1251397"/>
                </a:cubicBezTo>
                <a:cubicBezTo>
                  <a:pt x="4125617" y="1254101"/>
                  <a:pt x="4120922" y="1252962"/>
                  <a:pt x="4120068" y="1253531"/>
                </a:cubicBezTo>
                <a:cubicBezTo>
                  <a:pt x="4118361" y="1253104"/>
                  <a:pt x="4116867" y="1252820"/>
                  <a:pt x="4117293" y="1251112"/>
                </a:cubicBezTo>
                <a:cubicBezTo>
                  <a:pt x="4117934" y="1249548"/>
                  <a:pt x="4117293" y="1248409"/>
                  <a:pt x="4120068" y="1248267"/>
                </a:cubicBezTo>
                <a:cubicBezTo>
                  <a:pt x="4120922" y="1247556"/>
                  <a:pt x="4122416" y="1247982"/>
                  <a:pt x="4123483" y="1247271"/>
                </a:cubicBezTo>
                <a:close/>
                <a:moveTo>
                  <a:pt x="5654983" y="1246845"/>
                </a:moveTo>
                <a:cubicBezTo>
                  <a:pt x="5657117" y="1248694"/>
                  <a:pt x="5658398" y="1250117"/>
                  <a:pt x="5659038" y="1251539"/>
                </a:cubicBezTo>
                <a:cubicBezTo>
                  <a:pt x="5661386" y="1255523"/>
                  <a:pt x="5658611" y="1257657"/>
                  <a:pt x="5655837" y="1261214"/>
                </a:cubicBezTo>
                <a:cubicBezTo>
                  <a:pt x="5653489" y="1260075"/>
                  <a:pt x="5650075" y="1261071"/>
                  <a:pt x="5647940" y="1258653"/>
                </a:cubicBezTo>
                <a:cubicBezTo>
                  <a:pt x="5647940" y="1258653"/>
                  <a:pt x="5647087" y="1257515"/>
                  <a:pt x="5647300" y="1255096"/>
                </a:cubicBezTo>
                <a:cubicBezTo>
                  <a:pt x="5645379" y="1251539"/>
                  <a:pt x="5649007" y="1247982"/>
                  <a:pt x="5649007" y="1247982"/>
                </a:cubicBezTo>
                <a:cubicBezTo>
                  <a:pt x="5649007" y="1247982"/>
                  <a:pt x="5649007" y="1247982"/>
                  <a:pt x="5647940" y="1247982"/>
                </a:cubicBezTo>
                <a:cubicBezTo>
                  <a:pt x="5650288" y="1247982"/>
                  <a:pt x="5652635" y="1246845"/>
                  <a:pt x="5654983" y="1246845"/>
                </a:cubicBezTo>
                <a:close/>
                <a:moveTo>
                  <a:pt x="4984632" y="1246845"/>
                </a:moveTo>
                <a:cubicBezTo>
                  <a:pt x="4986125" y="1249121"/>
                  <a:pt x="4986125" y="1249121"/>
                  <a:pt x="4985272" y="1251682"/>
                </a:cubicBezTo>
                <a:cubicBezTo>
                  <a:pt x="4984205" y="1251682"/>
                  <a:pt x="4984205" y="1252962"/>
                  <a:pt x="4982924" y="1251824"/>
                </a:cubicBezTo>
                <a:cubicBezTo>
                  <a:pt x="4982071" y="1253673"/>
                  <a:pt x="4979296" y="1255665"/>
                  <a:pt x="4975881" y="1257088"/>
                </a:cubicBezTo>
                <a:lnTo>
                  <a:pt x="4975454" y="1257230"/>
                </a:lnTo>
                <a:lnTo>
                  <a:pt x="4977589" y="1258511"/>
                </a:lnTo>
                <a:cubicBezTo>
                  <a:pt x="4978442" y="1258938"/>
                  <a:pt x="4979296" y="1259365"/>
                  <a:pt x="4980363" y="1259933"/>
                </a:cubicBezTo>
                <a:lnTo>
                  <a:pt x="4980577" y="1260075"/>
                </a:lnTo>
                <a:lnTo>
                  <a:pt x="4981217" y="1259791"/>
                </a:lnTo>
                <a:cubicBezTo>
                  <a:pt x="4982711" y="1259506"/>
                  <a:pt x="4983992" y="1259506"/>
                  <a:pt x="4985485" y="1260075"/>
                </a:cubicBezTo>
                <a:cubicBezTo>
                  <a:pt x="4985485" y="1260075"/>
                  <a:pt x="4985485" y="1260075"/>
                  <a:pt x="4984418" y="1260075"/>
                </a:cubicBezTo>
                <a:cubicBezTo>
                  <a:pt x="4984418" y="1260075"/>
                  <a:pt x="4985485" y="1260075"/>
                  <a:pt x="4985699" y="1261214"/>
                </a:cubicBezTo>
                <a:lnTo>
                  <a:pt x="4982071" y="1262352"/>
                </a:lnTo>
                <a:lnTo>
                  <a:pt x="4982497" y="1263063"/>
                </a:lnTo>
                <a:cubicBezTo>
                  <a:pt x="4982924" y="1264059"/>
                  <a:pt x="4983351" y="1265340"/>
                  <a:pt x="4984418" y="1267189"/>
                </a:cubicBezTo>
                <a:cubicBezTo>
                  <a:pt x="4982924" y="1269466"/>
                  <a:pt x="4982924" y="1269466"/>
                  <a:pt x="4981857" y="1269466"/>
                </a:cubicBezTo>
                <a:cubicBezTo>
                  <a:pt x="4982924" y="1269466"/>
                  <a:pt x="4982924" y="1270746"/>
                  <a:pt x="4983778" y="1271884"/>
                </a:cubicBezTo>
                <a:cubicBezTo>
                  <a:pt x="4989327" y="1275583"/>
                  <a:pt x="4986339" y="1281558"/>
                  <a:pt x="4981217" y="1287392"/>
                </a:cubicBezTo>
                <a:cubicBezTo>
                  <a:pt x="4980150" y="1286253"/>
                  <a:pt x="4977375" y="1289668"/>
                  <a:pt x="4975028" y="1290806"/>
                </a:cubicBezTo>
                <a:cubicBezTo>
                  <a:pt x="4971613" y="1290806"/>
                  <a:pt x="4969266" y="1290664"/>
                  <a:pt x="4967131" y="1288245"/>
                </a:cubicBezTo>
                <a:cubicBezTo>
                  <a:pt x="4964143" y="1284688"/>
                  <a:pt x="4962436" y="1276294"/>
                  <a:pt x="4966278" y="1272879"/>
                </a:cubicBezTo>
                <a:cubicBezTo>
                  <a:pt x="4970333" y="1268185"/>
                  <a:pt x="4973961" y="1267047"/>
                  <a:pt x="4977375" y="1267047"/>
                </a:cubicBezTo>
                <a:cubicBezTo>
                  <a:pt x="4977375" y="1267047"/>
                  <a:pt x="4977375" y="1267047"/>
                  <a:pt x="4976308" y="1266904"/>
                </a:cubicBezTo>
                <a:lnTo>
                  <a:pt x="4974174" y="1264343"/>
                </a:lnTo>
                <a:lnTo>
                  <a:pt x="4972040" y="1264486"/>
                </a:lnTo>
                <a:cubicBezTo>
                  <a:pt x="4970973" y="1264486"/>
                  <a:pt x="4970119" y="1264486"/>
                  <a:pt x="4969906" y="1264486"/>
                </a:cubicBezTo>
                <a:cubicBezTo>
                  <a:pt x="4969692" y="1263348"/>
                  <a:pt x="4969692" y="1263348"/>
                  <a:pt x="4969692" y="1263348"/>
                </a:cubicBezTo>
                <a:lnTo>
                  <a:pt x="4972680" y="1262637"/>
                </a:lnTo>
                <a:lnTo>
                  <a:pt x="4969479" y="1258368"/>
                </a:lnTo>
                <a:lnTo>
                  <a:pt x="4966704" y="1258938"/>
                </a:lnTo>
                <a:lnTo>
                  <a:pt x="4968412" y="1256803"/>
                </a:lnTo>
                <a:lnTo>
                  <a:pt x="4966704" y="1253531"/>
                </a:lnTo>
                <a:cubicBezTo>
                  <a:pt x="4966278" y="1252109"/>
                  <a:pt x="4966064" y="1250970"/>
                  <a:pt x="4966278" y="1250117"/>
                </a:cubicBezTo>
                <a:cubicBezTo>
                  <a:pt x="4967558" y="1250117"/>
                  <a:pt x="4968625" y="1250117"/>
                  <a:pt x="4969692" y="1251255"/>
                </a:cubicBezTo>
                <a:cubicBezTo>
                  <a:pt x="4970759" y="1252535"/>
                  <a:pt x="4969479" y="1252535"/>
                  <a:pt x="4970759" y="1252535"/>
                </a:cubicBezTo>
                <a:cubicBezTo>
                  <a:pt x="4971826" y="1253816"/>
                  <a:pt x="4971826" y="1252535"/>
                  <a:pt x="4971826" y="1252535"/>
                </a:cubicBezTo>
                <a:lnTo>
                  <a:pt x="4971826" y="1252962"/>
                </a:lnTo>
                <a:lnTo>
                  <a:pt x="4976735" y="1250970"/>
                </a:lnTo>
                <a:cubicBezTo>
                  <a:pt x="4979936" y="1250117"/>
                  <a:pt x="4982711" y="1249974"/>
                  <a:pt x="4984632" y="1246845"/>
                </a:cubicBezTo>
                <a:close/>
                <a:moveTo>
                  <a:pt x="1032562" y="1246628"/>
                </a:moveTo>
                <a:cubicBezTo>
                  <a:pt x="1035040" y="1248022"/>
                  <a:pt x="1034111" y="1249726"/>
                  <a:pt x="1035763" y="1250500"/>
                </a:cubicBezTo>
                <a:cubicBezTo>
                  <a:pt x="1033079" y="1253753"/>
                  <a:pt x="1030601" y="1253908"/>
                  <a:pt x="1027193" y="1252514"/>
                </a:cubicBezTo>
                <a:cubicBezTo>
                  <a:pt x="1027296" y="1250035"/>
                  <a:pt x="1029981" y="1246628"/>
                  <a:pt x="1032562" y="1246628"/>
                </a:cubicBezTo>
                <a:close/>
                <a:moveTo>
                  <a:pt x="1370933" y="1246473"/>
                </a:moveTo>
                <a:cubicBezTo>
                  <a:pt x="1370933" y="1246473"/>
                  <a:pt x="1370933" y="1246473"/>
                  <a:pt x="1372172" y="1246782"/>
                </a:cubicBezTo>
                <a:cubicBezTo>
                  <a:pt x="1370624" y="1247712"/>
                  <a:pt x="1371656" y="1250965"/>
                  <a:pt x="1369281" y="1250655"/>
                </a:cubicBezTo>
                <a:cubicBezTo>
                  <a:pt x="1369591" y="1249416"/>
                  <a:pt x="1370624" y="1247712"/>
                  <a:pt x="1370933" y="1246473"/>
                </a:cubicBezTo>
                <a:close/>
                <a:moveTo>
                  <a:pt x="4157844" y="1246417"/>
                </a:moveTo>
                <a:cubicBezTo>
                  <a:pt x="4159978" y="1246133"/>
                  <a:pt x="4162325" y="1246702"/>
                  <a:pt x="4165313" y="1247698"/>
                </a:cubicBezTo>
                <a:cubicBezTo>
                  <a:pt x="4167234" y="1253104"/>
                  <a:pt x="4162539" y="1263205"/>
                  <a:pt x="4155069" y="1260502"/>
                </a:cubicBezTo>
                <a:cubicBezTo>
                  <a:pt x="4152721" y="1257799"/>
                  <a:pt x="4150374" y="1255096"/>
                  <a:pt x="4151868" y="1249121"/>
                </a:cubicBezTo>
                <a:cubicBezTo>
                  <a:pt x="4153789" y="1247556"/>
                  <a:pt x="4155709" y="1246702"/>
                  <a:pt x="4157844" y="1246417"/>
                </a:cubicBezTo>
                <a:close/>
                <a:moveTo>
                  <a:pt x="1449821" y="1245544"/>
                </a:moveTo>
                <a:cubicBezTo>
                  <a:pt x="1451576" y="1245699"/>
                  <a:pt x="1461076" y="1247557"/>
                  <a:pt x="1463657" y="1249416"/>
                </a:cubicBezTo>
                <a:cubicBezTo>
                  <a:pt x="1459320" y="1248177"/>
                  <a:pt x="1453228" y="1248332"/>
                  <a:pt x="1449821" y="1245544"/>
                </a:cubicBezTo>
                <a:close/>
                <a:moveTo>
                  <a:pt x="3508194" y="1245422"/>
                </a:moveTo>
                <a:cubicBezTo>
                  <a:pt x="3509047" y="1245137"/>
                  <a:pt x="3509901" y="1245422"/>
                  <a:pt x="3510328" y="1246133"/>
                </a:cubicBezTo>
                <a:cubicBezTo>
                  <a:pt x="3511395" y="1246845"/>
                  <a:pt x="3511395" y="1247414"/>
                  <a:pt x="3510968" y="1248125"/>
                </a:cubicBezTo>
                <a:cubicBezTo>
                  <a:pt x="3510541" y="1248836"/>
                  <a:pt x="3509688" y="1249548"/>
                  <a:pt x="3509047" y="1250686"/>
                </a:cubicBezTo>
                <a:lnTo>
                  <a:pt x="3505846" y="1246560"/>
                </a:lnTo>
                <a:cubicBezTo>
                  <a:pt x="3506486" y="1245991"/>
                  <a:pt x="3507340" y="1245564"/>
                  <a:pt x="3508194" y="1245422"/>
                </a:cubicBezTo>
                <a:close/>
                <a:moveTo>
                  <a:pt x="1213674" y="1245234"/>
                </a:moveTo>
                <a:cubicBezTo>
                  <a:pt x="1215223" y="1248486"/>
                  <a:pt x="1213364" y="1251894"/>
                  <a:pt x="1219250" y="1254837"/>
                </a:cubicBezTo>
                <a:lnTo>
                  <a:pt x="1215636" y="1256386"/>
                </a:lnTo>
                <a:lnTo>
                  <a:pt x="1216152" y="1256541"/>
                </a:lnTo>
                <a:cubicBezTo>
                  <a:pt x="1209131" y="1262737"/>
                  <a:pt x="1197875" y="1260413"/>
                  <a:pt x="1192816" y="1257625"/>
                </a:cubicBezTo>
                <a:cubicBezTo>
                  <a:pt x="1196327" y="1254528"/>
                  <a:pt x="1201180" y="1253289"/>
                  <a:pt x="1205620" y="1253289"/>
                </a:cubicBezTo>
                <a:lnTo>
                  <a:pt x="1209750" y="1253753"/>
                </a:lnTo>
                <a:lnTo>
                  <a:pt x="1210679" y="1250810"/>
                </a:lnTo>
                <a:cubicBezTo>
                  <a:pt x="1211609" y="1248796"/>
                  <a:pt x="1212744" y="1246938"/>
                  <a:pt x="1213674" y="1245234"/>
                </a:cubicBezTo>
                <a:close/>
                <a:moveTo>
                  <a:pt x="3977717" y="1245137"/>
                </a:moveTo>
                <a:cubicBezTo>
                  <a:pt x="3980278" y="1246417"/>
                  <a:pt x="3980278" y="1247698"/>
                  <a:pt x="3979211" y="1248836"/>
                </a:cubicBezTo>
                <a:cubicBezTo>
                  <a:pt x="3979211" y="1248836"/>
                  <a:pt x="3977931" y="1249974"/>
                  <a:pt x="3976863" y="1251112"/>
                </a:cubicBezTo>
                <a:cubicBezTo>
                  <a:pt x="3975796" y="1252251"/>
                  <a:pt x="3975796" y="1253389"/>
                  <a:pt x="3975796" y="1253389"/>
                </a:cubicBezTo>
                <a:cubicBezTo>
                  <a:pt x="3974730" y="1254527"/>
                  <a:pt x="3973449" y="1254527"/>
                  <a:pt x="3972168" y="1253247"/>
                </a:cubicBezTo>
                <a:cubicBezTo>
                  <a:pt x="3972168" y="1253247"/>
                  <a:pt x="3973235" y="1250970"/>
                  <a:pt x="3973235" y="1250970"/>
                </a:cubicBezTo>
                <a:cubicBezTo>
                  <a:pt x="3975583" y="1248694"/>
                  <a:pt x="3976650" y="1247556"/>
                  <a:pt x="3977717" y="1245137"/>
                </a:cubicBezTo>
                <a:close/>
                <a:moveTo>
                  <a:pt x="1340060" y="1243840"/>
                </a:moveTo>
                <a:cubicBezTo>
                  <a:pt x="1342021" y="1243530"/>
                  <a:pt x="1342125" y="1245389"/>
                  <a:pt x="1341608" y="1247712"/>
                </a:cubicBezTo>
                <a:cubicBezTo>
                  <a:pt x="1341608" y="1252514"/>
                  <a:pt x="1339750" y="1254682"/>
                  <a:pt x="1336239" y="1254063"/>
                </a:cubicBezTo>
                <a:cubicBezTo>
                  <a:pt x="1335723" y="1253443"/>
                  <a:pt x="1335103" y="1250965"/>
                  <a:pt x="1334380" y="1251430"/>
                </a:cubicBezTo>
                <a:cubicBezTo>
                  <a:pt x="1335103" y="1248796"/>
                  <a:pt x="1336239" y="1245853"/>
                  <a:pt x="1337994" y="1244459"/>
                </a:cubicBezTo>
                <a:cubicBezTo>
                  <a:pt x="1338614" y="1243995"/>
                  <a:pt x="1339337" y="1243840"/>
                  <a:pt x="1340060" y="1243840"/>
                </a:cubicBezTo>
                <a:close/>
                <a:moveTo>
                  <a:pt x="1300099" y="1243685"/>
                </a:moveTo>
                <a:cubicBezTo>
                  <a:pt x="1301029" y="1245234"/>
                  <a:pt x="1302991" y="1247557"/>
                  <a:pt x="1300512" y="1251275"/>
                </a:cubicBezTo>
                <a:cubicBezTo>
                  <a:pt x="1299686" y="1252204"/>
                  <a:pt x="1299686" y="1252204"/>
                  <a:pt x="1298860" y="1252359"/>
                </a:cubicBezTo>
                <a:cubicBezTo>
                  <a:pt x="1297105" y="1253443"/>
                  <a:pt x="1296279" y="1254528"/>
                  <a:pt x="1294524" y="1253908"/>
                </a:cubicBezTo>
                <a:cubicBezTo>
                  <a:pt x="1293181" y="1253134"/>
                  <a:pt x="1292665" y="1252359"/>
                  <a:pt x="1292768" y="1251430"/>
                </a:cubicBezTo>
                <a:cubicBezTo>
                  <a:pt x="1292768" y="1250500"/>
                  <a:pt x="1293388" y="1249261"/>
                  <a:pt x="1294214" y="1247867"/>
                </a:cubicBezTo>
                <a:cubicBezTo>
                  <a:pt x="1295763" y="1245079"/>
                  <a:pt x="1298447" y="1245544"/>
                  <a:pt x="1300099" y="1243685"/>
                </a:cubicBezTo>
                <a:close/>
                <a:moveTo>
                  <a:pt x="4782523" y="1243003"/>
                </a:moveTo>
                <a:cubicBezTo>
                  <a:pt x="4783164" y="1241865"/>
                  <a:pt x="4787005" y="1244284"/>
                  <a:pt x="4787219" y="1245991"/>
                </a:cubicBezTo>
                <a:cubicBezTo>
                  <a:pt x="4787859" y="1249263"/>
                  <a:pt x="4787859" y="1250829"/>
                  <a:pt x="4786578" y="1252962"/>
                </a:cubicBezTo>
                <a:cubicBezTo>
                  <a:pt x="4786792" y="1254527"/>
                  <a:pt x="4787219" y="1256234"/>
                  <a:pt x="4787005" y="1257515"/>
                </a:cubicBezTo>
                <a:cubicBezTo>
                  <a:pt x="4786792" y="1258938"/>
                  <a:pt x="4786151" y="1259791"/>
                  <a:pt x="4784444" y="1260360"/>
                </a:cubicBezTo>
                <a:cubicBezTo>
                  <a:pt x="4782309" y="1257515"/>
                  <a:pt x="4781243" y="1255238"/>
                  <a:pt x="4779749" y="1251397"/>
                </a:cubicBezTo>
                <a:cubicBezTo>
                  <a:pt x="4779749" y="1251397"/>
                  <a:pt x="4778681" y="1244853"/>
                  <a:pt x="4782523" y="1243003"/>
                </a:cubicBezTo>
                <a:close/>
                <a:moveTo>
                  <a:pt x="4013358" y="1242576"/>
                </a:moveTo>
                <a:cubicBezTo>
                  <a:pt x="4013572" y="1242576"/>
                  <a:pt x="4013999" y="1242861"/>
                  <a:pt x="4014639" y="1243430"/>
                </a:cubicBezTo>
                <a:cubicBezTo>
                  <a:pt x="4013785" y="1244853"/>
                  <a:pt x="4013572" y="1243572"/>
                  <a:pt x="4012504" y="1243715"/>
                </a:cubicBezTo>
                <a:cubicBezTo>
                  <a:pt x="4012931" y="1243003"/>
                  <a:pt x="4013145" y="1242576"/>
                  <a:pt x="4013358" y="1242576"/>
                </a:cubicBezTo>
                <a:close/>
                <a:moveTo>
                  <a:pt x="4009517" y="1242576"/>
                </a:moveTo>
                <a:cubicBezTo>
                  <a:pt x="4008663" y="1244711"/>
                  <a:pt x="4012291" y="1248125"/>
                  <a:pt x="4009303" y="1249121"/>
                </a:cubicBezTo>
                <a:cubicBezTo>
                  <a:pt x="4008663" y="1247414"/>
                  <a:pt x="4008450" y="1244711"/>
                  <a:pt x="4008023" y="1243003"/>
                </a:cubicBezTo>
                <a:cubicBezTo>
                  <a:pt x="4008023" y="1243003"/>
                  <a:pt x="4008023" y="1243003"/>
                  <a:pt x="4009517" y="1242576"/>
                </a:cubicBezTo>
                <a:close/>
                <a:moveTo>
                  <a:pt x="1285334" y="1242291"/>
                </a:moveTo>
                <a:cubicBezTo>
                  <a:pt x="1288432" y="1242136"/>
                  <a:pt x="1291219" y="1243220"/>
                  <a:pt x="1290290" y="1246628"/>
                </a:cubicBezTo>
                <a:cubicBezTo>
                  <a:pt x="1289980" y="1247867"/>
                  <a:pt x="1289670" y="1248951"/>
                  <a:pt x="1289258" y="1248332"/>
                </a:cubicBezTo>
                <a:cubicBezTo>
                  <a:pt x="1288535" y="1248796"/>
                  <a:pt x="1288018" y="1248177"/>
                  <a:pt x="1286883" y="1247867"/>
                </a:cubicBezTo>
                <a:cubicBezTo>
                  <a:pt x="1285230" y="1247092"/>
                  <a:pt x="1283888" y="1245234"/>
                  <a:pt x="1284198" y="1243995"/>
                </a:cubicBezTo>
                <a:cubicBezTo>
                  <a:pt x="1284507" y="1242911"/>
                  <a:pt x="1285334" y="1242291"/>
                  <a:pt x="1285334" y="1242291"/>
                </a:cubicBezTo>
                <a:close/>
                <a:moveTo>
                  <a:pt x="4396446" y="1242007"/>
                </a:moveTo>
                <a:cubicBezTo>
                  <a:pt x="4397941" y="1242292"/>
                  <a:pt x="4399221" y="1243288"/>
                  <a:pt x="4400289" y="1244568"/>
                </a:cubicBezTo>
                <a:cubicBezTo>
                  <a:pt x="4402209" y="1247129"/>
                  <a:pt x="4402209" y="1251112"/>
                  <a:pt x="4397087" y="1253104"/>
                </a:cubicBezTo>
                <a:cubicBezTo>
                  <a:pt x="4394313" y="1249121"/>
                  <a:pt x="4392392" y="1246560"/>
                  <a:pt x="4391538" y="1243999"/>
                </a:cubicBezTo>
                <a:cubicBezTo>
                  <a:pt x="4393032" y="1242292"/>
                  <a:pt x="4394739" y="1241865"/>
                  <a:pt x="4396446" y="1242007"/>
                </a:cubicBezTo>
                <a:close/>
                <a:moveTo>
                  <a:pt x="4907587" y="1241580"/>
                </a:moveTo>
                <a:cubicBezTo>
                  <a:pt x="4908868" y="1242861"/>
                  <a:pt x="4908654" y="1241580"/>
                  <a:pt x="4909721" y="1241580"/>
                </a:cubicBezTo>
                <a:cubicBezTo>
                  <a:pt x="4908868" y="1242861"/>
                  <a:pt x="4909508" y="1246560"/>
                  <a:pt x="4908654" y="1249121"/>
                </a:cubicBezTo>
                <a:cubicBezTo>
                  <a:pt x="4907587" y="1249121"/>
                  <a:pt x="4906733" y="1250401"/>
                  <a:pt x="4905453" y="1250544"/>
                </a:cubicBezTo>
                <a:cubicBezTo>
                  <a:pt x="4905453" y="1249263"/>
                  <a:pt x="4903959" y="1246845"/>
                  <a:pt x="4905026" y="1246845"/>
                </a:cubicBezTo>
                <a:cubicBezTo>
                  <a:pt x="4904812" y="1245564"/>
                  <a:pt x="4907160" y="1245422"/>
                  <a:pt x="4907160" y="1245422"/>
                </a:cubicBezTo>
                <a:cubicBezTo>
                  <a:pt x="4906947" y="1244142"/>
                  <a:pt x="4906733" y="1243003"/>
                  <a:pt x="4907587" y="1241580"/>
                </a:cubicBezTo>
                <a:close/>
                <a:moveTo>
                  <a:pt x="1532839" y="1241361"/>
                </a:moveTo>
                <a:cubicBezTo>
                  <a:pt x="1532942" y="1242136"/>
                  <a:pt x="1533871" y="1242911"/>
                  <a:pt x="1534697" y="1242756"/>
                </a:cubicBezTo>
                <a:cubicBezTo>
                  <a:pt x="1535627" y="1243530"/>
                  <a:pt x="1536556" y="1244149"/>
                  <a:pt x="1536556" y="1243375"/>
                </a:cubicBezTo>
                <a:cubicBezTo>
                  <a:pt x="1539344" y="1245544"/>
                  <a:pt x="1540170" y="1245389"/>
                  <a:pt x="1539447" y="1248022"/>
                </a:cubicBezTo>
                <a:cubicBezTo>
                  <a:pt x="1532426" y="1248177"/>
                  <a:pt x="1524372" y="1246008"/>
                  <a:pt x="1522513" y="1245389"/>
                </a:cubicBezTo>
                <a:cubicBezTo>
                  <a:pt x="1521687" y="1245079"/>
                  <a:pt x="1521171" y="1244769"/>
                  <a:pt x="1521068" y="1244149"/>
                </a:cubicBezTo>
                <a:cubicBezTo>
                  <a:pt x="1520965" y="1243685"/>
                  <a:pt x="1521068" y="1243065"/>
                  <a:pt x="1521481" y="1242136"/>
                </a:cubicBezTo>
                <a:cubicBezTo>
                  <a:pt x="1524785" y="1239193"/>
                  <a:pt x="1528399" y="1241207"/>
                  <a:pt x="1532839" y="1241361"/>
                </a:cubicBezTo>
                <a:close/>
                <a:moveTo>
                  <a:pt x="1228543" y="1241207"/>
                </a:moveTo>
                <a:cubicBezTo>
                  <a:pt x="1232879" y="1240122"/>
                  <a:pt x="1238662" y="1244924"/>
                  <a:pt x="1237732" y="1248332"/>
                </a:cubicBezTo>
                <a:cubicBezTo>
                  <a:pt x="1230814" y="1258090"/>
                  <a:pt x="1223173" y="1254528"/>
                  <a:pt x="1224309" y="1248177"/>
                </a:cubicBezTo>
                <a:cubicBezTo>
                  <a:pt x="1224619" y="1246008"/>
                  <a:pt x="1225961" y="1243530"/>
                  <a:pt x="1228543" y="1241207"/>
                </a:cubicBezTo>
                <a:close/>
                <a:moveTo>
                  <a:pt x="4654685" y="1241012"/>
                </a:moveTo>
                <a:cubicBezTo>
                  <a:pt x="4655538" y="1242292"/>
                  <a:pt x="4656392" y="1243572"/>
                  <a:pt x="4656605" y="1244853"/>
                </a:cubicBezTo>
                <a:cubicBezTo>
                  <a:pt x="4657032" y="1246275"/>
                  <a:pt x="4656605" y="1247840"/>
                  <a:pt x="4655965" y="1249690"/>
                </a:cubicBezTo>
                <a:cubicBezTo>
                  <a:pt x="4654044" y="1245991"/>
                  <a:pt x="4652977" y="1244711"/>
                  <a:pt x="4654685" y="1241012"/>
                </a:cubicBezTo>
                <a:close/>
                <a:moveTo>
                  <a:pt x="1625666" y="1240587"/>
                </a:moveTo>
                <a:lnTo>
                  <a:pt x="1625460" y="1241361"/>
                </a:lnTo>
                <a:lnTo>
                  <a:pt x="1625150" y="1241826"/>
                </a:lnTo>
                <a:lnTo>
                  <a:pt x="1626905" y="1242136"/>
                </a:lnTo>
                <a:lnTo>
                  <a:pt x="1626389" y="1240742"/>
                </a:lnTo>
                <a:close/>
                <a:moveTo>
                  <a:pt x="3617891" y="1240158"/>
                </a:moveTo>
                <a:cubicBezTo>
                  <a:pt x="3621520" y="1243999"/>
                  <a:pt x="3620453" y="1246275"/>
                  <a:pt x="3617251" y="1249690"/>
                </a:cubicBezTo>
                <a:cubicBezTo>
                  <a:pt x="3611062" y="1244711"/>
                  <a:pt x="3613410" y="1243572"/>
                  <a:pt x="3617891" y="1240158"/>
                </a:cubicBezTo>
                <a:close/>
                <a:moveTo>
                  <a:pt x="1354102" y="1239657"/>
                </a:moveTo>
                <a:cubicBezTo>
                  <a:pt x="1354102" y="1239657"/>
                  <a:pt x="1354102" y="1239657"/>
                  <a:pt x="1360401" y="1241361"/>
                </a:cubicBezTo>
                <a:cubicBezTo>
                  <a:pt x="1360194" y="1241826"/>
                  <a:pt x="1359781" y="1241981"/>
                  <a:pt x="1359265" y="1241981"/>
                </a:cubicBezTo>
                <a:cubicBezTo>
                  <a:pt x="1358749" y="1241826"/>
                  <a:pt x="1358129" y="1241671"/>
                  <a:pt x="1357613" y="1241361"/>
                </a:cubicBezTo>
                <a:cubicBezTo>
                  <a:pt x="1356374" y="1240742"/>
                  <a:pt x="1355238" y="1240122"/>
                  <a:pt x="1354102" y="1239657"/>
                </a:cubicBezTo>
                <a:close/>
                <a:moveTo>
                  <a:pt x="1188376" y="1239193"/>
                </a:moveTo>
                <a:lnTo>
                  <a:pt x="1191370" y="1240277"/>
                </a:lnTo>
                <a:lnTo>
                  <a:pt x="1191680" y="1239812"/>
                </a:lnTo>
                <a:cubicBezTo>
                  <a:pt x="1193333" y="1241671"/>
                  <a:pt x="1195088" y="1241051"/>
                  <a:pt x="1196740" y="1243065"/>
                </a:cubicBezTo>
                <a:lnTo>
                  <a:pt x="1194365" y="1245234"/>
                </a:lnTo>
                <a:lnTo>
                  <a:pt x="1194778" y="1246938"/>
                </a:lnTo>
                <a:lnTo>
                  <a:pt x="1200870" y="1247712"/>
                </a:lnTo>
                <a:cubicBezTo>
                  <a:pt x="1202935" y="1248177"/>
                  <a:pt x="1205000" y="1248951"/>
                  <a:pt x="1206653" y="1249726"/>
                </a:cubicBezTo>
                <a:cubicBezTo>
                  <a:pt x="1199425" y="1256851"/>
                  <a:pt x="1191784" y="1254528"/>
                  <a:pt x="1184142" y="1252359"/>
                </a:cubicBezTo>
                <a:cubicBezTo>
                  <a:pt x="1185072" y="1250500"/>
                  <a:pt x="1186518" y="1249106"/>
                  <a:pt x="1188376" y="1248177"/>
                </a:cubicBezTo>
                <a:lnTo>
                  <a:pt x="1189202" y="1248022"/>
                </a:lnTo>
                <a:lnTo>
                  <a:pt x="1187860" y="1247867"/>
                </a:lnTo>
                <a:cubicBezTo>
                  <a:pt x="1180425" y="1247867"/>
                  <a:pt x="1173197" y="1250345"/>
                  <a:pt x="1168344" y="1245853"/>
                </a:cubicBezTo>
                <a:cubicBezTo>
                  <a:pt x="1171442" y="1245079"/>
                  <a:pt x="1175056" y="1243375"/>
                  <a:pt x="1178567" y="1241826"/>
                </a:cubicBezTo>
                <a:cubicBezTo>
                  <a:pt x="1181974" y="1240277"/>
                  <a:pt x="1185485" y="1239038"/>
                  <a:pt x="1188376" y="1239193"/>
                </a:cubicBezTo>
                <a:close/>
                <a:moveTo>
                  <a:pt x="4581268" y="1239020"/>
                </a:moveTo>
                <a:lnTo>
                  <a:pt x="4582335" y="1246987"/>
                </a:lnTo>
                <a:lnTo>
                  <a:pt x="4582762" y="1247556"/>
                </a:lnTo>
                <a:lnTo>
                  <a:pt x="4582548" y="1247982"/>
                </a:lnTo>
                <a:lnTo>
                  <a:pt x="4583403" y="1257515"/>
                </a:lnTo>
                <a:lnTo>
                  <a:pt x="4581908" y="1266478"/>
                </a:lnTo>
                <a:lnTo>
                  <a:pt x="4583189" y="1266762"/>
                </a:lnTo>
                <a:cubicBezTo>
                  <a:pt x="4587457" y="1266051"/>
                  <a:pt x="4593647" y="1262067"/>
                  <a:pt x="4600049" y="1267616"/>
                </a:cubicBezTo>
                <a:cubicBezTo>
                  <a:pt x="4597488" y="1269892"/>
                  <a:pt x="4601543" y="1276010"/>
                  <a:pt x="4597702" y="1279567"/>
                </a:cubicBezTo>
                <a:cubicBezTo>
                  <a:pt x="4589805" y="1288387"/>
                  <a:pt x="4585963" y="1289241"/>
                  <a:pt x="4581268" y="1287533"/>
                </a:cubicBezTo>
                <a:lnTo>
                  <a:pt x="4581055" y="1287392"/>
                </a:lnTo>
                <a:lnTo>
                  <a:pt x="4574225" y="1287392"/>
                </a:lnTo>
                <a:lnTo>
                  <a:pt x="4573158" y="1285115"/>
                </a:lnTo>
                <a:cubicBezTo>
                  <a:pt x="4572091" y="1286253"/>
                  <a:pt x="4570597" y="1287533"/>
                  <a:pt x="4569103" y="1286253"/>
                </a:cubicBezTo>
                <a:cubicBezTo>
                  <a:pt x="4566756" y="1283977"/>
                  <a:pt x="4566329" y="1280705"/>
                  <a:pt x="4566542" y="1277433"/>
                </a:cubicBezTo>
                <a:cubicBezTo>
                  <a:pt x="4564835" y="1282270"/>
                  <a:pt x="4560993" y="1285826"/>
                  <a:pt x="4552457" y="1284119"/>
                </a:cubicBezTo>
                <a:cubicBezTo>
                  <a:pt x="4549895" y="1284262"/>
                  <a:pt x="4550749" y="1283692"/>
                  <a:pt x="4549255" y="1283265"/>
                </a:cubicBezTo>
                <a:lnTo>
                  <a:pt x="4547548" y="1283265"/>
                </a:lnTo>
                <a:lnTo>
                  <a:pt x="4558859" y="1287249"/>
                </a:lnTo>
                <a:cubicBezTo>
                  <a:pt x="4562274" y="1289241"/>
                  <a:pt x="4565262" y="1291944"/>
                  <a:pt x="4566969" y="1296069"/>
                </a:cubicBezTo>
                <a:cubicBezTo>
                  <a:pt x="4565262" y="1303610"/>
                  <a:pt x="4566115" y="1308589"/>
                  <a:pt x="4567609" y="1312858"/>
                </a:cubicBezTo>
                <a:lnTo>
                  <a:pt x="4567823" y="1313426"/>
                </a:lnTo>
                <a:lnTo>
                  <a:pt x="4568036" y="1313000"/>
                </a:lnTo>
                <a:cubicBezTo>
                  <a:pt x="4568249" y="1312858"/>
                  <a:pt x="4568249" y="1313141"/>
                  <a:pt x="4568677" y="1313853"/>
                </a:cubicBezTo>
                <a:cubicBezTo>
                  <a:pt x="4568677" y="1313853"/>
                  <a:pt x="4568677" y="1313711"/>
                  <a:pt x="4569744" y="1314991"/>
                </a:cubicBezTo>
                <a:cubicBezTo>
                  <a:pt x="4569744" y="1314991"/>
                  <a:pt x="4569957" y="1314991"/>
                  <a:pt x="4569957" y="1315418"/>
                </a:cubicBezTo>
                <a:lnTo>
                  <a:pt x="4569103" y="1316841"/>
                </a:lnTo>
                <a:lnTo>
                  <a:pt x="4569957" y="1318833"/>
                </a:lnTo>
                <a:cubicBezTo>
                  <a:pt x="4570811" y="1320825"/>
                  <a:pt x="4571451" y="1322816"/>
                  <a:pt x="4571877" y="1325235"/>
                </a:cubicBezTo>
                <a:cubicBezTo>
                  <a:pt x="4569957" y="1330214"/>
                  <a:pt x="4567609" y="1335620"/>
                  <a:pt x="4564835" y="1340884"/>
                </a:cubicBezTo>
                <a:lnTo>
                  <a:pt x="4561847" y="1345437"/>
                </a:lnTo>
                <a:lnTo>
                  <a:pt x="4559713" y="1349563"/>
                </a:lnTo>
                <a:lnTo>
                  <a:pt x="4559499" y="1349989"/>
                </a:lnTo>
                <a:lnTo>
                  <a:pt x="4558006" y="1359806"/>
                </a:lnTo>
                <a:cubicBezTo>
                  <a:pt x="4556938" y="1362936"/>
                  <a:pt x="4555018" y="1365639"/>
                  <a:pt x="4552243" y="1367916"/>
                </a:cubicBezTo>
                <a:cubicBezTo>
                  <a:pt x="4548615" y="1370191"/>
                  <a:pt x="4545200" y="1371045"/>
                  <a:pt x="4542426" y="1370761"/>
                </a:cubicBezTo>
                <a:lnTo>
                  <a:pt x="4539011" y="1369053"/>
                </a:lnTo>
                <a:lnTo>
                  <a:pt x="4525566" y="1374602"/>
                </a:lnTo>
                <a:lnTo>
                  <a:pt x="4525139" y="1374602"/>
                </a:lnTo>
                <a:lnTo>
                  <a:pt x="4523432" y="1376025"/>
                </a:lnTo>
                <a:lnTo>
                  <a:pt x="4524285" y="1378301"/>
                </a:lnTo>
                <a:cubicBezTo>
                  <a:pt x="4527700" y="1382000"/>
                  <a:pt x="4532822" y="1380008"/>
                  <a:pt x="4534743" y="1389256"/>
                </a:cubicBezTo>
                <a:lnTo>
                  <a:pt x="4527273" y="1389398"/>
                </a:lnTo>
                <a:lnTo>
                  <a:pt x="4527913" y="1391106"/>
                </a:lnTo>
                <a:cubicBezTo>
                  <a:pt x="4528980" y="1394804"/>
                  <a:pt x="4529407" y="1398503"/>
                  <a:pt x="4529834" y="1402487"/>
                </a:cubicBezTo>
                <a:lnTo>
                  <a:pt x="4529834" y="1409173"/>
                </a:lnTo>
                <a:lnTo>
                  <a:pt x="4532181" y="1407181"/>
                </a:lnTo>
                <a:cubicBezTo>
                  <a:pt x="4537304" y="1404337"/>
                  <a:pt x="4541145" y="1406044"/>
                  <a:pt x="4541786" y="1405047"/>
                </a:cubicBezTo>
                <a:cubicBezTo>
                  <a:pt x="4545840" y="1408462"/>
                  <a:pt x="4543707" y="1411023"/>
                  <a:pt x="4542212" y="1416002"/>
                </a:cubicBezTo>
                <a:cubicBezTo>
                  <a:pt x="4540719" y="1414864"/>
                  <a:pt x="4537944" y="1418705"/>
                  <a:pt x="4536877" y="1419986"/>
                </a:cubicBezTo>
                <a:cubicBezTo>
                  <a:pt x="4535596" y="1418847"/>
                  <a:pt x="4533889" y="1419274"/>
                  <a:pt x="4532181" y="1419559"/>
                </a:cubicBezTo>
                <a:lnTo>
                  <a:pt x="4529621" y="1419559"/>
                </a:lnTo>
                <a:lnTo>
                  <a:pt x="4528980" y="1439192"/>
                </a:lnTo>
                <a:cubicBezTo>
                  <a:pt x="4524925" y="1437769"/>
                  <a:pt x="4521938" y="1439761"/>
                  <a:pt x="4516175" y="1436347"/>
                </a:cubicBezTo>
                <a:cubicBezTo>
                  <a:pt x="4518096" y="1425819"/>
                  <a:pt x="4518523" y="1415433"/>
                  <a:pt x="4518950" y="1405474"/>
                </a:cubicBezTo>
                <a:lnTo>
                  <a:pt x="4520444" y="1389683"/>
                </a:lnTo>
                <a:lnTo>
                  <a:pt x="4515748" y="1389683"/>
                </a:lnTo>
                <a:cubicBezTo>
                  <a:pt x="4509986" y="1388971"/>
                  <a:pt x="4504864" y="1387121"/>
                  <a:pt x="4499955" y="1384561"/>
                </a:cubicBezTo>
                <a:lnTo>
                  <a:pt x="4495900" y="1381573"/>
                </a:lnTo>
                <a:lnTo>
                  <a:pt x="4493766" y="1382142"/>
                </a:lnTo>
                <a:lnTo>
                  <a:pt x="4492059" y="1382000"/>
                </a:lnTo>
                <a:lnTo>
                  <a:pt x="4491632" y="1382427"/>
                </a:lnTo>
                <a:cubicBezTo>
                  <a:pt x="4490778" y="1382854"/>
                  <a:pt x="4490138" y="1383138"/>
                  <a:pt x="4490138" y="1383138"/>
                </a:cubicBezTo>
                <a:cubicBezTo>
                  <a:pt x="4489071" y="1382000"/>
                  <a:pt x="4489071" y="1382000"/>
                  <a:pt x="4490352" y="1382000"/>
                </a:cubicBezTo>
                <a:lnTo>
                  <a:pt x="4490352" y="1381858"/>
                </a:lnTo>
                <a:lnTo>
                  <a:pt x="4486937" y="1381431"/>
                </a:lnTo>
                <a:cubicBezTo>
                  <a:pt x="4487364" y="1378443"/>
                  <a:pt x="4488644" y="1375598"/>
                  <a:pt x="4490352" y="1372895"/>
                </a:cubicBezTo>
                <a:lnTo>
                  <a:pt x="4495260" y="1365354"/>
                </a:lnTo>
                <a:lnTo>
                  <a:pt x="4495900" y="1371330"/>
                </a:lnTo>
                <a:cubicBezTo>
                  <a:pt x="4496968" y="1371330"/>
                  <a:pt x="4498248" y="1370191"/>
                  <a:pt x="4498248" y="1370191"/>
                </a:cubicBezTo>
                <a:lnTo>
                  <a:pt x="4499102" y="1373748"/>
                </a:lnTo>
                <a:lnTo>
                  <a:pt x="4501023" y="1373464"/>
                </a:lnTo>
                <a:lnTo>
                  <a:pt x="4508492" y="1374602"/>
                </a:lnTo>
                <a:lnTo>
                  <a:pt x="4508492" y="1372610"/>
                </a:lnTo>
                <a:lnTo>
                  <a:pt x="4503156" y="1370476"/>
                </a:lnTo>
                <a:lnTo>
                  <a:pt x="4495260" y="1365354"/>
                </a:lnTo>
                <a:lnTo>
                  <a:pt x="4493766" y="1364359"/>
                </a:lnTo>
                <a:cubicBezTo>
                  <a:pt x="4490352" y="1362367"/>
                  <a:pt x="4486937" y="1360233"/>
                  <a:pt x="4482669" y="1358525"/>
                </a:cubicBezTo>
                <a:cubicBezTo>
                  <a:pt x="4486083" y="1343303"/>
                  <a:pt x="4478400" y="1339604"/>
                  <a:pt x="4474345" y="1332633"/>
                </a:cubicBezTo>
                <a:cubicBezTo>
                  <a:pt x="4480961" y="1323527"/>
                  <a:pt x="4481814" y="1309159"/>
                  <a:pt x="4486510" y="1297350"/>
                </a:cubicBezTo>
                <a:cubicBezTo>
                  <a:pt x="4500168" y="1291091"/>
                  <a:pt x="4509986" y="1281985"/>
                  <a:pt x="4523645" y="1275726"/>
                </a:cubicBezTo>
                <a:cubicBezTo>
                  <a:pt x="4526846" y="1277859"/>
                  <a:pt x="4530474" y="1279282"/>
                  <a:pt x="4534529" y="1280420"/>
                </a:cubicBezTo>
                <a:lnTo>
                  <a:pt x="4543707" y="1282412"/>
                </a:lnTo>
                <a:lnTo>
                  <a:pt x="4542212" y="1277148"/>
                </a:lnTo>
                <a:cubicBezTo>
                  <a:pt x="4541145" y="1275156"/>
                  <a:pt x="4540292" y="1272879"/>
                  <a:pt x="4540505" y="1268185"/>
                </a:cubicBezTo>
                <a:cubicBezTo>
                  <a:pt x="4540719" y="1256234"/>
                  <a:pt x="4548402" y="1254101"/>
                  <a:pt x="4554164" y="1254669"/>
                </a:cubicBezTo>
                <a:cubicBezTo>
                  <a:pt x="4554164" y="1254954"/>
                  <a:pt x="4554804" y="1255238"/>
                  <a:pt x="4555444" y="1255523"/>
                </a:cubicBezTo>
                <a:lnTo>
                  <a:pt x="4557792" y="1256661"/>
                </a:lnTo>
                <a:lnTo>
                  <a:pt x="4561420" y="1255096"/>
                </a:lnTo>
                <a:cubicBezTo>
                  <a:pt x="4562487" y="1255238"/>
                  <a:pt x="4563554" y="1255807"/>
                  <a:pt x="4564835" y="1256946"/>
                </a:cubicBezTo>
                <a:cubicBezTo>
                  <a:pt x="4566115" y="1256946"/>
                  <a:pt x="4567823" y="1261640"/>
                  <a:pt x="4566756" y="1262921"/>
                </a:cubicBezTo>
                <a:lnTo>
                  <a:pt x="4565902" y="1263917"/>
                </a:lnTo>
                <a:lnTo>
                  <a:pt x="4567823" y="1271031"/>
                </a:lnTo>
                <a:cubicBezTo>
                  <a:pt x="4567609" y="1272596"/>
                  <a:pt x="4567396" y="1274018"/>
                  <a:pt x="4567182" y="1275441"/>
                </a:cubicBezTo>
                <a:cubicBezTo>
                  <a:pt x="4567609" y="1273022"/>
                  <a:pt x="4568249" y="1270319"/>
                  <a:pt x="4568890" y="1268612"/>
                </a:cubicBezTo>
                <a:lnTo>
                  <a:pt x="4569957" y="1266193"/>
                </a:lnTo>
                <a:lnTo>
                  <a:pt x="4568677" y="1266193"/>
                </a:lnTo>
                <a:lnTo>
                  <a:pt x="4569957" y="1264912"/>
                </a:lnTo>
                <a:lnTo>
                  <a:pt x="4570170" y="1264628"/>
                </a:lnTo>
                <a:cubicBezTo>
                  <a:pt x="4571237" y="1264628"/>
                  <a:pt x="4571451" y="1263490"/>
                  <a:pt x="4570170" y="1263490"/>
                </a:cubicBezTo>
                <a:cubicBezTo>
                  <a:pt x="4571664" y="1261783"/>
                  <a:pt x="4572518" y="1260218"/>
                  <a:pt x="4573585" y="1259506"/>
                </a:cubicBezTo>
                <a:lnTo>
                  <a:pt x="4574652" y="1259648"/>
                </a:lnTo>
                <a:lnTo>
                  <a:pt x="4574439" y="1252962"/>
                </a:lnTo>
                <a:lnTo>
                  <a:pt x="4574865" y="1251112"/>
                </a:lnTo>
                <a:lnTo>
                  <a:pt x="4574225" y="1250544"/>
                </a:lnTo>
                <a:lnTo>
                  <a:pt x="4575079" y="1249548"/>
                </a:lnTo>
                <a:lnTo>
                  <a:pt x="4576146" y="1243572"/>
                </a:lnTo>
                <a:cubicBezTo>
                  <a:pt x="4577213" y="1241012"/>
                  <a:pt x="4578707" y="1239304"/>
                  <a:pt x="4581268" y="1239020"/>
                </a:cubicBezTo>
                <a:close/>
                <a:moveTo>
                  <a:pt x="4095311" y="1237455"/>
                </a:moveTo>
                <a:cubicBezTo>
                  <a:pt x="4097019" y="1242292"/>
                  <a:pt x="4094458" y="1244853"/>
                  <a:pt x="4091896" y="1247271"/>
                </a:cubicBezTo>
                <a:cubicBezTo>
                  <a:pt x="4089976" y="1248836"/>
                  <a:pt x="4089336" y="1249832"/>
                  <a:pt x="4089549" y="1252535"/>
                </a:cubicBezTo>
                <a:cubicBezTo>
                  <a:pt x="4089549" y="1252535"/>
                  <a:pt x="4089549" y="1252535"/>
                  <a:pt x="4086561" y="1253389"/>
                </a:cubicBezTo>
                <a:lnTo>
                  <a:pt x="4085494" y="1252820"/>
                </a:lnTo>
                <a:cubicBezTo>
                  <a:pt x="4085068" y="1252251"/>
                  <a:pt x="4085281" y="1251397"/>
                  <a:pt x="4085708" y="1250117"/>
                </a:cubicBezTo>
                <a:cubicBezTo>
                  <a:pt x="4086988" y="1246560"/>
                  <a:pt x="4090830" y="1241154"/>
                  <a:pt x="4091256" y="1240443"/>
                </a:cubicBezTo>
                <a:cubicBezTo>
                  <a:pt x="4091256" y="1240443"/>
                  <a:pt x="4091683" y="1239446"/>
                  <a:pt x="4092324" y="1238308"/>
                </a:cubicBezTo>
                <a:cubicBezTo>
                  <a:pt x="4093818" y="1237881"/>
                  <a:pt x="4094671" y="1238451"/>
                  <a:pt x="4095311" y="1237455"/>
                </a:cubicBezTo>
                <a:close/>
                <a:moveTo>
                  <a:pt x="4590872" y="1237028"/>
                </a:moveTo>
                <a:cubicBezTo>
                  <a:pt x="4592579" y="1236743"/>
                  <a:pt x="4594500" y="1237028"/>
                  <a:pt x="4596207" y="1237739"/>
                </a:cubicBezTo>
                <a:cubicBezTo>
                  <a:pt x="4594927" y="1237739"/>
                  <a:pt x="4595141" y="1237739"/>
                  <a:pt x="4595141" y="1237739"/>
                </a:cubicBezTo>
                <a:cubicBezTo>
                  <a:pt x="4593647" y="1238878"/>
                  <a:pt x="4594927" y="1238878"/>
                  <a:pt x="4594714" y="1240158"/>
                </a:cubicBezTo>
                <a:cubicBezTo>
                  <a:pt x="4594714" y="1240158"/>
                  <a:pt x="4594927" y="1238878"/>
                  <a:pt x="4595994" y="1240158"/>
                </a:cubicBezTo>
                <a:cubicBezTo>
                  <a:pt x="4594714" y="1240158"/>
                  <a:pt x="4594714" y="1241296"/>
                  <a:pt x="4594500" y="1242576"/>
                </a:cubicBezTo>
                <a:cubicBezTo>
                  <a:pt x="4591939" y="1244853"/>
                  <a:pt x="4588311" y="1247271"/>
                  <a:pt x="4585963" y="1245991"/>
                </a:cubicBezTo>
                <a:cubicBezTo>
                  <a:pt x="4584043" y="1243572"/>
                  <a:pt x="4585323" y="1241154"/>
                  <a:pt x="4586604" y="1239873"/>
                </a:cubicBezTo>
                <a:cubicBezTo>
                  <a:pt x="4587457" y="1238166"/>
                  <a:pt x="4588951" y="1237313"/>
                  <a:pt x="4590872" y="1237028"/>
                </a:cubicBezTo>
                <a:close/>
                <a:moveTo>
                  <a:pt x="1294110" y="1236714"/>
                </a:moveTo>
                <a:cubicBezTo>
                  <a:pt x="1294730" y="1236714"/>
                  <a:pt x="1295659" y="1236869"/>
                  <a:pt x="1296589" y="1236714"/>
                </a:cubicBezTo>
                <a:lnTo>
                  <a:pt x="1295659" y="1240122"/>
                </a:lnTo>
                <a:cubicBezTo>
                  <a:pt x="1294420" y="1239967"/>
                  <a:pt x="1292768" y="1239038"/>
                  <a:pt x="1293078" y="1237954"/>
                </a:cubicBezTo>
                <a:cubicBezTo>
                  <a:pt x="1293078" y="1237024"/>
                  <a:pt x="1293491" y="1236714"/>
                  <a:pt x="1294110" y="1236714"/>
                </a:cubicBezTo>
                <a:close/>
                <a:moveTo>
                  <a:pt x="1462005" y="1236095"/>
                </a:moveTo>
                <a:cubicBezTo>
                  <a:pt x="1462005" y="1236095"/>
                  <a:pt x="1462934" y="1236869"/>
                  <a:pt x="1463864" y="1237489"/>
                </a:cubicBezTo>
                <a:cubicBezTo>
                  <a:pt x="1464793" y="1238263"/>
                  <a:pt x="1464793" y="1238263"/>
                  <a:pt x="1465619" y="1237334"/>
                </a:cubicBezTo>
                <a:cubicBezTo>
                  <a:pt x="1466548" y="1237954"/>
                  <a:pt x="1466548" y="1237954"/>
                  <a:pt x="1466652" y="1239657"/>
                </a:cubicBezTo>
                <a:cubicBezTo>
                  <a:pt x="1465722" y="1239038"/>
                  <a:pt x="1461076" y="1237024"/>
                  <a:pt x="1462005" y="1236095"/>
                </a:cubicBezTo>
                <a:close/>
                <a:moveTo>
                  <a:pt x="1585603" y="1235475"/>
                </a:moveTo>
                <a:cubicBezTo>
                  <a:pt x="1589630" y="1233926"/>
                  <a:pt x="1598097" y="1238263"/>
                  <a:pt x="1599026" y="1243375"/>
                </a:cubicBezTo>
                <a:cubicBezTo>
                  <a:pt x="1599233" y="1244304"/>
                  <a:pt x="1599130" y="1245234"/>
                  <a:pt x="1598820" y="1246008"/>
                </a:cubicBezTo>
                <a:lnTo>
                  <a:pt x="1597994" y="1247402"/>
                </a:lnTo>
                <a:lnTo>
                  <a:pt x="1601504" y="1252359"/>
                </a:lnTo>
                <a:cubicBezTo>
                  <a:pt x="1602227" y="1254063"/>
                  <a:pt x="1602433" y="1254992"/>
                  <a:pt x="1602433" y="1254992"/>
                </a:cubicBezTo>
                <a:cubicBezTo>
                  <a:pt x="1597684" y="1261963"/>
                  <a:pt x="1590972" y="1260259"/>
                  <a:pt x="1585190" y="1257161"/>
                </a:cubicBezTo>
                <a:lnTo>
                  <a:pt x="1584673" y="1258090"/>
                </a:lnTo>
                <a:cubicBezTo>
                  <a:pt x="1584364" y="1258555"/>
                  <a:pt x="1584054" y="1258865"/>
                  <a:pt x="1584054" y="1258865"/>
                </a:cubicBezTo>
                <a:cubicBezTo>
                  <a:pt x="1582918" y="1258400"/>
                  <a:pt x="1582815" y="1258400"/>
                  <a:pt x="1583641" y="1258090"/>
                </a:cubicBezTo>
                <a:cubicBezTo>
                  <a:pt x="1583641" y="1257161"/>
                  <a:pt x="1583744" y="1257006"/>
                  <a:pt x="1583951" y="1256851"/>
                </a:cubicBezTo>
                <a:lnTo>
                  <a:pt x="1584054" y="1256541"/>
                </a:lnTo>
                <a:lnTo>
                  <a:pt x="1579924" y="1254063"/>
                </a:lnTo>
                <a:cubicBezTo>
                  <a:pt x="1576516" y="1251894"/>
                  <a:pt x="1573109" y="1249416"/>
                  <a:pt x="1572593" y="1246782"/>
                </a:cubicBezTo>
                <a:cubicBezTo>
                  <a:pt x="1572489" y="1245853"/>
                  <a:pt x="1572696" y="1244924"/>
                  <a:pt x="1573212" y="1243995"/>
                </a:cubicBezTo>
                <a:cubicBezTo>
                  <a:pt x="1574864" y="1241361"/>
                  <a:pt x="1577755" y="1239657"/>
                  <a:pt x="1581060" y="1239193"/>
                </a:cubicBezTo>
                <a:lnTo>
                  <a:pt x="1583951" y="1239347"/>
                </a:lnTo>
                <a:lnTo>
                  <a:pt x="1583951" y="1239193"/>
                </a:lnTo>
                <a:lnTo>
                  <a:pt x="1584157" y="1238728"/>
                </a:lnTo>
                <a:lnTo>
                  <a:pt x="1583744" y="1238418"/>
                </a:lnTo>
                <a:cubicBezTo>
                  <a:pt x="1582712" y="1237644"/>
                  <a:pt x="1581782" y="1236869"/>
                  <a:pt x="1582299" y="1236405"/>
                </a:cubicBezTo>
                <a:cubicBezTo>
                  <a:pt x="1582299" y="1236405"/>
                  <a:pt x="1583125" y="1237179"/>
                  <a:pt x="1583951" y="1238109"/>
                </a:cubicBezTo>
                <a:lnTo>
                  <a:pt x="1584467" y="1237954"/>
                </a:lnTo>
                <a:close/>
                <a:moveTo>
                  <a:pt x="3970461" y="1235321"/>
                </a:moveTo>
                <a:cubicBezTo>
                  <a:pt x="3971528" y="1236601"/>
                  <a:pt x="3971528" y="1235321"/>
                  <a:pt x="3972595" y="1235463"/>
                </a:cubicBezTo>
                <a:cubicBezTo>
                  <a:pt x="3971528" y="1236601"/>
                  <a:pt x="3971742" y="1240300"/>
                  <a:pt x="3970675" y="1242719"/>
                </a:cubicBezTo>
                <a:cubicBezTo>
                  <a:pt x="3969607" y="1242719"/>
                  <a:pt x="3968540" y="1243857"/>
                  <a:pt x="3967473" y="1243857"/>
                </a:cubicBezTo>
                <a:cubicBezTo>
                  <a:pt x="3967473" y="1242576"/>
                  <a:pt x="3966192" y="1240016"/>
                  <a:pt x="3967260" y="1240158"/>
                </a:cubicBezTo>
                <a:cubicBezTo>
                  <a:pt x="3967260" y="1238878"/>
                  <a:pt x="3969394" y="1239020"/>
                  <a:pt x="3969394" y="1239020"/>
                </a:cubicBezTo>
                <a:cubicBezTo>
                  <a:pt x="3969394" y="1237739"/>
                  <a:pt x="3969394" y="1236459"/>
                  <a:pt x="3970461" y="1235321"/>
                </a:cubicBezTo>
                <a:close/>
                <a:moveTo>
                  <a:pt x="4924661" y="1234040"/>
                </a:moveTo>
                <a:cubicBezTo>
                  <a:pt x="4925514" y="1233898"/>
                  <a:pt x="4926582" y="1234040"/>
                  <a:pt x="4927435" y="1234609"/>
                </a:cubicBezTo>
                <a:cubicBezTo>
                  <a:pt x="4929782" y="1235606"/>
                  <a:pt x="4929142" y="1238166"/>
                  <a:pt x="4927222" y="1240585"/>
                </a:cubicBezTo>
                <a:cubicBezTo>
                  <a:pt x="4924661" y="1246845"/>
                  <a:pt x="4921246" y="1248267"/>
                  <a:pt x="4917404" y="1244853"/>
                </a:cubicBezTo>
                <a:cubicBezTo>
                  <a:pt x="4917191" y="1243715"/>
                  <a:pt x="4917831" y="1240016"/>
                  <a:pt x="4916764" y="1240158"/>
                </a:cubicBezTo>
                <a:cubicBezTo>
                  <a:pt x="4918898" y="1237313"/>
                  <a:pt x="4921673" y="1234325"/>
                  <a:pt x="4924661" y="1234040"/>
                </a:cubicBezTo>
                <a:close/>
                <a:moveTo>
                  <a:pt x="4282267" y="1233044"/>
                </a:moveTo>
                <a:cubicBezTo>
                  <a:pt x="4284401" y="1234467"/>
                  <a:pt x="4286749" y="1235748"/>
                  <a:pt x="4288029" y="1237313"/>
                </a:cubicBezTo>
                <a:lnTo>
                  <a:pt x="4288243" y="1237881"/>
                </a:lnTo>
                <a:lnTo>
                  <a:pt x="4290377" y="1237455"/>
                </a:lnTo>
                <a:cubicBezTo>
                  <a:pt x="4291871" y="1237455"/>
                  <a:pt x="4293151" y="1237881"/>
                  <a:pt x="4294645" y="1238735"/>
                </a:cubicBezTo>
                <a:cubicBezTo>
                  <a:pt x="4296353" y="1250970"/>
                  <a:pt x="4282480" y="1255807"/>
                  <a:pt x="4277572" y="1249690"/>
                </a:cubicBezTo>
                <a:cubicBezTo>
                  <a:pt x="4276078" y="1247556"/>
                  <a:pt x="4275438" y="1244284"/>
                  <a:pt x="4276718" y="1239731"/>
                </a:cubicBezTo>
                <a:lnTo>
                  <a:pt x="4281413" y="1239020"/>
                </a:lnTo>
                <a:lnTo>
                  <a:pt x="4280986" y="1237313"/>
                </a:lnTo>
                <a:cubicBezTo>
                  <a:pt x="4280986" y="1236032"/>
                  <a:pt x="4281413" y="1234609"/>
                  <a:pt x="4282267" y="1233044"/>
                </a:cubicBezTo>
                <a:close/>
                <a:moveTo>
                  <a:pt x="1652719" y="1232378"/>
                </a:moveTo>
                <a:cubicBezTo>
                  <a:pt x="1657056" y="1230518"/>
                  <a:pt x="1661496" y="1230054"/>
                  <a:pt x="1664284" y="1234236"/>
                </a:cubicBezTo>
                <a:cubicBezTo>
                  <a:pt x="1659328" y="1236250"/>
                  <a:pt x="1644975" y="1245234"/>
                  <a:pt x="1641361" y="1238728"/>
                </a:cubicBezTo>
                <a:cubicBezTo>
                  <a:pt x="1643942" y="1237334"/>
                  <a:pt x="1648279" y="1234081"/>
                  <a:pt x="1652719" y="1232378"/>
                </a:cubicBezTo>
                <a:close/>
                <a:moveTo>
                  <a:pt x="1157503" y="1232067"/>
                </a:moveTo>
                <a:cubicBezTo>
                  <a:pt x="1158535" y="1231758"/>
                  <a:pt x="1159671" y="1231913"/>
                  <a:pt x="1161013" y="1232532"/>
                </a:cubicBezTo>
                <a:cubicBezTo>
                  <a:pt x="1158329" y="1233926"/>
                  <a:pt x="1157399" y="1234546"/>
                  <a:pt x="1154715" y="1233462"/>
                </a:cubicBezTo>
                <a:cubicBezTo>
                  <a:pt x="1155644" y="1232687"/>
                  <a:pt x="1156573" y="1232223"/>
                  <a:pt x="1157503" y="1232067"/>
                </a:cubicBezTo>
                <a:close/>
                <a:moveTo>
                  <a:pt x="1453848" y="1231448"/>
                </a:moveTo>
                <a:cubicBezTo>
                  <a:pt x="1454777" y="1232223"/>
                  <a:pt x="1454777" y="1232997"/>
                  <a:pt x="1455706" y="1233771"/>
                </a:cubicBezTo>
                <a:cubicBezTo>
                  <a:pt x="1456532" y="1233617"/>
                  <a:pt x="1458288" y="1233307"/>
                  <a:pt x="1459217" y="1234081"/>
                </a:cubicBezTo>
                <a:cubicBezTo>
                  <a:pt x="1460043" y="1234701"/>
                  <a:pt x="1461076" y="1236250"/>
                  <a:pt x="1461076" y="1236250"/>
                </a:cubicBezTo>
                <a:cubicBezTo>
                  <a:pt x="1460250" y="1237334"/>
                  <a:pt x="1460250" y="1237334"/>
                  <a:pt x="1460250" y="1236405"/>
                </a:cubicBezTo>
                <a:cubicBezTo>
                  <a:pt x="1458494" y="1235940"/>
                  <a:pt x="1459320" y="1235785"/>
                  <a:pt x="1458391" y="1235011"/>
                </a:cubicBezTo>
                <a:cubicBezTo>
                  <a:pt x="1457462" y="1234391"/>
                  <a:pt x="1453125" y="1233307"/>
                  <a:pt x="1452299" y="1234236"/>
                </a:cubicBezTo>
                <a:cubicBezTo>
                  <a:pt x="1452196" y="1233307"/>
                  <a:pt x="1451266" y="1232687"/>
                  <a:pt x="1451266" y="1232687"/>
                </a:cubicBezTo>
                <a:cubicBezTo>
                  <a:pt x="1452093" y="1231758"/>
                  <a:pt x="1452919" y="1231603"/>
                  <a:pt x="1453848" y="1231448"/>
                </a:cubicBezTo>
                <a:close/>
                <a:moveTo>
                  <a:pt x="1574761" y="1230983"/>
                </a:moveTo>
                <a:cubicBezTo>
                  <a:pt x="1575587" y="1231758"/>
                  <a:pt x="1575484" y="1232687"/>
                  <a:pt x="1576310" y="1233462"/>
                </a:cubicBezTo>
                <a:cubicBezTo>
                  <a:pt x="1577239" y="1233307"/>
                  <a:pt x="1578994" y="1233307"/>
                  <a:pt x="1579820" y="1234081"/>
                </a:cubicBezTo>
                <a:cubicBezTo>
                  <a:pt x="1580543" y="1234856"/>
                  <a:pt x="1581369" y="1236560"/>
                  <a:pt x="1581369" y="1236560"/>
                </a:cubicBezTo>
                <a:cubicBezTo>
                  <a:pt x="1580440" y="1237334"/>
                  <a:pt x="1580543" y="1237489"/>
                  <a:pt x="1580543" y="1236560"/>
                </a:cubicBezTo>
                <a:cubicBezTo>
                  <a:pt x="1578891" y="1235785"/>
                  <a:pt x="1579717" y="1235785"/>
                  <a:pt x="1578891" y="1235011"/>
                </a:cubicBezTo>
                <a:cubicBezTo>
                  <a:pt x="1578065" y="1234236"/>
                  <a:pt x="1573832" y="1232687"/>
                  <a:pt x="1572902" y="1233617"/>
                </a:cubicBezTo>
                <a:cubicBezTo>
                  <a:pt x="1573005" y="1232687"/>
                  <a:pt x="1572179" y="1231913"/>
                  <a:pt x="1572179" y="1231913"/>
                </a:cubicBezTo>
                <a:cubicBezTo>
                  <a:pt x="1573109" y="1231138"/>
                  <a:pt x="1573832" y="1230983"/>
                  <a:pt x="1574761" y="1230983"/>
                </a:cubicBezTo>
                <a:close/>
                <a:moveTo>
                  <a:pt x="1437843" y="1230674"/>
                </a:moveTo>
                <a:cubicBezTo>
                  <a:pt x="1438669" y="1232687"/>
                  <a:pt x="1438772" y="1234701"/>
                  <a:pt x="1438463" y="1236869"/>
                </a:cubicBezTo>
                <a:lnTo>
                  <a:pt x="1436604" y="1242445"/>
                </a:lnTo>
                <a:lnTo>
                  <a:pt x="1439598" y="1241981"/>
                </a:lnTo>
                <a:cubicBezTo>
                  <a:pt x="1440941" y="1241981"/>
                  <a:pt x="1442180" y="1242291"/>
                  <a:pt x="1443006" y="1243220"/>
                </a:cubicBezTo>
                <a:cubicBezTo>
                  <a:pt x="1443006" y="1243220"/>
                  <a:pt x="1443006" y="1243220"/>
                  <a:pt x="1443832" y="1243995"/>
                </a:cubicBezTo>
                <a:cubicBezTo>
                  <a:pt x="1442593" y="1243995"/>
                  <a:pt x="1441044" y="1243840"/>
                  <a:pt x="1439702" y="1243530"/>
                </a:cubicBezTo>
                <a:lnTo>
                  <a:pt x="1436501" y="1242601"/>
                </a:lnTo>
                <a:lnTo>
                  <a:pt x="1436398" y="1242911"/>
                </a:lnTo>
                <a:cubicBezTo>
                  <a:pt x="1434436" y="1246782"/>
                  <a:pt x="1431441" y="1250190"/>
                  <a:pt x="1428963" y="1252204"/>
                </a:cubicBezTo>
                <a:cubicBezTo>
                  <a:pt x="1428240" y="1250190"/>
                  <a:pt x="1428034" y="1248022"/>
                  <a:pt x="1428240" y="1245853"/>
                </a:cubicBezTo>
                <a:cubicBezTo>
                  <a:pt x="1428963" y="1239193"/>
                  <a:pt x="1433506" y="1232687"/>
                  <a:pt x="1437843" y="1230674"/>
                </a:cubicBezTo>
                <a:close/>
                <a:moveTo>
                  <a:pt x="3508194" y="1230484"/>
                </a:moveTo>
                <a:cubicBezTo>
                  <a:pt x="3509474" y="1230626"/>
                  <a:pt x="3510755" y="1231195"/>
                  <a:pt x="3511182" y="1231906"/>
                </a:cubicBezTo>
                <a:cubicBezTo>
                  <a:pt x="3512248" y="1233187"/>
                  <a:pt x="3512248" y="1234325"/>
                  <a:pt x="3512248" y="1234325"/>
                </a:cubicBezTo>
                <a:cubicBezTo>
                  <a:pt x="3509688" y="1237455"/>
                  <a:pt x="3506060" y="1239304"/>
                  <a:pt x="3502858" y="1235178"/>
                </a:cubicBezTo>
                <a:cubicBezTo>
                  <a:pt x="3501791" y="1233898"/>
                  <a:pt x="3500724" y="1232618"/>
                  <a:pt x="3502005" y="1232760"/>
                </a:cubicBezTo>
                <a:cubicBezTo>
                  <a:pt x="3502005" y="1231622"/>
                  <a:pt x="3503072" y="1231622"/>
                  <a:pt x="3504352" y="1230626"/>
                </a:cubicBezTo>
                <a:cubicBezTo>
                  <a:pt x="3505420" y="1230341"/>
                  <a:pt x="3506913" y="1230199"/>
                  <a:pt x="3508194" y="1230484"/>
                </a:cubicBezTo>
                <a:close/>
                <a:moveTo>
                  <a:pt x="4432728" y="1230199"/>
                </a:moveTo>
                <a:cubicBezTo>
                  <a:pt x="4434862" y="1232049"/>
                  <a:pt x="4436143" y="1233329"/>
                  <a:pt x="4436570" y="1234894"/>
                </a:cubicBezTo>
                <a:cubicBezTo>
                  <a:pt x="4436997" y="1236316"/>
                  <a:pt x="4436570" y="1238166"/>
                  <a:pt x="4435076" y="1241154"/>
                </a:cubicBezTo>
                <a:cubicBezTo>
                  <a:pt x="4435076" y="1241154"/>
                  <a:pt x="4433795" y="1242292"/>
                  <a:pt x="4433795" y="1242292"/>
                </a:cubicBezTo>
                <a:lnTo>
                  <a:pt x="4427819" y="1246560"/>
                </a:lnTo>
                <a:lnTo>
                  <a:pt x="4427393" y="1249690"/>
                </a:lnTo>
                <a:cubicBezTo>
                  <a:pt x="4425685" y="1250401"/>
                  <a:pt x="4424191" y="1250544"/>
                  <a:pt x="4422697" y="1250259"/>
                </a:cubicBezTo>
                <a:lnTo>
                  <a:pt x="4420350" y="1249121"/>
                </a:lnTo>
                <a:lnTo>
                  <a:pt x="4418216" y="1248694"/>
                </a:lnTo>
                <a:lnTo>
                  <a:pt x="4418216" y="1247698"/>
                </a:lnTo>
                <a:lnTo>
                  <a:pt x="4414374" y="1239873"/>
                </a:lnTo>
                <a:cubicBezTo>
                  <a:pt x="4414374" y="1237881"/>
                  <a:pt x="4414801" y="1235748"/>
                  <a:pt x="4416295" y="1234040"/>
                </a:cubicBezTo>
                <a:cubicBezTo>
                  <a:pt x="4418429" y="1233044"/>
                  <a:pt x="4420350" y="1233044"/>
                  <a:pt x="4422057" y="1233756"/>
                </a:cubicBezTo>
                <a:lnTo>
                  <a:pt x="4424191" y="1235606"/>
                </a:lnTo>
                <a:lnTo>
                  <a:pt x="4426752" y="1233756"/>
                </a:lnTo>
                <a:cubicBezTo>
                  <a:pt x="4428673" y="1232902"/>
                  <a:pt x="4430807" y="1232049"/>
                  <a:pt x="4432728" y="1230199"/>
                </a:cubicBezTo>
                <a:close/>
                <a:moveTo>
                  <a:pt x="1561547" y="1229998"/>
                </a:moveTo>
                <a:cubicBezTo>
                  <a:pt x="1563332" y="1229260"/>
                  <a:pt x="1565313" y="1229667"/>
                  <a:pt x="1567430" y="1231913"/>
                </a:cubicBezTo>
                <a:cubicBezTo>
                  <a:pt x="1562886" y="1239038"/>
                  <a:pt x="1562370" y="1247557"/>
                  <a:pt x="1558137" y="1249416"/>
                </a:cubicBezTo>
                <a:lnTo>
                  <a:pt x="1552664" y="1248951"/>
                </a:lnTo>
                <a:lnTo>
                  <a:pt x="1552664" y="1250655"/>
                </a:lnTo>
                <a:cubicBezTo>
                  <a:pt x="1552664" y="1250655"/>
                  <a:pt x="1552354" y="1251739"/>
                  <a:pt x="1551941" y="1252824"/>
                </a:cubicBezTo>
                <a:cubicBezTo>
                  <a:pt x="1551941" y="1252824"/>
                  <a:pt x="1552251" y="1253598"/>
                  <a:pt x="1552664" y="1254373"/>
                </a:cubicBezTo>
                <a:cubicBezTo>
                  <a:pt x="1552251" y="1257161"/>
                  <a:pt x="1552354" y="1259175"/>
                  <a:pt x="1548843" y="1259484"/>
                </a:cubicBezTo>
                <a:cubicBezTo>
                  <a:pt x="1548534" y="1258710"/>
                  <a:pt x="1549257" y="1256696"/>
                  <a:pt x="1549669" y="1255612"/>
                </a:cubicBezTo>
                <a:cubicBezTo>
                  <a:pt x="1549257" y="1254837"/>
                  <a:pt x="1549669" y="1253753"/>
                  <a:pt x="1550393" y="1253443"/>
                </a:cubicBezTo>
                <a:cubicBezTo>
                  <a:pt x="1550393" y="1253443"/>
                  <a:pt x="1550805" y="1252359"/>
                  <a:pt x="1550393" y="1251585"/>
                </a:cubicBezTo>
                <a:cubicBezTo>
                  <a:pt x="1550805" y="1250500"/>
                  <a:pt x="1551218" y="1249880"/>
                  <a:pt x="1551528" y="1249416"/>
                </a:cubicBezTo>
                <a:lnTo>
                  <a:pt x="1552561" y="1248951"/>
                </a:lnTo>
                <a:lnTo>
                  <a:pt x="1552458" y="1248796"/>
                </a:lnTo>
                <a:cubicBezTo>
                  <a:pt x="1552612" y="1244730"/>
                  <a:pt x="1556194" y="1232213"/>
                  <a:pt x="1561547" y="1229998"/>
                </a:cubicBezTo>
                <a:close/>
                <a:moveTo>
                  <a:pt x="3988175" y="1229488"/>
                </a:moveTo>
                <a:cubicBezTo>
                  <a:pt x="3989242" y="1229488"/>
                  <a:pt x="3990096" y="1229772"/>
                  <a:pt x="3991162" y="1230484"/>
                </a:cubicBezTo>
                <a:cubicBezTo>
                  <a:pt x="3993510" y="1231764"/>
                  <a:pt x="3992443" y="1234040"/>
                  <a:pt x="3990096" y="1236316"/>
                </a:cubicBezTo>
                <a:cubicBezTo>
                  <a:pt x="3986894" y="1242292"/>
                  <a:pt x="3983479" y="1243288"/>
                  <a:pt x="3979851" y="1239446"/>
                </a:cubicBezTo>
                <a:cubicBezTo>
                  <a:pt x="3979851" y="1238308"/>
                  <a:pt x="3980918" y="1234751"/>
                  <a:pt x="3979638" y="1234751"/>
                </a:cubicBezTo>
                <a:cubicBezTo>
                  <a:pt x="3982199" y="1232049"/>
                  <a:pt x="3985400" y="1229630"/>
                  <a:pt x="3988175" y="1229488"/>
                </a:cubicBezTo>
                <a:close/>
                <a:moveTo>
                  <a:pt x="3707528" y="1229203"/>
                </a:moveTo>
                <a:lnTo>
                  <a:pt x="3712223" y="1231906"/>
                </a:lnTo>
                <a:lnTo>
                  <a:pt x="3715851" y="1232191"/>
                </a:lnTo>
                <a:cubicBezTo>
                  <a:pt x="3717985" y="1231053"/>
                  <a:pt x="3721400" y="1231195"/>
                  <a:pt x="3723747" y="1232618"/>
                </a:cubicBezTo>
                <a:cubicBezTo>
                  <a:pt x="3726095" y="1235036"/>
                  <a:pt x="3726309" y="1237313"/>
                  <a:pt x="3725242" y="1238451"/>
                </a:cubicBezTo>
                <a:cubicBezTo>
                  <a:pt x="3717559" y="1248836"/>
                  <a:pt x="3707314" y="1243715"/>
                  <a:pt x="3704967" y="1244711"/>
                </a:cubicBezTo>
                <a:cubicBezTo>
                  <a:pt x="3702405" y="1242007"/>
                  <a:pt x="3701552" y="1241296"/>
                  <a:pt x="3703686" y="1238166"/>
                </a:cubicBezTo>
                <a:lnTo>
                  <a:pt x="3706034" y="1235178"/>
                </a:lnTo>
                <a:lnTo>
                  <a:pt x="3704113" y="1232618"/>
                </a:lnTo>
                <a:cubicBezTo>
                  <a:pt x="3705394" y="1231480"/>
                  <a:pt x="3706461" y="1230341"/>
                  <a:pt x="3707528" y="1229203"/>
                </a:cubicBezTo>
                <a:close/>
                <a:moveTo>
                  <a:pt x="1347184" y="1228814"/>
                </a:moveTo>
                <a:cubicBezTo>
                  <a:pt x="1349043" y="1230209"/>
                  <a:pt x="1352657" y="1231448"/>
                  <a:pt x="1351934" y="1234856"/>
                </a:cubicBezTo>
                <a:cubicBezTo>
                  <a:pt x="1350592" y="1233771"/>
                  <a:pt x="1347701" y="1232067"/>
                  <a:pt x="1346977" y="1230364"/>
                </a:cubicBezTo>
                <a:cubicBezTo>
                  <a:pt x="1346771" y="1229899"/>
                  <a:pt x="1346771" y="1229279"/>
                  <a:pt x="1347184" y="1228814"/>
                </a:cubicBezTo>
                <a:close/>
                <a:moveTo>
                  <a:pt x="1472640" y="1228505"/>
                </a:moveTo>
                <a:cubicBezTo>
                  <a:pt x="1478113" y="1230054"/>
                  <a:pt x="1495976" y="1232223"/>
                  <a:pt x="1494737" y="1239193"/>
                </a:cubicBezTo>
                <a:cubicBezTo>
                  <a:pt x="1488542" y="1237954"/>
                  <a:pt x="1471814" y="1237954"/>
                  <a:pt x="1472640" y="1228505"/>
                </a:cubicBezTo>
                <a:close/>
                <a:moveTo>
                  <a:pt x="4790633" y="1227639"/>
                </a:moveTo>
                <a:cubicBezTo>
                  <a:pt x="4792127" y="1229914"/>
                  <a:pt x="4794261" y="1231195"/>
                  <a:pt x="4795755" y="1233471"/>
                </a:cubicBezTo>
                <a:cubicBezTo>
                  <a:pt x="4795542" y="1237597"/>
                  <a:pt x="4789139" y="1242861"/>
                  <a:pt x="4784657" y="1241438"/>
                </a:cubicBezTo>
                <a:cubicBezTo>
                  <a:pt x="4783164" y="1241012"/>
                  <a:pt x="4781883" y="1239873"/>
                  <a:pt x="4781029" y="1237597"/>
                </a:cubicBezTo>
                <a:cubicBezTo>
                  <a:pt x="4779322" y="1230910"/>
                  <a:pt x="4784444" y="1228919"/>
                  <a:pt x="4790633" y="1227639"/>
                </a:cubicBezTo>
                <a:close/>
                <a:moveTo>
                  <a:pt x="4154002" y="1227639"/>
                </a:moveTo>
                <a:cubicBezTo>
                  <a:pt x="4160191" y="1228492"/>
                  <a:pt x="4163392" y="1238024"/>
                  <a:pt x="4160831" y="1242576"/>
                </a:cubicBezTo>
                <a:cubicBezTo>
                  <a:pt x="4159978" y="1244142"/>
                  <a:pt x="4158484" y="1245137"/>
                  <a:pt x="4156136" y="1244995"/>
                </a:cubicBezTo>
                <a:cubicBezTo>
                  <a:pt x="4149947" y="1240585"/>
                  <a:pt x="4154429" y="1235321"/>
                  <a:pt x="4154002" y="1227639"/>
                </a:cubicBezTo>
                <a:close/>
                <a:moveTo>
                  <a:pt x="3764511" y="1227354"/>
                </a:moveTo>
                <a:cubicBezTo>
                  <a:pt x="3767499" y="1229914"/>
                  <a:pt x="3769419" y="1232333"/>
                  <a:pt x="3770700" y="1234467"/>
                </a:cubicBezTo>
                <a:cubicBezTo>
                  <a:pt x="3779450" y="1249406"/>
                  <a:pt x="3749998" y="1251539"/>
                  <a:pt x="3749145" y="1242434"/>
                </a:cubicBezTo>
                <a:cubicBezTo>
                  <a:pt x="3748931" y="1239020"/>
                  <a:pt x="3752772" y="1233898"/>
                  <a:pt x="3764511" y="1227354"/>
                </a:cubicBezTo>
                <a:close/>
                <a:moveTo>
                  <a:pt x="1522204" y="1227266"/>
                </a:moveTo>
                <a:lnTo>
                  <a:pt x="1521791" y="1227421"/>
                </a:lnTo>
                <a:lnTo>
                  <a:pt x="1521997" y="1228970"/>
                </a:lnTo>
                <a:close/>
                <a:moveTo>
                  <a:pt x="3669966" y="1226927"/>
                </a:moveTo>
                <a:cubicBezTo>
                  <a:pt x="3671033" y="1226785"/>
                  <a:pt x="3671460" y="1227354"/>
                  <a:pt x="3671673" y="1228207"/>
                </a:cubicBezTo>
                <a:cubicBezTo>
                  <a:pt x="3671673" y="1229061"/>
                  <a:pt x="3671460" y="1230341"/>
                  <a:pt x="3671673" y="1231622"/>
                </a:cubicBezTo>
                <a:lnTo>
                  <a:pt x="3666978" y="1230341"/>
                </a:lnTo>
                <a:cubicBezTo>
                  <a:pt x="3667192" y="1228634"/>
                  <a:pt x="3668259" y="1226358"/>
                  <a:pt x="3669966" y="1226927"/>
                </a:cubicBezTo>
                <a:close/>
                <a:moveTo>
                  <a:pt x="1298550" y="1226646"/>
                </a:moveTo>
                <a:cubicBezTo>
                  <a:pt x="1299686" y="1226801"/>
                  <a:pt x="1302577" y="1227885"/>
                  <a:pt x="1301855" y="1228350"/>
                </a:cubicBezTo>
                <a:cubicBezTo>
                  <a:pt x="1301545" y="1229589"/>
                  <a:pt x="1302164" y="1229124"/>
                  <a:pt x="1302681" y="1229744"/>
                </a:cubicBezTo>
                <a:cubicBezTo>
                  <a:pt x="1301751" y="1233307"/>
                  <a:pt x="1299996" y="1235321"/>
                  <a:pt x="1296898" y="1235475"/>
                </a:cubicBezTo>
                <a:cubicBezTo>
                  <a:pt x="1294524" y="1235166"/>
                  <a:pt x="1291013" y="1234546"/>
                  <a:pt x="1291116" y="1231603"/>
                </a:cubicBezTo>
                <a:cubicBezTo>
                  <a:pt x="1291839" y="1230983"/>
                  <a:pt x="1291426" y="1230364"/>
                  <a:pt x="1292149" y="1229899"/>
                </a:cubicBezTo>
                <a:cubicBezTo>
                  <a:pt x="1292149" y="1229899"/>
                  <a:pt x="1292665" y="1229124"/>
                  <a:pt x="1293698" y="1228195"/>
                </a:cubicBezTo>
                <a:cubicBezTo>
                  <a:pt x="1294730" y="1227421"/>
                  <a:pt x="1296382" y="1226646"/>
                  <a:pt x="1298550" y="1226646"/>
                </a:cubicBezTo>
                <a:close/>
                <a:moveTo>
                  <a:pt x="3651398" y="1226358"/>
                </a:moveTo>
                <a:cubicBezTo>
                  <a:pt x="3652679" y="1226358"/>
                  <a:pt x="3654173" y="1227212"/>
                  <a:pt x="3656093" y="1228350"/>
                </a:cubicBezTo>
                <a:cubicBezTo>
                  <a:pt x="3660149" y="1230484"/>
                  <a:pt x="3659295" y="1234183"/>
                  <a:pt x="3662069" y="1236459"/>
                </a:cubicBezTo>
                <a:cubicBezTo>
                  <a:pt x="3659935" y="1237881"/>
                  <a:pt x="3656734" y="1240443"/>
                  <a:pt x="3651398" y="1237028"/>
                </a:cubicBezTo>
                <a:cubicBezTo>
                  <a:pt x="3650118" y="1235890"/>
                  <a:pt x="3650118" y="1236032"/>
                  <a:pt x="3649904" y="1234751"/>
                </a:cubicBezTo>
                <a:cubicBezTo>
                  <a:pt x="3648411" y="1232476"/>
                  <a:pt x="3647130" y="1231337"/>
                  <a:pt x="3647983" y="1228777"/>
                </a:cubicBezTo>
                <a:cubicBezTo>
                  <a:pt x="3648837" y="1226927"/>
                  <a:pt x="3649904" y="1226215"/>
                  <a:pt x="3651398" y="1226358"/>
                </a:cubicBezTo>
                <a:close/>
                <a:moveTo>
                  <a:pt x="4631208" y="1226215"/>
                </a:moveTo>
                <a:cubicBezTo>
                  <a:pt x="4631208" y="1226215"/>
                  <a:pt x="4632062" y="1227212"/>
                  <a:pt x="4632062" y="1227212"/>
                </a:cubicBezTo>
                <a:cubicBezTo>
                  <a:pt x="4632489" y="1226927"/>
                  <a:pt x="4632489" y="1226927"/>
                  <a:pt x="4632275" y="1227354"/>
                </a:cubicBezTo>
                <a:cubicBezTo>
                  <a:pt x="4632275" y="1227639"/>
                  <a:pt x="4632275" y="1228492"/>
                  <a:pt x="4632489" y="1229772"/>
                </a:cubicBezTo>
                <a:cubicBezTo>
                  <a:pt x="4632275" y="1231337"/>
                  <a:pt x="4632916" y="1232333"/>
                  <a:pt x="4631208" y="1231906"/>
                </a:cubicBezTo>
                <a:cubicBezTo>
                  <a:pt x="4629715" y="1231480"/>
                  <a:pt x="4629715" y="1231480"/>
                  <a:pt x="4627794" y="1228492"/>
                </a:cubicBezTo>
                <a:cubicBezTo>
                  <a:pt x="4629288" y="1228919"/>
                  <a:pt x="4629501" y="1228919"/>
                  <a:pt x="4629715" y="1227354"/>
                </a:cubicBezTo>
                <a:cubicBezTo>
                  <a:pt x="4629715" y="1227354"/>
                  <a:pt x="4629501" y="1227354"/>
                  <a:pt x="4628861" y="1226358"/>
                </a:cubicBezTo>
                <a:cubicBezTo>
                  <a:pt x="4629715" y="1225789"/>
                  <a:pt x="4630355" y="1226785"/>
                  <a:pt x="4631208" y="1226215"/>
                </a:cubicBezTo>
                <a:close/>
                <a:moveTo>
                  <a:pt x="4049853" y="1226215"/>
                </a:moveTo>
                <a:cubicBezTo>
                  <a:pt x="4067140" y="1237313"/>
                  <a:pt x="4071195" y="1262210"/>
                  <a:pt x="4078878" y="1282838"/>
                </a:cubicBezTo>
                <a:cubicBezTo>
                  <a:pt x="4074823" y="1282981"/>
                  <a:pt x="4072902" y="1286111"/>
                  <a:pt x="4066500" y="1285115"/>
                </a:cubicBezTo>
                <a:cubicBezTo>
                  <a:pt x="4062018" y="1263490"/>
                  <a:pt x="4052841" y="1244284"/>
                  <a:pt x="4049853" y="1226215"/>
                </a:cubicBezTo>
                <a:close/>
                <a:moveTo>
                  <a:pt x="1176089" y="1225097"/>
                </a:moveTo>
                <a:lnTo>
                  <a:pt x="1180219" y="1228970"/>
                </a:lnTo>
                <a:lnTo>
                  <a:pt x="1180941" y="1228814"/>
                </a:lnTo>
                <a:cubicBezTo>
                  <a:pt x="1183626" y="1229434"/>
                  <a:pt x="1184556" y="1234236"/>
                  <a:pt x="1183317" y="1237179"/>
                </a:cubicBezTo>
                <a:lnTo>
                  <a:pt x="1182181" y="1238883"/>
                </a:lnTo>
                <a:lnTo>
                  <a:pt x="1182181" y="1239193"/>
                </a:lnTo>
                <a:cubicBezTo>
                  <a:pt x="1179702" y="1241981"/>
                  <a:pt x="1179702" y="1241981"/>
                  <a:pt x="1174230" y="1238573"/>
                </a:cubicBezTo>
                <a:cubicBezTo>
                  <a:pt x="1173404" y="1237954"/>
                  <a:pt x="1172681" y="1237024"/>
                  <a:pt x="1172268" y="1235940"/>
                </a:cubicBezTo>
                <a:cubicBezTo>
                  <a:pt x="1171855" y="1234856"/>
                  <a:pt x="1171855" y="1233617"/>
                  <a:pt x="1172165" y="1232223"/>
                </a:cubicBezTo>
                <a:cubicBezTo>
                  <a:pt x="1171752" y="1231448"/>
                  <a:pt x="1171442" y="1230518"/>
                  <a:pt x="1171339" y="1229434"/>
                </a:cubicBezTo>
                <a:cubicBezTo>
                  <a:pt x="1171339" y="1228505"/>
                  <a:pt x="1171442" y="1227421"/>
                  <a:pt x="1171855" y="1226491"/>
                </a:cubicBezTo>
                <a:cubicBezTo>
                  <a:pt x="1173507" y="1224633"/>
                  <a:pt x="1175263" y="1224323"/>
                  <a:pt x="1176089" y="1225097"/>
                </a:cubicBezTo>
                <a:close/>
                <a:moveTo>
                  <a:pt x="1313523" y="1224633"/>
                </a:moveTo>
                <a:cubicBezTo>
                  <a:pt x="1316310" y="1226336"/>
                  <a:pt x="1320441" y="1224478"/>
                  <a:pt x="1320854" y="1229744"/>
                </a:cubicBezTo>
                <a:cubicBezTo>
                  <a:pt x="1317860" y="1234236"/>
                  <a:pt x="1310218" y="1234081"/>
                  <a:pt x="1309186" y="1228505"/>
                </a:cubicBezTo>
                <a:cubicBezTo>
                  <a:pt x="1310838" y="1227421"/>
                  <a:pt x="1311767" y="1225872"/>
                  <a:pt x="1313523" y="1224633"/>
                </a:cubicBezTo>
                <a:close/>
                <a:moveTo>
                  <a:pt x="921020" y="1224439"/>
                </a:moveTo>
                <a:cubicBezTo>
                  <a:pt x="923137" y="1224710"/>
                  <a:pt x="925486" y="1225872"/>
                  <a:pt x="928067" y="1228350"/>
                </a:cubicBezTo>
                <a:cubicBezTo>
                  <a:pt x="929823" y="1229279"/>
                  <a:pt x="928893" y="1229279"/>
                  <a:pt x="929823" y="1230209"/>
                </a:cubicBezTo>
                <a:cubicBezTo>
                  <a:pt x="930649" y="1231138"/>
                  <a:pt x="932300" y="1232067"/>
                  <a:pt x="933230" y="1232223"/>
                </a:cubicBezTo>
                <a:cubicBezTo>
                  <a:pt x="930545" y="1235321"/>
                  <a:pt x="933127" y="1237179"/>
                  <a:pt x="928687" y="1241826"/>
                </a:cubicBezTo>
                <a:cubicBezTo>
                  <a:pt x="923421" y="1248022"/>
                  <a:pt x="917329" y="1245699"/>
                  <a:pt x="913921" y="1242911"/>
                </a:cubicBezTo>
                <a:cubicBezTo>
                  <a:pt x="914540" y="1242291"/>
                  <a:pt x="909894" y="1238263"/>
                  <a:pt x="910204" y="1233462"/>
                </a:cubicBezTo>
                <a:cubicBezTo>
                  <a:pt x="910307" y="1231913"/>
                  <a:pt x="910927" y="1230209"/>
                  <a:pt x="912475" y="1228505"/>
                </a:cubicBezTo>
                <a:cubicBezTo>
                  <a:pt x="913301" y="1227421"/>
                  <a:pt x="914334" y="1226646"/>
                  <a:pt x="915366" y="1225872"/>
                </a:cubicBezTo>
                <a:cubicBezTo>
                  <a:pt x="917019" y="1224787"/>
                  <a:pt x="918903" y="1224168"/>
                  <a:pt x="921020" y="1224439"/>
                </a:cubicBezTo>
                <a:close/>
                <a:moveTo>
                  <a:pt x="1120846" y="1224323"/>
                </a:moveTo>
                <a:cubicBezTo>
                  <a:pt x="1120021" y="1234391"/>
                  <a:pt x="1116820" y="1241826"/>
                  <a:pt x="1111657" y="1246938"/>
                </a:cubicBezTo>
                <a:cubicBezTo>
                  <a:pt x="1109901" y="1248642"/>
                  <a:pt x="1107836" y="1250190"/>
                  <a:pt x="1105668" y="1251430"/>
                </a:cubicBezTo>
                <a:cubicBezTo>
                  <a:pt x="1100918" y="1246163"/>
                  <a:pt x="1105461" y="1240277"/>
                  <a:pt x="1107527" y="1235166"/>
                </a:cubicBezTo>
                <a:cubicBezTo>
                  <a:pt x="1101331" y="1234546"/>
                  <a:pt x="1092141" y="1235166"/>
                  <a:pt x="1091728" y="1228660"/>
                </a:cubicBezTo>
                <a:cubicBezTo>
                  <a:pt x="1092864" y="1227576"/>
                  <a:pt x="1094206" y="1226956"/>
                  <a:pt x="1095652" y="1226646"/>
                </a:cubicBezTo>
                <a:cubicBezTo>
                  <a:pt x="1100092" y="1226027"/>
                  <a:pt x="1105874" y="1228814"/>
                  <a:pt x="1111450" y="1228505"/>
                </a:cubicBezTo>
                <a:cubicBezTo>
                  <a:pt x="1114548" y="1227111"/>
                  <a:pt x="1114135" y="1222929"/>
                  <a:pt x="1120846" y="1224323"/>
                </a:cubicBezTo>
                <a:close/>
                <a:moveTo>
                  <a:pt x="3678716" y="1224082"/>
                </a:moveTo>
                <a:cubicBezTo>
                  <a:pt x="3679356" y="1225077"/>
                  <a:pt x="3680424" y="1224508"/>
                  <a:pt x="3681064" y="1225504"/>
                </a:cubicBezTo>
                <a:cubicBezTo>
                  <a:pt x="3681064" y="1225504"/>
                  <a:pt x="3682131" y="1226215"/>
                  <a:pt x="3683198" y="1227639"/>
                </a:cubicBezTo>
                <a:cubicBezTo>
                  <a:pt x="3684265" y="1229061"/>
                  <a:pt x="3685546" y="1231337"/>
                  <a:pt x="3685546" y="1234325"/>
                </a:cubicBezTo>
                <a:cubicBezTo>
                  <a:pt x="3685119" y="1236032"/>
                  <a:pt x="3683625" y="1239873"/>
                  <a:pt x="3682984" y="1238735"/>
                </a:cubicBezTo>
                <a:cubicBezTo>
                  <a:pt x="3681491" y="1238308"/>
                  <a:pt x="3682131" y="1239446"/>
                  <a:pt x="3681277" y="1240016"/>
                </a:cubicBezTo>
                <a:cubicBezTo>
                  <a:pt x="3676368" y="1238878"/>
                  <a:pt x="3673380" y="1236459"/>
                  <a:pt x="3673167" y="1232049"/>
                </a:cubicBezTo>
                <a:cubicBezTo>
                  <a:pt x="3673808" y="1228777"/>
                  <a:pt x="3674448" y="1223940"/>
                  <a:pt x="3678716" y="1224082"/>
                </a:cubicBezTo>
                <a:close/>
                <a:moveTo>
                  <a:pt x="5041828" y="1223797"/>
                </a:moveTo>
                <a:cubicBezTo>
                  <a:pt x="5043749" y="1225077"/>
                  <a:pt x="5044603" y="1225647"/>
                  <a:pt x="5045883" y="1227923"/>
                </a:cubicBezTo>
                <a:cubicBezTo>
                  <a:pt x="5047163" y="1240585"/>
                  <a:pt x="5040975" y="1243999"/>
                  <a:pt x="5041401" y="1245564"/>
                </a:cubicBezTo>
                <a:cubicBezTo>
                  <a:pt x="5036492" y="1246987"/>
                  <a:pt x="5035852" y="1243572"/>
                  <a:pt x="5033291" y="1239020"/>
                </a:cubicBezTo>
                <a:cubicBezTo>
                  <a:pt x="5034999" y="1238593"/>
                  <a:pt x="5034145" y="1233756"/>
                  <a:pt x="5033932" y="1232049"/>
                </a:cubicBezTo>
                <a:cubicBezTo>
                  <a:pt x="5037133" y="1231195"/>
                  <a:pt x="5036919" y="1225077"/>
                  <a:pt x="5041828" y="1223797"/>
                </a:cubicBezTo>
                <a:close/>
                <a:moveTo>
                  <a:pt x="4406051" y="1223512"/>
                </a:moveTo>
                <a:cubicBezTo>
                  <a:pt x="4407117" y="1223940"/>
                  <a:pt x="4407758" y="1224793"/>
                  <a:pt x="4407972" y="1226073"/>
                </a:cubicBezTo>
                <a:cubicBezTo>
                  <a:pt x="4408612" y="1229772"/>
                  <a:pt x="4405624" y="1235606"/>
                  <a:pt x="4403703" y="1236175"/>
                </a:cubicBezTo>
                <a:cubicBezTo>
                  <a:pt x="4401355" y="1235178"/>
                  <a:pt x="4400502" y="1222374"/>
                  <a:pt x="4406051" y="1223512"/>
                </a:cubicBezTo>
                <a:close/>
                <a:moveTo>
                  <a:pt x="4200741" y="1223370"/>
                </a:moveTo>
                <a:cubicBezTo>
                  <a:pt x="4201381" y="1227639"/>
                  <a:pt x="4192417" y="1232902"/>
                  <a:pt x="4187935" y="1234183"/>
                </a:cubicBezTo>
                <a:cubicBezTo>
                  <a:pt x="4187722" y="1233187"/>
                  <a:pt x="4188149" y="1232049"/>
                  <a:pt x="4189002" y="1230910"/>
                </a:cubicBezTo>
                <a:cubicBezTo>
                  <a:pt x="4191350" y="1227639"/>
                  <a:pt x="4197326" y="1224366"/>
                  <a:pt x="4200741" y="1223370"/>
                </a:cubicBezTo>
                <a:close/>
                <a:moveTo>
                  <a:pt x="1422664" y="1222464"/>
                </a:moveTo>
                <a:cubicBezTo>
                  <a:pt x="1423491" y="1223239"/>
                  <a:pt x="1425349" y="1222464"/>
                  <a:pt x="1426175" y="1223239"/>
                </a:cubicBezTo>
                <a:cubicBezTo>
                  <a:pt x="1426175" y="1223239"/>
                  <a:pt x="1426692" y="1225872"/>
                  <a:pt x="1426692" y="1225872"/>
                </a:cubicBezTo>
                <a:cubicBezTo>
                  <a:pt x="1425762" y="1226646"/>
                  <a:pt x="1425762" y="1226646"/>
                  <a:pt x="1425866" y="1225872"/>
                </a:cubicBezTo>
                <a:cubicBezTo>
                  <a:pt x="1423903" y="1226646"/>
                  <a:pt x="1423077" y="1226646"/>
                  <a:pt x="1422148" y="1226646"/>
                </a:cubicBezTo>
                <a:cubicBezTo>
                  <a:pt x="1421735" y="1226181"/>
                  <a:pt x="1421632" y="1225562"/>
                  <a:pt x="1421735" y="1224788"/>
                </a:cubicBezTo>
                <a:cubicBezTo>
                  <a:pt x="1421838" y="1224013"/>
                  <a:pt x="1422148" y="1223239"/>
                  <a:pt x="1422664" y="1222464"/>
                </a:cubicBezTo>
                <a:close/>
                <a:moveTo>
                  <a:pt x="4017840" y="1222090"/>
                </a:moveTo>
                <a:cubicBezTo>
                  <a:pt x="4017840" y="1222090"/>
                  <a:pt x="4017840" y="1222090"/>
                  <a:pt x="4017414" y="1223085"/>
                </a:cubicBezTo>
                <a:cubicBezTo>
                  <a:pt x="4017414" y="1223085"/>
                  <a:pt x="4017840" y="1222090"/>
                  <a:pt x="4018907" y="1222659"/>
                </a:cubicBezTo>
                <a:cubicBezTo>
                  <a:pt x="4019547" y="1229630"/>
                  <a:pt x="4014639" y="1237455"/>
                  <a:pt x="4013999" y="1238451"/>
                </a:cubicBezTo>
                <a:cubicBezTo>
                  <a:pt x="4013145" y="1237881"/>
                  <a:pt x="4013145" y="1238024"/>
                  <a:pt x="4013145" y="1238024"/>
                </a:cubicBezTo>
                <a:cubicBezTo>
                  <a:pt x="4015279" y="1235321"/>
                  <a:pt x="4014426" y="1230057"/>
                  <a:pt x="4015706" y="1225789"/>
                </a:cubicBezTo>
                <a:cubicBezTo>
                  <a:pt x="4016133" y="1224366"/>
                  <a:pt x="4016773" y="1223085"/>
                  <a:pt x="4017840" y="1222090"/>
                </a:cubicBezTo>
                <a:close/>
                <a:moveTo>
                  <a:pt x="4746028" y="1221663"/>
                </a:moveTo>
                <a:cubicBezTo>
                  <a:pt x="4747949" y="1221378"/>
                  <a:pt x="4750083" y="1221663"/>
                  <a:pt x="4751791" y="1222801"/>
                </a:cubicBezTo>
                <a:cubicBezTo>
                  <a:pt x="4756913" y="1231337"/>
                  <a:pt x="4745601" y="1239162"/>
                  <a:pt x="4738559" y="1236459"/>
                </a:cubicBezTo>
                <a:cubicBezTo>
                  <a:pt x="4734930" y="1230057"/>
                  <a:pt x="4740266" y="1222801"/>
                  <a:pt x="4746028" y="1221663"/>
                </a:cubicBezTo>
                <a:close/>
                <a:moveTo>
                  <a:pt x="4255376" y="1220952"/>
                </a:moveTo>
                <a:cubicBezTo>
                  <a:pt x="4257724" y="1221236"/>
                  <a:pt x="4260071" y="1222517"/>
                  <a:pt x="4261566" y="1224508"/>
                </a:cubicBezTo>
                <a:cubicBezTo>
                  <a:pt x="4262419" y="1225789"/>
                  <a:pt x="4263273" y="1227496"/>
                  <a:pt x="4263273" y="1229488"/>
                </a:cubicBezTo>
                <a:lnTo>
                  <a:pt x="4263273" y="1229772"/>
                </a:lnTo>
                <a:lnTo>
                  <a:pt x="4264980" y="1228492"/>
                </a:lnTo>
                <a:cubicBezTo>
                  <a:pt x="4265834" y="1228065"/>
                  <a:pt x="4266687" y="1227923"/>
                  <a:pt x="4267328" y="1228492"/>
                </a:cubicBezTo>
                <a:cubicBezTo>
                  <a:pt x="4267541" y="1229772"/>
                  <a:pt x="4268608" y="1229772"/>
                  <a:pt x="4268608" y="1230910"/>
                </a:cubicBezTo>
                <a:cubicBezTo>
                  <a:pt x="4270102" y="1233329"/>
                  <a:pt x="4270315" y="1234467"/>
                  <a:pt x="4269462" y="1235748"/>
                </a:cubicBezTo>
                <a:cubicBezTo>
                  <a:pt x="4269675" y="1237028"/>
                  <a:pt x="4268395" y="1237028"/>
                  <a:pt x="4267541" y="1238308"/>
                </a:cubicBezTo>
                <a:cubicBezTo>
                  <a:pt x="4266261" y="1238451"/>
                  <a:pt x="4264980" y="1237313"/>
                  <a:pt x="4264980" y="1237313"/>
                </a:cubicBezTo>
                <a:cubicBezTo>
                  <a:pt x="4263699" y="1236175"/>
                  <a:pt x="4263699" y="1236032"/>
                  <a:pt x="4262846" y="1237313"/>
                </a:cubicBezTo>
                <a:cubicBezTo>
                  <a:pt x="4262846" y="1237313"/>
                  <a:pt x="4262632" y="1236175"/>
                  <a:pt x="4262632" y="1236175"/>
                </a:cubicBezTo>
                <a:cubicBezTo>
                  <a:pt x="4263059" y="1236175"/>
                  <a:pt x="4263059" y="1236175"/>
                  <a:pt x="4262846" y="1236032"/>
                </a:cubicBezTo>
                <a:lnTo>
                  <a:pt x="4261992" y="1235463"/>
                </a:lnTo>
                <a:lnTo>
                  <a:pt x="4261139" y="1238735"/>
                </a:lnTo>
                <a:cubicBezTo>
                  <a:pt x="4256657" y="1243572"/>
                  <a:pt x="4244705" y="1239162"/>
                  <a:pt x="4243638" y="1233187"/>
                </a:cubicBezTo>
                <a:cubicBezTo>
                  <a:pt x="4244919" y="1229914"/>
                  <a:pt x="4246412" y="1226642"/>
                  <a:pt x="4247693" y="1223512"/>
                </a:cubicBezTo>
                <a:cubicBezTo>
                  <a:pt x="4250040" y="1221521"/>
                  <a:pt x="4252815" y="1220809"/>
                  <a:pt x="4255376" y="1220952"/>
                </a:cubicBezTo>
                <a:close/>
                <a:moveTo>
                  <a:pt x="4340958" y="1220809"/>
                </a:moveTo>
                <a:cubicBezTo>
                  <a:pt x="4342665" y="1220383"/>
                  <a:pt x="4344586" y="1221094"/>
                  <a:pt x="4345653" y="1222517"/>
                </a:cubicBezTo>
                <a:cubicBezTo>
                  <a:pt x="4346293" y="1223512"/>
                  <a:pt x="4346293" y="1224793"/>
                  <a:pt x="4345653" y="1226215"/>
                </a:cubicBezTo>
                <a:cubicBezTo>
                  <a:pt x="4343946" y="1226215"/>
                  <a:pt x="4341384" y="1226927"/>
                  <a:pt x="4339037" y="1226073"/>
                </a:cubicBezTo>
                <a:cubicBezTo>
                  <a:pt x="4338183" y="1222801"/>
                  <a:pt x="4339463" y="1221236"/>
                  <a:pt x="4340958" y="1220809"/>
                </a:cubicBezTo>
                <a:close/>
                <a:moveTo>
                  <a:pt x="853516" y="1220760"/>
                </a:moveTo>
                <a:cubicBezTo>
                  <a:pt x="853723" y="1220605"/>
                  <a:pt x="853929" y="1220450"/>
                  <a:pt x="854342" y="1220915"/>
                </a:cubicBezTo>
                <a:cubicBezTo>
                  <a:pt x="855168" y="1221845"/>
                  <a:pt x="855168" y="1221845"/>
                  <a:pt x="855065" y="1224323"/>
                </a:cubicBezTo>
                <a:cubicBezTo>
                  <a:pt x="854239" y="1223393"/>
                  <a:pt x="854239" y="1223393"/>
                  <a:pt x="853413" y="1224168"/>
                </a:cubicBezTo>
                <a:cubicBezTo>
                  <a:pt x="853413" y="1224168"/>
                  <a:pt x="853413" y="1224168"/>
                  <a:pt x="853413" y="1224943"/>
                </a:cubicBezTo>
                <a:cubicBezTo>
                  <a:pt x="852587" y="1224788"/>
                  <a:pt x="852587" y="1224013"/>
                  <a:pt x="851761" y="1223858"/>
                </a:cubicBezTo>
                <a:cubicBezTo>
                  <a:pt x="851761" y="1223858"/>
                  <a:pt x="851761" y="1223239"/>
                  <a:pt x="851761" y="1223239"/>
                </a:cubicBezTo>
                <a:cubicBezTo>
                  <a:pt x="851348" y="1223084"/>
                  <a:pt x="851348" y="1223084"/>
                  <a:pt x="851554" y="1222929"/>
                </a:cubicBezTo>
                <a:cubicBezTo>
                  <a:pt x="851761" y="1222774"/>
                  <a:pt x="852174" y="1222309"/>
                  <a:pt x="852587" y="1221689"/>
                </a:cubicBezTo>
                <a:cubicBezTo>
                  <a:pt x="853000" y="1221225"/>
                  <a:pt x="853310" y="1220915"/>
                  <a:pt x="853516" y="1220760"/>
                </a:cubicBezTo>
                <a:close/>
                <a:moveTo>
                  <a:pt x="1231950" y="1220450"/>
                </a:moveTo>
                <a:cubicBezTo>
                  <a:pt x="1234325" y="1220760"/>
                  <a:pt x="1234429" y="1222619"/>
                  <a:pt x="1234429" y="1222619"/>
                </a:cubicBezTo>
                <a:cubicBezTo>
                  <a:pt x="1234222" y="1225562"/>
                  <a:pt x="1232466" y="1227731"/>
                  <a:pt x="1229265" y="1227885"/>
                </a:cubicBezTo>
                <a:cubicBezTo>
                  <a:pt x="1227613" y="1227111"/>
                  <a:pt x="1227510" y="1225252"/>
                  <a:pt x="1227407" y="1223393"/>
                </a:cubicBezTo>
                <a:cubicBezTo>
                  <a:pt x="1227510" y="1221845"/>
                  <a:pt x="1228027" y="1221070"/>
                  <a:pt x="1228853" y="1220605"/>
                </a:cubicBezTo>
                <a:cubicBezTo>
                  <a:pt x="1229678" y="1220295"/>
                  <a:pt x="1230711" y="1220141"/>
                  <a:pt x="1231950" y="1220450"/>
                </a:cubicBezTo>
                <a:close/>
                <a:moveTo>
                  <a:pt x="1518176" y="1219676"/>
                </a:moveTo>
                <a:cubicBezTo>
                  <a:pt x="1518796" y="1219986"/>
                  <a:pt x="1518899" y="1220450"/>
                  <a:pt x="1518899" y="1220760"/>
                </a:cubicBezTo>
                <a:cubicBezTo>
                  <a:pt x="1518899" y="1221070"/>
                  <a:pt x="1518796" y="1221380"/>
                  <a:pt x="1518796" y="1221380"/>
                </a:cubicBezTo>
                <a:cubicBezTo>
                  <a:pt x="1518280" y="1222309"/>
                  <a:pt x="1517763" y="1223393"/>
                  <a:pt x="1516628" y="1222774"/>
                </a:cubicBezTo>
                <a:cubicBezTo>
                  <a:pt x="1516628" y="1222774"/>
                  <a:pt x="1516628" y="1222619"/>
                  <a:pt x="1516628" y="1222154"/>
                </a:cubicBezTo>
                <a:cubicBezTo>
                  <a:pt x="1516731" y="1221689"/>
                  <a:pt x="1516937" y="1220915"/>
                  <a:pt x="1517454" y="1219986"/>
                </a:cubicBezTo>
                <a:cubicBezTo>
                  <a:pt x="1517763" y="1220760"/>
                  <a:pt x="1518590" y="1220450"/>
                  <a:pt x="1518590" y="1220450"/>
                </a:cubicBezTo>
                <a:cubicBezTo>
                  <a:pt x="1518590" y="1220450"/>
                  <a:pt x="1518486" y="1220605"/>
                  <a:pt x="1518176" y="1219676"/>
                </a:cubicBezTo>
                <a:close/>
                <a:moveTo>
                  <a:pt x="1469853" y="1218127"/>
                </a:moveTo>
                <a:cubicBezTo>
                  <a:pt x="1471504" y="1219676"/>
                  <a:pt x="1475015" y="1221070"/>
                  <a:pt x="1473983" y="1224478"/>
                </a:cubicBezTo>
                <a:cubicBezTo>
                  <a:pt x="1472743" y="1223393"/>
                  <a:pt x="1469956" y="1221225"/>
                  <a:pt x="1469543" y="1219521"/>
                </a:cubicBezTo>
                <a:cubicBezTo>
                  <a:pt x="1469336" y="1219056"/>
                  <a:pt x="1469440" y="1218437"/>
                  <a:pt x="1469853" y="1218127"/>
                </a:cubicBezTo>
                <a:close/>
                <a:moveTo>
                  <a:pt x="1441767" y="1218127"/>
                </a:moveTo>
                <a:cubicBezTo>
                  <a:pt x="1443316" y="1221535"/>
                  <a:pt x="1436295" y="1225097"/>
                  <a:pt x="1434642" y="1224323"/>
                </a:cubicBezTo>
                <a:cubicBezTo>
                  <a:pt x="1433816" y="1222619"/>
                  <a:pt x="1439289" y="1215029"/>
                  <a:pt x="1441767" y="1218127"/>
                </a:cubicBezTo>
                <a:close/>
                <a:moveTo>
                  <a:pt x="4502943" y="1217964"/>
                </a:moveTo>
                <a:cubicBezTo>
                  <a:pt x="4504864" y="1219814"/>
                  <a:pt x="4505931" y="1221948"/>
                  <a:pt x="4506144" y="1224508"/>
                </a:cubicBezTo>
                <a:cubicBezTo>
                  <a:pt x="4506785" y="1228207"/>
                  <a:pt x="4505718" y="1232476"/>
                  <a:pt x="4504011" y="1236316"/>
                </a:cubicBezTo>
                <a:lnTo>
                  <a:pt x="4502516" y="1238451"/>
                </a:lnTo>
                <a:lnTo>
                  <a:pt x="4502303" y="1239446"/>
                </a:lnTo>
                <a:lnTo>
                  <a:pt x="4501023" y="1240585"/>
                </a:lnTo>
                <a:lnTo>
                  <a:pt x="4497608" y="1245849"/>
                </a:lnTo>
                <a:cubicBezTo>
                  <a:pt x="4492059" y="1246275"/>
                  <a:pt x="4488644" y="1244568"/>
                  <a:pt x="4486723" y="1242007"/>
                </a:cubicBezTo>
                <a:cubicBezTo>
                  <a:pt x="4481174" y="1234040"/>
                  <a:pt x="4490352" y="1216826"/>
                  <a:pt x="4502943" y="1217964"/>
                </a:cubicBezTo>
                <a:close/>
                <a:moveTo>
                  <a:pt x="4536877" y="1217679"/>
                </a:moveTo>
                <a:cubicBezTo>
                  <a:pt x="4542639" y="1216968"/>
                  <a:pt x="4544773" y="1224508"/>
                  <a:pt x="4546481" y="1228207"/>
                </a:cubicBezTo>
                <a:cubicBezTo>
                  <a:pt x="4542639" y="1231480"/>
                  <a:pt x="4538584" y="1234751"/>
                  <a:pt x="4535383" y="1234467"/>
                </a:cubicBezTo>
                <a:lnTo>
                  <a:pt x="4534529" y="1231906"/>
                </a:lnTo>
                <a:lnTo>
                  <a:pt x="4533889" y="1232618"/>
                </a:lnTo>
                <a:cubicBezTo>
                  <a:pt x="4532181" y="1233898"/>
                  <a:pt x="4530474" y="1234751"/>
                  <a:pt x="4528127" y="1234183"/>
                </a:cubicBezTo>
                <a:cubicBezTo>
                  <a:pt x="4529194" y="1233329"/>
                  <a:pt x="4530474" y="1231906"/>
                  <a:pt x="4531755" y="1230626"/>
                </a:cubicBezTo>
                <a:lnTo>
                  <a:pt x="4533676" y="1229345"/>
                </a:lnTo>
                <a:lnTo>
                  <a:pt x="4532609" y="1226215"/>
                </a:lnTo>
                <a:cubicBezTo>
                  <a:pt x="4532822" y="1223370"/>
                  <a:pt x="4534102" y="1220525"/>
                  <a:pt x="4536877" y="1217679"/>
                </a:cubicBezTo>
                <a:close/>
                <a:moveTo>
                  <a:pt x="3388892" y="1215830"/>
                </a:moveTo>
                <a:lnTo>
                  <a:pt x="3385264" y="1219387"/>
                </a:lnTo>
                <a:cubicBezTo>
                  <a:pt x="3382276" y="1218675"/>
                  <a:pt x="3379075" y="1221805"/>
                  <a:pt x="3375446" y="1222659"/>
                </a:cubicBezTo>
                <a:lnTo>
                  <a:pt x="3374166" y="1222659"/>
                </a:lnTo>
                <a:lnTo>
                  <a:pt x="3374166" y="1222943"/>
                </a:lnTo>
                <a:cubicBezTo>
                  <a:pt x="3374380" y="1225362"/>
                  <a:pt x="3375020" y="1227496"/>
                  <a:pt x="3376727" y="1229061"/>
                </a:cubicBezTo>
                <a:cubicBezTo>
                  <a:pt x="3375233" y="1227496"/>
                  <a:pt x="3373526" y="1226927"/>
                  <a:pt x="3371178" y="1228350"/>
                </a:cubicBezTo>
                <a:lnTo>
                  <a:pt x="3372886" y="1236316"/>
                </a:lnTo>
                <a:lnTo>
                  <a:pt x="3373313" y="1236886"/>
                </a:lnTo>
                <a:lnTo>
                  <a:pt x="3375020" y="1234751"/>
                </a:lnTo>
                <a:cubicBezTo>
                  <a:pt x="3375446" y="1233756"/>
                  <a:pt x="3375446" y="1232760"/>
                  <a:pt x="3375020" y="1231480"/>
                </a:cubicBezTo>
                <a:lnTo>
                  <a:pt x="3379288" y="1255381"/>
                </a:lnTo>
                <a:lnTo>
                  <a:pt x="3379715" y="1255523"/>
                </a:lnTo>
                <a:lnTo>
                  <a:pt x="3379501" y="1255950"/>
                </a:lnTo>
                <a:lnTo>
                  <a:pt x="3381209" y="1265197"/>
                </a:lnTo>
                <a:lnTo>
                  <a:pt x="3389746" y="1257515"/>
                </a:lnTo>
                <a:lnTo>
                  <a:pt x="3399350" y="1250259"/>
                </a:lnTo>
                <a:lnTo>
                  <a:pt x="3391453" y="1224224"/>
                </a:lnTo>
                <a:close/>
                <a:moveTo>
                  <a:pt x="1601504" y="1215339"/>
                </a:moveTo>
                <a:cubicBezTo>
                  <a:pt x="1602537" y="1215339"/>
                  <a:pt x="1603776" y="1215958"/>
                  <a:pt x="1605015" y="1216733"/>
                </a:cubicBezTo>
                <a:lnTo>
                  <a:pt x="1607803" y="1219211"/>
                </a:lnTo>
                <a:lnTo>
                  <a:pt x="1612966" y="1215803"/>
                </a:lnTo>
                <a:lnTo>
                  <a:pt x="1614824" y="1216268"/>
                </a:lnTo>
                <a:lnTo>
                  <a:pt x="1615031" y="1215803"/>
                </a:lnTo>
                <a:cubicBezTo>
                  <a:pt x="1615547" y="1215184"/>
                  <a:pt x="1616373" y="1214874"/>
                  <a:pt x="1617612" y="1215339"/>
                </a:cubicBezTo>
                <a:lnTo>
                  <a:pt x="1617509" y="1216733"/>
                </a:lnTo>
                <a:lnTo>
                  <a:pt x="1618129" y="1216888"/>
                </a:lnTo>
                <a:lnTo>
                  <a:pt x="1618645" y="1216888"/>
                </a:lnTo>
                <a:cubicBezTo>
                  <a:pt x="1618645" y="1216888"/>
                  <a:pt x="1619367" y="1216268"/>
                  <a:pt x="1620606" y="1216578"/>
                </a:cubicBezTo>
                <a:cubicBezTo>
                  <a:pt x="1621845" y="1216733"/>
                  <a:pt x="1623085" y="1216888"/>
                  <a:pt x="1623188" y="1218746"/>
                </a:cubicBezTo>
                <a:lnTo>
                  <a:pt x="1622981" y="1218901"/>
                </a:lnTo>
                <a:lnTo>
                  <a:pt x="1625666" y="1220295"/>
                </a:lnTo>
                <a:cubicBezTo>
                  <a:pt x="1628764" y="1222929"/>
                  <a:pt x="1631242" y="1227885"/>
                  <a:pt x="1632378" y="1232997"/>
                </a:cubicBezTo>
                <a:lnTo>
                  <a:pt x="1632481" y="1239812"/>
                </a:lnTo>
                <a:lnTo>
                  <a:pt x="1634649" y="1236560"/>
                </a:lnTo>
                <a:cubicBezTo>
                  <a:pt x="1636714" y="1233926"/>
                  <a:pt x="1639296" y="1230983"/>
                  <a:pt x="1640329" y="1229744"/>
                </a:cubicBezTo>
                <a:cubicBezTo>
                  <a:pt x="1641155" y="1229744"/>
                  <a:pt x="1641155" y="1229744"/>
                  <a:pt x="1641155" y="1229744"/>
                </a:cubicBezTo>
                <a:cubicBezTo>
                  <a:pt x="1641980" y="1230209"/>
                  <a:pt x="1642084" y="1230828"/>
                  <a:pt x="1641774" y="1231603"/>
                </a:cubicBezTo>
                <a:cubicBezTo>
                  <a:pt x="1641465" y="1232532"/>
                  <a:pt x="1640638" y="1233617"/>
                  <a:pt x="1639606" y="1234856"/>
                </a:cubicBezTo>
                <a:cubicBezTo>
                  <a:pt x="1637644" y="1237334"/>
                  <a:pt x="1633824" y="1239812"/>
                  <a:pt x="1632791" y="1240587"/>
                </a:cubicBezTo>
                <a:lnTo>
                  <a:pt x="1632481" y="1241207"/>
                </a:lnTo>
                <a:lnTo>
                  <a:pt x="1632481" y="1242911"/>
                </a:lnTo>
                <a:lnTo>
                  <a:pt x="1631552" y="1244924"/>
                </a:lnTo>
                <a:lnTo>
                  <a:pt x="1632378" y="1247402"/>
                </a:lnTo>
                <a:lnTo>
                  <a:pt x="1629590" y="1248332"/>
                </a:lnTo>
                <a:lnTo>
                  <a:pt x="1636714" y="1248951"/>
                </a:lnTo>
                <a:cubicBezTo>
                  <a:pt x="1637850" y="1248796"/>
                  <a:pt x="1638883" y="1248642"/>
                  <a:pt x="1639502" y="1248642"/>
                </a:cubicBezTo>
                <a:lnTo>
                  <a:pt x="1640225" y="1248486"/>
                </a:lnTo>
                <a:lnTo>
                  <a:pt x="1640329" y="1248177"/>
                </a:lnTo>
                <a:cubicBezTo>
                  <a:pt x="1642187" y="1246782"/>
                  <a:pt x="1643839" y="1246782"/>
                  <a:pt x="1645698" y="1247092"/>
                </a:cubicBezTo>
                <a:lnTo>
                  <a:pt x="1648382" y="1247712"/>
                </a:lnTo>
                <a:lnTo>
                  <a:pt x="1648382" y="1247557"/>
                </a:lnTo>
                <a:cubicBezTo>
                  <a:pt x="1648176" y="1247092"/>
                  <a:pt x="1648279" y="1246628"/>
                  <a:pt x="1648692" y="1246008"/>
                </a:cubicBezTo>
                <a:cubicBezTo>
                  <a:pt x="1652409" y="1242291"/>
                  <a:pt x="1658502" y="1243840"/>
                  <a:pt x="1661599" y="1244924"/>
                </a:cubicBezTo>
                <a:lnTo>
                  <a:pt x="1663355" y="1245544"/>
                </a:lnTo>
                <a:lnTo>
                  <a:pt x="1663355" y="1244614"/>
                </a:lnTo>
                <a:lnTo>
                  <a:pt x="1664181" y="1245544"/>
                </a:lnTo>
                <a:lnTo>
                  <a:pt x="1664387" y="1245544"/>
                </a:lnTo>
                <a:cubicBezTo>
                  <a:pt x="1664284" y="1246473"/>
                  <a:pt x="1665110" y="1246473"/>
                  <a:pt x="1665213" y="1245544"/>
                </a:cubicBezTo>
                <a:cubicBezTo>
                  <a:pt x="1666452" y="1246473"/>
                  <a:pt x="1667485" y="1247092"/>
                  <a:pt x="1667898" y="1247867"/>
                </a:cubicBezTo>
                <a:cubicBezTo>
                  <a:pt x="1668414" y="1248486"/>
                  <a:pt x="1668311" y="1249106"/>
                  <a:pt x="1667278" y="1249880"/>
                </a:cubicBezTo>
                <a:lnTo>
                  <a:pt x="1666865" y="1250190"/>
                </a:lnTo>
                <a:lnTo>
                  <a:pt x="1667795" y="1254682"/>
                </a:lnTo>
                <a:cubicBezTo>
                  <a:pt x="1665523" y="1256232"/>
                  <a:pt x="1663871" y="1255457"/>
                  <a:pt x="1662838" y="1253753"/>
                </a:cubicBezTo>
                <a:lnTo>
                  <a:pt x="1662529" y="1252979"/>
                </a:lnTo>
                <a:lnTo>
                  <a:pt x="1661806" y="1255147"/>
                </a:lnTo>
                <a:cubicBezTo>
                  <a:pt x="1662012" y="1258400"/>
                  <a:pt x="1664491" y="1262582"/>
                  <a:pt x="1659947" y="1267539"/>
                </a:cubicBezTo>
                <a:cubicBezTo>
                  <a:pt x="1658811" y="1266300"/>
                  <a:pt x="1655920" y="1267848"/>
                  <a:pt x="1653545" y="1267539"/>
                </a:cubicBezTo>
                <a:lnTo>
                  <a:pt x="1651893" y="1266764"/>
                </a:lnTo>
                <a:lnTo>
                  <a:pt x="1652719" y="1267848"/>
                </a:lnTo>
                <a:cubicBezTo>
                  <a:pt x="1652513" y="1269088"/>
                  <a:pt x="1650964" y="1269707"/>
                  <a:pt x="1649002" y="1269707"/>
                </a:cubicBezTo>
                <a:cubicBezTo>
                  <a:pt x="1649312" y="1268623"/>
                  <a:pt x="1647557" y="1267539"/>
                  <a:pt x="1647866" y="1266300"/>
                </a:cubicBezTo>
                <a:cubicBezTo>
                  <a:pt x="1647866" y="1266300"/>
                  <a:pt x="1648279" y="1265835"/>
                  <a:pt x="1648692" y="1265370"/>
                </a:cubicBezTo>
                <a:lnTo>
                  <a:pt x="1649518" y="1264596"/>
                </a:lnTo>
                <a:lnTo>
                  <a:pt x="1648073" y="1263047"/>
                </a:lnTo>
                <a:cubicBezTo>
                  <a:pt x="1645595" y="1259794"/>
                  <a:pt x="1645698" y="1257625"/>
                  <a:pt x="1646834" y="1254992"/>
                </a:cubicBezTo>
                <a:lnTo>
                  <a:pt x="1647557" y="1253753"/>
                </a:lnTo>
                <a:lnTo>
                  <a:pt x="1647247" y="1253753"/>
                </a:lnTo>
                <a:lnTo>
                  <a:pt x="1644768" y="1252979"/>
                </a:lnTo>
                <a:lnTo>
                  <a:pt x="1644975" y="1254373"/>
                </a:lnTo>
                <a:cubicBezTo>
                  <a:pt x="1640122" y="1259329"/>
                  <a:pt x="1631552" y="1252359"/>
                  <a:pt x="1629073" y="1251430"/>
                </a:cubicBezTo>
                <a:cubicBezTo>
                  <a:pt x="1629073" y="1251430"/>
                  <a:pt x="1628247" y="1251430"/>
                  <a:pt x="1627422" y="1250655"/>
                </a:cubicBezTo>
                <a:cubicBezTo>
                  <a:pt x="1627008" y="1250345"/>
                  <a:pt x="1626905" y="1250190"/>
                  <a:pt x="1626905" y="1249880"/>
                </a:cubicBezTo>
                <a:lnTo>
                  <a:pt x="1627215" y="1249416"/>
                </a:lnTo>
                <a:lnTo>
                  <a:pt x="1627215" y="1248951"/>
                </a:lnTo>
                <a:lnTo>
                  <a:pt x="1626699" y="1249106"/>
                </a:lnTo>
                <a:lnTo>
                  <a:pt x="1623601" y="1248486"/>
                </a:lnTo>
                <a:lnTo>
                  <a:pt x="1623498" y="1250345"/>
                </a:lnTo>
                <a:cubicBezTo>
                  <a:pt x="1623601" y="1251585"/>
                  <a:pt x="1623808" y="1252824"/>
                  <a:pt x="1624427" y="1253134"/>
                </a:cubicBezTo>
                <a:cubicBezTo>
                  <a:pt x="1623601" y="1253443"/>
                  <a:pt x="1623085" y="1254528"/>
                  <a:pt x="1623085" y="1254528"/>
                </a:cubicBezTo>
                <a:cubicBezTo>
                  <a:pt x="1621949" y="1253908"/>
                  <a:pt x="1621742" y="1253134"/>
                  <a:pt x="1621433" y="1252359"/>
                </a:cubicBezTo>
                <a:cubicBezTo>
                  <a:pt x="1621845" y="1251275"/>
                  <a:pt x="1622672" y="1250965"/>
                  <a:pt x="1623085" y="1250035"/>
                </a:cubicBezTo>
                <a:lnTo>
                  <a:pt x="1622878" y="1248332"/>
                </a:lnTo>
                <a:lnTo>
                  <a:pt x="1619264" y="1247867"/>
                </a:lnTo>
                <a:cubicBezTo>
                  <a:pt x="1616579" y="1246938"/>
                  <a:pt x="1614101" y="1245544"/>
                  <a:pt x="1612346" y="1243685"/>
                </a:cubicBezTo>
                <a:cubicBezTo>
                  <a:pt x="1612553" y="1244149"/>
                  <a:pt x="1612656" y="1244459"/>
                  <a:pt x="1612553" y="1245079"/>
                </a:cubicBezTo>
                <a:cubicBezTo>
                  <a:pt x="1612966" y="1245699"/>
                  <a:pt x="1612243" y="1246163"/>
                  <a:pt x="1611933" y="1247402"/>
                </a:cubicBezTo>
                <a:lnTo>
                  <a:pt x="1611004" y="1247557"/>
                </a:lnTo>
                <a:lnTo>
                  <a:pt x="1611210" y="1248642"/>
                </a:lnTo>
                <a:cubicBezTo>
                  <a:pt x="1611520" y="1250500"/>
                  <a:pt x="1611520" y="1252204"/>
                  <a:pt x="1611004" y="1252669"/>
                </a:cubicBezTo>
                <a:cubicBezTo>
                  <a:pt x="1610694" y="1251739"/>
                  <a:pt x="1610074" y="1249880"/>
                  <a:pt x="1609765" y="1247867"/>
                </a:cubicBezTo>
                <a:lnTo>
                  <a:pt x="1609765" y="1247712"/>
                </a:lnTo>
                <a:lnTo>
                  <a:pt x="1608939" y="1247712"/>
                </a:lnTo>
                <a:cubicBezTo>
                  <a:pt x="1608732" y="1247867"/>
                  <a:pt x="1608629" y="1248022"/>
                  <a:pt x="1608526" y="1248642"/>
                </a:cubicBezTo>
                <a:cubicBezTo>
                  <a:pt x="1608526" y="1248642"/>
                  <a:pt x="1608009" y="1248022"/>
                  <a:pt x="1608009" y="1248022"/>
                </a:cubicBezTo>
                <a:cubicBezTo>
                  <a:pt x="1608732" y="1247557"/>
                  <a:pt x="1608113" y="1248022"/>
                  <a:pt x="1606874" y="1247867"/>
                </a:cubicBezTo>
                <a:cubicBezTo>
                  <a:pt x="1606667" y="1246008"/>
                  <a:pt x="1606254" y="1245234"/>
                  <a:pt x="1606564" y="1243995"/>
                </a:cubicBezTo>
                <a:lnTo>
                  <a:pt x="1600265" y="1240587"/>
                </a:lnTo>
                <a:lnTo>
                  <a:pt x="1599233" y="1238728"/>
                </a:lnTo>
                <a:lnTo>
                  <a:pt x="1597477" y="1238263"/>
                </a:lnTo>
                <a:cubicBezTo>
                  <a:pt x="1597684" y="1237334"/>
                  <a:pt x="1597580" y="1237334"/>
                  <a:pt x="1598510" y="1237489"/>
                </a:cubicBezTo>
                <a:cubicBezTo>
                  <a:pt x="1598406" y="1237334"/>
                  <a:pt x="1598406" y="1237334"/>
                  <a:pt x="1598303" y="1237179"/>
                </a:cubicBezTo>
                <a:lnTo>
                  <a:pt x="1598716" y="1237024"/>
                </a:lnTo>
                <a:lnTo>
                  <a:pt x="1598613" y="1236560"/>
                </a:lnTo>
                <a:cubicBezTo>
                  <a:pt x="1598613" y="1235940"/>
                  <a:pt x="1598716" y="1235321"/>
                  <a:pt x="1599233" y="1234701"/>
                </a:cubicBezTo>
                <a:cubicBezTo>
                  <a:pt x="1599336" y="1233771"/>
                  <a:pt x="1602743" y="1233926"/>
                  <a:pt x="1603466" y="1234701"/>
                </a:cubicBezTo>
                <a:cubicBezTo>
                  <a:pt x="1605015" y="1236560"/>
                  <a:pt x="1605738" y="1237334"/>
                  <a:pt x="1605531" y="1239038"/>
                </a:cubicBezTo>
                <a:cubicBezTo>
                  <a:pt x="1606357" y="1239967"/>
                  <a:pt x="1607080" y="1240742"/>
                  <a:pt x="1607390" y="1241516"/>
                </a:cubicBezTo>
                <a:lnTo>
                  <a:pt x="1606874" y="1243530"/>
                </a:lnTo>
                <a:lnTo>
                  <a:pt x="1607493" y="1242291"/>
                </a:lnTo>
                <a:cubicBezTo>
                  <a:pt x="1607906" y="1241671"/>
                  <a:pt x="1608422" y="1241361"/>
                  <a:pt x="1609042" y="1241361"/>
                </a:cubicBezTo>
                <a:cubicBezTo>
                  <a:pt x="1609558" y="1242136"/>
                  <a:pt x="1610281" y="1241671"/>
                  <a:pt x="1610694" y="1242291"/>
                </a:cubicBezTo>
                <a:cubicBezTo>
                  <a:pt x="1611417" y="1242601"/>
                  <a:pt x="1611727" y="1242911"/>
                  <a:pt x="1612036" y="1243220"/>
                </a:cubicBezTo>
                <a:cubicBezTo>
                  <a:pt x="1610798" y="1241826"/>
                  <a:pt x="1609868" y="1240277"/>
                  <a:pt x="1609765" y="1238418"/>
                </a:cubicBezTo>
                <a:cubicBezTo>
                  <a:pt x="1612862" y="1239347"/>
                  <a:pt x="1615754" y="1240432"/>
                  <a:pt x="1618955" y="1241207"/>
                </a:cubicBezTo>
                <a:lnTo>
                  <a:pt x="1624634" y="1241826"/>
                </a:lnTo>
                <a:lnTo>
                  <a:pt x="1624943" y="1241361"/>
                </a:lnTo>
                <a:lnTo>
                  <a:pt x="1624530" y="1240432"/>
                </a:lnTo>
                <a:lnTo>
                  <a:pt x="1624324" y="1240432"/>
                </a:lnTo>
                <a:cubicBezTo>
                  <a:pt x="1621949" y="1238573"/>
                  <a:pt x="1619367" y="1239347"/>
                  <a:pt x="1617096" y="1237489"/>
                </a:cubicBezTo>
                <a:cubicBezTo>
                  <a:pt x="1617096" y="1237489"/>
                  <a:pt x="1616993" y="1237489"/>
                  <a:pt x="1617922" y="1236714"/>
                </a:cubicBezTo>
                <a:cubicBezTo>
                  <a:pt x="1619987" y="1237644"/>
                  <a:pt x="1622156" y="1237644"/>
                  <a:pt x="1624221" y="1237799"/>
                </a:cubicBezTo>
                <a:lnTo>
                  <a:pt x="1625460" y="1238263"/>
                </a:lnTo>
                <a:lnTo>
                  <a:pt x="1624634" y="1236250"/>
                </a:lnTo>
                <a:cubicBezTo>
                  <a:pt x="1622878" y="1232067"/>
                  <a:pt x="1620916" y="1228040"/>
                  <a:pt x="1621433" y="1223084"/>
                </a:cubicBezTo>
                <a:lnTo>
                  <a:pt x="1622259" y="1219056"/>
                </a:lnTo>
                <a:lnTo>
                  <a:pt x="1619884" y="1219676"/>
                </a:lnTo>
                <a:lnTo>
                  <a:pt x="1619884" y="1222464"/>
                </a:lnTo>
                <a:cubicBezTo>
                  <a:pt x="1618335" y="1227111"/>
                  <a:pt x="1612862" y="1229899"/>
                  <a:pt x="1608629" y="1227421"/>
                </a:cubicBezTo>
                <a:cubicBezTo>
                  <a:pt x="1608319" y="1226491"/>
                  <a:pt x="1607700" y="1225407"/>
                  <a:pt x="1607287" y="1224168"/>
                </a:cubicBezTo>
                <a:lnTo>
                  <a:pt x="1607183" y="1223548"/>
                </a:lnTo>
                <a:lnTo>
                  <a:pt x="1605428" y="1225252"/>
                </a:lnTo>
                <a:lnTo>
                  <a:pt x="1604705" y="1225407"/>
                </a:lnTo>
                <a:lnTo>
                  <a:pt x="1604396" y="1226336"/>
                </a:lnTo>
                <a:cubicBezTo>
                  <a:pt x="1604396" y="1226336"/>
                  <a:pt x="1604396" y="1226336"/>
                  <a:pt x="1603672" y="1226336"/>
                </a:cubicBezTo>
                <a:lnTo>
                  <a:pt x="1604086" y="1225562"/>
                </a:lnTo>
                <a:lnTo>
                  <a:pt x="1603156" y="1225717"/>
                </a:lnTo>
                <a:lnTo>
                  <a:pt x="1603466" y="1226336"/>
                </a:lnTo>
                <a:cubicBezTo>
                  <a:pt x="1603466" y="1226336"/>
                  <a:pt x="1602743" y="1226646"/>
                  <a:pt x="1601607" y="1226181"/>
                </a:cubicBezTo>
                <a:cubicBezTo>
                  <a:pt x="1601607" y="1226181"/>
                  <a:pt x="1601710" y="1226027"/>
                  <a:pt x="1601917" y="1225872"/>
                </a:cubicBezTo>
                <a:lnTo>
                  <a:pt x="1602743" y="1225717"/>
                </a:lnTo>
                <a:lnTo>
                  <a:pt x="1600059" y="1224013"/>
                </a:lnTo>
                <a:cubicBezTo>
                  <a:pt x="1599336" y="1223084"/>
                  <a:pt x="1599026" y="1221689"/>
                  <a:pt x="1599130" y="1220295"/>
                </a:cubicBezTo>
                <a:cubicBezTo>
                  <a:pt x="1599233" y="1218746"/>
                  <a:pt x="1599955" y="1216888"/>
                  <a:pt x="1601504" y="1215339"/>
                </a:cubicBezTo>
                <a:close/>
                <a:moveTo>
                  <a:pt x="1252292" y="1215029"/>
                </a:moveTo>
                <a:cubicBezTo>
                  <a:pt x="1261481" y="1222154"/>
                  <a:pt x="1264373" y="1234546"/>
                  <a:pt x="1257145" y="1241671"/>
                </a:cubicBezTo>
                <a:cubicBezTo>
                  <a:pt x="1254563" y="1243530"/>
                  <a:pt x="1252085" y="1244459"/>
                  <a:pt x="1249813" y="1244459"/>
                </a:cubicBezTo>
                <a:lnTo>
                  <a:pt x="1245064" y="1242911"/>
                </a:lnTo>
                <a:lnTo>
                  <a:pt x="1244444" y="1243220"/>
                </a:lnTo>
                <a:lnTo>
                  <a:pt x="1244238" y="1242756"/>
                </a:lnTo>
                <a:lnTo>
                  <a:pt x="1243722" y="1242445"/>
                </a:lnTo>
                <a:cubicBezTo>
                  <a:pt x="1240211" y="1239967"/>
                  <a:pt x="1238042" y="1235166"/>
                  <a:pt x="1238352" y="1230054"/>
                </a:cubicBezTo>
                <a:cubicBezTo>
                  <a:pt x="1238765" y="1224168"/>
                  <a:pt x="1242689" y="1217972"/>
                  <a:pt x="1252292" y="1215029"/>
                </a:cubicBezTo>
                <a:close/>
                <a:moveTo>
                  <a:pt x="4149520" y="1214976"/>
                </a:moveTo>
                <a:cubicBezTo>
                  <a:pt x="4149733" y="1216257"/>
                  <a:pt x="4150160" y="1218675"/>
                  <a:pt x="4152508" y="1219671"/>
                </a:cubicBezTo>
                <a:cubicBezTo>
                  <a:pt x="4150587" y="1222232"/>
                  <a:pt x="4148666" y="1224650"/>
                  <a:pt x="4146106" y="1222374"/>
                </a:cubicBezTo>
                <a:cubicBezTo>
                  <a:pt x="4144611" y="1221236"/>
                  <a:pt x="4143331" y="1220240"/>
                  <a:pt x="4143118" y="1217822"/>
                </a:cubicBezTo>
                <a:cubicBezTo>
                  <a:pt x="4145038" y="1215261"/>
                  <a:pt x="4148666" y="1216257"/>
                  <a:pt x="4149520" y="1214976"/>
                </a:cubicBezTo>
                <a:close/>
                <a:moveTo>
                  <a:pt x="908345" y="1214719"/>
                </a:moveTo>
                <a:cubicBezTo>
                  <a:pt x="911236" y="1213015"/>
                  <a:pt x="912785" y="1215029"/>
                  <a:pt x="915366" y="1217043"/>
                </a:cubicBezTo>
                <a:cubicBezTo>
                  <a:pt x="914540" y="1218746"/>
                  <a:pt x="915263" y="1221225"/>
                  <a:pt x="913508" y="1222774"/>
                </a:cubicBezTo>
                <a:cubicBezTo>
                  <a:pt x="913508" y="1222774"/>
                  <a:pt x="912682" y="1223393"/>
                  <a:pt x="910927" y="1223239"/>
                </a:cubicBezTo>
                <a:cubicBezTo>
                  <a:pt x="908345" y="1224633"/>
                  <a:pt x="905764" y="1221999"/>
                  <a:pt x="905764" y="1221999"/>
                </a:cubicBezTo>
                <a:cubicBezTo>
                  <a:pt x="905764" y="1221999"/>
                  <a:pt x="905764" y="1221999"/>
                  <a:pt x="905764" y="1222774"/>
                </a:cubicBezTo>
                <a:cubicBezTo>
                  <a:pt x="905764" y="1221070"/>
                  <a:pt x="904938" y="1219366"/>
                  <a:pt x="904938" y="1217662"/>
                </a:cubicBezTo>
                <a:cubicBezTo>
                  <a:pt x="906280" y="1216113"/>
                  <a:pt x="907313" y="1215184"/>
                  <a:pt x="908345" y="1214719"/>
                </a:cubicBezTo>
                <a:close/>
                <a:moveTo>
                  <a:pt x="3661429" y="1214549"/>
                </a:moveTo>
                <a:cubicBezTo>
                  <a:pt x="3663137" y="1214976"/>
                  <a:pt x="3663777" y="1216114"/>
                  <a:pt x="3663777" y="1216114"/>
                </a:cubicBezTo>
                <a:cubicBezTo>
                  <a:pt x="3663990" y="1220383"/>
                  <a:pt x="3662709" y="1224224"/>
                  <a:pt x="3657801" y="1222943"/>
                </a:cubicBezTo>
                <a:cubicBezTo>
                  <a:pt x="3656307" y="1222517"/>
                  <a:pt x="3654600" y="1222090"/>
                  <a:pt x="3655667" y="1221521"/>
                </a:cubicBezTo>
                <a:cubicBezTo>
                  <a:pt x="3654813" y="1220525"/>
                  <a:pt x="3655880" y="1219814"/>
                  <a:pt x="3656093" y="1218249"/>
                </a:cubicBezTo>
                <a:cubicBezTo>
                  <a:pt x="3657161" y="1215972"/>
                  <a:pt x="3659935" y="1214123"/>
                  <a:pt x="3661429" y="1214549"/>
                </a:cubicBezTo>
                <a:close/>
                <a:moveTo>
                  <a:pt x="3642648" y="1214407"/>
                </a:moveTo>
                <a:cubicBezTo>
                  <a:pt x="3646917" y="1216826"/>
                  <a:pt x="3647557" y="1223085"/>
                  <a:pt x="3646063" y="1227212"/>
                </a:cubicBezTo>
                <a:lnTo>
                  <a:pt x="3645209" y="1228350"/>
                </a:lnTo>
                <a:lnTo>
                  <a:pt x="3645209" y="1231622"/>
                </a:lnTo>
                <a:cubicBezTo>
                  <a:pt x="3644355" y="1232902"/>
                  <a:pt x="3643075" y="1233756"/>
                  <a:pt x="3640727" y="1233471"/>
                </a:cubicBezTo>
                <a:cubicBezTo>
                  <a:pt x="3637526" y="1233044"/>
                  <a:pt x="3635819" y="1231195"/>
                  <a:pt x="3634965" y="1228777"/>
                </a:cubicBezTo>
                <a:lnTo>
                  <a:pt x="3634538" y="1223370"/>
                </a:lnTo>
                <a:lnTo>
                  <a:pt x="3632617" y="1224935"/>
                </a:lnTo>
                <a:cubicBezTo>
                  <a:pt x="3629843" y="1226500"/>
                  <a:pt x="3628989" y="1224082"/>
                  <a:pt x="3627068" y="1220240"/>
                </a:cubicBezTo>
                <a:cubicBezTo>
                  <a:pt x="3628989" y="1218533"/>
                  <a:pt x="3630484" y="1218106"/>
                  <a:pt x="3631977" y="1218533"/>
                </a:cubicBezTo>
                <a:lnTo>
                  <a:pt x="3634324" y="1220667"/>
                </a:lnTo>
                <a:lnTo>
                  <a:pt x="3634111" y="1219814"/>
                </a:lnTo>
                <a:cubicBezTo>
                  <a:pt x="3636672" y="1219387"/>
                  <a:pt x="3638380" y="1217964"/>
                  <a:pt x="3640941" y="1217537"/>
                </a:cubicBezTo>
                <a:close/>
                <a:moveTo>
                  <a:pt x="4848257" y="1214123"/>
                </a:moveTo>
                <a:cubicBezTo>
                  <a:pt x="4850390" y="1214407"/>
                  <a:pt x="4852525" y="1215403"/>
                  <a:pt x="4854019" y="1217679"/>
                </a:cubicBezTo>
                <a:cubicBezTo>
                  <a:pt x="4846762" y="1220667"/>
                  <a:pt x="4839079" y="1226073"/>
                  <a:pt x="4830969" y="1226642"/>
                </a:cubicBezTo>
                <a:cubicBezTo>
                  <a:pt x="4833531" y="1220525"/>
                  <a:pt x="4841640" y="1213411"/>
                  <a:pt x="4848257" y="1214123"/>
                </a:cubicBezTo>
                <a:close/>
                <a:moveTo>
                  <a:pt x="1689892" y="1213325"/>
                </a:moveTo>
                <a:cubicBezTo>
                  <a:pt x="1691027" y="1214719"/>
                  <a:pt x="1693402" y="1216888"/>
                  <a:pt x="1693815" y="1218591"/>
                </a:cubicBezTo>
                <a:cubicBezTo>
                  <a:pt x="1693918" y="1219211"/>
                  <a:pt x="1693815" y="1219676"/>
                  <a:pt x="1693299" y="1220141"/>
                </a:cubicBezTo>
                <a:cubicBezTo>
                  <a:pt x="1692163" y="1218901"/>
                  <a:pt x="1690098" y="1217507"/>
                  <a:pt x="1689685" y="1215494"/>
                </a:cubicBezTo>
                <a:cubicBezTo>
                  <a:pt x="1689478" y="1214874"/>
                  <a:pt x="1689478" y="1214255"/>
                  <a:pt x="1689892" y="1213325"/>
                </a:cubicBezTo>
                <a:close/>
                <a:moveTo>
                  <a:pt x="4321963" y="1212558"/>
                </a:moveTo>
                <a:cubicBezTo>
                  <a:pt x="4323244" y="1212273"/>
                  <a:pt x="4324311" y="1212273"/>
                  <a:pt x="4325378" y="1212558"/>
                </a:cubicBezTo>
                <a:cubicBezTo>
                  <a:pt x="4327512" y="1213127"/>
                  <a:pt x="4329006" y="1214692"/>
                  <a:pt x="4329646" y="1216683"/>
                </a:cubicBezTo>
                <a:cubicBezTo>
                  <a:pt x="4331140" y="1220809"/>
                  <a:pt x="4329646" y="1226642"/>
                  <a:pt x="4323670" y="1229630"/>
                </a:cubicBezTo>
                <a:cubicBezTo>
                  <a:pt x="4319189" y="1228065"/>
                  <a:pt x="4316841" y="1225362"/>
                  <a:pt x="4314921" y="1223797"/>
                </a:cubicBezTo>
                <a:cubicBezTo>
                  <a:pt x="4316201" y="1220525"/>
                  <a:pt x="4316414" y="1217822"/>
                  <a:pt x="4317695" y="1214549"/>
                </a:cubicBezTo>
                <a:cubicBezTo>
                  <a:pt x="4319189" y="1213554"/>
                  <a:pt x="4320683" y="1212842"/>
                  <a:pt x="4321963" y="1212558"/>
                </a:cubicBezTo>
                <a:close/>
                <a:moveTo>
                  <a:pt x="3621520" y="1212558"/>
                </a:moveTo>
                <a:cubicBezTo>
                  <a:pt x="3622587" y="1212842"/>
                  <a:pt x="3623653" y="1213411"/>
                  <a:pt x="3624721" y="1214692"/>
                </a:cubicBezTo>
                <a:cubicBezTo>
                  <a:pt x="3626001" y="1214692"/>
                  <a:pt x="3627282" y="1219529"/>
                  <a:pt x="3626215" y="1220667"/>
                </a:cubicBezTo>
                <a:cubicBezTo>
                  <a:pt x="3624081" y="1224224"/>
                  <a:pt x="3620453" y="1221663"/>
                  <a:pt x="3615971" y="1220240"/>
                </a:cubicBezTo>
                <a:cubicBezTo>
                  <a:pt x="3617038" y="1219103"/>
                  <a:pt x="3615971" y="1217822"/>
                  <a:pt x="3614690" y="1216541"/>
                </a:cubicBezTo>
                <a:cubicBezTo>
                  <a:pt x="3616397" y="1214834"/>
                  <a:pt x="3618532" y="1211846"/>
                  <a:pt x="3621520" y="1212558"/>
                </a:cubicBezTo>
                <a:close/>
                <a:moveTo>
                  <a:pt x="4698222" y="1212131"/>
                </a:moveTo>
                <a:cubicBezTo>
                  <a:pt x="4701210" y="1213981"/>
                  <a:pt x="4704198" y="1215830"/>
                  <a:pt x="4704412" y="1218533"/>
                </a:cubicBezTo>
                <a:cubicBezTo>
                  <a:pt x="4704412" y="1219529"/>
                  <a:pt x="4704198" y="1220525"/>
                  <a:pt x="4703558" y="1221663"/>
                </a:cubicBezTo>
                <a:cubicBezTo>
                  <a:pt x="4697796" y="1223228"/>
                  <a:pt x="4693527" y="1218391"/>
                  <a:pt x="4698222" y="1212131"/>
                </a:cubicBezTo>
                <a:close/>
                <a:moveTo>
                  <a:pt x="3466364" y="1211704"/>
                </a:moveTo>
                <a:cubicBezTo>
                  <a:pt x="3467644" y="1211846"/>
                  <a:pt x="3468924" y="1212558"/>
                  <a:pt x="3470419" y="1213981"/>
                </a:cubicBezTo>
                <a:cubicBezTo>
                  <a:pt x="3469138" y="1218675"/>
                  <a:pt x="3461241" y="1221521"/>
                  <a:pt x="3454412" y="1224793"/>
                </a:cubicBezTo>
                <a:cubicBezTo>
                  <a:pt x="3453558" y="1221663"/>
                  <a:pt x="3453131" y="1220098"/>
                  <a:pt x="3451638" y="1217964"/>
                </a:cubicBezTo>
                <a:cubicBezTo>
                  <a:pt x="3458680" y="1215546"/>
                  <a:pt x="3462309" y="1211277"/>
                  <a:pt x="3466364" y="1211704"/>
                </a:cubicBezTo>
                <a:close/>
                <a:moveTo>
                  <a:pt x="1483069" y="1211621"/>
                </a:moveTo>
                <a:cubicBezTo>
                  <a:pt x="1488955" y="1212086"/>
                  <a:pt x="1486477" y="1218437"/>
                  <a:pt x="1484102" y="1219366"/>
                </a:cubicBezTo>
                <a:cubicBezTo>
                  <a:pt x="1481521" y="1219056"/>
                  <a:pt x="1480694" y="1217198"/>
                  <a:pt x="1480798" y="1215494"/>
                </a:cubicBezTo>
                <a:cubicBezTo>
                  <a:pt x="1480901" y="1213790"/>
                  <a:pt x="1481933" y="1212086"/>
                  <a:pt x="1483069" y="1211621"/>
                </a:cubicBezTo>
                <a:close/>
                <a:moveTo>
                  <a:pt x="1402736" y="1211156"/>
                </a:moveTo>
                <a:cubicBezTo>
                  <a:pt x="1403665" y="1211156"/>
                  <a:pt x="1404595" y="1211311"/>
                  <a:pt x="1405421" y="1212086"/>
                </a:cubicBezTo>
                <a:cubicBezTo>
                  <a:pt x="1408828" y="1214874"/>
                  <a:pt x="1408931" y="1220141"/>
                  <a:pt x="1406247" y="1224943"/>
                </a:cubicBezTo>
                <a:lnTo>
                  <a:pt x="1405524" y="1225717"/>
                </a:lnTo>
                <a:lnTo>
                  <a:pt x="1415127" y="1229589"/>
                </a:lnTo>
                <a:lnTo>
                  <a:pt x="1417915" y="1230518"/>
                </a:lnTo>
                <a:lnTo>
                  <a:pt x="1418844" y="1229899"/>
                </a:lnTo>
                <a:cubicBezTo>
                  <a:pt x="1419876" y="1229434"/>
                  <a:pt x="1421012" y="1229279"/>
                  <a:pt x="1421942" y="1228350"/>
                </a:cubicBezTo>
                <a:cubicBezTo>
                  <a:pt x="1422251" y="1229124"/>
                  <a:pt x="1422871" y="1230209"/>
                  <a:pt x="1423077" y="1231448"/>
                </a:cubicBezTo>
                <a:lnTo>
                  <a:pt x="1422974" y="1232067"/>
                </a:lnTo>
                <a:lnTo>
                  <a:pt x="1423284" y="1232223"/>
                </a:lnTo>
                <a:lnTo>
                  <a:pt x="1422974" y="1232378"/>
                </a:lnTo>
                <a:lnTo>
                  <a:pt x="1422974" y="1233617"/>
                </a:lnTo>
                <a:cubicBezTo>
                  <a:pt x="1422664" y="1234391"/>
                  <a:pt x="1422251" y="1235166"/>
                  <a:pt x="1421529" y="1236095"/>
                </a:cubicBezTo>
                <a:cubicBezTo>
                  <a:pt x="1420703" y="1237024"/>
                  <a:pt x="1420599" y="1237024"/>
                  <a:pt x="1419773" y="1237024"/>
                </a:cubicBezTo>
                <a:cubicBezTo>
                  <a:pt x="1418844" y="1237489"/>
                  <a:pt x="1418121" y="1237954"/>
                  <a:pt x="1417502" y="1238263"/>
                </a:cubicBezTo>
                <a:lnTo>
                  <a:pt x="1417089" y="1238263"/>
                </a:lnTo>
                <a:lnTo>
                  <a:pt x="1416263" y="1239347"/>
                </a:lnTo>
                <a:cubicBezTo>
                  <a:pt x="1414610" y="1241981"/>
                  <a:pt x="1413578" y="1245079"/>
                  <a:pt x="1412442" y="1247867"/>
                </a:cubicBezTo>
                <a:lnTo>
                  <a:pt x="1413991" y="1248642"/>
                </a:lnTo>
                <a:cubicBezTo>
                  <a:pt x="1415024" y="1249880"/>
                  <a:pt x="1415746" y="1251275"/>
                  <a:pt x="1416985" y="1252204"/>
                </a:cubicBezTo>
                <a:cubicBezTo>
                  <a:pt x="1414920" y="1255302"/>
                  <a:pt x="1412029" y="1256232"/>
                  <a:pt x="1409861" y="1255767"/>
                </a:cubicBezTo>
                <a:lnTo>
                  <a:pt x="1408208" y="1254837"/>
                </a:lnTo>
                <a:lnTo>
                  <a:pt x="1406969" y="1256232"/>
                </a:lnTo>
                <a:cubicBezTo>
                  <a:pt x="1405937" y="1257006"/>
                  <a:pt x="1404698" y="1257780"/>
                  <a:pt x="1403252" y="1258400"/>
                </a:cubicBezTo>
                <a:cubicBezTo>
                  <a:pt x="1400464" y="1259484"/>
                  <a:pt x="1397883" y="1260104"/>
                  <a:pt x="1395405" y="1260104"/>
                </a:cubicBezTo>
                <a:lnTo>
                  <a:pt x="1391481" y="1259175"/>
                </a:lnTo>
                <a:lnTo>
                  <a:pt x="1391275" y="1259484"/>
                </a:lnTo>
                <a:cubicBezTo>
                  <a:pt x="1389932" y="1260259"/>
                  <a:pt x="1387661" y="1260259"/>
                  <a:pt x="1385079" y="1258865"/>
                </a:cubicBezTo>
                <a:lnTo>
                  <a:pt x="1386318" y="1256851"/>
                </a:lnTo>
                <a:lnTo>
                  <a:pt x="1383324" y="1254682"/>
                </a:lnTo>
                <a:lnTo>
                  <a:pt x="1381465" y="1251739"/>
                </a:lnTo>
                <a:lnTo>
                  <a:pt x="1379090" y="1250965"/>
                </a:lnTo>
                <a:lnTo>
                  <a:pt x="1379607" y="1253289"/>
                </a:lnTo>
                <a:cubicBezTo>
                  <a:pt x="1379503" y="1254063"/>
                  <a:pt x="1378987" y="1255147"/>
                  <a:pt x="1378058" y="1256232"/>
                </a:cubicBezTo>
                <a:cubicBezTo>
                  <a:pt x="1375476" y="1256386"/>
                  <a:pt x="1371243" y="1253134"/>
                  <a:pt x="1371346" y="1250655"/>
                </a:cubicBezTo>
                <a:cubicBezTo>
                  <a:pt x="1372275" y="1249880"/>
                  <a:pt x="1373205" y="1248951"/>
                  <a:pt x="1374031" y="1248177"/>
                </a:cubicBezTo>
                <a:lnTo>
                  <a:pt x="1375270" y="1248796"/>
                </a:lnTo>
                <a:lnTo>
                  <a:pt x="1371553" y="1246008"/>
                </a:lnTo>
                <a:cubicBezTo>
                  <a:pt x="1367938" y="1242445"/>
                  <a:pt x="1365873" y="1237799"/>
                  <a:pt x="1366493" y="1232687"/>
                </a:cubicBezTo>
                <a:cubicBezTo>
                  <a:pt x="1366906" y="1230209"/>
                  <a:pt x="1367938" y="1227421"/>
                  <a:pt x="1369900" y="1224633"/>
                </a:cubicBezTo>
                <a:cubicBezTo>
                  <a:pt x="1371346" y="1222774"/>
                  <a:pt x="1373102" y="1221535"/>
                  <a:pt x="1375063" y="1220450"/>
                </a:cubicBezTo>
                <a:lnTo>
                  <a:pt x="1379710" y="1218901"/>
                </a:lnTo>
                <a:lnTo>
                  <a:pt x="1380639" y="1217507"/>
                </a:lnTo>
                <a:lnTo>
                  <a:pt x="1381259" y="1218282"/>
                </a:lnTo>
                <a:lnTo>
                  <a:pt x="1385286" y="1216888"/>
                </a:lnTo>
                <a:cubicBezTo>
                  <a:pt x="1389106" y="1215803"/>
                  <a:pt x="1393133" y="1214564"/>
                  <a:pt x="1397160" y="1212551"/>
                </a:cubicBezTo>
                <a:lnTo>
                  <a:pt x="1397057" y="1213945"/>
                </a:lnTo>
                <a:lnTo>
                  <a:pt x="1397986" y="1213170"/>
                </a:lnTo>
                <a:cubicBezTo>
                  <a:pt x="1399638" y="1211931"/>
                  <a:pt x="1401291" y="1211156"/>
                  <a:pt x="1402736" y="1211156"/>
                </a:cubicBezTo>
                <a:close/>
                <a:moveTo>
                  <a:pt x="3515877" y="1211135"/>
                </a:moveTo>
                <a:cubicBezTo>
                  <a:pt x="3520786" y="1211419"/>
                  <a:pt x="3525907" y="1214834"/>
                  <a:pt x="3528895" y="1218675"/>
                </a:cubicBezTo>
                <a:lnTo>
                  <a:pt x="3529962" y="1220952"/>
                </a:lnTo>
                <a:lnTo>
                  <a:pt x="3534658" y="1218675"/>
                </a:lnTo>
                <a:cubicBezTo>
                  <a:pt x="3534871" y="1219529"/>
                  <a:pt x="3534445" y="1219956"/>
                  <a:pt x="3533804" y="1220383"/>
                </a:cubicBezTo>
                <a:cubicBezTo>
                  <a:pt x="3533377" y="1220809"/>
                  <a:pt x="3532523" y="1221094"/>
                  <a:pt x="3531670" y="1221236"/>
                </a:cubicBezTo>
                <a:lnTo>
                  <a:pt x="3530390" y="1221663"/>
                </a:lnTo>
                <a:lnTo>
                  <a:pt x="3531457" y="1223940"/>
                </a:lnTo>
                <a:cubicBezTo>
                  <a:pt x="3529322" y="1229061"/>
                  <a:pt x="3526334" y="1231764"/>
                  <a:pt x="3523133" y="1232760"/>
                </a:cubicBezTo>
                <a:cubicBezTo>
                  <a:pt x="3513956" y="1235748"/>
                  <a:pt x="3504352" y="1222943"/>
                  <a:pt x="3511395" y="1211989"/>
                </a:cubicBezTo>
                <a:cubicBezTo>
                  <a:pt x="3512676" y="1211277"/>
                  <a:pt x="3514383" y="1210993"/>
                  <a:pt x="3515877" y="1211135"/>
                </a:cubicBezTo>
                <a:close/>
                <a:moveTo>
                  <a:pt x="4089122" y="1210993"/>
                </a:moveTo>
                <a:cubicBezTo>
                  <a:pt x="4089763" y="1211277"/>
                  <a:pt x="4090403" y="1212131"/>
                  <a:pt x="4090830" y="1213838"/>
                </a:cubicBezTo>
                <a:lnTo>
                  <a:pt x="4091043" y="1214549"/>
                </a:lnTo>
                <a:lnTo>
                  <a:pt x="4093177" y="1213554"/>
                </a:lnTo>
                <a:cubicBezTo>
                  <a:pt x="4093177" y="1214692"/>
                  <a:pt x="4093177" y="1215972"/>
                  <a:pt x="4094458" y="1215972"/>
                </a:cubicBezTo>
                <a:lnTo>
                  <a:pt x="4092110" y="1217822"/>
                </a:lnTo>
                <a:lnTo>
                  <a:pt x="4092324" y="1218818"/>
                </a:lnTo>
                <a:lnTo>
                  <a:pt x="4092110" y="1222659"/>
                </a:lnTo>
                <a:lnTo>
                  <a:pt x="4092324" y="1223085"/>
                </a:lnTo>
                <a:cubicBezTo>
                  <a:pt x="4092324" y="1223085"/>
                  <a:pt x="4097232" y="1229203"/>
                  <a:pt x="4092750" y="1234894"/>
                </a:cubicBezTo>
                <a:cubicBezTo>
                  <a:pt x="4091683" y="1233756"/>
                  <a:pt x="4085068" y="1240585"/>
                  <a:pt x="4080159" y="1238024"/>
                </a:cubicBezTo>
                <a:cubicBezTo>
                  <a:pt x="4077811" y="1236743"/>
                  <a:pt x="4076744" y="1235463"/>
                  <a:pt x="4074183" y="1234183"/>
                </a:cubicBezTo>
                <a:lnTo>
                  <a:pt x="4073542" y="1230910"/>
                </a:lnTo>
                <a:lnTo>
                  <a:pt x="4066926" y="1228350"/>
                </a:lnTo>
                <a:cubicBezTo>
                  <a:pt x="4065646" y="1227212"/>
                  <a:pt x="4062658" y="1222517"/>
                  <a:pt x="4063512" y="1221236"/>
                </a:cubicBezTo>
                <a:cubicBezTo>
                  <a:pt x="4064579" y="1219956"/>
                  <a:pt x="4065646" y="1219956"/>
                  <a:pt x="4066713" y="1219814"/>
                </a:cubicBezTo>
                <a:lnTo>
                  <a:pt x="4073542" y="1222801"/>
                </a:lnTo>
                <a:lnTo>
                  <a:pt x="4074823" y="1219814"/>
                </a:lnTo>
                <a:cubicBezTo>
                  <a:pt x="4076104" y="1218106"/>
                  <a:pt x="4077597" y="1217253"/>
                  <a:pt x="4079092" y="1216826"/>
                </a:cubicBezTo>
                <a:lnTo>
                  <a:pt x="4080585" y="1216826"/>
                </a:lnTo>
                <a:lnTo>
                  <a:pt x="4080372" y="1215546"/>
                </a:lnTo>
                <a:lnTo>
                  <a:pt x="4084000" y="1213554"/>
                </a:lnTo>
                <a:lnTo>
                  <a:pt x="4085281" y="1211419"/>
                </a:lnTo>
                <a:cubicBezTo>
                  <a:pt x="4086988" y="1210993"/>
                  <a:pt x="4088268" y="1210708"/>
                  <a:pt x="4089122" y="1210993"/>
                </a:cubicBezTo>
                <a:close/>
                <a:moveTo>
                  <a:pt x="1517557" y="1210847"/>
                </a:moveTo>
                <a:cubicBezTo>
                  <a:pt x="1518280" y="1210382"/>
                  <a:pt x="1519209" y="1211776"/>
                  <a:pt x="1519209" y="1211776"/>
                </a:cubicBezTo>
                <a:cubicBezTo>
                  <a:pt x="1519312" y="1213635"/>
                  <a:pt x="1516628" y="1214410"/>
                  <a:pt x="1515182" y="1215339"/>
                </a:cubicBezTo>
                <a:cubicBezTo>
                  <a:pt x="1515389" y="1217198"/>
                  <a:pt x="1511362" y="1215958"/>
                  <a:pt x="1511465" y="1217817"/>
                </a:cubicBezTo>
                <a:cubicBezTo>
                  <a:pt x="1506715" y="1217043"/>
                  <a:pt x="1505269" y="1222929"/>
                  <a:pt x="1497732" y="1222929"/>
                </a:cubicBezTo>
                <a:lnTo>
                  <a:pt x="1502172" y="1219056"/>
                </a:lnTo>
                <a:lnTo>
                  <a:pt x="1501656" y="1216888"/>
                </a:lnTo>
                <a:cubicBezTo>
                  <a:pt x="1502068" y="1215803"/>
                  <a:pt x="1503101" y="1214874"/>
                  <a:pt x="1504546" y="1213635"/>
                </a:cubicBezTo>
                <a:cubicBezTo>
                  <a:pt x="1505166" y="1214874"/>
                  <a:pt x="1505269" y="1215958"/>
                  <a:pt x="1504857" y="1217043"/>
                </a:cubicBezTo>
                <a:lnTo>
                  <a:pt x="1504650" y="1217507"/>
                </a:lnTo>
                <a:lnTo>
                  <a:pt x="1509193" y="1214874"/>
                </a:lnTo>
                <a:cubicBezTo>
                  <a:pt x="1511258" y="1213790"/>
                  <a:pt x="1513117" y="1212551"/>
                  <a:pt x="1514459" y="1211002"/>
                </a:cubicBezTo>
                <a:cubicBezTo>
                  <a:pt x="1514459" y="1211002"/>
                  <a:pt x="1514459" y="1211002"/>
                  <a:pt x="1516834" y="1211311"/>
                </a:cubicBezTo>
                <a:cubicBezTo>
                  <a:pt x="1517557" y="1210847"/>
                  <a:pt x="1517557" y="1210847"/>
                  <a:pt x="1517557" y="1210847"/>
                </a:cubicBezTo>
                <a:close/>
                <a:moveTo>
                  <a:pt x="4492699" y="1210282"/>
                </a:moveTo>
                <a:cubicBezTo>
                  <a:pt x="4495473" y="1212131"/>
                  <a:pt x="4499102" y="1214407"/>
                  <a:pt x="4500168" y="1216541"/>
                </a:cubicBezTo>
                <a:cubicBezTo>
                  <a:pt x="4497821" y="1216399"/>
                  <a:pt x="4493553" y="1214976"/>
                  <a:pt x="4492912" y="1211846"/>
                </a:cubicBezTo>
                <a:cubicBezTo>
                  <a:pt x="4492912" y="1211846"/>
                  <a:pt x="4492912" y="1211989"/>
                  <a:pt x="4492699" y="1210282"/>
                </a:cubicBezTo>
                <a:close/>
                <a:moveTo>
                  <a:pt x="4290804" y="1210282"/>
                </a:moveTo>
                <a:cubicBezTo>
                  <a:pt x="4298487" y="1211562"/>
                  <a:pt x="4308304" y="1217822"/>
                  <a:pt x="4309585" y="1221521"/>
                </a:cubicBezTo>
                <a:cubicBezTo>
                  <a:pt x="4304890" y="1222943"/>
                  <a:pt x="4301262" y="1219529"/>
                  <a:pt x="4295712" y="1220240"/>
                </a:cubicBezTo>
                <a:cubicBezTo>
                  <a:pt x="4293579" y="1216399"/>
                  <a:pt x="4286749" y="1216541"/>
                  <a:pt x="4283974" y="1210993"/>
                </a:cubicBezTo>
                <a:cubicBezTo>
                  <a:pt x="4285895" y="1209997"/>
                  <a:pt x="4288243" y="1209855"/>
                  <a:pt x="4290804" y="1210282"/>
                </a:cubicBezTo>
                <a:close/>
                <a:moveTo>
                  <a:pt x="4124337" y="1209286"/>
                </a:moveTo>
                <a:cubicBezTo>
                  <a:pt x="4126897" y="1209855"/>
                  <a:pt x="4129032" y="1209286"/>
                  <a:pt x="4131593" y="1209855"/>
                </a:cubicBezTo>
                <a:cubicBezTo>
                  <a:pt x="4134367" y="1212842"/>
                  <a:pt x="4134367" y="1221663"/>
                  <a:pt x="4130739" y="1224224"/>
                </a:cubicBezTo>
                <a:cubicBezTo>
                  <a:pt x="4129459" y="1225077"/>
                  <a:pt x="4127751" y="1225077"/>
                  <a:pt x="4125831" y="1224082"/>
                </a:cubicBezTo>
                <a:cubicBezTo>
                  <a:pt x="4119855" y="1220667"/>
                  <a:pt x="4121562" y="1215119"/>
                  <a:pt x="4124337" y="1209286"/>
                </a:cubicBezTo>
                <a:close/>
                <a:moveTo>
                  <a:pt x="4105982" y="1209001"/>
                </a:moveTo>
                <a:cubicBezTo>
                  <a:pt x="4110251" y="1209570"/>
                  <a:pt x="4116440" y="1213269"/>
                  <a:pt x="4119428" y="1215688"/>
                </a:cubicBezTo>
                <a:cubicBezTo>
                  <a:pt x="4116226" y="1218249"/>
                  <a:pt x="4106410" y="1212984"/>
                  <a:pt x="4102567" y="1209570"/>
                </a:cubicBezTo>
                <a:cubicBezTo>
                  <a:pt x="4103421" y="1209001"/>
                  <a:pt x="4104702" y="1208859"/>
                  <a:pt x="4105982" y="1209001"/>
                </a:cubicBezTo>
                <a:close/>
                <a:moveTo>
                  <a:pt x="3439046" y="1209001"/>
                </a:moveTo>
                <a:cubicBezTo>
                  <a:pt x="3440540" y="1209143"/>
                  <a:pt x="3441607" y="1209997"/>
                  <a:pt x="3442674" y="1211277"/>
                </a:cubicBezTo>
                <a:cubicBezTo>
                  <a:pt x="3444381" y="1213696"/>
                  <a:pt x="3444594" y="1217253"/>
                  <a:pt x="3440967" y="1218106"/>
                </a:cubicBezTo>
                <a:cubicBezTo>
                  <a:pt x="3438832" y="1216826"/>
                  <a:pt x="3437125" y="1214123"/>
                  <a:pt x="3435204" y="1211562"/>
                </a:cubicBezTo>
                <a:cubicBezTo>
                  <a:pt x="3436485" y="1209570"/>
                  <a:pt x="3437765" y="1208859"/>
                  <a:pt x="3439046" y="1209001"/>
                </a:cubicBezTo>
                <a:close/>
                <a:moveTo>
                  <a:pt x="5754650" y="1208005"/>
                </a:moveTo>
                <a:cubicBezTo>
                  <a:pt x="5755930" y="1208147"/>
                  <a:pt x="5756998" y="1209001"/>
                  <a:pt x="5758065" y="1210282"/>
                </a:cubicBezTo>
                <a:cubicBezTo>
                  <a:pt x="5759985" y="1212700"/>
                  <a:pt x="5758705" y="1214976"/>
                  <a:pt x="5758705" y="1214976"/>
                </a:cubicBezTo>
                <a:cubicBezTo>
                  <a:pt x="5755930" y="1218533"/>
                  <a:pt x="5752302" y="1219671"/>
                  <a:pt x="5749101" y="1217111"/>
                </a:cubicBezTo>
                <a:cubicBezTo>
                  <a:pt x="5748247" y="1214834"/>
                  <a:pt x="5749742" y="1212416"/>
                  <a:pt x="5751022" y="1210139"/>
                </a:cubicBezTo>
                <a:cubicBezTo>
                  <a:pt x="5752302" y="1208290"/>
                  <a:pt x="5753583" y="1207720"/>
                  <a:pt x="5754650" y="1208005"/>
                </a:cubicBezTo>
                <a:close/>
                <a:moveTo>
                  <a:pt x="4015492" y="1207436"/>
                </a:moveTo>
                <a:cubicBezTo>
                  <a:pt x="4016773" y="1208574"/>
                  <a:pt x="4018480" y="1210851"/>
                  <a:pt x="4016346" y="1213411"/>
                </a:cubicBezTo>
                <a:cubicBezTo>
                  <a:pt x="4015492" y="1215119"/>
                  <a:pt x="4014212" y="1216114"/>
                  <a:pt x="4012504" y="1216541"/>
                </a:cubicBezTo>
                <a:lnTo>
                  <a:pt x="4010371" y="1216399"/>
                </a:lnTo>
                <a:lnTo>
                  <a:pt x="4011011" y="1217111"/>
                </a:lnTo>
                <a:cubicBezTo>
                  <a:pt x="4010584" y="1218106"/>
                  <a:pt x="4011651" y="1218675"/>
                  <a:pt x="4009943" y="1219103"/>
                </a:cubicBezTo>
                <a:cubicBezTo>
                  <a:pt x="4012291" y="1223085"/>
                  <a:pt x="4011011" y="1234325"/>
                  <a:pt x="4008023" y="1238024"/>
                </a:cubicBezTo>
                <a:cubicBezTo>
                  <a:pt x="4003327" y="1228350"/>
                  <a:pt x="4006956" y="1224082"/>
                  <a:pt x="4007596" y="1219529"/>
                </a:cubicBezTo>
                <a:lnTo>
                  <a:pt x="4007169" y="1216683"/>
                </a:lnTo>
                <a:lnTo>
                  <a:pt x="4004821" y="1218533"/>
                </a:lnTo>
                <a:cubicBezTo>
                  <a:pt x="4003968" y="1219103"/>
                  <a:pt x="4003114" y="1219529"/>
                  <a:pt x="4001833" y="1218960"/>
                </a:cubicBezTo>
                <a:lnTo>
                  <a:pt x="4006743" y="1214976"/>
                </a:lnTo>
                <a:lnTo>
                  <a:pt x="4006743" y="1214692"/>
                </a:lnTo>
                <a:lnTo>
                  <a:pt x="4007169" y="1214692"/>
                </a:lnTo>
                <a:lnTo>
                  <a:pt x="4008236" y="1213838"/>
                </a:lnTo>
                <a:cubicBezTo>
                  <a:pt x="4008023" y="1212700"/>
                  <a:pt x="4008023" y="1211419"/>
                  <a:pt x="4008876" y="1210282"/>
                </a:cubicBezTo>
                <a:cubicBezTo>
                  <a:pt x="4011011" y="1207720"/>
                  <a:pt x="4013358" y="1208859"/>
                  <a:pt x="4015492" y="1207436"/>
                </a:cubicBezTo>
                <a:close/>
                <a:moveTo>
                  <a:pt x="5026462" y="1207009"/>
                </a:moveTo>
                <a:cubicBezTo>
                  <a:pt x="5026676" y="1208290"/>
                  <a:pt x="5026889" y="1209428"/>
                  <a:pt x="5027956" y="1209428"/>
                </a:cubicBezTo>
                <a:cubicBezTo>
                  <a:pt x="5026035" y="1211846"/>
                  <a:pt x="5024968" y="1211989"/>
                  <a:pt x="5023901" y="1213127"/>
                </a:cubicBezTo>
                <a:cubicBezTo>
                  <a:pt x="5024968" y="1213127"/>
                  <a:pt x="5024114" y="1214407"/>
                  <a:pt x="5024114" y="1214407"/>
                </a:cubicBezTo>
                <a:cubicBezTo>
                  <a:pt x="5024114" y="1214407"/>
                  <a:pt x="5023901" y="1214407"/>
                  <a:pt x="5026676" y="1216683"/>
                </a:cubicBezTo>
                <a:cubicBezTo>
                  <a:pt x="5026676" y="1216683"/>
                  <a:pt x="5032011" y="1222374"/>
                  <a:pt x="5028383" y="1228492"/>
                </a:cubicBezTo>
                <a:cubicBezTo>
                  <a:pt x="5027102" y="1227496"/>
                  <a:pt x="5021126" y="1235036"/>
                  <a:pt x="5016218" y="1232902"/>
                </a:cubicBezTo>
                <a:cubicBezTo>
                  <a:pt x="5013657" y="1231906"/>
                  <a:pt x="5012376" y="1230626"/>
                  <a:pt x="5010029" y="1229630"/>
                </a:cubicBezTo>
                <a:cubicBezTo>
                  <a:pt x="5009388" y="1226073"/>
                  <a:pt x="5005334" y="1222659"/>
                  <a:pt x="5008962" y="1215261"/>
                </a:cubicBezTo>
                <a:cubicBezTo>
                  <a:pt x="5013870" y="1207863"/>
                  <a:pt x="5021553" y="1213411"/>
                  <a:pt x="5021340" y="1212131"/>
                </a:cubicBezTo>
                <a:cubicBezTo>
                  <a:pt x="5022407" y="1210993"/>
                  <a:pt x="5022407" y="1210851"/>
                  <a:pt x="5022193" y="1209712"/>
                </a:cubicBezTo>
                <a:cubicBezTo>
                  <a:pt x="5023261" y="1209712"/>
                  <a:pt x="5025395" y="1208290"/>
                  <a:pt x="5026462" y="1207009"/>
                </a:cubicBezTo>
                <a:close/>
                <a:moveTo>
                  <a:pt x="1554626" y="1206355"/>
                </a:moveTo>
                <a:cubicBezTo>
                  <a:pt x="1558756" y="1208213"/>
                  <a:pt x="1558343" y="1212396"/>
                  <a:pt x="1559995" y="1216578"/>
                </a:cubicBezTo>
                <a:cubicBezTo>
                  <a:pt x="1559272" y="1216888"/>
                  <a:pt x="1558963" y="1217972"/>
                  <a:pt x="1559479" y="1218746"/>
                </a:cubicBezTo>
                <a:cubicBezTo>
                  <a:pt x="1559169" y="1219831"/>
                  <a:pt x="1558859" y="1221070"/>
                  <a:pt x="1559685" y="1220760"/>
                </a:cubicBezTo>
                <a:cubicBezTo>
                  <a:pt x="1558859" y="1224168"/>
                  <a:pt x="1559272" y="1224788"/>
                  <a:pt x="1556588" y="1225252"/>
                </a:cubicBezTo>
                <a:cubicBezTo>
                  <a:pt x="1553593" y="1218901"/>
                  <a:pt x="1552354" y="1210537"/>
                  <a:pt x="1552148" y="1208678"/>
                </a:cubicBezTo>
                <a:cubicBezTo>
                  <a:pt x="1552044" y="1207749"/>
                  <a:pt x="1552251" y="1207129"/>
                  <a:pt x="1552561" y="1206820"/>
                </a:cubicBezTo>
                <a:cubicBezTo>
                  <a:pt x="1552974" y="1206510"/>
                  <a:pt x="1553697" y="1206355"/>
                  <a:pt x="1554626" y="1206355"/>
                </a:cubicBezTo>
                <a:close/>
                <a:moveTo>
                  <a:pt x="1558653" y="1205580"/>
                </a:moveTo>
                <a:cubicBezTo>
                  <a:pt x="1558653" y="1205580"/>
                  <a:pt x="1558756" y="1205580"/>
                  <a:pt x="1559479" y="1205580"/>
                </a:cubicBezTo>
                <a:cubicBezTo>
                  <a:pt x="1559479" y="1205580"/>
                  <a:pt x="1559479" y="1206355"/>
                  <a:pt x="1558653" y="1207129"/>
                </a:cubicBezTo>
                <a:cubicBezTo>
                  <a:pt x="1558653" y="1207129"/>
                  <a:pt x="1558446" y="1206975"/>
                  <a:pt x="1558343" y="1206665"/>
                </a:cubicBezTo>
                <a:cubicBezTo>
                  <a:pt x="1558240" y="1206355"/>
                  <a:pt x="1558240" y="1206045"/>
                  <a:pt x="1558653" y="1205580"/>
                </a:cubicBezTo>
                <a:close/>
                <a:moveTo>
                  <a:pt x="1520345" y="1205271"/>
                </a:moveTo>
                <a:cubicBezTo>
                  <a:pt x="1530670" y="1206355"/>
                  <a:pt x="1538311" y="1209608"/>
                  <a:pt x="1543474" y="1214874"/>
                </a:cubicBezTo>
                <a:cubicBezTo>
                  <a:pt x="1545230" y="1216578"/>
                  <a:pt x="1546675" y="1218591"/>
                  <a:pt x="1547811" y="1220760"/>
                </a:cubicBezTo>
                <a:cubicBezTo>
                  <a:pt x="1542235" y="1225097"/>
                  <a:pt x="1536246" y="1220605"/>
                  <a:pt x="1531083" y="1218437"/>
                </a:cubicBezTo>
                <a:cubicBezTo>
                  <a:pt x="1530258" y="1224323"/>
                  <a:pt x="1530670" y="1233307"/>
                  <a:pt x="1523856" y="1233462"/>
                </a:cubicBezTo>
                <a:lnTo>
                  <a:pt x="1522100" y="1229744"/>
                </a:lnTo>
                <a:lnTo>
                  <a:pt x="1518899" y="1230054"/>
                </a:lnTo>
                <a:lnTo>
                  <a:pt x="1518073" y="1229279"/>
                </a:lnTo>
                <a:lnTo>
                  <a:pt x="1516834" y="1230054"/>
                </a:lnTo>
                <a:cubicBezTo>
                  <a:pt x="1516214" y="1230518"/>
                  <a:pt x="1515802" y="1230828"/>
                  <a:pt x="1515802" y="1230828"/>
                </a:cubicBezTo>
                <a:cubicBezTo>
                  <a:pt x="1514666" y="1230364"/>
                  <a:pt x="1514046" y="1230054"/>
                  <a:pt x="1513839" y="1229589"/>
                </a:cubicBezTo>
                <a:lnTo>
                  <a:pt x="1513943" y="1228195"/>
                </a:lnTo>
                <a:lnTo>
                  <a:pt x="1511981" y="1227731"/>
                </a:lnTo>
                <a:cubicBezTo>
                  <a:pt x="1512188" y="1225872"/>
                  <a:pt x="1514769" y="1222619"/>
                  <a:pt x="1516731" y="1222929"/>
                </a:cubicBezTo>
                <a:lnTo>
                  <a:pt x="1516008" y="1224788"/>
                </a:lnTo>
                <a:lnTo>
                  <a:pt x="1517454" y="1223393"/>
                </a:lnTo>
                <a:cubicBezTo>
                  <a:pt x="1519106" y="1222309"/>
                  <a:pt x="1521068" y="1221535"/>
                  <a:pt x="1522720" y="1221845"/>
                </a:cubicBezTo>
                <a:lnTo>
                  <a:pt x="1522720" y="1223858"/>
                </a:lnTo>
                <a:lnTo>
                  <a:pt x="1523752" y="1219676"/>
                </a:lnTo>
                <a:cubicBezTo>
                  <a:pt x="1524165" y="1217972"/>
                  <a:pt x="1524475" y="1216268"/>
                  <a:pt x="1524372" y="1214410"/>
                </a:cubicBezTo>
                <a:cubicBezTo>
                  <a:pt x="1523442" y="1212086"/>
                  <a:pt x="1520655" y="1211776"/>
                  <a:pt x="1520138" y="1208988"/>
                </a:cubicBezTo>
                <a:cubicBezTo>
                  <a:pt x="1519932" y="1208058"/>
                  <a:pt x="1519932" y="1206820"/>
                  <a:pt x="1520345" y="1205271"/>
                </a:cubicBezTo>
                <a:close/>
                <a:moveTo>
                  <a:pt x="1030601" y="1204341"/>
                </a:moveTo>
                <a:cubicBezTo>
                  <a:pt x="1031530" y="1204806"/>
                  <a:pt x="1032253" y="1205580"/>
                  <a:pt x="1032666" y="1206510"/>
                </a:cubicBezTo>
                <a:cubicBezTo>
                  <a:pt x="1035454" y="1212086"/>
                  <a:pt x="1031117" y="1218901"/>
                  <a:pt x="1023579" y="1220605"/>
                </a:cubicBezTo>
                <a:cubicBezTo>
                  <a:pt x="1012014" y="1223703"/>
                  <a:pt x="1004787" y="1220141"/>
                  <a:pt x="1004787" y="1220141"/>
                </a:cubicBezTo>
                <a:cubicBezTo>
                  <a:pt x="1003960" y="1218127"/>
                  <a:pt x="1003754" y="1216423"/>
                  <a:pt x="1003960" y="1215029"/>
                </a:cubicBezTo>
                <a:cubicBezTo>
                  <a:pt x="1004580" y="1210537"/>
                  <a:pt x="1009020" y="1208213"/>
                  <a:pt x="1013667" y="1206510"/>
                </a:cubicBezTo>
                <a:cubicBezTo>
                  <a:pt x="1015732" y="1205890"/>
                  <a:pt x="1017900" y="1205425"/>
                  <a:pt x="1019759" y="1204961"/>
                </a:cubicBezTo>
                <a:cubicBezTo>
                  <a:pt x="1023683" y="1203877"/>
                  <a:pt x="1028019" y="1203102"/>
                  <a:pt x="1030601" y="1204341"/>
                </a:cubicBezTo>
                <a:close/>
                <a:moveTo>
                  <a:pt x="4608373" y="1202741"/>
                </a:moveTo>
                <a:cubicBezTo>
                  <a:pt x="4609653" y="1202599"/>
                  <a:pt x="4610933" y="1202883"/>
                  <a:pt x="4612001" y="1203453"/>
                </a:cubicBezTo>
                <a:cubicBezTo>
                  <a:pt x="4613068" y="1204733"/>
                  <a:pt x="4613068" y="1204733"/>
                  <a:pt x="4614135" y="1205871"/>
                </a:cubicBezTo>
                <a:cubicBezTo>
                  <a:pt x="4613921" y="1208290"/>
                  <a:pt x="4614775" y="1210708"/>
                  <a:pt x="4613281" y="1212984"/>
                </a:cubicBezTo>
                <a:cubicBezTo>
                  <a:pt x="4610720" y="1215403"/>
                  <a:pt x="4605171" y="1213981"/>
                  <a:pt x="4603037" y="1212842"/>
                </a:cubicBezTo>
                <a:cubicBezTo>
                  <a:pt x="4600903" y="1210424"/>
                  <a:pt x="4602610" y="1206867"/>
                  <a:pt x="4605171" y="1204591"/>
                </a:cubicBezTo>
                <a:cubicBezTo>
                  <a:pt x="4605812" y="1203310"/>
                  <a:pt x="4606878" y="1202883"/>
                  <a:pt x="4608373" y="1202741"/>
                </a:cubicBezTo>
                <a:close/>
                <a:moveTo>
                  <a:pt x="4222510" y="1202599"/>
                </a:moveTo>
                <a:cubicBezTo>
                  <a:pt x="4224857" y="1202172"/>
                  <a:pt x="4227418" y="1203310"/>
                  <a:pt x="4230193" y="1205587"/>
                </a:cubicBezTo>
                <a:cubicBezTo>
                  <a:pt x="4229553" y="1208147"/>
                  <a:pt x="4229979" y="1210566"/>
                  <a:pt x="4229553" y="1214265"/>
                </a:cubicBezTo>
                <a:cubicBezTo>
                  <a:pt x="4226138" y="1215403"/>
                  <a:pt x="4218668" y="1213838"/>
                  <a:pt x="4216320" y="1208432"/>
                </a:cubicBezTo>
                <a:cubicBezTo>
                  <a:pt x="4218027" y="1204875"/>
                  <a:pt x="4220162" y="1203026"/>
                  <a:pt x="4222510" y="1202599"/>
                </a:cubicBezTo>
                <a:close/>
                <a:moveTo>
                  <a:pt x="1051562" y="1202173"/>
                </a:moveTo>
                <a:cubicBezTo>
                  <a:pt x="1052491" y="1202947"/>
                  <a:pt x="1052491" y="1202947"/>
                  <a:pt x="1052594" y="1205271"/>
                </a:cubicBezTo>
                <a:cubicBezTo>
                  <a:pt x="1051768" y="1204651"/>
                  <a:pt x="1051768" y="1204496"/>
                  <a:pt x="1051045" y="1205425"/>
                </a:cubicBezTo>
                <a:cubicBezTo>
                  <a:pt x="1051045" y="1205425"/>
                  <a:pt x="1050942" y="1205580"/>
                  <a:pt x="1051045" y="1206355"/>
                </a:cubicBezTo>
                <a:cubicBezTo>
                  <a:pt x="1050219" y="1206510"/>
                  <a:pt x="1050219" y="1205580"/>
                  <a:pt x="1049393" y="1205735"/>
                </a:cubicBezTo>
                <a:cubicBezTo>
                  <a:pt x="1049393" y="1205735"/>
                  <a:pt x="1049393" y="1204961"/>
                  <a:pt x="1049393" y="1204961"/>
                </a:cubicBezTo>
                <a:cubicBezTo>
                  <a:pt x="1048980" y="1204961"/>
                  <a:pt x="1048877" y="1204961"/>
                  <a:pt x="1049084" y="1204806"/>
                </a:cubicBezTo>
                <a:cubicBezTo>
                  <a:pt x="1049290" y="1204496"/>
                  <a:pt x="1049703" y="1204032"/>
                  <a:pt x="1050013" y="1203257"/>
                </a:cubicBezTo>
                <a:cubicBezTo>
                  <a:pt x="1050839" y="1202328"/>
                  <a:pt x="1050735" y="1201553"/>
                  <a:pt x="1051562" y="1202173"/>
                </a:cubicBezTo>
                <a:close/>
                <a:moveTo>
                  <a:pt x="1495150" y="1202018"/>
                </a:moveTo>
                <a:cubicBezTo>
                  <a:pt x="1495976" y="1202018"/>
                  <a:pt x="1496802" y="1202482"/>
                  <a:pt x="1497525" y="1203257"/>
                </a:cubicBezTo>
                <a:cubicBezTo>
                  <a:pt x="1500003" y="1205425"/>
                  <a:pt x="1502275" y="1210072"/>
                  <a:pt x="1502998" y="1212706"/>
                </a:cubicBezTo>
                <a:cubicBezTo>
                  <a:pt x="1499900" y="1212551"/>
                  <a:pt x="1496079" y="1205425"/>
                  <a:pt x="1495150" y="1202018"/>
                </a:cubicBezTo>
                <a:close/>
                <a:moveTo>
                  <a:pt x="1684522" y="1200778"/>
                </a:moveTo>
                <a:cubicBezTo>
                  <a:pt x="1684935" y="1201089"/>
                  <a:pt x="1685245" y="1201553"/>
                  <a:pt x="1685658" y="1201863"/>
                </a:cubicBezTo>
                <a:cubicBezTo>
                  <a:pt x="1686381" y="1202792"/>
                  <a:pt x="1687104" y="1203722"/>
                  <a:pt x="1687827" y="1204651"/>
                </a:cubicBezTo>
                <a:cubicBezTo>
                  <a:pt x="1687827" y="1204651"/>
                  <a:pt x="1687930" y="1204651"/>
                  <a:pt x="1683180" y="1200933"/>
                </a:cubicBezTo>
                <a:cubicBezTo>
                  <a:pt x="1683593" y="1200469"/>
                  <a:pt x="1684109" y="1200469"/>
                  <a:pt x="1684522" y="1200778"/>
                </a:cubicBezTo>
                <a:close/>
                <a:moveTo>
                  <a:pt x="4246199" y="1200180"/>
                </a:moveTo>
                <a:cubicBezTo>
                  <a:pt x="4248120" y="1200038"/>
                  <a:pt x="4250254" y="1200038"/>
                  <a:pt x="4252175" y="1200180"/>
                </a:cubicBezTo>
                <a:cubicBezTo>
                  <a:pt x="4257724" y="1200465"/>
                  <a:pt x="4262846" y="1202741"/>
                  <a:pt x="4264126" y="1210282"/>
                </a:cubicBezTo>
                <a:cubicBezTo>
                  <a:pt x="4255376" y="1220240"/>
                  <a:pt x="4234674" y="1218818"/>
                  <a:pt x="4236809" y="1206725"/>
                </a:cubicBezTo>
                <a:cubicBezTo>
                  <a:pt x="4237236" y="1205017"/>
                  <a:pt x="4238089" y="1203026"/>
                  <a:pt x="4239369" y="1200892"/>
                </a:cubicBezTo>
                <a:cubicBezTo>
                  <a:pt x="4241290" y="1200750"/>
                  <a:pt x="4243852" y="1200465"/>
                  <a:pt x="4246199" y="1200180"/>
                </a:cubicBezTo>
                <a:close/>
                <a:moveTo>
                  <a:pt x="5132105" y="1199611"/>
                </a:moveTo>
                <a:cubicBezTo>
                  <a:pt x="5132958" y="1199327"/>
                  <a:pt x="5133812" y="1199469"/>
                  <a:pt x="5134239" y="1200038"/>
                </a:cubicBezTo>
                <a:cubicBezTo>
                  <a:pt x="5134239" y="1201176"/>
                  <a:pt x="5135306" y="1201176"/>
                  <a:pt x="5135093" y="1202457"/>
                </a:cubicBezTo>
                <a:cubicBezTo>
                  <a:pt x="5136160" y="1204875"/>
                  <a:pt x="5135946" y="1206155"/>
                  <a:pt x="5134666" y="1207294"/>
                </a:cubicBezTo>
                <a:cubicBezTo>
                  <a:pt x="5134666" y="1208574"/>
                  <a:pt x="5133385" y="1208432"/>
                  <a:pt x="5132105" y="1209570"/>
                </a:cubicBezTo>
                <a:cubicBezTo>
                  <a:pt x="5131038" y="1209570"/>
                  <a:pt x="5129970" y="1208432"/>
                  <a:pt x="5129970" y="1208432"/>
                </a:cubicBezTo>
                <a:cubicBezTo>
                  <a:pt x="5128903" y="1207152"/>
                  <a:pt x="5128903" y="1207152"/>
                  <a:pt x="5127623" y="1208432"/>
                </a:cubicBezTo>
                <a:cubicBezTo>
                  <a:pt x="5127623" y="1208432"/>
                  <a:pt x="5127836" y="1207152"/>
                  <a:pt x="5127836" y="1207152"/>
                </a:cubicBezTo>
                <a:cubicBezTo>
                  <a:pt x="5129117" y="1207152"/>
                  <a:pt x="5127836" y="1207152"/>
                  <a:pt x="5126769" y="1205871"/>
                </a:cubicBezTo>
                <a:cubicBezTo>
                  <a:pt x="5128263" y="1203453"/>
                  <a:pt x="5128263" y="1202314"/>
                  <a:pt x="5129543" y="1201034"/>
                </a:cubicBezTo>
                <a:cubicBezTo>
                  <a:pt x="5130184" y="1200465"/>
                  <a:pt x="5131251" y="1199896"/>
                  <a:pt x="5132105" y="1199611"/>
                </a:cubicBezTo>
                <a:close/>
                <a:moveTo>
                  <a:pt x="4739199" y="1198473"/>
                </a:moveTo>
                <a:cubicBezTo>
                  <a:pt x="4746455" y="1203737"/>
                  <a:pt x="4736424" y="1215261"/>
                  <a:pt x="4731302" y="1205302"/>
                </a:cubicBezTo>
                <a:cubicBezTo>
                  <a:pt x="4734717" y="1201888"/>
                  <a:pt x="4737065" y="1199611"/>
                  <a:pt x="4739199" y="1198473"/>
                </a:cubicBezTo>
                <a:close/>
                <a:moveTo>
                  <a:pt x="3367337" y="1198473"/>
                </a:moveTo>
                <a:lnTo>
                  <a:pt x="3368404" y="1199184"/>
                </a:lnTo>
                <a:lnTo>
                  <a:pt x="3370751" y="1198900"/>
                </a:lnTo>
                <a:lnTo>
                  <a:pt x="3367550" y="1198473"/>
                </a:lnTo>
                <a:close/>
                <a:moveTo>
                  <a:pt x="3644996" y="1198331"/>
                </a:moveTo>
                <a:cubicBezTo>
                  <a:pt x="3646063" y="1198473"/>
                  <a:pt x="3647130" y="1198900"/>
                  <a:pt x="3647770" y="1199896"/>
                </a:cubicBezTo>
                <a:cubicBezTo>
                  <a:pt x="3649478" y="1203595"/>
                  <a:pt x="3640514" y="1215119"/>
                  <a:pt x="3636032" y="1207436"/>
                </a:cubicBezTo>
                <a:cubicBezTo>
                  <a:pt x="3635392" y="1206440"/>
                  <a:pt x="3635392" y="1205160"/>
                  <a:pt x="3636032" y="1203880"/>
                </a:cubicBezTo>
                <a:cubicBezTo>
                  <a:pt x="3637526" y="1200892"/>
                  <a:pt x="3641795" y="1198046"/>
                  <a:pt x="3644996" y="1198331"/>
                </a:cubicBezTo>
                <a:close/>
                <a:moveTo>
                  <a:pt x="1363808" y="1197990"/>
                </a:moveTo>
                <a:cubicBezTo>
                  <a:pt x="1364325" y="1198300"/>
                  <a:pt x="1364841" y="1198610"/>
                  <a:pt x="1365357" y="1199229"/>
                </a:cubicBezTo>
                <a:cubicBezTo>
                  <a:pt x="1365357" y="1199229"/>
                  <a:pt x="1365357" y="1199229"/>
                  <a:pt x="1365254" y="1200159"/>
                </a:cubicBezTo>
                <a:cubicBezTo>
                  <a:pt x="1364944" y="1201708"/>
                  <a:pt x="1364841" y="1202637"/>
                  <a:pt x="1364634" y="1203412"/>
                </a:cubicBezTo>
                <a:cubicBezTo>
                  <a:pt x="1363705" y="1204186"/>
                  <a:pt x="1360917" y="1205735"/>
                  <a:pt x="1360194" y="1204806"/>
                </a:cubicBezTo>
                <a:cubicBezTo>
                  <a:pt x="1359471" y="1203877"/>
                  <a:pt x="1358852" y="1202947"/>
                  <a:pt x="1358749" y="1201863"/>
                </a:cubicBezTo>
                <a:cubicBezTo>
                  <a:pt x="1358542" y="1200933"/>
                  <a:pt x="1358749" y="1200159"/>
                  <a:pt x="1359265" y="1199694"/>
                </a:cubicBezTo>
                <a:cubicBezTo>
                  <a:pt x="1360711" y="1198610"/>
                  <a:pt x="1362156" y="1197525"/>
                  <a:pt x="1363808" y="1197990"/>
                </a:cubicBezTo>
                <a:close/>
                <a:moveTo>
                  <a:pt x="1301545" y="1197835"/>
                </a:moveTo>
                <a:cubicBezTo>
                  <a:pt x="1309083" y="1203257"/>
                  <a:pt x="1305262" y="1210847"/>
                  <a:pt x="1306088" y="1212396"/>
                </a:cubicBezTo>
                <a:cubicBezTo>
                  <a:pt x="1304023" y="1214410"/>
                  <a:pt x="1303507" y="1214874"/>
                  <a:pt x="1301338" y="1213480"/>
                </a:cubicBezTo>
                <a:lnTo>
                  <a:pt x="1299170" y="1211776"/>
                </a:lnTo>
                <a:lnTo>
                  <a:pt x="1297208" y="1213015"/>
                </a:lnTo>
                <a:cubicBezTo>
                  <a:pt x="1296382" y="1212241"/>
                  <a:pt x="1295659" y="1211466"/>
                  <a:pt x="1294833" y="1210692"/>
                </a:cubicBezTo>
                <a:lnTo>
                  <a:pt x="1296795" y="1207129"/>
                </a:lnTo>
                <a:lnTo>
                  <a:pt x="1297001" y="1204651"/>
                </a:lnTo>
                <a:cubicBezTo>
                  <a:pt x="1296176" y="1203102"/>
                  <a:pt x="1296279" y="1200469"/>
                  <a:pt x="1297208" y="1198765"/>
                </a:cubicBezTo>
                <a:cubicBezTo>
                  <a:pt x="1299067" y="1197061"/>
                  <a:pt x="1300719" y="1197061"/>
                  <a:pt x="1301545" y="1197835"/>
                </a:cubicBezTo>
                <a:close/>
                <a:moveTo>
                  <a:pt x="1662632" y="1197681"/>
                </a:moveTo>
                <a:cubicBezTo>
                  <a:pt x="1663974" y="1199075"/>
                  <a:pt x="1663871" y="1197681"/>
                  <a:pt x="1665213" y="1197681"/>
                </a:cubicBezTo>
                <a:cubicBezTo>
                  <a:pt x="1667072" y="1199694"/>
                  <a:pt x="1668414" y="1201708"/>
                  <a:pt x="1668827" y="1203722"/>
                </a:cubicBezTo>
                <a:lnTo>
                  <a:pt x="1668104" y="1207904"/>
                </a:lnTo>
                <a:lnTo>
                  <a:pt x="1673164" y="1208523"/>
                </a:lnTo>
                <a:cubicBezTo>
                  <a:pt x="1676571" y="1209453"/>
                  <a:pt x="1680082" y="1210847"/>
                  <a:pt x="1683696" y="1212706"/>
                </a:cubicBezTo>
                <a:cubicBezTo>
                  <a:pt x="1684832" y="1217043"/>
                  <a:pt x="1684109" y="1220295"/>
                  <a:pt x="1682147" y="1222774"/>
                </a:cubicBezTo>
                <a:lnTo>
                  <a:pt x="1675436" y="1226181"/>
                </a:lnTo>
                <a:lnTo>
                  <a:pt x="1676571" y="1226956"/>
                </a:lnTo>
                <a:cubicBezTo>
                  <a:pt x="1677914" y="1228350"/>
                  <a:pt x="1679153" y="1229744"/>
                  <a:pt x="1677914" y="1229744"/>
                </a:cubicBezTo>
                <a:cubicBezTo>
                  <a:pt x="1677914" y="1231138"/>
                  <a:pt x="1676675" y="1230983"/>
                  <a:pt x="1675436" y="1232378"/>
                </a:cubicBezTo>
                <a:cubicBezTo>
                  <a:pt x="1672854" y="1233771"/>
                  <a:pt x="1669137" y="1233771"/>
                  <a:pt x="1667898" y="1232378"/>
                </a:cubicBezTo>
                <a:cubicBezTo>
                  <a:pt x="1666659" y="1230983"/>
                  <a:pt x="1666659" y="1229744"/>
                  <a:pt x="1666659" y="1229744"/>
                </a:cubicBezTo>
                <a:lnTo>
                  <a:pt x="1669137" y="1227421"/>
                </a:lnTo>
                <a:lnTo>
                  <a:pt x="1663458" y="1227421"/>
                </a:lnTo>
                <a:cubicBezTo>
                  <a:pt x="1653339" y="1225872"/>
                  <a:pt x="1643736" y="1219676"/>
                  <a:pt x="1645492" y="1210382"/>
                </a:cubicBezTo>
                <a:lnTo>
                  <a:pt x="1655610" y="1208678"/>
                </a:lnTo>
                <a:lnTo>
                  <a:pt x="1655610" y="1208213"/>
                </a:lnTo>
                <a:lnTo>
                  <a:pt x="1655404" y="1207749"/>
                </a:lnTo>
                <a:cubicBezTo>
                  <a:pt x="1655301" y="1205735"/>
                  <a:pt x="1655610" y="1203102"/>
                  <a:pt x="1657469" y="1200314"/>
                </a:cubicBezTo>
                <a:cubicBezTo>
                  <a:pt x="1658811" y="1199075"/>
                  <a:pt x="1662632" y="1196442"/>
                  <a:pt x="1662632" y="1197681"/>
                </a:cubicBezTo>
                <a:close/>
                <a:moveTo>
                  <a:pt x="1138503" y="1197371"/>
                </a:moveTo>
                <a:cubicBezTo>
                  <a:pt x="1139123" y="1197371"/>
                  <a:pt x="1139846" y="1197525"/>
                  <a:pt x="1140671" y="1197990"/>
                </a:cubicBezTo>
                <a:cubicBezTo>
                  <a:pt x="1141807" y="1202018"/>
                  <a:pt x="1138297" y="1205271"/>
                  <a:pt x="1133754" y="1201863"/>
                </a:cubicBezTo>
                <a:cubicBezTo>
                  <a:pt x="1135096" y="1199694"/>
                  <a:pt x="1136438" y="1197525"/>
                  <a:pt x="1138503" y="1197371"/>
                </a:cubicBezTo>
                <a:close/>
                <a:moveTo>
                  <a:pt x="4214186" y="1196624"/>
                </a:moveTo>
                <a:cubicBezTo>
                  <a:pt x="4215253" y="1197193"/>
                  <a:pt x="4217387" y="1198331"/>
                  <a:pt x="4219522" y="1196766"/>
                </a:cubicBezTo>
                <a:cubicBezTo>
                  <a:pt x="4220589" y="1200038"/>
                  <a:pt x="4221656" y="1203453"/>
                  <a:pt x="4218668" y="1204306"/>
                </a:cubicBezTo>
                <a:cubicBezTo>
                  <a:pt x="4217174" y="1204733"/>
                  <a:pt x="4215680" y="1205160"/>
                  <a:pt x="4213546" y="1204022"/>
                </a:cubicBezTo>
                <a:cubicBezTo>
                  <a:pt x="4212265" y="1200750"/>
                  <a:pt x="4214827" y="1198188"/>
                  <a:pt x="4214186" y="1196624"/>
                </a:cubicBezTo>
                <a:close/>
                <a:moveTo>
                  <a:pt x="1602537" y="1196287"/>
                </a:moveTo>
                <a:cubicBezTo>
                  <a:pt x="1603776" y="1196751"/>
                  <a:pt x="1606461" y="1198455"/>
                  <a:pt x="1605944" y="1201398"/>
                </a:cubicBezTo>
                <a:lnTo>
                  <a:pt x="1606047" y="1201863"/>
                </a:lnTo>
                <a:lnTo>
                  <a:pt x="1607803" y="1200314"/>
                </a:lnTo>
                <a:cubicBezTo>
                  <a:pt x="1610488" y="1198455"/>
                  <a:pt x="1613172" y="1197371"/>
                  <a:pt x="1615960" y="1197835"/>
                </a:cubicBezTo>
                <a:lnTo>
                  <a:pt x="1618129" y="1198765"/>
                </a:lnTo>
                <a:lnTo>
                  <a:pt x="1619987" y="1197990"/>
                </a:lnTo>
                <a:cubicBezTo>
                  <a:pt x="1623704" y="1196596"/>
                  <a:pt x="1627731" y="1195977"/>
                  <a:pt x="1632894" y="1196751"/>
                </a:cubicBezTo>
                <a:cubicBezTo>
                  <a:pt x="1631448" y="1201398"/>
                  <a:pt x="1627318" y="1203412"/>
                  <a:pt x="1622672" y="1204186"/>
                </a:cubicBezTo>
                <a:lnTo>
                  <a:pt x="1619677" y="1204186"/>
                </a:lnTo>
                <a:lnTo>
                  <a:pt x="1617922" y="1206820"/>
                </a:lnTo>
                <a:cubicBezTo>
                  <a:pt x="1613172" y="1210692"/>
                  <a:pt x="1604292" y="1211466"/>
                  <a:pt x="1603363" y="1206975"/>
                </a:cubicBezTo>
                <a:cubicBezTo>
                  <a:pt x="1603260" y="1206045"/>
                  <a:pt x="1603363" y="1204961"/>
                  <a:pt x="1603879" y="1203722"/>
                </a:cubicBezTo>
                <a:lnTo>
                  <a:pt x="1604189" y="1203412"/>
                </a:lnTo>
                <a:lnTo>
                  <a:pt x="1603879" y="1202637"/>
                </a:lnTo>
                <a:cubicBezTo>
                  <a:pt x="1603053" y="1200778"/>
                  <a:pt x="1602330" y="1198765"/>
                  <a:pt x="1602537" y="1196287"/>
                </a:cubicBezTo>
                <a:close/>
                <a:moveTo>
                  <a:pt x="4515322" y="1195628"/>
                </a:moveTo>
                <a:cubicBezTo>
                  <a:pt x="4521084" y="1195912"/>
                  <a:pt x="4528340" y="1204448"/>
                  <a:pt x="4522791" y="1210139"/>
                </a:cubicBezTo>
                <a:cubicBezTo>
                  <a:pt x="4519377" y="1211135"/>
                  <a:pt x="4515962" y="1212131"/>
                  <a:pt x="4511267" y="1208432"/>
                </a:cubicBezTo>
                <a:cubicBezTo>
                  <a:pt x="4509986" y="1203595"/>
                  <a:pt x="4510839" y="1200038"/>
                  <a:pt x="4515322" y="1195628"/>
                </a:cubicBezTo>
                <a:close/>
                <a:moveTo>
                  <a:pt x="4879629" y="1194916"/>
                </a:moveTo>
                <a:cubicBezTo>
                  <a:pt x="4879843" y="1194916"/>
                  <a:pt x="4880056" y="1195201"/>
                  <a:pt x="4880483" y="1195912"/>
                </a:cubicBezTo>
                <a:cubicBezTo>
                  <a:pt x="4879415" y="1197193"/>
                  <a:pt x="4879629" y="1195912"/>
                  <a:pt x="4878562" y="1195912"/>
                </a:cubicBezTo>
                <a:cubicBezTo>
                  <a:pt x="4879202" y="1195201"/>
                  <a:pt x="4879415" y="1194916"/>
                  <a:pt x="4879629" y="1194916"/>
                </a:cubicBezTo>
                <a:close/>
                <a:moveTo>
                  <a:pt x="4270315" y="1194205"/>
                </a:moveTo>
                <a:cubicBezTo>
                  <a:pt x="4273303" y="1195201"/>
                  <a:pt x="4275651" y="1196339"/>
                  <a:pt x="4277358" y="1197477"/>
                </a:cubicBezTo>
                <a:lnTo>
                  <a:pt x="4281413" y="1201176"/>
                </a:lnTo>
                <a:lnTo>
                  <a:pt x="4285041" y="1201603"/>
                </a:lnTo>
                <a:cubicBezTo>
                  <a:pt x="4287389" y="1202172"/>
                  <a:pt x="4289096" y="1202883"/>
                  <a:pt x="4289096" y="1203453"/>
                </a:cubicBezTo>
                <a:cubicBezTo>
                  <a:pt x="4290377" y="1203310"/>
                  <a:pt x="4290377" y="1204591"/>
                  <a:pt x="4291657" y="1204448"/>
                </a:cubicBezTo>
                <a:cubicBezTo>
                  <a:pt x="4291657" y="1204448"/>
                  <a:pt x="4292724" y="1204448"/>
                  <a:pt x="4294219" y="1205587"/>
                </a:cubicBezTo>
                <a:cubicBezTo>
                  <a:pt x="4295499" y="1206725"/>
                  <a:pt x="4296779" y="1207863"/>
                  <a:pt x="4295926" y="1210282"/>
                </a:cubicBezTo>
                <a:cubicBezTo>
                  <a:pt x="4291017" y="1208717"/>
                  <a:pt x="4287389" y="1208147"/>
                  <a:pt x="4284188" y="1207436"/>
                </a:cubicBezTo>
                <a:lnTo>
                  <a:pt x="4283548" y="1207152"/>
                </a:lnTo>
                <a:lnTo>
                  <a:pt x="4281627" y="1209570"/>
                </a:lnTo>
                <a:cubicBezTo>
                  <a:pt x="4280133" y="1210139"/>
                  <a:pt x="4277999" y="1209997"/>
                  <a:pt x="4275438" y="1210139"/>
                </a:cubicBezTo>
                <a:cubicBezTo>
                  <a:pt x="4275651" y="1208432"/>
                  <a:pt x="4270742" y="1207294"/>
                  <a:pt x="4269035" y="1206867"/>
                </a:cubicBezTo>
                <a:cubicBezTo>
                  <a:pt x="4269675" y="1203595"/>
                  <a:pt x="4264126" y="1201318"/>
                  <a:pt x="4264767" y="1196339"/>
                </a:cubicBezTo>
                <a:cubicBezTo>
                  <a:pt x="4266687" y="1195059"/>
                  <a:pt x="4267754" y="1194347"/>
                  <a:pt x="4270315" y="1194205"/>
                </a:cubicBezTo>
                <a:close/>
                <a:moveTo>
                  <a:pt x="1606047" y="1193808"/>
                </a:moveTo>
                <a:cubicBezTo>
                  <a:pt x="1607183" y="1194273"/>
                  <a:pt x="1607596" y="1195047"/>
                  <a:pt x="1608732" y="1195512"/>
                </a:cubicBezTo>
                <a:cubicBezTo>
                  <a:pt x="1609558" y="1193344"/>
                  <a:pt x="1608732" y="1193653"/>
                  <a:pt x="1609868" y="1194118"/>
                </a:cubicBezTo>
                <a:cubicBezTo>
                  <a:pt x="1609868" y="1194118"/>
                  <a:pt x="1609868" y="1194118"/>
                  <a:pt x="1611107" y="1194583"/>
                </a:cubicBezTo>
                <a:cubicBezTo>
                  <a:pt x="1611107" y="1194583"/>
                  <a:pt x="1611830" y="1194273"/>
                  <a:pt x="1611417" y="1197216"/>
                </a:cubicBezTo>
                <a:cubicBezTo>
                  <a:pt x="1610281" y="1196751"/>
                  <a:pt x="1606770" y="1195357"/>
                  <a:pt x="1606770" y="1195357"/>
                </a:cubicBezTo>
                <a:cubicBezTo>
                  <a:pt x="1606047" y="1195667"/>
                  <a:pt x="1606047" y="1195667"/>
                  <a:pt x="1604911" y="1195202"/>
                </a:cubicBezTo>
                <a:cubicBezTo>
                  <a:pt x="1605222" y="1194118"/>
                  <a:pt x="1605222" y="1194118"/>
                  <a:pt x="1606047" y="1193808"/>
                </a:cubicBezTo>
                <a:close/>
                <a:moveTo>
                  <a:pt x="4543279" y="1193636"/>
                </a:moveTo>
                <a:cubicBezTo>
                  <a:pt x="4545840" y="1194063"/>
                  <a:pt x="4547975" y="1193494"/>
                  <a:pt x="4550536" y="1193921"/>
                </a:cubicBezTo>
                <a:cubicBezTo>
                  <a:pt x="4552883" y="1196909"/>
                  <a:pt x="4551603" y="1205729"/>
                  <a:pt x="4547548" y="1208432"/>
                </a:cubicBezTo>
                <a:cubicBezTo>
                  <a:pt x="4546267" y="1209286"/>
                  <a:pt x="4544560" y="1209428"/>
                  <a:pt x="4542639" y="1208432"/>
                </a:cubicBezTo>
                <a:cubicBezTo>
                  <a:pt x="4537304" y="1205160"/>
                  <a:pt x="4539651" y="1199611"/>
                  <a:pt x="4543279" y="1193636"/>
                </a:cubicBezTo>
                <a:close/>
                <a:moveTo>
                  <a:pt x="4302969" y="1193067"/>
                </a:moveTo>
                <a:cubicBezTo>
                  <a:pt x="4308731" y="1192498"/>
                  <a:pt x="4310865" y="1195201"/>
                  <a:pt x="4314921" y="1196197"/>
                </a:cubicBezTo>
                <a:cubicBezTo>
                  <a:pt x="4315987" y="1208290"/>
                  <a:pt x="4308091" y="1210708"/>
                  <a:pt x="4303395" y="1207720"/>
                </a:cubicBezTo>
                <a:cubicBezTo>
                  <a:pt x="4301688" y="1206725"/>
                  <a:pt x="4300408" y="1205302"/>
                  <a:pt x="4299981" y="1203168"/>
                </a:cubicBezTo>
                <a:cubicBezTo>
                  <a:pt x="4299341" y="1200465"/>
                  <a:pt x="4299981" y="1197051"/>
                  <a:pt x="4302969" y="1193067"/>
                </a:cubicBezTo>
                <a:close/>
                <a:moveTo>
                  <a:pt x="3576274" y="1193067"/>
                </a:moveTo>
                <a:cubicBezTo>
                  <a:pt x="3578622" y="1192214"/>
                  <a:pt x="3580970" y="1193778"/>
                  <a:pt x="3583104" y="1195343"/>
                </a:cubicBezTo>
                <a:cubicBezTo>
                  <a:pt x="3584812" y="1196766"/>
                  <a:pt x="3585238" y="1198046"/>
                  <a:pt x="3585025" y="1199184"/>
                </a:cubicBezTo>
                <a:cubicBezTo>
                  <a:pt x="3584812" y="1200465"/>
                  <a:pt x="3583957" y="1201461"/>
                  <a:pt x="3582677" y="1202457"/>
                </a:cubicBezTo>
                <a:cubicBezTo>
                  <a:pt x="3580330" y="1204591"/>
                  <a:pt x="3577982" y="1203026"/>
                  <a:pt x="3577982" y="1203026"/>
                </a:cubicBezTo>
                <a:cubicBezTo>
                  <a:pt x="3576274" y="1201461"/>
                  <a:pt x="3575421" y="1199753"/>
                  <a:pt x="3574994" y="1198046"/>
                </a:cubicBezTo>
                <a:lnTo>
                  <a:pt x="3575207" y="1197051"/>
                </a:lnTo>
                <a:lnTo>
                  <a:pt x="3574141" y="1196055"/>
                </a:lnTo>
                <a:lnTo>
                  <a:pt x="3575848" y="1194916"/>
                </a:lnTo>
                <a:close/>
                <a:moveTo>
                  <a:pt x="1537589" y="1193034"/>
                </a:moveTo>
                <a:cubicBezTo>
                  <a:pt x="1540067" y="1194738"/>
                  <a:pt x="1542648" y="1193808"/>
                  <a:pt x="1545127" y="1195357"/>
                </a:cubicBezTo>
                <a:cubicBezTo>
                  <a:pt x="1545127" y="1195357"/>
                  <a:pt x="1545127" y="1195357"/>
                  <a:pt x="1544300" y="1196287"/>
                </a:cubicBezTo>
                <a:cubicBezTo>
                  <a:pt x="1540170" y="1194738"/>
                  <a:pt x="1535730" y="1196596"/>
                  <a:pt x="1531600" y="1194273"/>
                </a:cubicBezTo>
                <a:cubicBezTo>
                  <a:pt x="1532529" y="1193344"/>
                  <a:pt x="1535214" y="1191485"/>
                  <a:pt x="1537589" y="1193034"/>
                </a:cubicBezTo>
                <a:close/>
                <a:moveTo>
                  <a:pt x="4473918" y="1192356"/>
                </a:moveTo>
                <a:cubicBezTo>
                  <a:pt x="4477973" y="1196339"/>
                  <a:pt x="4485016" y="1199611"/>
                  <a:pt x="4486937" y="1205017"/>
                </a:cubicBezTo>
                <a:cubicBezTo>
                  <a:pt x="4485016" y="1203737"/>
                  <a:pt x="4475412" y="1196197"/>
                  <a:pt x="4473918" y="1192356"/>
                </a:cubicBezTo>
                <a:close/>
                <a:moveTo>
                  <a:pt x="1188273" y="1192259"/>
                </a:moveTo>
                <a:cubicBezTo>
                  <a:pt x="1194778" y="1195357"/>
                  <a:pt x="1198908" y="1200159"/>
                  <a:pt x="1200870" y="1205425"/>
                </a:cubicBezTo>
                <a:cubicBezTo>
                  <a:pt x="1204277" y="1214410"/>
                  <a:pt x="1201593" y="1224788"/>
                  <a:pt x="1193436" y="1230674"/>
                </a:cubicBezTo>
                <a:cubicBezTo>
                  <a:pt x="1192403" y="1230054"/>
                  <a:pt x="1191267" y="1229279"/>
                  <a:pt x="1190751" y="1230364"/>
                </a:cubicBezTo>
                <a:cubicBezTo>
                  <a:pt x="1183420" y="1226491"/>
                  <a:pt x="1179290" y="1218437"/>
                  <a:pt x="1178773" y="1210692"/>
                </a:cubicBezTo>
                <a:cubicBezTo>
                  <a:pt x="1178257" y="1202947"/>
                  <a:pt x="1181251" y="1195357"/>
                  <a:pt x="1188273" y="1192259"/>
                </a:cubicBezTo>
                <a:close/>
                <a:moveTo>
                  <a:pt x="1530051" y="1191795"/>
                </a:moveTo>
                <a:cubicBezTo>
                  <a:pt x="1531703" y="1192569"/>
                  <a:pt x="1524268" y="1202173"/>
                  <a:pt x="1522410" y="1204806"/>
                </a:cubicBezTo>
                <a:cubicBezTo>
                  <a:pt x="1521584" y="1204806"/>
                  <a:pt x="1521584" y="1204806"/>
                  <a:pt x="1521584" y="1204806"/>
                </a:cubicBezTo>
                <a:cubicBezTo>
                  <a:pt x="1520758" y="1204496"/>
                  <a:pt x="1520551" y="1203877"/>
                  <a:pt x="1520758" y="1202947"/>
                </a:cubicBezTo>
                <a:cubicBezTo>
                  <a:pt x="1521068" y="1202173"/>
                  <a:pt x="1521791" y="1200933"/>
                  <a:pt x="1522720" y="1199694"/>
                </a:cubicBezTo>
                <a:cubicBezTo>
                  <a:pt x="1524578" y="1197061"/>
                  <a:pt x="1528192" y="1194428"/>
                  <a:pt x="1529018" y="1193499"/>
                </a:cubicBezTo>
                <a:cubicBezTo>
                  <a:pt x="1529948" y="1192569"/>
                  <a:pt x="1530051" y="1191795"/>
                  <a:pt x="1530051" y="1191795"/>
                </a:cubicBezTo>
                <a:close/>
                <a:moveTo>
                  <a:pt x="4863623" y="1191644"/>
                </a:moveTo>
                <a:cubicBezTo>
                  <a:pt x="4867464" y="1193778"/>
                  <a:pt x="4870239" y="1197193"/>
                  <a:pt x="4867251" y="1200892"/>
                </a:cubicBezTo>
                <a:cubicBezTo>
                  <a:pt x="4866184" y="1202172"/>
                  <a:pt x="4865330" y="1203453"/>
                  <a:pt x="4865116" y="1202314"/>
                </a:cubicBezTo>
                <a:cubicBezTo>
                  <a:pt x="4864049" y="1202314"/>
                  <a:pt x="4863836" y="1201176"/>
                  <a:pt x="4862556" y="1200038"/>
                </a:cubicBezTo>
                <a:cubicBezTo>
                  <a:pt x="4861061" y="1197762"/>
                  <a:pt x="4860635" y="1194205"/>
                  <a:pt x="4861488" y="1192924"/>
                </a:cubicBezTo>
                <a:cubicBezTo>
                  <a:pt x="4862556" y="1191644"/>
                  <a:pt x="4863623" y="1191644"/>
                  <a:pt x="4863623" y="1191644"/>
                </a:cubicBezTo>
                <a:close/>
                <a:moveTo>
                  <a:pt x="4877068" y="1191075"/>
                </a:moveTo>
                <a:cubicBezTo>
                  <a:pt x="4877708" y="1191502"/>
                  <a:pt x="4878775" y="1192356"/>
                  <a:pt x="4880056" y="1192782"/>
                </a:cubicBezTo>
                <a:lnTo>
                  <a:pt x="4877068" y="1196624"/>
                </a:lnTo>
                <a:cubicBezTo>
                  <a:pt x="4875787" y="1195486"/>
                  <a:pt x="4874294" y="1193209"/>
                  <a:pt x="4875147" y="1192071"/>
                </a:cubicBezTo>
                <a:cubicBezTo>
                  <a:pt x="4875574" y="1190791"/>
                  <a:pt x="4876215" y="1190791"/>
                  <a:pt x="4877068" y="1191075"/>
                </a:cubicBezTo>
                <a:close/>
                <a:moveTo>
                  <a:pt x="3778597" y="1190364"/>
                </a:moveTo>
                <a:cubicBezTo>
                  <a:pt x="3794176" y="1193636"/>
                  <a:pt x="3782011" y="1204306"/>
                  <a:pt x="3778383" y="1211562"/>
                </a:cubicBezTo>
                <a:lnTo>
                  <a:pt x="3774755" y="1210424"/>
                </a:lnTo>
                <a:lnTo>
                  <a:pt x="3774328" y="1210708"/>
                </a:lnTo>
                <a:cubicBezTo>
                  <a:pt x="3768993" y="1212558"/>
                  <a:pt x="3764511" y="1208432"/>
                  <a:pt x="3765364" y="1203737"/>
                </a:cubicBezTo>
                <a:cubicBezTo>
                  <a:pt x="3766005" y="1201603"/>
                  <a:pt x="3767499" y="1199327"/>
                  <a:pt x="3770700" y="1197477"/>
                </a:cubicBezTo>
                <a:lnTo>
                  <a:pt x="3771340" y="1198046"/>
                </a:lnTo>
                <a:lnTo>
                  <a:pt x="3771981" y="1196624"/>
                </a:lnTo>
                <a:cubicBezTo>
                  <a:pt x="3773901" y="1194205"/>
                  <a:pt x="3776249" y="1192214"/>
                  <a:pt x="3778597" y="1190364"/>
                </a:cubicBezTo>
                <a:close/>
                <a:moveTo>
                  <a:pt x="1115968" y="1190188"/>
                </a:moveTo>
                <a:cubicBezTo>
                  <a:pt x="1118523" y="1189200"/>
                  <a:pt x="1121569" y="1189394"/>
                  <a:pt x="1125183" y="1191795"/>
                </a:cubicBezTo>
                <a:cubicBezTo>
                  <a:pt x="1127042" y="1192414"/>
                  <a:pt x="1126113" y="1192569"/>
                  <a:pt x="1127042" y="1193188"/>
                </a:cubicBezTo>
                <a:cubicBezTo>
                  <a:pt x="1127971" y="1193963"/>
                  <a:pt x="1129727" y="1194583"/>
                  <a:pt x="1130553" y="1194428"/>
                </a:cubicBezTo>
                <a:cubicBezTo>
                  <a:pt x="1128178" y="1198145"/>
                  <a:pt x="1130862" y="1199385"/>
                  <a:pt x="1126835" y="1204961"/>
                </a:cubicBezTo>
                <a:cubicBezTo>
                  <a:pt x="1123222" y="1210537"/>
                  <a:pt x="1118885" y="1211466"/>
                  <a:pt x="1115374" y="1210847"/>
                </a:cubicBezTo>
                <a:lnTo>
                  <a:pt x="1112793" y="1209762"/>
                </a:lnTo>
                <a:lnTo>
                  <a:pt x="1111037" y="1211776"/>
                </a:lnTo>
                <a:cubicBezTo>
                  <a:pt x="1106184" y="1205425"/>
                  <a:pt x="1102261" y="1214719"/>
                  <a:pt x="1098233" y="1209917"/>
                </a:cubicBezTo>
                <a:cubicBezTo>
                  <a:pt x="1097614" y="1207439"/>
                  <a:pt x="1096168" y="1204961"/>
                  <a:pt x="1096581" y="1202173"/>
                </a:cubicBezTo>
                <a:cubicBezTo>
                  <a:pt x="1096685" y="1201243"/>
                  <a:pt x="1097098" y="1200159"/>
                  <a:pt x="1097821" y="1199075"/>
                </a:cubicBezTo>
                <a:cubicBezTo>
                  <a:pt x="1100711" y="1201089"/>
                  <a:pt x="1103500" y="1202173"/>
                  <a:pt x="1106288" y="1203102"/>
                </a:cubicBezTo>
                <a:lnTo>
                  <a:pt x="1108559" y="1203877"/>
                </a:lnTo>
                <a:lnTo>
                  <a:pt x="1107836" y="1201243"/>
                </a:lnTo>
                <a:cubicBezTo>
                  <a:pt x="1107836" y="1199539"/>
                  <a:pt x="1108353" y="1197835"/>
                  <a:pt x="1109695" y="1195667"/>
                </a:cubicBezTo>
                <a:cubicBezTo>
                  <a:pt x="1111347" y="1193344"/>
                  <a:pt x="1113412" y="1191175"/>
                  <a:pt x="1115968" y="1190188"/>
                </a:cubicBezTo>
                <a:close/>
                <a:moveTo>
                  <a:pt x="5050365" y="1189937"/>
                </a:moveTo>
                <a:cubicBezTo>
                  <a:pt x="5053780" y="1189368"/>
                  <a:pt x="5057408" y="1190791"/>
                  <a:pt x="5059115" y="1193494"/>
                </a:cubicBezTo>
                <a:cubicBezTo>
                  <a:pt x="5060396" y="1195201"/>
                  <a:pt x="5060822" y="1197619"/>
                  <a:pt x="5059969" y="1200323"/>
                </a:cubicBezTo>
                <a:cubicBezTo>
                  <a:pt x="5053139" y="1202457"/>
                  <a:pt x="5045670" y="1206155"/>
                  <a:pt x="5042682" y="1198473"/>
                </a:cubicBezTo>
                <a:cubicBezTo>
                  <a:pt x="5043962" y="1193067"/>
                  <a:pt x="5047163" y="1190506"/>
                  <a:pt x="5050365" y="1189937"/>
                </a:cubicBezTo>
                <a:close/>
                <a:moveTo>
                  <a:pt x="4472638" y="1189937"/>
                </a:moveTo>
                <a:cubicBezTo>
                  <a:pt x="4472851" y="1191502"/>
                  <a:pt x="4472851" y="1191502"/>
                  <a:pt x="4473918" y="1192071"/>
                </a:cubicBezTo>
                <a:cubicBezTo>
                  <a:pt x="4473918" y="1192071"/>
                  <a:pt x="4472424" y="1192498"/>
                  <a:pt x="4472424" y="1192498"/>
                </a:cubicBezTo>
                <a:cubicBezTo>
                  <a:pt x="4471998" y="1190933"/>
                  <a:pt x="4471357" y="1191787"/>
                  <a:pt x="4472638" y="1189937"/>
                </a:cubicBezTo>
                <a:close/>
                <a:moveTo>
                  <a:pt x="1325294" y="1189471"/>
                </a:moveTo>
                <a:cubicBezTo>
                  <a:pt x="1328392" y="1191949"/>
                  <a:pt x="1325913" y="1195202"/>
                  <a:pt x="1323538" y="1194738"/>
                </a:cubicBezTo>
                <a:cubicBezTo>
                  <a:pt x="1322816" y="1194583"/>
                  <a:pt x="1321990" y="1194118"/>
                  <a:pt x="1321473" y="1193034"/>
                </a:cubicBezTo>
                <a:cubicBezTo>
                  <a:pt x="1322403" y="1191485"/>
                  <a:pt x="1323435" y="1190865"/>
                  <a:pt x="1325294" y="1189471"/>
                </a:cubicBezTo>
                <a:close/>
                <a:moveTo>
                  <a:pt x="4613495" y="1188941"/>
                </a:moveTo>
                <a:cubicBezTo>
                  <a:pt x="4616269" y="1188514"/>
                  <a:pt x="4617976" y="1188941"/>
                  <a:pt x="4619044" y="1189937"/>
                </a:cubicBezTo>
                <a:cubicBezTo>
                  <a:pt x="4620324" y="1191075"/>
                  <a:pt x="4620751" y="1192782"/>
                  <a:pt x="4621178" y="1195201"/>
                </a:cubicBezTo>
                <a:cubicBezTo>
                  <a:pt x="4617123" y="1195343"/>
                  <a:pt x="4615842" y="1193209"/>
                  <a:pt x="4613495" y="1188941"/>
                </a:cubicBezTo>
                <a:close/>
                <a:moveTo>
                  <a:pt x="4392178" y="1188799"/>
                </a:moveTo>
                <a:cubicBezTo>
                  <a:pt x="4395380" y="1188372"/>
                  <a:pt x="4398581" y="1189083"/>
                  <a:pt x="4400289" y="1191075"/>
                </a:cubicBezTo>
                <a:cubicBezTo>
                  <a:pt x="4401355" y="1192356"/>
                  <a:pt x="4401782" y="1194205"/>
                  <a:pt x="4401142" y="1196481"/>
                </a:cubicBezTo>
                <a:cubicBezTo>
                  <a:pt x="4395593" y="1201888"/>
                  <a:pt x="4391965" y="1195912"/>
                  <a:pt x="4384709" y="1194205"/>
                </a:cubicBezTo>
                <a:cubicBezTo>
                  <a:pt x="4385989" y="1191075"/>
                  <a:pt x="4388977" y="1189368"/>
                  <a:pt x="4392178" y="1188799"/>
                </a:cubicBezTo>
                <a:close/>
                <a:moveTo>
                  <a:pt x="1555039" y="1188232"/>
                </a:moveTo>
                <a:cubicBezTo>
                  <a:pt x="1557620" y="1188852"/>
                  <a:pt x="1559272" y="1189626"/>
                  <a:pt x="1561751" y="1191175"/>
                </a:cubicBezTo>
                <a:cubicBezTo>
                  <a:pt x="1561751" y="1191175"/>
                  <a:pt x="1565055" y="1194428"/>
                  <a:pt x="1563196" y="1197061"/>
                </a:cubicBezTo>
                <a:cubicBezTo>
                  <a:pt x="1563196" y="1197835"/>
                  <a:pt x="1559789" y="1197990"/>
                  <a:pt x="1558963" y="1197216"/>
                </a:cubicBezTo>
                <a:cubicBezTo>
                  <a:pt x="1557310" y="1195667"/>
                  <a:pt x="1556484" y="1194892"/>
                  <a:pt x="1556588" y="1193188"/>
                </a:cubicBezTo>
                <a:cubicBezTo>
                  <a:pt x="1555762" y="1192414"/>
                  <a:pt x="1554936" y="1191485"/>
                  <a:pt x="1554523" y="1190710"/>
                </a:cubicBezTo>
                <a:cubicBezTo>
                  <a:pt x="1554316" y="1190245"/>
                  <a:pt x="1554213" y="1189936"/>
                  <a:pt x="1554316" y="1189471"/>
                </a:cubicBezTo>
                <a:cubicBezTo>
                  <a:pt x="1554316" y="1189006"/>
                  <a:pt x="1554626" y="1188697"/>
                  <a:pt x="1555039" y="1188232"/>
                </a:cubicBezTo>
                <a:close/>
                <a:moveTo>
                  <a:pt x="4933197" y="1188087"/>
                </a:moveTo>
                <a:cubicBezTo>
                  <a:pt x="4935758" y="1188941"/>
                  <a:pt x="4941308" y="1192782"/>
                  <a:pt x="4943868" y="1197051"/>
                </a:cubicBezTo>
                <a:cubicBezTo>
                  <a:pt x="4944936" y="1198331"/>
                  <a:pt x="4945362" y="1199896"/>
                  <a:pt x="4945362" y="1201176"/>
                </a:cubicBezTo>
                <a:cubicBezTo>
                  <a:pt x="4945362" y="1203026"/>
                  <a:pt x="4944296" y="1204733"/>
                  <a:pt x="4941734" y="1206013"/>
                </a:cubicBezTo>
                <a:cubicBezTo>
                  <a:pt x="4937679" y="1200038"/>
                  <a:pt x="4931063" y="1197477"/>
                  <a:pt x="4930850" y="1193067"/>
                </a:cubicBezTo>
                <a:cubicBezTo>
                  <a:pt x="4930850" y="1191644"/>
                  <a:pt x="4931490" y="1190079"/>
                  <a:pt x="4933197" y="1188087"/>
                </a:cubicBezTo>
                <a:close/>
                <a:moveTo>
                  <a:pt x="3992657" y="1188087"/>
                </a:moveTo>
                <a:cubicBezTo>
                  <a:pt x="3993297" y="1187803"/>
                  <a:pt x="3994150" y="1188087"/>
                  <a:pt x="3995431" y="1189226"/>
                </a:cubicBezTo>
                <a:cubicBezTo>
                  <a:pt x="3997992" y="1190364"/>
                  <a:pt x="3997992" y="1191502"/>
                  <a:pt x="3996285" y="1195343"/>
                </a:cubicBezTo>
                <a:cubicBezTo>
                  <a:pt x="3994364" y="1197904"/>
                  <a:pt x="3993510" y="1200323"/>
                  <a:pt x="3992443" y="1200323"/>
                </a:cubicBezTo>
                <a:cubicBezTo>
                  <a:pt x="3992657" y="1201603"/>
                  <a:pt x="3991589" y="1202883"/>
                  <a:pt x="3991803" y="1204164"/>
                </a:cubicBezTo>
                <a:cubicBezTo>
                  <a:pt x="3991803" y="1204164"/>
                  <a:pt x="3991803" y="1204164"/>
                  <a:pt x="3990522" y="1204164"/>
                </a:cubicBezTo>
                <a:cubicBezTo>
                  <a:pt x="3991162" y="1199327"/>
                  <a:pt x="3989029" y="1193352"/>
                  <a:pt x="3990949" y="1189510"/>
                </a:cubicBezTo>
                <a:cubicBezTo>
                  <a:pt x="3991376" y="1188941"/>
                  <a:pt x="3991803" y="1188230"/>
                  <a:pt x="3992657" y="1188087"/>
                </a:cubicBezTo>
                <a:close/>
                <a:moveTo>
                  <a:pt x="4467729" y="1186807"/>
                </a:moveTo>
                <a:cubicBezTo>
                  <a:pt x="4468155" y="1187092"/>
                  <a:pt x="4468796" y="1187519"/>
                  <a:pt x="4469010" y="1187803"/>
                </a:cubicBezTo>
                <a:cubicBezTo>
                  <a:pt x="4469436" y="1188230"/>
                  <a:pt x="4469436" y="1188657"/>
                  <a:pt x="4469223" y="1189083"/>
                </a:cubicBezTo>
                <a:cubicBezTo>
                  <a:pt x="4468583" y="1190079"/>
                  <a:pt x="4467515" y="1189368"/>
                  <a:pt x="4467089" y="1187803"/>
                </a:cubicBezTo>
                <a:cubicBezTo>
                  <a:pt x="4467089" y="1187803"/>
                  <a:pt x="4467729" y="1186807"/>
                  <a:pt x="4467729" y="1186807"/>
                </a:cubicBezTo>
                <a:close/>
                <a:moveTo>
                  <a:pt x="1240521" y="1186528"/>
                </a:moveTo>
                <a:cubicBezTo>
                  <a:pt x="1243308" y="1186064"/>
                  <a:pt x="1245787" y="1189161"/>
                  <a:pt x="1248988" y="1191020"/>
                </a:cubicBezTo>
                <a:cubicBezTo>
                  <a:pt x="1247026" y="1192724"/>
                  <a:pt x="1245270" y="1193344"/>
                  <a:pt x="1243412" y="1192724"/>
                </a:cubicBezTo>
                <a:cubicBezTo>
                  <a:pt x="1241553" y="1192259"/>
                  <a:pt x="1239798" y="1190710"/>
                  <a:pt x="1237732" y="1188232"/>
                </a:cubicBezTo>
                <a:cubicBezTo>
                  <a:pt x="1238765" y="1187148"/>
                  <a:pt x="1239591" y="1186683"/>
                  <a:pt x="1240521" y="1186528"/>
                </a:cubicBezTo>
                <a:close/>
                <a:moveTo>
                  <a:pt x="3479809" y="1185953"/>
                </a:moveTo>
                <a:cubicBezTo>
                  <a:pt x="3480449" y="1185811"/>
                  <a:pt x="3481090" y="1186522"/>
                  <a:pt x="3481730" y="1187519"/>
                </a:cubicBezTo>
                <a:cubicBezTo>
                  <a:pt x="3483651" y="1190791"/>
                  <a:pt x="3485571" y="1197335"/>
                  <a:pt x="3485998" y="1198046"/>
                </a:cubicBezTo>
                <a:cubicBezTo>
                  <a:pt x="3485998" y="1198046"/>
                  <a:pt x="3486425" y="1199042"/>
                  <a:pt x="3487065" y="1200180"/>
                </a:cubicBezTo>
                <a:cubicBezTo>
                  <a:pt x="3486425" y="1201745"/>
                  <a:pt x="3485571" y="1202457"/>
                  <a:pt x="3485998" y="1203453"/>
                </a:cubicBezTo>
                <a:cubicBezTo>
                  <a:pt x="3481516" y="1202172"/>
                  <a:pt x="3480876" y="1198473"/>
                  <a:pt x="3480449" y="1194916"/>
                </a:cubicBezTo>
                <a:cubicBezTo>
                  <a:pt x="3480236" y="1192214"/>
                  <a:pt x="3479809" y="1191217"/>
                  <a:pt x="3477675" y="1189795"/>
                </a:cubicBezTo>
                <a:cubicBezTo>
                  <a:pt x="3477675" y="1189795"/>
                  <a:pt x="3477675" y="1189795"/>
                  <a:pt x="3478742" y="1186522"/>
                </a:cubicBezTo>
                <a:close/>
                <a:moveTo>
                  <a:pt x="1533562" y="1185754"/>
                </a:moveTo>
                <a:cubicBezTo>
                  <a:pt x="1533562" y="1185754"/>
                  <a:pt x="1533562" y="1184824"/>
                  <a:pt x="1536143" y="1186373"/>
                </a:cubicBezTo>
                <a:cubicBezTo>
                  <a:pt x="1535214" y="1187303"/>
                  <a:pt x="1532529" y="1189936"/>
                  <a:pt x="1532529" y="1189936"/>
                </a:cubicBezTo>
                <a:cubicBezTo>
                  <a:pt x="1532426" y="1190710"/>
                  <a:pt x="1532426" y="1190865"/>
                  <a:pt x="1531600" y="1191640"/>
                </a:cubicBezTo>
                <a:cubicBezTo>
                  <a:pt x="1530773" y="1190865"/>
                  <a:pt x="1530773" y="1190865"/>
                  <a:pt x="1530773" y="1190090"/>
                </a:cubicBezTo>
                <a:cubicBezTo>
                  <a:pt x="1531703" y="1189161"/>
                  <a:pt x="1532529" y="1189161"/>
                  <a:pt x="1533458" y="1188232"/>
                </a:cubicBezTo>
                <a:cubicBezTo>
                  <a:pt x="1531806" y="1186683"/>
                  <a:pt x="1531806" y="1187457"/>
                  <a:pt x="1532632" y="1186683"/>
                </a:cubicBezTo>
                <a:cubicBezTo>
                  <a:pt x="1532632" y="1186683"/>
                  <a:pt x="1532632" y="1186683"/>
                  <a:pt x="1533562" y="1185754"/>
                </a:cubicBezTo>
                <a:close/>
                <a:moveTo>
                  <a:pt x="1352554" y="1184979"/>
                </a:moveTo>
                <a:cubicBezTo>
                  <a:pt x="1352554" y="1185909"/>
                  <a:pt x="1353483" y="1185754"/>
                  <a:pt x="1354309" y="1185599"/>
                </a:cubicBezTo>
                <a:cubicBezTo>
                  <a:pt x="1356167" y="1186993"/>
                  <a:pt x="1358129" y="1189316"/>
                  <a:pt x="1357303" y="1191020"/>
                </a:cubicBezTo>
                <a:cubicBezTo>
                  <a:pt x="1355651" y="1193034"/>
                  <a:pt x="1353896" y="1192414"/>
                  <a:pt x="1352966" y="1191795"/>
                </a:cubicBezTo>
                <a:cubicBezTo>
                  <a:pt x="1351624" y="1191485"/>
                  <a:pt x="1350901" y="1190555"/>
                  <a:pt x="1350592" y="1189316"/>
                </a:cubicBezTo>
                <a:cubicBezTo>
                  <a:pt x="1350282" y="1188077"/>
                  <a:pt x="1350385" y="1186528"/>
                  <a:pt x="1350798" y="1185289"/>
                </a:cubicBezTo>
                <a:cubicBezTo>
                  <a:pt x="1350798" y="1186064"/>
                  <a:pt x="1350901" y="1186064"/>
                  <a:pt x="1350901" y="1186064"/>
                </a:cubicBezTo>
                <a:cubicBezTo>
                  <a:pt x="1351831" y="1186838"/>
                  <a:pt x="1351727" y="1186064"/>
                  <a:pt x="1352554" y="1185909"/>
                </a:cubicBezTo>
                <a:cubicBezTo>
                  <a:pt x="1352554" y="1185909"/>
                  <a:pt x="1351727" y="1186064"/>
                  <a:pt x="1352554" y="1184979"/>
                </a:cubicBezTo>
                <a:close/>
                <a:moveTo>
                  <a:pt x="4769291" y="1184531"/>
                </a:moveTo>
                <a:cubicBezTo>
                  <a:pt x="4770358" y="1186522"/>
                  <a:pt x="4771212" y="1188230"/>
                  <a:pt x="4771852" y="1190079"/>
                </a:cubicBezTo>
                <a:cubicBezTo>
                  <a:pt x="4773773" y="1195343"/>
                  <a:pt x="4772919" y="1200180"/>
                  <a:pt x="4766943" y="1205160"/>
                </a:cubicBezTo>
                <a:cubicBezTo>
                  <a:pt x="4762675" y="1204164"/>
                  <a:pt x="4761394" y="1199753"/>
                  <a:pt x="4762035" y="1195201"/>
                </a:cubicBezTo>
                <a:cubicBezTo>
                  <a:pt x="4762889" y="1190648"/>
                  <a:pt x="4765450" y="1186096"/>
                  <a:pt x="4769291" y="1184531"/>
                </a:cubicBezTo>
                <a:close/>
                <a:moveTo>
                  <a:pt x="3561975" y="1184246"/>
                </a:moveTo>
                <a:cubicBezTo>
                  <a:pt x="3562829" y="1184246"/>
                  <a:pt x="3564110" y="1184246"/>
                  <a:pt x="3564536" y="1184958"/>
                </a:cubicBezTo>
                <a:cubicBezTo>
                  <a:pt x="3566884" y="1186238"/>
                  <a:pt x="3563683" y="1189510"/>
                  <a:pt x="3563683" y="1190791"/>
                </a:cubicBezTo>
                <a:cubicBezTo>
                  <a:pt x="3562615" y="1191929"/>
                  <a:pt x="3561549" y="1193067"/>
                  <a:pt x="3560268" y="1191787"/>
                </a:cubicBezTo>
                <a:cubicBezTo>
                  <a:pt x="3558988" y="1190648"/>
                  <a:pt x="3557920" y="1190506"/>
                  <a:pt x="3558988" y="1188230"/>
                </a:cubicBezTo>
                <a:cubicBezTo>
                  <a:pt x="3558988" y="1186949"/>
                  <a:pt x="3560055" y="1185811"/>
                  <a:pt x="3560055" y="1184673"/>
                </a:cubicBezTo>
                <a:cubicBezTo>
                  <a:pt x="3560055" y="1184673"/>
                  <a:pt x="3560908" y="1184388"/>
                  <a:pt x="3561975" y="1184246"/>
                </a:cubicBezTo>
                <a:close/>
                <a:moveTo>
                  <a:pt x="3842836" y="1183250"/>
                </a:moveTo>
                <a:cubicBezTo>
                  <a:pt x="3860977" y="1184388"/>
                  <a:pt x="3879544" y="1205587"/>
                  <a:pt x="3874636" y="1223512"/>
                </a:cubicBezTo>
                <a:cubicBezTo>
                  <a:pt x="3870367" y="1225077"/>
                  <a:pt x="3866312" y="1225504"/>
                  <a:pt x="3862257" y="1225077"/>
                </a:cubicBezTo>
                <a:lnTo>
                  <a:pt x="3862044" y="1224935"/>
                </a:lnTo>
                <a:lnTo>
                  <a:pt x="3861617" y="1227780"/>
                </a:lnTo>
                <a:lnTo>
                  <a:pt x="3862044" y="1229914"/>
                </a:lnTo>
                <a:lnTo>
                  <a:pt x="3864818" y="1228492"/>
                </a:lnTo>
                <a:cubicBezTo>
                  <a:pt x="3870367" y="1227212"/>
                  <a:pt x="3876556" y="1228492"/>
                  <a:pt x="3879971" y="1233756"/>
                </a:cubicBezTo>
                <a:cubicBezTo>
                  <a:pt x="3879331" y="1244711"/>
                  <a:pt x="3864605" y="1250829"/>
                  <a:pt x="3856708" y="1250117"/>
                </a:cubicBezTo>
                <a:lnTo>
                  <a:pt x="3853294" y="1244284"/>
                </a:lnTo>
                <a:lnTo>
                  <a:pt x="3848385" y="1246845"/>
                </a:lnTo>
                <a:lnTo>
                  <a:pt x="3844330" y="1247414"/>
                </a:lnTo>
                <a:lnTo>
                  <a:pt x="3844543" y="1252962"/>
                </a:lnTo>
                <a:cubicBezTo>
                  <a:pt x="3842836" y="1253389"/>
                  <a:pt x="3840275" y="1253247"/>
                  <a:pt x="3837500" y="1252251"/>
                </a:cubicBezTo>
                <a:lnTo>
                  <a:pt x="3832165" y="1247698"/>
                </a:lnTo>
                <a:lnTo>
                  <a:pt x="3830885" y="1257230"/>
                </a:lnTo>
                <a:cubicBezTo>
                  <a:pt x="3829390" y="1260930"/>
                  <a:pt x="3827257" y="1264059"/>
                  <a:pt x="3824482" y="1266762"/>
                </a:cubicBezTo>
                <a:cubicBezTo>
                  <a:pt x="3815731" y="1275298"/>
                  <a:pt x="3800792" y="1277006"/>
                  <a:pt x="3787987" y="1269750"/>
                </a:cubicBezTo>
                <a:cubicBezTo>
                  <a:pt x="3787987" y="1268185"/>
                  <a:pt x="3788201" y="1266478"/>
                  <a:pt x="3786493" y="1266193"/>
                </a:cubicBezTo>
                <a:cubicBezTo>
                  <a:pt x="3786493" y="1249690"/>
                  <a:pt x="3802713" y="1237597"/>
                  <a:pt x="3818079" y="1238593"/>
                </a:cubicBezTo>
                <a:cubicBezTo>
                  <a:pt x="3820640" y="1238735"/>
                  <a:pt x="3823201" y="1239304"/>
                  <a:pt x="3825549" y="1240300"/>
                </a:cubicBezTo>
                <a:lnTo>
                  <a:pt x="3830244" y="1243003"/>
                </a:lnTo>
                <a:lnTo>
                  <a:pt x="3828964" y="1240443"/>
                </a:lnTo>
                <a:lnTo>
                  <a:pt x="3828110" y="1240158"/>
                </a:lnTo>
                <a:lnTo>
                  <a:pt x="3816372" y="1230199"/>
                </a:lnTo>
                <a:lnTo>
                  <a:pt x="3810823" y="1233614"/>
                </a:lnTo>
                <a:cubicBezTo>
                  <a:pt x="3804634" y="1236032"/>
                  <a:pt x="3797377" y="1235890"/>
                  <a:pt x="3793536" y="1230626"/>
                </a:cubicBezTo>
                <a:cubicBezTo>
                  <a:pt x="3797164" y="1229061"/>
                  <a:pt x="3800792" y="1227780"/>
                  <a:pt x="3804634" y="1225931"/>
                </a:cubicBezTo>
                <a:lnTo>
                  <a:pt x="3815091" y="1218533"/>
                </a:lnTo>
                <a:lnTo>
                  <a:pt x="3815945" y="1215261"/>
                </a:lnTo>
                <a:cubicBezTo>
                  <a:pt x="3817439" y="1212273"/>
                  <a:pt x="3819786" y="1209286"/>
                  <a:pt x="3823414" y="1206013"/>
                </a:cubicBezTo>
                <a:cubicBezTo>
                  <a:pt x="3827257" y="1207152"/>
                  <a:pt x="3831952" y="1208005"/>
                  <a:pt x="3836647" y="1209286"/>
                </a:cubicBezTo>
                <a:lnTo>
                  <a:pt x="3839421" y="1210282"/>
                </a:lnTo>
                <a:lnTo>
                  <a:pt x="3836860" y="1206867"/>
                </a:lnTo>
                <a:cubicBezTo>
                  <a:pt x="3833659" y="1200750"/>
                  <a:pt x="3831952" y="1193636"/>
                  <a:pt x="3832378" y="1186380"/>
                </a:cubicBezTo>
                <a:cubicBezTo>
                  <a:pt x="3834085" y="1186096"/>
                  <a:pt x="3835580" y="1185811"/>
                  <a:pt x="3835153" y="1184104"/>
                </a:cubicBezTo>
                <a:cubicBezTo>
                  <a:pt x="3837714" y="1183393"/>
                  <a:pt x="3840275" y="1183108"/>
                  <a:pt x="3842836" y="1183250"/>
                </a:cubicBezTo>
                <a:close/>
                <a:moveTo>
                  <a:pt x="1269535" y="1182966"/>
                </a:moveTo>
                <a:cubicBezTo>
                  <a:pt x="1279345" y="1185289"/>
                  <a:pt x="1284611" y="1194738"/>
                  <a:pt x="1295453" y="1201863"/>
                </a:cubicBezTo>
                <a:lnTo>
                  <a:pt x="1293388" y="1202637"/>
                </a:lnTo>
                <a:lnTo>
                  <a:pt x="1293904" y="1203412"/>
                </a:lnTo>
                <a:cubicBezTo>
                  <a:pt x="1293181" y="1206665"/>
                  <a:pt x="1290806" y="1208833"/>
                  <a:pt x="1288225" y="1209143"/>
                </a:cubicBezTo>
                <a:lnTo>
                  <a:pt x="1284714" y="1208213"/>
                </a:lnTo>
                <a:lnTo>
                  <a:pt x="1281306" y="1212706"/>
                </a:lnTo>
                <a:cubicBezTo>
                  <a:pt x="1280067" y="1214100"/>
                  <a:pt x="1278829" y="1215494"/>
                  <a:pt x="1277383" y="1216578"/>
                </a:cubicBezTo>
                <a:cubicBezTo>
                  <a:pt x="1275421" y="1218127"/>
                  <a:pt x="1273149" y="1219056"/>
                  <a:pt x="1270052" y="1219056"/>
                </a:cubicBezTo>
                <a:cubicBezTo>
                  <a:pt x="1256422" y="1219521"/>
                  <a:pt x="1248988" y="1207129"/>
                  <a:pt x="1249710" y="1196751"/>
                </a:cubicBezTo>
                <a:cubicBezTo>
                  <a:pt x="1250124" y="1190555"/>
                  <a:pt x="1253428" y="1184824"/>
                  <a:pt x="1260242" y="1183121"/>
                </a:cubicBezTo>
                <a:cubicBezTo>
                  <a:pt x="1262824" y="1182501"/>
                  <a:pt x="1265922" y="1182346"/>
                  <a:pt x="1269535" y="1182966"/>
                </a:cubicBezTo>
                <a:close/>
                <a:moveTo>
                  <a:pt x="4032780" y="1182539"/>
                </a:moveTo>
                <a:cubicBezTo>
                  <a:pt x="4034060" y="1183393"/>
                  <a:pt x="4034914" y="1184531"/>
                  <a:pt x="4035341" y="1185953"/>
                </a:cubicBezTo>
                <a:cubicBezTo>
                  <a:pt x="4035981" y="1188087"/>
                  <a:pt x="4035981" y="1190648"/>
                  <a:pt x="4035341" y="1193067"/>
                </a:cubicBezTo>
                <a:lnTo>
                  <a:pt x="4033420" y="1195912"/>
                </a:lnTo>
                <a:lnTo>
                  <a:pt x="4034060" y="1197477"/>
                </a:lnTo>
                <a:cubicBezTo>
                  <a:pt x="4026377" y="1207009"/>
                  <a:pt x="4020188" y="1200607"/>
                  <a:pt x="4021468" y="1193636"/>
                </a:cubicBezTo>
                <a:cubicBezTo>
                  <a:pt x="4021895" y="1191217"/>
                  <a:pt x="4023175" y="1188941"/>
                  <a:pt x="4025523" y="1186949"/>
                </a:cubicBezTo>
                <a:cubicBezTo>
                  <a:pt x="4026377" y="1187092"/>
                  <a:pt x="4027230" y="1187519"/>
                  <a:pt x="4028297" y="1188230"/>
                </a:cubicBezTo>
                <a:lnTo>
                  <a:pt x="4028725" y="1188514"/>
                </a:lnTo>
                <a:close/>
                <a:moveTo>
                  <a:pt x="3944637" y="1182397"/>
                </a:moveTo>
                <a:cubicBezTo>
                  <a:pt x="3945278" y="1182824"/>
                  <a:pt x="3946131" y="1183677"/>
                  <a:pt x="3947412" y="1184246"/>
                </a:cubicBezTo>
                <a:lnTo>
                  <a:pt x="3943997" y="1187661"/>
                </a:lnTo>
                <a:cubicBezTo>
                  <a:pt x="3942717" y="1186522"/>
                  <a:pt x="3941649" y="1184104"/>
                  <a:pt x="3942717" y="1182966"/>
                </a:cubicBezTo>
                <a:cubicBezTo>
                  <a:pt x="3943143" y="1181828"/>
                  <a:pt x="3943783" y="1181828"/>
                  <a:pt x="3944637" y="1182397"/>
                </a:cubicBezTo>
                <a:close/>
                <a:moveTo>
                  <a:pt x="1719629" y="1182036"/>
                </a:moveTo>
                <a:cubicBezTo>
                  <a:pt x="1721281" y="1182656"/>
                  <a:pt x="1721695" y="1191640"/>
                  <a:pt x="1717564" y="1190710"/>
                </a:cubicBezTo>
                <a:cubicBezTo>
                  <a:pt x="1716738" y="1190400"/>
                  <a:pt x="1716325" y="1189781"/>
                  <a:pt x="1716119" y="1188852"/>
                </a:cubicBezTo>
                <a:cubicBezTo>
                  <a:pt x="1715809" y="1186373"/>
                  <a:pt x="1718184" y="1182346"/>
                  <a:pt x="1719629" y="1182036"/>
                </a:cubicBezTo>
                <a:close/>
                <a:moveTo>
                  <a:pt x="1107062" y="1181804"/>
                </a:moveTo>
                <a:cubicBezTo>
                  <a:pt x="1108585" y="1181688"/>
                  <a:pt x="1109953" y="1182733"/>
                  <a:pt x="1111760" y="1183740"/>
                </a:cubicBezTo>
                <a:cubicBezTo>
                  <a:pt x="1111037" y="1185444"/>
                  <a:pt x="1112070" y="1187767"/>
                  <a:pt x="1110418" y="1189781"/>
                </a:cubicBezTo>
                <a:cubicBezTo>
                  <a:pt x="1110418" y="1189781"/>
                  <a:pt x="1109592" y="1190710"/>
                  <a:pt x="1107836" y="1190865"/>
                </a:cubicBezTo>
                <a:cubicBezTo>
                  <a:pt x="1105358" y="1192879"/>
                  <a:pt x="1102673" y="1190865"/>
                  <a:pt x="1102673" y="1190865"/>
                </a:cubicBezTo>
                <a:cubicBezTo>
                  <a:pt x="1102673" y="1190865"/>
                  <a:pt x="1102570" y="1190865"/>
                  <a:pt x="1102673" y="1191640"/>
                </a:cubicBezTo>
                <a:cubicBezTo>
                  <a:pt x="1102570" y="1190090"/>
                  <a:pt x="1101537" y="1188542"/>
                  <a:pt x="1101434" y="1186838"/>
                </a:cubicBezTo>
                <a:cubicBezTo>
                  <a:pt x="1103861" y="1183198"/>
                  <a:pt x="1105539" y="1181920"/>
                  <a:pt x="1107062" y="1181804"/>
                </a:cubicBezTo>
                <a:close/>
                <a:moveTo>
                  <a:pt x="4463674" y="1181116"/>
                </a:moveTo>
                <a:cubicBezTo>
                  <a:pt x="4464741" y="1182539"/>
                  <a:pt x="4465381" y="1183250"/>
                  <a:pt x="4465595" y="1183962"/>
                </a:cubicBezTo>
                <a:cubicBezTo>
                  <a:pt x="4466022" y="1184815"/>
                  <a:pt x="4466235" y="1185527"/>
                  <a:pt x="4466448" y="1187234"/>
                </a:cubicBezTo>
                <a:cubicBezTo>
                  <a:pt x="4465595" y="1186665"/>
                  <a:pt x="4463034" y="1186380"/>
                  <a:pt x="4462607" y="1184673"/>
                </a:cubicBezTo>
                <a:cubicBezTo>
                  <a:pt x="4462393" y="1183108"/>
                  <a:pt x="4462393" y="1183108"/>
                  <a:pt x="4463674" y="1181116"/>
                </a:cubicBezTo>
                <a:close/>
                <a:moveTo>
                  <a:pt x="3783932" y="1180974"/>
                </a:moveTo>
                <a:cubicBezTo>
                  <a:pt x="3788627" y="1181828"/>
                  <a:pt x="3793536" y="1182681"/>
                  <a:pt x="3793323" y="1187661"/>
                </a:cubicBezTo>
                <a:cubicBezTo>
                  <a:pt x="3789054" y="1191217"/>
                  <a:pt x="3782652" y="1188372"/>
                  <a:pt x="3783932" y="1180974"/>
                </a:cubicBezTo>
                <a:close/>
                <a:moveTo>
                  <a:pt x="1321060" y="1180797"/>
                </a:moveTo>
                <a:cubicBezTo>
                  <a:pt x="1319202" y="1182656"/>
                  <a:pt x="1320028" y="1184360"/>
                  <a:pt x="1318169" y="1186064"/>
                </a:cubicBezTo>
                <a:cubicBezTo>
                  <a:pt x="1316517" y="1184514"/>
                  <a:pt x="1314865" y="1183585"/>
                  <a:pt x="1314039" y="1182810"/>
                </a:cubicBezTo>
                <a:cubicBezTo>
                  <a:pt x="1315897" y="1179403"/>
                  <a:pt x="1318582" y="1178473"/>
                  <a:pt x="1321060" y="1180797"/>
                </a:cubicBezTo>
                <a:close/>
                <a:moveTo>
                  <a:pt x="3832592" y="1180263"/>
                </a:moveTo>
                <a:cubicBezTo>
                  <a:pt x="3834726" y="1180121"/>
                  <a:pt x="3836220" y="1179978"/>
                  <a:pt x="3837500" y="1180263"/>
                </a:cubicBezTo>
                <a:cubicBezTo>
                  <a:pt x="3838781" y="1180405"/>
                  <a:pt x="3839635" y="1181116"/>
                  <a:pt x="3840915" y="1182539"/>
                </a:cubicBezTo>
                <a:cubicBezTo>
                  <a:pt x="3837500" y="1183393"/>
                  <a:pt x="3834939" y="1183250"/>
                  <a:pt x="3832592" y="1180263"/>
                </a:cubicBezTo>
                <a:close/>
                <a:moveTo>
                  <a:pt x="4881123" y="1179978"/>
                </a:moveTo>
                <a:cubicBezTo>
                  <a:pt x="4881763" y="1179836"/>
                  <a:pt x="4882830" y="1179836"/>
                  <a:pt x="4883898" y="1180121"/>
                </a:cubicBezTo>
                <a:cubicBezTo>
                  <a:pt x="4884965" y="1180263"/>
                  <a:pt x="4886245" y="1180832"/>
                  <a:pt x="4887526" y="1181685"/>
                </a:cubicBezTo>
                <a:cubicBezTo>
                  <a:pt x="4888806" y="1182824"/>
                  <a:pt x="4891581" y="1186238"/>
                  <a:pt x="4890514" y="1186238"/>
                </a:cubicBezTo>
                <a:cubicBezTo>
                  <a:pt x="4889660" y="1187519"/>
                  <a:pt x="4890727" y="1187519"/>
                  <a:pt x="4890727" y="1188799"/>
                </a:cubicBezTo>
                <a:cubicBezTo>
                  <a:pt x="4887953" y="1192498"/>
                  <a:pt x="4884751" y="1193921"/>
                  <a:pt x="4880910" y="1191644"/>
                </a:cubicBezTo>
                <a:cubicBezTo>
                  <a:pt x="4878348" y="1189368"/>
                  <a:pt x="4874507" y="1185953"/>
                  <a:pt x="4876215" y="1182255"/>
                </a:cubicBezTo>
                <a:cubicBezTo>
                  <a:pt x="4877282" y="1182112"/>
                  <a:pt x="4877282" y="1180974"/>
                  <a:pt x="4878348" y="1180974"/>
                </a:cubicBezTo>
                <a:cubicBezTo>
                  <a:pt x="4878348" y="1180974"/>
                  <a:pt x="4879415" y="1180263"/>
                  <a:pt x="4881123" y="1179978"/>
                </a:cubicBezTo>
                <a:close/>
                <a:moveTo>
                  <a:pt x="1485651" y="1179713"/>
                </a:moveTo>
                <a:cubicBezTo>
                  <a:pt x="1489884" y="1180797"/>
                  <a:pt x="1491123" y="1181261"/>
                  <a:pt x="1491433" y="1185754"/>
                </a:cubicBezTo>
                <a:cubicBezTo>
                  <a:pt x="1491433" y="1185754"/>
                  <a:pt x="1491020" y="1186838"/>
                  <a:pt x="1491020" y="1186838"/>
                </a:cubicBezTo>
                <a:cubicBezTo>
                  <a:pt x="1490297" y="1190865"/>
                  <a:pt x="1486270" y="1194273"/>
                  <a:pt x="1484308" y="1194118"/>
                </a:cubicBezTo>
                <a:cubicBezTo>
                  <a:pt x="1482553" y="1193344"/>
                  <a:pt x="1480901" y="1191640"/>
                  <a:pt x="1480591" y="1189471"/>
                </a:cubicBezTo>
                <a:cubicBezTo>
                  <a:pt x="1480488" y="1188697"/>
                  <a:pt x="1480591" y="1187922"/>
                  <a:pt x="1480901" y="1187148"/>
                </a:cubicBezTo>
                <a:cubicBezTo>
                  <a:pt x="1481314" y="1184205"/>
                  <a:pt x="1484411" y="1182966"/>
                  <a:pt x="1485651" y="1179713"/>
                </a:cubicBezTo>
                <a:close/>
                <a:moveTo>
                  <a:pt x="1477803" y="1179248"/>
                </a:moveTo>
                <a:lnTo>
                  <a:pt x="1478010" y="1180332"/>
                </a:lnTo>
                <a:lnTo>
                  <a:pt x="1478836" y="1180642"/>
                </a:lnTo>
                <a:close/>
                <a:moveTo>
                  <a:pt x="4794261" y="1178698"/>
                </a:moveTo>
                <a:cubicBezTo>
                  <a:pt x="4794475" y="1178698"/>
                  <a:pt x="4794261" y="1179125"/>
                  <a:pt x="4794048" y="1179551"/>
                </a:cubicBezTo>
                <a:cubicBezTo>
                  <a:pt x="4795115" y="1181828"/>
                  <a:pt x="4794261" y="1181116"/>
                  <a:pt x="4794475" y="1182824"/>
                </a:cubicBezTo>
                <a:cubicBezTo>
                  <a:pt x="4794688" y="1184388"/>
                  <a:pt x="4798103" y="1189510"/>
                  <a:pt x="4799597" y="1189083"/>
                </a:cubicBezTo>
                <a:cubicBezTo>
                  <a:pt x="4798956" y="1190079"/>
                  <a:pt x="4799383" y="1191787"/>
                  <a:pt x="4799383" y="1191787"/>
                </a:cubicBezTo>
                <a:cubicBezTo>
                  <a:pt x="4797676" y="1192214"/>
                  <a:pt x="4796822" y="1191502"/>
                  <a:pt x="4795755" y="1190933"/>
                </a:cubicBezTo>
                <a:cubicBezTo>
                  <a:pt x="4795542" y="1189368"/>
                  <a:pt x="4796182" y="1188372"/>
                  <a:pt x="4795968" y="1186665"/>
                </a:cubicBezTo>
                <a:cubicBezTo>
                  <a:pt x="4795115" y="1186096"/>
                  <a:pt x="4793194" y="1184815"/>
                  <a:pt x="4792980" y="1183250"/>
                </a:cubicBezTo>
                <a:cubicBezTo>
                  <a:pt x="4792554" y="1181543"/>
                  <a:pt x="4792980" y="1178982"/>
                  <a:pt x="4792980" y="1178982"/>
                </a:cubicBezTo>
                <a:cubicBezTo>
                  <a:pt x="4793834" y="1178698"/>
                  <a:pt x="4794261" y="1178556"/>
                  <a:pt x="4794261" y="1178698"/>
                </a:cubicBezTo>
                <a:close/>
                <a:moveTo>
                  <a:pt x="4518736" y="1178129"/>
                </a:moveTo>
                <a:cubicBezTo>
                  <a:pt x="4520657" y="1177986"/>
                  <a:pt x="4522365" y="1178413"/>
                  <a:pt x="4523005" y="1179551"/>
                </a:cubicBezTo>
                <a:cubicBezTo>
                  <a:pt x="4520657" y="1180974"/>
                  <a:pt x="4519163" y="1181401"/>
                  <a:pt x="4517456" y="1181828"/>
                </a:cubicBezTo>
                <a:cubicBezTo>
                  <a:pt x="4515108" y="1183250"/>
                  <a:pt x="4514254" y="1182539"/>
                  <a:pt x="4513614" y="1179267"/>
                </a:cubicBezTo>
                <a:cubicBezTo>
                  <a:pt x="4514681" y="1178556"/>
                  <a:pt x="4516815" y="1178129"/>
                  <a:pt x="4518736" y="1178129"/>
                </a:cubicBezTo>
                <a:close/>
                <a:moveTo>
                  <a:pt x="5021126" y="1177702"/>
                </a:moveTo>
                <a:cubicBezTo>
                  <a:pt x="5020913" y="1178840"/>
                  <a:pt x="5020700" y="1181258"/>
                  <a:pt x="5022833" y="1182539"/>
                </a:cubicBezTo>
                <a:cubicBezTo>
                  <a:pt x="5020273" y="1184815"/>
                  <a:pt x="5017925" y="1187234"/>
                  <a:pt x="5015791" y="1184815"/>
                </a:cubicBezTo>
                <a:cubicBezTo>
                  <a:pt x="5014724" y="1183535"/>
                  <a:pt x="5013657" y="1182397"/>
                  <a:pt x="5013870" y="1179978"/>
                </a:cubicBezTo>
                <a:cubicBezTo>
                  <a:pt x="5016431" y="1177560"/>
                  <a:pt x="5019846" y="1178840"/>
                  <a:pt x="5021126" y="1177702"/>
                </a:cubicBezTo>
                <a:close/>
                <a:moveTo>
                  <a:pt x="4527060" y="1177560"/>
                </a:moveTo>
                <a:cubicBezTo>
                  <a:pt x="4526419" y="1178556"/>
                  <a:pt x="4527273" y="1179125"/>
                  <a:pt x="4527273" y="1179125"/>
                </a:cubicBezTo>
                <a:cubicBezTo>
                  <a:pt x="4527273" y="1179125"/>
                  <a:pt x="4527273" y="1179125"/>
                  <a:pt x="4527913" y="1178129"/>
                </a:cubicBezTo>
                <a:cubicBezTo>
                  <a:pt x="4528127" y="1178982"/>
                  <a:pt x="4527700" y="1179409"/>
                  <a:pt x="4527486" y="1179694"/>
                </a:cubicBezTo>
                <a:cubicBezTo>
                  <a:pt x="4527060" y="1180121"/>
                  <a:pt x="4526633" y="1180263"/>
                  <a:pt x="4526633" y="1180263"/>
                </a:cubicBezTo>
                <a:cubicBezTo>
                  <a:pt x="4524925" y="1180690"/>
                  <a:pt x="4523432" y="1180974"/>
                  <a:pt x="4523218" y="1179409"/>
                </a:cubicBezTo>
                <a:cubicBezTo>
                  <a:pt x="4523218" y="1179409"/>
                  <a:pt x="4523858" y="1178413"/>
                  <a:pt x="4527060" y="1177560"/>
                </a:cubicBezTo>
                <a:close/>
                <a:moveTo>
                  <a:pt x="1699701" y="1177234"/>
                </a:moveTo>
                <a:cubicBezTo>
                  <a:pt x="1701353" y="1179713"/>
                  <a:pt x="1702282" y="1181417"/>
                  <a:pt x="1702799" y="1183275"/>
                </a:cubicBezTo>
                <a:lnTo>
                  <a:pt x="1703005" y="1185444"/>
                </a:lnTo>
                <a:lnTo>
                  <a:pt x="1708787" y="1187767"/>
                </a:lnTo>
                <a:lnTo>
                  <a:pt x="1703315" y="1189471"/>
                </a:lnTo>
                <a:lnTo>
                  <a:pt x="1703418" y="1189936"/>
                </a:lnTo>
                <a:cubicBezTo>
                  <a:pt x="1699907" y="1192259"/>
                  <a:pt x="1696397" y="1193344"/>
                  <a:pt x="1692989" y="1193499"/>
                </a:cubicBezTo>
                <a:lnTo>
                  <a:pt x="1689685" y="1193344"/>
                </a:lnTo>
                <a:lnTo>
                  <a:pt x="1682767" y="1193808"/>
                </a:lnTo>
                <a:cubicBezTo>
                  <a:pt x="1679669" y="1193653"/>
                  <a:pt x="1676262" y="1193034"/>
                  <a:pt x="1672751" y="1191795"/>
                </a:cubicBezTo>
                <a:lnTo>
                  <a:pt x="1679875" y="1185134"/>
                </a:lnTo>
                <a:lnTo>
                  <a:pt x="1679875" y="1184514"/>
                </a:lnTo>
                <a:cubicBezTo>
                  <a:pt x="1681218" y="1178628"/>
                  <a:pt x="1693196" y="1179093"/>
                  <a:pt x="1699701" y="1177234"/>
                </a:cubicBezTo>
                <a:close/>
                <a:moveTo>
                  <a:pt x="1332109" y="1177234"/>
                </a:moveTo>
                <a:cubicBezTo>
                  <a:pt x="1333864" y="1178628"/>
                  <a:pt x="1333244" y="1182810"/>
                  <a:pt x="1332522" y="1184669"/>
                </a:cubicBezTo>
                <a:cubicBezTo>
                  <a:pt x="1330870" y="1186528"/>
                  <a:pt x="1328288" y="1186064"/>
                  <a:pt x="1326430" y="1184669"/>
                </a:cubicBezTo>
                <a:cubicBezTo>
                  <a:pt x="1325603" y="1184360"/>
                  <a:pt x="1325087" y="1183585"/>
                  <a:pt x="1324881" y="1182656"/>
                </a:cubicBezTo>
                <a:cubicBezTo>
                  <a:pt x="1324777" y="1181726"/>
                  <a:pt x="1324881" y="1180642"/>
                  <a:pt x="1325294" y="1179867"/>
                </a:cubicBezTo>
                <a:cubicBezTo>
                  <a:pt x="1326120" y="1178783"/>
                  <a:pt x="1326120" y="1178783"/>
                  <a:pt x="1326946" y="1177854"/>
                </a:cubicBezTo>
                <a:cubicBezTo>
                  <a:pt x="1328598" y="1177699"/>
                  <a:pt x="1330353" y="1176615"/>
                  <a:pt x="1332109" y="1177234"/>
                </a:cubicBezTo>
                <a:close/>
                <a:moveTo>
                  <a:pt x="1562576" y="1176924"/>
                </a:moveTo>
                <a:lnTo>
                  <a:pt x="1567946" y="1179403"/>
                </a:lnTo>
                <a:lnTo>
                  <a:pt x="1569701" y="1178164"/>
                </a:lnTo>
                <a:cubicBezTo>
                  <a:pt x="1570837" y="1178009"/>
                  <a:pt x="1572179" y="1178628"/>
                  <a:pt x="1573728" y="1179403"/>
                </a:cubicBezTo>
                <a:cubicBezTo>
                  <a:pt x="1572902" y="1180487"/>
                  <a:pt x="1571973" y="1180952"/>
                  <a:pt x="1570837" y="1181107"/>
                </a:cubicBezTo>
                <a:lnTo>
                  <a:pt x="1570321" y="1181107"/>
                </a:lnTo>
                <a:lnTo>
                  <a:pt x="1574658" y="1184050"/>
                </a:lnTo>
                <a:cubicBezTo>
                  <a:pt x="1576516" y="1185599"/>
                  <a:pt x="1578271" y="1186838"/>
                  <a:pt x="1580337" y="1187303"/>
                </a:cubicBezTo>
                <a:cubicBezTo>
                  <a:pt x="1580337" y="1187303"/>
                  <a:pt x="1580337" y="1187457"/>
                  <a:pt x="1580956" y="1189781"/>
                </a:cubicBezTo>
                <a:cubicBezTo>
                  <a:pt x="1581679" y="1190245"/>
                  <a:pt x="1581679" y="1190245"/>
                  <a:pt x="1581679" y="1190245"/>
                </a:cubicBezTo>
                <a:cubicBezTo>
                  <a:pt x="1581989" y="1190400"/>
                  <a:pt x="1581989" y="1190865"/>
                  <a:pt x="1581886" y="1191330"/>
                </a:cubicBezTo>
                <a:lnTo>
                  <a:pt x="1582092" y="1191485"/>
                </a:lnTo>
                <a:lnTo>
                  <a:pt x="1582505" y="1191949"/>
                </a:lnTo>
                <a:lnTo>
                  <a:pt x="1584983" y="1187612"/>
                </a:lnTo>
                <a:cubicBezTo>
                  <a:pt x="1587152" y="1188697"/>
                  <a:pt x="1588184" y="1185754"/>
                  <a:pt x="1590456" y="1187612"/>
                </a:cubicBezTo>
                <a:lnTo>
                  <a:pt x="1590146" y="1189936"/>
                </a:lnTo>
                <a:cubicBezTo>
                  <a:pt x="1591075" y="1189781"/>
                  <a:pt x="1592314" y="1189936"/>
                  <a:pt x="1593863" y="1190245"/>
                </a:cubicBezTo>
                <a:cubicBezTo>
                  <a:pt x="1597064" y="1191020"/>
                  <a:pt x="1601091" y="1193188"/>
                  <a:pt x="1602227" y="1193653"/>
                </a:cubicBezTo>
                <a:cubicBezTo>
                  <a:pt x="1603363" y="1194118"/>
                  <a:pt x="1604189" y="1193808"/>
                  <a:pt x="1604189" y="1193808"/>
                </a:cubicBezTo>
                <a:cubicBezTo>
                  <a:pt x="1604189" y="1195202"/>
                  <a:pt x="1597580" y="1193963"/>
                  <a:pt x="1592831" y="1193034"/>
                </a:cubicBezTo>
                <a:lnTo>
                  <a:pt x="1589733" y="1192259"/>
                </a:lnTo>
                <a:lnTo>
                  <a:pt x="1589630" y="1193344"/>
                </a:lnTo>
                <a:lnTo>
                  <a:pt x="1588700" y="1194892"/>
                </a:lnTo>
                <a:lnTo>
                  <a:pt x="1589113" y="1196751"/>
                </a:lnTo>
                <a:lnTo>
                  <a:pt x="1589423" y="1196906"/>
                </a:lnTo>
                <a:cubicBezTo>
                  <a:pt x="1590662" y="1197371"/>
                  <a:pt x="1592004" y="1197681"/>
                  <a:pt x="1592521" y="1197216"/>
                </a:cubicBezTo>
                <a:cubicBezTo>
                  <a:pt x="1592418" y="1197990"/>
                  <a:pt x="1593140" y="1198920"/>
                  <a:pt x="1593140" y="1198920"/>
                </a:cubicBezTo>
                <a:cubicBezTo>
                  <a:pt x="1592211" y="1199849"/>
                  <a:pt x="1591282" y="1199694"/>
                  <a:pt x="1590456" y="1199694"/>
                </a:cubicBezTo>
                <a:lnTo>
                  <a:pt x="1589113" y="1197371"/>
                </a:lnTo>
                <a:lnTo>
                  <a:pt x="1590353" y="1204186"/>
                </a:lnTo>
                <a:lnTo>
                  <a:pt x="1589939" y="1206665"/>
                </a:lnTo>
                <a:lnTo>
                  <a:pt x="1590972" y="1206510"/>
                </a:lnTo>
                <a:cubicBezTo>
                  <a:pt x="1590559" y="1208368"/>
                  <a:pt x="1591592" y="1208833"/>
                  <a:pt x="1589527" y="1211156"/>
                </a:cubicBezTo>
                <a:lnTo>
                  <a:pt x="1589217" y="1211156"/>
                </a:lnTo>
                <a:lnTo>
                  <a:pt x="1588494" y="1215494"/>
                </a:lnTo>
                <a:cubicBezTo>
                  <a:pt x="1587565" y="1217817"/>
                  <a:pt x="1586429" y="1219831"/>
                  <a:pt x="1584983" y="1221845"/>
                </a:cubicBezTo>
                <a:cubicBezTo>
                  <a:pt x="1578685" y="1218591"/>
                  <a:pt x="1580337" y="1211156"/>
                  <a:pt x="1580233" y="1205580"/>
                </a:cubicBezTo>
                <a:cubicBezTo>
                  <a:pt x="1574451" y="1207129"/>
                  <a:pt x="1566500" y="1211156"/>
                  <a:pt x="1563609" y="1205116"/>
                </a:cubicBezTo>
                <a:cubicBezTo>
                  <a:pt x="1565261" y="1200469"/>
                  <a:pt x="1570631" y="1200469"/>
                  <a:pt x="1576000" y="1199385"/>
                </a:cubicBezTo>
                <a:lnTo>
                  <a:pt x="1578168" y="1198765"/>
                </a:lnTo>
                <a:lnTo>
                  <a:pt x="1579304" y="1197371"/>
                </a:lnTo>
                <a:lnTo>
                  <a:pt x="1582195" y="1192414"/>
                </a:lnTo>
                <a:lnTo>
                  <a:pt x="1581886" y="1191949"/>
                </a:lnTo>
                <a:lnTo>
                  <a:pt x="1581576" y="1191949"/>
                </a:lnTo>
                <a:lnTo>
                  <a:pt x="1581472" y="1192104"/>
                </a:lnTo>
                <a:lnTo>
                  <a:pt x="1580853" y="1191949"/>
                </a:lnTo>
                <a:lnTo>
                  <a:pt x="1580027" y="1191949"/>
                </a:lnTo>
                <a:lnTo>
                  <a:pt x="1579924" y="1191795"/>
                </a:lnTo>
                <a:lnTo>
                  <a:pt x="1578994" y="1191640"/>
                </a:lnTo>
                <a:cubicBezTo>
                  <a:pt x="1578168" y="1191175"/>
                  <a:pt x="1577342" y="1190400"/>
                  <a:pt x="1576619" y="1189936"/>
                </a:cubicBezTo>
                <a:cubicBezTo>
                  <a:pt x="1574968" y="1190710"/>
                  <a:pt x="1574451" y="1186528"/>
                  <a:pt x="1572799" y="1187457"/>
                </a:cubicBezTo>
                <a:cubicBezTo>
                  <a:pt x="1571560" y="1182810"/>
                  <a:pt x="1565674" y="1183740"/>
                  <a:pt x="1562576" y="1176924"/>
                </a:cubicBezTo>
                <a:close/>
                <a:moveTo>
                  <a:pt x="1376018" y="1176847"/>
                </a:moveTo>
                <a:cubicBezTo>
                  <a:pt x="1377619" y="1176305"/>
                  <a:pt x="1379348" y="1175840"/>
                  <a:pt x="1380742" y="1176924"/>
                </a:cubicBezTo>
                <a:cubicBezTo>
                  <a:pt x="1389829" y="1182346"/>
                  <a:pt x="1388177" y="1185134"/>
                  <a:pt x="1385905" y="1191485"/>
                </a:cubicBezTo>
                <a:cubicBezTo>
                  <a:pt x="1385905" y="1190555"/>
                  <a:pt x="1385079" y="1191485"/>
                  <a:pt x="1385079" y="1191485"/>
                </a:cubicBezTo>
                <a:cubicBezTo>
                  <a:pt x="1383427" y="1193499"/>
                  <a:pt x="1388693" y="1193499"/>
                  <a:pt x="1387144" y="1196287"/>
                </a:cubicBezTo>
                <a:lnTo>
                  <a:pt x="1386422" y="1196906"/>
                </a:lnTo>
                <a:lnTo>
                  <a:pt x="1386422" y="1197216"/>
                </a:lnTo>
                <a:lnTo>
                  <a:pt x="1389416" y="1200004"/>
                </a:lnTo>
                <a:lnTo>
                  <a:pt x="1389416" y="1199539"/>
                </a:lnTo>
                <a:cubicBezTo>
                  <a:pt x="1390448" y="1193034"/>
                  <a:pt x="1397263" y="1193344"/>
                  <a:pt x="1396747" y="1192724"/>
                </a:cubicBezTo>
                <a:lnTo>
                  <a:pt x="1396954" y="1191949"/>
                </a:lnTo>
                <a:lnTo>
                  <a:pt x="1395921" y="1192259"/>
                </a:lnTo>
                <a:cubicBezTo>
                  <a:pt x="1395198" y="1192414"/>
                  <a:pt x="1394889" y="1192569"/>
                  <a:pt x="1394889" y="1192569"/>
                </a:cubicBezTo>
                <a:cubicBezTo>
                  <a:pt x="1393133" y="1192104"/>
                  <a:pt x="1393030" y="1191175"/>
                  <a:pt x="1393133" y="1192104"/>
                </a:cubicBezTo>
                <a:cubicBezTo>
                  <a:pt x="1391275" y="1190710"/>
                  <a:pt x="1388590" y="1189316"/>
                  <a:pt x="1389416" y="1187612"/>
                </a:cubicBezTo>
                <a:cubicBezTo>
                  <a:pt x="1392410" y="1183430"/>
                  <a:pt x="1398709" y="1185289"/>
                  <a:pt x="1402736" y="1186838"/>
                </a:cubicBezTo>
                <a:lnTo>
                  <a:pt x="1405524" y="1187612"/>
                </a:lnTo>
                <a:lnTo>
                  <a:pt x="1407486" y="1185754"/>
                </a:lnTo>
                <a:cubicBezTo>
                  <a:pt x="1409138" y="1185444"/>
                  <a:pt x="1410480" y="1187303"/>
                  <a:pt x="1410273" y="1189006"/>
                </a:cubicBezTo>
                <a:lnTo>
                  <a:pt x="1408828" y="1190865"/>
                </a:lnTo>
                <a:lnTo>
                  <a:pt x="1410377" y="1191330"/>
                </a:lnTo>
                <a:cubicBezTo>
                  <a:pt x="1409551" y="1192259"/>
                  <a:pt x="1407073" y="1195047"/>
                  <a:pt x="1407073" y="1195047"/>
                </a:cubicBezTo>
                <a:cubicBezTo>
                  <a:pt x="1407176" y="1195977"/>
                  <a:pt x="1407176" y="1195822"/>
                  <a:pt x="1406453" y="1196906"/>
                </a:cubicBezTo>
                <a:cubicBezTo>
                  <a:pt x="1405524" y="1196132"/>
                  <a:pt x="1405524" y="1196132"/>
                  <a:pt x="1405421" y="1195357"/>
                </a:cubicBezTo>
                <a:cubicBezTo>
                  <a:pt x="1406247" y="1194428"/>
                  <a:pt x="1407073" y="1194273"/>
                  <a:pt x="1407899" y="1193344"/>
                </a:cubicBezTo>
                <a:cubicBezTo>
                  <a:pt x="1406040" y="1191949"/>
                  <a:pt x="1406143" y="1192724"/>
                  <a:pt x="1406969" y="1191795"/>
                </a:cubicBezTo>
                <a:cubicBezTo>
                  <a:pt x="1406969" y="1191795"/>
                  <a:pt x="1406969" y="1191795"/>
                  <a:pt x="1407796" y="1190865"/>
                </a:cubicBezTo>
                <a:lnTo>
                  <a:pt x="1408002" y="1190710"/>
                </a:lnTo>
                <a:lnTo>
                  <a:pt x="1407796" y="1190555"/>
                </a:lnTo>
                <a:lnTo>
                  <a:pt x="1407796" y="1190865"/>
                </a:lnTo>
                <a:lnTo>
                  <a:pt x="1399225" y="1191485"/>
                </a:lnTo>
                <a:lnTo>
                  <a:pt x="1398709" y="1192414"/>
                </a:lnTo>
                <a:cubicBezTo>
                  <a:pt x="1399432" y="1191949"/>
                  <a:pt x="1399225" y="1193034"/>
                  <a:pt x="1399225" y="1193034"/>
                </a:cubicBezTo>
                <a:cubicBezTo>
                  <a:pt x="1399225" y="1193034"/>
                  <a:pt x="1399122" y="1193034"/>
                  <a:pt x="1401600" y="1193344"/>
                </a:cubicBezTo>
                <a:cubicBezTo>
                  <a:pt x="1401600" y="1193344"/>
                  <a:pt x="1406866" y="1194892"/>
                  <a:pt x="1406040" y="1200159"/>
                </a:cubicBezTo>
                <a:cubicBezTo>
                  <a:pt x="1405111" y="1200004"/>
                  <a:pt x="1403872" y="1203877"/>
                  <a:pt x="1401600" y="1206200"/>
                </a:cubicBezTo>
                <a:lnTo>
                  <a:pt x="1400981" y="1206510"/>
                </a:lnTo>
                <a:lnTo>
                  <a:pt x="1400464" y="1207439"/>
                </a:lnTo>
                <a:cubicBezTo>
                  <a:pt x="1399638" y="1208833"/>
                  <a:pt x="1399019" y="1210072"/>
                  <a:pt x="1398606" y="1210692"/>
                </a:cubicBezTo>
                <a:cubicBezTo>
                  <a:pt x="1397676" y="1210847"/>
                  <a:pt x="1397676" y="1210847"/>
                  <a:pt x="1397676" y="1210847"/>
                </a:cubicBezTo>
                <a:cubicBezTo>
                  <a:pt x="1396747" y="1210537"/>
                  <a:pt x="1396541" y="1209917"/>
                  <a:pt x="1396747" y="1208988"/>
                </a:cubicBezTo>
                <a:lnTo>
                  <a:pt x="1397263" y="1207749"/>
                </a:lnTo>
                <a:lnTo>
                  <a:pt x="1393959" y="1208058"/>
                </a:lnTo>
                <a:cubicBezTo>
                  <a:pt x="1393236" y="1207129"/>
                  <a:pt x="1392101" y="1206510"/>
                  <a:pt x="1391068" y="1205425"/>
                </a:cubicBezTo>
                <a:lnTo>
                  <a:pt x="1390242" y="1204032"/>
                </a:lnTo>
                <a:lnTo>
                  <a:pt x="1390345" y="1206045"/>
                </a:lnTo>
                <a:cubicBezTo>
                  <a:pt x="1389829" y="1206975"/>
                  <a:pt x="1388900" y="1208058"/>
                  <a:pt x="1387454" y="1208988"/>
                </a:cubicBezTo>
                <a:cubicBezTo>
                  <a:pt x="1383117" y="1207439"/>
                  <a:pt x="1375890" y="1205890"/>
                  <a:pt x="1372895" y="1201089"/>
                </a:cubicBezTo>
                <a:lnTo>
                  <a:pt x="1372689" y="1200004"/>
                </a:lnTo>
                <a:lnTo>
                  <a:pt x="1371759" y="1199229"/>
                </a:lnTo>
                <a:lnTo>
                  <a:pt x="1371553" y="1199385"/>
                </a:lnTo>
                <a:cubicBezTo>
                  <a:pt x="1371553" y="1198455"/>
                  <a:pt x="1370624" y="1198610"/>
                  <a:pt x="1370624" y="1199539"/>
                </a:cubicBezTo>
                <a:cubicBezTo>
                  <a:pt x="1369281" y="1198765"/>
                  <a:pt x="1368248" y="1198300"/>
                  <a:pt x="1367629" y="1197835"/>
                </a:cubicBezTo>
                <a:cubicBezTo>
                  <a:pt x="1367319" y="1197525"/>
                  <a:pt x="1367216" y="1197216"/>
                  <a:pt x="1367216" y="1196906"/>
                </a:cubicBezTo>
                <a:cubicBezTo>
                  <a:pt x="1367216" y="1196442"/>
                  <a:pt x="1367423" y="1196132"/>
                  <a:pt x="1367835" y="1195667"/>
                </a:cubicBezTo>
                <a:cubicBezTo>
                  <a:pt x="1368558" y="1193808"/>
                  <a:pt x="1370417" y="1194428"/>
                  <a:pt x="1372069" y="1192569"/>
                </a:cubicBezTo>
                <a:cubicBezTo>
                  <a:pt x="1374444" y="1188852"/>
                  <a:pt x="1367216" y="1184669"/>
                  <a:pt x="1372069" y="1177234"/>
                </a:cubicBezTo>
                <a:cubicBezTo>
                  <a:pt x="1372946" y="1178009"/>
                  <a:pt x="1374418" y="1177389"/>
                  <a:pt x="1376018" y="1176847"/>
                </a:cubicBezTo>
                <a:close/>
                <a:moveTo>
                  <a:pt x="4339891" y="1176706"/>
                </a:moveTo>
                <a:cubicBezTo>
                  <a:pt x="4341384" y="1176706"/>
                  <a:pt x="4342878" y="1176991"/>
                  <a:pt x="4344799" y="1177417"/>
                </a:cubicBezTo>
                <a:cubicBezTo>
                  <a:pt x="4345439" y="1180121"/>
                  <a:pt x="4346933" y="1182112"/>
                  <a:pt x="4348427" y="1185669"/>
                </a:cubicBezTo>
                <a:cubicBezTo>
                  <a:pt x="4345866" y="1187803"/>
                  <a:pt x="4338396" y="1189083"/>
                  <a:pt x="4333701" y="1184958"/>
                </a:cubicBezTo>
                <a:cubicBezTo>
                  <a:pt x="4333488" y="1179267"/>
                  <a:pt x="4335835" y="1176706"/>
                  <a:pt x="4339891" y="1176706"/>
                </a:cubicBezTo>
                <a:close/>
                <a:moveTo>
                  <a:pt x="1608526" y="1176305"/>
                </a:moveTo>
                <a:cubicBezTo>
                  <a:pt x="1615134" y="1178319"/>
                  <a:pt x="1613069" y="1189316"/>
                  <a:pt x="1613482" y="1191795"/>
                </a:cubicBezTo>
                <a:cubicBezTo>
                  <a:pt x="1613482" y="1191795"/>
                  <a:pt x="1613895" y="1192724"/>
                  <a:pt x="1613482" y="1193808"/>
                </a:cubicBezTo>
                <a:cubicBezTo>
                  <a:pt x="1613482" y="1195512"/>
                  <a:pt x="1611417" y="1193499"/>
                  <a:pt x="1611107" y="1194583"/>
                </a:cubicBezTo>
                <a:cubicBezTo>
                  <a:pt x="1609558" y="1187922"/>
                  <a:pt x="1605428" y="1183121"/>
                  <a:pt x="1605428" y="1183121"/>
                </a:cubicBezTo>
                <a:cubicBezTo>
                  <a:pt x="1605428" y="1181261"/>
                  <a:pt x="1606151" y="1180952"/>
                  <a:pt x="1605428" y="1181261"/>
                </a:cubicBezTo>
                <a:cubicBezTo>
                  <a:pt x="1606151" y="1179093"/>
                  <a:pt x="1606564" y="1176150"/>
                  <a:pt x="1608526" y="1176305"/>
                </a:cubicBezTo>
                <a:close/>
                <a:moveTo>
                  <a:pt x="3581610" y="1174572"/>
                </a:moveTo>
                <a:cubicBezTo>
                  <a:pt x="3582250" y="1179125"/>
                  <a:pt x="3581610" y="1181116"/>
                  <a:pt x="3580543" y="1181685"/>
                </a:cubicBezTo>
                <a:cubicBezTo>
                  <a:pt x="3577341" y="1183535"/>
                  <a:pt x="3570299" y="1172154"/>
                  <a:pt x="3581610" y="1174572"/>
                </a:cubicBezTo>
                <a:close/>
                <a:moveTo>
                  <a:pt x="4826915" y="1174003"/>
                </a:moveTo>
                <a:cubicBezTo>
                  <a:pt x="4828408" y="1173576"/>
                  <a:pt x="4829689" y="1173576"/>
                  <a:pt x="4830969" y="1174003"/>
                </a:cubicBezTo>
                <a:cubicBezTo>
                  <a:pt x="4832890" y="1174572"/>
                  <a:pt x="4834384" y="1175995"/>
                  <a:pt x="4835451" y="1178271"/>
                </a:cubicBezTo>
                <a:cubicBezTo>
                  <a:pt x="4834811" y="1183108"/>
                  <a:pt x="4826701" y="1189795"/>
                  <a:pt x="4823073" y="1190648"/>
                </a:cubicBezTo>
                <a:cubicBezTo>
                  <a:pt x="4819872" y="1188657"/>
                  <a:pt x="4818804" y="1185953"/>
                  <a:pt x="4818804" y="1183393"/>
                </a:cubicBezTo>
                <a:cubicBezTo>
                  <a:pt x="4819018" y="1179125"/>
                  <a:pt x="4822860" y="1174999"/>
                  <a:pt x="4826915" y="1174003"/>
                </a:cubicBezTo>
                <a:close/>
                <a:moveTo>
                  <a:pt x="1513220" y="1173981"/>
                </a:moveTo>
                <a:lnTo>
                  <a:pt x="1513530" y="1174756"/>
                </a:lnTo>
                <a:lnTo>
                  <a:pt x="1513943" y="1174756"/>
                </a:lnTo>
                <a:close/>
                <a:moveTo>
                  <a:pt x="5647727" y="1173291"/>
                </a:moveTo>
                <a:cubicBezTo>
                  <a:pt x="5647940" y="1173576"/>
                  <a:pt x="5648580" y="1174145"/>
                  <a:pt x="5649434" y="1174714"/>
                </a:cubicBezTo>
                <a:cubicBezTo>
                  <a:pt x="5650075" y="1175283"/>
                  <a:pt x="5650501" y="1175710"/>
                  <a:pt x="5650715" y="1175995"/>
                </a:cubicBezTo>
                <a:cubicBezTo>
                  <a:pt x="5650928" y="1176279"/>
                  <a:pt x="5651142" y="1176564"/>
                  <a:pt x="5650501" y="1177133"/>
                </a:cubicBezTo>
                <a:cubicBezTo>
                  <a:pt x="5649220" y="1178271"/>
                  <a:pt x="5649220" y="1178271"/>
                  <a:pt x="5645806" y="1178129"/>
                </a:cubicBezTo>
                <a:cubicBezTo>
                  <a:pt x="5647087" y="1176991"/>
                  <a:pt x="5647087" y="1176991"/>
                  <a:pt x="5646020" y="1175852"/>
                </a:cubicBezTo>
                <a:cubicBezTo>
                  <a:pt x="5646020" y="1175852"/>
                  <a:pt x="5646020" y="1175852"/>
                  <a:pt x="5644952" y="1175852"/>
                </a:cubicBezTo>
                <a:cubicBezTo>
                  <a:pt x="5645166" y="1174714"/>
                  <a:pt x="5646233" y="1174714"/>
                  <a:pt x="5646446" y="1173576"/>
                </a:cubicBezTo>
                <a:cubicBezTo>
                  <a:pt x="5646446" y="1173576"/>
                  <a:pt x="5647300" y="1173576"/>
                  <a:pt x="5647300" y="1173576"/>
                </a:cubicBezTo>
                <a:cubicBezTo>
                  <a:pt x="5647513" y="1173007"/>
                  <a:pt x="5647513" y="1173007"/>
                  <a:pt x="5647727" y="1173291"/>
                </a:cubicBezTo>
                <a:close/>
                <a:moveTo>
                  <a:pt x="5151526" y="1173149"/>
                </a:moveTo>
                <a:cubicBezTo>
                  <a:pt x="5155794" y="1173291"/>
                  <a:pt x="5162197" y="1175710"/>
                  <a:pt x="5161983" y="1176706"/>
                </a:cubicBezTo>
                <a:cubicBezTo>
                  <a:pt x="5163264" y="1176706"/>
                  <a:pt x="5163051" y="1177844"/>
                  <a:pt x="5164118" y="1177844"/>
                </a:cubicBezTo>
                <a:cubicBezTo>
                  <a:pt x="5164118" y="1177844"/>
                  <a:pt x="5165398" y="1177844"/>
                  <a:pt x="5166465" y="1179125"/>
                </a:cubicBezTo>
                <a:cubicBezTo>
                  <a:pt x="5166892" y="1179694"/>
                  <a:pt x="5167319" y="1180405"/>
                  <a:pt x="5167532" y="1181116"/>
                </a:cubicBezTo>
                <a:cubicBezTo>
                  <a:pt x="5167746" y="1181970"/>
                  <a:pt x="5167746" y="1182824"/>
                  <a:pt x="5167106" y="1183962"/>
                </a:cubicBezTo>
                <a:cubicBezTo>
                  <a:pt x="5158142" y="1180263"/>
                  <a:pt x="5153447" y="1180121"/>
                  <a:pt x="5146831" y="1176421"/>
                </a:cubicBezTo>
                <a:cubicBezTo>
                  <a:pt x="5147044" y="1175141"/>
                  <a:pt x="5148111" y="1175141"/>
                  <a:pt x="5148325" y="1174003"/>
                </a:cubicBezTo>
                <a:cubicBezTo>
                  <a:pt x="5148965" y="1173434"/>
                  <a:pt x="5150032" y="1173149"/>
                  <a:pt x="5151526" y="1173149"/>
                </a:cubicBezTo>
                <a:close/>
                <a:moveTo>
                  <a:pt x="1649209" y="1173052"/>
                </a:moveTo>
                <a:cubicBezTo>
                  <a:pt x="1653339" y="1172897"/>
                  <a:pt x="1655920" y="1174136"/>
                  <a:pt x="1657159" y="1175995"/>
                </a:cubicBezTo>
                <a:lnTo>
                  <a:pt x="1658192" y="1180952"/>
                </a:lnTo>
                <a:lnTo>
                  <a:pt x="1658915" y="1181107"/>
                </a:lnTo>
                <a:cubicBezTo>
                  <a:pt x="1660567" y="1182036"/>
                  <a:pt x="1662322" y="1184050"/>
                  <a:pt x="1664077" y="1187148"/>
                </a:cubicBezTo>
                <a:cubicBezTo>
                  <a:pt x="1659018" y="1187303"/>
                  <a:pt x="1654784" y="1189781"/>
                  <a:pt x="1650758" y="1191949"/>
                </a:cubicBezTo>
                <a:lnTo>
                  <a:pt x="1647660" y="1193188"/>
                </a:lnTo>
                <a:lnTo>
                  <a:pt x="1650758" y="1194583"/>
                </a:lnTo>
                <a:cubicBezTo>
                  <a:pt x="1648176" y="1198765"/>
                  <a:pt x="1644768" y="1199849"/>
                  <a:pt x="1640122" y="1199694"/>
                </a:cubicBezTo>
                <a:cubicBezTo>
                  <a:pt x="1639915" y="1198920"/>
                  <a:pt x="1640329" y="1197835"/>
                  <a:pt x="1640948" y="1196596"/>
                </a:cubicBezTo>
                <a:lnTo>
                  <a:pt x="1642187" y="1194118"/>
                </a:lnTo>
                <a:lnTo>
                  <a:pt x="1638780" y="1193963"/>
                </a:lnTo>
                <a:cubicBezTo>
                  <a:pt x="1640019" y="1193034"/>
                  <a:pt x="1641258" y="1191795"/>
                  <a:pt x="1642600" y="1190555"/>
                </a:cubicBezTo>
                <a:lnTo>
                  <a:pt x="1643116" y="1189936"/>
                </a:lnTo>
                <a:lnTo>
                  <a:pt x="1642187" y="1187767"/>
                </a:lnTo>
                <a:lnTo>
                  <a:pt x="1643116" y="1184050"/>
                </a:lnTo>
                <a:lnTo>
                  <a:pt x="1636714" y="1186218"/>
                </a:lnTo>
                <a:cubicBezTo>
                  <a:pt x="1632481" y="1186838"/>
                  <a:pt x="1627628" y="1186528"/>
                  <a:pt x="1622259" y="1184979"/>
                </a:cubicBezTo>
                <a:cubicBezTo>
                  <a:pt x="1621536" y="1183740"/>
                  <a:pt x="1621123" y="1182501"/>
                  <a:pt x="1621020" y="1181417"/>
                </a:cubicBezTo>
                <a:cubicBezTo>
                  <a:pt x="1620813" y="1178164"/>
                  <a:pt x="1623291" y="1175995"/>
                  <a:pt x="1626699" y="1174756"/>
                </a:cubicBezTo>
                <a:cubicBezTo>
                  <a:pt x="1632584" y="1172742"/>
                  <a:pt x="1641361" y="1173672"/>
                  <a:pt x="1645492" y="1177544"/>
                </a:cubicBezTo>
                <a:lnTo>
                  <a:pt x="1645595" y="1177544"/>
                </a:lnTo>
                <a:close/>
                <a:moveTo>
                  <a:pt x="995700" y="1172123"/>
                </a:moveTo>
                <a:cubicBezTo>
                  <a:pt x="997559" y="1171968"/>
                  <a:pt x="999314" y="1171658"/>
                  <a:pt x="1000450" y="1172897"/>
                </a:cubicBezTo>
                <a:cubicBezTo>
                  <a:pt x="1000863" y="1173362"/>
                  <a:pt x="1001173" y="1173981"/>
                  <a:pt x="1001379" y="1174911"/>
                </a:cubicBezTo>
                <a:cubicBezTo>
                  <a:pt x="1001379" y="1174911"/>
                  <a:pt x="1001379" y="1174911"/>
                  <a:pt x="1000966" y="1175531"/>
                </a:cubicBezTo>
                <a:cubicBezTo>
                  <a:pt x="1000140" y="1176924"/>
                  <a:pt x="999624" y="1177544"/>
                  <a:pt x="999211" y="1178319"/>
                </a:cubicBezTo>
                <a:cubicBezTo>
                  <a:pt x="998075" y="1178473"/>
                  <a:pt x="994977" y="1178319"/>
                  <a:pt x="994668" y="1177234"/>
                </a:cubicBezTo>
                <a:cubicBezTo>
                  <a:pt x="994358" y="1175995"/>
                  <a:pt x="994254" y="1174911"/>
                  <a:pt x="994461" y="1173981"/>
                </a:cubicBezTo>
                <a:cubicBezTo>
                  <a:pt x="994668" y="1173052"/>
                  <a:pt x="995184" y="1172277"/>
                  <a:pt x="995700" y="1172123"/>
                </a:cubicBezTo>
                <a:close/>
                <a:moveTo>
                  <a:pt x="3949759" y="1171727"/>
                </a:moveTo>
                <a:cubicBezTo>
                  <a:pt x="3951466" y="1171727"/>
                  <a:pt x="3953601" y="1172011"/>
                  <a:pt x="3955949" y="1174003"/>
                </a:cubicBezTo>
                <a:cubicBezTo>
                  <a:pt x="3957229" y="1175283"/>
                  <a:pt x="3959790" y="1178982"/>
                  <a:pt x="3958723" y="1178982"/>
                </a:cubicBezTo>
                <a:cubicBezTo>
                  <a:pt x="3957442" y="1180121"/>
                  <a:pt x="3958723" y="1180121"/>
                  <a:pt x="3958723" y="1181401"/>
                </a:cubicBezTo>
                <a:lnTo>
                  <a:pt x="3957016" y="1182397"/>
                </a:lnTo>
                <a:lnTo>
                  <a:pt x="3957656" y="1183108"/>
                </a:lnTo>
                <a:cubicBezTo>
                  <a:pt x="3959363" y="1185527"/>
                  <a:pt x="3959150" y="1185527"/>
                  <a:pt x="3958083" y="1186807"/>
                </a:cubicBezTo>
                <a:cubicBezTo>
                  <a:pt x="3957229" y="1188230"/>
                  <a:pt x="3953601" y="1187234"/>
                  <a:pt x="3952534" y="1188514"/>
                </a:cubicBezTo>
                <a:cubicBezTo>
                  <a:pt x="3952534" y="1188514"/>
                  <a:pt x="3952320" y="1188514"/>
                  <a:pt x="3950826" y="1186096"/>
                </a:cubicBezTo>
                <a:lnTo>
                  <a:pt x="3951253" y="1183962"/>
                </a:lnTo>
                <a:lnTo>
                  <a:pt x="3948479" y="1183250"/>
                </a:lnTo>
                <a:cubicBezTo>
                  <a:pt x="3946131" y="1180832"/>
                  <a:pt x="3942503" y="1176991"/>
                  <a:pt x="3944637" y="1173434"/>
                </a:cubicBezTo>
                <a:cubicBezTo>
                  <a:pt x="3945704" y="1173434"/>
                  <a:pt x="3945704" y="1172296"/>
                  <a:pt x="3946985" y="1172438"/>
                </a:cubicBezTo>
                <a:cubicBezTo>
                  <a:pt x="3946985" y="1172438"/>
                  <a:pt x="3948052" y="1171869"/>
                  <a:pt x="3949759" y="1171727"/>
                </a:cubicBezTo>
                <a:close/>
                <a:moveTo>
                  <a:pt x="1130514" y="1171600"/>
                </a:moveTo>
                <a:cubicBezTo>
                  <a:pt x="1132205" y="1173207"/>
                  <a:pt x="1132514" y="1175918"/>
                  <a:pt x="1128900" y="1177699"/>
                </a:cubicBezTo>
                <a:cubicBezTo>
                  <a:pt x="1126422" y="1175376"/>
                  <a:pt x="1124667" y="1173672"/>
                  <a:pt x="1123841" y="1172123"/>
                </a:cubicBezTo>
                <a:cubicBezTo>
                  <a:pt x="1125751" y="1169489"/>
                  <a:pt x="1128823" y="1169993"/>
                  <a:pt x="1130514" y="1171600"/>
                </a:cubicBezTo>
                <a:close/>
                <a:moveTo>
                  <a:pt x="4946003" y="1171015"/>
                </a:moveTo>
                <a:cubicBezTo>
                  <a:pt x="4949204" y="1170162"/>
                  <a:pt x="4953686" y="1171584"/>
                  <a:pt x="4954539" y="1176421"/>
                </a:cubicBezTo>
                <a:cubicBezTo>
                  <a:pt x="4956033" y="1180405"/>
                  <a:pt x="4953472" y="1184531"/>
                  <a:pt x="4954112" y="1189510"/>
                </a:cubicBezTo>
                <a:cubicBezTo>
                  <a:pt x="4951338" y="1190648"/>
                  <a:pt x="4949631" y="1191360"/>
                  <a:pt x="4948137" y="1191075"/>
                </a:cubicBezTo>
                <a:lnTo>
                  <a:pt x="4947710" y="1190648"/>
                </a:lnTo>
                <a:lnTo>
                  <a:pt x="4935972" y="1184673"/>
                </a:lnTo>
                <a:cubicBezTo>
                  <a:pt x="4935118" y="1183393"/>
                  <a:pt x="4933197" y="1178556"/>
                  <a:pt x="4934478" y="1177417"/>
                </a:cubicBezTo>
                <a:cubicBezTo>
                  <a:pt x="4935758" y="1176279"/>
                  <a:pt x="4936825" y="1176279"/>
                  <a:pt x="4938106" y="1176279"/>
                </a:cubicBezTo>
                <a:lnTo>
                  <a:pt x="4943228" y="1179267"/>
                </a:lnTo>
                <a:lnTo>
                  <a:pt x="4943228" y="1176706"/>
                </a:lnTo>
                <a:cubicBezTo>
                  <a:pt x="4943868" y="1174003"/>
                  <a:pt x="4944936" y="1171727"/>
                  <a:pt x="4946003" y="1171015"/>
                </a:cubicBezTo>
                <a:close/>
                <a:moveTo>
                  <a:pt x="3486852" y="1170446"/>
                </a:moveTo>
                <a:lnTo>
                  <a:pt x="3488773" y="1172154"/>
                </a:lnTo>
                <a:lnTo>
                  <a:pt x="3491120" y="1172580"/>
                </a:lnTo>
                <a:cubicBezTo>
                  <a:pt x="3493041" y="1173291"/>
                  <a:pt x="3494961" y="1174430"/>
                  <a:pt x="3496669" y="1175852"/>
                </a:cubicBezTo>
                <a:lnTo>
                  <a:pt x="3499017" y="1178982"/>
                </a:lnTo>
                <a:lnTo>
                  <a:pt x="3502218" y="1180690"/>
                </a:lnTo>
                <a:lnTo>
                  <a:pt x="3507127" y="1183108"/>
                </a:lnTo>
                <a:lnTo>
                  <a:pt x="3508407" y="1181685"/>
                </a:lnTo>
                <a:cubicBezTo>
                  <a:pt x="3509688" y="1180121"/>
                  <a:pt x="3510968" y="1178982"/>
                  <a:pt x="3511608" y="1179551"/>
                </a:cubicBezTo>
                <a:cubicBezTo>
                  <a:pt x="3511608" y="1179551"/>
                  <a:pt x="3510328" y="1180832"/>
                  <a:pt x="3509047" y="1181970"/>
                </a:cubicBezTo>
                <a:lnTo>
                  <a:pt x="3508834" y="1183962"/>
                </a:lnTo>
                <a:lnTo>
                  <a:pt x="3509688" y="1184388"/>
                </a:lnTo>
                <a:cubicBezTo>
                  <a:pt x="3512035" y="1185669"/>
                  <a:pt x="3514383" y="1187234"/>
                  <a:pt x="3516303" y="1189083"/>
                </a:cubicBezTo>
                <a:cubicBezTo>
                  <a:pt x="3513316" y="1189937"/>
                  <a:pt x="3509901" y="1190933"/>
                  <a:pt x="3506060" y="1191644"/>
                </a:cubicBezTo>
                <a:lnTo>
                  <a:pt x="3505206" y="1191644"/>
                </a:lnTo>
                <a:lnTo>
                  <a:pt x="3505420" y="1192924"/>
                </a:lnTo>
                <a:lnTo>
                  <a:pt x="3501578" y="1191787"/>
                </a:lnTo>
                <a:lnTo>
                  <a:pt x="3494961" y="1192214"/>
                </a:lnTo>
                <a:cubicBezTo>
                  <a:pt x="3487705" y="1191360"/>
                  <a:pt x="3481303" y="1187376"/>
                  <a:pt x="3479169" y="1176848"/>
                </a:cubicBezTo>
                <a:lnTo>
                  <a:pt x="3484931" y="1172011"/>
                </a:lnTo>
                <a:lnTo>
                  <a:pt x="3484718" y="1171157"/>
                </a:lnTo>
                <a:lnTo>
                  <a:pt x="3485785" y="1171442"/>
                </a:lnTo>
                <a:close/>
                <a:moveTo>
                  <a:pt x="4790633" y="1170019"/>
                </a:moveTo>
                <a:cubicBezTo>
                  <a:pt x="4790847" y="1171727"/>
                  <a:pt x="4793621" y="1177986"/>
                  <a:pt x="4792127" y="1178413"/>
                </a:cubicBezTo>
                <a:cubicBezTo>
                  <a:pt x="4792127" y="1178413"/>
                  <a:pt x="4791700" y="1176706"/>
                  <a:pt x="4791487" y="1174999"/>
                </a:cubicBezTo>
                <a:cubicBezTo>
                  <a:pt x="4791060" y="1173434"/>
                  <a:pt x="4791273" y="1173434"/>
                  <a:pt x="4789566" y="1173861"/>
                </a:cubicBezTo>
                <a:cubicBezTo>
                  <a:pt x="4789352" y="1172154"/>
                  <a:pt x="4789352" y="1172154"/>
                  <a:pt x="4790633" y="1170019"/>
                </a:cubicBezTo>
                <a:close/>
                <a:moveTo>
                  <a:pt x="4761394" y="1170019"/>
                </a:moveTo>
                <a:cubicBezTo>
                  <a:pt x="4762889" y="1171300"/>
                  <a:pt x="4763742" y="1173291"/>
                  <a:pt x="4764169" y="1175426"/>
                </a:cubicBezTo>
                <a:cubicBezTo>
                  <a:pt x="4765450" y="1182255"/>
                  <a:pt x="4762675" y="1191644"/>
                  <a:pt x="4758620" y="1195343"/>
                </a:cubicBezTo>
                <a:cubicBezTo>
                  <a:pt x="4753498" y="1195912"/>
                  <a:pt x="4749870" y="1194632"/>
                  <a:pt x="4747949" y="1192356"/>
                </a:cubicBezTo>
                <a:cubicBezTo>
                  <a:pt x="4741973" y="1185385"/>
                  <a:pt x="4749443" y="1169450"/>
                  <a:pt x="4761394" y="1170019"/>
                </a:cubicBezTo>
                <a:close/>
                <a:moveTo>
                  <a:pt x="1065192" y="1169954"/>
                </a:moveTo>
                <a:cubicBezTo>
                  <a:pt x="1065708" y="1170109"/>
                  <a:pt x="1066224" y="1170729"/>
                  <a:pt x="1066740" y="1171503"/>
                </a:cubicBezTo>
                <a:cubicBezTo>
                  <a:pt x="1067257" y="1175685"/>
                  <a:pt x="1063229" y="1177079"/>
                  <a:pt x="1060235" y="1180022"/>
                </a:cubicBezTo>
                <a:cubicBezTo>
                  <a:pt x="1059512" y="1179557"/>
                  <a:pt x="1058273" y="1179713"/>
                  <a:pt x="1057860" y="1180332"/>
                </a:cubicBezTo>
                <a:cubicBezTo>
                  <a:pt x="1056621" y="1180642"/>
                  <a:pt x="1055485" y="1180797"/>
                  <a:pt x="1056208" y="1181261"/>
                </a:cubicBezTo>
                <a:cubicBezTo>
                  <a:pt x="1052697" y="1181881"/>
                  <a:pt x="1052181" y="1182656"/>
                  <a:pt x="1050426" y="1180487"/>
                </a:cubicBezTo>
                <a:cubicBezTo>
                  <a:pt x="1054660" y="1175376"/>
                  <a:pt x="1061681" y="1171193"/>
                  <a:pt x="1063333" y="1170264"/>
                </a:cubicBezTo>
                <a:cubicBezTo>
                  <a:pt x="1064159" y="1169799"/>
                  <a:pt x="1064675" y="1169644"/>
                  <a:pt x="1065192" y="1169954"/>
                </a:cubicBezTo>
                <a:close/>
                <a:moveTo>
                  <a:pt x="1503721" y="1168599"/>
                </a:moveTo>
                <a:cubicBezTo>
                  <a:pt x="1505373" y="1168212"/>
                  <a:pt x="1507128" y="1167940"/>
                  <a:pt x="1508367" y="1169180"/>
                </a:cubicBezTo>
                <a:lnTo>
                  <a:pt x="1510123" y="1170884"/>
                </a:lnTo>
                <a:lnTo>
                  <a:pt x="1510432" y="1168870"/>
                </a:lnTo>
                <a:cubicBezTo>
                  <a:pt x="1517247" y="1169954"/>
                  <a:pt x="1524681" y="1173517"/>
                  <a:pt x="1526334" y="1174446"/>
                </a:cubicBezTo>
                <a:cubicBezTo>
                  <a:pt x="1527160" y="1174756"/>
                  <a:pt x="1527573" y="1175221"/>
                  <a:pt x="1527573" y="1175840"/>
                </a:cubicBezTo>
                <a:cubicBezTo>
                  <a:pt x="1527573" y="1176305"/>
                  <a:pt x="1527366" y="1176924"/>
                  <a:pt x="1526850" y="1177854"/>
                </a:cubicBezTo>
                <a:cubicBezTo>
                  <a:pt x="1525817" y="1178473"/>
                  <a:pt x="1524888" y="1178628"/>
                  <a:pt x="1524062" y="1178783"/>
                </a:cubicBezTo>
                <a:lnTo>
                  <a:pt x="1524372" y="1179403"/>
                </a:lnTo>
                <a:lnTo>
                  <a:pt x="1524681" y="1179403"/>
                </a:lnTo>
                <a:cubicBezTo>
                  <a:pt x="1527882" y="1180332"/>
                  <a:pt x="1530773" y="1182036"/>
                  <a:pt x="1532013" y="1182501"/>
                </a:cubicBezTo>
                <a:cubicBezTo>
                  <a:pt x="1532013" y="1182501"/>
                  <a:pt x="1532839" y="1182501"/>
                  <a:pt x="1533665" y="1183275"/>
                </a:cubicBezTo>
                <a:cubicBezTo>
                  <a:pt x="1535420" y="1184050"/>
                  <a:pt x="1532735" y="1184979"/>
                  <a:pt x="1533562" y="1185754"/>
                </a:cubicBezTo>
                <a:lnTo>
                  <a:pt x="1527160" y="1185599"/>
                </a:lnTo>
                <a:lnTo>
                  <a:pt x="1526850" y="1190710"/>
                </a:lnTo>
                <a:cubicBezTo>
                  <a:pt x="1521894" y="1193344"/>
                  <a:pt x="1515389" y="1189626"/>
                  <a:pt x="1511362" y="1185444"/>
                </a:cubicBezTo>
                <a:lnTo>
                  <a:pt x="1510948" y="1184979"/>
                </a:lnTo>
                <a:lnTo>
                  <a:pt x="1510845" y="1185444"/>
                </a:lnTo>
                <a:cubicBezTo>
                  <a:pt x="1511465" y="1186528"/>
                  <a:pt x="1514046" y="1187303"/>
                  <a:pt x="1512704" y="1189161"/>
                </a:cubicBezTo>
                <a:cubicBezTo>
                  <a:pt x="1509193" y="1193188"/>
                  <a:pt x="1503101" y="1192104"/>
                  <a:pt x="1499900" y="1191175"/>
                </a:cubicBezTo>
                <a:lnTo>
                  <a:pt x="1498041" y="1190710"/>
                </a:lnTo>
                <a:lnTo>
                  <a:pt x="1498041" y="1191640"/>
                </a:lnTo>
                <a:lnTo>
                  <a:pt x="1497215" y="1190710"/>
                </a:lnTo>
                <a:lnTo>
                  <a:pt x="1497009" y="1190710"/>
                </a:lnTo>
                <a:cubicBezTo>
                  <a:pt x="1497009" y="1189936"/>
                  <a:pt x="1496079" y="1189936"/>
                  <a:pt x="1496079" y="1190865"/>
                </a:cubicBezTo>
                <a:cubicBezTo>
                  <a:pt x="1494840" y="1190090"/>
                  <a:pt x="1493808" y="1189471"/>
                  <a:pt x="1493292" y="1188852"/>
                </a:cubicBezTo>
                <a:cubicBezTo>
                  <a:pt x="1493085" y="1188542"/>
                  <a:pt x="1492982" y="1188232"/>
                  <a:pt x="1492982" y="1187922"/>
                </a:cubicBezTo>
                <a:cubicBezTo>
                  <a:pt x="1493085" y="1187457"/>
                  <a:pt x="1493292" y="1187148"/>
                  <a:pt x="1493705" y="1186683"/>
                </a:cubicBezTo>
                <a:cubicBezTo>
                  <a:pt x="1494634" y="1184979"/>
                  <a:pt x="1496390" y="1185754"/>
                  <a:pt x="1498145" y="1184050"/>
                </a:cubicBezTo>
                <a:cubicBezTo>
                  <a:pt x="1500933" y="1180487"/>
                  <a:pt x="1494221" y="1175685"/>
                  <a:pt x="1499694" y="1168715"/>
                </a:cubicBezTo>
                <a:cubicBezTo>
                  <a:pt x="1500520" y="1169490"/>
                  <a:pt x="1502068" y="1168986"/>
                  <a:pt x="1503721" y="1168599"/>
                </a:cubicBezTo>
                <a:close/>
                <a:moveTo>
                  <a:pt x="4979296" y="1168455"/>
                </a:moveTo>
                <a:cubicBezTo>
                  <a:pt x="4983351" y="1169308"/>
                  <a:pt x="4988687" y="1173434"/>
                  <a:pt x="4991034" y="1176137"/>
                </a:cubicBezTo>
                <a:cubicBezTo>
                  <a:pt x="4987406" y="1178413"/>
                  <a:pt x="4978869" y="1172438"/>
                  <a:pt x="4975881" y="1168881"/>
                </a:cubicBezTo>
                <a:cubicBezTo>
                  <a:pt x="4976735" y="1168312"/>
                  <a:pt x="4978016" y="1168170"/>
                  <a:pt x="4979296" y="1168455"/>
                </a:cubicBezTo>
                <a:close/>
                <a:moveTo>
                  <a:pt x="4244065" y="1168170"/>
                </a:moveTo>
                <a:cubicBezTo>
                  <a:pt x="4246199" y="1167743"/>
                  <a:pt x="4248547" y="1168312"/>
                  <a:pt x="4250681" y="1170162"/>
                </a:cubicBezTo>
                <a:cubicBezTo>
                  <a:pt x="4249827" y="1177275"/>
                  <a:pt x="4250254" y="1185669"/>
                  <a:pt x="4242144" y="1185242"/>
                </a:cubicBezTo>
                <a:cubicBezTo>
                  <a:pt x="4233181" y="1178556"/>
                  <a:pt x="4237662" y="1169166"/>
                  <a:pt x="4244065" y="1168170"/>
                </a:cubicBezTo>
                <a:close/>
                <a:moveTo>
                  <a:pt x="4718924" y="1167601"/>
                </a:moveTo>
                <a:cubicBezTo>
                  <a:pt x="4728954" y="1174287"/>
                  <a:pt x="4725967" y="1176848"/>
                  <a:pt x="4723193" y="1181828"/>
                </a:cubicBezTo>
                <a:cubicBezTo>
                  <a:pt x="4720845" y="1180832"/>
                  <a:pt x="4717430" y="1182255"/>
                  <a:pt x="4714869" y="1179978"/>
                </a:cubicBezTo>
                <a:cubicBezTo>
                  <a:pt x="4714869" y="1179978"/>
                  <a:pt x="4713588" y="1178840"/>
                  <a:pt x="4713375" y="1176421"/>
                </a:cubicBezTo>
                <a:cubicBezTo>
                  <a:pt x="4710387" y="1173007"/>
                  <a:pt x="4713375" y="1169308"/>
                  <a:pt x="4713375" y="1169308"/>
                </a:cubicBezTo>
                <a:cubicBezTo>
                  <a:pt x="4713375" y="1169308"/>
                  <a:pt x="4713375" y="1169166"/>
                  <a:pt x="4712308" y="1169308"/>
                </a:cubicBezTo>
                <a:cubicBezTo>
                  <a:pt x="4714442" y="1169166"/>
                  <a:pt x="4716576" y="1167743"/>
                  <a:pt x="4718924" y="1167601"/>
                </a:cubicBezTo>
                <a:close/>
                <a:moveTo>
                  <a:pt x="3726522" y="1166890"/>
                </a:moveTo>
                <a:cubicBezTo>
                  <a:pt x="3735272" y="1167459"/>
                  <a:pt x="3742956" y="1172296"/>
                  <a:pt x="3745303" y="1181685"/>
                </a:cubicBezTo>
                <a:cubicBezTo>
                  <a:pt x="3746370" y="1185242"/>
                  <a:pt x="3746370" y="1189510"/>
                  <a:pt x="3745516" y="1194489"/>
                </a:cubicBezTo>
                <a:cubicBezTo>
                  <a:pt x="3742315" y="1208005"/>
                  <a:pt x="3729297" y="1215119"/>
                  <a:pt x="3719479" y="1230057"/>
                </a:cubicBezTo>
                <a:lnTo>
                  <a:pt x="3718626" y="1227212"/>
                </a:lnTo>
                <a:lnTo>
                  <a:pt x="3717345" y="1228065"/>
                </a:lnTo>
                <a:cubicBezTo>
                  <a:pt x="3712864" y="1227069"/>
                  <a:pt x="3710089" y="1223797"/>
                  <a:pt x="3709662" y="1220098"/>
                </a:cubicBezTo>
                <a:lnTo>
                  <a:pt x="3710943" y="1215261"/>
                </a:lnTo>
                <a:lnTo>
                  <a:pt x="3704753" y="1210566"/>
                </a:lnTo>
                <a:cubicBezTo>
                  <a:pt x="3702619" y="1209001"/>
                  <a:pt x="3700698" y="1207152"/>
                  <a:pt x="3699205" y="1205160"/>
                </a:cubicBezTo>
                <a:cubicBezTo>
                  <a:pt x="3697070" y="1202457"/>
                  <a:pt x="3695790" y="1199327"/>
                  <a:pt x="3696003" y="1195059"/>
                </a:cubicBezTo>
                <a:cubicBezTo>
                  <a:pt x="3695363" y="1176421"/>
                  <a:pt x="3712223" y="1166036"/>
                  <a:pt x="3726522" y="1166890"/>
                </a:cubicBezTo>
                <a:close/>
                <a:moveTo>
                  <a:pt x="1544300" y="1166701"/>
                </a:moveTo>
                <a:cubicBezTo>
                  <a:pt x="1551735" y="1173052"/>
                  <a:pt x="1545127" y="1185134"/>
                  <a:pt x="1540583" y="1190400"/>
                </a:cubicBezTo>
                <a:cubicBezTo>
                  <a:pt x="1540376" y="1186683"/>
                  <a:pt x="1539860" y="1182810"/>
                  <a:pt x="1540170" y="1178938"/>
                </a:cubicBezTo>
                <a:cubicBezTo>
                  <a:pt x="1540480" y="1175066"/>
                  <a:pt x="1541512" y="1171038"/>
                  <a:pt x="1544300" y="1166701"/>
                </a:cubicBezTo>
                <a:close/>
                <a:moveTo>
                  <a:pt x="1324881" y="1164533"/>
                </a:moveTo>
                <a:cubicBezTo>
                  <a:pt x="1333451" y="1166856"/>
                  <a:pt x="1342228" y="1167476"/>
                  <a:pt x="1350178" y="1177079"/>
                </a:cubicBezTo>
                <a:cubicBezTo>
                  <a:pt x="1349043" y="1179403"/>
                  <a:pt x="1350385" y="1183740"/>
                  <a:pt x="1346048" y="1183895"/>
                </a:cubicBezTo>
                <a:cubicBezTo>
                  <a:pt x="1341711" y="1173207"/>
                  <a:pt x="1325810" y="1174756"/>
                  <a:pt x="1324881" y="1164533"/>
                </a:cubicBezTo>
                <a:close/>
                <a:moveTo>
                  <a:pt x="1305046" y="1164518"/>
                </a:moveTo>
                <a:cubicBezTo>
                  <a:pt x="1309722" y="1167873"/>
                  <a:pt x="1309315" y="1179984"/>
                  <a:pt x="1304436" y="1180332"/>
                </a:cubicBezTo>
                <a:cubicBezTo>
                  <a:pt x="1301855" y="1180642"/>
                  <a:pt x="1298240" y="1177699"/>
                  <a:pt x="1293388" y="1169334"/>
                </a:cubicBezTo>
                <a:cubicBezTo>
                  <a:pt x="1295350" y="1167166"/>
                  <a:pt x="1297105" y="1165617"/>
                  <a:pt x="1298654" y="1164843"/>
                </a:cubicBezTo>
                <a:cubicBezTo>
                  <a:pt x="1301364" y="1163255"/>
                  <a:pt x="1303487" y="1163400"/>
                  <a:pt x="1305046" y="1164518"/>
                </a:cubicBezTo>
                <a:close/>
                <a:moveTo>
                  <a:pt x="1141601" y="1162829"/>
                </a:moveTo>
                <a:cubicBezTo>
                  <a:pt x="1147796" y="1159266"/>
                  <a:pt x="1153372" y="1167476"/>
                  <a:pt x="1151410" y="1172588"/>
                </a:cubicBezTo>
                <a:cubicBezTo>
                  <a:pt x="1146764" y="1175221"/>
                  <a:pt x="1141498" y="1171348"/>
                  <a:pt x="1140671" y="1167166"/>
                </a:cubicBezTo>
                <a:cubicBezTo>
                  <a:pt x="1140465" y="1165617"/>
                  <a:pt x="1140671" y="1164223"/>
                  <a:pt x="1141601" y="1162829"/>
                </a:cubicBezTo>
                <a:close/>
                <a:moveTo>
                  <a:pt x="1591488" y="1162519"/>
                </a:moveTo>
                <a:lnTo>
                  <a:pt x="1591488" y="1164223"/>
                </a:lnTo>
                <a:lnTo>
                  <a:pt x="1591798" y="1163449"/>
                </a:lnTo>
                <a:lnTo>
                  <a:pt x="1591695" y="1163294"/>
                </a:lnTo>
                <a:cubicBezTo>
                  <a:pt x="1592004" y="1163139"/>
                  <a:pt x="1592211" y="1162829"/>
                  <a:pt x="1592108" y="1162674"/>
                </a:cubicBezTo>
                <a:close/>
                <a:moveTo>
                  <a:pt x="4415868" y="1162053"/>
                </a:moveTo>
                <a:cubicBezTo>
                  <a:pt x="4418216" y="1162621"/>
                  <a:pt x="4422057" y="1163048"/>
                  <a:pt x="4423551" y="1166036"/>
                </a:cubicBezTo>
                <a:cubicBezTo>
                  <a:pt x="4423978" y="1167032"/>
                  <a:pt x="4423978" y="1168312"/>
                  <a:pt x="4423764" y="1170019"/>
                </a:cubicBezTo>
                <a:cubicBezTo>
                  <a:pt x="4424405" y="1171015"/>
                  <a:pt x="4421417" y="1174430"/>
                  <a:pt x="4419923" y="1174003"/>
                </a:cubicBezTo>
                <a:cubicBezTo>
                  <a:pt x="4415655" y="1173861"/>
                  <a:pt x="4415441" y="1169592"/>
                  <a:pt x="4413734" y="1164898"/>
                </a:cubicBezTo>
                <a:cubicBezTo>
                  <a:pt x="4415441" y="1165325"/>
                  <a:pt x="4415655" y="1163760"/>
                  <a:pt x="4415868" y="1162053"/>
                </a:cubicBezTo>
                <a:close/>
                <a:moveTo>
                  <a:pt x="1724069" y="1161745"/>
                </a:moveTo>
                <a:lnTo>
                  <a:pt x="1721798" y="1163758"/>
                </a:lnTo>
                <a:lnTo>
                  <a:pt x="1722314" y="1164068"/>
                </a:lnTo>
                <a:lnTo>
                  <a:pt x="1722830" y="1164688"/>
                </a:lnTo>
                <a:close/>
                <a:moveTo>
                  <a:pt x="3814665" y="1161056"/>
                </a:moveTo>
                <a:cubicBezTo>
                  <a:pt x="3815945" y="1160772"/>
                  <a:pt x="3816799" y="1161199"/>
                  <a:pt x="3817439" y="1162479"/>
                </a:cubicBezTo>
                <a:cubicBezTo>
                  <a:pt x="3818933" y="1167459"/>
                  <a:pt x="3809115" y="1171300"/>
                  <a:pt x="3807195" y="1170019"/>
                </a:cubicBezTo>
                <a:cubicBezTo>
                  <a:pt x="3806555" y="1168170"/>
                  <a:pt x="3811250" y="1161910"/>
                  <a:pt x="3814665" y="1161056"/>
                </a:cubicBezTo>
                <a:close/>
                <a:moveTo>
                  <a:pt x="1512601" y="1160970"/>
                </a:moveTo>
                <a:cubicBezTo>
                  <a:pt x="1516214" y="1163294"/>
                  <a:pt x="1516008" y="1165153"/>
                  <a:pt x="1514666" y="1168250"/>
                </a:cubicBezTo>
                <a:cubicBezTo>
                  <a:pt x="1513427" y="1167321"/>
                  <a:pt x="1512807" y="1166392"/>
                  <a:pt x="1512601" y="1165153"/>
                </a:cubicBezTo>
                <a:cubicBezTo>
                  <a:pt x="1512394" y="1164068"/>
                  <a:pt x="1512497" y="1162674"/>
                  <a:pt x="1512601" y="1160970"/>
                </a:cubicBezTo>
                <a:close/>
                <a:moveTo>
                  <a:pt x="4697796" y="1160914"/>
                </a:moveTo>
                <a:cubicBezTo>
                  <a:pt x="4699076" y="1161056"/>
                  <a:pt x="4700570" y="1161626"/>
                  <a:pt x="4702064" y="1162621"/>
                </a:cubicBezTo>
                <a:cubicBezTo>
                  <a:pt x="4699289" y="1166605"/>
                  <a:pt x="4697796" y="1170446"/>
                  <a:pt x="4696515" y="1174287"/>
                </a:cubicBezTo>
                <a:lnTo>
                  <a:pt x="4695448" y="1177417"/>
                </a:lnTo>
                <a:lnTo>
                  <a:pt x="4699076" y="1176421"/>
                </a:lnTo>
                <a:cubicBezTo>
                  <a:pt x="4701210" y="1176421"/>
                  <a:pt x="4703771" y="1177133"/>
                  <a:pt x="4706759" y="1178982"/>
                </a:cubicBezTo>
                <a:cubicBezTo>
                  <a:pt x="4713162" y="1183535"/>
                  <a:pt x="4718710" y="1190364"/>
                  <a:pt x="4712095" y="1200323"/>
                </a:cubicBezTo>
                <a:cubicBezTo>
                  <a:pt x="4711241" y="1202883"/>
                  <a:pt x="4711027" y="1201603"/>
                  <a:pt x="4710174" y="1202883"/>
                </a:cubicBezTo>
                <a:cubicBezTo>
                  <a:pt x="4709107" y="1204164"/>
                  <a:pt x="4708253" y="1206583"/>
                  <a:pt x="4708467" y="1207720"/>
                </a:cubicBezTo>
                <a:cubicBezTo>
                  <a:pt x="4703344" y="1204448"/>
                  <a:pt x="4701637" y="1208147"/>
                  <a:pt x="4693741" y="1202599"/>
                </a:cubicBezTo>
                <a:cubicBezTo>
                  <a:pt x="4686057" y="1197619"/>
                  <a:pt x="4684777" y="1191644"/>
                  <a:pt x="4685844" y="1186807"/>
                </a:cubicBezTo>
                <a:lnTo>
                  <a:pt x="4687125" y="1183250"/>
                </a:lnTo>
                <a:lnTo>
                  <a:pt x="4684563" y="1180832"/>
                </a:lnTo>
                <a:cubicBezTo>
                  <a:pt x="4693313" y="1174145"/>
                  <a:pt x="4680509" y="1168739"/>
                  <a:pt x="4687125" y="1163190"/>
                </a:cubicBezTo>
                <a:cubicBezTo>
                  <a:pt x="4690539" y="1162337"/>
                  <a:pt x="4693954" y="1160345"/>
                  <a:pt x="4697796" y="1160914"/>
                </a:cubicBezTo>
                <a:close/>
                <a:moveTo>
                  <a:pt x="3911344" y="1159491"/>
                </a:moveTo>
                <a:cubicBezTo>
                  <a:pt x="3912837" y="1164471"/>
                  <a:pt x="3914118" y="1169450"/>
                  <a:pt x="3909423" y="1170446"/>
                </a:cubicBezTo>
                <a:cubicBezTo>
                  <a:pt x="3904301" y="1167174"/>
                  <a:pt x="3904087" y="1160203"/>
                  <a:pt x="3911344" y="1159491"/>
                </a:cubicBezTo>
                <a:close/>
                <a:moveTo>
                  <a:pt x="3491120" y="1159491"/>
                </a:moveTo>
                <a:cubicBezTo>
                  <a:pt x="3496882" y="1160203"/>
                  <a:pt x="3502645" y="1162764"/>
                  <a:pt x="3506700" y="1165609"/>
                </a:cubicBezTo>
                <a:cubicBezTo>
                  <a:pt x="3496242" y="1174572"/>
                  <a:pt x="3486638" y="1170019"/>
                  <a:pt x="3477034" y="1165467"/>
                </a:cubicBezTo>
                <a:cubicBezTo>
                  <a:pt x="3480236" y="1160203"/>
                  <a:pt x="3485571" y="1158780"/>
                  <a:pt x="3491120" y="1159491"/>
                </a:cubicBezTo>
                <a:close/>
                <a:moveTo>
                  <a:pt x="4087628" y="1159065"/>
                </a:moveTo>
                <a:cubicBezTo>
                  <a:pt x="4094244" y="1158069"/>
                  <a:pt x="4100860" y="1164471"/>
                  <a:pt x="4099793" y="1170589"/>
                </a:cubicBezTo>
                <a:cubicBezTo>
                  <a:pt x="4099580" y="1173291"/>
                  <a:pt x="4097659" y="1175852"/>
                  <a:pt x="4093604" y="1177702"/>
                </a:cubicBezTo>
                <a:cubicBezTo>
                  <a:pt x="4088695" y="1170446"/>
                  <a:pt x="4082933" y="1170304"/>
                  <a:pt x="4081653" y="1162764"/>
                </a:cubicBezTo>
                <a:cubicBezTo>
                  <a:pt x="4083360" y="1160488"/>
                  <a:pt x="4085494" y="1159349"/>
                  <a:pt x="4087628" y="1159065"/>
                </a:cubicBezTo>
                <a:close/>
                <a:moveTo>
                  <a:pt x="4775693" y="1158211"/>
                </a:moveTo>
                <a:cubicBezTo>
                  <a:pt x="4787005" y="1161626"/>
                  <a:pt x="4796822" y="1190079"/>
                  <a:pt x="4785724" y="1195912"/>
                </a:cubicBezTo>
                <a:cubicBezTo>
                  <a:pt x="4783377" y="1182112"/>
                  <a:pt x="4775480" y="1174145"/>
                  <a:pt x="4775693" y="1158211"/>
                </a:cubicBezTo>
                <a:close/>
                <a:moveTo>
                  <a:pt x="1209234" y="1157098"/>
                </a:moveTo>
                <a:cubicBezTo>
                  <a:pt x="1210679" y="1156168"/>
                  <a:pt x="1213158" y="1156478"/>
                  <a:pt x="1213777" y="1158647"/>
                </a:cubicBezTo>
                <a:cubicBezTo>
                  <a:pt x="1212848" y="1159266"/>
                  <a:pt x="1211815" y="1160815"/>
                  <a:pt x="1210060" y="1161280"/>
                </a:cubicBezTo>
                <a:cubicBezTo>
                  <a:pt x="1208614" y="1160505"/>
                  <a:pt x="1207995" y="1159576"/>
                  <a:pt x="1207995" y="1158801"/>
                </a:cubicBezTo>
                <a:cubicBezTo>
                  <a:pt x="1207995" y="1158027"/>
                  <a:pt x="1208511" y="1157408"/>
                  <a:pt x="1209234" y="1157098"/>
                </a:cubicBezTo>
                <a:close/>
                <a:moveTo>
                  <a:pt x="1245916" y="1156865"/>
                </a:moveTo>
                <a:cubicBezTo>
                  <a:pt x="1248523" y="1156130"/>
                  <a:pt x="1251517" y="1156633"/>
                  <a:pt x="1254873" y="1159421"/>
                </a:cubicBezTo>
                <a:cubicBezTo>
                  <a:pt x="1256525" y="1160196"/>
                  <a:pt x="1255699" y="1160196"/>
                  <a:pt x="1256525" y="1160970"/>
                </a:cubicBezTo>
                <a:cubicBezTo>
                  <a:pt x="1257351" y="1161899"/>
                  <a:pt x="1259003" y="1162674"/>
                  <a:pt x="1259933" y="1162519"/>
                </a:cubicBezTo>
                <a:cubicBezTo>
                  <a:pt x="1257145" y="1166082"/>
                  <a:pt x="1259623" y="1167631"/>
                  <a:pt x="1255080" y="1172897"/>
                </a:cubicBezTo>
                <a:cubicBezTo>
                  <a:pt x="1249607" y="1179867"/>
                  <a:pt x="1243618" y="1178473"/>
                  <a:pt x="1240314" y="1175995"/>
                </a:cubicBezTo>
                <a:cubicBezTo>
                  <a:pt x="1240934" y="1175376"/>
                  <a:pt x="1236390" y="1172123"/>
                  <a:pt x="1236803" y="1167166"/>
                </a:cubicBezTo>
                <a:cubicBezTo>
                  <a:pt x="1236906" y="1165617"/>
                  <a:pt x="1237629" y="1163758"/>
                  <a:pt x="1239281" y="1161745"/>
                </a:cubicBezTo>
                <a:cubicBezTo>
                  <a:pt x="1241088" y="1159576"/>
                  <a:pt x="1243308" y="1157601"/>
                  <a:pt x="1245916" y="1156865"/>
                </a:cubicBezTo>
                <a:close/>
                <a:moveTo>
                  <a:pt x="4107903" y="1156504"/>
                </a:moveTo>
                <a:cubicBezTo>
                  <a:pt x="4110251" y="1155935"/>
                  <a:pt x="4113025" y="1157500"/>
                  <a:pt x="4114946" y="1159918"/>
                </a:cubicBezTo>
                <a:lnTo>
                  <a:pt x="4116440" y="1163760"/>
                </a:lnTo>
                <a:lnTo>
                  <a:pt x="4118147" y="1163902"/>
                </a:lnTo>
                <a:cubicBezTo>
                  <a:pt x="4123483" y="1169024"/>
                  <a:pt x="4122629" y="1174145"/>
                  <a:pt x="4119214" y="1176706"/>
                </a:cubicBezTo>
                <a:cubicBezTo>
                  <a:pt x="4116013" y="1179125"/>
                  <a:pt x="4110037" y="1179125"/>
                  <a:pt x="4105982" y="1173861"/>
                </a:cubicBezTo>
                <a:cubicBezTo>
                  <a:pt x="4106196" y="1168739"/>
                  <a:pt x="4108117" y="1165609"/>
                  <a:pt x="4108970" y="1163190"/>
                </a:cubicBezTo>
                <a:lnTo>
                  <a:pt x="4113025" y="1163475"/>
                </a:lnTo>
                <a:lnTo>
                  <a:pt x="4110677" y="1162053"/>
                </a:lnTo>
                <a:cubicBezTo>
                  <a:pt x="4108757" y="1160772"/>
                  <a:pt x="4107476" y="1159491"/>
                  <a:pt x="4107903" y="1156504"/>
                </a:cubicBezTo>
                <a:close/>
                <a:moveTo>
                  <a:pt x="1180425" y="1156478"/>
                </a:moveTo>
                <a:cubicBezTo>
                  <a:pt x="1187447" y="1162209"/>
                  <a:pt x="1184452" y="1167011"/>
                  <a:pt x="1180116" y="1167476"/>
                </a:cubicBezTo>
                <a:cubicBezTo>
                  <a:pt x="1178670" y="1167786"/>
                  <a:pt x="1177121" y="1167476"/>
                  <a:pt x="1175779" y="1166701"/>
                </a:cubicBezTo>
                <a:cubicBezTo>
                  <a:pt x="1173920" y="1165462"/>
                  <a:pt x="1172474" y="1163449"/>
                  <a:pt x="1172062" y="1160041"/>
                </a:cubicBezTo>
                <a:cubicBezTo>
                  <a:pt x="1173507" y="1158647"/>
                  <a:pt x="1174953" y="1158027"/>
                  <a:pt x="1176295" y="1157717"/>
                </a:cubicBezTo>
                <a:cubicBezTo>
                  <a:pt x="1177740" y="1157253"/>
                  <a:pt x="1179083" y="1157098"/>
                  <a:pt x="1180425" y="1156478"/>
                </a:cubicBezTo>
                <a:close/>
                <a:moveTo>
                  <a:pt x="1707755" y="1156013"/>
                </a:moveTo>
                <a:lnTo>
                  <a:pt x="1708065" y="1158182"/>
                </a:lnTo>
                <a:lnTo>
                  <a:pt x="1710130" y="1158956"/>
                </a:lnTo>
                <a:cubicBezTo>
                  <a:pt x="1710130" y="1158956"/>
                  <a:pt x="1710027" y="1159731"/>
                  <a:pt x="1710027" y="1159731"/>
                </a:cubicBezTo>
                <a:lnTo>
                  <a:pt x="1708478" y="1160660"/>
                </a:lnTo>
                <a:lnTo>
                  <a:pt x="1708581" y="1160970"/>
                </a:lnTo>
                <a:cubicBezTo>
                  <a:pt x="1708168" y="1162364"/>
                  <a:pt x="1707135" y="1163294"/>
                  <a:pt x="1705793" y="1164068"/>
                </a:cubicBezTo>
                <a:cubicBezTo>
                  <a:pt x="1703934" y="1162984"/>
                  <a:pt x="1703005" y="1161745"/>
                  <a:pt x="1702902" y="1160505"/>
                </a:cubicBezTo>
                <a:cubicBezTo>
                  <a:pt x="1702695" y="1159266"/>
                  <a:pt x="1703315" y="1158027"/>
                  <a:pt x="1704451" y="1157253"/>
                </a:cubicBezTo>
                <a:cubicBezTo>
                  <a:pt x="1705276" y="1156633"/>
                  <a:pt x="1706309" y="1156168"/>
                  <a:pt x="1707755" y="1156013"/>
                </a:cubicBezTo>
                <a:close/>
                <a:moveTo>
                  <a:pt x="1510123" y="1154310"/>
                </a:moveTo>
                <a:cubicBezTo>
                  <a:pt x="1511258" y="1154929"/>
                  <a:pt x="1512601" y="1153690"/>
                  <a:pt x="1513736" y="1154310"/>
                </a:cubicBezTo>
                <a:cubicBezTo>
                  <a:pt x="1513736" y="1154310"/>
                  <a:pt x="1515492" y="1156478"/>
                  <a:pt x="1515492" y="1156478"/>
                </a:cubicBezTo>
                <a:cubicBezTo>
                  <a:pt x="1514975" y="1157563"/>
                  <a:pt x="1514975" y="1157563"/>
                  <a:pt x="1514666" y="1156633"/>
                </a:cubicBezTo>
                <a:cubicBezTo>
                  <a:pt x="1513324" y="1158027"/>
                  <a:pt x="1512497" y="1158182"/>
                  <a:pt x="1511671" y="1158337"/>
                </a:cubicBezTo>
                <a:cubicBezTo>
                  <a:pt x="1510536" y="1157717"/>
                  <a:pt x="1509813" y="1156168"/>
                  <a:pt x="1510123" y="1154310"/>
                </a:cubicBezTo>
                <a:close/>
                <a:moveTo>
                  <a:pt x="4661087" y="1154227"/>
                </a:moveTo>
                <a:cubicBezTo>
                  <a:pt x="4662795" y="1155793"/>
                  <a:pt x="4663648" y="1157642"/>
                  <a:pt x="4663862" y="1159634"/>
                </a:cubicBezTo>
                <a:cubicBezTo>
                  <a:pt x="4664715" y="1165751"/>
                  <a:pt x="4661087" y="1173719"/>
                  <a:pt x="4661300" y="1181401"/>
                </a:cubicBezTo>
                <a:cubicBezTo>
                  <a:pt x="4663221" y="1185669"/>
                  <a:pt x="4668984" y="1185100"/>
                  <a:pt x="4667276" y="1194347"/>
                </a:cubicBezTo>
                <a:cubicBezTo>
                  <a:pt x="4653404" y="1193209"/>
                  <a:pt x="4643160" y="1188799"/>
                  <a:pt x="4636117" y="1181685"/>
                </a:cubicBezTo>
                <a:cubicBezTo>
                  <a:pt x="4633556" y="1179267"/>
                  <a:pt x="4631635" y="1176421"/>
                  <a:pt x="4629928" y="1173434"/>
                </a:cubicBezTo>
                <a:cubicBezTo>
                  <a:pt x="4637184" y="1166890"/>
                  <a:pt x="4645294" y="1173149"/>
                  <a:pt x="4652337" y="1175995"/>
                </a:cubicBezTo>
                <a:cubicBezTo>
                  <a:pt x="4653191" y="1167459"/>
                  <a:pt x="4652337" y="1154797"/>
                  <a:pt x="4661087" y="1154227"/>
                </a:cubicBezTo>
                <a:close/>
                <a:moveTo>
                  <a:pt x="1107113" y="1154000"/>
                </a:moveTo>
                <a:cubicBezTo>
                  <a:pt x="1112070" y="1152916"/>
                  <a:pt x="1118885" y="1155084"/>
                  <a:pt x="1121569" y="1157872"/>
                </a:cubicBezTo>
                <a:cubicBezTo>
                  <a:pt x="1121982" y="1161745"/>
                  <a:pt x="1121053" y="1164223"/>
                  <a:pt x="1119401" y="1165772"/>
                </a:cubicBezTo>
                <a:cubicBezTo>
                  <a:pt x="1114341" y="1170109"/>
                  <a:pt x="1102777" y="1164688"/>
                  <a:pt x="1103190" y="1155859"/>
                </a:cubicBezTo>
                <a:cubicBezTo>
                  <a:pt x="1104119" y="1154929"/>
                  <a:pt x="1105565" y="1154310"/>
                  <a:pt x="1107113" y="1154000"/>
                </a:cubicBezTo>
                <a:close/>
                <a:moveTo>
                  <a:pt x="1273253" y="1153806"/>
                </a:moveTo>
                <a:cubicBezTo>
                  <a:pt x="1276144" y="1154929"/>
                  <a:pt x="1279397" y="1157795"/>
                  <a:pt x="1282030" y="1159111"/>
                </a:cubicBezTo>
                <a:lnTo>
                  <a:pt x="1281203" y="1161745"/>
                </a:lnTo>
                <a:lnTo>
                  <a:pt x="1281410" y="1162209"/>
                </a:lnTo>
                <a:cubicBezTo>
                  <a:pt x="1282752" y="1165927"/>
                  <a:pt x="1279758" y="1169334"/>
                  <a:pt x="1276247" y="1168560"/>
                </a:cubicBezTo>
                <a:cubicBezTo>
                  <a:pt x="1274698" y="1168250"/>
                  <a:pt x="1273149" y="1167011"/>
                  <a:pt x="1271704" y="1164843"/>
                </a:cubicBezTo>
                <a:lnTo>
                  <a:pt x="1272117" y="1164223"/>
                </a:lnTo>
                <a:lnTo>
                  <a:pt x="1271084" y="1163758"/>
                </a:lnTo>
                <a:cubicBezTo>
                  <a:pt x="1269329" y="1162364"/>
                  <a:pt x="1267987" y="1160660"/>
                  <a:pt x="1266644" y="1158956"/>
                </a:cubicBezTo>
                <a:cubicBezTo>
                  <a:pt x="1267832" y="1153303"/>
                  <a:pt x="1270362" y="1152683"/>
                  <a:pt x="1273253" y="1153806"/>
                </a:cubicBezTo>
                <a:close/>
                <a:moveTo>
                  <a:pt x="4890086" y="1153801"/>
                </a:moveTo>
                <a:cubicBezTo>
                  <a:pt x="4890727" y="1154227"/>
                  <a:pt x="4890941" y="1155081"/>
                  <a:pt x="4891794" y="1156931"/>
                </a:cubicBezTo>
                <a:lnTo>
                  <a:pt x="4890727" y="1161483"/>
                </a:lnTo>
                <a:lnTo>
                  <a:pt x="4891154" y="1162621"/>
                </a:lnTo>
                <a:cubicBezTo>
                  <a:pt x="4891367" y="1163760"/>
                  <a:pt x="4890941" y="1164898"/>
                  <a:pt x="4889660" y="1166036"/>
                </a:cubicBezTo>
                <a:lnTo>
                  <a:pt x="4888379" y="1166890"/>
                </a:lnTo>
                <a:lnTo>
                  <a:pt x="4885391" y="1170731"/>
                </a:lnTo>
                <a:lnTo>
                  <a:pt x="4884324" y="1168881"/>
                </a:lnTo>
                <a:lnTo>
                  <a:pt x="4880056" y="1168312"/>
                </a:lnTo>
                <a:cubicBezTo>
                  <a:pt x="4877495" y="1169450"/>
                  <a:pt x="4876215" y="1171727"/>
                  <a:pt x="4874080" y="1170446"/>
                </a:cubicBezTo>
                <a:cubicBezTo>
                  <a:pt x="4877708" y="1168170"/>
                  <a:pt x="4878989" y="1167174"/>
                  <a:pt x="4881550" y="1166036"/>
                </a:cubicBezTo>
                <a:lnTo>
                  <a:pt x="4882190" y="1164329"/>
                </a:lnTo>
                <a:lnTo>
                  <a:pt x="4881977" y="1164044"/>
                </a:lnTo>
                <a:lnTo>
                  <a:pt x="4882403" y="1163617"/>
                </a:lnTo>
                <a:lnTo>
                  <a:pt x="4883044" y="1162479"/>
                </a:lnTo>
                <a:lnTo>
                  <a:pt x="4883471" y="1162195"/>
                </a:lnTo>
                <a:lnTo>
                  <a:pt x="4884965" y="1159349"/>
                </a:lnTo>
                <a:cubicBezTo>
                  <a:pt x="4886032" y="1156789"/>
                  <a:pt x="4887099" y="1154085"/>
                  <a:pt x="4887099" y="1154085"/>
                </a:cubicBezTo>
                <a:cubicBezTo>
                  <a:pt x="4888806" y="1153659"/>
                  <a:pt x="4889446" y="1153374"/>
                  <a:pt x="4890086" y="1153801"/>
                </a:cubicBezTo>
                <a:close/>
                <a:moveTo>
                  <a:pt x="4172356" y="1153801"/>
                </a:moveTo>
                <a:cubicBezTo>
                  <a:pt x="4176198" y="1154512"/>
                  <a:pt x="4178118" y="1155650"/>
                  <a:pt x="4178759" y="1157215"/>
                </a:cubicBezTo>
                <a:cubicBezTo>
                  <a:pt x="4181106" y="1161910"/>
                  <a:pt x="4172569" y="1169592"/>
                  <a:pt x="4169155" y="1175141"/>
                </a:cubicBezTo>
                <a:cubicBezTo>
                  <a:pt x="4164033" y="1174287"/>
                  <a:pt x="4162752" y="1173434"/>
                  <a:pt x="4159551" y="1169592"/>
                </a:cubicBezTo>
                <a:cubicBezTo>
                  <a:pt x="4161685" y="1161768"/>
                  <a:pt x="4167020" y="1157784"/>
                  <a:pt x="4172356" y="1153801"/>
                </a:cubicBezTo>
                <a:close/>
                <a:moveTo>
                  <a:pt x="3994150" y="1153374"/>
                </a:moveTo>
                <a:cubicBezTo>
                  <a:pt x="3995217" y="1153943"/>
                  <a:pt x="3996285" y="1154512"/>
                  <a:pt x="3996712" y="1153516"/>
                </a:cubicBezTo>
                <a:cubicBezTo>
                  <a:pt x="3997779" y="1156789"/>
                  <a:pt x="3997352" y="1157784"/>
                  <a:pt x="3997992" y="1159491"/>
                </a:cubicBezTo>
                <a:cubicBezTo>
                  <a:pt x="3998419" y="1158496"/>
                  <a:pt x="3999059" y="1160061"/>
                  <a:pt x="3999059" y="1160061"/>
                </a:cubicBezTo>
                <a:cubicBezTo>
                  <a:pt x="3999059" y="1160061"/>
                  <a:pt x="3999059" y="1160203"/>
                  <a:pt x="4002047" y="1159207"/>
                </a:cubicBezTo>
                <a:cubicBezTo>
                  <a:pt x="4002047" y="1159207"/>
                  <a:pt x="4009303" y="1157926"/>
                  <a:pt x="4012504" y="1165040"/>
                </a:cubicBezTo>
                <a:cubicBezTo>
                  <a:pt x="4011011" y="1165609"/>
                  <a:pt x="4014212" y="1175426"/>
                  <a:pt x="4010371" y="1178413"/>
                </a:cubicBezTo>
                <a:cubicBezTo>
                  <a:pt x="4008236" y="1179978"/>
                  <a:pt x="4006743" y="1180405"/>
                  <a:pt x="4004608" y="1181970"/>
                </a:cubicBezTo>
                <a:cubicBezTo>
                  <a:pt x="4001620" y="1180263"/>
                  <a:pt x="3996925" y="1181543"/>
                  <a:pt x="3992657" y="1173861"/>
                </a:cubicBezTo>
                <a:cubicBezTo>
                  <a:pt x="3988815" y="1165040"/>
                  <a:pt x="3996925" y="1161626"/>
                  <a:pt x="3995858" y="1161056"/>
                </a:cubicBezTo>
                <a:cubicBezTo>
                  <a:pt x="3995431" y="1159349"/>
                  <a:pt x="3995431" y="1159349"/>
                  <a:pt x="3994364" y="1158780"/>
                </a:cubicBezTo>
                <a:cubicBezTo>
                  <a:pt x="3994791" y="1157784"/>
                  <a:pt x="3994791" y="1154939"/>
                  <a:pt x="3994150" y="1153374"/>
                </a:cubicBezTo>
                <a:close/>
                <a:moveTo>
                  <a:pt x="1591282" y="1153225"/>
                </a:moveTo>
                <a:cubicBezTo>
                  <a:pt x="1591282" y="1154465"/>
                  <a:pt x="1591385" y="1156633"/>
                  <a:pt x="1591488" y="1158956"/>
                </a:cubicBezTo>
                <a:lnTo>
                  <a:pt x="1591488" y="1161590"/>
                </a:lnTo>
                <a:lnTo>
                  <a:pt x="1592004" y="1159111"/>
                </a:lnTo>
                <a:cubicBezTo>
                  <a:pt x="1592314" y="1158337"/>
                  <a:pt x="1592934" y="1158182"/>
                  <a:pt x="1594070" y="1158647"/>
                </a:cubicBezTo>
                <a:cubicBezTo>
                  <a:pt x="1596032" y="1158801"/>
                  <a:pt x="1596032" y="1160660"/>
                  <a:pt x="1598303" y="1161590"/>
                </a:cubicBezTo>
                <a:cubicBezTo>
                  <a:pt x="1600472" y="1162054"/>
                  <a:pt x="1602021" y="1160351"/>
                  <a:pt x="1603982" y="1158801"/>
                </a:cubicBezTo>
                <a:lnTo>
                  <a:pt x="1604499" y="1158492"/>
                </a:lnTo>
                <a:cubicBezTo>
                  <a:pt x="1605015" y="1157872"/>
                  <a:pt x="1605944" y="1157408"/>
                  <a:pt x="1606770" y="1157253"/>
                </a:cubicBezTo>
                <a:lnTo>
                  <a:pt x="1606977" y="1157253"/>
                </a:lnTo>
                <a:lnTo>
                  <a:pt x="1607596" y="1156788"/>
                </a:lnTo>
                <a:cubicBezTo>
                  <a:pt x="1609042" y="1156323"/>
                  <a:pt x="1610798" y="1156323"/>
                  <a:pt x="1612966" y="1156788"/>
                </a:cubicBezTo>
                <a:cubicBezTo>
                  <a:pt x="1612243" y="1158956"/>
                  <a:pt x="1617303" y="1161590"/>
                  <a:pt x="1616064" y="1164843"/>
                </a:cubicBezTo>
                <a:lnTo>
                  <a:pt x="1615237" y="1167166"/>
                </a:lnTo>
                <a:lnTo>
                  <a:pt x="1617096" y="1166701"/>
                </a:lnTo>
                <a:cubicBezTo>
                  <a:pt x="1618955" y="1173362"/>
                  <a:pt x="1618748" y="1181571"/>
                  <a:pt x="1618541" y="1183430"/>
                </a:cubicBezTo>
                <a:cubicBezTo>
                  <a:pt x="1618438" y="1184360"/>
                  <a:pt x="1618232" y="1184979"/>
                  <a:pt x="1617819" y="1185134"/>
                </a:cubicBezTo>
                <a:cubicBezTo>
                  <a:pt x="1617303" y="1185444"/>
                  <a:pt x="1616579" y="1185444"/>
                  <a:pt x="1615650" y="1185289"/>
                </a:cubicBezTo>
                <a:cubicBezTo>
                  <a:pt x="1611933" y="1182810"/>
                  <a:pt x="1612966" y="1178783"/>
                  <a:pt x="1612140" y="1174446"/>
                </a:cubicBezTo>
                <a:cubicBezTo>
                  <a:pt x="1612966" y="1174291"/>
                  <a:pt x="1613482" y="1173207"/>
                  <a:pt x="1613172" y="1172432"/>
                </a:cubicBezTo>
                <a:lnTo>
                  <a:pt x="1613585" y="1171348"/>
                </a:lnTo>
                <a:lnTo>
                  <a:pt x="1611520" y="1173517"/>
                </a:lnTo>
                <a:cubicBezTo>
                  <a:pt x="1609558" y="1174601"/>
                  <a:pt x="1607080" y="1174446"/>
                  <a:pt x="1603776" y="1174291"/>
                </a:cubicBezTo>
                <a:cubicBezTo>
                  <a:pt x="1604602" y="1173981"/>
                  <a:pt x="1603363" y="1173517"/>
                  <a:pt x="1603363" y="1173517"/>
                </a:cubicBezTo>
                <a:cubicBezTo>
                  <a:pt x="1600988" y="1172588"/>
                  <a:pt x="1602640" y="1177544"/>
                  <a:pt x="1599439" y="1176924"/>
                </a:cubicBezTo>
                <a:cubicBezTo>
                  <a:pt x="1594483" y="1175376"/>
                  <a:pt x="1592934" y="1169334"/>
                  <a:pt x="1592418" y="1166082"/>
                </a:cubicBezTo>
                <a:lnTo>
                  <a:pt x="1592108" y="1164223"/>
                </a:lnTo>
                <a:lnTo>
                  <a:pt x="1591488" y="1164533"/>
                </a:lnTo>
                <a:lnTo>
                  <a:pt x="1591488" y="1166392"/>
                </a:lnTo>
                <a:cubicBezTo>
                  <a:pt x="1591075" y="1171193"/>
                  <a:pt x="1589836" y="1175531"/>
                  <a:pt x="1586119" y="1175995"/>
                </a:cubicBezTo>
                <a:cubicBezTo>
                  <a:pt x="1585912" y="1172897"/>
                  <a:pt x="1584776" y="1167631"/>
                  <a:pt x="1584880" y="1162984"/>
                </a:cubicBezTo>
                <a:cubicBezTo>
                  <a:pt x="1584983" y="1158182"/>
                  <a:pt x="1586326" y="1154000"/>
                  <a:pt x="1591282" y="1153225"/>
                </a:cubicBezTo>
                <a:close/>
                <a:moveTo>
                  <a:pt x="1192403" y="1152761"/>
                </a:moveTo>
                <a:cubicBezTo>
                  <a:pt x="1194674" y="1155239"/>
                  <a:pt x="1199011" y="1155084"/>
                  <a:pt x="1198186" y="1160196"/>
                </a:cubicBezTo>
                <a:cubicBezTo>
                  <a:pt x="1194262" y="1163449"/>
                  <a:pt x="1187034" y="1160351"/>
                  <a:pt x="1187343" y="1154465"/>
                </a:cubicBezTo>
                <a:cubicBezTo>
                  <a:pt x="1189202" y="1154155"/>
                  <a:pt x="1190544" y="1153071"/>
                  <a:pt x="1192403" y="1152761"/>
                </a:cubicBezTo>
                <a:close/>
                <a:moveTo>
                  <a:pt x="1401600" y="1151986"/>
                </a:moveTo>
                <a:cubicBezTo>
                  <a:pt x="1405007" y="1154465"/>
                  <a:pt x="1404904" y="1156943"/>
                  <a:pt x="1406453" y="1159421"/>
                </a:cubicBezTo>
                <a:cubicBezTo>
                  <a:pt x="1401291" y="1166856"/>
                  <a:pt x="1396024" y="1164533"/>
                  <a:pt x="1394889" y="1160505"/>
                </a:cubicBezTo>
                <a:cubicBezTo>
                  <a:pt x="1394475" y="1159266"/>
                  <a:pt x="1394579" y="1157717"/>
                  <a:pt x="1395198" y="1156323"/>
                </a:cubicBezTo>
                <a:cubicBezTo>
                  <a:pt x="1396128" y="1154465"/>
                  <a:pt x="1398193" y="1152916"/>
                  <a:pt x="1401600" y="1151986"/>
                </a:cubicBezTo>
                <a:close/>
                <a:moveTo>
                  <a:pt x="4414801" y="1151667"/>
                </a:moveTo>
                <a:cubicBezTo>
                  <a:pt x="4415014" y="1163475"/>
                  <a:pt x="4407545" y="1165609"/>
                  <a:pt x="4400715" y="1168881"/>
                </a:cubicBezTo>
                <a:cubicBezTo>
                  <a:pt x="4399648" y="1163760"/>
                  <a:pt x="4405197" y="1151382"/>
                  <a:pt x="4414801" y="1151667"/>
                </a:cubicBezTo>
                <a:close/>
                <a:moveTo>
                  <a:pt x="4525139" y="1151524"/>
                </a:moveTo>
                <a:cubicBezTo>
                  <a:pt x="4526419" y="1151667"/>
                  <a:pt x="4527700" y="1152663"/>
                  <a:pt x="4529407" y="1153943"/>
                </a:cubicBezTo>
                <a:cubicBezTo>
                  <a:pt x="4531115" y="1155081"/>
                  <a:pt x="4531541" y="1156646"/>
                  <a:pt x="4531755" y="1158211"/>
                </a:cubicBezTo>
                <a:cubicBezTo>
                  <a:pt x="4532181" y="1159634"/>
                  <a:pt x="4532181" y="1161199"/>
                  <a:pt x="4533249" y="1162479"/>
                </a:cubicBezTo>
                <a:cubicBezTo>
                  <a:pt x="4530901" y="1163617"/>
                  <a:pt x="4527060" y="1165894"/>
                  <a:pt x="4522578" y="1162195"/>
                </a:cubicBezTo>
                <a:cubicBezTo>
                  <a:pt x="4521724" y="1161056"/>
                  <a:pt x="4521724" y="1160914"/>
                  <a:pt x="4521724" y="1159776"/>
                </a:cubicBezTo>
                <a:cubicBezTo>
                  <a:pt x="4520870" y="1157358"/>
                  <a:pt x="4519803" y="1156077"/>
                  <a:pt x="4521084" y="1153659"/>
                </a:cubicBezTo>
                <a:cubicBezTo>
                  <a:pt x="4522578" y="1151951"/>
                  <a:pt x="4523858" y="1151382"/>
                  <a:pt x="4525139" y="1151524"/>
                </a:cubicBezTo>
                <a:close/>
                <a:moveTo>
                  <a:pt x="3680637" y="1151382"/>
                </a:moveTo>
                <a:cubicBezTo>
                  <a:pt x="3688960" y="1151951"/>
                  <a:pt x="3697497" y="1157358"/>
                  <a:pt x="3701338" y="1170589"/>
                </a:cubicBezTo>
                <a:cubicBezTo>
                  <a:pt x="3691522" y="1183250"/>
                  <a:pt x="3674448" y="1187234"/>
                  <a:pt x="3664844" y="1177275"/>
                </a:cubicBezTo>
                <a:cubicBezTo>
                  <a:pt x="3662069" y="1173719"/>
                  <a:pt x="3661002" y="1170304"/>
                  <a:pt x="3660789" y="1167174"/>
                </a:cubicBezTo>
                <a:lnTo>
                  <a:pt x="3662923" y="1160630"/>
                </a:lnTo>
                <a:lnTo>
                  <a:pt x="3662497" y="1159776"/>
                </a:lnTo>
                <a:lnTo>
                  <a:pt x="3663350" y="1159491"/>
                </a:lnTo>
                <a:lnTo>
                  <a:pt x="3663563" y="1158780"/>
                </a:lnTo>
                <a:cubicBezTo>
                  <a:pt x="3667192" y="1153943"/>
                  <a:pt x="3673808" y="1150955"/>
                  <a:pt x="3680637" y="1151382"/>
                </a:cubicBezTo>
                <a:close/>
                <a:moveTo>
                  <a:pt x="4271596" y="1150955"/>
                </a:moveTo>
                <a:cubicBezTo>
                  <a:pt x="4280346" y="1151951"/>
                  <a:pt x="4275011" y="1164471"/>
                  <a:pt x="4274370" y="1171727"/>
                </a:cubicBezTo>
                <a:cubicBezTo>
                  <a:pt x="4269462" y="1172722"/>
                  <a:pt x="4267754" y="1172580"/>
                  <a:pt x="4263059" y="1170162"/>
                </a:cubicBezTo>
                <a:cubicBezTo>
                  <a:pt x="4261139" y="1162337"/>
                  <a:pt x="4263913" y="1156789"/>
                  <a:pt x="4266901" y="1151240"/>
                </a:cubicBezTo>
                <a:cubicBezTo>
                  <a:pt x="4268822" y="1150955"/>
                  <a:pt x="4270315" y="1150813"/>
                  <a:pt x="4271596" y="1150955"/>
                </a:cubicBezTo>
                <a:close/>
                <a:moveTo>
                  <a:pt x="3911770" y="1150813"/>
                </a:moveTo>
                <a:cubicBezTo>
                  <a:pt x="3912197" y="1150813"/>
                  <a:pt x="3912411" y="1151098"/>
                  <a:pt x="3912411" y="1151667"/>
                </a:cubicBezTo>
                <a:cubicBezTo>
                  <a:pt x="3914545" y="1152805"/>
                  <a:pt x="3911984" y="1155081"/>
                  <a:pt x="3910704" y="1156219"/>
                </a:cubicBezTo>
                <a:cubicBezTo>
                  <a:pt x="3911130" y="1152805"/>
                  <a:pt x="3910063" y="1151667"/>
                  <a:pt x="3911130" y="1151667"/>
                </a:cubicBezTo>
                <a:cubicBezTo>
                  <a:pt x="3911130" y="1151098"/>
                  <a:pt x="3911557" y="1150813"/>
                  <a:pt x="3911770" y="1150813"/>
                </a:cubicBezTo>
                <a:close/>
                <a:moveTo>
                  <a:pt x="911236" y="1150592"/>
                </a:moveTo>
                <a:cubicBezTo>
                  <a:pt x="920426" y="1150128"/>
                  <a:pt x="931475" y="1161899"/>
                  <a:pt x="924969" y="1167011"/>
                </a:cubicBezTo>
                <a:cubicBezTo>
                  <a:pt x="924040" y="1167631"/>
                  <a:pt x="922698" y="1168250"/>
                  <a:pt x="921046" y="1168715"/>
                </a:cubicBezTo>
                <a:cubicBezTo>
                  <a:pt x="917432" y="1165617"/>
                  <a:pt x="911133" y="1161590"/>
                  <a:pt x="910100" y="1156323"/>
                </a:cubicBezTo>
                <a:cubicBezTo>
                  <a:pt x="909791" y="1154620"/>
                  <a:pt x="910100" y="1152606"/>
                  <a:pt x="911236" y="1150592"/>
                </a:cubicBezTo>
                <a:close/>
                <a:moveTo>
                  <a:pt x="3738260" y="1150529"/>
                </a:moveTo>
                <a:cubicBezTo>
                  <a:pt x="3739754" y="1151809"/>
                  <a:pt x="3740608" y="1153232"/>
                  <a:pt x="3740821" y="1154370"/>
                </a:cubicBezTo>
                <a:cubicBezTo>
                  <a:pt x="3741248" y="1158211"/>
                  <a:pt x="3736980" y="1161768"/>
                  <a:pt x="3734632" y="1166036"/>
                </a:cubicBezTo>
                <a:cubicBezTo>
                  <a:pt x="3732071" y="1163475"/>
                  <a:pt x="3731431" y="1160914"/>
                  <a:pt x="3732071" y="1158353"/>
                </a:cubicBezTo>
                <a:cubicBezTo>
                  <a:pt x="3732711" y="1155935"/>
                  <a:pt x="3735059" y="1153232"/>
                  <a:pt x="3738260" y="1150529"/>
                </a:cubicBezTo>
                <a:close/>
                <a:moveTo>
                  <a:pt x="1555762" y="1149508"/>
                </a:moveTo>
                <a:cubicBezTo>
                  <a:pt x="1554936" y="1151676"/>
                  <a:pt x="1555039" y="1155394"/>
                  <a:pt x="1551528" y="1155859"/>
                </a:cubicBezTo>
                <a:cubicBezTo>
                  <a:pt x="1552148" y="1154155"/>
                  <a:pt x="1552871" y="1150902"/>
                  <a:pt x="1554213" y="1149818"/>
                </a:cubicBezTo>
                <a:cubicBezTo>
                  <a:pt x="1554626" y="1149353"/>
                  <a:pt x="1555142" y="1149353"/>
                  <a:pt x="1555762" y="1149508"/>
                </a:cubicBezTo>
                <a:close/>
                <a:moveTo>
                  <a:pt x="3767285" y="1149248"/>
                </a:moveTo>
                <a:cubicBezTo>
                  <a:pt x="3769633" y="1149390"/>
                  <a:pt x="3771981" y="1150386"/>
                  <a:pt x="3774755" y="1152663"/>
                </a:cubicBezTo>
                <a:cubicBezTo>
                  <a:pt x="3780730" y="1157642"/>
                  <a:pt x="3785853" y="1165040"/>
                  <a:pt x="3778170" y="1174145"/>
                </a:cubicBezTo>
                <a:cubicBezTo>
                  <a:pt x="3777103" y="1176421"/>
                  <a:pt x="3776889" y="1175283"/>
                  <a:pt x="3775822" y="1176421"/>
                </a:cubicBezTo>
                <a:cubicBezTo>
                  <a:pt x="3774755" y="1177560"/>
                  <a:pt x="3773688" y="1179836"/>
                  <a:pt x="3773688" y="1181116"/>
                </a:cubicBezTo>
                <a:cubicBezTo>
                  <a:pt x="3768993" y="1177275"/>
                  <a:pt x="3766645" y="1180832"/>
                  <a:pt x="3759388" y="1174572"/>
                </a:cubicBezTo>
                <a:cubicBezTo>
                  <a:pt x="3749785" y="1166890"/>
                  <a:pt x="3751919" y="1158638"/>
                  <a:pt x="3755120" y="1154085"/>
                </a:cubicBezTo>
                <a:cubicBezTo>
                  <a:pt x="3755974" y="1154939"/>
                  <a:pt x="3760456" y="1148679"/>
                  <a:pt x="3767285" y="1149248"/>
                </a:cubicBezTo>
                <a:close/>
                <a:moveTo>
                  <a:pt x="1703418" y="1148733"/>
                </a:moveTo>
                <a:cubicBezTo>
                  <a:pt x="1704141" y="1152141"/>
                  <a:pt x="1703212" y="1165462"/>
                  <a:pt x="1696190" y="1160815"/>
                </a:cubicBezTo>
                <a:lnTo>
                  <a:pt x="1693815" y="1161745"/>
                </a:lnTo>
                <a:cubicBezTo>
                  <a:pt x="1692679" y="1161590"/>
                  <a:pt x="1691647" y="1160815"/>
                  <a:pt x="1690511" y="1159576"/>
                </a:cubicBezTo>
                <a:cubicBezTo>
                  <a:pt x="1691750" y="1158801"/>
                  <a:pt x="1692783" y="1158492"/>
                  <a:pt x="1694022" y="1158647"/>
                </a:cubicBezTo>
                <a:lnTo>
                  <a:pt x="1696500" y="1159421"/>
                </a:lnTo>
                <a:lnTo>
                  <a:pt x="1697636" y="1153690"/>
                </a:lnTo>
                <a:cubicBezTo>
                  <a:pt x="1697842" y="1151521"/>
                  <a:pt x="1698255" y="1149818"/>
                  <a:pt x="1699495" y="1148888"/>
                </a:cubicBezTo>
                <a:cubicBezTo>
                  <a:pt x="1700320" y="1148424"/>
                  <a:pt x="1701560" y="1148268"/>
                  <a:pt x="1703418" y="1148733"/>
                </a:cubicBezTo>
                <a:close/>
                <a:moveTo>
                  <a:pt x="4046012" y="1148679"/>
                </a:moveTo>
                <a:cubicBezTo>
                  <a:pt x="4047932" y="1150244"/>
                  <a:pt x="4048786" y="1153089"/>
                  <a:pt x="4048999" y="1156504"/>
                </a:cubicBezTo>
                <a:lnTo>
                  <a:pt x="4049213" y="1165609"/>
                </a:lnTo>
                <a:lnTo>
                  <a:pt x="4052414" y="1167601"/>
                </a:lnTo>
                <a:cubicBezTo>
                  <a:pt x="4051134" y="1168739"/>
                  <a:pt x="4052201" y="1170019"/>
                  <a:pt x="4053054" y="1171300"/>
                </a:cubicBezTo>
                <a:cubicBezTo>
                  <a:pt x="4050280" y="1181685"/>
                  <a:pt x="4029792" y="1184104"/>
                  <a:pt x="4029365" y="1175141"/>
                </a:cubicBezTo>
                <a:cubicBezTo>
                  <a:pt x="4029365" y="1173861"/>
                  <a:pt x="4029578" y="1172296"/>
                  <a:pt x="4030432" y="1170446"/>
                </a:cubicBezTo>
                <a:cubicBezTo>
                  <a:pt x="4032353" y="1168881"/>
                  <a:pt x="4034487" y="1167459"/>
                  <a:pt x="4036408" y="1166320"/>
                </a:cubicBezTo>
                <a:lnTo>
                  <a:pt x="4041743" y="1164044"/>
                </a:lnTo>
                <a:lnTo>
                  <a:pt x="4041316" y="1155508"/>
                </a:lnTo>
                <a:cubicBezTo>
                  <a:pt x="4041316" y="1152378"/>
                  <a:pt x="4042170" y="1150244"/>
                  <a:pt x="4046012" y="1148679"/>
                </a:cubicBezTo>
                <a:close/>
                <a:moveTo>
                  <a:pt x="1117749" y="1148424"/>
                </a:moveTo>
                <a:cubicBezTo>
                  <a:pt x="1121569" y="1147030"/>
                  <a:pt x="1125080" y="1147649"/>
                  <a:pt x="1128694" y="1151986"/>
                </a:cubicBezTo>
                <a:cubicBezTo>
                  <a:pt x="1127971" y="1155084"/>
                  <a:pt x="1124770" y="1156013"/>
                  <a:pt x="1121466" y="1155549"/>
                </a:cubicBezTo>
                <a:cubicBezTo>
                  <a:pt x="1118265" y="1154929"/>
                  <a:pt x="1114858" y="1152916"/>
                  <a:pt x="1113722" y="1150282"/>
                </a:cubicBezTo>
                <a:cubicBezTo>
                  <a:pt x="1115168" y="1149508"/>
                  <a:pt x="1116510" y="1148888"/>
                  <a:pt x="1117749" y="1148424"/>
                </a:cubicBezTo>
                <a:close/>
                <a:moveTo>
                  <a:pt x="1264682" y="1148268"/>
                </a:moveTo>
                <a:cubicBezTo>
                  <a:pt x="1267161" y="1151366"/>
                  <a:pt x="1265199" y="1156168"/>
                  <a:pt x="1259829" y="1155239"/>
                </a:cubicBezTo>
                <a:cubicBezTo>
                  <a:pt x="1260449" y="1151676"/>
                  <a:pt x="1260965" y="1148114"/>
                  <a:pt x="1264682" y="1148268"/>
                </a:cubicBezTo>
                <a:close/>
                <a:moveTo>
                  <a:pt x="4831610" y="1147968"/>
                </a:moveTo>
                <a:cubicBezTo>
                  <a:pt x="4832036" y="1148252"/>
                  <a:pt x="4832463" y="1149248"/>
                  <a:pt x="4832677" y="1150386"/>
                </a:cubicBezTo>
                <a:cubicBezTo>
                  <a:pt x="4833103" y="1151382"/>
                  <a:pt x="4833317" y="1152663"/>
                  <a:pt x="4833317" y="1153374"/>
                </a:cubicBezTo>
                <a:cubicBezTo>
                  <a:pt x="4834384" y="1154085"/>
                  <a:pt x="4834598" y="1155650"/>
                  <a:pt x="4833957" y="1156646"/>
                </a:cubicBezTo>
                <a:cubicBezTo>
                  <a:pt x="4833957" y="1156646"/>
                  <a:pt x="4834171" y="1158211"/>
                  <a:pt x="4835238" y="1158922"/>
                </a:cubicBezTo>
                <a:cubicBezTo>
                  <a:pt x="4835664" y="1162053"/>
                  <a:pt x="4835024" y="1163048"/>
                  <a:pt x="4834384" y="1164044"/>
                </a:cubicBezTo>
                <a:cubicBezTo>
                  <a:pt x="4834384" y="1164044"/>
                  <a:pt x="4834171" y="1162479"/>
                  <a:pt x="4833103" y="1161910"/>
                </a:cubicBezTo>
                <a:cubicBezTo>
                  <a:pt x="4833103" y="1161910"/>
                  <a:pt x="4832890" y="1160345"/>
                  <a:pt x="4832677" y="1158638"/>
                </a:cubicBezTo>
                <a:cubicBezTo>
                  <a:pt x="4832677" y="1158638"/>
                  <a:pt x="4831823" y="1158069"/>
                  <a:pt x="4830756" y="1157500"/>
                </a:cubicBezTo>
                <a:cubicBezTo>
                  <a:pt x="4829262" y="1153659"/>
                  <a:pt x="4827981" y="1151524"/>
                  <a:pt x="4831610" y="1147968"/>
                </a:cubicBezTo>
                <a:close/>
                <a:moveTo>
                  <a:pt x="3893630" y="1147257"/>
                </a:moveTo>
                <a:cubicBezTo>
                  <a:pt x="3896831" y="1146403"/>
                  <a:pt x="3898966" y="1149105"/>
                  <a:pt x="3899606" y="1152378"/>
                </a:cubicBezTo>
                <a:cubicBezTo>
                  <a:pt x="3900033" y="1153516"/>
                  <a:pt x="3900033" y="1154797"/>
                  <a:pt x="3899392" y="1156077"/>
                </a:cubicBezTo>
                <a:cubicBezTo>
                  <a:pt x="3898752" y="1157358"/>
                  <a:pt x="3897685" y="1158496"/>
                  <a:pt x="3896404" y="1159207"/>
                </a:cubicBezTo>
                <a:cubicBezTo>
                  <a:pt x="3894910" y="1159634"/>
                  <a:pt x="3894910" y="1159634"/>
                  <a:pt x="3893203" y="1160061"/>
                </a:cubicBezTo>
                <a:cubicBezTo>
                  <a:pt x="3891496" y="1158922"/>
                  <a:pt x="3888935" y="1158638"/>
                  <a:pt x="3887654" y="1156504"/>
                </a:cubicBezTo>
                <a:cubicBezTo>
                  <a:pt x="3887227" y="1153232"/>
                  <a:pt x="3891282" y="1148679"/>
                  <a:pt x="3893630" y="1147257"/>
                </a:cubicBezTo>
                <a:close/>
                <a:moveTo>
                  <a:pt x="3441820" y="1147114"/>
                </a:moveTo>
                <a:cubicBezTo>
                  <a:pt x="3442887" y="1147114"/>
                  <a:pt x="3444168" y="1147114"/>
                  <a:pt x="3445662" y="1147257"/>
                </a:cubicBezTo>
                <a:cubicBezTo>
                  <a:pt x="3446302" y="1152378"/>
                  <a:pt x="3440540" y="1153801"/>
                  <a:pt x="3438619" y="1151382"/>
                </a:cubicBezTo>
                <a:cubicBezTo>
                  <a:pt x="3437979" y="1150529"/>
                  <a:pt x="3437765" y="1149390"/>
                  <a:pt x="3438406" y="1147683"/>
                </a:cubicBezTo>
                <a:cubicBezTo>
                  <a:pt x="3439686" y="1147257"/>
                  <a:pt x="3440753" y="1147114"/>
                  <a:pt x="3441820" y="1147114"/>
                </a:cubicBezTo>
                <a:close/>
                <a:moveTo>
                  <a:pt x="4438064" y="1146545"/>
                </a:moveTo>
                <a:cubicBezTo>
                  <a:pt x="4443186" y="1146260"/>
                  <a:pt x="4446814" y="1157215"/>
                  <a:pt x="4450442" y="1162621"/>
                </a:cubicBezTo>
                <a:cubicBezTo>
                  <a:pt x="4447668" y="1166890"/>
                  <a:pt x="4446387" y="1167885"/>
                  <a:pt x="4441478" y="1169166"/>
                </a:cubicBezTo>
                <a:cubicBezTo>
                  <a:pt x="4435289" y="1164044"/>
                  <a:pt x="4433795" y="1157642"/>
                  <a:pt x="4432301" y="1151098"/>
                </a:cubicBezTo>
                <a:cubicBezTo>
                  <a:pt x="4434435" y="1147968"/>
                  <a:pt x="4436356" y="1146545"/>
                  <a:pt x="4438064" y="1146545"/>
                </a:cubicBezTo>
                <a:close/>
                <a:moveTo>
                  <a:pt x="1446517" y="1145326"/>
                </a:moveTo>
                <a:cubicBezTo>
                  <a:pt x="1449511" y="1145481"/>
                  <a:pt x="1451576" y="1145790"/>
                  <a:pt x="1452919" y="1146410"/>
                </a:cubicBezTo>
                <a:lnTo>
                  <a:pt x="1455087" y="1148733"/>
                </a:lnTo>
                <a:lnTo>
                  <a:pt x="1456532" y="1147804"/>
                </a:lnTo>
                <a:cubicBezTo>
                  <a:pt x="1462521" y="1146875"/>
                  <a:pt x="1468304" y="1152296"/>
                  <a:pt x="1472331" y="1156168"/>
                </a:cubicBezTo>
                <a:cubicBezTo>
                  <a:pt x="1475222" y="1158801"/>
                  <a:pt x="1478010" y="1161745"/>
                  <a:pt x="1478010" y="1164533"/>
                </a:cubicBezTo>
                <a:cubicBezTo>
                  <a:pt x="1478010" y="1165462"/>
                  <a:pt x="1477700" y="1166392"/>
                  <a:pt x="1476977" y="1167166"/>
                </a:cubicBezTo>
                <a:lnTo>
                  <a:pt x="1475841" y="1168096"/>
                </a:lnTo>
                <a:lnTo>
                  <a:pt x="1475428" y="1169334"/>
                </a:lnTo>
                <a:lnTo>
                  <a:pt x="1477494" y="1178009"/>
                </a:lnTo>
                <a:lnTo>
                  <a:pt x="1478010" y="1174601"/>
                </a:lnTo>
                <a:cubicBezTo>
                  <a:pt x="1477906" y="1175531"/>
                  <a:pt x="1477906" y="1175531"/>
                  <a:pt x="1477906" y="1175531"/>
                </a:cubicBezTo>
                <a:cubicBezTo>
                  <a:pt x="1478733" y="1176305"/>
                  <a:pt x="1478836" y="1175531"/>
                  <a:pt x="1479662" y="1175376"/>
                </a:cubicBezTo>
                <a:cubicBezTo>
                  <a:pt x="1479662" y="1175376"/>
                  <a:pt x="1478836" y="1175531"/>
                  <a:pt x="1479662" y="1174601"/>
                </a:cubicBezTo>
                <a:cubicBezTo>
                  <a:pt x="1479662" y="1175376"/>
                  <a:pt x="1480591" y="1175376"/>
                  <a:pt x="1481417" y="1175376"/>
                </a:cubicBezTo>
                <a:cubicBezTo>
                  <a:pt x="1483069" y="1176924"/>
                  <a:pt x="1484722" y="1179403"/>
                  <a:pt x="1483792" y="1181107"/>
                </a:cubicBezTo>
                <a:cubicBezTo>
                  <a:pt x="1482863" y="1182036"/>
                  <a:pt x="1482037" y="1182346"/>
                  <a:pt x="1481211" y="1182191"/>
                </a:cubicBezTo>
                <a:lnTo>
                  <a:pt x="1480075" y="1181726"/>
                </a:lnTo>
                <a:lnTo>
                  <a:pt x="1478630" y="1182966"/>
                </a:lnTo>
                <a:lnTo>
                  <a:pt x="1481107" y="1192879"/>
                </a:lnTo>
                <a:cubicBezTo>
                  <a:pt x="1472124" y="1199229"/>
                  <a:pt x="1470369" y="1216578"/>
                  <a:pt x="1457152" y="1217972"/>
                </a:cubicBezTo>
                <a:lnTo>
                  <a:pt x="1456120" y="1217662"/>
                </a:lnTo>
                <a:lnTo>
                  <a:pt x="1454880" y="1218746"/>
                </a:lnTo>
                <a:cubicBezTo>
                  <a:pt x="1453125" y="1219676"/>
                  <a:pt x="1451163" y="1220295"/>
                  <a:pt x="1448892" y="1220141"/>
                </a:cubicBezTo>
                <a:cubicBezTo>
                  <a:pt x="1447756" y="1219211"/>
                  <a:pt x="1447136" y="1217817"/>
                  <a:pt x="1446826" y="1216268"/>
                </a:cubicBezTo>
                <a:lnTo>
                  <a:pt x="1446826" y="1215184"/>
                </a:lnTo>
                <a:lnTo>
                  <a:pt x="1445071" y="1215029"/>
                </a:lnTo>
                <a:cubicBezTo>
                  <a:pt x="1441767" y="1215184"/>
                  <a:pt x="1438772" y="1215958"/>
                  <a:pt x="1435262" y="1215494"/>
                </a:cubicBezTo>
                <a:cubicBezTo>
                  <a:pt x="1432061" y="1213170"/>
                  <a:pt x="1428757" y="1210537"/>
                  <a:pt x="1425659" y="1207594"/>
                </a:cubicBezTo>
                <a:lnTo>
                  <a:pt x="1419257" y="1200159"/>
                </a:lnTo>
                <a:lnTo>
                  <a:pt x="1413165" y="1200159"/>
                </a:lnTo>
                <a:cubicBezTo>
                  <a:pt x="1411100" y="1200314"/>
                  <a:pt x="1408931" y="1200469"/>
                  <a:pt x="1406763" y="1199385"/>
                </a:cubicBezTo>
                <a:cubicBezTo>
                  <a:pt x="1407486" y="1198455"/>
                  <a:pt x="1409964" y="1196442"/>
                  <a:pt x="1412649" y="1197681"/>
                </a:cubicBezTo>
                <a:cubicBezTo>
                  <a:pt x="1413888" y="1198455"/>
                  <a:pt x="1415230" y="1198455"/>
                  <a:pt x="1416469" y="1198455"/>
                </a:cubicBezTo>
                <a:lnTo>
                  <a:pt x="1418018" y="1198765"/>
                </a:lnTo>
                <a:lnTo>
                  <a:pt x="1417089" y="1197681"/>
                </a:lnTo>
                <a:cubicBezTo>
                  <a:pt x="1412132" y="1190555"/>
                  <a:pt x="1409035" y="1182501"/>
                  <a:pt x="1410067" y="1174136"/>
                </a:cubicBezTo>
                <a:cubicBezTo>
                  <a:pt x="1411719" y="1160505"/>
                  <a:pt x="1422768" y="1158182"/>
                  <a:pt x="1431028" y="1148424"/>
                </a:cubicBezTo>
                <a:cubicBezTo>
                  <a:pt x="1436088" y="1151057"/>
                  <a:pt x="1439598" y="1151366"/>
                  <a:pt x="1442696" y="1150747"/>
                </a:cubicBezTo>
                <a:lnTo>
                  <a:pt x="1444865" y="1150128"/>
                </a:lnTo>
                <a:close/>
                <a:moveTo>
                  <a:pt x="3977290" y="1144695"/>
                </a:moveTo>
                <a:cubicBezTo>
                  <a:pt x="3977290" y="1149105"/>
                  <a:pt x="3976223" y="1151240"/>
                  <a:pt x="3975156" y="1151809"/>
                </a:cubicBezTo>
                <a:cubicBezTo>
                  <a:pt x="3971742" y="1153659"/>
                  <a:pt x="3966192" y="1142562"/>
                  <a:pt x="3977290" y="1144695"/>
                </a:cubicBezTo>
                <a:close/>
                <a:moveTo>
                  <a:pt x="3938874" y="1143984"/>
                </a:moveTo>
                <a:cubicBezTo>
                  <a:pt x="3949119" y="1160203"/>
                  <a:pt x="3940582" y="1184388"/>
                  <a:pt x="3937594" y="1205871"/>
                </a:cubicBezTo>
                <a:cubicBezTo>
                  <a:pt x="3933753" y="1204448"/>
                  <a:pt x="3930551" y="1206583"/>
                  <a:pt x="3925216" y="1203453"/>
                </a:cubicBezTo>
                <a:lnTo>
                  <a:pt x="3928631" y="1187661"/>
                </a:lnTo>
                <a:lnTo>
                  <a:pt x="3928204" y="1185527"/>
                </a:lnTo>
                <a:cubicBezTo>
                  <a:pt x="3927991" y="1184246"/>
                  <a:pt x="3928204" y="1183108"/>
                  <a:pt x="3928844" y="1182539"/>
                </a:cubicBezTo>
                <a:lnTo>
                  <a:pt x="3929911" y="1181970"/>
                </a:lnTo>
                <a:lnTo>
                  <a:pt x="3932046" y="1172296"/>
                </a:lnTo>
                <a:cubicBezTo>
                  <a:pt x="3933966" y="1162195"/>
                  <a:pt x="3935674" y="1152663"/>
                  <a:pt x="3938874" y="1143984"/>
                </a:cubicBezTo>
                <a:close/>
                <a:moveTo>
                  <a:pt x="4152294" y="1142562"/>
                </a:moveTo>
                <a:cubicBezTo>
                  <a:pt x="4152508" y="1144127"/>
                  <a:pt x="4154215" y="1143700"/>
                  <a:pt x="4155709" y="1143273"/>
                </a:cubicBezTo>
                <a:cubicBezTo>
                  <a:pt x="4156136" y="1145691"/>
                  <a:pt x="4157203" y="1149390"/>
                  <a:pt x="4155069" y="1151809"/>
                </a:cubicBezTo>
                <a:cubicBezTo>
                  <a:pt x="4154429" y="1152663"/>
                  <a:pt x="4153148" y="1153232"/>
                  <a:pt x="4151654" y="1153659"/>
                </a:cubicBezTo>
                <a:cubicBezTo>
                  <a:pt x="4151014" y="1154797"/>
                  <a:pt x="4146532" y="1153374"/>
                  <a:pt x="4146318" y="1151809"/>
                </a:cubicBezTo>
                <a:cubicBezTo>
                  <a:pt x="4144825" y="1147825"/>
                  <a:pt x="4148666" y="1145976"/>
                  <a:pt x="4152294" y="1142562"/>
                </a:cubicBezTo>
                <a:close/>
                <a:moveTo>
                  <a:pt x="1011704" y="1142383"/>
                </a:moveTo>
                <a:cubicBezTo>
                  <a:pt x="1018003" y="1139904"/>
                  <a:pt x="1033698" y="1148733"/>
                  <a:pt x="1031323" y="1157098"/>
                </a:cubicBezTo>
                <a:cubicBezTo>
                  <a:pt x="1025851" y="1153690"/>
                  <a:pt x="1021101" y="1149818"/>
                  <a:pt x="1012531" y="1147649"/>
                </a:cubicBezTo>
                <a:cubicBezTo>
                  <a:pt x="1013150" y="1146100"/>
                  <a:pt x="1011498" y="1145326"/>
                  <a:pt x="1011395" y="1143932"/>
                </a:cubicBezTo>
                <a:cubicBezTo>
                  <a:pt x="1011292" y="1143467"/>
                  <a:pt x="1011292" y="1143002"/>
                  <a:pt x="1011704" y="1142383"/>
                </a:cubicBezTo>
                <a:close/>
                <a:moveTo>
                  <a:pt x="881808" y="1142383"/>
                </a:moveTo>
                <a:cubicBezTo>
                  <a:pt x="884390" y="1144396"/>
                  <a:pt x="885216" y="1147030"/>
                  <a:pt x="883357" y="1149353"/>
                </a:cubicBezTo>
                <a:cubicBezTo>
                  <a:pt x="881705" y="1149972"/>
                  <a:pt x="879950" y="1148888"/>
                  <a:pt x="878297" y="1147959"/>
                </a:cubicBezTo>
                <a:cubicBezTo>
                  <a:pt x="876955" y="1147030"/>
                  <a:pt x="876542" y="1146100"/>
                  <a:pt x="876749" y="1145326"/>
                </a:cubicBezTo>
                <a:cubicBezTo>
                  <a:pt x="876852" y="1144396"/>
                  <a:pt x="877471" y="1143622"/>
                  <a:pt x="878401" y="1142847"/>
                </a:cubicBezTo>
                <a:cubicBezTo>
                  <a:pt x="880157" y="1141453"/>
                  <a:pt x="881808" y="1142383"/>
                  <a:pt x="881808" y="1142383"/>
                </a:cubicBezTo>
                <a:close/>
                <a:moveTo>
                  <a:pt x="1503617" y="1141608"/>
                </a:moveTo>
                <a:cubicBezTo>
                  <a:pt x="1503617" y="1141608"/>
                  <a:pt x="1503307" y="1142847"/>
                  <a:pt x="1503721" y="1143467"/>
                </a:cubicBezTo>
                <a:cubicBezTo>
                  <a:pt x="1503721" y="1143467"/>
                  <a:pt x="1503514" y="1144551"/>
                  <a:pt x="1503204" y="1145790"/>
                </a:cubicBezTo>
                <a:cubicBezTo>
                  <a:pt x="1503204" y="1145790"/>
                  <a:pt x="1503721" y="1146410"/>
                  <a:pt x="1504134" y="1147185"/>
                </a:cubicBezTo>
                <a:cubicBezTo>
                  <a:pt x="1504134" y="1150128"/>
                  <a:pt x="1504237" y="1152141"/>
                  <a:pt x="1500933" y="1152761"/>
                </a:cubicBezTo>
                <a:cubicBezTo>
                  <a:pt x="1500726" y="1152451"/>
                  <a:pt x="1500726" y="1151676"/>
                  <a:pt x="1500829" y="1150902"/>
                </a:cubicBezTo>
                <a:cubicBezTo>
                  <a:pt x="1500933" y="1150128"/>
                  <a:pt x="1501139" y="1149198"/>
                  <a:pt x="1501242" y="1148733"/>
                </a:cubicBezTo>
                <a:cubicBezTo>
                  <a:pt x="1500829" y="1147959"/>
                  <a:pt x="1501036" y="1146875"/>
                  <a:pt x="1501759" y="1146565"/>
                </a:cubicBezTo>
                <a:cubicBezTo>
                  <a:pt x="1501759" y="1146565"/>
                  <a:pt x="1502068" y="1145326"/>
                  <a:pt x="1501552" y="1144706"/>
                </a:cubicBezTo>
                <a:cubicBezTo>
                  <a:pt x="1502068" y="1142383"/>
                  <a:pt x="1502895" y="1142073"/>
                  <a:pt x="1503617" y="1141608"/>
                </a:cubicBezTo>
                <a:close/>
                <a:moveTo>
                  <a:pt x="4397514" y="1141566"/>
                </a:moveTo>
                <a:cubicBezTo>
                  <a:pt x="4398581" y="1142988"/>
                  <a:pt x="4399221" y="1144695"/>
                  <a:pt x="4399221" y="1146260"/>
                </a:cubicBezTo>
                <a:cubicBezTo>
                  <a:pt x="4399434" y="1150955"/>
                  <a:pt x="4394953" y="1154654"/>
                  <a:pt x="4390044" y="1151240"/>
                </a:cubicBezTo>
                <a:cubicBezTo>
                  <a:pt x="4390684" y="1144553"/>
                  <a:pt x="4393246" y="1142277"/>
                  <a:pt x="4397514" y="1141566"/>
                </a:cubicBezTo>
                <a:close/>
                <a:moveTo>
                  <a:pt x="1433610" y="1141143"/>
                </a:moveTo>
                <a:cubicBezTo>
                  <a:pt x="1434229" y="1141143"/>
                  <a:pt x="1434849" y="1140988"/>
                  <a:pt x="1435365" y="1141143"/>
                </a:cubicBezTo>
                <a:cubicBezTo>
                  <a:pt x="1435881" y="1141453"/>
                  <a:pt x="1436398" y="1141918"/>
                  <a:pt x="1436707" y="1143157"/>
                </a:cubicBezTo>
                <a:cubicBezTo>
                  <a:pt x="1437740" y="1144861"/>
                  <a:pt x="1437224" y="1145481"/>
                  <a:pt x="1434436" y="1146565"/>
                </a:cubicBezTo>
                <a:cubicBezTo>
                  <a:pt x="1432061" y="1147030"/>
                  <a:pt x="1430408" y="1147959"/>
                  <a:pt x="1429583" y="1147339"/>
                </a:cubicBezTo>
                <a:cubicBezTo>
                  <a:pt x="1429169" y="1148114"/>
                  <a:pt x="1428034" y="1148268"/>
                  <a:pt x="1427517" y="1149043"/>
                </a:cubicBezTo>
                <a:cubicBezTo>
                  <a:pt x="1427517" y="1149043"/>
                  <a:pt x="1427517" y="1149043"/>
                  <a:pt x="1426795" y="1148578"/>
                </a:cubicBezTo>
                <a:cubicBezTo>
                  <a:pt x="1429273" y="1146255"/>
                  <a:pt x="1430822" y="1142383"/>
                  <a:pt x="1433610" y="1141143"/>
                </a:cubicBezTo>
                <a:close/>
                <a:moveTo>
                  <a:pt x="1231537" y="1140369"/>
                </a:moveTo>
                <a:cubicBezTo>
                  <a:pt x="1235771" y="1139439"/>
                  <a:pt x="1238145" y="1144242"/>
                  <a:pt x="1239798" y="1146565"/>
                </a:cubicBezTo>
                <a:lnTo>
                  <a:pt x="1238559" y="1147804"/>
                </a:lnTo>
                <a:lnTo>
                  <a:pt x="1240314" y="1148424"/>
                </a:lnTo>
                <a:cubicBezTo>
                  <a:pt x="1240934" y="1148888"/>
                  <a:pt x="1241656" y="1149353"/>
                  <a:pt x="1242482" y="1149972"/>
                </a:cubicBezTo>
                <a:cubicBezTo>
                  <a:pt x="1241553" y="1151676"/>
                  <a:pt x="1242379" y="1154155"/>
                  <a:pt x="1240521" y="1155859"/>
                </a:cubicBezTo>
                <a:cubicBezTo>
                  <a:pt x="1240521" y="1155859"/>
                  <a:pt x="1239591" y="1156788"/>
                  <a:pt x="1237836" y="1156943"/>
                </a:cubicBezTo>
                <a:cubicBezTo>
                  <a:pt x="1235151" y="1158647"/>
                  <a:pt x="1232673" y="1156323"/>
                  <a:pt x="1232673" y="1156323"/>
                </a:cubicBezTo>
                <a:cubicBezTo>
                  <a:pt x="1232673" y="1156323"/>
                  <a:pt x="1232673" y="1156323"/>
                  <a:pt x="1232673" y="1157098"/>
                </a:cubicBezTo>
                <a:cubicBezTo>
                  <a:pt x="1232776" y="1155394"/>
                  <a:pt x="1231950" y="1153845"/>
                  <a:pt x="1232054" y="1152141"/>
                </a:cubicBezTo>
                <a:lnTo>
                  <a:pt x="1232570" y="1151676"/>
                </a:lnTo>
                <a:lnTo>
                  <a:pt x="1231847" y="1151986"/>
                </a:lnTo>
                <a:cubicBezTo>
                  <a:pt x="1230195" y="1150282"/>
                  <a:pt x="1229162" y="1148578"/>
                  <a:pt x="1229059" y="1146565"/>
                </a:cubicBezTo>
                <a:cubicBezTo>
                  <a:pt x="1228956" y="1144551"/>
                  <a:pt x="1229678" y="1142538"/>
                  <a:pt x="1231537" y="1140369"/>
                </a:cubicBezTo>
                <a:close/>
                <a:moveTo>
                  <a:pt x="4329860" y="1140001"/>
                </a:moveTo>
                <a:cubicBezTo>
                  <a:pt x="4331780" y="1141566"/>
                  <a:pt x="4334341" y="1141566"/>
                  <a:pt x="4335835" y="1141993"/>
                </a:cubicBezTo>
                <a:cubicBezTo>
                  <a:pt x="4337116" y="1145265"/>
                  <a:pt x="4336903" y="1147968"/>
                  <a:pt x="4334341" y="1151667"/>
                </a:cubicBezTo>
                <a:cubicBezTo>
                  <a:pt x="4329220" y="1151667"/>
                  <a:pt x="4330713" y="1152236"/>
                  <a:pt x="4325805" y="1149675"/>
                </a:cubicBezTo>
                <a:cubicBezTo>
                  <a:pt x="4327085" y="1146403"/>
                  <a:pt x="4328579" y="1143273"/>
                  <a:pt x="4329860" y="1140001"/>
                </a:cubicBezTo>
                <a:close/>
                <a:moveTo>
                  <a:pt x="1031014" y="1139595"/>
                </a:moveTo>
                <a:cubicBezTo>
                  <a:pt x="1032975" y="1139749"/>
                  <a:pt x="1033285" y="1138665"/>
                  <a:pt x="1035970" y="1140369"/>
                </a:cubicBezTo>
                <a:cubicBezTo>
                  <a:pt x="1035557" y="1141453"/>
                  <a:pt x="1035247" y="1142538"/>
                  <a:pt x="1034834" y="1143467"/>
                </a:cubicBezTo>
                <a:cubicBezTo>
                  <a:pt x="1032562" y="1142692"/>
                  <a:pt x="1030291" y="1141763"/>
                  <a:pt x="1031014" y="1139595"/>
                </a:cubicBezTo>
                <a:close/>
                <a:moveTo>
                  <a:pt x="4872159" y="1139147"/>
                </a:moveTo>
                <a:cubicBezTo>
                  <a:pt x="4872800" y="1139005"/>
                  <a:pt x="4873653" y="1139289"/>
                  <a:pt x="4874720" y="1140569"/>
                </a:cubicBezTo>
                <a:cubicBezTo>
                  <a:pt x="4875787" y="1141139"/>
                  <a:pt x="4876215" y="1141708"/>
                  <a:pt x="4876215" y="1142704"/>
                </a:cubicBezTo>
                <a:cubicBezTo>
                  <a:pt x="4876215" y="1143558"/>
                  <a:pt x="4875361" y="1144838"/>
                  <a:pt x="4874080" y="1146545"/>
                </a:cubicBezTo>
                <a:cubicBezTo>
                  <a:pt x="4871519" y="1148964"/>
                  <a:pt x="4870239" y="1151382"/>
                  <a:pt x="4868958" y="1151382"/>
                </a:cubicBezTo>
                <a:cubicBezTo>
                  <a:pt x="4868958" y="1152663"/>
                  <a:pt x="4867677" y="1153801"/>
                  <a:pt x="4867464" y="1155081"/>
                </a:cubicBezTo>
                <a:cubicBezTo>
                  <a:pt x="4867464" y="1155081"/>
                  <a:pt x="4867464" y="1155081"/>
                  <a:pt x="4866397" y="1155081"/>
                </a:cubicBezTo>
                <a:cubicBezTo>
                  <a:pt x="4867891" y="1150244"/>
                  <a:pt x="4867464" y="1144127"/>
                  <a:pt x="4870025" y="1140428"/>
                </a:cubicBezTo>
                <a:cubicBezTo>
                  <a:pt x="4870665" y="1139858"/>
                  <a:pt x="4871306" y="1139289"/>
                  <a:pt x="4872159" y="1139147"/>
                </a:cubicBezTo>
                <a:close/>
                <a:moveTo>
                  <a:pt x="3962991" y="1138721"/>
                </a:moveTo>
                <a:cubicBezTo>
                  <a:pt x="3964272" y="1138578"/>
                  <a:pt x="3965339" y="1138721"/>
                  <a:pt x="3966619" y="1139289"/>
                </a:cubicBezTo>
                <a:cubicBezTo>
                  <a:pt x="3967900" y="1140428"/>
                  <a:pt x="3968327" y="1142704"/>
                  <a:pt x="3967687" y="1146403"/>
                </a:cubicBezTo>
                <a:cubicBezTo>
                  <a:pt x="3965552" y="1147683"/>
                  <a:pt x="3961497" y="1144411"/>
                  <a:pt x="3959150" y="1143273"/>
                </a:cubicBezTo>
                <a:cubicBezTo>
                  <a:pt x="3960216" y="1141993"/>
                  <a:pt x="3961071" y="1140854"/>
                  <a:pt x="3960004" y="1140854"/>
                </a:cubicBezTo>
                <a:cubicBezTo>
                  <a:pt x="3960857" y="1139574"/>
                  <a:pt x="3961924" y="1139005"/>
                  <a:pt x="3962991" y="1138721"/>
                </a:cubicBezTo>
                <a:close/>
                <a:moveTo>
                  <a:pt x="3795670" y="1138578"/>
                </a:moveTo>
                <a:cubicBezTo>
                  <a:pt x="3798444" y="1138436"/>
                  <a:pt x="3801432" y="1139431"/>
                  <a:pt x="3804207" y="1141993"/>
                </a:cubicBezTo>
                <a:cubicBezTo>
                  <a:pt x="3805701" y="1147968"/>
                  <a:pt x="3799085" y="1151098"/>
                  <a:pt x="3795670" y="1153374"/>
                </a:cubicBezTo>
                <a:lnTo>
                  <a:pt x="3794176" y="1151667"/>
                </a:lnTo>
                <a:lnTo>
                  <a:pt x="3793323" y="1154085"/>
                </a:lnTo>
                <a:cubicBezTo>
                  <a:pt x="3792682" y="1155081"/>
                  <a:pt x="3791828" y="1156077"/>
                  <a:pt x="3790975" y="1157215"/>
                </a:cubicBezTo>
                <a:cubicBezTo>
                  <a:pt x="3788627" y="1155935"/>
                  <a:pt x="3785213" y="1156931"/>
                  <a:pt x="3782865" y="1154370"/>
                </a:cubicBezTo>
                <a:cubicBezTo>
                  <a:pt x="3782865" y="1154370"/>
                  <a:pt x="3781585" y="1153232"/>
                  <a:pt x="3781585" y="1150813"/>
                </a:cubicBezTo>
                <a:cubicBezTo>
                  <a:pt x="3779023" y="1147114"/>
                  <a:pt x="3782438" y="1143700"/>
                  <a:pt x="3782438" y="1143700"/>
                </a:cubicBezTo>
                <a:cubicBezTo>
                  <a:pt x="3782438" y="1143700"/>
                  <a:pt x="3782438" y="1143558"/>
                  <a:pt x="3781371" y="1143558"/>
                </a:cubicBezTo>
                <a:cubicBezTo>
                  <a:pt x="3783505" y="1143700"/>
                  <a:pt x="3785853" y="1142562"/>
                  <a:pt x="3788201" y="1142704"/>
                </a:cubicBezTo>
                <a:lnTo>
                  <a:pt x="3788841" y="1143415"/>
                </a:lnTo>
                <a:lnTo>
                  <a:pt x="3788414" y="1142419"/>
                </a:lnTo>
                <a:cubicBezTo>
                  <a:pt x="3790548" y="1140143"/>
                  <a:pt x="3793109" y="1138721"/>
                  <a:pt x="3795670" y="1138578"/>
                </a:cubicBezTo>
                <a:close/>
                <a:moveTo>
                  <a:pt x="1534904" y="1138510"/>
                </a:moveTo>
                <a:cubicBezTo>
                  <a:pt x="1536040" y="1138820"/>
                  <a:pt x="1536556" y="1139439"/>
                  <a:pt x="1536969" y="1140214"/>
                </a:cubicBezTo>
                <a:cubicBezTo>
                  <a:pt x="1536763" y="1141299"/>
                  <a:pt x="1535936" y="1141763"/>
                  <a:pt x="1535730" y="1142847"/>
                </a:cubicBezTo>
                <a:cubicBezTo>
                  <a:pt x="1536143" y="1143622"/>
                  <a:pt x="1537072" y="1145016"/>
                  <a:pt x="1536763" y="1146255"/>
                </a:cubicBezTo>
                <a:lnTo>
                  <a:pt x="1536453" y="1147185"/>
                </a:lnTo>
                <a:lnTo>
                  <a:pt x="1537279" y="1147030"/>
                </a:lnTo>
                <a:cubicBezTo>
                  <a:pt x="1537795" y="1154620"/>
                  <a:pt x="1536453" y="1162984"/>
                  <a:pt x="1529225" y="1171658"/>
                </a:cubicBezTo>
                <a:cubicBezTo>
                  <a:pt x="1523339" y="1172277"/>
                  <a:pt x="1521377" y="1168250"/>
                  <a:pt x="1521791" y="1163294"/>
                </a:cubicBezTo>
                <a:cubicBezTo>
                  <a:pt x="1522307" y="1157253"/>
                  <a:pt x="1526540" y="1149663"/>
                  <a:pt x="1531806" y="1147339"/>
                </a:cubicBezTo>
                <a:lnTo>
                  <a:pt x="1535110" y="1147185"/>
                </a:lnTo>
                <a:lnTo>
                  <a:pt x="1535110" y="1146720"/>
                </a:lnTo>
                <a:cubicBezTo>
                  <a:pt x="1535214" y="1146565"/>
                  <a:pt x="1535420" y="1146410"/>
                  <a:pt x="1535627" y="1145790"/>
                </a:cubicBezTo>
                <a:cubicBezTo>
                  <a:pt x="1535833" y="1144706"/>
                  <a:pt x="1535007" y="1140214"/>
                  <a:pt x="1533871" y="1139904"/>
                </a:cubicBezTo>
                <a:cubicBezTo>
                  <a:pt x="1534594" y="1139595"/>
                  <a:pt x="1534904" y="1138510"/>
                  <a:pt x="1534904" y="1138510"/>
                </a:cubicBezTo>
                <a:close/>
                <a:moveTo>
                  <a:pt x="1218011" y="1138510"/>
                </a:moveTo>
                <a:cubicBezTo>
                  <a:pt x="1222451" y="1138045"/>
                  <a:pt x="1224722" y="1139904"/>
                  <a:pt x="1225652" y="1143157"/>
                </a:cubicBezTo>
                <a:cubicBezTo>
                  <a:pt x="1223173" y="1147494"/>
                  <a:pt x="1216668" y="1147030"/>
                  <a:pt x="1215532" y="1142847"/>
                </a:cubicBezTo>
                <a:cubicBezTo>
                  <a:pt x="1216152" y="1141763"/>
                  <a:pt x="1216565" y="1139904"/>
                  <a:pt x="1218011" y="1138510"/>
                </a:cubicBezTo>
                <a:close/>
                <a:moveTo>
                  <a:pt x="4358031" y="1138436"/>
                </a:moveTo>
                <a:cubicBezTo>
                  <a:pt x="4365288" y="1145976"/>
                  <a:pt x="4373611" y="1153516"/>
                  <a:pt x="4370409" y="1160488"/>
                </a:cubicBezTo>
                <a:cubicBezTo>
                  <a:pt x="4363580" y="1161341"/>
                  <a:pt x="4357391" y="1151524"/>
                  <a:pt x="4354830" y="1145407"/>
                </a:cubicBezTo>
                <a:cubicBezTo>
                  <a:pt x="4357177" y="1143131"/>
                  <a:pt x="4355897" y="1140712"/>
                  <a:pt x="4358031" y="1138436"/>
                </a:cubicBezTo>
                <a:close/>
                <a:moveTo>
                  <a:pt x="1069322" y="1137891"/>
                </a:moveTo>
                <a:cubicBezTo>
                  <a:pt x="1077479" y="1134638"/>
                  <a:pt x="1088940" y="1140059"/>
                  <a:pt x="1091831" y="1145790"/>
                </a:cubicBezTo>
                <a:cubicBezTo>
                  <a:pt x="1083777" y="1148888"/>
                  <a:pt x="1073555" y="1142383"/>
                  <a:pt x="1069322" y="1137891"/>
                </a:cubicBezTo>
                <a:close/>
                <a:moveTo>
                  <a:pt x="3396362" y="1137724"/>
                </a:moveTo>
                <a:lnTo>
                  <a:pt x="3395081" y="1138294"/>
                </a:lnTo>
                <a:lnTo>
                  <a:pt x="3395295" y="1138294"/>
                </a:lnTo>
                <a:lnTo>
                  <a:pt x="3397002" y="1143273"/>
                </a:lnTo>
                <a:lnTo>
                  <a:pt x="3397856" y="1142277"/>
                </a:lnTo>
                <a:lnTo>
                  <a:pt x="3399776" y="1141850"/>
                </a:lnTo>
                <a:lnTo>
                  <a:pt x="3399350" y="1139858"/>
                </a:lnTo>
                <a:lnTo>
                  <a:pt x="3398069" y="1137724"/>
                </a:lnTo>
                <a:lnTo>
                  <a:pt x="3397856" y="1138436"/>
                </a:lnTo>
                <a:close/>
                <a:moveTo>
                  <a:pt x="1158329" y="1137271"/>
                </a:moveTo>
                <a:cubicBezTo>
                  <a:pt x="1160703" y="1136806"/>
                  <a:pt x="1161839" y="1136652"/>
                  <a:pt x="1163388" y="1137735"/>
                </a:cubicBezTo>
                <a:cubicBezTo>
                  <a:pt x="1164524" y="1137426"/>
                  <a:pt x="1165763" y="1137271"/>
                  <a:pt x="1166692" y="1137426"/>
                </a:cubicBezTo>
                <a:cubicBezTo>
                  <a:pt x="1167725" y="1137581"/>
                  <a:pt x="1168344" y="1138045"/>
                  <a:pt x="1168757" y="1139285"/>
                </a:cubicBezTo>
                <a:cubicBezTo>
                  <a:pt x="1166692" y="1140833"/>
                  <a:pt x="1165040" y="1141608"/>
                  <a:pt x="1162252" y="1142692"/>
                </a:cubicBezTo>
                <a:cubicBezTo>
                  <a:pt x="1162252" y="1142692"/>
                  <a:pt x="1157503" y="1143467"/>
                  <a:pt x="1156160" y="1140679"/>
                </a:cubicBezTo>
                <a:cubicBezTo>
                  <a:pt x="1155334" y="1140214"/>
                  <a:pt x="1157193" y="1137426"/>
                  <a:pt x="1158329" y="1137271"/>
                </a:cubicBezTo>
                <a:close/>
                <a:moveTo>
                  <a:pt x="3689814" y="1136302"/>
                </a:moveTo>
                <a:cubicBezTo>
                  <a:pt x="3691948" y="1136444"/>
                  <a:pt x="3693229" y="1137155"/>
                  <a:pt x="3693655" y="1138294"/>
                </a:cubicBezTo>
                <a:cubicBezTo>
                  <a:pt x="3694296" y="1139431"/>
                  <a:pt x="3694296" y="1140996"/>
                  <a:pt x="3694082" y="1142562"/>
                </a:cubicBezTo>
                <a:cubicBezTo>
                  <a:pt x="3693655" y="1145976"/>
                  <a:pt x="3691095" y="1146118"/>
                  <a:pt x="3691095" y="1146118"/>
                </a:cubicBezTo>
                <a:cubicBezTo>
                  <a:pt x="3686826" y="1145834"/>
                  <a:pt x="3683838" y="1143273"/>
                  <a:pt x="3683625" y="1139005"/>
                </a:cubicBezTo>
                <a:cubicBezTo>
                  <a:pt x="3684905" y="1136729"/>
                  <a:pt x="3687253" y="1136444"/>
                  <a:pt x="3689814" y="1136302"/>
                </a:cubicBezTo>
                <a:close/>
                <a:moveTo>
                  <a:pt x="1107643" y="1135877"/>
                </a:moveTo>
                <a:cubicBezTo>
                  <a:pt x="1113644" y="1134095"/>
                  <a:pt x="1119865" y="1134328"/>
                  <a:pt x="1121982" y="1138355"/>
                </a:cubicBezTo>
                <a:cubicBezTo>
                  <a:pt x="1111966" y="1140059"/>
                  <a:pt x="1106184" y="1145635"/>
                  <a:pt x="1094620" y="1145481"/>
                </a:cubicBezTo>
                <a:cubicBezTo>
                  <a:pt x="1095859" y="1141453"/>
                  <a:pt x="1101641" y="1137658"/>
                  <a:pt x="1107643" y="1135877"/>
                </a:cubicBezTo>
                <a:close/>
                <a:moveTo>
                  <a:pt x="3643715" y="1135875"/>
                </a:moveTo>
                <a:cubicBezTo>
                  <a:pt x="3645850" y="1140143"/>
                  <a:pt x="3649904" y="1146403"/>
                  <a:pt x="3646917" y="1151809"/>
                </a:cubicBezTo>
                <a:lnTo>
                  <a:pt x="3644782" y="1153659"/>
                </a:lnTo>
                <a:lnTo>
                  <a:pt x="3645209" y="1157926"/>
                </a:lnTo>
                <a:cubicBezTo>
                  <a:pt x="3644996" y="1160203"/>
                  <a:pt x="3644569" y="1162337"/>
                  <a:pt x="3643929" y="1163760"/>
                </a:cubicBezTo>
                <a:cubicBezTo>
                  <a:pt x="3639020" y="1165609"/>
                  <a:pt x="3635179" y="1165182"/>
                  <a:pt x="3632404" y="1163333"/>
                </a:cubicBezTo>
                <a:cubicBezTo>
                  <a:pt x="3630270" y="1162053"/>
                  <a:pt x="3628776" y="1160061"/>
                  <a:pt x="3627922" y="1157642"/>
                </a:cubicBezTo>
                <a:lnTo>
                  <a:pt x="3627709" y="1155366"/>
                </a:lnTo>
                <a:lnTo>
                  <a:pt x="3627495" y="1155366"/>
                </a:lnTo>
                <a:cubicBezTo>
                  <a:pt x="3623441" y="1156362"/>
                  <a:pt x="3617891" y="1153943"/>
                  <a:pt x="3615757" y="1147541"/>
                </a:cubicBezTo>
                <a:cubicBezTo>
                  <a:pt x="3617891" y="1143131"/>
                  <a:pt x="3620879" y="1141139"/>
                  <a:pt x="3622587" y="1139431"/>
                </a:cubicBezTo>
                <a:lnTo>
                  <a:pt x="3630056" y="1142988"/>
                </a:lnTo>
                <a:lnTo>
                  <a:pt x="3633258" y="1141139"/>
                </a:lnTo>
                <a:lnTo>
                  <a:pt x="3636672" y="1136159"/>
                </a:lnTo>
                <a:cubicBezTo>
                  <a:pt x="3637953" y="1139005"/>
                  <a:pt x="3640941" y="1137440"/>
                  <a:pt x="3643715" y="1135875"/>
                </a:cubicBezTo>
                <a:close/>
                <a:moveTo>
                  <a:pt x="4255376" y="1134168"/>
                </a:moveTo>
                <a:cubicBezTo>
                  <a:pt x="4261992" y="1135021"/>
                  <a:pt x="4266687" y="1136871"/>
                  <a:pt x="4267968" y="1141993"/>
                </a:cubicBezTo>
                <a:cubicBezTo>
                  <a:pt x="4268608" y="1143700"/>
                  <a:pt x="4268608" y="1145691"/>
                  <a:pt x="4268395" y="1148252"/>
                </a:cubicBezTo>
                <a:cubicBezTo>
                  <a:pt x="4264553" y="1151098"/>
                  <a:pt x="4260498" y="1149390"/>
                  <a:pt x="4257724" y="1146118"/>
                </a:cubicBezTo>
                <a:cubicBezTo>
                  <a:pt x="4255163" y="1142846"/>
                  <a:pt x="4253669" y="1137867"/>
                  <a:pt x="4255376" y="1134168"/>
                </a:cubicBezTo>
                <a:close/>
                <a:moveTo>
                  <a:pt x="1109282" y="1133709"/>
                </a:moveTo>
                <a:cubicBezTo>
                  <a:pt x="1109282" y="1133709"/>
                  <a:pt x="1108043" y="1134018"/>
                  <a:pt x="1106803" y="1134173"/>
                </a:cubicBezTo>
                <a:cubicBezTo>
                  <a:pt x="1105668" y="1134328"/>
                  <a:pt x="1105668" y="1134328"/>
                  <a:pt x="1105978" y="1135567"/>
                </a:cubicBezTo>
                <a:cubicBezTo>
                  <a:pt x="1104738" y="1135722"/>
                  <a:pt x="1104738" y="1135722"/>
                  <a:pt x="1103190" y="1134793"/>
                </a:cubicBezTo>
                <a:cubicBezTo>
                  <a:pt x="1104429" y="1134483"/>
                  <a:pt x="1108972" y="1132469"/>
                  <a:pt x="1109282" y="1133709"/>
                </a:cubicBezTo>
                <a:close/>
                <a:moveTo>
                  <a:pt x="3442674" y="1132318"/>
                </a:moveTo>
                <a:cubicBezTo>
                  <a:pt x="3444381" y="1132603"/>
                  <a:pt x="3445235" y="1133314"/>
                  <a:pt x="3445875" y="1134310"/>
                </a:cubicBezTo>
                <a:cubicBezTo>
                  <a:pt x="3446515" y="1135164"/>
                  <a:pt x="3446942" y="1136302"/>
                  <a:pt x="3446942" y="1137724"/>
                </a:cubicBezTo>
                <a:cubicBezTo>
                  <a:pt x="3446515" y="1139289"/>
                  <a:pt x="3444381" y="1140569"/>
                  <a:pt x="3440753" y="1141566"/>
                </a:cubicBezTo>
                <a:cubicBezTo>
                  <a:pt x="3438619" y="1140143"/>
                  <a:pt x="3440113" y="1135164"/>
                  <a:pt x="3440113" y="1132603"/>
                </a:cubicBezTo>
                <a:cubicBezTo>
                  <a:pt x="3441820" y="1132887"/>
                  <a:pt x="3443314" y="1133314"/>
                  <a:pt x="3442674" y="1132318"/>
                </a:cubicBezTo>
                <a:close/>
                <a:moveTo>
                  <a:pt x="3655667" y="1132033"/>
                </a:moveTo>
                <a:cubicBezTo>
                  <a:pt x="3658654" y="1132460"/>
                  <a:pt x="3662069" y="1134310"/>
                  <a:pt x="3665484" y="1138009"/>
                </a:cubicBezTo>
                <a:cubicBezTo>
                  <a:pt x="3666764" y="1143984"/>
                  <a:pt x="3660149" y="1151951"/>
                  <a:pt x="3655667" y="1150529"/>
                </a:cubicBezTo>
                <a:cubicBezTo>
                  <a:pt x="3642221" y="1141139"/>
                  <a:pt x="3646917" y="1130469"/>
                  <a:pt x="3655667" y="1132033"/>
                </a:cubicBezTo>
                <a:close/>
                <a:moveTo>
                  <a:pt x="1584364" y="1131385"/>
                </a:moveTo>
                <a:cubicBezTo>
                  <a:pt x="1587255" y="1131540"/>
                  <a:pt x="1592314" y="1135102"/>
                  <a:pt x="1593657" y="1139595"/>
                </a:cubicBezTo>
                <a:lnTo>
                  <a:pt x="1593554" y="1142538"/>
                </a:lnTo>
                <a:lnTo>
                  <a:pt x="1594793" y="1140369"/>
                </a:lnTo>
                <a:cubicBezTo>
                  <a:pt x="1595928" y="1139749"/>
                  <a:pt x="1597374" y="1139285"/>
                  <a:pt x="1598716" y="1139285"/>
                </a:cubicBezTo>
                <a:cubicBezTo>
                  <a:pt x="1597994" y="1139595"/>
                  <a:pt x="1597994" y="1139595"/>
                  <a:pt x="1597994" y="1139595"/>
                </a:cubicBezTo>
                <a:cubicBezTo>
                  <a:pt x="1597580" y="1140679"/>
                  <a:pt x="1598303" y="1140369"/>
                  <a:pt x="1598716" y="1141143"/>
                </a:cubicBezTo>
                <a:cubicBezTo>
                  <a:pt x="1598716" y="1141143"/>
                  <a:pt x="1598303" y="1140369"/>
                  <a:pt x="1599542" y="1140833"/>
                </a:cubicBezTo>
                <a:cubicBezTo>
                  <a:pt x="1598716" y="1141143"/>
                  <a:pt x="1599130" y="1141918"/>
                  <a:pt x="1599542" y="1142692"/>
                </a:cubicBezTo>
                <a:cubicBezTo>
                  <a:pt x="1598716" y="1145016"/>
                  <a:pt x="1597064" y="1147494"/>
                  <a:pt x="1595102" y="1147339"/>
                </a:cubicBezTo>
                <a:cubicBezTo>
                  <a:pt x="1593967" y="1146875"/>
                  <a:pt x="1593347" y="1146100"/>
                  <a:pt x="1593140" y="1145326"/>
                </a:cubicBezTo>
                <a:lnTo>
                  <a:pt x="1593140" y="1144087"/>
                </a:lnTo>
                <a:lnTo>
                  <a:pt x="1588700" y="1142073"/>
                </a:lnTo>
                <a:cubicBezTo>
                  <a:pt x="1585087" y="1139285"/>
                  <a:pt x="1584880" y="1135257"/>
                  <a:pt x="1584364" y="1131385"/>
                </a:cubicBezTo>
                <a:close/>
                <a:moveTo>
                  <a:pt x="1149345" y="1131075"/>
                </a:moveTo>
                <a:cubicBezTo>
                  <a:pt x="1152236" y="1131230"/>
                  <a:pt x="1156057" y="1135877"/>
                  <a:pt x="1155025" y="1139130"/>
                </a:cubicBezTo>
                <a:cubicBezTo>
                  <a:pt x="1154715" y="1140214"/>
                  <a:pt x="1153889" y="1141143"/>
                  <a:pt x="1152236" y="1141608"/>
                </a:cubicBezTo>
                <a:cubicBezTo>
                  <a:pt x="1147487" y="1143002"/>
                  <a:pt x="1145938" y="1139285"/>
                  <a:pt x="1145008" y="1134638"/>
                </a:cubicBezTo>
                <a:cubicBezTo>
                  <a:pt x="1146661" y="1133709"/>
                  <a:pt x="1147590" y="1132160"/>
                  <a:pt x="1149345" y="1131075"/>
                </a:cubicBezTo>
                <a:close/>
                <a:moveTo>
                  <a:pt x="1246303" y="1130765"/>
                </a:moveTo>
                <a:cubicBezTo>
                  <a:pt x="1249917" y="1129681"/>
                  <a:pt x="1252808" y="1136806"/>
                  <a:pt x="1251775" y="1138355"/>
                </a:cubicBezTo>
                <a:cubicBezTo>
                  <a:pt x="1250433" y="1138665"/>
                  <a:pt x="1245993" y="1135412"/>
                  <a:pt x="1245373" y="1132779"/>
                </a:cubicBezTo>
                <a:cubicBezTo>
                  <a:pt x="1245167" y="1132005"/>
                  <a:pt x="1245373" y="1131230"/>
                  <a:pt x="1246303" y="1130765"/>
                </a:cubicBezTo>
                <a:close/>
                <a:moveTo>
                  <a:pt x="4399648" y="1130042"/>
                </a:moveTo>
                <a:cubicBezTo>
                  <a:pt x="4404770" y="1129188"/>
                  <a:pt x="4414801" y="1135164"/>
                  <a:pt x="4401782" y="1140428"/>
                </a:cubicBezTo>
                <a:cubicBezTo>
                  <a:pt x="4395380" y="1133457"/>
                  <a:pt x="4396660" y="1130611"/>
                  <a:pt x="4399648" y="1130042"/>
                </a:cubicBezTo>
                <a:close/>
                <a:moveTo>
                  <a:pt x="4837799" y="1129188"/>
                </a:moveTo>
                <a:cubicBezTo>
                  <a:pt x="4837799" y="1130469"/>
                  <a:pt x="4838866" y="1130469"/>
                  <a:pt x="4838652" y="1131607"/>
                </a:cubicBezTo>
                <a:cubicBezTo>
                  <a:pt x="4839719" y="1134168"/>
                  <a:pt x="4839719" y="1134168"/>
                  <a:pt x="4838439" y="1135448"/>
                </a:cubicBezTo>
                <a:cubicBezTo>
                  <a:pt x="4836945" y="1136586"/>
                  <a:pt x="4833531" y="1135306"/>
                  <a:pt x="4832250" y="1136586"/>
                </a:cubicBezTo>
                <a:cubicBezTo>
                  <a:pt x="4832250" y="1136586"/>
                  <a:pt x="4832250" y="1136586"/>
                  <a:pt x="4831396" y="1134026"/>
                </a:cubicBezTo>
                <a:cubicBezTo>
                  <a:pt x="4831396" y="1132887"/>
                  <a:pt x="4831610" y="1131607"/>
                  <a:pt x="4832890" y="1130327"/>
                </a:cubicBezTo>
                <a:cubicBezTo>
                  <a:pt x="4834171" y="1129046"/>
                  <a:pt x="4836731" y="1129188"/>
                  <a:pt x="4837799" y="1129188"/>
                </a:cubicBezTo>
                <a:close/>
                <a:moveTo>
                  <a:pt x="1117026" y="1128132"/>
                </a:moveTo>
                <a:cubicBezTo>
                  <a:pt x="1117749" y="1128597"/>
                  <a:pt x="1118988" y="1128442"/>
                  <a:pt x="1118988" y="1128442"/>
                </a:cubicBezTo>
                <a:cubicBezTo>
                  <a:pt x="1119298" y="1129681"/>
                  <a:pt x="1118781" y="1130300"/>
                  <a:pt x="1118368" y="1130920"/>
                </a:cubicBezTo>
                <a:cubicBezTo>
                  <a:pt x="1117232" y="1131230"/>
                  <a:pt x="1116510" y="1130765"/>
                  <a:pt x="1115271" y="1130920"/>
                </a:cubicBezTo>
                <a:cubicBezTo>
                  <a:pt x="1114858" y="1131540"/>
                  <a:pt x="1113929" y="1132934"/>
                  <a:pt x="1112793" y="1133089"/>
                </a:cubicBezTo>
                <a:cubicBezTo>
                  <a:pt x="1111554" y="1133244"/>
                  <a:pt x="1109695" y="1133089"/>
                  <a:pt x="1109695" y="1133089"/>
                </a:cubicBezTo>
                <a:cubicBezTo>
                  <a:pt x="1109488" y="1132469"/>
                  <a:pt x="1109385" y="1132160"/>
                  <a:pt x="1109488" y="1132005"/>
                </a:cubicBezTo>
                <a:cubicBezTo>
                  <a:pt x="1109592" y="1132005"/>
                  <a:pt x="1109798" y="1132005"/>
                  <a:pt x="1110108" y="1132314"/>
                </a:cubicBezTo>
                <a:cubicBezTo>
                  <a:pt x="1111760" y="1131385"/>
                  <a:pt x="1111347" y="1132160"/>
                  <a:pt x="1112483" y="1132005"/>
                </a:cubicBezTo>
                <a:cubicBezTo>
                  <a:pt x="1113722" y="1131695"/>
                  <a:pt x="1117336" y="1129371"/>
                  <a:pt x="1117026" y="1128132"/>
                </a:cubicBezTo>
                <a:close/>
                <a:moveTo>
                  <a:pt x="4026377" y="1127623"/>
                </a:moveTo>
                <a:cubicBezTo>
                  <a:pt x="4028085" y="1127338"/>
                  <a:pt x="4030859" y="1127481"/>
                  <a:pt x="4032993" y="1127623"/>
                </a:cubicBezTo>
                <a:cubicBezTo>
                  <a:pt x="4035341" y="1127765"/>
                  <a:pt x="4037261" y="1127908"/>
                  <a:pt x="4037688" y="1127908"/>
                </a:cubicBezTo>
                <a:cubicBezTo>
                  <a:pt x="4037688" y="1127908"/>
                  <a:pt x="4038756" y="1127908"/>
                  <a:pt x="4040036" y="1127908"/>
                </a:cubicBezTo>
                <a:cubicBezTo>
                  <a:pt x="4041316" y="1128904"/>
                  <a:pt x="4041316" y="1130184"/>
                  <a:pt x="4042597" y="1130042"/>
                </a:cubicBezTo>
                <a:cubicBezTo>
                  <a:pt x="4039609" y="1133741"/>
                  <a:pt x="4035981" y="1132887"/>
                  <a:pt x="4032566" y="1131892"/>
                </a:cubicBezTo>
                <a:cubicBezTo>
                  <a:pt x="4030005" y="1130753"/>
                  <a:pt x="4028938" y="1130895"/>
                  <a:pt x="4026804" y="1132176"/>
                </a:cubicBezTo>
                <a:cubicBezTo>
                  <a:pt x="4026804" y="1132176"/>
                  <a:pt x="4026804" y="1132176"/>
                  <a:pt x="4024243" y="1130042"/>
                </a:cubicBezTo>
                <a:lnTo>
                  <a:pt x="4024030" y="1128762"/>
                </a:lnTo>
                <a:cubicBezTo>
                  <a:pt x="4024243" y="1128050"/>
                  <a:pt x="4025097" y="1127908"/>
                  <a:pt x="4026377" y="1127623"/>
                </a:cubicBezTo>
                <a:close/>
                <a:moveTo>
                  <a:pt x="1289361" y="1126893"/>
                </a:moveTo>
                <a:cubicBezTo>
                  <a:pt x="1296279" y="1127822"/>
                  <a:pt x="1303403" y="1142383"/>
                  <a:pt x="1295866" y="1148268"/>
                </a:cubicBezTo>
                <a:cubicBezTo>
                  <a:pt x="1293594" y="1142847"/>
                  <a:pt x="1292149" y="1137426"/>
                  <a:pt x="1286469" y="1131540"/>
                </a:cubicBezTo>
                <a:cubicBezTo>
                  <a:pt x="1288535" y="1130146"/>
                  <a:pt x="1286366" y="1128287"/>
                  <a:pt x="1289361" y="1126893"/>
                </a:cubicBezTo>
                <a:close/>
                <a:moveTo>
                  <a:pt x="4568890" y="1126485"/>
                </a:moveTo>
                <a:cubicBezTo>
                  <a:pt x="4564621" y="1135875"/>
                  <a:pt x="4557152" y="1150955"/>
                  <a:pt x="4548188" y="1155366"/>
                </a:cubicBezTo>
                <a:cubicBezTo>
                  <a:pt x="4539438" y="1144268"/>
                  <a:pt x="4560780" y="1128477"/>
                  <a:pt x="4568890" y="1126485"/>
                </a:cubicBezTo>
                <a:close/>
                <a:moveTo>
                  <a:pt x="1552871" y="1125809"/>
                </a:moveTo>
                <a:cubicBezTo>
                  <a:pt x="1556381" y="1124879"/>
                  <a:pt x="1560202" y="1125189"/>
                  <a:pt x="1562576" y="1126428"/>
                </a:cubicBezTo>
                <a:cubicBezTo>
                  <a:pt x="1564435" y="1129991"/>
                  <a:pt x="1564539" y="1132624"/>
                  <a:pt x="1563609" y="1134638"/>
                </a:cubicBezTo>
                <a:cubicBezTo>
                  <a:pt x="1561544" y="1139130"/>
                  <a:pt x="1554006" y="1139749"/>
                  <a:pt x="1549153" y="1136187"/>
                </a:cubicBezTo>
                <a:lnTo>
                  <a:pt x="1548121" y="1134793"/>
                </a:lnTo>
                <a:lnTo>
                  <a:pt x="1546778" y="1141299"/>
                </a:lnTo>
                <a:cubicBezTo>
                  <a:pt x="1546675" y="1148424"/>
                  <a:pt x="1548947" y="1155549"/>
                  <a:pt x="1544197" y="1160196"/>
                </a:cubicBezTo>
                <a:cubicBezTo>
                  <a:pt x="1542855" y="1154155"/>
                  <a:pt x="1537175" y="1146255"/>
                  <a:pt x="1537898" y="1140679"/>
                </a:cubicBezTo>
                <a:cubicBezTo>
                  <a:pt x="1538105" y="1138975"/>
                  <a:pt x="1538931" y="1137581"/>
                  <a:pt x="1540583" y="1136497"/>
                </a:cubicBezTo>
                <a:lnTo>
                  <a:pt x="1547811" y="1134328"/>
                </a:lnTo>
                <a:lnTo>
                  <a:pt x="1545333" y="1131075"/>
                </a:lnTo>
                <a:cubicBezTo>
                  <a:pt x="1546262" y="1128287"/>
                  <a:pt x="1549360" y="1126583"/>
                  <a:pt x="1552871" y="1125809"/>
                </a:cubicBezTo>
                <a:close/>
                <a:moveTo>
                  <a:pt x="1434745" y="1125654"/>
                </a:moveTo>
                <a:cubicBezTo>
                  <a:pt x="1439392" y="1129371"/>
                  <a:pt x="1444865" y="1129062"/>
                  <a:pt x="1449718" y="1128752"/>
                </a:cubicBezTo>
                <a:lnTo>
                  <a:pt x="1454777" y="1128907"/>
                </a:lnTo>
                <a:lnTo>
                  <a:pt x="1456326" y="1128752"/>
                </a:lnTo>
                <a:lnTo>
                  <a:pt x="1456429" y="1128907"/>
                </a:lnTo>
                <a:lnTo>
                  <a:pt x="1456739" y="1128907"/>
                </a:lnTo>
                <a:cubicBezTo>
                  <a:pt x="1458907" y="1129371"/>
                  <a:pt x="1460766" y="1130456"/>
                  <a:pt x="1462315" y="1132624"/>
                </a:cubicBezTo>
                <a:lnTo>
                  <a:pt x="1457049" y="1133864"/>
                </a:lnTo>
                <a:lnTo>
                  <a:pt x="1456636" y="1135412"/>
                </a:lnTo>
                <a:cubicBezTo>
                  <a:pt x="1455500" y="1137581"/>
                  <a:pt x="1453125" y="1139285"/>
                  <a:pt x="1450131" y="1138975"/>
                </a:cubicBezTo>
                <a:lnTo>
                  <a:pt x="1448892" y="1135877"/>
                </a:lnTo>
                <a:lnTo>
                  <a:pt x="1443212" y="1136032"/>
                </a:lnTo>
                <a:cubicBezTo>
                  <a:pt x="1440734" y="1135722"/>
                  <a:pt x="1438050" y="1135102"/>
                  <a:pt x="1435159" y="1133864"/>
                </a:cubicBezTo>
                <a:cubicBezTo>
                  <a:pt x="1434849" y="1131850"/>
                  <a:pt x="1432887" y="1129526"/>
                  <a:pt x="1433403" y="1127513"/>
                </a:cubicBezTo>
                <a:cubicBezTo>
                  <a:pt x="1433506" y="1126893"/>
                  <a:pt x="1433919" y="1126274"/>
                  <a:pt x="1434745" y="1125654"/>
                </a:cubicBezTo>
                <a:close/>
                <a:moveTo>
                  <a:pt x="1482243" y="1125344"/>
                </a:moveTo>
                <a:cubicBezTo>
                  <a:pt x="1482656" y="1125189"/>
                  <a:pt x="1483276" y="1125344"/>
                  <a:pt x="1484102" y="1125809"/>
                </a:cubicBezTo>
                <a:cubicBezTo>
                  <a:pt x="1486787" y="1127203"/>
                  <a:pt x="1490710" y="1130920"/>
                  <a:pt x="1491227" y="1131230"/>
                </a:cubicBezTo>
                <a:cubicBezTo>
                  <a:pt x="1491227" y="1131230"/>
                  <a:pt x="1491949" y="1131695"/>
                  <a:pt x="1492775" y="1132160"/>
                </a:cubicBezTo>
                <a:cubicBezTo>
                  <a:pt x="1493085" y="1133398"/>
                  <a:pt x="1492672" y="1134018"/>
                  <a:pt x="1493395" y="1134483"/>
                </a:cubicBezTo>
                <a:cubicBezTo>
                  <a:pt x="1491639" y="1134793"/>
                  <a:pt x="1490297" y="1134328"/>
                  <a:pt x="1489161" y="1133709"/>
                </a:cubicBezTo>
                <a:lnTo>
                  <a:pt x="1486167" y="1130920"/>
                </a:lnTo>
                <a:lnTo>
                  <a:pt x="1484722" y="1131695"/>
                </a:lnTo>
                <a:cubicBezTo>
                  <a:pt x="1483792" y="1132160"/>
                  <a:pt x="1482863" y="1132160"/>
                  <a:pt x="1481624" y="1131850"/>
                </a:cubicBezTo>
                <a:cubicBezTo>
                  <a:pt x="1482553" y="1130920"/>
                  <a:pt x="1483482" y="1130146"/>
                  <a:pt x="1484515" y="1129836"/>
                </a:cubicBezTo>
                <a:lnTo>
                  <a:pt x="1485341" y="1129836"/>
                </a:lnTo>
                <a:lnTo>
                  <a:pt x="1484618" y="1129062"/>
                </a:lnTo>
                <a:cubicBezTo>
                  <a:pt x="1483999" y="1128752"/>
                  <a:pt x="1483379" y="1128597"/>
                  <a:pt x="1482450" y="1128442"/>
                </a:cubicBezTo>
                <a:cubicBezTo>
                  <a:pt x="1482450" y="1128442"/>
                  <a:pt x="1482450" y="1128442"/>
                  <a:pt x="1481727" y="1126119"/>
                </a:cubicBezTo>
                <a:close/>
                <a:moveTo>
                  <a:pt x="4952619" y="1124351"/>
                </a:moveTo>
                <a:cubicBezTo>
                  <a:pt x="4964357" y="1122928"/>
                  <a:pt x="4968625" y="1137440"/>
                  <a:pt x="4962436" y="1142277"/>
                </a:cubicBezTo>
                <a:cubicBezTo>
                  <a:pt x="4960515" y="1143842"/>
                  <a:pt x="4957314" y="1144411"/>
                  <a:pt x="4952832" y="1142846"/>
                </a:cubicBezTo>
                <a:cubicBezTo>
                  <a:pt x="4953472" y="1134452"/>
                  <a:pt x="4948777" y="1130469"/>
                  <a:pt x="4952619" y="1124351"/>
                </a:cubicBezTo>
                <a:close/>
                <a:moveTo>
                  <a:pt x="4786364" y="1123355"/>
                </a:moveTo>
                <a:cubicBezTo>
                  <a:pt x="4790633" y="1134594"/>
                  <a:pt x="4783164" y="1150386"/>
                  <a:pt x="4775480" y="1154370"/>
                </a:cubicBezTo>
                <a:cubicBezTo>
                  <a:pt x="4771212" y="1143273"/>
                  <a:pt x="4779962" y="1129046"/>
                  <a:pt x="4786364" y="1123355"/>
                </a:cubicBezTo>
                <a:close/>
                <a:moveTo>
                  <a:pt x="1513530" y="1122711"/>
                </a:moveTo>
                <a:cubicBezTo>
                  <a:pt x="1519829" y="1120697"/>
                  <a:pt x="1527676" y="1122091"/>
                  <a:pt x="1531290" y="1125344"/>
                </a:cubicBezTo>
                <a:cubicBezTo>
                  <a:pt x="1525198" y="1131385"/>
                  <a:pt x="1513530" y="1128907"/>
                  <a:pt x="1508058" y="1125964"/>
                </a:cubicBezTo>
                <a:cubicBezTo>
                  <a:pt x="1509503" y="1124415"/>
                  <a:pt x="1511465" y="1123331"/>
                  <a:pt x="1513530" y="1122711"/>
                </a:cubicBezTo>
                <a:close/>
                <a:moveTo>
                  <a:pt x="4808561" y="1121648"/>
                </a:moveTo>
                <a:cubicBezTo>
                  <a:pt x="4809841" y="1121791"/>
                  <a:pt x="4811121" y="1122644"/>
                  <a:pt x="4812402" y="1123782"/>
                </a:cubicBezTo>
                <a:cubicBezTo>
                  <a:pt x="4814963" y="1125916"/>
                  <a:pt x="4814322" y="1128335"/>
                  <a:pt x="4814322" y="1128335"/>
                </a:cubicBezTo>
                <a:cubicBezTo>
                  <a:pt x="4812402" y="1132033"/>
                  <a:pt x="4809201" y="1133457"/>
                  <a:pt x="4805359" y="1131322"/>
                </a:cubicBezTo>
                <a:cubicBezTo>
                  <a:pt x="4803865" y="1129046"/>
                  <a:pt x="4804719" y="1126485"/>
                  <a:pt x="4805359" y="1124067"/>
                </a:cubicBezTo>
                <a:cubicBezTo>
                  <a:pt x="4806426" y="1122217"/>
                  <a:pt x="4807493" y="1121648"/>
                  <a:pt x="4808561" y="1121648"/>
                </a:cubicBezTo>
                <a:close/>
                <a:moveTo>
                  <a:pt x="3308433" y="1121363"/>
                </a:moveTo>
                <a:lnTo>
                  <a:pt x="3305232" y="1121933"/>
                </a:lnTo>
                <a:lnTo>
                  <a:pt x="3309287" y="1124778"/>
                </a:lnTo>
                <a:close/>
                <a:moveTo>
                  <a:pt x="1492053" y="1121007"/>
                </a:moveTo>
                <a:cubicBezTo>
                  <a:pt x="1493189" y="1122246"/>
                  <a:pt x="1494324" y="1123640"/>
                  <a:pt x="1493601" y="1125189"/>
                </a:cubicBezTo>
                <a:cubicBezTo>
                  <a:pt x="1493395" y="1125809"/>
                  <a:pt x="1492982" y="1126428"/>
                  <a:pt x="1492259" y="1126893"/>
                </a:cubicBezTo>
                <a:cubicBezTo>
                  <a:pt x="1492259" y="1126893"/>
                  <a:pt x="1492259" y="1126893"/>
                  <a:pt x="1491330" y="1126893"/>
                </a:cubicBezTo>
                <a:cubicBezTo>
                  <a:pt x="1489678" y="1126893"/>
                  <a:pt x="1488852" y="1126893"/>
                  <a:pt x="1487923" y="1126893"/>
                </a:cubicBezTo>
                <a:cubicBezTo>
                  <a:pt x="1487612" y="1126428"/>
                  <a:pt x="1487096" y="1125499"/>
                  <a:pt x="1486683" y="1124724"/>
                </a:cubicBezTo>
                <a:cubicBezTo>
                  <a:pt x="1486374" y="1123795"/>
                  <a:pt x="1486270" y="1123020"/>
                  <a:pt x="1486787" y="1122556"/>
                </a:cubicBezTo>
                <a:cubicBezTo>
                  <a:pt x="1488748" y="1121007"/>
                  <a:pt x="1491330" y="1120232"/>
                  <a:pt x="1492053" y="1121007"/>
                </a:cubicBezTo>
                <a:close/>
                <a:moveTo>
                  <a:pt x="3800792" y="1120083"/>
                </a:moveTo>
                <a:cubicBezTo>
                  <a:pt x="3802286" y="1120794"/>
                  <a:pt x="3804847" y="1121363"/>
                  <a:pt x="3806768" y="1123355"/>
                </a:cubicBezTo>
                <a:cubicBezTo>
                  <a:pt x="3807622" y="1129473"/>
                  <a:pt x="3804847" y="1132603"/>
                  <a:pt x="3800579" y="1133883"/>
                </a:cubicBezTo>
                <a:cubicBezTo>
                  <a:pt x="3794389" y="1130469"/>
                  <a:pt x="3795243" y="1121506"/>
                  <a:pt x="3800792" y="1120083"/>
                </a:cubicBezTo>
                <a:close/>
                <a:moveTo>
                  <a:pt x="3470632" y="1120083"/>
                </a:moveTo>
                <a:cubicBezTo>
                  <a:pt x="3473620" y="1124920"/>
                  <a:pt x="3477248" y="1129188"/>
                  <a:pt x="3479809" y="1134452"/>
                </a:cubicBezTo>
                <a:cubicBezTo>
                  <a:pt x="3482156" y="1139716"/>
                  <a:pt x="3483864" y="1145976"/>
                  <a:pt x="3482797" y="1154370"/>
                </a:cubicBezTo>
                <a:cubicBezTo>
                  <a:pt x="3481090" y="1155224"/>
                  <a:pt x="3479382" y="1157073"/>
                  <a:pt x="3477675" y="1158353"/>
                </a:cubicBezTo>
                <a:lnTo>
                  <a:pt x="3475327" y="1159349"/>
                </a:lnTo>
                <a:lnTo>
                  <a:pt x="3474473" y="1160203"/>
                </a:lnTo>
                <a:cubicBezTo>
                  <a:pt x="3473193" y="1161056"/>
                  <a:pt x="3471912" y="1161341"/>
                  <a:pt x="3469778" y="1160772"/>
                </a:cubicBezTo>
                <a:cubicBezTo>
                  <a:pt x="3469778" y="1160203"/>
                  <a:pt x="3470419" y="1159349"/>
                  <a:pt x="3471272" y="1158353"/>
                </a:cubicBezTo>
                <a:lnTo>
                  <a:pt x="3472126" y="1157500"/>
                </a:lnTo>
                <a:lnTo>
                  <a:pt x="3473407" y="1152805"/>
                </a:lnTo>
                <a:cubicBezTo>
                  <a:pt x="3474473" y="1140428"/>
                  <a:pt x="3462309" y="1130184"/>
                  <a:pt x="3470632" y="1120083"/>
                </a:cubicBezTo>
                <a:close/>
                <a:moveTo>
                  <a:pt x="1535730" y="1119767"/>
                </a:moveTo>
                <a:cubicBezTo>
                  <a:pt x="1536866" y="1118374"/>
                  <a:pt x="1546159" y="1120232"/>
                  <a:pt x="1544197" y="1123795"/>
                </a:cubicBezTo>
                <a:cubicBezTo>
                  <a:pt x="1541822" y="1126583"/>
                  <a:pt x="1535730" y="1121627"/>
                  <a:pt x="1535730" y="1119767"/>
                </a:cubicBezTo>
                <a:close/>
                <a:moveTo>
                  <a:pt x="1412029" y="1119767"/>
                </a:moveTo>
                <a:cubicBezTo>
                  <a:pt x="1413268" y="1119458"/>
                  <a:pt x="1414817" y="1120542"/>
                  <a:pt x="1415643" y="1121007"/>
                </a:cubicBezTo>
                <a:cubicBezTo>
                  <a:pt x="1415230" y="1121781"/>
                  <a:pt x="1415953" y="1122246"/>
                  <a:pt x="1415540" y="1123020"/>
                </a:cubicBezTo>
                <a:cubicBezTo>
                  <a:pt x="1415333" y="1124879"/>
                  <a:pt x="1415333" y="1124879"/>
                  <a:pt x="1414198" y="1125034"/>
                </a:cubicBezTo>
                <a:cubicBezTo>
                  <a:pt x="1412959" y="1125344"/>
                  <a:pt x="1410996" y="1123020"/>
                  <a:pt x="1409758" y="1123331"/>
                </a:cubicBezTo>
                <a:cubicBezTo>
                  <a:pt x="1409758" y="1123331"/>
                  <a:pt x="1409758" y="1123331"/>
                  <a:pt x="1409861" y="1121317"/>
                </a:cubicBezTo>
                <a:cubicBezTo>
                  <a:pt x="1410377" y="1120697"/>
                  <a:pt x="1410790" y="1119923"/>
                  <a:pt x="1412029" y="1119767"/>
                </a:cubicBezTo>
                <a:close/>
                <a:moveTo>
                  <a:pt x="1178360" y="1119458"/>
                </a:moveTo>
                <a:cubicBezTo>
                  <a:pt x="1179496" y="1119148"/>
                  <a:pt x="1179496" y="1119303"/>
                  <a:pt x="1180219" y="1119767"/>
                </a:cubicBezTo>
                <a:cubicBezTo>
                  <a:pt x="1180632" y="1120852"/>
                  <a:pt x="1180116" y="1121471"/>
                  <a:pt x="1180425" y="1122711"/>
                </a:cubicBezTo>
                <a:cubicBezTo>
                  <a:pt x="1182800" y="1122246"/>
                  <a:pt x="1182077" y="1121936"/>
                  <a:pt x="1182387" y="1123020"/>
                </a:cubicBezTo>
                <a:cubicBezTo>
                  <a:pt x="1182387" y="1123020"/>
                  <a:pt x="1182387" y="1123020"/>
                  <a:pt x="1182697" y="1124260"/>
                </a:cubicBezTo>
                <a:cubicBezTo>
                  <a:pt x="1182697" y="1124260"/>
                  <a:pt x="1183420" y="1124570"/>
                  <a:pt x="1180632" y="1125654"/>
                </a:cubicBezTo>
                <a:cubicBezTo>
                  <a:pt x="1180322" y="1124570"/>
                  <a:pt x="1179393" y="1121162"/>
                  <a:pt x="1179393" y="1121162"/>
                </a:cubicBezTo>
                <a:cubicBezTo>
                  <a:pt x="1178670" y="1120542"/>
                  <a:pt x="1178670" y="1120542"/>
                  <a:pt x="1178360" y="1119458"/>
                </a:cubicBezTo>
                <a:close/>
                <a:moveTo>
                  <a:pt x="4503156" y="1119087"/>
                </a:moveTo>
                <a:cubicBezTo>
                  <a:pt x="4505291" y="1120794"/>
                  <a:pt x="4507639" y="1121363"/>
                  <a:pt x="4510839" y="1123355"/>
                </a:cubicBezTo>
                <a:cubicBezTo>
                  <a:pt x="4510413" y="1126770"/>
                  <a:pt x="4505931" y="1133029"/>
                  <a:pt x="4500168" y="1132887"/>
                </a:cubicBezTo>
                <a:cubicBezTo>
                  <a:pt x="4495047" y="1126912"/>
                  <a:pt x="4496754" y="1122501"/>
                  <a:pt x="4503156" y="1119087"/>
                </a:cubicBezTo>
                <a:close/>
                <a:moveTo>
                  <a:pt x="4444253" y="1118945"/>
                </a:moveTo>
                <a:cubicBezTo>
                  <a:pt x="4447241" y="1122644"/>
                  <a:pt x="4444680" y="1125063"/>
                  <a:pt x="4441905" y="1129900"/>
                </a:cubicBezTo>
                <a:cubicBezTo>
                  <a:pt x="4440838" y="1128619"/>
                  <a:pt x="4436997" y="1132176"/>
                  <a:pt x="4435716" y="1133457"/>
                </a:cubicBezTo>
                <a:cubicBezTo>
                  <a:pt x="4433582" y="1130895"/>
                  <a:pt x="4428673" y="1134594"/>
                  <a:pt x="4425685" y="1130895"/>
                </a:cubicBezTo>
                <a:cubicBezTo>
                  <a:pt x="4425899" y="1128477"/>
                  <a:pt x="4425899" y="1127196"/>
                  <a:pt x="4427393" y="1124778"/>
                </a:cubicBezTo>
                <a:cubicBezTo>
                  <a:pt x="4437423" y="1116384"/>
                  <a:pt x="4442972" y="1120083"/>
                  <a:pt x="4444253" y="1118945"/>
                </a:cubicBezTo>
                <a:close/>
                <a:moveTo>
                  <a:pt x="1175882" y="1118064"/>
                </a:moveTo>
                <a:cubicBezTo>
                  <a:pt x="1176192" y="1119148"/>
                  <a:pt x="1176501" y="1122246"/>
                  <a:pt x="1173714" y="1123176"/>
                </a:cubicBezTo>
                <a:cubicBezTo>
                  <a:pt x="1170823" y="1124260"/>
                  <a:pt x="1170306" y="1126738"/>
                  <a:pt x="1167518" y="1127667"/>
                </a:cubicBezTo>
                <a:cubicBezTo>
                  <a:pt x="1167518" y="1127667"/>
                  <a:pt x="1167518" y="1127667"/>
                  <a:pt x="1167208" y="1126583"/>
                </a:cubicBezTo>
                <a:cubicBezTo>
                  <a:pt x="1170823" y="1124260"/>
                  <a:pt x="1171442" y="1119923"/>
                  <a:pt x="1175882" y="1118064"/>
                </a:cubicBezTo>
                <a:close/>
                <a:moveTo>
                  <a:pt x="3875489" y="1117949"/>
                </a:moveTo>
                <a:cubicBezTo>
                  <a:pt x="3878691" y="1117096"/>
                  <a:pt x="3879971" y="1119372"/>
                  <a:pt x="3880184" y="1120937"/>
                </a:cubicBezTo>
                <a:cubicBezTo>
                  <a:pt x="3881251" y="1122501"/>
                  <a:pt x="3881038" y="1124209"/>
                  <a:pt x="3880398" y="1125916"/>
                </a:cubicBezTo>
                <a:cubicBezTo>
                  <a:pt x="3879544" y="1127765"/>
                  <a:pt x="3878050" y="1129473"/>
                  <a:pt x="3876556" y="1130753"/>
                </a:cubicBezTo>
                <a:cubicBezTo>
                  <a:pt x="3877410" y="1129615"/>
                  <a:pt x="3877410" y="1129615"/>
                  <a:pt x="3877410" y="1129615"/>
                </a:cubicBezTo>
                <a:cubicBezTo>
                  <a:pt x="3877197" y="1127908"/>
                  <a:pt x="3876343" y="1129046"/>
                  <a:pt x="3875489" y="1128335"/>
                </a:cubicBezTo>
                <a:cubicBezTo>
                  <a:pt x="3875489" y="1128335"/>
                  <a:pt x="3876343" y="1129046"/>
                  <a:pt x="3874849" y="1129473"/>
                </a:cubicBezTo>
                <a:cubicBezTo>
                  <a:pt x="3875489" y="1128335"/>
                  <a:pt x="3874422" y="1127765"/>
                  <a:pt x="3873568" y="1127196"/>
                </a:cubicBezTo>
                <a:cubicBezTo>
                  <a:pt x="3872928" y="1123924"/>
                  <a:pt x="3873141" y="1119514"/>
                  <a:pt x="3875489" y="1117949"/>
                </a:cubicBezTo>
                <a:close/>
                <a:moveTo>
                  <a:pt x="1072936" y="1117599"/>
                </a:moveTo>
                <a:cubicBezTo>
                  <a:pt x="1075620" y="1118993"/>
                  <a:pt x="1076653" y="1121317"/>
                  <a:pt x="1075104" y="1124105"/>
                </a:cubicBezTo>
                <a:cubicBezTo>
                  <a:pt x="1073452" y="1125189"/>
                  <a:pt x="1071594" y="1124570"/>
                  <a:pt x="1069838" y="1123950"/>
                </a:cubicBezTo>
                <a:cubicBezTo>
                  <a:pt x="1068496" y="1123331"/>
                  <a:pt x="1068083" y="1122556"/>
                  <a:pt x="1068083" y="1121781"/>
                </a:cubicBezTo>
                <a:cubicBezTo>
                  <a:pt x="1068186" y="1120852"/>
                  <a:pt x="1068805" y="1119923"/>
                  <a:pt x="1069631" y="1118993"/>
                </a:cubicBezTo>
                <a:cubicBezTo>
                  <a:pt x="1071284" y="1116980"/>
                  <a:pt x="1072936" y="1117599"/>
                  <a:pt x="1072936" y="1117599"/>
                </a:cubicBezTo>
                <a:close/>
                <a:moveTo>
                  <a:pt x="1471092" y="1117444"/>
                </a:moveTo>
                <a:cubicBezTo>
                  <a:pt x="1471298" y="1119303"/>
                  <a:pt x="1471401" y="1121007"/>
                  <a:pt x="1471608" y="1122866"/>
                </a:cubicBezTo>
                <a:cubicBezTo>
                  <a:pt x="1471092" y="1122246"/>
                  <a:pt x="1465309" y="1127048"/>
                  <a:pt x="1465309" y="1127048"/>
                </a:cubicBezTo>
                <a:cubicBezTo>
                  <a:pt x="1462934" y="1126428"/>
                  <a:pt x="1462934" y="1126428"/>
                  <a:pt x="1463141" y="1123485"/>
                </a:cubicBezTo>
                <a:cubicBezTo>
                  <a:pt x="1463451" y="1122401"/>
                  <a:pt x="1464587" y="1120852"/>
                  <a:pt x="1466135" y="1119613"/>
                </a:cubicBezTo>
                <a:cubicBezTo>
                  <a:pt x="1467684" y="1118219"/>
                  <a:pt x="1469543" y="1117289"/>
                  <a:pt x="1471092" y="1117444"/>
                </a:cubicBezTo>
                <a:close/>
                <a:moveTo>
                  <a:pt x="933230" y="1115431"/>
                </a:moveTo>
                <a:cubicBezTo>
                  <a:pt x="934366" y="1115121"/>
                  <a:pt x="935605" y="1115586"/>
                  <a:pt x="936844" y="1116825"/>
                </a:cubicBezTo>
                <a:cubicBezTo>
                  <a:pt x="937773" y="1117754"/>
                  <a:pt x="938599" y="1118683"/>
                  <a:pt x="937773" y="1118683"/>
                </a:cubicBezTo>
                <a:cubicBezTo>
                  <a:pt x="937670" y="1119458"/>
                  <a:pt x="936844" y="1119303"/>
                  <a:pt x="936018" y="1120077"/>
                </a:cubicBezTo>
                <a:cubicBezTo>
                  <a:pt x="934263" y="1120852"/>
                  <a:pt x="931785" y="1120542"/>
                  <a:pt x="930855" y="1119613"/>
                </a:cubicBezTo>
                <a:cubicBezTo>
                  <a:pt x="930029" y="1118683"/>
                  <a:pt x="930029" y="1117909"/>
                  <a:pt x="930029" y="1117909"/>
                </a:cubicBezTo>
                <a:cubicBezTo>
                  <a:pt x="930958" y="1116670"/>
                  <a:pt x="931991" y="1115741"/>
                  <a:pt x="933230" y="1115431"/>
                </a:cubicBezTo>
                <a:close/>
                <a:moveTo>
                  <a:pt x="4176838" y="1114107"/>
                </a:moveTo>
                <a:cubicBezTo>
                  <a:pt x="4177478" y="1114392"/>
                  <a:pt x="4177905" y="1114819"/>
                  <a:pt x="4178331" y="1115531"/>
                </a:cubicBezTo>
                <a:cubicBezTo>
                  <a:pt x="4180466" y="1118661"/>
                  <a:pt x="4180252" y="1125916"/>
                  <a:pt x="4175771" y="1125347"/>
                </a:cubicBezTo>
                <a:lnTo>
                  <a:pt x="4174917" y="1124778"/>
                </a:lnTo>
                <a:lnTo>
                  <a:pt x="4174277" y="1125063"/>
                </a:lnTo>
                <a:cubicBezTo>
                  <a:pt x="4172996" y="1125205"/>
                  <a:pt x="4171502" y="1124920"/>
                  <a:pt x="4170435" y="1125063"/>
                </a:cubicBezTo>
                <a:cubicBezTo>
                  <a:pt x="4169581" y="1127481"/>
                  <a:pt x="4165527" y="1122928"/>
                  <a:pt x="4164673" y="1125347"/>
                </a:cubicBezTo>
                <a:cubicBezTo>
                  <a:pt x="4160831" y="1121933"/>
                  <a:pt x="4157203" y="1124636"/>
                  <a:pt x="4151868" y="1123782"/>
                </a:cubicBezTo>
                <a:lnTo>
                  <a:pt x="4150801" y="1123355"/>
                </a:lnTo>
                <a:lnTo>
                  <a:pt x="4149947" y="1125063"/>
                </a:lnTo>
                <a:cubicBezTo>
                  <a:pt x="4148880" y="1125774"/>
                  <a:pt x="4148026" y="1126485"/>
                  <a:pt x="4148666" y="1127623"/>
                </a:cubicBezTo>
                <a:cubicBezTo>
                  <a:pt x="4142691" y="1129330"/>
                  <a:pt x="4145465" y="1137582"/>
                  <a:pt x="4136928" y="1141850"/>
                </a:cubicBezTo>
                <a:cubicBezTo>
                  <a:pt x="4137355" y="1138721"/>
                  <a:pt x="4137995" y="1136159"/>
                  <a:pt x="4139062" y="1133883"/>
                </a:cubicBezTo>
                <a:cubicBezTo>
                  <a:pt x="4141837" y="1127054"/>
                  <a:pt x="4146318" y="1122928"/>
                  <a:pt x="4146746" y="1117379"/>
                </a:cubicBezTo>
                <a:cubicBezTo>
                  <a:pt x="4146746" y="1117379"/>
                  <a:pt x="4146959" y="1117379"/>
                  <a:pt x="4149947" y="1116526"/>
                </a:cubicBezTo>
                <a:cubicBezTo>
                  <a:pt x="4150374" y="1115388"/>
                  <a:pt x="4150374" y="1115531"/>
                  <a:pt x="4150374" y="1115531"/>
                </a:cubicBezTo>
                <a:cubicBezTo>
                  <a:pt x="4150587" y="1114961"/>
                  <a:pt x="4151227" y="1114961"/>
                  <a:pt x="4151868" y="1115104"/>
                </a:cubicBezTo>
                <a:cubicBezTo>
                  <a:pt x="4152508" y="1115246"/>
                  <a:pt x="4152935" y="1115673"/>
                  <a:pt x="4152935" y="1115673"/>
                </a:cubicBezTo>
                <a:cubicBezTo>
                  <a:pt x="4153789" y="1116811"/>
                  <a:pt x="4153575" y="1117949"/>
                  <a:pt x="4152935" y="1119087"/>
                </a:cubicBezTo>
                <a:lnTo>
                  <a:pt x="4152508" y="1119941"/>
                </a:lnTo>
                <a:lnTo>
                  <a:pt x="4153575" y="1119799"/>
                </a:lnTo>
                <a:cubicBezTo>
                  <a:pt x="4157203" y="1119372"/>
                  <a:pt x="4160618" y="1119656"/>
                  <a:pt x="4163606" y="1119799"/>
                </a:cubicBezTo>
                <a:lnTo>
                  <a:pt x="4171289" y="1118802"/>
                </a:lnTo>
                <a:lnTo>
                  <a:pt x="4172356" y="1116669"/>
                </a:lnTo>
                <a:cubicBezTo>
                  <a:pt x="4173210" y="1115388"/>
                  <a:pt x="4174063" y="1114677"/>
                  <a:pt x="4174917" y="1114392"/>
                </a:cubicBezTo>
                <a:cubicBezTo>
                  <a:pt x="4175557" y="1113966"/>
                  <a:pt x="4176198" y="1113966"/>
                  <a:pt x="4176838" y="1114107"/>
                </a:cubicBezTo>
                <a:close/>
                <a:moveTo>
                  <a:pt x="1260965" y="1113882"/>
                </a:moveTo>
                <a:cubicBezTo>
                  <a:pt x="1261585" y="1116205"/>
                  <a:pt x="1261378" y="1118219"/>
                  <a:pt x="1259313" y="1119767"/>
                </a:cubicBezTo>
                <a:cubicBezTo>
                  <a:pt x="1259210" y="1118219"/>
                  <a:pt x="1259107" y="1117134"/>
                  <a:pt x="1259313" y="1116205"/>
                </a:cubicBezTo>
                <a:cubicBezTo>
                  <a:pt x="1259520" y="1115431"/>
                  <a:pt x="1259933" y="1114656"/>
                  <a:pt x="1260965" y="1113882"/>
                </a:cubicBezTo>
                <a:close/>
                <a:moveTo>
                  <a:pt x="4123696" y="1113681"/>
                </a:moveTo>
                <a:cubicBezTo>
                  <a:pt x="4125404" y="1125632"/>
                  <a:pt x="4103635" y="1142562"/>
                  <a:pt x="4093604" y="1133314"/>
                </a:cubicBezTo>
                <a:cubicBezTo>
                  <a:pt x="4105129" y="1127338"/>
                  <a:pt x="4109184" y="1117664"/>
                  <a:pt x="4123696" y="1113681"/>
                </a:cubicBezTo>
                <a:close/>
                <a:moveTo>
                  <a:pt x="1550908" y="1113572"/>
                </a:moveTo>
                <a:cubicBezTo>
                  <a:pt x="1550908" y="1113572"/>
                  <a:pt x="1550805" y="1113572"/>
                  <a:pt x="1551218" y="1114192"/>
                </a:cubicBezTo>
                <a:cubicBezTo>
                  <a:pt x="1551218" y="1114192"/>
                  <a:pt x="1550599" y="1114656"/>
                  <a:pt x="1549463" y="1114346"/>
                </a:cubicBezTo>
                <a:cubicBezTo>
                  <a:pt x="1549463" y="1114346"/>
                  <a:pt x="1549566" y="1114037"/>
                  <a:pt x="1549773" y="1113727"/>
                </a:cubicBezTo>
                <a:cubicBezTo>
                  <a:pt x="1549979" y="1113572"/>
                  <a:pt x="1550289" y="1113417"/>
                  <a:pt x="1550908" y="1113572"/>
                </a:cubicBezTo>
                <a:close/>
                <a:moveTo>
                  <a:pt x="4460899" y="1113254"/>
                </a:moveTo>
                <a:cubicBezTo>
                  <a:pt x="4460686" y="1114534"/>
                  <a:pt x="4461753" y="1115815"/>
                  <a:pt x="4461540" y="1116953"/>
                </a:cubicBezTo>
                <a:cubicBezTo>
                  <a:pt x="4458979" y="1119372"/>
                  <a:pt x="4455777" y="1116811"/>
                  <a:pt x="4455991" y="1115673"/>
                </a:cubicBezTo>
                <a:cubicBezTo>
                  <a:pt x="4457271" y="1114392"/>
                  <a:pt x="4459619" y="1114392"/>
                  <a:pt x="4460899" y="1113254"/>
                </a:cubicBezTo>
                <a:close/>
                <a:moveTo>
                  <a:pt x="1431544" y="1113107"/>
                </a:moveTo>
                <a:cubicBezTo>
                  <a:pt x="1432474" y="1115431"/>
                  <a:pt x="1433816" y="1118529"/>
                  <a:pt x="1433713" y="1120387"/>
                </a:cubicBezTo>
                <a:cubicBezTo>
                  <a:pt x="1432267" y="1118993"/>
                  <a:pt x="1430202" y="1116205"/>
                  <a:pt x="1431132" y="1114192"/>
                </a:cubicBezTo>
                <a:cubicBezTo>
                  <a:pt x="1431132" y="1114192"/>
                  <a:pt x="1431132" y="1114037"/>
                  <a:pt x="1431544" y="1113107"/>
                </a:cubicBezTo>
                <a:close/>
                <a:moveTo>
                  <a:pt x="1190854" y="1113107"/>
                </a:moveTo>
                <a:cubicBezTo>
                  <a:pt x="1193229" y="1112798"/>
                  <a:pt x="1196017" y="1111713"/>
                  <a:pt x="1197153" y="1113417"/>
                </a:cubicBezTo>
                <a:cubicBezTo>
                  <a:pt x="1199425" y="1119613"/>
                  <a:pt x="1188686" y="1123176"/>
                  <a:pt x="1186621" y="1124724"/>
                </a:cubicBezTo>
                <a:cubicBezTo>
                  <a:pt x="1186621" y="1124724"/>
                  <a:pt x="1186207" y="1125344"/>
                  <a:pt x="1184968" y="1125654"/>
                </a:cubicBezTo>
                <a:cubicBezTo>
                  <a:pt x="1183317" y="1126428"/>
                  <a:pt x="1183936" y="1123950"/>
                  <a:pt x="1182697" y="1124260"/>
                </a:cubicBezTo>
                <a:cubicBezTo>
                  <a:pt x="1187653" y="1119767"/>
                  <a:pt x="1189202" y="1114037"/>
                  <a:pt x="1189202" y="1114037"/>
                </a:cubicBezTo>
                <a:cubicBezTo>
                  <a:pt x="1190854" y="1113262"/>
                  <a:pt x="1191577" y="1113572"/>
                  <a:pt x="1190854" y="1113107"/>
                </a:cubicBezTo>
                <a:close/>
                <a:moveTo>
                  <a:pt x="1039687" y="1112642"/>
                </a:moveTo>
                <a:cubicBezTo>
                  <a:pt x="1045263" y="1108770"/>
                  <a:pt x="1048051" y="1115276"/>
                  <a:pt x="1046089" y="1118219"/>
                </a:cubicBezTo>
                <a:cubicBezTo>
                  <a:pt x="1042991" y="1119613"/>
                  <a:pt x="1040306" y="1117754"/>
                  <a:pt x="1039584" y="1115276"/>
                </a:cubicBezTo>
                <a:cubicBezTo>
                  <a:pt x="1039377" y="1114501"/>
                  <a:pt x="1039377" y="1113572"/>
                  <a:pt x="1039687" y="1112642"/>
                </a:cubicBezTo>
                <a:close/>
                <a:moveTo>
                  <a:pt x="1311974" y="1111094"/>
                </a:moveTo>
                <a:cubicBezTo>
                  <a:pt x="1312284" y="1112333"/>
                  <a:pt x="1312284" y="1114346"/>
                  <a:pt x="1311458" y="1116205"/>
                </a:cubicBezTo>
                <a:lnTo>
                  <a:pt x="1308257" y="1120232"/>
                </a:lnTo>
                <a:lnTo>
                  <a:pt x="1315071" y="1121162"/>
                </a:lnTo>
                <a:cubicBezTo>
                  <a:pt x="1317860" y="1122246"/>
                  <a:pt x="1320131" y="1123795"/>
                  <a:pt x="1321990" y="1125654"/>
                </a:cubicBezTo>
                <a:cubicBezTo>
                  <a:pt x="1328288" y="1132160"/>
                  <a:pt x="1329528" y="1142847"/>
                  <a:pt x="1324262" y="1152296"/>
                </a:cubicBezTo>
                <a:cubicBezTo>
                  <a:pt x="1323022" y="1152141"/>
                  <a:pt x="1321886" y="1152141"/>
                  <a:pt x="1321680" y="1153225"/>
                </a:cubicBezTo>
                <a:cubicBezTo>
                  <a:pt x="1309702" y="1153380"/>
                  <a:pt x="1300925" y="1141453"/>
                  <a:pt x="1301648" y="1130300"/>
                </a:cubicBezTo>
                <a:cubicBezTo>
                  <a:pt x="1301751" y="1128442"/>
                  <a:pt x="1302164" y="1126738"/>
                  <a:pt x="1302887" y="1124879"/>
                </a:cubicBezTo>
                <a:lnTo>
                  <a:pt x="1305675" y="1120232"/>
                </a:lnTo>
                <a:lnTo>
                  <a:pt x="1304539" y="1119613"/>
                </a:lnTo>
                <a:cubicBezTo>
                  <a:pt x="1302577" y="1117754"/>
                  <a:pt x="1303197" y="1114966"/>
                  <a:pt x="1305675" y="1111403"/>
                </a:cubicBezTo>
                <a:cubicBezTo>
                  <a:pt x="1307637" y="1111713"/>
                  <a:pt x="1309289" y="1111248"/>
                  <a:pt x="1311974" y="1111094"/>
                </a:cubicBezTo>
                <a:close/>
                <a:moveTo>
                  <a:pt x="993325" y="1109699"/>
                </a:moveTo>
                <a:cubicBezTo>
                  <a:pt x="1001586" y="1108615"/>
                  <a:pt x="1013770" y="1112333"/>
                  <a:pt x="1014493" y="1119458"/>
                </a:cubicBezTo>
                <a:cubicBezTo>
                  <a:pt x="1004683" y="1116050"/>
                  <a:pt x="997455" y="1118219"/>
                  <a:pt x="986923" y="1112488"/>
                </a:cubicBezTo>
                <a:cubicBezTo>
                  <a:pt x="988266" y="1110939"/>
                  <a:pt x="990640" y="1110009"/>
                  <a:pt x="993325" y="1109699"/>
                </a:cubicBezTo>
                <a:close/>
                <a:moveTo>
                  <a:pt x="4595354" y="1109555"/>
                </a:moveTo>
                <a:cubicBezTo>
                  <a:pt x="4595567" y="1111262"/>
                  <a:pt x="4598128" y="1111547"/>
                  <a:pt x="4598555" y="1113112"/>
                </a:cubicBezTo>
                <a:cubicBezTo>
                  <a:pt x="4598555" y="1113112"/>
                  <a:pt x="4598342" y="1114107"/>
                  <a:pt x="4597915" y="1115104"/>
                </a:cubicBezTo>
                <a:lnTo>
                  <a:pt x="4597488" y="1116953"/>
                </a:lnTo>
                <a:lnTo>
                  <a:pt x="4599409" y="1117949"/>
                </a:lnTo>
                <a:cubicBezTo>
                  <a:pt x="4601543" y="1118376"/>
                  <a:pt x="4603464" y="1116953"/>
                  <a:pt x="4604745" y="1120937"/>
                </a:cubicBezTo>
                <a:cubicBezTo>
                  <a:pt x="4604531" y="1123213"/>
                  <a:pt x="4603037" y="1125490"/>
                  <a:pt x="4599409" y="1127054"/>
                </a:cubicBezTo>
                <a:cubicBezTo>
                  <a:pt x="4596634" y="1125205"/>
                  <a:pt x="4595567" y="1123355"/>
                  <a:pt x="4595567" y="1121648"/>
                </a:cubicBezTo>
                <a:lnTo>
                  <a:pt x="4597062" y="1117096"/>
                </a:lnTo>
                <a:lnTo>
                  <a:pt x="4596207" y="1117238"/>
                </a:lnTo>
                <a:cubicBezTo>
                  <a:pt x="4595994" y="1117238"/>
                  <a:pt x="4596207" y="1116953"/>
                  <a:pt x="4596421" y="1116384"/>
                </a:cubicBezTo>
                <a:cubicBezTo>
                  <a:pt x="4593860" y="1116242"/>
                  <a:pt x="4592793" y="1115531"/>
                  <a:pt x="4591939" y="1114961"/>
                </a:cubicBezTo>
                <a:cubicBezTo>
                  <a:pt x="4591726" y="1113254"/>
                  <a:pt x="4593006" y="1111120"/>
                  <a:pt x="4595354" y="1109555"/>
                </a:cubicBezTo>
                <a:close/>
                <a:moveTo>
                  <a:pt x="3778810" y="1109555"/>
                </a:moveTo>
                <a:cubicBezTo>
                  <a:pt x="3779877" y="1109555"/>
                  <a:pt x="3780730" y="1110266"/>
                  <a:pt x="3781371" y="1111262"/>
                </a:cubicBezTo>
                <a:cubicBezTo>
                  <a:pt x="3782438" y="1113397"/>
                  <a:pt x="3782225" y="1116669"/>
                  <a:pt x="3779237" y="1117664"/>
                </a:cubicBezTo>
                <a:cubicBezTo>
                  <a:pt x="3778170" y="1116384"/>
                  <a:pt x="3776249" y="1114961"/>
                  <a:pt x="3775395" y="1112401"/>
                </a:cubicBezTo>
                <a:cubicBezTo>
                  <a:pt x="3776676" y="1110409"/>
                  <a:pt x="3777743" y="1109697"/>
                  <a:pt x="3778810" y="1109555"/>
                </a:cubicBezTo>
                <a:close/>
                <a:moveTo>
                  <a:pt x="3638807" y="1109128"/>
                </a:moveTo>
                <a:cubicBezTo>
                  <a:pt x="3640087" y="1115388"/>
                  <a:pt x="3641581" y="1126485"/>
                  <a:pt x="3630910" y="1129188"/>
                </a:cubicBezTo>
                <a:cubicBezTo>
                  <a:pt x="3629843" y="1127908"/>
                  <a:pt x="3628989" y="1126628"/>
                  <a:pt x="3628136" y="1125205"/>
                </a:cubicBezTo>
                <a:cubicBezTo>
                  <a:pt x="3633684" y="1119656"/>
                  <a:pt x="3634538" y="1113681"/>
                  <a:pt x="3638807" y="1109128"/>
                </a:cubicBezTo>
                <a:close/>
                <a:moveTo>
                  <a:pt x="1446103" y="1108615"/>
                </a:moveTo>
                <a:lnTo>
                  <a:pt x="1444865" y="1109544"/>
                </a:lnTo>
                <a:lnTo>
                  <a:pt x="1444761" y="1110319"/>
                </a:lnTo>
                <a:lnTo>
                  <a:pt x="1446310" y="1109080"/>
                </a:lnTo>
                <a:close/>
                <a:moveTo>
                  <a:pt x="1532632" y="1107996"/>
                </a:moveTo>
                <a:cubicBezTo>
                  <a:pt x="1532219" y="1109080"/>
                  <a:pt x="1533768" y="1110474"/>
                  <a:pt x="1533252" y="1111558"/>
                </a:cubicBezTo>
                <a:cubicBezTo>
                  <a:pt x="1533252" y="1111558"/>
                  <a:pt x="1531083" y="1113262"/>
                  <a:pt x="1531083" y="1113262"/>
                </a:cubicBezTo>
                <a:cubicBezTo>
                  <a:pt x="1529948" y="1112642"/>
                  <a:pt x="1529948" y="1112642"/>
                  <a:pt x="1530773" y="1112333"/>
                </a:cubicBezTo>
                <a:cubicBezTo>
                  <a:pt x="1529328" y="1110939"/>
                  <a:pt x="1528915" y="1110164"/>
                  <a:pt x="1528605" y="1109390"/>
                </a:cubicBezTo>
                <a:cubicBezTo>
                  <a:pt x="1529122" y="1108306"/>
                  <a:pt x="1530670" y="1107686"/>
                  <a:pt x="1532632" y="1107996"/>
                </a:cubicBezTo>
                <a:close/>
                <a:moveTo>
                  <a:pt x="4023175" y="1107990"/>
                </a:moveTo>
                <a:cubicBezTo>
                  <a:pt x="4025950" y="1109555"/>
                  <a:pt x="4028297" y="1110124"/>
                  <a:pt x="4031072" y="1111689"/>
                </a:cubicBezTo>
                <a:cubicBezTo>
                  <a:pt x="4033633" y="1118376"/>
                  <a:pt x="4030218" y="1122786"/>
                  <a:pt x="4025950" y="1123782"/>
                </a:cubicBezTo>
                <a:cubicBezTo>
                  <a:pt x="4021682" y="1124920"/>
                  <a:pt x="4016559" y="1122786"/>
                  <a:pt x="4015279" y="1116384"/>
                </a:cubicBezTo>
                <a:cubicBezTo>
                  <a:pt x="4018054" y="1111832"/>
                  <a:pt x="4021255" y="1109697"/>
                  <a:pt x="4023175" y="1107990"/>
                </a:cubicBezTo>
                <a:close/>
                <a:moveTo>
                  <a:pt x="3882532" y="1106710"/>
                </a:moveTo>
                <a:cubicBezTo>
                  <a:pt x="3883812" y="1106852"/>
                  <a:pt x="3884880" y="1107848"/>
                  <a:pt x="3886160" y="1109128"/>
                </a:cubicBezTo>
                <a:cubicBezTo>
                  <a:pt x="3888721" y="1111547"/>
                  <a:pt x="3887654" y="1113823"/>
                  <a:pt x="3887654" y="1113823"/>
                </a:cubicBezTo>
                <a:cubicBezTo>
                  <a:pt x="3885307" y="1117379"/>
                  <a:pt x="3881892" y="1118376"/>
                  <a:pt x="3878264" y="1115815"/>
                </a:cubicBezTo>
                <a:cubicBezTo>
                  <a:pt x="3876983" y="1113397"/>
                  <a:pt x="3878050" y="1110978"/>
                  <a:pt x="3879117" y="1108702"/>
                </a:cubicBezTo>
                <a:cubicBezTo>
                  <a:pt x="3880184" y="1106995"/>
                  <a:pt x="3881465" y="1106425"/>
                  <a:pt x="3882532" y="1106710"/>
                </a:cubicBezTo>
                <a:close/>
                <a:moveTo>
                  <a:pt x="3959790" y="1106568"/>
                </a:moveTo>
                <a:cubicBezTo>
                  <a:pt x="3968327" y="1117238"/>
                  <a:pt x="3957442" y="1133457"/>
                  <a:pt x="3950613" y="1140143"/>
                </a:cubicBezTo>
                <a:cubicBezTo>
                  <a:pt x="3951040" y="1134737"/>
                  <a:pt x="3951253" y="1129188"/>
                  <a:pt x="3952320" y="1123640"/>
                </a:cubicBezTo>
                <a:cubicBezTo>
                  <a:pt x="3953388" y="1117949"/>
                  <a:pt x="3955308" y="1112401"/>
                  <a:pt x="3959790" y="1106568"/>
                </a:cubicBezTo>
                <a:close/>
                <a:moveTo>
                  <a:pt x="1456326" y="1106292"/>
                </a:moveTo>
                <a:cubicBezTo>
                  <a:pt x="1457255" y="1106447"/>
                  <a:pt x="1458701" y="1107221"/>
                  <a:pt x="1459837" y="1108150"/>
                </a:cubicBezTo>
                <a:lnTo>
                  <a:pt x="1461592" y="1110629"/>
                </a:lnTo>
                <a:lnTo>
                  <a:pt x="1461902" y="1110319"/>
                </a:lnTo>
                <a:cubicBezTo>
                  <a:pt x="1463554" y="1109235"/>
                  <a:pt x="1465206" y="1108615"/>
                  <a:pt x="1466962" y="1108615"/>
                </a:cubicBezTo>
                <a:lnTo>
                  <a:pt x="1469646" y="1109699"/>
                </a:lnTo>
                <a:lnTo>
                  <a:pt x="1470369" y="1108150"/>
                </a:lnTo>
                <a:cubicBezTo>
                  <a:pt x="1472331" y="1106602"/>
                  <a:pt x="1476771" y="1107376"/>
                  <a:pt x="1485238" y="1112642"/>
                </a:cubicBezTo>
                <a:cubicBezTo>
                  <a:pt x="1482966" y="1130146"/>
                  <a:pt x="1472537" y="1121317"/>
                  <a:pt x="1469853" y="1113882"/>
                </a:cubicBezTo>
                <a:lnTo>
                  <a:pt x="1469543" y="1111868"/>
                </a:lnTo>
                <a:lnTo>
                  <a:pt x="1463657" y="1115276"/>
                </a:lnTo>
                <a:cubicBezTo>
                  <a:pt x="1460869" y="1116825"/>
                  <a:pt x="1458081" y="1118219"/>
                  <a:pt x="1454984" y="1118838"/>
                </a:cubicBezTo>
                <a:cubicBezTo>
                  <a:pt x="1455500" y="1117289"/>
                  <a:pt x="1456429" y="1115741"/>
                  <a:pt x="1457668" y="1114192"/>
                </a:cubicBezTo>
                <a:lnTo>
                  <a:pt x="1461282" y="1110939"/>
                </a:lnTo>
                <a:lnTo>
                  <a:pt x="1457668" y="1109544"/>
                </a:lnTo>
                <a:cubicBezTo>
                  <a:pt x="1455706" y="1109235"/>
                  <a:pt x="1455397" y="1108460"/>
                  <a:pt x="1456326" y="1106292"/>
                </a:cubicBezTo>
                <a:close/>
                <a:moveTo>
                  <a:pt x="931888" y="1106292"/>
                </a:moveTo>
                <a:lnTo>
                  <a:pt x="934263" y="1109080"/>
                </a:lnTo>
                <a:cubicBezTo>
                  <a:pt x="933436" y="1109854"/>
                  <a:pt x="931785" y="1110474"/>
                  <a:pt x="930958" y="1109544"/>
                </a:cubicBezTo>
                <a:cubicBezTo>
                  <a:pt x="930132" y="1109080"/>
                  <a:pt x="930132" y="1108615"/>
                  <a:pt x="930442" y="1108150"/>
                </a:cubicBezTo>
                <a:cubicBezTo>
                  <a:pt x="930752" y="1107686"/>
                  <a:pt x="931475" y="1107066"/>
                  <a:pt x="931888" y="1106292"/>
                </a:cubicBezTo>
                <a:close/>
                <a:moveTo>
                  <a:pt x="4205863" y="1105856"/>
                </a:moveTo>
                <a:cubicBezTo>
                  <a:pt x="4206503" y="1105714"/>
                  <a:pt x="4206930" y="1106140"/>
                  <a:pt x="4207570" y="1107279"/>
                </a:cubicBezTo>
                <a:cubicBezTo>
                  <a:pt x="4208424" y="1107848"/>
                  <a:pt x="4208637" y="1109413"/>
                  <a:pt x="4209704" y="1110124"/>
                </a:cubicBezTo>
                <a:cubicBezTo>
                  <a:pt x="4209704" y="1110124"/>
                  <a:pt x="4209491" y="1110978"/>
                  <a:pt x="4208851" y="1111974"/>
                </a:cubicBezTo>
                <a:cubicBezTo>
                  <a:pt x="4208424" y="1112970"/>
                  <a:pt x="4207784" y="1113966"/>
                  <a:pt x="4206930" y="1114250"/>
                </a:cubicBezTo>
                <a:cubicBezTo>
                  <a:pt x="4204796" y="1115673"/>
                  <a:pt x="4203942" y="1110693"/>
                  <a:pt x="4203088" y="1110124"/>
                </a:cubicBezTo>
                <a:cubicBezTo>
                  <a:pt x="4202661" y="1108560"/>
                  <a:pt x="4202448" y="1106852"/>
                  <a:pt x="4204156" y="1106425"/>
                </a:cubicBezTo>
                <a:cubicBezTo>
                  <a:pt x="4204796" y="1106140"/>
                  <a:pt x="4205436" y="1105856"/>
                  <a:pt x="4205863" y="1105856"/>
                </a:cubicBezTo>
                <a:close/>
                <a:moveTo>
                  <a:pt x="1171649" y="1104588"/>
                </a:moveTo>
                <a:cubicBezTo>
                  <a:pt x="1172474" y="1104123"/>
                  <a:pt x="1173094" y="1104433"/>
                  <a:pt x="1173714" y="1105053"/>
                </a:cubicBezTo>
                <a:cubicBezTo>
                  <a:pt x="1174437" y="1105827"/>
                  <a:pt x="1175056" y="1106911"/>
                  <a:pt x="1175779" y="1108306"/>
                </a:cubicBezTo>
                <a:cubicBezTo>
                  <a:pt x="1177121" y="1111094"/>
                  <a:pt x="1177637" y="1115276"/>
                  <a:pt x="1178051" y="1116515"/>
                </a:cubicBezTo>
                <a:cubicBezTo>
                  <a:pt x="1178360" y="1117754"/>
                  <a:pt x="1179083" y="1118219"/>
                  <a:pt x="1179083" y="1118219"/>
                </a:cubicBezTo>
                <a:cubicBezTo>
                  <a:pt x="1177431" y="1118993"/>
                  <a:pt x="1172578" y="1108150"/>
                  <a:pt x="1171132" y="1105363"/>
                </a:cubicBezTo>
                <a:cubicBezTo>
                  <a:pt x="1171649" y="1104588"/>
                  <a:pt x="1171649" y="1104588"/>
                  <a:pt x="1171649" y="1104588"/>
                </a:cubicBezTo>
                <a:close/>
                <a:moveTo>
                  <a:pt x="1436191" y="1102574"/>
                </a:moveTo>
                <a:cubicBezTo>
                  <a:pt x="1437327" y="1102419"/>
                  <a:pt x="1438359" y="1102574"/>
                  <a:pt x="1439082" y="1102884"/>
                </a:cubicBezTo>
                <a:cubicBezTo>
                  <a:pt x="1439908" y="1103349"/>
                  <a:pt x="1440631" y="1103968"/>
                  <a:pt x="1441147" y="1104743"/>
                </a:cubicBezTo>
                <a:cubicBezTo>
                  <a:pt x="1441457" y="1105982"/>
                  <a:pt x="1440528" y="1107221"/>
                  <a:pt x="1438463" y="1108770"/>
                </a:cubicBezTo>
                <a:cubicBezTo>
                  <a:pt x="1436501" y="1108615"/>
                  <a:pt x="1435571" y="1105053"/>
                  <a:pt x="1434539" y="1103349"/>
                </a:cubicBezTo>
                <a:cubicBezTo>
                  <a:pt x="1435778" y="1103194"/>
                  <a:pt x="1436914" y="1103039"/>
                  <a:pt x="1436191" y="1102574"/>
                </a:cubicBezTo>
                <a:close/>
                <a:moveTo>
                  <a:pt x="1095136" y="1102419"/>
                </a:moveTo>
                <a:cubicBezTo>
                  <a:pt x="1097407" y="1102109"/>
                  <a:pt x="1098130" y="1102419"/>
                  <a:pt x="1098853" y="1102884"/>
                </a:cubicBezTo>
                <a:cubicBezTo>
                  <a:pt x="1098853" y="1102884"/>
                  <a:pt x="1097717" y="1103194"/>
                  <a:pt x="1097304" y="1103813"/>
                </a:cubicBezTo>
                <a:cubicBezTo>
                  <a:pt x="1097304" y="1103813"/>
                  <a:pt x="1096168" y="1104123"/>
                  <a:pt x="1094929" y="1104278"/>
                </a:cubicBezTo>
                <a:cubicBezTo>
                  <a:pt x="1094929" y="1104278"/>
                  <a:pt x="1094516" y="1104898"/>
                  <a:pt x="1094103" y="1105672"/>
                </a:cubicBezTo>
                <a:cubicBezTo>
                  <a:pt x="1091315" y="1106756"/>
                  <a:pt x="1089766" y="1107531"/>
                  <a:pt x="1087185" y="1105053"/>
                </a:cubicBezTo>
                <a:cubicBezTo>
                  <a:pt x="1087495" y="1104743"/>
                  <a:pt x="1088114" y="1104433"/>
                  <a:pt x="1088940" y="1104123"/>
                </a:cubicBezTo>
                <a:cubicBezTo>
                  <a:pt x="1089663" y="1103968"/>
                  <a:pt x="1090592" y="1103813"/>
                  <a:pt x="1091212" y="1103659"/>
                </a:cubicBezTo>
                <a:cubicBezTo>
                  <a:pt x="1091625" y="1103039"/>
                  <a:pt x="1092761" y="1102884"/>
                  <a:pt x="1093484" y="1103349"/>
                </a:cubicBezTo>
                <a:cubicBezTo>
                  <a:pt x="1093484" y="1103349"/>
                  <a:pt x="1094620" y="1103194"/>
                  <a:pt x="1095136" y="1102419"/>
                </a:cubicBezTo>
                <a:close/>
                <a:moveTo>
                  <a:pt x="1109178" y="1102109"/>
                </a:moveTo>
                <a:cubicBezTo>
                  <a:pt x="1112690" y="1102729"/>
                  <a:pt x="1117542" y="1108615"/>
                  <a:pt x="1118162" y="1111248"/>
                </a:cubicBezTo>
                <a:cubicBezTo>
                  <a:pt x="1116716" y="1113417"/>
                  <a:pt x="1114755" y="1114346"/>
                  <a:pt x="1112896" y="1114192"/>
                </a:cubicBezTo>
                <a:cubicBezTo>
                  <a:pt x="1109798" y="1114037"/>
                  <a:pt x="1106803" y="1111403"/>
                  <a:pt x="1106081" y="1108306"/>
                </a:cubicBezTo>
                <a:cubicBezTo>
                  <a:pt x="1105771" y="1107376"/>
                  <a:pt x="1105771" y="1106292"/>
                  <a:pt x="1106081" y="1105363"/>
                </a:cubicBezTo>
                <a:cubicBezTo>
                  <a:pt x="1106494" y="1104123"/>
                  <a:pt x="1107527" y="1103039"/>
                  <a:pt x="1109178" y="1102109"/>
                </a:cubicBezTo>
                <a:close/>
                <a:moveTo>
                  <a:pt x="4280560" y="1102015"/>
                </a:moveTo>
                <a:cubicBezTo>
                  <a:pt x="4281627" y="1102726"/>
                  <a:pt x="4282053" y="1101588"/>
                  <a:pt x="4283121" y="1102300"/>
                </a:cubicBezTo>
                <a:cubicBezTo>
                  <a:pt x="4285682" y="1102441"/>
                  <a:pt x="4286749" y="1103011"/>
                  <a:pt x="4287389" y="1104576"/>
                </a:cubicBezTo>
                <a:cubicBezTo>
                  <a:pt x="4288456" y="1105287"/>
                  <a:pt x="4288029" y="1106283"/>
                  <a:pt x="4288456" y="1107990"/>
                </a:cubicBezTo>
                <a:cubicBezTo>
                  <a:pt x="4288029" y="1108986"/>
                  <a:pt x="4286536" y="1109413"/>
                  <a:pt x="4286536" y="1109413"/>
                </a:cubicBezTo>
                <a:cubicBezTo>
                  <a:pt x="4285041" y="1109840"/>
                  <a:pt x="4284828" y="1109840"/>
                  <a:pt x="4285468" y="1111547"/>
                </a:cubicBezTo>
                <a:cubicBezTo>
                  <a:pt x="4285468" y="1111547"/>
                  <a:pt x="4284615" y="1110836"/>
                  <a:pt x="4284615" y="1110836"/>
                </a:cubicBezTo>
                <a:cubicBezTo>
                  <a:pt x="4285041" y="1109840"/>
                  <a:pt x="4284401" y="1110836"/>
                  <a:pt x="4282908" y="1111262"/>
                </a:cubicBezTo>
                <a:cubicBezTo>
                  <a:pt x="4281200" y="1109128"/>
                  <a:pt x="4280133" y="1108417"/>
                  <a:pt x="4279706" y="1106710"/>
                </a:cubicBezTo>
                <a:cubicBezTo>
                  <a:pt x="4279279" y="1105998"/>
                  <a:pt x="4279279" y="1105003"/>
                  <a:pt x="4279279" y="1104006"/>
                </a:cubicBezTo>
                <a:cubicBezTo>
                  <a:pt x="4279279" y="1103153"/>
                  <a:pt x="4279706" y="1102300"/>
                  <a:pt x="4280560" y="1102015"/>
                </a:cubicBezTo>
                <a:close/>
                <a:moveTo>
                  <a:pt x="1564022" y="1101800"/>
                </a:moveTo>
                <a:cubicBezTo>
                  <a:pt x="1564642" y="1104433"/>
                  <a:pt x="1564848" y="1106137"/>
                  <a:pt x="1564745" y="1109080"/>
                </a:cubicBezTo>
                <a:cubicBezTo>
                  <a:pt x="1564745" y="1109080"/>
                  <a:pt x="1563609" y="1113572"/>
                  <a:pt x="1560511" y="1113262"/>
                </a:cubicBezTo>
                <a:cubicBezTo>
                  <a:pt x="1559789" y="1113727"/>
                  <a:pt x="1557930" y="1110784"/>
                  <a:pt x="1558240" y="1109544"/>
                </a:cubicBezTo>
                <a:cubicBezTo>
                  <a:pt x="1558756" y="1107376"/>
                  <a:pt x="1558963" y="1106292"/>
                  <a:pt x="1560511" y="1105517"/>
                </a:cubicBezTo>
                <a:cubicBezTo>
                  <a:pt x="1560718" y="1104433"/>
                  <a:pt x="1561028" y="1103349"/>
                  <a:pt x="1561544" y="1102574"/>
                </a:cubicBezTo>
                <a:cubicBezTo>
                  <a:pt x="1562061" y="1101800"/>
                  <a:pt x="1562886" y="1101490"/>
                  <a:pt x="1564022" y="1101800"/>
                </a:cubicBezTo>
                <a:close/>
                <a:moveTo>
                  <a:pt x="4973107" y="1100592"/>
                </a:moveTo>
                <a:cubicBezTo>
                  <a:pt x="4973534" y="1103153"/>
                  <a:pt x="4975028" y="1104860"/>
                  <a:pt x="4975454" y="1107421"/>
                </a:cubicBezTo>
                <a:cubicBezTo>
                  <a:pt x="4973747" y="1111262"/>
                  <a:pt x="4965637" y="1114819"/>
                  <a:pt x="4962009" y="1112401"/>
                </a:cubicBezTo>
                <a:cubicBezTo>
                  <a:pt x="4960729" y="1111689"/>
                  <a:pt x="4959875" y="1110266"/>
                  <a:pt x="4959875" y="1107990"/>
                </a:cubicBezTo>
                <a:cubicBezTo>
                  <a:pt x="4960729" y="1101161"/>
                  <a:pt x="4966491" y="1100450"/>
                  <a:pt x="4973107" y="1100592"/>
                </a:cubicBezTo>
                <a:close/>
                <a:moveTo>
                  <a:pt x="1075311" y="1099786"/>
                </a:moveTo>
                <a:cubicBezTo>
                  <a:pt x="1077169" y="1099166"/>
                  <a:pt x="1077169" y="1099166"/>
                  <a:pt x="1078099" y="1100096"/>
                </a:cubicBezTo>
                <a:cubicBezTo>
                  <a:pt x="1078925" y="1101025"/>
                  <a:pt x="1077995" y="1103504"/>
                  <a:pt x="1078925" y="1104433"/>
                </a:cubicBezTo>
                <a:cubicBezTo>
                  <a:pt x="1078925" y="1104433"/>
                  <a:pt x="1078925" y="1104588"/>
                  <a:pt x="1077066" y="1105208"/>
                </a:cubicBezTo>
                <a:cubicBezTo>
                  <a:pt x="1076240" y="1105053"/>
                  <a:pt x="1075311" y="1105053"/>
                  <a:pt x="1074381" y="1104123"/>
                </a:cubicBezTo>
                <a:cubicBezTo>
                  <a:pt x="1073555" y="1103039"/>
                  <a:pt x="1073555" y="1101335"/>
                  <a:pt x="1073555" y="1100561"/>
                </a:cubicBezTo>
                <a:cubicBezTo>
                  <a:pt x="1074485" y="1100561"/>
                  <a:pt x="1074485" y="1099786"/>
                  <a:pt x="1075311" y="1099786"/>
                </a:cubicBezTo>
                <a:close/>
                <a:moveTo>
                  <a:pt x="4407545" y="1099169"/>
                </a:moveTo>
                <a:cubicBezTo>
                  <a:pt x="4407545" y="1099169"/>
                  <a:pt x="4408185" y="1099881"/>
                  <a:pt x="4408825" y="1100734"/>
                </a:cubicBezTo>
                <a:cubicBezTo>
                  <a:pt x="4409679" y="1101588"/>
                  <a:pt x="4410319" y="1102584"/>
                  <a:pt x="4410105" y="1103438"/>
                </a:cubicBezTo>
                <a:cubicBezTo>
                  <a:pt x="4410532" y="1105998"/>
                  <a:pt x="4405624" y="1104860"/>
                  <a:pt x="4404770" y="1105430"/>
                </a:cubicBezTo>
                <a:cubicBezTo>
                  <a:pt x="4403276" y="1105003"/>
                  <a:pt x="4401569" y="1104576"/>
                  <a:pt x="4401782" y="1103011"/>
                </a:cubicBezTo>
                <a:cubicBezTo>
                  <a:pt x="4402209" y="1101304"/>
                  <a:pt x="4401355" y="1100307"/>
                  <a:pt x="4403917" y="1100166"/>
                </a:cubicBezTo>
                <a:cubicBezTo>
                  <a:pt x="4404984" y="1099454"/>
                  <a:pt x="4406477" y="1099881"/>
                  <a:pt x="4407545" y="1099169"/>
                </a:cubicBezTo>
                <a:close/>
                <a:moveTo>
                  <a:pt x="1453538" y="1098392"/>
                </a:moveTo>
                <a:cubicBezTo>
                  <a:pt x="1454261" y="1099321"/>
                  <a:pt x="1454158" y="1100096"/>
                  <a:pt x="1454054" y="1100870"/>
                </a:cubicBezTo>
                <a:cubicBezTo>
                  <a:pt x="1453022" y="1101645"/>
                  <a:pt x="1452196" y="1101645"/>
                  <a:pt x="1451163" y="1102419"/>
                </a:cubicBezTo>
                <a:cubicBezTo>
                  <a:pt x="1451060" y="1103194"/>
                  <a:pt x="1450750" y="1104898"/>
                  <a:pt x="1449718" y="1105672"/>
                </a:cubicBezTo>
                <a:lnTo>
                  <a:pt x="1449614" y="1105672"/>
                </a:lnTo>
                <a:lnTo>
                  <a:pt x="1449098" y="1107686"/>
                </a:lnTo>
                <a:lnTo>
                  <a:pt x="1449821" y="1107376"/>
                </a:lnTo>
                <a:cubicBezTo>
                  <a:pt x="1453332" y="1108770"/>
                  <a:pt x="1452608" y="1110939"/>
                  <a:pt x="1452608" y="1114811"/>
                </a:cubicBezTo>
                <a:cubicBezTo>
                  <a:pt x="1451473" y="1114346"/>
                  <a:pt x="1450234" y="1117599"/>
                  <a:pt x="1449821" y="1118683"/>
                </a:cubicBezTo>
                <a:cubicBezTo>
                  <a:pt x="1447446" y="1117754"/>
                  <a:pt x="1445484" y="1121317"/>
                  <a:pt x="1441973" y="1119923"/>
                </a:cubicBezTo>
                <a:cubicBezTo>
                  <a:pt x="1441147" y="1118219"/>
                  <a:pt x="1440837" y="1117444"/>
                  <a:pt x="1440837" y="1115586"/>
                </a:cubicBezTo>
                <a:lnTo>
                  <a:pt x="1443006" y="1112023"/>
                </a:lnTo>
                <a:lnTo>
                  <a:pt x="1441870" y="1112023"/>
                </a:lnTo>
                <a:cubicBezTo>
                  <a:pt x="1442386" y="1111558"/>
                  <a:pt x="1443419" y="1110319"/>
                  <a:pt x="1444452" y="1109390"/>
                </a:cubicBezTo>
                <a:lnTo>
                  <a:pt x="1445794" y="1108150"/>
                </a:lnTo>
                <a:lnTo>
                  <a:pt x="1445587" y="1107531"/>
                </a:lnTo>
                <a:cubicBezTo>
                  <a:pt x="1445381" y="1106292"/>
                  <a:pt x="1446000" y="1105053"/>
                  <a:pt x="1447033" y="1104588"/>
                </a:cubicBezTo>
                <a:lnTo>
                  <a:pt x="1448582" y="1104898"/>
                </a:lnTo>
                <a:lnTo>
                  <a:pt x="1449098" y="1104743"/>
                </a:lnTo>
                <a:cubicBezTo>
                  <a:pt x="1450027" y="1103968"/>
                  <a:pt x="1452505" y="1099941"/>
                  <a:pt x="1451783" y="1099011"/>
                </a:cubicBezTo>
                <a:cubicBezTo>
                  <a:pt x="1452608" y="1099166"/>
                  <a:pt x="1453538" y="1098392"/>
                  <a:pt x="1453538" y="1098392"/>
                </a:cubicBezTo>
                <a:close/>
                <a:moveTo>
                  <a:pt x="4533036" y="1098174"/>
                </a:moveTo>
                <a:cubicBezTo>
                  <a:pt x="4534529" y="1097889"/>
                  <a:pt x="4536450" y="1097889"/>
                  <a:pt x="4538371" y="1098458"/>
                </a:cubicBezTo>
                <a:cubicBezTo>
                  <a:pt x="4540719" y="1099312"/>
                  <a:pt x="4543493" y="1101161"/>
                  <a:pt x="4545840" y="1104291"/>
                </a:cubicBezTo>
                <a:cubicBezTo>
                  <a:pt x="4548402" y="1110409"/>
                  <a:pt x="4539651" y="1119372"/>
                  <a:pt x="4533889" y="1117949"/>
                </a:cubicBezTo>
                <a:cubicBezTo>
                  <a:pt x="4531328" y="1115531"/>
                  <a:pt x="4528980" y="1112970"/>
                  <a:pt x="4526419" y="1110551"/>
                </a:cubicBezTo>
                <a:cubicBezTo>
                  <a:pt x="4524925" y="1104433"/>
                  <a:pt x="4528127" y="1099312"/>
                  <a:pt x="4533036" y="1098174"/>
                </a:cubicBezTo>
                <a:close/>
                <a:moveTo>
                  <a:pt x="1375890" y="1097928"/>
                </a:moveTo>
                <a:cubicBezTo>
                  <a:pt x="1382188" y="1107376"/>
                  <a:pt x="1388383" y="1106756"/>
                  <a:pt x="1394166" y="1111094"/>
                </a:cubicBezTo>
                <a:cubicBezTo>
                  <a:pt x="1400877" y="1124570"/>
                  <a:pt x="1405317" y="1144551"/>
                  <a:pt x="1394579" y="1156943"/>
                </a:cubicBezTo>
                <a:cubicBezTo>
                  <a:pt x="1385699" y="1167166"/>
                  <a:pt x="1374444" y="1163603"/>
                  <a:pt x="1361743" y="1167321"/>
                </a:cubicBezTo>
                <a:cubicBezTo>
                  <a:pt x="1355548" y="1158027"/>
                  <a:pt x="1349249" y="1159421"/>
                  <a:pt x="1343157" y="1157563"/>
                </a:cubicBezTo>
                <a:cubicBezTo>
                  <a:pt x="1342125" y="1149972"/>
                  <a:pt x="1334794" y="1142073"/>
                  <a:pt x="1331076" y="1133864"/>
                </a:cubicBezTo>
                <a:cubicBezTo>
                  <a:pt x="1333244" y="1129216"/>
                  <a:pt x="1334587" y="1124724"/>
                  <a:pt x="1335929" y="1120232"/>
                </a:cubicBezTo>
                <a:lnTo>
                  <a:pt x="1338511" y="1112642"/>
                </a:lnTo>
                <a:lnTo>
                  <a:pt x="1335206" y="1110939"/>
                </a:lnTo>
                <a:lnTo>
                  <a:pt x="1339646" y="1109080"/>
                </a:lnTo>
                <a:lnTo>
                  <a:pt x="1340679" y="1106447"/>
                </a:lnTo>
                <a:cubicBezTo>
                  <a:pt x="1352244" y="1105827"/>
                  <a:pt x="1363086" y="1092506"/>
                  <a:pt x="1375890" y="1097928"/>
                </a:cubicBezTo>
                <a:close/>
                <a:moveTo>
                  <a:pt x="927654" y="1097618"/>
                </a:moveTo>
                <a:cubicBezTo>
                  <a:pt x="928480" y="1098547"/>
                  <a:pt x="928584" y="1097773"/>
                  <a:pt x="929409" y="1097773"/>
                </a:cubicBezTo>
                <a:cubicBezTo>
                  <a:pt x="931991" y="1100561"/>
                  <a:pt x="932817" y="1103039"/>
                  <a:pt x="931061" y="1105363"/>
                </a:cubicBezTo>
                <a:cubicBezTo>
                  <a:pt x="929203" y="1106911"/>
                  <a:pt x="926622" y="1109080"/>
                  <a:pt x="924040" y="1107221"/>
                </a:cubicBezTo>
                <a:cubicBezTo>
                  <a:pt x="924040" y="1106447"/>
                  <a:pt x="923111" y="1106292"/>
                  <a:pt x="923111" y="1105517"/>
                </a:cubicBezTo>
                <a:cubicBezTo>
                  <a:pt x="923111" y="1105517"/>
                  <a:pt x="922698" y="1104588"/>
                  <a:pt x="922595" y="1103349"/>
                </a:cubicBezTo>
                <a:cubicBezTo>
                  <a:pt x="922595" y="1102109"/>
                  <a:pt x="922801" y="1100406"/>
                  <a:pt x="924143" y="1099011"/>
                </a:cubicBezTo>
                <a:cubicBezTo>
                  <a:pt x="924556" y="1098547"/>
                  <a:pt x="925486" y="1098082"/>
                  <a:pt x="926208" y="1097773"/>
                </a:cubicBezTo>
                <a:cubicBezTo>
                  <a:pt x="927034" y="1097463"/>
                  <a:pt x="927654" y="1097308"/>
                  <a:pt x="927654" y="1097618"/>
                </a:cubicBezTo>
                <a:close/>
                <a:moveTo>
                  <a:pt x="4727674" y="1097320"/>
                </a:moveTo>
                <a:cubicBezTo>
                  <a:pt x="4734504" y="1103153"/>
                  <a:pt x="4740480" y="1112827"/>
                  <a:pt x="4741760" y="1115104"/>
                </a:cubicBezTo>
                <a:cubicBezTo>
                  <a:pt x="4742400" y="1116099"/>
                  <a:pt x="4742400" y="1116953"/>
                  <a:pt x="4742187" y="1117664"/>
                </a:cubicBezTo>
                <a:cubicBezTo>
                  <a:pt x="4741760" y="1118376"/>
                  <a:pt x="4741120" y="1119087"/>
                  <a:pt x="4739839" y="1119799"/>
                </a:cubicBezTo>
                <a:cubicBezTo>
                  <a:pt x="4734077" y="1120510"/>
                  <a:pt x="4732369" y="1114961"/>
                  <a:pt x="4728314" y="1110836"/>
                </a:cubicBezTo>
                <a:cubicBezTo>
                  <a:pt x="4728954" y="1109840"/>
                  <a:pt x="4728741" y="1108133"/>
                  <a:pt x="4727674" y="1107563"/>
                </a:cubicBezTo>
                <a:cubicBezTo>
                  <a:pt x="4727461" y="1105856"/>
                  <a:pt x="4727247" y="1104291"/>
                  <a:pt x="4726607" y="1105287"/>
                </a:cubicBezTo>
                <a:cubicBezTo>
                  <a:pt x="4725753" y="1100450"/>
                  <a:pt x="4724686" y="1099739"/>
                  <a:pt x="4727674" y="1097320"/>
                </a:cubicBezTo>
                <a:close/>
                <a:moveTo>
                  <a:pt x="1457668" y="1097308"/>
                </a:moveTo>
                <a:cubicBezTo>
                  <a:pt x="1459320" y="1097308"/>
                  <a:pt x="1461489" y="1098547"/>
                  <a:pt x="1463038" y="1100870"/>
                </a:cubicBezTo>
                <a:cubicBezTo>
                  <a:pt x="1461592" y="1102419"/>
                  <a:pt x="1459940" y="1102884"/>
                  <a:pt x="1458494" y="1102884"/>
                </a:cubicBezTo>
                <a:lnTo>
                  <a:pt x="1457359" y="1102419"/>
                </a:lnTo>
                <a:lnTo>
                  <a:pt x="1456429" y="1102109"/>
                </a:lnTo>
                <a:lnTo>
                  <a:pt x="1454261" y="1101180"/>
                </a:lnTo>
                <a:cubicBezTo>
                  <a:pt x="1454467" y="1098702"/>
                  <a:pt x="1455913" y="1097308"/>
                  <a:pt x="1457668" y="1097308"/>
                </a:cubicBezTo>
                <a:close/>
                <a:moveTo>
                  <a:pt x="1053007" y="1096378"/>
                </a:moveTo>
                <a:cubicBezTo>
                  <a:pt x="1059719" y="1094055"/>
                  <a:pt x="1067257" y="1094210"/>
                  <a:pt x="1070664" y="1099321"/>
                </a:cubicBezTo>
                <a:cubicBezTo>
                  <a:pt x="1058170" y="1098547"/>
                  <a:pt x="1053110" y="1110784"/>
                  <a:pt x="1039377" y="1107686"/>
                </a:cubicBezTo>
                <a:cubicBezTo>
                  <a:pt x="1039997" y="1103349"/>
                  <a:pt x="1046192" y="1098702"/>
                  <a:pt x="1053007" y="1096378"/>
                </a:cubicBezTo>
                <a:close/>
                <a:moveTo>
                  <a:pt x="1404388" y="1095914"/>
                </a:moveTo>
                <a:cubicBezTo>
                  <a:pt x="1408415" y="1100715"/>
                  <a:pt x="1409861" y="1104743"/>
                  <a:pt x="1404491" y="1110009"/>
                </a:cubicBezTo>
                <a:cubicBezTo>
                  <a:pt x="1401084" y="1109854"/>
                  <a:pt x="1399741" y="1106911"/>
                  <a:pt x="1399845" y="1103813"/>
                </a:cubicBezTo>
                <a:cubicBezTo>
                  <a:pt x="1400051" y="1100715"/>
                  <a:pt x="1401703" y="1097308"/>
                  <a:pt x="1404388" y="1095914"/>
                </a:cubicBezTo>
                <a:close/>
                <a:moveTo>
                  <a:pt x="4694167" y="1095470"/>
                </a:moveTo>
                <a:cubicBezTo>
                  <a:pt x="4694381" y="1095755"/>
                  <a:pt x="4695021" y="1096324"/>
                  <a:pt x="4696301" y="1096751"/>
                </a:cubicBezTo>
                <a:cubicBezTo>
                  <a:pt x="4697582" y="1097889"/>
                  <a:pt x="4698649" y="1097747"/>
                  <a:pt x="4697796" y="1098885"/>
                </a:cubicBezTo>
                <a:cubicBezTo>
                  <a:pt x="4696728" y="1100166"/>
                  <a:pt x="4696728" y="1100166"/>
                  <a:pt x="4693527" y="1100307"/>
                </a:cubicBezTo>
                <a:cubicBezTo>
                  <a:pt x="4694381" y="1099169"/>
                  <a:pt x="4694381" y="1099169"/>
                  <a:pt x="4693100" y="1098174"/>
                </a:cubicBezTo>
                <a:cubicBezTo>
                  <a:pt x="4693100" y="1098174"/>
                  <a:pt x="4693100" y="1098031"/>
                  <a:pt x="4692033" y="1098174"/>
                </a:cubicBezTo>
                <a:cubicBezTo>
                  <a:pt x="4691820" y="1097035"/>
                  <a:pt x="4692887" y="1097035"/>
                  <a:pt x="4692887" y="1095897"/>
                </a:cubicBezTo>
                <a:cubicBezTo>
                  <a:pt x="4692887" y="1095897"/>
                  <a:pt x="4693954" y="1095755"/>
                  <a:pt x="4693954" y="1095755"/>
                </a:cubicBezTo>
                <a:cubicBezTo>
                  <a:pt x="4693741" y="1095186"/>
                  <a:pt x="4693741" y="1095186"/>
                  <a:pt x="4694167" y="1095470"/>
                </a:cubicBezTo>
                <a:close/>
                <a:moveTo>
                  <a:pt x="5132105" y="1094617"/>
                </a:moveTo>
                <a:cubicBezTo>
                  <a:pt x="5133172" y="1094332"/>
                  <a:pt x="5134452" y="1094332"/>
                  <a:pt x="5136160" y="1095470"/>
                </a:cubicBezTo>
                <a:cubicBezTo>
                  <a:pt x="5134879" y="1098743"/>
                  <a:pt x="5133172" y="1100876"/>
                  <a:pt x="5131891" y="1104006"/>
                </a:cubicBezTo>
                <a:cubicBezTo>
                  <a:pt x="5126769" y="1104006"/>
                  <a:pt x="5127623" y="1099596"/>
                  <a:pt x="5128477" y="1095329"/>
                </a:cubicBezTo>
                <a:cubicBezTo>
                  <a:pt x="5129757" y="1095470"/>
                  <a:pt x="5130824" y="1094902"/>
                  <a:pt x="5132105" y="1094617"/>
                </a:cubicBezTo>
                <a:close/>
                <a:moveTo>
                  <a:pt x="1427311" y="1093900"/>
                </a:moveTo>
                <a:cubicBezTo>
                  <a:pt x="1428137" y="1098082"/>
                  <a:pt x="1431235" y="1103504"/>
                  <a:pt x="1430202" y="1107376"/>
                </a:cubicBezTo>
                <a:cubicBezTo>
                  <a:pt x="1429583" y="1105827"/>
                  <a:pt x="1426692" y="1096688"/>
                  <a:pt x="1427311" y="1093900"/>
                </a:cubicBezTo>
                <a:close/>
                <a:moveTo>
                  <a:pt x="968544" y="1093281"/>
                </a:moveTo>
                <a:cubicBezTo>
                  <a:pt x="969369" y="1094210"/>
                  <a:pt x="972054" y="1094520"/>
                  <a:pt x="973913" y="1095604"/>
                </a:cubicBezTo>
                <a:cubicBezTo>
                  <a:pt x="973810" y="1096378"/>
                  <a:pt x="974739" y="1097308"/>
                  <a:pt x="974739" y="1098082"/>
                </a:cubicBezTo>
                <a:cubicBezTo>
                  <a:pt x="973913" y="1097928"/>
                  <a:pt x="972054" y="1098547"/>
                  <a:pt x="972054" y="1097773"/>
                </a:cubicBezTo>
                <a:cubicBezTo>
                  <a:pt x="971125" y="1097618"/>
                  <a:pt x="971125" y="1096069"/>
                  <a:pt x="971125" y="1096069"/>
                </a:cubicBezTo>
                <a:cubicBezTo>
                  <a:pt x="970299" y="1095914"/>
                  <a:pt x="969369" y="1095914"/>
                  <a:pt x="968440" y="1094985"/>
                </a:cubicBezTo>
                <a:cubicBezTo>
                  <a:pt x="969369" y="1094210"/>
                  <a:pt x="968544" y="1094210"/>
                  <a:pt x="968544" y="1093281"/>
                </a:cubicBezTo>
                <a:close/>
                <a:moveTo>
                  <a:pt x="1427414" y="1091886"/>
                </a:moveTo>
                <a:cubicBezTo>
                  <a:pt x="1427105" y="1092971"/>
                  <a:pt x="1427105" y="1092971"/>
                  <a:pt x="1427414" y="1093745"/>
                </a:cubicBezTo>
                <a:cubicBezTo>
                  <a:pt x="1427414" y="1093745"/>
                  <a:pt x="1426382" y="1093126"/>
                  <a:pt x="1426382" y="1093126"/>
                </a:cubicBezTo>
                <a:cubicBezTo>
                  <a:pt x="1426692" y="1092042"/>
                  <a:pt x="1425969" y="1092351"/>
                  <a:pt x="1427414" y="1091886"/>
                </a:cubicBezTo>
                <a:close/>
                <a:moveTo>
                  <a:pt x="3385264" y="1090065"/>
                </a:moveTo>
                <a:cubicBezTo>
                  <a:pt x="3383130" y="1089495"/>
                  <a:pt x="3380782" y="1090775"/>
                  <a:pt x="3378648" y="1091345"/>
                </a:cubicBezTo>
                <a:lnTo>
                  <a:pt x="3377794" y="1091345"/>
                </a:lnTo>
                <a:lnTo>
                  <a:pt x="3379928" y="1092483"/>
                </a:lnTo>
                <a:lnTo>
                  <a:pt x="3380996" y="1094190"/>
                </a:lnTo>
                <a:lnTo>
                  <a:pt x="3386117" y="1090918"/>
                </a:lnTo>
                <a:close/>
                <a:moveTo>
                  <a:pt x="4516602" y="1089638"/>
                </a:moveTo>
                <a:cubicBezTo>
                  <a:pt x="4517882" y="1089495"/>
                  <a:pt x="4519590" y="1089638"/>
                  <a:pt x="4521084" y="1090065"/>
                </a:cubicBezTo>
                <a:cubicBezTo>
                  <a:pt x="4526633" y="1102015"/>
                  <a:pt x="4517029" y="1120510"/>
                  <a:pt x="4506785" y="1113539"/>
                </a:cubicBezTo>
                <a:cubicBezTo>
                  <a:pt x="4505504" y="1112543"/>
                  <a:pt x="4504011" y="1110978"/>
                  <a:pt x="4502516" y="1108843"/>
                </a:cubicBezTo>
                <a:cubicBezTo>
                  <a:pt x="4504864" y="1102300"/>
                  <a:pt x="4507211" y="1090207"/>
                  <a:pt x="4516602" y="1089638"/>
                </a:cubicBezTo>
                <a:close/>
                <a:moveTo>
                  <a:pt x="3295414" y="1089638"/>
                </a:moveTo>
                <a:lnTo>
                  <a:pt x="3294134" y="1091629"/>
                </a:lnTo>
                <a:lnTo>
                  <a:pt x="3296054" y="1091060"/>
                </a:lnTo>
                <a:close/>
                <a:moveTo>
                  <a:pt x="1212951" y="1089563"/>
                </a:moveTo>
                <a:cubicBezTo>
                  <a:pt x="1216152" y="1092661"/>
                  <a:pt x="1216978" y="1095294"/>
                  <a:pt x="1216772" y="1097618"/>
                </a:cubicBezTo>
                <a:lnTo>
                  <a:pt x="1214293" y="1104278"/>
                </a:lnTo>
                <a:lnTo>
                  <a:pt x="1216875" y="1107686"/>
                </a:lnTo>
                <a:cubicBezTo>
                  <a:pt x="1214500" y="1107996"/>
                  <a:pt x="1215429" y="1113417"/>
                  <a:pt x="1211815" y="1114037"/>
                </a:cubicBezTo>
                <a:cubicBezTo>
                  <a:pt x="1201386" y="1116825"/>
                  <a:pt x="1199941" y="1114037"/>
                  <a:pt x="1195914" y="1108615"/>
                </a:cubicBezTo>
                <a:cubicBezTo>
                  <a:pt x="1196636" y="1109080"/>
                  <a:pt x="1196327" y="1107996"/>
                  <a:pt x="1196327" y="1107996"/>
                </a:cubicBezTo>
                <a:cubicBezTo>
                  <a:pt x="1195707" y="1105517"/>
                  <a:pt x="1192300" y="1109080"/>
                  <a:pt x="1190854" y="1106292"/>
                </a:cubicBezTo>
                <a:cubicBezTo>
                  <a:pt x="1190441" y="1105053"/>
                  <a:pt x="1190338" y="1103968"/>
                  <a:pt x="1190544" y="1102884"/>
                </a:cubicBezTo>
                <a:cubicBezTo>
                  <a:pt x="1191164" y="1099631"/>
                  <a:pt x="1194158" y="1096998"/>
                  <a:pt x="1196017" y="1095604"/>
                </a:cubicBezTo>
                <a:lnTo>
                  <a:pt x="1196430" y="1095139"/>
                </a:lnTo>
                <a:lnTo>
                  <a:pt x="1196946" y="1094055"/>
                </a:lnTo>
                <a:lnTo>
                  <a:pt x="1196636" y="1093900"/>
                </a:lnTo>
                <a:lnTo>
                  <a:pt x="1196946" y="1093900"/>
                </a:lnTo>
                <a:lnTo>
                  <a:pt x="1197772" y="1091886"/>
                </a:lnTo>
                <a:lnTo>
                  <a:pt x="1199218" y="1092661"/>
                </a:lnTo>
                <a:lnTo>
                  <a:pt x="1201799" y="1091731"/>
                </a:lnTo>
                <a:cubicBezTo>
                  <a:pt x="1202626" y="1091731"/>
                  <a:pt x="1203245" y="1092042"/>
                  <a:pt x="1203555" y="1093281"/>
                </a:cubicBezTo>
                <a:cubicBezTo>
                  <a:pt x="1204691" y="1094985"/>
                  <a:pt x="1202935" y="1095914"/>
                  <a:pt x="1203658" y="1098237"/>
                </a:cubicBezTo>
                <a:cubicBezTo>
                  <a:pt x="1204484" y="1100251"/>
                  <a:pt x="1206962" y="1100561"/>
                  <a:pt x="1209647" y="1101335"/>
                </a:cubicBezTo>
                <a:lnTo>
                  <a:pt x="1212641" y="1102884"/>
                </a:lnTo>
                <a:lnTo>
                  <a:pt x="1211815" y="1101955"/>
                </a:lnTo>
                <a:cubicBezTo>
                  <a:pt x="1209647" y="1098392"/>
                  <a:pt x="1208718" y="1092661"/>
                  <a:pt x="1212951" y="1089563"/>
                </a:cubicBezTo>
                <a:close/>
                <a:moveTo>
                  <a:pt x="1290703" y="1089408"/>
                </a:moveTo>
                <a:cubicBezTo>
                  <a:pt x="1292871" y="1095449"/>
                  <a:pt x="1292045" y="1101490"/>
                  <a:pt x="1289154" y="1106447"/>
                </a:cubicBezTo>
                <a:cubicBezTo>
                  <a:pt x="1284404" y="1114966"/>
                  <a:pt x="1274285" y="1120697"/>
                  <a:pt x="1263753" y="1119923"/>
                </a:cubicBezTo>
                <a:cubicBezTo>
                  <a:pt x="1263547" y="1118838"/>
                  <a:pt x="1263237" y="1117599"/>
                  <a:pt x="1262101" y="1118064"/>
                </a:cubicBezTo>
                <a:cubicBezTo>
                  <a:pt x="1261585" y="1116205"/>
                  <a:pt x="1261378" y="1114346"/>
                  <a:pt x="1261481" y="1112488"/>
                </a:cubicBezTo>
                <a:cubicBezTo>
                  <a:pt x="1262307" y="1099321"/>
                  <a:pt x="1277590" y="1085691"/>
                  <a:pt x="1290703" y="1089408"/>
                </a:cubicBezTo>
                <a:close/>
                <a:moveTo>
                  <a:pt x="976804" y="1089408"/>
                </a:moveTo>
                <a:cubicBezTo>
                  <a:pt x="977320" y="1089408"/>
                  <a:pt x="977734" y="1089563"/>
                  <a:pt x="978146" y="1090028"/>
                </a:cubicBezTo>
                <a:cubicBezTo>
                  <a:pt x="978146" y="1090028"/>
                  <a:pt x="978972" y="1090957"/>
                  <a:pt x="979902" y="1091886"/>
                </a:cubicBezTo>
                <a:cubicBezTo>
                  <a:pt x="980728" y="1092816"/>
                  <a:pt x="981554" y="1092971"/>
                  <a:pt x="981554" y="1092971"/>
                </a:cubicBezTo>
                <a:cubicBezTo>
                  <a:pt x="982380" y="1093900"/>
                  <a:pt x="982380" y="1094830"/>
                  <a:pt x="981554" y="1095604"/>
                </a:cubicBezTo>
                <a:cubicBezTo>
                  <a:pt x="981554" y="1095604"/>
                  <a:pt x="979798" y="1094520"/>
                  <a:pt x="979798" y="1094520"/>
                </a:cubicBezTo>
                <a:cubicBezTo>
                  <a:pt x="978043" y="1092661"/>
                  <a:pt x="977217" y="1091731"/>
                  <a:pt x="975462" y="1090647"/>
                </a:cubicBezTo>
                <a:cubicBezTo>
                  <a:pt x="975978" y="1089873"/>
                  <a:pt x="976391" y="1089408"/>
                  <a:pt x="976804" y="1089408"/>
                </a:cubicBezTo>
                <a:close/>
                <a:moveTo>
                  <a:pt x="4385135" y="1089210"/>
                </a:moveTo>
                <a:cubicBezTo>
                  <a:pt x="4390684" y="1091629"/>
                  <a:pt x="4392392" y="1095755"/>
                  <a:pt x="4391751" y="1100592"/>
                </a:cubicBezTo>
                <a:cubicBezTo>
                  <a:pt x="4386630" y="1104433"/>
                  <a:pt x="4379160" y="1098885"/>
                  <a:pt x="4380013" y="1092910"/>
                </a:cubicBezTo>
                <a:cubicBezTo>
                  <a:pt x="4381294" y="1091914"/>
                  <a:pt x="4382788" y="1089780"/>
                  <a:pt x="4385135" y="1089210"/>
                </a:cubicBezTo>
                <a:close/>
                <a:moveTo>
                  <a:pt x="1137781" y="1088634"/>
                </a:moveTo>
                <a:cubicBezTo>
                  <a:pt x="1139949" y="1094055"/>
                  <a:pt x="1143872" y="1099631"/>
                  <a:pt x="1144286" y="1105517"/>
                </a:cubicBezTo>
                <a:cubicBezTo>
                  <a:pt x="1139846" y="1103504"/>
                  <a:pt x="1134683" y="1097773"/>
                  <a:pt x="1135199" y="1092971"/>
                </a:cubicBezTo>
                <a:cubicBezTo>
                  <a:pt x="1135405" y="1091422"/>
                  <a:pt x="1136128" y="1089873"/>
                  <a:pt x="1137781" y="1088634"/>
                </a:cubicBezTo>
                <a:close/>
                <a:moveTo>
                  <a:pt x="4341598" y="1088215"/>
                </a:moveTo>
                <a:cubicBezTo>
                  <a:pt x="4338396" y="1095755"/>
                  <a:pt x="4336476" y="1105003"/>
                  <a:pt x="4330927" y="1111689"/>
                </a:cubicBezTo>
                <a:cubicBezTo>
                  <a:pt x="4327725" y="1103865"/>
                  <a:pt x="4330287" y="1087930"/>
                  <a:pt x="4341598" y="1088215"/>
                </a:cubicBezTo>
                <a:close/>
                <a:moveTo>
                  <a:pt x="4854659" y="1088073"/>
                </a:moveTo>
                <a:cubicBezTo>
                  <a:pt x="4855940" y="1087930"/>
                  <a:pt x="4857006" y="1088215"/>
                  <a:pt x="4858073" y="1088784"/>
                </a:cubicBezTo>
                <a:cubicBezTo>
                  <a:pt x="4859141" y="1090065"/>
                  <a:pt x="4858928" y="1092483"/>
                  <a:pt x="4857433" y="1096039"/>
                </a:cubicBezTo>
                <a:cubicBezTo>
                  <a:pt x="4854873" y="1097178"/>
                  <a:pt x="4851885" y="1093479"/>
                  <a:pt x="4849750" y="1092340"/>
                </a:cubicBezTo>
                <a:cubicBezTo>
                  <a:pt x="4851031" y="1091060"/>
                  <a:pt x="4852311" y="1089922"/>
                  <a:pt x="4851244" y="1089922"/>
                </a:cubicBezTo>
                <a:cubicBezTo>
                  <a:pt x="4852311" y="1088642"/>
                  <a:pt x="4853592" y="1088073"/>
                  <a:pt x="4854659" y="1088073"/>
                </a:cubicBezTo>
                <a:close/>
                <a:moveTo>
                  <a:pt x="1425762" y="1087859"/>
                </a:moveTo>
                <a:cubicBezTo>
                  <a:pt x="1426072" y="1088634"/>
                  <a:pt x="1426485" y="1089563"/>
                  <a:pt x="1425762" y="1089718"/>
                </a:cubicBezTo>
                <a:cubicBezTo>
                  <a:pt x="1425349" y="1089873"/>
                  <a:pt x="1425142" y="1089718"/>
                  <a:pt x="1425039" y="1089408"/>
                </a:cubicBezTo>
                <a:cubicBezTo>
                  <a:pt x="1424833" y="1088943"/>
                  <a:pt x="1424833" y="1088478"/>
                  <a:pt x="1425039" y="1088014"/>
                </a:cubicBezTo>
                <a:cubicBezTo>
                  <a:pt x="1425039" y="1088014"/>
                  <a:pt x="1425762" y="1087859"/>
                  <a:pt x="1425762" y="1087859"/>
                </a:cubicBezTo>
                <a:close/>
                <a:moveTo>
                  <a:pt x="3621733" y="1087503"/>
                </a:moveTo>
                <a:cubicBezTo>
                  <a:pt x="3622800" y="1087646"/>
                  <a:pt x="3622587" y="1088784"/>
                  <a:pt x="3623653" y="1088926"/>
                </a:cubicBezTo>
                <a:cubicBezTo>
                  <a:pt x="3623653" y="1088926"/>
                  <a:pt x="3623653" y="1090207"/>
                  <a:pt x="3623653" y="1090207"/>
                </a:cubicBezTo>
                <a:cubicBezTo>
                  <a:pt x="3624294" y="1090207"/>
                  <a:pt x="3624294" y="1090207"/>
                  <a:pt x="3623867" y="1090349"/>
                </a:cubicBezTo>
                <a:cubicBezTo>
                  <a:pt x="3623653" y="1090633"/>
                  <a:pt x="3623013" y="1091202"/>
                  <a:pt x="3622587" y="1092198"/>
                </a:cubicBezTo>
                <a:cubicBezTo>
                  <a:pt x="3621306" y="1093194"/>
                  <a:pt x="3621093" y="1094332"/>
                  <a:pt x="3620239" y="1093052"/>
                </a:cubicBezTo>
                <a:cubicBezTo>
                  <a:pt x="3619172" y="1091629"/>
                  <a:pt x="3619172" y="1091771"/>
                  <a:pt x="3619385" y="1088215"/>
                </a:cubicBezTo>
                <a:cubicBezTo>
                  <a:pt x="3620453" y="1089638"/>
                  <a:pt x="3620453" y="1089638"/>
                  <a:pt x="3621520" y="1088642"/>
                </a:cubicBezTo>
                <a:cubicBezTo>
                  <a:pt x="3621520" y="1088642"/>
                  <a:pt x="3621520" y="1088642"/>
                  <a:pt x="3621733" y="1087503"/>
                </a:cubicBezTo>
                <a:close/>
                <a:moveTo>
                  <a:pt x="1044230" y="1085845"/>
                </a:moveTo>
                <a:cubicBezTo>
                  <a:pt x="1045160" y="1085071"/>
                  <a:pt x="1046915" y="1085226"/>
                  <a:pt x="1049496" y="1086310"/>
                </a:cubicBezTo>
                <a:cubicBezTo>
                  <a:pt x="1050323" y="1088014"/>
                  <a:pt x="1047638" y="1090338"/>
                  <a:pt x="1046812" y="1091886"/>
                </a:cubicBezTo>
                <a:cubicBezTo>
                  <a:pt x="1045883" y="1090957"/>
                  <a:pt x="1045056" y="1090028"/>
                  <a:pt x="1045056" y="1090802"/>
                </a:cubicBezTo>
                <a:cubicBezTo>
                  <a:pt x="1044127" y="1089873"/>
                  <a:pt x="1043817" y="1089098"/>
                  <a:pt x="1043714" y="1088324"/>
                </a:cubicBezTo>
                <a:cubicBezTo>
                  <a:pt x="1043611" y="1087395"/>
                  <a:pt x="1043817" y="1086620"/>
                  <a:pt x="1044230" y="1085845"/>
                </a:cubicBezTo>
                <a:close/>
                <a:moveTo>
                  <a:pt x="1482553" y="1085691"/>
                </a:moveTo>
                <a:cubicBezTo>
                  <a:pt x="1482863" y="1085691"/>
                  <a:pt x="1483276" y="1085691"/>
                  <a:pt x="1483586" y="1086000"/>
                </a:cubicBezTo>
                <a:cubicBezTo>
                  <a:pt x="1483586" y="1086000"/>
                  <a:pt x="1483586" y="1086000"/>
                  <a:pt x="1483482" y="1086775"/>
                </a:cubicBezTo>
                <a:cubicBezTo>
                  <a:pt x="1483482" y="1086775"/>
                  <a:pt x="1482656" y="1086775"/>
                  <a:pt x="1482037" y="1086000"/>
                </a:cubicBezTo>
                <a:cubicBezTo>
                  <a:pt x="1482037" y="1086000"/>
                  <a:pt x="1482346" y="1085845"/>
                  <a:pt x="1482553" y="1085691"/>
                </a:cubicBezTo>
                <a:close/>
                <a:moveTo>
                  <a:pt x="3855855" y="1085654"/>
                </a:moveTo>
                <a:cubicBezTo>
                  <a:pt x="3860336" y="1086508"/>
                  <a:pt x="3863965" y="1090491"/>
                  <a:pt x="3866098" y="1093052"/>
                </a:cubicBezTo>
                <a:lnTo>
                  <a:pt x="3866526" y="1093764"/>
                </a:lnTo>
                <a:lnTo>
                  <a:pt x="3868020" y="1094332"/>
                </a:lnTo>
                <a:lnTo>
                  <a:pt x="3868233" y="1093905"/>
                </a:lnTo>
                <a:lnTo>
                  <a:pt x="3868446" y="1094474"/>
                </a:lnTo>
                <a:lnTo>
                  <a:pt x="3871007" y="1095470"/>
                </a:lnTo>
                <a:lnTo>
                  <a:pt x="3870153" y="1097462"/>
                </a:lnTo>
                <a:lnTo>
                  <a:pt x="3871221" y="1101019"/>
                </a:lnTo>
                <a:cubicBezTo>
                  <a:pt x="3871221" y="1102300"/>
                  <a:pt x="3870794" y="1103011"/>
                  <a:pt x="3869086" y="1103438"/>
                </a:cubicBezTo>
                <a:cubicBezTo>
                  <a:pt x="3866953" y="1105003"/>
                  <a:pt x="3865672" y="1102726"/>
                  <a:pt x="3862470" y="1103580"/>
                </a:cubicBezTo>
                <a:cubicBezTo>
                  <a:pt x="3859696" y="1104718"/>
                  <a:pt x="3859269" y="1108133"/>
                  <a:pt x="3857989" y="1111832"/>
                </a:cubicBezTo>
                <a:lnTo>
                  <a:pt x="3855855" y="1115957"/>
                </a:lnTo>
                <a:lnTo>
                  <a:pt x="3857135" y="1114819"/>
                </a:lnTo>
                <a:cubicBezTo>
                  <a:pt x="3862257" y="1111974"/>
                  <a:pt x="3870153" y="1110551"/>
                  <a:pt x="3874209" y="1116384"/>
                </a:cubicBezTo>
                <a:cubicBezTo>
                  <a:pt x="3870153" y="1120794"/>
                  <a:pt x="3866526" y="1121933"/>
                  <a:pt x="3863111" y="1121648"/>
                </a:cubicBezTo>
                <a:lnTo>
                  <a:pt x="3853934" y="1118376"/>
                </a:lnTo>
                <a:lnTo>
                  <a:pt x="3849452" y="1121933"/>
                </a:lnTo>
                <a:cubicBezTo>
                  <a:pt x="3848811" y="1118518"/>
                  <a:pt x="3841555" y="1119799"/>
                  <a:pt x="3840702" y="1114819"/>
                </a:cubicBezTo>
                <a:cubicBezTo>
                  <a:pt x="3836647" y="1100450"/>
                  <a:pt x="3840488" y="1098458"/>
                  <a:pt x="3848171" y="1092910"/>
                </a:cubicBezTo>
                <a:cubicBezTo>
                  <a:pt x="3847531" y="1093905"/>
                  <a:pt x="3849025" y="1093479"/>
                  <a:pt x="3849025" y="1093479"/>
                </a:cubicBezTo>
                <a:cubicBezTo>
                  <a:pt x="3852226" y="1092625"/>
                  <a:pt x="3847318" y="1087930"/>
                  <a:pt x="3851159" y="1085938"/>
                </a:cubicBezTo>
                <a:cubicBezTo>
                  <a:pt x="3852866" y="1085369"/>
                  <a:pt x="3854361" y="1085369"/>
                  <a:pt x="3855855" y="1085654"/>
                </a:cubicBezTo>
                <a:close/>
                <a:moveTo>
                  <a:pt x="1298137" y="1085381"/>
                </a:moveTo>
                <a:cubicBezTo>
                  <a:pt x="1306088" y="1085845"/>
                  <a:pt x="1310425" y="1096533"/>
                  <a:pt x="1309908" y="1102264"/>
                </a:cubicBezTo>
                <a:cubicBezTo>
                  <a:pt x="1307018" y="1104898"/>
                  <a:pt x="1304230" y="1105672"/>
                  <a:pt x="1301751" y="1105053"/>
                </a:cubicBezTo>
                <a:cubicBezTo>
                  <a:pt x="1298034" y="1104123"/>
                  <a:pt x="1295246" y="1100561"/>
                  <a:pt x="1294317" y="1096378"/>
                </a:cubicBezTo>
                <a:cubicBezTo>
                  <a:pt x="1293284" y="1092351"/>
                  <a:pt x="1294317" y="1087859"/>
                  <a:pt x="1298137" y="1085381"/>
                </a:cubicBezTo>
                <a:close/>
                <a:moveTo>
                  <a:pt x="1216255" y="1085226"/>
                </a:moveTo>
                <a:cubicBezTo>
                  <a:pt x="1217288" y="1084452"/>
                  <a:pt x="1218630" y="1084606"/>
                  <a:pt x="1219869" y="1085226"/>
                </a:cubicBezTo>
                <a:cubicBezTo>
                  <a:pt x="1221108" y="1085845"/>
                  <a:pt x="1222347" y="1086775"/>
                  <a:pt x="1223277" y="1087859"/>
                </a:cubicBezTo>
                <a:cubicBezTo>
                  <a:pt x="1222554" y="1087395"/>
                  <a:pt x="1222554" y="1087395"/>
                  <a:pt x="1222554" y="1087395"/>
                </a:cubicBezTo>
                <a:cubicBezTo>
                  <a:pt x="1221315" y="1087549"/>
                  <a:pt x="1222037" y="1088014"/>
                  <a:pt x="1221625" y="1088788"/>
                </a:cubicBezTo>
                <a:cubicBezTo>
                  <a:pt x="1221625" y="1088788"/>
                  <a:pt x="1222037" y="1088014"/>
                  <a:pt x="1222347" y="1089253"/>
                </a:cubicBezTo>
                <a:cubicBezTo>
                  <a:pt x="1221625" y="1088788"/>
                  <a:pt x="1221211" y="1089408"/>
                  <a:pt x="1220798" y="1090182"/>
                </a:cubicBezTo>
                <a:cubicBezTo>
                  <a:pt x="1218321" y="1090492"/>
                  <a:pt x="1215120" y="1090492"/>
                  <a:pt x="1214087" y="1088788"/>
                </a:cubicBezTo>
                <a:cubicBezTo>
                  <a:pt x="1213467" y="1086465"/>
                  <a:pt x="1215016" y="1085536"/>
                  <a:pt x="1216255" y="1085226"/>
                </a:cubicBezTo>
                <a:close/>
                <a:moveTo>
                  <a:pt x="1547295" y="1084142"/>
                </a:moveTo>
                <a:cubicBezTo>
                  <a:pt x="1548431" y="1084452"/>
                  <a:pt x="1551322" y="1086000"/>
                  <a:pt x="1551218" y="1088943"/>
                </a:cubicBezTo>
                <a:cubicBezTo>
                  <a:pt x="1551012" y="1091886"/>
                  <a:pt x="1553077" y="1093745"/>
                  <a:pt x="1552974" y="1096688"/>
                </a:cubicBezTo>
                <a:cubicBezTo>
                  <a:pt x="1552974" y="1096688"/>
                  <a:pt x="1552974" y="1096533"/>
                  <a:pt x="1551735" y="1096224"/>
                </a:cubicBezTo>
                <a:cubicBezTo>
                  <a:pt x="1551012" y="1091886"/>
                  <a:pt x="1547192" y="1088943"/>
                  <a:pt x="1547295" y="1084142"/>
                </a:cubicBezTo>
                <a:close/>
                <a:moveTo>
                  <a:pt x="1446168" y="1083561"/>
                </a:moveTo>
                <a:cubicBezTo>
                  <a:pt x="1448711" y="1082205"/>
                  <a:pt x="1451834" y="1082283"/>
                  <a:pt x="1453951" y="1085381"/>
                </a:cubicBezTo>
                <a:cubicBezTo>
                  <a:pt x="1453848" y="1088634"/>
                  <a:pt x="1448375" y="1093900"/>
                  <a:pt x="1445691" y="1094830"/>
                </a:cubicBezTo>
                <a:cubicBezTo>
                  <a:pt x="1443109" y="1093745"/>
                  <a:pt x="1442076" y="1092196"/>
                  <a:pt x="1441870" y="1090338"/>
                </a:cubicBezTo>
                <a:cubicBezTo>
                  <a:pt x="1441664" y="1087704"/>
                  <a:pt x="1443626" y="1084916"/>
                  <a:pt x="1446168" y="1083561"/>
                </a:cubicBezTo>
                <a:close/>
                <a:moveTo>
                  <a:pt x="1352244" y="1083522"/>
                </a:moveTo>
                <a:cubicBezTo>
                  <a:pt x="1356374" y="1086620"/>
                  <a:pt x="1351624" y="1090647"/>
                  <a:pt x="1348940" y="1090182"/>
                </a:cubicBezTo>
                <a:cubicBezTo>
                  <a:pt x="1347081" y="1089098"/>
                  <a:pt x="1346668" y="1087704"/>
                  <a:pt x="1347081" y="1086620"/>
                </a:cubicBezTo>
                <a:cubicBezTo>
                  <a:pt x="1347494" y="1085381"/>
                  <a:pt x="1348630" y="1084452"/>
                  <a:pt x="1349869" y="1083987"/>
                </a:cubicBezTo>
                <a:cubicBezTo>
                  <a:pt x="1350695" y="1083522"/>
                  <a:pt x="1351521" y="1083367"/>
                  <a:pt x="1352244" y="1083522"/>
                </a:cubicBezTo>
                <a:close/>
                <a:moveTo>
                  <a:pt x="5047804" y="1083520"/>
                </a:moveTo>
                <a:cubicBezTo>
                  <a:pt x="5055274" y="1083378"/>
                  <a:pt x="5060822" y="1085654"/>
                  <a:pt x="5066158" y="1083947"/>
                </a:cubicBezTo>
                <a:cubicBezTo>
                  <a:pt x="5066158" y="1083947"/>
                  <a:pt x="5066158" y="1083947"/>
                  <a:pt x="5068079" y="1086365"/>
                </a:cubicBezTo>
                <a:cubicBezTo>
                  <a:pt x="5069359" y="1086365"/>
                  <a:pt x="5069359" y="1086365"/>
                  <a:pt x="5069359" y="1086365"/>
                </a:cubicBezTo>
                <a:cubicBezTo>
                  <a:pt x="5069786" y="1086365"/>
                  <a:pt x="5070213" y="1087076"/>
                  <a:pt x="5070213" y="1087646"/>
                </a:cubicBezTo>
                <a:cubicBezTo>
                  <a:pt x="5070213" y="1088215"/>
                  <a:pt x="5070213" y="1088784"/>
                  <a:pt x="5070213" y="1088784"/>
                </a:cubicBezTo>
                <a:cubicBezTo>
                  <a:pt x="5068719" y="1091202"/>
                  <a:pt x="5065517" y="1090065"/>
                  <a:pt x="5063170" y="1089922"/>
                </a:cubicBezTo>
                <a:cubicBezTo>
                  <a:pt x="5061889" y="1092340"/>
                  <a:pt x="5058902" y="1087503"/>
                  <a:pt x="5057621" y="1089922"/>
                </a:cubicBezTo>
                <a:cubicBezTo>
                  <a:pt x="5053566" y="1084943"/>
                  <a:pt x="5047163" y="1090918"/>
                  <a:pt x="5039694" y="1084658"/>
                </a:cubicBezTo>
                <a:cubicBezTo>
                  <a:pt x="5042682" y="1083804"/>
                  <a:pt x="5045456" y="1083520"/>
                  <a:pt x="5047804" y="1083520"/>
                </a:cubicBezTo>
                <a:close/>
                <a:moveTo>
                  <a:pt x="1011498" y="1083367"/>
                </a:moveTo>
                <a:cubicBezTo>
                  <a:pt x="1016145" y="1085381"/>
                  <a:pt x="1017694" y="1088478"/>
                  <a:pt x="1018106" y="1092971"/>
                </a:cubicBezTo>
                <a:cubicBezTo>
                  <a:pt x="1016661" y="1093590"/>
                  <a:pt x="1013150" y="1092042"/>
                  <a:pt x="1010879" y="1091112"/>
                </a:cubicBezTo>
                <a:cubicBezTo>
                  <a:pt x="1010259" y="1089873"/>
                  <a:pt x="1010053" y="1088634"/>
                  <a:pt x="1010156" y="1087240"/>
                </a:cubicBezTo>
                <a:cubicBezTo>
                  <a:pt x="1010362" y="1086000"/>
                  <a:pt x="1010775" y="1084606"/>
                  <a:pt x="1011498" y="1083367"/>
                </a:cubicBezTo>
                <a:close/>
                <a:moveTo>
                  <a:pt x="1425659" y="1082593"/>
                </a:moveTo>
                <a:cubicBezTo>
                  <a:pt x="1425762" y="1083987"/>
                  <a:pt x="1425762" y="1084606"/>
                  <a:pt x="1425659" y="1085226"/>
                </a:cubicBezTo>
                <a:lnTo>
                  <a:pt x="1425556" y="1085536"/>
                </a:lnTo>
                <a:lnTo>
                  <a:pt x="1425969" y="1085536"/>
                </a:lnTo>
                <a:lnTo>
                  <a:pt x="1425142" y="1086775"/>
                </a:lnTo>
                <a:lnTo>
                  <a:pt x="1424833" y="1087395"/>
                </a:lnTo>
                <a:lnTo>
                  <a:pt x="1424730" y="1087085"/>
                </a:lnTo>
                <a:lnTo>
                  <a:pt x="1422974" y="1088634"/>
                </a:lnTo>
                <a:cubicBezTo>
                  <a:pt x="1422974" y="1088634"/>
                  <a:pt x="1422768" y="1089563"/>
                  <a:pt x="1422561" y="1090338"/>
                </a:cubicBezTo>
                <a:cubicBezTo>
                  <a:pt x="1420496" y="1092661"/>
                  <a:pt x="1419464" y="1094210"/>
                  <a:pt x="1416263" y="1093281"/>
                </a:cubicBezTo>
                <a:cubicBezTo>
                  <a:pt x="1416366" y="1092351"/>
                  <a:pt x="1418225" y="1090802"/>
                  <a:pt x="1419257" y="1090028"/>
                </a:cubicBezTo>
                <a:cubicBezTo>
                  <a:pt x="1419361" y="1089253"/>
                  <a:pt x="1420290" y="1088478"/>
                  <a:pt x="1421219" y="1088478"/>
                </a:cubicBezTo>
                <a:cubicBezTo>
                  <a:pt x="1421219" y="1088478"/>
                  <a:pt x="1422251" y="1087704"/>
                  <a:pt x="1422355" y="1086930"/>
                </a:cubicBezTo>
                <a:lnTo>
                  <a:pt x="1424007" y="1086000"/>
                </a:lnTo>
                <a:lnTo>
                  <a:pt x="1423903" y="1085845"/>
                </a:lnTo>
                <a:cubicBezTo>
                  <a:pt x="1423491" y="1085226"/>
                  <a:pt x="1423284" y="1084606"/>
                  <a:pt x="1423594" y="1084142"/>
                </a:cubicBezTo>
                <a:cubicBezTo>
                  <a:pt x="1423800" y="1083522"/>
                  <a:pt x="1423903" y="1083367"/>
                  <a:pt x="1424110" y="1083212"/>
                </a:cubicBezTo>
                <a:cubicBezTo>
                  <a:pt x="1424420" y="1082902"/>
                  <a:pt x="1424833" y="1082748"/>
                  <a:pt x="1425659" y="1082593"/>
                </a:cubicBezTo>
                <a:close/>
                <a:moveTo>
                  <a:pt x="4817524" y="1082381"/>
                </a:moveTo>
                <a:cubicBezTo>
                  <a:pt x="4818591" y="1082097"/>
                  <a:pt x="4819872" y="1082097"/>
                  <a:pt x="4820939" y="1082524"/>
                </a:cubicBezTo>
                <a:cubicBezTo>
                  <a:pt x="4826488" y="1090207"/>
                  <a:pt x="4817524" y="1094048"/>
                  <a:pt x="4813469" y="1091345"/>
                </a:cubicBezTo>
                <a:cubicBezTo>
                  <a:pt x="4811548" y="1087076"/>
                  <a:pt x="4814109" y="1083378"/>
                  <a:pt x="4817524" y="1082381"/>
                </a:cubicBezTo>
                <a:close/>
                <a:moveTo>
                  <a:pt x="4204369" y="1082381"/>
                </a:moveTo>
                <a:cubicBezTo>
                  <a:pt x="4205649" y="1083235"/>
                  <a:pt x="4208211" y="1083662"/>
                  <a:pt x="4209918" y="1085654"/>
                </a:cubicBezTo>
                <a:cubicBezTo>
                  <a:pt x="4209704" y="1091629"/>
                  <a:pt x="4206716" y="1095044"/>
                  <a:pt x="4202021" y="1096324"/>
                </a:cubicBezTo>
                <a:cubicBezTo>
                  <a:pt x="4196686" y="1093194"/>
                  <a:pt x="4198606" y="1084089"/>
                  <a:pt x="4204369" y="1082381"/>
                </a:cubicBezTo>
                <a:close/>
                <a:moveTo>
                  <a:pt x="4827768" y="1082097"/>
                </a:moveTo>
                <a:cubicBezTo>
                  <a:pt x="4833957" y="1082951"/>
                  <a:pt x="4840360" y="1091345"/>
                  <a:pt x="4843561" y="1100734"/>
                </a:cubicBezTo>
                <a:cubicBezTo>
                  <a:pt x="4846762" y="1110124"/>
                  <a:pt x="4846549" y="1120510"/>
                  <a:pt x="4839506" y="1125205"/>
                </a:cubicBezTo>
                <a:cubicBezTo>
                  <a:pt x="4840360" y="1107990"/>
                  <a:pt x="4823713" y="1100876"/>
                  <a:pt x="4827768" y="1082097"/>
                </a:cubicBezTo>
                <a:close/>
                <a:moveTo>
                  <a:pt x="1537589" y="1081818"/>
                </a:moveTo>
                <a:lnTo>
                  <a:pt x="1538621" y="1082128"/>
                </a:lnTo>
                <a:lnTo>
                  <a:pt x="1538311" y="1081818"/>
                </a:lnTo>
                <a:close/>
                <a:moveTo>
                  <a:pt x="4919966" y="1081671"/>
                </a:moveTo>
                <a:cubicBezTo>
                  <a:pt x="4923807" y="1081386"/>
                  <a:pt x="4930210" y="1082951"/>
                  <a:pt x="4931063" y="1082951"/>
                </a:cubicBezTo>
                <a:cubicBezTo>
                  <a:pt x="4931063" y="1082951"/>
                  <a:pt x="4932344" y="1082951"/>
                  <a:pt x="4933411" y="1082951"/>
                </a:cubicBezTo>
                <a:cubicBezTo>
                  <a:pt x="4934478" y="1084089"/>
                  <a:pt x="4934265" y="1085369"/>
                  <a:pt x="4935545" y="1085369"/>
                </a:cubicBezTo>
                <a:cubicBezTo>
                  <a:pt x="4931703" y="1088784"/>
                  <a:pt x="4928289" y="1087646"/>
                  <a:pt x="4925087" y="1086365"/>
                </a:cubicBezTo>
                <a:cubicBezTo>
                  <a:pt x="4922954" y="1085228"/>
                  <a:pt x="4921673" y="1085228"/>
                  <a:pt x="4919325" y="1086365"/>
                </a:cubicBezTo>
                <a:cubicBezTo>
                  <a:pt x="4919325" y="1086365"/>
                  <a:pt x="4919325" y="1086223"/>
                  <a:pt x="4917191" y="1083804"/>
                </a:cubicBezTo>
                <a:lnTo>
                  <a:pt x="4917404" y="1082666"/>
                </a:lnTo>
                <a:cubicBezTo>
                  <a:pt x="4917831" y="1082097"/>
                  <a:pt x="4918685" y="1081813"/>
                  <a:pt x="4919966" y="1081671"/>
                </a:cubicBezTo>
                <a:close/>
                <a:moveTo>
                  <a:pt x="3784786" y="1081101"/>
                </a:moveTo>
                <a:cubicBezTo>
                  <a:pt x="3785426" y="1083804"/>
                  <a:pt x="3786706" y="1085512"/>
                  <a:pt x="3787347" y="1088073"/>
                </a:cubicBezTo>
                <a:cubicBezTo>
                  <a:pt x="3783718" y="1091345"/>
                  <a:pt x="3784145" y="1097320"/>
                  <a:pt x="3776889" y="1096039"/>
                </a:cubicBezTo>
                <a:cubicBezTo>
                  <a:pt x="3772621" y="1090633"/>
                  <a:pt x="3776676" y="1080674"/>
                  <a:pt x="3784786" y="1081101"/>
                </a:cubicBezTo>
                <a:close/>
                <a:moveTo>
                  <a:pt x="4146106" y="1080674"/>
                </a:moveTo>
                <a:cubicBezTo>
                  <a:pt x="4149093" y="1081813"/>
                  <a:pt x="4150801" y="1079679"/>
                  <a:pt x="4153789" y="1080817"/>
                </a:cubicBezTo>
                <a:cubicBezTo>
                  <a:pt x="4149947" y="1090491"/>
                  <a:pt x="4146532" y="1101161"/>
                  <a:pt x="4138849" y="1101019"/>
                </a:cubicBezTo>
                <a:cubicBezTo>
                  <a:pt x="4135221" y="1095186"/>
                  <a:pt x="4141623" y="1085512"/>
                  <a:pt x="4146106" y="1080674"/>
                </a:cubicBezTo>
                <a:close/>
                <a:moveTo>
                  <a:pt x="993222" y="1080114"/>
                </a:moveTo>
                <a:cubicBezTo>
                  <a:pt x="994048" y="1079340"/>
                  <a:pt x="994977" y="1080269"/>
                  <a:pt x="995803" y="1080269"/>
                </a:cubicBezTo>
                <a:cubicBezTo>
                  <a:pt x="997455" y="1081353"/>
                  <a:pt x="999933" y="1087240"/>
                  <a:pt x="999107" y="1088014"/>
                </a:cubicBezTo>
                <a:cubicBezTo>
                  <a:pt x="997146" y="1086620"/>
                  <a:pt x="993945" y="1084142"/>
                  <a:pt x="993119" y="1081973"/>
                </a:cubicBezTo>
                <a:cubicBezTo>
                  <a:pt x="992809" y="1081353"/>
                  <a:pt x="992809" y="1080579"/>
                  <a:pt x="993222" y="1080114"/>
                </a:cubicBezTo>
                <a:close/>
                <a:moveTo>
                  <a:pt x="1211093" y="1079959"/>
                </a:moveTo>
                <a:cubicBezTo>
                  <a:pt x="1213570" y="1081508"/>
                  <a:pt x="1214397" y="1083987"/>
                  <a:pt x="1212538" y="1086620"/>
                </a:cubicBezTo>
                <a:cubicBezTo>
                  <a:pt x="1210783" y="1087549"/>
                  <a:pt x="1209131" y="1086775"/>
                  <a:pt x="1207478" y="1086000"/>
                </a:cubicBezTo>
                <a:cubicBezTo>
                  <a:pt x="1206136" y="1085226"/>
                  <a:pt x="1205723" y="1084452"/>
                  <a:pt x="1205930" y="1083522"/>
                </a:cubicBezTo>
                <a:cubicBezTo>
                  <a:pt x="1206033" y="1082748"/>
                  <a:pt x="1206756" y="1081818"/>
                  <a:pt x="1207582" y="1080889"/>
                </a:cubicBezTo>
                <a:cubicBezTo>
                  <a:pt x="1209440" y="1079185"/>
                  <a:pt x="1211093" y="1079959"/>
                  <a:pt x="1211093" y="1079959"/>
                </a:cubicBezTo>
                <a:close/>
                <a:moveTo>
                  <a:pt x="964413" y="1079495"/>
                </a:moveTo>
                <a:cubicBezTo>
                  <a:pt x="965343" y="1077946"/>
                  <a:pt x="967098" y="1078875"/>
                  <a:pt x="968854" y="1080734"/>
                </a:cubicBezTo>
                <a:cubicBezTo>
                  <a:pt x="973190" y="1083677"/>
                  <a:pt x="974016" y="1086310"/>
                  <a:pt x="971332" y="1088478"/>
                </a:cubicBezTo>
                <a:cubicBezTo>
                  <a:pt x="970505" y="1088478"/>
                  <a:pt x="967821" y="1087240"/>
                  <a:pt x="967821" y="1088169"/>
                </a:cubicBezTo>
                <a:cubicBezTo>
                  <a:pt x="965859" y="1086000"/>
                  <a:pt x="964000" y="1083522"/>
                  <a:pt x="963897" y="1081353"/>
                </a:cubicBezTo>
                <a:cubicBezTo>
                  <a:pt x="963794" y="1080734"/>
                  <a:pt x="964000" y="1080114"/>
                  <a:pt x="964413" y="1079495"/>
                </a:cubicBezTo>
                <a:close/>
                <a:moveTo>
                  <a:pt x="4470717" y="1079394"/>
                </a:moveTo>
                <a:cubicBezTo>
                  <a:pt x="4477546" y="1079252"/>
                  <a:pt x="4482028" y="1083662"/>
                  <a:pt x="4484589" y="1089353"/>
                </a:cubicBezTo>
                <a:cubicBezTo>
                  <a:pt x="4487364" y="1095044"/>
                  <a:pt x="4488217" y="1101873"/>
                  <a:pt x="4488004" y="1106568"/>
                </a:cubicBezTo>
                <a:cubicBezTo>
                  <a:pt x="4484376" y="1103011"/>
                  <a:pt x="4480534" y="1099739"/>
                  <a:pt x="4477333" y="1095470"/>
                </a:cubicBezTo>
                <a:cubicBezTo>
                  <a:pt x="4474131" y="1091345"/>
                  <a:pt x="4471570" y="1086223"/>
                  <a:pt x="4470717" y="1079394"/>
                </a:cubicBezTo>
                <a:close/>
                <a:moveTo>
                  <a:pt x="1125596" y="1079185"/>
                </a:moveTo>
                <a:cubicBezTo>
                  <a:pt x="1126526" y="1079805"/>
                  <a:pt x="1127455" y="1080579"/>
                  <a:pt x="1126629" y="1080734"/>
                </a:cubicBezTo>
                <a:cubicBezTo>
                  <a:pt x="1126629" y="1081508"/>
                  <a:pt x="1125803" y="1081663"/>
                  <a:pt x="1124977" y="1082593"/>
                </a:cubicBezTo>
                <a:cubicBezTo>
                  <a:pt x="1123325" y="1083677"/>
                  <a:pt x="1120743" y="1083987"/>
                  <a:pt x="1119814" y="1083212"/>
                </a:cubicBezTo>
                <a:cubicBezTo>
                  <a:pt x="1118885" y="1082593"/>
                  <a:pt x="1118885" y="1081663"/>
                  <a:pt x="1118885" y="1081663"/>
                </a:cubicBezTo>
                <a:cubicBezTo>
                  <a:pt x="1120434" y="1079030"/>
                  <a:pt x="1122912" y="1077017"/>
                  <a:pt x="1125596" y="1079185"/>
                </a:cubicBezTo>
                <a:close/>
                <a:moveTo>
                  <a:pt x="4299767" y="1078967"/>
                </a:moveTo>
                <a:cubicBezTo>
                  <a:pt x="4300408" y="1079821"/>
                  <a:pt x="4300835" y="1081101"/>
                  <a:pt x="4301048" y="1082524"/>
                </a:cubicBezTo>
                <a:cubicBezTo>
                  <a:pt x="4301902" y="1087076"/>
                  <a:pt x="4300835" y="1093479"/>
                  <a:pt x="4299341" y="1096039"/>
                </a:cubicBezTo>
                <a:cubicBezTo>
                  <a:pt x="4295499" y="1097178"/>
                  <a:pt x="4292938" y="1096466"/>
                  <a:pt x="4291017" y="1094902"/>
                </a:cubicBezTo>
                <a:cubicBezTo>
                  <a:pt x="4285895" y="1090065"/>
                  <a:pt x="4289523" y="1076691"/>
                  <a:pt x="4299767" y="1078967"/>
                </a:cubicBezTo>
                <a:close/>
                <a:moveTo>
                  <a:pt x="4038542" y="1078967"/>
                </a:moveTo>
                <a:cubicBezTo>
                  <a:pt x="4047292" y="1080390"/>
                  <a:pt x="4044517" y="1090207"/>
                  <a:pt x="4040249" y="1091345"/>
                </a:cubicBezTo>
                <a:cubicBezTo>
                  <a:pt x="4034701" y="1089068"/>
                  <a:pt x="4034487" y="1081386"/>
                  <a:pt x="4038542" y="1078967"/>
                </a:cubicBezTo>
                <a:close/>
                <a:moveTo>
                  <a:pt x="1430202" y="1078720"/>
                </a:moveTo>
                <a:cubicBezTo>
                  <a:pt x="1434539" y="1079495"/>
                  <a:pt x="1435778" y="1079805"/>
                  <a:pt x="1436604" y="1084297"/>
                </a:cubicBezTo>
                <a:cubicBezTo>
                  <a:pt x="1436604" y="1084297"/>
                  <a:pt x="1436295" y="1085381"/>
                  <a:pt x="1436295" y="1085381"/>
                </a:cubicBezTo>
                <a:cubicBezTo>
                  <a:pt x="1435881" y="1089563"/>
                  <a:pt x="1432371" y="1093281"/>
                  <a:pt x="1430512" y="1093281"/>
                </a:cubicBezTo>
                <a:cubicBezTo>
                  <a:pt x="1428653" y="1092816"/>
                  <a:pt x="1426795" y="1091267"/>
                  <a:pt x="1426278" y="1089098"/>
                </a:cubicBezTo>
                <a:cubicBezTo>
                  <a:pt x="1426072" y="1088324"/>
                  <a:pt x="1426072" y="1087549"/>
                  <a:pt x="1426278" y="1086620"/>
                </a:cubicBezTo>
                <a:cubicBezTo>
                  <a:pt x="1426382" y="1083677"/>
                  <a:pt x="1429376" y="1082128"/>
                  <a:pt x="1430202" y="1078720"/>
                </a:cubicBezTo>
                <a:close/>
                <a:moveTo>
                  <a:pt x="1328082" y="1077636"/>
                </a:moveTo>
                <a:cubicBezTo>
                  <a:pt x="1330560" y="1081353"/>
                  <a:pt x="1329837" y="1084606"/>
                  <a:pt x="1327256" y="1088634"/>
                </a:cubicBezTo>
                <a:cubicBezTo>
                  <a:pt x="1325603" y="1088478"/>
                  <a:pt x="1323745" y="1085691"/>
                  <a:pt x="1322506" y="1083677"/>
                </a:cubicBezTo>
                <a:cubicBezTo>
                  <a:pt x="1323022" y="1081198"/>
                  <a:pt x="1325191" y="1078875"/>
                  <a:pt x="1328082" y="1077636"/>
                </a:cubicBezTo>
                <a:close/>
                <a:moveTo>
                  <a:pt x="4583616" y="1074699"/>
                </a:moveTo>
                <a:cubicBezTo>
                  <a:pt x="4586604" y="1074557"/>
                  <a:pt x="4589378" y="1075126"/>
                  <a:pt x="4590445" y="1076407"/>
                </a:cubicBezTo>
                <a:cubicBezTo>
                  <a:pt x="4591512" y="1088073"/>
                  <a:pt x="4582335" y="1089210"/>
                  <a:pt x="4578280" y="1083947"/>
                </a:cubicBezTo>
                <a:cubicBezTo>
                  <a:pt x="4577000" y="1082239"/>
                  <a:pt x="4576146" y="1079679"/>
                  <a:pt x="4576360" y="1076691"/>
                </a:cubicBezTo>
                <a:cubicBezTo>
                  <a:pt x="4577853" y="1075553"/>
                  <a:pt x="4580841" y="1074842"/>
                  <a:pt x="4583616" y="1074699"/>
                </a:cubicBezTo>
                <a:close/>
                <a:moveTo>
                  <a:pt x="3826616" y="1074699"/>
                </a:moveTo>
                <a:cubicBezTo>
                  <a:pt x="3832805" y="1081671"/>
                  <a:pt x="3840488" y="1083804"/>
                  <a:pt x="3840488" y="1083804"/>
                </a:cubicBezTo>
                <a:cubicBezTo>
                  <a:pt x="3841769" y="1085938"/>
                  <a:pt x="3841128" y="1086934"/>
                  <a:pt x="3841769" y="1085938"/>
                </a:cubicBezTo>
                <a:cubicBezTo>
                  <a:pt x="3842409" y="1089210"/>
                  <a:pt x="3843903" y="1093052"/>
                  <a:pt x="3841555" y="1094617"/>
                </a:cubicBezTo>
                <a:cubicBezTo>
                  <a:pt x="3832805" y="1097889"/>
                  <a:pt x="3827897" y="1082951"/>
                  <a:pt x="3825762" y="1080106"/>
                </a:cubicBezTo>
                <a:cubicBezTo>
                  <a:pt x="3825762" y="1080106"/>
                  <a:pt x="3824909" y="1079536"/>
                  <a:pt x="3824695" y="1077829"/>
                </a:cubicBezTo>
                <a:cubicBezTo>
                  <a:pt x="3823414" y="1075695"/>
                  <a:pt x="3826829" y="1076407"/>
                  <a:pt x="3826616" y="1074699"/>
                </a:cubicBezTo>
                <a:close/>
                <a:moveTo>
                  <a:pt x="1467994" y="1074074"/>
                </a:moveTo>
                <a:cubicBezTo>
                  <a:pt x="1469956" y="1072524"/>
                  <a:pt x="1473157" y="1072524"/>
                  <a:pt x="1476771" y="1075158"/>
                </a:cubicBezTo>
                <a:cubicBezTo>
                  <a:pt x="1479559" y="1082593"/>
                  <a:pt x="1472124" y="1088169"/>
                  <a:pt x="1466342" y="1082128"/>
                </a:cubicBezTo>
                <a:cubicBezTo>
                  <a:pt x="1465722" y="1080424"/>
                  <a:pt x="1465619" y="1078875"/>
                  <a:pt x="1465929" y="1077481"/>
                </a:cubicBezTo>
                <a:cubicBezTo>
                  <a:pt x="1466238" y="1076087"/>
                  <a:pt x="1466962" y="1074848"/>
                  <a:pt x="1467994" y="1074074"/>
                </a:cubicBezTo>
                <a:close/>
                <a:moveTo>
                  <a:pt x="4559499" y="1073561"/>
                </a:moveTo>
                <a:cubicBezTo>
                  <a:pt x="4571451" y="1076976"/>
                  <a:pt x="4570170" y="1091629"/>
                  <a:pt x="4562487" y="1093479"/>
                </a:cubicBezTo>
                <a:cubicBezTo>
                  <a:pt x="4560140" y="1094190"/>
                  <a:pt x="4556938" y="1093479"/>
                  <a:pt x="4553097" y="1090349"/>
                </a:cubicBezTo>
                <a:cubicBezTo>
                  <a:pt x="4556725" y="1083235"/>
                  <a:pt x="4553737" y="1077687"/>
                  <a:pt x="4559499" y="1073561"/>
                </a:cubicBezTo>
                <a:close/>
                <a:moveTo>
                  <a:pt x="3424960" y="1073277"/>
                </a:moveTo>
                <a:lnTo>
                  <a:pt x="3424960" y="1074272"/>
                </a:lnTo>
                <a:lnTo>
                  <a:pt x="3426454" y="1074557"/>
                </a:lnTo>
                <a:close/>
                <a:moveTo>
                  <a:pt x="1083364" y="1072679"/>
                </a:moveTo>
                <a:cubicBezTo>
                  <a:pt x="1083984" y="1072679"/>
                  <a:pt x="1084914" y="1073144"/>
                  <a:pt x="1086153" y="1074228"/>
                </a:cubicBezTo>
                <a:cubicBezTo>
                  <a:pt x="1087908" y="1076087"/>
                  <a:pt x="1089663" y="1077017"/>
                  <a:pt x="1089663" y="1077791"/>
                </a:cubicBezTo>
                <a:cubicBezTo>
                  <a:pt x="1090592" y="1077946"/>
                  <a:pt x="1091419" y="1078875"/>
                  <a:pt x="1092348" y="1079030"/>
                </a:cubicBezTo>
                <a:cubicBezTo>
                  <a:pt x="1092348" y="1079030"/>
                  <a:pt x="1092348" y="1079030"/>
                  <a:pt x="1092348" y="1079805"/>
                </a:cubicBezTo>
                <a:cubicBezTo>
                  <a:pt x="1088837" y="1078565"/>
                  <a:pt x="1084397" y="1079030"/>
                  <a:pt x="1081712" y="1077017"/>
                </a:cubicBezTo>
                <a:cubicBezTo>
                  <a:pt x="1081299" y="1076552"/>
                  <a:pt x="1080887" y="1076087"/>
                  <a:pt x="1080783" y="1075622"/>
                </a:cubicBezTo>
                <a:cubicBezTo>
                  <a:pt x="1080680" y="1075003"/>
                  <a:pt x="1080887" y="1074538"/>
                  <a:pt x="1081816" y="1073764"/>
                </a:cubicBezTo>
                <a:cubicBezTo>
                  <a:pt x="1082229" y="1072989"/>
                  <a:pt x="1082745" y="1072524"/>
                  <a:pt x="1083364" y="1072679"/>
                </a:cubicBezTo>
                <a:close/>
                <a:moveTo>
                  <a:pt x="1371721" y="1072602"/>
                </a:moveTo>
                <a:cubicBezTo>
                  <a:pt x="1372611" y="1072098"/>
                  <a:pt x="1373463" y="1071827"/>
                  <a:pt x="1374754" y="1073144"/>
                </a:cubicBezTo>
                <a:cubicBezTo>
                  <a:pt x="1375270" y="1074693"/>
                  <a:pt x="1374857" y="1076707"/>
                  <a:pt x="1372689" y="1079030"/>
                </a:cubicBezTo>
                <a:cubicBezTo>
                  <a:pt x="1368042" y="1078875"/>
                  <a:pt x="1368248" y="1076087"/>
                  <a:pt x="1368455" y="1073454"/>
                </a:cubicBezTo>
                <a:cubicBezTo>
                  <a:pt x="1369901" y="1073841"/>
                  <a:pt x="1370830" y="1073105"/>
                  <a:pt x="1371721" y="1072602"/>
                </a:cubicBezTo>
                <a:close/>
                <a:moveTo>
                  <a:pt x="1239075" y="1071285"/>
                </a:moveTo>
                <a:cubicBezTo>
                  <a:pt x="1239901" y="1070820"/>
                  <a:pt x="1240830" y="1070975"/>
                  <a:pt x="1241760" y="1071440"/>
                </a:cubicBezTo>
                <a:cubicBezTo>
                  <a:pt x="1242689" y="1071905"/>
                  <a:pt x="1243515" y="1072679"/>
                  <a:pt x="1244031" y="1073454"/>
                </a:cubicBezTo>
                <a:cubicBezTo>
                  <a:pt x="1244341" y="1074693"/>
                  <a:pt x="1244341" y="1074693"/>
                  <a:pt x="1244651" y="1075777"/>
                </a:cubicBezTo>
                <a:cubicBezTo>
                  <a:pt x="1243825" y="1077171"/>
                  <a:pt x="1243722" y="1079030"/>
                  <a:pt x="1242069" y="1079805"/>
                </a:cubicBezTo>
                <a:cubicBezTo>
                  <a:pt x="1239695" y="1080269"/>
                  <a:pt x="1236390" y="1077171"/>
                  <a:pt x="1235255" y="1075467"/>
                </a:cubicBezTo>
                <a:cubicBezTo>
                  <a:pt x="1234635" y="1073144"/>
                  <a:pt x="1236700" y="1071595"/>
                  <a:pt x="1239075" y="1071285"/>
                </a:cubicBezTo>
                <a:close/>
                <a:moveTo>
                  <a:pt x="4784017" y="1070574"/>
                </a:moveTo>
                <a:cubicBezTo>
                  <a:pt x="4783804" y="1073277"/>
                  <a:pt x="4785084" y="1073703"/>
                  <a:pt x="4782950" y="1077402"/>
                </a:cubicBezTo>
                <a:cubicBezTo>
                  <a:pt x="4781456" y="1076833"/>
                  <a:pt x="4779962" y="1076407"/>
                  <a:pt x="4778468" y="1075837"/>
                </a:cubicBezTo>
                <a:cubicBezTo>
                  <a:pt x="4779749" y="1072707"/>
                  <a:pt x="4781029" y="1069435"/>
                  <a:pt x="4784017" y="1070574"/>
                </a:cubicBezTo>
                <a:close/>
                <a:moveTo>
                  <a:pt x="3918173" y="1070004"/>
                </a:moveTo>
                <a:cubicBezTo>
                  <a:pt x="3918600" y="1072565"/>
                  <a:pt x="3919880" y="1077260"/>
                  <a:pt x="3919027" y="1079679"/>
                </a:cubicBezTo>
                <a:cubicBezTo>
                  <a:pt x="3918813" y="1080532"/>
                  <a:pt x="3918387" y="1081244"/>
                  <a:pt x="3917533" y="1081386"/>
                </a:cubicBezTo>
                <a:cubicBezTo>
                  <a:pt x="3917106" y="1078114"/>
                  <a:pt x="3914545" y="1073561"/>
                  <a:pt x="3918173" y="1070004"/>
                </a:cubicBezTo>
                <a:close/>
                <a:moveTo>
                  <a:pt x="1119814" y="1069891"/>
                </a:moveTo>
                <a:lnTo>
                  <a:pt x="1122499" y="1072060"/>
                </a:lnTo>
                <a:cubicBezTo>
                  <a:pt x="1121673" y="1072989"/>
                  <a:pt x="1120021" y="1074074"/>
                  <a:pt x="1119195" y="1073299"/>
                </a:cubicBezTo>
                <a:cubicBezTo>
                  <a:pt x="1118265" y="1072989"/>
                  <a:pt x="1118265" y="1072679"/>
                  <a:pt x="1118472" y="1072060"/>
                </a:cubicBezTo>
                <a:cubicBezTo>
                  <a:pt x="1118781" y="1071440"/>
                  <a:pt x="1119401" y="1070820"/>
                  <a:pt x="1119814" y="1069891"/>
                </a:cubicBezTo>
                <a:close/>
                <a:moveTo>
                  <a:pt x="1121982" y="1069426"/>
                </a:moveTo>
                <a:cubicBezTo>
                  <a:pt x="1122912" y="1070356"/>
                  <a:pt x="1121982" y="1070201"/>
                  <a:pt x="1121982" y="1070975"/>
                </a:cubicBezTo>
                <a:cubicBezTo>
                  <a:pt x="1121466" y="1070510"/>
                  <a:pt x="1121260" y="1070356"/>
                  <a:pt x="1121260" y="1070046"/>
                </a:cubicBezTo>
                <a:cubicBezTo>
                  <a:pt x="1121260" y="1069891"/>
                  <a:pt x="1121466" y="1069736"/>
                  <a:pt x="1121982" y="1069426"/>
                </a:cubicBezTo>
                <a:close/>
                <a:moveTo>
                  <a:pt x="3707314" y="1069293"/>
                </a:moveTo>
                <a:cubicBezTo>
                  <a:pt x="3718199" y="1068582"/>
                  <a:pt x="3728443" y="1072850"/>
                  <a:pt x="3732711" y="1082381"/>
                </a:cubicBezTo>
                <a:cubicBezTo>
                  <a:pt x="3728656" y="1091345"/>
                  <a:pt x="3722040" y="1097035"/>
                  <a:pt x="3714571" y="1099881"/>
                </a:cubicBezTo>
                <a:cubicBezTo>
                  <a:pt x="3702405" y="1104433"/>
                  <a:pt x="3688107" y="1100734"/>
                  <a:pt x="3679783" y="1089495"/>
                </a:cubicBezTo>
                <a:cubicBezTo>
                  <a:pt x="3680851" y="1088073"/>
                  <a:pt x="3681704" y="1086650"/>
                  <a:pt x="3680424" y="1085796"/>
                </a:cubicBezTo>
                <a:cubicBezTo>
                  <a:pt x="3685759" y="1075695"/>
                  <a:pt x="3696643" y="1070147"/>
                  <a:pt x="3707314" y="1069293"/>
                </a:cubicBezTo>
                <a:close/>
                <a:moveTo>
                  <a:pt x="3833232" y="1068724"/>
                </a:moveTo>
                <a:cubicBezTo>
                  <a:pt x="3833445" y="1070289"/>
                  <a:pt x="3833445" y="1070289"/>
                  <a:pt x="3832805" y="1071427"/>
                </a:cubicBezTo>
                <a:cubicBezTo>
                  <a:pt x="3831098" y="1071854"/>
                  <a:pt x="3830244" y="1071285"/>
                  <a:pt x="3828750" y="1071712"/>
                </a:cubicBezTo>
                <a:cubicBezTo>
                  <a:pt x="3829177" y="1074984"/>
                  <a:pt x="3829817" y="1073845"/>
                  <a:pt x="3828110" y="1074272"/>
                </a:cubicBezTo>
                <a:cubicBezTo>
                  <a:pt x="3828110" y="1074272"/>
                  <a:pt x="3828110" y="1074272"/>
                  <a:pt x="3826616" y="1074699"/>
                </a:cubicBezTo>
                <a:cubicBezTo>
                  <a:pt x="3826616" y="1074699"/>
                  <a:pt x="3825976" y="1075837"/>
                  <a:pt x="3824482" y="1071854"/>
                </a:cubicBezTo>
                <a:cubicBezTo>
                  <a:pt x="3826189" y="1071427"/>
                  <a:pt x="3830885" y="1070289"/>
                  <a:pt x="3830885" y="1070289"/>
                </a:cubicBezTo>
                <a:cubicBezTo>
                  <a:pt x="3831524" y="1069151"/>
                  <a:pt x="3831524" y="1069151"/>
                  <a:pt x="3833232" y="1068724"/>
                </a:cubicBezTo>
                <a:close/>
                <a:moveTo>
                  <a:pt x="4445320" y="1066021"/>
                </a:moveTo>
                <a:cubicBezTo>
                  <a:pt x="4449161" y="1069578"/>
                  <a:pt x="4452576" y="1073703"/>
                  <a:pt x="4454924" y="1078825"/>
                </a:cubicBezTo>
                <a:cubicBezTo>
                  <a:pt x="4457485" y="1084089"/>
                  <a:pt x="4458979" y="1090349"/>
                  <a:pt x="4458765" y="1098031"/>
                </a:cubicBezTo>
                <a:cubicBezTo>
                  <a:pt x="4453003" y="1103865"/>
                  <a:pt x="4447241" y="1101730"/>
                  <a:pt x="4443186" y="1096324"/>
                </a:cubicBezTo>
                <a:cubicBezTo>
                  <a:pt x="4436570" y="1087503"/>
                  <a:pt x="4434862" y="1069862"/>
                  <a:pt x="4445320" y="1066021"/>
                </a:cubicBezTo>
                <a:close/>
                <a:moveTo>
                  <a:pt x="4475839" y="1065736"/>
                </a:moveTo>
                <a:cubicBezTo>
                  <a:pt x="4477973" y="1066021"/>
                  <a:pt x="4479254" y="1066875"/>
                  <a:pt x="4480107" y="1068013"/>
                </a:cubicBezTo>
                <a:cubicBezTo>
                  <a:pt x="4482241" y="1071285"/>
                  <a:pt x="4479040" y="1077260"/>
                  <a:pt x="4475626" y="1078256"/>
                </a:cubicBezTo>
                <a:cubicBezTo>
                  <a:pt x="4470503" y="1076122"/>
                  <a:pt x="4471357" y="1068297"/>
                  <a:pt x="4475839" y="1065736"/>
                </a:cubicBezTo>
                <a:close/>
                <a:moveTo>
                  <a:pt x="4628434" y="1065309"/>
                </a:moveTo>
                <a:cubicBezTo>
                  <a:pt x="4631849" y="1065452"/>
                  <a:pt x="4636330" y="1069151"/>
                  <a:pt x="4636544" y="1072707"/>
                </a:cubicBezTo>
                <a:cubicBezTo>
                  <a:pt x="4634410" y="1076122"/>
                  <a:pt x="4632275" y="1074842"/>
                  <a:pt x="4631208" y="1077118"/>
                </a:cubicBezTo>
                <a:cubicBezTo>
                  <a:pt x="4626513" y="1073419"/>
                  <a:pt x="4626513" y="1070004"/>
                  <a:pt x="4628434" y="1065309"/>
                </a:cubicBezTo>
                <a:close/>
                <a:moveTo>
                  <a:pt x="5014724" y="1064314"/>
                </a:moveTo>
                <a:cubicBezTo>
                  <a:pt x="5017498" y="1068155"/>
                  <a:pt x="5013017" y="1076833"/>
                  <a:pt x="5008321" y="1077829"/>
                </a:cubicBezTo>
                <a:cubicBezTo>
                  <a:pt x="5012162" y="1070858"/>
                  <a:pt x="5008748" y="1065878"/>
                  <a:pt x="5014724" y="1064314"/>
                </a:cubicBezTo>
                <a:close/>
                <a:moveTo>
                  <a:pt x="4276718" y="1063887"/>
                </a:moveTo>
                <a:cubicBezTo>
                  <a:pt x="4277572" y="1064029"/>
                  <a:pt x="4278425" y="1064456"/>
                  <a:pt x="4279279" y="1065594"/>
                </a:cubicBezTo>
                <a:cubicBezTo>
                  <a:pt x="4275651" y="1068866"/>
                  <a:pt x="4273517" y="1071712"/>
                  <a:pt x="4271169" y="1074130"/>
                </a:cubicBezTo>
                <a:lnTo>
                  <a:pt x="4267968" y="1077118"/>
                </a:lnTo>
                <a:lnTo>
                  <a:pt x="4269249" y="1083235"/>
                </a:lnTo>
                <a:cubicBezTo>
                  <a:pt x="4269035" y="1085228"/>
                  <a:pt x="4267754" y="1086934"/>
                  <a:pt x="4266047" y="1088499"/>
                </a:cubicBezTo>
                <a:cubicBezTo>
                  <a:pt x="4259431" y="1087503"/>
                  <a:pt x="4256870" y="1078683"/>
                  <a:pt x="4261139" y="1074984"/>
                </a:cubicBezTo>
                <a:lnTo>
                  <a:pt x="4263273" y="1075126"/>
                </a:lnTo>
                <a:lnTo>
                  <a:pt x="4267114" y="1069720"/>
                </a:lnTo>
                <a:cubicBezTo>
                  <a:pt x="4268608" y="1068155"/>
                  <a:pt x="4269889" y="1067017"/>
                  <a:pt x="4270315" y="1067301"/>
                </a:cubicBezTo>
                <a:cubicBezTo>
                  <a:pt x="4270956" y="1066306"/>
                  <a:pt x="4272023" y="1066875"/>
                  <a:pt x="4272450" y="1065736"/>
                </a:cubicBezTo>
                <a:cubicBezTo>
                  <a:pt x="4272450" y="1065736"/>
                  <a:pt x="4272877" y="1064741"/>
                  <a:pt x="4274370" y="1064314"/>
                </a:cubicBezTo>
                <a:cubicBezTo>
                  <a:pt x="4275224" y="1064029"/>
                  <a:pt x="4276078" y="1063744"/>
                  <a:pt x="4276718" y="1063887"/>
                </a:cubicBezTo>
                <a:close/>
                <a:moveTo>
                  <a:pt x="1465619" y="1063850"/>
                </a:moveTo>
                <a:cubicBezTo>
                  <a:pt x="1466342" y="1064005"/>
                  <a:pt x="1466962" y="1064470"/>
                  <a:pt x="1467271" y="1065089"/>
                </a:cubicBezTo>
                <a:cubicBezTo>
                  <a:pt x="1467581" y="1066329"/>
                  <a:pt x="1466548" y="1066484"/>
                  <a:pt x="1466135" y="1067103"/>
                </a:cubicBezTo>
                <a:cubicBezTo>
                  <a:pt x="1464483" y="1068032"/>
                  <a:pt x="1457978" y="1066638"/>
                  <a:pt x="1457668" y="1065554"/>
                </a:cubicBezTo>
                <a:cubicBezTo>
                  <a:pt x="1459733" y="1064780"/>
                  <a:pt x="1463347" y="1063386"/>
                  <a:pt x="1465619" y="1063850"/>
                </a:cubicBezTo>
                <a:close/>
                <a:moveTo>
                  <a:pt x="1551012" y="1063541"/>
                </a:moveTo>
                <a:cubicBezTo>
                  <a:pt x="1556071" y="1064625"/>
                  <a:pt x="1556898" y="1071130"/>
                  <a:pt x="1557207" y="1075467"/>
                </a:cubicBezTo>
                <a:lnTo>
                  <a:pt x="1557517" y="1078255"/>
                </a:lnTo>
                <a:lnTo>
                  <a:pt x="1560098" y="1079340"/>
                </a:lnTo>
                <a:cubicBezTo>
                  <a:pt x="1560925" y="1080734"/>
                  <a:pt x="1559789" y="1082748"/>
                  <a:pt x="1558137" y="1083212"/>
                </a:cubicBezTo>
                <a:lnTo>
                  <a:pt x="1555968" y="1082593"/>
                </a:lnTo>
                <a:lnTo>
                  <a:pt x="1556175" y="1084297"/>
                </a:lnTo>
                <a:cubicBezTo>
                  <a:pt x="1554936" y="1083832"/>
                  <a:pt x="1551322" y="1082902"/>
                  <a:pt x="1551322" y="1082902"/>
                </a:cubicBezTo>
                <a:cubicBezTo>
                  <a:pt x="1550599" y="1083212"/>
                  <a:pt x="1550599" y="1083212"/>
                  <a:pt x="1549463" y="1082902"/>
                </a:cubicBezTo>
                <a:cubicBezTo>
                  <a:pt x="1549773" y="1081663"/>
                  <a:pt x="1549669" y="1081663"/>
                  <a:pt x="1550393" y="1081353"/>
                </a:cubicBezTo>
                <a:cubicBezTo>
                  <a:pt x="1551632" y="1081663"/>
                  <a:pt x="1552044" y="1082438"/>
                  <a:pt x="1553284" y="1082902"/>
                </a:cubicBezTo>
                <a:cubicBezTo>
                  <a:pt x="1553800" y="1080579"/>
                  <a:pt x="1553077" y="1081043"/>
                  <a:pt x="1554316" y="1081353"/>
                </a:cubicBezTo>
                <a:cubicBezTo>
                  <a:pt x="1554316" y="1081353"/>
                  <a:pt x="1554316" y="1081353"/>
                  <a:pt x="1555555" y="1081663"/>
                </a:cubicBezTo>
                <a:lnTo>
                  <a:pt x="1555762" y="1081818"/>
                </a:lnTo>
                <a:lnTo>
                  <a:pt x="1555865" y="1081663"/>
                </a:lnTo>
                <a:lnTo>
                  <a:pt x="1555555" y="1081663"/>
                </a:lnTo>
                <a:lnTo>
                  <a:pt x="1551425" y="1074074"/>
                </a:lnTo>
                <a:lnTo>
                  <a:pt x="1550393" y="1074074"/>
                </a:lnTo>
                <a:cubicBezTo>
                  <a:pt x="1551218" y="1074538"/>
                  <a:pt x="1549979" y="1074693"/>
                  <a:pt x="1549979" y="1074693"/>
                </a:cubicBezTo>
                <a:cubicBezTo>
                  <a:pt x="1549979" y="1074693"/>
                  <a:pt x="1549979" y="1074693"/>
                  <a:pt x="1550599" y="1077017"/>
                </a:cubicBezTo>
                <a:cubicBezTo>
                  <a:pt x="1550599" y="1077017"/>
                  <a:pt x="1551528" y="1082438"/>
                  <a:pt x="1546262" y="1083832"/>
                </a:cubicBezTo>
                <a:cubicBezTo>
                  <a:pt x="1546159" y="1083367"/>
                  <a:pt x="1545023" y="1083367"/>
                  <a:pt x="1543681" y="1083212"/>
                </a:cubicBezTo>
                <a:lnTo>
                  <a:pt x="1541099" y="1082748"/>
                </a:lnTo>
                <a:lnTo>
                  <a:pt x="1542235" y="1083057"/>
                </a:lnTo>
                <a:cubicBezTo>
                  <a:pt x="1543268" y="1083987"/>
                  <a:pt x="1543784" y="1085226"/>
                  <a:pt x="1543784" y="1086775"/>
                </a:cubicBezTo>
                <a:cubicBezTo>
                  <a:pt x="1540686" y="1089253"/>
                  <a:pt x="1537795" y="1088169"/>
                  <a:pt x="1537175" y="1085226"/>
                </a:cubicBezTo>
                <a:lnTo>
                  <a:pt x="1537382" y="1081818"/>
                </a:lnTo>
                <a:lnTo>
                  <a:pt x="1537279" y="1081663"/>
                </a:lnTo>
                <a:cubicBezTo>
                  <a:pt x="1535730" y="1081508"/>
                  <a:pt x="1534388" y="1081353"/>
                  <a:pt x="1533562" y="1081353"/>
                </a:cubicBezTo>
                <a:cubicBezTo>
                  <a:pt x="1533149" y="1080579"/>
                  <a:pt x="1533149" y="1080579"/>
                  <a:pt x="1533149" y="1080579"/>
                </a:cubicBezTo>
                <a:cubicBezTo>
                  <a:pt x="1533045" y="1079650"/>
                  <a:pt x="1533458" y="1079185"/>
                  <a:pt x="1534388" y="1079030"/>
                </a:cubicBezTo>
                <a:lnTo>
                  <a:pt x="1535730" y="1079030"/>
                </a:lnTo>
                <a:lnTo>
                  <a:pt x="1534078" y="1076087"/>
                </a:lnTo>
                <a:cubicBezTo>
                  <a:pt x="1535420" y="1074074"/>
                  <a:pt x="1534388" y="1070510"/>
                  <a:pt x="1540067" y="1068342"/>
                </a:cubicBezTo>
                <a:cubicBezTo>
                  <a:pt x="1546469" y="1066793"/>
                  <a:pt x="1548843" y="1073144"/>
                  <a:pt x="1549360" y="1072370"/>
                </a:cubicBezTo>
                <a:lnTo>
                  <a:pt x="1550083" y="1072215"/>
                </a:lnTo>
                <a:lnTo>
                  <a:pt x="1549360" y="1071440"/>
                </a:lnTo>
                <a:cubicBezTo>
                  <a:pt x="1548947" y="1070820"/>
                  <a:pt x="1548637" y="1070666"/>
                  <a:pt x="1548637" y="1070666"/>
                </a:cubicBezTo>
                <a:cubicBezTo>
                  <a:pt x="1548431" y="1068807"/>
                  <a:pt x="1549257" y="1068342"/>
                  <a:pt x="1548431" y="1068807"/>
                </a:cubicBezTo>
                <a:cubicBezTo>
                  <a:pt x="1549050" y="1066484"/>
                  <a:pt x="1549153" y="1063541"/>
                  <a:pt x="1551012" y="1063541"/>
                </a:cubicBezTo>
                <a:close/>
                <a:moveTo>
                  <a:pt x="1244238" y="1062611"/>
                </a:moveTo>
                <a:cubicBezTo>
                  <a:pt x="1247852" y="1061682"/>
                  <a:pt x="1251466" y="1060753"/>
                  <a:pt x="1252189" y="1064160"/>
                </a:cubicBezTo>
                <a:cubicBezTo>
                  <a:pt x="1249813" y="1067723"/>
                  <a:pt x="1244754" y="1067877"/>
                  <a:pt x="1244238" y="1062611"/>
                </a:cubicBezTo>
                <a:close/>
                <a:moveTo>
                  <a:pt x="1353379" y="1062146"/>
                </a:moveTo>
                <a:cubicBezTo>
                  <a:pt x="1358336" y="1066174"/>
                  <a:pt x="1373514" y="1074538"/>
                  <a:pt x="1367526" y="1081818"/>
                </a:cubicBezTo>
                <a:cubicBezTo>
                  <a:pt x="1364015" y="1078255"/>
                  <a:pt x="1352140" y="1069736"/>
                  <a:pt x="1352450" y="1064315"/>
                </a:cubicBezTo>
                <a:cubicBezTo>
                  <a:pt x="1352554" y="1063541"/>
                  <a:pt x="1352760" y="1062766"/>
                  <a:pt x="1353379" y="1062146"/>
                </a:cubicBezTo>
                <a:close/>
                <a:moveTo>
                  <a:pt x="1238559" y="1061991"/>
                </a:moveTo>
                <a:cubicBezTo>
                  <a:pt x="1239385" y="1060442"/>
                  <a:pt x="1241037" y="1062301"/>
                  <a:pt x="1241863" y="1063076"/>
                </a:cubicBezTo>
                <a:cubicBezTo>
                  <a:pt x="1239385" y="1062921"/>
                  <a:pt x="1238559" y="1063696"/>
                  <a:pt x="1238559" y="1062766"/>
                </a:cubicBezTo>
                <a:cubicBezTo>
                  <a:pt x="1238145" y="1062766"/>
                  <a:pt x="1237939" y="1062456"/>
                  <a:pt x="1237939" y="1062301"/>
                </a:cubicBezTo>
                <a:cubicBezTo>
                  <a:pt x="1237939" y="1062146"/>
                  <a:pt x="1238145" y="1061991"/>
                  <a:pt x="1238559" y="1061991"/>
                </a:cubicBezTo>
                <a:close/>
                <a:moveTo>
                  <a:pt x="1116820" y="1061991"/>
                </a:moveTo>
                <a:cubicBezTo>
                  <a:pt x="1119504" y="1064160"/>
                  <a:pt x="1120537" y="1066484"/>
                  <a:pt x="1118885" y="1069272"/>
                </a:cubicBezTo>
                <a:cubicBezTo>
                  <a:pt x="1117232" y="1071130"/>
                  <a:pt x="1114755" y="1073919"/>
                  <a:pt x="1112070" y="1072679"/>
                </a:cubicBezTo>
                <a:cubicBezTo>
                  <a:pt x="1112070" y="1071750"/>
                  <a:pt x="1111140" y="1071905"/>
                  <a:pt x="1111140" y="1071130"/>
                </a:cubicBezTo>
                <a:cubicBezTo>
                  <a:pt x="1111140" y="1071130"/>
                  <a:pt x="1110624" y="1070356"/>
                  <a:pt x="1110418" y="1069117"/>
                </a:cubicBezTo>
                <a:cubicBezTo>
                  <a:pt x="1110314" y="1068497"/>
                  <a:pt x="1110314" y="1067877"/>
                  <a:pt x="1110521" y="1066948"/>
                </a:cubicBezTo>
                <a:cubicBezTo>
                  <a:pt x="1110727" y="1066174"/>
                  <a:pt x="1111037" y="1065244"/>
                  <a:pt x="1111657" y="1064315"/>
                </a:cubicBezTo>
                <a:cubicBezTo>
                  <a:pt x="1112483" y="1063386"/>
                  <a:pt x="1114961" y="1061372"/>
                  <a:pt x="1115064" y="1062301"/>
                </a:cubicBezTo>
                <a:cubicBezTo>
                  <a:pt x="1115993" y="1062921"/>
                  <a:pt x="1115890" y="1062146"/>
                  <a:pt x="1116820" y="1061991"/>
                </a:cubicBezTo>
                <a:close/>
                <a:moveTo>
                  <a:pt x="1093793" y="1061372"/>
                </a:moveTo>
                <a:lnTo>
                  <a:pt x="1096994" y="1062146"/>
                </a:lnTo>
                <a:lnTo>
                  <a:pt x="1097924" y="1061682"/>
                </a:lnTo>
                <a:cubicBezTo>
                  <a:pt x="1098646" y="1061682"/>
                  <a:pt x="1099472" y="1061991"/>
                  <a:pt x="1100298" y="1062921"/>
                </a:cubicBezTo>
                <a:lnTo>
                  <a:pt x="1100918" y="1063850"/>
                </a:lnTo>
                <a:lnTo>
                  <a:pt x="1103706" y="1066019"/>
                </a:lnTo>
                <a:lnTo>
                  <a:pt x="1102364" y="1066638"/>
                </a:lnTo>
                <a:lnTo>
                  <a:pt x="1101951" y="1069891"/>
                </a:lnTo>
                <a:cubicBezTo>
                  <a:pt x="1102777" y="1071595"/>
                  <a:pt x="1104429" y="1072679"/>
                  <a:pt x="1103500" y="1074228"/>
                </a:cubicBezTo>
                <a:cubicBezTo>
                  <a:pt x="1101847" y="1071595"/>
                  <a:pt x="1101125" y="1070666"/>
                  <a:pt x="1100298" y="1068807"/>
                </a:cubicBezTo>
                <a:lnTo>
                  <a:pt x="1099059" y="1068342"/>
                </a:lnTo>
                <a:lnTo>
                  <a:pt x="1098956" y="1068497"/>
                </a:lnTo>
                <a:lnTo>
                  <a:pt x="1098543" y="1068187"/>
                </a:lnTo>
                <a:lnTo>
                  <a:pt x="1097717" y="1067723"/>
                </a:lnTo>
                <a:lnTo>
                  <a:pt x="1097510" y="1067413"/>
                </a:lnTo>
                <a:lnTo>
                  <a:pt x="1095445" y="1066329"/>
                </a:lnTo>
                <a:cubicBezTo>
                  <a:pt x="1093587" y="1065399"/>
                  <a:pt x="1091728" y="1064625"/>
                  <a:pt x="1091728" y="1064625"/>
                </a:cubicBezTo>
                <a:cubicBezTo>
                  <a:pt x="1091315" y="1063541"/>
                  <a:pt x="1091109" y="1062921"/>
                  <a:pt x="1091419" y="1062611"/>
                </a:cubicBezTo>
                <a:cubicBezTo>
                  <a:pt x="1091728" y="1062146"/>
                  <a:pt x="1092451" y="1061837"/>
                  <a:pt x="1093793" y="1061372"/>
                </a:cubicBezTo>
                <a:close/>
                <a:moveTo>
                  <a:pt x="3777103" y="1060046"/>
                </a:moveTo>
                <a:cubicBezTo>
                  <a:pt x="3779023" y="1062179"/>
                  <a:pt x="3779877" y="1064029"/>
                  <a:pt x="3780517" y="1066021"/>
                </a:cubicBezTo>
                <a:cubicBezTo>
                  <a:pt x="3780944" y="1067870"/>
                  <a:pt x="3781371" y="1069578"/>
                  <a:pt x="3782225" y="1071569"/>
                </a:cubicBezTo>
                <a:cubicBezTo>
                  <a:pt x="3774114" y="1081244"/>
                  <a:pt x="3767712" y="1077118"/>
                  <a:pt x="3766858" y="1071143"/>
                </a:cubicBezTo>
                <a:cubicBezTo>
                  <a:pt x="3766645" y="1069293"/>
                  <a:pt x="3767072" y="1067017"/>
                  <a:pt x="3768139" y="1065167"/>
                </a:cubicBezTo>
                <a:cubicBezTo>
                  <a:pt x="3769633" y="1062606"/>
                  <a:pt x="3772621" y="1060614"/>
                  <a:pt x="3777103" y="1060046"/>
                </a:cubicBezTo>
                <a:close/>
                <a:moveTo>
                  <a:pt x="3681491" y="1059049"/>
                </a:moveTo>
                <a:cubicBezTo>
                  <a:pt x="3682984" y="1059049"/>
                  <a:pt x="3684478" y="1059192"/>
                  <a:pt x="3685546" y="1059761"/>
                </a:cubicBezTo>
                <a:cubicBezTo>
                  <a:pt x="3688107" y="1062038"/>
                  <a:pt x="3688534" y="1064456"/>
                  <a:pt x="3687466" y="1065736"/>
                </a:cubicBezTo>
                <a:lnTo>
                  <a:pt x="3682344" y="1071427"/>
                </a:lnTo>
                <a:lnTo>
                  <a:pt x="3682558" y="1072280"/>
                </a:lnTo>
                <a:cubicBezTo>
                  <a:pt x="3681704" y="1076122"/>
                  <a:pt x="3675088" y="1077260"/>
                  <a:pt x="3671033" y="1075695"/>
                </a:cubicBezTo>
                <a:lnTo>
                  <a:pt x="3668472" y="1073988"/>
                </a:lnTo>
                <a:lnTo>
                  <a:pt x="3668259" y="1073988"/>
                </a:lnTo>
                <a:cubicBezTo>
                  <a:pt x="3664204" y="1070574"/>
                  <a:pt x="3664417" y="1070574"/>
                  <a:pt x="3668899" y="1063176"/>
                </a:cubicBezTo>
                <a:cubicBezTo>
                  <a:pt x="3669966" y="1061895"/>
                  <a:pt x="3671246" y="1060899"/>
                  <a:pt x="3672740" y="1060330"/>
                </a:cubicBezTo>
                <a:cubicBezTo>
                  <a:pt x="3674234" y="1059761"/>
                  <a:pt x="3675942" y="1059761"/>
                  <a:pt x="3677649" y="1060330"/>
                </a:cubicBezTo>
                <a:cubicBezTo>
                  <a:pt x="3678716" y="1059619"/>
                  <a:pt x="3680210" y="1059192"/>
                  <a:pt x="3681491" y="1059049"/>
                </a:cubicBezTo>
                <a:close/>
                <a:moveTo>
                  <a:pt x="3852653" y="1058907"/>
                </a:moveTo>
                <a:cubicBezTo>
                  <a:pt x="3853507" y="1059477"/>
                  <a:pt x="3853507" y="1059477"/>
                  <a:pt x="3853507" y="1059477"/>
                </a:cubicBezTo>
                <a:cubicBezTo>
                  <a:pt x="3854147" y="1060614"/>
                  <a:pt x="3853934" y="1061468"/>
                  <a:pt x="3852866" y="1062464"/>
                </a:cubicBezTo>
                <a:cubicBezTo>
                  <a:pt x="3852013" y="1063318"/>
                  <a:pt x="3850519" y="1064171"/>
                  <a:pt x="3848385" y="1065167"/>
                </a:cubicBezTo>
                <a:cubicBezTo>
                  <a:pt x="3844543" y="1067159"/>
                  <a:pt x="3838781" y="1067870"/>
                  <a:pt x="3837287" y="1068297"/>
                </a:cubicBezTo>
                <a:cubicBezTo>
                  <a:pt x="3835580" y="1068724"/>
                  <a:pt x="3834939" y="1069720"/>
                  <a:pt x="3834939" y="1069720"/>
                </a:cubicBezTo>
                <a:cubicBezTo>
                  <a:pt x="3833659" y="1067586"/>
                  <a:pt x="3848599" y="1060757"/>
                  <a:pt x="3852653" y="1058907"/>
                </a:cubicBezTo>
                <a:close/>
                <a:moveTo>
                  <a:pt x="3293280" y="1058623"/>
                </a:moveTo>
                <a:lnTo>
                  <a:pt x="3287091" y="1060330"/>
                </a:lnTo>
                <a:lnTo>
                  <a:pt x="3289012" y="1062464"/>
                </a:lnTo>
                <a:lnTo>
                  <a:pt x="3290078" y="1065594"/>
                </a:lnTo>
                <a:lnTo>
                  <a:pt x="3291573" y="1064456"/>
                </a:lnTo>
                <a:close/>
                <a:moveTo>
                  <a:pt x="986407" y="1058274"/>
                </a:moveTo>
                <a:cubicBezTo>
                  <a:pt x="986407" y="1059978"/>
                  <a:pt x="989918" y="1061062"/>
                  <a:pt x="988162" y="1062611"/>
                </a:cubicBezTo>
                <a:cubicBezTo>
                  <a:pt x="987233" y="1061682"/>
                  <a:pt x="986407" y="1059978"/>
                  <a:pt x="985581" y="1059049"/>
                </a:cubicBezTo>
                <a:cubicBezTo>
                  <a:pt x="985581" y="1059049"/>
                  <a:pt x="985581" y="1059049"/>
                  <a:pt x="986407" y="1058274"/>
                </a:cubicBezTo>
                <a:close/>
                <a:moveTo>
                  <a:pt x="4185801" y="1058054"/>
                </a:moveTo>
                <a:cubicBezTo>
                  <a:pt x="4188149" y="1060472"/>
                  <a:pt x="4189429" y="1062891"/>
                  <a:pt x="4191777" y="1065309"/>
                </a:cubicBezTo>
                <a:cubicBezTo>
                  <a:pt x="4189643" y="1070004"/>
                  <a:pt x="4186015" y="1067443"/>
                  <a:pt x="4182600" y="1065025"/>
                </a:cubicBezTo>
                <a:cubicBezTo>
                  <a:pt x="4183667" y="1062749"/>
                  <a:pt x="4182387" y="1060188"/>
                  <a:pt x="4185801" y="1058054"/>
                </a:cubicBezTo>
                <a:close/>
                <a:moveTo>
                  <a:pt x="1186311" y="1057035"/>
                </a:moveTo>
                <a:cubicBezTo>
                  <a:pt x="1186931" y="1057345"/>
                  <a:pt x="1187447" y="1057654"/>
                  <a:pt x="1187550" y="1058119"/>
                </a:cubicBezTo>
                <a:cubicBezTo>
                  <a:pt x="1185175" y="1058584"/>
                  <a:pt x="1181974" y="1060287"/>
                  <a:pt x="1179393" y="1057654"/>
                </a:cubicBezTo>
                <a:cubicBezTo>
                  <a:pt x="1181148" y="1057499"/>
                  <a:pt x="1184452" y="1056570"/>
                  <a:pt x="1186311" y="1057035"/>
                </a:cubicBezTo>
                <a:close/>
                <a:moveTo>
                  <a:pt x="4256443" y="1056489"/>
                </a:moveTo>
                <a:cubicBezTo>
                  <a:pt x="4253455" y="1068297"/>
                  <a:pt x="4226351" y="1079252"/>
                  <a:pt x="4220375" y="1068013"/>
                </a:cubicBezTo>
                <a:cubicBezTo>
                  <a:pt x="4233607" y="1065025"/>
                  <a:pt x="4241077" y="1056773"/>
                  <a:pt x="4256443" y="1056489"/>
                </a:cubicBezTo>
                <a:close/>
                <a:moveTo>
                  <a:pt x="3983906" y="1056489"/>
                </a:moveTo>
                <a:cubicBezTo>
                  <a:pt x="3983906" y="1056489"/>
                  <a:pt x="3983906" y="1056347"/>
                  <a:pt x="3985187" y="1057485"/>
                </a:cubicBezTo>
                <a:cubicBezTo>
                  <a:pt x="3982839" y="1057627"/>
                  <a:pt x="3982413" y="1062606"/>
                  <a:pt x="3979638" y="1060330"/>
                </a:cubicBezTo>
                <a:cubicBezTo>
                  <a:pt x="3980705" y="1059049"/>
                  <a:pt x="3982839" y="1057769"/>
                  <a:pt x="3983906" y="1056489"/>
                </a:cubicBezTo>
                <a:close/>
                <a:moveTo>
                  <a:pt x="3650758" y="1055351"/>
                </a:moveTo>
                <a:cubicBezTo>
                  <a:pt x="3656947" y="1065594"/>
                  <a:pt x="3645209" y="1075411"/>
                  <a:pt x="3638380" y="1071712"/>
                </a:cubicBezTo>
                <a:cubicBezTo>
                  <a:pt x="3636032" y="1070574"/>
                  <a:pt x="3634324" y="1067870"/>
                  <a:pt x="3633898" y="1063176"/>
                </a:cubicBezTo>
                <a:cubicBezTo>
                  <a:pt x="3641795" y="1060330"/>
                  <a:pt x="3643715" y="1054497"/>
                  <a:pt x="3650758" y="1055351"/>
                </a:cubicBezTo>
                <a:close/>
                <a:moveTo>
                  <a:pt x="3954454" y="1055208"/>
                </a:moveTo>
                <a:cubicBezTo>
                  <a:pt x="3965125" y="1054782"/>
                  <a:pt x="3974089" y="1062038"/>
                  <a:pt x="3978784" y="1071712"/>
                </a:cubicBezTo>
                <a:cubicBezTo>
                  <a:pt x="3982199" y="1078825"/>
                  <a:pt x="3983266" y="1087361"/>
                  <a:pt x="3980918" y="1094902"/>
                </a:cubicBezTo>
                <a:lnTo>
                  <a:pt x="3980278" y="1096039"/>
                </a:lnTo>
                <a:lnTo>
                  <a:pt x="3981772" y="1094617"/>
                </a:lnTo>
                <a:cubicBezTo>
                  <a:pt x="3983479" y="1094190"/>
                  <a:pt x="3983479" y="1094190"/>
                  <a:pt x="3984333" y="1094902"/>
                </a:cubicBezTo>
                <a:cubicBezTo>
                  <a:pt x="3986894" y="1095044"/>
                  <a:pt x="3988601" y="1094474"/>
                  <a:pt x="3989882" y="1096751"/>
                </a:cubicBezTo>
                <a:cubicBezTo>
                  <a:pt x="3990522" y="1098743"/>
                  <a:pt x="3990309" y="1100166"/>
                  <a:pt x="3989455" y="1101304"/>
                </a:cubicBezTo>
                <a:cubicBezTo>
                  <a:pt x="3988388" y="1102441"/>
                  <a:pt x="3986894" y="1103296"/>
                  <a:pt x="3984974" y="1104291"/>
                </a:cubicBezTo>
                <a:cubicBezTo>
                  <a:pt x="3981132" y="1106283"/>
                  <a:pt x="3978784" y="1103296"/>
                  <a:pt x="3975583" y="1104291"/>
                </a:cubicBezTo>
                <a:lnTo>
                  <a:pt x="3976223" y="1102157"/>
                </a:lnTo>
                <a:lnTo>
                  <a:pt x="3964699" y="1100876"/>
                </a:lnTo>
                <a:cubicBezTo>
                  <a:pt x="3961071" y="1099454"/>
                  <a:pt x="3957869" y="1097320"/>
                  <a:pt x="3955308" y="1094617"/>
                </a:cubicBezTo>
                <a:lnTo>
                  <a:pt x="3951680" y="1089068"/>
                </a:lnTo>
                <a:lnTo>
                  <a:pt x="3950613" y="1094048"/>
                </a:lnTo>
                <a:cubicBezTo>
                  <a:pt x="3948265" y="1099739"/>
                  <a:pt x="3944850" y="1105571"/>
                  <a:pt x="3939302" y="1111120"/>
                </a:cubicBezTo>
                <a:cubicBezTo>
                  <a:pt x="3931618" y="1110836"/>
                  <a:pt x="3929698" y="1104860"/>
                  <a:pt x="3930978" y="1097889"/>
                </a:cubicBezTo>
                <a:cubicBezTo>
                  <a:pt x="3932899" y="1089210"/>
                  <a:pt x="3939729" y="1078825"/>
                  <a:pt x="3946985" y="1076549"/>
                </a:cubicBezTo>
                <a:lnTo>
                  <a:pt x="3947625" y="1076691"/>
                </a:lnTo>
                <a:lnTo>
                  <a:pt x="3947838" y="1067159"/>
                </a:lnTo>
                <a:cubicBezTo>
                  <a:pt x="3948479" y="1063744"/>
                  <a:pt x="3949545" y="1060188"/>
                  <a:pt x="3951253" y="1056773"/>
                </a:cubicBezTo>
                <a:cubicBezTo>
                  <a:pt x="3952747" y="1056916"/>
                  <a:pt x="3954454" y="1056916"/>
                  <a:pt x="3954454" y="1055208"/>
                </a:cubicBezTo>
                <a:close/>
                <a:moveTo>
                  <a:pt x="3658868" y="1054924"/>
                </a:moveTo>
                <a:cubicBezTo>
                  <a:pt x="3659935" y="1059192"/>
                  <a:pt x="3662497" y="1064171"/>
                  <a:pt x="3664630" y="1069008"/>
                </a:cubicBezTo>
                <a:cubicBezTo>
                  <a:pt x="3666764" y="1073845"/>
                  <a:pt x="3668472" y="1078540"/>
                  <a:pt x="3668045" y="1082524"/>
                </a:cubicBezTo>
                <a:lnTo>
                  <a:pt x="3666551" y="1086650"/>
                </a:lnTo>
                <a:lnTo>
                  <a:pt x="3667405" y="1087076"/>
                </a:lnTo>
                <a:cubicBezTo>
                  <a:pt x="3664630" y="1089353"/>
                  <a:pt x="3665484" y="1091914"/>
                  <a:pt x="3662923" y="1094048"/>
                </a:cubicBezTo>
                <a:lnTo>
                  <a:pt x="3659722" y="1090775"/>
                </a:lnTo>
                <a:lnTo>
                  <a:pt x="3657374" y="1091345"/>
                </a:lnTo>
                <a:lnTo>
                  <a:pt x="3656521" y="1099739"/>
                </a:lnTo>
                <a:lnTo>
                  <a:pt x="3654813" y="1104576"/>
                </a:lnTo>
                <a:lnTo>
                  <a:pt x="3655880" y="1104718"/>
                </a:lnTo>
                <a:cubicBezTo>
                  <a:pt x="3658228" y="1107705"/>
                  <a:pt x="3658868" y="1111974"/>
                  <a:pt x="3657801" y="1115957"/>
                </a:cubicBezTo>
                <a:cubicBezTo>
                  <a:pt x="3654600" y="1115388"/>
                  <a:pt x="3652252" y="1114107"/>
                  <a:pt x="3650331" y="1112258"/>
                </a:cubicBezTo>
                <a:lnTo>
                  <a:pt x="3648411" y="1108702"/>
                </a:lnTo>
                <a:lnTo>
                  <a:pt x="3647983" y="1111974"/>
                </a:lnTo>
                <a:lnTo>
                  <a:pt x="3652038" y="1113254"/>
                </a:lnTo>
                <a:cubicBezTo>
                  <a:pt x="3654813" y="1114534"/>
                  <a:pt x="3657588" y="1116099"/>
                  <a:pt x="3659935" y="1117379"/>
                </a:cubicBezTo>
                <a:cubicBezTo>
                  <a:pt x="3655453" y="1119656"/>
                  <a:pt x="3650758" y="1116953"/>
                  <a:pt x="3646490" y="1125205"/>
                </a:cubicBezTo>
                <a:lnTo>
                  <a:pt x="3644569" y="1120226"/>
                </a:lnTo>
                <a:lnTo>
                  <a:pt x="3644142" y="1120794"/>
                </a:lnTo>
                <a:cubicBezTo>
                  <a:pt x="3635819" y="1111262"/>
                  <a:pt x="3638807" y="1095612"/>
                  <a:pt x="3642648" y="1088784"/>
                </a:cubicBezTo>
                <a:cubicBezTo>
                  <a:pt x="3644782" y="1091060"/>
                  <a:pt x="3646276" y="1093905"/>
                  <a:pt x="3647343" y="1097035"/>
                </a:cubicBezTo>
                <a:lnTo>
                  <a:pt x="3648411" y="1104291"/>
                </a:lnTo>
                <a:lnTo>
                  <a:pt x="3650331" y="1103865"/>
                </a:lnTo>
                <a:lnTo>
                  <a:pt x="3651185" y="1104006"/>
                </a:lnTo>
                <a:lnTo>
                  <a:pt x="3648624" y="1100166"/>
                </a:lnTo>
                <a:cubicBezTo>
                  <a:pt x="3645422" y="1092483"/>
                  <a:pt x="3647770" y="1084658"/>
                  <a:pt x="3649904" y="1076691"/>
                </a:cubicBezTo>
                <a:cubicBezTo>
                  <a:pt x="3652679" y="1077972"/>
                  <a:pt x="3654600" y="1080106"/>
                  <a:pt x="3655667" y="1082524"/>
                </a:cubicBezTo>
                <a:lnTo>
                  <a:pt x="3656093" y="1083662"/>
                </a:lnTo>
                <a:lnTo>
                  <a:pt x="3656093" y="1081813"/>
                </a:lnTo>
                <a:cubicBezTo>
                  <a:pt x="3656093" y="1071712"/>
                  <a:pt x="3652679" y="1061753"/>
                  <a:pt x="3658868" y="1054924"/>
                </a:cubicBezTo>
                <a:close/>
                <a:moveTo>
                  <a:pt x="3823414" y="1053359"/>
                </a:moveTo>
                <a:cubicBezTo>
                  <a:pt x="3826616" y="1058481"/>
                  <a:pt x="3832592" y="1059192"/>
                  <a:pt x="3835153" y="1065309"/>
                </a:cubicBezTo>
                <a:cubicBezTo>
                  <a:pt x="3833445" y="1065878"/>
                  <a:pt x="3829390" y="1066163"/>
                  <a:pt x="3827897" y="1062322"/>
                </a:cubicBezTo>
                <a:cubicBezTo>
                  <a:pt x="3826616" y="1058481"/>
                  <a:pt x="3823201" y="1057627"/>
                  <a:pt x="3821707" y="1053786"/>
                </a:cubicBezTo>
                <a:cubicBezTo>
                  <a:pt x="3821707" y="1053786"/>
                  <a:pt x="3821707" y="1053786"/>
                  <a:pt x="3823414" y="1053359"/>
                </a:cubicBezTo>
                <a:close/>
                <a:moveTo>
                  <a:pt x="4036621" y="1049802"/>
                </a:moveTo>
                <a:cubicBezTo>
                  <a:pt x="4035981" y="1054924"/>
                  <a:pt x="4035341" y="1060046"/>
                  <a:pt x="4030645" y="1059903"/>
                </a:cubicBezTo>
                <a:cubicBezTo>
                  <a:pt x="4027017" y="1055635"/>
                  <a:pt x="4029578" y="1048806"/>
                  <a:pt x="4036621" y="1049802"/>
                </a:cubicBezTo>
                <a:close/>
                <a:moveTo>
                  <a:pt x="4349921" y="1049518"/>
                </a:moveTo>
                <a:cubicBezTo>
                  <a:pt x="4350775" y="1049375"/>
                  <a:pt x="4351842" y="1049518"/>
                  <a:pt x="4352696" y="1049802"/>
                </a:cubicBezTo>
                <a:cubicBezTo>
                  <a:pt x="4356750" y="1050940"/>
                  <a:pt x="4361659" y="1054355"/>
                  <a:pt x="4365501" y="1055777"/>
                </a:cubicBezTo>
                <a:cubicBezTo>
                  <a:pt x="4365074" y="1061184"/>
                  <a:pt x="4364434" y="1062891"/>
                  <a:pt x="4361019" y="1067159"/>
                </a:cubicBezTo>
                <a:cubicBezTo>
                  <a:pt x="4353336" y="1067017"/>
                  <a:pt x="4349067" y="1062606"/>
                  <a:pt x="4344799" y="1058196"/>
                </a:cubicBezTo>
                <a:cubicBezTo>
                  <a:pt x="4345439" y="1052078"/>
                  <a:pt x="4347360" y="1049802"/>
                  <a:pt x="4349921" y="1049518"/>
                </a:cubicBezTo>
                <a:close/>
                <a:moveTo>
                  <a:pt x="1396231" y="1048206"/>
                </a:moveTo>
                <a:lnTo>
                  <a:pt x="1404491" y="1052078"/>
                </a:lnTo>
                <a:lnTo>
                  <a:pt x="1405730" y="1050684"/>
                </a:lnTo>
                <a:cubicBezTo>
                  <a:pt x="1406660" y="1049909"/>
                  <a:pt x="1408828" y="1049135"/>
                  <a:pt x="1410893" y="1048825"/>
                </a:cubicBezTo>
                <a:cubicBezTo>
                  <a:pt x="1413062" y="1048670"/>
                  <a:pt x="1415127" y="1048825"/>
                  <a:pt x="1416366" y="1049600"/>
                </a:cubicBezTo>
                <a:cubicBezTo>
                  <a:pt x="1415230" y="1051304"/>
                  <a:pt x="1414094" y="1052852"/>
                  <a:pt x="1412959" y="1054402"/>
                </a:cubicBezTo>
                <a:cubicBezTo>
                  <a:pt x="1413062" y="1053937"/>
                  <a:pt x="1411100" y="1053937"/>
                  <a:pt x="1409035" y="1054247"/>
                </a:cubicBezTo>
                <a:lnTo>
                  <a:pt x="1413165" y="1056106"/>
                </a:lnTo>
                <a:cubicBezTo>
                  <a:pt x="1417915" y="1059049"/>
                  <a:pt x="1419980" y="1062921"/>
                  <a:pt x="1413681" y="1069272"/>
                </a:cubicBezTo>
                <a:cubicBezTo>
                  <a:pt x="1409241" y="1060287"/>
                  <a:pt x="1396437" y="1056570"/>
                  <a:pt x="1396231" y="1048206"/>
                </a:cubicBezTo>
                <a:close/>
                <a:moveTo>
                  <a:pt x="1155128" y="1048206"/>
                </a:moveTo>
                <a:cubicBezTo>
                  <a:pt x="1156057" y="1048980"/>
                  <a:pt x="1158741" y="1048516"/>
                  <a:pt x="1160600" y="1049135"/>
                </a:cubicBezTo>
                <a:cubicBezTo>
                  <a:pt x="1160600" y="1049909"/>
                  <a:pt x="1161530" y="1050529"/>
                  <a:pt x="1161633" y="1051304"/>
                </a:cubicBezTo>
                <a:cubicBezTo>
                  <a:pt x="1160703" y="1051458"/>
                  <a:pt x="1158948" y="1052543"/>
                  <a:pt x="1158948" y="1051768"/>
                </a:cubicBezTo>
                <a:cubicBezTo>
                  <a:pt x="1158019" y="1051923"/>
                  <a:pt x="1157916" y="1050219"/>
                  <a:pt x="1157916" y="1050219"/>
                </a:cubicBezTo>
                <a:cubicBezTo>
                  <a:pt x="1157090" y="1050374"/>
                  <a:pt x="1156160" y="1050529"/>
                  <a:pt x="1155128" y="1049909"/>
                </a:cubicBezTo>
                <a:cubicBezTo>
                  <a:pt x="1156057" y="1048980"/>
                  <a:pt x="1155128" y="1048980"/>
                  <a:pt x="1155128" y="1048206"/>
                </a:cubicBezTo>
                <a:close/>
                <a:moveTo>
                  <a:pt x="3937381" y="1045961"/>
                </a:moveTo>
                <a:cubicBezTo>
                  <a:pt x="3939729" y="1046957"/>
                  <a:pt x="3939942" y="1048237"/>
                  <a:pt x="3938874" y="1049518"/>
                </a:cubicBezTo>
                <a:cubicBezTo>
                  <a:pt x="3938874" y="1049518"/>
                  <a:pt x="3938021" y="1050798"/>
                  <a:pt x="3936954" y="1052078"/>
                </a:cubicBezTo>
                <a:cubicBezTo>
                  <a:pt x="3935887" y="1053217"/>
                  <a:pt x="3936100" y="1054497"/>
                  <a:pt x="3936100" y="1054497"/>
                </a:cubicBezTo>
                <a:cubicBezTo>
                  <a:pt x="3935033" y="1055777"/>
                  <a:pt x="3933753" y="1055777"/>
                  <a:pt x="3932472" y="1054639"/>
                </a:cubicBezTo>
                <a:cubicBezTo>
                  <a:pt x="3932472" y="1054639"/>
                  <a:pt x="3933326" y="1052221"/>
                  <a:pt x="3933326" y="1052221"/>
                </a:cubicBezTo>
                <a:cubicBezTo>
                  <a:pt x="3935460" y="1049802"/>
                  <a:pt x="3936527" y="1048380"/>
                  <a:pt x="3937381" y="1045961"/>
                </a:cubicBezTo>
                <a:close/>
                <a:moveTo>
                  <a:pt x="3312701" y="1045107"/>
                </a:moveTo>
                <a:cubicBezTo>
                  <a:pt x="3312915" y="1045107"/>
                  <a:pt x="3313342" y="1045392"/>
                  <a:pt x="3313342" y="1045961"/>
                </a:cubicBezTo>
                <a:cubicBezTo>
                  <a:pt x="3315689" y="1047241"/>
                  <a:pt x="3313342" y="1049375"/>
                  <a:pt x="3312274" y="1050371"/>
                </a:cubicBezTo>
                <a:cubicBezTo>
                  <a:pt x="3312274" y="1046957"/>
                  <a:pt x="3310994" y="1045819"/>
                  <a:pt x="3312061" y="1045819"/>
                </a:cubicBezTo>
                <a:cubicBezTo>
                  <a:pt x="3312061" y="1045250"/>
                  <a:pt x="3312488" y="1045107"/>
                  <a:pt x="3312701" y="1045107"/>
                </a:cubicBezTo>
                <a:close/>
                <a:moveTo>
                  <a:pt x="3721400" y="1044681"/>
                </a:moveTo>
                <a:cubicBezTo>
                  <a:pt x="3722467" y="1044396"/>
                  <a:pt x="3723535" y="1044681"/>
                  <a:pt x="3725242" y="1046388"/>
                </a:cubicBezTo>
                <a:cubicBezTo>
                  <a:pt x="3727376" y="1047099"/>
                  <a:pt x="3728656" y="1049945"/>
                  <a:pt x="3730791" y="1050656"/>
                </a:cubicBezTo>
                <a:cubicBezTo>
                  <a:pt x="3730791" y="1050656"/>
                  <a:pt x="3730791" y="1052363"/>
                  <a:pt x="3730363" y="1054355"/>
                </a:cubicBezTo>
                <a:cubicBezTo>
                  <a:pt x="3729937" y="1056347"/>
                  <a:pt x="3729297" y="1058481"/>
                  <a:pt x="3728016" y="1059334"/>
                </a:cubicBezTo>
                <a:cubicBezTo>
                  <a:pt x="3724388" y="1063033"/>
                  <a:pt x="3720120" y="1054497"/>
                  <a:pt x="3717985" y="1053928"/>
                </a:cubicBezTo>
                <a:cubicBezTo>
                  <a:pt x="3716491" y="1051083"/>
                  <a:pt x="3715211" y="1048095"/>
                  <a:pt x="3717985" y="1046530"/>
                </a:cubicBezTo>
                <a:cubicBezTo>
                  <a:pt x="3719479" y="1045819"/>
                  <a:pt x="3720547" y="1044965"/>
                  <a:pt x="3721400" y="1044681"/>
                </a:cubicBezTo>
                <a:close/>
                <a:moveTo>
                  <a:pt x="1464896" y="1044178"/>
                </a:moveTo>
                <a:cubicBezTo>
                  <a:pt x="1466032" y="1045882"/>
                  <a:pt x="1465619" y="1046657"/>
                  <a:pt x="1464380" y="1046812"/>
                </a:cubicBezTo>
                <a:cubicBezTo>
                  <a:pt x="1464380" y="1046812"/>
                  <a:pt x="1463141" y="1046966"/>
                  <a:pt x="1462005" y="1047121"/>
                </a:cubicBezTo>
                <a:cubicBezTo>
                  <a:pt x="1460766" y="1047276"/>
                  <a:pt x="1460353" y="1048051"/>
                  <a:pt x="1460353" y="1048051"/>
                </a:cubicBezTo>
                <a:cubicBezTo>
                  <a:pt x="1459114" y="1048206"/>
                  <a:pt x="1458288" y="1047586"/>
                  <a:pt x="1457978" y="1046502"/>
                </a:cubicBezTo>
                <a:cubicBezTo>
                  <a:pt x="1457978" y="1046502"/>
                  <a:pt x="1459630" y="1045573"/>
                  <a:pt x="1459630" y="1045573"/>
                </a:cubicBezTo>
                <a:cubicBezTo>
                  <a:pt x="1462108" y="1045263"/>
                  <a:pt x="1463244" y="1045108"/>
                  <a:pt x="1464896" y="1044178"/>
                </a:cubicBezTo>
                <a:close/>
                <a:moveTo>
                  <a:pt x="4582548" y="1044111"/>
                </a:moveTo>
                <a:cubicBezTo>
                  <a:pt x="4582335" y="1045819"/>
                  <a:pt x="4584043" y="1045961"/>
                  <a:pt x="4585536" y="1045961"/>
                </a:cubicBezTo>
                <a:cubicBezTo>
                  <a:pt x="4591086" y="1054355"/>
                  <a:pt x="4577640" y="1071569"/>
                  <a:pt x="4570811" y="1066590"/>
                </a:cubicBezTo>
                <a:cubicBezTo>
                  <a:pt x="4569957" y="1065878"/>
                  <a:pt x="4569103" y="1064598"/>
                  <a:pt x="4568463" y="1062891"/>
                </a:cubicBezTo>
                <a:cubicBezTo>
                  <a:pt x="4569530" y="1052790"/>
                  <a:pt x="4572732" y="1045392"/>
                  <a:pt x="4582548" y="1044111"/>
                </a:cubicBezTo>
                <a:close/>
                <a:moveTo>
                  <a:pt x="4778041" y="1043400"/>
                </a:moveTo>
                <a:cubicBezTo>
                  <a:pt x="4778681" y="1043258"/>
                  <a:pt x="4779322" y="1043400"/>
                  <a:pt x="4780176" y="1043969"/>
                </a:cubicBezTo>
                <a:cubicBezTo>
                  <a:pt x="4783590" y="1052648"/>
                  <a:pt x="4771425" y="1074272"/>
                  <a:pt x="4759901" y="1071000"/>
                </a:cubicBezTo>
                <a:cubicBezTo>
                  <a:pt x="4764596" y="1063460"/>
                  <a:pt x="4769718" y="1056916"/>
                  <a:pt x="4772919" y="1045107"/>
                </a:cubicBezTo>
                <a:cubicBezTo>
                  <a:pt x="4775053" y="1045961"/>
                  <a:pt x="4776121" y="1043684"/>
                  <a:pt x="4778041" y="1043400"/>
                </a:cubicBezTo>
                <a:close/>
                <a:moveTo>
                  <a:pt x="4998291" y="1042689"/>
                </a:moveTo>
                <a:cubicBezTo>
                  <a:pt x="5001065" y="1043400"/>
                  <a:pt x="5002986" y="1044823"/>
                  <a:pt x="5004053" y="1046672"/>
                </a:cubicBezTo>
                <a:cubicBezTo>
                  <a:pt x="5007681" y="1052221"/>
                  <a:pt x="5004266" y="1060899"/>
                  <a:pt x="4998504" y="1062606"/>
                </a:cubicBezTo>
                <a:cubicBezTo>
                  <a:pt x="4995729" y="1063318"/>
                  <a:pt x="4992741" y="1062606"/>
                  <a:pt x="4989327" y="1059619"/>
                </a:cubicBezTo>
                <a:cubicBezTo>
                  <a:pt x="4994022" y="1052221"/>
                  <a:pt x="4991888" y="1046957"/>
                  <a:pt x="4998291" y="1042689"/>
                </a:cubicBezTo>
                <a:close/>
                <a:moveTo>
                  <a:pt x="1164421" y="1042629"/>
                </a:moveTo>
                <a:cubicBezTo>
                  <a:pt x="1164421" y="1042629"/>
                  <a:pt x="1165247" y="1043404"/>
                  <a:pt x="1166176" y="1044178"/>
                </a:cubicBezTo>
                <a:cubicBezTo>
                  <a:pt x="1167105" y="1044798"/>
                  <a:pt x="1168035" y="1044798"/>
                  <a:pt x="1168035" y="1044798"/>
                </a:cubicBezTo>
                <a:cubicBezTo>
                  <a:pt x="1168964" y="1045573"/>
                  <a:pt x="1169067" y="1046347"/>
                  <a:pt x="1168241" y="1047276"/>
                </a:cubicBezTo>
                <a:cubicBezTo>
                  <a:pt x="1168241" y="1047276"/>
                  <a:pt x="1166383" y="1046657"/>
                  <a:pt x="1166383" y="1046657"/>
                </a:cubicBezTo>
                <a:cubicBezTo>
                  <a:pt x="1164524" y="1045263"/>
                  <a:pt x="1163595" y="1044488"/>
                  <a:pt x="1161839" y="1043869"/>
                </a:cubicBezTo>
                <a:cubicBezTo>
                  <a:pt x="1162562" y="1042010"/>
                  <a:pt x="1163491" y="1041855"/>
                  <a:pt x="1164421" y="1042629"/>
                </a:cubicBezTo>
                <a:close/>
                <a:moveTo>
                  <a:pt x="4057536" y="1042546"/>
                </a:moveTo>
                <a:cubicBezTo>
                  <a:pt x="4059030" y="1043684"/>
                  <a:pt x="4060097" y="1045819"/>
                  <a:pt x="4060951" y="1048380"/>
                </a:cubicBezTo>
                <a:cubicBezTo>
                  <a:pt x="4062871" y="1055920"/>
                  <a:pt x="4060951" y="1067443"/>
                  <a:pt x="4058176" y="1070004"/>
                </a:cubicBezTo>
                <a:cubicBezTo>
                  <a:pt x="4054975" y="1066448"/>
                  <a:pt x="4056683" y="1061611"/>
                  <a:pt x="4053695" y="1056773"/>
                </a:cubicBezTo>
                <a:cubicBezTo>
                  <a:pt x="4056469" y="1053217"/>
                  <a:pt x="4053481" y="1047241"/>
                  <a:pt x="4057536" y="1042546"/>
                </a:cubicBezTo>
                <a:close/>
                <a:moveTo>
                  <a:pt x="985891" y="1042165"/>
                </a:moveTo>
                <a:cubicBezTo>
                  <a:pt x="985891" y="1042165"/>
                  <a:pt x="985994" y="1042165"/>
                  <a:pt x="985891" y="1043094"/>
                </a:cubicBezTo>
                <a:cubicBezTo>
                  <a:pt x="985891" y="1043094"/>
                  <a:pt x="985891" y="1042165"/>
                  <a:pt x="986820" y="1042319"/>
                </a:cubicBezTo>
                <a:cubicBezTo>
                  <a:pt x="989195" y="1046657"/>
                  <a:pt x="988266" y="1053317"/>
                  <a:pt x="988266" y="1054247"/>
                </a:cubicBezTo>
                <a:cubicBezTo>
                  <a:pt x="987439" y="1054092"/>
                  <a:pt x="987439" y="1054092"/>
                  <a:pt x="987439" y="1054092"/>
                </a:cubicBezTo>
                <a:cubicBezTo>
                  <a:pt x="988059" y="1051613"/>
                  <a:pt x="985891" y="1048516"/>
                  <a:pt x="985581" y="1045263"/>
                </a:cubicBezTo>
                <a:cubicBezTo>
                  <a:pt x="985374" y="1044178"/>
                  <a:pt x="985478" y="1043249"/>
                  <a:pt x="985891" y="1042165"/>
                </a:cubicBezTo>
                <a:close/>
                <a:moveTo>
                  <a:pt x="4006102" y="1041977"/>
                </a:moveTo>
                <a:cubicBezTo>
                  <a:pt x="4007596" y="1044396"/>
                  <a:pt x="4007596" y="1044396"/>
                  <a:pt x="4006743" y="1046815"/>
                </a:cubicBezTo>
                <a:cubicBezTo>
                  <a:pt x="4005462" y="1046957"/>
                  <a:pt x="4005675" y="1048095"/>
                  <a:pt x="4004395" y="1046957"/>
                </a:cubicBezTo>
                <a:cubicBezTo>
                  <a:pt x="4003541" y="1048806"/>
                  <a:pt x="4000767" y="1050798"/>
                  <a:pt x="3997352" y="1052221"/>
                </a:cubicBezTo>
                <a:lnTo>
                  <a:pt x="3996925" y="1052363"/>
                </a:lnTo>
                <a:lnTo>
                  <a:pt x="3999059" y="1053643"/>
                </a:lnTo>
                <a:cubicBezTo>
                  <a:pt x="3999913" y="1054212"/>
                  <a:pt x="4000767" y="1054497"/>
                  <a:pt x="4001833" y="1055067"/>
                </a:cubicBezTo>
                <a:lnTo>
                  <a:pt x="4002047" y="1055208"/>
                </a:lnTo>
                <a:lnTo>
                  <a:pt x="4002687" y="1055067"/>
                </a:lnTo>
                <a:cubicBezTo>
                  <a:pt x="4003968" y="1054782"/>
                  <a:pt x="4005462" y="1054782"/>
                  <a:pt x="4006956" y="1055208"/>
                </a:cubicBezTo>
                <a:cubicBezTo>
                  <a:pt x="4006956" y="1055208"/>
                  <a:pt x="4006956" y="1055208"/>
                  <a:pt x="4005888" y="1055351"/>
                </a:cubicBezTo>
                <a:cubicBezTo>
                  <a:pt x="4005888" y="1055351"/>
                  <a:pt x="4006956" y="1055208"/>
                  <a:pt x="4007169" y="1056347"/>
                </a:cubicBezTo>
                <a:lnTo>
                  <a:pt x="4003327" y="1057485"/>
                </a:lnTo>
                <a:lnTo>
                  <a:pt x="4003968" y="1058196"/>
                </a:lnTo>
                <a:cubicBezTo>
                  <a:pt x="4004395" y="1059334"/>
                  <a:pt x="4004821" y="1060472"/>
                  <a:pt x="4005888" y="1062322"/>
                </a:cubicBezTo>
                <a:cubicBezTo>
                  <a:pt x="4004395" y="1064741"/>
                  <a:pt x="4004395" y="1064598"/>
                  <a:pt x="4003327" y="1064598"/>
                </a:cubicBezTo>
                <a:cubicBezTo>
                  <a:pt x="4004395" y="1064598"/>
                  <a:pt x="4004181" y="1065878"/>
                  <a:pt x="4005248" y="1067159"/>
                </a:cubicBezTo>
                <a:cubicBezTo>
                  <a:pt x="4010797" y="1070858"/>
                  <a:pt x="4007809" y="1076691"/>
                  <a:pt x="4002687" y="1082524"/>
                </a:cubicBezTo>
                <a:cubicBezTo>
                  <a:pt x="4001620" y="1081386"/>
                  <a:pt x="3998846" y="1084943"/>
                  <a:pt x="3996498" y="1086081"/>
                </a:cubicBezTo>
                <a:cubicBezTo>
                  <a:pt x="3992870" y="1085938"/>
                  <a:pt x="3990736" y="1085938"/>
                  <a:pt x="3988601" y="1083520"/>
                </a:cubicBezTo>
                <a:cubicBezTo>
                  <a:pt x="3985400" y="1079821"/>
                  <a:pt x="3983906" y="1071569"/>
                  <a:pt x="3987748" y="1068013"/>
                </a:cubicBezTo>
                <a:cubicBezTo>
                  <a:pt x="3991803" y="1063318"/>
                  <a:pt x="3995431" y="1062179"/>
                  <a:pt x="3998846" y="1062179"/>
                </a:cubicBezTo>
                <a:cubicBezTo>
                  <a:pt x="3998846" y="1062179"/>
                  <a:pt x="3998846" y="1062179"/>
                  <a:pt x="3997565" y="1062179"/>
                </a:cubicBezTo>
                <a:lnTo>
                  <a:pt x="3995645" y="1059477"/>
                </a:lnTo>
                <a:lnTo>
                  <a:pt x="3993510" y="1059619"/>
                </a:lnTo>
                <a:cubicBezTo>
                  <a:pt x="3992443" y="1059619"/>
                  <a:pt x="3991589" y="1059619"/>
                  <a:pt x="3991376" y="1059619"/>
                </a:cubicBezTo>
                <a:cubicBezTo>
                  <a:pt x="3991162" y="1058481"/>
                  <a:pt x="3991162" y="1058481"/>
                  <a:pt x="3991162" y="1058481"/>
                </a:cubicBezTo>
                <a:lnTo>
                  <a:pt x="3994150" y="1057769"/>
                </a:lnTo>
                <a:lnTo>
                  <a:pt x="3990736" y="1053502"/>
                </a:lnTo>
                <a:lnTo>
                  <a:pt x="3987961" y="1054070"/>
                </a:lnTo>
                <a:lnTo>
                  <a:pt x="3989882" y="1051936"/>
                </a:lnTo>
                <a:lnTo>
                  <a:pt x="3988175" y="1048664"/>
                </a:lnTo>
                <a:cubicBezTo>
                  <a:pt x="3987534" y="1047383"/>
                  <a:pt x="3987321" y="1046103"/>
                  <a:pt x="3987748" y="1045250"/>
                </a:cubicBezTo>
                <a:cubicBezTo>
                  <a:pt x="3989029" y="1045250"/>
                  <a:pt x="3990096" y="1045250"/>
                  <a:pt x="3991162" y="1046530"/>
                </a:cubicBezTo>
                <a:cubicBezTo>
                  <a:pt x="3992230" y="1047668"/>
                  <a:pt x="3990949" y="1047668"/>
                  <a:pt x="3992230" y="1047811"/>
                </a:cubicBezTo>
                <a:cubicBezTo>
                  <a:pt x="3993084" y="1048948"/>
                  <a:pt x="3993297" y="1047811"/>
                  <a:pt x="3993297" y="1047811"/>
                </a:cubicBezTo>
                <a:lnTo>
                  <a:pt x="3993297" y="1048237"/>
                </a:lnTo>
                <a:lnTo>
                  <a:pt x="3997992" y="1046103"/>
                </a:lnTo>
                <a:cubicBezTo>
                  <a:pt x="4001407" y="1045392"/>
                  <a:pt x="4004181" y="1045107"/>
                  <a:pt x="4006102" y="1041977"/>
                </a:cubicBezTo>
                <a:close/>
                <a:moveTo>
                  <a:pt x="4855940" y="1041836"/>
                </a:moveTo>
                <a:cubicBezTo>
                  <a:pt x="4857860" y="1041977"/>
                  <a:pt x="4859781" y="1042689"/>
                  <a:pt x="4861488" y="1043684"/>
                </a:cubicBezTo>
                <a:cubicBezTo>
                  <a:pt x="4858714" y="1050087"/>
                  <a:pt x="4854445" y="1052221"/>
                  <a:pt x="4848257" y="1052790"/>
                </a:cubicBezTo>
                <a:cubicBezTo>
                  <a:pt x="4847402" y="1050798"/>
                  <a:pt x="4849537" y="1045961"/>
                  <a:pt x="4850817" y="1042831"/>
                </a:cubicBezTo>
                <a:cubicBezTo>
                  <a:pt x="4852311" y="1041977"/>
                  <a:pt x="4854232" y="1041693"/>
                  <a:pt x="4855940" y="1041836"/>
                </a:cubicBezTo>
                <a:close/>
                <a:moveTo>
                  <a:pt x="976288" y="1040461"/>
                </a:moveTo>
                <a:cubicBezTo>
                  <a:pt x="978146" y="1039841"/>
                  <a:pt x="978146" y="1039841"/>
                  <a:pt x="979901" y="1040925"/>
                </a:cubicBezTo>
                <a:cubicBezTo>
                  <a:pt x="979901" y="1041700"/>
                  <a:pt x="980728" y="1041855"/>
                  <a:pt x="979901" y="1042629"/>
                </a:cubicBezTo>
                <a:cubicBezTo>
                  <a:pt x="982483" y="1044488"/>
                  <a:pt x="984961" y="1052388"/>
                  <a:pt x="984032" y="1055641"/>
                </a:cubicBezTo>
                <a:cubicBezTo>
                  <a:pt x="976185" y="1048980"/>
                  <a:pt x="980728" y="1044333"/>
                  <a:pt x="976288" y="1040461"/>
                </a:cubicBezTo>
                <a:close/>
                <a:moveTo>
                  <a:pt x="1253982" y="1039590"/>
                </a:moveTo>
                <a:cubicBezTo>
                  <a:pt x="1261791" y="1040461"/>
                  <a:pt x="1270052" y="1042552"/>
                  <a:pt x="1277796" y="1043714"/>
                </a:cubicBezTo>
                <a:cubicBezTo>
                  <a:pt x="1276867" y="1046502"/>
                  <a:pt x="1278415" y="1048670"/>
                  <a:pt x="1276040" y="1052698"/>
                </a:cubicBezTo>
                <a:lnTo>
                  <a:pt x="1264682" y="1050064"/>
                </a:lnTo>
                <a:lnTo>
                  <a:pt x="1263133" y="1050529"/>
                </a:lnTo>
                <a:cubicBezTo>
                  <a:pt x="1262101" y="1050529"/>
                  <a:pt x="1261275" y="1050374"/>
                  <a:pt x="1260965" y="1050064"/>
                </a:cubicBezTo>
                <a:lnTo>
                  <a:pt x="1260552" y="1049135"/>
                </a:lnTo>
                <a:lnTo>
                  <a:pt x="1253531" y="1047586"/>
                </a:lnTo>
                <a:cubicBezTo>
                  <a:pt x="1246200" y="1046347"/>
                  <a:pt x="1239281" y="1044953"/>
                  <a:pt x="1232879" y="1042785"/>
                </a:cubicBezTo>
                <a:cubicBezTo>
                  <a:pt x="1238817" y="1039067"/>
                  <a:pt x="1246174" y="1038718"/>
                  <a:pt x="1253982" y="1039590"/>
                </a:cubicBezTo>
                <a:close/>
                <a:moveTo>
                  <a:pt x="3803994" y="1038136"/>
                </a:moveTo>
                <a:cubicBezTo>
                  <a:pt x="3804634" y="1037140"/>
                  <a:pt x="3808475" y="1039559"/>
                  <a:pt x="3808689" y="1041124"/>
                </a:cubicBezTo>
                <a:cubicBezTo>
                  <a:pt x="3809115" y="1044396"/>
                  <a:pt x="3809329" y="1045961"/>
                  <a:pt x="3808048" y="1048095"/>
                </a:cubicBezTo>
                <a:cubicBezTo>
                  <a:pt x="3808262" y="1049660"/>
                  <a:pt x="3808689" y="1051367"/>
                  <a:pt x="3808475" y="1052790"/>
                </a:cubicBezTo>
                <a:cubicBezTo>
                  <a:pt x="3808262" y="1054070"/>
                  <a:pt x="3807408" y="1055067"/>
                  <a:pt x="3805914" y="1055493"/>
                </a:cubicBezTo>
                <a:cubicBezTo>
                  <a:pt x="3803780" y="1052648"/>
                  <a:pt x="3802713" y="1050513"/>
                  <a:pt x="3801219" y="1046530"/>
                </a:cubicBezTo>
                <a:cubicBezTo>
                  <a:pt x="3801219" y="1046530"/>
                  <a:pt x="3800152" y="1040128"/>
                  <a:pt x="3803994" y="1038136"/>
                </a:cubicBezTo>
                <a:close/>
                <a:moveTo>
                  <a:pt x="4276932" y="1037567"/>
                </a:moveTo>
                <a:cubicBezTo>
                  <a:pt x="4282694" y="1036002"/>
                  <a:pt x="4285895" y="1038279"/>
                  <a:pt x="4287816" y="1042831"/>
                </a:cubicBezTo>
                <a:cubicBezTo>
                  <a:pt x="4285255" y="1049233"/>
                  <a:pt x="4276505" y="1049660"/>
                  <a:pt x="4274370" y="1044111"/>
                </a:cubicBezTo>
                <a:cubicBezTo>
                  <a:pt x="4275011" y="1042404"/>
                  <a:pt x="4275224" y="1039701"/>
                  <a:pt x="4276932" y="1037567"/>
                </a:cubicBezTo>
                <a:close/>
                <a:moveTo>
                  <a:pt x="3931191" y="1036714"/>
                </a:moveTo>
                <a:cubicBezTo>
                  <a:pt x="3930338" y="1037994"/>
                  <a:pt x="3930765" y="1041693"/>
                  <a:pt x="3930124" y="1044254"/>
                </a:cubicBezTo>
                <a:cubicBezTo>
                  <a:pt x="3929058" y="1044396"/>
                  <a:pt x="3927991" y="1045676"/>
                  <a:pt x="3926923" y="1045676"/>
                </a:cubicBezTo>
                <a:cubicBezTo>
                  <a:pt x="3926710" y="1044396"/>
                  <a:pt x="3925429" y="1041977"/>
                  <a:pt x="3926496" y="1041977"/>
                </a:cubicBezTo>
                <a:cubicBezTo>
                  <a:pt x="3926283" y="1040697"/>
                  <a:pt x="3928417" y="1040697"/>
                  <a:pt x="3928417" y="1040697"/>
                </a:cubicBezTo>
                <a:cubicBezTo>
                  <a:pt x="3928417" y="1039417"/>
                  <a:pt x="3927991" y="1038136"/>
                  <a:pt x="3929058" y="1036856"/>
                </a:cubicBezTo>
                <a:cubicBezTo>
                  <a:pt x="3930338" y="1037994"/>
                  <a:pt x="3930124" y="1036714"/>
                  <a:pt x="3931191" y="1036714"/>
                </a:cubicBezTo>
                <a:close/>
                <a:moveTo>
                  <a:pt x="1262204" y="1036434"/>
                </a:moveTo>
                <a:lnTo>
                  <a:pt x="1264682" y="1038912"/>
                </a:lnTo>
                <a:cubicBezTo>
                  <a:pt x="1263753" y="1039841"/>
                  <a:pt x="1261998" y="1040771"/>
                  <a:pt x="1261275" y="1039996"/>
                </a:cubicBezTo>
                <a:cubicBezTo>
                  <a:pt x="1260449" y="1039531"/>
                  <a:pt x="1260449" y="1039067"/>
                  <a:pt x="1260759" y="1038602"/>
                </a:cubicBezTo>
                <a:cubicBezTo>
                  <a:pt x="1261172" y="1037983"/>
                  <a:pt x="1261791" y="1037363"/>
                  <a:pt x="1262204" y="1036434"/>
                </a:cubicBezTo>
                <a:close/>
                <a:moveTo>
                  <a:pt x="1502585" y="1036279"/>
                </a:moveTo>
                <a:cubicBezTo>
                  <a:pt x="1502998" y="1041081"/>
                  <a:pt x="1505579" y="1044024"/>
                  <a:pt x="1508573" y="1046657"/>
                </a:cubicBezTo>
                <a:lnTo>
                  <a:pt x="1511981" y="1049290"/>
                </a:lnTo>
                <a:lnTo>
                  <a:pt x="1512704" y="1048670"/>
                </a:lnTo>
                <a:cubicBezTo>
                  <a:pt x="1512910" y="1048516"/>
                  <a:pt x="1512910" y="1048516"/>
                  <a:pt x="1512497" y="1048516"/>
                </a:cubicBezTo>
                <a:cubicBezTo>
                  <a:pt x="1514459" y="1046966"/>
                  <a:pt x="1516524" y="1044488"/>
                  <a:pt x="1518176" y="1045418"/>
                </a:cubicBezTo>
                <a:cubicBezTo>
                  <a:pt x="1520345" y="1047741"/>
                  <a:pt x="1519415" y="1050994"/>
                  <a:pt x="1517763" y="1054092"/>
                </a:cubicBezTo>
                <a:lnTo>
                  <a:pt x="1517557" y="1054402"/>
                </a:lnTo>
                <a:lnTo>
                  <a:pt x="1519106" y="1057345"/>
                </a:lnTo>
                <a:cubicBezTo>
                  <a:pt x="1519519" y="1058584"/>
                  <a:pt x="1519726" y="1059823"/>
                  <a:pt x="1519622" y="1061372"/>
                </a:cubicBezTo>
                <a:lnTo>
                  <a:pt x="1518176" y="1067413"/>
                </a:lnTo>
                <a:lnTo>
                  <a:pt x="1520138" y="1067723"/>
                </a:lnTo>
                <a:cubicBezTo>
                  <a:pt x="1519726" y="1070666"/>
                  <a:pt x="1518176" y="1071440"/>
                  <a:pt x="1516214" y="1071595"/>
                </a:cubicBezTo>
                <a:lnTo>
                  <a:pt x="1516008" y="1071440"/>
                </a:lnTo>
                <a:lnTo>
                  <a:pt x="1513220" y="1074848"/>
                </a:lnTo>
                <a:lnTo>
                  <a:pt x="1519415" y="1076397"/>
                </a:lnTo>
                <a:cubicBezTo>
                  <a:pt x="1521584" y="1077171"/>
                  <a:pt x="1523752" y="1078101"/>
                  <a:pt x="1525611" y="1079030"/>
                </a:cubicBezTo>
                <a:cubicBezTo>
                  <a:pt x="1529535" y="1080734"/>
                  <a:pt x="1533562" y="1082748"/>
                  <a:pt x="1534904" y="1085381"/>
                </a:cubicBezTo>
                <a:lnTo>
                  <a:pt x="1534904" y="1085691"/>
                </a:lnTo>
                <a:lnTo>
                  <a:pt x="1536969" y="1087085"/>
                </a:lnTo>
                <a:cubicBezTo>
                  <a:pt x="1539447" y="1089253"/>
                  <a:pt x="1540686" y="1091886"/>
                  <a:pt x="1537175" y="1094210"/>
                </a:cubicBezTo>
                <a:lnTo>
                  <a:pt x="1532529" y="1091112"/>
                </a:lnTo>
                <a:lnTo>
                  <a:pt x="1531083" y="1092971"/>
                </a:lnTo>
                <a:cubicBezTo>
                  <a:pt x="1529018" y="1093900"/>
                  <a:pt x="1526437" y="1094365"/>
                  <a:pt x="1523752" y="1094055"/>
                </a:cubicBezTo>
                <a:lnTo>
                  <a:pt x="1522720" y="1093745"/>
                </a:lnTo>
                <a:lnTo>
                  <a:pt x="1523030" y="1104123"/>
                </a:lnTo>
                <a:lnTo>
                  <a:pt x="1523339" y="1107066"/>
                </a:lnTo>
                <a:lnTo>
                  <a:pt x="1524268" y="1107531"/>
                </a:lnTo>
                <a:cubicBezTo>
                  <a:pt x="1525095" y="1108460"/>
                  <a:pt x="1525714" y="1109390"/>
                  <a:pt x="1526953" y="1109854"/>
                </a:cubicBezTo>
                <a:cubicBezTo>
                  <a:pt x="1526334" y="1110474"/>
                  <a:pt x="1525611" y="1111403"/>
                  <a:pt x="1524475" y="1112178"/>
                </a:cubicBezTo>
                <a:lnTo>
                  <a:pt x="1523959" y="1112333"/>
                </a:lnTo>
                <a:lnTo>
                  <a:pt x="1523959" y="1112642"/>
                </a:lnTo>
                <a:lnTo>
                  <a:pt x="1523546" y="1112488"/>
                </a:lnTo>
                <a:lnTo>
                  <a:pt x="1522513" y="1112798"/>
                </a:lnTo>
                <a:cubicBezTo>
                  <a:pt x="1521687" y="1112952"/>
                  <a:pt x="1520758" y="1112952"/>
                  <a:pt x="1519726" y="1112642"/>
                </a:cubicBezTo>
                <a:cubicBezTo>
                  <a:pt x="1518486" y="1112178"/>
                  <a:pt x="1518486" y="1112178"/>
                  <a:pt x="1518073" y="1111403"/>
                </a:cubicBezTo>
                <a:cubicBezTo>
                  <a:pt x="1517350" y="1110784"/>
                  <a:pt x="1516628" y="1110319"/>
                  <a:pt x="1516111" y="1109854"/>
                </a:cubicBezTo>
                <a:lnTo>
                  <a:pt x="1516008" y="1109390"/>
                </a:lnTo>
                <a:lnTo>
                  <a:pt x="1514563" y="1109080"/>
                </a:lnTo>
                <a:cubicBezTo>
                  <a:pt x="1511465" y="1108615"/>
                  <a:pt x="1508264" y="1108925"/>
                  <a:pt x="1505166" y="1109080"/>
                </a:cubicBezTo>
                <a:lnTo>
                  <a:pt x="1505063" y="1110784"/>
                </a:lnTo>
                <a:cubicBezTo>
                  <a:pt x="1504340" y="1112178"/>
                  <a:pt x="1503411" y="1113417"/>
                  <a:pt x="1503204" y="1114966"/>
                </a:cubicBezTo>
                <a:cubicBezTo>
                  <a:pt x="1499384" y="1114346"/>
                  <a:pt x="1497422" y="1112178"/>
                  <a:pt x="1496905" y="1109854"/>
                </a:cubicBezTo>
                <a:lnTo>
                  <a:pt x="1497112" y="1107996"/>
                </a:lnTo>
                <a:lnTo>
                  <a:pt x="1495460" y="1107376"/>
                </a:lnTo>
                <a:cubicBezTo>
                  <a:pt x="1494221" y="1106756"/>
                  <a:pt x="1492982" y="1105982"/>
                  <a:pt x="1491846" y="1104898"/>
                </a:cubicBezTo>
                <a:cubicBezTo>
                  <a:pt x="1483069" y="1096843"/>
                  <a:pt x="1484825" y="1086155"/>
                  <a:pt x="1490813" y="1079805"/>
                </a:cubicBezTo>
                <a:lnTo>
                  <a:pt x="1491330" y="1079340"/>
                </a:lnTo>
                <a:lnTo>
                  <a:pt x="1489161" y="1078101"/>
                </a:lnTo>
                <a:lnTo>
                  <a:pt x="1489058" y="1079805"/>
                </a:lnTo>
                <a:cubicBezTo>
                  <a:pt x="1488129" y="1081198"/>
                  <a:pt x="1486477" y="1081818"/>
                  <a:pt x="1483792" y="1081043"/>
                </a:cubicBezTo>
                <a:cubicBezTo>
                  <a:pt x="1483172" y="1079805"/>
                  <a:pt x="1483172" y="1077946"/>
                  <a:pt x="1483586" y="1076242"/>
                </a:cubicBezTo>
                <a:lnTo>
                  <a:pt x="1484825" y="1074538"/>
                </a:lnTo>
                <a:lnTo>
                  <a:pt x="1482140" y="1069736"/>
                </a:lnTo>
                <a:cubicBezTo>
                  <a:pt x="1481830" y="1068342"/>
                  <a:pt x="1481727" y="1067103"/>
                  <a:pt x="1481727" y="1065554"/>
                </a:cubicBezTo>
                <a:cubicBezTo>
                  <a:pt x="1481727" y="1064005"/>
                  <a:pt x="1481933" y="1062456"/>
                  <a:pt x="1482243" y="1060753"/>
                </a:cubicBezTo>
                <a:cubicBezTo>
                  <a:pt x="1483586" y="1055951"/>
                  <a:pt x="1486787" y="1052388"/>
                  <a:pt x="1490504" y="1048825"/>
                </a:cubicBezTo>
                <a:lnTo>
                  <a:pt x="1493085" y="1046347"/>
                </a:lnTo>
                <a:lnTo>
                  <a:pt x="1493395" y="1045108"/>
                </a:lnTo>
                <a:cubicBezTo>
                  <a:pt x="1493705" y="1043869"/>
                  <a:pt x="1494118" y="1042785"/>
                  <a:pt x="1494737" y="1042165"/>
                </a:cubicBezTo>
                <a:cubicBezTo>
                  <a:pt x="1495150" y="1041700"/>
                  <a:pt x="1495667" y="1041545"/>
                  <a:pt x="1496183" y="1041700"/>
                </a:cubicBezTo>
                <a:lnTo>
                  <a:pt x="1495873" y="1043869"/>
                </a:lnTo>
                <a:lnTo>
                  <a:pt x="1496493" y="1043094"/>
                </a:lnTo>
                <a:cubicBezTo>
                  <a:pt x="1498558" y="1041081"/>
                  <a:pt x="1500726" y="1038912"/>
                  <a:pt x="1502585" y="1036279"/>
                </a:cubicBezTo>
                <a:close/>
                <a:moveTo>
                  <a:pt x="3675942" y="1036144"/>
                </a:moveTo>
                <a:cubicBezTo>
                  <a:pt x="3677009" y="1037425"/>
                  <a:pt x="3677863" y="1038705"/>
                  <a:pt x="3678076" y="1040128"/>
                </a:cubicBezTo>
                <a:cubicBezTo>
                  <a:pt x="3678289" y="1041551"/>
                  <a:pt x="3678076" y="1042973"/>
                  <a:pt x="3677436" y="1044965"/>
                </a:cubicBezTo>
                <a:cubicBezTo>
                  <a:pt x="3675515" y="1041124"/>
                  <a:pt x="3674448" y="1039844"/>
                  <a:pt x="3675942" y="1036144"/>
                </a:cubicBezTo>
                <a:close/>
                <a:moveTo>
                  <a:pt x="1150068" y="1035504"/>
                </a:moveTo>
                <a:cubicBezTo>
                  <a:pt x="1150894" y="1033645"/>
                  <a:pt x="1152649" y="1034265"/>
                  <a:pt x="1154405" y="1035659"/>
                </a:cubicBezTo>
                <a:cubicBezTo>
                  <a:pt x="1158948" y="1037518"/>
                  <a:pt x="1159981" y="1039841"/>
                  <a:pt x="1157503" y="1042785"/>
                </a:cubicBezTo>
                <a:cubicBezTo>
                  <a:pt x="1156676" y="1042939"/>
                  <a:pt x="1153992" y="1042319"/>
                  <a:pt x="1154095" y="1043249"/>
                </a:cubicBezTo>
                <a:cubicBezTo>
                  <a:pt x="1152030" y="1041700"/>
                  <a:pt x="1149862" y="1039686"/>
                  <a:pt x="1149655" y="1037518"/>
                </a:cubicBezTo>
                <a:cubicBezTo>
                  <a:pt x="1149552" y="1036898"/>
                  <a:pt x="1149655" y="1036124"/>
                  <a:pt x="1150068" y="1035504"/>
                </a:cubicBezTo>
                <a:close/>
                <a:moveTo>
                  <a:pt x="4377452" y="1034722"/>
                </a:moveTo>
                <a:cubicBezTo>
                  <a:pt x="4387056" y="1042262"/>
                  <a:pt x="4385989" y="1071569"/>
                  <a:pt x="4373184" y="1072423"/>
                </a:cubicBezTo>
                <a:cubicBezTo>
                  <a:pt x="4375959" y="1059049"/>
                  <a:pt x="4371476" y="1048948"/>
                  <a:pt x="4377452" y="1034722"/>
                </a:cubicBezTo>
                <a:close/>
                <a:moveTo>
                  <a:pt x="3602525" y="1034153"/>
                </a:moveTo>
                <a:lnTo>
                  <a:pt x="3603806" y="1042262"/>
                </a:lnTo>
                <a:lnTo>
                  <a:pt x="3604019" y="1042689"/>
                </a:lnTo>
                <a:lnTo>
                  <a:pt x="3604019" y="1043258"/>
                </a:lnTo>
                <a:lnTo>
                  <a:pt x="3604873" y="1052790"/>
                </a:lnTo>
                <a:lnTo>
                  <a:pt x="3603379" y="1061753"/>
                </a:lnTo>
                <a:lnTo>
                  <a:pt x="3604446" y="1061895"/>
                </a:lnTo>
                <a:cubicBezTo>
                  <a:pt x="3608928" y="1061184"/>
                  <a:pt x="3615117" y="1057200"/>
                  <a:pt x="3621520" y="1062749"/>
                </a:cubicBezTo>
                <a:cubicBezTo>
                  <a:pt x="3618958" y="1065167"/>
                  <a:pt x="3623013" y="1071143"/>
                  <a:pt x="3619172" y="1074699"/>
                </a:cubicBezTo>
                <a:cubicBezTo>
                  <a:pt x="3611275" y="1083520"/>
                  <a:pt x="3607434" y="1084373"/>
                  <a:pt x="3602739" y="1082666"/>
                </a:cubicBezTo>
                <a:lnTo>
                  <a:pt x="3602311" y="1082524"/>
                </a:lnTo>
                <a:lnTo>
                  <a:pt x="3595696" y="1082524"/>
                </a:lnTo>
                <a:lnTo>
                  <a:pt x="3594628" y="1080248"/>
                </a:lnTo>
                <a:cubicBezTo>
                  <a:pt x="3593348" y="1081528"/>
                  <a:pt x="3592068" y="1082666"/>
                  <a:pt x="3590574" y="1081386"/>
                </a:cubicBezTo>
                <a:cubicBezTo>
                  <a:pt x="3588013" y="1079110"/>
                  <a:pt x="3587586" y="1075837"/>
                  <a:pt x="3588013" y="1072565"/>
                </a:cubicBezTo>
                <a:cubicBezTo>
                  <a:pt x="3586305" y="1077544"/>
                  <a:pt x="3582464" y="1080959"/>
                  <a:pt x="3573714" y="1079252"/>
                </a:cubicBezTo>
                <a:cubicBezTo>
                  <a:pt x="3571153" y="1079536"/>
                  <a:pt x="3572220" y="1078967"/>
                  <a:pt x="3570512" y="1078540"/>
                </a:cubicBezTo>
                <a:lnTo>
                  <a:pt x="3568805" y="1078398"/>
                </a:lnTo>
                <a:lnTo>
                  <a:pt x="3580330" y="1082381"/>
                </a:lnTo>
                <a:cubicBezTo>
                  <a:pt x="3583745" y="1084373"/>
                  <a:pt x="3586519" y="1087076"/>
                  <a:pt x="3588440" y="1091202"/>
                </a:cubicBezTo>
                <a:cubicBezTo>
                  <a:pt x="3586732" y="1098885"/>
                  <a:pt x="3587586" y="1103865"/>
                  <a:pt x="3589080" y="1107990"/>
                </a:cubicBezTo>
                <a:lnTo>
                  <a:pt x="3589080" y="1108275"/>
                </a:lnTo>
                <a:lnTo>
                  <a:pt x="3592068" y="1105287"/>
                </a:lnTo>
                <a:lnTo>
                  <a:pt x="3593348" y="1097747"/>
                </a:lnTo>
                <a:cubicBezTo>
                  <a:pt x="3593348" y="1094474"/>
                  <a:pt x="3592921" y="1092340"/>
                  <a:pt x="3592921" y="1092340"/>
                </a:cubicBezTo>
                <a:cubicBezTo>
                  <a:pt x="3594415" y="1090065"/>
                  <a:pt x="3595483" y="1090065"/>
                  <a:pt x="3594415" y="1090065"/>
                </a:cubicBezTo>
                <a:cubicBezTo>
                  <a:pt x="3596763" y="1087788"/>
                  <a:pt x="3599537" y="1084231"/>
                  <a:pt x="3601671" y="1085369"/>
                </a:cubicBezTo>
                <a:cubicBezTo>
                  <a:pt x="3603166" y="1086934"/>
                  <a:pt x="3603806" y="1088784"/>
                  <a:pt x="3603592" y="1090918"/>
                </a:cubicBezTo>
                <a:lnTo>
                  <a:pt x="3602311" y="1095329"/>
                </a:lnTo>
                <a:lnTo>
                  <a:pt x="3603166" y="1094617"/>
                </a:lnTo>
                <a:cubicBezTo>
                  <a:pt x="3606154" y="1092767"/>
                  <a:pt x="3609782" y="1091487"/>
                  <a:pt x="3614263" y="1091345"/>
                </a:cubicBezTo>
                <a:cubicBezTo>
                  <a:pt x="3615117" y="1097747"/>
                  <a:pt x="3609141" y="1106568"/>
                  <a:pt x="3601458" y="1112258"/>
                </a:cubicBezTo>
                <a:lnTo>
                  <a:pt x="3592068" y="1116526"/>
                </a:lnTo>
                <a:lnTo>
                  <a:pt x="3593348" y="1120368"/>
                </a:lnTo>
                <a:cubicBezTo>
                  <a:pt x="3591428" y="1125490"/>
                  <a:pt x="3589080" y="1130753"/>
                  <a:pt x="3586305" y="1136017"/>
                </a:cubicBezTo>
                <a:lnTo>
                  <a:pt x="3583104" y="1140569"/>
                </a:lnTo>
                <a:lnTo>
                  <a:pt x="3581183" y="1144695"/>
                </a:lnTo>
                <a:lnTo>
                  <a:pt x="3580970" y="1145123"/>
                </a:lnTo>
                <a:lnTo>
                  <a:pt x="3580543" y="1147968"/>
                </a:lnTo>
                <a:lnTo>
                  <a:pt x="3582037" y="1146260"/>
                </a:lnTo>
                <a:cubicBezTo>
                  <a:pt x="3583957" y="1144838"/>
                  <a:pt x="3586305" y="1143842"/>
                  <a:pt x="3590574" y="1143984"/>
                </a:cubicBezTo>
                <a:cubicBezTo>
                  <a:pt x="3599324" y="1145265"/>
                  <a:pt x="3597403" y="1154654"/>
                  <a:pt x="3598470" y="1153943"/>
                </a:cubicBezTo>
                <a:cubicBezTo>
                  <a:pt x="3599964" y="1154370"/>
                  <a:pt x="3599964" y="1154370"/>
                  <a:pt x="3601031" y="1153659"/>
                </a:cubicBezTo>
                <a:cubicBezTo>
                  <a:pt x="3601458" y="1154797"/>
                  <a:pt x="3603592" y="1156219"/>
                  <a:pt x="3605086" y="1156504"/>
                </a:cubicBezTo>
                <a:cubicBezTo>
                  <a:pt x="3604019" y="1157215"/>
                  <a:pt x="3602952" y="1157784"/>
                  <a:pt x="3603592" y="1158922"/>
                </a:cubicBezTo>
                <a:cubicBezTo>
                  <a:pt x="3600391" y="1158069"/>
                  <a:pt x="3599964" y="1157073"/>
                  <a:pt x="3598470" y="1156646"/>
                </a:cubicBezTo>
                <a:cubicBezTo>
                  <a:pt x="3598897" y="1157642"/>
                  <a:pt x="3597403" y="1157215"/>
                  <a:pt x="3597403" y="1157215"/>
                </a:cubicBezTo>
                <a:cubicBezTo>
                  <a:pt x="3597403" y="1157215"/>
                  <a:pt x="3597403" y="1157215"/>
                  <a:pt x="3596336" y="1160488"/>
                </a:cubicBezTo>
                <a:cubicBezTo>
                  <a:pt x="3596336" y="1160488"/>
                  <a:pt x="3593348" y="1167885"/>
                  <a:pt x="3586305" y="1166890"/>
                </a:cubicBezTo>
                <a:cubicBezTo>
                  <a:pt x="3586519" y="1165751"/>
                  <a:pt x="3581397" y="1164044"/>
                  <a:pt x="3578836" y="1161056"/>
                </a:cubicBezTo>
                <a:lnTo>
                  <a:pt x="3577341" y="1157784"/>
                </a:lnTo>
                <a:lnTo>
                  <a:pt x="3573714" y="1163048"/>
                </a:lnTo>
                <a:cubicBezTo>
                  <a:pt x="3570086" y="1165325"/>
                  <a:pt x="3566670" y="1166178"/>
                  <a:pt x="3563683" y="1165894"/>
                </a:cubicBezTo>
                <a:lnTo>
                  <a:pt x="3560482" y="1164186"/>
                </a:lnTo>
                <a:lnTo>
                  <a:pt x="3547036" y="1169735"/>
                </a:lnTo>
                <a:lnTo>
                  <a:pt x="3546609" y="1169735"/>
                </a:lnTo>
                <a:lnTo>
                  <a:pt x="3544902" y="1171157"/>
                </a:lnTo>
                <a:lnTo>
                  <a:pt x="3545542" y="1173576"/>
                </a:lnTo>
                <a:cubicBezTo>
                  <a:pt x="3549170" y="1177133"/>
                  <a:pt x="3554292" y="1175283"/>
                  <a:pt x="3556000" y="1184531"/>
                </a:cubicBezTo>
                <a:lnTo>
                  <a:pt x="3548530" y="1184673"/>
                </a:lnTo>
                <a:lnTo>
                  <a:pt x="3549384" y="1186238"/>
                </a:lnTo>
                <a:cubicBezTo>
                  <a:pt x="3550451" y="1189937"/>
                  <a:pt x="3550878" y="1193778"/>
                  <a:pt x="3551304" y="1197762"/>
                </a:cubicBezTo>
                <a:lnTo>
                  <a:pt x="3551304" y="1204448"/>
                </a:lnTo>
                <a:lnTo>
                  <a:pt x="3553652" y="1202457"/>
                </a:lnTo>
                <a:cubicBezTo>
                  <a:pt x="3558774" y="1199469"/>
                  <a:pt x="3562403" y="1201176"/>
                  <a:pt x="3563256" y="1200180"/>
                </a:cubicBezTo>
                <a:cubicBezTo>
                  <a:pt x="3567098" y="1203595"/>
                  <a:pt x="3565177" y="1206155"/>
                  <a:pt x="3563470" y="1211277"/>
                </a:cubicBezTo>
                <a:cubicBezTo>
                  <a:pt x="3562189" y="1210139"/>
                  <a:pt x="3559201" y="1213981"/>
                  <a:pt x="3558347" y="1215261"/>
                </a:cubicBezTo>
                <a:cubicBezTo>
                  <a:pt x="3557067" y="1214123"/>
                  <a:pt x="3555359" y="1214407"/>
                  <a:pt x="3553439" y="1214692"/>
                </a:cubicBezTo>
                <a:lnTo>
                  <a:pt x="3551091" y="1214834"/>
                </a:lnTo>
                <a:lnTo>
                  <a:pt x="3550664" y="1226358"/>
                </a:lnTo>
                <a:lnTo>
                  <a:pt x="3553225" y="1223655"/>
                </a:lnTo>
                <a:cubicBezTo>
                  <a:pt x="3557494" y="1226358"/>
                  <a:pt x="3559841" y="1229488"/>
                  <a:pt x="3560268" y="1232618"/>
                </a:cubicBezTo>
                <a:cubicBezTo>
                  <a:pt x="3560908" y="1235890"/>
                  <a:pt x="3559201" y="1239162"/>
                  <a:pt x="3555573" y="1242292"/>
                </a:cubicBezTo>
                <a:cubicBezTo>
                  <a:pt x="3551518" y="1237455"/>
                  <a:pt x="3546609" y="1239304"/>
                  <a:pt x="3542768" y="1234325"/>
                </a:cubicBezTo>
                <a:lnTo>
                  <a:pt x="3543621" y="1233471"/>
                </a:lnTo>
                <a:lnTo>
                  <a:pt x="3537646" y="1231622"/>
                </a:lnTo>
                <a:cubicBezTo>
                  <a:pt x="3539353" y="1221094"/>
                  <a:pt x="3539780" y="1210566"/>
                  <a:pt x="3540207" y="1200607"/>
                </a:cubicBezTo>
                <a:lnTo>
                  <a:pt x="3541701" y="1184815"/>
                </a:lnTo>
                <a:lnTo>
                  <a:pt x="3537219" y="1184958"/>
                </a:lnTo>
                <a:cubicBezTo>
                  <a:pt x="3531457" y="1184104"/>
                  <a:pt x="3526121" y="1182397"/>
                  <a:pt x="3521426" y="1179694"/>
                </a:cubicBezTo>
                <a:lnTo>
                  <a:pt x="3517371" y="1176848"/>
                </a:lnTo>
                <a:lnTo>
                  <a:pt x="3515023" y="1177417"/>
                </a:lnTo>
                <a:lnTo>
                  <a:pt x="3513529" y="1177133"/>
                </a:lnTo>
                <a:lnTo>
                  <a:pt x="3512889" y="1177560"/>
                </a:lnTo>
                <a:cubicBezTo>
                  <a:pt x="3512248" y="1177986"/>
                  <a:pt x="3511608" y="1178271"/>
                  <a:pt x="3511608" y="1178271"/>
                </a:cubicBezTo>
                <a:cubicBezTo>
                  <a:pt x="3510541" y="1177133"/>
                  <a:pt x="3510541" y="1177133"/>
                  <a:pt x="3511822" y="1177133"/>
                </a:cubicBezTo>
                <a:lnTo>
                  <a:pt x="3511822" y="1176991"/>
                </a:lnTo>
                <a:lnTo>
                  <a:pt x="3508194" y="1176706"/>
                </a:lnTo>
                <a:cubicBezTo>
                  <a:pt x="3508834" y="1173719"/>
                  <a:pt x="3510115" y="1170731"/>
                  <a:pt x="3511822" y="1168028"/>
                </a:cubicBezTo>
                <a:lnTo>
                  <a:pt x="3516731" y="1160488"/>
                </a:lnTo>
                <a:lnTo>
                  <a:pt x="3517371" y="1166463"/>
                </a:lnTo>
                <a:cubicBezTo>
                  <a:pt x="3518438" y="1166463"/>
                  <a:pt x="3519718" y="1165325"/>
                  <a:pt x="3519718" y="1165325"/>
                </a:cubicBezTo>
                <a:lnTo>
                  <a:pt x="3520572" y="1168881"/>
                </a:lnTo>
                <a:lnTo>
                  <a:pt x="3522493" y="1168597"/>
                </a:lnTo>
                <a:lnTo>
                  <a:pt x="3529962" y="1169735"/>
                </a:lnTo>
                <a:lnTo>
                  <a:pt x="3529962" y="1167743"/>
                </a:lnTo>
                <a:lnTo>
                  <a:pt x="3524627" y="1165609"/>
                </a:lnTo>
                <a:lnTo>
                  <a:pt x="3516731" y="1160488"/>
                </a:lnTo>
                <a:lnTo>
                  <a:pt x="3515023" y="1159634"/>
                </a:lnTo>
                <a:cubicBezTo>
                  <a:pt x="3511822" y="1157500"/>
                  <a:pt x="3508194" y="1155366"/>
                  <a:pt x="3504139" y="1153659"/>
                </a:cubicBezTo>
                <a:cubicBezTo>
                  <a:pt x="3507553" y="1138436"/>
                  <a:pt x="3499870" y="1134879"/>
                  <a:pt x="3495815" y="1127908"/>
                </a:cubicBezTo>
                <a:cubicBezTo>
                  <a:pt x="3499017" y="1123213"/>
                  <a:pt x="3500937" y="1117379"/>
                  <a:pt x="3502645" y="1111262"/>
                </a:cubicBezTo>
                <a:lnTo>
                  <a:pt x="3504992" y="1102726"/>
                </a:lnTo>
                <a:lnTo>
                  <a:pt x="3504352" y="1103011"/>
                </a:lnTo>
                <a:cubicBezTo>
                  <a:pt x="3502005" y="1103153"/>
                  <a:pt x="3495175" y="1098031"/>
                  <a:pt x="3495815" y="1096466"/>
                </a:cubicBezTo>
                <a:cubicBezTo>
                  <a:pt x="3497309" y="1096466"/>
                  <a:pt x="3499444" y="1096609"/>
                  <a:pt x="3501364" y="1096894"/>
                </a:cubicBezTo>
                <a:lnTo>
                  <a:pt x="3506060" y="1098458"/>
                </a:lnTo>
                <a:lnTo>
                  <a:pt x="3507767" y="1092483"/>
                </a:lnTo>
                <a:cubicBezTo>
                  <a:pt x="3514596" y="1089353"/>
                  <a:pt x="3520572" y="1085512"/>
                  <a:pt x="3526548" y="1081671"/>
                </a:cubicBezTo>
                <a:lnTo>
                  <a:pt x="3527615" y="1081101"/>
                </a:lnTo>
                <a:lnTo>
                  <a:pt x="3523133" y="1077544"/>
                </a:lnTo>
                <a:lnTo>
                  <a:pt x="3518865" y="1082524"/>
                </a:lnTo>
                <a:cubicBezTo>
                  <a:pt x="3513743" y="1085796"/>
                  <a:pt x="3507767" y="1082239"/>
                  <a:pt x="3503498" y="1075126"/>
                </a:cubicBezTo>
                <a:cubicBezTo>
                  <a:pt x="3506273" y="1070858"/>
                  <a:pt x="3509047" y="1066590"/>
                  <a:pt x="3513956" y="1064741"/>
                </a:cubicBezTo>
                <a:lnTo>
                  <a:pt x="3517584" y="1068724"/>
                </a:lnTo>
                <a:lnTo>
                  <a:pt x="3518011" y="1068297"/>
                </a:lnTo>
                <a:lnTo>
                  <a:pt x="3518651" y="1065452"/>
                </a:lnTo>
                <a:lnTo>
                  <a:pt x="3516303" y="1063602"/>
                </a:lnTo>
                <a:cubicBezTo>
                  <a:pt x="3517371" y="1062891"/>
                  <a:pt x="3519078" y="1060472"/>
                  <a:pt x="3519505" y="1061468"/>
                </a:cubicBezTo>
                <a:lnTo>
                  <a:pt x="3519932" y="1061753"/>
                </a:lnTo>
                <a:lnTo>
                  <a:pt x="3522919" y="1057912"/>
                </a:lnTo>
                <a:cubicBezTo>
                  <a:pt x="3526548" y="1053643"/>
                  <a:pt x="3530390" y="1052505"/>
                  <a:pt x="3533804" y="1052932"/>
                </a:cubicBezTo>
                <a:cubicBezTo>
                  <a:pt x="3537219" y="1053359"/>
                  <a:pt x="3540420" y="1055351"/>
                  <a:pt x="3542554" y="1057485"/>
                </a:cubicBezTo>
                <a:cubicBezTo>
                  <a:pt x="3541701" y="1058339"/>
                  <a:pt x="3547676" y="1064171"/>
                  <a:pt x="3547036" y="1071143"/>
                </a:cubicBezTo>
                <a:lnTo>
                  <a:pt x="3546609" y="1071569"/>
                </a:lnTo>
                <a:lnTo>
                  <a:pt x="3556000" y="1075553"/>
                </a:lnTo>
                <a:lnTo>
                  <a:pt x="3565177" y="1077544"/>
                </a:lnTo>
                <a:lnTo>
                  <a:pt x="3563470" y="1072423"/>
                </a:lnTo>
                <a:cubicBezTo>
                  <a:pt x="3562615" y="1070431"/>
                  <a:pt x="3561762" y="1068013"/>
                  <a:pt x="3561975" y="1063318"/>
                </a:cubicBezTo>
                <a:cubicBezTo>
                  <a:pt x="3561975" y="1051367"/>
                  <a:pt x="3569872" y="1049233"/>
                  <a:pt x="3575634" y="1049945"/>
                </a:cubicBezTo>
                <a:cubicBezTo>
                  <a:pt x="3575634" y="1050229"/>
                  <a:pt x="3576061" y="1050371"/>
                  <a:pt x="3576915" y="1050798"/>
                </a:cubicBezTo>
                <a:lnTo>
                  <a:pt x="3579262" y="1051794"/>
                </a:lnTo>
                <a:lnTo>
                  <a:pt x="3582891" y="1050371"/>
                </a:lnTo>
                <a:cubicBezTo>
                  <a:pt x="3583957" y="1050513"/>
                  <a:pt x="3585025" y="1051083"/>
                  <a:pt x="3586305" y="1052221"/>
                </a:cubicBezTo>
                <a:cubicBezTo>
                  <a:pt x="3587373" y="1052078"/>
                  <a:pt x="3589293" y="1056773"/>
                  <a:pt x="3588226" y="1058054"/>
                </a:cubicBezTo>
                <a:lnTo>
                  <a:pt x="3587373" y="1059049"/>
                </a:lnTo>
                <a:lnTo>
                  <a:pt x="3589080" y="1066163"/>
                </a:lnTo>
                <a:cubicBezTo>
                  <a:pt x="3589080" y="1067728"/>
                  <a:pt x="3588866" y="1069151"/>
                  <a:pt x="3588440" y="1070574"/>
                </a:cubicBezTo>
                <a:cubicBezTo>
                  <a:pt x="3589080" y="1068155"/>
                  <a:pt x="3589720" y="1065594"/>
                  <a:pt x="3590360" y="1063887"/>
                </a:cubicBezTo>
                <a:lnTo>
                  <a:pt x="3591214" y="1061326"/>
                </a:lnTo>
                <a:lnTo>
                  <a:pt x="3590147" y="1061326"/>
                </a:lnTo>
                <a:lnTo>
                  <a:pt x="3591428" y="1060046"/>
                </a:lnTo>
                <a:lnTo>
                  <a:pt x="3591641" y="1059761"/>
                </a:lnTo>
                <a:cubicBezTo>
                  <a:pt x="3592708" y="1059903"/>
                  <a:pt x="3592708" y="1058765"/>
                  <a:pt x="3591641" y="1058623"/>
                </a:cubicBezTo>
                <a:cubicBezTo>
                  <a:pt x="3592921" y="1056916"/>
                  <a:pt x="3593988" y="1055351"/>
                  <a:pt x="3594842" y="1054639"/>
                </a:cubicBezTo>
                <a:lnTo>
                  <a:pt x="3596123" y="1054924"/>
                </a:lnTo>
                <a:lnTo>
                  <a:pt x="3595909" y="1048237"/>
                </a:lnTo>
                <a:lnTo>
                  <a:pt x="3596336" y="1046388"/>
                </a:lnTo>
                <a:lnTo>
                  <a:pt x="3595696" y="1045819"/>
                </a:lnTo>
                <a:lnTo>
                  <a:pt x="3596549" y="1044681"/>
                </a:lnTo>
                <a:lnTo>
                  <a:pt x="3597616" y="1038705"/>
                </a:lnTo>
                <a:cubicBezTo>
                  <a:pt x="3598470" y="1036287"/>
                  <a:pt x="3600178" y="1034437"/>
                  <a:pt x="3602525" y="1034153"/>
                </a:cubicBezTo>
                <a:close/>
                <a:moveTo>
                  <a:pt x="4680082" y="1033299"/>
                </a:moveTo>
                <a:cubicBezTo>
                  <a:pt x="4686057" y="1034153"/>
                  <a:pt x="4689472" y="1040270"/>
                  <a:pt x="4691606" y="1046672"/>
                </a:cubicBezTo>
                <a:cubicBezTo>
                  <a:pt x="4692673" y="1049518"/>
                  <a:pt x="4693313" y="1052505"/>
                  <a:pt x="4693954" y="1055067"/>
                </a:cubicBezTo>
                <a:cubicBezTo>
                  <a:pt x="4695448" y="1060472"/>
                  <a:pt x="4696515" y="1066448"/>
                  <a:pt x="4694594" y="1070004"/>
                </a:cubicBezTo>
                <a:cubicBezTo>
                  <a:pt x="4694167" y="1071285"/>
                  <a:pt x="4693100" y="1072280"/>
                  <a:pt x="4691820" y="1072850"/>
                </a:cubicBezTo>
                <a:cubicBezTo>
                  <a:pt x="4683923" y="1076691"/>
                  <a:pt x="4674746" y="1070715"/>
                  <a:pt x="4672185" y="1060330"/>
                </a:cubicBezTo>
                <a:cubicBezTo>
                  <a:pt x="4668130" y="1044396"/>
                  <a:pt x="4673039" y="1034437"/>
                  <a:pt x="4673039" y="1034437"/>
                </a:cubicBezTo>
                <a:cubicBezTo>
                  <a:pt x="4675813" y="1033299"/>
                  <a:pt x="4678161" y="1033015"/>
                  <a:pt x="4680082" y="1033299"/>
                </a:cubicBezTo>
                <a:close/>
                <a:moveTo>
                  <a:pt x="3612129" y="1032161"/>
                </a:moveTo>
                <a:cubicBezTo>
                  <a:pt x="3614050" y="1031876"/>
                  <a:pt x="3615971" y="1032303"/>
                  <a:pt x="3617678" y="1032872"/>
                </a:cubicBezTo>
                <a:cubicBezTo>
                  <a:pt x="3616397" y="1032872"/>
                  <a:pt x="3616397" y="1032872"/>
                  <a:pt x="3616397" y="1032872"/>
                </a:cubicBezTo>
                <a:cubicBezTo>
                  <a:pt x="3615117" y="1034153"/>
                  <a:pt x="3616397" y="1034153"/>
                  <a:pt x="3616184" y="1035291"/>
                </a:cubicBezTo>
                <a:cubicBezTo>
                  <a:pt x="3616184" y="1035291"/>
                  <a:pt x="3616397" y="1034010"/>
                  <a:pt x="3617251" y="1035291"/>
                </a:cubicBezTo>
                <a:cubicBezTo>
                  <a:pt x="3616184" y="1035291"/>
                  <a:pt x="3616184" y="1036429"/>
                  <a:pt x="3615971" y="1037709"/>
                </a:cubicBezTo>
                <a:lnTo>
                  <a:pt x="3611916" y="1040697"/>
                </a:lnTo>
                <a:lnTo>
                  <a:pt x="3613196" y="1043116"/>
                </a:lnTo>
                <a:cubicBezTo>
                  <a:pt x="3610849" y="1043542"/>
                  <a:pt x="3610635" y="1045250"/>
                  <a:pt x="3606794" y="1043827"/>
                </a:cubicBezTo>
                <a:lnTo>
                  <a:pt x="3607007" y="1039844"/>
                </a:lnTo>
                <a:lnTo>
                  <a:pt x="3606580" y="1037709"/>
                </a:lnTo>
                <a:cubicBezTo>
                  <a:pt x="3606794" y="1036571"/>
                  <a:pt x="3607434" y="1035717"/>
                  <a:pt x="3608074" y="1035148"/>
                </a:cubicBezTo>
                <a:cubicBezTo>
                  <a:pt x="3608714" y="1033299"/>
                  <a:pt x="3610422" y="1032445"/>
                  <a:pt x="3612129" y="1032161"/>
                </a:cubicBezTo>
                <a:close/>
                <a:moveTo>
                  <a:pt x="1041752" y="1029618"/>
                </a:moveTo>
                <a:cubicBezTo>
                  <a:pt x="1044230" y="1032406"/>
                  <a:pt x="1043404" y="1034885"/>
                  <a:pt x="1042475" y="1037208"/>
                </a:cubicBezTo>
                <a:cubicBezTo>
                  <a:pt x="1041649" y="1038757"/>
                  <a:pt x="1041649" y="1039531"/>
                  <a:pt x="1042475" y="1041390"/>
                </a:cubicBezTo>
                <a:cubicBezTo>
                  <a:pt x="1042475" y="1041390"/>
                  <a:pt x="1042475" y="1041390"/>
                  <a:pt x="1040720" y="1042785"/>
                </a:cubicBezTo>
                <a:lnTo>
                  <a:pt x="1039790" y="1042785"/>
                </a:lnTo>
                <a:cubicBezTo>
                  <a:pt x="1039377" y="1042474"/>
                  <a:pt x="1039171" y="1041855"/>
                  <a:pt x="1039067" y="1040925"/>
                </a:cubicBezTo>
                <a:cubicBezTo>
                  <a:pt x="1038861" y="1038138"/>
                  <a:pt x="1039997" y="1033336"/>
                  <a:pt x="1039997" y="1032716"/>
                </a:cubicBezTo>
                <a:cubicBezTo>
                  <a:pt x="1039997" y="1032716"/>
                  <a:pt x="1039997" y="1031941"/>
                  <a:pt x="1039997" y="1031012"/>
                </a:cubicBezTo>
                <a:cubicBezTo>
                  <a:pt x="1040823" y="1030392"/>
                  <a:pt x="1041752" y="1030392"/>
                  <a:pt x="1041752" y="1029618"/>
                </a:cubicBezTo>
                <a:close/>
                <a:moveTo>
                  <a:pt x="3945918" y="1029173"/>
                </a:moveTo>
                <a:cubicBezTo>
                  <a:pt x="3946985" y="1029031"/>
                  <a:pt x="3947838" y="1029173"/>
                  <a:pt x="3948905" y="1029743"/>
                </a:cubicBezTo>
                <a:cubicBezTo>
                  <a:pt x="3951253" y="1030880"/>
                  <a:pt x="3950613" y="1033299"/>
                  <a:pt x="3948479" y="1035860"/>
                </a:cubicBezTo>
                <a:cubicBezTo>
                  <a:pt x="3945918" y="1042119"/>
                  <a:pt x="3942717" y="1043542"/>
                  <a:pt x="3938874" y="1040128"/>
                </a:cubicBezTo>
                <a:cubicBezTo>
                  <a:pt x="3938662" y="1038847"/>
                  <a:pt x="3939302" y="1035291"/>
                  <a:pt x="3938234" y="1035291"/>
                </a:cubicBezTo>
                <a:cubicBezTo>
                  <a:pt x="3940369" y="1032445"/>
                  <a:pt x="3943143" y="1029458"/>
                  <a:pt x="3945918" y="1029173"/>
                </a:cubicBezTo>
                <a:close/>
                <a:moveTo>
                  <a:pt x="1258384" y="1028379"/>
                </a:moveTo>
                <a:cubicBezTo>
                  <a:pt x="1259210" y="1029153"/>
                  <a:pt x="1259210" y="1028379"/>
                  <a:pt x="1260036" y="1028379"/>
                </a:cubicBezTo>
                <a:lnTo>
                  <a:pt x="1260759" y="1029463"/>
                </a:lnTo>
                <a:lnTo>
                  <a:pt x="1261378" y="1028998"/>
                </a:lnTo>
                <a:cubicBezTo>
                  <a:pt x="1263133" y="1027914"/>
                  <a:pt x="1263133" y="1027914"/>
                  <a:pt x="1264063" y="1028688"/>
                </a:cubicBezTo>
                <a:cubicBezTo>
                  <a:pt x="1264992" y="1029463"/>
                  <a:pt x="1264269" y="1032096"/>
                  <a:pt x="1265199" y="1032871"/>
                </a:cubicBezTo>
                <a:cubicBezTo>
                  <a:pt x="1265199" y="1032871"/>
                  <a:pt x="1265199" y="1032871"/>
                  <a:pt x="1263443" y="1033955"/>
                </a:cubicBezTo>
                <a:lnTo>
                  <a:pt x="1261998" y="1033645"/>
                </a:lnTo>
                <a:lnTo>
                  <a:pt x="1261481" y="1035659"/>
                </a:lnTo>
                <a:cubicBezTo>
                  <a:pt x="1259623" y="1037518"/>
                  <a:pt x="1256835" y="1039996"/>
                  <a:pt x="1254357" y="1038447"/>
                </a:cubicBezTo>
                <a:cubicBezTo>
                  <a:pt x="1254357" y="1037673"/>
                  <a:pt x="1253531" y="1037673"/>
                  <a:pt x="1253531" y="1036898"/>
                </a:cubicBezTo>
                <a:cubicBezTo>
                  <a:pt x="1253531" y="1036898"/>
                  <a:pt x="1253118" y="1036124"/>
                  <a:pt x="1253118" y="1034885"/>
                </a:cubicBezTo>
                <a:cubicBezTo>
                  <a:pt x="1253014" y="1033645"/>
                  <a:pt x="1253324" y="1031941"/>
                  <a:pt x="1254770" y="1030238"/>
                </a:cubicBezTo>
                <a:cubicBezTo>
                  <a:pt x="1255596" y="1029308"/>
                  <a:pt x="1258384" y="1027605"/>
                  <a:pt x="1258384" y="1028379"/>
                </a:cubicBezTo>
                <a:close/>
                <a:moveTo>
                  <a:pt x="1219056" y="1026675"/>
                </a:moveTo>
                <a:cubicBezTo>
                  <a:pt x="1223587" y="1028456"/>
                  <a:pt x="1227768" y="1031632"/>
                  <a:pt x="1230195" y="1034110"/>
                </a:cubicBezTo>
                <a:cubicBezTo>
                  <a:pt x="1226168" y="1033800"/>
                  <a:pt x="1222244" y="1033800"/>
                  <a:pt x="1218217" y="1033026"/>
                </a:cubicBezTo>
                <a:cubicBezTo>
                  <a:pt x="1214190" y="1032252"/>
                  <a:pt x="1209957" y="1030857"/>
                  <a:pt x="1205826" y="1027605"/>
                </a:cubicBezTo>
                <a:cubicBezTo>
                  <a:pt x="1209647" y="1024507"/>
                  <a:pt x="1214526" y="1024894"/>
                  <a:pt x="1219056" y="1026675"/>
                </a:cubicBezTo>
                <a:close/>
                <a:moveTo>
                  <a:pt x="1524888" y="1024971"/>
                </a:moveTo>
                <a:cubicBezTo>
                  <a:pt x="1523236" y="1025901"/>
                  <a:pt x="1521068" y="1026520"/>
                  <a:pt x="1518693" y="1026830"/>
                </a:cubicBezTo>
                <a:lnTo>
                  <a:pt x="1517763" y="1026830"/>
                </a:lnTo>
                <a:lnTo>
                  <a:pt x="1518383" y="1028534"/>
                </a:lnTo>
                <a:cubicBezTo>
                  <a:pt x="1519519" y="1029463"/>
                  <a:pt x="1521068" y="1029308"/>
                  <a:pt x="1523030" y="1028844"/>
                </a:cubicBezTo>
                <a:lnTo>
                  <a:pt x="1525817" y="1028534"/>
                </a:lnTo>
                <a:lnTo>
                  <a:pt x="1525817" y="1028069"/>
                </a:lnTo>
                <a:cubicBezTo>
                  <a:pt x="1525714" y="1026985"/>
                  <a:pt x="1525404" y="1026055"/>
                  <a:pt x="1524888" y="1024971"/>
                </a:cubicBezTo>
                <a:close/>
                <a:moveTo>
                  <a:pt x="3812103" y="1022771"/>
                </a:moveTo>
                <a:cubicBezTo>
                  <a:pt x="3813598" y="1025047"/>
                  <a:pt x="3815731" y="1026328"/>
                  <a:pt x="3817012" y="1028746"/>
                </a:cubicBezTo>
                <a:cubicBezTo>
                  <a:pt x="3817012" y="1032730"/>
                  <a:pt x="3810610" y="1037994"/>
                  <a:pt x="3806128" y="1036571"/>
                </a:cubicBezTo>
                <a:cubicBezTo>
                  <a:pt x="3804634" y="1036144"/>
                  <a:pt x="3803353" y="1035006"/>
                  <a:pt x="3802499" y="1032872"/>
                </a:cubicBezTo>
                <a:cubicBezTo>
                  <a:pt x="3800792" y="1026186"/>
                  <a:pt x="3805914" y="1024194"/>
                  <a:pt x="3812103" y="1022771"/>
                </a:cubicBezTo>
                <a:close/>
                <a:moveTo>
                  <a:pt x="1125803" y="1022493"/>
                </a:moveTo>
                <a:cubicBezTo>
                  <a:pt x="1127145" y="1022493"/>
                  <a:pt x="1128384" y="1023267"/>
                  <a:pt x="1129313" y="1024971"/>
                </a:cubicBezTo>
                <a:cubicBezTo>
                  <a:pt x="1124977" y="1028069"/>
                  <a:pt x="1123118" y="1032871"/>
                  <a:pt x="1119917" y="1033026"/>
                </a:cubicBezTo>
                <a:cubicBezTo>
                  <a:pt x="1118885" y="1033026"/>
                  <a:pt x="1117749" y="1032561"/>
                  <a:pt x="1116303" y="1031167"/>
                </a:cubicBezTo>
                <a:cubicBezTo>
                  <a:pt x="1116923" y="1029463"/>
                  <a:pt x="1119711" y="1025436"/>
                  <a:pt x="1122808" y="1023422"/>
                </a:cubicBezTo>
                <a:cubicBezTo>
                  <a:pt x="1123737" y="1022803"/>
                  <a:pt x="1124873" y="1022493"/>
                  <a:pt x="1125803" y="1022493"/>
                </a:cubicBezTo>
                <a:close/>
                <a:moveTo>
                  <a:pt x="1234738" y="1021873"/>
                </a:moveTo>
                <a:cubicBezTo>
                  <a:pt x="1235771" y="1023422"/>
                  <a:pt x="1233189" y="1026210"/>
                  <a:pt x="1232466" y="1027914"/>
                </a:cubicBezTo>
                <a:cubicBezTo>
                  <a:pt x="1231537" y="1027295"/>
                  <a:pt x="1230711" y="1026520"/>
                  <a:pt x="1230711" y="1027450"/>
                </a:cubicBezTo>
                <a:cubicBezTo>
                  <a:pt x="1229782" y="1026675"/>
                  <a:pt x="1229369" y="1025901"/>
                  <a:pt x="1229162" y="1025126"/>
                </a:cubicBezTo>
                <a:cubicBezTo>
                  <a:pt x="1229059" y="1024351"/>
                  <a:pt x="1229162" y="1023422"/>
                  <a:pt x="1229575" y="1022493"/>
                </a:cubicBezTo>
                <a:cubicBezTo>
                  <a:pt x="1230401" y="1021563"/>
                  <a:pt x="1232157" y="1021409"/>
                  <a:pt x="1234738" y="1021873"/>
                </a:cubicBezTo>
                <a:close/>
                <a:moveTo>
                  <a:pt x="3650331" y="1021491"/>
                </a:moveTo>
                <a:cubicBezTo>
                  <a:pt x="3651185" y="1020922"/>
                  <a:pt x="3651826" y="1022060"/>
                  <a:pt x="3652679" y="1021491"/>
                </a:cubicBezTo>
                <a:cubicBezTo>
                  <a:pt x="3652679" y="1021491"/>
                  <a:pt x="3653533" y="1022344"/>
                  <a:pt x="3653533" y="1022344"/>
                </a:cubicBezTo>
                <a:cubicBezTo>
                  <a:pt x="3653959" y="1022060"/>
                  <a:pt x="3653746" y="1022060"/>
                  <a:pt x="3653746" y="1022487"/>
                </a:cubicBezTo>
                <a:cubicBezTo>
                  <a:pt x="3653746" y="1022914"/>
                  <a:pt x="3653746" y="1023767"/>
                  <a:pt x="3653959" y="1025047"/>
                </a:cubicBezTo>
                <a:cubicBezTo>
                  <a:pt x="3653746" y="1026612"/>
                  <a:pt x="3654173" y="1027466"/>
                  <a:pt x="3652679" y="1027181"/>
                </a:cubicBezTo>
                <a:cubicBezTo>
                  <a:pt x="3651185" y="1026755"/>
                  <a:pt x="3651185" y="1026755"/>
                  <a:pt x="3649264" y="1023767"/>
                </a:cubicBezTo>
                <a:cubicBezTo>
                  <a:pt x="3650758" y="1024194"/>
                  <a:pt x="3650758" y="1024194"/>
                  <a:pt x="3650971" y="1022629"/>
                </a:cubicBezTo>
                <a:cubicBezTo>
                  <a:pt x="3650971" y="1022629"/>
                  <a:pt x="3650971" y="1022487"/>
                  <a:pt x="3650331" y="1021491"/>
                </a:cubicBezTo>
                <a:close/>
                <a:moveTo>
                  <a:pt x="4736638" y="1020210"/>
                </a:moveTo>
                <a:cubicBezTo>
                  <a:pt x="4737918" y="1020495"/>
                  <a:pt x="4738985" y="1021206"/>
                  <a:pt x="4738985" y="1021917"/>
                </a:cubicBezTo>
                <a:cubicBezTo>
                  <a:pt x="4739412" y="1024478"/>
                  <a:pt x="4739839" y="1026755"/>
                  <a:pt x="4737918" y="1028462"/>
                </a:cubicBezTo>
                <a:cubicBezTo>
                  <a:pt x="4737278" y="1029031"/>
                  <a:pt x="4736424" y="1029458"/>
                  <a:pt x="4735357" y="1029743"/>
                </a:cubicBezTo>
                <a:cubicBezTo>
                  <a:pt x="4735357" y="1029743"/>
                  <a:pt x="4735357" y="1029743"/>
                  <a:pt x="4734504" y="1029173"/>
                </a:cubicBezTo>
                <a:cubicBezTo>
                  <a:pt x="4732583" y="1028035"/>
                  <a:pt x="4731729" y="1027324"/>
                  <a:pt x="4730662" y="1026755"/>
                </a:cubicBezTo>
                <a:cubicBezTo>
                  <a:pt x="4730449" y="1025190"/>
                  <a:pt x="4730449" y="1020922"/>
                  <a:pt x="4732156" y="1020495"/>
                </a:cubicBezTo>
                <a:cubicBezTo>
                  <a:pt x="4733650" y="1020068"/>
                  <a:pt x="4735357" y="1019926"/>
                  <a:pt x="4736638" y="1020210"/>
                </a:cubicBezTo>
                <a:close/>
                <a:moveTo>
                  <a:pt x="1435468" y="1020015"/>
                </a:moveTo>
                <a:cubicBezTo>
                  <a:pt x="1438979" y="1021409"/>
                  <a:pt x="1438979" y="1023422"/>
                  <a:pt x="1437740" y="1026675"/>
                </a:cubicBezTo>
                <a:cubicBezTo>
                  <a:pt x="1435055" y="1025901"/>
                  <a:pt x="1433919" y="1025126"/>
                  <a:pt x="1433713" y="1024042"/>
                </a:cubicBezTo>
                <a:cubicBezTo>
                  <a:pt x="1433610" y="1023113"/>
                  <a:pt x="1434436" y="1021873"/>
                  <a:pt x="1435468" y="1020015"/>
                </a:cubicBezTo>
                <a:close/>
                <a:moveTo>
                  <a:pt x="4063085" y="1019072"/>
                </a:moveTo>
                <a:cubicBezTo>
                  <a:pt x="4065006" y="1020210"/>
                  <a:pt x="4066073" y="1020779"/>
                  <a:pt x="4067354" y="1023056"/>
                </a:cubicBezTo>
                <a:cubicBezTo>
                  <a:pt x="4068634" y="1035717"/>
                  <a:pt x="4062445" y="1039132"/>
                  <a:pt x="4062658" y="1040839"/>
                </a:cubicBezTo>
                <a:cubicBezTo>
                  <a:pt x="4057750" y="1042119"/>
                  <a:pt x="4057109" y="1038847"/>
                  <a:pt x="4054762" y="1034295"/>
                </a:cubicBezTo>
                <a:cubicBezTo>
                  <a:pt x="4056255" y="1033726"/>
                  <a:pt x="4055615" y="1028888"/>
                  <a:pt x="4055188" y="1027181"/>
                </a:cubicBezTo>
                <a:cubicBezTo>
                  <a:pt x="4058603" y="1026328"/>
                  <a:pt x="4058176" y="1020352"/>
                  <a:pt x="4063085" y="1019072"/>
                </a:cubicBezTo>
                <a:close/>
                <a:moveTo>
                  <a:pt x="3427308" y="1018645"/>
                </a:moveTo>
                <a:cubicBezTo>
                  <a:pt x="3428588" y="1019072"/>
                  <a:pt x="3429015" y="1020068"/>
                  <a:pt x="3429228" y="1021206"/>
                </a:cubicBezTo>
                <a:cubicBezTo>
                  <a:pt x="3429869" y="1024905"/>
                  <a:pt x="3427094" y="1030738"/>
                  <a:pt x="3425173" y="1031307"/>
                </a:cubicBezTo>
                <a:cubicBezTo>
                  <a:pt x="3422826" y="1030311"/>
                  <a:pt x="3421759" y="1017649"/>
                  <a:pt x="3427308" y="1018645"/>
                </a:cubicBezTo>
                <a:close/>
                <a:moveTo>
                  <a:pt x="3606580" y="1018503"/>
                </a:moveTo>
                <a:cubicBezTo>
                  <a:pt x="3614690" y="1021491"/>
                  <a:pt x="3621946" y="1025047"/>
                  <a:pt x="3633471" y="1025047"/>
                </a:cubicBezTo>
                <a:cubicBezTo>
                  <a:pt x="3633258" y="1028462"/>
                  <a:pt x="3637526" y="1028177"/>
                  <a:pt x="3636459" y="1032303"/>
                </a:cubicBezTo>
                <a:cubicBezTo>
                  <a:pt x="3629416" y="1037994"/>
                  <a:pt x="3606580" y="1031165"/>
                  <a:pt x="3606580" y="1018503"/>
                </a:cubicBezTo>
                <a:close/>
                <a:moveTo>
                  <a:pt x="4863409" y="1018219"/>
                </a:moveTo>
                <a:cubicBezTo>
                  <a:pt x="4864263" y="1017792"/>
                  <a:pt x="4865116" y="1017934"/>
                  <a:pt x="4865970" y="1018503"/>
                </a:cubicBezTo>
                <a:cubicBezTo>
                  <a:pt x="4867037" y="1019641"/>
                  <a:pt x="4865757" y="1020922"/>
                  <a:pt x="4865544" y="1022060"/>
                </a:cubicBezTo>
                <a:cubicBezTo>
                  <a:pt x="4864263" y="1024336"/>
                  <a:pt x="4856153" y="1027751"/>
                  <a:pt x="4855086" y="1026612"/>
                </a:cubicBezTo>
                <a:cubicBezTo>
                  <a:pt x="4857006" y="1023909"/>
                  <a:pt x="4860421" y="1019357"/>
                  <a:pt x="4863409" y="1018219"/>
                </a:cubicBezTo>
                <a:close/>
                <a:moveTo>
                  <a:pt x="1299273" y="1018156"/>
                </a:moveTo>
                <a:cubicBezTo>
                  <a:pt x="1300203" y="1018930"/>
                  <a:pt x="1302887" y="1018930"/>
                  <a:pt x="1304642" y="1019550"/>
                </a:cubicBezTo>
                <a:cubicBezTo>
                  <a:pt x="1304642" y="1020479"/>
                  <a:pt x="1305469" y="1021253"/>
                  <a:pt x="1305469" y="1022028"/>
                </a:cubicBezTo>
                <a:cubicBezTo>
                  <a:pt x="1304539" y="1022028"/>
                  <a:pt x="1302681" y="1022803"/>
                  <a:pt x="1302681" y="1022028"/>
                </a:cubicBezTo>
                <a:cubicBezTo>
                  <a:pt x="1301855" y="1022028"/>
                  <a:pt x="1301855" y="1020479"/>
                  <a:pt x="1301855" y="1020479"/>
                </a:cubicBezTo>
                <a:cubicBezTo>
                  <a:pt x="1301029" y="1020479"/>
                  <a:pt x="1300099" y="1020634"/>
                  <a:pt x="1299273" y="1019860"/>
                </a:cubicBezTo>
                <a:cubicBezTo>
                  <a:pt x="1300203" y="1018930"/>
                  <a:pt x="1299273" y="1018930"/>
                  <a:pt x="1299273" y="1018156"/>
                </a:cubicBezTo>
                <a:close/>
                <a:moveTo>
                  <a:pt x="3767499" y="1016938"/>
                </a:moveTo>
                <a:cubicBezTo>
                  <a:pt x="3769419" y="1016511"/>
                  <a:pt x="3771554" y="1016796"/>
                  <a:pt x="3773261" y="1018076"/>
                </a:cubicBezTo>
                <a:cubicBezTo>
                  <a:pt x="3778170" y="1026612"/>
                  <a:pt x="3767072" y="1034295"/>
                  <a:pt x="3760029" y="1031592"/>
                </a:cubicBezTo>
                <a:cubicBezTo>
                  <a:pt x="3756401" y="1025332"/>
                  <a:pt x="3761523" y="1018076"/>
                  <a:pt x="3767499" y="1016938"/>
                </a:cubicBezTo>
                <a:close/>
                <a:moveTo>
                  <a:pt x="3409594" y="1016938"/>
                </a:moveTo>
                <a:cubicBezTo>
                  <a:pt x="3410874" y="1019926"/>
                  <a:pt x="3409381" y="1024336"/>
                  <a:pt x="3410874" y="1027181"/>
                </a:cubicBezTo>
                <a:cubicBezTo>
                  <a:pt x="3408740" y="1026470"/>
                  <a:pt x="3405752" y="1028177"/>
                  <a:pt x="3403618" y="1027466"/>
                </a:cubicBezTo>
                <a:cubicBezTo>
                  <a:pt x="3400630" y="1021633"/>
                  <a:pt x="3407246" y="1016369"/>
                  <a:pt x="3409594" y="1016938"/>
                </a:cubicBezTo>
                <a:close/>
                <a:moveTo>
                  <a:pt x="3293066" y="1016511"/>
                </a:moveTo>
                <a:cubicBezTo>
                  <a:pt x="3299042" y="1022060"/>
                  <a:pt x="3303737" y="1027893"/>
                  <a:pt x="3314195" y="1032161"/>
                </a:cubicBezTo>
                <a:cubicBezTo>
                  <a:pt x="3312488" y="1035006"/>
                  <a:pt x="3316330" y="1036287"/>
                  <a:pt x="3313342" y="1039701"/>
                </a:cubicBezTo>
                <a:cubicBezTo>
                  <a:pt x="3304164" y="1042404"/>
                  <a:pt x="3286878" y="1028035"/>
                  <a:pt x="3293066" y="1016511"/>
                </a:cubicBezTo>
                <a:close/>
                <a:moveTo>
                  <a:pt x="3362428" y="1015942"/>
                </a:moveTo>
                <a:cubicBezTo>
                  <a:pt x="3364135" y="1015515"/>
                  <a:pt x="3366056" y="1016227"/>
                  <a:pt x="3367123" y="1017649"/>
                </a:cubicBezTo>
                <a:cubicBezTo>
                  <a:pt x="3367763" y="1018645"/>
                  <a:pt x="3367763" y="1019926"/>
                  <a:pt x="3366910" y="1021491"/>
                </a:cubicBezTo>
                <a:cubicBezTo>
                  <a:pt x="3365416" y="1021349"/>
                  <a:pt x="3362855" y="1022202"/>
                  <a:pt x="3360507" y="1021206"/>
                </a:cubicBezTo>
                <a:cubicBezTo>
                  <a:pt x="3359654" y="1018076"/>
                  <a:pt x="3360934" y="1016511"/>
                  <a:pt x="3362428" y="1015942"/>
                </a:cubicBezTo>
                <a:close/>
                <a:moveTo>
                  <a:pt x="1107836" y="1015832"/>
                </a:moveTo>
                <a:cubicBezTo>
                  <a:pt x="1110727" y="1014748"/>
                  <a:pt x="1113722" y="1016607"/>
                  <a:pt x="1117336" y="1015987"/>
                </a:cubicBezTo>
                <a:cubicBezTo>
                  <a:pt x="1118162" y="1018001"/>
                  <a:pt x="1118678" y="1019395"/>
                  <a:pt x="1118472" y="1020479"/>
                </a:cubicBezTo>
                <a:lnTo>
                  <a:pt x="1118162" y="1020789"/>
                </a:lnTo>
                <a:lnTo>
                  <a:pt x="1113825" y="1029153"/>
                </a:lnTo>
                <a:cubicBezTo>
                  <a:pt x="1112896" y="1029928"/>
                  <a:pt x="1109488" y="1031322"/>
                  <a:pt x="1108559" y="1030392"/>
                </a:cubicBezTo>
                <a:cubicBezTo>
                  <a:pt x="1107733" y="1029463"/>
                  <a:pt x="1107733" y="1028688"/>
                  <a:pt x="1107733" y="1027759"/>
                </a:cubicBezTo>
                <a:lnTo>
                  <a:pt x="1109901" y="1024042"/>
                </a:lnTo>
                <a:lnTo>
                  <a:pt x="1108043" y="1024042"/>
                </a:lnTo>
                <a:cubicBezTo>
                  <a:pt x="1106081" y="1023577"/>
                  <a:pt x="1104429" y="1022803"/>
                  <a:pt x="1103912" y="1021873"/>
                </a:cubicBezTo>
                <a:cubicBezTo>
                  <a:pt x="1103293" y="1019550"/>
                  <a:pt x="1104326" y="1016452"/>
                  <a:pt x="1107836" y="1015832"/>
                </a:cubicBezTo>
                <a:close/>
                <a:moveTo>
                  <a:pt x="1233396" y="1014748"/>
                </a:moveTo>
                <a:cubicBezTo>
                  <a:pt x="1236700" y="1014903"/>
                  <a:pt x="1238249" y="1015523"/>
                  <a:pt x="1238662" y="1016297"/>
                </a:cubicBezTo>
                <a:cubicBezTo>
                  <a:pt x="1240004" y="1018930"/>
                  <a:pt x="1231847" y="1022958"/>
                  <a:pt x="1233396" y="1014748"/>
                </a:cubicBezTo>
                <a:close/>
                <a:moveTo>
                  <a:pt x="1309083" y="1013509"/>
                </a:moveTo>
                <a:cubicBezTo>
                  <a:pt x="1309083" y="1013509"/>
                  <a:pt x="1309908" y="1014284"/>
                  <a:pt x="1310735" y="1015213"/>
                </a:cubicBezTo>
                <a:cubicBezTo>
                  <a:pt x="1311561" y="1015987"/>
                  <a:pt x="1312387" y="1015987"/>
                  <a:pt x="1312387" y="1015987"/>
                </a:cubicBezTo>
                <a:cubicBezTo>
                  <a:pt x="1313213" y="1016762"/>
                  <a:pt x="1313213" y="1017536"/>
                  <a:pt x="1312284" y="1018465"/>
                </a:cubicBezTo>
                <a:cubicBezTo>
                  <a:pt x="1312284" y="1018465"/>
                  <a:pt x="1310631" y="1017691"/>
                  <a:pt x="1310631" y="1017691"/>
                </a:cubicBezTo>
                <a:cubicBezTo>
                  <a:pt x="1308979" y="1016142"/>
                  <a:pt x="1308050" y="1015213"/>
                  <a:pt x="1306398" y="1014438"/>
                </a:cubicBezTo>
                <a:cubicBezTo>
                  <a:pt x="1307327" y="1012734"/>
                  <a:pt x="1308257" y="1012580"/>
                  <a:pt x="1309083" y="1013509"/>
                </a:cubicBezTo>
                <a:close/>
                <a:moveTo>
                  <a:pt x="3524414" y="1013097"/>
                </a:moveTo>
                <a:cubicBezTo>
                  <a:pt x="3526334" y="1014946"/>
                  <a:pt x="3527402" y="1017080"/>
                  <a:pt x="3527615" y="1019641"/>
                </a:cubicBezTo>
                <a:cubicBezTo>
                  <a:pt x="3528042" y="1023340"/>
                  <a:pt x="3527188" y="1027751"/>
                  <a:pt x="3525481" y="1031592"/>
                </a:cubicBezTo>
                <a:lnTo>
                  <a:pt x="3523987" y="1033583"/>
                </a:lnTo>
                <a:lnTo>
                  <a:pt x="3523774" y="1034580"/>
                </a:lnTo>
                <a:lnTo>
                  <a:pt x="3522493" y="1035860"/>
                </a:lnTo>
                <a:lnTo>
                  <a:pt x="3519078" y="1040982"/>
                </a:lnTo>
                <a:cubicBezTo>
                  <a:pt x="3513529" y="1041409"/>
                  <a:pt x="3510115" y="1039844"/>
                  <a:pt x="3508194" y="1037140"/>
                </a:cubicBezTo>
                <a:cubicBezTo>
                  <a:pt x="3502645" y="1029173"/>
                  <a:pt x="3511822" y="1011959"/>
                  <a:pt x="3524414" y="1013097"/>
                </a:cubicBezTo>
                <a:close/>
                <a:moveTo>
                  <a:pt x="1531806" y="1010101"/>
                </a:moveTo>
                <a:lnTo>
                  <a:pt x="1530877" y="1010411"/>
                </a:lnTo>
                <a:lnTo>
                  <a:pt x="1530980" y="1010720"/>
                </a:lnTo>
                <a:lnTo>
                  <a:pt x="1531393" y="1010411"/>
                </a:lnTo>
                <a:close/>
                <a:moveTo>
                  <a:pt x="1441870" y="1009946"/>
                </a:moveTo>
                <a:cubicBezTo>
                  <a:pt x="1456223" y="1011805"/>
                  <a:pt x="1463864" y="1026985"/>
                  <a:pt x="1473157" y="1038138"/>
                </a:cubicBezTo>
                <a:lnTo>
                  <a:pt x="1472124" y="1039067"/>
                </a:lnTo>
                <a:lnTo>
                  <a:pt x="1474499" y="1038757"/>
                </a:lnTo>
                <a:cubicBezTo>
                  <a:pt x="1475945" y="1038757"/>
                  <a:pt x="1477184" y="1039067"/>
                  <a:pt x="1478113" y="1039531"/>
                </a:cubicBezTo>
                <a:cubicBezTo>
                  <a:pt x="1478836" y="1039996"/>
                  <a:pt x="1479352" y="1040461"/>
                  <a:pt x="1479662" y="1041235"/>
                </a:cubicBezTo>
                <a:cubicBezTo>
                  <a:pt x="1480798" y="1042939"/>
                  <a:pt x="1479145" y="1043714"/>
                  <a:pt x="1476771" y="1044178"/>
                </a:cubicBezTo>
                <a:cubicBezTo>
                  <a:pt x="1472228" y="1046192"/>
                  <a:pt x="1469543" y="1045418"/>
                  <a:pt x="1468613" y="1041855"/>
                </a:cubicBezTo>
                <a:lnTo>
                  <a:pt x="1469440" y="1040925"/>
                </a:lnTo>
                <a:lnTo>
                  <a:pt x="1464690" y="1043559"/>
                </a:lnTo>
                <a:lnTo>
                  <a:pt x="1461902" y="1039531"/>
                </a:lnTo>
                <a:lnTo>
                  <a:pt x="1461179" y="1039996"/>
                </a:lnTo>
                <a:cubicBezTo>
                  <a:pt x="1460456" y="1039531"/>
                  <a:pt x="1459217" y="1039841"/>
                  <a:pt x="1458494" y="1039377"/>
                </a:cubicBezTo>
                <a:cubicBezTo>
                  <a:pt x="1459010" y="1038602"/>
                  <a:pt x="1459114" y="1036743"/>
                  <a:pt x="1459940" y="1037208"/>
                </a:cubicBezTo>
                <a:lnTo>
                  <a:pt x="1460353" y="1037208"/>
                </a:lnTo>
                <a:lnTo>
                  <a:pt x="1453435" y="1027140"/>
                </a:lnTo>
                <a:lnTo>
                  <a:pt x="1453022" y="1027295"/>
                </a:lnTo>
                <a:cubicBezTo>
                  <a:pt x="1449614" y="1027605"/>
                  <a:pt x="1444452" y="1025591"/>
                  <a:pt x="1446517" y="1021253"/>
                </a:cubicBezTo>
                <a:cubicBezTo>
                  <a:pt x="1446723" y="1020479"/>
                  <a:pt x="1447549" y="1020015"/>
                  <a:pt x="1448582" y="1020015"/>
                </a:cubicBezTo>
                <a:close/>
                <a:moveTo>
                  <a:pt x="4821365" y="1009825"/>
                </a:moveTo>
                <a:cubicBezTo>
                  <a:pt x="4823500" y="1011674"/>
                  <a:pt x="4824780" y="1014946"/>
                  <a:pt x="4825207" y="1018645"/>
                </a:cubicBezTo>
                <a:cubicBezTo>
                  <a:pt x="4826701" y="1030027"/>
                  <a:pt x="4821365" y="1046815"/>
                  <a:pt x="4811761" y="1047811"/>
                </a:cubicBezTo>
                <a:cubicBezTo>
                  <a:pt x="4816457" y="1034295"/>
                  <a:pt x="4813256" y="1024336"/>
                  <a:pt x="4821365" y="1009825"/>
                </a:cubicBezTo>
                <a:close/>
                <a:moveTo>
                  <a:pt x="3869727" y="1009398"/>
                </a:moveTo>
                <a:cubicBezTo>
                  <a:pt x="3871861" y="1009540"/>
                  <a:pt x="3873782" y="1010678"/>
                  <a:pt x="3875489" y="1012955"/>
                </a:cubicBezTo>
                <a:cubicBezTo>
                  <a:pt x="3868233" y="1015942"/>
                  <a:pt x="3860336" y="1021349"/>
                  <a:pt x="3852226" y="1021775"/>
                </a:cubicBezTo>
                <a:cubicBezTo>
                  <a:pt x="3855001" y="1015657"/>
                  <a:pt x="3863111" y="1008686"/>
                  <a:pt x="3869727" y="1009398"/>
                </a:cubicBezTo>
                <a:close/>
                <a:moveTo>
                  <a:pt x="3566884" y="1009113"/>
                </a:moveTo>
                <a:cubicBezTo>
                  <a:pt x="3567524" y="1010109"/>
                  <a:pt x="3568378" y="1009540"/>
                  <a:pt x="3569018" y="1010536"/>
                </a:cubicBezTo>
                <a:cubicBezTo>
                  <a:pt x="3569018" y="1010536"/>
                  <a:pt x="3570086" y="1011248"/>
                  <a:pt x="3570939" y="1012670"/>
                </a:cubicBezTo>
                <a:cubicBezTo>
                  <a:pt x="3571366" y="1013381"/>
                  <a:pt x="3571793" y="1014235"/>
                  <a:pt x="3572006" y="1015231"/>
                </a:cubicBezTo>
                <a:cubicBezTo>
                  <a:pt x="3572433" y="1016369"/>
                  <a:pt x="3572433" y="1017649"/>
                  <a:pt x="3572006" y="1019214"/>
                </a:cubicBezTo>
                <a:cubicBezTo>
                  <a:pt x="3571579" y="1020922"/>
                  <a:pt x="3569659" y="1024763"/>
                  <a:pt x="3569018" y="1023767"/>
                </a:cubicBezTo>
                <a:cubicBezTo>
                  <a:pt x="3567524" y="1023340"/>
                  <a:pt x="3567951" y="1024478"/>
                  <a:pt x="3566884" y="1025047"/>
                </a:cubicBezTo>
                <a:lnTo>
                  <a:pt x="3566244" y="1024763"/>
                </a:lnTo>
                <a:lnTo>
                  <a:pt x="3562189" y="1027893"/>
                </a:lnTo>
                <a:cubicBezTo>
                  <a:pt x="3560268" y="1029031"/>
                  <a:pt x="3558347" y="1029743"/>
                  <a:pt x="3556640" y="1029600"/>
                </a:cubicBezTo>
                <a:lnTo>
                  <a:pt x="3556000" y="1027039"/>
                </a:lnTo>
                <a:lnTo>
                  <a:pt x="3555146" y="1027751"/>
                </a:lnTo>
                <a:cubicBezTo>
                  <a:pt x="3553652" y="1029031"/>
                  <a:pt x="3551732" y="1030027"/>
                  <a:pt x="3549597" y="1029315"/>
                </a:cubicBezTo>
                <a:cubicBezTo>
                  <a:pt x="3550451" y="1028462"/>
                  <a:pt x="3551944" y="1027039"/>
                  <a:pt x="3553225" y="1025759"/>
                </a:cubicBezTo>
                <a:lnTo>
                  <a:pt x="3555146" y="1024478"/>
                </a:lnTo>
                <a:lnTo>
                  <a:pt x="3554079" y="1021491"/>
                </a:lnTo>
                <a:lnTo>
                  <a:pt x="3556640" y="1016227"/>
                </a:lnTo>
                <a:lnTo>
                  <a:pt x="3554292" y="1015657"/>
                </a:lnTo>
                <a:cubicBezTo>
                  <a:pt x="3554719" y="1013950"/>
                  <a:pt x="3556000" y="1011674"/>
                  <a:pt x="3557707" y="1012101"/>
                </a:cubicBezTo>
                <a:lnTo>
                  <a:pt x="3558561" y="1012955"/>
                </a:lnTo>
                <a:lnTo>
                  <a:pt x="3561762" y="1013666"/>
                </a:lnTo>
                <a:lnTo>
                  <a:pt x="3562403" y="1011959"/>
                </a:lnTo>
                <a:cubicBezTo>
                  <a:pt x="3563470" y="1010251"/>
                  <a:pt x="3564963" y="1008971"/>
                  <a:pt x="3566884" y="1009113"/>
                </a:cubicBezTo>
                <a:close/>
                <a:moveTo>
                  <a:pt x="1408828" y="1009017"/>
                </a:moveTo>
                <a:cubicBezTo>
                  <a:pt x="1409654" y="1009946"/>
                  <a:pt x="1408622" y="1012580"/>
                  <a:pt x="1409551" y="1013354"/>
                </a:cubicBezTo>
                <a:cubicBezTo>
                  <a:pt x="1409551" y="1013354"/>
                  <a:pt x="1409551" y="1013354"/>
                  <a:pt x="1407692" y="1014284"/>
                </a:cubicBezTo>
                <a:cubicBezTo>
                  <a:pt x="1406763" y="1014284"/>
                  <a:pt x="1405937" y="1014438"/>
                  <a:pt x="1405007" y="1013509"/>
                </a:cubicBezTo>
                <a:cubicBezTo>
                  <a:pt x="1404182" y="1012734"/>
                  <a:pt x="1404285" y="1011030"/>
                  <a:pt x="1404285" y="1010101"/>
                </a:cubicBezTo>
                <a:cubicBezTo>
                  <a:pt x="1405214" y="1010101"/>
                  <a:pt x="1405214" y="1009327"/>
                  <a:pt x="1406143" y="1009172"/>
                </a:cubicBezTo>
                <a:cubicBezTo>
                  <a:pt x="1408002" y="1008242"/>
                  <a:pt x="1407899" y="1008242"/>
                  <a:pt x="1408828" y="1009017"/>
                </a:cubicBezTo>
                <a:close/>
                <a:moveTo>
                  <a:pt x="1170306" y="1009017"/>
                </a:moveTo>
                <a:cubicBezTo>
                  <a:pt x="1170409" y="1010720"/>
                  <a:pt x="1173920" y="1011185"/>
                  <a:pt x="1172268" y="1013044"/>
                </a:cubicBezTo>
                <a:cubicBezTo>
                  <a:pt x="1171339" y="1012425"/>
                  <a:pt x="1170306" y="1010720"/>
                  <a:pt x="1169377" y="1010101"/>
                </a:cubicBezTo>
                <a:cubicBezTo>
                  <a:pt x="1169377" y="1010101"/>
                  <a:pt x="1169480" y="1010101"/>
                  <a:pt x="1170306" y="1009017"/>
                </a:cubicBezTo>
                <a:close/>
                <a:moveTo>
                  <a:pt x="1074846" y="1008784"/>
                </a:moveTo>
                <a:cubicBezTo>
                  <a:pt x="1077789" y="1007506"/>
                  <a:pt x="1081299" y="1007855"/>
                  <a:pt x="1083055" y="1010101"/>
                </a:cubicBezTo>
                <a:cubicBezTo>
                  <a:pt x="1084191" y="1011495"/>
                  <a:pt x="1084604" y="1013819"/>
                  <a:pt x="1083468" y="1017072"/>
                </a:cubicBezTo>
                <a:cubicBezTo>
                  <a:pt x="1077375" y="1016607"/>
                  <a:pt x="1074485" y="1019860"/>
                  <a:pt x="1070044" y="1017227"/>
                </a:cubicBezTo>
                <a:cubicBezTo>
                  <a:pt x="1069528" y="1012967"/>
                  <a:pt x="1071903" y="1010062"/>
                  <a:pt x="1074846" y="1008784"/>
                </a:cubicBezTo>
                <a:close/>
                <a:moveTo>
                  <a:pt x="1513014" y="1008707"/>
                </a:moveTo>
                <a:cubicBezTo>
                  <a:pt x="1514769" y="1008707"/>
                  <a:pt x="1516318" y="1009172"/>
                  <a:pt x="1517557" y="1010566"/>
                </a:cubicBezTo>
                <a:cubicBezTo>
                  <a:pt x="1515595" y="1015368"/>
                  <a:pt x="1514253" y="1021253"/>
                  <a:pt x="1508264" y="1020479"/>
                </a:cubicBezTo>
                <a:cubicBezTo>
                  <a:pt x="1506818" y="1019085"/>
                  <a:pt x="1506199" y="1017691"/>
                  <a:pt x="1505992" y="1016452"/>
                </a:cubicBezTo>
                <a:cubicBezTo>
                  <a:pt x="1505372" y="1012580"/>
                  <a:pt x="1509297" y="1009017"/>
                  <a:pt x="1513014" y="1008707"/>
                </a:cubicBezTo>
                <a:close/>
                <a:moveTo>
                  <a:pt x="4581695" y="1008686"/>
                </a:moveTo>
                <a:cubicBezTo>
                  <a:pt x="4589591" y="1007975"/>
                  <a:pt x="4593006" y="1009683"/>
                  <a:pt x="4593647" y="1012243"/>
                </a:cubicBezTo>
                <a:cubicBezTo>
                  <a:pt x="4595781" y="1019641"/>
                  <a:pt x="4574225" y="1033726"/>
                  <a:pt x="4581695" y="1008686"/>
                </a:cubicBezTo>
                <a:close/>
                <a:moveTo>
                  <a:pt x="4913990" y="1007975"/>
                </a:moveTo>
                <a:cubicBezTo>
                  <a:pt x="4915270" y="1007691"/>
                  <a:pt x="4916764" y="1007833"/>
                  <a:pt x="4918258" y="1008402"/>
                </a:cubicBezTo>
                <a:cubicBezTo>
                  <a:pt x="4918258" y="1008402"/>
                  <a:pt x="4918258" y="1008402"/>
                  <a:pt x="4916978" y="1008402"/>
                </a:cubicBezTo>
                <a:cubicBezTo>
                  <a:pt x="4916978" y="1008402"/>
                  <a:pt x="4918258" y="1008402"/>
                  <a:pt x="4918045" y="1009540"/>
                </a:cubicBezTo>
                <a:cubicBezTo>
                  <a:pt x="4911855" y="1012955"/>
                  <a:pt x="4902892" y="1011674"/>
                  <a:pt x="4901612" y="1011674"/>
                </a:cubicBezTo>
                <a:cubicBezTo>
                  <a:pt x="4901825" y="1010536"/>
                  <a:pt x="4901825" y="1010536"/>
                  <a:pt x="4901825" y="1010536"/>
                </a:cubicBezTo>
                <a:cubicBezTo>
                  <a:pt x="4905026" y="1011390"/>
                  <a:pt x="4909508" y="1008402"/>
                  <a:pt x="4913990" y="1007975"/>
                </a:cubicBezTo>
                <a:close/>
                <a:moveTo>
                  <a:pt x="4894995" y="1007975"/>
                </a:moveTo>
                <a:cubicBezTo>
                  <a:pt x="4894995" y="1007975"/>
                  <a:pt x="4894995" y="1007975"/>
                  <a:pt x="4896062" y="1009113"/>
                </a:cubicBezTo>
                <a:cubicBezTo>
                  <a:pt x="4893715" y="1009113"/>
                  <a:pt x="4892007" y="1013950"/>
                  <a:pt x="4890086" y="1011532"/>
                </a:cubicBezTo>
                <a:cubicBezTo>
                  <a:pt x="4891367" y="1010251"/>
                  <a:pt x="4893715" y="1009113"/>
                  <a:pt x="4894995" y="1007975"/>
                </a:cubicBezTo>
                <a:close/>
                <a:moveTo>
                  <a:pt x="3719479" y="1007264"/>
                </a:moveTo>
                <a:cubicBezTo>
                  <a:pt x="3722680" y="1009113"/>
                  <a:pt x="3725668" y="1011105"/>
                  <a:pt x="3725882" y="1013808"/>
                </a:cubicBezTo>
                <a:cubicBezTo>
                  <a:pt x="3725882" y="1014662"/>
                  <a:pt x="3725668" y="1015657"/>
                  <a:pt x="3724815" y="1016796"/>
                </a:cubicBezTo>
                <a:cubicBezTo>
                  <a:pt x="3719266" y="1018503"/>
                  <a:pt x="3714784" y="1013666"/>
                  <a:pt x="3719479" y="1007264"/>
                </a:cubicBezTo>
                <a:close/>
                <a:moveTo>
                  <a:pt x="1481211" y="1006694"/>
                </a:moveTo>
                <a:cubicBezTo>
                  <a:pt x="1482863" y="1007933"/>
                  <a:pt x="1484618" y="1008242"/>
                  <a:pt x="1486374" y="1009327"/>
                </a:cubicBezTo>
                <a:cubicBezTo>
                  <a:pt x="1486064" y="1012425"/>
                  <a:pt x="1489368" y="1015523"/>
                  <a:pt x="1484618" y="1018001"/>
                </a:cubicBezTo>
                <a:cubicBezTo>
                  <a:pt x="1481727" y="1017536"/>
                  <a:pt x="1479455" y="1015058"/>
                  <a:pt x="1478939" y="1012425"/>
                </a:cubicBezTo>
                <a:cubicBezTo>
                  <a:pt x="1478733" y="1011495"/>
                  <a:pt x="1478733" y="1010720"/>
                  <a:pt x="1479042" y="1009791"/>
                </a:cubicBezTo>
                <a:cubicBezTo>
                  <a:pt x="1479352" y="1008707"/>
                  <a:pt x="1479972" y="1007623"/>
                  <a:pt x="1481211" y="1006694"/>
                </a:cubicBezTo>
                <a:close/>
                <a:moveTo>
                  <a:pt x="4389404" y="1005983"/>
                </a:moveTo>
                <a:cubicBezTo>
                  <a:pt x="4393672" y="1005556"/>
                  <a:pt x="4397514" y="1006410"/>
                  <a:pt x="4398154" y="1009540"/>
                </a:cubicBezTo>
                <a:cubicBezTo>
                  <a:pt x="4398367" y="1010536"/>
                  <a:pt x="4398154" y="1011674"/>
                  <a:pt x="4397727" y="1012955"/>
                </a:cubicBezTo>
                <a:cubicBezTo>
                  <a:pt x="4390471" y="1012670"/>
                  <a:pt x="4383642" y="1016227"/>
                  <a:pt x="4380440" y="1013666"/>
                </a:cubicBezTo>
                <a:cubicBezTo>
                  <a:pt x="4379373" y="1012812"/>
                  <a:pt x="4378733" y="1011390"/>
                  <a:pt x="4378733" y="1008829"/>
                </a:cubicBezTo>
                <a:cubicBezTo>
                  <a:pt x="4380654" y="1007833"/>
                  <a:pt x="4385135" y="1006268"/>
                  <a:pt x="4389404" y="1005983"/>
                </a:cubicBezTo>
                <a:close/>
                <a:moveTo>
                  <a:pt x="1198702" y="1005764"/>
                </a:moveTo>
                <a:cubicBezTo>
                  <a:pt x="1200147" y="1005145"/>
                  <a:pt x="1201076" y="1005454"/>
                  <a:pt x="1201902" y="1006074"/>
                </a:cubicBezTo>
                <a:cubicBezTo>
                  <a:pt x="1202729" y="1006694"/>
                  <a:pt x="1203452" y="1007778"/>
                  <a:pt x="1204174" y="1009172"/>
                </a:cubicBezTo>
                <a:cubicBezTo>
                  <a:pt x="1205620" y="1012115"/>
                  <a:pt x="1203452" y="1013664"/>
                  <a:pt x="1204174" y="1015987"/>
                </a:cubicBezTo>
                <a:lnTo>
                  <a:pt x="1202626" y="1015677"/>
                </a:lnTo>
                <a:lnTo>
                  <a:pt x="1201593" y="1024042"/>
                </a:lnTo>
                <a:cubicBezTo>
                  <a:pt x="1200664" y="1026675"/>
                  <a:pt x="1199115" y="1028844"/>
                  <a:pt x="1197153" y="1030702"/>
                </a:cubicBezTo>
                <a:lnTo>
                  <a:pt x="1193126" y="1033491"/>
                </a:lnTo>
                <a:lnTo>
                  <a:pt x="1196740" y="1034265"/>
                </a:lnTo>
                <a:cubicBezTo>
                  <a:pt x="1200870" y="1035814"/>
                  <a:pt x="1205104" y="1038447"/>
                  <a:pt x="1209131" y="1042319"/>
                </a:cubicBezTo>
                <a:cubicBezTo>
                  <a:pt x="1208924" y="1047896"/>
                  <a:pt x="1204587" y="1049445"/>
                  <a:pt x="1199528" y="1048360"/>
                </a:cubicBezTo>
                <a:cubicBezTo>
                  <a:pt x="1193126" y="1047121"/>
                  <a:pt x="1185795" y="1042010"/>
                  <a:pt x="1184039" y="1036898"/>
                </a:cubicBezTo>
                <a:lnTo>
                  <a:pt x="1184039" y="1036434"/>
                </a:lnTo>
                <a:lnTo>
                  <a:pt x="1177224" y="1036124"/>
                </a:lnTo>
                <a:cubicBezTo>
                  <a:pt x="1174746" y="1035814"/>
                  <a:pt x="1172165" y="1035040"/>
                  <a:pt x="1169687" y="1033800"/>
                </a:cubicBezTo>
                <a:cubicBezTo>
                  <a:pt x="1169687" y="1032561"/>
                  <a:pt x="1169790" y="1031477"/>
                  <a:pt x="1168551" y="1031322"/>
                </a:cubicBezTo>
                <a:cubicBezTo>
                  <a:pt x="1168241" y="1023577"/>
                  <a:pt x="1173507" y="1017072"/>
                  <a:pt x="1180425" y="1013664"/>
                </a:cubicBezTo>
                <a:cubicBezTo>
                  <a:pt x="1185692" y="1011185"/>
                  <a:pt x="1191784" y="1010411"/>
                  <a:pt x="1197360" y="1012270"/>
                </a:cubicBezTo>
                <a:lnTo>
                  <a:pt x="1198186" y="1012580"/>
                </a:lnTo>
                <a:lnTo>
                  <a:pt x="1197153" y="1011495"/>
                </a:lnTo>
                <a:cubicBezTo>
                  <a:pt x="1196843" y="1010411"/>
                  <a:pt x="1196843" y="1010411"/>
                  <a:pt x="1197256" y="1009636"/>
                </a:cubicBezTo>
                <a:cubicBezTo>
                  <a:pt x="1197360" y="1007778"/>
                  <a:pt x="1197050" y="1006539"/>
                  <a:pt x="1198702" y="1005764"/>
                </a:cubicBezTo>
                <a:close/>
                <a:moveTo>
                  <a:pt x="3514169" y="1005556"/>
                </a:moveTo>
                <a:cubicBezTo>
                  <a:pt x="3516944" y="1007264"/>
                  <a:pt x="3520572" y="1009540"/>
                  <a:pt x="3521639" y="1011674"/>
                </a:cubicBezTo>
                <a:cubicBezTo>
                  <a:pt x="3519292" y="1011532"/>
                  <a:pt x="3515023" y="1010251"/>
                  <a:pt x="3514383" y="1006979"/>
                </a:cubicBezTo>
                <a:cubicBezTo>
                  <a:pt x="3514383" y="1006979"/>
                  <a:pt x="3514383" y="1007121"/>
                  <a:pt x="3514169" y="1005556"/>
                </a:cubicBezTo>
                <a:close/>
                <a:moveTo>
                  <a:pt x="1295659" y="1004835"/>
                </a:moveTo>
                <a:cubicBezTo>
                  <a:pt x="1296692" y="1003131"/>
                  <a:pt x="1298344" y="1003906"/>
                  <a:pt x="1299996" y="1005454"/>
                </a:cubicBezTo>
                <a:cubicBezTo>
                  <a:pt x="1304230" y="1007778"/>
                  <a:pt x="1305056" y="1010256"/>
                  <a:pt x="1302268" y="1012889"/>
                </a:cubicBezTo>
                <a:cubicBezTo>
                  <a:pt x="1301442" y="1012889"/>
                  <a:pt x="1298860" y="1012270"/>
                  <a:pt x="1298757" y="1013044"/>
                </a:cubicBezTo>
                <a:cubicBezTo>
                  <a:pt x="1296898" y="1011340"/>
                  <a:pt x="1295040" y="1009017"/>
                  <a:pt x="1295040" y="1006849"/>
                </a:cubicBezTo>
                <a:cubicBezTo>
                  <a:pt x="1295040" y="1006229"/>
                  <a:pt x="1295246" y="1005454"/>
                  <a:pt x="1295659" y="1004835"/>
                </a:cubicBezTo>
                <a:close/>
                <a:moveTo>
                  <a:pt x="3689174" y="1004561"/>
                </a:moveTo>
                <a:cubicBezTo>
                  <a:pt x="3694723" y="1004561"/>
                  <a:pt x="3699845" y="1006552"/>
                  <a:pt x="3704967" y="1011532"/>
                </a:cubicBezTo>
                <a:cubicBezTo>
                  <a:pt x="3705180" y="1014377"/>
                  <a:pt x="3704540" y="1016938"/>
                  <a:pt x="3703046" y="1019072"/>
                </a:cubicBezTo>
                <a:cubicBezTo>
                  <a:pt x="3699205" y="1025759"/>
                  <a:pt x="3689814" y="1029600"/>
                  <a:pt x="3684265" y="1032588"/>
                </a:cubicBezTo>
                <a:cubicBezTo>
                  <a:pt x="3678503" y="1025332"/>
                  <a:pt x="3672740" y="1018076"/>
                  <a:pt x="3673594" y="1011248"/>
                </a:cubicBezTo>
                <a:cubicBezTo>
                  <a:pt x="3678503" y="1007121"/>
                  <a:pt x="3683838" y="1004703"/>
                  <a:pt x="3689174" y="1004561"/>
                </a:cubicBezTo>
                <a:close/>
                <a:moveTo>
                  <a:pt x="951816" y="1002821"/>
                </a:moveTo>
                <a:cubicBezTo>
                  <a:pt x="953468" y="1004680"/>
                  <a:pt x="953468" y="1005609"/>
                  <a:pt x="954294" y="1006539"/>
                </a:cubicBezTo>
                <a:cubicBezTo>
                  <a:pt x="954294" y="1005609"/>
                  <a:pt x="955223" y="1006694"/>
                  <a:pt x="955223" y="1006694"/>
                </a:cubicBezTo>
                <a:cubicBezTo>
                  <a:pt x="955223" y="1006694"/>
                  <a:pt x="955223" y="1006539"/>
                  <a:pt x="956979" y="1005145"/>
                </a:cubicBezTo>
                <a:cubicBezTo>
                  <a:pt x="956979" y="1005145"/>
                  <a:pt x="961316" y="1002201"/>
                  <a:pt x="965652" y="1005919"/>
                </a:cubicBezTo>
                <a:cubicBezTo>
                  <a:pt x="964723" y="1006694"/>
                  <a:pt x="969886" y="1012270"/>
                  <a:pt x="968027" y="1015523"/>
                </a:cubicBezTo>
                <a:cubicBezTo>
                  <a:pt x="967201" y="1017072"/>
                  <a:pt x="966272" y="1017846"/>
                  <a:pt x="965446" y="1019395"/>
                </a:cubicBezTo>
                <a:cubicBezTo>
                  <a:pt x="962864" y="1019085"/>
                  <a:pt x="960180" y="1021409"/>
                  <a:pt x="955017" y="1017536"/>
                </a:cubicBezTo>
                <a:cubicBezTo>
                  <a:pt x="949854" y="1012734"/>
                  <a:pt x="954294" y="1008242"/>
                  <a:pt x="953365" y="1008087"/>
                </a:cubicBezTo>
                <a:cubicBezTo>
                  <a:pt x="952539" y="1007158"/>
                  <a:pt x="952642" y="1007158"/>
                  <a:pt x="951713" y="1007158"/>
                </a:cubicBezTo>
                <a:cubicBezTo>
                  <a:pt x="951713" y="1006229"/>
                  <a:pt x="950887" y="1004525"/>
                  <a:pt x="950061" y="1003595"/>
                </a:cubicBezTo>
                <a:cubicBezTo>
                  <a:pt x="950887" y="1003595"/>
                  <a:pt x="951816" y="1003751"/>
                  <a:pt x="951816" y="1002821"/>
                </a:cubicBezTo>
                <a:close/>
                <a:moveTo>
                  <a:pt x="4047932" y="1002284"/>
                </a:moveTo>
                <a:cubicBezTo>
                  <a:pt x="4048146" y="1003423"/>
                  <a:pt x="4048146" y="1004561"/>
                  <a:pt x="4049427" y="1004561"/>
                </a:cubicBezTo>
                <a:cubicBezTo>
                  <a:pt x="4047505" y="1007121"/>
                  <a:pt x="4046225" y="1007121"/>
                  <a:pt x="4045371" y="1008402"/>
                </a:cubicBezTo>
                <a:cubicBezTo>
                  <a:pt x="4046439" y="1008260"/>
                  <a:pt x="4045371" y="1009540"/>
                  <a:pt x="4045371" y="1009540"/>
                </a:cubicBezTo>
                <a:cubicBezTo>
                  <a:pt x="4045371" y="1009540"/>
                  <a:pt x="4045371" y="1009540"/>
                  <a:pt x="4048146" y="1011816"/>
                </a:cubicBezTo>
                <a:cubicBezTo>
                  <a:pt x="4048146" y="1011816"/>
                  <a:pt x="4053481" y="1017507"/>
                  <a:pt x="4049639" y="1023767"/>
                </a:cubicBezTo>
                <a:cubicBezTo>
                  <a:pt x="4048359" y="1022629"/>
                  <a:pt x="4042597" y="1030169"/>
                  <a:pt x="4037475" y="1028035"/>
                </a:cubicBezTo>
                <a:cubicBezTo>
                  <a:pt x="4035127" y="1027039"/>
                  <a:pt x="4033846" y="1025901"/>
                  <a:pt x="4031286" y="1024763"/>
                </a:cubicBezTo>
                <a:cubicBezTo>
                  <a:pt x="4030859" y="1021206"/>
                  <a:pt x="4026804" y="1017934"/>
                  <a:pt x="4030432" y="1010536"/>
                </a:cubicBezTo>
                <a:cubicBezTo>
                  <a:pt x="4035127" y="1002996"/>
                  <a:pt x="4043024" y="1008544"/>
                  <a:pt x="4042810" y="1007406"/>
                </a:cubicBezTo>
                <a:cubicBezTo>
                  <a:pt x="4043877" y="1006126"/>
                  <a:pt x="4043877" y="1006126"/>
                  <a:pt x="4043664" y="1004845"/>
                </a:cubicBezTo>
                <a:cubicBezTo>
                  <a:pt x="4044731" y="1004845"/>
                  <a:pt x="4046865" y="1003423"/>
                  <a:pt x="4047932" y="1002284"/>
                </a:cubicBezTo>
                <a:close/>
                <a:moveTo>
                  <a:pt x="1327049" y="1001117"/>
                </a:moveTo>
                <a:cubicBezTo>
                  <a:pt x="1328701" y="1001892"/>
                  <a:pt x="1330973" y="1007468"/>
                  <a:pt x="1330043" y="1008242"/>
                </a:cubicBezTo>
                <a:cubicBezTo>
                  <a:pt x="1328185" y="1007158"/>
                  <a:pt x="1324984" y="1005145"/>
                  <a:pt x="1324158" y="1003286"/>
                </a:cubicBezTo>
                <a:cubicBezTo>
                  <a:pt x="1323952" y="1002511"/>
                  <a:pt x="1324055" y="1001892"/>
                  <a:pt x="1324468" y="1001272"/>
                </a:cubicBezTo>
                <a:cubicBezTo>
                  <a:pt x="1325397" y="1000343"/>
                  <a:pt x="1326223" y="1001117"/>
                  <a:pt x="1327049" y="1001117"/>
                </a:cubicBezTo>
                <a:close/>
                <a:moveTo>
                  <a:pt x="1453538" y="1000962"/>
                </a:moveTo>
                <a:cubicBezTo>
                  <a:pt x="1454467" y="1000652"/>
                  <a:pt x="1455706" y="1000807"/>
                  <a:pt x="1457359" y="1000962"/>
                </a:cubicBezTo>
                <a:cubicBezTo>
                  <a:pt x="1460560" y="1001272"/>
                  <a:pt x="1461179" y="1003906"/>
                  <a:pt x="1463657" y="1004680"/>
                </a:cubicBezTo>
                <a:cubicBezTo>
                  <a:pt x="1462625" y="1006229"/>
                  <a:pt x="1461282" y="1008862"/>
                  <a:pt x="1456842" y="1008087"/>
                </a:cubicBezTo>
                <a:cubicBezTo>
                  <a:pt x="1455603" y="1007778"/>
                  <a:pt x="1455603" y="1007778"/>
                  <a:pt x="1455087" y="1007003"/>
                </a:cubicBezTo>
                <a:cubicBezTo>
                  <a:pt x="1453435" y="1005919"/>
                  <a:pt x="1452196" y="1005609"/>
                  <a:pt x="1451989" y="1003595"/>
                </a:cubicBezTo>
                <a:cubicBezTo>
                  <a:pt x="1452093" y="1002201"/>
                  <a:pt x="1452608" y="1001427"/>
                  <a:pt x="1453538" y="1000962"/>
                </a:cubicBezTo>
                <a:close/>
                <a:moveTo>
                  <a:pt x="1270155" y="1000962"/>
                </a:moveTo>
                <a:cubicBezTo>
                  <a:pt x="1272014" y="1002356"/>
                  <a:pt x="1273872" y="1002976"/>
                  <a:pt x="1273872" y="1003906"/>
                </a:cubicBezTo>
                <a:cubicBezTo>
                  <a:pt x="1274801" y="1003751"/>
                  <a:pt x="1275731" y="1004370"/>
                  <a:pt x="1276557" y="1004370"/>
                </a:cubicBezTo>
                <a:cubicBezTo>
                  <a:pt x="1276557" y="1004370"/>
                  <a:pt x="1276557" y="1004370"/>
                  <a:pt x="1276660" y="1005145"/>
                </a:cubicBezTo>
                <a:cubicBezTo>
                  <a:pt x="1273046" y="1004835"/>
                  <a:pt x="1268709" y="1006229"/>
                  <a:pt x="1266025" y="1004990"/>
                </a:cubicBezTo>
                <a:cubicBezTo>
                  <a:pt x="1265508" y="1004525"/>
                  <a:pt x="1265095" y="1004215"/>
                  <a:pt x="1264889" y="1003751"/>
                </a:cubicBezTo>
                <a:cubicBezTo>
                  <a:pt x="1264786" y="1003286"/>
                  <a:pt x="1264992" y="1002511"/>
                  <a:pt x="1265818" y="1001582"/>
                </a:cubicBezTo>
                <a:cubicBezTo>
                  <a:pt x="1266644" y="999878"/>
                  <a:pt x="1267470" y="999723"/>
                  <a:pt x="1270155" y="1000962"/>
                </a:cubicBezTo>
                <a:close/>
                <a:moveTo>
                  <a:pt x="3255932" y="1000862"/>
                </a:moveTo>
                <a:cubicBezTo>
                  <a:pt x="3257212" y="1001431"/>
                  <a:pt x="3258706" y="1002569"/>
                  <a:pt x="3259773" y="1003849"/>
                </a:cubicBezTo>
                <a:cubicBezTo>
                  <a:pt x="3260840" y="1004703"/>
                  <a:pt x="3261267" y="1005983"/>
                  <a:pt x="3261267" y="1007264"/>
                </a:cubicBezTo>
                <a:cubicBezTo>
                  <a:pt x="3261267" y="1008686"/>
                  <a:pt x="3261053" y="1010109"/>
                  <a:pt x="3260413" y="1011248"/>
                </a:cubicBezTo>
                <a:cubicBezTo>
                  <a:pt x="3259133" y="1012243"/>
                  <a:pt x="3259133" y="1012101"/>
                  <a:pt x="3257852" y="1013097"/>
                </a:cubicBezTo>
                <a:cubicBezTo>
                  <a:pt x="3255718" y="1012812"/>
                  <a:pt x="3253370" y="1013666"/>
                  <a:pt x="3251023" y="1012101"/>
                </a:cubicBezTo>
                <a:cubicBezTo>
                  <a:pt x="3248889" y="1009398"/>
                  <a:pt x="3250596" y="1003565"/>
                  <a:pt x="3251877" y="1001431"/>
                </a:cubicBezTo>
                <a:cubicBezTo>
                  <a:pt x="3252944" y="1000435"/>
                  <a:pt x="3254438" y="1000435"/>
                  <a:pt x="3255932" y="1000862"/>
                </a:cubicBezTo>
                <a:close/>
                <a:moveTo>
                  <a:pt x="1429686" y="1000652"/>
                </a:moveTo>
                <a:cubicBezTo>
                  <a:pt x="1430408" y="1000497"/>
                  <a:pt x="1431338" y="1000652"/>
                  <a:pt x="1432577" y="1001117"/>
                </a:cubicBezTo>
                <a:cubicBezTo>
                  <a:pt x="1433300" y="1000807"/>
                  <a:pt x="1435674" y="1003595"/>
                  <a:pt x="1435262" y="1004680"/>
                </a:cubicBezTo>
                <a:cubicBezTo>
                  <a:pt x="1434849" y="1007623"/>
                  <a:pt x="1431751" y="1007003"/>
                  <a:pt x="1428240" y="1007468"/>
                </a:cubicBezTo>
                <a:cubicBezTo>
                  <a:pt x="1428653" y="1006384"/>
                  <a:pt x="1427517" y="1005764"/>
                  <a:pt x="1426382" y="1005299"/>
                </a:cubicBezTo>
                <a:cubicBezTo>
                  <a:pt x="1426898" y="1003751"/>
                  <a:pt x="1427517" y="1001117"/>
                  <a:pt x="1429686" y="1000652"/>
                </a:cubicBezTo>
                <a:close/>
                <a:moveTo>
                  <a:pt x="1057757" y="1000652"/>
                </a:moveTo>
                <a:cubicBezTo>
                  <a:pt x="1060545" y="1001892"/>
                  <a:pt x="1063126" y="1007623"/>
                  <a:pt x="1061371" y="1010411"/>
                </a:cubicBezTo>
                <a:cubicBezTo>
                  <a:pt x="1060855" y="1011340"/>
                  <a:pt x="1059822" y="1011960"/>
                  <a:pt x="1058170" y="1011805"/>
                </a:cubicBezTo>
                <a:cubicBezTo>
                  <a:pt x="1053214" y="1011185"/>
                  <a:pt x="1052697" y="1007003"/>
                  <a:pt x="1052801" y="1002356"/>
                </a:cubicBezTo>
                <a:cubicBezTo>
                  <a:pt x="1054660" y="1002047"/>
                  <a:pt x="1055898" y="1000962"/>
                  <a:pt x="1057757" y="1000652"/>
                </a:cubicBezTo>
                <a:close/>
                <a:moveTo>
                  <a:pt x="1395405" y="1000497"/>
                </a:moveTo>
                <a:cubicBezTo>
                  <a:pt x="1395818" y="1001272"/>
                  <a:pt x="1397057" y="1001737"/>
                  <a:pt x="1397573" y="1002511"/>
                </a:cubicBezTo>
                <a:cubicBezTo>
                  <a:pt x="1397057" y="1004680"/>
                  <a:pt x="1393753" y="1004370"/>
                  <a:pt x="1393339" y="1003595"/>
                </a:cubicBezTo>
                <a:cubicBezTo>
                  <a:pt x="1393546" y="1002511"/>
                  <a:pt x="1395095" y="1001737"/>
                  <a:pt x="1395405" y="1000497"/>
                </a:cubicBezTo>
                <a:close/>
                <a:moveTo>
                  <a:pt x="1487200" y="1000188"/>
                </a:moveTo>
                <a:cubicBezTo>
                  <a:pt x="1487819" y="1000033"/>
                  <a:pt x="1488438" y="1000188"/>
                  <a:pt x="1488748" y="1000497"/>
                </a:cubicBezTo>
                <a:cubicBezTo>
                  <a:pt x="1486787" y="1002047"/>
                  <a:pt x="1484515" y="1005299"/>
                  <a:pt x="1481211" y="1004215"/>
                </a:cubicBezTo>
                <a:cubicBezTo>
                  <a:pt x="1482760" y="1003131"/>
                  <a:pt x="1485341" y="1000652"/>
                  <a:pt x="1487200" y="1000188"/>
                </a:cubicBezTo>
                <a:close/>
                <a:moveTo>
                  <a:pt x="3551304" y="1000008"/>
                </a:moveTo>
                <a:cubicBezTo>
                  <a:pt x="3552799" y="1000435"/>
                  <a:pt x="3553225" y="1001431"/>
                  <a:pt x="3553225" y="1001431"/>
                </a:cubicBezTo>
                <a:cubicBezTo>
                  <a:pt x="3552799" y="1005699"/>
                  <a:pt x="3550878" y="1009683"/>
                  <a:pt x="3546182" y="1008402"/>
                </a:cubicBezTo>
                <a:cubicBezTo>
                  <a:pt x="3544688" y="1008118"/>
                  <a:pt x="3543194" y="1007691"/>
                  <a:pt x="3544261" y="1006979"/>
                </a:cubicBezTo>
                <a:cubicBezTo>
                  <a:pt x="3543621" y="1005983"/>
                  <a:pt x="3544688" y="1005414"/>
                  <a:pt x="3545116" y="1003707"/>
                </a:cubicBezTo>
                <a:cubicBezTo>
                  <a:pt x="3546609" y="1001431"/>
                  <a:pt x="3549597" y="999582"/>
                  <a:pt x="3551304" y="1000008"/>
                </a:cubicBezTo>
                <a:close/>
                <a:moveTo>
                  <a:pt x="1383737" y="998949"/>
                </a:moveTo>
                <a:cubicBezTo>
                  <a:pt x="1385699" y="999259"/>
                  <a:pt x="1384563" y="1002356"/>
                  <a:pt x="1384873" y="1003286"/>
                </a:cubicBezTo>
                <a:cubicBezTo>
                  <a:pt x="1384563" y="1004370"/>
                  <a:pt x="1384150" y="1005299"/>
                  <a:pt x="1383014" y="1004835"/>
                </a:cubicBezTo>
                <a:cubicBezTo>
                  <a:pt x="1381775" y="1004370"/>
                  <a:pt x="1381052" y="1004680"/>
                  <a:pt x="1381052" y="1002821"/>
                </a:cubicBezTo>
                <a:cubicBezTo>
                  <a:pt x="1380639" y="1002047"/>
                  <a:pt x="1381052" y="1000962"/>
                  <a:pt x="1380639" y="1000188"/>
                </a:cubicBezTo>
                <a:cubicBezTo>
                  <a:pt x="1380639" y="1000188"/>
                  <a:pt x="1381156" y="999878"/>
                  <a:pt x="1381775" y="999413"/>
                </a:cubicBezTo>
                <a:cubicBezTo>
                  <a:pt x="1382395" y="999103"/>
                  <a:pt x="1383221" y="998794"/>
                  <a:pt x="1383737" y="998949"/>
                </a:cubicBezTo>
                <a:close/>
                <a:moveTo>
                  <a:pt x="3629629" y="997874"/>
                </a:moveTo>
                <a:cubicBezTo>
                  <a:pt x="3630910" y="997732"/>
                  <a:pt x="3632404" y="998016"/>
                  <a:pt x="3633471" y="998728"/>
                </a:cubicBezTo>
                <a:cubicBezTo>
                  <a:pt x="3634538" y="999866"/>
                  <a:pt x="3634538" y="999866"/>
                  <a:pt x="3635392" y="1001004"/>
                </a:cubicBezTo>
                <a:cubicBezTo>
                  <a:pt x="3635179" y="1003423"/>
                  <a:pt x="3636246" y="1005841"/>
                  <a:pt x="3634752" y="1008118"/>
                </a:cubicBezTo>
                <a:cubicBezTo>
                  <a:pt x="3632191" y="1010536"/>
                  <a:pt x="3626641" y="1009256"/>
                  <a:pt x="3624508" y="1007975"/>
                </a:cubicBezTo>
                <a:cubicBezTo>
                  <a:pt x="3622587" y="1005556"/>
                  <a:pt x="3623867" y="1002142"/>
                  <a:pt x="3626428" y="999724"/>
                </a:cubicBezTo>
                <a:cubicBezTo>
                  <a:pt x="3627282" y="998585"/>
                  <a:pt x="3628349" y="998016"/>
                  <a:pt x="3629629" y="997874"/>
                </a:cubicBezTo>
                <a:close/>
                <a:moveTo>
                  <a:pt x="1409758" y="997864"/>
                </a:moveTo>
                <a:cubicBezTo>
                  <a:pt x="1412752" y="1000652"/>
                  <a:pt x="1413474" y="1001582"/>
                  <a:pt x="1411100" y="1005609"/>
                </a:cubicBezTo>
                <a:cubicBezTo>
                  <a:pt x="1411100" y="1005609"/>
                  <a:pt x="1410170" y="1006384"/>
                  <a:pt x="1410170" y="1006384"/>
                </a:cubicBezTo>
                <a:cubicBezTo>
                  <a:pt x="1406969" y="1009482"/>
                  <a:pt x="1401497" y="1010876"/>
                  <a:pt x="1399948" y="1009946"/>
                </a:cubicBezTo>
                <a:cubicBezTo>
                  <a:pt x="1399225" y="1009017"/>
                  <a:pt x="1398812" y="1007778"/>
                  <a:pt x="1398915" y="1006384"/>
                </a:cubicBezTo>
                <a:cubicBezTo>
                  <a:pt x="1399019" y="1004990"/>
                  <a:pt x="1399638" y="1003595"/>
                  <a:pt x="1401187" y="1002511"/>
                </a:cubicBezTo>
                <a:cubicBezTo>
                  <a:pt x="1403356" y="1000033"/>
                  <a:pt x="1406763" y="1000188"/>
                  <a:pt x="1409758" y="997864"/>
                </a:cubicBezTo>
                <a:close/>
                <a:moveTo>
                  <a:pt x="4487790" y="996736"/>
                </a:moveTo>
                <a:cubicBezTo>
                  <a:pt x="4491205" y="997020"/>
                  <a:pt x="4493553" y="998301"/>
                  <a:pt x="4495900" y="1002000"/>
                </a:cubicBezTo>
                <a:cubicBezTo>
                  <a:pt x="4493980" y="1006837"/>
                  <a:pt x="4495047" y="1005556"/>
                  <a:pt x="4490778" y="1009113"/>
                </a:cubicBezTo>
                <a:cubicBezTo>
                  <a:pt x="4488217" y="1006552"/>
                  <a:pt x="4485869" y="1003991"/>
                  <a:pt x="4483522" y="1001573"/>
                </a:cubicBezTo>
                <a:cubicBezTo>
                  <a:pt x="4485656" y="1000435"/>
                  <a:pt x="4486723" y="998016"/>
                  <a:pt x="4487790" y="996736"/>
                </a:cubicBezTo>
                <a:close/>
                <a:moveTo>
                  <a:pt x="1465929" y="996006"/>
                </a:moveTo>
                <a:cubicBezTo>
                  <a:pt x="1466755" y="995541"/>
                  <a:pt x="1467168" y="995851"/>
                  <a:pt x="1467477" y="996316"/>
                </a:cubicBezTo>
                <a:cubicBezTo>
                  <a:pt x="1467788" y="996935"/>
                  <a:pt x="1468097" y="997709"/>
                  <a:pt x="1468613" y="998639"/>
                </a:cubicBezTo>
                <a:lnTo>
                  <a:pt x="1465103" y="999103"/>
                </a:lnTo>
                <a:cubicBezTo>
                  <a:pt x="1464896" y="998484"/>
                  <a:pt x="1464793" y="997709"/>
                  <a:pt x="1464896" y="997090"/>
                </a:cubicBezTo>
                <a:cubicBezTo>
                  <a:pt x="1465103" y="996470"/>
                  <a:pt x="1465412" y="996006"/>
                  <a:pt x="1465929" y="996006"/>
                </a:cubicBezTo>
                <a:close/>
                <a:moveTo>
                  <a:pt x="1444245" y="995696"/>
                </a:moveTo>
                <a:cubicBezTo>
                  <a:pt x="1447756" y="996006"/>
                  <a:pt x="1450131" y="999878"/>
                  <a:pt x="1450337" y="1003131"/>
                </a:cubicBezTo>
                <a:lnTo>
                  <a:pt x="1450131" y="1004215"/>
                </a:lnTo>
                <a:lnTo>
                  <a:pt x="1451060" y="1006384"/>
                </a:lnTo>
                <a:cubicBezTo>
                  <a:pt x="1450853" y="1007468"/>
                  <a:pt x="1450234" y="1008397"/>
                  <a:pt x="1448685" y="1008862"/>
                </a:cubicBezTo>
                <a:cubicBezTo>
                  <a:pt x="1444039" y="1010101"/>
                  <a:pt x="1441973" y="1006229"/>
                  <a:pt x="1440218" y="1001737"/>
                </a:cubicBezTo>
                <a:cubicBezTo>
                  <a:pt x="1441767" y="1000652"/>
                  <a:pt x="1442386" y="999259"/>
                  <a:pt x="1443935" y="998174"/>
                </a:cubicBezTo>
                <a:lnTo>
                  <a:pt x="1444039" y="998174"/>
                </a:lnTo>
                <a:close/>
                <a:moveTo>
                  <a:pt x="4920392" y="995171"/>
                </a:moveTo>
                <a:cubicBezTo>
                  <a:pt x="4921459" y="997732"/>
                  <a:pt x="4921459" y="997732"/>
                  <a:pt x="4919966" y="1000150"/>
                </a:cubicBezTo>
                <a:cubicBezTo>
                  <a:pt x="4918898" y="1000008"/>
                  <a:pt x="4918685" y="1001289"/>
                  <a:pt x="4917618" y="1000150"/>
                </a:cubicBezTo>
                <a:cubicBezTo>
                  <a:pt x="4915057" y="1003707"/>
                  <a:pt x="4904172" y="1007121"/>
                  <a:pt x="4899690" y="1005841"/>
                </a:cubicBezTo>
                <a:cubicBezTo>
                  <a:pt x="4908868" y="995029"/>
                  <a:pt x="4915270" y="1001289"/>
                  <a:pt x="4920392" y="995171"/>
                </a:cubicBezTo>
                <a:close/>
                <a:moveTo>
                  <a:pt x="4153575" y="994887"/>
                </a:moveTo>
                <a:cubicBezTo>
                  <a:pt x="4154429" y="994602"/>
                  <a:pt x="4155282" y="994602"/>
                  <a:pt x="4155709" y="995171"/>
                </a:cubicBezTo>
                <a:cubicBezTo>
                  <a:pt x="4155496" y="996452"/>
                  <a:pt x="4156777" y="996452"/>
                  <a:pt x="4156563" y="997590"/>
                </a:cubicBezTo>
                <a:cubicBezTo>
                  <a:pt x="4157417" y="1000008"/>
                  <a:pt x="4157417" y="1001289"/>
                  <a:pt x="4156136" y="1002426"/>
                </a:cubicBezTo>
                <a:cubicBezTo>
                  <a:pt x="4156136" y="1003707"/>
                  <a:pt x="4154856" y="1003565"/>
                  <a:pt x="4153575" y="1004845"/>
                </a:cubicBezTo>
                <a:cubicBezTo>
                  <a:pt x="4152508" y="1004845"/>
                  <a:pt x="4151441" y="1003565"/>
                  <a:pt x="4151441" y="1003565"/>
                </a:cubicBezTo>
                <a:cubicBezTo>
                  <a:pt x="4150374" y="1002284"/>
                  <a:pt x="4150374" y="1002426"/>
                  <a:pt x="4149093" y="1003565"/>
                </a:cubicBezTo>
                <a:cubicBezTo>
                  <a:pt x="4149093" y="1003565"/>
                  <a:pt x="4149307" y="1002284"/>
                  <a:pt x="4149307" y="1002284"/>
                </a:cubicBezTo>
                <a:cubicBezTo>
                  <a:pt x="4150374" y="1002284"/>
                  <a:pt x="4149307" y="1002284"/>
                  <a:pt x="4148239" y="1001004"/>
                </a:cubicBezTo>
                <a:cubicBezTo>
                  <a:pt x="4149733" y="998728"/>
                  <a:pt x="4149733" y="997447"/>
                  <a:pt x="4151014" y="996309"/>
                </a:cubicBezTo>
                <a:cubicBezTo>
                  <a:pt x="4151654" y="995740"/>
                  <a:pt x="4152508" y="995171"/>
                  <a:pt x="4153575" y="994887"/>
                </a:cubicBezTo>
                <a:close/>
                <a:moveTo>
                  <a:pt x="4851458" y="994033"/>
                </a:moveTo>
                <a:cubicBezTo>
                  <a:pt x="4852525" y="994602"/>
                  <a:pt x="4852952" y="995313"/>
                  <a:pt x="4853165" y="995882"/>
                </a:cubicBezTo>
                <a:cubicBezTo>
                  <a:pt x="4853165" y="996452"/>
                  <a:pt x="4852952" y="997163"/>
                  <a:pt x="4852311" y="997732"/>
                </a:cubicBezTo>
                <a:cubicBezTo>
                  <a:pt x="4852311" y="997732"/>
                  <a:pt x="4851031" y="998870"/>
                  <a:pt x="4849537" y="1000150"/>
                </a:cubicBezTo>
                <a:cubicBezTo>
                  <a:pt x="4848257" y="1001289"/>
                  <a:pt x="4848043" y="1002426"/>
                  <a:pt x="4848043" y="1002426"/>
                </a:cubicBezTo>
                <a:cubicBezTo>
                  <a:pt x="4846762" y="1003565"/>
                  <a:pt x="4845695" y="1003565"/>
                  <a:pt x="4844628" y="1002426"/>
                </a:cubicBezTo>
                <a:cubicBezTo>
                  <a:pt x="4844628" y="1002426"/>
                  <a:pt x="4845909" y="1000008"/>
                  <a:pt x="4845909" y="1000008"/>
                </a:cubicBezTo>
                <a:cubicBezTo>
                  <a:pt x="4848683" y="997590"/>
                  <a:pt x="4849964" y="996452"/>
                  <a:pt x="4851458" y="994033"/>
                </a:cubicBezTo>
                <a:close/>
                <a:moveTo>
                  <a:pt x="3760669" y="993748"/>
                </a:moveTo>
                <a:cubicBezTo>
                  <a:pt x="3767712" y="998870"/>
                  <a:pt x="3757895" y="1010394"/>
                  <a:pt x="3752772" y="1000577"/>
                </a:cubicBezTo>
                <a:cubicBezTo>
                  <a:pt x="3756187" y="997020"/>
                  <a:pt x="3758322" y="994744"/>
                  <a:pt x="3760669" y="993748"/>
                </a:cubicBezTo>
                <a:close/>
                <a:moveTo>
                  <a:pt x="1524785" y="992753"/>
                </a:moveTo>
                <a:cubicBezTo>
                  <a:pt x="1528709" y="993062"/>
                  <a:pt x="1530670" y="995076"/>
                  <a:pt x="1529535" y="998329"/>
                </a:cubicBezTo>
                <a:cubicBezTo>
                  <a:pt x="1527160" y="997400"/>
                  <a:pt x="1525921" y="998794"/>
                  <a:pt x="1523546" y="997864"/>
                </a:cubicBezTo>
                <a:cubicBezTo>
                  <a:pt x="1524372" y="995696"/>
                  <a:pt x="1524372" y="993837"/>
                  <a:pt x="1524785" y="992753"/>
                </a:cubicBezTo>
                <a:close/>
                <a:moveTo>
                  <a:pt x="1182168" y="992559"/>
                </a:moveTo>
                <a:cubicBezTo>
                  <a:pt x="1184117" y="993062"/>
                  <a:pt x="1186259" y="994534"/>
                  <a:pt x="1188376" y="996470"/>
                </a:cubicBezTo>
                <a:cubicBezTo>
                  <a:pt x="1187550" y="997245"/>
                  <a:pt x="1190028" y="999259"/>
                  <a:pt x="1190958" y="1000962"/>
                </a:cubicBezTo>
                <a:cubicBezTo>
                  <a:pt x="1190854" y="1003441"/>
                  <a:pt x="1190854" y="1005145"/>
                  <a:pt x="1189099" y="1006694"/>
                </a:cubicBezTo>
                <a:cubicBezTo>
                  <a:pt x="1186414" y="1008862"/>
                  <a:pt x="1180322" y="1009946"/>
                  <a:pt x="1177844" y="1007158"/>
                </a:cubicBezTo>
                <a:cubicBezTo>
                  <a:pt x="1174437" y="1004370"/>
                  <a:pt x="1173610" y="1001737"/>
                  <a:pt x="1173610" y="999259"/>
                </a:cubicBezTo>
                <a:cubicBezTo>
                  <a:pt x="1173610" y="999259"/>
                  <a:pt x="1173610" y="999259"/>
                  <a:pt x="1173507" y="1000033"/>
                </a:cubicBezTo>
                <a:lnTo>
                  <a:pt x="1171649" y="1001582"/>
                </a:lnTo>
                <a:lnTo>
                  <a:pt x="1171752" y="1002976"/>
                </a:lnTo>
                <a:cubicBezTo>
                  <a:pt x="1171752" y="1003906"/>
                  <a:pt x="1171752" y="1004370"/>
                  <a:pt x="1171752" y="1004680"/>
                </a:cubicBezTo>
                <a:cubicBezTo>
                  <a:pt x="1170926" y="1004680"/>
                  <a:pt x="1170926" y="1004835"/>
                  <a:pt x="1170926" y="1004835"/>
                </a:cubicBezTo>
                <a:lnTo>
                  <a:pt x="1170409" y="1002511"/>
                </a:lnTo>
                <a:lnTo>
                  <a:pt x="1167312" y="1004990"/>
                </a:lnTo>
                <a:lnTo>
                  <a:pt x="1167725" y="1007003"/>
                </a:lnTo>
                <a:lnTo>
                  <a:pt x="1166176" y="1005764"/>
                </a:lnTo>
                <a:lnTo>
                  <a:pt x="1163801" y="1007003"/>
                </a:lnTo>
                <a:cubicBezTo>
                  <a:pt x="1162769" y="1007313"/>
                  <a:pt x="1161942" y="1007468"/>
                  <a:pt x="1161323" y="1007158"/>
                </a:cubicBezTo>
                <a:cubicBezTo>
                  <a:pt x="1161323" y="1006384"/>
                  <a:pt x="1161426" y="1005454"/>
                  <a:pt x="1162252" y="1004835"/>
                </a:cubicBezTo>
                <a:cubicBezTo>
                  <a:pt x="1163182" y="1004060"/>
                  <a:pt x="1163078" y="1004835"/>
                  <a:pt x="1163078" y="1004060"/>
                </a:cubicBezTo>
                <a:cubicBezTo>
                  <a:pt x="1164008" y="1003286"/>
                  <a:pt x="1163078" y="1003286"/>
                  <a:pt x="1163078" y="1003286"/>
                </a:cubicBezTo>
                <a:lnTo>
                  <a:pt x="1163388" y="1003286"/>
                </a:lnTo>
                <a:lnTo>
                  <a:pt x="1161942" y="999723"/>
                </a:lnTo>
                <a:cubicBezTo>
                  <a:pt x="1161323" y="997400"/>
                  <a:pt x="1161220" y="995231"/>
                  <a:pt x="1158948" y="993992"/>
                </a:cubicBezTo>
                <a:cubicBezTo>
                  <a:pt x="1160600" y="992908"/>
                  <a:pt x="1160600" y="992908"/>
                  <a:pt x="1162459" y="993527"/>
                </a:cubicBezTo>
                <a:cubicBezTo>
                  <a:pt x="1162459" y="994302"/>
                  <a:pt x="1163388" y="994147"/>
                  <a:pt x="1162562" y="995076"/>
                </a:cubicBezTo>
                <a:cubicBezTo>
                  <a:pt x="1163904" y="995851"/>
                  <a:pt x="1165350" y="997864"/>
                  <a:pt x="1166383" y="1000188"/>
                </a:cubicBezTo>
                <a:lnTo>
                  <a:pt x="1166486" y="1000652"/>
                </a:lnTo>
                <a:lnTo>
                  <a:pt x="1167415" y="999103"/>
                </a:lnTo>
                <a:cubicBezTo>
                  <a:pt x="1167725" y="998329"/>
                  <a:pt x="1168035" y="997864"/>
                  <a:pt x="1168448" y="997090"/>
                </a:cubicBezTo>
                <a:lnTo>
                  <a:pt x="1168551" y="996935"/>
                </a:lnTo>
                <a:lnTo>
                  <a:pt x="1168344" y="996470"/>
                </a:lnTo>
                <a:cubicBezTo>
                  <a:pt x="1168138" y="995386"/>
                  <a:pt x="1168138" y="994457"/>
                  <a:pt x="1168551" y="993218"/>
                </a:cubicBezTo>
                <a:cubicBezTo>
                  <a:pt x="1168551" y="993218"/>
                  <a:pt x="1168551" y="993218"/>
                  <a:pt x="1168551" y="994147"/>
                </a:cubicBezTo>
                <a:cubicBezTo>
                  <a:pt x="1168551" y="994147"/>
                  <a:pt x="1168551" y="993218"/>
                  <a:pt x="1169377" y="993218"/>
                </a:cubicBezTo>
                <a:lnTo>
                  <a:pt x="1170203" y="995851"/>
                </a:lnTo>
                <a:lnTo>
                  <a:pt x="1170719" y="995541"/>
                </a:lnTo>
                <a:cubicBezTo>
                  <a:pt x="1171442" y="995231"/>
                  <a:pt x="1172371" y="994766"/>
                  <a:pt x="1173714" y="994147"/>
                </a:cubicBezTo>
                <a:cubicBezTo>
                  <a:pt x="1175366" y="995076"/>
                  <a:pt x="1175366" y="995076"/>
                  <a:pt x="1175366" y="996006"/>
                </a:cubicBezTo>
                <a:cubicBezTo>
                  <a:pt x="1175366" y="995076"/>
                  <a:pt x="1176295" y="995231"/>
                  <a:pt x="1177121" y="994457"/>
                </a:cubicBezTo>
                <a:cubicBezTo>
                  <a:pt x="1178463" y="992520"/>
                  <a:pt x="1180219" y="992056"/>
                  <a:pt x="1182168" y="992559"/>
                </a:cubicBezTo>
                <a:close/>
                <a:moveTo>
                  <a:pt x="1413888" y="991823"/>
                </a:moveTo>
                <a:cubicBezTo>
                  <a:pt x="1417502" y="991514"/>
                  <a:pt x="1420599" y="997090"/>
                  <a:pt x="1418947" y="1000343"/>
                </a:cubicBezTo>
                <a:cubicBezTo>
                  <a:pt x="1417089" y="996935"/>
                  <a:pt x="1414198" y="996161"/>
                  <a:pt x="1413578" y="994302"/>
                </a:cubicBezTo>
                <a:cubicBezTo>
                  <a:pt x="1413371" y="993682"/>
                  <a:pt x="1413474" y="992908"/>
                  <a:pt x="1413888" y="991823"/>
                </a:cubicBezTo>
                <a:close/>
                <a:moveTo>
                  <a:pt x="1471092" y="991514"/>
                </a:moveTo>
                <a:cubicBezTo>
                  <a:pt x="1471814" y="991978"/>
                  <a:pt x="1472228" y="991359"/>
                  <a:pt x="1472950" y="991823"/>
                </a:cubicBezTo>
                <a:cubicBezTo>
                  <a:pt x="1472950" y="991823"/>
                  <a:pt x="1473983" y="991978"/>
                  <a:pt x="1475119" y="992598"/>
                </a:cubicBezTo>
                <a:cubicBezTo>
                  <a:pt x="1476255" y="993218"/>
                  <a:pt x="1477597" y="994302"/>
                  <a:pt x="1478526" y="996316"/>
                </a:cubicBezTo>
                <a:cubicBezTo>
                  <a:pt x="1478733" y="997400"/>
                  <a:pt x="1478939" y="1000497"/>
                  <a:pt x="1478216" y="1000033"/>
                </a:cubicBezTo>
                <a:cubicBezTo>
                  <a:pt x="1477080" y="1000188"/>
                  <a:pt x="1477803" y="1000652"/>
                  <a:pt x="1477390" y="1001272"/>
                </a:cubicBezTo>
                <a:cubicBezTo>
                  <a:pt x="1473776" y="1001892"/>
                  <a:pt x="1471092" y="1001272"/>
                  <a:pt x="1469749" y="998484"/>
                </a:cubicBezTo>
                <a:cubicBezTo>
                  <a:pt x="1469440" y="997245"/>
                  <a:pt x="1469027" y="995851"/>
                  <a:pt x="1469130" y="994457"/>
                </a:cubicBezTo>
                <a:cubicBezTo>
                  <a:pt x="1469130" y="993218"/>
                  <a:pt x="1469646" y="991978"/>
                  <a:pt x="1471092" y="991514"/>
                </a:cubicBezTo>
                <a:close/>
                <a:moveTo>
                  <a:pt x="3536792" y="990760"/>
                </a:moveTo>
                <a:cubicBezTo>
                  <a:pt x="3542554" y="991045"/>
                  <a:pt x="3549811" y="999582"/>
                  <a:pt x="3544261" y="1005272"/>
                </a:cubicBezTo>
                <a:cubicBezTo>
                  <a:pt x="3540847" y="1006268"/>
                  <a:pt x="3537432" y="1007264"/>
                  <a:pt x="3532737" y="1003565"/>
                </a:cubicBezTo>
                <a:cubicBezTo>
                  <a:pt x="3531457" y="998728"/>
                  <a:pt x="3532310" y="995313"/>
                  <a:pt x="3536792" y="990760"/>
                </a:cubicBezTo>
                <a:close/>
                <a:moveTo>
                  <a:pt x="1464587" y="990274"/>
                </a:moveTo>
                <a:cubicBezTo>
                  <a:pt x="1466858" y="992288"/>
                  <a:pt x="1467374" y="993682"/>
                  <a:pt x="1467065" y="994612"/>
                </a:cubicBezTo>
                <a:cubicBezTo>
                  <a:pt x="1466238" y="996625"/>
                  <a:pt x="1460972" y="995851"/>
                  <a:pt x="1461592" y="993372"/>
                </a:cubicBezTo>
                <a:cubicBezTo>
                  <a:pt x="1461799" y="992443"/>
                  <a:pt x="1462625" y="991514"/>
                  <a:pt x="1464587" y="990274"/>
                </a:cubicBezTo>
                <a:close/>
                <a:moveTo>
                  <a:pt x="1456842" y="990274"/>
                </a:moveTo>
                <a:cubicBezTo>
                  <a:pt x="1458081" y="990119"/>
                  <a:pt x="1458804" y="990584"/>
                  <a:pt x="1458804" y="990584"/>
                </a:cubicBezTo>
                <a:cubicBezTo>
                  <a:pt x="1460146" y="993372"/>
                  <a:pt x="1460456" y="996316"/>
                  <a:pt x="1456842" y="996935"/>
                </a:cubicBezTo>
                <a:cubicBezTo>
                  <a:pt x="1455706" y="997090"/>
                  <a:pt x="1454467" y="997245"/>
                  <a:pt x="1454880" y="996625"/>
                </a:cubicBezTo>
                <a:cubicBezTo>
                  <a:pt x="1454158" y="996161"/>
                  <a:pt x="1454570" y="995386"/>
                  <a:pt x="1454261" y="994302"/>
                </a:cubicBezTo>
                <a:cubicBezTo>
                  <a:pt x="1454364" y="992443"/>
                  <a:pt x="1455706" y="990429"/>
                  <a:pt x="1456842" y="990274"/>
                </a:cubicBezTo>
                <a:close/>
                <a:moveTo>
                  <a:pt x="3901099" y="990049"/>
                </a:moveTo>
                <a:cubicBezTo>
                  <a:pt x="3901313" y="990049"/>
                  <a:pt x="3901526" y="990334"/>
                  <a:pt x="3901953" y="991045"/>
                </a:cubicBezTo>
                <a:cubicBezTo>
                  <a:pt x="3900886" y="992325"/>
                  <a:pt x="3900886" y="991045"/>
                  <a:pt x="3900033" y="991045"/>
                </a:cubicBezTo>
                <a:cubicBezTo>
                  <a:pt x="3900459" y="990334"/>
                  <a:pt x="3900886" y="990049"/>
                  <a:pt x="3901099" y="990049"/>
                </a:cubicBezTo>
                <a:close/>
                <a:moveTo>
                  <a:pt x="1107630" y="989345"/>
                </a:moveTo>
                <a:cubicBezTo>
                  <a:pt x="1109282" y="991978"/>
                  <a:pt x="1104945" y="998174"/>
                  <a:pt x="1102364" y="1000343"/>
                </a:cubicBezTo>
                <a:cubicBezTo>
                  <a:pt x="1101951" y="999723"/>
                  <a:pt x="1101847" y="998794"/>
                  <a:pt x="1102054" y="997864"/>
                </a:cubicBezTo>
                <a:cubicBezTo>
                  <a:pt x="1102673" y="994921"/>
                  <a:pt x="1105668" y="991049"/>
                  <a:pt x="1107630" y="989345"/>
                </a:cubicBezTo>
                <a:close/>
                <a:moveTo>
                  <a:pt x="3564750" y="988769"/>
                </a:moveTo>
                <a:cubicBezTo>
                  <a:pt x="3567098" y="989338"/>
                  <a:pt x="3569445" y="988626"/>
                  <a:pt x="3572006" y="989196"/>
                </a:cubicBezTo>
                <a:cubicBezTo>
                  <a:pt x="3574354" y="992183"/>
                  <a:pt x="3573074" y="1000862"/>
                  <a:pt x="3569018" y="1003565"/>
                </a:cubicBezTo>
                <a:cubicBezTo>
                  <a:pt x="3567738" y="1004419"/>
                  <a:pt x="3566030" y="1004561"/>
                  <a:pt x="3564110" y="1003707"/>
                </a:cubicBezTo>
                <a:cubicBezTo>
                  <a:pt x="3558561" y="1000293"/>
                  <a:pt x="3561122" y="994744"/>
                  <a:pt x="3564750" y="988769"/>
                </a:cubicBezTo>
                <a:close/>
                <a:moveTo>
                  <a:pt x="4595141" y="987916"/>
                </a:moveTo>
                <a:cubicBezTo>
                  <a:pt x="4596421" y="987916"/>
                  <a:pt x="4597915" y="988342"/>
                  <a:pt x="4598982" y="988911"/>
                </a:cubicBezTo>
                <a:cubicBezTo>
                  <a:pt x="4600049" y="990049"/>
                  <a:pt x="4600476" y="991330"/>
                  <a:pt x="4600476" y="992325"/>
                </a:cubicBezTo>
                <a:cubicBezTo>
                  <a:pt x="4600476" y="993464"/>
                  <a:pt x="4600049" y="994317"/>
                  <a:pt x="4599409" y="994887"/>
                </a:cubicBezTo>
                <a:cubicBezTo>
                  <a:pt x="4590445" y="1005414"/>
                  <a:pt x="4580628" y="1000577"/>
                  <a:pt x="4578280" y="1001715"/>
                </a:cubicBezTo>
                <a:cubicBezTo>
                  <a:pt x="4575292" y="998016"/>
                  <a:pt x="4575292" y="998016"/>
                  <a:pt x="4581695" y="990903"/>
                </a:cubicBezTo>
                <a:cubicBezTo>
                  <a:pt x="4582976" y="989765"/>
                  <a:pt x="4584470" y="988911"/>
                  <a:pt x="4585963" y="988484"/>
                </a:cubicBezTo>
                <a:cubicBezTo>
                  <a:pt x="4587671" y="988058"/>
                  <a:pt x="4589378" y="988058"/>
                  <a:pt x="4591086" y="988769"/>
                </a:cubicBezTo>
                <a:cubicBezTo>
                  <a:pt x="4592153" y="988200"/>
                  <a:pt x="4593647" y="987916"/>
                  <a:pt x="4595141" y="987916"/>
                </a:cubicBezTo>
                <a:close/>
                <a:moveTo>
                  <a:pt x="1305262" y="987796"/>
                </a:moveTo>
                <a:cubicBezTo>
                  <a:pt x="1306192" y="988416"/>
                  <a:pt x="1305262" y="988571"/>
                  <a:pt x="1305262" y="989345"/>
                </a:cubicBezTo>
                <a:cubicBezTo>
                  <a:pt x="1304849" y="989035"/>
                  <a:pt x="1304539" y="988881"/>
                  <a:pt x="1304539" y="988571"/>
                </a:cubicBezTo>
                <a:cubicBezTo>
                  <a:pt x="1304539" y="988416"/>
                  <a:pt x="1304746" y="988261"/>
                  <a:pt x="1305262" y="987796"/>
                </a:cubicBezTo>
                <a:close/>
                <a:moveTo>
                  <a:pt x="3495389" y="987488"/>
                </a:moveTo>
                <a:cubicBezTo>
                  <a:pt x="3499444" y="991614"/>
                  <a:pt x="3506486" y="994744"/>
                  <a:pt x="3508407" y="1000150"/>
                </a:cubicBezTo>
                <a:cubicBezTo>
                  <a:pt x="3506486" y="999012"/>
                  <a:pt x="3496882" y="991330"/>
                  <a:pt x="3495389" y="987488"/>
                </a:cubicBezTo>
                <a:close/>
                <a:moveTo>
                  <a:pt x="1392101" y="987177"/>
                </a:moveTo>
                <a:cubicBezTo>
                  <a:pt x="1393856" y="989964"/>
                  <a:pt x="1393959" y="991514"/>
                  <a:pt x="1393443" y="992288"/>
                </a:cubicBezTo>
                <a:cubicBezTo>
                  <a:pt x="1392204" y="993837"/>
                  <a:pt x="1387351" y="991049"/>
                  <a:pt x="1388487" y="988881"/>
                </a:cubicBezTo>
                <a:cubicBezTo>
                  <a:pt x="1388900" y="988261"/>
                  <a:pt x="1390036" y="987641"/>
                  <a:pt x="1392101" y="987177"/>
                </a:cubicBezTo>
                <a:close/>
                <a:moveTo>
                  <a:pt x="3885093" y="986777"/>
                </a:moveTo>
                <a:cubicBezTo>
                  <a:pt x="3888935" y="989053"/>
                  <a:pt x="3891496" y="992325"/>
                  <a:pt x="3888721" y="996025"/>
                </a:cubicBezTo>
                <a:cubicBezTo>
                  <a:pt x="3887654" y="997305"/>
                  <a:pt x="3886587" y="998585"/>
                  <a:pt x="3886587" y="997447"/>
                </a:cubicBezTo>
                <a:cubicBezTo>
                  <a:pt x="3885307" y="997447"/>
                  <a:pt x="3885307" y="996309"/>
                  <a:pt x="3884026" y="995171"/>
                </a:cubicBezTo>
                <a:cubicBezTo>
                  <a:pt x="3882532" y="992895"/>
                  <a:pt x="3881892" y="989338"/>
                  <a:pt x="3882959" y="988058"/>
                </a:cubicBezTo>
                <a:cubicBezTo>
                  <a:pt x="3884026" y="986919"/>
                  <a:pt x="3885093" y="986777"/>
                  <a:pt x="3885093" y="986777"/>
                </a:cubicBezTo>
                <a:close/>
                <a:moveTo>
                  <a:pt x="1283372" y="986402"/>
                </a:moveTo>
                <a:cubicBezTo>
                  <a:pt x="1286057" y="987796"/>
                  <a:pt x="1286160" y="990274"/>
                  <a:pt x="1285437" y="992908"/>
                </a:cubicBezTo>
                <a:cubicBezTo>
                  <a:pt x="1286366" y="994457"/>
                  <a:pt x="1288122" y="995076"/>
                  <a:pt x="1287399" y="996935"/>
                </a:cubicBezTo>
                <a:cubicBezTo>
                  <a:pt x="1285540" y="994612"/>
                  <a:pt x="1284611" y="993992"/>
                  <a:pt x="1283682" y="992443"/>
                </a:cubicBezTo>
                <a:cubicBezTo>
                  <a:pt x="1282856" y="992443"/>
                  <a:pt x="1282030" y="992598"/>
                  <a:pt x="1281100" y="991823"/>
                </a:cubicBezTo>
                <a:cubicBezTo>
                  <a:pt x="1279345" y="990429"/>
                  <a:pt x="1280067" y="988571"/>
                  <a:pt x="1279138" y="987022"/>
                </a:cubicBezTo>
                <a:cubicBezTo>
                  <a:pt x="1279861" y="986092"/>
                  <a:pt x="1281513" y="985008"/>
                  <a:pt x="1283372" y="986402"/>
                </a:cubicBezTo>
                <a:close/>
                <a:moveTo>
                  <a:pt x="3898538" y="986351"/>
                </a:moveTo>
                <a:cubicBezTo>
                  <a:pt x="3899178" y="986777"/>
                  <a:pt x="3900246" y="987488"/>
                  <a:pt x="3901526" y="988058"/>
                </a:cubicBezTo>
                <a:lnTo>
                  <a:pt x="3898538" y="991757"/>
                </a:lnTo>
                <a:cubicBezTo>
                  <a:pt x="3897045" y="990618"/>
                  <a:pt x="3895764" y="988484"/>
                  <a:pt x="3896618" y="987204"/>
                </a:cubicBezTo>
                <a:cubicBezTo>
                  <a:pt x="3897045" y="986066"/>
                  <a:pt x="3897685" y="985924"/>
                  <a:pt x="3898538" y="986351"/>
                </a:cubicBezTo>
                <a:close/>
                <a:moveTo>
                  <a:pt x="3263188" y="986066"/>
                </a:moveTo>
                <a:cubicBezTo>
                  <a:pt x="3263828" y="986351"/>
                  <a:pt x="3264468" y="986919"/>
                  <a:pt x="3265322" y="987488"/>
                </a:cubicBezTo>
                <a:cubicBezTo>
                  <a:pt x="3266603" y="988626"/>
                  <a:pt x="3267883" y="989765"/>
                  <a:pt x="3269163" y="990903"/>
                </a:cubicBezTo>
                <a:cubicBezTo>
                  <a:pt x="3269163" y="990903"/>
                  <a:pt x="3269163" y="990903"/>
                  <a:pt x="3261480" y="986351"/>
                </a:cubicBezTo>
                <a:cubicBezTo>
                  <a:pt x="3261907" y="985781"/>
                  <a:pt x="3262548" y="985781"/>
                  <a:pt x="3263188" y="986066"/>
                </a:cubicBezTo>
                <a:close/>
                <a:moveTo>
                  <a:pt x="3460814" y="985354"/>
                </a:moveTo>
                <a:cubicBezTo>
                  <a:pt x="3462095" y="985781"/>
                  <a:pt x="3463589" y="987631"/>
                  <a:pt x="3466790" y="991045"/>
                </a:cubicBezTo>
                <a:cubicBezTo>
                  <a:pt x="3467857" y="992468"/>
                  <a:pt x="3468711" y="994033"/>
                  <a:pt x="3469138" y="995740"/>
                </a:cubicBezTo>
                <a:cubicBezTo>
                  <a:pt x="3469351" y="997447"/>
                  <a:pt x="3469138" y="999297"/>
                  <a:pt x="3468498" y="1000862"/>
                </a:cubicBezTo>
                <a:cubicBezTo>
                  <a:pt x="3469565" y="1003423"/>
                  <a:pt x="3469351" y="1006979"/>
                  <a:pt x="3468071" y="1009113"/>
                </a:cubicBezTo>
                <a:cubicBezTo>
                  <a:pt x="3465510" y="1011105"/>
                  <a:pt x="3463376" y="1010678"/>
                  <a:pt x="3462309" y="1009398"/>
                </a:cubicBezTo>
                <a:cubicBezTo>
                  <a:pt x="3452491" y="999439"/>
                  <a:pt x="3457827" y="989623"/>
                  <a:pt x="3456760" y="987062"/>
                </a:cubicBezTo>
                <a:cubicBezTo>
                  <a:pt x="3458680" y="985497"/>
                  <a:pt x="3459534" y="984785"/>
                  <a:pt x="3460814" y="985354"/>
                </a:cubicBezTo>
                <a:close/>
                <a:moveTo>
                  <a:pt x="4071835" y="985070"/>
                </a:moveTo>
                <a:cubicBezTo>
                  <a:pt x="4075250" y="984501"/>
                  <a:pt x="4078878" y="985924"/>
                  <a:pt x="4080585" y="988626"/>
                </a:cubicBezTo>
                <a:cubicBezTo>
                  <a:pt x="4081866" y="990476"/>
                  <a:pt x="4082079" y="992752"/>
                  <a:pt x="4081226" y="995455"/>
                </a:cubicBezTo>
                <a:cubicBezTo>
                  <a:pt x="4074397" y="997590"/>
                  <a:pt x="4066926" y="1001289"/>
                  <a:pt x="4064152" y="993748"/>
                </a:cubicBezTo>
                <a:cubicBezTo>
                  <a:pt x="4065219" y="988200"/>
                  <a:pt x="4068421" y="985639"/>
                  <a:pt x="4071835" y="985070"/>
                </a:cubicBezTo>
                <a:close/>
                <a:moveTo>
                  <a:pt x="3493894" y="985070"/>
                </a:moveTo>
                <a:cubicBezTo>
                  <a:pt x="3494321" y="986635"/>
                  <a:pt x="3494321" y="986635"/>
                  <a:pt x="3495389" y="987346"/>
                </a:cubicBezTo>
                <a:cubicBezTo>
                  <a:pt x="3495389" y="987346"/>
                  <a:pt x="3493681" y="987631"/>
                  <a:pt x="3493681" y="987631"/>
                </a:cubicBezTo>
                <a:cubicBezTo>
                  <a:pt x="3493254" y="986066"/>
                  <a:pt x="3492827" y="986919"/>
                  <a:pt x="3493894" y="985070"/>
                </a:cubicBezTo>
                <a:close/>
                <a:moveTo>
                  <a:pt x="4845482" y="984359"/>
                </a:moveTo>
                <a:cubicBezTo>
                  <a:pt x="4846549" y="985639"/>
                  <a:pt x="4846549" y="984359"/>
                  <a:pt x="4847616" y="984501"/>
                </a:cubicBezTo>
                <a:cubicBezTo>
                  <a:pt x="4846549" y="985639"/>
                  <a:pt x="4846122" y="989338"/>
                  <a:pt x="4844628" y="991757"/>
                </a:cubicBezTo>
                <a:cubicBezTo>
                  <a:pt x="4843561" y="991757"/>
                  <a:pt x="4842281" y="993037"/>
                  <a:pt x="4841214" y="993037"/>
                </a:cubicBezTo>
                <a:cubicBezTo>
                  <a:pt x="4841427" y="991757"/>
                  <a:pt x="4840573" y="989338"/>
                  <a:pt x="4841640" y="989338"/>
                </a:cubicBezTo>
                <a:cubicBezTo>
                  <a:pt x="4841854" y="988058"/>
                  <a:pt x="4843988" y="988058"/>
                  <a:pt x="4843988" y="988058"/>
                </a:cubicBezTo>
                <a:cubicBezTo>
                  <a:pt x="4843988" y="986777"/>
                  <a:pt x="4844202" y="985639"/>
                  <a:pt x="4845482" y="984359"/>
                </a:cubicBezTo>
                <a:close/>
                <a:moveTo>
                  <a:pt x="3634965" y="984074"/>
                </a:moveTo>
                <a:cubicBezTo>
                  <a:pt x="3637740" y="983789"/>
                  <a:pt x="3639447" y="984074"/>
                  <a:pt x="3640514" y="985212"/>
                </a:cubicBezTo>
                <a:cubicBezTo>
                  <a:pt x="3641581" y="986208"/>
                  <a:pt x="3642008" y="987916"/>
                  <a:pt x="3642435" y="990334"/>
                </a:cubicBezTo>
                <a:cubicBezTo>
                  <a:pt x="3638380" y="990618"/>
                  <a:pt x="3637312" y="988484"/>
                  <a:pt x="3634965" y="984074"/>
                </a:cubicBezTo>
                <a:close/>
                <a:moveTo>
                  <a:pt x="1503411" y="983924"/>
                </a:moveTo>
                <a:cubicBezTo>
                  <a:pt x="1505786" y="984853"/>
                  <a:pt x="1506508" y="986402"/>
                  <a:pt x="1506199" y="987331"/>
                </a:cubicBezTo>
                <a:cubicBezTo>
                  <a:pt x="1504237" y="996470"/>
                  <a:pt x="1495667" y="996161"/>
                  <a:pt x="1494531" y="997400"/>
                </a:cubicBezTo>
                <a:cubicBezTo>
                  <a:pt x="1491949" y="996470"/>
                  <a:pt x="1491227" y="996161"/>
                  <a:pt x="1491743" y="993527"/>
                </a:cubicBezTo>
                <a:lnTo>
                  <a:pt x="1492362" y="990894"/>
                </a:lnTo>
                <a:lnTo>
                  <a:pt x="1490400" y="989655"/>
                </a:lnTo>
                <a:cubicBezTo>
                  <a:pt x="1490813" y="988571"/>
                  <a:pt x="1491227" y="987486"/>
                  <a:pt x="1491639" y="986402"/>
                </a:cubicBezTo>
                <a:lnTo>
                  <a:pt x="1495667" y="986867"/>
                </a:lnTo>
                <a:lnTo>
                  <a:pt x="1498041" y="985938"/>
                </a:lnTo>
                <a:cubicBezTo>
                  <a:pt x="1499177" y="984543"/>
                  <a:pt x="1501552" y="983614"/>
                  <a:pt x="1503411" y="983924"/>
                </a:cubicBezTo>
                <a:close/>
                <a:moveTo>
                  <a:pt x="4397087" y="983221"/>
                </a:moveTo>
                <a:cubicBezTo>
                  <a:pt x="4398367" y="986493"/>
                  <a:pt x="4397727" y="994460"/>
                  <a:pt x="4392605" y="998159"/>
                </a:cubicBezTo>
                <a:cubicBezTo>
                  <a:pt x="4385562" y="996594"/>
                  <a:pt x="4385135" y="991757"/>
                  <a:pt x="4388763" y="984785"/>
                </a:cubicBezTo>
                <a:cubicBezTo>
                  <a:pt x="4391325" y="984785"/>
                  <a:pt x="4393459" y="983789"/>
                  <a:pt x="4397087" y="983221"/>
                </a:cubicBezTo>
                <a:close/>
                <a:moveTo>
                  <a:pt x="3954668" y="983221"/>
                </a:moveTo>
                <a:cubicBezTo>
                  <a:pt x="3957229" y="984074"/>
                  <a:pt x="3962778" y="988058"/>
                  <a:pt x="3965339" y="992183"/>
                </a:cubicBezTo>
                <a:cubicBezTo>
                  <a:pt x="3966192" y="993606"/>
                  <a:pt x="3966833" y="995029"/>
                  <a:pt x="3966833" y="996309"/>
                </a:cubicBezTo>
                <a:cubicBezTo>
                  <a:pt x="3966833" y="998159"/>
                  <a:pt x="3965766" y="999866"/>
                  <a:pt x="3963205" y="1001146"/>
                </a:cubicBezTo>
                <a:cubicBezTo>
                  <a:pt x="3959150" y="995313"/>
                  <a:pt x="3952320" y="992610"/>
                  <a:pt x="3952320" y="988200"/>
                </a:cubicBezTo>
                <a:cubicBezTo>
                  <a:pt x="3952320" y="986777"/>
                  <a:pt x="3952960" y="985212"/>
                  <a:pt x="3954668" y="983221"/>
                </a:cubicBezTo>
                <a:close/>
                <a:moveTo>
                  <a:pt x="1353276" y="983149"/>
                </a:moveTo>
                <a:cubicBezTo>
                  <a:pt x="1360298" y="983459"/>
                  <a:pt x="1362156" y="991978"/>
                  <a:pt x="1367835" y="997090"/>
                </a:cubicBezTo>
                <a:cubicBezTo>
                  <a:pt x="1370417" y="998174"/>
                  <a:pt x="1372585" y="996780"/>
                  <a:pt x="1375270" y="998484"/>
                </a:cubicBezTo>
                <a:lnTo>
                  <a:pt x="1376302" y="999568"/>
                </a:lnTo>
                <a:lnTo>
                  <a:pt x="1380639" y="999413"/>
                </a:lnTo>
                <a:cubicBezTo>
                  <a:pt x="1381362" y="1000962"/>
                  <a:pt x="1378677" y="1003595"/>
                  <a:pt x="1377645" y="1005299"/>
                </a:cubicBezTo>
                <a:cubicBezTo>
                  <a:pt x="1376819" y="1004525"/>
                  <a:pt x="1376096" y="1003751"/>
                  <a:pt x="1375993" y="1004525"/>
                </a:cubicBezTo>
                <a:lnTo>
                  <a:pt x="1375063" y="1002666"/>
                </a:lnTo>
                <a:lnTo>
                  <a:pt x="1373102" y="1003595"/>
                </a:lnTo>
                <a:lnTo>
                  <a:pt x="1374031" y="1004370"/>
                </a:lnTo>
                <a:cubicBezTo>
                  <a:pt x="1375786" y="1006539"/>
                  <a:pt x="1377335" y="1008862"/>
                  <a:pt x="1378677" y="1011495"/>
                </a:cubicBezTo>
                <a:lnTo>
                  <a:pt x="1380639" y="1015832"/>
                </a:lnTo>
                <a:lnTo>
                  <a:pt x="1381672" y="1013973"/>
                </a:lnTo>
                <a:cubicBezTo>
                  <a:pt x="1384253" y="1010411"/>
                  <a:pt x="1387144" y="1010411"/>
                  <a:pt x="1387351" y="1009636"/>
                </a:cubicBezTo>
                <a:cubicBezTo>
                  <a:pt x="1391068" y="1010720"/>
                  <a:pt x="1390448" y="1012889"/>
                  <a:pt x="1390862" y="1016762"/>
                </a:cubicBezTo>
                <a:cubicBezTo>
                  <a:pt x="1389623" y="1016452"/>
                  <a:pt x="1388797" y="1019860"/>
                  <a:pt x="1388487" y="1020944"/>
                </a:cubicBezTo>
                <a:cubicBezTo>
                  <a:pt x="1387351" y="1020634"/>
                  <a:pt x="1386318" y="1021409"/>
                  <a:pt x="1385182" y="1022028"/>
                </a:cubicBezTo>
                <a:lnTo>
                  <a:pt x="1383634" y="1022803"/>
                </a:lnTo>
                <a:lnTo>
                  <a:pt x="1388900" y="1036124"/>
                </a:lnTo>
                <a:cubicBezTo>
                  <a:pt x="1385802" y="1036279"/>
                  <a:pt x="1384563" y="1038447"/>
                  <a:pt x="1379607" y="1037983"/>
                </a:cubicBezTo>
                <a:cubicBezTo>
                  <a:pt x="1377748" y="1030392"/>
                  <a:pt x="1374960" y="1023422"/>
                  <a:pt x="1372275" y="1016607"/>
                </a:cubicBezTo>
                <a:lnTo>
                  <a:pt x="1368558" y="1005609"/>
                </a:lnTo>
                <a:lnTo>
                  <a:pt x="1365667" y="1007003"/>
                </a:lnTo>
                <a:cubicBezTo>
                  <a:pt x="1361537" y="1008242"/>
                  <a:pt x="1357510" y="1008552"/>
                  <a:pt x="1353586" y="1008242"/>
                </a:cubicBezTo>
                <a:cubicBezTo>
                  <a:pt x="1351004" y="1008087"/>
                  <a:pt x="1348423" y="1007468"/>
                  <a:pt x="1345842" y="1006694"/>
                </a:cubicBezTo>
                <a:cubicBezTo>
                  <a:pt x="1346461" y="1000188"/>
                  <a:pt x="1354412" y="999878"/>
                  <a:pt x="1359781" y="998174"/>
                </a:cubicBezTo>
                <a:cubicBezTo>
                  <a:pt x="1355858" y="993372"/>
                  <a:pt x="1348423" y="987331"/>
                  <a:pt x="1353276" y="983149"/>
                </a:cubicBezTo>
                <a:close/>
                <a:moveTo>
                  <a:pt x="3489199" y="981940"/>
                </a:moveTo>
                <a:cubicBezTo>
                  <a:pt x="3489626" y="982224"/>
                  <a:pt x="3490266" y="982651"/>
                  <a:pt x="3490480" y="983078"/>
                </a:cubicBezTo>
                <a:cubicBezTo>
                  <a:pt x="3490694" y="983363"/>
                  <a:pt x="3490907" y="983789"/>
                  <a:pt x="3490480" y="984216"/>
                </a:cubicBezTo>
                <a:cubicBezTo>
                  <a:pt x="3490053" y="985212"/>
                  <a:pt x="3488986" y="984501"/>
                  <a:pt x="3488559" y="982936"/>
                </a:cubicBezTo>
                <a:cubicBezTo>
                  <a:pt x="3488559" y="982936"/>
                  <a:pt x="3489199" y="981940"/>
                  <a:pt x="3489199" y="981940"/>
                </a:cubicBezTo>
                <a:close/>
                <a:moveTo>
                  <a:pt x="1417708" y="981910"/>
                </a:moveTo>
                <a:cubicBezTo>
                  <a:pt x="1419361" y="983459"/>
                  <a:pt x="1421116" y="984234"/>
                  <a:pt x="1421012" y="985008"/>
                </a:cubicBezTo>
                <a:cubicBezTo>
                  <a:pt x="1421942" y="985008"/>
                  <a:pt x="1422768" y="985783"/>
                  <a:pt x="1423697" y="985783"/>
                </a:cubicBezTo>
                <a:cubicBezTo>
                  <a:pt x="1423697" y="985783"/>
                  <a:pt x="1423697" y="985783"/>
                  <a:pt x="1423594" y="986557"/>
                </a:cubicBezTo>
                <a:cubicBezTo>
                  <a:pt x="1420186" y="985938"/>
                  <a:pt x="1415746" y="987022"/>
                  <a:pt x="1413165" y="985473"/>
                </a:cubicBezTo>
                <a:cubicBezTo>
                  <a:pt x="1412752" y="985008"/>
                  <a:pt x="1412339" y="984698"/>
                  <a:pt x="1412235" y="984079"/>
                </a:cubicBezTo>
                <a:cubicBezTo>
                  <a:pt x="1412132" y="983614"/>
                  <a:pt x="1412442" y="982995"/>
                  <a:pt x="1413268" y="982065"/>
                </a:cubicBezTo>
                <a:cubicBezTo>
                  <a:pt x="1414301" y="980361"/>
                  <a:pt x="1415127" y="980361"/>
                  <a:pt x="1417708" y="981910"/>
                </a:cubicBezTo>
                <a:close/>
                <a:moveTo>
                  <a:pt x="3243980" y="981229"/>
                </a:moveTo>
                <a:cubicBezTo>
                  <a:pt x="3246968" y="982367"/>
                  <a:pt x="3249529" y="982367"/>
                  <a:pt x="3251023" y="982936"/>
                </a:cubicBezTo>
                <a:cubicBezTo>
                  <a:pt x="3250596" y="988342"/>
                  <a:pt x="3247821" y="991045"/>
                  <a:pt x="3243340" y="989338"/>
                </a:cubicBezTo>
                <a:cubicBezTo>
                  <a:pt x="3244620" y="986066"/>
                  <a:pt x="3242699" y="984501"/>
                  <a:pt x="3243980" y="981229"/>
                </a:cubicBezTo>
                <a:close/>
                <a:moveTo>
                  <a:pt x="3224132" y="981229"/>
                </a:moveTo>
                <a:cubicBezTo>
                  <a:pt x="3224986" y="981513"/>
                  <a:pt x="3225840" y="982367"/>
                  <a:pt x="3226480" y="983078"/>
                </a:cubicBezTo>
                <a:cubicBezTo>
                  <a:pt x="3228187" y="983932"/>
                  <a:pt x="3229040" y="985497"/>
                  <a:pt x="3229040" y="987346"/>
                </a:cubicBezTo>
                <a:lnTo>
                  <a:pt x="3228827" y="988769"/>
                </a:lnTo>
                <a:lnTo>
                  <a:pt x="3229681" y="987773"/>
                </a:lnTo>
                <a:cubicBezTo>
                  <a:pt x="3231175" y="987346"/>
                  <a:pt x="3232882" y="987204"/>
                  <a:pt x="3234376" y="987631"/>
                </a:cubicBezTo>
                <a:cubicBezTo>
                  <a:pt x="3235657" y="987488"/>
                  <a:pt x="3236723" y="988200"/>
                  <a:pt x="3237364" y="989196"/>
                </a:cubicBezTo>
                <a:lnTo>
                  <a:pt x="3238431" y="992468"/>
                </a:lnTo>
                <a:lnTo>
                  <a:pt x="3240779" y="992041"/>
                </a:lnTo>
                <a:cubicBezTo>
                  <a:pt x="3242059" y="995313"/>
                  <a:pt x="3243126" y="998585"/>
                  <a:pt x="3240138" y="999439"/>
                </a:cubicBezTo>
                <a:cubicBezTo>
                  <a:pt x="3238431" y="999866"/>
                  <a:pt x="3236937" y="1000435"/>
                  <a:pt x="3234803" y="999154"/>
                </a:cubicBezTo>
                <a:lnTo>
                  <a:pt x="3234803" y="998443"/>
                </a:lnTo>
                <a:lnTo>
                  <a:pt x="3234590" y="998728"/>
                </a:lnTo>
                <a:cubicBezTo>
                  <a:pt x="3233736" y="999439"/>
                  <a:pt x="3232669" y="1000008"/>
                  <a:pt x="3231388" y="1000150"/>
                </a:cubicBezTo>
                <a:cubicBezTo>
                  <a:pt x="3229894" y="999866"/>
                  <a:pt x="3228827" y="998159"/>
                  <a:pt x="3227974" y="996309"/>
                </a:cubicBezTo>
                <a:lnTo>
                  <a:pt x="3226693" y="991188"/>
                </a:lnTo>
                <a:lnTo>
                  <a:pt x="3225840" y="991330"/>
                </a:lnTo>
                <a:cubicBezTo>
                  <a:pt x="3225840" y="991330"/>
                  <a:pt x="3227120" y="991614"/>
                  <a:pt x="3225840" y="992610"/>
                </a:cubicBezTo>
                <a:cubicBezTo>
                  <a:pt x="3225840" y="991472"/>
                  <a:pt x="3224772" y="991188"/>
                  <a:pt x="3223705" y="991045"/>
                </a:cubicBezTo>
                <a:cubicBezTo>
                  <a:pt x="3221357" y="988200"/>
                  <a:pt x="3219436" y="984216"/>
                  <a:pt x="3220717" y="982082"/>
                </a:cubicBezTo>
                <a:cubicBezTo>
                  <a:pt x="3221998" y="981086"/>
                  <a:pt x="3223065" y="980944"/>
                  <a:pt x="3224132" y="981229"/>
                </a:cubicBezTo>
                <a:close/>
                <a:moveTo>
                  <a:pt x="1318375" y="980361"/>
                </a:moveTo>
                <a:cubicBezTo>
                  <a:pt x="1318272" y="982065"/>
                  <a:pt x="1321680" y="982839"/>
                  <a:pt x="1319925" y="984543"/>
                </a:cubicBezTo>
                <a:cubicBezTo>
                  <a:pt x="1318995" y="983769"/>
                  <a:pt x="1318169" y="982065"/>
                  <a:pt x="1317343" y="981291"/>
                </a:cubicBezTo>
                <a:cubicBezTo>
                  <a:pt x="1317343" y="981291"/>
                  <a:pt x="1317446" y="981291"/>
                  <a:pt x="1318375" y="980361"/>
                </a:cubicBezTo>
                <a:close/>
                <a:moveTo>
                  <a:pt x="3790548" y="979806"/>
                </a:moveTo>
                <a:cubicBezTo>
                  <a:pt x="3791615" y="981656"/>
                  <a:pt x="3792682" y="983505"/>
                  <a:pt x="3793323" y="985212"/>
                </a:cubicBezTo>
                <a:cubicBezTo>
                  <a:pt x="3795030" y="990618"/>
                  <a:pt x="3794389" y="995313"/>
                  <a:pt x="3788414" y="1000293"/>
                </a:cubicBezTo>
                <a:cubicBezTo>
                  <a:pt x="3783932" y="999297"/>
                  <a:pt x="3782652" y="994887"/>
                  <a:pt x="3783505" y="990334"/>
                </a:cubicBezTo>
                <a:cubicBezTo>
                  <a:pt x="3784145" y="985924"/>
                  <a:pt x="3786920" y="981229"/>
                  <a:pt x="3790548" y="979806"/>
                </a:cubicBezTo>
                <a:close/>
                <a:moveTo>
                  <a:pt x="1013770" y="979741"/>
                </a:moveTo>
                <a:cubicBezTo>
                  <a:pt x="1017694" y="977263"/>
                  <a:pt x="1023992" y="979587"/>
                  <a:pt x="1025231" y="983924"/>
                </a:cubicBezTo>
                <a:cubicBezTo>
                  <a:pt x="1025748" y="985783"/>
                  <a:pt x="1025335" y="988106"/>
                  <a:pt x="1023166" y="990429"/>
                </a:cubicBezTo>
                <a:cubicBezTo>
                  <a:pt x="1017797" y="987177"/>
                  <a:pt x="1013873" y="988726"/>
                  <a:pt x="1010775" y="984079"/>
                </a:cubicBezTo>
                <a:cubicBezTo>
                  <a:pt x="1011292" y="982065"/>
                  <a:pt x="1012428" y="980671"/>
                  <a:pt x="1013770" y="979741"/>
                </a:cubicBezTo>
                <a:close/>
                <a:moveTo>
                  <a:pt x="1530567" y="979587"/>
                </a:moveTo>
                <a:cubicBezTo>
                  <a:pt x="1530567" y="979587"/>
                  <a:pt x="1530567" y="979587"/>
                  <a:pt x="1527366" y="985163"/>
                </a:cubicBezTo>
                <a:cubicBezTo>
                  <a:pt x="1526953" y="984853"/>
                  <a:pt x="1526850" y="984388"/>
                  <a:pt x="1527057" y="983924"/>
                </a:cubicBezTo>
                <a:cubicBezTo>
                  <a:pt x="1527263" y="983459"/>
                  <a:pt x="1527676" y="982995"/>
                  <a:pt x="1528089" y="982375"/>
                </a:cubicBezTo>
                <a:cubicBezTo>
                  <a:pt x="1528915" y="981445"/>
                  <a:pt x="1529741" y="980516"/>
                  <a:pt x="1530567" y="979587"/>
                </a:cubicBezTo>
                <a:close/>
                <a:moveTo>
                  <a:pt x="3218796" y="979522"/>
                </a:moveTo>
                <a:cubicBezTo>
                  <a:pt x="3219224" y="979237"/>
                  <a:pt x="3219650" y="979379"/>
                  <a:pt x="3220291" y="979664"/>
                </a:cubicBezTo>
                <a:cubicBezTo>
                  <a:pt x="3219224" y="981940"/>
                  <a:pt x="3218156" y="983078"/>
                  <a:pt x="3215809" y="983078"/>
                </a:cubicBezTo>
                <a:cubicBezTo>
                  <a:pt x="3216662" y="982224"/>
                  <a:pt x="3217516" y="979948"/>
                  <a:pt x="3218796" y="979522"/>
                </a:cubicBezTo>
                <a:close/>
                <a:moveTo>
                  <a:pt x="1516318" y="978502"/>
                </a:moveTo>
                <a:cubicBezTo>
                  <a:pt x="1520861" y="977108"/>
                  <a:pt x="1524991" y="982530"/>
                  <a:pt x="1523959" y="986247"/>
                </a:cubicBezTo>
                <a:cubicBezTo>
                  <a:pt x="1523649" y="987641"/>
                  <a:pt x="1522720" y="988726"/>
                  <a:pt x="1521068" y="989345"/>
                </a:cubicBezTo>
                <a:cubicBezTo>
                  <a:pt x="1515698" y="988416"/>
                  <a:pt x="1517970" y="983459"/>
                  <a:pt x="1516318" y="978502"/>
                </a:cubicBezTo>
                <a:close/>
                <a:moveTo>
                  <a:pt x="4864049" y="978099"/>
                </a:moveTo>
                <a:cubicBezTo>
                  <a:pt x="4865116" y="977957"/>
                  <a:pt x="4865970" y="978241"/>
                  <a:pt x="4866824" y="978810"/>
                </a:cubicBezTo>
                <a:cubicBezTo>
                  <a:pt x="4868958" y="980090"/>
                  <a:pt x="4867464" y="982509"/>
                  <a:pt x="4865116" y="984928"/>
                </a:cubicBezTo>
                <a:cubicBezTo>
                  <a:pt x="4861061" y="990903"/>
                  <a:pt x="4857433" y="992041"/>
                  <a:pt x="4854445" y="988342"/>
                </a:cubicBezTo>
                <a:cubicBezTo>
                  <a:pt x="4854445" y="987204"/>
                  <a:pt x="4855940" y="983505"/>
                  <a:pt x="4854873" y="983505"/>
                </a:cubicBezTo>
                <a:cubicBezTo>
                  <a:pt x="4857647" y="980802"/>
                  <a:pt x="4861275" y="978099"/>
                  <a:pt x="4864049" y="978099"/>
                </a:cubicBezTo>
                <a:close/>
                <a:moveTo>
                  <a:pt x="1331076" y="977263"/>
                </a:moveTo>
                <a:cubicBezTo>
                  <a:pt x="1336136" y="973391"/>
                  <a:pt x="1339853" y="980051"/>
                  <a:pt x="1338407" y="982995"/>
                </a:cubicBezTo>
                <a:cubicBezTo>
                  <a:pt x="1334484" y="984698"/>
                  <a:pt x="1330457" y="980671"/>
                  <a:pt x="1331076" y="977263"/>
                </a:cubicBezTo>
                <a:close/>
                <a:moveTo>
                  <a:pt x="3485144" y="976249"/>
                </a:moveTo>
                <a:cubicBezTo>
                  <a:pt x="3486211" y="977672"/>
                  <a:pt x="3486852" y="978383"/>
                  <a:pt x="3487065" y="979237"/>
                </a:cubicBezTo>
                <a:cubicBezTo>
                  <a:pt x="3487492" y="979948"/>
                  <a:pt x="3487705" y="980802"/>
                  <a:pt x="3487919" y="982367"/>
                </a:cubicBezTo>
                <a:cubicBezTo>
                  <a:pt x="3486852" y="981798"/>
                  <a:pt x="3484291" y="981513"/>
                  <a:pt x="3484078" y="979948"/>
                </a:cubicBezTo>
                <a:cubicBezTo>
                  <a:pt x="3483864" y="978241"/>
                  <a:pt x="3483864" y="978383"/>
                  <a:pt x="3485144" y="976249"/>
                </a:cubicBezTo>
                <a:close/>
                <a:moveTo>
                  <a:pt x="1209543" y="975714"/>
                </a:moveTo>
                <a:cubicBezTo>
                  <a:pt x="1214397" y="974010"/>
                  <a:pt x="1217494" y="976489"/>
                  <a:pt x="1218321" y="979587"/>
                </a:cubicBezTo>
                <a:cubicBezTo>
                  <a:pt x="1219146" y="982684"/>
                  <a:pt x="1217598" y="986402"/>
                  <a:pt x="1212951" y="987331"/>
                </a:cubicBezTo>
                <a:cubicBezTo>
                  <a:pt x="1209750" y="985318"/>
                  <a:pt x="1208098" y="982995"/>
                  <a:pt x="1206756" y="981445"/>
                </a:cubicBezTo>
                <a:cubicBezTo>
                  <a:pt x="1207995" y="979431"/>
                  <a:pt x="1208408" y="977728"/>
                  <a:pt x="1209543" y="975714"/>
                </a:cubicBezTo>
                <a:close/>
                <a:moveTo>
                  <a:pt x="3902380" y="975253"/>
                </a:moveTo>
                <a:cubicBezTo>
                  <a:pt x="3903234" y="975111"/>
                  <a:pt x="3904301" y="975111"/>
                  <a:pt x="3905368" y="975253"/>
                </a:cubicBezTo>
                <a:cubicBezTo>
                  <a:pt x="3906435" y="975538"/>
                  <a:pt x="3907716" y="975965"/>
                  <a:pt x="3908996" y="976818"/>
                </a:cubicBezTo>
                <a:cubicBezTo>
                  <a:pt x="3910277" y="977957"/>
                  <a:pt x="3913051" y="981371"/>
                  <a:pt x="3911984" y="981371"/>
                </a:cubicBezTo>
                <a:cubicBezTo>
                  <a:pt x="3910917" y="982651"/>
                  <a:pt x="3911984" y="982651"/>
                  <a:pt x="3912197" y="983932"/>
                </a:cubicBezTo>
                <a:cubicBezTo>
                  <a:pt x="3909423" y="987773"/>
                  <a:pt x="3906222" y="989053"/>
                  <a:pt x="3902380" y="986777"/>
                </a:cubicBezTo>
                <a:cubicBezTo>
                  <a:pt x="3899819" y="984643"/>
                  <a:pt x="3895978" y="981229"/>
                  <a:pt x="3897685" y="977387"/>
                </a:cubicBezTo>
                <a:cubicBezTo>
                  <a:pt x="3898752" y="977387"/>
                  <a:pt x="3898538" y="976107"/>
                  <a:pt x="3899819" y="976107"/>
                </a:cubicBezTo>
                <a:cubicBezTo>
                  <a:pt x="3899819" y="976107"/>
                  <a:pt x="3900673" y="975395"/>
                  <a:pt x="3902380" y="975253"/>
                </a:cubicBezTo>
                <a:close/>
                <a:moveTo>
                  <a:pt x="3815731" y="973831"/>
                </a:moveTo>
                <a:cubicBezTo>
                  <a:pt x="3815945" y="973973"/>
                  <a:pt x="3815731" y="974258"/>
                  <a:pt x="3815305" y="974827"/>
                </a:cubicBezTo>
                <a:cubicBezTo>
                  <a:pt x="3816585" y="976961"/>
                  <a:pt x="3815731" y="976392"/>
                  <a:pt x="3815945" y="977957"/>
                </a:cubicBezTo>
                <a:cubicBezTo>
                  <a:pt x="3816158" y="979522"/>
                  <a:pt x="3819573" y="984643"/>
                  <a:pt x="3821067" y="984216"/>
                </a:cubicBezTo>
                <a:cubicBezTo>
                  <a:pt x="3820427" y="985354"/>
                  <a:pt x="3820640" y="986919"/>
                  <a:pt x="3820640" y="986919"/>
                </a:cubicBezTo>
                <a:cubicBezTo>
                  <a:pt x="3819146" y="987346"/>
                  <a:pt x="3818293" y="986777"/>
                  <a:pt x="3817226" y="986066"/>
                </a:cubicBezTo>
                <a:cubicBezTo>
                  <a:pt x="3817012" y="984501"/>
                  <a:pt x="3817652" y="983505"/>
                  <a:pt x="3817439" y="981940"/>
                </a:cubicBezTo>
                <a:cubicBezTo>
                  <a:pt x="3816372" y="981229"/>
                  <a:pt x="3814665" y="980090"/>
                  <a:pt x="3814238" y="978383"/>
                </a:cubicBezTo>
                <a:cubicBezTo>
                  <a:pt x="3814024" y="976818"/>
                  <a:pt x="3814451" y="974115"/>
                  <a:pt x="3814451" y="974115"/>
                </a:cubicBezTo>
                <a:cubicBezTo>
                  <a:pt x="3815305" y="973973"/>
                  <a:pt x="3815731" y="973831"/>
                  <a:pt x="3815731" y="973831"/>
                </a:cubicBezTo>
                <a:close/>
                <a:moveTo>
                  <a:pt x="3539993" y="973262"/>
                </a:moveTo>
                <a:cubicBezTo>
                  <a:pt x="3541914" y="973262"/>
                  <a:pt x="3543835" y="973688"/>
                  <a:pt x="3544475" y="974827"/>
                </a:cubicBezTo>
                <a:cubicBezTo>
                  <a:pt x="3542128" y="976107"/>
                  <a:pt x="3540420" y="976534"/>
                  <a:pt x="3538926" y="976961"/>
                </a:cubicBezTo>
                <a:cubicBezTo>
                  <a:pt x="3536578" y="978383"/>
                  <a:pt x="3535725" y="977814"/>
                  <a:pt x="3535085" y="974542"/>
                </a:cubicBezTo>
                <a:cubicBezTo>
                  <a:pt x="3536152" y="973831"/>
                  <a:pt x="3538073" y="973262"/>
                  <a:pt x="3539993" y="973262"/>
                </a:cubicBezTo>
                <a:close/>
                <a:moveTo>
                  <a:pt x="4042383" y="972835"/>
                </a:moveTo>
                <a:cubicBezTo>
                  <a:pt x="4042383" y="974115"/>
                  <a:pt x="4042170" y="976392"/>
                  <a:pt x="4044304" y="977672"/>
                </a:cubicBezTo>
                <a:cubicBezTo>
                  <a:pt x="4041743" y="980090"/>
                  <a:pt x="4039182" y="982367"/>
                  <a:pt x="4037261" y="979948"/>
                </a:cubicBezTo>
                <a:cubicBezTo>
                  <a:pt x="4036194" y="978810"/>
                  <a:pt x="4035127" y="977530"/>
                  <a:pt x="4035341" y="975111"/>
                </a:cubicBezTo>
                <a:cubicBezTo>
                  <a:pt x="4037901" y="972693"/>
                  <a:pt x="4041103" y="974115"/>
                  <a:pt x="4042383" y="972835"/>
                </a:cubicBezTo>
                <a:close/>
                <a:moveTo>
                  <a:pt x="1263443" y="972771"/>
                </a:moveTo>
                <a:cubicBezTo>
                  <a:pt x="1264992" y="972151"/>
                  <a:pt x="1266851" y="972306"/>
                  <a:pt x="1268606" y="972771"/>
                </a:cubicBezTo>
                <a:lnTo>
                  <a:pt x="1270671" y="974165"/>
                </a:lnTo>
                <a:lnTo>
                  <a:pt x="1271807" y="973701"/>
                </a:lnTo>
                <a:cubicBezTo>
                  <a:pt x="1278725" y="979122"/>
                  <a:pt x="1274079" y="983769"/>
                  <a:pt x="1269019" y="982839"/>
                </a:cubicBezTo>
                <a:cubicBezTo>
                  <a:pt x="1267264" y="982530"/>
                  <a:pt x="1265508" y="981600"/>
                  <a:pt x="1264166" y="979896"/>
                </a:cubicBezTo>
                <a:cubicBezTo>
                  <a:pt x="1264166" y="979277"/>
                  <a:pt x="1264476" y="978502"/>
                  <a:pt x="1264992" y="977728"/>
                </a:cubicBezTo>
                <a:lnTo>
                  <a:pt x="1265199" y="977573"/>
                </a:lnTo>
                <a:lnTo>
                  <a:pt x="1260965" y="974630"/>
                </a:lnTo>
                <a:cubicBezTo>
                  <a:pt x="1261585" y="973701"/>
                  <a:pt x="1262411" y="973081"/>
                  <a:pt x="1263443" y="972771"/>
                </a:cubicBezTo>
                <a:close/>
                <a:moveTo>
                  <a:pt x="3548530" y="972693"/>
                </a:moveTo>
                <a:cubicBezTo>
                  <a:pt x="3547890" y="973688"/>
                  <a:pt x="3548743" y="974258"/>
                  <a:pt x="3548743" y="974258"/>
                </a:cubicBezTo>
                <a:cubicBezTo>
                  <a:pt x="3548743" y="974258"/>
                  <a:pt x="3548743" y="974400"/>
                  <a:pt x="3549384" y="973404"/>
                </a:cubicBezTo>
                <a:cubicBezTo>
                  <a:pt x="3549384" y="974115"/>
                  <a:pt x="3549170" y="974685"/>
                  <a:pt x="3548743" y="974969"/>
                </a:cubicBezTo>
                <a:cubicBezTo>
                  <a:pt x="3548530" y="975253"/>
                  <a:pt x="3548103" y="975395"/>
                  <a:pt x="3548103" y="975395"/>
                </a:cubicBezTo>
                <a:cubicBezTo>
                  <a:pt x="3546396" y="975822"/>
                  <a:pt x="3544902" y="976249"/>
                  <a:pt x="3544475" y="974542"/>
                </a:cubicBezTo>
                <a:cubicBezTo>
                  <a:pt x="3544475" y="974542"/>
                  <a:pt x="3545329" y="973546"/>
                  <a:pt x="3548530" y="972693"/>
                </a:cubicBezTo>
                <a:close/>
                <a:moveTo>
                  <a:pt x="1026470" y="972151"/>
                </a:moveTo>
                <a:cubicBezTo>
                  <a:pt x="1029259" y="970138"/>
                  <a:pt x="1035557" y="973236"/>
                  <a:pt x="1036280" y="976798"/>
                </a:cubicBezTo>
                <a:cubicBezTo>
                  <a:pt x="1031220" y="974010"/>
                  <a:pt x="1027606" y="976334"/>
                  <a:pt x="1026470" y="972151"/>
                </a:cubicBezTo>
                <a:close/>
                <a:moveTo>
                  <a:pt x="1482140" y="971996"/>
                </a:moveTo>
                <a:cubicBezTo>
                  <a:pt x="1484825" y="973391"/>
                  <a:pt x="1483895" y="974320"/>
                  <a:pt x="1482346" y="976334"/>
                </a:cubicBezTo>
                <a:cubicBezTo>
                  <a:pt x="1481521" y="976024"/>
                  <a:pt x="1480901" y="975559"/>
                  <a:pt x="1480591" y="974940"/>
                </a:cubicBezTo>
                <a:cubicBezTo>
                  <a:pt x="1480385" y="974475"/>
                  <a:pt x="1480591" y="973546"/>
                  <a:pt x="1481314" y="972151"/>
                </a:cubicBezTo>
                <a:cubicBezTo>
                  <a:pt x="1481314" y="972151"/>
                  <a:pt x="1482140" y="971996"/>
                  <a:pt x="1482140" y="971996"/>
                </a:cubicBezTo>
                <a:close/>
                <a:moveTo>
                  <a:pt x="1453641" y="971996"/>
                </a:moveTo>
                <a:cubicBezTo>
                  <a:pt x="1454570" y="972771"/>
                  <a:pt x="1453641" y="972771"/>
                  <a:pt x="1453538" y="973391"/>
                </a:cubicBezTo>
                <a:cubicBezTo>
                  <a:pt x="1453125" y="973081"/>
                  <a:pt x="1452815" y="972926"/>
                  <a:pt x="1452815" y="972771"/>
                </a:cubicBezTo>
                <a:cubicBezTo>
                  <a:pt x="1452919" y="972616"/>
                  <a:pt x="1453125" y="972462"/>
                  <a:pt x="1453641" y="971996"/>
                </a:cubicBezTo>
                <a:close/>
                <a:moveTo>
                  <a:pt x="4499528" y="971839"/>
                </a:moveTo>
                <a:cubicBezTo>
                  <a:pt x="4500382" y="971981"/>
                  <a:pt x="4501449" y="972693"/>
                  <a:pt x="4502516" y="973831"/>
                </a:cubicBezTo>
                <a:cubicBezTo>
                  <a:pt x="4503156" y="973831"/>
                  <a:pt x="4503583" y="975111"/>
                  <a:pt x="4503583" y="976392"/>
                </a:cubicBezTo>
                <a:cubicBezTo>
                  <a:pt x="4503797" y="977814"/>
                  <a:pt x="4503583" y="979237"/>
                  <a:pt x="4502943" y="979806"/>
                </a:cubicBezTo>
                <a:cubicBezTo>
                  <a:pt x="4500382" y="983363"/>
                  <a:pt x="4497181" y="980944"/>
                  <a:pt x="4492912" y="979664"/>
                </a:cubicBezTo>
                <a:cubicBezTo>
                  <a:pt x="4493980" y="978526"/>
                  <a:pt x="4493126" y="977245"/>
                  <a:pt x="4492059" y="976107"/>
                </a:cubicBezTo>
                <a:cubicBezTo>
                  <a:pt x="4493980" y="974258"/>
                  <a:pt x="4496540" y="971270"/>
                  <a:pt x="4499528" y="971839"/>
                </a:cubicBezTo>
                <a:close/>
                <a:moveTo>
                  <a:pt x="3367977" y="969990"/>
                </a:moveTo>
                <a:cubicBezTo>
                  <a:pt x="3368830" y="972123"/>
                  <a:pt x="3370538" y="973688"/>
                  <a:pt x="3371392" y="975822"/>
                </a:cubicBezTo>
                <a:lnTo>
                  <a:pt x="3371178" y="976818"/>
                </a:lnTo>
                <a:lnTo>
                  <a:pt x="3371818" y="975965"/>
                </a:lnTo>
                <a:cubicBezTo>
                  <a:pt x="3374806" y="976961"/>
                  <a:pt x="3376941" y="978810"/>
                  <a:pt x="3378221" y="981229"/>
                </a:cubicBezTo>
                <a:cubicBezTo>
                  <a:pt x="3379501" y="983505"/>
                  <a:pt x="3379928" y="986635"/>
                  <a:pt x="3378648" y="990334"/>
                </a:cubicBezTo>
                <a:cubicBezTo>
                  <a:pt x="3373953" y="994033"/>
                  <a:pt x="3368190" y="989196"/>
                  <a:pt x="3364775" y="987062"/>
                </a:cubicBezTo>
                <a:lnTo>
                  <a:pt x="3365842" y="984928"/>
                </a:lnTo>
                <a:lnTo>
                  <a:pt x="3363282" y="985212"/>
                </a:lnTo>
                <a:cubicBezTo>
                  <a:pt x="3362001" y="984928"/>
                  <a:pt x="3360934" y="984785"/>
                  <a:pt x="3359440" y="984501"/>
                </a:cubicBezTo>
                <a:cubicBezTo>
                  <a:pt x="3359654" y="981798"/>
                  <a:pt x="3357306" y="979094"/>
                  <a:pt x="3358586" y="975822"/>
                </a:cubicBezTo>
                <a:cubicBezTo>
                  <a:pt x="3358586" y="975822"/>
                  <a:pt x="3359227" y="974258"/>
                  <a:pt x="3361361" y="973120"/>
                </a:cubicBezTo>
                <a:cubicBezTo>
                  <a:pt x="3363709" y="969420"/>
                  <a:pt x="3368190" y="970985"/>
                  <a:pt x="3368190" y="970985"/>
                </a:cubicBezTo>
                <a:cubicBezTo>
                  <a:pt x="3368190" y="970985"/>
                  <a:pt x="3368404" y="970985"/>
                  <a:pt x="3367977" y="969990"/>
                </a:cubicBezTo>
                <a:close/>
                <a:moveTo>
                  <a:pt x="3848385" y="969136"/>
                </a:moveTo>
                <a:cubicBezTo>
                  <a:pt x="3849665" y="968851"/>
                  <a:pt x="3851159" y="968851"/>
                  <a:pt x="3852440" y="969278"/>
                </a:cubicBezTo>
                <a:cubicBezTo>
                  <a:pt x="3854147" y="969847"/>
                  <a:pt x="3855855" y="971128"/>
                  <a:pt x="3856922" y="973546"/>
                </a:cubicBezTo>
                <a:cubicBezTo>
                  <a:pt x="3856068" y="978383"/>
                  <a:pt x="3848171" y="984928"/>
                  <a:pt x="3844543" y="985924"/>
                </a:cubicBezTo>
                <a:cubicBezTo>
                  <a:pt x="3841342" y="983789"/>
                  <a:pt x="3840275" y="981086"/>
                  <a:pt x="3840275" y="978526"/>
                </a:cubicBezTo>
                <a:cubicBezTo>
                  <a:pt x="3840488" y="974258"/>
                  <a:pt x="3844330" y="970274"/>
                  <a:pt x="3848385" y="969136"/>
                </a:cubicBezTo>
                <a:close/>
                <a:moveTo>
                  <a:pt x="5054206" y="968425"/>
                </a:moveTo>
                <a:cubicBezTo>
                  <a:pt x="5055274" y="968282"/>
                  <a:pt x="5056554" y="968709"/>
                  <a:pt x="5057408" y="969278"/>
                </a:cubicBezTo>
                <a:cubicBezTo>
                  <a:pt x="5059542" y="977957"/>
                  <a:pt x="5049511" y="979379"/>
                  <a:pt x="5046737" y="975965"/>
                </a:cubicBezTo>
                <a:cubicBezTo>
                  <a:pt x="5046737" y="971412"/>
                  <a:pt x="5050578" y="968425"/>
                  <a:pt x="5054206" y="968425"/>
                </a:cubicBezTo>
                <a:close/>
                <a:moveTo>
                  <a:pt x="4172996" y="968425"/>
                </a:moveTo>
                <a:cubicBezTo>
                  <a:pt x="4177264" y="968425"/>
                  <a:pt x="4183454" y="970843"/>
                  <a:pt x="4183454" y="971839"/>
                </a:cubicBezTo>
                <a:cubicBezTo>
                  <a:pt x="4184521" y="971839"/>
                  <a:pt x="4184521" y="973120"/>
                  <a:pt x="4185588" y="973120"/>
                </a:cubicBezTo>
                <a:cubicBezTo>
                  <a:pt x="4185588" y="973120"/>
                  <a:pt x="4186655" y="973120"/>
                  <a:pt x="4187722" y="974258"/>
                </a:cubicBezTo>
                <a:cubicBezTo>
                  <a:pt x="4188362" y="974969"/>
                  <a:pt x="4188789" y="975538"/>
                  <a:pt x="4189002" y="976392"/>
                </a:cubicBezTo>
                <a:cubicBezTo>
                  <a:pt x="4189216" y="977103"/>
                  <a:pt x="4189216" y="977957"/>
                  <a:pt x="4188576" y="979237"/>
                </a:cubicBezTo>
                <a:cubicBezTo>
                  <a:pt x="4179612" y="975395"/>
                  <a:pt x="4174917" y="975395"/>
                  <a:pt x="4168301" y="971554"/>
                </a:cubicBezTo>
                <a:cubicBezTo>
                  <a:pt x="4168515" y="970274"/>
                  <a:pt x="4169581" y="970416"/>
                  <a:pt x="4169795" y="969136"/>
                </a:cubicBezTo>
                <a:cubicBezTo>
                  <a:pt x="4170435" y="968567"/>
                  <a:pt x="4171502" y="968282"/>
                  <a:pt x="4172996" y="968425"/>
                </a:cubicBezTo>
                <a:close/>
                <a:moveTo>
                  <a:pt x="1222864" y="967505"/>
                </a:moveTo>
                <a:cubicBezTo>
                  <a:pt x="1225548" y="969518"/>
                  <a:pt x="1224826" y="972151"/>
                  <a:pt x="1224103" y="974785"/>
                </a:cubicBezTo>
                <a:cubicBezTo>
                  <a:pt x="1223380" y="976489"/>
                  <a:pt x="1223483" y="977418"/>
                  <a:pt x="1224412" y="978812"/>
                </a:cubicBezTo>
                <a:cubicBezTo>
                  <a:pt x="1224412" y="978812"/>
                  <a:pt x="1224412" y="978967"/>
                  <a:pt x="1222760" y="980826"/>
                </a:cubicBezTo>
                <a:lnTo>
                  <a:pt x="1221831" y="980981"/>
                </a:lnTo>
                <a:cubicBezTo>
                  <a:pt x="1221418" y="980826"/>
                  <a:pt x="1221211" y="980206"/>
                  <a:pt x="1221108" y="979277"/>
                </a:cubicBezTo>
                <a:cubicBezTo>
                  <a:pt x="1220902" y="977883"/>
                  <a:pt x="1220902" y="976024"/>
                  <a:pt x="1221005" y="974320"/>
                </a:cubicBezTo>
                <a:cubicBezTo>
                  <a:pt x="1221108" y="972771"/>
                  <a:pt x="1221315" y="971377"/>
                  <a:pt x="1221315" y="971067"/>
                </a:cubicBezTo>
                <a:cubicBezTo>
                  <a:pt x="1221315" y="971067"/>
                  <a:pt x="1221315" y="970138"/>
                  <a:pt x="1221211" y="969363"/>
                </a:cubicBezTo>
                <a:cubicBezTo>
                  <a:pt x="1222037" y="968434"/>
                  <a:pt x="1222864" y="968279"/>
                  <a:pt x="1222864" y="967505"/>
                </a:cubicBezTo>
                <a:close/>
                <a:moveTo>
                  <a:pt x="3967473" y="966291"/>
                </a:moveTo>
                <a:cubicBezTo>
                  <a:pt x="3970675" y="965295"/>
                  <a:pt x="3975156" y="966717"/>
                  <a:pt x="3976010" y="971696"/>
                </a:cubicBezTo>
                <a:cubicBezTo>
                  <a:pt x="3977504" y="975538"/>
                  <a:pt x="3974730" y="979664"/>
                  <a:pt x="3975583" y="984643"/>
                </a:cubicBezTo>
                <a:cubicBezTo>
                  <a:pt x="3972808" y="985781"/>
                  <a:pt x="3971101" y="986493"/>
                  <a:pt x="3969607" y="986351"/>
                </a:cubicBezTo>
                <a:lnTo>
                  <a:pt x="3968967" y="985781"/>
                </a:lnTo>
                <a:lnTo>
                  <a:pt x="3957442" y="979806"/>
                </a:lnTo>
                <a:cubicBezTo>
                  <a:pt x="3956375" y="978668"/>
                  <a:pt x="3954668" y="973831"/>
                  <a:pt x="3955949" y="972693"/>
                </a:cubicBezTo>
                <a:cubicBezTo>
                  <a:pt x="3957229" y="971412"/>
                  <a:pt x="3958296" y="971412"/>
                  <a:pt x="3959363" y="971412"/>
                </a:cubicBezTo>
                <a:lnTo>
                  <a:pt x="3964699" y="974542"/>
                </a:lnTo>
                <a:lnTo>
                  <a:pt x="3964699" y="971981"/>
                </a:lnTo>
                <a:cubicBezTo>
                  <a:pt x="3965339" y="969136"/>
                  <a:pt x="3966406" y="967001"/>
                  <a:pt x="3967473" y="966291"/>
                </a:cubicBezTo>
                <a:close/>
                <a:moveTo>
                  <a:pt x="1112276" y="966111"/>
                </a:moveTo>
                <a:cubicBezTo>
                  <a:pt x="1113929" y="967970"/>
                  <a:pt x="1115684" y="969828"/>
                  <a:pt x="1113929" y="971377"/>
                </a:cubicBezTo>
                <a:cubicBezTo>
                  <a:pt x="1113102" y="972151"/>
                  <a:pt x="1112173" y="972926"/>
                  <a:pt x="1110418" y="972771"/>
                </a:cubicBezTo>
                <a:cubicBezTo>
                  <a:pt x="1108662" y="970912"/>
                  <a:pt x="1109592" y="968434"/>
                  <a:pt x="1108766" y="967505"/>
                </a:cubicBezTo>
                <a:cubicBezTo>
                  <a:pt x="1109695" y="967660"/>
                  <a:pt x="1111347" y="967815"/>
                  <a:pt x="1112276" y="966111"/>
                </a:cubicBezTo>
                <a:close/>
                <a:moveTo>
                  <a:pt x="3812103" y="965295"/>
                </a:moveTo>
                <a:cubicBezTo>
                  <a:pt x="3812317" y="966859"/>
                  <a:pt x="3815091" y="973120"/>
                  <a:pt x="3813384" y="973546"/>
                </a:cubicBezTo>
                <a:cubicBezTo>
                  <a:pt x="3813384" y="973546"/>
                  <a:pt x="3813170" y="971839"/>
                  <a:pt x="3812743" y="970274"/>
                </a:cubicBezTo>
                <a:cubicBezTo>
                  <a:pt x="3812530" y="968567"/>
                  <a:pt x="3812530" y="968567"/>
                  <a:pt x="3811036" y="968993"/>
                </a:cubicBezTo>
                <a:cubicBezTo>
                  <a:pt x="3810610" y="967286"/>
                  <a:pt x="3810610" y="967286"/>
                  <a:pt x="3812103" y="965295"/>
                </a:cubicBezTo>
                <a:close/>
                <a:moveTo>
                  <a:pt x="3782865" y="965152"/>
                </a:moveTo>
                <a:cubicBezTo>
                  <a:pt x="3784359" y="966433"/>
                  <a:pt x="3785213" y="968425"/>
                  <a:pt x="3785640" y="970701"/>
                </a:cubicBezTo>
                <a:cubicBezTo>
                  <a:pt x="3786920" y="977387"/>
                  <a:pt x="3784145" y="986919"/>
                  <a:pt x="3780090" y="990476"/>
                </a:cubicBezTo>
                <a:cubicBezTo>
                  <a:pt x="3774755" y="991045"/>
                  <a:pt x="3771340" y="989765"/>
                  <a:pt x="3769419" y="987488"/>
                </a:cubicBezTo>
                <a:cubicBezTo>
                  <a:pt x="3763443" y="980517"/>
                  <a:pt x="3770914" y="964583"/>
                  <a:pt x="3782865" y="965152"/>
                </a:cubicBezTo>
                <a:close/>
                <a:moveTo>
                  <a:pt x="1318272" y="964252"/>
                </a:moveTo>
                <a:cubicBezTo>
                  <a:pt x="1318272" y="964252"/>
                  <a:pt x="1318272" y="964252"/>
                  <a:pt x="1318169" y="965181"/>
                </a:cubicBezTo>
                <a:cubicBezTo>
                  <a:pt x="1318169" y="965181"/>
                  <a:pt x="1318272" y="964252"/>
                  <a:pt x="1319098" y="964252"/>
                </a:cubicBezTo>
                <a:cubicBezTo>
                  <a:pt x="1321473" y="968434"/>
                  <a:pt x="1320337" y="975250"/>
                  <a:pt x="1320234" y="976024"/>
                </a:cubicBezTo>
                <a:cubicBezTo>
                  <a:pt x="1319408" y="976024"/>
                  <a:pt x="1319408" y="976024"/>
                  <a:pt x="1319408" y="976024"/>
                </a:cubicBezTo>
                <a:cubicBezTo>
                  <a:pt x="1320131" y="973546"/>
                  <a:pt x="1318066" y="970603"/>
                  <a:pt x="1317860" y="967505"/>
                </a:cubicBezTo>
                <a:cubicBezTo>
                  <a:pt x="1317756" y="966420"/>
                  <a:pt x="1317756" y="965336"/>
                  <a:pt x="1318272" y="964252"/>
                </a:cubicBezTo>
                <a:close/>
                <a:moveTo>
                  <a:pt x="1312284" y="963787"/>
                </a:moveTo>
                <a:cubicBezTo>
                  <a:pt x="1312284" y="964717"/>
                  <a:pt x="1313110" y="964717"/>
                  <a:pt x="1312180" y="965646"/>
                </a:cubicBezTo>
                <a:cubicBezTo>
                  <a:pt x="1314762" y="967195"/>
                  <a:pt x="1317033" y="974630"/>
                  <a:pt x="1316001" y="978038"/>
                </a:cubicBezTo>
                <a:cubicBezTo>
                  <a:pt x="1308360" y="972462"/>
                  <a:pt x="1313006" y="967195"/>
                  <a:pt x="1308773" y="964097"/>
                </a:cubicBezTo>
                <a:cubicBezTo>
                  <a:pt x="1310528" y="963168"/>
                  <a:pt x="1310528" y="963013"/>
                  <a:pt x="1312284" y="963787"/>
                </a:cubicBezTo>
                <a:close/>
                <a:moveTo>
                  <a:pt x="4000767" y="963587"/>
                </a:moveTo>
                <a:cubicBezTo>
                  <a:pt x="4004821" y="964583"/>
                  <a:pt x="4010157" y="968567"/>
                  <a:pt x="4012504" y="971270"/>
                </a:cubicBezTo>
                <a:cubicBezTo>
                  <a:pt x="4008876" y="973546"/>
                  <a:pt x="4000340" y="967571"/>
                  <a:pt x="3997352" y="964014"/>
                </a:cubicBezTo>
                <a:cubicBezTo>
                  <a:pt x="3998205" y="963445"/>
                  <a:pt x="3999486" y="963302"/>
                  <a:pt x="4000767" y="963587"/>
                </a:cubicBezTo>
                <a:close/>
                <a:moveTo>
                  <a:pt x="3265536" y="963302"/>
                </a:moveTo>
                <a:cubicBezTo>
                  <a:pt x="3267670" y="962876"/>
                  <a:pt x="3270017" y="963445"/>
                  <a:pt x="3272151" y="965295"/>
                </a:cubicBezTo>
                <a:cubicBezTo>
                  <a:pt x="3271511" y="970701"/>
                  <a:pt x="3271511" y="976676"/>
                  <a:pt x="3268096" y="979237"/>
                </a:cubicBezTo>
                <a:lnTo>
                  <a:pt x="3267883" y="979237"/>
                </a:lnTo>
                <a:cubicBezTo>
                  <a:pt x="3265749" y="981371"/>
                  <a:pt x="3262548" y="982367"/>
                  <a:pt x="3259987" y="981656"/>
                </a:cubicBezTo>
                <a:cubicBezTo>
                  <a:pt x="3258066" y="981229"/>
                  <a:pt x="3256572" y="979948"/>
                  <a:pt x="3255718" y="977672"/>
                </a:cubicBezTo>
                <a:cubicBezTo>
                  <a:pt x="3256145" y="975822"/>
                  <a:pt x="3256785" y="974685"/>
                  <a:pt x="3257639" y="973973"/>
                </a:cubicBezTo>
                <a:lnTo>
                  <a:pt x="3258920" y="973404"/>
                </a:lnTo>
                <a:lnTo>
                  <a:pt x="3258706" y="969847"/>
                </a:lnTo>
                <a:cubicBezTo>
                  <a:pt x="3259560" y="966433"/>
                  <a:pt x="3262334" y="963872"/>
                  <a:pt x="3265536" y="963302"/>
                </a:cubicBezTo>
                <a:close/>
                <a:moveTo>
                  <a:pt x="3740394" y="962876"/>
                </a:moveTo>
                <a:cubicBezTo>
                  <a:pt x="3750425" y="969420"/>
                  <a:pt x="3747437" y="972123"/>
                  <a:pt x="3744663" y="977103"/>
                </a:cubicBezTo>
                <a:cubicBezTo>
                  <a:pt x="3742102" y="975965"/>
                  <a:pt x="3738901" y="977530"/>
                  <a:pt x="3736339" y="975253"/>
                </a:cubicBezTo>
                <a:cubicBezTo>
                  <a:pt x="3736339" y="975253"/>
                  <a:pt x="3735059" y="973973"/>
                  <a:pt x="3734632" y="971696"/>
                </a:cubicBezTo>
                <a:cubicBezTo>
                  <a:pt x="3731858" y="968140"/>
                  <a:pt x="3734845" y="964441"/>
                  <a:pt x="3734845" y="964441"/>
                </a:cubicBezTo>
                <a:cubicBezTo>
                  <a:pt x="3734845" y="964441"/>
                  <a:pt x="3734845" y="964441"/>
                  <a:pt x="3733565" y="964441"/>
                </a:cubicBezTo>
                <a:cubicBezTo>
                  <a:pt x="3735913" y="964299"/>
                  <a:pt x="3738047" y="963018"/>
                  <a:pt x="3740394" y="962876"/>
                </a:cubicBezTo>
                <a:close/>
                <a:moveTo>
                  <a:pt x="1484102" y="962703"/>
                </a:moveTo>
                <a:cubicBezTo>
                  <a:pt x="1485135" y="963323"/>
                  <a:pt x="1483482" y="966111"/>
                  <a:pt x="1483586" y="967040"/>
                </a:cubicBezTo>
                <a:cubicBezTo>
                  <a:pt x="1482656" y="967195"/>
                  <a:pt x="1481727" y="966420"/>
                  <a:pt x="1480901" y="966575"/>
                </a:cubicBezTo>
                <a:cubicBezTo>
                  <a:pt x="1480798" y="965646"/>
                  <a:pt x="1480694" y="963942"/>
                  <a:pt x="1481521" y="963013"/>
                </a:cubicBezTo>
                <a:cubicBezTo>
                  <a:pt x="1481417" y="962238"/>
                  <a:pt x="1484102" y="962703"/>
                  <a:pt x="1484102" y="962703"/>
                </a:cubicBezTo>
                <a:close/>
                <a:moveTo>
                  <a:pt x="1139691" y="961812"/>
                </a:moveTo>
                <a:cubicBezTo>
                  <a:pt x="1141291" y="961154"/>
                  <a:pt x="1143459" y="960844"/>
                  <a:pt x="1145731" y="962238"/>
                </a:cubicBezTo>
                <a:cubicBezTo>
                  <a:pt x="1144905" y="963168"/>
                  <a:pt x="1150378" y="967505"/>
                  <a:pt x="1148829" y="971067"/>
                </a:cubicBezTo>
                <a:cubicBezTo>
                  <a:pt x="1148106" y="972926"/>
                  <a:pt x="1147177" y="973855"/>
                  <a:pt x="1146454" y="975559"/>
                </a:cubicBezTo>
                <a:cubicBezTo>
                  <a:pt x="1143872" y="976024"/>
                  <a:pt x="1141498" y="978812"/>
                  <a:pt x="1136025" y="976179"/>
                </a:cubicBezTo>
                <a:cubicBezTo>
                  <a:pt x="1130656" y="972771"/>
                  <a:pt x="1134683" y="967195"/>
                  <a:pt x="1133857" y="967350"/>
                </a:cubicBezTo>
                <a:cubicBezTo>
                  <a:pt x="1132928" y="966575"/>
                  <a:pt x="1132824" y="966575"/>
                  <a:pt x="1131998" y="966730"/>
                </a:cubicBezTo>
                <a:cubicBezTo>
                  <a:pt x="1131998" y="965801"/>
                  <a:pt x="1130966" y="964252"/>
                  <a:pt x="1130036" y="963632"/>
                </a:cubicBezTo>
                <a:cubicBezTo>
                  <a:pt x="1130966" y="963477"/>
                  <a:pt x="1131792" y="963323"/>
                  <a:pt x="1131792" y="962548"/>
                </a:cubicBezTo>
                <a:cubicBezTo>
                  <a:pt x="1133547" y="963942"/>
                  <a:pt x="1133650" y="964717"/>
                  <a:pt x="1134476" y="965491"/>
                </a:cubicBezTo>
                <a:cubicBezTo>
                  <a:pt x="1134476" y="964562"/>
                  <a:pt x="1135405" y="965336"/>
                  <a:pt x="1135405" y="965336"/>
                </a:cubicBezTo>
                <a:cubicBezTo>
                  <a:pt x="1135405" y="965336"/>
                  <a:pt x="1135405" y="965336"/>
                  <a:pt x="1137058" y="963477"/>
                </a:cubicBezTo>
                <a:cubicBezTo>
                  <a:pt x="1137058" y="963477"/>
                  <a:pt x="1138090" y="962471"/>
                  <a:pt x="1139691" y="961812"/>
                </a:cubicBezTo>
                <a:close/>
                <a:moveTo>
                  <a:pt x="1252808" y="959915"/>
                </a:moveTo>
                <a:cubicBezTo>
                  <a:pt x="1260346" y="961773"/>
                  <a:pt x="1262101" y="976644"/>
                  <a:pt x="1255596" y="976953"/>
                </a:cubicBezTo>
                <a:cubicBezTo>
                  <a:pt x="1254666" y="977108"/>
                  <a:pt x="1253531" y="976798"/>
                  <a:pt x="1252292" y="976179"/>
                </a:cubicBezTo>
                <a:cubicBezTo>
                  <a:pt x="1251053" y="974785"/>
                  <a:pt x="1250020" y="973391"/>
                  <a:pt x="1249194" y="971996"/>
                </a:cubicBezTo>
                <a:lnTo>
                  <a:pt x="1247542" y="967970"/>
                </a:lnTo>
                <a:lnTo>
                  <a:pt x="1241346" y="968279"/>
                </a:lnTo>
                <a:cubicBezTo>
                  <a:pt x="1239075" y="968279"/>
                  <a:pt x="1237526" y="967815"/>
                  <a:pt x="1236390" y="965027"/>
                </a:cubicBezTo>
                <a:cubicBezTo>
                  <a:pt x="1237526" y="963632"/>
                  <a:pt x="1239488" y="963013"/>
                  <a:pt x="1241966" y="962703"/>
                </a:cubicBezTo>
                <a:lnTo>
                  <a:pt x="1248678" y="962548"/>
                </a:lnTo>
                <a:lnTo>
                  <a:pt x="1250124" y="960225"/>
                </a:lnTo>
                <a:cubicBezTo>
                  <a:pt x="1250949" y="961154"/>
                  <a:pt x="1251879" y="960534"/>
                  <a:pt x="1252808" y="959915"/>
                </a:cubicBezTo>
                <a:close/>
                <a:moveTo>
                  <a:pt x="4971400" y="959035"/>
                </a:moveTo>
                <a:cubicBezTo>
                  <a:pt x="4971400" y="960173"/>
                  <a:pt x="4971186" y="961454"/>
                  <a:pt x="4972253" y="961454"/>
                </a:cubicBezTo>
                <a:cubicBezTo>
                  <a:pt x="4969692" y="963729"/>
                  <a:pt x="4968625" y="963729"/>
                  <a:pt x="4967345" y="964868"/>
                </a:cubicBezTo>
                <a:cubicBezTo>
                  <a:pt x="4968412" y="964868"/>
                  <a:pt x="4967345" y="966006"/>
                  <a:pt x="4967345" y="966006"/>
                </a:cubicBezTo>
                <a:cubicBezTo>
                  <a:pt x="4967345" y="966006"/>
                  <a:pt x="4967131" y="966148"/>
                  <a:pt x="4969266" y="968567"/>
                </a:cubicBezTo>
                <a:cubicBezTo>
                  <a:pt x="4969266" y="968567"/>
                  <a:pt x="4973321" y="974542"/>
                  <a:pt x="4967985" y="980517"/>
                </a:cubicBezTo>
                <a:cubicBezTo>
                  <a:pt x="4966918" y="979237"/>
                  <a:pt x="4959448" y="986351"/>
                  <a:pt x="4954967" y="983789"/>
                </a:cubicBezTo>
                <a:cubicBezTo>
                  <a:pt x="4952832" y="982651"/>
                  <a:pt x="4951765" y="981371"/>
                  <a:pt x="4949631" y="980232"/>
                </a:cubicBezTo>
                <a:cubicBezTo>
                  <a:pt x="4949844" y="976534"/>
                  <a:pt x="4946856" y="972977"/>
                  <a:pt x="4952192" y="965864"/>
                </a:cubicBezTo>
                <a:cubicBezTo>
                  <a:pt x="4958595" y="958750"/>
                  <a:pt x="4964997" y="964868"/>
                  <a:pt x="4965210" y="963587"/>
                </a:cubicBezTo>
                <a:cubicBezTo>
                  <a:pt x="4966491" y="962449"/>
                  <a:pt x="4966491" y="962449"/>
                  <a:pt x="4966491" y="961311"/>
                </a:cubicBezTo>
                <a:cubicBezTo>
                  <a:pt x="4967771" y="961311"/>
                  <a:pt x="4970119" y="960173"/>
                  <a:pt x="4971400" y="959035"/>
                </a:cubicBezTo>
                <a:close/>
                <a:moveTo>
                  <a:pt x="3719266" y="956047"/>
                </a:moveTo>
                <a:cubicBezTo>
                  <a:pt x="3720547" y="956332"/>
                  <a:pt x="3721827" y="956759"/>
                  <a:pt x="3723321" y="957754"/>
                </a:cubicBezTo>
                <a:cubicBezTo>
                  <a:pt x="3720760" y="961880"/>
                  <a:pt x="3719052" y="965579"/>
                  <a:pt x="3717985" y="969420"/>
                </a:cubicBezTo>
                <a:lnTo>
                  <a:pt x="3716918" y="972550"/>
                </a:lnTo>
                <a:lnTo>
                  <a:pt x="3720547" y="971696"/>
                </a:lnTo>
                <a:cubicBezTo>
                  <a:pt x="3722680" y="971554"/>
                  <a:pt x="3725242" y="972266"/>
                  <a:pt x="3728016" y="974258"/>
                </a:cubicBezTo>
                <a:cubicBezTo>
                  <a:pt x="3734632" y="978668"/>
                  <a:pt x="3740181" y="985497"/>
                  <a:pt x="3733351" y="995598"/>
                </a:cubicBezTo>
                <a:cubicBezTo>
                  <a:pt x="3732711" y="998016"/>
                  <a:pt x="3732498" y="996736"/>
                  <a:pt x="3731431" y="998016"/>
                </a:cubicBezTo>
                <a:cubicBezTo>
                  <a:pt x="3730577" y="999297"/>
                  <a:pt x="3729723" y="1001715"/>
                  <a:pt x="3729937" y="1002996"/>
                </a:cubicBezTo>
                <a:cubicBezTo>
                  <a:pt x="3724815" y="999582"/>
                  <a:pt x="3722894" y="1003280"/>
                  <a:pt x="3715211" y="997732"/>
                </a:cubicBezTo>
                <a:cubicBezTo>
                  <a:pt x="3707528" y="992752"/>
                  <a:pt x="3706247" y="986777"/>
                  <a:pt x="3707314" y="982082"/>
                </a:cubicBezTo>
                <a:lnTo>
                  <a:pt x="3708595" y="978383"/>
                </a:lnTo>
                <a:lnTo>
                  <a:pt x="3705820" y="975965"/>
                </a:lnTo>
                <a:cubicBezTo>
                  <a:pt x="3714784" y="969278"/>
                  <a:pt x="3701979" y="964014"/>
                  <a:pt x="3708595" y="958323"/>
                </a:cubicBezTo>
                <a:cubicBezTo>
                  <a:pt x="3712009" y="957612"/>
                  <a:pt x="3715211" y="955478"/>
                  <a:pt x="3719266" y="956047"/>
                </a:cubicBezTo>
                <a:close/>
                <a:moveTo>
                  <a:pt x="1172759" y="953835"/>
                </a:moveTo>
                <a:cubicBezTo>
                  <a:pt x="1175753" y="954222"/>
                  <a:pt x="1178309" y="955035"/>
                  <a:pt x="1179290" y="956042"/>
                </a:cubicBezTo>
                <a:cubicBezTo>
                  <a:pt x="1176605" y="958366"/>
                  <a:pt x="1173197" y="957127"/>
                  <a:pt x="1169687" y="959295"/>
                </a:cubicBezTo>
                <a:cubicBezTo>
                  <a:pt x="1167105" y="957437"/>
                  <a:pt x="1162769" y="959450"/>
                  <a:pt x="1159258" y="956662"/>
                </a:cubicBezTo>
                <a:cubicBezTo>
                  <a:pt x="1160187" y="955423"/>
                  <a:pt x="1161736" y="954649"/>
                  <a:pt x="1163595" y="954183"/>
                </a:cubicBezTo>
                <a:cubicBezTo>
                  <a:pt x="1166331" y="953486"/>
                  <a:pt x="1169764" y="953448"/>
                  <a:pt x="1172759" y="953835"/>
                </a:cubicBezTo>
                <a:close/>
                <a:moveTo>
                  <a:pt x="3797164" y="953344"/>
                </a:moveTo>
                <a:cubicBezTo>
                  <a:pt x="3808475" y="956759"/>
                  <a:pt x="3818079" y="985212"/>
                  <a:pt x="3807195" y="991045"/>
                </a:cubicBezTo>
                <a:cubicBezTo>
                  <a:pt x="3804634" y="977245"/>
                  <a:pt x="3796951" y="969278"/>
                  <a:pt x="3797164" y="953344"/>
                </a:cubicBezTo>
                <a:close/>
                <a:moveTo>
                  <a:pt x="3343220" y="950072"/>
                </a:moveTo>
                <a:cubicBezTo>
                  <a:pt x="3344714" y="949930"/>
                  <a:pt x="3346421" y="950072"/>
                  <a:pt x="3347702" y="950356"/>
                </a:cubicBezTo>
                <a:cubicBezTo>
                  <a:pt x="3347275" y="951495"/>
                  <a:pt x="3354745" y="953202"/>
                  <a:pt x="3357092" y="959604"/>
                </a:cubicBezTo>
                <a:cubicBezTo>
                  <a:pt x="3357733" y="961738"/>
                  <a:pt x="3357946" y="964299"/>
                  <a:pt x="3356879" y="967713"/>
                </a:cubicBezTo>
                <a:cubicBezTo>
                  <a:pt x="3354745" y="975253"/>
                  <a:pt x="3350050" y="982651"/>
                  <a:pt x="3338525" y="979379"/>
                </a:cubicBezTo>
                <a:cubicBezTo>
                  <a:pt x="3335964" y="979379"/>
                  <a:pt x="3337031" y="978810"/>
                  <a:pt x="3335537" y="978383"/>
                </a:cubicBezTo>
                <a:cubicBezTo>
                  <a:pt x="3334043" y="977814"/>
                  <a:pt x="3331482" y="977672"/>
                  <a:pt x="3330415" y="978241"/>
                </a:cubicBezTo>
                <a:cubicBezTo>
                  <a:pt x="3331909" y="972266"/>
                  <a:pt x="3328067" y="971696"/>
                  <a:pt x="3330842" y="962592"/>
                </a:cubicBezTo>
                <a:cubicBezTo>
                  <a:pt x="3333190" y="953628"/>
                  <a:pt x="3338312" y="950641"/>
                  <a:pt x="3343220" y="950072"/>
                </a:cubicBezTo>
                <a:close/>
                <a:moveTo>
                  <a:pt x="1145215" y="949537"/>
                </a:moveTo>
                <a:cubicBezTo>
                  <a:pt x="1154405" y="948452"/>
                  <a:pt x="1156883" y="953099"/>
                  <a:pt x="1158019" y="952790"/>
                </a:cubicBezTo>
                <a:cubicBezTo>
                  <a:pt x="1159051" y="956352"/>
                  <a:pt x="1156573" y="956817"/>
                  <a:pt x="1153269" y="958675"/>
                </a:cubicBezTo>
                <a:cubicBezTo>
                  <a:pt x="1152959" y="957437"/>
                  <a:pt x="1149448" y="958056"/>
                  <a:pt x="1148209" y="958211"/>
                </a:cubicBezTo>
                <a:cubicBezTo>
                  <a:pt x="1147590" y="955887"/>
                  <a:pt x="1143253" y="956042"/>
                  <a:pt x="1142221" y="952480"/>
                </a:cubicBezTo>
                <a:cubicBezTo>
                  <a:pt x="1143150" y="951086"/>
                  <a:pt x="1143563" y="950311"/>
                  <a:pt x="1145215" y="949537"/>
                </a:cubicBezTo>
                <a:close/>
                <a:moveTo>
                  <a:pt x="3682558" y="949361"/>
                </a:moveTo>
                <a:cubicBezTo>
                  <a:pt x="3684265" y="950926"/>
                  <a:pt x="3685119" y="952775"/>
                  <a:pt x="3685332" y="954909"/>
                </a:cubicBezTo>
                <a:cubicBezTo>
                  <a:pt x="3686186" y="960884"/>
                  <a:pt x="3682344" y="968851"/>
                  <a:pt x="3682771" y="976534"/>
                </a:cubicBezTo>
                <a:cubicBezTo>
                  <a:pt x="3684691" y="980802"/>
                  <a:pt x="3690454" y="980232"/>
                  <a:pt x="3688534" y="989480"/>
                </a:cubicBezTo>
                <a:cubicBezTo>
                  <a:pt x="3674875" y="988342"/>
                  <a:pt x="3664630" y="984074"/>
                  <a:pt x="3657374" y="976818"/>
                </a:cubicBezTo>
                <a:cubicBezTo>
                  <a:pt x="3655026" y="974400"/>
                  <a:pt x="3653106" y="971696"/>
                  <a:pt x="3651398" y="968567"/>
                </a:cubicBezTo>
                <a:cubicBezTo>
                  <a:pt x="3658654" y="962164"/>
                  <a:pt x="3666764" y="968282"/>
                  <a:pt x="3673808" y="971128"/>
                </a:cubicBezTo>
                <a:cubicBezTo>
                  <a:pt x="3674661" y="962734"/>
                  <a:pt x="3673594" y="949930"/>
                  <a:pt x="3682558" y="949361"/>
                </a:cubicBezTo>
                <a:close/>
                <a:moveTo>
                  <a:pt x="3911557" y="948934"/>
                </a:moveTo>
                <a:cubicBezTo>
                  <a:pt x="3911984" y="949361"/>
                  <a:pt x="3912411" y="950214"/>
                  <a:pt x="3913051" y="952206"/>
                </a:cubicBezTo>
                <a:lnTo>
                  <a:pt x="3912197" y="956759"/>
                </a:lnTo>
                <a:lnTo>
                  <a:pt x="3912624" y="957897"/>
                </a:lnTo>
                <a:cubicBezTo>
                  <a:pt x="3912624" y="958892"/>
                  <a:pt x="3912197" y="960031"/>
                  <a:pt x="3910917" y="961311"/>
                </a:cubicBezTo>
                <a:lnTo>
                  <a:pt x="3909637" y="962022"/>
                </a:lnTo>
                <a:lnTo>
                  <a:pt x="3906862" y="966006"/>
                </a:lnTo>
                <a:lnTo>
                  <a:pt x="3905795" y="964156"/>
                </a:lnTo>
                <a:lnTo>
                  <a:pt x="3901526" y="963445"/>
                </a:lnTo>
                <a:cubicBezTo>
                  <a:pt x="3898966" y="964583"/>
                  <a:pt x="3897685" y="966859"/>
                  <a:pt x="3895337" y="965721"/>
                </a:cubicBezTo>
                <a:cubicBezTo>
                  <a:pt x="3899178" y="963445"/>
                  <a:pt x="3900459" y="962307"/>
                  <a:pt x="3902807" y="961169"/>
                </a:cubicBezTo>
                <a:lnTo>
                  <a:pt x="3903447" y="959604"/>
                </a:lnTo>
                <a:lnTo>
                  <a:pt x="3903447" y="959319"/>
                </a:lnTo>
                <a:lnTo>
                  <a:pt x="3903874" y="958892"/>
                </a:lnTo>
                <a:lnTo>
                  <a:pt x="3904301" y="957612"/>
                </a:lnTo>
                <a:lnTo>
                  <a:pt x="3904941" y="957470"/>
                </a:lnTo>
                <a:lnTo>
                  <a:pt x="3906435" y="954482"/>
                </a:lnTo>
                <a:cubicBezTo>
                  <a:pt x="3907502" y="951921"/>
                  <a:pt x="3908569" y="949361"/>
                  <a:pt x="3908569" y="949361"/>
                </a:cubicBezTo>
                <a:cubicBezTo>
                  <a:pt x="3910063" y="948934"/>
                  <a:pt x="3910917" y="948649"/>
                  <a:pt x="3911557" y="948934"/>
                </a:cubicBezTo>
                <a:close/>
                <a:moveTo>
                  <a:pt x="1418121" y="947368"/>
                </a:moveTo>
                <a:cubicBezTo>
                  <a:pt x="1424317" y="947523"/>
                  <a:pt x="1430615" y="956817"/>
                  <a:pt x="1430099" y="961619"/>
                </a:cubicBezTo>
                <a:lnTo>
                  <a:pt x="1427724" y="963323"/>
                </a:lnTo>
                <a:lnTo>
                  <a:pt x="1428240" y="964252"/>
                </a:lnTo>
                <a:lnTo>
                  <a:pt x="1429376" y="967970"/>
                </a:lnTo>
                <a:lnTo>
                  <a:pt x="1429789" y="967660"/>
                </a:lnTo>
                <a:cubicBezTo>
                  <a:pt x="1430512" y="967505"/>
                  <a:pt x="1431441" y="967815"/>
                  <a:pt x="1432164" y="968589"/>
                </a:cubicBezTo>
                <a:cubicBezTo>
                  <a:pt x="1434745" y="970138"/>
                  <a:pt x="1434539" y="972616"/>
                  <a:pt x="1433610" y="975250"/>
                </a:cubicBezTo>
                <a:cubicBezTo>
                  <a:pt x="1434332" y="976953"/>
                  <a:pt x="1436088" y="977728"/>
                  <a:pt x="1435159" y="979431"/>
                </a:cubicBezTo>
                <a:cubicBezTo>
                  <a:pt x="1433506" y="976953"/>
                  <a:pt x="1432680" y="976179"/>
                  <a:pt x="1431854" y="974475"/>
                </a:cubicBezTo>
                <a:cubicBezTo>
                  <a:pt x="1431028" y="974475"/>
                  <a:pt x="1430202" y="974475"/>
                  <a:pt x="1429376" y="973701"/>
                </a:cubicBezTo>
                <a:lnTo>
                  <a:pt x="1428757" y="972151"/>
                </a:lnTo>
                <a:lnTo>
                  <a:pt x="1427621" y="972462"/>
                </a:lnTo>
                <a:cubicBezTo>
                  <a:pt x="1426795" y="972771"/>
                  <a:pt x="1426072" y="973081"/>
                  <a:pt x="1425246" y="973701"/>
                </a:cubicBezTo>
                <a:cubicBezTo>
                  <a:pt x="1424730" y="971067"/>
                  <a:pt x="1423903" y="969208"/>
                  <a:pt x="1423181" y="967505"/>
                </a:cubicBezTo>
                <a:lnTo>
                  <a:pt x="1422768" y="964872"/>
                </a:lnTo>
                <a:lnTo>
                  <a:pt x="1422458" y="964872"/>
                </a:lnTo>
                <a:cubicBezTo>
                  <a:pt x="1420703" y="964562"/>
                  <a:pt x="1419154" y="963787"/>
                  <a:pt x="1417811" y="962393"/>
                </a:cubicBezTo>
                <a:lnTo>
                  <a:pt x="1416882" y="960999"/>
                </a:lnTo>
                <a:cubicBezTo>
                  <a:pt x="1414507" y="962858"/>
                  <a:pt x="1410170" y="962858"/>
                  <a:pt x="1406866" y="959140"/>
                </a:cubicBezTo>
                <a:cubicBezTo>
                  <a:pt x="1406969" y="955733"/>
                  <a:pt x="1408208" y="953409"/>
                  <a:pt x="1408931" y="951860"/>
                </a:cubicBezTo>
                <a:lnTo>
                  <a:pt x="1414920" y="952015"/>
                </a:lnTo>
                <a:close/>
                <a:moveTo>
                  <a:pt x="3546396" y="946657"/>
                </a:moveTo>
                <a:cubicBezTo>
                  <a:pt x="3547890" y="946800"/>
                  <a:pt x="3549170" y="947796"/>
                  <a:pt x="3550878" y="949076"/>
                </a:cubicBezTo>
                <a:cubicBezTo>
                  <a:pt x="3552585" y="950356"/>
                  <a:pt x="3553012" y="951779"/>
                  <a:pt x="3553225" y="953344"/>
                </a:cubicBezTo>
                <a:cubicBezTo>
                  <a:pt x="3553439" y="954909"/>
                  <a:pt x="3553652" y="956332"/>
                  <a:pt x="3554719" y="957612"/>
                </a:cubicBezTo>
                <a:cubicBezTo>
                  <a:pt x="3552372" y="958750"/>
                  <a:pt x="3548530" y="961169"/>
                  <a:pt x="3544048" y="957470"/>
                </a:cubicBezTo>
                <a:cubicBezTo>
                  <a:pt x="3542981" y="956189"/>
                  <a:pt x="3542981" y="956189"/>
                  <a:pt x="3543194" y="954909"/>
                </a:cubicBezTo>
                <a:cubicBezTo>
                  <a:pt x="3542341" y="952490"/>
                  <a:pt x="3541061" y="951353"/>
                  <a:pt x="3542554" y="948934"/>
                </a:cubicBezTo>
                <a:cubicBezTo>
                  <a:pt x="3544048" y="947084"/>
                  <a:pt x="3545116" y="946515"/>
                  <a:pt x="3546396" y="946657"/>
                </a:cubicBezTo>
                <a:close/>
                <a:moveTo>
                  <a:pt x="1482140" y="946284"/>
                </a:moveTo>
                <a:cubicBezTo>
                  <a:pt x="1483069" y="946439"/>
                  <a:pt x="1484102" y="947213"/>
                  <a:pt x="1485238" y="948143"/>
                </a:cubicBezTo>
                <a:cubicBezTo>
                  <a:pt x="1487612" y="950002"/>
                  <a:pt x="1486374" y="952480"/>
                  <a:pt x="1487819" y="954183"/>
                </a:cubicBezTo>
                <a:cubicBezTo>
                  <a:pt x="1486890" y="954649"/>
                  <a:pt x="1485754" y="955113"/>
                  <a:pt x="1484308" y="955268"/>
                </a:cubicBezTo>
                <a:lnTo>
                  <a:pt x="1482243" y="954494"/>
                </a:lnTo>
                <a:lnTo>
                  <a:pt x="1481933" y="955733"/>
                </a:lnTo>
                <a:cubicBezTo>
                  <a:pt x="1480075" y="958366"/>
                  <a:pt x="1475945" y="960225"/>
                  <a:pt x="1471918" y="958056"/>
                </a:cubicBezTo>
                <a:cubicBezTo>
                  <a:pt x="1471608" y="956352"/>
                  <a:pt x="1471608" y="954803"/>
                  <a:pt x="1471711" y="953409"/>
                </a:cubicBezTo>
                <a:cubicBezTo>
                  <a:pt x="1471814" y="952170"/>
                  <a:pt x="1472124" y="951086"/>
                  <a:pt x="1472228" y="950156"/>
                </a:cubicBezTo>
                <a:cubicBezTo>
                  <a:pt x="1474602" y="949382"/>
                  <a:pt x="1476358" y="948298"/>
                  <a:pt x="1478733" y="947678"/>
                </a:cubicBezTo>
                <a:lnTo>
                  <a:pt x="1479042" y="947833"/>
                </a:lnTo>
                <a:lnTo>
                  <a:pt x="1479145" y="947678"/>
                </a:lnTo>
                <a:cubicBezTo>
                  <a:pt x="1480178" y="946594"/>
                  <a:pt x="1481107" y="946129"/>
                  <a:pt x="1482140" y="946284"/>
                </a:cubicBezTo>
                <a:close/>
                <a:moveTo>
                  <a:pt x="4443826" y="945235"/>
                </a:moveTo>
                <a:cubicBezTo>
                  <a:pt x="4444893" y="945092"/>
                  <a:pt x="4445960" y="945092"/>
                  <a:pt x="4446387" y="945661"/>
                </a:cubicBezTo>
                <a:cubicBezTo>
                  <a:pt x="4447027" y="945946"/>
                  <a:pt x="4447241" y="946515"/>
                  <a:pt x="4447241" y="947084"/>
                </a:cubicBezTo>
                <a:cubicBezTo>
                  <a:pt x="4447027" y="948649"/>
                  <a:pt x="4444893" y="950783"/>
                  <a:pt x="4444680" y="951779"/>
                </a:cubicBezTo>
                <a:cubicBezTo>
                  <a:pt x="4443399" y="952917"/>
                  <a:pt x="4442118" y="954055"/>
                  <a:pt x="4441051" y="952775"/>
                </a:cubicBezTo>
                <a:cubicBezTo>
                  <a:pt x="4440198" y="951636"/>
                  <a:pt x="4439130" y="951636"/>
                  <a:pt x="4440411" y="949218"/>
                </a:cubicBezTo>
                <a:cubicBezTo>
                  <a:pt x="4440625" y="948080"/>
                  <a:pt x="4441905" y="946942"/>
                  <a:pt x="4441905" y="945661"/>
                </a:cubicBezTo>
                <a:cubicBezTo>
                  <a:pt x="4441905" y="945661"/>
                  <a:pt x="4442759" y="945377"/>
                  <a:pt x="4443826" y="945235"/>
                </a:cubicBezTo>
                <a:close/>
                <a:moveTo>
                  <a:pt x="1374547" y="943651"/>
                </a:moveTo>
                <a:cubicBezTo>
                  <a:pt x="1377025" y="945974"/>
                  <a:pt x="1375993" y="948607"/>
                  <a:pt x="1375063" y="951086"/>
                </a:cubicBezTo>
                <a:cubicBezTo>
                  <a:pt x="1374134" y="952790"/>
                  <a:pt x="1374031" y="953564"/>
                  <a:pt x="1374857" y="955268"/>
                </a:cubicBezTo>
                <a:cubicBezTo>
                  <a:pt x="1374857" y="955268"/>
                  <a:pt x="1374857" y="955268"/>
                  <a:pt x="1372998" y="956972"/>
                </a:cubicBezTo>
                <a:lnTo>
                  <a:pt x="1372172" y="957127"/>
                </a:lnTo>
                <a:cubicBezTo>
                  <a:pt x="1371759" y="956817"/>
                  <a:pt x="1371656" y="956197"/>
                  <a:pt x="1371553" y="955268"/>
                </a:cubicBezTo>
                <a:cubicBezTo>
                  <a:pt x="1371449" y="952480"/>
                  <a:pt x="1372585" y="947678"/>
                  <a:pt x="1372689" y="947059"/>
                </a:cubicBezTo>
                <a:cubicBezTo>
                  <a:pt x="1372689" y="947059"/>
                  <a:pt x="1372689" y="946129"/>
                  <a:pt x="1372689" y="945355"/>
                </a:cubicBezTo>
                <a:cubicBezTo>
                  <a:pt x="1373618" y="944425"/>
                  <a:pt x="1374547" y="944425"/>
                  <a:pt x="1374547" y="943651"/>
                </a:cubicBezTo>
                <a:close/>
                <a:moveTo>
                  <a:pt x="3853080" y="943243"/>
                </a:moveTo>
                <a:cubicBezTo>
                  <a:pt x="3853507" y="943527"/>
                  <a:pt x="3853934" y="944381"/>
                  <a:pt x="3854147" y="945519"/>
                </a:cubicBezTo>
                <a:cubicBezTo>
                  <a:pt x="3854361" y="946657"/>
                  <a:pt x="3854574" y="947796"/>
                  <a:pt x="3854787" y="948649"/>
                </a:cubicBezTo>
                <a:cubicBezTo>
                  <a:pt x="3855641" y="949218"/>
                  <a:pt x="3856068" y="950783"/>
                  <a:pt x="3855427" y="951779"/>
                </a:cubicBezTo>
                <a:cubicBezTo>
                  <a:pt x="3855427" y="951779"/>
                  <a:pt x="3855641" y="953486"/>
                  <a:pt x="3856495" y="954055"/>
                </a:cubicBezTo>
                <a:cubicBezTo>
                  <a:pt x="3857135" y="957327"/>
                  <a:pt x="3856495" y="958323"/>
                  <a:pt x="3855855" y="959319"/>
                </a:cubicBezTo>
                <a:cubicBezTo>
                  <a:pt x="3855855" y="959319"/>
                  <a:pt x="3855641" y="957612"/>
                  <a:pt x="3854574" y="957043"/>
                </a:cubicBezTo>
                <a:cubicBezTo>
                  <a:pt x="3854574" y="957043"/>
                  <a:pt x="3854361" y="955478"/>
                  <a:pt x="3854147" y="953913"/>
                </a:cubicBezTo>
                <a:cubicBezTo>
                  <a:pt x="3854147" y="953913"/>
                  <a:pt x="3853080" y="953344"/>
                  <a:pt x="3852226" y="952775"/>
                </a:cubicBezTo>
                <a:cubicBezTo>
                  <a:pt x="3850732" y="948934"/>
                  <a:pt x="3849452" y="946657"/>
                  <a:pt x="3853080" y="943243"/>
                </a:cubicBezTo>
                <a:close/>
                <a:moveTo>
                  <a:pt x="1361021" y="943031"/>
                </a:moveTo>
                <a:cubicBezTo>
                  <a:pt x="1364015" y="945200"/>
                  <a:pt x="1363705" y="950931"/>
                  <a:pt x="1364118" y="956197"/>
                </a:cubicBezTo>
                <a:cubicBezTo>
                  <a:pt x="1361640" y="956042"/>
                  <a:pt x="1360401" y="955887"/>
                  <a:pt x="1358542" y="956352"/>
                </a:cubicBezTo>
                <a:cubicBezTo>
                  <a:pt x="1358749" y="952790"/>
                  <a:pt x="1357923" y="950002"/>
                  <a:pt x="1357820" y="947988"/>
                </a:cubicBezTo>
                <a:cubicBezTo>
                  <a:pt x="1357716" y="945819"/>
                  <a:pt x="1358232" y="944270"/>
                  <a:pt x="1361021" y="943031"/>
                </a:cubicBezTo>
                <a:close/>
                <a:moveTo>
                  <a:pt x="3481516" y="942674"/>
                </a:moveTo>
                <a:cubicBezTo>
                  <a:pt x="3485144" y="942247"/>
                  <a:pt x="3488132" y="945377"/>
                  <a:pt x="3490907" y="949218"/>
                </a:cubicBezTo>
                <a:cubicBezTo>
                  <a:pt x="3489413" y="951495"/>
                  <a:pt x="3488986" y="953913"/>
                  <a:pt x="3487492" y="956189"/>
                </a:cubicBezTo>
                <a:cubicBezTo>
                  <a:pt x="3483651" y="957612"/>
                  <a:pt x="3476394" y="954055"/>
                  <a:pt x="3475754" y="949361"/>
                </a:cubicBezTo>
                <a:cubicBezTo>
                  <a:pt x="3475540" y="947796"/>
                  <a:pt x="3475967" y="946088"/>
                  <a:pt x="3477675" y="944381"/>
                </a:cubicBezTo>
                <a:cubicBezTo>
                  <a:pt x="3479169" y="943385"/>
                  <a:pt x="3480449" y="942816"/>
                  <a:pt x="3481516" y="942674"/>
                </a:cubicBezTo>
                <a:close/>
                <a:moveTo>
                  <a:pt x="1460314" y="942450"/>
                </a:moveTo>
                <a:cubicBezTo>
                  <a:pt x="1463657" y="943418"/>
                  <a:pt x="1467116" y="945587"/>
                  <a:pt x="1470369" y="949382"/>
                </a:cubicBezTo>
                <a:cubicBezTo>
                  <a:pt x="1467581" y="960689"/>
                  <a:pt x="1457462" y="968279"/>
                  <a:pt x="1448065" y="964562"/>
                </a:cubicBezTo>
                <a:cubicBezTo>
                  <a:pt x="1443935" y="962238"/>
                  <a:pt x="1441870" y="959140"/>
                  <a:pt x="1441560" y="955887"/>
                </a:cubicBezTo>
                <a:cubicBezTo>
                  <a:pt x="1441457" y="954803"/>
                  <a:pt x="1441560" y="953719"/>
                  <a:pt x="1441767" y="952635"/>
                </a:cubicBezTo>
                <a:cubicBezTo>
                  <a:pt x="1442696" y="948298"/>
                  <a:pt x="1446207" y="944425"/>
                  <a:pt x="1450957" y="942721"/>
                </a:cubicBezTo>
                <a:cubicBezTo>
                  <a:pt x="1453745" y="941714"/>
                  <a:pt x="1456971" y="941482"/>
                  <a:pt x="1460314" y="942450"/>
                </a:cubicBezTo>
                <a:close/>
                <a:moveTo>
                  <a:pt x="3459534" y="941678"/>
                </a:moveTo>
                <a:cubicBezTo>
                  <a:pt x="3464656" y="941394"/>
                  <a:pt x="3468284" y="952490"/>
                  <a:pt x="3471912" y="957897"/>
                </a:cubicBezTo>
                <a:cubicBezTo>
                  <a:pt x="3469138" y="962164"/>
                  <a:pt x="3467644" y="963018"/>
                  <a:pt x="3462949" y="964299"/>
                </a:cubicBezTo>
                <a:cubicBezTo>
                  <a:pt x="3456546" y="959177"/>
                  <a:pt x="3455052" y="952775"/>
                  <a:pt x="3453772" y="946373"/>
                </a:cubicBezTo>
                <a:cubicBezTo>
                  <a:pt x="3455906" y="943101"/>
                  <a:pt x="3457827" y="941820"/>
                  <a:pt x="3459534" y="941678"/>
                </a:cubicBezTo>
                <a:close/>
                <a:moveTo>
                  <a:pt x="957495" y="941172"/>
                </a:moveTo>
                <a:cubicBezTo>
                  <a:pt x="963794" y="939469"/>
                  <a:pt x="964827" y="946749"/>
                  <a:pt x="962348" y="948917"/>
                </a:cubicBezTo>
                <a:cubicBezTo>
                  <a:pt x="959044" y="948917"/>
                  <a:pt x="956876" y="946129"/>
                  <a:pt x="956876" y="943496"/>
                </a:cubicBezTo>
                <a:cubicBezTo>
                  <a:pt x="956772" y="942721"/>
                  <a:pt x="957082" y="941792"/>
                  <a:pt x="957495" y="941172"/>
                </a:cubicBezTo>
                <a:close/>
                <a:moveTo>
                  <a:pt x="1333658" y="941017"/>
                </a:moveTo>
                <a:cubicBezTo>
                  <a:pt x="1333864" y="944116"/>
                  <a:pt x="1336136" y="945355"/>
                  <a:pt x="1335413" y="950156"/>
                </a:cubicBezTo>
                <a:cubicBezTo>
                  <a:pt x="1319615" y="953254"/>
                  <a:pt x="1305778" y="960070"/>
                  <a:pt x="1292665" y="962238"/>
                </a:cubicBezTo>
                <a:cubicBezTo>
                  <a:pt x="1300719" y="949692"/>
                  <a:pt x="1318789" y="946594"/>
                  <a:pt x="1333658" y="941017"/>
                </a:cubicBezTo>
                <a:close/>
                <a:moveTo>
                  <a:pt x="3443101" y="940824"/>
                </a:moveTo>
                <a:cubicBezTo>
                  <a:pt x="3450357" y="945946"/>
                  <a:pt x="3451210" y="965152"/>
                  <a:pt x="3447796" y="968567"/>
                </a:cubicBezTo>
                <a:lnTo>
                  <a:pt x="3445022" y="963160"/>
                </a:lnTo>
                <a:lnTo>
                  <a:pt x="3445235" y="965152"/>
                </a:lnTo>
                <a:cubicBezTo>
                  <a:pt x="3445875" y="966148"/>
                  <a:pt x="3442887" y="969705"/>
                  <a:pt x="3441180" y="969278"/>
                </a:cubicBezTo>
                <a:cubicBezTo>
                  <a:pt x="3437125" y="968993"/>
                  <a:pt x="3436911" y="964726"/>
                  <a:pt x="3435204" y="960031"/>
                </a:cubicBezTo>
                <a:cubicBezTo>
                  <a:pt x="3436698" y="960457"/>
                  <a:pt x="3437125" y="958892"/>
                  <a:pt x="3437338" y="957185"/>
                </a:cubicBezTo>
                <a:cubicBezTo>
                  <a:pt x="3438619" y="957612"/>
                  <a:pt x="3440113" y="957897"/>
                  <a:pt x="3441607" y="958466"/>
                </a:cubicBezTo>
                <a:lnTo>
                  <a:pt x="3443741" y="960315"/>
                </a:lnTo>
                <a:lnTo>
                  <a:pt x="3441393" y="955051"/>
                </a:lnTo>
                <a:cubicBezTo>
                  <a:pt x="3443527" y="951636"/>
                  <a:pt x="3439899" y="945519"/>
                  <a:pt x="3443101" y="940824"/>
                </a:cubicBezTo>
                <a:close/>
                <a:moveTo>
                  <a:pt x="1527470" y="939778"/>
                </a:moveTo>
                <a:cubicBezTo>
                  <a:pt x="1538725" y="937300"/>
                  <a:pt x="1533871" y="947988"/>
                  <a:pt x="1533562" y="953874"/>
                </a:cubicBezTo>
                <a:cubicBezTo>
                  <a:pt x="1529844" y="954649"/>
                  <a:pt x="1528605" y="954494"/>
                  <a:pt x="1524888" y="952944"/>
                </a:cubicBezTo>
                <a:cubicBezTo>
                  <a:pt x="1524578" y="951706"/>
                  <a:pt x="1524372" y="950466"/>
                  <a:pt x="1524372" y="949227"/>
                </a:cubicBezTo>
                <a:cubicBezTo>
                  <a:pt x="1524372" y="947988"/>
                  <a:pt x="1524578" y="946904"/>
                  <a:pt x="1524888" y="945819"/>
                </a:cubicBezTo>
                <a:cubicBezTo>
                  <a:pt x="1525404" y="943651"/>
                  <a:pt x="1526437" y="941637"/>
                  <a:pt x="1527470" y="939778"/>
                </a:cubicBezTo>
                <a:close/>
                <a:moveTo>
                  <a:pt x="1125183" y="939313"/>
                </a:moveTo>
                <a:cubicBezTo>
                  <a:pt x="1126732" y="944270"/>
                  <a:pt x="1129417" y="949692"/>
                  <a:pt x="1123841" y="951860"/>
                </a:cubicBezTo>
                <a:cubicBezTo>
                  <a:pt x="1119917" y="950931"/>
                  <a:pt x="1118059" y="948607"/>
                  <a:pt x="1117646" y="946129"/>
                </a:cubicBezTo>
                <a:cubicBezTo>
                  <a:pt x="1117232" y="943805"/>
                  <a:pt x="1118265" y="941172"/>
                  <a:pt x="1120227" y="939778"/>
                </a:cubicBezTo>
                <a:cubicBezTo>
                  <a:pt x="1121466" y="939004"/>
                  <a:pt x="1123222" y="938694"/>
                  <a:pt x="1125183" y="939313"/>
                </a:cubicBezTo>
                <a:close/>
                <a:moveTo>
                  <a:pt x="1428757" y="937145"/>
                </a:moveTo>
                <a:cubicBezTo>
                  <a:pt x="1430822" y="936681"/>
                  <a:pt x="1433610" y="936835"/>
                  <a:pt x="1436914" y="938229"/>
                </a:cubicBezTo>
                <a:cubicBezTo>
                  <a:pt x="1439598" y="941792"/>
                  <a:pt x="1437637" y="949072"/>
                  <a:pt x="1434126" y="949537"/>
                </a:cubicBezTo>
                <a:cubicBezTo>
                  <a:pt x="1428240" y="948298"/>
                  <a:pt x="1425349" y="945664"/>
                  <a:pt x="1424627" y="943031"/>
                </a:cubicBezTo>
                <a:cubicBezTo>
                  <a:pt x="1424007" y="940398"/>
                  <a:pt x="1425556" y="937919"/>
                  <a:pt x="1428757" y="937145"/>
                </a:cubicBezTo>
                <a:close/>
                <a:moveTo>
                  <a:pt x="3893630" y="934280"/>
                </a:moveTo>
                <a:cubicBezTo>
                  <a:pt x="3894270" y="934138"/>
                  <a:pt x="3895124" y="934565"/>
                  <a:pt x="3896191" y="935703"/>
                </a:cubicBezTo>
                <a:cubicBezTo>
                  <a:pt x="3897258" y="936414"/>
                  <a:pt x="3897685" y="936983"/>
                  <a:pt x="3897685" y="937837"/>
                </a:cubicBezTo>
                <a:cubicBezTo>
                  <a:pt x="3897471" y="938832"/>
                  <a:pt x="3896831" y="939970"/>
                  <a:pt x="3895551" y="941820"/>
                </a:cubicBezTo>
                <a:cubicBezTo>
                  <a:pt x="3892990" y="944097"/>
                  <a:pt x="3891496" y="946657"/>
                  <a:pt x="3890428" y="946515"/>
                </a:cubicBezTo>
                <a:cubicBezTo>
                  <a:pt x="3890215" y="947796"/>
                  <a:pt x="3889148" y="949076"/>
                  <a:pt x="3888935" y="950214"/>
                </a:cubicBezTo>
                <a:cubicBezTo>
                  <a:pt x="3888935" y="950214"/>
                  <a:pt x="3888935" y="950214"/>
                  <a:pt x="3887867" y="950214"/>
                </a:cubicBezTo>
                <a:cubicBezTo>
                  <a:pt x="3889362" y="945377"/>
                  <a:pt x="3888935" y="939259"/>
                  <a:pt x="3891496" y="935703"/>
                </a:cubicBezTo>
                <a:cubicBezTo>
                  <a:pt x="3892136" y="934991"/>
                  <a:pt x="3892776" y="934422"/>
                  <a:pt x="3893630" y="934280"/>
                </a:cubicBezTo>
                <a:close/>
                <a:moveTo>
                  <a:pt x="3379501" y="933711"/>
                </a:moveTo>
                <a:cubicBezTo>
                  <a:pt x="3386758" y="941109"/>
                  <a:pt x="3395081" y="948649"/>
                  <a:pt x="3391880" y="955620"/>
                </a:cubicBezTo>
                <a:lnTo>
                  <a:pt x="3394228" y="959177"/>
                </a:lnTo>
                <a:cubicBezTo>
                  <a:pt x="3393160" y="961596"/>
                  <a:pt x="3393160" y="961596"/>
                  <a:pt x="3391880" y="961454"/>
                </a:cubicBezTo>
                <a:lnTo>
                  <a:pt x="3393801" y="963587"/>
                </a:lnTo>
                <a:lnTo>
                  <a:pt x="3395722" y="957897"/>
                </a:lnTo>
                <a:lnTo>
                  <a:pt x="3398282" y="955478"/>
                </a:lnTo>
                <a:lnTo>
                  <a:pt x="3398069" y="954340"/>
                </a:lnTo>
                <a:cubicBezTo>
                  <a:pt x="3397856" y="949645"/>
                  <a:pt x="3398496" y="945092"/>
                  <a:pt x="3399990" y="940682"/>
                </a:cubicBezTo>
                <a:cubicBezTo>
                  <a:pt x="3402764" y="940824"/>
                  <a:pt x="3405538" y="941536"/>
                  <a:pt x="3408100" y="942532"/>
                </a:cubicBezTo>
                <a:lnTo>
                  <a:pt x="3412155" y="944239"/>
                </a:lnTo>
                <a:lnTo>
                  <a:pt x="3413862" y="939402"/>
                </a:lnTo>
                <a:cubicBezTo>
                  <a:pt x="3415143" y="937837"/>
                  <a:pt x="3416850" y="936983"/>
                  <a:pt x="3418771" y="936699"/>
                </a:cubicBezTo>
                <a:cubicBezTo>
                  <a:pt x="3420052" y="938264"/>
                  <a:pt x="3420692" y="939829"/>
                  <a:pt x="3420692" y="941394"/>
                </a:cubicBezTo>
                <a:cubicBezTo>
                  <a:pt x="3420692" y="943812"/>
                  <a:pt x="3419624" y="945804"/>
                  <a:pt x="3417917" y="946942"/>
                </a:cubicBezTo>
                <a:lnTo>
                  <a:pt x="3417490" y="947084"/>
                </a:lnTo>
                <a:lnTo>
                  <a:pt x="3426240" y="952348"/>
                </a:lnTo>
                <a:lnTo>
                  <a:pt x="3429869" y="948649"/>
                </a:lnTo>
                <a:cubicBezTo>
                  <a:pt x="3431576" y="947369"/>
                  <a:pt x="3433710" y="946800"/>
                  <a:pt x="3436271" y="946800"/>
                </a:cubicBezTo>
                <a:cubicBezTo>
                  <a:pt x="3436485" y="958608"/>
                  <a:pt x="3428801" y="960884"/>
                  <a:pt x="3422185" y="964014"/>
                </a:cubicBezTo>
                <a:cubicBezTo>
                  <a:pt x="3421972" y="962734"/>
                  <a:pt x="3421972" y="961027"/>
                  <a:pt x="3422612" y="959177"/>
                </a:cubicBezTo>
                <a:lnTo>
                  <a:pt x="3423893" y="955905"/>
                </a:lnTo>
                <a:lnTo>
                  <a:pt x="3422826" y="956332"/>
                </a:lnTo>
                <a:cubicBezTo>
                  <a:pt x="3420478" y="956616"/>
                  <a:pt x="3418344" y="956759"/>
                  <a:pt x="3415997" y="957185"/>
                </a:cubicBezTo>
                <a:lnTo>
                  <a:pt x="3410661" y="959604"/>
                </a:lnTo>
                <a:lnTo>
                  <a:pt x="3414289" y="973404"/>
                </a:lnTo>
                <a:lnTo>
                  <a:pt x="3413649" y="982367"/>
                </a:lnTo>
                <a:lnTo>
                  <a:pt x="3417064" y="981940"/>
                </a:lnTo>
                <a:cubicBezTo>
                  <a:pt x="3422612" y="983078"/>
                  <a:pt x="3428801" y="986919"/>
                  <a:pt x="3434137" y="994175"/>
                </a:cubicBezTo>
                <a:cubicBezTo>
                  <a:pt x="3434351" y="997020"/>
                  <a:pt x="3433497" y="1000008"/>
                  <a:pt x="3432003" y="1002996"/>
                </a:cubicBezTo>
                <a:cubicBezTo>
                  <a:pt x="3427521" y="1011674"/>
                  <a:pt x="3417277" y="1019357"/>
                  <a:pt x="3410661" y="1017222"/>
                </a:cubicBezTo>
                <a:cubicBezTo>
                  <a:pt x="3404898" y="1012385"/>
                  <a:pt x="3401271" y="1007691"/>
                  <a:pt x="3399563" y="1003138"/>
                </a:cubicBezTo>
                <a:lnTo>
                  <a:pt x="3398923" y="991757"/>
                </a:lnTo>
                <a:lnTo>
                  <a:pt x="3393160" y="986066"/>
                </a:lnTo>
                <a:lnTo>
                  <a:pt x="3389746" y="986919"/>
                </a:lnTo>
                <a:cubicBezTo>
                  <a:pt x="3387825" y="986635"/>
                  <a:pt x="3385904" y="985497"/>
                  <a:pt x="3384624" y="983647"/>
                </a:cubicBezTo>
                <a:lnTo>
                  <a:pt x="3385051" y="982367"/>
                </a:lnTo>
                <a:lnTo>
                  <a:pt x="3383557" y="982224"/>
                </a:lnTo>
                <a:cubicBezTo>
                  <a:pt x="3382276" y="981798"/>
                  <a:pt x="3381209" y="981086"/>
                  <a:pt x="3379928" y="979948"/>
                </a:cubicBezTo>
                <a:cubicBezTo>
                  <a:pt x="3376301" y="976249"/>
                  <a:pt x="3373526" y="967713"/>
                  <a:pt x="3376941" y="964299"/>
                </a:cubicBezTo>
                <a:cubicBezTo>
                  <a:pt x="3380142" y="959746"/>
                  <a:pt x="3383557" y="958750"/>
                  <a:pt x="3387184" y="958892"/>
                </a:cubicBezTo>
                <a:cubicBezTo>
                  <a:pt x="3387184" y="958892"/>
                  <a:pt x="3387184" y="958892"/>
                  <a:pt x="3385904" y="958892"/>
                </a:cubicBezTo>
                <a:cubicBezTo>
                  <a:pt x="3380996" y="953913"/>
                  <a:pt x="3372672" y="945235"/>
                  <a:pt x="3373526" y="941678"/>
                </a:cubicBezTo>
                <a:cubicBezTo>
                  <a:pt x="3374806" y="941678"/>
                  <a:pt x="3375873" y="941820"/>
                  <a:pt x="3377154" y="942959"/>
                </a:cubicBezTo>
                <a:cubicBezTo>
                  <a:pt x="3378434" y="944239"/>
                  <a:pt x="3377154" y="944239"/>
                  <a:pt x="3378221" y="944239"/>
                </a:cubicBezTo>
                <a:lnTo>
                  <a:pt x="3378648" y="944381"/>
                </a:lnTo>
                <a:lnTo>
                  <a:pt x="3376301" y="940682"/>
                </a:lnTo>
                <a:cubicBezTo>
                  <a:pt x="3378434" y="938405"/>
                  <a:pt x="3377154" y="935987"/>
                  <a:pt x="3379501" y="933711"/>
                </a:cubicBezTo>
                <a:close/>
                <a:moveTo>
                  <a:pt x="4827341" y="932003"/>
                </a:moveTo>
                <a:cubicBezTo>
                  <a:pt x="4827981" y="932431"/>
                  <a:pt x="4828622" y="933284"/>
                  <a:pt x="4829903" y="933853"/>
                </a:cubicBezTo>
                <a:lnTo>
                  <a:pt x="4826060" y="937268"/>
                </a:lnTo>
                <a:cubicBezTo>
                  <a:pt x="4824993" y="936130"/>
                  <a:pt x="4823927" y="933853"/>
                  <a:pt x="4825207" y="932715"/>
                </a:cubicBezTo>
                <a:cubicBezTo>
                  <a:pt x="4826060" y="931577"/>
                  <a:pt x="4826488" y="931577"/>
                  <a:pt x="4827341" y="932003"/>
                </a:cubicBezTo>
                <a:close/>
                <a:moveTo>
                  <a:pt x="1043404" y="931878"/>
                </a:moveTo>
                <a:cubicBezTo>
                  <a:pt x="1043817" y="931724"/>
                  <a:pt x="1044230" y="931878"/>
                  <a:pt x="1044230" y="931878"/>
                </a:cubicBezTo>
                <a:cubicBezTo>
                  <a:pt x="1045986" y="932808"/>
                  <a:pt x="1045160" y="935286"/>
                  <a:pt x="1045056" y="936835"/>
                </a:cubicBezTo>
                <a:cubicBezTo>
                  <a:pt x="1046812" y="937919"/>
                  <a:pt x="1043301" y="939933"/>
                  <a:pt x="1045056" y="941017"/>
                </a:cubicBezTo>
                <a:cubicBezTo>
                  <a:pt x="1041442" y="943961"/>
                  <a:pt x="1045779" y="948607"/>
                  <a:pt x="1041339" y="953874"/>
                </a:cubicBezTo>
                <a:cubicBezTo>
                  <a:pt x="1040617" y="951706"/>
                  <a:pt x="1040410" y="949846"/>
                  <a:pt x="1040410" y="947988"/>
                </a:cubicBezTo>
                <a:cubicBezTo>
                  <a:pt x="1040306" y="942721"/>
                  <a:pt x="1041959" y="938694"/>
                  <a:pt x="1040720" y="934822"/>
                </a:cubicBezTo>
                <a:cubicBezTo>
                  <a:pt x="1040720" y="934822"/>
                  <a:pt x="1040720" y="934822"/>
                  <a:pt x="1042475" y="933272"/>
                </a:cubicBezTo>
                <a:cubicBezTo>
                  <a:pt x="1042578" y="932498"/>
                  <a:pt x="1042475" y="932498"/>
                  <a:pt x="1042475" y="932498"/>
                </a:cubicBezTo>
                <a:cubicBezTo>
                  <a:pt x="1042475" y="932034"/>
                  <a:pt x="1042991" y="931878"/>
                  <a:pt x="1043404" y="931878"/>
                </a:cubicBezTo>
                <a:close/>
                <a:moveTo>
                  <a:pt x="4813896" y="931434"/>
                </a:moveTo>
                <a:cubicBezTo>
                  <a:pt x="4815603" y="932715"/>
                  <a:pt x="4816884" y="934138"/>
                  <a:pt x="4817097" y="935845"/>
                </a:cubicBezTo>
                <a:cubicBezTo>
                  <a:pt x="4817524" y="937410"/>
                  <a:pt x="4817097" y="939117"/>
                  <a:pt x="4815176" y="940824"/>
                </a:cubicBezTo>
                <a:cubicBezTo>
                  <a:pt x="4813896" y="942105"/>
                  <a:pt x="4812615" y="943243"/>
                  <a:pt x="4812829" y="942105"/>
                </a:cubicBezTo>
                <a:cubicBezTo>
                  <a:pt x="4811761" y="941962"/>
                  <a:pt x="4811761" y="940824"/>
                  <a:pt x="4810694" y="939687"/>
                </a:cubicBezTo>
                <a:cubicBezTo>
                  <a:pt x="4809841" y="937268"/>
                  <a:pt x="4810268" y="933711"/>
                  <a:pt x="4811548" y="932573"/>
                </a:cubicBezTo>
                <a:cubicBezTo>
                  <a:pt x="4812829" y="931434"/>
                  <a:pt x="4813896" y="931434"/>
                  <a:pt x="4813896" y="931434"/>
                </a:cubicBezTo>
                <a:close/>
                <a:moveTo>
                  <a:pt x="3332549" y="931008"/>
                </a:moveTo>
                <a:cubicBezTo>
                  <a:pt x="3334684" y="932715"/>
                  <a:pt x="3337031" y="932003"/>
                  <a:pt x="3338738" y="936130"/>
                </a:cubicBezTo>
                <a:cubicBezTo>
                  <a:pt x="3336177" y="937837"/>
                  <a:pt x="3333830" y="938548"/>
                  <a:pt x="3331269" y="940397"/>
                </a:cubicBezTo>
                <a:cubicBezTo>
                  <a:pt x="3327214" y="936983"/>
                  <a:pt x="3329988" y="933995"/>
                  <a:pt x="3332549" y="931008"/>
                </a:cubicBezTo>
                <a:close/>
                <a:moveTo>
                  <a:pt x="1452712" y="930020"/>
                </a:moveTo>
                <a:cubicBezTo>
                  <a:pt x="1454054" y="929400"/>
                  <a:pt x="1455087" y="929555"/>
                  <a:pt x="1455809" y="930174"/>
                </a:cubicBezTo>
                <a:cubicBezTo>
                  <a:pt x="1456429" y="930794"/>
                  <a:pt x="1456945" y="931724"/>
                  <a:pt x="1457255" y="932808"/>
                </a:cubicBezTo>
                <a:cubicBezTo>
                  <a:pt x="1457875" y="935286"/>
                  <a:pt x="1456326" y="936061"/>
                  <a:pt x="1456326" y="936061"/>
                </a:cubicBezTo>
                <a:cubicBezTo>
                  <a:pt x="1453435" y="937145"/>
                  <a:pt x="1450750" y="936371"/>
                  <a:pt x="1449304" y="933582"/>
                </a:cubicBezTo>
                <a:cubicBezTo>
                  <a:pt x="1449408" y="931724"/>
                  <a:pt x="1451060" y="930794"/>
                  <a:pt x="1452712" y="930020"/>
                </a:cubicBezTo>
                <a:close/>
                <a:moveTo>
                  <a:pt x="1285230" y="929865"/>
                </a:moveTo>
                <a:lnTo>
                  <a:pt x="1286573" y="931569"/>
                </a:lnTo>
                <a:lnTo>
                  <a:pt x="1287296" y="931259"/>
                </a:lnTo>
                <a:lnTo>
                  <a:pt x="1290083" y="931569"/>
                </a:lnTo>
                <a:lnTo>
                  <a:pt x="1290290" y="931259"/>
                </a:lnTo>
                <a:cubicBezTo>
                  <a:pt x="1290290" y="931259"/>
                  <a:pt x="1294833" y="927696"/>
                  <a:pt x="1298964" y="930949"/>
                </a:cubicBezTo>
                <a:cubicBezTo>
                  <a:pt x="1298034" y="931878"/>
                  <a:pt x="1303094" y="936681"/>
                  <a:pt x="1301132" y="940088"/>
                </a:cubicBezTo>
                <a:cubicBezTo>
                  <a:pt x="1300203" y="941792"/>
                  <a:pt x="1299376" y="942721"/>
                  <a:pt x="1298447" y="944425"/>
                </a:cubicBezTo>
                <a:lnTo>
                  <a:pt x="1295969" y="945045"/>
                </a:lnTo>
                <a:lnTo>
                  <a:pt x="1294110" y="949846"/>
                </a:lnTo>
                <a:cubicBezTo>
                  <a:pt x="1293284" y="950776"/>
                  <a:pt x="1289980" y="952944"/>
                  <a:pt x="1289051" y="952170"/>
                </a:cubicBezTo>
                <a:cubicBezTo>
                  <a:pt x="1288122" y="951395"/>
                  <a:pt x="1288018" y="950621"/>
                  <a:pt x="1288018" y="949846"/>
                </a:cubicBezTo>
                <a:lnTo>
                  <a:pt x="1290187" y="944890"/>
                </a:lnTo>
                <a:lnTo>
                  <a:pt x="1288018" y="944116"/>
                </a:lnTo>
                <a:cubicBezTo>
                  <a:pt x="1286779" y="943031"/>
                  <a:pt x="1286057" y="941947"/>
                  <a:pt x="1285850" y="941017"/>
                </a:cubicBezTo>
                <a:lnTo>
                  <a:pt x="1285850" y="939778"/>
                </a:lnTo>
                <a:lnTo>
                  <a:pt x="1284817" y="939933"/>
                </a:lnTo>
                <a:lnTo>
                  <a:pt x="1283578" y="937455"/>
                </a:lnTo>
                <a:lnTo>
                  <a:pt x="1281926" y="936371"/>
                </a:lnTo>
                <a:cubicBezTo>
                  <a:pt x="1281616" y="935131"/>
                  <a:pt x="1281410" y="934357"/>
                  <a:pt x="1281513" y="933738"/>
                </a:cubicBezTo>
                <a:cubicBezTo>
                  <a:pt x="1281720" y="933118"/>
                  <a:pt x="1282339" y="932808"/>
                  <a:pt x="1283682" y="932343"/>
                </a:cubicBezTo>
                <a:lnTo>
                  <a:pt x="1284095" y="932188"/>
                </a:lnTo>
                <a:lnTo>
                  <a:pt x="1283475" y="930794"/>
                </a:lnTo>
                <a:cubicBezTo>
                  <a:pt x="1284404" y="930794"/>
                  <a:pt x="1285230" y="930639"/>
                  <a:pt x="1285230" y="929865"/>
                </a:cubicBezTo>
                <a:close/>
                <a:moveTo>
                  <a:pt x="1490813" y="929091"/>
                </a:moveTo>
                <a:cubicBezTo>
                  <a:pt x="1492156" y="930794"/>
                  <a:pt x="1492672" y="932653"/>
                  <a:pt x="1493911" y="934357"/>
                </a:cubicBezTo>
                <a:cubicBezTo>
                  <a:pt x="1491536" y="937455"/>
                  <a:pt x="1489368" y="935441"/>
                  <a:pt x="1487200" y="933582"/>
                </a:cubicBezTo>
                <a:cubicBezTo>
                  <a:pt x="1488438" y="932034"/>
                  <a:pt x="1487923" y="930330"/>
                  <a:pt x="1490813" y="929091"/>
                </a:cubicBezTo>
                <a:close/>
                <a:moveTo>
                  <a:pt x="3859269" y="924321"/>
                </a:moveTo>
                <a:cubicBezTo>
                  <a:pt x="3859056" y="925602"/>
                  <a:pt x="3860336" y="925602"/>
                  <a:pt x="3860123" y="926882"/>
                </a:cubicBezTo>
                <a:cubicBezTo>
                  <a:pt x="3860977" y="929301"/>
                  <a:pt x="3860977" y="929301"/>
                  <a:pt x="3859696" y="930581"/>
                </a:cubicBezTo>
                <a:cubicBezTo>
                  <a:pt x="3858415" y="931861"/>
                  <a:pt x="3855001" y="930581"/>
                  <a:pt x="3853720" y="931719"/>
                </a:cubicBezTo>
                <a:cubicBezTo>
                  <a:pt x="3853720" y="931719"/>
                  <a:pt x="3853720" y="931719"/>
                  <a:pt x="3852653" y="929301"/>
                </a:cubicBezTo>
                <a:cubicBezTo>
                  <a:pt x="3852866" y="928020"/>
                  <a:pt x="3853080" y="926739"/>
                  <a:pt x="3854361" y="925459"/>
                </a:cubicBezTo>
                <a:cubicBezTo>
                  <a:pt x="3855641" y="924321"/>
                  <a:pt x="3857989" y="924321"/>
                  <a:pt x="3859269" y="924321"/>
                </a:cubicBezTo>
                <a:close/>
                <a:moveTo>
                  <a:pt x="1451473" y="923359"/>
                </a:moveTo>
                <a:cubicBezTo>
                  <a:pt x="1449511" y="926767"/>
                  <a:pt x="1448582" y="929400"/>
                  <a:pt x="1446620" y="932808"/>
                </a:cubicBezTo>
                <a:cubicBezTo>
                  <a:pt x="1445794" y="933582"/>
                  <a:pt x="1442180" y="935441"/>
                  <a:pt x="1441354" y="934667"/>
                </a:cubicBezTo>
                <a:cubicBezTo>
                  <a:pt x="1440528" y="933892"/>
                  <a:pt x="1440528" y="933118"/>
                  <a:pt x="1440631" y="932188"/>
                </a:cubicBezTo>
                <a:cubicBezTo>
                  <a:pt x="1441560" y="930484"/>
                  <a:pt x="1442490" y="928781"/>
                  <a:pt x="1443419" y="927077"/>
                </a:cubicBezTo>
                <a:cubicBezTo>
                  <a:pt x="1446207" y="924444"/>
                  <a:pt x="1448892" y="921810"/>
                  <a:pt x="1451473" y="923359"/>
                </a:cubicBezTo>
                <a:close/>
                <a:moveTo>
                  <a:pt x="3235230" y="922898"/>
                </a:moveTo>
                <a:cubicBezTo>
                  <a:pt x="3236723" y="924890"/>
                  <a:pt x="3240138" y="928589"/>
                  <a:pt x="3240779" y="931150"/>
                </a:cubicBezTo>
                <a:cubicBezTo>
                  <a:pt x="3240992" y="932003"/>
                  <a:pt x="3240779" y="932715"/>
                  <a:pt x="3240138" y="933284"/>
                </a:cubicBezTo>
                <a:cubicBezTo>
                  <a:pt x="3238004" y="930439"/>
                  <a:pt x="3233736" y="927451"/>
                  <a:pt x="3235230" y="922898"/>
                </a:cubicBezTo>
                <a:close/>
                <a:moveTo>
                  <a:pt x="4833957" y="921192"/>
                </a:moveTo>
                <a:cubicBezTo>
                  <a:pt x="4835664" y="921049"/>
                  <a:pt x="4837799" y="921476"/>
                  <a:pt x="4839933" y="923325"/>
                </a:cubicBezTo>
                <a:cubicBezTo>
                  <a:pt x="4840360" y="923894"/>
                  <a:pt x="4841214" y="925174"/>
                  <a:pt x="4841640" y="926171"/>
                </a:cubicBezTo>
                <a:cubicBezTo>
                  <a:pt x="4842067" y="927309"/>
                  <a:pt x="4842281" y="928163"/>
                  <a:pt x="4841640" y="928163"/>
                </a:cubicBezTo>
                <a:cubicBezTo>
                  <a:pt x="4840573" y="929301"/>
                  <a:pt x="4841640" y="929301"/>
                  <a:pt x="4841640" y="930581"/>
                </a:cubicBezTo>
                <a:cubicBezTo>
                  <a:pt x="4837799" y="934138"/>
                  <a:pt x="4834171" y="935276"/>
                  <a:pt x="4830969" y="932857"/>
                </a:cubicBezTo>
                <a:cubicBezTo>
                  <a:pt x="4829048" y="930296"/>
                  <a:pt x="4825847" y="926739"/>
                  <a:pt x="4828622" y="923041"/>
                </a:cubicBezTo>
                <a:cubicBezTo>
                  <a:pt x="4829689" y="923183"/>
                  <a:pt x="4829903" y="921902"/>
                  <a:pt x="4830969" y="921902"/>
                </a:cubicBezTo>
                <a:cubicBezTo>
                  <a:pt x="4830969" y="921902"/>
                  <a:pt x="4832250" y="921333"/>
                  <a:pt x="4833957" y="921192"/>
                </a:cubicBezTo>
                <a:close/>
                <a:moveTo>
                  <a:pt x="3591428" y="920764"/>
                </a:moveTo>
                <a:cubicBezTo>
                  <a:pt x="3593348" y="920907"/>
                  <a:pt x="3594628" y="921618"/>
                  <a:pt x="3594842" y="922756"/>
                </a:cubicBezTo>
                <a:cubicBezTo>
                  <a:pt x="3595269" y="923894"/>
                  <a:pt x="3595055" y="925317"/>
                  <a:pt x="3594628" y="927024"/>
                </a:cubicBezTo>
                <a:cubicBezTo>
                  <a:pt x="3593562" y="930296"/>
                  <a:pt x="3591001" y="930581"/>
                  <a:pt x="3591001" y="930581"/>
                </a:cubicBezTo>
                <a:lnTo>
                  <a:pt x="3586519" y="928731"/>
                </a:lnTo>
                <a:lnTo>
                  <a:pt x="3581610" y="937979"/>
                </a:lnTo>
                <a:cubicBezTo>
                  <a:pt x="3578195" y="943527"/>
                  <a:pt x="3574141" y="948365"/>
                  <a:pt x="3569445" y="950641"/>
                </a:cubicBezTo>
                <a:cubicBezTo>
                  <a:pt x="3563043" y="942247"/>
                  <a:pt x="3573500" y="931293"/>
                  <a:pt x="3582464" y="925459"/>
                </a:cubicBezTo>
                <a:lnTo>
                  <a:pt x="3585025" y="924179"/>
                </a:lnTo>
                <a:lnTo>
                  <a:pt x="3584812" y="923610"/>
                </a:lnTo>
                <a:cubicBezTo>
                  <a:pt x="3586305" y="921192"/>
                  <a:pt x="3588866" y="921049"/>
                  <a:pt x="3591428" y="920764"/>
                </a:cubicBezTo>
                <a:close/>
                <a:moveTo>
                  <a:pt x="3974089" y="919484"/>
                </a:moveTo>
                <a:cubicBezTo>
                  <a:pt x="3985827" y="918062"/>
                  <a:pt x="3989882" y="932573"/>
                  <a:pt x="3983906" y="937410"/>
                </a:cubicBezTo>
                <a:cubicBezTo>
                  <a:pt x="3981772" y="938975"/>
                  <a:pt x="3978571" y="939544"/>
                  <a:pt x="3974303" y="937979"/>
                </a:cubicBezTo>
                <a:cubicBezTo>
                  <a:pt x="3974943" y="929728"/>
                  <a:pt x="3970247" y="925602"/>
                  <a:pt x="3974089" y="919484"/>
                </a:cubicBezTo>
                <a:close/>
                <a:moveTo>
                  <a:pt x="3807835" y="918630"/>
                </a:moveTo>
                <a:cubicBezTo>
                  <a:pt x="3812103" y="929728"/>
                  <a:pt x="3804634" y="945661"/>
                  <a:pt x="3796951" y="949645"/>
                </a:cubicBezTo>
                <a:cubicBezTo>
                  <a:pt x="3792469" y="938405"/>
                  <a:pt x="3801432" y="924321"/>
                  <a:pt x="3807835" y="918630"/>
                </a:cubicBezTo>
                <a:close/>
                <a:moveTo>
                  <a:pt x="4471784" y="918062"/>
                </a:moveTo>
                <a:cubicBezTo>
                  <a:pt x="4472424" y="918062"/>
                  <a:pt x="4473064" y="918345"/>
                  <a:pt x="4474131" y="919200"/>
                </a:cubicBezTo>
                <a:cubicBezTo>
                  <a:pt x="4474985" y="921333"/>
                  <a:pt x="4474772" y="924037"/>
                  <a:pt x="4472424" y="927878"/>
                </a:cubicBezTo>
                <a:cubicBezTo>
                  <a:pt x="4466022" y="928447"/>
                  <a:pt x="4466022" y="924464"/>
                  <a:pt x="4465808" y="920764"/>
                </a:cubicBezTo>
                <a:cubicBezTo>
                  <a:pt x="4468796" y="921192"/>
                  <a:pt x="4469863" y="918203"/>
                  <a:pt x="4471784" y="918062"/>
                </a:cubicBezTo>
                <a:close/>
                <a:moveTo>
                  <a:pt x="1435262" y="917008"/>
                </a:moveTo>
                <a:cubicBezTo>
                  <a:pt x="1435159" y="917938"/>
                  <a:pt x="1435881" y="918867"/>
                  <a:pt x="1435778" y="919797"/>
                </a:cubicBezTo>
                <a:cubicBezTo>
                  <a:pt x="1433713" y="921345"/>
                  <a:pt x="1431441" y="919487"/>
                  <a:pt x="1431544" y="918558"/>
                </a:cubicBezTo>
                <a:cubicBezTo>
                  <a:pt x="1432577" y="917783"/>
                  <a:pt x="1434332" y="917938"/>
                  <a:pt x="1435262" y="917008"/>
                </a:cubicBezTo>
                <a:close/>
                <a:moveTo>
                  <a:pt x="3830031" y="916923"/>
                </a:moveTo>
                <a:cubicBezTo>
                  <a:pt x="3831098" y="916923"/>
                  <a:pt x="3832378" y="917777"/>
                  <a:pt x="3833872" y="918915"/>
                </a:cubicBezTo>
                <a:cubicBezTo>
                  <a:pt x="3836433" y="921192"/>
                  <a:pt x="3835580" y="923610"/>
                  <a:pt x="3835580" y="923610"/>
                </a:cubicBezTo>
                <a:cubicBezTo>
                  <a:pt x="3833872" y="927309"/>
                  <a:pt x="3830457" y="928589"/>
                  <a:pt x="3826616" y="926455"/>
                </a:cubicBezTo>
                <a:cubicBezTo>
                  <a:pt x="3825122" y="924179"/>
                  <a:pt x="3825976" y="921760"/>
                  <a:pt x="3826829" y="919342"/>
                </a:cubicBezTo>
                <a:cubicBezTo>
                  <a:pt x="3827683" y="917492"/>
                  <a:pt x="3828750" y="916781"/>
                  <a:pt x="3830031" y="916923"/>
                </a:cubicBezTo>
                <a:close/>
                <a:moveTo>
                  <a:pt x="1507851" y="915770"/>
                </a:moveTo>
                <a:cubicBezTo>
                  <a:pt x="1509400" y="915305"/>
                  <a:pt x="1511362" y="915150"/>
                  <a:pt x="1513736" y="915924"/>
                </a:cubicBezTo>
                <a:cubicBezTo>
                  <a:pt x="1519209" y="917473"/>
                  <a:pt x="1524681" y="920881"/>
                  <a:pt x="1522307" y="929245"/>
                </a:cubicBezTo>
                <a:cubicBezTo>
                  <a:pt x="1522307" y="931104"/>
                  <a:pt x="1521894" y="930330"/>
                  <a:pt x="1521481" y="931259"/>
                </a:cubicBezTo>
                <a:cubicBezTo>
                  <a:pt x="1521068" y="932343"/>
                  <a:pt x="1521068" y="934357"/>
                  <a:pt x="1521481" y="935131"/>
                </a:cubicBezTo>
                <a:cubicBezTo>
                  <a:pt x="1517144" y="934047"/>
                  <a:pt x="1516731" y="936835"/>
                  <a:pt x="1510123" y="934822"/>
                </a:cubicBezTo>
                <a:cubicBezTo>
                  <a:pt x="1503617" y="933118"/>
                  <a:pt x="1501346" y="929400"/>
                  <a:pt x="1501036" y="925838"/>
                </a:cubicBezTo>
                <a:cubicBezTo>
                  <a:pt x="1500829" y="924753"/>
                  <a:pt x="1500933" y="923514"/>
                  <a:pt x="1501139" y="922585"/>
                </a:cubicBezTo>
                <a:cubicBezTo>
                  <a:pt x="1502068" y="922894"/>
                  <a:pt x="1503204" y="917473"/>
                  <a:pt x="1507851" y="915770"/>
                </a:cubicBezTo>
                <a:close/>
                <a:moveTo>
                  <a:pt x="3465510" y="914078"/>
                </a:moveTo>
                <a:cubicBezTo>
                  <a:pt x="3468711" y="917919"/>
                  <a:pt x="3466150" y="920195"/>
                  <a:pt x="3463376" y="925033"/>
                </a:cubicBezTo>
                <a:cubicBezTo>
                  <a:pt x="3462309" y="923894"/>
                  <a:pt x="3458467" y="927451"/>
                  <a:pt x="3457186" y="928589"/>
                </a:cubicBezTo>
                <a:cubicBezTo>
                  <a:pt x="3455052" y="926171"/>
                  <a:pt x="3450143" y="929728"/>
                  <a:pt x="3446942" y="926029"/>
                </a:cubicBezTo>
                <a:cubicBezTo>
                  <a:pt x="3447156" y="923610"/>
                  <a:pt x="3447369" y="922472"/>
                  <a:pt x="3448863" y="920053"/>
                </a:cubicBezTo>
                <a:cubicBezTo>
                  <a:pt x="3458894" y="911659"/>
                  <a:pt x="3464229" y="915358"/>
                  <a:pt x="3465510" y="914078"/>
                </a:cubicBezTo>
                <a:close/>
                <a:moveTo>
                  <a:pt x="1285024" y="911742"/>
                </a:moveTo>
                <a:cubicBezTo>
                  <a:pt x="1286883" y="913911"/>
                  <a:pt x="1282959" y="921036"/>
                  <a:pt x="1280584" y="923824"/>
                </a:cubicBezTo>
                <a:cubicBezTo>
                  <a:pt x="1280171" y="923359"/>
                  <a:pt x="1279964" y="922430"/>
                  <a:pt x="1280171" y="921345"/>
                </a:cubicBezTo>
                <a:cubicBezTo>
                  <a:pt x="1280584" y="918403"/>
                  <a:pt x="1283269" y="913756"/>
                  <a:pt x="1285024" y="911742"/>
                </a:cubicBezTo>
                <a:close/>
                <a:moveTo>
                  <a:pt x="1256628" y="911742"/>
                </a:moveTo>
                <a:cubicBezTo>
                  <a:pt x="1258487" y="914220"/>
                  <a:pt x="1258487" y="918403"/>
                  <a:pt x="1254563" y="921501"/>
                </a:cubicBezTo>
                <a:cubicBezTo>
                  <a:pt x="1250949" y="921191"/>
                  <a:pt x="1248678" y="919951"/>
                  <a:pt x="1247026" y="919177"/>
                </a:cubicBezTo>
                <a:cubicBezTo>
                  <a:pt x="1247335" y="916854"/>
                  <a:pt x="1247026" y="914995"/>
                  <a:pt x="1247335" y="912671"/>
                </a:cubicBezTo>
                <a:cubicBezTo>
                  <a:pt x="1251053" y="908799"/>
                  <a:pt x="1254770" y="909418"/>
                  <a:pt x="1256628" y="911742"/>
                </a:cubicBezTo>
                <a:close/>
                <a:moveTo>
                  <a:pt x="1373102" y="910658"/>
                </a:moveTo>
                <a:cubicBezTo>
                  <a:pt x="1374650" y="911587"/>
                  <a:pt x="1376612" y="911897"/>
                  <a:pt x="1378058" y="912826"/>
                </a:cubicBezTo>
                <a:cubicBezTo>
                  <a:pt x="1381465" y="920726"/>
                  <a:pt x="1378368" y="920726"/>
                  <a:pt x="1374340" y="921965"/>
                </a:cubicBezTo>
                <a:cubicBezTo>
                  <a:pt x="1373308" y="920261"/>
                  <a:pt x="1370624" y="919641"/>
                  <a:pt x="1370004" y="917318"/>
                </a:cubicBezTo>
                <a:cubicBezTo>
                  <a:pt x="1370004" y="917318"/>
                  <a:pt x="1369900" y="917008"/>
                  <a:pt x="1369900" y="916544"/>
                </a:cubicBezTo>
                <a:cubicBezTo>
                  <a:pt x="1369900" y="916079"/>
                  <a:pt x="1370107" y="915305"/>
                  <a:pt x="1370520" y="914685"/>
                </a:cubicBezTo>
                <a:cubicBezTo>
                  <a:pt x="1370313" y="911742"/>
                  <a:pt x="1373928" y="911122"/>
                  <a:pt x="1373928" y="911122"/>
                </a:cubicBezTo>
                <a:cubicBezTo>
                  <a:pt x="1373928" y="911122"/>
                  <a:pt x="1373824" y="911122"/>
                  <a:pt x="1373102" y="910658"/>
                </a:cubicBezTo>
                <a:close/>
                <a:moveTo>
                  <a:pt x="3305232" y="909809"/>
                </a:moveTo>
                <a:cubicBezTo>
                  <a:pt x="3306939" y="909952"/>
                  <a:pt x="3308433" y="910236"/>
                  <a:pt x="3309713" y="910379"/>
                </a:cubicBezTo>
                <a:cubicBezTo>
                  <a:pt x="3310780" y="913793"/>
                  <a:pt x="3312274" y="916070"/>
                  <a:pt x="3313128" y="919342"/>
                </a:cubicBezTo>
                <a:lnTo>
                  <a:pt x="3312915" y="919769"/>
                </a:lnTo>
                <a:lnTo>
                  <a:pt x="3313128" y="919910"/>
                </a:lnTo>
                <a:cubicBezTo>
                  <a:pt x="3314622" y="921476"/>
                  <a:pt x="3315263" y="922756"/>
                  <a:pt x="3315049" y="924037"/>
                </a:cubicBezTo>
                <a:cubicBezTo>
                  <a:pt x="3314835" y="925459"/>
                  <a:pt x="3313768" y="926739"/>
                  <a:pt x="3312488" y="928447"/>
                </a:cubicBezTo>
                <a:cubicBezTo>
                  <a:pt x="3309927" y="931719"/>
                  <a:pt x="3306512" y="929869"/>
                  <a:pt x="3304164" y="932003"/>
                </a:cubicBezTo>
                <a:cubicBezTo>
                  <a:pt x="3303524" y="930723"/>
                  <a:pt x="3302884" y="929016"/>
                  <a:pt x="3302671" y="927166"/>
                </a:cubicBezTo>
                <a:lnTo>
                  <a:pt x="3303737" y="924179"/>
                </a:lnTo>
                <a:lnTo>
                  <a:pt x="3302030" y="923894"/>
                </a:lnTo>
                <a:cubicBezTo>
                  <a:pt x="3298402" y="921333"/>
                  <a:pt x="3295841" y="915500"/>
                  <a:pt x="3298829" y="910094"/>
                </a:cubicBezTo>
                <a:cubicBezTo>
                  <a:pt x="3301177" y="909526"/>
                  <a:pt x="3303311" y="909667"/>
                  <a:pt x="3305232" y="909809"/>
                </a:cubicBezTo>
                <a:close/>
                <a:moveTo>
                  <a:pt x="1210989" y="908489"/>
                </a:moveTo>
                <a:cubicBezTo>
                  <a:pt x="1219663" y="907405"/>
                  <a:pt x="1231950" y="923049"/>
                  <a:pt x="1225135" y="930330"/>
                </a:cubicBezTo>
                <a:cubicBezTo>
                  <a:pt x="1220902" y="921965"/>
                  <a:pt x="1213880" y="919177"/>
                  <a:pt x="1210989" y="908489"/>
                </a:cubicBezTo>
                <a:close/>
                <a:moveTo>
                  <a:pt x="3139831" y="907676"/>
                </a:moveTo>
                <a:lnTo>
                  <a:pt x="3140471" y="909809"/>
                </a:lnTo>
                <a:lnTo>
                  <a:pt x="3139191" y="912655"/>
                </a:lnTo>
                <a:lnTo>
                  <a:pt x="3141752" y="913651"/>
                </a:lnTo>
                <a:cubicBezTo>
                  <a:pt x="3142606" y="912371"/>
                  <a:pt x="3142179" y="911233"/>
                  <a:pt x="3141539" y="910094"/>
                </a:cubicBezTo>
                <a:close/>
                <a:moveTo>
                  <a:pt x="3548317" y="907534"/>
                </a:moveTo>
                <a:cubicBezTo>
                  <a:pt x="3549811" y="919200"/>
                  <a:pt x="3527615" y="939544"/>
                  <a:pt x="3517798" y="931861"/>
                </a:cubicBezTo>
                <a:lnTo>
                  <a:pt x="3522066" y="927878"/>
                </a:lnTo>
                <a:lnTo>
                  <a:pt x="3521426" y="928020"/>
                </a:lnTo>
                <a:cubicBezTo>
                  <a:pt x="3516303" y="922045"/>
                  <a:pt x="3518224" y="917635"/>
                  <a:pt x="3524627" y="914362"/>
                </a:cubicBezTo>
                <a:cubicBezTo>
                  <a:pt x="3526761" y="916070"/>
                  <a:pt x="3528895" y="916497"/>
                  <a:pt x="3532310" y="918488"/>
                </a:cubicBezTo>
                <a:lnTo>
                  <a:pt x="3531883" y="919057"/>
                </a:lnTo>
                <a:lnTo>
                  <a:pt x="3538926" y="912797"/>
                </a:lnTo>
                <a:cubicBezTo>
                  <a:pt x="3541701" y="910806"/>
                  <a:pt x="3544688" y="909098"/>
                  <a:pt x="3548317" y="907534"/>
                </a:cubicBezTo>
                <a:close/>
                <a:moveTo>
                  <a:pt x="1310941" y="907095"/>
                </a:moveTo>
                <a:cubicBezTo>
                  <a:pt x="1312903" y="907095"/>
                  <a:pt x="1311974" y="910503"/>
                  <a:pt x="1312490" y="911277"/>
                </a:cubicBezTo>
                <a:cubicBezTo>
                  <a:pt x="1312180" y="912362"/>
                  <a:pt x="1311974" y="913446"/>
                  <a:pt x="1310735" y="913136"/>
                </a:cubicBezTo>
                <a:cubicBezTo>
                  <a:pt x="1309496" y="912826"/>
                  <a:pt x="1308773" y="913136"/>
                  <a:pt x="1308566" y="911277"/>
                </a:cubicBezTo>
                <a:cubicBezTo>
                  <a:pt x="1308153" y="910503"/>
                  <a:pt x="1308463" y="909418"/>
                  <a:pt x="1307947" y="908644"/>
                </a:cubicBezTo>
                <a:cubicBezTo>
                  <a:pt x="1307947" y="908644"/>
                  <a:pt x="1308360" y="908180"/>
                  <a:pt x="1308979" y="907715"/>
                </a:cubicBezTo>
                <a:cubicBezTo>
                  <a:pt x="1309599" y="907405"/>
                  <a:pt x="1310322" y="906940"/>
                  <a:pt x="1310941" y="907095"/>
                </a:cubicBezTo>
                <a:close/>
                <a:moveTo>
                  <a:pt x="1351004" y="905701"/>
                </a:moveTo>
                <a:lnTo>
                  <a:pt x="1351108" y="906321"/>
                </a:lnTo>
                <a:lnTo>
                  <a:pt x="1351211" y="906321"/>
                </a:lnTo>
                <a:close/>
                <a:moveTo>
                  <a:pt x="3616825" y="904830"/>
                </a:moveTo>
                <a:cubicBezTo>
                  <a:pt x="3617038" y="906538"/>
                  <a:pt x="3619599" y="906679"/>
                  <a:pt x="3620026" y="908387"/>
                </a:cubicBezTo>
                <a:cubicBezTo>
                  <a:pt x="3620026" y="908387"/>
                  <a:pt x="3619599" y="909241"/>
                  <a:pt x="3619385" y="910236"/>
                </a:cubicBezTo>
                <a:lnTo>
                  <a:pt x="3618958" y="912086"/>
                </a:lnTo>
                <a:lnTo>
                  <a:pt x="3620879" y="913082"/>
                </a:lnTo>
                <a:cubicBezTo>
                  <a:pt x="3621946" y="913366"/>
                  <a:pt x="3623013" y="913082"/>
                  <a:pt x="3623867" y="913366"/>
                </a:cubicBezTo>
                <a:lnTo>
                  <a:pt x="3624934" y="914504"/>
                </a:lnTo>
                <a:lnTo>
                  <a:pt x="3628136" y="912655"/>
                </a:lnTo>
                <a:cubicBezTo>
                  <a:pt x="3631764" y="911943"/>
                  <a:pt x="3635392" y="914504"/>
                  <a:pt x="3635819" y="918203"/>
                </a:cubicBezTo>
                <a:cubicBezTo>
                  <a:pt x="3632191" y="924321"/>
                  <a:pt x="3627282" y="922045"/>
                  <a:pt x="3625361" y="918488"/>
                </a:cubicBezTo>
                <a:lnTo>
                  <a:pt x="3625361" y="918345"/>
                </a:lnTo>
                <a:lnTo>
                  <a:pt x="3624721" y="919484"/>
                </a:lnTo>
                <a:cubicBezTo>
                  <a:pt x="3623867" y="920480"/>
                  <a:pt x="3622587" y="921476"/>
                  <a:pt x="3620666" y="922187"/>
                </a:cubicBezTo>
                <a:cubicBezTo>
                  <a:pt x="3617891" y="920337"/>
                  <a:pt x="3617038" y="918630"/>
                  <a:pt x="3617038" y="916923"/>
                </a:cubicBezTo>
                <a:lnTo>
                  <a:pt x="3618318" y="912228"/>
                </a:lnTo>
                <a:lnTo>
                  <a:pt x="3617465" y="912371"/>
                </a:lnTo>
                <a:cubicBezTo>
                  <a:pt x="3617465" y="912371"/>
                  <a:pt x="3617465" y="912086"/>
                  <a:pt x="3617891" y="911517"/>
                </a:cubicBezTo>
                <a:cubicBezTo>
                  <a:pt x="3615330" y="911374"/>
                  <a:pt x="3614263" y="910806"/>
                  <a:pt x="3613410" y="910094"/>
                </a:cubicBezTo>
                <a:cubicBezTo>
                  <a:pt x="3612982" y="908387"/>
                  <a:pt x="3614477" y="906253"/>
                  <a:pt x="3616825" y="904830"/>
                </a:cubicBezTo>
                <a:close/>
                <a:moveTo>
                  <a:pt x="4654685" y="904119"/>
                </a:moveTo>
                <a:cubicBezTo>
                  <a:pt x="4656819" y="904261"/>
                  <a:pt x="4659167" y="905115"/>
                  <a:pt x="4661514" y="907249"/>
                </a:cubicBezTo>
                <a:cubicBezTo>
                  <a:pt x="4662795" y="908387"/>
                  <a:pt x="4664075" y="909809"/>
                  <a:pt x="4665142" y="911233"/>
                </a:cubicBezTo>
                <a:cubicBezTo>
                  <a:pt x="4667916" y="915785"/>
                  <a:pt x="4668557" y="921618"/>
                  <a:pt x="4661728" y="928731"/>
                </a:cubicBezTo>
                <a:cubicBezTo>
                  <a:pt x="4660233" y="931150"/>
                  <a:pt x="4660447" y="929869"/>
                  <a:pt x="4659167" y="931150"/>
                </a:cubicBezTo>
                <a:cubicBezTo>
                  <a:pt x="4657886" y="932288"/>
                  <a:pt x="4656392" y="934565"/>
                  <a:pt x="4656392" y="935845"/>
                </a:cubicBezTo>
                <a:cubicBezTo>
                  <a:pt x="4652124" y="932146"/>
                  <a:pt x="4649562" y="935703"/>
                  <a:pt x="4643160" y="929585"/>
                </a:cubicBezTo>
                <a:cubicBezTo>
                  <a:pt x="4634623" y="922329"/>
                  <a:pt x="4637825" y="913936"/>
                  <a:pt x="4641666" y="909241"/>
                </a:cubicBezTo>
                <a:cubicBezTo>
                  <a:pt x="4642520" y="910094"/>
                  <a:pt x="4647855" y="903692"/>
                  <a:pt x="4654685" y="904119"/>
                </a:cubicBezTo>
                <a:close/>
                <a:moveTo>
                  <a:pt x="4760967" y="903977"/>
                </a:moveTo>
                <a:cubicBezTo>
                  <a:pt x="4763315" y="903550"/>
                  <a:pt x="4765877" y="903977"/>
                  <a:pt x="4768864" y="905542"/>
                </a:cubicBezTo>
                <a:cubicBezTo>
                  <a:pt x="4769505" y="918203"/>
                  <a:pt x="4753284" y="933426"/>
                  <a:pt x="4746242" y="924464"/>
                </a:cubicBezTo>
                <a:cubicBezTo>
                  <a:pt x="4745175" y="923183"/>
                  <a:pt x="4744321" y="921333"/>
                  <a:pt x="4743894" y="919057"/>
                </a:cubicBezTo>
                <a:cubicBezTo>
                  <a:pt x="4747949" y="914078"/>
                  <a:pt x="4753498" y="905399"/>
                  <a:pt x="4760967" y="903977"/>
                </a:cubicBezTo>
                <a:close/>
                <a:moveTo>
                  <a:pt x="1408622" y="902138"/>
                </a:moveTo>
                <a:cubicBezTo>
                  <a:pt x="1412959" y="902293"/>
                  <a:pt x="1415953" y="905237"/>
                  <a:pt x="1417811" y="909264"/>
                </a:cubicBezTo>
                <a:lnTo>
                  <a:pt x="1419980" y="920416"/>
                </a:lnTo>
                <a:lnTo>
                  <a:pt x="1422561" y="920416"/>
                </a:lnTo>
                <a:cubicBezTo>
                  <a:pt x="1423697" y="921810"/>
                  <a:pt x="1423800" y="922894"/>
                  <a:pt x="1423284" y="923979"/>
                </a:cubicBezTo>
                <a:lnTo>
                  <a:pt x="1421942" y="925838"/>
                </a:lnTo>
                <a:lnTo>
                  <a:pt x="1427208" y="926302"/>
                </a:lnTo>
                <a:cubicBezTo>
                  <a:pt x="1424833" y="929091"/>
                  <a:pt x="1421012" y="928626"/>
                  <a:pt x="1420599" y="935286"/>
                </a:cubicBezTo>
                <a:lnTo>
                  <a:pt x="1417811" y="932498"/>
                </a:lnTo>
                <a:lnTo>
                  <a:pt x="1417811" y="933118"/>
                </a:lnTo>
                <a:lnTo>
                  <a:pt x="1413474" y="929865"/>
                </a:lnTo>
                <a:lnTo>
                  <a:pt x="1412235" y="929555"/>
                </a:lnTo>
                <a:cubicBezTo>
                  <a:pt x="1410893" y="929555"/>
                  <a:pt x="1409344" y="929400"/>
                  <a:pt x="1408208" y="928006"/>
                </a:cubicBezTo>
                <a:lnTo>
                  <a:pt x="1409654" y="924134"/>
                </a:lnTo>
                <a:lnTo>
                  <a:pt x="1409138" y="923359"/>
                </a:lnTo>
                <a:cubicBezTo>
                  <a:pt x="1407589" y="919332"/>
                  <a:pt x="1407073" y="915150"/>
                  <a:pt x="1407279" y="912206"/>
                </a:cubicBezTo>
                <a:cubicBezTo>
                  <a:pt x="1409448" y="913136"/>
                  <a:pt x="1411306" y="914685"/>
                  <a:pt x="1412855" y="916389"/>
                </a:cubicBezTo>
                <a:lnTo>
                  <a:pt x="1415850" y="920881"/>
                </a:lnTo>
                <a:lnTo>
                  <a:pt x="1418431" y="920571"/>
                </a:lnTo>
                <a:lnTo>
                  <a:pt x="1414610" y="918093"/>
                </a:lnTo>
                <a:cubicBezTo>
                  <a:pt x="1410273" y="913911"/>
                  <a:pt x="1409448" y="908025"/>
                  <a:pt x="1408622" y="902138"/>
                </a:cubicBezTo>
                <a:close/>
                <a:moveTo>
                  <a:pt x="1530258" y="899970"/>
                </a:moveTo>
                <a:cubicBezTo>
                  <a:pt x="1532942" y="903533"/>
                  <a:pt x="1529431" y="907715"/>
                  <a:pt x="1527882" y="910193"/>
                </a:cubicBezTo>
                <a:lnTo>
                  <a:pt x="1526334" y="909418"/>
                </a:lnTo>
                <a:lnTo>
                  <a:pt x="1526437" y="911277"/>
                </a:lnTo>
                <a:cubicBezTo>
                  <a:pt x="1526334" y="912206"/>
                  <a:pt x="1526127" y="912981"/>
                  <a:pt x="1525921" y="914066"/>
                </a:cubicBezTo>
                <a:cubicBezTo>
                  <a:pt x="1523959" y="913911"/>
                  <a:pt x="1521997" y="915615"/>
                  <a:pt x="1519726" y="914685"/>
                </a:cubicBezTo>
                <a:cubicBezTo>
                  <a:pt x="1519726" y="914685"/>
                  <a:pt x="1518590" y="914220"/>
                  <a:pt x="1517763" y="912671"/>
                </a:cubicBezTo>
                <a:cubicBezTo>
                  <a:pt x="1515079" y="910968"/>
                  <a:pt x="1516214" y="907715"/>
                  <a:pt x="1516214" y="907715"/>
                </a:cubicBezTo>
                <a:cubicBezTo>
                  <a:pt x="1516214" y="907715"/>
                  <a:pt x="1516214" y="907560"/>
                  <a:pt x="1515492" y="907870"/>
                </a:cubicBezTo>
                <a:cubicBezTo>
                  <a:pt x="1517041" y="907250"/>
                  <a:pt x="1518176" y="906011"/>
                  <a:pt x="1519726" y="905391"/>
                </a:cubicBezTo>
                <a:lnTo>
                  <a:pt x="1520345" y="905546"/>
                </a:lnTo>
                <a:lnTo>
                  <a:pt x="1519726" y="905082"/>
                </a:lnTo>
                <a:cubicBezTo>
                  <a:pt x="1520551" y="902913"/>
                  <a:pt x="1521791" y="901209"/>
                  <a:pt x="1523546" y="900435"/>
                </a:cubicBezTo>
                <a:cubicBezTo>
                  <a:pt x="1525301" y="899505"/>
                  <a:pt x="1527470" y="899195"/>
                  <a:pt x="1530258" y="899970"/>
                </a:cubicBezTo>
                <a:close/>
                <a:moveTo>
                  <a:pt x="3485998" y="899140"/>
                </a:moveTo>
                <a:cubicBezTo>
                  <a:pt x="3487492" y="901273"/>
                  <a:pt x="3490480" y="904119"/>
                  <a:pt x="3489626" y="907107"/>
                </a:cubicBezTo>
                <a:cubicBezTo>
                  <a:pt x="3489413" y="908102"/>
                  <a:pt x="3488773" y="909098"/>
                  <a:pt x="3487492" y="910094"/>
                </a:cubicBezTo>
                <a:cubicBezTo>
                  <a:pt x="3487492" y="910663"/>
                  <a:pt x="3486211" y="911090"/>
                  <a:pt x="3484931" y="911233"/>
                </a:cubicBezTo>
                <a:lnTo>
                  <a:pt x="3482583" y="910521"/>
                </a:lnTo>
                <a:lnTo>
                  <a:pt x="3483010" y="912228"/>
                </a:lnTo>
                <a:cubicBezTo>
                  <a:pt x="3481730" y="913366"/>
                  <a:pt x="3480236" y="913366"/>
                  <a:pt x="3479169" y="912940"/>
                </a:cubicBezTo>
                <a:lnTo>
                  <a:pt x="3478742" y="912228"/>
                </a:lnTo>
                <a:lnTo>
                  <a:pt x="3474260" y="915216"/>
                </a:lnTo>
                <a:cubicBezTo>
                  <a:pt x="3468498" y="916212"/>
                  <a:pt x="3461881" y="910806"/>
                  <a:pt x="3461668" y="905257"/>
                </a:cubicBezTo>
                <a:cubicBezTo>
                  <a:pt x="3463802" y="902269"/>
                  <a:pt x="3467004" y="901273"/>
                  <a:pt x="3470205" y="901558"/>
                </a:cubicBezTo>
                <a:cubicBezTo>
                  <a:pt x="3473407" y="901985"/>
                  <a:pt x="3476394" y="903550"/>
                  <a:pt x="3478102" y="906111"/>
                </a:cubicBezTo>
                <a:lnTo>
                  <a:pt x="3478955" y="910094"/>
                </a:lnTo>
                <a:lnTo>
                  <a:pt x="3481303" y="908814"/>
                </a:lnTo>
                <a:lnTo>
                  <a:pt x="3480236" y="905684"/>
                </a:lnTo>
                <a:cubicBezTo>
                  <a:pt x="3480663" y="903977"/>
                  <a:pt x="3481730" y="902127"/>
                  <a:pt x="3482370" y="899851"/>
                </a:cubicBezTo>
                <a:cubicBezTo>
                  <a:pt x="3483437" y="901131"/>
                  <a:pt x="3484718" y="900135"/>
                  <a:pt x="3485998" y="899140"/>
                </a:cubicBezTo>
                <a:close/>
                <a:moveTo>
                  <a:pt x="1359059" y="897085"/>
                </a:moveTo>
                <a:cubicBezTo>
                  <a:pt x="1361021" y="897143"/>
                  <a:pt x="1363241" y="898111"/>
                  <a:pt x="1365461" y="899505"/>
                </a:cubicBezTo>
                <a:cubicBezTo>
                  <a:pt x="1364738" y="900435"/>
                  <a:pt x="1367423" y="901673"/>
                  <a:pt x="1368352" y="903223"/>
                </a:cubicBezTo>
                <a:cubicBezTo>
                  <a:pt x="1368455" y="905856"/>
                  <a:pt x="1368558" y="907405"/>
                  <a:pt x="1366906" y="909264"/>
                </a:cubicBezTo>
                <a:lnTo>
                  <a:pt x="1363912" y="911277"/>
                </a:lnTo>
                <a:lnTo>
                  <a:pt x="1365254" y="913136"/>
                </a:lnTo>
                <a:cubicBezTo>
                  <a:pt x="1367319" y="918248"/>
                  <a:pt x="1367732" y="924134"/>
                  <a:pt x="1358956" y="926302"/>
                </a:cubicBezTo>
                <a:cubicBezTo>
                  <a:pt x="1357303" y="927077"/>
                  <a:pt x="1357716" y="926457"/>
                  <a:pt x="1356580" y="926612"/>
                </a:cubicBezTo>
                <a:cubicBezTo>
                  <a:pt x="1355341" y="926767"/>
                  <a:pt x="1353689" y="927696"/>
                  <a:pt x="1353276" y="928316"/>
                </a:cubicBezTo>
                <a:cubicBezTo>
                  <a:pt x="1351521" y="924444"/>
                  <a:pt x="1348733" y="925528"/>
                  <a:pt x="1346358" y="919177"/>
                </a:cubicBezTo>
                <a:cubicBezTo>
                  <a:pt x="1345429" y="917163"/>
                  <a:pt x="1345119" y="915460"/>
                  <a:pt x="1345119" y="913911"/>
                </a:cubicBezTo>
                <a:lnTo>
                  <a:pt x="1345326" y="912826"/>
                </a:lnTo>
                <a:lnTo>
                  <a:pt x="1345119" y="913136"/>
                </a:lnTo>
                <a:cubicBezTo>
                  <a:pt x="1342951" y="915305"/>
                  <a:pt x="1340782" y="916854"/>
                  <a:pt x="1339543" y="916544"/>
                </a:cubicBezTo>
                <a:cubicBezTo>
                  <a:pt x="1339440" y="915770"/>
                  <a:pt x="1339440" y="914995"/>
                  <a:pt x="1340163" y="913911"/>
                </a:cubicBezTo>
                <a:cubicBezTo>
                  <a:pt x="1340989" y="912981"/>
                  <a:pt x="1341092" y="913911"/>
                  <a:pt x="1341092" y="912981"/>
                </a:cubicBezTo>
                <a:cubicBezTo>
                  <a:pt x="1341815" y="912052"/>
                  <a:pt x="1340989" y="912206"/>
                  <a:pt x="1340989" y="912206"/>
                </a:cubicBezTo>
                <a:cubicBezTo>
                  <a:pt x="1340989" y="912206"/>
                  <a:pt x="1341918" y="912052"/>
                  <a:pt x="1341918" y="912052"/>
                </a:cubicBezTo>
                <a:cubicBezTo>
                  <a:pt x="1341918" y="912052"/>
                  <a:pt x="1341918" y="912052"/>
                  <a:pt x="1343467" y="910038"/>
                </a:cubicBezTo>
                <a:cubicBezTo>
                  <a:pt x="1345119" y="907405"/>
                  <a:pt x="1345016" y="906476"/>
                  <a:pt x="1345738" y="904772"/>
                </a:cubicBezTo>
                <a:cubicBezTo>
                  <a:pt x="1347391" y="902913"/>
                  <a:pt x="1348320" y="902603"/>
                  <a:pt x="1350798" y="900589"/>
                </a:cubicBezTo>
                <a:cubicBezTo>
                  <a:pt x="1352554" y="901209"/>
                  <a:pt x="1352554" y="901209"/>
                  <a:pt x="1352554" y="902138"/>
                </a:cubicBezTo>
                <a:cubicBezTo>
                  <a:pt x="1352554" y="901209"/>
                  <a:pt x="1353379" y="901209"/>
                  <a:pt x="1354206" y="900125"/>
                </a:cubicBezTo>
                <a:cubicBezTo>
                  <a:pt x="1355393" y="897879"/>
                  <a:pt x="1357097" y="897027"/>
                  <a:pt x="1359059" y="897085"/>
                </a:cubicBezTo>
                <a:close/>
                <a:moveTo>
                  <a:pt x="4676454" y="896863"/>
                </a:moveTo>
                <a:cubicBezTo>
                  <a:pt x="4678587" y="898713"/>
                  <a:pt x="4679868" y="900135"/>
                  <a:pt x="4680509" y="901558"/>
                </a:cubicBezTo>
                <a:cubicBezTo>
                  <a:pt x="4682856" y="905542"/>
                  <a:pt x="4680082" y="907676"/>
                  <a:pt x="4677094" y="911233"/>
                </a:cubicBezTo>
                <a:cubicBezTo>
                  <a:pt x="4674959" y="910094"/>
                  <a:pt x="4671545" y="911090"/>
                  <a:pt x="4669411" y="908671"/>
                </a:cubicBezTo>
                <a:cubicBezTo>
                  <a:pt x="4669411" y="908671"/>
                  <a:pt x="4668343" y="907534"/>
                  <a:pt x="4668557" y="905115"/>
                </a:cubicBezTo>
                <a:cubicBezTo>
                  <a:pt x="4666636" y="901558"/>
                  <a:pt x="4670478" y="898002"/>
                  <a:pt x="4670478" y="898002"/>
                </a:cubicBezTo>
                <a:cubicBezTo>
                  <a:pt x="4670478" y="898002"/>
                  <a:pt x="4670478" y="898002"/>
                  <a:pt x="4669411" y="898002"/>
                </a:cubicBezTo>
                <a:cubicBezTo>
                  <a:pt x="4671545" y="898002"/>
                  <a:pt x="4674106" y="896863"/>
                  <a:pt x="4676454" y="896863"/>
                </a:cubicBezTo>
                <a:close/>
                <a:moveTo>
                  <a:pt x="3994364" y="895868"/>
                </a:moveTo>
                <a:cubicBezTo>
                  <a:pt x="3995004" y="898428"/>
                  <a:pt x="3996285" y="900135"/>
                  <a:pt x="3996925" y="902697"/>
                </a:cubicBezTo>
                <a:cubicBezTo>
                  <a:pt x="3995217" y="906395"/>
                  <a:pt x="3987108" y="909952"/>
                  <a:pt x="3983266" y="907676"/>
                </a:cubicBezTo>
                <a:cubicBezTo>
                  <a:pt x="3981986" y="906822"/>
                  <a:pt x="3981345" y="905399"/>
                  <a:pt x="3981345" y="903123"/>
                </a:cubicBezTo>
                <a:cubicBezTo>
                  <a:pt x="3982199" y="896294"/>
                  <a:pt x="3987961" y="895583"/>
                  <a:pt x="3994364" y="895868"/>
                </a:cubicBezTo>
                <a:close/>
                <a:moveTo>
                  <a:pt x="1441664" y="893619"/>
                </a:moveTo>
                <a:cubicBezTo>
                  <a:pt x="1443212" y="896098"/>
                  <a:pt x="1438669" y="902758"/>
                  <a:pt x="1435985" y="905391"/>
                </a:cubicBezTo>
                <a:cubicBezTo>
                  <a:pt x="1435674" y="904772"/>
                  <a:pt x="1435571" y="903997"/>
                  <a:pt x="1435778" y="902913"/>
                </a:cubicBezTo>
                <a:cubicBezTo>
                  <a:pt x="1436604" y="899970"/>
                  <a:pt x="1439598" y="895633"/>
                  <a:pt x="1441664" y="893619"/>
                </a:cubicBezTo>
                <a:close/>
                <a:moveTo>
                  <a:pt x="3554506" y="893449"/>
                </a:moveTo>
                <a:cubicBezTo>
                  <a:pt x="3556000" y="893022"/>
                  <a:pt x="3557920" y="893022"/>
                  <a:pt x="3559841" y="893733"/>
                </a:cubicBezTo>
                <a:cubicBezTo>
                  <a:pt x="3562189" y="894587"/>
                  <a:pt x="3564750" y="896436"/>
                  <a:pt x="3567311" y="899424"/>
                </a:cubicBezTo>
                <a:cubicBezTo>
                  <a:pt x="3569872" y="905542"/>
                  <a:pt x="3561122" y="914647"/>
                  <a:pt x="3555146" y="913082"/>
                </a:cubicBezTo>
                <a:cubicBezTo>
                  <a:pt x="3552799" y="910663"/>
                  <a:pt x="3550237" y="908102"/>
                  <a:pt x="3547890" y="905684"/>
                </a:cubicBezTo>
                <a:cubicBezTo>
                  <a:pt x="3546396" y="899566"/>
                  <a:pt x="3549597" y="894587"/>
                  <a:pt x="3554506" y="893449"/>
                </a:cubicBezTo>
                <a:close/>
                <a:moveTo>
                  <a:pt x="1365151" y="891450"/>
                </a:moveTo>
                <a:cubicBezTo>
                  <a:pt x="1371759" y="891605"/>
                  <a:pt x="1367423" y="901673"/>
                  <a:pt x="1363602" y="897647"/>
                </a:cubicBezTo>
                <a:cubicBezTo>
                  <a:pt x="1363602" y="895788"/>
                  <a:pt x="1364325" y="893619"/>
                  <a:pt x="1365151" y="891450"/>
                </a:cubicBezTo>
                <a:close/>
                <a:moveTo>
                  <a:pt x="3150715" y="890461"/>
                </a:moveTo>
                <a:cubicBezTo>
                  <a:pt x="3151783" y="893307"/>
                  <a:pt x="3153703" y="898286"/>
                  <a:pt x="3153063" y="901416"/>
                </a:cubicBezTo>
                <a:cubicBezTo>
                  <a:pt x="3152850" y="902412"/>
                  <a:pt x="3152210" y="903265"/>
                  <a:pt x="3151356" y="903692"/>
                </a:cubicBezTo>
                <a:cubicBezTo>
                  <a:pt x="3149648" y="904119"/>
                  <a:pt x="3149435" y="902554"/>
                  <a:pt x="3148581" y="901985"/>
                </a:cubicBezTo>
                <a:cubicBezTo>
                  <a:pt x="3147301" y="899708"/>
                  <a:pt x="3149222" y="890888"/>
                  <a:pt x="3150715" y="890461"/>
                </a:cubicBezTo>
                <a:close/>
                <a:moveTo>
                  <a:pt x="4153575" y="889750"/>
                </a:moveTo>
                <a:cubicBezTo>
                  <a:pt x="4154642" y="889466"/>
                  <a:pt x="4155922" y="889607"/>
                  <a:pt x="4157630" y="890603"/>
                </a:cubicBezTo>
                <a:cubicBezTo>
                  <a:pt x="4156349" y="893876"/>
                  <a:pt x="4154642" y="896010"/>
                  <a:pt x="4153362" y="899140"/>
                </a:cubicBezTo>
                <a:cubicBezTo>
                  <a:pt x="4148239" y="899140"/>
                  <a:pt x="4149093" y="894871"/>
                  <a:pt x="4149947" y="890603"/>
                </a:cubicBezTo>
                <a:cubicBezTo>
                  <a:pt x="4151227" y="890603"/>
                  <a:pt x="4152294" y="890034"/>
                  <a:pt x="4153575" y="889750"/>
                </a:cubicBezTo>
                <a:close/>
                <a:moveTo>
                  <a:pt x="1287915" y="887733"/>
                </a:moveTo>
                <a:cubicBezTo>
                  <a:pt x="1289670" y="889127"/>
                  <a:pt x="1291529" y="890521"/>
                  <a:pt x="1289877" y="892380"/>
                </a:cubicBezTo>
                <a:cubicBezTo>
                  <a:pt x="1289051" y="893309"/>
                  <a:pt x="1288225" y="894239"/>
                  <a:pt x="1286573" y="894549"/>
                </a:cubicBezTo>
                <a:cubicBezTo>
                  <a:pt x="1284714" y="893154"/>
                  <a:pt x="1285437" y="890521"/>
                  <a:pt x="1284507" y="889747"/>
                </a:cubicBezTo>
                <a:cubicBezTo>
                  <a:pt x="1285437" y="889592"/>
                  <a:pt x="1287089" y="889437"/>
                  <a:pt x="1287915" y="887733"/>
                </a:cubicBezTo>
                <a:close/>
                <a:moveTo>
                  <a:pt x="1187137" y="886649"/>
                </a:moveTo>
                <a:cubicBezTo>
                  <a:pt x="1194055" y="889592"/>
                  <a:pt x="1201799" y="892070"/>
                  <a:pt x="1201799" y="897647"/>
                </a:cubicBezTo>
                <a:cubicBezTo>
                  <a:pt x="1197566" y="900125"/>
                  <a:pt x="1190544" y="895478"/>
                  <a:pt x="1187034" y="892225"/>
                </a:cubicBezTo>
                <a:cubicBezTo>
                  <a:pt x="1187860" y="890056"/>
                  <a:pt x="1186311" y="888817"/>
                  <a:pt x="1187137" y="886649"/>
                </a:cubicBezTo>
                <a:close/>
                <a:moveTo>
                  <a:pt x="3487065" y="886051"/>
                </a:moveTo>
                <a:cubicBezTo>
                  <a:pt x="3491547" y="887616"/>
                  <a:pt x="3494749" y="888754"/>
                  <a:pt x="3496669" y="890461"/>
                </a:cubicBezTo>
                <a:cubicBezTo>
                  <a:pt x="3494749" y="898997"/>
                  <a:pt x="3480023" y="894729"/>
                  <a:pt x="3487065" y="886051"/>
                </a:cubicBezTo>
                <a:close/>
                <a:moveTo>
                  <a:pt x="3219010" y="885624"/>
                </a:moveTo>
                <a:lnTo>
                  <a:pt x="3212607" y="892737"/>
                </a:lnTo>
                <a:lnTo>
                  <a:pt x="3205778" y="898002"/>
                </a:lnTo>
                <a:lnTo>
                  <a:pt x="3211967" y="903265"/>
                </a:lnTo>
                <a:cubicBezTo>
                  <a:pt x="3215381" y="907107"/>
                  <a:pt x="3218583" y="911233"/>
                  <a:pt x="3221144" y="915785"/>
                </a:cubicBezTo>
                <a:lnTo>
                  <a:pt x="3223278" y="920622"/>
                </a:lnTo>
                <a:lnTo>
                  <a:pt x="3227547" y="919769"/>
                </a:lnTo>
                <a:cubicBezTo>
                  <a:pt x="3229040" y="920195"/>
                  <a:pt x="3230535" y="921049"/>
                  <a:pt x="3231602" y="922756"/>
                </a:cubicBezTo>
                <a:cubicBezTo>
                  <a:pt x="3230107" y="925033"/>
                  <a:pt x="3229894" y="927593"/>
                  <a:pt x="3228400" y="929869"/>
                </a:cubicBezTo>
                <a:lnTo>
                  <a:pt x="3227333" y="930012"/>
                </a:lnTo>
                <a:lnTo>
                  <a:pt x="3229681" y="945092"/>
                </a:lnTo>
                <a:cubicBezTo>
                  <a:pt x="3229894" y="950214"/>
                  <a:pt x="3229254" y="955336"/>
                  <a:pt x="3227974" y="960173"/>
                </a:cubicBezTo>
                <a:lnTo>
                  <a:pt x="3226907" y="962307"/>
                </a:lnTo>
                <a:lnTo>
                  <a:pt x="3229040" y="966717"/>
                </a:lnTo>
                <a:cubicBezTo>
                  <a:pt x="3229040" y="968993"/>
                  <a:pt x="3228400" y="971270"/>
                  <a:pt x="3226480" y="972835"/>
                </a:cubicBezTo>
                <a:lnTo>
                  <a:pt x="3222638" y="971270"/>
                </a:lnTo>
                <a:lnTo>
                  <a:pt x="3221357" y="974115"/>
                </a:lnTo>
                <a:lnTo>
                  <a:pt x="3205351" y="972693"/>
                </a:lnTo>
                <a:lnTo>
                  <a:pt x="3205138" y="972693"/>
                </a:lnTo>
                <a:lnTo>
                  <a:pt x="3205138" y="975253"/>
                </a:lnTo>
                <a:cubicBezTo>
                  <a:pt x="3205138" y="978383"/>
                  <a:pt x="3205351" y="980517"/>
                  <a:pt x="3210260" y="979379"/>
                </a:cubicBezTo>
                <a:cubicBezTo>
                  <a:pt x="3208339" y="981940"/>
                  <a:pt x="3208765" y="986208"/>
                  <a:pt x="3209620" y="989623"/>
                </a:cubicBezTo>
                <a:cubicBezTo>
                  <a:pt x="3211113" y="994175"/>
                  <a:pt x="3213674" y="998159"/>
                  <a:pt x="3216022" y="1002996"/>
                </a:cubicBezTo>
                <a:cubicBezTo>
                  <a:pt x="3218583" y="1001715"/>
                  <a:pt x="3218369" y="999439"/>
                  <a:pt x="3217089" y="997020"/>
                </a:cubicBezTo>
                <a:cubicBezTo>
                  <a:pt x="3221357" y="996309"/>
                  <a:pt x="3220931" y="1003423"/>
                  <a:pt x="3221784" y="1009967"/>
                </a:cubicBezTo>
                <a:cubicBezTo>
                  <a:pt x="3222638" y="1016369"/>
                  <a:pt x="3224559" y="1022202"/>
                  <a:pt x="3231815" y="1021349"/>
                </a:cubicBezTo>
                <a:cubicBezTo>
                  <a:pt x="3230321" y="1022914"/>
                  <a:pt x="3229040" y="1023625"/>
                  <a:pt x="3229254" y="1025759"/>
                </a:cubicBezTo>
                <a:cubicBezTo>
                  <a:pt x="3232882" y="1026897"/>
                  <a:pt x="3232455" y="1022629"/>
                  <a:pt x="3237151" y="1026186"/>
                </a:cubicBezTo>
                <a:cubicBezTo>
                  <a:pt x="3238431" y="1031734"/>
                  <a:pt x="3235870" y="1029885"/>
                  <a:pt x="3231388" y="1031592"/>
                </a:cubicBezTo>
                <a:cubicBezTo>
                  <a:pt x="3238858" y="1032872"/>
                  <a:pt x="3245474" y="1036998"/>
                  <a:pt x="3252090" y="1041124"/>
                </a:cubicBezTo>
                <a:cubicBezTo>
                  <a:pt x="3249529" y="1042404"/>
                  <a:pt x="3246328" y="1046530"/>
                  <a:pt x="3250596" y="1054212"/>
                </a:cubicBezTo>
                <a:cubicBezTo>
                  <a:pt x="3252517" y="1040128"/>
                  <a:pt x="3265536" y="1057627"/>
                  <a:pt x="3256785" y="1062179"/>
                </a:cubicBezTo>
                <a:cubicBezTo>
                  <a:pt x="3259346" y="1064029"/>
                  <a:pt x="3267029" y="1067443"/>
                  <a:pt x="3265962" y="1061895"/>
                </a:cubicBezTo>
                <a:cubicBezTo>
                  <a:pt x="3267029" y="1064456"/>
                  <a:pt x="3262548" y="1080674"/>
                  <a:pt x="3275566" y="1080532"/>
                </a:cubicBezTo>
                <a:cubicBezTo>
                  <a:pt x="3274712" y="1084943"/>
                  <a:pt x="3275139" y="1089210"/>
                  <a:pt x="3276420" y="1093194"/>
                </a:cubicBezTo>
                <a:lnTo>
                  <a:pt x="3280261" y="1100166"/>
                </a:lnTo>
                <a:lnTo>
                  <a:pt x="3282182" y="1097747"/>
                </a:lnTo>
                <a:lnTo>
                  <a:pt x="3280475" y="1096894"/>
                </a:lnTo>
                <a:cubicBezTo>
                  <a:pt x="3279407" y="1095897"/>
                  <a:pt x="3278341" y="1094332"/>
                  <a:pt x="3277914" y="1091629"/>
                </a:cubicBezTo>
                <a:cubicBezTo>
                  <a:pt x="3280261" y="1090207"/>
                  <a:pt x="3281115" y="1093621"/>
                  <a:pt x="3282395" y="1096039"/>
                </a:cubicBezTo>
                <a:cubicBezTo>
                  <a:pt x="3286450" y="1091060"/>
                  <a:pt x="3287945" y="1085085"/>
                  <a:pt x="3287945" y="1078540"/>
                </a:cubicBezTo>
                <a:lnTo>
                  <a:pt x="3286450" y="1071854"/>
                </a:lnTo>
                <a:lnTo>
                  <a:pt x="3283036" y="1072138"/>
                </a:lnTo>
                <a:cubicBezTo>
                  <a:pt x="3281542" y="1072138"/>
                  <a:pt x="3280475" y="1071854"/>
                  <a:pt x="3279834" y="1071143"/>
                </a:cubicBezTo>
                <a:cubicBezTo>
                  <a:pt x="3280261" y="1070004"/>
                  <a:pt x="3280688" y="1069008"/>
                  <a:pt x="3282395" y="1068582"/>
                </a:cubicBezTo>
                <a:cubicBezTo>
                  <a:pt x="3283890" y="1068155"/>
                  <a:pt x="3283250" y="1069151"/>
                  <a:pt x="3283890" y="1068155"/>
                </a:cubicBezTo>
                <a:cubicBezTo>
                  <a:pt x="3285383" y="1067586"/>
                  <a:pt x="3284317" y="1067017"/>
                  <a:pt x="3284317" y="1067017"/>
                </a:cubicBezTo>
                <a:cubicBezTo>
                  <a:pt x="3284317" y="1067017"/>
                  <a:pt x="3285383" y="1067586"/>
                  <a:pt x="3285383" y="1067586"/>
                </a:cubicBezTo>
                <a:cubicBezTo>
                  <a:pt x="3285383" y="1067586"/>
                  <a:pt x="3285383" y="1067586"/>
                  <a:pt x="3285597" y="1067443"/>
                </a:cubicBezTo>
                <a:lnTo>
                  <a:pt x="3284317" y="1061184"/>
                </a:lnTo>
                <a:lnTo>
                  <a:pt x="3284103" y="1061184"/>
                </a:lnTo>
                <a:cubicBezTo>
                  <a:pt x="3280048" y="1061468"/>
                  <a:pt x="3276207" y="1060757"/>
                  <a:pt x="3272792" y="1059334"/>
                </a:cubicBezTo>
                <a:cubicBezTo>
                  <a:pt x="3261480" y="1054782"/>
                  <a:pt x="3253797" y="1041977"/>
                  <a:pt x="3255078" y="1027181"/>
                </a:cubicBezTo>
                <a:cubicBezTo>
                  <a:pt x="3256785" y="1026612"/>
                  <a:pt x="3258279" y="1026043"/>
                  <a:pt x="3257852" y="1024478"/>
                </a:cubicBezTo>
                <a:cubicBezTo>
                  <a:pt x="3261694" y="1022771"/>
                  <a:pt x="3265536" y="1022060"/>
                  <a:pt x="3269377" y="1022344"/>
                </a:cubicBezTo>
                <a:cubicBezTo>
                  <a:pt x="3280902" y="1022914"/>
                  <a:pt x="3292000" y="1031307"/>
                  <a:pt x="3295841" y="1042119"/>
                </a:cubicBezTo>
                <a:cubicBezTo>
                  <a:pt x="3296695" y="1044538"/>
                  <a:pt x="3297335" y="1047099"/>
                  <a:pt x="3297548" y="1049660"/>
                </a:cubicBezTo>
                <a:lnTo>
                  <a:pt x="3296695" y="1057058"/>
                </a:lnTo>
                <a:lnTo>
                  <a:pt x="3298188" y="1057200"/>
                </a:lnTo>
                <a:cubicBezTo>
                  <a:pt x="3300109" y="1057912"/>
                  <a:pt x="3301177" y="1059192"/>
                  <a:pt x="3301603" y="1061041"/>
                </a:cubicBezTo>
                <a:lnTo>
                  <a:pt x="3301603" y="1061468"/>
                </a:lnTo>
                <a:lnTo>
                  <a:pt x="3302671" y="1061468"/>
                </a:lnTo>
                <a:cubicBezTo>
                  <a:pt x="3304164" y="1063744"/>
                  <a:pt x="3304164" y="1063744"/>
                  <a:pt x="3303737" y="1064741"/>
                </a:cubicBezTo>
                <a:cubicBezTo>
                  <a:pt x="3304164" y="1063744"/>
                  <a:pt x="3305232" y="1064314"/>
                  <a:pt x="3306725" y="1063887"/>
                </a:cubicBezTo>
                <a:cubicBezTo>
                  <a:pt x="3312488" y="1060472"/>
                  <a:pt x="3316543" y="1065452"/>
                  <a:pt x="3319744" y="1072565"/>
                </a:cubicBezTo>
                <a:cubicBezTo>
                  <a:pt x="3318250" y="1073134"/>
                  <a:pt x="3320384" y="1076976"/>
                  <a:pt x="3320598" y="1079679"/>
                </a:cubicBezTo>
                <a:lnTo>
                  <a:pt x="3320171" y="1080390"/>
                </a:lnTo>
                <a:lnTo>
                  <a:pt x="3324866" y="1081528"/>
                </a:lnTo>
                <a:cubicBezTo>
                  <a:pt x="3323586" y="1084800"/>
                  <a:pt x="3322946" y="1086223"/>
                  <a:pt x="3322732" y="1088926"/>
                </a:cubicBezTo>
                <a:cubicBezTo>
                  <a:pt x="3318250" y="1087219"/>
                  <a:pt x="3314622" y="1087219"/>
                  <a:pt x="3311848" y="1086508"/>
                </a:cubicBezTo>
                <a:lnTo>
                  <a:pt x="3309927" y="1085654"/>
                </a:lnTo>
                <a:lnTo>
                  <a:pt x="3306725" y="1085369"/>
                </a:lnTo>
                <a:cubicBezTo>
                  <a:pt x="3303737" y="1084516"/>
                  <a:pt x="3301390" y="1082808"/>
                  <a:pt x="3300536" y="1080248"/>
                </a:cubicBezTo>
                <a:cubicBezTo>
                  <a:pt x="3299256" y="1077544"/>
                  <a:pt x="3298616" y="1075126"/>
                  <a:pt x="3298616" y="1073134"/>
                </a:cubicBezTo>
                <a:lnTo>
                  <a:pt x="3299469" y="1069151"/>
                </a:lnTo>
                <a:lnTo>
                  <a:pt x="3293493" y="1072138"/>
                </a:lnTo>
                <a:lnTo>
                  <a:pt x="3293066" y="1070431"/>
                </a:lnTo>
                <a:lnTo>
                  <a:pt x="3291573" y="1070858"/>
                </a:lnTo>
                <a:lnTo>
                  <a:pt x="3292640" y="1073988"/>
                </a:lnTo>
                <a:cubicBezTo>
                  <a:pt x="3293066" y="1077829"/>
                  <a:pt x="3292853" y="1081386"/>
                  <a:pt x="3292426" y="1083662"/>
                </a:cubicBezTo>
                <a:cubicBezTo>
                  <a:pt x="3294134" y="1084231"/>
                  <a:pt x="3295414" y="1085228"/>
                  <a:pt x="3296695" y="1086508"/>
                </a:cubicBezTo>
                <a:lnTo>
                  <a:pt x="3299683" y="1090207"/>
                </a:lnTo>
                <a:lnTo>
                  <a:pt x="3300323" y="1089922"/>
                </a:lnTo>
                <a:cubicBezTo>
                  <a:pt x="3308219" y="1089638"/>
                  <a:pt x="3316330" y="1092198"/>
                  <a:pt x="3322305" y="1097462"/>
                </a:cubicBezTo>
                <a:lnTo>
                  <a:pt x="3323159" y="1098458"/>
                </a:lnTo>
                <a:lnTo>
                  <a:pt x="3322519" y="1096609"/>
                </a:lnTo>
                <a:cubicBezTo>
                  <a:pt x="3322732" y="1094902"/>
                  <a:pt x="3322732" y="1094902"/>
                  <a:pt x="3323799" y="1094190"/>
                </a:cubicBezTo>
                <a:cubicBezTo>
                  <a:pt x="3324866" y="1091914"/>
                  <a:pt x="3325079" y="1090349"/>
                  <a:pt x="3327641" y="1090207"/>
                </a:cubicBezTo>
                <a:cubicBezTo>
                  <a:pt x="3329775" y="1090207"/>
                  <a:pt x="3331055" y="1091060"/>
                  <a:pt x="3331696" y="1092340"/>
                </a:cubicBezTo>
                <a:cubicBezTo>
                  <a:pt x="3332336" y="1093479"/>
                  <a:pt x="3332549" y="1095329"/>
                  <a:pt x="3332549" y="1097462"/>
                </a:cubicBezTo>
                <a:cubicBezTo>
                  <a:pt x="3332762" y="1101873"/>
                  <a:pt x="3329348" y="1102726"/>
                  <a:pt x="3328708" y="1105998"/>
                </a:cubicBezTo>
                <a:lnTo>
                  <a:pt x="3327001" y="1104718"/>
                </a:lnTo>
                <a:lnTo>
                  <a:pt x="3324866" y="1108275"/>
                </a:lnTo>
                <a:lnTo>
                  <a:pt x="3325079" y="1108133"/>
                </a:lnTo>
                <a:cubicBezTo>
                  <a:pt x="3324439" y="1112116"/>
                  <a:pt x="3324866" y="1115246"/>
                  <a:pt x="3326146" y="1117664"/>
                </a:cubicBezTo>
                <a:lnTo>
                  <a:pt x="3329775" y="1121933"/>
                </a:lnTo>
                <a:lnTo>
                  <a:pt x="3333830" y="1122217"/>
                </a:lnTo>
                <a:cubicBezTo>
                  <a:pt x="3342367" y="1125774"/>
                  <a:pt x="3348983" y="1136586"/>
                  <a:pt x="3351544" y="1143415"/>
                </a:cubicBezTo>
                <a:cubicBezTo>
                  <a:pt x="3346635" y="1140854"/>
                  <a:pt x="3341726" y="1138578"/>
                  <a:pt x="3337031" y="1135306"/>
                </a:cubicBezTo>
                <a:cubicBezTo>
                  <a:pt x="3334684" y="1133741"/>
                  <a:pt x="3332336" y="1131892"/>
                  <a:pt x="3330201" y="1129615"/>
                </a:cubicBezTo>
                <a:lnTo>
                  <a:pt x="3329134" y="1128050"/>
                </a:lnTo>
                <a:lnTo>
                  <a:pt x="3328281" y="1130184"/>
                </a:lnTo>
                <a:cubicBezTo>
                  <a:pt x="3329988" y="1133883"/>
                  <a:pt x="3340019" y="1137155"/>
                  <a:pt x="3336817" y="1143984"/>
                </a:cubicBezTo>
                <a:cubicBezTo>
                  <a:pt x="3341940" y="1149675"/>
                  <a:pt x="3339805" y="1135590"/>
                  <a:pt x="3345995" y="1140569"/>
                </a:cubicBezTo>
                <a:cubicBezTo>
                  <a:pt x="3348983" y="1149817"/>
                  <a:pt x="3350903" y="1161768"/>
                  <a:pt x="3352611" y="1173861"/>
                </a:cubicBezTo>
                <a:lnTo>
                  <a:pt x="3353891" y="1179267"/>
                </a:lnTo>
                <a:lnTo>
                  <a:pt x="3354959" y="1179125"/>
                </a:lnTo>
                <a:cubicBezTo>
                  <a:pt x="3356026" y="1178556"/>
                  <a:pt x="3356879" y="1180690"/>
                  <a:pt x="3356879" y="1180690"/>
                </a:cubicBezTo>
                <a:cubicBezTo>
                  <a:pt x="3357946" y="1180121"/>
                  <a:pt x="3359013" y="1179551"/>
                  <a:pt x="3360507" y="1180121"/>
                </a:cubicBezTo>
                <a:cubicBezTo>
                  <a:pt x="3359867" y="1181685"/>
                  <a:pt x="3360934" y="1181116"/>
                  <a:pt x="3361361" y="1182112"/>
                </a:cubicBezTo>
                <a:cubicBezTo>
                  <a:pt x="3360721" y="1181970"/>
                  <a:pt x="3359440" y="1182255"/>
                  <a:pt x="3358159" y="1182539"/>
                </a:cubicBezTo>
                <a:lnTo>
                  <a:pt x="3354959" y="1183250"/>
                </a:lnTo>
                <a:lnTo>
                  <a:pt x="3356666" y="1190933"/>
                </a:lnTo>
                <a:cubicBezTo>
                  <a:pt x="3358586" y="1196055"/>
                  <a:pt x="3360934" y="1200750"/>
                  <a:pt x="3364349" y="1204448"/>
                </a:cubicBezTo>
                <a:cubicBezTo>
                  <a:pt x="3365416" y="1203737"/>
                  <a:pt x="3365416" y="1202172"/>
                  <a:pt x="3365202" y="1200323"/>
                </a:cubicBezTo>
                <a:lnTo>
                  <a:pt x="3364775" y="1197477"/>
                </a:lnTo>
                <a:lnTo>
                  <a:pt x="3360934" y="1196055"/>
                </a:lnTo>
                <a:cubicBezTo>
                  <a:pt x="3359654" y="1194774"/>
                  <a:pt x="3359654" y="1192924"/>
                  <a:pt x="3360507" y="1190506"/>
                </a:cubicBezTo>
                <a:cubicBezTo>
                  <a:pt x="3361788" y="1189937"/>
                  <a:pt x="3365416" y="1189368"/>
                  <a:pt x="3364989" y="1188230"/>
                </a:cubicBezTo>
                <a:cubicBezTo>
                  <a:pt x="3368404" y="1189510"/>
                  <a:pt x="3372032" y="1191360"/>
                  <a:pt x="3373099" y="1193921"/>
                </a:cubicBezTo>
                <a:cubicBezTo>
                  <a:pt x="3373526" y="1194916"/>
                  <a:pt x="3373739" y="1195770"/>
                  <a:pt x="3373526" y="1196909"/>
                </a:cubicBezTo>
                <a:lnTo>
                  <a:pt x="3371818" y="1198900"/>
                </a:lnTo>
                <a:lnTo>
                  <a:pt x="3373099" y="1198758"/>
                </a:lnTo>
                <a:cubicBezTo>
                  <a:pt x="3371605" y="1200323"/>
                  <a:pt x="3374166" y="1210566"/>
                  <a:pt x="3374593" y="1203453"/>
                </a:cubicBezTo>
                <a:cubicBezTo>
                  <a:pt x="3376727" y="1205587"/>
                  <a:pt x="3375660" y="1210424"/>
                  <a:pt x="3374806" y="1215546"/>
                </a:cubicBezTo>
                <a:lnTo>
                  <a:pt x="3374593" y="1218106"/>
                </a:lnTo>
                <a:lnTo>
                  <a:pt x="3375660" y="1216541"/>
                </a:lnTo>
                <a:cubicBezTo>
                  <a:pt x="3377581" y="1214692"/>
                  <a:pt x="3380142" y="1213127"/>
                  <a:pt x="3382916" y="1211704"/>
                </a:cubicBezTo>
                <a:lnTo>
                  <a:pt x="3387184" y="1210139"/>
                </a:lnTo>
                <a:lnTo>
                  <a:pt x="3386331" y="1207009"/>
                </a:lnTo>
                <a:cubicBezTo>
                  <a:pt x="3385051" y="1204591"/>
                  <a:pt x="3383984" y="1202172"/>
                  <a:pt x="3383130" y="1198758"/>
                </a:cubicBezTo>
                <a:cubicBezTo>
                  <a:pt x="3381849" y="1196339"/>
                  <a:pt x="3380782" y="1193921"/>
                  <a:pt x="3379928" y="1190506"/>
                </a:cubicBezTo>
                <a:cubicBezTo>
                  <a:pt x="3377794" y="1185100"/>
                  <a:pt x="3375660" y="1180121"/>
                  <a:pt x="3374166" y="1175426"/>
                </a:cubicBezTo>
                <a:lnTo>
                  <a:pt x="3373739" y="1173576"/>
                </a:lnTo>
                <a:lnTo>
                  <a:pt x="3373313" y="1173291"/>
                </a:lnTo>
                <a:cubicBezTo>
                  <a:pt x="3364775" y="1167601"/>
                  <a:pt x="3356879" y="1162195"/>
                  <a:pt x="3350050" y="1155793"/>
                </a:cubicBezTo>
                <a:cubicBezTo>
                  <a:pt x="3354959" y="1155081"/>
                  <a:pt x="3359654" y="1155793"/>
                  <a:pt x="3364349" y="1157215"/>
                </a:cubicBezTo>
                <a:lnTo>
                  <a:pt x="3369898" y="1159776"/>
                </a:lnTo>
                <a:lnTo>
                  <a:pt x="3366270" y="1151382"/>
                </a:lnTo>
                <a:cubicBezTo>
                  <a:pt x="3364135" y="1147541"/>
                  <a:pt x="3361574" y="1143415"/>
                  <a:pt x="3359440" y="1139574"/>
                </a:cubicBezTo>
                <a:cubicBezTo>
                  <a:pt x="3355171" y="1131037"/>
                  <a:pt x="3351757" y="1123640"/>
                  <a:pt x="3355171" y="1119514"/>
                </a:cubicBezTo>
                <a:cubicBezTo>
                  <a:pt x="3351757" y="1109128"/>
                  <a:pt x="3347915" y="1099739"/>
                  <a:pt x="3345141" y="1090633"/>
                </a:cubicBezTo>
                <a:lnTo>
                  <a:pt x="3341940" y="1083378"/>
                </a:lnTo>
                <a:lnTo>
                  <a:pt x="3332549" y="1087788"/>
                </a:lnTo>
                <a:cubicBezTo>
                  <a:pt x="3326360" y="1081244"/>
                  <a:pt x="3324226" y="1073134"/>
                  <a:pt x="3324866" y="1065167"/>
                </a:cubicBezTo>
                <a:lnTo>
                  <a:pt x="3328708" y="1055920"/>
                </a:lnTo>
                <a:lnTo>
                  <a:pt x="3320811" y="1041551"/>
                </a:lnTo>
                <a:cubicBezTo>
                  <a:pt x="3317396" y="1034153"/>
                  <a:pt x="3312915" y="1026755"/>
                  <a:pt x="3309500" y="1019357"/>
                </a:cubicBezTo>
                <a:cubicBezTo>
                  <a:pt x="3311848" y="1018076"/>
                  <a:pt x="3313982" y="1020779"/>
                  <a:pt x="3316330" y="1019499"/>
                </a:cubicBezTo>
                <a:cubicBezTo>
                  <a:pt x="3317610" y="1019072"/>
                  <a:pt x="3318037" y="1018361"/>
                  <a:pt x="3318037" y="1017649"/>
                </a:cubicBezTo>
                <a:lnTo>
                  <a:pt x="3316970" y="1015515"/>
                </a:lnTo>
                <a:cubicBezTo>
                  <a:pt x="3315903" y="1013524"/>
                  <a:pt x="3313768" y="1012670"/>
                  <a:pt x="3311420" y="1011532"/>
                </a:cubicBezTo>
                <a:lnTo>
                  <a:pt x="3310354" y="1010536"/>
                </a:lnTo>
                <a:lnTo>
                  <a:pt x="3310140" y="1010536"/>
                </a:lnTo>
                <a:cubicBezTo>
                  <a:pt x="3309500" y="1012670"/>
                  <a:pt x="3313768" y="1016227"/>
                  <a:pt x="3308433" y="1016938"/>
                </a:cubicBezTo>
                <a:lnTo>
                  <a:pt x="3299683" y="1005130"/>
                </a:lnTo>
                <a:lnTo>
                  <a:pt x="3296695" y="1005272"/>
                </a:lnTo>
                <a:cubicBezTo>
                  <a:pt x="3297121" y="1003707"/>
                  <a:pt x="3292213" y="1002426"/>
                  <a:pt x="3290506" y="1002000"/>
                </a:cubicBezTo>
                <a:cubicBezTo>
                  <a:pt x="3291146" y="998728"/>
                  <a:pt x="3285597" y="996452"/>
                  <a:pt x="3286237" y="991472"/>
                </a:cubicBezTo>
                <a:lnTo>
                  <a:pt x="3290719" y="989623"/>
                </a:lnTo>
                <a:lnTo>
                  <a:pt x="3290078" y="988484"/>
                </a:lnTo>
                <a:cubicBezTo>
                  <a:pt x="3283890" y="977245"/>
                  <a:pt x="3277700" y="966006"/>
                  <a:pt x="3271084" y="958750"/>
                </a:cubicBezTo>
                <a:cubicBezTo>
                  <a:pt x="3274926" y="956759"/>
                  <a:pt x="3276633" y="963587"/>
                  <a:pt x="3279621" y="960315"/>
                </a:cubicBezTo>
                <a:cubicBezTo>
                  <a:pt x="3275779" y="950926"/>
                  <a:pt x="3264468" y="960884"/>
                  <a:pt x="3265749" y="948791"/>
                </a:cubicBezTo>
                <a:cubicBezTo>
                  <a:pt x="3268950" y="947796"/>
                  <a:pt x="3271298" y="949503"/>
                  <a:pt x="3273646" y="954340"/>
                </a:cubicBezTo>
                <a:cubicBezTo>
                  <a:pt x="3275353" y="943527"/>
                  <a:pt x="3257425" y="937979"/>
                  <a:pt x="3258279" y="932003"/>
                </a:cubicBezTo>
                <a:lnTo>
                  <a:pt x="3256999" y="936130"/>
                </a:lnTo>
                <a:lnTo>
                  <a:pt x="3259773" y="937125"/>
                </a:lnTo>
                <a:lnTo>
                  <a:pt x="3259133" y="942674"/>
                </a:lnTo>
                <a:lnTo>
                  <a:pt x="3260413" y="945946"/>
                </a:lnTo>
                <a:cubicBezTo>
                  <a:pt x="3262121" y="947511"/>
                  <a:pt x="3263401" y="950783"/>
                  <a:pt x="3263188" y="953486"/>
                </a:cubicBezTo>
                <a:cubicBezTo>
                  <a:pt x="3261907" y="956616"/>
                  <a:pt x="3259773" y="957754"/>
                  <a:pt x="3258279" y="957185"/>
                </a:cubicBezTo>
                <a:cubicBezTo>
                  <a:pt x="3245901" y="954482"/>
                  <a:pt x="3246328" y="942816"/>
                  <a:pt x="3244407" y="941109"/>
                </a:cubicBezTo>
                <a:cubicBezTo>
                  <a:pt x="3245901" y="937552"/>
                  <a:pt x="3246328" y="936699"/>
                  <a:pt x="3249956" y="937268"/>
                </a:cubicBezTo>
                <a:lnTo>
                  <a:pt x="3253584" y="938264"/>
                </a:lnTo>
                <a:lnTo>
                  <a:pt x="3255291" y="935560"/>
                </a:lnTo>
                <a:lnTo>
                  <a:pt x="3256358" y="935845"/>
                </a:lnTo>
                <a:lnTo>
                  <a:pt x="3254011" y="931008"/>
                </a:lnTo>
                <a:cubicBezTo>
                  <a:pt x="3252944" y="929016"/>
                  <a:pt x="3251663" y="926882"/>
                  <a:pt x="3249956" y="924321"/>
                </a:cubicBezTo>
                <a:lnTo>
                  <a:pt x="3246754" y="918488"/>
                </a:lnTo>
                <a:lnTo>
                  <a:pt x="3246114" y="919057"/>
                </a:lnTo>
                <a:cubicBezTo>
                  <a:pt x="3244407" y="919484"/>
                  <a:pt x="3240352" y="919769"/>
                  <a:pt x="3240992" y="918773"/>
                </a:cubicBezTo>
                <a:cubicBezTo>
                  <a:pt x="3240779" y="917065"/>
                  <a:pt x="3240138" y="918062"/>
                  <a:pt x="3239071" y="917492"/>
                </a:cubicBezTo>
                <a:cubicBezTo>
                  <a:pt x="3238645" y="915074"/>
                  <a:pt x="3238645" y="912940"/>
                  <a:pt x="3239285" y="911090"/>
                </a:cubicBezTo>
                <a:lnTo>
                  <a:pt x="3240992" y="909383"/>
                </a:lnTo>
                <a:lnTo>
                  <a:pt x="3231388" y="898713"/>
                </a:lnTo>
                <a:cubicBezTo>
                  <a:pt x="3227974" y="895868"/>
                  <a:pt x="3224559" y="894587"/>
                  <a:pt x="3221784" y="895868"/>
                </a:cubicBezTo>
                <a:cubicBezTo>
                  <a:pt x="3219010" y="891884"/>
                  <a:pt x="3224559" y="890461"/>
                  <a:pt x="3220077" y="885909"/>
                </a:cubicBezTo>
                <a:close/>
                <a:moveTo>
                  <a:pt x="1232363" y="885410"/>
                </a:moveTo>
                <a:cubicBezTo>
                  <a:pt x="1234222" y="885100"/>
                  <a:pt x="1236906" y="884171"/>
                  <a:pt x="1238662" y="885719"/>
                </a:cubicBezTo>
                <a:cubicBezTo>
                  <a:pt x="1239281" y="886339"/>
                  <a:pt x="1239695" y="887114"/>
                  <a:pt x="1240004" y="888353"/>
                </a:cubicBezTo>
                <a:cubicBezTo>
                  <a:pt x="1240727" y="888817"/>
                  <a:pt x="1239798" y="891916"/>
                  <a:pt x="1238559" y="892225"/>
                </a:cubicBezTo>
                <a:cubicBezTo>
                  <a:pt x="1235771" y="893309"/>
                  <a:pt x="1234429" y="890521"/>
                  <a:pt x="1231847" y="887888"/>
                </a:cubicBezTo>
                <a:cubicBezTo>
                  <a:pt x="1233086" y="887578"/>
                  <a:pt x="1232673" y="886494"/>
                  <a:pt x="1232363" y="885410"/>
                </a:cubicBezTo>
                <a:close/>
                <a:moveTo>
                  <a:pt x="3538073" y="884771"/>
                </a:moveTo>
                <a:cubicBezTo>
                  <a:pt x="3539353" y="884771"/>
                  <a:pt x="3540847" y="884771"/>
                  <a:pt x="3542554" y="885197"/>
                </a:cubicBezTo>
                <a:cubicBezTo>
                  <a:pt x="3548103" y="897148"/>
                  <a:pt x="3538499" y="915643"/>
                  <a:pt x="3528255" y="908671"/>
                </a:cubicBezTo>
                <a:cubicBezTo>
                  <a:pt x="3526761" y="907676"/>
                  <a:pt x="3525267" y="906253"/>
                  <a:pt x="3523987" y="904119"/>
                </a:cubicBezTo>
                <a:cubicBezTo>
                  <a:pt x="3526334" y="897432"/>
                  <a:pt x="3528469" y="885482"/>
                  <a:pt x="3538073" y="884771"/>
                </a:cubicBezTo>
                <a:close/>
                <a:moveTo>
                  <a:pt x="1126732" y="884635"/>
                </a:moveTo>
                <a:cubicBezTo>
                  <a:pt x="1128488" y="884015"/>
                  <a:pt x="1129417" y="884015"/>
                  <a:pt x="1130243" y="884945"/>
                </a:cubicBezTo>
                <a:cubicBezTo>
                  <a:pt x="1131172" y="885100"/>
                  <a:pt x="1131069" y="886029"/>
                  <a:pt x="1131895" y="886959"/>
                </a:cubicBezTo>
                <a:cubicBezTo>
                  <a:pt x="1131895" y="887733"/>
                  <a:pt x="1131069" y="888508"/>
                  <a:pt x="1131069" y="888508"/>
                </a:cubicBezTo>
                <a:cubicBezTo>
                  <a:pt x="1130139" y="889127"/>
                  <a:pt x="1130139" y="889127"/>
                  <a:pt x="1131069" y="890056"/>
                </a:cubicBezTo>
                <a:cubicBezTo>
                  <a:pt x="1131069" y="890056"/>
                  <a:pt x="1130139" y="890056"/>
                  <a:pt x="1130139" y="890056"/>
                </a:cubicBezTo>
                <a:cubicBezTo>
                  <a:pt x="1130139" y="889282"/>
                  <a:pt x="1130139" y="890056"/>
                  <a:pt x="1129313" y="890676"/>
                </a:cubicBezTo>
                <a:cubicBezTo>
                  <a:pt x="1127558" y="889747"/>
                  <a:pt x="1126629" y="889747"/>
                  <a:pt x="1125699" y="888817"/>
                </a:cubicBezTo>
                <a:cubicBezTo>
                  <a:pt x="1125287" y="888353"/>
                  <a:pt x="1124873" y="887578"/>
                  <a:pt x="1124667" y="886959"/>
                </a:cubicBezTo>
                <a:cubicBezTo>
                  <a:pt x="1124460" y="886339"/>
                  <a:pt x="1124564" y="885719"/>
                  <a:pt x="1124977" y="885410"/>
                </a:cubicBezTo>
                <a:cubicBezTo>
                  <a:pt x="1125803" y="885410"/>
                  <a:pt x="1125803" y="884635"/>
                  <a:pt x="1126732" y="884635"/>
                </a:cubicBezTo>
                <a:close/>
                <a:moveTo>
                  <a:pt x="1821956" y="884480"/>
                </a:moveTo>
                <a:cubicBezTo>
                  <a:pt x="1821543" y="885565"/>
                  <a:pt x="1820924" y="886649"/>
                  <a:pt x="1820717" y="887733"/>
                </a:cubicBezTo>
                <a:cubicBezTo>
                  <a:pt x="1820510" y="888662"/>
                  <a:pt x="1820614" y="889437"/>
                  <a:pt x="1821234" y="889747"/>
                </a:cubicBezTo>
                <a:lnTo>
                  <a:pt x="1823711" y="888198"/>
                </a:lnTo>
                <a:lnTo>
                  <a:pt x="1823608" y="888043"/>
                </a:lnTo>
                <a:cubicBezTo>
                  <a:pt x="1823092" y="887269"/>
                  <a:pt x="1822576" y="886494"/>
                  <a:pt x="1822266" y="885719"/>
                </a:cubicBezTo>
                <a:close/>
                <a:moveTo>
                  <a:pt x="3406606" y="884344"/>
                </a:moveTo>
                <a:cubicBezTo>
                  <a:pt x="3412155" y="886904"/>
                  <a:pt x="3413862" y="891030"/>
                  <a:pt x="3413222" y="895868"/>
                </a:cubicBezTo>
                <a:cubicBezTo>
                  <a:pt x="3408100" y="899566"/>
                  <a:pt x="3400630" y="894160"/>
                  <a:pt x="3401484" y="888042"/>
                </a:cubicBezTo>
                <a:cubicBezTo>
                  <a:pt x="3402764" y="887189"/>
                  <a:pt x="3404045" y="885055"/>
                  <a:pt x="3406606" y="884344"/>
                </a:cubicBezTo>
                <a:close/>
                <a:moveTo>
                  <a:pt x="1049084" y="884015"/>
                </a:moveTo>
                <a:cubicBezTo>
                  <a:pt x="1051458" y="884945"/>
                  <a:pt x="1053007" y="886184"/>
                  <a:pt x="1055279" y="887114"/>
                </a:cubicBezTo>
                <a:cubicBezTo>
                  <a:pt x="1055279" y="890676"/>
                  <a:pt x="1052078" y="890212"/>
                  <a:pt x="1048980" y="889592"/>
                </a:cubicBezTo>
                <a:cubicBezTo>
                  <a:pt x="1049084" y="888662"/>
                  <a:pt x="1048670" y="887733"/>
                  <a:pt x="1048464" y="886959"/>
                </a:cubicBezTo>
                <a:cubicBezTo>
                  <a:pt x="1048258" y="886029"/>
                  <a:pt x="1048258" y="885255"/>
                  <a:pt x="1049084" y="884015"/>
                </a:cubicBezTo>
                <a:close/>
                <a:moveTo>
                  <a:pt x="3278554" y="883774"/>
                </a:moveTo>
                <a:cubicBezTo>
                  <a:pt x="3278767" y="883774"/>
                  <a:pt x="3278981" y="884059"/>
                  <a:pt x="3279621" y="884771"/>
                </a:cubicBezTo>
                <a:cubicBezTo>
                  <a:pt x="3278554" y="886051"/>
                  <a:pt x="3278554" y="884771"/>
                  <a:pt x="3277487" y="884771"/>
                </a:cubicBezTo>
                <a:cubicBezTo>
                  <a:pt x="3278127" y="884059"/>
                  <a:pt x="3278341" y="883774"/>
                  <a:pt x="3278554" y="883774"/>
                </a:cubicBezTo>
                <a:close/>
                <a:moveTo>
                  <a:pt x="3363068" y="883490"/>
                </a:moveTo>
                <a:cubicBezTo>
                  <a:pt x="3359654" y="891030"/>
                  <a:pt x="3357946" y="900277"/>
                  <a:pt x="3352184" y="906822"/>
                </a:cubicBezTo>
                <a:cubicBezTo>
                  <a:pt x="3348983" y="899140"/>
                  <a:pt x="3351757" y="883063"/>
                  <a:pt x="3363068" y="883490"/>
                </a:cubicBezTo>
                <a:close/>
                <a:moveTo>
                  <a:pt x="3876129" y="883205"/>
                </a:moveTo>
                <a:cubicBezTo>
                  <a:pt x="3877197" y="883063"/>
                  <a:pt x="3878477" y="883347"/>
                  <a:pt x="3879544" y="884059"/>
                </a:cubicBezTo>
                <a:cubicBezTo>
                  <a:pt x="3880611" y="885197"/>
                  <a:pt x="3880398" y="887616"/>
                  <a:pt x="3878691" y="891172"/>
                </a:cubicBezTo>
                <a:cubicBezTo>
                  <a:pt x="3876343" y="892311"/>
                  <a:pt x="3873355" y="888754"/>
                  <a:pt x="3871221" y="887474"/>
                </a:cubicBezTo>
                <a:cubicBezTo>
                  <a:pt x="3872501" y="886335"/>
                  <a:pt x="3873782" y="885055"/>
                  <a:pt x="3872501" y="885055"/>
                </a:cubicBezTo>
                <a:cubicBezTo>
                  <a:pt x="3873782" y="883917"/>
                  <a:pt x="3875062" y="883347"/>
                  <a:pt x="3876129" y="883205"/>
                </a:cubicBezTo>
                <a:close/>
                <a:moveTo>
                  <a:pt x="1304539" y="881537"/>
                </a:moveTo>
                <a:cubicBezTo>
                  <a:pt x="1305675" y="882157"/>
                  <a:pt x="1306398" y="883241"/>
                  <a:pt x="1306295" y="884945"/>
                </a:cubicBezTo>
                <a:cubicBezTo>
                  <a:pt x="1303094" y="889592"/>
                  <a:pt x="1299273" y="886339"/>
                  <a:pt x="1293594" y="886494"/>
                </a:cubicBezTo>
                <a:cubicBezTo>
                  <a:pt x="1294317" y="882002"/>
                  <a:pt x="1301235" y="879679"/>
                  <a:pt x="1304539" y="881537"/>
                </a:cubicBezTo>
                <a:close/>
                <a:moveTo>
                  <a:pt x="1427311" y="880453"/>
                </a:moveTo>
                <a:cubicBezTo>
                  <a:pt x="1429686" y="881227"/>
                  <a:pt x="1430615" y="882621"/>
                  <a:pt x="1430305" y="883861"/>
                </a:cubicBezTo>
                <a:lnTo>
                  <a:pt x="1428447" y="889127"/>
                </a:lnTo>
                <a:lnTo>
                  <a:pt x="1428963" y="889592"/>
                </a:lnTo>
                <a:cubicBezTo>
                  <a:pt x="1429479" y="892380"/>
                  <a:pt x="1425556" y="895168"/>
                  <a:pt x="1422251" y="895323"/>
                </a:cubicBezTo>
                <a:lnTo>
                  <a:pt x="1420186" y="894859"/>
                </a:lnTo>
                <a:lnTo>
                  <a:pt x="1419980" y="895013"/>
                </a:lnTo>
                <a:cubicBezTo>
                  <a:pt x="1417295" y="894084"/>
                  <a:pt x="1416572" y="893929"/>
                  <a:pt x="1416779" y="891141"/>
                </a:cubicBezTo>
                <a:cubicBezTo>
                  <a:pt x="1416882" y="890366"/>
                  <a:pt x="1416985" y="889127"/>
                  <a:pt x="1417295" y="887578"/>
                </a:cubicBezTo>
                <a:cubicBezTo>
                  <a:pt x="1417502" y="886494"/>
                  <a:pt x="1418121" y="885410"/>
                  <a:pt x="1418947" y="884635"/>
                </a:cubicBezTo>
                <a:cubicBezTo>
                  <a:pt x="1419773" y="883861"/>
                  <a:pt x="1420909" y="883241"/>
                  <a:pt x="1422251" y="883086"/>
                </a:cubicBezTo>
                <a:cubicBezTo>
                  <a:pt x="1423181" y="881537"/>
                  <a:pt x="1425349" y="880453"/>
                  <a:pt x="1427311" y="880453"/>
                </a:cubicBezTo>
                <a:close/>
                <a:moveTo>
                  <a:pt x="4069274" y="878653"/>
                </a:moveTo>
                <a:cubicBezTo>
                  <a:pt x="4076744" y="878510"/>
                  <a:pt x="4082293" y="880787"/>
                  <a:pt x="4087628" y="879080"/>
                </a:cubicBezTo>
                <a:cubicBezTo>
                  <a:pt x="4087628" y="879080"/>
                  <a:pt x="4087628" y="879080"/>
                  <a:pt x="4089549" y="881640"/>
                </a:cubicBezTo>
                <a:cubicBezTo>
                  <a:pt x="4090616" y="881640"/>
                  <a:pt x="4090616" y="881640"/>
                  <a:pt x="4090616" y="881640"/>
                </a:cubicBezTo>
                <a:cubicBezTo>
                  <a:pt x="4091256" y="881640"/>
                  <a:pt x="4091470" y="882210"/>
                  <a:pt x="4091683" y="882779"/>
                </a:cubicBezTo>
                <a:cubicBezTo>
                  <a:pt x="4091683" y="883490"/>
                  <a:pt x="4091683" y="884059"/>
                  <a:pt x="4091683" y="884059"/>
                </a:cubicBezTo>
                <a:cubicBezTo>
                  <a:pt x="4090189" y="886335"/>
                  <a:pt x="4086988" y="885197"/>
                  <a:pt x="4084640" y="885197"/>
                </a:cubicBezTo>
                <a:cubicBezTo>
                  <a:pt x="4083360" y="887616"/>
                  <a:pt x="4080372" y="882636"/>
                  <a:pt x="4079092" y="885055"/>
                </a:cubicBezTo>
                <a:cubicBezTo>
                  <a:pt x="4074823" y="880075"/>
                  <a:pt x="4068634" y="886051"/>
                  <a:pt x="4061164" y="879933"/>
                </a:cubicBezTo>
                <a:cubicBezTo>
                  <a:pt x="4064152" y="879080"/>
                  <a:pt x="4066926" y="878653"/>
                  <a:pt x="4069274" y="878653"/>
                </a:cubicBezTo>
                <a:close/>
                <a:moveTo>
                  <a:pt x="1308257" y="878439"/>
                </a:moveTo>
                <a:cubicBezTo>
                  <a:pt x="1312180" y="876891"/>
                  <a:pt x="1319511" y="880453"/>
                  <a:pt x="1317550" y="885719"/>
                </a:cubicBezTo>
                <a:cubicBezTo>
                  <a:pt x="1315588" y="887423"/>
                  <a:pt x="1313626" y="889127"/>
                  <a:pt x="1309392" y="888043"/>
                </a:cubicBezTo>
                <a:cubicBezTo>
                  <a:pt x="1308257" y="886649"/>
                  <a:pt x="1307534" y="885255"/>
                  <a:pt x="1307327" y="883861"/>
                </a:cubicBezTo>
                <a:cubicBezTo>
                  <a:pt x="1307224" y="882312"/>
                  <a:pt x="1307430" y="880608"/>
                  <a:pt x="1308257" y="878439"/>
                </a:cubicBezTo>
                <a:close/>
                <a:moveTo>
                  <a:pt x="3838781" y="877657"/>
                </a:moveTo>
                <a:cubicBezTo>
                  <a:pt x="3840061" y="877230"/>
                  <a:pt x="3841342" y="877230"/>
                  <a:pt x="3842409" y="877657"/>
                </a:cubicBezTo>
                <a:cubicBezTo>
                  <a:pt x="3847958" y="885339"/>
                  <a:pt x="3838781" y="889181"/>
                  <a:pt x="3834726" y="886477"/>
                </a:cubicBezTo>
                <a:cubicBezTo>
                  <a:pt x="3833019" y="882210"/>
                  <a:pt x="3835580" y="878510"/>
                  <a:pt x="3838781" y="877657"/>
                </a:cubicBezTo>
                <a:close/>
                <a:moveTo>
                  <a:pt x="3849239" y="877372"/>
                </a:moveTo>
                <a:cubicBezTo>
                  <a:pt x="3855427" y="878226"/>
                  <a:pt x="3861830" y="886477"/>
                  <a:pt x="3864818" y="895868"/>
                </a:cubicBezTo>
                <a:cubicBezTo>
                  <a:pt x="3868020" y="905257"/>
                  <a:pt x="3868020" y="915643"/>
                  <a:pt x="3860977" y="920480"/>
                </a:cubicBezTo>
                <a:cubicBezTo>
                  <a:pt x="3861830" y="903265"/>
                  <a:pt x="3845184" y="896152"/>
                  <a:pt x="3849239" y="877372"/>
                </a:cubicBezTo>
                <a:close/>
                <a:moveTo>
                  <a:pt x="3941436" y="876945"/>
                </a:moveTo>
                <a:cubicBezTo>
                  <a:pt x="3945064" y="876661"/>
                  <a:pt x="3951680" y="878083"/>
                  <a:pt x="3952534" y="878083"/>
                </a:cubicBezTo>
                <a:cubicBezTo>
                  <a:pt x="3952534" y="878083"/>
                  <a:pt x="3953814" y="878083"/>
                  <a:pt x="3954881" y="878083"/>
                </a:cubicBezTo>
                <a:cubicBezTo>
                  <a:pt x="3955949" y="879364"/>
                  <a:pt x="3955735" y="880502"/>
                  <a:pt x="3957016" y="880502"/>
                </a:cubicBezTo>
                <a:cubicBezTo>
                  <a:pt x="3953174" y="884059"/>
                  <a:pt x="3949759" y="882779"/>
                  <a:pt x="3946345" y="881640"/>
                </a:cubicBezTo>
                <a:cubicBezTo>
                  <a:pt x="3944210" y="880360"/>
                  <a:pt x="3943143" y="880360"/>
                  <a:pt x="3940795" y="881498"/>
                </a:cubicBezTo>
                <a:cubicBezTo>
                  <a:pt x="3940795" y="881498"/>
                  <a:pt x="3940795" y="881356"/>
                  <a:pt x="3938662" y="879080"/>
                </a:cubicBezTo>
                <a:lnTo>
                  <a:pt x="3938874" y="877799"/>
                </a:lnTo>
                <a:cubicBezTo>
                  <a:pt x="3939088" y="877230"/>
                  <a:pt x="3940155" y="876945"/>
                  <a:pt x="3941436" y="876945"/>
                </a:cubicBezTo>
                <a:close/>
                <a:moveTo>
                  <a:pt x="3423893" y="876376"/>
                </a:moveTo>
                <a:cubicBezTo>
                  <a:pt x="3438406" y="884486"/>
                  <a:pt x="3435844" y="903977"/>
                  <a:pt x="3428801" y="920622"/>
                </a:cubicBezTo>
                <a:lnTo>
                  <a:pt x="3426027" y="926171"/>
                </a:lnTo>
                <a:lnTo>
                  <a:pt x="3429015" y="928020"/>
                </a:lnTo>
                <a:lnTo>
                  <a:pt x="3429015" y="928447"/>
                </a:lnTo>
                <a:lnTo>
                  <a:pt x="3429655" y="928447"/>
                </a:lnTo>
                <a:cubicBezTo>
                  <a:pt x="3430082" y="928589"/>
                  <a:pt x="3430509" y="928731"/>
                  <a:pt x="3430936" y="928447"/>
                </a:cubicBezTo>
                <a:cubicBezTo>
                  <a:pt x="3430936" y="928447"/>
                  <a:pt x="3431363" y="929443"/>
                  <a:pt x="3431363" y="929443"/>
                </a:cubicBezTo>
                <a:cubicBezTo>
                  <a:pt x="3431789" y="929301"/>
                  <a:pt x="3431789" y="929158"/>
                  <a:pt x="3431576" y="929585"/>
                </a:cubicBezTo>
                <a:cubicBezTo>
                  <a:pt x="3431576" y="930012"/>
                  <a:pt x="3431149" y="930723"/>
                  <a:pt x="3431149" y="932146"/>
                </a:cubicBezTo>
                <a:cubicBezTo>
                  <a:pt x="3430509" y="933569"/>
                  <a:pt x="3430936" y="934707"/>
                  <a:pt x="3429442" y="934138"/>
                </a:cubicBezTo>
                <a:cubicBezTo>
                  <a:pt x="3428801" y="933853"/>
                  <a:pt x="3428375" y="933711"/>
                  <a:pt x="3428161" y="933284"/>
                </a:cubicBezTo>
                <a:lnTo>
                  <a:pt x="3427735" y="932573"/>
                </a:lnTo>
                <a:lnTo>
                  <a:pt x="3423253" y="935703"/>
                </a:lnTo>
                <a:lnTo>
                  <a:pt x="3421972" y="933569"/>
                </a:lnTo>
                <a:lnTo>
                  <a:pt x="3420905" y="935703"/>
                </a:lnTo>
                <a:cubicBezTo>
                  <a:pt x="3404898" y="916070"/>
                  <a:pt x="3414502" y="896294"/>
                  <a:pt x="3423893" y="876376"/>
                </a:cubicBezTo>
                <a:close/>
                <a:moveTo>
                  <a:pt x="3765791" y="876092"/>
                </a:moveTo>
                <a:cubicBezTo>
                  <a:pt x="3764511" y="881783"/>
                  <a:pt x="3760456" y="887331"/>
                  <a:pt x="3754693" y="892311"/>
                </a:cubicBezTo>
                <a:lnTo>
                  <a:pt x="3750852" y="894445"/>
                </a:lnTo>
                <a:lnTo>
                  <a:pt x="3758322" y="902697"/>
                </a:lnTo>
                <a:cubicBezTo>
                  <a:pt x="3760669" y="906111"/>
                  <a:pt x="3762590" y="909098"/>
                  <a:pt x="3763231" y="910236"/>
                </a:cubicBezTo>
                <a:cubicBezTo>
                  <a:pt x="3763657" y="911374"/>
                  <a:pt x="3763871" y="912086"/>
                  <a:pt x="3763657" y="912940"/>
                </a:cubicBezTo>
                <a:cubicBezTo>
                  <a:pt x="3763231" y="913651"/>
                  <a:pt x="3762590" y="914220"/>
                  <a:pt x="3761310" y="915074"/>
                </a:cubicBezTo>
                <a:cubicBezTo>
                  <a:pt x="3755547" y="915785"/>
                  <a:pt x="3753840" y="910094"/>
                  <a:pt x="3749785" y="906111"/>
                </a:cubicBezTo>
                <a:cubicBezTo>
                  <a:pt x="3750425" y="904972"/>
                  <a:pt x="3750212" y="903407"/>
                  <a:pt x="3749145" y="902697"/>
                </a:cubicBezTo>
                <a:cubicBezTo>
                  <a:pt x="3748931" y="901131"/>
                  <a:pt x="3748505" y="899424"/>
                  <a:pt x="3747864" y="900562"/>
                </a:cubicBezTo>
                <a:lnTo>
                  <a:pt x="3747224" y="896578"/>
                </a:lnTo>
                <a:lnTo>
                  <a:pt x="3734205" y="904119"/>
                </a:lnTo>
                <a:cubicBezTo>
                  <a:pt x="3718839" y="909809"/>
                  <a:pt x="3702619" y="909952"/>
                  <a:pt x="3696003" y="899424"/>
                </a:cubicBezTo>
                <a:lnTo>
                  <a:pt x="3713504" y="893307"/>
                </a:lnTo>
                <a:cubicBezTo>
                  <a:pt x="3713290" y="892168"/>
                  <a:pt x="3714357" y="892168"/>
                  <a:pt x="3714144" y="891030"/>
                </a:cubicBezTo>
                <a:cubicBezTo>
                  <a:pt x="3714144" y="891030"/>
                  <a:pt x="3715211" y="890888"/>
                  <a:pt x="3715211" y="890888"/>
                </a:cubicBezTo>
                <a:cubicBezTo>
                  <a:pt x="3715211" y="890319"/>
                  <a:pt x="3715211" y="890461"/>
                  <a:pt x="3715638" y="890603"/>
                </a:cubicBezTo>
                <a:lnTo>
                  <a:pt x="3717132" y="891599"/>
                </a:lnTo>
                <a:lnTo>
                  <a:pt x="3729083" y="885909"/>
                </a:lnTo>
                <a:cubicBezTo>
                  <a:pt x="3739541" y="881071"/>
                  <a:pt x="3750639" y="876661"/>
                  <a:pt x="3765791" y="876092"/>
                </a:cubicBezTo>
                <a:close/>
                <a:moveTo>
                  <a:pt x="3492187" y="874527"/>
                </a:moveTo>
                <a:cubicBezTo>
                  <a:pt x="3499017" y="874385"/>
                  <a:pt x="3503498" y="878795"/>
                  <a:pt x="3506060" y="884486"/>
                </a:cubicBezTo>
                <a:cubicBezTo>
                  <a:pt x="3508621" y="890176"/>
                  <a:pt x="3509688" y="897148"/>
                  <a:pt x="3509474" y="901843"/>
                </a:cubicBezTo>
                <a:cubicBezTo>
                  <a:pt x="3505846" y="898143"/>
                  <a:pt x="3501791" y="894871"/>
                  <a:pt x="3498590" y="890603"/>
                </a:cubicBezTo>
                <a:cubicBezTo>
                  <a:pt x="3495389" y="886477"/>
                  <a:pt x="3493041" y="881498"/>
                  <a:pt x="3492187" y="874527"/>
                </a:cubicBezTo>
                <a:close/>
                <a:moveTo>
                  <a:pt x="3332336" y="872820"/>
                </a:moveTo>
                <a:lnTo>
                  <a:pt x="3331055" y="880502"/>
                </a:lnTo>
                <a:lnTo>
                  <a:pt x="3332549" y="878795"/>
                </a:lnTo>
                <a:cubicBezTo>
                  <a:pt x="3333830" y="878937"/>
                  <a:pt x="3334684" y="879506"/>
                  <a:pt x="3335537" y="880360"/>
                </a:cubicBezTo>
                <a:lnTo>
                  <a:pt x="3336604" y="881925"/>
                </a:lnTo>
                <a:lnTo>
                  <a:pt x="3337672" y="878937"/>
                </a:lnTo>
                <a:lnTo>
                  <a:pt x="3338525" y="877657"/>
                </a:lnTo>
                <a:lnTo>
                  <a:pt x="3333617" y="875238"/>
                </a:lnTo>
                <a:close/>
                <a:moveTo>
                  <a:pt x="3417917" y="870686"/>
                </a:moveTo>
                <a:cubicBezTo>
                  <a:pt x="3417917" y="871966"/>
                  <a:pt x="3418130" y="874385"/>
                  <a:pt x="3420478" y="875665"/>
                </a:cubicBezTo>
                <a:cubicBezTo>
                  <a:pt x="3418344" y="877941"/>
                  <a:pt x="3415997" y="880218"/>
                  <a:pt x="3413649" y="877657"/>
                </a:cubicBezTo>
                <a:cubicBezTo>
                  <a:pt x="3412582" y="876376"/>
                  <a:pt x="3411301" y="875238"/>
                  <a:pt x="3411088" y="872820"/>
                </a:cubicBezTo>
                <a:cubicBezTo>
                  <a:pt x="3413222" y="870544"/>
                  <a:pt x="3416850" y="871824"/>
                  <a:pt x="3417917" y="870686"/>
                </a:cubicBezTo>
                <a:close/>
                <a:moveTo>
                  <a:pt x="3548103" y="870117"/>
                </a:moveTo>
                <a:cubicBezTo>
                  <a:pt x="3552372" y="870401"/>
                  <a:pt x="3559201" y="872962"/>
                  <a:pt x="3559201" y="873816"/>
                </a:cubicBezTo>
                <a:cubicBezTo>
                  <a:pt x="3560268" y="873958"/>
                  <a:pt x="3560268" y="875096"/>
                  <a:pt x="3561549" y="875238"/>
                </a:cubicBezTo>
                <a:cubicBezTo>
                  <a:pt x="3561549" y="875238"/>
                  <a:pt x="3562615" y="875238"/>
                  <a:pt x="3563896" y="876519"/>
                </a:cubicBezTo>
                <a:cubicBezTo>
                  <a:pt x="3565177" y="877799"/>
                  <a:pt x="3566458" y="879080"/>
                  <a:pt x="3565390" y="881356"/>
                </a:cubicBezTo>
                <a:cubicBezTo>
                  <a:pt x="3555787" y="877372"/>
                  <a:pt x="3551091" y="877088"/>
                  <a:pt x="3544048" y="873104"/>
                </a:cubicBezTo>
                <a:cubicBezTo>
                  <a:pt x="3544048" y="871966"/>
                  <a:pt x="3545116" y="871966"/>
                  <a:pt x="3545116" y="870686"/>
                </a:cubicBezTo>
                <a:cubicBezTo>
                  <a:pt x="3545542" y="870117"/>
                  <a:pt x="3546823" y="869974"/>
                  <a:pt x="3548103" y="870117"/>
                </a:cubicBezTo>
                <a:close/>
                <a:moveTo>
                  <a:pt x="3605086" y="869832"/>
                </a:moveTo>
                <a:cubicBezTo>
                  <a:pt x="3607861" y="869832"/>
                  <a:pt x="3610849" y="870259"/>
                  <a:pt x="3611916" y="871681"/>
                </a:cubicBezTo>
                <a:cubicBezTo>
                  <a:pt x="3612982" y="883205"/>
                  <a:pt x="3603806" y="884344"/>
                  <a:pt x="3599751" y="879080"/>
                </a:cubicBezTo>
                <a:cubicBezTo>
                  <a:pt x="3598470" y="877372"/>
                  <a:pt x="3597616" y="874954"/>
                  <a:pt x="3597830" y="871966"/>
                </a:cubicBezTo>
                <a:cubicBezTo>
                  <a:pt x="3599324" y="870686"/>
                  <a:pt x="3602311" y="869974"/>
                  <a:pt x="3605086" y="869832"/>
                </a:cubicBezTo>
                <a:close/>
                <a:moveTo>
                  <a:pt x="1447033" y="869765"/>
                </a:moveTo>
                <a:cubicBezTo>
                  <a:pt x="1448685" y="871314"/>
                  <a:pt x="1450337" y="872863"/>
                  <a:pt x="1448478" y="874722"/>
                </a:cubicBezTo>
                <a:cubicBezTo>
                  <a:pt x="1447549" y="875496"/>
                  <a:pt x="1446620" y="876426"/>
                  <a:pt x="1444968" y="876581"/>
                </a:cubicBezTo>
                <a:cubicBezTo>
                  <a:pt x="1443316" y="875032"/>
                  <a:pt x="1444245" y="872398"/>
                  <a:pt x="1443419" y="871624"/>
                </a:cubicBezTo>
                <a:cubicBezTo>
                  <a:pt x="1444348" y="871624"/>
                  <a:pt x="1446000" y="871469"/>
                  <a:pt x="1447033" y="869765"/>
                </a:cubicBezTo>
                <a:close/>
                <a:moveTo>
                  <a:pt x="3580970" y="868836"/>
                </a:moveTo>
                <a:cubicBezTo>
                  <a:pt x="3592921" y="872108"/>
                  <a:pt x="3591641" y="886762"/>
                  <a:pt x="3583957" y="888754"/>
                </a:cubicBezTo>
                <a:cubicBezTo>
                  <a:pt x="3581397" y="889323"/>
                  <a:pt x="3578195" y="888611"/>
                  <a:pt x="3574567" y="885624"/>
                </a:cubicBezTo>
                <a:cubicBezTo>
                  <a:pt x="3578195" y="878368"/>
                  <a:pt x="3575207" y="872820"/>
                  <a:pt x="3580970" y="868836"/>
                </a:cubicBezTo>
                <a:close/>
                <a:moveTo>
                  <a:pt x="1212228" y="868836"/>
                </a:moveTo>
                <a:cubicBezTo>
                  <a:pt x="1214603" y="867287"/>
                  <a:pt x="1219869" y="867597"/>
                  <a:pt x="1219456" y="870849"/>
                </a:cubicBezTo>
                <a:lnTo>
                  <a:pt x="1218940" y="871469"/>
                </a:lnTo>
                <a:lnTo>
                  <a:pt x="1219250" y="871779"/>
                </a:lnTo>
                <a:cubicBezTo>
                  <a:pt x="1219250" y="872708"/>
                  <a:pt x="1219146" y="873792"/>
                  <a:pt x="1219146" y="874722"/>
                </a:cubicBezTo>
                <a:cubicBezTo>
                  <a:pt x="1221005" y="875341"/>
                  <a:pt x="1217598" y="878284"/>
                  <a:pt x="1219456" y="878749"/>
                </a:cubicBezTo>
                <a:cubicBezTo>
                  <a:pt x="1216152" y="882621"/>
                  <a:pt x="1220695" y="886184"/>
                  <a:pt x="1216668" y="892535"/>
                </a:cubicBezTo>
                <a:cubicBezTo>
                  <a:pt x="1215842" y="890521"/>
                  <a:pt x="1215532" y="888662"/>
                  <a:pt x="1215326" y="886959"/>
                </a:cubicBezTo>
                <a:cubicBezTo>
                  <a:pt x="1215120" y="884171"/>
                  <a:pt x="1215326" y="881847"/>
                  <a:pt x="1215429" y="879524"/>
                </a:cubicBezTo>
                <a:lnTo>
                  <a:pt x="1214706" y="874102"/>
                </a:lnTo>
                <a:lnTo>
                  <a:pt x="1213054" y="873173"/>
                </a:lnTo>
                <a:cubicBezTo>
                  <a:pt x="1212228" y="872553"/>
                  <a:pt x="1211815" y="871934"/>
                  <a:pt x="1211505" y="871469"/>
                </a:cubicBezTo>
                <a:cubicBezTo>
                  <a:pt x="1211196" y="870849"/>
                  <a:pt x="1211093" y="870384"/>
                  <a:pt x="1211299" y="869920"/>
                </a:cubicBezTo>
                <a:cubicBezTo>
                  <a:pt x="1211505" y="869610"/>
                  <a:pt x="1211815" y="869146"/>
                  <a:pt x="1212228" y="868836"/>
                </a:cubicBezTo>
                <a:close/>
                <a:moveTo>
                  <a:pt x="1242586" y="868526"/>
                </a:moveTo>
                <a:cubicBezTo>
                  <a:pt x="1245993" y="866822"/>
                  <a:pt x="1251569" y="873018"/>
                  <a:pt x="1255596" y="875651"/>
                </a:cubicBezTo>
                <a:cubicBezTo>
                  <a:pt x="1254873" y="879214"/>
                  <a:pt x="1254254" y="880298"/>
                  <a:pt x="1251466" y="882621"/>
                </a:cubicBezTo>
                <a:cubicBezTo>
                  <a:pt x="1245787" y="881072"/>
                  <a:pt x="1242999" y="877200"/>
                  <a:pt x="1240107" y="873328"/>
                </a:cubicBezTo>
                <a:cubicBezTo>
                  <a:pt x="1240521" y="870540"/>
                  <a:pt x="1241450" y="869146"/>
                  <a:pt x="1242586" y="868526"/>
                </a:cubicBezTo>
                <a:close/>
                <a:moveTo>
                  <a:pt x="3805274" y="865706"/>
                </a:moveTo>
                <a:cubicBezTo>
                  <a:pt x="3805060" y="868409"/>
                  <a:pt x="3806555" y="868979"/>
                  <a:pt x="3804207" y="872678"/>
                </a:cubicBezTo>
                <a:cubicBezTo>
                  <a:pt x="3802927" y="872108"/>
                  <a:pt x="3801432" y="871539"/>
                  <a:pt x="3799939" y="870970"/>
                </a:cubicBezTo>
                <a:cubicBezTo>
                  <a:pt x="3801219" y="867840"/>
                  <a:pt x="3802499" y="864710"/>
                  <a:pt x="3805274" y="865706"/>
                </a:cubicBezTo>
                <a:close/>
                <a:moveTo>
                  <a:pt x="1394269" y="864654"/>
                </a:moveTo>
                <a:cubicBezTo>
                  <a:pt x="1394269" y="864654"/>
                  <a:pt x="1394992" y="865118"/>
                  <a:pt x="1394992" y="865118"/>
                </a:cubicBezTo>
                <a:cubicBezTo>
                  <a:pt x="1395198" y="864808"/>
                  <a:pt x="1395198" y="864808"/>
                  <a:pt x="1395198" y="864963"/>
                </a:cubicBezTo>
                <a:cubicBezTo>
                  <a:pt x="1395302" y="865273"/>
                  <a:pt x="1395508" y="865893"/>
                  <a:pt x="1396024" y="866667"/>
                </a:cubicBezTo>
                <a:cubicBezTo>
                  <a:pt x="1396334" y="867751"/>
                  <a:pt x="1397057" y="868216"/>
                  <a:pt x="1395921" y="868371"/>
                </a:cubicBezTo>
                <a:cubicBezTo>
                  <a:pt x="1394785" y="868681"/>
                  <a:pt x="1394785" y="868681"/>
                  <a:pt x="1392617" y="867132"/>
                </a:cubicBezTo>
                <a:cubicBezTo>
                  <a:pt x="1393753" y="866977"/>
                  <a:pt x="1393753" y="866977"/>
                  <a:pt x="1393443" y="865893"/>
                </a:cubicBezTo>
                <a:cubicBezTo>
                  <a:pt x="1393443" y="865893"/>
                  <a:pt x="1393443" y="865893"/>
                  <a:pt x="1392617" y="865428"/>
                </a:cubicBezTo>
                <a:cubicBezTo>
                  <a:pt x="1393030" y="864808"/>
                  <a:pt x="1393856" y="865273"/>
                  <a:pt x="1394269" y="864654"/>
                </a:cubicBezTo>
                <a:close/>
                <a:moveTo>
                  <a:pt x="1486167" y="861711"/>
                </a:moveTo>
                <a:cubicBezTo>
                  <a:pt x="1486477" y="861711"/>
                  <a:pt x="1486993" y="862020"/>
                  <a:pt x="1487923" y="862020"/>
                </a:cubicBezTo>
                <a:cubicBezTo>
                  <a:pt x="1489058" y="862485"/>
                  <a:pt x="1489884" y="862175"/>
                  <a:pt x="1489471" y="863259"/>
                </a:cubicBezTo>
                <a:cubicBezTo>
                  <a:pt x="1489058" y="864189"/>
                  <a:pt x="1489058" y="864189"/>
                  <a:pt x="1486787" y="865118"/>
                </a:cubicBezTo>
                <a:cubicBezTo>
                  <a:pt x="1487200" y="864034"/>
                  <a:pt x="1487096" y="864034"/>
                  <a:pt x="1486064" y="863724"/>
                </a:cubicBezTo>
                <a:cubicBezTo>
                  <a:pt x="1486064" y="863724"/>
                  <a:pt x="1486064" y="863724"/>
                  <a:pt x="1485341" y="864034"/>
                </a:cubicBezTo>
                <a:cubicBezTo>
                  <a:pt x="1484928" y="863259"/>
                  <a:pt x="1485651" y="862950"/>
                  <a:pt x="1485341" y="862175"/>
                </a:cubicBezTo>
                <a:cubicBezTo>
                  <a:pt x="1485341" y="862175"/>
                  <a:pt x="1486064" y="861865"/>
                  <a:pt x="1486064" y="861865"/>
                </a:cubicBezTo>
                <a:cubicBezTo>
                  <a:pt x="1485857" y="861556"/>
                  <a:pt x="1485857" y="861556"/>
                  <a:pt x="1486167" y="861711"/>
                </a:cubicBezTo>
                <a:close/>
                <a:moveTo>
                  <a:pt x="1343815" y="861343"/>
                </a:moveTo>
                <a:cubicBezTo>
                  <a:pt x="1348010" y="860433"/>
                  <a:pt x="1352141" y="860471"/>
                  <a:pt x="1353483" y="861556"/>
                </a:cubicBezTo>
                <a:cubicBezTo>
                  <a:pt x="1351004" y="864499"/>
                  <a:pt x="1347494" y="864034"/>
                  <a:pt x="1344190" y="867132"/>
                </a:cubicBezTo>
                <a:cubicBezTo>
                  <a:pt x="1341505" y="865738"/>
                  <a:pt x="1337375" y="868836"/>
                  <a:pt x="1333761" y="866822"/>
                </a:cubicBezTo>
                <a:cubicBezTo>
                  <a:pt x="1335361" y="864111"/>
                  <a:pt x="1339621" y="862253"/>
                  <a:pt x="1343815" y="861343"/>
                </a:cubicBezTo>
                <a:close/>
                <a:moveTo>
                  <a:pt x="3466790" y="861296"/>
                </a:moveTo>
                <a:cubicBezTo>
                  <a:pt x="3470419" y="864710"/>
                  <a:pt x="3473833" y="868836"/>
                  <a:pt x="3476394" y="874100"/>
                </a:cubicBezTo>
                <a:cubicBezTo>
                  <a:pt x="3478742" y="879222"/>
                  <a:pt x="3480236" y="885482"/>
                  <a:pt x="3480236" y="893164"/>
                </a:cubicBezTo>
                <a:cubicBezTo>
                  <a:pt x="3474473" y="898997"/>
                  <a:pt x="3468711" y="896863"/>
                  <a:pt x="3464656" y="891599"/>
                </a:cubicBezTo>
                <a:cubicBezTo>
                  <a:pt x="3458040" y="882779"/>
                  <a:pt x="3456333" y="865137"/>
                  <a:pt x="3466790" y="861296"/>
                </a:cubicBezTo>
                <a:close/>
                <a:moveTo>
                  <a:pt x="1111244" y="861091"/>
                </a:moveTo>
                <a:cubicBezTo>
                  <a:pt x="1111863" y="860936"/>
                  <a:pt x="1112483" y="861091"/>
                  <a:pt x="1113309" y="861556"/>
                </a:cubicBezTo>
                <a:cubicBezTo>
                  <a:pt x="1110624" y="868061"/>
                  <a:pt x="1110521" y="871314"/>
                  <a:pt x="1107836" y="876116"/>
                </a:cubicBezTo>
                <a:cubicBezTo>
                  <a:pt x="1106907" y="876116"/>
                  <a:pt x="1106907" y="875187"/>
                  <a:pt x="1106081" y="875187"/>
                </a:cubicBezTo>
                <a:cubicBezTo>
                  <a:pt x="1105668" y="874722"/>
                  <a:pt x="1105461" y="873792"/>
                  <a:pt x="1105461" y="872863"/>
                </a:cubicBezTo>
                <a:cubicBezTo>
                  <a:pt x="1105565" y="869765"/>
                  <a:pt x="1107320" y="865118"/>
                  <a:pt x="1108043" y="865273"/>
                </a:cubicBezTo>
                <a:cubicBezTo>
                  <a:pt x="1108043" y="864344"/>
                  <a:pt x="1108869" y="864499"/>
                  <a:pt x="1108869" y="863724"/>
                </a:cubicBezTo>
                <a:cubicBezTo>
                  <a:pt x="1108869" y="863724"/>
                  <a:pt x="1108869" y="862795"/>
                  <a:pt x="1109798" y="862020"/>
                </a:cubicBezTo>
                <a:cubicBezTo>
                  <a:pt x="1110211" y="861711"/>
                  <a:pt x="1110727" y="861246"/>
                  <a:pt x="1111244" y="861091"/>
                </a:cubicBezTo>
                <a:close/>
                <a:moveTo>
                  <a:pt x="1781790" y="860936"/>
                </a:moveTo>
                <a:cubicBezTo>
                  <a:pt x="1782616" y="861091"/>
                  <a:pt x="1782616" y="861091"/>
                  <a:pt x="1782616" y="861091"/>
                </a:cubicBezTo>
                <a:lnTo>
                  <a:pt x="1781820" y="860976"/>
                </a:lnTo>
                <a:close/>
                <a:moveTo>
                  <a:pt x="3649904" y="860585"/>
                </a:moveTo>
                <a:cubicBezTo>
                  <a:pt x="3653319" y="860727"/>
                  <a:pt x="3657801" y="864426"/>
                  <a:pt x="3658014" y="867840"/>
                </a:cubicBezTo>
                <a:cubicBezTo>
                  <a:pt x="3655880" y="871255"/>
                  <a:pt x="3653746" y="870117"/>
                  <a:pt x="3652679" y="872393"/>
                </a:cubicBezTo>
                <a:cubicBezTo>
                  <a:pt x="3647983" y="868552"/>
                  <a:pt x="3647770" y="865137"/>
                  <a:pt x="3649904" y="860585"/>
                </a:cubicBezTo>
                <a:close/>
                <a:moveTo>
                  <a:pt x="3374806" y="860300"/>
                </a:moveTo>
                <a:cubicBezTo>
                  <a:pt x="3378861" y="861296"/>
                  <a:pt x="3384837" y="865564"/>
                  <a:pt x="3387611" y="868409"/>
                </a:cubicBezTo>
                <a:cubicBezTo>
                  <a:pt x="3384197" y="870544"/>
                  <a:pt x="3375020" y="864142"/>
                  <a:pt x="3371392" y="860585"/>
                </a:cubicBezTo>
                <a:cubicBezTo>
                  <a:pt x="3372245" y="860015"/>
                  <a:pt x="3373313" y="860015"/>
                  <a:pt x="3374806" y="860300"/>
                </a:cubicBezTo>
                <a:close/>
                <a:moveTo>
                  <a:pt x="4036194" y="859446"/>
                </a:moveTo>
                <a:cubicBezTo>
                  <a:pt x="4038968" y="863288"/>
                  <a:pt x="4034487" y="871966"/>
                  <a:pt x="4029792" y="873104"/>
                </a:cubicBezTo>
                <a:cubicBezTo>
                  <a:pt x="4033420" y="865991"/>
                  <a:pt x="4030218" y="861011"/>
                  <a:pt x="4036194" y="859446"/>
                </a:cubicBezTo>
                <a:close/>
                <a:moveTo>
                  <a:pt x="3298188" y="859162"/>
                </a:moveTo>
                <a:cubicBezTo>
                  <a:pt x="3299042" y="859162"/>
                  <a:pt x="3299683" y="859588"/>
                  <a:pt x="3300536" y="860727"/>
                </a:cubicBezTo>
                <a:cubicBezTo>
                  <a:pt x="3293493" y="867414"/>
                  <a:pt x="3291573" y="871681"/>
                  <a:pt x="3285383" y="876235"/>
                </a:cubicBezTo>
                <a:cubicBezTo>
                  <a:pt x="3284530" y="875523"/>
                  <a:pt x="3284957" y="874527"/>
                  <a:pt x="3283890" y="873816"/>
                </a:cubicBezTo>
                <a:cubicBezTo>
                  <a:pt x="3283463" y="872962"/>
                  <a:pt x="3283890" y="871966"/>
                  <a:pt x="3284317" y="870686"/>
                </a:cubicBezTo>
                <a:cubicBezTo>
                  <a:pt x="3286237" y="866844"/>
                  <a:pt x="3290932" y="862007"/>
                  <a:pt x="3291786" y="862434"/>
                </a:cubicBezTo>
                <a:cubicBezTo>
                  <a:pt x="3292213" y="861438"/>
                  <a:pt x="3293280" y="862007"/>
                  <a:pt x="3293921" y="861011"/>
                </a:cubicBezTo>
                <a:cubicBezTo>
                  <a:pt x="3293921" y="861011"/>
                  <a:pt x="3294347" y="859873"/>
                  <a:pt x="3295841" y="859446"/>
                </a:cubicBezTo>
                <a:cubicBezTo>
                  <a:pt x="3296695" y="859304"/>
                  <a:pt x="3297335" y="859020"/>
                  <a:pt x="3298188" y="859162"/>
                </a:cubicBezTo>
                <a:close/>
                <a:moveTo>
                  <a:pt x="4776121" y="857881"/>
                </a:moveTo>
                <a:cubicBezTo>
                  <a:pt x="4777188" y="858166"/>
                  <a:pt x="4778468" y="859020"/>
                  <a:pt x="4779322" y="860300"/>
                </a:cubicBezTo>
                <a:cubicBezTo>
                  <a:pt x="4781456" y="862719"/>
                  <a:pt x="4780176" y="864995"/>
                  <a:pt x="4780176" y="864995"/>
                </a:cubicBezTo>
                <a:cubicBezTo>
                  <a:pt x="4777401" y="868552"/>
                  <a:pt x="4773773" y="869690"/>
                  <a:pt x="4770572" y="867129"/>
                </a:cubicBezTo>
                <a:cubicBezTo>
                  <a:pt x="4769505" y="864852"/>
                  <a:pt x="4770998" y="862434"/>
                  <a:pt x="4772493" y="860015"/>
                </a:cubicBezTo>
                <a:cubicBezTo>
                  <a:pt x="4773773" y="858308"/>
                  <a:pt x="4775053" y="857739"/>
                  <a:pt x="4776121" y="857881"/>
                </a:cubicBezTo>
                <a:close/>
                <a:moveTo>
                  <a:pt x="1787572" y="853966"/>
                </a:moveTo>
                <a:cubicBezTo>
                  <a:pt x="1791909" y="852881"/>
                  <a:pt x="1796865" y="858303"/>
                  <a:pt x="1796452" y="862175"/>
                </a:cubicBezTo>
                <a:cubicBezTo>
                  <a:pt x="1796349" y="863415"/>
                  <a:pt x="1795626" y="864499"/>
                  <a:pt x="1794077" y="864963"/>
                </a:cubicBezTo>
                <a:cubicBezTo>
                  <a:pt x="1788501" y="864034"/>
                  <a:pt x="1790050" y="859077"/>
                  <a:pt x="1787572" y="853966"/>
                </a:cubicBezTo>
                <a:close/>
                <a:moveTo>
                  <a:pt x="3512462" y="853898"/>
                </a:moveTo>
                <a:cubicBezTo>
                  <a:pt x="3513316" y="856032"/>
                  <a:pt x="3515450" y="857313"/>
                  <a:pt x="3516517" y="859304"/>
                </a:cubicBezTo>
                <a:cubicBezTo>
                  <a:pt x="3514596" y="871255"/>
                  <a:pt x="3510968" y="869547"/>
                  <a:pt x="3505206" y="869121"/>
                </a:cubicBezTo>
                <a:cubicBezTo>
                  <a:pt x="3505206" y="866417"/>
                  <a:pt x="3502645" y="863999"/>
                  <a:pt x="3503712" y="860727"/>
                </a:cubicBezTo>
                <a:cubicBezTo>
                  <a:pt x="3503712" y="860727"/>
                  <a:pt x="3504139" y="859020"/>
                  <a:pt x="3506273" y="857739"/>
                </a:cubicBezTo>
                <a:cubicBezTo>
                  <a:pt x="3508194" y="853756"/>
                  <a:pt x="3512889" y="854894"/>
                  <a:pt x="3512889" y="854894"/>
                </a:cubicBezTo>
                <a:cubicBezTo>
                  <a:pt x="3512889" y="854894"/>
                  <a:pt x="3512889" y="854894"/>
                  <a:pt x="3512462" y="853898"/>
                </a:cubicBezTo>
                <a:close/>
                <a:moveTo>
                  <a:pt x="1571870" y="853656"/>
                </a:moveTo>
                <a:cubicBezTo>
                  <a:pt x="1572696" y="853501"/>
                  <a:pt x="1573728" y="853656"/>
                  <a:pt x="1574968" y="854121"/>
                </a:cubicBezTo>
                <a:cubicBezTo>
                  <a:pt x="1577239" y="855050"/>
                  <a:pt x="1577239" y="856909"/>
                  <a:pt x="1577239" y="856909"/>
                </a:cubicBezTo>
                <a:cubicBezTo>
                  <a:pt x="1576826" y="859852"/>
                  <a:pt x="1574864" y="861556"/>
                  <a:pt x="1571663" y="860936"/>
                </a:cubicBezTo>
                <a:cubicBezTo>
                  <a:pt x="1570114" y="859697"/>
                  <a:pt x="1570114" y="857838"/>
                  <a:pt x="1570114" y="855980"/>
                </a:cubicBezTo>
                <a:cubicBezTo>
                  <a:pt x="1570424" y="854585"/>
                  <a:pt x="1571044" y="853811"/>
                  <a:pt x="1571870" y="853656"/>
                </a:cubicBezTo>
                <a:close/>
                <a:moveTo>
                  <a:pt x="3360507" y="852049"/>
                </a:moveTo>
                <a:cubicBezTo>
                  <a:pt x="3363068" y="858308"/>
                  <a:pt x="3363068" y="864568"/>
                  <a:pt x="3361574" y="870401"/>
                </a:cubicBezTo>
                <a:cubicBezTo>
                  <a:pt x="3357306" y="888042"/>
                  <a:pt x="3338312" y="902697"/>
                  <a:pt x="3326360" y="908814"/>
                </a:cubicBezTo>
                <a:lnTo>
                  <a:pt x="3333403" y="889892"/>
                </a:lnTo>
                <a:cubicBezTo>
                  <a:pt x="3330201" y="890746"/>
                  <a:pt x="3329134" y="888469"/>
                  <a:pt x="3329134" y="888469"/>
                </a:cubicBezTo>
                <a:lnTo>
                  <a:pt x="3329134" y="887189"/>
                </a:lnTo>
                <a:lnTo>
                  <a:pt x="3327214" y="889750"/>
                </a:lnTo>
                <a:cubicBezTo>
                  <a:pt x="3325720" y="890888"/>
                  <a:pt x="3323799" y="891315"/>
                  <a:pt x="3321451" y="891315"/>
                </a:cubicBezTo>
                <a:lnTo>
                  <a:pt x="3321025" y="890461"/>
                </a:lnTo>
                <a:lnTo>
                  <a:pt x="3320811" y="891172"/>
                </a:lnTo>
                <a:lnTo>
                  <a:pt x="3320384" y="891172"/>
                </a:lnTo>
                <a:lnTo>
                  <a:pt x="3320384" y="894018"/>
                </a:lnTo>
                <a:cubicBezTo>
                  <a:pt x="3319104" y="898713"/>
                  <a:pt x="3316116" y="903407"/>
                  <a:pt x="3310780" y="907961"/>
                </a:cubicBezTo>
                <a:lnTo>
                  <a:pt x="3306725" y="906253"/>
                </a:lnTo>
                <a:lnTo>
                  <a:pt x="3306939" y="906679"/>
                </a:lnTo>
                <a:cubicBezTo>
                  <a:pt x="3306939" y="906679"/>
                  <a:pt x="3305872" y="906111"/>
                  <a:pt x="3305872" y="906111"/>
                </a:cubicBezTo>
                <a:lnTo>
                  <a:pt x="3305872" y="905826"/>
                </a:lnTo>
                <a:lnTo>
                  <a:pt x="3304378" y="906538"/>
                </a:lnTo>
                <a:lnTo>
                  <a:pt x="3302457" y="904261"/>
                </a:lnTo>
                <a:lnTo>
                  <a:pt x="3300323" y="903265"/>
                </a:lnTo>
                <a:cubicBezTo>
                  <a:pt x="3290932" y="897148"/>
                  <a:pt x="3286024" y="886762"/>
                  <a:pt x="3289865" y="877088"/>
                </a:cubicBezTo>
                <a:cubicBezTo>
                  <a:pt x="3294134" y="869405"/>
                  <a:pt x="3300323" y="867271"/>
                  <a:pt x="3306299" y="868552"/>
                </a:cubicBezTo>
                <a:cubicBezTo>
                  <a:pt x="3309287" y="869121"/>
                  <a:pt x="3312061" y="870686"/>
                  <a:pt x="3314408" y="872820"/>
                </a:cubicBezTo>
                <a:lnTo>
                  <a:pt x="3315903" y="874811"/>
                </a:lnTo>
                <a:lnTo>
                  <a:pt x="3321238" y="874100"/>
                </a:lnTo>
                <a:lnTo>
                  <a:pt x="3321665" y="875238"/>
                </a:lnTo>
                <a:lnTo>
                  <a:pt x="3323586" y="873246"/>
                </a:lnTo>
                <a:lnTo>
                  <a:pt x="3331909" y="872108"/>
                </a:lnTo>
                <a:lnTo>
                  <a:pt x="3331482" y="871539"/>
                </a:lnTo>
                <a:cubicBezTo>
                  <a:pt x="3330842" y="869974"/>
                  <a:pt x="3330415" y="868552"/>
                  <a:pt x="3331055" y="867982"/>
                </a:cubicBezTo>
                <a:cubicBezTo>
                  <a:pt x="3332122" y="866844"/>
                  <a:pt x="3333190" y="866844"/>
                  <a:pt x="3334470" y="866987"/>
                </a:cubicBezTo>
                <a:cubicBezTo>
                  <a:pt x="3336817" y="868267"/>
                  <a:pt x="3339165" y="869547"/>
                  <a:pt x="3341513" y="870828"/>
                </a:cubicBezTo>
                <a:lnTo>
                  <a:pt x="3342367" y="871824"/>
                </a:lnTo>
                <a:lnTo>
                  <a:pt x="3346848" y="864852"/>
                </a:lnTo>
                <a:lnTo>
                  <a:pt x="3351544" y="860300"/>
                </a:lnTo>
                <a:cubicBezTo>
                  <a:pt x="3349409" y="857455"/>
                  <a:pt x="3351971" y="854183"/>
                  <a:pt x="3353251" y="854325"/>
                </a:cubicBezTo>
                <a:lnTo>
                  <a:pt x="3354531" y="857739"/>
                </a:lnTo>
                <a:close/>
                <a:moveTo>
                  <a:pt x="1504805" y="848738"/>
                </a:moveTo>
                <a:cubicBezTo>
                  <a:pt x="1509038" y="848234"/>
                  <a:pt x="1513117" y="848699"/>
                  <a:pt x="1514356" y="849938"/>
                </a:cubicBezTo>
                <a:cubicBezTo>
                  <a:pt x="1511671" y="852572"/>
                  <a:pt x="1508264" y="851797"/>
                  <a:pt x="1504650" y="854585"/>
                </a:cubicBezTo>
                <a:cubicBezTo>
                  <a:pt x="1502172" y="853036"/>
                  <a:pt x="1497732" y="855670"/>
                  <a:pt x="1494324" y="853346"/>
                </a:cubicBezTo>
                <a:cubicBezTo>
                  <a:pt x="1496183" y="850713"/>
                  <a:pt x="1500571" y="849241"/>
                  <a:pt x="1504805" y="848738"/>
                </a:cubicBezTo>
                <a:close/>
                <a:moveTo>
                  <a:pt x="3111659" y="848492"/>
                </a:moveTo>
                <a:cubicBezTo>
                  <a:pt x="3105897" y="849772"/>
                  <a:pt x="3098428" y="853898"/>
                  <a:pt x="3093092" y="852475"/>
                </a:cubicBezTo>
                <a:cubicBezTo>
                  <a:pt x="3095226" y="851622"/>
                  <a:pt x="3107818" y="847780"/>
                  <a:pt x="3111659" y="848492"/>
                </a:cubicBezTo>
                <a:close/>
                <a:moveTo>
                  <a:pt x="3233736" y="847212"/>
                </a:moveTo>
                <a:cubicBezTo>
                  <a:pt x="3235870" y="847923"/>
                  <a:pt x="3239498" y="848776"/>
                  <a:pt x="3240138" y="851764"/>
                </a:cubicBezTo>
                <a:cubicBezTo>
                  <a:pt x="3240352" y="852760"/>
                  <a:pt x="3240138" y="854183"/>
                  <a:pt x="3239498" y="855748"/>
                </a:cubicBezTo>
                <a:cubicBezTo>
                  <a:pt x="3239925" y="856743"/>
                  <a:pt x="3236083" y="860015"/>
                  <a:pt x="3234590" y="859446"/>
                </a:cubicBezTo>
                <a:cubicBezTo>
                  <a:pt x="3230535" y="858878"/>
                  <a:pt x="3231388" y="854609"/>
                  <a:pt x="3230748" y="849914"/>
                </a:cubicBezTo>
                <a:cubicBezTo>
                  <a:pt x="3232242" y="850341"/>
                  <a:pt x="3233096" y="848776"/>
                  <a:pt x="3233736" y="847212"/>
                </a:cubicBezTo>
                <a:close/>
                <a:moveTo>
                  <a:pt x="3112727" y="847212"/>
                </a:moveTo>
                <a:cubicBezTo>
                  <a:pt x="3114221" y="847638"/>
                  <a:pt x="3113794" y="846784"/>
                  <a:pt x="3114434" y="848776"/>
                </a:cubicBezTo>
                <a:cubicBezTo>
                  <a:pt x="3112940" y="848207"/>
                  <a:pt x="3112940" y="848207"/>
                  <a:pt x="3111873" y="848634"/>
                </a:cubicBezTo>
                <a:cubicBezTo>
                  <a:pt x="3111873" y="848634"/>
                  <a:pt x="3112727" y="847212"/>
                  <a:pt x="3112727" y="847212"/>
                </a:cubicBezTo>
                <a:close/>
                <a:moveTo>
                  <a:pt x="1780860" y="847150"/>
                </a:moveTo>
                <a:cubicBezTo>
                  <a:pt x="1781273" y="847770"/>
                  <a:pt x="1782203" y="849319"/>
                  <a:pt x="1784165" y="849319"/>
                </a:cubicBezTo>
                <a:cubicBezTo>
                  <a:pt x="1783648" y="851487"/>
                  <a:pt x="1783029" y="853811"/>
                  <a:pt x="1780654" y="853036"/>
                </a:cubicBezTo>
                <a:cubicBezTo>
                  <a:pt x="1779415" y="852726"/>
                  <a:pt x="1778279" y="852262"/>
                  <a:pt x="1777350" y="850868"/>
                </a:cubicBezTo>
                <a:cubicBezTo>
                  <a:pt x="1777866" y="848544"/>
                  <a:pt x="1780551" y="848235"/>
                  <a:pt x="1780860" y="847150"/>
                </a:cubicBezTo>
                <a:close/>
                <a:moveTo>
                  <a:pt x="3118276" y="847069"/>
                </a:moveTo>
                <a:cubicBezTo>
                  <a:pt x="3119343" y="846927"/>
                  <a:pt x="3120410" y="846927"/>
                  <a:pt x="3121690" y="847212"/>
                </a:cubicBezTo>
                <a:cubicBezTo>
                  <a:pt x="3125745" y="847354"/>
                  <a:pt x="3127880" y="851337"/>
                  <a:pt x="3132575" y="852475"/>
                </a:cubicBezTo>
                <a:cubicBezTo>
                  <a:pt x="3131508" y="858450"/>
                  <a:pt x="3131081" y="860158"/>
                  <a:pt x="3124892" y="861296"/>
                </a:cubicBezTo>
                <a:cubicBezTo>
                  <a:pt x="3124892" y="861296"/>
                  <a:pt x="3123398" y="861011"/>
                  <a:pt x="3123398" y="861011"/>
                </a:cubicBezTo>
                <a:cubicBezTo>
                  <a:pt x="3117635" y="860442"/>
                  <a:pt x="3112514" y="855605"/>
                  <a:pt x="3112300" y="852902"/>
                </a:cubicBezTo>
                <a:cubicBezTo>
                  <a:pt x="3113154" y="850341"/>
                  <a:pt x="3115288" y="847780"/>
                  <a:pt x="3118276" y="847069"/>
                </a:cubicBezTo>
                <a:close/>
                <a:moveTo>
                  <a:pt x="3512462" y="846500"/>
                </a:moveTo>
                <a:cubicBezTo>
                  <a:pt x="3512889" y="846357"/>
                  <a:pt x="3513316" y="846500"/>
                  <a:pt x="3514383" y="847212"/>
                </a:cubicBezTo>
                <a:cubicBezTo>
                  <a:pt x="3515663" y="847496"/>
                  <a:pt x="3516731" y="848776"/>
                  <a:pt x="3517798" y="848919"/>
                </a:cubicBezTo>
                <a:cubicBezTo>
                  <a:pt x="3517798" y="848919"/>
                  <a:pt x="3518224" y="849914"/>
                  <a:pt x="3518224" y="851052"/>
                </a:cubicBezTo>
                <a:cubicBezTo>
                  <a:pt x="3518224" y="852049"/>
                  <a:pt x="3518224" y="853186"/>
                  <a:pt x="3517584" y="853613"/>
                </a:cubicBezTo>
                <a:cubicBezTo>
                  <a:pt x="3516303" y="855890"/>
                  <a:pt x="3513103" y="851764"/>
                  <a:pt x="3511822" y="851622"/>
                </a:cubicBezTo>
                <a:cubicBezTo>
                  <a:pt x="3510755" y="850199"/>
                  <a:pt x="3509901" y="848919"/>
                  <a:pt x="3510968" y="847923"/>
                </a:cubicBezTo>
                <a:cubicBezTo>
                  <a:pt x="3511608" y="847354"/>
                  <a:pt x="3511822" y="846784"/>
                  <a:pt x="3512462" y="846500"/>
                </a:cubicBezTo>
                <a:close/>
                <a:moveTo>
                  <a:pt x="1208304" y="846221"/>
                </a:moveTo>
                <a:cubicBezTo>
                  <a:pt x="1208304" y="846221"/>
                  <a:pt x="1209028" y="846376"/>
                  <a:pt x="1209750" y="846686"/>
                </a:cubicBezTo>
                <a:cubicBezTo>
                  <a:pt x="1210473" y="846995"/>
                  <a:pt x="1211196" y="847460"/>
                  <a:pt x="1211402" y="848080"/>
                </a:cubicBezTo>
                <a:cubicBezTo>
                  <a:pt x="1212435" y="849783"/>
                  <a:pt x="1208821" y="850403"/>
                  <a:pt x="1208408" y="851023"/>
                </a:cubicBezTo>
                <a:cubicBezTo>
                  <a:pt x="1207169" y="851178"/>
                  <a:pt x="1206033" y="851332"/>
                  <a:pt x="1205723" y="850248"/>
                </a:cubicBezTo>
                <a:cubicBezTo>
                  <a:pt x="1205517" y="849628"/>
                  <a:pt x="1205207" y="849319"/>
                  <a:pt x="1205207" y="848854"/>
                </a:cubicBezTo>
                <a:cubicBezTo>
                  <a:pt x="1205207" y="848544"/>
                  <a:pt x="1205413" y="848235"/>
                  <a:pt x="1206239" y="847770"/>
                </a:cubicBezTo>
                <a:cubicBezTo>
                  <a:pt x="1206653" y="846995"/>
                  <a:pt x="1207892" y="846840"/>
                  <a:pt x="1208304" y="846221"/>
                </a:cubicBezTo>
                <a:close/>
                <a:moveTo>
                  <a:pt x="1190544" y="846066"/>
                </a:moveTo>
                <a:cubicBezTo>
                  <a:pt x="1194985" y="846066"/>
                  <a:pt x="1197360" y="848235"/>
                  <a:pt x="1198392" y="851642"/>
                </a:cubicBezTo>
                <a:cubicBezTo>
                  <a:pt x="1196120" y="855670"/>
                  <a:pt x="1189512" y="854276"/>
                  <a:pt x="1188273" y="850093"/>
                </a:cubicBezTo>
                <a:cubicBezTo>
                  <a:pt x="1188892" y="849009"/>
                  <a:pt x="1189202" y="847150"/>
                  <a:pt x="1190544" y="846066"/>
                </a:cubicBezTo>
                <a:close/>
                <a:moveTo>
                  <a:pt x="3117849" y="845362"/>
                </a:moveTo>
                <a:cubicBezTo>
                  <a:pt x="3118276" y="845077"/>
                  <a:pt x="3119130" y="845220"/>
                  <a:pt x="3119770" y="845362"/>
                </a:cubicBezTo>
                <a:cubicBezTo>
                  <a:pt x="3119770" y="845362"/>
                  <a:pt x="3119983" y="846500"/>
                  <a:pt x="3119983" y="846500"/>
                </a:cubicBezTo>
                <a:cubicBezTo>
                  <a:pt x="3118916" y="846927"/>
                  <a:pt x="3117635" y="847354"/>
                  <a:pt x="3117422" y="846357"/>
                </a:cubicBezTo>
                <a:cubicBezTo>
                  <a:pt x="3117209" y="845931"/>
                  <a:pt x="3117422" y="845504"/>
                  <a:pt x="3117849" y="845362"/>
                </a:cubicBezTo>
                <a:close/>
                <a:moveTo>
                  <a:pt x="1379916" y="845136"/>
                </a:moveTo>
                <a:cubicBezTo>
                  <a:pt x="1381672" y="845911"/>
                  <a:pt x="1380639" y="848390"/>
                  <a:pt x="1380639" y="850093"/>
                </a:cubicBezTo>
                <a:cubicBezTo>
                  <a:pt x="1382291" y="850868"/>
                  <a:pt x="1378677" y="853501"/>
                  <a:pt x="1380433" y="854276"/>
                </a:cubicBezTo>
                <a:cubicBezTo>
                  <a:pt x="1376715" y="857683"/>
                  <a:pt x="1380949" y="861711"/>
                  <a:pt x="1376302" y="867751"/>
                </a:cubicBezTo>
                <a:cubicBezTo>
                  <a:pt x="1375683" y="865738"/>
                  <a:pt x="1375476" y="863724"/>
                  <a:pt x="1375476" y="862020"/>
                </a:cubicBezTo>
                <a:cubicBezTo>
                  <a:pt x="1375579" y="856599"/>
                  <a:pt x="1377438" y="852262"/>
                  <a:pt x="1376302" y="848544"/>
                </a:cubicBezTo>
                <a:cubicBezTo>
                  <a:pt x="1376302" y="848544"/>
                  <a:pt x="1376302" y="848699"/>
                  <a:pt x="1378058" y="846840"/>
                </a:cubicBezTo>
                <a:cubicBezTo>
                  <a:pt x="1378161" y="846066"/>
                  <a:pt x="1378161" y="846066"/>
                  <a:pt x="1378161" y="846066"/>
                </a:cubicBezTo>
                <a:cubicBezTo>
                  <a:pt x="1378161" y="845136"/>
                  <a:pt x="1379916" y="845136"/>
                  <a:pt x="1379916" y="845136"/>
                </a:cubicBezTo>
                <a:close/>
                <a:moveTo>
                  <a:pt x="3371392" y="844650"/>
                </a:moveTo>
                <a:cubicBezTo>
                  <a:pt x="3372245" y="844650"/>
                  <a:pt x="3373099" y="844650"/>
                  <a:pt x="3374166" y="844935"/>
                </a:cubicBezTo>
                <a:cubicBezTo>
                  <a:pt x="3378221" y="846073"/>
                  <a:pt x="3383130" y="849488"/>
                  <a:pt x="3386758" y="850910"/>
                </a:cubicBezTo>
                <a:cubicBezTo>
                  <a:pt x="3386331" y="856316"/>
                  <a:pt x="3385691" y="858024"/>
                  <a:pt x="3382489" y="862292"/>
                </a:cubicBezTo>
                <a:cubicBezTo>
                  <a:pt x="3374806" y="862150"/>
                  <a:pt x="3370538" y="857739"/>
                  <a:pt x="3366270" y="853329"/>
                </a:cubicBezTo>
                <a:cubicBezTo>
                  <a:pt x="3366697" y="847212"/>
                  <a:pt x="3368617" y="844935"/>
                  <a:pt x="3371392" y="844650"/>
                </a:cubicBezTo>
                <a:close/>
                <a:moveTo>
                  <a:pt x="1568772" y="843278"/>
                </a:moveTo>
                <a:cubicBezTo>
                  <a:pt x="1571870" y="846066"/>
                  <a:pt x="1571870" y="849009"/>
                  <a:pt x="1569805" y="852107"/>
                </a:cubicBezTo>
                <a:cubicBezTo>
                  <a:pt x="1566191" y="853191"/>
                  <a:pt x="1563300" y="850558"/>
                  <a:pt x="1563093" y="847615"/>
                </a:cubicBezTo>
                <a:cubicBezTo>
                  <a:pt x="1563093" y="846686"/>
                  <a:pt x="1563300" y="845756"/>
                  <a:pt x="1563919" y="844827"/>
                </a:cubicBezTo>
                <a:cubicBezTo>
                  <a:pt x="1565158" y="844362"/>
                  <a:pt x="1566913" y="843278"/>
                  <a:pt x="1568772" y="843278"/>
                </a:cubicBezTo>
                <a:close/>
                <a:moveTo>
                  <a:pt x="3604019" y="839244"/>
                </a:moveTo>
                <a:cubicBezTo>
                  <a:pt x="3603806" y="840952"/>
                  <a:pt x="3605513" y="841094"/>
                  <a:pt x="3607007" y="841094"/>
                </a:cubicBezTo>
                <a:cubicBezTo>
                  <a:pt x="3612556" y="849488"/>
                  <a:pt x="3599111" y="866844"/>
                  <a:pt x="3592281" y="861723"/>
                </a:cubicBezTo>
                <a:cubicBezTo>
                  <a:pt x="3591214" y="861011"/>
                  <a:pt x="3590574" y="859873"/>
                  <a:pt x="3589933" y="858166"/>
                </a:cubicBezTo>
                <a:cubicBezTo>
                  <a:pt x="3591001" y="848065"/>
                  <a:pt x="3594202" y="840525"/>
                  <a:pt x="3604019" y="839244"/>
                </a:cubicBezTo>
                <a:close/>
                <a:moveTo>
                  <a:pt x="3799512" y="838533"/>
                </a:moveTo>
                <a:cubicBezTo>
                  <a:pt x="3799939" y="838533"/>
                  <a:pt x="3800792" y="838675"/>
                  <a:pt x="3801646" y="839244"/>
                </a:cubicBezTo>
                <a:cubicBezTo>
                  <a:pt x="3804847" y="847923"/>
                  <a:pt x="3792896" y="869405"/>
                  <a:pt x="3781371" y="866133"/>
                </a:cubicBezTo>
                <a:cubicBezTo>
                  <a:pt x="3786066" y="858593"/>
                  <a:pt x="3791188" y="852191"/>
                  <a:pt x="3794176" y="840240"/>
                </a:cubicBezTo>
                <a:cubicBezTo>
                  <a:pt x="3796524" y="841094"/>
                  <a:pt x="3797591" y="838818"/>
                  <a:pt x="3799512" y="838533"/>
                </a:cubicBezTo>
                <a:close/>
                <a:moveTo>
                  <a:pt x="4019547" y="837821"/>
                </a:moveTo>
                <a:cubicBezTo>
                  <a:pt x="4022535" y="838533"/>
                  <a:pt x="4024456" y="839955"/>
                  <a:pt x="4025523" y="841805"/>
                </a:cubicBezTo>
                <a:cubicBezTo>
                  <a:pt x="4029151" y="847354"/>
                  <a:pt x="4025737" y="856174"/>
                  <a:pt x="4019974" y="857739"/>
                </a:cubicBezTo>
                <a:cubicBezTo>
                  <a:pt x="4017200" y="858450"/>
                  <a:pt x="4013999" y="857739"/>
                  <a:pt x="4010797" y="854894"/>
                </a:cubicBezTo>
                <a:cubicBezTo>
                  <a:pt x="4015492" y="847496"/>
                  <a:pt x="4013145" y="842090"/>
                  <a:pt x="4019547" y="837821"/>
                </a:cubicBezTo>
                <a:close/>
                <a:moveTo>
                  <a:pt x="1743172" y="837702"/>
                </a:moveTo>
                <a:cubicBezTo>
                  <a:pt x="1743895" y="837702"/>
                  <a:pt x="1744617" y="838012"/>
                  <a:pt x="1745237" y="838476"/>
                </a:cubicBezTo>
                <a:cubicBezTo>
                  <a:pt x="1746786" y="839405"/>
                  <a:pt x="1745650" y="840955"/>
                  <a:pt x="1743688" y="842503"/>
                </a:cubicBezTo>
                <a:cubicBezTo>
                  <a:pt x="1740384" y="846531"/>
                  <a:pt x="1737699" y="847305"/>
                  <a:pt x="1735531" y="844517"/>
                </a:cubicBezTo>
                <a:cubicBezTo>
                  <a:pt x="1735634" y="843743"/>
                  <a:pt x="1736873" y="841264"/>
                  <a:pt x="1736047" y="841264"/>
                </a:cubicBezTo>
                <a:cubicBezTo>
                  <a:pt x="1738319" y="839405"/>
                  <a:pt x="1741003" y="837702"/>
                  <a:pt x="1743172" y="837702"/>
                </a:cubicBezTo>
                <a:close/>
                <a:moveTo>
                  <a:pt x="3877410" y="837110"/>
                </a:moveTo>
                <a:cubicBezTo>
                  <a:pt x="3879331" y="837253"/>
                  <a:pt x="3881251" y="837964"/>
                  <a:pt x="3882959" y="838960"/>
                </a:cubicBezTo>
                <a:cubicBezTo>
                  <a:pt x="3880184" y="845220"/>
                  <a:pt x="3875916" y="847354"/>
                  <a:pt x="3869727" y="847923"/>
                </a:cubicBezTo>
                <a:cubicBezTo>
                  <a:pt x="3868873" y="845931"/>
                  <a:pt x="3870794" y="841094"/>
                  <a:pt x="3872288" y="837964"/>
                </a:cubicBezTo>
                <a:cubicBezTo>
                  <a:pt x="3873782" y="837110"/>
                  <a:pt x="3875703" y="836826"/>
                  <a:pt x="3877410" y="837110"/>
                </a:cubicBezTo>
                <a:close/>
                <a:moveTo>
                  <a:pt x="1534181" y="834449"/>
                </a:moveTo>
                <a:cubicBezTo>
                  <a:pt x="1535420" y="834294"/>
                  <a:pt x="1536659" y="834449"/>
                  <a:pt x="1537795" y="834914"/>
                </a:cubicBezTo>
                <a:cubicBezTo>
                  <a:pt x="1539654" y="834139"/>
                  <a:pt x="1542235" y="834294"/>
                  <a:pt x="1543784" y="835223"/>
                </a:cubicBezTo>
                <a:cubicBezTo>
                  <a:pt x="1545230" y="837082"/>
                  <a:pt x="1544920" y="838631"/>
                  <a:pt x="1543991" y="839405"/>
                </a:cubicBezTo>
                <a:cubicBezTo>
                  <a:pt x="1536763" y="846531"/>
                  <a:pt x="1529638" y="842659"/>
                  <a:pt x="1527882" y="843433"/>
                </a:cubicBezTo>
                <a:cubicBezTo>
                  <a:pt x="1526747" y="842039"/>
                  <a:pt x="1526230" y="841419"/>
                  <a:pt x="1526643" y="840490"/>
                </a:cubicBezTo>
                <a:cubicBezTo>
                  <a:pt x="1526953" y="839560"/>
                  <a:pt x="1528192" y="838476"/>
                  <a:pt x="1530773" y="836153"/>
                </a:cubicBezTo>
                <a:cubicBezTo>
                  <a:pt x="1531703" y="835378"/>
                  <a:pt x="1532942" y="834759"/>
                  <a:pt x="1534181" y="834449"/>
                </a:cubicBezTo>
                <a:close/>
                <a:moveTo>
                  <a:pt x="3112514" y="833269"/>
                </a:moveTo>
                <a:cubicBezTo>
                  <a:pt x="3113794" y="833411"/>
                  <a:pt x="3115928" y="836114"/>
                  <a:pt x="3116995" y="837395"/>
                </a:cubicBezTo>
                <a:cubicBezTo>
                  <a:pt x="3118062" y="837537"/>
                  <a:pt x="3119130" y="838960"/>
                  <a:pt x="3119130" y="840098"/>
                </a:cubicBezTo>
                <a:cubicBezTo>
                  <a:pt x="3119130" y="840098"/>
                  <a:pt x="3120197" y="841520"/>
                  <a:pt x="3121264" y="841663"/>
                </a:cubicBezTo>
                <a:lnTo>
                  <a:pt x="3122544" y="843939"/>
                </a:lnTo>
                <a:lnTo>
                  <a:pt x="3122758" y="843939"/>
                </a:lnTo>
                <a:cubicBezTo>
                  <a:pt x="3123611" y="843370"/>
                  <a:pt x="3124465" y="843085"/>
                  <a:pt x="3125105" y="843370"/>
                </a:cubicBezTo>
                <a:cubicBezTo>
                  <a:pt x="3125745" y="843655"/>
                  <a:pt x="3126172" y="843797"/>
                  <a:pt x="3126386" y="844224"/>
                </a:cubicBezTo>
                <a:cubicBezTo>
                  <a:pt x="3126813" y="844508"/>
                  <a:pt x="3126813" y="845077"/>
                  <a:pt x="3127239" y="846215"/>
                </a:cubicBezTo>
                <a:cubicBezTo>
                  <a:pt x="3125318" y="846357"/>
                  <a:pt x="3124465" y="846500"/>
                  <a:pt x="3123611" y="846357"/>
                </a:cubicBezTo>
                <a:lnTo>
                  <a:pt x="3123185" y="846073"/>
                </a:lnTo>
                <a:lnTo>
                  <a:pt x="3123185" y="846784"/>
                </a:lnTo>
                <a:lnTo>
                  <a:pt x="3121477" y="845647"/>
                </a:lnTo>
                <a:lnTo>
                  <a:pt x="3120623" y="845220"/>
                </a:lnTo>
                <a:lnTo>
                  <a:pt x="3120837" y="845077"/>
                </a:lnTo>
                <a:lnTo>
                  <a:pt x="3118916" y="842516"/>
                </a:lnTo>
                <a:cubicBezTo>
                  <a:pt x="3118916" y="842516"/>
                  <a:pt x="3117635" y="842374"/>
                  <a:pt x="3116568" y="842090"/>
                </a:cubicBezTo>
                <a:cubicBezTo>
                  <a:pt x="3113367" y="839244"/>
                  <a:pt x="3111233" y="837679"/>
                  <a:pt x="3112514" y="833269"/>
                </a:cubicBezTo>
                <a:close/>
                <a:moveTo>
                  <a:pt x="1330457" y="831351"/>
                </a:moveTo>
                <a:cubicBezTo>
                  <a:pt x="1338614" y="826859"/>
                  <a:pt x="1344293" y="835069"/>
                  <a:pt x="1340886" y="840180"/>
                </a:cubicBezTo>
                <a:cubicBezTo>
                  <a:pt x="1339750" y="841884"/>
                  <a:pt x="1337581" y="843278"/>
                  <a:pt x="1334174" y="843588"/>
                </a:cubicBezTo>
                <a:cubicBezTo>
                  <a:pt x="1333244" y="839405"/>
                  <a:pt x="1330767" y="837547"/>
                  <a:pt x="1330250" y="834759"/>
                </a:cubicBezTo>
                <a:cubicBezTo>
                  <a:pt x="1330043" y="833674"/>
                  <a:pt x="1330043" y="832745"/>
                  <a:pt x="1330457" y="831351"/>
                </a:cubicBezTo>
                <a:close/>
                <a:moveTo>
                  <a:pt x="1277590" y="831196"/>
                </a:moveTo>
                <a:cubicBezTo>
                  <a:pt x="1279551" y="831815"/>
                  <a:pt x="1281203" y="831506"/>
                  <a:pt x="1283991" y="831815"/>
                </a:cubicBezTo>
                <a:cubicBezTo>
                  <a:pt x="1284714" y="834294"/>
                  <a:pt x="1283682" y="839715"/>
                  <a:pt x="1279655" y="841264"/>
                </a:cubicBezTo>
                <a:cubicBezTo>
                  <a:pt x="1277073" y="840025"/>
                  <a:pt x="1275731" y="838631"/>
                  <a:pt x="1275525" y="836927"/>
                </a:cubicBezTo>
                <a:cubicBezTo>
                  <a:pt x="1275215" y="835223"/>
                  <a:pt x="1276040" y="833364"/>
                  <a:pt x="1277590" y="831196"/>
                </a:cubicBezTo>
                <a:close/>
                <a:moveTo>
                  <a:pt x="3398923" y="829997"/>
                </a:moveTo>
                <a:cubicBezTo>
                  <a:pt x="3401271" y="831846"/>
                  <a:pt x="3402978" y="835118"/>
                  <a:pt x="3404045" y="838960"/>
                </a:cubicBezTo>
                <a:lnTo>
                  <a:pt x="3404472" y="844224"/>
                </a:lnTo>
                <a:lnTo>
                  <a:pt x="3404685" y="844508"/>
                </a:lnTo>
                <a:cubicBezTo>
                  <a:pt x="3405326" y="845789"/>
                  <a:pt x="3405752" y="847212"/>
                  <a:pt x="3405752" y="848492"/>
                </a:cubicBezTo>
                <a:lnTo>
                  <a:pt x="3404898" y="849914"/>
                </a:lnTo>
                <a:lnTo>
                  <a:pt x="3405112" y="851337"/>
                </a:lnTo>
                <a:cubicBezTo>
                  <a:pt x="3404472" y="859588"/>
                  <a:pt x="3401057" y="867129"/>
                  <a:pt x="3394655" y="867698"/>
                </a:cubicBezTo>
                <a:lnTo>
                  <a:pt x="3395508" y="850768"/>
                </a:lnTo>
                <a:lnTo>
                  <a:pt x="3393801" y="850057"/>
                </a:lnTo>
                <a:lnTo>
                  <a:pt x="3393160" y="850768"/>
                </a:lnTo>
                <a:cubicBezTo>
                  <a:pt x="3389319" y="851479"/>
                  <a:pt x="3385477" y="846073"/>
                  <a:pt x="3385264" y="841520"/>
                </a:cubicBezTo>
                <a:lnTo>
                  <a:pt x="3385904" y="838675"/>
                </a:lnTo>
                <a:lnTo>
                  <a:pt x="3385691" y="838391"/>
                </a:lnTo>
                <a:cubicBezTo>
                  <a:pt x="3386971" y="834692"/>
                  <a:pt x="3387184" y="833838"/>
                  <a:pt x="3391026" y="834123"/>
                </a:cubicBezTo>
                <a:cubicBezTo>
                  <a:pt x="3392093" y="834265"/>
                  <a:pt x="3393801" y="834407"/>
                  <a:pt x="3395935" y="834692"/>
                </a:cubicBezTo>
                <a:lnTo>
                  <a:pt x="3397429" y="835403"/>
                </a:lnTo>
                <a:close/>
                <a:moveTo>
                  <a:pt x="3248889" y="829570"/>
                </a:moveTo>
                <a:cubicBezTo>
                  <a:pt x="3249742" y="829285"/>
                  <a:pt x="3250809" y="829428"/>
                  <a:pt x="3252304" y="829997"/>
                </a:cubicBezTo>
                <a:cubicBezTo>
                  <a:pt x="3252730" y="835118"/>
                  <a:pt x="3245047" y="839387"/>
                  <a:pt x="3240565" y="837110"/>
                </a:cubicBezTo>
                <a:cubicBezTo>
                  <a:pt x="3245261" y="834549"/>
                  <a:pt x="3246328" y="830424"/>
                  <a:pt x="3248889" y="829570"/>
                </a:cubicBezTo>
                <a:close/>
                <a:moveTo>
                  <a:pt x="1671408" y="829337"/>
                </a:moveTo>
                <a:lnTo>
                  <a:pt x="1670893" y="831041"/>
                </a:lnTo>
                <a:cubicBezTo>
                  <a:pt x="1670686" y="832280"/>
                  <a:pt x="1670686" y="833364"/>
                  <a:pt x="1670893" y="834294"/>
                </a:cubicBezTo>
                <a:cubicBezTo>
                  <a:pt x="1671099" y="835378"/>
                  <a:pt x="1671512" y="836153"/>
                  <a:pt x="1672338" y="836927"/>
                </a:cubicBezTo>
                <a:lnTo>
                  <a:pt x="1674506" y="838786"/>
                </a:lnTo>
                <a:lnTo>
                  <a:pt x="1672854" y="834449"/>
                </a:lnTo>
                <a:close/>
                <a:moveTo>
                  <a:pt x="3701552" y="828574"/>
                </a:moveTo>
                <a:cubicBezTo>
                  <a:pt x="3707528" y="829428"/>
                  <a:pt x="3710943" y="835403"/>
                  <a:pt x="3713076" y="841805"/>
                </a:cubicBezTo>
                <a:cubicBezTo>
                  <a:pt x="3714144" y="844793"/>
                  <a:pt x="3714784" y="847638"/>
                  <a:pt x="3715424" y="850341"/>
                </a:cubicBezTo>
                <a:cubicBezTo>
                  <a:pt x="3716918" y="855605"/>
                  <a:pt x="3717985" y="861580"/>
                  <a:pt x="3716064" y="865279"/>
                </a:cubicBezTo>
                <a:cubicBezTo>
                  <a:pt x="3715424" y="866417"/>
                  <a:pt x="3714571" y="867414"/>
                  <a:pt x="3713076" y="867982"/>
                </a:cubicBezTo>
                <a:cubicBezTo>
                  <a:pt x="3705394" y="871824"/>
                  <a:pt x="3696217" y="865849"/>
                  <a:pt x="3693655" y="855463"/>
                </a:cubicBezTo>
                <a:cubicBezTo>
                  <a:pt x="3689387" y="839529"/>
                  <a:pt x="3694509" y="829570"/>
                  <a:pt x="3694509" y="829570"/>
                </a:cubicBezTo>
                <a:cubicBezTo>
                  <a:pt x="3697070" y="828574"/>
                  <a:pt x="3699418" y="828289"/>
                  <a:pt x="3701552" y="828574"/>
                </a:cubicBezTo>
                <a:close/>
                <a:moveTo>
                  <a:pt x="3503285" y="828289"/>
                </a:moveTo>
                <a:cubicBezTo>
                  <a:pt x="3504352" y="827721"/>
                  <a:pt x="3505846" y="827436"/>
                  <a:pt x="3507767" y="828432"/>
                </a:cubicBezTo>
                <a:cubicBezTo>
                  <a:pt x="3509901" y="831277"/>
                  <a:pt x="3513103" y="833411"/>
                  <a:pt x="3514169" y="837253"/>
                </a:cubicBezTo>
                <a:cubicBezTo>
                  <a:pt x="3514596" y="838675"/>
                  <a:pt x="3514596" y="840098"/>
                  <a:pt x="3514383" y="841805"/>
                </a:cubicBezTo>
                <a:cubicBezTo>
                  <a:pt x="3509474" y="840952"/>
                  <a:pt x="3505420" y="841094"/>
                  <a:pt x="3501578" y="841520"/>
                </a:cubicBezTo>
                <a:lnTo>
                  <a:pt x="3498163" y="841805"/>
                </a:lnTo>
                <a:lnTo>
                  <a:pt x="3500511" y="844793"/>
                </a:lnTo>
                <a:cubicBezTo>
                  <a:pt x="3501364" y="846784"/>
                  <a:pt x="3501791" y="849345"/>
                  <a:pt x="3501151" y="852760"/>
                </a:cubicBezTo>
                <a:lnTo>
                  <a:pt x="3497523" y="861154"/>
                </a:lnTo>
                <a:lnTo>
                  <a:pt x="3501364" y="863145"/>
                </a:lnTo>
                <a:cubicBezTo>
                  <a:pt x="3503712" y="866560"/>
                  <a:pt x="3500511" y="872393"/>
                  <a:pt x="3497096" y="873389"/>
                </a:cubicBezTo>
                <a:cubicBezTo>
                  <a:pt x="3494535" y="872393"/>
                  <a:pt x="3493468" y="869832"/>
                  <a:pt x="3493468" y="867271"/>
                </a:cubicBezTo>
                <a:lnTo>
                  <a:pt x="3495602" y="863714"/>
                </a:lnTo>
                <a:lnTo>
                  <a:pt x="3491334" y="866133"/>
                </a:lnTo>
                <a:cubicBezTo>
                  <a:pt x="3489413" y="866702"/>
                  <a:pt x="3486852" y="866844"/>
                  <a:pt x="3483864" y="866275"/>
                </a:cubicBezTo>
                <a:cubicBezTo>
                  <a:pt x="3481303" y="866560"/>
                  <a:pt x="3482370" y="865849"/>
                  <a:pt x="3480876" y="865564"/>
                </a:cubicBezTo>
                <a:cubicBezTo>
                  <a:pt x="3479169" y="865137"/>
                  <a:pt x="3476607" y="865422"/>
                  <a:pt x="3475540" y="865991"/>
                </a:cubicBezTo>
                <a:cubicBezTo>
                  <a:pt x="3476607" y="860015"/>
                  <a:pt x="3472552" y="859873"/>
                  <a:pt x="3474473" y="850626"/>
                </a:cubicBezTo>
                <a:cubicBezTo>
                  <a:pt x="3475754" y="841520"/>
                  <a:pt x="3480876" y="837821"/>
                  <a:pt x="3485571" y="836826"/>
                </a:cubicBezTo>
                <a:lnTo>
                  <a:pt x="3489413" y="836683"/>
                </a:lnTo>
                <a:lnTo>
                  <a:pt x="3490480" y="833126"/>
                </a:lnTo>
                <a:cubicBezTo>
                  <a:pt x="3497950" y="837110"/>
                  <a:pt x="3499444" y="830424"/>
                  <a:pt x="3503285" y="828289"/>
                </a:cubicBezTo>
                <a:close/>
                <a:moveTo>
                  <a:pt x="3262975" y="827863"/>
                </a:moveTo>
                <a:cubicBezTo>
                  <a:pt x="3263615" y="827721"/>
                  <a:pt x="3264468" y="828005"/>
                  <a:pt x="3265749" y="829285"/>
                </a:cubicBezTo>
                <a:cubicBezTo>
                  <a:pt x="3268096" y="830708"/>
                  <a:pt x="3268096" y="831846"/>
                  <a:pt x="3265962" y="835403"/>
                </a:cubicBezTo>
                <a:cubicBezTo>
                  <a:pt x="3263828" y="837679"/>
                  <a:pt x="3262761" y="840098"/>
                  <a:pt x="3261480" y="839955"/>
                </a:cubicBezTo>
                <a:cubicBezTo>
                  <a:pt x="3261694" y="841236"/>
                  <a:pt x="3260627" y="842374"/>
                  <a:pt x="3260627" y="843512"/>
                </a:cubicBezTo>
                <a:cubicBezTo>
                  <a:pt x="3260627" y="843512"/>
                  <a:pt x="3260627" y="843655"/>
                  <a:pt x="3259346" y="843512"/>
                </a:cubicBezTo>
                <a:cubicBezTo>
                  <a:pt x="3260413" y="838818"/>
                  <a:pt x="3258920" y="832558"/>
                  <a:pt x="3261053" y="829001"/>
                </a:cubicBezTo>
                <a:cubicBezTo>
                  <a:pt x="3261694" y="828432"/>
                  <a:pt x="3262121" y="827863"/>
                  <a:pt x="3262975" y="827863"/>
                </a:cubicBezTo>
                <a:close/>
                <a:moveTo>
                  <a:pt x="1473260" y="827014"/>
                </a:moveTo>
                <a:cubicBezTo>
                  <a:pt x="1479042" y="831196"/>
                  <a:pt x="1473879" y="839560"/>
                  <a:pt x="1468510" y="839870"/>
                </a:cubicBezTo>
                <a:cubicBezTo>
                  <a:pt x="1466342" y="838321"/>
                  <a:pt x="1465516" y="835998"/>
                  <a:pt x="1465722" y="833674"/>
                </a:cubicBezTo>
                <a:cubicBezTo>
                  <a:pt x="1466032" y="831351"/>
                  <a:pt x="1467271" y="829182"/>
                  <a:pt x="1469027" y="827943"/>
                </a:cubicBezTo>
                <a:cubicBezTo>
                  <a:pt x="1470266" y="827014"/>
                  <a:pt x="1471711" y="826704"/>
                  <a:pt x="1473260" y="827014"/>
                </a:cubicBezTo>
                <a:close/>
                <a:moveTo>
                  <a:pt x="3071110" y="824448"/>
                </a:moveTo>
                <a:cubicBezTo>
                  <a:pt x="3071110" y="824448"/>
                  <a:pt x="3071110" y="824448"/>
                  <a:pt x="3073884" y="824590"/>
                </a:cubicBezTo>
                <a:cubicBezTo>
                  <a:pt x="3074738" y="825302"/>
                  <a:pt x="3075805" y="825871"/>
                  <a:pt x="3076018" y="827578"/>
                </a:cubicBezTo>
                <a:cubicBezTo>
                  <a:pt x="3076232" y="829285"/>
                  <a:pt x="3074951" y="831419"/>
                  <a:pt x="3074311" y="832416"/>
                </a:cubicBezTo>
                <a:cubicBezTo>
                  <a:pt x="3073244" y="831846"/>
                  <a:pt x="3072604" y="832842"/>
                  <a:pt x="3071537" y="832273"/>
                </a:cubicBezTo>
                <a:cubicBezTo>
                  <a:pt x="3068976" y="832131"/>
                  <a:pt x="3068976" y="832131"/>
                  <a:pt x="3068762" y="830424"/>
                </a:cubicBezTo>
                <a:cubicBezTo>
                  <a:pt x="3068335" y="828717"/>
                  <a:pt x="3071537" y="826156"/>
                  <a:pt x="3071110" y="824448"/>
                </a:cubicBezTo>
                <a:close/>
                <a:moveTo>
                  <a:pt x="4669197" y="823310"/>
                </a:moveTo>
                <a:cubicBezTo>
                  <a:pt x="4669411" y="823595"/>
                  <a:pt x="4669838" y="824164"/>
                  <a:pt x="4670904" y="824733"/>
                </a:cubicBezTo>
                <a:cubicBezTo>
                  <a:pt x="4671545" y="825302"/>
                  <a:pt x="4671971" y="825587"/>
                  <a:pt x="4672185" y="826013"/>
                </a:cubicBezTo>
                <a:cubicBezTo>
                  <a:pt x="4672399" y="826298"/>
                  <a:pt x="4672399" y="826582"/>
                  <a:pt x="4671758" y="827152"/>
                </a:cubicBezTo>
                <a:cubicBezTo>
                  <a:pt x="4670691" y="828147"/>
                  <a:pt x="4670691" y="828289"/>
                  <a:pt x="4667276" y="828147"/>
                </a:cubicBezTo>
                <a:cubicBezTo>
                  <a:pt x="4668557" y="827009"/>
                  <a:pt x="4668557" y="827009"/>
                  <a:pt x="4667490" y="825871"/>
                </a:cubicBezTo>
                <a:cubicBezTo>
                  <a:pt x="4667490" y="825871"/>
                  <a:pt x="4667490" y="825871"/>
                  <a:pt x="4666423" y="825871"/>
                </a:cubicBezTo>
                <a:cubicBezTo>
                  <a:pt x="4666636" y="824733"/>
                  <a:pt x="4667703" y="824733"/>
                  <a:pt x="4667703" y="823595"/>
                </a:cubicBezTo>
                <a:cubicBezTo>
                  <a:pt x="4667703" y="823595"/>
                  <a:pt x="4668771" y="823595"/>
                  <a:pt x="4668771" y="823595"/>
                </a:cubicBezTo>
                <a:cubicBezTo>
                  <a:pt x="4668984" y="823026"/>
                  <a:pt x="4668984" y="823026"/>
                  <a:pt x="4669197" y="823310"/>
                </a:cubicBezTo>
                <a:close/>
                <a:moveTo>
                  <a:pt x="1744927" y="822367"/>
                </a:moveTo>
                <a:cubicBezTo>
                  <a:pt x="1749987" y="824225"/>
                  <a:pt x="1750916" y="827943"/>
                  <a:pt x="1749470" y="830576"/>
                </a:cubicBezTo>
                <a:cubicBezTo>
                  <a:pt x="1748025" y="833210"/>
                  <a:pt x="1744101" y="834914"/>
                  <a:pt x="1739764" y="832590"/>
                </a:cubicBezTo>
                <a:cubicBezTo>
                  <a:pt x="1738525" y="829182"/>
                  <a:pt x="1738835" y="826549"/>
                  <a:pt x="1738732" y="824691"/>
                </a:cubicBezTo>
                <a:cubicBezTo>
                  <a:pt x="1741106" y="824071"/>
                  <a:pt x="1742552" y="822987"/>
                  <a:pt x="1744927" y="822367"/>
                </a:cubicBezTo>
                <a:close/>
                <a:moveTo>
                  <a:pt x="1862846" y="821592"/>
                </a:moveTo>
                <a:cubicBezTo>
                  <a:pt x="1863362" y="822212"/>
                  <a:pt x="1864085" y="821902"/>
                  <a:pt x="1864601" y="822677"/>
                </a:cubicBezTo>
                <a:cubicBezTo>
                  <a:pt x="1866253" y="823761"/>
                  <a:pt x="1866666" y="824536"/>
                  <a:pt x="1866460" y="825620"/>
                </a:cubicBezTo>
                <a:cubicBezTo>
                  <a:pt x="1866873" y="826394"/>
                  <a:pt x="1866150" y="826704"/>
                  <a:pt x="1865943" y="827943"/>
                </a:cubicBezTo>
                <a:cubicBezTo>
                  <a:pt x="1865221" y="828253"/>
                  <a:pt x="1863981" y="827943"/>
                  <a:pt x="1863981" y="827943"/>
                </a:cubicBezTo>
                <a:cubicBezTo>
                  <a:pt x="1862742" y="827479"/>
                  <a:pt x="1862742" y="827479"/>
                  <a:pt x="1862536" y="828718"/>
                </a:cubicBezTo>
                <a:cubicBezTo>
                  <a:pt x="1862536" y="828718"/>
                  <a:pt x="1862020" y="827943"/>
                  <a:pt x="1862020" y="827943"/>
                </a:cubicBezTo>
                <a:cubicBezTo>
                  <a:pt x="1862742" y="827479"/>
                  <a:pt x="1862020" y="827943"/>
                  <a:pt x="1860780" y="827479"/>
                </a:cubicBezTo>
                <a:cubicBezTo>
                  <a:pt x="1860574" y="825620"/>
                  <a:pt x="1860161" y="824845"/>
                  <a:pt x="1860471" y="823761"/>
                </a:cubicBezTo>
                <a:cubicBezTo>
                  <a:pt x="1860574" y="823141"/>
                  <a:pt x="1860884" y="822522"/>
                  <a:pt x="1861297" y="822057"/>
                </a:cubicBezTo>
                <a:cubicBezTo>
                  <a:pt x="1861813" y="821592"/>
                  <a:pt x="1862330" y="821283"/>
                  <a:pt x="1862846" y="821592"/>
                </a:cubicBezTo>
                <a:close/>
                <a:moveTo>
                  <a:pt x="1780654" y="819734"/>
                </a:moveTo>
                <a:cubicBezTo>
                  <a:pt x="1788398" y="823761"/>
                  <a:pt x="1799550" y="830112"/>
                  <a:pt x="1806881" y="837392"/>
                </a:cubicBezTo>
                <a:lnTo>
                  <a:pt x="1807191" y="837857"/>
                </a:lnTo>
                <a:lnTo>
                  <a:pt x="1807604" y="835688"/>
                </a:lnTo>
                <a:cubicBezTo>
                  <a:pt x="1808017" y="834759"/>
                  <a:pt x="1808739" y="833674"/>
                  <a:pt x="1809772" y="832590"/>
                </a:cubicBezTo>
                <a:cubicBezTo>
                  <a:pt x="1814935" y="827788"/>
                  <a:pt x="1819478" y="832280"/>
                  <a:pt x="1819581" y="831506"/>
                </a:cubicBezTo>
                <a:cubicBezTo>
                  <a:pt x="1820614" y="830731"/>
                  <a:pt x="1820614" y="830731"/>
                  <a:pt x="1820717" y="829957"/>
                </a:cubicBezTo>
                <a:cubicBezTo>
                  <a:pt x="1821646" y="829957"/>
                  <a:pt x="1823505" y="829337"/>
                  <a:pt x="1824538" y="828563"/>
                </a:cubicBezTo>
                <a:cubicBezTo>
                  <a:pt x="1824331" y="829337"/>
                  <a:pt x="1824228" y="830112"/>
                  <a:pt x="1825054" y="830112"/>
                </a:cubicBezTo>
                <a:cubicBezTo>
                  <a:pt x="1823092" y="831660"/>
                  <a:pt x="1822163" y="831660"/>
                  <a:pt x="1821234" y="832435"/>
                </a:cubicBezTo>
                <a:cubicBezTo>
                  <a:pt x="1822060" y="832435"/>
                  <a:pt x="1821027" y="833210"/>
                  <a:pt x="1821027" y="833210"/>
                </a:cubicBezTo>
                <a:cubicBezTo>
                  <a:pt x="1821027" y="833210"/>
                  <a:pt x="1821027" y="833364"/>
                  <a:pt x="1822472" y="835069"/>
                </a:cubicBezTo>
                <a:cubicBezTo>
                  <a:pt x="1822472" y="835069"/>
                  <a:pt x="1825261" y="839405"/>
                  <a:pt x="1821130" y="843433"/>
                </a:cubicBezTo>
                <a:cubicBezTo>
                  <a:pt x="1820614" y="842659"/>
                  <a:pt x="1817103" y="845136"/>
                  <a:pt x="1814005" y="845602"/>
                </a:cubicBezTo>
                <a:lnTo>
                  <a:pt x="1812250" y="845447"/>
                </a:lnTo>
                <a:lnTo>
                  <a:pt x="1808017" y="847150"/>
                </a:lnTo>
                <a:cubicBezTo>
                  <a:pt x="1796865" y="848544"/>
                  <a:pt x="1782926" y="827943"/>
                  <a:pt x="1780654" y="819734"/>
                </a:cubicBezTo>
                <a:close/>
                <a:moveTo>
                  <a:pt x="1469853" y="819579"/>
                </a:moveTo>
                <a:cubicBezTo>
                  <a:pt x="1470575" y="819734"/>
                  <a:pt x="1471195" y="820198"/>
                  <a:pt x="1471918" y="821127"/>
                </a:cubicBezTo>
                <a:cubicBezTo>
                  <a:pt x="1472847" y="821127"/>
                  <a:pt x="1473157" y="824536"/>
                  <a:pt x="1472124" y="825310"/>
                </a:cubicBezTo>
                <a:cubicBezTo>
                  <a:pt x="1470059" y="827788"/>
                  <a:pt x="1467788" y="825929"/>
                  <a:pt x="1464483" y="824845"/>
                </a:cubicBezTo>
                <a:cubicBezTo>
                  <a:pt x="1465412" y="824071"/>
                  <a:pt x="1464690" y="823141"/>
                  <a:pt x="1464070" y="822212"/>
                </a:cubicBezTo>
                <a:cubicBezTo>
                  <a:pt x="1465516" y="821127"/>
                  <a:pt x="1467684" y="818959"/>
                  <a:pt x="1469853" y="819579"/>
                </a:cubicBezTo>
                <a:close/>
                <a:moveTo>
                  <a:pt x="3616611" y="818900"/>
                </a:moveTo>
                <a:cubicBezTo>
                  <a:pt x="3619385" y="826867"/>
                  <a:pt x="3618745" y="830851"/>
                  <a:pt x="3616825" y="832273"/>
                </a:cubicBezTo>
                <a:cubicBezTo>
                  <a:pt x="3610635" y="836399"/>
                  <a:pt x="3592068" y="817762"/>
                  <a:pt x="3616611" y="818900"/>
                </a:cubicBezTo>
                <a:close/>
                <a:moveTo>
                  <a:pt x="1500416" y="818649"/>
                </a:moveTo>
                <a:cubicBezTo>
                  <a:pt x="1502068" y="819734"/>
                  <a:pt x="1503824" y="820044"/>
                  <a:pt x="1505476" y="821127"/>
                </a:cubicBezTo>
                <a:cubicBezTo>
                  <a:pt x="1506508" y="823761"/>
                  <a:pt x="1503824" y="829182"/>
                  <a:pt x="1500520" y="829647"/>
                </a:cubicBezTo>
                <a:cubicBezTo>
                  <a:pt x="1499384" y="829802"/>
                  <a:pt x="1498145" y="829492"/>
                  <a:pt x="1496905" y="828098"/>
                </a:cubicBezTo>
                <a:cubicBezTo>
                  <a:pt x="1496183" y="827169"/>
                  <a:pt x="1495770" y="826239"/>
                  <a:pt x="1495667" y="825465"/>
                </a:cubicBezTo>
                <a:cubicBezTo>
                  <a:pt x="1495254" y="822831"/>
                  <a:pt x="1497629" y="820663"/>
                  <a:pt x="1500416" y="818649"/>
                </a:cubicBezTo>
                <a:close/>
                <a:moveTo>
                  <a:pt x="3227120" y="816908"/>
                </a:moveTo>
                <a:cubicBezTo>
                  <a:pt x="3227120" y="818046"/>
                  <a:pt x="3228187" y="818188"/>
                  <a:pt x="3228400" y="819327"/>
                </a:cubicBezTo>
                <a:cubicBezTo>
                  <a:pt x="3229681" y="821888"/>
                  <a:pt x="3229681" y="821888"/>
                  <a:pt x="3228400" y="823168"/>
                </a:cubicBezTo>
                <a:cubicBezTo>
                  <a:pt x="3227333" y="824306"/>
                  <a:pt x="3223705" y="822741"/>
                  <a:pt x="3222638" y="824022"/>
                </a:cubicBezTo>
                <a:cubicBezTo>
                  <a:pt x="3222638" y="824022"/>
                  <a:pt x="3222638" y="824022"/>
                  <a:pt x="3221357" y="821461"/>
                </a:cubicBezTo>
                <a:cubicBezTo>
                  <a:pt x="3221357" y="820323"/>
                  <a:pt x="3221144" y="819042"/>
                  <a:pt x="3222425" y="817904"/>
                </a:cubicBezTo>
                <a:cubicBezTo>
                  <a:pt x="3223492" y="816623"/>
                  <a:pt x="3225840" y="816766"/>
                  <a:pt x="3227120" y="816908"/>
                </a:cubicBezTo>
                <a:close/>
                <a:moveTo>
                  <a:pt x="1323332" y="816791"/>
                </a:moveTo>
                <a:cubicBezTo>
                  <a:pt x="1323332" y="824225"/>
                  <a:pt x="1322919" y="836462"/>
                  <a:pt x="1318169" y="842039"/>
                </a:cubicBezTo>
                <a:cubicBezTo>
                  <a:pt x="1316001" y="840955"/>
                  <a:pt x="1314865" y="838941"/>
                  <a:pt x="1314555" y="836617"/>
                </a:cubicBezTo>
                <a:cubicBezTo>
                  <a:pt x="1313626" y="829647"/>
                  <a:pt x="1319821" y="819579"/>
                  <a:pt x="1323332" y="816791"/>
                </a:cubicBezTo>
                <a:close/>
                <a:moveTo>
                  <a:pt x="2815112" y="816431"/>
                </a:moveTo>
                <a:lnTo>
                  <a:pt x="2815585" y="818817"/>
                </a:lnTo>
                <a:lnTo>
                  <a:pt x="2816039" y="820825"/>
                </a:lnTo>
                <a:lnTo>
                  <a:pt x="2827385" y="826013"/>
                </a:lnTo>
                <a:lnTo>
                  <a:pt x="2828665" y="828147"/>
                </a:lnTo>
                <a:lnTo>
                  <a:pt x="2827171" y="823026"/>
                </a:lnTo>
                <a:lnTo>
                  <a:pt x="2826744" y="823737"/>
                </a:lnTo>
                <a:lnTo>
                  <a:pt x="2819488" y="817620"/>
                </a:lnTo>
                <a:close/>
                <a:moveTo>
                  <a:pt x="3758108" y="815486"/>
                </a:moveTo>
                <a:cubicBezTo>
                  <a:pt x="3759388" y="815770"/>
                  <a:pt x="3760243" y="816339"/>
                  <a:pt x="3760456" y="817193"/>
                </a:cubicBezTo>
                <a:cubicBezTo>
                  <a:pt x="3760883" y="819611"/>
                  <a:pt x="3761310" y="822030"/>
                  <a:pt x="3759388" y="823595"/>
                </a:cubicBezTo>
                <a:cubicBezTo>
                  <a:pt x="3758748" y="824164"/>
                  <a:pt x="3757895" y="824590"/>
                  <a:pt x="3756828" y="825017"/>
                </a:cubicBezTo>
                <a:cubicBezTo>
                  <a:pt x="3756828" y="825017"/>
                  <a:pt x="3756828" y="824875"/>
                  <a:pt x="3755761" y="824306"/>
                </a:cubicBezTo>
                <a:cubicBezTo>
                  <a:pt x="3754053" y="823168"/>
                  <a:pt x="3752986" y="822599"/>
                  <a:pt x="3752132" y="821888"/>
                </a:cubicBezTo>
                <a:cubicBezTo>
                  <a:pt x="3751919" y="820323"/>
                  <a:pt x="3751919" y="816054"/>
                  <a:pt x="3753627" y="815628"/>
                </a:cubicBezTo>
                <a:cubicBezTo>
                  <a:pt x="3755120" y="815201"/>
                  <a:pt x="3756828" y="815201"/>
                  <a:pt x="3758108" y="815486"/>
                </a:cubicBezTo>
                <a:close/>
                <a:moveTo>
                  <a:pt x="1457668" y="814467"/>
                </a:moveTo>
                <a:cubicBezTo>
                  <a:pt x="1463967" y="815861"/>
                  <a:pt x="1460766" y="826549"/>
                  <a:pt x="1454570" y="821437"/>
                </a:cubicBezTo>
                <a:cubicBezTo>
                  <a:pt x="1455706" y="818185"/>
                  <a:pt x="1456532" y="815861"/>
                  <a:pt x="1457668" y="814467"/>
                </a:cubicBezTo>
                <a:close/>
                <a:moveTo>
                  <a:pt x="3884666" y="813351"/>
                </a:moveTo>
                <a:cubicBezTo>
                  <a:pt x="3885733" y="813067"/>
                  <a:pt x="3886587" y="813067"/>
                  <a:pt x="3887440" y="813636"/>
                </a:cubicBezTo>
                <a:cubicBezTo>
                  <a:pt x="3888507" y="814916"/>
                  <a:pt x="3887227" y="816054"/>
                  <a:pt x="3887014" y="817193"/>
                </a:cubicBezTo>
                <a:cubicBezTo>
                  <a:pt x="3885733" y="819611"/>
                  <a:pt x="3877410" y="823026"/>
                  <a:pt x="3876556" y="821745"/>
                </a:cubicBezTo>
                <a:cubicBezTo>
                  <a:pt x="3878477" y="819185"/>
                  <a:pt x="3881892" y="814490"/>
                  <a:pt x="3884666" y="813351"/>
                </a:cubicBezTo>
                <a:close/>
                <a:moveTo>
                  <a:pt x="1169377" y="812298"/>
                </a:moveTo>
                <a:cubicBezTo>
                  <a:pt x="1177947" y="814312"/>
                  <a:pt x="1186001" y="834139"/>
                  <a:pt x="1177844" y="838476"/>
                </a:cubicBezTo>
                <a:cubicBezTo>
                  <a:pt x="1175675" y="828718"/>
                  <a:pt x="1169687" y="823451"/>
                  <a:pt x="1169377" y="812298"/>
                </a:cubicBezTo>
                <a:close/>
                <a:moveTo>
                  <a:pt x="3098001" y="810791"/>
                </a:moveTo>
                <a:cubicBezTo>
                  <a:pt x="3102269" y="811075"/>
                  <a:pt x="3106964" y="813209"/>
                  <a:pt x="3108885" y="816908"/>
                </a:cubicBezTo>
                <a:cubicBezTo>
                  <a:pt x="3102269" y="822457"/>
                  <a:pt x="3096720" y="824590"/>
                  <a:pt x="3089464" y="817193"/>
                </a:cubicBezTo>
                <a:cubicBezTo>
                  <a:pt x="3089677" y="812498"/>
                  <a:pt x="3093732" y="810649"/>
                  <a:pt x="3098001" y="810791"/>
                </a:cubicBezTo>
                <a:close/>
                <a:moveTo>
                  <a:pt x="3232242" y="809368"/>
                </a:moveTo>
                <a:cubicBezTo>
                  <a:pt x="3234163" y="809510"/>
                  <a:pt x="3236083" y="810506"/>
                  <a:pt x="3237578" y="812498"/>
                </a:cubicBezTo>
                <a:cubicBezTo>
                  <a:pt x="3240992" y="815486"/>
                  <a:pt x="3240779" y="820180"/>
                  <a:pt x="3243980" y="824306"/>
                </a:cubicBezTo>
                <a:cubicBezTo>
                  <a:pt x="3240138" y="828574"/>
                  <a:pt x="3238858" y="829570"/>
                  <a:pt x="3233309" y="826156"/>
                </a:cubicBezTo>
                <a:cubicBezTo>
                  <a:pt x="3233309" y="826156"/>
                  <a:pt x="3232242" y="824875"/>
                  <a:pt x="3232242" y="824875"/>
                </a:cubicBezTo>
                <a:cubicBezTo>
                  <a:pt x="3227974" y="820607"/>
                  <a:pt x="3226052" y="813067"/>
                  <a:pt x="3227333" y="810791"/>
                </a:cubicBezTo>
                <a:cubicBezTo>
                  <a:pt x="3228614" y="809795"/>
                  <a:pt x="3230321" y="809226"/>
                  <a:pt x="3232242" y="809368"/>
                </a:cubicBezTo>
                <a:close/>
                <a:moveTo>
                  <a:pt x="3006871" y="807518"/>
                </a:moveTo>
                <a:cubicBezTo>
                  <a:pt x="3005163" y="809510"/>
                  <a:pt x="2998547" y="816054"/>
                  <a:pt x="2995986" y="815770"/>
                </a:cubicBezTo>
                <a:cubicBezTo>
                  <a:pt x="2998547" y="812213"/>
                  <a:pt x="3005590" y="806807"/>
                  <a:pt x="3006871" y="807518"/>
                </a:cubicBezTo>
                <a:close/>
                <a:moveTo>
                  <a:pt x="1281100" y="806723"/>
                </a:moveTo>
                <a:cubicBezTo>
                  <a:pt x="1288328" y="812918"/>
                  <a:pt x="1287296" y="828098"/>
                  <a:pt x="1278415" y="826394"/>
                </a:cubicBezTo>
                <a:cubicBezTo>
                  <a:pt x="1277176" y="826239"/>
                  <a:pt x="1275834" y="825620"/>
                  <a:pt x="1274285" y="824691"/>
                </a:cubicBezTo>
                <a:cubicBezTo>
                  <a:pt x="1274182" y="823141"/>
                  <a:pt x="1273872" y="821437"/>
                  <a:pt x="1273769" y="819579"/>
                </a:cubicBezTo>
                <a:cubicBezTo>
                  <a:pt x="1273666" y="818185"/>
                  <a:pt x="1273562" y="816791"/>
                  <a:pt x="1273666" y="815397"/>
                </a:cubicBezTo>
                <a:cubicBezTo>
                  <a:pt x="1273975" y="811214"/>
                  <a:pt x="1275525" y="807652"/>
                  <a:pt x="1281100" y="806723"/>
                </a:cubicBezTo>
                <a:close/>
                <a:moveTo>
                  <a:pt x="1610591" y="806568"/>
                </a:moveTo>
                <a:cubicBezTo>
                  <a:pt x="1611830" y="807032"/>
                  <a:pt x="1611520" y="808116"/>
                  <a:pt x="1611933" y="808736"/>
                </a:cubicBezTo>
                <a:cubicBezTo>
                  <a:pt x="1612140" y="810594"/>
                  <a:pt x="1608422" y="815551"/>
                  <a:pt x="1607287" y="815087"/>
                </a:cubicBezTo>
                <a:cubicBezTo>
                  <a:pt x="1607287" y="812918"/>
                  <a:pt x="1607493" y="809046"/>
                  <a:pt x="1608835" y="807342"/>
                </a:cubicBezTo>
                <a:cubicBezTo>
                  <a:pt x="1609248" y="806877"/>
                  <a:pt x="1609868" y="806568"/>
                  <a:pt x="1610591" y="806568"/>
                </a:cubicBezTo>
                <a:close/>
                <a:moveTo>
                  <a:pt x="3571579" y="806380"/>
                </a:moveTo>
                <a:cubicBezTo>
                  <a:pt x="3571579" y="806380"/>
                  <a:pt x="3572220" y="807376"/>
                  <a:pt x="3572220" y="807376"/>
                </a:cubicBezTo>
                <a:cubicBezTo>
                  <a:pt x="3572646" y="807092"/>
                  <a:pt x="3572646" y="807092"/>
                  <a:pt x="3572433" y="807518"/>
                </a:cubicBezTo>
                <a:cubicBezTo>
                  <a:pt x="3572433" y="807803"/>
                  <a:pt x="3572220" y="808657"/>
                  <a:pt x="3572220" y="809937"/>
                </a:cubicBezTo>
                <a:cubicBezTo>
                  <a:pt x="3571793" y="811502"/>
                  <a:pt x="3572220" y="812498"/>
                  <a:pt x="3570726" y="812213"/>
                </a:cubicBezTo>
                <a:cubicBezTo>
                  <a:pt x="3569232" y="811786"/>
                  <a:pt x="3569232" y="811786"/>
                  <a:pt x="3567738" y="808799"/>
                </a:cubicBezTo>
                <a:cubicBezTo>
                  <a:pt x="3569232" y="809226"/>
                  <a:pt x="3569232" y="809226"/>
                  <a:pt x="3569659" y="807660"/>
                </a:cubicBezTo>
                <a:cubicBezTo>
                  <a:pt x="3569659" y="807660"/>
                  <a:pt x="3569659" y="807660"/>
                  <a:pt x="3569232" y="806665"/>
                </a:cubicBezTo>
                <a:cubicBezTo>
                  <a:pt x="3570299" y="806095"/>
                  <a:pt x="3570726" y="806949"/>
                  <a:pt x="3571579" y="806380"/>
                </a:cubicBezTo>
                <a:close/>
                <a:moveTo>
                  <a:pt x="1869144" y="805328"/>
                </a:moveTo>
                <a:cubicBezTo>
                  <a:pt x="1868008" y="812454"/>
                  <a:pt x="1867492" y="820044"/>
                  <a:pt x="1861710" y="821592"/>
                </a:cubicBezTo>
                <a:cubicBezTo>
                  <a:pt x="1860780" y="820663"/>
                  <a:pt x="1860264" y="819579"/>
                  <a:pt x="1860058" y="818494"/>
                </a:cubicBezTo>
                <a:cubicBezTo>
                  <a:pt x="1859851" y="817255"/>
                  <a:pt x="1859955" y="815861"/>
                  <a:pt x="1860264" y="814467"/>
                </a:cubicBezTo>
                <a:cubicBezTo>
                  <a:pt x="1860780" y="811679"/>
                  <a:pt x="1862226" y="808891"/>
                  <a:pt x="1863465" y="806877"/>
                </a:cubicBezTo>
                <a:cubicBezTo>
                  <a:pt x="1865840" y="807032"/>
                  <a:pt x="1866769" y="805173"/>
                  <a:pt x="1869144" y="805328"/>
                </a:cubicBezTo>
                <a:close/>
                <a:moveTo>
                  <a:pt x="3842623" y="805100"/>
                </a:moveTo>
                <a:cubicBezTo>
                  <a:pt x="3844756" y="806807"/>
                  <a:pt x="3846037" y="810079"/>
                  <a:pt x="3846678" y="813921"/>
                </a:cubicBezTo>
                <a:cubicBezTo>
                  <a:pt x="3848171" y="825160"/>
                  <a:pt x="3842836" y="841947"/>
                  <a:pt x="3833232" y="842943"/>
                </a:cubicBezTo>
                <a:cubicBezTo>
                  <a:pt x="3837714" y="829570"/>
                  <a:pt x="3834726" y="819469"/>
                  <a:pt x="3842623" y="805100"/>
                </a:cubicBezTo>
                <a:close/>
                <a:moveTo>
                  <a:pt x="1717358" y="804089"/>
                </a:moveTo>
                <a:cubicBezTo>
                  <a:pt x="1717874" y="804399"/>
                  <a:pt x="1718390" y="805019"/>
                  <a:pt x="1719216" y="805483"/>
                </a:cubicBezTo>
                <a:lnTo>
                  <a:pt x="1716119" y="807807"/>
                </a:lnTo>
                <a:cubicBezTo>
                  <a:pt x="1715809" y="807342"/>
                  <a:pt x="1715396" y="806723"/>
                  <a:pt x="1715293" y="806103"/>
                </a:cubicBezTo>
                <a:cubicBezTo>
                  <a:pt x="1715189" y="805483"/>
                  <a:pt x="1715293" y="804864"/>
                  <a:pt x="1715809" y="804554"/>
                </a:cubicBezTo>
                <a:cubicBezTo>
                  <a:pt x="1716428" y="803779"/>
                  <a:pt x="1716841" y="803779"/>
                  <a:pt x="1717358" y="804089"/>
                </a:cubicBezTo>
                <a:close/>
                <a:moveTo>
                  <a:pt x="3603166" y="803962"/>
                </a:moveTo>
                <a:cubicBezTo>
                  <a:pt x="3611062" y="803108"/>
                  <a:pt x="3614477" y="804957"/>
                  <a:pt x="3615117" y="807376"/>
                </a:cubicBezTo>
                <a:cubicBezTo>
                  <a:pt x="3617251" y="814774"/>
                  <a:pt x="3595696" y="828859"/>
                  <a:pt x="3603166" y="803962"/>
                </a:cubicBezTo>
                <a:close/>
                <a:moveTo>
                  <a:pt x="1183523" y="803934"/>
                </a:moveTo>
                <a:cubicBezTo>
                  <a:pt x="1187550" y="801921"/>
                  <a:pt x="1190544" y="802695"/>
                  <a:pt x="1192609" y="805328"/>
                </a:cubicBezTo>
                <a:cubicBezTo>
                  <a:pt x="1191990" y="809975"/>
                  <a:pt x="1185588" y="811989"/>
                  <a:pt x="1182903" y="808736"/>
                </a:cubicBezTo>
                <a:cubicBezTo>
                  <a:pt x="1183007" y="808116"/>
                  <a:pt x="1182903" y="807342"/>
                  <a:pt x="1183007" y="806568"/>
                </a:cubicBezTo>
                <a:cubicBezTo>
                  <a:pt x="1183007" y="805793"/>
                  <a:pt x="1183110" y="804864"/>
                  <a:pt x="1183523" y="803934"/>
                </a:cubicBezTo>
                <a:close/>
                <a:moveTo>
                  <a:pt x="3019676" y="803820"/>
                </a:moveTo>
                <a:cubicBezTo>
                  <a:pt x="3021596" y="803250"/>
                  <a:pt x="3023731" y="803393"/>
                  <a:pt x="3025651" y="804389"/>
                </a:cubicBezTo>
                <a:cubicBezTo>
                  <a:pt x="3028213" y="805669"/>
                  <a:pt x="3030347" y="808514"/>
                  <a:pt x="3031414" y="813209"/>
                </a:cubicBezTo>
                <a:cubicBezTo>
                  <a:pt x="3028213" y="817762"/>
                  <a:pt x="3024798" y="817620"/>
                  <a:pt x="3021383" y="819753"/>
                </a:cubicBezTo>
                <a:cubicBezTo>
                  <a:pt x="3011139" y="812640"/>
                  <a:pt x="3014340" y="805384"/>
                  <a:pt x="3019676" y="803820"/>
                </a:cubicBezTo>
                <a:close/>
                <a:moveTo>
                  <a:pt x="1707342" y="803160"/>
                </a:moveTo>
                <a:cubicBezTo>
                  <a:pt x="1709613" y="805019"/>
                  <a:pt x="1710956" y="807652"/>
                  <a:pt x="1707961" y="809975"/>
                </a:cubicBezTo>
                <a:cubicBezTo>
                  <a:pt x="1706929" y="810594"/>
                  <a:pt x="1706000" y="811369"/>
                  <a:pt x="1706103" y="810594"/>
                </a:cubicBezTo>
                <a:cubicBezTo>
                  <a:pt x="1705276" y="810594"/>
                  <a:pt x="1705380" y="809820"/>
                  <a:pt x="1704657" y="808891"/>
                </a:cubicBezTo>
                <a:cubicBezTo>
                  <a:pt x="1704347" y="807961"/>
                  <a:pt x="1704347" y="807032"/>
                  <a:pt x="1704451" y="806103"/>
                </a:cubicBezTo>
                <a:cubicBezTo>
                  <a:pt x="1704657" y="805173"/>
                  <a:pt x="1704967" y="804244"/>
                  <a:pt x="1705483" y="803934"/>
                </a:cubicBezTo>
                <a:cubicBezTo>
                  <a:pt x="1706412" y="803160"/>
                  <a:pt x="1707342" y="803160"/>
                  <a:pt x="1707342" y="803160"/>
                </a:cubicBezTo>
                <a:close/>
                <a:moveTo>
                  <a:pt x="3935247" y="803108"/>
                </a:moveTo>
                <a:cubicBezTo>
                  <a:pt x="3936741" y="802965"/>
                  <a:pt x="3938234" y="802965"/>
                  <a:pt x="3939515" y="803677"/>
                </a:cubicBezTo>
                <a:cubicBezTo>
                  <a:pt x="3939515" y="803677"/>
                  <a:pt x="3939515" y="803677"/>
                  <a:pt x="3938448" y="803677"/>
                </a:cubicBezTo>
                <a:cubicBezTo>
                  <a:pt x="3938448" y="803677"/>
                  <a:pt x="3939729" y="803677"/>
                  <a:pt x="3939515" y="804815"/>
                </a:cubicBezTo>
                <a:cubicBezTo>
                  <a:pt x="3933326" y="808230"/>
                  <a:pt x="3924149" y="806807"/>
                  <a:pt x="3923082" y="806807"/>
                </a:cubicBezTo>
                <a:cubicBezTo>
                  <a:pt x="3923082" y="805669"/>
                  <a:pt x="3923082" y="805669"/>
                  <a:pt x="3923082" y="805669"/>
                </a:cubicBezTo>
                <a:cubicBezTo>
                  <a:pt x="3926496" y="806665"/>
                  <a:pt x="3930978" y="803677"/>
                  <a:pt x="3935247" y="803108"/>
                </a:cubicBezTo>
                <a:close/>
                <a:moveTo>
                  <a:pt x="3916466" y="803108"/>
                </a:moveTo>
                <a:cubicBezTo>
                  <a:pt x="3916466" y="803108"/>
                  <a:pt x="3916466" y="803108"/>
                  <a:pt x="3917533" y="804389"/>
                </a:cubicBezTo>
                <a:cubicBezTo>
                  <a:pt x="3915185" y="804246"/>
                  <a:pt x="3913478" y="809084"/>
                  <a:pt x="3911344" y="806665"/>
                </a:cubicBezTo>
                <a:cubicBezTo>
                  <a:pt x="3912624" y="805384"/>
                  <a:pt x="3915185" y="804246"/>
                  <a:pt x="3916466" y="803108"/>
                </a:cubicBezTo>
                <a:close/>
                <a:moveTo>
                  <a:pt x="1299583" y="802850"/>
                </a:moveTo>
                <a:cubicBezTo>
                  <a:pt x="1300409" y="802695"/>
                  <a:pt x="1300512" y="803469"/>
                  <a:pt x="1301442" y="804244"/>
                </a:cubicBezTo>
                <a:cubicBezTo>
                  <a:pt x="1301442" y="805019"/>
                  <a:pt x="1300616" y="805948"/>
                  <a:pt x="1300616" y="805948"/>
                </a:cubicBezTo>
                <a:cubicBezTo>
                  <a:pt x="1299790" y="806877"/>
                  <a:pt x="1299790" y="806877"/>
                  <a:pt x="1300719" y="807652"/>
                </a:cubicBezTo>
                <a:cubicBezTo>
                  <a:pt x="1300719" y="807652"/>
                  <a:pt x="1299893" y="807807"/>
                  <a:pt x="1299893" y="807807"/>
                </a:cubicBezTo>
                <a:cubicBezTo>
                  <a:pt x="1299893" y="807342"/>
                  <a:pt x="1299893" y="807342"/>
                  <a:pt x="1299790" y="807652"/>
                </a:cubicBezTo>
                <a:lnTo>
                  <a:pt x="1299273" y="808271"/>
                </a:lnTo>
                <a:lnTo>
                  <a:pt x="1301648" y="808736"/>
                </a:lnTo>
                <a:cubicBezTo>
                  <a:pt x="1305159" y="812144"/>
                  <a:pt x="1301958" y="820663"/>
                  <a:pt x="1297725" y="821437"/>
                </a:cubicBezTo>
                <a:cubicBezTo>
                  <a:pt x="1295350" y="820508"/>
                  <a:pt x="1292974" y="819579"/>
                  <a:pt x="1290703" y="818649"/>
                </a:cubicBezTo>
                <a:cubicBezTo>
                  <a:pt x="1289258" y="816791"/>
                  <a:pt x="1288638" y="814932"/>
                  <a:pt x="1288844" y="813073"/>
                </a:cubicBezTo>
                <a:cubicBezTo>
                  <a:pt x="1289051" y="811214"/>
                  <a:pt x="1289877" y="809665"/>
                  <a:pt x="1291323" y="808581"/>
                </a:cubicBezTo>
                <a:cubicBezTo>
                  <a:pt x="1292355" y="807807"/>
                  <a:pt x="1293594" y="807342"/>
                  <a:pt x="1294937" y="807187"/>
                </a:cubicBezTo>
                <a:lnTo>
                  <a:pt x="1295143" y="807187"/>
                </a:lnTo>
                <a:lnTo>
                  <a:pt x="1294317" y="806103"/>
                </a:lnTo>
                <a:cubicBezTo>
                  <a:pt x="1294007" y="805483"/>
                  <a:pt x="1294007" y="804864"/>
                  <a:pt x="1294420" y="804399"/>
                </a:cubicBezTo>
                <a:cubicBezTo>
                  <a:pt x="1295246" y="804244"/>
                  <a:pt x="1295246" y="803469"/>
                  <a:pt x="1296072" y="803315"/>
                </a:cubicBezTo>
                <a:cubicBezTo>
                  <a:pt x="1297828" y="802230"/>
                  <a:pt x="1298654" y="802075"/>
                  <a:pt x="1299583" y="802850"/>
                </a:cubicBezTo>
                <a:close/>
                <a:moveTo>
                  <a:pt x="3235870" y="801828"/>
                </a:moveTo>
                <a:cubicBezTo>
                  <a:pt x="3237578" y="802112"/>
                  <a:pt x="3238645" y="804246"/>
                  <a:pt x="3240138" y="804673"/>
                </a:cubicBezTo>
                <a:cubicBezTo>
                  <a:pt x="3239285" y="805242"/>
                  <a:pt x="3238645" y="806949"/>
                  <a:pt x="3237578" y="807518"/>
                </a:cubicBezTo>
                <a:cubicBezTo>
                  <a:pt x="3234590" y="806807"/>
                  <a:pt x="3235016" y="802397"/>
                  <a:pt x="3235870" y="801828"/>
                </a:cubicBezTo>
                <a:close/>
                <a:moveTo>
                  <a:pt x="1422458" y="801611"/>
                </a:moveTo>
                <a:cubicBezTo>
                  <a:pt x="1421838" y="805173"/>
                  <a:pt x="1421838" y="808116"/>
                  <a:pt x="1422148" y="810904"/>
                </a:cubicBezTo>
                <a:lnTo>
                  <a:pt x="1422458" y="813383"/>
                </a:lnTo>
                <a:lnTo>
                  <a:pt x="1424523" y="811679"/>
                </a:lnTo>
                <a:cubicBezTo>
                  <a:pt x="1425969" y="811059"/>
                  <a:pt x="1427930" y="810750"/>
                  <a:pt x="1430408" y="811059"/>
                </a:cubicBezTo>
                <a:cubicBezTo>
                  <a:pt x="1435985" y="812144"/>
                  <a:pt x="1441664" y="815087"/>
                  <a:pt x="1440115" y="823761"/>
                </a:cubicBezTo>
                <a:cubicBezTo>
                  <a:pt x="1440321" y="825620"/>
                  <a:pt x="1439908" y="824845"/>
                  <a:pt x="1439598" y="825929"/>
                </a:cubicBezTo>
                <a:cubicBezTo>
                  <a:pt x="1439392" y="827169"/>
                  <a:pt x="1439495" y="829027"/>
                  <a:pt x="1439908" y="829647"/>
                </a:cubicBezTo>
                <a:cubicBezTo>
                  <a:pt x="1435571" y="829027"/>
                  <a:pt x="1435468" y="831970"/>
                  <a:pt x="1428757" y="830576"/>
                </a:cubicBezTo>
                <a:cubicBezTo>
                  <a:pt x="1422148" y="829647"/>
                  <a:pt x="1419567" y="825929"/>
                  <a:pt x="1418844" y="822522"/>
                </a:cubicBezTo>
                <a:lnTo>
                  <a:pt x="1418740" y="819579"/>
                </a:lnTo>
                <a:lnTo>
                  <a:pt x="1416159" y="818804"/>
                </a:lnTo>
                <a:cubicBezTo>
                  <a:pt x="1419050" y="813538"/>
                  <a:pt x="1414198" y="812454"/>
                  <a:pt x="1412649" y="809665"/>
                </a:cubicBezTo>
                <a:cubicBezTo>
                  <a:pt x="1412132" y="808891"/>
                  <a:pt x="1412029" y="807807"/>
                  <a:pt x="1412752" y="806413"/>
                </a:cubicBezTo>
                <a:cubicBezTo>
                  <a:pt x="1414817" y="804864"/>
                  <a:pt x="1416366" y="802385"/>
                  <a:pt x="1419154" y="801766"/>
                </a:cubicBezTo>
                <a:cubicBezTo>
                  <a:pt x="1420083" y="801456"/>
                  <a:pt x="1421116" y="801456"/>
                  <a:pt x="1422458" y="801611"/>
                </a:cubicBezTo>
                <a:close/>
                <a:moveTo>
                  <a:pt x="1342654" y="801591"/>
                </a:moveTo>
                <a:cubicBezTo>
                  <a:pt x="1343544" y="801223"/>
                  <a:pt x="1344396" y="801069"/>
                  <a:pt x="1345738" y="802540"/>
                </a:cubicBezTo>
                <a:cubicBezTo>
                  <a:pt x="1346152" y="804244"/>
                  <a:pt x="1345842" y="805948"/>
                  <a:pt x="1343777" y="808116"/>
                </a:cubicBezTo>
                <a:cubicBezTo>
                  <a:pt x="1339130" y="807342"/>
                  <a:pt x="1339233" y="804709"/>
                  <a:pt x="1339337" y="801921"/>
                </a:cubicBezTo>
                <a:cubicBezTo>
                  <a:pt x="1340834" y="802540"/>
                  <a:pt x="1341763" y="801959"/>
                  <a:pt x="1342654" y="801591"/>
                </a:cubicBezTo>
                <a:close/>
                <a:moveTo>
                  <a:pt x="3410661" y="801116"/>
                </a:moveTo>
                <a:cubicBezTo>
                  <a:pt x="3414929" y="800832"/>
                  <a:pt x="3418984" y="801543"/>
                  <a:pt x="3419624" y="804815"/>
                </a:cubicBezTo>
                <a:cubicBezTo>
                  <a:pt x="3419624" y="805669"/>
                  <a:pt x="3419624" y="806807"/>
                  <a:pt x="3419198" y="808230"/>
                </a:cubicBezTo>
                <a:cubicBezTo>
                  <a:pt x="3411728" y="807803"/>
                  <a:pt x="3405112" y="811359"/>
                  <a:pt x="3401911" y="808941"/>
                </a:cubicBezTo>
                <a:cubicBezTo>
                  <a:pt x="3400843" y="808087"/>
                  <a:pt x="3400203" y="806522"/>
                  <a:pt x="3399990" y="803962"/>
                </a:cubicBezTo>
                <a:cubicBezTo>
                  <a:pt x="3401911" y="802965"/>
                  <a:pt x="3406393" y="801543"/>
                  <a:pt x="3410661" y="801116"/>
                </a:cubicBezTo>
                <a:close/>
                <a:moveTo>
                  <a:pt x="3423893" y="800690"/>
                </a:moveTo>
                <a:cubicBezTo>
                  <a:pt x="3424320" y="802255"/>
                  <a:pt x="3424320" y="802255"/>
                  <a:pt x="3425814" y="801828"/>
                </a:cubicBezTo>
                <a:cubicBezTo>
                  <a:pt x="3425814" y="801828"/>
                  <a:pt x="3425814" y="801828"/>
                  <a:pt x="3426454" y="800832"/>
                </a:cubicBezTo>
                <a:cubicBezTo>
                  <a:pt x="3427308" y="801401"/>
                  <a:pt x="3426668" y="802397"/>
                  <a:pt x="3427521" y="802965"/>
                </a:cubicBezTo>
                <a:cubicBezTo>
                  <a:pt x="3427521" y="802965"/>
                  <a:pt x="3426880" y="803962"/>
                  <a:pt x="3426880" y="803962"/>
                </a:cubicBezTo>
                <a:cubicBezTo>
                  <a:pt x="3427308" y="804246"/>
                  <a:pt x="3427308" y="804389"/>
                  <a:pt x="3427094" y="804389"/>
                </a:cubicBezTo>
                <a:cubicBezTo>
                  <a:pt x="3426668" y="804531"/>
                  <a:pt x="3425814" y="804673"/>
                  <a:pt x="3424747" y="805384"/>
                </a:cubicBezTo>
                <a:cubicBezTo>
                  <a:pt x="3423253" y="805811"/>
                  <a:pt x="3422612" y="806949"/>
                  <a:pt x="3422399" y="805384"/>
                </a:cubicBezTo>
                <a:cubicBezTo>
                  <a:pt x="3421972" y="803677"/>
                  <a:pt x="3421972" y="803677"/>
                  <a:pt x="3423893" y="800690"/>
                </a:cubicBezTo>
                <a:close/>
                <a:moveTo>
                  <a:pt x="1435159" y="800062"/>
                </a:moveTo>
                <a:cubicBezTo>
                  <a:pt x="1443832" y="801456"/>
                  <a:pt x="1442490" y="804089"/>
                  <a:pt x="1442180" y="808271"/>
                </a:cubicBezTo>
                <a:cubicBezTo>
                  <a:pt x="1440218" y="808271"/>
                  <a:pt x="1438463" y="810130"/>
                  <a:pt x="1436088" y="809356"/>
                </a:cubicBezTo>
                <a:cubicBezTo>
                  <a:pt x="1436088" y="809356"/>
                  <a:pt x="1434849" y="809046"/>
                  <a:pt x="1433919" y="807497"/>
                </a:cubicBezTo>
                <a:cubicBezTo>
                  <a:pt x="1431132" y="806103"/>
                  <a:pt x="1431958" y="802695"/>
                  <a:pt x="1431958" y="802695"/>
                </a:cubicBezTo>
                <a:cubicBezTo>
                  <a:pt x="1431958" y="802695"/>
                  <a:pt x="1431958" y="802695"/>
                  <a:pt x="1431132" y="803005"/>
                </a:cubicBezTo>
                <a:cubicBezTo>
                  <a:pt x="1432680" y="802385"/>
                  <a:pt x="1433713" y="800836"/>
                  <a:pt x="1435159" y="800062"/>
                </a:cubicBezTo>
                <a:close/>
                <a:moveTo>
                  <a:pt x="1429066" y="798823"/>
                </a:moveTo>
                <a:cubicBezTo>
                  <a:pt x="1429789" y="798823"/>
                  <a:pt x="1430718" y="798823"/>
                  <a:pt x="1431028" y="799287"/>
                </a:cubicBezTo>
                <a:cubicBezTo>
                  <a:pt x="1432680" y="800217"/>
                  <a:pt x="1429686" y="802540"/>
                  <a:pt x="1429479" y="803469"/>
                </a:cubicBezTo>
                <a:cubicBezTo>
                  <a:pt x="1428550" y="804244"/>
                  <a:pt x="1427517" y="804864"/>
                  <a:pt x="1426795" y="804089"/>
                </a:cubicBezTo>
                <a:cubicBezTo>
                  <a:pt x="1426485" y="803625"/>
                  <a:pt x="1426072" y="803469"/>
                  <a:pt x="1425866" y="803005"/>
                </a:cubicBezTo>
                <a:cubicBezTo>
                  <a:pt x="1425762" y="802695"/>
                  <a:pt x="1425762" y="802385"/>
                  <a:pt x="1426382" y="801456"/>
                </a:cubicBezTo>
                <a:cubicBezTo>
                  <a:pt x="1426485" y="800681"/>
                  <a:pt x="1427517" y="799907"/>
                  <a:pt x="1427621" y="799133"/>
                </a:cubicBezTo>
                <a:cubicBezTo>
                  <a:pt x="1427621" y="799133"/>
                  <a:pt x="1428240" y="798823"/>
                  <a:pt x="1429066" y="798823"/>
                </a:cubicBezTo>
                <a:close/>
                <a:moveTo>
                  <a:pt x="1870074" y="798358"/>
                </a:moveTo>
                <a:cubicBezTo>
                  <a:pt x="1870797" y="798048"/>
                  <a:pt x="1871209" y="798668"/>
                  <a:pt x="1871932" y="798358"/>
                </a:cubicBezTo>
                <a:cubicBezTo>
                  <a:pt x="1871932" y="798358"/>
                  <a:pt x="1872655" y="797893"/>
                  <a:pt x="1873894" y="798358"/>
                </a:cubicBezTo>
                <a:cubicBezTo>
                  <a:pt x="1875133" y="798668"/>
                  <a:pt x="1876372" y="798978"/>
                  <a:pt x="1876579" y="800991"/>
                </a:cubicBezTo>
                <a:cubicBezTo>
                  <a:pt x="1869144" y="801766"/>
                  <a:pt x="1866253" y="803315"/>
                  <a:pt x="1860264" y="803315"/>
                </a:cubicBezTo>
                <a:cubicBezTo>
                  <a:pt x="1859851" y="802540"/>
                  <a:pt x="1860574" y="802230"/>
                  <a:pt x="1860161" y="801456"/>
                </a:cubicBezTo>
                <a:cubicBezTo>
                  <a:pt x="1860264" y="800836"/>
                  <a:pt x="1860884" y="800371"/>
                  <a:pt x="1861813" y="799907"/>
                </a:cubicBezTo>
                <a:cubicBezTo>
                  <a:pt x="1864601" y="798513"/>
                  <a:pt x="1869661" y="797738"/>
                  <a:pt x="1870074" y="798358"/>
                </a:cubicBezTo>
                <a:close/>
                <a:moveTo>
                  <a:pt x="1243876" y="797642"/>
                </a:moveTo>
                <a:cubicBezTo>
                  <a:pt x="1246897" y="797893"/>
                  <a:pt x="1250485" y="798978"/>
                  <a:pt x="1253118" y="799133"/>
                </a:cubicBezTo>
                <a:cubicBezTo>
                  <a:pt x="1253840" y="802850"/>
                  <a:pt x="1253634" y="803934"/>
                  <a:pt x="1251982" y="807497"/>
                </a:cubicBezTo>
                <a:cubicBezTo>
                  <a:pt x="1246200" y="808736"/>
                  <a:pt x="1242276" y="806723"/>
                  <a:pt x="1238249" y="804554"/>
                </a:cubicBezTo>
                <a:cubicBezTo>
                  <a:pt x="1238042" y="803315"/>
                  <a:pt x="1237939" y="802075"/>
                  <a:pt x="1238042" y="801146"/>
                </a:cubicBezTo>
                <a:cubicBezTo>
                  <a:pt x="1238404" y="797971"/>
                  <a:pt x="1240856" y="797390"/>
                  <a:pt x="1243876" y="797642"/>
                </a:cubicBezTo>
                <a:close/>
                <a:moveTo>
                  <a:pt x="3256145" y="795141"/>
                </a:moveTo>
                <a:cubicBezTo>
                  <a:pt x="3257212" y="795568"/>
                  <a:pt x="3258066" y="797133"/>
                  <a:pt x="3258706" y="799978"/>
                </a:cubicBezTo>
                <a:cubicBezTo>
                  <a:pt x="3254865" y="802397"/>
                  <a:pt x="3252730" y="802539"/>
                  <a:pt x="3251663" y="801828"/>
                </a:cubicBezTo>
                <a:cubicBezTo>
                  <a:pt x="3249529" y="800120"/>
                  <a:pt x="3253157" y="793434"/>
                  <a:pt x="3256145" y="795141"/>
                </a:cubicBezTo>
                <a:close/>
                <a:moveTo>
                  <a:pt x="3509261" y="792011"/>
                </a:moveTo>
                <a:cubicBezTo>
                  <a:pt x="3512676" y="792154"/>
                  <a:pt x="3515023" y="793434"/>
                  <a:pt x="3517371" y="797275"/>
                </a:cubicBezTo>
                <a:cubicBezTo>
                  <a:pt x="3515450" y="801970"/>
                  <a:pt x="3516517" y="800832"/>
                  <a:pt x="3512035" y="804246"/>
                </a:cubicBezTo>
                <a:cubicBezTo>
                  <a:pt x="3509688" y="801685"/>
                  <a:pt x="3507340" y="799267"/>
                  <a:pt x="3504992" y="796706"/>
                </a:cubicBezTo>
                <a:cubicBezTo>
                  <a:pt x="3507127" y="795568"/>
                  <a:pt x="3508194" y="793149"/>
                  <a:pt x="3509261" y="792011"/>
                </a:cubicBezTo>
                <a:close/>
                <a:moveTo>
                  <a:pt x="1624221" y="790613"/>
                </a:moveTo>
                <a:cubicBezTo>
                  <a:pt x="1624221" y="790613"/>
                  <a:pt x="1624221" y="790458"/>
                  <a:pt x="1625460" y="790923"/>
                </a:cubicBezTo>
                <a:cubicBezTo>
                  <a:pt x="1623911" y="791697"/>
                  <a:pt x="1625150" y="795105"/>
                  <a:pt x="1622672" y="794331"/>
                </a:cubicBezTo>
                <a:cubicBezTo>
                  <a:pt x="1622981" y="793246"/>
                  <a:pt x="1623911" y="791697"/>
                  <a:pt x="1624221" y="790613"/>
                </a:cubicBezTo>
                <a:close/>
                <a:moveTo>
                  <a:pt x="3941863" y="790446"/>
                </a:moveTo>
                <a:cubicBezTo>
                  <a:pt x="3942717" y="792864"/>
                  <a:pt x="3942717" y="792864"/>
                  <a:pt x="3941436" y="795283"/>
                </a:cubicBezTo>
                <a:cubicBezTo>
                  <a:pt x="3940155" y="795283"/>
                  <a:pt x="3940155" y="796563"/>
                  <a:pt x="3939088" y="795283"/>
                </a:cubicBezTo>
                <a:cubicBezTo>
                  <a:pt x="3936314" y="798840"/>
                  <a:pt x="3925643" y="802397"/>
                  <a:pt x="3921161" y="801116"/>
                </a:cubicBezTo>
                <a:cubicBezTo>
                  <a:pt x="3930338" y="790162"/>
                  <a:pt x="3936741" y="796421"/>
                  <a:pt x="3941863" y="790446"/>
                </a:cubicBezTo>
                <a:close/>
                <a:moveTo>
                  <a:pt x="3872928" y="789166"/>
                </a:moveTo>
                <a:cubicBezTo>
                  <a:pt x="3873995" y="789877"/>
                  <a:pt x="3874422" y="790446"/>
                  <a:pt x="3874422" y="791158"/>
                </a:cubicBezTo>
                <a:cubicBezTo>
                  <a:pt x="3874636" y="791727"/>
                  <a:pt x="3874209" y="792296"/>
                  <a:pt x="3873568" y="792864"/>
                </a:cubicBezTo>
                <a:cubicBezTo>
                  <a:pt x="3873568" y="792864"/>
                  <a:pt x="3872288" y="794145"/>
                  <a:pt x="3871007" y="795283"/>
                </a:cubicBezTo>
                <a:cubicBezTo>
                  <a:pt x="3869727" y="796421"/>
                  <a:pt x="3869513" y="797559"/>
                  <a:pt x="3869513" y="797559"/>
                </a:cubicBezTo>
                <a:cubicBezTo>
                  <a:pt x="3868233" y="798698"/>
                  <a:pt x="3866953" y="798840"/>
                  <a:pt x="3865885" y="797559"/>
                </a:cubicBezTo>
                <a:cubicBezTo>
                  <a:pt x="3865885" y="797559"/>
                  <a:pt x="3867379" y="795141"/>
                  <a:pt x="3867379" y="795141"/>
                </a:cubicBezTo>
                <a:cubicBezTo>
                  <a:pt x="3869940" y="792864"/>
                  <a:pt x="3871434" y="791584"/>
                  <a:pt x="3872928" y="789166"/>
                </a:cubicBezTo>
                <a:close/>
                <a:moveTo>
                  <a:pt x="3353038" y="788027"/>
                </a:moveTo>
                <a:cubicBezTo>
                  <a:pt x="3357733" y="788027"/>
                  <a:pt x="3362215" y="789877"/>
                  <a:pt x="3365630" y="793861"/>
                </a:cubicBezTo>
                <a:cubicBezTo>
                  <a:pt x="3363922" y="798840"/>
                  <a:pt x="3361788" y="803677"/>
                  <a:pt x="3359440" y="808657"/>
                </a:cubicBezTo>
                <a:lnTo>
                  <a:pt x="3350476" y="822457"/>
                </a:lnTo>
                <a:lnTo>
                  <a:pt x="3354745" y="821318"/>
                </a:lnTo>
                <a:cubicBezTo>
                  <a:pt x="3357519" y="820892"/>
                  <a:pt x="3359867" y="820892"/>
                  <a:pt x="3362001" y="821034"/>
                </a:cubicBezTo>
                <a:cubicBezTo>
                  <a:pt x="3360507" y="824022"/>
                  <a:pt x="3358586" y="826440"/>
                  <a:pt x="3356239" y="828574"/>
                </a:cubicBezTo>
                <a:lnTo>
                  <a:pt x="3349836" y="832700"/>
                </a:lnTo>
                <a:lnTo>
                  <a:pt x="3350476" y="836257"/>
                </a:lnTo>
                <a:lnTo>
                  <a:pt x="3353891" y="831135"/>
                </a:lnTo>
                <a:cubicBezTo>
                  <a:pt x="3359654" y="825160"/>
                  <a:pt x="3367763" y="824022"/>
                  <a:pt x="3375873" y="822883"/>
                </a:cubicBezTo>
                <a:cubicBezTo>
                  <a:pt x="3375660" y="828859"/>
                  <a:pt x="3371392" y="832842"/>
                  <a:pt x="3366056" y="835403"/>
                </a:cubicBezTo>
                <a:lnTo>
                  <a:pt x="3350690" y="838533"/>
                </a:lnTo>
                <a:lnTo>
                  <a:pt x="3350690" y="842090"/>
                </a:lnTo>
                <a:cubicBezTo>
                  <a:pt x="3348769" y="843655"/>
                  <a:pt x="3347275" y="843655"/>
                  <a:pt x="3345568" y="842943"/>
                </a:cubicBezTo>
                <a:lnTo>
                  <a:pt x="3343220" y="841236"/>
                </a:lnTo>
                <a:lnTo>
                  <a:pt x="3342580" y="848349"/>
                </a:lnTo>
                <a:cubicBezTo>
                  <a:pt x="3339805" y="845931"/>
                  <a:pt x="3339165" y="842374"/>
                  <a:pt x="3335324" y="840383"/>
                </a:cubicBezTo>
                <a:lnTo>
                  <a:pt x="3332122" y="839671"/>
                </a:lnTo>
                <a:lnTo>
                  <a:pt x="3323372" y="845647"/>
                </a:lnTo>
                <a:lnTo>
                  <a:pt x="3324439" y="845789"/>
                </a:lnTo>
                <a:cubicBezTo>
                  <a:pt x="3325933" y="846784"/>
                  <a:pt x="3327001" y="848349"/>
                  <a:pt x="3327641" y="850484"/>
                </a:cubicBezTo>
                <a:cubicBezTo>
                  <a:pt x="3328281" y="853329"/>
                  <a:pt x="3328067" y="857170"/>
                  <a:pt x="3326146" y="861723"/>
                </a:cubicBezTo>
                <a:cubicBezTo>
                  <a:pt x="3321238" y="865422"/>
                  <a:pt x="3311207" y="862719"/>
                  <a:pt x="3310567" y="857881"/>
                </a:cubicBezTo>
                <a:cubicBezTo>
                  <a:pt x="3311420" y="853898"/>
                  <a:pt x="3312915" y="850768"/>
                  <a:pt x="3314408" y="848634"/>
                </a:cubicBezTo>
                <a:lnTo>
                  <a:pt x="3318250" y="845789"/>
                </a:lnTo>
                <a:lnTo>
                  <a:pt x="3312701" y="842232"/>
                </a:lnTo>
                <a:lnTo>
                  <a:pt x="3311848" y="840667"/>
                </a:lnTo>
                <a:lnTo>
                  <a:pt x="3311207" y="842232"/>
                </a:lnTo>
                <a:cubicBezTo>
                  <a:pt x="3307152" y="848207"/>
                  <a:pt x="3298829" y="852902"/>
                  <a:pt x="3293921" y="852475"/>
                </a:cubicBezTo>
                <a:lnTo>
                  <a:pt x="3291573" y="849061"/>
                </a:lnTo>
                <a:lnTo>
                  <a:pt x="3290292" y="849772"/>
                </a:lnTo>
                <a:lnTo>
                  <a:pt x="3285170" y="851337"/>
                </a:lnTo>
                <a:lnTo>
                  <a:pt x="3285597" y="852049"/>
                </a:lnTo>
                <a:cubicBezTo>
                  <a:pt x="3285810" y="853044"/>
                  <a:pt x="3285383" y="854183"/>
                  <a:pt x="3284317" y="855321"/>
                </a:cubicBezTo>
                <a:cubicBezTo>
                  <a:pt x="3282182" y="858735"/>
                  <a:pt x="3278554" y="858593"/>
                  <a:pt x="3275139" y="857170"/>
                </a:cubicBezTo>
                <a:cubicBezTo>
                  <a:pt x="3272792" y="858308"/>
                  <a:pt x="3271724" y="860585"/>
                  <a:pt x="3269377" y="859304"/>
                </a:cubicBezTo>
                <a:cubicBezTo>
                  <a:pt x="3272792" y="857028"/>
                  <a:pt x="3273859" y="856032"/>
                  <a:pt x="3276207" y="854894"/>
                </a:cubicBezTo>
                <a:cubicBezTo>
                  <a:pt x="3276207" y="853756"/>
                  <a:pt x="3276207" y="852618"/>
                  <a:pt x="3277274" y="851479"/>
                </a:cubicBezTo>
                <a:lnTo>
                  <a:pt x="3279407" y="850484"/>
                </a:lnTo>
                <a:lnTo>
                  <a:pt x="3278981" y="848919"/>
                </a:lnTo>
                <a:cubicBezTo>
                  <a:pt x="3278554" y="847923"/>
                  <a:pt x="3278127" y="846927"/>
                  <a:pt x="3277274" y="845789"/>
                </a:cubicBezTo>
                <a:cubicBezTo>
                  <a:pt x="3280902" y="845077"/>
                  <a:pt x="3283463" y="843797"/>
                  <a:pt x="3285810" y="842801"/>
                </a:cubicBezTo>
                <a:lnTo>
                  <a:pt x="3289438" y="842232"/>
                </a:lnTo>
                <a:lnTo>
                  <a:pt x="3289438" y="841805"/>
                </a:lnTo>
                <a:cubicBezTo>
                  <a:pt x="3289865" y="839387"/>
                  <a:pt x="3291146" y="837253"/>
                  <a:pt x="3292853" y="835403"/>
                </a:cubicBezTo>
                <a:lnTo>
                  <a:pt x="3294774" y="834265"/>
                </a:lnTo>
                <a:cubicBezTo>
                  <a:pt x="3292213" y="830851"/>
                  <a:pt x="3292213" y="824875"/>
                  <a:pt x="3297121" y="820323"/>
                </a:cubicBezTo>
                <a:cubicBezTo>
                  <a:pt x="3302030" y="820465"/>
                  <a:pt x="3305018" y="822315"/>
                  <a:pt x="3307366" y="823168"/>
                </a:cubicBezTo>
                <a:lnTo>
                  <a:pt x="3307152" y="831419"/>
                </a:lnTo>
                <a:lnTo>
                  <a:pt x="3309073" y="832842"/>
                </a:lnTo>
                <a:lnTo>
                  <a:pt x="3309287" y="826582"/>
                </a:lnTo>
                <a:cubicBezTo>
                  <a:pt x="3309927" y="823595"/>
                  <a:pt x="3310994" y="820465"/>
                  <a:pt x="3312701" y="817477"/>
                </a:cubicBezTo>
                <a:cubicBezTo>
                  <a:pt x="3320384" y="802397"/>
                  <a:pt x="3338525" y="787743"/>
                  <a:pt x="3353038" y="788027"/>
                </a:cubicBezTo>
                <a:close/>
                <a:moveTo>
                  <a:pt x="1733878" y="787515"/>
                </a:moveTo>
                <a:cubicBezTo>
                  <a:pt x="1738525" y="794950"/>
                  <a:pt x="1729026" y="812454"/>
                  <a:pt x="1719629" y="809201"/>
                </a:cubicBezTo>
                <a:lnTo>
                  <a:pt x="1722210" y="805328"/>
                </a:lnTo>
                <a:lnTo>
                  <a:pt x="1720146" y="804864"/>
                </a:lnTo>
                <a:cubicBezTo>
                  <a:pt x="1719113" y="803469"/>
                  <a:pt x="1717564" y="801611"/>
                  <a:pt x="1717771" y="799752"/>
                </a:cubicBezTo>
                <a:cubicBezTo>
                  <a:pt x="1717874" y="799133"/>
                  <a:pt x="1718184" y="798513"/>
                  <a:pt x="1718700" y="797893"/>
                </a:cubicBezTo>
                <a:cubicBezTo>
                  <a:pt x="1719526" y="797893"/>
                  <a:pt x="1719733" y="797119"/>
                  <a:pt x="1720559" y="797274"/>
                </a:cubicBezTo>
                <a:cubicBezTo>
                  <a:pt x="1720559" y="797274"/>
                  <a:pt x="1721488" y="796809"/>
                  <a:pt x="1722727" y="796809"/>
                </a:cubicBezTo>
                <a:lnTo>
                  <a:pt x="1725928" y="798048"/>
                </a:lnTo>
                <a:lnTo>
                  <a:pt x="1728922" y="792782"/>
                </a:lnTo>
                <a:cubicBezTo>
                  <a:pt x="1730265" y="790923"/>
                  <a:pt x="1731813" y="789219"/>
                  <a:pt x="1733878" y="787515"/>
                </a:cubicBezTo>
                <a:close/>
                <a:moveTo>
                  <a:pt x="1467374" y="785657"/>
                </a:moveTo>
                <a:cubicBezTo>
                  <a:pt x="1468304" y="785657"/>
                  <a:pt x="1468201" y="786586"/>
                  <a:pt x="1469027" y="787360"/>
                </a:cubicBezTo>
                <a:cubicBezTo>
                  <a:pt x="1469027" y="788135"/>
                  <a:pt x="1468097" y="789064"/>
                  <a:pt x="1468097" y="789064"/>
                </a:cubicBezTo>
                <a:cubicBezTo>
                  <a:pt x="1467168" y="789838"/>
                  <a:pt x="1467168" y="789838"/>
                  <a:pt x="1467994" y="790613"/>
                </a:cubicBezTo>
                <a:cubicBezTo>
                  <a:pt x="1467994" y="790613"/>
                  <a:pt x="1467168" y="790768"/>
                  <a:pt x="1467168" y="790768"/>
                </a:cubicBezTo>
                <a:cubicBezTo>
                  <a:pt x="1467168" y="789838"/>
                  <a:pt x="1467168" y="790768"/>
                  <a:pt x="1466238" y="791542"/>
                </a:cubicBezTo>
                <a:cubicBezTo>
                  <a:pt x="1464483" y="790768"/>
                  <a:pt x="1463657" y="790923"/>
                  <a:pt x="1462831" y="790148"/>
                </a:cubicBezTo>
                <a:cubicBezTo>
                  <a:pt x="1462418" y="789684"/>
                  <a:pt x="1462005" y="789064"/>
                  <a:pt x="1461799" y="788445"/>
                </a:cubicBezTo>
                <a:cubicBezTo>
                  <a:pt x="1461592" y="787825"/>
                  <a:pt x="1461592" y="787205"/>
                  <a:pt x="1462005" y="786741"/>
                </a:cubicBezTo>
                <a:cubicBezTo>
                  <a:pt x="1462934" y="786741"/>
                  <a:pt x="1462934" y="785966"/>
                  <a:pt x="1463864" y="785966"/>
                </a:cubicBezTo>
                <a:cubicBezTo>
                  <a:pt x="1465619" y="785037"/>
                  <a:pt x="1466548" y="784882"/>
                  <a:pt x="1467374" y="785657"/>
                </a:cubicBezTo>
                <a:close/>
                <a:moveTo>
                  <a:pt x="1301751" y="784417"/>
                </a:moveTo>
                <a:cubicBezTo>
                  <a:pt x="1310631" y="783178"/>
                  <a:pt x="1314039" y="793246"/>
                  <a:pt x="1309599" y="796809"/>
                </a:cubicBezTo>
                <a:cubicBezTo>
                  <a:pt x="1308153" y="798048"/>
                  <a:pt x="1305778" y="798358"/>
                  <a:pt x="1302371" y="797429"/>
                </a:cubicBezTo>
                <a:cubicBezTo>
                  <a:pt x="1302577" y="793091"/>
                  <a:pt x="1300616" y="790458"/>
                  <a:pt x="1300822" y="787515"/>
                </a:cubicBezTo>
                <a:cubicBezTo>
                  <a:pt x="1300822" y="786586"/>
                  <a:pt x="1301132" y="785657"/>
                  <a:pt x="1301751" y="784417"/>
                </a:cubicBezTo>
                <a:close/>
                <a:moveTo>
                  <a:pt x="3240779" y="784186"/>
                </a:moveTo>
                <a:cubicBezTo>
                  <a:pt x="3240779" y="784186"/>
                  <a:pt x="3241206" y="785040"/>
                  <a:pt x="3241846" y="785893"/>
                </a:cubicBezTo>
                <a:cubicBezTo>
                  <a:pt x="3242273" y="786747"/>
                  <a:pt x="3242699" y="787743"/>
                  <a:pt x="3242273" y="788597"/>
                </a:cubicBezTo>
                <a:cubicBezTo>
                  <a:pt x="3242059" y="791300"/>
                  <a:pt x="3237578" y="789735"/>
                  <a:pt x="3236510" y="790162"/>
                </a:cubicBezTo>
                <a:cubicBezTo>
                  <a:pt x="3235016" y="789735"/>
                  <a:pt x="3233523" y="789023"/>
                  <a:pt x="3234376" y="787459"/>
                </a:cubicBezTo>
                <a:cubicBezTo>
                  <a:pt x="3235016" y="785893"/>
                  <a:pt x="3234376" y="784755"/>
                  <a:pt x="3236937" y="784755"/>
                </a:cubicBezTo>
                <a:cubicBezTo>
                  <a:pt x="3238218" y="784186"/>
                  <a:pt x="3239711" y="784755"/>
                  <a:pt x="3240779" y="784186"/>
                </a:cubicBezTo>
                <a:close/>
                <a:moveTo>
                  <a:pt x="1281100" y="783643"/>
                </a:moveTo>
                <a:cubicBezTo>
                  <a:pt x="1278829" y="790613"/>
                  <a:pt x="1279035" y="794021"/>
                  <a:pt x="1276763" y="799442"/>
                </a:cubicBezTo>
                <a:cubicBezTo>
                  <a:pt x="1275834" y="799442"/>
                  <a:pt x="1275834" y="798668"/>
                  <a:pt x="1274905" y="798823"/>
                </a:cubicBezTo>
                <a:cubicBezTo>
                  <a:pt x="1274492" y="798513"/>
                  <a:pt x="1274182" y="797583"/>
                  <a:pt x="1274182" y="796654"/>
                </a:cubicBezTo>
                <a:cubicBezTo>
                  <a:pt x="1273975" y="793556"/>
                  <a:pt x="1275421" y="788600"/>
                  <a:pt x="1276040" y="788445"/>
                </a:cubicBezTo>
                <a:cubicBezTo>
                  <a:pt x="1276040" y="787670"/>
                  <a:pt x="1276867" y="787515"/>
                  <a:pt x="1276867" y="786741"/>
                </a:cubicBezTo>
                <a:cubicBezTo>
                  <a:pt x="1276867" y="786741"/>
                  <a:pt x="1276763" y="785812"/>
                  <a:pt x="1277590" y="784882"/>
                </a:cubicBezTo>
                <a:cubicBezTo>
                  <a:pt x="1278415" y="783953"/>
                  <a:pt x="1279241" y="783023"/>
                  <a:pt x="1281100" y="783643"/>
                </a:cubicBezTo>
                <a:close/>
                <a:moveTo>
                  <a:pt x="3616397" y="783048"/>
                </a:moveTo>
                <a:cubicBezTo>
                  <a:pt x="3617891" y="783048"/>
                  <a:pt x="3619385" y="783475"/>
                  <a:pt x="3620453" y="784044"/>
                </a:cubicBezTo>
                <a:cubicBezTo>
                  <a:pt x="3621306" y="785325"/>
                  <a:pt x="3621946" y="786462"/>
                  <a:pt x="3621946" y="787601"/>
                </a:cubicBezTo>
                <a:cubicBezTo>
                  <a:pt x="3621946" y="788597"/>
                  <a:pt x="3621520" y="789450"/>
                  <a:pt x="3620879" y="790019"/>
                </a:cubicBezTo>
                <a:cubicBezTo>
                  <a:pt x="3611916" y="800690"/>
                  <a:pt x="3602099" y="795710"/>
                  <a:pt x="3599751" y="796848"/>
                </a:cubicBezTo>
                <a:cubicBezTo>
                  <a:pt x="3596763" y="793291"/>
                  <a:pt x="3596763" y="793149"/>
                  <a:pt x="3603166" y="786178"/>
                </a:cubicBezTo>
                <a:cubicBezTo>
                  <a:pt x="3604446" y="784897"/>
                  <a:pt x="3605940" y="784186"/>
                  <a:pt x="3607434" y="783760"/>
                </a:cubicBezTo>
                <a:cubicBezTo>
                  <a:pt x="3609141" y="783333"/>
                  <a:pt x="3610849" y="783333"/>
                  <a:pt x="3612556" y="783902"/>
                </a:cubicBezTo>
                <a:cubicBezTo>
                  <a:pt x="3613623" y="783333"/>
                  <a:pt x="3615117" y="783048"/>
                  <a:pt x="3616397" y="783048"/>
                </a:cubicBezTo>
                <a:close/>
                <a:moveTo>
                  <a:pt x="1639296" y="782869"/>
                </a:moveTo>
                <a:cubicBezTo>
                  <a:pt x="1639296" y="782869"/>
                  <a:pt x="1639193" y="782869"/>
                  <a:pt x="1638470" y="783333"/>
                </a:cubicBezTo>
                <a:cubicBezTo>
                  <a:pt x="1638470" y="783333"/>
                  <a:pt x="1639296" y="782869"/>
                  <a:pt x="1639709" y="783643"/>
                </a:cubicBezTo>
                <a:cubicBezTo>
                  <a:pt x="1637334" y="787670"/>
                  <a:pt x="1630932" y="790148"/>
                  <a:pt x="1630209" y="790458"/>
                </a:cubicBezTo>
                <a:cubicBezTo>
                  <a:pt x="1629693" y="789838"/>
                  <a:pt x="1629693" y="789838"/>
                  <a:pt x="1629693" y="789838"/>
                </a:cubicBezTo>
                <a:cubicBezTo>
                  <a:pt x="1632274" y="789219"/>
                  <a:pt x="1633720" y="785966"/>
                  <a:pt x="1636301" y="784108"/>
                </a:cubicBezTo>
                <a:cubicBezTo>
                  <a:pt x="1637128" y="783488"/>
                  <a:pt x="1638057" y="783023"/>
                  <a:pt x="1639296" y="782869"/>
                </a:cubicBezTo>
                <a:close/>
                <a:moveTo>
                  <a:pt x="3866953" y="779491"/>
                </a:moveTo>
                <a:cubicBezTo>
                  <a:pt x="3867806" y="780772"/>
                  <a:pt x="3868020" y="779633"/>
                  <a:pt x="3869086" y="779633"/>
                </a:cubicBezTo>
                <a:cubicBezTo>
                  <a:pt x="3867806" y="780914"/>
                  <a:pt x="3867379" y="784470"/>
                  <a:pt x="3866098" y="787032"/>
                </a:cubicBezTo>
                <a:cubicBezTo>
                  <a:pt x="3865032" y="787032"/>
                  <a:pt x="3863751" y="788312"/>
                  <a:pt x="3862684" y="788312"/>
                </a:cubicBezTo>
                <a:cubicBezTo>
                  <a:pt x="3862684" y="787032"/>
                  <a:pt x="3862044" y="784470"/>
                  <a:pt x="3863111" y="784470"/>
                </a:cubicBezTo>
                <a:cubicBezTo>
                  <a:pt x="3863111" y="783333"/>
                  <a:pt x="3865458" y="783333"/>
                  <a:pt x="3865458" y="783333"/>
                </a:cubicBezTo>
                <a:cubicBezTo>
                  <a:pt x="3865458" y="782052"/>
                  <a:pt x="3865672" y="780772"/>
                  <a:pt x="3866953" y="779491"/>
                </a:cubicBezTo>
                <a:close/>
                <a:moveTo>
                  <a:pt x="3418557" y="778353"/>
                </a:moveTo>
                <a:cubicBezTo>
                  <a:pt x="3419838" y="781625"/>
                  <a:pt x="3419198" y="789592"/>
                  <a:pt x="3414076" y="793434"/>
                </a:cubicBezTo>
                <a:cubicBezTo>
                  <a:pt x="3407033" y="791727"/>
                  <a:pt x="3406393" y="787032"/>
                  <a:pt x="3410234" y="779918"/>
                </a:cubicBezTo>
                <a:cubicBezTo>
                  <a:pt x="3412795" y="779918"/>
                  <a:pt x="3414929" y="778923"/>
                  <a:pt x="3418557" y="778353"/>
                </a:cubicBezTo>
                <a:close/>
                <a:moveTo>
                  <a:pt x="1588804" y="777912"/>
                </a:moveTo>
                <a:cubicBezTo>
                  <a:pt x="1590456" y="778067"/>
                  <a:pt x="1592211" y="778841"/>
                  <a:pt x="1593967" y="780390"/>
                </a:cubicBezTo>
                <a:cubicBezTo>
                  <a:pt x="1597787" y="784108"/>
                  <a:pt x="1600369" y="789219"/>
                  <a:pt x="1593243" y="795570"/>
                </a:cubicBezTo>
                <a:cubicBezTo>
                  <a:pt x="1592108" y="797119"/>
                  <a:pt x="1592211" y="796344"/>
                  <a:pt x="1591178" y="797119"/>
                </a:cubicBezTo>
                <a:lnTo>
                  <a:pt x="1590972" y="797429"/>
                </a:lnTo>
                <a:lnTo>
                  <a:pt x="1592211" y="797738"/>
                </a:lnTo>
                <a:cubicBezTo>
                  <a:pt x="1592521" y="798048"/>
                  <a:pt x="1592521" y="798513"/>
                  <a:pt x="1592418" y="799133"/>
                </a:cubicBezTo>
                <a:cubicBezTo>
                  <a:pt x="1592418" y="799133"/>
                  <a:pt x="1592108" y="800371"/>
                  <a:pt x="1591798" y="801456"/>
                </a:cubicBezTo>
                <a:cubicBezTo>
                  <a:pt x="1591488" y="802540"/>
                  <a:pt x="1592004" y="803315"/>
                  <a:pt x="1592004" y="803315"/>
                </a:cubicBezTo>
                <a:cubicBezTo>
                  <a:pt x="1591695" y="804399"/>
                  <a:pt x="1590972" y="804864"/>
                  <a:pt x="1589733" y="804554"/>
                </a:cubicBezTo>
                <a:cubicBezTo>
                  <a:pt x="1589733" y="804554"/>
                  <a:pt x="1589527" y="802695"/>
                  <a:pt x="1589527" y="802695"/>
                </a:cubicBezTo>
                <a:cubicBezTo>
                  <a:pt x="1589836" y="801456"/>
                  <a:pt x="1590043" y="800681"/>
                  <a:pt x="1590146" y="799907"/>
                </a:cubicBezTo>
                <a:lnTo>
                  <a:pt x="1590249" y="798513"/>
                </a:lnTo>
                <a:lnTo>
                  <a:pt x="1588907" y="800371"/>
                </a:lnTo>
                <a:cubicBezTo>
                  <a:pt x="1588184" y="799597"/>
                  <a:pt x="1587461" y="799287"/>
                  <a:pt x="1586842" y="798978"/>
                </a:cubicBezTo>
                <a:lnTo>
                  <a:pt x="1584776" y="798513"/>
                </a:lnTo>
                <a:lnTo>
                  <a:pt x="1583331" y="800217"/>
                </a:lnTo>
                <a:cubicBezTo>
                  <a:pt x="1582815" y="799442"/>
                  <a:pt x="1581163" y="798203"/>
                  <a:pt x="1581886" y="797893"/>
                </a:cubicBezTo>
                <a:lnTo>
                  <a:pt x="1581989" y="797583"/>
                </a:lnTo>
                <a:lnTo>
                  <a:pt x="1579304" y="795415"/>
                </a:lnTo>
                <a:cubicBezTo>
                  <a:pt x="1576206" y="792782"/>
                  <a:pt x="1575380" y="789993"/>
                  <a:pt x="1575690" y="787515"/>
                </a:cubicBezTo>
                <a:cubicBezTo>
                  <a:pt x="1575897" y="784882"/>
                  <a:pt x="1577342" y="782713"/>
                  <a:pt x="1578891" y="781165"/>
                </a:cubicBezTo>
                <a:cubicBezTo>
                  <a:pt x="1579510" y="781784"/>
                  <a:pt x="1583847" y="777447"/>
                  <a:pt x="1588804" y="777912"/>
                </a:cubicBezTo>
                <a:close/>
                <a:moveTo>
                  <a:pt x="3431149" y="777215"/>
                </a:moveTo>
                <a:cubicBezTo>
                  <a:pt x="3438619" y="777215"/>
                  <a:pt x="3444594" y="779776"/>
                  <a:pt x="3449503" y="778211"/>
                </a:cubicBezTo>
                <a:cubicBezTo>
                  <a:pt x="3449503" y="778211"/>
                  <a:pt x="3449503" y="778211"/>
                  <a:pt x="3452064" y="780772"/>
                </a:cubicBezTo>
                <a:cubicBezTo>
                  <a:pt x="3453131" y="780772"/>
                  <a:pt x="3453131" y="780772"/>
                  <a:pt x="3453131" y="780772"/>
                </a:cubicBezTo>
                <a:cubicBezTo>
                  <a:pt x="3454198" y="780772"/>
                  <a:pt x="3454412" y="783333"/>
                  <a:pt x="3454412" y="783333"/>
                </a:cubicBezTo>
                <a:cubicBezTo>
                  <a:pt x="3453345" y="785609"/>
                  <a:pt x="3449930" y="784328"/>
                  <a:pt x="3447582" y="784186"/>
                </a:cubicBezTo>
                <a:cubicBezTo>
                  <a:pt x="3446515" y="786462"/>
                  <a:pt x="3442887" y="781483"/>
                  <a:pt x="3441820" y="783902"/>
                </a:cubicBezTo>
                <a:cubicBezTo>
                  <a:pt x="3437125" y="778780"/>
                  <a:pt x="3431576" y="784613"/>
                  <a:pt x="3423253" y="778211"/>
                </a:cubicBezTo>
                <a:cubicBezTo>
                  <a:pt x="3426027" y="777500"/>
                  <a:pt x="3428801" y="777215"/>
                  <a:pt x="3431149" y="777215"/>
                </a:cubicBezTo>
                <a:close/>
                <a:moveTo>
                  <a:pt x="1470059" y="776982"/>
                </a:moveTo>
                <a:cubicBezTo>
                  <a:pt x="1478526" y="775898"/>
                  <a:pt x="1493395" y="792007"/>
                  <a:pt x="1487716" y="799133"/>
                </a:cubicBezTo>
                <a:cubicBezTo>
                  <a:pt x="1482037" y="790613"/>
                  <a:pt x="1474602" y="787670"/>
                  <a:pt x="1470059" y="776982"/>
                </a:cubicBezTo>
                <a:close/>
                <a:moveTo>
                  <a:pt x="1767334" y="776672"/>
                </a:moveTo>
                <a:cubicBezTo>
                  <a:pt x="1767334" y="776672"/>
                  <a:pt x="1767334" y="776672"/>
                  <a:pt x="1769708" y="777447"/>
                </a:cubicBezTo>
                <a:cubicBezTo>
                  <a:pt x="1770431" y="777137"/>
                  <a:pt x="1770535" y="777137"/>
                  <a:pt x="1770535" y="777137"/>
                </a:cubicBezTo>
                <a:cubicBezTo>
                  <a:pt x="1771258" y="776672"/>
                  <a:pt x="1772187" y="778222"/>
                  <a:pt x="1772187" y="778222"/>
                </a:cubicBezTo>
                <a:cubicBezTo>
                  <a:pt x="1772394" y="780080"/>
                  <a:pt x="1769605" y="780390"/>
                  <a:pt x="1768160" y="781165"/>
                </a:cubicBezTo>
                <a:cubicBezTo>
                  <a:pt x="1768366" y="783023"/>
                  <a:pt x="1764339" y="781165"/>
                  <a:pt x="1764546" y="783023"/>
                </a:cubicBezTo>
                <a:cubicBezTo>
                  <a:pt x="1759796" y="781629"/>
                  <a:pt x="1758350" y="787205"/>
                  <a:pt x="1750916" y="786121"/>
                </a:cubicBezTo>
                <a:cubicBezTo>
                  <a:pt x="1752362" y="784727"/>
                  <a:pt x="1754014" y="783488"/>
                  <a:pt x="1755563" y="782713"/>
                </a:cubicBezTo>
                <a:cubicBezTo>
                  <a:pt x="1760209" y="780080"/>
                  <a:pt x="1764752" y="779461"/>
                  <a:pt x="1767334" y="776672"/>
                </a:cubicBezTo>
                <a:close/>
                <a:moveTo>
                  <a:pt x="1634753" y="774349"/>
                </a:moveTo>
                <a:cubicBezTo>
                  <a:pt x="1636405" y="775588"/>
                  <a:pt x="1636405" y="775588"/>
                  <a:pt x="1636611" y="777447"/>
                </a:cubicBezTo>
                <a:cubicBezTo>
                  <a:pt x="1635889" y="777912"/>
                  <a:pt x="1636301" y="778531"/>
                  <a:pt x="1635166" y="778222"/>
                </a:cubicBezTo>
                <a:cubicBezTo>
                  <a:pt x="1635063" y="781319"/>
                  <a:pt x="1629693" y="787051"/>
                  <a:pt x="1626286" y="787825"/>
                </a:cubicBezTo>
                <a:cubicBezTo>
                  <a:pt x="1627215" y="778222"/>
                  <a:pt x="1634133" y="779770"/>
                  <a:pt x="1634753" y="774349"/>
                </a:cubicBezTo>
                <a:close/>
                <a:moveTo>
                  <a:pt x="1605428" y="773729"/>
                </a:moveTo>
                <a:cubicBezTo>
                  <a:pt x="1611520" y="779306"/>
                  <a:pt x="1608629" y="780700"/>
                  <a:pt x="1605531" y="783953"/>
                </a:cubicBezTo>
                <a:cubicBezTo>
                  <a:pt x="1603982" y="783023"/>
                  <a:pt x="1601195" y="783643"/>
                  <a:pt x="1599749" y="781784"/>
                </a:cubicBezTo>
                <a:cubicBezTo>
                  <a:pt x="1599749" y="781784"/>
                  <a:pt x="1599026" y="780855"/>
                  <a:pt x="1599336" y="779306"/>
                </a:cubicBezTo>
                <a:cubicBezTo>
                  <a:pt x="1599026" y="778531"/>
                  <a:pt x="1598923" y="777912"/>
                  <a:pt x="1599026" y="777447"/>
                </a:cubicBezTo>
                <a:cubicBezTo>
                  <a:pt x="1599336" y="775588"/>
                  <a:pt x="1600988" y="774349"/>
                  <a:pt x="1600988" y="774349"/>
                </a:cubicBezTo>
                <a:cubicBezTo>
                  <a:pt x="1600988" y="774349"/>
                  <a:pt x="1600988" y="774349"/>
                  <a:pt x="1600162" y="774349"/>
                </a:cubicBezTo>
                <a:cubicBezTo>
                  <a:pt x="1601917" y="774349"/>
                  <a:pt x="1603776" y="773729"/>
                  <a:pt x="1605428" y="773729"/>
                </a:cubicBezTo>
                <a:close/>
                <a:moveTo>
                  <a:pt x="1538208" y="773420"/>
                </a:moveTo>
                <a:cubicBezTo>
                  <a:pt x="1541306" y="773729"/>
                  <a:pt x="1544197" y="775124"/>
                  <a:pt x="1543268" y="778531"/>
                </a:cubicBezTo>
                <a:cubicBezTo>
                  <a:pt x="1543061" y="779615"/>
                  <a:pt x="1542855" y="780700"/>
                  <a:pt x="1542338" y="779925"/>
                </a:cubicBezTo>
                <a:cubicBezTo>
                  <a:pt x="1541616" y="780390"/>
                  <a:pt x="1541202" y="779615"/>
                  <a:pt x="1539964" y="779306"/>
                </a:cubicBezTo>
                <a:cubicBezTo>
                  <a:pt x="1538311" y="778222"/>
                  <a:pt x="1536866" y="776053"/>
                  <a:pt x="1537175" y="774814"/>
                </a:cubicBezTo>
                <a:cubicBezTo>
                  <a:pt x="1537485" y="773729"/>
                  <a:pt x="1538208" y="773420"/>
                  <a:pt x="1538208" y="773420"/>
                </a:cubicBezTo>
                <a:close/>
                <a:moveTo>
                  <a:pt x="3885520" y="773232"/>
                </a:moveTo>
                <a:cubicBezTo>
                  <a:pt x="3886587" y="773232"/>
                  <a:pt x="3887440" y="773374"/>
                  <a:pt x="3888295" y="774085"/>
                </a:cubicBezTo>
                <a:cubicBezTo>
                  <a:pt x="3890428" y="775223"/>
                  <a:pt x="3888935" y="777642"/>
                  <a:pt x="3886374" y="780061"/>
                </a:cubicBezTo>
                <a:cubicBezTo>
                  <a:pt x="3882319" y="786036"/>
                  <a:pt x="3878904" y="787174"/>
                  <a:pt x="3875703" y="783475"/>
                </a:cubicBezTo>
                <a:cubicBezTo>
                  <a:pt x="3875916" y="782337"/>
                  <a:pt x="3877410" y="778638"/>
                  <a:pt x="3876343" y="778638"/>
                </a:cubicBezTo>
                <a:cubicBezTo>
                  <a:pt x="3879117" y="775934"/>
                  <a:pt x="3882532" y="773374"/>
                  <a:pt x="3885520" y="773232"/>
                </a:cubicBezTo>
                <a:close/>
                <a:moveTo>
                  <a:pt x="3302671" y="771666"/>
                </a:moveTo>
                <a:cubicBezTo>
                  <a:pt x="3306512" y="771524"/>
                  <a:pt x="3313128" y="773232"/>
                  <a:pt x="3313982" y="773232"/>
                </a:cubicBezTo>
                <a:cubicBezTo>
                  <a:pt x="3313982" y="773232"/>
                  <a:pt x="3315263" y="773374"/>
                  <a:pt x="3316330" y="773374"/>
                </a:cubicBezTo>
                <a:cubicBezTo>
                  <a:pt x="3317610" y="774654"/>
                  <a:pt x="3317610" y="775792"/>
                  <a:pt x="3318677" y="775792"/>
                </a:cubicBezTo>
                <a:cubicBezTo>
                  <a:pt x="3315475" y="779207"/>
                  <a:pt x="3311848" y="777926"/>
                  <a:pt x="3308433" y="776504"/>
                </a:cubicBezTo>
                <a:cubicBezTo>
                  <a:pt x="3306085" y="775223"/>
                  <a:pt x="3304804" y="775223"/>
                  <a:pt x="3302671" y="776219"/>
                </a:cubicBezTo>
                <a:cubicBezTo>
                  <a:pt x="3302671" y="776219"/>
                  <a:pt x="3302671" y="776219"/>
                  <a:pt x="3300323" y="773801"/>
                </a:cubicBezTo>
                <a:lnTo>
                  <a:pt x="3300109" y="772662"/>
                </a:lnTo>
                <a:cubicBezTo>
                  <a:pt x="3300323" y="772094"/>
                  <a:pt x="3301390" y="771809"/>
                  <a:pt x="3302671" y="771666"/>
                </a:cubicBezTo>
                <a:close/>
                <a:moveTo>
                  <a:pt x="3673380" y="771097"/>
                </a:moveTo>
                <a:cubicBezTo>
                  <a:pt x="3677436" y="770529"/>
                  <a:pt x="3681277" y="771240"/>
                  <a:pt x="3684478" y="773801"/>
                </a:cubicBezTo>
                <a:cubicBezTo>
                  <a:pt x="3686186" y="777926"/>
                  <a:pt x="3685972" y="781910"/>
                  <a:pt x="3684478" y="785467"/>
                </a:cubicBezTo>
                <a:cubicBezTo>
                  <a:pt x="3679783" y="795995"/>
                  <a:pt x="3663777" y="802823"/>
                  <a:pt x="3654173" y="798698"/>
                </a:cubicBezTo>
                <a:cubicBezTo>
                  <a:pt x="3648837" y="786320"/>
                  <a:pt x="3661642" y="772805"/>
                  <a:pt x="3673380" y="771097"/>
                </a:cubicBezTo>
                <a:close/>
                <a:moveTo>
                  <a:pt x="1840026" y="770322"/>
                </a:moveTo>
                <a:cubicBezTo>
                  <a:pt x="1849113" y="763971"/>
                  <a:pt x="1848906" y="775898"/>
                  <a:pt x="1850971" y="781629"/>
                </a:cubicBezTo>
                <a:cubicBezTo>
                  <a:pt x="1847873" y="783798"/>
                  <a:pt x="1846841" y="784108"/>
                  <a:pt x="1842917" y="783953"/>
                </a:cubicBezTo>
                <a:cubicBezTo>
                  <a:pt x="1839407" y="779306"/>
                  <a:pt x="1839716" y="774814"/>
                  <a:pt x="1840026" y="770322"/>
                </a:cubicBezTo>
                <a:close/>
                <a:moveTo>
                  <a:pt x="3354959" y="769532"/>
                </a:moveTo>
                <a:cubicBezTo>
                  <a:pt x="3354959" y="769532"/>
                  <a:pt x="3355385" y="769390"/>
                  <a:pt x="3356026" y="769532"/>
                </a:cubicBezTo>
                <a:cubicBezTo>
                  <a:pt x="3356666" y="769532"/>
                  <a:pt x="3357519" y="769675"/>
                  <a:pt x="3358586" y="770244"/>
                </a:cubicBezTo>
                <a:cubicBezTo>
                  <a:pt x="3362641" y="770102"/>
                  <a:pt x="3363495" y="774939"/>
                  <a:pt x="3363495" y="774939"/>
                </a:cubicBezTo>
                <a:cubicBezTo>
                  <a:pt x="3363495" y="774939"/>
                  <a:pt x="3363495" y="774939"/>
                  <a:pt x="3364135" y="773943"/>
                </a:cubicBezTo>
                <a:cubicBezTo>
                  <a:pt x="3362855" y="776077"/>
                  <a:pt x="3362428" y="778780"/>
                  <a:pt x="3361147" y="780772"/>
                </a:cubicBezTo>
                <a:cubicBezTo>
                  <a:pt x="3350263" y="785467"/>
                  <a:pt x="3350263" y="781056"/>
                  <a:pt x="3348556" y="775508"/>
                </a:cubicBezTo>
                <a:cubicBezTo>
                  <a:pt x="3350690" y="774085"/>
                  <a:pt x="3351757" y="770386"/>
                  <a:pt x="3354959" y="769532"/>
                </a:cubicBezTo>
                <a:close/>
                <a:moveTo>
                  <a:pt x="1546882" y="769083"/>
                </a:moveTo>
                <a:cubicBezTo>
                  <a:pt x="1547604" y="769237"/>
                  <a:pt x="1548431" y="769392"/>
                  <a:pt x="1549463" y="769392"/>
                </a:cubicBezTo>
                <a:lnTo>
                  <a:pt x="1548534" y="772645"/>
                </a:lnTo>
                <a:cubicBezTo>
                  <a:pt x="1547295" y="772335"/>
                  <a:pt x="1545746" y="771406"/>
                  <a:pt x="1546056" y="770167"/>
                </a:cubicBezTo>
                <a:cubicBezTo>
                  <a:pt x="1545952" y="769237"/>
                  <a:pt x="1546262" y="769083"/>
                  <a:pt x="1546882" y="769083"/>
                </a:cubicBezTo>
                <a:close/>
                <a:moveTo>
                  <a:pt x="3520786" y="766972"/>
                </a:moveTo>
                <a:cubicBezTo>
                  <a:pt x="3521852" y="767256"/>
                  <a:pt x="3522919" y="767825"/>
                  <a:pt x="3523987" y="769106"/>
                </a:cubicBezTo>
                <a:cubicBezTo>
                  <a:pt x="3524414" y="769106"/>
                  <a:pt x="3524840" y="770244"/>
                  <a:pt x="3525054" y="771666"/>
                </a:cubicBezTo>
                <a:cubicBezTo>
                  <a:pt x="3525267" y="772947"/>
                  <a:pt x="3525054" y="774370"/>
                  <a:pt x="3524414" y="774939"/>
                </a:cubicBezTo>
                <a:cubicBezTo>
                  <a:pt x="3521852" y="778496"/>
                  <a:pt x="3518651" y="776077"/>
                  <a:pt x="3514169" y="774796"/>
                </a:cubicBezTo>
                <a:cubicBezTo>
                  <a:pt x="3515450" y="773658"/>
                  <a:pt x="3514383" y="772520"/>
                  <a:pt x="3513529" y="771240"/>
                </a:cubicBezTo>
                <a:cubicBezTo>
                  <a:pt x="3515236" y="769532"/>
                  <a:pt x="3518011" y="766403"/>
                  <a:pt x="3520786" y="766972"/>
                </a:cubicBezTo>
                <a:close/>
                <a:moveTo>
                  <a:pt x="2057912" y="765649"/>
                </a:moveTo>
                <a:lnTo>
                  <a:pt x="2055832" y="767689"/>
                </a:lnTo>
                <a:lnTo>
                  <a:pt x="2055966" y="768384"/>
                </a:lnTo>
                <a:close/>
                <a:moveTo>
                  <a:pt x="1899295" y="764746"/>
                </a:moveTo>
                <a:cubicBezTo>
                  <a:pt x="1900534" y="766294"/>
                  <a:pt x="1902186" y="767224"/>
                  <a:pt x="1904148" y="769083"/>
                </a:cubicBezTo>
                <a:cubicBezTo>
                  <a:pt x="1903116" y="771251"/>
                  <a:pt x="1898469" y="774349"/>
                  <a:pt x="1894132" y="772955"/>
                </a:cubicBezTo>
                <a:cubicBezTo>
                  <a:pt x="1893513" y="771716"/>
                  <a:pt x="1893203" y="770632"/>
                  <a:pt x="1893100" y="769702"/>
                </a:cubicBezTo>
                <a:cubicBezTo>
                  <a:pt x="1893100" y="768773"/>
                  <a:pt x="1893306" y="767998"/>
                  <a:pt x="1893823" y="767379"/>
                </a:cubicBezTo>
                <a:cubicBezTo>
                  <a:pt x="1894752" y="765985"/>
                  <a:pt x="1896610" y="765210"/>
                  <a:pt x="1899295" y="764746"/>
                </a:cubicBezTo>
                <a:close/>
                <a:moveTo>
                  <a:pt x="1451163" y="764590"/>
                </a:moveTo>
                <a:cubicBezTo>
                  <a:pt x="1448169" y="771561"/>
                  <a:pt x="1448065" y="774968"/>
                  <a:pt x="1445174" y="780080"/>
                </a:cubicBezTo>
                <a:cubicBezTo>
                  <a:pt x="1444348" y="780080"/>
                  <a:pt x="1444348" y="779306"/>
                  <a:pt x="1443419" y="779306"/>
                </a:cubicBezTo>
                <a:cubicBezTo>
                  <a:pt x="1443006" y="778996"/>
                  <a:pt x="1442903" y="778067"/>
                  <a:pt x="1442903" y="777137"/>
                </a:cubicBezTo>
                <a:cubicBezTo>
                  <a:pt x="1443109" y="774039"/>
                  <a:pt x="1444968" y="769083"/>
                  <a:pt x="1445587" y="769083"/>
                </a:cubicBezTo>
                <a:cubicBezTo>
                  <a:pt x="1445691" y="768153"/>
                  <a:pt x="1446517" y="768308"/>
                  <a:pt x="1446620" y="767379"/>
                </a:cubicBezTo>
                <a:cubicBezTo>
                  <a:pt x="1446620" y="767379"/>
                  <a:pt x="1446620" y="766604"/>
                  <a:pt x="1447549" y="765675"/>
                </a:cubicBezTo>
                <a:cubicBezTo>
                  <a:pt x="1448478" y="764746"/>
                  <a:pt x="1449408" y="763816"/>
                  <a:pt x="1451163" y="764590"/>
                </a:cubicBezTo>
                <a:close/>
                <a:moveTo>
                  <a:pt x="4075463" y="763557"/>
                </a:moveTo>
                <a:cubicBezTo>
                  <a:pt x="4076744" y="763557"/>
                  <a:pt x="4077811" y="763842"/>
                  <a:pt x="4078878" y="764553"/>
                </a:cubicBezTo>
                <a:cubicBezTo>
                  <a:pt x="4081012" y="773232"/>
                  <a:pt x="4070981" y="774654"/>
                  <a:pt x="4068207" y="771097"/>
                </a:cubicBezTo>
                <a:cubicBezTo>
                  <a:pt x="4067994" y="766545"/>
                  <a:pt x="4072049" y="763557"/>
                  <a:pt x="4075463" y="763557"/>
                </a:cubicBezTo>
                <a:close/>
                <a:moveTo>
                  <a:pt x="3382063" y="760712"/>
                </a:moveTo>
                <a:cubicBezTo>
                  <a:pt x="3384624" y="760712"/>
                  <a:pt x="3387611" y="761708"/>
                  <a:pt x="3390600" y="762846"/>
                </a:cubicBezTo>
                <a:cubicBezTo>
                  <a:pt x="3390386" y="771951"/>
                  <a:pt x="3376513" y="765976"/>
                  <a:pt x="3382063" y="760712"/>
                </a:cubicBezTo>
                <a:close/>
                <a:moveTo>
                  <a:pt x="1548327" y="759789"/>
                </a:moveTo>
                <a:cubicBezTo>
                  <a:pt x="1549153" y="759479"/>
                  <a:pt x="1550083" y="759479"/>
                  <a:pt x="1551115" y="759789"/>
                </a:cubicBezTo>
                <a:cubicBezTo>
                  <a:pt x="1552354" y="760099"/>
                  <a:pt x="1555245" y="761647"/>
                  <a:pt x="1554523" y="761957"/>
                </a:cubicBezTo>
                <a:cubicBezTo>
                  <a:pt x="1554213" y="763042"/>
                  <a:pt x="1554936" y="762732"/>
                  <a:pt x="1555349" y="763506"/>
                </a:cubicBezTo>
                <a:cubicBezTo>
                  <a:pt x="1554626" y="766759"/>
                  <a:pt x="1552871" y="768773"/>
                  <a:pt x="1549773" y="768308"/>
                </a:cubicBezTo>
                <a:cubicBezTo>
                  <a:pt x="1547398" y="767689"/>
                  <a:pt x="1543784" y="766449"/>
                  <a:pt x="1543784" y="763506"/>
                </a:cubicBezTo>
                <a:cubicBezTo>
                  <a:pt x="1544610" y="763042"/>
                  <a:pt x="1544094" y="762422"/>
                  <a:pt x="1544816" y="761957"/>
                </a:cubicBezTo>
                <a:cubicBezTo>
                  <a:pt x="1544816" y="761957"/>
                  <a:pt x="1545333" y="761183"/>
                  <a:pt x="1546365" y="760563"/>
                </a:cubicBezTo>
                <a:cubicBezTo>
                  <a:pt x="1546882" y="760254"/>
                  <a:pt x="1547604" y="759944"/>
                  <a:pt x="1548327" y="759789"/>
                </a:cubicBezTo>
                <a:close/>
                <a:moveTo>
                  <a:pt x="1397470" y="759324"/>
                </a:moveTo>
                <a:cubicBezTo>
                  <a:pt x="1397780" y="759479"/>
                  <a:pt x="1398399" y="759634"/>
                  <a:pt x="1399329" y="759634"/>
                </a:cubicBezTo>
                <a:cubicBezTo>
                  <a:pt x="1400464" y="759944"/>
                  <a:pt x="1401187" y="759634"/>
                  <a:pt x="1400877" y="760718"/>
                </a:cubicBezTo>
                <a:cubicBezTo>
                  <a:pt x="1400671" y="761802"/>
                  <a:pt x="1400568" y="761802"/>
                  <a:pt x="1398502" y="762887"/>
                </a:cubicBezTo>
                <a:cubicBezTo>
                  <a:pt x="1398709" y="761802"/>
                  <a:pt x="1398709" y="761802"/>
                  <a:pt x="1397573" y="761493"/>
                </a:cubicBezTo>
                <a:cubicBezTo>
                  <a:pt x="1397573" y="761493"/>
                  <a:pt x="1397573" y="761338"/>
                  <a:pt x="1396850" y="761802"/>
                </a:cubicBezTo>
                <a:cubicBezTo>
                  <a:pt x="1396437" y="761028"/>
                  <a:pt x="1397160" y="760718"/>
                  <a:pt x="1396747" y="760099"/>
                </a:cubicBezTo>
                <a:cubicBezTo>
                  <a:pt x="1396747" y="760099"/>
                  <a:pt x="1397470" y="759634"/>
                  <a:pt x="1397470" y="759634"/>
                </a:cubicBezTo>
                <a:cubicBezTo>
                  <a:pt x="1397263" y="759324"/>
                  <a:pt x="1397263" y="759324"/>
                  <a:pt x="1397470" y="759324"/>
                </a:cubicBezTo>
                <a:close/>
                <a:moveTo>
                  <a:pt x="1345016" y="758704"/>
                </a:moveTo>
                <a:cubicBezTo>
                  <a:pt x="1347288" y="757775"/>
                  <a:pt x="1351418" y="759014"/>
                  <a:pt x="1352554" y="761338"/>
                </a:cubicBezTo>
                <a:cubicBezTo>
                  <a:pt x="1352244" y="764126"/>
                  <a:pt x="1350385" y="763971"/>
                  <a:pt x="1350385" y="765830"/>
                </a:cubicBezTo>
                <a:cubicBezTo>
                  <a:pt x="1346152" y="764590"/>
                  <a:pt x="1345016" y="762267"/>
                  <a:pt x="1345016" y="758704"/>
                </a:cubicBezTo>
                <a:close/>
                <a:moveTo>
                  <a:pt x="1789986" y="757911"/>
                </a:moveTo>
                <a:cubicBezTo>
                  <a:pt x="1792399" y="756884"/>
                  <a:pt x="1795316" y="757155"/>
                  <a:pt x="1797175" y="758550"/>
                </a:cubicBezTo>
                <a:cubicBezTo>
                  <a:pt x="1798414" y="759634"/>
                  <a:pt x="1799137" y="761028"/>
                  <a:pt x="1799033" y="763042"/>
                </a:cubicBezTo>
                <a:cubicBezTo>
                  <a:pt x="1794284" y="765675"/>
                  <a:pt x="1789431" y="769547"/>
                  <a:pt x="1785817" y="765055"/>
                </a:cubicBezTo>
                <a:cubicBezTo>
                  <a:pt x="1785662" y="761260"/>
                  <a:pt x="1787572" y="758937"/>
                  <a:pt x="1789986" y="757911"/>
                </a:cubicBezTo>
                <a:close/>
                <a:moveTo>
                  <a:pt x="1231537" y="754523"/>
                </a:moveTo>
                <a:cubicBezTo>
                  <a:pt x="1233912" y="753593"/>
                  <a:pt x="1235771" y="753903"/>
                  <a:pt x="1238559" y="755607"/>
                </a:cubicBezTo>
                <a:cubicBezTo>
                  <a:pt x="1238559" y="759479"/>
                  <a:pt x="1238971" y="758395"/>
                  <a:pt x="1237010" y="761957"/>
                </a:cubicBezTo>
                <a:cubicBezTo>
                  <a:pt x="1234738" y="760873"/>
                  <a:pt x="1232363" y="759944"/>
                  <a:pt x="1230092" y="759014"/>
                </a:cubicBezTo>
                <a:cubicBezTo>
                  <a:pt x="1231227" y="757620"/>
                  <a:pt x="1231227" y="755607"/>
                  <a:pt x="1231537" y="754523"/>
                </a:cubicBezTo>
                <a:close/>
                <a:moveTo>
                  <a:pt x="3992870" y="754167"/>
                </a:moveTo>
                <a:cubicBezTo>
                  <a:pt x="3992657" y="755448"/>
                  <a:pt x="3992657" y="756586"/>
                  <a:pt x="3993724" y="756586"/>
                </a:cubicBezTo>
                <a:cubicBezTo>
                  <a:pt x="3991162" y="759005"/>
                  <a:pt x="3990096" y="758862"/>
                  <a:pt x="3988815" y="760000"/>
                </a:cubicBezTo>
                <a:cubicBezTo>
                  <a:pt x="3989882" y="760143"/>
                  <a:pt x="3988601" y="761281"/>
                  <a:pt x="3988601" y="761281"/>
                </a:cubicBezTo>
                <a:cubicBezTo>
                  <a:pt x="3988601" y="761281"/>
                  <a:pt x="3988601" y="761281"/>
                  <a:pt x="3990736" y="763700"/>
                </a:cubicBezTo>
                <a:cubicBezTo>
                  <a:pt x="3990736" y="763700"/>
                  <a:pt x="3994791" y="769675"/>
                  <a:pt x="3989455" y="775650"/>
                </a:cubicBezTo>
                <a:cubicBezTo>
                  <a:pt x="3988388" y="774370"/>
                  <a:pt x="3980705" y="781483"/>
                  <a:pt x="3976437" y="779065"/>
                </a:cubicBezTo>
                <a:cubicBezTo>
                  <a:pt x="3974303" y="777784"/>
                  <a:pt x="3973235" y="776646"/>
                  <a:pt x="3970887" y="775366"/>
                </a:cubicBezTo>
                <a:cubicBezTo>
                  <a:pt x="3971315" y="771809"/>
                  <a:pt x="3968113" y="768110"/>
                  <a:pt x="3973662" y="760996"/>
                </a:cubicBezTo>
                <a:cubicBezTo>
                  <a:pt x="3980065" y="754025"/>
                  <a:pt x="3986467" y="760000"/>
                  <a:pt x="3986467" y="758862"/>
                </a:cubicBezTo>
                <a:cubicBezTo>
                  <a:pt x="3987748" y="757582"/>
                  <a:pt x="3987748" y="757582"/>
                  <a:pt x="3987961" y="756444"/>
                </a:cubicBezTo>
                <a:cubicBezTo>
                  <a:pt x="3989029" y="756444"/>
                  <a:pt x="3991589" y="755448"/>
                  <a:pt x="3992870" y="754167"/>
                </a:cubicBezTo>
                <a:close/>
                <a:moveTo>
                  <a:pt x="2962693" y="754167"/>
                </a:moveTo>
                <a:cubicBezTo>
                  <a:pt x="2964187" y="753883"/>
                  <a:pt x="2965254" y="754025"/>
                  <a:pt x="2965894" y="754737"/>
                </a:cubicBezTo>
                <a:cubicBezTo>
                  <a:pt x="2967388" y="756728"/>
                  <a:pt x="2968882" y="758862"/>
                  <a:pt x="2968028" y="760996"/>
                </a:cubicBezTo>
                <a:cubicBezTo>
                  <a:pt x="2967815" y="761708"/>
                  <a:pt x="2967388" y="762419"/>
                  <a:pt x="2966534" y="763130"/>
                </a:cubicBezTo>
                <a:cubicBezTo>
                  <a:pt x="2966534" y="763130"/>
                  <a:pt x="2966321" y="763130"/>
                  <a:pt x="2965254" y="762988"/>
                </a:cubicBezTo>
                <a:cubicBezTo>
                  <a:pt x="2962906" y="762561"/>
                  <a:pt x="2961839" y="762419"/>
                  <a:pt x="2960772" y="762277"/>
                </a:cubicBezTo>
                <a:cubicBezTo>
                  <a:pt x="2959705" y="760854"/>
                  <a:pt x="2957570" y="757013"/>
                  <a:pt x="2958851" y="756017"/>
                </a:cubicBezTo>
                <a:cubicBezTo>
                  <a:pt x="2959918" y="755021"/>
                  <a:pt x="2961412" y="754310"/>
                  <a:pt x="2962693" y="754167"/>
                </a:cubicBezTo>
                <a:close/>
                <a:moveTo>
                  <a:pt x="3312701" y="752745"/>
                </a:moveTo>
                <a:cubicBezTo>
                  <a:pt x="3315689" y="752602"/>
                  <a:pt x="3317823" y="753456"/>
                  <a:pt x="3319530" y="757298"/>
                </a:cubicBezTo>
                <a:cubicBezTo>
                  <a:pt x="3316543" y="761423"/>
                  <a:pt x="3308646" y="760996"/>
                  <a:pt x="3301390" y="761423"/>
                </a:cubicBezTo>
                <a:cubicBezTo>
                  <a:pt x="3301603" y="758009"/>
                  <a:pt x="3301817" y="756301"/>
                  <a:pt x="3301177" y="753741"/>
                </a:cubicBezTo>
                <a:cubicBezTo>
                  <a:pt x="3306085" y="754025"/>
                  <a:pt x="3309927" y="752887"/>
                  <a:pt x="3312701" y="752745"/>
                </a:cubicBezTo>
                <a:close/>
                <a:moveTo>
                  <a:pt x="1681837" y="750340"/>
                </a:moveTo>
                <a:cubicBezTo>
                  <a:pt x="1682664" y="750495"/>
                  <a:pt x="1683490" y="751115"/>
                  <a:pt x="1684212" y="752044"/>
                </a:cubicBezTo>
                <a:cubicBezTo>
                  <a:pt x="1685658" y="753748"/>
                  <a:pt x="1684522" y="755452"/>
                  <a:pt x="1684522" y="755452"/>
                </a:cubicBezTo>
                <a:cubicBezTo>
                  <a:pt x="1682354" y="757775"/>
                  <a:pt x="1679566" y="758395"/>
                  <a:pt x="1677294" y="756691"/>
                </a:cubicBezTo>
                <a:cubicBezTo>
                  <a:pt x="1676675" y="754832"/>
                  <a:pt x="1677810" y="753283"/>
                  <a:pt x="1678946" y="751734"/>
                </a:cubicBezTo>
                <a:cubicBezTo>
                  <a:pt x="1679979" y="750495"/>
                  <a:pt x="1681011" y="750185"/>
                  <a:pt x="1681837" y="750340"/>
                </a:cubicBezTo>
                <a:close/>
                <a:moveTo>
                  <a:pt x="2080097" y="748326"/>
                </a:moveTo>
                <a:cubicBezTo>
                  <a:pt x="2076896" y="750650"/>
                  <a:pt x="2074211" y="752819"/>
                  <a:pt x="2071527" y="754523"/>
                </a:cubicBezTo>
                <a:cubicBezTo>
                  <a:pt x="2069874" y="755761"/>
                  <a:pt x="2068739" y="756846"/>
                  <a:pt x="2067190" y="757465"/>
                </a:cubicBezTo>
                <a:cubicBezTo>
                  <a:pt x="2067190" y="757465"/>
                  <a:pt x="2067190" y="757465"/>
                  <a:pt x="2066054" y="758550"/>
                </a:cubicBezTo>
                <a:cubicBezTo>
                  <a:pt x="2066054" y="758550"/>
                  <a:pt x="2066054" y="758550"/>
                  <a:pt x="2065435" y="758550"/>
                </a:cubicBezTo>
                <a:cubicBezTo>
                  <a:pt x="2065435" y="759169"/>
                  <a:pt x="2064918" y="759169"/>
                  <a:pt x="2064918" y="759169"/>
                </a:cubicBezTo>
                <a:cubicBezTo>
                  <a:pt x="2064918" y="759169"/>
                  <a:pt x="2064918" y="759169"/>
                  <a:pt x="2063886" y="759789"/>
                </a:cubicBezTo>
                <a:lnTo>
                  <a:pt x="2061334" y="762291"/>
                </a:lnTo>
                <a:lnTo>
                  <a:pt x="2083984" y="748417"/>
                </a:lnTo>
                <a:close/>
                <a:moveTo>
                  <a:pt x="2910832" y="747623"/>
                </a:moveTo>
                <a:cubicBezTo>
                  <a:pt x="2910832" y="747623"/>
                  <a:pt x="2910832" y="747623"/>
                  <a:pt x="2908484" y="756301"/>
                </a:cubicBezTo>
                <a:cubicBezTo>
                  <a:pt x="2907844" y="756017"/>
                  <a:pt x="2907630" y="755448"/>
                  <a:pt x="2907630" y="754737"/>
                </a:cubicBezTo>
                <a:cubicBezTo>
                  <a:pt x="2907844" y="754025"/>
                  <a:pt x="2908058" y="753172"/>
                  <a:pt x="2908484" y="752460"/>
                </a:cubicBezTo>
                <a:cubicBezTo>
                  <a:pt x="2909338" y="750753"/>
                  <a:pt x="2910191" y="749188"/>
                  <a:pt x="2910832" y="747623"/>
                </a:cubicBezTo>
                <a:close/>
                <a:moveTo>
                  <a:pt x="1263237" y="745383"/>
                </a:moveTo>
                <a:cubicBezTo>
                  <a:pt x="1264786" y="747397"/>
                  <a:pt x="1265715" y="752819"/>
                  <a:pt x="1262721" y="756226"/>
                </a:cubicBezTo>
                <a:cubicBezTo>
                  <a:pt x="1258487" y="756381"/>
                  <a:pt x="1256732" y="754677"/>
                  <a:pt x="1256732" y="751579"/>
                </a:cubicBezTo>
                <a:cubicBezTo>
                  <a:pt x="1256732" y="750495"/>
                  <a:pt x="1256835" y="749411"/>
                  <a:pt x="1257248" y="748172"/>
                </a:cubicBezTo>
                <a:cubicBezTo>
                  <a:pt x="1259210" y="747552"/>
                  <a:pt x="1260656" y="746468"/>
                  <a:pt x="1263237" y="745383"/>
                </a:cubicBezTo>
                <a:close/>
                <a:moveTo>
                  <a:pt x="3370111" y="743498"/>
                </a:moveTo>
                <a:lnTo>
                  <a:pt x="3370111" y="743782"/>
                </a:lnTo>
                <a:lnTo>
                  <a:pt x="3370965" y="743498"/>
                </a:lnTo>
                <a:close/>
                <a:moveTo>
                  <a:pt x="1481107" y="743060"/>
                </a:moveTo>
                <a:cubicBezTo>
                  <a:pt x="1481933" y="742905"/>
                  <a:pt x="1483069" y="743060"/>
                  <a:pt x="1484308" y="743370"/>
                </a:cubicBezTo>
                <a:cubicBezTo>
                  <a:pt x="1486683" y="744144"/>
                  <a:pt x="1486890" y="746003"/>
                  <a:pt x="1486890" y="746003"/>
                </a:cubicBezTo>
                <a:cubicBezTo>
                  <a:pt x="1486787" y="748946"/>
                  <a:pt x="1484928" y="750805"/>
                  <a:pt x="1481727" y="750495"/>
                </a:cubicBezTo>
                <a:cubicBezTo>
                  <a:pt x="1480075" y="749411"/>
                  <a:pt x="1479972" y="747552"/>
                  <a:pt x="1479765" y="745693"/>
                </a:cubicBezTo>
                <a:cubicBezTo>
                  <a:pt x="1479869" y="744144"/>
                  <a:pt x="1480281" y="743370"/>
                  <a:pt x="1481107" y="743060"/>
                </a:cubicBezTo>
                <a:close/>
                <a:moveTo>
                  <a:pt x="2980193" y="742786"/>
                </a:moveTo>
                <a:cubicBezTo>
                  <a:pt x="2981900" y="742359"/>
                  <a:pt x="2984035" y="742643"/>
                  <a:pt x="2985742" y="743070"/>
                </a:cubicBezTo>
                <a:cubicBezTo>
                  <a:pt x="2984675" y="743213"/>
                  <a:pt x="2984675" y="743213"/>
                  <a:pt x="2984675" y="743213"/>
                </a:cubicBezTo>
                <a:cubicBezTo>
                  <a:pt x="2983608" y="744493"/>
                  <a:pt x="2984675" y="744351"/>
                  <a:pt x="2984888" y="745631"/>
                </a:cubicBezTo>
                <a:cubicBezTo>
                  <a:pt x="2984888" y="745631"/>
                  <a:pt x="2984675" y="744351"/>
                  <a:pt x="2986169" y="745489"/>
                </a:cubicBezTo>
                <a:cubicBezTo>
                  <a:pt x="2984888" y="745489"/>
                  <a:pt x="2985102" y="746770"/>
                  <a:pt x="2985315" y="748050"/>
                </a:cubicBezTo>
                <a:cubicBezTo>
                  <a:pt x="2983395" y="750469"/>
                  <a:pt x="2980193" y="753172"/>
                  <a:pt x="2977632" y="752034"/>
                </a:cubicBezTo>
                <a:cubicBezTo>
                  <a:pt x="2975071" y="749757"/>
                  <a:pt x="2975925" y="747339"/>
                  <a:pt x="2976779" y="746058"/>
                </a:cubicBezTo>
                <a:cubicBezTo>
                  <a:pt x="2977205" y="744208"/>
                  <a:pt x="2978486" y="743213"/>
                  <a:pt x="2980193" y="742786"/>
                </a:cubicBezTo>
                <a:close/>
                <a:moveTo>
                  <a:pt x="3465296" y="740368"/>
                </a:moveTo>
                <a:cubicBezTo>
                  <a:pt x="3466150" y="740225"/>
                  <a:pt x="3467431" y="740225"/>
                  <a:pt x="3467857" y="740936"/>
                </a:cubicBezTo>
                <a:cubicBezTo>
                  <a:pt x="3468498" y="741221"/>
                  <a:pt x="3468711" y="741648"/>
                  <a:pt x="3468711" y="742217"/>
                </a:cubicBezTo>
                <a:cubicBezTo>
                  <a:pt x="3468498" y="743782"/>
                  <a:pt x="3466150" y="746058"/>
                  <a:pt x="3466150" y="746912"/>
                </a:cubicBezTo>
                <a:cubicBezTo>
                  <a:pt x="3464869" y="748050"/>
                  <a:pt x="3463589" y="749188"/>
                  <a:pt x="3462522" y="748050"/>
                </a:cubicBezTo>
                <a:cubicBezTo>
                  <a:pt x="3461455" y="746770"/>
                  <a:pt x="3460388" y="746770"/>
                  <a:pt x="3461881" y="744493"/>
                </a:cubicBezTo>
                <a:cubicBezTo>
                  <a:pt x="3461881" y="743213"/>
                  <a:pt x="3463162" y="742075"/>
                  <a:pt x="3463376" y="740936"/>
                </a:cubicBezTo>
                <a:cubicBezTo>
                  <a:pt x="3463376" y="740936"/>
                  <a:pt x="3464229" y="740510"/>
                  <a:pt x="3465296" y="740368"/>
                </a:cubicBezTo>
                <a:close/>
                <a:moveTo>
                  <a:pt x="1720146" y="738413"/>
                </a:moveTo>
                <a:cubicBezTo>
                  <a:pt x="1723863" y="741046"/>
                  <a:pt x="1722727" y="743525"/>
                  <a:pt x="1725205" y="744919"/>
                </a:cubicBezTo>
                <a:cubicBezTo>
                  <a:pt x="1721488" y="750030"/>
                  <a:pt x="1717667" y="750030"/>
                  <a:pt x="1712711" y="747397"/>
                </a:cubicBezTo>
                <a:cubicBezTo>
                  <a:pt x="1712711" y="743525"/>
                  <a:pt x="1716428" y="738413"/>
                  <a:pt x="1720146" y="738413"/>
                </a:cubicBezTo>
                <a:close/>
                <a:moveTo>
                  <a:pt x="3121690" y="738091"/>
                </a:moveTo>
                <a:cubicBezTo>
                  <a:pt x="3123398" y="738518"/>
                  <a:pt x="3124678" y="740225"/>
                  <a:pt x="3125318" y="741933"/>
                </a:cubicBezTo>
                <a:cubicBezTo>
                  <a:pt x="3125959" y="743070"/>
                  <a:pt x="3126172" y="744208"/>
                  <a:pt x="3125959" y="745205"/>
                </a:cubicBezTo>
                <a:cubicBezTo>
                  <a:pt x="3121690" y="750895"/>
                  <a:pt x="3116142" y="744208"/>
                  <a:pt x="3116568" y="740652"/>
                </a:cubicBezTo>
                <a:cubicBezTo>
                  <a:pt x="3118276" y="737949"/>
                  <a:pt x="3120197" y="737522"/>
                  <a:pt x="3121690" y="738091"/>
                </a:cubicBezTo>
                <a:close/>
                <a:moveTo>
                  <a:pt x="2923637" y="737949"/>
                </a:moveTo>
                <a:cubicBezTo>
                  <a:pt x="2924277" y="737664"/>
                  <a:pt x="2925131" y="737664"/>
                  <a:pt x="2925771" y="738233"/>
                </a:cubicBezTo>
                <a:cubicBezTo>
                  <a:pt x="2923850" y="740794"/>
                  <a:pt x="2922143" y="745631"/>
                  <a:pt x="2917448" y="744635"/>
                </a:cubicBezTo>
                <a:cubicBezTo>
                  <a:pt x="2918942" y="742786"/>
                  <a:pt x="2921289" y="738803"/>
                  <a:pt x="2923637" y="737949"/>
                </a:cubicBezTo>
                <a:close/>
                <a:moveTo>
                  <a:pt x="3231815" y="736384"/>
                </a:moveTo>
                <a:cubicBezTo>
                  <a:pt x="3240779" y="737095"/>
                  <a:pt x="3241206" y="748050"/>
                  <a:pt x="3243340" y="755590"/>
                </a:cubicBezTo>
                <a:cubicBezTo>
                  <a:pt x="3249956" y="750042"/>
                  <a:pt x="3258492" y="739941"/>
                  <a:pt x="3264255" y="746485"/>
                </a:cubicBezTo>
                <a:cubicBezTo>
                  <a:pt x="3263828" y="756159"/>
                  <a:pt x="3252090" y="758720"/>
                  <a:pt x="3245047" y="766687"/>
                </a:cubicBezTo>
                <a:cubicBezTo>
                  <a:pt x="3243553" y="770102"/>
                  <a:pt x="3245474" y="773232"/>
                  <a:pt x="3243126" y="776931"/>
                </a:cubicBezTo>
                <a:lnTo>
                  <a:pt x="3241633" y="778353"/>
                </a:lnTo>
                <a:lnTo>
                  <a:pt x="3241846" y="784186"/>
                </a:lnTo>
                <a:cubicBezTo>
                  <a:pt x="3239711" y="785182"/>
                  <a:pt x="3236083" y="781483"/>
                  <a:pt x="3233736" y="780203"/>
                </a:cubicBezTo>
                <a:cubicBezTo>
                  <a:pt x="3234803" y="779065"/>
                  <a:pt x="3235870" y="777926"/>
                  <a:pt x="3234803" y="777926"/>
                </a:cubicBezTo>
                <a:lnTo>
                  <a:pt x="3237364" y="776504"/>
                </a:lnTo>
                <a:lnTo>
                  <a:pt x="3236083" y="773943"/>
                </a:lnTo>
                <a:lnTo>
                  <a:pt x="3235016" y="775223"/>
                </a:lnTo>
                <a:cubicBezTo>
                  <a:pt x="3232028" y="777642"/>
                  <a:pt x="3228827" y="779633"/>
                  <a:pt x="3225199" y="781483"/>
                </a:cubicBezTo>
                <a:lnTo>
                  <a:pt x="3219224" y="784328"/>
                </a:lnTo>
                <a:lnTo>
                  <a:pt x="3221784" y="785609"/>
                </a:lnTo>
                <a:cubicBezTo>
                  <a:pt x="3226693" y="789166"/>
                  <a:pt x="3226693" y="793149"/>
                  <a:pt x="3227760" y="793434"/>
                </a:cubicBezTo>
                <a:cubicBezTo>
                  <a:pt x="3226266" y="798555"/>
                  <a:pt x="3223065" y="797702"/>
                  <a:pt x="3217943" y="798271"/>
                </a:cubicBezTo>
                <a:cubicBezTo>
                  <a:pt x="3218369" y="796563"/>
                  <a:pt x="3213674" y="795426"/>
                  <a:pt x="3212180" y="795141"/>
                </a:cubicBezTo>
                <a:cubicBezTo>
                  <a:pt x="3212607" y="793434"/>
                  <a:pt x="3211540" y="792011"/>
                  <a:pt x="3210686" y="790446"/>
                </a:cubicBezTo>
                <a:lnTo>
                  <a:pt x="3209620" y="788454"/>
                </a:lnTo>
                <a:lnTo>
                  <a:pt x="3191265" y="795568"/>
                </a:lnTo>
                <a:cubicBezTo>
                  <a:pt x="3191265" y="793576"/>
                  <a:pt x="3190411" y="792011"/>
                  <a:pt x="3189558" y="790162"/>
                </a:cubicBezTo>
                <a:lnTo>
                  <a:pt x="3188918" y="783760"/>
                </a:lnTo>
                <a:lnTo>
                  <a:pt x="3183156" y="779633"/>
                </a:lnTo>
                <a:cubicBezTo>
                  <a:pt x="3181661" y="777215"/>
                  <a:pt x="3181235" y="774085"/>
                  <a:pt x="3181875" y="769959"/>
                </a:cubicBezTo>
                <a:cubicBezTo>
                  <a:pt x="3184863" y="768821"/>
                  <a:pt x="3187424" y="767967"/>
                  <a:pt x="3189771" y="767683"/>
                </a:cubicBezTo>
                <a:cubicBezTo>
                  <a:pt x="3192119" y="767398"/>
                  <a:pt x="3194040" y="767541"/>
                  <a:pt x="3195747" y="767967"/>
                </a:cubicBezTo>
                <a:cubicBezTo>
                  <a:pt x="3199375" y="768964"/>
                  <a:pt x="3201723" y="771382"/>
                  <a:pt x="3203857" y="774796"/>
                </a:cubicBezTo>
                <a:lnTo>
                  <a:pt x="3200015" y="778923"/>
                </a:lnTo>
                <a:lnTo>
                  <a:pt x="3218156" y="772662"/>
                </a:lnTo>
                <a:lnTo>
                  <a:pt x="3233309" y="767683"/>
                </a:lnTo>
                <a:lnTo>
                  <a:pt x="3231388" y="763557"/>
                </a:lnTo>
                <a:cubicBezTo>
                  <a:pt x="3229681" y="758009"/>
                  <a:pt x="3229040" y="752460"/>
                  <a:pt x="3229467" y="747054"/>
                </a:cubicBezTo>
                <a:cubicBezTo>
                  <a:pt x="3229894" y="743498"/>
                  <a:pt x="3230535" y="739798"/>
                  <a:pt x="3231815" y="736384"/>
                </a:cubicBezTo>
                <a:close/>
                <a:moveTo>
                  <a:pt x="1650758" y="735780"/>
                </a:moveTo>
                <a:cubicBezTo>
                  <a:pt x="1651274" y="736555"/>
                  <a:pt x="1651790" y="737329"/>
                  <a:pt x="1652513" y="736864"/>
                </a:cubicBezTo>
                <a:cubicBezTo>
                  <a:pt x="1651893" y="739188"/>
                  <a:pt x="1651170" y="739497"/>
                  <a:pt x="1650861" y="740582"/>
                </a:cubicBezTo>
                <a:cubicBezTo>
                  <a:pt x="1651583" y="740272"/>
                  <a:pt x="1651377" y="741356"/>
                  <a:pt x="1651377" y="741356"/>
                </a:cubicBezTo>
                <a:cubicBezTo>
                  <a:pt x="1651377" y="741356"/>
                  <a:pt x="1651377" y="741356"/>
                  <a:pt x="1653752" y="742131"/>
                </a:cubicBezTo>
                <a:cubicBezTo>
                  <a:pt x="1653752" y="742131"/>
                  <a:pt x="1659018" y="744144"/>
                  <a:pt x="1658399" y="749411"/>
                </a:cubicBezTo>
                <a:cubicBezTo>
                  <a:pt x="1657159" y="749101"/>
                  <a:pt x="1655507" y="755916"/>
                  <a:pt x="1651583" y="755916"/>
                </a:cubicBezTo>
                <a:cubicBezTo>
                  <a:pt x="1649622" y="755916"/>
                  <a:pt x="1648382" y="755607"/>
                  <a:pt x="1646421" y="755607"/>
                </a:cubicBezTo>
                <a:cubicBezTo>
                  <a:pt x="1645078" y="753438"/>
                  <a:pt x="1641465" y="752354"/>
                  <a:pt x="1641671" y="746313"/>
                </a:cubicBezTo>
                <a:cubicBezTo>
                  <a:pt x="1642600" y="739962"/>
                  <a:pt x="1649415" y="741356"/>
                  <a:pt x="1648899" y="740582"/>
                </a:cubicBezTo>
                <a:cubicBezTo>
                  <a:pt x="1649209" y="739497"/>
                  <a:pt x="1649209" y="739497"/>
                  <a:pt x="1648692" y="738723"/>
                </a:cubicBezTo>
                <a:cubicBezTo>
                  <a:pt x="1649518" y="738413"/>
                  <a:pt x="1650551" y="736864"/>
                  <a:pt x="1650758" y="735780"/>
                </a:cubicBezTo>
                <a:close/>
                <a:moveTo>
                  <a:pt x="3573500" y="735246"/>
                </a:moveTo>
                <a:cubicBezTo>
                  <a:pt x="3574781" y="738233"/>
                  <a:pt x="3573074" y="744066"/>
                  <a:pt x="3569872" y="745631"/>
                </a:cubicBezTo>
                <a:cubicBezTo>
                  <a:pt x="3566030" y="745205"/>
                  <a:pt x="3566244" y="742501"/>
                  <a:pt x="3563683" y="742501"/>
                </a:cubicBezTo>
                <a:cubicBezTo>
                  <a:pt x="3565177" y="736811"/>
                  <a:pt x="3568591" y="735246"/>
                  <a:pt x="3573500" y="735246"/>
                </a:cubicBezTo>
                <a:close/>
                <a:moveTo>
                  <a:pt x="1568566" y="729894"/>
                </a:moveTo>
                <a:cubicBezTo>
                  <a:pt x="1568875" y="731598"/>
                  <a:pt x="1570011" y="731753"/>
                  <a:pt x="1568978" y="734541"/>
                </a:cubicBezTo>
                <a:cubicBezTo>
                  <a:pt x="1567842" y="734541"/>
                  <a:pt x="1566603" y="734386"/>
                  <a:pt x="1565468" y="734231"/>
                </a:cubicBezTo>
                <a:cubicBezTo>
                  <a:pt x="1565777" y="731908"/>
                  <a:pt x="1566191" y="729739"/>
                  <a:pt x="1568566" y="729894"/>
                </a:cubicBezTo>
                <a:close/>
                <a:moveTo>
                  <a:pt x="1603466" y="729119"/>
                </a:moveTo>
                <a:cubicBezTo>
                  <a:pt x="1608113" y="728500"/>
                  <a:pt x="1614514" y="732837"/>
                  <a:pt x="1618645" y="738413"/>
                </a:cubicBezTo>
                <a:cubicBezTo>
                  <a:pt x="1622775" y="743990"/>
                  <a:pt x="1624634" y="750805"/>
                  <a:pt x="1620297" y="755297"/>
                </a:cubicBezTo>
                <a:cubicBezTo>
                  <a:pt x="1617715" y="743834"/>
                  <a:pt x="1603879" y="742286"/>
                  <a:pt x="1603466" y="729119"/>
                </a:cubicBezTo>
                <a:close/>
                <a:moveTo>
                  <a:pt x="3356026" y="727563"/>
                </a:moveTo>
                <a:cubicBezTo>
                  <a:pt x="3357092" y="727563"/>
                  <a:pt x="3358159" y="727421"/>
                  <a:pt x="3359440" y="728559"/>
                </a:cubicBezTo>
                <a:cubicBezTo>
                  <a:pt x="3360934" y="729697"/>
                  <a:pt x="3359654" y="729697"/>
                  <a:pt x="3360934" y="729697"/>
                </a:cubicBezTo>
                <a:cubicBezTo>
                  <a:pt x="3362215" y="730835"/>
                  <a:pt x="3362001" y="729697"/>
                  <a:pt x="3362001" y="729697"/>
                </a:cubicBezTo>
                <a:cubicBezTo>
                  <a:pt x="3362001" y="729697"/>
                  <a:pt x="3362215" y="730835"/>
                  <a:pt x="3362215" y="730835"/>
                </a:cubicBezTo>
                <a:cubicBezTo>
                  <a:pt x="3362215" y="730835"/>
                  <a:pt x="3362215" y="730835"/>
                  <a:pt x="3364775" y="733112"/>
                </a:cubicBezTo>
                <a:cubicBezTo>
                  <a:pt x="3368617" y="735246"/>
                  <a:pt x="3369684" y="735246"/>
                  <a:pt x="3372245" y="736242"/>
                </a:cubicBezTo>
                <a:cubicBezTo>
                  <a:pt x="3374806" y="738518"/>
                  <a:pt x="3375233" y="739656"/>
                  <a:pt x="3378008" y="743070"/>
                </a:cubicBezTo>
                <a:cubicBezTo>
                  <a:pt x="3377154" y="745489"/>
                  <a:pt x="3377154" y="745489"/>
                  <a:pt x="3375873" y="745631"/>
                </a:cubicBezTo>
                <a:cubicBezTo>
                  <a:pt x="3377154" y="745489"/>
                  <a:pt x="3377154" y="746770"/>
                  <a:pt x="3378648" y="747908"/>
                </a:cubicBezTo>
                <a:cubicBezTo>
                  <a:pt x="3384837" y="751180"/>
                  <a:pt x="3383343" y="757155"/>
                  <a:pt x="3379501" y="763415"/>
                </a:cubicBezTo>
                <a:cubicBezTo>
                  <a:pt x="3378221" y="762277"/>
                  <a:pt x="3376513" y="765976"/>
                  <a:pt x="3374380" y="767256"/>
                </a:cubicBezTo>
                <a:cubicBezTo>
                  <a:pt x="3370751" y="767541"/>
                  <a:pt x="3368617" y="767683"/>
                  <a:pt x="3365842" y="765407"/>
                </a:cubicBezTo>
                <a:lnTo>
                  <a:pt x="3363282" y="761138"/>
                </a:lnTo>
                <a:lnTo>
                  <a:pt x="3360721" y="762988"/>
                </a:lnTo>
                <a:cubicBezTo>
                  <a:pt x="3353678" y="765834"/>
                  <a:pt x="3345355" y="766403"/>
                  <a:pt x="3342580" y="754310"/>
                </a:cubicBezTo>
                <a:cubicBezTo>
                  <a:pt x="3341513" y="752034"/>
                  <a:pt x="3342367" y="752602"/>
                  <a:pt x="3342153" y="751037"/>
                </a:cubicBezTo>
                <a:cubicBezTo>
                  <a:pt x="3341940" y="749330"/>
                  <a:pt x="3340659" y="747054"/>
                  <a:pt x="3339805" y="746485"/>
                </a:cubicBezTo>
                <a:cubicBezTo>
                  <a:pt x="3345141" y="744066"/>
                  <a:pt x="3343647" y="740225"/>
                  <a:pt x="3352397" y="736953"/>
                </a:cubicBezTo>
                <a:cubicBezTo>
                  <a:pt x="3355171" y="735815"/>
                  <a:pt x="3357519" y="735246"/>
                  <a:pt x="3359654" y="735246"/>
                </a:cubicBezTo>
                <a:lnTo>
                  <a:pt x="3361147" y="735672"/>
                </a:lnTo>
                <a:lnTo>
                  <a:pt x="3360721" y="735246"/>
                </a:lnTo>
                <a:cubicBezTo>
                  <a:pt x="3357733" y="732258"/>
                  <a:pt x="3355599" y="729413"/>
                  <a:pt x="3356026" y="727563"/>
                </a:cubicBezTo>
                <a:close/>
                <a:moveTo>
                  <a:pt x="3513956" y="727421"/>
                </a:moveTo>
                <a:cubicBezTo>
                  <a:pt x="3512248" y="731547"/>
                  <a:pt x="3517157" y="732543"/>
                  <a:pt x="3513103" y="736099"/>
                </a:cubicBezTo>
                <a:cubicBezTo>
                  <a:pt x="3510755" y="736811"/>
                  <a:pt x="3508407" y="736242"/>
                  <a:pt x="3505420" y="733539"/>
                </a:cubicBezTo>
                <a:cubicBezTo>
                  <a:pt x="3506486" y="726994"/>
                  <a:pt x="3510115" y="727279"/>
                  <a:pt x="3513956" y="727421"/>
                </a:cubicBezTo>
                <a:close/>
                <a:moveTo>
                  <a:pt x="1415539" y="727261"/>
                </a:moveTo>
                <a:cubicBezTo>
                  <a:pt x="1418534" y="731753"/>
                  <a:pt x="1405007" y="745229"/>
                  <a:pt x="1405833" y="727415"/>
                </a:cubicBezTo>
                <a:cubicBezTo>
                  <a:pt x="1411616" y="725402"/>
                  <a:pt x="1414507" y="725867"/>
                  <a:pt x="1415539" y="727261"/>
                </a:cubicBezTo>
                <a:close/>
                <a:moveTo>
                  <a:pt x="3848599" y="727136"/>
                </a:moveTo>
                <a:cubicBezTo>
                  <a:pt x="3849239" y="727563"/>
                  <a:pt x="3850092" y="728417"/>
                  <a:pt x="3851159" y="728986"/>
                </a:cubicBezTo>
                <a:lnTo>
                  <a:pt x="3847318" y="732543"/>
                </a:lnTo>
                <a:cubicBezTo>
                  <a:pt x="3846464" y="731262"/>
                  <a:pt x="3845397" y="728986"/>
                  <a:pt x="3846678" y="727848"/>
                </a:cubicBezTo>
                <a:cubicBezTo>
                  <a:pt x="3847318" y="726710"/>
                  <a:pt x="3847958" y="726710"/>
                  <a:pt x="3848599" y="727136"/>
                </a:cubicBezTo>
                <a:close/>
                <a:moveTo>
                  <a:pt x="3835366" y="726710"/>
                </a:moveTo>
                <a:cubicBezTo>
                  <a:pt x="3836860" y="727848"/>
                  <a:pt x="3838141" y="729413"/>
                  <a:pt x="3838568" y="730977"/>
                </a:cubicBezTo>
                <a:cubicBezTo>
                  <a:pt x="3838994" y="732685"/>
                  <a:pt x="3838568" y="734392"/>
                  <a:pt x="3836647" y="736099"/>
                </a:cubicBezTo>
                <a:cubicBezTo>
                  <a:pt x="3835366" y="737238"/>
                  <a:pt x="3834085" y="738376"/>
                  <a:pt x="3834299" y="737238"/>
                </a:cubicBezTo>
                <a:cubicBezTo>
                  <a:pt x="3833019" y="737238"/>
                  <a:pt x="3833232" y="735957"/>
                  <a:pt x="3832165" y="734819"/>
                </a:cubicBezTo>
                <a:cubicBezTo>
                  <a:pt x="3831311" y="732400"/>
                  <a:pt x="3831738" y="728986"/>
                  <a:pt x="3833019" y="727848"/>
                </a:cubicBezTo>
                <a:cubicBezTo>
                  <a:pt x="3834085" y="726710"/>
                  <a:pt x="3835366" y="726710"/>
                  <a:pt x="3835366" y="726710"/>
                </a:cubicBezTo>
                <a:close/>
                <a:moveTo>
                  <a:pt x="2877538" y="722584"/>
                </a:moveTo>
                <a:cubicBezTo>
                  <a:pt x="2880740" y="723580"/>
                  <a:pt x="2882447" y="724007"/>
                  <a:pt x="2885008" y="723864"/>
                </a:cubicBezTo>
                <a:cubicBezTo>
                  <a:pt x="2885435" y="726710"/>
                  <a:pt x="2884581" y="727279"/>
                  <a:pt x="2882874" y="726852"/>
                </a:cubicBezTo>
                <a:cubicBezTo>
                  <a:pt x="2882874" y="726852"/>
                  <a:pt x="2881166" y="726283"/>
                  <a:pt x="2879673" y="725856"/>
                </a:cubicBezTo>
                <a:cubicBezTo>
                  <a:pt x="2877965" y="725429"/>
                  <a:pt x="2877111" y="725998"/>
                  <a:pt x="2877111" y="725998"/>
                </a:cubicBezTo>
                <a:cubicBezTo>
                  <a:pt x="2875404" y="725572"/>
                  <a:pt x="2874550" y="724575"/>
                  <a:pt x="2874977" y="722868"/>
                </a:cubicBezTo>
                <a:cubicBezTo>
                  <a:pt x="2874977" y="722868"/>
                  <a:pt x="2877538" y="722584"/>
                  <a:pt x="2877538" y="722584"/>
                </a:cubicBezTo>
                <a:close/>
                <a:moveTo>
                  <a:pt x="1601814" y="722149"/>
                </a:moveTo>
                <a:cubicBezTo>
                  <a:pt x="1601814" y="722149"/>
                  <a:pt x="1602640" y="722304"/>
                  <a:pt x="1602640" y="722149"/>
                </a:cubicBezTo>
                <a:cubicBezTo>
                  <a:pt x="1602640" y="721839"/>
                  <a:pt x="1602743" y="721839"/>
                  <a:pt x="1602846" y="722149"/>
                </a:cubicBezTo>
                <a:cubicBezTo>
                  <a:pt x="1603053" y="722304"/>
                  <a:pt x="1603363" y="722614"/>
                  <a:pt x="1604189" y="723079"/>
                </a:cubicBezTo>
                <a:cubicBezTo>
                  <a:pt x="1604911" y="724008"/>
                  <a:pt x="1605738" y="724008"/>
                  <a:pt x="1604705" y="724782"/>
                </a:cubicBezTo>
                <a:cubicBezTo>
                  <a:pt x="1603776" y="725557"/>
                  <a:pt x="1603776" y="725557"/>
                  <a:pt x="1601297" y="725402"/>
                </a:cubicBezTo>
                <a:cubicBezTo>
                  <a:pt x="1602227" y="724627"/>
                  <a:pt x="1602227" y="724627"/>
                  <a:pt x="1601504" y="723698"/>
                </a:cubicBezTo>
                <a:cubicBezTo>
                  <a:pt x="1601504" y="723698"/>
                  <a:pt x="1601607" y="723698"/>
                  <a:pt x="1600781" y="723698"/>
                </a:cubicBezTo>
                <a:cubicBezTo>
                  <a:pt x="1600885" y="722923"/>
                  <a:pt x="1601607" y="723079"/>
                  <a:pt x="1601814" y="722149"/>
                </a:cubicBezTo>
                <a:close/>
                <a:moveTo>
                  <a:pt x="2894612" y="720450"/>
                </a:moveTo>
                <a:cubicBezTo>
                  <a:pt x="2898240" y="721446"/>
                  <a:pt x="2902295" y="723011"/>
                  <a:pt x="2904215" y="725429"/>
                </a:cubicBezTo>
                <a:cubicBezTo>
                  <a:pt x="2904643" y="726283"/>
                  <a:pt x="2905070" y="727279"/>
                  <a:pt x="2905070" y="728275"/>
                </a:cubicBezTo>
                <a:cubicBezTo>
                  <a:pt x="2905496" y="730977"/>
                  <a:pt x="2902935" y="731262"/>
                  <a:pt x="2899734" y="730409"/>
                </a:cubicBezTo>
                <a:cubicBezTo>
                  <a:pt x="2893118" y="730409"/>
                  <a:pt x="2890130" y="727990"/>
                  <a:pt x="2890770" y="723011"/>
                </a:cubicBezTo>
                <a:cubicBezTo>
                  <a:pt x="2891837" y="722441"/>
                  <a:pt x="2895252" y="721588"/>
                  <a:pt x="2894612" y="720450"/>
                </a:cubicBezTo>
                <a:close/>
                <a:moveTo>
                  <a:pt x="1818445" y="719980"/>
                </a:moveTo>
                <a:cubicBezTo>
                  <a:pt x="1821956" y="722768"/>
                  <a:pt x="1822369" y="725867"/>
                  <a:pt x="1820924" y="728810"/>
                </a:cubicBezTo>
                <a:cubicBezTo>
                  <a:pt x="1817413" y="729894"/>
                  <a:pt x="1814109" y="727261"/>
                  <a:pt x="1813489" y="724318"/>
                </a:cubicBezTo>
                <a:cubicBezTo>
                  <a:pt x="1813283" y="723233"/>
                  <a:pt x="1813283" y="722304"/>
                  <a:pt x="1813799" y="721375"/>
                </a:cubicBezTo>
                <a:cubicBezTo>
                  <a:pt x="1814315" y="721220"/>
                  <a:pt x="1815038" y="720910"/>
                  <a:pt x="1815761" y="720600"/>
                </a:cubicBezTo>
                <a:cubicBezTo>
                  <a:pt x="1816587" y="720290"/>
                  <a:pt x="1817413" y="719980"/>
                  <a:pt x="1818445" y="719980"/>
                </a:cubicBezTo>
                <a:close/>
                <a:moveTo>
                  <a:pt x="3424533" y="719596"/>
                </a:moveTo>
                <a:cubicBezTo>
                  <a:pt x="3432003" y="724007"/>
                  <a:pt x="3434777" y="743070"/>
                  <a:pt x="3431789" y="746770"/>
                </a:cubicBezTo>
                <a:cubicBezTo>
                  <a:pt x="3427735" y="743498"/>
                  <a:pt x="3428375" y="738518"/>
                  <a:pt x="3424106" y="733965"/>
                </a:cubicBezTo>
                <a:cubicBezTo>
                  <a:pt x="3426027" y="730267"/>
                  <a:pt x="3421545" y="724575"/>
                  <a:pt x="3424533" y="719596"/>
                </a:cubicBezTo>
                <a:close/>
                <a:moveTo>
                  <a:pt x="3855427" y="716466"/>
                </a:moveTo>
                <a:cubicBezTo>
                  <a:pt x="3857135" y="716324"/>
                  <a:pt x="3859269" y="716609"/>
                  <a:pt x="3861403" y="718458"/>
                </a:cubicBezTo>
                <a:cubicBezTo>
                  <a:pt x="3861830" y="719027"/>
                  <a:pt x="3862684" y="720308"/>
                  <a:pt x="3863111" y="721446"/>
                </a:cubicBezTo>
                <a:cubicBezTo>
                  <a:pt x="3863537" y="722441"/>
                  <a:pt x="3863751" y="723295"/>
                  <a:pt x="3863111" y="723295"/>
                </a:cubicBezTo>
                <a:cubicBezTo>
                  <a:pt x="3861830" y="724575"/>
                  <a:pt x="3863111" y="724575"/>
                  <a:pt x="3862897" y="725714"/>
                </a:cubicBezTo>
                <a:cubicBezTo>
                  <a:pt x="3859269" y="729270"/>
                  <a:pt x="3855641" y="730409"/>
                  <a:pt x="3852440" y="727990"/>
                </a:cubicBezTo>
                <a:cubicBezTo>
                  <a:pt x="3850519" y="725572"/>
                  <a:pt x="3847318" y="721873"/>
                  <a:pt x="3850092" y="718316"/>
                </a:cubicBezTo>
                <a:cubicBezTo>
                  <a:pt x="3851159" y="718316"/>
                  <a:pt x="3851159" y="717178"/>
                  <a:pt x="3852440" y="717178"/>
                </a:cubicBezTo>
                <a:cubicBezTo>
                  <a:pt x="3852440" y="717178"/>
                  <a:pt x="3853507" y="716609"/>
                  <a:pt x="3855427" y="716466"/>
                </a:cubicBezTo>
                <a:close/>
                <a:moveTo>
                  <a:pt x="3272365" y="716039"/>
                </a:moveTo>
                <a:cubicBezTo>
                  <a:pt x="3277700" y="722868"/>
                  <a:pt x="3268523" y="727990"/>
                  <a:pt x="3264468" y="725998"/>
                </a:cubicBezTo>
                <a:cubicBezTo>
                  <a:pt x="3262121" y="720734"/>
                  <a:pt x="3267670" y="715044"/>
                  <a:pt x="3272365" y="716039"/>
                </a:cubicBezTo>
                <a:close/>
                <a:moveTo>
                  <a:pt x="2839336" y="715328"/>
                </a:moveTo>
                <a:cubicBezTo>
                  <a:pt x="2836349" y="715186"/>
                  <a:pt x="2833361" y="715471"/>
                  <a:pt x="2832293" y="716751"/>
                </a:cubicBezTo>
                <a:lnTo>
                  <a:pt x="2832080" y="717462"/>
                </a:lnTo>
                <a:lnTo>
                  <a:pt x="2841044" y="720308"/>
                </a:lnTo>
                <a:lnTo>
                  <a:pt x="2847446" y="720734"/>
                </a:lnTo>
                <a:lnTo>
                  <a:pt x="2848727" y="719738"/>
                </a:lnTo>
                <a:lnTo>
                  <a:pt x="2848300" y="719027"/>
                </a:lnTo>
                <a:cubicBezTo>
                  <a:pt x="2847660" y="718316"/>
                  <a:pt x="2847019" y="717320"/>
                  <a:pt x="2847660" y="716039"/>
                </a:cubicBezTo>
                <a:cubicBezTo>
                  <a:pt x="2845739" y="715755"/>
                  <a:pt x="2842537" y="715328"/>
                  <a:pt x="2839336" y="715328"/>
                </a:cubicBezTo>
                <a:close/>
                <a:moveTo>
                  <a:pt x="3468711" y="714759"/>
                </a:moveTo>
                <a:cubicBezTo>
                  <a:pt x="3469991" y="714617"/>
                  <a:pt x="3471485" y="714617"/>
                  <a:pt x="3473407" y="715044"/>
                </a:cubicBezTo>
                <a:cubicBezTo>
                  <a:pt x="3479595" y="726283"/>
                  <a:pt x="3468284" y="734250"/>
                  <a:pt x="3461241" y="729555"/>
                </a:cubicBezTo>
                <a:cubicBezTo>
                  <a:pt x="3458894" y="727990"/>
                  <a:pt x="3456973" y="725003"/>
                  <a:pt x="3456546" y="720308"/>
                </a:cubicBezTo>
                <a:cubicBezTo>
                  <a:pt x="3462309" y="719027"/>
                  <a:pt x="3464869" y="715613"/>
                  <a:pt x="3468711" y="714759"/>
                </a:cubicBezTo>
                <a:close/>
                <a:moveTo>
                  <a:pt x="1477803" y="713475"/>
                </a:moveTo>
                <a:cubicBezTo>
                  <a:pt x="1483689" y="717037"/>
                  <a:pt x="1478836" y="722149"/>
                  <a:pt x="1475428" y="721529"/>
                </a:cubicBezTo>
                <a:cubicBezTo>
                  <a:pt x="1474602" y="720755"/>
                  <a:pt x="1474086" y="719980"/>
                  <a:pt x="1473879" y="719051"/>
                </a:cubicBezTo>
                <a:cubicBezTo>
                  <a:pt x="1473260" y="716418"/>
                  <a:pt x="1475119" y="713785"/>
                  <a:pt x="1477803" y="713475"/>
                </a:cubicBezTo>
                <a:close/>
                <a:moveTo>
                  <a:pt x="3493254" y="713337"/>
                </a:moveTo>
                <a:cubicBezTo>
                  <a:pt x="3493894" y="713337"/>
                  <a:pt x="3494535" y="713621"/>
                  <a:pt x="3495602" y="714332"/>
                </a:cubicBezTo>
                <a:cubicBezTo>
                  <a:pt x="3496456" y="716609"/>
                  <a:pt x="3496242" y="719311"/>
                  <a:pt x="3493681" y="723153"/>
                </a:cubicBezTo>
                <a:cubicBezTo>
                  <a:pt x="3487492" y="723580"/>
                  <a:pt x="3487492" y="719738"/>
                  <a:pt x="3487278" y="715897"/>
                </a:cubicBezTo>
                <a:cubicBezTo>
                  <a:pt x="3490266" y="716324"/>
                  <a:pt x="3491334" y="713479"/>
                  <a:pt x="3493254" y="713337"/>
                </a:cubicBezTo>
                <a:close/>
                <a:moveTo>
                  <a:pt x="1560718" y="713010"/>
                </a:moveTo>
                <a:cubicBezTo>
                  <a:pt x="1564848" y="718122"/>
                  <a:pt x="1559892" y="734696"/>
                  <a:pt x="1550599" y="734541"/>
                </a:cubicBezTo>
                <a:cubicBezTo>
                  <a:pt x="1552767" y="728810"/>
                  <a:pt x="1555452" y="723543"/>
                  <a:pt x="1555452" y="715178"/>
                </a:cubicBezTo>
                <a:cubicBezTo>
                  <a:pt x="1557930" y="715334"/>
                  <a:pt x="1557724" y="712236"/>
                  <a:pt x="1560718" y="713010"/>
                </a:cubicBezTo>
                <a:close/>
                <a:moveTo>
                  <a:pt x="2882447" y="712340"/>
                </a:moveTo>
                <a:cubicBezTo>
                  <a:pt x="2883301" y="711629"/>
                  <a:pt x="2884795" y="713621"/>
                  <a:pt x="2884795" y="713621"/>
                </a:cubicBezTo>
                <a:cubicBezTo>
                  <a:pt x="2885648" y="713052"/>
                  <a:pt x="2886716" y="712483"/>
                  <a:pt x="2888209" y="712767"/>
                </a:cubicBezTo>
                <a:cubicBezTo>
                  <a:pt x="2887996" y="714474"/>
                  <a:pt x="2889063" y="713763"/>
                  <a:pt x="2889703" y="714759"/>
                </a:cubicBezTo>
                <a:cubicBezTo>
                  <a:pt x="2887996" y="714332"/>
                  <a:pt x="2885008" y="716324"/>
                  <a:pt x="2882447" y="716609"/>
                </a:cubicBezTo>
                <a:cubicBezTo>
                  <a:pt x="2881807" y="715613"/>
                  <a:pt x="2880313" y="715186"/>
                  <a:pt x="2879673" y="714190"/>
                </a:cubicBezTo>
                <a:cubicBezTo>
                  <a:pt x="2880526" y="713621"/>
                  <a:pt x="2881807" y="711345"/>
                  <a:pt x="2882447" y="712340"/>
                </a:cubicBezTo>
                <a:close/>
                <a:moveTo>
                  <a:pt x="2827385" y="710775"/>
                </a:moveTo>
                <a:lnTo>
                  <a:pt x="2822263" y="713621"/>
                </a:lnTo>
                <a:lnTo>
                  <a:pt x="2823543" y="713763"/>
                </a:lnTo>
                <a:lnTo>
                  <a:pt x="2828452" y="715897"/>
                </a:lnTo>
                <a:lnTo>
                  <a:pt x="2828452" y="714332"/>
                </a:lnTo>
                <a:cubicBezTo>
                  <a:pt x="2828452" y="713052"/>
                  <a:pt x="2828025" y="711772"/>
                  <a:pt x="2827385" y="710775"/>
                </a:cubicBezTo>
                <a:close/>
                <a:moveTo>
                  <a:pt x="2816500" y="710491"/>
                </a:moveTo>
                <a:lnTo>
                  <a:pt x="2813726" y="712198"/>
                </a:lnTo>
                <a:lnTo>
                  <a:pt x="2814793" y="716182"/>
                </a:lnTo>
                <a:lnTo>
                  <a:pt x="2816287" y="715755"/>
                </a:lnTo>
                <a:cubicBezTo>
                  <a:pt x="2817140" y="715186"/>
                  <a:pt x="2817354" y="714474"/>
                  <a:pt x="2816073" y="713621"/>
                </a:cubicBezTo>
                <a:lnTo>
                  <a:pt x="2820128" y="713621"/>
                </a:lnTo>
                <a:lnTo>
                  <a:pt x="2819275" y="713337"/>
                </a:lnTo>
                <a:cubicBezTo>
                  <a:pt x="2818421" y="712909"/>
                  <a:pt x="2817567" y="711914"/>
                  <a:pt x="2816500" y="710491"/>
                </a:cubicBezTo>
                <a:close/>
                <a:moveTo>
                  <a:pt x="3229681" y="704800"/>
                </a:moveTo>
                <a:cubicBezTo>
                  <a:pt x="3231815" y="704943"/>
                  <a:pt x="3233949" y="705654"/>
                  <a:pt x="3235870" y="706792"/>
                </a:cubicBezTo>
                <a:lnTo>
                  <a:pt x="3236083" y="706935"/>
                </a:lnTo>
                <a:lnTo>
                  <a:pt x="3236510" y="706508"/>
                </a:lnTo>
                <a:cubicBezTo>
                  <a:pt x="3237578" y="706223"/>
                  <a:pt x="3238431" y="706223"/>
                  <a:pt x="3239285" y="706935"/>
                </a:cubicBezTo>
                <a:cubicBezTo>
                  <a:pt x="3239925" y="707503"/>
                  <a:pt x="3239925" y="708072"/>
                  <a:pt x="3239925" y="708642"/>
                </a:cubicBezTo>
                <a:lnTo>
                  <a:pt x="3239711" y="710064"/>
                </a:lnTo>
                <a:lnTo>
                  <a:pt x="3241206" y="711345"/>
                </a:lnTo>
                <a:cubicBezTo>
                  <a:pt x="3244194" y="715044"/>
                  <a:pt x="3245901" y="719738"/>
                  <a:pt x="3245047" y="724291"/>
                </a:cubicBezTo>
                <a:cubicBezTo>
                  <a:pt x="3244620" y="727279"/>
                  <a:pt x="3242913" y="730267"/>
                  <a:pt x="3239711" y="732827"/>
                </a:cubicBezTo>
                <a:cubicBezTo>
                  <a:pt x="3232882" y="734534"/>
                  <a:pt x="3225840" y="736242"/>
                  <a:pt x="3217729" y="728844"/>
                </a:cubicBezTo>
                <a:cubicBezTo>
                  <a:pt x="3216449" y="719596"/>
                  <a:pt x="3219650" y="713052"/>
                  <a:pt x="3229681" y="704800"/>
                </a:cubicBezTo>
                <a:close/>
                <a:moveTo>
                  <a:pt x="3125745" y="704089"/>
                </a:moveTo>
                <a:cubicBezTo>
                  <a:pt x="3129160" y="704800"/>
                  <a:pt x="3132148" y="707930"/>
                  <a:pt x="3134069" y="711914"/>
                </a:cubicBezTo>
                <a:cubicBezTo>
                  <a:pt x="3128947" y="715328"/>
                  <a:pt x="3124252" y="714190"/>
                  <a:pt x="3118916" y="710633"/>
                </a:cubicBezTo>
                <a:cubicBezTo>
                  <a:pt x="3119130" y="708357"/>
                  <a:pt x="3122971" y="705796"/>
                  <a:pt x="3125745" y="704089"/>
                </a:cubicBezTo>
                <a:close/>
                <a:moveTo>
                  <a:pt x="1577445" y="702477"/>
                </a:moveTo>
                <a:cubicBezTo>
                  <a:pt x="1584880" y="698140"/>
                  <a:pt x="1591901" y="706659"/>
                  <a:pt x="1589320" y="711616"/>
                </a:cubicBezTo>
                <a:cubicBezTo>
                  <a:pt x="1588494" y="713320"/>
                  <a:pt x="1586532" y="714559"/>
                  <a:pt x="1583125" y="714869"/>
                </a:cubicBezTo>
                <a:cubicBezTo>
                  <a:pt x="1581059" y="709138"/>
                  <a:pt x="1576826" y="707744"/>
                  <a:pt x="1577445" y="702477"/>
                </a:cubicBezTo>
                <a:close/>
                <a:moveTo>
                  <a:pt x="1638935" y="700773"/>
                </a:moveTo>
                <a:cubicBezTo>
                  <a:pt x="1643168" y="702632"/>
                  <a:pt x="1646266" y="707047"/>
                  <a:pt x="1645698" y="711616"/>
                </a:cubicBezTo>
                <a:cubicBezTo>
                  <a:pt x="1645285" y="714714"/>
                  <a:pt x="1643323" y="717812"/>
                  <a:pt x="1638883" y="720290"/>
                </a:cubicBezTo>
                <a:cubicBezTo>
                  <a:pt x="1633410" y="712855"/>
                  <a:pt x="1627008" y="713475"/>
                  <a:pt x="1625356" y="705265"/>
                </a:cubicBezTo>
                <a:cubicBezTo>
                  <a:pt x="1629332" y="699612"/>
                  <a:pt x="1634701" y="698915"/>
                  <a:pt x="1638935" y="700773"/>
                </a:cubicBezTo>
                <a:close/>
                <a:moveTo>
                  <a:pt x="2112416" y="699379"/>
                </a:moveTo>
                <a:lnTo>
                  <a:pt x="2109731" y="701238"/>
                </a:lnTo>
                <a:lnTo>
                  <a:pt x="2110867" y="700928"/>
                </a:lnTo>
                <a:close/>
                <a:moveTo>
                  <a:pt x="3675942" y="699251"/>
                </a:moveTo>
                <a:cubicBezTo>
                  <a:pt x="3678289" y="699394"/>
                  <a:pt x="3680637" y="700248"/>
                  <a:pt x="3682984" y="702381"/>
                </a:cubicBezTo>
                <a:cubicBezTo>
                  <a:pt x="3684265" y="703662"/>
                  <a:pt x="3685546" y="704943"/>
                  <a:pt x="3686613" y="706508"/>
                </a:cubicBezTo>
                <a:cubicBezTo>
                  <a:pt x="3689387" y="711060"/>
                  <a:pt x="3689814" y="716751"/>
                  <a:pt x="3683198" y="723864"/>
                </a:cubicBezTo>
                <a:cubicBezTo>
                  <a:pt x="3681704" y="726283"/>
                  <a:pt x="3681917" y="725145"/>
                  <a:pt x="3680637" y="726283"/>
                </a:cubicBezTo>
                <a:cubicBezTo>
                  <a:pt x="3679356" y="727421"/>
                  <a:pt x="3677863" y="729840"/>
                  <a:pt x="3677863" y="730977"/>
                </a:cubicBezTo>
                <a:cubicBezTo>
                  <a:pt x="3674661" y="728275"/>
                  <a:pt x="3672313" y="729555"/>
                  <a:pt x="3668685" y="727848"/>
                </a:cubicBezTo>
                <a:lnTo>
                  <a:pt x="3667832" y="727279"/>
                </a:lnTo>
                <a:lnTo>
                  <a:pt x="3671033" y="735388"/>
                </a:lnTo>
                <a:cubicBezTo>
                  <a:pt x="3669325" y="744920"/>
                  <a:pt x="3655026" y="753456"/>
                  <a:pt x="3650118" y="738945"/>
                </a:cubicBezTo>
                <a:cubicBezTo>
                  <a:pt x="3653959" y="735815"/>
                  <a:pt x="3657161" y="733254"/>
                  <a:pt x="3659935" y="731120"/>
                </a:cubicBezTo>
                <a:lnTo>
                  <a:pt x="3667192" y="726710"/>
                </a:lnTo>
                <a:lnTo>
                  <a:pt x="3664630" y="724718"/>
                </a:lnTo>
                <a:cubicBezTo>
                  <a:pt x="3656093" y="717462"/>
                  <a:pt x="3659082" y="709210"/>
                  <a:pt x="3663137" y="704373"/>
                </a:cubicBezTo>
                <a:cubicBezTo>
                  <a:pt x="3663990" y="705369"/>
                  <a:pt x="3669325" y="698967"/>
                  <a:pt x="3675942" y="699251"/>
                </a:cubicBezTo>
                <a:close/>
                <a:moveTo>
                  <a:pt x="3782438" y="699109"/>
                </a:moveTo>
                <a:cubicBezTo>
                  <a:pt x="3784786" y="698683"/>
                  <a:pt x="3787347" y="699109"/>
                  <a:pt x="3790335" y="700674"/>
                </a:cubicBezTo>
                <a:cubicBezTo>
                  <a:pt x="3790975" y="713337"/>
                  <a:pt x="3774755" y="728702"/>
                  <a:pt x="3767712" y="719596"/>
                </a:cubicBezTo>
                <a:cubicBezTo>
                  <a:pt x="3766645" y="718316"/>
                  <a:pt x="3765791" y="716609"/>
                  <a:pt x="3765364" y="714190"/>
                </a:cubicBezTo>
                <a:cubicBezTo>
                  <a:pt x="3769419" y="709210"/>
                  <a:pt x="3774969" y="700532"/>
                  <a:pt x="3782438" y="699109"/>
                </a:cubicBezTo>
                <a:close/>
                <a:moveTo>
                  <a:pt x="3285810" y="697687"/>
                </a:moveTo>
                <a:cubicBezTo>
                  <a:pt x="3287304" y="697544"/>
                  <a:pt x="3288798" y="697687"/>
                  <a:pt x="3290292" y="698256"/>
                </a:cubicBezTo>
                <a:cubicBezTo>
                  <a:pt x="3290292" y="698256"/>
                  <a:pt x="3290292" y="698398"/>
                  <a:pt x="3289012" y="698256"/>
                </a:cubicBezTo>
                <a:cubicBezTo>
                  <a:pt x="3289012" y="698256"/>
                  <a:pt x="3290292" y="698256"/>
                  <a:pt x="3290292" y="699394"/>
                </a:cubicBezTo>
                <a:cubicBezTo>
                  <a:pt x="3284530" y="702666"/>
                  <a:pt x="3275139" y="701101"/>
                  <a:pt x="3274072" y="701101"/>
                </a:cubicBezTo>
                <a:cubicBezTo>
                  <a:pt x="3274072" y="699821"/>
                  <a:pt x="3274072" y="699821"/>
                  <a:pt x="3274072" y="699821"/>
                </a:cubicBezTo>
                <a:cubicBezTo>
                  <a:pt x="3277487" y="700959"/>
                  <a:pt x="3281542" y="698114"/>
                  <a:pt x="3285810" y="697687"/>
                </a:cubicBezTo>
                <a:close/>
                <a:moveTo>
                  <a:pt x="1621329" y="697521"/>
                </a:moveTo>
                <a:cubicBezTo>
                  <a:pt x="1620503" y="702167"/>
                  <a:pt x="1617715" y="704336"/>
                  <a:pt x="1613172" y="706040"/>
                </a:cubicBezTo>
                <a:cubicBezTo>
                  <a:pt x="1612656" y="705420"/>
                  <a:pt x="1612553" y="704181"/>
                  <a:pt x="1612656" y="702942"/>
                </a:cubicBezTo>
                <a:cubicBezTo>
                  <a:pt x="1612759" y="701548"/>
                  <a:pt x="1612965" y="700154"/>
                  <a:pt x="1613172" y="698914"/>
                </a:cubicBezTo>
                <a:cubicBezTo>
                  <a:pt x="1615340" y="697211"/>
                  <a:pt x="1618438" y="696746"/>
                  <a:pt x="1621329" y="697521"/>
                </a:cubicBezTo>
                <a:close/>
                <a:moveTo>
                  <a:pt x="3266816" y="697118"/>
                </a:moveTo>
                <a:cubicBezTo>
                  <a:pt x="3266816" y="697118"/>
                  <a:pt x="3266816" y="697118"/>
                  <a:pt x="3268096" y="698398"/>
                </a:cubicBezTo>
                <a:cubicBezTo>
                  <a:pt x="3265749" y="698256"/>
                  <a:pt x="3264682" y="703093"/>
                  <a:pt x="3262334" y="700532"/>
                </a:cubicBezTo>
                <a:cubicBezTo>
                  <a:pt x="3263401" y="699394"/>
                  <a:pt x="3265749" y="698256"/>
                  <a:pt x="3266816" y="697118"/>
                </a:cubicBezTo>
                <a:close/>
                <a:moveTo>
                  <a:pt x="2091086" y="695126"/>
                </a:moveTo>
                <a:lnTo>
                  <a:pt x="2080202" y="699394"/>
                </a:lnTo>
                <a:lnTo>
                  <a:pt x="2076974" y="697274"/>
                </a:lnTo>
                <a:lnTo>
                  <a:pt x="2072559" y="698605"/>
                </a:lnTo>
                <a:cubicBezTo>
                  <a:pt x="2068738" y="700618"/>
                  <a:pt x="2064918" y="702942"/>
                  <a:pt x="2060788" y="705575"/>
                </a:cubicBezTo>
                <a:lnTo>
                  <a:pt x="2048810" y="713320"/>
                </a:lnTo>
                <a:lnTo>
                  <a:pt x="2049326" y="713785"/>
                </a:lnTo>
                <a:lnTo>
                  <a:pt x="2050669" y="717347"/>
                </a:lnTo>
                <a:lnTo>
                  <a:pt x="2051495" y="715334"/>
                </a:lnTo>
                <a:cubicBezTo>
                  <a:pt x="2053250" y="714094"/>
                  <a:pt x="2056658" y="716263"/>
                  <a:pt x="2059549" y="715798"/>
                </a:cubicBezTo>
                <a:cubicBezTo>
                  <a:pt x="2060581" y="714559"/>
                  <a:pt x="2061717" y="713475"/>
                  <a:pt x="2063369" y="713010"/>
                </a:cubicBezTo>
                <a:cubicBezTo>
                  <a:pt x="2060065" y="711771"/>
                  <a:pt x="2054696" y="714559"/>
                  <a:pt x="2052528" y="711771"/>
                </a:cubicBezTo>
                <a:cubicBezTo>
                  <a:pt x="2056864" y="710067"/>
                  <a:pt x="2059033" y="712390"/>
                  <a:pt x="2064918" y="708363"/>
                </a:cubicBezTo>
                <a:cubicBezTo>
                  <a:pt x="2068222" y="711771"/>
                  <a:pt x="2065538" y="715178"/>
                  <a:pt x="2073075" y="710687"/>
                </a:cubicBezTo>
                <a:cubicBezTo>
                  <a:pt x="2069874" y="713010"/>
                  <a:pt x="2070907" y="716418"/>
                  <a:pt x="2066054" y="718122"/>
                </a:cubicBezTo>
                <a:cubicBezTo>
                  <a:pt x="2066570" y="719825"/>
                  <a:pt x="2069255" y="719825"/>
                  <a:pt x="2072043" y="719206"/>
                </a:cubicBezTo>
                <a:cubicBezTo>
                  <a:pt x="2073592" y="718586"/>
                  <a:pt x="2075243" y="718122"/>
                  <a:pt x="2076793" y="717502"/>
                </a:cubicBezTo>
                <a:cubicBezTo>
                  <a:pt x="2077412" y="716882"/>
                  <a:pt x="2078444" y="716882"/>
                  <a:pt x="2079064" y="716418"/>
                </a:cubicBezTo>
                <a:cubicBezTo>
                  <a:pt x="2079580" y="716418"/>
                  <a:pt x="2080097" y="716418"/>
                  <a:pt x="2080097" y="715798"/>
                </a:cubicBezTo>
                <a:cubicBezTo>
                  <a:pt x="2080613" y="715798"/>
                  <a:pt x="2080613" y="715798"/>
                  <a:pt x="2081129" y="715178"/>
                </a:cubicBezTo>
                <a:cubicBezTo>
                  <a:pt x="2085982" y="712855"/>
                  <a:pt x="2089287" y="710067"/>
                  <a:pt x="2082781" y="712390"/>
                </a:cubicBezTo>
                <a:cubicBezTo>
                  <a:pt x="2084434" y="708363"/>
                  <a:pt x="2097444" y="708363"/>
                  <a:pt x="2093107" y="704336"/>
                </a:cubicBezTo>
                <a:cubicBezTo>
                  <a:pt x="2096824" y="701548"/>
                  <a:pt x="2099509" y="701548"/>
                  <a:pt x="2102297" y="702167"/>
                </a:cubicBezTo>
                <a:lnTo>
                  <a:pt x="2105085" y="702167"/>
                </a:lnTo>
                <a:lnTo>
                  <a:pt x="2102607" y="699534"/>
                </a:lnTo>
                <a:lnTo>
                  <a:pt x="2102615" y="699517"/>
                </a:lnTo>
                <a:lnTo>
                  <a:pt x="2099143" y="701813"/>
                </a:lnTo>
                <a:cubicBezTo>
                  <a:pt x="2096422" y="702311"/>
                  <a:pt x="2093221" y="701742"/>
                  <a:pt x="2089806" y="699679"/>
                </a:cubicBezTo>
                <a:close/>
                <a:moveTo>
                  <a:pt x="3466150" y="693277"/>
                </a:moveTo>
                <a:cubicBezTo>
                  <a:pt x="3475754" y="691996"/>
                  <a:pt x="3489626" y="700532"/>
                  <a:pt x="3493468" y="705369"/>
                </a:cubicBezTo>
                <a:cubicBezTo>
                  <a:pt x="3483223" y="705369"/>
                  <a:pt x="3466150" y="704658"/>
                  <a:pt x="3458467" y="698256"/>
                </a:cubicBezTo>
                <a:cubicBezTo>
                  <a:pt x="3460174" y="695126"/>
                  <a:pt x="3462949" y="693703"/>
                  <a:pt x="3466150" y="693277"/>
                </a:cubicBezTo>
                <a:close/>
                <a:moveTo>
                  <a:pt x="2989157" y="692423"/>
                </a:moveTo>
                <a:cubicBezTo>
                  <a:pt x="2993852" y="694984"/>
                  <a:pt x="2995133" y="698683"/>
                  <a:pt x="2991931" y="702097"/>
                </a:cubicBezTo>
                <a:cubicBezTo>
                  <a:pt x="2989370" y="699679"/>
                  <a:pt x="2987023" y="700674"/>
                  <a:pt x="2984675" y="698256"/>
                </a:cubicBezTo>
                <a:cubicBezTo>
                  <a:pt x="2986809" y="695979"/>
                  <a:pt x="2988090" y="693561"/>
                  <a:pt x="2989157" y="692423"/>
                </a:cubicBezTo>
                <a:close/>
                <a:moveTo>
                  <a:pt x="3697710" y="691996"/>
                </a:moveTo>
                <a:cubicBezTo>
                  <a:pt x="3699845" y="693845"/>
                  <a:pt x="3701125" y="695411"/>
                  <a:pt x="3701979" y="696691"/>
                </a:cubicBezTo>
                <a:cubicBezTo>
                  <a:pt x="3704326" y="700674"/>
                  <a:pt x="3701552" y="702951"/>
                  <a:pt x="3698564" y="706508"/>
                </a:cubicBezTo>
                <a:cubicBezTo>
                  <a:pt x="3696430" y="705227"/>
                  <a:pt x="3693015" y="706365"/>
                  <a:pt x="3690881" y="703947"/>
                </a:cubicBezTo>
                <a:cubicBezTo>
                  <a:pt x="3690881" y="703947"/>
                  <a:pt x="3689814" y="702666"/>
                  <a:pt x="3690027" y="700390"/>
                </a:cubicBezTo>
                <a:cubicBezTo>
                  <a:pt x="3688107" y="696691"/>
                  <a:pt x="3691948" y="693134"/>
                  <a:pt x="3691948" y="693134"/>
                </a:cubicBezTo>
                <a:cubicBezTo>
                  <a:pt x="3691948" y="693134"/>
                  <a:pt x="3691948" y="693134"/>
                  <a:pt x="3690667" y="693134"/>
                </a:cubicBezTo>
                <a:cubicBezTo>
                  <a:pt x="3693015" y="693134"/>
                  <a:pt x="3695576" y="691996"/>
                  <a:pt x="3697710" y="691996"/>
                </a:cubicBezTo>
                <a:close/>
                <a:moveTo>
                  <a:pt x="1308773" y="688691"/>
                </a:moveTo>
                <a:cubicBezTo>
                  <a:pt x="1309805" y="690086"/>
                  <a:pt x="1310115" y="691789"/>
                  <a:pt x="1309083" y="694733"/>
                </a:cubicBezTo>
                <a:cubicBezTo>
                  <a:pt x="1304436" y="696281"/>
                  <a:pt x="1303610" y="693803"/>
                  <a:pt x="1302681" y="691325"/>
                </a:cubicBezTo>
                <a:cubicBezTo>
                  <a:pt x="1305882" y="691015"/>
                  <a:pt x="1305262" y="687297"/>
                  <a:pt x="1308773" y="688691"/>
                </a:cubicBezTo>
                <a:close/>
                <a:moveTo>
                  <a:pt x="2109112" y="686213"/>
                </a:moveTo>
                <a:lnTo>
                  <a:pt x="2104199" y="687529"/>
                </a:lnTo>
                <a:lnTo>
                  <a:pt x="2105171" y="694485"/>
                </a:lnTo>
                <a:lnTo>
                  <a:pt x="2107563" y="689776"/>
                </a:lnTo>
                <a:close/>
                <a:moveTo>
                  <a:pt x="3290506" y="685167"/>
                </a:moveTo>
                <a:cubicBezTo>
                  <a:pt x="3291786" y="687585"/>
                  <a:pt x="3291786" y="687585"/>
                  <a:pt x="3290719" y="690004"/>
                </a:cubicBezTo>
                <a:cubicBezTo>
                  <a:pt x="3289652" y="690004"/>
                  <a:pt x="3289652" y="691142"/>
                  <a:pt x="3288371" y="689862"/>
                </a:cubicBezTo>
                <a:cubicBezTo>
                  <a:pt x="3286237" y="693419"/>
                  <a:pt x="3275993" y="696691"/>
                  <a:pt x="3271298" y="695268"/>
                </a:cubicBezTo>
                <a:cubicBezTo>
                  <a:pt x="3278981" y="684740"/>
                  <a:pt x="3286237" y="691000"/>
                  <a:pt x="3290506" y="685167"/>
                </a:cubicBezTo>
                <a:close/>
                <a:moveTo>
                  <a:pt x="2877752" y="684456"/>
                </a:moveTo>
                <a:cubicBezTo>
                  <a:pt x="2881807" y="686021"/>
                  <a:pt x="2886288" y="692565"/>
                  <a:pt x="2883087" y="695979"/>
                </a:cubicBezTo>
                <a:cubicBezTo>
                  <a:pt x="2879673" y="698256"/>
                  <a:pt x="2867721" y="690573"/>
                  <a:pt x="2874337" y="684740"/>
                </a:cubicBezTo>
                <a:cubicBezTo>
                  <a:pt x="2875190" y="683887"/>
                  <a:pt x="2876471" y="683887"/>
                  <a:pt x="2877752" y="684456"/>
                </a:cubicBezTo>
                <a:close/>
                <a:moveTo>
                  <a:pt x="3366910" y="684029"/>
                </a:moveTo>
                <a:cubicBezTo>
                  <a:pt x="3366910" y="684029"/>
                  <a:pt x="3367550" y="684740"/>
                  <a:pt x="3367977" y="685452"/>
                </a:cubicBezTo>
                <a:cubicBezTo>
                  <a:pt x="3368617" y="686305"/>
                  <a:pt x="3369257" y="687301"/>
                  <a:pt x="3369044" y="688155"/>
                </a:cubicBezTo>
                <a:cubicBezTo>
                  <a:pt x="3369044" y="690858"/>
                  <a:pt x="3364349" y="689720"/>
                  <a:pt x="3363282" y="690431"/>
                </a:cubicBezTo>
                <a:cubicBezTo>
                  <a:pt x="3361788" y="690004"/>
                  <a:pt x="3360294" y="689577"/>
                  <a:pt x="3360721" y="688013"/>
                </a:cubicBezTo>
                <a:cubicBezTo>
                  <a:pt x="3361147" y="686305"/>
                  <a:pt x="3360721" y="685309"/>
                  <a:pt x="3363282" y="685025"/>
                </a:cubicBezTo>
                <a:cubicBezTo>
                  <a:pt x="3364349" y="684456"/>
                  <a:pt x="3365842" y="684740"/>
                  <a:pt x="3366910" y="684029"/>
                </a:cubicBezTo>
                <a:close/>
                <a:moveTo>
                  <a:pt x="3401057" y="683318"/>
                </a:moveTo>
                <a:cubicBezTo>
                  <a:pt x="3403191" y="683033"/>
                  <a:pt x="3405538" y="683460"/>
                  <a:pt x="3408527" y="684456"/>
                </a:cubicBezTo>
                <a:cubicBezTo>
                  <a:pt x="3410661" y="689862"/>
                  <a:pt x="3405752" y="700106"/>
                  <a:pt x="3398496" y="697260"/>
                </a:cubicBezTo>
                <a:cubicBezTo>
                  <a:pt x="3396148" y="694557"/>
                  <a:pt x="3393801" y="691854"/>
                  <a:pt x="3395295" y="686021"/>
                </a:cubicBezTo>
                <a:cubicBezTo>
                  <a:pt x="3397215" y="684456"/>
                  <a:pt x="3399136" y="683460"/>
                  <a:pt x="3401057" y="683318"/>
                </a:cubicBezTo>
                <a:close/>
                <a:moveTo>
                  <a:pt x="3221144" y="682037"/>
                </a:moveTo>
                <a:cubicBezTo>
                  <a:pt x="3223492" y="683318"/>
                  <a:pt x="3223705" y="684456"/>
                  <a:pt x="3222425" y="685594"/>
                </a:cubicBezTo>
                <a:cubicBezTo>
                  <a:pt x="3222425" y="685594"/>
                  <a:pt x="3221357" y="686732"/>
                  <a:pt x="3220077" y="687870"/>
                </a:cubicBezTo>
                <a:cubicBezTo>
                  <a:pt x="3219010" y="689008"/>
                  <a:pt x="3219010" y="690289"/>
                  <a:pt x="3219010" y="690289"/>
                </a:cubicBezTo>
                <a:cubicBezTo>
                  <a:pt x="3217943" y="691427"/>
                  <a:pt x="3216876" y="691427"/>
                  <a:pt x="3215595" y="690147"/>
                </a:cubicBezTo>
                <a:cubicBezTo>
                  <a:pt x="3215595" y="690147"/>
                  <a:pt x="3216662" y="687728"/>
                  <a:pt x="3216662" y="687728"/>
                </a:cubicBezTo>
                <a:cubicBezTo>
                  <a:pt x="3218796" y="685452"/>
                  <a:pt x="3220077" y="684313"/>
                  <a:pt x="3221144" y="682037"/>
                </a:cubicBezTo>
                <a:close/>
                <a:moveTo>
                  <a:pt x="1739764" y="682031"/>
                </a:moveTo>
                <a:cubicBezTo>
                  <a:pt x="1742552" y="684044"/>
                  <a:pt x="1740797" y="690550"/>
                  <a:pt x="1737493" y="692254"/>
                </a:cubicBezTo>
                <a:cubicBezTo>
                  <a:pt x="1738215" y="689466"/>
                  <a:pt x="1737699" y="687452"/>
                  <a:pt x="1737596" y="685903"/>
                </a:cubicBezTo>
                <a:cubicBezTo>
                  <a:pt x="1737493" y="684354"/>
                  <a:pt x="1737699" y="683115"/>
                  <a:pt x="1739764" y="682031"/>
                </a:cubicBezTo>
                <a:close/>
                <a:moveTo>
                  <a:pt x="3256785" y="679476"/>
                </a:moveTo>
                <a:cubicBezTo>
                  <a:pt x="3256999" y="679476"/>
                  <a:pt x="3257212" y="679761"/>
                  <a:pt x="3257852" y="680330"/>
                </a:cubicBezTo>
                <a:cubicBezTo>
                  <a:pt x="3256999" y="681753"/>
                  <a:pt x="3256785" y="680330"/>
                  <a:pt x="3255718" y="680472"/>
                </a:cubicBezTo>
                <a:cubicBezTo>
                  <a:pt x="3256145" y="679761"/>
                  <a:pt x="3256358" y="679476"/>
                  <a:pt x="3256785" y="679476"/>
                </a:cubicBezTo>
                <a:close/>
                <a:moveTo>
                  <a:pt x="2146779" y="677022"/>
                </a:moveTo>
                <a:lnTo>
                  <a:pt x="2133583" y="679862"/>
                </a:lnTo>
                <a:cubicBezTo>
                  <a:pt x="2133067" y="676919"/>
                  <a:pt x="2129247" y="679243"/>
                  <a:pt x="2128730" y="677539"/>
                </a:cubicBezTo>
                <a:cubicBezTo>
                  <a:pt x="2126252" y="679862"/>
                  <a:pt x="2123568" y="681411"/>
                  <a:pt x="2120780" y="682650"/>
                </a:cubicBezTo>
                <a:lnTo>
                  <a:pt x="2112932" y="685129"/>
                </a:lnTo>
                <a:lnTo>
                  <a:pt x="2113448" y="686678"/>
                </a:lnTo>
                <a:cubicBezTo>
                  <a:pt x="2114068" y="688846"/>
                  <a:pt x="2114378" y="691015"/>
                  <a:pt x="2114275" y="693183"/>
                </a:cubicBezTo>
                <a:lnTo>
                  <a:pt x="2112416" y="699224"/>
                </a:lnTo>
                <a:lnTo>
                  <a:pt x="2115720" y="695817"/>
                </a:lnTo>
                <a:cubicBezTo>
                  <a:pt x="2116959" y="693648"/>
                  <a:pt x="2118198" y="691479"/>
                  <a:pt x="2120677" y="690086"/>
                </a:cubicBezTo>
                <a:cubicBezTo>
                  <a:pt x="2120057" y="690086"/>
                  <a:pt x="2121193" y="692409"/>
                  <a:pt x="2121193" y="692409"/>
                </a:cubicBezTo>
                <a:cubicBezTo>
                  <a:pt x="2123877" y="690086"/>
                  <a:pt x="2129247" y="682186"/>
                  <a:pt x="2132551" y="689621"/>
                </a:cubicBezTo>
                <a:cubicBezTo>
                  <a:pt x="2130382" y="689001"/>
                  <a:pt x="2128214" y="689466"/>
                  <a:pt x="2126562" y="690705"/>
                </a:cubicBezTo>
                <a:cubicBezTo>
                  <a:pt x="2124910" y="691789"/>
                  <a:pt x="2123877" y="694113"/>
                  <a:pt x="2125013" y="695817"/>
                </a:cubicBezTo>
                <a:cubicBezTo>
                  <a:pt x="2127078" y="692409"/>
                  <a:pt x="2133583" y="691170"/>
                  <a:pt x="2141121" y="690086"/>
                </a:cubicBezTo>
                <a:cubicBezTo>
                  <a:pt x="2144426" y="689001"/>
                  <a:pt x="2148142" y="688382"/>
                  <a:pt x="2151963" y="687297"/>
                </a:cubicBezTo>
                <a:lnTo>
                  <a:pt x="2152580" y="687054"/>
                </a:lnTo>
                <a:close/>
                <a:moveTo>
                  <a:pt x="3666338" y="676916"/>
                </a:moveTo>
                <a:cubicBezTo>
                  <a:pt x="3666764" y="681183"/>
                  <a:pt x="3671887" y="680330"/>
                  <a:pt x="3669966" y="685167"/>
                </a:cubicBezTo>
                <a:cubicBezTo>
                  <a:pt x="3668045" y="686590"/>
                  <a:pt x="3665697" y="687017"/>
                  <a:pt x="3661429" y="685594"/>
                </a:cubicBezTo>
                <a:cubicBezTo>
                  <a:pt x="3659508" y="679192"/>
                  <a:pt x="3662923" y="678054"/>
                  <a:pt x="3666338" y="676916"/>
                </a:cubicBezTo>
                <a:close/>
                <a:moveTo>
                  <a:pt x="3533804" y="674212"/>
                </a:moveTo>
                <a:cubicBezTo>
                  <a:pt x="3535085" y="674212"/>
                  <a:pt x="3536365" y="674639"/>
                  <a:pt x="3537859" y="675493"/>
                </a:cubicBezTo>
                <a:cubicBezTo>
                  <a:pt x="3539780" y="687728"/>
                  <a:pt x="3525907" y="692565"/>
                  <a:pt x="3520999" y="686305"/>
                </a:cubicBezTo>
                <a:cubicBezTo>
                  <a:pt x="3519292" y="684313"/>
                  <a:pt x="3518865" y="681183"/>
                  <a:pt x="3520145" y="676489"/>
                </a:cubicBezTo>
                <a:cubicBezTo>
                  <a:pt x="3526121" y="676773"/>
                  <a:pt x="3529749" y="674070"/>
                  <a:pt x="3533804" y="674212"/>
                </a:cubicBezTo>
                <a:close/>
                <a:moveTo>
                  <a:pt x="3213674" y="672078"/>
                </a:moveTo>
                <a:cubicBezTo>
                  <a:pt x="3214955" y="673359"/>
                  <a:pt x="3214955" y="672078"/>
                  <a:pt x="3216022" y="672221"/>
                </a:cubicBezTo>
                <a:cubicBezTo>
                  <a:pt x="3214955" y="673359"/>
                  <a:pt x="3214955" y="677058"/>
                  <a:pt x="3214101" y="679476"/>
                </a:cubicBezTo>
                <a:cubicBezTo>
                  <a:pt x="3212821" y="679476"/>
                  <a:pt x="3211754" y="680614"/>
                  <a:pt x="3210686" y="680614"/>
                </a:cubicBezTo>
                <a:cubicBezTo>
                  <a:pt x="3210686" y="679334"/>
                  <a:pt x="3209620" y="676916"/>
                  <a:pt x="3210686" y="676916"/>
                </a:cubicBezTo>
                <a:cubicBezTo>
                  <a:pt x="3210686" y="675777"/>
                  <a:pt x="3212821" y="675777"/>
                  <a:pt x="3212821" y="675777"/>
                </a:cubicBezTo>
                <a:cubicBezTo>
                  <a:pt x="3212821" y="674497"/>
                  <a:pt x="3212607" y="673217"/>
                  <a:pt x="3213674" y="672078"/>
                </a:cubicBezTo>
                <a:close/>
                <a:moveTo>
                  <a:pt x="1812663" y="667316"/>
                </a:moveTo>
                <a:cubicBezTo>
                  <a:pt x="1821543" y="673976"/>
                  <a:pt x="1829184" y="675215"/>
                  <a:pt x="1838064" y="679243"/>
                </a:cubicBezTo>
                <a:cubicBezTo>
                  <a:pt x="1838064" y="681876"/>
                  <a:pt x="1836825" y="684509"/>
                  <a:pt x="1833005" y="688536"/>
                </a:cubicBezTo>
                <a:cubicBezTo>
                  <a:pt x="1825364" y="677849"/>
                  <a:pt x="1820304" y="692564"/>
                  <a:pt x="1814005" y="684509"/>
                </a:cubicBezTo>
                <a:cubicBezTo>
                  <a:pt x="1813076" y="680637"/>
                  <a:pt x="1810701" y="676610"/>
                  <a:pt x="1811114" y="671963"/>
                </a:cubicBezTo>
                <a:cubicBezTo>
                  <a:pt x="1811321" y="670568"/>
                  <a:pt x="1811734" y="669020"/>
                  <a:pt x="1812663" y="667316"/>
                </a:cubicBezTo>
                <a:close/>
                <a:moveTo>
                  <a:pt x="3231602" y="666245"/>
                </a:moveTo>
                <a:cubicBezTo>
                  <a:pt x="3232455" y="666245"/>
                  <a:pt x="3233523" y="666530"/>
                  <a:pt x="3234376" y="667241"/>
                </a:cubicBezTo>
                <a:cubicBezTo>
                  <a:pt x="3236723" y="668522"/>
                  <a:pt x="3235657" y="670798"/>
                  <a:pt x="3233523" y="673074"/>
                </a:cubicBezTo>
                <a:cubicBezTo>
                  <a:pt x="3230321" y="679049"/>
                  <a:pt x="3226907" y="680046"/>
                  <a:pt x="3223278" y="676347"/>
                </a:cubicBezTo>
                <a:cubicBezTo>
                  <a:pt x="3223278" y="675066"/>
                  <a:pt x="3224132" y="671509"/>
                  <a:pt x="3223065" y="671509"/>
                </a:cubicBezTo>
                <a:cubicBezTo>
                  <a:pt x="3225412" y="668806"/>
                  <a:pt x="3228614" y="666388"/>
                  <a:pt x="3231602" y="666245"/>
                </a:cubicBezTo>
                <a:close/>
                <a:moveTo>
                  <a:pt x="2950741" y="665961"/>
                </a:moveTo>
                <a:lnTo>
                  <a:pt x="2955650" y="668664"/>
                </a:lnTo>
                <a:lnTo>
                  <a:pt x="2959065" y="668948"/>
                </a:lnTo>
                <a:cubicBezTo>
                  <a:pt x="2961199" y="667810"/>
                  <a:pt x="2964827" y="667953"/>
                  <a:pt x="2966961" y="669375"/>
                </a:cubicBezTo>
                <a:cubicBezTo>
                  <a:pt x="2969522" y="671794"/>
                  <a:pt x="2969522" y="674212"/>
                  <a:pt x="2968455" y="675351"/>
                </a:cubicBezTo>
                <a:cubicBezTo>
                  <a:pt x="2960985" y="685736"/>
                  <a:pt x="2950528" y="680472"/>
                  <a:pt x="2948394" y="681468"/>
                </a:cubicBezTo>
                <a:cubicBezTo>
                  <a:pt x="2945619" y="678623"/>
                  <a:pt x="2944766" y="678054"/>
                  <a:pt x="2946899" y="675066"/>
                </a:cubicBezTo>
                <a:lnTo>
                  <a:pt x="2949247" y="671936"/>
                </a:lnTo>
                <a:lnTo>
                  <a:pt x="2947540" y="669375"/>
                </a:lnTo>
                <a:cubicBezTo>
                  <a:pt x="2948607" y="668237"/>
                  <a:pt x="2949674" y="667099"/>
                  <a:pt x="2950741" y="665961"/>
                </a:cubicBezTo>
                <a:close/>
                <a:moveTo>
                  <a:pt x="3108245" y="665250"/>
                </a:moveTo>
                <a:cubicBezTo>
                  <a:pt x="3113794" y="663969"/>
                  <a:pt x="3119983" y="665250"/>
                  <a:pt x="3123398" y="670513"/>
                </a:cubicBezTo>
                <a:cubicBezTo>
                  <a:pt x="3122758" y="681468"/>
                  <a:pt x="3108031" y="687585"/>
                  <a:pt x="3100135" y="686875"/>
                </a:cubicBezTo>
                <a:cubicBezTo>
                  <a:pt x="3096507" y="682891"/>
                  <a:pt x="3095440" y="678907"/>
                  <a:pt x="3096293" y="675493"/>
                </a:cubicBezTo>
                <a:cubicBezTo>
                  <a:pt x="3097574" y="670513"/>
                  <a:pt x="3102483" y="666672"/>
                  <a:pt x="3108245" y="665250"/>
                </a:cubicBezTo>
                <a:close/>
                <a:moveTo>
                  <a:pt x="3397429" y="664396"/>
                </a:moveTo>
                <a:cubicBezTo>
                  <a:pt x="3403618" y="665250"/>
                  <a:pt x="3406819" y="674924"/>
                  <a:pt x="3404258" y="679476"/>
                </a:cubicBezTo>
                <a:cubicBezTo>
                  <a:pt x="3403405" y="680899"/>
                  <a:pt x="3401911" y="681895"/>
                  <a:pt x="3399563" y="681753"/>
                </a:cubicBezTo>
                <a:cubicBezTo>
                  <a:pt x="3393160" y="677342"/>
                  <a:pt x="3397642" y="672078"/>
                  <a:pt x="3397429" y="664396"/>
                </a:cubicBezTo>
                <a:close/>
                <a:moveTo>
                  <a:pt x="3293066" y="662973"/>
                </a:moveTo>
                <a:cubicBezTo>
                  <a:pt x="3310354" y="674070"/>
                  <a:pt x="3314622" y="699109"/>
                  <a:pt x="3322305" y="719596"/>
                </a:cubicBezTo>
                <a:cubicBezTo>
                  <a:pt x="3318037" y="719881"/>
                  <a:pt x="3316330" y="722868"/>
                  <a:pt x="3309713" y="721873"/>
                </a:cubicBezTo>
                <a:cubicBezTo>
                  <a:pt x="3305445" y="700248"/>
                  <a:pt x="3296054" y="681041"/>
                  <a:pt x="3293066" y="662973"/>
                </a:cubicBezTo>
                <a:close/>
                <a:moveTo>
                  <a:pt x="2202145" y="659881"/>
                </a:moveTo>
                <a:cubicBezTo>
                  <a:pt x="2197912" y="660500"/>
                  <a:pt x="2193576" y="662204"/>
                  <a:pt x="2190374" y="662669"/>
                </a:cubicBezTo>
                <a:cubicBezTo>
                  <a:pt x="2190891" y="666232"/>
                  <a:pt x="2198428" y="659881"/>
                  <a:pt x="2197396" y="664992"/>
                </a:cubicBezTo>
                <a:cubicBezTo>
                  <a:pt x="2193059" y="665612"/>
                  <a:pt x="2190271" y="666696"/>
                  <a:pt x="2187587" y="667935"/>
                </a:cubicBezTo>
                <a:cubicBezTo>
                  <a:pt x="2190271" y="659416"/>
                  <a:pt x="2173028" y="666696"/>
                  <a:pt x="2168691" y="667316"/>
                </a:cubicBezTo>
                <a:cubicBezTo>
                  <a:pt x="2169207" y="669020"/>
                  <a:pt x="2170859" y="669020"/>
                  <a:pt x="2172511" y="669020"/>
                </a:cubicBezTo>
                <a:cubicBezTo>
                  <a:pt x="2174163" y="668400"/>
                  <a:pt x="2176332" y="667935"/>
                  <a:pt x="2178500" y="667935"/>
                </a:cubicBezTo>
                <a:cubicBezTo>
                  <a:pt x="2176848" y="669020"/>
                  <a:pt x="2175196" y="670104"/>
                  <a:pt x="2173543" y="670723"/>
                </a:cubicBezTo>
                <a:cubicBezTo>
                  <a:pt x="2171892" y="671808"/>
                  <a:pt x="2170342" y="672427"/>
                  <a:pt x="2168691" y="673047"/>
                </a:cubicBezTo>
                <a:lnTo>
                  <a:pt x="2163749" y="673788"/>
                </a:lnTo>
                <a:lnTo>
                  <a:pt x="2167757" y="685462"/>
                </a:lnTo>
                <a:lnTo>
                  <a:pt x="2175196" y="682805"/>
                </a:lnTo>
                <a:cubicBezTo>
                  <a:pt x="2179533" y="682186"/>
                  <a:pt x="2183250" y="681566"/>
                  <a:pt x="2187587" y="680946"/>
                </a:cubicBezTo>
                <a:cubicBezTo>
                  <a:pt x="2191407" y="680946"/>
                  <a:pt x="2195228" y="680482"/>
                  <a:pt x="2198945" y="679862"/>
                </a:cubicBezTo>
                <a:lnTo>
                  <a:pt x="2201096" y="679318"/>
                </a:lnTo>
                <a:lnTo>
                  <a:pt x="2204519" y="677111"/>
                </a:lnTo>
                <a:cubicBezTo>
                  <a:pt x="2209427" y="676026"/>
                  <a:pt x="2214870" y="674852"/>
                  <a:pt x="2219992" y="668664"/>
                </a:cubicBezTo>
                <a:lnTo>
                  <a:pt x="2221575" y="669512"/>
                </a:lnTo>
                <a:lnTo>
                  <a:pt x="2228041" y="660288"/>
                </a:lnTo>
                <a:lnTo>
                  <a:pt x="2222177" y="661120"/>
                </a:lnTo>
                <a:cubicBezTo>
                  <a:pt x="2219493" y="661585"/>
                  <a:pt x="2216808" y="662204"/>
                  <a:pt x="2214020" y="662669"/>
                </a:cubicBezTo>
                <a:cubicBezTo>
                  <a:pt x="2211335" y="659881"/>
                  <a:pt x="2207102" y="659261"/>
                  <a:pt x="2202145" y="659881"/>
                </a:cubicBezTo>
                <a:close/>
                <a:moveTo>
                  <a:pt x="3498590" y="657852"/>
                </a:moveTo>
                <a:cubicBezTo>
                  <a:pt x="3501151" y="658136"/>
                  <a:pt x="3503285" y="659274"/>
                  <a:pt x="3504779" y="661266"/>
                </a:cubicBezTo>
                <a:cubicBezTo>
                  <a:pt x="3505846" y="662546"/>
                  <a:pt x="3506486" y="664253"/>
                  <a:pt x="3506700" y="666245"/>
                </a:cubicBezTo>
                <a:lnTo>
                  <a:pt x="3506486" y="666530"/>
                </a:lnTo>
                <a:lnTo>
                  <a:pt x="3508194" y="665250"/>
                </a:lnTo>
                <a:cubicBezTo>
                  <a:pt x="3509047" y="664823"/>
                  <a:pt x="3509901" y="664823"/>
                  <a:pt x="3510541" y="665392"/>
                </a:cubicBezTo>
                <a:cubicBezTo>
                  <a:pt x="3510755" y="666672"/>
                  <a:pt x="3511822" y="666530"/>
                  <a:pt x="3512035" y="667668"/>
                </a:cubicBezTo>
                <a:cubicBezTo>
                  <a:pt x="3513529" y="670087"/>
                  <a:pt x="3513743" y="671367"/>
                  <a:pt x="3512676" y="672647"/>
                </a:cubicBezTo>
                <a:cubicBezTo>
                  <a:pt x="3512889" y="673786"/>
                  <a:pt x="3511822" y="673786"/>
                  <a:pt x="3510755" y="675066"/>
                </a:cubicBezTo>
                <a:cubicBezTo>
                  <a:pt x="3509688" y="675209"/>
                  <a:pt x="3508407" y="674070"/>
                  <a:pt x="3508407" y="674070"/>
                </a:cubicBezTo>
                <a:cubicBezTo>
                  <a:pt x="3507127" y="672932"/>
                  <a:pt x="3506913" y="672932"/>
                  <a:pt x="3506060" y="674212"/>
                </a:cubicBezTo>
                <a:cubicBezTo>
                  <a:pt x="3506060" y="674212"/>
                  <a:pt x="3505846" y="672932"/>
                  <a:pt x="3505846" y="672932"/>
                </a:cubicBezTo>
                <a:cubicBezTo>
                  <a:pt x="3506486" y="672932"/>
                  <a:pt x="3506486" y="672932"/>
                  <a:pt x="3506060" y="672790"/>
                </a:cubicBezTo>
                <a:lnTo>
                  <a:pt x="3505206" y="672221"/>
                </a:lnTo>
                <a:lnTo>
                  <a:pt x="3504352" y="675493"/>
                </a:lnTo>
                <a:cubicBezTo>
                  <a:pt x="3499870" y="680188"/>
                  <a:pt x="3488132" y="675919"/>
                  <a:pt x="3487065" y="669944"/>
                </a:cubicBezTo>
                <a:cubicBezTo>
                  <a:pt x="3488346" y="666672"/>
                  <a:pt x="3489626" y="663542"/>
                  <a:pt x="3490907" y="660270"/>
                </a:cubicBezTo>
                <a:cubicBezTo>
                  <a:pt x="3493468" y="658421"/>
                  <a:pt x="3496029" y="657567"/>
                  <a:pt x="3498590" y="657852"/>
                </a:cubicBezTo>
                <a:close/>
                <a:moveTo>
                  <a:pt x="3797591" y="653157"/>
                </a:moveTo>
                <a:cubicBezTo>
                  <a:pt x="3798658" y="653299"/>
                  <a:pt x="3799725" y="654295"/>
                  <a:pt x="3800792" y="655433"/>
                </a:cubicBezTo>
                <a:cubicBezTo>
                  <a:pt x="3802927" y="657852"/>
                  <a:pt x="3801646" y="660128"/>
                  <a:pt x="3801646" y="660128"/>
                </a:cubicBezTo>
                <a:cubicBezTo>
                  <a:pt x="3798872" y="663685"/>
                  <a:pt x="3795243" y="664823"/>
                  <a:pt x="3792042" y="662404"/>
                </a:cubicBezTo>
                <a:cubicBezTo>
                  <a:pt x="3790975" y="659986"/>
                  <a:pt x="3792469" y="657567"/>
                  <a:pt x="3793963" y="655291"/>
                </a:cubicBezTo>
                <a:cubicBezTo>
                  <a:pt x="3795243" y="653441"/>
                  <a:pt x="3796311" y="653014"/>
                  <a:pt x="3797591" y="653157"/>
                </a:cubicBezTo>
                <a:close/>
                <a:moveTo>
                  <a:pt x="3593135" y="651734"/>
                </a:moveTo>
                <a:cubicBezTo>
                  <a:pt x="3594842" y="651592"/>
                  <a:pt x="3596763" y="651592"/>
                  <a:pt x="3598684" y="652018"/>
                </a:cubicBezTo>
                <a:cubicBezTo>
                  <a:pt x="3601245" y="652445"/>
                  <a:pt x="3603592" y="653441"/>
                  <a:pt x="3606154" y="655433"/>
                </a:cubicBezTo>
                <a:cubicBezTo>
                  <a:pt x="3593135" y="670371"/>
                  <a:pt x="3589293" y="683887"/>
                  <a:pt x="3580543" y="699109"/>
                </a:cubicBezTo>
                <a:cubicBezTo>
                  <a:pt x="3576061" y="698825"/>
                  <a:pt x="3571793" y="696264"/>
                  <a:pt x="3566030" y="688866"/>
                </a:cubicBezTo>
                <a:cubicBezTo>
                  <a:pt x="3585665" y="676773"/>
                  <a:pt x="3562189" y="665676"/>
                  <a:pt x="3576915" y="655291"/>
                </a:cubicBezTo>
                <a:cubicBezTo>
                  <a:pt x="3582250" y="654437"/>
                  <a:pt x="3587586" y="652161"/>
                  <a:pt x="3593135" y="651734"/>
                </a:cubicBezTo>
                <a:close/>
                <a:moveTo>
                  <a:pt x="3392947" y="651734"/>
                </a:moveTo>
                <a:cubicBezTo>
                  <a:pt x="3392947" y="653014"/>
                  <a:pt x="3393374" y="655291"/>
                  <a:pt x="3395722" y="656429"/>
                </a:cubicBezTo>
                <a:cubicBezTo>
                  <a:pt x="3393801" y="658990"/>
                  <a:pt x="3391880" y="661551"/>
                  <a:pt x="3389319" y="659274"/>
                </a:cubicBezTo>
                <a:cubicBezTo>
                  <a:pt x="3388039" y="658136"/>
                  <a:pt x="3386758" y="656998"/>
                  <a:pt x="3386331" y="654579"/>
                </a:cubicBezTo>
                <a:cubicBezTo>
                  <a:pt x="3388252" y="652018"/>
                  <a:pt x="3391880" y="653014"/>
                  <a:pt x="3392947" y="651734"/>
                </a:cubicBezTo>
                <a:close/>
                <a:moveTo>
                  <a:pt x="3038884" y="648746"/>
                </a:moveTo>
                <a:cubicBezTo>
                  <a:pt x="3042085" y="648035"/>
                  <a:pt x="3045926" y="647893"/>
                  <a:pt x="3050408" y="648888"/>
                </a:cubicBezTo>
                <a:lnTo>
                  <a:pt x="3052756" y="659416"/>
                </a:lnTo>
                <a:lnTo>
                  <a:pt x="3059585" y="654579"/>
                </a:lnTo>
                <a:cubicBezTo>
                  <a:pt x="3061719" y="657424"/>
                  <a:pt x="3064280" y="654437"/>
                  <a:pt x="3066201" y="658421"/>
                </a:cubicBezTo>
                <a:cubicBezTo>
                  <a:pt x="3065561" y="663258"/>
                  <a:pt x="3060226" y="668095"/>
                  <a:pt x="3054036" y="670513"/>
                </a:cubicBezTo>
                <a:lnTo>
                  <a:pt x="3053183" y="670513"/>
                </a:lnTo>
                <a:lnTo>
                  <a:pt x="3053183" y="673643"/>
                </a:lnTo>
                <a:cubicBezTo>
                  <a:pt x="3033548" y="686448"/>
                  <a:pt x="3023944" y="674497"/>
                  <a:pt x="3025651" y="662973"/>
                </a:cubicBezTo>
                <a:cubicBezTo>
                  <a:pt x="3026079" y="659132"/>
                  <a:pt x="3027786" y="655433"/>
                  <a:pt x="3030987" y="652730"/>
                </a:cubicBezTo>
                <a:cubicBezTo>
                  <a:pt x="3033121" y="650880"/>
                  <a:pt x="3035682" y="649458"/>
                  <a:pt x="3038884" y="648746"/>
                </a:cubicBezTo>
                <a:close/>
                <a:moveTo>
                  <a:pt x="3332336" y="647750"/>
                </a:moveTo>
                <a:cubicBezTo>
                  <a:pt x="3333190" y="648035"/>
                  <a:pt x="3333617" y="648888"/>
                  <a:pt x="3334257" y="650596"/>
                </a:cubicBezTo>
                <a:lnTo>
                  <a:pt x="3334470" y="651307"/>
                </a:lnTo>
                <a:lnTo>
                  <a:pt x="3336391" y="650311"/>
                </a:lnTo>
                <a:cubicBezTo>
                  <a:pt x="3336391" y="651592"/>
                  <a:pt x="3336604" y="652730"/>
                  <a:pt x="3337672" y="652730"/>
                </a:cubicBezTo>
                <a:lnTo>
                  <a:pt x="3335324" y="654579"/>
                </a:lnTo>
                <a:lnTo>
                  <a:pt x="3335537" y="655717"/>
                </a:lnTo>
                <a:lnTo>
                  <a:pt x="3335324" y="659559"/>
                </a:lnTo>
                <a:lnTo>
                  <a:pt x="3335750" y="659843"/>
                </a:lnTo>
                <a:cubicBezTo>
                  <a:pt x="3335750" y="659843"/>
                  <a:pt x="3340659" y="666103"/>
                  <a:pt x="3336177" y="671794"/>
                </a:cubicBezTo>
                <a:cubicBezTo>
                  <a:pt x="3334897" y="670513"/>
                  <a:pt x="3328281" y="677342"/>
                  <a:pt x="3323586" y="674782"/>
                </a:cubicBezTo>
                <a:cubicBezTo>
                  <a:pt x="3321238" y="673501"/>
                  <a:pt x="3319958" y="672221"/>
                  <a:pt x="3317610" y="670940"/>
                </a:cubicBezTo>
                <a:lnTo>
                  <a:pt x="3316756" y="667668"/>
                </a:lnTo>
                <a:lnTo>
                  <a:pt x="3310140" y="665107"/>
                </a:lnTo>
                <a:cubicBezTo>
                  <a:pt x="3308859" y="663969"/>
                  <a:pt x="3305872" y="659274"/>
                  <a:pt x="3306939" y="657994"/>
                </a:cubicBezTo>
                <a:cubicBezTo>
                  <a:pt x="3307792" y="656714"/>
                  <a:pt x="3309073" y="656714"/>
                  <a:pt x="3310140" y="656714"/>
                </a:cubicBezTo>
                <a:lnTo>
                  <a:pt x="3316970" y="659559"/>
                </a:lnTo>
                <a:lnTo>
                  <a:pt x="3318037" y="656714"/>
                </a:lnTo>
                <a:cubicBezTo>
                  <a:pt x="3319530" y="655006"/>
                  <a:pt x="3321025" y="654010"/>
                  <a:pt x="3322305" y="653726"/>
                </a:cubicBezTo>
                <a:lnTo>
                  <a:pt x="3324013" y="653726"/>
                </a:lnTo>
                <a:lnTo>
                  <a:pt x="3323799" y="652303"/>
                </a:lnTo>
                <a:lnTo>
                  <a:pt x="3327214" y="650454"/>
                </a:lnTo>
                <a:lnTo>
                  <a:pt x="3328708" y="648177"/>
                </a:lnTo>
                <a:cubicBezTo>
                  <a:pt x="3330415" y="647750"/>
                  <a:pt x="3331482" y="647466"/>
                  <a:pt x="3332336" y="647750"/>
                </a:cubicBezTo>
                <a:close/>
                <a:moveTo>
                  <a:pt x="3349409" y="645901"/>
                </a:moveTo>
                <a:cubicBezTo>
                  <a:pt x="3353464" y="646470"/>
                  <a:pt x="3359654" y="650027"/>
                  <a:pt x="3362641" y="652445"/>
                </a:cubicBezTo>
                <a:cubicBezTo>
                  <a:pt x="3359654" y="655006"/>
                  <a:pt x="3349836" y="649742"/>
                  <a:pt x="3345995" y="646328"/>
                </a:cubicBezTo>
                <a:cubicBezTo>
                  <a:pt x="3346635" y="645758"/>
                  <a:pt x="3347915" y="645616"/>
                  <a:pt x="3349409" y="645901"/>
                </a:cubicBezTo>
                <a:close/>
                <a:moveTo>
                  <a:pt x="3258920" y="644336"/>
                </a:moveTo>
                <a:cubicBezTo>
                  <a:pt x="3260200" y="645474"/>
                  <a:pt x="3261694" y="647750"/>
                  <a:pt x="3259773" y="650169"/>
                </a:cubicBezTo>
                <a:cubicBezTo>
                  <a:pt x="3257852" y="653868"/>
                  <a:pt x="3254438" y="654152"/>
                  <a:pt x="3250809" y="653157"/>
                </a:cubicBezTo>
                <a:cubicBezTo>
                  <a:pt x="3248675" y="654437"/>
                  <a:pt x="3247608" y="656856"/>
                  <a:pt x="3245261" y="655860"/>
                </a:cubicBezTo>
                <a:cubicBezTo>
                  <a:pt x="3248462" y="653299"/>
                  <a:pt x="3249316" y="652018"/>
                  <a:pt x="3251450" y="650596"/>
                </a:cubicBezTo>
                <a:cubicBezTo>
                  <a:pt x="3251450" y="649458"/>
                  <a:pt x="3251236" y="648320"/>
                  <a:pt x="3252304" y="647039"/>
                </a:cubicBezTo>
                <a:cubicBezTo>
                  <a:pt x="3254224" y="644620"/>
                  <a:pt x="3256572" y="645616"/>
                  <a:pt x="3258920" y="644336"/>
                </a:cubicBezTo>
                <a:close/>
                <a:moveTo>
                  <a:pt x="2018114" y="643568"/>
                </a:moveTo>
                <a:cubicBezTo>
                  <a:pt x="2023816" y="642697"/>
                  <a:pt x="2027978" y="654459"/>
                  <a:pt x="2032083" y="660036"/>
                </a:cubicBezTo>
                <a:cubicBezTo>
                  <a:pt x="2028985" y="665147"/>
                  <a:pt x="2027539" y="666386"/>
                  <a:pt x="2022273" y="668400"/>
                </a:cubicBezTo>
                <a:cubicBezTo>
                  <a:pt x="2015252" y="663444"/>
                  <a:pt x="2013496" y="656473"/>
                  <a:pt x="2011844" y="649348"/>
                </a:cubicBezTo>
                <a:cubicBezTo>
                  <a:pt x="2014142" y="645553"/>
                  <a:pt x="2016213" y="643858"/>
                  <a:pt x="2018114" y="643568"/>
                </a:cubicBezTo>
                <a:close/>
                <a:moveTo>
                  <a:pt x="3465723" y="639499"/>
                </a:moveTo>
                <a:cubicBezTo>
                  <a:pt x="3468071" y="639072"/>
                  <a:pt x="3470632" y="640068"/>
                  <a:pt x="3473407" y="642344"/>
                </a:cubicBezTo>
                <a:cubicBezTo>
                  <a:pt x="3472766" y="645047"/>
                  <a:pt x="3473193" y="647323"/>
                  <a:pt x="3472766" y="651165"/>
                </a:cubicBezTo>
                <a:cubicBezTo>
                  <a:pt x="3469351" y="652161"/>
                  <a:pt x="3461881" y="650738"/>
                  <a:pt x="3459748" y="645190"/>
                </a:cubicBezTo>
                <a:cubicBezTo>
                  <a:pt x="3461455" y="641633"/>
                  <a:pt x="3463376" y="639784"/>
                  <a:pt x="3465723" y="639499"/>
                </a:cubicBezTo>
                <a:close/>
                <a:moveTo>
                  <a:pt x="3521212" y="637507"/>
                </a:moveTo>
                <a:cubicBezTo>
                  <a:pt x="3525481" y="637365"/>
                  <a:pt x="3532310" y="639214"/>
                  <a:pt x="3532523" y="640210"/>
                </a:cubicBezTo>
                <a:cubicBezTo>
                  <a:pt x="3533590" y="640068"/>
                  <a:pt x="3533804" y="641348"/>
                  <a:pt x="3534871" y="641206"/>
                </a:cubicBezTo>
                <a:cubicBezTo>
                  <a:pt x="3534871" y="641206"/>
                  <a:pt x="3536152" y="641206"/>
                  <a:pt x="3537432" y="642344"/>
                </a:cubicBezTo>
                <a:cubicBezTo>
                  <a:pt x="3538713" y="643482"/>
                  <a:pt x="3539993" y="644620"/>
                  <a:pt x="3539140" y="647181"/>
                </a:cubicBezTo>
                <a:cubicBezTo>
                  <a:pt x="3529536" y="644051"/>
                  <a:pt x="3524840" y="644336"/>
                  <a:pt x="3517371" y="641064"/>
                </a:cubicBezTo>
                <a:cubicBezTo>
                  <a:pt x="3517157" y="639784"/>
                  <a:pt x="3518438" y="639784"/>
                  <a:pt x="3518224" y="638503"/>
                </a:cubicBezTo>
                <a:cubicBezTo>
                  <a:pt x="3518651" y="637934"/>
                  <a:pt x="3519932" y="637649"/>
                  <a:pt x="3521212" y="637507"/>
                </a:cubicBezTo>
                <a:close/>
                <a:moveTo>
                  <a:pt x="3495389" y="636938"/>
                </a:moveTo>
                <a:cubicBezTo>
                  <a:pt x="3500937" y="637365"/>
                  <a:pt x="3506060" y="639499"/>
                  <a:pt x="3507340" y="647181"/>
                </a:cubicBezTo>
                <a:cubicBezTo>
                  <a:pt x="3498803" y="656998"/>
                  <a:pt x="3477888" y="655575"/>
                  <a:pt x="3480236" y="643482"/>
                </a:cubicBezTo>
                <a:cubicBezTo>
                  <a:pt x="3480449" y="641775"/>
                  <a:pt x="3481303" y="639784"/>
                  <a:pt x="3482583" y="637649"/>
                </a:cubicBezTo>
                <a:cubicBezTo>
                  <a:pt x="3484718" y="637507"/>
                  <a:pt x="3487065" y="637222"/>
                  <a:pt x="3489626" y="637080"/>
                </a:cubicBezTo>
                <a:cubicBezTo>
                  <a:pt x="3491547" y="636938"/>
                  <a:pt x="3493468" y="636796"/>
                  <a:pt x="3495389" y="636938"/>
                </a:cubicBezTo>
                <a:close/>
                <a:moveTo>
                  <a:pt x="2888209" y="635089"/>
                </a:moveTo>
                <a:cubicBezTo>
                  <a:pt x="2889276" y="635231"/>
                  <a:pt x="2890344" y="635657"/>
                  <a:pt x="2890984" y="636654"/>
                </a:cubicBezTo>
                <a:cubicBezTo>
                  <a:pt x="2892691" y="640495"/>
                  <a:pt x="2883941" y="651876"/>
                  <a:pt x="2879245" y="644194"/>
                </a:cubicBezTo>
                <a:cubicBezTo>
                  <a:pt x="2878605" y="643198"/>
                  <a:pt x="2878819" y="641918"/>
                  <a:pt x="2879459" y="640637"/>
                </a:cubicBezTo>
                <a:cubicBezTo>
                  <a:pt x="2880953" y="637649"/>
                  <a:pt x="2885008" y="634662"/>
                  <a:pt x="2888209" y="635089"/>
                </a:cubicBezTo>
                <a:close/>
                <a:moveTo>
                  <a:pt x="2756399" y="630128"/>
                </a:moveTo>
                <a:lnTo>
                  <a:pt x="2767578" y="650930"/>
                </a:lnTo>
                <a:lnTo>
                  <a:pt x="2767910" y="651726"/>
                </a:lnTo>
                <a:lnTo>
                  <a:pt x="2769335" y="653014"/>
                </a:lnTo>
                <a:lnTo>
                  <a:pt x="2770615" y="652018"/>
                </a:lnTo>
                <a:lnTo>
                  <a:pt x="2770402" y="653868"/>
                </a:lnTo>
                <a:lnTo>
                  <a:pt x="2772323" y="655433"/>
                </a:lnTo>
                <a:lnTo>
                  <a:pt x="2773389" y="657709"/>
                </a:lnTo>
                <a:lnTo>
                  <a:pt x="2777871" y="655433"/>
                </a:lnTo>
                <a:cubicBezTo>
                  <a:pt x="2778085" y="656287"/>
                  <a:pt x="2777658" y="656856"/>
                  <a:pt x="2777231" y="657282"/>
                </a:cubicBezTo>
                <a:cubicBezTo>
                  <a:pt x="2776591" y="657567"/>
                  <a:pt x="2775737" y="657852"/>
                  <a:pt x="2774883" y="657994"/>
                </a:cubicBezTo>
                <a:lnTo>
                  <a:pt x="2773603" y="658421"/>
                </a:lnTo>
                <a:lnTo>
                  <a:pt x="2774883" y="660697"/>
                </a:lnTo>
                <a:lnTo>
                  <a:pt x="2772917" y="663704"/>
                </a:lnTo>
                <a:lnTo>
                  <a:pt x="2774651" y="667854"/>
                </a:lnTo>
                <a:lnTo>
                  <a:pt x="2779365" y="670087"/>
                </a:lnTo>
                <a:lnTo>
                  <a:pt x="2775933" y="670920"/>
                </a:lnTo>
                <a:lnTo>
                  <a:pt x="2778709" y="677563"/>
                </a:lnTo>
                <a:lnTo>
                  <a:pt x="2778938" y="677627"/>
                </a:lnTo>
                <a:cubicBezTo>
                  <a:pt x="2784701" y="679192"/>
                  <a:pt x="2789823" y="681611"/>
                  <a:pt x="2793451" y="686875"/>
                </a:cubicBezTo>
                <a:cubicBezTo>
                  <a:pt x="2794518" y="684029"/>
                  <a:pt x="2795585" y="681326"/>
                  <a:pt x="2792810" y="680472"/>
                </a:cubicBezTo>
                <a:cubicBezTo>
                  <a:pt x="2796439" y="678481"/>
                  <a:pt x="2806683" y="686732"/>
                  <a:pt x="2810524" y="690004"/>
                </a:cubicBezTo>
                <a:cubicBezTo>
                  <a:pt x="2812872" y="688724"/>
                  <a:pt x="2826531" y="689720"/>
                  <a:pt x="2820555" y="683745"/>
                </a:cubicBezTo>
                <a:cubicBezTo>
                  <a:pt x="2828878" y="686305"/>
                  <a:pt x="2835921" y="688582"/>
                  <a:pt x="2844458" y="690147"/>
                </a:cubicBezTo>
                <a:lnTo>
                  <a:pt x="2854489" y="692707"/>
                </a:lnTo>
                <a:lnTo>
                  <a:pt x="2855129" y="690431"/>
                </a:lnTo>
                <a:cubicBezTo>
                  <a:pt x="2857690" y="690858"/>
                  <a:pt x="2860038" y="690147"/>
                  <a:pt x="2862599" y="690573"/>
                </a:cubicBezTo>
                <a:lnTo>
                  <a:pt x="2864946" y="695553"/>
                </a:lnTo>
                <a:lnTo>
                  <a:pt x="2869215" y="696691"/>
                </a:lnTo>
                <a:cubicBezTo>
                  <a:pt x="2868575" y="698541"/>
                  <a:pt x="2867507" y="699679"/>
                  <a:pt x="2866440" y="700532"/>
                </a:cubicBezTo>
                <a:lnTo>
                  <a:pt x="2864733" y="701243"/>
                </a:lnTo>
                <a:lnTo>
                  <a:pt x="2863666" y="703378"/>
                </a:lnTo>
                <a:lnTo>
                  <a:pt x="2861745" y="703235"/>
                </a:lnTo>
                <a:lnTo>
                  <a:pt x="2860678" y="704089"/>
                </a:lnTo>
                <a:cubicBezTo>
                  <a:pt x="2860251" y="705085"/>
                  <a:pt x="2860465" y="706508"/>
                  <a:pt x="2861105" y="708784"/>
                </a:cubicBezTo>
                <a:cubicBezTo>
                  <a:pt x="2852995" y="706223"/>
                  <a:pt x="2846379" y="702097"/>
                  <a:pt x="2839123" y="699821"/>
                </a:cubicBezTo>
                <a:cubicBezTo>
                  <a:pt x="2832720" y="697971"/>
                  <a:pt x="2826104" y="696976"/>
                  <a:pt x="2818421" y="701813"/>
                </a:cubicBezTo>
                <a:cubicBezTo>
                  <a:pt x="2815647" y="700959"/>
                  <a:pt x="2817567" y="698398"/>
                  <a:pt x="2817567" y="695411"/>
                </a:cubicBezTo>
                <a:cubicBezTo>
                  <a:pt x="2815433" y="695695"/>
                  <a:pt x="2815220" y="699679"/>
                  <a:pt x="2812445" y="698967"/>
                </a:cubicBezTo>
                <a:cubicBezTo>
                  <a:pt x="2814579" y="701671"/>
                  <a:pt x="2821195" y="705654"/>
                  <a:pt x="2827171" y="708642"/>
                </a:cubicBezTo>
                <a:cubicBezTo>
                  <a:pt x="2833361" y="710491"/>
                  <a:pt x="2840190" y="711629"/>
                  <a:pt x="2843818" y="706508"/>
                </a:cubicBezTo>
                <a:cubicBezTo>
                  <a:pt x="2846165" y="708784"/>
                  <a:pt x="2849367" y="710349"/>
                  <a:pt x="2852355" y="711772"/>
                </a:cubicBezTo>
                <a:lnTo>
                  <a:pt x="2856196" y="714190"/>
                </a:lnTo>
                <a:lnTo>
                  <a:pt x="2857050" y="713479"/>
                </a:lnTo>
                <a:lnTo>
                  <a:pt x="2857050" y="714759"/>
                </a:lnTo>
                <a:lnTo>
                  <a:pt x="2860251" y="716751"/>
                </a:lnTo>
                <a:cubicBezTo>
                  <a:pt x="2859184" y="719027"/>
                  <a:pt x="2858331" y="721161"/>
                  <a:pt x="2857477" y="722868"/>
                </a:cubicBezTo>
                <a:lnTo>
                  <a:pt x="2860891" y="730267"/>
                </a:lnTo>
                <a:lnTo>
                  <a:pt x="2863026" y="733823"/>
                </a:lnTo>
                <a:lnTo>
                  <a:pt x="2865800" y="735104"/>
                </a:lnTo>
                <a:cubicBezTo>
                  <a:pt x="2874337" y="736669"/>
                  <a:pt x="2882661" y="738233"/>
                  <a:pt x="2889703" y="741363"/>
                </a:cubicBezTo>
                <a:cubicBezTo>
                  <a:pt x="2891624" y="744066"/>
                  <a:pt x="2894825" y="746200"/>
                  <a:pt x="2897813" y="749188"/>
                </a:cubicBezTo>
                <a:cubicBezTo>
                  <a:pt x="2899307" y="750611"/>
                  <a:pt x="2901868" y="752460"/>
                  <a:pt x="2903575" y="753029"/>
                </a:cubicBezTo>
                <a:cubicBezTo>
                  <a:pt x="2905070" y="754452"/>
                  <a:pt x="2907417" y="756301"/>
                  <a:pt x="2908911" y="757724"/>
                </a:cubicBezTo>
                <a:lnTo>
                  <a:pt x="2919795" y="764838"/>
                </a:lnTo>
                <a:lnTo>
                  <a:pt x="2920436" y="764838"/>
                </a:lnTo>
                <a:cubicBezTo>
                  <a:pt x="2923850" y="765265"/>
                  <a:pt x="2927692" y="766687"/>
                  <a:pt x="2931533" y="769390"/>
                </a:cubicBezTo>
                <a:lnTo>
                  <a:pt x="2936656" y="775934"/>
                </a:lnTo>
                <a:lnTo>
                  <a:pt x="2954796" y="788454"/>
                </a:lnTo>
                <a:lnTo>
                  <a:pt x="2956930" y="782906"/>
                </a:lnTo>
                <a:cubicBezTo>
                  <a:pt x="2958425" y="779207"/>
                  <a:pt x="2960772" y="775650"/>
                  <a:pt x="2963973" y="773516"/>
                </a:cubicBezTo>
                <a:lnTo>
                  <a:pt x="2965467" y="773374"/>
                </a:lnTo>
                <a:lnTo>
                  <a:pt x="2966534" y="771951"/>
                </a:lnTo>
                <a:lnTo>
                  <a:pt x="2966321" y="771666"/>
                </a:lnTo>
                <a:cubicBezTo>
                  <a:pt x="2967601" y="771666"/>
                  <a:pt x="2967388" y="770529"/>
                  <a:pt x="2966108" y="770529"/>
                </a:cubicBezTo>
                <a:cubicBezTo>
                  <a:pt x="2967175" y="768679"/>
                  <a:pt x="2967815" y="767114"/>
                  <a:pt x="2968455" y="766403"/>
                </a:cubicBezTo>
                <a:cubicBezTo>
                  <a:pt x="2969309" y="765549"/>
                  <a:pt x="2970163" y="765549"/>
                  <a:pt x="2971443" y="766687"/>
                </a:cubicBezTo>
                <a:cubicBezTo>
                  <a:pt x="2974004" y="767683"/>
                  <a:pt x="2973150" y="770102"/>
                  <a:pt x="2975711" y="772378"/>
                </a:cubicBezTo>
                <a:cubicBezTo>
                  <a:pt x="2980834" y="775792"/>
                  <a:pt x="2986595" y="765691"/>
                  <a:pt x="2996840" y="772378"/>
                </a:cubicBezTo>
                <a:cubicBezTo>
                  <a:pt x="2994706" y="774796"/>
                  <a:pt x="3000254" y="780630"/>
                  <a:pt x="2997267" y="784470"/>
                </a:cubicBezTo>
                <a:cubicBezTo>
                  <a:pt x="2989797" y="796991"/>
                  <a:pt x="2985955" y="794714"/>
                  <a:pt x="2977205" y="791584"/>
                </a:cubicBezTo>
                <a:cubicBezTo>
                  <a:pt x="2978486" y="791584"/>
                  <a:pt x="2977205" y="790446"/>
                  <a:pt x="2977205" y="790446"/>
                </a:cubicBezTo>
                <a:cubicBezTo>
                  <a:pt x="2974431" y="788170"/>
                  <a:pt x="2974431" y="795426"/>
                  <a:pt x="2970589" y="793291"/>
                </a:cubicBezTo>
                <a:lnTo>
                  <a:pt x="2969736" y="792154"/>
                </a:lnTo>
                <a:lnTo>
                  <a:pt x="2969309" y="792154"/>
                </a:lnTo>
                <a:lnTo>
                  <a:pt x="2965467" y="796279"/>
                </a:lnTo>
                <a:lnTo>
                  <a:pt x="2965681" y="796279"/>
                </a:lnTo>
                <a:lnTo>
                  <a:pt x="2966108" y="796279"/>
                </a:lnTo>
                <a:cubicBezTo>
                  <a:pt x="2970589" y="796991"/>
                  <a:pt x="2972724" y="799836"/>
                  <a:pt x="2973791" y="802255"/>
                </a:cubicBezTo>
                <a:lnTo>
                  <a:pt x="2974644" y="804815"/>
                </a:lnTo>
                <a:lnTo>
                  <a:pt x="2976565" y="806522"/>
                </a:lnTo>
                <a:lnTo>
                  <a:pt x="2976138" y="805384"/>
                </a:lnTo>
                <a:cubicBezTo>
                  <a:pt x="2975925" y="804389"/>
                  <a:pt x="2975498" y="803962"/>
                  <a:pt x="2975498" y="803962"/>
                </a:cubicBezTo>
                <a:cubicBezTo>
                  <a:pt x="2976352" y="801401"/>
                  <a:pt x="2977632" y="801401"/>
                  <a:pt x="2976352" y="801401"/>
                </a:cubicBezTo>
                <a:cubicBezTo>
                  <a:pt x="2978272" y="798840"/>
                  <a:pt x="2980193" y="795283"/>
                  <a:pt x="2982541" y="796279"/>
                </a:cubicBezTo>
                <a:cubicBezTo>
                  <a:pt x="2985529" y="798413"/>
                  <a:pt x="2986382" y="801543"/>
                  <a:pt x="2986169" y="804957"/>
                </a:cubicBezTo>
                <a:lnTo>
                  <a:pt x="2984248" y="812498"/>
                </a:lnTo>
                <a:lnTo>
                  <a:pt x="2987450" y="811217"/>
                </a:lnTo>
                <a:cubicBezTo>
                  <a:pt x="2988730" y="811644"/>
                  <a:pt x="2990011" y="812925"/>
                  <a:pt x="2991505" y="814347"/>
                </a:cubicBezTo>
                <a:cubicBezTo>
                  <a:pt x="2992998" y="815912"/>
                  <a:pt x="2994919" y="816481"/>
                  <a:pt x="2997267" y="818188"/>
                </a:cubicBezTo>
                <a:cubicBezTo>
                  <a:pt x="3000041" y="819042"/>
                  <a:pt x="3002816" y="819896"/>
                  <a:pt x="3006657" y="820038"/>
                </a:cubicBezTo>
                <a:cubicBezTo>
                  <a:pt x="3004309" y="821461"/>
                  <a:pt x="3001535" y="820465"/>
                  <a:pt x="3000041" y="822172"/>
                </a:cubicBezTo>
                <a:cubicBezTo>
                  <a:pt x="3010712" y="825444"/>
                  <a:pt x="3020956" y="830708"/>
                  <a:pt x="3031201" y="835973"/>
                </a:cubicBezTo>
                <a:cubicBezTo>
                  <a:pt x="3041231" y="842090"/>
                  <a:pt x="3050408" y="847069"/>
                  <a:pt x="3062147" y="850768"/>
                </a:cubicBezTo>
                <a:cubicBezTo>
                  <a:pt x="3066842" y="845931"/>
                  <a:pt x="3049981" y="842801"/>
                  <a:pt x="3057451" y="837821"/>
                </a:cubicBezTo>
                <a:cubicBezTo>
                  <a:pt x="3062360" y="841378"/>
                  <a:pt x="3066201" y="844793"/>
                  <a:pt x="3069189" y="847780"/>
                </a:cubicBezTo>
                <a:lnTo>
                  <a:pt x="3076659" y="856316"/>
                </a:lnTo>
                <a:lnTo>
                  <a:pt x="3079220" y="854325"/>
                </a:lnTo>
                <a:cubicBezTo>
                  <a:pt x="3080714" y="853613"/>
                  <a:pt x="3082421" y="853186"/>
                  <a:pt x="3083702" y="853756"/>
                </a:cubicBezTo>
                <a:cubicBezTo>
                  <a:pt x="3083702" y="853756"/>
                  <a:pt x="3083915" y="853898"/>
                  <a:pt x="3085196" y="854467"/>
                </a:cubicBezTo>
                <a:cubicBezTo>
                  <a:pt x="3083702" y="855178"/>
                  <a:pt x="3081781" y="855890"/>
                  <a:pt x="3079860" y="856459"/>
                </a:cubicBezTo>
                <a:lnTo>
                  <a:pt x="3077299" y="857028"/>
                </a:lnTo>
                <a:lnTo>
                  <a:pt x="3077726" y="857597"/>
                </a:lnTo>
                <a:cubicBezTo>
                  <a:pt x="3080927" y="860158"/>
                  <a:pt x="3084129" y="862434"/>
                  <a:pt x="3087757" y="864284"/>
                </a:cubicBezTo>
                <a:lnTo>
                  <a:pt x="3093305" y="866275"/>
                </a:lnTo>
                <a:lnTo>
                  <a:pt x="3091172" y="863999"/>
                </a:lnTo>
                <a:cubicBezTo>
                  <a:pt x="3091385" y="861296"/>
                  <a:pt x="3096293" y="860015"/>
                  <a:pt x="3098641" y="858450"/>
                </a:cubicBezTo>
                <a:cubicBezTo>
                  <a:pt x="3098855" y="860158"/>
                  <a:pt x="3099068" y="861865"/>
                  <a:pt x="3099708" y="860727"/>
                </a:cubicBezTo>
                <a:cubicBezTo>
                  <a:pt x="3099922" y="862434"/>
                  <a:pt x="3099708" y="863714"/>
                  <a:pt x="3099281" y="864852"/>
                </a:cubicBezTo>
                <a:lnTo>
                  <a:pt x="3096720" y="867414"/>
                </a:lnTo>
                <a:lnTo>
                  <a:pt x="3100135" y="868552"/>
                </a:lnTo>
                <a:cubicBezTo>
                  <a:pt x="3098855" y="870828"/>
                  <a:pt x="3099068" y="872962"/>
                  <a:pt x="3099708" y="875096"/>
                </a:cubicBezTo>
                <a:lnTo>
                  <a:pt x="3101629" y="881498"/>
                </a:lnTo>
                <a:lnTo>
                  <a:pt x="3101843" y="881498"/>
                </a:lnTo>
                <a:lnTo>
                  <a:pt x="3104190" y="881356"/>
                </a:lnTo>
                <a:cubicBezTo>
                  <a:pt x="3106964" y="880075"/>
                  <a:pt x="3109952" y="876235"/>
                  <a:pt x="3112514" y="881783"/>
                </a:cubicBezTo>
                <a:cubicBezTo>
                  <a:pt x="3110806" y="885055"/>
                  <a:pt x="3108885" y="883205"/>
                  <a:pt x="3106751" y="883347"/>
                </a:cubicBezTo>
                <a:lnTo>
                  <a:pt x="3105257" y="884201"/>
                </a:lnTo>
                <a:lnTo>
                  <a:pt x="3105471" y="884771"/>
                </a:lnTo>
                <a:lnTo>
                  <a:pt x="3105044" y="884912"/>
                </a:lnTo>
                <a:lnTo>
                  <a:pt x="3114007" y="891172"/>
                </a:lnTo>
                <a:cubicBezTo>
                  <a:pt x="3116995" y="893733"/>
                  <a:pt x="3119770" y="897005"/>
                  <a:pt x="3123611" y="901843"/>
                </a:cubicBezTo>
                <a:cubicBezTo>
                  <a:pt x="3121904" y="895156"/>
                  <a:pt x="3127453" y="896721"/>
                  <a:pt x="3129587" y="890176"/>
                </a:cubicBezTo>
                <a:cubicBezTo>
                  <a:pt x="3125745" y="883917"/>
                  <a:pt x="3121050" y="891741"/>
                  <a:pt x="3116995" y="883205"/>
                </a:cubicBezTo>
                <a:lnTo>
                  <a:pt x="3118702" y="883347"/>
                </a:lnTo>
                <a:lnTo>
                  <a:pt x="3115501" y="880929"/>
                </a:lnTo>
                <a:cubicBezTo>
                  <a:pt x="3113154" y="878510"/>
                  <a:pt x="3111019" y="875665"/>
                  <a:pt x="3110379" y="873816"/>
                </a:cubicBezTo>
                <a:cubicBezTo>
                  <a:pt x="3111873" y="870401"/>
                  <a:pt x="3114007" y="868836"/>
                  <a:pt x="3116568" y="868552"/>
                </a:cubicBezTo>
                <a:cubicBezTo>
                  <a:pt x="3121904" y="868125"/>
                  <a:pt x="3127880" y="874385"/>
                  <a:pt x="3126813" y="880075"/>
                </a:cubicBezTo>
                <a:lnTo>
                  <a:pt x="3124252" y="884059"/>
                </a:lnTo>
                <a:lnTo>
                  <a:pt x="3128947" y="886193"/>
                </a:lnTo>
                <a:cubicBezTo>
                  <a:pt x="3133001" y="888327"/>
                  <a:pt x="3137057" y="890461"/>
                  <a:pt x="3141112" y="888611"/>
                </a:cubicBezTo>
                <a:cubicBezTo>
                  <a:pt x="3143886" y="889466"/>
                  <a:pt x="3134709" y="895868"/>
                  <a:pt x="3132361" y="891030"/>
                </a:cubicBezTo>
                <a:cubicBezTo>
                  <a:pt x="3130227" y="892880"/>
                  <a:pt x="3128947" y="895156"/>
                  <a:pt x="3128520" y="897575"/>
                </a:cubicBezTo>
                <a:lnTo>
                  <a:pt x="3129373" y="902269"/>
                </a:lnTo>
                <a:lnTo>
                  <a:pt x="3134282" y="901843"/>
                </a:lnTo>
                <a:cubicBezTo>
                  <a:pt x="3136203" y="902127"/>
                  <a:pt x="3137697" y="903123"/>
                  <a:pt x="3138977" y="904546"/>
                </a:cubicBezTo>
                <a:lnTo>
                  <a:pt x="3139618" y="906538"/>
                </a:lnTo>
                <a:lnTo>
                  <a:pt x="3146234" y="906538"/>
                </a:lnTo>
                <a:cubicBezTo>
                  <a:pt x="3148795" y="906253"/>
                  <a:pt x="3151142" y="906253"/>
                  <a:pt x="3153490" y="907961"/>
                </a:cubicBezTo>
                <a:cubicBezTo>
                  <a:pt x="3150715" y="910236"/>
                  <a:pt x="3149222" y="912513"/>
                  <a:pt x="3148368" y="915358"/>
                </a:cubicBezTo>
                <a:lnTo>
                  <a:pt x="3146874" y="924037"/>
                </a:lnTo>
                <a:lnTo>
                  <a:pt x="3157331" y="924321"/>
                </a:lnTo>
                <a:lnTo>
                  <a:pt x="3160319" y="925744"/>
                </a:lnTo>
                <a:lnTo>
                  <a:pt x="3159679" y="908529"/>
                </a:lnTo>
                <a:cubicBezTo>
                  <a:pt x="3160533" y="901843"/>
                  <a:pt x="3162240" y="895156"/>
                  <a:pt x="3165014" y="888611"/>
                </a:cubicBezTo>
                <a:cubicBezTo>
                  <a:pt x="3168216" y="888754"/>
                  <a:pt x="3171417" y="888754"/>
                  <a:pt x="3171417" y="885482"/>
                </a:cubicBezTo>
                <a:cubicBezTo>
                  <a:pt x="3176753" y="885197"/>
                  <a:pt x="3181875" y="885766"/>
                  <a:pt x="3186570" y="887189"/>
                </a:cubicBezTo>
                <a:lnTo>
                  <a:pt x="3194467" y="890888"/>
                </a:lnTo>
                <a:lnTo>
                  <a:pt x="3203644" y="884628"/>
                </a:lnTo>
                <a:lnTo>
                  <a:pt x="3203430" y="884059"/>
                </a:lnTo>
                <a:cubicBezTo>
                  <a:pt x="3203217" y="881640"/>
                  <a:pt x="3203644" y="878795"/>
                  <a:pt x="3205138" y="876661"/>
                </a:cubicBezTo>
                <a:lnTo>
                  <a:pt x="3206418" y="875665"/>
                </a:lnTo>
                <a:lnTo>
                  <a:pt x="3200229" y="867271"/>
                </a:lnTo>
                <a:cubicBezTo>
                  <a:pt x="3193399" y="859446"/>
                  <a:pt x="3185716" y="852049"/>
                  <a:pt x="3182942" y="848492"/>
                </a:cubicBezTo>
                <a:cubicBezTo>
                  <a:pt x="3189344" y="845077"/>
                  <a:pt x="3196387" y="856316"/>
                  <a:pt x="3203430" y="860727"/>
                </a:cubicBezTo>
                <a:lnTo>
                  <a:pt x="3204924" y="861438"/>
                </a:lnTo>
                <a:lnTo>
                  <a:pt x="3205138" y="860727"/>
                </a:lnTo>
                <a:lnTo>
                  <a:pt x="3204070" y="860158"/>
                </a:lnTo>
                <a:cubicBezTo>
                  <a:pt x="3204498" y="859020"/>
                  <a:pt x="3204498" y="857739"/>
                  <a:pt x="3204711" y="856601"/>
                </a:cubicBezTo>
                <a:lnTo>
                  <a:pt x="3204924" y="856459"/>
                </a:lnTo>
                <a:lnTo>
                  <a:pt x="3199162" y="850484"/>
                </a:lnTo>
                <a:cubicBezTo>
                  <a:pt x="3195320" y="847212"/>
                  <a:pt x="3191906" y="842943"/>
                  <a:pt x="3188064" y="839671"/>
                </a:cubicBezTo>
                <a:cubicBezTo>
                  <a:pt x="3184009" y="836399"/>
                  <a:pt x="3180168" y="833411"/>
                  <a:pt x="3176113" y="830993"/>
                </a:cubicBezTo>
                <a:lnTo>
                  <a:pt x="3173125" y="829712"/>
                </a:lnTo>
                <a:lnTo>
                  <a:pt x="3172484" y="833554"/>
                </a:lnTo>
                <a:cubicBezTo>
                  <a:pt x="3170350" y="831989"/>
                  <a:pt x="3168216" y="830281"/>
                  <a:pt x="3166082" y="828859"/>
                </a:cubicBezTo>
                <a:cubicBezTo>
                  <a:pt x="3166295" y="828859"/>
                  <a:pt x="3166509" y="828147"/>
                  <a:pt x="3166509" y="827152"/>
                </a:cubicBezTo>
                <a:lnTo>
                  <a:pt x="3165014" y="826440"/>
                </a:lnTo>
                <a:lnTo>
                  <a:pt x="3163734" y="829001"/>
                </a:lnTo>
                <a:cubicBezTo>
                  <a:pt x="3159679" y="835688"/>
                  <a:pt x="3154343" y="838533"/>
                  <a:pt x="3145380" y="829854"/>
                </a:cubicBezTo>
                <a:cubicBezTo>
                  <a:pt x="3148581" y="828289"/>
                  <a:pt x="3151142" y="826013"/>
                  <a:pt x="3153703" y="823452"/>
                </a:cubicBezTo>
                <a:lnTo>
                  <a:pt x="3159039" y="817051"/>
                </a:lnTo>
                <a:lnTo>
                  <a:pt x="3156265" y="812498"/>
                </a:lnTo>
                <a:cubicBezTo>
                  <a:pt x="3153277" y="808230"/>
                  <a:pt x="3149648" y="803962"/>
                  <a:pt x="3145594" y="799694"/>
                </a:cubicBezTo>
                <a:cubicBezTo>
                  <a:pt x="3138124" y="792154"/>
                  <a:pt x="3129587" y="785325"/>
                  <a:pt x="3119983" y="778211"/>
                </a:cubicBezTo>
                <a:lnTo>
                  <a:pt x="3106964" y="768821"/>
                </a:lnTo>
                <a:lnTo>
                  <a:pt x="3106111" y="777642"/>
                </a:lnTo>
                <a:cubicBezTo>
                  <a:pt x="3093092" y="786320"/>
                  <a:pt x="3093946" y="794856"/>
                  <a:pt x="3087970" y="802965"/>
                </a:cubicBezTo>
                <a:cubicBezTo>
                  <a:pt x="3069189" y="812213"/>
                  <a:pt x="3041872" y="818331"/>
                  <a:pt x="3024798" y="803393"/>
                </a:cubicBezTo>
                <a:cubicBezTo>
                  <a:pt x="3010712" y="791158"/>
                  <a:pt x="3015621" y="775792"/>
                  <a:pt x="3010499" y="758293"/>
                </a:cubicBezTo>
                <a:cubicBezTo>
                  <a:pt x="3013700" y="756159"/>
                  <a:pt x="3016048" y="754025"/>
                  <a:pt x="3017542" y="751749"/>
                </a:cubicBezTo>
                <a:lnTo>
                  <a:pt x="3019889" y="747481"/>
                </a:lnTo>
                <a:lnTo>
                  <a:pt x="3019249" y="745205"/>
                </a:lnTo>
                <a:lnTo>
                  <a:pt x="3021383" y="744208"/>
                </a:lnTo>
                <a:lnTo>
                  <a:pt x="3022877" y="736953"/>
                </a:lnTo>
                <a:lnTo>
                  <a:pt x="3022451" y="736811"/>
                </a:lnTo>
                <a:lnTo>
                  <a:pt x="3007937" y="728132"/>
                </a:lnTo>
                <a:lnTo>
                  <a:pt x="3004950" y="733823"/>
                </a:lnTo>
                <a:cubicBezTo>
                  <a:pt x="3003029" y="736669"/>
                  <a:pt x="3000254" y="739514"/>
                  <a:pt x="2997053" y="742217"/>
                </a:cubicBezTo>
                <a:cubicBezTo>
                  <a:pt x="2993852" y="740652"/>
                  <a:pt x="2987876" y="742501"/>
                  <a:pt x="2987663" y="736526"/>
                </a:cubicBezTo>
                <a:cubicBezTo>
                  <a:pt x="2991291" y="734961"/>
                  <a:pt x="2993852" y="732543"/>
                  <a:pt x="2995986" y="729697"/>
                </a:cubicBezTo>
                <a:lnTo>
                  <a:pt x="2999614" y="723153"/>
                </a:lnTo>
                <a:lnTo>
                  <a:pt x="2997480" y="721873"/>
                </a:lnTo>
                <a:lnTo>
                  <a:pt x="2992358" y="718885"/>
                </a:lnTo>
                <a:lnTo>
                  <a:pt x="2991931" y="719027"/>
                </a:lnTo>
                <a:cubicBezTo>
                  <a:pt x="2990011" y="719027"/>
                  <a:pt x="2987876" y="718458"/>
                  <a:pt x="2986595" y="717889"/>
                </a:cubicBezTo>
                <a:lnTo>
                  <a:pt x="2985529" y="715044"/>
                </a:lnTo>
                <a:lnTo>
                  <a:pt x="2975711" y="709780"/>
                </a:lnTo>
                <a:lnTo>
                  <a:pt x="2974858" y="709637"/>
                </a:lnTo>
                <a:lnTo>
                  <a:pt x="2974431" y="709068"/>
                </a:lnTo>
                <a:lnTo>
                  <a:pt x="2970803" y="707077"/>
                </a:lnTo>
                <a:cubicBezTo>
                  <a:pt x="2962053" y="702239"/>
                  <a:pt x="2953302" y="697829"/>
                  <a:pt x="2944979" y="694130"/>
                </a:cubicBezTo>
                <a:cubicBezTo>
                  <a:pt x="2943058" y="693277"/>
                  <a:pt x="2940284" y="692849"/>
                  <a:pt x="2937509" y="692565"/>
                </a:cubicBezTo>
                <a:lnTo>
                  <a:pt x="2930893" y="691285"/>
                </a:lnTo>
                <a:lnTo>
                  <a:pt x="2931320" y="691854"/>
                </a:lnTo>
                <a:cubicBezTo>
                  <a:pt x="2929186" y="695695"/>
                  <a:pt x="2931747" y="701386"/>
                  <a:pt x="2924491" y="701813"/>
                </a:cubicBezTo>
                <a:cubicBezTo>
                  <a:pt x="2919795" y="698825"/>
                  <a:pt x="2918729" y="692138"/>
                  <a:pt x="2921716" y="688297"/>
                </a:cubicBezTo>
                <a:lnTo>
                  <a:pt x="2923424" y="687443"/>
                </a:lnTo>
                <a:lnTo>
                  <a:pt x="2922997" y="687159"/>
                </a:lnTo>
                <a:cubicBezTo>
                  <a:pt x="2921716" y="685309"/>
                  <a:pt x="2921289" y="682606"/>
                  <a:pt x="2922357" y="678765"/>
                </a:cubicBezTo>
                <a:cubicBezTo>
                  <a:pt x="2915954" y="677627"/>
                  <a:pt x="2908484" y="674497"/>
                  <a:pt x="2903575" y="674497"/>
                </a:cubicBezTo>
                <a:lnTo>
                  <a:pt x="2901441" y="675209"/>
                </a:lnTo>
                <a:lnTo>
                  <a:pt x="2901228" y="675351"/>
                </a:lnTo>
                <a:lnTo>
                  <a:pt x="2901015" y="675351"/>
                </a:lnTo>
                <a:lnTo>
                  <a:pt x="2899307" y="675919"/>
                </a:lnTo>
                <a:lnTo>
                  <a:pt x="2898453" y="674782"/>
                </a:lnTo>
                <a:lnTo>
                  <a:pt x="2894825" y="673928"/>
                </a:lnTo>
                <a:cubicBezTo>
                  <a:pt x="2893544" y="672790"/>
                  <a:pt x="2893544" y="672790"/>
                  <a:pt x="2893331" y="671509"/>
                </a:cubicBezTo>
                <a:lnTo>
                  <a:pt x="2891837" y="667383"/>
                </a:lnTo>
                <a:lnTo>
                  <a:pt x="2888636" y="666388"/>
                </a:lnTo>
                <a:lnTo>
                  <a:pt x="2888636" y="668380"/>
                </a:lnTo>
                <a:cubicBezTo>
                  <a:pt x="2887782" y="669660"/>
                  <a:pt x="2886288" y="670513"/>
                  <a:pt x="2884154" y="670371"/>
                </a:cubicBezTo>
                <a:lnTo>
                  <a:pt x="2881807" y="668664"/>
                </a:lnTo>
                <a:lnTo>
                  <a:pt x="2881807" y="670798"/>
                </a:lnTo>
                <a:cubicBezTo>
                  <a:pt x="2881807" y="673074"/>
                  <a:pt x="2881380" y="675635"/>
                  <a:pt x="2878392" y="675777"/>
                </a:cubicBezTo>
                <a:cubicBezTo>
                  <a:pt x="2873483" y="675209"/>
                  <a:pt x="2875617" y="660270"/>
                  <a:pt x="2870709" y="669090"/>
                </a:cubicBezTo>
                <a:lnTo>
                  <a:pt x="2866440" y="666672"/>
                </a:lnTo>
                <a:lnTo>
                  <a:pt x="2861318" y="677200"/>
                </a:lnTo>
                <a:lnTo>
                  <a:pt x="2863453" y="681895"/>
                </a:lnTo>
                <a:cubicBezTo>
                  <a:pt x="2863239" y="683460"/>
                  <a:pt x="2862172" y="684883"/>
                  <a:pt x="2860465" y="686590"/>
                </a:cubicBezTo>
                <a:lnTo>
                  <a:pt x="2857690" y="682322"/>
                </a:lnTo>
                <a:lnTo>
                  <a:pt x="2848940" y="690573"/>
                </a:lnTo>
                <a:cubicBezTo>
                  <a:pt x="2846379" y="685309"/>
                  <a:pt x="2845525" y="679619"/>
                  <a:pt x="2845739" y="673928"/>
                </a:cubicBezTo>
                <a:lnTo>
                  <a:pt x="2849580" y="657282"/>
                </a:lnTo>
                <a:lnTo>
                  <a:pt x="2831013" y="650596"/>
                </a:lnTo>
                <a:lnTo>
                  <a:pt x="2807750" y="645332"/>
                </a:lnTo>
                <a:lnTo>
                  <a:pt x="2806896" y="648035"/>
                </a:lnTo>
                <a:cubicBezTo>
                  <a:pt x="2805616" y="646755"/>
                  <a:pt x="2802628" y="650738"/>
                  <a:pt x="2801561" y="652018"/>
                </a:cubicBezTo>
                <a:cubicBezTo>
                  <a:pt x="2800280" y="650880"/>
                  <a:pt x="2798573" y="651307"/>
                  <a:pt x="2796865" y="651592"/>
                </a:cubicBezTo>
                <a:lnTo>
                  <a:pt x="2794518" y="651592"/>
                </a:lnTo>
                <a:lnTo>
                  <a:pt x="2793665" y="671225"/>
                </a:lnTo>
                <a:cubicBezTo>
                  <a:pt x="2789609" y="669802"/>
                  <a:pt x="2786835" y="671794"/>
                  <a:pt x="2780859" y="668380"/>
                </a:cubicBezTo>
                <a:lnTo>
                  <a:pt x="2783207" y="641775"/>
                </a:lnTo>
                <a:lnTo>
                  <a:pt x="2776164" y="641064"/>
                </a:lnTo>
                <a:cubicBezTo>
                  <a:pt x="2773176" y="634946"/>
                  <a:pt x="2766347" y="631816"/>
                  <a:pt x="2758023" y="630251"/>
                </a:cubicBezTo>
                <a:close/>
                <a:moveTo>
                  <a:pt x="2088739" y="627975"/>
                </a:moveTo>
                <a:cubicBezTo>
                  <a:pt x="2093221" y="627406"/>
                  <a:pt x="2094074" y="630963"/>
                  <a:pt x="2096209" y="635089"/>
                </a:cubicBezTo>
                <a:cubicBezTo>
                  <a:pt x="2094074" y="636511"/>
                  <a:pt x="2093861" y="640210"/>
                  <a:pt x="2090659" y="641064"/>
                </a:cubicBezTo>
                <a:cubicBezTo>
                  <a:pt x="2090659" y="641064"/>
                  <a:pt x="2089166" y="641633"/>
                  <a:pt x="2087032" y="640352"/>
                </a:cubicBezTo>
                <a:cubicBezTo>
                  <a:pt x="2082977" y="640637"/>
                  <a:pt x="2081269" y="635800"/>
                  <a:pt x="2081269" y="635800"/>
                </a:cubicBezTo>
                <a:cubicBezTo>
                  <a:pt x="2081269" y="635800"/>
                  <a:pt x="2081269" y="635800"/>
                  <a:pt x="2080842" y="636796"/>
                </a:cubicBezTo>
                <a:cubicBezTo>
                  <a:pt x="2081696" y="634662"/>
                  <a:pt x="2081696" y="632101"/>
                  <a:pt x="2082550" y="629967"/>
                </a:cubicBezTo>
                <a:cubicBezTo>
                  <a:pt x="2085111" y="628828"/>
                  <a:pt x="2087032" y="628118"/>
                  <a:pt x="2088739" y="627975"/>
                </a:cubicBezTo>
                <a:close/>
                <a:moveTo>
                  <a:pt x="3022023" y="627121"/>
                </a:moveTo>
                <a:cubicBezTo>
                  <a:pt x="3037603" y="630393"/>
                  <a:pt x="3025438" y="641206"/>
                  <a:pt x="3021810" y="648462"/>
                </a:cubicBezTo>
                <a:lnTo>
                  <a:pt x="3018182" y="647181"/>
                </a:lnTo>
                <a:lnTo>
                  <a:pt x="3017542" y="647608"/>
                </a:lnTo>
                <a:cubicBezTo>
                  <a:pt x="3012420" y="649458"/>
                  <a:pt x="3007724" y="645190"/>
                  <a:pt x="3008792" y="640352"/>
                </a:cubicBezTo>
                <a:cubicBezTo>
                  <a:pt x="3009218" y="638361"/>
                  <a:pt x="3010925" y="636084"/>
                  <a:pt x="3013913" y="634235"/>
                </a:cubicBezTo>
                <a:lnTo>
                  <a:pt x="3014767" y="634804"/>
                </a:lnTo>
                <a:lnTo>
                  <a:pt x="3015408" y="633239"/>
                </a:lnTo>
                <a:cubicBezTo>
                  <a:pt x="3017328" y="630963"/>
                  <a:pt x="3019676" y="629113"/>
                  <a:pt x="3022023" y="627121"/>
                </a:cubicBezTo>
                <a:close/>
                <a:moveTo>
                  <a:pt x="2222340" y="623280"/>
                </a:moveTo>
                <a:cubicBezTo>
                  <a:pt x="2224687" y="623991"/>
                  <a:pt x="2227248" y="624561"/>
                  <a:pt x="2227888" y="626837"/>
                </a:cubicBezTo>
                <a:cubicBezTo>
                  <a:pt x="2228315" y="627690"/>
                  <a:pt x="2228315" y="628686"/>
                  <a:pt x="2228102" y="629967"/>
                </a:cubicBezTo>
                <a:cubicBezTo>
                  <a:pt x="2228102" y="629967"/>
                  <a:pt x="2228102" y="629967"/>
                  <a:pt x="2227248" y="630536"/>
                </a:cubicBezTo>
                <a:cubicBezTo>
                  <a:pt x="2225328" y="631816"/>
                  <a:pt x="2224261" y="632385"/>
                  <a:pt x="2223406" y="632955"/>
                </a:cubicBezTo>
                <a:cubicBezTo>
                  <a:pt x="2221913" y="632528"/>
                  <a:pt x="2217858" y="630678"/>
                  <a:pt x="2218285" y="628971"/>
                </a:cubicBezTo>
                <a:cubicBezTo>
                  <a:pt x="2218711" y="625699"/>
                  <a:pt x="2220845" y="622996"/>
                  <a:pt x="2222340" y="623280"/>
                </a:cubicBezTo>
                <a:close/>
                <a:moveTo>
                  <a:pt x="1853953" y="623274"/>
                </a:moveTo>
                <a:cubicBezTo>
                  <a:pt x="1859277" y="623529"/>
                  <a:pt x="1864601" y="631341"/>
                  <a:pt x="1856857" y="635407"/>
                </a:cubicBezTo>
                <a:cubicBezTo>
                  <a:pt x="1853036" y="631380"/>
                  <a:pt x="1850455" y="628592"/>
                  <a:pt x="1849113" y="625958"/>
                </a:cubicBezTo>
                <a:cubicBezTo>
                  <a:pt x="1850403" y="623945"/>
                  <a:pt x="1852178" y="623190"/>
                  <a:pt x="1853953" y="623274"/>
                </a:cubicBezTo>
                <a:close/>
                <a:moveTo>
                  <a:pt x="3086049" y="620008"/>
                </a:moveTo>
                <a:cubicBezTo>
                  <a:pt x="3104190" y="621146"/>
                  <a:pt x="3122971" y="642344"/>
                  <a:pt x="3117849" y="660270"/>
                </a:cubicBezTo>
                <a:cubicBezTo>
                  <a:pt x="3109526" y="663400"/>
                  <a:pt x="3101202" y="662119"/>
                  <a:pt x="3094373" y="658136"/>
                </a:cubicBezTo>
                <a:cubicBezTo>
                  <a:pt x="3082634" y="651734"/>
                  <a:pt x="3074738" y="637649"/>
                  <a:pt x="3075805" y="623138"/>
                </a:cubicBezTo>
                <a:cubicBezTo>
                  <a:pt x="3077299" y="622853"/>
                  <a:pt x="3079006" y="622569"/>
                  <a:pt x="3078366" y="620862"/>
                </a:cubicBezTo>
                <a:cubicBezTo>
                  <a:pt x="3080927" y="620150"/>
                  <a:pt x="3083489" y="619866"/>
                  <a:pt x="3086049" y="620008"/>
                </a:cubicBezTo>
                <a:close/>
                <a:moveTo>
                  <a:pt x="3275993" y="619297"/>
                </a:moveTo>
                <a:cubicBezTo>
                  <a:pt x="3277274" y="620150"/>
                  <a:pt x="3278127" y="621289"/>
                  <a:pt x="3278554" y="622711"/>
                </a:cubicBezTo>
                <a:cubicBezTo>
                  <a:pt x="3279407" y="624845"/>
                  <a:pt x="3279194" y="627406"/>
                  <a:pt x="3278554" y="629825"/>
                </a:cubicBezTo>
                <a:lnTo>
                  <a:pt x="3276633" y="632812"/>
                </a:lnTo>
                <a:lnTo>
                  <a:pt x="3277274" y="634235"/>
                </a:lnTo>
                <a:cubicBezTo>
                  <a:pt x="3269804" y="643767"/>
                  <a:pt x="3263401" y="637507"/>
                  <a:pt x="3264682" y="630393"/>
                </a:cubicBezTo>
                <a:cubicBezTo>
                  <a:pt x="3265108" y="628118"/>
                  <a:pt x="3266389" y="625699"/>
                  <a:pt x="3268737" y="623707"/>
                </a:cubicBezTo>
                <a:cubicBezTo>
                  <a:pt x="3269591" y="623707"/>
                  <a:pt x="3270658" y="624276"/>
                  <a:pt x="3271724" y="624988"/>
                </a:cubicBezTo>
                <a:lnTo>
                  <a:pt x="3271938" y="625272"/>
                </a:lnTo>
                <a:close/>
                <a:moveTo>
                  <a:pt x="3416637" y="619154"/>
                </a:moveTo>
                <a:cubicBezTo>
                  <a:pt x="3421972" y="623423"/>
                  <a:pt x="3434564" y="641348"/>
                  <a:pt x="3431576" y="651307"/>
                </a:cubicBezTo>
                <a:cubicBezTo>
                  <a:pt x="3430723" y="654722"/>
                  <a:pt x="3427948" y="657140"/>
                  <a:pt x="3422612" y="657994"/>
                </a:cubicBezTo>
                <a:cubicBezTo>
                  <a:pt x="3418130" y="644336"/>
                  <a:pt x="3407459" y="635231"/>
                  <a:pt x="3409594" y="627121"/>
                </a:cubicBezTo>
                <a:cubicBezTo>
                  <a:pt x="3410234" y="624418"/>
                  <a:pt x="3412368" y="621715"/>
                  <a:pt x="3416637" y="619154"/>
                </a:cubicBezTo>
                <a:close/>
                <a:moveTo>
                  <a:pt x="3187851" y="619012"/>
                </a:moveTo>
                <a:cubicBezTo>
                  <a:pt x="3188704" y="619581"/>
                  <a:pt x="3189558" y="620434"/>
                  <a:pt x="3190625" y="621146"/>
                </a:cubicBezTo>
                <a:lnTo>
                  <a:pt x="3187424" y="624418"/>
                </a:lnTo>
                <a:cubicBezTo>
                  <a:pt x="3186143" y="623138"/>
                  <a:pt x="3184863" y="620862"/>
                  <a:pt x="3185930" y="619724"/>
                </a:cubicBezTo>
                <a:cubicBezTo>
                  <a:pt x="3186570" y="618585"/>
                  <a:pt x="3187211" y="618585"/>
                  <a:pt x="3187851" y="619012"/>
                </a:cubicBezTo>
                <a:close/>
                <a:moveTo>
                  <a:pt x="3690667" y="618585"/>
                </a:moveTo>
                <a:cubicBezTo>
                  <a:pt x="3690881" y="618870"/>
                  <a:pt x="3691308" y="619439"/>
                  <a:pt x="3692375" y="620008"/>
                </a:cubicBezTo>
                <a:cubicBezTo>
                  <a:pt x="3692802" y="620577"/>
                  <a:pt x="3693442" y="620862"/>
                  <a:pt x="3693655" y="621146"/>
                </a:cubicBezTo>
                <a:cubicBezTo>
                  <a:pt x="3693869" y="621431"/>
                  <a:pt x="3693869" y="621715"/>
                  <a:pt x="3693229" y="622284"/>
                </a:cubicBezTo>
                <a:cubicBezTo>
                  <a:pt x="3691948" y="623423"/>
                  <a:pt x="3692162" y="623423"/>
                  <a:pt x="3688747" y="623280"/>
                </a:cubicBezTo>
                <a:cubicBezTo>
                  <a:pt x="3690027" y="622284"/>
                  <a:pt x="3689814" y="622142"/>
                  <a:pt x="3688960" y="621004"/>
                </a:cubicBezTo>
                <a:cubicBezTo>
                  <a:pt x="3688960" y="621004"/>
                  <a:pt x="3688960" y="621004"/>
                  <a:pt x="3687893" y="621004"/>
                </a:cubicBezTo>
                <a:cubicBezTo>
                  <a:pt x="3687893" y="619866"/>
                  <a:pt x="3688960" y="620008"/>
                  <a:pt x="3689174" y="618870"/>
                </a:cubicBezTo>
                <a:cubicBezTo>
                  <a:pt x="3689174" y="618870"/>
                  <a:pt x="3690241" y="618870"/>
                  <a:pt x="3690241" y="618870"/>
                </a:cubicBezTo>
                <a:cubicBezTo>
                  <a:pt x="3690241" y="618301"/>
                  <a:pt x="3690241" y="618301"/>
                  <a:pt x="3690667" y="618585"/>
                </a:cubicBezTo>
                <a:close/>
                <a:moveTo>
                  <a:pt x="3027146" y="617732"/>
                </a:moveTo>
                <a:cubicBezTo>
                  <a:pt x="3032054" y="618585"/>
                  <a:pt x="3036963" y="619439"/>
                  <a:pt x="3036749" y="624418"/>
                </a:cubicBezTo>
                <a:cubicBezTo>
                  <a:pt x="3032481" y="627975"/>
                  <a:pt x="3025865" y="625130"/>
                  <a:pt x="3027146" y="617732"/>
                </a:cubicBezTo>
                <a:close/>
                <a:moveTo>
                  <a:pt x="3076018" y="617020"/>
                </a:moveTo>
                <a:cubicBezTo>
                  <a:pt x="3078153" y="616878"/>
                  <a:pt x="3079646" y="616736"/>
                  <a:pt x="3080927" y="617020"/>
                </a:cubicBezTo>
                <a:cubicBezTo>
                  <a:pt x="3081994" y="617305"/>
                  <a:pt x="3083061" y="617874"/>
                  <a:pt x="3084129" y="619297"/>
                </a:cubicBezTo>
                <a:cubicBezTo>
                  <a:pt x="3080927" y="620150"/>
                  <a:pt x="3078153" y="620008"/>
                  <a:pt x="3076018" y="617020"/>
                </a:cubicBezTo>
                <a:close/>
                <a:moveTo>
                  <a:pt x="3583317" y="613464"/>
                </a:moveTo>
                <a:cubicBezTo>
                  <a:pt x="3584812" y="613464"/>
                  <a:pt x="3586305" y="613748"/>
                  <a:pt x="3588013" y="614317"/>
                </a:cubicBezTo>
                <a:cubicBezTo>
                  <a:pt x="3588866" y="616878"/>
                  <a:pt x="3590360" y="618870"/>
                  <a:pt x="3591641" y="622426"/>
                </a:cubicBezTo>
                <a:cubicBezTo>
                  <a:pt x="3589080" y="624561"/>
                  <a:pt x="3581610" y="625841"/>
                  <a:pt x="3576915" y="621715"/>
                </a:cubicBezTo>
                <a:cubicBezTo>
                  <a:pt x="3576701" y="616024"/>
                  <a:pt x="3579049" y="613464"/>
                  <a:pt x="3583317" y="613464"/>
                </a:cubicBezTo>
                <a:close/>
                <a:moveTo>
                  <a:pt x="1874514" y="612637"/>
                </a:moveTo>
                <a:cubicBezTo>
                  <a:pt x="1883394" y="607216"/>
                  <a:pt x="1892170" y="620692"/>
                  <a:pt x="1889692" y="628592"/>
                </a:cubicBezTo>
                <a:cubicBezTo>
                  <a:pt x="1883084" y="632619"/>
                  <a:pt x="1875030" y="626113"/>
                  <a:pt x="1873481" y="619298"/>
                </a:cubicBezTo>
                <a:cubicBezTo>
                  <a:pt x="1873274" y="618059"/>
                  <a:pt x="1873274" y="616975"/>
                  <a:pt x="1873378" y="615890"/>
                </a:cubicBezTo>
                <a:cubicBezTo>
                  <a:pt x="1873584" y="614651"/>
                  <a:pt x="1873894" y="613567"/>
                  <a:pt x="1874514" y="612637"/>
                </a:cubicBezTo>
                <a:close/>
                <a:moveTo>
                  <a:pt x="3240352" y="611756"/>
                </a:moveTo>
                <a:cubicBezTo>
                  <a:pt x="3247181" y="612468"/>
                  <a:pt x="3252944" y="616024"/>
                  <a:pt x="3255505" y="623849"/>
                </a:cubicBezTo>
                <a:lnTo>
                  <a:pt x="3238431" y="625983"/>
                </a:lnTo>
                <a:lnTo>
                  <a:pt x="3238858" y="625983"/>
                </a:lnTo>
                <a:cubicBezTo>
                  <a:pt x="3241206" y="627121"/>
                  <a:pt x="3241419" y="628260"/>
                  <a:pt x="3239711" y="632101"/>
                </a:cubicBezTo>
                <a:cubicBezTo>
                  <a:pt x="3237578" y="634662"/>
                  <a:pt x="3236937" y="637080"/>
                  <a:pt x="3235657" y="637222"/>
                </a:cubicBezTo>
                <a:cubicBezTo>
                  <a:pt x="3235870" y="638361"/>
                  <a:pt x="3235016" y="639641"/>
                  <a:pt x="3235016" y="640921"/>
                </a:cubicBezTo>
                <a:cubicBezTo>
                  <a:pt x="3235016" y="640921"/>
                  <a:pt x="3235016" y="640921"/>
                  <a:pt x="3233949" y="640921"/>
                </a:cubicBezTo>
                <a:cubicBezTo>
                  <a:pt x="3234163" y="638503"/>
                  <a:pt x="3233736" y="635800"/>
                  <a:pt x="3233523" y="633239"/>
                </a:cubicBezTo>
                <a:lnTo>
                  <a:pt x="3234163" y="626410"/>
                </a:lnTo>
                <a:lnTo>
                  <a:pt x="3232028" y="626695"/>
                </a:lnTo>
                <a:cubicBezTo>
                  <a:pt x="3223919" y="627548"/>
                  <a:pt x="3215809" y="627690"/>
                  <a:pt x="3208339" y="625556"/>
                </a:cubicBezTo>
                <a:cubicBezTo>
                  <a:pt x="3213888" y="619154"/>
                  <a:pt x="3223919" y="613464"/>
                  <a:pt x="3233309" y="611898"/>
                </a:cubicBezTo>
                <a:cubicBezTo>
                  <a:pt x="3235870" y="611614"/>
                  <a:pt x="3238004" y="611614"/>
                  <a:pt x="3240352" y="611756"/>
                </a:cubicBezTo>
                <a:close/>
                <a:moveTo>
                  <a:pt x="3192973" y="608484"/>
                </a:moveTo>
                <a:cubicBezTo>
                  <a:pt x="3194680" y="608484"/>
                  <a:pt x="3197027" y="608911"/>
                  <a:pt x="3199375" y="610760"/>
                </a:cubicBezTo>
                <a:cubicBezTo>
                  <a:pt x="3200442" y="612041"/>
                  <a:pt x="3203003" y="615740"/>
                  <a:pt x="3201936" y="615740"/>
                </a:cubicBezTo>
                <a:cubicBezTo>
                  <a:pt x="3200869" y="616878"/>
                  <a:pt x="3201936" y="616878"/>
                  <a:pt x="3201936" y="618159"/>
                </a:cubicBezTo>
                <a:lnTo>
                  <a:pt x="3200442" y="619012"/>
                </a:lnTo>
                <a:lnTo>
                  <a:pt x="3201083" y="620008"/>
                </a:lnTo>
                <a:cubicBezTo>
                  <a:pt x="3202577" y="622426"/>
                  <a:pt x="3202577" y="622284"/>
                  <a:pt x="3201509" y="623565"/>
                </a:cubicBezTo>
                <a:cubicBezTo>
                  <a:pt x="3200442" y="624845"/>
                  <a:pt x="3196814" y="623849"/>
                  <a:pt x="3195747" y="625272"/>
                </a:cubicBezTo>
                <a:cubicBezTo>
                  <a:pt x="3195747" y="625272"/>
                  <a:pt x="3195747" y="625272"/>
                  <a:pt x="3194253" y="622853"/>
                </a:cubicBezTo>
                <a:lnTo>
                  <a:pt x="3194680" y="620719"/>
                </a:lnTo>
                <a:lnTo>
                  <a:pt x="3191692" y="620008"/>
                </a:lnTo>
                <a:cubicBezTo>
                  <a:pt x="3189344" y="617589"/>
                  <a:pt x="3185930" y="613748"/>
                  <a:pt x="3188064" y="610334"/>
                </a:cubicBezTo>
                <a:cubicBezTo>
                  <a:pt x="3189131" y="610334"/>
                  <a:pt x="3189131" y="609053"/>
                  <a:pt x="3190198" y="609053"/>
                </a:cubicBezTo>
                <a:cubicBezTo>
                  <a:pt x="3190198" y="609053"/>
                  <a:pt x="3191265" y="608626"/>
                  <a:pt x="3192973" y="608484"/>
                </a:cubicBezTo>
                <a:close/>
                <a:moveTo>
                  <a:pt x="2016176" y="605070"/>
                </a:moveTo>
                <a:cubicBezTo>
                  <a:pt x="2016389" y="604928"/>
                  <a:pt x="2016816" y="605070"/>
                  <a:pt x="2017030" y="605781"/>
                </a:cubicBezTo>
                <a:cubicBezTo>
                  <a:pt x="2017457" y="607346"/>
                  <a:pt x="2017457" y="607488"/>
                  <a:pt x="2016176" y="610476"/>
                </a:cubicBezTo>
                <a:cubicBezTo>
                  <a:pt x="2015536" y="608911"/>
                  <a:pt x="2015536" y="608911"/>
                  <a:pt x="2014255" y="609338"/>
                </a:cubicBezTo>
                <a:cubicBezTo>
                  <a:pt x="2014255" y="609338"/>
                  <a:pt x="2014255" y="609338"/>
                  <a:pt x="2013829" y="610334"/>
                </a:cubicBezTo>
                <a:cubicBezTo>
                  <a:pt x="2012762" y="609765"/>
                  <a:pt x="2013188" y="608769"/>
                  <a:pt x="2012121" y="608200"/>
                </a:cubicBezTo>
                <a:cubicBezTo>
                  <a:pt x="2012121" y="608200"/>
                  <a:pt x="2012762" y="607204"/>
                  <a:pt x="2012762" y="607204"/>
                </a:cubicBezTo>
                <a:cubicBezTo>
                  <a:pt x="2012121" y="606919"/>
                  <a:pt x="2012121" y="606919"/>
                  <a:pt x="2012548" y="606777"/>
                </a:cubicBezTo>
                <a:cubicBezTo>
                  <a:pt x="2012762" y="606635"/>
                  <a:pt x="2013615" y="606493"/>
                  <a:pt x="2014682" y="605781"/>
                </a:cubicBezTo>
                <a:cubicBezTo>
                  <a:pt x="2015322" y="605496"/>
                  <a:pt x="2015749" y="605212"/>
                  <a:pt x="2016176" y="605070"/>
                </a:cubicBezTo>
                <a:close/>
                <a:moveTo>
                  <a:pt x="2089390" y="605047"/>
                </a:moveTo>
                <a:cubicBezTo>
                  <a:pt x="2091765" y="606751"/>
                  <a:pt x="2094243" y="607061"/>
                  <a:pt x="2097960" y="608920"/>
                </a:cubicBezTo>
                <a:cubicBezTo>
                  <a:pt x="2097444" y="612792"/>
                  <a:pt x="2092797" y="620227"/>
                  <a:pt x="2086292" y="620847"/>
                </a:cubicBezTo>
                <a:cubicBezTo>
                  <a:pt x="2083401" y="617749"/>
                  <a:pt x="2082368" y="614961"/>
                  <a:pt x="2082988" y="612328"/>
                </a:cubicBezTo>
                <a:cubicBezTo>
                  <a:pt x="2083607" y="609694"/>
                  <a:pt x="2085879" y="607371"/>
                  <a:pt x="2089390" y="605047"/>
                </a:cubicBezTo>
                <a:close/>
                <a:moveTo>
                  <a:pt x="3352397" y="600090"/>
                </a:moveTo>
                <a:cubicBezTo>
                  <a:pt x="3355599" y="600517"/>
                  <a:pt x="3358159" y="600090"/>
                  <a:pt x="3361361" y="600659"/>
                </a:cubicBezTo>
                <a:cubicBezTo>
                  <a:pt x="3366910" y="605781"/>
                  <a:pt x="3365842" y="610903"/>
                  <a:pt x="3362641" y="613464"/>
                </a:cubicBezTo>
                <a:cubicBezTo>
                  <a:pt x="3359227" y="616024"/>
                  <a:pt x="3353464" y="615882"/>
                  <a:pt x="3349196" y="610476"/>
                </a:cubicBezTo>
                <a:cubicBezTo>
                  <a:pt x="3349623" y="605496"/>
                  <a:pt x="3351330" y="602509"/>
                  <a:pt x="3352397" y="600090"/>
                </a:cubicBezTo>
                <a:close/>
                <a:moveTo>
                  <a:pt x="3058091" y="597814"/>
                </a:moveTo>
                <a:cubicBezTo>
                  <a:pt x="3059159" y="597529"/>
                  <a:pt x="3060226" y="597957"/>
                  <a:pt x="3060866" y="599237"/>
                </a:cubicBezTo>
                <a:cubicBezTo>
                  <a:pt x="3062360" y="604074"/>
                  <a:pt x="3052542" y="608058"/>
                  <a:pt x="3050408" y="606777"/>
                </a:cubicBezTo>
                <a:cubicBezTo>
                  <a:pt x="3049981" y="604928"/>
                  <a:pt x="3054463" y="598667"/>
                  <a:pt x="3058091" y="597814"/>
                </a:cubicBezTo>
                <a:close/>
                <a:moveTo>
                  <a:pt x="3154770" y="596249"/>
                </a:moveTo>
                <a:cubicBezTo>
                  <a:pt x="3156051" y="601229"/>
                  <a:pt x="3157331" y="606208"/>
                  <a:pt x="3152636" y="607204"/>
                </a:cubicBezTo>
                <a:cubicBezTo>
                  <a:pt x="3147728" y="603931"/>
                  <a:pt x="3147514" y="596960"/>
                  <a:pt x="3154770" y="596249"/>
                </a:cubicBezTo>
                <a:close/>
                <a:moveTo>
                  <a:pt x="3415569" y="590558"/>
                </a:moveTo>
                <a:cubicBezTo>
                  <a:pt x="3419411" y="591270"/>
                  <a:pt x="3421332" y="592408"/>
                  <a:pt x="3422185" y="593973"/>
                </a:cubicBezTo>
                <a:cubicBezTo>
                  <a:pt x="3424533" y="598667"/>
                  <a:pt x="3415997" y="606350"/>
                  <a:pt x="3412368" y="611898"/>
                </a:cubicBezTo>
                <a:cubicBezTo>
                  <a:pt x="3407459" y="610903"/>
                  <a:pt x="3405966" y="610191"/>
                  <a:pt x="3402764" y="606208"/>
                </a:cubicBezTo>
                <a:cubicBezTo>
                  <a:pt x="3404898" y="598525"/>
                  <a:pt x="3410234" y="594542"/>
                  <a:pt x="3415569" y="590558"/>
                </a:cubicBezTo>
                <a:close/>
                <a:moveTo>
                  <a:pt x="3515023" y="587855"/>
                </a:moveTo>
                <a:cubicBezTo>
                  <a:pt x="3523774" y="588851"/>
                  <a:pt x="3518224" y="601229"/>
                  <a:pt x="3517584" y="608626"/>
                </a:cubicBezTo>
                <a:cubicBezTo>
                  <a:pt x="3512676" y="609623"/>
                  <a:pt x="3510968" y="609338"/>
                  <a:pt x="3506273" y="606919"/>
                </a:cubicBezTo>
                <a:cubicBezTo>
                  <a:pt x="3504352" y="599094"/>
                  <a:pt x="3507340" y="593546"/>
                  <a:pt x="3510328" y="587998"/>
                </a:cubicBezTo>
                <a:cubicBezTo>
                  <a:pt x="3512035" y="587713"/>
                  <a:pt x="3513743" y="587713"/>
                  <a:pt x="3515023" y="587855"/>
                </a:cubicBezTo>
                <a:close/>
                <a:moveTo>
                  <a:pt x="3155198" y="587571"/>
                </a:moveTo>
                <a:cubicBezTo>
                  <a:pt x="3155411" y="587571"/>
                  <a:pt x="3155624" y="587998"/>
                  <a:pt x="3155624" y="588566"/>
                </a:cubicBezTo>
                <a:cubicBezTo>
                  <a:pt x="3157758" y="589705"/>
                  <a:pt x="3155198" y="591981"/>
                  <a:pt x="3153917" y="592977"/>
                </a:cubicBezTo>
                <a:cubicBezTo>
                  <a:pt x="3154343" y="589563"/>
                  <a:pt x="3153277" y="588424"/>
                  <a:pt x="3154557" y="588566"/>
                </a:cubicBezTo>
                <a:cubicBezTo>
                  <a:pt x="3154557" y="587998"/>
                  <a:pt x="3154984" y="587571"/>
                  <a:pt x="3155198" y="587571"/>
                </a:cubicBezTo>
                <a:close/>
                <a:moveTo>
                  <a:pt x="2981687" y="587286"/>
                </a:moveTo>
                <a:cubicBezTo>
                  <a:pt x="2983181" y="588709"/>
                  <a:pt x="2983821" y="589989"/>
                  <a:pt x="2984035" y="591270"/>
                </a:cubicBezTo>
                <a:cubicBezTo>
                  <a:pt x="2984675" y="594969"/>
                  <a:pt x="2980407" y="598525"/>
                  <a:pt x="2977846" y="602936"/>
                </a:cubicBezTo>
                <a:cubicBezTo>
                  <a:pt x="2975498" y="600233"/>
                  <a:pt x="2974644" y="597672"/>
                  <a:pt x="2975498" y="595111"/>
                </a:cubicBezTo>
                <a:cubicBezTo>
                  <a:pt x="2976138" y="592692"/>
                  <a:pt x="2978272" y="590131"/>
                  <a:pt x="2981687" y="587286"/>
                </a:cubicBezTo>
                <a:close/>
                <a:moveTo>
                  <a:pt x="3010712" y="586148"/>
                </a:moveTo>
                <a:cubicBezTo>
                  <a:pt x="3012846" y="586290"/>
                  <a:pt x="3015408" y="587144"/>
                  <a:pt x="3018182" y="589420"/>
                </a:cubicBezTo>
                <a:cubicBezTo>
                  <a:pt x="3024158" y="594400"/>
                  <a:pt x="3029066" y="601798"/>
                  <a:pt x="3021383" y="611045"/>
                </a:cubicBezTo>
                <a:cubicBezTo>
                  <a:pt x="3020316" y="613321"/>
                  <a:pt x="3020316" y="612041"/>
                  <a:pt x="3019249" y="613179"/>
                </a:cubicBezTo>
                <a:cubicBezTo>
                  <a:pt x="3017968" y="614317"/>
                  <a:pt x="3016901" y="616736"/>
                  <a:pt x="3017115" y="617874"/>
                </a:cubicBezTo>
                <a:cubicBezTo>
                  <a:pt x="3012206" y="614175"/>
                  <a:pt x="3010072" y="617589"/>
                  <a:pt x="3002816" y="611330"/>
                </a:cubicBezTo>
                <a:cubicBezTo>
                  <a:pt x="2993212" y="603789"/>
                  <a:pt x="2995133" y="595537"/>
                  <a:pt x="2998334" y="590843"/>
                </a:cubicBezTo>
                <a:cubicBezTo>
                  <a:pt x="2999401" y="591839"/>
                  <a:pt x="3003883" y="585579"/>
                  <a:pt x="3010712" y="586148"/>
                </a:cubicBezTo>
                <a:close/>
                <a:moveTo>
                  <a:pt x="1958874" y="585995"/>
                </a:moveTo>
                <a:cubicBezTo>
                  <a:pt x="1964966" y="588164"/>
                  <a:pt x="1967031" y="592656"/>
                  <a:pt x="1966412" y="598077"/>
                </a:cubicBezTo>
                <a:cubicBezTo>
                  <a:pt x="1960732" y="602879"/>
                  <a:pt x="1952472" y="597612"/>
                  <a:pt x="1953195" y="590797"/>
                </a:cubicBezTo>
                <a:cubicBezTo>
                  <a:pt x="1954640" y="589713"/>
                  <a:pt x="1956189" y="587079"/>
                  <a:pt x="1958874" y="585995"/>
                </a:cubicBezTo>
                <a:close/>
                <a:moveTo>
                  <a:pt x="3289225" y="585436"/>
                </a:moveTo>
                <a:cubicBezTo>
                  <a:pt x="3291146" y="587001"/>
                  <a:pt x="3292000" y="589847"/>
                  <a:pt x="3292426" y="593262"/>
                </a:cubicBezTo>
                <a:lnTo>
                  <a:pt x="3292640" y="602366"/>
                </a:lnTo>
                <a:lnTo>
                  <a:pt x="3295841" y="604358"/>
                </a:lnTo>
                <a:cubicBezTo>
                  <a:pt x="3294561" y="605496"/>
                  <a:pt x="3295414" y="606777"/>
                  <a:pt x="3296268" y="608200"/>
                </a:cubicBezTo>
                <a:cubicBezTo>
                  <a:pt x="3293707" y="618585"/>
                  <a:pt x="3273219" y="620862"/>
                  <a:pt x="3272792" y="611898"/>
                </a:cubicBezTo>
                <a:cubicBezTo>
                  <a:pt x="3272578" y="610618"/>
                  <a:pt x="3273005" y="609053"/>
                  <a:pt x="3273859" y="607346"/>
                </a:cubicBezTo>
                <a:cubicBezTo>
                  <a:pt x="3275779" y="605639"/>
                  <a:pt x="3277700" y="604216"/>
                  <a:pt x="3279621" y="603220"/>
                </a:cubicBezTo>
                <a:lnTo>
                  <a:pt x="3285170" y="600944"/>
                </a:lnTo>
                <a:lnTo>
                  <a:pt x="3284743" y="592265"/>
                </a:lnTo>
                <a:cubicBezTo>
                  <a:pt x="3284530" y="589278"/>
                  <a:pt x="3285383" y="587001"/>
                  <a:pt x="3289225" y="585436"/>
                </a:cubicBezTo>
                <a:close/>
                <a:moveTo>
                  <a:pt x="2940070" y="584726"/>
                </a:moveTo>
                <a:cubicBezTo>
                  <a:pt x="2943058" y="588424"/>
                  <a:pt x="2946046" y="592123"/>
                  <a:pt x="2948821" y="595822"/>
                </a:cubicBezTo>
                <a:lnTo>
                  <a:pt x="2956290" y="606635"/>
                </a:lnTo>
                <a:lnTo>
                  <a:pt x="2959065" y="605070"/>
                </a:lnTo>
                <a:cubicBezTo>
                  <a:pt x="2962479" y="603931"/>
                  <a:pt x="2966321" y="603505"/>
                  <a:pt x="2969949" y="603789"/>
                </a:cubicBezTo>
                <a:cubicBezTo>
                  <a:pt x="2978486" y="604358"/>
                  <a:pt x="2986169" y="609053"/>
                  <a:pt x="2988730" y="618301"/>
                </a:cubicBezTo>
                <a:cubicBezTo>
                  <a:pt x="2989583" y="622000"/>
                  <a:pt x="2989797" y="626126"/>
                  <a:pt x="2988943" y="631105"/>
                </a:cubicBezTo>
                <a:cubicBezTo>
                  <a:pt x="2985742" y="644620"/>
                  <a:pt x="2972724" y="651876"/>
                  <a:pt x="2962906" y="666815"/>
                </a:cubicBezTo>
                <a:lnTo>
                  <a:pt x="2961839" y="664111"/>
                </a:lnTo>
                <a:lnTo>
                  <a:pt x="2960558" y="664823"/>
                </a:lnTo>
                <a:cubicBezTo>
                  <a:pt x="2956290" y="663827"/>
                  <a:pt x="2953302" y="660554"/>
                  <a:pt x="2952875" y="656998"/>
                </a:cubicBezTo>
                <a:lnTo>
                  <a:pt x="2954156" y="652161"/>
                </a:lnTo>
                <a:lnTo>
                  <a:pt x="2947967" y="647323"/>
                </a:lnTo>
                <a:cubicBezTo>
                  <a:pt x="2946046" y="645758"/>
                  <a:pt x="2944125" y="644051"/>
                  <a:pt x="2942418" y="642060"/>
                </a:cubicBezTo>
                <a:cubicBezTo>
                  <a:pt x="2940497" y="639357"/>
                  <a:pt x="2939216" y="636084"/>
                  <a:pt x="2939216" y="631816"/>
                </a:cubicBezTo>
                <a:cubicBezTo>
                  <a:pt x="2939003" y="627263"/>
                  <a:pt x="2940070" y="622996"/>
                  <a:pt x="2941778" y="619439"/>
                </a:cubicBezTo>
                <a:lnTo>
                  <a:pt x="2941991" y="619012"/>
                </a:lnTo>
                <a:lnTo>
                  <a:pt x="2940497" y="617447"/>
                </a:lnTo>
                <a:lnTo>
                  <a:pt x="2938150" y="613321"/>
                </a:lnTo>
                <a:lnTo>
                  <a:pt x="2936228" y="615171"/>
                </a:lnTo>
                <a:cubicBezTo>
                  <a:pt x="2926838" y="621146"/>
                  <a:pt x="2915314" y="621573"/>
                  <a:pt x="2908058" y="614032"/>
                </a:cubicBezTo>
                <a:cubicBezTo>
                  <a:pt x="2905496" y="610618"/>
                  <a:pt x="2904215" y="607204"/>
                  <a:pt x="2904215" y="604074"/>
                </a:cubicBezTo>
                <a:lnTo>
                  <a:pt x="2906350" y="597387"/>
                </a:lnTo>
                <a:lnTo>
                  <a:pt x="2905923" y="596534"/>
                </a:lnTo>
                <a:lnTo>
                  <a:pt x="2906563" y="596392"/>
                </a:lnTo>
                <a:lnTo>
                  <a:pt x="2906777" y="595680"/>
                </a:lnTo>
                <a:cubicBezTo>
                  <a:pt x="2910405" y="590700"/>
                  <a:pt x="2917021" y="587713"/>
                  <a:pt x="2923850" y="588282"/>
                </a:cubicBezTo>
                <a:cubicBezTo>
                  <a:pt x="2925985" y="588424"/>
                  <a:pt x="2928119" y="588709"/>
                  <a:pt x="2930040" y="589563"/>
                </a:cubicBezTo>
                <a:lnTo>
                  <a:pt x="2935162" y="592550"/>
                </a:lnTo>
                <a:lnTo>
                  <a:pt x="2935802" y="591270"/>
                </a:lnTo>
                <a:cubicBezTo>
                  <a:pt x="2936656" y="588993"/>
                  <a:pt x="2937509" y="586859"/>
                  <a:pt x="2940070" y="584726"/>
                </a:cubicBezTo>
                <a:close/>
                <a:moveTo>
                  <a:pt x="3136843" y="584014"/>
                </a:moveTo>
                <a:cubicBezTo>
                  <a:pt x="3140044" y="583018"/>
                  <a:pt x="3142179" y="586006"/>
                  <a:pt x="3142819" y="589278"/>
                </a:cubicBezTo>
                <a:cubicBezTo>
                  <a:pt x="3143459" y="590274"/>
                  <a:pt x="3143246" y="591554"/>
                  <a:pt x="3142606" y="592835"/>
                </a:cubicBezTo>
                <a:cubicBezTo>
                  <a:pt x="3141965" y="594115"/>
                  <a:pt x="3140898" y="595253"/>
                  <a:pt x="3139831" y="595965"/>
                </a:cubicBezTo>
                <a:cubicBezTo>
                  <a:pt x="3138124" y="596392"/>
                  <a:pt x="3138124" y="596392"/>
                  <a:pt x="3136630" y="596818"/>
                </a:cubicBezTo>
                <a:cubicBezTo>
                  <a:pt x="3134709" y="595680"/>
                  <a:pt x="3132148" y="595537"/>
                  <a:pt x="3131081" y="593262"/>
                </a:cubicBezTo>
                <a:cubicBezTo>
                  <a:pt x="3130441" y="589989"/>
                  <a:pt x="3134709" y="585436"/>
                  <a:pt x="3136843" y="584014"/>
                </a:cubicBezTo>
                <a:close/>
                <a:moveTo>
                  <a:pt x="1987151" y="581453"/>
                </a:moveTo>
                <a:cubicBezTo>
                  <a:pt x="1984376" y="588709"/>
                  <a:pt x="1982456" y="596818"/>
                  <a:pt x="1979681" y="604643"/>
                </a:cubicBezTo>
                <a:cubicBezTo>
                  <a:pt x="1977120" y="612468"/>
                  <a:pt x="1973919" y="620008"/>
                  <a:pt x="1968797" y="626410"/>
                </a:cubicBezTo>
                <a:cubicBezTo>
                  <a:pt x="1961754" y="611756"/>
                  <a:pt x="1964955" y="581169"/>
                  <a:pt x="1987151" y="581453"/>
                </a:cubicBezTo>
                <a:close/>
                <a:moveTo>
                  <a:pt x="3182088" y="580742"/>
                </a:moveTo>
                <a:cubicBezTo>
                  <a:pt x="3192332" y="596960"/>
                  <a:pt x="3183796" y="621146"/>
                  <a:pt x="3180808" y="642486"/>
                </a:cubicBezTo>
                <a:cubicBezTo>
                  <a:pt x="3176966" y="641206"/>
                  <a:pt x="3173978" y="643340"/>
                  <a:pt x="3168429" y="640210"/>
                </a:cubicBezTo>
                <a:lnTo>
                  <a:pt x="3172057" y="624418"/>
                </a:lnTo>
                <a:lnTo>
                  <a:pt x="3171417" y="622284"/>
                </a:lnTo>
                <a:cubicBezTo>
                  <a:pt x="3171417" y="621004"/>
                  <a:pt x="3171631" y="619866"/>
                  <a:pt x="3172057" y="619297"/>
                </a:cubicBezTo>
                <a:lnTo>
                  <a:pt x="3173338" y="618727"/>
                </a:lnTo>
                <a:lnTo>
                  <a:pt x="3175472" y="609053"/>
                </a:lnTo>
                <a:cubicBezTo>
                  <a:pt x="3177180" y="598952"/>
                  <a:pt x="3179100" y="589420"/>
                  <a:pt x="3182088" y="580742"/>
                </a:cubicBezTo>
                <a:close/>
                <a:moveTo>
                  <a:pt x="3231388" y="580457"/>
                </a:moveTo>
                <a:cubicBezTo>
                  <a:pt x="3232669" y="585294"/>
                  <a:pt x="3235657" y="588566"/>
                  <a:pt x="3236937" y="593404"/>
                </a:cubicBezTo>
                <a:cubicBezTo>
                  <a:pt x="3233949" y="600659"/>
                  <a:pt x="3218583" y="607773"/>
                  <a:pt x="3210900" y="603505"/>
                </a:cubicBezTo>
                <a:cubicBezTo>
                  <a:pt x="3208339" y="601940"/>
                  <a:pt x="3206632" y="599237"/>
                  <a:pt x="3206632" y="594827"/>
                </a:cubicBezTo>
                <a:cubicBezTo>
                  <a:pt x="3207058" y="588282"/>
                  <a:pt x="3210046" y="584726"/>
                  <a:pt x="3214528" y="582734"/>
                </a:cubicBezTo>
                <a:lnTo>
                  <a:pt x="3214741" y="582591"/>
                </a:lnTo>
                <a:lnTo>
                  <a:pt x="3215169" y="581880"/>
                </a:lnTo>
                <a:lnTo>
                  <a:pt x="3219010" y="581595"/>
                </a:lnTo>
                <a:lnTo>
                  <a:pt x="3222211" y="580742"/>
                </a:lnTo>
                <a:cubicBezTo>
                  <a:pt x="3224986" y="580457"/>
                  <a:pt x="3228187" y="580457"/>
                  <a:pt x="3231388" y="580457"/>
                </a:cubicBezTo>
                <a:close/>
                <a:moveTo>
                  <a:pt x="3395508" y="579319"/>
                </a:moveTo>
                <a:cubicBezTo>
                  <a:pt x="3395722" y="580884"/>
                  <a:pt x="3397429" y="580457"/>
                  <a:pt x="3398923" y="580030"/>
                </a:cubicBezTo>
                <a:cubicBezTo>
                  <a:pt x="3399350" y="582449"/>
                  <a:pt x="3400630" y="586148"/>
                  <a:pt x="3398496" y="588566"/>
                </a:cubicBezTo>
                <a:cubicBezTo>
                  <a:pt x="3397642" y="589420"/>
                  <a:pt x="3396575" y="589989"/>
                  <a:pt x="3394867" y="590416"/>
                </a:cubicBezTo>
                <a:cubicBezTo>
                  <a:pt x="3394228" y="591412"/>
                  <a:pt x="3389959" y="590131"/>
                  <a:pt x="3389532" y="588566"/>
                </a:cubicBezTo>
                <a:cubicBezTo>
                  <a:pt x="3388039" y="584583"/>
                  <a:pt x="3391880" y="582734"/>
                  <a:pt x="3395508" y="579319"/>
                </a:cubicBezTo>
                <a:close/>
                <a:moveTo>
                  <a:pt x="3357092" y="577043"/>
                </a:moveTo>
                <a:cubicBezTo>
                  <a:pt x="3345781" y="594542"/>
                  <a:pt x="3326146" y="622996"/>
                  <a:pt x="3306939" y="630678"/>
                </a:cubicBezTo>
                <a:cubicBezTo>
                  <a:pt x="3293707" y="608911"/>
                  <a:pt x="3340659" y="580315"/>
                  <a:pt x="3357092" y="577043"/>
                </a:cubicBezTo>
                <a:close/>
                <a:moveTo>
                  <a:pt x="3573074" y="576758"/>
                </a:moveTo>
                <a:cubicBezTo>
                  <a:pt x="3574994" y="578323"/>
                  <a:pt x="3577769" y="578323"/>
                  <a:pt x="3579262" y="578892"/>
                </a:cubicBezTo>
                <a:cubicBezTo>
                  <a:pt x="3580543" y="582164"/>
                  <a:pt x="3580117" y="584726"/>
                  <a:pt x="3577769" y="588566"/>
                </a:cubicBezTo>
                <a:cubicBezTo>
                  <a:pt x="3572433" y="588566"/>
                  <a:pt x="3573927" y="589136"/>
                  <a:pt x="3569018" y="586433"/>
                </a:cubicBezTo>
                <a:cubicBezTo>
                  <a:pt x="3570512" y="583303"/>
                  <a:pt x="3571793" y="580030"/>
                  <a:pt x="3573074" y="576758"/>
                </a:cubicBezTo>
                <a:close/>
                <a:moveTo>
                  <a:pt x="2880099" y="575762"/>
                </a:moveTo>
                <a:cubicBezTo>
                  <a:pt x="2887782" y="579461"/>
                  <a:pt x="2890344" y="594542"/>
                  <a:pt x="2887142" y="600517"/>
                </a:cubicBezTo>
                <a:cubicBezTo>
                  <a:pt x="2882233" y="602366"/>
                  <a:pt x="2878392" y="601940"/>
                  <a:pt x="2875617" y="600233"/>
                </a:cubicBezTo>
                <a:cubicBezTo>
                  <a:pt x="2873483" y="598952"/>
                  <a:pt x="2872203" y="596960"/>
                  <a:pt x="2871136" y="594542"/>
                </a:cubicBezTo>
                <a:lnTo>
                  <a:pt x="2870922" y="592123"/>
                </a:lnTo>
                <a:cubicBezTo>
                  <a:pt x="2866654" y="593119"/>
                  <a:pt x="2861318" y="590843"/>
                  <a:pt x="2859184" y="584441"/>
                </a:cubicBezTo>
                <a:cubicBezTo>
                  <a:pt x="2861318" y="580030"/>
                  <a:pt x="2864093" y="578039"/>
                  <a:pt x="2865800" y="576189"/>
                </a:cubicBezTo>
                <a:lnTo>
                  <a:pt x="2873270" y="579746"/>
                </a:lnTo>
                <a:close/>
                <a:moveTo>
                  <a:pt x="3206418" y="575478"/>
                </a:moveTo>
                <a:cubicBezTo>
                  <a:pt x="3207485" y="575335"/>
                  <a:pt x="3208765" y="575478"/>
                  <a:pt x="3209833" y="576047"/>
                </a:cubicBezTo>
                <a:cubicBezTo>
                  <a:pt x="3211327" y="577185"/>
                  <a:pt x="3211540" y="579604"/>
                  <a:pt x="3210900" y="583303"/>
                </a:cubicBezTo>
                <a:cubicBezTo>
                  <a:pt x="3208765" y="584583"/>
                  <a:pt x="3204924" y="581169"/>
                  <a:pt x="3202363" y="580173"/>
                </a:cubicBezTo>
                <a:cubicBezTo>
                  <a:pt x="3203430" y="578892"/>
                  <a:pt x="3204498" y="577612"/>
                  <a:pt x="3203217" y="577612"/>
                </a:cubicBezTo>
                <a:cubicBezTo>
                  <a:pt x="3204284" y="576332"/>
                  <a:pt x="3205351" y="575762"/>
                  <a:pt x="3206418" y="575478"/>
                </a:cubicBezTo>
                <a:close/>
                <a:moveTo>
                  <a:pt x="2933241" y="573059"/>
                </a:moveTo>
                <a:cubicBezTo>
                  <a:pt x="2935162" y="573202"/>
                  <a:pt x="2936442" y="573913"/>
                  <a:pt x="2937083" y="575051"/>
                </a:cubicBezTo>
                <a:cubicBezTo>
                  <a:pt x="2937509" y="576189"/>
                  <a:pt x="2937509" y="577754"/>
                  <a:pt x="2937296" y="579319"/>
                </a:cubicBezTo>
                <a:cubicBezTo>
                  <a:pt x="2936869" y="582591"/>
                  <a:pt x="2934308" y="582876"/>
                  <a:pt x="2934308" y="582876"/>
                </a:cubicBezTo>
                <a:cubicBezTo>
                  <a:pt x="2930253" y="582591"/>
                  <a:pt x="2927265" y="580030"/>
                  <a:pt x="2927052" y="575762"/>
                </a:cubicBezTo>
                <a:cubicBezTo>
                  <a:pt x="2928119" y="573486"/>
                  <a:pt x="2930680" y="573344"/>
                  <a:pt x="2933241" y="573059"/>
                </a:cubicBezTo>
                <a:close/>
                <a:moveTo>
                  <a:pt x="3024584" y="571779"/>
                </a:moveTo>
                <a:cubicBezTo>
                  <a:pt x="3028426" y="571352"/>
                  <a:pt x="3033335" y="572633"/>
                  <a:pt x="3036322" y="575051"/>
                </a:cubicBezTo>
                <a:lnTo>
                  <a:pt x="3037390" y="576332"/>
                </a:lnTo>
                <a:lnTo>
                  <a:pt x="3039097" y="575335"/>
                </a:lnTo>
                <a:cubicBezTo>
                  <a:pt x="3041872" y="575193"/>
                  <a:pt x="3044646" y="576189"/>
                  <a:pt x="3047634" y="578750"/>
                </a:cubicBezTo>
                <a:cubicBezTo>
                  <a:pt x="3048914" y="584726"/>
                  <a:pt x="3042298" y="587855"/>
                  <a:pt x="3038884" y="590131"/>
                </a:cubicBezTo>
                <a:lnTo>
                  <a:pt x="3037390" y="588424"/>
                </a:lnTo>
                <a:lnTo>
                  <a:pt x="3036536" y="590843"/>
                </a:lnTo>
                <a:cubicBezTo>
                  <a:pt x="3035896" y="591839"/>
                  <a:pt x="3035255" y="592835"/>
                  <a:pt x="3034402" y="593973"/>
                </a:cubicBezTo>
                <a:cubicBezTo>
                  <a:pt x="3033121" y="593262"/>
                  <a:pt x="3031627" y="593262"/>
                  <a:pt x="3030347" y="592977"/>
                </a:cubicBezTo>
                <a:lnTo>
                  <a:pt x="3026292" y="591270"/>
                </a:lnTo>
                <a:lnTo>
                  <a:pt x="3025225" y="591697"/>
                </a:lnTo>
                <a:cubicBezTo>
                  <a:pt x="3014980" y="578039"/>
                  <a:pt x="3018395" y="572490"/>
                  <a:pt x="3024584" y="571779"/>
                </a:cubicBezTo>
                <a:close/>
                <a:moveTo>
                  <a:pt x="2899094" y="568791"/>
                </a:moveTo>
                <a:cubicBezTo>
                  <a:pt x="2902082" y="569218"/>
                  <a:pt x="2905496" y="571068"/>
                  <a:pt x="2908698" y="574767"/>
                </a:cubicBezTo>
                <a:cubicBezTo>
                  <a:pt x="2910191" y="580742"/>
                  <a:pt x="2903575" y="588709"/>
                  <a:pt x="2898880" y="587286"/>
                </a:cubicBezTo>
                <a:cubicBezTo>
                  <a:pt x="2885435" y="577754"/>
                  <a:pt x="2890130" y="567226"/>
                  <a:pt x="2899094" y="568791"/>
                </a:cubicBezTo>
                <a:close/>
                <a:moveTo>
                  <a:pt x="3269591" y="564381"/>
                </a:moveTo>
                <a:cubicBezTo>
                  <a:pt x="3271511" y="564096"/>
                  <a:pt x="3274072" y="564239"/>
                  <a:pt x="3276420" y="564381"/>
                </a:cubicBezTo>
                <a:cubicBezTo>
                  <a:pt x="3278554" y="564523"/>
                  <a:pt x="3280475" y="564808"/>
                  <a:pt x="3280902" y="564808"/>
                </a:cubicBezTo>
                <a:cubicBezTo>
                  <a:pt x="3280902" y="564808"/>
                  <a:pt x="3282182" y="564666"/>
                  <a:pt x="3283250" y="564523"/>
                </a:cubicBezTo>
                <a:cubicBezTo>
                  <a:pt x="3284530" y="565661"/>
                  <a:pt x="3284743" y="566942"/>
                  <a:pt x="3285810" y="566799"/>
                </a:cubicBezTo>
                <a:cubicBezTo>
                  <a:pt x="3282822" y="570498"/>
                  <a:pt x="3279407" y="569503"/>
                  <a:pt x="3275779" y="568649"/>
                </a:cubicBezTo>
                <a:cubicBezTo>
                  <a:pt x="3273432" y="567511"/>
                  <a:pt x="3272151" y="567653"/>
                  <a:pt x="3270017" y="568933"/>
                </a:cubicBezTo>
                <a:cubicBezTo>
                  <a:pt x="3270017" y="568933"/>
                  <a:pt x="3270017" y="568933"/>
                  <a:pt x="3267456" y="566657"/>
                </a:cubicBezTo>
                <a:lnTo>
                  <a:pt x="3267243" y="565519"/>
                </a:lnTo>
                <a:cubicBezTo>
                  <a:pt x="3267456" y="564950"/>
                  <a:pt x="3268310" y="564523"/>
                  <a:pt x="3269591" y="564381"/>
                </a:cubicBezTo>
                <a:close/>
                <a:moveTo>
                  <a:pt x="3044219" y="556698"/>
                </a:moveTo>
                <a:cubicBezTo>
                  <a:pt x="3045713" y="557552"/>
                  <a:pt x="3048274" y="558121"/>
                  <a:pt x="3050195" y="560113"/>
                </a:cubicBezTo>
                <a:cubicBezTo>
                  <a:pt x="3050835" y="566231"/>
                  <a:pt x="3048274" y="569360"/>
                  <a:pt x="3043792" y="570640"/>
                </a:cubicBezTo>
                <a:cubicBezTo>
                  <a:pt x="3037817" y="567226"/>
                  <a:pt x="3038457" y="558263"/>
                  <a:pt x="3044219" y="556698"/>
                </a:cubicBezTo>
                <a:close/>
                <a:moveTo>
                  <a:pt x="1903426" y="554861"/>
                </a:moveTo>
                <a:cubicBezTo>
                  <a:pt x="1913028" y="556875"/>
                  <a:pt x="1908692" y="567563"/>
                  <a:pt x="1903735" y="568647"/>
                </a:cubicBezTo>
                <a:cubicBezTo>
                  <a:pt x="1900844" y="567253"/>
                  <a:pt x="1899605" y="564464"/>
                  <a:pt x="1899708" y="561676"/>
                </a:cubicBezTo>
                <a:cubicBezTo>
                  <a:pt x="1899708" y="558888"/>
                  <a:pt x="1901051" y="556100"/>
                  <a:pt x="1903426" y="554861"/>
                </a:cubicBezTo>
                <a:close/>
                <a:moveTo>
                  <a:pt x="3118702" y="554707"/>
                </a:moveTo>
                <a:cubicBezTo>
                  <a:pt x="3121904" y="553853"/>
                  <a:pt x="3123185" y="556129"/>
                  <a:pt x="3123611" y="557837"/>
                </a:cubicBezTo>
                <a:cubicBezTo>
                  <a:pt x="3124678" y="559259"/>
                  <a:pt x="3124465" y="560966"/>
                  <a:pt x="3123611" y="562674"/>
                </a:cubicBezTo>
                <a:cubicBezTo>
                  <a:pt x="3122758" y="564523"/>
                  <a:pt x="3121477" y="566088"/>
                  <a:pt x="3119983" y="567368"/>
                </a:cubicBezTo>
                <a:cubicBezTo>
                  <a:pt x="3120623" y="566373"/>
                  <a:pt x="3120623" y="566373"/>
                  <a:pt x="3120623" y="566373"/>
                </a:cubicBezTo>
                <a:cubicBezTo>
                  <a:pt x="3120410" y="564666"/>
                  <a:pt x="3119770" y="565803"/>
                  <a:pt x="3118702" y="565234"/>
                </a:cubicBezTo>
                <a:cubicBezTo>
                  <a:pt x="3118702" y="565234"/>
                  <a:pt x="3119770" y="565803"/>
                  <a:pt x="3118062" y="566231"/>
                </a:cubicBezTo>
                <a:cubicBezTo>
                  <a:pt x="3118702" y="565234"/>
                  <a:pt x="3117849" y="564523"/>
                  <a:pt x="3116782" y="563954"/>
                </a:cubicBezTo>
                <a:cubicBezTo>
                  <a:pt x="3116355" y="560682"/>
                  <a:pt x="3116355" y="556272"/>
                  <a:pt x="3118702" y="554707"/>
                </a:cubicBezTo>
                <a:close/>
                <a:moveTo>
                  <a:pt x="3420265" y="551008"/>
                </a:moveTo>
                <a:cubicBezTo>
                  <a:pt x="3420692" y="551150"/>
                  <a:pt x="3421332" y="551719"/>
                  <a:pt x="3421759" y="552288"/>
                </a:cubicBezTo>
                <a:cubicBezTo>
                  <a:pt x="3423893" y="555560"/>
                  <a:pt x="3423466" y="562674"/>
                  <a:pt x="3418984" y="562104"/>
                </a:cubicBezTo>
                <a:lnTo>
                  <a:pt x="3418130" y="561536"/>
                </a:lnTo>
                <a:lnTo>
                  <a:pt x="3417490" y="561820"/>
                </a:lnTo>
                <a:cubicBezTo>
                  <a:pt x="3416209" y="561962"/>
                  <a:pt x="3414716" y="561678"/>
                  <a:pt x="3413649" y="561678"/>
                </a:cubicBezTo>
                <a:cubicBezTo>
                  <a:pt x="3412795" y="564239"/>
                  <a:pt x="3408740" y="559686"/>
                  <a:pt x="3407886" y="562104"/>
                </a:cubicBezTo>
                <a:cubicBezTo>
                  <a:pt x="3402764" y="557552"/>
                  <a:pt x="3397856" y="563954"/>
                  <a:pt x="3389105" y="558406"/>
                </a:cubicBezTo>
                <a:cubicBezTo>
                  <a:pt x="3391880" y="557267"/>
                  <a:pt x="3394441" y="556698"/>
                  <a:pt x="3396788" y="556556"/>
                </a:cubicBezTo>
                <a:cubicBezTo>
                  <a:pt x="3400630" y="556129"/>
                  <a:pt x="3403831" y="556414"/>
                  <a:pt x="3406819" y="556556"/>
                </a:cubicBezTo>
                <a:lnTo>
                  <a:pt x="3414502" y="555702"/>
                </a:lnTo>
                <a:lnTo>
                  <a:pt x="3415783" y="553426"/>
                </a:lnTo>
                <a:cubicBezTo>
                  <a:pt x="3416637" y="552288"/>
                  <a:pt x="3417277" y="551577"/>
                  <a:pt x="3418130" y="551150"/>
                </a:cubicBezTo>
                <a:cubicBezTo>
                  <a:pt x="3418771" y="550723"/>
                  <a:pt x="3419624" y="550723"/>
                  <a:pt x="3420265" y="551008"/>
                </a:cubicBezTo>
                <a:close/>
                <a:moveTo>
                  <a:pt x="3366910" y="550581"/>
                </a:moveTo>
                <a:cubicBezTo>
                  <a:pt x="3368617" y="562531"/>
                  <a:pt x="3347062" y="579319"/>
                  <a:pt x="3337031" y="570072"/>
                </a:cubicBezTo>
                <a:cubicBezTo>
                  <a:pt x="3348556" y="564096"/>
                  <a:pt x="3352397" y="554422"/>
                  <a:pt x="3366910" y="550581"/>
                </a:cubicBezTo>
                <a:close/>
                <a:moveTo>
                  <a:pt x="2128008" y="548873"/>
                </a:moveTo>
                <a:cubicBezTo>
                  <a:pt x="2139960" y="553426"/>
                  <a:pt x="2147216" y="574482"/>
                  <a:pt x="2136118" y="577185"/>
                </a:cubicBezTo>
                <a:cubicBezTo>
                  <a:pt x="2134624" y="577612"/>
                  <a:pt x="2132704" y="577612"/>
                  <a:pt x="2130355" y="577185"/>
                </a:cubicBezTo>
                <a:cubicBezTo>
                  <a:pt x="2126514" y="569360"/>
                  <a:pt x="2117551" y="556840"/>
                  <a:pt x="2128008" y="548873"/>
                </a:cubicBezTo>
                <a:close/>
                <a:moveTo>
                  <a:pt x="3022237" y="546313"/>
                </a:moveTo>
                <a:cubicBezTo>
                  <a:pt x="3023304" y="546313"/>
                  <a:pt x="3024158" y="547024"/>
                  <a:pt x="3024584" y="548020"/>
                </a:cubicBezTo>
                <a:cubicBezTo>
                  <a:pt x="3025865" y="550154"/>
                  <a:pt x="3025438" y="553426"/>
                  <a:pt x="3022451" y="554422"/>
                </a:cubicBezTo>
                <a:cubicBezTo>
                  <a:pt x="3021596" y="553142"/>
                  <a:pt x="3019463" y="551719"/>
                  <a:pt x="3018608" y="549158"/>
                </a:cubicBezTo>
                <a:cubicBezTo>
                  <a:pt x="3019889" y="547166"/>
                  <a:pt x="3021170" y="546455"/>
                  <a:pt x="3022237" y="546313"/>
                </a:cubicBezTo>
                <a:close/>
                <a:moveTo>
                  <a:pt x="2882020" y="545886"/>
                </a:moveTo>
                <a:cubicBezTo>
                  <a:pt x="2883301" y="552146"/>
                  <a:pt x="2885008" y="563243"/>
                  <a:pt x="2874124" y="565946"/>
                </a:cubicBezTo>
                <a:cubicBezTo>
                  <a:pt x="2873270" y="564666"/>
                  <a:pt x="2872416" y="563243"/>
                  <a:pt x="2871349" y="561962"/>
                </a:cubicBezTo>
                <a:cubicBezTo>
                  <a:pt x="2876898" y="556414"/>
                  <a:pt x="2877965" y="550438"/>
                  <a:pt x="2882020" y="545886"/>
                </a:cubicBezTo>
                <a:close/>
                <a:moveTo>
                  <a:pt x="3266603" y="544748"/>
                </a:moveTo>
                <a:cubicBezTo>
                  <a:pt x="3269163" y="546455"/>
                  <a:pt x="3271724" y="546881"/>
                  <a:pt x="3274286" y="548447"/>
                </a:cubicBezTo>
                <a:cubicBezTo>
                  <a:pt x="3276847" y="555133"/>
                  <a:pt x="3273432" y="559544"/>
                  <a:pt x="3269163" y="560539"/>
                </a:cubicBezTo>
                <a:cubicBezTo>
                  <a:pt x="3264895" y="561678"/>
                  <a:pt x="3259773" y="559544"/>
                  <a:pt x="3258492" y="553142"/>
                </a:cubicBezTo>
                <a:cubicBezTo>
                  <a:pt x="3261267" y="548731"/>
                  <a:pt x="3264468" y="546597"/>
                  <a:pt x="3266603" y="544748"/>
                </a:cubicBezTo>
                <a:close/>
                <a:moveTo>
                  <a:pt x="3203003" y="543467"/>
                </a:moveTo>
                <a:cubicBezTo>
                  <a:pt x="3211540" y="553995"/>
                  <a:pt x="3200869" y="570214"/>
                  <a:pt x="3194040" y="577043"/>
                </a:cubicBezTo>
                <a:cubicBezTo>
                  <a:pt x="3194253" y="571494"/>
                  <a:pt x="3194467" y="565946"/>
                  <a:pt x="3195534" y="560397"/>
                </a:cubicBezTo>
                <a:cubicBezTo>
                  <a:pt x="3196601" y="554849"/>
                  <a:pt x="3198522" y="549158"/>
                  <a:pt x="3203003" y="543467"/>
                </a:cubicBezTo>
                <a:close/>
                <a:moveTo>
                  <a:pt x="3125959" y="543467"/>
                </a:moveTo>
                <a:cubicBezTo>
                  <a:pt x="3127026" y="543752"/>
                  <a:pt x="3128306" y="544748"/>
                  <a:pt x="3129373" y="545886"/>
                </a:cubicBezTo>
                <a:cubicBezTo>
                  <a:pt x="3131935" y="548447"/>
                  <a:pt x="3130868" y="550723"/>
                  <a:pt x="3130868" y="550723"/>
                </a:cubicBezTo>
                <a:cubicBezTo>
                  <a:pt x="3128733" y="554138"/>
                  <a:pt x="3125318" y="555133"/>
                  <a:pt x="3121690" y="552573"/>
                </a:cubicBezTo>
                <a:cubicBezTo>
                  <a:pt x="3120410" y="550154"/>
                  <a:pt x="3121477" y="547878"/>
                  <a:pt x="3122544" y="545601"/>
                </a:cubicBezTo>
                <a:cubicBezTo>
                  <a:pt x="3123611" y="543894"/>
                  <a:pt x="3124678" y="543325"/>
                  <a:pt x="3125959" y="543467"/>
                </a:cubicBezTo>
                <a:close/>
                <a:moveTo>
                  <a:pt x="3449290" y="542614"/>
                </a:moveTo>
                <a:cubicBezTo>
                  <a:pt x="3449717" y="542614"/>
                  <a:pt x="3450143" y="542898"/>
                  <a:pt x="3450784" y="544036"/>
                </a:cubicBezTo>
                <a:cubicBezTo>
                  <a:pt x="3451851" y="544606"/>
                  <a:pt x="3452064" y="546313"/>
                  <a:pt x="3452918" y="546881"/>
                </a:cubicBezTo>
                <a:cubicBezTo>
                  <a:pt x="3452918" y="546881"/>
                  <a:pt x="3452705" y="547736"/>
                  <a:pt x="3452278" y="548731"/>
                </a:cubicBezTo>
                <a:cubicBezTo>
                  <a:pt x="3451851" y="549727"/>
                  <a:pt x="3451210" y="550723"/>
                  <a:pt x="3450357" y="551008"/>
                </a:cubicBezTo>
                <a:cubicBezTo>
                  <a:pt x="3448009" y="552430"/>
                  <a:pt x="3447156" y="547593"/>
                  <a:pt x="3446302" y="547024"/>
                </a:cubicBezTo>
                <a:cubicBezTo>
                  <a:pt x="3446089" y="545317"/>
                  <a:pt x="3445662" y="543752"/>
                  <a:pt x="3447369" y="543183"/>
                </a:cubicBezTo>
                <a:cubicBezTo>
                  <a:pt x="3448223" y="543041"/>
                  <a:pt x="3448650" y="542614"/>
                  <a:pt x="3449290" y="542614"/>
                </a:cubicBezTo>
                <a:close/>
                <a:moveTo>
                  <a:pt x="2249017" y="542329"/>
                </a:moveTo>
                <a:cubicBezTo>
                  <a:pt x="2250725" y="542329"/>
                  <a:pt x="2252431" y="542756"/>
                  <a:pt x="2254353" y="543183"/>
                </a:cubicBezTo>
                <a:cubicBezTo>
                  <a:pt x="2265237" y="546455"/>
                  <a:pt x="2278469" y="557979"/>
                  <a:pt x="2275481" y="567226"/>
                </a:cubicBezTo>
                <a:cubicBezTo>
                  <a:pt x="2265024" y="557552"/>
                  <a:pt x="2254779" y="556414"/>
                  <a:pt x="2244748" y="543183"/>
                </a:cubicBezTo>
                <a:cubicBezTo>
                  <a:pt x="2246029" y="542614"/>
                  <a:pt x="2247310" y="542329"/>
                  <a:pt x="2249017" y="542329"/>
                </a:cubicBezTo>
                <a:close/>
                <a:moveTo>
                  <a:pt x="2189046" y="535215"/>
                </a:moveTo>
                <a:cubicBezTo>
                  <a:pt x="2204199" y="548304"/>
                  <a:pt x="2217431" y="566231"/>
                  <a:pt x="2219138" y="595395"/>
                </a:cubicBezTo>
                <a:cubicBezTo>
                  <a:pt x="2213696" y="601015"/>
                  <a:pt x="2208094" y="602900"/>
                  <a:pt x="2202812" y="602135"/>
                </a:cubicBezTo>
                <a:lnTo>
                  <a:pt x="2197984" y="599066"/>
                </a:lnTo>
                <a:lnTo>
                  <a:pt x="2195537" y="602104"/>
                </a:lnTo>
                <a:cubicBezTo>
                  <a:pt x="2192543" y="600400"/>
                  <a:pt x="2191407" y="598697"/>
                  <a:pt x="2191304" y="596683"/>
                </a:cubicBezTo>
                <a:lnTo>
                  <a:pt x="2191758" y="595108"/>
                </a:lnTo>
                <a:lnTo>
                  <a:pt x="2188406" y="592977"/>
                </a:lnTo>
                <a:cubicBezTo>
                  <a:pt x="2174320" y="576332"/>
                  <a:pt x="2168771" y="542898"/>
                  <a:pt x="2189046" y="535215"/>
                </a:cubicBezTo>
                <a:close/>
                <a:moveTo>
                  <a:pt x="2886075" y="525541"/>
                </a:moveTo>
                <a:cubicBezTo>
                  <a:pt x="2890130" y="530236"/>
                  <a:pt x="2892051" y="536923"/>
                  <a:pt x="2892051" y="543041"/>
                </a:cubicBezTo>
                <a:lnTo>
                  <a:pt x="2891411" y="548873"/>
                </a:lnTo>
                <a:lnTo>
                  <a:pt x="2895466" y="550012"/>
                </a:lnTo>
                <a:cubicBezTo>
                  <a:pt x="2898240" y="551292"/>
                  <a:pt x="2900801" y="553000"/>
                  <a:pt x="2903149" y="554280"/>
                </a:cubicBezTo>
                <a:cubicBezTo>
                  <a:pt x="2898667" y="556414"/>
                  <a:pt x="2893972" y="553853"/>
                  <a:pt x="2889703" y="561962"/>
                </a:cubicBezTo>
                <a:lnTo>
                  <a:pt x="2887782" y="556983"/>
                </a:lnTo>
                <a:lnTo>
                  <a:pt x="2887569" y="557694"/>
                </a:lnTo>
                <a:cubicBezTo>
                  <a:pt x="2879032" y="548020"/>
                  <a:pt x="2882233" y="532370"/>
                  <a:pt x="2886075" y="525541"/>
                </a:cubicBezTo>
                <a:close/>
                <a:moveTo>
                  <a:pt x="2845098" y="522127"/>
                </a:moveTo>
                <a:cubicBezTo>
                  <a:pt x="2851288" y="528245"/>
                  <a:pt x="2840830" y="541191"/>
                  <a:pt x="2839336" y="544606"/>
                </a:cubicBezTo>
                <a:cubicBezTo>
                  <a:pt x="2839336" y="544606"/>
                  <a:pt x="2839123" y="545886"/>
                  <a:pt x="2837842" y="547024"/>
                </a:cubicBezTo>
                <a:cubicBezTo>
                  <a:pt x="2836562" y="549443"/>
                  <a:pt x="2835708" y="545886"/>
                  <a:pt x="2834427" y="547024"/>
                </a:cubicBezTo>
                <a:cubicBezTo>
                  <a:pt x="2837842" y="537492"/>
                  <a:pt x="2836349" y="529241"/>
                  <a:pt x="2836349" y="529241"/>
                </a:cubicBezTo>
                <a:cubicBezTo>
                  <a:pt x="2837629" y="526822"/>
                  <a:pt x="2838696" y="526822"/>
                  <a:pt x="2837629" y="526822"/>
                </a:cubicBezTo>
                <a:cubicBezTo>
                  <a:pt x="2840190" y="524403"/>
                  <a:pt x="2842751" y="520989"/>
                  <a:pt x="2845098" y="522127"/>
                </a:cubicBezTo>
                <a:close/>
                <a:moveTo>
                  <a:pt x="2332678" y="520989"/>
                </a:moveTo>
                <a:cubicBezTo>
                  <a:pt x="2336946" y="520135"/>
                  <a:pt x="2341214" y="521842"/>
                  <a:pt x="2342495" y="525684"/>
                </a:cubicBezTo>
                <a:cubicBezTo>
                  <a:pt x="2343562" y="528102"/>
                  <a:pt x="2343135" y="531517"/>
                  <a:pt x="2340788" y="535642"/>
                </a:cubicBezTo>
                <a:cubicBezTo>
                  <a:pt x="2333318" y="532940"/>
                  <a:pt x="2328409" y="536638"/>
                  <a:pt x="2323714" y="531232"/>
                </a:cubicBezTo>
                <a:cubicBezTo>
                  <a:pt x="2324567" y="524972"/>
                  <a:pt x="2328623" y="521700"/>
                  <a:pt x="2332678" y="520989"/>
                </a:cubicBezTo>
                <a:close/>
                <a:moveTo>
                  <a:pt x="3301177" y="520562"/>
                </a:moveTo>
                <a:cubicBezTo>
                  <a:pt x="3302884" y="520704"/>
                  <a:pt x="3304592" y="521131"/>
                  <a:pt x="3306299" y="521700"/>
                </a:cubicBezTo>
                <a:cubicBezTo>
                  <a:pt x="3310994" y="523549"/>
                  <a:pt x="3315475" y="527249"/>
                  <a:pt x="3319317" y="533224"/>
                </a:cubicBezTo>
                <a:cubicBezTo>
                  <a:pt x="3319958" y="536212"/>
                  <a:pt x="3319317" y="539484"/>
                  <a:pt x="3317823" y="542614"/>
                </a:cubicBezTo>
                <a:cubicBezTo>
                  <a:pt x="3312915" y="552146"/>
                  <a:pt x="3299469" y="560824"/>
                  <a:pt x="3291146" y="558406"/>
                </a:cubicBezTo>
                <a:cubicBezTo>
                  <a:pt x="3287304" y="553568"/>
                  <a:pt x="3283250" y="548731"/>
                  <a:pt x="3279407" y="543752"/>
                </a:cubicBezTo>
                <a:cubicBezTo>
                  <a:pt x="3278341" y="532086"/>
                  <a:pt x="3286237" y="522554"/>
                  <a:pt x="3296054" y="520704"/>
                </a:cubicBezTo>
                <a:cubicBezTo>
                  <a:pt x="3297762" y="520420"/>
                  <a:pt x="3299469" y="520420"/>
                  <a:pt x="3301177" y="520562"/>
                </a:cubicBezTo>
                <a:close/>
                <a:moveTo>
                  <a:pt x="2291914" y="520277"/>
                </a:moveTo>
                <a:cubicBezTo>
                  <a:pt x="2296610" y="525257"/>
                  <a:pt x="2296823" y="530094"/>
                  <a:pt x="2294902" y="535927"/>
                </a:cubicBezTo>
                <a:cubicBezTo>
                  <a:pt x="2292555" y="535927"/>
                  <a:pt x="2289140" y="532228"/>
                  <a:pt x="2286793" y="529667"/>
                </a:cubicBezTo>
                <a:cubicBezTo>
                  <a:pt x="2286579" y="525968"/>
                  <a:pt x="2288713" y="522412"/>
                  <a:pt x="2291914" y="520277"/>
                </a:cubicBezTo>
                <a:close/>
                <a:moveTo>
                  <a:pt x="3447582" y="519139"/>
                </a:moveTo>
                <a:cubicBezTo>
                  <a:pt x="3449077" y="519993"/>
                  <a:pt x="3451638" y="520420"/>
                  <a:pt x="3453131" y="522412"/>
                </a:cubicBezTo>
                <a:cubicBezTo>
                  <a:pt x="3453131" y="528387"/>
                  <a:pt x="3450143" y="531801"/>
                  <a:pt x="3445448" y="533082"/>
                </a:cubicBezTo>
                <a:cubicBezTo>
                  <a:pt x="3439899" y="529952"/>
                  <a:pt x="3441820" y="520847"/>
                  <a:pt x="3447582" y="519139"/>
                </a:cubicBezTo>
                <a:close/>
                <a:moveTo>
                  <a:pt x="3028213" y="517859"/>
                </a:moveTo>
                <a:cubicBezTo>
                  <a:pt x="3028639" y="520562"/>
                  <a:pt x="3030134" y="522269"/>
                  <a:pt x="3030560" y="524830"/>
                </a:cubicBezTo>
                <a:cubicBezTo>
                  <a:pt x="3027146" y="528102"/>
                  <a:pt x="3027359" y="534078"/>
                  <a:pt x="3020316" y="532797"/>
                </a:cubicBezTo>
                <a:cubicBezTo>
                  <a:pt x="3015834" y="527533"/>
                  <a:pt x="3020103" y="517432"/>
                  <a:pt x="3028213" y="517859"/>
                </a:cubicBezTo>
                <a:close/>
                <a:moveTo>
                  <a:pt x="3389532" y="517575"/>
                </a:moveTo>
                <a:cubicBezTo>
                  <a:pt x="3392520" y="518712"/>
                  <a:pt x="3394228" y="516436"/>
                  <a:pt x="3397215" y="517575"/>
                </a:cubicBezTo>
                <a:cubicBezTo>
                  <a:pt x="3393160" y="527249"/>
                  <a:pt x="3389746" y="537919"/>
                  <a:pt x="3382063" y="537777"/>
                </a:cubicBezTo>
                <a:cubicBezTo>
                  <a:pt x="3378648" y="531943"/>
                  <a:pt x="3385051" y="522412"/>
                  <a:pt x="3389532" y="517575"/>
                </a:cubicBezTo>
                <a:close/>
                <a:moveTo>
                  <a:pt x="2175174" y="517005"/>
                </a:moveTo>
                <a:cubicBezTo>
                  <a:pt x="2176881" y="517290"/>
                  <a:pt x="2178375" y="518428"/>
                  <a:pt x="2179229" y="520847"/>
                </a:cubicBezTo>
                <a:cubicBezTo>
                  <a:pt x="2179656" y="522412"/>
                  <a:pt x="2180296" y="524119"/>
                  <a:pt x="2179229" y="523549"/>
                </a:cubicBezTo>
                <a:cubicBezTo>
                  <a:pt x="2178802" y="524546"/>
                  <a:pt x="2177734" y="523976"/>
                  <a:pt x="2176241" y="524403"/>
                </a:cubicBezTo>
                <a:cubicBezTo>
                  <a:pt x="2173680" y="524261"/>
                  <a:pt x="2170478" y="522412"/>
                  <a:pt x="2170051" y="520847"/>
                </a:cubicBezTo>
                <a:cubicBezTo>
                  <a:pt x="2169411" y="519282"/>
                  <a:pt x="2170051" y="518143"/>
                  <a:pt x="2170051" y="518143"/>
                </a:cubicBezTo>
                <a:cubicBezTo>
                  <a:pt x="2171759" y="517148"/>
                  <a:pt x="2173680" y="516721"/>
                  <a:pt x="2175174" y="517005"/>
                </a:cubicBezTo>
                <a:close/>
                <a:moveTo>
                  <a:pt x="3504565" y="511741"/>
                </a:moveTo>
                <a:cubicBezTo>
                  <a:pt x="3505420" y="511883"/>
                  <a:pt x="3506486" y="511883"/>
                  <a:pt x="3507553" y="511883"/>
                </a:cubicBezTo>
                <a:cubicBezTo>
                  <a:pt x="3508621" y="511883"/>
                  <a:pt x="3509901" y="512168"/>
                  <a:pt x="3511182" y="512737"/>
                </a:cubicBezTo>
                <a:cubicBezTo>
                  <a:pt x="3513956" y="518286"/>
                  <a:pt x="3512889" y="522412"/>
                  <a:pt x="3509261" y="525257"/>
                </a:cubicBezTo>
                <a:cubicBezTo>
                  <a:pt x="3502645" y="524403"/>
                  <a:pt x="3500084" y="515440"/>
                  <a:pt x="3504565" y="511741"/>
                </a:cubicBezTo>
                <a:close/>
                <a:moveTo>
                  <a:pt x="3069830" y="511599"/>
                </a:moveTo>
                <a:cubicBezTo>
                  <a:pt x="3076018" y="518428"/>
                  <a:pt x="3083915" y="520562"/>
                  <a:pt x="3083915" y="520562"/>
                </a:cubicBezTo>
                <a:cubicBezTo>
                  <a:pt x="3084982" y="522696"/>
                  <a:pt x="3084555" y="523692"/>
                  <a:pt x="3085196" y="522696"/>
                </a:cubicBezTo>
                <a:cubicBezTo>
                  <a:pt x="3085622" y="525968"/>
                  <a:pt x="3087117" y="529809"/>
                  <a:pt x="3084769" y="531375"/>
                </a:cubicBezTo>
                <a:cubicBezTo>
                  <a:pt x="3076232" y="534505"/>
                  <a:pt x="3071323" y="519709"/>
                  <a:pt x="3069189" y="517005"/>
                </a:cubicBezTo>
                <a:cubicBezTo>
                  <a:pt x="3069189" y="517005"/>
                  <a:pt x="3068122" y="516294"/>
                  <a:pt x="3067909" y="514729"/>
                </a:cubicBezTo>
                <a:cubicBezTo>
                  <a:pt x="3066842" y="512453"/>
                  <a:pt x="3070256" y="513306"/>
                  <a:pt x="3069830" y="511599"/>
                </a:cubicBezTo>
                <a:close/>
                <a:moveTo>
                  <a:pt x="2736255" y="511599"/>
                </a:moveTo>
                <a:cubicBezTo>
                  <a:pt x="2741163" y="518001"/>
                  <a:pt x="2748633" y="510461"/>
                  <a:pt x="2749700" y="520704"/>
                </a:cubicBezTo>
                <a:cubicBezTo>
                  <a:pt x="2748206" y="525257"/>
                  <a:pt x="2744578" y="528956"/>
                  <a:pt x="2736468" y="531375"/>
                </a:cubicBezTo>
                <a:cubicBezTo>
                  <a:pt x="2727291" y="523692"/>
                  <a:pt x="2731772" y="517575"/>
                  <a:pt x="2736255" y="511599"/>
                </a:cubicBezTo>
                <a:close/>
                <a:moveTo>
                  <a:pt x="2232157" y="508754"/>
                </a:moveTo>
                <a:cubicBezTo>
                  <a:pt x="2232584" y="510318"/>
                  <a:pt x="2235999" y="512310"/>
                  <a:pt x="2237706" y="514587"/>
                </a:cubicBezTo>
                <a:cubicBezTo>
                  <a:pt x="2237279" y="515583"/>
                  <a:pt x="2237919" y="517148"/>
                  <a:pt x="2237492" y="518143"/>
                </a:cubicBezTo>
                <a:cubicBezTo>
                  <a:pt x="2236212" y="517575"/>
                  <a:pt x="2233651" y="517290"/>
                  <a:pt x="2234078" y="516294"/>
                </a:cubicBezTo>
                <a:cubicBezTo>
                  <a:pt x="2233011" y="515725"/>
                  <a:pt x="2233864" y="513591"/>
                  <a:pt x="2233864" y="513591"/>
                </a:cubicBezTo>
                <a:cubicBezTo>
                  <a:pt x="2232797" y="513022"/>
                  <a:pt x="2231730" y="512453"/>
                  <a:pt x="2231090" y="510746"/>
                </a:cubicBezTo>
                <a:cubicBezTo>
                  <a:pt x="2232797" y="510461"/>
                  <a:pt x="2231516" y="509750"/>
                  <a:pt x="2232157" y="508754"/>
                </a:cubicBezTo>
                <a:close/>
                <a:moveTo>
                  <a:pt x="2244748" y="508469"/>
                </a:moveTo>
                <a:cubicBezTo>
                  <a:pt x="2245389" y="508611"/>
                  <a:pt x="2245816" y="509181"/>
                  <a:pt x="2246029" y="510034"/>
                </a:cubicBezTo>
                <a:cubicBezTo>
                  <a:pt x="2246029" y="510034"/>
                  <a:pt x="2246669" y="511741"/>
                  <a:pt x="2247097" y="513448"/>
                </a:cubicBezTo>
                <a:cubicBezTo>
                  <a:pt x="2247737" y="515013"/>
                  <a:pt x="2248804" y="515583"/>
                  <a:pt x="2248804" y="515583"/>
                </a:cubicBezTo>
                <a:cubicBezTo>
                  <a:pt x="2249230" y="517290"/>
                  <a:pt x="2248804" y="518428"/>
                  <a:pt x="2247310" y="518855"/>
                </a:cubicBezTo>
                <a:cubicBezTo>
                  <a:pt x="2247310" y="518855"/>
                  <a:pt x="2245602" y="516578"/>
                  <a:pt x="2245602" y="516578"/>
                </a:cubicBezTo>
                <a:cubicBezTo>
                  <a:pt x="2244535" y="513164"/>
                  <a:pt x="2244108" y="511599"/>
                  <a:pt x="2242401" y="509323"/>
                </a:cubicBezTo>
                <a:cubicBezTo>
                  <a:pt x="2243468" y="508469"/>
                  <a:pt x="2244108" y="508185"/>
                  <a:pt x="2244748" y="508469"/>
                </a:cubicBezTo>
                <a:close/>
                <a:moveTo>
                  <a:pt x="3117422" y="507900"/>
                </a:moveTo>
                <a:cubicBezTo>
                  <a:pt x="3119556" y="516578"/>
                  <a:pt x="3120197" y="523834"/>
                  <a:pt x="3118276" y="529952"/>
                </a:cubicBezTo>
                <a:lnTo>
                  <a:pt x="3114007" y="536496"/>
                </a:lnTo>
                <a:lnTo>
                  <a:pt x="3114434" y="537777"/>
                </a:lnTo>
                <a:cubicBezTo>
                  <a:pt x="3114647" y="539057"/>
                  <a:pt x="3114007" y="539768"/>
                  <a:pt x="3112514" y="540195"/>
                </a:cubicBezTo>
                <a:cubicBezTo>
                  <a:pt x="3111446" y="540907"/>
                  <a:pt x="3110379" y="540907"/>
                  <a:pt x="3109526" y="540622"/>
                </a:cubicBezTo>
                <a:lnTo>
                  <a:pt x="3109312" y="540622"/>
                </a:lnTo>
                <a:lnTo>
                  <a:pt x="3102696" y="544606"/>
                </a:lnTo>
                <a:lnTo>
                  <a:pt x="3101202" y="548731"/>
                </a:lnTo>
                <a:lnTo>
                  <a:pt x="3099281" y="552715"/>
                </a:lnTo>
                <a:lnTo>
                  <a:pt x="3100562" y="551719"/>
                </a:lnTo>
                <a:cubicBezTo>
                  <a:pt x="3105471" y="548731"/>
                  <a:pt x="3113367" y="547451"/>
                  <a:pt x="3117635" y="553142"/>
                </a:cubicBezTo>
                <a:cubicBezTo>
                  <a:pt x="3113367" y="557694"/>
                  <a:pt x="3109739" y="558690"/>
                  <a:pt x="3106538" y="558406"/>
                </a:cubicBezTo>
                <a:lnTo>
                  <a:pt x="3097361" y="555133"/>
                </a:lnTo>
                <a:lnTo>
                  <a:pt x="3092665" y="558690"/>
                </a:lnTo>
                <a:cubicBezTo>
                  <a:pt x="3092239" y="555418"/>
                  <a:pt x="3084769" y="556556"/>
                  <a:pt x="3083915" y="551577"/>
                </a:cubicBezTo>
                <a:cubicBezTo>
                  <a:pt x="3079860" y="537207"/>
                  <a:pt x="3083915" y="535215"/>
                  <a:pt x="3091385" y="529667"/>
                </a:cubicBezTo>
                <a:cubicBezTo>
                  <a:pt x="3090745" y="530663"/>
                  <a:pt x="3092239" y="530236"/>
                  <a:pt x="3092239" y="530236"/>
                </a:cubicBezTo>
                <a:cubicBezTo>
                  <a:pt x="3095440" y="529383"/>
                  <a:pt x="3090531" y="524688"/>
                  <a:pt x="3094586" y="522839"/>
                </a:cubicBezTo>
                <a:cubicBezTo>
                  <a:pt x="3096080" y="522127"/>
                  <a:pt x="3097788" y="522127"/>
                  <a:pt x="3099281" y="522412"/>
                </a:cubicBezTo>
                <a:lnTo>
                  <a:pt x="3106538" y="512737"/>
                </a:lnTo>
                <a:cubicBezTo>
                  <a:pt x="3109952" y="510034"/>
                  <a:pt x="3113794" y="508185"/>
                  <a:pt x="3117422" y="507900"/>
                </a:cubicBezTo>
                <a:close/>
                <a:moveTo>
                  <a:pt x="3161387" y="506904"/>
                </a:moveTo>
                <a:cubicBezTo>
                  <a:pt x="3161813" y="509323"/>
                  <a:pt x="3163094" y="514018"/>
                  <a:pt x="3162454" y="516436"/>
                </a:cubicBezTo>
                <a:cubicBezTo>
                  <a:pt x="3162027" y="517290"/>
                  <a:pt x="3161600" y="518001"/>
                  <a:pt x="3160960" y="518143"/>
                </a:cubicBezTo>
                <a:cubicBezTo>
                  <a:pt x="3160319" y="514871"/>
                  <a:pt x="3157972" y="510461"/>
                  <a:pt x="3161387" y="506904"/>
                </a:cubicBezTo>
                <a:close/>
                <a:moveTo>
                  <a:pt x="2950741" y="506051"/>
                </a:moveTo>
                <a:cubicBezTo>
                  <a:pt x="2961412" y="505339"/>
                  <a:pt x="2971870" y="509607"/>
                  <a:pt x="2976138" y="519139"/>
                </a:cubicBezTo>
                <a:cubicBezTo>
                  <a:pt x="2971870" y="528102"/>
                  <a:pt x="2965254" y="533793"/>
                  <a:pt x="2957997" y="536638"/>
                </a:cubicBezTo>
                <a:cubicBezTo>
                  <a:pt x="2945619" y="541191"/>
                  <a:pt x="2931320" y="537492"/>
                  <a:pt x="2923210" y="526253"/>
                </a:cubicBezTo>
                <a:cubicBezTo>
                  <a:pt x="2924064" y="524830"/>
                  <a:pt x="2925131" y="523407"/>
                  <a:pt x="2923637" y="522554"/>
                </a:cubicBezTo>
                <a:cubicBezTo>
                  <a:pt x="2928972" y="512453"/>
                  <a:pt x="2940070" y="506762"/>
                  <a:pt x="2950741" y="506051"/>
                </a:cubicBezTo>
                <a:close/>
                <a:moveTo>
                  <a:pt x="2270786" y="505766"/>
                </a:moveTo>
                <a:cubicBezTo>
                  <a:pt x="2272280" y="505339"/>
                  <a:pt x="2272707" y="507046"/>
                  <a:pt x="2273773" y="507616"/>
                </a:cubicBezTo>
                <a:cubicBezTo>
                  <a:pt x="2275268" y="509750"/>
                  <a:pt x="2275055" y="518570"/>
                  <a:pt x="2273560" y="519139"/>
                </a:cubicBezTo>
                <a:cubicBezTo>
                  <a:pt x="2272066" y="516294"/>
                  <a:pt x="2269292" y="511315"/>
                  <a:pt x="2269292" y="508185"/>
                </a:cubicBezTo>
                <a:cubicBezTo>
                  <a:pt x="2269505" y="507046"/>
                  <a:pt x="2269932" y="506335"/>
                  <a:pt x="2270786" y="505766"/>
                </a:cubicBezTo>
                <a:close/>
                <a:moveTo>
                  <a:pt x="3076446" y="505481"/>
                </a:moveTo>
                <a:cubicBezTo>
                  <a:pt x="3076659" y="507046"/>
                  <a:pt x="3076659" y="507046"/>
                  <a:pt x="3076018" y="508185"/>
                </a:cubicBezTo>
                <a:cubicBezTo>
                  <a:pt x="3074525" y="508611"/>
                  <a:pt x="3073458" y="508042"/>
                  <a:pt x="3071963" y="508469"/>
                </a:cubicBezTo>
                <a:cubicBezTo>
                  <a:pt x="3072390" y="511741"/>
                  <a:pt x="3073031" y="510746"/>
                  <a:pt x="3071537" y="511173"/>
                </a:cubicBezTo>
                <a:cubicBezTo>
                  <a:pt x="3071537" y="511173"/>
                  <a:pt x="3071537" y="511173"/>
                  <a:pt x="3069830" y="511599"/>
                </a:cubicBezTo>
                <a:cubicBezTo>
                  <a:pt x="3069830" y="511599"/>
                  <a:pt x="3069403" y="512595"/>
                  <a:pt x="3067909" y="508754"/>
                </a:cubicBezTo>
                <a:cubicBezTo>
                  <a:pt x="3069403" y="508327"/>
                  <a:pt x="3074098" y="507046"/>
                  <a:pt x="3074098" y="507046"/>
                </a:cubicBezTo>
                <a:cubicBezTo>
                  <a:pt x="3074951" y="505909"/>
                  <a:pt x="3074951" y="505909"/>
                  <a:pt x="3076446" y="505481"/>
                </a:cubicBezTo>
                <a:close/>
                <a:moveTo>
                  <a:pt x="2178589" y="504628"/>
                </a:moveTo>
                <a:lnTo>
                  <a:pt x="2180296" y="509607"/>
                </a:lnTo>
                <a:cubicBezTo>
                  <a:pt x="2178802" y="510034"/>
                  <a:pt x="2176241" y="509892"/>
                  <a:pt x="2175601" y="508327"/>
                </a:cubicBezTo>
                <a:cubicBezTo>
                  <a:pt x="2174960" y="507189"/>
                  <a:pt x="2175174" y="506762"/>
                  <a:pt x="2175814" y="506335"/>
                </a:cubicBezTo>
                <a:cubicBezTo>
                  <a:pt x="2176454" y="505766"/>
                  <a:pt x="2177734" y="505481"/>
                  <a:pt x="2178589" y="504628"/>
                </a:cubicBezTo>
                <a:close/>
                <a:moveTo>
                  <a:pt x="3020530" y="496803"/>
                </a:moveTo>
                <a:cubicBezTo>
                  <a:pt x="3022451" y="498795"/>
                  <a:pt x="3023304" y="500787"/>
                  <a:pt x="3023731" y="502779"/>
                </a:cubicBezTo>
                <a:cubicBezTo>
                  <a:pt x="3024371" y="504628"/>
                  <a:pt x="3024584" y="506477"/>
                  <a:pt x="3025438" y="508469"/>
                </a:cubicBezTo>
                <a:cubicBezTo>
                  <a:pt x="3017542" y="518143"/>
                  <a:pt x="3010925" y="513875"/>
                  <a:pt x="3010072" y="507900"/>
                </a:cubicBezTo>
                <a:cubicBezTo>
                  <a:pt x="3009859" y="506051"/>
                  <a:pt x="3010285" y="503917"/>
                  <a:pt x="3011352" y="502067"/>
                </a:cubicBezTo>
                <a:cubicBezTo>
                  <a:pt x="3012846" y="499507"/>
                  <a:pt x="3015834" y="497372"/>
                  <a:pt x="3020530" y="496803"/>
                </a:cubicBezTo>
                <a:close/>
                <a:moveTo>
                  <a:pt x="2924917" y="495950"/>
                </a:moveTo>
                <a:cubicBezTo>
                  <a:pt x="2926198" y="495807"/>
                  <a:pt x="2927692" y="496092"/>
                  <a:pt x="2928972" y="496518"/>
                </a:cubicBezTo>
                <a:cubicBezTo>
                  <a:pt x="2931533" y="498795"/>
                  <a:pt x="2931747" y="501214"/>
                  <a:pt x="2930893" y="502494"/>
                </a:cubicBezTo>
                <a:lnTo>
                  <a:pt x="2925557" y="508185"/>
                </a:lnTo>
                <a:lnTo>
                  <a:pt x="2925771" y="509038"/>
                </a:lnTo>
                <a:cubicBezTo>
                  <a:pt x="2924917" y="512880"/>
                  <a:pt x="2918301" y="514018"/>
                  <a:pt x="2914246" y="512453"/>
                </a:cubicBezTo>
                <a:lnTo>
                  <a:pt x="2911899" y="510746"/>
                </a:lnTo>
                <a:lnTo>
                  <a:pt x="2911472" y="510746"/>
                </a:lnTo>
                <a:cubicBezTo>
                  <a:pt x="2907630" y="507473"/>
                  <a:pt x="2907630" y="507473"/>
                  <a:pt x="2912326" y="499933"/>
                </a:cubicBezTo>
                <a:cubicBezTo>
                  <a:pt x="2913179" y="498652"/>
                  <a:pt x="2914460" y="497799"/>
                  <a:pt x="2915954" y="497230"/>
                </a:cubicBezTo>
                <a:cubicBezTo>
                  <a:pt x="2917448" y="496661"/>
                  <a:pt x="2919155" y="496518"/>
                  <a:pt x="2921076" y="497088"/>
                </a:cubicBezTo>
                <a:cubicBezTo>
                  <a:pt x="2922143" y="496376"/>
                  <a:pt x="2923424" y="496092"/>
                  <a:pt x="2924917" y="495950"/>
                </a:cubicBezTo>
                <a:close/>
                <a:moveTo>
                  <a:pt x="3095867" y="495665"/>
                </a:moveTo>
                <a:cubicBezTo>
                  <a:pt x="3096720" y="496234"/>
                  <a:pt x="3096934" y="496234"/>
                  <a:pt x="3096934" y="496234"/>
                </a:cubicBezTo>
                <a:cubicBezTo>
                  <a:pt x="3097361" y="497372"/>
                  <a:pt x="3097147" y="498368"/>
                  <a:pt x="3096293" y="499222"/>
                </a:cubicBezTo>
                <a:cubicBezTo>
                  <a:pt x="3095226" y="500217"/>
                  <a:pt x="3093732" y="500929"/>
                  <a:pt x="3091812" y="501925"/>
                </a:cubicBezTo>
                <a:cubicBezTo>
                  <a:pt x="3087757" y="503917"/>
                  <a:pt x="3082208" y="504628"/>
                  <a:pt x="3080501" y="505054"/>
                </a:cubicBezTo>
                <a:cubicBezTo>
                  <a:pt x="3078793" y="505624"/>
                  <a:pt x="3078153" y="506619"/>
                  <a:pt x="3078153" y="506619"/>
                </a:cubicBezTo>
                <a:cubicBezTo>
                  <a:pt x="3076872" y="504344"/>
                  <a:pt x="3092025" y="497515"/>
                  <a:pt x="3095867" y="495665"/>
                </a:cubicBezTo>
                <a:close/>
                <a:moveTo>
                  <a:pt x="3499657" y="493246"/>
                </a:moveTo>
                <a:cubicBezTo>
                  <a:pt x="3496669" y="505054"/>
                  <a:pt x="3469565" y="516010"/>
                  <a:pt x="3463589" y="504770"/>
                </a:cubicBezTo>
                <a:cubicBezTo>
                  <a:pt x="3477034" y="501782"/>
                  <a:pt x="3484291" y="493531"/>
                  <a:pt x="3499657" y="493246"/>
                </a:cubicBezTo>
                <a:close/>
                <a:moveTo>
                  <a:pt x="3227120" y="493246"/>
                </a:moveTo>
                <a:cubicBezTo>
                  <a:pt x="3227120" y="493246"/>
                  <a:pt x="3227120" y="493246"/>
                  <a:pt x="3228400" y="494385"/>
                </a:cubicBezTo>
                <a:cubicBezTo>
                  <a:pt x="3226266" y="494527"/>
                  <a:pt x="3225626" y="499364"/>
                  <a:pt x="3223065" y="497088"/>
                </a:cubicBezTo>
                <a:cubicBezTo>
                  <a:pt x="3223919" y="495807"/>
                  <a:pt x="3226266" y="494527"/>
                  <a:pt x="3227120" y="493246"/>
                </a:cubicBezTo>
                <a:close/>
                <a:moveTo>
                  <a:pt x="3197882" y="492108"/>
                </a:moveTo>
                <a:cubicBezTo>
                  <a:pt x="3208339" y="491681"/>
                  <a:pt x="3217516" y="498795"/>
                  <a:pt x="3222211" y="508469"/>
                </a:cubicBezTo>
                <a:cubicBezTo>
                  <a:pt x="3223919" y="512026"/>
                  <a:pt x="3224986" y="515867"/>
                  <a:pt x="3225412" y="519851"/>
                </a:cubicBezTo>
                <a:lnTo>
                  <a:pt x="3224772" y="525684"/>
                </a:lnTo>
                <a:lnTo>
                  <a:pt x="3226266" y="525114"/>
                </a:lnTo>
                <a:cubicBezTo>
                  <a:pt x="3233523" y="524546"/>
                  <a:pt x="3240779" y="528387"/>
                  <a:pt x="3242273" y="538772"/>
                </a:cubicBezTo>
                <a:cubicBezTo>
                  <a:pt x="3238218" y="547166"/>
                  <a:pt x="3220077" y="554280"/>
                  <a:pt x="3213034" y="553710"/>
                </a:cubicBezTo>
                <a:cubicBezTo>
                  <a:pt x="3210686" y="550723"/>
                  <a:pt x="3209406" y="547878"/>
                  <a:pt x="3208765" y="545174"/>
                </a:cubicBezTo>
                <a:lnTo>
                  <a:pt x="3209193" y="537777"/>
                </a:lnTo>
                <a:lnTo>
                  <a:pt x="3207912" y="537492"/>
                </a:lnTo>
                <a:cubicBezTo>
                  <a:pt x="3204284" y="536212"/>
                  <a:pt x="3201296" y="534078"/>
                  <a:pt x="3198735" y="531375"/>
                </a:cubicBezTo>
                <a:lnTo>
                  <a:pt x="3194894" y="525826"/>
                </a:lnTo>
                <a:lnTo>
                  <a:pt x="3193827" y="530948"/>
                </a:lnTo>
                <a:cubicBezTo>
                  <a:pt x="3191692" y="536638"/>
                  <a:pt x="3188064" y="542329"/>
                  <a:pt x="3182728" y="547878"/>
                </a:cubicBezTo>
                <a:cubicBezTo>
                  <a:pt x="3174832" y="547593"/>
                  <a:pt x="3172911" y="541618"/>
                  <a:pt x="3174405" y="534647"/>
                </a:cubicBezTo>
                <a:cubicBezTo>
                  <a:pt x="3176113" y="525826"/>
                  <a:pt x="3183156" y="515725"/>
                  <a:pt x="3190198" y="513448"/>
                </a:cubicBezTo>
                <a:lnTo>
                  <a:pt x="3190838" y="513448"/>
                </a:lnTo>
                <a:lnTo>
                  <a:pt x="3191265" y="503917"/>
                </a:lnTo>
                <a:cubicBezTo>
                  <a:pt x="3191692" y="500502"/>
                  <a:pt x="3192759" y="496945"/>
                  <a:pt x="3194467" y="493531"/>
                </a:cubicBezTo>
                <a:cubicBezTo>
                  <a:pt x="3196174" y="493673"/>
                  <a:pt x="3197668" y="493673"/>
                  <a:pt x="3197882" y="492108"/>
                </a:cubicBezTo>
                <a:close/>
                <a:moveTo>
                  <a:pt x="2902295" y="491824"/>
                </a:moveTo>
                <a:cubicBezTo>
                  <a:pt x="2903362" y="496092"/>
                  <a:pt x="2905710" y="500929"/>
                  <a:pt x="2907844" y="505766"/>
                </a:cubicBezTo>
                <a:cubicBezTo>
                  <a:pt x="2909978" y="510603"/>
                  <a:pt x="2911686" y="515298"/>
                  <a:pt x="2911472" y="519282"/>
                </a:cubicBezTo>
                <a:lnTo>
                  <a:pt x="2909978" y="523549"/>
                </a:lnTo>
                <a:lnTo>
                  <a:pt x="2910618" y="523976"/>
                </a:lnTo>
                <a:cubicBezTo>
                  <a:pt x="2908058" y="526111"/>
                  <a:pt x="2908911" y="528671"/>
                  <a:pt x="2906137" y="530948"/>
                </a:cubicBezTo>
                <a:lnTo>
                  <a:pt x="2903149" y="527533"/>
                </a:lnTo>
                <a:lnTo>
                  <a:pt x="2900801" y="528102"/>
                </a:lnTo>
                <a:lnTo>
                  <a:pt x="2899734" y="536496"/>
                </a:lnTo>
                <a:cubicBezTo>
                  <a:pt x="2899094" y="539484"/>
                  <a:pt x="2898027" y="542187"/>
                  <a:pt x="2896959" y="544463"/>
                </a:cubicBezTo>
                <a:cubicBezTo>
                  <a:pt x="2887142" y="534505"/>
                  <a:pt x="2890130" y="524119"/>
                  <a:pt x="2893331" y="513591"/>
                </a:cubicBezTo>
                <a:cubicBezTo>
                  <a:pt x="2895892" y="514871"/>
                  <a:pt x="2897813" y="516863"/>
                  <a:pt x="2899094" y="519282"/>
                </a:cubicBezTo>
                <a:lnTo>
                  <a:pt x="2899307" y="520420"/>
                </a:lnTo>
                <a:lnTo>
                  <a:pt x="2899520" y="518712"/>
                </a:lnTo>
                <a:cubicBezTo>
                  <a:pt x="2899307" y="508469"/>
                  <a:pt x="2896106" y="498510"/>
                  <a:pt x="2902295" y="491824"/>
                </a:cubicBezTo>
                <a:close/>
                <a:moveTo>
                  <a:pt x="2176454" y="490686"/>
                </a:moveTo>
                <a:cubicBezTo>
                  <a:pt x="2177522" y="490686"/>
                  <a:pt x="2178589" y="490970"/>
                  <a:pt x="2178375" y="491397"/>
                </a:cubicBezTo>
                <a:cubicBezTo>
                  <a:pt x="2178802" y="493104"/>
                  <a:pt x="2179229" y="491966"/>
                  <a:pt x="2180296" y="492535"/>
                </a:cubicBezTo>
                <a:cubicBezTo>
                  <a:pt x="2182004" y="497515"/>
                  <a:pt x="2181790" y="501214"/>
                  <a:pt x="2178162" y="503063"/>
                </a:cubicBezTo>
                <a:cubicBezTo>
                  <a:pt x="2175174" y="503917"/>
                  <a:pt x="2170478" y="505197"/>
                  <a:pt x="2168345" y="501356"/>
                </a:cubicBezTo>
                <a:cubicBezTo>
                  <a:pt x="2168771" y="500360"/>
                  <a:pt x="2167704" y="499791"/>
                  <a:pt x="2168131" y="498652"/>
                </a:cubicBezTo>
                <a:cubicBezTo>
                  <a:pt x="2168131" y="498652"/>
                  <a:pt x="2168131" y="497372"/>
                  <a:pt x="2168771" y="495807"/>
                </a:cubicBezTo>
                <a:cubicBezTo>
                  <a:pt x="2169411" y="494100"/>
                  <a:pt x="2170478" y="492251"/>
                  <a:pt x="2173040" y="491113"/>
                </a:cubicBezTo>
                <a:cubicBezTo>
                  <a:pt x="2173893" y="490828"/>
                  <a:pt x="2175174" y="490686"/>
                  <a:pt x="2176454" y="490686"/>
                </a:cubicBezTo>
                <a:close/>
                <a:moveTo>
                  <a:pt x="3066628" y="490116"/>
                </a:moveTo>
                <a:cubicBezTo>
                  <a:pt x="3069830" y="495238"/>
                  <a:pt x="3075805" y="496092"/>
                  <a:pt x="3078366" y="502209"/>
                </a:cubicBezTo>
                <a:cubicBezTo>
                  <a:pt x="3076659" y="502636"/>
                  <a:pt x="3072604" y="502921"/>
                  <a:pt x="3071323" y="499079"/>
                </a:cubicBezTo>
                <a:cubicBezTo>
                  <a:pt x="3069830" y="495096"/>
                  <a:pt x="3066415" y="494527"/>
                  <a:pt x="3064921" y="490686"/>
                </a:cubicBezTo>
                <a:cubicBezTo>
                  <a:pt x="3064921" y="490686"/>
                  <a:pt x="3064921" y="490543"/>
                  <a:pt x="3066628" y="490116"/>
                </a:cubicBezTo>
                <a:close/>
                <a:moveTo>
                  <a:pt x="2234718" y="489121"/>
                </a:moveTo>
                <a:cubicBezTo>
                  <a:pt x="2236639" y="487698"/>
                  <a:pt x="2238346" y="489832"/>
                  <a:pt x="2239627" y="493104"/>
                </a:cubicBezTo>
                <a:cubicBezTo>
                  <a:pt x="2243255" y="499222"/>
                  <a:pt x="2243042" y="502921"/>
                  <a:pt x="2238346" y="504201"/>
                </a:cubicBezTo>
                <a:cubicBezTo>
                  <a:pt x="2237279" y="503632"/>
                  <a:pt x="2234504" y="500787"/>
                  <a:pt x="2234078" y="501782"/>
                </a:cubicBezTo>
                <a:cubicBezTo>
                  <a:pt x="2232797" y="498083"/>
                  <a:pt x="2231730" y="493815"/>
                  <a:pt x="2232797" y="491113"/>
                </a:cubicBezTo>
                <a:cubicBezTo>
                  <a:pt x="2233224" y="490259"/>
                  <a:pt x="2233864" y="489547"/>
                  <a:pt x="2234718" y="489121"/>
                </a:cubicBezTo>
                <a:close/>
                <a:moveTo>
                  <a:pt x="2040719" y="487556"/>
                </a:moveTo>
                <a:cubicBezTo>
                  <a:pt x="2060354" y="485706"/>
                  <a:pt x="2077641" y="497657"/>
                  <a:pt x="2086605" y="515298"/>
                </a:cubicBezTo>
                <a:lnTo>
                  <a:pt x="2088739" y="522269"/>
                </a:lnTo>
                <a:lnTo>
                  <a:pt x="2090873" y="520989"/>
                </a:lnTo>
                <a:cubicBezTo>
                  <a:pt x="2093861" y="519993"/>
                  <a:pt x="2095568" y="522127"/>
                  <a:pt x="2095568" y="522127"/>
                </a:cubicBezTo>
                <a:cubicBezTo>
                  <a:pt x="2097703" y="526111"/>
                  <a:pt x="2097276" y="529809"/>
                  <a:pt x="2093647" y="531801"/>
                </a:cubicBezTo>
                <a:lnTo>
                  <a:pt x="2091086" y="530663"/>
                </a:lnTo>
                <a:lnTo>
                  <a:pt x="2093434" y="538772"/>
                </a:lnTo>
                <a:cubicBezTo>
                  <a:pt x="2094074" y="547166"/>
                  <a:pt x="2093221" y="555987"/>
                  <a:pt x="2090233" y="564666"/>
                </a:cubicBezTo>
                <a:cubicBezTo>
                  <a:pt x="2066223" y="588460"/>
                  <a:pt x="2045215" y="588407"/>
                  <a:pt x="2023156" y="593195"/>
                </a:cubicBezTo>
                <a:lnTo>
                  <a:pt x="2013553" y="596372"/>
                </a:lnTo>
                <a:lnTo>
                  <a:pt x="2006269" y="601485"/>
                </a:lnTo>
                <a:lnTo>
                  <a:pt x="2005086" y="599174"/>
                </a:lnTo>
                <a:lnTo>
                  <a:pt x="2000596" y="600659"/>
                </a:lnTo>
                <a:cubicBezTo>
                  <a:pt x="1994834" y="571352"/>
                  <a:pt x="1987151" y="540053"/>
                  <a:pt x="1999956" y="515867"/>
                </a:cubicBezTo>
                <a:cubicBezTo>
                  <a:pt x="2004224" y="507758"/>
                  <a:pt x="2010841" y="500502"/>
                  <a:pt x="2020658" y="494385"/>
                </a:cubicBezTo>
                <a:cubicBezTo>
                  <a:pt x="2027487" y="490401"/>
                  <a:pt x="2034316" y="488267"/>
                  <a:pt x="2040719" y="487556"/>
                </a:cubicBezTo>
                <a:close/>
                <a:moveTo>
                  <a:pt x="3280048" y="486560"/>
                </a:moveTo>
                <a:cubicBezTo>
                  <a:pt x="3279407" y="491681"/>
                  <a:pt x="3278767" y="496803"/>
                  <a:pt x="3273859" y="496661"/>
                </a:cubicBezTo>
                <a:cubicBezTo>
                  <a:pt x="3270231" y="492393"/>
                  <a:pt x="3272792" y="485564"/>
                  <a:pt x="3280048" y="486560"/>
                </a:cubicBezTo>
                <a:close/>
                <a:moveTo>
                  <a:pt x="3180594" y="482861"/>
                </a:moveTo>
                <a:cubicBezTo>
                  <a:pt x="3183156" y="483857"/>
                  <a:pt x="3183369" y="484995"/>
                  <a:pt x="3182302" y="486276"/>
                </a:cubicBezTo>
                <a:cubicBezTo>
                  <a:pt x="3182302" y="486276"/>
                  <a:pt x="3181235" y="487556"/>
                  <a:pt x="3180168" y="488836"/>
                </a:cubicBezTo>
                <a:cubicBezTo>
                  <a:pt x="3179314" y="490116"/>
                  <a:pt x="3179314" y="491397"/>
                  <a:pt x="3179314" y="491397"/>
                </a:cubicBezTo>
                <a:cubicBezTo>
                  <a:pt x="3178247" y="492535"/>
                  <a:pt x="3177180" y="492678"/>
                  <a:pt x="3175685" y="491539"/>
                </a:cubicBezTo>
                <a:cubicBezTo>
                  <a:pt x="3175685" y="491539"/>
                  <a:pt x="3176753" y="488978"/>
                  <a:pt x="3176753" y="488978"/>
                </a:cubicBezTo>
                <a:cubicBezTo>
                  <a:pt x="3178673" y="486560"/>
                  <a:pt x="3179740" y="485279"/>
                  <a:pt x="3180594" y="482861"/>
                </a:cubicBezTo>
                <a:close/>
                <a:moveTo>
                  <a:pt x="2718968" y="481865"/>
                </a:moveTo>
                <a:cubicBezTo>
                  <a:pt x="2720248" y="482007"/>
                  <a:pt x="2721956" y="482149"/>
                  <a:pt x="2724089" y="482577"/>
                </a:cubicBezTo>
                <a:cubicBezTo>
                  <a:pt x="2725797" y="483003"/>
                  <a:pt x="2727291" y="483714"/>
                  <a:pt x="2728571" y="484995"/>
                </a:cubicBezTo>
                <a:cubicBezTo>
                  <a:pt x="2729852" y="486133"/>
                  <a:pt x="2730919" y="487698"/>
                  <a:pt x="2731346" y="489405"/>
                </a:cubicBezTo>
                <a:cubicBezTo>
                  <a:pt x="2733693" y="490828"/>
                  <a:pt x="2735614" y="493958"/>
                  <a:pt x="2736041" y="496661"/>
                </a:cubicBezTo>
                <a:cubicBezTo>
                  <a:pt x="2735614" y="499933"/>
                  <a:pt x="2733693" y="501071"/>
                  <a:pt x="2732199" y="500644"/>
                </a:cubicBezTo>
                <a:cubicBezTo>
                  <a:pt x="2718968" y="499079"/>
                  <a:pt x="2716833" y="487413"/>
                  <a:pt x="2714485" y="485991"/>
                </a:cubicBezTo>
                <a:cubicBezTo>
                  <a:pt x="2715126" y="482292"/>
                  <a:pt x="2715126" y="481438"/>
                  <a:pt x="2718968" y="481865"/>
                </a:cubicBezTo>
                <a:close/>
                <a:moveTo>
                  <a:pt x="3300749" y="479304"/>
                </a:moveTo>
                <a:cubicBezTo>
                  <a:pt x="3302457" y="480585"/>
                  <a:pt x="3303524" y="482719"/>
                  <a:pt x="3304164" y="485137"/>
                </a:cubicBezTo>
                <a:cubicBezTo>
                  <a:pt x="3306085" y="492820"/>
                  <a:pt x="3304378" y="504201"/>
                  <a:pt x="3301390" y="506762"/>
                </a:cubicBezTo>
                <a:cubicBezTo>
                  <a:pt x="3298402" y="503205"/>
                  <a:pt x="3300109" y="498510"/>
                  <a:pt x="3297121" y="493673"/>
                </a:cubicBezTo>
                <a:cubicBezTo>
                  <a:pt x="3299683" y="490116"/>
                  <a:pt x="3296908" y="483999"/>
                  <a:pt x="3300749" y="479304"/>
                </a:cubicBezTo>
                <a:close/>
                <a:moveTo>
                  <a:pt x="3249316" y="478735"/>
                </a:moveTo>
                <a:cubicBezTo>
                  <a:pt x="3250809" y="481011"/>
                  <a:pt x="3250809" y="481154"/>
                  <a:pt x="3249956" y="483572"/>
                </a:cubicBezTo>
                <a:cubicBezTo>
                  <a:pt x="3248889" y="483714"/>
                  <a:pt x="3249102" y="484995"/>
                  <a:pt x="3247608" y="483714"/>
                </a:cubicBezTo>
                <a:cubicBezTo>
                  <a:pt x="3246754" y="485706"/>
                  <a:pt x="3243980" y="487698"/>
                  <a:pt x="3240779" y="489121"/>
                </a:cubicBezTo>
                <a:lnTo>
                  <a:pt x="3240138" y="489263"/>
                </a:lnTo>
                <a:lnTo>
                  <a:pt x="3242273" y="490401"/>
                </a:lnTo>
                <a:cubicBezTo>
                  <a:pt x="3243340" y="490970"/>
                  <a:pt x="3243980" y="491255"/>
                  <a:pt x="3245047" y="491824"/>
                </a:cubicBezTo>
                <a:lnTo>
                  <a:pt x="3245261" y="492108"/>
                </a:lnTo>
                <a:lnTo>
                  <a:pt x="3245901" y="491824"/>
                </a:lnTo>
                <a:cubicBezTo>
                  <a:pt x="3247394" y="491539"/>
                  <a:pt x="3248675" y="491397"/>
                  <a:pt x="3250382" y="491966"/>
                </a:cubicBezTo>
                <a:cubicBezTo>
                  <a:pt x="3250382" y="491966"/>
                  <a:pt x="3250382" y="491966"/>
                  <a:pt x="3249102" y="492108"/>
                </a:cubicBezTo>
                <a:cubicBezTo>
                  <a:pt x="3249102" y="492108"/>
                  <a:pt x="3250382" y="491966"/>
                  <a:pt x="3250382" y="493104"/>
                </a:cubicBezTo>
                <a:lnTo>
                  <a:pt x="3246754" y="494385"/>
                </a:lnTo>
                <a:lnTo>
                  <a:pt x="3247181" y="495096"/>
                </a:lnTo>
                <a:cubicBezTo>
                  <a:pt x="3247608" y="496092"/>
                  <a:pt x="3248249" y="497230"/>
                  <a:pt x="3249102" y="499079"/>
                </a:cubicBezTo>
                <a:cubicBezTo>
                  <a:pt x="3247821" y="501498"/>
                  <a:pt x="3247608" y="501498"/>
                  <a:pt x="3246541" y="501498"/>
                </a:cubicBezTo>
                <a:cubicBezTo>
                  <a:pt x="3247608" y="501498"/>
                  <a:pt x="3247608" y="502636"/>
                  <a:pt x="3248675" y="503917"/>
                </a:cubicBezTo>
                <a:cubicBezTo>
                  <a:pt x="3254011" y="507473"/>
                  <a:pt x="3251236" y="513448"/>
                  <a:pt x="3245901" y="519282"/>
                </a:cubicBezTo>
                <a:cubicBezTo>
                  <a:pt x="3244834" y="518143"/>
                  <a:pt x="3242059" y="521700"/>
                  <a:pt x="3239711" y="522839"/>
                </a:cubicBezTo>
                <a:cubicBezTo>
                  <a:pt x="3236297" y="522696"/>
                  <a:pt x="3233949" y="522696"/>
                  <a:pt x="3231815" y="520277"/>
                </a:cubicBezTo>
                <a:cubicBezTo>
                  <a:pt x="3228827" y="516721"/>
                  <a:pt x="3227333" y="508327"/>
                  <a:pt x="3231175" y="504770"/>
                </a:cubicBezTo>
                <a:cubicBezTo>
                  <a:pt x="3235016" y="500075"/>
                  <a:pt x="3238645" y="498937"/>
                  <a:pt x="3242059" y="498937"/>
                </a:cubicBezTo>
                <a:cubicBezTo>
                  <a:pt x="3242059" y="498937"/>
                  <a:pt x="3242059" y="498937"/>
                  <a:pt x="3240992" y="498937"/>
                </a:cubicBezTo>
                <a:lnTo>
                  <a:pt x="3238858" y="496376"/>
                </a:lnTo>
                <a:lnTo>
                  <a:pt x="3236937" y="496376"/>
                </a:lnTo>
                <a:cubicBezTo>
                  <a:pt x="3235657" y="496376"/>
                  <a:pt x="3235016" y="496376"/>
                  <a:pt x="3234590" y="496376"/>
                </a:cubicBezTo>
                <a:cubicBezTo>
                  <a:pt x="3234376" y="495238"/>
                  <a:pt x="3234376" y="495238"/>
                  <a:pt x="3234376" y="495238"/>
                </a:cubicBezTo>
                <a:lnTo>
                  <a:pt x="3237578" y="494669"/>
                </a:lnTo>
                <a:lnTo>
                  <a:pt x="3234163" y="490401"/>
                </a:lnTo>
                <a:lnTo>
                  <a:pt x="3231388" y="490828"/>
                </a:lnTo>
                <a:lnTo>
                  <a:pt x="3233096" y="488694"/>
                </a:lnTo>
                <a:lnTo>
                  <a:pt x="3231388" y="485564"/>
                </a:lnTo>
                <a:cubicBezTo>
                  <a:pt x="3230962" y="484141"/>
                  <a:pt x="3230748" y="483003"/>
                  <a:pt x="3231175" y="482149"/>
                </a:cubicBezTo>
                <a:cubicBezTo>
                  <a:pt x="3232242" y="482149"/>
                  <a:pt x="3233523" y="482149"/>
                  <a:pt x="3234376" y="483287"/>
                </a:cubicBezTo>
                <a:cubicBezTo>
                  <a:pt x="3235443" y="484568"/>
                  <a:pt x="3234376" y="484568"/>
                  <a:pt x="3235443" y="484568"/>
                </a:cubicBezTo>
                <a:cubicBezTo>
                  <a:pt x="3236510" y="485849"/>
                  <a:pt x="3236510" y="484568"/>
                  <a:pt x="3236510" y="484568"/>
                </a:cubicBezTo>
                <a:lnTo>
                  <a:pt x="3236510" y="484995"/>
                </a:lnTo>
                <a:lnTo>
                  <a:pt x="3241419" y="482861"/>
                </a:lnTo>
                <a:cubicBezTo>
                  <a:pt x="3244620" y="482149"/>
                  <a:pt x="3247608" y="481865"/>
                  <a:pt x="3249316" y="478735"/>
                </a:cubicBezTo>
                <a:close/>
                <a:moveTo>
                  <a:pt x="3047207" y="475036"/>
                </a:moveTo>
                <a:cubicBezTo>
                  <a:pt x="3047847" y="473898"/>
                  <a:pt x="3051689" y="476316"/>
                  <a:pt x="3051902" y="477881"/>
                </a:cubicBezTo>
                <a:cubicBezTo>
                  <a:pt x="3052542" y="481154"/>
                  <a:pt x="3052756" y="482719"/>
                  <a:pt x="3051262" y="484852"/>
                </a:cubicBezTo>
                <a:cubicBezTo>
                  <a:pt x="3051689" y="486417"/>
                  <a:pt x="3051902" y="488125"/>
                  <a:pt x="3051689" y="489405"/>
                </a:cubicBezTo>
                <a:cubicBezTo>
                  <a:pt x="3051476" y="490828"/>
                  <a:pt x="3050835" y="491824"/>
                  <a:pt x="3049128" y="492251"/>
                </a:cubicBezTo>
                <a:cubicBezTo>
                  <a:pt x="3046993" y="489547"/>
                  <a:pt x="3045926" y="487271"/>
                  <a:pt x="3044433" y="483430"/>
                </a:cubicBezTo>
                <a:cubicBezTo>
                  <a:pt x="3044433" y="483430"/>
                  <a:pt x="3043365" y="476885"/>
                  <a:pt x="3047207" y="475036"/>
                </a:cubicBezTo>
                <a:close/>
                <a:moveTo>
                  <a:pt x="2274200" y="474609"/>
                </a:moveTo>
                <a:cubicBezTo>
                  <a:pt x="2273347" y="476743"/>
                  <a:pt x="2276975" y="480157"/>
                  <a:pt x="2273987" y="481154"/>
                </a:cubicBezTo>
                <a:cubicBezTo>
                  <a:pt x="2273347" y="479447"/>
                  <a:pt x="2273347" y="476743"/>
                  <a:pt x="2272707" y="475036"/>
                </a:cubicBezTo>
                <a:cubicBezTo>
                  <a:pt x="2272707" y="475036"/>
                  <a:pt x="2272707" y="475036"/>
                  <a:pt x="2274200" y="474609"/>
                </a:cubicBezTo>
                <a:close/>
                <a:moveTo>
                  <a:pt x="2661131" y="474040"/>
                </a:moveTo>
                <a:cubicBezTo>
                  <a:pt x="2662625" y="474183"/>
                  <a:pt x="2664118" y="475178"/>
                  <a:pt x="2664972" y="476459"/>
                </a:cubicBezTo>
                <a:cubicBezTo>
                  <a:pt x="2666893" y="479162"/>
                  <a:pt x="2666893" y="483003"/>
                  <a:pt x="2661771" y="484995"/>
                </a:cubicBezTo>
                <a:cubicBezTo>
                  <a:pt x="2658996" y="481154"/>
                  <a:pt x="2657075" y="478593"/>
                  <a:pt x="2656435" y="476032"/>
                </a:cubicBezTo>
                <a:cubicBezTo>
                  <a:pt x="2657716" y="474325"/>
                  <a:pt x="2659423" y="473756"/>
                  <a:pt x="2661131" y="474040"/>
                </a:cubicBezTo>
                <a:close/>
                <a:moveTo>
                  <a:pt x="3174619" y="473471"/>
                </a:moveTo>
                <a:cubicBezTo>
                  <a:pt x="3173552" y="474751"/>
                  <a:pt x="3174192" y="478593"/>
                  <a:pt x="3173338" y="481154"/>
                </a:cubicBezTo>
                <a:cubicBezTo>
                  <a:pt x="3172271" y="481154"/>
                  <a:pt x="3171417" y="482434"/>
                  <a:pt x="3170350" y="482577"/>
                </a:cubicBezTo>
                <a:cubicBezTo>
                  <a:pt x="3170137" y="481296"/>
                  <a:pt x="3168643" y="478877"/>
                  <a:pt x="3169710" y="478735"/>
                </a:cubicBezTo>
                <a:cubicBezTo>
                  <a:pt x="3169497" y="477597"/>
                  <a:pt x="3171844" y="477312"/>
                  <a:pt x="3171844" y="477312"/>
                </a:cubicBezTo>
                <a:cubicBezTo>
                  <a:pt x="3171631" y="476174"/>
                  <a:pt x="3171417" y="474893"/>
                  <a:pt x="3172271" y="473613"/>
                </a:cubicBezTo>
                <a:cubicBezTo>
                  <a:pt x="3173552" y="474751"/>
                  <a:pt x="3173338" y="473471"/>
                  <a:pt x="3174619" y="473471"/>
                </a:cubicBezTo>
                <a:close/>
                <a:moveTo>
                  <a:pt x="2919369" y="472902"/>
                </a:moveTo>
                <a:cubicBezTo>
                  <a:pt x="2920436" y="474183"/>
                  <a:pt x="2921076" y="475463"/>
                  <a:pt x="2921289" y="476885"/>
                </a:cubicBezTo>
                <a:cubicBezTo>
                  <a:pt x="2921716" y="478308"/>
                  <a:pt x="2921503" y="479731"/>
                  <a:pt x="2920649" y="481580"/>
                </a:cubicBezTo>
                <a:cubicBezTo>
                  <a:pt x="2918729" y="477881"/>
                  <a:pt x="2917874" y="476601"/>
                  <a:pt x="2919369" y="472902"/>
                </a:cubicBezTo>
                <a:close/>
                <a:moveTo>
                  <a:pt x="2359995" y="469345"/>
                </a:moveTo>
                <a:cubicBezTo>
                  <a:pt x="2361703" y="474325"/>
                  <a:pt x="2359142" y="476743"/>
                  <a:pt x="2356794" y="479304"/>
                </a:cubicBezTo>
                <a:cubicBezTo>
                  <a:pt x="2354660" y="480869"/>
                  <a:pt x="2354233" y="481865"/>
                  <a:pt x="2354233" y="484426"/>
                </a:cubicBezTo>
                <a:cubicBezTo>
                  <a:pt x="2354233" y="484426"/>
                  <a:pt x="2354233" y="484426"/>
                  <a:pt x="2351245" y="485422"/>
                </a:cubicBezTo>
                <a:lnTo>
                  <a:pt x="2350178" y="484852"/>
                </a:lnTo>
                <a:cubicBezTo>
                  <a:pt x="2349751" y="484284"/>
                  <a:pt x="2349965" y="483287"/>
                  <a:pt x="2350392" y="482149"/>
                </a:cubicBezTo>
                <a:cubicBezTo>
                  <a:pt x="2351672" y="478450"/>
                  <a:pt x="2355513" y="473186"/>
                  <a:pt x="2355940" y="472333"/>
                </a:cubicBezTo>
                <a:cubicBezTo>
                  <a:pt x="2355940" y="472333"/>
                  <a:pt x="2356580" y="471337"/>
                  <a:pt x="2357008" y="470199"/>
                </a:cubicBezTo>
                <a:cubicBezTo>
                  <a:pt x="2358501" y="469772"/>
                  <a:pt x="2359568" y="470483"/>
                  <a:pt x="2359995" y="469345"/>
                </a:cubicBezTo>
                <a:close/>
                <a:moveTo>
                  <a:pt x="2855556" y="469061"/>
                </a:moveTo>
                <a:cubicBezTo>
                  <a:pt x="2857263" y="468776"/>
                  <a:pt x="2859184" y="469061"/>
                  <a:pt x="2860891" y="469630"/>
                </a:cubicBezTo>
                <a:cubicBezTo>
                  <a:pt x="2859824" y="469630"/>
                  <a:pt x="2859824" y="469630"/>
                  <a:pt x="2859824" y="469630"/>
                </a:cubicBezTo>
                <a:cubicBezTo>
                  <a:pt x="2858544" y="470768"/>
                  <a:pt x="2859611" y="470768"/>
                  <a:pt x="2859398" y="472048"/>
                </a:cubicBezTo>
                <a:cubicBezTo>
                  <a:pt x="2859398" y="472048"/>
                  <a:pt x="2859611" y="470910"/>
                  <a:pt x="2860678" y="472191"/>
                </a:cubicBezTo>
                <a:cubicBezTo>
                  <a:pt x="2859398" y="472048"/>
                  <a:pt x="2859398" y="473329"/>
                  <a:pt x="2859398" y="474467"/>
                </a:cubicBezTo>
                <a:cubicBezTo>
                  <a:pt x="2856836" y="476885"/>
                  <a:pt x="2852995" y="479304"/>
                  <a:pt x="2850861" y="478024"/>
                </a:cubicBezTo>
                <a:cubicBezTo>
                  <a:pt x="2848727" y="475605"/>
                  <a:pt x="2850007" y="473186"/>
                  <a:pt x="2851288" y="471906"/>
                </a:cubicBezTo>
                <a:cubicBezTo>
                  <a:pt x="2852141" y="470199"/>
                  <a:pt x="2853635" y="469345"/>
                  <a:pt x="2855556" y="469061"/>
                </a:cubicBezTo>
                <a:close/>
                <a:moveTo>
                  <a:pt x="3189344" y="465931"/>
                </a:moveTo>
                <a:cubicBezTo>
                  <a:pt x="3190198" y="465789"/>
                  <a:pt x="3191265" y="465931"/>
                  <a:pt x="3192119" y="466500"/>
                </a:cubicBezTo>
                <a:cubicBezTo>
                  <a:pt x="3194680" y="467638"/>
                  <a:pt x="3193827" y="470056"/>
                  <a:pt x="3191906" y="472618"/>
                </a:cubicBezTo>
                <a:cubicBezTo>
                  <a:pt x="3189344" y="478877"/>
                  <a:pt x="3185930" y="480300"/>
                  <a:pt x="3182088" y="476885"/>
                </a:cubicBezTo>
                <a:cubicBezTo>
                  <a:pt x="3181875" y="475605"/>
                  <a:pt x="3182515" y="471906"/>
                  <a:pt x="3181448" y="472048"/>
                </a:cubicBezTo>
                <a:cubicBezTo>
                  <a:pt x="3183582" y="469203"/>
                  <a:pt x="3186356" y="466215"/>
                  <a:pt x="3189344" y="465931"/>
                </a:cubicBezTo>
                <a:close/>
                <a:moveTo>
                  <a:pt x="3493894" y="465219"/>
                </a:moveTo>
                <a:cubicBezTo>
                  <a:pt x="3500297" y="465789"/>
                  <a:pt x="3508194" y="473186"/>
                  <a:pt x="3507340" y="479873"/>
                </a:cubicBezTo>
                <a:cubicBezTo>
                  <a:pt x="3502218" y="486276"/>
                  <a:pt x="3498163" y="483714"/>
                  <a:pt x="3495389" y="487983"/>
                </a:cubicBezTo>
                <a:cubicBezTo>
                  <a:pt x="3487492" y="480585"/>
                  <a:pt x="3488346" y="473756"/>
                  <a:pt x="3493894" y="465219"/>
                </a:cubicBezTo>
                <a:close/>
                <a:moveTo>
                  <a:pt x="2546951" y="465077"/>
                </a:moveTo>
                <a:cubicBezTo>
                  <a:pt x="2551433" y="467638"/>
                  <a:pt x="2555701" y="470341"/>
                  <a:pt x="2553781" y="474751"/>
                </a:cubicBezTo>
                <a:cubicBezTo>
                  <a:pt x="2548232" y="476174"/>
                  <a:pt x="2543110" y="471195"/>
                  <a:pt x="2546951" y="465077"/>
                </a:cubicBezTo>
                <a:close/>
                <a:moveTo>
                  <a:pt x="2697412" y="462232"/>
                </a:moveTo>
                <a:cubicBezTo>
                  <a:pt x="2699546" y="464081"/>
                  <a:pt x="2700827" y="465362"/>
                  <a:pt x="2701254" y="466784"/>
                </a:cubicBezTo>
                <a:cubicBezTo>
                  <a:pt x="2701680" y="468349"/>
                  <a:pt x="2701254" y="470199"/>
                  <a:pt x="2699759" y="473044"/>
                </a:cubicBezTo>
                <a:cubicBezTo>
                  <a:pt x="2699759" y="473044"/>
                  <a:pt x="2698692" y="474325"/>
                  <a:pt x="2698692" y="474325"/>
                </a:cubicBezTo>
                <a:lnTo>
                  <a:pt x="2692503" y="478593"/>
                </a:lnTo>
                <a:lnTo>
                  <a:pt x="2692076" y="481580"/>
                </a:lnTo>
                <a:cubicBezTo>
                  <a:pt x="2685674" y="484568"/>
                  <a:pt x="2679485" y="478166"/>
                  <a:pt x="2679058" y="471906"/>
                </a:cubicBezTo>
                <a:cubicBezTo>
                  <a:pt x="2679058" y="469772"/>
                  <a:pt x="2679485" y="467638"/>
                  <a:pt x="2680979" y="465931"/>
                </a:cubicBezTo>
                <a:cubicBezTo>
                  <a:pt x="2683113" y="464935"/>
                  <a:pt x="2685034" y="465077"/>
                  <a:pt x="2686955" y="465789"/>
                </a:cubicBezTo>
                <a:lnTo>
                  <a:pt x="2688875" y="467638"/>
                </a:lnTo>
                <a:lnTo>
                  <a:pt x="2691436" y="465789"/>
                </a:lnTo>
                <a:cubicBezTo>
                  <a:pt x="2693357" y="464935"/>
                  <a:pt x="2695491" y="464081"/>
                  <a:pt x="2697412" y="462232"/>
                </a:cubicBezTo>
                <a:close/>
                <a:moveTo>
                  <a:pt x="2099197" y="462232"/>
                </a:moveTo>
                <a:cubicBezTo>
                  <a:pt x="2100904" y="461947"/>
                  <a:pt x="2102824" y="462089"/>
                  <a:pt x="2104318" y="462659"/>
                </a:cubicBezTo>
                <a:cubicBezTo>
                  <a:pt x="2108160" y="469488"/>
                  <a:pt x="2104318" y="472618"/>
                  <a:pt x="2107307" y="476459"/>
                </a:cubicBezTo>
                <a:cubicBezTo>
                  <a:pt x="2097489" y="482007"/>
                  <a:pt x="2091513" y="479304"/>
                  <a:pt x="2085538" y="471621"/>
                </a:cubicBezTo>
                <a:cubicBezTo>
                  <a:pt x="2087671" y="467069"/>
                  <a:pt x="2093647" y="462801"/>
                  <a:pt x="2099197" y="462232"/>
                </a:cubicBezTo>
                <a:close/>
                <a:moveTo>
                  <a:pt x="3055317" y="459529"/>
                </a:moveTo>
                <a:cubicBezTo>
                  <a:pt x="3056811" y="461805"/>
                  <a:pt x="3058945" y="463085"/>
                  <a:pt x="3060439" y="465504"/>
                </a:cubicBezTo>
                <a:cubicBezTo>
                  <a:pt x="3060226" y="469488"/>
                  <a:pt x="3053823" y="474893"/>
                  <a:pt x="3049341" y="473471"/>
                </a:cubicBezTo>
                <a:cubicBezTo>
                  <a:pt x="3047847" y="473044"/>
                  <a:pt x="3046567" y="471764"/>
                  <a:pt x="3045926" y="469488"/>
                </a:cubicBezTo>
                <a:cubicBezTo>
                  <a:pt x="3044006" y="462943"/>
                  <a:pt x="3049128" y="460809"/>
                  <a:pt x="3055317" y="459529"/>
                </a:cubicBezTo>
                <a:close/>
                <a:moveTo>
                  <a:pt x="2896106" y="458106"/>
                </a:moveTo>
                <a:cubicBezTo>
                  <a:pt x="2896106" y="458106"/>
                  <a:pt x="2896746" y="459102"/>
                  <a:pt x="2896746" y="459102"/>
                </a:cubicBezTo>
                <a:cubicBezTo>
                  <a:pt x="2897173" y="458817"/>
                  <a:pt x="2897173" y="458817"/>
                  <a:pt x="2897173" y="459244"/>
                </a:cubicBezTo>
                <a:cubicBezTo>
                  <a:pt x="2896959" y="459671"/>
                  <a:pt x="2896959" y="460382"/>
                  <a:pt x="2897173" y="461662"/>
                </a:cubicBezTo>
                <a:cubicBezTo>
                  <a:pt x="2896959" y="463370"/>
                  <a:pt x="2897600" y="464366"/>
                  <a:pt x="2896106" y="463939"/>
                </a:cubicBezTo>
                <a:cubicBezTo>
                  <a:pt x="2894399" y="463512"/>
                  <a:pt x="2894612" y="463512"/>
                  <a:pt x="2892478" y="460525"/>
                </a:cubicBezTo>
                <a:cubicBezTo>
                  <a:pt x="2894185" y="460952"/>
                  <a:pt x="2894185" y="460952"/>
                  <a:pt x="2894399" y="459387"/>
                </a:cubicBezTo>
                <a:cubicBezTo>
                  <a:pt x="2894399" y="459387"/>
                  <a:pt x="2894185" y="459387"/>
                  <a:pt x="2893544" y="458390"/>
                </a:cubicBezTo>
                <a:cubicBezTo>
                  <a:pt x="2894612" y="457821"/>
                  <a:pt x="2895252" y="458817"/>
                  <a:pt x="2896106" y="458106"/>
                </a:cubicBezTo>
                <a:close/>
                <a:moveTo>
                  <a:pt x="3306512" y="455830"/>
                </a:moveTo>
                <a:cubicBezTo>
                  <a:pt x="3308433" y="456968"/>
                  <a:pt x="3309500" y="457537"/>
                  <a:pt x="3310567" y="459813"/>
                </a:cubicBezTo>
                <a:cubicBezTo>
                  <a:pt x="3312061" y="472475"/>
                  <a:pt x="3305659" y="476032"/>
                  <a:pt x="3306085" y="477597"/>
                </a:cubicBezTo>
                <a:cubicBezTo>
                  <a:pt x="3301177" y="478877"/>
                  <a:pt x="3300536" y="475605"/>
                  <a:pt x="3297975" y="471053"/>
                </a:cubicBezTo>
                <a:cubicBezTo>
                  <a:pt x="3299683" y="470626"/>
                  <a:pt x="3298829" y="465646"/>
                  <a:pt x="3298616" y="463939"/>
                </a:cubicBezTo>
                <a:cubicBezTo>
                  <a:pt x="3301817" y="463085"/>
                  <a:pt x="3301603" y="457110"/>
                  <a:pt x="3306512" y="455830"/>
                </a:cubicBezTo>
                <a:close/>
                <a:moveTo>
                  <a:pt x="2670734" y="455403"/>
                </a:moveTo>
                <a:cubicBezTo>
                  <a:pt x="2671802" y="455830"/>
                  <a:pt x="2672442" y="456825"/>
                  <a:pt x="2672655" y="458106"/>
                </a:cubicBezTo>
                <a:cubicBezTo>
                  <a:pt x="2673296" y="461662"/>
                  <a:pt x="2670308" y="467496"/>
                  <a:pt x="2668387" y="468065"/>
                </a:cubicBezTo>
                <a:cubicBezTo>
                  <a:pt x="2666039" y="467069"/>
                  <a:pt x="2665186" y="454407"/>
                  <a:pt x="2670734" y="455403"/>
                </a:cubicBezTo>
                <a:close/>
                <a:moveTo>
                  <a:pt x="2465425" y="455403"/>
                </a:moveTo>
                <a:cubicBezTo>
                  <a:pt x="2465638" y="456541"/>
                  <a:pt x="2464998" y="457537"/>
                  <a:pt x="2464358" y="458675"/>
                </a:cubicBezTo>
                <a:lnTo>
                  <a:pt x="2462223" y="460525"/>
                </a:lnTo>
                <a:lnTo>
                  <a:pt x="2471187" y="462089"/>
                </a:lnTo>
                <a:cubicBezTo>
                  <a:pt x="2480791" y="465148"/>
                  <a:pt x="2490075" y="469985"/>
                  <a:pt x="2498852" y="476245"/>
                </a:cubicBezTo>
                <a:lnTo>
                  <a:pt x="2519096" y="494902"/>
                </a:lnTo>
                <a:lnTo>
                  <a:pt x="2569754" y="490743"/>
                </a:lnTo>
                <a:lnTo>
                  <a:pt x="2591274" y="490743"/>
                </a:lnTo>
                <a:lnTo>
                  <a:pt x="2607828" y="490743"/>
                </a:lnTo>
                <a:lnTo>
                  <a:pt x="2618690" y="494532"/>
                </a:lnTo>
                <a:lnTo>
                  <a:pt x="2618447" y="493246"/>
                </a:lnTo>
                <a:cubicBezTo>
                  <a:pt x="2620581" y="492678"/>
                  <a:pt x="2622288" y="492535"/>
                  <a:pt x="2623355" y="492535"/>
                </a:cubicBezTo>
                <a:cubicBezTo>
                  <a:pt x="2624422" y="492678"/>
                  <a:pt x="2625276" y="493104"/>
                  <a:pt x="2625703" y="493531"/>
                </a:cubicBezTo>
                <a:lnTo>
                  <a:pt x="2623682" y="496983"/>
                </a:lnTo>
                <a:lnTo>
                  <a:pt x="2631005" y="501525"/>
                </a:lnTo>
                <a:lnTo>
                  <a:pt x="2638454" y="513847"/>
                </a:lnTo>
                <a:lnTo>
                  <a:pt x="2641877" y="522604"/>
                </a:lnTo>
                <a:lnTo>
                  <a:pt x="2648539" y="520847"/>
                </a:lnTo>
                <a:lnTo>
                  <a:pt x="2655582" y="520135"/>
                </a:lnTo>
                <a:lnTo>
                  <a:pt x="2654942" y="519566"/>
                </a:lnTo>
                <a:cubicBezTo>
                  <a:pt x="2652167" y="509607"/>
                  <a:pt x="2652380" y="501782"/>
                  <a:pt x="2661131" y="498226"/>
                </a:cubicBezTo>
                <a:cubicBezTo>
                  <a:pt x="2661558" y="499933"/>
                  <a:pt x="2663265" y="499507"/>
                  <a:pt x="2664759" y="499222"/>
                </a:cubicBezTo>
                <a:cubicBezTo>
                  <a:pt x="2666893" y="500929"/>
                  <a:pt x="2667960" y="503490"/>
                  <a:pt x="2668601" y="506193"/>
                </a:cubicBezTo>
                <a:lnTo>
                  <a:pt x="2668174" y="511173"/>
                </a:lnTo>
                <a:lnTo>
                  <a:pt x="2674363" y="511741"/>
                </a:lnTo>
                <a:cubicBezTo>
                  <a:pt x="2674789" y="514302"/>
                  <a:pt x="2674363" y="516436"/>
                  <a:pt x="2673509" y="518143"/>
                </a:cubicBezTo>
                <a:lnTo>
                  <a:pt x="2673296" y="518428"/>
                </a:lnTo>
                <a:lnTo>
                  <a:pt x="2680125" y="517859"/>
                </a:lnTo>
                <a:cubicBezTo>
                  <a:pt x="2679698" y="519993"/>
                  <a:pt x="2680125" y="521842"/>
                  <a:pt x="2680125" y="523834"/>
                </a:cubicBezTo>
                <a:lnTo>
                  <a:pt x="2679698" y="527106"/>
                </a:lnTo>
                <a:lnTo>
                  <a:pt x="2680979" y="527249"/>
                </a:lnTo>
                <a:cubicBezTo>
                  <a:pt x="2682473" y="529952"/>
                  <a:pt x="2682900" y="532228"/>
                  <a:pt x="2682900" y="533935"/>
                </a:cubicBezTo>
                <a:lnTo>
                  <a:pt x="2682046" y="535642"/>
                </a:lnTo>
                <a:lnTo>
                  <a:pt x="2687808" y="535358"/>
                </a:lnTo>
                <a:cubicBezTo>
                  <a:pt x="2690369" y="535642"/>
                  <a:pt x="2692076" y="536354"/>
                  <a:pt x="2693144" y="537492"/>
                </a:cubicBezTo>
                <a:lnTo>
                  <a:pt x="2694424" y="540053"/>
                </a:lnTo>
                <a:lnTo>
                  <a:pt x="2695918" y="537492"/>
                </a:lnTo>
                <a:cubicBezTo>
                  <a:pt x="2697199" y="536354"/>
                  <a:pt x="2699759" y="535358"/>
                  <a:pt x="2702747" y="534789"/>
                </a:cubicBezTo>
                <a:cubicBezTo>
                  <a:pt x="2705522" y="534220"/>
                  <a:pt x="2708510" y="534362"/>
                  <a:pt x="2710004" y="535500"/>
                </a:cubicBezTo>
                <a:cubicBezTo>
                  <a:pt x="2708723" y="537777"/>
                  <a:pt x="2707229" y="540195"/>
                  <a:pt x="2705949" y="542471"/>
                </a:cubicBezTo>
                <a:cubicBezTo>
                  <a:pt x="2705949" y="541334"/>
                  <a:pt x="2695278" y="543467"/>
                  <a:pt x="2695278" y="543467"/>
                </a:cubicBezTo>
                <a:lnTo>
                  <a:pt x="2694211" y="541618"/>
                </a:lnTo>
                <a:lnTo>
                  <a:pt x="2693144" y="546597"/>
                </a:lnTo>
                <a:cubicBezTo>
                  <a:pt x="2689729" y="553142"/>
                  <a:pt x="2681619" y="559544"/>
                  <a:pt x="2677777" y="556698"/>
                </a:cubicBezTo>
                <a:cubicBezTo>
                  <a:pt x="2675643" y="555418"/>
                  <a:pt x="2674789" y="551577"/>
                  <a:pt x="2676070" y="544321"/>
                </a:cubicBezTo>
                <a:lnTo>
                  <a:pt x="2677350" y="538772"/>
                </a:lnTo>
                <a:lnTo>
                  <a:pt x="2676924" y="538772"/>
                </a:lnTo>
                <a:cubicBezTo>
                  <a:pt x="2675430" y="538772"/>
                  <a:pt x="2673936" y="538203"/>
                  <a:pt x="2672442" y="537207"/>
                </a:cubicBezTo>
                <a:lnTo>
                  <a:pt x="2668387" y="531659"/>
                </a:lnTo>
                <a:lnTo>
                  <a:pt x="2648752" y="532370"/>
                </a:lnTo>
                <a:lnTo>
                  <a:pt x="2645553" y="532453"/>
                </a:lnTo>
                <a:lnTo>
                  <a:pt x="2651697" y="553894"/>
                </a:lnTo>
                <a:lnTo>
                  <a:pt x="2655158" y="573213"/>
                </a:lnTo>
                <a:lnTo>
                  <a:pt x="2662018" y="575936"/>
                </a:lnTo>
                <a:cubicBezTo>
                  <a:pt x="2664559" y="577176"/>
                  <a:pt x="2666626" y="578465"/>
                  <a:pt x="2667320" y="579461"/>
                </a:cubicBezTo>
                <a:cubicBezTo>
                  <a:pt x="2671161" y="579604"/>
                  <a:pt x="2669454" y="572775"/>
                  <a:pt x="2672869" y="571779"/>
                </a:cubicBezTo>
                <a:cubicBezTo>
                  <a:pt x="2681405" y="573344"/>
                  <a:pt x="2669667" y="581169"/>
                  <a:pt x="2678844" y="584014"/>
                </a:cubicBezTo>
                <a:cubicBezTo>
                  <a:pt x="2685674" y="575762"/>
                  <a:pt x="2694851" y="580742"/>
                  <a:pt x="2708083" y="577469"/>
                </a:cubicBezTo>
                <a:cubicBezTo>
                  <a:pt x="2714059" y="580315"/>
                  <a:pt x="2698266" y="579604"/>
                  <a:pt x="2695918" y="580884"/>
                </a:cubicBezTo>
                <a:cubicBezTo>
                  <a:pt x="2693571" y="590558"/>
                  <a:pt x="2708723" y="587001"/>
                  <a:pt x="2716193" y="588282"/>
                </a:cubicBezTo>
                <a:lnTo>
                  <a:pt x="2716406" y="588282"/>
                </a:lnTo>
                <a:lnTo>
                  <a:pt x="2715553" y="580742"/>
                </a:lnTo>
                <a:cubicBezTo>
                  <a:pt x="2712992" y="572063"/>
                  <a:pt x="2707656" y="564523"/>
                  <a:pt x="2713845" y="556983"/>
                </a:cubicBezTo>
                <a:cubicBezTo>
                  <a:pt x="2717047" y="561678"/>
                  <a:pt x="2720461" y="566088"/>
                  <a:pt x="2723022" y="571352"/>
                </a:cubicBezTo>
                <a:cubicBezTo>
                  <a:pt x="2724303" y="573913"/>
                  <a:pt x="2725370" y="576758"/>
                  <a:pt x="2725797" y="580030"/>
                </a:cubicBezTo>
                <a:lnTo>
                  <a:pt x="2726010" y="582449"/>
                </a:lnTo>
                <a:lnTo>
                  <a:pt x="2728358" y="585152"/>
                </a:lnTo>
                <a:cubicBezTo>
                  <a:pt x="2730705" y="587571"/>
                  <a:pt x="2733907" y="589563"/>
                  <a:pt x="2741163" y="588709"/>
                </a:cubicBezTo>
                <a:cubicBezTo>
                  <a:pt x="2747566" y="587571"/>
                  <a:pt x="2737748" y="583587"/>
                  <a:pt x="2743724" y="581169"/>
                </a:cubicBezTo>
                <a:lnTo>
                  <a:pt x="2747993" y="584299"/>
                </a:lnTo>
                <a:lnTo>
                  <a:pt x="2748206" y="581026"/>
                </a:lnTo>
                <a:cubicBezTo>
                  <a:pt x="2747139" y="573202"/>
                  <a:pt x="2742017" y="569929"/>
                  <a:pt x="2739029" y="564666"/>
                </a:cubicBezTo>
                <a:cubicBezTo>
                  <a:pt x="2745645" y="555560"/>
                  <a:pt x="2746498" y="541049"/>
                  <a:pt x="2751194" y="529241"/>
                </a:cubicBezTo>
                <a:cubicBezTo>
                  <a:pt x="2764853" y="522981"/>
                  <a:pt x="2774670" y="514018"/>
                  <a:pt x="2788542" y="507758"/>
                </a:cubicBezTo>
                <a:cubicBezTo>
                  <a:pt x="2791530" y="509892"/>
                  <a:pt x="2795158" y="511315"/>
                  <a:pt x="2799213" y="512310"/>
                </a:cubicBezTo>
                <a:lnTo>
                  <a:pt x="2808390" y="514302"/>
                </a:lnTo>
                <a:lnTo>
                  <a:pt x="2806896" y="509181"/>
                </a:lnTo>
                <a:cubicBezTo>
                  <a:pt x="2805829" y="507189"/>
                  <a:pt x="2804976" y="504770"/>
                  <a:pt x="2805189" y="500075"/>
                </a:cubicBezTo>
                <a:cubicBezTo>
                  <a:pt x="2805402" y="488125"/>
                  <a:pt x="2813085" y="485991"/>
                  <a:pt x="2819061" y="486560"/>
                </a:cubicBezTo>
                <a:cubicBezTo>
                  <a:pt x="2818848" y="486986"/>
                  <a:pt x="2819488" y="487271"/>
                  <a:pt x="2820128" y="487556"/>
                </a:cubicBezTo>
                <a:lnTo>
                  <a:pt x="2822476" y="488551"/>
                </a:lnTo>
                <a:lnTo>
                  <a:pt x="2826104" y="487129"/>
                </a:lnTo>
                <a:cubicBezTo>
                  <a:pt x="2827171" y="487271"/>
                  <a:pt x="2828238" y="487840"/>
                  <a:pt x="2829519" y="488978"/>
                </a:cubicBezTo>
                <a:cubicBezTo>
                  <a:pt x="2830799" y="488836"/>
                  <a:pt x="2832506" y="493531"/>
                  <a:pt x="2831653" y="494812"/>
                </a:cubicBezTo>
                <a:lnTo>
                  <a:pt x="2830586" y="495807"/>
                </a:lnTo>
                <a:lnTo>
                  <a:pt x="2832506" y="502921"/>
                </a:lnTo>
                <a:cubicBezTo>
                  <a:pt x="2832506" y="504486"/>
                  <a:pt x="2832080" y="505909"/>
                  <a:pt x="2831866" y="507473"/>
                </a:cubicBezTo>
                <a:cubicBezTo>
                  <a:pt x="2832293" y="504912"/>
                  <a:pt x="2832934" y="502352"/>
                  <a:pt x="2833574" y="500644"/>
                </a:cubicBezTo>
                <a:lnTo>
                  <a:pt x="2834641" y="498226"/>
                </a:lnTo>
                <a:lnTo>
                  <a:pt x="2833361" y="498083"/>
                </a:lnTo>
                <a:lnTo>
                  <a:pt x="2834854" y="496803"/>
                </a:lnTo>
                <a:lnTo>
                  <a:pt x="2834854" y="496661"/>
                </a:lnTo>
                <a:cubicBezTo>
                  <a:pt x="2836135" y="496661"/>
                  <a:pt x="2836135" y="495380"/>
                  <a:pt x="2834854" y="495380"/>
                </a:cubicBezTo>
                <a:cubicBezTo>
                  <a:pt x="2836349" y="493673"/>
                  <a:pt x="2837202" y="492108"/>
                  <a:pt x="2838269" y="491397"/>
                </a:cubicBezTo>
                <a:lnTo>
                  <a:pt x="2839336" y="491539"/>
                </a:lnTo>
                <a:lnTo>
                  <a:pt x="2839123" y="484995"/>
                </a:lnTo>
                <a:lnTo>
                  <a:pt x="2839549" y="483003"/>
                </a:lnTo>
                <a:lnTo>
                  <a:pt x="2838909" y="482577"/>
                </a:lnTo>
                <a:lnTo>
                  <a:pt x="2839763" y="481580"/>
                </a:lnTo>
                <a:lnTo>
                  <a:pt x="2840830" y="475463"/>
                </a:lnTo>
                <a:cubicBezTo>
                  <a:pt x="2841897" y="472902"/>
                  <a:pt x="2843391" y="471337"/>
                  <a:pt x="2845952" y="470910"/>
                </a:cubicBezTo>
                <a:lnTo>
                  <a:pt x="2847019" y="479020"/>
                </a:lnTo>
                <a:lnTo>
                  <a:pt x="2847446" y="479447"/>
                </a:lnTo>
                <a:lnTo>
                  <a:pt x="2847233" y="480015"/>
                </a:lnTo>
                <a:lnTo>
                  <a:pt x="2848086" y="489405"/>
                </a:lnTo>
                <a:lnTo>
                  <a:pt x="2846592" y="498510"/>
                </a:lnTo>
                <a:lnTo>
                  <a:pt x="2847873" y="498652"/>
                </a:lnTo>
                <a:cubicBezTo>
                  <a:pt x="2852355" y="497941"/>
                  <a:pt x="2858331" y="493958"/>
                  <a:pt x="2864733" y="499507"/>
                </a:cubicBezTo>
                <a:cubicBezTo>
                  <a:pt x="2862172" y="501925"/>
                  <a:pt x="2866227" y="508042"/>
                  <a:pt x="2862386" y="511457"/>
                </a:cubicBezTo>
                <a:cubicBezTo>
                  <a:pt x="2854489" y="520420"/>
                  <a:pt x="2850647" y="521273"/>
                  <a:pt x="2846165" y="519566"/>
                </a:cubicBezTo>
                <a:lnTo>
                  <a:pt x="2845739" y="519282"/>
                </a:lnTo>
                <a:lnTo>
                  <a:pt x="2838909" y="519282"/>
                </a:lnTo>
                <a:lnTo>
                  <a:pt x="2837842" y="517148"/>
                </a:lnTo>
                <a:cubicBezTo>
                  <a:pt x="2836775" y="518286"/>
                  <a:pt x="2835494" y="519424"/>
                  <a:pt x="2833787" y="518143"/>
                </a:cubicBezTo>
                <a:cubicBezTo>
                  <a:pt x="2831440" y="515867"/>
                  <a:pt x="2831013" y="512595"/>
                  <a:pt x="2831226" y="509323"/>
                </a:cubicBezTo>
                <a:cubicBezTo>
                  <a:pt x="2829732" y="514302"/>
                  <a:pt x="2825678" y="517859"/>
                  <a:pt x="2817140" y="516152"/>
                </a:cubicBezTo>
                <a:cubicBezTo>
                  <a:pt x="2814579" y="516294"/>
                  <a:pt x="2815433" y="515725"/>
                  <a:pt x="2813939" y="515298"/>
                </a:cubicBezTo>
                <a:lnTo>
                  <a:pt x="2812232" y="515156"/>
                </a:lnTo>
                <a:lnTo>
                  <a:pt x="2823543" y="519139"/>
                </a:lnTo>
                <a:cubicBezTo>
                  <a:pt x="2826958" y="521131"/>
                  <a:pt x="2829946" y="523976"/>
                  <a:pt x="2831653" y="528102"/>
                </a:cubicBezTo>
                <a:cubicBezTo>
                  <a:pt x="2829946" y="535642"/>
                  <a:pt x="2830799" y="540622"/>
                  <a:pt x="2832293" y="544748"/>
                </a:cubicBezTo>
                <a:lnTo>
                  <a:pt x="2832506" y="545317"/>
                </a:lnTo>
                <a:lnTo>
                  <a:pt x="2832720" y="545032"/>
                </a:lnTo>
                <a:cubicBezTo>
                  <a:pt x="2832934" y="544890"/>
                  <a:pt x="2832934" y="545174"/>
                  <a:pt x="2833361" y="545744"/>
                </a:cubicBezTo>
                <a:cubicBezTo>
                  <a:pt x="2833361" y="545744"/>
                  <a:pt x="2833574" y="545744"/>
                  <a:pt x="2834427" y="547024"/>
                </a:cubicBezTo>
                <a:cubicBezTo>
                  <a:pt x="2834427" y="547024"/>
                  <a:pt x="2834641" y="547024"/>
                  <a:pt x="2834641" y="547451"/>
                </a:cubicBezTo>
                <a:lnTo>
                  <a:pt x="2833787" y="548873"/>
                </a:lnTo>
                <a:lnTo>
                  <a:pt x="2834641" y="550865"/>
                </a:lnTo>
                <a:cubicBezTo>
                  <a:pt x="2835494" y="552857"/>
                  <a:pt x="2836135" y="554849"/>
                  <a:pt x="2836562" y="557267"/>
                </a:cubicBezTo>
                <a:cubicBezTo>
                  <a:pt x="2834854" y="562247"/>
                  <a:pt x="2832293" y="567653"/>
                  <a:pt x="2829519" y="572917"/>
                </a:cubicBezTo>
                <a:lnTo>
                  <a:pt x="2826531" y="577327"/>
                </a:lnTo>
                <a:lnTo>
                  <a:pt x="2824397" y="581453"/>
                </a:lnTo>
                <a:lnTo>
                  <a:pt x="2824183" y="581880"/>
                </a:lnTo>
                <a:lnTo>
                  <a:pt x="2822690" y="591697"/>
                </a:lnTo>
                <a:cubicBezTo>
                  <a:pt x="2821622" y="594827"/>
                  <a:pt x="2819702" y="597672"/>
                  <a:pt x="2816927" y="599948"/>
                </a:cubicBezTo>
                <a:cubicBezTo>
                  <a:pt x="2815220" y="601086"/>
                  <a:pt x="2813512" y="601798"/>
                  <a:pt x="2811805" y="602224"/>
                </a:cubicBezTo>
                <a:lnTo>
                  <a:pt x="2807964" y="602651"/>
                </a:lnTo>
                <a:lnTo>
                  <a:pt x="2809884" y="603647"/>
                </a:lnTo>
                <a:cubicBezTo>
                  <a:pt x="2815433" y="608484"/>
                  <a:pt x="2801348" y="608342"/>
                  <a:pt x="2807110" y="615313"/>
                </a:cubicBezTo>
                <a:cubicBezTo>
                  <a:pt x="2808390" y="613321"/>
                  <a:pt x="2809884" y="607915"/>
                  <a:pt x="2814366" y="608769"/>
                </a:cubicBezTo>
                <a:lnTo>
                  <a:pt x="2819488" y="611756"/>
                </a:lnTo>
                <a:cubicBezTo>
                  <a:pt x="2820342" y="611045"/>
                  <a:pt x="2822049" y="610760"/>
                  <a:pt x="2825037" y="611330"/>
                </a:cubicBezTo>
                <a:cubicBezTo>
                  <a:pt x="2825678" y="615882"/>
                  <a:pt x="2824823" y="617874"/>
                  <a:pt x="2823756" y="618443"/>
                </a:cubicBezTo>
                <a:cubicBezTo>
                  <a:pt x="2822263" y="619297"/>
                  <a:pt x="2819702" y="617020"/>
                  <a:pt x="2818848" y="614602"/>
                </a:cubicBezTo>
                <a:lnTo>
                  <a:pt x="2819275" y="612468"/>
                </a:lnTo>
                <a:lnTo>
                  <a:pt x="2813726" y="615455"/>
                </a:lnTo>
                <a:cubicBezTo>
                  <a:pt x="2811592" y="616878"/>
                  <a:pt x="2809671" y="619297"/>
                  <a:pt x="2809884" y="624561"/>
                </a:cubicBezTo>
                <a:cubicBezTo>
                  <a:pt x="2812872" y="624418"/>
                  <a:pt x="2814366" y="625841"/>
                  <a:pt x="2814152" y="626837"/>
                </a:cubicBezTo>
                <a:lnTo>
                  <a:pt x="2816714" y="626410"/>
                </a:lnTo>
                <a:lnTo>
                  <a:pt x="2816500" y="626126"/>
                </a:lnTo>
                <a:lnTo>
                  <a:pt x="2818635" y="625414"/>
                </a:lnTo>
                <a:lnTo>
                  <a:pt x="2818848" y="623138"/>
                </a:lnTo>
                <a:cubicBezTo>
                  <a:pt x="2818635" y="620862"/>
                  <a:pt x="2818421" y="618727"/>
                  <a:pt x="2823330" y="620292"/>
                </a:cubicBezTo>
                <a:lnTo>
                  <a:pt x="2822476" y="623849"/>
                </a:lnTo>
                <a:lnTo>
                  <a:pt x="2827598" y="621857"/>
                </a:lnTo>
                <a:cubicBezTo>
                  <a:pt x="2830799" y="622284"/>
                  <a:pt x="2833147" y="624703"/>
                  <a:pt x="2834854" y="629255"/>
                </a:cubicBezTo>
                <a:lnTo>
                  <a:pt x="2830159" y="632955"/>
                </a:lnTo>
                <a:lnTo>
                  <a:pt x="2837842" y="636227"/>
                </a:lnTo>
                <a:cubicBezTo>
                  <a:pt x="2837202" y="638076"/>
                  <a:pt x="2834854" y="637792"/>
                  <a:pt x="2832080" y="637080"/>
                </a:cubicBezTo>
                <a:lnTo>
                  <a:pt x="2826958" y="635800"/>
                </a:lnTo>
                <a:lnTo>
                  <a:pt x="2825250" y="637222"/>
                </a:lnTo>
                <a:lnTo>
                  <a:pt x="2826958" y="641348"/>
                </a:lnTo>
                <a:cubicBezTo>
                  <a:pt x="2829519" y="642629"/>
                  <a:pt x="2832934" y="643482"/>
                  <a:pt x="2836135" y="643909"/>
                </a:cubicBezTo>
                <a:cubicBezTo>
                  <a:pt x="2841470" y="648746"/>
                  <a:pt x="2823330" y="641064"/>
                  <a:pt x="2822049" y="644763"/>
                </a:cubicBezTo>
                <a:cubicBezTo>
                  <a:pt x="2828025" y="647608"/>
                  <a:pt x="2838909" y="651023"/>
                  <a:pt x="2850434" y="652445"/>
                </a:cubicBezTo>
                <a:lnTo>
                  <a:pt x="2851928" y="652587"/>
                </a:lnTo>
                <a:lnTo>
                  <a:pt x="2857477" y="642060"/>
                </a:lnTo>
                <a:cubicBezTo>
                  <a:pt x="2860465" y="637649"/>
                  <a:pt x="2863666" y="633808"/>
                  <a:pt x="2866654" y="631105"/>
                </a:cubicBezTo>
                <a:cubicBezTo>
                  <a:pt x="2869002" y="636369"/>
                  <a:pt x="2870069" y="642344"/>
                  <a:pt x="2870069" y="648177"/>
                </a:cubicBezTo>
                <a:lnTo>
                  <a:pt x="2869428" y="651734"/>
                </a:lnTo>
                <a:lnTo>
                  <a:pt x="2877538" y="648462"/>
                </a:lnTo>
                <a:cubicBezTo>
                  <a:pt x="2878605" y="648746"/>
                  <a:pt x="2879886" y="649458"/>
                  <a:pt x="2881166" y="650169"/>
                </a:cubicBezTo>
                <a:lnTo>
                  <a:pt x="2885008" y="652730"/>
                </a:lnTo>
                <a:lnTo>
                  <a:pt x="2886075" y="651307"/>
                </a:lnTo>
                <a:lnTo>
                  <a:pt x="2887142" y="653014"/>
                </a:lnTo>
                <a:lnTo>
                  <a:pt x="2888423" y="653014"/>
                </a:lnTo>
                <a:cubicBezTo>
                  <a:pt x="2889490" y="652587"/>
                  <a:pt x="2890557" y="652018"/>
                  <a:pt x="2890984" y="650596"/>
                </a:cubicBezTo>
                <a:lnTo>
                  <a:pt x="2899094" y="657282"/>
                </a:lnTo>
                <a:lnTo>
                  <a:pt x="2899307" y="655149"/>
                </a:lnTo>
                <a:cubicBezTo>
                  <a:pt x="2900587" y="652872"/>
                  <a:pt x="2903149" y="651023"/>
                  <a:pt x="2904856" y="651450"/>
                </a:cubicBezTo>
                <a:cubicBezTo>
                  <a:pt x="2906350" y="651876"/>
                  <a:pt x="2907203" y="652872"/>
                  <a:pt x="2907203" y="652872"/>
                </a:cubicBezTo>
                <a:cubicBezTo>
                  <a:pt x="2907203" y="655006"/>
                  <a:pt x="2906990" y="656998"/>
                  <a:pt x="2906137" y="658421"/>
                </a:cubicBezTo>
                <a:lnTo>
                  <a:pt x="2902508" y="659416"/>
                </a:lnTo>
                <a:lnTo>
                  <a:pt x="2914673" y="662973"/>
                </a:lnTo>
                <a:lnTo>
                  <a:pt x="2918088" y="663542"/>
                </a:lnTo>
                <a:lnTo>
                  <a:pt x="2921929" y="660839"/>
                </a:lnTo>
                <a:cubicBezTo>
                  <a:pt x="2922570" y="661835"/>
                  <a:pt x="2923637" y="661266"/>
                  <a:pt x="2924277" y="662262"/>
                </a:cubicBezTo>
                <a:cubicBezTo>
                  <a:pt x="2924277" y="662262"/>
                  <a:pt x="2925344" y="663116"/>
                  <a:pt x="2926625" y="664538"/>
                </a:cubicBezTo>
                <a:lnTo>
                  <a:pt x="2926625" y="664681"/>
                </a:lnTo>
                <a:lnTo>
                  <a:pt x="2927052" y="664823"/>
                </a:lnTo>
                <a:cubicBezTo>
                  <a:pt x="2930680" y="665818"/>
                  <a:pt x="2934308" y="667099"/>
                  <a:pt x="2935588" y="669517"/>
                </a:cubicBezTo>
                <a:cubicBezTo>
                  <a:pt x="2933881" y="669944"/>
                  <a:pt x="2931533" y="669802"/>
                  <a:pt x="2929400" y="669802"/>
                </a:cubicBezTo>
                <a:lnTo>
                  <a:pt x="2928332" y="669944"/>
                </a:lnTo>
                <a:lnTo>
                  <a:pt x="2928759" y="671082"/>
                </a:lnTo>
                <a:cubicBezTo>
                  <a:pt x="2928545" y="672790"/>
                  <a:pt x="2927052" y="676631"/>
                  <a:pt x="2926412" y="675635"/>
                </a:cubicBezTo>
                <a:cubicBezTo>
                  <a:pt x="2924704" y="675209"/>
                  <a:pt x="2925344" y="676204"/>
                  <a:pt x="2924491" y="676916"/>
                </a:cubicBezTo>
                <a:lnTo>
                  <a:pt x="2923850" y="676631"/>
                </a:lnTo>
                <a:lnTo>
                  <a:pt x="2923210" y="682179"/>
                </a:lnTo>
                <a:cubicBezTo>
                  <a:pt x="2937936" y="685736"/>
                  <a:pt x="2951168" y="693988"/>
                  <a:pt x="2964613" y="701243"/>
                </a:cubicBezTo>
                <a:lnTo>
                  <a:pt x="2972937" y="705369"/>
                </a:lnTo>
                <a:lnTo>
                  <a:pt x="2975071" y="702666"/>
                </a:lnTo>
                <a:cubicBezTo>
                  <a:pt x="2976992" y="704089"/>
                  <a:pt x="2978059" y="705369"/>
                  <a:pt x="2979767" y="707930"/>
                </a:cubicBezTo>
                <a:lnTo>
                  <a:pt x="2979126" y="708642"/>
                </a:lnTo>
                <a:lnTo>
                  <a:pt x="2984888" y="711487"/>
                </a:lnTo>
                <a:lnTo>
                  <a:pt x="2985742" y="711772"/>
                </a:lnTo>
                <a:lnTo>
                  <a:pt x="2986595" y="709637"/>
                </a:lnTo>
                <a:cubicBezTo>
                  <a:pt x="2987023" y="708357"/>
                  <a:pt x="2988090" y="707788"/>
                  <a:pt x="2989370" y="707503"/>
                </a:cubicBezTo>
                <a:cubicBezTo>
                  <a:pt x="2990651" y="707361"/>
                  <a:pt x="2992145" y="707503"/>
                  <a:pt x="2993212" y="707930"/>
                </a:cubicBezTo>
                <a:cubicBezTo>
                  <a:pt x="2994492" y="709068"/>
                  <a:pt x="2994706" y="709210"/>
                  <a:pt x="2995986" y="710349"/>
                </a:cubicBezTo>
                <a:cubicBezTo>
                  <a:pt x="2996200" y="711487"/>
                  <a:pt x="2996626" y="712625"/>
                  <a:pt x="2996840" y="713763"/>
                </a:cubicBezTo>
                <a:lnTo>
                  <a:pt x="2996840" y="715328"/>
                </a:lnTo>
                <a:lnTo>
                  <a:pt x="3003029" y="717178"/>
                </a:lnTo>
                <a:lnTo>
                  <a:pt x="3006230" y="711629"/>
                </a:lnTo>
                <a:cubicBezTo>
                  <a:pt x="3008151" y="709353"/>
                  <a:pt x="3010712" y="707788"/>
                  <a:pt x="3014340" y="707503"/>
                </a:cubicBezTo>
                <a:lnTo>
                  <a:pt x="3010072" y="723153"/>
                </a:lnTo>
                <a:lnTo>
                  <a:pt x="3013913" y="727421"/>
                </a:lnTo>
                <a:cubicBezTo>
                  <a:pt x="3016901" y="729840"/>
                  <a:pt x="3019676" y="731689"/>
                  <a:pt x="3022451" y="733681"/>
                </a:cubicBezTo>
                <a:lnTo>
                  <a:pt x="3023517" y="734250"/>
                </a:lnTo>
                <a:lnTo>
                  <a:pt x="3023944" y="732685"/>
                </a:lnTo>
                <a:cubicBezTo>
                  <a:pt x="3029066" y="731974"/>
                  <a:pt x="3034615" y="728986"/>
                  <a:pt x="3039950" y="725714"/>
                </a:cubicBezTo>
                <a:lnTo>
                  <a:pt x="3050195" y="719738"/>
                </a:lnTo>
                <a:lnTo>
                  <a:pt x="3051262" y="718600"/>
                </a:lnTo>
                <a:cubicBezTo>
                  <a:pt x="3040805" y="711202"/>
                  <a:pt x="3031841" y="708500"/>
                  <a:pt x="3023091" y="704800"/>
                </a:cubicBezTo>
                <a:cubicBezTo>
                  <a:pt x="3014127" y="701955"/>
                  <a:pt x="3007511" y="697829"/>
                  <a:pt x="3001322" y="686590"/>
                </a:cubicBezTo>
                <a:cubicBezTo>
                  <a:pt x="3007511" y="683318"/>
                  <a:pt x="3005377" y="695126"/>
                  <a:pt x="3015621" y="697260"/>
                </a:cubicBezTo>
                <a:cubicBezTo>
                  <a:pt x="3015834" y="694272"/>
                  <a:pt x="3014980" y="691427"/>
                  <a:pt x="3013700" y="688724"/>
                </a:cubicBezTo>
                <a:lnTo>
                  <a:pt x="3009645" y="682748"/>
                </a:lnTo>
                <a:lnTo>
                  <a:pt x="3006871" y="684171"/>
                </a:lnTo>
                <a:cubicBezTo>
                  <a:pt x="3000468" y="685452"/>
                  <a:pt x="2992785" y="683745"/>
                  <a:pt x="2992571" y="679192"/>
                </a:cubicBezTo>
                <a:cubicBezTo>
                  <a:pt x="2992358" y="677484"/>
                  <a:pt x="2993212" y="675351"/>
                  <a:pt x="2995773" y="672932"/>
                </a:cubicBezTo>
                <a:lnTo>
                  <a:pt x="2996626" y="672221"/>
                </a:lnTo>
                <a:lnTo>
                  <a:pt x="2993212" y="669517"/>
                </a:lnTo>
                <a:cubicBezTo>
                  <a:pt x="2994706" y="667953"/>
                  <a:pt x="2996200" y="667383"/>
                  <a:pt x="2998121" y="667383"/>
                </a:cubicBezTo>
                <a:lnTo>
                  <a:pt x="3002816" y="667668"/>
                </a:lnTo>
                <a:lnTo>
                  <a:pt x="3007724" y="664111"/>
                </a:lnTo>
                <a:lnTo>
                  <a:pt x="3009645" y="666388"/>
                </a:lnTo>
                <a:lnTo>
                  <a:pt x="3011993" y="663969"/>
                </a:lnTo>
                <a:cubicBezTo>
                  <a:pt x="3017115" y="672790"/>
                  <a:pt x="3022451" y="677627"/>
                  <a:pt x="3027999" y="681326"/>
                </a:cubicBezTo>
                <a:lnTo>
                  <a:pt x="3036749" y="686590"/>
                </a:lnTo>
                <a:lnTo>
                  <a:pt x="3039950" y="682606"/>
                </a:lnTo>
                <a:cubicBezTo>
                  <a:pt x="3045926" y="677627"/>
                  <a:pt x="3053823" y="674924"/>
                  <a:pt x="3061506" y="675493"/>
                </a:cubicBezTo>
                <a:cubicBezTo>
                  <a:pt x="3064067" y="675635"/>
                  <a:pt x="3066415" y="676062"/>
                  <a:pt x="3068976" y="677058"/>
                </a:cubicBezTo>
                <a:lnTo>
                  <a:pt x="3075378" y="680899"/>
                </a:lnTo>
                <a:lnTo>
                  <a:pt x="3076232" y="679334"/>
                </a:lnTo>
                <a:cubicBezTo>
                  <a:pt x="3078793" y="676631"/>
                  <a:pt x="3082634" y="677484"/>
                  <a:pt x="3087330" y="680899"/>
                </a:cubicBezTo>
                <a:cubicBezTo>
                  <a:pt x="3087117" y="683602"/>
                  <a:pt x="3087757" y="686021"/>
                  <a:pt x="3087970" y="689720"/>
                </a:cubicBezTo>
                <a:cubicBezTo>
                  <a:pt x="3086263" y="690147"/>
                  <a:pt x="3083489" y="690004"/>
                  <a:pt x="3080927" y="689008"/>
                </a:cubicBezTo>
                <a:lnTo>
                  <a:pt x="3075378" y="684456"/>
                </a:lnTo>
                <a:lnTo>
                  <a:pt x="3074098" y="693988"/>
                </a:lnTo>
                <a:cubicBezTo>
                  <a:pt x="3072604" y="697829"/>
                  <a:pt x="3070470" y="700959"/>
                  <a:pt x="3067909" y="703520"/>
                </a:cubicBezTo>
                <a:lnTo>
                  <a:pt x="3064707" y="705512"/>
                </a:lnTo>
                <a:lnTo>
                  <a:pt x="3069403" y="708072"/>
                </a:lnTo>
                <a:cubicBezTo>
                  <a:pt x="3072177" y="709353"/>
                  <a:pt x="3075165" y="710349"/>
                  <a:pt x="3078793" y="711487"/>
                </a:cubicBezTo>
                <a:cubicBezTo>
                  <a:pt x="3080074" y="715044"/>
                  <a:pt x="3082208" y="718316"/>
                  <a:pt x="3084982" y="721446"/>
                </a:cubicBezTo>
                <a:lnTo>
                  <a:pt x="3087330" y="723295"/>
                </a:lnTo>
                <a:lnTo>
                  <a:pt x="3088184" y="721730"/>
                </a:lnTo>
                <a:lnTo>
                  <a:pt x="3089677" y="725429"/>
                </a:lnTo>
                <a:lnTo>
                  <a:pt x="3093946" y="728986"/>
                </a:lnTo>
                <a:lnTo>
                  <a:pt x="3094373" y="729128"/>
                </a:lnTo>
                <a:lnTo>
                  <a:pt x="3094586" y="729555"/>
                </a:lnTo>
                <a:lnTo>
                  <a:pt x="3095440" y="730267"/>
                </a:lnTo>
                <a:cubicBezTo>
                  <a:pt x="3099495" y="732543"/>
                  <a:pt x="3103550" y="735815"/>
                  <a:pt x="3108245" y="739371"/>
                </a:cubicBezTo>
                <a:cubicBezTo>
                  <a:pt x="3113367" y="741933"/>
                  <a:pt x="3116995" y="746200"/>
                  <a:pt x="3122330" y="750895"/>
                </a:cubicBezTo>
                <a:cubicBezTo>
                  <a:pt x="3130441" y="753456"/>
                  <a:pt x="3126813" y="740936"/>
                  <a:pt x="3135136" y="748762"/>
                </a:cubicBezTo>
                <a:cubicBezTo>
                  <a:pt x="3133215" y="751180"/>
                  <a:pt x="3132148" y="753456"/>
                  <a:pt x="3131935" y="755448"/>
                </a:cubicBezTo>
                <a:lnTo>
                  <a:pt x="3133215" y="760712"/>
                </a:lnTo>
                <a:lnTo>
                  <a:pt x="3139404" y="753741"/>
                </a:lnTo>
                <a:cubicBezTo>
                  <a:pt x="3143886" y="749046"/>
                  <a:pt x="3148795" y="745205"/>
                  <a:pt x="3152423" y="745347"/>
                </a:cubicBezTo>
                <a:cubicBezTo>
                  <a:pt x="3153490" y="745489"/>
                  <a:pt x="3154557" y="745916"/>
                  <a:pt x="3155411" y="746770"/>
                </a:cubicBezTo>
                <a:cubicBezTo>
                  <a:pt x="3152636" y="750184"/>
                  <a:pt x="3148368" y="757013"/>
                  <a:pt x="3143459" y="762135"/>
                </a:cubicBezTo>
                <a:lnTo>
                  <a:pt x="3138977" y="765265"/>
                </a:lnTo>
                <a:lnTo>
                  <a:pt x="3144099" y="769106"/>
                </a:lnTo>
                <a:cubicBezTo>
                  <a:pt x="3153917" y="775223"/>
                  <a:pt x="3165655" y="781910"/>
                  <a:pt x="3165655" y="793434"/>
                </a:cubicBezTo>
                <a:cubicBezTo>
                  <a:pt x="3168429" y="794287"/>
                  <a:pt x="3170350" y="794856"/>
                  <a:pt x="3173338" y="791584"/>
                </a:cubicBezTo>
                <a:lnTo>
                  <a:pt x="3180168" y="801828"/>
                </a:lnTo>
                <a:lnTo>
                  <a:pt x="3191052" y="805811"/>
                </a:lnTo>
                <a:cubicBezTo>
                  <a:pt x="3194467" y="808087"/>
                  <a:pt x="3197027" y="811217"/>
                  <a:pt x="3198735" y="815770"/>
                </a:cubicBezTo>
                <a:lnTo>
                  <a:pt x="3193186" y="817620"/>
                </a:lnTo>
                <a:lnTo>
                  <a:pt x="3195534" y="820323"/>
                </a:lnTo>
                <a:cubicBezTo>
                  <a:pt x="3199162" y="824448"/>
                  <a:pt x="3202577" y="828717"/>
                  <a:pt x="3206632" y="831989"/>
                </a:cubicBezTo>
                <a:cubicBezTo>
                  <a:pt x="3210046" y="836257"/>
                  <a:pt x="3213034" y="839244"/>
                  <a:pt x="3216876" y="842516"/>
                </a:cubicBezTo>
                <a:cubicBezTo>
                  <a:pt x="3224345" y="849914"/>
                  <a:pt x="3230962" y="857170"/>
                  <a:pt x="3237578" y="864284"/>
                </a:cubicBezTo>
                <a:lnTo>
                  <a:pt x="3243980" y="871681"/>
                </a:lnTo>
                <a:lnTo>
                  <a:pt x="3246968" y="871966"/>
                </a:lnTo>
                <a:lnTo>
                  <a:pt x="3245901" y="873816"/>
                </a:lnTo>
                <a:lnTo>
                  <a:pt x="3247181" y="875380"/>
                </a:lnTo>
                <a:cubicBezTo>
                  <a:pt x="3250382" y="879222"/>
                  <a:pt x="3253370" y="883205"/>
                  <a:pt x="3256358" y="887758"/>
                </a:cubicBezTo>
                <a:lnTo>
                  <a:pt x="3253584" y="888327"/>
                </a:lnTo>
                <a:lnTo>
                  <a:pt x="3254438" y="889323"/>
                </a:lnTo>
                <a:cubicBezTo>
                  <a:pt x="3254651" y="890888"/>
                  <a:pt x="3254011" y="892026"/>
                  <a:pt x="3254011" y="892026"/>
                </a:cubicBezTo>
                <a:lnTo>
                  <a:pt x="3253157" y="892168"/>
                </a:lnTo>
                <a:lnTo>
                  <a:pt x="3261053" y="896294"/>
                </a:lnTo>
                <a:cubicBezTo>
                  <a:pt x="3265536" y="898428"/>
                  <a:pt x="3270231" y="900420"/>
                  <a:pt x="3274712" y="901843"/>
                </a:cubicBezTo>
                <a:cubicBezTo>
                  <a:pt x="3272151" y="904830"/>
                  <a:pt x="3278554" y="918203"/>
                  <a:pt x="3286024" y="922187"/>
                </a:cubicBezTo>
                <a:lnTo>
                  <a:pt x="3287091" y="922472"/>
                </a:lnTo>
                <a:lnTo>
                  <a:pt x="3287091" y="922329"/>
                </a:lnTo>
                <a:lnTo>
                  <a:pt x="3290719" y="923041"/>
                </a:lnTo>
                <a:lnTo>
                  <a:pt x="3293707" y="922187"/>
                </a:lnTo>
                <a:cubicBezTo>
                  <a:pt x="3291146" y="932715"/>
                  <a:pt x="3304592" y="960742"/>
                  <a:pt x="3315475" y="961027"/>
                </a:cubicBezTo>
                <a:cubicBezTo>
                  <a:pt x="3312274" y="967286"/>
                  <a:pt x="3314195" y="973120"/>
                  <a:pt x="3317396" y="978241"/>
                </a:cubicBezTo>
                <a:lnTo>
                  <a:pt x="3322732" y="985924"/>
                </a:lnTo>
                <a:lnTo>
                  <a:pt x="3324013" y="986635"/>
                </a:lnTo>
                <a:lnTo>
                  <a:pt x="3323799" y="988769"/>
                </a:lnTo>
                <a:lnTo>
                  <a:pt x="3324013" y="989053"/>
                </a:lnTo>
                <a:lnTo>
                  <a:pt x="3324439" y="988200"/>
                </a:lnTo>
                <a:cubicBezTo>
                  <a:pt x="3327214" y="987916"/>
                  <a:pt x="3329348" y="988484"/>
                  <a:pt x="3331055" y="989196"/>
                </a:cubicBezTo>
                <a:lnTo>
                  <a:pt x="3332336" y="989765"/>
                </a:lnTo>
                <a:lnTo>
                  <a:pt x="3334684" y="987488"/>
                </a:lnTo>
                <a:lnTo>
                  <a:pt x="3335324" y="990903"/>
                </a:lnTo>
                <a:lnTo>
                  <a:pt x="3336391" y="991330"/>
                </a:lnTo>
                <a:cubicBezTo>
                  <a:pt x="3336604" y="994460"/>
                  <a:pt x="3336391" y="996736"/>
                  <a:pt x="3335537" y="998728"/>
                </a:cubicBezTo>
                <a:lnTo>
                  <a:pt x="3334470" y="1000293"/>
                </a:lnTo>
                <a:lnTo>
                  <a:pt x="3335537" y="1005272"/>
                </a:lnTo>
                <a:cubicBezTo>
                  <a:pt x="3336391" y="1006695"/>
                  <a:pt x="3337244" y="1007833"/>
                  <a:pt x="3338312" y="1008686"/>
                </a:cubicBezTo>
                <a:lnTo>
                  <a:pt x="3340446" y="1009256"/>
                </a:lnTo>
                <a:lnTo>
                  <a:pt x="3343433" y="1007691"/>
                </a:lnTo>
                <a:cubicBezTo>
                  <a:pt x="3344714" y="1007406"/>
                  <a:pt x="3345781" y="1007406"/>
                  <a:pt x="3346848" y="1007691"/>
                </a:cubicBezTo>
                <a:cubicBezTo>
                  <a:pt x="3348769" y="1008260"/>
                  <a:pt x="3350476" y="1009825"/>
                  <a:pt x="3351117" y="1011959"/>
                </a:cubicBezTo>
                <a:cubicBezTo>
                  <a:pt x="3351757" y="1013950"/>
                  <a:pt x="3351757" y="1016369"/>
                  <a:pt x="3350903" y="1018787"/>
                </a:cubicBezTo>
                <a:lnTo>
                  <a:pt x="3345355" y="1024336"/>
                </a:lnTo>
                <a:lnTo>
                  <a:pt x="3345568" y="1024478"/>
                </a:lnTo>
                <a:cubicBezTo>
                  <a:pt x="3345355" y="1026186"/>
                  <a:pt x="3344288" y="1027751"/>
                  <a:pt x="3341940" y="1029458"/>
                </a:cubicBezTo>
                <a:cubicBezTo>
                  <a:pt x="3345995" y="1029600"/>
                  <a:pt x="3348983" y="1032588"/>
                  <a:pt x="3342793" y="1035860"/>
                </a:cubicBezTo>
                <a:lnTo>
                  <a:pt x="3344501" y="1036856"/>
                </a:lnTo>
                <a:lnTo>
                  <a:pt x="3349409" y="1034153"/>
                </a:lnTo>
                <a:cubicBezTo>
                  <a:pt x="3350476" y="1035433"/>
                  <a:pt x="3351330" y="1036714"/>
                  <a:pt x="3352611" y="1035717"/>
                </a:cubicBezTo>
                <a:cubicBezTo>
                  <a:pt x="3354318" y="1037567"/>
                  <a:pt x="3355599" y="1039844"/>
                  <a:pt x="3356452" y="1042262"/>
                </a:cubicBezTo>
                <a:cubicBezTo>
                  <a:pt x="3358159" y="1046530"/>
                  <a:pt x="3358586" y="1051367"/>
                  <a:pt x="3357946" y="1056204"/>
                </a:cubicBezTo>
                <a:lnTo>
                  <a:pt x="3357092" y="1059192"/>
                </a:lnTo>
                <a:lnTo>
                  <a:pt x="3358159" y="1058481"/>
                </a:lnTo>
                <a:cubicBezTo>
                  <a:pt x="3365202" y="1058907"/>
                  <a:pt x="3367763" y="1063602"/>
                  <a:pt x="3366910" y="1068013"/>
                </a:cubicBezTo>
                <a:lnTo>
                  <a:pt x="3363709" y="1073277"/>
                </a:lnTo>
                <a:lnTo>
                  <a:pt x="3365202" y="1073561"/>
                </a:lnTo>
                <a:cubicBezTo>
                  <a:pt x="3366270" y="1074130"/>
                  <a:pt x="3366697" y="1075126"/>
                  <a:pt x="3367123" y="1076407"/>
                </a:cubicBezTo>
                <a:cubicBezTo>
                  <a:pt x="3367977" y="1078825"/>
                  <a:pt x="3367977" y="1082239"/>
                  <a:pt x="3369044" y="1085228"/>
                </a:cubicBezTo>
                <a:lnTo>
                  <a:pt x="3366910" y="1084516"/>
                </a:lnTo>
                <a:lnTo>
                  <a:pt x="3367977" y="1088215"/>
                </a:lnTo>
                <a:lnTo>
                  <a:pt x="3373953" y="1089922"/>
                </a:lnTo>
                <a:lnTo>
                  <a:pt x="3373099" y="1088926"/>
                </a:lnTo>
                <a:cubicBezTo>
                  <a:pt x="3372886" y="1085369"/>
                  <a:pt x="3371178" y="1081671"/>
                  <a:pt x="3372245" y="1077544"/>
                </a:cubicBezTo>
                <a:lnTo>
                  <a:pt x="3373953" y="1074557"/>
                </a:lnTo>
                <a:lnTo>
                  <a:pt x="3372886" y="1074699"/>
                </a:lnTo>
                <a:cubicBezTo>
                  <a:pt x="3369684" y="1070004"/>
                  <a:pt x="3369257" y="1068297"/>
                  <a:pt x="3369257" y="1063033"/>
                </a:cubicBezTo>
                <a:lnTo>
                  <a:pt x="3376087" y="1061326"/>
                </a:lnTo>
                <a:lnTo>
                  <a:pt x="3375233" y="1056489"/>
                </a:lnTo>
                <a:cubicBezTo>
                  <a:pt x="3377368" y="1055920"/>
                  <a:pt x="3378861" y="1055635"/>
                  <a:pt x="3380142" y="1055777"/>
                </a:cubicBezTo>
                <a:cubicBezTo>
                  <a:pt x="3381209" y="1055777"/>
                  <a:pt x="3381849" y="1056204"/>
                  <a:pt x="3382276" y="1056773"/>
                </a:cubicBezTo>
                <a:cubicBezTo>
                  <a:pt x="3382916" y="1057485"/>
                  <a:pt x="3382489" y="1058623"/>
                  <a:pt x="3381849" y="1059619"/>
                </a:cubicBezTo>
                <a:lnTo>
                  <a:pt x="3380569" y="1060899"/>
                </a:lnTo>
                <a:lnTo>
                  <a:pt x="3388252" y="1062038"/>
                </a:lnTo>
                <a:cubicBezTo>
                  <a:pt x="3395081" y="1072565"/>
                  <a:pt x="3387398" y="1073561"/>
                  <a:pt x="3379715" y="1073988"/>
                </a:cubicBezTo>
                <a:lnTo>
                  <a:pt x="3375660" y="1074415"/>
                </a:lnTo>
                <a:lnTo>
                  <a:pt x="3384624" y="1080674"/>
                </a:lnTo>
                <a:cubicBezTo>
                  <a:pt x="3388039" y="1082524"/>
                  <a:pt x="3391667" y="1083947"/>
                  <a:pt x="3395295" y="1086081"/>
                </a:cubicBezTo>
                <a:lnTo>
                  <a:pt x="3395081" y="1086792"/>
                </a:lnTo>
                <a:lnTo>
                  <a:pt x="3405112" y="1084089"/>
                </a:lnTo>
                <a:lnTo>
                  <a:pt x="3412368" y="1083235"/>
                </a:lnTo>
                <a:lnTo>
                  <a:pt x="3411728" y="1082808"/>
                </a:lnTo>
                <a:cubicBezTo>
                  <a:pt x="3410234" y="1077829"/>
                  <a:pt x="3409594" y="1073419"/>
                  <a:pt x="3410234" y="1069720"/>
                </a:cubicBezTo>
                <a:lnTo>
                  <a:pt x="3417704" y="1061468"/>
                </a:lnTo>
                <a:lnTo>
                  <a:pt x="3415356" y="1053928"/>
                </a:lnTo>
                <a:lnTo>
                  <a:pt x="3417064" y="1045961"/>
                </a:lnTo>
                <a:lnTo>
                  <a:pt x="3413009" y="1039274"/>
                </a:lnTo>
                <a:cubicBezTo>
                  <a:pt x="3414502" y="1037567"/>
                  <a:pt x="3416209" y="1036998"/>
                  <a:pt x="3417704" y="1037282"/>
                </a:cubicBezTo>
                <a:lnTo>
                  <a:pt x="3420052" y="1038705"/>
                </a:lnTo>
                <a:lnTo>
                  <a:pt x="3427094" y="1030311"/>
                </a:lnTo>
                <a:cubicBezTo>
                  <a:pt x="3430723" y="1027324"/>
                  <a:pt x="3434991" y="1024905"/>
                  <a:pt x="3439686" y="1023198"/>
                </a:cubicBezTo>
                <a:lnTo>
                  <a:pt x="3453558" y="1021491"/>
                </a:lnTo>
                <a:lnTo>
                  <a:pt x="3456546" y="1016227"/>
                </a:lnTo>
                <a:cubicBezTo>
                  <a:pt x="3465510" y="1012670"/>
                  <a:pt x="3473620" y="1010536"/>
                  <a:pt x="3480876" y="1011532"/>
                </a:cubicBezTo>
                <a:cubicBezTo>
                  <a:pt x="3487919" y="1012528"/>
                  <a:pt x="3493894" y="1016511"/>
                  <a:pt x="3498376" y="1024905"/>
                </a:cubicBezTo>
                <a:cubicBezTo>
                  <a:pt x="3495389" y="1026043"/>
                  <a:pt x="3496456" y="1029031"/>
                  <a:pt x="3497523" y="1032161"/>
                </a:cubicBezTo>
                <a:lnTo>
                  <a:pt x="3487278" y="1039274"/>
                </a:lnTo>
                <a:lnTo>
                  <a:pt x="3489413" y="1042262"/>
                </a:lnTo>
                <a:cubicBezTo>
                  <a:pt x="3491547" y="1046957"/>
                  <a:pt x="3493041" y="1052363"/>
                  <a:pt x="3494108" y="1058623"/>
                </a:cubicBezTo>
                <a:lnTo>
                  <a:pt x="3492614" y="1059619"/>
                </a:lnTo>
                <a:lnTo>
                  <a:pt x="3492827" y="1059761"/>
                </a:lnTo>
                <a:cubicBezTo>
                  <a:pt x="3492187" y="1063033"/>
                  <a:pt x="3490480" y="1064314"/>
                  <a:pt x="3488773" y="1063887"/>
                </a:cubicBezTo>
                <a:lnTo>
                  <a:pt x="3487492" y="1063460"/>
                </a:lnTo>
                <a:lnTo>
                  <a:pt x="3474900" y="1072850"/>
                </a:lnTo>
                <a:cubicBezTo>
                  <a:pt x="3461241" y="1080106"/>
                  <a:pt x="3446729" y="1082381"/>
                  <a:pt x="3434991" y="1078825"/>
                </a:cubicBezTo>
                <a:lnTo>
                  <a:pt x="3430936" y="1076833"/>
                </a:lnTo>
                <a:lnTo>
                  <a:pt x="3430296" y="1081386"/>
                </a:lnTo>
                <a:lnTo>
                  <a:pt x="3429869" y="1081671"/>
                </a:lnTo>
                <a:lnTo>
                  <a:pt x="3436698" y="1081101"/>
                </a:lnTo>
                <a:cubicBezTo>
                  <a:pt x="3436271" y="1083235"/>
                  <a:pt x="3436698" y="1084943"/>
                  <a:pt x="3436911" y="1086934"/>
                </a:cubicBezTo>
                <a:lnTo>
                  <a:pt x="3436271" y="1090349"/>
                </a:lnTo>
                <a:lnTo>
                  <a:pt x="3437765" y="1090349"/>
                </a:lnTo>
                <a:cubicBezTo>
                  <a:pt x="3439046" y="1093052"/>
                  <a:pt x="3439686" y="1095329"/>
                  <a:pt x="3439472" y="1097035"/>
                </a:cubicBezTo>
                <a:lnTo>
                  <a:pt x="3438619" y="1098885"/>
                </a:lnTo>
                <a:lnTo>
                  <a:pt x="3444594" y="1098458"/>
                </a:lnTo>
                <a:cubicBezTo>
                  <a:pt x="3446942" y="1098885"/>
                  <a:pt x="3448650" y="1099596"/>
                  <a:pt x="3449717" y="1100592"/>
                </a:cubicBezTo>
                <a:lnTo>
                  <a:pt x="3450997" y="1103153"/>
                </a:lnTo>
                <a:lnTo>
                  <a:pt x="3452705" y="1100876"/>
                </a:lnTo>
                <a:cubicBezTo>
                  <a:pt x="3453985" y="1099739"/>
                  <a:pt x="3456546" y="1098458"/>
                  <a:pt x="3459321" y="1098031"/>
                </a:cubicBezTo>
                <a:cubicBezTo>
                  <a:pt x="3462095" y="1097462"/>
                  <a:pt x="3465083" y="1097462"/>
                  <a:pt x="3466790" y="1098743"/>
                </a:cubicBezTo>
                <a:cubicBezTo>
                  <a:pt x="3465296" y="1101019"/>
                  <a:pt x="3464016" y="1103296"/>
                  <a:pt x="3462522" y="1105571"/>
                </a:cubicBezTo>
                <a:cubicBezTo>
                  <a:pt x="3462736" y="1104433"/>
                  <a:pt x="3452064" y="1106568"/>
                  <a:pt x="3452064" y="1106568"/>
                </a:cubicBezTo>
                <a:lnTo>
                  <a:pt x="3450997" y="1104718"/>
                </a:lnTo>
                <a:lnTo>
                  <a:pt x="3449717" y="1109697"/>
                </a:lnTo>
                <a:cubicBezTo>
                  <a:pt x="3446515" y="1116242"/>
                  <a:pt x="3438406" y="1122644"/>
                  <a:pt x="3434351" y="1119941"/>
                </a:cubicBezTo>
                <a:cubicBezTo>
                  <a:pt x="3432430" y="1118518"/>
                  <a:pt x="3431363" y="1114819"/>
                  <a:pt x="3432643" y="1107563"/>
                </a:cubicBezTo>
                <a:lnTo>
                  <a:pt x="3434137" y="1102015"/>
                </a:lnTo>
                <a:lnTo>
                  <a:pt x="3433710" y="1102015"/>
                </a:lnTo>
                <a:cubicBezTo>
                  <a:pt x="3432216" y="1102015"/>
                  <a:pt x="3430509" y="1101304"/>
                  <a:pt x="3429015" y="1100307"/>
                </a:cubicBezTo>
                <a:lnTo>
                  <a:pt x="3425173" y="1094902"/>
                </a:lnTo>
                <a:lnTo>
                  <a:pt x="3405752" y="1095612"/>
                </a:lnTo>
                <a:lnTo>
                  <a:pt x="3400203" y="1099454"/>
                </a:lnTo>
                <a:cubicBezTo>
                  <a:pt x="3398282" y="1100166"/>
                  <a:pt x="3396575" y="1099881"/>
                  <a:pt x="3395295" y="1098031"/>
                </a:cubicBezTo>
                <a:lnTo>
                  <a:pt x="3395935" y="1096182"/>
                </a:lnTo>
                <a:lnTo>
                  <a:pt x="3391453" y="1096609"/>
                </a:lnTo>
                <a:lnTo>
                  <a:pt x="3382489" y="1096324"/>
                </a:lnTo>
                <a:lnTo>
                  <a:pt x="3382916" y="1097035"/>
                </a:lnTo>
                <a:cubicBezTo>
                  <a:pt x="3382276" y="1101730"/>
                  <a:pt x="3382276" y="1105430"/>
                  <a:pt x="3382916" y="1108702"/>
                </a:cubicBezTo>
                <a:lnTo>
                  <a:pt x="3382916" y="1108986"/>
                </a:lnTo>
                <a:lnTo>
                  <a:pt x="3386971" y="1107705"/>
                </a:lnTo>
                <a:cubicBezTo>
                  <a:pt x="3388892" y="1107563"/>
                  <a:pt x="3390600" y="1108275"/>
                  <a:pt x="3391453" y="1109840"/>
                </a:cubicBezTo>
                <a:cubicBezTo>
                  <a:pt x="3392307" y="1110836"/>
                  <a:pt x="3392520" y="1112258"/>
                  <a:pt x="3392520" y="1114107"/>
                </a:cubicBezTo>
                <a:cubicBezTo>
                  <a:pt x="3391240" y="1115388"/>
                  <a:pt x="3388679" y="1116099"/>
                  <a:pt x="3386117" y="1116242"/>
                </a:cubicBezTo>
                <a:lnTo>
                  <a:pt x="3385477" y="1116099"/>
                </a:lnTo>
                <a:lnTo>
                  <a:pt x="3385904" y="1117238"/>
                </a:lnTo>
                <a:lnTo>
                  <a:pt x="3388892" y="1121363"/>
                </a:lnTo>
                <a:lnTo>
                  <a:pt x="3389105" y="1121221"/>
                </a:lnTo>
                <a:cubicBezTo>
                  <a:pt x="3390172" y="1120652"/>
                  <a:pt x="3391240" y="1120368"/>
                  <a:pt x="3392093" y="1120652"/>
                </a:cubicBezTo>
                <a:cubicBezTo>
                  <a:pt x="3393587" y="1121221"/>
                  <a:pt x="3394014" y="1122359"/>
                  <a:pt x="3394014" y="1122359"/>
                </a:cubicBezTo>
                <a:lnTo>
                  <a:pt x="3393587" y="1123355"/>
                </a:lnTo>
                <a:lnTo>
                  <a:pt x="3398923" y="1124067"/>
                </a:lnTo>
                <a:cubicBezTo>
                  <a:pt x="3400843" y="1125205"/>
                  <a:pt x="3402124" y="1126912"/>
                  <a:pt x="3402338" y="1129188"/>
                </a:cubicBezTo>
                <a:cubicBezTo>
                  <a:pt x="3402764" y="1131180"/>
                  <a:pt x="3402124" y="1133457"/>
                  <a:pt x="3400630" y="1136017"/>
                </a:cubicBezTo>
                <a:lnTo>
                  <a:pt x="3399350" y="1136586"/>
                </a:lnTo>
                <a:lnTo>
                  <a:pt x="3399990" y="1137582"/>
                </a:lnTo>
                <a:lnTo>
                  <a:pt x="3402124" y="1133741"/>
                </a:lnTo>
                <a:cubicBezTo>
                  <a:pt x="3403191" y="1132318"/>
                  <a:pt x="3404685" y="1131180"/>
                  <a:pt x="3406819" y="1131465"/>
                </a:cubicBezTo>
                <a:cubicBezTo>
                  <a:pt x="3407246" y="1132603"/>
                  <a:pt x="3408100" y="1132033"/>
                  <a:pt x="3408527" y="1133029"/>
                </a:cubicBezTo>
                <a:cubicBezTo>
                  <a:pt x="3408527" y="1133029"/>
                  <a:pt x="3409594" y="1133883"/>
                  <a:pt x="3410234" y="1135448"/>
                </a:cubicBezTo>
                <a:cubicBezTo>
                  <a:pt x="3411088" y="1136871"/>
                  <a:pt x="3411728" y="1139147"/>
                  <a:pt x="3410874" y="1142135"/>
                </a:cubicBezTo>
                <a:cubicBezTo>
                  <a:pt x="3410234" y="1143700"/>
                  <a:pt x="3407886" y="1147541"/>
                  <a:pt x="3407459" y="1146403"/>
                </a:cubicBezTo>
                <a:cubicBezTo>
                  <a:pt x="3405966" y="1145834"/>
                  <a:pt x="3406393" y="1146972"/>
                  <a:pt x="3405326" y="1147541"/>
                </a:cubicBezTo>
                <a:lnTo>
                  <a:pt x="3403618" y="1146545"/>
                </a:lnTo>
                <a:lnTo>
                  <a:pt x="3403191" y="1147257"/>
                </a:lnTo>
                <a:cubicBezTo>
                  <a:pt x="3401484" y="1149675"/>
                  <a:pt x="3401484" y="1149675"/>
                  <a:pt x="3399990" y="1149248"/>
                </a:cubicBezTo>
                <a:cubicBezTo>
                  <a:pt x="3399136" y="1149105"/>
                  <a:pt x="3398710" y="1147968"/>
                  <a:pt x="3398069" y="1146972"/>
                </a:cubicBezTo>
                <a:lnTo>
                  <a:pt x="3397429" y="1146118"/>
                </a:lnTo>
                <a:lnTo>
                  <a:pt x="3399136" y="1151809"/>
                </a:lnTo>
                <a:cubicBezTo>
                  <a:pt x="3402124" y="1157926"/>
                  <a:pt x="3403831" y="1164613"/>
                  <a:pt x="3406393" y="1171727"/>
                </a:cubicBezTo>
                <a:lnTo>
                  <a:pt x="3409381" y="1180690"/>
                </a:lnTo>
                <a:lnTo>
                  <a:pt x="3410874" y="1180263"/>
                </a:lnTo>
                <a:cubicBezTo>
                  <a:pt x="3411514" y="1180405"/>
                  <a:pt x="3412368" y="1180690"/>
                  <a:pt x="3412795" y="1181116"/>
                </a:cubicBezTo>
                <a:cubicBezTo>
                  <a:pt x="3413222" y="1181685"/>
                  <a:pt x="3413435" y="1182681"/>
                  <a:pt x="3412795" y="1184246"/>
                </a:cubicBezTo>
                <a:cubicBezTo>
                  <a:pt x="3412795" y="1185669"/>
                  <a:pt x="3412582" y="1186522"/>
                  <a:pt x="3411942" y="1186949"/>
                </a:cubicBezTo>
                <a:lnTo>
                  <a:pt x="3411301" y="1187092"/>
                </a:lnTo>
                <a:lnTo>
                  <a:pt x="3412795" y="1191360"/>
                </a:lnTo>
                <a:cubicBezTo>
                  <a:pt x="3414289" y="1198046"/>
                  <a:pt x="3417064" y="1205160"/>
                  <a:pt x="3418557" y="1211846"/>
                </a:cubicBezTo>
                <a:cubicBezTo>
                  <a:pt x="3420265" y="1218533"/>
                  <a:pt x="3423253" y="1224650"/>
                  <a:pt x="3425814" y="1231622"/>
                </a:cubicBezTo>
                <a:cubicBezTo>
                  <a:pt x="3427948" y="1237455"/>
                  <a:pt x="3430509" y="1244568"/>
                  <a:pt x="3433497" y="1250544"/>
                </a:cubicBezTo>
                <a:cubicBezTo>
                  <a:pt x="3436271" y="1256661"/>
                  <a:pt x="3439259" y="1262779"/>
                  <a:pt x="3442034" y="1268896"/>
                </a:cubicBezTo>
                <a:cubicBezTo>
                  <a:pt x="3443954" y="1272596"/>
                  <a:pt x="3446089" y="1275298"/>
                  <a:pt x="3448009" y="1278001"/>
                </a:cubicBezTo>
                <a:cubicBezTo>
                  <a:pt x="3448009" y="1278001"/>
                  <a:pt x="3448009" y="1278001"/>
                  <a:pt x="3449290" y="1280420"/>
                </a:cubicBezTo>
                <a:cubicBezTo>
                  <a:pt x="3450357" y="1285969"/>
                  <a:pt x="3448223" y="1268612"/>
                  <a:pt x="3451210" y="1292371"/>
                </a:cubicBezTo>
                <a:cubicBezTo>
                  <a:pt x="3451210" y="1292371"/>
                  <a:pt x="3450997" y="1292371"/>
                  <a:pt x="3452064" y="1292655"/>
                </a:cubicBezTo>
                <a:cubicBezTo>
                  <a:pt x="3452064" y="1292655"/>
                  <a:pt x="3452064" y="1292655"/>
                  <a:pt x="3452705" y="1293936"/>
                </a:cubicBezTo>
                <a:cubicBezTo>
                  <a:pt x="3453558" y="1294220"/>
                  <a:pt x="3454412" y="1294505"/>
                  <a:pt x="3455052" y="1295643"/>
                </a:cubicBezTo>
                <a:cubicBezTo>
                  <a:pt x="3458467" y="1294647"/>
                  <a:pt x="3458894" y="1292655"/>
                  <a:pt x="3459321" y="1291801"/>
                </a:cubicBezTo>
                <a:cubicBezTo>
                  <a:pt x="3459321" y="1291801"/>
                  <a:pt x="3459321" y="1291801"/>
                  <a:pt x="3458467" y="1291517"/>
                </a:cubicBezTo>
                <a:cubicBezTo>
                  <a:pt x="3458467" y="1291517"/>
                  <a:pt x="3458467" y="1291517"/>
                  <a:pt x="3458680" y="1290664"/>
                </a:cubicBezTo>
                <a:lnTo>
                  <a:pt x="3457613" y="1284119"/>
                </a:lnTo>
                <a:lnTo>
                  <a:pt x="3453131" y="1278286"/>
                </a:lnTo>
                <a:cubicBezTo>
                  <a:pt x="3452705" y="1276437"/>
                  <a:pt x="3453345" y="1274729"/>
                  <a:pt x="3455265" y="1273164"/>
                </a:cubicBezTo>
                <a:cubicBezTo>
                  <a:pt x="3456333" y="1273306"/>
                  <a:pt x="3459748" y="1275156"/>
                  <a:pt x="3459748" y="1274018"/>
                </a:cubicBezTo>
                <a:cubicBezTo>
                  <a:pt x="3462309" y="1277006"/>
                  <a:pt x="3464656" y="1280705"/>
                  <a:pt x="3464656" y="1283835"/>
                </a:cubicBezTo>
                <a:cubicBezTo>
                  <a:pt x="3464656" y="1284830"/>
                  <a:pt x="3464229" y="1285684"/>
                  <a:pt x="3463589" y="1286537"/>
                </a:cubicBezTo>
                <a:lnTo>
                  <a:pt x="3462522" y="1286822"/>
                </a:lnTo>
                <a:lnTo>
                  <a:pt x="3462949" y="1289810"/>
                </a:lnTo>
                <a:cubicBezTo>
                  <a:pt x="3462949" y="1289810"/>
                  <a:pt x="3462949" y="1289810"/>
                  <a:pt x="3462736" y="1290806"/>
                </a:cubicBezTo>
                <a:cubicBezTo>
                  <a:pt x="3462736" y="1290806"/>
                  <a:pt x="3462736" y="1290806"/>
                  <a:pt x="3463589" y="1291091"/>
                </a:cubicBezTo>
                <a:cubicBezTo>
                  <a:pt x="3463589" y="1291091"/>
                  <a:pt x="3464443" y="1291374"/>
                  <a:pt x="3464229" y="1292228"/>
                </a:cubicBezTo>
                <a:cubicBezTo>
                  <a:pt x="3465083" y="1292513"/>
                  <a:pt x="3464656" y="1293509"/>
                  <a:pt x="3465296" y="1294647"/>
                </a:cubicBezTo>
                <a:lnTo>
                  <a:pt x="3468284" y="1297777"/>
                </a:lnTo>
                <a:lnTo>
                  <a:pt x="3475540" y="1297492"/>
                </a:lnTo>
                <a:cubicBezTo>
                  <a:pt x="3484291" y="1297350"/>
                  <a:pt x="3492827" y="1298204"/>
                  <a:pt x="3499444" y="1305175"/>
                </a:cubicBezTo>
                <a:cubicBezTo>
                  <a:pt x="3502005" y="1320540"/>
                  <a:pt x="3510328" y="1323243"/>
                  <a:pt x="3515236" y="1331921"/>
                </a:cubicBezTo>
                <a:cubicBezTo>
                  <a:pt x="3516091" y="1352835"/>
                  <a:pt x="3510541" y="1380292"/>
                  <a:pt x="3490053" y="1389825"/>
                </a:cubicBezTo>
                <a:lnTo>
                  <a:pt x="3482370" y="1391674"/>
                </a:lnTo>
                <a:lnTo>
                  <a:pt x="3483437" y="1406328"/>
                </a:lnTo>
                <a:lnTo>
                  <a:pt x="3483437" y="1408035"/>
                </a:lnTo>
                <a:lnTo>
                  <a:pt x="3486425" y="1408889"/>
                </a:lnTo>
                <a:lnTo>
                  <a:pt x="3486638" y="1407751"/>
                </a:lnTo>
                <a:lnTo>
                  <a:pt x="3487065" y="1409173"/>
                </a:lnTo>
                <a:lnTo>
                  <a:pt x="3488986" y="1409600"/>
                </a:lnTo>
                <a:cubicBezTo>
                  <a:pt x="3494535" y="1411592"/>
                  <a:pt x="3499230" y="1414295"/>
                  <a:pt x="3499870" y="1418990"/>
                </a:cubicBezTo>
                <a:lnTo>
                  <a:pt x="3499444" y="1422120"/>
                </a:lnTo>
                <a:lnTo>
                  <a:pt x="3500084" y="1420270"/>
                </a:lnTo>
                <a:cubicBezTo>
                  <a:pt x="3509688" y="1404052"/>
                  <a:pt x="3524840" y="1407181"/>
                  <a:pt x="3540633" y="1399499"/>
                </a:cubicBezTo>
                <a:cubicBezTo>
                  <a:pt x="3550451" y="1411876"/>
                  <a:pt x="3558347" y="1408604"/>
                  <a:pt x="3566670" y="1410169"/>
                </a:cubicBezTo>
                <a:cubicBezTo>
                  <a:pt x="3567951" y="1415575"/>
                  <a:pt x="3571366" y="1420839"/>
                  <a:pt x="3575207" y="1426103"/>
                </a:cubicBezTo>
                <a:lnTo>
                  <a:pt x="3583317" y="1437627"/>
                </a:lnTo>
                <a:lnTo>
                  <a:pt x="3588440" y="1439192"/>
                </a:lnTo>
                <a:cubicBezTo>
                  <a:pt x="3592921" y="1441895"/>
                  <a:pt x="3596549" y="1447159"/>
                  <a:pt x="3597190" y="1456407"/>
                </a:cubicBezTo>
                <a:cubicBezTo>
                  <a:pt x="3593135" y="1460674"/>
                  <a:pt x="3589507" y="1462666"/>
                  <a:pt x="3585878" y="1464089"/>
                </a:cubicBezTo>
                <a:lnTo>
                  <a:pt x="3582250" y="1465512"/>
                </a:lnTo>
                <a:lnTo>
                  <a:pt x="3579049" y="1483438"/>
                </a:lnTo>
                <a:cubicBezTo>
                  <a:pt x="3575207" y="1484149"/>
                  <a:pt x="3571793" y="1485998"/>
                  <a:pt x="3568378" y="1488275"/>
                </a:cubicBezTo>
                <a:lnTo>
                  <a:pt x="3563683" y="1491547"/>
                </a:lnTo>
                <a:lnTo>
                  <a:pt x="3563256" y="1494820"/>
                </a:lnTo>
                <a:lnTo>
                  <a:pt x="3565177" y="1498945"/>
                </a:lnTo>
                <a:lnTo>
                  <a:pt x="3561975" y="1502502"/>
                </a:lnTo>
                <a:lnTo>
                  <a:pt x="3561122" y="1508335"/>
                </a:lnTo>
                <a:cubicBezTo>
                  <a:pt x="3559201" y="1513030"/>
                  <a:pt x="3557067" y="1516729"/>
                  <a:pt x="3554292" y="1519859"/>
                </a:cubicBezTo>
                <a:lnTo>
                  <a:pt x="3549384" y="1524269"/>
                </a:lnTo>
                <a:lnTo>
                  <a:pt x="3555146" y="1528537"/>
                </a:lnTo>
                <a:cubicBezTo>
                  <a:pt x="3563470" y="1534654"/>
                  <a:pt x="3574567" y="1543333"/>
                  <a:pt x="3570512" y="1549308"/>
                </a:cubicBezTo>
                <a:cubicBezTo>
                  <a:pt x="3564110" y="1544898"/>
                  <a:pt x="3547249" y="1537358"/>
                  <a:pt x="3547249" y="1527825"/>
                </a:cubicBezTo>
                <a:lnTo>
                  <a:pt x="3548103" y="1525407"/>
                </a:lnTo>
                <a:lnTo>
                  <a:pt x="3545329" y="1527541"/>
                </a:lnTo>
                <a:cubicBezTo>
                  <a:pt x="3538926" y="1532094"/>
                  <a:pt x="3531457" y="1535792"/>
                  <a:pt x="3524414" y="1542195"/>
                </a:cubicBezTo>
                <a:lnTo>
                  <a:pt x="3521426" y="1540630"/>
                </a:lnTo>
                <a:lnTo>
                  <a:pt x="3522493" y="1541483"/>
                </a:lnTo>
                <a:cubicBezTo>
                  <a:pt x="3523774" y="1542764"/>
                  <a:pt x="3525054" y="1543902"/>
                  <a:pt x="3525694" y="1544898"/>
                </a:cubicBezTo>
                <a:cubicBezTo>
                  <a:pt x="3523133" y="1542906"/>
                  <a:pt x="3520145" y="1541199"/>
                  <a:pt x="3517157" y="1539207"/>
                </a:cubicBezTo>
                <a:lnTo>
                  <a:pt x="3515877" y="1537927"/>
                </a:lnTo>
                <a:lnTo>
                  <a:pt x="3509688" y="1537500"/>
                </a:lnTo>
                <a:cubicBezTo>
                  <a:pt x="3505420" y="1537927"/>
                  <a:pt x="3501578" y="1539776"/>
                  <a:pt x="3497523" y="1540345"/>
                </a:cubicBezTo>
                <a:cubicBezTo>
                  <a:pt x="3495389" y="1535508"/>
                  <a:pt x="3491334" y="1531525"/>
                  <a:pt x="3486852" y="1527683"/>
                </a:cubicBezTo>
                <a:lnTo>
                  <a:pt x="3476394" y="1518294"/>
                </a:lnTo>
                <a:lnTo>
                  <a:pt x="3476607" y="1519147"/>
                </a:lnTo>
                <a:cubicBezTo>
                  <a:pt x="3470205" y="1517156"/>
                  <a:pt x="3467004" y="1523558"/>
                  <a:pt x="3465510" y="1531383"/>
                </a:cubicBezTo>
                <a:cubicBezTo>
                  <a:pt x="3464656" y="1539349"/>
                  <a:pt x="3466364" y="1549308"/>
                  <a:pt x="3469778" y="1553434"/>
                </a:cubicBezTo>
                <a:cubicBezTo>
                  <a:pt x="3472980" y="1550304"/>
                  <a:pt x="3475540" y="1545894"/>
                  <a:pt x="3476607" y="1539919"/>
                </a:cubicBezTo>
                <a:cubicBezTo>
                  <a:pt x="3477461" y="1534085"/>
                  <a:pt x="3476607" y="1527541"/>
                  <a:pt x="3475967" y="1520997"/>
                </a:cubicBezTo>
                <a:cubicBezTo>
                  <a:pt x="3482156" y="1529106"/>
                  <a:pt x="3481090" y="1541341"/>
                  <a:pt x="3478955" y="1553149"/>
                </a:cubicBezTo>
                <a:lnTo>
                  <a:pt x="3478742" y="1557986"/>
                </a:lnTo>
                <a:lnTo>
                  <a:pt x="3478528" y="1560690"/>
                </a:lnTo>
                <a:lnTo>
                  <a:pt x="3487278" y="1559125"/>
                </a:lnTo>
                <a:lnTo>
                  <a:pt x="3487278" y="1558414"/>
                </a:lnTo>
                <a:lnTo>
                  <a:pt x="3483223" y="1559409"/>
                </a:lnTo>
                <a:lnTo>
                  <a:pt x="3478742" y="1557986"/>
                </a:lnTo>
                <a:lnTo>
                  <a:pt x="3483864" y="1555710"/>
                </a:lnTo>
                <a:cubicBezTo>
                  <a:pt x="3484931" y="1554999"/>
                  <a:pt x="3485571" y="1554714"/>
                  <a:pt x="3486211" y="1555141"/>
                </a:cubicBezTo>
                <a:lnTo>
                  <a:pt x="3487278" y="1556991"/>
                </a:lnTo>
                <a:lnTo>
                  <a:pt x="3487278" y="1556422"/>
                </a:lnTo>
                <a:cubicBezTo>
                  <a:pt x="3487919" y="1554430"/>
                  <a:pt x="3488986" y="1552154"/>
                  <a:pt x="3490694" y="1549593"/>
                </a:cubicBezTo>
                <a:cubicBezTo>
                  <a:pt x="3492614" y="1552580"/>
                  <a:pt x="3495175" y="1555141"/>
                  <a:pt x="3497736" y="1557275"/>
                </a:cubicBezTo>
                <a:lnTo>
                  <a:pt x="3498803" y="1557986"/>
                </a:lnTo>
                <a:lnTo>
                  <a:pt x="3503925" y="1558414"/>
                </a:lnTo>
                <a:lnTo>
                  <a:pt x="3505420" y="1558983"/>
                </a:lnTo>
                <a:lnTo>
                  <a:pt x="3507767" y="1557275"/>
                </a:lnTo>
                <a:cubicBezTo>
                  <a:pt x="3509047" y="1556849"/>
                  <a:pt x="3510328" y="1556706"/>
                  <a:pt x="3511395" y="1556991"/>
                </a:cubicBezTo>
                <a:cubicBezTo>
                  <a:pt x="3517157" y="1557702"/>
                  <a:pt x="3520145" y="1560263"/>
                  <a:pt x="3522279" y="1563393"/>
                </a:cubicBezTo>
                <a:cubicBezTo>
                  <a:pt x="3522279" y="1563393"/>
                  <a:pt x="3522279" y="1563251"/>
                  <a:pt x="3521426" y="1562255"/>
                </a:cubicBezTo>
                <a:cubicBezTo>
                  <a:pt x="3522279" y="1557275"/>
                  <a:pt x="3523347" y="1549593"/>
                  <a:pt x="3525481" y="1545609"/>
                </a:cubicBezTo>
                <a:lnTo>
                  <a:pt x="3525694" y="1545325"/>
                </a:lnTo>
                <a:lnTo>
                  <a:pt x="3525481" y="1545040"/>
                </a:lnTo>
                <a:lnTo>
                  <a:pt x="3526121" y="1544898"/>
                </a:lnTo>
                <a:lnTo>
                  <a:pt x="3527615" y="1543333"/>
                </a:lnTo>
                <a:cubicBezTo>
                  <a:pt x="3528255" y="1544328"/>
                  <a:pt x="3529109" y="1545467"/>
                  <a:pt x="3528895" y="1547032"/>
                </a:cubicBezTo>
                <a:cubicBezTo>
                  <a:pt x="3528469" y="1548739"/>
                  <a:pt x="3527828" y="1547601"/>
                  <a:pt x="3528469" y="1548739"/>
                </a:cubicBezTo>
                <a:cubicBezTo>
                  <a:pt x="3528255" y="1550304"/>
                  <a:pt x="3529322" y="1549735"/>
                  <a:pt x="3529322" y="1549735"/>
                </a:cubicBezTo>
                <a:cubicBezTo>
                  <a:pt x="3529322" y="1549735"/>
                  <a:pt x="3528255" y="1550304"/>
                  <a:pt x="3528255" y="1550304"/>
                </a:cubicBezTo>
                <a:cubicBezTo>
                  <a:pt x="3528255" y="1550304"/>
                  <a:pt x="3528255" y="1550304"/>
                  <a:pt x="3527828" y="1553719"/>
                </a:cubicBezTo>
                <a:cubicBezTo>
                  <a:pt x="3528042" y="1557986"/>
                  <a:pt x="3528682" y="1559125"/>
                  <a:pt x="3529109" y="1561686"/>
                </a:cubicBezTo>
                <a:cubicBezTo>
                  <a:pt x="3528682" y="1565100"/>
                  <a:pt x="3527615" y="1565669"/>
                  <a:pt x="3526334" y="1569510"/>
                </a:cubicBezTo>
                <a:cubicBezTo>
                  <a:pt x="3523774" y="1569795"/>
                  <a:pt x="3523774" y="1569652"/>
                  <a:pt x="3523133" y="1568657"/>
                </a:cubicBezTo>
                <a:cubicBezTo>
                  <a:pt x="3523774" y="1569652"/>
                  <a:pt x="3522919" y="1570364"/>
                  <a:pt x="3522706" y="1571929"/>
                </a:cubicBezTo>
                <a:cubicBezTo>
                  <a:pt x="3523347" y="1579042"/>
                  <a:pt x="3517371" y="1580038"/>
                  <a:pt x="3509901" y="1578900"/>
                </a:cubicBezTo>
                <a:cubicBezTo>
                  <a:pt x="3510115" y="1577193"/>
                  <a:pt x="3506060" y="1577051"/>
                  <a:pt x="3503712" y="1575486"/>
                </a:cubicBezTo>
                <a:cubicBezTo>
                  <a:pt x="3502645" y="1573921"/>
                  <a:pt x="3501791" y="1572640"/>
                  <a:pt x="3501151" y="1571360"/>
                </a:cubicBezTo>
                <a:lnTo>
                  <a:pt x="3501151" y="1571217"/>
                </a:lnTo>
                <a:lnTo>
                  <a:pt x="3493894" y="1568515"/>
                </a:lnTo>
                <a:lnTo>
                  <a:pt x="3493041" y="1567945"/>
                </a:lnTo>
                <a:lnTo>
                  <a:pt x="3492614" y="1567945"/>
                </a:lnTo>
                <a:cubicBezTo>
                  <a:pt x="3487705" y="1567803"/>
                  <a:pt x="3483010" y="1567519"/>
                  <a:pt x="3480023" y="1564673"/>
                </a:cubicBezTo>
                <a:lnTo>
                  <a:pt x="3478528" y="1562397"/>
                </a:lnTo>
                <a:lnTo>
                  <a:pt x="3478102" y="1569795"/>
                </a:lnTo>
                <a:cubicBezTo>
                  <a:pt x="3478528" y="1574774"/>
                  <a:pt x="3480236" y="1578900"/>
                  <a:pt x="3484078" y="1581746"/>
                </a:cubicBezTo>
                <a:cubicBezTo>
                  <a:pt x="3483437" y="1588290"/>
                  <a:pt x="3482370" y="1593838"/>
                  <a:pt x="3480876" y="1598960"/>
                </a:cubicBezTo>
                <a:lnTo>
                  <a:pt x="3480449" y="1600098"/>
                </a:lnTo>
                <a:lnTo>
                  <a:pt x="3480876" y="1600098"/>
                </a:lnTo>
                <a:cubicBezTo>
                  <a:pt x="3483010" y="1600809"/>
                  <a:pt x="3485358" y="1601663"/>
                  <a:pt x="3485358" y="1604082"/>
                </a:cubicBezTo>
                <a:cubicBezTo>
                  <a:pt x="3485571" y="1604793"/>
                  <a:pt x="3485358" y="1605789"/>
                  <a:pt x="3484931" y="1606927"/>
                </a:cubicBezTo>
                <a:cubicBezTo>
                  <a:pt x="3484931" y="1606927"/>
                  <a:pt x="3484931" y="1607070"/>
                  <a:pt x="3483864" y="1607496"/>
                </a:cubicBezTo>
                <a:lnTo>
                  <a:pt x="3481943" y="1608492"/>
                </a:lnTo>
                <a:lnTo>
                  <a:pt x="3489840" y="1612902"/>
                </a:lnTo>
                <a:cubicBezTo>
                  <a:pt x="3493894" y="1616601"/>
                  <a:pt x="3497736" y="1621581"/>
                  <a:pt x="3500297" y="1628410"/>
                </a:cubicBezTo>
                <a:cubicBezTo>
                  <a:pt x="3498590" y="1632109"/>
                  <a:pt x="3496242" y="1634100"/>
                  <a:pt x="3493468" y="1634669"/>
                </a:cubicBezTo>
                <a:lnTo>
                  <a:pt x="3489626" y="1633958"/>
                </a:lnTo>
                <a:lnTo>
                  <a:pt x="3490053" y="1635808"/>
                </a:lnTo>
                <a:lnTo>
                  <a:pt x="3498803" y="1635381"/>
                </a:lnTo>
                <a:lnTo>
                  <a:pt x="3510115" y="1637941"/>
                </a:lnTo>
                <a:lnTo>
                  <a:pt x="3512035" y="1631824"/>
                </a:lnTo>
                <a:cubicBezTo>
                  <a:pt x="3513743" y="1629690"/>
                  <a:pt x="3516731" y="1627983"/>
                  <a:pt x="3520786" y="1627129"/>
                </a:cubicBezTo>
                <a:lnTo>
                  <a:pt x="3524414" y="1635239"/>
                </a:lnTo>
                <a:lnTo>
                  <a:pt x="3524627" y="1632394"/>
                </a:lnTo>
                <a:cubicBezTo>
                  <a:pt x="3527615" y="1633816"/>
                  <a:pt x="3531670" y="1626987"/>
                  <a:pt x="3535938" y="1628979"/>
                </a:cubicBezTo>
                <a:cubicBezTo>
                  <a:pt x="3546182" y="1632394"/>
                  <a:pt x="3548103" y="1635666"/>
                  <a:pt x="3548103" y="1640930"/>
                </a:cubicBezTo>
                <a:lnTo>
                  <a:pt x="3547890" y="1642779"/>
                </a:lnTo>
                <a:lnTo>
                  <a:pt x="3548317" y="1642779"/>
                </a:lnTo>
                <a:lnTo>
                  <a:pt x="3550664" y="1642494"/>
                </a:lnTo>
                <a:lnTo>
                  <a:pt x="3549170" y="1641213"/>
                </a:lnTo>
                <a:lnTo>
                  <a:pt x="3552372" y="1639080"/>
                </a:lnTo>
                <a:lnTo>
                  <a:pt x="3555146" y="1636092"/>
                </a:lnTo>
                <a:lnTo>
                  <a:pt x="3557067" y="1635808"/>
                </a:lnTo>
                <a:lnTo>
                  <a:pt x="3564323" y="1630686"/>
                </a:lnTo>
                <a:lnTo>
                  <a:pt x="3569445" y="1629405"/>
                </a:lnTo>
                <a:lnTo>
                  <a:pt x="3569445" y="1629263"/>
                </a:lnTo>
                <a:cubicBezTo>
                  <a:pt x="3568378" y="1627556"/>
                  <a:pt x="3567738" y="1625422"/>
                  <a:pt x="3567524" y="1622861"/>
                </a:cubicBezTo>
                <a:cubicBezTo>
                  <a:pt x="3569232" y="1623003"/>
                  <a:pt x="3569232" y="1621438"/>
                  <a:pt x="3569445" y="1619731"/>
                </a:cubicBezTo>
                <a:cubicBezTo>
                  <a:pt x="3571579" y="1618308"/>
                  <a:pt x="3573927" y="1618308"/>
                  <a:pt x="3576701" y="1619020"/>
                </a:cubicBezTo>
                <a:cubicBezTo>
                  <a:pt x="3579262" y="1619731"/>
                  <a:pt x="3581824" y="1621154"/>
                  <a:pt x="3584171" y="1623146"/>
                </a:cubicBezTo>
                <a:lnTo>
                  <a:pt x="3587586" y="1627556"/>
                </a:lnTo>
                <a:lnTo>
                  <a:pt x="3590147" y="1627698"/>
                </a:lnTo>
                <a:lnTo>
                  <a:pt x="3589080" y="1631824"/>
                </a:lnTo>
                <a:lnTo>
                  <a:pt x="3588866" y="1635666"/>
                </a:lnTo>
                <a:cubicBezTo>
                  <a:pt x="3588013" y="1636661"/>
                  <a:pt x="3586945" y="1637373"/>
                  <a:pt x="3585238" y="1638084"/>
                </a:cubicBezTo>
                <a:lnTo>
                  <a:pt x="3583957" y="1637515"/>
                </a:lnTo>
                <a:lnTo>
                  <a:pt x="3579262" y="1639649"/>
                </a:lnTo>
                <a:lnTo>
                  <a:pt x="3578195" y="1641783"/>
                </a:lnTo>
                <a:lnTo>
                  <a:pt x="3580117" y="1645624"/>
                </a:lnTo>
                <a:lnTo>
                  <a:pt x="3582037" y="1647474"/>
                </a:lnTo>
                <a:lnTo>
                  <a:pt x="3584812" y="1646762"/>
                </a:lnTo>
                <a:cubicBezTo>
                  <a:pt x="3588653" y="1647758"/>
                  <a:pt x="3591641" y="1645340"/>
                  <a:pt x="3595483" y="1646335"/>
                </a:cubicBezTo>
                <a:cubicBezTo>
                  <a:pt x="3595483" y="1646335"/>
                  <a:pt x="3595483" y="1646335"/>
                  <a:pt x="3594628" y="1647901"/>
                </a:cubicBezTo>
                <a:cubicBezTo>
                  <a:pt x="3591641" y="1647901"/>
                  <a:pt x="3588866" y="1648897"/>
                  <a:pt x="3586305" y="1649892"/>
                </a:cubicBezTo>
                <a:lnTo>
                  <a:pt x="3584598" y="1650177"/>
                </a:lnTo>
                <a:lnTo>
                  <a:pt x="3586519" y="1652311"/>
                </a:lnTo>
                <a:cubicBezTo>
                  <a:pt x="3591214" y="1656437"/>
                  <a:pt x="3595909" y="1660420"/>
                  <a:pt x="3598044" y="1666965"/>
                </a:cubicBezTo>
                <a:lnTo>
                  <a:pt x="3599111" y="1672656"/>
                </a:lnTo>
                <a:lnTo>
                  <a:pt x="3603379" y="1668814"/>
                </a:lnTo>
                <a:cubicBezTo>
                  <a:pt x="3605086" y="1667534"/>
                  <a:pt x="3606367" y="1666253"/>
                  <a:pt x="3607647" y="1664973"/>
                </a:cubicBezTo>
                <a:lnTo>
                  <a:pt x="3615757" y="1658571"/>
                </a:lnTo>
                <a:lnTo>
                  <a:pt x="3617038" y="1655298"/>
                </a:lnTo>
                <a:lnTo>
                  <a:pt x="3617678" y="1654729"/>
                </a:lnTo>
                <a:lnTo>
                  <a:pt x="3617678" y="1653449"/>
                </a:lnTo>
                <a:cubicBezTo>
                  <a:pt x="3617678" y="1653449"/>
                  <a:pt x="3617678" y="1653307"/>
                  <a:pt x="3618745" y="1653022"/>
                </a:cubicBezTo>
                <a:lnTo>
                  <a:pt x="3618532" y="1654161"/>
                </a:lnTo>
                <a:lnTo>
                  <a:pt x="3619813" y="1653164"/>
                </a:lnTo>
                <a:cubicBezTo>
                  <a:pt x="3623013" y="1652311"/>
                  <a:pt x="3626428" y="1654303"/>
                  <a:pt x="3627709" y="1658002"/>
                </a:cubicBezTo>
                <a:cubicBezTo>
                  <a:pt x="3628349" y="1659993"/>
                  <a:pt x="3628562" y="1662697"/>
                  <a:pt x="3627495" y="1665542"/>
                </a:cubicBezTo>
                <a:cubicBezTo>
                  <a:pt x="3624934" y="1666822"/>
                  <a:pt x="3619599" y="1665827"/>
                  <a:pt x="3616397" y="1663835"/>
                </a:cubicBezTo>
                <a:lnTo>
                  <a:pt x="3616184" y="1663550"/>
                </a:lnTo>
                <a:lnTo>
                  <a:pt x="3616184" y="1663692"/>
                </a:lnTo>
                <a:cubicBezTo>
                  <a:pt x="3613623" y="1667534"/>
                  <a:pt x="3608074" y="1672229"/>
                  <a:pt x="3607220" y="1671802"/>
                </a:cubicBezTo>
                <a:cubicBezTo>
                  <a:pt x="3606580" y="1672797"/>
                  <a:pt x="3605726" y="1672229"/>
                  <a:pt x="3605086" y="1673366"/>
                </a:cubicBezTo>
                <a:cubicBezTo>
                  <a:pt x="3605086" y="1673366"/>
                  <a:pt x="3604233" y="1674363"/>
                  <a:pt x="3602739" y="1674789"/>
                </a:cubicBezTo>
                <a:cubicBezTo>
                  <a:pt x="3601031" y="1675216"/>
                  <a:pt x="3599324" y="1675643"/>
                  <a:pt x="3598044" y="1673366"/>
                </a:cubicBezTo>
                <a:lnTo>
                  <a:pt x="3598470" y="1673224"/>
                </a:lnTo>
                <a:lnTo>
                  <a:pt x="3594202" y="1672797"/>
                </a:lnTo>
                <a:cubicBezTo>
                  <a:pt x="3591641" y="1672086"/>
                  <a:pt x="3588653" y="1670379"/>
                  <a:pt x="3586092" y="1668387"/>
                </a:cubicBezTo>
                <a:lnTo>
                  <a:pt x="3579689" y="1661700"/>
                </a:lnTo>
                <a:lnTo>
                  <a:pt x="3578622" y="1661558"/>
                </a:lnTo>
                <a:lnTo>
                  <a:pt x="3573927" y="1657006"/>
                </a:lnTo>
                <a:lnTo>
                  <a:pt x="3573927" y="1657290"/>
                </a:lnTo>
                <a:cubicBezTo>
                  <a:pt x="3572860" y="1661843"/>
                  <a:pt x="3571153" y="1666965"/>
                  <a:pt x="3570512" y="1669099"/>
                </a:cubicBezTo>
                <a:cubicBezTo>
                  <a:pt x="3569445" y="1669525"/>
                  <a:pt x="3569445" y="1669525"/>
                  <a:pt x="3569445" y="1669525"/>
                </a:cubicBezTo>
                <a:cubicBezTo>
                  <a:pt x="3568165" y="1669525"/>
                  <a:pt x="3567524" y="1668814"/>
                  <a:pt x="3567524" y="1667534"/>
                </a:cubicBezTo>
                <a:cubicBezTo>
                  <a:pt x="3567524" y="1666253"/>
                  <a:pt x="3567951" y="1664546"/>
                  <a:pt x="3568591" y="1662412"/>
                </a:cubicBezTo>
                <a:cubicBezTo>
                  <a:pt x="3569232" y="1660278"/>
                  <a:pt x="3570299" y="1657859"/>
                  <a:pt x="3571366" y="1655868"/>
                </a:cubicBezTo>
                <a:lnTo>
                  <a:pt x="3571793" y="1654871"/>
                </a:lnTo>
                <a:lnTo>
                  <a:pt x="3563256" y="1645340"/>
                </a:lnTo>
                <a:lnTo>
                  <a:pt x="3560268" y="1645482"/>
                </a:lnTo>
                <a:lnTo>
                  <a:pt x="3560268" y="1645908"/>
                </a:lnTo>
                <a:cubicBezTo>
                  <a:pt x="3558561" y="1648470"/>
                  <a:pt x="3556427" y="1649750"/>
                  <a:pt x="3553865" y="1650319"/>
                </a:cubicBezTo>
                <a:lnTo>
                  <a:pt x="3550237" y="1650888"/>
                </a:lnTo>
                <a:lnTo>
                  <a:pt x="3550451" y="1651030"/>
                </a:lnTo>
                <a:cubicBezTo>
                  <a:pt x="3550878" y="1651599"/>
                  <a:pt x="3551091" y="1652169"/>
                  <a:pt x="3550664" y="1653307"/>
                </a:cubicBezTo>
                <a:cubicBezTo>
                  <a:pt x="3549384" y="1656721"/>
                  <a:pt x="3546823" y="1658713"/>
                  <a:pt x="3543835" y="1659993"/>
                </a:cubicBezTo>
                <a:lnTo>
                  <a:pt x="3538499" y="1661132"/>
                </a:lnTo>
                <a:lnTo>
                  <a:pt x="3541701" y="1670948"/>
                </a:lnTo>
                <a:cubicBezTo>
                  <a:pt x="3542981" y="1678631"/>
                  <a:pt x="3543408" y="1686882"/>
                  <a:pt x="3546396" y="1696130"/>
                </a:cubicBezTo>
                <a:cubicBezTo>
                  <a:pt x="3533804" y="1702816"/>
                  <a:pt x="3536152" y="1711779"/>
                  <a:pt x="3533804" y="1719746"/>
                </a:cubicBezTo>
                <a:cubicBezTo>
                  <a:pt x="3523347" y="1719746"/>
                  <a:pt x="3512889" y="1728140"/>
                  <a:pt x="3501791" y="1731697"/>
                </a:cubicBezTo>
                <a:cubicBezTo>
                  <a:pt x="3495175" y="1727714"/>
                  <a:pt x="3488986" y="1725010"/>
                  <a:pt x="3482583" y="1722307"/>
                </a:cubicBezTo>
                <a:lnTo>
                  <a:pt x="3474900" y="1718608"/>
                </a:lnTo>
                <a:lnTo>
                  <a:pt x="3471485" y="1723587"/>
                </a:lnTo>
                <a:cubicBezTo>
                  <a:pt x="3469565" y="1722450"/>
                  <a:pt x="3468711" y="1721169"/>
                  <a:pt x="3468711" y="1719604"/>
                </a:cubicBezTo>
                <a:lnTo>
                  <a:pt x="3469991" y="1716332"/>
                </a:lnTo>
                <a:lnTo>
                  <a:pt x="3463162" y="1713059"/>
                </a:lnTo>
                <a:lnTo>
                  <a:pt x="3462309" y="1710356"/>
                </a:lnTo>
                <a:lnTo>
                  <a:pt x="3461241" y="1718893"/>
                </a:lnTo>
                <a:cubicBezTo>
                  <a:pt x="3461028" y="1723019"/>
                  <a:pt x="3459748" y="1726717"/>
                  <a:pt x="3458467" y="1730416"/>
                </a:cubicBezTo>
                <a:cubicBezTo>
                  <a:pt x="3457186" y="1734258"/>
                  <a:pt x="3454839" y="1737672"/>
                  <a:pt x="3452705" y="1741087"/>
                </a:cubicBezTo>
                <a:lnTo>
                  <a:pt x="3452918" y="1743078"/>
                </a:lnTo>
                <a:lnTo>
                  <a:pt x="3454625" y="1738810"/>
                </a:lnTo>
                <a:cubicBezTo>
                  <a:pt x="3457186" y="1735111"/>
                  <a:pt x="3460601" y="1732693"/>
                  <a:pt x="3464656" y="1732408"/>
                </a:cubicBezTo>
                <a:cubicBezTo>
                  <a:pt x="3459961" y="1739948"/>
                  <a:pt x="3460174" y="1747489"/>
                  <a:pt x="3459748" y="1755029"/>
                </a:cubicBezTo>
                <a:lnTo>
                  <a:pt x="3459748" y="1755598"/>
                </a:lnTo>
                <a:lnTo>
                  <a:pt x="3462949" y="1761004"/>
                </a:lnTo>
                <a:cubicBezTo>
                  <a:pt x="3463589" y="1762996"/>
                  <a:pt x="3463802" y="1764704"/>
                  <a:pt x="3463376" y="1766410"/>
                </a:cubicBezTo>
                <a:lnTo>
                  <a:pt x="3462949" y="1766979"/>
                </a:lnTo>
                <a:lnTo>
                  <a:pt x="3464016" y="1766695"/>
                </a:lnTo>
                <a:cubicBezTo>
                  <a:pt x="3464869" y="1766268"/>
                  <a:pt x="3465723" y="1765841"/>
                  <a:pt x="3466364" y="1766126"/>
                </a:cubicBezTo>
                <a:cubicBezTo>
                  <a:pt x="3466364" y="1766126"/>
                  <a:pt x="3468711" y="1768829"/>
                  <a:pt x="3468711" y="1768829"/>
                </a:cubicBezTo>
                <a:cubicBezTo>
                  <a:pt x="3468071" y="1770536"/>
                  <a:pt x="3468071" y="1770536"/>
                  <a:pt x="3467644" y="1769398"/>
                </a:cubicBezTo>
                <a:cubicBezTo>
                  <a:pt x="3465936" y="1771532"/>
                  <a:pt x="3464869" y="1772101"/>
                  <a:pt x="3463802" y="1772670"/>
                </a:cubicBezTo>
                <a:lnTo>
                  <a:pt x="3462095" y="1768402"/>
                </a:lnTo>
                <a:lnTo>
                  <a:pt x="3459321" y="1772386"/>
                </a:lnTo>
                <a:lnTo>
                  <a:pt x="3454412" y="1774093"/>
                </a:lnTo>
                <a:lnTo>
                  <a:pt x="3452491" y="1777650"/>
                </a:lnTo>
                <a:lnTo>
                  <a:pt x="3451210" y="1775373"/>
                </a:lnTo>
                <a:lnTo>
                  <a:pt x="3449930" y="1778645"/>
                </a:lnTo>
                <a:cubicBezTo>
                  <a:pt x="3447582" y="1785190"/>
                  <a:pt x="3444808" y="1790596"/>
                  <a:pt x="3445235" y="1797994"/>
                </a:cubicBezTo>
                <a:cubicBezTo>
                  <a:pt x="3442247" y="1798136"/>
                  <a:pt x="3439899" y="1799275"/>
                  <a:pt x="3437979" y="1801551"/>
                </a:cubicBezTo>
                <a:lnTo>
                  <a:pt x="3436911" y="1803401"/>
                </a:lnTo>
                <a:lnTo>
                  <a:pt x="3438406" y="1804823"/>
                </a:lnTo>
                <a:cubicBezTo>
                  <a:pt x="3439899" y="1807384"/>
                  <a:pt x="3440326" y="1810087"/>
                  <a:pt x="3440113" y="1812790"/>
                </a:cubicBezTo>
                <a:lnTo>
                  <a:pt x="3438875" y="1816642"/>
                </a:lnTo>
                <a:lnTo>
                  <a:pt x="3438931" y="1816774"/>
                </a:lnTo>
                <a:lnTo>
                  <a:pt x="3441180" y="1816774"/>
                </a:lnTo>
                <a:lnTo>
                  <a:pt x="3441393" y="1816205"/>
                </a:lnTo>
                <a:cubicBezTo>
                  <a:pt x="3445022" y="1815066"/>
                  <a:pt x="3448223" y="1814497"/>
                  <a:pt x="3451638" y="1814497"/>
                </a:cubicBezTo>
                <a:cubicBezTo>
                  <a:pt x="3454839" y="1814355"/>
                  <a:pt x="3457827" y="1814782"/>
                  <a:pt x="3460814" y="1815493"/>
                </a:cubicBezTo>
                <a:lnTo>
                  <a:pt x="3466150" y="1817627"/>
                </a:lnTo>
                <a:lnTo>
                  <a:pt x="3477888" y="1820188"/>
                </a:lnTo>
                <a:lnTo>
                  <a:pt x="3485144" y="1824029"/>
                </a:lnTo>
                <a:lnTo>
                  <a:pt x="3487065" y="1822891"/>
                </a:lnTo>
                <a:cubicBezTo>
                  <a:pt x="3489413" y="1821895"/>
                  <a:pt x="3491974" y="1821326"/>
                  <a:pt x="3494321" y="1821326"/>
                </a:cubicBezTo>
                <a:cubicBezTo>
                  <a:pt x="3497309" y="1821326"/>
                  <a:pt x="3500084" y="1822180"/>
                  <a:pt x="3502005" y="1824456"/>
                </a:cubicBezTo>
                <a:cubicBezTo>
                  <a:pt x="3494321" y="1828724"/>
                  <a:pt x="3486852" y="1831712"/>
                  <a:pt x="3478528" y="1840817"/>
                </a:cubicBezTo>
                <a:cubicBezTo>
                  <a:pt x="3477461" y="1839536"/>
                  <a:pt x="3476394" y="1839820"/>
                  <a:pt x="3475114" y="1839820"/>
                </a:cubicBezTo>
                <a:lnTo>
                  <a:pt x="3473833" y="1839536"/>
                </a:lnTo>
                <a:lnTo>
                  <a:pt x="3471059" y="1841386"/>
                </a:lnTo>
                <a:cubicBezTo>
                  <a:pt x="3468284" y="1841955"/>
                  <a:pt x="3465083" y="1841813"/>
                  <a:pt x="3461455" y="1841528"/>
                </a:cubicBezTo>
                <a:lnTo>
                  <a:pt x="3461241" y="1841528"/>
                </a:lnTo>
                <a:lnTo>
                  <a:pt x="3462736" y="1843662"/>
                </a:lnTo>
                <a:cubicBezTo>
                  <a:pt x="3459321" y="1845369"/>
                  <a:pt x="3456760" y="1845512"/>
                  <a:pt x="3454839" y="1844231"/>
                </a:cubicBezTo>
                <a:lnTo>
                  <a:pt x="3452705" y="1840675"/>
                </a:lnTo>
                <a:lnTo>
                  <a:pt x="3449930" y="1842097"/>
                </a:lnTo>
                <a:lnTo>
                  <a:pt x="3449631" y="1842018"/>
                </a:lnTo>
                <a:lnTo>
                  <a:pt x="3454080" y="1852627"/>
                </a:lnTo>
                <a:lnTo>
                  <a:pt x="3455052" y="1853194"/>
                </a:lnTo>
                <a:lnTo>
                  <a:pt x="3457400" y="1850918"/>
                </a:lnTo>
                <a:cubicBezTo>
                  <a:pt x="3458253" y="1849637"/>
                  <a:pt x="3459107" y="1847930"/>
                  <a:pt x="3459961" y="1845654"/>
                </a:cubicBezTo>
                <a:cubicBezTo>
                  <a:pt x="3461455" y="1847504"/>
                  <a:pt x="3462736" y="1849637"/>
                  <a:pt x="3463589" y="1851771"/>
                </a:cubicBezTo>
                <a:cubicBezTo>
                  <a:pt x="3464443" y="1854048"/>
                  <a:pt x="3464869" y="1856325"/>
                  <a:pt x="3464869" y="1858743"/>
                </a:cubicBezTo>
                <a:lnTo>
                  <a:pt x="3457400" y="1859170"/>
                </a:lnTo>
                <a:lnTo>
                  <a:pt x="3458040" y="1861730"/>
                </a:lnTo>
                <a:lnTo>
                  <a:pt x="3457995" y="1861964"/>
                </a:lnTo>
                <a:lnTo>
                  <a:pt x="3486251" y="1929348"/>
                </a:lnTo>
                <a:lnTo>
                  <a:pt x="3490780" y="1934034"/>
                </a:lnTo>
                <a:cubicBezTo>
                  <a:pt x="3493375" y="1936973"/>
                  <a:pt x="3495122" y="1939231"/>
                  <a:pt x="3495389" y="1939979"/>
                </a:cubicBezTo>
                <a:cubicBezTo>
                  <a:pt x="3498590" y="1943820"/>
                  <a:pt x="3509901" y="1945669"/>
                  <a:pt x="3515877" y="1942966"/>
                </a:cubicBezTo>
                <a:cubicBezTo>
                  <a:pt x="3519718" y="1939409"/>
                  <a:pt x="3523560" y="1935995"/>
                  <a:pt x="3529536" y="1933291"/>
                </a:cubicBezTo>
                <a:cubicBezTo>
                  <a:pt x="3533377" y="1929735"/>
                  <a:pt x="3538499" y="1929166"/>
                  <a:pt x="3539566" y="1932153"/>
                </a:cubicBezTo>
                <a:cubicBezTo>
                  <a:pt x="3541701" y="1933007"/>
                  <a:pt x="3542768" y="1935852"/>
                  <a:pt x="3541061" y="1940120"/>
                </a:cubicBezTo>
                <a:lnTo>
                  <a:pt x="3541701" y="1943535"/>
                </a:lnTo>
                <a:lnTo>
                  <a:pt x="3546396" y="1940120"/>
                </a:lnTo>
                <a:cubicBezTo>
                  <a:pt x="3548103" y="1939409"/>
                  <a:pt x="3549597" y="1939552"/>
                  <a:pt x="3551091" y="1939979"/>
                </a:cubicBezTo>
                <a:cubicBezTo>
                  <a:pt x="3553865" y="1940974"/>
                  <a:pt x="3555573" y="1943820"/>
                  <a:pt x="3556213" y="1946807"/>
                </a:cubicBezTo>
                <a:cubicBezTo>
                  <a:pt x="3556427" y="1948799"/>
                  <a:pt x="3556213" y="1950933"/>
                  <a:pt x="3555146" y="1952640"/>
                </a:cubicBezTo>
                <a:cubicBezTo>
                  <a:pt x="3553865" y="1954916"/>
                  <a:pt x="3550878" y="1956481"/>
                  <a:pt x="3546396" y="1956339"/>
                </a:cubicBezTo>
                <a:cubicBezTo>
                  <a:pt x="3544261" y="1954063"/>
                  <a:pt x="3543408" y="1952071"/>
                  <a:pt x="3542768" y="1950079"/>
                </a:cubicBezTo>
                <a:lnTo>
                  <a:pt x="3542768" y="1952213"/>
                </a:lnTo>
                <a:cubicBezTo>
                  <a:pt x="3542768" y="1952925"/>
                  <a:pt x="3542768" y="1953493"/>
                  <a:pt x="3542768" y="1953493"/>
                </a:cubicBezTo>
                <a:cubicBezTo>
                  <a:pt x="3542981" y="1958473"/>
                  <a:pt x="3548957" y="1955770"/>
                  <a:pt x="3550024" y="1958757"/>
                </a:cubicBezTo>
                <a:cubicBezTo>
                  <a:pt x="3555573" y="1968432"/>
                  <a:pt x="3539780" y="1977395"/>
                  <a:pt x="3541061" y="1980382"/>
                </a:cubicBezTo>
                <a:cubicBezTo>
                  <a:pt x="3541914" y="1982516"/>
                  <a:pt x="3549170" y="1985931"/>
                  <a:pt x="3553652" y="1989915"/>
                </a:cubicBezTo>
                <a:lnTo>
                  <a:pt x="3556853" y="1994040"/>
                </a:lnTo>
                <a:lnTo>
                  <a:pt x="3559628" y="1990484"/>
                </a:lnTo>
                <a:cubicBezTo>
                  <a:pt x="3560908" y="1991480"/>
                  <a:pt x="3561549" y="1992760"/>
                  <a:pt x="3561975" y="1994182"/>
                </a:cubicBezTo>
                <a:cubicBezTo>
                  <a:pt x="3562829" y="1996601"/>
                  <a:pt x="3562615" y="1999589"/>
                  <a:pt x="3561335" y="2002719"/>
                </a:cubicBezTo>
                <a:lnTo>
                  <a:pt x="3561122" y="2003288"/>
                </a:lnTo>
                <a:lnTo>
                  <a:pt x="3570299" y="2008409"/>
                </a:lnTo>
                <a:lnTo>
                  <a:pt x="3582464" y="2007698"/>
                </a:lnTo>
                <a:lnTo>
                  <a:pt x="3590787" y="2005421"/>
                </a:lnTo>
                <a:lnTo>
                  <a:pt x="3593775" y="2003146"/>
                </a:lnTo>
                <a:lnTo>
                  <a:pt x="3594842" y="2002292"/>
                </a:lnTo>
                <a:lnTo>
                  <a:pt x="3582037" y="2002861"/>
                </a:lnTo>
                <a:cubicBezTo>
                  <a:pt x="3577341" y="2002576"/>
                  <a:pt x="3572646" y="2001866"/>
                  <a:pt x="3567951" y="2001438"/>
                </a:cubicBezTo>
                <a:cubicBezTo>
                  <a:pt x="3570512" y="1992760"/>
                  <a:pt x="3585878" y="1980240"/>
                  <a:pt x="3602311" y="1979671"/>
                </a:cubicBezTo>
                <a:cubicBezTo>
                  <a:pt x="3607647" y="1979387"/>
                  <a:pt x="3613196" y="1980667"/>
                  <a:pt x="3618532" y="1983654"/>
                </a:cubicBezTo>
                <a:lnTo>
                  <a:pt x="3609782" y="1994609"/>
                </a:lnTo>
                <a:lnTo>
                  <a:pt x="3611489" y="1995320"/>
                </a:lnTo>
                <a:cubicBezTo>
                  <a:pt x="3611489" y="1995320"/>
                  <a:pt x="3611489" y="1995463"/>
                  <a:pt x="3625361" y="1985646"/>
                </a:cubicBezTo>
                <a:cubicBezTo>
                  <a:pt x="3628136" y="1984366"/>
                  <a:pt x="3630270" y="1985219"/>
                  <a:pt x="3630270" y="1985219"/>
                </a:cubicBezTo>
                <a:cubicBezTo>
                  <a:pt x="3630270" y="1985219"/>
                  <a:pt x="3630270" y="1985077"/>
                  <a:pt x="3626428" y="1988635"/>
                </a:cubicBezTo>
                <a:cubicBezTo>
                  <a:pt x="3626428" y="1988635"/>
                  <a:pt x="3623441" y="1989915"/>
                  <a:pt x="3620453" y="1991337"/>
                </a:cubicBezTo>
                <a:cubicBezTo>
                  <a:pt x="3620453" y="1991337"/>
                  <a:pt x="3619599" y="1993472"/>
                  <a:pt x="3618745" y="1995605"/>
                </a:cubicBezTo>
                <a:cubicBezTo>
                  <a:pt x="3615757" y="1997028"/>
                  <a:pt x="3617465" y="1992618"/>
                  <a:pt x="3613623" y="1996174"/>
                </a:cubicBezTo>
                <a:cubicBezTo>
                  <a:pt x="3613623" y="1996174"/>
                  <a:pt x="3607434" y="2011255"/>
                  <a:pt x="3608287" y="2009121"/>
                </a:cubicBezTo>
                <a:lnTo>
                  <a:pt x="3602952" y="2010685"/>
                </a:lnTo>
                <a:lnTo>
                  <a:pt x="3608287" y="2015807"/>
                </a:lnTo>
                <a:cubicBezTo>
                  <a:pt x="3625148" y="2012393"/>
                  <a:pt x="3610849" y="2007698"/>
                  <a:pt x="3616184" y="1999731"/>
                </a:cubicBezTo>
                <a:cubicBezTo>
                  <a:pt x="3624508" y="2000300"/>
                  <a:pt x="3633258" y="1999162"/>
                  <a:pt x="3642221" y="1997313"/>
                </a:cubicBezTo>
                <a:lnTo>
                  <a:pt x="3661856" y="1992618"/>
                </a:lnTo>
                <a:lnTo>
                  <a:pt x="3662709" y="1988349"/>
                </a:lnTo>
                <a:cubicBezTo>
                  <a:pt x="3663563" y="1988635"/>
                  <a:pt x="3663777" y="1989203"/>
                  <a:pt x="3663563" y="1989915"/>
                </a:cubicBezTo>
                <a:cubicBezTo>
                  <a:pt x="3663563" y="1990626"/>
                  <a:pt x="3663350" y="1991480"/>
                  <a:pt x="3662923" y="1992333"/>
                </a:cubicBezTo>
                <a:lnTo>
                  <a:pt x="3670180" y="1990626"/>
                </a:lnTo>
                <a:cubicBezTo>
                  <a:pt x="3679356" y="1988349"/>
                  <a:pt x="3689601" y="1986073"/>
                  <a:pt x="3699845" y="1984935"/>
                </a:cubicBezTo>
                <a:cubicBezTo>
                  <a:pt x="3705180" y="1983797"/>
                  <a:pt x="3710302" y="1983797"/>
                  <a:pt x="3715424" y="1983797"/>
                </a:cubicBezTo>
                <a:lnTo>
                  <a:pt x="3725242" y="1985219"/>
                </a:lnTo>
                <a:lnTo>
                  <a:pt x="3723961" y="1984508"/>
                </a:lnTo>
                <a:cubicBezTo>
                  <a:pt x="3723747" y="1983654"/>
                  <a:pt x="3724175" y="1982374"/>
                  <a:pt x="3724815" y="1980809"/>
                </a:cubicBezTo>
                <a:cubicBezTo>
                  <a:pt x="3726095" y="1980809"/>
                  <a:pt x="3727163" y="1980952"/>
                  <a:pt x="3727589" y="1981663"/>
                </a:cubicBezTo>
                <a:lnTo>
                  <a:pt x="3728016" y="1985646"/>
                </a:lnTo>
                <a:lnTo>
                  <a:pt x="3731004" y="1986073"/>
                </a:lnTo>
                <a:cubicBezTo>
                  <a:pt x="3742529" y="1983797"/>
                  <a:pt x="3731004" y="1980382"/>
                  <a:pt x="3737406" y="1976968"/>
                </a:cubicBezTo>
                <a:cubicBezTo>
                  <a:pt x="3755334" y="1973553"/>
                  <a:pt x="3768352" y="1974692"/>
                  <a:pt x="3778597" y="1974692"/>
                </a:cubicBezTo>
                <a:cubicBezTo>
                  <a:pt x="3787774" y="1974692"/>
                  <a:pt x="3795457" y="1975830"/>
                  <a:pt x="3804634" y="1972415"/>
                </a:cubicBezTo>
                <a:cubicBezTo>
                  <a:pt x="3807195" y="1979244"/>
                  <a:pt x="3813598" y="1981521"/>
                  <a:pt x="3827683" y="1980382"/>
                </a:cubicBezTo>
                <a:cubicBezTo>
                  <a:pt x="3827683" y="1982659"/>
                  <a:pt x="3821281" y="1981521"/>
                  <a:pt x="3817439" y="1982659"/>
                </a:cubicBezTo>
                <a:cubicBezTo>
                  <a:pt x="3816158" y="1988349"/>
                  <a:pt x="3825122" y="1987212"/>
                  <a:pt x="3827683" y="1989488"/>
                </a:cubicBezTo>
                <a:cubicBezTo>
                  <a:pt x="3830671" y="1987781"/>
                  <a:pt x="3828537" y="1984793"/>
                  <a:pt x="3833232" y="1984366"/>
                </a:cubicBezTo>
                <a:lnTo>
                  <a:pt x="3836647" y="1984651"/>
                </a:lnTo>
                <a:lnTo>
                  <a:pt x="3836647" y="1984224"/>
                </a:lnTo>
                <a:cubicBezTo>
                  <a:pt x="3838568" y="1982232"/>
                  <a:pt x="3840915" y="1980524"/>
                  <a:pt x="3843690" y="1980524"/>
                </a:cubicBezTo>
                <a:cubicBezTo>
                  <a:pt x="3845610" y="1980524"/>
                  <a:pt x="3847744" y="1981236"/>
                  <a:pt x="3850092" y="1982801"/>
                </a:cubicBezTo>
                <a:cubicBezTo>
                  <a:pt x="3850092" y="1984508"/>
                  <a:pt x="3850092" y="1986216"/>
                  <a:pt x="3849879" y="1987781"/>
                </a:cubicBezTo>
                <a:cubicBezTo>
                  <a:pt x="3846251" y="1987638"/>
                  <a:pt x="3843263" y="1988492"/>
                  <a:pt x="3840488" y="1989345"/>
                </a:cubicBezTo>
                <a:lnTo>
                  <a:pt x="3833445" y="1990910"/>
                </a:lnTo>
                <a:lnTo>
                  <a:pt x="3834085" y="1994040"/>
                </a:lnTo>
                <a:cubicBezTo>
                  <a:pt x="3820000" y="1997455"/>
                  <a:pt x="3808475" y="1989488"/>
                  <a:pt x="3808475" y="2003146"/>
                </a:cubicBezTo>
                <a:cubicBezTo>
                  <a:pt x="3800579" y="1994040"/>
                  <a:pt x="3791615" y="1996317"/>
                  <a:pt x="3782652" y="2000869"/>
                </a:cubicBezTo>
                <a:cubicBezTo>
                  <a:pt x="3773474" y="2004284"/>
                  <a:pt x="3761950" y="2009974"/>
                  <a:pt x="3748931" y="2006560"/>
                </a:cubicBezTo>
                <a:cubicBezTo>
                  <a:pt x="3751492" y="2014527"/>
                  <a:pt x="3759388" y="2013531"/>
                  <a:pt x="3767072" y="2010117"/>
                </a:cubicBezTo>
                <a:cubicBezTo>
                  <a:pt x="3774755" y="2007840"/>
                  <a:pt x="3782652" y="2005421"/>
                  <a:pt x="3785213" y="2012250"/>
                </a:cubicBezTo>
                <a:cubicBezTo>
                  <a:pt x="3796737" y="2011113"/>
                  <a:pt x="3800579" y="2003146"/>
                  <a:pt x="3811036" y="2007698"/>
                </a:cubicBezTo>
                <a:cubicBezTo>
                  <a:pt x="3811036" y="2012250"/>
                  <a:pt x="3800579" y="2008836"/>
                  <a:pt x="3798018" y="2012250"/>
                </a:cubicBezTo>
                <a:cubicBezTo>
                  <a:pt x="3803140" y="2017942"/>
                  <a:pt x="3821281" y="2013389"/>
                  <a:pt x="3827683" y="2012250"/>
                </a:cubicBezTo>
                <a:cubicBezTo>
                  <a:pt x="3827683" y="2009974"/>
                  <a:pt x="3823841" y="2011255"/>
                  <a:pt x="3821281" y="2010117"/>
                </a:cubicBezTo>
                <a:cubicBezTo>
                  <a:pt x="3825122" y="2008979"/>
                  <a:pt x="3849665" y="2006560"/>
                  <a:pt x="3840702" y="2012250"/>
                </a:cubicBezTo>
                <a:cubicBezTo>
                  <a:pt x="3847104" y="2011113"/>
                  <a:pt x="3853507" y="2009974"/>
                  <a:pt x="3857562" y="2006560"/>
                </a:cubicBezTo>
                <a:lnTo>
                  <a:pt x="3859910" y="2007271"/>
                </a:lnTo>
                <a:cubicBezTo>
                  <a:pt x="3866526" y="2001154"/>
                  <a:pt x="3875062" y="1995036"/>
                  <a:pt x="3882745" y="1994609"/>
                </a:cubicBezTo>
                <a:cubicBezTo>
                  <a:pt x="3885307" y="1994609"/>
                  <a:pt x="3887654" y="1995036"/>
                  <a:pt x="3890002" y="1996317"/>
                </a:cubicBezTo>
                <a:cubicBezTo>
                  <a:pt x="3892990" y="1997739"/>
                  <a:pt x="3893630" y="1999731"/>
                  <a:pt x="3892990" y="2002149"/>
                </a:cubicBezTo>
                <a:lnTo>
                  <a:pt x="3888081" y="2008409"/>
                </a:lnTo>
                <a:lnTo>
                  <a:pt x="3894910" y="2010117"/>
                </a:lnTo>
                <a:lnTo>
                  <a:pt x="3896404" y="2010544"/>
                </a:lnTo>
                <a:lnTo>
                  <a:pt x="3899178" y="2007271"/>
                </a:lnTo>
                <a:cubicBezTo>
                  <a:pt x="3902807" y="2004141"/>
                  <a:pt x="3907289" y="2002576"/>
                  <a:pt x="3912197" y="2003430"/>
                </a:cubicBezTo>
                <a:lnTo>
                  <a:pt x="3920734" y="2008979"/>
                </a:lnTo>
                <a:lnTo>
                  <a:pt x="3920520" y="2006133"/>
                </a:lnTo>
                <a:cubicBezTo>
                  <a:pt x="3920734" y="2004284"/>
                  <a:pt x="3921801" y="2002292"/>
                  <a:pt x="3923508" y="1999589"/>
                </a:cubicBezTo>
                <a:cubicBezTo>
                  <a:pt x="3926710" y="1997171"/>
                  <a:pt x="3930551" y="1995463"/>
                  <a:pt x="3934607" y="1993898"/>
                </a:cubicBezTo>
                <a:lnTo>
                  <a:pt x="3939088" y="1992476"/>
                </a:lnTo>
                <a:lnTo>
                  <a:pt x="3928844" y="1985646"/>
                </a:lnTo>
                <a:cubicBezTo>
                  <a:pt x="3929058" y="1983370"/>
                  <a:pt x="3930551" y="1981379"/>
                  <a:pt x="3934393" y="1978675"/>
                </a:cubicBezTo>
                <a:cubicBezTo>
                  <a:pt x="3938662" y="1986784"/>
                  <a:pt x="3943143" y="1982232"/>
                  <a:pt x="3947198" y="1982943"/>
                </a:cubicBezTo>
                <a:lnTo>
                  <a:pt x="3948052" y="1983797"/>
                </a:lnTo>
                <a:lnTo>
                  <a:pt x="3949545" y="1979671"/>
                </a:lnTo>
                <a:cubicBezTo>
                  <a:pt x="3950400" y="1970993"/>
                  <a:pt x="3947838" y="1960038"/>
                  <a:pt x="3944637" y="1952498"/>
                </a:cubicBezTo>
                <a:lnTo>
                  <a:pt x="3943997" y="1951218"/>
                </a:lnTo>
                <a:lnTo>
                  <a:pt x="3943357" y="1952356"/>
                </a:lnTo>
                <a:cubicBezTo>
                  <a:pt x="3941009" y="1954347"/>
                  <a:pt x="3939729" y="1954205"/>
                  <a:pt x="3936314" y="1956055"/>
                </a:cubicBezTo>
                <a:cubicBezTo>
                  <a:pt x="3933966" y="1954490"/>
                  <a:pt x="3933966" y="1954490"/>
                  <a:pt x="3934179" y="1953210"/>
                </a:cubicBezTo>
                <a:cubicBezTo>
                  <a:pt x="3933966" y="1954490"/>
                  <a:pt x="3932899" y="1954347"/>
                  <a:pt x="3931618" y="1955343"/>
                </a:cubicBezTo>
                <a:lnTo>
                  <a:pt x="3928631" y="1957619"/>
                </a:lnTo>
                <a:lnTo>
                  <a:pt x="3928417" y="1960465"/>
                </a:lnTo>
                <a:cubicBezTo>
                  <a:pt x="3928417" y="1961603"/>
                  <a:pt x="3927991" y="1962884"/>
                  <a:pt x="3926710" y="1964591"/>
                </a:cubicBezTo>
                <a:cubicBezTo>
                  <a:pt x="3923936" y="1962884"/>
                  <a:pt x="3922441" y="1961034"/>
                  <a:pt x="3919667" y="1959469"/>
                </a:cubicBezTo>
                <a:lnTo>
                  <a:pt x="3922868" y="1956197"/>
                </a:lnTo>
                <a:lnTo>
                  <a:pt x="3916893" y="1951645"/>
                </a:lnTo>
                <a:cubicBezTo>
                  <a:pt x="3917960" y="1950648"/>
                  <a:pt x="3914758" y="1947661"/>
                  <a:pt x="3913905" y="1945100"/>
                </a:cubicBezTo>
                <a:cubicBezTo>
                  <a:pt x="3913905" y="1943250"/>
                  <a:pt x="3914118" y="1941827"/>
                  <a:pt x="3914545" y="1940547"/>
                </a:cubicBezTo>
                <a:lnTo>
                  <a:pt x="3916252" y="1937702"/>
                </a:lnTo>
                <a:lnTo>
                  <a:pt x="3910917" y="1938414"/>
                </a:lnTo>
                <a:cubicBezTo>
                  <a:pt x="3908569" y="1938555"/>
                  <a:pt x="3906222" y="1938129"/>
                  <a:pt x="3904087" y="1936706"/>
                </a:cubicBezTo>
                <a:cubicBezTo>
                  <a:pt x="3895551" y="1930873"/>
                  <a:pt x="3902380" y="1920488"/>
                  <a:pt x="3902380" y="1920488"/>
                </a:cubicBezTo>
                <a:lnTo>
                  <a:pt x="3906008" y="1919065"/>
                </a:lnTo>
                <a:lnTo>
                  <a:pt x="3903234" y="1917357"/>
                </a:lnTo>
                <a:cubicBezTo>
                  <a:pt x="3902593" y="1916077"/>
                  <a:pt x="3902593" y="1914228"/>
                  <a:pt x="3902807" y="1911666"/>
                </a:cubicBezTo>
                <a:cubicBezTo>
                  <a:pt x="3906435" y="1911809"/>
                  <a:pt x="3908142" y="1912378"/>
                  <a:pt x="3908569" y="1913800"/>
                </a:cubicBezTo>
                <a:lnTo>
                  <a:pt x="3908142" y="1918211"/>
                </a:lnTo>
                <a:lnTo>
                  <a:pt x="3914758" y="1917927"/>
                </a:lnTo>
                <a:lnTo>
                  <a:pt x="3916039" y="1918069"/>
                </a:lnTo>
                <a:lnTo>
                  <a:pt x="3914972" y="1915792"/>
                </a:lnTo>
                <a:cubicBezTo>
                  <a:pt x="3914758" y="1914512"/>
                  <a:pt x="3914972" y="1913090"/>
                  <a:pt x="3914545" y="1912663"/>
                </a:cubicBezTo>
                <a:cubicBezTo>
                  <a:pt x="3915612" y="1911952"/>
                  <a:pt x="3917320" y="1912378"/>
                  <a:pt x="3918173" y="1911666"/>
                </a:cubicBezTo>
                <a:cubicBezTo>
                  <a:pt x="3918813" y="1912805"/>
                  <a:pt x="3919880" y="1914796"/>
                  <a:pt x="3919240" y="1916504"/>
                </a:cubicBezTo>
                <a:cubicBezTo>
                  <a:pt x="3919667" y="1917073"/>
                  <a:pt x="3918813" y="1917642"/>
                  <a:pt x="3917960" y="1917927"/>
                </a:cubicBezTo>
                <a:lnTo>
                  <a:pt x="3917106" y="1918211"/>
                </a:lnTo>
                <a:lnTo>
                  <a:pt x="3926710" y="1919349"/>
                </a:lnTo>
                <a:cubicBezTo>
                  <a:pt x="3933112" y="1917073"/>
                  <a:pt x="3936527" y="1911952"/>
                  <a:pt x="3939729" y="1909391"/>
                </a:cubicBezTo>
                <a:cubicBezTo>
                  <a:pt x="3934179" y="1900997"/>
                  <a:pt x="3958723" y="1862442"/>
                  <a:pt x="3961924" y="1859880"/>
                </a:cubicBezTo>
                <a:lnTo>
                  <a:pt x="3963418" y="1854759"/>
                </a:lnTo>
                <a:lnTo>
                  <a:pt x="3963205" y="1854617"/>
                </a:lnTo>
                <a:lnTo>
                  <a:pt x="3963418" y="1853478"/>
                </a:lnTo>
                <a:lnTo>
                  <a:pt x="3963205" y="1847930"/>
                </a:lnTo>
                <a:cubicBezTo>
                  <a:pt x="3962351" y="1843094"/>
                  <a:pt x="3960644" y="1838256"/>
                  <a:pt x="3957656" y="1835411"/>
                </a:cubicBezTo>
                <a:lnTo>
                  <a:pt x="3948692" y="1829293"/>
                </a:lnTo>
                <a:lnTo>
                  <a:pt x="3946985" y="1830147"/>
                </a:lnTo>
                <a:cubicBezTo>
                  <a:pt x="3944210" y="1830147"/>
                  <a:pt x="3942076" y="1828866"/>
                  <a:pt x="3940155" y="1826875"/>
                </a:cubicBezTo>
                <a:lnTo>
                  <a:pt x="3936954" y="1820472"/>
                </a:lnTo>
                <a:lnTo>
                  <a:pt x="3934393" y="1817912"/>
                </a:lnTo>
                <a:cubicBezTo>
                  <a:pt x="3933326" y="1815920"/>
                  <a:pt x="3933539" y="1813786"/>
                  <a:pt x="3935247" y="1812648"/>
                </a:cubicBezTo>
                <a:cubicBezTo>
                  <a:pt x="3935460" y="1809945"/>
                  <a:pt x="3938662" y="1807384"/>
                  <a:pt x="3944637" y="1807811"/>
                </a:cubicBezTo>
                <a:cubicBezTo>
                  <a:pt x="3951040" y="1802831"/>
                  <a:pt x="3960430" y="1800840"/>
                  <a:pt x="3960430" y="1800840"/>
                </a:cubicBezTo>
                <a:cubicBezTo>
                  <a:pt x="3966833" y="1798563"/>
                  <a:pt x="3961071" y="1792730"/>
                  <a:pt x="3964272" y="1790312"/>
                </a:cubicBezTo>
                <a:lnTo>
                  <a:pt x="3966833" y="1788604"/>
                </a:lnTo>
                <a:lnTo>
                  <a:pt x="3966833" y="1784763"/>
                </a:lnTo>
                <a:cubicBezTo>
                  <a:pt x="3967046" y="1783198"/>
                  <a:pt x="3967687" y="1781633"/>
                  <a:pt x="3968327" y="1780495"/>
                </a:cubicBezTo>
                <a:lnTo>
                  <a:pt x="3970461" y="1778930"/>
                </a:lnTo>
                <a:lnTo>
                  <a:pt x="3969821" y="1776085"/>
                </a:lnTo>
                <a:cubicBezTo>
                  <a:pt x="3970675" y="1772955"/>
                  <a:pt x="3972595" y="1770394"/>
                  <a:pt x="3975156" y="1769541"/>
                </a:cubicBezTo>
                <a:cubicBezTo>
                  <a:pt x="3976650" y="1769114"/>
                  <a:pt x="3978571" y="1769398"/>
                  <a:pt x="3980491" y="1770963"/>
                </a:cubicBezTo>
                <a:cubicBezTo>
                  <a:pt x="3981772" y="1774662"/>
                  <a:pt x="3980705" y="1776654"/>
                  <a:pt x="3978784" y="1778503"/>
                </a:cubicBezTo>
                <a:lnTo>
                  <a:pt x="3976010" y="1780922"/>
                </a:lnTo>
                <a:lnTo>
                  <a:pt x="3978144" y="1783482"/>
                </a:lnTo>
                <a:lnTo>
                  <a:pt x="3980278" y="1788035"/>
                </a:lnTo>
                <a:lnTo>
                  <a:pt x="3981986" y="1788320"/>
                </a:lnTo>
                <a:cubicBezTo>
                  <a:pt x="3987961" y="1790454"/>
                  <a:pt x="3993084" y="1793441"/>
                  <a:pt x="3994577" y="1792161"/>
                </a:cubicBezTo>
                <a:cubicBezTo>
                  <a:pt x="3997779" y="1789743"/>
                  <a:pt x="3999059" y="1773666"/>
                  <a:pt x="4005462" y="1768687"/>
                </a:cubicBezTo>
                <a:cubicBezTo>
                  <a:pt x="4005675" y="1765984"/>
                  <a:pt x="4012078" y="1763707"/>
                  <a:pt x="4015279" y="1761289"/>
                </a:cubicBezTo>
                <a:lnTo>
                  <a:pt x="4017627" y="1755313"/>
                </a:lnTo>
                <a:lnTo>
                  <a:pt x="4018907" y="1752041"/>
                </a:lnTo>
                <a:cubicBezTo>
                  <a:pt x="4020828" y="1743078"/>
                  <a:pt x="4018054" y="1735253"/>
                  <a:pt x="4011864" y="1728851"/>
                </a:cubicBezTo>
                <a:cubicBezTo>
                  <a:pt x="4008876" y="1726006"/>
                  <a:pt x="4006102" y="1724441"/>
                  <a:pt x="4002687" y="1722876"/>
                </a:cubicBezTo>
                <a:lnTo>
                  <a:pt x="3994364" y="1718466"/>
                </a:lnTo>
                <a:lnTo>
                  <a:pt x="3992443" y="1718324"/>
                </a:lnTo>
                <a:lnTo>
                  <a:pt x="3991803" y="1717185"/>
                </a:lnTo>
                <a:lnTo>
                  <a:pt x="3991376" y="1716901"/>
                </a:lnTo>
                <a:cubicBezTo>
                  <a:pt x="3985827" y="1711210"/>
                  <a:pt x="3982839" y="1708222"/>
                  <a:pt x="3986254" y="1705804"/>
                </a:cubicBezTo>
                <a:cubicBezTo>
                  <a:pt x="3986254" y="1705804"/>
                  <a:pt x="3986254" y="1705804"/>
                  <a:pt x="3968754" y="1693996"/>
                </a:cubicBezTo>
                <a:cubicBezTo>
                  <a:pt x="3965979" y="1691150"/>
                  <a:pt x="3966192" y="1688447"/>
                  <a:pt x="3966192" y="1688447"/>
                </a:cubicBezTo>
                <a:cubicBezTo>
                  <a:pt x="3966192" y="1688447"/>
                  <a:pt x="3966192" y="1688447"/>
                  <a:pt x="3972168" y="1691577"/>
                </a:cubicBezTo>
                <a:cubicBezTo>
                  <a:pt x="3972168" y="1691577"/>
                  <a:pt x="3974943" y="1694423"/>
                  <a:pt x="3977717" y="1697268"/>
                </a:cubicBezTo>
                <a:cubicBezTo>
                  <a:pt x="3977717" y="1697268"/>
                  <a:pt x="3980705" y="1697410"/>
                  <a:pt x="3983693" y="1697553"/>
                </a:cubicBezTo>
                <a:cubicBezTo>
                  <a:pt x="3986681" y="1700398"/>
                  <a:pt x="3980705" y="1700113"/>
                  <a:pt x="3986467" y="1703101"/>
                </a:cubicBezTo>
                <a:cubicBezTo>
                  <a:pt x="3986467" y="1703101"/>
                  <a:pt x="3991589" y="1703527"/>
                  <a:pt x="3996498" y="1703812"/>
                </a:cubicBezTo>
                <a:lnTo>
                  <a:pt x="4000126" y="1703955"/>
                </a:lnTo>
                <a:lnTo>
                  <a:pt x="3997992" y="1699117"/>
                </a:lnTo>
                <a:cubicBezTo>
                  <a:pt x="4001407" y="1696841"/>
                  <a:pt x="4003968" y="1696130"/>
                  <a:pt x="4005462" y="1696556"/>
                </a:cubicBezTo>
                <a:cubicBezTo>
                  <a:pt x="4007169" y="1696841"/>
                  <a:pt x="4007809" y="1698264"/>
                  <a:pt x="4008023" y="1699828"/>
                </a:cubicBezTo>
                <a:lnTo>
                  <a:pt x="4007596" y="1701963"/>
                </a:lnTo>
                <a:lnTo>
                  <a:pt x="4014426" y="1698406"/>
                </a:lnTo>
                <a:cubicBezTo>
                  <a:pt x="4017200" y="1696841"/>
                  <a:pt x="4020188" y="1695703"/>
                  <a:pt x="4022962" y="1695987"/>
                </a:cubicBezTo>
                <a:cubicBezTo>
                  <a:pt x="4022109" y="1696556"/>
                  <a:pt x="4018907" y="1698264"/>
                  <a:pt x="4015279" y="1699828"/>
                </a:cubicBezTo>
                <a:lnTo>
                  <a:pt x="4007383" y="1702390"/>
                </a:lnTo>
                <a:lnTo>
                  <a:pt x="4007169" y="1704097"/>
                </a:lnTo>
                <a:lnTo>
                  <a:pt x="4005675" y="1705804"/>
                </a:lnTo>
                <a:lnTo>
                  <a:pt x="4011438" y="1713771"/>
                </a:lnTo>
                <a:cubicBezTo>
                  <a:pt x="4013358" y="1716901"/>
                  <a:pt x="4015492" y="1719746"/>
                  <a:pt x="4018480" y="1721169"/>
                </a:cubicBezTo>
                <a:cubicBezTo>
                  <a:pt x="4026804" y="1729847"/>
                  <a:pt x="4038968" y="1730559"/>
                  <a:pt x="4051774" y="1723303"/>
                </a:cubicBezTo>
                <a:cubicBezTo>
                  <a:pt x="4054335" y="1720173"/>
                  <a:pt x="4056469" y="1716047"/>
                  <a:pt x="4058176" y="1711779"/>
                </a:cubicBezTo>
                <a:lnTo>
                  <a:pt x="4058817" y="1710072"/>
                </a:lnTo>
                <a:lnTo>
                  <a:pt x="4056683" y="1711210"/>
                </a:lnTo>
                <a:cubicBezTo>
                  <a:pt x="4047079" y="1713059"/>
                  <a:pt x="4035127" y="1697553"/>
                  <a:pt x="4041316" y="1686455"/>
                </a:cubicBezTo>
                <a:lnTo>
                  <a:pt x="4048572" y="1686313"/>
                </a:lnTo>
                <a:lnTo>
                  <a:pt x="4043877" y="1680480"/>
                </a:lnTo>
                <a:cubicBezTo>
                  <a:pt x="4043024" y="1678061"/>
                  <a:pt x="4043024" y="1675358"/>
                  <a:pt x="4043664" y="1672086"/>
                </a:cubicBezTo>
                <a:cubicBezTo>
                  <a:pt x="4045798" y="1671517"/>
                  <a:pt x="4049853" y="1674078"/>
                  <a:pt x="4052414" y="1675643"/>
                </a:cubicBezTo>
                <a:lnTo>
                  <a:pt x="4048786" y="1686313"/>
                </a:lnTo>
                <a:lnTo>
                  <a:pt x="4053908" y="1689016"/>
                </a:lnTo>
                <a:cubicBezTo>
                  <a:pt x="4055615" y="1690154"/>
                  <a:pt x="4057109" y="1691434"/>
                  <a:pt x="4058603" y="1693000"/>
                </a:cubicBezTo>
                <a:lnTo>
                  <a:pt x="4062018" y="1698548"/>
                </a:lnTo>
                <a:lnTo>
                  <a:pt x="4062018" y="1698121"/>
                </a:lnTo>
                <a:cubicBezTo>
                  <a:pt x="4063512" y="1689159"/>
                  <a:pt x="4062658" y="1681049"/>
                  <a:pt x="4058390" y="1678061"/>
                </a:cubicBezTo>
                <a:lnTo>
                  <a:pt x="4072689" y="1673509"/>
                </a:lnTo>
                <a:lnTo>
                  <a:pt x="4072262" y="1665969"/>
                </a:lnTo>
                <a:cubicBezTo>
                  <a:pt x="4073969" y="1662981"/>
                  <a:pt x="4077811" y="1661700"/>
                  <a:pt x="4081866" y="1661700"/>
                </a:cubicBezTo>
                <a:cubicBezTo>
                  <a:pt x="4085708" y="1661843"/>
                  <a:pt x="4089763" y="1663123"/>
                  <a:pt x="4091043" y="1665684"/>
                </a:cubicBezTo>
                <a:lnTo>
                  <a:pt x="4090403" y="1670948"/>
                </a:lnTo>
                <a:lnTo>
                  <a:pt x="4095525" y="1670379"/>
                </a:lnTo>
                <a:cubicBezTo>
                  <a:pt x="4109184" y="1669241"/>
                  <a:pt x="4121349" y="1668672"/>
                  <a:pt x="4123269" y="1666111"/>
                </a:cubicBezTo>
                <a:cubicBezTo>
                  <a:pt x="4124123" y="1664830"/>
                  <a:pt x="4124550" y="1662839"/>
                  <a:pt x="4124977" y="1660563"/>
                </a:cubicBezTo>
                <a:lnTo>
                  <a:pt x="4125831" y="1654161"/>
                </a:lnTo>
                <a:lnTo>
                  <a:pt x="4121349" y="1652453"/>
                </a:lnTo>
                <a:cubicBezTo>
                  <a:pt x="4118574" y="1650888"/>
                  <a:pt x="4116013" y="1648470"/>
                  <a:pt x="4114306" y="1646762"/>
                </a:cubicBezTo>
                <a:lnTo>
                  <a:pt x="4112598" y="1644913"/>
                </a:lnTo>
                <a:lnTo>
                  <a:pt x="4111958" y="1645908"/>
                </a:lnTo>
                <a:lnTo>
                  <a:pt x="4111531" y="1644202"/>
                </a:lnTo>
                <a:lnTo>
                  <a:pt x="4111105" y="1644060"/>
                </a:lnTo>
                <a:cubicBezTo>
                  <a:pt x="4111745" y="1643063"/>
                  <a:pt x="4110677" y="1642494"/>
                  <a:pt x="4110037" y="1643490"/>
                </a:cubicBezTo>
                <a:cubicBezTo>
                  <a:pt x="4108970" y="1641641"/>
                  <a:pt x="4108117" y="1639933"/>
                  <a:pt x="4107690" y="1638795"/>
                </a:cubicBezTo>
                <a:lnTo>
                  <a:pt x="4108330" y="1637941"/>
                </a:lnTo>
                <a:lnTo>
                  <a:pt x="4107476" y="1637515"/>
                </a:lnTo>
                <a:lnTo>
                  <a:pt x="4101714" y="1645197"/>
                </a:lnTo>
                <a:cubicBezTo>
                  <a:pt x="4098086" y="1648185"/>
                  <a:pt x="4093818" y="1650177"/>
                  <a:pt x="4089336" y="1650888"/>
                </a:cubicBezTo>
                <a:cubicBezTo>
                  <a:pt x="4086134" y="1647616"/>
                  <a:pt x="4084000" y="1644060"/>
                  <a:pt x="4082720" y="1640218"/>
                </a:cubicBezTo>
                <a:lnTo>
                  <a:pt x="4082720" y="1637799"/>
                </a:lnTo>
                <a:lnTo>
                  <a:pt x="4080372" y="1637231"/>
                </a:lnTo>
                <a:cubicBezTo>
                  <a:pt x="4078024" y="1636519"/>
                  <a:pt x="4076104" y="1635523"/>
                  <a:pt x="4074823" y="1634669"/>
                </a:cubicBezTo>
                <a:lnTo>
                  <a:pt x="4082079" y="1632962"/>
                </a:lnTo>
                <a:lnTo>
                  <a:pt x="4081653" y="1628410"/>
                </a:lnTo>
                <a:cubicBezTo>
                  <a:pt x="4082933" y="1615179"/>
                  <a:pt x="4092537" y="1602232"/>
                  <a:pt x="4106196" y="1597253"/>
                </a:cubicBezTo>
                <a:cubicBezTo>
                  <a:pt x="4107050" y="1598676"/>
                  <a:pt x="4108117" y="1599956"/>
                  <a:pt x="4109397" y="1598818"/>
                </a:cubicBezTo>
                <a:cubicBezTo>
                  <a:pt x="4111105" y="1600809"/>
                  <a:pt x="4112385" y="1603086"/>
                  <a:pt x="4113238" y="1605505"/>
                </a:cubicBezTo>
                <a:cubicBezTo>
                  <a:pt x="4114733" y="1609772"/>
                  <a:pt x="4115160" y="1614609"/>
                  <a:pt x="4114733" y="1619446"/>
                </a:cubicBezTo>
                <a:lnTo>
                  <a:pt x="4111531" y="1630117"/>
                </a:lnTo>
                <a:lnTo>
                  <a:pt x="4117721" y="1634100"/>
                </a:lnTo>
                <a:lnTo>
                  <a:pt x="4118361" y="1633104"/>
                </a:lnTo>
                <a:lnTo>
                  <a:pt x="4119001" y="1630117"/>
                </a:lnTo>
                <a:lnTo>
                  <a:pt x="4117934" y="1629975"/>
                </a:lnTo>
                <a:cubicBezTo>
                  <a:pt x="4117507" y="1628837"/>
                  <a:pt x="4115800" y="1626987"/>
                  <a:pt x="4114306" y="1626418"/>
                </a:cubicBezTo>
                <a:cubicBezTo>
                  <a:pt x="4115373" y="1625991"/>
                  <a:pt x="4116653" y="1625422"/>
                  <a:pt x="4116226" y="1624284"/>
                </a:cubicBezTo>
                <a:cubicBezTo>
                  <a:pt x="4117721" y="1624995"/>
                  <a:pt x="4118361" y="1625707"/>
                  <a:pt x="4119001" y="1626133"/>
                </a:cubicBezTo>
                <a:lnTo>
                  <a:pt x="4119428" y="1626418"/>
                </a:lnTo>
                <a:lnTo>
                  <a:pt x="4119641" y="1625280"/>
                </a:lnTo>
                <a:cubicBezTo>
                  <a:pt x="4120495" y="1622435"/>
                  <a:pt x="4122202" y="1619731"/>
                  <a:pt x="4125831" y="1617881"/>
                </a:cubicBezTo>
                <a:cubicBezTo>
                  <a:pt x="4126257" y="1618736"/>
                  <a:pt x="4126897" y="1619304"/>
                  <a:pt x="4127751" y="1619731"/>
                </a:cubicBezTo>
                <a:lnTo>
                  <a:pt x="4128391" y="1619873"/>
                </a:lnTo>
                <a:lnTo>
                  <a:pt x="4129885" y="1619162"/>
                </a:lnTo>
                <a:cubicBezTo>
                  <a:pt x="4131166" y="1618878"/>
                  <a:pt x="4132660" y="1618878"/>
                  <a:pt x="4134367" y="1619446"/>
                </a:cubicBezTo>
                <a:cubicBezTo>
                  <a:pt x="4134154" y="1620016"/>
                  <a:pt x="4135221" y="1621012"/>
                  <a:pt x="4136502" y="1622150"/>
                </a:cubicBezTo>
                <a:lnTo>
                  <a:pt x="4138636" y="1624284"/>
                </a:lnTo>
                <a:lnTo>
                  <a:pt x="4144825" y="1625280"/>
                </a:lnTo>
                <a:cubicBezTo>
                  <a:pt x="4149520" y="1632251"/>
                  <a:pt x="4147599" y="1635096"/>
                  <a:pt x="4143544" y="1636234"/>
                </a:cubicBezTo>
                <a:lnTo>
                  <a:pt x="4140130" y="1636803"/>
                </a:lnTo>
                <a:lnTo>
                  <a:pt x="4140130" y="1636946"/>
                </a:lnTo>
                <a:lnTo>
                  <a:pt x="4145251" y="1637373"/>
                </a:lnTo>
                <a:cubicBezTo>
                  <a:pt x="4151227" y="1638368"/>
                  <a:pt x="4157203" y="1640076"/>
                  <a:pt x="4158697" y="1638795"/>
                </a:cubicBezTo>
                <a:cubicBezTo>
                  <a:pt x="4158910" y="1636092"/>
                  <a:pt x="4146959" y="1632820"/>
                  <a:pt x="4153789" y="1625137"/>
                </a:cubicBezTo>
                <a:cubicBezTo>
                  <a:pt x="4156989" y="1622719"/>
                  <a:pt x="4159337" y="1622008"/>
                  <a:pt x="4161258" y="1622150"/>
                </a:cubicBezTo>
                <a:lnTo>
                  <a:pt x="4162539" y="1622435"/>
                </a:lnTo>
                <a:lnTo>
                  <a:pt x="4162965" y="1619304"/>
                </a:lnTo>
                <a:cubicBezTo>
                  <a:pt x="4164033" y="1616032"/>
                  <a:pt x="4166380" y="1613471"/>
                  <a:pt x="4170435" y="1613614"/>
                </a:cubicBezTo>
                <a:cubicBezTo>
                  <a:pt x="4171929" y="1614467"/>
                  <a:pt x="4173423" y="1615321"/>
                  <a:pt x="4174703" y="1616744"/>
                </a:cubicBezTo>
                <a:lnTo>
                  <a:pt x="4175984" y="1621154"/>
                </a:lnTo>
                <a:lnTo>
                  <a:pt x="4186015" y="1624853"/>
                </a:lnTo>
                <a:cubicBezTo>
                  <a:pt x="4189216" y="1627129"/>
                  <a:pt x="4191350" y="1630686"/>
                  <a:pt x="4190497" y="1636092"/>
                </a:cubicBezTo>
                <a:cubicBezTo>
                  <a:pt x="4189002" y="1636519"/>
                  <a:pt x="4187509" y="1636803"/>
                  <a:pt x="4185801" y="1637088"/>
                </a:cubicBezTo>
                <a:cubicBezTo>
                  <a:pt x="4184307" y="1633531"/>
                  <a:pt x="4182387" y="1630829"/>
                  <a:pt x="4180466" y="1628410"/>
                </a:cubicBezTo>
                <a:lnTo>
                  <a:pt x="4176411" y="1622435"/>
                </a:lnTo>
                <a:lnTo>
                  <a:pt x="4176624" y="1623146"/>
                </a:lnTo>
                <a:cubicBezTo>
                  <a:pt x="4175344" y="1625137"/>
                  <a:pt x="4173636" y="1626560"/>
                  <a:pt x="4171716" y="1627414"/>
                </a:cubicBezTo>
                <a:lnTo>
                  <a:pt x="4170008" y="1627698"/>
                </a:lnTo>
                <a:lnTo>
                  <a:pt x="4171289" y="1629121"/>
                </a:lnTo>
                <a:cubicBezTo>
                  <a:pt x="4173636" y="1634385"/>
                  <a:pt x="4169368" y="1638226"/>
                  <a:pt x="4173636" y="1642494"/>
                </a:cubicBezTo>
                <a:cubicBezTo>
                  <a:pt x="4186442" y="1635239"/>
                  <a:pt x="4204582" y="1636376"/>
                  <a:pt x="4210985" y="1631397"/>
                </a:cubicBezTo>
                <a:cubicBezTo>
                  <a:pt x="4212692" y="1628837"/>
                  <a:pt x="4212479" y="1622008"/>
                  <a:pt x="4211625" y="1615606"/>
                </a:cubicBezTo>
                <a:lnTo>
                  <a:pt x="4209918" y="1608777"/>
                </a:lnTo>
                <a:lnTo>
                  <a:pt x="4207784" y="1610057"/>
                </a:lnTo>
                <a:cubicBezTo>
                  <a:pt x="4205649" y="1610199"/>
                  <a:pt x="4203515" y="1609488"/>
                  <a:pt x="4201594" y="1608207"/>
                </a:cubicBezTo>
                <a:cubicBezTo>
                  <a:pt x="4200741" y="1605646"/>
                  <a:pt x="4201168" y="1603370"/>
                  <a:pt x="4202448" y="1601805"/>
                </a:cubicBezTo>
                <a:lnTo>
                  <a:pt x="4204369" y="1600668"/>
                </a:lnTo>
                <a:lnTo>
                  <a:pt x="4201381" y="1599671"/>
                </a:lnTo>
                <a:cubicBezTo>
                  <a:pt x="4194125" y="1599813"/>
                  <a:pt x="4183454" y="1604082"/>
                  <a:pt x="4177051" y="1599671"/>
                </a:cubicBezTo>
                <a:cubicBezTo>
                  <a:pt x="4183667" y="1592131"/>
                  <a:pt x="4192417" y="1597964"/>
                  <a:pt x="4201808" y="1593269"/>
                </a:cubicBezTo>
                <a:cubicBezTo>
                  <a:pt x="4193911" y="1579327"/>
                  <a:pt x="4196472" y="1547316"/>
                  <a:pt x="4199673" y="1544756"/>
                </a:cubicBezTo>
                <a:cubicBezTo>
                  <a:pt x="4213546" y="1569795"/>
                  <a:pt x="4224430" y="1591562"/>
                  <a:pt x="4234888" y="1606927"/>
                </a:cubicBezTo>
                <a:lnTo>
                  <a:pt x="4237449" y="1610057"/>
                </a:lnTo>
                <a:lnTo>
                  <a:pt x="4237022" y="1607923"/>
                </a:lnTo>
                <a:cubicBezTo>
                  <a:pt x="4237022" y="1607212"/>
                  <a:pt x="4236809" y="1606642"/>
                  <a:pt x="4236809" y="1606358"/>
                </a:cubicBezTo>
                <a:cubicBezTo>
                  <a:pt x="4236809" y="1606358"/>
                  <a:pt x="4236382" y="1605220"/>
                  <a:pt x="4236169" y="1604082"/>
                </a:cubicBezTo>
                <a:cubicBezTo>
                  <a:pt x="4236809" y="1602659"/>
                  <a:pt x="4237876" y="1602090"/>
                  <a:pt x="4237662" y="1601094"/>
                </a:cubicBezTo>
                <a:cubicBezTo>
                  <a:pt x="4239797" y="1602090"/>
                  <a:pt x="4240864" y="1603513"/>
                  <a:pt x="4241290" y="1605078"/>
                </a:cubicBezTo>
                <a:cubicBezTo>
                  <a:pt x="4241717" y="1606785"/>
                  <a:pt x="4241717" y="1608634"/>
                  <a:pt x="4241717" y="1610484"/>
                </a:cubicBezTo>
                <a:cubicBezTo>
                  <a:pt x="4241290" y="1613187"/>
                  <a:pt x="4241717" y="1614325"/>
                  <a:pt x="4243425" y="1616032"/>
                </a:cubicBezTo>
                <a:cubicBezTo>
                  <a:pt x="4243425" y="1616032"/>
                  <a:pt x="4243425" y="1616174"/>
                  <a:pt x="4243212" y="1616459"/>
                </a:cubicBezTo>
                <a:lnTo>
                  <a:pt x="4242998" y="1617028"/>
                </a:lnTo>
                <a:lnTo>
                  <a:pt x="4245345" y="1620158"/>
                </a:lnTo>
                <a:cubicBezTo>
                  <a:pt x="4254096" y="1625991"/>
                  <a:pt x="4254309" y="1623288"/>
                  <a:pt x="4263699" y="1618593"/>
                </a:cubicBezTo>
                <a:cubicBezTo>
                  <a:pt x="4263699" y="1618593"/>
                  <a:pt x="4263699" y="1618593"/>
                  <a:pt x="4272877" y="1618024"/>
                </a:cubicBezTo>
                <a:lnTo>
                  <a:pt x="4284615" y="1617313"/>
                </a:lnTo>
                <a:lnTo>
                  <a:pt x="4285255" y="1616886"/>
                </a:lnTo>
                <a:cubicBezTo>
                  <a:pt x="4287176" y="1616032"/>
                  <a:pt x="4288883" y="1615890"/>
                  <a:pt x="4290591" y="1616174"/>
                </a:cubicBezTo>
                <a:cubicBezTo>
                  <a:pt x="4292298" y="1616317"/>
                  <a:pt x="4294005" y="1616886"/>
                  <a:pt x="4295499" y="1617740"/>
                </a:cubicBezTo>
                <a:lnTo>
                  <a:pt x="4296566" y="1618593"/>
                </a:lnTo>
                <a:lnTo>
                  <a:pt x="4301262" y="1619304"/>
                </a:lnTo>
                <a:cubicBezTo>
                  <a:pt x="4306170" y="1619304"/>
                  <a:pt x="4310865" y="1618878"/>
                  <a:pt x="4315347" y="1619162"/>
                </a:cubicBezTo>
                <a:cubicBezTo>
                  <a:pt x="4315347" y="1619162"/>
                  <a:pt x="4315347" y="1619162"/>
                  <a:pt x="4317481" y="1617171"/>
                </a:cubicBezTo>
                <a:lnTo>
                  <a:pt x="4321109" y="1613899"/>
                </a:lnTo>
                <a:lnTo>
                  <a:pt x="4319829" y="1612191"/>
                </a:lnTo>
                <a:cubicBezTo>
                  <a:pt x="4319189" y="1611195"/>
                  <a:pt x="4318975" y="1610057"/>
                  <a:pt x="4318121" y="1609061"/>
                </a:cubicBezTo>
                <a:cubicBezTo>
                  <a:pt x="4318762" y="1607496"/>
                  <a:pt x="4320683" y="1605505"/>
                  <a:pt x="4323457" y="1606927"/>
                </a:cubicBezTo>
                <a:lnTo>
                  <a:pt x="4326232" y="1609061"/>
                </a:lnTo>
                <a:lnTo>
                  <a:pt x="4331780" y="1604082"/>
                </a:lnTo>
                <a:cubicBezTo>
                  <a:pt x="4336049" y="1599671"/>
                  <a:pt x="4338823" y="1594407"/>
                  <a:pt x="4340744" y="1589143"/>
                </a:cubicBezTo>
                <a:lnTo>
                  <a:pt x="4344372" y="1573636"/>
                </a:lnTo>
                <a:lnTo>
                  <a:pt x="4342025" y="1573779"/>
                </a:lnTo>
                <a:cubicBezTo>
                  <a:pt x="4340317" y="1573209"/>
                  <a:pt x="4338823" y="1571644"/>
                  <a:pt x="4337329" y="1568372"/>
                </a:cubicBezTo>
                <a:lnTo>
                  <a:pt x="4336476" y="1565527"/>
                </a:lnTo>
                <a:lnTo>
                  <a:pt x="4334341" y="1572640"/>
                </a:lnTo>
                <a:lnTo>
                  <a:pt x="4328792" y="1581176"/>
                </a:lnTo>
                <a:lnTo>
                  <a:pt x="4328792" y="1582315"/>
                </a:lnTo>
                <a:cubicBezTo>
                  <a:pt x="4328366" y="1584022"/>
                  <a:pt x="4326232" y="1588005"/>
                  <a:pt x="4325592" y="1587010"/>
                </a:cubicBezTo>
                <a:cubicBezTo>
                  <a:pt x="4324097" y="1586583"/>
                  <a:pt x="4324737" y="1587578"/>
                  <a:pt x="4323670" y="1588290"/>
                </a:cubicBezTo>
                <a:cubicBezTo>
                  <a:pt x="4318975" y="1587152"/>
                  <a:pt x="4316414" y="1584875"/>
                  <a:pt x="4316841" y="1580465"/>
                </a:cubicBezTo>
                <a:lnTo>
                  <a:pt x="4317695" y="1578331"/>
                </a:lnTo>
                <a:lnTo>
                  <a:pt x="4315774" y="1577051"/>
                </a:lnTo>
                <a:lnTo>
                  <a:pt x="4315561" y="1580038"/>
                </a:lnTo>
                <a:lnTo>
                  <a:pt x="4310865" y="1578758"/>
                </a:lnTo>
                <a:cubicBezTo>
                  <a:pt x="4311078" y="1578046"/>
                  <a:pt x="4311506" y="1577051"/>
                  <a:pt x="4312146" y="1576339"/>
                </a:cubicBezTo>
                <a:lnTo>
                  <a:pt x="4314280" y="1575343"/>
                </a:lnTo>
                <a:lnTo>
                  <a:pt x="4309158" y="1567234"/>
                </a:lnTo>
                <a:lnTo>
                  <a:pt x="4308091" y="1570222"/>
                </a:lnTo>
                <a:lnTo>
                  <a:pt x="4306170" y="1570791"/>
                </a:lnTo>
                <a:lnTo>
                  <a:pt x="4308091" y="1574347"/>
                </a:lnTo>
                <a:cubicBezTo>
                  <a:pt x="4311078" y="1581034"/>
                  <a:pt x="4313853" y="1588432"/>
                  <a:pt x="4318762" y="1595830"/>
                </a:cubicBezTo>
                <a:lnTo>
                  <a:pt x="4315774" y="1595688"/>
                </a:lnTo>
                <a:lnTo>
                  <a:pt x="4315987" y="1597110"/>
                </a:lnTo>
                <a:cubicBezTo>
                  <a:pt x="4313213" y="1600809"/>
                  <a:pt x="4309158" y="1602090"/>
                  <a:pt x="4305530" y="1601094"/>
                </a:cubicBezTo>
                <a:lnTo>
                  <a:pt x="4301688" y="1597964"/>
                </a:lnTo>
                <a:lnTo>
                  <a:pt x="4294859" y="1601521"/>
                </a:lnTo>
                <a:cubicBezTo>
                  <a:pt x="4292511" y="1602801"/>
                  <a:pt x="4290164" y="1603940"/>
                  <a:pt x="4287816" y="1604508"/>
                </a:cubicBezTo>
                <a:cubicBezTo>
                  <a:pt x="4284401" y="1605362"/>
                  <a:pt x="4280986" y="1605220"/>
                  <a:pt x="4277145" y="1603370"/>
                </a:cubicBezTo>
                <a:cubicBezTo>
                  <a:pt x="4249400" y="1592131"/>
                  <a:pt x="4259431" y="1548455"/>
                  <a:pt x="4284828" y="1552722"/>
                </a:cubicBezTo>
                <a:cubicBezTo>
                  <a:pt x="4288456" y="1553434"/>
                  <a:pt x="4292511" y="1554999"/>
                  <a:pt x="4296566" y="1557702"/>
                </a:cubicBezTo>
                <a:cubicBezTo>
                  <a:pt x="4299341" y="1559836"/>
                  <a:pt x="4301475" y="1562397"/>
                  <a:pt x="4303395" y="1565100"/>
                </a:cubicBezTo>
                <a:lnTo>
                  <a:pt x="4303395" y="1565385"/>
                </a:lnTo>
                <a:lnTo>
                  <a:pt x="4304890" y="1564104"/>
                </a:lnTo>
                <a:cubicBezTo>
                  <a:pt x="4305957" y="1563393"/>
                  <a:pt x="4307237" y="1562966"/>
                  <a:pt x="4307878" y="1563108"/>
                </a:cubicBezTo>
                <a:lnTo>
                  <a:pt x="4308091" y="1563393"/>
                </a:lnTo>
                <a:lnTo>
                  <a:pt x="4306383" y="1554857"/>
                </a:lnTo>
                <a:cubicBezTo>
                  <a:pt x="4306170" y="1550731"/>
                  <a:pt x="4306597" y="1546605"/>
                  <a:pt x="4307878" y="1542764"/>
                </a:cubicBezTo>
                <a:lnTo>
                  <a:pt x="4310652" y="1538496"/>
                </a:lnTo>
                <a:lnTo>
                  <a:pt x="4309585" y="1536077"/>
                </a:lnTo>
                <a:cubicBezTo>
                  <a:pt x="4310225" y="1534797"/>
                  <a:pt x="4311078" y="1534085"/>
                  <a:pt x="4312146" y="1533517"/>
                </a:cubicBezTo>
                <a:lnTo>
                  <a:pt x="4314493" y="1532805"/>
                </a:lnTo>
                <a:lnTo>
                  <a:pt x="4316841" y="1529391"/>
                </a:lnTo>
                <a:cubicBezTo>
                  <a:pt x="4325592" y="1531240"/>
                  <a:pt x="4331780" y="1536646"/>
                  <a:pt x="4334982" y="1543475"/>
                </a:cubicBezTo>
                <a:cubicBezTo>
                  <a:pt x="4336476" y="1546320"/>
                  <a:pt x="4337329" y="1549450"/>
                  <a:pt x="4337756" y="1552722"/>
                </a:cubicBezTo>
                <a:lnTo>
                  <a:pt x="4343519" y="1551015"/>
                </a:lnTo>
                <a:lnTo>
                  <a:pt x="4345653" y="1551300"/>
                </a:lnTo>
                <a:lnTo>
                  <a:pt x="4346720" y="1544898"/>
                </a:lnTo>
                <a:cubicBezTo>
                  <a:pt x="4347574" y="1539919"/>
                  <a:pt x="4348000" y="1535366"/>
                  <a:pt x="4346293" y="1535224"/>
                </a:cubicBezTo>
                <a:cubicBezTo>
                  <a:pt x="4352696" y="1532947"/>
                  <a:pt x="4356110" y="1527825"/>
                  <a:pt x="4362300" y="1525407"/>
                </a:cubicBezTo>
                <a:cubicBezTo>
                  <a:pt x="4376385" y="1539776"/>
                  <a:pt x="4334555" y="1606927"/>
                  <a:pt x="4354830" y="1621581"/>
                </a:cubicBezTo>
                <a:cubicBezTo>
                  <a:pt x="4360379" y="1627272"/>
                  <a:pt x="4394526" y="1618736"/>
                  <a:pt x="4397301" y="1621581"/>
                </a:cubicBezTo>
                <a:cubicBezTo>
                  <a:pt x="4403917" y="1613899"/>
                  <a:pt x="4407545" y="1608777"/>
                  <a:pt x="4410960" y="1603655"/>
                </a:cubicBezTo>
                <a:cubicBezTo>
                  <a:pt x="4413734" y="1606500"/>
                  <a:pt x="4418002" y="1590709"/>
                  <a:pt x="4426539" y="1599245"/>
                </a:cubicBezTo>
                <a:cubicBezTo>
                  <a:pt x="4435076" y="1605220"/>
                  <a:pt x="4429954" y="1631682"/>
                  <a:pt x="4432728" y="1634527"/>
                </a:cubicBezTo>
                <a:cubicBezTo>
                  <a:pt x="4444039" y="1644344"/>
                  <a:pt x="4457271" y="1640645"/>
                  <a:pt x="4468155" y="1637088"/>
                </a:cubicBezTo>
                <a:lnTo>
                  <a:pt x="4475412" y="1634812"/>
                </a:lnTo>
                <a:lnTo>
                  <a:pt x="4477546" y="1628267"/>
                </a:lnTo>
                <a:lnTo>
                  <a:pt x="4470503" y="1625707"/>
                </a:lnTo>
                <a:lnTo>
                  <a:pt x="4468155" y="1624710"/>
                </a:lnTo>
                <a:lnTo>
                  <a:pt x="4468369" y="1625991"/>
                </a:lnTo>
                <a:lnTo>
                  <a:pt x="4467729" y="1624568"/>
                </a:lnTo>
                <a:lnTo>
                  <a:pt x="4461327" y="1621865"/>
                </a:lnTo>
                <a:cubicBezTo>
                  <a:pt x="4455351" y="1619020"/>
                  <a:pt x="4450656" y="1615321"/>
                  <a:pt x="4452789" y="1610484"/>
                </a:cubicBezTo>
                <a:cubicBezTo>
                  <a:pt x="4454497" y="1611053"/>
                  <a:pt x="4456844" y="1611480"/>
                  <a:pt x="4459406" y="1612191"/>
                </a:cubicBezTo>
                <a:lnTo>
                  <a:pt x="4464955" y="1613756"/>
                </a:lnTo>
                <a:lnTo>
                  <a:pt x="4465168" y="1612618"/>
                </a:lnTo>
                <a:lnTo>
                  <a:pt x="4465595" y="1613899"/>
                </a:lnTo>
                <a:lnTo>
                  <a:pt x="4467729" y="1614467"/>
                </a:lnTo>
                <a:cubicBezTo>
                  <a:pt x="4473064" y="1616317"/>
                  <a:pt x="4477760" y="1619162"/>
                  <a:pt x="4478400" y="1623857"/>
                </a:cubicBezTo>
                <a:lnTo>
                  <a:pt x="4477973" y="1626987"/>
                </a:lnTo>
                <a:lnTo>
                  <a:pt x="4478613" y="1625137"/>
                </a:lnTo>
                <a:cubicBezTo>
                  <a:pt x="4480961" y="1621012"/>
                  <a:pt x="4483735" y="1618166"/>
                  <a:pt x="4486723" y="1616032"/>
                </a:cubicBezTo>
                <a:lnTo>
                  <a:pt x="4491419" y="1613899"/>
                </a:lnTo>
                <a:lnTo>
                  <a:pt x="4494406" y="1608350"/>
                </a:lnTo>
                <a:lnTo>
                  <a:pt x="4490138" y="1608207"/>
                </a:lnTo>
                <a:cubicBezTo>
                  <a:pt x="4490352" y="1605505"/>
                  <a:pt x="4489497" y="1603370"/>
                  <a:pt x="4489711" y="1600668"/>
                </a:cubicBezTo>
                <a:cubicBezTo>
                  <a:pt x="4492912" y="1599102"/>
                  <a:pt x="4494406" y="1595404"/>
                  <a:pt x="4497608" y="1595119"/>
                </a:cubicBezTo>
                <a:cubicBezTo>
                  <a:pt x="4498888" y="1594976"/>
                  <a:pt x="4499955" y="1595261"/>
                  <a:pt x="4501663" y="1596114"/>
                </a:cubicBezTo>
                <a:lnTo>
                  <a:pt x="4501663" y="1596684"/>
                </a:lnTo>
                <a:lnTo>
                  <a:pt x="4508492" y="1587436"/>
                </a:lnTo>
                <a:lnTo>
                  <a:pt x="4519377" y="1577335"/>
                </a:lnTo>
                <a:lnTo>
                  <a:pt x="4513614" y="1575343"/>
                </a:lnTo>
                <a:cubicBezTo>
                  <a:pt x="4507639" y="1573494"/>
                  <a:pt x="4502516" y="1571360"/>
                  <a:pt x="4500809" y="1565811"/>
                </a:cubicBezTo>
                <a:cubicBezTo>
                  <a:pt x="4505931" y="1566665"/>
                  <a:pt x="4512761" y="1565669"/>
                  <a:pt x="4518950" y="1565811"/>
                </a:cubicBezTo>
                <a:cubicBezTo>
                  <a:pt x="4525139" y="1565811"/>
                  <a:pt x="4530261" y="1566665"/>
                  <a:pt x="4532181" y="1570648"/>
                </a:cubicBezTo>
                <a:cubicBezTo>
                  <a:pt x="4533462" y="1573352"/>
                  <a:pt x="4533036" y="1577335"/>
                  <a:pt x="4530474" y="1583595"/>
                </a:cubicBezTo>
                <a:lnTo>
                  <a:pt x="4523858" y="1579327"/>
                </a:lnTo>
                <a:lnTo>
                  <a:pt x="4526419" y="1590139"/>
                </a:lnTo>
                <a:lnTo>
                  <a:pt x="4524498" y="1597395"/>
                </a:lnTo>
                <a:lnTo>
                  <a:pt x="4526633" y="1596684"/>
                </a:lnTo>
                <a:cubicBezTo>
                  <a:pt x="4527486" y="1596826"/>
                  <a:pt x="4528340" y="1597110"/>
                  <a:pt x="4528767" y="1597679"/>
                </a:cubicBezTo>
                <a:cubicBezTo>
                  <a:pt x="4529407" y="1598249"/>
                  <a:pt x="4529621" y="1599102"/>
                  <a:pt x="4529407" y="1600809"/>
                </a:cubicBezTo>
                <a:cubicBezTo>
                  <a:pt x="4529834" y="1603513"/>
                  <a:pt x="4528767" y="1604082"/>
                  <a:pt x="4524712" y="1603940"/>
                </a:cubicBezTo>
                <a:lnTo>
                  <a:pt x="4523005" y="1603655"/>
                </a:lnTo>
                <a:lnTo>
                  <a:pt x="4522151" y="1606927"/>
                </a:lnTo>
                <a:lnTo>
                  <a:pt x="4526419" y="1611053"/>
                </a:lnTo>
                <a:cubicBezTo>
                  <a:pt x="4533036" y="1615321"/>
                  <a:pt x="4539011" y="1613756"/>
                  <a:pt x="4545200" y="1615036"/>
                </a:cubicBezTo>
                <a:cubicBezTo>
                  <a:pt x="4547975" y="1625849"/>
                  <a:pt x="4558646" y="1635950"/>
                  <a:pt x="4565049" y="1646905"/>
                </a:cubicBezTo>
                <a:cubicBezTo>
                  <a:pt x="4560993" y="1660989"/>
                  <a:pt x="4561634" y="1674078"/>
                  <a:pt x="4557578" y="1688305"/>
                </a:cubicBezTo>
                <a:cubicBezTo>
                  <a:pt x="4553950" y="1689016"/>
                  <a:pt x="4550322" y="1690866"/>
                  <a:pt x="4546907" y="1693142"/>
                </a:cubicBezTo>
                <a:lnTo>
                  <a:pt x="4542426" y="1696414"/>
                </a:lnTo>
                <a:lnTo>
                  <a:pt x="4539865" y="1711637"/>
                </a:lnTo>
                <a:lnTo>
                  <a:pt x="4544987" y="1716190"/>
                </a:lnTo>
                <a:lnTo>
                  <a:pt x="4546907" y="1713913"/>
                </a:lnTo>
                <a:cubicBezTo>
                  <a:pt x="4547761" y="1713344"/>
                  <a:pt x="4548828" y="1712917"/>
                  <a:pt x="4549682" y="1712917"/>
                </a:cubicBezTo>
                <a:cubicBezTo>
                  <a:pt x="4555018" y="1715763"/>
                  <a:pt x="4552670" y="1720173"/>
                  <a:pt x="4549682" y="1722165"/>
                </a:cubicBezTo>
                <a:lnTo>
                  <a:pt x="4548188" y="1722592"/>
                </a:lnTo>
                <a:lnTo>
                  <a:pt x="4554591" y="1726433"/>
                </a:lnTo>
                <a:cubicBezTo>
                  <a:pt x="4559499" y="1728851"/>
                  <a:pt x="4564835" y="1730132"/>
                  <a:pt x="4570170" y="1727856"/>
                </a:cubicBezTo>
                <a:lnTo>
                  <a:pt x="4573799" y="1724868"/>
                </a:lnTo>
                <a:lnTo>
                  <a:pt x="4571877" y="1722592"/>
                </a:lnTo>
                <a:cubicBezTo>
                  <a:pt x="4569957" y="1718466"/>
                  <a:pt x="4569744" y="1711210"/>
                  <a:pt x="4570170" y="1707654"/>
                </a:cubicBezTo>
                <a:cubicBezTo>
                  <a:pt x="4571237" y="1708080"/>
                  <a:pt x="4571877" y="1709076"/>
                  <a:pt x="4572518" y="1710499"/>
                </a:cubicBezTo>
                <a:cubicBezTo>
                  <a:pt x="4573372" y="1712491"/>
                  <a:pt x="4574012" y="1715336"/>
                  <a:pt x="4574225" y="1718181"/>
                </a:cubicBezTo>
                <a:lnTo>
                  <a:pt x="4574225" y="1722022"/>
                </a:lnTo>
                <a:lnTo>
                  <a:pt x="4574225" y="1724583"/>
                </a:lnTo>
                <a:lnTo>
                  <a:pt x="4575292" y="1723587"/>
                </a:lnTo>
                <a:lnTo>
                  <a:pt x="4574225" y="1722022"/>
                </a:lnTo>
                <a:lnTo>
                  <a:pt x="4577000" y="1722307"/>
                </a:lnTo>
                <a:lnTo>
                  <a:pt x="4578067" y="1721453"/>
                </a:lnTo>
                <a:cubicBezTo>
                  <a:pt x="4581055" y="1721595"/>
                  <a:pt x="4581482" y="1716190"/>
                  <a:pt x="4581482" y="1716190"/>
                </a:cubicBezTo>
                <a:cubicBezTo>
                  <a:pt x="4587244" y="1719320"/>
                  <a:pt x="4590872" y="1711495"/>
                  <a:pt x="4594074" y="1709076"/>
                </a:cubicBezTo>
                <a:cubicBezTo>
                  <a:pt x="4594074" y="1709076"/>
                  <a:pt x="4594287" y="1709076"/>
                  <a:pt x="4602824" y="1714909"/>
                </a:cubicBezTo>
                <a:cubicBezTo>
                  <a:pt x="4596207" y="1722592"/>
                  <a:pt x="4605385" y="1720458"/>
                  <a:pt x="4598769" y="1728140"/>
                </a:cubicBezTo>
                <a:cubicBezTo>
                  <a:pt x="4598769" y="1728140"/>
                  <a:pt x="4598769" y="1728140"/>
                  <a:pt x="4597488" y="1728994"/>
                </a:cubicBezTo>
                <a:lnTo>
                  <a:pt x="4595567" y="1730416"/>
                </a:lnTo>
                <a:lnTo>
                  <a:pt x="4597702" y="1732693"/>
                </a:lnTo>
                <a:lnTo>
                  <a:pt x="4591939" y="1733262"/>
                </a:lnTo>
                <a:lnTo>
                  <a:pt x="4589165" y="1735538"/>
                </a:lnTo>
                <a:cubicBezTo>
                  <a:pt x="4585963" y="1735396"/>
                  <a:pt x="4585963" y="1735396"/>
                  <a:pt x="4582762" y="1737815"/>
                </a:cubicBezTo>
                <a:lnTo>
                  <a:pt x="4582548" y="1738099"/>
                </a:lnTo>
                <a:lnTo>
                  <a:pt x="4585536" y="1743505"/>
                </a:lnTo>
                <a:lnTo>
                  <a:pt x="4585536" y="1745924"/>
                </a:lnTo>
                <a:lnTo>
                  <a:pt x="4585750" y="1745924"/>
                </a:lnTo>
                <a:lnTo>
                  <a:pt x="4585323" y="1746351"/>
                </a:lnTo>
                <a:lnTo>
                  <a:pt x="4585323" y="1747346"/>
                </a:lnTo>
                <a:lnTo>
                  <a:pt x="4586391" y="1746919"/>
                </a:lnTo>
                <a:cubicBezTo>
                  <a:pt x="4589165" y="1746493"/>
                  <a:pt x="4592153" y="1746635"/>
                  <a:pt x="4593860" y="1747773"/>
                </a:cubicBezTo>
                <a:cubicBezTo>
                  <a:pt x="4592793" y="1750050"/>
                  <a:pt x="4591726" y="1752326"/>
                  <a:pt x="4590659" y="1754602"/>
                </a:cubicBezTo>
                <a:lnTo>
                  <a:pt x="4589805" y="1754318"/>
                </a:lnTo>
                <a:lnTo>
                  <a:pt x="4589591" y="1754602"/>
                </a:lnTo>
                <a:cubicBezTo>
                  <a:pt x="4588951" y="1755313"/>
                  <a:pt x="4588524" y="1756309"/>
                  <a:pt x="4588738" y="1757590"/>
                </a:cubicBezTo>
                <a:cubicBezTo>
                  <a:pt x="4587244" y="1757163"/>
                  <a:pt x="4585536" y="1756736"/>
                  <a:pt x="4584470" y="1756025"/>
                </a:cubicBezTo>
                <a:lnTo>
                  <a:pt x="4583829" y="1754745"/>
                </a:lnTo>
                <a:lnTo>
                  <a:pt x="4583403" y="1754887"/>
                </a:lnTo>
                <a:lnTo>
                  <a:pt x="4582335" y="1756878"/>
                </a:lnTo>
                <a:lnTo>
                  <a:pt x="4582976" y="1759155"/>
                </a:lnTo>
                <a:lnTo>
                  <a:pt x="4580841" y="1759582"/>
                </a:lnTo>
                <a:lnTo>
                  <a:pt x="4583829" y="1762000"/>
                </a:lnTo>
                <a:lnTo>
                  <a:pt x="4589378" y="1764561"/>
                </a:lnTo>
                <a:lnTo>
                  <a:pt x="4590445" y="1763565"/>
                </a:lnTo>
                <a:cubicBezTo>
                  <a:pt x="4593219" y="1762427"/>
                  <a:pt x="4595994" y="1761858"/>
                  <a:pt x="4597702" y="1762569"/>
                </a:cubicBezTo>
                <a:lnTo>
                  <a:pt x="4598769" y="1767406"/>
                </a:lnTo>
                <a:lnTo>
                  <a:pt x="4600903" y="1767833"/>
                </a:lnTo>
                <a:cubicBezTo>
                  <a:pt x="4606878" y="1768829"/>
                  <a:pt x="4612214" y="1769256"/>
                  <a:pt x="4613708" y="1769256"/>
                </a:cubicBezTo>
                <a:cubicBezTo>
                  <a:pt x="4613068" y="1777365"/>
                  <a:pt x="4603677" y="1789316"/>
                  <a:pt x="4604745" y="1800840"/>
                </a:cubicBezTo>
                <a:lnTo>
                  <a:pt x="4607946" y="1806815"/>
                </a:lnTo>
                <a:lnTo>
                  <a:pt x="4609013" y="1805392"/>
                </a:lnTo>
                <a:cubicBezTo>
                  <a:pt x="4609013" y="1804254"/>
                  <a:pt x="4610080" y="1803116"/>
                  <a:pt x="4611147" y="1803258"/>
                </a:cubicBezTo>
                <a:cubicBezTo>
                  <a:pt x="4611147" y="1803258"/>
                  <a:pt x="4612214" y="1801977"/>
                  <a:pt x="4612214" y="1800840"/>
                </a:cubicBezTo>
                <a:cubicBezTo>
                  <a:pt x="4614348" y="1798563"/>
                  <a:pt x="4615416" y="1798563"/>
                  <a:pt x="4616483" y="1798705"/>
                </a:cubicBezTo>
                <a:cubicBezTo>
                  <a:pt x="4616483" y="1798705"/>
                  <a:pt x="4615416" y="1799844"/>
                  <a:pt x="4615629" y="1800982"/>
                </a:cubicBezTo>
                <a:cubicBezTo>
                  <a:pt x="4615629" y="1800982"/>
                  <a:pt x="4614561" y="1802120"/>
                  <a:pt x="4613495" y="1803258"/>
                </a:cubicBezTo>
                <a:cubicBezTo>
                  <a:pt x="4613495" y="1803258"/>
                  <a:pt x="4613495" y="1804396"/>
                  <a:pt x="4613495" y="1805534"/>
                </a:cubicBezTo>
                <a:lnTo>
                  <a:pt x="4610720" y="1809518"/>
                </a:lnTo>
                <a:lnTo>
                  <a:pt x="4611574" y="1809660"/>
                </a:lnTo>
                <a:lnTo>
                  <a:pt x="4619470" y="1811225"/>
                </a:lnTo>
                <a:lnTo>
                  <a:pt x="4629928" y="1805819"/>
                </a:lnTo>
                <a:cubicBezTo>
                  <a:pt x="4637825" y="1801693"/>
                  <a:pt x="4646574" y="1798136"/>
                  <a:pt x="4653617" y="1803969"/>
                </a:cubicBezTo>
                <a:cubicBezTo>
                  <a:pt x="4659380" y="1807099"/>
                  <a:pt x="4658953" y="1812363"/>
                  <a:pt x="4652764" y="1814640"/>
                </a:cubicBezTo>
                <a:lnTo>
                  <a:pt x="4644227" y="1821753"/>
                </a:lnTo>
                <a:lnTo>
                  <a:pt x="4644654" y="1822180"/>
                </a:lnTo>
                <a:cubicBezTo>
                  <a:pt x="4645721" y="1824029"/>
                  <a:pt x="4646361" y="1826164"/>
                  <a:pt x="4646788" y="1828440"/>
                </a:cubicBezTo>
                <a:lnTo>
                  <a:pt x="4646574" y="1833703"/>
                </a:lnTo>
                <a:lnTo>
                  <a:pt x="4647855" y="1832138"/>
                </a:lnTo>
                <a:cubicBezTo>
                  <a:pt x="4648922" y="1830716"/>
                  <a:pt x="4649989" y="1829436"/>
                  <a:pt x="4650416" y="1830147"/>
                </a:cubicBezTo>
                <a:cubicBezTo>
                  <a:pt x="4650416" y="1830147"/>
                  <a:pt x="4649349" y="1831285"/>
                  <a:pt x="4648282" y="1832423"/>
                </a:cubicBezTo>
                <a:cubicBezTo>
                  <a:pt x="4647215" y="1833561"/>
                  <a:pt x="4647215" y="1833703"/>
                  <a:pt x="4648496" y="1834984"/>
                </a:cubicBezTo>
                <a:cubicBezTo>
                  <a:pt x="4647855" y="1835553"/>
                  <a:pt x="4647642" y="1835838"/>
                  <a:pt x="4647215" y="1835838"/>
                </a:cubicBezTo>
                <a:lnTo>
                  <a:pt x="4646361" y="1835980"/>
                </a:lnTo>
                <a:lnTo>
                  <a:pt x="4643587" y="1842524"/>
                </a:lnTo>
                <a:lnTo>
                  <a:pt x="4638891" y="1848215"/>
                </a:lnTo>
                <a:lnTo>
                  <a:pt x="4638891" y="1848357"/>
                </a:lnTo>
                <a:lnTo>
                  <a:pt x="4636971" y="1850633"/>
                </a:lnTo>
                <a:cubicBezTo>
                  <a:pt x="4633770" y="1853763"/>
                  <a:pt x="4630782" y="1855613"/>
                  <a:pt x="4628647" y="1856608"/>
                </a:cubicBezTo>
                <a:lnTo>
                  <a:pt x="4625019" y="1857889"/>
                </a:lnTo>
                <a:lnTo>
                  <a:pt x="4626513" y="1862584"/>
                </a:lnTo>
                <a:lnTo>
                  <a:pt x="4632275" y="1868559"/>
                </a:lnTo>
                <a:lnTo>
                  <a:pt x="4634623" y="1867990"/>
                </a:lnTo>
                <a:lnTo>
                  <a:pt x="4635050" y="1867990"/>
                </a:lnTo>
                <a:lnTo>
                  <a:pt x="4635050" y="1866852"/>
                </a:lnTo>
                <a:cubicBezTo>
                  <a:pt x="4634837" y="1866567"/>
                  <a:pt x="4634623" y="1866425"/>
                  <a:pt x="4633770" y="1866283"/>
                </a:cubicBezTo>
                <a:cubicBezTo>
                  <a:pt x="4633770" y="1866283"/>
                  <a:pt x="4634623" y="1865572"/>
                  <a:pt x="4634623" y="1865572"/>
                </a:cubicBezTo>
                <a:cubicBezTo>
                  <a:pt x="4635263" y="1866567"/>
                  <a:pt x="4634623" y="1865714"/>
                  <a:pt x="4634837" y="1864007"/>
                </a:cubicBezTo>
                <a:cubicBezTo>
                  <a:pt x="4637398" y="1863722"/>
                  <a:pt x="4638465" y="1863154"/>
                  <a:pt x="4639958" y="1863580"/>
                </a:cubicBezTo>
                <a:lnTo>
                  <a:pt x="4640172" y="1863580"/>
                </a:lnTo>
                <a:lnTo>
                  <a:pt x="4644867" y="1854901"/>
                </a:lnTo>
                <a:lnTo>
                  <a:pt x="4647215" y="1853478"/>
                </a:lnTo>
                <a:lnTo>
                  <a:pt x="4648069" y="1851060"/>
                </a:lnTo>
                <a:cubicBezTo>
                  <a:pt x="4649136" y="1851344"/>
                  <a:pt x="4649349" y="1851203"/>
                  <a:pt x="4649136" y="1852483"/>
                </a:cubicBezTo>
                <a:cubicBezTo>
                  <a:pt x="4649349" y="1852341"/>
                  <a:pt x="4649349" y="1852341"/>
                  <a:pt x="4649349" y="1852198"/>
                </a:cubicBezTo>
                <a:lnTo>
                  <a:pt x="4649562" y="1852767"/>
                </a:lnTo>
                <a:lnTo>
                  <a:pt x="4650416" y="1852483"/>
                </a:lnTo>
                <a:cubicBezTo>
                  <a:pt x="4651270" y="1852483"/>
                  <a:pt x="4652124" y="1852767"/>
                  <a:pt x="4652977" y="1853478"/>
                </a:cubicBezTo>
                <a:cubicBezTo>
                  <a:pt x="4654258" y="1853621"/>
                  <a:pt x="4654044" y="1858315"/>
                  <a:pt x="4652764" y="1859312"/>
                </a:cubicBezTo>
                <a:cubicBezTo>
                  <a:pt x="4650416" y="1861446"/>
                  <a:pt x="4649349" y="1862442"/>
                  <a:pt x="4647001" y="1862157"/>
                </a:cubicBezTo>
                <a:cubicBezTo>
                  <a:pt x="4645721" y="1863295"/>
                  <a:pt x="4644654" y="1864291"/>
                  <a:pt x="4643587" y="1864718"/>
                </a:cubicBezTo>
                <a:lnTo>
                  <a:pt x="4640812" y="1863864"/>
                </a:lnTo>
                <a:lnTo>
                  <a:pt x="4642520" y="1864861"/>
                </a:lnTo>
                <a:cubicBezTo>
                  <a:pt x="4643160" y="1865429"/>
                  <a:pt x="4643800" y="1866141"/>
                  <a:pt x="4643587" y="1866994"/>
                </a:cubicBezTo>
                <a:cubicBezTo>
                  <a:pt x="4642733" y="1867706"/>
                  <a:pt x="4643373" y="1868702"/>
                  <a:pt x="4642520" y="1869271"/>
                </a:cubicBezTo>
                <a:cubicBezTo>
                  <a:pt x="4641879" y="1870266"/>
                  <a:pt x="4641453" y="1870693"/>
                  <a:pt x="4641026" y="1871120"/>
                </a:cubicBezTo>
                <a:cubicBezTo>
                  <a:pt x="4642946" y="1869413"/>
                  <a:pt x="4645294" y="1868132"/>
                  <a:pt x="4647855" y="1867990"/>
                </a:cubicBezTo>
                <a:lnTo>
                  <a:pt x="4644867" y="1877665"/>
                </a:lnTo>
                <a:lnTo>
                  <a:pt x="4648282" y="1879656"/>
                </a:lnTo>
                <a:lnTo>
                  <a:pt x="4648922" y="1878092"/>
                </a:lnTo>
                <a:cubicBezTo>
                  <a:pt x="4648922" y="1878092"/>
                  <a:pt x="4648922" y="1877949"/>
                  <a:pt x="4650203" y="1879230"/>
                </a:cubicBezTo>
                <a:lnTo>
                  <a:pt x="4649989" y="1880226"/>
                </a:lnTo>
                <a:lnTo>
                  <a:pt x="4659593" y="1882502"/>
                </a:lnTo>
                <a:cubicBezTo>
                  <a:pt x="4663008" y="1882928"/>
                  <a:pt x="4666423" y="1883070"/>
                  <a:pt x="4670264" y="1883497"/>
                </a:cubicBezTo>
                <a:lnTo>
                  <a:pt x="4674319" y="1884351"/>
                </a:lnTo>
                <a:lnTo>
                  <a:pt x="4672825" y="1879798"/>
                </a:lnTo>
                <a:lnTo>
                  <a:pt x="4672399" y="1878660"/>
                </a:lnTo>
                <a:lnTo>
                  <a:pt x="4669624" y="1878518"/>
                </a:lnTo>
                <a:cubicBezTo>
                  <a:pt x="4669624" y="1878518"/>
                  <a:pt x="4663648" y="1876384"/>
                  <a:pt x="4664502" y="1872116"/>
                </a:cubicBezTo>
                <a:cubicBezTo>
                  <a:pt x="4664288" y="1871690"/>
                  <a:pt x="4665142" y="1870836"/>
                  <a:pt x="4666423" y="1870266"/>
                </a:cubicBezTo>
                <a:lnTo>
                  <a:pt x="4669624" y="1869555"/>
                </a:lnTo>
                <a:lnTo>
                  <a:pt x="4668343" y="1864576"/>
                </a:lnTo>
                <a:lnTo>
                  <a:pt x="4665996" y="1862015"/>
                </a:lnTo>
                <a:lnTo>
                  <a:pt x="4665783" y="1861019"/>
                </a:lnTo>
                <a:lnTo>
                  <a:pt x="4664502" y="1860592"/>
                </a:lnTo>
                <a:cubicBezTo>
                  <a:pt x="4664502" y="1860592"/>
                  <a:pt x="4664502" y="1860592"/>
                  <a:pt x="4664502" y="1859596"/>
                </a:cubicBezTo>
                <a:lnTo>
                  <a:pt x="4665569" y="1860166"/>
                </a:lnTo>
                <a:lnTo>
                  <a:pt x="4665356" y="1858885"/>
                </a:lnTo>
                <a:lnTo>
                  <a:pt x="4664288" y="1859312"/>
                </a:lnTo>
                <a:cubicBezTo>
                  <a:pt x="4664288" y="1859312"/>
                  <a:pt x="4664075" y="1858315"/>
                  <a:pt x="4664715" y="1856751"/>
                </a:cubicBezTo>
                <a:cubicBezTo>
                  <a:pt x="4664715" y="1856751"/>
                  <a:pt x="4664929" y="1856893"/>
                  <a:pt x="4665142" y="1857178"/>
                </a:cubicBezTo>
                <a:lnTo>
                  <a:pt x="4665356" y="1858315"/>
                </a:lnTo>
                <a:lnTo>
                  <a:pt x="4667703" y="1854617"/>
                </a:lnTo>
                <a:cubicBezTo>
                  <a:pt x="4668984" y="1853621"/>
                  <a:pt x="4670904" y="1853194"/>
                  <a:pt x="4672825" y="1853336"/>
                </a:cubicBezTo>
                <a:cubicBezTo>
                  <a:pt x="4674959" y="1853478"/>
                  <a:pt x="4677521" y="1854474"/>
                  <a:pt x="4679655" y="1856608"/>
                </a:cubicBezTo>
                <a:cubicBezTo>
                  <a:pt x="4679655" y="1859312"/>
                  <a:pt x="4676454" y="1863864"/>
                  <a:pt x="4673466" y="1865998"/>
                </a:cubicBezTo>
                <a:lnTo>
                  <a:pt x="4673252" y="1865998"/>
                </a:lnTo>
                <a:lnTo>
                  <a:pt x="4673252" y="1866283"/>
                </a:lnTo>
                <a:cubicBezTo>
                  <a:pt x="4674533" y="1868132"/>
                  <a:pt x="4675600" y="1870836"/>
                  <a:pt x="4676454" y="1873112"/>
                </a:cubicBezTo>
                <a:lnTo>
                  <a:pt x="4676454" y="1874108"/>
                </a:lnTo>
                <a:lnTo>
                  <a:pt x="4679014" y="1875246"/>
                </a:lnTo>
                <a:cubicBezTo>
                  <a:pt x="4679868" y="1875957"/>
                  <a:pt x="4680295" y="1877095"/>
                  <a:pt x="4679655" y="1878660"/>
                </a:cubicBezTo>
                <a:lnTo>
                  <a:pt x="4677307" y="1878660"/>
                </a:lnTo>
                <a:lnTo>
                  <a:pt x="4677307" y="1878802"/>
                </a:lnTo>
                <a:cubicBezTo>
                  <a:pt x="4677307" y="1879230"/>
                  <a:pt x="4677094" y="1879798"/>
                  <a:pt x="4677521" y="1880226"/>
                </a:cubicBezTo>
                <a:cubicBezTo>
                  <a:pt x="4677521" y="1880226"/>
                  <a:pt x="4678161" y="1881221"/>
                  <a:pt x="4677947" y="1882928"/>
                </a:cubicBezTo>
                <a:lnTo>
                  <a:pt x="4677307" y="1884921"/>
                </a:lnTo>
                <a:lnTo>
                  <a:pt x="4683496" y="1886343"/>
                </a:lnTo>
                <a:cubicBezTo>
                  <a:pt x="4680295" y="1888761"/>
                  <a:pt x="4677094" y="1891323"/>
                  <a:pt x="4673892" y="1893741"/>
                </a:cubicBezTo>
                <a:cubicBezTo>
                  <a:pt x="4670691" y="1896302"/>
                  <a:pt x="4670691" y="1896302"/>
                  <a:pt x="4670478" y="1898862"/>
                </a:cubicBezTo>
                <a:cubicBezTo>
                  <a:pt x="4679014" y="1904838"/>
                  <a:pt x="4685630" y="1899859"/>
                  <a:pt x="4697369" y="1905976"/>
                </a:cubicBezTo>
                <a:lnTo>
                  <a:pt x="4681149" y="1909533"/>
                </a:lnTo>
                <a:lnTo>
                  <a:pt x="4687338" y="1914370"/>
                </a:lnTo>
                <a:cubicBezTo>
                  <a:pt x="4684137" y="1921057"/>
                  <a:pt x="4678587" y="1926605"/>
                  <a:pt x="4671758" y="1931015"/>
                </a:cubicBezTo>
                <a:lnTo>
                  <a:pt x="4659593" y="1935710"/>
                </a:lnTo>
                <a:lnTo>
                  <a:pt x="4657886" y="1941116"/>
                </a:lnTo>
                <a:lnTo>
                  <a:pt x="4653617" y="1942966"/>
                </a:lnTo>
                <a:lnTo>
                  <a:pt x="4653617" y="1943108"/>
                </a:lnTo>
                <a:lnTo>
                  <a:pt x="4653404" y="1942966"/>
                </a:lnTo>
                <a:lnTo>
                  <a:pt x="4652337" y="1943535"/>
                </a:lnTo>
                <a:cubicBezTo>
                  <a:pt x="4645934" y="1945100"/>
                  <a:pt x="4637825" y="1944531"/>
                  <a:pt x="4632916" y="1950221"/>
                </a:cubicBezTo>
                <a:cubicBezTo>
                  <a:pt x="4632916" y="1950221"/>
                  <a:pt x="4630995" y="1952071"/>
                  <a:pt x="4628434" y="1955058"/>
                </a:cubicBezTo>
                <a:lnTo>
                  <a:pt x="4623739" y="1961176"/>
                </a:lnTo>
                <a:lnTo>
                  <a:pt x="4624592" y="1963879"/>
                </a:lnTo>
                <a:lnTo>
                  <a:pt x="4623525" y="1965587"/>
                </a:lnTo>
                <a:lnTo>
                  <a:pt x="4630782" y="1964164"/>
                </a:lnTo>
                <a:cubicBezTo>
                  <a:pt x="4639532" y="1962599"/>
                  <a:pt x="4647855" y="1962029"/>
                  <a:pt x="4654258" y="1968005"/>
                </a:cubicBezTo>
                <a:cubicBezTo>
                  <a:pt x="4656605" y="1982943"/>
                  <a:pt x="4664715" y="1984366"/>
                  <a:pt x="4669624" y="1992190"/>
                </a:cubicBezTo>
                <a:lnTo>
                  <a:pt x="4668771" y="2002576"/>
                </a:lnTo>
                <a:lnTo>
                  <a:pt x="4671331" y="2003572"/>
                </a:lnTo>
                <a:cubicBezTo>
                  <a:pt x="4677094" y="2006560"/>
                  <a:pt x="4673679" y="2011824"/>
                  <a:pt x="4670478" y="2014385"/>
                </a:cubicBezTo>
                <a:cubicBezTo>
                  <a:pt x="4670478" y="2014385"/>
                  <a:pt x="4669838" y="2014243"/>
                  <a:pt x="4668557" y="2014100"/>
                </a:cubicBezTo>
                <a:lnTo>
                  <a:pt x="4667276" y="2013958"/>
                </a:lnTo>
                <a:lnTo>
                  <a:pt x="4666423" y="2017657"/>
                </a:lnTo>
                <a:lnTo>
                  <a:pt x="4669624" y="2022636"/>
                </a:lnTo>
                <a:lnTo>
                  <a:pt x="4664929" y="2023633"/>
                </a:lnTo>
                <a:lnTo>
                  <a:pt x="4664288" y="2026335"/>
                </a:lnTo>
                <a:lnTo>
                  <a:pt x="4660447" y="2033733"/>
                </a:lnTo>
                <a:lnTo>
                  <a:pt x="4661087" y="2034160"/>
                </a:lnTo>
                <a:cubicBezTo>
                  <a:pt x="4661728" y="2035156"/>
                  <a:pt x="4661728" y="2036437"/>
                  <a:pt x="4661087" y="2037717"/>
                </a:cubicBezTo>
                <a:lnTo>
                  <a:pt x="4656392" y="2041274"/>
                </a:lnTo>
                <a:lnTo>
                  <a:pt x="4655965" y="2042269"/>
                </a:lnTo>
                <a:cubicBezTo>
                  <a:pt x="4652337" y="2047106"/>
                  <a:pt x="4648282" y="2051232"/>
                  <a:pt x="4642946" y="2054362"/>
                </a:cubicBezTo>
                <a:cubicBezTo>
                  <a:pt x="4638678" y="2057065"/>
                  <a:pt x="4634837" y="2058488"/>
                  <a:pt x="4630995" y="2059199"/>
                </a:cubicBezTo>
                <a:lnTo>
                  <a:pt x="4626727" y="2059342"/>
                </a:lnTo>
                <a:lnTo>
                  <a:pt x="4623952" y="2060764"/>
                </a:lnTo>
                <a:cubicBezTo>
                  <a:pt x="4619684" y="2063041"/>
                  <a:pt x="4612214" y="2066455"/>
                  <a:pt x="4609226" y="2066455"/>
                </a:cubicBezTo>
                <a:cubicBezTo>
                  <a:pt x="4612001" y="2065317"/>
                  <a:pt x="4614989" y="2063325"/>
                  <a:pt x="4618190" y="2061760"/>
                </a:cubicBezTo>
                <a:lnTo>
                  <a:pt x="4626513" y="2059342"/>
                </a:lnTo>
                <a:lnTo>
                  <a:pt x="4619897" y="2059484"/>
                </a:lnTo>
                <a:cubicBezTo>
                  <a:pt x="4612428" y="2058631"/>
                  <a:pt x="4604958" y="2056496"/>
                  <a:pt x="4595994" y="2056781"/>
                </a:cubicBezTo>
                <a:cubicBezTo>
                  <a:pt x="4595354" y="2053082"/>
                  <a:pt x="4594500" y="2050237"/>
                  <a:pt x="4593219" y="2048103"/>
                </a:cubicBezTo>
                <a:lnTo>
                  <a:pt x="4591939" y="2046822"/>
                </a:lnTo>
                <a:lnTo>
                  <a:pt x="4588311" y="2047960"/>
                </a:lnTo>
                <a:cubicBezTo>
                  <a:pt x="4583189" y="2049667"/>
                  <a:pt x="4577853" y="2051375"/>
                  <a:pt x="4576360" y="2051232"/>
                </a:cubicBezTo>
                <a:cubicBezTo>
                  <a:pt x="4576360" y="2051232"/>
                  <a:pt x="4575292" y="2053936"/>
                  <a:pt x="4574225" y="2057492"/>
                </a:cubicBezTo>
                <a:lnTo>
                  <a:pt x="4574012" y="2061903"/>
                </a:lnTo>
                <a:lnTo>
                  <a:pt x="4575720" y="2065886"/>
                </a:lnTo>
                <a:lnTo>
                  <a:pt x="4573585" y="2069158"/>
                </a:lnTo>
                <a:lnTo>
                  <a:pt x="4573585" y="2069300"/>
                </a:lnTo>
                <a:lnTo>
                  <a:pt x="4575933" y="2073284"/>
                </a:lnTo>
                <a:lnTo>
                  <a:pt x="4589805" y="2073426"/>
                </a:lnTo>
                <a:cubicBezTo>
                  <a:pt x="4596207" y="2075134"/>
                  <a:pt x="4602824" y="2078975"/>
                  <a:pt x="4608799" y="2085662"/>
                </a:cubicBezTo>
                <a:cubicBezTo>
                  <a:pt x="4611787" y="2092348"/>
                  <a:pt x="4607305" y="2101026"/>
                  <a:pt x="4600262" y="2107713"/>
                </a:cubicBezTo>
                <a:lnTo>
                  <a:pt x="4588738" y="2115111"/>
                </a:lnTo>
                <a:lnTo>
                  <a:pt x="4588671" y="2115298"/>
                </a:lnTo>
                <a:lnTo>
                  <a:pt x="4588098" y="2115681"/>
                </a:lnTo>
                <a:cubicBezTo>
                  <a:pt x="4583616" y="2117529"/>
                  <a:pt x="4579348" y="2118383"/>
                  <a:pt x="4575506" y="2117672"/>
                </a:cubicBezTo>
                <a:cubicBezTo>
                  <a:pt x="4569530" y="2112408"/>
                  <a:pt x="4563554" y="2107002"/>
                  <a:pt x="4557365" y="2101596"/>
                </a:cubicBezTo>
                <a:lnTo>
                  <a:pt x="4559073" y="2092064"/>
                </a:lnTo>
                <a:lnTo>
                  <a:pt x="4557578" y="2091637"/>
                </a:lnTo>
                <a:cubicBezTo>
                  <a:pt x="4553523" y="2091637"/>
                  <a:pt x="4549469" y="2093202"/>
                  <a:pt x="4545200" y="2097612"/>
                </a:cubicBezTo>
                <a:lnTo>
                  <a:pt x="4543920" y="2098750"/>
                </a:lnTo>
                <a:lnTo>
                  <a:pt x="4544133" y="2099604"/>
                </a:lnTo>
                <a:cubicBezTo>
                  <a:pt x="4544347" y="2103018"/>
                  <a:pt x="4542426" y="2106575"/>
                  <a:pt x="4539651" y="2107998"/>
                </a:cubicBezTo>
                <a:lnTo>
                  <a:pt x="4538157" y="2107998"/>
                </a:lnTo>
                <a:lnTo>
                  <a:pt x="4535169" y="2109136"/>
                </a:lnTo>
                <a:cubicBezTo>
                  <a:pt x="4534316" y="2109705"/>
                  <a:pt x="4533676" y="2110274"/>
                  <a:pt x="4532181" y="2110274"/>
                </a:cubicBezTo>
                <a:cubicBezTo>
                  <a:pt x="4530688" y="2110132"/>
                  <a:pt x="4527913" y="2125355"/>
                  <a:pt x="4525566" y="2141004"/>
                </a:cubicBezTo>
                <a:lnTo>
                  <a:pt x="4524925" y="2144845"/>
                </a:lnTo>
                <a:cubicBezTo>
                  <a:pt x="4526633" y="2144277"/>
                  <a:pt x="4528340" y="2144277"/>
                  <a:pt x="4529621" y="2144845"/>
                </a:cubicBezTo>
                <a:cubicBezTo>
                  <a:pt x="4532395" y="2145841"/>
                  <a:pt x="4534316" y="2148544"/>
                  <a:pt x="4534743" y="2151532"/>
                </a:cubicBezTo>
                <a:cubicBezTo>
                  <a:pt x="4535169" y="2153524"/>
                  <a:pt x="4534956" y="2155658"/>
                  <a:pt x="4533889" y="2157508"/>
                </a:cubicBezTo>
                <a:cubicBezTo>
                  <a:pt x="4532395" y="2159784"/>
                  <a:pt x="4529621" y="2161349"/>
                  <a:pt x="4524925" y="2161206"/>
                </a:cubicBezTo>
                <a:lnTo>
                  <a:pt x="4523005" y="2157934"/>
                </a:lnTo>
                <a:lnTo>
                  <a:pt x="4522365" y="2162771"/>
                </a:lnTo>
                <a:cubicBezTo>
                  <a:pt x="4521510" y="2168889"/>
                  <a:pt x="4521084" y="2173157"/>
                  <a:pt x="4521084" y="2173868"/>
                </a:cubicBezTo>
                <a:cubicBezTo>
                  <a:pt x="4507852" y="2186530"/>
                  <a:pt x="4494620" y="2181551"/>
                  <a:pt x="4481174" y="2177141"/>
                </a:cubicBezTo>
                <a:lnTo>
                  <a:pt x="4470290" y="2174722"/>
                </a:lnTo>
                <a:lnTo>
                  <a:pt x="4468796" y="2184538"/>
                </a:lnTo>
                <a:cubicBezTo>
                  <a:pt x="4470503" y="2187669"/>
                  <a:pt x="4474345" y="2190229"/>
                  <a:pt x="4479467" y="2192506"/>
                </a:cubicBezTo>
                <a:cubicBezTo>
                  <a:pt x="4484802" y="2195920"/>
                  <a:pt x="4491205" y="2197058"/>
                  <a:pt x="4497608" y="2199334"/>
                </a:cubicBezTo>
                <a:cubicBezTo>
                  <a:pt x="4502943" y="2201610"/>
                  <a:pt x="4509346" y="2202749"/>
                  <a:pt x="4514468" y="2205025"/>
                </a:cubicBezTo>
                <a:cubicBezTo>
                  <a:pt x="4509346" y="2207302"/>
                  <a:pt x="4504011" y="2206163"/>
                  <a:pt x="4498888" y="2205025"/>
                </a:cubicBezTo>
                <a:cubicBezTo>
                  <a:pt x="4493766" y="2203887"/>
                  <a:pt x="4487364" y="2201468"/>
                  <a:pt x="4482241" y="2201468"/>
                </a:cubicBezTo>
                <a:cubicBezTo>
                  <a:pt x="4483522" y="2205025"/>
                  <a:pt x="4487364" y="2209578"/>
                  <a:pt x="4492485" y="2210716"/>
                </a:cubicBezTo>
                <a:cubicBezTo>
                  <a:pt x="4496327" y="2212992"/>
                  <a:pt x="4501449" y="2212992"/>
                  <a:pt x="4504011" y="2207302"/>
                </a:cubicBezTo>
                <a:cubicBezTo>
                  <a:pt x="4507425" y="2211285"/>
                  <a:pt x="4510199" y="2213277"/>
                  <a:pt x="4513614" y="2214841"/>
                </a:cubicBezTo>
                <a:lnTo>
                  <a:pt x="4525352" y="2219536"/>
                </a:lnTo>
                <a:lnTo>
                  <a:pt x="4528127" y="2211712"/>
                </a:lnTo>
                <a:cubicBezTo>
                  <a:pt x="4530688" y="2205167"/>
                  <a:pt x="4534102" y="2198908"/>
                  <a:pt x="4538157" y="2195351"/>
                </a:cubicBezTo>
                <a:cubicBezTo>
                  <a:pt x="4539438" y="2196347"/>
                  <a:pt x="4540292" y="2197627"/>
                  <a:pt x="4540719" y="2198908"/>
                </a:cubicBezTo>
                <a:cubicBezTo>
                  <a:pt x="4543707" y="2208724"/>
                  <a:pt x="4528767" y="2226508"/>
                  <a:pt x="4522151" y="2230634"/>
                </a:cubicBezTo>
                <a:lnTo>
                  <a:pt x="4524712" y="2221813"/>
                </a:lnTo>
                <a:lnTo>
                  <a:pt x="4520017" y="2220105"/>
                </a:lnTo>
                <a:cubicBezTo>
                  <a:pt x="4515108" y="2218114"/>
                  <a:pt x="4509346" y="2215838"/>
                  <a:pt x="4508065" y="2218683"/>
                </a:cubicBezTo>
                <a:lnTo>
                  <a:pt x="4511694" y="2224231"/>
                </a:lnTo>
                <a:lnTo>
                  <a:pt x="4511694" y="2223805"/>
                </a:lnTo>
                <a:cubicBezTo>
                  <a:pt x="4512547" y="2222240"/>
                  <a:pt x="4514041" y="2220817"/>
                  <a:pt x="4515962" y="2219536"/>
                </a:cubicBezTo>
                <a:cubicBezTo>
                  <a:pt x="4520444" y="2221101"/>
                  <a:pt x="4521724" y="2225654"/>
                  <a:pt x="4521297" y="2230064"/>
                </a:cubicBezTo>
                <a:lnTo>
                  <a:pt x="4520444" y="2232056"/>
                </a:lnTo>
                <a:lnTo>
                  <a:pt x="4524925" y="2235044"/>
                </a:lnTo>
                <a:cubicBezTo>
                  <a:pt x="4533036" y="2239739"/>
                  <a:pt x="4541572" y="2243153"/>
                  <a:pt x="4542852" y="2243722"/>
                </a:cubicBezTo>
                <a:cubicBezTo>
                  <a:pt x="4549255" y="2248275"/>
                  <a:pt x="4555658" y="2251689"/>
                  <a:pt x="4553097" y="2250551"/>
                </a:cubicBezTo>
                <a:lnTo>
                  <a:pt x="4561847" y="2255388"/>
                </a:lnTo>
                <a:lnTo>
                  <a:pt x="4562914" y="2254961"/>
                </a:lnTo>
                <a:lnTo>
                  <a:pt x="4562274" y="2255673"/>
                </a:lnTo>
                <a:lnTo>
                  <a:pt x="4562701" y="2255957"/>
                </a:lnTo>
                <a:cubicBezTo>
                  <a:pt x="4567396" y="2260083"/>
                  <a:pt x="4569317" y="2265062"/>
                  <a:pt x="4571877" y="2269188"/>
                </a:cubicBezTo>
                <a:lnTo>
                  <a:pt x="4572091" y="2268904"/>
                </a:lnTo>
                <a:cubicBezTo>
                  <a:pt x="4572305" y="2268761"/>
                  <a:pt x="4572732" y="2268761"/>
                  <a:pt x="4573158" y="2268334"/>
                </a:cubicBezTo>
                <a:cubicBezTo>
                  <a:pt x="4574439" y="2267197"/>
                  <a:pt x="4575720" y="2265062"/>
                  <a:pt x="4575720" y="2263924"/>
                </a:cubicBezTo>
                <a:cubicBezTo>
                  <a:pt x="4580201" y="2267908"/>
                  <a:pt x="4582762" y="2264778"/>
                  <a:pt x="4589591" y="2271464"/>
                </a:cubicBezTo>
                <a:cubicBezTo>
                  <a:pt x="4591726" y="2273598"/>
                  <a:pt x="4593433" y="2275590"/>
                  <a:pt x="4594287" y="2277582"/>
                </a:cubicBezTo>
                <a:lnTo>
                  <a:pt x="4594500" y="2278009"/>
                </a:lnTo>
                <a:lnTo>
                  <a:pt x="4597062" y="2280143"/>
                </a:lnTo>
                <a:lnTo>
                  <a:pt x="4601970" y="2275875"/>
                </a:lnTo>
                <a:cubicBezTo>
                  <a:pt x="4612214" y="2266058"/>
                  <a:pt x="4617123" y="2258660"/>
                  <a:pt x="4632489" y="2264351"/>
                </a:cubicBezTo>
                <a:cubicBezTo>
                  <a:pt x="4633343" y="2269615"/>
                  <a:pt x="4629501" y="2275163"/>
                  <a:pt x="4623739" y="2280855"/>
                </a:cubicBezTo>
                <a:lnTo>
                  <a:pt x="4610933" y="2291809"/>
                </a:lnTo>
                <a:lnTo>
                  <a:pt x="4630568" y="2306463"/>
                </a:lnTo>
                <a:lnTo>
                  <a:pt x="4641666" y="2314145"/>
                </a:lnTo>
                <a:lnTo>
                  <a:pt x="4641879" y="2314003"/>
                </a:lnTo>
                <a:lnTo>
                  <a:pt x="4642733" y="2314856"/>
                </a:lnTo>
                <a:lnTo>
                  <a:pt x="4653831" y="2321259"/>
                </a:lnTo>
                <a:cubicBezTo>
                  <a:pt x="4662795" y="2325811"/>
                  <a:pt x="4671971" y="2330364"/>
                  <a:pt x="4680935" y="2332640"/>
                </a:cubicBezTo>
                <a:cubicBezTo>
                  <a:pt x="4680935" y="2336055"/>
                  <a:pt x="4677094" y="2338331"/>
                  <a:pt x="4679655" y="2341887"/>
                </a:cubicBezTo>
                <a:cubicBezTo>
                  <a:pt x="4670691" y="2345302"/>
                  <a:pt x="4678374" y="2333921"/>
                  <a:pt x="4670691" y="2330506"/>
                </a:cubicBezTo>
                <a:cubicBezTo>
                  <a:pt x="4662795" y="2341887"/>
                  <a:pt x="4680935" y="2353269"/>
                  <a:pt x="4691393" y="2360098"/>
                </a:cubicBezTo>
                <a:cubicBezTo>
                  <a:pt x="4691393" y="2357822"/>
                  <a:pt x="4687338" y="2354407"/>
                  <a:pt x="4692460" y="2350993"/>
                </a:cubicBezTo>
                <a:cubicBezTo>
                  <a:pt x="4701637" y="2362374"/>
                  <a:pt x="4708040" y="2389690"/>
                  <a:pt x="4727461" y="2385137"/>
                </a:cubicBezTo>
                <a:cubicBezTo>
                  <a:pt x="4730022" y="2386845"/>
                  <a:pt x="4730449" y="2388267"/>
                  <a:pt x="4729809" y="2389690"/>
                </a:cubicBezTo>
                <a:lnTo>
                  <a:pt x="4729595" y="2389975"/>
                </a:lnTo>
                <a:lnTo>
                  <a:pt x="4742613" y="2402209"/>
                </a:lnTo>
                <a:lnTo>
                  <a:pt x="4741120" y="2405624"/>
                </a:lnTo>
                <a:lnTo>
                  <a:pt x="4742827" y="2406762"/>
                </a:lnTo>
                <a:cubicBezTo>
                  <a:pt x="4746668" y="2404486"/>
                  <a:pt x="4744108" y="2402209"/>
                  <a:pt x="4742827" y="2398795"/>
                </a:cubicBezTo>
                <a:cubicBezTo>
                  <a:pt x="4759687" y="2401072"/>
                  <a:pt x="4754565" y="2417148"/>
                  <a:pt x="4773986" y="2423977"/>
                </a:cubicBezTo>
                <a:cubicBezTo>
                  <a:pt x="4764809" y="2428529"/>
                  <a:pt x="4777828" y="2436497"/>
                  <a:pt x="4775053" y="2442187"/>
                </a:cubicBezTo>
                <a:cubicBezTo>
                  <a:pt x="4784231" y="2446740"/>
                  <a:pt x="4793194" y="2454707"/>
                  <a:pt x="4803651" y="2462674"/>
                </a:cubicBezTo>
                <a:cubicBezTo>
                  <a:pt x="4807493" y="2467226"/>
                  <a:pt x="4812615" y="2471780"/>
                  <a:pt x="4817737" y="2476474"/>
                </a:cubicBezTo>
                <a:cubicBezTo>
                  <a:pt x="4822860" y="2481027"/>
                  <a:pt x="4827981" y="2486575"/>
                  <a:pt x="4832036" y="2491128"/>
                </a:cubicBezTo>
                <a:cubicBezTo>
                  <a:pt x="4842281" y="2501371"/>
                  <a:pt x="4851244" y="2512752"/>
                  <a:pt x="4859141" y="2523138"/>
                </a:cubicBezTo>
                <a:cubicBezTo>
                  <a:pt x="4866824" y="2534520"/>
                  <a:pt x="4873227" y="2545901"/>
                  <a:pt x="4879629" y="2556144"/>
                </a:cubicBezTo>
                <a:lnTo>
                  <a:pt x="4893074" y="2564112"/>
                </a:lnTo>
                <a:lnTo>
                  <a:pt x="4893715" y="2554437"/>
                </a:lnTo>
                <a:cubicBezTo>
                  <a:pt x="4902892" y="2541776"/>
                  <a:pt x="4916764" y="2547324"/>
                  <a:pt x="4931063" y="2555576"/>
                </a:cubicBezTo>
                <a:cubicBezTo>
                  <a:pt x="4929356" y="2561266"/>
                  <a:pt x="4930637" y="2566388"/>
                  <a:pt x="4928929" y="2572221"/>
                </a:cubicBezTo>
                <a:cubicBezTo>
                  <a:pt x="4922954" y="2576489"/>
                  <a:pt x="4909081" y="2576204"/>
                  <a:pt x="4899904" y="2571794"/>
                </a:cubicBezTo>
                <a:lnTo>
                  <a:pt x="4898410" y="2570514"/>
                </a:lnTo>
                <a:lnTo>
                  <a:pt x="4904172" y="2580188"/>
                </a:lnTo>
                <a:cubicBezTo>
                  <a:pt x="4909295" y="2589293"/>
                  <a:pt x="4914630" y="2599537"/>
                  <a:pt x="4924874" y="2607504"/>
                </a:cubicBezTo>
                <a:cubicBezTo>
                  <a:pt x="4924874" y="2613194"/>
                  <a:pt x="4928716" y="2621161"/>
                  <a:pt x="4921032" y="2625714"/>
                </a:cubicBezTo>
                <a:cubicBezTo>
                  <a:pt x="4923594" y="2625714"/>
                  <a:pt x="4924874" y="2626852"/>
                  <a:pt x="4926154" y="2626852"/>
                </a:cubicBezTo>
                <a:cubicBezTo>
                  <a:pt x="4926154" y="2626852"/>
                  <a:pt x="4926154" y="2626852"/>
                  <a:pt x="4926154" y="2627990"/>
                </a:cubicBezTo>
                <a:cubicBezTo>
                  <a:pt x="4929996" y="2633681"/>
                  <a:pt x="4932557" y="2637096"/>
                  <a:pt x="4933838" y="2639514"/>
                </a:cubicBezTo>
                <a:cubicBezTo>
                  <a:pt x="4932557" y="2638234"/>
                  <a:pt x="4933838" y="2639514"/>
                  <a:pt x="4933838" y="2640653"/>
                </a:cubicBezTo>
                <a:cubicBezTo>
                  <a:pt x="4935118" y="2640653"/>
                  <a:pt x="4935332" y="2640653"/>
                  <a:pt x="4935332" y="2640653"/>
                </a:cubicBezTo>
                <a:cubicBezTo>
                  <a:pt x="4935332" y="2640653"/>
                  <a:pt x="4935118" y="2640653"/>
                  <a:pt x="4936399" y="2640653"/>
                </a:cubicBezTo>
                <a:cubicBezTo>
                  <a:pt x="4937679" y="2641790"/>
                  <a:pt x="4937893" y="2642928"/>
                  <a:pt x="4937893" y="2646343"/>
                </a:cubicBezTo>
                <a:cubicBezTo>
                  <a:pt x="4940453" y="2648619"/>
                  <a:pt x="4940453" y="2642787"/>
                  <a:pt x="4946856" y="2641648"/>
                </a:cubicBezTo>
                <a:cubicBezTo>
                  <a:pt x="4948137" y="2647339"/>
                  <a:pt x="4953259" y="2649616"/>
                  <a:pt x="4959875" y="2650754"/>
                </a:cubicBezTo>
                <a:cubicBezTo>
                  <a:pt x="4963716" y="2650754"/>
                  <a:pt x="4966278" y="2652034"/>
                  <a:pt x="4970119" y="2653172"/>
                </a:cubicBezTo>
                <a:cubicBezTo>
                  <a:pt x="4971400" y="2653172"/>
                  <a:pt x="4972680" y="2653029"/>
                  <a:pt x="4973961" y="2654168"/>
                </a:cubicBezTo>
                <a:cubicBezTo>
                  <a:pt x="4973961" y="2654168"/>
                  <a:pt x="4973961" y="2654168"/>
                  <a:pt x="4975241" y="2655306"/>
                </a:cubicBezTo>
                <a:cubicBezTo>
                  <a:pt x="4976522" y="2656444"/>
                  <a:pt x="4977802" y="2657725"/>
                  <a:pt x="4979083" y="2660001"/>
                </a:cubicBezTo>
                <a:cubicBezTo>
                  <a:pt x="4976522" y="2660001"/>
                  <a:pt x="4973961" y="2660001"/>
                  <a:pt x="4972680" y="2660001"/>
                </a:cubicBezTo>
                <a:cubicBezTo>
                  <a:pt x="4971400" y="2660001"/>
                  <a:pt x="4971400" y="2660001"/>
                  <a:pt x="4970119" y="2658863"/>
                </a:cubicBezTo>
                <a:cubicBezTo>
                  <a:pt x="4970119" y="2658863"/>
                  <a:pt x="4970119" y="2658863"/>
                  <a:pt x="4968838" y="2658863"/>
                </a:cubicBezTo>
                <a:cubicBezTo>
                  <a:pt x="4966278" y="2658863"/>
                  <a:pt x="4964997" y="2657582"/>
                  <a:pt x="4963503" y="2656444"/>
                </a:cubicBezTo>
                <a:cubicBezTo>
                  <a:pt x="4960942" y="2655306"/>
                  <a:pt x="4959662" y="2653172"/>
                  <a:pt x="4953259" y="2653172"/>
                </a:cubicBezTo>
                <a:cubicBezTo>
                  <a:pt x="4953259" y="2656587"/>
                  <a:pt x="4953259" y="2660001"/>
                  <a:pt x="4953259" y="2663415"/>
                </a:cubicBezTo>
                <a:cubicBezTo>
                  <a:pt x="4953259" y="2664554"/>
                  <a:pt x="4953259" y="2664554"/>
                  <a:pt x="4953259" y="2664554"/>
                </a:cubicBezTo>
                <a:cubicBezTo>
                  <a:pt x="4953259" y="2664554"/>
                  <a:pt x="4953259" y="2664554"/>
                  <a:pt x="4953259" y="2665692"/>
                </a:cubicBezTo>
                <a:lnTo>
                  <a:pt x="4953899" y="2666118"/>
                </a:lnTo>
                <a:lnTo>
                  <a:pt x="4962436" y="2667399"/>
                </a:lnTo>
                <a:cubicBezTo>
                  <a:pt x="4970973" y="2670387"/>
                  <a:pt x="4979509" y="2675366"/>
                  <a:pt x="4987833" y="2683333"/>
                </a:cubicBezTo>
                <a:cubicBezTo>
                  <a:pt x="4987406" y="2689166"/>
                  <a:pt x="4984845" y="2693008"/>
                  <a:pt x="4981217" y="2695141"/>
                </a:cubicBezTo>
                <a:lnTo>
                  <a:pt x="4970333" y="2696564"/>
                </a:lnTo>
                <a:lnTo>
                  <a:pt x="4972680" y="2698983"/>
                </a:lnTo>
                <a:cubicBezTo>
                  <a:pt x="4976522" y="2706381"/>
                  <a:pt x="4979083" y="2715343"/>
                  <a:pt x="4981644" y="2725017"/>
                </a:cubicBezTo>
                <a:cubicBezTo>
                  <a:pt x="4985485" y="2729570"/>
                  <a:pt x="4984418" y="2722599"/>
                  <a:pt x="4989540" y="2722599"/>
                </a:cubicBezTo>
                <a:cubicBezTo>
                  <a:pt x="4989540" y="2722599"/>
                  <a:pt x="4989327" y="2722599"/>
                  <a:pt x="4990821" y="2727152"/>
                </a:cubicBezTo>
                <a:cubicBezTo>
                  <a:pt x="4990821" y="2728290"/>
                  <a:pt x="4992101" y="2730709"/>
                  <a:pt x="4992101" y="2731847"/>
                </a:cubicBezTo>
                <a:cubicBezTo>
                  <a:pt x="4993382" y="2734123"/>
                  <a:pt x="4993382" y="2736399"/>
                  <a:pt x="4994663" y="2738675"/>
                </a:cubicBezTo>
                <a:cubicBezTo>
                  <a:pt x="4997223" y="2744367"/>
                  <a:pt x="4998504" y="2748919"/>
                  <a:pt x="5001065" y="2753471"/>
                </a:cubicBezTo>
                <a:lnTo>
                  <a:pt x="5006614" y="2764995"/>
                </a:lnTo>
                <a:lnTo>
                  <a:pt x="5008321" y="2761723"/>
                </a:lnTo>
                <a:cubicBezTo>
                  <a:pt x="5012162" y="2754325"/>
                  <a:pt x="5016218" y="2747639"/>
                  <a:pt x="5020059" y="2740952"/>
                </a:cubicBezTo>
                <a:cubicBezTo>
                  <a:pt x="5023901" y="2734265"/>
                  <a:pt x="5027956" y="2727436"/>
                  <a:pt x="5033291" y="2720750"/>
                </a:cubicBezTo>
                <a:cubicBezTo>
                  <a:pt x="5034999" y="2723026"/>
                  <a:pt x="5034999" y="2725302"/>
                  <a:pt x="5036492" y="2726725"/>
                </a:cubicBezTo>
                <a:cubicBezTo>
                  <a:pt x="5038200" y="2719327"/>
                  <a:pt x="5039694" y="2711218"/>
                  <a:pt x="5039694" y="2703677"/>
                </a:cubicBezTo>
                <a:cubicBezTo>
                  <a:pt x="5043535" y="2705242"/>
                  <a:pt x="5057834" y="2690304"/>
                  <a:pt x="5050792" y="2684329"/>
                </a:cubicBezTo>
                <a:cubicBezTo>
                  <a:pt x="5059329" y="2683617"/>
                  <a:pt x="5077469" y="2666545"/>
                  <a:pt x="5075122" y="2658293"/>
                </a:cubicBezTo>
                <a:cubicBezTo>
                  <a:pt x="5080671" y="2659005"/>
                  <a:pt x="5084512" y="2656018"/>
                  <a:pt x="5087714" y="2652319"/>
                </a:cubicBezTo>
                <a:cubicBezTo>
                  <a:pt x="5090701" y="2648619"/>
                  <a:pt x="5093902" y="2643355"/>
                  <a:pt x="5098598" y="2641080"/>
                </a:cubicBezTo>
                <a:cubicBezTo>
                  <a:pt x="5100945" y="2637380"/>
                  <a:pt x="5095610" y="2641221"/>
                  <a:pt x="5096250" y="2636669"/>
                </a:cubicBezTo>
                <a:cubicBezTo>
                  <a:pt x="5102653" y="2633681"/>
                  <a:pt x="5107348" y="2630836"/>
                  <a:pt x="5105854" y="2625572"/>
                </a:cubicBezTo>
                <a:cubicBezTo>
                  <a:pt x="5111189" y="2627137"/>
                  <a:pt x="5113537" y="2615898"/>
                  <a:pt x="5120793" y="2621020"/>
                </a:cubicBezTo>
                <a:cubicBezTo>
                  <a:pt x="5119940" y="2618031"/>
                  <a:pt x="5121434" y="2615044"/>
                  <a:pt x="5125489" y="2618885"/>
                </a:cubicBezTo>
                <a:cubicBezTo>
                  <a:pt x="5124635" y="2612056"/>
                  <a:pt x="5134666" y="2611345"/>
                  <a:pt x="5131678" y="2606223"/>
                </a:cubicBezTo>
                <a:cubicBezTo>
                  <a:pt x="5134666" y="2606935"/>
                  <a:pt x="5138081" y="2606223"/>
                  <a:pt x="5140428" y="2603947"/>
                </a:cubicBezTo>
                <a:cubicBezTo>
                  <a:pt x="5142776" y="2602524"/>
                  <a:pt x="5144910" y="2600248"/>
                  <a:pt x="5147257" y="2597971"/>
                </a:cubicBezTo>
                <a:cubicBezTo>
                  <a:pt x="5151312" y="2592850"/>
                  <a:pt x="5155154" y="2586875"/>
                  <a:pt x="5159209" y="2586875"/>
                </a:cubicBezTo>
                <a:cubicBezTo>
                  <a:pt x="5160063" y="2582322"/>
                  <a:pt x="5156861" y="2577912"/>
                  <a:pt x="5162197" y="2573359"/>
                </a:cubicBezTo>
                <a:cubicBezTo>
                  <a:pt x="5177136" y="2570372"/>
                  <a:pt x="5177350" y="2564538"/>
                  <a:pt x="5189088" y="2550312"/>
                </a:cubicBezTo>
                <a:cubicBezTo>
                  <a:pt x="5195277" y="2548178"/>
                  <a:pt x="5183539" y="2555576"/>
                  <a:pt x="5187380" y="2556998"/>
                </a:cubicBezTo>
                <a:cubicBezTo>
                  <a:pt x="5189728" y="2555576"/>
                  <a:pt x="5191436" y="2554011"/>
                  <a:pt x="5193783" y="2551734"/>
                </a:cubicBezTo>
                <a:cubicBezTo>
                  <a:pt x="5196131" y="2550312"/>
                  <a:pt x="5197624" y="2548889"/>
                  <a:pt x="5199972" y="2547324"/>
                </a:cubicBezTo>
                <a:lnTo>
                  <a:pt x="5211710" y="2538219"/>
                </a:lnTo>
                <a:lnTo>
                  <a:pt x="5206161" y="2532101"/>
                </a:lnTo>
                <a:cubicBezTo>
                  <a:pt x="5207869" y="2526126"/>
                  <a:pt x="5215552" y="2525983"/>
                  <a:pt x="5219820" y="2525273"/>
                </a:cubicBezTo>
                <a:lnTo>
                  <a:pt x="5221101" y="2531390"/>
                </a:lnTo>
                <a:lnTo>
                  <a:pt x="5226649" y="2527264"/>
                </a:lnTo>
                <a:cubicBezTo>
                  <a:pt x="5231558" y="2524277"/>
                  <a:pt x="5236253" y="2520578"/>
                  <a:pt x="5240948" y="2517589"/>
                </a:cubicBezTo>
                <a:lnTo>
                  <a:pt x="5249912" y="2510477"/>
                </a:lnTo>
                <a:lnTo>
                  <a:pt x="5249059" y="2510050"/>
                </a:lnTo>
                <a:cubicBezTo>
                  <a:pt x="5246711" y="2507773"/>
                  <a:pt x="5245217" y="2504359"/>
                  <a:pt x="5246924" y="2500802"/>
                </a:cubicBezTo>
                <a:cubicBezTo>
                  <a:pt x="5248419" y="2499806"/>
                  <a:pt x="5249699" y="2498811"/>
                  <a:pt x="5251619" y="2498241"/>
                </a:cubicBezTo>
                <a:cubicBezTo>
                  <a:pt x="5253327" y="2497814"/>
                  <a:pt x="5255461" y="2497814"/>
                  <a:pt x="5258236" y="2498952"/>
                </a:cubicBezTo>
                <a:lnTo>
                  <a:pt x="5259303" y="2502936"/>
                </a:lnTo>
                <a:lnTo>
                  <a:pt x="5266773" y="2496819"/>
                </a:lnTo>
                <a:cubicBezTo>
                  <a:pt x="5270828" y="2492977"/>
                  <a:pt x="5274669" y="2489278"/>
                  <a:pt x="5278511" y="2485580"/>
                </a:cubicBezTo>
                <a:cubicBezTo>
                  <a:pt x="5280858" y="2483303"/>
                  <a:pt x="5282566" y="2481169"/>
                  <a:pt x="5284059" y="2478892"/>
                </a:cubicBezTo>
                <a:cubicBezTo>
                  <a:pt x="5284059" y="2478892"/>
                  <a:pt x="5284059" y="2478892"/>
                  <a:pt x="5285767" y="2477327"/>
                </a:cubicBezTo>
                <a:cubicBezTo>
                  <a:pt x="5289608" y="2475194"/>
                  <a:pt x="5277016" y="2481169"/>
                  <a:pt x="5294303" y="2472917"/>
                </a:cubicBezTo>
                <a:cubicBezTo>
                  <a:pt x="5294303" y="2472917"/>
                  <a:pt x="5294303" y="2472917"/>
                  <a:pt x="5294303" y="2472206"/>
                </a:cubicBezTo>
                <a:cubicBezTo>
                  <a:pt x="5294303" y="2472206"/>
                  <a:pt x="5294303" y="2472206"/>
                  <a:pt x="5295158" y="2471495"/>
                </a:cubicBezTo>
                <a:cubicBezTo>
                  <a:pt x="5295158" y="2470641"/>
                  <a:pt x="5295158" y="2469930"/>
                  <a:pt x="5296011" y="2469218"/>
                </a:cubicBezTo>
                <a:cubicBezTo>
                  <a:pt x="5294303" y="2466942"/>
                  <a:pt x="5292810" y="2466942"/>
                  <a:pt x="5291956" y="2466942"/>
                </a:cubicBezTo>
                <a:cubicBezTo>
                  <a:pt x="5291956" y="2466942"/>
                  <a:pt x="5291956" y="2466942"/>
                  <a:pt x="5291956" y="2467653"/>
                </a:cubicBezTo>
                <a:cubicBezTo>
                  <a:pt x="5291956" y="2467653"/>
                  <a:pt x="5291956" y="2467653"/>
                  <a:pt x="5291102" y="2467653"/>
                </a:cubicBezTo>
                <a:cubicBezTo>
                  <a:pt x="5288755" y="2469218"/>
                  <a:pt x="5285554" y="2470641"/>
                  <a:pt x="5282566" y="2472206"/>
                </a:cubicBezTo>
                <a:cubicBezTo>
                  <a:pt x="5281712" y="2472206"/>
                  <a:pt x="5281712" y="2472206"/>
                  <a:pt x="5281712" y="2472206"/>
                </a:cubicBezTo>
                <a:cubicBezTo>
                  <a:pt x="5281072" y="2472206"/>
                  <a:pt x="5280218" y="2472206"/>
                  <a:pt x="5279364" y="2470784"/>
                </a:cubicBezTo>
                <a:cubicBezTo>
                  <a:pt x="5280218" y="2470784"/>
                  <a:pt x="5280218" y="2469930"/>
                  <a:pt x="5280218" y="2469930"/>
                </a:cubicBezTo>
                <a:cubicBezTo>
                  <a:pt x="5280858" y="2469218"/>
                  <a:pt x="5281072" y="2469218"/>
                  <a:pt x="5281072" y="2469218"/>
                </a:cubicBezTo>
                <a:cubicBezTo>
                  <a:pt x="5281285" y="2469076"/>
                  <a:pt x="5281285" y="2469076"/>
                  <a:pt x="5281499" y="2468934"/>
                </a:cubicBezTo>
                <a:lnTo>
                  <a:pt x="5281499" y="2468791"/>
                </a:lnTo>
                <a:cubicBezTo>
                  <a:pt x="5282779" y="2468223"/>
                  <a:pt x="5285340" y="2466942"/>
                  <a:pt x="5289608" y="2464808"/>
                </a:cubicBezTo>
                <a:cubicBezTo>
                  <a:pt x="5289608" y="2464808"/>
                  <a:pt x="5289608" y="2464808"/>
                  <a:pt x="5290462" y="2464808"/>
                </a:cubicBezTo>
                <a:cubicBezTo>
                  <a:pt x="5290462" y="2464808"/>
                  <a:pt x="5290462" y="2464666"/>
                  <a:pt x="5290462" y="2463954"/>
                </a:cubicBezTo>
                <a:cubicBezTo>
                  <a:pt x="5290462" y="2463954"/>
                  <a:pt x="5290462" y="2463243"/>
                  <a:pt x="5291102" y="2463243"/>
                </a:cubicBezTo>
                <a:cubicBezTo>
                  <a:pt x="5291102" y="2462532"/>
                  <a:pt x="5291956" y="2462532"/>
                  <a:pt x="5292810" y="2461678"/>
                </a:cubicBezTo>
                <a:cubicBezTo>
                  <a:pt x="5293450" y="2460967"/>
                  <a:pt x="5294303" y="2459544"/>
                  <a:pt x="5295158" y="2457267"/>
                </a:cubicBezTo>
                <a:cubicBezTo>
                  <a:pt x="5296651" y="2460255"/>
                  <a:pt x="5294303" y="2460255"/>
                  <a:pt x="5295158" y="2462390"/>
                </a:cubicBezTo>
                <a:cubicBezTo>
                  <a:pt x="5296651" y="2463954"/>
                  <a:pt x="5298999" y="2463954"/>
                  <a:pt x="5300706" y="2463243"/>
                </a:cubicBezTo>
                <a:cubicBezTo>
                  <a:pt x="5302200" y="2461820"/>
                  <a:pt x="5298145" y="2461820"/>
                  <a:pt x="5298999" y="2458833"/>
                </a:cubicBezTo>
                <a:cubicBezTo>
                  <a:pt x="5302200" y="2461109"/>
                  <a:pt x="5302841" y="2457979"/>
                  <a:pt x="5302841" y="2455134"/>
                </a:cubicBezTo>
                <a:cubicBezTo>
                  <a:pt x="5306042" y="2453569"/>
                  <a:pt x="5303694" y="2456557"/>
                  <a:pt x="5306042" y="2458833"/>
                </a:cubicBezTo>
                <a:cubicBezTo>
                  <a:pt x="5308389" y="2458122"/>
                  <a:pt x="5306042" y="2454280"/>
                  <a:pt x="5304548" y="2450581"/>
                </a:cubicBezTo>
                <a:cubicBezTo>
                  <a:pt x="5305401" y="2450581"/>
                  <a:pt x="5305401" y="2450581"/>
                  <a:pt x="5306042" y="2450581"/>
                </a:cubicBezTo>
                <a:cubicBezTo>
                  <a:pt x="5306042" y="2450581"/>
                  <a:pt x="5306896" y="2450581"/>
                  <a:pt x="5307536" y="2450581"/>
                </a:cubicBezTo>
                <a:cubicBezTo>
                  <a:pt x="5308389" y="2451293"/>
                  <a:pt x="5309243" y="2452857"/>
                  <a:pt x="5310097" y="2453569"/>
                </a:cubicBezTo>
                <a:lnTo>
                  <a:pt x="5316072" y="2449443"/>
                </a:lnTo>
                <a:lnTo>
                  <a:pt x="5315645" y="2448020"/>
                </a:lnTo>
                <a:cubicBezTo>
                  <a:pt x="5316072" y="2446313"/>
                  <a:pt x="5317353" y="2444891"/>
                  <a:pt x="5319914" y="2444037"/>
                </a:cubicBezTo>
                <a:lnTo>
                  <a:pt x="5321195" y="2446028"/>
                </a:lnTo>
                <a:lnTo>
                  <a:pt x="5329731" y="2440195"/>
                </a:lnTo>
                <a:lnTo>
                  <a:pt x="5340189" y="2434078"/>
                </a:lnTo>
                <a:lnTo>
                  <a:pt x="5340402" y="2431802"/>
                </a:lnTo>
                <a:lnTo>
                  <a:pt x="5342750" y="2432798"/>
                </a:lnTo>
                <a:lnTo>
                  <a:pt x="5347018" y="2430379"/>
                </a:lnTo>
                <a:cubicBezTo>
                  <a:pt x="5347018" y="2430379"/>
                  <a:pt x="5347018" y="2430521"/>
                  <a:pt x="5350220" y="2429668"/>
                </a:cubicBezTo>
                <a:cubicBezTo>
                  <a:pt x="5350220" y="2429668"/>
                  <a:pt x="5350006" y="2429810"/>
                  <a:pt x="5351713" y="2428956"/>
                </a:cubicBezTo>
                <a:cubicBezTo>
                  <a:pt x="5351713" y="2428956"/>
                  <a:pt x="5351713" y="2428956"/>
                  <a:pt x="5353208" y="2428245"/>
                </a:cubicBezTo>
                <a:cubicBezTo>
                  <a:pt x="5366653" y="2422269"/>
                  <a:pt x="5379885" y="2417006"/>
                  <a:pt x="5391837" y="2412595"/>
                </a:cubicBezTo>
                <a:cubicBezTo>
                  <a:pt x="5394184" y="2411457"/>
                  <a:pt x="5396532" y="2410888"/>
                  <a:pt x="5398452" y="2410746"/>
                </a:cubicBezTo>
                <a:lnTo>
                  <a:pt x="5399733" y="2411030"/>
                </a:lnTo>
                <a:lnTo>
                  <a:pt x="5399093" y="2409181"/>
                </a:lnTo>
                <a:cubicBezTo>
                  <a:pt x="5398880" y="2408327"/>
                  <a:pt x="5398666" y="2407901"/>
                  <a:pt x="5398239" y="2407758"/>
                </a:cubicBezTo>
                <a:cubicBezTo>
                  <a:pt x="5400587" y="2402921"/>
                  <a:pt x="5403575" y="2404201"/>
                  <a:pt x="5408910" y="2404628"/>
                </a:cubicBezTo>
                <a:lnTo>
                  <a:pt x="5409977" y="2406478"/>
                </a:lnTo>
                <a:lnTo>
                  <a:pt x="5410191" y="2406336"/>
                </a:lnTo>
                <a:lnTo>
                  <a:pt x="5415099" y="2404628"/>
                </a:lnTo>
                <a:lnTo>
                  <a:pt x="5417020" y="2400502"/>
                </a:lnTo>
                <a:lnTo>
                  <a:pt x="5416807" y="2399507"/>
                </a:lnTo>
                <a:lnTo>
                  <a:pt x="5415526" y="2399934"/>
                </a:lnTo>
                <a:cubicBezTo>
                  <a:pt x="5414246" y="2400076"/>
                  <a:pt x="5412965" y="2399649"/>
                  <a:pt x="5412111" y="2398937"/>
                </a:cubicBezTo>
                <a:lnTo>
                  <a:pt x="5409977" y="2395381"/>
                </a:lnTo>
                <a:lnTo>
                  <a:pt x="5407203" y="2396946"/>
                </a:lnTo>
                <a:cubicBezTo>
                  <a:pt x="5404215" y="2397372"/>
                  <a:pt x="5400587" y="2396803"/>
                  <a:pt x="5396745" y="2394243"/>
                </a:cubicBezTo>
                <a:cubicBezTo>
                  <a:pt x="5394611" y="2388978"/>
                  <a:pt x="5399947" y="2379020"/>
                  <a:pt x="5404642" y="2378735"/>
                </a:cubicBezTo>
                <a:cubicBezTo>
                  <a:pt x="5411898" y="2381154"/>
                  <a:pt x="5414672" y="2385422"/>
                  <a:pt x="5414672" y="2389121"/>
                </a:cubicBezTo>
                <a:lnTo>
                  <a:pt x="5414246" y="2390117"/>
                </a:lnTo>
                <a:lnTo>
                  <a:pt x="5415313" y="2389121"/>
                </a:lnTo>
                <a:lnTo>
                  <a:pt x="5416380" y="2389263"/>
                </a:lnTo>
                <a:lnTo>
                  <a:pt x="5416380" y="2387271"/>
                </a:lnTo>
                <a:cubicBezTo>
                  <a:pt x="5420862" y="2389121"/>
                  <a:pt x="5424490" y="2392108"/>
                  <a:pt x="5427691" y="2395523"/>
                </a:cubicBezTo>
                <a:lnTo>
                  <a:pt x="5431960" y="2402067"/>
                </a:lnTo>
                <a:lnTo>
                  <a:pt x="5438149" y="2405909"/>
                </a:lnTo>
                <a:cubicBezTo>
                  <a:pt x="5439002" y="2395523"/>
                  <a:pt x="5451381" y="2404344"/>
                  <a:pt x="5460131" y="2396235"/>
                </a:cubicBezTo>
                <a:lnTo>
                  <a:pt x="5461411" y="2398084"/>
                </a:lnTo>
                <a:lnTo>
                  <a:pt x="5466533" y="2396377"/>
                </a:lnTo>
                <a:cubicBezTo>
                  <a:pt x="5467601" y="2396235"/>
                  <a:pt x="5468668" y="2396377"/>
                  <a:pt x="5469094" y="2396803"/>
                </a:cubicBezTo>
                <a:cubicBezTo>
                  <a:pt x="5469308" y="2397372"/>
                  <a:pt x="5469094" y="2398511"/>
                  <a:pt x="5468454" y="2399649"/>
                </a:cubicBezTo>
                <a:lnTo>
                  <a:pt x="5466961" y="2401214"/>
                </a:lnTo>
                <a:lnTo>
                  <a:pt x="5471869" y="2401499"/>
                </a:lnTo>
                <a:cubicBezTo>
                  <a:pt x="5478272" y="2399934"/>
                  <a:pt x="5485315" y="2396235"/>
                  <a:pt x="5487662" y="2392535"/>
                </a:cubicBezTo>
                <a:cubicBezTo>
                  <a:pt x="5484460" y="2390970"/>
                  <a:pt x="5480619" y="2390259"/>
                  <a:pt x="5475924" y="2391113"/>
                </a:cubicBezTo>
                <a:cubicBezTo>
                  <a:pt x="5471015" y="2391824"/>
                  <a:pt x="5466320" y="2393958"/>
                  <a:pt x="5461625" y="2396235"/>
                </a:cubicBezTo>
                <a:cubicBezTo>
                  <a:pt x="5463973" y="2392820"/>
                  <a:pt x="5467601" y="2390686"/>
                  <a:pt x="5471656" y="2389121"/>
                </a:cubicBezTo>
                <a:lnTo>
                  <a:pt x="5483820" y="2386133"/>
                </a:lnTo>
                <a:lnTo>
                  <a:pt x="5482753" y="2383288"/>
                </a:lnTo>
                <a:cubicBezTo>
                  <a:pt x="5481473" y="2377170"/>
                  <a:pt x="5481046" y="2368492"/>
                  <a:pt x="5485741" y="2367781"/>
                </a:cubicBezTo>
                <a:cubicBezTo>
                  <a:pt x="5486595" y="2367638"/>
                  <a:pt x="5487662" y="2367781"/>
                  <a:pt x="5488943" y="2368350"/>
                </a:cubicBezTo>
                <a:cubicBezTo>
                  <a:pt x="5488729" y="2372049"/>
                  <a:pt x="5489369" y="2375748"/>
                  <a:pt x="5489796" y="2378877"/>
                </a:cubicBezTo>
                <a:lnTo>
                  <a:pt x="5489369" y="2384568"/>
                </a:lnTo>
                <a:lnTo>
                  <a:pt x="5495345" y="2381439"/>
                </a:lnTo>
                <a:lnTo>
                  <a:pt x="5499400" y="2380869"/>
                </a:lnTo>
                <a:lnTo>
                  <a:pt x="5505802" y="2374610"/>
                </a:lnTo>
                <a:cubicBezTo>
                  <a:pt x="5508150" y="2374040"/>
                  <a:pt x="5510285" y="2373898"/>
                  <a:pt x="5512632" y="2373614"/>
                </a:cubicBezTo>
                <a:cubicBezTo>
                  <a:pt x="5511778" y="2373614"/>
                  <a:pt x="5510925" y="2373614"/>
                  <a:pt x="5510285" y="2373187"/>
                </a:cubicBezTo>
                <a:lnTo>
                  <a:pt x="5508364" y="2371906"/>
                </a:lnTo>
                <a:lnTo>
                  <a:pt x="5508364" y="2372049"/>
                </a:lnTo>
                <a:cubicBezTo>
                  <a:pt x="5507510" y="2372902"/>
                  <a:pt x="5506230" y="2373898"/>
                  <a:pt x="5504735" y="2374467"/>
                </a:cubicBezTo>
                <a:cubicBezTo>
                  <a:pt x="5498974" y="2373187"/>
                  <a:pt x="5498760" y="2367069"/>
                  <a:pt x="5495559" y="2363939"/>
                </a:cubicBezTo>
                <a:cubicBezTo>
                  <a:pt x="5497266" y="2362090"/>
                  <a:pt x="5498974" y="2360952"/>
                  <a:pt x="5500681" y="2360667"/>
                </a:cubicBezTo>
                <a:lnTo>
                  <a:pt x="5502815" y="2361236"/>
                </a:lnTo>
                <a:lnTo>
                  <a:pt x="5503455" y="2359956"/>
                </a:lnTo>
                <a:cubicBezTo>
                  <a:pt x="5504735" y="2358818"/>
                  <a:pt x="5506443" y="2358391"/>
                  <a:pt x="5509431" y="2358391"/>
                </a:cubicBezTo>
                <a:cubicBezTo>
                  <a:pt x="5509431" y="2358391"/>
                  <a:pt x="5510925" y="2359102"/>
                  <a:pt x="5510925" y="2359102"/>
                </a:cubicBezTo>
                <a:cubicBezTo>
                  <a:pt x="5516473" y="2360667"/>
                  <a:pt x="5520529" y="2366358"/>
                  <a:pt x="5520102" y="2369061"/>
                </a:cubicBezTo>
                <a:cubicBezTo>
                  <a:pt x="5519248" y="2370626"/>
                  <a:pt x="5517968" y="2372191"/>
                  <a:pt x="5516260" y="2373045"/>
                </a:cubicBezTo>
                <a:cubicBezTo>
                  <a:pt x="5521596" y="2372618"/>
                  <a:pt x="5526718" y="2372333"/>
                  <a:pt x="5531627" y="2372333"/>
                </a:cubicBezTo>
                <a:cubicBezTo>
                  <a:pt x="5535682" y="2372333"/>
                  <a:pt x="5539523" y="2372475"/>
                  <a:pt x="5543365" y="2371622"/>
                </a:cubicBezTo>
                <a:lnTo>
                  <a:pt x="5555743" y="2368065"/>
                </a:lnTo>
                <a:lnTo>
                  <a:pt x="5554036" y="2366927"/>
                </a:lnTo>
                <a:lnTo>
                  <a:pt x="5551474" y="2368065"/>
                </a:lnTo>
                <a:cubicBezTo>
                  <a:pt x="5546139" y="2369203"/>
                  <a:pt x="5540377" y="2368208"/>
                  <a:pt x="5534614" y="2367638"/>
                </a:cubicBezTo>
                <a:cubicBezTo>
                  <a:pt x="5535682" y="2363370"/>
                  <a:pt x="5541230" y="2357680"/>
                  <a:pt x="5548060" y="2354977"/>
                </a:cubicBezTo>
                <a:lnTo>
                  <a:pt x="5552115" y="2354123"/>
                </a:lnTo>
                <a:lnTo>
                  <a:pt x="5556169" y="2352131"/>
                </a:lnTo>
                <a:lnTo>
                  <a:pt x="5555956" y="2350708"/>
                </a:lnTo>
                <a:cubicBezTo>
                  <a:pt x="5561505" y="2345160"/>
                  <a:pt x="5565774" y="2339469"/>
                  <a:pt x="5570042" y="2333778"/>
                </a:cubicBezTo>
                <a:lnTo>
                  <a:pt x="5571323" y="2332071"/>
                </a:lnTo>
                <a:lnTo>
                  <a:pt x="5567908" y="2331644"/>
                </a:lnTo>
                <a:lnTo>
                  <a:pt x="5563426" y="2326665"/>
                </a:lnTo>
                <a:lnTo>
                  <a:pt x="5558517" y="2328515"/>
                </a:lnTo>
                <a:cubicBezTo>
                  <a:pt x="5554249" y="2329226"/>
                  <a:pt x="5549554" y="2328656"/>
                  <a:pt x="5546353" y="2326665"/>
                </a:cubicBezTo>
                <a:lnTo>
                  <a:pt x="5542084" y="2321259"/>
                </a:lnTo>
                <a:lnTo>
                  <a:pt x="5541444" y="2321259"/>
                </a:lnTo>
                <a:cubicBezTo>
                  <a:pt x="5539096" y="2318840"/>
                  <a:pt x="5537815" y="2315284"/>
                  <a:pt x="5538883" y="2314145"/>
                </a:cubicBezTo>
                <a:cubicBezTo>
                  <a:pt x="5540590" y="2312438"/>
                  <a:pt x="5542084" y="2310731"/>
                  <a:pt x="5544432" y="2311443"/>
                </a:cubicBezTo>
                <a:cubicBezTo>
                  <a:pt x="5545072" y="2311726"/>
                  <a:pt x="5545926" y="2312296"/>
                  <a:pt x="5546779" y="2313149"/>
                </a:cubicBezTo>
                <a:cubicBezTo>
                  <a:pt x="5546779" y="2313149"/>
                  <a:pt x="5546993" y="2313291"/>
                  <a:pt x="5546993" y="2314430"/>
                </a:cubicBezTo>
                <a:lnTo>
                  <a:pt x="5546993" y="2316422"/>
                </a:lnTo>
                <a:lnTo>
                  <a:pt x="5554249" y="2311158"/>
                </a:lnTo>
                <a:cubicBezTo>
                  <a:pt x="5559371" y="2308739"/>
                  <a:pt x="5565347" y="2307316"/>
                  <a:pt x="5572816" y="2307743"/>
                </a:cubicBezTo>
                <a:cubicBezTo>
                  <a:pt x="5578152" y="2313861"/>
                  <a:pt x="5576018" y="2319836"/>
                  <a:pt x="5570683" y="2323820"/>
                </a:cubicBezTo>
                <a:lnTo>
                  <a:pt x="5570255" y="2323820"/>
                </a:lnTo>
                <a:lnTo>
                  <a:pt x="5570683" y="2324815"/>
                </a:lnTo>
                <a:cubicBezTo>
                  <a:pt x="5571963" y="2327092"/>
                  <a:pt x="5573243" y="2329511"/>
                  <a:pt x="5573243" y="2329511"/>
                </a:cubicBezTo>
                <a:lnTo>
                  <a:pt x="5571749" y="2331502"/>
                </a:lnTo>
                <a:lnTo>
                  <a:pt x="5584128" y="2316706"/>
                </a:lnTo>
                <a:lnTo>
                  <a:pt x="5593945" y="2316706"/>
                </a:lnTo>
                <a:lnTo>
                  <a:pt x="5593945" y="2316422"/>
                </a:lnTo>
                <a:cubicBezTo>
                  <a:pt x="5593945" y="2316137"/>
                  <a:pt x="5593518" y="2315853"/>
                  <a:pt x="5593518" y="2315284"/>
                </a:cubicBezTo>
                <a:cubicBezTo>
                  <a:pt x="5593518" y="2315284"/>
                  <a:pt x="5593518" y="2316422"/>
                  <a:pt x="5592451" y="2315141"/>
                </a:cubicBezTo>
                <a:cubicBezTo>
                  <a:pt x="5593518" y="2315284"/>
                  <a:pt x="5593518" y="2314003"/>
                  <a:pt x="5593518" y="2312865"/>
                </a:cubicBezTo>
                <a:cubicBezTo>
                  <a:pt x="5596079" y="2310731"/>
                  <a:pt x="5599494" y="2308739"/>
                  <a:pt x="5601841" y="2310304"/>
                </a:cubicBezTo>
                <a:cubicBezTo>
                  <a:pt x="5603122" y="2311585"/>
                  <a:pt x="5603336" y="2312865"/>
                  <a:pt x="5603122" y="2313861"/>
                </a:cubicBezTo>
                <a:lnTo>
                  <a:pt x="5602055" y="2315568"/>
                </a:lnTo>
                <a:lnTo>
                  <a:pt x="5609311" y="2314145"/>
                </a:lnTo>
                <a:cubicBezTo>
                  <a:pt x="5618062" y="2312580"/>
                  <a:pt x="5626598" y="2312011"/>
                  <a:pt x="5633001" y="2317987"/>
                </a:cubicBezTo>
                <a:cubicBezTo>
                  <a:pt x="5635135" y="2332925"/>
                  <a:pt x="5643458" y="2334348"/>
                  <a:pt x="5648154" y="2342172"/>
                </a:cubicBezTo>
                <a:lnTo>
                  <a:pt x="5647513" y="2350424"/>
                </a:lnTo>
                <a:lnTo>
                  <a:pt x="5651995" y="2349997"/>
                </a:lnTo>
                <a:cubicBezTo>
                  <a:pt x="5656050" y="2349855"/>
                  <a:pt x="5659678" y="2350139"/>
                  <a:pt x="5662879" y="2350139"/>
                </a:cubicBezTo>
                <a:cubicBezTo>
                  <a:pt x="5668429" y="2350139"/>
                  <a:pt x="5673124" y="2350851"/>
                  <a:pt x="5678459" y="2348574"/>
                </a:cubicBezTo>
                <a:cubicBezTo>
                  <a:pt x="5680167" y="2352985"/>
                  <a:pt x="5684008" y="2354550"/>
                  <a:pt x="5692759" y="2353838"/>
                </a:cubicBezTo>
                <a:cubicBezTo>
                  <a:pt x="5692759" y="2355261"/>
                  <a:pt x="5688704" y="2354550"/>
                  <a:pt x="5686356" y="2355261"/>
                </a:cubicBezTo>
                <a:cubicBezTo>
                  <a:pt x="5685716" y="2359102"/>
                  <a:pt x="5691264" y="2358249"/>
                  <a:pt x="5692759" y="2359814"/>
                </a:cubicBezTo>
                <a:cubicBezTo>
                  <a:pt x="5695106" y="2358249"/>
                  <a:pt x="5691904" y="2355261"/>
                  <a:pt x="5700655" y="2356684"/>
                </a:cubicBezTo>
                <a:cubicBezTo>
                  <a:pt x="5699801" y="2358960"/>
                  <a:pt x="5694252" y="2358249"/>
                  <a:pt x="5696600" y="2362659"/>
                </a:cubicBezTo>
                <a:cubicBezTo>
                  <a:pt x="5688063" y="2364936"/>
                  <a:pt x="5681020" y="2359672"/>
                  <a:pt x="5681020" y="2368634"/>
                </a:cubicBezTo>
                <a:cubicBezTo>
                  <a:pt x="5676112" y="2362659"/>
                  <a:pt x="5670776" y="2364224"/>
                  <a:pt x="5665227" y="2367211"/>
                </a:cubicBezTo>
                <a:cubicBezTo>
                  <a:pt x="5662453" y="2368350"/>
                  <a:pt x="5659251" y="2369773"/>
                  <a:pt x="5655837" y="2370768"/>
                </a:cubicBezTo>
                <a:lnTo>
                  <a:pt x="5646873" y="2370911"/>
                </a:lnTo>
                <a:lnTo>
                  <a:pt x="5648154" y="2372618"/>
                </a:lnTo>
                <a:lnTo>
                  <a:pt x="5646873" y="2372902"/>
                </a:lnTo>
                <a:lnTo>
                  <a:pt x="5649007" y="2374752"/>
                </a:lnTo>
                <a:cubicBezTo>
                  <a:pt x="5651142" y="2375036"/>
                  <a:pt x="5653489" y="2374325"/>
                  <a:pt x="5655837" y="2373187"/>
                </a:cubicBezTo>
                <a:cubicBezTo>
                  <a:pt x="5660532" y="2371764"/>
                  <a:pt x="5665227" y="2370199"/>
                  <a:pt x="5666721" y="2374610"/>
                </a:cubicBezTo>
                <a:cubicBezTo>
                  <a:pt x="5673764" y="2373898"/>
                  <a:pt x="5676325" y="2368777"/>
                  <a:pt x="5682514" y="2371622"/>
                </a:cubicBezTo>
                <a:cubicBezTo>
                  <a:pt x="5682514" y="2374610"/>
                  <a:pt x="5676112" y="2372333"/>
                  <a:pt x="5674618" y="2374610"/>
                </a:cubicBezTo>
                <a:cubicBezTo>
                  <a:pt x="5677819" y="2378309"/>
                  <a:pt x="5688917" y="2375321"/>
                  <a:pt x="5692759" y="2374610"/>
                </a:cubicBezTo>
                <a:cubicBezTo>
                  <a:pt x="5692759" y="2373187"/>
                  <a:pt x="5690411" y="2373898"/>
                  <a:pt x="5688704" y="2373187"/>
                </a:cubicBezTo>
                <a:cubicBezTo>
                  <a:pt x="5691051" y="2372475"/>
                  <a:pt x="5705990" y="2370911"/>
                  <a:pt x="5700655" y="2374610"/>
                </a:cubicBezTo>
                <a:cubicBezTo>
                  <a:pt x="5704497" y="2373898"/>
                  <a:pt x="5708338" y="2373187"/>
                  <a:pt x="5710686" y="2370911"/>
                </a:cubicBezTo>
                <a:lnTo>
                  <a:pt x="5712180" y="2371338"/>
                </a:lnTo>
                <a:cubicBezTo>
                  <a:pt x="5716234" y="2367354"/>
                  <a:pt x="5721570" y="2363370"/>
                  <a:pt x="5726265" y="2363086"/>
                </a:cubicBezTo>
                <a:cubicBezTo>
                  <a:pt x="5727759" y="2363086"/>
                  <a:pt x="5729253" y="2363370"/>
                  <a:pt x="5730534" y="2364224"/>
                </a:cubicBezTo>
                <a:lnTo>
                  <a:pt x="5730960" y="2365078"/>
                </a:lnTo>
                <a:lnTo>
                  <a:pt x="5732028" y="2362659"/>
                </a:lnTo>
                <a:cubicBezTo>
                  <a:pt x="5733095" y="2362801"/>
                  <a:pt x="5734162" y="2364224"/>
                  <a:pt x="5735443" y="2364366"/>
                </a:cubicBezTo>
                <a:cubicBezTo>
                  <a:pt x="5735229" y="2365646"/>
                  <a:pt x="5735229" y="2368065"/>
                  <a:pt x="5733948" y="2369061"/>
                </a:cubicBezTo>
                <a:cubicBezTo>
                  <a:pt x="5733948" y="2369773"/>
                  <a:pt x="5733095" y="2369630"/>
                  <a:pt x="5732028" y="2369346"/>
                </a:cubicBezTo>
                <a:lnTo>
                  <a:pt x="5731601" y="2369061"/>
                </a:lnTo>
                <a:lnTo>
                  <a:pt x="5729467" y="2372191"/>
                </a:lnTo>
                <a:lnTo>
                  <a:pt x="5733522" y="2373187"/>
                </a:lnTo>
                <a:cubicBezTo>
                  <a:pt x="5735869" y="2373898"/>
                  <a:pt x="5739071" y="2375321"/>
                  <a:pt x="5741418" y="2376175"/>
                </a:cubicBezTo>
                <a:lnTo>
                  <a:pt x="5746754" y="2376175"/>
                </a:lnTo>
                <a:lnTo>
                  <a:pt x="5745686" y="2371195"/>
                </a:lnTo>
                <a:cubicBezTo>
                  <a:pt x="5745900" y="2368919"/>
                  <a:pt x="5746754" y="2366642"/>
                  <a:pt x="5746540" y="2364509"/>
                </a:cubicBezTo>
                <a:lnTo>
                  <a:pt x="5752302" y="2365646"/>
                </a:lnTo>
                <a:lnTo>
                  <a:pt x="5757638" y="2362659"/>
                </a:lnTo>
                <a:cubicBezTo>
                  <a:pt x="5760199" y="2361805"/>
                  <a:pt x="5762547" y="2361094"/>
                  <a:pt x="5764468" y="2360241"/>
                </a:cubicBezTo>
                <a:cubicBezTo>
                  <a:pt x="5767456" y="2356968"/>
                  <a:pt x="5767456" y="2350424"/>
                  <a:pt x="5766175" y="2344164"/>
                </a:cubicBezTo>
                <a:lnTo>
                  <a:pt x="5764681" y="2338331"/>
                </a:lnTo>
                <a:lnTo>
                  <a:pt x="5762973" y="2339469"/>
                </a:lnTo>
                <a:cubicBezTo>
                  <a:pt x="5761053" y="2340038"/>
                  <a:pt x="5758918" y="2340749"/>
                  <a:pt x="5757211" y="2342314"/>
                </a:cubicBezTo>
                <a:cubicBezTo>
                  <a:pt x="5752516" y="2338189"/>
                  <a:pt x="5751449" y="2336766"/>
                  <a:pt x="5754010" y="2331218"/>
                </a:cubicBezTo>
                <a:cubicBezTo>
                  <a:pt x="5754010" y="2331218"/>
                  <a:pt x="5755077" y="2330080"/>
                  <a:pt x="5755077" y="2330080"/>
                </a:cubicBezTo>
                <a:lnTo>
                  <a:pt x="5757851" y="2328372"/>
                </a:lnTo>
                <a:lnTo>
                  <a:pt x="5754010" y="2326096"/>
                </a:lnTo>
                <a:cubicBezTo>
                  <a:pt x="5747607" y="2324246"/>
                  <a:pt x="5743126" y="2328230"/>
                  <a:pt x="5739071" y="2325242"/>
                </a:cubicBezTo>
                <a:cubicBezTo>
                  <a:pt x="5733948" y="2321401"/>
                  <a:pt x="5738003" y="2314714"/>
                  <a:pt x="5738003" y="2314714"/>
                </a:cubicBezTo>
                <a:cubicBezTo>
                  <a:pt x="5742058" y="2311443"/>
                  <a:pt x="5749314" y="2313718"/>
                  <a:pt x="5752942" y="2314003"/>
                </a:cubicBezTo>
                <a:cubicBezTo>
                  <a:pt x="5756785" y="2312438"/>
                  <a:pt x="5758918" y="2309166"/>
                  <a:pt x="5760839" y="2307459"/>
                </a:cubicBezTo>
                <a:cubicBezTo>
                  <a:pt x="5759132" y="2304755"/>
                  <a:pt x="5762120" y="2297073"/>
                  <a:pt x="5765535" y="2289959"/>
                </a:cubicBezTo>
                <a:lnTo>
                  <a:pt x="5767669" y="2286118"/>
                </a:lnTo>
                <a:lnTo>
                  <a:pt x="5765748" y="2285549"/>
                </a:lnTo>
                <a:cubicBezTo>
                  <a:pt x="5762973" y="2278293"/>
                  <a:pt x="5759345" y="2272034"/>
                  <a:pt x="5755930" y="2265774"/>
                </a:cubicBezTo>
                <a:lnTo>
                  <a:pt x="5754864" y="2263924"/>
                </a:lnTo>
                <a:lnTo>
                  <a:pt x="5753156" y="2266912"/>
                </a:lnTo>
                <a:cubicBezTo>
                  <a:pt x="5751876" y="2267908"/>
                  <a:pt x="5749314" y="2268761"/>
                  <a:pt x="5746540" y="2269046"/>
                </a:cubicBezTo>
                <a:cubicBezTo>
                  <a:pt x="5743552" y="2269188"/>
                  <a:pt x="5740778" y="2268904"/>
                  <a:pt x="5739071" y="2267481"/>
                </a:cubicBezTo>
                <a:cubicBezTo>
                  <a:pt x="5740351" y="2265347"/>
                  <a:pt x="5741418" y="2263213"/>
                  <a:pt x="5742699" y="2261079"/>
                </a:cubicBezTo>
                <a:cubicBezTo>
                  <a:pt x="5742699" y="2262217"/>
                  <a:pt x="5753370" y="2261079"/>
                  <a:pt x="5753370" y="2261079"/>
                </a:cubicBezTo>
                <a:lnTo>
                  <a:pt x="5754650" y="2263213"/>
                </a:lnTo>
                <a:lnTo>
                  <a:pt x="5745900" y="2246141"/>
                </a:lnTo>
                <a:cubicBezTo>
                  <a:pt x="5755077" y="2233906"/>
                  <a:pt x="5750809" y="2208724"/>
                  <a:pt x="5767028" y="2201895"/>
                </a:cubicBezTo>
                <a:lnTo>
                  <a:pt x="5770870" y="2202464"/>
                </a:lnTo>
                <a:lnTo>
                  <a:pt x="5771297" y="2202037"/>
                </a:lnTo>
                <a:cubicBezTo>
                  <a:pt x="5772364" y="2201184"/>
                  <a:pt x="5773644" y="2200615"/>
                  <a:pt x="5775139" y="2200757"/>
                </a:cubicBezTo>
                <a:lnTo>
                  <a:pt x="5777272" y="2202180"/>
                </a:lnTo>
                <a:lnTo>
                  <a:pt x="5783889" y="2200900"/>
                </a:lnTo>
                <a:lnTo>
                  <a:pt x="5785169" y="2201042"/>
                </a:lnTo>
                <a:lnTo>
                  <a:pt x="5787517" y="2200330"/>
                </a:lnTo>
                <a:lnTo>
                  <a:pt x="5786877" y="2195778"/>
                </a:lnTo>
                <a:cubicBezTo>
                  <a:pt x="5787517" y="2194213"/>
                  <a:pt x="5788797" y="2193359"/>
                  <a:pt x="5790078" y="2192932"/>
                </a:cubicBezTo>
                <a:cubicBezTo>
                  <a:pt x="5791572" y="2192506"/>
                  <a:pt x="5793279" y="2192648"/>
                  <a:pt x="5794773" y="2193217"/>
                </a:cubicBezTo>
                <a:cubicBezTo>
                  <a:pt x="5796054" y="2193217"/>
                  <a:pt x="5796907" y="2193928"/>
                  <a:pt x="5797548" y="2195066"/>
                </a:cubicBezTo>
                <a:cubicBezTo>
                  <a:pt x="5798188" y="2196347"/>
                  <a:pt x="5798401" y="2197769"/>
                  <a:pt x="5798188" y="2199050"/>
                </a:cubicBezTo>
                <a:lnTo>
                  <a:pt x="5798188" y="2199334"/>
                </a:lnTo>
                <a:lnTo>
                  <a:pt x="5808219" y="2204598"/>
                </a:lnTo>
                <a:lnTo>
                  <a:pt x="5809285" y="2199050"/>
                </a:lnTo>
                <a:cubicBezTo>
                  <a:pt x="5808859" y="2195493"/>
                  <a:pt x="5807365" y="2192363"/>
                  <a:pt x="5804804" y="2189660"/>
                </a:cubicBezTo>
                <a:cubicBezTo>
                  <a:pt x="5801389" y="2185961"/>
                  <a:pt x="5797548" y="2185534"/>
                  <a:pt x="5792212" y="2181693"/>
                </a:cubicBezTo>
                <a:cubicBezTo>
                  <a:pt x="5788797" y="2177994"/>
                  <a:pt x="5787303" y="2176144"/>
                  <a:pt x="5789224" y="2174580"/>
                </a:cubicBezTo>
                <a:cubicBezTo>
                  <a:pt x="5789224" y="2174580"/>
                  <a:pt x="5789224" y="2174438"/>
                  <a:pt x="5778553" y="2166755"/>
                </a:cubicBezTo>
                <a:cubicBezTo>
                  <a:pt x="5776846" y="2164905"/>
                  <a:pt x="5777059" y="2163198"/>
                  <a:pt x="5777059" y="2163198"/>
                </a:cubicBezTo>
                <a:cubicBezTo>
                  <a:pt x="5777059" y="2163198"/>
                  <a:pt x="5777059" y="2163198"/>
                  <a:pt x="5780474" y="2165190"/>
                </a:cubicBezTo>
                <a:cubicBezTo>
                  <a:pt x="5780474" y="2165190"/>
                  <a:pt x="5782395" y="2167039"/>
                  <a:pt x="5784102" y="2168889"/>
                </a:cubicBezTo>
                <a:cubicBezTo>
                  <a:pt x="5784102" y="2168889"/>
                  <a:pt x="5785810" y="2169031"/>
                  <a:pt x="5787730" y="2169174"/>
                </a:cubicBezTo>
                <a:cubicBezTo>
                  <a:pt x="5789438" y="2171023"/>
                  <a:pt x="5785810" y="2170880"/>
                  <a:pt x="5789224" y="2172872"/>
                </a:cubicBezTo>
                <a:cubicBezTo>
                  <a:pt x="5789224" y="2172872"/>
                  <a:pt x="5802243" y="2173726"/>
                  <a:pt x="5800322" y="2173584"/>
                </a:cubicBezTo>
                <a:cubicBezTo>
                  <a:pt x="5803737" y="2177283"/>
                  <a:pt x="5805231" y="2182547"/>
                  <a:pt x="5808859" y="2184538"/>
                </a:cubicBezTo>
                <a:cubicBezTo>
                  <a:pt x="5813981" y="2190229"/>
                  <a:pt x="5821237" y="2190656"/>
                  <a:pt x="5828920" y="2185961"/>
                </a:cubicBezTo>
                <a:cubicBezTo>
                  <a:pt x="5835109" y="2177567"/>
                  <a:pt x="5838310" y="2160353"/>
                  <a:pt x="5833189" y="2156511"/>
                </a:cubicBezTo>
                <a:cubicBezTo>
                  <a:pt x="5842793" y="2150109"/>
                  <a:pt x="5870323" y="2151959"/>
                  <a:pt x="5872458" y="2148687"/>
                </a:cubicBezTo>
                <a:cubicBezTo>
                  <a:pt x="5873098" y="2147833"/>
                  <a:pt x="5873311" y="2146410"/>
                  <a:pt x="5873738" y="2144845"/>
                </a:cubicBezTo>
                <a:lnTo>
                  <a:pt x="5873952" y="2142427"/>
                </a:lnTo>
                <a:lnTo>
                  <a:pt x="5871604" y="2140720"/>
                </a:lnTo>
                <a:cubicBezTo>
                  <a:pt x="5869897" y="2138301"/>
                  <a:pt x="5869897" y="2134886"/>
                  <a:pt x="5869470" y="2130334"/>
                </a:cubicBezTo>
                <a:cubicBezTo>
                  <a:pt x="5869897" y="2131330"/>
                  <a:pt x="5870537" y="2129765"/>
                  <a:pt x="5870537" y="2129765"/>
                </a:cubicBezTo>
                <a:cubicBezTo>
                  <a:pt x="5871604" y="2126350"/>
                  <a:pt x="5864775" y="2129196"/>
                  <a:pt x="5865202" y="2124785"/>
                </a:cubicBezTo>
                <a:cubicBezTo>
                  <a:pt x="5866695" y="2117814"/>
                  <a:pt x="5874806" y="2114969"/>
                  <a:pt x="5879287" y="2113689"/>
                </a:cubicBezTo>
                <a:lnTo>
                  <a:pt x="5881848" y="2112977"/>
                </a:lnTo>
                <a:lnTo>
                  <a:pt x="5881208" y="2111981"/>
                </a:lnTo>
                <a:lnTo>
                  <a:pt x="5882916" y="2112408"/>
                </a:lnTo>
                <a:lnTo>
                  <a:pt x="5883129" y="2112266"/>
                </a:lnTo>
                <a:cubicBezTo>
                  <a:pt x="5883769" y="2113262"/>
                  <a:pt x="5884836" y="2112692"/>
                  <a:pt x="5884196" y="2111697"/>
                </a:cubicBezTo>
                <a:cubicBezTo>
                  <a:pt x="5886330" y="2111697"/>
                  <a:pt x="5888037" y="2111697"/>
                  <a:pt x="5889105" y="2112124"/>
                </a:cubicBezTo>
                <a:cubicBezTo>
                  <a:pt x="5890172" y="2112551"/>
                  <a:pt x="5890385" y="2113262"/>
                  <a:pt x="5889958" y="2114827"/>
                </a:cubicBezTo>
                <a:cubicBezTo>
                  <a:pt x="5889958" y="2117529"/>
                  <a:pt x="5887397" y="2117814"/>
                  <a:pt x="5886544" y="2121228"/>
                </a:cubicBezTo>
                <a:cubicBezTo>
                  <a:pt x="5885903" y="2124217"/>
                  <a:pt x="5888678" y="2125923"/>
                  <a:pt x="5891025" y="2128484"/>
                </a:cubicBezTo>
                <a:lnTo>
                  <a:pt x="5892733" y="2130903"/>
                </a:lnTo>
                <a:lnTo>
                  <a:pt x="5894227" y="2130761"/>
                </a:lnTo>
                <a:cubicBezTo>
                  <a:pt x="5894227" y="2129053"/>
                  <a:pt x="5887184" y="2126777"/>
                  <a:pt x="5891239" y="2121798"/>
                </a:cubicBezTo>
                <a:cubicBezTo>
                  <a:pt x="5895080" y="2118526"/>
                  <a:pt x="5896788" y="2120375"/>
                  <a:pt x="5898708" y="2120517"/>
                </a:cubicBezTo>
                <a:cubicBezTo>
                  <a:pt x="5905538" y="2126208"/>
                  <a:pt x="5899775" y="2129480"/>
                  <a:pt x="5903190" y="2133179"/>
                </a:cubicBezTo>
                <a:cubicBezTo>
                  <a:pt x="5911087" y="2128484"/>
                  <a:pt x="5921971" y="2129053"/>
                  <a:pt x="5926026" y="2125923"/>
                </a:cubicBezTo>
                <a:cubicBezTo>
                  <a:pt x="5928160" y="2122509"/>
                  <a:pt x="5925600" y="2108425"/>
                  <a:pt x="5923892" y="2106575"/>
                </a:cubicBezTo>
                <a:cubicBezTo>
                  <a:pt x="5922825" y="2105579"/>
                  <a:pt x="5921545" y="2105295"/>
                  <a:pt x="5920050" y="2105295"/>
                </a:cubicBezTo>
                <a:lnTo>
                  <a:pt x="5915995" y="2105863"/>
                </a:lnTo>
                <a:lnTo>
                  <a:pt x="5915995" y="2107144"/>
                </a:lnTo>
                <a:lnTo>
                  <a:pt x="5913434" y="2112408"/>
                </a:lnTo>
                <a:lnTo>
                  <a:pt x="5915355" y="2113119"/>
                </a:lnTo>
                <a:cubicBezTo>
                  <a:pt x="5916209" y="2114542"/>
                  <a:pt x="5916849" y="2116534"/>
                  <a:pt x="5917276" y="2118383"/>
                </a:cubicBezTo>
                <a:cubicBezTo>
                  <a:pt x="5916636" y="2117387"/>
                  <a:pt x="5916636" y="2117387"/>
                  <a:pt x="5916636" y="2117387"/>
                </a:cubicBezTo>
                <a:cubicBezTo>
                  <a:pt x="5915142" y="2117103"/>
                  <a:pt x="5915569" y="2118099"/>
                  <a:pt x="5914715" y="2118668"/>
                </a:cubicBezTo>
                <a:cubicBezTo>
                  <a:pt x="5914715" y="2118668"/>
                  <a:pt x="5915569" y="2118099"/>
                  <a:pt x="5915142" y="2119806"/>
                </a:cubicBezTo>
                <a:cubicBezTo>
                  <a:pt x="5914715" y="2118668"/>
                  <a:pt x="5913648" y="2119379"/>
                  <a:pt x="5912581" y="2119948"/>
                </a:cubicBezTo>
                <a:cubicBezTo>
                  <a:pt x="5909379" y="2119237"/>
                  <a:pt x="5905751" y="2117387"/>
                  <a:pt x="5905751" y="2114684"/>
                </a:cubicBezTo>
                <a:lnTo>
                  <a:pt x="5907459" y="2112408"/>
                </a:lnTo>
                <a:lnTo>
                  <a:pt x="5904471" y="2112266"/>
                </a:lnTo>
                <a:cubicBezTo>
                  <a:pt x="5903404" y="2111981"/>
                  <a:pt x="5902550" y="2111412"/>
                  <a:pt x="5901696" y="2110274"/>
                </a:cubicBezTo>
                <a:lnTo>
                  <a:pt x="5898068" y="2105863"/>
                </a:lnTo>
                <a:lnTo>
                  <a:pt x="5896574" y="2107998"/>
                </a:lnTo>
                <a:cubicBezTo>
                  <a:pt x="5895934" y="2108851"/>
                  <a:pt x="5894867" y="2109420"/>
                  <a:pt x="5893800" y="2109562"/>
                </a:cubicBezTo>
                <a:cubicBezTo>
                  <a:pt x="5892946" y="2109562"/>
                  <a:pt x="5892092" y="2109420"/>
                  <a:pt x="5891025" y="2108851"/>
                </a:cubicBezTo>
                <a:cubicBezTo>
                  <a:pt x="5891025" y="2108851"/>
                  <a:pt x="5891025" y="2108851"/>
                  <a:pt x="5890812" y="2107713"/>
                </a:cubicBezTo>
                <a:cubicBezTo>
                  <a:pt x="5890172" y="2105579"/>
                  <a:pt x="5889958" y="2104441"/>
                  <a:pt x="5889532" y="2103303"/>
                </a:cubicBezTo>
                <a:cubicBezTo>
                  <a:pt x="5889958" y="2102591"/>
                  <a:pt x="5890812" y="2101311"/>
                  <a:pt x="5891879" y="2100315"/>
                </a:cubicBezTo>
                <a:lnTo>
                  <a:pt x="5894440" y="2099035"/>
                </a:lnTo>
                <a:lnTo>
                  <a:pt x="5894013" y="2097754"/>
                </a:lnTo>
                <a:cubicBezTo>
                  <a:pt x="5893800" y="2094482"/>
                  <a:pt x="5895294" y="2091779"/>
                  <a:pt x="5897215" y="2087795"/>
                </a:cubicBezTo>
                <a:cubicBezTo>
                  <a:pt x="5897215" y="2089076"/>
                  <a:pt x="5898495" y="2088080"/>
                  <a:pt x="5898495" y="2088080"/>
                </a:cubicBezTo>
                <a:cubicBezTo>
                  <a:pt x="5900843" y="2085946"/>
                  <a:pt x="5894013" y="2083670"/>
                  <a:pt x="5896574" y="2080398"/>
                </a:cubicBezTo>
                <a:cubicBezTo>
                  <a:pt x="5898922" y="2078121"/>
                  <a:pt x="5902123" y="2077694"/>
                  <a:pt x="5905324" y="2078264"/>
                </a:cubicBezTo>
                <a:cubicBezTo>
                  <a:pt x="5908526" y="2078690"/>
                  <a:pt x="5911514" y="2080113"/>
                  <a:pt x="5913648" y="2081109"/>
                </a:cubicBezTo>
                <a:lnTo>
                  <a:pt x="5915995" y="2082389"/>
                </a:lnTo>
                <a:lnTo>
                  <a:pt x="5915995" y="2081109"/>
                </a:lnTo>
                <a:lnTo>
                  <a:pt x="5917276" y="2082531"/>
                </a:lnTo>
                <a:lnTo>
                  <a:pt x="5917276" y="2082389"/>
                </a:lnTo>
                <a:cubicBezTo>
                  <a:pt x="5917276" y="2075845"/>
                  <a:pt x="5918130" y="2070296"/>
                  <a:pt x="5918983" y="2069443"/>
                </a:cubicBezTo>
                <a:cubicBezTo>
                  <a:pt x="5921971" y="2074849"/>
                  <a:pt x="5924532" y="2080113"/>
                  <a:pt x="5927093" y="2084950"/>
                </a:cubicBezTo>
                <a:lnTo>
                  <a:pt x="5933709" y="2097896"/>
                </a:lnTo>
                <a:lnTo>
                  <a:pt x="5934136" y="2097754"/>
                </a:lnTo>
                <a:lnTo>
                  <a:pt x="5933709" y="2098039"/>
                </a:lnTo>
                <a:lnTo>
                  <a:pt x="5934136" y="2098750"/>
                </a:lnTo>
                <a:lnTo>
                  <a:pt x="5934776" y="2100031"/>
                </a:lnTo>
                <a:lnTo>
                  <a:pt x="5937978" y="2099177"/>
                </a:lnTo>
                <a:cubicBezTo>
                  <a:pt x="5938831" y="2099604"/>
                  <a:pt x="5939685" y="2100315"/>
                  <a:pt x="5940325" y="2101026"/>
                </a:cubicBezTo>
                <a:cubicBezTo>
                  <a:pt x="5942032" y="2101880"/>
                  <a:pt x="5942887" y="2103588"/>
                  <a:pt x="5942887" y="2105437"/>
                </a:cubicBezTo>
                <a:lnTo>
                  <a:pt x="5942673" y="2106717"/>
                </a:lnTo>
                <a:lnTo>
                  <a:pt x="5943527" y="2105863"/>
                </a:lnTo>
                <a:cubicBezTo>
                  <a:pt x="5945020" y="2105295"/>
                  <a:pt x="5946728" y="2105295"/>
                  <a:pt x="5948222" y="2105579"/>
                </a:cubicBezTo>
                <a:cubicBezTo>
                  <a:pt x="5949502" y="2105437"/>
                  <a:pt x="5950570" y="2106290"/>
                  <a:pt x="5951210" y="2107286"/>
                </a:cubicBezTo>
                <a:cubicBezTo>
                  <a:pt x="5952063" y="2108425"/>
                  <a:pt x="5952490" y="2109847"/>
                  <a:pt x="5952490" y="2111127"/>
                </a:cubicBezTo>
                <a:cubicBezTo>
                  <a:pt x="5951850" y="2112835"/>
                  <a:pt x="5951850" y="2112835"/>
                  <a:pt x="5951423" y="2114399"/>
                </a:cubicBezTo>
                <a:cubicBezTo>
                  <a:pt x="5950356" y="2115111"/>
                  <a:pt x="5949502" y="2115822"/>
                  <a:pt x="5948435" y="2116676"/>
                </a:cubicBezTo>
                <a:lnTo>
                  <a:pt x="5946301" y="2117672"/>
                </a:lnTo>
                <a:lnTo>
                  <a:pt x="5946942" y="2118526"/>
                </a:lnTo>
                <a:cubicBezTo>
                  <a:pt x="5952277" y="2122509"/>
                  <a:pt x="5952277" y="2120660"/>
                  <a:pt x="5958039" y="2117529"/>
                </a:cubicBezTo>
                <a:cubicBezTo>
                  <a:pt x="5958039" y="2117529"/>
                  <a:pt x="5958253" y="2117672"/>
                  <a:pt x="5971271" y="2116676"/>
                </a:cubicBezTo>
                <a:cubicBezTo>
                  <a:pt x="5978314" y="2118952"/>
                  <a:pt x="5984076" y="2117672"/>
                  <a:pt x="5989626" y="2117956"/>
                </a:cubicBezTo>
                <a:cubicBezTo>
                  <a:pt x="5989626" y="2117956"/>
                  <a:pt x="5989626" y="2117956"/>
                  <a:pt x="5999442" y="2108140"/>
                </a:cubicBezTo>
                <a:cubicBezTo>
                  <a:pt x="6009687" y="2096474"/>
                  <a:pt x="6007339" y="2077126"/>
                  <a:pt x="6007339" y="2077126"/>
                </a:cubicBezTo>
                <a:cubicBezTo>
                  <a:pt x="6007553" y="2075276"/>
                  <a:pt x="6010327" y="2063183"/>
                  <a:pt x="6008406" y="2063183"/>
                </a:cubicBezTo>
                <a:cubicBezTo>
                  <a:pt x="6012248" y="2061618"/>
                  <a:pt x="6014382" y="2058346"/>
                  <a:pt x="6018010" y="2056781"/>
                </a:cubicBezTo>
                <a:cubicBezTo>
                  <a:pt x="6026760" y="2066170"/>
                  <a:pt x="6001150" y="2109989"/>
                  <a:pt x="6013528" y="2119522"/>
                </a:cubicBezTo>
                <a:cubicBezTo>
                  <a:pt x="6016943" y="2123363"/>
                  <a:pt x="6037645" y="2117672"/>
                  <a:pt x="6039352" y="2119522"/>
                </a:cubicBezTo>
                <a:lnTo>
                  <a:pt x="6044261" y="2113262"/>
                </a:lnTo>
                <a:lnTo>
                  <a:pt x="6042981" y="2110986"/>
                </a:lnTo>
                <a:cubicBezTo>
                  <a:pt x="6043194" y="2108709"/>
                  <a:pt x="6044901" y="2106433"/>
                  <a:pt x="6048529" y="2105579"/>
                </a:cubicBezTo>
                <a:lnTo>
                  <a:pt x="6048956" y="2107429"/>
                </a:lnTo>
                <a:lnTo>
                  <a:pt x="6049169" y="2107429"/>
                </a:lnTo>
                <a:cubicBezTo>
                  <a:pt x="6050877" y="2105579"/>
                  <a:pt x="6053224" y="2100742"/>
                  <a:pt x="6057066" y="2105010"/>
                </a:cubicBezTo>
                <a:cubicBezTo>
                  <a:pt x="6062401" y="2108851"/>
                  <a:pt x="6059413" y="2126208"/>
                  <a:pt x="6061121" y="2128057"/>
                </a:cubicBezTo>
                <a:cubicBezTo>
                  <a:pt x="6070084" y="2136451"/>
                  <a:pt x="6081396" y="2129338"/>
                  <a:pt x="6088652" y="2127631"/>
                </a:cubicBezTo>
                <a:lnTo>
                  <a:pt x="6089506" y="2127773"/>
                </a:lnTo>
                <a:lnTo>
                  <a:pt x="6092067" y="2123932"/>
                </a:lnTo>
                <a:cubicBezTo>
                  <a:pt x="6095268" y="2117956"/>
                  <a:pt x="6097616" y="2111981"/>
                  <a:pt x="6101031" y="2106006"/>
                </a:cubicBezTo>
                <a:lnTo>
                  <a:pt x="6102311" y="2104156"/>
                </a:lnTo>
                <a:lnTo>
                  <a:pt x="6098469" y="2101596"/>
                </a:lnTo>
                <a:lnTo>
                  <a:pt x="6098896" y="2100315"/>
                </a:lnTo>
                <a:lnTo>
                  <a:pt x="6097402" y="2100173"/>
                </a:lnTo>
                <a:cubicBezTo>
                  <a:pt x="6096122" y="2099888"/>
                  <a:pt x="6095055" y="2099177"/>
                  <a:pt x="6093774" y="2098039"/>
                </a:cubicBezTo>
                <a:cubicBezTo>
                  <a:pt x="6090146" y="2094198"/>
                  <a:pt x="6087372" y="2085803"/>
                  <a:pt x="6090786" y="2082389"/>
                </a:cubicBezTo>
                <a:cubicBezTo>
                  <a:pt x="6093988" y="2077837"/>
                  <a:pt x="6097402" y="2076699"/>
                  <a:pt x="6101031" y="2076841"/>
                </a:cubicBezTo>
                <a:cubicBezTo>
                  <a:pt x="6101031" y="2076841"/>
                  <a:pt x="6101031" y="2076983"/>
                  <a:pt x="6099750" y="2076841"/>
                </a:cubicBezTo>
                <a:cubicBezTo>
                  <a:pt x="6094841" y="2071862"/>
                  <a:pt x="6086518" y="2063183"/>
                  <a:pt x="6087372" y="2059626"/>
                </a:cubicBezTo>
                <a:cubicBezTo>
                  <a:pt x="6088652" y="2059769"/>
                  <a:pt x="6089719" y="2059769"/>
                  <a:pt x="6091000" y="2061049"/>
                </a:cubicBezTo>
                <a:cubicBezTo>
                  <a:pt x="6092280" y="2062187"/>
                  <a:pt x="6091000" y="2062187"/>
                  <a:pt x="6092067" y="2062187"/>
                </a:cubicBezTo>
                <a:cubicBezTo>
                  <a:pt x="6093348" y="2063468"/>
                  <a:pt x="6093348" y="2062329"/>
                  <a:pt x="6093348" y="2062329"/>
                </a:cubicBezTo>
                <a:cubicBezTo>
                  <a:pt x="6093348" y="2062329"/>
                  <a:pt x="6093348" y="2063468"/>
                  <a:pt x="6093348" y="2063468"/>
                </a:cubicBezTo>
                <a:cubicBezTo>
                  <a:pt x="6093348" y="2063468"/>
                  <a:pt x="6093348" y="2063468"/>
                  <a:pt x="6095908" y="2066028"/>
                </a:cubicBezTo>
                <a:cubicBezTo>
                  <a:pt x="6099323" y="2068447"/>
                  <a:pt x="6100604" y="2068589"/>
                  <a:pt x="6102951" y="2069870"/>
                </a:cubicBezTo>
                <a:cubicBezTo>
                  <a:pt x="6105512" y="2072431"/>
                  <a:pt x="6105512" y="2073569"/>
                  <a:pt x="6108073" y="2077267"/>
                </a:cubicBezTo>
                <a:cubicBezTo>
                  <a:pt x="6107006" y="2079544"/>
                  <a:pt x="6107006" y="2079544"/>
                  <a:pt x="6105726" y="2079544"/>
                </a:cubicBezTo>
                <a:cubicBezTo>
                  <a:pt x="6107006" y="2079544"/>
                  <a:pt x="6107006" y="2080683"/>
                  <a:pt x="6108073" y="2081962"/>
                </a:cubicBezTo>
                <a:cubicBezTo>
                  <a:pt x="6111061" y="2083954"/>
                  <a:pt x="6112128" y="2086373"/>
                  <a:pt x="6111702" y="2088934"/>
                </a:cubicBezTo>
                <a:lnTo>
                  <a:pt x="6108927" y="2094909"/>
                </a:lnTo>
                <a:lnTo>
                  <a:pt x="6109140" y="2095194"/>
                </a:lnTo>
                <a:lnTo>
                  <a:pt x="6115756" y="2088507"/>
                </a:lnTo>
                <a:cubicBezTo>
                  <a:pt x="6122799" y="2099888"/>
                  <a:pt x="6112342" y="2124074"/>
                  <a:pt x="6098469" y="2133037"/>
                </a:cubicBezTo>
                <a:lnTo>
                  <a:pt x="6096548" y="2134033"/>
                </a:lnTo>
                <a:lnTo>
                  <a:pt x="6097829" y="2141858"/>
                </a:lnTo>
                <a:cubicBezTo>
                  <a:pt x="6098469" y="2148118"/>
                  <a:pt x="6098896" y="2154235"/>
                  <a:pt x="6099750" y="2155089"/>
                </a:cubicBezTo>
                <a:cubicBezTo>
                  <a:pt x="6110207" y="2164620"/>
                  <a:pt x="6117037" y="2147549"/>
                  <a:pt x="6127708" y="2151817"/>
                </a:cubicBezTo>
                <a:cubicBezTo>
                  <a:pt x="6125787" y="2153381"/>
                  <a:pt x="6129415" y="2155373"/>
                  <a:pt x="6127281" y="2158646"/>
                </a:cubicBezTo>
                <a:cubicBezTo>
                  <a:pt x="6127068" y="2160495"/>
                  <a:pt x="6123439" y="2160210"/>
                  <a:pt x="6123226" y="2163625"/>
                </a:cubicBezTo>
                <a:cubicBezTo>
                  <a:pt x="6113195" y="2173441"/>
                  <a:pt x="6134964" y="2181978"/>
                  <a:pt x="6130909" y="2185250"/>
                </a:cubicBezTo>
                <a:cubicBezTo>
                  <a:pt x="6136245" y="2189091"/>
                  <a:pt x="6143288" y="2193074"/>
                  <a:pt x="6149477" y="2184680"/>
                </a:cubicBezTo>
                <a:cubicBezTo>
                  <a:pt x="6151184" y="2184823"/>
                  <a:pt x="6151611" y="2181408"/>
                  <a:pt x="6151611" y="2181408"/>
                </a:cubicBezTo>
                <a:cubicBezTo>
                  <a:pt x="6155026" y="2183400"/>
                  <a:pt x="6157373" y="2178278"/>
                  <a:pt x="6159294" y="2176713"/>
                </a:cubicBezTo>
                <a:cubicBezTo>
                  <a:pt x="6159294" y="2176713"/>
                  <a:pt x="6159294" y="2176571"/>
                  <a:pt x="6164629" y="2180413"/>
                </a:cubicBezTo>
                <a:cubicBezTo>
                  <a:pt x="6160361" y="2185392"/>
                  <a:pt x="6166124" y="2184112"/>
                  <a:pt x="6162069" y="2189091"/>
                </a:cubicBezTo>
                <a:cubicBezTo>
                  <a:pt x="6162069" y="2189091"/>
                  <a:pt x="6162069" y="2189091"/>
                  <a:pt x="6156093" y="2193928"/>
                </a:cubicBezTo>
                <a:cubicBezTo>
                  <a:pt x="6154386" y="2193928"/>
                  <a:pt x="6154386" y="2193786"/>
                  <a:pt x="6152251" y="2195351"/>
                </a:cubicBezTo>
                <a:cubicBezTo>
                  <a:pt x="6144355" y="2203602"/>
                  <a:pt x="6147769" y="2207302"/>
                  <a:pt x="6153105" y="2211285"/>
                </a:cubicBezTo>
                <a:cubicBezTo>
                  <a:pt x="6158227" y="2215126"/>
                  <a:pt x="6169325" y="2215838"/>
                  <a:pt x="6171245" y="2215980"/>
                </a:cubicBezTo>
                <a:cubicBezTo>
                  <a:pt x="6170605" y="2222951"/>
                  <a:pt x="6160574" y="2234475"/>
                  <a:pt x="6169112" y="2243864"/>
                </a:cubicBezTo>
                <a:cubicBezTo>
                  <a:pt x="6174447" y="2247706"/>
                  <a:pt x="6186825" y="2231060"/>
                  <a:pt x="6195362" y="2238600"/>
                </a:cubicBezTo>
                <a:cubicBezTo>
                  <a:pt x="6198990" y="2240592"/>
                  <a:pt x="6198777" y="2244149"/>
                  <a:pt x="6194935" y="2245572"/>
                </a:cubicBezTo>
                <a:cubicBezTo>
                  <a:pt x="6192801" y="2250693"/>
                  <a:pt x="6187039" y="2252116"/>
                  <a:pt x="6181703" y="2249982"/>
                </a:cubicBezTo>
                <a:cubicBezTo>
                  <a:pt x="6175087" y="2263497"/>
                  <a:pt x="6174233" y="2275733"/>
                  <a:pt x="6184691" y="2283415"/>
                </a:cubicBezTo>
                <a:cubicBezTo>
                  <a:pt x="6197070" y="2292947"/>
                  <a:pt x="6201125" y="2287968"/>
                  <a:pt x="6213716" y="2292378"/>
                </a:cubicBezTo>
                <a:cubicBezTo>
                  <a:pt x="6211796" y="2293943"/>
                  <a:pt x="6209875" y="2295650"/>
                  <a:pt x="6207741" y="2297215"/>
                </a:cubicBezTo>
                <a:cubicBezTo>
                  <a:pt x="6205820" y="2298922"/>
                  <a:pt x="6205820" y="2298922"/>
                  <a:pt x="6205606" y="2300630"/>
                </a:cubicBezTo>
                <a:cubicBezTo>
                  <a:pt x="6210941" y="2304471"/>
                  <a:pt x="6214997" y="2301199"/>
                  <a:pt x="6222040" y="2305182"/>
                </a:cubicBezTo>
                <a:lnTo>
                  <a:pt x="6212222" y="2307601"/>
                </a:lnTo>
                <a:lnTo>
                  <a:pt x="6216064" y="2310731"/>
                </a:lnTo>
                <a:cubicBezTo>
                  <a:pt x="6214143" y="2314999"/>
                  <a:pt x="6210728" y="2318840"/>
                  <a:pt x="6206460" y="2321685"/>
                </a:cubicBezTo>
                <a:lnTo>
                  <a:pt x="6199204" y="2324673"/>
                </a:lnTo>
                <a:lnTo>
                  <a:pt x="6198137" y="2328088"/>
                </a:lnTo>
                <a:cubicBezTo>
                  <a:pt x="6194082" y="2331360"/>
                  <a:pt x="6186825" y="2329083"/>
                  <a:pt x="6182771" y="2334063"/>
                </a:cubicBezTo>
                <a:cubicBezTo>
                  <a:pt x="6182771" y="2334063"/>
                  <a:pt x="6164843" y="2353838"/>
                  <a:pt x="6171672" y="2359529"/>
                </a:cubicBezTo>
                <a:cubicBezTo>
                  <a:pt x="6180423" y="2367211"/>
                  <a:pt x="6201125" y="2363370"/>
                  <a:pt x="6206246" y="2368919"/>
                </a:cubicBezTo>
                <a:cubicBezTo>
                  <a:pt x="6209875" y="2370911"/>
                  <a:pt x="6207741" y="2374325"/>
                  <a:pt x="6205606" y="2375890"/>
                </a:cubicBezTo>
                <a:cubicBezTo>
                  <a:pt x="6205606" y="2375890"/>
                  <a:pt x="6190240" y="2373898"/>
                  <a:pt x="6178288" y="2377028"/>
                </a:cubicBezTo>
                <a:lnTo>
                  <a:pt x="6170819" y="2380869"/>
                </a:lnTo>
                <a:lnTo>
                  <a:pt x="6173380" y="2382150"/>
                </a:lnTo>
                <a:cubicBezTo>
                  <a:pt x="6172100" y="2383146"/>
                  <a:pt x="6173166" y="2383288"/>
                  <a:pt x="6173166" y="2384426"/>
                </a:cubicBezTo>
                <a:cubicBezTo>
                  <a:pt x="6172526" y="2383857"/>
                  <a:pt x="6171459" y="2383288"/>
                  <a:pt x="6170179" y="2382861"/>
                </a:cubicBezTo>
                <a:lnTo>
                  <a:pt x="6168471" y="2382150"/>
                </a:lnTo>
                <a:lnTo>
                  <a:pt x="6168258" y="2382150"/>
                </a:lnTo>
                <a:cubicBezTo>
                  <a:pt x="6166124" y="2385564"/>
                  <a:pt x="6169752" y="2387556"/>
                  <a:pt x="6167617" y="2389121"/>
                </a:cubicBezTo>
                <a:cubicBezTo>
                  <a:pt x="6167617" y="2390828"/>
                  <a:pt x="6165697" y="2390686"/>
                  <a:pt x="6163989" y="2390686"/>
                </a:cubicBezTo>
                <a:cubicBezTo>
                  <a:pt x="6163776" y="2392393"/>
                  <a:pt x="6161855" y="2394100"/>
                  <a:pt x="6161642" y="2395808"/>
                </a:cubicBezTo>
                <a:cubicBezTo>
                  <a:pt x="6161642" y="2395808"/>
                  <a:pt x="6150330" y="2400218"/>
                  <a:pt x="6148410" y="2400076"/>
                </a:cubicBezTo>
                <a:cubicBezTo>
                  <a:pt x="6148410" y="2400076"/>
                  <a:pt x="6145848" y="2406762"/>
                  <a:pt x="6146702" y="2411742"/>
                </a:cubicBezTo>
                <a:lnTo>
                  <a:pt x="6148196" y="2414445"/>
                </a:lnTo>
                <a:lnTo>
                  <a:pt x="6150544" y="2414445"/>
                </a:lnTo>
                <a:lnTo>
                  <a:pt x="6150544" y="2413165"/>
                </a:lnTo>
                <a:cubicBezTo>
                  <a:pt x="6150757" y="2411315"/>
                  <a:pt x="6151184" y="2409750"/>
                  <a:pt x="6151611" y="2408612"/>
                </a:cubicBezTo>
                <a:cubicBezTo>
                  <a:pt x="6152465" y="2409038"/>
                  <a:pt x="6153105" y="2410035"/>
                  <a:pt x="6153318" y="2411457"/>
                </a:cubicBezTo>
                <a:lnTo>
                  <a:pt x="6153532" y="2414587"/>
                </a:lnTo>
                <a:lnTo>
                  <a:pt x="6156520" y="2414587"/>
                </a:lnTo>
                <a:cubicBezTo>
                  <a:pt x="6160574" y="2415583"/>
                  <a:pt x="6164629" y="2418144"/>
                  <a:pt x="6168258" y="2422554"/>
                </a:cubicBezTo>
                <a:cubicBezTo>
                  <a:pt x="6171032" y="2429098"/>
                  <a:pt x="6163349" y="2438630"/>
                  <a:pt x="6155453" y="2442187"/>
                </a:cubicBezTo>
                <a:lnTo>
                  <a:pt x="6153532" y="2442472"/>
                </a:lnTo>
                <a:lnTo>
                  <a:pt x="6154599" y="2444037"/>
                </a:lnTo>
                <a:cubicBezTo>
                  <a:pt x="6157160" y="2450297"/>
                  <a:pt x="6154812" y="2454849"/>
                  <a:pt x="6158867" y="2459117"/>
                </a:cubicBezTo>
                <a:cubicBezTo>
                  <a:pt x="6156520" y="2459971"/>
                  <a:pt x="6156520" y="2459971"/>
                  <a:pt x="6154172" y="2458406"/>
                </a:cubicBezTo>
                <a:cubicBezTo>
                  <a:pt x="6154386" y="2457267"/>
                  <a:pt x="6153105" y="2456983"/>
                  <a:pt x="6154386" y="2455987"/>
                </a:cubicBezTo>
                <a:cubicBezTo>
                  <a:pt x="6152678" y="2454565"/>
                  <a:pt x="6151184" y="2451008"/>
                  <a:pt x="6150117" y="2447309"/>
                </a:cubicBezTo>
                <a:lnTo>
                  <a:pt x="6149690" y="2443183"/>
                </a:lnTo>
                <a:lnTo>
                  <a:pt x="6147983" y="2443468"/>
                </a:lnTo>
                <a:lnTo>
                  <a:pt x="6145422" y="2440907"/>
                </a:lnTo>
                <a:lnTo>
                  <a:pt x="6145635" y="2445033"/>
                </a:lnTo>
                <a:cubicBezTo>
                  <a:pt x="6146062" y="2447166"/>
                  <a:pt x="6146916" y="2449585"/>
                  <a:pt x="6146916" y="2451719"/>
                </a:cubicBezTo>
                <a:lnTo>
                  <a:pt x="6146434" y="2455034"/>
                </a:lnTo>
                <a:lnTo>
                  <a:pt x="6145208" y="2455987"/>
                </a:lnTo>
                <a:cubicBezTo>
                  <a:pt x="6143074" y="2451008"/>
                  <a:pt x="6143501" y="2444606"/>
                  <a:pt x="6143715" y="2441049"/>
                </a:cubicBezTo>
                <a:lnTo>
                  <a:pt x="6143928" y="2439627"/>
                </a:lnTo>
                <a:lnTo>
                  <a:pt x="6136885" y="2432940"/>
                </a:lnTo>
                <a:lnTo>
                  <a:pt x="6137952" y="2426680"/>
                </a:lnTo>
                <a:lnTo>
                  <a:pt x="6136885" y="2426396"/>
                </a:lnTo>
                <a:cubicBezTo>
                  <a:pt x="6134537" y="2426538"/>
                  <a:pt x="6131976" y="2427533"/>
                  <a:pt x="6129415" y="2430379"/>
                </a:cubicBezTo>
                <a:cubicBezTo>
                  <a:pt x="6125574" y="2433651"/>
                  <a:pt x="6123653" y="2435216"/>
                  <a:pt x="6125361" y="2437065"/>
                </a:cubicBezTo>
                <a:cubicBezTo>
                  <a:pt x="6123439" y="2436923"/>
                  <a:pt x="6123439" y="2438773"/>
                  <a:pt x="6121518" y="2438630"/>
                </a:cubicBezTo>
                <a:cubicBezTo>
                  <a:pt x="6119598" y="2438488"/>
                  <a:pt x="6114903" y="2478466"/>
                  <a:pt x="6114690" y="2480173"/>
                </a:cubicBezTo>
                <a:cubicBezTo>
                  <a:pt x="6106793" y="2488425"/>
                  <a:pt x="6098683" y="2485295"/>
                  <a:pt x="6090573" y="2482307"/>
                </a:cubicBezTo>
                <a:lnTo>
                  <a:pt x="6083957" y="2480742"/>
                </a:lnTo>
                <a:lnTo>
                  <a:pt x="6082890" y="2487144"/>
                </a:lnTo>
                <a:cubicBezTo>
                  <a:pt x="6083957" y="2489136"/>
                  <a:pt x="6086305" y="2490701"/>
                  <a:pt x="6089506" y="2492266"/>
                </a:cubicBezTo>
                <a:cubicBezTo>
                  <a:pt x="6092707" y="2494400"/>
                  <a:pt x="6096548" y="2495254"/>
                  <a:pt x="6100604" y="2496819"/>
                </a:cubicBezTo>
                <a:cubicBezTo>
                  <a:pt x="6103591" y="2498241"/>
                  <a:pt x="6107647" y="2498952"/>
                  <a:pt x="6110634" y="2500517"/>
                </a:cubicBezTo>
                <a:cubicBezTo>
                  <a:pt x="6107647" y="2501941"/>
                  <a:pt x="6104445" y="2501229"/>
                  <a:pt x="6101244" y="2500517"/>
                </a:cubicBezTo>
                <a:cubicBezTo>
                  <a:pt x="6098256" y="2499806"/>
                  <a:pt x="6094201" y="2498241"/>
                  <a:pt x="6091000" y="2498241"/>
                </a:cubicBezTo>
                <a:cubicBezTo>
                  <a:pt x="6091853" y="2500375"/>
                  <a:pt x="6094201" y="2503363"/>
                  <a:pt x="6097402" y="2504074"/>
                </a:cubicBezTo>
                <a:cubicBezTo>
                  <a:pt x="6099750" y="2505639"/>
                  <a:pt x="6102951" y="2505639"/>
                  <a:pt x="6104445" y="2501941"/>
                </a:cubicBezTo>
                <a:cubicBezTo>
                  <a:pt x="6108287" y="2507062"/>
                  <a:pt x="6111488" y="2507062"/>
                  <a:pt x="6117890" y="2510050"/>
                </a:cubicBezTo>
                <a:lnTo>
                  <a:pt x="6117887" y="2510075"/>
                </a:lnTo>
                <a:lnTo>
                  <a:pt x="6154783" y="2508081"/>
                </a:lnTo>
                <a:lnTo>
                  <a:pt x="6132945" y="2529184"/>
                </a:lnTo>
                <a:lnTo>
                  <a:pt x="6133203" y="2529363"/>
                </a:lnTo>
                <a:cubicBezTo>
                  <a:pt x="6134484" y="2530216"/>
                  <a:pt x="6135071" y="2530608"/>
                  <a:pt x="6134324" y="2530252"/>
                </a:cubicBezTo>
                <a:cubicBezTo>
                  <a:pt x="6144568" y="2533951"/>
                  <a:pt x="6143715" y="2542060"/>
                  <a:pt x="6148410" y="2545901"/>
                </a:cubicBezTo>
                <a:cubicBezTo>
                  <a:pt x="6149903" y="2547324"/>
                  <a:pt x="6155453" y="2544478"/>
                  <a:pt x="6159508" y="2548178"/>
                </a:cubicBezTo>
                <a:lnTo>
                  <a:pt x="6161001" y="2549458"/>
                </a:lnTo>
                <a:lnTo>
                  <a:pt x="6163989" y="2546755"/>
                </a:lnTo>
                <a:cubicBezTo>
                  <a:pt x="6170179" y="2540353"/>
                  <a:pt x="6173380" y="2535516"/>
                  <a:pt x="6182557" y="2539214"/>
                </a:cubicBezTo>
                <a:cubicBezTo>
                  <a:pt x="6183197" y="2542629"/>
                  <a:pt x="6180850" y="2546328"/>
                  <a:pt x="6177221" y="2550027"/>
                </a:cubicBezTo>
                <a:lnTo>
                  <a:pt x="6169538" y="2557283"/>
                </a:lnTo>
                <a:lnTo>
                  <a:pt x="6181490" y="2566673"/>
                </a:lnTo>
                <a:cubicBezTo>
                  <a:pt x="6183837" y="2568237"/>
                  <a:pt x="6186185" y="2569802"/>
                  <a:pt x="6188533" y="2571937"/>
                </a:cubicBezTo>
                <a:cubicBezTo>
                  <a:pt x="6190880" y="2573502"/>
                  <a:pt x="6193228" y="2574924"/>
                  <a:pt x="6195575" y="2576347"/>
                </a:cubicBezTo>
                <a:cubicBezTo>
                  <a:pt x="6201125" y="2579334"/>
                  <a:pt x="6206673" y="2582464"/>
                  <a:pt x="6212009" y="2583887"/>
                </a:cubicBezTo>
                <a:lnTo>
                  <a:pt x="6211674" y="2587012"/>
                </a:lnTo>
                <a:lnTo>
                  <a:pt x="6228407" y="2581549"/>
                </a:lnTo>
                <a:lnTo>
                  <a:pt x="6227082" y="2573608"/>
                </a:lnTo>
                <a:cubicBezTo>
                  <a:pt x="6226415" y="2570300"/>
                  <a:pt x="6225881" y="2567242"/>
                  <a:pt x="6225881" y="2563116"/>
                </a:cubicBezTo>
                <a:cubicBezTo>
                  <a:pt x="6226948" y="2562547"/>
                  <a:pt x="6227375" y="2563543"/>
                  <a:pt x="6228442" y="2562973"/>
                </a:cubicBezTo>
                <a:cubicBezTo>
                  <a:pt x="6229296" y="2563116"/>
                  <a:pt x="6229936" y="2563970"/>
                  <a:pt x="6230576" y="2565250"/>
                </a:cubicBezTo>
                <a:cubicBezTo>
                  <a:pt x="6232497" y="2569091"/>
                  <a:pt x="6233564" y="2576062"/>
                  <a:pt x="6232711" y="2576631"/>
                </a:cubicBezTo>
                <a:cubicBezTo>
                  <a:pt x="6233138" y="2577627"/>
                  <a:pt x="6232283" y="2578196"/>
                  <a:pt x="6232711" y="2579192"/>
                </a:cubicBezTo>
                <a:lnTo>
                  <a:pt x="6232711" y="2580144"/>
                </a:lnTo>
                <a:lnTo>
                  <a:pt x="6282902" y="2563758"/>
                </a:lnTo>
                <a:lnTo>
                  <a:pt x="6279673" y="2621966"/>
                </a:lnTo>
                <a:lnTo>
                  <a:pt x="6277973" y="2661923"/>
                </a:lnTo>
                <a:lnTo>
                  <a:pt x="6286706" y="2668679"/>
                </a:lnTo>
                <a:cubicBezTo>
                  <a:pt x="6289053" y="2671667"/>
                  <a:pt x="6292255" y="2674654"/>
                  <a:pt x="6295456" y="2677642"/>
                </a:cubicBezTo>
                <a:cubicBezTo>
                  <a:pt x="6298444" y="2680630"/>
                  <a:pt x="6301645" y="2684329"/>
                  <a:pt x="6303992" y="2687317"/>
                </a:cubicBezTo>
                <a:cubicBezTo>
                  <a:pt x="6310395" y="2694003"/>
                  <a:pt x="6315731" y="2701401"/>
                  <a:pt x="6320639" y="2708230"/>
                </a:cubicBezTo>
                <a:lnTo>
                  <a:pt x="6325588" y="2716673"/>
                </a:lnTo>
                <a:lnTo>
                  <a:pt x="6343194" y="2713075"/>
                </a:lnTo>
                <a:lnTo>
                  <a:pt x="6372263" y="2708012"/>
                </a:lnTo>
                <a:lnTo>
                  <a:pt x="6360787" y="2765820"/>
                </a:lnTo>
                <a:lnTo>
                  <a:pt x="6361136" y="2769530"/>
                </a:lnTo>
                <a:lnTo>
                  <a:pt x="6359367" y="2772971"/>
                </a:lnTo>
                <a:lnTo>
                  <a:pt x="6358887" y="2775391"/>
                </a:lnTo>
                <a:lnTo>
                  <a:pt x="6361402" y="2775950"/>
                </a:lnTo>
                <a:cubicBezTo>
                  <a:pt x="6361402" y="2775950"/>
                  <a:pt x="6361402" y="2775950"/>
                  <a:pt x="6361402" y="2776661"/>
                </a:cubicBezTo>
                <a:cubicBezTo>
                  <a:pt x="6363750" y="2780361"/>
                  <a:pt x="6365458" y="2782637"/>
                  <a:pt x="6366098" y="2784059"/>
                </a:cubicBezTo>
                <a:cubicBezTo>
                  <a:pt x="6365458" y="2783348"/>
                  <a:pt x="6366098" y="2784202"/>
                  <a:pt x="6366098" y="2784913"/>
                </a:cubicBezTo>
                <a:cubicBezTo>
                  <a:pt x="6366952" y="2784913"/>
                  <a:pt x="6366952" y="2784913"/>
                  <a:pt x="6366952" y="2784913"/>
                </a:cubicBezTo>
                <a:cubicBezTo>
                  <a:pt x="6366952" y="2784913"/>
                  <a:pt x="6366952" y="2784913"/>
                  <a:pt x="6367592" y="2784913"/>
                </a:cubicBezTo>
                <a:lnTo>
                  <a:pt x="6367776" y="2785712"/>
                </a:lnTo>
                <a:lnTo>
                  <a:pt x="6373851" y="2785712"/>
                </a:lnTo>
                <a:lnTo>
                  <a:pt x="6373994" y="2785624"/>
                </a:lnTo>
                <a:lnTo>
                  <a:pt x="6374110" y="2785712"/>
                </a:lnTo>
                <a:lnTo>
                  <a:pt x="6378271" y="2785712"/>
                </a:lnTo>
                <a:lnTo>
                  <a:pt x="6378372" y="2788937"/>
                </a:lnTo>
                <a:lnTo>
                  <a:pt x="6381891" y="2791600"/>
                </a:lnTo>
                <a:cubicBezTo>
                  <a:pt x="6384239" y="2791600"/>
                  <a:pt x="6385732" y="2792311"/>
                  <a:pt x="6388080" y="2793022"/>
                </a:cubicBezTo>
                <a:cubicBezTo>
                  <a:pt x="6388934" y="2793022"/>
                  <a:pt x="6389787" y="2793022"/>
                  <a:pt x="6390428" y="2793733"/>
                </a:cubicBezTo>
                <a:cubicBezTo>
                  <a:pt x="6390428" y="2793733"/>
                  <a:pt x="6390428" y="2793876"/>
                  <a:pt x="6391282" y="2794587"/>
                </a:cubicBezTo>
                <a:cubicBezTo>
                  <a:pt x="6392135" y="2795298"/>
                  <a:pt x="6392775" y="2796010"/>
                  <a:pt x="6393629" y="2797575"/>
                </a:cubicBezTo>
                <a:cubicBezTo>
                  <a:pt x="6392135" y="2797575"/>
                  <a:pt x="6390428" y="2797575"/>
                  <a:pt x="6389787" y="2797575"/>
                </a:cubicBezTo>
                <a:cubicBezTo>
                  <a:pt x="6388934" y="2797575"/>
                  <a:pt x="6388934" y="2797575"/>
                  <a:pt x="6388080" y="2796863"/>
                </a:cubicBezTo>
                <a:cubicBezTo>
                  <a:pt x="6388080" y="2796863"/>
                  <a:pt x="6388080" y="2796863"/>
                  <a:pt x="6387227" y="2796863"/>
                </a:cubicBezTo>
                <a:cubicBezTo>
                  <a:pt x="6385732" y="2796863"/>
                  <a:pt x="6384879" y="2796010"/>
                  <a:pt x="6384239" y="2795298"/>
                </a:cubicBezTo>
                <a:lnTo>
                  <a:pt x="6378507" y="2793261"/>
                </a:lnTo>
                <a:lnTo>
                  <a:pt x="6378581" y="2795624"/>
                </a:lnTo>
                <a:lnTo>
                  <a:pt x="6377836" y="2795222"/>
                </a:lnTo>
                <a:lnTo>
                  <a:pt x="6377836" y="2799709"/>
                </a:lnTo>
                <a:cubicBezTo>
                  <a:pt x="6377836" y="2800420"/>
                  <a:pt x="6377836" y="2800562"/>
                  <a:pt x="6377836" y="2800562"/>
                </a:cubicBezTo>
                <a:cubicBezTo>
                  <a:pt x="6377836" y="2800562"/>
                  <a:pt x="6377836" y="2800562"/>
                  <a:pt x="6377836" y="2801274"/>
                </a:cubicBezTo>
                <a:cubicBezTo>
                  <a:pt x="6377836" y="2801274"/>
                  <a:pt x="6377836" y="2801274"/>
                  <a:pt x="6378689" y="2801985"/>
                </a:cubicBezTo>
                <a:cubicBezTo>
                  <a:pt x="6379544" y="2803408"/>
                  <a:pt x="6379544" y="2804262"/>
                  <a:pt x="6380184" y="2805684"/>
                </a:cubicBezTo>
                <a:cubicBezTo>
                  <a:pt x="6381891" y="2807961"/>
                  <a:pt x="6383385" y="2810094"/>
                  <a:pt x="6385092" y="2811660"/>
                </a:cubicBezTo>
                <a:cubicBezTo>
                  <a:pt x="6383385" y="2811660"/>
                  <a:pt x="6381037" y="2810948"/>
                  <a:pt x="6379544" y="2811660"/>
                </a:cubicBezTo>
                <a:cubicBezTo>
                  <a:pt x="6388934" y="2816781"/>
                  <a:pt x="6392135" y="2827309"/>
                  <a:pt x="6395123" y="2839971"/>
                </a:cubicBezTo>
                <a:cubicBezTo>
                  <a:pt x="6397471" y="2842816"/>
                  <a:pt x="6396830" y="2838548"/>
                  <a:pt x="6399818" y="2838548"/>
                </a:cubicBezTo>
                <a:cubicBezTo>
                  <a:pt x="6399818" y="2838548"/>
                  <a:pt x="6400031" y="2838406"/>
                  <a:pt x="6400672" y="2841394"/>
                </a:cubicBezTo>
                <a:lnTo>
                  <a:pt x="6400904" y="2842208"/>
                </a:lnTo>
                <a:lnTo>
                  <a:pt x="6402188" y="2837382"/>
                </a:lnTo>
                <a:cubicBezTo>
                  <a:pt x="6403519" y="2835746"/>
                  <a:pt x="6405804" y="2834655"/>
                  <a:pt x="6409560" y="2834449"/>
                </a:cubicBezTo>
                <a:cubicBezTo>
                  <a:pt x="6408631" y="2827014"/>
                  <a:pt x="6410490" y="2817102"/>
                  <a:pt x="6405843" y="2814624"/>
                </a:cubicBezTo>
                <a:cubicBezTo>
                  <a:pt x="6406772" y="2809667"/>
                  <a:pt x="6413278" y="2810493"/>
                  <a:pt x="6411419" y="2803059"/>
                </a:cubicBezTo>
                <a:cubicBezTo>
                  <a:pt x="6411419" y="2801407"/>
                  <a:pt x="6409560" y="2800581"/>
                  <a:pt x="6409560" y="2798929"/>
                </a:cubicBezTo>
                <a:cubicBezTo>
                  <a:pt x="6409560" y="2795521"/>
                  <a:pt x="6401970" y="2802233"/>
                  <a:pt x="6400112" y="2797277"/>
                </a:cubicBezTo>
                <a:cubicBezTo>
                  <a:pt x="6399182" y="2793146"/>
                  <a:pt x="6413278" y="2790565"/>
                  <a:pt x="6403984" y="2788913"/>
                </a:cubicBezTo>
                <a:lnTo>
                  <a:pt x="6404759" y="2785712"/>
                </a:lnTo>
                <a:lnTo>
                  <a:pt x="6412522" y="2785712"/>
                </a:lnTo>
                <a:lnTo>
                  <a:pt x="6423774" y="2776377"/>
                </a:lnTo>
                <a:cubicBezTo>
                  <a:pt x="6428256" y="2774278"/>
                  <a:pt x="6433111" y="2773105"/>
                  <a:pt x="6438020" y="2771966"/>
                </a:cubicBezTo>
                <a:cubicBezTo>
                  <a:pt x="6448478" y="2778298"/>
                  <a:pt x="6447358" y="2783384"/>
                  <a:pt x="6442342" y="2787830"/>
                </a:cubicBezTo>
                <a:lnTo>
                  <a:pt x="6424844" y="2798874"/>
                </a:lnTo>
                <a:lnTo>
                  <a:pt x="6426444" y="2800581"/>
                </a:lnTo>
                <a:cubicBezTo>
                  <a:pt x="6420868" y="2807189"/>
                  <a:pt x="6420713" y="2815450"/>
                  <a:pt x="6421797" y="2823710"/>
                </a:cubicBezTo>
                <a:cubicBezTo>
                  <a:pt x="6422727" y="2827840"/>
                  <a:pt x="6422727" y="2831144"/>
                  <a:pt x="6423656" y="2834449"/>
                </a:cubicBezTo>
                <a:cubicBezTo>
                  <a:pt x="6423656" y="2837856"/>
                  <a:pt x="6423656" y="2841057"/>
                  <a:pt x="6421797" y="2842709"/>
                </a:cubicBezTo>
                <a:cubicBezTo>
                  <a:pt x="6419784" y="2840231"/>
                  <a:pt x="6419784" y="2835275"/>
                  <a:pt x="6416995" y="2832797"/>
                </a:cubicBezTo>
                <a:cubicBezTo>
                  <a:pt x="6413278" y="2833623"/>
                  <a:pt x="6412348" y="2837030"/>
                  <a:pt x="6406772" y="2836204"/>
                </a:cubicBezTo>
                <a:lnTo>
                  <a:pt x="6404422" y="2852466"/>
                </a:lnTo>
                <a:lnTo>
                  <a:pt x="6406861" y="2858608"/>
                </a:lnTo>
                <a:cubicBezTo>
                  <a:pt x="6409209" y="2865295"/>
                  <a:pt x="6412410" y="2871270"/>
                  <a:pt x="6415611" y="2877957"/>
                </a:cubicBezTo>
                <a:cubicBezTo>
                  <a:pt x="6418813" y="2884643"/>
                  <a:pt x="6421160" y="2891330"/>
                  <a:pt x="6423508" y="2898017"/>
                </a:cubicBezTo>
                <a:cubicBezTo>
                  <a:pt x="6425002" y="2901716"/>
                  <a:pt x="6425855" y="2905415"/>
                  <a:pt x="6426496" y="2909113"/>
                </a:cubicBezTo>
                <a:lnTo>
                  <a:pt x="6426796" y="2910430"/>
                </a:lnTo>
                <a:lnTo>
                  <a:pt x="6431420" y="2906573"/>
                </a:lnTo>
                <a:cubicBezTo>
                  <a:pt x="6434344" y="2901695"/>
                  <a:pt x="6436203" y="2895887"/>
                  <a:pt x="6437597" y="2890517"/>
                </a:cubicBezTo>
                <a:cubicBezTo>
                  <a:pt x="6441469" y="2892169"/>
                  <a:pt x="6441314" y="2895473"/>
                  <a:pt x="6442243" y="2898777"/>
                </a:cubicBezTo>
                <a:cubicBezTo>
                  <a:pt x="6442243" y="2901256"/>
                  <a:pt x="6443173" y="2904560"/>
                  <a:pt x="6447975" y="2904560"/>
                </a:cubicBezTo>
                <a:cubicBezTo>
                  <a:pt x="6441314" y="2911168"/>
                  <a:pt x="6438526" y="2916951"/>
                  <a:pt x="6436667" y="2922733"/>
                </a:cubicBezTo>
                <a:lnTo>
                  <a:pt x="6436347" y="2923977"/>
                </a:lnTo>
                <a:lnTo>
                  <a:pt x="6438554" y="2931236"/>
                </a:lnTo>
                <a:cubicBezTo>
                  <a:pt x="6439247" y="2933940"/>
                  <a:pt x="6439621" y="2936358"/>
                  <a:pt x="6439941" y="2940413"/>
                </a:cubicBezTo>
                <a:cubicBezTo>
                  <a:pt x="6443996" y="2930027"/>
                  <a:pt x="6443142" y="2950940"/>
                  <a:pt x="6440795" y="2953928"/>
                </a:cubicBezTo>
                <a:cubicBezTo>
                  <a:pt x="6441649" y="2956916"/>
                  <a:pt x="6446344" y="2953928"/>
                  <a:pt x="6447838" y="2956062"/>
                </a:cubicBezTo>
                <a:cubicBezTo>
                  <a:pt x="6448691" y="2962749"/>
                  <a:pt x="6439941" y="2956062"/>
                  <a:pt x="6439941" y="2963603"/>
                </a:cubicBezTo>
                <a:cubicBezTo>
                  <a:pt x="6447838" y="2966590"/>
                  <a:pt x="6446344" y="2974700"/>
                  <a:pt x="6451679" y="2983663"/>
                </a:cubicBezTo>
                <a:cubicBezTo>
                  <a:pt x="6451039" y="2988927"/>
                  <a:pt x="6447838" y="2976976"/>
                  <a:pt x="6446344" y="2975411"/>
                </a:cubicBezTo>
                <a:cubicBezTo>
                  <a:pt x="6438447" y="2976264"/>
                  <a:pt x="6444637" y="2986650"/>
                  <a:pt x="6445490" y="2992483"/>
                </a:cubicBezTo>
                <a:cubicBezTo>
                  <a:pt x="6446344" y="2997036"/>
                  <a:pt x="6451039" y="2992625"/>
                  <a:pt x="6453386" y="2993337"/>
                </a:cubicBezTo>
                <a:cubicBezTo>
                  <a:pt x="6454240" y="3000023"/>
                  <a:pt x="6446130" y="3000735"/>
                  <a:pt x="6451039" y="3011262"/>
                </a:cubicBezTo>
                <a:cubicBezTo>
                  <a:pt x="6453386" y="3015673"/>
                  <a:pt x="6454027" y="3007421"/>
                  <a:pt x="6457228" y="3011262"/>
                </a:cubicBezTo>
                <a:cubicBezTo>
                  <a:pt x="6454027" y="3014962"/>
                  <a:pt x="6454881" y="3020937"/>
                  <a:pt x="6454881" y="3027624"/>
                </a:cubicBezTo>
                <a:cubicBezTo>
                  <a:pt x="6455734" y="3033457"/>
                  <a:pt x="6456588" y="3040143"/>
                  <a:pt x="6454881" y="3046118"/>
                </a:cubicBezTo>
                <a:cubicBezTo>
                  <a:pt x="6453386" y="3046118"/>
                  <a:pt x="6453386" y="3042420"/>
                  <a:pt x="6452533" y="3040997"/>
                </a:cubicBezTo>
                <a:cubicBezTo>
                  <a:pt x="6447838" y="3042420"/>
                  <a:pt x="6454240" y="3046118"/>
                  <a:pt x="6454240" y="3049817"/>
                </a:cubicBezTo>
                <a:cubicBezTo>
                  <a:pt x="6454881" y="3049106"/>
                  <a:pt x="6456374" y="3047683"/>
                  <a:pt x="6456374" y="3045407"/>
                </a:cubicBezTo>
                <a:cubicBezTo>
                  <a:pt x="6457228" y="3047683"/>
                  <a:pt x="6457228" y="3050671"/>
                  <a:pt x="6457228" y="3054370"/>
                </a:cubicBezTo>
                <a:cubicBezTo>
                  <a:pt x="6457228" y="3058069"/>
                  <a:pt x="6457228" y="3062480"/>
                  <a:pt x="6455734" y="3066178"/>
                </a:cubicBezTo>
                <a:cubicBezTo>
                  <a:pt x="6453386" y="3071442"/>
                  <a:pt x="6450185" y="3061057"/>
                  <a:pt x="6446344" y="3067032"/>
                </a:cubicBezTo>
                <a:cubicBezTo>
                  <a:pt x="6448051" y="3067601"/>
                  <a:pt x="6452533" y="3067317"/>
                  <a:pt x="6452960" y="3070873"/>
                </a:cubicBezTo>
                <a:lnTo>
                  <a:pt x="6452533" y="3072296"/>
                </a:lnTo>
                <a:lnTo>
                  <a:pt x="6447838" y="3072296"/>
                </a:lnTo>
                <a:lnTo>
                  <a:pt x="6447624" y="3072012"/>
                </a:lnTo>
                <a:cubicBezTo>
                  <a:pt x="6446130" y="3070731"/>
                  <a:pt x="6443996" y="3070020"/>
                  <a:pt x="6439941" y="3071442"/>
                </a:cubicBezTo>
                <a:lnTo>
                  <a:pt x="6439941" y="3072296"/>
                </a:lnTo>
                <a:lnTo>
                  <a:pt x="6423295" y="3072296"/>
                </a:lnTo>
                <a:lnTo>
                  <a:pt x="6421800" y="3061768"/>
                </a:lnTo>
                <a:cubicBezTo>
                  <a:pt x="6421160" y="3058069"/>
                  <a:pt x="6420307" y="3054370"/>
                  <a:pt x="6419666" y="3050529"/>
                </a:cubicBezTo>
                <a:cubicBezTo>
                  <a:pt x="6423508" y="3046830"/>
                  <a:pt x="6424361" y="3040997"/>
                  <a:pt x="6423508" y="3034168"/>
                </a:cubicBezTo>
                <a:cubicBezTo>
                  <a:pt x="6422654" y="3028335"/>
                  <a:pt x="6420307" y="3022360"/>
                  <a:pt x="6419666" y="3017949"/>
                </a:cubicBezTo>
                <a:cubicBezTo>
                  <a:pt x="6414757" y="3018661"/>
                  <a:pt x="6423508" y="3029046"/>
                  <a:pt x="6416465" y="3027624"/>
                </a:cubicBezTo>
                <a:cubicBezTo>
                  <a:pt x="6415611" y="3021648"/>
                  <a:pt x="6414117" y="3017807"/>
                  <a:pt x="6412410" y="3014108"/>
                </a:cubicBezTo>
                <a:cubicBezTo>
                  <a:pt x="6418279" y="3015958"/>
                  <a:pt x="6418706" y="3010943"/>
                  <a:pt x="6417559" y="3004718"/>
                </a:cubicBezTo>
                <a:lnTo>
                  <a:pt x="6413520" y="2989066"/>
                </a:lnTo>
                <a:lnTo>
                  <a:pt x="6411419" y="2992327"/>
                </a:lnTo>
                <a:lnTo>
                  <a:pt x="6410966" y="2993616"/>
                </a:lnTo>
                <a:lnTo>
                  <a:pt x="6412410" y="3001588"/>
                </a:lnTo>
                <a:lnTo>
                  <a:pt x="6409797" y="2996942"/>
                </a:lnTo>
                <a:lnTo>
                  <a:pt x="6406772" y="3005544"/>
                </a:lnTo>
                <a:cubicBezTo>
                  <a:pt x="6405843" y="3010500"/>
                  <a:pt x="6403055" y="3014631"/>
                  <a:pt x="6400112" y="3020413"/>
                </a:cubicBezTo>
                <a:cubicBezTo>
                  <a:pt x="6400112" y="3027848"/>
                  <a:pt x="6410490" y="3021239"/>
                  <a:pt x="6405843" y="3030429"/>
                </a:cubicBezTo>
                <a:lnTo>
                  <a:pt x="6396532" y="3031952"/>
                </a:lnTo>
                <a:lnTo>
                  <a:pt x="6399178" y="3042420"/>
                </a:lnTo>
                <a:cubicBezTo>
                  <a:pt x="6397471" y="3043131"/>
                  <a:pt x="6395977" y="3043273"/>
                  <a:pt x="6394483" y="3043273"/>
                </a:cubicBezTo>
                <a:cubicBezTo>
                  <a:pt x="6401526" y="3047683"/>
                  <a:pt x="6399818" y="3052805"/>
                  <a:pt x="6398324" y="3060346"/>
                </a:cubicBezTo>
                <a:cubicBezTo>
                  <a:pt x="6395977" y="3052805"/>
                  <a:pt x="6392775" y="3058069"/>
                  <a:pt x="6391922" y="3047683"/>
                </a:cubicBezTo>
                <a:cubicBezTo>
                  <a:pt x="6391495" y="3054939"/>
                  <a:pt x="6393415" y="3062195"/>
                  <a:pt x="6391922" y="3068882"/>
                </a:cubicBezTo>
                <a:lnTo>
                  <a:pt x="6390428" y="3072296"/>
                </a:lnTo>
                <a:lnTo>
                  <a:pt x="6376421" y="3072296"/>
                </a:lnTo>
                <a:lnTo>
                  <a:pt x="6377652" y="3074209"/>
                </a:lnTo>
                <a:lnTo>
                  <a:pt x="6370681" y="3082470"/>
                </a:lnTo>
                <a:lnTo>
                  <a:pt x="6370372" y="3084845"/>
                </a:lnTo>
                <a:lnTo>
                  <a:pt x="6369907" y="3092899"/>
                </a:lnTo>
                <a:lnTo>
                  <a:pt x="6366943" y="3096764"/>
                </a:lnTo>
                <a:lnTo>
                  <a:pt x="6371187" y="3115469"/>
                </a:lnTo>
                <a:lnTo>
                  <a:pt x="6270375" y="3269248"/>
                </a:lnTo>
                <a:lnTo>
                  <a:pt x="6278518" y="3265337"/>
                </a:lnTo>
                <a:cubicBezTo>
                  <a:pt x="6282081" y="3263375"/>
                  <a:pt x="6286263" y="3261723"/>
                  <a:pt x="6289516" y="3260484"/>
                </a:cubicBezTo>
                <a:cubicBezTo>
                  <a:pt x="6297416" y="3256870"/>
                  <a:pt x="6305470" y="3254082"/>
                  <a:pt x="6312750" y="3251810"/>
                </a:cubicBezTo>
                <a:lnTo>
                  <a:pt x="6334436" y="3247061"/>
                </a:lnTo>
                <a:lnTo>
                  <a:pt x="6333661" y="3246751"/>
                </a:lnTo>
                <a:cubicBezTo>
                  <a:pt x="6325762" y="3243033"/>
                  <a:pt x="6318946" y="3238180"/>
                  <a:pt x="6314454" y="3234050"/>
                </a:cubicBezTo>
                <a:lnTo>
                  <a:pt x="6335210" y="3234670"/>
                </a:lnTo>
                <a:lnTo>
                  <a:pt x="6334900" y="3233844"/>
                </a:lnTo>
                <a:lnTo>
                  <a:pt x="6335675" y="3230333"/>
                </a:lnTo>
                <a:lnTo>
                  <a:pt x="6331957" y="3229300"/>
                </a:lnTo>
                <a:cubicBezTo>
                  <a:pt x="6330563" y="3228371"/>
                  <a:pt x="6329479" y="3227132"/>
                  <a:pt x="6328859" y="3225067"/>
                </a:cubicBezTo>
                <a:cubicBezTo>
                  <a:pt x="6331493" y="3220833"/>
                  <a:pt x="6335985" y="3218665"/>
                  <a:pt x="6340167" y="3219078"/>
                </a:cubicBezTo>
                <a:lnTo>
                  <a:pt x="6343574" y="3220627"/>
                </a:lnTo>
                <a:lnTo>
                  <a:pt x="6344349" y="3219594"/>
                </a:lnTo>
                <a:cubicBezTo>
                  <a:pt x="6347447" y="3221453"/>
                  <a:pt x="6350700" y="3221763"/>
                  <a:pt x="6353643" y="3223725"/>
                </a:cubicBezTo>
                <a:cubicBezTo>
                  <a:pt x="6354417" y="3225583"/>
                  <a:pt x="6353952" y="3228371"/>
                  <a:pt x="6353023" y="3231262"/>
                </a:cubicBezTo>
                <a:lnTo>
                  <a:pt x="6349925" y="3236219"/>
                </a:lnTo>
                <a:lnTo>
                  <a:pt x="6356121" y="3237664"/>
                </a:lnTo>
                <a:lnTo>
                  <a:pt x="6363401" y="3236219"/>
                </a:lnTo>
                <a:cubicBezTo>
                  <a:pt x="6366809" y="3235289"/>
                  <a:pt x="6370062" y="3234050"/>
                  <a:pt x="6373315" y="3232089"/>
                </a:cubicBezTo>
                <a:cubicBezTo>
                  <a:pt x="6376567" y="3233121"/>
                  <a:pt x="6381834" y="3232501"/>
                  <a:pt x="6383073" y="3237355"/>
                </a:cubicBezTo>
                <a:cubicBezTo>
                  <a:pt x="6383538" y="3236012"/>
                  <a:pt x="6384467" y="3235496"/>
                  <a:pt x="6384622" y="3234876"/>
                </a:cubicBezTo>
                <a:cubicBezTo>
                  <a:pt x="6384622" y="3234876"/>
                  <a:pt x="6384622" y="3234876"/>
                  <a:pt x="6385397" y="3235083"/>
                </a:cubicBezTo>
                <a:cubicBezTo>
                  <a:pt x="6389269" y="3234050"/>
                  <a:pt x="6391747" y="3233224"/>
                  <a:pt x="6393296" y="3233018"/>
                </a:cubicBezTo>
                <a:cubicBezTo>
                  <a:pt x="6392367" y="3233431"/>
                  <a:pt x="6393296" y="3232914"/>
                  <a:pt x="6393916" y="3233121"/>
                </a:cubicBezTo>
                <a:cubicBezTo>
                  <a:pt x="6394071" y="3232501"/>
                  <a:pt x="6394226" y="3232501"/>
                  <a:pt x="6394226" y="3232501"/>
                </a:cubicBezTo>
                <a:cubicBezTo>
                  <a:pt x="6394226" y="3232501"/>
                  <a:pt x="6394226" y="3232501"/>
                  <a:pt x="6394380" y="3231779"/>
                </a:cubicBezTo>
                <a:cubicBezTo>
                  <a:pt x="6395310" y="3231366"/>
                  <a:pt x="6395930" y="3231572"/>
                  <a:pt x="6397943" y="3232089"/>
                </a:cubicBezTo>
                <a:cubicBezTo>
                  <a:pt x="6398873" y="3231675"/>
                  <a:pt x="6398408" y="3231159"/>
                  <a:pt x="6397943" y="3230333"/>
                </a:cubicBezTo>
                <a:lnTo>
                  <a:pt x="6397633" y="3228991"/>
                </a:lnTo>
                <a:lnTo>
                  <a:pt x="6383383" y="3222795"/>
                </a:lnTo>
                <a:cubicBezTo>
                  <a:pt x="6378271" y="3219904"/>
                  <a:pt x="6373315" y="3216393"/>
                  <a:pt x="6368358" y="3211954"/>
                </a:cubicBezTo>
                <a:cubicBezTo>
                  <a:pt x="6369287" y="3198840"/>
                  <a:pt x="6380440" y="3195123"/>
                  <a:pt x="6393141" y="3196878"/>
                </a:cubicBezTo>
                <a:cubicBezTo>
                  <a:pt x="6408941" y="3199046"/>
                  <a:pt x="6427219" y="3209888"/>
                  <a:pt x="6430936" y="3221866"/>
                </a:cubicBezTo>
                <a:lnTo>
                  <a:pt x="6431246" y="3224551"/>
                </a:lnTo>
                <a:lnTo>
                  <a:pt x="6434498" y="3223105"/>
                </a:lnTo>
                <a:cubicBezTo>
                  <a:pt x="6439455" y="3222382"/>
                  <a:pt x="6445032" y="3222589"/>
                  <a:pt x="6451073" y="3222899"/>
                </a:cubicBezTo>
                <a:cubicBezTo>
                  <a:pt x="6454480" y="3221660"/>
                  <a:pt x="6450298" y="3221143"/>
                  <a:pt x="6451227" y="3218459"/>
                </a:cubicBezTo>
                <a:cubicBezTo>
                  <a:pt x="6451227" y="3218459"/>
                  <a:pt x="6451227" y="3218459"/>
                  <a:pt x="6454016" y="3218562"/>
                </a:cubicBezTo>
                <a:cubicBezTo>
                  <a:pt x="6454635" y="3218768"/>
                  <a:pt x="6456339" y="3218459"/>
                  <a:pt x="6456959" y="3218665"/>
                </a:cubicBezTo>
                <a:cubicBezTo>
                  <a:pt x="6458508" y="3218459"/>
                  <a:pt x="6459747" y="3218871"/>
                  <a:pt x="6461296" y="3218562"/>
                </a:cubicBezTo>
                <a:cubicBezTo>
                  <a:pt x="6465013" y="3218252"/>
                  <a:pt x="6467956" y="3218355"/>
                  <a:pt x="6471054" y="3217839"/>
                </a:cubicBezTo>
                <a:cubicBezTo>
                  <a:pt x="6477560" y="3217632"/>
                  <a:pt x="6483755" y="3216497"/>
                  <a:pt x="6490571" y="3215567"/>
                </a:cubicBezTo>
                <a:cubicBezTo>
                  <a:pt x="6497541" y="3214638"/>
                  <a:pt x="6504047" y="3214431"/>
                  <a:pt x="6510707" y="3214225"/>
                </a:cubicBezTo>
                <a:cubicBezTo>
                  <a:pt x="6514425" y="3213812"/>
                  <a:pt x="6517988" y="3214225"/>
                  <a:pt x="6521395" y="3214535"/>
                </a:cubicBezTo>
                <a:cubicBezTo>
                  <a:pt x="6524338" y="3214638"/>
                  <a:pt x="6528521" y="3215155"/>
                  <a:pt x="6532083" y="3215464"/>
                </a:cubicBezTo>
                <a:cubicBezTo>
                  <a:pt x="6534252" y="3215464"/>
                  <a:pt x="6533167" y="3212160"/>
                  <a:pt x="6533787" y="3210095"/>
                </a:cubicBezTo>
                <a:cubicBezTo>
                  <a:pt x="6544010" y="3210198"/>
                  <a:pt x="6545559" y="3209888"/>
                  <a:pt x="6552994" y="3211437"/>
                </a:cubicBezTo>
                <a:cubicBezTo>
                  <a:pt x="6544939" y="3205138"/>
                  <a:pt x="6563217" y="3211540"/>
                  <a:pt x="6565076" y="3214431"/>
                </a:cubicBezTo>
                <a:cubicBezTo>
                  <a:pt x="6568019" y="3214535"/>
                  <a:pt x="6566780" y="3209682"/>
                  <a:pt x="6569103" y="3208856"/>
                </a:cubicBezTo>
                <a:cubicBezTo>
                  <a:pt x="6575299" y="3210095"/>
                  <a:pt x="6566780" y="3215670"/>
                  <a:pt x="6573285" y="3217736"/>
                </a:cubicBezTo>
                <a:cubicBezTo>
                  <a:pt x="6578242" y="3211747"/>
                  <a:pt x="6585057" y="3215258"/>
                  <a:pt x="6594506" y="3212986"/>
                </a:cubicBezTo>
                <a:cubicBezTo>
                  <a:pt x="6598998" y="3215051"/>
                  <a:pt x="6587536" y="3214535"/>
                  <a:pt x="6585677" y="3215464"/>
                </a:cubicBezTo>
                <a:cubicBezTo>
                  <a:pt x="6584128" y="3222486"/>
                  <a:pt x="6595126" y="3219904"/>
                  <a:pt x="6600547" y="3220833"/>
                </a:cubicBezTo>
                <a:cubicBezTo>
                  <a:pt x="6604729" y="3221350"/>
                  <a:pt x="6602251" y="3216084"/>
                  <a:pt x="6603490" y="3214225"/>
                </a:cubicBezTo>
                <a:cubicBezTo>
                  <a:pt x="6609686" y="3215361"/>
                  <a:pt x="6607982" y="3222382"/>
                  <a:pt x="6618670" y="3221143"/>
                </a:cubicBezTo>
                <a:cubicBezTo>
                  <a:pt x="6623317" y="3220317"/>
                  <a:pt x="6616346" y="3217426"/>
                  <a:pt x="6620529" y="3215670"/>
                </a:cubicBezTo>
                <a:cubicBezTo>
                  <a:pt x="6622852" y="3219388"/>
                  <a:pt x="6628274" y="3220421"/>
                  <a:pt x="6634314" y="3222176"/>
                </a:cubicBezTo>
                <a:cubicBezTo>
                  <a:pt x="6639736" y="3223105"/>
                  <a:pt x="6645777" y="3224344"/>
                  <a:pt x="6650579" y="3227338"/>
                </a:cubicBezTo>
                <a:cubicBezTo>
                  <a:pt x="6650114" y="3228681"/>
                  <a:pt x="6646861" y="3227648"/>
                  <a:pt x="6645312" y="3227855"/>
                </a:cubicBezTo>
                <a:cubicBezTo>
                  <a:pt x="6645312" y="3232398"/>
                  <a:pt x="6650424" y="3227958"/>
                  <a:pt x="6653677" y="3228991"/>
                </a:cubicBezTo>
                <a:cubicBezTo>
                  <a:pt x="6653212" y="3228061"/>
                  <a:pt x="6652437" y="3226306"/>
                  <a:pt x="6650424" y="3225687"/>
                </a:cubicBezTo>
                <a:cubicBezTo>
                  <a:pt x="6652592" y="3225583"/>
                  <a:pt x="6655225" y="3226409"/>
                  <a:pt x="6658633" y="3227442"/>
                </a:cubicBezTo>
                <a:cubicBezTo>
                  <a:pt x="6661886" y="3228474"/>
                  <a:pt x="6665758" y="3229713"/>
                  <a:pt x="6668547" y="3232089"/>
                </a:cubicBezTo>
                <a:cubicBezTo>
                  <a:pt x="6672419" y="3235496"/>
                  <a:pt x="6662351" y="3235393"/>
                  <a:pt x="6666378" y="3240452"/>
                </a:cubicBezTo>
                <a:cubicBezTo>
                  <a:pt x="6667772" y="3238594"/>
                  <a:pt x="6669166" y="3232192"/>
                  <a:pt x="6675982" y="3238077"/>
                </a:cubicBezTo>
                <a:cubicBezTo>
                  <a:pt x="6673658" y="3240349"/>
                  <a:pt x="6668237" y="3239523"/>
                  <a:pt x="6668547" y="3247061"/>
                </a:cubicBezTo>
                <a:cubicBezTo>
                  <a:pt x="6670715" y="3247061"/>
                  <a:pt x="6671800" y="3248093"/>
                  <a:pt x="6671645" y="3248816"/>
                </a:cubicBezTo>
                <a:cubicBezTo>
                  <a:pt x="6679080" y="3250365"/>
                  <a:pt x="6671025" y="3241794"/>
                  <a:pt x="6678305" y="3244066"/>
                </a:cubicBezTo>
                <a:cubicBezTo>
                  <a:pt x="6673039" y="3253049"/>
                  <a:pt x="6684346" y="3251914"/>
                  <a:pt x="6688838" y="3255631"/>
                </a:cubicBezTo>
                <a:cubicBezTo>
                  <a:pt x="6687909" y="3258315"/>
                  <a:pt x="6681868" y="3255011"/>
                  <a:pt x="6678925" y="3254805"/>
                </a:cubicBezTo>
                <a:cubicBezTo>
                  <a:pt x="6677531" y="3258935"/>
                  <a:pt x="6682797" y="3260587"/>
                  <a:pt x="6687599" y="3261310"/>
                </a:cubicBezTo>
                <a:cubicBezTo>
                  <a:pt x="6691471" y="3264717"/>
                  <a:pt x="6678150" y="3259141"/>
                  <a:pt x="6677221" y="3261826"/>
                </a:cubicBezTo>
                <a:cubicBezTo>
                  <a:pt x="6681713" y="3263995"/>
                  <a:pt x="6689458" y="3266369"/>
                  <a:pt x="6697822" y="3267402"/>
                </a:cubicBezTo>
                <a:cubicBezTo>
                  <a:pt x="6705257" y="3268951"/>
                  <a:pt x="6713467" y="3268434"/>
                  <a:pt x="6717804" y="3264511"/>
                </a:cubicBezTo>
                <a:cubicBezTo>
                  <a:pt x="6719043" y="3264924"/>
                  <a:pt x="6721366" y="3266472"/>
                  <a:pt x="6723225" y="3267712"/>
                </a:cubicBezTo>
                <a:cubicBezTo>
                  <a:pt x="6724464" y="3268125"/>
                  <a:pt x="6726633" y="3268022"/>
                  <a:pt x="6727407" y="3265957"/>
                </a:cubicBezTo>
                <a:cubicBezTo>
                  <a:pt x="6731280" y="3271739"/>
                  <a:pt x="6737785" y="3273804"/>
                  <a:pt x="6744601" y="3275146"/>
                </a:cubicBezTo>
                <a:cubicBezTo>
                  <a:pt x="6748163" y="3275456"/>
                  <a:pt x="6750797" y="3276179"/>
                  <a:pt x="6753585" y="3276282"/>
                </a:cubicBezTo>
                <a:cubicBezTo>
                  <a:pt x="6756218" y="3277108"/>
                  <a:pt x="6758851" y="3277934"/>
                  <a:pt x="6759626" y="3279793"/>
                </a:cubicBezTo>
                <a:cubicBezTo>
                  <a:pt x="6757302" y="3280516"/>
                  <a:pt x="6753275" y="3279276"/>
                  <a:pt x="6750642" y="3280722"/>
                </a:cubicBezTo>
                <a:lnTo>
                  <a:pt x="6750642" y="3287697"/>
                </a:lnTo>
                <a:lnTo>
                  <a:pt x="6750022" y="3286608"/>
                </a:lnTo>
                <a:cubicBezTo>
                  <a:pt x="6743981" y="3285472"/>
                  <a:pt x="6736546" y="3281652"/>
                  <a:pt x="6733448" y="3284439"/>
                </a:cubicBezTo>
                <a:cubicBezTo>
                  <a:pt x="6729731" y="3282581"/>
                  <a:pt x="6732054" y="3277934"/>
                  <a:pt x="6725549" y="3277521"/>
                </a:cubicBezTo>
                <a:cubicBezTo>
                  <a:pt x="6724309" y="3277108"/>
                  <a:pt x="6723225" y="3278244"/>
                  <a:pt x="6721831" y="3277831"/>
                </a:cubicBezTo>
                <a:cubicBezTo>
                  <a:pt x="6719198" y="3277108"/>
                  <a:pt x="6722605" y="3284130"/>
                  <a:pt x="6718269" y="3284233"/>
                </a:cubicBezTo>
                <a:cubicBezTo>
                  <a:pt x="6714706" y="3283923"/>
                  <a:pt x="6716255" y="3273081"/>
                  <a:pt x="6712537" y="3279483"/>
                </a:cubicBezTo>
                <a:cubicBezTo>
                  <a:pt x="6708510" y="3276695"/>
                  <a:pt x="6704328" y="3274010"/>
                  <a:pt x="6699216" y="3271635"/>
                </a:cubicBezTo>
                <a:cubicBezTo>
                  <a:pt x="6694260" y="3269364"/>
                  <a:pt x="6688993" y="3267712"/>
                  <a:pt x="6683726" y="3266163"/>
                </a:cubicBezTo>
                <a:cubicBezTo>
                  <a:pt x="6677686" y="3265027"/>
                  <a:pt x="6671800" y="3263168"/>
                  <a:pt x="6664984" y="3261826"/>
                </a:cubicBezTo>
                <a:cubicBezTo>
                  <a:pt x="6661422" y="3261516"/>
                  <a:pt x="6658788" y="3260690"/>
                  <a:pt x="6654606" y="3260174"/>
                </a:cubicBezTo>
                <a:cubicBezTo>
                  <a:pt x="6651198" y="3259761"/>
                  <a:pt x="6647636" y="3259451"/>
                  <a:pt x="6644073" y="3259141"/>
                </a:cubicBezTo>
                <a:cubicBezTo>
                  <a:pt x="6642059" y="3254701"/>
                  <a:pt x="6636948" y="3252430"/>
                  <a:pt x="6630907" y="3251294"/>
                </a:cubicBezTo>
                <a:cubicBezTo>
                  <a:pt x="6625331" y="3250365"/>
                  <a:pt x="6619445" y="3250778"/>
                  <a:pt x="6615262" y="3250158"/>
                </a:cubicBezTo>
                <a:cubicBezTo>
                  <a:pt x="6614488" y="3254495"/>
                  <a:pt x="6626260" y="3249848"/>
                  <a:pt x="6622852" y="3255528"/>
                </a:cubicBezTo>
                <a:cubicBezTo>
                  <a:pt x="6617276" y="3254598"/>
                  <a:pt x="6613558" y="3255011"/>
                  <a:pt x="6609841" y="3255321"/>
                </a:cubicBezTo>
                <a:cubicBezTo>
                  <a:pt x="6616657" y="3246131"/>
                  <a:pt x="6592493" y="3248506"/>
                  <a:pt x="6587071" y="3247577"/>
                </a:cubicBezTo>
                <a:cubicBezTo>
                  <a:pt x="6587071" y="3249848"/>
                  <a:pt x="6589085" y="3250468"/>
                  <a:pt x="6591099" y="3251088"/>
                </a:cubicBezTo>
                <a:cubicBezTo>
                  <a:pt x="6593267" y="3250984"/>
                  <a:pt x="6596055" y="3251088"/>
                  <a:pt x="6598689" y="3251914"/>
                </a:cubicBezTo>
                <a:cubicBezTo>
                  <a:pt x="6596210" y="3252636"/>
                  <a:pt x="6593732" y="3253462"/>
                  <a:pt x="6591563" y="3253462"/>
                </a:cubicBezTo>
                <a:cubicBezTo>
                  <a:pt x="6589240" y="3254289"/>
                  <a:pt x="6586916" y="3254289"/>
                  <a:pt x="6584748" y="3254392"/>
                </a:cubicBezTo>
                <a:cubicBezTo>
                  <a:pt x="6579636" y="3254289"/>
                  <a:pt x="6574835" y="3253566"/>
                  <a:pt x="6570343" y="3252223"/>
                </a:cubicBezTo>
                <a:cubicBezTo>
                  <a:pt x="6560274" y="3249848"/>
                  <a:pt x="6549432" y="3247267"/>
                  <a:pt x="6539363" y="3249435"/>
                </a:cubicBezTo>
                <a:cubicBezTo>
                  <a:pt x="6539828" y="3245822"/>
                  <a:pt x="6534252" y="3247061"/>
                  <a:pt x="6534252" y="3244892"/>
                </a:cubicBezTo>
                <a:cubicBezTo>
                  <a:pt x="6530379" y="3246647"/>
                  <a:pt x="6526507" y="3247473"/>
                  <a:pt x="6522634" y="3247887"/>
                </a:cubicBezTo>
                <a:lnTo>
                  <a:pt x="6512101" y="3248093"/>
                </a:lnTo>
                <a:lnTo>
                  <a:pt x="6512101" y="3250055"/>
                </a:lnTo>
                <a:cubicBezTo>
                  <a:pt x="6511792" y="3252739"/>
                  <a:pt x="6511327" y="3255528"/>
                  <a:pt x="6510398" y="3258109"/>
                </a:cubicBezTo>
                <a:lnTo>
                  <a:pt x="6505751" y="3264614"/>
                </a:lnTo>
                <a:lnTo>
                  <a:pt x="6511172" y="3261723"/>
                </a:lnTo>
                <a:cubicBezTo>
                  <a:pt x="6513496" y="3259658"/>
                  <a:pt x="6515819" y="3257593"/>
                  <a:pt x="6519381" y="3256767"/>
                </a:cubicBezTo>
                <a:cubicBezTo>
                  <a:pt x="6518607" y="3256560"/>
                  <a:pt x="6519072" y="3259761"/>
                  <a:pt x="6519072" y="3259761"/>
                </a:cubicBezTo>
                <a:cubicBezTo>
                  <a:pt x="6523254" y="3258005"/>
                  <a:pt x="6533167" y="3250468"/>
                  <a:pt x="6534097" y="3260587"/>
                </a:cubicBezTo>
                <a:cubicBezTo>
                  <a:pt x="6531618" y="3259141"/>
                  <a:pt x="6528830" y="3258935"/>
                  <a:pt x="6526352" y="3259658"/>
                </a:cubicBezTo>
                <a:cubicBezTo>
                  <a:pt x="6523874" y="3260484"/>
                  <a:pt x="6521705" y="3262756"/>
                  <a:pt x="6522324" y="3265234"/>
                </a:cubicBezTo>
                <a:cubicBezTo>
                  <a:pt x="6526352" y="3261929"/>
                  <a:pt x="6534716" y="3263065"/>
                  <a:pt x="6544320" y="3264511"/>
                </a:cubicBezTo>
                <a:cubicBezTo>
                  <a:pt x="6548657" y="3264407"/>
                  <a:pt x="6553613" y="3265130"/>
                  <a:pt x="6558570" y="3265130"/>
                </a:cubicBezTo>
                <a:cubicBezTo>
                  <a:pt x="6563527" y="3265853"/>
                  <a:pt x="6567864" y="3265750"/>
                  <a:pt x="6572666" y="3264201"/>
                </a:cubicBezTo>
                <a:cubicBezTo>
                  <a:pt x="6574060" y="3264614"/>
                  <a:pt x="6573905" y="3266886"/>
                  <a:pt x="6573905" y="3269054"/>
                </a:cubicBezTo>
                <a:cubicBezTo>
                  <a:pt x="6578552" y="3268228"/>
                  <a:pt x="6583818" y="3267608"/>
                  <a:pt x="6588775" y="3268434"/>
                </a:cubicBezTo>
                <a:cubicBezTo>
                  <a:pt x="6594197" y="3269364"/>
                  <a:pt x="6598998" y="3270087"/>
                  <a:pt x="6604575" y="3271016"/>
                </a:cubicBezTo>
                <a:cubicBezTo>
                  <a:pt x="6609067" y="3272462"/>
                  <a:pt x="6613868" y="3273184"/>
                  <a:pt x="6618825" y="3273907"/>
                </a:cubicBezTo>
                <a:cubicBezTo>
                  <a:pt x="6623007" y="3274424"/>
                  <a:pt x="6627035" y="3275043"/>
                  <a:pt x="6630907" y="3274630"/>
                </a:cubicBezTo>
                <a:cubicBezTo>
                  <a:pt x="6631062" y="3276179"/>
                  <a:pt x="6630597" y="3277521"/>
                  <a:pt x="6630133" y="3278863"/>
                </a:cubicBezTo>
                <a:cubicBezTo>
                  <a:pt x="6636018" y="3274010"/>
                  <a:pt x="6640201" y="3276798"/>
                  <a:pt x="6646242" y="3280102"/>
                </a:cubicBezTo>
                <a:cubicBezTo>
                  <a:pt x="6639116" y="3280206"/>
                  <a:pt x="6642834" y="3284336"/>
                  <a:pt x="6633385" y="3282168"/>
                </a:cubicBezTo>
                <a:cubicBezTo>
                  <a:pt x="6641595" y="3285472"/>
                  <a:pt x="6651353" y="3284749"/>
                  <a:pt x="6656775" y="3292390"/>
                </a:cubicBezTo>
                <a:cubicBezTo>
                  <a:pt x="6657394" y="3290325"/>
                  <a:pt x="6658169" y="3288260"/>
                  <a:pt x="6656155" y="3287640"/>
                </a:cubicBezTo>
                <a:cubicBezTo>
                  <a:pt x="6658788" y="3286298"/>
                  <a:pt x="6666069" y="3292287"/>
                  <a:pt x="6669011" y="3294662"/>
                </a:cubicBezTo>
                <a:cubicBezTo>
                  <a:pt x="6670715" y="3293732"/>
                  <a:pt x="6680629" y="3294455"/>
                  <a:pt x="6676292" y="3290119"/>
                </a:cubicBezTo>
                <a:cubicBezTo>
                  <a:pt x="6682178" y="3291977"/>
                  <a:pt x="6687444" y="3293526"/>
                  <a:pt x="6693640" y="3294765"/>
                </a:cubicBezTo>
                <a:cubicBezTo>
                  <a:pt x="6699526" y="3296520"/>
                  <a:pt x="6705567" y="3297759"/>
                  <a:pt x="6711608" y="3299515"/>
                </a:cubicBezTo>
                <a:cubicBezTo>
                  <a:pt x="6709749" y="3304987"/>
                  <a:pt x="6703553" y="3301580"/>
                  <a:pt x="6705722" y="3308292"/>
                </a:cubicBezTo>
                <a:cubicBezTo>
                  <a:pt x="6699836" y="3306433"/>
                  <a:pt x="6695034" y="3303438"/>
                  <a:pt x="6689768" y="3301787"/>
                </a:cubicBezTo>
                <a:cubicBezTo>
                  <a:pt x="6685121" y="3300444"/>
                  <a:pt x="6680319" y="3299721"/>
                  <a:pt x="6674743" y="3303232"/>
                </a:cubicBezTo>
                <a:cubicBezTo>
                  <a:pt x="6672729" y="3302612"/>
                  <a:pt x="6674123" y="3300754"/>
                  <a:pt x="6674123" y="3298482"/>
                </a:cubicBezTo>
                <a:cubicBezTo>
                  <a:pt x="6672574" y="3298792"/>
                  <a:pt x="6672419" y="3301787"/>
                  <a:pt x="6670405" y="3301167"/>
                </a:cubicBezTo>
                <a:cubicBezTo>
                  <a:pt x="6671954" y="3303129"/>
                  <a:pt x="6676601" y="3306123"/>
                  <a:pt x="6681093" y="3308188"/>
                </a:cubicBezTo>
                <a:cubicBezTo>
                  <a:pt x="6685585" y="3309634"/>
                  <a:pt x="6690387" y="3310357"/>
                  <a:pt x="6693175" y="3306639"/>
                </a:cubicBezTo>
                <a:cubicBezTo>
                  <a:pt x="6696428" y="3309944"/>
                  <a:pt x="6702469" y="3311079"/>
                  <a:pt x="6705102" y="3314177"/>
                </a:cubicBezTo>
                <a:cubicBezTo>
                  <a:pt x="6703553" y="3317481"/>
                  <a:pt x="6702779" y="3320166"/>
                  <a:pt x="6700920" y="3321715"/>
                </a:cubicBezTo>
                <a:lnTo>
                  <a:pt x="6699836" y="3322231"/>
                </a:lnTo>
                <a:lnTo>
                  <a:pt x="6701230" y="3323883"/>
                </a:lnTo>
                <a:cubicBezTo>
                  <a:pt x="6703398" y="3325432"/>
                  <a:pt x="6706186" y="3326465"/>
                  <a:pt x="6709129" y="3327394"/>
                </a:cubicBezTo>
                <a:cubicBezTo>
                  <a:pt x="6715171" y="3328530"/>
                  <a:pt x="6721366" y="3329665"/>
                  <a:pt x="6726323" y="3331937"/>
                </a:cubicBezTo>
                <a:cubicBezTo>
                  <a:pt x="6727872" y="3333899"/>
                  <a:pt x="6730350" y="3335448"/>
                  <a:pt x="6732519" y="3337616"/>
                </a:cubicBezTo>
                <a:cubicBezTo>
                  <a:pt x="6733603" y="3338752"/>
                  <a:pt x="6735307" y="3339991"/>
                  <a:pt x="6736546" y="3340404"/>
                </a:cubicBezTo>
                <a:cubicBezTo>
                  <a:pt x="6737630" y="3341437"/>
                  <a:pt x="6739334" y="3342779"/>
                  <a:pt x="6740418" y="3343915"/>
                </a:cubicBezTo>
                <a:cubicBezTo>
                  <a:pt x="6746305" y="3347942"/>
                  <a:pt x="6753430" y="3352382"/>
                  <a:pt x="6759936" y="3356615"/>
                </a:cubicBezTo>
                <a:cubicBezTo>
                  <a:pt x="6767216" y="3361159"/>
                  <a:pt x="6773721" y="3365392"/>
                  <a:pt x="6780072" y="3370349"/>
                </a:cubicBezTo>
                <a:cubicBezTo>
                  <a:pt x="6785803" y="3374375"/>
                  <a:pt x="6790605" y="3379641"/>
                  <a:pt x="6794322" y="3383772"/>
                </a:cubicBezTo>
                <a:cubicBezTo>
                  <a:pt x="6796491" y="3381500"/>
                  <a:pt x="6798350" y="3382842"/>
                  <a:pt x="6800518" y="3385011"/>
                </a:cubicBezTo>
                <a:cubicBezTo>
                  <a:pt x="6801603" y="3386043"/>
                  <a:pt x="6802842" y="3386457"/>
                  <a:pt x="6804546" y="3387799"/>
                </a:cubicBezTo>
                <a:cubicBezTo>
                  <a:pt x="6806559" y="3388315"/>
                  <a:pt x="6808573" y="3388934"/>
                  <a:pt x="6811361" y="3389038"/>
                </a:cubicBezTo>
                <a:cubicBezTo>
                  <a:pt x="6809657" y="3389967"/>
                  <a:pt x="6807644" y="3389451"/>
                  <a:pt x="6806405" y="3390587"/>
                </a:cubicBezTo>
                <a:cubicBezTo>
                  <a:pt x="6814304" y="3393065"/>
                  <a:pt x="6821739" y="3396782"/>
                  <a:pt x="6829174" y="3400602"/>
                </a:cubicBezTo>
                <a:cubicBezTo>
                  <a:pt x="6836299" y="3405042"/>
                  <a:pt x="6843115" y="3408657"/>
                  <a:pt x="6851634" y="3411341"/>
                </a:cubicBezTo>
                <a:cubicBezTo>
                  <a:pt x="6855042" y="3407830"/>
                  <a:pt x="6842805" y="3405456"/>
                  <a:pt x="6848381" y="3401945"/>
                </a:cubicBezTo>
                <a:cubicBezTo>
                  <a:pt x="6851789" y="3404526"/>
                  <a:pt x="6854577" y="3406901"/>
                  <a:pt x="6856746" y="3409069"/>
                </a:cubicBezTo>
                <a:cubicBezTo>
                  <a:pt x="6859379" y="3412167"/>
                  <a:pt x="6861548" y="3414335"/>
                  <a:pt x="6862941" y="3416297"/>
                </a:cubicBezTo>
                <a:cubicBezTo>
                  <a:pt x="6867588" y="3420015"/>
                  <a:pt x="6872235" y="3422906"/>
                  <a:pt x="6879051" y="3424248"/>
                </a:cubicBezTo>
                <a:cubicBezTo>
                  <a:pt x="6877347" y="3427449"/>
                  <a:pt x="6879825" y="3430547"/>
                  <a:pt x="6880290" y="3433644"/>
                </a:cubicBezTo>
                <a:cubicBezTo>
                  <a:pt x="6881529" y="3434470"/>
                  <a:pt x="6882768" y="3433128"/>
                  <a:pt x="6884163" y="3432302"/>
                </a:cubicBezTo>
                <a:lnTo>
                  <a:pt x="6884782" y="3432199"/>
                </a:lnTo>
                <a:lnTo>
                  <a:pt x="6884782" y="3435090"/>
                </a:lnTo>
                <a:lnTo>
                  <a:pt x="6884008" y="3435090"/>
                </a:lnTo>
                <a:cubicBezTo>
                  <a:pt x="6883543" y="3435090"/>
                  <a:pt x="6883078" y="3435297"/>
                  <a:pt x="6882459" y="3435916"/>
                </a:cubicBezTo>
                <a:lnTo>
                  <a:pt x="6884782" y="3437465"/>
                </a:lnTo>
                <a:lnTo>
                  <a:pt x="6884782" y="4413133"/>
                </a:lnTo>
                <a:lnTo>
                  <a:pt x="6884627" y="4413133"/>
                </a:lnTo>
                <a:cubicBezTo>
                  <a:pt x="6883543" y="4413856"/>
                  <a:pt x="6882304" y="4414888"/>
                  <a:pt x="6881219" y="4416024"/>
                </a:cubicBezTo>
                <a:cubicBezTo>
                  <a:pt x="6878276" y="4418193"/>
                  <a:pt x="6876573" y="4421394"/>
                  <a:pt x="6874094" y="4424388"/>
                </a:cubicBezTo>
                <a:cubicBezTo>
                  <a:pt x="6871771" y="4426763"/>
                  <a:pt x="6870067" y="4429861"/>
                  <a:pt x="6867743" y="4432235"/>
                </a:cubicBezTo>
                <a:cubicBezTo>
                  <a:pt x="6867433" y="4429034"/>
                  <a:pt x="6868983" y="4426556"/>
                  <a:pt x="6870531" y="4423975"/>
                </a:cubicBezTo>
                <a:cubicBezTo>
                  <a:pt x="6872080" y="4421497"/>
                  <a:pt x="6874559" y="4418502"/>
                  <a:pt x="6875488" y="4415817"/>
                </a:cubicBezTo>
                <a:cubicBezTo>
                  <a:pt x="6873319" y="4415921"/>
                  <a:pt x="6869912" y="4417057"/>
                  <a:pt x="6868363" y="4419638"/>
                </a:cubicBezTo>
                <a:cubicBezTo>
                  <a:pt x="6866349" y="4421290"/>
                  <a:pt x="6865420" y="4423975"/>
                  <a:pt x="6868208" y="4426350"/>
                </a:cubicBezTo>
                <a:cubicBezTo>
                  <a:pt x="6862477" y="4428311"/>
                  <a:pt x="6861548" y="4431100"/>
                  <a:pt x="6857055" y="4435643"/>
                </a:cubicBezTo>
                <a:cubicBezTo>
                  <a:pt x="6851634" y="4436985"/>
                  <a:pt x="6863871" y="4428725"/>
                  <a:pt x="6861083" y="4426350"/>
                </a:cubicBezTo>
                <a:cubicBezTo>
                  <a:pt x="6854267" y="4425007"/>
                  <a:pt x="6841411" y="4439153"/>
                  <a:pt x="6840327" y="4440289"/>
                </a:cubicBezTo>
                <a:cubicBezTo>
                  <a:pt x="6836609" y="4442974"/>
                  <a:pt x="6833356" y="4445659"/>
                  <a:pt x="6834596" y="4444523"/>
                </a:cubicBezTo>
                <a:cubicBezTo>
                  <a:pt x="6828245" y="4452370"/>
                  <a:pt x="6821274" y="4449479"/>
                  <a:pt x="6816473" y="4452577"/>
                </a:cubicBezTo>
                <a:cubicBezTo>
                  <a:pt x="6814769" y="4453506"/>
                  <a:pt x="6815698" y="4459082"/>
                  <a:pt x="6811361" y="4461457"/>
                </a:cubicBezTo>
                <a:cubicBezTo>
                  <a:pt x="6805940" y="4464348"/>
                  <a:pt x="6797111" y="4469098"/>
                  <a:pt x="6788437" y="4475500"/>
                </a:cubicBezTo>
                <a:cubicBezTo>
                  <a:pt x="6786423" y="4477152"/>
                  <a:pt x="6784409" y="4478804"/>
                  <a:pt x="6781621" y="4480249"/>
                </a:cubicBezTo>
                <a:cubicBezTo>
                  <a:pt x="6779607" y="4481798"/>
                  <a:pt x="6777594" y="4483450"/>
                  <a:pt x="6775580" y="4485103"/>
                </a:cubicBezTo>
                <a:lnTo>
                  <a:pt x="6772327" y="4488613"/>
                </a:lnTo>
                <a:lnTo>
                  <a:pt x="6772327" y="4490575"/>
                </a:lnTo>
                <a:cubicBezTo>
                  <a:pt x="6770623" y="4498319"/>
                  <a:pt x="6764272" y="4508026"/>
                  <a:pt x="6753895" y="4507922"/>
                </a:cubicBezTo>
                <a:cubicBezTo>
                  <a:pt x="6753275" y="4499868"/>
                  <a:pt x="6755598" y="4494912"/>
                  <a:pt x="6759161" y="4491504"/>
                </a:cubicBezTo>
                <a:lnTo>
                  <a:pt x="6761020" y="4490472"/>
                </a:lnTo>
                <a:lnTo>
                  <a:pt x="6757302" y="4491298"/>
                </a:lnTo>
                <a:cubicBezTo>
                  <a:pt x="6753430" y="4492950"/>
                  <a:pt x="6749403" y="4495944"/>
                  <a:pt x="6746615" y="4498009"/>
                </a:cubicBezTo>
                <a:cubicBezTo>
                  <a:pt x="6747854" y="4498423"/>
                  <a:pt x="6750642" y="4496977"/>
                  <a:pt x="6751571" y="4500281"/>
                </a:cubicBezTo>
                <a:cubicBezTo>
                  <a:pt x="6743361" y="4502966"/>
                  <a:pt x="6726478" y="4501520"/>
                  <a:pt x="6725549" y="4512569"/>
                </a:cubicBezTo>
                <a:cubicBezTo>
                  <a:pt x="6722760" y="4514737"/>
                  <a:pt x="6722141" y="4512259"/>
                  <a:pt x="6720592" y="4510297"/>
                </a:cubicBezTo>
                <a:cubicBezTo>
                  <a:pt x="6714086" y="4514324"/>
                  <a:pt x="6713467" y="4514118"/>
                  <a:pt x="6710369" y="4516905"/>
                </a:cubicBezTo>
                <a:cubicBezTo>
                  <a:pt x="6710988" y="4519383"/>
                  <a:pt x="6712692" y="4518454"/>
                  <a:pt x="6715016" y="4518351"/>
                </a:cubicBezTo>
                <a:cubicBezTo>
                  <a:pt x="6710679" y="4526818"/>
                  <a:pt x="6702314" y="4521242"/>
                  <a:pt x="6694879" y="4530226"/>
                </a:cubicBezTo>
                <a:cubicBezTo>
                  <a:pt x="6693950" y="4524649"/>
                  <a:pt x="6686979" y="4530019"/>
                  <a:pt x="6684191" y="4527644"/>
                </a:cubicBezTo>
                <a:cubicBezTo>
                  <a:pt x="6680009" y="4531671"/>
                  <a:pt x="6673658" y="4534975"/>
                  <a:pt x="6667153" y="4539002"/>
                </a:cubicBezTo>
                <a:cubicBezTo>
                  <a:pt x="6663900" y="4540241"/>
                  <a:pt x="6660337" y="4542203"/>
                  <a:pt x="6656775" y="4544062"/>
                </a:cubicBezTo>
                <a:cubicBezTo>
                  <a:pt x="6653212" y="4546024"/>
                  <a:pt x="6649030" y="4547779"/>
                  <a:pt x="6645777" y="4549018"/>
                </a:cubicBezTo>
                <a:cubicBezTo>
                  <a:pt x="6638032" y="4552632"/>
                  <a:pt x="6629823" y="4555317"/>
                  <a:pt x="6622388" y="4557588"/>
                </a:cubicBezTo>
                <a:lnTo>
                  <a:pt x="6609376" y="4560479"/>
                </a:lnTo>
                <a:lnTo>
                  <a:pt x="6611855" y="4564713"/>
                </a:lnTo>
                <a:cubicBezTo>
                  <a:pt x="6609686" y="4564610"/>
                  <a:pt x="6607518" y="4563887"/>
                  <a:pt x="6605504" y="4562855"/>
                </a:cubicBezTo>
                <a:lnTo>
                  <a:pt x="6603955" y="4561719"/>
                </a:lnTo>
                <a:lnTo>
                  <a:pt x="6599618" y="4562648"/>
                </a:lnTo>
                <a:cubicBezTo>
                  <a:pt x="6597139" y="4565642"/>
                  <a:pt x="6594351" y="4567707"/>
                  <a:pt x="6591718" y="4569153"/>
                </a:cubicBezTo>
                <a:lnTo>
                  <a:pt x="6589395" y="4569669"/>
                </a:lnTo>
                <a:lnTo>
                  <a:pt x="6595901" y="4583093"/>
                </a:lnTo>
                <a:lnTo>
                  <a:pt x="6598069" y="4600233"/>
                </a:lnTo>
                <a:lnTo>
                  <a:pt x="6603180" y="4601472"/>
                </a:lnTo>
                <a:cubicBezTo>
                  <a:pt x="6611080" y="4601679"/>
                  <a:pt x="6618670" y="4598168"/>
                  <a:pt x="6627035" y="4604364"/>
                </a:cubicBezTo>
                <a:cubicBezTo>
                  <a:pt x="6624711" y="4608080"/>
                  <a:pt x="6617276" y="4609939"/>
                  <a:pt x="6610151" y="4609320"/>
                </a:cubicBezTo>
                <a:cubicBezTo>
                  <a:pt x="6606588" y="4609010"/>
                  <a:pt x="6603025" y="4608080"/>
                  <a:pt x="6600237" y="4606429"/>
                </a:cubicBezTo>
                <a:lnTo>
                  <a:pt x="6598534" y="4604054"/>
                </a:lnTo>
                <a:lnTo>
                  <a:pt x="6598843" y="4605809"/>
                </a:lnTo>
                <a:cubicBezTo>
                  <a:pt x="6598689" y="4613553"/>
                  <a:pt x="6597294" y="4621194"/>
                  <a:pt x="6594971" y="4628526"/>
                </a:cubicBezTo>
                <a:cubicBezTo>
                  <a:pt x="6589550" y="4646182"/>
                  <a:pt x="6578242" y="4661877"/>
                  <a:pt x="6562753" y="4671686"/>
                </a:cubicBezTo>
                <a:cubicBezTo>
                  <a:pt x="6550825" y="4679947"/>
                  <a:pt x="6538744" y="4683251"/>
                  <a:pt x="6526971" y="4682632"/>
                </a:cubicBezTo>
                <a:lnTo>
                  <a:pt x="6522479" y="4681909"/>
                </a:lnTo>
                <a:lnTo>
                  <a:pt x="6521240" y="4682941"/>
                </a:lnTo>
                <a:cubicBezTo>
                  <a:pt x="6519691" y="4683871"/>
                  <a:pt x="6517988" y="4684594"/>
                  <a:pt x="6516748" y="4685007"/>
                </a:cubicBezTo>
                <a:cubicBezTo>
                  <a:pt x="6516593" y="4684180"/>
                  <a:pt x="6517058" y="4683458"/>
                  <a:pt x="6517523" y="4682632"/>
                </a:cubicBezTo>
                <a:lnTo>
                  <a:pt x="6519072" y="4681289"/>
                </a:lnTo>
                <a:lnTo>
                  <a:pt x="6512566" y="4680154"/>
                </a:lnTo>
                <a:cubicBezTo>
                  <a:pt x="6498625" y="4675713"/>
                  <a:pt x="6485614" y="4666111"/>
                  <a:pt x="6474617" y="4653410"/>
                </a:cubicBezTo>
                <a:lnTo>
                  <a:pt x="6471984" y="4649073"/>
                </a:lnTo>
                <a:lnTo>
                  <a:pt x="6471364" y="4649590"/>
                </a:lnTo>
                <a:cubicBezTo>
                  <a:pt x="6471519" y="4649796"/>
                  <a:pt x="6471674" y="4649900"/>
                  <a:pt x="6471674" y="4649900"/>
                </a:cubicBezTo>
                <a:cubicBezTo>
                  <a:pt x="6471674" y="4649900"/>
                  <a:pt x="6470899" y="4649486"/>
                  <a:pt x="6470899" y="4649486"/>
                </a:cubicBezTo>
                <a:cubicBezTo>
                  <a:pt x="6470899" y="4649486"/>
                  <a:pt x="6470899" y="4649383"/>
                  <a:pt x="6468576" y="4650106"/>
                </a:cubicBezTo>
                <a:cubicBezTo>
                  <a:pt x="6466098" y="4651551"/>
                  <a:pt x="6465633" y="4652274"/>
                  <a:pt x="6464239" y="4653410"/>
                </a:cubicBezTo>
                <a:cubicBezTo>
                  <a:pt x="6462070" y="4654030"/>
                  <a:pt x="6461296" y="4653617"/>
                  <a:pt x="6458353" y="4653927"/>
                </a:cubicBezTo>
                <a:cubicBezTo>
                  <a:pt x="6457113" y="4652274"/>
                  <a:pt x="6457113" y="4652274"/>
                  <a:pt x="6457578" y="4651551"/>
                </a:cubicBezTo>
                <a:cubicBezTo>
                  <a:pt x="6457113" y="4652274"/>
                  <a:pt x="6456339" y="4651862"/>
                  <a:pt x="6455255" y="4652171"/>
                </a:cubicBezTo>
                <a:cubicBezTo>
                  <a:pt x="6451227" y="4654649"/>
                  <a:pt x="6448284" y="4650932"/>
                  <a:pt x="6445806" y="4645769"/>
                </a:cubicBezTo>
                <a:lnTo>
                  <a:pt x="6445961" y="4644633"/>
                </a:lnTo>
                <a:lnTo>
                  <a:pt x="6444412" y="4643601"/>
                </a:lnTo>
                <a:lnTo>
                  <a:pt x="6445651" y="4641845"/>
                </a:lnTo>
                <a:lnTo>
                  <a:pt x="6445342" y="4640710"/>
                </a:lnTo>
                <a:lnTo>
                  <a:pt x="6445651" y="4640193"/>
                </a:lnTo>
                <a:lnTo>
                  <a:pt x="6442243" y="4639367"/>
                </a:lnTo>
                <a:cubicBezTo>
                  <a:pt x="6443173" y="4636993"/>
                  <a:pt x="6443638" y="4635857"/>
                  <a:pt x="6443792" y="4633895"/>
                </a:cubicBezTo>
                <a:cubicBezTo>
                  <a:pt x="6445342" y="4634514"/>
                  <a:pt x="6446890" y="4634824"/>
                  <a:pt x="6448130" y="4635031"/>
                </a:cubicBezTo>
                <a:lnTo>
                  <a:pt x="6451382" y="4635650"/>
                </a:lnTo>
                <a:lnTo>
                  <a:pt x="6455874" y="4632552"/>
                </a:lnTo>
                <a:lnTo>
                  <a:pt x="6451537" y="4632036"/>
                </a:lnTo>
                <a:cubicBezTo>
                  <a:pt x="6448749" y="4631107"/>
                  <a:pt x="6446116" y="4629661"/>
                  <a:pt x="6443947" y="4627699"/>
                </a:cubicBezTo>
                <a:lnTo>
                  <a:pt x="6443328" y="4626976"/>
                </a:lnTo>
                <a:lnTo>
                  <a:pt x="6443947" y="4628422"/>
                </a:lnTo>
                <a:cubicBezTo>
                  <a:pt x="6443792" y="4629661"/>
                  <a:pt x="6443638" y="4629661"/>
                  <a:pt x="6443018" y="4630074"/>
                </a:cubicBezTo>
                <a:cubicBezTo>
                  <a:pt x="6442088" y="4631726"/>
                  <a:pt x="6441934" y="4632966"/>
                  <a:pt x="6440075" y="4633069"/>
                </a:cubicBezTo>
                <a:cubicBezTo>
                  <a:pt x="6438526" y="4633069"/>
                  <a:pt x="6437752" y="4632449"/>
                  <a:pt x="6437287" y="4631520"/>
                </a:cubicBezTo>
                <a:cubicBezTo>
                  <a:pt x="6436822" y="4630694"/>
                  <a:pt x="6436667" y="4629351"/>
                  <a:pt x="6436512" y="4627803"/>
                </a:cubicBezTo>
                <a:cubicBezTo>
                  <a:pt x="6436357" y="4624602"/>
                  <a:pt x="6438991" y="4623982"/>
                  <a:pt x="6439300" y="4621504"/>
                </a:cubicBezTo>
                <a:lnTo>
                  <a:pt x="6440695" y="4622433"/>
                </a:lnTo>
                <a:lnTo>
                  <a:pt x="6444876" y="4615309"/>
                </a:lnTo>
                <a:cubicBezTo>
                  <a:pt x="6446890" y="4613243"/>
                  <a:pt x="6449214" y="4611798"/>
                  <a:pt x="6451692" y="4610869"/>
                </a:cubicBezTo>
                <a:lnTo>
                  <a:pt x="6456494" y="4610042"/>
                </a:lnTo>
                <a:lnTo>
                  <a:pt x="6453396" y="4607874"/>
                </a:lnTo>
                <a:cubicBezTo>
                  <a:pt x="6450298" y="4604776"/>
                  <a:pt x="6447510" y="4600749"/>
                  <a:pt x="6445496" y="4595483"/>
                </a:cubicBezTo>
                <a:lnTo>
                  <a:pt x="6446890" y="4593522"/>
                </a:lnTo>
                <a:lnTo>
                  <a:pt x="6444567" y="4593831"/>
                </a:lnTo>
                <a:cubicBezTo>
                  <a:pt x="6437752" y="4594761"/>
                  <a:pt x="6431091" y="4594967"/>
                  <a:pt x="6424585" y="4595174"/>
                </a:cubicBezTo>
                <a:lnTo>
                  <a:pt x="6424120" y="4595174"/>
                </a:lnTo>
                <a:lnTo>
                  <a:pt x="6433414" y="4600233"/>
                </a:lnTo>
                <a:cubicBezTo>
                  <a:pt x="6436822" y="4602608"/>
                  <a:pt x="6439920" y="4605706"/>
                  <a:pt x="6442399" y="4610249"/>
                </a:cubicBezTo>
                <a:cubicBezTo>
                  <a:pt x="6435273" y="4612211"/>
                  <a:pt x="6429232" y="4606015"/>
                  <a:pt x="6425515" y="4600027"/>
                </a:cubicBezTo>
                <a:lnTo>
                  <a:pt x="6423191" y="4595174"/>
                </a:lnTo>
                <a:lnTo>
                  <a:pt x="6413742" y="4594864"/>
                </a:lnTo>
                <a:cubicBezTo>
                  <a:pt x="6410954" y="4594761"/>
                  <a:pt x="6406772" y="4594244"/>
                  <a:pt x="6403209" y="4593935"/>
                </a:cubicBezTo>
                <a:cubicBezTo>
                  <a:pt x="6401041" y="4593935"/>
                  <a:pt x="6402125" y="4597239"/>
                  <a:pt x="6401351" y="4599304"/>
                </a:cubicBezTo>
                <a:lnTo>
                  <a:pt x="6395775" y="4599304"/>
                </a:lnTo>
                <a:lnTo>
                  <a:pt x="6397478" y="4602092"/>
                </a:lnTo>
                <a:cubicBezTo>
                  <a:pt x="6397788" y="4603537"/>
                  <a:pt x="6397633" y="4605293"/>
                  <a:pt x="6396859" y="4607461"/>
                </a:cubicBezTo>
                <a:cubicBezTo>
                  <a:pt x="6395620" y="4608287"/>
                  <a:pt x="6394380" y="4608907"/>
                  <a:pt x="6393141" y="4609113"/>
                </a:cubicBezTo>
                <a:cubicBezTo>
                  <a:pt x="6389579" y="4609836"/>
                  <a:pt x="6386326" y="4607977"/>
                  <a:pt x="6385861" y="4604776"/>
                </a:cubicBezTo>
                <a:cubicBezTo>
                  <a:pt x="6385706" y="4603331"/>
                  <a:pt x="6386016" y="4601679"/>
                  <a:pt x="6387100" y="4599820"/>
                </a:cubicBezTo>
                <a:lnTo>
                  <a:pt x="6389269" y="4598994"/>
                </a:lnTo>
                <a:lnTo>
                  <a:pt x="6382298" y="4597962"/>
                </a:lnTo>
                <a:cubicBezTo>
                  <a:pt x="6390198" y="4604157"/>
                  <a:pt x="6372230" y="4597858"/>
                  <a:pt x="6370217" y="4594967"/>
                </a:cubicBezTo>
                <a:cubicBezTo>
                  <a:pt x="6367429" y="4594864"/>
                  <a:pt x="6368668" y="4599820"/>
                  <a:pt x="6366189" y="4600543"/>
                </a:cubicBezTo>
                <a:cubicBezTo>
                  <a:pt x="6359994" y="4599407"/>
                  <a:pt x="6368513" y="4593728"/>
                  <a:pt x="6361852" y="4591663"/>
                </a:cubicBezTo>
                <a:cubicBezTo>
                  <a:pt x="6356896" y="4597652"/>
                  <a:pt x="6350235" y="4594038"/>
                  <a:pt x="6340631" y="4596413"/>
                </a:cubicBezTo>
                <a:cubicBezTo>
                  <a:pt x="6336294" y="4594347"/>
                  <a:pt x="6347757" y="4594864"/>
                  <a:pt x="6349461" y="4593935"/>
                </a:cubicBezTo>
                <a:cubicBezTo>
                  <a:pt x="6351164" y="4586913"/>
                  <a:pt x="6340167" y="4589495"/>
                  <a:pt x="6334745" y="4588565"/>
                </a:cubicBezTo>
                <a:lnTo>
                  <a:pt x="6334590" y="4588565"/>
                </a:lnTo>
                <a:lnTo>
                  <a:pt x="6335210" y="4594038"/>
                </a:lnTo>
                <a:cubicBezTo>
                  <a:pt x="6337069" y="4600336"/>
                  <a:pt x="6340941" y="4605809"/>
                  <a:pt x="6336449" y="4611281"/>
                </a:cubicBezTo>
                <a:cubicBezTo>
                  <a:pt x="6334126" y="4607874"/>
                  <a:pt x="6331648" y="4604673"/>
                  <a:pt x="6329789" y="4600853"/>
                </a:cubicBezTo>
                <a:cubicBezTo>
                  <a:pt x="6328859" y="4598994"/>
                  <a:pt x="6328085" y="4596929"/>
                  <a:pt x="6327775" y="4594554"/>
                </a:cubicBezTo>
                <a:lnTo>
                  <a:pt x="6327620" y="4592799"/>
                </a:lnTo>
                <a:lnTo>
                  <a:pt x="6325916" y="4590837"/>
                </a:lnTo>
                <a:cubicBezTo>
                  <a:pt x="6324212" y="4589081"/>
                  <a:pt x="6321889" y="4587636"/>
                  <a:pt x="6316622" y="4588255"/>
                </a:cubicBezTo>
                <a:cubicBezTo>
                  <a:pt x="6311976" y="4589081"/>
                  <a:pt x="6319101" y="4591973"/>
                  <a:pt x="6314764" y="4593728"/>
                </a:cubicBezTo>
                <a:lnTo>
                  <a:pt x="6311666" y="4591456"/>
                </a:lnTo>
                <a:lnTo>
                  <a:pt x="6311511" y="4593831"/>
                </a:lnTo>
                <a:cubicBezTo>
                  <a:pt x="6312285" y="4599510"/>
                  <a:pt x="6316003" y="4601885"/>
                  <a:pt x="6318172" y="4605706"/>
                </a:cubicBezTo>
                <a:cubicBezTo>
                  <a:pt x="6313370" y="4612314"/>
                  <a:pt x="6312750" y="4622846"/>
                  <a:pt x="6309342" y="4631416"/>
                </a:cubicBezTo>
                <a:cubicBezTo>
                  <a:pt x="6299429" y="4635960"/>
                  <a:pt x="6292304" y="4642465"/>
                  <a:pt x="6282236" y="4647008"/>
                </a:cubicBezTo>
                <a:cubicBezTo>
                  <a:pt x="6280067" y="4645460"/>
                  <a:pt x="6277434" y="4644427"/>
                  <a:pt x="6274491" y="4643704"/>
                </a:cubicBezTo>
                <a:lnTo>
                  <a:pt x="6267830" y="4642259"/>
                </a:lnTo>
                <a:lnTo>
                  <a:pt x="6268915" y="4645976"/>
                </a:lnTo>
                <a:cubicBezTo>
                  <a:pt x="6269689" y="4647421"/>
                  <a:pt x="6270308" y="4649177"/>
                  <a:pt x="6270154" y="4652584"/>
                </a:cubicBezTo>
                <a:cubicBezTo>
                  <a:pt x="6269999" y="4661258"/>
                  <a:pt x="6264422" y="4662806"/>
                  <a:pt x="6260085" y="4662394"/>
                </a:cubicBezTo>
                <a:cubicBezTo>
                  <a:pt x="6260240" y="4662084"/>
                  <a:pt x="6259775" y="4661877"/>
                  <a:pt x="6259311" y="4661671"/>
                </a:cubicBezTo>
                <a:lnTo>
                  <a:pt x="6257607" y="4660948"/>
                </a:lnTo>
                <a:lnTo>
                  <a:pt x="6254974" y="4661980"/>
                </a:lnTo>
                <a:cubicBezTo>
                  <a:pt x="6254199" y="4661877"/>
                  <a:pt x="6253425" y="4661464"/>
                  <a:pt x="6252495" y="4660638"/>
                </a:cubicBezTo>
                <a:cubicBezTo>
                  <a:pt x="6251566" y="4660741"/>
                  <a:pt x="6250327" y="4657334"/>
                  <a:pt x="6250947" y="4656405"/>
                </a:cubicBezTo>
                <a:lnTo>
                  <a:pt x="6251721" y="4655682"/>
                </a:lnTo>
                <a:lnTo>
                  <a:pt x="6250327" y="4650519"/>
                </a:lnTo>
                <a:cubicBezTo>
                  <a:pt x="6250327" y="4649383"/>
                  <a:pt x="6250637" y="4648350"/>
                  <a:pt x="6250792" y="4647215"/>
                </a:cubicBezTo>
                <a:cubicBezTo>
                  <a:pt x="6250482" y="4649073"/>
                  <a:pt x="6250017" y="4650932"/>
                  <a:pt x="6249552" y="4652171"/>
                </a:cubicBezTo>
                <a:lnTo>
                  <a:pt x="6248778" y="4653927"/>
                </a:lnTo>
                <a:lnTo>
                  <a:pt x="6249707" y="4654030"/>
                </a:lnTo>
                <a:lnTo>
                  <a:pt x="6248623" y="4654959"/>
                </a:lnTo>
                <a:lnTo>
                  <a:pt x="6248623" y="4655062"/>
                </a:lnTo>
                <a:cubicBezTo>
                  <a:pt x="6247694" y="4655062"/>
                  <a:pt x="6247694" y="4655992"/>
                  <a:pt x="6248623" y="4655992"/>
                </a:cubicBezTo>
                <a:cubicBezTo>
                  <a:pt x="6247539" y="4657231"/>
                  <a:pt x="6246919" y="4658367"/>
                  <a:pt x="6246145" y="4658883"/>
                </a:cubicBezTo>
                <a:lnTo>
                  <a:pt x="6245370" y="4658779"/>
                </a:lnTo>
                <a:lnTo>
                  <a:pt x="6245525" y="4663529"/>
                </a:lnTo>
                <a:lnTo>
                  <a:pt x="6245215" y="4664975"/>
                </a:lnTo>
                <a:lnTo>
                  <a:pt x="6245680" y="4665284"/>
                </a:lnTo>
                <a:lnTo>
                  <a:pt x="6245061" y="4666007"/>
                </a:lnTo>
                <a:lnTo>
                  <a:pt x="6244286" y="4670447"/>
                </a:lnTo>
                <a:cubicBezTo>
                  <a:pt x="6243511" y="4672306"/>
                  <a:pt x="6242427" y="4673442"/>
                  <a:pt x="6240569" y="4673752"/>
                </a:cubicBezTo>
                <a:lnTo>
                  <a:pt x="6239794" y="4667866"/>
                </a:lnTo>
                <a:lnTo>
                  <a:pt x="6239484" y="4667556"/>
                </a:lnTo>
                <a:lnTo>
                  <a:pt x="6239639" y="4667143"/>
                </a:lnTo>
                <a:lnTo>
                  <a:pt x="6239019" y="4660329"/>
                </a:lnTo>
                <a:lnTo>
                  <a:pt x="6240104" y="4653720"/>
                </a:lnTo>
                <a:lnTo>
                  <a:pt x="6239174" y="4653617"/>
                </a:lnTo>
                <a:cubicBezTo>
                  <a:pt x="6235922" y="4654133"/>
                  <a:pt x="6231584" y="4657024"/>
                  <a:pt x="6226938" y="4652997"/>
                </a:cubicBezTo>
                <a:cubicBezTo>
                  <a:pt x="6228796" y="4651242"/>
                  <a:pt x="6225853" y="4646802"/>
                  <a:pt x="6228641" y="4644324"/>
                </a:cubicBezTo>
                <a:cubicBezTo>
                  <a:pt x="6234372" y="4637818"/>
                  <a:pt x="6237161" y="4637199"/>
                  <a:pt x="6240414" y="4638438"/>
                </a:cubicBezTo>
                <a:lnTo>
                  <a:pt x="6240723" y="4638644"/>
                </a:lnTo>
                <a:lnTo>
                  <a:pt x="6245680" y="4638644"/>
                </a:lnTo>
                <a:lnTo>
                  <a:pt x="6246454" y="4640193"/>
                </a:lnTo>
                <a:cubicBezTo>
                  <a:pt x="6247229" y="4639367"/>
                  <a:pt x="6248158" y="4638541"/>
                  <a:pt x="6249397" y="4639471"/>
                </a:cubicBezTo>
                <a:cubicBezTo>
                  <a:pt x="6251101" y="4641123"/>
                  <a:pt x="6251411" y="4643498"/>
                  <a:pt x="6251256" y="4645872"/>
                </a:cubicBezTo>
                <a:cubicBezTo>
                  <a:pt x="6252340" y="4642259"/>
                  <a:pt x="6255283" y="4639677"/>
                  <a:pt x="6261480" y="4640916"/>
                </a:cubicBezTo>
                <a:cubicBezTo>
                  <a:pt x="6263338" y="4640813"/>
                  <a:pt x="6262718" y="4641226"/>
                  <a:pt x="6263803" y="4641536"/>
                </a:cubicBezTo>
                <a:lnTo>
                  <a:pt x="6265042" y="4641639"/>
                </a:lnTo>
                <a:lnTo>
                  <a:pt x="6256833" y="4638748"/>
                </a:lnTo>
                <a:cubicBezTo>
                  <a:pt x="6254354" y="4637302"/>
                  <a:pt x="6252186" y="4635237"/>
                  <a:pt x="6250947" y="4632243"/>
                </a:cubicBezTo>
                <a:cubicBezTo>
                  <a:pt x="6252186" y="4626770"/>
                  <a:pt x="6251566" y="4623156"/>
                  <a:pt x="6250482" y="4620162"/>
                </a:cubicBezTo>
                <a:lnTo>
                  <a:pt x="6250327" y="4619748"/>
                </a:lnTo>
                <a:lnTo>
                  <a:pt x="6250172" y="4619955"/>
                </a:lnTo>
                <a:cubicBezTo>
                  <a:pt x="6250017" y="4620059"/>
                  <a:pt x="6250017" y="4619852"/>
                  <a:pt x="6249707" y="4619439"/>
                </a:cubicBezTo>
                <a:cubicBezTo>
                  <a:pt x="6249707" y="4619439"/>
                  <a:pt x="6249552" y="4619439"/>
                  <a:pt x="6248933" y="4618509"/>
                </a:cubicBezTo>
                <a:cubicBezTo>
                  <a:pt x="6248933" y="4618509"/>
                  <a:pt x="6248778" y="4618509"/>
                  <a:pt x="6248778" y="4618200"/>
                </a:cubicBezTo>
                <a:lnTo>
                  <a:pt x="6249397" y="4617167"/>
                </a:lnTo>
                <a:lnTo>
                  <a:pt x="6248778" y="4615722"/>
                </a:lnTo>
                <a:cubicBezTo>
                  <a:pt x="6248158" y="4614276"/>
                  <a:pt x="6247694" y="4612831"/>
                  <a:pt x="6247384" y="4611075"/>
                </a:cubicBezTo>
                <a:cubicBezTo>
                  <a:pt x="6248623" y="4607461"/>
                  <a:pt x="6250482" y="4603537"/>
                  <a:pt x="6252495" y="4599717"/>
                </a:cubicBezTo>
                <a:lnTo>
                  <a:pt x="6254664" y="4596516"/>
                </a:lnTo>
                <a:lnTo>
                  <a:pt x="6256213" y="4593522"/>
                </a:lnTo>
                <a:lnTo>
                  <a:pt x="6256368" y="4593212"/>
                </a:lnTo>
                <a:lnTo>
                  <a:pt x="6257452" y="4586087"/>
                </a:lnTo>
                <a:cubicBezTo>
                  <a:pt x="6258227" y="4583815"/>
                  <a:pt x="6259621" y="4581750"/>
                  <a:pt x="6261634" y="4580098"/>
                </a:cubicBezTo>
                <a:cubicBezTo>
                  <a:pt x="6262873" y="4579272"/>
                  <a:pt x="6264113" y="4578756"/>
                  <a:pt x="6265352" y="4578446"/>
                </a:cubicBezTo>
                <a:lnTo>
                  <a:pt x="6268140" y="4578136"/>
                </a:lnTo>
                <a:lnTo>
                  <a:pt x="6266746" y="4577413"/>
                </a:lnTo>
                <a:cubicBezTo>
                  <a:pt x="6262718" y="4573903"/>
                  <a:pt x="6272942" y="4574006"/>
                  <a:pt x="6268760" y="4568946"/>
                </a:cubicBezTo>
                <a:cubicBezTo>
                  <a:pt x="6267830" y="4570392"/>
                  <a:pt x="6266746" y="4574316"/>
                  <a:pt x="6263493" y="4573697"/>
                </a:cubicBezTo>
                <a:lnTo>
                  <a:pt x="6259775" y="4571528"/>
                </a:lnTo>
                <a:cubicBezTo>
                  <a:pt x="6259156" y="4572044"/>
                  <a:pt x="6257917" y="4572251"/>
                  <a:pt x="6255748" y="4571838"/>
                </a:cubicBezTo>
                <a:cubicBezTo>
                  <a:pt x="6255283" y="4568534"/>
                  <a:pt x="6255903" y="4567088"/>
                  <a:pt x="6256678" y="4566675"/>
                </a:cubicBezTo>
                <a:cubicBezTo>
                  <a:pt x="6257762" y="4566055"/>
                  <a:pt x="6259621" y="4567707"/>
                  <a:pt x="6260240" y="4569463"/>
                </a:cubicBezTo>
                <a:lnTo>
                  <a:pt x="6259930" y="4571012"/>
                </a:lnTo>
                <a:lnTo>
                  <a:pt x="6263958" y="4568843"/>
                </a:lnTo>
                <a:cubicBezTo>
                  <a:pt x="6265507" y="4567811"/>
                  <a:pt x="6266901" y="4566055"/>
                  <a:pt x="6266746" y="4562235"/>
                </a:cubicBezTo>
                <a:cubicBezTo>
                  <a:pt x="6264577" y="4562338"/>
                  <a:pt x="6263493" y="4561306"/>
                  <a:pt x="6263648" y="4560583"/>
                </a:cubicBezTo>
                <a:lnTo>
                  <a:pt x="6261789" y="4560893"/>
                </a:lnTo>
                <a:lnTo>
                  <a:pt x="6261944" y="4561099"/>
                </a:lnTo>
                <a:lnTo>
                  <a:pt x="6260395" y="4561615"/>
                </a:lnTo>
                <a:lnTo>
                  <a:pt x="6260240" y="4563268"/>
                </a:lnTo>
                <a:cubicBezTo>
                  <a:pt x="6260395" y="4564919"/>
                  <a:pt x="6260550" y="4566468"/>
                  <a:pt x="6256987" y="4565333"/>
                </a:cubicBezTo>
                <a:lnTo>
                  <a:pt x="6257607" y="4562751"/>
                </a:lnTo>
                <a:lnTo>
                  <a:pt x="6253890" y="4564197"/>
                </a:lnTo>
                <a:cubicBezTo>
                  <a:pt x="6251566" y="4563887"/>
                  <a:pt x="6249862" y="4562132"/>
                  <a:pt x="6248623" y="4558828"/>
                </a:cubicBezTo>
                <a:lnTo>
                  <a:pt x="6252031" y="4556143"/>
                </a:lnTo>
                <a:lnTo>
                  <a:pt x="6246454" y="4553768"/>
                </a:lnTo>
                <a:cubicBezTo>
                  <a:pt x="6246919" y="4552426"/>
                  <a:pt x="6248623" y="4552632"/>
                  <a:pt x="6250637" y="4553148"/>
                </a:cubicBezTo>
                <a:lnTo>
                  <a:pt x="6254354" y="4554078"/>
                </a:lnTo>
                <a:lnTo>
                  <a:pt x="6255594" y="4553045"/>
                </a:lnTo>
                <a:lnTo>
                  <a:pt x="6254354" y="4550051"/>
                </a:lnTo>
                <a:cubicBezTo>
                  <a:pt x="6252495" y="4549121"/>
                  <a:pt x="6250017" y="4548502"/>
                  <a:pt x="6247694" y="4548192"/>
                </a:cubicBezTo>
                <a:cubicBezTo>
                  <a:pt x="6243821" y="4544681"/>
                  <a:pt x="6256987" y="4550257"/>
                  <a:pt x="6257917" y="4547572"/>
                </a:cubicBezTo>
                <a:cubicBezTo>
                  <a:pt x="6253580" y="4545507"/>
                  <a:pt x="6245680" y="4543029"/>
                  <a:pt x="6237316" y="4541997"/>
                </a:cubicBezTo>
                <a:lnTo>
                  <a:pt x="6236231" y="4541894"/>
                </a:lnTo>
                <a:lnTo>
                  <a:pt x="6232204" y="4549534"/>
                </a:lnTo>
                <a:cubicBezTo>
                  <a:pt x="6230036" y="4552735"/>
                  <a:pt x="6227712" y="4555523"/>
                  <a:pt x="6225543" y="4557485"/>
                </a:cubicBezTo>
                <a:cubicBezTo>
                  <a:pt x="6223839" y="4553665"/>
                  <a:pt x="6223065" y="4549328"/>
                  <a:pt x="6223065" y="4545095"/>
                </a:cubicBezTo>
                <a:lnTo>
                  <a:pt x="6223530" y="4542513"/>
                </a:lnTo>
                <a:lnTo>
                  <a:pt x="6217644" y="4544888"/>
                </a:lnTo>
                <a:cubicBezTo>
                  <a:pt x="6216869" y="4544681"/>
                  <a:pt x="6215940" y="4544165"/>
                  <a:pt x="6215011" y="4543649"/>
                </a:cubicBezTo>
                <a:lnTo>
                  <a:pt x="6212222" y="4541790"/>
                </a:lnTo>
                <a:lnTo>
                  <a:pt x="6211448" y="4542823"/>
                </a:lnTo>
                <a:lnTo>
                  <a:pt x="6210673" y="4541584"/>
                </a:lnTo>
                <a:lnTo>
                  <a:pt x="6209744" y="4541584"/>
                </a:lnTo>
                <a:cubicBezTo>
                  <a:pt x="6208970" y="4541894"/>
                  <a:pt x="6208195" y="4542306"/>
                  <a:pt x="6207885" y="4543339"/>
                </a:cubicBezTo>
                <a:lnTo>
                  <a:pt x="6201999" y="4538486"/>
                </a:lnTo>
                <a:lnTo>
                  <a:pt x="6201844" y="4540035"/>
                </a:lnTo>
                <a:cubicBezTo>
                  <a:pt x="6200915" y="4541687"/>
                  <a:pt x="6199056" y="4543029"/>
                  <a:pt x="6197817" y="4542719"/>
                </a:cubicBezTo>
                <a:cubicBezTo>
                  <a:pt x="6196733" y="4542410"/>
                  <a:pt x="6196113" y="4541687"/>
                  <a:pt x="6196113" y="4541687"/>
                </a:cubicBezTo>
                <a:cubicBezTo>
                  <a:pt x="6196113" y="4540138"/>
                  <a:pt x="6196268" y="4538693"/>
                  <a:pt x="6196888" y="4537660"/>
                </a:cubicBezTo>
                <a:lnTo>
                  <a:pt x="6199521" y="4536937"/>
                </a:lnTo>
                <a:lnTo>
                  <a:pt x="6190692" y="4534356"/>
                </a:lnTo>
                <a:lnTo>
                  <a:pt x="6188214" y="4533943"/>
                </a:lnTo>
                <a:lnTo>
                  <a:pt x="6185426" y="4535905"/>
                </a:lnTo>
                <a:cubicBezTo>
                  <a:pt x="6184961" y="4535182"/>
                  <a:pt x="6184186" y="4535595"/>
                  <a:pt x="6183722" y="4534872"/>
                </a:cubicBezTo>
                <a:cubicBezTo>
                  <a:pt x="6183722" y="4534872"/>
                  <a:pt x="6182947" y="4534252"/>
                  <a:pt x="6182018" y="4533220"/>
                </a:cubicBezTo>
                <a:lnTo>
                  <a:pt x="6182018" y="4533116"/>
                </a:lnTo>
                <a:lnTo>
                  <a:pt x="6181708" y="4533013"/>
                </a:lnTo>
                <a:cubicBezTo>
                  <a:pt x="6179075" y="4532291"/>
                  <a:pt x="6176441" y="4531361"/>
                  <a:pt x="6175512" y="4529606"/>
                </a:cubicBezTo>
                <a:cubicBezTo>
                  <a:pt x="6176751" y="4529296"/>
                  <a:pt x="6178455" y="4529400"/>
                  <a:pt x="6180004" y="4529400"/>
                </a:cubicBezTo>
                <a:lnTo>
                  <a:pt x="6180779" y="4529296"/>
                </a:lnTo>
                <a:lnTo>
                  <a:pt x="6180469" y="4528470"/>
                </a:lnTo>
                <a:cubicBezTo>
                  <a:pt x="6180624" y="4527231"/>
                  <a:pt x="6181708" y="4524443"/>
                  <a:pt x="6182172" y="4525166"/>
                </a:cubicBezTo>
                <a:cubicBezTo>
                  <a:pt x="6183412" y="4525476"/>
                  <a:pt x="6182947" y="4524753"/>
                  <a:pt x="6183567" y="4524237"/>
                </a:cubicBezTo>
                <a:lnTo>
                  <a:pt x="6184031" y="4524443"/>
                </a:lnTo>
                <a:lnTo>
                  <a:pt x="6184496" y="4520416"/>
                </a:lnTo>
                <a:cubicBezTo>
                  <a:pt x="6173808" y="4517835"/>
                  <a:pt x="6164204" y="4511846"/>
                  <a:pt x="6154446" y="4506580"/>
                </a:cubicBezTo>
                <a:lnTo>
                  <a:pt x="6148405" y="4503585"/>
                </a:lnTo>
                <a:lnTo>
                  <a:pt x="6146856" y="4505547"/>
                </a:lnTo>
                <a:cubicBezTo>
                  <a:pt x="6145462" y="4504515"/>
                  <a:pt x="6144688" y="4503585"/>
                  <a:pt x="6143448" y="4501727"/>
                </a:cubicBezTo>
                <a:lnTo>
                  <a:pt x="6143913" y="4501210"/>
                </a:lnTo>
                <a:lnTo>
                  <a:pt x="6139731" y="4499145"/>
                </a:lnTo>
                <a:lnTo>
                  <a:pt x="6139111" y="4498939"/>
                </a:lnTo>
                <a:lnTo>
                  <a:pt x="6138492" y="4500488"/>
                </a:lnTo>
                <a:cubicBezTo>
                  <a:pt x="6138182" y="4501417"/>
                  <a:pt x="6137407" y="4501830"/>
                  <a:pt x="6136478" y="4502037"/>
                </a:cubicBezTo>
                <a:cubicBezTo>
                  <a:pt x="6135549" y="4502140"/>
                  <a:pt x="6134464" y="4502037"/>
                  <a:pt x="6133690" y="4501727"/>
                </a:cubicBezTo>
                <a:cubicBezTo>
                  <a:pt x="6132760" y="4500901"/>
                  <a:pt x="6132606" y="4500798"/>
                  <a:pt x="6131676" y="4499971"/>
                </a:cubicBezTo>
                <a:cubicBezTo>
                  <a:pt x="6131522" y="4499145"/>
                  <a:pt x="6131212" y="4498319"/>
                  <a:pt x="6131057" y="4497493"/>
                </a:cubicBezTo>
                <a:lnTo>
                  <a:pt x="6131057" y="4496358"/>
                </a:lnTo>
                <a:lnTo>
                  <a:pt x="6126565" y="4495015"/>
                </a:lnTo>
                <a:lnTo>
                  <a:pt x="6124241" y="4499042"/>
                </a:lnTo>
                <a:cubicBezTo>
                  <a:pt x="6122847" y="4500694"/>
                  <a:pt x="6120989" y="4501830"/>
                  <a:pt x="6118355" y="4502037"/>
                </a:cubicBezTo>
                <a:lnTo>
                  <a:pt x="6121453" y="4490678"/>
                </a:lnTo>
                <a:lnTo>
                  <a:pt x="6118665" y="4487581"/>
                </a:lnTo>
                <a:cubicBezTo>
                  <a:pt x="6116496" y="4485825"/>
                  <a:pt x="6114483" y="4484483"/>
                  <a:pt x="6112469" y="4483037"/>
                </a:cubicBezTo>
                <a:lnTo>
                  <a:pt x="6111695" y="4482624"/>
                </a:lnTo>
                <a:lnTo>
                  <a:pt x="6111385" y="4483760"/>
                </a:lnTo>
                <a:cubicBezTo>
                  <a:pt x="6107668" y="4484276"/>
                  <a:pt x="6103640" y="4486445"/>
                  <a:pt x="6099768" y="4488820"/>
                </a:cubicBezTo>
                <a:lnTo>
                  <a:pt x="6092333" y="4493157"/>
                </a:lnTo>
                <a:lnTo>
                  <a:pt x="6091558" y="4493982"/>
                </a:lnTo>
                <a:cubicBezTo>
                  <a:pt x="6099148" y="4499352"/>
                  <a:pt x="6105654" y="4501314"/>
                  <a:pt x="6112004" y="4503999"/>
                </a:cubicBezTo>
                <a:cubicBezTo>
                  <a:pt x="6118510" y="4506064"/>
                  <a:pt x="6123312" y="4509058"/>
                  <a:pt x="6127804" y="4517215"/>
                </a:cubicBezTo>
                <a:cubicBezTo>
                  <a:pt x="6123312" y="4519590"/>
                  <a:pt x="6124861" y="4511020"/>
                  <a:pt x="6117426" y="4509471"/>
                </a:cubicBezTo>
                <a:cubicBezTo>
                  <a:pt x="6117271" y="4511639"/>
                  <a:pt x="6117891" y="4513704"/>
                  <a:pt x="6118820" y="4515666"/>
                </a:cubicBezTo>
                <a:lnTo>
                  <a:pt x="6121763" y="4520003"/>
                </a:lnTo>
                <a:lnTo>
                  <a:pt x="6123777" y="4518971"/>
                </a:lnTo>
                <a:cubicBezTo>
                  <a:pt x="6128424" y="4518041"/>
                  <a:pt x="6134000" y="4519280"/>
                  <a:pt x="6134155" y="4522584"/>
                </a:cubicBezTo>
                <a:cubicBezTo>
                  <a:pt x="6134310" y="4523824"/>
                  <a:pt x="6133690" y="4525372"/>
                  <a:pt x="6131831" y="4527128"/>
                </a:cubicBezTo>
                <a:lnTo>
                  <a:pt x="6131212" y="4527644"/>
                </a:lnTo>
                <a:lnTo>
                  <a:pt x="6133690" y="4529606"/>
                </a:lnTo>
                <a:cubicBezTo>
                  <a:pt x="6132606" y="4530742"/>
                  <a:pt x="6131522" y="4531155"/>
                  <a:pt x="6130127" y="4531155"/>
                </a:cubicBezTo>
                <a:lnTo>
                  <a:pt x="6126720" y="4530948"/>
                </a:lnTo>
                <a:lnTo>
                  <a:pt x="6123157" y="4533530"/>
                </a:lnTo>
                <a:lnTo>
                  <a:pt x="6121763" y="4531877"/>
                </a:lnTo>
                <a:lnTo>
                  <a:pt x="6120059" y="4533633"/>
                </a:lnTo>
                <a:cubicBezTo>
                  <a:pt x="6116342" y="4527231"/>
                  <a:pt x="6112469" y="4523720"/>
                  <a:pt x="6108442" y="4521036"/>
                </a:cubicBezTo>
                <a:lnTo>
                  <a:pt x="6102091" y="4517215"/>
                </a:lnTo>
                <a:lnTo>
                  <a:pt x="6099768" y="4520106"/>
                </a:lnTo>
                <a:cubicBezTo>
                  <a:pt x="6095431" y="4523720"/>
                  <a:pt x="6089700" y="4525682"/>
                  <a:pt x="6084123" y="4525269"/>
                </a:cubicBezTo>
                <a:cubicBezTo>
                  <a:pt x="6082264" y="4525166"/>
                  <a:pt x="6080560" y="4524856"/>
                  <a:pt x="6078702" y="4524133"/>
                </a:cubicBezTo>
                <a:lnTo>
                  <a:pt x="6074055" y="4521345"/>
                </a:lnTo>
                <a:lnTo>
                  <a:pt x="6073435" y="4522481"/>
                </a:lnTo>
                <a:cubicBezTo>
                  <a:pt x="6071577" y="4524443"/>
                  <a:pt x="6068789" y="4523824"/>
                  <a:pt x="6065381" y="4521345"/>
                </a:cubicBezTo>
                <a:cubicBezTo>
                  <a:pt x="6065535" y="4519383"/>
                  <a:pt x="6065071" y="4517628"/>
                  <a:pt x="6064916" y="4514943"/>
                </a:cubicBezTo>
                <a:cubicBezTo>
                  <a:pt x="6066155" y="4514634"/>
                  <a:pt x="6068169" y="4514737"/>
                  <a:pt x="6070028" y="4515460"/>
                </a:cubicBezTo>
                <a:lnTo>
                  <a:pt x="6074055" y="4518764"/>
                </a:lnTo>
                <a:lnTo>
                  <a:pt x="6074984" y="4511846"/>
                </a:lnTo>
                <a:cubicBezTo>
                  <a:pt x="6076068" y="4509058"/>
                  <a:pt x="6077618" y="4506786"/>
                  <a:pt x="6079476" y="4504928"/>
                </a:cubicBezTo>
                <a:lnTo>
                  <a:pt x="6081800" y="4503482"/>
                </a:lnTo>
                <a:lnTo>
                  <a:pt x="6078392" y="4501624"/>
                </a:lnTo>
                <a:cubicBezTo>
                  <a:pt x="6076378" y="4500694"/>
                  <a:pt x="6074210" y="4499971"/>
                  <a:pt x="6071577" y="4499145"/>
                </a:cubicBezTo>
                <a:cubicBezTo>
                  <a:pt x="6070647" y="4496564"/>
                  <a:pt x="6069098" y="4494189"/>
                  <a:pt x="6067085" y="4491917"/>
                </a:cubicBezTo>
                <a:lnTo>
                  <a:pt x="6065381" y="4490575"/>
                </a:lnTo>
                <a:lnTo>
                  <a:pt x="6064761" y="4491711"/>
                </a:lnTo>
                <a:lnTo>
                  <a:pt x="6063677" y="4489027"/>
                </a:lnTo>
                <a:lnTo>
                  <a:pt x="6060579" y="4486445"/>
                </a:lnTo>
                <a:lnTo>
                  <a:pt x="6060269" y="4486342"/>
                </a:lnTo>
                <a:lnTo>
                  <a:pt x="6060114" y="4486032"/>
                </a:lnTo>
                <a:lnTo>
                  <a:pt x="6059495" y="4485515"/>
                </a:lnTo>
                <a:cubicBezTo>
                  <a:pt x="6056552" y="4483864"/>
                  <a:pt x="6053609" y="4481489"/>
                  <a:pt x="6050201" y="4478907"/>
                </a:cubicBezTo>
                <a:cubicBezTo>
                  <a:pt x="6046483" y="4477048"/>
                  <a:pt x="6043850" y="4473951"/>
                  <a:pt x="6039978" y="4470543"/>
                </a:cubicBezTo>
                <a:cubicBezTo>
                  <a:pt x="6034092" y="4468685"/>
                  <a:pt x="6036725" y="4477771"/>
                  <a:pt x="6030684" y="4472092"/>
                </a:cubicBezTo>
                <a:cubicBezTo>
                  <a:pt x="6032078" y="4470337"/>
                  <a:pt x="6032853" y="4468685"/>
                  <a:pt x="6033007" y="4467239"/>
                </a:cubicBezTo>
                <a:lnTo>
                  <a:pt x="6032078" y="4463419"/>
                </a:lnTo>
                <a:lnTo>
                  <a:pt x="6027586" y="4468478"/>
                </a:lnTo>
                <a:cubicBezTo>
                  <a:pt x="6024333" y="4471886"/>
                  <a:pt x="6020771" y="4474674"/>
                  <a:pt x="6018137" y="4474570"/>
                </a:cubicBezTo>
                <a:cubicBezTo>
                  <a:pt x="6017363" y="4474467"/>
                  <a:pt x="6016589" y="4474157"/>
                  <a:pt x="6015969" y="4473538"/>
                </a:cubicBezTo>
                <a:cubicBezTo>
                  <a:pt x="6017982" y="4471060"/>
                  <a:pt x="6021080" y="4466103"/>
                  <a:pt x="6024643" y="4462386"/>
                </a:cubicBezTo>
                <a:lnTo>
                  <a:pt x="6027896" y="4460114"/>
                </a:lnTo>
                <a:lnTo>
                  <a:pt x="6024179" y="4457327"/>
                </a:lnTo>
                <a:cubicBezTo>
                  <a:pt x="6017053" y="4452887"/>
                  <a:pt x="6008534" y="4448034"/>
                  <a:pt x="6008534" y="4439670"/>
                </a:cubicBezTo>
                <a:cubicBezTo>
                  <a:pt x="6006520" y="4439050"/>
                  <a:pt x="6005126" y="4438637"/>
                  <a:pt x="6002957" y="4441012"/>
                </a:cubicBezTo>
                <a:lnTo>
                  <a:pt x="5998001" y="4433578"/>
                </a:lnTo>
                <a:lnTo>
                  <a:pt x="5990101" y="4430686"/>
                </a:lnTo>
                <a:cubicBezTo>
                  <a:pt x="5987623" y="4429034"/>
                  <a:pt x="5985764" y="4426763"/>
                  <a:pt x="5984525" y="4423459"/>
                </a:cubicBezTo>
                <a:lnTo>
                  <a:pt x="5988552" y="4422116"/>
                </a:lnTo>
                <a:lnTo>
                  <a:pt x="5986848" y="4420154"/>
                </a:lnTo>
                <a:cubicBezTo>
                  <a:pt x="5984215" y="4417160"/>
                  <a:pt x="5981737" y="4414062"/>
                  <a:pt x="5978794" y="4411687"/>
                </a:cubicBezTo>
                <a:cubicBezTo>
                  <a:pt x="5976315" y="4408590"/>
                  <a:pt x="5974147" y="4406421"/>
                  <a:pt x="5971359" y="4404046"/>
                </a:cubicBezTo>
                <a:cubicBezTo>
                  <a:pt x="5965937" y="4398677"/>
                  <a:pt x="5961135" y="4393411"/>
                  <a:pt x="5956334" y="4388248"/>
                </a:cubicBezTo>
                <a:lnTo>
                  <a:pt x="5951687" y="4382879"/>
                </a:lnTo>
                <a:lnTo>
                  <a:pt x="5949518" y="4382672"/>
                </a:lnTo>
                <a:lnTo>
                  <a:pt x="5950293" y="4381330"/>
                </a:lnTo>
                <a:lnTo>
                  <a:pt x="5949364" y="4380194"/>
                </a:lnTo>
                <a:cubicBezTo>
                  <a:pt x="5947040" y="4377406"/>
                  <a:pt x="5944871" y="4374515"/>
                  <a:pt x="5942703" y="4371211"/>
                </a:cubicBezTo>
                <a:lnTo>
                  <a:pt x="5944717" y="4370798"/>
                </a:lnTo>
                <a:lnTo>
                  <a:pt x="5944097" y="4370075"/>
                </a:lnTo>
                <a:cubicBezTo>
                  <a:pt x="5943942" y="4368939"/>
                  <a:pt x="5944407" y="4368113"/>
                  <a:pt x="5944407" y="4368113"/>
                </a:cubicBezTo>
                <a:lnTo>
                  <a:pt x="5945026" y="4368010"/>
                </a:lnTo>
                <a:lnTo>
                  <a:pt x="5939295" y="4365015"/>
                </a:lnTo>
                <a:cubicBezTo>
                  <a:pt x="5936042" y="4363467"/>
                  <a:pt x="5932634" y="4362021"/>
                  <a:pt x="5929382" y="4360989"/>
                </a:cubicBezTo>
                <a:cubicBezTo>
                  <a:pt x="5931241" y="4358820"/>
                  <a:pt x="5926594" y="4349114"/>
                  <a:pt x="5921172" y="4346223"/>
                </a:cubicBezTo>
                <a:lnTo>
                  <a:pt x="5920398" y="4346016"/>
                </a:lnTo>
                <a:lnTo>
                  <a:pt x="5920398" y="4346120"/>
                </a:lnTo>
                <a:lnTo>
                  <a:pt x="5917764" y="4345603"/>
                </a:lnTo>
                <a:lnTo>
                  <a:pt x="5915596" y="4346223"/>
                </a:lnTo>
                <a:cubicBezTo>
                  <a:pt x="5917455" y="4338582"/>
                  <a:pt x="5907696" y="4318240"/>
                  <a:pt x="5899797" y="4318034"/>
                </a:cubicBezTo>
                <a:cubicBezTo>
                  <a:pt x="5902120" y="4313491"/>
                  <a:pt x="5900726" y="4309257"/>
                  <a:pt x="5898402" y="4305540"/>
                </a:cubicBezTo>
                <a:lnTo>
                  <a:pt x="5894530" y="4299964"/>
                </a:lnTo>
                <a:lnTo>
                  <a:pt x="5893601" y="4299448"/>
                </a:lnTo>
                <a:lnTo>
                  <a:pt x="5893756" y="4297899"/>
                </a:lnTo>
                <a:lnTo>
                  <a:pt x="5893601" y="4297693"/>
                </a:lnTo>
                <a:lnTo>
                  <a:pt x="5893291" y="4298312"/>
                </a:lnTo>
                <a:cubicBezTo>
                  <a:pt x="5891277" y="4298518"/>
                  <a:pt x="5889728" y="4298105"/>
                  <a:pt x="5888489" y="4297589"/>
                </a:cubicBezTo>
                <a:lnTo>
                  <a:pt x="5887560" y="4297176"/>
                </a:lnTo>
                <a:lnTo>
                  <a:pt x="5885856" y="4298828"/>
                </a:lnTo>
                <a:lnTo>
                  <a:pt x="5885391" y="4296350"/>
                </a:lnTo>
                <a:lnTo>
                  <a:pt x="5884617" y="4296040"/>
                </a:lnTo>
                <a:cubicBezTo>
                  <a:pt x="5884462" y="4293769"/>
                  <a:pt x="5884617" y="4292117"/>
                  <a:pt x="5885236" y="4290671"/>
                </a:cubicBezTo>
                <a:lnTo>
                  <a:pt x="5886011" y="4289535"/>
                </a:lnTo>
                <a:lnTo>
                  <a:pt x="5885236" y="4285921"/>
                </a:lnTo>
                <a:cubicBezTo>
                  <a:pt x="5884617" y="4284889"/>
                  <a:pt x="5883997" y="4284063"/>
                  <a:pt x="5883223" y="4283443"/>
                </a:cubicBezTo>
                <a:lnTo>
                  <a:pt x="5881673" y="4283030"/>
                </a:lnTo>
                <a:lnTo>
                  <a:pt x="5879505" y="4284166"/>
                </a:lnTo>
                <a:cubicBezTo>
                  <a:pt x="5878576" y="4284372"/>
                  <a:pt x="5877801" y="4284372"/>
                  <a:pt x="5877027" y="4284166"/>
                </a:cubicBezTo>
                <a:cubicBezTo>
                  <a:pt x="5875633" y="4283753"/>
                  <a:pt x="5874394" y="4282617"/>
                  <a:pt x="5873929" y="4281068"/>
                </a:cubicBezTo>
                <a:cubicBezTo>
                  <a:pt x="5873464" y="4279623"/>
                  <a:pt x="5873464" y="4277867"/>
                  <a:pt x="5874084" y="4276112"/>
                </a:cubicBezTo>
                <a:lnTo>
                  <a:pt x="5878111" y="4272085"/>
                </a:lnTo>
                <a:lnTo>
                  <a:pt x="5877956" y="4271982"/>
                </a:lnTo>
                <a:cubicBezTo>
                  <a:pt x="5878111" y="4270742"/>
                  <a:pt x="5878885" y="4269607"/>
                  <a:pt x="5880589" y="4268368"/>
                </a:cubicBezTo>
                <a:cubicBezTo>
                  <a:pt x="5877646" y="4268265"/>
                  <a:pt x="5875478" y="4266096"/>
                  <a:pt x="5879970" y="4263721"/>
                </a:cubicBezTo>
                <a:lnTo>
                  <a:pt x="5878730" y="4262999"/>
                </a:lnTo>
                <a:lnTo>
                  <a:pt x="5875168" y="4264960"/>
                </a:lnTo>
                <a:cubicBezTo>
                  <a:pt x="5874394" y="4264031"/>
                  <a:pt x="5873774" y="4263102"/>
                  <a:pt x="5872845" y="4263825"/>
                </a:cubicBezTo>
                <a:cubicBezTo>
                  <a:pt x="5871606" y="4262482"/>
                  <a:pt x="5870676" y="4260830"/>
                  <a:pt x="5870056" y="4259075"/>
                </a:cubicBezTo>
                <a:cubicBezTo>
                  <a:pt x="5868817" y="4255977"/>
                  <a:pt x="5868508" y="4252466"/>
                  <a:pt x="5868972" y="4248956"/>
                </a:cubicBezTo>
                <a:lnTo>
                  <a:pt x="5869592" y="4246787"/>
                </a:lnTo>
                <a:lnTo>
                  <a:pt x="5868817" y="4247303"/>
                </a:lnTo>
                <a:cubicBezTo>
                  <a:pt x="5863706" y="4246994"/>
                  <a:pt x="5861847" y="4243586"/>
                  <a:pt x="5862466" y="4240385"/>
                </a:cubicBezTo>
                <a:lnTo>
                  <a:pt x="5864790" y="4236565"/>
                </a:lnTo>
                <a:lnTo>
                  <a:pt x="5863706" y="4236358"/>
                </a:lnTo>
                <a:cubicBezTo>
                  <a:pt x="5862931" y="4235945"/>
                  <a:pt x="5862621" y="4235223"/>
                  <a:pt x="5862312" y="4234293"/>
                </a:cubicBezTo>
                <a:cubicBezTo>
                  <a:pt x="5861692" y="4232538"/>
                  <a:pt x="5861692" y="4230060"/>
                  <a:pt x="5860917" y="4227891"/>
                </a:cubicBezTo>
                <a:lnTo>
                  <a:pt x="5862466" y="4228407"/>
                </a:lnTo>
                <a:lnTo>
                  <a:pt x="5861692" y="4225723"/>
                </a:lnTo>
                <a:lnTo>
                  <a:pt x="5857355" y="4224484"/>
                </a:lnTo>
                <a:lnTo>
                  <a:pt x="5857975" y="4225207"/>
                </a:lnTo>
                <a:cubicBezTo>
                  <a:pt x="5858129" y="4227788"/>
                  <a:pt x="5859369" y="4230473"/>
                  <a:pt x="5858594" y="4233467"/>
                </a:cubicBezTo>
                <a:lnTo>
                  <a:pt x="5857355" y="4235636"/>
                </a:lnTo>
                <a:lnTo>
                  <a:pt x="5858129" y="4235532"/>
                </a:lnTo>
                <a:cubicBezTo>
                  <a:pt x="5860453" y="4238940"/>
                  <a:pt x="5860763" y="4240179"/>
                  <a:pt x="5860763" y="4243999"/>
                </a:cubicBezTo>
                <a:lnTo>
                  <a:pt x="5855806" y="4245238"/>
                </a:lnTo>
                <a:lnTo>
                  <a:pt x="5856426" y="4248749"/>
                </a:lnTo>
                <a:cubicBezTo>
                  <a:pt x="5854877" y="4249162"/>
                  <a:pt x="5853792" y="4249369"/>
                  <a:pt x="5852863" y="4249265"/>
                </a:cubicBezTo>
                <a:cubicBezTo>
                  <a:pt x="5852088" y="4249265"/>
                  <a:pt x="5851624" y="4248956"/>
                  <a:pt x="5851314" y="4248542"/>
                </a:cubicBezTo>
                <a:cubicBezTo>
                  <a:pt x="5850849" y="4248026"/>
                  <a:pt x="5851159" y="4247200"/>
                  <a:pt x="5851624" y="4246477"/>
                </a:cubicBezTo>
                <a:lnTo>
                  <a:pt x="5852553" y="4245548"/>
                </a:lnTo>
                <a:lnTo>
                  <a:pt x="5846977" y="4244722"/>
                </a:lnTo>
                <a:cubicBezTo>
                  <a:pt x="5842020" y="4237081"/>
                  <a:pt x="5847596" y="4236358"/>
                  <a:pt x="5853173" y="4236048"/>
                </a:cubicBezTo>
                <a:lnTo>
                  <a:pt x="5856116" y="4235739"/>
                </a:lnTo>
                <a:lnTo>
                  <a:pt x="5849610" y="4231196"/>
                </a:lnTo>
                <a:cubicBezTo>
                  <a:pt x="5847132" y="4229853"/>
                  <a:pt x="5844498" y="4228821"/>
                  <a:pt x="5841865" y="4227272"/>
                </a:cubicBezTo>
                <a:lnTo>
                  <a:pt x="5842020" y="4226756"/>
                </a:lnTo>
                <a:lnTo>
                  <a:pt x="5834740" y="4228717"/>
                </a:lnTo>
                <a:lnTo>
                  <a:pt x="5829474" y="4229337"/>
                </a:lnTo>
                <a:lnTo>
                  <a:pt x="5829938" y="4229647"/>
                </a:lnTo>
                <a:cubicBezTo>
                  <a:pt x="5831023" y="4233261"/>
                  <a:pt x="5831487" y="4236462"/>
                  <a:pt x="5831023" y="4239146"/>
                </a:cubicBezTo>
                <a:lnTo>
                  <a:pt x="5825601" y="4245135"/>
                </a:lnTo>
                <a:lnTo>
                  <a:pt x="5827305" y="4250608"/>
                </a:lnTo>
                <a:lnTo>
                  <a:pt x="5826066" y="4256390"/>
                </a:lnTo>
                <a:lnTo>
                  <a:pt x="5829009" y="4261243"/>
                </a:lnTo>
                <a:cubicBezTo>
                  <a:pt x="5827925" y="4262482"/>
                  <a:pt x="5826686" y="4262895"/>
                  <a:pt x="5825601" y="4262689"/>
                </a:cubicBezTo>
                <a:lnTo>
                  <a:pt x="5823897" y="4261656"/>
                </a:lnTo>
                <a:lnTo>
                  <a:pt x="5818786" y="4267748"/>
                </a:lnTo>
                <a:cubicBezTo>
                  <a:pt x="5816152" y="4269917"/>
                  <a:pt x="5813055" y="4271672"/>
                  <a:pt x="5809647" y="4272911"/>
                </a:cubicBezTo>
                <a:lnTo>
                  <a:pt x="5799579" y="4274150"/>
                </a:lnTo>
                <a:lnTo>
                  <a:pt x="5797410" y="4277971"/>
                </a:lnTo>
                <a:cubicBezTo>
                  <a:pt x="5790905" y="4280552"/>
                  <a:pt x="5785018" y="4282101"/>
                  <a:pt x="5779752" y="4281378"/>
                </a:cubicBezTo>
                <a:cubicBezTo>
                  <a:pt x="5774640" y="4280655"/>
                  <a:pt x="5770303" y="4277764"/>
                  <a:pt x="5767051" y="4271672"/>
                </a:cubicBezTo>
                <a:cubicBezTo>
                  <a:pt x="5769219" y="4270846"/>
                  <a:pt x="5768444" y="4268677"/>
                  <a:pt x="5767670" y="4266406"/>
                </a:cubicBezTo>
                <a:lnTo>
                  <a:pt x="5775105" y="4261243"/>
                </a:lnTo>
                <a:lnTo>
                  <a:pt x="5773556" y="4259075"/>
                </a:lnTo>
                <a:cubicBezTo>
                  <a:pt x="5772007" y="4255667"/>
                  <a:pt x="5770923" y="4251743"/>
                  <a:pt x="5770148" y="4247200"/>
                </a:cubicBezTo>
                <a:lnTo>
                  <a:pt x="5771233" y="4246477"/>
                </a:lnTo>
                <a:lnTo>
                  <a:pt x="5771078" y="4246374"/>
                </a:lnTo>
                <a:cubicBezTo>
                  <a:pt x="5771542" y="4243999"/>
                  <a:pt x="5772782" y="4243070"/>
                  <a:pt x="5774021" y="4243380"/>
                </a:cubicBezTo>
                <a:lnTo>
                  <a:pt x="5774950" y="4243690"/>
                </a:lnTo>
                <a:lnTo>
                  <a:pt x="5784089" y="4236874"/>
                </a:lnTo>
                <a:cubicBezTo>
                  <a:pt x="5794002" y="4231608"/>
                  <a:pt x="5804535" y="4229957"/>
                  <a:pt x="5813055" y="4232538"/>
                </a:cubicBezTo>
                <a:lnTo>
                  <a:pt x="5815998" y="4233983"/>
                </a:lnTo>
                <a:lnTo>
                  <a:pt x="5816462" y="4230679"/>
                </a:lnTo>
                <a:lnTo>
                  <a:pt x="5816772" y="4230473"/>
                </a:lnTo>
                <a:lnTo>
                  <a:pt x="5811816" y="4230886"/>
                </a:lnTo>
                <a:cubicBezTo>
                  <a:pt x="5812125" y="4229337"/>
                  <a:pt x="5811816" y="4228098"/>
                  <a:pt x="5811661" y="4226652"/>
                </a:cubicBezTo>
                <a:lnTo>
                  <a:pt x="5812125" y="4224174"/>
                </a:lnTo>
                <a:lnTo>
                  <a:pt x="5811041" y="4224174"/>
                </a:lnTo>
                <a:cubicBezTo>
                  <a:pt x="5810112" y="4222212"/>
                  <a:pt x="5809647" y="4220560"/>
                  <a:pt x="5809802" y="4219321"/>
                </a:cubicBezTo>
                <a:lnTo>
                  <a:pt x="5810421" y="4217978"/>
                </a:lnTo>
                <a:lnTo>
                  <a:pt x="5806084" y="4218289"/>
                </a:lnTo>
                <a:cubicBezTo>
                  <a:pt x="5804380" y="4217978"/>
                  <a:pt x="5803141" y="4217463"/>
                  <a:pt x="5802367" y="4216740"/>
                </a:cubicBezTo>
                <a:lnTo>
                  <a:pt x="5801438" y="4214881"/>
                </a:lnTo>
                <a:lnTo>
                  <a:pt x="5800198" y="4216533"/>
                </a:lnTo>
                <a:cubicBezTo>
                  <a:pt x="5799269" y="4217359"/>
                  <a:pt x="5797410" y="4218289"/>
                  <a:pt x="5795396" y="4218598"/>
                </a:cubicBezTo>
                <a:cubicBezTo>
                  <a:pt x="5793383" y="4219011"/>
                  <a:pt x="5791214" y="4219011"/>
                  <a:pt x="5789975" y="4218082"/>
                </a:cubicBezTo>
                <a:cubicBezTo>
                  <a:pt x="5791059" y="4216430"/>
                  <a:pt x="5791989" y="4214778"/>
                  <a:pt x="5793073" y="4213126"/>
                </a:cubicBezTo>
                <a:cubicBezTo>
                  <a:pt x="5792918" y="4213952"/>
                  <a:pt x="5800663" y="4212403"/>
                  <a:pt x="5800663" y="4212403"/>
                </a:cubicBezTo>
                <a:lnTo>
                  <a:pt x="5801438" y="4213745"/>
                </a:lnTo>
                <a:lnTo>
                  <a:pt x="5802367" y="4210131"/>
                </a:lnTo>
                <a:cubicBezTo>
                  <a:pt x="5804690" y="4205381"/>
                  <a:pt x="5810576" y="4200735"/>
                  <a:pt x="5813519" y="4202697"/>
                </a:cubicBezTo>
                <a:cubicBezTo>
                  <a:pt x="5814913" y="4203729"/>
                  <a:pt x="5815688" y="4206414"/>
                  <a:pt x="5814759" y="4211680"/>
                </a:cubicBezTo>
                <a:lnTo>
                  <a:pt x="5813674" y="4215707"/>
                </a:lnTo>
                <a:lnTo>
                  <a:pt x="5813984" y="4215707"/>
                </a:lnTo>
                <a:cubicBezTo>
                  <a:pt x="5815068" y="4215707"/>
                  <a:pt x="5816307" y="4216223"/>
                  <a:pt x="5817392" y="4216946"/>
                </a:cubicBezTo>
                <a:lnTo>
                  <a:pt x="5820180" y="4220870"/>
                </a:lnTo>
                <a:lnTo>
                  <a:pt x="5834275" y="4220354"/>
                </a:lnTo>
                <a:lnTo>
                  <a:pt x="5838303" y="4217566"/>
                </a:lnTo>
                <a:cubicBezTo>
                  <a:pt x="5839697" y="4217049"/>
                  <a:pt x="5840936" y="4217256"/>
                  <a:pt x="5841865" y="4218598"/>
                </a:cubicBezTo>
                <a:lnTo>
                  <a:pt x="5841401" y="4219940"/>
                </a:lnTo>
                <a:lnTo>
                  <a:pt x="5844653" y="4219631"/>
                </a:lnTo>
                <a:lnTo>
                  <a:pt x="5851159" y="4219837"/>
                </a:lnTo>
                <a:lnTo>
                  <a:pt x="5850849" y="4219321"/>
                </a:lnTo>
                <a:cubicBezTo>
                  <a:pt x="5851314" y="4215913"/>
                  <a:pt x="5851314" y="4213229"/>
                  <a:pt x="5850849" y="4210854"/>
                </a:cubicBezTo>
                <a:lnTo>
                  <a:pt x="5850849" y="4210647"/>
                </a:lnTo>
                <a:lnTo>
                  <a:pt x="5847906" y="4211577"/>
                </a:lnTo>
                <a:cubicBezTo>
                  <a:pt x="5846512" y="4211680"/>
                  <a:pt x="5845273" y="4211164"/>
                  <a:pt x="5844653" y="4210028"/>
                </a:cubicBezTo>
                <a:cubicBezTo>
                  <a:pt x="5844034" y="4209305"/>
                  <a:pt x="5843879" y="4208273"/>
                  <a:pt x="5843879" y="4206930"/>
                </a:cubicBezTo>
                <a:cubicBezTo>
                  <a:pt x="5844808" y="4206001"/>
                  <a:pt x="5846667" y="4205485"/>
                  <a:pt x="5848526" y="4205381"/>
                </a:cubicBezTo>
                <a:lnTo>
                  <a:pt x="5848991" y="4205485"/>
                </a:lnTo>
                <a:lnTo>
                  <a:pt x="5848681" y="4204659"/>
                </a:lnTo>
                <a:lnTo>
                  <a:pt x="5846512" y="4201664"/>
                </a:lnTo>
                <a:lnTo>
                  <a:pt x="5846357" y="4201768"/>
                </a:lnTo>
                <a:cubicBezTo>
                  <a:pt x="5845583" y="4202180"/>
                  <a:pt x="5844808" y="4202387"/>
                  <a:pt x="5844189" y="4202180"/>
                </a:cubicBezTo>
                <a:cubicBezTo>
                  <a:pt x="5843105" y="4201768"/>
                  <a:pt x="5842794" y="4200941"/>
                  <a:pt x="5842794" y="4200941"/>
                </a:cubicBezTo>
                <a:lnTo>
                  <a:pt x="5843105" y="4200219"/>
                </a:lnTo>
                <a:lnTo>
                  <a:pt x="5839232" y="4199702"/>
                </a:lnTo>
                <a:cubicBezTo>
                  <a:pt x="5837838" y="4198876"/>
                  <a:pt x="5836909" y="4197637"/>
                  <a:pt x="5836754" y="4195985"/>
                </a:cubicBezTo>
                <a:cubicBezTo>
                  <a:pt x="5836444" y="4194539"/>
                  <a:pt x="5836909" y="4192887"/>
                  <a:pt x="5837993" y="4191029"/>
                </a:cubicBezTo>
                <a:lnTo>
                  <a:pt x="5838922" y="4190616"/>
                </a:lnTo>
                <a:lnTo>
                  <a:pt x="5838458" y="4189893"/>
                </a:lnTo>
                <a:lnTo>
                  <a:pt x="5836909" y="4192681"/>
                </a:lnTo>
                <a:cubicBezTo>
                  <a:pt x="5836134" y="4193713"/>
                  <a:pt x="5835050" y="4194539"/>
                  <a:pt x="5833501" y="4194333"/>
                </a:cubicBezTo>
                <a:cubicBezTo>
                  <a:pt x="5833191" y="4193507"/>
                  <a:pt x="5832572" y="4193920"/>
                  <a:pt x="5832262" y="4193197"/>
                </a:cubicBezTo>
                <a:cubicBezTo>
                  <a:pt x="5832262" y="4193197"/>
                  <a:pt x="5831487" y="4192577"/>
                  <a:pt x="5831023" y="4191442"/>
                </a:cubicBezTo>
                <a:cubicBezTo>
                  <a:pt x="5830403" y="4190409"/>
                  <a:pt x="5829938" y="4188757"/>
                  <a:pt x="5830558" y="4186589"/>
                </a:cubicBezTo>
                <a:cubicBezTo>
                  <a:pt x="5831023" y="4185453"/>
                  <a:pt x="5832727" y="4182665"/>
                  <a:pt x="5833036" y="4183491"/>
                </a:cubicBezTo>
                <a:cubicBezTo>
                  <a:pt x="5834120" y="4183904"/>
                  <a:pt x="5833811" y="4183078"/>
                  <a:pt x="5834585" y="4182665"/>
                </a:cubicBezTo>
                <a:lnTo>
                  <a:pt x="5835824" y="4183388"/>
                </a:lnTo>
                <a:lnTo>
                  <a:pt x="5836134" y="4182872"/>
                </a:lnTo>
                <a:cubicBezTo>
                  <a:pt x="5837373" y="4181116"/>
                  <a:pt x="5837373" y="4181116"/>
                  <a:pt x="5838458" y="4181426"/>
                </a:cubicBezTo>
                <a:cubicBezTo>
                  <a:pt x="5839077" y="4181529"/>
                  <a:pt x="5839387" y="4182355"/>
                  <a:pt x="5839851" y="4183078"/>
                </a:cubicBezTo>
                <a:lnTo>
                  <a:pt x="5840317" y="4183698"/>
                </a:lnTo>
                <a:lnTo>
                  <a:pt x="5839077" y="4179567"/>
                </a:lnTo>
                <a:cubicBezTo>
                  <a:pt x="5836909" y="4175128"/>
                  <a:pt x="5835670" y="4170274"/>
                  <a:pt x="5833811" y="4165111"/>
                </a:cubicBezTo>
                <a:lnTo>
                  <a:pt x="5831642" y="4158606"/>
                </a:lnTo>
                <a:lnTo>
                  <a:pt x="5830558" y="4158916"/>
                </a:lnTo>
                <a:cubicBezTo>
                  <a:pt x="5830093" y="4158813"/>
                  <a:pt x="5829474" y="4158606"/>
                  <a:pt x="5829164" y="4158297"/>
                </a:cubicBezTo>
                <a:cubicBezTo>
                  <a:pt x="5828854" y="4157884"/>
                  <a:pt x="5828699" y="4157161"/>
                  <a:pt x="5829164" y="4156025"/>
                </a:cubicBezTo>
                <a:cubicBezTo>
                  <a:pt x="5829164" y="4154993"/>
                  <a:pt x="5829319" y="4154373"/>
                  <a:pt x="5829783" y="4154063"/>
                </a:cubicBezTo>
                <a:lnTo>
                  <a:pt x="5830248" y="4153960"/>
                </a:lnTo>
                <a:lnTo>
                  <a:pt x="5829164" y="4150862"/>
                </a:lnTo>
                <a:cubicBezTo>
                  <a:pt x="5828080" y="4146009"/>
                  <a:pt x="5826066" y="4140846"/>
                  <a:pt x="5824982" y="4135993"/>
                </a:cubicBezTo>
                <a:cubicBezTo>
                  <a:pt x="5823742" y="4131140"/>
                  <a:pt x="5821574" y="4126700"/>
                  <a:pt x="5819715" y="4121641"/>
                </a:cubicBezTo>
                <a:cubicBezTo>
                  <a:pt x="5818166" y="4117407"/>
                  <a:pt x="5816307" y="4112244"/>
                  <a:pt x="5814139" y="4107907"/>
                </a:cubicBezTo>
                <a:cubicBezTo>
                  <a:pt x="5812125" y="4103468"/>
                  <a:pt x="5809957" y="4099028"/>
                  <a:pt x="5807943" y="4094588"/>
                </a:cubicBezTo>
                <a:cubicBezTo>
                  <a:pt x="5806549" y="4091903"/>
                  <a:pt x="5805000" y="4089941"/>
                  <a:pt x="5803606" y="4087979"/>
                </a:cubicBezTo>
                <a:cubicBezTo>
                  <a:pt x="5803606" y="4087979"/>
                  <a:pt x="5803606" y="4087979"/>
                  <a:pt x="5802676" y="4086224"/>
                </a:cubicBezTo>
                <a:cubicBezTo>
                  <a:pt x="5801902" y="4082197"/>
                  <a:pt x="5803451" y="4094794"/>
                  <a:pt x="5801283" y="4077550"/>
                </a:cubicBezTo>
                <a:cubicBezTo>
                  <a:pt x="5801283" y="4077550"/>
                  <a:pt x="5801438" y="4077550"/>
                  <a:pt x="5800663" y="4077344"/>
                </a:cubicBezTo>
                <a:cubicBezTo>
                  <a:pt x="5800663" y="4077344"/>
                  <a:pt x="5800663" y="4077344"/>
                  <a:pt x="5800198" y="4076414"/>
                </a:cubicBezTo>
                <a:cubicBezTo>
                  <a:pt x="5799579" y="4076208"/>
                  <a:pt x="5798959" y="4076001"/>
                  <a:pt x="5798494" y="4075175"/>
                </a:cubicBezTo>
                <a:cubicBezTo>
                  <a:pt x="5796016" y="4075898"/>
                  <a:pt x="5795706" y="4077344"/>
                  <a:pt x="5795396" y="4077963"/>
                </a:cubicBezTo>
                <a:cubicBezTo>
                  <a:pt x="5795396" y="4077963"/>
                  <a:pt x="5795396" y="4077963"/>
                  <a:pt x="5796016" y="4078170"/>
                </a:cubicBezTo>
                <a:cubicBezTo>
                  <a:pt x="5796016" y="4078170"/>
                  <a:pt x="5796016" y="4078170"/>
                  <a:pt x="5795861" y="4078789"/>
                </a:cubicBezTo>
                <a:lnTo>
                  <a:pt x="5796636" y="4083539"/>
                </a:lnTo>
                <a:lnTo>
                  <a:pt x="5799888" y="4087773"/>
                </a:lnTo>
                <a:cubicBezTo>
                  <a:pt x="5800198" y="4089115"/>
                  <a:pt x="5799734" y="4090354"/>
                  <a:pt x="5798340" y="4091490"/>
                </a:cubicBezTo>
                <a:cubicBezTo>
                  <a:pt x="5797565" y="4091387"/>
                  <a:pt x="5795087" y="4090044"/>
                  <a:pt x="5795087" y="4090870"/>
                </a:cubicBezTo>
                <a:cubicBezTo>
                  <a:pt x="5793228" y="4088702"/>
                  <a:pt x="5791524" y="4086017"/>
                  <a:pt x="5791524" y="4083745"/>
                </a:cubicBezTo>
                <a:cubicBezTo>
                  <a:pt x="5791524" y="4083023"/>
                  <a:pt x="5791834" y="4082403"/>
                  <a:pt x="5792298" y="4081784"/>
                </a:cubicBezTo>
                <a:lnTo>
                  <a:pt x="5793073" y="4081577"/>
                </a:lnTo>
                <a:lnTo>
                  <a:pt x="5792763" y="4079409"/>
                </a:lnTo>
                <a:cubicBezTo>
                  <a:pt x="5792763" y="4079409"/>
                  <a:pt x="5792763" y="4079409"/>
                  <a:pt x="5792918" y="4078686"/>
                </a:cubicBezTo>
                <a:cubicBezTo>
                  <a:pt x="5792918" y="4078686"/>
                  <a:pt x="5792918" y="4078686"/>
                  <a:pt x="5792298" y="4078479"/>
                </a:cubicBezTo>
                <a:cubicBezTo>
                  <a:pt x="5792298" y="4078479"/>
                  <a:pt x="5791679" y="4078273"/>
                  <a:pt x="5791834" y="4077654"/>
                </a:cubicBezTo>
                <a:cubicBezTo>
                  <a:pt x="5791214" y="4077447"/>
                  <a:pt x="5791524" y="4076724"/>
                  <a:pt x="5791059" y="4075898"/>
                </a:cubicBezTo>
                <a:lnTo>
                  <a:pt x="5788891" y="4073627"/>
                </a:lnTo>
                <a:lnTo>
                  <a:pt x="5783624" y="4073833"/>
                </a:lnTo>
                <a:cubicBezTo>
                  <a:pt x="5777273" y="4073936"/>
                  <a:pt x="5771078" y="4073317"/>
                  <a:pt x="5766276" y="4068257"/>
                </a:cubicBezTo>
                <a:cubicBezTo>
                  <a:pt x="5764417" y="4057105"/>
                  <a:pt x="5758376" y="4055143"/>
                  <a:pt x="5754814" y="4048845"/>
                </a:cubicBezTo>
                <a:cubicBezTo>
                  <a:pt x="5754194" y="4033666"/>
                  <a:pt x="5758221" y="4013738"/>
                  <a:pt x="5773091" y="4006820"/>
                </a:cubicBezTo>
                <a:lnTo>
                  <a:pt x="5778668" y="4005477"/>
                </a:lnTo>
                <a:lnTo>
                  <a:pt x="5777893" y="3994842"/>
                </a:lnTo>
                <a:lnTo>
                  <a:pt x="5777893" y="3993603"/>
                </a:lnTo>
                <a:lnTo>
                  <a:pt x="5775725" y="3992983"/>
                </a:lnTo>
                <a:lnTo>
                  <a:pt x="5775570" y="3993809"/>
                </a:lnTo>
                <a:lnTo>
                  <a:pt x="5775260" y="3992777"/>
                </a:lnTo>
                <a:lnTo>
                  <a:pt x="5773866" y="3992467"/>
                </a:lnTo>
                <a:cubicBezTo>
                  <a:pt x="5769839" y="3991022"/>
                  <a:pt x="5766431" y="3989060"/>
                  <a:pt x="5765966" y="3985652"/>
                </a:cubicBezTo>
                <a:lnTo>
                  <a:pt x="5766276" y="3983380"/>
                </a:lnTo>
                <a:lnTo>
                  <a:pt x="5765811" y="3984723"/>
                </a:lnTo>
                <a:cubicBezTo>
                  <a:pt x="5758841" y="3996494"/>
                  <a:pt x="5747843" y="3994223"/>
                  <a:pt x="5736381" y="3999798"/>
                </a:cubicBezTo>
                <a:cubicBezTo>
                  <a:pt x="5732819" y="3995307"/>
                  <a:pt x="5729604" y="3993654"/>
                  <a:pt x="5726526" y="3992983"/>
                </a:cubicBezTo>
                <a:lnTo>
                  <a:pt x="5720540" y="3992368"/>
                </a:lnTo>
                <a:lnTo>
                  <a:pt x="5718744" y="3993653"/>
                </a:lnTo>
                <a:lnTo>
                  <a:pt x="5702373" y="4001840"/>
                </a:lnTo>
                <a:lnTo>
                  <a:pt x="5713805" y="4003657"/>
                </a:lnTo>
                <a:cubicBezTo>
                  <a:pt x="5718026" y="4004832"/>
                  <a:pt x="5722285" y="4006975"/>
                  <a:pt x="5726623" y="4011466"/>
                </a:cubicBezTo>
                <a:cubicBezTo>
                  <a:pt x="5726003" y="4014048"/>
                  <a:pt x="5727707" y="4018384"/>
                  <a:pt x="5723680" y="4019107"/>
                </a:cubicBezTo>
                <a:cubicBezTo>
                  <a:pt x="5720891" y="4013789"/>
                  <a:pt x="5715819" y="4012034"/>
                  <a:pt x="5711172" y="4010305"/>
                </a:cubicBezTo>
                <a:lnTo>
                  <a:pt x="5701775" y="4002140"/>
                </a:lnTo>
                <a:lnTo>
                  <a:pt x="5694204" y="4005926"/>
                </a:lnTo>
                <a:lnTo>
                  <a:pt x="5696263" y="4005374"/>
                </a:lnTo>
                <a:cubicBezTo>
                  <a:pt x="5698276" y="4007026"/>
                  <a:pt x="5698276" y="4007026"/>
                  <a:pt x="5696883" y="4009711"/>
                </a:cubicBezTo>
                <a:cubicBezTo>
                  <a:pt x="5696108" y="4010537"/>
                  <a:pt x="5694404" y="4011466"/>
                  <a:pt x="5692391" y="4012086"/>
                </a:cubicBezTo>
                <a:cubicBezTo>
                  <a:pt x="5691461" y="4012292"/>
                  <a:pt x="5690532" y="4012396"/>
                  <a:pt x="5689602" y="4012396"/>
                </a:cubicBezTo>
                <a:cubicBezTo>
                  <a:pt x="5688673" y="4012396"/>
                  <a:pt x="5687744" y="4012292"/>
                  <a:pt x="5687124" y="4011879"/>
                </a:cubicBezTo>
                <a:lnTo>
                  <a:pt x="5688078" y="4008990"/>
                </a:lnTo>
                <a:lnTo>
                  <a:pt x="5685512" y="4010273"/>
                </a:lnTo>
                <a:lnTo>
                  <a:pt x="5686834" y="4013622"/>
                </a:lnTo>
                <a:cubicBezTo>
                  <a:pt x="5687047" y="4017094"/>
                  <a:pt x="5686195" y="4020243"/>
                  <a:pt x="5684026" y="4020759"/>
                </a:cubicBezTo>
                <a:cubicBezTo>
                  <a:pt x="5682864" y="4021017"/>
                  <a:pt x="5681315" y="4020553"/>
                  <a:pt x="5679360" y="4018991"/>
                </a:cubicBezTo>
                <a:lnTo>
                  <a:pt x="5675993" y="4015034"/>
                </a:lnTo>
                <a:lnTo>
                  <a:pt x="5668143" y="4018960"/>
                </a:lnTo>
                <a:lnTo>
                  <a:pt x="5664015" y="4019768"/>
                </a:lnTo>
                <a:lnTo>
                  <a:pt x="5664664" y="4022721"/>
                </a:lnTo>
                <a:lnTo>
                  <a:pt x="5663890" y="4026748"/>
                </a:lnTo>
                <a:lnTo>
                  <a:pt x="5664044" y="4026851"/>
                </a:lnTo>
                <a:cubicBezTo>
                  <a:pt x="5664974" y="4028297"/>
                  <a:pt x="5664974" y="4030569"/>
                  <a:pt x="5663580" y="4033047"/>
                </a:cubicBezTo>
                <a:lnTo>
                  <a:pt x="5661566" y="4031808"/>
                </a:lnTo>
                <a:lnTo>
                  <a:pt x="5659397" y="4034802"/>
                </a:lnTo>
                <a:lnTo>
                  <a:pt x="5656455" y="4036661"/>
                </a:lnTo>
                <a:lnTo>
                  <a:pt x="5655680" y="4039036"/>
                </a:lnTo>
                <a:lnTo>
                  <a:pt x="5657849" y="4038519"/>
                </a:lnTo>
                <a:cubicBezTo>
                  <a:pt x="5658778" y="4038726"/>
                  <a:pt x="5659707" y="4039242"/>
                  <a:pt x="5660792" y="4040068"/>
                </a:cubicBezTo>
                <a:cubicBezTo>
                  <a:pt x="5660946" y="4042753"/>
                  <a:pt x="5657849" y="4046986"/>
                  <a:pt x="5655370" y="4046780"/>
                </a:cubicBezTo>
                <a:cubicBezTo>
                  <a:pt x="5654441" y="4045954"/>
                  <a:pt x="5653666" y="4045025"/>
                  <a:pt x="5652737" y="4044095"/>
                </a:cubicBezTo>
                <a:lnTo>
                  <a:pt x="5653357" y="4042856"/>
                </a:lnTo>
                <a:lnTo>
                  <a:pt x="5650723" y="4046676"/>
                </a:lnTo>
                <a:cubicBezTo>
                  <a:pt x="5647161" y="4050291"/>
                  <a:pt x="5642514" y="4052356"/>
                  <a:pt x="5637402" y="4051633"/>
                </a:cubicBezTo>
                <a:cubicBezTo>
                  <a:pt x="5634769" y="4051323"/>
                  <a:pt x="5631981" y="4050291"/>
                  <a:pt x="5629347" y="4048329"/>
                </a:cubicBezTo>
                <a:cubicBezTo>
                  <a:pt x="5627489" y="4046883"/>
                  <a:pt x="5626250" y="4045128"/>
                  <a:pt x="5625165" y="4043166"/>
                </a:cubicBezTo>
                <a:lnTo>
                  <a:pt x="5623461" y="4038416"/>
                </a:lnTo>
                <a:lnTo>
                  <a:pt x="5622222" y="4037590"/>
                </a:lnTo>
                <a:lnTo>
                  <a:pt x="5622997" y="4036867"/>
                </a:lnTo>
                <a:lnTo>
                  <a:pt x="5621603" y="4032840"/>
                </a:lnTo>
                <a:lnTo>
                  <a:pt x="5619912" y="4028408"/>
                </a:lnTo>
                <a:lnTo>
                  <a:pt x="5616464" y="4029083"/>
                </a:lnTo>
                <a:lnTo>
                  <a:pt x="5611938" y="4029083"/>
                </a:lnTo>
                <a:lnTo>
                  <a:pt x="5613703" y="4030672"/>
                </a:lnTo>
                <a:cubicBezTo>
                  <a:pt x="5611999" y="4035112"/>
                  <a:pt x="5610450" y="4042340"/>
                  <a:pt x="5605803" y="4045231"/>
                </a:cubicBezTo>
                <a:lnTo>
                  <a:pt x="5604719" y="4045541"/>
                </a:lnTo>
                <a:lnTo>
                  <a:pt x="5603945" y="4046470"/>
                </a:lnTo>
                <a:lnTo>
                  <a:pt x="5603945" y="4046676"/>
                </a:lnTo>
                <a:cubicBezTo>
                  <a:pt x="5603170" y="4046676"/>
                  <a:pt x="5603325" y="4047606"/>
                  <a:pt x="5604100" y="4047503"/>
                </a:cubicBezTo>
                <a:cubicBezTo>
                  <a:pt x="5603480" y="4048845"/>
                  <a:pt x="5602860" y="4049981"/>
                  <a:pt x="5602396" y="4050600"/>
                </a:cubicBezTo>
                <a:cubicBezTo>
                  <a:pt x="5602086" y="4050910"/>
                  <a:pt x="5601776" y="4051013"/>
                  <a:pt x="5601466" y="4050910"/>
                </a:cubicBezTo>
                <a:cubicBezTo>
                  <a:pt x="5601157" y="4050910"/>
                  <a:pt x="5600692" y="4050807"/>
                  <a:pt x="5600227" y="4050394"/>
                </a:cubicBezTo>
                <a:cubicBezTo>
                  <a:pt x="5598523" y="4049568"/>
                  <a:pt x="5599143" y="4047812"/>
                  <a:pt x="5597129" y="4046161"/>
                </a:cubicBezTo>
                <a:cubicBezTo>
                  <a:pt x="5593412" y="4043786"/>
                  <a:pt x="5589384" y="4051013"/>
                  <a:pt x="5581949" y="4046161"/>
                </a:cubicBezTo>
                <a:cubicBezTo>
                  <a:pt x="5583344" y="4044302"/>
                  <a:pt x="5579316" y="4040171"/>
                  <a:pt x="5581485" y="4037487"/>
                </a:cubicBezTo>
                <a:cubicBezTo>
                  <a:pt x="5587061" y="4028400"/>
                  <a:pt x="5589849" y="4029949"/>
                  <a:pt x="5596045" y="4032221"/>
                </a:cubicBezTo>
                <a:cubicBezTo>
                  <a:pt x="5595270" y="4032324"/>
                  <a:pt x="5596200" y="4033047"/>
                  <a:pt x="5596200" y="4033047"/>
                </a:cubicBezTo>
                <a:cubicBezTo>
                  <a:pt x="5598058" y="4034699"/>
                  <a:pt x="5598214" y="4029536"/>
                  <a:pt x="5601001" y="4031085"/>
                </a:cubicBezTo>
                <a:lnTo>
                  <a:pt x="5601466" y="4031808"/>
                </a:lnTo>
                <a:lnTo>
                  <a:pt x="5601931" y="4031808"/>
                </a:lnTo>
                <a:lnTo>
                  <a:pt x="5604247" y="4029083"/>
                </a:lnTo>
                <a:lnTo>
                  <a:pt x="5564410" y="4029083"/>
                </a:lnTo>
                <a:lnTo>
                  <a:pt x="5569228" y="4038597"/>
                </a:lnTo>
                <a:cubicBezTo>
                  <a:pt x="5570100" y="4044095"/>
                  <a:pt x="5570177" y="4050084"/>
                  <a:pt x="5572036" y="4056486"/>
                </a:cubicBezTo>
                <a:cubicBezTo>
                  <a:pt x="5562587" y="4062681"/>
                  <a:pt x="5564136" y="4068980"/>
                  <a:pt x="5562278" y="4075072"/>
                </a:cubicBezTo>
                <a:cubicBezTo>
                  <a:pt x="5554533" y="4076105"/>
                  <a:pt x="5546633" y="4083333"/>
                  <a:pt x="5538579" y="4087050"/>
                </a:cubicBezTo>
                <a:cubicBezTo>
                  <a:pt x="5533932" y="4084881"/>
                  <a:pt x="5529285" y="4083642"/>
                  <a:pt x="5524793" y="4082300"/>
                </a:cubicBezTo>
                <a:lnTo>
                  <a:pt x="5517357" y="4079719"/>
                </a:lnTo>
                <a:lnTo>
                  <a:pt x="5515654" y="4083023"/>
                </a:lnTo>
                <a:lnTo>
                  <a:pt x="5513640" y="4078479"/>
                </a:lnTo>
                <a:lnTo>
                  <a:pt x="5511007" y="4077550"/>
                </a:lnTo>
                <a:cubicBezTo>
                  <a:pt x="5510697" y="4071768"/>
                  <a:pt x="5507290" y="4066192"/>
                  <a:pt x="5504501" y="4060410"/>
                </a:cubicBezTo>
                <a:lnTo>
                  <a:pt x="5503572" y="4057622"/>
                </a:lnTo>
                <a:lnTo>
                  <a:pt x="5502178" y="4059687"/>
                </a:lnTo>
                <a:cubicBezTo>
                  <a:pt x="5493503" y="4056486"/>
                  <a:pt x="5488237" y="4041204"/>
                  <a:pt x="5496292" y="4039139"/>
                </a:cubicBezTo>
                <a:cubicBezTo>
                  <a:pt x="5497531" y="4038829"/>
                  <a:pt x="5498770" y="4038932"/>
                  <a:pt x="5500629" y="4039242"/>
                </a:cubicBezTo>
                <a:lnTo>
                  <a:pt x="5502488" y="4043476"/>
                </a:lnTo>
                <a:lnTo>
                  <a:pt x="5502643" y="4042340"/>
                </a:lnTo>
                <a:cubicBezTo>
                  <a:pt x="5511936" y="4036041"/>
                  <a:pt x="5511317" y="4029846"/>
                  <a:pt x="5515654" y="4024064"/>
                </a:cubicBezTo>
                <a:lnTo>
                  <a:pt x="5530549" y="4019730"/>
                </a:lnTo>
                <a:lnTo>
                  <a:pt x="5513115" y="4014812"/>
                </a:lnTo>
                <a:lnTo>
                  <a:pt x="5508374" y="4018281"/>
                </a:lnTo>
                <a:cubicBezTo>
                  <a:pt x="5505276" y="4018178"/>
                  <a:pt x="5501868" y="4016526"/>
                  <a:pt x="5500474" y="4013841"/>
                </a:cubicBezTo>
                <a:lnTo>
                  <a:pt x="5505624" y="4011154"/>
                </a:lnTo>
                <a:lnTo>
                  <a:pt x="5454969" y="3978467"/>
                </a:lnTo>
                <a:lnTo>
                  <a:pt x="5431283" y="3970875"/>
                </a:lnTo>
                <a:lnTo>
                  <a:pt x="5427761" y="3971235"/>
                </a:lnTo>
                <a:lnTo>
                  <a:pt x="5425969" y="3971713"/>
                </a:lnTo>
                <a:lnTo>
                  <a:pt x="5425802" y="3971435"/>
                </a:lnTo>
                <a:lnTo>
                  <a:pt x="5421307" y="3971894"/>
                </a:lnTo>
                <a:lnTo>
                  <a:pt x="5414507" y="3976359"/>
                </a:lnTo>
                <a:lnTo>
                  <a:pt x="5416009" y="3972436"/>
                </a:lnTo>
                <a:lnTo>
                  <a:pt x="5410617" y="3972987"/>
                </a:lnTo>
                <a:lnTo>
                  <a:pt x="5406297" y="3978011"/>
                </a:lnTo>
                <a:lnTo>
                  <a:pt x="5403088" y="3974414"/>
                </a:lnTo>
                <a:lnTo>
                  <a:pt x="5380681" y="3980998"/>
                </a:lnTo>
                <a:lnTo>
                  <a:pt x="5366310" y="3988036"/>
                </a:lnTo>
                <a:lnTo>
                  <a:pt x="5366334" y="3988027"/>
                </a:lnTo>
                <a:lnTo>
                  <a:pt x="5368038" y="3990505"/>
                </a:lnTo>
                <a:lnTo>
                  <a:pt x="5368812" y="3989989"/>
                </a:lnTo>
                <a:lnTo>
                  <a:pt x="5372529" y="3988853"/>
                </a:lnTo>
                <a:lnTo>
                  <a:pt x="5372374" y="3988440"/>
                </a:lnTo>
                <a:cubicBezTo>
                  <a:pt x="5372220" y="3987717"/>
                  <a:pt x="5372374" y="3986788"/>
                  <a:pt x="5373149" y="3985962"/>
                </a:cubicBezTo>
                <a:cubicBezTo>
                  <a:pt x="5374853" y="3983484"/>
                  <a:pt x="5377331" y="3983691"/>
                  <a:pt x="5379965" y="3984620"/>
                </a:cubicBezTo>
                <a:cubicBezTo>
                  <a:pt x="5381514" y="3983897"/>
                  <a:pt x="5382443" y="3982141"/>
                  <a:pt x="5384147" y="3983071"/>
                </a:cubicBezTo>
                <a:cubicBezTo>
                  <a:pt x="5381668" y="3984620"/>
                  <a:pt x="5380739" y="3985549"/>
                  <a:pt x="5379190" y="3986272"/>
                </a:cubicBezTo>
                <a:cubicBezTo>
                  <a:pt x="5379190" y="3987201"/>
                  <a:pt x="5379190" y="3988027"/>
                  <a:pt x="5378416" y="3988853"/>
                </a:cubicBezTo>
                <a:lnTo>
                  <a:pt x="5376712" y="3989576"/>
                </a:lnTo>
                <a:lnTo>
                  <a:pt x="5377021" y="3990608"/>
                </a:lnTo>
                <a:cubicBezTo>
                  <a:pt x="5377331" y="3991331"/>
                  <a:pt x="5377796" y="3992158"/>
                  <a:pt x="5378261" y="3992983"/>
                </a:cubicBezTo>
                <a:cubicBezTo>
                  <a:pt x="5375782" y="3993397"/>
                  <a:pt x="5373769" y="3994326"/>
                  <a:pt x="5372220" y="3995048"/>
                </a:cubicBezTo>
                <a:lnTo>
                  <a:pt x="5369432" y="3995462"/>
                </a:lnTo>
                <a:lnTo>
                  <a:pt x="5369432" y="3995771"/>
                </a:lnTo>
                <a:cubicBezTo>
                  <a:pt x="5369277" y="3997527"/>
                  <a:pt x="5368347" y="3999075"/>
                  <a:pt x="5366954" y="4000418"/>
                </a:cubicBezTo>
                <a:lnTo>
                  <a:pt x="5365559" y="4001244"/>
                </a:lnTo>
                <a:cubicBezTo>
                  <a:pt x="5367418" y="4003722"/>
                  <a:pt x="5367418" y="4008162"/>
                  <a:pt x="5363855" y="4011363"/>
                </a:cubicBezTo>
                <a:cubicBezTo>
                  <a:pt x="5360293" y="4011260"/>
                  <a:pt x="5358124" y="4009917"/>
                  <a:pt x="5356421" y="4009298"/>
                </a:cubicBezTo>
                <a:lnTo>
                  <a:pt x="5356575" y="4003309"/>
                </a:lnTo>
                <a:lnTo>
                  <a:pt x="5351928" y="4000005"/>
                </a:lnTo>
                <a:lnTo>
                  <a:pt x="5356602" y="3992790"/>
                </a:lnTo>
                <a:lnTo>
                  <a:pt x="5354841" y="3993653"/>
                </a:lnTo>
                <a:lnTo>
                  <a:pt x="5346083" y="3996947"/>
                </a:lnTo>
                <a:lnTo>
                  <a:pt x="5346294" y="3997062"/>
                </a:lnTo>
                <a:cubicBezTo>
                  <a:pt x="5349334" y="4000366"/>
                  <a:pt x="5351541" y="4004342"/>
                  <a:pt x="5352548" y="4007233"/>
                </a:cubicBezTo>
                <a:cubicBezTo>
                  <a:pt x="5348056" y="4007130"/>
                  <a:pt x="5343874" y="4004548"/>
                  <a:pt x="5340621" y="4001347"/>
                </a:cubicBezTo>
                <a:lnTo>
                  <a:pt x="5339248" y="3999517"/>
                </a:lnTo>
                <a:lnTo>
                  <a:pt x="5337430" y="4000201"/>
                </a:lnTo>
                <a:lnTo>
                  <a:pt x="5337213" y="4000418"/>
                </a:lnTo>
                <a:lnTo>
                  <a:pt x="5337833" y="4000418"/>
                </a:lnTo>
                <a:lnTo>
                  <a:pt x="5334425" y="4004651"/>
                </a:lnTo>
                <a:lnTo>
                  <a:pt x="5334115" y="4005890"/>
                </a:lnTo>
                <a:cubicBezTo>
                  <a:pt x="5334115" y="4007336"/>
                  <a:pt x="5334115" y="4008885"/>
                  <a:pt x="5332721" y="4010021"/>
                </a:cubicBezTo>
                <a:lnTo>
                  <a:pt x="5328849" y="4008472"/>
                </a:lnTo>
                <a:lnTo>
                  <a:pt x="5328075" y="4008988"/>
                </a:lnTo>
                <a:cubicBezTo>
                  <a:pt x="5324047" y="4010640"/>
                  <a:pt x="5319710" y="4011157"/>
                  <a:pt x="5316922" y="4010847"/>
                </a:cubicBezTo>
                <a:lnTo>
                  <a:pt x="5319843" y="4006877"/>
                </a:lnTo>
                <a:lnTo>
                  <a:pt x="5304063" y="4012933"/>
                </a:lnTo>
                <a:lnTo>
                  <a:pt x="5307067" y="4018359"/>
                </a:lnTo>
                <a:cubicBezTo>
                  <a:pt x="5307009" y="4021147"/>
                  <a:pt x="5305382" y="4023651"/>
                  <a:pt x="5301587" y="4023754"/>
                </a:cubicBezTo>
                <a:cubicBezTo>
                  <a:pt x="5300116" y="4022773"/>
                  <a:pt x="5298876" y="4020475"/>
                  <a:pt x="5298063" y="4018087"/>
                </a:cubicBezTo>
                <a:lnTo>
                  <a:pt x="5297644" y="4015397"/>
                </a:lnTo>
                <a:lnTo>
                  <a:pt x="5272055" y="4025217"/>
                </a:lnTo>
                <a:lnTo>
                  <a:pt x="5271847" y="4025612"/>
                </a:lnTo>
                <a:lnTo>
                  <a:pt x="5271547" y="4025412"/>
                </a:lnTo>
                <a:lnTo>
                  <a:pt x="5229691" y="4041476"/>
                </a:lnTo>
                <a:lnTo>
                  <a:pt x="5231419" y="4050084"/>
                </a:lnTo>
                <a:cubicBezTo>
                  <a:pt x="5229560" y="4049155"/>
                  <a:pt x="5226927" y="4047606"/>
                  <a:pt x="5225223" y="4045437"/>
                </a:cubicBezTo>
                <a:lnTo>
                  <a:pt x="5225264" y="4043174"/>
                </a:lnTo>
                <a:lnTo>
                  <a:pt x="5222573" y="4044207"/>
                </a:lnTo>
                <a:lnTo>
                  <a:pt x="5222435" y="4045128"/>
                </a:lnTo>
                <a:cubicBezTo>
                  <a:pt x="5222435" y="4045128"/>
                  <a:pt x="5222745" y="4045851"/>
                  <a:pt x="5222125" y="4046986"/>
                </a:cubicBezTo>
                <a:cubicBezTo>
                  <a:pt x="5221661" y="4048122"/>
                  <a:pt x="5221041" y="4049258"/>
                  <a:pt x="5219182" y="4049155"/>
                </a:cubicBezTo>
                <a:lnTo>
                  <a:pt x="5219182" y="4045636"/>
                </a:lnTo>
                <a:lnTo>
                  <a:pt x="5212141" y="4048615"/>
                </a:lnTo>
                <a:lnTo>
                  <a:pt x="5213761" y="4053904"/>
                </a:lnTo>
                <a:lnTo>
                  <a:pt x="5213606" y="4057312"/>
                </a:lnTo>
                <a:lnTo>
                  <a:pt x="5218562" y="4061752"/>
                </a:lnTo>
                <a:cubicBezTo>
                  <a:pt x="5218098" y="4062888"/>
                  <a:pt x="5217478" y="4063921"/>
                  <a:pt x="5218562" y="4064540"/>
                </a:cubicBezTo>
                <a:cubicBezTo>
                  <a:pt x="5217169" y="4068154"/>
                  <a:pt x="5214690" y="4070839"/>
                  <a:pt x="5211438" y="4072800"/>
                </a:cubicBezTo>
                <a:lnTo>
                  <a:pt x="5210663" y="4073007"/>
                </a:lnTo>
                <a:lnTo>
                  <a:pt x="5212831" y="4074349"/>
                </a:lnTo>
                <a:cubicBezTo>
                  <a:pt x="5211902" y="4079099"/>
                  <a:pt x="5209269" y="4078996"/>
                  <a:pt x="5206636" y="4078893"/>
                </a:cubicBezTo>
                <a:cubicBezTo>
                  <a:pt x="5207255" y="4077344"/>
                  <a:pt x="5206636" y="4076414"/>
                  <a:pt x="5206171" y="4075589"/>
                </a:cubicBezTo>
                <a:lnTo>
                  <a:pt x="5206016" y="4074349"/>
                </a:lnTo>
                <a:lnTo>
                  <a:pt x="5200595" y="4075795"/>
                </a:lnTo>
                <a:cubicBezTo>
                  <a:pt x="5194863" y="4076001"/>
                  <a:pt x="5188823" y="4074246"/>
                  <a:pt x="5184485" y="4070322"/>
                </a:cubicBezTo>
                <a:lnTo>
                  <a:pt x="5184021" y="4069600"/>
                </a:lnTo>
                <a:lnTo>
                  <a:pt x="5184485" y="4071045"/>
                </a:lnTo>
                <a:cubicBezTo>
                  <a:pt x="5184330" y="4072284"/>
                  <a:pt x="5184330" y="4072284"/>
                  <a:pt x="5183556" y="4072697"/>
                </a:cubicBezTo>
                <a:cubicBezTo>
                  <a:pt x="5182782" y="4074349"/>
                  <a:pt x="5182472" y="4075589"/>
                  <a:pt x="5180613" y="4075692"/>
                </a:cubicBezTo>
                <a:cubicBezTo>
                  <a:pt x="5179219" y="4075589"/>
                  <a:pt x="5178290" y="4075072"/>
                  <a:pt x="5177825" y="4074143"/>
                </a:cubicBezTo>
                <a:cubicBezTo>
                  <a:pt x="5177360" y="4073213"/>
                  <a:pt x="5177206" y="4071871"/>
                  <a:pt x="5177050" y="4070322"/>
                </a:cubicBezTo>
                <a:cubicBezTo>
                  <a:pt x="5176895" y="4067121"/>
                  <a:pt x="5179529" y="4066605"/>
                  <a:pt x="5179839" y="4064127"/>
                </a:cubicBezTo>
                <a:lnTo>
                  <a:pt x="5181233" y="4065056"/>
                </a:lnTo>
                <a:lnTo>
                  <a:pt x="5183810" y="4060602"/>
                </a:lnTo>
                <a:lnTo>
                  <a:pt x="5168706" y="4066993"/>
                </a:lnTo>
                <a:lnTo>
                  <a:pt x="5170390" y="4067844"/>
                </a:lnTo>
                <a:cubicBezTo>
                  <a:pt x="5169305" y="4071974"/>
                  <a:pt x="5166982" y="4073110"/>
                  <a:pt x="5163265" y="4073110"/>
                </a:cubicBezTo>
                <a:lnTo>
                  <a:pt x="5164828" y="4068634"/>
                </a:lnTo>
                <a:lnTo>
                  <a:pt x="5146958" y="4076195"/>
                </a:lnTo>
                <a:lnTo>
                  <a:pt x="5147775" y="4076518"/>
                </a:lnTo>
                <a:cubicBezTo>
                  <a:pt x="5147930" y="4079099"/>
                  <a:pt x="5149014" y="4081887"/>
                  <a:pt x="5148240" y="4084778"/>
                </a:cubicBezTo>
                <a:cubicBezTo>
                  <a:pt x="5148085" y="4085707"/>
                  <a:pt x="5147465" y="4086740"/>
                  <a:pt x="5146691" y="4087773"/>
                </a:cubicBezTo>
                <a:lnTo>
                  <a:pt x="5135611" y="4080996"/>
                </a:lnTo>
                <a:lnTo>
                  <a:pt x="5120417" y="4087425"/>
                </a:lnTo>
                <a:lnTo>
                  <a:pt x="5120746" y="4090509"/>
                </a:lnTo>
                <a:cubicBezTo>
                  <a:pt x="5120165" y="4093168"/>
                  <a:pt x="5118500" y="4095259"/>
                  <a:pt x="5115247" y="4096549"/>
                </a:cubicBezTo>
                <a:cubicBezTo>
                  <a:pt x="5114937" y="4095310"/>
                  <a:pt x="5113853" y="4095517"/>
                  <a:pt x="5112614" y="4095724"/>
                </a:cubicBezTo>
                <a:lnTo>
                  <a:pt x="5110586" y="4092120"/>
                </a:lnTo>
                <a:lnTo>
                  <a:pt x="5027700" y="4137847"/>
                </a:lnTo>
                <a:lnTo>
                  <a:pt x="5031912" y="4138471"/>
                </a:lnTo>
                <a:cubicBezTo>
                  <a:pt x="5032842" y="4141982"/>
                  <a:pt x="5032223" y="4144564"/>
                  <a:pt x="5028969" y="4147765"/>
                </a:cubicBezTo>
                <a:cubicBezTo>
                  <a:pt x="5026878" y="4147661"/>
                  <a:pt x="5024516" y="4146061"/>
                  <a:pt x="5023180" y="4143970"/>
                </a:cubicBezTo>
                <a:lnTo>
                  <a:pt x="5023385" y="4140228"/>
                </a:lnTo>
                <a:lnTo>
                  <a:pt x="5009241" y="4148031"/>
                </a:lnTo>
                <a:lnTo>
                  <a:pt x="5079768" y="4178424"/>
                </a:lnTo>
                <a:lnTo>
                  <a:pt x="5076058" y="4171720"/>
                </a:lnTo>
                <a:cubicBezTo>
                  <a:pt x="5078072" y="4168622"/>
                  <a:pt x="5079001" y="4167899"/>
                  <a:pt x="5082564" y="4166970"/>
                </a:cubicBezTo>
                <a:cubicBezTo>
                  <a:pt x="5087056" y="4170687"/>
                  <a:pt x="5088140" y="4175334"/>
                  <a:pt x="5089224" y="4180084"/>
                </a:cubicBezTo>
                <a:lnTo>
                  <a:pt x="5087246" y="4181647"/>
                </a:lnTo>
                <a:lnTo>
                  <a:pt x="5108946" y="4190998"/>
                </a:lnTo>
                <a:lnTo>
                  <a:pt x="5111374" y="4187828"/>
                </a:lnTo>
                <a:cubicBezTo>
                  <a:pt x="5113698" y="4190357"/>
                  <a:pt x="5114627" y="4192139"/>
                  <a:pt x="5114705" y="4193339"/>
                </a:cubicBezTo>
                <a:lnTo>
                  <a:pt x="5114615" y="4193441"/>
                </a:lnTo>
                <a:lnTo>
                  <a:pt x="5160702" y="4213302"/>
                </a:lnTo>
                <a:lnTo>
                  <a:pt x="5162800" y="4208686"/>
                </a:lnTo>
                <a:lnTo>
                  <a:pt x="5162840" y="4214224"/>
                </a:lnTo>
                <a:lnTo>
                  <a:pt x="5185240" y="4223877"/>
                </a:lnTo>
                <a:lnTo>
                  <a:pt x="5185725" y="4220044"/>
                </a:lnTo>
                <a:cubicBezTo>
                  <a:pt x="5188513" y="4219218"/>
                  <a:pt x="5190372" y="4219734"/>
                  <a:pt x="5191766" y="4220870"/>
                </a:cubicBezTo>
                <a:lnTo>
                  <a:pt x="5192570" y="4227036"/>
                </a:lnTo>
                <a:lnTo>
                  <a:pt x="5203036" y="4231546"/>
                </a:lnTo>
                <a:lnTo>
                  <a:pt x="5202316" y="4240003"/>
                </a:lnTo>
                <a:lnTo>
                  <a:pt x="5206171" y="4235945"/>
                </a:lnTo>
                <a:lnTo>
                  <a:pt x="5208495" y="4233777"/>
                </a:lnTo>
                <a:lnTo>
                  <a:pt x="5207565" y="4229337"/>
                </a:lnTo>
                <a:cubicBezTo>
                  <a:pt x="5207720" y="4227891"/>
                  <a:pt x="5208649" y="4226652"/>
                  <a:pt x="5209888" y="4225516"/>
                </a:cubicBezTo>
                <a:cubicBezTo>
                  <a:pt x="5214690" y="4226239"/>
                  <a:pt x="5216549" y="4232641"/>
                  <a:pt x="5213451" y="4235326"/>
                </a:cubicBezTo>
                <a:lnTo>
                  <a:pt x="5211902" y="4235223"/>
                </a:lnTo>
                <a:lnTo>
                  <a:pt x="5209114" y="4239146"/>
                </a:lnTo>
                <a:cubicBezTo>
                  <a:pt x="5208030" y="4240282"/>
                  <a:pt x="5207100" y="4241108"/>
                  <a:pt x="5206791" y="4240902"/>
                </a:cubicBezTo>
                <a:cubicBezTo>
                  <a:pt x="5206326" y="4241624"/>
                  <a:pt x="5205551" y="4241211"/>
                  <a:pt x="5205241" y="4242037"/>
                </a:cubicBezTo>
                <a:cubicBezTo>
                  <a:pt x="5205241" y="4242037"/>
                  <a:pt x="5204932" y="4242760"/>
                  <a:pt x="5203848" y="4243070"/>
                </a:cubicBezTo>
                <a:cubicBezTo>
                  <a:pt x="5203228" y="4243276"/>
                  <a:pt x="5202608" y="4243483"/>
                  <a:pt x="5202144" y="4243380"/>
                </a:cubicBezTo>
                <a:lnTo>
                  <a:pt x="5202035" y="4243307"/>
                </a:lnTo>
                <a:lnTo>
                  <a:pt x="5200783" y="4258024"/>
                </a:lnTo>
                <a:lnTo>
                  <a:pt x="5203848" y="4257732"/>
                </a:lnTo>
                <a:cubicBezTo>
                  <a:pt x="5203383" y="4258971"/>
                  <a:pt x="5203228" y="4260933"/>
                  <a:pt x="5201989" y="4262482"/>
                </a:cubicBezTo>
                <a:lnTo>
                  <a:pt x="5200466" y="4261746"/>
                </a:lnTo>
                <a:lnTo>
                  <a:pt x="5198729" y="4282162"/>
                </a:lnTo>
                <a:lnTo>
                  <a:pt x="5129709" y="4260660"/>
                </a:lnTo>
                <a:lnTo>
                  <a:pt x="5129033" y="4264547"/>
                </a:lnTo>
                <a:lnTo>
                  <a:pt x="5127709" y="4260036"/>
                </a:lnTo>
                <a:lnTo>
                  <a:pt x="5109368" y="4254323"/>
                </a:lnTo>
                <a:lnTo>
                  <a:pt x="5057662" y="4239854"/>
                </a:lnTo>
                <a:lnTo>
                  <a:pt x="5057625" y="4242037"/>
                </a:lnTo>
                <a:cubicBezTo>
                  <a:pt x="5056077" y="4241831"/>
                  <a:pt x="5055147" y="4241211"/>
                  <a:pt x="5054527" y="4240385"/>
                </a:cubicBezTo>
                <a:lnTo>
                  <a:pt x="5055076" y="4239130"/>
                </a:lnTo>
                <a:lnTo>
                  <a:pt x="5018931" y="4229016"/>
                </a:lnTo>
                <a:lnTo>
                  <a:pt x="4925263" y="4196115"/>
                </a:lnTo>
                <a:lnTo>
                  <a:pt x="4839389" y="4171980"/>
                </a:lnTo>
                <a:lnTo>
                  <a:pt x="4839996" y="4174921"/>
                </a:lnTo>
                <a:lnTo>
                  <a:pt x="4837373" y="4171413"/>
                </a:lnTo>
                <a:lnTo>
                  <a:pt x="4826213" y="4168277"/>
                </a:lnTo>
                <a:lnTo>
                  <a:pt x="4832724" y="4191237"/>
                </a:lnTo>
                <a:lnTo>
                  <a:pt x="4832948" y="4186989"/>
                </a:lnTo>
                <a:cubicBezTo>
                  <a:pt x="4834613" y="4182742"/>
                  <a:pt x="4837363" y="4179154"/>
                  <a:pt x="4840151" y="4177709"/>
                </a:cubicBezTo>
                <a:cubicBezTo>
                  <a:pt x="4841700" y="4181736"/>
                  <a:pt x="4840887" y="4186331"/>
                  <a:pt x="4839106" y="4190435"/>
                </a:cubicBezTo>
                <a:lnTo>
                  <a:pt x="4834402" y="4197150"/>
                </a:lnTo>
                <a:lnTo>
                  <a:pt x="4841286" y="4221423"/>
                </a:lnTo>
                <a:lnTo>
                  <a:pt x="4846554" y="4241032"/>
                </a:lnTo>
                <a:lnTo>
                  <a:pt x="4851458" y="4238217"/>
                </a:lnTo>
                <a:lnTo>
                  <a:pt x="4847769" y="4245554"/>
                </a:lnTo>
                <a:lnTo>
                  <a:pt x="4854205" y="4269509"/>
                </a:lnTo>
                <a:lnTo>
                  <a:pt x="4866048" y="4312531"/>
                </a:lnTo>
                <a:lnTo>
                  <a:pt x="4876815" y="4355554"/>
                </a:lnTo>
                <a:lnTo>
                  <a:pt x="4860724" y="4351370"/>
                </a:lnTo>
                <a:lnTo>
                  <a:pt x="4857809" y="4354935"/>
                </a:lnTo>
                <a:cubicBezTo>
                  <a:pt x="4855757" y="4357091"/>
                  <a:pt x="4853395" y="4358924"/>
                  <a:pt x="4850684" y="4359440"/>
                </a:cubicBezTo>
                <a:cubicBezTo>
                  <a:pt x="4848980" y="4359749"/>
                  <a:pt x="4847121" y="4359440"/>
                  <a:pt x="4844953" y="4358304"/>
                </a:cubicBezTo>
                <a:lnTo>
                  <a:pt x="4849660" y="4348493"/>
                </a:lnTo>
                <a:lnTo>
                  <a:pt x="4813264" y="4339029"/>
                </a:lnTo>
                <a:lnTo>
                  <a:pt x="4812270" y="4339511"/>
                </a:lnTo>
                <a:lnTo>
                  <a:pt x="4811607" y="4338598"/>
                </a:lnTo>
                <a:lnTo>
                  <a:pt x="4803677" y="4336536"/>
                </a:lnTo>
                <a:lnTo>
                  <a:pt x="4804060" y="4338582"/>
                </a:lnTo>
                <a:cubicBezTo>
                  <a:pt x="4803441" y="4339408"/>
                  <a:pt x="4803131" y="4339408"/>
                  <a:pt x="4802511" y="4339098"/>
                </a:cubicBezTo>
                <a:cubicBezTo>
                  <a:pt x="4802046" y="4338788"/>
                  <a:pt x="4801582" y="4338169"/>
                  <a:pt x="4800652" y="4337756"/>
                </a:cubicBezTo>
                <a:lnTo>
                  <a:pt x="4802399" y="4336204"/>
                </a:lnTo>
                <a:lnTo>
                  <a:pt x="4712534" y="4312837"/>
                </a:lnTo>
                <a:lnTo>
                  <a:pt x="4711897" y="4314523"/>
                </a:lnTo>
                <a:cubicBezTo>
                  <a:pt x="4707250" y="4319686"/>
                  <a:pt x="4702603" y="4315246"/>
                  <a:pt x="4702448" y="4316175"/>
                </a:cubicBezTo>
                <a:cubicBezTo>
                  <a:pt x="4701519" y="4317001"/>
                  <a:pt x="4701519" y="4317001"/>
                  <a:pt x="4701519" y="4317828"/>
                </a:cubicBezTo>
                <a:cubicBezTo>
                  <a:pt x="4700589" y="4317828"/>
                  <a:pt x="4698885" y="4318653"/>
                  <a:pt x="4697956" y="4319479"/>
                </a:cubicBezTo>
                <a:cubicBezTo>
                  <a:pt x="4697956" y="4318653"/>
                  <a:pt x="4698111" y="4317724"/>
                  <a:pt x="4697337" y="4317724"/>
                </a:cubicBezTo>
                <a:cubicBezTo>
                  <a:pt x="4699195" y="4316072"/>
                  <a:pt x="4699970" y="4316072"/>
                  <a:pt x="4700899" y="4315246"/>
                </a:cubicBezTo>
                <a:cubicBezTo>
                  <a:pt x="4700125" y="4315246"/>
                  <a:pt x="4700899" y="4314420"/>
                  <a:pt x="4700899" y="4314420"/>
                </a:cubicBezTo>
                <a:cubicBezTo>
                  <a:pt x="4700899" y="4314420"/>
                  <a:pt x="4701054" y="4314317"/>
                  <a:pt x="4699505" y="4312562"/>
                </a:cubicBezTo>
                <a:cubicBezTo>
                  <a:pt x="4699505" y="4312562"/>
                  <a:pt x="4698769" y="4311477"/>
                  <a:pt x="4698518" y="4309851"/>
                </a:cubicBezTo>
                <a:lnTo>
                  <a:pt x="4698713" y="4309243"/>
                </a:lnTo>
                <a:lnTo>
                  <a:pt x="4633495" y="4292285"/>
                </a:lnTo>
                <a:lnTo>
                  <a:pt x="4574481" y="4277619"/>
                </a:lnTo>
                <a:lnTo>
                  <a:pt x="4574481" y="4384363"/>
                </a:lnTo>
                <a:lnTo>
                  <a:pt x="4762691" y="4461848"/>
                </a:lnTo>
                <a:lnTo>
                  <a:pt x="4957563" y="4547894"/>
                </a:lnTo>
                <a:lnTo>
                  <a:pt x="4939259" y="4565610"/>
                </a:lnTo>
                <a:lnTo>
                  <a:pt x="4925263" y="4578265"/>
                </a:lnTo>
                <a:lnTo>
                  <a:pt x="4912344" y="4593448"/>
                </a:lnTo>
                <a:lnTo>
                  <a:pt x="4917727" y="4628879"/>
                </a:lnTo>
                <a:lnTo>
                  <a:pt x="4943566" y="4603571"/>
                </a:lnTo>
                <a:lnTo>
                  <a:pt x="4970482" y="4578265"/>
                </a:lnTo>
                <a:lnTo>
                  <a:pt x="4999551" y="4550424"/>
                </a:lnTo>
                <a:lnTo>
                  <a:pt x="5014624" y="4590917"/>
                </a:lnTo>
                <a:lnTo>
                  <a:pt x="5028620" y="4623818"/>
                </a:lnTo>
                <a:lnTo>
                  <a:pt x="5042617" y="4651657"/>
                </a:lnTo>
                <a:lnTo>
                  <a:pt x="5059843" y="4671903"/>
                </a:lnTo>
                <a:lnTo>
                  <a:pt x="5075992" y="4684556"/>
                </a:lnTo>
                <a:lnTo>
                  <a:pt x="5093219" y="4679495"/>
                </a:lnTo>
                <a:lnTo>
                  <a:pt x="5111521" y="4664311"/>
                </a:lnTo>
                <a:lnTo>
                  <a:pt x="5130901" y="4631411"/>
                </a:lnTo>
                <a:lnTo>
                  <a:pt x="5151357" y="4580795"/>
                </a:lnTo>
                <a:lnTo>
                  <a:pt x="5172890" y="4631411"/>
                </a:lnTo>
                <a:lnTo>
                  <a:pt x="5195499" y="4669372"/>
                </a:lnTo>
                <a:lnTo>
                  <a:pt x="5219185" y="4694680"/>
                </a:lnTo>
                <a:lnTo>
                  <a:pt x="5243948" y="4709864"/>
                </a:lnTo>
                <a:lnTo>
                  <a:pt x="5268710" y="4714925"/>
                </a:lnTo>
                <a:lnTo>
                  <a:pt x="5294550" y="4714925"/>
                </a:lnTo>
                <a:lnTo>
                  <a:pt x="5320389" y="4709864"/>
                </a:lnTo>
                <a:lnTo>
                  <a:pt x="5347305" y="4702272"/>
                </a:lnTo>
                <a:lnTo>
                  <a:pt x="5373144" y="4694680"/>
                </a:lnTo>
                <a:lnTo>
                  <a:pt x="5398983" y="4689619"/>
                </a:lnTo>
                <a:lnTo>
                  <a:pt x="5424823" y="4689619"/>
                </a:lnTo>
                <a:lnTo>
                  <a:pt x="5450662" y="4692150"/>
                </a:lnTo>
                <a:lnTo>
                  <a:pt x="5556172" y="4719988"/>
                </a:lnTo>
                <a:lnTo>
                  <a:pt x="5662760" y="4737703"/>
                </a:lnTo>
                <a:lnTo>
                  <a:pt x="5770423" y="4750357"/>
                </a:lnTo>
                <a:lnTo>
                  <a:pt x="5877010" y="4765543"/>
                </a:lnTo>
                <a:lnTo>
                  <a:pt x="5877010" y="4823750"/>
                </a:lnTo>
                <a:lnTo>
                  <a:pt x="5407597" y="4823750"/>
                </a:lnTo>
                <a:lnTo>
                  <a:pt x="5407597" y="4884489"/>
                </a:lnTo>
                <a:lnTo>
                  <a:pt x="5727358" y="4884489"/>
                </a:lnTo>
                <a:lnTo>
                  <a:pt x="5729511" y="4940166"/>
                </a:lnTo>
                <a:lnTo>
                  <a:pt x="5659530" y="4968005"/>
                </a:lnTo>
                <a:lnTo>
                  <a:pt x="5588472" y="4998375"/>
                </a:lnTo>
                <a:lnTo>
                  <a:pt x="5514184" y="5026213"/>
                </a:lnTo>
                <a:lnTo>
                  <a:pt x="5522797" y="5048991"/>
                </a:lnTo>
                <a:lnTo>
                  <a:pt x="5531410" y="5071767"/>
                </a:lnTo>
                <a:lnTo>
                  <a:pt x="5542176" y="5099605"/>
                </a:lnTo>
                <a:lnTo>
                  <a:pt x="5555096" y="5132506"/>
                </a:lnTo>
                <a:lnTo>
                  <a:pt x="5572322" y="5175529"/>
                </a:lnTo>
                <a:lnTo>
                  <a:pt x="5412980" y="5193245"/>
                </a:lnTo>
                <a:lnTo>
                  <a:pt x="5255791" y="5203368"/>
                </a:lnTo>
                <a:lnTo>
                  <a:pt x="5099679" y="5213491"/>
                </a:lnTo>
                <a:lnTo>
                  <a:pt x="4944643" y="5213491"/>
                </a:lnTo>
                <a:lnTo>
                  <a:pt x="4789607" y="5203368"/>
                </a:lnTo>
                <a:lnTo>
                  <a:pt x="4635648" y="5183122"/>
                </a:lnTo>
                <a:lnTo>
                  <a:pt x="4482766" y="5152752"/>
                </a:lnTo>
                <a:lnTo>
                  <a:pt x="4372609" y="5119930"/>
                </a:lnTo>
                <a:lnTo>
                  <a:pt x="4370863" y="5125374"/>
                </a:lnTo>
                <a:lnTo>
                  <a:pt x="4339410" y="5227031"/>
                </a:lnTo>
                <a:lnTo>
                  <a:pt x="4327822" y="5183903"/>
                </a:lnTo>
                <a:lnTo>
                  <a:pt x="4317889" y="5148478"/>
                </a:lnTo>
                <a:lnTo>
                  <a:pt x="4310440" y="5117673"/>
                </a:lnTo>
                <a:lnTo>
                  <a:pt x="4304692" y="5097469"/>
                </a:lnTo>
                <a:lnTo>
                  <a:pt x="4179154" y="5048991"/>
                </a:lnTo>
                <a:lnTo>
                  <a:pt x="4028425" y="4975597"/>
                </a:lnTo>
                <a:lnTo>
                  <a:pt x="3878772" y="4881958"/>
                </a:lnTo>
                <a:lnTo>
                  <a:pt x="3865853" y="4947759"/>
                </a:lnTo>
                <a:lnTo>
                  <a:pt x="3905688" y="4998375"/>
                </a:lnTo>
                <a:lnTo>
                  <a:pt x="3945524" y="5048991"/>
                </a:lnTo>
                <a:lnTo>
                  <a:pt x="3985359" y="5094544"/>
                </a:lnTo>
                <a:lnTo>
                  <a:pt x="4019812" y="5127445"/>
                </a:lnTo>
                <a:lnTo>
                  <a:pt x="4055341" y="5160345"/>
                </a:lnTo>
                <a:lnTo>
                  <a:pt x="4088716" y="5203368"/>
                </a:lnTo>
                <a:lnTo>
                  <a:pt x="4122092" y="5256514"/>
                </a:lnTo>
                <a:lnTo>
                  <a:pt x="3912148" y="5172998"/>
                </a:lnTo>
                <a:lnTo>
                  <a:pt x="3905688" y="5226145"/>
                </a:lnTo>
                <a:lnTo>
                  <a:pt x="3954137" y="5261576"/>
                </a:lnTo>
                <a:lnTo>
                  <a:pt x="4003662" y="5299538"/>
                </a:lnTo>
                <a:lnTo>
                  <a:pt x="4055341" y="5340031"/>
                </a:lnTo>
                <a:lnTo>
                  <a:pt x="4045651" y="5360278"/>
                </a:lnTo>
                <a:lnTo>
                  <a:pt x="4033808" y="5372930"/>
                </a:lnTo>
                <a:lnTo>
                  <a:pt x="4019812" y="5380523"/>
                </a:lnTo>
                <a:lnTo>
                  <a:pt x="4006892" y="5383053"/>
                </a:lnTo>
                <a:lnTo>
                  <a:pt x="3993973" y="5380523"/>
                </a:lnTo>
                <a:lnTo>
                  <a:pt x="3981053" y="5372930"/>
                </a:lnTo>
                <a:lnTo>
                  <a:pt x="3965980" y="5370400"/>
                </a:lnTo>
                <a:lnTo>
                  <a:pt x="3953060" y="5367869"/>
                </a:lnTo>
                <a:lnTo>
                  <a:pt x="3941217" y="5367869"/>
                </a:lnTo>
                <a:lnTo>
                  <a:pt x="3930451" y="5375461"/>
                </a:lnTo>
                <a:lnTo>
                  <a:pt x="3919685" y="5390647"/>
                </a:lnTo>
                <a:lnTo>
                  <a:pt x="3911072" y="5413424"/>
                </a:lnTo>
                <a:lnTo>
                  <a:pt x="3903535" y="5446324"/>
                </a:lnTo>
                <a:lnTo>
                  <a:pt x="3899228" y="5494409"/>
                </a:lnTo>
                <a:lnTo>
                  <a:pt x="3920761" y="5527309"/>
                </a:lnTo>
                <a:lnTo>
                  <a:pt x="3944447" y="5557679"/>
                </a:lnTo>
                <a:lnTo>
                  <a:pt x="3971363" y="5595641"/>
                </a:lnTo>
                <a:lnTo>
                  <a:pt x="3935834" y="5610824"/>
                </a:lnTo>
                <a:lnTo>
                  <a:pt x="3902458" y="5631071"/>
                </a:lnTo>
                <a:lnTo>
                  <a:pt x="3870159" y="5646255"/>
                </a:lnTo>
                <a:lnTo>
                  <a:pt x="3838937" y="5653848"/>
                </a:lnTo>
                <a:lnTo>
                  <a:pt x="3808791" y="5648787"/>
                </a:lnTo>
                <a:lnTo>
                  <a:pt x="3733902" y="5617140"/>
                </a:lnTo>
                <a:lnTo>
                  <a:pt x="3728005" y="5619148"/>
                </a:lnTo>
                <a:cubicBezTo>
                  <a:pt x="3720879" y="5619819"/>
                  <a:pt x="3714180" y="5617986"/>
                  <a:pt x="3708449" y="5614385"/>
                </a:cubicBezTo>
                <a:lnTo>
                  <a:pt x="3695631" y="5600051"/>
                </a:lnTo>
                <a:lnTo>
                  <a:pt x="3628780" y="5568270"/>
                </a:lnTo>
                <a:lnTo>
                  <a:pt x="3620352" y="5584557"/>
                </a:lnTo>
                <a:cubicBezTo>
                  <a:pt x="3614853" y="5579807"/>
                  <a:pt x="3609703" y="5574179"/>
                  <a:pt x="3605772" y="5567093"/>
                </a:cubicBezTo>
                <a:lnTo>
                  <a:pt x="3602633" y="5555761"/>
                </a:lnTo>
                <a:lnTo>
                  <a:pt x="3569815" y="5539982"/>
                </a:lnTo>
                <a:lnTo>
                  <a:pt x="3569391" y="5541396"/>
                </a:lnTo>
                <a:lnTo>
                  <a:pt x="3568461" y="5540983"/>
                </a:lnTo>
                <a:lnTo>
                  <a:pt x="3572489" y="5544803"/>
                </a:lnTo>
                <a:cubicBezTo>
                  <a:pt x="3577446" y="5550585"/>
                  <a:pt x="3581473" y="5557400"/>
                  <a:pt x="3583332" y="5566900"/>
                </a:cubicBezTo>
                <a:cubicBezTo>
                  <a:pt x="3573418" y="5567261"/>
                  <a:pt x="3566719" y="5561221"/>
                  <a:pt x="3562440" y="5553464"/>
                </a:cubicBezTo>
                <a:lnTo>
                  <a:pt x="3557193" y="5533913"/>
                </a:lnTo>
                <a:lnTo>
                  <a:pt x="3522405" y="5517187"/>
                </a:lnTo>
                <a:lnTo>
                  <a:pt x="3520481" y="5516158"/>
                </a:lnTo>
                <a:lnTo>
                  <a:pt x="3512389" y="5517956"/>
                </a:lnTo>
                <a:lnTo>
                  <a:pt x="3514868" y="5522190"/>
                </a:lnTo>
                <a:cubicBezTo>
                  <a:pt x="3512699" y="5522087"/>
                  <a:pt x="3510530" y="5521364"/>
                  <a:pt x="3508517" y="5520332"/>
                </a:cubicBezTo>
                <a:lnTo>
                  <a:pt x="3506968" y="5519196"/>
                </a:lnTo>
                <a:lnTo>
                  <a:pt x="3502631" y="5520125"/>
                </a:lnTo>
                <a:cubicBezTo>
                  <a:pt x="3500152" y="5523119"/>
                  <a:pt x="3497364" y="5525184"/>
                  <a:pt x="3494731" y="5526630"/>
                </a:cubicBezTo>
                <a:lnTo>
                  <a:pt x="3492407" y="5527146"/>
                </a:lnTo>
                <a:lnTo>
                  <a:pt x="3498913" y="5540570"/>
                </a:lnTo>
                <a:lnTo>
                  <a:pt x="3501081" y="5557710"/>
                </a:lnTo>
                <a:lnTo>
                  <a:pt x="3506193" y="5558949"/>
                </a:lnTo>
                <a:cubicBezTo>
                  <a:pt x="3514093" y="5559156"/>
                  <a:pt x="3521683" y="5555645"/>
                  <a:pt x="3530047" y="5561841"/>
                </a:cubicBezTo>
                <a:cubicBezTo>
                  <a:pt x="3527724" y="5565557"/>
                  <a:pt x="3520289" y="5567416"/>
                  <a:pt x="3513164" y="5566797"/>
                </a:cubicBezTo>
                <a:cubicBezTo>
                  <a:pt x="3509601" y="5566487"/>
                  <a:pt x="3506038" y="5565557"/>
                  <a:pt x="3503250" y="5563906"/>
                </a:cubicBezTo>
                <a:lnTo>
                  <a:pt x="3501546" y="5561531"/>
                </a:lnTo>
                <a:lnTo>
                  <a:pt x="3501856" y="5563286"/>
                </a:lnTo>
                <a:cubicBezTo>
                  <a:pt x="3501701" y="5571030"/>
                  <a:pt x="3500307" y="5578671"/>
                  <a:pt x="3497984" y="5586003"/>
                </a:cubicBezTo>
                <a:cubicBezTo>
                  <a:pt x="3492562" y="5603659"/>
                  <a:pt x="3481255" y="5619354"/>
                  <a:pt x="3465765" y="5629163"/>
                </a:cubicBezTo>
                <a:cubicBezTo>
                  <a:pt x="3453838" y="5637424"/>
                  <a:pt x="3441757" y="5640728"/>
                  <a:pt x="3429984" y="5640109"/>
                </a:cubicBezTo>
                <a:lnTo>
                  <a:pt x="3425492" y="5639386"/>
                </a:lnTo>
                <a:lnTo>
                  <a:pt x="3424253" y="5640418"/>
                </a:lnTo>
                <a:cubicBezTo>
                  <a:pt x="3422704" y="5641348"/>
                  <a:pt x="3421000" y="5642071"/>
                  <a:pt x="3419761" y="5642484"/>
                </a:cubicBezTo>
                <a:cubicBezTo>
                  <a:pt x="3419606" y="5641657"/>
                  <a:pt x="3420071" y="5640935"/>
                  <a:pt x="3420535" y="5640109"/>
                </a:cubicBezTo>
                <a:lnTo>
                  <a:pt x="3422085" y="5638766"/>
                </a:lnTo>
                <a:lnTo>
                  <a:pt x="3415579" y="5637631"/>
                </a:lnTo>
                <a:cubicBezTo>
                  <a:pt x="3401638" y="5633190"/>
                  <a:pt x="3388627" y="5623588"/>
                  <a:pt x="3377629" y="5610887"/>
                </a:cubicBezTo>
                <a:lnTo>
                  <a:pt x="3374996" y="5606550"/>
                </a:lnTo>
                <a:lnTo>
                  <a:pt x="3374377" y="5607067"/>
                </a:lnTo>
                <a:cubicBezTo>
                  <a:pt x="3374531" y="5607273"/>
                  <a:pt x="3374686" y="5607377"/>
                  <a:pt x="3374686" y="5607377"/>
                </a:cubicBezTo>
                <a:cubicBezTo>
                  <a:pt x="3374686" y="5607377"/>
                  <a:pt x="3373912" y="5606963"/>
                  <a:pt x="3373912" y="5606963"/>
                </a:cubicBezTo>
                <a:cubicBezTo>
                  <a:pt x="3373912" y="5606963"/>
                  <a:pt x="3373912" y="5606860"/>
                  <a:pt x="3371589" y="5607583"/>
                </a:cubicBezTo>
                <a:cubicBezTo>
                  <a:pt x="3369110" y="5609028"/>
                  <a:pt x="3368645" y="5609751"/>
                  <a:pt x="3367251" y="5610887"/>
                </a:cubicBezTo>
                <a:cubicBezTo>
                  <a:pt x="3365083" y="5611507"/>
                  <a:pt x="3364308" y="5611094"/>
                  <a:pt x="3361365" y="5611404"/>
                </a:cubicBezTo>
                <a:cubicBezTo>
                  <a:pt x="3360126" y="5609751"/>
                  <a:pt x="3360126" y="5609751"/>
                  <a:pt x="3360591" y="5609028"/>
                </a:cubicBezTo>
                <a:cubicBezTo>
                  <a:pt x="3360126" y="5609751"/>
                  <a:pt x="3359352" y="5609339"/>
                  <a:pt x="3358267" y="5609648"/>
                </a:cubicBezTo>
                <a:cubicBezTo>
                  <a:pt x="3354240" y="5612126"/>
                  <a:pt x="3351297" y="5608409"/>
                  <a:pt x="3348819" y="5603246"/>
                </a:cubicBezTo>
                <a:lnTo>
                  <a:pt x="3348974" y="5602110"/>
                </a:lnTo>
                <a:lnTo>
                  <a:pt x="3347424" y="5601078"/>
                </a:lnTo>
                <a:lnTo>
                  <a:pt x="3348664" y="5599322"/>
                </a:lnTo>
                <a:lnTo>
                  <a:pt x="3348354" y="5598187"/>
                </a:lnTo>
                <a:lnTo>
                  <a:pt x="3348664" y="5597670"/>
                </a:lnTo>
                <a:lnTo>
                  <a:pt x="3345256" y="5596844"/>
                </a:lnTo>
                <a:cubicBezTo>
                  <a:pt x="3346185" y="5594470"/>
                  <a:pt x="3346650" y="5593334"/>
                  <a:pt x="3346805" y="5591372"/>
                </a:cubicBezTo>
                <a:cubicBezTo>
                  <a:pt x="3348354" y="5591991"/>
                  <a:pt x="3349903" y="5592301"/>
                  <a:pt x="3351142" y="5592508"/>
                </a:cubicBezTo>
                <a:lnTo>
                  <a:pt x="3354395" y="5593127"/>
                </a:lnTo>
                <a:lnTo>
                  <a:pt x="3358887" y="5590029"/>
                </a:lnTo>
                <a:lnTo>
                  <a:pt x="3354550" y="5589513"/>
                </a:lnTo>
                <a:cubicBezTo>
                  <a:pt x="3351762" y="5588584"/>
                  <a:pt x="3349128" y="5587138"/>
                  <a:pt x="3346960" y="5585176"/>
                </a:cubicBezTo>
                <a:lnTo>
                  <a:pt x="3346340" y="5584453"/>
                </a:lnTo>
                <a:lnTo>
                  <a:pt x="3346960" y="5585899"/>
                </a:lnTo>
                <a:cubicBezTo>
                  <a:pt x="3346805" y="5587138"/>
                  <a:pt x="3346650" y="5587138"/>
                  <a:pt x="3346031" y="5587551"/>
                </a:cubicBezTo>
                <a:cubicBezTo>
                  <a:pt x="3345101" y="5589203"/>
                  <a:pt x="3344946" y="5590443"/>
                  <a:pt x="3343088" y="5590546"/>
                </a:cubicBezTo>
                <a:cubicBezTo>
                  <a:pt x="3341538" y="5590546"/>
                  <a:pt x="3340764" y="5589926"/>
                  <a:pt x="3340299" y="5588997"/>
                </a:cubicBezTo>
                <a:cubicBezTo>
                  <a:pt x="3339834" y="5588171"/>
                  <a:pt x="3339680" y="5586828"/>
                  <a:pt x="3339525" y="5585280"/>
                </a:cubicBezTo>
                <a:cubicBezTo>
                  <a:pt x="3339370" y="5582079"/>
                  <a:pt x="3342003" y="5581459"/>
                  <a:pt x="3342313" y="5578981"/>
                </a:cubicBezTo>
                <a:lnTo>
                  <a:pt x="3343707" y="5579910"/>
                </a:lnTo>
                <a:lnTo>
                  <a:pt x="3347889" y="5572786"/>
                </a:lnTo>
                <a:cubicBezTo>
                  <a:pt x="3349903" y="5570720"/>
                  <a:pt x="3352226" y="5569275"/>
                  <a:pt x="3354705" y="5568346"/>
                </a:cubicBezTo>
                <a:lnTo>
                  <a:pt x="3359506" y="5567519"/>
                </a:lnTo>
                <a:lnTo>
                  <a:pt x="3356409" y="5565351"/>
                </a:lnTo>
                <a:cubicBezTo>
                  <a:pt x="3353311" y="5562253"/>
                  <a:pt x="3350522" y="5558226"/>
                  <a:pt x="3348509" y="5552960"/>
                </a:cubicBezTo>
                <a:lnTo>
                  <a:pt x="3349903" y="5550999"/>
                </a:lnTo>
                <a:lnTo>
                  <a:pt x="3347579" y="5551308"/>
                </a:lnTo>
                <a:cubicBezTo>
                  <a:pt x="3340764" y="5552238"/>
                  <a:pt x="3334103" y="5552444"/>
                  <a:pt x="3327598" y="5552651"/>
                </a:cubicBezTo>
                <a:lnTo>
                  <a:pt x="3327133" y="5552651"/>
                </a:lnTo>
                <a:lnTo>
                  <a:pt x="3336427" y="5557710"/>
                </a:lnTo>
                <a:cubicBezTo>
                  <a:pt x="3339834" y="5560085"/>
                  <a:pt x="3342932" y="5563183"/>
                  <a:pt x="3345411" y="5567726"/>
                </a:cubicBezTo>
                <a:cubicBezTo>
                  <a:pt x="3338286" y="5569688"/>
                  <a:pt x="3332244" y="5563492"/>
                  <a:pt x="3328527" y="5557504"/>
                </a:cubicBezTo>
                <a:lnTo>
                  <a:pt x="3326204" y="5552651"/>
                </a:lnTo>
                <a:lnTo>
                  <a:pt x="3316755" y="5552341"/>
                </a:lnTo>
                <a:cubicBezTo>
                  <a:pt x="3313967" y="5552238"/>
                  <a:pt x="3309785" y="5551721"/>
                  <a:pt x="3306222" y="5551412"/>
                </a:cubicBezTo>
                <a:cubicBezTo>
                  <a:pt x="3304054" y="5551412"/>
                  <a:pt x="3305138" y="5554716"/>
                  <a:pt x="3304363" y="5556781"/>
                </a:cubicBezTo>
                <a:lnTo>
                  <a:pt x="3298787" y="5556781"/>
                </a:lnTo>
                <a:lnTo>
                  <a:pt x="3300491" y="5559569"/>
                </a:lnTo>
                <a:cubicBezTo>
                  <a:pt x="3300801" y="5561014"/>
                  <a:pt x="3300646" y="5562770"/>
                  <a:pt x="3299871" y="5564938"/>
                </a:cubicBezTo>
                <a:cubicBezTo>
                  <a:pt x="3298632" y="5565764"/>
                  <a:pt x="3297393" y="5566384"/>
                  <a:pt x="3296154" y="5566590"/>
                </a:cubicBezTo>
                <a:cubicBezTo>
                  <a:pt x="3292591" y="5567313"/>
                  <a:pt x="3289338" y="5565454"/>
                  <a:pt x="3288874" y="5562253"/>
                </a:cubicBezTo>
                <a:cubicBezTo>
                  <a:pt x="3288719" y="5560808"/>
                  <a:pt x="3289029" y="5559156"/>
                  <a:pt x="3290113" y="5557297"/>
                </a:cubicBezTo>
                <a:lnTo>
                  <a:pt x="3292281" y="5556471"/>
                </a:lnTo>
                <a:lnTo>
                  <a:pt x="3285311" y="5555439"/>
                </a:lnTo>
                <a:cubicBezTo>
                  <a:pt x="3293211" y="5561634"/>
                  <a:pt x="3275243" y="5555335"/>
                  <a:pt x="3273229" y="5552444"/>
                </a:cubicBezTo>
                <a:cubicBezTo>
                  <a:pt x="3270441" y="5552341"/>
                  <a:pt x="3271680" y="5557297"/>
                  <a:pt x="3269202" y="5558020"/>
                </a:cubicBezTo>
                <a:cubicBezTo>
                  <a:pt x="3263006" y="5556884"/>
                  <a:pt x="3271525" y="5551205"/>
                  <a:pt x="3264865" y="5549140"/>
                </a:cubicBezTo>
                <a:cubicBezTo>
                  <a:pt x="3259908" y="5555129"/>
                  <a:pt x="3253248" y="5551515"/>
                  <a:pt x="3243644" y="5553890"/>
                </a:cubicBezTo>
                <a:cubicBezTo>
                  <a:pt x="3239307" y="5551824"/>
                  <a:pt x="3250769" y="5552341"/>
                  <a:pt x="3252473" y="5551412"/>
                </a:cubicBezTo>
                <a:cubicBezTo>
                  <a:pt x="3254177" y="5544390"/>
                  <a:pt x="3243179" y="5546972"/>
                  <a:pt x="3237758" y="5546042"/>
                </a:cubicBezTo>
                <a:lnTo>
                  <a:pt x="3237603" y="5546042"/>
                </a:lnTo>
                <a:lnTo>
                  <a:pt x="3238223" y="5551515"/>
                </a:lnTo>
                <a:cubicBezTo>
                  <a:pt x="3240081" y="5557813"/>
                  <a:pt x="3243954" y="5563286"/>
                  <a:pt x="3239462" y="5568758"/>
                </a:cubicBezTo>
                <a:cubicBezTo>
                  <a:pt x="3237138" y="5565351"/>
                  <a:pt x="3234660" y="5562150"/>
                  <a:pt x="3232801" y="5558330"/>
                </a:cubicBezTo>
                <a:cubicBezTo>
                  <a:pt x="3231872" y="5556471"/>
                  <a:pt x="3231098" y="5554406"/>
                  <a:pt x="3230787" y="5552031"/>
                </a:cubicBezTo>
                <a:lnTo>
                  <a:pt x="3230633" y="5550276"/>
                </a:lnTo>
                <a:lnTo>
                  <a:pt x="3228929" y="5548314"/>
                </a:lnTo>
                <a:cubicBezTo>
                  <a:pt x="3227225" y="5546558"/>
                  <a:pt x="3224902" y="5545113"/>
                  <a:pt x="3219635" y="5545732"/>
                </a:cubicBezTo>
                <a:cubicBezTo>
                  <a:pt x="3214988" y="5546558"/>
                  <a:pt x="3222113" y="5549450"/>
                  <a:pt x="3217776" y="5551205"/>
                </a:cubicBezTo>
                <a:lnTo>
                  <a:pt x="3214678" y="5548933"/>
                </a:lnTo>
                <a:lnTo>
                  <a:pt x="3214523" y="5551308"/>
                </a:lnTo>
                <a:cubicBezTo>
                  <a:pt x="3215298" y="5556987"/>
                  <a:pt x="3219016" y="5559362"/>
                  <a:pt x="3221184" y="5563183"/>
                </a:cubicBezTo>
                <a:cubicBezTo>
                  <a:pt x="3216382" y="5569791"/>
                  <a:pt x="3215763" y="5580323"/>
                  <a:pt x="3212355" y="5588893"/>
                </a:cubicBezTo>
                <a:cubicBezTo>
                  <a:pt x="3202441" y="5593437"/>
                  <a:pt x="3195316" y="5599942"/>
                  <a:pt x="3185248" y="5604485"/>
                </a:cubicBezTo>
                <a:cubicBezTo>
                  <a:pt x="3183080" y="5602937"/>
                  <a:pt x="3180446" y="5601904"/>
                  <a:pt x="3177503" y="5601181"/>
                </a:cubicBezTo>
                <a:lnTo>
                  <a:pt x="3170843" y="5599736"/>
                </a:lnTo>
                <a:lnTo>
                  <a:pt x="3171927" y="5603453"/>
                </a:lnTo>
                <a:cubicBezTo>
                  <a:pt x="3172702" y="5604898"/>
                  <a:pt x="3173321" y="5606654"/>
                  <a:pt x="3173166" y="5610061"/>
                </a:cubicBezTo>
                <a:cubicBezTo>
                  <a:pt x="3173011" y="5618735"/>
                  <a:pt x="3167435" y="5620283"/>
                  <a:pt x="3163098" y="5619871"/>
                </a:cubicBezTo>
                <a:cubicBezTo>
                  <a:pt x="3163253" y="5619561"/>
                  <a:pt x="3162788" y="5619354"/>
                  <a:pt x="3162323" y="5619148"/>
                </a:cubicBezTo>
                <a:lnTo>
                  <a:pt x="3160619" y="5618425"/>
                </a:lnTo>
                <a:lnTo>
                  <a:pt x="3157986" y="5619457"/>
                </a:lnTo>
                <a:cubicBezTo>
                  <a:pt x="3157212" y="5619354"/>
                  <a:pt x="3156437" y="5618941"/>
                  <a:pt x="3155508" y="5618115"/>
                </a:cubicBezTo>
                <a:cubicBezTo>
                  <a:pt x="3154579" y="5618218"/>
                  <a:pt x="3153340" y="5614811"/>
                  <a:pt x="3153959" y="5613882"/>
                </a:cubicBezTo>
                <a:lnTo>
                  <a:pt x="3154733" y="5613159"/>
                </a:lnTo>
                <a:lnTo>
                  <a:pt x="3153340" y="5607996"/>
                </a:lnTo>
                <a:cubicBezTo>
                  <a:pt x="3153340" y="5606860"/>
                  <a:pt x="3153649" y="5605827"/>
                  <a:pt x="3153804" y="5604692"/>
                </a:cubicBezTo>
                <a:cubicBezTo>
                  <a:pt x="3153495" y="5606550"/>
                  <a:pt x="3153029" y="5608409"/>
                  <a:pt x="3152565" y="5609648"/>
                </a:cubicBezTo>
                <a:lnTo>
                  <a:pt x="3151791" y="5611404"/>
                </a:lnTo>
                <a:lnTo>
                  <a:pt x="3152720" y="5611507"/>
                </a:lnTo>
                <a:lnTo>
                  <a:pt x="3151636" y="5612436"/>
                </a:lnTo>
                <a:lnTo>
                  <a:pt x="3151636" y="5612539"/>
                </a:lnTo>
                <a:cubicBezTo>
                  <a:pt x="3150706" y="5612539"/>
                  <a:pt x="3150706" y="5613469"/>
                  <a:pt x="3151636" y="5613469"/>
                </a:cubicBezTo>
                <a:cubicBezTo>
                  <a:pt x="3150551" y="5614708"/>
                  <a:pt x="3149932" y="5615844"/>
                  <a:pt x="3149157" y="5616360"/>
                </a:cubicBezTo>
                <a:lnTo>
                  <a:pt x="3148383" y="5616256"/>
                </a:lnTo>
                <a:lnTo>
                  <a:pt x="3148538" y="5621006"/>
                </a:lnTo>
                <a:lnTo>
                  <a:pt x="3148228" y="5622452"/>
                </a:lnTo>
                <a:lnTo>
                  <a:pt x="3148693" y="5622761"/>
                </a:lnTo>
                <a:lnTo>
                  <a:pt x="3148073" y="5623484"/>
                </a:lnTo>
                <a:lnTo>
                  <a:pt x="3147298" y="5627924"/>
                </a:lnTo>
                <a:cubicBezTo>
                  <a:pt x="3146524" y="5629783"/>
                  <a:pt x="3145440" y="5630919"/>
                  <a:pt x="3143581" y="5631229"/>
                </a:cubicBezTo>
                <a:lnTo>
                  <a:pt x="3142807" y="5625343"/>
                </a:lnTo>
                <a:lnTo>
                  <a:pt x="3142497" y="5625033"/>
                </a:lnTo>
                <a:lnTo>
                  <a:pt x="3142651" y="5624620"/>
                </a:lnTo>
                <a:lnTo>
                  <a:pt x="3142032" y="5617806"/>
                </a:lnTo>
                <a:lnTo>
                  <a:pt x="3143116" y="5611197"/>
                </a:lnTo>
                <a:lnTo>
                  <a:pt x="3142187" y="5611094"/>
                </a:lnTo>
                <a:cubicBezTo>
                  <a:pt x="3138934" y="5611610"/>
                  <a:pt x="3134597" y="5614501"/>
                  <a:pt x="3129950" y="5610474"/>
                </a:cubicBezTo>
                <a:cubicBezTo>
                  <a:pt x="3131809" y="5608719"/>
                  <a:pt x="3128866" y="5604279"/>
                  <a:pt x="3131654" y="5601801"/>
                </a:cubicBezTo>
                <a:cubicBezTo>
                  <a:pt x="3137385" y="5595295"/>
                  <a:pt x="3140173" y="5594676"/>
                  <a:pt x="3143426" y="5595915"/>
                </a:cubicBezTo>
                <a:lnTo>
                  <a:pt x="3143736" y="5596121"/>
                </a:lnTo>
                <a:lnTo>
                  <a:pt x="3148693" y="5596121"/>
                </a:lnTo>
                <a:lnTo>
                  <a:pt x="3149467" y="5597670"/>
                </a:lnTo>
                <a:cubicBezTo>
                  <a:pt x="3150241" y="5596844"/>
                  <a:pt x="3151171" y="5596018"/>
                  <a:pt x="3152410" y="5596948"/>
                </a:cubicBezTo>
                <a:cubicBezTo>
                  <a:pt x="3154114" y="5598600"/>
                  <a:pt x="3154424" y="5600975"/>
                  <a:pt x="3154269" y="5603349"/>
                </a:cubicBezTo>
                <a:cubicBezTo>
                  <a:pt x="3155353" y="5599736"/>
                  <a:pt x="3158296" y="5597154"/>
                  <a:pt x="3164492" y="5598393"/>
                </a:cubicBezTo>
                <a:cubicBezTo>
                  <a:pt x="3166351" y="5598290"/>
                  <a:pt x="3165731" y="5598703"/>
                  <a:pt x="3166816" y="5599013"/>
                </a:cubicBezTo>
                <a:lnTo>
                  <a:pt x="3168055" y="5599116"/>
                </a:lnTo>
                <a:lnTo>
                  <a:pt x="3159845" y="5596225"/>
                </a:lnTo>
                <a:cubicBezTo>
                  <a:pt x="3157367" y="5594779"/>
                  <a:pt x="3155198" y="5592714"/>
                  <a:pt x="3153959" y="5589720"/>
                </a:cubicBezTo>
                <a:cubicBezTo>
                  <a:pt x="3155198" y="5584247"/>
                  <a:pt x="3154579" y="5580633"/>
                  <a:pt x="3153495" y="5577639"/>
                </a:cubicBezTo>
                <a:lnTo>
                  <a:pt x="3153340" y="5577225"/>
                </a:lnTo>
                <a:lnTo>
                  <a:pt x="3153185" y="5577432"/>
                </a:lnTo>
                <a:cubicBezTo>
                  <a:pt x="3153029" y="5577536"/>
                  <a:pt x="3153029" y="5577329"/>
                  <a:pt x="3152720" y="5576916"/>
                </a:cubicBezTo>
                <a:cubicBezTo>
                  <a:pt x="3152720" y="5576916"/>
                  <a:pt x="3152565" y="5576916"/>
                  <a:pt x="3151945" y="5575986"/>
                </a:cubicBezTo>
                <a:cubicBezTo>
                  <a:pt x="3151945" y="5575986"/>
                  <a:pt x="3151791" y="5575986"/>
                  <a:pt x="3151791" y="5575677"/>
                </a:cubicBezTo>
                <a:lnTo>
                  <a:pt x="3152410" y="5574644"/>
                </a:lnTo>
                <a:lnTo>
                  <a:pt x="3151791" y="5573199"/>
                </a:lnTo>
                <a:cubicBezTo>
                  <a:pt x="3151171" y="5571753"/>
                  <a:pt x="3150706" y="5570308"/>
                  <a:pt x="3150396" y="5568552"/>
                </a:cubicBezTo>
                <a:cubicBezTo>
                  <a:pt x="3151636" y="5564938"/>
                  <a:pt x="3153495" y="5561014"/>
                  <a:pt x="3155508" y="5557194"/>
                </a:cubicBezTo>
                <a:lnTo>
                  <a:pt x="3157676" y="5553993"/>
                </a:lnTo>
                <a:lnTo>
                  <a:pt x="3159226" y="5550999"/>
                </a:lnTo>
                <a:lnTo>
                  <a:pt x="3159380" y="5550689"/>
                </a:lnTo>
                <a:lnTo>
                  <a:pt x="3160465" y="5543564"/>
                </a:lnTo>
                <a:cubicBezTo>
                  <a:pt x="3161239" y="5541292"/>
                  <a:pt x="3162633" y="5539227"/>
                  <a:pt x="3164647" y="5537575"/>
                </a:cubicBezTo>
                <a:cubicBezTo>
                  <a:pt x="3165886" y="5536749"/>
                  <a:pt x="3167125" y="5536233"/>
                  <a:pt x="3168364" y="5535923"/>
                </a:cubicBezTo>
                <a:lnTo>
                  <a:pt x="3171152" y="5535613"/>
                </a:lnTo>
                <a:lnTo>
                  <a:pt x="3169759" y="5534890"/>
                </a:lnTo>
                <a:cubicBezTo>
                  <a:pt x="3165731" y="5531380"/>
                  <a:pt x="3175954" y="5531483"/>
                  <a:pt x="3171772" y="5526423"/>
                </a:cubicBezTo>
                <a:cubicBezTo>
                  <a:pt x="3170843" y="5527869"/>
                  <a:pt x="3169759" y="5531793"/>
                  <a:pt x="3166506" y="5531174"/>
                </a:cubicBezTo>
                <a:lnTo>
                  <a:pt x="3162788" y="5529005"/>
                </a:lnTo>
                <a:cubicBezTo>
                  <a:pt x="3162169" y="5529521"/>
                  <a:pt x="3160929" y="5529728"/>
                  <a:pt x="3158761" y="5529315"/>
                </a:cubicBezTo>
                <a:cubicBezTo>
                  <a:pt x="3158296" y="5526011"/>
                  <a:pt x="3158916" y="5524565"/>
                  <a:pt x="3159690" y="5524152"/>
                </a:cubicBezTo>
                <a:cubicBezTo>
                  <a:pt x="3160774" y="5523532"/>
                  <a:pt x="3162633" y="5525184"/>
                  <a:pt x="3163253" y="5526940"/>
                </a:cubicBezTo>
                <a:lnTo>
                  <a:pt x="3162943" y="5528489"/>
                </a:lnTo>
                <a:lnTo>
                  <a:pt x="3166970" y="5526320"/>
                </a:lnTo>
                <a:cubicBezTo>
                  <a:pt x="3168519" y="5525288"/>
                  <a:pt x="3169913" y="5523532"/>
                  <a:pt x="3169759" y="5519712"/>
                </a:cubicBezTo>
                <a:cubicBezTo>
                  <a:pt x="3167590" y="5519815"/>
                  <a:pt x="3166506" y="5518783"/>
                  <a:pt x="3166661" y="5518060"/>
                </a:cubicBezTo>
                <a:lnTo>
                  <a:pt x="3164802" y="5518370"/>
                </a:lnTo>
                <a:lnTo>
                  <a:pt x="3164957" y="5518576"/>
                </a:lnTo>
                <a:lnTo>
                  <a:pt x="3163408" y="5519092"/>
                </a:lnTo>
                <a:lnTo>
                  <a:pt x="3163253" y="5520745"/>
                </a:lnTo>
                <a:cubicBezTo>
                  <a:pt x="3163408" y="5522396"/>
                  <a:pt x="3163563" y="5523945"/>
                  <a:pt x="3160000" y="5522810"/>
                </a:cubicBezTo>
                <a:lnTo>
                  <a:pt x="3160619" y="5520228"/>
                </a:lnTo>
                <a:lnTo>
                  <a:pt x="3156902" y="5521674"/>
                </a:lnTo>
                <a:cubicBezTo>
                  <a:pt x="3154579" y="5521364"/>
                  <a:pt x="3152875" y="5519609"/>
                  <a:pt x="3151636" y="5516305"/>
                </a:cubicBezTo>
                <a:lnTo>
                  <a:pt x="3155043" y="5513620"/>
                </a:lnTo>
                <a:lnTo>
                  <a:pt x="3149467" y="5511245"/>
                </a:lnTo>
                <a:cubicBezTo>
                  <a:pt x="3149932" y="5509903"/>
                  <a:pt x="3151636" y="5510109"/>
                  <a:pt x="3153649" y="5510625"/>
                </a:cubicBezTo>
                <a:lnTo>
                  <a:pt x="3157367" y="5511555"/>
                </a:lnTo>
                <a:lnTo>
                  <a:pt x="3158606" y="5510522"/>
                </a:lnTo>
                <a:lnTo>
                  <a:pt x="3157367" y="5507528"/>
                </a:lnTo>
                <a:cubicBezTo>
                  <a:pt x="3155508" y="5506598"/>
                  <a:pt x="3153029" y="5505979"/>
                  <a:pt x="3150706" y="5505669"/>
                </a:cubicBezTo>
                <a:cubicBezTo>
                  <a:pt x="3146834" y="5502158"/>
                  <a:pt x="3160000" y="5507734"/>
                  <a:pt x="3160929" y="5505049"/>
                </a:cubicBezTo>
                <a:cubicBezTo>
                  <a:pt x="3156592" y="5502984"/>
                  <a:pt x="3148693" y="5500506"/>
                  <a:pt x="3140328" y="5499474"/>
                </a:cubicBezTo>
                <a:lnTo>
                  <a:pt x="3139244" y="5499371"/>
                </a:lnTo>
                <a:lnTo>
                  <a:pt x="3135216" y="5507011"/>
                </a:lnTo>
                <a:cubicBezTo>
                  <a:pt x="3133048" y="5510212"/>
                  <a:pt x="3130725" y="5513000"/>
                  <a:pt x="3128556" y="5514962"/>
                </a:cubicBezTo>
                <a:cubicBezTo>
                  <a:pt x="3126852" y="5511142"/>
                  <a:pt x="3126078" y="5506805"/>
                  <a:pt x="3126078" y="5502572"/>
                </a:cubicBezTo>
                <a:lnTo>
                  <a:pt x="3126542" y="5499990"/>
                </a:lnTo>
                <a:lnTo>
                  <a:pt x="3120656" y="5502365"/>
                </a:lnTo>
                <a:cubicBezTo>
                  <a:pt x="3119882" y="5502158"/>
                  <a:pt x="3118952" y="5501642"/>
                  <a:pt x="3118023" y="5501126"/>
                </a:cubicBezTo>
                <a:lnTo>
                  <a:pt x="3115235" y="5499267"/>
                </a:lnTo>
                <a:lnTo>
                  <a:pt x="3114461" y="5500300"/>
                </a:lnTo>
                <a:lnTo>
                  <a:pt x="3113686" y="5499061"/>
                </a:lnTo>
                <a:lnTo>
                  <a:pt x="3112757" y="5499061"/>
                </a:lnTo>
                <a:cubicBezTo>
                  <a:pt x="3111982" y="5499371"/>
                  <a:pt x="3111208" y="5499783"/>
                  <a:pt x="3110898" y="5500816"/>
                </a:cubicBezTo>
                <a:lnTo>
                  <a:pt x="3105012" y="5495963"/>
                </a:lnTo>
                <a:lnTo>
                  <a:pt x="3104857" y="5497512"/>
                </a:lnTo>
                <a:cubicBezTo>
                  <a:pt x="3103928" y="5499164"/>
                  <a:pt x="3102069" y="5500506"/>
                  <a:pt x="3100829" y="5500196"/>
                </a:cubicBezTo>
                <a:cubicBezTo>
                  <a:pt x="3099745" y="5499887"/>
                  <a:pt x="3099126" y="5499164"/>
                  <a:pt x="3099126" y="5499164"/>
                </a:cubicBezTo>
                <a:cubicBezTo>
                  <a:pt x="3099126" y="5497615"/>
                  <a:pt x="3099281" y="5496170"/>
                  <a:pt x="3099900" y="5495137"/>
                </a:cubicBezTo>
                <a:lnTo>
                  <a:pt x="3102533" y="5494414"/>
                </a:lnTo>
                <a:lnTo>
                  <a:pt x="3093705" y="5491833"/>
                </a:lnTo>
                <a:lnTo>
                  <a:pt x="3091226" y="5491420"/>
                </a:lnTo>
                <a:lnTo>
                  <a:pt x="3088438" y="5493382"/>
                </a:lnTo>
                <a:cubicBezTo>
                  <a:pt x="3087973" y="5492659"/>
                  <a:pt x="3087199" y="5493072"/>
                  <a:pt x="3086734" y="5492349"/>
                </a:cubicBezTo>
                <a:cubicBezTo>
                  <a:pt x="3086734" y="5492349"/>
                  <a:pt x="3085960" y="5491729"/>
                  <a:pt x="3085030" y="5490697"/>
                </a:cubicBezTo>
                <a:lnTo>
                  <a:pt x="3085030" y="5490593"/>
                </a:lnTo>
                <a:lnTo>
                  <a:pt x="3084720" y="5490490"/>
                </a:lnTo>
                <a:cubicBezTo>
                  <a:pt x="3082087" y="5489768"/>
                  <a:pt x="3079454" y="5488838"/>
                  <a:pt x="3078525" y="5487083"/>
                </a:cubicBezTo>
                <a:cubicBezTo>
                  <a:pt x="3079764" y="5486773"/>
                  <a:pt x="3081468" y="5486877"/>
                  <a:pt x="3083016" y="5486877"/>
                </a:cubicBezTo>
                <a:lnTo>
                  <a:pt x="3083791" y="5486773"/>
                </a:lnTo>
                <a:lnTo>
                  <a:pt x="3083481" y="5485947"/>
                </a:lnTo>
                <a:cubicBezTo>
                  <a:pt x="3083636" y="5484708"/>
                  <a:pt x="3084720" y="5481920"/>
                  <a:pt x="3085185" y="5482643"/>
                </a:cubicBezTo>
                <a:cubicBezTo>
                  <a:pt x="3086424" y="5482953"/>
                  <a:pt x="3085960" y="5482230"/>
                  <a:pt x="3086579" y="5481714"/>
                </a:cubicBezTo>
                <a:lnTo>
                  <a:pt x="3087044" y="5481920"/>
                </a:lnTo>
                <a:lnTo>
                  <a:pt x="3087508" y="5477893"/>
                </a:lnTo>
                <a:cubicBezTo>
                  <a:pt x="3076821" y="5475312"/>
                  <a:pt x="3067217" y="5469323"/>
                  <a:pt x="3057459" y="5464057"/>
                </a:cubicBezTo>
                <a:lnTo>
                  <a:pt x="3051418" y="5461062"/>
                </a:lnTo>
                <a:lnTo>
                  <a:pt x="3049869" y="5463024"/>
                </a:lnTo>
                <a:cubicBezTo>
                  <a:pt x="3048475" y="5461992"/>
                  <a:pt x="3047700" y="5461062"/>
                  <a:pt x="3046461" y="5459204"/>
                </a:cubicBezTo>
                <a:lnTo>
                  <a:pt x="3046926" y="5458687"/>
                </a:lnTo>
                <a:lnTo>
                  <a:pt x="3042744" y="5456622"/>
                </a:lnTo>
                <a:lnTo>
                  <a:pt x="3042124" y="5456416"/>
                </a:lnTo>
                <a:lnTo>
                  <a:pt x="3041505" y="5457965"/>
                </a:lnTo>
                <a:cubicBezTo>
                  <a:pt x="3041194" y="5458894"/>
                  <a:pt x="3040420" y="5459307"/>
                  <a:pt x="3039491" y="5459514"/>
                </a:cubicBezTo>
                <a:cubicBezTo>
                  <a:pt x="3038561" y="5459617"/>
                  <a:pt x="3037477" y="5459514"/>
                  <a:pt x="3036703" y="5459204"/>
                </a:cubicBezTo>
                <a:cubicBezTo>
                  <a:pt x="3035773" y="5458378"/>
                  <a:pt x="3035618" y="5458275"/>
                  <a:pt x="3034689" y="5457448"/>
                </a:cubicBezTo>
                <a:cubicBezTo>
                  <a:pt x="3034534" y="5456622"/>
                  <a:pt x="3034224" y="5455796"/>
                  <a:pt x="3034069" y="5454970"/>
                </a:cubicBezTo>
                <a:lnTo>
                  <a:pt x="3034069" y="5453835"/>
                </a:lnTo>
                <a:lnTo>
                  <a:pt x="3029577" y="5452492"/>
                </a:lnTo>
                <a:lnTo>
                  <a:pt x="3027254" y="5456519"/>
                </a:lnTo>
                <a:cubicBezTo>
                  <a:pt x="3025860" y="5458171"/>
                  <a:pt x="3024001" y="5459307"/>
                  <a:pt x="3021368" y="5459514"/>
                </a:cubicBezTo>
                <a:lnTo>
                  <a:pt x="3024466" y="5448155"/>
                </a:lnTo>
                <a:lnTo>
                  <a:pt x="3021678" y="5445058"/>
                </a:lnTo>
                <a:cubicBezTo>
                  <a:pt x="3019509" y="5443302"/>
                  <a:pt x="3017495" y="5441960"/>
                  <a:pt x="3015482" y="5440514"/>
                </a:cubicBezTo>
                <a:lnTo>
                  <a:pt x="3014707" y="5440101"/>
                </a:lnTo>
                <a:lnTo>
                  <a:pt x="3014397" y="5441237"/>
                </a:lnTo>
                <a:cubicBezTo>
                  <a:pt x="3010680" y="5441753"/>
                  <a:pt x="3006653" y="5443922"/>
                  <a:pt x="3002780" y="5446297"/>
                </a:cubicBezTo>
                <a:lnTo>
                  <a:pt x="2995345" y="5450634"/>
                </a:lnTo>
                <a:lnTo>
                  <a:pt x="2994571" y="5451459"/>
                </a:lnTo>
                <a:cubicBezTo>
                  <a:pt x="3002161" y="5456829"/>
                  <a:pt x="3008666" y="5458791"/>
                  <a:pt x="3015017" y="5461476"/>
                </a:cubicBezTo>
                <a:cubicBezTo>
                  <a:pt x="3021523" y="5463541"/>
                  <a:pt x="3026325" y="5466535"/>
                  <a:pt x="3030816" y="5474692"/>
                </a:cubicBezTo>
                <a:cubicBezTo>
                  <a:pt x="3026325" y="5477067"/>
                  <a:pt x="3027873" y="5468497"/>
                  <a:pt x="3020438" y="5466948"/>
                </a:cubicBezTo>
                <a:cubicBezTo>
                  <a:pt x="3020283" y="5469116"/>
                  <a:pt x="3020903" y="5471181"/>
                  <a:pt x="3021833" y="5473143"/>
                </a:cubicBezTo>
                <a:lnTo>
                  <a:pt x="3024776" y="5477480"/>
                </a:lnTo>
                <a:lnTo>
                  <a:pt x="3026789" y="5476448"/>
                </a:lnTo>
                <a:cubicBezTo>
                  <a:pt x="3031436" y="5475518"/>
                  <a:pt x="3037012" y="5476757"/>
                  <a:pt x="3037167" y="5480061"/>
                </a:cubicBezTo>
                <a:cubicBezTo>
                  <a:pt x="3037322" y="5481301"/>
                  <a:pt x="3036703" y="5482849"/>
                  <a:pt x="3034844" y="5484605"/>
                </a:cubicBezTo>
                <a:lnTo>
                  <a:pt x="3034224" y="5485121"/>
                </a:lnTo>
                <a:lnTo>
                  <a:pt x="3036703" y="5487083"/>
                </a:lnTo>
                <a:cubicBezTo>
                  <a:pt x="3035618" y="5488219"/>
                  <a:pt x="3034534" y="5488632"/>
                  <a:pt x="3033140" y="5488632"/>
                </a:cubicBezTo>
                <a:lnTo>
                  <a:pt x="3029732" y="5488425"/>
                </a:lnTo>
                <a:lnTo>
                  <a:pt x="3026170" y="5491007"/>
                </a:lnTo>
                <a:lnTo>
                  <a:pt x="3024776" y="5489354"/>
                </a:lnTo>
                <a:lnTo>
                  <a:pt x="3023072" y="5491110"/>
                </a:lnTo>
                <a:cubicBezTo>
                  <a:pt x="3019354" y="5484708"/>
                  <a:pt x="3015482" y="5481197"/>
                  <a:pt x="3011454" y="5478513"/>
                </a:cubicBezTo>
                <a:lnTo>
                  <a:pt x="3005104" y="5474692"/>
                </a:lnTo>
                <a:lnTo>
                  <a:pt x="3002780" y="5477583"/>
                </a:lnTo>
                <a:cubicBezTo>
                  <a:pt x="2998443" y="5481197"/>
                  <a:pt x="2992712" y="5483159"/>
                  <a:pt x="2987136" y="5482746"/>
                </a:cubicBezTo>
                <a:cubicBezTo>
                  <a:pt x="2985277" y="5482643"/>
                  <a:pt x="2983573" y="5482333"/>
                  <a:pt x="2981714" y="5481610"/>
                </a:cubicBezTo>
                <a:lnTo>
                  <a:pt x="2977068" y="5478822"/>
                </a:lnTo>
                <a:lnTo>
                  <a:pt x="2976448" y="5479958"/>
                </a:lnTo>
                <a:cubicBezTo>
                  <a:pt x="2974589" y="5481920"/>
                  <a:pt x="2971801" y="5481301"/>
                  <a:pt x="2968393" y="5478822"/>
                </a:cubicBezTo>
                <a:cubicBezTo>
                  <a:pt x="2968548" y="5476860"/>
                  <a:pt x="2968083" y="5475105"/>
                  <a:pt x="2967929" y="5472420"/>
                </a:cubicBezTo>
                <a:cubicBezTo>
                  <a:pt x="2969168" y="5472111"/>
                  <a:pt x="2971181" y="5472214"/>
                  <a:pt x="2973040" y="5472937"/>
                </a:cubicBezTo>
                <a:lnTo>
                  <a:pt x="2977068" y="5476241"/>
                </a:lnTo>
                <a:lnTo>
                  <a:pt x="2977997" y="5469323"/>
                </a:lnTo>
                <a:cubicBezTo>
                  <a:pt x="2979081" y="5466535"/>
                  <a:pt x="2980630" y="5464263"/>
                  <a:pt x="2982489" y="5462405"/>
                </a:cubicBezTo>
                <a:lnTo>
                  <a:pt x="2984812" y="5460959"/>
                </a:lnTo>
                <a:lnTo>
                  <a:pt x="2981404" y="5459101"/>
                </a:lnTo>
                <a:cubicBezTo>
                  <a:pt x="2979391" y="5458171"/>
                  <a:pt x="2977222" y="5457448"/>
                  <a:pt x="2974589" y="5456622"/>
                </a:cubicBezTo>
                <a:cubicBezTo>
                  <a:pt x="2973660" y="5454041"/>
                  <a:pt x="2972111" y="5451666"/>
                  <a:pt x="2970097" y="5449394"/>
                </a:cubicBezTo>
                <a:lnTo>
                  <a:pt x="2968393" y="5448052"/>
                </a:lnTo>
                <a:lnTo>
                  <a:pt x="2967774" y="5449188"/>
                </a:lnTo>
                <a:lnTo>
                  <a:pt x="2966690" y="5446504"/>
                </a:lnTo>
                <a:lnTo>
                  <a:pt x="2963592" y="5443922"/>
                </a:lnTo>
                <a:lnTo>
                  <a:pt x="2963282" y="5443819"/>
                </a:lnTo>
                <a:lnTo>
                  <a:pt x="2963127" y="5443509"/>
                </a:lnTo>
                <a:lnTo>
                  <a:pt x="2962507" y="5442992"/>
                </a:lnTo>
                <a:cubicBezTo>
                  <a:pt x="2959564" y="5441341"/>
                  <a:pt x="2956621" y="5438966"/>
                  <a:pt x="2953214" y="5436384"/>
                </a:cubicBezTo>
                <a:cubicBezTo>
                  <a:pt x="2949496" y="5434525"/>
                  <a:pt x="2946863" y="5431428"/>
                  <a:pt x="2942990" y="5428020"/>
                </a:cubicBezTo>
                <a:cubicBezTo>
                  <a:pt x="2937104" y="5426162"/>
                  <a:pt x="2939737" y="5435248"/>
                  <a:pt x="2933697" y="5429569"/>
                </a:cubicBezTo>
                <a:cubicBezTo>
                  <a:pt x="2935091" y="5427814"/>
                  <a:pt x="2935865" y="5426162"/>
                  <a:pt x="2936020" y="5424716"/>
                </a:cubicBezTo>
                <a:lnTo>
                  <a:pt x="2935091" y="5420896"/>
                </a:lnTo>
                <a:lnTo>
                  <a:pt x="2930599" y="5425955"/>
                </a:lnTo>
                <a:cubicBezTo>
                  <a:pt x="2927346" y="5429363"/>
                  <a:pt x="2923783" y="5432151"/>
                  <a:pt x="2921150" y="5432047"/>
                </a:cubicBezTo>
                <a:cubicBezTo>
                  <a:pt x="2920375" y="5431944"/>
                  <a:pt x="2919601" y="5431634"/>
                  <a:pt x="2918981" y="5431015"/>
                </a:cubicBezTo>
                <a:cubicBezTo>
                  <a:pt x="2920995" y="5428537"/>
                  <a:pt x="2924093" y="5423580"/>
                  <a:pt x="2927656" y="5419863"/>
                </a:cubicBezTo>
                <a:lnTo>
                  <a:pt x="2930908" y="5417591"/>
                </a:lnTo>
                <a:lnTo>
                  <a:pt x="2927191" y="5414804"/>
                </a:lnTo>
                <a:cubicBezTo>
                  <a:pt x="2920066" y="5410364"/>
                  <a:pt x="2911547" y="5405511"/>
                  <a:pt x="2911547" y="5397147"/>
                </a:cubicBezTo>
                <a:cubicBezTo>
                  <a:pt x="2909533" y="5396527"/>
                  <a:pt x="2908139" y="5396114"/>
                  <a:pt x="2905970" y="5398489"/>
                </a:cubicBezTo>
                <a:lnTo>
                  <a:pt x="2901013" y="5391055"/>
                </a:lnTo>
                <a:lnTo>
                  <a:pt x="2893114" y="5388163"/>
                </a:lnTo>
                <a:cubicBezTo>
                  <a:pt x="2890635" y="5386511"/>
                  <a:pt x="2888777" y="5384240"/>
                  <a:pt x="2887537" y="5380936"/>
                </a:cubicBezTo>
                <a:lnTo>
                  <a:pt x="2891565" y="5379593"/>
                </a:lnTo>
                <a:lnTo>
                  <a:pt x="2889861" y="5377631"/>
                </a:lnTo>
                <a:cubicBezTo>
                  <a:pt x="2887228" y="5374637"/>
                  <a:pt x="2884749" y="5371539"/>
                  <a:pt x="2881806" y="5369164"/>
                </a:cubicBezTo>
                <a:cubicBezTo>
                  <a:pt x="2879328" y="5366067"/>
                  <a:pt x="2877159" y="5363898"/>
                  <a:pt x="2874371" y="5361523"/>
                </a:cubicBezTo>
                <a:cubicBezTo>
                  <a:pt x="2868950" y="5356154"/>
                  <a:pt x="2864148" y="5350888"/>
                  <a:pt x="2859346" y="5345725"/>
                </a:cubicBezTo>
                <a:lnTo>
                  <a:pt x="2854700" y="5340356"/>
                </a:lnTo>
                <a:lnTo>
                  <a:pt x="2852531" y="5340149"/>
                </a:lnTo>
                <a:lnTo>
                  <a:pt x="2853305" y="5338807"/>
                </a:lnTo>
                <a:lnTo>
                  <a:pt x="2852376" y="5337671"/>
                </a:lnTo>
                <a:cubicBezTo>
                  <a:pt x="2850053" y="5334883"/>
                  <a:pt x="2847884" y="5331992"/>
                  <a:pt x="2845715" y="5328688"/>
                </a:cubicBezTo>
                <a:lnTo>
                  <a:pt x="2847729" y="5328275"/>
                </a:lnTo>
                <a:lnTo>
                  <a:pt x="2847109" y="5327552"/>
                </a:lnTo>
                <a:cubicBezTo>
                  <a:pt x="2846955" y="5326416"/>
                  <a:pt x="2847419" y="5325590"/>
                  <a:pt x="2847419" y="5325590"/>
                </a:cubicBezTo>
                <a:lnTo>
                  <a:pt x="2848039" y="5325487"/>
                </a:lnTo>
                <a:lnTo>
                  <a:pt x="2842308" y="5322492"/>
                </a:lnTo>
                <a:cubicBezTo>
                  <a:pt x="2839055" y="5320944"/>
                  <a:pt x="2835647" y="5319498"/>
                  <a:pt x="2832394" y="5318466"/>
                </a:cubicBezTo>
                <a:cubicBezTo>
                  <a:pt x="2834253" y="5316297"/>
                  <a:pt x="2829606" y="5306591"/>
                  <a:pt x="2824185" y="5303700"/>
                </a:cubicBezTo>
                <a:lnTo>
                  <a:pt x="2823411" y="5303493"/>
                </a:lnTo>
                <a:lnTo>
                  <a:pt x="2823411" y="5303597"/>
                </a:lnTo>
                <a:lnTo>
                  <a:pt x="2820777" y="5303080"/>
                </a:lnTo>
                <a:lnTo>
                  <a:pt x="2818609" y="5303700"/>
                </a:lnTo>
                <a:cubicBezTo>
                  <a:pt x="2820467" y="5296059"/>
                  <a:pt x="2810709" y="5275717"/>
                  <a:pt x="2802809" y="5275511"/>
                </a:cubicBezTo>
                <a:cubicBezTo>
                  <a:pt x="2805133" y="5270968"/>
                  <a:pt x="2803739" y="5266734"/>
                  <a:pt x="2801415" y="5263017"/>
                </a:cubicBezTo>
                <a:lnTo>
                  <a:pt x="2797543" y="5257441"/>
                </a:lnTo>
                <a:lnTo>
                  <a:pt x="2796613" y="5256925"/>
                </a:lnTo>
                <a:lnTo>
                  <a:pt x="2796768" y="5255376"/>
                </a:lnTo>
                <a:lnTo>
                  <a:pt x="2796613" y="5255170"/>
                </a:lnTo>
                <a:lnTo>
                  <a:pt x="2796303" y="5255789"/>
                </a:lnTo>
                <a:cubicBezTo>
                  <a:pt x="2794290" y="5255995"/>
                  <a:pt x="2792741" y="5255582"/>
                  <a:pt x="2791502" y="5255066"/>
                </a:cubicBezTo>
                <a:lnTo>
                  <a:pt x="2790572" y="5254653"/>
                </a:lnTo>
                <a:lnTo>
                  <a:pt x="2788868" y="5256305"/>
                </a:lnTo>
                <a:lnTo>
                  <a:pt x="2788404" y="5253827"/>
                </a:lnTo>
                <a:lnTo>
                  <a:pt x="2787629" y="5253517"/>
                </a:lnTo>
                <a:cubicBezTo>
                  <a:pt x="2787475" y="5251246"/>
                  <a:pt x="2787629" y="5249594"/>
                  <a:pt x="2788249" y="5248148"/>
                </a:cubicBezTo>
                <a:lnTo>
                  <a:pt x="2789023" y="5247012"/>
                </a:lnTo>
                <a:lnTo>
                  <a:pt x="2788249" y="5243398"/>
                </a:lnTo>
                <a:cubicBezTo>
                  <a:pt x="2787629" y="5242366"/>
                  <a:pt x="2787010" y="5241540"/>
                  <a:pt x="2786235" y="5240920"/>
                </a:cubicBezTo>
                <a:lnTo>
                  <a:pt x="2784686" y="5240507"/>
                </a:lnTo>
                <a:lnTo>
                  <a:pt x="2782518" y="5241643"/>
                </a:lnTo>
                <a:cubicBezTo>
                  <a:pt x="2781589" y="5241849"/>
                  <a:pt x="2780814" y="5241849"/>
                  <a:pt x="2780039" y="5241643"/>
                </a:cubicBezTo>
                <a:cubicBezTo>
                  <a:pt x="2778645" y="5241230"/>
                  <a:pt x="2777406" y="5240094"/>
                  <a:pt x="2776941" y="5238545"/>
                </a:cubicBezTo>
                <a:cubicBezTo>
                  <a:pt x="2776477" y="5237100"/>
                  <a:pt x="2776477" y="5235344"/>
                  <a:pt x="2777096" y="5233589"/>
                </a:cubicBezTo>
                <a:lnTo>
                  <a:pt x="2781124" y="5229562"/>
                </a:lnTo>
                <a:lnTo>
                  <a:pt x="2780969" y="5229459"/>
                </a:lnTo>
                <a:cubicBezTo>
                  <a:pt x="2781124" y="5228219"/>
                  <a:pt x="2781898" y="5227084"/>
                  <a:pt x="2783602" y="5225845"/>
                </a:cubicBezTo>
                <a:cubicBezTo>
                  <a:pt x="2780659" y="5225742"/>
                  <a:pt x="2778490" y="5223573"/>
                  <a:pt x="2782982" y="5221198"/>
                </a:cubicBezTo>
                <a:lnTo>
                  <a:pt x="2781743" y="5220476"/>
                </a:lnTo>
                <a:lnTo>
                  <a:pt x="2778181" y="5222437"/>
                </a:lnTo>
                <a:cubicBezTo>
                  <a:pt x="2777406" y="5221508"/>
                  <a:pt x="2776787" y="5220579"/>
                  <a:pt x="2775857" y="5221302"/>
                </a:cubicBezTo>
                <a:cubicBezTo>
                  <a:pt x="2774618" y="5219959"/>
                  <a:pt x="2773688" y="5218307"/>
                  <a:pt x="2773069" y="5216552"/>
                </a:cubicBezTo>
                <a:cubicBezTo>
                  <a:pt x="2771830" y="5213454"/>
                  <a:pt x="2771520" y="5209943"/>
                  <a:pt x="2771985" y="5206433"/>
                </a:cubicBezTo>
                <a:lnTo>
                  <a:pt x="2772604" y="5204264"/>
                </a:lnTo>
                <a:lnTo>
                  <a:pt x="2771830" y="5204780"/>
                </a:lnTo>
                <a:cubicBezTo>
                  <a:pt x="2766718" y="5204471"/>
                  <a:pt x="2764860" y="5201063"/>
                  <a:pt x="2765479" y="5197862"/>
                </a:cubicBezTo>
                <a:lnTo>
                  <a:pt x="2767803" y="5194042"/>
                </a:lnTo>
                <a:lnTo>
                  <a:pt x="2766718" y="5193835"/>
                </a:lnTo>
                <a:cubicBezTo>
                  <a:pt x="2765944" y="5193422"/>
                  <a:pt x="2765634" y="5192700"/>
                  <a:pt x="2765324" y="5191770"/>
                </a:cubicBezTo>
                <a:cubicBezTo>
                  <a:pt x="2764705" y="5190015"/>
                  <a:pt x="2764705" y="5187537"/>
                  <a:pt x="2763930" y="5185368"/>
                </a:cubicBezTo>
                <a:lnTo>
                  <a:pt x="2765479" y="5185884"/>
                </a:lnTo>
                <a:lnTo>
                  <a:pt x="2764705" y="5183200"/>
                </a:lnTo>
                <a:lnTo>
                  <a:pt x="2760367" y="5181961"/>
                </a:lnTo>
                <a:lnTo>
                  <a:pt x="2760987" y="5182684"/>
                </a:lnTo>
                <a:cubicBezTo>
                  <a:pt x="2761142" y="5185265"/>
                  <a:pt x="2762381" y="5187950"/>
                  <a:pt x="2761607" y="5190944"/>
                </a:cubicBezTo>
                <a:lnTo>
                  <a:pt x="2760367" y="5193113"/>
                </a:lnTo>
                <a:lnTo>
                  <a:pt x="2761142" y="5193009"/>
                </a:lnTo>
                <a:cubicBezTo>
                  <a:pt x="2763466" y="5196417"/>
                  <a:pt x="2763775" y="5197656"/>
                  <a:pt x="2763775" y="5201476"/>
                </a:cubicBezTo>
                <a:lnTo>
                  <a:pt x="2758819" y="5202715"/>
                </a:lnTo>
                <a:lnTo>
                  <a:pt x="2759438" y="5206226"/>
                </a:lnTo>
                <a:cubicBezTo>
                  <a:pt x="2757889" y="5206639"/>
                  <a:pt x="2756805" y="5206846"/>
                  <a:pt x="2755875" y="5206742"/>
                </a:cubicBezTo>
                <a:cubicBezTo>
                  <a:pt x="2755101" y="5206742"/>
                  <a:pt x="2754636" y="5206433"/>
                  <a:pt x="2754327" y="5206019"/>
                </a:cubicBezTo>
                <a:cubicBezTo>
                  <a:pt x="2753862" y="5205503"/>
                  <a:pt x="2754172" y="5204677"/>
                  <a:pt x="2754636" y="5203954"/>
                </a:cubicBezTo>
                <a:lnTo>
                  <a:pt x="2755566" y="5203025"/>
                </a:lnTo>
                <a:lnTo>
                  <a:pt x="2749989" y="5202199"/>
                </a:lnTo>
                <a:cubicBezTo>
                  <a:pt x="2745033" y="5194558"/>
                  <a:pt x="2750609" y="5193835"/>
                  <a:pt x="2756186" y="5193525"/>
                </a:cubicBezTo>
                <a:lnTo>
                  <a:pt x="2759128" y="5193216"/>
                </a:lnTo>
                <a:lnTo>
                  <a:pt x="2752623" y="5188673"/>
                </a:lnTo>
                <a:cubicBezTo>
                  <a:pt x="2750144" y="5187330"/>
                  <a:pt x="2747511" y="5186298"/>
                  <a:pt x="2744878" y="5184749"/>
                </a:cubicBezTo>
                <a:lnTo>
                  <a:pt x="2745033" y="5184233"/>
                </a:lnTo>
                <a:lnTo>
                  <a:pt x="2737753" y="5186194"/>
                </a:lnTo>
                <a:lnTo>
                  <a:pt x="2732486" y="5186814"/>
                </a:lnTo>
                <a:lnTo>
                  <a:pt x="2732951" y="5187124"/>
                </a:lnTo>
                <a:cubicBezTo>
                  <a:pt x="2734035" y="5190738"/>
                  <a:pt x="2734500" y="5193939"/>
                  <a:pt x="2734035" y="5196623"/>
                </a:cubicBezTo>
                <a:lnTo>
                  <a:pt x="2728614" y="5202612"/>
                </a:lnTo>
                <a:lnTo>
                  <a:pt x="2730318" y="5208085"/>
                </a:lnTo>
                <a:lnTo>
                  <a:pt x="2729078" y="5213867"/>
                </a:lnTo>
                <a:lnTo>
                  <a:pt x="2732021" y="5218720"/>
                </a:lnTo>
                <a:cubicBezTo>
                  <a:pt x="2730937" y="5219959"/>
                  <a:pt x="2729698" y="5220372"/>
                  <a:pt x="2728614" y="5220166"/>
                </a:cubicBezTo>
                <a:lnTo>
                  <a:pt x="2726910" y="5219133"/>
                </a:lnTo>
                <a:lnTo>
                  <a:pt x="2721798" y="5225225"/>
                </a:lnTo>
                <a:cubicBezTo>
                  <a:pt x="2719165" y="5227394"/>
                  <a:pt x="2716067" y="5229149"/>
                  <a:pt x="2712660" y="5230388"/>
                </a:cubicBezTo>
                <a:lnTo>
                  <a:pt x="2702591" y="5231627"/>
                </a:lnTo>
                <a:lnTo>
                  <a:pt x="2700423" y="5235448"/>
                </a:lnTo>
                <a:cubicBezTo>
                  <a:pt x="2693917" y="5238029"/>
                  <a:pt x="2688031" y="5239578"/>
                  <a:pt x="2682764" y="5238855"/>
                </a:cubicBezTo>
                <a:cubicBezTo>
                  <a:pt x="2677653" y="5238132"/>
                  <a:pt x="2673316" y="5235241"/>
                  <a:pt x="2670063" y="5229149"/>
                </a:cubicBezTo>
                <a:cubicBezTo>
                  <a:pt x="2672231" y="5228323"/>
                  <a:pt x="2671457" y="5226154"/>
                  <a:pt x="2670683" y="5223883"/>
                </a:cubicBezTo>
                <a:lnTo>
                  <a:pt x="2678118" y="5218720"/>
                </a:lnTo>
                <a:lnTo>
                  <a:pt x="2676569" y="5216552"/>
                </a:lnTo>
                <a:cubicBezTo>
                  <a:pt x="2675020" y="5213144"/>
                  <a:pt x="2673935" y="5209220"/>
                  <a:pt x="2673161" y="5204677"/>
                </a:cubicBezTo>
                <a:lnTo>
                  <a:pt x="2674245" y="5203954"/>
                </a:lnTo>
                <a:lnTo>
                  <a:pt x="2674090" y="5203851"/>
                </a:lnTo>
                <a:cubicBezTo>
                  <a:pt x="2674555" y="5201476"/>
                  <a:pt x="2675794" y="5200547"/>
                  <a:pt x="2677033" y="5200857"/>
                </a:cubicBezTo>
                <a:lnTo>
                  <a:pt x="2677963" y="5201167"/>
                </a:lnTo>
                <a:lnTo>
                  <a:pt x="2687102" y="5194351"/>
                </a:lnTo>
                <a:cubicBezTo>
                  <a:pt x="2697015" y="5189085"/>
                  <a:pt x="2707548" y="5187434"/>
                  <a:pt x="2716067" y="5190015"/>
                </a:cubicBezTo>
                <a:lnTo>
                  <a:pt x="2719010" y="5191460"/>
                </a:lnTo>
                <a:lnTo>
                  <a:pt x="2719475" y="5188156"/>
                </a:lnTo>
                <a:lnTo>
                  <a:pt x="2719784" y="5187950"/>
                </a:lnTo>
                <a:lnTo>
                  <a:pt x="2714828" y="5188363"/>
                </a:lnTo>
                <a:cubicBezTo>
                  <a:pt x="2715138" y="5186814"/>
                  <a:pt x="2714828" y="5185575"/>
                  <a:pt x="2714673" y="5184129"/>
                </a:cubicBezTo>
                <a:lnTo>
                  <a:pt x="2715138" y="5181651"/>
                </a:lnTo>
                <a:lnTo>
                  <a:pt x="2714053" y="5181651"/>
                </a:lnTo>
                <a:cubicBezTo>
                  <a:pt x="2713124" y="5179689"/>
                  <a:pt x="2712660" y="5178037"/>
                  <a:pt x="2712814" y="5176798"/>
                </a:cubicBezTo>
                <a:lnTo>
                  <a:pt x="2713434" y="5175455"/>
                </a:lnTo>
                <a:lnTo>
                  <a:pt x="2709097" y="5175766"/>
                </a:lnTo>
                <a:cubicBezTo>
                  <a:pt x="2707393" y="5175455"/>
                  <a:pt x="2706154" y="5174940"/>
                  <a:pt x="2705379" y="5174217"/>
                </a:cubicBezTo>
                <a:lnTo>
                  <a:pt x="2704450" y="5172358"/>
                </a:lnTo>
                <a:lnTo>
                  <a:pt x="2703211" y="5174010"/>
                </a:lnTo>
                <a:cubicBezTo>
                  <a:pt x="2702282" y="5174836"/>
                  <a:pt x="2700423" y="5175766"/>
                  <a:pt x="2698409" y="5176075"/>
                </a:cubicBezTo>
                <a:cubicBezTo>
                  <a:pt x="2696396" y="5176488"/>
                  <a:pt x="2694227" y="5176488"/>
                  <a:pt x="2692988" y="5175559"/>
                </a:cubicBezTo>
                <a:cubicBezTo>
                  <a:pt x="2694072" y="5173907"/>
                  <a:pt x="2695001" y="5172255"/>
                  <a:pt x="2696086" y="5170603"/>
                </a:cubicBezTo>
                <a:cubicBezTo>
                  <a:pt x="2695931" y="5171429"/>
                  <a:pt x="2703676" y="5169880"/>
                  <a:pt x="2703676" y="5169880"/>
                </a:cubicBezTo>
                <a:lnTo>
                  <a:pt x="2704450" y="5171222"/>
                </a:lnTo>
                <a:lnTo>
                  <a:pt x="2705379" y="5167608"/>
                </a:lnTo>
                <a:cubicBezTo>
                  <a:pt x="2707703" y="5162858"/>
                  <a:pt x="2713589" y="5158212"/>
                  <a:pt x="2716532" y="5160174"/>
                </a:cubicBezTo>
                <a:cubicBezTo>
                  <a:pt x="2717926" y="5161206"/>
                  <a:pt x="2718700" y="5163891"/>
                  <a:pt x="2717771" y="5169157"/>
                </a:cubicBezTo>
                <a:lnTo>
                  <a:pt x="2716687" y="5173184"/>
                </a:lnTo>
                <a:lnTo>
                  <a:pt x="2716996" y="5173184"/>
                </a:lnTo>
                <a:cubicBezTo>
                  <a:pt x="2718081" y="5173184"/>
                  <a:pt x="2719320" y="5173700"/>
                  <a:pt x="2720404" y="5174423"/>
                </a:cubicBezTo>
                <a:lnTo>
                  <a:pt x="2723192" y="5178347"/>
                </a:lnTo>
                <a:lnTo>
                  <a:pt x="2737288" y="5177831"/>
                </a:lnTo>
                <a:lnTo>
                  <a:pt x="2741315" y="5175043"/>
                </a:lnTo>
                <a:cubicBezTo>
                  <a:pt x="2742710" y="5174526"/>
                  <a:pt x="2743949" y="5174733"/>
                  <a:pt x="2744878" y="5176075"/>
                </a:cubicBezTo>
                <a:lnTo>
                  <a:pt x="2744413" y="5177417"/>
                </a:lnTo>
                <a:lnTo>
                  <a:pt x="2747666" y="5177108"/>
                </a:lnTo>
                <a:lnTo>
                  <a:pt x="2754172" y="5177314"/>
                </a:lnTo>
                <a:lnTo>
                  <a:pt x="2753862" y="5176798"/>
                </a:lnTo>
                <a:cubicBezTo>
                  <a:pt x="2754327" y="5173390"/>
                  <a:pt x="2754327" y="5170706"/>
                  <a:pt x="2753862" y="5168331"/>
                </a:cubicBezTo>
                <a:lnTo>
                  <a:pt x="2753862" y="5168124"/>
                </a:lnTo>
                <a:lnTo>
                  <a:pt x="2750919" y="5169054"/>
                </a:lnTo>
                <a:cubicBezTo>
                  <a:pt x="2749525" y="5169157"/>
                  <a:pt x="2748285" y="5168641"/>
                  <a:pt x="2747666" y="5167505"/>
                </a:cubicBezTo>
                <a:cubicBezTo>
                  <a:pt x="2747046" y="5166782"/>
                  <a:pt x="2746892" y="5165750"/>
                  <a:pt x="2746892" y="5164407"/>
                </a:cubicBezTo>
                <a:cubicBezTo>
                  <a:pt x="2747821" y="5163478"/>
                  <a:pt x="2749680" y="5162962"/>
                  <a:pt x="2751539" y="5162858"/>
                </a:cubicBezTo>
                <a:lnTo>
                  <a:pt x="2752003" y="5162962"/>
                </a:lnTo>
                <a:lnTo>
                  <a:pt x="2751693" y="5162136"/>
                </a:lnTo>
                <a:lnTo>
                  <a:pt x="2749525" y="5159141"/>
                </a:lnTo>
                <a:lnTo>
                  <a:pt x="2749370" y="5159245"/>
                </a:lnTo>
                <a:cubicBezTo>
                  <a:pt x="2748596" y="5159657"/>
                  <a:pt x="2747821" y="5159864"/>
                  <a:pt x="2747201" y="5159657"/>
                </a:cubicBezTo>
                <a:cubicBezTo>
                  <a:pt x="2746117" y="5159245"/>
                  <a:pt x="2745807" y="5158418"/>
                  <a:pt x="2745807" y="5158418"/>
                </a:cubicBezTo>
                <a:lnTo>
                  <a:pt x="2746117" y="5157696"/>
                </a:lnTo>
                <a:lnTo>
                  <a:pt x="2742245" y="5157179"/>
                </a:lnTo>
                <a:cubicBezTo>
                  <a:pt x="2740851" y="5156353"/>
                  <a:pt x="2739921" y="5155114"/>
                  <a:pt x="2739766" y="5153462"/>
                </a:cubicBezTo>
                <a:cubicBezTo>
                  <a:pt x="2739456" y="5152016"/>
                  <a:pt x="2739921" y="5150364"/>
                  <a:pt x="2741006" y="5148506"/>
                </a:cubicBezTo>
                <a:lnTo>
                  <a:pt x="2741935" y="5148093"/>
                </a:lnTo>
                <a:lnTo>
                  <a:pt x="2741470" y="5147370"/>
                </a:lnTo>
                <a:lnTo>
                  <a:pt x="2739921" y="5150158"/>
                </a:lnTo>
                <a:cubicBezTo>
                  <a:pt x="2739147" y="5151190"/>
                  <a:pt x="2738063" y="5152016"/>
                  <a:pt x="2736514" y="5151810"/>
                </a:cubicBezTo>
                <a:cubicBezTo>
                  <a:pt x="2736204" y="5150984"/>
                  <a:pt x="2735584" y="5151397"/>
                  <a:pt x="2735274" y="5150674"/>
                </a:cubicBezTo>
                <a:cubicBezTo>
                  <a:pt x="2735274" y="5150674"/>
                  <a:pt x="2734500" y="5150054"/>
                  <a:pt x="2734035" y="5148919"/>
                </a:cubicBezTo>
                <a:cubicBezTo>
                  <a:pt x="2733416" y="5147886"/>
                  <a:pt x="2732951" y="5146234"/>
                  <a:pt x="2733571" y="5144066"/>
                </a:cubicBezTo>
                <a:cubicBezTo>
                  <a:pt x="2734035" y="5142930"/>
                  <a:pt x="2735739" y="5140142"/>
                  <a:pt x="2736049" y="5140968"/>
                </a:cubicBezTo>
                <a:cubicBezTo>
                  <a:pt x="2737133" y="5141381"/>
                  <a:pt x="2736823" y="5140555"/>
                  <a:pt x="2737598" y="5140142"/>
                </a:cubicBezTo>
                <a:lnTo>
                  <a:pt x="2738837" y="5140865"/>
                </a:lnTo>
                <a:lnTo>
                  <a:pt x="2739147" y="5140349"/>
                </a:lnTo>
                <a:cubicBezTo>
                  <a:pt x="2740386" y="5138593"/>
                  <a:pt x="2740386" y="5138593"/>
                  <a:pt x="2741470" y="5138903"/>
                </a:cubicBezTo>
                <a:cubicBezTo>
                  <a:pt x="2742090" y="5139006"/>
                  <a:pt x="2742399" y="5139832"/>
                  <a:pt x="2742864" y="5140555"/>
                </a:cubicBezTo>
                <a:lnTo>
                  <a:pt x="2743329" y="5141175"/>
                </a:lnTo>
                <a:lnTo>
                  <a:pt x="2742090" y="5137044"/>
                </a:lnTo>
                <a:lnTo>
                  <a:pt x="2740508" y="5132701"/>
                </a:lnTo>
                <a:lnTo>
                  <a:pt x="2734468" y="5137696"/>
                </a:lnTo>
                <a:lnTo>
                  <a:pt x="2712948" y="5145397"/>
                </a:lnTo>
                <a:lnTo>
                  <a:pt x="2711936" y="5145188"/>
                </a:lnTo>
                <a:lnTo>
                  <a:pt x="2712350" y="5150984"/>
                </a:lnTo>
                <a:cubicBezTo>
                  <a:pt x="2711110" y="5150777"/>
                  <a:pt x="2710026" y="5150468"/>
                  <a:pt x="2710491" y="5151190"/>
                </a:cubicBezTo>
                <a:cubicBezTo>
                  <a:pt x="2709252" y="5150984"/>
                  <a:pt x="2708632" y="5150468"/>
                  <a:pt x="2708167" y="5149745"/>
                </a:cubicBezTo>
                <a:cubicBezTo>
                  <a:pt x="2707703" y="5149125"/>
                  <a:pt x="2707393" y="5148299"/>
                  <a:pt x="2707393" y="5147267"/>
                </a:cubicBezTo>
                <a:lnTo>
                  <a:pt x="2711041" y="5145003"/>
                </a:lnTo>
                <a:lnTo>
                  <a:pt x="2690600" y="5140776"/>
                </a:lnTo>
                <a:lnTo>
                  <a:pt x="2689035" y="5139880"/>
                </a:lnTo>
                <a:lnTo>
                  <a:pt x="2691168" y="5148815"/>
                </a:lnTo>
                <a:cubicBezTo>
                  <a:pt x="2692523" y="5152713"/>
                  <a:pt x="2693220" y="5156405"/>
                  <a:pt x="2690199" y="5160071"/>
                </a:cubicBezTo>
                <a:cubicBezTo>
                  <a:pt x="2688031" y="5156560"/>
                  <a:pt x="2685398" y="5153462"/>
                  <a:pt x="2683539" y="5149642"/>
                </a:cubicBezTo>
                <a:lnTo>
                  <a:pt x="2681421" y="5135521"/>
                </a:lnTo>
                <a:lnTo>
                  <a:pt x="2672192" y="5130237"/>
                </a:lnTo>
                <a:lnTo>
                  <a:pt x="2664022" y="5127029"/>
                </a:lnTo>
                <a:lnTo>
                  <a:pt x="2666824" y="5126105"/>
                </a:lnTo>
                <a:lnTo>
                  <a:pt x="2662041" y="5121120"/>
                </a:lnTo>
                <a:lnTo>
                  <a:pt x="2660305" y="5125273"/>
                </a:lnTo>
                <a:lnTo>
                  <a:pt x="2656742" y="5130746"/>
                </a:lnTo>
                <a:lnTo>
                  <a:pt x="2656277" y="5126409"/>
                </a:lnTo>
                <a:cubicBezTo>
                  <a:pt x="2655503" y="5126409"/>
                  <a:pt x="2654574" y="5127235"/>
                  <a:pt x="2654574" y="5127235"/>
                </a:cubicBezTo>
                <a:lnTo>
                  <a:pt x="2653954" y="5124653"/>
                </a:lnTo>
                <a:lnTo>
                  <a:pt x="2652560" y="5124860"/>
                </a:lnTo>
                <a:lnTo>
                  <a:pt x="2647139" y="5124034"/>
                </a:lnTo>
                <a:lnTo>
                  <a:pt x="2647139" y="5125480"/>
                </a:lnTo>
                <a:lnTo>
                  <a:pt x="2651011" y="5127029"/>
                </a:lnTo>
                <a:lnTo>
                  <a:pt x="2656742" y="5130746"/>
                </a:lnTo>
                <a:lnTo>
                  <a:pt x="2657981" y="5131365"/>
                </a:lnTo>
                <a:cubicBezTo>
                  <a:pt x="2660305" y="5132914"/>
                  <a:pt x="2662938" y="5134463"/>
                  <a:pt x="2665881" y="5135702"/>
                </a:cubicBezTo>
                <a:cubicBezTo>
                  <a:pt x="2663403" y="5146750"/>
                  <a:pt x="2668979" y="5149332"/>
                  <a:pt x="2671922" y="5154391"/>
                </a:cubicBezTo>
                <a:cubicBezTo>
                  <a:pt x="2669598" y="5157799"/>
                  <a:pt x="2668204" y="5162033"/>
                  <a:pt x="2666965" y="5166473"/>
                </a:cubicBezTo>
                <a:lnTo>
                  <a:pt x="2665261" y="5172668"/>
                </a:lnTo>
                <a:lnTo>
                  <a:pt x="2665726" y="5172461"/>
                </a:lnTo>
                <a:cubicBezTo>
                  <a:pt x="2667430" y="5172358"/>
                  <a:pt x="2672386" y="5176075"/>
                  <a:pt x="2671922" y="5177211"/>
                </a:cubicBezTo>
                <a:cubicBezTo>
                  <a:pt x="2670838" y="5177211"/>
                  <a:pt x="2669288" y="5177108"/>
                  <a:pt x="2667895" y="5176901"/>
                </a:cubicBezTo>
                <a:lnTo>
                  <a:pt x="2664487" y="5175766"/>
                </a:lnTo>
                <a:lnTo>
                  <a:pt x="2663248" y="5180102"/>
                </a:lnTo>
                <a:cubicBezTo>
                  <a:pt x="2658291" y="5182374"/>
                  <a:pt x="2653954" y="5185162"/>
                  <a:pt x="2649616" y="5187950"/>
                </a:cubicBezTo>
                <a:lnTo>
                  <a:pt x="2648842" y="5188363"/>
                </a:lnTo>
                <a:lnTo>
                  <a:pt x="2652095" y="5190944"/>
                </a:lnTo>
                <a:lnTo>
                  <a:pt x="2655193" y="5187330"/>
                </a:lnTo>
                <a:cubicBezTo>
                  <a:pt x="2658910" y="5184955"/>
                  <a:pt x="2663248" y="5187537"/>
                  <a:pt x="2666346" y="5192700"/>
                </a:cubicBezTo>
                <a:cubicBezTo>
                  <a:pt x="2664332" y="5195797"/>
                  <a:pt x="2662318" y="5198895"/>
                  <a:pt x="2658756" y="5200237"/>
                </a:cubicBezTo>
                <a:lnTo>
                  <a:pt x="2656122" y="5197346"/>
                </a:lnTo>
                <a:lnTo>
                  <a:pt x="2655813" y="5197656"/>
                </a:lnTo>
                <a:lnTo>
                  <a:pt x="2655348" y="5199721"/>
                </a:lnTo>
                <a:lnTo>
                  <a:pt x="2657052" y="5201063"/>
                </a:lnTo>
                <a:cubicBezTo>
                  <a:pt x="2656277" y="5201580"/>
                  <a:pt x="2655038" y="5203335"/>
                  <a:pt x="2654728" y="5202612"/>
                </a:cubicBezTo>
                <a:lnTo>
                  <a:pt x="2654418" y="5202406"/>
                </a:lnTo>
                <a:lnTo>
                  <a:pt x="2652250" y="5205193"/>
                </a:lnTo>
                <a:cubicBezTo>
                  <a:pt x="2649616" y="5208291"/>
                  <a:pt x="2646828" y="5209117"/>
                  <a:pt x="2644350" y="5208808"/>
                </a:cubicBezTo>
                <a:cubicBezTo>
                  <a:pt x="2641872" y="5208498"/>
                  <a:pt x="2639549" y="5207052"/>
                  <a:pt x="2637999" y="5205503"/>
                </a:cubicBezTo>
                <a:cubicBezTo>
                  <a:pt x="2638619" y="5204884"/>
                  <a:pt x="2634282" y="5200650"/>
                  <a:pt x="2634747" y="5195590"/>
                </a:cubicBezTo>
                <a:lnTo>
                  <a:pt x="2635056" y="5195281"/>
                </a:lnTo>
                <a:lnTo>
                  <a:pt x="2628241" y="5192390"/>
                </a:lnTo>
                <a:lnTo>
                  <a:pt x="2621581" y="5190944"/>
                </a:lnTo>
                <a:lnTo>
                  <a:pt x="2622820" y="5194661"/>
                </a:lnTo>
                <a:cubicBezTo>
                  <a:pt x="2623439" y="5196107"/>
                  <a:pt x="2624059" y="5197862"/>
                  <a:pt x="2623904" y="5201270"/>
                </a:cubicBezTo>
                <a:cubicBezTo>
                  <a:pt x="2623904" y="5209943"/>
                  <a:pt x="2618173" y="5211492"/>
                  <a:pt x="2613991" y="5210976"/>
                </a:cubicBezTo>
                <a:cubicBezTo>
                  <a:pt x="2613991" y="5210770"/>
                  <a:pt x="2613681" y="5210666"/>
                  <a:pt x="2613061" y="5210356"/>
                </a:cubicBezTo>
                <a:lnTo>
                  <a:pt x="2611357" y="5209634"/>
                </a:lnTo>
                <a:lnTo>
                  <a:pt x="2608724" y="5210666"/>
                </a:lnTo>
                <a:cubicBezTo>
                  <a:pt x="2607950" y="5210563"/>
                  <a:pt x="2607175" y="5210150"/>
                  <a:pt x="2606246" y="5209324"/>
                </a:cubicBezTo>
                <a:cubicBezTo>
                  <a:pt x="2605471" y="5209427"/>
                  <a:pt x="2604077" y="5206019"/>
                  <a:pt x="2604852" y="5205090"/>
                </a:cubicBezTo>
                <a:lnTo>
                  <a:pt x="2605471" y="5204368"/>
                </a:lnTo>
                <a:lnTo>
                  <a:pt x="2604232" y="5199205"/>
                </a:lnTo>
                <a:cubicBezTo>
                  <a:pt x="2604232" y="5198069"/>
                  <a:pt x="2604387" y="5197036"/>
                  <a:pt x="2604697" y="5196004"/>
                </a:cubicBezTo>
                <a:cubicBezTo>
                  <a:pt x="2604232" y="5197759"/>
                  <a:pt x="2603767" y="5199618"/>
                  <a:pt x="2603303" y="5200857"/>
                </a:cubicBezTo>
                <a:lnTo>
                  <a:pt x="2602683" y="5202715"/>
                </a:lnTo>
                <a:lnTo>
                  <a:pt x="2603458" y="5202715"/>
                </a:lnTo>
                <a:lnTo>
                  <a:pt x="2602528" y="5203645"/>
                </a:lnTo>
                <a:lnTo>
                  <a:pt x="2602373" y="5203851"/>
                </a:lnTo>
                <a:cubicBezTo>
                  <a:pt x="2601599" y="5203748"/>
                  <a:pt x="2601599" y="5204574"/>
                  <a:pt x="2602373" y="5204677"/>
                </a:cubicBezTo>
                <a:cubicBezTo>
                  <a:pt x="2601444" y="5205916"/>
                  <a:pt x="2600670" y="5207052"/>
                  <a:pt x="2600050" y="5207569"/>
                </a:cubicBezTo>
                <a:lnTo>
                  <a:pt x="2599120" y="5207362"/>
                </a:lnTo>
                <a:lnTo>
                  <a:pt x="2599275" y="5212215"/>
                </a:lnTo>
                <a:lnTo>
                  <a:pt x="2598966" y="5213557"/>
                </a:lnTo>
                <a:lnTo>
                  <a:pt x="2599430" y="5213970"/>
                </a:lnTo>
                <a:lnTo>
                  <a:pt x="2598811" y="5214796"/>
                </a:lnTo>
                <a:lnTo>
                  <a:pt x="2598036" y="5219133"/>
                </a:lnTo>
                <a:cubicBezTo>
                  <a:pt x="2597417" y="5220888"/>
                  <a:pt x="2596177" y="5222231"/>
                  <a:pt x="2594473" y="5222437"/>
                </a:cubicBezTo>
                <a:lnTo>
                  <a:pt x="2593544" y="5216552"/>
                </a:lnTo>
                <a:lnTo>
                  <a:pt x="2593389" y="5216242"/>
                </a:lnTo>
                <a:lnTo>
                  <a:pt x="2593389" y="5215829"/>
                </a:lnTo>
                <a:lnTo>
                  <a:pt x="2592770" y="5208911"/>
                </a:lnTo>
                <a:lnTo>
                  <a:pt x="2593854" y="5202406"/>
                </a:lnTo>
                <a:lnTo>
                  <a:pt x="2593080" y="5202303"/>
                </a:lnTo>
                <a:cubicBezTo>
                  <a:pt x="2589827" y="5202818"/>
                  <a:pt x="2585335" y="5205710"/>
                  <a:pt x="2580688" y="5201683"/>
                </a:cubicBezTo>
                <a:cubicBezTo>
                  <a:pt x="2582547" y="5199927"/>
                  <a:pt x="2579604" y="5195590"/>
                  <a:pt x="2582392" y="5193009"/>
                </a:cubicBezTo>
                <a:cubicBezTo>
                  <a:pt x="2588123" y="5186607"/>
                  <a:pt x="2590911" y="5185988"/>
                  <a:pt x="2594319" y="5187227"/>
                </a:cubicBezTo>
                <a:lnTo>
                  <a:pt x="2594629" y="5187330"/>
                </a:lnTo>
                <a:lnTo>
                  <a:pt x="2599430" y="5187330"/>
                </a:lnTo>
                <a:lnTo>
                  <a:pt x="2600205" y="5188982"/>
                </a:lnTo>
                <a:cubicBezTo>
                  <a:pt x="2601134" y="5188053"/>
                  <a:pt x="2602063" y="5187227"/>
                  <a:pt x="2603148" y="5188156"/>
                </a:cubicBezTo>
                <a:cubicBezTo>
                  <a:pt x="2605006" y="5189808"/>
                  <a:pt x="2605316" y="5192183"/>
                  <a:pt x="2605006" y="5194558"/>
                </a:cubicBezTo>
                <a:cubicBezTo>
                  <a:pt x="2606246" y="5190944"/>
                  <a:pt x="2609034" y="5188466"/>
                  <a:pt x="2615384" y="5189705"/>
                </a:cubicBezTo>
                <a:cubicBezTo>
                  <a:pt x="2617243" y="5189499"/>
                  <a:pt x="2616469" y="5189912"/>
                  <a:pt x="2617708" y="5190221"/>
                </a:cubicBezTo>
                <a:lnTo>
                  <a:pt x="2618947" y="5190324"/>
                </a:lnTo>
                <a:lnTo>
                  <a:pt x="2610583" y="5187434"/>
                </a:lnTo>
                <a:cubicBezTo>
                  <a:pt x="2608104" y="5185988"/>
                  <a:pt x="2606091" y="5184026"/>
                  <a:pt x="2604697" y="5181032"/>
                </a:cubicBezTo>
                <a:cubicBezTo>
                  <a:pt x="2605936" y="5175455"/>
                  <a:pt x="2605316" y="5171842"/>
                  <a:pt x="2604232" y="5168847"/>
                </a:cubicBezTo>
                <a:lnTo>
                  <a:pt x="2604232" y="5168641"/>
                </a:lnTo>
                <a:lnTo>
                  <a:pt x="2602063" y="5170809"/>
                </a:lnTo>
                <a:lnTo>
                  <a:pt x="2601134" y="5176282"/>
                </a:lnTo>
                <a:cubicBezTo>
                  <a:pt x="2601134" y="5178657"/>
                  <a:pt x="2601444" y="5180206"/>
                  <a:pt x="2601444" y="5180206"/>
                </a:cubicBezTo>
                <a:cubicBezTo>
                  <a:pt x="2600360" y="5181857"/>
                  <a:pt x="2599585" y="5181857"/>
                  <a:pt x="2600360" y="5181857"/>
                </a:cubicBezTo>
                <a:cubicBezTo>
                  <a:pt x="2598656" y="5183510"/>
                  <a:pt x="2596642" y="5186091"/>
                  <a:pt x="2595093" y="5185265"/>
                </a:cubicBezTo>
                <a:cubicBezTo>
                  <a:pt x="2594009" y="5184129"/>
                  <a:pt x="2593544" y="5182787"/>
                  <a:pt x="2593699" y="5181238"/>
                </a:cubicBezTo>
                <a:lnTo>
                  <a:pt x="2594629" y="5178037"/>
                </a:lnTo>
                <a:lnTo>
                  <a:pt x="2594009" y="5178553"/>
                </a:lnTo>
                <a:cubicBezTo>
                  <a:pt x="2591840" y="5179896"/>
                  <a:pt x="2589207" y="5180825"/>
                  <a:pt x="2585954" y="5180928"/>
                </a:cubicBezTo>
                <a:cubicBezTo>
                  <a:pt x="2585335" y="5176282"/>
                  <a:pt x="2589672" y="5169880"/>
                  <a:pt x="2595248" y="5165750"/>
                </a:cubicBezTo>
                <a:lnTo>
                  <a:pt x="2602063" y="5162652"/>
                </a:lnTo>
                <a:lnTo>
                  <a:pt x="2601134" y="5159864"/>
                </a:lnTo>
                <a:cubicBezTo>
                  <a:pt x="2602528" y="5156147"/>
                  <a:pt x="2604232" y="5152326"/>
                  <a:pt x="2606246" y="5148506"/>
                </a:cubicBezTo>
                <a:lnTo>
                  <a:pt x="2608569" y="5145202"/>
                </a:lnTo>
                <a:lnTo>
                  <a:pt x="2609963" y="5142207"/>
                </a:lnTo>
                <a:lnTo>
                  <a:pt x="2610118" y="5141897"/>
                </a:lnTo>
                <a:lnTo>
                  <a:pt x="2610428" y="5139832"/>
                </a:lnTo>
                <a:lnTo>
                  <a:pt x="2609344" y="5141072"/>
                </a:lnTo>
                <a:cubicBezTo>
                  <a:pt x="2607950" y="5142104"/>
                  <a:pt x="2606246" y="5142827"/>
                  <a:pt x="2603148" y="5142723"/>
                </a:cubicBezTo>
                <a:cubicBezTo>
                  <a:pt x="2596797" y="5141794"/>
                  <a:pt x="2598191" y="5134979"/>
                  <a:pt x="2597417" y="5135496"/>
                </a:cubicBezTo>
                <a:cubicBezTo>
                  <a:pt x="2596332" y="5135186"/>
                  <a:pt x="2596332" y="5135186"/>
                  <a:pt x="2595558" y="5135702"/>
                </a:cubicBezTo>
                <a:cubicBezTo>
                  <a:pt x="2595248" y="5134876"/>
                  <a:pt x="2593699" y="5133843"/>
                  <a:pt x="2592615" y="5133637"/>
                </a:cubicBezTo>
                <a:cubicBezTo>
                  <a:pt x="2593389" y="5133120"/>
                  <a:pt x="2594164" y="5132708"/>
                  <a:pt x="2593699" y="5131882"/>
                </a:cubicBezTo>
                <a:cubicBezTo>
                  <a:pt x="2596023" y="5132501"/>
                  <a:pt x="2596332" y="5133224"/>
                  <a:pt x="2597417" y="5133534"/>
                </a:cubicBezTo>
                <a:cubicBezTo>
                  <a:pt x="2597107" y="5132811"/>
                  <a:pt x="2598191" y="5133120"/>
                  <a:pt x="2598191" y="5133120"/>
                </a:cubicBezTo>
                <a:cubicBezTo>
                  <a:pt x="2598191" y="5133120"/>
                  <a:pt x="2598191" y="5133120"/>
                  <a:pt x="2598966" y="5130746"/>
                </a:cubicBezTo>
                <a:cubicBezTo>
                  <a:pt x="2598966" y="5130746"/>
                  <a:pt x="2601134" y="5125376"/>
                  <a:pt x="2606246" y="5126099"/>
                </a:cubicBezTo>
                <a:cubicBezTo>
                  <a:pt x="2606091" y="5126925"/>
                  <a:pt x="2609808" y="5128164"/>
                  <a:pt x="2611667" y="5130333"/>
                </a:cubicBezTo>
                <a:lnTo>
                  <a:pt x="2612752" y="5132708"/>
                </a:lnTo>
                <a:lnTo>
                  <a:pt x="2615384" y="5128887"/>
                </a:lnTo>
                <a:cubicBezTo>
                  <a:pt x="2618018" y="5127235"/>
                  <a:pt x="2620496" y="5126615"/>
                  <a:pt x="2622665" y="5126822"/>
                </a:cubicBezTo>
                <a:lnTo>
                  <a:pt x="2624988" y="5128061"/>
                </a:lnTo>
                <a:lnTo>
                  <a:pt x="2634747" y="5124034"/>
                </a:lnTo>
                <a:lnTo>
                  <a:pt x="2635056" y="5124034"/>
                </a:lnTo>
                <a:lnTo>
                  <a:pt x="2636296" y="5123002"/>
                </a:lnTo>
                <a:lnTo>
                  <a:pt x="2635831" y="5121246"/>
                </a:lnTo>
                <a:cubicBezTo>
                  <a:pt x="2633198" y="5118665"/>
                  <a:pt x="2629480" y="5120007"/>
                  <a:pt x="2628241" y="5113295"/>
                </a:cubicBezTo>
                <a:lnTo>
                  <a:pt x="2633662" y="5113192"/>
                </a:lnTo>
                <a:lnTo>
                  <a:pt x="2633043" y="5112056"/>
                </a:lnTo>
                <a:cubicBezTo>
                  <a:pt x="2632268" y="5109372"/>
                  <a:pt x="2631959" y="5106584"/>
                  <a:pt x="2631649" y="5103693"/>
                </a:cubicBezTo>
                <a:lnTo>
                  <a:pt x="2631649" y="5098840"/>
                </a:lnTo>
                <a:lnTo>
                  <a:pt x="2629945" y="5100285"/>
                </a:lnTo>
                <a:cubicBezTo>
                  <a:pt x="2626228" y="5102453"/>
                  <a:pt x="2623594" y="5101214"/>
                  <a:pt x="2622974" y="5101937"/>
                </a:cubicBezTo>
                <a:cubicBezTo>
                  <a:pt x="2620186" y="5099459"/>
                  <a:pt x="2621581" y="5097601"/>
                  <a:pt x="2622820" y="5093883"/>
                </a:cubicBezTo>
                <a:cubicBezTo>
                  <a:pt x="2623749" y="5094709"/>
                  <a:pt x="2625918" y="5091921"/>
                  <a:pt x="2626537" y="5090992"/>
                </a:cubicBezTo>
                <a:cubicBezTo>
                  <a:pt x="2627467" y="5091818"/>
                  <a:pt x="2628706" y="5091612"/>
                  <a:pt x="2630100" y="5091405"/>
                </a:cubicBezTo>
                <a:lnTo>
                  <a:pt x="2631804" y="5091302"/>
                </a:lnTo>
                <a:lnTo>
                  <a:pt x="2632114" y="5082938"/>
                </a:lnTo>
                <a:lnTo>
                  <a:pt x="2630255" y="5084900"/>
                </a:lnTo>
                <a:cubicBezTo>
                  <a:pt x="2627157" y="5082938"/>
                  <a:pt x="2625453" y="5080667"/>
                  <a:pt x="2625143" y="5078395"/>
                </a:cubicBezTo>
                <a:lnTo>
                  <a:pt x="2627759" y="5073005"/>
                </a:lnTo>
                <a:lnTo>
                  <a:pt x="2609483" y="5036040"/>
                </a:lnTo>
                <a:lnTo>
                  <a:pt x="2606786" y="5030708"/>
                </a:lnTo>
                <a:lnTo>
                  <a:pt x="2600534" y="5036641"/>
                </a:lnTo>
                <a:cubicBezTo>
                  <a:pt x="2596178" y="5039390"/>
                  <a:pt x="2591221" y="5042100"/>
                  <a:pt x="2586419" y="5046385"/>
                </a:cubicBezTo>
                <a:cubicBezTo>
                  <a:pt x="2588123" y="5036370"/>
                  <a:pt x="2580068" y="5031207"/>
                  <a:pt x="2577590" y="5024185"/>
                </a:cubicBezTo>
                <a:lnTo>
                  <a:pt x="2577125" y="5021810"/>
                </a:lnTo>
                <a:lnTo>
                  <a:pt x="2573408" y="5020571"/>
                </a:lnTo>
                <a:cubicBezTo>
                  <a:pt x="2572788" y="5020055"/>
                  <a:pt x="2572324" y="5019539"/>
                  <a:pt x="2572324" y="5018713"/>
                </a:cubicBezTo>
                <a:cubicBezTo>
                  <a:pt x="2572478" y="5017577"/>
                  <a:pt x="2573717" y="5017887"/>
                  <a:pt x="2574337" y="5017474"/>
                </a:cubicBezTo>
                <a:lnTo>
                  <a:pt x="2577125" y="5018713"/>
                </a:lnTo>
                <a:lnTo>
                  <a:pt x="2577435" y="5016131"/>
                </a:lnTo>
                <a:lnTo>
                  <a:pt x="2589758" y="5003154"/>
                </a:lnTo>
                <a:lnTo>
                  <a:pt x="2581341" y="4994453"/>
                </a:lnTo>
                <a:lnTo>
                  <a:pt x="2567270" y="4986751"/>
                </a:lnTo>
                <a:lnTo>
                  <a:pt x="2566872" y="4986790"/>
                </a:lnTo>
                <a:lnTo>
                  <a:pt x="2566592" y="4990524"/>
                </a:lnTo>
                <a:lnTo>
                  <a:pt x="2564579" y="4989285"/>
                </a:lnTo>
                <a:lnTo>
                  <a:pt x="2562410" y="4992279"/>
                </a:lnTo>
                <a:lnTo>
                  <a:pt x="2559467" y="4994138"/>
                </a:lnTo>
                <a:lnTo>
                  <a:pt x="2558692" y="4996513"/>
                </a:lnTo>
                <a:lnTo>
                  <a:pt x="2560861" y="4995996"/>
                </a:lnTo>
                <a:cubicBezTo>
                  <a:pt x="2561791" y="4996203"/>
                  <a:pt x="2562720" y="4996719"/>
                  <a:pt x="2563804" y="4997545"/>
                </a:cubicBezTo>
                <a:cubicBezTo>
                  <a:pt x="2563959" y="5000230"/>
                  <a:pt x="2560861" y="5004463"/>
                  <a:pt x="2558383" y="5004257"/>
                </a:cubicBezTo>
                <a:cubicBezTo>
                  <a:pt x="2557453" y="5003431"/>
                  <a:pt x="2556679" y="5002502"/>
                  <a:pt x="2555749" y="5001572"/>
                </a:cubicBezTo>
                <a:lnTo>
                  <a:pt x="2556369" y="5000333"/>
                </a:lnTo>
                <a:lnTo>
                  <a:pt x="2553736" y="5004153"/>
                </a:lnTo>
                <a:cubicBezTo>
                  <a:pt x="2550173" y="5007768"/>
                  <a:pt x="2545527" y="5009833"/>
                  <a:pt x="2540415" y="5009110"/>
                </a:cubicBezTo>
                <a:cubicBezTo>
                  <a:pt x="2537782" y="5008800"/>
                  <a:pt x="2534994" y="5007768"/>
                  <a:pt x="2532360" y="5005806"/>
                </a:cubicBezTo>
                <a:cubicBezTo>
                  <a:pt x="2530502" y="5004360"/>
                  <a:pt x="2529262" y="5002605"/>
                  <a:pt x="2528178" y="5000643"/>
                </a:cubicBezTo>
                <a:lnTo>
                  <a:pt x="2528067" y="5000333"/>
                </a:lnTo>
                <a:lnTo>
                  <a:pt x="2520918" y="5005233"/>
                </a:lnTo>
                <a:lnTo>
                  <a:pt x="2511705" y="5012853"/>
                </a:lnTo>
                <a:lnTo>
                  <a:pt x="2512534" y="5015615"/>
                </a:lnTo>
                <a:cubicBezTo>
                  <a:pt x="2511604" y="5016338"/>
                  <a:pt x="2510520" y="5016751"/>
                  <a:pt x="2509591" y="5016957"/>
                </a:cubicBezTo>
                <a:cubicBezTo>
                  <a:pt x="2508661" y="5017164"/>
                  <a:pt x="2507732" y="5016957"/>
                  <a:pt x="2507422" y="5016544"/>
                </a:cubicBezTo>
                <a:lnTo>
                  <a:pt x="2507380" y="5016430"/>
                </a:lnTo>
                <a:lnTo>
                  <a:pt x="2506019" y="5017556"/>
                </a:lnTo>
                <a:lnTo>
                  <a:pt x="2490293" y="5032958"/>
                </a:lnTo>
                <a:lnTo>
                  <a:pt x="2478704" y="5048362"/>
                </a:lnTo>
                <a:lnTo>
                  <a:pt x="2467116" y="5068384"/>
                </a:lnTo>
                <a:lnTo>
                  <a:pt x="2455528" y="5088407"/>
                </a:lnTo>
                <a:lnTo>
                  <a:pt x="2443113" y="5113052"/>
                </a:lnTo>
                <a:lnTo>
                  <a:pt x="2437550" y="5093501"/>
                </a:lnTo>
                <a:lnTo>
                  <a:pt x="2434156" y="5097704"/>
                </a:lnTo>
                <a:cubicBezTo>
                  <a:pt x="2431368" y="5096878"/>
                  <a:pt x="2427960" y="5096258"/>
                  <a:pt x="2424552" y="5095329"/>
                </a:cubicBezTo>
                <a:lnTo>
                  <a:pt x="2422539" y="5094606"/>
                </a:lnTo>
                <a:lnTo>
                  <a:pt x="2424398" y="5097084"/>
                </a:lnTo>
                <a:cubicBezTo>
                  <a:pt x="2426721" y="5101524"/>
                  <a:pt x="2427960" y="5106687"/>
                  <a:pt x="2427650" y="5111953"/>
                </a:cubicBezTo>
                <a:cubicBezTo>
                  <a:pt x="2426411" y="5112160"/>
                  <a:pt x="2425327" y="5112366"/>
                  <a:pt x="2425637" y="5113605"/>
                </a:cubicBezTo>
                <a:cubicBezTo>
                  <a:pt x="2423778" y="5114121"/>
                  <a:pt x="2421919" y="5114328"/>
                  <a:pt x="2420060" y="5114225"/>
                </a:cubicBezTo>
                <a:cubicBezTo>
                  <a:pt x="2406894" y="5113399"/>
                  <a:pt x="2393418" y="5098014"/>
                  <a:pt x="2396981" y="5085003"/>
                </a:cubicBezTo>
                <a:cubicBezTo>
                  <a:pt x="2400079" y="5083868"/>
                  <a:pt x="2403022" y="5083558"/>
                  <a:pt x="2405965" y="5083868"/>
                </a:cubicBezTo>
                <a:lnTo>
                  <a:pt x="2406120" y="5083971"/>
                </a:lnTo>
                <a:lnTo>
                  <a:pt x="2406430" y="5081906"/>
                </a:lnTo>
                <a:lnTo>
                  <a:pt x="2406120" y="5080357"/>
                </a:lnTo>
                <a:lnTo>
                  <a:pt x="2404106" y="5081389"/>
                </a:lnTo>
                <a:cubicBezTo>
                  <a:pt x="2400079" y="5082318"/>
                  <a:pt x="2395587" y="5081389"/>
                  <a:pt x="2393109" y="5077569"/>
                </a:cubicBezTo>
                <a:cubicBezTo>
                  <a:pt x="2393573" y="5069618"/>
                  <a:pt x="2404261" y="5065178"/>
                  <a:pt x="2409992" y="5065694"/>
                </a:cubicBezTo>
                <a:lnTo>
                  <a:pt x="2412470" y="5069928"/>
                </a:lnTo>
                <a:lnTo>
                  <a:pt x="2416033" y="5068069"/>
                </a:lnTo>
                <a:lnTo>
                  <a:pt x="2418976" y="5067656"/>
                </a:lnTo>
                <a:lnTo>
                  <a:pt x="2418821" y="5063629"/>
                </a:lnTo>
                <a:cubicBezTo>
                  <a:pt x="2420060" y="5063319"/>
                  <a:pt x="2421919" y="5063423"/>
                  <a:pt x="2423933" y="5064145"/>
                </a:cubicBezTo>
                <a:lnTo>
                  <a:pt x="2427805" y="5067450"/>
                </a:lnTo>
                <a:lnTo>
                  <a:pt x="2428554" y="5061878"/>
                </a:lnTo>
                <a:lnTo>
                  <a:pt x="2428214" y="5060683"/>
                </a:lnTo>
                <a:lnTo>
                  <a:pt x="2421298" y="5037518"/>
                </a:lnTo>
                <a:lnTo>
                  <a:pt x="2420370" y="5037196"/>
                </a:lnTo>
                <a:lnTo>
                  <a:pt x="2418666" y="5040500"/>
                </a:lnTo>
                <a:lnTo>
                  <a:pt x="2417012" y="5036768"/>
                </a:lnTo>
                <a:lnTo>
                  <a:pt x="2395105" y="5065304"/>
                </a:lnTo>
                <a:lnTo>
                  <a:pt x="2371101" y="5099190"/>
                </a:lnTo>
                <a:lnTo>
                  <a:pt x="2365307" y="5094569"/>
                </a:lnTo>
                <a:lnTo>
                  <a:pt x="2359513" y="5091488"/>
                </a:lnTo>
                <a:lnTo>
                  <a:pt x="2355375" y="5083787"/>
                </a:lnTo>
                <a:lnTo>
                  <a:pt x="2336337" y="5043740"/>
                </a:lnTo>
                <a:lnTo>
                  <a:pt x="2315644" y="5006774"/>
                </a:lnTo>
                <a:lnTo>
                  <a:pt x="2315386" y="5006371"/>
                </a:lnTo>
                <a:lnTo>
                  <a:pt x="2313337" y="5007045"/>
                </a:lnTo>
                <a:lnTo>
                  <a:pt x="2314731" y="5010039"/>
                </a:lnTo>
                <a:lnTo>
                  <a:pt x="2315351" y="5015821"/>
                </a:lnTo>
                <a:lnTo>
                  <a:pt x="2320617" y="5021294"/>
                </a:lnTo>
                <a:lnTo>
                  <a:pt x="2315815" y="5021294"/>
                </a:lnTo>
                <a:lnTo>
                  <a:pt x="2315970" y="5022017"/>
                </a:lnTo>
                <a:cubicBezTo>
                  <a:pt x="2315815" y="5024702"/>
                  <a:pt x="2315196" y="5027180"/>
                  <a:pt x="2314421" y="5029761"/>
                </a:cubicBezTo>
                <a:cubicBezTo>
                  <a:pt x="2311013" y="5029451"/>
                  <a:pt x="2309310" y="5027386"/>
                  <a:pt x="2308225" y="5024598"/>
                </a:cubicBezTo>
                <a:lnTo>
                  <a:pt x="2306366" y="5017680"/>
                </a:lnTo>
                <a:lnTo>
                  <a:pt x="2305127" y="5016648"/>
                </a:lnTo>
                <a:lnTo>
                  <a:pt x="2302030" y="5019229"/>
                </a:lnTo>
                <a:cubicBezTo>
                  <a:pt x="2298157" y="5022740"/>
                  <a:pt x="2293820" y="5026044"/>
                  <a:pt x="2290723" y="5022430"/>
                </a:cubicBezTo>
                <a:cubicBezTo>
                  <a:pt x="2290877" y="5018919"/>
                  <a:pt x="2293201" y="5016648"/>
                  <a:pt x="2295989" y="5014582"/>
                </a:cubicBezTo>
                <a:lnTo>
                  <a:pt x="2300016" y="5011381"/>
                </a:lnTo>
                <a:lnTo>
                  <a:pt x="2298467" y="5009110"/>
                </a:lnTo>
                <a:cubicBezTo>
                  <a:pt x="2297693" y="5007354"/>
                  <a:pt x="2297538" y="5005496"/>
                  <a:pt x="2298157" y="5003844"/>
                </a:cubicBezTo>
                <a:cubicBezTo>
                  <a:pt x="2300016" y="5005599"/>
                  <a:pt x="2301875" y="5006942"/>
                  <a:pt x="2303888" y="5008181"/>
                </a:cubicBezTo>
                <a:lnTo>
                  <a:pt x="2304043" y="5008387"/>
                </a:lnTo>
                <a:lnTo>
                  <a:pt x="2304663" y="5007871"/>
                </a:lnTo>
                <a:cubicBezTo>
                  <a:pt x="2305747" y="5005289"/>
                  <a:pt x="2304508" y="5003018"/>
                  <a:pt x="2306057" y="5000437"/>
                </a:cubicBezTo>
                <a:lnTo>
                  <a:pt x="2307141" y="4999301"/>
                </a:lnTo>
                <a:lnTo>
                  <a:pt x="2306986" y="4995067"/>
                </a:lnTo>
                <a:lnTo>
                  <a:pt x="2308670" y="4995873"/>
                </a:lnTo>
                <a:lnTo>
                  <a:pt x="2308076" y="4994945"/>
                </a:lnTo>
                <a:lnTo>
                  <a:pt x="2307915" y="4994964"/>
                </a:lnTo>
                <a:cubicBezTo>
                  <a:pt x="2307915" y="4994964"/>
                  <a:pt x="2307451" y="4994551"/>
                  <a:pt x="2307141" y="4993931"/>
                </a:cubicBezTo>
                <a:lnTo>
                  <a:pt x="2306985" y="4993239"/>
                </a:lnTo>
                <a:lnTo>
                  <a:pt x="2294952" y="4974429"/>
                </a:lnTo>
                <a:lnTo>
                  <a:pt x="2274460" y="4952640"/>
                </a:lnTo>
                <a:lnTo>
                  <a:pt x="2272445" y="4952939"/>
                </a:lnTo>
                <a:lnTo>
                  <a:pt x="2272445" y="4953248"/>
                </a:lnTo>
                <a:cubicBezTo>
                  <a:pt x="2272290" y="4955004"/>
                  <a:pt x="2271360" y="4956552"/>
                  <a:pt x="2269967" y="4957895"/>
                </a:cubicBezTo>
                <a:lnTo>
                  <a:pt x="2268572" y="4958721"/>
                </a:lnTo>
                <a:cubicBezTo>
                  <a:pt x="2270431" y="4961199"/>
                  <a:pt x="2270431" y="4965639"/>
                  <a:pt x="2266868" y="4968840"/>
                </a:cubicBezTo>
                <a:cubicBezTo>
                  <a:pt x="2263306" y="4968737"/>
                  <a:pt x="2261137" y="4967394"/>
                  <a:pt x="2259434" y="4966775"/>
                </a:cubicBezTo>
                <a:lnTo>
                  <a:pt x="2259589" y="4960786"/>
                </a:lnTo>
                <a:lnTo>
                  <a:pt x="2254942" y="4957482"/>
                </a:lnTo>
                <a:cubicBezTo>
                  <a:pt x="2255097" y="4954436"/>
                  <a:pt x="2257458" y="4951338"/>
                  <a:pt x="2260401" y="4949054"/>
                </a:cubicBezTo>
                <a:lnTo>
                  <a:pt x="2267537" y="4946222"/>
                </a:lnTo>
                <a:lnTo>
                  <a:pt x="2246116" y="4928221"/>
                </a:lnTo>
                <a:lnTo>
                  <a:pt x="2241424" y="4925686"/>
                </a:lnTo>
                <a:lnTo>
                  <a:pt x="2241155" y="4926402"/>
                </a:lnTo>
                <a:lnTo>
                  <a:pt x="2239088" y="4924424"/>
                </a:lnTo>
                <a:lnTo>
                  <a:pt x="2220458" y="4914360"/>
                </a:lnTo>
                <a:lnTo>
                  <a:pt x="2192315" y="4905118"/>
                </a:lnTo>
                <a:lnTo>
                  <a:pt x="2181902" y="4905118"/>
                </a:lnTo>
                <a:lnTo>
                  <a:pt x="2175634" y="4908435"/>
                </a:lnTo>
                <a:lnTo>
                  <a:pt x="2176630" y="4905118"/>
                </a:lnTo>
                <a:lnTo>
                  <a:pt x="2169329" y="4905118"/>
                </a:lnTo>
                <a:lnTo>
                  <a:pt x="2173001" y="4916283"/>
                </a:lnTo>
                <a:cubicBezTo>
                  <a:pt x="2169594" y="4914940"/>
                  <a:pt x="2168819" y="4911223"/>
                  <a:pt x="2162158" y="4912875"/>
                </a:cubicBezTo>
                <a:lnTo>
                  <a:pt x="2168623" y="4905118"/>
                </a:lnTo>
                <a:lnTo>
                  <a:pt x="2162678" y="4905118"/>
                </a:lnTo>
                <a:lnTo>
                  <a:pt x="2161694" y="4906267"/>
                </a:lnTo>
                <a:cubicBezTo>
                  <a:pt x="2160765" y="4906267"/>
                  <a:pt x="2160300" y="4905544"/>
                  <a:pt x="2159990" y="4904615"/>
                </a:cubicBezTo>
                <a:lnTo>
                  <a:pt x="2159959" y="4904474"/>
                </a:lnTo>
                <a:lnTo>
                  <a:pt x="2152235" y="4901599"/>
                </a:lnTo>
                <a:lnTo>
                  <a:pt x="2148992" y="4901414"/>
                </a:lnTo>
                <a:lnTo>
                  <a:pt x="2147335" y="4898694"/>
                </a:lnTo>
                <a:lnTo>
                  <a:pt x="2137686" y="4889715"/>
                </a:lnTo>
                <a:lnTo>
                  <a:pt x="2136007" y="4887632"/>
                </a:lnTo>
                <a:lnTo>
                  <a:pt x="2135362" y="4890572"/>
                </a:lnTo>
                <a:cubicBezTo>
                  <a:pt x="2133658" y="4890778"/>
                  <a:pt x="2131489" y="4889643"/>
                  <a:pt x="2131799" y="4887371"/>
                </a:cubicBezTo>
                <a:lnTo>
                  <a:pt x="2135171" y="4886596"/>
                </a:lnTo>
                <a:lnTo>
                  <a:pt x="2125270" y="4874312"/>
                </a:lnTo>
                <a:lnTo>
                  <a:pt x="2113682" y="4855829"/>
                </a:lnTo>
                <a:lnTo>
                  <a:pt x="2105858" y="4844181"/>
                </a:lnTo>
                <a:lnTo>
                  <a:pt x="2099271" y="4846069"/>
                </a:lnTo>
                <a:cubicBezTo>
                  <a:pt x="2096637" y="4845552"/>
                  <a:pt x="2093695" y="4844416"/>
                  <a:pt x="2090752" y="4842454"/>
                </a:cubicBezTo>
                <a:cubicBezTo>
                  <a:pt x="2088738" y="4840906"/>
                  <a:pt x="2087189" y="4839047"/>
                  <a:pt x="2085795" y="4837085"/>
                </a:cubicBezTo>
                <a:lnTo>
                  <a:pt x="2085795" y="4836879"/>
                </a:lnTo>
                <a:lnTo>
                  <a:pt x="2084710" y="4837808"/>
                </a:lnTo>
                <a:cubicBezTo>
                  <a:pt x="2083936" y="4838324"/>
                  <a:pt x="2083007" y="4838634"/>
                  <a:pt x="2082542" y="4838531"/>
                </a:cubicBezTo>
                <a:lnTo>
                  <a:pt x="2082387" y="4838324"/>
                </a:lnTo>
                <a:lnTo>
                  <a:pt x="2083627" y="4844519"/>
                </a:lnTo>
                <a:cubicBezTo>
                  <a:pt x="2083781" y="4847514"/>
                  <a:pt x="2083471" y="4850508"/>
                  <a:pt x="2082542" y="4853296"/>
                </a:cubicBezTo>
                <a:lnTo>
                  <a:pt x="2080528" y="4856394"/>
                </a:lnTo>
                <a:lnTo>
                  <a:pt x="2081303" y="4858149"/>
                </a:lnTo>
                <a:cubicBezTo>
                  <a:pt x="2080838" y="4859079"/>
                  <a:pt x="2080219" y="4859595"/>
                  <a:pt x="2079444" y="4860008"/>
                </a:cubicBezTo>
                <a:lnTo>
                  <a:pt x="2077740" y="4860524"/>
                </a:lnTo>
                <a:lnTo>
                  <a:pt x="2076036" y="4863002"/>
                </a:lnTo>
                <a:cubicBezTo>
                  <a:pt x="2069685" y="4861660"/>
                  <a:pt x="2065194" y="4857737"/>
                  <a:pt x="2062870" y="4852780"/>
                </a:cubicBezTo>
                <a:cubicBezTo>
                  <a:pt x="2061786" y="4850715"/>
                  <a:pt x="2061166" y="4848443"/>
                  <a:pt x="2060856" y="4846069"/>
                </a:cubicBezTo>
                <a:lnTo>
                  <a:pt x="2056674" y="4847308"/>
                </a:lnTo>
                <a:lnTo>
                  <a:pt x="2055125" y="4847101"/>
                </a:lnTo>
                <a:lnTo>
                  <a:pt x="2054351" y="4851747"/>
                </a:lnTo>
                <a:cubicBezTo>
                  <a:pt x="2053731" y="4855361"/>
                  <a:pt x="2053421" y="4858666"/>
                  <a:pt x="2054661" y="4858769"/>
                </a:cubicBezTo>
                <a:cubicBezTo>
                  <a:pt x="2050014" y="4860421"/>
                  <a:pt x="2047536" y="4864138"/>
                  <a:pt x="2043043" y="4865894"/>
                </a:cubicBezTo>
                <a:cubicBezTo>
                  <a:pt x="2032820" y="4855465"/>
                  <a:pt x="2063180" y="4806728"/>
                  <a:pt x="2048465" y="4796092"/>
                </a:cubicBezTo>
                <a:cubicBezTo>
                  <a:pt x="2044437" y="4791962"/>
                  <a:pt x="2019654" y="4798157"/>
                  <a:pt x="2017640" y="4796092"/>
                </a:cubicBezTo>
                <a:cubicBezTo>
                  <a:pt x="2012838" y="4801668"/>
                  <a:pt x="2010205" y="4805385"/>
                  <a:pt x="2007727" y="4809103"/>
                </a:cubicBezTo>
                <a:cubicBezTo>
                  <a:pt x="2005713" y="4807038"/>
                  <a:pt x="2002616" y="4818499"/>
                  <a:pt x="1996419" y="4812304"/>
                </a:cubicBezTo>
                <a:cubicBezTo>
                  <a:pt x="1990224" y="4807967"/>
                  <a:pt x="1993942" y="4788761"/>
                  <a:pt x="1991927" y="4786696"/>
                </a:cubicBezTo>
                <a:cubicBezTo>
                  <a:pt x="1983718" y="4779572"/>
                  <a:pt x="1974115" y="4782256"/>
                  <a:pt x="1966215" y="4784838"/>
                </a:cubicBezTo>
                <a:lnTo>
                  <a:pt x="1960948" y="4786489"/>
                </a:lnTo>
                <a:lnTo>
                  <a:pt x="1959399" y="4791239"/>
                </a:lnTo>
                <a:lnTo>
                  <a:pt x="1964511" y="4793098"/>
                </a:lnTo>
                <a:lnTo>
                  <a:pt x="1966215" y="4793821"/>
                </a:lnTo>
                <a:lnTo>
                  <a:pt x="1966060" y="4792891"/>
                </a:lnTo>
                <a:lnTo>
                  <a:pt x="1966525" y="4793924"/>
                </a:lnTo>
                <a:lnTo>
                  <a:pt x="1971171" y="4795886"/>
                </a:lnTo>
                <a:cubicBezTo>
                  <a:pt x="1975508" y="4797951"/>
                  <a:pt x="1978916" y="4800636"/>
                  <a:pt x="1977367" y="4804146"/>
                </a:cubicBezTo>
                <a:cubicBezTo>
                  <a:pt x="1976128" y="4803734"/>
                  <a:pt x="1974424" y="4803423"/>
                  <a:pt x="1972565" y="4802907"/>
                </a:cubicBezTo>
                <a:lnTo>
                  <a:pt x="1968538" y="4801772"/>
                </a:lnTo>
                <a:lnTo>
                  <a:pt x="1968384" y="4802598"/>
                </a:lnTo>
                <a:lnTo>
                  <a:pt x="1968073" y="4801668"/>
                </a:lnTo>
                <a:lnTo>
                  <a:pt x="1966525" y="4801255"/>
                </a:lnTo>
                <a:cubicBezTo>
                  <a:pt x="1962652" y="4799913"/>
                  <a:pt x="1959245" y="4797848"/>
                  <a:pt x="1958780" y="4794440"/>
                </a:cubicBezTo>
                <a:lnTo>
                  <a:pt x="1959090" y="4792169"/>
                </a:lnTo>
                <a:lnTo>
                  <a:pt x="1958625" y="4793511"/>
                </a:lnTo>
                <a:cubicBezTo>
                  <a:pt x="1956922" y="4796506"/>
                  <a:pt x="1954907" y="4798571"/>
                  <a:pt x="1952739" y="4800119"/>
                </a:cubicBezTo>
                <a:lnTo>
                  <a:pt x="1949331" y="4801668"/>
                </a:lnTo>
                <a:lnTo>
                  <a:pt x="1947163" y="4805695"/>
                </a:lnTo>
                <a:lnTo>
                  <a:pt x="1950260" y="4805799"/>
                </a:lnTo>
                <a:cubicBezTo>
                  <a:pt x="1950105" y="4807760"/>
                  <a:pt x="1950725" y="4809309"/>
                  <a:pt x="1950570" y="4811271"/>
                </a:cubicBezTo>
                <a:cubicBezTo>
                  <a:pt x="1948247" y="4812407"/>
                  <a:pt x="1947163" y="4815091"/>
                  <a:pt x="1944839" y="4815298"/>
                </a:cubicBezTo>
                <a:cubicBezTo>
                  <a:pt x="1943910" y="4815402"/>
                  <a:pt x="1943135" y="4815195"/>
                  <a:pt x="1941896" y="4814575"/>
                </a:cubicBezTo>
                <a:lnTo>
                  <a:pt x="1941896" y="4814162"/>
                </a:lnTo>
                <a:lnTo>
                  <a:pt x="1936939" y="4820874"/>
                </a:lnTo>
                <a:lnTo>
                  <a:pt x="1929039" y="4828205"/>
                </a:lnTo>
                <a:lnTo>
                  <a:pt x="1933222" y="4829651"/>
                </a:lnTo>
                <a:cubicBezTo>
                  <a:pt x="1937559" y="4830993"/>
                  <a:pt x="1941276" y="4832542"/>
                  <a:pt x="1942515" y="4836569"/>
                </a:cubicBezTo>
                <a:cubicBezTo>
                  <a:pt x="1938798" y="4835949"/>
                  <a:pt x="1933841" y="4836672"/>
                  <a:pt x="1929349" y="4836569"/>
                </a:cubicBezTo>
                <a:cubicBezTo>
                  <a:pt x="1924858" y="4836569"/>
                  <a:pt x="1921140" y="4835949"/>
                  <a:pt x="1919746" y="4833058"/>
                </a:cubicBezTo>
                <a:cubicBezTo>
                  <a:pt x="1918816" y="4831096"/>
                  <a:pt x="1919126" y="4828205"/>
                  <a:pt x="1920985" y="4823662"/>
                </a:cubicBezTo>
                <a:lnTo>
                  <a:pt x="1925787" y="4826759"/>
                </a:lnTo>
                <a:lnTo>
                  <a:pt x="1923928" y="4818912"/>
                </a:lnTo>
                <a:lnTo>
                  <a:pt x="1925322" y="4813646"/>
                </a:lnTo>
                <a:lnTo>
                  <a:pt x="1923773" y="4814162"/>
                </a:lnTo>
                <a:cubicBezTo>
                  <a:pt x="1923153" y="4814059"/>
                  <a:pt x="1922534" y="4813852"/>
                  <a:pt x="1922224" y="4813440"/>
                </a:cubicBezTo>
                <a:cubicBezTo>
                  <a:pt x="1921759" y="4813026"/>
                  <a:pt x="1921604" y="4812407"/>
                  <a:pt x="1921759" y="4811168"/>
                </a:cubicBezTo>
                <a:cubicBezTo>
                  <a:pt x="1921449" y="4809206"/>
                  <a:pt x="1922224" y="4808793"/>
                  <a:pt x="1925167" y="4808896"/>
                </a:cubicBezTo>
                <a:lnTo>
                  <a:pt x="1926406" y="4809103"/>
                </a:lnTo>
                <a:lnTo>
                  <a:pt x="1927026" y="4806728"/>
                </a:lnTo>
                <a:lnTo>
                  <a:pt x="1923928" y="4803734"/>
                </a:lnTo>
                <a:cubicBezTo>
                  <a:pt x="1919126" y="4800636"/>
                  <a:pt x="1914789" y="4801772"/>
                  <a:pt x="1910297" y="4800842"/>
                </a:cubicBezTo>
                <a:cubicBezTo>
                  <a:pt x="1908283" y="4792995"/>
                  <a:pt x="1900539" y="4785664"/>
                  <a:pt x="1895892" y="4777713"/>
                </a:cubicBezTo>
                <a:cubicBezTo>
                  <a:pt x="1898835" y="4767490"/>
                  <a:pt x="1898370" y="4757991"/>
                  <a:pt x="1901313" y="4747665"/>
                </a:cubicBezTo>
                <a:cubicBezTo>
                  <a:pt x="1903947" y="4747149"/>
                  <a:pt x="1906580" y="4745807"/>
                  <a:pt x="1909058" y="4744154"/>
                </a:cubicBezTo>
                <a:lnTo>
                  <a:pt x="1912311" y="4741780"/>
                </a:lnTo>
                <a:lnTo>
                  <a:pt x="1914169" y="4730731"/>
                </a:lnTo>
                <a:lnTo>
                  <a:pt x="1910452" y="4727427"/>
                </a:lnTo>
                <a:lnTo>
                  <a:pt x="1909058" y="4729079"/>
                </a:lnTo>
                <a:cubicBezTo>
                  <a:pt x="1908439" y="4729492"/>
                  <a:pt x="1907664" y="4729802"/>
                  <a:pt x="1907044" y="4729802"/>
                </a:cubicBezTo>
                <a:cubicBezTo>
                  <a:pt x="1903172" y="4727737"/>
                  <a:pt x="1904876" y="4724536"/>
                  <a:pt x="1907044" y="4723090"/>
                </a:cubicBezTo>
                <a:lnTo>
                  <a:pt x="1908129" y="4722780"/>
                </a:lnTo>
                <a:lnTo>
                  <a:pt x="1903482" y="4719993"/>
                </a:lnTo>
                <a:cubicBezTo>
                  <a:pt x="1899919" y="4718237"/>
                  <a:pt x="1896046" y="4717308"/>
                  <a:pt x="1892174" y="4718960"/>
                </a:cubicBezTo>
                <a:lnTo>
                  <a:pt x="1889541" y="4721128"/>
                </a:lnTo>
                <a:lnTo>
                  <a:pt x="1890935" y="4722780"/>
                </a:lnTo>
                <a:cubicBezTo>
                  <a:pt x="1892329" y="4725775"/>
                  <a:pt x="1892484" y="4731041"/>
                  <a:pt x="1892174" y="4733622"/>
                </a:cubicBezTo>
                <a:cubicBezTo>
                  <a:pt x="1891400" y="4733313"/>
                  <a:pt x="1890935" y="4732590"/>
                  <a:pt x="1890470" y="4731557"/>
                </a:cubicBezTo>
                <a:cubicBezTo>
                  <a:pt x="1889851" y="4730112"/>
                  <a:pt x="1889386" y="4728046"/>
                  <a:pt x="1889231" y="4725981"/>
                </a:cubicBezTo>
                <a:lnTo>
                  <a:pt x="1889231" y="4723194"/>
                </a:lnTo>
                <a:lnTo>
                  <a:pt x="1889231" y="4721335"/>
                </a:lnTo>
                <a:lnTo>
                  <a:pt x="1888457" y="4722058"/>
                </a:lnTo>
                <a:lnTo>
                  <a:pt x="1889231" y="4723194"/>
                </a:lnTo>
                <a:lnTo>
                  <a:pt x="1887218" y="4722987"/>
                </a:lnTo>
                <a:lnTo>
                  <a:pt x="1886443" y="4723607"/>
                </a:lnTo>
                <a:cubicBezTo>
                  <a:pt x="1884275" y="4723503"/>
                  <a:pt x="1883965" y="4727427"/>
                  <a:pt x="1883965" y="4727427"/>
                </a:cubicBezTo>
                <a:cubicBezTo>
                  <a:pt x="1879783" y="4725155"/>
                  <a:pt x="1877149" y="4730835"/>
                  <a:pt x="1874826" y="4732590"/>
                </a:cubicBezTo>
                <a:cubicBezTo>
                  <a:pt x="1874826" y="4732590"/>
                  <a:pt x="1874671" y="4732590"/>
                  <a:pt x="1868476" y="4728356"/>
                </a:cubicBezTo>
                <a:cubicBezTo>
                  <a:pt x="1873277" y="4722780"/>
                  <a:pt x="1866616" y="4724329"/>
                  <a:pt x="1871418" y="4718753"/>
                </a:cubicBezTo>
                <a:cubicBezTo>
                  <a:pt x="1871418" y="4718753"/>
                  <a:pt x="1871418" y="4718753"/>
                  <a:pt x="1872348" y="4718134"/>
                </a:cubicBezTo>
                <a:lnTo>
                  <a:pt x="1873742" y="4717102"/>
                </a:lnTo>
                <a:lnTo>
                  <a:pt x="1872193" y="4715449"/>
                </a:lnTo>
                <a:lnTo>
                  <a:pt x="1876375" y="4715036"/>
                </a:lnTo>
                <a:lnTo>
                  <a:pt x="1878389" y="4713384"/>
                </a:lnTo>
                <a:cubicBezTo>
                  <a:pt x="1880713" y="4713487"/>
                  <a:pt x="1880713" y="4713487"/>
                  <a:pt x="1883035" y="4711732"/>
                </a:cubicBezTo>
                <a:lnTo>
                  <a:pt x="1883191" y="4711526"/>
                </a:lnTo>
                <a:lnTo>
                  <a:pt x="1881022" y="4707602"/>
                </a:lnTo>
                <a:lnTo>
                  <a:pt x="1881022" y="4705846"/>
                </a:lnTo>
                <a:lnTo>
                  <a:pt x="1880867" y="4705846"/>
                </a:lnTo>
                <a:lnTo>
                  <a:pt x="1881177" y="4705537"/>
                </a:lnTo>
                <a:lnTo>
                  <a:pt x="1881177" y="4704814"/>
                </a:lnTo>
                <a:lnTo>
                  <a:pt x="1880402" y="4705124"/>
                </a:lnTo>
                <a:cubicBezTo>
                  <a:pt x="1878389" y="4705434"/>
                  <a:pt x="1876220" y="4705330"/>
                  <a:pt x="1874981" y="4704504"/>
                </a:cubicBezTo>
                <a:cubicBezTo>
                  <a:pt x="1875755" y="4702852"/>
                  <a:pt x="1876530" y="4701200"/>
                  <a:pt x="1877304" y="4699548"/>
                </a:cubicBezTo>
                <a:lnTo>
                  <a:pt x="1877924" y="4699754"/>
                </a:lnTo>
                <a:lnTo>
                  <a:pt x="1878079" y="4699548"/>
                </a:lnTo>
                <a:cubicBezTo>
                  <a:pt x="1878543" y="4699032"/>
                  <a:pt x="1878853" y="4698309"/>
                  <a:pt x="1878698" y="4697379"/>
                </a:cubicBezTo>
                <a:cubicBezTo>
                  <a:pt x="1879783" y="4697689"/>
                  <a:pt x="1881022" y="4697999"/>
                  <a:pt x="1881796" y="4698515"/>
                </a:cubicBezTo>
                <a:lnTo>
                  <a:pt x="1882261" y="4699445"/>
                </a:lnTo>
                <a:lnTo>
                  <a:pt x="1882571" y="4699341"/>
                </a:lnTo>
                <a:lnTo>
                  <a:pt x="1883346" y="4697896"/>
                </a:lnTo>
                <a:lnTo>
                  <a:pt x="1882880" y="4696244"/>
                </a:lnTo>
                <a:lnTo>
                  <a:pt x="1884430" y="4695934"/>
                </a:lnTo>
                <a:lnTo>
                  <a:pt x="1882261" y="4694178"/>
                </a:lnTo>
                <a:lnTo>
                  <a:pt x="1878234" y="4692320"/>
                </a:lnTo>
                <a:lnTo>
                  <a:pt x="1877459" y="4693043"/>
                </a:lnTo>
                <a:cubicBezTo>
                  <a:pt x="1875446" y="4693869"/>
                  <a:pt x="1873432" y="4694282"/>
                  <a:pt x="1872193" y="4693766"/>
                </a:cubicBezTo>
                <a:lnTo>
                  <a:pt x="1871418" y="4690255"/>
                </a:lnTo>
                <a:lnTo>
                  <a:pt x="1869869" y="4689945"/>
                </a:lnTo>
                <a:cubicBezTo>
                  <a:pt x="1865533" y="4689222"/>
                  <a:pt x="1861660" y="4688912"/>
                  <a:pt x="1860576" y="4688912"/>
                </a:cubicBezTo>
                <a:cubicBezTo>
                  <a:pt x="1861040" y="4683027"/>
                  <a:pt x="1867856" y="4674353"/>
                  <a:pt x="1867081" y="4665989"/>
                </a:cubicBezTo>
                <a:lnTo>
                  <a:pt x="1864758" y="4661653"/>
                </a:lnTo>
                <a:lnTo>
                  <a:pt x="1863983" y="4662685"/>
                </a:lnTo>
                <a:cubicBezTo>
                  <a:pt x="1863983" y="4663511"/>
                  <a:pt x="1863209" y="4664338"/>
                  <a:pt x="1862434" y="4664234"/>
                </a:cubicBezTo>
                <a:cubicBezTo>
                  <a:pt x="1862434" y="4664234"/>
                  <a:pt x="1861660" y="4665164"/>
                  <a:pt x="1861660" y="4665989"/>
                </a:cubicBezTo>
                <a:cubicBezTo>
                  <a:pt x="1860111" y="4667642"/>
                  <a:pt x="1859336" y="4667642"/>
                  <a:pt x="1858562" y="4667538"/>
                </a:cubicBezTo>
                <a:cubicBezTo>
                  <a:pt x="1858562" y="4667538"/>
                  <a:pt x="1859336" y="4666712"/>
                  <a:pt x="1859181" y="4665886"/>
                </a:cubicBezTo>
                <a:cubicBezTo>
                  <a:pt x="1859181" y="4665886"/>
                  <a:pt x="1859956" y="4665060"/>
                  <a:pt x="1860731" y="4664234"/>
                </a:cubicBezTo>
                <a:cubicBezTo>
                  <a:pt x="1860731" y="4664234"/>
                  <a:pt x="1860731" y="4663408"/>
                  <a:pt x="1860731" y="4662582"/>
                </a:cubicBezTo>
                <a:lnTo>
                  <a:pt x="1862744" y="4659691"/>
                </a:lnTo>
                <a:lnTo>
                  <a:pt x="1862124" y="4659588"/>
                </a:lnTo>
                <a:lnTo>
                  <a:pt x="1856393" y="4658452"/>
                </a:lnTo>
                <a:lnTo>
                  <a:pt x="1848803" y="4662376"/>
                </a:lnTo>
                <a:cubicBezTo>
                  <a:pt x="1843072" y="4665370"/>
                  <a:pt x="1836722" y="4667951"/>
                  <a:pt x="1831610" y="4663718"/>
                </a:cubicBezTo>
                <a:cubicBezTo>
                  <a:pt x="1827428" y="4661446"/>
                  <a:pt x="1827737" y="4657626"/>
                  <a:pt x="1832229" y="4655974"/>
                </a:cubicBezTo>
                <a:lnTo>
                  <a:pt x="1838425" y="4650811"/>
                </a:lnTo>
                <a:lnTo>
                  <a:pt x="1838116" y="4650501"/>
                </a:lnTo>
                <a:cubicBezTo>
                  <a:pt x="1837341" y="4649159"/>
                  <a:pt x="1836876" y="4647610"/>
                  <a:pt x="1836567" y="4645958"/>
                </a:cubicBezTo>
                <a:lnTo>
                  <a:pt x="1836722" y="4642137"/>
                </a:lnTo>
                <a:lnTo>
                  <a:pt x="1835792" y="4643273"/>
                </a:lnTo>
                <a:cubicBezTo>
                  <a:pt x="1835017" y="4644306"/>
                  <a:pt x="1834244" y="4645235"/>
                  <a:pt x="1833933" y="4644719"/>
                </a:cubicBezTo>
                <a:cubicBezTo>
                  <a:pt x="1833933" y="4644719"/>
                  <a:pt x="1834708" y="4643893"/>
                  <a:pt x="1835483" y="4643067"/>
                </a:cubicBezTo>
                <a:cubicBezTo>
                  <a:pt x="1836256" y="4642241"/>
                  <a:pt x="1836256" y="4642137"/>
                  <a:pt x="1835327" y="4641208"/>
                </a:cubicBezTo>
                <a:cubicBezTo>
                  <a:pt x="1835792" y="4640795"/>
                  <a:pt x="1835947" y="4640588"/>
                  <a:pt x="1836256" y="4640588"/>
                </a:cubicBezTo>
                <a:lnTo>
                  <a:pt x="1836876" y="4640485"/>
                </a:lnTo>
                <a:lnTo>
                  <a:pt x="1838890" y="4635736"/>
                </a:lnTo>
                <a:lnTo>
                  <a:pt x="1842298" y="4631605"/>
                </a:lnTo>
                <a:lnTo>
                  <a:pt x="1842298" y="4631502"/>
                </a:lnTo>
                <a:lnTo>
                  <a:pt x="1843692" y="4629850"/>
                </a:lnTo>
                <a:cubicBezTo>
                  <a:pt x="1846015" y="4627578"/>
                  <a:pt x="1848184" y="4626236"/>
                  <a:pt x="1849733" y="4625513"/>
                </a:cubicBezTo>
                <a:lnTo>
                  <a:pt x="1852366" y="4624584"/>
                </a:lnTo>
                <a:lnTo>
                  <a:pt x="1851281" y="4621176"/>
                </a:lnTo>
                <a:lnTo>
                  <a:pt x="1847100" y="4616840"/>
                </a:lnTo>
                <a:lnTo>
                  <a:pt x="1845396" y="4617252"/>
                </a:lnTo>
                <a:lnTo>
                  <a:pt x="1845086" y="4617252"/>
                </a:lnTo>
                <a:lnTo>
                  <a:pt x="1845086" y="4618079"/>
                </a:lnTo>
                <a:cubicBezTo>
                  <a:pt x="1845241" y="4618285"/>
                  <a:pt x="1845396" y="4618388"/>
                  <a:pt x="1846015" y="4618492"/>
                </a:cubicBezTo>
                <a:cubicBezTo>
                  <a:pt x="1846015" y="4618492"/>
                  <a:pt x="1845396" y="4619008"/>
                  <a:pt x="1845396" y="4619008"/>
                </a:cubicBezTo>
                <a:cubicBezTo>
                  <a:pt x="1844931" y="4618285"/>
                  <a:pt x="1845396" y="4618905"/>
                  <a:pt x="1845241" y="4620144"/>
                </a:cubicBezTo>
                <a:cubicBezTo>
                  <a:pt x="1843382" y="4620350"/>
                  <a:pt x="1842607" y="4620763"/>
                  <a:pt x="1841523" y="4620453"/>
                </a:cubicBezTo>
                <a:lnTo>
                  <a:pt x="1841368" y="4620453"/>
                </a:lnTo>
                <a:lnTo>
                  <a:pt x="1837960" y="4626752"/>
                </a:lnTo>
                <a:lnTo>
                  <a:pt x="1836256" y="4627785"/>
                </a:lnTo>
                <a:lnTo>
                  <a:pt x="1835637" y="4629540"/>
                </a:lnTo>
                <a:cubicBezTo>
                  <a:pt x="1834863" y="4629334"/>
                  <a:pt x="1834708" y="4629437"/>
                  <a:pt x="1834863" y="4628508"/>
                </a:cubicBezTo>
                <a:cubicBezTo>
                  <a:pt x="1834708" y="4628611"/>
                  <a:pt x="1834708" y="4628611"/>
                  <a:pt x="1834708" y="4628714"/>
                </a:cubicBezTo>
                <a:lnTo>
                  <a:pt x="1834553" y="4628301"/>
                </a:lnTo>
                <a:lnTo>
                  <a:pt x="1833933" y="4628508"/>
                </a:lnTo>
                <a:cubicBezTo>
                  <a:pt x="1833314" y="4628508"/>
                  <a:pt x="1832694" y="4628301"/>
                  <a:pt x="1832075" y="4627785"/>
                </a:cubicBezTo>
                <a:cubicBezTo>
                  <a:pt x="1831145" y="4627681"/>
                  <a:pt x="1831300" y="4624274"/>
                  <a:pt x="1832229" y="4623551"/>
                </a:cubicBezTo>
                <a:cubicBezTo>
                  <a:pt x="1833933" y="4622003"/>
                  <a:pt x="1834708" y="4621280"/>
                  <a:pt x="1836412" y="4621486"/>
                </a:cubicBezTo>
                <a:cubicBezTo>
                  <a:pt x="1837341" y="4620660"/>
                  <a:pt x="1838116" y="4619937"/>
                  <a:pt x="1838890" y="4619628"/>
                </a:cubicBezTo>
                <a:lnTo>
                  <a:pt x="1840903" y="4620247"/>
                </a:lnTo>
                <a:lnTo>
                  <a:pt x="1839664" y="4619524"/>
                </a:lnTo>
                <a:cubicBezTo>
                  <a:pt x="1839200" y="4619111"/>
                  <a:pt x="1838735" y="4618595"/>
                  <a:pt x="1838890" y="4617975"/>
                </a:cubicBezTo>
                <a:cubicBezTo>
                  <a:pt x="1839510" y="4617459"/>
                  <a:pt x="1839045" y="4616736"/>
                  <a:pt x="1839664" y="4616323"/>
                </a:cubicBezTo>
                <a:cubicBezTo>
                  <a:pt x="1840129" y="4615601"/>
                  <a:pt x="1840439" y="4615291"/>
                  <a:pt x="1840749" y="4614981"/>
                </a:cubicBezTo>
                <a:cubicBezTo>
                  <a:pt x="1839355" y="4616220"/>
                  <a:pt x="1837651" y="4617149"/>
                  <a:pt x="1835792" y="4617252"/>
                </a:cubicBezTo>
                <a:lnTo>
                  <a:pt x="1837960" y="4610231"/>
                </a:lnTo>
                <a:lnTo>
                  <a:pt x="1835483" y="4608785"/>
                </a:lnTo>
                <a:lnTo>
                  <a:pt x="1835017" y="4609921"/>
                </a:lnTo>
                <a:cubicBezTo>
                  <a:pt x="1835017" y="4609921"/>
                  <a:pt x="1835017" y="4610025"/>
                  <a:pt x="1834088" y="4609095"/>
                </a:cubicBezTo>
                <a:lnTo>
                  <a:pt x="1834244" y="4608373"/>
                </a:lnTo>
                <a:lnTo>
                  <a:pt x="1827273" y="4606720"/>
                </a:lnTo>
                <a:cubicBezTo>
                  <a:pt x="1824794" y="4606411"/>
                  <a:pt x="1822316" y="4606307"/>
                  <a:pt x="1819528" y="4605998"/>
                </a:cubicBezTo>
                <a:lnTo>
                  <a:pt x="1816585" y="4605378"/>
                </a:lnTo>
                <a:lnTo>
                  <a:pt x="1817669" y="4608682"/>
                </a:lnTo>
                <a:lnTo>
                  <a:pt x="1817979" y="4609508"/>
                </a:lnTo>
                <a:lnTo>
                  <a:pt x="1819992" y="4609612"/>
                </a:lnTo>
                <a:cubicBezTo>
                  <a:pt x="1819992" y="4609612"/>
                  <a:pt x="1824330" y="4611161"/>
                  <a:pt x="1823710" y="4614258"/>
                </a:cubicBezTo>
                <a:cubicBezTo>
                  <a:pt x="1823865" y="4614568"/>
                  <a:pt x="1823246" y="4615187"/>
                  <a:pt x="1822316" y="4615601"/>
                </a:cubicBezTo>
                <a:lnTo>
                  <a:pt x="1819992" y="4616117"/>
                </a:lnTo>
                <a:lnTo>
                  <a:pt x="1820922" y="4619731"/>
                </a:lnTo>
                <a:lnTo>
                  <a:pt x="1822626" y="4621589"/>
                </a:lnTo>
                <a:lnTo>
                  <a:pt x="1822781" y="4622312"/>
                </a:lnTo>
                <a:lnTo>
                  <a:pt x="1823710" y="4622622"/>
                </a:lnTo>
                <a:cubicBezTo>
                  <a:pt x="1823710" y="4622622"/>
                  <a:pt x="1823710" y="4622622"/>
                  <a:pt x="1823710" y="4623345"/>
                </a:cubicBezTo>
                <a:lnTo>
                  <a:pt x="1822935" y="4622932"/>
                </a:lnTo>
                <a:lnTo>
                  <a:pt x="1823091" y="4623861"/>
                </a:lnTo>
                <a:lnTo>
                  <a:pt x="1823865" y="4623551"/>
                </a:lnTo>
                <a:cubicBezTo>
                  <a:pt x="1823865" y="4623551"/>
                  <a:pt x="1824020" y="4624274"/>
                  <a:pt x="1823555" y="4625410"/>
                </a:cubicBezTo>
                <a:cubicBezTo>
                  <a:pt x="1823555" y="4625410"/>
                  <a:pt x="1823401" y="4625307"/>
                  <a:pt x="1823246" y="4625100"/>
                </a:cubicBezTo>
                <a:lnTo>
                  <a:pt x="1823091" y="4624274"/>
                </a:lnTo>
                <a:lnTo>
                  <a:pt x="1821387" y="4626959"/>
                </a:lnTo>
                <a:cubicBezTo>
                  <a:pt x="1820457" y="4627681"/>
                  <a:pt x="1819063" y="4627991"/>
                  <a:pt x="1817669" y="4627888"/>
                </a:cubicBezTo>
                <a:cubicBezTo>
                  <a:pt x="1816120" y="4627785"/>
                  <a:pt x="1814261" y="4627062"/>
                  <a:pt x="1812712" y="4625513"/>
                </a:cubicBezTo>
                <a:cubicBezTo>
                  <a:pt x="1812712" y="4623551"/>
                  <a:pt x="1815036" y="4620247"/>
                  <a:pt x="1817204" y="4618698"/>
                </a:cubicBezTo>
                <a:lnTo>
                  <a:pt x="1817359" y="4618698"/>
                </a:lnTo>
                <a:lnTo>
                  <a:pt x="1817359" y="4618492"/>
                </a:lnTo>
                <a:cubicBezTo>
                  <a:pt x="1816430" y="4617149"/>
                  <a:pt x="1815656" y="4615187"/>
                  <a:pt x="1815036" y="4613536"/>
                </a:cubicBezTo>
                <a:lnTo>
                  <a:pt x="1815036" y="4612813"/>
                </a:lnTo>
                <a:lnTo>
                  <a:pt x="1813177" y="4611986"/>
                </a:lnTo>
                <a:cubicBezTo>
                  <a:pt x="1812557" y="4611470"/>
                  <a:pt x="1812248" y="4610644"/>
                  <a:pt x="1812712" y="4609508"/>
                </a:cubicBezTo>
                <a:lnTo>
                  <a:pt x="1814416" y="4609508"/>
                </a:lnTo>
                <a:lnTo>
                  <a:pt x="1814416" y="4609405"/>
                </a:lnTo>
                <a:cubicBezTo>
                  <a:pt x="1814416" y="4609095"/>
                  <a:pt x="1814571" y="4608682"/>
                  <a:pt x="1814261" y="4608373"/>
                </a:cubicBezTo>
                <a:cubicBezTo>
                  <a:pt x="1814261" y="4608373"/>
                  <a:pt x="1813797" y="4607650"/>
                  <a:pt x="1813952" y="4606411"/>
                </a:cubicBezTo>
                <a:lnTo>
                  <a:pt x="1814416" y="4604965"/>
                </a:lnTo>
                <a:lnTo>
                  <a:pt x="1809924" y="4603933"/>
                </a:lnTo>
                <a:cubicBezTo>
                  <a:pt x="1812248" y="4602177"/>
                  <a:pt x="1814571" y="4600318"/>
                  <a:pt x="1816895" y="4598563"/>
                </a:cubicBezTo>
                <a:cubicBezTo>
                  <a:pt x="1819218" y="4596705"/>
                  <a:pt x="1819218" y="4596705"/>
                  <a:pt x="1819373" y="4594846"/>
                </a:cubicBezTo>
                <a:cubicBezTo>
                  <a:pt x="1813177" y="4590509"/>
                  <a:pt x="1808375" y="4594123"/>
                  <a:pt x="1799856" y="4589683"/>
                </a:cubicBezTo>
                <a:lnTo>
                  <a:pt x="1811628" y="4587102"/>
                </a:lnTo>
                <a:lnTo>
                  <a:pt x="1807137" y="4583591"/>
                </a:lnTo>
                <a:cubicBezTo>
                  <a:pt x="1809460" y="4578738"/>
                  <a:pt x="1813487" y="4574711"/>
                  <a:pt x="1818444" y="4571510"/>
                </a:cubicBezTo>
                <a:lnTo>
                  <a:pt x="1827273" y="4568103"/>
                </a:lnTo>
                <a:lnTo>
                  <a:pt x="1828512" y="4564179"/>
                </a:lnTo>
                <a:lnTo>
                  <a:pt x="1831610" y="4562837"/>
                </a:lnTo>
                <a:lnTo>
                  <a:pt x="1831610" y="4562734"/>
                </a:lnTo>
                <a:lnTo>
                  <a:pt x="1831765" y="4562837"/>
                </a:lnTo>
                <a:lnTo>
                  <a:pt x="1832539" y="4562424"/>
                </a:lnTo>
                <a:cubicBezTo>
                  <a:pt x="1837186" y="4561288"/>
                  <a:pt x="1843072" y="4561701"/>
                  <a:pt x="1846635" y="4557571"/>
                </a:cubicBezTo>
                <a:cubicBezTo>
                  <a:pt x="1846635" y="4557571"/>
                  <a:pt x="1848029" y="4556228"/>
                  <a:pt x="1849888" y="4554060"/>
                </a:cubicBezTo>
                <a:lnTo>
                  <a:pt x="1853296" y="4549620"/>
                </a:lnTo>
                <a:lnTo>
                  <a:pt x="1852676" y="4547658"/>
                </a:lnTo>
                <a:lnTo>
                  <a:pt x="1853450" y="4546419"/>
                </a:lnTo>
                <a:lnTo>
                  <a:pt x="1848184" y="4547451"/>
                </a:lnTo>
                <a:cubicBezTo>
                  <a:pt x="1841833" y="4548587"/>
                  <a:pt x="1835792" y="4549000"/>
                  <a:pt x="1831145" y="4544664"/>
                </a:cubicBezTo>
                <a:cubicBezTo>
                  <a:pt x="1829441" y="4533822"/>
                  <a:pt x="1823555" y="4532789"/>
                  <a:pt x="1819992" y="4527110"/>
                </a:cubicBezTo>
                <a:lnTo>
                  <a:pt x="1820612" y="4519572"/>
                </a:lnTo>
                <a:lnTo>
                  <a:pt x="1818753" y="4518849"/>
                </a:lnTo>
                <a:cubicBezTo>
                  <a:pt x="1814571" y="4516681"/>
                  <a:pt x="1817050" y="4512861"/>
                  <a:pt x="1819373" y="4511002"/>
                </a:cubicBezTo>
                <a:cubicBezTo>
                  <a:pt x="1819373" y="4511002"/>
                  <a:pt x="1819838" y="4511105"/>
                  <a:pt x="1820768" y="4511208"/>
                </a:cubicBezTo>
                <a:lnTo>
                  <a:pt x="1821696" y="4511312"/>
                </a:lnTo>
                <a:lnTo>
                  <a:pt x="1822316" y="4508627"/>
                </a:lnTo>
                <a:lnTo>
                  <a:pt x="1819992" y="4505013"/>
                </a:lnTo>
                <a:lnTo>
                  <a:pt x="1823401" y="4504290"/>
                </a:lnTo>
                <a:lnTo>
                  <a:pt x="1823865" y="4502329"/>
                </a:lnTo>
                <a:lnTo>
                  <a:pt x="1826654" y="4496959"/>
                </a:lnTo>
                <a:lnTo>
                  <a:pt x="1826189" y="4496649"/>
                </a:lnTo>
                <a:cubicBezTo>
                  <a:pt x="1825724" y="4495927"/>
                  <a:pt x="1825724" y="4494997"/>
                  <a:pt x="1826189" y="4494068"/>
                </a:cubicBezTo>
                <a:lnTo>
                  <a:pt x="1829596" y="4491486"/>
                </a:lnTo>
                <a:lnTo>
                  <a:pt x="1829906" y="4490764"/>
                </a:lnTo>
                <a:cubicBezTo>
                  <a:pt x="1832539" y="4487253"/>
                  <a:pt x="1835483" y="4484259"/>
                  <a:pt x="1839355" y="4481987"/>
                </a:cubicBezTo>
                <a:cubicBezTo>
                  <a:pt x="1842453" y="4480025"/>
                  <a:pt x="1845241" y="4478993"/>
                  <a:pt x="1848029" y="4478476"/>
                </a:cubicBezTo>
                <a:lnTo>
                  <a:pt x="1851127" y="4478373"/>
                </a:lnTo>
                <a:lnTo>
                  <a:pt x="1851198" y="4478336"/>
                </a:lnTo>
                <a:lnTo>
                  <a:pt x="1831430" y="4444581"/>
                </a:lnTo>
                <a:lnTo>
                  <a:pt x="1826313" y="4433867"/>
                </a:lnTo>
                <a:lnTo>
                  <a:pt x="1820457" y="4439239"/>
                </a:lnTo>
                <a:cubicBezTo>
                  <a:pt x="1819683" y="4438206"/>
                  <a:pt x="1818908" y="4437174"/>
                  <a:pt x="1818134" y="4436141"/>
                </a:cubicBezTo>
                <a:lnTo>
                  <a:pt x="1823652" y="4428325"/>
                </a:lnTo>
                <a:lnTo>
                  <a:pt x="1817359" y="4415316"/>
                </a:lnTo>
                <a:lnTo>
                  <a:pt x="1810946" y="4403381"/>
                </a:lnTo>
                <a:lnTo>
                  <a:pt x="1810389" y="4404545"/>
                </a:lnTo>
                <a:cubicBezTo>
                  <a:pt x="1807756" y="4402789"/>
                  <a:pt x="1806671" y="4401344"/>
                  <a:pt x="1806362" y="4400208"/>
                </a:cubicBezTo>
                <a:lnTo>
                  <a:pt x="1807881" y="4397677"/>
                </a:lnTo>
                <a:lnTo>
                  <a:pt x="1802461" y="4387591"/>
                </a:lnTo>
                <a:lnTo>
                  <a:pt x="1795011" y="4376810"/>
                </a:lnTo>
                <a:lnTo>
                  <a:pt x="1793299" y="4375361"/>
                </a:lnTo>
                <a:lnTo>
                  <a:pt x="1793660" y="4377388"/>
                </a:lnTo>
                <a:cubicBezTo>
                  <a:pt x="1792886" y="4377802"/>
                  <a:pt x="1791802" y="4377388"/>
                  <a:pt x="1791027" y="4377802"/>
                </a:cubicBezTo>
                <a:cubicBezTo>
                  <a:pt x="1790717" y="4376975"/>
                  <a:pt x="1790098" y="4375427"/>
                  <a:pt x="1790562" y="4374187"/>
                </a:cubicBezTo>
                <a:lnTo>
                  <a:pt x="1791417" y="4373770"/>
                </a:lnTo>
                <a:lnTo>
                  <a:pt x="1785906" y="4369108"/>
                </a:lnTo>
                <a:lnTo>
                  <a:pt x="1775147" y="4366027"/>
                </a:lnTo>
                <a:lnTo>
                  <a:pt x="1764386" y="4369108"/>
                </a:lnTo>
                <a:lnTo>
                  <a:pt x="1750315" y="4378349"/>
                </a:lnTo>
                <a:lnTo>
                  <a:pt x="1744521" y="4379891"/>
                </a:lnTo>
                <a:lnTo>
                  <a:pt x="1737899" y="4378349"/>
                </a:lnTo>
                <a:lnTo>
                  <a:pt x="1730450" y="4370649"/>
                </a:lnTo>
                <a:lnTo>
                  <a:pt x="1722173" y="4364487"/>
                </a:lnTo>
                <a:lnTo>
                  <a:pt x="1714723" y="4358327"/>
                </a:lnTo>
                <a:lnTo>
                  <a:pt x="1707273" y="4353706"/>
                </a:lnTo>
                <a:lnTo>
                  <a:pt x="1699824" y="4346004"/>
                </a:lnTo>
                <a:lnTo>
                  <a:pt x="1691547" y="4338304"/>
                </a:lnTo>
                <a:lnTo>
                  <a:pt x="1684098" y="4332142"/>
                </a:lnTo>
                <a:lnTo>
                  <a:pt x="1677476" y="4330602"/>
                </a:lnTo>
                <a:lnTo>
                  <a:pt x="1672509" y="4332142"/>
                </a:lnTo>
                <a:lnTo>
                  <a:pt x="1660405" y="4345852"/>
                </a:lnTo>
                <a:lnTo>
                  <a:pt x="1664884" y="4344411"/>
                </a:lnTo>
                <a:cubicBezTo>
                  <a:pt x="1668156" y="4344527"/>
                  <a:pt x="1671834" y="4345844"/>
                  <a:pt x="1675784" y="4348890"/>
                </a:cubicBezTo>
                <a:lnTo>
                  <a:pt x="1675784" y="4350026"/>
                </a:lnTo>
                <a:lnTo>
                  <a:pt x="1676869" y="4346308"/>
                </a:lnTo>
                <a:cubicBezTo>
                  <a:pt x="1678417" y="4345792"/>
                  <a:pt x="1679811" y="4345999"/>
                  <a:pt x="1681051" y="4346618"/>
                </a:cubicBezTo>
                <a:lnTo>
                  <a:pt x="1682290" y="4347961"/>
                </a:lnTo>
                <a:lnTo>
                  <a:pt x="1682599" y="4345585"/>
                </a:lnTo>
                <a:cubicBezTo>
                  <a:pt x="1684923" y="4345895"/>
                  <a:pt x="1686782" y="4345585"/>
                  <a:pt x="1688486" y="4346411"/>
                </a:cubicBezTo>
                <a:cubicBezTo>
                  <a:pt x="1689260" y="4348683"/>
                  <a:pt x="1688795" y="4350129"/>
                  <a:pt x="1687711" y="4350955"/>
                </a:cubicBezTo>
                <a:lnTo>
                  <a:pt x="1684613" y="4351058"/>
                </a:lnTo>
                <a:lnTo>
                  <a:pt x="1685543" y="4353330"/>
                </a:lnTo>
                <a:cubicBezTo>
                  <a:pt x="1688486" y="4352504"/>
                  <a:pt x="1692203" y="4353020"/>
                  <a:pt x="1694217" y="4355188"/>
                </a:cubicBezTo>
                <a:cubicBezTo>
                  <a:pt x="1691584" y="4359318"/>
                  <a:pt x="1689105" y="4361900"/>
                  <a:pt x="1685233" y="4361384"/>
                </a:cubicBezTo>
                <a:cubicBezTo>
                  <a:pt x="1683994" y="4361177"/>
                  <a:pt x="1682599" y="4360558"/>
                  <a:pt x="1680896" y="4359732"/>
                </a:cubicBezTo>
                <a:lnTo>
                  <a:pt x="1681206" y="4358286"/>
                </a:lnTo>
                <a:lnTo>
                  <a:pt x="1678882" y="4356737"/>
                </a:lnTo>
                <a:lnTo>
                  <a:pt x="1675629" y="4350439"/>
                </a:lnTo>
                <a:lnTo>
                  <a:pt x="1674855" y="4357667"/>
                </a:lnTo>
                <a:cubicBezTo>
                  <a:pt x="1672531" y="4365824"/>
                  <a:pt x="1666645" y="4371400"/>
                  <a:pt x="1659520" y="4370367"/>
                </a:cubicBezTo>
                <a:cubicBezTo>
                  <a:pt x="1656577" y="4369438"/>
                  <a:pt x="1654563" y="4367992"/>
                  <a:pt x="1653014" y="4366134"/>
                </a:cubicBezTo>
                <a:lnTo>
                  <a:pt x="1651621" y="4362313"/>
                </a:lnTo>
                <a:lnTo>
                  <a:pt x="1649916" y="4359732"/>
                </a:lnTo>
                <a:cubicBezTo>
                  <a:pt x="1649916" y="4359732"/>
                  <a:pt x="1649916" y="4359732"/>
                  <a:pt x="1650226" y="4360558"/>
                </a:cubicBezTo>
                <a:lnTo>
                  <a:pt x="1648367" y="4364998"/>
                </a:lnTo>
                <a:lnTo>
                  <a:pt x="1649452" y="4365720"/>
                </a:lnTo>
                <a:lnTo>
                  <a:pt x="1647749" y="4366237"/>
                </a:lnTo>
                <a:lnTo>
                  <a:pt x="1646664" y="4368818"/>
                </a:lnTo>
                <a:cubicBezTo>
                  <a:pt x="1645270" y="4371503"/>
                  <a:pt x="1643876" y="4373671"/>
                  <a:pt x="1642482" y="4373774"/>
                </a:cubicBezTo>
                <a:cubicBezTo>
                  <a:pt x="1642172" y="4373052"/>
                  <a:pt x="1641862" y="4372226"/>
                  <a:pt x="1642327" y="4371090"/>
                </a:cubicBezTo>
                <a:cubicBezTo>
                  <a:pt x="1642791" y="4369851"/>
                  <a:pt x="1643101" y="4370677"/>
                  <a:pt x="1642791" y="4369851"/>
                </a:cubicBezTo>
                <a:cubicBezTo>
                  <a:pt x="1643256" y="4368715"/>
                  <a:pt x="1642482" y="4369128"/>
                  <a:pt x="1642482" y="4369128"/>
                </a:cubicBezTo>
                <a:cubicBezTo>
                  <a:pt x="1642482" y="4369128"/>
                  <a:pt x="1643256" y="4368715"/>
                  <a:pt x="1643256" y="4368715"/>
                </a:cubicBezTo>
                <a:cubicBezTo>
                  <a:pt x="1643256" y="4368715"/>
                  <a:pt x="1643256" y="4368715"/>
                  <a:pt x="1643411" y="4368508"/>
                </a:cubicBezTo>
                <a:lnTo>
                  <a:pt x="1643720" y="4367476"/>
                </a:lnTo>
                <a:lnTo>
                  <a:pt x="1640313" y="4368508"/>
                </a:lnTo>
                <a:lnTo>
                  <a:pt x="1641087" y="4369541"/>
                </a:lnTo>
                <a:cubicBezTo>
                  <a:pt x="1640468" y="4371503"/>
                  <a:pt x="1639539" y="4372639"/>
                  <a:pt x="1638454" y="4373671"/>
                </a:cubicBezTo>
                <a:lnTo>
                  <a:pt x="1636596" y="4375530"/>
                </a:lnTo>
                <a:lnTo>
                  <a:pt x="1639694" y="4378111"/>
                </a:lnTo>
                <a:cubicBezTo>
                  <a:pt x="1642172" y="4379764"/>
                  <a:pt x="1644805" y="4381209"/>
                  <a:pt x="1647438" y="4383171"/>
                </a:cubicBezTo>
                <a:cubicBezTo>
                  <a:pt x="1647283" y="4384823"/>
                  <a:pt x="1646199" y="4386269"/>
                  <a:pt x="1643411" y="4388231"/>
                </a:cubicBezTo>
                <a:cubicBezTo>
                  <a:pt x="1639384" y="4380383"/>
                  <a:pt x="1634737" y="4388953"/>
                  <a:pt x="1631329" y="4382861"/>
                </a:cubicBezTo>
                <a:cubicBezTo>
                  <a:pt x="1631019" y="4380279"/>
                  <a:pt x="1629935" y="4377388"/>
                  <a:pt x="1630554" y="4374497"/>
                </a:cubicBezTo>
                <a:lnTo>
                  <a:pt x="1630864" y="4373878"/>
                </a:lnTo>
                <a:cubicBezTo>
                  <a:pt x="1629780" y="4372845"/>
                  <a:pt x="1629315" y="4371812"/>
                  <a:pt x="1629006" y="4370780"/>
                </a:cubicBezTo>
                <a:lnTo>
                  <a:pt x="1630209" y="4367755"/>
                </a:lnTo>
                <a:lnTo>
                  <a:pt x="1620363" y="4370649"/>
                </a:lnTo>
                <a:lnTo>
                  <a:pt x="1619834" y="4370649"/>
                </a:lnTo>
                <a:lnTo>
                  <a:pt x="1622500" y="4372948"/>
                </a:lnTo>
                <a:cubicBezTo>
                  <a:pt x="1623430" y="4378214"/>
                  <a:pt x="1620641" y="4380486"/>
                  <a:pt x="1617544" y="4380279"/>
                </a:cubicBezTo>
                <a:cubicBezTo>
                  <a:pt x="1614445" y="4379970"/>
                  <a:pt x="1611037" y="4377285"/>
                  <a:pt x="1610728" y="4372432"/>
                </a:cubicBezTo>
                <a:lnTo>
                  <a:pt x="1613609" y="4370649"/>
                </a:lnTo>
                <a:lnTo>
                  <a:pt x="1606292" y="4370649"/>
                </a:lnTo>
                <a:lnTo>
                  <a:pt x="1603049" y="4369039"/>
                </a:lnTo>
                <a:lnTo>
                  <a:pt x="1600195" y="4373878"/>
                </a:lnTo>
                <a:cubicBezTo>
                  <a:pt x="1596942" y="4374601"/>
                  <a:pt x="1593689" y="4375943"/>
                  <a:pt x="1590282" y="4376872"/>
                </a:cubicBezTo>
                <a:lnTo>
                  <a:pt x="1585480" y="4378008"/>
                </a:lnTo>
                <a:lnTo>
                  <a:pt x="1582227" y="4379144"/>
                </a:lnTo>
                <a:lnTo>
                  <a:pt x="1581917" y="4378214"/>
                </a:lnTo>
                <a:lnTo>
                  <a:pt x="1579748" y="4378318"/>
                </a:lnTo>
                <a:cubicBezTo>
                  <a:pt x="1577270" y="4378008"/>
                  <a:pt x="1574637" y="4377285"/>
                  <a:pt x="1572004" y="4375840"/>
                </a:cubicBezTo>
                <a:cubicBezTo>
                  <a:pt x="1577425" y="4369025"/>
                  <a:pt x="1580678" y="4362726"/>
                  <a:pt x="1583389" y="4356428"/>
                </a:cubicBezTo>
                <a:lnTo>
                  <a:pt x="1583901" y="4355205"/>
                </a:lnTo>
                <a:lnTo>
                  <a:pt x="1580633" y="4352166"/>
                </a:lnTo>
                <a:lnTo>
                  <a:pt x="1570700" y="4336762"/>
                </a:lnTo>
                <a:lnTo>
                  <a:pt x="1559940" y="4316740"/>
                </a:lnTo>
                <a:lnTo>
                  <a:pt x="1549179" y="4298257"/>
                </a:lnTo>
                <a:lnTo>
                  <a:pt x="1543025" y="4284895"/>
                </a:lnTo>
                <a:lnTo>
                  <a:pt x="1541644" y="4284665"/>
                </a:lnTo>
                <a:cubicBezTo>
                  <a:pt x="1540327" y="4284045"/>
                  <a:pt x="1540676" y="4282806"/>
                  <a:pt x="1541354" y="4281554"/>
                </a:cubicBezTo>
                <a:lnTo>
                  <a:pt x="1541424" y="4281420"/>
                </a:lnTo>
                <a:lnTo>
                  <a:pt x="1539248" y="4276693"/>
                </a:lnTo>
                <a:lnTo>
                  <a:pt x="1530142" y="4256669"/>
                </a:lnTo>
                <a:lnTo>
                  <a:pt x="1528889" y="4253948"/>
                </a:lnTo>
                <a:lnTo>
                  <a:pt x="1523986" y="4256063"/>
                </a:lnTo>
                <a:cubicBezTo>
                  <a:pt x="1521817" y="4256166"/>
                  <a:pt x="1519494" y="4255649"/>
                  <a:pt x="1517325" y="4254410"/>
                </a:cubicBezTo>
                <a:cubicBezTo>
                  <a:pt x="1512291" y="4250590"/>
                  <a:pt x="1511284" y="4245685"/>
                  <a:pt x="1512717" y="4241439"/>
                </a:cubicBezTo>
                <a:lnTo>
                  <a:pt x="1520054" y="4234838"/>
                </a:lnTo>
                <a:lnTo>
                  <a:pt x="1509449" y="4216622"/>
                </a:lnTo>
                <a:lnTo>
                  <a:pt x="1499516" y="4201220"/>
                </a:lnTo>
                <a:lnTo>
                  <a:pt x="1495020" y="4197037"/>
                </a:lnTo>
                <a:lnTo>
                  <a:pt x="1495639" y="4207119"/>
                </a:lnTo>
                <a:lnTo>
                  <a:pt x="1491612" y="4203711"/>
                </a:lnTo>
                <a:lnTo>
                  <a:pt x="1490683" y="4204331"/>
                </a:lnTo>
                <a:cubicBezTo>
                  <a:pt x="1490064" y="4204538"/>
                  <a:pt x="1489134" y="4204538"/>
                  <a:pt x="1487121" y="4204744"/>
                </a:cubicBezTo>
                <a:cubicBezTo>
                  <a:pt x="1486501" y="4202266"/>
                  <a:pt x="1485881" y="4199891"/>
                  <a:pt x="1485261" y="4197413"/>
                </a:cubicBezTo>
                <a:cubicBezTo>
                  <a:pt x="1486191" y="4197516"/>
                  <a:pt x="1486966" y="4197310"/>
                  <a:pt x="1487740" y="4197103"/>
                </a:cubicBezTo>
                <a:lnTo>
                  <a:pt x="1488050" y="4197000"/>
                </a:lnTo>
                <a:lnTo>
                  <a:pt x="1487361" y="4189910"/>
                </a:lnTo>
                <a:lnTo>
                  <a:pt x="1463097" y="4167335"/>
                </a:lnTo>
                <a:lnTo>
                  <a:pt x="1455118" y="4156336"/>
                </a:lnTo>
                <a:lnTo>
                  <a:pt x="1446382" y="4160653"/>
                </a:lnTo>
                <a:cubicBezTo>
                  <a:pt x="1444369" y="4158485"/>
                  <a:pt x="1440187" y="4156110"/>
                  <a:pt x="1438483" y="4151980"/>
                </a:cubicBezTo>
                <a:lnTo>
                  <a:pt x="1445572" y="4143178"/>
                </a:lnTo>
                <a:lnTo>
                  <a:pt x="1440749" y="4136530"/>
                </a:lnTo>
                <a:lnTo>
                  <a:pt x="1433226" y="4125640"/>
                </a:lnTo>
                <a:lnTo>
                  <a:pt x="1426556" y="4130812"/>
                </a:lnTo>
                <a:lnTo>
                  <a:pt x="1430583" y="4135252"/>
                </a:lnTo>
                <a:cubicBezTo>
                  <a:pt x="1429344" y="4139589"/>
                  <a:pt x="1423768" y="4139693"/>
                  <a:pt x="1420670" y="4140209"/>
                </a:cubicBezTo>
                <a:lnTo>
                  <a:pt x="1419741" y="4135769"/>
                </a:lnTo>
                <a:lnTo>
                  <a:pt x="1415713" y="4138763"/>
                </a:lnTo>
                <a:cubicBezTo>
                  <a:pt x="1412150" y="4140932"/>
                  <a:pt x="1408743" y="4143616"/>
                  <a:pt x="1405335" y="4145785"/>
                </a:cubicBezTo>
                <a:lnTo>
                  <a:pt x="1398829" y="4150947"/>
                </a:lnTo>
                <a:lnTo>
                  <a:pt x="1399449" y="4151257"/>
                </a:lnTo>
                <a:cubicBezTo>
                  <a:pt x="1401153" y="4152909"/>
                  <a:pt x="1402237" y="4155387"/>
                  <a:pt x="1400998" y="4157969"/>
                </a:cubicBezTo>
                <a:cubicBezTo>
                  <a:pt x="1399914" y="4158692"/>
                  <a:pt x="1398985" y="4159414"/>
                  <a:pt x="1397590" y="4159828"/>
                </a:cubicBezTo>
                <a:cubicBezTo>
                  <a:pt x="1396351" y="4160137"/>
                  <a:pt x="1394803" y="4160137"/>
                  <a:pt x="1392789" y="4159311"/>
                </a:cubicBezTo>
                <a:lnTo>
                  <a:pt x="1392014" y="4156420"/>
                </a:lnTo>
                <a:lnTo>
                  <a:pt x="1386592" y="4160860"/>
                </a:lnTo>
                <a:cubicBezTo>
                  <a:pt x="1383650" y="4163648"/>
                  <a:pt x="1380862" y="4166333"/>
                  <a:pt x="1378074" y="4169017"/>
                </a:cubicBezTo>
                <a:cubicBezTo>
                  <a:pt x="1376370" y="4170670"/>
                  <a:pt x="1375130" y="4172218"/>
                  <a:pt x="1374047" y="4173870"/>
                </a:cubicBezTo>
                <a:cubicBezTo>
                  <a:pt x="1374047" y="4173870"/>
                  <a:pt x="1374047" y="4173870"/>
                  <a:pt x="1372807" y="4175006"/>
                </a:cubicBezTo>
                <a:cubicBezTo>
                  <a:pt x="1370019" y="4176555"/>
                  <a:pt x="1379158" y="4172218"/>
                  <a:pt x="1366611" y="4178207"/>
                </a:cubicBezTo>
                <a:cubicBezTo>
                  <a:pt x="1366611" y="4178207"/>
                  <a:pt x="1366611" y="4178207"/>
                  <a:pt x="1366611" y="4178723"/>
                </a:cubicBezTo>
                <a:cubicBezTo>
                  <a:pt x="1366611" y="4178723"/>
                  <a:pt x="1366611" y="4178723"/>
                  <a:pt x="1365992" y="4179240"/>
                </a:cubicBezTo>
                <a:cubicBezTo>
                  <a:pt x="1365992" y="4179859"/>
                  <a:pt x="1365992" y="4180376"/>
                  <a:pt x="1365372" y="4180892"/>
                </a:cubicBezTo>
                <a:cubicBezTo>
                  <a:pt x="1366611" y="4182544"/>
                  <a:pt x="1367695" y="4182544"/>
                  <a:pt x="1368315" y="4182544"/>
                </a:cubicBezTo>
                <a:cubicBezTo>
                  <a:pt x="1368315" y="4182544"/>
                  <a:pt x="1368315" y="4182544"/>
                  <a:pt x="1368315" y="4182028"/>
                </a:cubicBezTo>
                <a:cubicBezTo>
                  <a:pt x="1368315" y="4182028"/>
                  <a:pt x="1368315" y="4182028"/>
                  <a:pt x="1368935" y="4182028"/>
                </a:cubicBezTo>
                <a:cubicBezTo>
                  <a:pt x="1370638" y="4180892"/>
                  <a:pt x="1372962" y="4179859"/>
                  <a:pt x="1375130" y="4178723"/>
                </a:cubicBezTo>
                <a:cubicBezTo>
                  <a:pt x="1375750" y="4178723"/>
                  <a:pt x="1375750" y="4178723"/>
                  <a:pt x="1375750" y="4178723"/>
                </a:cubicBezTo>
                <a:cubicBezTo>
                  <a:pt x="1376214" y="4178723"/>
                  <a:pt x="1376835" y="4178723"/>
                  <a:pt x="1377454" y="4179756"/>
                </a:cubicBezTo>
                <a:cubicBezTo>
                  <a:pt x="1376835" y="4179756"/>
                  <a:pt x="1376835" y="4180376"/>
                  <a:pt x="1376835" y="4180376"/>
                </a:cubicBezTo>
                <a:cubicBezTo>
                  <a:pt x="1376370" y="4180892"/>
                  <a:pt x="1376214" y="4180892"/>
                  <a:pt x="1376214" y="4180892"/>
                </a:cubicBezTo>
                <a:cubicBezTo>
                  <a:pt x="1376060" y="4180995"/>
                  <a:pt x="1376060" y="4180995"/>
                  <a:pt x="1375905" y="4181099"/>
                </a:cubicBezTo>
                <a:lnTo>
                  <a:pt x="1375905" y="4181202"/>
                </a:lnTo>
                <a:cubicBezTo>
                  <a:pt x="1374975" y="4181614"/>
                  <a:pt x="1373117" y="4182544"/>
                  <a:pt x="1370019" y="4184093"/>
                </a:cubicBezTo>
                <a:cubicBezTo>
                  <a:pt x="1370019" y="4184093"/>
                  <a:pt x="1370019" y="4184093"/>
                  <a:pt x="1369399" y="4184093"/>
                </a:cubicBezTo>
                <a:cubicBezTo>
                  <a:pt x="1369399" y="4184093"/>
                  <a:pt x="1369399" y="4184196"/>
                  <a:pt x="1369399" y="4184712"/>
                </a:cubicBezTo>
                <a:cubicBezTo>
                  <a:pt x="1369399" y="4184712"/>
                  <a:pt x="1369399" y="4185229"/>
                  <a:pt x="1368935" y="4185229"/>
                </a:cubicBezTo>
                <a:cubicBezTo>
                  <a:pt x="1368935" y="4185745"/>
                  <a:pt x="1368315" y="4185745"/>
                  <a:pt x="1367695" y="4186365"/>
                </a:cubicBezTo>
                <a:cubicBezTo>
                  <a:pt x="1367231" y="4186881"/>
                  <a:pt x="1366611" y="4187913"/>
                  <a:pt x="1365992" y="4189566"/>
                </a:cubicBezTo>
                <a:cubicBezTo>
                  <a:pt x="1364907" y="4187397"/>
                  <a:pt x="1366611" y="4187397"/>
                  <a:pt x="1365992" y="4185848"/>
                </a:cubicBezTo>
                <a:cubicBezTo>
                  <a:pt x="1364907" y="4184712"/>
                  <a:pt x="1363203" y="4184712"/>
                  <a:pt x="1361965" y="4185229"/>
                </a:cubicBezTo>
                <a:cubicBezTo>
                  <a:pt x="1360880" y="4186261"/>
                  <a:pt x="1363823" y="4186261"/>
                  <a:pt x="1363203" y="4188430"/>
                </a:cubicBezTo>
                <a:cubicBezTo>
                  <a:pt x="1360880" y="4186777"/>
                  <a:pt x="1360415" y="4189049"/>
                  <a:pt x="1360415" y="4191114"/>
                </a:cubicBezTo>
                <a:cubicBezTo>
                  <a:pt x="1358092" y="4192250"/>
                  <a:pt x="1359796" y="4190081"/>
                  <a:pt x="1358092" y="4188430"/>
                </a:cubicBezTo>
                <a:cubicBezTo>
                  <a:pt x="1356388" y="4188946"/>
                  <a:pt x="1358092" y="4191734"/>
                  <a:pt x="1359176" y="4194418"/>
                </a:cubicBezTo>
                <a:cubicBezTo>
                  <a:pt x="1358557" y="4194418"/>
                  <a:pt x="1358557" y="4194418"/>
                  <a:pt x="1358092" y="4194418"/>
                </a:cubicBezTo>
                <a:cubicBezTo>
                  <a:pt x="1358092" y="4194418"/>
                  <a:pt x="1357472" y="4194418"/>
                  <a:pt x="1357007" y="4194418"/>
                </a:cubicBezTo>
                <a:cubicBezTo>
                  <a:pt x="1356388" y="4193902"/>
                  <a:pt x="1355769" y="4192766"/>
                  <a:pt x="1355149" y="4192250"/>
                </a:cubicBezTo>
                <a:lnTo>
                  <a:pt x="1350812" y="4195244"/>
                </a:lnTo>
                <a:lnTo>
                  <a:pt x="1351122" y="4196277"/>
                </a:lnTo>
                <a:cubicBezTo>
                  <a:pt x="1350812" y="4197516"/>
                  <a:pt x="1349882" y="4198548"/>
                  <a:pt x="1348024" y="4199168"/>
                </a:cubicBezTo>
                <a:lnTo>
                  <a:pt x="1347094" y="4197723"/>
                </a:lnTo>
                <a:lnTo>
                  <a:pt x="1340899" y="4201956"/>
                </a:lnTo>
                <a:lnTo>
                  <a:pt x="1333309" y="4206396"/>
                </a:lnTo>
                <a:lnTo>
                  <a:pt x="1333153" y="4208048"/>
                </a:lnTo>
                <a:lnTo>
                  <a:pt x="1331449" y="4207325"/>
                </a:lnTo>
                <a:lnTo>
                  <a:pt x="1328352" y="4209081"/>
                </a:lnTo>
                <a:cubicBezTo>
                  <a:pt x="1328352" y="4209081"/>
                  <a:pt x="1328352" y="4208977"/>
                  <a:pt x="1326028" y="4209597"/>
                </a:cubicBezTo>
                <a:cubicBezTo>
                  <a:pt x="1326028" y="4209597"/>
                  <a:pt x="1326184" y="4209494"/>
                  <a:pt x="1324944" y="4210113"/>
                </a:cubicBezTo>
                <a:cubicBezTo>
                  <a:pt x="1324944" y="4210113"/>
                  <a:pt x="1324944" y="4210113"/>
                  <a:pt x="1323860" y="4210630"/>
                </a:cubicBezTo>
                <a:cubicBezTo>
                  <a:pt x="1314101" y="4214967"/>
                  <a:pt x="1304498" y="4218787"/>
                  <a:pt x="1295824" y="4221988"/>
                </a:cubicBezTo>
                <a:cubicBezTo>
                  <a:pt x="1294120" y="4222814"/>
                  <a:pt x="1292416" y="4223227"/>
                  <a:pt x="1291022" y="4223330"/>
                </a:cubicBezTo>
                <a:lnTo>
                  <a:pt x="1290092" y="4223124"/>
                </a:lnTo>
                <a:lnTo>
                  <a:pt x="1290557" y="4224466"/>
                </a:lnTo>
                <a:cubicBezTo>
                  <a:pt x="1290712" y="4225085"/>
                  <a:pt x="1290867" y="4225395"/>
                  <a:pt x="1291177" y="4225499"/>
                </a:cubicBezTo>
                <a:cubicBezTo>
                  <a:pt x="1289473" y="4229009"/>
                  <a:pt x="1287304" y="4228080"/>
                  <a:pt x="1283432" y="4227770"/>
                </a:cubicBezTo>
                <a:lnTo>
                  <a:pt x="1282657" y="4226428"/>
                </a:lnTo>
                <a:lnTo>
                  <a:pt x="1282502" y="4226531"/>
                </a:lnTo>
                <a:lnTo>
                  <a:pt x="1278940" y="4227770"/>
                </a:lnTo>
                <a:lnTo>
                  <a:pt x="1277546" y="4230765"/>
                </a:lnTo>
                <a:lnTo>
                  <a:pt x="1277701" y="4231487"/>
                </a:lnTo>
                <a:lnTo>
                  <a:pt x="1278630" y="4231178"/>
                </a:lnTo>
                <a:cubicBezTo>
                  <a:pt x="1279560" y="4231074"/>
                  <a:pt x="1280489" y="4231384"/>
                  <a:pt x="1281108" y="4231901"/>
                </a:cubicBezTo>
                <a:lnTo>
                  <a:pt x="1282657" y="4234482"/>
                </a:lnTo>
                <a:lnTo>
                  <a:pt x="1284671" y="4233346"/>
                </a:lnTo>
                <a:cubicBezTo>
                  <a:pt x="1286839" y="4233036"/>
                  <a:pt x="1289473" y="4233449"/>
                  <a:pt x="1292261" y="4235308"/>
                </a:cubicBezTo>
                <a:cubicBezTo>
                  <a:pt x="1293810" y="4239129"/>
                  <a:pt x="1289937" y="4246356"/>
                  <a:pt x="1286530" y="4246563"/>
                </a:cubicBezTo>
                <a:cubicBezTo>
                  <a:pt x="1281263" y="4244807"/>
                  <a:pt x="1279249" y="4241710"/>
                  <a:pt x="1279249" y="4239025"/>
                </a:cubicBezTo>
                <a:lnTo>
                  <a:pt x="1279560" y="4238302"/>
                </a:lnTo>
                <a:lnTo>
                  <a:pt x="1278785" y="4239025"/>
                </a:lnTo>
                <a:lnTo>
                  <a:pt x="1278011" y="4238922"/>
                </a:lnTo>
                <a:lnTo>
                  <a:pt x="1278011" y="4240368"/>
                </a:lnTo>
                <a:cubicBezTo>
                  <a:pt x="1274758" y="4239025"/>
                  <a:pt x="1272124" y="4236857"/>
                  <a:pt x="1269801" y="4234378"/>
                </a:cubicBezTo>
                <a:lnTo>
                  <a:pt x="1266703" y="4229629"/>
                </a:lnTo>
                <a:lnTo>
                  <a:pt x="1262211" y="4226841"/>
                </a:lnTo>
                <a:cubicBezTo>
                  <a:pt x="1261591" y="4234378"/>
                  <a:pt x="1252607" y="4227977"/>
                  <a:pt x="1246257" y="4233862"/>
                </a:cubicBezTo>
                <a:lnTo>
                  <a:pt x="1245327" y="4232520"/>
                </a:lnTo>
                <a:lnTo>
                  <a:pt x="1241610" y="4233759"/>
                </a:lnTo>
                <a:cubicBezTo>
                  <a:pt x="1240835" y="4233862"/>
                  <a:pt x="1240061" y="4233759"/>
                  <a:pt x="1239751" y="4233449"/>
                </a:cubicBezTo>
                <a:cubicBezTo>
                  <a:pt x="1239596" y="4233036"/>
                  <a:pt x="1239751" y="4232210"/>
                  <a:pt x="1240216" y="4231384"/>
                </a:cubicBezTo>
                <a:lnTo>
                  <a:pt x="1241300" y="4230248"/>
                </a:lnTo>
                <a:lnTo>
                  <a:pt x="1237738" y="4230042"/>
                </a:lnTo>
                <a:cubicBezTo>
                  <a:pt x="1233091" y="4231178"/>
                  <a:pt x="1227979" y="4233862"/>
                  <a:pt x="1226275" y="4236547"/>
                </a:cubicBezTo>
                <a:cubicBezTo>
                  <a:pt x="1228599" y="4237683"/>
                  <a:pt x="1231387" y="4238199"/>
                  <a:pt x="1234795" y="4237579"/>
                </a:cubicBezTo>
                <a:cubicBezTo>
                  <a:pt x="1238357" y="4237063"/>
                  <a:pt x="1241765" y="4235514"/>
                  <a:pt x="1245172" y="4233862"/>
                </a:cubicBezTo>
                <a:cubicBezTo>
                  <a:pt x="1243469" y="4236340"/>
                  <a:pt x="1240835" y="4237889"/>
                  <a:pt x="1237892" y="4239025"/>
                </a:cubicBezTo>
                <a:lnTo>
                  <a:pt x="1229063" y="4241194"/>
                </a:lnTo>
                <a:lnTo>
                  <a:pt x="1229838" y="4243259"/>
                </a:lnTo>
                <a:cubicBezTo>
                  <a:pt x="1230767" y="4247699"/>
                  <a:pt x="1231077" y="4253997"/>
                  <a:pt x="1227669" y="4254513"/>
                </a:cubicBezTo>
                <a:cubicBezTo>
                  <a:pt x="1227050" y="4254617"/>
                  <a:pt x="1226275" y="4254513"/>
                  <a:pt x="1225345" y="4254101"/>
                </a:cubicBezTo>
                <a:cubicBezTo>
                  <a:pt x="1225501" y="4251416"/>
                  <a:pt x="1225036" y="4248731"/>
                  <a:pt x="1224726" y="4246460"/>
                </a:cubicBezTo>
                <a:lnTo>
                  <a:pt x="1225036" y="4242330"/>
                </a:lnTo>
                <a:lnTo>
                  <a:pt x="1220699" y="4244601"/>
                </a:lnTo>
                <a:lnTo>
                  <a:pt x="1217756" y="4245014"/>
                </a:lnTo>
                <a:lnTo>
                  <a:pt x="1213109" y="4249557"/>
                </a:lnTo>
                <a:cubicBezTo>
                  <a:pt x="1211405" y="4249970"/>
                  <a:pt x="1209856" y="4250074"/>
                  <a:pt x="1208152" y="4250280"/>
                </a:cubicBezTo>
                <a:cubicBezTo>
                  <a:pt x="1208772" y="4250280"/>
                  <a:pt x="1209392" y="4250280"/>
                  <a:pt x="1209856" y="4250590"/>
                </a:cubicBezTo>
                <a:lnTo>
                  <a:pt x="1211250" y="4251519"/>
                </a:lnTo>
                <a:lnTo>
                  <a:pt x="1211250" y="4251416"/>
                </a:lnTo>
                <a:cubicBezTo>
                  <a:pt x="1211870" y="4250797"/>
                  <a:pt x="1212799" y="4250074"/>
                  <a:pt x="1213883" y="4249661"/>
                </a:cubicBezTo>
                <a:cubicBezTo>
                  <a:pt x="1218066" y="4250590"/>
                  <a:pt x="1218221" y="4255030"/>
                  <a:pt x="1220544" y="4257302"/>
                </a:cubicBezTo>
                <a:cubicBezTo>
                  <a:pt x="1219305" y="4258644"/>
                  <a:pt x="1218066" y="4259470"/>
                  <a:pt x="1216827" y="4259676"/>
                </a:cubicBezTo>
                <a:lnTo>
                  <a:pt x="1215277" y="4259264"/>
                </a:lnTo>
                <a:lnTo>
                  <a:pt x="1214813" y="4260193"/>
                </a:lnTo>
                <a:cubicBezTo>
                  <a:pt x="1213883" y="4261019"/>
                  <a:pt x="1212644" y="4261329"/>
                  <a:pt x="1210476" y="4261329"/>
                </a:cubicBezTo>
                <a:cubicBezTo>
                  <a:pt x="1210476" y="4261329"/>
                  <a:pt x="1209392" y="4260812"/>
                  <a:pt x="1209392" y="4260812"/>
                </a:cubicBezTo>
                <a:cubicBezTo>
                  <a:pt x="1205365" y="4259676"/>
                  <a:pt x="1202421" y="4255546"/>
                  <a:pt x="1202731" y="4253584"/>
                </a:cubicBezTo>
                <a:cubicBezTo>
                  <a:pt x="1203350" y="4252448"/>
                  <a:pt x="1204280" y="4251312"/>
                  <a:pt x="1205519" y="4250693"/>
                </a:cubicBezTo>
                <a:cubicBezTo>
                  <a:pt x="1201646" y="4251003"/>
                  <a:pt x="1197929" y="4251209"/>
                  <a:pt x="1194366" y="4251209"/>
                </a:cubicBezTo>
                <a:cubicBezTo>
                  <a:pt x="1191423" y="4251209"/>
                  <a:pt x="1188635" y="4251106"/>
                  <a:pt x="1185847" y="4251726"/>
                </a:cubicBezTo>
                <a:lnTo>
                  <a:pt x="1176863" y="4254307"/>
                </a:lnTo>
                <a:lnTo>
                  <a:pt x="1178102" y="4255133"/>
                </a:lnTo>
                <a:lnTo>
                  <a:pt x="1179961" y="4254307"/>
                </a:lnTo>
                <a:cubicBezTo>
                  <a:pt x="1183833" y="4253481"/>
                  <a:pt x="1188016" y="4254204"/>
                  <a:pt x="1192198" y="4254617"/>
                </a:cubicBezTo>
                <a:cubicBezTo>
                  <a:pt x="1191423" y="4257714"/>
                  <a:pt x="1187396" y="4261845"/>
                  <a:pt x="1182439" y="4263807"/>
                </a:cubicBezTo>
                <a:lnTo>
                  <a:pt x="1179496" y="4264426"/>
                </a:lnTo>
                <a:lnTo>
                  <a:pt x="1176554" y="4265872"/>
                </a:lnTo>
                <a:lnTo>
                  <a:pt x="1176709" y="4266904"/>
                </a:lnTo>
                <a:cubicBezTo>
                  <a:pt x="1172681" y="4270931"/>
                  <a:pt x="1169583" y="4275062"/>
                  <a:pt x="1166486" y="4279192"/>
                </a:cubicBezTo>
                <a:lnTo>
                  <a:pt x="1165556" y="4280431"/>
                </a:lnTo>
                <a:lnTo>
                  <a:pt x="1168034" y="4280741"/>
                </a:lnTo>
                <a:lnTo>
                  <a:pt x="1171287" y="4284355"/>
                </a:lnTo>
                <a:lnTo>
                  <a:pt x="1174849" y="4283012"/>
                </a:lnTo>
                <a:cubicBezTo>
                  <a:pt x="1177948" y="4282496"/>
                  <a:pt x="1181355" y="4282909"/>
                  <a:pt x="1183678" y="4284355"/>
                </a:cubicBezTo>
                <a:lnTo>
                  <a:pt x="1186777" y="4288278"/>
                </a:lnTo>
                <a:lnTo>
                  <a:pt x="1187242" y="4288278"/>
                </a:lnTo>
                <a:cubicBezTo>
                  <a:pt x="1188945" y="4290034"/>
                  <a:pt x="1189875" y="4292615"/>
                  <a:pt x="1189100" y="4293441"/>
                </a:cubicBezTo>
                <a:cubicBezTo>
                  <a:pt x="1187861" y="4294680"/>
                  <a:pt x="1186777" y="4295919"/>
                  <a:pt x="1185073" y="4295403"/>
                </a:cubicBezTo>
                <a:cubicBezTo>
                  <a:pt x="1184608" y="4295197"/>
                  <a:pt x="1183988" y="4294783"/>
                  <a:pt x="1183369" y="4294164"/>
                </a:cubicBezTo>
                <a:cubicBezTo>
                  <a:pt x="1183369" y="4294164"/>
                  <a:pt x="1183214" y="4294061"/>
                  <a:pt x="1183214" y="4293235"/>
                </a:cubicBezTo>
                <a:lnTo>
                  <a:pt x="1183214" y="4291789"/>
                </a:lnTo>
                <a:lnTo>
                  <a:pt x="1177948" y="4295609"/>
                </a:lnTo>
                <a:cubicBezTo>
                  <a:pt x="1174230" y="4297365"/>
                  <a:pt x="1169893" y="4298398"/>
                  <a:pt x="1164472" y="4298088"/>
                </a:cubicBezTo>
                <a:cubicBezTo>
                  <a:pt x="1160599" y="4293647"/>
                  <a:pt x="1162148" y="4289311"/>
                  <a:pt x="1166020" y="4286420"/>
                </a:cubicBezTo>
                <a:lnTo>
                  <a:pt x="1166330" y="4286420"/>
                </a:lnTo>
                <a:lnTo>
                  <a:pt x="1166020" y="4285697"/>
                </a:lnTo>
                <a:cubicBezTo>
                  <a:pt x="1165091" y="4284045"/>
                  <a:pt x="1164162" y="4282289"/>
                  <a:pt x="1164162" y="4282289"/>
                </a:cubicBezTo>
                <a:lnTo>
                  <a:pt x="1165246" y="4280844"/>
                </a:lnTo>
                <a:lnTo>
                  <a:pt x="1156262" y="4291582"/>
                </a:lnTo>
                <a:lnTo>
                  <a:pt x="1149137" y="4291582"/>
                </a:lnTo>
                <a:lnTo>
                  <a:pt x="1149137" y="4291789"/>
                </a:lnTo>
                <a:cubicBezTo>
                  <a:pt x="1149137" y="4291996"/>
                  <a:pt x="1149446" y="4292202"/>
                  <a:pt x="1149446" y="4292615"/>
                </a:cubicBezTo>
                <a:cubicBezTo>
                  <a:pt x="1149446" y="4292615"/>
                  <a:pt x="1149446" y="4291789"/>
                  <a:pt x="1150221" y="4292718"/>
                </a:cubicBezTo>
                <a:cubicBezTo>
                  <a:pt x="1149446" y="4292615"/>
                  <a:pt x="1149446" y="4293544"/>
                  <a:pt x="1149446" y="4294370"/>
                </a:cubicBezTo>
                <a:cubicBezTo>
                  <a:pt x="1147588" y="4295919"/>
                  <a:pt x="1145109" y="4297365"/>
                  <a:pt x="1143406" y="4296229"/>
                </a:cubicBezTo>
                <a:cubicBezTo>
                  <a:pt x="1142476" y="4295300"/>
                  <a:pt x="1142321" y="4294370"/>
                  <a:pt x="1142476" y="4293647"/>
                </a:cubicBezTo>
                <a:lnTo>
                  <a:pt x="1143251" y="4292409"/>
                </a:lnTo>
                <a:lnTo>
                  <a:pt x="1137984" y="4293441"/>
                </a:lnTo>
                <a:cubicBezTo>
                  <a:pt x="1131634" y="4294577"/>
                  <a:pt x="1125438" y="4294990"/>
                  <a:pt x="1120791" y="4290653"/>
                </a:cubicBezTo>
                <a:cubicBezTo>
                  <a:pt x="1119242" y="4279811"/>
                  <a:pt x="1113201" y="4278779"/>
                  <a:pt x="1109793" y="4273100"/>
                </a:cubicBezTo>
                <a:lnTo>
                  <a:pt x="1110258" y="4267111"/>
                </a:lnTo>
                <a:lnTo>
                  <a:pt x="1107005" y="4267421"/>
                </a:lnTo>
                <a:cubicBezTo>
                  <a:pt x="1104062" y="4267524"/>
                  <a:pt x="1101429" y="4267317"/>
                  <a:pt x="1099105" y="4267317"/>
                </a:cubicBezTo>
                <a:cubicBezTo>
                  <a:pt x="1095078" y="4267317"/>
                  <a:pt x="1091671" y="4266801"/>
                  <a:pt x="1087798" y="4268453"/>
                </a:cubicBezTo>
                <a:cubicBezTo>
                  <a:pt x="1086559" y="4265252"/>
                  <a:pt x="1083771" y="4264116"/>
                  <a:pt x="1077419" y="4264633"/>
                </a:cubicBezTo>
                <a:cubicBezTo>
                  <a:pt x="1077419" y="4263600"/>
                  <a:pt x="1080363" y="4264116"/>
                  <a:pt x="1082066" y="4263600"/>
                </a:cubicBezTo>
                <a:cubicBezTo>
                  <a:pt x="1082531" y="4260812"/>
                  <a:pt x="1078504" y="4261432"/>
                  <a:pt x="1077419" y="4260296"/>
                </a:cubicBezTo>
                <a:cubicBezTo>
                  <a:pt x="1075716" y="4261432"/>
                  <a:pt x="1078039" y="4263600"/>
                  <a:pt x="1071689" y="4262568"/>
                </a:cubicBezTo>
                <a:cubicBezTo>
                  <a:pt x="1072308" y="4260915"/>
                  <a:pt x="1076335" y="4261432"/>
                  <a:pt x="1074631" y="4258231"/>
                </a:cubicBezTo>
                <a:cubicBezTo>
                  <a:pt x="1080827" y="4256579"/>
                  <a:pt x="1085939" y="4260399"/>
                  <a:pt x="1085939" y="4253894"/>
                </a:cubicBezTo>
                <a:cubicBezTo>
                  <a:pt x="1089502" y="4258231"/>
                  <a:pt x="1093374" y="4257095"/>
                  <a:pt x="1097401" y="4254927"/>
                </a:cubicBezTo>
                <a:cubicBezTo>
                  <a:pt x="1099415" y="4254101"/>
                  <a:pt x="1101739" y="4253068"/>
                  <a:pt x="1104217" y="4252345"/>
                </a:cubicBezTo>
                <a:lnTo>
                  <a:pt x="1110723" y="4252242"/>
                </a:lnTo>
                <a:lnTo>
                  <a:pt x="1109793" y="4251003"/>
                </a:lnTo>
                <a:lnTo>
                  <a:pt x="1110723" y="4250797"/>
                </a:lnTo>
                <a:lnTo>
                  <a:pt x="1109174" y="4249454"/>
                </a:lnTo>
                <a:cubicBezTo>
                  <a:pt x="1107625" y="4249247"/>
                  <a:pt x="1105920" y="4249764"/>
                  <a:pt x="1104217" y="4250590"/>
                </a:cubicBezTo>
                <a:cubicBezTo>
                  <a:pt x="1100809" y="4251622"/>
                  <a:pt x="1097401" y="4252758"/>
                  <a:pt x="1096317" y="4249557"/>
                </a:cubicBezTo>
                <a:cubicBezTo>
                  <a:pt x="1091206" y="4250074"/>
                  <a:pt x="1089347" y="4253791"/>
                  <a:pt x="1084855" y="4251726"/>
                </a:cubicBezTo>
                <a:cubicBezTo>
                  <a:pt x="1084855" y="4249557"/>
                  <a:pt x="1089502" y="4251209"/>
                  <a:pt x="1090586" y="4249557"/>
                </a:cubicBezTo>
                <a:cubicBezTo>
                  <a:pt x="1088263" y="4246873"/>
                  <a:pt x="1080208" y="4249041"/>
                  <a:pt x="1077419" y="4249557"/>
                </a:cubicBezTo>
                <a:cubicBezTo>
                  <a:pt x="1077419" y="4250590"/>
                  <a:pt x="1079124" y="4250074"/>
                  <a:pt x="1080363" y="4250590"/>
                </a:cubicBezTo>
                <a:cubicBezTo>
                  <a:pt x="1078659" y="4251106"/>
                  <a:pt x="1067816" y="4252242"/>
                  <a:pt x="1071689" y="4249557"/>
                </a:cubicBezTo>
                <a:cubicBezTo>
                  <a:pt x="1068901" y="4250074"/>
                  <a:pt x="1066112" y="4250590"/>
                  <a:pt x="1064408" y="4252242"/>
                </a:cubicBezTo>
                <a:lnTo>
                  <a:pt x="1063324" y="4251932"/>
                </a:lnTo>
                <a:cubicBezTo>
                  <a:pt x="1060381" y="4254823"/>
                  <a:pt x="1056509" y="4257714"/>
                  <a:pt x="1053101" y="4257921"/>
                </a:cubicBezTo>
                <a:cubicBezTo>
                  <a:pt x="1052017" y="4257921"/>
                  <a:pt x="1050932" y="4257714"/>
                  <a:pt x="1050003" y="4257095"/>
                </a:cubicBezTo>
                <a:lnTo>
                  <a:pt x="1049693" y="4256475"/>
                </a:lnTo>
                <a:lnTo>
                  <a:pt x="1048919" y="4258231"/>
                </a:lnTo>
                <a:cubicBezTo>
                  <a:pt x="1048144" y="4258128"/>
                  <a:pt x="1047370" y="4257095"/>
                  <a:pt x="1046441" y="4256992"/>
                </a:cubicBezTo>
                <a:cubicBezTo>
                  <a:pt x="1046595" y="4256063"/>
                  <a:pt x="1046595" y="4254307"/>
                  <a:pt x="1047525" y="4253584"/>
                </a:cubicBezTo>
                <a:cubicBezTo>
                  <a:pt x="1047525" y="4253068"/>
                  <a:pt x="1048144" y="4253171"/>
                  <a:pt x="1048919" y="4253378"/>
                </a:cubicBezTo>
                <a:lnTo>
                  <a:pt x="1049229" y="4253584"/>
                </a:lnTo>
                <a:lnTo>
                  <a:pt x="1050777" y="4251312"/>
                </a:lnTo>
                <a:lnTo>
                  <a:pt x="1047835" y="4250590"/>
                </a:lnTo>
                <a:cubicBezTo>
                  <a:pt x="1046130" y="4250074"/>
                  <a:pt x="1043807" y="4249041"/>
                  <a:pt x="1042103" y="4248421"/>
                </a:cubicBezTo>
                <a:lnTo>
                  <a:pt x="1038231" y="4248421"/>
                </a:lnTo>
                <a:lnTo>
                  <a:pt x="1039006" y="4252035"/>
                </a:lnTo>
                <a:cubicBezTo>
                  <a:pt x="1038851" y="4253687"/>
                  <a:pt x="1038231" y="4255340"/>
                  <a:pt x="1038386" y="4256888"/>
                </a:cubicBezTo>
                <a:lnTo>
                  <a:pt x="1034204" y="4256063"/>
                </a:lnTo>
                <a:lnTo>
                  <a:pt x="1030331" y="4258231"/>
                </a:lnTo>
                <a:cubicBezTo>
                  <a:pt x="1028473" y="4258850"/>
                  <a:pt x="1026769" y="4259367"/>
                  <a:pt x="1025375" y="4259986"/>
                </a:cubicBezTo>
                <a:cubicBezTo>
                  <a:pt x="1023206" y="4262361"/>
                  <a:pt x="1023206" y="4267111"/>
                  <a:pt x="1024135" y="4271654"/>
                </a:cubicBezTo>
                <a:lnTo>
                  <a:pt x="1025220" y="4275888"/>
                </a:lnTo>
                <a:lnTo>
                  <a:pt x="1026459" y="4275062"/>
                </a:lnTo>
                <a:cubicBezTo>
                  <a:pt x="1027853" y="4274648"/>
                  <a:pt x="1029402" y="4274132"/>
                  <a:pt x="1030641" y="4272997"/>
                </a:cubicBezTo>
                <a:cubicBezTo>
                  <a:pt x="1034049" y="4275991"/>
                  <a:pt x="1034823" y="4277023"/>
                  <a:pt x="1032964" y="4281050"/>
                </a:cubicBezTo>
                <a:cubicBezTo>
                  <a:pt x="1032964" y="4281050"/>
                  <a:pt x="1032190" y="4281876"/>
                  <a:pt x="1032190" y="4281876"/>
                </a:cubicBezTo>
                <a:lnTo>
                  <a:pt x="1030176" y="4283115"/>
                </a:lnTo>
                <a:lnTo>
                  <a:pt x="1032964" y="4284768"/>
                </a:lnTo>
                <a:cubicBezTo>
                  <a:pt x="1037612" y="4286110"/>
                  <a:pt x="1040864" y="4283219"/>
                  <a:pt x="1043807" y="4285387"/>
                </a:cubicBezTo>
                <a:cubicBezTo>
                  <a:pt x="1047525" y="4288175"/>
                  <a:pt x="1044582" y="4293028"/>
                  <a:pt x="1044582" y="4293028"/>
                </a:cubicBezTo>
                <a:cubicBezTo>
                  <a:pt x="1041639" y="4295403"/>
                  <a:pt x="1036373" y="4293751"/>
                  <a:pt x="1033739" y="4293544"/>
                </a:cubicBezTo>
                <a:cubicBezTo>
                  <a:pt x="1030951" y="4294680"/>
                  <a:pt x="1029402" y="4297055"/>
                  <a:pt x="1028008" y="4298294"/>
                </a:cubicBezTo>
                <a:cubicBezTo>
                  <a:pt x="1029247" y="4300256"/>
                  <a:pt x="1027078" y="4305832"/>
                  <a:pt x="1024600" y="4310995"/>
                </a:cubicBezTo>
                <a:lnTo>
                  <a:pt x="1023051" y="4313782"/>
                </a:lnTo>
                <a:lnTo>
                  <a:pt x="1024445" y="4314196"/>
                </a:lnTo>
                <a:cubicBezTo>
                  <a:pt x="1026459" y="4319462"/>
                  <a:pt x="1029092" y="4324005"/>
                  <a:pt x="1031571" y="4328548"/>
                </a:cubicBezTo>
                <a:lnTo>
                  <a:pt x="1032345" y="4329891"/>
                </a:lnTo>
                <a:lnTo>
                  <a:pt x="1033584" y="4327722"/>
                </a:lnTo>
                <a:cubicBezTo>
                  <a:pt x="1034513" y="4327000"/>
                  <a:pt x="1036373" y="4326380"/>
                  <a:pt x="1038386" y="4326173"/>
                </a:cubicBezTo>
                <a:cubicBezTo>
                  <a:pt x="1040554" y="4326070"/>
                  <a:pt x="1042568" y="4326277"/>
                  <a:pt x="1043807" y="4327309"/>
                </a:cubicBezTo>
                <a:cubicBezTo>
                  <a:pt x="1042878" y="4328858"/>
                  <a:pt x="1042103" y="4330407"/>
                  <a:pt x="1041174" y="4331956"/>
                </a:cubicBezTo>
                <a:cubicBezTo>
                  <a:pt x="1041174" y="4331130"/>
                  <a:pt x="1033429" y="4331956"/>
                  <a:pt x="1033429" y="4331956"/>
                </a:cubicBezTo>
                <a:lnTo>
                  <a:pt x="1032500" y="4330407"/>
                </a:lnTo>
                <a:lnTo>
                  <a:pt x="1038851" y="4342798"/>
                </a:lnTo>
                <a:cubicBezTo>
                  <a:pt x="1032190" y="4351678"/>
                  <a:pt x="1035288" y="4369954"/>
                  <a:pt x="1023516" y="4374910"/>
                </a:cubicBezTo>
                <a:lnTo>
                  <a:pt x="1020728" y="4374497"/>
                </a:lnTo>
                <a:lnTo>
                  <a:pt x="1020418" y="4374807"/>
                </a:lnTo>
                <a:cubicBezTo>
                  <a:pt x="1019643" y="4375427"/>
                  <a:pt x="1018714" y="4375840"/>
                  <a:pt x="1017630" y="4375736"/>
                </a:cubicBezTo>
                <a:lnTo>
                  <a:pt x="1016081" y="4374704"/>
                </a:lnTo>
                <a:lnTo>
                  <a:pt x="1011279" y="4375633"/>
                </a:lnTo>
                <a:lnTo>
                  <a:pt x="1010350" y="4375530"/>
                </a:lnTo>
                <a:lnTo>
                  <a:pt x="1008646" y="4376046"/>
                </a:lnTo>
                <a:lnTo>
                  <a:pt x="1009111" y="4379350"/>
                </a:lnTo>
                <a:cubicBezTo>
                  <a:pt x="1008646" y="4380486"/>
                  <a:pt x="1007717" y="4381106"/>
                  <a:pt x="1006787" y="4381415"/>
                </a:cubicBezTo>
                <a:cubicBezTo>
                  <a:pt x="1005703" y="4381725"/>
                  <a:pt x="1004464" y="4381622"/>
                  <a:pt x="1003379" y="4381209"/>
                </a:cubicBezTo>
                <a:cubicBezTo>
                  <a:pt x="1002450" y="4381209"/>
                  <a:pt x="1001830" y="4380693"/>
                  <a:pt x="1001366" y="4379867"/>
                </a:cubicBezTo>
                <a:cubicBezTo>
                  <a:pt x="1000901" y="4378937"/>
                  <a:pt x="1000746" y="4377905"/>
                  <a:pt x="1000901" y="4376975"/>
                </a:cubicBezTo>
                <a:lnTo>
                  <a:pt x="1000901" y="4376769"/>
                </a:lnTo>
                <a:lnTo>
                  <a:pt x="993621" y="4372948"/>
                </a:lnTo>
                <a:lnTo>
                  <a:pt x="992846" y="4376975"/>
                </a:lnTo>
                <a:cubicBezTo>
                  <a:pt x="993156" y="4379557"/>
                  <a:pt x="994240" y="4381829"/>
                  <a:pt x="996099" y="4383790"/>
                </a:cubicBezTo>
                <a:cubicBezTo>
                  <a:pt x="998577" y="4386475"/>
                  <a:pt x="1001366" y="4386785"/>
                  <a:pt x="1005238" y="4389573"/>
                </a:cubicBezTo>
                <a:cubicBezTo>
                  <a:pt x="1007717" y="4392257"/>
                  <a:pt x="1008801" y="4393600"/>
                  <a:pt x="1007407" y="4394736"/>
                </a:cubicBezTo>
                <a:cubicBezTo>
                  <a:pt x="1007407" y="4394736"/>
                  <a:pt x="1007407" y="4394839"/>
                  <a:pt x="1015152" y="4400414"/>
                </a:cubicBezTo>
                <a:cubicBezTo>
                  <a:pt x="1016391" y="4401757"/>
                  <a:pt x="1016236" y="4402996"/>
                  <a:pt x="1016236" y="4402996"/>
                </a:cubicBezTo>
                <a:cubicBezTo>
                  <a:pt x="1016236" y="4402996"/>
                  <a:pt x="1016236" y="4402996"/>
                  <a:pt x="1013758" y="4401550"/>
                </a:cubicBezTo>
                <a:cubicBezTo>
                  <a:pt x="1013758" y="4401550"/>
                  <a:pt x="1012364" y="4400208"/>
                  <a:pt x="1011124" y="4398866"/>
                </a:cubicBezTo>
                <a:cubicBezTo>
                  <a:pt x="1011124" y="4398866"/>
                  <a:pt x="1009885" y="4398763"/>
                  <a:pt x="1008491" y="4398659"/>
                </a:cubicBezTo>
                <a:cubicBezTo>
                  <a:pt x="1007252" y="4397317"/>
                  <a:pt x="1009885" y="4397420"/>
                  <a:pt x="1007407" y="4395975"/>
                </a:cubicBezTo>
                <a:cubicBezTo>
                  <a:pt x="1007407" y="4395975"/>
                  <a:pt x="997958" y="4395355"/>
                  <a:pt x="999352" y="4395458"/>
                </a:cubicBezTo>
                <a:cubicBezTo>
                  <a:pt x="996873" y="4392774"/>
                  <a:pt x="995790" y="4388953"/>
                  <a:pt x="993156" y="4387508"/>
                </a:cubicBezTo>
                <a:cubicBezTo>
                  <a:pt x="989438" y="4383377"/>
                  <a:pt x="984172" y="4383068"/>
                  <a:pt x="978596" y="4386475"/>
                </a:cubicBezTo>
                <a:cubicBezTo>
                  <a:pt x="974104" y="4392567"/>
                  <a:pt x="971780" y="4405061"/>
                  <a:pt x="975498" y="4407849"/>
                </a:cubicBezTo>
                <a:cubicBezTo>
                  <a:pt x="968528" y="4412496"/>
                  <a:pt x="948546" y="4411153"/>
                  <a:pt x="946997" y="4413528"/>
                </a:cubicBezTo>
                <a:cubicBezTo>
                  <a:pt x="946533" y="4414148"/>
                  <a:pt x="946378" y="4415180"/>
                  <a:pt x="946068" y="4416316"/>
                </a:cubicBezTo>
                <a:lnTo>
                  <a:pt x="945913" y="4418071"/>
                </a:lnTo>
                <a:lnTo>
                  <a:pt x="947617" y="4419310"/>
                </a:lnTo>
                <a:cubicBezTo>
                  <a:pt x="948856" y="4421066"/>
                  <a:pt x="948856" y="4423544"/>
                  <a:pt x="949166" y="4426848"/>
                </a:cubicBezTo>
                <a:cubicBezTo>
                  <a:pt x="948856" y="4426125"/>
                  <a:pt x="948391" y="4427261"/>
                  <a:pt x="948391" y="4427261"/>
                </a:cubicBezTo>
                <a:cubicBezTo>
                  <a:pt x="947617" y="4429739"/>
                  <a:pt x="952573" y="4427674"/>
                  <a:pt x="952264" y="4430875"/>
                </a:cubicBezTo>
                <a:cubicBezTo>
                  <a:pt x="951179" y="4435935"/>
                  <a:pt x="945293" y="4438000"/>
                  <a:pt x="942040" y="4438929"/>
                </a:cubicBezTo>
                <a:lnTo>
                  <a:pt x="940182" y="4439445"/>
                </a:lnTo>
                <a:lnTo>
                  <a:pt x="940646" y="4440168"/>
                </a:lnTo>
                <a:lnTo>
                  <a:pt x="939407" y="4439858"/>
                </a:lnTo>
                <a:lnTo>
                  <a:pt x="939252" y="4439962"/>
                </a:lnTo>
                <a:cubicBezTo>
                  <a:pt x="938788" y="4439239"/>
                  <a:pt x="938013" y="4439652"/>
                  <a:pt x="938478" y="4440375"/>
                </a:cubicBezTo>
                <a:cubicBezTo>
                  <a:pt x="936929" y="4440375"/>
                  <a:pt x="935690" y="4440375"/>
                  <a:pt x="934915" y="4440065"/>
                </a:cubicBezTo>
                <a:cubicBezTo>
                  <a:pt x="934140" y="4439755"/>
                  <a:pt x="933986" y="4439239"/>
                  <a:pt x="934296" y="4438103"/>
                </a:cubicBezTo>
                <a:cubicBezTo>
                  <a:pt x="934296" y="4436141"/>
                  <a:pt x="936155" y="4435935"/>
                  <a:pt x="936774" y="4433457"/>
                </a:cubicBezTo>
                <a:cubicBezTo>
                  <a:pt x="937238" y="4431288"/>
                  <a:pt x="935225" y="4430049"/>
                  <a:pt x="933521" y="4428191"/>
                </a:cubicBezTo>
                <a:lnTo>
                  <a:pt x="932282" y="4426435"/>
                </a:lnTo>
                <a:lnTo>
                  <a:pt x="931198" y="4426538"/>
                </a:lnTo>
                <a:cubicBezTo>
                  <a:pt x="931198" y="4427777"/>
                  <a:pt x="936309" y="4429430"/>
                  <a:pt x="933366" y="4433043"/>
                </a:cubicBezTo>
                <a:cubicBezTo>
                  <a:pt x="930578" y="4435418"/>
                  <a:pt x="929339" y="4434076"/>
                  <a:pt x="927945" y="4433973"/>
                </a:cubicBezTo>
                <a:cubicBezTo>
                  <a:pt x="922988" y="4429843"/>
                  <a:pt x="927170" y="4427468"/>
                  <a:pt x="924693" y="4424783"/>
                </a:cubicBezTo>
                <a:cubicBezTo>
                  <a:pt x="918961" y="4428191"/>
                  <a:pt x="911061" y="4427777"/>
                  <a:pt x="908118" y="4430049"/>
                </a:cubicBezTo>
                <a:cubicBezTo>
                  <a:pt x="906569" y="4432527"/>
                  <a:pt x="908428" y="4442749"/>
                  <a:pt x="909668" y="4444092"/>
                </a:cubicBezTo>
                <a:cubicBezTo>
                  <a:pt x="910441" y="4444815"/>
                  <a:pt x="911371" y="4445021"/>
                  <a:pt x="912455" y="4445021"/>
                </a:cubicBezTo>
                <a:lnTo>
                  <a:pt x="915398" y="4444608"/>
                </a:lnTo>
                <a:lnTo>
                  <a:pt x="915398" y="4443679"/>
                </a:lnTo>
                <a:lnTo>
                  <a:pt x="917257" y="4439858"/>
                </a:lnTo>
                <a:lnTo>
                  <a:pt x="915863" y="4439342"/>
                </a:lnTo>
                <a:cubicBezTo>
                  <a:pt x="915243" y="4438310"/>
                  <a:pt x="914779" y="4436864"/>
                  <a:pt x="914469" y="4435522"/>
                </a:cubicBezTo>
                <a:cubicBezTo>
                  <a:pt x="914934" y="4436244"/>
                  <a:pt x="914934" y="4436244"/>
                  <a:pt x="914934" y="4436244"/>
                </a:cubicBezTo>
                <a:cubicBezTo>
                  <a:pt x="916018" y="4436451"/>
                  <a:pt x="915708" y="4435728"/>
                  <a:pt x="916328" y="4435315"/>
                </a:cubicBezTo>
                <a:cubicBezTo>
                  <a:pt x="916328" y="4435315"/>
                  <a:pt x="915708" y="4435728"/>
                  <a:pt x="916018" y="4434489"/>
                </a:cubicBezTo>
                <a:cubicBezTo>
                  <a:pt x="916328" y="4435315"/>
                  <a:pt x="917102" y="4434799"/>
                  <a:pt x="917876" y="4434386"/>
                </a:cubicBezTo>
                <a:cubicBezTo>
                  <a:pt x="920200" y="4434902"/>
                  <a:pt x="922833" y="4436244"/>
                  <a:pt x="922833" y="4438206"/>
                </a:cubicBezTo>
                <a:lnTo>
                  <a:pt x="921594" y="4439858"/>
                </a:lnTo>
                <a:lnTo>
                  <a:pt x="923763" y="4439962"/>
                </a:lnTo>
                <a:cubicBezTo>
                  <a:pt x="924537" y="4440168"/>
                  <a:pt x="925157" y="4440581"/>
                  <a:pt x="925776" y="4441407"/>
                </a:cubicBezTo>
                <a:lnTo>
                  <a:pt x="928409" y="4444608"/>
                </a:lnTo>
                <a:lnTo>
                  <a:pt x="929494" y="4443059"/>
                </a:lnTo>
                <a:cubicBezTo>
                  <a:pt x="929959" y="4442440"/>
                  <a:pt x="930733" y="4442027"/>
                  <a:pt x="931507" y="4441924"/>
                </a:cubicBezTo>
                <a:cubicBezTo>
                  <a:pt x="932127" y="4441924"/>
                  <a:pt x="932747" y="4442027"/>
                  <a:pt x="933521" y="4442440"/>
                </a:cubicBezTo>
                <a:cubicBezTo>
                  <a:pt x="933521" y="4442440"/>
                  <a:pt x="933521" y="4442440"/>
                  <a:pt x="933676" y="4443266"/>
                </a:cubicBezTo>
                <a:cubicBezTo>
                  <a:pt x="934140" y="4444815"/>
                  <a:pt x="934296" y="4445641"/>
                  <a:pt x="934605" y="4446467"/>
                </a:cubicBezTo>
                <a:cubicBezTo>
                  <a:pt x="934296" y="4446983"/>
                  <a:pt x="933676" y="4447912"/>
                  <a:pt x="932902" y="4448635"/>
                </a:cubicBezTo>
                <a:lnTo>
                  <a:pt x="931043" y="4449565"/>
                </a:lnTo>
                <a:lnTo>
                  <a:pt x="931353" y="4450494"/>
                </a:lnTo>
                <a:cubicBezTo>
                  <a:pt x="931507" y="4452869"/>
                  <a:pt x="930423" y="4454831"/>
                  <a:pt x="929029" y="4457722"/>
                </a:cubicBezTo>
                <a:cubicBezTo>
                  <a:pt x="929029" y="4456793"/>
                  <a:pt x="928100" y="4457515"/>
                  <a:pt x="928100" y="4457515"/>
                </a:cubicBezTo>
                <a:cubicBezTo>
                  <a:pt x="926396" y="4459064"/>
                  <a:pt x="931353" y="4460716"/>
                  <a:pt x="929494" y="4463091"/>
                </a:cubicBezTo>
                <a:cubicBezTo>
                  <a:pt x="927790" y="4464743"/>
                  <a:pt x="925466" y="4465053"/>
                  <a:pt x="923143" y="4464640"/>
                </a:cubicBezTo>
                <a:cubicBezTo>
                  <a:pt x="920819" y="4464330"/>
                  <a:pt x="918651" y="4463298"/>
                  <a:pt x="917102" y="4462575"/>
                </a:cubicBezTo>
                <a:lnTo>
                  <a:pt x="915398" y="4461645"/>
                </a:lnTo>
                <a:lnTo>
                  <a:pt x="915398" y="4462575"/>
                </a:lnTo>
                <a:lnTo>
                  <a:pt x="914469" y="4461542"/>
                </a:lnTo>
                <a:lnTo>
                  <a:pt x="914469" y="4461645"/>
                </a:lnTo>
                <a:cubicBezTo>
                  <a:pt x="914469" y="4466395"/>
                  <a:pt x="913849" y="4470422"/>
                  <a:pt x="913229" y="4471042"/>
                </a:cubicBezTo>
                <a:cubicBezTo>
                  <a:pt x="911061" y="4467118"/>
                  <a:pt x="909202" y="4463298"/>
                  <a:pt x="907344" y="4459787"/>
                </a:cubicBezTo>
                <a:lnTo>
                  <a:pt x="902542" y="4450391"/>
                </a:lnTo>
                <a:lnTo>
                  <a:pt x="902232" y="4450494"/>
                </a:lnTo>
                <a:lnTo>
                  <a:pt x="902542" y="4450287"/>
                </a:lnTo>
                <a:lnTo>
                  <a:pt x="902232" y="4449771"/>
                </a:lnTo>
                <a:lnTo>
                  <a:pt x="901767" y="4448842"/>
                </a:lnTo>
                <a:lnTo>
                  <a:pt x="899444" y="4449461"/>
                </a:lnTo>
                <a:cubicBezTo>
                  <a:pt x="898825" y="4449151"/>
                  <a:pt x="898204" y="4448635"/>
                  <a:pt x="897740" y="4448119"/>
                </a:cubicBezTo>
                <a:cubicBezTo>
                  <a:pt x="896501" y="4447500"/>
                  <a:pt x="895881" y="4446260"/>
                  <a:pt x="895881" y="4444918"/>
                </a:cubicBezTo>
                <a:lnTo>
                  <a:pt x="896037" y="4443989"/>
                </a:lnTo>
                <a:lnTo>
                  <a:pt x="895417" y="4444608"/>
                </a:lnTo>
                <a:cubicBezTo>
                  <a:pt x="894332" y="4445021"/>
                  <a:pt x="893093" y="4445021"/>
                  <a:pt x="892009" y="4444815"/>
                </a:cubicBezTo>
                <a:cubicBezTo>
                  <a:pt x="891080" y="4444918"/>
                  <a:pt x="890305" y="4444299"/>
                  <a:pt x="889840" y="4443576"/>
                </a:cubicBezTo>
                <a:cubicBezTo>
                  <a:pt x="889221" y="4442749"/>
                  <a:pt x="888911" y="4441717"/>
                  <a:pt x="888911" y="4440788"/>
                </a:cubicBezTo>
                <a:cubicBezTo>
                  <a:pt x="889376" y="4439549"/>
                  <a:pt x="889376" y="4439549"/>
                  <a:pt x="889685" y="4438413"/>
                </a:cubicBezTo>
                <a:cubicBezTo>
                  <a:pt x="890460" y="4437897"/>
                  <a:pt x="891080" y="4437380"/>
                  <a:pt x="891854" y="4436761"/>
                </a:cubicBezTo>
                <a:lnTo>
                  <a:pt x="893404" y="4436038"/>
                </a:lnTo>
                <a:lnTo>
                  <a:pt x="892938" y="4435418"/>
                </a:lnTo>
                <a:cubicBezTo>
                  <a:pt x="889066" y="4432527"/>
                  <a:pt x="889066" y="4433870"/>
                  <a:pt x="884884" y="4436141"/>
                </a:cubicBezTo>
                <a:cubicBezTo>
                  <a:pt x="884884" y="4436141"/>
                  <a:pt x="884729" y="4436038"/>
                  <a:pt x="875280" y="4436761"/>
                </a:cubicBezTo>
                <a:cubicBezTo>
                  <a:pt x="870169" y="4435109"/>
                  <a:pt x="865987" y="4436038"/>
                  <a:pt x="861959" y="4435832"/>
                </a:cubicBezTo>
                <a:cubicBezTo>
                  <a:pt x="861959" y="4435832"/>
                  <a:pt x="861959" y="4435832"/>
                  <a:pt x="854834" y="4442956"/>
                </a:cubicBezTo>
                <a:cubicBezTo>
                  <a:pt x="847399" y="4451423"/>
                  <a:pt x="849102" y="4465466"/>
                  <a:pt x="849102" y="4465466"/>
                </a:cubicBezTo>
                <a:cubicBezTo>
                  <a:pt x="848947" y="4466808"/>
                  <a:pt x="846934" y="4475585"/>
                  <a:pt x="848328" y="4475585"/>
                </a:cubicBezTo>
                <a:cubicBezTo>
                  <a:pt x="845540" y="4476721"/>
                  <a:pt x="843991" y="4479096"/>
                  <a:pt x="841357" y="4480232"/>
                </a:cubicBezTo>
                <a:cubicBezTo>
                  <a:pt x="835007" y="4473417"/>
                  <a:pt x="853595" y="4441614"/>
                  <a:pt x="844611" y="4434696"/>
                </a:cubicBezTo>
                <a:cubicBezTo>
                  <a:pt x="842132" y="4431908"/>
                  <a:pt x="827108" y="4436038"/>
                  <a:pt x="825868" y="4434696"/>
                </a:cubicBezTo>
                <a:lnTo>
                  <a:pt x="822306" y="4439239"/>
                </a:lnTo>
                <a:lnTo>
                  <a:pt x="823235" y="4440891"/>
                </a:lnTo>
                <a:cubicBezTo>
                  <a:pt x="823080" y="4442543"/>
                  <a:pt x="821841" y="4444195"/>
                  <a:pt x="819208" y="4444815"/>
                </a:cubicBezTo>
                <a:lnTo>
                  <a:pt x="818898" y="4443472"/>
                </a:lnTo>
                <a:lnTo>
                  <a:pt x="818743" y="4443472"/>
                </a:lnTo>
                <a:cubicBezTo>
                  <a:pt x="817504" y="4444815"/>
                  <a:pt x="815800" y="4448326"/>
                  <a:pt x="813012" y="4445228"/>
                </a:cubicBezTo>
                <a:cubicBezTo>
                  <a:pt x="809139" y="4442440"/>
                  <a:pt x="811308" y="4429843"/>
                  <a:pt x="810068" y="4428500"/>
                </a:cubicBezTo>
                <a:cubicBezTo>
                  <a:pt x="803563" y="4422408"/>
                  <a:pt x="795354" y="4427571"/>
                  <a:pt x="790087" y="4428810"/>
                </a:cubicBezTo>
                <a:lnTo>
                  <a:pt x="789467" y="4428707"/>
                </a:lnTo>
                <a:lnTo>
                  <a:pt x="787609" y="4431495"/>
                </a:lnTo>
                <a:cubicBezTo>
                  <a:pt x="785286" y="4435832"/>
                  <a:pt x="783582" y="4440168"/>
                  <a:pt x="781103" y="4444505"/>
                </a:cubicBezTo>
                <a:lnTo>
                  <a:pt x="780174" y="4445847"/>
                </a:lnTo>
                <a:lnTo>
                  <a:pt x="782962" y="4447706"/>
                </a:lnTo>
                <a:lnTo>
                  <a:pt x="782652" y="4448635"/>
                </a:lnTo>
                <a:lnTo>
                  <a:pt x="783736" y="4448739"/>
                </a:lnTo>
                <a:cubicBezTo>
                  <a:pt x="784666" y="4448945"/>
                  <a:pt x="785440" y="4449461"/>
                  <a:pt x="786370" y="4450287"/>
                </a:cubicBezTo>
                <a:cubicBezTo>
                  <a:pt x="789003" y="4453075"/>
                  <a:pt x="791017" y="4459168"/>
                  <a:pt x="788538" y="4461645"/>
                </a:cubicBezTo>
                <a:cubicBezTo>
                  <a:pt x="786214" y="4464950"/>
                  <a:pt x="783736" y="4465776"/>
                  <a:pt x="781103" y="4465673"/>
                </a:cubicBezTo>
                <a:cubicBezTo>
                  <a:pt x="781103" y="4465673"/>
                  <a:pt x="781103" y="4465569"/>
                  <a:pt x="782033" y="4465673"/>
                </a:cubicBezTo>
                <a:cubicBezTo>
                  <a:pt x="785595" y="4469286"/>
                  <a:pt x="791636" y="4475585"/>
                  <a:pt x="791017" y="4478167"/>
                </a:cubicBezTo>
                <a:cubicBezTo>
                  <a:pt x="790087" y="4478063"/>
                  <a:pt x="789312" y="4478063"/>
                  <a:pt x="788383" y="4477134"/>
                </a:cubicBezTo>
                <a:cubicBezTo>
                  <a:pt x="787454" y="4476308"/>
                  <a:pt x="788383" y="4476308"/>
                  <a:pt x="787609" y="4476308"/>
                </a:cubicBezTo>
                <a:cubicBezTo>
                  <a:pt x="786680" y="4475379"/>
                  <a:pt x="786680" y="4476205"/>
                  <a:pt x="786680" y="4476205"/>
                </a:cubicBezTo>
                <a:cubicBezTo>
                  <a:pt x="786680" y="4476205"/>
                  <a:pt x="786680" y="4475379"/>
                  <a:pt x="786680" y="4475379"/>
                </a:cubicBezTo>
                <a:cubicBezTo>
                  <a:pt x="786680" y="4475379"/>
                  <a:pt x="786680" y="4475379"/>
                  <a:pt x="784821" y="4473520"/>
                </a:cubicBezTo>
                <a:cubicBezTo>
                  <a:pt x="782343" y="4471765"/>
                  <a:pt x="781413" y="4471661"/>
                  <a:pt x="779709" y="4470732"/>
                </a:cubicBezTo>
                <a:cubicBezTo>
                  <a:pt x="777850" y="4468873"/>
                  <a:pt x="777850" y="4468047"/>
                  <a:pt x="775992" y="4465363"/>
                </a:cubicBezTo>
                <a:cubicBezTo>
                  <a:pt x="776766" y="4463711"/>
                  <a:pt x="776766" y="4463711"/>
                  <a:pt x="777696" y="4463711"/>
                </a:cubicBezTo>
                <a:cubicBezTo>
                  <a:pt x="776766" y="4463711"/>
                  <a:pt x="776766" y="4462884"/>
                  <a:pt x="775992" y="4461955"/>
                </a:cubicBezTo>
                <a:cubicBezTo>
                  <a:pt x="773823" y="4460510"/>
                  <a:pt x="773048" y="4458754"/>
                  <a:pt x="773358" y="4456896"/>
                </a:cubicBezTo>
                <a:lnTo>
                  <a:pt x="775372" y="4452559"/>
                </a:lnTo>
                <a:lnTo>
                  <a:pt x="775217" y="4452352"/>
                </a:lnTo>
                <a:lnTo>
                  <a:pt x="770415" y="4457206"/>
                </a:lnTo>
                <a:cubicBezTo>
                  <a:pt x="765304" y="4448945"/>
                  <a:pt x="772893" y="4431391"/>
                  <a:pt x="782962" y="4424886"/>
                </a:cubicBezTo>
                <a:lnTo>
                  <a:pt x="784356" y="4424164"/>
                </a:lnTo>
                <a:lnTo>
                  <a:pt x="783427" y="4418484"/>
                </a:lnTo>
                <a:cubicBezTo>
                  <a:pt x="782962" y="4413941"/>
                  <a:pt x="782652" y="4409501"/>
                  <a:pt x="782033" y="4408881"/>
                </a:cubicBezTo>
                <a:cubicBezTo>
                  <a:pt x="774443" y="4401964"/>
                  <a:pt x="769486" y="4414354"/>
                  <a:pt x="761741" y="4411256"/>
                </a:cubicBezTo>
                <a:cubicBezTo>
                  <a:pt x="763135" y="4410121"/>
                  <a:pt x="760502" y="4408675"/>
                  <a:pt x="762051" y="4406300"/>
                </a:cubicBezTo>
                <a:cubicBezTo>
                  <a:pt x="762206" y="4404958"/>
                  <a:pt x="764839" y="4405165"/>
                  <a:pt x="764994" y="4402686"/>
                </a:cubicBezTo>
                <a:cubicBezTo>
                  <a:pt x="772274" y="4395562"/>
                  <a:pt x="756475" y="4389366"/>
                  <a:pt x="759418" y="4386991"/>
                </a:cubicBezTo>
                <a:cubicBezTo>
                  <a:pt x="755545" y="4384203"/>
                  <a:pt x="750433" y="4381312"/>
                  <a:pt x="745942" y="4387404"/>
                </a:cubicBezTo>
                <a:cubicBezTo>
                  <a:pt x="744703" y="4387301"/>
                  <a:pt x="744393" y="4389779"/>
                  <a:pt x="744393" y="4389779"/>
                </a:cubicBezTo>
                <a:cubicBezTo>
                  <a:pt x="741914" y="4388334"/>
                  <a:pt x="740211" y="4392051"/>
                  <a:pt x="738817" y="4393187"/>
                </a:cubicBezTo>
                <a:cubicBezTo>
                  <a:pt x="738817" y="4393187"/>
                  <a:pt x="738817" y="4393290"/>
                  <a:pt x="734944" y="4390502"/>
                </a:cubicBezTo>
                <a:cubicBezTo>
                  <a:pt x="738042" y="4386888"/>
                  <a:pt x="733860" y="4387817"/>
                  <a:pt x="736803" y="4384203"/>
                </a:cubicBezTo>
                <a:cubicBezTo>
                  <a:pt x="736803" y="4384203"/>
                  <a:pt x="736803" y="4384203"/>
                  <a:pt x="741140" y="4380693"/>
                </a:cubicBezTo>
                <a:cubicBezTo>
                  <a:pt x="742379" y="4380693"/>
                  <a:pt x="742379" y="4380796"/>
                  <a:pt x="743928" y="4379660"/>
                </a:cubicBezTo>
                <a:cubicBezTo>
                  <a:pt x="749659" y="4373671"/>
                  <a:pt x="747181" y="4370986"/>
                  <a:pt x="743309" y="4368096"/>
                </a:cubicBezTo>
                <a:cubicBezTo>
                  <a:pt x="739591" y="4365307"/>
                  <a:pt x="731536" y="4364791"/>
                  <a:pt x="730143" y="4364688"/>
                </a:cubicBezTo>
                <a:cubicBezTo>
                  <a:pt x="730607" y="4359629"/>
                  <a:pt x="737887" y="4351265"/>
                  <a:pt x="731691" y="4344450"/>
                </a:cubicBezTo>
                <a:cubicBezTo>
                  <a:pt x="727819" y="4341662"/>
                  <a:pt x="718835" y="4353743"/>
                  <a:pt x="712639" y="4348270"/>
                </a:cubicBezTo>
                <a:cubicBezTo>
                  <a:pt x="710006" y="4346825"/>
                  <a:pt x="710161" y="4344243"/>
                  <a:pt x="712949" y="4343211"/>
                </a:cubicBezTo>
                <a:cubicBezTo>
                  <a:pt x="714498" y="4339494"/>
                  <a:pt x="718680" y="4338461"/>
                  <a:pt x="722553" y="4340010"/>
                </a:cubicBezTo>
                <a:cubicBezTo>
                  <a:pt x="727354" y="4330200"/>
                  <a:pt x="727974" y="4321320"/>
                  <a:pt x="720384" y="4315744"/>
                </a:cubicBezTo>
                <a:cubicBezTo>
                  <a:pt x="711399" y="4308826"/>
                  <a:pt x="708457" y="4312440"/>
                  <a:pt x="699318" y="4309239"/>
                </a:cubicBezTo>
                <a:cubicBezTo>
                  <a:pt x="700712" y="4308104"/>
                  <a:pt x="702106" y="4306865"/>
                  <a:pt x="703655" y="4305729"/>
                </a:cubicBezTo>
                <a:cubicBezTo>
                  <a:pt x="705049" y="4304490"/>
                  <a:pt x="705049" y="4304490"/>
                  <a:pt x="705204" y="4303250"/>
                </a:cubicBezTo>
                <a:cubicBezTo>
                  <a:pt x="701332" y="4300463"/>
                  <a:pt x="698389" y="4302837"/>
                  <a:pt x="693277" y="4299946"/>
                </a:cubicBezTo>
                <a:lnTo>
                  <a:pt x="700402" y="4298191"/>
                </a:lnTo>
                <a:lnTo>
                  <a:pt x="697614" y="4295919"/>
                </a:lnTo>
                <a:cubicBezTo>
                  <a:pt x="699008" y="4292822"/>
                  <a:pt x="701486" y="4290034"/>
                  <a:pt x="704585" y="4287969"/>
                </a:cubicBezTo>
                <a:lnTo>
                  <a:pt x="709851" y="4285800"/>
                </a:lnTo>
                <a:lnTo>
                  <a:pt x="710625" y="4283322"/>
                </a:lnTo>
                <a:cubicBezTo>
                  <a:pt x="713568" y="4280947"/>
                  <a:pt x="718835" y="4282599"/>
                  <a:pt x="721778" y="4278985"/>
                </a:cubicBezTo>
                <a:cubicBezTo>
                  <a:pt x="721778" y="4278985"/>
                  <a:pt x="734789" y="4264633"/>
                  <a:pt x="729833" y="4260502"/>
                </a:cubicBezTo>
                <a:cubicBezTo>
                  <a:pt x="723482" y="4254927"/>
                  <a:pt x="708457" y="4257714"/>
                  <a:pt x="704739" y="4253687"/>
                </a:cubicBezTo>
                <a:cubicBezTo>
                  <a:pt x="702106" y="4252242"/>
                  <a:pt x="703655" y="4249764"/>
                  <a:pt x="705204" y="4248628"/>
                </a:cubicBezTo>
                <a:cubicBezTo>
                  <a:pt x="705204" y="4248628"/>
                  <a:pt x="716356" y="4250074"/>
                  <a:pt x="725031" y="4247802"/>
                </a:cubicBezTo>
                <a:lnTo>
                  <a:pt x="730452" y="4245014"/>
                </a:lnTo>
                <a:lnTo>
                  <a:pt x="728593" y="4244085"/>
                </a:lnTo>
                <a:cubicBezTo>
                  <a:pt x="729523" y="4243362"/>
                  <a:pt x="728748" y="4243259"/>
                  <a:pt x="728748" y="4242433"/>
                </a:cubicBezTo>
                <a:cubicBezTo>
                  <a:pt x="729213" y="4242845"/>
                  <a:pt x="729987" y="4243259"/>
                  <a:pt x="730917" y="4243568"/>
                </a:cubicBezTo>
                <a:lnTo>
                  <a:pt x="732156" y="4244085"/>
                </a:lnTo>
                <a:lnTo>
                  <a:pt x="732311" y="4244085"/>
                </a:lnTo>
                <a:cubicBezTo>
                  <a:pt x="733860" y="4241607"/>
                  <a:pt x="731227" y="4240161"/>
                  <a:pt x="732776" y="4239025"/>
                </a:cubicBezTo>
                <a:cubicBezTo>
                  <a:pt x="732776" y="4237786"/>
                  <a:pt x="734170" y="4237889"/>
                  <a:pt x="735409" y="4237889"/>
                </a:cubicBezTo>
                <a:cubicBezTo>
                  <a:pt x="735564" y="4236650"/>
                  <a:pt x="736957" y="4235411"/>
                  <a:pt x="737113" y="4234172"/>
                </a:cubicBezTo>
                <a:cubicBezTo>
                  <a:pt x="737113" y="4234172"/>
                  <a:pt x="745322" y="4230971"/>
                  <a:pt x="746716" y="4231074"/>
                </a:cubicBezTo>
                <a:cubicBezTo>
                  <a:pt x="746716" y="4231074"/>
                  <a:pt x="748575" y="4226221"/>
                  <a:pt x="747955" y="4222607"/>
                </a:cubicBezTo>
                <a:lnTo>
                  <a:pt x="746871" y="4220645"/>
                </a:lnTo>
                <a:lnTo>
                  <a:pt x="745167" y="4220645"/>
                </a:lnTo>
                <a:lnTo>
                  <a:pt x="745167" y="4221575"/>
                </a:lnTo>
                <a:cubicBezTo>
                  <a:pt x="745012" y="4222917"/>
                  <a:pt x="744703" y="4224053"/>
                  <a:pt x="744393" y="4224879"/>
                </a:cubicBezTo>
                <a:cubicBezTo>
                  <a:pt x="743774" y="4224569"/>
                  <a:pt x="743309" y="4223846"/>
                  <a:pt x="743154" y="4222814"/>
                </a:cubicBezTo>
                <a:lnTo>
                  <a:pt x="742999" y="4220542"/>
                </a:lnTo>
                <a:lnTo>
                  <a:pt x="740831" y="4220542"/>
                </a:lnTo>
                <a:cubicBezTo>
                  <a:pt x="737887" y="4219819"/>
                  <a:pt x="734944" y="4217961"/>
                  <a:pt x="732311" y="4214760"/>
                </a:cubicBezTo>
                <a:cubicBezTo>
                  <a:pt x="730297" y="4210010"/>
                  <a:pt x="735874" y="4203092"/>
                  <a:pt x="741604" y="4200510"/>
                </a:cubicBezTo>
                <a:lnTo>
                  <a:pt x="742999" y="4200304"/>
                </a:lnTo>
                <a:lnTo>
                  <a:pt x="742224" y="4199168"/>
                </a:lnTo>
                <a:cubicBezTo>
                  <a:pt x="740365" y="4194625"/>
                  <a:pt x="742069" y="4191321"/>
                  <a:pt x="739126" y="4188223"/>
                </a:cubicBezTo>
                <a:cubicBezTo>
                  <a:pt x="740831" y="4187604"/>
                  <a:pt x="740831" y="4187604"/>
                  <a:pt x="742534" y="4188739"/>
                </a:cubicBezTo>
                <a:cubicBezTo>
                  <a:pt x="742379" y="4189566"/>
                  <a:pt x="743309" y="4189772"/>
                  <a:pt x="742379" y="4190495"/>
                </a:cubicBezTo>
                <a:cubicBezTo>
                  <a:pt x="743618" y="4191527"/>
                  <a:pt x="744703" y="4194109"/>
                  <a:pt x="745477" y="4196793"/>
                </a:cubicBezTo>
                <a:lnTo>
                  <a:pt x="745787" y="4199788"/>
                </a:lnTo>
                <a:lnTo>
                  <a:pt x="747026" y="4199581"/>
                </a:lnTo>
                <a:lnTo>
                  <a:pt x="748885" y="4201440"/>
                </a:lnTo>
                <a:lnTo>
                  <a:pt x="748730" y="4198445"/>
                </a:lnTo>
                <a:cubicBezTo>
                  <a:pt x="748420" y="4196897"/>
                  <a:pt x="747800" y="4195141"/>
                  <a:pt x="747800" y="4193592"/>
                </a:cubicBezTo>
                <a:lnTo>
                  <a:pt x="748150" y="4191187"/>
                </a:lnTo>
                <a:lnTo>
                  <a:pt x="749040" y="4190495"/>
                </a:lnTo>
                <a:cubicBezTo>
                  <a:pt x="750589" y="4194109"/>
                  <a:pt x="750278" y="4198755"/>
                  <a:pt x="750124" y="4201337"/>
                </a:cubicBezTo>
                <a:lnTo>
                  <a:pt x="749969" y="4202369"/>
                </a:lnTo>
                <a:lnTo>
                  <a:pt x="755080" y="4207222"/>
                </a:lnTo>
                <a:lnTo>
                  <a:pt x="754306" y="4211766"/>
                </a:lnTo>
                <a:lnTo>
                  <a:pt x="755080" y="4211972"/>
                </a:lnTo>
                <a:cubicBezTo>
                  <a:pt x="756785" y="4211869"/>
                  <a:pt x="758643" y="4211146"/>
                  <a:pt x="760502" y="4209081"/>
                </a:cubicBezTo>
                <a:cubicBezTo>
                  <a:pt x="763290" y="4206706"/>
                  <a:pt x="764684" y="4205570"/>
                  <a:pt x="763445" y="4204228"/>
                </a:cubicBezTo>
                <a:cubicBezTo>
                  <a:pt x="764839" y="4204331"/>
                  <a:pt x="764839" y="4202989"/>
                  <a:pt x="766233" y="4203092"/>
                </a:cubicBezTo>
                <a:cubicBezTo>
                  <a:pt x="767627" y="4203195"/>
                  <a:pt x="771035" y="4174180"/>
                  <a:pt x="771190" y="4172941"/>
                </a:cubicBezTo>
                <a:cubicBezTo>
                  <a:pt x="776921" y="4166952"/>
                  <a:pt x="782807" y="4169224"/>
                  <a:pt x="788693" y="4171392"/>
                </a:cubicBezTo>
                <a:lnTo>
                  <a:pt x="793495" y="4172528"/>
                </a:lnTo>
                <a:lnTo>
                  <a:pt x="794269" y="4167881"/>
                </a:lnTo>
                <a:cubicBezTo>
                  <a:pt x="793495" y="4166436"/>
                  <a:pt x="791791" y="4165300"/>
                  <a:pt x="789467" y="4164165"/>
                </a:cubicBezTo>
                <a:cubicBezTo>
                  <a:pt x="787144" y="4162615"/>
                  <a:pt x="784356" y="4161996"/>
                  <a:pt x="781413" y="4160860"/>
                </a:cubicBezTo>
                <a:cubicBezTo>
                  <a:pt x="779244" y="4159828"/>
                  <a:pt x="776301" y="4159311"/>
                  <a:pt x="774133" y="4158175"/>
                </a:cubicBezTo>
                <a:cubicBezTo>
                  <a:pt x="776301" y="4157143"/>
                  <a:pt x="778625" y="4157659"/>
                  <a:pt x="780948" y="4158175"/>
                </a:cubicBezTo>
                <a:cubicBezTo>
                  <a:pt x="783117" y="4158692"/>
                  <a:pt x="786060" y="4159828"/>
                  <a:pt x="788383" y="4159828"/>
                </a:cubicBezTo>
                <a:cubicBezTo>
                  <a:pt x="787764" y="4158279"/>
                  <a:pt x="786060" y="4156110"/>
                  <a:pt x="783736" y="4155594"/>
                </a:cubicBezTo>
                <a:cubicBezTo>
                  <a:pt x="782033" y="4154458"/>
                  <a:pt x="779709" y="4154458"/>
                  <a:pt x="778625" y="4157143"/>
                </a:cubicBezTo>
                <a:cubicBezTo>
                  <a:pt x="775837" y="4153426"/>
                  <a:pt x="773513" y="4153426"/>
                  <a:pt x="768866" y="4151257"/>
                </a:cubicBezTo>
                <a:cubicBezTo>
                  <a:pt x="768402" y="4150225"/>
                  <a:pt x="768402" y="4150018"/>
                  <a:pt x="769021" y="4150018"/>
                </a:cubicBezTo>
                <a:lnTo>
                  <a:pt x="770260" y="4150535"/>
                </a:lnTo>
                <a:lnTo>
                  <a:pt x="772274" y="4146507"/>
                </a:lnTo>
                <a:lnTo>
                  <a:pt x="772584" y="4146301"/>
                </a:lnTo>
                <a:lnTo>
                  <a:pt x="769486" y="4144030"/>
                </a:lnTo>
                <a:cubicBezTo>
                  <a:pt x="765768" y="4141758"/>
                  <a:pt x="762051" y="4140106"/>
                  <a:pt x="761586" y="4139899"/>
                </a:cubicBezTo>
                <a:cubicBezTo>
                  <a:pt x="758643" y="4137731"/>
                  <a:pt x="755855" y="4136079"/>
                  <a:pt x="756940" y="4136595"/>
                </a:cubicBezTo>
                <a:cubicBezTo>
                  <a:pt x="749504" y="4133910"/>
                  <a:pt x="750124" y="4128025"/>
                  <a:pt x="746716" y="4125237"/>
                </a:cubicBezTo>
                <a:cubicBezTo>
                  <a:pt x="745632" y="4124204"/>
                  <a:pt x="741604" y="4126269"/>
                  <a:pt x="738661" y="4123584"/>
                </a:cubicBezTo>
                <a:lnTo>
                  <a:pt x="737577" y="4122655"/>
                </a:lnTo>
                <a:lnTo>
                  <a:pt x="735409" y="4124617"/>
                </a:lnTo>
                <a:cubicBezTo>
                  <a:pt x="730917" y="4129264"/>
                  <a:pt x="728593" y="4132774"/>
                  <a:pt x="721933" y="4130090"/>
                </a:cubicBezTo>
                <a:cubicBezTo>
                  <a:pt x="721468" y="4127612"/>
                  <a:pt x="723172" y="4124927"/>
                  <a:pt x="725805" y="4122242"/>
                </a:cubicBezTo>
                <a:lnTo>
                  <a:pt x="731381" y="4116976"/>
                </a:lnTo>
                <a:lnTo>
                  <a:pt x="722707" y="4110161"/>
                </a:lnTo>
                <a:cubicBezTo>
                  <a:pt x="721003" y="4109026"/>
                  <a:pt x="719299" y="4107890"/>
                  <a:pt x="717596" y="4106341"/>
                </a:cubicBezTo>
                <a:cubicBezTo>
                  <a:pt x="715892" y="4105205"/>
                  <a:pt x="714188" y="4104172"/>
                  <a:pt x="712484" y="4103140"/>
                </a:cubicBezTo>
                <a:cubicBezTo>
                  <a:pt x="708457" y="4100972"/>
                  <a:pt x="704430" y="4098700"/>
                  <a:pt x="700557" y="4097667"/>
                </a:cubicBezTo>
                <a:cubicBezTo>
                  <a:pt x="700557" y="4096015"/>
                  <a:pt x="702261" y="4094982"/>
                  <a:pt x="701022" y="4093331"/>
                </a:cubicBezTo>
                <a:cubicBezTo>
                  <a:pt x="705049" y="4091678"/>
                  <a:pt x="701641" y="4097151"/>
                  <a:pt x="705049" y="4098803"/>
                </a:cubicBezTo>
                <a:cubicBezTo>
                  <a:pt x="708457" y="4093331"/>
                  <a:pt x="700557" y="4087961"/>
                  <a:pt x="695910" y="4084657"/>
                </a:cubicBezTo>
                <a:cubicBezTo>
                  <a:pt x="695910" y="4085793"/>
                  <a:pt x="697614" y="4087445"/>
                  <a:pt x="695291" y="4088994"/>
                </a:cubicBezTo>
                <a:cubicBezTo>
                  <a:pt x="691418" y="4083624"/>
                  <a:pt x="688475" y="4070717"/>
                  <a:pt x="679956" y="4072782"/>
                </a:cubicBezTo>
                <a:cubicBezTo>
                  <a:pt x="678717" y="4072060"/>
                  <a:pt x="678717" y="4071337"/>
                  <a:pt x="679027" y="4070717"/>
                </a:cubicBezTo>
                <a:lnTo>
                  <a:pt x="679027" y="4070614"/>
                </a:lnTo>
                <a:lnTo>
                  <a:pt x="673296" y="4064729"/>
                </a:lnTo>
                <a:lnTo>
                  <a:pt x="673915" y="4063076"/>
                </a:lnTo>
                <a:lnTo>
                  <a:pt x="673141" y="4062560"/>
                </a:lnTo>
                <a:cubicBezTo>
                  <a:pt x="671436" y="4063696"/>
                  <a:pt x="672521" y="4064729"/>
                  <a:pt x="673141" y="4066381"/>
                </a:cubicBezTo>
                <a:cubicBezTo>
                  <a:pt x="665706" y="4065348"/>
                  <a:pt x="668029" y="4057707"/>
                  <a:pt x="659355" y="4054403"/>
                </a:cubicBezTo>
                <a:cubicBezTo>
                  <a:pt x="663382" y="4052235"/>
                  <a:pt x="657651" y="4048517"/>
                  <a:pt x="658890" y="4045833"/>
                </a:cubicBezTo>
                <a:cubicBezTo>
                  <a:pt x="654863" y="4043664"/>
                  <a:pt x="650835" y="4039947"/>
                  <a:pt x="646343" y="4036127"/>
                </a:cubicBezTo>
                <a:cubicBezTo>
                  <a:pt x="644639" y="4033958"/>
                  <a:pt x="642316" y="4031790"/>
                  <a:pt x="639993" y="4029621"/>
                </a:cubicBezTo>
                <a:cubicBezTo>
                  <a:pt x="637824" y="4027453"/>
                  <a:pt x="635501" y="4024769"/>
                  <a:pt x="633797" y="4022600"/>
                </a:cubicBezTo>
                <a:cubicBezTo>
                  <a:pt x="629150" y="4017747"/>
                  <a:pt x="625277" y="4012378"/>
                  <a:pt x="621715" y="4007421"/>
                </a:cubicBezTo>
                <a:cubicBezTo>
                  <a:pt x="618307" y="4002052"/>
                  <a:pt x="615520" y="3996683"/>
                  <a:pt x="612576" y="3991830"/>
                </a:cubicBezTo>
                <a:lnTo>
                  <a:pt x="606690" y="3988009"/>
                </a:lnTo>
                <a:lnTo>
                  <a:pt x="606535" y="3992656"/>
                </a:lnTo>
                <a:cubicBezTo>
                  <a:pt x="602352" y="3998644"/>
                  <a:pt x="596312" y="3995960"/>
                  <a:pt x="589961" y="3992139"/>
                </a:cubicBezTo>
                <a:cubicBezTo>
                  <a:pt x="590736" y="3989351"/>
                  <a:pt x="590271" y="3986873"/>
                  <a:pt x="590891" y="3984189"/>
                </a:cubicBezTo>
                <a:cubicBezTo>
                  <a:pt x="593524" y="3982227"/>
                  <a:pt x="599719" y="3982330"/>
                  <a:pt x="603747" y="3984395"/>
                </a:cubicBezTo>
                <a:lnTo>
                  <a:pt x="604366" y="3985015"/>
                </a:lnTo>
                <a:lnTo>
                  <a:pt x="601888" y="3980472"/>
                </a:lnTo>
                <a:cubicBezTo>
                  <a:pt x="599565" y="3976135"/>
                  <a:pt x="597241" y="3971281"/>
                  <a:pt x="592749" y="3967461"/>
                </a:cubicBezTo>
                <a:cubicBezTo>
                  <a:pt x="592749" y="3964776"/>
                  <a:pt x="591045" y="3960956"/>
                  <a:pt x="594453" y="3958788"/>
                </a:cubicBezTo>
                <a:cubicBezTo>
                  <a:pt x="593214" y="3958788"/>
                  <a:pt x="592749" y="3958271"/>
                  <a:pt x="592130" y="3958271"/>
                </a:cubicBezTo>
                <a:cubicBezTo>
                  <a:pt x="592130" y="3958271"/>
                  <a:pt x="592130" y="3958271"/>
                  <a:pt x="592130" y="3957755"/>
                </a:cubicBezTo>
                <a:cubicBezTo>
                  <a:pt x="590426" y="3955071"/>
                  <a:pt x="589187" y="3953418"/>
                  <a:pt x="588722" y="3952386"/>
                </a:cubicBezTo>
                <a:cubicBezTo>
                  <a:pt x="589187" y="3952902"/>
                  <a:pt x="588722" y="3952282"/>
                  <a:pt x="588722" y="3951766"/>
                </a:cubicBezTo>
                <a:cubicBezTo>
                  <a:pt x="588103" y="3951766"/>
                  <a:pt x="588103" y="3951766"/>
                  <a:pt x="588103" y="3951766"/>
                </a:cubicBezTo>
                <a:cubicBezTo>
                  <a:pt x="588103" y="3951766"/>
                  <a:pt x="588103" y="3951766"/>
                  <a:pt x="587638" y="3951766"/>
                </a:cubicBezTo>
                <a:cubicBezTo>
                  <a:pt x="587018" y="3951250"/>
                  <a:pt x="587018" y="3950734"/>
                  <a:pt x="587018" y="3949081"/>
                </a:cubicBezTo>
                <a:cubicBezTo>
                  <a:pt x="585934" y="3948049"/>
                  <a:pt x="585934" y="3950734"/>
                  <a:pt x="582991" y="3951250"/>
                </a:cubicBezTo>
                <a:cubicBezTo>
                  <a:pt x="582371" y="3948565"/>
                  <a:pt x="580048" y="3947533"/>
                  <a:pt x="577260" y="3946913"/>
                </a:cubicBezTo>
                <a:cubicBezTo>
                  <a:pt x="575556" y="3946913"/>
                  <a:pt x="574472" y="3946397"/>
                  <a:pt x="572767" y="3945880"/>
                </a:cubicBezTo>
                <a:cubicBezTo>
                  <a:pt x="572148" y="3945880"/>
                  <a:pt x="571528" y="3945880"/>
                  <a:pt x="571063" y="3945365"/>
                </a:cubicBezTo>
                <a:cubicBezTo>
                  <a:pt x="571063" y="3945365"/>
                  <a:pt x="571063" y="3945261"/>
                  <a:pt x="570444" y="3944745"/>
                </a:cubicBezTo>
                <a:cubicBezTo>
                  <a:pt x="569824" y="3944229"/>
                  <a:pt x="569360" y="3943712"/>
                  <a:pt x="568740" y="3942576"/>
                </a:cubicBezTo>
                <a:cubicBezTo>
                  <a:pt x="569824" y="3942576"/>
                  <a:pt x="571063" y="3942576"/>
                  <a:pt x="571528" y="3942576"/>
                </a:cubicBezTo>
                <a:cubicBezTo>
                  <a:pt x="572148" y="3942576"/>
                  <a:pt x="572148" y="3942576"/>
                  <a:pt x="572767" y="3943093"/>
                </a:cubicBezTo>
                <a:cubicBezTo>
                  <a:pt x="572767" y="3943093"/>
                  <a:pt x="572767" y="3943093"/>
                  <a:pt x="573387" y="3943093"/>
                </a:cubicBezTo>
                <a:cubicBezTo>
                  <a:pt x="574472" y="3943093"/>
                  <a:pt x="575091" y="3943712"/>
                  <a:pt x="575556" y="3944229"/>
                </a:cubicBezTo>
                <a:cubicBezTo>
                  <a:pt x="576795" y="3944745"/>
                  <a:pt x="577260" y="3945880"/>
                  <a:pt x="580203" y="3945880"/>
                </a:cubicBezTo>
                <a:cubicBezTo>
                  <a:pt x="580203" y="3944229"/>
                  <a:pt x="580203" y="3942680"/>
                  <a:pt x="580203" y="3941028"/>
                </a:cubicBezTo>
                <a:cubicBezTo>
                  <a:pt x="580203" y="3940511"/>
                  <a:pt x="580203" y="3940408"/>
                  <a:pt x="580203" y="3940408"/>
                </a:cubicBezTo>
                <a:cubicBezTo>
                  <a:pt x="580203" y="3940408"/>
                  <a:pt x="580203" y="3940408"/>
                  <a:pt x="580203" y="3939892"/>
                </a:cubicBezTo>
                <a:cubicBezTo>
                  <a:pt x="580203" y="3939892"/>
                  <a:pt x="580203" y="3939892"/>
                  <a:pt x="579584" y="3939375"/>
                </a:cubicBezTo>
                <a:cubicBezTo>
                  <a:pt x="578963" y="3938343"/>
                  <a:pt x="578963" y="3937723"/>
                  <a:pt x="578499" y="3936691"/>
                </a:cubicBezTo>
                <a:cubicBezTo>
                  <a:pt x="577260" y="3935039"/>
                  <a:pt x="576175" y="3933490"/>
                  <a:pt x="574936" y="3932354"/>
                </a:cubicBezTo>
                <a:cubicBezTo>
                  <a:pt x="576175" y="3932354"/>
                  <a:pt x="577879" y="3932870"/>
                  <a:pt x="578963" y="3932354"/>
                </a:cubicBezTo>
                <a:cubicBezTo>
                  <a:pt x="572148" y="3928637"/>
                  <a:pt x="569824" y="3920996"/>
                  <a:pt x="567656" y="3911806"/>
                </a:cubicBezTo>
                <a:cubicBezTo>
                  <a:pt x="565952" y="3909741"/>
                  <a:pt x="566417" y="3912839"/>
                  <a:pt x="564249" y="3912839"/>
                </a:cubicBezTo>
                <a:cubicBezTo>
                  <a:pt x="564249" y="3912839"/>
                  <a:pt x="564094" y="3912942"/>
                  <a:pt x="563629" y="3910774"/>
                </a:cubicBezTo>
                <a:cubicBezTo>
                  <a:pt x="563629" y="3910257"/>
                  <a:pt x="563009" y="3909121"/>
                  <a:pt x="563009" y="3908605"/>
                </a:cubicBezTo>
                <a:cubicBezTo>
                  <a:pt x="562389" y="3907470"/>
                  <a:pt x="562544" y="3906437"/>
                  <a:pt x="561925" y="3905301"/>
                </a:cubicBezTo>
                <a:cubicBezTo>
                  <a:pt x="560840" y="3902616"/>
                  <a:pt x="560221" y="3900448"/>
                  <a:pt x="559137" y="3898280"/>
                </a:cubicBezTo>
                <a:cubicBezTo>
                  <a:pt x="557433" y="3893427"/>
                  <a:pt x="555109" y="3889090"/>
                  <a:pt x="552786" y="3884237"/>
                </a:cubicBezTo>
                <a:cubicBezTo>
                  <a:pt x="550462" y="3879384"/>
                  <a:pt x="548759" y="3874531"/>
                  <a:pt x="547055" y="3869678"/>
                </a:cubicBezTo>
                <a:cubicBezTo>
                  <a:pt x="545971" y="3866993"/>
                  <a:pt x="545351" y="3864308"/>
                  <a:pt x="544886" y="3861624"/>
                </a:cubicBezTo>
                <a:cubicBezTo>
                  <a:pt x="544267" y="3859455"/>
                  <a:pt x="543647" y="3856151"/>
                  <a:pt x="543028" y="3853467"/>
                </a:cubicBezTo>
                <a:cubicBezTo>
                  <a:pt x="542563" y="3851814"/>
                  <a:pt x="540239" y="3853467"/>
                  <a:pt x="538535" y="3853467"/>
                </a:cubicBezTo>
                <a:cubicBezTo>
                  <a:pt x="536212" y="3845929"/>
                  <a:pt x="535593" y="3844793"/>
                  <a:pt x="535128" y="3838907"/>
                </a:cubicBezTo>
                <a:cubicBezTo>
                  <a:pt x="532184" y="3846445"/>
                  <a:pt x="532805" y="3831266"/>
                  <a:pt x="534508" y="3829098"/>
                </a:cubicBezTo>
                <a:cubicBezTo>
                  <a:pt x="533888" y="3826930"/>
                  <a:pt x="530481" y="3829098"/>
                  <a:pt x="529397" y="3827549"/>
                </a:cubicBezTo>
                <a:cubicBezTo>
                  <a:pt x="528777" y="3822696"/>
                  <a:pt x="535128" y="3827549"/>
                  <a:pt x="535128" y="3822076"/>
                </a:cubicBezTo>
                <a:cubicBezTo>
                  <a:pt x="529397" y="3819908"/>
                  <a:pt x="530481" y="3814023"/>
                  <a:pt x="526609" y="3807517"/>
                </a:cubicBezTo>
                <a:cubicBezTo>
                  <a:pt x="527073" y="3803697"/>
                  <a:pt x="529397" y="3812370"/>
                  <a:pt x="530481" y="3813506"/>
                </a:cubicBezTo>
                <a:cubicBezTo>
                  <a:pt x="536212" y="3812887"/>
                  <a:pt x="531720" y="3805349"/>
                  <a:pt x="531101" y="3801115"/>
                </a:cubicBezTo>
                <a:cubicBezTo>
                  <a:pt x="530481" y="3797811"/>
                  <a:pt x="527073" y="3801012"/>
                  <a:pt x="525370" y="3800496"/>
                </a:cubicBezTo>
                <a:cubicBezTo>
                  <a:pt x="525060" y="3798069"/>
                  <a:pt x="526376" y="3796727"/>
                  <a:pt x="527325" y="3795036"/>
                </a:cubicBezTo>
                <a:lnTo>
                  <a:pt x="527101" y="3788337"/>
                </a:lnTo>
                <a:lnTo>
                  <a:pt x="526917" y="3788166"/>
                </a:lnTo>
                <a:lnTo>
                  <a:pt x="524955" y="3788166"/>
                </a:lnTo>
                <a:lnTo>
                  <a:pt x="523515" y="3787427"/>
                </a:lnTo>
                <a:lnTo>
                  <a:pt x="522581" y="3787486"/>
                </a:lnTo>
                <a:lnTo>
                  <a:pt x="522653" y="3786985"/>
                </a:lnTo>
                <a:lnTo>
                  <a:pt x="513339" y="3782203"/>
                </a:lnTo>
                <a:cubicBezTo>
                  <a:pt x="509957" y="3779105"/>
                  <a:pt x="507556" y="3774922"/>
                  <a:pt x="507608" y="3769734"/>
                </a:cubicBezTo>
                <a:cubicBezTo>
                  <a:pt x="515662" y="3769114"/>
                  <a:pt x="520618" y="3771437"/>
                  <a:pt x="524025" y="3775000"/>
                </a:cubicBezTo>
                <a:lnTo>
                  <a:pt x="524285" y="3775467"/>
                </a:lnTo>
                <a:lnTo>
                  <a:pt x="524285" y="3773379"/>
                </a:lnTo>
                <a:lnTo>
                  <a:pt x="524232" y="3773141"/>
                </a:lnTo>
                <a:cubicBezTo>
                  <a:pt x="522580" y="3769269"/>
                  <a:pt x="519586" y="3765242"/>
                  <a:pt x="517520" y="3762453"/>
                </a:cubicBezTo>
                <a:cubicBezTo>
                  <a:pt x="517107" y="3763692"/>
                  <a:pt x="518553" y="3766481"/>
                  <a:pt x="515249" y="3767410"/>
                </a:cubicBezTo>
                <a:cubicBezTo>
                  <a:pt x="512564" y="3759200"/>
                  <a:pt x="514010" y="3742317"/>
                  <a:pt x="502961" y="3741388"/>
                </a:cubicBezTo>
                <a:cubicBezTo>
                  <a:pt x="500793" y="3738599"/>
                  <a:pt x="503271" y="3737980"/>
                  <a:pt x="505233" y="3736431"/>
                </a:cubicBezTo>
                <a:cubicBezTo>
                  <a:pt x="501206" y="3729925"/>
                  <a:pt x="501412" y="3729306"/>
                  <a:pt x="498624" y="3726208"/>
                </a:cubicBezTo>
                <a:cubicBezTo>
                  <a:pt x="496147" y="3726827"/>
                  <a:pt x="497076" y="3728531"/>
                  <a:pt x="497179" y="3730855"/>
                </a:cubicBezTo>
                <a:cubicBezTo>
                  <a:pt x="488712" y="3726517"/>
                  <a:pt x="494288" y="3718153"/>
                  <a:pt x="485304" y="3710718"/>
                </a:cubicBezTo>
                <a:cubicBezTo>
                  <a:pt x="490880" y="3709788"/>
                  <a:pt x="485511" y="3702818"/>
                  <a:pt x="487886" y="3700030"/>
                </a:cubicBezTo>
                <a:cubicBezTo>
                  <a:pt x="483859" y="3695848"/>
                  <a:pt x="480555" y="3689497"/>
                  <a:pt x="476528" y="3682991"/>
                </a:cubicBezTo>
                <a:cubicBezTo>
                  <a:pt x="475289" y="3679739"/>
                  <a:pt x="473327" y="3676176"/>
                  <a:pt x="471468" y="3672613"/>
                </a:cubicBezTo>
                <a:cubicBezTo>
                  <a:pt x="469506" y="3669051"/>
                  <a:pt x="467751" y="3664869"/>
                  <a:pt x="466512" y="3661616"/>
                </a:cubicBezTo>
                <a:cubicBezTo>
                  <a:pt x="462898" y="3653871"/>
                  <a:pt x="460213" y="3645662"/>
                  <a:pt x="457942" y="3638227"/>
                </a:cubicBezTo>
                <a:lnTo>
                  <a:pt x="455050" y="3625215"/>
                </a:lnTo>
                <a:lnTo>
                  <a:pt x="450817" y="3627694"/>
                </a:lnTo>
                <a:cubicBezTo>
                  <a:pt x="450920" y="3625525"/>
                  <a:pt x="451643" y="3623356"/>
                  <a:pt x="452675" y="3621343"/>
                </a:cubicBezTo>
                <a:lnTo>
                  <a:pt x="453811" y="3619794"/>
                </a:lnTo>
                <a:lnTo>
                  <a:pt x="452882" y="3615457"/>
                </a:lnTo>
                <a:cubicBezTo>
                  <a:pt x="449888" y="3612978"/>
                  <a:pt x="447822" y="3610190"/>
                  <a:pt x="446377" y="3607557"/>
                </a:cubicBezTo>
                <a:lnTo>
                  <a:pt x="445860" y="3605234"/>
                </a:lnTo>
                <a:lnTo>
                  <a:pt x="432437" y="3611739"/>
                </a:lnTo>
                <a:lnTo>
                  <a:pt x="415297" y="3613908"/>
                </a:lnTo>
                <a:lnTo>
                  <a:pt x="414058" y="3619019"/>
                </a:lnTo>
                <a:cubicBezTo>
                  <a:pt x="413851" y="3626919"/>
                  <a:pt x="417362" y="3634509"/>
                  <a:pt x="411166" y="3642874"/>
                </a:cubicBezTo>
                <a:cubicBezTo>
                  <a:pt x="407449" y="3640550"/>
                  <a:pt x="405591" y="3633115"/>
                  <a:pt x="406210" y="3625990"/>
                </a:cubicBezTo>
                <a:cubicBezTo>
                  <a:pt x="406520" y="3622427"/>
                  <a:pt x="407449" y="3618864"/>
                  <a:pt x="409101" y="3616076"/>
                </a:cubicBezTo>
                <a:lnTo>
                  <a:pt x="411476" y="3614373"/>
                </a:lnTo>
                <a:lnTo>
                  <a:pt x="409721" y="3614682"/>
                </a:lnTo>
                <a:cubicBezTo>
                  <a:pt x="401977" y="3614527"/>
                  <a:pt x="394336" y="3613133"/>
                  <a:pt x="387004" y="3610810"/>
                </a:cubicBezTo>
                <a:cubicBezTo>
                  <a:pt x="369348" y="3605388"/>
                  <a:pt x="353653" y="3594081"/>
                  <a:pt x="343844" y="3578591"/>
                </a:cubicBezTo>
                <a:cubicBezTo>
                  <a:pt x="335583" y="3566664"/>
                  <a:pt x="332279" y="3554583"/>
                  <a:pt x="332898" y="3542810"/>
                </a:cubicBezTo>
                <a:lnTo>
                  <a:pt x="333621" y="3538318"/>
                </a:lnTo>
                <a:lnTo>
                  <a:pt x="332588" y="3537079"/>
                </a:lnTo>
                <a:cubicBezTo>
                  <a:pt x="331659" y="3535530"/>
                  <a:pt x="330936" y="3533827"/>
                  <a:pt x="330523" y="3532587"/>
                </a:cubicBezTo>
                <a:cubicBezTo>
                  <a:pt x="331350" y="3532432"/>
                  <a:pt x="332072" y="3532897"/>
                  <a:pt x="332898" y="3533361"/>
                </a:cubicBezTo>
                <a:lnTo>
                  <a:pt x="334241" y="3534911"/>
                </a:lnTo>
                <a:lnTo>
                  <a:pt x="335376" y="3528405"/>
                </a:lnTo>
                <a:cubicBezTo>
                  <a:pt x="339817" y="3514464"/>
                  <a:pt x="349419" y="3501453"/>
                  <a:pt x="362120" y="3490455"/>
                </a:cubicBezTo>
                <a:lnTo>
                  <a:pt x="366456" y="3487822"/>
                </a:lnTo>
                <a:lnTo>
                  <a:pt x="365940" y="3487203"/>
                </a:lnTo>
                <a:cubicBezTo>
                  <a:pt x="365734" y="3487358"/>
                  <a:pt x="365630" y="3487512"/>
                  <a:pt x="365630" y="3487512"/>
                </a:cubicBezTo>
                <a:cubicBezTo>
                  <a:pt x="365630" y="3487512"/>
                  <a:pt x="366044" y="3486738"/>
                  <a:pt x="366044" y="3486738"/>
                </a:cubicBezTo>
                <a:cubicBezTo>
                  <a:pt x="366044" y="3486738"/>
                  <a:pt x="366147" y="3486738"/>
                  <a:pt x="365424" y="3484415"/>
                </a:cubicBezTo>
                <a:cubicBezTo>
                  <a:pt x="363979" y="3481936"/>
                  <a:pt x="363256" y="3481471"/>
                  <a:pt x="362120" y="3480077"/>
                </a:cubicBezTo>
                <a:cubicBezTo>
                  <a:pt x="361500" y="3477909"/>
                  <a:pt x="361913" y="3477134"/>
                  <a:pt x="361604" y="3474191"/>
                </a:cubicBezTo>
                <a:cubicBezTo>
                  <a:pt x="363256" y="3472952"/>
                  <a:pt x="363256" y="3472952"/>
                  <a:pt x="363979" y="3473417"/>
                </a:cubicBezTo>
                <a:cubicBezTo>
                  <a:pt x="363256" y="3472952"/>
                  <a:pt x="363668" y="3472178"/>
                  <a:pt x="363359" y="3471093"/>
                </a:cubicBezTo>
                <a:cubicBezTo>
                  <a:pt x="360881" y="3467066"/>
                  <a:pt x="364598" y="3464123"/>
                  <a:pt x="369761" y="3461645"/>
                </a:cubicBezTo>
                <a:lnTo>
                  <a:pt x="370896" y="3461800"/>
                </a:lnTo>
                <a:lnTo>
                  <a:pt x="371929" y="3460250"/>
                </a:lnTo>
                <a:lnTo>
                  <a:pt x="373685" y="3461490"/>
                </a:lnTo>
                <a:lnTo>
                  <a:pt x="374820" y="3461180"/>
                </a:lnTo>
                <a:lnTo>
                  <a:pt x="375337" y="3461490"/>
                </a:lnTo>
                <a:lnTo>
                  <a:pt x="376162" y="3458082"/>
                </a:lnTo>
                <a:cubicBezTo>
                  <a:pt x="378537" y="3459012"/>
                  <a:pt x="379673" y="3459476"/>
                  <a:pt x="381635" y="3459631"/>
                </a:cubicBezTo>
                <a:cubicBezTo>
                  <a:pt x="381016" y="3461180"/>
                  <a:pt x="380706" y="3462729"/>
                  <a:pt x="380499" y="3463968"/>
                </a:cubicBezTo>
                <a:lnTo>
                  <a:pt x="379880" y="3467221"/>
                </a:lnTo>
                <a:lnTo>
                  <a:pt x="382978" y="3471713"/>
                </a:lnTo>
                <a:lnTo>
                  <a:pt x="383494" y="3467376"/>
                </a:lnTo>
                <a:cubicBezTo>
                  <a:pt x="384423" y="3464588"/>
                  <a:pt x="385869" y="3461954"/>
                  <a:pt x="387830" y="3459786"/>
                </a:cubicBezTo>
                <a:lnTo>
                  <a:pt x="388554" y="3459166"/>
                </a:lnTo>
                <a:lnTo>
                  <a:pt x="387108" y="3459786"/>
                </a:lnTo>
                <a:cubicBezTo>
                  <a:pt x="385869" y="3459631"/>
                  <a:pt x="385869" y="3459476"/>
                  <a:pt x="385456" y="3458857"/>
                </a:cubicBezTo>
                <a:cubicBezTo>
                  <a:pt x="383804" y="3457927"/>
                  <a:pt x="382564" y="3457772"/>
                  <a:pt x="382461" y="3455914"/>
                </a:cubicBezTo>
                <a:cubicBezTo>
                  <a:pt x="382461" y="3454365"/>
                  <a:pt x="383081" y="3453590"/>
                  <a:pt x="384010" y="3453126"/>
                </a:cubicBezTo>
                <a:cubicBezTo>
                  <a:pt x="384836" y="3452661"/>
                  <a:pt x="386179" y="3452506"/>
                  <a:pt x="387727" y="3452351"/>
                </a:cubicBezTo>
                <a:cubicBezTo>
                  <a:pt x="390928" y="3452196"/>
                  <a:pt x="391548" y="3454829"/>
                  <a:pt x="394026" y="3455139"/>
                </a:cubicBezTo>
                <a:lnTo>
                  <a:pt x="393096" y="3456533"/>
                </a:lnTo>
                <a:lnTo>
                  <a:pt x="400221" y="3460715"/>
                </a:lnTo>
                <a:cubicBezTo>
                  <a:pt x="402286" y="3462729"/>
                  <a:pt x="403732" y="3465052"/>
                  <a:pt x="404661" y="3467531"/>
                </a:cubicBezTo>
                <a:lnTo>
                  <a:pt x="405487" y="3472333"/>
                </a:lnTo>
                <a:lnTo>
                  <a:pt x="407656" y="3469235"/>
                </a:lnTo>
                <a:cubicBezTo>
                  <a:pt x="410753" y="3466137"/>
                  <a:pt x="414781" y="3463348"/>
                  <a:pt x="420047" y="3461335"/>
                </a:cubicBezTo>
                <a:lnTo>
                  <a:pt x="422008" y="3462729"/>
                </a:lnTo>
                <a:lnTo>
                  <a:pt x="421698" y="3460405"/>
                </a:lnTo>
                <a:cubicBezTo>
                  <a:pt x="420769" y="3453590"/>
                  <a:pt x="420563" y="3446929"/>
                  <a:pt x="420356" y="3440424"/>
                </a:cubicBezTo>
                <a:lnTo>
                  <a:pt x="420356" y="3439959"/>
                </a:lnTo>
                <a:lnTo>
                  <a:pt x="415297" y="3449253"/>
                </a:lnTo>
                <a:cubicBezTo>
                  <a:pt x="412922" y="3452661"/>
                  <a:pt x="409824" y="3455758"/>
                  <a:pt x="405281" y="3458237"/>
                </a:cubicBezTo>
                <a:cubicBezTo>
                  <a:pt x="403319" y="3451112"/>
                  <a:pt x="409515" y="3445071"/>
                  <a:pt x="415503" y="3441353"/>
                </a:cubicBezTo>
                <a:lnTo>
                  <a:pt x="420356" y="3439030"/>
                </a:lnTo>
                <a:lnTo>
                  <a:pt x="420666" y="3429581"/>
                </a:lnTo>
                <a:cubicBezTo>
                  <a:pt x="420769" y="3426793"/>
                  <a:pt x="421286" y="3422611"/>
                  <a:pt x="421595" y="3419048"/>
                </a:cubicBezTo>
                <a:cubicBezTo>
                  <a:pt x="421595" y="3416880"/>
                  <a:pt x="418291" y="3417964"/>
                  <a:pt x="416226" y="3417190"/>
                </a:cubicBezTo>
                <a:lnTo>
                  <a:pt x="416226" y="3411613"/>
                </a:lnTo>
                <a:lnTo>
                  <a:pt x="413438" y="3413317"/>
                </a:lnTo>
                <a:cubicBezTo>
                  <a:pt x="411992" y="3413627"/>
                  <a:pt x="410237" y="3413472"/>
                  <a:pt x="408069" y="3412697"/>
                </a:cubicBezTo>
                <a:cubicBezTo>
                  <a:pt x="407243" y="3411458"/>
                  <a:pt x="406623" y="3410219"/>
                  <a:pt x="406417" y="3408980"/>
                </a:cubicBezTo>
                <a:cubicBezTo>
                  <a:pt x="405694" y="3405417"/>
                  <a:pt x="407553" y="3402165"/>
                  <a:pt x="410753" y="3401700"/>
                </a:cubicBezTo>
                <a:cubicBezTo>
                  <a:pt x="412199" y="3401545"/>
                  <a:pt x="413851" y="3401855"/>
                  <a:pt x="415710" y="3402939"/>
                </a:cubicBezTo>
                <a:lnTo>
                  <a:pt x="416536" y="3405108"/>
                </a:lnTo>
                <a:lnTo>
                  <a:pt x="417568" y="3398137"/>
                </a:lnTo>
                <a:cubicBezTo>
                  <a:pt x="411373" y="3406037"/>
                  <a:pt x="417672" y="3388069"/>
                  <a:pt x="420563" y="3386055"/>
                </a:cubicBezTo>
                <a:cubicBezTo>
                  <a:pt x="420666" y="3383267"/>
                  <a:pt x="415710" y="3384506"/>
                  <a:pt x="414987" y="3382028"/>
                </a:cubicBezTo>
                <a:cubicBezTo>
                  <a:pt x="416123" y="3375832"/>
                  <a:pt x="421802" y="3384351"/>
                  <a:pt x="423867" y="3377691"/>
                </a:cubicBezTo>
                <a:cubicBezTo>
                  <a:pt x="417878" y="3372734"/>
                  <a:pt x="421492" y="3366074"/>
                  <a:pt x="419117" y="3356470"/>
                </a:cubicBezTo>
                <a:cubicBezTo>
                  <a:pt x="421182" y="3352133"/>
                  <a:pt x="420666" y="3363595"/>
                  <a:pt x="421595" y="3365299"/>
                </a:cubicBezTo>
                <a:cubicBezTo>
                  <a:pt x="428617" y="3367003"/>
                  <a:pt x="426035" y="3356005"/>
                  <a:pt x="426965" y="3350584"/>
                </a:cubicBezTo>
                <a:lnTo>
                  <a:pt x="426965" y="3350429"/>
                </a:lnTo>
                <a:lnTo>
                  <a:pt x="421492" y="3351049"/>
                </a:lnTo>
                <a:cubicBezTo>
                  <a:pt x="415193" y="3352907"/>
                  <a:pt x="409721" y="3356780"/>
                  <a:pt x="404248" y="3352288"/>
                </a:cubicBezTo>
                <a:cubicBezTo>
                  <a:pt x="407656" y="3349965"/>
                  <a:pt x="410857" y="3347486"/>
                  <a:pt x="414677" y="3345627"/>
                </a:cubicBezTo>
                <a:cubicBezTo>
                  <a:pt x="416536" y="3344698"/>
                  <a:pt x="418601" y="3343924"/>
                  <a:pt x="420976" y="3343614"/>
                </a:cubicBezTo>
                <a:lnTo>
                  <a:pt x="422731" y="3343459"/>
                </a:lnTo>
                <a:lnTo>
                  <a:pt x="424693" y="3341755"/>
                </a:lnTo>
                <a:cubicBezTo>
                  <a:pt x="426449" y="3340051"/>
                  <a:pt x="427894" y="3337728"/>
                  <a:pt x="427275" y="3332461"/>
                </a:cubicBezTo>
                <a:cubicBezTo>
                  <a:pt x="426449" y="3327814"/>
                  <a:pt x="423557" y="3334939"/>
                  <a:pt x="421802" y="3330602"/>
                </a:cubicBezTo>
                <a:lnTo>
                  <a:pt x="424074" y="3327504"/>
                </a:lnTo>
                <a:lnTo>
                  <a:pt x="421698" y="3327350"/>
                </a:lnTo>
                <a:cubicBezTo>
                  <a:pt x="416020" y="3328124"/>
                  <a:pt x="413645" y="3331842"/>
                  <a:pt x="409824" y="3334010"/>
                </a:cubicBezTo>
                <a:cubicBezTo>
                  <a:pt x="403216" y="3329208"/>
                  <a:pt x="392684" y="3328589"/>
                  <a:pt x="384114" y="3325181"/>
                </a:cubicBezTo>
                <a:cubicBezTo>
                  <a:pt x="379570" y="3315267"/>
                  <a:pt x="373065" y="3308143"/>
                  <a:pt x="368522" y="3298074"/>
                </a:cubicBezTo>
                <a:cubicBezTo>
                  <a:pt x="370070" y="3295906"/>
                  <a:pt x="371103" y="3293272"/>
                  <a:pt x="371826" y="3290329"/>
                </a:cubicBezTo>
                <a:lnTo>
                  <a:pt x="373271" y="3283669"/>
                </a:lnTo>
                <a:lnTo>
                  <a:pt x="369554" y="3284753"/>
                </a:lnTo>
                <a:cubicBezTo>
                  <a:pt x="368109" y="3285528"/>
                  <a:pt x="366353" y="3286147"/>
                  <a:pt x="362946" y="3285992"/>
                </a:cubicBezTo>
                <a:cubicBezTo>
                  <a:pt x="354272" y="3285837"/>
                  <a:pt x="352724" y="3280261"/>
                  <a:pt x="353136" y="3275924"/>
                </a:cubicBezTo>
                <a:cubicBezTo>
                  <a:pt x="353446" y="3276079"/>
                  <a:pt x="353653" y="3275614"/>
                  <a:pt x="353860" y="3275150"/>
                </a:cubicBezTo>
                <a:lnTo>
                  <a:pt x="354582" y="3273446"/>
                </a:lnTo>
                <a:lnTo>
                  <a:pt x="353550" y="3270812"/>
                </a:lnTo>
                <a:cubicBezTo>
                  <a:pt x="353653" y="3270038"/>
                  <a:pt x="354066" y="3269264"/>
                  <a:pt x="354892" y="3268334"/>
                </a:cubicBezTo>
                <a:cubicBezTo>
                  <a:pt x="354789" y="3267405"/>
                  <a:pt x="358196" y="3266166"/>
                  <a:pt x="359125" y="3266785"/>
                </a:cubicBezTo>
                <a:lnTo>
                  <a:pt x="359848" y="3267560"/>
                </a:lnTo>
                <a:lnTo>
                  <a:pt x="365011" y="3266166"/>
                </a:lnTo>
                <a:cubicBezTo>
                  <a:pt x="366147" y="3266166"/>
                  <a:pt x="367179" y="3266475"/>
                  <a:pt x="368315" y="3266630"/>
                </a:cubicBezTo>
                <a:cubicBezTo>
                  <a:pt x="366456" y="3266321"/>
                  <a:pt x="364598" y="3265856"/>
                  <a:pt x="363359" y="3265391"/>
                </a:cubicBezTo>
                <a:lnTo>
                  <a:pt x="361604" y="3264617"/>
                </a:lnTo>
                <a:lnTo>
                  <a:pt x="361500" y="3265546"/>
                </a:lnTo>
                <a:lnTo>
                  <a:pt x="360571" y="3264462"/>
                </a:lnTo>
                <a:lnTo>
                  <a:pt x="360468" y="3264462"/>
                </a:lnTo>
                <a:cubicBezTo>
                  <a:pt x="360468" y="3263532"/>
                  <a:pt x="359538" y="3263532"/>
                  <a:pt x="359538" y="3264462"/>
                </a:cubicBezTo>
                <a:cubicBezTo>
                  <a:pt x="358299" y="3263377"/>
                  <a:pt x="357163" y="3262758"/>
                  <a:pt x="356647" y="3261983"/>
                </a:cubicBezTo>
                <a:lnTo>
                  <a:pt x="356751" y="3261209"/>
                </a:lnTo>
                <a:lnTo>
                  <a:pt x="352001" y="3261364"/>
                </a:lnTo>
                <a:lnTo>
                  <a:pt x="350555" y="3261054"/>
                </a:lnTo>
                <a:lnTo>
                  <a:pt x="350245" y="3261519"/>
                </a:lnTo>
                <a:lnTo>
                  <a:pt x="349522" y="3260899"/>
                </a:lnTo>
                <a:lnTo>
                  <a:pt x="345083" y="3260124"/>
                </a:lnTo>
                <a:cubicBezTo>
                  <a:pt x="343224" y="3259350"/>
                  <a:pt x="342088" y="3258266"/>
                  <a:pt x="341778" y="3256407"/>
                </a:cubicBezTo>
                <a:lnTo>
                  <a:pt x="347664" y="3255633"/>
                </a:lnTo>
                <a:lnTo>
                  <a:pt x="347974" y="3255323"/>
                </a:lnTo>
                <a:lnTo>
                  <a:pt x="348387" y="3255478"/>
                </a:lnTo>
                <a:lnTo>
                  <a:pt x="355202" y="3254858"/>
                </a:lnTo>
                <a:lnTo>
                  <a:pt x="361810" y="3255943"/>
                </a:lnTo>
                <a:lnTo>
                  <a:pt x="361913" y="3255013"/>
                </a:lnTo>
                <a:cubicBezTo>
                  <a:pt x="361397" y="3251760"/>
                  <a:pt x="358506" y="3247423"/>
                  <a:pt x="362533" y="3242776"/>
                </a:cubicBezTo>
                <a:cubicBezTo>
                  <a:pt x="364288" y="3244635"/>
                  <a:pt x="368728" y="3241692"/>
                  <a:pt x="371206" y="3244480"/>
                </a:cubicBezTo>
                <a:cubicBezTo>
                  <a:pt x="377712" y="3250211"/>
                  <a:pt x="378331" y="3253000"/>
                  <a:pt x="377092" y="3256252"/>
                </a:cubicBezTo>
                <a:lnTo>
                  <a:pt x="376886" y="3256562"/>
                </a:lnTo>
                <a:lnTo>
                  <a:pt x="376886" y="3261519"/>
                </a:lnTo>
                <a:lnTo>
                  <a:pt x="375337" y="3262293"/>
                </a:lnTo>
                <a:cubicBezTo>
                  <a:pt x="376162" y="3263067"/>
                  <a:pt x="376989" y="3263997"/>
                  <a:pt x="376059" y="3265236"/>
                </a:cubicBezTo>
                <a:cubicBezTo>
                  <a:pt x="374407" y="3266940"/>
                  <a:pt x="372032" y="3267250"/>
                  <a:pt x="369657" y="3267095"/>
                </a:cubicBezTo>
                <a:cubicBezTo>
                  <a:pt x="373271" y="3268179"/>
                  <a:pt x="375853" y="3271122"/>
                  <a:pt x="374614" y="3277318"/>
                </a:cubicBezTo>
                <a:cubicBezTo>
                  <a:pt x="374717" y="3279177"/>
                  <a:pt x="374304" y="3278557"/>
                  <a:pt x="373994" y="3279642"/>
                </a:cubicBezTo>
                <a:lnTo>
                  <a:pt x="373891" y="3280881"/>
                </a:lnTo>
                <a:lnTo>
                  <a:pt x="376782" y="3272671"/>
                </a:lnTo>
                <a:cubicBezTo>
                  <a:pt x="378228" y="3270193"/>
                  <a:pt x="380293" y="3268024"/>
                  <a:pt x="383288" y="3266785"/>
                </a:cubicBezTo>
                <a:cubicBezTo>
                  <a:pt x="388760" y="3268024"/>
                  <a:pt x="392374" y="3267405"/>
                  <a:pt x="395368" y="3266321"/>
                </a:cubicBezTo>
                <a:lnTo>
                  <a:pt x="395781" y="3266166"/>
                </a:lnTo>
                <a:lnTo>
                  <a:pt x="395575" y="3266011"/>
                </a:lnTo>
                <a:cubicBezTo>
                  <a:pt x="395471" y="3265856"/>
                  <a:pt x="395678" y="3265856"/>
                  <a:pt x="396091" y="3265546"/>
                </a:cubicBezTo>
                <a:cubicBezTo>
                  <a:pt x="396091" y="3265546"/>
                  <a:pt x="396091" y="3265391"/>
                  <a:pt x="397020" y="3264771"/>
                </a:cubicBezTo>
                <a:cubicBezTo>
                  <a:pt x="397020" y="3264771"/>
                  <a:pt x="397020" y="3264617"/>
                  <a:pt x="397330" y="3264617"/>
                </a:cubicBezTo>
                <a:lnTo>
                  <a:pt x="398363" y="3265236"/>
                </a:lnTo>
                <a:lnTo>
                  <a:pt x="399808" y="3264617"/>
                </a:lnTo>
                <a:cubicBezTo>
                  <a:pt x="401254" y="3263997"/>
                  <a:pt x="402700" y="3263532"/>
                  <a:pt x="404455" y="3263222"/>
                </a:cubicBezTo>
                <a:cubicBezTo>
                  <a:pt x="408069" y="3264462"/>
                  <a:pt x="411992" y="3266321"/>
                  <a:pt x="415813" y="3268334"/>
                </a:cubicBezTo>
                <a:lnTo>
                  <a:pt x="419014" y="3270503"/>
                </a:lnTo>
                <a:lnTo>
                  <a:pt x="422008" y="3272052"/>
                </a:lnTo>
                <a:lnTo>
                  <a:pt x="422318" y="3272207"/>
                </a:lnTo>
                <a:lnTo>
                  <a:pt x="429443" y="3273291"/>
                </a:lnTo>
                <a:cubicBezTo>
                  <a:pt x="431715" y="3274065"/>
                  <a:pt x="433780" y="3275459"/>
                  <a:pt x="435431" y="3277473"/>
                </a:cubicBezTo>
                <a:cubicBezTo>
                  <a:pt x="436258" y="3278712"/>
                  <a:pt x="436774" y="3279951"/>
                  <a:pt x="437084" y="3281190"/>
                </a:cubicBezTo>
                <a:lnTo>
                  <a:pt x="437394" y="3283978"/>
                </a:lnTo>
                <a:lnTo>
                  <a:pt x="438116" y="3282585"/>
                </a:lnTo>
                <a:cubicBezTo>
                  <a:pt x="441627" y="3278557"/>
                  <a:pt x="441524" y="3288780"/>
                  <a:pt x="446583" y="3284598"/>
                </a:cubicBezTo>
                <a:cubicBezTo>
                  <a:pt x="445138" y="3283669"/>
                  <a:pt x="441214" y="3282585"/>
                  <a:pt x="441833" y="3279332"/>
                </a:cubicBezTo>
                <a:lnTo>
                  <a:pt x="444002" y="3275614"/>
                </a:lnTo>
                <a:cubicBezTo>
                  <a:pt x="443486" y="3274995"/>
                  <a:pt x="443279" y="3273755"/>
                  <a:pt x="443692" y="3271587"/>
                </a:cubicBezTo>
                <a:cubicBezTo>
                  <a:pt x="446996" y="3271122"/>
                  <a:pt x="448442" y="3271742"/>
                  <a:pt x="448855" y="3272516"/>
                </a:cubicBezTo>
                <a:cubicBezTo>
                  <a:pt x="449475" y="3273600"/>
                  <a:pt x="447822" y="3275459"/>
                  <a:pt x="446067" y="3276079"/>
                </a:cubicBezTo>
                <a:lnTo>
                  <a:pt x="444518" y="3275769"/>
                </a:lnTo>
                <a:lnTo>
                  <a:pt x="446687" y="3279796"/>
                </a:lnTo>
                <a:cubicBezTo>
                  <a:pt x="447719" y="3281345"/>
                  <a:pt x="449475" y="3282739"/>
                  <a:pt x="453295" y="3282585"/>
                </a:cubicBezTo>
                <a:cubicBezTo>
                  <a:pt x="453192" y="3280416"/>
                  <a:pt x="454224" y="3279332"/>
                  <a:pt x="454947" y="3279487"/>
                </a:cubicBezTo>
                <a:lnTo>
                  <a:pt x="454637" y="3277628"/>
                </a:lnTo>
                <a:lnTo>
                  <a:pt x="454431" y="3277783"/>
                </a:lnTo>
                <a:lnTo>
                  <a:pt x="453915" y="3276234"/>
                </a:lnTo>
                <a:lnTo>
                  <a:pt x="452262" y="3276079"/>
                </a:lnTo>
                <a:cubicBezTo>
                  <a:pt x="450611" y="3276234"/>
                  <a:pt x="449061" y="3276389"/>
                  <a:pt x="450198" y="3272826"/>
                </a:cubicBezTo>
                <a:lnTo>
                  <a:pt x="452779" y="3273446"/>
                </a:lnTo>
                <a:lnTo>
                  <a:pt x="451333" y="3269728"/>
                </a:lnTo>
                <a:cubicBezTo>
                  <a:pt x="451643" y="3267405"/>
                  <a:pt x="453398" y="3265701"/>
                  <a:pt x="456703" y="3264462"/>
                </a:cubicBezTo>
                <a:lnTo>
                  <a:pt x="459387" y="3267869"/>
                </a:lnTo>
                <a:lnTo>
                  <a:pt x="461762" y="3262293"/>
                </a:lnTo>
                <a:cubicBezTo>
                  <a:pt x="463104" y="3262758"/>
                  <a:pt x="462898" y="3264462"/>
                  <a:pt x="462382" y="3266475"/>
                </a:cubicBezTo>
                <a:lnTo>
                  <a:pt x="461453" y="3270193"/>
                </a:lnTo>
                <a:lnTo>
                  <a:pt x="462485" y="3271432"/>
                </a:lnTo>
                <a:lnTo>
                  <a:pt x="465479" y="3270193"/>
                </a:lnTo>
                <a:cubicBezTo>
                  <a:pt x="466409" y="3268334"/>
                  <a:pt x="467028" y="3265856"/>
                  <a:pt x="467338" y="3263532"/>
                </a:cubicBezTo>
                <a:cubicBezTo>
                  <a:pt x="470849" y="3259660"/>
                  <a:pt x="465273" y="3272826"/>
                  <a:pt x="467958" y="3273755"/>
                </a:cubicBezTo>
                <a:cubicBezTo>
                  <a:pt x="470022" y="3269418"/>
                  <a:pt x="472501" y="3261519"/>
                  <a:pt x="473533" y="3253154"/>
                </a:cubicBezTo>
                <a:lnTo>
                  <a:pt x="473636" y="3252070"/>
                </a:lnTo>
                <a:lnTo>
                  <a:pt x="465995" y="3248042"/>
                </a:lnTo>
                <a:cubicBezTo>
                  <a:pt x="462794" y="3245874"/>
                  <a:pt x="460007" y="3243551"/>
                  <a:pt x="458045" y="3241382"/>
                </a:cubicBezTo>
                <a:cubicBezTo>
                  <a:pt x="461865" y="3239678"/>
                  <a:pt x="466202" y="3238904"/>
                  <a:pt x="470435" y="3238904"/>
                </a:cubicBezTo>
                <a:lnTo>
                  <a:pt x="473017" y="3239368"/>
                </a:lnTo>
                <a:lnTo>
                  <a:pt x="470642" y="3233482"/>
                </a:lnTo>
                <a:cubicBezTo>
                  <a:pt x="470849" y="3232708"/>
                  <a:pt x="471365" y="3231778"/>
                  <a:pt x="471881" y="3230849"/>
                </a:cubicBezTo>
                <a:lnTo>
                  <a:pt x="473740" y="3228061"/>
                </a:lnTo>
                <a:lnTo>
                  <a:pt x="472707" y="3227287"/>
                </a:lnTo>
                <a:lnTo>
                  <a:pt x="473946" y="3226512"/>
                </a:lnTo>
                <a:lnTo>
                  <a:pt x="473946" y="3225583"/>
                </a:lnTo>
                <a:cubicBezTo>
                  <a:pt x="473636" y="3224808"/>
                  <a:pt x="473224" y="3224034"/>
                  <a:pt x="472191" y="3223724"/>
                </a:cubicBezTo>
                <a:lnTo>
                  <a:pt x="477044" y="3217838"/>
                </a:lnTo>
                <a:lnTo>
                  <a:pt x="475495" y="3217683"/>
                </a:lnTo>
                <a:cubicBezTo>
                  <a:pt x="473843" y="3216754"/>
                  <a:pt x="472501" y="3214895"/>
                  <a:pt x="472811" y="3213656"/>
                </a:cubicBezTo>
                <a:cubicBezTo>
                  <a:pt x="473121" y="3212571"/>
                  <a:pt x="473843" y="3211952"/>
                  <a:pt x="473843" y="3211952"/>
                </a:cubicBezTo>
                <a:cubicBezTo>
                  <a:pt x="475392" y="3211952"/>
                  <a:pt x="476837" y="3212107"/>
                  <a:pt x="477870" y="3212726"/>
                </a:cubicBezTo>
                <a:lnTo>
                  <a:pt x="478593" y="3215360"/>
                </a:lnTo>
                <a:lnTo>
                  <a:pt x="481174" y="3206531"/>
                </a:lnTo>
                <a:lnTo>
                  <a:pt x="481587" y="3204052"/>
                </a:lnTo>
                <a:lnTo>
                  <a:pt x="479626" y="3201264"/>
                </a:lnTo>
                <a:cubicBezTo>
                  <a:pt x="480348" y="3200799"/>
                  <a:pt x="479935" y="3200025"/>
                  <a:pt x="480658" y="3199560"/>
                </a:cubicBezTo>
                <a:cubicBezTo>
                  <a:pt x="480658" y="3199560"/>
                  <a:pt x="481278" y="3198786"/>
                  <a:pt x="482310" y="3197856"/>
                </a:cubicBezTo>
                <a:lnTo>
                  <a:pt x="482413" y="3197856"/>
                </a:lnTo>
                <a:lnTo>
                  <a:pt x="482517" y="3197546"/>
                </a:lnTo>
                <a:cubicBezTo>
                  <a:pt x="483239" y="3194913"/>
                  <a:pt x="484169" y="3192280"/>
                  <a:pt x="485924" y="3191351"/>
                </a:cubicBezTo>
                <a:cubicBezTo>
                  <a:pt x="486234" y="3192590"/>
                  <a:pt x="486131" y="3194294"/>
                  <a:pt x="486131" y="3195842"/>
                </a:cubicBezTo>
                <a:lnTo>
                  <a:pt x="486234" y="3196617"/>
                </a:lnTo>
                <a:lnTo>
                  <a:pt x="487060" y="3196307"/>
                </a:lnTo>
                <a:cubicBezTo>
                  <a:pt x="488299" y="3196462"/>
                  <a:pt x="491087" y="3197546"/>
                  <a:pt x="490364" y="3198011"/>
                </a:cubicBezTo>
                <a:cubicBezTo>
                  <a:pt x="490054" y="3199250"/>
                  <a:pt x="490777" y="3198786"/>
                  <a:pt x="491294" y="3199405"/>
                </a:cubicBezTo>
                <a:lnTo>
                  <a:pt x="491087" y="3199870"/>
                </a:lnTo>
                <a:lnTo>
                  <a:pt x="495114" y="3200335"/>
                </a:lnTo>
                <a:cubicBezTo>
                  <a:pt x="497695" y="3189647"/>
                  <a:pt x="503684" y="3180043"/>
                  <a:pt x="508950" y="3170285"/>
                </a:cubicBezTo>
                <a:lnTo>
                  <a:pt x="511945" y="3164244"/>
                </a:lnTo>
                <a:lnTo>
                  <a:pt x="509983" y="3162695"/>
                </a:lnTo>
                <a:cubicBezTo>
                  <a:pt x="511015" y="3161301"/>
                  <a:pt x="511945" y="3160526"/>
                  <a:pt x="513803" y="3159287"/>
                </a:cubicBezTo>
                <a:lnTo>
                  <a:pt x="514320" y="3159752"/>
                </a:lnTo>
                <a:lnTo>
                  <a:pt x="516385" y="3155570"/>
                </a:lnTo>
                <a:lnTo>
                  <a:pt x="516591" y="3154950"/>
                </a:lnTo>
                <a:lnTo>
                  <a:pt x="515042" y="3154331"/>
                </a:lnTo>
                <a:cubicBezTo>
                  <a:pt x="514113" y="3154020"/>
                  <a:pt x="513700" y="3153246"/>
                  <a:pt x="513493" y="3152317"/>
                </a:cubicBezTo>
                <a:cubicBezTo>
                  <a:pt x="513390" y="3151387"/>
                  <a:pt x="513493" y="3150303"/>
                  <a:pt x="513803" y="3149529"/>
                </a:cubicBezTo>
                <a:cubicBezTo>
                  <a:pt x="514629" y="3148599"/>
                  <a:pt x="514732" y="3148444"/>
                  <a:pt x="515559" y="3147515"/>
                </a:cubicBezTo>
                <a:cubicBezTo>
                  <a:pt x="516385" y="3147360"/>
                  <a:pt x="517211" y="3147050"/>
                  <a:pt x="518037" y="3146896"/>
                </a:cubicBezTo>
                <a:lnTo>
                  <a:pt x="519172" y="3146896"/>
                </a:lnTo>
                <a:lnTo>
                  <a:pt x="520515" y="3142403"/>
                </a:lnTo>
                <a:lnTo>
                  <a:pt x="516488" y="3140080"/>
                </a:lnTo>
                <a:cubicBezTo>
                  <a:pt x="514836" y="3138686"/>
                  <a:pt x="513700" y="3136827"/>
                  <a:pt x="513493" y="3134194"/>
                </a:cubicBezTo>
                <a:lnTo>
                  <a:pt x="524852" y="3137292"/>
                </a:lnTo>
                <a:lnTo>
                  <a:pt x="527949" y="3134504"/>
                </a:lnTo>
                <a:cubicBezTo>
                  <a:pt x="529705" y="3132335"/>
                  <a:pt x="531047" y="3130321"/>
                  <a:pt x="532493" y="3128308"/>
                </a:cubicBezTo>
                <a:lnTo>
                  <a:pt x="532906" y="3127533"/>
                </a:lnTo>
                <a:lnTo>
                  <a:pt x="531770" y="3127224"/>
                </a:lnTo>
                <a:cubicBezTo>
                  <a:pt x="531254" y="3123506"/>
                  <a:pt x="529085" y="3119479"/>
                  <a:pt x="526710" y="3115606"/>
                </a:cubicBezTo>
                <a:lnTo>
                  <a:pt x="522373" y="3108171"/>
                </a:lnTo>
                <a:lnTo>
                  <a:pt x="521548" y="3107397"/>
                </a:lnTo>
                <a:cubicBezTo>
                  <a:pt x="516178" y="3114987"/>
                  <a:pt x="514217" y="3121492"/>
                  <a:pt x="511531" y="3127843"/>
                </a:cubicBezTo>
                <a:cubicBezTo>
                  <a:pt x="509466" y="3134349"/>
                  <a:pt x="506472" y="3139151"/>
                  <a:pt x="498315" y="3143642"/>
                </a:cubicBezTo>
                <a:cubicBezTo>
                  <a:pt x="495940" y="3139151"/>
                  <a:pt x="504510" y="3140699"/>
                  <a:pt x="506059" y="3133264"/>
                </a:cubicBezTo>
                <a:cubicBezTo>
                  <a:pt x="503891" y="3133109"/>
                  <a:pt x="501825" y="3133729"/>
                  <a:pt x="499863" y="3134659"/>
                </a:cubicBezTo>
                <a:lnTo>
                  <a:pt x="495527" y="3137602"/>
                </a:lnTo>
                <a:lnTo>
                  <a:pt x="496559" y="3139615"/>
                </a:lnTo>
                <a:cubicBezTo>
                  <a:pt x="497489" y="3144262"/>
                  <a:pt x="496250" y="3149839"/>
                  <a:pt x="492946" y="3149993"/>
                </a:cubicBezTo>
                <a:cubicBezTo>
                  <a:pt x="491706" y="3150148"/>
                  <a:pt x="490157" y="3149529"/>
                  <a:pt x="488402" y="3147670"/>
                </a:cubicBezTo>
                <a:lnTo>
                  <a:pt x="487886" y="3147050"/>
                </a:lnTo>
                <a:lnTo>
                  <a:pt x="485924" y="3149529"/>
                </a:lnTo>
                <a:cubicBezTo>
                  <a:pt x="484789" y="3148444"/>
                  <a:pt x="484375" y="3147360"/>
                  <a:pt x="484375" y="3145966"/>
                </a:cubicBezTo>
                <a:lnTo>
                  <a:pt x="484582" y="3142558"/>
                </a:lnTo>
                <a:lnTo>
                  <a:pt x="482000" y="3138996"/>
                </a:lnTo>
                <a:lnTo>
                  <a:pt x="483653" y="3137602"/>
                </a:lnTo>
                <a:lnTo>
                  <a:pt x="481897" y="3135898"/>
                </a:lnTo>
                <a:cubicBezTo>
                  <a:pt x="488299" y="3132180"/>
                  <a:pt x="491810" y="3128308"/>
                  <a:pt x="494494" y="3124281"/>
                </a:cubicBezTo>
                <a:lnTo>
                  <a:pt x="498315" y="3117930"/>
                </a:lnTo>
                <a:lnTo>
                  <a:pt x="495424" y="3115606"/>
                </a:lnTo>
                <a:cubicBezTo>
                  <a:pt x="491810" y="3111269"/>
                  <a:pt x="489848" y="3105538"/>
                  <a:pt x="490261" y="3099962"/>
                </a:cubicBezTo>
                <a:cubicBezTo>
                  <a:pt x="490364" y="3098103"/>
                  <a:pt x="490674" y="3096399"/>
                  <a:pt x="491397" y="3094540"/>
                </a:cubicBezTo>
                <a:lnTo>
                  <a:pt x="494185" y="3089894"/>
                </a:lnTo>
                <a:lnTo>
                  <a:pt x="493049" y="3089274"/>
                </a:lnTo>
                <a:cubicBezTo>
                  <a:pt x="491087" y="3087415"/>
                  <a:pt x="491706" y="3084627"/>
                  <a:pt x="494185" y="3081219"/>
                </a:cubicBezTo>
                <a:cubicBezTo>
                  <a:pt x="496147" y="3081374"/>
                  <a:pt x="497902" y="3080909"/>
                  <a:pt x="500586" y="3080755"/>
                </a:cubicBezTo>
                <a:cubicBezTo>
                  <a:pt x="500896" y="3081994"/>
                  <a:pt x="500793" y="3084007"/>
                  <a:pt x="500070" y="3085866"/>
                </a:cubicBezTo>
                <a:lnTo>
                  <a:pt x="496766" y="3089894"/>
                </a:lnTo>
                <a:lnTo>
                  <a:pt x="503684" y="3090823"/>
                </a:lnTo>
                <a:cubicBezTo>
                  <a:pt x="506472" y="3091907"/>
                  <a:pt x="508744" y="3093456"/>
                  <a:pt x="510602" y="3095315"/>
                </a:cubicBezTo>
                <a:lnTo>
                  <a:pt x="512048" y="3097638"/>
                </a:lnTo>
                <a:lnTo>
                  <a:pt x="513906" y="3094230"/>
                </a:lnTo>
                <a:cubicBezTo>
                  <a:pt x="514836" y="3092217"/>
                  <a:pt x="515559" y="3090049"/>
                  <a:pt x="516385" y="3087415"/>
                </a:cubicBezTo>
                <a:cubicBezTo>
                  <a:pt x="518966" y="3086486"/>
                  <a:pt x="521341" y="3084937"/>
                  <a:pt x="523613" y="3082923"/>
                </a:cubicBezTo>
                <a:lnTo>
                  <a:pt x="524955" y="3081219"/>
                </a:lnTo>
                <a:lnTo>
                  <a:pt x="523819" y="3080600"/>
                </a:lnTo>
                <a:lnTo>
                  <a:pt x="526503" y="3079516"/>
                </a:lnTo>
                <a:lnTo>
                  <a:pt x="529085" y="3076418"/>
                </a:lnTo>
                <a:lnTo>
                  <a:pt x="529188" y="3076108"/>
                </a:lnTo>
                <a:lnTo>
                  <a:pt x="529498" y="3075953"/>
                </a:lnTo>
                <a:lnTo>
                  <a:pt x="530015" y="3075333"/>
                </a:lnTo>
                <a:cubicBezTo>
                  <a:pt x="531666" y="3072390"/>
                  <a:pt x="534041" y="3069447"/>
                  <a:pt x="536623" y="3066040"/>
                </a:cubicBezTo>
                <a:cubicBezTo>
                  <a:pt x="538482" y="3062322"/>
                  <a:pt x="541579" y="3059689"/>
                  <a:pt x="544987" y="3055817"/>
                </a:cubicBezTo>
                <a:cubicBezTo>
                  <a:pt x="546845" y="3049930"/>
                  <a:pt x="537759" y="3052563"/>
                  <a:pt x="543438" y="3046523"/>
                </a:cubicBezTo>
                <a:cubicBezTo>
                  <a:pt x="545193" y="3047917"/>
                  <a:pt x="546845" y="3048691"/>
                  <a:pt x="548291" y="3048846"/>
                </a:cubicBezTo>
                <a:lnTo>
                  <a:pt x="552111" y="3047917"/>
                </a:lnTo>
                <a:lnTo>
                  <a:pt x="547052" y="3043425"/>
                </a:lnTo>
                <a:cubicBezTo>
                  <a:pt x="543644" y="3040172"/>
                  <a:pt x="540856" y="3036609"/>
                  <a:pt x="540959" y="3033976"/>
                </a:cubicBezTo>
                <a:cubicBezTo>
                  <a:pt x="541063" y="3033202"/>
                  <a:pt x="541373" y="3032427"/>
                  <a:pt x="541992" y="3031807"/>
                </a:cubicBezTo>
                <a:cubicBezTo>
                  <a:pt x="544470" y="3033821"/>
                  <a:pt x="549426" y="3036919"/>
                  <a:pt x="553144" y="3040482"/>
                </a:cubicBezTo>
                <a:lnTo>
                  <a:pt x="555416" y="3043734"/>
                </a:lnTo>
                <a:lnTo>
                  <a:pt x="558203" y="3040017"/>
                </a:lnTo>
                <a:cubicBezTo>
                  <a:pt x="562643" y="3032892"/>
                  <a:pt x="567496" y="3024373"/>
                  <a:pt x="575860" y="3024373"/>
                </a:cubicBezTo>
                <a:cubicBezTo>
                  <a:pt x="576480" y="3022359"/>
                  <a:pt x="576893" y="3020965"/>
                  <a:pt x="574518" y="3018796"/>
                </a:cubicBezTo>
                <a:lnTo>
                  <a:pt x="581952" y="3013839"/>
                </a:lnTo>
                <a:lnTo>
                  <a:pt x="584844" y="3005940"/>
                </a:lnTo>
                <a:cubicBezTo>
                  <a:pt x="586495" y="3003461"/>
                  <a:pt x="588767" y="3001603"/>
                  <a:pt x="592071" y="3000363"/>
                </a:cubicBezTo>
                <a:lnTo>
                  <a:pt x="593414" y="3004391"/>
                </a:lnTo>
                <a:lnTo>
                  <a:pt x="595376" y="3002687"/>
                </a:lnTo>
                <a:cubicBezTo>
                  <a:pt x="598370" y="3000054"/>
                  <a:pt x="601468" y="2997575"/>
                  <a:pt x="603843" y="2994632"/>
                </a:cubicBezTo>
                <a:cubicBezTo>
                  <a:pt x="606940" y="2992154"/>
                  <a:pt x="609109" y="2989985"/>
                  <a:pt x="611484" y="2987197"/>
                </a:cubicBezTo>
                <a:cubicBezTo>
                  <a:pt x="616853" y="2981776"/>
                  <a:pt x="622119" y="2976974"/>
                  <a:pt x="627282" y="2972172"/>
                </a:cubicBezTo>
                <a:lnTo>
                  <a:pt x="632651" y="2967526"/>
                </a:lnTo>
                <a:lnTo>
                  <a:pt x="632858" y="2965357"/>
                </a:lnTo>
                <a:lnTo>
                  <a:pt x="634200" y="2966131"/>
                </a:lnTo>
                <a:lnTo>
                  <a:pt x="635335" y="2965202"/>
                </a:lnTo>
                <a:cubicBezTo>
                  <a:pt x="638124" y="2962879"/>
                  <a:pt x="641015" y="2960710"/>
                  <a:pt x="644319" y="2958541"/>
                </a:cubicBezTo>
                <a:lnTo>
                  <a:pt x="644732" y="2960555"/>
                </a:lnTo>
                <a:lnTo>
                  <a:pt x="645455" y="2959935"/>
                </a:lnTo>
                <a:cubicBezTo>
                  <a:pt x="646591" y="2959781"/>
                  <a:pt x="647417" y="2960245"/>
                  <a:pt x="647417" y="2960245"/>
                </a:cubicBezTo>
                <a:lnTo>
                  <a:pt x="647520" y="2960865"/>
                </a:lnTo>
                <a:lnTo>
                  <a:pt x="650515" y="2955134"/>
                </a:lnTo>
                <a:cubicBezTo>
                  <a:pt x="652063" y="2951881"/>
                  <a:pt x="653509" y="2948473"/>
                  <a:pt x="654541" y="2945220"/>
                </a:cubicBezTo>
                <a:cubicBezTo>
                  <a:pt x="656710" y="2947079"/>
                  <a:pt x="666416" y="2942432"/>
                  <a:pt x="669307" y="2937011"/>
                </a:cubicBezTo>
                <a:lnTo>
                  <a:pt x="669514" y="2936237"/>
                </a:lnTo>
                <a:lnTo>
                  <a:pt x="669410" y="2936237"/>
                </a:lnTo>
                <a:lnTo>
                  <a:pt x="669927" y="2933603"/>
                </a:lnTo>
                <a:lnTo>
                  <a:pt x="669307" y="2931435"/>
                </a:lnTo>
                <a:cubicBezTo>
                  <a:pt x="676948" y="2933294"/>
                  <a:pt x="697289" y="2923535"/>
                  <a:pt x="697496" y="2915635"/>
                </a:cubicBezTo>
                <a:cubicBezTo>
                  <a:pt x="702039" y="2917959"/>
                  <a:pt x="706273" y="2916565"/>
                  <a:pt x="709990" y="2914241"/>
                </a:cubicBezTo>
                <a:lnTo>
                  <a:pt x="715566" y="2910369"/>
                </a:lnTo>
                <a:lnTo>
                  <a:pt x="716082" y="2909439"/>
                </a:lnTo>
                <a:lnTo>
                  <a:pt x="717631" y="2909594"/>
                </a:lnTo>
                <a:lnTo>
                  <a:pt x="717837" y="2909439"/>
                </a:lnTo>
                <a:lnTo>
                  <a:pt x="717218" y="2909130"/>
                </a:lnTo>
                <a:cubicBezTo>
                  <a:pt x="717012" y="2907116"/>
                  <a:pt x="717424" y="2905567"/>
                  <a:pt x="717941" y="2904328"/>
                </a:cubicBezTo>
                <a:lnTo>
                  <a:pt x="718354" y="2903399"/>
                </a:lnTo>
                <a:lnTo>
                  <a:pt x="716701" y="2901695"/>
                </a:lnTo>
                <a:lnTo>
                  <a:pt x="719180" y="2901230"/>
                </a:lnTo>
                <a:lnTo>
                  <a:pt x="719490" y="2900455"/>
                </a:lnTo>
                <a:cubicBezTo>
                  <a:pt x="721761" y="2900301"/>
                  <a:pt x="723413" y="2900455"/>
                  <a:pt x="724859" y="2901075"/>
                </a:cubicBezTo>
                <a:lnTo>
                  <a:pt x="725995" y="2901849"/>
                </a:lnTo>
                <a:lnTo>
                  <a:pt x="729609" y="2901075"/>
                </a:lnTo>
                <a:cubicBezTo>
                  <a:pt x="730641" y="2900455"/>
                  <a:pt x="731467" y="2899836"/>
                  <a:pt x="732087" y="2899061"/>
                </a:cubicBezTo>
                <a:lnTo>
                  <a:pt x="732500" y="2897512"/>
                </a:lnTo>
                <a:lnTo>
                  <a:pt x="731364" y="2895344"/>
                </a:lnTo>
                <a:cubicBezTo>
                  <a:pt x="731158" y="2894415"/>
                  <a:pt x="731158" y="2893640"/>
                  <a:pt x="731364" y="2892866"/>
                </a:cubicBezTo>
                <a:cubicBezTo>
                  <a:pt x="731777" y="2891471"/>
                  <a:pt x="732913" y="2890232"/>
                  <a:pt x="734462" y="2889767"/>
                </a:cubicBezTo>
                <a:cubicBezTo>
                  <a:pt x="735907" y="2889303"/>
                  <a:pt x="737663" y="2889303"/>
                  <a:pt x="739418" y="2889923"/>
                </a:cubicBezTo>
                <a:lnTo>
                  <a:pt x="743445" y="2893950"/>
                </a:lnTo>
                <a:lnTo>
                  <a:pt x="743548" y="2893795"/>
                </a:lnTo>
                <a:cubicBezTo>
                  <a:pt x="744787" y="2893950"/>
                  <a:pt x="745923" y="2894724"/>
                  <a:pt x="747162" y="2896428"/>
                </a:cubicBezTo>
                <a:cubicBezTo>
                  <a:pt x="747265" y="2893485"/>
                  <a:pt x="749434" y="2891316"/>
                  <a:pt x="751809" y="2895808"/>
                </a:cubicBezTo>
                <a:lnTo>
                  <a:pt x="752531" y="2894569"/>
                </a:lnTo>
                <a:lnTo>
                  <a:pt x="750570" y="2891007"/>
                </a:lnTo>
                <a:cubicBezTo>
                  <a:pt x="751499" y="2890232"/>
                  <a:pt x="752428" y="2889613"/>
                  <a:pt x="751706" y="2888683"/>
                </a:cubicBezTo>
                <a:cubicBezTo>
                  <a:pt x="753048" y="2887444"/>
                  <a:pt x="754700" y="2886515"/>
                  <a:pt x="756455" y="2885895"/>
                </a:cubicBezTo>
                <a:cubicBezTo>
                  <a:pt x="759553" y="2884656"/>
                  <a:pt x="763064" y="2884347"/>
                  <a:pt x="766574" y="2884811"/>
                </a:cubicBezTo>
                <a:lnTo>
                  <a:pt x="768743" y="2885430"/>
                </a:lnTo>
                <a:lnTo>
                  <a:pt x="768226" y="2884656"/>
                </a:lnTo>
                <a:cubicBezTo>
                  <a:pt x="768536" y="2879544"/>
                  <a:pt x="771944" y="2877686"/>
                  <a:pt x="775145" y="2878305"/>
                </a:cubicBezTo>
                <a:lnTo>
                  <a:pt x="778965" y="2880629"/>
                </a:lnTo>
                <a:lnTo>
                  <a:pt x="779172" y="2879544"/>
                </a:lnTo>
                <a:cubicBezTo>
                  <a:pt x="779585" y="2878770"/>
                  <a:pt x="780307" y="2878460"/>
                  <a:pt x="781237" y="2878150"/>
                </a:cubicBezTo>
                <a:cubicBezTo>
                  <a:pt x="782992" y="2877531"/>
                  <a:pt x="785470" y="2877531"/>
                  <a:pt x="787639" y="2876756"/>
                </a:cubicBezTo>
                <a:lnTo>
                  <a:pt x="787122" y="2878305"/>
                </a:lnTo>
                <a:lnTo>
                  <a:pt x="789807" y="2877531"/>
                </a:lnTo>
                <a:lnTo>
                  <a:pt x="791046" y="2873194"/>
                </a:lnTo>
                <a:lnTo>
                  <a:pt x="790324" y="2873814"/>
                </a:lnTo>
                <a:cubicBezTo>
                  <a:pt x="787742" y="2873968"/>
                  <a:pt x="785058" y="2875207"/>
                  <a:pt x="782063" y="2874433"/>
                </a:cubicBezTo>
                <a:lnTo>
                  <a:pt x="779894" y="2873194"/>
                </a:lnTo>
                <a:lnTo>
                  <a:pt x="779998" y="2873968"/>
                </a:lnTo>
                <a:cubicBezTo>
                  <a:pt x="776590" y="2876292"/>
                  <a:pt x="775351" y="2876602"/>
                  <a:pt x="771531" y="2876602"/>
                </a:cubicBezTo>
                <a:lnTo>
                  <a:pt x="770292" y="2871645"/>
                </a:lnTo>
                <a:lnTo>
                  <a:pt x="766781" y="2872264"/>
                </a:lnTo>
                <a:cubicBezTo>
                  <a:pt x="766368" y="2870715"/>
                  <a:pt x="766161" y="2869631"/>
                  <a:pt x="766264" y="2868701"/>
                </a:cubicBezTo>
                <a:cubicBezTo>
                  <a:pt x="766264" y="2867927"/>
                  <a:pt x="766574" y="2867462"/>
                  <a:pt x="766987" y="2867153"/>
                </a:cubicBezTo>
                <a:cubicBezTo>
                  <a:pt x="767504" y="2866688"/>
                  <a:pt x="768330" y="2866998"/>
                  <a:pt x="769053" y="2867462"/>
                </a:cubicBezTo>
                <a:lnTo>
                  <a:pt x="769982" y="2868392"/>
                </a:lnTo>
                <a:lnTo>
                  <a:pt x="770808" y="2862815"/>
                </a:lnTo>
                <a:cubicBezTo>
                  <a:pt x="778449" y="2857859"/>
                  <a:pt x="779172" y="2863435"/>
                  <a:pt x="779482" y="2869012"/>
                </a:cubicBezTo>
                <a:lnTo>
                  <a:pt x="779791" y="2871955"/>
                </a:lnTo>
                <a:lnTo>
                  <a:pt x="784334" y="2865449"/>
                </a:lnTo>
                <a:cubicBezTo>
                  <a:pt x="785677" y="2862971"/>
                  <a:pt x="786709" y="2860337"/>
                  <a:pt x="788258" y="2857704"/>
                </a:cubicBezTo>
                <a:lnTo>
                  <a:pt x="788774" y="2857859"/>
                </a:lnTo>
                <a:lnTo>
                  <a:pt x="786813" y="2850579"/>
                </a:lnTo>
                <a:lnTo>
                  <a:pt x="786193" y="2845312"/>
                </a:lnTo>
                <a:lnTo>
                  <a:pt x="785883" y="2845777"/>
                </a:lnTo>
                <a:cubicBezTo>
                  <a:pt x="782269" y="2846861"/>
                  <a:pt x="779068" y="2847326"/>
                  <a:pt x="776384" y="2846861"/>
                </a:cubicBezTo>
                <a:lnTo>
                  <a:pt x="770395" y="2841440"/>
                </a:lnTo>
                <a:lnTo>
                  <a:pt x="764922" y="2843144"/>
                </a:lnTo>
                <a:lnTo>
                  <a:pt x="759140" y="2841905"/>
                </a:lnTo>
                <a:lnTo>
                  <a:pt x="754287" y="2844847"/>
                </a:lnTo>
                <a:cubicBezTo>
                  <a:pt x="753048" y="2843763"/>
                  <a:pt x="752635" y="2842524"/>
                  <a:pt x="752841" y="2841440"/>
                </a:cubicBezTo>
                <a:lnTo>
                  <a:pt x="753874" y="2839736"/>
                </a:lnTo>
                <a:lnTo>
                  <a:pt x="747782" y="2834624"/>
                </a:lnTo>
                <a:cubicBezTo>
                  <a:pt x="745613" y="2831991"/>
                  <a:pt x="743858" y="2828893"/>
                  <a:pt x="742619" y="2825486"/>
                </a:cubicBezTo>
                <a:lnTo>
                  <a:pt x="741380" y="2815417"/>
                </a:lnTo>
                <a:lnTo>
                  <a:pt x="737560" y="2813249"/>
                </a:lnTo>
                <a:cubicBezTo>
                  <a:pt x="734978" y="2806743"/>
                  <a:pt x="733429" y="2800857"/>
                  <a:pt x="734152" y="2795590"/>
                </a:cubicBezTo>
                <a:cubicBezTo>
                  <a:pt x="734875" y="2790479"/>
                  <a:pt x="737766" y="2786142"/>
                  <a:pt x="743858" y="2782889"/>
                </a:cubicBezTo>
                <a:cubicBezTo>
                  <a:pt x="744684" y="2785057"/>
                  <a:pt x="746853" y="2784283"/>
                  <a:pt x="749124" y="2783509"/>
                </a:cubicBezTo>
                <a:lnTo>
                  <a:pt x="754287" y="2790944"/>
                </a:lnTo>
                <a:lnTo>
                  <a:pt x="756455" y="2789395"/>
                </a:lnTo>
                <a:cubicBezTo>
                  <a:pt x="759863" y="2787846"/>
                  <a:pt x="763787" y="2786761"/>
                  <a:pt x="768330" y="2785987"/>
                </a:cubicBezTo>
                <a:lnTo>
                  <a:pt x="769053" y="2787071"/>
                </a:lnTo>
                <a:lnTo>
                  <a:pt x="769156" y="2786916"/>
                </a:lnTo>
                <a:cubicBezTo>
                  <a:pt x="771531" y="2787381"/>
                  <a:pt x="772460" y="2788620"/>
                  <a:pt x="772150" y="2789859"/>
                </a:cubicBezTo>
                <a:lnTo>
                  <a:pt x="771840" y="2790789"/>
                </a:lnTo>
                <a:lnTo>
                  <a:pt x="778656" y="2799928"/>
                </a:lnTo>
                <a:cubicBezTo>
                  <a:pt x="783922" y="2809841"/>
                  <a:pt x="785573" y="2820374"/>
                  <a:pt x="782992" y="2828893"/>
                </a:cubicBezTo>
                <a:lnTo>
                  <a:pt x="781547" y="2831836"/>
                </a:lnTo>
                <a:lnTo>
                  <a:pt x="784851" y="2832301"/>
                </a:lnTo>
                <a:lnTo>
                  <a:pt x="785058" y="2832610"/>
                </a:lnTo>
                <a:lnTo>
                  <a:pt x="784644" y="2827654"/>
                </a:lnTo>
                <a:cubicBezTo>
                  <a:pt x="786193" y="2827964"/>
                  <a:pt x="787432" y="2827654"/>
                  <a:pt x="788878" y="2827499"/>
                </a:cubicBezTo>
                <a:lnTo>
                  <a:pt x="791356" y="2827964"/>
                </a:lnTo>
                <a:lnTo>
                  <a:pt x="791356" y="2826879"/>
                </a:lnTo>
                <a:cubicBezTo>
                  <a:pt x="793318" y="2825950"/>
                  <a:pt x="794970" y="2825486"/>
                  <a:pt x="796209" y="2825640"/>
                </a:cubicBezTo>
                <a:lnTo>
                  <a:pt x="797551" y="2826260"/>
                </a:lnTo>
                <a:lnTo>
                  <a:pt x="797241" y="2821923"/>
                </a:lnTo>
                <a:cubicBezTo>
                  <a:pt x="797551" y="2820219"/>
                  <a:pt x="798068" y="2818980"/>
                  <a:pt x="798790" y="2818205"/>
                </a:cubicBezTo>
                <a:lnTo>
                  <a:pt x="800649" y="2817276"/>
                </a:lnTo>
                <a:lnTo>
                  <a:pt x="798997" y="2816037"/>
                </a:lnTo>
                <a:cubicBezTo>
                  <a:pt x="798171" y="2815108"/>
                  <a:pt x="797241" y="2813249"/>
                  <a:pt x="796932" y="2811235"/>
                </a:cubicBezTo>
                <a:cubicBezTo>
                  <a:pt x="796519" y="2809222"/>
                  <a:pt x="796519" y="2807053"/>
                  <a:pt x="797448" y="2805814"/>
                </a:cubicBezTo>
                <a:cubicBezTo>
                  <a:pt x="799100" y="2806898"/>
                  <a:pt x="800752" y="2807827"/>
                  <a:pt x="802404" y="2808912"/>
                </a:cubicBezTo>
                <a:cubicBezTo>
                  <a:pt x="801578" y="2808757"/>
                  <a:pt x="803127" y="2816502"/>
                  <a:pt x="803127" y="2816502"/>
                </a:cubicBezTo>
                <a:lnTo>
                  <a:pt x="801785" y="2817276"/>
                </a:lnTo>
                <a:lnTo>
                  <a:pt x="805399" y="2818205"/>
                </a:lnTo>
                <a:cubicBezTo>
                  <a:pt x="810149" y="2820529"/>
                  <a:pt x="814795" y="2826415"/>
                  <a:pt x="812833" y="2829358"/>
                </a:cubicBezTo>
                <a:cubicBezTo>
                  <a:pt x="811800" y="2830752"/>
                  <a:pt x="809116" y="2831526"/>
                  <a:pt x="803850" y="2830597"/>
                </a:cubicBezTo>
                <a:lnTo>
                  <a:pt x="799823" y="2829513"/>
                </a:lnTo>
                <a:lnTo>
                  <a:pt x="799823" y="2829822"/>
                </a:lnTo>
                <a:cubicBezTo>
                  <a:pt x="799823" y="2830907"/>
                  <a:pt x="799307" y="2832146"/>
                  <a:pt x="798584" y="2833230"/>
                </a:cubicBezTo>
                <a:lnTo>
                  <a:pt x="794660" y="2836018"/>
                </a:lnTo>
                <a:lnTo>
                  <a:pt x="795176" y="2850114"/>
                </a:lnTo>
                <a:lnTo>
                  <a:pt x="797964" y="2854142"/>
                </a:lnTo>
                <a:cubicBezTo>
                  <a:pt x="798481" y="2855536"/>
                  <a:pt x="798274" y="2856775"/>
                  <a:pt x="796932" y="2857704"/>
                </a:cubicBezTo>
                <a:lnTo>
                  <a:pt x="795590" y="2857239"/>
                </a:lnTo>
                <a:lnTo>
                  <a:pt x="795899" y="2860492"/>
                </a:lnTo>
                <a:lnTo>
                  <a:pt x="795693" y="2866998"/>
                </a:lnTo>
                <a:lnTo>
                  <a:pt x="796209" y="2866688"/>
                </a:lnTo>
                <a:cubicBezTo>
                  <a:pt x="799617" y="2867153"/>
                  <a:pt x="802301" y="2867153"/>
                  <a:pt x="804676" y="2866688"/>
                </a:cubicBezTo>
                <a:lnTo>
                  <a:pt x="804883" y="2866688"/>
                </a:lnTo>
                <a:lnTo>
                  <a:pt x="803953" y="2863745"/>
                </a:lnTo>
                <a:cubicBezTo>
                  <a:pt x="803850" y="2862351"/>
                  <a:pt x="804366" y="2861111"/>
                  <a:pt x="805502" y="2860492"/>
                </a:cubicBezTo>
                <a:cubicBezTo>
                  <a:pt x="806225" y="2859872"/>
                  <a:pt x="807257" y="2859718"/>
                  <a:pt x="808600" y="2859718"/>
                </a:cubicBezTo>
                <a:cubicBezTo>
                  <a:pt x="809529" y="2860647"/>
                  <a:pt x="810045" y="2862506"/>
                  <a:pt x="810149" y="2864365"/>
                </a:cubicBezTo>
                <a:lnTo>
                  <a:pt x="810045" y="2864829"/>
                </a:lnTo>
                <a:lnTo>
                  <a:pt x="810871" y="2864519"/>
                </a:lnTo>
                <a:lnTo>
                  <a:pt x="813866" y="2862351"/>
                </a:lnTo>
                <a:lnTo>
                  <a:pt x="813762" y="2862196"/>
                </a:lnTo>
                <a:cubicBezTo>
                  <a:pt x="813350" y="2861422"/>
                  <a:pt x="813143" y="2860647"/>
                  <a:pt x="813350" y="2860027"/>
                </a:cubicBezTo>
                <a:cubicBezTo>
                  <a:pt x="813762" y="2858943"/>
                  <a:pt x="814589" y="2858633"/>
                  <a:pt x="814589" y="2858633"/>
                </a:cubicBezTo>
                <a:lnTo>
                  <a:pt x="815311" y="2858943"/>
                </a:lnTo>
                <a:lnTo>
                  <a:pt x="815828" y="2855071"/>
                </a:lnTo>
                <a:cubicBezTo>
                  <a:pt x="816654" y="2853677"/>
                  <a:pt x="817893" y="2852747"/>
                  <a:pt x="819545" y="2852592"/>
                </a:cubicBezTo>
                <a:cubicBezTo>
                  <a:pt x="820990" y="2852283"/>
                  <a:pt x="822643" y="2852747"/>
                  <a:pt x="824501" y="2853832"/>
                </a:cubicBezTo>
                <a:lnTo>
                  <a:pt x="824914" y="2854761"/>
                </a:lnTo>
                <a:lnTo>
                  <a:pt x="825637" y="2854296"/>
                </a:lnTo>
                <a:lnTo>
                  <a:pt x="822849" y="2852747"/>
                </a:lnTo>
                <a:cubicBezTo>
                  <a:pt x="821817" y="2851973"/>
                  <a:pt x="820990" y="2850889"/>
                  <a:pt x="821197" y="2849340"/>
                </a:cubicBezTo>
                <a:cubicBezTo>
                  <a:pt x="822023" y="2849030"/>
                  <a:pt x="821610" y="2848410"/>
                  <a:pt x="822333" y="2848100"/>
                </a:cubicBezTo>
                <a:cubicBezTo>
                  <a:pt x="822333" y="2848100"/>
                  <a:pt x="822952" y="2847326"/>
                  <a:pt x="824088" y="2846861"/>
                </a:cubicBezTo>
                <a:cubicBezTo>
                  <a:pt x="825121" y="2846242"/>
                  <a:pt x="826773" y="2845777"/>
                  <a:pt x="828941" y="2846397"/>
                </a:cubicBezTo>
                <a:cubicBezTo>
                  <a:pt x="830077" y="2846861"/>
                  <a:pt x="832865" y="2848565"/>
                  <a:pt x="832039" y="2848875"/>
                </a:cubicBezTo>
                <a:cubicBezTo>
                  <a:pt x="831626" y="2849959"/>
                  <a:pt x="832452" y="2849649"/>
                  <a:pt x="832865" y="2850424"/>
                </a:cubicBezTo>
                <a:lnTo>
                  <a:pt x="832142" y="2851663"/>
                </a:lnTo>
                <a:lnTo>
                  <a:pt x="832659" y="2851973"/>
                </a:lnTo>
                <a:cubicBezTo>
                  <a:pt x="834414" y="2853212"/>
                  <a:pt x="834414" y="2853212"/>
                  <a:pt x="834104" y="2854296"/>
                </a:cubicBezTo>
                <a:cubicBezTo>
                  <a:pt x="834001" y="2854916"/>
                  <a:pt x="833175" y="2855226"/>
                  <a:pt x="832452" y="2855690"/>
                </a:cubicBezTo>
                <a:lnTo>
                  <a:pt x="831832" y="2856155"/>
                </a:lnTo>
                <a:lnTo>
                  <a:pt x="835962" y="2854916"/>
                </a:lnTo>
                <a:cubicBezTo>
                  <a:pt x="840403" y="2852747"/>
                  <a:pt x="845256" y="2851508"/>
                  <a:pt x="850419" y="2849649"/>
                </a:cubicBezTo>
                <a:lnTo>
                  <a:pt x="856924" y="2847481"/>
                </a:lnTo>
                <a:lnTo>
                  <a:pt x="856614" y="2846397"/>
                </a:lnTo>
                <a:cubicBezTo>
                  <a:pt x="856717" y="2845932"/>
                  <a:pt x="856924" y="2845312"/>
                  <a:pt x="857233" y="2845002"/>
                </a:cubicBezTo>
                <a:cubicBezTo>
                  <a:pt x="857646" y="2844693"/>
                  <a:pt x="858369" y="2844538"/>
                  <a:pt x="859505" y="2845002"/>
                </a:cubicBezTo>
                <a:cubicBezTo>
                  <a:pt x="860537" y="2845002"/>
                  <a:pt x="861157" y="2845157"/>
                  <a:pt x="861467" y="2845622"/>
                </a:cubicBezTo>
                <a:lnTo>
                  <a:pt x="861570" y="2846087"/>
                </a:lnTo>
                <a:lnTo>
                  <a:pt x="864668" y="2845002"/>
                </a:lnTo>
                <a:cubicBezTo>
                  <a:pt x="869521" y="2843919"/>
                  <a:pt x="874684" y="2841905"/>
                  <a:pt x="879536" y="2840820"/>
                </a:cubicBezTo>
                <a:cubicBezTo>
                  <a:pt x="884390" y="2839581"/>
                  <a:pt x="888830" y="2837412"/>
                  <a:pt x="893889" y="2835554"/>
                </a:cubicBezTo>
                <a:cubicBezTo>
                  <a:pt x="898123" y="2834005"/>
                  <a:pt x="903286" y="2832146"/>
                  <a:pt x="907622" y="2829978"/>
                </a:cubicBezTo>
                <a:cubicBezTo>
                  <a:pt x="912062" y="2827964"/>
                  <a:pt x="916502" y="2825795"/>
                  <a:pt x="920942" y="2823782"/>
                </a:cubicBezTo>
                <a:cubicBezTo>
                  <a:pt x="923627" y="2822388"/>
                  <a:pt x="925589" y="2820839"/>
                  <a:pt x="927551" y="2819445"/>
                </a:cubicBezTo>
                <a:cubicBezTo>
                  <a:pt x="927551" y="2819445"/>
                  <a:pt x="927551" y="2819445"/>
                  <a:pt x="929306" y="2818515"/>
                </a:cubicBezTo>
                <a:cubicBezTo>
                  <a:pt x="933333" y="2817741"/>
                  <a:pt x="920736" y="2819289"/>
                  <a:pt x="937980" y="2817121"/>
                </a:cubicBezTo>
                <a:cubicBezTo>
                  <a:pt x="937980" y="2817121"/>
                  <a:pt x="937980" y="2817276"/>
                  <a:pt x="938186" y="2816502"/>
                </a:cubicBezTo>
                <a:cubicBezTo>
                  <a:pt x="938186" y="2816502"/>
                  <a:pt x="938186" y="2816502"/>
                  <a:pt x="939116" y="2816037"/>
                </a:cubicBezTo>
                <a:cubicBezTo>
                  <a:pt x="939322" y="2815417"/>
                  <a:pt x="939528" y="2814798"/>
                  <a:pt x="940355" y="2814333"/>
                </a:cubicBezTo>
                <a:cubicBezTo>
                  <a:pt x="939632" y="2811854"/>
                  <a:pt x="938186" y="2811545"/>
                  <a:pt x="937567" y="2811235"/>
                </a:cubicBezTo>
                <a:cubicBezTo>
                  <a:pt x="937567" y="2811235"/>
                  <a:pt x="937567" y="2811235"/>
                  <a:pt x="937360" y="2811854"/>
                </a:cubicBezTo>
                <a:cubicBezTo>
                  <a:pt x="937360" y="2811854"/>
                  <a:pt x="937360" y="2811854"/>
                  <a:pt x="936741" y="2811700"/>
                </a:cubicBezTo>
                <a:lnTo>
                  <a:pt x="931991" y="2812474"/>
                </a:lnTo>
                <a:lnTo>
                  <a:pt x="927758" y="2815727"/>
                </a:lnTo>
                <a:cubicBezTo>
                  <a:pt x="926415" y="2816037"/>
                  <a:pt x="925176" y="2815572"/>
                  <a:pt x="924040" y="2814178"/>
                </a:cubicBezTo>
                <a:cubicBezTo>
                  <a:pt x="924143" y="2813404"/>
                  <a:pt x="925486" y="2810925"/>
                  <a:pt x="924660" y="2810925"/>
                </a:cubicBezTo>
                <a:cubicBezTo>
                  <a:pt x="926828" y="2809066"/>
                  <a:pt x="929513" y="2807363"/>
                  <a:pt x="931785" y="2807363"/>
                </a:cubicBezTo>
                <a:cubicBezTo>
                  <a:pt x="932507" y="2807363"/>
                  <a:pt x="933127" y="2807672"/>
                  <a:pt x="933746" y="2808137"/>
                </a:cubicBezTo>
                <a:lnTo>
                  <a:pt x="933953" y="2808912"/>
                </a:lnTo>
                <a:lnTo>
                  <a:pt x="936121" y="2808602"/>
                </a:lnTo>
                <a:cubicBezTo>
                  <a:pt x="936121" y="2808602"/>
                  <a:pt x="936121" y="2808602"/>
                  <a:pt x="936844" y="2808757"/>
                </a:cubicBezTo>
                <a:cubicBezTo>
                  <a:pt x="936844" y="2808757"/>
                  <a:pt x="936844" y="2808757"/>
                  <a:pt x="937051" y="2808137"/>
                </a:cubicBezTo>
                <a:cubicBezTo>
                  <a:pt x="937051" y="2808137"/>
                  <a:pt x="937257" y="2807518"/>
                  <a:pt x="937876" y="2807672"/>
                </a:cubicBezTo>
                <a:cubicBezTo>
                  <a:pt x="938083" y="2807053"/>
                  <a:pt x="938806" y="2807363"/>
                  <a:pt x="939632" y="2806898"/>
                </a:cubicBezTo>
                <a:lnTo>
                  <a:pt x="941904" y="2804729"/>
                </a:lnTo>
                <a:lnTo>
                  <a:pt x="941697" y="2799463"/>
                </a:lnTo>
                <a:cubicBezTo>
                  <a:pt x="941594" y="2793112"/>
                  <a:pt x="942213" y="2786916"/>
                  <a:pt x="947273" y="2782115"/>
                </a:cubicBezTo>
                <a:cubicBezTo>
                  <a:pt x="958425" y="2780256"/>
                  <a:pt x="960386" y="2774215"/>
                  <a:pt x="966685" y="2770652"/>
                </a:cubicBezTo>
                <a:cubicBezTo>
                  <a:pt x="981864" y="2770032"/>
                  <a:pt x="1001792" y="2774060"/>
                  <a:pt x="1008710" y="2788930"/>
                </a:cubicBezTo>
                <a:lnTo>
                  <a:pt x="1010053" y="2794506"/>
                </a:lnTo>
                <a:lnTo>
                  <a:pt x="1020688" y="2793732"/>
                </a:lnTo>
                <a:lnTo>
                  <a:pt x="1021927" y="2793732"/>
                </a:lnTo>
                <a:lnTo>
                  <a:pt x="1022547" y="2791563"/>
                </a:lnTo>
                <a:lnTo>
                  <a:pt x="1021721" y="2791408"/>
                </a:lnTo>
                <a:lnTo>
                  <a:pt x="1022753" y="2791099"/>
                </a:lnTo>
                <a:lnTo>
                  <a:pt x="1023063" y="2789704"/>
                </a:lnTo>
                <a:cubicBezTo>
                  <a:pt x="1024508" y="2785677"/>
                  <a:pt x="1026470" y="2782269"/>
                  <a:pt x="1029878" y="2781805"/>
                </a:cubicBezTo>
                <a:lnTo>
                  <a:pt x="1032150" y="2782115"/>
                </a:lnTo>
                <a:lnTo>
                  <a:pt x="1030807" y="2781650"/>
                </a:lnTo>
                <a:cubicBezTo>
                  <a:pt x="1019036" y="2774679"/>
                  <a:pt x="1021307" y="2763682"/>
                  <a:pt x="1015732" y="2752220"/>
                </a:cubicBezTo>
                <a:cubicBezTo>
                  <a:pt x="1024715" y="2745094"/>
                  <a:pt x="1022340" y="2739363"/>
                  <a:pt x="1023476" y="2733322"/>
                </a:cubicBezTo>
                <a:cubicBezTo>
                  <a:pt x="1027399" y="2732393"/>
                  <a:pt x="1031220" y="2729914"/>
                  <a:pt x="1035040" y="2727126"/>
                </a:cubicBezTo>
                <a:lnTo>
                  <a:pt x="1043404" y="2721240"/>
                </a:lnTo>
                <a:lnTo>
                  <a:pt x="1044540" y="2717523"/>
                </a:lnTo>
                <a:cubicBezTo>
                  <a:pt x="1046502" y="2714270"/>
                  <a:pt x="1050323" y="2711637"/>
                  <a:pt x="1057034" y="2711172"/>
                </a:cubicBezTo>
                <a:cubicBezTo>
                  <a:pt x="1060132" y="2714115"/>
                  <a:pt x="1061577" y="2716748"/>
                  <a:pt x="1062610" y="2719382"/>
                </a:cubicBezTo>
                <a:lnTo>
                  <a:pt x="1063642" y="2722015"/>
                </a:lnTo>
                <a:lnTo>
                  <a:pt x="1076653" y="2724339"/>
                </a:lnTo>
                <a:cubicBezTo>
                  <a:pt x="1077169" y="2727126"/>
                  <a:pt x="1078511" y="2729605"/>
                  <a:pt x="1080164" y="2732083"/>
                </a:cubicBezTo>
                <a:lnTo>
                  <a:pt x="1082538" y="2735491"/>
                </a:lnTo>
                <a:lnTo>
                  <a:pt x="1084914" y="2735800"/>
                </a:lnTo>
                <a:lnTo>
                  <a:pt x="1087908" y="2734407"/>
                </a:lnTo>
                <a:lnTo>
                  <a:pt x="1090489" y="2736730"/>
                </a:lnTo>
                <a:lnTo>
                  <a:pt x="1094723" y="2737350"/>
                </a:lnTo>
                <a:cubicBezTo>
                  <a:pt x="1098130" y="2738744"/>
                  <a:pt x="1100815" y="2740293"/>
                  <a:pt x="1103087" y="2742306"/>
                </a:cubicBezTo>
                <a:lnTo>
                  <a:pt x="1106288" y="2745869"/>
                </a:lnTo>
                <a:lnTo>
                  <a:pt x="1109385" y="2741687"/>
                </a:lnTo>
                <a:cubicBezTo>
                  <a:pt x="1113825" y="2735646"/>
                  <a:pt x="1120124" y="2727591"/>
                  <a:pt x="1124460" y="2730534"/>
                </a:cubicBezTo>
                <a:cubicBezTo>
                  <a:pt x="1121260" y="2735181"/>
                  <a:pt x="1115787" y="2747418"/>
                  <a:pt x="1108869" y="2747418"/>
                </a:cubicBezTo>
                <a:lnTo>
                  <a:pt x="1107113" y="2746798"/>
                </a:lnTo>
                <a:lnTo>
                  <a:pt x="1108662" y="2748812"/>
                </a:lnTo>
                <a:cubicBezTo>
                  <a:pt x="1111966" y="2753459"/>
                  <a:pt x="1114651" y="2758880"/>
                  <a:pt x="1119298" y="2763992"/>
                </a:cubicBezTo>
                <a:lnTo>
                  <a:pt x="1118162" y="2766160"/>
                </a:lnTo>
                <a:lnTo>
                  <a:pt x="1118781" y="2765386"/>
                </a:lnTo>
                <a:cubicBezTo>
                  <a:pt x="1119711" y="2764457"/>
                  <a:pt x="1120537" y="2763527"/>
                  <a:pt x="1121260" y="2763063"/>
                </a:cubicBezTo>
                <a:cubicBezTo>
                  <a:pt x="1119814" y="2764921"/>
                  <a:pt x="1118575" y="2767090"/>
                  <a:pt x="1117129" y="2769258"/>
                </a:cubicBezTo>
                <a:lnTo>
                  <a:pt x="1116200" y="2770187"/>
                </a:lnTo>
                <a:lnTo>
                  <a:pt x="1115890" y="2774679"/>
                </a:lnTo>
                <a:cubicBezTo>
                  <a:pt x="1116200" y="2777777"/>
                  <a:pt x="1117542" y="2780565"/>
                  <a:pt x="1117955" y="2783509"/>
                </a:cubicBezTo>
                <a:cubicBezTo>
                  <a:pt x="1114445" y="2785057"/>
                  <a:pt x="1111554" y="2788000"/>
                  <a:pt x="1108766" y="2791254"/>
                </a:cubicBezTo>
                <a:lnTo>
                  <a:pt x="1101951" y="2798843"/>
                </a:lnTo>
                <a:lnTo>
                  <a:pt x="1102570" y="2798689"/>
                </a:lnTo>
                <a:cubicBezTo>
                  <a:pt x="1101125" y="2803335"/>
                  <a:pt x="1105771" y="2805659"/>
                  <a:pt x="1111450" y="2806743"/>
                </a:cubicBezTo>
                <a:cubicBezTo>
                  <a:pt x="1117232" y="2807363"/>
                  <a:pt x="1124460" y="2806123"/>
                  <a:pt x="1127455" y="2803645"/>
                </a:cubicBezTo>
                <a:cubicBezTo>
                  <a:pt x="1125183" y="2801321"/>
                  <a:pt x="1121982" y="2799463"/>
                  <a:pt x="1117646" y="2798689"/>
                </a:cubicBezTo>
                <a:cubicBezTo>
                  <a:pt x="1113412" y="2798069"/>
                  <a:pt x="1108662" y="2798689"/>
                  <a:pt x="1103912" y="2799153"/>
                </a:cubicBezTo>
                <a:cubicBezTo>
                  <a:pt x="1109798" y="2794662"/>
                  <a:pt x="1118678" y="2795436"/>
                  <a:pt x="1127248" y="2796985"/>
                </a:cubicBezTo>
                <a:lnTo>
                  <a:pt x="1130759" y="2797140"/>
                </a:lnTo>
                <a:lnTo>
                  <a:pt x="1132721" y="2797294"/>
                </a:lnTo>
                <a:lnTo>
                  <a:pt x="1131585" y="2790944"/>
                </a:lnTo>
                <a:lnTo>
                  <a:pt x="1131069" y="2790944"/>
                </a:lnTo>
                <a:lnTo>
                  <a:pt x="1131792" y="2793887"/>
                </a:lnTo>
                <a:lnTo>
                  <a:pt x="1130759" y="2797140"/>
                </a:lnTo>
                <a:lnTo>
                  <a:pt x="1129107" y="2793422"/>
                </a:lnTo>
                <a:cubicBezTo>
                  <a:pt x="1128591" y="2792648"/>
                  <a:pt x="1128384" y="2792183"/>
                  <a:pt x="1128694" y="2791718"/>
                </a:cubicBezTo>
                <a:lnTo>
                  <a:pt x="1130036" y="2790944"/>
                </a:lnTo>
                <a:lnTo>
                  <a:pt x="1129623" y="2790944"/>
                </a:lnTo>
                <a:cubicBezTo>
                  <a:pt x="1128178" y="2790479"/>
                  <a:pt x="1126526" y="2789704"/>
                  <a:pt x="1124667" y="2788465"/>
                </a:cubicBezTo>
                <a:cubicBezTo>
                  <a:pt x="1126835" y="2787071"/>
                  <a:pt x="1128694" y="2785212"/>
                  <a:pt x="1130243" y="2783354"/>
                </a:cubicBezTo>
                <a:lnTo>
                  <a:pt x="1130759" y="2782579"/>
                </a:lnTo>
                <a:lnTo>
                  <a:pt x="1131069" y="2778862"/>
                </a:lnTo>
                <a:lnTo>
                  <a:pt x="1131482" y="2777777"/>
                </a:lnTo>
                <a:lnTo>
                  <a:pt x="1130243" y="2776074"/>
                </a:lnTo>
                <a:cubicBezTo>
                  <a:pt x="1129933" y="2775144"/>
                  <a:pt x="1129830" y="2774215"/>
                  <a:pt x="1130036" y="2773440"/>
                </a:cubicBezTo>
                <a:cubicBezTo>
                  <a:pt x="1130553" y="2769258"/>
                  <a:pt x="1132411" y="2767090"/>
                  <a:pt x="1134683" y="2765541"/>
                </a:cubicBezTo>
                <a:cubicBezTo>
                  <a:pt x="1134683" y="2765541"/>
                  <a:pt x="1134580" y="2765541"/>
                  <a:pt x="1133857" y="2766160"/>
                </a:cubicBezTo>
                <a:cubicBezTo>
                  <a:pt x="1130243" y="2765541"/>
                  <a:pt x="1124667" y="2764766"/>
                  <a:pt x="1121776" y="2763217"/>
                </a:cubicBezTo>
                <a:lnTo>
                  <a:pt x="1121569" y="2763063"/>
                </a:lnTo>
                <a:lnTo>
                  <a:pt x="1121363" y="2763217"/>
                </a:lnTo>
                <a:lnTo>
                  <a:pt x="1121260" y="2762753"/>
                </a:lnTo>
                <a:lnTo>
                  <a:pt x="1120124" y="2761668"/>
                </a:lnTo>
                <a:cubicBezTo>
                  <a:pt x="1120846" y="2761204"/>
                  <a:pt x="1121673" y="2760584"/>
                  <a:pt x="1122808" y="2760739"/>
                </a:cubicBezTo>
                <a:cubicBezTo>
                  <a:pt x="1124047" y="2761049"/>
                  <a:pt x="1123222" y="2761513"/>
                  <a:pt x="1124047" y="2761049"/>
                </a:cubicBezTo>
                <a:cubicBezTo>
                  <a:pt x="1125183" y="2761204"/>
                  <a:pt x="1124770" y="2760429"/>
                  <a:pt x="1124770" y="2760429"/>
                </a:cubicBezTo>
                <a:cubicBezTo>
                  <a:pt x="1124770" y="2760429"/>
                  <a:pt x="1125183" y="2761204"/>
                  <a:pt x="1125183" y="2761204"/>
                </a:cubicBezTo>
                <a:cubicBezTo>
                  <a:pt x="1125183" y="2761204"/>
                  <a:pt x="1125183" y="2761204"/>
                  <a:pt x="1127661" y="2761513"/>
                </a:cubicBezTo>
                <a:cubicBezTo>
                  <a:pt x="1130759" y="2761358"/>
                  <a:pt x="1131585" y="2760894"/>
                  <a:pt x="1133444" y="2760584"/>
                </a:cubicBezTo>
                <a:cubicBezTo>
                  <a:pt x="1135922" y="2760894"/>
                  <a:pt x="1136335" y="2761668"/>
                  <a:pt x="1139123" y="2762598"/>
                </a:cubicBezTo>
                <a:cubicBezTo>
                  <a:pt x="1139329" y="2764457"/>
                  <a:pt x="1139226" y="2764457"/>
                  <a:pt x="1138503" y="2764921"/>
                </a:cubicBezTo>
                <a:cubicBezTo>
                  <a:pt x="1139226" y="2764457"/>
                  <a:pt x="1139742" y="2765076"/>
                  <a:pt x="1140878" y="2765231"/>
                </a:cubicBezTo>
                <a:cubicBezTo>
                  <a:pt x="1146041" y="2764766"/>
                  <a:pt x="1146764" y="2769103"/>
                  <a:pt x="1145938" y="2774525"/>
                </a:cubicBezTo>
                <a:cubicBezTo>
                  <a:pt x="1144699" y="2774370"/>
                  <a:pt x="1144596" y="2777313"/>
                  <a:pt x="1143460" y="2779017"/>
                </a:cubicBezTo>
                <a:cubicBezTo>
                  <a:pt x="1142324" y="2779791"/>
                  <a:pt x="1141395" y="2780411"/>
                  <a:pt x="1140465" y="2780876"/>
                </a:cubicBezTo>
                <a:lnTo>
                  <a:pt x="1140362" y="2780876"/>
                </a:lnTo>
                <a:lnTo>
                  <a:pt x="1138400" y="2786142"/>
                </a:lnTo>
                <a:lnTo>
                  <a:pt x="1137987" y="2786761"/>
                </a:lnTo>
                <a:lnTo>
                  <a:pt x="1137987" y="2787071"/>
                </a:lnTo>
                <a:cubicBezTo>
                  <a:pt x="1137884" y="2790634"/>
                  <a:pt x="1137677" y="2794042"/>
                  <a:pt x="1135612" y="2796210"/>
                </a:cubicBezTo>
                <a:lnTo>
                  <a:pt x="1133960" y="2797294"/>
                </a:lnTo>
                <a:lnTo>
                  <a:pt x="1139329" y="2797604"/>
                </a:lnTo>
                <a:cubicBezTo>
                  <a:pt x="1142943" y="2797294"/>
                  <a:pt x="1145938" y="2796055"/>
                  <a:pt x="1148003" y="2793267"/>
                </a:cubicBezTo>
                <a:cubicBezTo>
                  <a:pt x="1152753" y="2793732"/>
                  <a:pt x="1156780" y="2794506"/>
                  <a:pt x="1160497" y="2795590"/>
                </a:cubicBezTo>
                <a:lnTo>
                  <a:pt x="1161323" y="2795901"/>
                </a:lnTo>
                <a:lnTo>
                  <a:pt x="1161323" y="2795590"/>
                </a:lnTo>
                <a:cubicBezTo>
                  <a:pt x="1161839" y="2794042"/>
                  <a:pt x="1162459" y="2792338"/>
                  <a:pt x="1164214" y="2792338"/>
                </a:cubicBezTo>
                <a:cubicBezTo>
                  <a:pt x="1164730" y="2792183"/>
                  <a:pt x="1165453" y="2792338"/>
                  <a:pt x="1166279" y="2792648"/>
                </a:cubicBezTo>
                <a:cubicBezTo>
                  <a:pt x="1166279" y="2792648"/>
                  <a:pt x="1166383" y="2792648"/>
                  <a:pt x="1166692" y="2793422"/>
                </a:cubicBezTo>
                <a:lnTo>
                  <a:pt x="1167415" y="2794816"/>
                </a:lnTo>
                <a:lnTo>
                  <a:pt x="1170616" y="2789085"/>
                </a:lnTo>
                <a:cubicBezTo>
                  <a:pt x="1173301" y="2786142"/>
                  <a:pt x="1176915" y="2783354"/>
                  <a:pt x="1181871" y="2781495"/>
                </a:cubicBezTo>
                <a:cubicBezTo>
                  <a:pt x="1184556" y="2782734"/>
                  <a:pt x="1186001" y="2784438"/>
                  <a:pt x="1186414" y="2786452"/>
                </a:cubicBezTo>
                <a:lnTo>
                  <a:pt x="1185898" y="2789240"/>
                </a:lnTo>
                <a:lnTo>
                  <a:pt x="1187240" y="2788930"/>
                </a:lnTo>
                <a:lnTo>
                  <a:pt x="1186931" y="2782579"/>
                </a:lnTo>
                <a:lnTo>
                  <a:pt x="1188789" y="2774370"/>
                </a:lnTo>
                <a:lnTo>
                  <a:pt x="1184349" y="2772976"/>
                </a:lnTo>
                <a:cubicBezTo>
                  <a:pt x="1182800" y="2771736"/>
                  <a:pt x="1181561" y="2769568"/>
                  <a:pt x="1180941" y="2766625"/>
                </a:cubicBezTo>
                <a:lnTo>
                  <a:pt x="1186827" y="2763992"/>
                </a:lnTo>
                <a:lnTo>
                  <a:pt x="1184762" y="2763837"/>
                </a:lnTo>
                <a:cubicBezTo>
                  <a:pt x="1185795" y="2761668"/>
                  <a:pt x="1180838" y="2758725"/>
                  <a:pt x="1182284" y="2755627"/>
                </a:cubicBezTo>
                <a:cubicBezTo>
                  <a:pt x="1184762" y="2748192"/>
                  <a:pt x="1187137" y="2746798"/>
                  <a:pt x="1190958" y="2746798"/>
                </a:cubicBezTo>
                <a:lnTo>
                  <a:pt x="1192300" y="2746953"/>
                </a:lnTo>
                <a:lnTo>
                  <a:pt x="1192300" y="2746643"/>
                </a:lnTo>
                <a:lnTo>
                  <a:pt x="1192094" y="2744940"/>
                </a:lnTo>
                <a:lnTo>
                  <a:pt x="1191164" y="2746024"/>
                </a:lnTo>
                <a:lnTo>
                  <a:pt x="1189615" y="2743700"/>
                </a:lnTo>
                <a:lnTo>
                  <a:pt x="1187447" y="2741687"/>
                </a:lnTo>
                <a:lnTo>
                  <a:pt x="1187240" y="2740293"/>
                </a:lnTo>
                <a:lnTo>
                  <a:pt x="1183523" y="2735026"/>
                </a:lnTo>
                <a:lnTo>
                  <a:pt x="1182594" y="2731309"/>
                </a:lnTo>
                <a:lnTo>
                  <a:pt x="1182491" y="2731309"/>
                </a:lnTo>
                <a:cubicBezTo>
                  <a:pt x="1181251" y="2732083"/>
                  <a:pt x="1179702" y="2732548"/>
                  <a:pt x="1177844" y="2732703"/>
                </a:cubicBezTo>
                <a:cubicBezTo>
                  <a:pt x="1177947" y="2731464"/>
                  <a:pt x="1176811" y="2731464"/>
                  <a:pt x="1175572" y="2731309"/>
                </a:cubicBezTo>
                <a:cubicBezTo>
                  <a:pt x="1174540" y="2729760"/>
                  <a:pt x="1174540" y="2728056"/>
                  <a:pt x="1175056" y="2726043"/>
                </a:cubicBezTo>
                <a:cubicBezTo>
                  <a:pt x="1175572" y="2724183"/>
                  <a:pt x="1176605" y="2722325"/>
                  <a:pt x="1178051" y="2720621"/>
                </a:cubicBezTo>
                <a:lnTo>
                  <a:pt x="1181251" y="2718142"/>
                </a:lnTo>
                <a:lnTo>
                  <a:pt x="1181355" y="2716284"/>
                </a:lnTo>
                <a:lnTo>
                  <a:pt x="1184349" y="2717058"/>
                </a:lnTo>
                <a:lnTo>
                  <a:pt x="1187137" y="2717213"/>
                </a:lnTo>
                <a:cubicBezTo>
                  <a:pt x="1187860" y="2717832"/>
                  <a:pt x="1188376" y="2718607"/>
                  <a:pt x="1188892" y="2719846"/>
                </a:cubicBezTo>
                <a:lnTo>
                  <a:pt x="1188479" y="2720776"/>
                </a:lnTo>
                <a:lnTo>
                  <a:pt x="1190028" y="2724183"/>
                </a:lnTo>
                <a:lnTo>
                  <a:pt x="1191577" y="2724958"/>
                </a:lnTo>
                <a:lnTo>
                  <a:pt x="1194365" y="2723563"/>
                </a:lnTo>
                <a:lnTo>
                  <a:pt x="1195707" y="2722170"/>
                </a:lnTo>
                <a:lnTo>
                  <a:pt x="1195191" y="2720156"/>
                </a:lnTo>
                <a:cubicBezTo>
                  <a:pt x="1195914" y="2717368"/>
                  <a:pt x="1194158" y="2715199"/>
                  <a:pt x="1194881" y="2712411"/>
                </a:cubicBezTo>
                <a:cubicBezTo>
                  <a:pt x="1194881" y="2712411"/>
                  <a:pt x="1194881" y="2712411"/>
                  <a:pt x="1196017" y="2713031"/>
                </a:cubicBezTo>
                <a:cubicBezTo>
                  <a:pt x="1196017" y="2715199"/>
                  <a:pt x="1196740" y="2717213"/>
                  <a:pt x="1197463" y="2719072"/>
                </a:cubicBezTo>
                <a:lnTo>
                  <a:pt x="1197669" y="2720311"/>
                </a:lnTo>
                <a:lnTo>
                  <a:pt x="1199218" y="2718917"/>
                </a:lnTo>
                <a:cubicBezTo>
                  <a:pt x="1202212" y="2715510"/>
                  <a:pt x="1205104" y="2712101"/>
                  <a:pt x="1209854" y="2710552"/>
                </a:cubicBezTo>
                <a:lnTo>
                  <a:pt x="1213984" y="2709778"/>
                </a:lnTo>
                <a:lnTo>
                  <a:pt x="1211196" y="2706680"/>
                </a:lnTo>
                <a:cubicBezTo>
                  <a:pt x="1210267" y="2705441"/>
                  <a:pt x="1209337" y="2704511"/>
                  <a:pt x="1208408" y="2703582"/>
                </a:cubicBezTo>
                <a:lnTo>
                  <a:pt x="1203761" y="2697696"/>
                </a:lnTo>
                <a:lnTo>
                  <a:pt x="1201386" y="2696767"/>
                </a:lnTo>
                <a:lnTo>
                  <a:pt x="1200973" y="2696302"/>
                </a:lnTo>
                <a:lnTo>
                  <a:pt x="1200044" y="2696302"/>
                </a:lnTo>
                <a:cubicBezTo>
                  <a:pt x="1200044" y="2696302"/>
                  <a:pt x="1199941" y="2696302"/>
                  <a:pt x="1199734" y="2695528"/>
                </a:cubicBezTo>
                <a:lnTo>
                  <a:pt x="1200560" y="2695682"/>
                </a:lnTo>
                <a:lnTo>
                  <a:pt x="1199838" y="2694753"/>
                </a:lnTo>
                <a:cubicBezTo>
                  <a:pt x="1199218" y="2692430"/>
                  <a:pt x="1200664" y="2689951"/>
                  <a:pt x="1203348" y="2689022"/>
                </a:cubicBezTo>
                <a:cubicBezTo>
                  <a:pt x="1204794" y="2688557"/>
                  <a:pt x="1206756" y="2688402"/>
                  <a:pt x="1208821" y="2689177"/>
                </a:cubicBezTo>
                <a:cubicBezTo>
                  <a:pt x="1209750" y="2691035"/>
                  <a:pt x="1209028" y="2694908"/>
                  <a:pt x="1207582" y="2697232"/>
                </a:cubicBezTo>
                <a:lnTo>
                  <a:pt x="1207375" y="2697386"/>
                </a:lnTo>
                <a:lnTo>
                  <a:pt x="1207478" y="2697386"/>
                </a:lnTo>
                <a:cubicBezTo>
                  <a:pt x="1210267" y="2699245"/>
                  <a:pt x="1213674" y="2703273"/>
                  <a:pt x="1213364" y="2703892"/>
                </a:cubicBezTo>
                <a:cubicBezTo>
                  <a:pt x="1214087" y="2704357"/>
                  <a:pt x="1213674" y="2704977"/>
                  <a:pt x="1214500" y="2705441"/>
                </a:cubicBezTo>
                <a:cubicBezTo>
                  <a:pt x="1214500" y="2705441"/>
                  <a:pt x="1215223" y="2706061"/>
                  <a:pt x="1215532" y="2707145"/>
                </a:cubicBezTo>
                <a:cubicBezTo>
                  <a:pt x="1215842" y="2708384"/>
                  <a:pt x="1216152" y="2709623"/>
                  <a:pt x="1214500" y="2710552"/>
                </a:cubicBezTo>
                <a:lnTo>
                  <a:pt x="1214397" y="2710243"/>
                </a:lnTo>
                <a:lnTo>
                  <a:pt x="1214087" y="2713341"/>
                </a:lnTo>
                <a:cubicBezTo>
                  <a:pt x="1213570" y="2715199"/>
                  <a:pt x="1212331" y="2717368"/>
                  <a:pt x="1210886" y="2719227"/>
                </a:cubicBezTo>
                <a:lnTo>
                  <a:pt x="1206033" y="2723874"/>
                </a:lnTo>
                <a:lnTo>
                  <a:pt x="1205930" y="2724648"/>
                </a:lnTo>
                <a:lnTo>
                  <a:pt x="1202626" y="2728056"/>
                </a:lnTo>
                <a:lnTo>
                  <a:pt x="1202832" y="2728056"/>
                </a:lnTo>
                <a:cubicBezTo>
                  <a:pt x="1206136" y="2728830"/>
                  <a:pt x="1209854" y="2730069"/>
                  <a:pt x="1211402" y="2730534"/>
                </a:cubicBezTo>
                <a:cubicBezTo>
                  <a:pt x="1211712" y="2731309"/>
                  <a:pt x="1211712" y="2731309"/>
                  <a:pt x="1211712" y="2731309"/>
                </a:cubicBezTo>
                <a:cubicBezTo>
                  <a:pt x="1211712" y="2732238"/>
                  <a:pt x="1211196" y="2732703"/>
                  <a:pt x="1210267" y="2732703"/>
                </a:cubicBezTo>
                <a:cubicBezTo>
                  <a:pt x="1209337" y="2732703"/>
                  <a:pt x="1208098" y="2732393"/>
                  <a:pt x="1206549" y="2731928"/>
                </a:cubicBezTo>
                <a:cubicBezTo>
                  <a:pt x="1205000" y="2731464"/>
                  <a:pt x="1203245" y="2730689"/>
                  <a:pt x="1201799" y="2729914"/>
                </a:cubicBezTo>
                <a:lnTo>
                  <a:pt x="1201076" y="2729605"/>
                </a:lnTo>
                <a:lnTo>
                  <a:pt x="1194158" y="2735800"/>
                </a:lnTo>
                <a:lnTo>
                  <a:pt x="1194262" y="2737969"/>
                </a:lnTo>
                <a:lnTo>
                  <a:pt x="1194571" y="2737969"/>
                </a:lnTo>
                <a:cubicBezTo>
                  <a:pt x="1196430" y="2739208"/>
                  <a:pt x="1197360" y="2740757"/>
                  <a:pt x="1197772" y="2742616"/>
                </a:cubicBezTo>
                <a:lnTo>
                  <a:pt x="1198186" y="2745249"/>
                </a:lnTo>
                <a:lnTo>
                  <a:pt x="1198289" y="2745094"/>
                </a:lnTo>
                <a:cubicBezTo>
                  <a:pt x="1198702" y="2744785"/>
                  <a:pt x="1199115" y="2744630"/>
                  <a:pt x="1199941" y="2744940"/>
                </a:cubicBezTo>
                <a:cubicBezTo>
                  <a:pt x="1202419" y="2745869"/>
                  <a:pt x="1203865" y="2747728"/>
                  <a:pt x="1204794" y="2749896"/>
                </a:cubicBezTo>
                <a:lnTo>
                  <a:pt x="1205620" y="2753768"/>
                </a:lnTo>
                <a:lnTo>
                  <a:pt x="1212744" y="2751445"/>
                </a:lnTo>
                <a:cubicBezTo>
                  <a:pt x="1218321" y="2750516"/>
                  <a:pt x="1224309" y="2750206"/>
                  <a:pt x="1231021" y="2748037"/>
                </a:cubicBezTo>
                <a:cubicBezTo>
                  <a:pt x="1235874" y="2757176"/>
                  <a:pt x="1242379" y="2755472"/>
                  <a:pt x="1248161" y="2757176"/>
                </a:cubicBezTo>
                <a:cubicBezTo>
                  <a:pt x="1248161" y="2764766"/>
                  <a:pt x="1254254" y="2772356"/>
                  <a:pt x="1256835" y="2780411"/>
                </a:cubicBezTo>
                <a:cubicBezTo>
                  <a:pt x="1253944" y="2785212"/>
                  <a:pt x="1251982" y="2789704"/>
                  <a:pt x="1250020" y="2794352"/>
                </a:cubicBezTo>
                <a:lnTo>
                  <a:pt x="1247335" y="2799928"/>
                </a:lnTo>
                <a:lnTo>
                  <a:pt x="1250949" y="2802406"/>
                </a:lnTo>
                <a:cubicBezTo>
                  <a:pt x="1250124" y="2803800"/>
                  <a:pt x="1249194" y="2804420"/>
                  <a:pt x="1248058" y="2804420"/>
                </a:cubicBezTo>
                <a:lnTo>
                  <a:pt x="1245683" y="2803491"/>
                </a:lnTo>
                <a:lnTo>
                  <a:pt x="1243308" y="2808447"/>
                </a:lnTo>
                <a:lnTo>
                  <a:pt x="1241346" y="2809066"/>
                </a:lnTo>
                <a:lnTo>
                  <a:pt x="1247542" y="2809841"/>
                </a:lnTo>
                <a:cubicBezTo>
                  <a:pt x="1250536" y="2809996"/>
                  <a:pt x="1253221" y="2810925"/>
                  <a:pt x="1255905" y="2811854"/>
                </a:cubicBezTo>
                <a:cubicBezTo>
                  <a:pt x="1258694" y="2812784"/>
                  <a:pt x="1261172" y="2814488"/>
                  <a:pt x="1263650" y="2816037"/>
                </a:cubicBezTo>
                <a:lnTo>
                  <a:pt x="1265095" y="2815882"/>
                </a:lnTo>
                <a:lnTo>
                  <a:pt x="1261998" y="2814643"/>
                </a:lnTo>
                <a:cubicBezTo>
                  <a:pt x="1259313" y="2812784"/>
                  <a:pt x="1257558" y="2810306"/>
                  <a:pt x="1257351" y="2807363"/>
                </a:cubicBezTo>
                <a:cubicBezTo>
                  <a:pt x="1262824" y="2810770"/>
                  <a:pt x="1268296" y="2810615"/>
                  <a:pt x="1273769" y="2810925"/>
                </a:cubicBezTo>
                <a:lnTo>
                  <a:pt x="1274182" y="2810925"/>
                </a:lnTo>
                <a:lnTo>
                  <a:pt x="1278106" y="2808602"/>
                </a:lnTo>
                <a:cubicBezTo>
                  <a:pt x="1279551" y="2808137"/>
                  <a:pt x="1280791" y="2807982"/>
                  <a:pt x="1282030" y="2808292"/>
                </a:cubicBezTo>
                <a:lnTo>
                  <a:pt x="1282442" y="2808602"/>
                </a:lnTo>
                <a:lnTo>
                  <a:pt x="1282236" y="2807827"/>
                </a:lnTo>
                <a:cubicBezTo>
                  <a:pt x="1281926" y="2807208"/>
                  <a:pt x="1281616" y="2806588"/>
                  <a:pt x="1281823" y="2806123"/>
                </a:cubicBezTo>
                <a:cubicBezTo>
                  <a:pt x="1281823" y="2806123"/>
                  <a:pt x="1283785" y="2804420"/>
                  <a:pt x="1283785" y="2804420"/>
                </a:cubicBezTo>
                <a:cubicBezTo>
                  <a:pt x="1285024" y="2804884"/>
                  <a:pt x="1285024" y="2804884"/>
                  <a:pt x="1284198" y="2805194"/>
                </a:cubicBezTo>
                <a:cubicBezTo>
                  <a:pt x="1285747" y="2806433"/>
                  <a:pt x="1286160" y="2807208"/>
                  <a:pt x="1286573" y="2807982"/>
                </a:cubicBezTo>
                <a:lnTo>
                  <a:pt x="1283475" y="2809222"/>
                </a:lnTo>
                <a:lnTo>
                  <a:pt x="1286366" y="2811235"/>
                </a:lnTo>
                <a:lnTo>
                  <a:pt x="1287605" y="2814798"/>
                </a:lnTo>
                <a:lnTo>
                  <a:pt x="1290187" y="2816192"/>
                </a:lnTo>
                <a:lnTo>
                  <a:pt x="1288535" y="2817121"/>
                </a:lnTo>
                <a:lnTo>
                  <a:pt x="1290909" y="2818050"/>
                </a:lnTo>
                <a:cubicBezTo>
                  <a:pt x="1295659" y="2819754"/>
                  <a:pt x="1299583" y="2821768"/>
                  <a:pt x="1304952" y="2821458"/>
                </a:cubicBezTo>
                <a:cubicBezTo>
                  <a:pt x="1305056" y="2823627"/>
                  <a:pt x="1305882" y="2825331"/>
                  <a:pt x="1307534" y="2826725"/>
                </a:cubicBezTo>
                <a:lnTo>
                  <a:pt x="1308876" y="2827499"/>
                </a:lnTo>
                <a:lnTo>
                  <a:pt x="1309908" y="2826415"/>
                </a:lnTo>
                <a:cubicBezTo>
                  <a:pt x="1311767" y="2825331"/>
                  <a:pt x="1313729" y="2825021"/>
                  <a:pt x="1315691" y="2825176"/>
                </a:cubicBezTo>
                <a:lnTo>
                  <a:pt x="1318582" y="2826105"/>
                </a:lnTo>
                <a:lnTo>
                  <a:pt x="1318582" y="2824401"/>
                </a:lnTo>
                <a:lnTo>
                  <a:pt x="1318169" y="2824247"/>
                </a:lnTo>
                <a:cubicBezTo>
                  <a:pt x="1317343" y="2821613"/>
                  <a:pt x="1316930" y="2819289"/>
                  <a:pt x="1316930" y="2816811"/>
                </a:cubicBezTo>
                <a:cubicBezTo>
                  <a:pt x="1316827" y="2814488"/>
                  <a:pt x="1317136" y="2812319"/>
                  <a:pt x="1317653" y="2810151"/>
                </a:cubicBezTo>
                <a:lnTo>
                  <a:pt x="1319202" y="2806278"/>
                </a:lnTo>
                <a:lnTo>
                  <a:pt x="1321060" y="2797759"/>
                </a:lnTo>
                <a:lnTo>
                  <a:pt x="1323848" y="2792493"/>
                </a:lnTo>
                <a:lnTo>
                  <a:pt x="1323022" y="2791099"/>
                </a:lnTo>
                <a:cubicBezTo>
                  <a:pt x="1322299" y="2789395"/>
                  <a:pt x="1321886" y="2787536"/>
                  <a:pt x="1321886" y="2785833"/>
                </a:cubicBezTo>
                <a:cubicBezTo>
                  <a:pt x="1321886" y="2783664"/>
                  <a:pt x="1322506" y="2781650"/>
                  <a:pt x="1324158" y="2780256"/>
                </a:cubicBezTo>
                <a:cubicBezTo>
                  <a:pt x="1327256" y="2785833"/>
                  <a:pt x="1329424" y="2791254"/>
                  <a:pt x="1336033" y="2797294"/>
                </a:cubicBezTo>
                <a:cubicBezTo>
                  <a:pt x="1335103" y="2798069"/>
                  <a:pt x="1335309" y="2798843"/>
                  <a:pt x="1335309" y="2799773"/>
                </a:cubicBezTo>
                <a:lnTo>
                  <a:pt x="1335103" y="2800702"/>
                </a:lnTo>
                <a:lnTo>
                  <a:pt x="1336445" y="2802716"/>
                </a:lnTo>
                <a:cubicBezTo>
                  <a:pt x="1336859" y="2804729"/>
                  <a:pt x="1336755" y="2807053"/>
                  <a:pt x="1336549" y="2809686"/>
                </a:cubicBezTo>
                <a:lnTo>
                  <a:pt x="1336549" y="2809841"/>
                </a:lnTo>
                <a:lnTo>
                  <a:pt x="1338098" y="2808757"/>
                </a:lnTo>
                <a:cubicBezTo>
                  <a:pt x="1339337" y="2811235"/>
                  <a:pt x="1339440" y="2813094"/>
                  <a:pt x="1338511" y="2814488"/>
                </a:cubicBezTo>
                <a:lnTo>
                  <a:pt x="1335929" y="2816037"/>
                </a:lnTo>
                <a:lnTo>
                  <a:pt x="1336962" y="2818050"/>
                </a:lnTo>
                <a:cubicBezTo>
                  <a:pt x="1337375" y="2820219"/>
                  <a:pt x="1336859" y="2822852"/>
                  <a:pt x="1335000" y="2825486"/>
                </a:cubicBezTo>
                <a:lnTo>
                  <a:pt x="1333348" y="2825331"/>
                </a:lnTo>
                <a:lnTo>
                  <a:pt x="1330043" y="2826105"/>
                </a:lnTo>
                <a:cubicBezTo>
                  <a:pt x="1328701" y="2826260"/>
                  <a:pt x="1327462" y="2826415"/>
                  <a:pt x="1326326" y="2826415"/>
                </a:cubicBezTo>
                <a:lnTo>
                  <a:pt x="1323538" y="2825640"/>
                </a:lnTo>
                <a:lnTo>
                  <a:pt x="1321886" y="2827654"/>
                </a:lnTo>
                <a:lnTo>
                  <a:pt x="1326223" y="2831681"/>
                </a:lnTo>
                <a:cubicBezTo>
                  <a:pt x="1327565" y="2833386"/>
                  <a:pt x="1328701" y="2835554"/>
                  <a:pt x="1329218" y="2837723"/>
                </a:cubicBezTo>
                <a:cubicBezTo>
                  <a:pt x="1329837" y="2839891"/>
                  <a:pt x="1329966" y="2842176"/>
                  <a:pt x="1329437" y="2844422"/>
                </a:cubicBezTo>
                <a:lnTo>
                  <a:pt x="1325716" y="2850873"/>
                </a:lnTo>
                <a:lnTo>
                  <a:pt x="1325603" y="2850889"/>
                </a:lnTo>
                <a:lnTo>
                  <a:pt x="1325707" y="2850889"/>
                </a:lnTo>
                <a:lnTo>
                  <a:pt x="1325716" y="2850873"/>
                </a:lnTo>
                <a:lnTo>
                  <a:pt x="1326739" y="2850734"/>
                </a:lnTo>
                <a:lnTo>
                  <a:pt x="1327978" y="2851508"/>
                </a:lnTo>
                <a:lnTo>
                  <a:pt x="1327978" y="2851353"/>
                </a:lnTo>
                <a:cubicBezTo>
                  <a:pt x="1332625" y="2849185"/>
                  <a:pt x="1338201" y="2847171"/>
                  <a:pt x="1342228" y="2848255"/>
                </a:cubicBezTo>
                <a:cubicBezTo>
                  <a:pt x="1343673" y="2848720"/>
                  <a:pt x="1344809" y="2849494"/>
                  <a:pt x="1345738" y="2850579"/>
                </a:cubicBezTo>
                <a:cubicBezTo>
                  <a:pt x="1347081" y="2851973"/>
                  <a:pt x="1347184" y="2853212"/>
                  <a:pt x="1346358" y="2854451"/>
                </a:cubicBezTo>
                <a:lnTo>
                  <a:pt x="1342641" y="2857239"/>
                </a:lnTo>
                <a:lnTo>
                  <a:pt x="1345945" y="2859408"/>
                </a:lnTo>
                <a:cubicBezTo>
                  <a:pt x="1347804" y="2860802"/>
                  <a:pt x="1350075" y="2862971"/>
                  <a:pt x="1351934" y="2864365"/>
                </a:cubicBezTo>
                <a:cubicBezTo>
                  <a:pt x="1354515" y="2865913"/>
                  <a:pt x="1356580" y="2866533"/>
                  <a:pt x="1357406" y="2866223"/>
                </a:cubicBezTo>
                <a:cubicBezTo>
                  <a:pt x="1357200" y="2864674"/>
                  <a:pt x="1356684" y="2863745"/>
                  <a:pt x="1357200" y="2861731"/>
                </a:cubicBezTo>
                <a:cubicBezTo>
                  <a:pt x="1358852" y="2862661"/>
                  <a:pt x="1358852" y="2864055"/>
                  <a:pt x="1359059" y="2865449"/>
                </a:cubicBezTo>
                <a:lnTo>
                  <a:pt x="1360504" y="2866688"/>
                </a:lnTo>
                <a:lnTo>
                  <a:pt x="1359678" y="2864674"/>
                </a:lnTo>
                <a:cubicBezTo>
                  <a:pt x="1359471" y="2862815"/>
                  <a:pt x="1360194" y="2860957"/>
                  <a:pt x="1362879" y="2858478"/>
                </a:cubicBezTo>
                <a:cubicBezTo>
                  <a:pt x="1367216" y="2856930"/>
                  <a:pt x="1372482" y="2857394"/>
                  <a:pt x="1376199" y="2857084"/>
                </a:cubicBezTo>
                <a:cubicBezTo>
                  <a:pt x="1383221" y="2853057"/>
                  <a:pt x="1383427" y="2834005"/>
                  <a:pt x="1381465" y="2829668"/>
                </a:cubicBezTo>
                <a:cubicBezTo>
                  <a:pt x="1374960" y="2818360"/>
                  <a:pt x="1367423" y="2823782"/>
                  <a:pt x="1363912" y="2818825"/>
                </a:cubicBezTo>
                <a:cubicBezTo>
                  <a:pt x="1362982" y="2817586"/>
                  <a:pt x="1362672" y="2816346"/>
                  <a:pt x="1362672" y="2815262"/>
                </a:cubicBezTo>
                <a:lnTo>
                  <a:pt x="1362776" y="2814953"/>
                </a:lnTo>
                <a:lnTo>
                  <a:pt x="1359988" y="2815262"/>
                </a:lnTo>
                <a:lnTo>
                  <a:pt x="1353999" y="2814178"/>
                </a:lnTo>
                <a:lnTo>
                  <a:pt x="1354515" y="2816811"/>
                </a:lnTo>
                <a:cubicBezTo>
                  <a:pt x="1350282" y="2824556"/>
                  <a:pt x="1345222" y="2823317"/>
                  <a:pt x="1344809" y="2824401"/>
                </a:cubicBezTo>
                <a:cubicBezTo>
                  <a:pt x="1341299" y="2822697"/>
                  <a:pt x="1342331" y="2820529"/>
                  <a:pt x="1342641" y="2816811"/>
                </a:cubicBezTo>
                <a:cubicBezTo>
                  <a:pt x="1343157" y="2817121"/>
                  <a:pt x="1343777" y="2816502"/>
                  <a:pt x="1344293" y="2815572"/>
                </a:cubicBezTo>
                <a:lnTo>
                  <a:pt x="1345016" y="2814333"/>
                </a:lnTo>
                <a:lnTo>
                  <a:pt x="1343364" y="2812629"/>
                </a:lnTo>
                <a:cubicBezTo>
                  <a:pt x="1342434" y="2812010"/>
                  <a:pt x="1341196" y="2811390"/>
                  <a:pt x="1339543" y="2810770"/>
                </a:cubicBezTo>
                <a:cubicBezTo>
                  <a:pt x="1340886" y="2809686"/>
                  <a:pt x="1342434" y="2808757"/>
                  <a:pt x="1343983" y="2808137"/>
                </a:cubicBezTo>
                <a:cubicBezTo>
                  <a:pt x="1345635" y="2807518"/>
                  <a:pt x="1347288" y="2807208"/>
                  <a:pt x="1349043" y="2807208"/>
                </a:cubicBezTo>
                <a:lnTo>
                  <a:pt x="1349353" y="2812629"/>
                </a:lnTo>
                <a:lnTo>
                  <a:pt x="1351211" y="2812165"/>
                </a:lnTo>
                <a:cubicBezTo>
                  <a:pt x="1351934" y="2812010"/>
                  <a:pt x="1352760" y="2812165"/>
                  <a:pt x="1353586" y="2812629"/>
                </a:cubicBezTo>
                <a:lnTo>
                  <a:pt x="1353896" y="2813868"/>
                </a:lnTo>
                <a:lnTo>
                  <a:pt x="1357716" y="2809686"/>
                </a:lnTo>
                <a:cubicBezTo>
                  <a:pt x="1358956" y="2808912"/>
                  <a:pt x="1360194" y="2808447"/>
                  <a:pt x="1361537" y="2808137"/>
                </a:cubicBezTo>
                <a:cubicBezTo>
                  <a:pt x="1363602" y="2807672"/>
                  <a:pt x="1365667" y="2807518"/>
                  <a:pt x="1367938" y="2807672"/>
                </a:cubicBezTo>
                <a:lnTo>
                  <a:pt x="1368455" y="2807672"/>
                </a:lnTo>
                <a:lnTo>
                  <a:pt x="1369591" y="2805349"/>
                </a:lnTo>
                <a:cubicBezTo>
                  <a:pt x="1370417" y="2805814"/>
                  <a:pt x="1371139" y="2806743"/>
                  <a:pt x="1371656" y="2807982"/>
                </a:cubicBezTo>
                <a:lnTo>
                  <a:pt x="1374754" y="2808292"/>
                </a:lnTo>
                <a:lnTo>
                  <a:pt x="1373824" y="2810461"/>
                </a:lnTo>
                <a:lnTo>
                  <a:pt x="1378884" y="2812939"/>
                </a:lnTo>
                <a:lnTo>
                  <a:pt x="1380123" y="2812629"/>
                </a:lnTo>
                <a:lnTo>
                  <a:pt x="1380949" y="2810615"/>
                </a:lnTo>
                <a:cubicBezTo>
                  <a:pt x="1381775" y="2809841"/>
                  <a:pt x="1382911" y="2809376"/>
                  <a:pt x="1384460" y="2809066"/>
                </a:cubicBezTo>
                <a:lnTo>
                  <a:pt x="1385079" y="2810770"/>
                </a:lnTo>
                <a:lnTo>
                  <a:pt x="1385802" y="2810461"/>
                </a:lnTo>
                <a:lnTo>
                  <a:pt x="1385492" y="2809686"/>
                </a:lnTo>
                <a:cubicBezTo>
                  <a:pt x="1384563" y="2807363"/>
                  <a:pt x="1383943" y="2805194"/>
                  <a:pt x="1384253" y="2803181"/>
                </a:cubicBezTo>
                <a:cubicBezTo>
                  <a:pt x="1384666" y="2803955"/>
                  <a:pt x="1385699" y="2806433"/>
                  <a:pt x="1386628" y="2809222"/>
                </a:cubicBezTo>
                <a:lnTo>
                  <a:pt x="1386834" y="2809996"/>
                </a:lnTo>
                <a:lnTo>
                  <a:pt x="1387454" y="2809531"/>
                </a:lnTo>
                <a:cubicBezTo>
                  <a:pt x="1386112" y="2803800"/>
                  <a:pt x="1405834" y="2785833"/>
                  <a:pt x="1408002" y="2785057"/>
                </a:cubicBezTo>
                <a:cubicBezTo>
                  <a:pt x="1410790" y="2782734"/>
                  <a:pt x="1412132" y="2774525"/>
                  <a:pt x="1410170" y="2770187"/>
                </a:cubicBezTo>
                <a:cubicBezTo>
                  <a:pt x="1407589" y="2767400"/>
                  <a:pt x="1405111" y="2764612"/>
                  <a:pt x="1403149" y="2760274"/>
                </a:cubicBezTo>
                <a:cubicBezTo>
                  <a:pt x="1400568" y="2757486"/>
                  <a:pt x="1400155" y="2753768"/>
                  <a:pt x="1402323" y="2752994"/>
                </a:cubicBezTo>
                <a:cubicBezTo>
                  <a:pt x="1402942" y="2751445"/>
                  <a:pt x="1405007" y="2750671"/>
                  <a:pt x="1408105" y="2751910"/>
                </a:cubicBezTo>
                <a:lnTo>
                  <a:pt x="1410583" y="2751445"/>
                </a:lnTo>
                <a:lnTo>
                  <a:pt x="1408105" y="2748037"/>
                </a:lnTo>
                <a:cubicBezTo>
                  <a:pt x="1407589" y="2746798"/>
                  <a:pt x="1407692" y="2745714"/>
                  <a:pt x="1408002" y="2744630"/>
                </a:cubicBezTo>
                <a:cubicBezTo>
                  <a:pt x="1408725" y="2742616"/>
                  <a:pt x="1410790" y="2741377"/>
                  <a:pt x="1412959" y="2740912"/>
                </a:cubicBezTo>
                <a:cubicBezTo>
                  <a:pt x="1414404" y="2740757"/>
                  <a:pt x="1415953" y="2740912"/>
                  <a:pt x="1417192" y="2741687"/>
                </a:cubicBezTo>
                <a:lnTo>
                  <a:pt x="1419819" y="2747903"/>
                </a:lnTo>
                <a:lnTo>
                  <a:pt x="1419609" y="2748192"/>
                </a:lnTo>
                <a:lnTo>
                  <a:pt x="1415333" y="2750671"/>
                </a:lnTo>
                <a:lnTo>
                  <a:pt x="1416882" y="2750671"/>
                </a:lnTo>
                <a:cubicBezTo>
                  <a:pt x="1417398" y="2750671"/>
                  <a:pt x="1417811" y="2750671"/>
                  <a:pt x="1417811" y="2750671"/>
                </a:cubicBezTo>
                <a:lnTo>
                  <a:pt x="1419609" y="2748192"/>
                </a:lnTo>
                <a:lnTo>
                  <a:pt x="1419876" y="2748037"/>
                </a:lnTo>
                <a:lnTo>
                  <a:pt x="1419819" y="2747903"/>
                </a:lnTo>
                <a:lnTo>
                  <a:pt x="1421632" y="2745404"/>
                </a:lnTo>
                <a:cubicBezTo>
                  <a:pt x="1428653" y="2741377"/>
                  <a:pt x="1435159" y="2752839"/>
                  <a:pt x="1437327" y="2751910"/>
                </a:cubicBezTo>
                <a:cubicBezTo>
                  <a:pt x="1438876" y="2751290"/>
                  <a:pt x="1441354" y="2746024"/>
                  <a:pt x="1444245" y="2742771"/>
                </a:cubicBezTo>
                <a:lnTo>
                  <a:pt x="1447239" y="2740447"/>
                </a:lnTo>
                <a:lnTo>
                  <a:pt x="1444658" y="2738434"/>
                </a:lnTo>
                <a:cubicBezTo>
                  <a:pt x="1445381" y="2737504"/>
                  <a:pt x="1446310" y="2737040"/>
                  <a:pt x="1447342" y="2736730"/>
                </a:cubicBezTo>
                <a:cubicBezTo>
                  <a:pt x="1449098" y="2736110"/>
                  <a:pt x="1451266" y="2736265"/>
                  <a:pt x="1453538" y="2737195"/>
                </a:cubicBezTo>
                <a:lnTo>
                  <a:pt x="1453951" y="2737350"/>
                </a:lnTo>
                <a:lnTo>
                  <a:pt x="1457668" y="2730689"/>
                </a:lnTo>
                <a:lnTo>
                  <a:pt x="1457152" y="2721860"/>
                </a:lnTo>
                <a:lnTo>
                  <a:pt x="1455500" y="2715819"/>
                </a:lnTo>
                <a:lnTo>
                  <a:pt x="1453848" y="2713650"/>
                </a:lnTo>
                <a:lnTo>
                  <a:pt x="1453228" y="2712876"/>
                </a:lnTo>
                <a:lnTo>
                  <a:pt x="1453641" y="2722170"/>
                </a:lnTo>
                <a:cubicBezTo>
                  <a:pt x="1453435" y="2725578"/>
                  <a:pt x="1452919" y="2728985"/>
                  <a:pt x="1452608" y="2732393"/>
                </a:cubicBezTo>
                <a:cubicBezTo>
                  <a:pt x="1446310" y="2730534"/>
                  <a:pt x="1437224" y="2719382"/>
                  <a:pt x="1436810" y="2707455"/>
                </a:cubicBezTo>
                <a:cubicBezTo>
                  <a:pt x="1436604" y="2703582"/>
                  <a:pt x="1437533" y="2699555"/>
                  <a:pt x="1439702" y="2695682"/>
                </a:cubicBezTo>
                <a:lnTo>
                  <a:pt x="1447652" y="2702033"/>
                </a:lnTo>
                <a:lnTo>
                  <a:pt x="1448169" y="2700794"/>
                </a:lnTo>
                <a:cubicBezTo>
                  <a:pt x="1448169" y="2700794"/>
                  <a:pt x="1448272" y="2700794"/>
                  <a:pt x="1441147" y="2690726"/>
                </a:cubicBezTo>
                <a:cubicBezTo>
                  <a:pt x="1440218" y="2688712"/>
                  <a:pt x="1440837" y="2687163"/>
                  <a:pt x="1440837" y="2687163"/>
                </a:cubicBezTo>
                <a:cubicBezTo>
                  <a:pt x="1440837" y="2687163"/>
                  <a:pt x="1440734" y="2687163"/>
                  <a:pt x="1443316" y="2689951"/>
                </a:cubicBezTo>
                <a:cubicBezTo>
                  <a:pt x="1443316" y="2689951"/>
                  <a:pt x="1444245" y="2692120"/>
                  <a:pt x="1445277" y="2694288"/>
                </a:cubicBezTo>
                <a:cubicBezTo>
                  <a:pt x="1445277" y="2694288"/>
                  <a:pt x="1446826" y="2694908"/>
                  <a:pt x="1448375" y="2695528"/>
                </a:cubicBezTo>
                <a:cubicBezTo>
                  <a:pt x="1449408" y="2697696"/>
                  <a:pt x="1446207" y="2696457"/>
                  <a:pt x="1448788" y="2699245"/>
                </a:cubicBezTo>
                <a:cubicBezTo>
                  <a:pt x="1448788" y="2699245"/>
                  <a:pt x="1459733" y="2703737"/>
                  <a:pt x="1458185" y="2703118"/>
                </a:cubicBezTo>
                <a:lnTo>
                  <a:pt x="1459320" y="2706990"/>
                </a:lnTo>
                <a:lnTo>
                  <a:pt x="1463038" y="2703118"/>
                </a:lnTo>
                <a:cubicBezTo>
                  <a:pt x="1460560" y="2690881"/>
                  <a:pt x="1457152" y="2701259"/>
                  <a:pt x="1451370" y="2697386"/>
                </a:cubicBezTo>
                <a:cubicBezTo>
                  <a:pt x="1451783" y="2691345"/>
                  <a:pt x="1450957" y="2684995"/>
                  <a:pt x="1449614" y="2678489"/>
                </a:cubicBezTo>
                <a:lnTo>
                  <a:pt x="1446207" y="2664239"/>
                </a:lnTo>
                <a:lnTo>
                  <a:pt x="1443109" y="2663619"/>
                </a:lnTo>
                <a:cubicBezTo>
                  <a:pt x="1443316" y="2662999"/>
                  <a:pt x="1443729" y="2662844"/>
                  <a:pt x="1444245" y="2662999"/>
                </a:cubicBezTo>
                <a:cubicBezTo>
                  <a:pt x="1444761" y="2662999"/>
                  <a:pt x="1445381" y="2663154"/>
                  <a:pt x="1446000" y="2663464"/>
                </a:cubicBezTo>
                <a:lnTo>
                  <a:pt x="1444761" y="2658197"/>
                </a:lnTo>
                <a:cubicBezTo>
                  <a:pt x="1443109" y="2651537"/>
                  <a:pt x="1441457" y="2644102"/>
                  <a:pt x="1440631" y="2636667"/>
                </a:cubicBezTo>
                <a:cubicBezTo>
                  <a:pt x="1439805" y="2632795"/>
                  <a:pt x="1439805" y="2629077"/>
                  <a:pt x="1439805" y="2625360"/>
                </a:cubicBezTo>
                <a:lnTo>
                  <a:pt x="1440837" y="2618234"/>
                </a:lnTo>
                <a:lnTo>
                  <a:pt x="1440321" y="2619163"/>
                </a:lnTo>
                <a:cubicBezTo>
                  <a:pt x="1439702" y="2619319"/>
                  <a:pt x="1438772" y="2619009"/>
                  <a:pt x="1437637" y="2618544"/>
                </a:cubicBezTo>
                <a:cubicBezTo>
                  <a:pt x="1437637" y="2617615"/>
                  <a:pt x="1437740" y="2616840"/>
                  <a:pt x="1438256" y="2616531"/>
                </a:cubicBezTo>
                <a:lnTo>
                  <a:pt x="1441147" y="2616220"/>
                </a:lnTo>
                <a:lnTo>
                  <a:pt x="1441457" y="2614052"/>
                </a:lnTo>
                <a:cubicBezTo>
                  <a:pt x="1439805" y="2605688"/>
                  <a:pt x="1437327" y="2614052"/>
                  <a:pt x="1434849" y="2609405"/>
                </a:cubicBezTo>
                <a:cubicBezTo>
                  <a:pt x="1432371" y="2596394"/>
                  <a:pt x="1433197" y="2586945"/>
                  <a:pt x="1433197" y="2579510"/>
                </a:cubicBezTo>
                <a:cubicBezTo>
                  <a:pt x="1433197" y="2572850"/>
                  <a:pt x="1434023" y="2567273"/>
                  <a:pt x="1431544" y="2560613"/>
                </a:cubicBezTo>
                <a:cubicBezTo>
                  <a:pt x="1436501" y="2558754"/>
                  <a:pt x="1438153" y="2554107"/>
                  <a:pt x="1437327" y="2543884"/>
                </a:cubicBezTo>
                <a:cubicBezTo>
                  <a:pt x="1438979" y="2543884"/>
                  <a:pt x="1438153" y="2548531"/>
                  <a:pt x="1438979" y="2551319"/>
                </a:cubicBezTo>
                <a:cubicBezTo>
                  <a:pt x="1443109" y="2552249"/>
                  <a:pt x="1442283" y="2545743"/>
                  <a:pt x="1443935" y="2543884"/>
                </a:cubicBezTo>
                <a:cubicBezTo>
                  <a:pt x="1442696" y="2541715"/>
                  <a:pt x="1440528" y="2543264"/>
                  <a:pt x="1440218" y="2539857"/>
                </a:cubicBezTo>
                <a:lnTo>
                  <a:pt x="1440425" y="2537378"/>
                </a:lnTo>
                <a:lnTo>
                  <a:pt x="1440115" y="2537378"/>
                </a:lnTo>
                <a:cubicBezTo>
                  <a:pt x="1438669" y="2535984"/>
                  <a:pt x="1437430" y="2534281"/>
                  <a:pt x="1437430" y="2532267"/>
                </a:cubicBezTo>
                <a:cubicBezTo>
                  <a:pt x="1437430" y="2530873"/>
                  <a:pt x="1437946" y="2529324"/>
                  <a:pt x="1439082" y="2527620"/>
                </a:cubicBezTo>
                <a:cubicBezTo>
                  <a:pt x="1440321" y="2527620"/>
                  <a:pt x="1441560" y="2527620"/>
                  <a:pt x="1442696" y="2527775"/>
                </a:cubicBezTo>
                <a:cubicBezTo>
                  <a:pt x="1442593" y="2530408"/>
                  <a:pt x="1443212" y="2532577"/>
                  <a:pt x="1443832" y="2534590"/>
                </a:cubicBezTo>
                <a:lnTo>
                  <a:pt x="1444968" y="2539702"/>
                </a:lnTo>
                <a:lnTo>
                  <a:pt x="1447239" y="2539237"/>
                </a:lnTo>
                <a:cubicBezTo>
                  <a:pt x="1449718" y="2549460"/>
                  <a:pt x="1443935" y="2557825"/>
                  <a:pt x="1453848" y="2557825"/>
                </a:cubicBezTo>
                <a:cubicBezTo>
                  <a:pt x="1447239" y="2563556"/>
                  <a:pt x="1448892" y="2570061"/>
                  <a:pt x="1452196" y="2576568"/>
                </a:cubicBezTo>
                <a:cubicBezTo>
                  <a:pt x="1454674" y="2583228"/>
                  <a:pt x="1458804" y="2591592"/>
                  <a:pt x="1456326" y="2601041"/>
                </a:cubicBezTo>
                <a:cubicBezTo>
                  <a:pt x="1462108" y="2599182"/>
                  <a:pt x="1461386" y="2593451"/>
                  <a:pt x="1458907" y="2587874"/>
                </a:cubicBezTo>
                <a:cubicBezTo>
                  <a:pt x="1457255" y="2582298"/>
                  <a:pt x="1455500" y="2576568"/>
                  <a:pt x="1460456" y="2574708"/>
                </a:cubicBezTo>
                <a:cubicBezTo>
                  <a:pt x="1459630" y="2566344"/>
                  <a:pt x="1453848" y="2563556"/>
                  <a:pt x="1457152" y="2555966"/>
                </a:cubicBezTo>
                <a:cubicBezTo>
                  <a:pt x="1460456" y="2555966"/>
                  <a:pt x="1457978" y="2563556"/>
                  <a:pt x="1460456" y="2565415"/>
                </a:cubicBezTo>
                <a:cubicBezTo>
                  <a:pt x="1464587" y="2561697"/>
                  <a:pt x="1461282" y="2548531"/>
                  <a:pt x="1460456" y="2543884"/>
                </a:cubicBezTo>
                <a:cubicBezTo>
                  <a:pt x="1458804" y="2543884"/>
                  <a:pt x="1459733" y="2546673"/>
                  <a:pt x="1458907" y="2548531"/>
                </a:cubicBezTo>
                <a:cubicBezTo>
                  <a:pt x="1458081" y="2545743"/>
                  <a:pt x="1456326" y="2527930"/>
                  <a:pt x="1460456" y="2534436"/>
                </a:cubicBezTo>
                <a:cubicBezTo>
                  <a:pt x="1459630" y="2529788"/>
                  <a:pt x="1458804" y="2525141"/>
                  <a:pt x="1456326" y="2522199"/>
                </a:cubicBezTo>
                <a:lnTo>
                  <a:pt x="1456842" y="2520495"/>
                </a:lnTo>
                <a:cubicBezTo>
                  <a:pt x="1452402" y="2515693"/>
                  <a:pt x="1447962" y="2509497"/>
                  <a:pt x="1447652" y="2503921"/>
                </a:cubicBezTo>
                <a:cubicBezTo>
                  <a:pt x="1447652" y="2502062"/>
                  <a:pt x="1447962" y="2500358"/>
                  <a:pt x="1448892" y="2498654"/>
                </a:cubicBezTo>
                <a:cubicBezTo>
                  <a:pt x="1449924" y="2496486"/>
                  <a:pt x="1451370" y="2496021"/>
                  <a:pt x="1453125" y="2496486"/>
                </a:cubicBezTo>
                <a:lnTo>
                  <a:pt x="1457668" y="2500049"/>
                </a:lnTo>
                <a:lnTo>
                  <a:pt x="1458907" y="2495092"/>
                </a:lnTo>
                <a:lnTo>
                  <a:pt x="1459217" y="2494008"/>
                </a:lnTo>
                <a:lnTo>
                  <a:pt x="1456842" y="2491994"/>
                </a:lnTo>
                <a:cubicBezTo>
                  <a:pt x="1454570" y="2489360"/>
                  <a:pt x="1453435" y="2486108"/>
                  <a:pt x="1454054" y="2482545"/>
                </a:cubicBezTo>
                <a:lnTo>
                  <a:pt x="1458081" y="2476349"/>
                </a:lnTo>
                <a:lnTo>
                  <a:pt x="1456016" y="2476504"/>
                </a:lnTo>
                <a:cubicBezTo>
                  <a:pt x="1454674" y="2476349"/>
                  <a:pt x="1453228" y="2475575"/>
                  <a:pt x="1451266" y="2474336"/>
                </a:cubicBezTo>
                <a:cubicBezTo>
                  <a:pt x="1449511" y="2472012"/>
                  <a:pt x="1448272" y="2469224"/>
                  <a:pt x="1447136" y="2466281"/>
                </a:cubicBezTo>
                <a:lnTo>
                  <a:pt x="1446103" y="2463028"/>
                </a:lnTo>
                <a:lnTo>
                  <a:pt x="1441147" y="2470463"/>
                </a:lnTo>
                <a:cubicBezTo>
                  <a:pt x="1439495" y="2470308"/>
                  <a:pt x="1438050" y="2469224"/>
                  <a:pt x="1436088" y="2466436"/>
                </a:cubicBezTo>
                <a:cubicBezTo>
                  <a:pt x="1441973" y="2463338"/>
                  <a:pt x="1438669" y="2460085"/>
                  <a:pt x="1439185" y="2457142"/>
                </a:cubicBezTo>
                <a:lnTo>
                  <a:pt x="1439805" y="2456523"/>
                </a:lnTo>
                <a:lnTo>
                  <a:pt x="1436810" y="2455439"/>
                </a:lnTo>
                <a:cubicBezTo>
                  <a:pt x="1430512" y="2454819"/>
                  <a:pt x="1422561" y="2456677"/>
                  <a:pt x="1417089" y="2459001"/>
                </a:cubicBezTo>
                <a:lnTo>
                  <a:pt x="1416159" y="2459466"/>
                </a:lnTo>
                <a:lnTo>
                  <a:pt x="1416985" y="2459930"/>
                </a:lnTo>
                <a:cubicBezTo>
                  <a:pt x="1418431" y="2461634"/>
                  <a:pt x="1418328" y="2462563"/>
                  <a:pt x="1419670" y="2465042"/>
                </a:cubicBezTo>
                <a:cubicBezTo>
                  <a:pt x="1418534" y="2466746"/>
                  <a:pt x="1418534" y="2466746"/>
                  <a:pt x="1417605" y="2466591"/>
                </a:cubicBezTo>
                <a:cubicBezTo>
                  <a:pt x="1418534" y="2466746"/>
                  <a:pt x="1418431" y="2467520"/>
                  <a:pt x="1419154" y="2468450"/>
                </a:cubicBezTo>
                <a:lnTo>
                  <a:pt x="1420806" y="2470618"/>
                </a:lnTo>
                <a:lnTo>
                  <a:pt x="1422871" y="2470773"/>
                </a:lnTo>
                <a:cubicBezTo>
                  <a:pt x="1423697" y="2470773"/>
                  <a:pt x="1424627" y="2471083"/>
                  <a:pt x="1425866" y="2472012"/>
                </a:cubicBezTo>
                <a:cubicBezTo>
                  <a:pt x="1424627" y="2474026"/>
                  <a:pt x="1423284" y="2475110"/>
                  <a:pt x="1422148" y="2477124"/>
                </a:cubicBezTo>
                <a:lnTo>
                  <a:pt x="1419773" y="2474800"/>
                </a:lnTo>
                <a:lnTo>
                  <a:pt x="1416469" y="2479137"/>
                </a:lnTo>
                <a:cubicBezTo>
                  <a:pt x="1415746" y="2478363"/>
                  <a:pt x="1413578" y="2480686"/>
                  <a:pt x="1411719" y="2481306"/>
                </a:cubicBezTo>
                <a:cubicBezTo>
                  <a:pt x="1410377" y="2481306"/>
                  <a:pt x="1409344" y="2481151"/>
                  <a:pt x="1408415" y="2480841"/>
                </a:cubicBezTo>
                <a:lnTo>
                  <a:pt x="1406350" y="2479602"/>
                </a:lnTo>
                <a:lnTo>
                  <a:pt x="1406866" y="2483474"/>
                </a:lnTo>
                <a:cubicBezTo>
                  <a:pt x="1406969" y="2485179"/>
                  <a:pt x="1406660" y="2486882"/>
                  <a:pt x="1405627" y="2488431"/>
                </a:cubicBezTo>
                <a:cubicBezTo>
                  <a:pt x="1401394" y="2494627"/>
                  <a:pt x="1393856" y="2489670"/>
                  <a:pt x="1393856" y="2489670"/>
                </a:cubicBezTo>
                <a:lnTo>
                  <a:pt x="1392824" y="2487037"/>
                </a:lnTo>
                <a:lnTo>
                  <a:pt x="1391584" y="2489051"/>
                </a:lnTo>
                <a:cubicBezTo>
                  <a:pt x="1390655" y="2489516"/>
                  <a:pt x="1389313" y="2489516"/>
                  <a:pt x="1387454" y="2489360"/>
                </a:cubicBezTo>
                <a:cubicBezTo>
                  <a:pt x="1387557" y="2486728"/>
                  <a:pt x="1387970" y="2485489"/>
                  <a:pt x="1389003" y="2485179"/>
                </a:cubicBezTo>
                <a:lnTo>
                  <a:pt x="1392204" y="2485489"/>
                </a:lnTo>
                <a:lnTo>
                  <a:pt x="1391997" y="2480686"/>
                </a:lnTo>
                <a:lnTo>
                  <a:pt x="1392101" y="2479757"/>
                </a:lnTo>
                <a:lnTo>
                  <a:pt x="1390448" y="2480531"/>
                </a:lnTo>
                <a:cubicBezTo>
                  <a:pt x="1389519" y="2480686"/>
                  <a:pt x="1388487" y="2480531"/>
                  <a:pt x="1388177" y="2480841"/>
                </a:cubicBezTo>
                <a:cubicBezTo>
                  <a:pt x="1387661" y="2480067"/>
                  <a:pt x="1387970" y="2478827"/>
                  <a:pt x="1387454" y="2478208"/>
                </a:cubicBezTo>
                <a:cubicBezTo>
                  <a:pt x="1388280" y="2477743"/>
                  <a:pt x="1389726" y="2476969"/>
                  <a:pt x="1390965" y="2477434"/>
                </a:cubicBezTo>
                <a:cubicBezTo>
                  <a:pt x="1391378" y="2477124"/>
                  <a:pt x="1391791" y="2477743"/>
                  <a:pt x="1391997" y="2478363"/>
                </a:cubicBezTo>
                <a:lnTo>
                  <a:pt x="1392204" y="2478983"/>
                </a:lnTo>
                <a:lnTo>
                  <a:pt x="1393030" y="2472012"/>
                </a:lnTo>
                <a:cubicBezTo>
                  <a:pt x="1391378" y="2467365"/>
                  <a:pt x="1387661" y="2464887"/>
                  <a:pt x="1385802" y="2462563"/>
                </a:cubicBezTo>
                <a:cubicBezTo>
                  <a:pt x="1379710" y="2466591"/>
                  <a:pt x="1351727" y="2448778"/>
                  <a:pt x="1349869" y="2446455"/>
                </a:cubicBezTo>
                <a:lnTo>
                  <a:pt x="1346152" y="2445370"/>
                </a:lnTo>
                <a:lnTo>
                  <a:pt x="1346048" y="2445525"/>
                </a:lnTo>
                <a:lnTo>
                  <a:pt x="1345222" y="2445370"/>
                </a:lnTo>
                <a:lnTo>
                  <a:pt x="1341196" y="2445525"/>
                </a:lnTo>
                <a:cubicBezTo>
                  <a:pt x="1337685" y="2446145"/>
                  <a:pt x="1334174" y="2447384"/>
                  <a:pt x="1332109" y="2449552"/>
                </a:cubicBezTo>
                <a:lnTo>
                  <a:pt x="1327669" y="2456058"/>
                </a:lnTo>
                <a:lnTo>
                  <a:pt x="1328288" y="2457297"/>
                </a:lnTo>
                <a:cubicBezTo>
                  <a:pt x="1328288" y="2459311"/>
                  <a:pt x="1327359" y="2460859"/>
                  <a:pt x="1325913" y="2462254"/>
                </a:cubicBezTo>
                <a:lnTo>
                  <a:pt x="1321267" y="2464577"/>
                </a:lnTo>
                <a:lnTo>
                  <a:pt x="1319408" y="2466436"/>
                </a:lnTo>
                <a:cubicBezTo>
                  <a:pt x="1317963" y="2467210"/>
                  <a:pt x="1316414" y="2467056"/>
                  <a:pt x="1315588" y="2465817"/>
                </a:cubicBezTo>
                <a:cubicBezTo>
                  <a:pt x="1313626" y="2465661"/>
                  <a:pt x="1311767" y="2463338"/>
                  <a:pt x="1312077" y="2459001"/>
                </a:cubicBezTo>
                <a:cubicBezTo>
                  <a:pt x="1308463" y="2454354"/>
                  <a:pt x="1307018" y="2447538"/>
                  <a:pt x="1307018" y="2447538"/>
                </a:cubicBezTo>
                <a:cubicBezTo>
                  <a:pt x="1305366" y="2442892"/>
                  <a:pt x="1301132" y="2447074"/>
                  <a:pt x="1299376" y="2444751"/>
                </a:cubicBezTo>
                <a:lnTo>
                  <a:pt x="1298137" y="2442892"/>
                </a:lnTo>
                <a:lnTo>
                  <a:pt x="1295350" y="2442892"/>
                </a:lnTo>
                <a:cubicBezTo>
                  <a:pt x="1294214" y="2442737"/>
                  <a:pt x="1293078" y="2442272"/>
                  <a:pt x="1292252" y="2441807"/>
                </a:cubicBezTo>
                <a:lnTo>
                  <a:pt x="1291116" y="2440258"/>
                </a:lnTo>
                <a:lnTo>
                  <a:pt x="1289051" y="2440723"/>
                </a:lnTo>
                <a:cubicBezTo>
                  <a:pt x="1286779" y="2440103"/>
                  <a:pt x="1284921" y="2438709"/>
                  <a:pt x="1284301" y="2436851"/>
                </a:cubicBezTo>
                <a:cubicBezTo>
                  <a:pt x="1283991" y="2435767"/>
                  <a:pt x="1284198" y="2434372"/>
                  <a:pt x="1285334" y="2432978"/>
                </a:cubicBezTo>
                <a:cubicBezTo>
                  <a:pt x="1288018" y="2432049"/>
                  <a:pt x="1289464" y="2432824"/>
                  <a:pt x="1290806" y="2434218"/>
                </a:cubicBezTo>
                <a:lnTo>
                  <a:pt x="1292562" y="2436231"/>
                </a:lnTo>
                <a:lnTo>
                  <a:pt x="1294420" y="2434682"/>
                </a:lnTo>
                <a:lnTo>
                  <a:pt x="1297725" y="2433133"/>
                </a:lnTo>
                <a:lnTo>
                  <a:pt x="1297931" y="2431894"/>
                </a:lnTo>
                <a:cubicBezTo>
                  <a:pt x="1299480" y="2427557"/>
                  <a:pt x="1301648" y="2423839"/>
                  <a:pt x="1300719" y="2422755"/>
                </a:cubicBezTo>
                <a:cubicBezTo>
                  <a:pt x="1298964" y="2420432"/>
                  <a:pt x="1287296" y="2419502"/>
                  <a:pt x="1283682" y="2414856"/>
                </a:cubicBezTo>
                <a:cubicBezTo>
                  <a:pt x="1281720" y="2414701"/>
                  <a:pt x="1280067" y="2410054"/>
                  <a:pt x="1278312" y="2407730"/>
                </a:cubicBezTo>
                <a:lnTo>
                  <a:pt x="1273975" y="2406027"/>
                </a:lnTo>
                <a:lnTo>
                  <a:pt x="1271600" y="2405097"/>
                </a:lnTo>
                <a:cubicBezTo>
                  <a:pt x="1265095" y="2403703"/>
                  <a:pt x="1259416" y="2405716"/>
                  <a:pt x="1254770" y="2410209"/>
                </a:cubicBezTo>
                <a:cubicBezTo>
                  <a:pt x="1252705" y="2412377"/>
                  <a:pt x="1251569" y="2414391"/>
                  <a:pt x="1250433" y="2416870"/>
                </a:cubicBezTo>
                <a:lnTo>
                  <a:pt x="1247232" y="2422910"/>
                </a:lnTo>
                <a:lnTo>
                  <a:pt x="1247129" y="2424304"/>
                </a:lnTo>
                <a:lnTo>
                  <a:pt x="1246303" y="2424769"/>
                </a:lnTo>
                <a:lnTo>
                  <a:pt x="1246097" y="2425079"/>
                </a:lnTo>
                <a:cubicBezTo>
                  <a:pt x="1241966" y="2429106"/>
                  <a:pt x="1239798" y="2431274"/>
                  <a:pt x="1238042" y="2428796"/>
                </a:cubicBezTo>
                <a:cubicBezTo>
                  <a:pt x="1238042" y="2428796"/>
                  <a:pt x="1238042" y="2428796"/>
                  <a:pt x="1229472" y="2441498"/>
                </a:cubicBezTo>
                <a:cubicBezTo>
                  <a:pt x="1227407" y="2443511"/>
                  <a:pt x="1225445" y="2443356"/>
                  <a:pt x="1225445" y="2443356"/>
                </a:cubicBezTo>
                <a:cubicBezTo>
                  <a:pt x="1225445" y="2443356"/>
                  <a:pt x="1225445" y="2443356"/>
                  <a:pt x="1227717" y="2439019"/>
                </a:cubicBezTo>
                <a:cubicBezTo>
                  <a:pt x="1227717" y="2439019"/>
                  <a:pt x="1229782" y="2437005"/>
                  <a:pt x="1231847" y="2434992"/>
                </a:cubicBezTo>
                <a:cubicBezTo>
                  <a:pt x="1231847" y="2434992"/>
                  <a:pt x="1231950" y="2432824"/>
                  <a:pt x="1232054" y="2430655"/>
                </a:cubicBezTo>
                <a:cubicBezTo>
                  <a:pt x="1234119" y="2428486"/>
                  <a:pt x="1233912" y="2432824"/>
                  <a:pt x="1236080" y="2428641"/>
                </a:cubicBezTo>
                <a:cubicBezTo>
                  <a:pt x="1236080" y="2428641"/>
                  <a:pt x="1236390" y="2424924"/>
                  <a:pt x="1236597" y="2421361"/>
                </a:cubicBezTo>
                <a:lnTo>
                  <a:pt x="1236700" y="2418728"/>
                </a:lnTo>
                <a:lnTo>
                  <a:pt x="1233189" y="2420277"/>
                </a:lnTo>
                <a:cubicBezTo>
                  <a:pt x="1231537" y="2417798"/>
                  <a:pt x="1231021" y="2415940"/>
                  <a:pt x="1231331" y="2414856"/>
                </a:cubicBezTo>
                <a:cubicBezTo>
                  <a:pt x="1231537" y="2413616"/>
                  <a:pt x="1232570" y="2413152"/>
                  <a:pt x="1233705" y="2412997"/>
                </a:cubicBezTo>
                <a:lnTo>
                  <a:pt x="1235255" y="2413306"/>
                </a:lnTo>
                <a:lnTo>
                  <a:pt x="1232673" y="2408350"/>
                </a:lnTo>
                <a:cubicBezTo>
                  <a:pt x="1231537" y="2406337"/>
                  <a:pt x="1230711" y="2404168"/>
                  <a:pt x="1230918" y="2402154"/>
                </a:cubicBezTo>
                <a:cubicBezTo>
                  <a:pt x="1231331" y="2402773"/>
                  <a:pt x="1232570" y="2405097"/>
                  <a:pt x="1233705" y="2407730"/>
                </a:cubicBezTo>
                <a:lnTo>
                  <a:pt x="1235564" y="2413461"/>
                </a:lnTo>
                <a:lnTo>
                  <a:pt x="1236803" y="2413616"/>
                </a:lnTo>
                <a:lnTo>
                  <a:pt x="1238042" y="2414701"/>
                </a:lnTo>
                <a:lnTo>
                  <a:pt x="1243825" y="2410518"/>
                </a:lnTo>
                <a:cubicBezTo>
                  <a:pt x="1246097" y="2409124"/>
                  <a:pt x="1248161" y="2407575"/>
                  <a:pt x="1249194" y="2405407"/>
                </a:cubicBezTo>
                <a:cubicBezTo>
                  <a:pt x="1255493" y="2399366"/>
                  <a:pt x="1256009" y="2390537"/>
                  <a:pt x="1250743" y="2381243"/>
                </a:cubicBezTo>
                <a:cubicBezTo>
                  <a:pt x="1248471" y="2379384"/>
                  <a:pt x="1245477" y="2377835"/>
                  <a:pt x="1242379" y="2376596"/>
                </a:cubicBezTo>
                <a:lnTo>
                  <a:pt x="1241140" y="2376132"/>
                </a:lnTo>
                <a:lnTo>
                  <a:pt x="1241966" y="2377680"/>
                </a:lnTo>
                <a:cubicBezTo>
                  <a:pt x="1243308" y="2384651"/>
                  <a:pt x="1232054" y="2393325"/>
                  <a:pt x="1223999" y="2388833"/>
                </a:cubicBezTo>
                <a:lnTo>
                  <a:pt x="1223896" y="2383566"/>
                </a:lnTo>
                <a:lnTo>
                  <a:pt x="1219663" y="2386974"/>
                </a:lnTo>
                <a:cubicBezTo>
                  <a:pt x="1217907" y="2387594"/>
                  <a:pt x="1215945" y="2387594"/>
                  <a:pt x="1213570" y="2387129"/>
                </a:cubicBezTo>
                <a:cubicBezTo>
                  <a:pt x="1213158" y="2385580"/>
                  <a:pt x="1215016" y="2382637"/>
                  <a:pt x="1216152" y="2380778"/>
                </a:cubicBezTo>
                <a:lnTo>
                  <a:pt x="1223896" y="2383412"/>
                </a:lnTo>
                <a:lnTo>
                  <a:pt x="1225858" y="2379694"/>
                </a:lnTo>
                <a:cubicBezTo>
                  <a:pt x="1226684" y="2378455"/>
                  <a:pt x="1227613" y="2377370"/>
                  <a:pt x="1228749" y="2376286"/>
                </a:cubicBezTo>
                <a:lnTo>
                  <a:pt x="1232776" y="2373808"/>
                </a:lnTo>
                <a:lnTo>
                  <a:pt x="1232466" y="2373808"/>
                </a:lnTo>
                <a:cubicBezTo>
                  <a:pt x="1225961" y="2372724"/>
                  <a:pt x="1220076" y="2373343"/>
                  <a:pt x="1217907" y="2376442"/>
                </a:cubicBezTo>
                <a:lnTo>
                  <a:pt x="1214603" y="2366063"/>
                </a:lnTo>
                <a:lnTo>
                  <a:pt x="1209131" y="2366373"/>
                </a:lnTo>
                <a:cubicBezTo>
                  <a:pt x="1206962" y="2365134"/>
                  <a:pt x="1206033" y="2362345"/>
                  <a:pt x="1206033" y="2359402"/>
                </a:cubicBezTo>
                <a:cubicBezTo>
                  <a:pt x="1206136" y="2356614"/>
                  <a:pt x="1207065" y="2353671"/>
                  <a:pt x="1208924" y="2352742"/>
                </a:cubicBezTo>
                <a:lnTo>
                  <a:pt x="1212744" y="2353207"/>
                </a:lnTo>
                <a:lnTo>
                  <a:pt x="1212331" y="2349489"/>
                </a:lnTo>
                <a:cubicBezTo>
                  <a:pt x="1211505" y="2339576"/>
                  <a:pt x="1211093" y="2330747"/>
                  <a:pt x="1209234" y="2329353"/>
                </a:cubicBezTo>
                <a:cubicBezTo>
                  <a:pt x="1208304" y="2328733"/>
                  <a:pt x="1206859" y="2328424"/>
                  <a:pt x="1205207" y="2328113"/>
                </a:cubicBezTo>
                <a:lnTo>
                  <a:pt x="1200560" y="2327494"/>
                </a:lnTo>
                <a:lnTo>
                  <a:pt x="1199321" y="2330747"/>
                </a:lnTo>
                <a:cubicBezTo>
                  <a:pt x="1198186" y="2332760"/>
                  <a:pt x="1196430" y="2334619"/>
                  <a:pt x="1195191" y="2335858"/>
                </a:cubicBezTo>
                <a:lnTo>
                  <a:pt x="1193849" y="2337098"/>
                </a:lnTo>
                <a:lnTo>
                  <a:pt x="1194571" y="2337562"/>
                </a:lnTo>
                <a:lnTo>
                  <a:pt x="1193333" y="2337872"/>
                </a:lnTo>
                <a:lnTo>
                  <a:pt x="1193229" y="2338182"/>
                </a:lnTo>
                <a:cubicBezTo>
                  <a:pt x="1192506" y="2337717"/>
                  <a:pt x="1192094" y="2338492"/>
                  <a:pt x="1192816" y="2338956"/>
                </a:cubicBezTo>
                <a:cubicBezTo>
                  <a:pt x="1191474" y="2339731"/>
                  <a:pt x="1190235" y="2340350"/>
                  <a:pt x="1189408" y="2340660"/>
                </a:cubicBezTo>
                <a:lnTo>
                  <a:pt x="1188789" y="2340195"/>
                </a:lnTo>
                <a:lnTo>
                  <a:pt x="1188479" y="2340815"/>
                </a:lnTo>
                <a:lnTo>
                  <a:pt x="1194055" y="2344997"/>
                </a:lnTo>
                <a:cubicBezTo>
                  <a:pt x="1196224" y="2347630"/>
                  <a:pt x="1197669" y="2350728"/>
                  <a:pt x="1198186" y="2353981"/>
                </a:cubicBezTo>
                <a:cubicBezTo>
                  <a:pt x="1195810" y="2356305"/>
                  <a:pt x="1193229" y="2357854"/>
                  <a:pt x="1190441" y="2358783"/>
                </a:cubicBezTo>
                <a:lnTo>
                  <a:pt x="1188686" y="2358783"/>
                </a:lnTo>
                <a:lnTo>
                  <a:pt x="1188273" y="2360487"/>
                </a:lnTo>
                <a:cubicBezTo>
                  <a:pt x="1187757" y="2362191"/>
                  <a:pt x="1187034" y="2363585"/>
                  <a:pt x="1186414" y="2364514"/>
                </a:cubicBezTo>
                <a:lnTo>
                  <a:pt x="1185175" y="2359248"/>
                </a:lnTo>
                <a:lnTo>
                  <a:pt x="1181871" y="2359557"/>
                </a:lnTo>
                <a:cubicBezTo>
                  <a:pt x="1172268" y="2358628"/>
                  <a:pt x="1162872" y="2351658"/>
                  <a:pt x="1159258" y="2341745"/>
                </a:cubicBezTo>
                <a:cubicBezTo>
                  <a:pt x="1160291" y="2341125"/>
                  <a:pt x="1161220" y="2340350"/>
                  <a:pt x="1160394" y="2339421"/>
                </a:cubicBezTo>
                <a:cubicBezTo>
                  <a:pt x="1161839" y="2338182"/>
                  <a:pt x="1163491" y="2337252"/>
                  <a:pt x="1165247" y="2336633"/>
                </a:cubicBezTo>
                <a:cubicBezTo>
                  <a:pt x="1168344" y="2335548"/>
                  <a:pt x="1171855" y="2335239"/>
                  <a:pt x="1175366" y="2335548"/>
                </a:cubicBezTo>
                <a:lnTo>
                  <a:pt x="1183110" y="2337872"/>
                </a:lnTo>
                <a:lnTo>
                  <a:pt x="1186001" y="2333380"/>
                </a:lnTo>
                <a:lnTo>
                  <a:pt x="1185278" y="2332915"/>
                </a:lnTo>
                <a:lnTo>
                  <a:pt x="1183110" y="2332451"/>
                </a:lnTo>
                <a:lnTo>
                  <a:pt x="1183007" y="2333225"/>
                </a:lnTo>
                <a:cubicBezTo>
                  <a:pt x="1182181" y="2333535"/>
                  <a:pt x="1180838" y="2334774"/>
                  <a:pt x="1180425" y="2335858"/>
                </a:cubicBezTo>
                <a:cubicBezTo>
                  <a:pt x="1180116" y="2335084"/>
                  <a:pt x="1179702" y="2334155"/>
                  <a:pt x="1178876" y="2334464"/>
                </a:cubicBezTo>
                <a:cubicBezTo>
                  <a:pt x="1179393" y="2333380"/>
                  <a:pt x="1179909" y="2332915"/>
                  <a:pt x="1180219" y="2332451"/>
                </a:cubicBezTo>
                <a:lnTo>
                  <a:pt x="1180425" y="2332141"/>
                </a:lnTo>
                <a:lnTo>
                  <a:pt x="1179599" y="2331986"/>
                </a:lnTo>
                <a:cubicBezTo>
                  <a:pt x="1177534" y="2331366"/>
                  <a:pt x="1175572" y="2330127"/>
                  <a:pt x="1174230" y="2327494"/>
                </a:cubicBezTo>
                <a:cubicBezTo>
                  <a:pt x="1174850" y="2327184"/>
                  <a:pt x="1175263" y="2326720"/>
                  <a:pt x="1175572" y="2326100"/>
                </a:cubicBezTo>
                <a:lnTo>
                  <a:pt x="1175675" y="2325635"/>
                </a:lnTo>
                <a:lnTo>
                  <a:pt x="1175159" y="2324551"/>
                </a:lnTo>
                <a:cubicBezTo>
                  <a:pt x="1174953" y="2323622"/>
                  <a:pt x="1174953" y="2322537"/>
                  <a:pt x="1175366" y="2321298"/>
                </a:cubicBezTo>
                <a:cubicBezTo>
                  <a:pt x="1175779" y="2321453"/>
                  <a:pt x="1176501" y="2320679"/>
                  <a:pt x="1177328" y="2319749"/>
                </a:cubicBezTo>
                <a:lnTo>
                  <a:pt x="1178876" y="2318200"/>
                </a:lnTo>
                <a:lnTo>
                  <a:pt x="1179599" y="2313708"/>
                </a:lnTo>
                <a:cubicBezTo>
                  <a:pt x="1184659" y="2310300"/>
                  <a:pt x="1186724" y="2311694"/>
                  <a:pt x="1187550" y="2314638"/>
                </a:cubicBezTo>
                <a:lnTo>
                  <a:pt x="1187963" y="2317116"/>
                </a:lnTo>
                <a:lnTo>
                  <a:pt x="1188066" y="2317116"/>
                </a:lnTo>
                <a:lnTo>
                  <a:pt x="1188376" y="2313398"/>
                </a:lnTo>
                <a:cubicBezTo>
                  <a:pt x="1189099" y="2309061"/>
                  <a:pt x="1190338" y="2304724"/>
                  <a:pt x="1189408" y="2303640"/>
                </a:cubicBezTo>
                <a:cubicBezTo>
                  <a:pt x="1187447" y="2303485"/>
                  <a:pt x="1185072" y="2312159"/>
                  <a:pt x="1179496" y="2307202"/>
                </a:cubicBezTo>
                <a:cubicBezTo>
                  <a:pt x="1177740" y="2304879"/>
                  <a:pt x="1177224" y="2303175"/>
                  <a:pt x="1177328" y="2301781"/>
                </a:cubicBezTo>
                <a:lnTo>
                  <a:pt x="1177534" y="2300852"/>
                </a:lnTo>
                <a:lnTo>
                  <a:pt x="1175263" y="2300542"/>
                </a:lnTo>
                <a:cubicBezTo>
                  <a:pt x="1172888" y="2299767"/>
                  <a:pt x="1171029" y="2298064"/>
                  <a:pt x="1171132" y="2295121"/>
                </a:cubicBezTo>
                <a:cubicBezTo>
                  <a:pt x="1171752" y="2294036"/>
                  <a:pt x="1172371" y="2292952"/>
                  <a:pt x="1173404" y="2292023"/>
                </a:cubicBezTo>
                <a:lnTo>
                  <a:pt x="1176605" y="2291093"/>
                </a:lnTo>
                <a:lnTo>
                  <a:pt x="1179290" y="2283813"/>
                </a:lnTo>
                <a:cubicBezTo>
                  <a:pt x="1180941" y="2281490"/>
                  <a:pt x="1183523" y="2279941"/>
                  <a:pt x="1187447" y="2280560"/>
                </a:cubicBezTo>
                <a:cubicBezTo>
                  <a:pt x="1187757" y="2281645"/>
                  <a:pt x="1187963" y="2282729"/>
                  <a:pt x="1188169" y="2283968"/>
                </a:cubicBezTo>
                <a:cubicBezTo>
                  <a:pt x="1185588" y="2285052"/>
                  <a:pt x="1183626" y="2286447"/>
                  <a:pt x="1181871" y="2287841"/>
                </a:cubicBezTo>
                <a:lnTo>
                  <a:pt x="1177534" y="2290783"/>
                </a:lnTo>
                <a:lnTo>
                  <a:pt x="1178051" y="2290629"/>
                </a:lnTo>
                <a:cubicBezTo>
                  <a:pt x="1179496" y="2291558"/>
                  <a:pt x="1180529" y="2292797"/>
                  <a:pt x="1181148" y="2294191"/>
                </a:cubicBezTo>
                <a:lnTo>
                  <a:pt x="1181355" y="2295430"/>
                </a:lnTo>
                <a:lnTo>
                  <a:pt x="1182387" y="2294501"/>
                </a:lnTo>
                <a:cubicBezTo>
                  <a:pt x="1186207" y="2292797"/>
                  <a:pt x="1188996" y="2295895"/>
                  <a:pt x="1192094" y="2292797"/>
                </a:cubicBezTo>
                <a:cubicBezTo>
                  <a:pt x="1186827" y="2283503"/>
                  <a:pt x="1187653" y="2270337"/>
                  <a:pt x="1184039" y="2265690"/>
                </a:cubicBezTo>
                <a:cubicBezTo>
                  <a:pt x="1182181" y="2264451"/>
                  <a:pt x="1177224" y="2264606"/>
                  <a:pt x="1172578" y="2265226"/>
                </a:cubicBezTo>
                <a:lnTo>
                  <a:pt x="1167622" y="2266465"/>
                </a:lnTo>
                <a:lnTo>
                  <a:pt x="1168551" y="2268014"/>
                </a:lnTo>
                <a:cubicBezTo>
                  <a:pt x="1168654" y="2269563"/>
                  <a:pt x="1168138" y="2271112"/>
                  <a:pt x="1167208" y="2272506"/>
                </a:cubicBezTo>
                <a:cubicBezTo>
                  <a:pt x="1165350" y="2273125"/>
                  <a:pt x="1163698" y="2272815"/>
                  <a:pt x="1162562" y="2271886"/>
                </a:cubicBezTo>
                <a:lnTo>
                  <a:pt x="1161736" y="2270492"/>
                </a:lnTo>
                <a:lnTo>
                  <a:pt x="1161013" y="2272661"/>
                </a:lnTo>
                <a:cubicBezTo>
                  <a:pt x="1161116" y="2277927"/>
                  <a:pt x="1164214" y="2285672"/>
                  <a:pt x="1161013" y="2290319"/>
                </a:cubicBezTo>
                <a:cubicBezTo>
                  <a:pt x="1155540" y="2285517"/>
                  <a:pt x="1159774" y="2279166"/>
                  <a:pt x="1156367" y="2272351"/>
                </a:cubicBezTo>
                <a:cubicBezTo>
                  <a:pt x="1146248" y="2278082"/>
                  <a:pt x="1123015" y="2276224"/>
                  <a:pt x="1121156" y="2273900"/>
                </a:cubicBezTo>
                <a:cubicBezTo>
                  <a:pt x="1139329" y="2263832"/>
                  <a:pt x="1155128" y="2255932"/>
                  <a:pt x="1166279" y="2248342"/>
                </a:cubicBezTo>
                <a:lnTo>
                  <a:pt x="1168551" y="2246483"/>
                </a:lnTo>
                <a:lnTo>
                  <a:pt x="1167002" y="2246793"/>
                </a:lnTo>
                <a:cubicBezTo>
                  <a:pt x="1166486" y="2246793"/>
                  <a:pt x="1166072" y="2246948"/>
                  <a:pt x="1165866" y="2246948"/>
                </a:cubicBezTo>
                <a:cubicBezTo>
                  <a:pt x="1165866" y="2246948"/>
                  <a:pt x="1165040" y="2247258"/>
                  <a:pt x="1164214" y="2247412"/>
                </a:cubicBezTo>
                <a:cubicBezTo>
                  <a:pt x="1163182" y="2246948"/>
                  <a:pt x="1162769" y="2246173"/>
                  <a:pt x="1162046" y="2246329"/>
                </a:cubicBezTo>
                <a:cubicBezTo>
                  <a:pt x="1162769" y="2244779"/>
                  <a:pt x="1163801" y="2244005"/>
                  <a:pt x="1164937" y="2243695"/>
                </a:cubicBezTo>
                <a:cubicBezTo>
                  <a:pt x="1166176" y="2243385"/>
                  <a:pt x="1167518" y="2243385"/>
                  <a:pt x="1168861" y="2243385"/>
                </a:cubicBezTo>
                <a:cubicBezTo>
                  <a:pt x="1170823" y="2243695"/>
                  <a:pt x="1171649" y="2243385"/>
                  <a:pt x="1172888" y="2242146"/>
                </a:cubicBezTo>
                <a:cubicBezTo>
                  <a:pt x="1172888" y="2242146"/>
                  <a:pt x="1172991" y="2242146"/>
                  <a:pt x="1173197" y="2242301"/>
                </a:cubicBezTo>
                <a:lnTo>
                  <a:pt x="1173610" y="2242456"/>
                </a:lnTo>
                <a:lnTo>
                  <a:pt x="1175882" y="2240752"/>
                </a:lnTo>
                <a:cubicBezTo>
                  <a:pt x="1180116" y="2234401"/>
                  <a:pt x="1178154" y="2234246"/>
                  <a:pt x="1174746" y="2227431"/>
                </a:cubicBezTo>
                <a:cubicBezTo>
                  <a:pt x="1174746" y="2227431"/>
                  <a:pt x="1174746" y="2227431"/>
                  <a:pt x="1174333" y="2220770"/>
                </a:cubicBezTo>
                <a:lnTo>
                  <a:pt x="1173817" y="2212251"/>
                </a:lnTo>
                <a:lnTo>
                  <a:pt x="1173507" y="2211787"/>
                </a:lnTo>
                <a:cubicBezTo>
                  <a:pt x="1172888" y="2210392"/>
                  <a:pt x="1172784" y="2209153"/>
                  <a:pt x="1172991" y="2207914"/>
                </a:cubicBezTo>
                <a:cubicBezTo>
                  <a:pt x="1173094" y="2206675"/>
                  <a:pt x="1173507" y="2205436"/>
                  <a:pt x="1174127" y="2204351"/>
                </a:cubicBezTo>
                <a:lnTo>
                  <a:pt x="1174746" y="2203577"/>
                </a:lnTo>
                <a:lnTo>
                  <a:pt x="1175263" y="2200169"/>
                </a:lnTo>
                <a:cubicBezTo>
                  <a:pt x="1175263" y="2196607"/>
                  <a:pt x="1174953" y="2193199"/>
                  <a:pt x="1175159" y="2189946"/>
                </a:cubicBezTo>
                <a:cubicBezTo>
                  <a:pt x="1175159" y="2189946"/>
                  <a:pt x="1175159" y="2189946"/>
                  <a:pt x="1173714" y="2188397"/>
                </a:cubicBezTo>
                <a:lnTo>
                  <a:pt x="1171339" y="2185764"/>
                </a:lnTo>
                <a:lnTo>
                  <a:pt x="1170100" y="2186693"/>
                </a:lnTo>
                <a:cubicBezTo>
                  <a:pt x="1169377" y="2187158"/>
                  <a:pt x="1168551" y="2187313"/>
                  <a:pt x="1167828" y="2187933"/>
                </a:cubicBezTo>
                <a:cubicBezTo>
                  <a:pt x="1166692" y="2187468"/>
                  <a:pt x="1165247" y="2186074"/>
                  <a:pt x="1166279" y="2184060"/>
                </a:cubicBezTo>
                <a:lnTo>
                  <a:pt x="1167828" y="2182046"/>
                </a:lnTo>
                <a:lnTo>
                  <a:pt x="1164214" y="2178020"/>
                </a:lnTo>
                <a:cubicBezTo>
                  <a:pt x="1161013" y="2174921"/>
                  <a:pt x="1157193" y="2172908"/>
                  <a:pt x="1153372" y="2171513"/>
                </a:cubicBezTo>
                <a:lnTo>
                  <a:pt x="1142117" y="2168880"/>
                </a:lnTo>
                <a:lnTo>
                  <a:pt x="1142221" y="2170584"/>
                </a:lnTo>
                <a:cubicBezTo>
                  <a:pt x="1141807" y="2171823"/>
                  <a:pt x="1140671" y="2172908"/>
                  <a:pt x="1138297" y="2173992"/>
                </a:cubicBezTo>
                <a:lnTo>
                  <a:pt x="1136232" y="2174611"/>
                </a:lnTo>
                <a:lnTo>
                  <a:pt x="1141395" y="2176160"/>
                </a:lnTo>
                <a:lnTo>
                  <a:pt x="1147590" y="2180188"/>
                </a:lnTo>
                <a:lnTo>
                  <a:pt x="1148416" y="2180188"/>
                </a:lnTo>
                <a:cubicBezTo>
                  <a:pt x="1149655" y="2180498"/>
                  <a:pt x="1152546" y="2182046"/>
                  <a:pt x="1151823" y="2182511"/>
                </a:cubicBezTo>
                <a:cubicBezTo>
                  <a:pt x="1151514" y="2183595"/>
                  <a:pt x="1152236" y="2183131"/>
                  <a:pt x="1152753" y="2183905"/>
                </a:cubicBezTo>
                <a:cubicBezTo>
                  <a:pt x="1151927" y="2187313"/>
                  <a:pt x="1150274" y="2189172"/>
                  <a:pt x="1147073" y="2188862"/>
                </a:cubicBezTo>
                <a:lnTo>
                  <a:pt x="1145525" y="2188243"/>
                </a:lnTo>
                <a:lnTo>
                  <a:pt x="1144596" y="2189636"/>
                </a:lnTo>
                <a:lnTo>
                  <a:pt x="1146764" y="2189791"/>
                </a:lnTo>
                <a:lnTo>
                  <a:pt x="1145834" y="2193199"/>
                </a:lnTo>
                <a:cubicBezTo>
                  <a:pt x="1145318" y="2193044"/>
                  <a:pt x="1144596" y="2192734"/>
                  <a:pt x="1144079" y="2192269"/>
                </a:cubicBezTo>
                <a:lnTo>
                  <a:pt x="1143357" y="2190721"/>
                </a:lnTo>
                <a:lnTo>
                  <a:pt x="1137471" y="2194438"/>
                </a:lnTo>
                <a:lnTo>
                  <a:pt x="1139639" y="2195212"/>
                </a:lnTo>
                <a:lnTo>
                  <a:pt x="1140052" y="2196607"/>
                </a:lnTo>
                <a:lnTo>
                  <a:pt x="1142633" y="2195212"/>
                </a:lnTo>
                <a:cubicBezTo>
                  <a:pt x="1147487" y="2193044"/>
                  <a:pt x="1152856" y="2191030"/>
                  <a:pt x="1158225" y="2187468"/>
                </a:cubicBezTo>
                <a:lnTo>
                  <a:pt x="1158122" y="2189636"/>
                </a:lnTo>
                <a:lnTo>
                  <a:pt x="1159155" y="2189481"/>
                </a:lnTo>
                <a:cubicBezTo>
                  <a:pt x="1161839" y="2191495"/>
                  <a:pt x="1162769" y="2194438"/>
                  <a:pt x="1162046" y="2197072"/>
                </a:cubicBezTo>
                <a:lnTo>
                  <a:pt x="1159774" y="2199859"/>
                </a:lnTo>
                <a:lnTo>
                  <a:pt x="1162356" y="2204816"/>
                </a:lnTo>
                <a:cubicBezTo>
                  <a:pt x="1163285" y="2206520"/>
                  <a:pt x="1164111" y="2208224"/>
                  <a:pt x="1164524" y="2209928"/>
                </a:cubicBezTo>
                <a:cubicBezTo>
                  <a:pt x="1165143" y="2212406"/>
                  <a:pt x="1165040" y="2214884"/>
                  <a:pt x="1163698" y="2217673"/>
                </a:cubicBezTo>
                <a:cubicBezTo>
                  <a:pt x="1155540" y="2237809"/>
                  <a:pt x="1123841" y="2230529"/>
                  <a:pt x="1126939" y="2212096"/>
                </a:cubicBezTo>
                <a:cubicBezTo>
                  <a:pt x="1127455" y="2209463"/>
                  <a:pt x="1128591" y="2206520"/>
                  <a:pt x="1130553" y="2203577"/>
                </a:cubicBezTo>
                <a:cubicBezTo>
                  <a:pt x="1132101" y="2201563"/>
                  <a:pt x="1133960" y="2200014"/>
                  <a:pt x="1135922" y="2198620"/>
                </a:cubicBezTo>
                <a:lnTo>
                  <a:pt x="1136128" y="2198620"/>
                </a:lnTo>
                <a:lnTo>
                  <a:pt x="1135199" y="2197536"/>
                </a:lnTo>
                <a:cubicBezTo>
                  <a:pt x="1134683" y="2196762"/>
                  <a:pt x="1134373" y="2195832"/>
                  <a:pt x="1134476" y="2195367"/>
                </a:cubicBezTo>
                <a:lnTo>
                  <a:pt x="1134683" y="2195212"/>
                </a:lnTo>
                <a:lnTo>
                  <a:pt x="1128488" y="2196452"/>
                </a:lnTo>
                <a:cubicBezTo>
                  <a:pt x="1125493" y="2196607"/>
                  <a:pt x="1122499" y="2196297"/>
                  <a:pt x="1119711" y="2195367"/>
                </a:cubicBezTo>
                <a:lnTo>
                  <a:pt x="1116613" y="2193354"/>
                </a:lnTo>
                <a:lnTo>
                  <a:pt x="1114858" y="2194128"/>
                </a:lnTo>
                <a:cubicBezTo>
                  <a:pt x="1113929" y="2193664"/>
                  <a:pt x="1113412" y="2193044"/>
                  <a:pt x="1112999" y="2192269"/>
                </a:cubicBezTo>
                <a:lnTo>
                  <a:pt x="1112483" y="2190566"/>
                </a:lnTo>
                <a:lnTo>
                  <a:pt x="1110005" y="2188862"/>
                </a:lnTo>
                <a:cubicBezTo>
                  <a:pt x="1111347" y="2182511"/>
                  <a:pt x="1115271" y="2178020"/>
                  <a:pt x="1120227" y="2175696"/>
                </a:cubicBezTo>
                <a:cubicBezTo>
                  <a:pt x="1122292" y="2174611"/>
                  <a:pt x="1124564" y="2173992"/>
                  <a:pt x="1126939" y="2173682"/>
                </a:cubicBezTo>
                <a:lnTo>
                  <a:pt x="1125699" y="2169500"/>
                </a:lnTo>
                <a:lnTo>
                  <a:pt x="1125906" y="2167951"/>
                </a:lnTo>
                <a:lnTo>
                  <a:pt x="1121260" y="2167177"/>
                </a:lnTo>
                <a:cubicBezTo>
                  <a:pt x="1117646" y="2166557"/>
                  <a:pt x="1114341" y="2166247"/>
                  <a:pt x="1114238" y="2167486"/>
                </a:cubicBezTo>
                <a:cubicBezTo>
                  <a:pt x="1112586" y="2162839"/>
                  <a:pt x="1108869" y="2160361"/>
                  <a:pt x="1107113" y="2155869"/>
                </a:cubicBezTo>
                <a:cubicBezTo>
                  <a:pt x="1117542" y="2145646"/>
                  <a:pt x="1166279" y="2176005"/>
                  <a:pt x="1176915" y="2161290"/>
                </a:cubicBezTo>
                <a:cubicBezTo>
                  <a:pt x="1181045" y="2157263"/>
                  <a:pt x="1174850" y="2132479"/>
                  <a:pt x="1176915" y="2130466"/>
                </a:cubicBezTo>
                <a:cubicBezTo>
                  <a:pt x="1171339" y="2125664"/>
                  <a:pt x="1167622" y="2123031"/>
                  <a:pt x="1163904" y="2120552"/>
                </a:cubicBezTo>
                <a:cubicBezTo>
                  <a:pt x="1165969" y="2118539"/>
                  <a:pt x="1154508" y="2115441"/>
                  <a:pt x="1160703" y="2109245"/>
                </a:cubicBezTo>
                <a:cubicBezTo>
                  <a:pt x="1165040" y="2103049"/>
                  <a:pt x="1184246" y="2106767"/>
                  <a:pt x="1186311" y="2104753"/>
                </a:cubicBezTo>
                <a:cubicBezTo>
                  <a:pt x="1193436" y="2096544"/>
                  <a:pt x="1190751" y="2086940"/>
                  <a:pt x="1188169" y="2079040"/>
                </a:cubicBezTo>
                <a:lnTo>
                  <a:pt x="1186518" y="2073774"/>
                </a:lnTo>
                <a:lnTo>
                  <a:pt x="1181768" y="2072225"/>
                </a:lnTo>
                <a:lnTo>
                  <a:pt x="1179909" y="2077336"/>
                </a:lnTo>
                <a:lnTo>
                  <a:pt x="1179186" y="2079040"/>
                </a:lnTo>
                <a:lnTo>
                  <a:pt x="1180116" y="2078885"/>
                </a:lnTo>
                <a:lnTo>
                  <a:pt x="1179083" y="2079350"/>
                </a:lnTo>
                <a:lnTo>
                  <a:pt x="1177121" y="2083997"/>
                </a:lnTo>
                <a:cubicBezTo>
                  <a:pt x="1175056" y="2088334"/>
                  <a:pt x="1172371" y="2091742"/>
                  <a:pt x="1168861" y="2090193"/>
                </a:cubicBezTo>
                <a:cubicBezTo>
                  <a:pt x="1169274" y="2088953"/>
                  <a:pt x="1169584" y="2087250"/>
                  <a:pt x="1170100" y="2085391"/>
                </a:cubicBezTo>
                <a:lnTo>
                  <a:pt x="1171235" y="2081364"/>
                </a:lnTo>
                <a:lnTo>
                  <a:pt x="1170409" y="2081209"/>
                </a:lnTo>
                <a:lnTo>
                  <a:pt x="1171339" y="2080899"/>
                </a:lnTo>
                <a:lnTo>
                  <a:pt x="1171752" y="2079350"/>
                </a:lnTo>
                <a:cubicBezTo>
                  <a:pt x="1173094" y="2075478"/>
                  <a:pt x="1175159" y="2072070"/>
                  <a:pt x="1178567" y="2071605"/>
                </a:cubicBezTo>
                <a:lnTo>
                  <a:pt x="1180838" y="2071915"/>
                </a:lnTo>
                <a:lnTo>
                  <a:pt x="1179496" y="2071451"/>
                </a:lnTo>
                <a:cubicBezTo>
                  <a:pt x="1176501" y="2069747"/>
                  <a:pt x="1174437" y="2067733"/>
                  <a:pt x="1172888" y="2065564"/>
                </a:cubicBezTo>
                <a:lnTo>
                  <a:pt x="1171339" y="2062157"/>
                </a:lnTo>
                <a:lnTo>
                  <a:pt x="1167312" y="2059988"/>
                </a:lnTo>
                <a:lnTo>
                  <a:pt x="1167208" y="2063086"/>
                </a:lnTo>
                <a:cubicBezTo>
                  <a:pt x="1165247" y="2062931"/>
                  <a:pt x="1163698" y="2063551"/>
                  <a:pt x="1161736" y="2063396"/>
                </a:cubicBezTo>
                <a:cubicBezTo>
                  <a:pt x="1160600" y="2061072"/>
                  <a:pt x="1157916" y="2059988"/>
                  <a:pt x="1157709" y="2057664"/>
                </a:cubicBezTo>
                <a:cubicBezTo>
                  <a:pt x="1157606" y="2056735"/>
                  <a:pt x="1157812" y="2055961"/>
                  <a:pt x="1158432" y="2054721"/>
                </a:cubicBezTo>
                <a:lnTo>
                  <a:pt x="1158845" y="2054721"/>
                </a:lnTo>
                <a:lnTo>
                  <a:pt x="1152133" y="2049765"/>
                </a:lnTo>
                <a:lnTo>
                  <a:pt x="1144802" y="2041865"/>
                </a:lnTo>
                <a:lnTo>
                  <a:pt x="1143357" y="2046047"/>
                </a:lnTo>
                <a:cubicBezTo>
                  <a:pt x="1142014" y="2050384"/>
                  <a:pt x="1140465" y="2054102"/>
                  <a:pt x="1136438" y="2055341"/>
                </a:cubicBezTo>
                <a:cubicBezTo>
                  <a:pt x="1137058" y="2051624"/>
                  <a:pt x="1136335" y="2046667"/>
                  <a:pt x="1136438" y="2042175"/>
                </a:cubicBezTo>
                <a:cubicBezTo>
                  <a:pt x="1136438" y="2037683"/>
                  <a:pt x="1137058" y="2033965"/>
                  <a:pt x="1139949" y="2032572"/>
                </a:cubicBezTo>
                <a:cubicBezTo>
                  <a:pt x="1141911" y="2031642"/>
                  <a:pt x="1144802" y="2031952"/>
                  <a:pt x="1149345" y="2033811"/>
                </a:cubicBezTo>
                <a:lnTo>
                  <a:pt x="1146248" y="2038612"/>
                </a:lnTo>
                <a:lnTo>
                  <a:pt x="1154095" y="2036754"/>
                </a:lnTo>
                <a:lnTo>
                  <a:pt x="1159361" y="2038148"/>
                </a:lnTo>
                <a:lnTo>
                  <a:pt x="1158845" y="2036599"/>
                </a:lnTo>
                <a:cubicBezTo>
                  <a:pt x="1158948" y="2035979"/>
                  <a:pt x="1159155" y="2035360"/>
                  <a:pt x="1159567" y="2035050"/>
                </a:cubicBezTo>
                <a:cubicBezTo>
                  <a:pt x="1159981" y="2034585"/>
                  <a:pt x="1160600" y="2034430"/>
                  <a:pt x="1161839" y="2034585"/>
                </a:cubicBezTo>
                <a:cubicBezTo>
                  <a:pt x="1163801" y="2034275"/>
                  <a:pt x="1164214" y="2035050"/>
                  <a:pt x="1164111" y="2037993"/>
                </a:cubicBezTo>
                <a:lnTo>
                  <a:pt x="1163904" y="2039232"/>
                </a:lnTo>
                <a:lnTo>
                  <a:pt x="1166279" y="2039851"/>
                </a:lnTo>
                <a:lnTo>
                  <a:pt x="1169274" y="2036754"/>
                </a:lnTo>
                <a:cubicBezTo>
                  <a:pt x="1172371" y="2031952"/>
                  <a:pt x="1171235" y="2027615"/>
                  <a:pt x="1172165" y="2023123"/>
                </a:cubicBezTo>
                <a:cubicBezTo>
                  <a:pt x="1180012" y="2021109"/>
                  <a:pt x="1187343" y="2013364"/>
                  <a:pt x="1195294" y="2008717"/>
                </a:cubicBezTo>
                <a:cubicBezTo>
                  <a:pt x="1205517" y="2011661"/>
                  <a:pt x="1215016" y="2011196"/>
                  <a:pt x="1225342" y="2014139"/>
                </a:cubicBezTo>
                <a:cubicBezTo>
                  <a:pt x="1225858" y="2016772"/>
                  <a:pt x="1227200" y="2019406"/>
                  <a:pt x="1228853" y="2021884"/>
                </a:cubicBezTo>
                <a:lnTo>
                  <a:pt x="1231227" y="2025136"/>
                </a:lnTo>
                <a:lnTo>
                  <a:pt x="1242276" y="2026995"/>
                </a:lnTo>
                <a:lnTo>
                  <a:pt x="1245580" y="2023278"/>
                </a:lnTo>
                <a:lnTo>
                  <a:pt x="1243928" y="2021884"/>
                </a:lnTo>
                <a:cubicBezTo>
                  <a:pt x="1243515" y="2021264"/>
                  <a:pt x="1243205" y="2020489"/>
                  <a:pt x="1243205" y="2019870"/>
                </a:cubicBezTo>
                <a:cubicBezTo>
                  <a:pt x="1245270" y="2015997"/>
                  <a:pt x="1248471" y="2017702"/>
                  <a:pt x="1249917" y="2019870"/>
                </a:cubicBezTo>
                <a:lnTo>
                  <a:pt x="1250227" y="2020954"/>
                </a:lnTo>
                <a:lnTo>
                  <a:pt x="1253014" y="2016307"/>
                </a:lnTo>
                <a:cubicBezTo>
                  <a:pt x="1254770" y="2012745"/>
                  <a:pt x="1255699" y="2008872"/>
                  <a:pt x="1254047" y="2005000"/>
                </a:cubicBezTo>
                <a:lnTo>
                  <a:pt x="1251879" y="2002367"/>
                </a:lnTo>
                <a:lnTo>
                  <a:pt x="1250227" y="2003761"/>
                </a:lnTo>
                <a:cubicBezTo>
                  <a:pt x="1247232" y="2005155"/>
                  <a:pt x="1241966" y="2005310"/>
                  <a:pt x="1239385" y="2005000"/>
                </a:cubicBezTo>
                <a:cubicBezTo>
                  <a:pt x="1239695" y="2004225"/>
                  <a:pt x="1240417" y="2003761"/>
                  <a:pt x="1241450" y="2003296"/>
                </a:cubicBezTo>
                <a:cubicBezTo>
                  <a:pt x="1242895" y="2002676"/>
                  <a:pt x="1244961" y="2002212"/>
                  <a:pt x="1247026" y="2002057"/>
                </a:cubicBezTo>
                <a:lnTo>
                  <a:pt x="1249813" y="2002057"/>
                </a:lnTo>
                <a:lnTo>
                  <a:pt x="1251672" y="2002057"/>
                </a:lnTo>
                <a:lnTo>
                  <a:pt x="1250949" y="2001283"/>
                </a:lnTo>
                <a:lnTo>
                  <a:pt x="1249813" y="2002057"/>
                </a:lnTo>
                <a:lnTo>
                  <a:pt x="1250020" y="2000043"/>
                </a:lnTo>
                <a:lnTo>
                  <a:pt x="1249400" y="1999269"/>
                </a:lnTo>
                <a:cubicBezTo>
                  <a:pt x="1249504" y="1997100"/>
                  <a:pt x="1245580" y="1996790"/>
                  <a:pt x="1245580" y="1996790"/>
                </a:cubicBezTo>
                <a:cubicBezTo>
                  <a:pt x="1247852" y="1992608"/>
                  <a:pt x="1242173" y="1989975"/>
                  <a:pt x="1240417" y="1987651"/>
                </a:cubicBezTo>
                <a:cubicBezTo>
                  <a:pt x="1240417" y="1987651"/>
                  <a:pt x="1240417" y="1987497"/>
                  <a:pt x="1244651" y="1981301"/>
                </a:cubicBezTo>
                <a:cubicBezTo>
                  <a:pt x="1250227" y="1986103"/>
                  <a:pt x="1248678" y="1979442"/>
                  <a:pt x="1254254" y="1984244"/>
                </a:cubicBezTo>
                <a:cubicBezTo>
                  <a:pt x="1254254" y="1984244"/>
                  <a:pt x="1254254" y="1984244"/>
                  <a:pt x="1254873" y="1985173"/>
                </a:cubicBezTo>
                <a:lnTo>
                  <a:pt x="1255905" y="1986567"/>
                </a:lnTo>
                <a:lnTo>
                  <a:pt x="1257558" y="1985018"/>
                </a:lnTo>
                <a:lnTo>
                  <a:pt x="1257971" y="1989200"/>
                </a:lnTo>
                <a:lnTo>
                  <a:pt x="1259623" y="1991214"/>
                </a:lnTo>
                <a:cubicBezTo>
                  <a:pt x="1259520" y="1993538"/>
                  <a:pt x="1259520" y="1993538"/>
                  <a:pt x="1261275" y="1995861"/>
                </a:cubicBezTo>
                <a:lnTo>
                  <a:pt x="1261481" y="1996016"/>
                </a:lnTo>
                <a:lnTo>
                  <a:pt x="1265405" y="1993847"/>
                </a:lnTo>
                <a:lnTo>
                  <a:pt x="1267161" y="1993847"/>
                </a:lnTo>
                <a:lnTo>
                  <a:pt x="1267161" y="1993693"/>
                </a:lnTo>
                <a:lnTo>
                  <a:pt x="1267470" y="1994002"/>
                </a:lnTo>
                <a:lnTo>
                  <a:pt x="1268193" y="1994002"/>
                </a:lnTo>
                <a:lnTo>
                  <a:pt x="1267883" y="1993228"/>
                </a:lnTo>
                <a:cubicBezTo>
                  <a:pt x="1267573" y="1991214"/>
                  <a:pt x="1267677" y="1989046"/>
                  <a:pt x="1268503" y="1987807"/>
                </a:cubicBezTo>
                <a:cubicBezTo>
                  <a:pt x="1270155" y="1988581"/>
                  <a:pt x="1271807" y="1989355"/>
                  <a:pt x="1273459" y="1990130"/>
                </a:cubicBezTo>
                <a:lnTo>
                  <a:pt x="1273253" y="1990750"/>
                </a:lnTo>
                <a:lnTo>
                  <a:pt x="1273459" y="1990904"/>
                </a:lnTo>
                <a:cubicBezTo>
                  <a:pt x="1273975" y="1991369"/>
                  <a:pt x="1274698" y="1991679"/>
                  <a:pt x="1275628" y="1991524"/>
                </a:cubicBezTo>
                <a:cubicBezTo>
                  <a:pt x="1275318" y="1992608"/>
                  <a:pt x="1275008" y="1993847"/>
                  <a:pt x="1274492" y="1994622"/>
                </a:cubicBezTo>
                <a:lnTo>
                  <a:pt x="1273562" y="1995086"/>
                </a:lnTo>
                <a:lnTo>
                  <a:pt x="1273666" y="1995396"/>
                </a:lnTo>
                <a:lnTo>
                  <a:pt x="1275111" y="1996171"/>
                </a:lnTo>
                <a:lnTo>
                  <a:pt x="1276763" y="1995706"/>
                </a:lnTo>
                <a:lnTo>
                  <a:pt x="1277073" y="1997255"/>
                </a:lnTo>
                <a:lnTo>
                  <a:pt x="1278829" y="1995086"/>
                </a:lnTo>
                <a:lnTo>
                  <a:pt x="1280687" y="1991059"/>
                </a:lnTo>
                <a:lnTo>
                  <a:pt x="1279964" y="1990285"/>
                </a:lnTo>
                <a:cubicBezTo>
                  <a:pt x="1279138" y="1988271"/>
                  <a:pt x="1278725" y="1986257"/>
                  <a:pt x="1279241" y="1985018"/>
                </a:cubicBezTo>
                <a:lnTo>
                  <a:pt x="1282752" y="1984244"/>
                </a:lnTo>
                <a:lnTo>
                  <a:pt x="1283062" y="1982695"/>
                </a:lnTo>
                <a:cubicBezTo>
                  <a:pt x="1283785" y="1978358"/>
                  <a:pt x="1284095" y="1974485"/>
                  <a:pt x="1284095" y="1973401"/>
                </a:cubicBezTo>
                <a:cubicBezTo>
                  <a:pt x="1289980" y="1973866"/>
                  <a:pt x="1298654" y="1980681"/>
                  <a:pt x="1307018" y="1979906"/>
                </a:cubicBezTo>
                <a:lnTo>
                  <a:pt x="1311354" y="1977583"/>
                </a:lnTo>
                <a:lnTo>
                  <a:pt x="1310322" y="1976809"/>
                </a:lnTo>
                <a:cubicBezTo>
                  <a:pt x="1309496" y="1976809"/>
                  <a:pt x="1308669" y="1976034"/>
                  <a:pt x="1308773" y="1975260"/>
                </a:cubicBezTo>
                <a:cubicBezTo>
                  <a:pt x="1308773" y="1975260"/>
                  <a:pt x="1307843" y="1974485"/>
                  <a:pt x="1307018" y="1974485"/>
                </a:cubicBezTo>
                <a:cubicBezTo>
                  <a:pt x="1305366" y="1972936"/>
                  <a:pt x="1305366" y="1972162"/>
                  <a:pt x="1305469" y="1971387"/>
                </a:cubicBezTo>
                <a:cubicBezTo>
                  <a:pt x="1305469" y="1971387"/>
                  <a:pt x="1306295" y="1972162"/>
                  <a:pt x="1307121" y="1972007"/>
                </a:cubicBezTo>
                <a:cubicBezTo>
                  <a:pt x="1307121" y="1972007"/>
                  <a:pt x="1307947" y="1972782"/>
                  <a:pt x="1308773" y="1973556"/>
                </a:cubicBezTo>
                <a:cubicBezTo>
                  <a:pt x="1308773" y="1973556"/>
                  <a:pt x="1309599" y="1973556"/>
                  <a:pt x="1310425" y="1973556"/>
                </a:cubicBezTo>
                <a:lnTo>
                  <a:pt x="1313316" y="1975570"/>
                </a:lnTo>
                <a:lnTo>
                  <a:pt x="1313419" y="1974950"/>
                </a:lnTo>
                <a:lnTo>
                  <a:pt x="1314555" y="1969219"/>
                </a:lnTo>
                <a:lnTo>
                  <a:pt x="1310631" y="1961629"/>
                </a:lnTo>
                <a:cubicBezTo>
                  <a:pt x="1307637" y="1955898"/>
                  <a:pt x="1305056" y="1949547"/>
                  <a:pt x="1309289" y="1944436"/>
                </a:cubicBezTo>
                <a:cubicBezTo>
                  <a:pt x="1311561" y="1940253"/>
                  <a:pt x="1315381" y="1940563"/>
                  <a:pt x="1317033" y="1945055"/>
                </a:cubicBezTo>
                <a:lnTo>
                  <a:pt x="1322196" y="1951251"/>
                </a:lnTo>
                <a:lnTo>
                  <a:pt x="1322506" y="1950941"/>
                </a:lnTo>
                <a:cubicBezTo>
                  <a:pt x="1323848" y="1950167"/>
                  <a:pt x="1325397" y="1949702"/>
                  <a:pt x="1327049" y="1949393"/>
                </a:cubicBezTo>
                <a:lnTo>
                  <a:pt x="1330870" y="1949547"/>
                </a:lnTo>
                <a:lnTo>
                  <a:pt x="1329734" y="1948617"/>
                </a:lnTo>
                <a:cubicBezTo>
                  <a:pt x="1328701" y="1947843"/>
                  <a:pt x="1327772" y="1947069"/>
                  <a:pt x="1328288" y="1946759"/>
                </a:cubicBezTo>
                <a:cubicBezTo>
                  <a:pt x="1328288" y="1946759"/>
                  <a:pt x="1329114" y="1947533"/>
                  <a:pt x="1329940" y="1948308"/>
                </a:cubicBezTo>
                <a:cubicBezTo>
                  <a:pt x="1330767" y="1949082"/>
                  <a:pt x="1330870" y="1949082"/>
                  <a:pt x="1331799" y="1948153"/>
                </a:cubicBezTo>
                <a:cubicBezTo>
                  <a:pt x="1332212" y="1948617"/>
                  <a:pt x="1332419" y="1948772"/>
                  <a:pt x="1332419" y="1949082"/>
                </a:cubicBezTo>
                <a:lnTo>
                  <a:pt x="1332522" y="1949702"/>
                </a:lnTo>
                <a:lnTo>
                  <a:pt x="1337272" y="1951715"/>
                </a:lnTo>
                <a:lnTo>
                  <a:pt x="1341402" y="1955123"/>
                </a:lnTo>
                <a:lnTo>
                  <a:pt x="1341505" y="1955123"/>
                </a:lnTo>
                <a:lnTo>
                  <a:pt x="1343157" y="1956517"/>
                </a:lnTo>
                <a:cubicBezTo>
                  <a:pt x="1345429" y="1958841"/>
                  <a:pt x="1346771" y="1961009"/>
                  <a:pt x="1347494" y="1962558"/>
                </a:cubicBezTo>
                <a:lnTo>
                  <a:pt x="1348423" y="1965192"/>
                </a:lnTo>
                <a:lnTo>
                  <a:pt x="1351831" y="1964107"/>
                </a:lnTo>
                <a:lnTo>
                  <a:pt x="1356167" y="1959926"/>
                </a:lnTo>
                <a:lnTo>
                  <a:pt x="1355755" y="1958222"/>
                </a:lnTo>
                <a:lnTo>
                  <a:pt x="1355755" y="1957912"/>
                </a:lnTo>
                <a:lnTo>
                  <a:pt x="1354928" y="1957912"/>
                </a:lnTo>
                <a:cubicBezTo>
                  <a:pt x="1354722" y="1958066"/>
                  <a:pt x="1354619" y="1958222"/>
                  <a:pt x="1354515" y="1958841"/>
                </a:cubicBezTo>
                <a:cubicBezTo>
                  <a:pt x="1354515" y="1958841"/>
                  <a:pt x="1353999" y="1958222"/>
                  <a:pt x="1353999" y="1958222"/>
                </a:cubicBezTo>
                <a:cubicBezTo>
                  <a:pt x="1354722" y="1957757"/>
                  <a:pt x="1354102" y="1958222"/>
                  <a:pt x="1352863" y="1958066"/>
                </a:cubicBezTo>
                <a:cubicBezTo>
                  <a:pt x="1352657" y="1956207"/>
                  <a:pt x="1352244" y="1955433"/>
                  <a:pt x="1352554" y="1954349"/>
                </a:cubicBezTo>
                <a:lnTo>
                  <a:pt x="1352554" y="1954194"/>
                </a:lnTo>
                <a:lnTo>
                  <a:pt x="1346255" y="1950786"/>
                </a:lnTo>
                <a:lnTo>
                  <a:pt x="1345222" y="1949082"/>
                </a:lnTo>
                <a:lnTo>
                  <a:pt x="1343467" y="1948463"/>
                </a:lnTo>
                <a:cubicBezTo>
                  <a:pt x="1343673" y="1947688"/>
                  <a:pt x="1343570" y="1947533"/>
                  <a:pt x="1344499" y="1947688"/>
                </a:cubicBezTo>
                <a:cubicBezTo>
                  <a:pt x="1344396" y="1947533"/>
                  <a:pt x="1344396" y="1947533"/>
                  <a:pt x="1344293" y="1947533"/>
                </a:cubicBezTo>
                <a:lnTo>
                  <a:pt x="1344706" y="1947379"/>
                </a:lnTo>
                <a:lnTo>
                  <a:pt x="1344499" y="1946759"/>
                </a:lnTo>
                <a:cubicBezTo>
                  <a:pt x="1344499" y="1946139"/>
                  <a:pt x="1344706" y="1945520"/>
                  <a:pt x="1345222" y="1944900"/>
                </a:cubicBezTo>
                <a:cubicBezTo>
                  <a:pt x="1345326" y="1943971"/>
                  <a:pt x="1348733" y="1944126"/>
                  <a:pt x="1349456" y="1945055"/>
                </a:cubicBezTo>
                <a:cubicBezTo>
                  <a:pt x="1351004" y="1946759"/>
                  <a:pt x="1351727" y="1947533"/>
                  <a:pt x="1351521" y="1949237"/>
                </a:cubicBezTo>
                <a:cubicBezTo>
                  <a:pt x="1352347" y="1950167"/>
                  <a:pt x="1353070" y="1950941"/>
                  <a:pt x="1353379" y="1951715"/>
                </a:cubicBezTo>
                <a:lnTo>
                  <a:pt x="1352760" y="1953729"/>
                </a:lnTo>
                <a:lnTo>
                  <a:pt x="1353483" y="1952490"/>
                </a:lnTo>
                <a:cubicBezTo>
                  <a:pt x="1353896" y="1952025"/>
                  <a:pt x="1354412" y="1951560"/>
                  <a:pt x="1355032" y="1951715"/>
                </a:cubicBezTo>
                <a:cubicBezTo>
                  <a:pt x="1355548" y="1952335"/>
                  <a:pt x="1356271" y="1951871"/>
                  <a:pt x="1356684" y="1952490"/>
                </a:cubicBezTo>
                <a:cubicBezTo>
                  <a:pt x="1357406" y="1952955"/>
                  <a:pt x="1357716" y="1953264"/>
                  <a:pt x="1358026" y="1953574"/>
                </a:cubicBezTo>
                <a:cubicBezTo>
                  <a:pt x="1356787" y="1952180"/>
                  <a:pt x="1355858" y="1950476"/>
                  <a:pt x="1355755" y="1948617"/>
                </a:cubicBezTo>
                <a:lnTo>
                  <a:pt x="1362776" y="1950786"/>
                </a:lnTo>
                <a:lnTo>
                  <a:pt x="1364222" y="1948308"/>
                </a:lnTo>
                <a:lnTo>
                  <a:pt x="1363086" y="1947843"/>
                </a:lnTo>
                <a:cubicBezTo>
                  <a:pt x="1363086" y="1947843"/>
                  <a:pt x="1362982" y="1947843"/>
                  <a:pt x="1363912" y="1946914"/>
                </a:cubicBezTo>
                <a:lnTo>
                  <a:pt x="1364634" y="1947069"/>
                </a:lnTo>
                <a:lnTo>
                  <a:pt x="1366287" y="1940098"/>
                </a:lnTo>
                <a:cubicBezTo>
                  <a:pt x="1366596" y="1937620"/>
                  <a:pt x="1366700" y="1935142"/>
                  <a:pt x="1367009" y="1932353"/>
                </a:cubicBezTo>
                <a:lnTo>
                  <a:pt x="1367629" y="1929410"/>
                </a:lnTo>
                <a:lnTo>
                  <a:pt x="1364325" y="1930495"/>
                </a:lnTo>
                <a:lnTo>
                  <a:pt x="1363499" y="1930804"/>
                </a:lnTo>
                <a:lnTo>
                  <a:pt x="1363395" y="1932818"/>
                </a:lnTo>
                <a:cubicBezTo>
                  <a:pt x="1363395" y="1932818"/>
                  <a:pt x="1361846" y="1937155"/>
                  <a:pt x="1358749" y="1936536"/>
                </a:cubicBezTo>
                <a:cubicBezTo>
                  <a:pt x="1358439" y="1936691"/>
                  <a:pt x="1357820" y="1936071"/>
                  <a:pt x="1357406" y="1935142"/>
                </a:cubicBezTo>
                <a:lnTo>
                  <a:pt x="1356890" y="1932818"/>
                </a:lnTo>
                <a:lnTo>
                  <a:pt x="1353276" y="1933748"/>
                </a:lnTo>
                <a:lnTo>
                  <a:pt x="1351418" y="1935451"/>
                </a:lnTo>
                <a:lnTo>
                  <a:pt x="1350695" y="1935606"/>
                </a:lnTo>
                <a:lnTo>
                  <a:pt x="1350385" y="1936536"/>
                </a:lnTo>
                <a:cubicBezTo>
                  <a:pt x="1350385" y="1936536"/>
                  <a:pt x="1350385" y="1936536"/>
                  <a:pt x="1349662" y="1936536"/>
                </a:cubicBezTo>
                <a:lnTo>
                  <a:pt x="1350075" y="1935761"/>
                </a:lnTo>
                <a:lnTo>
                  <a:pt x="1349146" y="1935916"/>
                </a:lnTo>
                <a:lnTo>
                  <a:pt x="1349456" y="1936691"/>
                </a:lnTo>
                <a:cubicBezTo>
                  <a:pt x="1349456" y="1936691"/>
                  <a:pt x="1348733" y="1936846"/>
                  <a:pt x="1347597" y="1936381"/>
                </a:cubicBezTo>
                <a:cubicBezTo>
                  <a:pt x="1347597" y="1936381"/>
                  <a:pt x="1347701" y="1936226"/>
                  <a:pt x="1347907" y="1936071"/>
                </a:cubicBezTo>
                <a:lnTo>
                  <a:pt x="1348733" y="1935916"/>
                </a:lnTo>
                <a:lnTo>
                  <a:pt x="1346048" y="1934212"/>
                </a:lnTo>
                <a:cubicBezTo>
                  <a:pt x="1345326" y="1933283"/>
                  <a:pt x="1345016" y="1931889"/>
                  <a:pt x="1345119" y="1930495"/>
                </a:cubicBezTo>
                <a:cubicBezTo>
                  <a:pt x="1345222" y="1928946"/>
                  <a:pt x="1345945" y="1927087"/>
                  <a:pt x="1347494" y="1925538"/>
                </a:cubicBezTo>
                <a:cubicBezTo>
                  <a:pt x="1349456" y="1925538"/>
                  <a:pt x="1352760" y="1927861"/>
                  <a:pt x="1354309" y="1930030"/>
                </a:cubicBezTo>
                <a:lnTo>
                  <a:pt x="1354309" y="1930185"/>
                </a:lnTo>
                <a:lnTo>
                  <a:pt x="1354515" y="1930185"/>
                </a:lnTo>
                <a:cubicBezTo>
                  <a:pt x="1355858" y="1929256"/>
                  <a:pt x="1357820" y="1928481"/>
                  <a:pt x="1359471" y="1927861"/>
                </a:cubicBezTo>
                <a:lnTo>
                  <a:pt x="1360194" y="1927861"/>
                </a:lnTo>
                <a:lnTo>
                  <a:pt x="1361021" y="1926003"/>
                </a:lnTo>
                <a:cubicBezTo>
                  <a:pt x="1361537" y="1925383"/>
                  <a:pt x="1362363" y="1925073"/>
                  <a:pt x="1363499" y="1925538"/>
                </a:cubicBezTo>
                <a:lnTo>
                  <a:pt x="1363499" y="1927242"/>
                </a:lnTo>
                <a:lnTo>
                  <a:pt x="1363602" y="1927242"/>
                </a:lnTo>
                <a:cubicBezTo>
                  <a:pt x="1363912" y="1927242"/>
                  <a:pt x="1364325" y="1927397"/>
                  <a:pt x="1364634" y="1927087"/>
                </a:cubicBezTo>
                <a:cubicBezTo>
                  <a:pt x="1364634" y="1927087"/>
                  <a:pt x="1365357" y="1926622"/>
                  <a:pt x="1366596" y="1926777"/>
                </a:cubicBezTo>
                <a:lnTo>
                  <a:pt x="1368042" y="1927242"/>
                </a:lnTo>
                <a:lnTo>
                  <a:pt x="1369074" y="1922750"/>
                </a:lnTo>
                <a:cubicBezTo>
                  <a:pt x="1370830" y="1925073"/>
                  <a:pt x="1372689" y="1927397"/>
                  <a:pt x="1374444" y="1929721"/>
                </a:cubicBezTo>
                <a:cubicBezTo>
                  <a:pt x="1376302" y="1932044"/>
                  <a:pt x="1376302" y="1932044"/>
                  <a:pt x="1378161" y="1932199"/>
                </a:cubicBezTo>
                <a:cubicBezTo>
                  <a:pt x="1382498" y="1926003"/>
                  <a:pt x="1378884" y="1921201"/>
                  <a:pt x="1383324" y="1912681"/>
                </a:cubicBezTo>
                <a:lnTo>
                  <a:pt x="1385905" y="1924454"/>
                </a:lnTo>
                <a:lnTo>
                  <a:pt x="1389416" y="1919962"/>
                </a:lnTo>
                <a:cubicBezTo>
                  <a:pt x="1394269" y="1922285"/>
                  <a:pt x="1398296" y="1926313"/>
                  <a:pt x="1401497" y="1931269"/>
                </a:cubicBezTo>
                <a:lnTo>
                  <a:pt x="1404904" y="1940098"/>
                </a:lnTo>
                <a:lnTo>
                  <a:pt x="1408828" y="1941337"/>
                </a:lnTo>
                <a:lnTo>
                  <a:pt x="1410170" y="1944436"/>
                </a:lnTo>
                <a:lnTo>
                  <a:pt x="1410273" y="1944436"/>
                </a:lnTo>
                <a:lnTo>
                  <a:pt x="1410170" y="1944590"/>
                </a:lnTo>
                <a:lnTo>
                  <a:pt x="1410583" y="1945365"/>
                </a:lnTo>
                <a:cubicBezTo>
                  <a:pt x="1411719" y="1950012"/>
                  <a:pt x="1411306" y="1955898"/>
                  <a:pt x="1415436" y="1959460"/>
                </a:cubicBezTo>
                <a:cubicBezTo>
                  <a:pt x="1415436" y="1959460"/>
                  <a:pt x="1416779" y="1960854"/>
                  <a:pt x="1418947" y="1962713"/>
                </a:cubicBezTo>
                <a:lnTo>
                  <a:pt x="1423387" y="1966121"/>
                </a:lnTo>
                <a:lnTo>
                  <a:pt x="1425349" y="1965501"/>
                </a:lnTo>
                <a:lnTo>
                  <a:pt x="1426588" y="1966276"/>
                </a:lnTo>
                <a:lnTo>
                  <a:pt x="1425556" y="1961009"/>
                </a:lnTo>
                <a:cubicBezTo>
                  <a:pt x="1424420" y="1954659"/>
                  <a:pt x="1424007" y="1948617"/>
                  <a:pt x="1428343" y="1943971"/>
                </a:cubicBezTo>
                <a:cubicBezTo>
                  <a:pt x="1439185" y="1942267"/>
                  <a:pt x="1440218" y="1936381"/>
                  <a:pt x="1445897" y="1932818"/>
                </a:cubicBezTo>
                <a:lnTo>
                  <a:pt x="1453435" y="1933438"/>
                </a:lnTo>
                <a:lnTo>
                  <a:pt x="1454158" y="1931579"/>
                </a:lnTo>
                <a:cubicBezTo>
                  <a:pt x="1456326" y="1927397"/>
                  <a:pt x="1460146" y="1929875"/>
                  <a:pt x="1462005" y="1932199"/>
                </a:cubicBezTo>
                <a:cubicBezTo>
                  <a:pt x="1462005" y="1932199"/>
                  <a:pt x="1461902" y="1932663"/>
                  <a:pt x="1461799" y="1933593"/>
                </a:cubicBezTo>
                <a:lnTo>
                  <a:pt x="1461696" y="1934522"/>
                </a:lnTo>
                <a:lnTo>
                  <a:pt x="1464380" y="1935142"/>
                </a:lnTo>
                <a:lnTo>
                  <a:pt x="1467994" y="1932818"/>
                </a:lnTo>
                <a:lnTo>
                  <a:pt x="1468717" y="1936226"/>
                </a:lnTo>
                <a:lnTo>
                  <a:pt x="1470678" y="1936691"/>
                </a:lnTo>
                <a:lnTo>
                  <a:pt x="1476048" y="1939479"/>
                </a:lnTo>
                <a:lnTo>
                  <a:pt x="1476358" y="1939014"/>
                </a:lnTo>
                <a:cubicBezTo>
                  <a:pt x="1477080" y="1938550"/>
                  <a:pt x="1478010" y="1938550"/>
                  <a:pt x="1478939" y="1939014"/>
                </a:cubicBezTo>
                <a:lnTo>
                  <a:pt x="1481521" y="1942422"/>
                </a:lnTo>
                <a:lnTo>
                  <a:pt x="1482243" y="1942732"/>
                </a:lnTo>
                <a:cubicBezTo>
                  <a:pt x="1485754" y="1945365"/>
                  <a:pt x="1488748" y="1948308"/>
                  <a:pt x="1491020" y="1952180"/>
                </a:cubicBezTo>
                <a:cubicBezTo>
                  <a:pt x="1492982" y="1955278"/>
                  <a:pt x="1494014" y="1958066"/>
                  <a:pt x="1494531" y="1960854"/>
                </a:cubicBezTo>
                <a:lnTo>
                  <a:pt x="1494634" y="1963952"/>
                </a:lnTo>
                <a:lnTo>
                  <a:pt x="1495667" y="1965966"/>
                </a:lnTo>
                <a:cubicBezTo>
                  <a:pt x="1497319" y="1969064"/>
                  <a:pt x="1499797" y="1974485"/>
                  <a:pt x="1499797" y="1976654"/>
                </a:cubicBezTo>
                <a:cubicBezTo>
                  <a:pt x="1498971" y="1974640"/>
                  <a:pt x="1497525" y="1972471"/>
                  <a:pt x="1496390" y="1970148"/>
                </a:cubicBezTo>
                <a:lnTo>
                  <a:pt x="1494634" y="1964107"/>
                </a:lnTo>
                <a:lnTo>
                  <a:pt x="1494737" y="1968909"/>
                </a:lnTo>
                <a:cubicBezTo>
                  <a:pt x="1494118" y="1974330"/>
                  <a:pt x="1492569" y="1979752"/>
                  <a:pt x="1492775" y="1986257"/>
                </a:cubicBezTo>
                <a:cubicBezTo>
                  <a:pt x="1490091" y="1986722"/>
                  <a:pt x="1488026" y="1987342"/>
                  <a:pt x="1486477" y="1988271"/>
                </a:cubicBezTo>
                <a:lnTo>
                  <a:pt x="1485547" y="1989200"/>
                </a:lnTo>
                <a:lnTo>
                  <a:pt x="1486374" y="1991834"/>
                </a:lnTo>
                <a:cubicBezTo>
                  <a:pt x="1487612" y="1995551"/>
                  <a:pt x="1488852" y="1999424"/>
                  <a:pt x="1488748" y="2000508"/>
                </a:cubicBezTo>
                <a:cubicBezTo>
                  <a:pt x="1488748" y="2000508"/>
                  <a:pt x="1490710" y="2001283"/>
                  <a:pt x="1493292" y="2002057"/>
                </a:cubicBezTo>
                <a:lnTo>
                  <a:pt x="1496493" y="2002212"/>
                </a:lnTo>
                <a:lnTo>
                  <a:pt x="1499384" y="2000972"/>
                </a:lnTo>
                <a:lnTo>
                  <a:pt x="1501759" y="2002521"/>
                </a:lnTo>
                <a:lnTo>
                  <a:pt x="1501862" y="2002521"/>
                </a:lnTo>
                <a:lnTo>
                  <a:pt x="1504753" y="2000817"/>
                </a:lnTo>
                <a:lnTo>
                  <a:pt x="1504857" y="1990750"/>
                </a:lnTo>
                <a:cubicBezTo>
                  <a:pt x="1506096" y="1986103"/>
                  <a:pt x="1508883" y="1981301"/>
                  <a:pt x="1513736" y="1976964"/>
                </a:cubicBezTo>
                <a:cubicBezTo>
                  <a:pt x="1518590" y="1974795"/>
                  <a:pt x="1524888" y="1978048"/>
                  <a:pt x="1529741" y="1983160"/>
                </a:cubicBezTo>
                <a:lnTo>
                  <a:pt x="1535110" y="1991524"/>
                </a:lnTo>
                <a:lnTo>
                  <a:pt x="1535246" y="1991572"/>
                </a:lnTo>
                <a:lnTo>
                  <a:pt x="1535524" y="1991989"/>
                </a:lnTo>
                <a:cubicBezTo>
                  <a:pt x="1536866" y="1995241"/>
                  <a:pt x="1537485" y="1998339"/>
                  <a:pt x="1536969" y="2001128"/>
                </a:cubicBezTo>
                <a:cubicBezTo>
                  <a:pt x="1533149" y="2005464"/>
                  <a:pt x="1529225" y="2009802"/>
                  <a:pt x="1525301" y="2014294"/>
                </a:cubicBezTo>
                <a:lnTo>
                  <a:pt x="1518383" y="2013054"/>
                </a:lnTo>
                <a:lnTo>
                  <a:pt x="1518073" y="2014139"/>
                </a:lnTo>
                <a:cubicBezTo>
                  <a:pt x="1518073" y="2017082"/>
                  <a:pt x="1519209" y="2020025"/>
                  <a:pt x="1522410" y="2023123"/>
                </a:cubicBezTo>
                <a:lnTo>
                  <a:pt x="1523236" y="2024052"/>
                </a:lnTo>
                <a:lnTo>
                  <a:pt x="1523856" y="2023897"/>
                </a:lnTo>
                <a:cubicBezTo>
                  <a:pt x="1526334" y="2023742"/>
                  <a:pt x="1528915" y="2025136"/>
                  <a:pt x="1529948" y="2027150"/>
                </a:cubicBezTo>
                <a:lnTo>
                  <a:pt x="1529948" y="2028235"/>
                </a:lnTo>
                <a:lnTo>
                  <a:pt x="1530773" y="2030403"/>
                </a:lnTo>
                <a:cubicBezTo>
                  <a:pt x="1531187" y="2031022"/>
                  <a:pt x="1531600" y="2031487"/>
                  <a:pt x="1531600" y="2032572"/>
                </a:cubicBezTo>
                <a:cubicBezTo>
                  <a:pt x="1531497" y="2033656"/>
                  <a:pt x="1542545" y="2035669"/>
                  <a:pt x="1553903" y="2037373"/>
                </a:cubicBezTo>
                <a:lnTo>
                  <a:pt x="1556691" y="2037838"/>
                </a:lnTo>
                <a:cubicBezTo>
                  <a:pt x="1556278" y="2036599"/>
                  <a:pt x="1556278" y="2035360"/>
                  <a:pt x="1556691" y="2034430"/>
                </a:cubicBezTo>
                <a:cubicBezTo>
                  <a:pt x="1557414" y="2032417"/>
                  <a:pt x="1559376" y="2031022"/>
                  <a:pt x="1561544" y="2030713"/>
                </a:cubicBezTo>
                <a:cubicBezTo>
                  <a:pt x="1562990" y="2030403"/>
                  <a:pt x="1564539" y="2030558"/>
                  <a:pt x="1565881" y="2031332"/>
                </a:cubicBezTo>
                <a:cubicBezTo>
                  <a:pt x="1567533" y="2032417"/>
                  <a:pt x="1568669" y="2034430"/>
                  <a:pt x="1568566" y="2037838"/>
                </a:cubicBezTo>
                <a:lnTo>
                  <a:pt x="1566191" y="2039232"/>
                </a:lnTo>
                <a:lnTo>
                  <a:pt x="1569701" y="2039696"/>
                </a:lnTo>
                <a:cubicBezTo>
                  <a:pt x="1574141" y="2040316"/>
                  <a:pt x="1577239" y="2040626"/>
                  <a:pt x="1577755" y="2040626"/>
                </a:cubicBezTo>
                <a:cubicBezTo>
                  <a:pt x="1586945" y="2050229"/>
                  <a:pt x="1583331" y="2059833"/>
                  <a:pt x="1580130" y="2069592"/>
                </a:cubicBezTo>
                <a:lnTo>
                  <a:pt x="1578375" y="2077492"/>
                </a:lnTo>
                <a:lnTo>
                  <a:pt x="1585499" y="2078575"/>
                </a:lnTo>
                <a:cubicBezTo>
                  <a:pt x="1587771" y="2077336"/>
                  <a:pt x="1589630" y="2074548"/>
                  <a:pt x="1591282" y="2070831"/>
                </a:cubicBezTo>
                <a:cubicBezTo>
                  <a:pt x="1593760" y="2066959"/>
                  <a:pt x="1594586" y="2062311"/>
                  <a:pt x="1596238" y="2057664"/>
                </a:cubicBezTo>
                <a:cubicBezTo>
                  <a:pt x="1597890" y="2053792"/>
                  <a:pt x="1598716" y="2049145"/>
                  <a:pt x="1600369" y="2045428"/>
                </a:cubicBezTo>
                <a:cubicBezTo>
                  <a:pt x="1602021" y="2049145"/>
                  <a:pt x="1601195" y="2053017"/>
                  <a:pt x="1600369" y="2056735"/>
                </a:cubicBezTo>
                <a:cubicBezTo>
                  <a:pt x="1599542" y="2060453"/>
                  <a:pt x="1597787" y="2065100"/>
                  <a:pt x="1597787" y="2068817"/>
                </a:cubicBezTo>
                <a:cubicBezTo>
                  <a:pt x="1600369" y="2067888"/>
                  <a:pt x="1603672" y="2065100"/>
                  <a:pt x="1604499" y="2061382"/>
                </a:cubicBezTo>
                <a:cubicBezTo>
                  <a:pt x="1606151" y="2058594"/>
                  <a:pt x="1606151" y="2054876"/>
                  <a:pt x="1602021" y="2053017"/>
                </a:cubicBezTo>
                <a:cubicBezTo>
                  <a:pt x="1604911" y="2050540"/>
                  <a:pt x="1606357" y="2048526"/>
                  <a:pt x="1607493" y="2046047"/>
                </a:cubicBezTo>
                <a:lnTo>
                  <a:pt x="1610901" y="2037528"/>
                </a:lnTo>
                <a:lnTo>
                  <a:pt x="1605222" y="2035515"/>
                </a:lnTo>
                <a:cubicBezTo>
                  <a:pt x="1600472" y="2033656"/>
                  <a:pt x="1595928" y="2031177"/>
                  <a:pt x="1593347" y="2028235"/>
                </a:cubicBezTo>
                <a:cubicBezTo>
                  <a:pt x="1594070" y="2027305"/>
                  <a:pt x="1594999" y="2026685"/>
                  <a:pt x="1595928" y="2026375"/>
                </a:cubicBezTo>
                <a:cubicBezTo>
                  <a:pt x="1603053" y="2024207"/>
                  <a:pt x="1615960" y="2035050"/>
                  <a:pt x="1618955" y="2039851"/>
                </a:cubicBezTo>
                <a:lnTo>
                  <a:pt x="1612553" y="2037993"/>
                </a:lnTo>
                <a:lnTo>
                  <a:pt x="1611313" y="2041400"/>
                </a:lnTo>
                <a:lnTo>
                  <a:pt x="1610967" y="2044310"/>
                </a:lnTo>
                <a:lnTo>
                  <a:pt x="1610901" y="2044343"/>
                </a:lnTo>
                <a:lnTo>
                  <a:pt x="1610956" y="2044399"/>
                </a:lnTo>
                <a:lnTo>
                  <a:pt x="1610281" y="2050075"/>
                </a:lnTo>
                <a:lnTo>
                  <a:pt x="1614308" y="2047441"/>
                </a:lnTo>
                <a:lnTo>
                  <a:pt x="1613998" y="2047441"/>
                </a:lnTo>
                <a:lnTo>
                  <a:pt x="1610956" y="2044399"/>
                </a:lnTo>
                <a:lnTo>
                  <a:pt x="1610967" y="2044310"/>
                </a:lnTo>
                <a:lnTo>
                  <a:pt x="1618541" y="2040471"/>
                </a:lnTo>
                <a:lnTo>
                  <a:pt x="1619987" y="2041091"/>
                </a:lnTo>
                <a:lnTo>
                  <a:pt x="1622156" y="2037838"/>
                </a:lnTo>
                <a:cubicBezTo>
                  <a:pt x="1625563" y="2031952"/>
                  <a:pt x="1628041" y="2025756"/>
                  <a:pt x="1628454" y="2024827"/>
                </a:cubicBezTo>
                <a:cubicBezTo>
                  <a:pt x="1631758" y="2020180"/>
                  <a:pt x="1634236" y="2015533"/>
                  <a:pt x="1633410" y="2017392"/>
                </a:cubicBezTo>
                <a:lnTo>
                  <a:pt x="1636921" y="2011041"/>
                </a:lnTo>
                <a:lnTo>
                  <a:pt x="1636611" y="2010266"/>
                </a:lnTo>
                <a:lnTo>
                  <a:pt x="1637128" y="2010731"/>
                </a:lnTo>
                <a:lnTo>
                  <a:pt x="1637334" y="2010421"/>
                </a:lnTo>
                <a:cubicBezTo>
                  <a:pt x="1640329" y="2007014"/>
                  <a:pt x="1643942" y="2005619"/>
                  <a:pt x="1646937" y="2003761"/>
                </a:cubicBezTo>
                <a:lnTo>
                  <a:pt x="1646731" y="2003606"/>
                </a:lnTo>
                <a:cubicBezTo>
                  <a:pt x="1646627" y="2003451"/>
                  <a:pt x="1646627" y="2003141"/>
                  <a:pt x="1646317" y="2002831"/>
                </a:cubicBezTo>
                <a:cubicBezTo>
                  <a:pt x="1645492" y="2001902"/>
                  <a:pt x="1643942" y="2000972"/>
                  <a:pt x="1643116" y="2000972"/>
                </a:cubicBezTo>
                <a:cubicBezTo>
                  <a:pt x="1646007" y="1997720"/>
                  <a:pt x="1643736" y="1995861"/>
                  <a:pt x="1648589" y="1990904"/>
                </a:cubicBezTo>
                <a:cubicBezTo>
                  <a:pt x="1650138" y="1989355"/>
                  <a:pt x="1651583" y="1988116"/>
                  <a:pt x="1653029" y="1987497"/>
                </a:cubicBezTo>
                <a:lnTo>
                  <a:pt x="1653339" y="1987342"/>
                </a:lnTo>
                <a:lnTo>
                  <a:pt x="1654888" y="1985483"/>
                </a:lnTo>
                <a:lnTo>
                  <a:pt x="1651790" y="1981920"/>
                </a:lnTo>
                <a:cubicBezTo>
                  <a:pt x="1644665" y="1974485"/>
                  <a:pt x="1639296" y="1970923"/>
                  <a:pt x="1643426" y="1959770"/>
                </a:cubicBezTo>
                <a:cubicBezTo>
                  <a:pt x="1647247" y="1959150"/>
                  <a:pt x="1651274" y="1961938"/>
                  <a:pt x="1655404" y="1966121"/>
                </a:cubicBezTo>
                <a:lnTo>
                  <a:pt x="1663355" y="1975415"/>
                </a:lnTo>
                <a:lnTo>
                  <a:pt x="1673990" y="1961164"/>
                </a:lnTo>
                <a:lnTo>
                  <a:pt x="1679566" y="1953110"/>
                </a:lnTo>
                <a:lnTo>
                  <a:pt x="1679463" y="1952955"/>
                </a:lnTo>
                <a:lnTo>
                  <a:pt x="1680082" y="1952335"/>
                </a:lnTo>
                <a:lnTo>
                  <a:pt x="1684729" y="1944281"/>
                </a:lnTo>
                <a:cubicBezTo>
                  <a:pt x="1688033" y="1937775"/>
                  <a:pt x="1691337" y="1931114"/>
                  <a:pt x="1692989" y="1924609"/>
                </a:cubicBezTo>
                <a:cubicBezTo>
                  <a:pt x="1695468" y="1924609"/>
                  <a:pt x="1697119" y="1927397"/>
                  <a:pt x="1699701" y="1925538"/>
                </a:cubicBezTo>
                <a:cubicBezTo>
                  <a:pt x="1702179" y="1932044"/>
                  <a:pt x="1693918" y="1926468"/>
                  <a:pt x="1691440" y="1932044"/>
                </a:cubicBezTo>
                <a:cubicBezTo>
                  <a:pt x="1699701" y="1937775"/>
                  <a:pt x="1707961" y="1924609"/>
                  <a:pt x="1712918" y="1917019"/>
                </a:cubicBezTo>
                <a:cubicBezTo>
                  <a:pt x="1711266" y="1917019"/>
                  <a:pt x="1708787" y="1919962"/>
                  <a:pt x="1706309" y="1916244"/>
                </a:cubicBezTo>
                <a:cubicBezTo>
                  <a:pt x="1714570" y="1909584"/>
                  <a:pt x="1734395" y="1904937"/>
                  <a:pt x="1731091" y="1890841"/>
                </a:cubicBezTo>
                <a:cubicBezTo>
                  <a:pt x="1732330" y="1888982"/>
                  <a:pt x="1733362" y="1888673"/>
                  <a:pt x="1734395" y="1889137"/>
                </a:cubicBezTo>
                <a:lnTo>
                  <a:pt x="1734601" y="1889292"/>
                </a:lnTo>
                <a:lnTo>
                  <a:pt x="1743481" y="1879844"/>
                </a:lnTo>
                <a:lnTo>
                  <a:pt x="1745960" y="1880928"/>
                </a:lnTo>
                <a:lnTo>
                  <a:pt x="1746786" y="1879689"/>
                </a:lnTo>
                <a:cubicBezTo>
                  <a:pt x="1745134" y="1876901"/>
                  <a:pt x="1743481" y="1878760"/>
                  <a:pt x="1741003" y="1879689"/>
                </a:cubicBezTo>
                <a:cubicBezTo>
                  <a:pt x="1742656" y="1867452"/>
                  <a:pt x="1754324" y="1871169"/>
                  <a:pt x="1759280" y="1857074"/>
                </a:cubicBezTo>
                <a:cubicBezTo>
                  <a:pt x="1762584" y="1863735"/>
                  <a:pt x="1768366" y="1854286"/>
                  <a:pt x="1772497" y="1856299"/>
                </a:cubicBezTo>
                <a:cubicBezTo>
                  <a:pt x="1775801" y="1849639"/>
                  <a:pt x="1781583" y="1843133"/>
                  <a:pt x="1787365" y="1835543"/>
                </a:cubicBezTo>
                <a:cubicBezTo>
                  <a:pt x="1790670" y="1832756"/>
                  <a:pt x="1793974" y="1829038"/>
                  <a:pt x="1797381" y="1825320"/>
                </a:cubicBezTo>
                <a:cubicBezTo>
                  <a:pt x="1800686" y="1821603"/>
                  <a:pt x="1804712" y="1817885"/>
                  <a:pt x="1808017" y="1814942"/>
                </a:cubicBezTo>
                <a:cubicBezTo>
                  <a:pt x="1815451" y="1807507"/>
                  <a:pt x="1823711" y="1801002"/>
                  <a:pt x="1831249" y="1795270"/>
                </a:cubicBezTo>
                <a:cubicBezTo>
                  <a:pt x="1839510" y="1789694"/>
                  <a:pt x="1847770" y="1785047"/>
                  <a:pt x="1855205" y="1780401"/>
                </a:cubicBezTo>
                <a:lnTo>
                  <a:pt x="1860987" y="1770642"/>
                </a:lnTo>
                <a:lnTo>
                  <a:pt x="1853966" y="1770178"/>
                </a:lnTo>
                <a:cubicBezTo>
                  <a:pt x="1844776" y="1763517"/>
                  <a:pt x="1848803" y="1753448"/>
                  <a:pt x="1854792" y="1743070"/>
                </a:cubicBezTo>
                <a:cubicBezTo>
                  <a:pt x="1858922" y="1744310"/>
                  <a:pt x="1862639" y="1743380"/>
                  <a:pt x="1866873" y="1744620"/>
                </a:cubicBezTo>
                <a:cubicBezTo>
                  <a:pt x="1869971" y="1748956"/>
                  <a:pt x="1869764" y="1759025"/>
                  <a:pt x="1866563" y="1765685"/>
                </a:cubicBezTo>
                <a:lnTo>
                  <a:pt x="1865634" y="1766770"/>
                </a:lnTo>
                <a:lnTo>
                  <a:pt x="1872655" y="1762588"/>
                </a:lnTo>
                <a:cubicBezTo>
                  <a:pt x="1879264" y="1758870"/>
                  <a:pt x="1886698" y="1754997"/>
                  <a:pt x="1892480" y="1747562"/>
                </a:cubicBezTo>
                <a:cubicBezTo>
                  <a:pt x="1896610" y="1747562"/>
                  <a:pt x="1902393" y="1744774"/>
                  <a:pt x="1905697" y="1750351"/>
                </a:cubicBezTo>
                <a:cubicBezTo>
                  <a:pt x="1905697" y="1748492"/>
                  <a:pt x="1906523" y="1747562"/>
                  <a:pt x="1906523" y="1746633"/>
                </a:cubicBezTo>
                <a:cubicBezTo>
                  <a:pt x="1906523" y="1746633"/>
                  <a:pt x="1906523" y="1746633"/>
                  <a:pt x="1907349" y="1746633"/>
                </a:cubicBezTo>
                <a:cubicBezTo>
                  <a:pt x="1911479" y="1743845"/>
                  <a:pt x="1913958" y="1741986"/>
                  <a:pt x="1915713" y="1741057"/>
                </a:cubicBezTo>
                <a:cubicBezTo>
                  <a:pt x="1914784" y="1741986"/>
                  <a:pt x="1915713" y="1741057"/>
                  <a:pt x="1916539" y="1741057"/>
                </a:cubicBezTo>
                <a:cubicBezTo>
                  <a:pt x="1916539" y="1740127"/>
                  <a:pt x="1916539" y="1739973"/>
                  <a:pt x="1916539" y="1739973"/>
                </a:cubicBezTo>
                <a:cubicBezTo>
                  <a:pt x="1916539" y="1739973"/>
                  <a:pt x="1916539" y="1740127"/>
                  <a:pt x="1916539" y="1739198"/>
                </a:cubicBezTo>
                <a:cubicBezTo>
                  <a:pt x="1917365" y="1738269"/>
                  <a:pt x="1918191" y="1738114"/>
                  <a:pt x="1920669" y="1738114"/>
                </a:cubicBezTo>
                <a:cubicBezTo>
                  <a:pt x="1922321" y="1736255"/>
                  <a:pt x="1918088" y="1736255"/>
                  <a:pt x="1917262" y="1731608"/>
                </a:cubicBezTo>
                <a:cubicBezTo>
                  <a:pt x="1921392" y="1730679"/>
                  <a:pt x="1923044" y="1726961"/>
                  <a:pt x="1923870" y="1722159"/>
                </a:cubicBezTo>
                <a:cubicBezTo>
                  <a:pt x="1923870" y="1719371"/>
                  <a:pt x="1924799" y="1717512"/>
                  <a:pt x="1925626" y="1714724"/>
                </a:cubicBezTo>
                <a:cubicBezTo>
                  <a:pt x="1925626" y="1713795"/>
                  <a:pt x="1925522" y="1712866"/>
                  <a:pt x="1926348" y="1711936"/>
                </a:cubicBezTo>
                <a:cubicBezTo>
                  <a:pt x="1926348" y="1711936"/>
                  <a:pt x="1926348" y="1711936"/>
                  <a:pt x="1927174" y="1711007"/>
                </a:cubicBezTo>
                <a:cubicBezTo>
                  <a:pt x="1928001" y="1710077"/>
                  <a:pt x="1928930" y="1709148"/>
                  <a:pt x="1930582" y="1708219"/>
                </a:cubicBezTo>
                <a:cubicBezTo>
                  <a:pt x="1930582" y="1710077"/>
                  <a:pt x="1930582" y="1711936"/>
                  <a:pt x="1930582" y="1712866"/>
                </a:cubicBezTo>
                <a:cubicBezTo>
                  <a:pt x="1930582" y="1713795"/>
                  <a:pt x="1930582" y="1713795"/>
                  <a:pt x="1929756" y="1714724"/>
                </a:cubicBezTo>
                <a:cubicBezTo>
                  <a:pt x="1929756" y="1714724"/>
                  <a:pt x="1929756" y="1714724"/>
                  <a:pt x="1929756" y="1715654"/>
                </a:cubicBezTo>
                <a:cubicBezTo>
                  <a:pt x="1929756" y="1717512"/>
                  <a:pt x="1928827" y="1718442"/>
                  <a:pt x="1928001" y="1719526"/>
                </a:cubicBezTo>
                <a:cubicBezTo>
                  <a:pt x="1927174" y="1721385"/>
                  <a:pt x="1925626" y="1722314"/>
                  <a:pt x="1925626" y="1726961"/>
                </a:cubicBezTo>
                <a:cubicBezTo>
                  <a:pt x="1928104" y="1726961"/>
                  <a:pt x="1930582" y="1726961"/>
                  <a:pt x="1933060" y="1726961"/>
                </a:cubicBezTo>
                <a:cubicBezTo>
                  <a:pt x="1933886" y="1726961"/>
                  <a:pt x="1933886" y="1726961"/>
                  <a:pt x="1933886" y="1726961"/>
                </a:cubicBezTo>
                <a:cubicBezTo>
                  <a:pt x="1933886" y="1726961"/>
                  <a:pt x="1933886" y="1726961"/>
                  <a:pt x="1934712" y="1726961"/>
                </a:cubicBezTo>
                <a:lnTo>
                  <a:pt x="1935022" y="1726496"/>
                </a:lnTo>
                <a:lnTo>
                  <a:pt x="1935951" y="1720301"/>
                </a:lnTo>
                <a:cubicBezTo>
                  <a:pt x="1938120" y="1714105"/>
                  <a:pt x="1941733" y="1707909"/>
                  <a:pt x="1947516" y="1701868"/>
                </a:cubicBezTo>
                <a:cubicBezTo>
                  <a:pt x="1951749" y="1702178"/>
                  <a:pt x="1954537" y="1704037"/>
                  <a:pt x="1956086" y="1706670"/>
                </a:cubicBezTo>
                <a:lnTo>
                  <a:pt x="1957119" y="1714570"/>
                </a:lnTo>
                <a:lnTo>
                  <a:pt x="1958339" y="1713385"/>
                </a:lnTo>
                <a:lnTo>
                  <a:pt x="1958339" y="1658683"/>
                </a:lnTo>
                <a:lnTo>
                  <a:pt x="1957312" y="1657239"/>
                </a:lnTo>
                <a:cubicBezTo>
                  <a:pt x="1954202" y="1654935"/>
                  <a:pt x="1950407" y="1653618"/>
                  <a:pt x="1948238" y="1656174"/>
                </a:cubicBezTo>
                <a:cubicBezTo>
                  <a:pt x="1947722" y="1649978"/>
                  <a:pt x="1935332" y="1636811"/>
                  <a:pt x="1929343" y="1638515"/>
                </a:cubicBezTo>
                <a:cubicBezTo>
                  <a:pt x="1929859" y="1634488"/>
                  <a:pt x="1927691" y="1631700"/>
                  <a:pt x="1925006" y="1629376"/>
                </a:cubicBezTo>
                <a:cubicBezTo>
                  <a:pt x="1922321" y="1627208"/>
                  <a:pt x="1918501" y="1624885"/>
                  <a:pt x="1916849" y="1621477"/>
                </a:cubicBezTo>
                <a:cubicBezTo>
                  <a:pt x="1914164" y="1619773"/>
                  <a:pt x="1916952" y="1623645"/>
                  <a:pt x="1913648" y="1623181"/>
                </a:cubicBezTo>
                <a:cubicBezTo>
                  <a:pt x="1911479" y="1618534"/>
                  <a:pt x="1909414" y="1615126"/>
                  <a:pt x="1905594" y="1616210"/>
                </a:cubicBezTo>
                <a:cubicBezTo>
                  <a:pt x="1906730" y="1612338"/>
                  <a:pt x="1898572" y="1610634"/>
                  <a:pt x="1902290" y="1605368"/>
                </a:cubicBezTo>
                <a:cubicBezTo>
                  <a:pt x="1900121" y="1605987"/>
                  <a:pt x="1897953" y="1604903"/>
                  <a:pt x="1900741" y="1601960"/>
                </a:cubicBezTo>
                <a:cubicBezTo>
                  <a:pt x="1895784" y="1602580"/>
                  <a:pt x="1895268" y="1595299"/>
                  <a:pt x="1891551" y="1597468"/>
                </a:cubicBezTo>
                <a:cubicBezTo>
                  <a:pt x="1892067" y="1595299"/>
                  <a:pt x="1891551" y="1592821"/>
                  <a:pt x="1889899" y="1591117"/>
                </a:cubicBezTo>
                <a:cubicBezTo>
                  <a:pt x="1888866" y="1589413"/>
                  <a:pt x="1887214" y="1587864"/>
                  <a:pt x="1885562" y="1586160"/>
                </a:cubicBezTo>
                <a:cubicBezTo>
                  <a:pt x="1881845" y="1583218"/>
                  <a:pt x="1877508" y="1580429"/>
                  <a:pt x="1877508" y="1577486"/>
                </a:cubicBezTo>
                <a:cubicBezTo>
                  <a:pt x="1874204" y="1576867"/>
                  <a:pt x="1871003" y="1579190"/>
                  <a:pt x="1867699" y="1575318"/>
                </a:cubicBezTo>
                <a:cubicBezTo>
                  <a:pt x="1865530" y="1564475"/>
                  <a:pt x="1861297" y="1564320"/>
                  <a:pt x="1850971" y="1555801"/>
                </a:cubicBezTo>
                <a:cubicBezTo>
                  <a:pt x="1849423" y="1551309"/>
                  <a:pt x="1854792" y="1559828"/>
                  <a:pt x="1855825" y="1557040"/>
                </a:cubicBezTo>
                <a:cubicBezTo>
                  <a:pt x="1854792" y="1555336"/>
                  <a:pt x="1853656" y="1554097"/>
                  <a:pt x="1852004" y="1552393"/>
                </a:cubicBezTo>
                <a:cubicBezTo>
                  <a:pt x="1850971" y="1550689"/>
                  <a:pt x="1849939" y="1549605"/>
                  <a:pt x="1848803" y="1547901"/>
                </a:cubicBezTo>
                <a:lnTo>
                  <a:pt x="1842195" y="1539382"/>
                </a:lnTo>
                <a:lnTo>
                  <a:pt x="1837755" y="1543409"/>
                </a:lnTo>
                <a:cubicBezTo>
                  <a:pt x="1833418" y="1542170"/>
                  <a:pt x="1833314" y="1536594"/>
                  <a:pt x="1832798" y="1533496"/>
                </a:cubicBezTo>
                <a:lnTo>
                  <a:pt x="1837238" y="1532566"/>
                </a:lnTo>
                <a:lnTo>
                  <a:pt x="1834244" y="1528539"/>
                </a:lnTo>
                <a:cubicBezTo>
                  <a:pt x="1832075" y="1524976"/>
                  <a:pt x="1829391" y="1521569"/>
                  <a:pt x="1827222" y="1518161"/>
                </a:cubicBezTo>
                <a:lnTo>
                  <a:pt x="1822060" y="1511655"/>
                </a:lnTo>
                <a:lnTo>
                  <a:pt x="1821750" y="1512275"/>
                </a:lnTo>
                <a:cubicBezTo>
                  <a:pt x="1820098" y="1513979"/>
                  <a:pt x="1817620" y="1515063"/>
                  <a:pt x="1815038" y="1513824"/>
                </a:cubicBezTo>
                <a:cubicBezTo>
                  <a:pt x="1814315" y="1512740"/>
                  <a:pt x="1813593" y="1511810"/>
                  <a:pt x="1813179" y="1510416"/>
                </a:cubicBezTo>
                <a:cubicBezTo>
                  <a:pt x="1812870" y="1509177"/>
                  <a:pt x="1812870" y="1507628"/>
                  <a:pt x="1813696" y="1505615"/>
                </a:cubicBezTo>
                <a:lnTo>
                  <a:pt x="1816587" y="1504840"/>
                </a:lnTo>
                <a:lnTo>
                  <a:pt x="1812147" y="1499418"/>
                </a:lnTo>
                <a:cubicBezTo>
                  <a:pt x="1809359" y="1496475"/>
                  <a:pt x="1806674" y="1493687"/>
                  <a:pt x="1803990" y="1490899"/>
                </a:cubicBezTo>
                <a:cubicBezTo>
                  <a:pt x="1802337" y="1489195"/>
                  <a:pt x="1800789" y="1487956"/>
                  <a:pt x="1799137" y="1486872"/>
                </a:cubicBezTo>
                <a:cubicBezTo>
                  <a:pt x="1799137" y="1486872"/>
                  <a:pt x="1799137" y="1486872"/>
                  <a:pt x="1798001" y="1485633"/>
                </a:cubicBezTo>
                <a:cubicBezTo>
                  <a:pt x="1796452" y="1482845"/>
                  <a:pt x="1800789" y="1491984"/>
                  <a:pt x="1794800" y="1479437"/>
                </a:cubicBezTo>
                <a:cubicBezTo>
                  <a:pt x="1794800" y="1479437"/>
                  <a:pt x="1794800" y="1479437"/>
                  <a:pt x="1794284" y="1479437"/>
                </a:cubicBezTo>
                <a:cubicBezTo>
                  <a:pt x="1794284" y="1479437"/>
                  <a:pt x="1794284" y="1479437"/>
                  <a:pt x="1793767" y="1478817"/>
                </a:cubicBezTo>
                <a:cubicBezTo>
                  <a:pt x="1793148" y="1478817"/>
                  <a:pt x="1792631" y="1478817"/>
                  <a:pt x="1792115" y="1478198"/>
                </a:cubicBezTo>
                <a:cubicBezTo>
                  <a:pt x="1790463" y="1479437"/>
                  <a:pt x="1790463" y="1480521"/>
                  <a:pt x="1790463" y="1481141"/>
                </a:cubicBezTo>
                <a:cubicBezTo>
                  <a:pt x="1790463" y="1481141"/>
                  <a:pt x="1790463" y="1481141"/>
                  <a:pt x="1790979" y="1481141"/>
                </a:cubicBezTo>
                <a:cubicBezTo>
                  <a:pt x="1790979" y="1481141"/>
                  <a:pt x="1790979" y="1481141"/>
                  <a:pt x="1790979" y="1481761"/>
                </a:cubicBezTo>
                <a:cubicBezTo>
                  <a:pt x="1792115" y="1483464"/>
                  <a:pt x="1793148" y="1485788"/>
                  <a:pt x="1794284" y="1487956"/>
                </a:cubicBezTo>
                <a:cubicBezTo>
                  <a:pt x="1794284" y="1488576"/>
                  <a:pt x="1794284" y="1488576"/>
                  <a:pt x="1794284" y="1488576"/>
                </a:cubicBezTo>
                <a:cubicBezTo>
                  <a:pt x="1794284" y="1489040"/>
                  <a:pt x="1794284" y="1489660"/>
                  <a:pt x="1793251" y="1490280"/>
                </a:cubicBezTo>
                <a:cubicBezTo>
                  <a:pt x="1793251" y="1489660"/>
                  <a:pt x="1792631" y="1489660"/>
                  <a:pt x="1792631" y="1489660"/>
                </a:cubicBezTo>
                <a:cubicBezTo>
                  <a:pt x="1792115" y="1489195"/>
                  <a:pt x="1792115" y="1489040"/>
                  <a:pt x="1792115" y="1489040"/>
                </a:cubicBezTo>
                <a:cubicBezTo>
                  <a:pt x="1792012" y="1488886"/>
                  <a:pt x="1792012" y="1488886"/>
                  <a:pt x="1791909" y="1488730"/>
                </a:cubicBezTo>
                <a:lnTo>
                  <a:pt x="1791806" y="1488730"/>
                </a:lnTo>
                <a:cubicBezTo>
                  <a:pt x="1791393" y="1487801"/>
                  <a:pt x="1790463" y="1485942"/>
                  <a:pt x="1788914" y="1482845"/>
                </a:cubicBezTo>
                <a:cubicBezTo>
                  <a:pt x="1788914" y="1482845"/>
                  <a:pt x="1788914" y="1482845"/>
                  <a:pt x="1788914" y="1482225"/>
                </a:cubicBezTo>
                <a:cubicBezTo>
                  <a:pt x="1788914" y="1482225"/>
                  <a:pt x="1788811" y="1482225"/>
                  <a:pt x="1788295" y="1482225"/>
                </a:cubicBezTo>
                <a:cubicBezTo>
                  <a:pt x="1788295" y="1482225"/>
                  <a:pt x="1787778" y="1482225"/>
                  <a:pt x="1787778" y="1481761"/>
                </a:cubicBezTo>
                <a:cubicBezTo>
                  <a:pt x="1787262" y="1481761"/>
                  <a:pt x="1787262" y="1481141"/>
                  <a:pt x="1786643" y="1480521"/>
                </a:cubicBezTo>
                <a:cubicBezTo>
                  <a:pt x="1786126" y="1480057"/>
                  <a:pt x="1785094" y="1479437"/>
                  <a:pt x="1783441" y="1478817"/>
                </a:cubicBezTo>
                <a:cubicBezTo>
                  <a:pt x="1785610" y="1477733"/>
                  <a:pt x="1785610" y="1479437"/>
                  <a:pt x="1787159" y="1478817"/>
                </a:cubicBezTo>
                <a:cubicBezTo>
                  <a:pt x="1788295" y="1477733"/>
                  <a:pt x="1788295" y="1476029"/>
                  <a:pt x="1787778" y="1474790"/>
                </a:cubicBezTo>
                <a:cubicBezTo>
                  <a:pt x="1786746" y="1473706"/>
                  <a:pt x="1786746" y="1476649"/>
                  <a:pt x="1784577" y="1476029"/>
                </a:cubicBezTo>
                <a:cubicBezTo>
                  <a:pt x="1786230" y="1473706"/>
                  <a:pt x="1783958" y="1473241"/>
                  <a:pt x="1781893" y="1473241"/>
                </a:cubicBezTo>
                <a:cubicBezTo>
                  <a:pt x="1780757" y="1470918"/>
                  <a:pt x="1782926" y="1472622"/>
                  <a:pt x="1784577" y="1470918"/>
                </a:cubicBezTo>
                <a:cubicBezTo>
                  <a:pt x="1784062" y="1469214"/>
                  <a:pt x="1781273" y="1470918"/>
                  <a:pt x="1778589" y="1472002"/>
                </a:cubicBezTo>
                <a:cubicBezTo>
                  <a:pt x="1778589" y="1471383"/>
                  <a:pt x="1778589" y="1471383"/>
                  <a:pt x="1778589" y="1470918"/>
                </a:cubicBezTo>
                <a:cubicBezTo>
                  <a:pt x="1778589" y="1470918"/>
                  <a:pt x="1778589" y="1470298"/>
                  <a:pt x="1778589" y="1469833"/>
                </a:cubicBezTo>
                <a:cubicBezTo>
                  <a:pt x="1779105" y="1469214"/>
                  <a:pt x="1780241" y="1468594"/>
                  <a:pt x="1780757" y="1467974"/>
                </a:cubicBezTo>
                <a:lnTo>
                  <a:pt x="1777763" y="1463638"/>
                </a:lnTo>
                <a:lnTo>
                  <a:pt x="1776730" y="1463948"/>
                </a:lnTo>
                <a:cubicBezTo>
                  <a:pt x="1775491" y="1463638"/>
                  <a:pt x="1774459" y="1462708"/>
                  <a:pt x="1773839" y="1460849"/>
                </a:cubicBezTo>
                <a:lnTo>
                  <a:pt x="1775284" y="1459920"/>
                </a:lnTo>
                <a:lnTo>
                  <a:pt x="1771051" y="1453724"/>
                </a:lnTo>
                <a:lnTo>
                  <a:pt x="1766611" y="1446134"/>
                </a:lnTo>
                <a:lnTo>
                  <a:pt x="1764959" y="1445979"/>
                </a:lnTo>
                <a:lnTo>
                  <a:pt x="1765682" y="1444275"/>
                </a:lnTo>
                <a:lnTo>
                  <a:pt x="1763926" y="1441178"/>
                </a:lnTo>
                <a:cubicBezTo>
                  <a:pt x="1763926" y="1441178"/>
                  <a:pt x="1764030" y="1441178"/>
                  <a:pt x="1763410" y="1438854"/>
                </a:cubicBezTo>
                <a:cubicBezTo>
                  <a:pt x="1763410" y="1438854"/>
                  <a:pt x="1763513" y="1439009"/>
                  <a:pt x="1762894" y="1437770"/>
                </a:cubicBezTo>
                <a:cubicBezTo>
                  <a:pt x="1762894" y="1437770"/>
                  <a:pt x="1762894" y="1437770"/>
                  <a:pt x="1762377" y="1436685"/>
                </a:cubicBezTo>
                <a:cubicBezTo>
                  <a:pt x="1758040" y="1426927"/>
                  <a:pt x="1754220" y="1417323"/>
                  <a:pt x="1751019" y="1408649"/>
                </a:cubicBezTo>
                <a:cubicBezTo>
                  <a:pt x="1750193" y="1406946"/>
                  <a:pt x="1749780" y="1405242"/>
                  <a:pt x="1749677" y="1403848"/>
                </a:cubicBezTo>
                <a:lnTo>
                  <a:pt x="1749883" y="1402918"/>
                </a:lnTo>
                <a:lnTo>
                  <a:pt x="1748541" y="1403383"/>
                </a:lnTo>
                <a:cubicBezTo>
                  <a:pt x="1747922" y="1403538"/>
                  <a:pt x="1747612" y="1403693"/>
                  <a:pt x="1747508" y="1404003"/>
                </a:cubicBezTo>
                <a:cubicBezTo>
                  <a:pt x="1743998" y="1402299"/>
                  <a:pt x="1744927" y="1400130"/>
                  <a:pt x="1745237" y="1396258"/>
                </a:cubicBezTo>
                <a:lnTo>
                  <a:pt x="1746579" y="1395483"/>
                </a:lnTo>
                <a:lnTo>
                  <a:pt x="1746476" y="1395328"/>
                </a:lnTo>
                <a:lnTo>
                  <a:pt x="1745237" y="1391766"/>
                </a:lnTo>
                <a:lnTo>
                  <a:pt x="1742242" y="1390371"/>
                </a:lnTo>
                <a:lnTo>
                  <a:pt x="1741520" y="1390526"/>
                </a:lnTo>
                <a:lnTo>
                  <a:pt x="1741830" y="1391456"/>
                </a:lnTo>
                <a:cubicBezTo>
                  <a:pt x="1741933" y="1392385"/>
                  <a:pt x="1741623" y="1393315"/>
                  <a:pt x="1741106" y="1393934"/>
                </a:cubicBezTo>
                <a:lnTo>
                  <a:pt x="1738525" y="1395483"/>
                </a:lnTo>
                <a:lnTo>
                  <a:pt x="1739661" y="1397497"/>
                </a:lnTo>
                <a:cubicBezTo>
                  <a:pt x="1739971" y="1399665"/>
                  <a:pt x="1739558" y="1402299"/>
                  <a:pt x="1737699" y="1405087"/>
                </a:cubicBezTo>
                <a:cubicBezTo>
                  <a:pt x="1733878" y="1406636"/>
                  <a:pt x="1726651" y="1402763"/>
                  <a:pt x="1726444" y="1399355"/>
                </a:cubicBezTo>
                <a:cubicBezTo>
                  <a:pt x="1728200" y="1394089"/>
                  <a:pt x="1731298" y="1392075"/>
                  <a:pt x="1733982" y="1392075"/>
                </a:cubicBezTo>
                <a:lnTo>
                  <a:pt x="1734705" y="1392385"/>
                </a:lnTo>
                <a:lnTo>
                  <a:pt x="1733982" y="1391611"/>
                </a:lnTo>
                <a:lnTo>
                  <a:pt x="1734085" y="1390836"/>
                </a:lnTo>
                <a:lnTo>
                  <a:pt x="1732640" y="1390836"/>
                </a:lnTo>
                <a:cubicBezTo>
                  <a:pt x="1733982" y="1387583"/>
                  <a:pt x="1736150" y="1384950"/>
                  <a:pt x="1738629" y="1382627"/>
                </a:cubicBezTo>
                <a:lnTo>
                  <a:pt x="1743378" y="1379529"/>
                </a:lnTo>
                <a:lnTo>
                  <a:pt x="1746166" y="1375037"/>
                </a:lnTo>
                <a:cubicBezTo>
                  <a:pt x="1738629" y="1374417"/>
                  <a:pt x="1745030" y="1365433"/>
                  <a:pt x="1739145" y="1359082"/>
                </a:cubicBezTo>
                <a:lnTo>
                  <a:pt x="1740487" y="1358153"/>
                </a:lnTo>
                <a:lnTo>
                  <a:pt x="1739248" y="1354436"/>
                </a:lnTo>
                <a:cubicBezTo>
                  <a:pt x="1739145" y="1353661"/>
                  <a:pt x="1739248" y="1352887"/>
                  <a:pt x="1739558" y="1352577"/>
                </a:cubicBezTo>
                <a:cubicBezTo>
                  <a:pt x="1739971" y="1352422"/>
                  <a:pt x="1740797" y="1352577"/>
                  <a:pt x="1741623" y="1353042"/>
                </a:cubicBezTo>
                <a:lnTo>
                  <a:pt x="1742759" y="1354126"/>
                </a:lnTo>
                <a:lnTo>
                  <a:pt x="1742965" y="1350563"/>
                </a:lnTo>
                <a:cubicBezTo>
                  <a:pt x="1741830" y="1345916"/>
                  <a:pt x="1739145" y="1340805"/>
                  <a:pt x="1736460" y="1339101"/>
                </a:cubicBezTo>
                <a:cubicBezTo>
                  <a:pt x="1735324" y="1341425"/>
                  <a:pt x="1734808" y="1344213"/>
                  <a:pt x="1735428" y="1347620"/>
                </a:cubicBezTo>
                <a:cubicBezTo>
                  <a:pt x="1735944" y="1351183"/>
                  <a:pt x="1737493" y="1354591"/>
                  <a:pt x="1739145" y="1357998"/>
                </a:cubicBezTo>
                <a:cubicBezTo>
                  <a:pt x="1736667" y="1356294"/>
                  <a:pt x="1735118" y="1353661"/>
                  <a:pt x="1733982" y="1350718"/>
                </a:cubicBezTo>
                <a:lnTo>
                  <a:pt x="1731813" y="1341889"/>
                </a:lnTo>
                <a:lnTo>
                  <a:pt x="1729748" y="1342664"/>
                </a:lnTo>
                <a:cubicBezTo>
                  <a:pt x="1725308" y="1343593"/>
                  <a:pt x="1719010" y="1343903"/>
                  <a:pt x="1718494" y="1340495"/>
                </a:cubicBezTo>
                <a:cubicBezTo>
                  <a:pt x="1718390" y="1339875"/>
                  <a:pt x="1718494" y="1339101"/>
                  <a:pt x="1718906" y="1338171"/>
                </a:cubicBezTo>
                <a:cubicBezTo>
                  <a:pt x="1721591" y="1338326"/>
                  <a:pt x="1724276" y="1337861"/>
                  <a:pt x="1726547" y="1337552"/>
                </a:cubicBezTo>
                <a:lnTo>
                  <a:pt x="1730677" y="1337861"/>
                </a:lnTo>
                <a:lnTo>
                  <a:pt x="1728406" y="1333525"/>
                </a:lnTo>
                <a:lnTo>
                  <a:pt x="1727993" y="1330582"/>
                </a:lnTo>
                <a:lnTo>
                  <a:pt x="1723450" y="1325935"/>
                </a:lnTo>
                <a:cubicBezTo>
                  <a:pt x="1723037" y="1324231"/>
                  <a:pt x="1722933" y="1322682"/>
                  <a:pt x="1722727" y="1320978"/>
                </a:cubicBezTo>
                <a:cubicBezTo>
                  <a:pt x="1722727" y="1321598"/>
                  <a:pt x="1722727" y="1322217"/>
                  <a:pt x="1722417" y="1322682"/>
                </a:cubicBezTo>
                <a:lnTo>
                  <a:pt x="1721488" y="1324076"/>
                </a:lnTo>
                <a:lnTo>
                  <a:pt x="1721591" y="1324076"/>
                </a:lnTo>
                <a:cubicBezTo>
                  <a:pt x="1722210" y="1324696"/>
                  <a:pt x="1722933" y="1325625"/>
                  <a:pt x="1723346" y="1326709"/>
                </a:cubicBezTo>
                <a:cubicBezTo>
                  <a:pt x="1722417" y="1330891"/>
                  <a:pt x="1717977" y="1331046"/>
                  <a:pt x="1715705" y="1333370"/>
                </a:cubicBezTo>
                <a:cubicBezTo>
                  <a:pt x="1714363" y="1332131"/>
                  <a:pt x="1713537" y="1330891"/>
                  <a:pt x="1713331" y="1329652"/>
                </a:cubicBezTo>
                <a:lnTo>
                  <a:pt x="1713744" y="1328103"/>
                </a:lnTo>
                <a:lnTo>
                  <a:pt x="1712814" y="1327638"/>
                </a:lnTo>
                <a:cubicBezTo>
                  <a:pt x="1711988" y="1326709"/>
                  <a:pt x="1711678" y="1325470"/>
                  <a:pt x="1711678" y="1323302"/>
                </a:cubicBezTo>
                <a:cubicBezTo>
                  <a:pt x="1711678" y="1323302"/>
                  <a:pt x="1712195" y="1322217"/>
                  <a:pt x="1712195" y="1322217"/>
                </a:cubicBezTo>
                <a:cubicBezTo>
                  <a:pt x="1713331" y="1318190"/>
                  <a:pt x="1717461" y="1315247"/>
                  <a:pt x="1719423" y="1315557"/>
                </a:cubicBezTo>
                <a:cubicBezTo>
                  <a:pt x="1720559" y="1316176"/>
                  <a:pt x="1721695" y="1317105"/>
                  <a:pt x="1722314" y="1318345"/>
                </a:cubicBezTo>
                <a:cubicBezTo>
                  <a:pt x="1722004" y="1314472"/>
                  <a:pt x="1721798" y="1310755"/>
                  <a:pt x="1721798" y="1307192"/>
                </a:cubicBezTo>
                <a:cubicBezTo>
                  <a:pt x="1721798" y="1304249"/>
                  <a:pt x="1721901" y="1301461"/>
                  <a:pt x="1721281" y="1298673"/>
                </a:cubicBezTo>
                <a:lnTo>
                  <a:pt x="1718700" y="1289689"/>
                </a:lnTo>
                <a:lnTo>
                  <a:pt x="1717874" y="1290928"/>
                </a:lnTo>
                <a:lnTo>
                  <a:pt x="1718700" y="1292787"/>
                </a:lnTo>
                <a:cubicBezTo>
                  <a:pt x="1719526" y="1296659"/>
                  <a:pt x="1718803" y="1300841"/>
                  <a:pt x="1718390" y="1305024"/>
                </a:cubicBezTo>
                <a:cubicBezTo>
                  <a:pt x="1715293" y="1304249"/>
                  <a:pt x="1711162" y="1300222"/>
                  <a:pt x="1709200" y="1295265"/>
                </a:cubicBezTo>
                <a:lnTo>
                  <a:pt x="1708581" y="1292322"/>
                </a:lnTo>
                <a:lnTo>
                  <a:pt x="1707135" y="1289379"/>
                </a:lnTo>
                <a:lnTo>
                  <a:pt x="1706103" y="1289534"/>
                </a:lnTo>
                <a:cubicBezTo>
                  <a:pt x="1702076" y="1285507"/>
                  <a:pt x="1697945" y="1282409"/>
                  <a:pt x="1693815" y="1279311"/>
                </a:cubicBezTo>
                <a:lnTo>
                  <a:pt x="1692576" y="1278381"/>
                </a:lnTo>
                <a:lnTo>
                  <a:pt x="1692266" y="1280860"/>
                </a:lnTo>
                <a:lnTo>
                  <a:pt x="1688652" y="1284113"/>
                </a:lnTo>
                <a:lnTo>
                  <a:pt x="1689995" y="1287675"/>
                </a:lnTo>
                <a:cubicBezTo>
                  <a:pt x="1690511" y="1290773"/>
                  <a:pt x="1690098" y="1294181"/>
                  <a:pt x="1688652" y="1296504"/>
                </a:cubicBezTo>
                <a:lnTo>
                  <a:pt x="1684729" y="1299602"/>
                </a:lnTo>
                <a:lnTo>
                  <a:pt x="1684729" y="1300067"/>
                </a:lnTo>
                <a:cubicBezTo>
                  <a:pt x="1682973" y="1301771"/>
                  <a:pt x="1680392" y="1302700"/>
                  <a:pt x="1679566" y="1301926"/>
                </a:cubicBezTo>
                <a:cubicBezTo>
                  <a:pt x="1678327" y="1300687"/>
                  <a:pt x="1677088" y="1299602"/>
                  <a:pt x="1677604" y="1297899"/>
                </a:cubicBezTo>
                <a:cubicBezTo>
                  <a:pt x="1677810" y="1297434"/>
                  <a:pt x="1678224" y="1296814"/>
                  <a:pt x="1678843" y="1296195"/>
                </a:cubicBezTo>
                <a:cubicBezTo>
                  <a:pt x="1678843" y="1296195"/>
                  <a:pt x="1678946" y="1296040"/>
                  <a:pt x="1679772" y="1296040"/>
                </a:cubicBezTo>
                <a:lnTo>
                  <a:pt x="1681218" y="1296040"/>
                </a:lnTo>
                <a:lnTo>
                  <a:pt x="1677398" y="1290773"/>
                </a:lnTo>
                <a:cubicBezTo>
                  <a:pt x="1675642" y="1287056"/>
                  <a:pt x="1674609" y="1282719"/>
                  <a:pt x="1674919" y="1277297"/>
                </a:cubicBezTo>
                <a:cubicBezTo>
                  <a:pt x="1679360" y="1273425"/>
                  <a:pt x="1683696" y="1274974"/>
                  <a:pt x="1686587" y="1278846"/>
                </a:cubicBezTo>
                <a:lnTo>
                  <a:pt x="1686587" y="1279156"/>
                </a:lnTo>
                <a:lnTo>
                  <a:pt x="1687310" y="1278846"/>
                </a:lnTo>
                <a:cubicBezTo>
                  <a:pt x="1688963" y="1277917"/>
                  <a:pt x="1690718" y="1276988"/>
                  <a:pt x="1690718" y="1276988"/>
                </a:cubicBezTo>
                <a:lnTo>
                  <a:pt x="1692163" y="1278072"/>
                </a:lnTo>
                <a:lnTo>
                  <a:pt x="1681425" y="1269088"/>
                </a:lnTo>
                <a:lnTo>
                  <a:pt x="1681425" y="1261963"/>
                </a:lnTo>
                <a:lnTo>
                  <a:pt x="1681218" y="1261963"/>
                </a:lnTo>
                <a:cubicBezTo>
                  <a:pt x="1681011" y="1261963"/>
                  <a:pt x="1680805" y="1262272"/>
                  <a:pt x="1680392" y="1262272"/>
                </a:cubicBezTo>
                <a:cubicBezTo>
                  <a:pt x="1680392" y="1262272"/>
                  <a:pt x="1681218" y="1262272"/>
                  <a:pt x="1680289" y="1263047"/>
                </a:cubicBezTo>
                <a:cubicBezTo>
                  <a:pt x="1680392" y="1262272"/>
                  <a:pt x="1679463" y="1262272"/>
                  <a:pt x="1678637" y="1262272"/>
                </a:cubicBezTo>
                <a:cubicBezTo>
                  <a:pt x="1677088" y="1260413"/>
                  <a:pt x="1675642" y="1257935"/>
                  <a:pt x="1676778" y="1256232"/>
                </a:cubicBezTo>
                <a:cubicBezTo>
                  <a:pt x="1677707" y="1255302"/>
                  <a:pt x="1678637" y="1255147"/>
                  <a:pt x="1679360" y="1255302"/>
                </a:cubicBezTo>
                <a:lnTo>
                  <a:pt x="1680598" y="1256077"/>
                </a:lnTo>
                <a:lnTo>
                  <a:pt x="1679566" y="1250810"/>
                </a:lnTo>
                <a:cubicBezTo>
                  <a:pt x="1678430" y="1244459"/>
                  <a:pt x="1678017" y="1238263"/>
                  <a:pt x="1682354" y="1233617"/>
                </a:cubicBezTo>
                <a:cubicBezTo>
                  <a:pt x="1693196" y="1232067"/>
                  <a:pt x="1694229" y="1226027"/>
                  <a:pt x="1699907" y="1222619"/>
                </a:cubicBezTo>
                <a:lnTo>
                  <a:pt x="1705897" y="1223084"/>
                </a:lnTo>
                <a:lnTo>
                  <a:pt x="1705586" y="1219831"/>
                </a:lnTo>
                <a:cubicBezTo>
                  <a:pt x="1705483" y="1216888"/>
                  <a:pt x="1705690" y="1214255"/>
                  <a:pt x="1705690" y="1211931"/>
                </a:cubicBezTo>
                <a:cubicBezTo>
                  <a:pt x="1705690" y="1207904"/>
                  <a:pt x="1706206" y="1204496"/>
                  <a:pt x="1704554" y="1200623"/>
                </a:cubicBezTo>
                <a:cubicBezTo>
                  <a:pt x="1707755" y="1199385"/>
                  <a:pt x="1708891" y="1196596"/>
                  <a:pt x="1708374" y="1190245"/>
                </a:cubicBezTo>
                <a:cubicBezTo>
                  <a:pt x="1709407" y="1190245"/>
                  <a:pt x="1708891" y="1193188"/>
                  <a:pt x="1709407" y="1194892"/>
                </a:cubicBezTo>
                <a:cubicBezTo>
                  <a:pt x="1712195" y="1195357"/>
                  <a:pt x="1711575" y="1191330"/>
                  <a:pt x="1712711" y="1190245"/>
                </a:cubicBezTo>
                <a:cubicBezTo>
                  <a:pt x="1711575" y="1188542"/>
                  <a:pt x="1709407" y="1190865"/>
                  <a:pt x="1710439" y="1184514"/>
                </a:cubicBezTo>
                <a:cubicBezTo>
                  <a:pt x="1712092" y="1185134"/>
                  <a:pt x="1711575" y="1189161"/>
                  <a:pt x="1714776" y="1187457"/>
                </a:cubicBezTo>
                <a:cubicBezTo>
                  <a:pt x="1716428" y="1193653"/>
                  <a:pt x="1712608" y="1198765"/>
                  <a:pt x="1719113" y="1198765"/>
                </a:cubicBezTo>
                <a:cubicBezTo>
                  <a:pt x="1714776" y="1202328"/>
                  <a:pt x="1715912" y="1206200"/>
                  <a:pt x="1718080" y="1210227"/>
                </a:cubicBezTo>
                <a:cubicBezTo>
                  <a:pt x="1718906" y="1212241"/>
                  <a:pt x="1719939" y="1214564"/>
                  <a:pt x="1720662" y="1217043"/>
                </a:cubicBezTo>
                <a:lnTo>
                  <a:pt x="1720765" y="1223548"/>
                </a:lnTo>
                <a:lnTo>
                  <a:pt x="1722004" y="1222619"/>
                </a:lnTo>
                <a:lnTo>
                  <a:pt x="1722210" y="1223548"/>
                </a:lnTo>
                <a:lnTo>
                  <a:pt x="1723553" y="1221999"/>
                </a:lnTo>
                <a:cubicBezTo>
                  <a:pt x="1723760" y="1220450"/>
                  <a:pt x="1723243" y="1218746"/>
                  <a:pt x="1722417" y="1217043"/>
                </a:cubicBezTo>
                <a:cubicBezTo>
                  <a:pt x="1721385" y="1213635"/>
                  <a:pt x="1720249" y="1210227"/>
                  <a:pt x="1723450" y="1209143"/>
                </a:cubicBezTo>
                <a:cubicBezTo>
                  <a:pt x="1722933" y="1204032"/>
                  <a:pt x="1719216" y="1202173"/>
                  <a:pt x="1721281" y="1197681"/>
                </a:cubicBezTo>
                <a:cubicBezTo>
                  <a:pt x="1723450" y="1197681"/>
                  <a:pt x="1721798" y="1202328"/>
                  <a:pt x="1723450" y="1203412"/>
                </a:cubicBezTo>
                <a:cubicBezTo>
                  <a:pt x="1726134" y="1201089"/>
                  <a:pt x="1723966" y="1193034"/>
                  <a:pt x="1723450" y="1190245"/>
                </a:cubicBezTo>
                <a:cubicBezTo>
                  <a:pt x="1722417" y="1190245"/>
                  <a:pt x="1722933" y="1191949"/>
                  <a:pt x="1722417" y="1193188"/>
                </a:cubicBezTo>
                <a:cubicBezTo>
                  <a:pt x="1721901" y="1191485"/>
                  <a:pt x="1720765" y="1180642"/>
                  <a:pt x="1723450" y="1184514"/>
                </a:cubicBezTo>
                <a:cubicBezTo>
                  <a:pt x="1722933" y="1181726"/>
                  <a:pt x="1722417" y="1178938"/>
                  <a:pt x="1720765" y="1177234"/>
                </a:cubicBezTo>
                <a:lnTo>
                  <a:pt x="1721075" y="1176150"/>
                </a:lnTo>
                <a:cubicBezTo>
                  <a:pt x="1718184" y="1173207"/>
                  <a:pt x="1715293" y="1169334"/>
                  <a:pt x="1715086" y="1165927"/>
                </a:cubicBezTo>
                <a:cubicBezTo>
                  <a:pt x="1715086" y="1164843"/>
                  <a:pt x="1715293" y="1163758"/>
                  <a:pt x="1715912" y="1162829"/>
                </a:cubicBezTo>
                <a:lnTo>
                  <a:pt x="1716532" y="1162519"/>
                </a:lnTo>
                <a:lnTo>
                  <a:pt x="1714776" y="1161745"/>
                </a:lnTo>
                <a:cubicBezTo>
                  <a:pt x="1714879" y="1160970"/>
                  <a:pt x="1715912" y="1160196"/>
                  <a:pt x="1716015" y="1159266"/>
                </a:cubicBezTo>
                <a:cubicBezTo>
                  <a:pt x="1716944" y="1159421"/>
                  <a:pt x="1718700" y="1159421"/>
                  <a:pt x="1719423" y="1160351"/>
                </a:cubicBezTo>
                <a:cubicBezTo>
                  <a:pt x="1719939" y="1160351"/>
                  <a:pt x="1719836" y="1160970"/>
                  <a:pt x="1719629" y="1161745"/>
                </a:cubicBezTo>
                <a:lnTo>
                  <a:pt x="1719423" y="1162054"/>
                </a:lnTo>
                <a:lnTo>
                  <a:pt x="1721695" y="1163603"/>
                </a:lnTo>
                <a:lnTo>
                  <a:pt x="1722417" y="1160660"/>
                </a:lnTo>
                <a:cubicBezTo>
                  <a:pt x="1722933" y="1158956"/>
                  <a:pt x="1723966" y="1156633"/>
                  <a:pt x="1724586" y="1154929"/>
                </a:cubicBezTo>
                <a:lnTo>
                  <a:pt x="1724586" y="1151057"/>
                </a:lnTo>
                <a:lnTo>
                  <a:pt x="1720972" y="1151832"/>
                </a:lnTo>
                <a:cubicBezTo>
                  <a:pt x="1719320" y="1151676"/>
                  <a:pt x="1717667" y="1151057"/>
                  <a:pt x="1716119" y="1151212"/>
                </a:cubicBezTo>
                <a:lnTo>
                  <a:pt x="1716944" y="1147030"/>
                </a:lnTo>
                <a:lnTo>
                  <a:pt x="1714776" y="1143157"/>
                </a:lnTo>
                <a:cubicBezTo>
                  <a:pt x="1714157" y="1141299"/>
                  <a:pt x="1713641" y="1139595"/>
                  <a:pt x="1713021" y="1138200"/>
                </a:cubicBezTo>
                <a:cubicBezTo>
                  <a:pt x="1710646" y="1136032"/>
                  <a:pt x="1705897" y="1136032"/>
                  <a:pt x="1701353" y="1136961"/>
                </a:cubicBezTo>
                <a:lnTo>
                  <a:pt x="1697119" y="1138045"/>
                </a:lnTo>
                <a:lnTo>
                  <a:pt x="1697945" y="1139285"/>
                </a:lnTo>
                <a:cubicBezTo>
                  <a:pt x="1698359" y="1140679"/>
                  <a:pt x="1698875" y="1142228"/>
                  <a:pt x="1700010" y="1143467"/>
                </a:cubicBezTo>
                <a:cubicBezTo>
                  <a:pt x="1697016" y="1146875"/>
                  <a:pt x="1695984" y="1147649"/>
                  <a:pt x="1691957" y="1145790"/>
                </a:cubicBezTo>
                <a:cubicBezTo>
                  <a:pt x="1691957" y="1145790"/>
                  <a:pt x="1691131" y="1145016"/>
                  <a:pt x="1691131" y="1145016"/>
                </a:cubicBezTo>
                <a:lnTo>
                  <a:pt x="1689892" y="1143002"/>
                </a:lnTo>
                <a:lnTo>
                  <a:pt x="1688239" y="1145790"/>
                </a:lnTo>
                <a:cubicBezTo>
                  <a:pt x="1686897" y="1150437"/>
                  <a:pt x="1689788" y="1153690"/>
                  <a:pt x="1687620" y="1156633"/>
                </a:cubicBezTo>
                <a:cubicBezTo>
                  <a:pt x="1684832" y="1160351"/>
                  <a:pt x="1679979" y="1157408"/>
                  <a:pt x="1679979" y="1157408"/>
                </a:cubicBezTo>
                <a:cubicBezTo>
                  <a:pt x="1677604" y="1154465"/>
                  <a:pt x="1679256" y="1149198"/>
                  <a:pt x="1679463" y="1146565"/>
                </a:cubicBezTo>
                <a:cubicBezTo>
                  <a:pt x="1678327" y="1143777"/>
                  <a:pt x="1675952" y="1142228"/>
                  <a:pt x="1674713" y="1140833"/>
                </a:cubicBezTo>
                <a:cubicBezTo>
                  <a:pt x="1672751" y="1142073"/>
                  <a:pt x="1667175" y="1139904"/>
                  <a:pt x="1662012" y="1137426"/>
                </a:cubicBezTo>
                <a:lnTo>
                  <a:pt x="1659225" y="1135877"/>
                </a:lnTo>
                <a:lnTo>
                  <a:pt x="1658811" y="1137271"/>
                </a:lnTo>
                <a:cubicBezTo>
                  <a:pt x="1653545" y="1139285"/>
                  <a:pt x="1649002" y="1141918"/>
                  <a:pt x="1644459" y="1144396"/>
                </a:cubicBezTo>
                <a:lnTo>
                  <a:pt x="1643116" y="1145171"/>
                </a:lnTo>
                <a:lnTo>
                  <a:pt x="1645285" y="1146410"/>
                </a:lnTo>
                <a:cubicBezTo>
                  <a:pt x="1646007" y="1147339"/>
                  <a:pt x="1646627" y="1149198"/>
                  <a:pt x="1646834" y="1151212"/>
                </a:cubicBezTo>
                <a:cubicBezTo>
                  <a:pt x="1646937" y="1153380"/>
                  <a:pt x="1646731" y="1155394"/>
                  <a:pt x="1645698" y="1156633"/>
                </a:cubicBezTo>
                <a:cubicBezTo>
                  <a:pt x="1644149" y="1155704"/>
                  <a:pt x="1642600" y="1154929"/>
                  <a:pt x="1641051" y="1154000"/>
                </a:cubicBezTo>
                <a:cubicBezTo>
                  <a:pt x="1641877" y="1154000"/>
                  <a:pt x="1641051" y="1146255"/>
                  <a:pt x="1641051" y="1146255"/>
                </a:cubicBezTo>
                <a:lnTo>
                  <a:pt x="1642600" y="1145326"/>
                </a:lnTo>
                <a:lnTo>
                  <a:pt x="1630209" y="1151676"/>
                </a:lnTo>
                <a:cubicBezTo>
                  <a:pt x="1621329" y="1145016"/>
                  <a:pt x="1603053" y="1148114"/>
                  <a:pt x="1598097" y="1136342"/>
                </a:cubicBezTo>
                <a:lnTo>
                  <a:pt x="1598510" y="1133554"/>
                </a:lnTo>
                <a:lnTo>
                  <a:pt x="1598200" y="1133244"/>
                </a:lnTo>
                <a:cubicBezTo>
                  <a:pt x="1597580" y="1132469"/>
                  <a:pt x="1597167" y="1131540"/>
                  <a:pt x="1597271" y="1130456"/>
                </a:cubicBezTo>
                <a:lnTo>
                  <a:pt x="1598303" y="1128907"/>
                </a:lnTo>
                <a:lnTo>
                  <a:pt x="1597374" y="1124105"/>
                </a:lnTo>
                <a:lnTo>
                  <a:pt x="1597477" y="1123176"/>
                </a:lnTo>
                <a:lnTo>
                  <a:pt x="1596961" y="1121471"/>
                </a:lnTo>
                <a:lnTo>
                  <a:pt x="1593657" y="1121936"/>
                </a:lnTo>
                <a:cubicBezTo>
                  <a:pt x="1592521" y="1121471"/>
                  <a:pt x="1591901" y="1120542"/>
                  <a:pt x="1591592" y="1119613"/>
                </a:cubicBezTo>
                <a:cubicBezTo>
                  <a:pt x="1591282" y="1118529"/>
                  <a:pt x="1591385" y="1117289"/>
                  <a:pt x="1591798" y="1116205"/>
                </a:cubicBezTo>
                <a:cubicBezTo>
                  <a:pt x="1591798" y="1115276"/>
                  <a:pt x="1592314" y="1114656"/>
                  <a:pt x="1593140" y="1114192"/>
                </a:cubicBezTo>
                <a:cubicBezTo>
                  <a:pt x="1594070" y="1113727"/>
                  <a:pt x="1595102" y="1113572"/>
                  <a:pt x="1596032" y="1113727"/>
                </a:cubicBezTo>
                <a:lnTo>
                  <a:pt x="1596238" y="1113727"/>
                </a:lnTo>
                <a:lnTo>
                  <a:pt x="1600059" y="1106447"/>
                </a:lnTo>
                <a:lnTo>
                  <a:pt x="1596032" y="1105672"/>
                </a:lnTo>
                <a:cubicBezTo>
                  <a:pt x="1593450" y="1105982"/>
                  <a:pt x="1591178" y="1107066"/>
                  <a:pt x="1589217" y="1108925"/>
                </a:cubicBezTo>
                <a:cubicBezTo>
                  <a:pt x="1586532" y="1111403"/>
                  <a:pt x="1586222" y="1114192"/>
                  <a:pt x="1583434" y="1118064"/>
                </a:cubicBezTo>
                <a:cubicBezTo>
                  <a:pt x="1580750" y="1120542"/>
                  <a:pt x="1579407" y="1121627"/>
                  <a:pt x="1578271" y="1120232"/>
                </a:cubicBezTo>
                <a:cubicBezTo>
                  <a:pt x="1578271" y="1120232"/>
                  <a:pt x="1578168" y="1120232"/>
                  <a:pt x="1572593" y="1127977"/>
                </a:cubicBezTo>
                <a:cubicBezTo>
                  <a:pt x="1571250" y="1129216"/>
                  <a:pt x="1570011" y="1129062"/>
                  <a:pt x="1570011" y="1129062"/>
                </a:cubicBezTo>
                <a:cubicBezTo>
                  <a:pt x="1570011" y="1129062"/>
                  <a:pt x="1570011" y="1129062"/>
                  <a:pt x="1571457" y="1126583"/>
                </a:cubicBezTo>
                <a:cubicBezTo>
                  <a:pt x="1571457" y="1126583"/>
                  <a:pt x="1572799" y="1125189"/>
                  <a:pt x="1574141" y="1123950"/>
                </a:cubicBezTo>
                <a:cubicBezTo>
                  <a:pt x="1574141" y="1123950"/>
                  <a:pt x="1574244" y="1122711"/>
                  <a:pt x="1574348" y="1121317"/>
                </a:cubicBezTo>
                <a:cubicBezTo>
                  <a:pt x="1575690" y="1120077"/>
                  <a:pt x="1575587" y="1122711"/>
                  <a:pt x="1577032" y="1120232"/>
                </a:cubicBezTo>
                <a:cubicBezTo>
                  <a:pt x="1577032" y="1120232"/>
                  <a:pt x="1577652" y="1110784"/>
                  <a:pt x="1577549" y="1112178"/>
                </a:cubicBezTo>
                <a:cubicBezTo>
                  <a:pt x="1580233" y="1109699"/>
                  <a:pt x="1584054" y="1108615"/>
                  <a:pt x="1585499" y="1105982"/>
                </a:cubicBezTo>
                <a:cubicBezTo>
                  <a:pt x="1589630" y="1102264"/>
                  <a:pt x="1589939" y="1096998"/>
                  <a:pt x="1586532" y="1091422"/>
                </a:cubicBezTo>
                <a:cubicBezTo>
                  <a:pt x="1580440" y="1086930"/>
                  <a:pt x="1567946" y="1084606"/>
                  <a:pt x="1565158" y="1088324"/>
                </a:cubicBezTo>
                <a:cubicBezTo>
                  <a:pt x="1560511" y="1081353"/>
                  <a:pt x="1561854" y="1061372"/>
                  <a:pt x="1559479" y="1059823"/>
                </a:cubicBezTo>
                <a:cubicBezTo>
                  <a:pt x="1558859" y="1059358"/>
                  <a:pt x="1557827" y="1059203"/>
                  <a:pt x="1556691" y="1058893"/>
                </a:cubicBezTo>
                <a:lnTo>
                  <a:pt x="1554936" y="1058739"/>
                </a:lnTo>
                <a:lnTo>
                  <a:pt x="1553697" y="1060442"/>
                </a:lnTo>
                <a:cubicBezTo>
                  <a:pt x="1551941" y="1061682"/>
                  <a:pt x="1549463" y="1061682"/>
                  <a:pt x="1546159" y="1061991"/>
                </a:cubicBezTo>
                <a:cubicBezTo>
                  <a:pt x="1546882" y="1061682"/>
                  <a:pt x="1545746" y="1061217"/>
                  <a:pt x="1545746" y="1061217"/>
                </a:cubicBezTo>
                <a:cubicBezTo>
                  <a:pt x="1543268" y="1060442"/>
                  <a:pt x="1545333" y="1065399"/>
                  <a:pt x="1542132" y="1065089"/>
                </a:cubicBezTo>
                <a:cubicBezTo>
                  <a:pt x="1537072" y="1064005"/>
                  <a:pt x="1535007" y="1058119"/>
                  <a:pt x="1534078" y="1054866"/>
                </a:cubicBezTo>
                <a:lnTo>
                  <a:pt x="1533562" y="1053008"/>
                </a:lnTo>
                <a:lnTo>
                  <a:pt x="1532839" y="1053472"/>
                </a:lnTo>
                <a:lnTo>
                  <a:pt x="1533149" y="1052233"/>
                </a:lnTo>
                <a:lnTo>
                  <a:pt x="1533045" y="1052078"/>
                </a:lnTo>
                <a:cubicBezTo>
                  <a:pt x="1533768" y="1051613"/>
                  <a:pt x="1533355" y="1050839"/>
                  <a:pt x="1532632" y="1051304"/>
                </a:cubicBezTo>
                <a:cubicBezTo>
                  <a:pt x="1532632" y="1049754"/>
                  <a:pt x="1532632" y="1048516"/>
                  <a:pt x="1532942" y="1047741"/>
                </a:cubicBezTo>
                <a:cubicBezTo>
                  <a:pt x="1533252" y="1046966"/>
                  <a:pt x="1533768" y="1046812"/>
                  <a:pt x="1534904" y="1047121"/>
                </a:cubicBezTo>
                <a:cubicBezTo>
                  <a:pt x="1536866" y="1047121"/>
                  <a:pt x="1537072" y="1048980"/>
                  <a:pt x="1539550" y="1049600"/>
                </a:cubicBezTo>
                <a:cubicBezTo>
                  <a:pt x="1541719" y="1050064"/>
                  <a:pt x="1542958" y="1048051"/>
                  <a:pt x="1544816" y="1046347"/>
                </a:cubicBezTo>
                <a:lnTo>
                  <a:pt x="1546572" y="1045108"/>
                </a:lnTo>
                <a:lnTo>
                  <a:pt x="1546469" y="1044024"/>
                </a:lnTo>
                <a:cubicBezTo>
                  <a:pt x="1545230" y="1044024"/>
                  <a:pt x="1543577" y="1049135"/>
                  <a:pt x="1539964" y="1046192"/>
                </a:cubicBezTo>
                <a:cubicBezTo>
                  <a:pt x="1537589" y="1043404"/>
                  <a:pt x="1538931" y="1042165"/>
                  <a:pt x="1539034" y="1040771"/>
                </a:cubicBezTo>
                <a:cubicBezTo>
                  <a:pt x="1543164" y="1035814"/>
                  <a:pt x="1545539" y="1039996"/>
                  <a:pt x="1548224" y="1037518"/>
                </a:cubicBezTo>
                <a:cubicBezTo>
                  <a:pt x="1544816" y="1031786"/>
                  <a:pt x="1545230" y="1023887"/>
                  <a:pt x="1542958" y="1020944"/>
                </a:cubicBezTo>
                <a:cubicBezTo>
                  <a:pt x="1540480" y="1019395"/>
                  <a:pt x="1530258" y="1021253"/>
                  <a:pt x="1528915" y="1022493"/>
                </a:cubicBezTo>
                <a:cubicBezTo>
                  <a:pt x="1528192" y="1023267"/>
                  <a:pt x="1527986" y="1024197"/>
                  <a:pt x="1527986" y="1025281"/>
                </a:cubicBezTo>
                <a:lnTo>
                  <a:pt x="1528399" y="1028224"/>
                </a:lnTo>
                <a:lnTo>
                  <a:pt x="1529328" y="1028224"/>
                </a:lnTo>
                <a:lnTo>
                  <a:pt x="1533149" y="1030083"/>
                </a:lnTo>
                <a:lnTo>
                  <a:pt x="1533665" y="1028688"/>
                </a:lnTo>
                <a:cubicBezTo>
                  <a:pt x="1534697" y="1028069"/>
                  <a:pt x="1536143" y="1027605"/>
                  <a:pt x="1537485" y="1027295"/>
                </a:cubicBezTo>
                <a:cubicBezTo>
                  <a:pt x="1536763" y="1027759"/>
                  <a:pt x="1536763" y="1027759"/>
                  <a:pt x="1536763" y="1027759"/>
                </a:cubicBezTo>
                <a:cubicBezTo>
                  <a:pt x="1536556" y="1028844"/>
                  <a:pt x="1537279" y="1028534"/>
                  <a:pt x="1537692" y="1029153"/>
                </a:cubicBezTo>
                <a:cubicBezTo>
                  <a:pt x="1537692" y="1029153"/>
                  <a:pt x="1537279" y="1028534"/>
                  <a:pt x="1538518" y="1028844"/>
                </a:cubicBezTo>
                <a:cubicBezTo>
                  <a:pt x="1537692" y="1029153"/>
                  <a:pt x="1538208" y="1029928"/>
                  <a:pt x="1538621" y="1030702"/>
                </a:cubicBezTo>
                <a:cubicBezTo>
                  <a:pt x="1538105" y="1033026"/>
                  <a:pt x="1536763" y="1035659"/>
                  <a:pt x="1534801" y="1035659"/>
                </a:cubicBezTo>
                <a:lnTo>
                  <a:pt x="1533149" y="1034420"/>
                </a:lnTo>
                <a:lnTo>
                  <a:pt x="1533045" y="1036588"/>
                </a:lnTo>
                <a:cubicBezTo>
                  <a:pt x="1532839" y="1037363"/>
                  <a:pt x="1532426" y="1037983"/>
                  <a:pt x="1531600" y="1038602"/>
                </a:cubicBezTo>
                <a:lnTo>
                  <a:pt x="1528399" y="1041235"/>
                </a:lnTo>
                <a:lnTo>
                  <a:pt x="1529948" y="1042319"/>
                </a:lnTo>
                <a:cubicBezTo>
                  <a:pt x="1530567" y="1042785"/>
                  <a:pt x="1530980" y="1043559"/>
                  <a:pt x="1531083" y="1044333"/>
                </a:cubicBezTo>
                <a:cubicBezTo>
                  <a:pt x="1531083" y="1044953"/>
                  <a:pt x="1530980" y="1045573"/>
                  <a:pt x="1530567" y="1046347"/>
                </a:cubicBezTo>
                <a:cubicBezTo>
                  <a:pt x="1530567" y="1046347"/>
                  <a:pt x="1530567" y="1046347"/>
                  <a:pt x="1529741" y="1046502"/>
                </a:cubicBezTo>
                <a:cubicBezTo>
                  <a:pt x="1528192" y="1046966"/>
                  <a:pt x="1527366" y="1047121"/>
                  <a:pt x="1526540" y="1047431"/>
                </a:cubicBezTo>
                <a:cubicBezTo>
                  <a:pt x="1526024" y="1047121"/>
                  <a:pt x="1525095" y="1046502"/>
                  <a:pt x="1524372" y="1045728"/>
                </a:cubicBezTo>
                <a:lnTo>
                  <a:pt x="1523442" y="1043869"/>
                </a:lnTo>
                <a:lnTo>
                  <a:pt x="1522513" y="1044178"/>
                </a:lnTo>
                <a:cubicBezTo>
                  <a:pt x="1520138" y="1044333"/>
                  <a:pt x="1518176" y="1043249"/>
                  <a:pt x="1515285" y="1041855"/>
                </a:cubicBezTo>
                <a:cubicBezTo>
                  <a:pt x="1516214" y="1041855"/>
                  <a:pt x="1515492" y="1040925"/>
                  <a:pt x="1515492" y="1040925"/>
                </a:cubicBezTo>
                <a:cubicBezTo>
                  <a:pt x="1513943" y="1039221"/>
                  <a:pt x="1512291" y="1044178"/>
                  <a:pt x="1509916" y="1042319"/>
                </a:cubicBezTo>
                <a:cubicBezTo>
                  <a:pt x="1508264" y="1040616"/>
                  <a:pt x="1507954" y="1038292"/>
                  <a:pt x="1508367" y="1035969"/>
                </a:cubicBezTo>
                <a:cubicBezTo>
                  <a:pt x="1508677" y="1033645"/>
                  <a:pt x="1509709" y="1031477"/>
                  <a:pt x="1510432" y="1029928"/>
                </a:cubicBezTo>
                <a:lnTo>
                  <a:pt x="1511362" y="1028224"/>
                </a:lnTo>
                <a:lnTo>
                  <a:pt x="1510432" y="1028224"/>
                </a:lnTo>
                <a:lnTo>
                  <a:pt x="1511465" y="1027295"/>
                </a:lnTo>
                <a:lnTo>
                  <a:pt x="1511362" y="1027295"/>
                </a:lnTo>
                <a:cubicBezTo>
                  <a:pt x="1506612" y="1027295"/>
                  <a:pt x="1502585" y="1026675"/>
                  <a:pt x="1501965" y="1026055"/>
                </a:cubicBezTo>
                <a:cubicBezTo>
                  <a:pt x="1505889" y="1023887"/>
                  <a:pt x="1509709" y="1022028"/>
                  <a:pt x="1513220" y="1020169"/>
                </a:cubicBezTo>
                <a:lnTo>
                  <a:pt x="1522616" y="1015368"/>
                </a:lnTo>
                <a:lnTo>
                  <a:pt x="1522513" y="1015058"/>
                </a:lnTo>
                <a:lnTo>
                  <a:pt x="1522720" y="1015368"/>
                </a:lnTo>
                <a:lnTo>
                  <a:pt x="1523236" y="1015058"/>
                </a:lnTo>
                <a:lnTo>
                  <a:pt x="1524165" y="1014593"/>
                </a:lnTo>
                <a:lnTo>
                  <a:pt x="1523546" y="1012270"/>
                </a:lnTo>
                <a:cubicBezTo>
                  <a:pt x="1523856" y="1011650"/>
                  <a:pt x="1524372" y="1011030"/>
                  <a:pt x="1524888" y="1010566"/>
                </a:cubicBezTo>
                <a:cubicBezTo>
                  <a:pt x="1525507" y="1009327"/>
                  <a:pt x="1526747" y="1008707"/>
                  <a:pt x="1528089" y="1008707"/>
                </a:cubicBezTo>
                <a:lnTo>
                  <a:pt x="1529018" y="1008862"/>
                </a:lnTo>
                <a:lnTo>
                  <a:pt x="1528399" y="1008242"/>
                </a:lnTo>
                <a:cubicBezTo>
                  <a:pt x="1527986" y="1007158"/>
                  <a:pt x="1527986" y="1005919"/>
                  <a:pt x="1528192" y="1004835"/>
                </a:cubicBezTo>
                <a:cubicBezTo>
                  <a:pt x="1528089" y="1003906"/>
                  <a:pt x="1528709" y="1003131"/>
                  <a:pt x="1529431" y="1002666"/>
                </a:cubicBezTo>
                <a:cubicBezTo>
                  <a:pt x="1530258" y="1002047"/>
                  <a:pt x="1531290" y="1001737"/>
                  <a:pt x="1532219" y="1001737"/>
                </a:cubicBezTo>
                <a:cubicBezTo>
                  <a:pt x="1533458" y="1002201"/>
                  <a:pt x="1533458" y="1002201"/>
                  <a:pt x="1534594" y="1002511"/>
                </a:cubicBezTo>
                <a:cubicBezTo>
                  <a:pt x="1535110" y="1003286"/>
                  <a:pt x="1535627" y="1003906"/>
                  <a:pt x="1536246" y="1004680"/>
                </a:cubicBezTo>
                <a:lnTo>
                  <a:pt x="1536969" y="1006229"/>
                </a:lnTo>
                <a:lnTo>
                  <a:pt x="1537589" y="1005764"/>
                </a:lnTo>
                <a:cubicBezTo>
                  <a:pt x="1540480" y="1001892"/>
                  <a:pt x="1539137" y="1001892"/>
                  <a:pt x="1536866" y="997709"/>
                </a:cubicBezTo>
                <a:cubicBezTo>
                  <a:pt x="1536866" y="997709"/>
                  <a:pt x="1536969" y="997555"/>
                  <a:pt x="1536246" y="988106"/>
                </a:cubicBezTo>
                <a:cubicBezTo>
                  <a:pt x="1537898" y="982995"/>
                  <a:pt x="1536969" y="978812"/>
                  <a:pt x="1537175" y="974785"/>
                </a:cubicBezTo>
                <a:cubicBezTo>
                  <a:pt x="1537175" y="974785"/>
                  <a:pt x="1537175" y="974785"/>
                  <a:pt x="1530051" y="967660"/>
                </a:cubicBezTo>
                <a:cubicBezTo>
                  <a:pt x="1521584" y="960225"/>
                  <a:pt x="1507541" y="961928"/>
                  <a:pt x="1507541" y="961928"/>
                </a:cubicBezTo>
                <a:cubicBezTo>
                  <a:pt x="1506199" y="961773"/>
                  <a:pt x="1497422" y="959760"/>
                  <a:pt x="1497422" y="961154"/>
                </a:cubicBezTo>
                <a:cubicBezTo>
                  <a:pt x="1496286" y="958366"/>
                  <a:pt x="1493911" y="956817"/>
                  <a:pt x="1492775" y="954183"/>
                </a:cubicBezTo>
                <a:cubicBezTo>
                  <a:pt x="1499590" y="947833"/>
                  <a:pt x="1531393" y="966420"/>
                  <a:pt x="1538311" y="957437"/>
                </a:cubicBezTo>
                <a:cubicBezTo>
                  <a:pt x="1541099" y="954958"/>
                  <a:pt x="1536969" y="939933"/>
                  <a:pt x="1538311" y="938694"/>
                </a:cubicBezTo>
                <a:lnTo>
                  <a:pt x="1533768" y="935131"/>
                </a:lnTo>
                <a:lnTo>
                  <a:pt x="1532116" y="936061"/>
                </a:lnTo>
                <a:cubicBezTo>
                  <a:pt x="1530464" y="935906"/>
                  <a:pt x="1528812" y="934667"/>
                  <a:pt x="1528192" y="932034"/>
                </a:cubicBezTo>
                <a:lnTo>
                  <a:pt x="1529535" y="931724"/>
                </a:lnTo>
                <a:lnTo>
                  <a:pt x="1529535" y="931569"/>
                </a:lnTo>
                <a:cubicBezTo>
                  <a:pt x="1528192" y="930330"/>
                  <a:pt x="1524681" y="928626"/>
                  <a:pt x="1527779" y="925838"/>
                </a:cubicBezTo>
                <a:cubicBezTo>
                  <a:pt x="1530567" y="921965"/>
                  <a:pt x="1543164" y="924134"/>
                  <a:pt x="1544507" y="922894"/>
                </a:cubicBezTo>
                <a:cubicBezTo>
                  <a:pt x="1550599" y="916389"/>
                  <a:pt x="1545436" y="908180"/>
                  <a:pt x="1544197" y="902913"/>
                </a:cubicBezTo>
                <a:lnTo>
                  <a:pt x="1544300" y="902293"/>
                </a:lnTo>
                <a:lnTo>
                  <a:pt x="1541512" y="900435"/>
                </a:lnTo>
                <a:cubicBezTo>
                  <a:pt x="1537175" y="898111"/>
                  <a:pt x="1532839" y="896407"/>
                  <a:pt x="1528502" y="893929"/>
                </a:cubicBezTo>
                <a:lnTo>
                  <a:pt x="1527160" y="893000"/>
                </a:lnTo>
                <a:lnTo>
                  <a:pt x="1525301" y="895788"/>
                </a:lnTo>
                <a:lnTo>
                  <a:pt x="1524372" y="895478"/>
                </a:lnTo>
                <a:lnTo>
                  <a:pt x="1524268" y="896562"/>
                </a:lnTo>
                <a:cubicBezTo>
                  <a:pt x="1524062" y="897492"/>
                  <a:pt x="1523546" y="898266"/>
                  <a:pt x="1522720" y="899195"/>
                </a:cubicBezTo>
                <a:cubicBezTo>
                  <a:pt x="1519932" y="901829"/>
                  <a:pt x="1513839" y="903842"/>
                  <a:pt x="1511362" y="901364"/>
                </a:cubicBezTo>
                <a:cubicBezTo>
                  <a:pt x="1508058" y="899040"/>
                  <a:pt x="1507231" y="896562"/>
                  <a:pt x="1507334" y="893929"/>
                </a:cubicBezTo>
                <a:cubicBezTo>
                  <a:pt x="1507334" y="893929"/>
                  <a:pt x="1507438" y="893929"/>
                  <a:pt x="1507334" y="894859"/>
                </a:cubicBezTo>
                <a:cubicBezTo>
                  <a:pt x="1503721" y="898421"/>
                  <a:pt x="1497422" y="904462"/>
                  <a:pt x="1494840" y="903842"/>
                </a:cubicBezTo>
                <a:cubicBezTo>
                  <a:pt x="1494944" y="902913"/>
                  <a:pt x="1494944" y="902138"/>
                  <a:pt x="1495873" y="901209"/>
                </a:cubicBezTo>
                <a:cubicBezTo>
                  <a:pt x="1496699" y="900280"/>
                  <a:pt x="1496699" y="901209"/>
                  <a:pt x="1496699" y="900435"/>
                </a:cubicBezTo>
                <a:cubicBezTo>
                  <a:pt x="1497629" y="899505"/>
                  <a:pt x="1496802" y="899505"/>
                  <a:pt x="1496802" y="899505"/>
                </a:cubicBezTo>
                <a:cubicBezTo>
                  <a:pt x="1496802" y="899505"/>
                  <a:pt x="1497629" y="899505"/>
                  <a:pt x="1497629" y="899505"/>
                </a:cubicBezTo>
                <a:cubicBezTo>
                  <a:pt x="1497629" y="899505"/>
                  <a:pt x="1497629" y="899505"/>
                  <a:pt x="1499487" y="897647"/>
                </a:cubicBezTo>
                <a:cubicBezTo>
                  <a:pt x="1501242" y="895168"/>
                  <a:pt x="1501346" y="894239"/>
                  <a:pt x="1502275" y="892535"/>
                </a:cubicBezTo>
                <a:cubicBezTo>
                  <a:pt x="1504134" y="890676"/>
                  <a:pt x="1504960" y="890676"/>
                  <a:pt x="1507644" y="888817"/>
                </a:cubicBezTo>
                <a:cubicBezTo>
                  <a:pt x="1509297" y="889592"/>
                  <a:pt x="1509297" y="889592"/>
                  <a:pt x="1509297" y="890521"/>
                </a:cubicBezTo>
                <a:cubicBezTo>
                  <a:pt x="1509297" y="889592"/>
                  <a:pt x="1510123" y="889592"/>
                  <a:pt x="1511052" y="888817"/>
                </a:cubicBezTo>
                <a:cubicBezTo>
                  <a:pt x="1512497" y="886649"/>
                  <a:pt x="1514253" y="885874"/>
                  <a:pt x="1516111" y="886184"/>
                </a:cubicBezTo>
                <a:lnTo>
                  <a:pt x="1520448" y="888198"/>
                </a:lnTo>
                <a:lnTo>
                  <a:pt x="1520655" y="888043"/>
                </a:lnTo>
                <a:lnTo>
                  <a:pt x="1515802" y="883241"/>
                </a:lnTo>
                <a:cubicBezTo>
                  <a:pt x="1524062" y="878130"/>
                  <a:pt x="1541616" y="885719"/>
                  <a:pt x="1548121" y="895788"/>
                </a:cubicBezTo>
                <a:lnTo>
                  <a:pt x="1548843" y="897182"/>
                </a:lnTo>
                <a:lnTo>
                  <a:pt x="1554523" y="896252"/>
                </a:lnTo>
                <a:cubicBezTo>
                  <a:pt x="1559066" y="895788"/>
                  <a:pt x="1563506" y="895478"/>
                  <a:pt x="1564126" y="894859"/>
                </a:cubicBezTo>
                <a:cubicBezTo>
                  <a:pt x="1571044" y="887269"/>
                  <a:pt x="1558653" y="882312"/>
                  <a:pt x="1561751" y="874567"/>
                </a:cubicBezTo>
                <a:cubicBezTo>
                  <a:pt x="1562886" y="875961"/>
                  <a:pt x="1564332" y="873328"/>
                  <a:pt x="1566707" y="874877"/>
                </a:cubicBezTo>
                <a:cubicBezTo>
                  <a:pt x="1568049" y="875032"/>
                  <a:pt x="1567842" y="877665"/>
                  <a:pt x="1570321" y="877820"/>
                </a:cubicBezTo>
                <a:cubicBezTo>
                  <a:pt x="1577445" y="885100"/>
                  <a:pt x="1583641" y="869301"/>
                  <a:pt x="1586016" y="872244"/>
                </a:cubicBezTo>
                <a:cubicBezTo>
                  <a:pt x="1588804" y="868371"/>
                  <a:pt x="1591695" y="863259"/>
                  <a:pt x="1585603" y="858768"/>
                </a:cubicBezTo>
                <a:cubicBezTo>
                  <a:pt x="1585706" y="857528"/>
                  <a:pt x="1583228" y="857219"/>
                  <a:pt x="1583228" y="857219"/>
                </a:cubicBezTo>
                <a:cubicBezTo>
                  <a:pt x="1584673" y="854740"/>
                  <a:pt x="1580956" y="853036"/>
                  <a:pt x="1579820" y="851642"/>
                </a:cubicBezTo>
                <a:cubicBezTo>
                  <a:pt x="1579820" y="851642"/>
                  <a:pt x="1579717" y="851642"/>
                  <a:pt x="1582505" y="847770"/>
                </a:cubicBezTo>
                <a:cubicBezTo>
                  <a:pt x="1586119" y="850868"/>
                  <a:pt x="1585190" y="846686"/>
                  <a:pt x="1588804" y="849628"/>
                </a:cubicBezTo>
                <a:cubicBezTo>
                  <a:pt x="1588804" y="849628"/>
                  <a:pt x="1588804" y="849628"/>
                  <a:pt x="1592314" y="853966"/>
                </a:cubicBezTo>
                <a:cubicBezTo>
                  <a:pt x="1592314" y="855205"/>
                  <a:pt x="1592211" y="855205"/>
                  <a:pt x="1593347" y="856754"/>
                </a:cubicBezTo>
                <a:cubicBezTo>
                  <a:pt x="1599336" y="862485"/>
                  <a:pt x="1602021" y="860007"/>
                  <a:pt x="1604911" y="856134"/>
                </a:cubicBezTo>
                <a:cubicBezTo>
                  <a:pt x="1607700" y="852417"/>
                  <a:pt x="1608216" y="844362"/>
                  <a:pt x="1608319" y="842968"/>
                </a:cubicBezTo>
                <a:cubicBezTo>
                  <a:pt x="1613379" y="843433"/>
                  <a:pt x="1621742" y="850713"/>
                  <a:pt x="1628557" y="844517"/>
                </a:cubicBezTo>
                <a:cubicBezTo>
                  <a:pt x="1631345" y="840645"/>
                  <a:pt x="1619264" y="831660"/>
                  <a:pt x="1624737" y="825465"/>
                </a:cubicBezTo>
                <a:cubicBezTo>
                  <a:pt x="1626182" y="822831"/>
                  <a:pt x="1628764" y="822987"/>
                  <a:pt x="1629796" y="825775"/>
                </a:cubicBezTo>
                <a:cubicBezTo>
                  <a:pt x="1633513" y="827324"/>
                  <a:pt x="1634546" y="831506"/>
                  <a:pt x="1632997" y="835378"/>
                </a:cubicBezTo>
                <a:cubicBezTo>
                  <a:pt x="1642807" y="840180"/>
                  <a:pt x="1651687" y="840799"/>
                  <a:pt x="1657263" y="833210"/>
                </a:cubicBezTo>
                <a:cubicBezTo>
                  <a:pt x="1664181" y="824225"/>
                  <a:pt x="1660567" y="821283"/>
                  <a:pt x="1663768" y="812144"/>
                </a:cubicBezTo>
                <a:cubicBezTo>
                  <a:pt x="1664904" y="813538"/>
                  <a:pt x="1666143" y="814932"/>
                  <a:pt x="1667278" y="816481"/>
                </a:cubicBezTo>
                <a:cubicBezTo>
                  <a:pt x="1668517" y="817875"/>
                  <a:pt x="1668517" y="817875"/>
                  <a:pt x="1669757" y="818030"/>
                </a:cubicBezTo>
                <a:cubicBezTo>
                  <a:pt x="1672544" y="814158"/>
                  <a:pt x="1670170" y="811214"/>
                  <a:pt x="1673061" y="806103"/>
                </a:cubicBezTo>
                <a:lnTo>
                  <a:pt x="1674816" y="813228"/>
                </a:lnTo>
                <a:lnTo>
                  <a:pt x="1677088" y="810440"/>
                </a:lnTo>
                <a:cubicBezTo>
                  <a:pt x="1680185" y="811834"/>
                  <a:pt x="1682973" y="814312"/>
                  <a:pt x="1685038" y="817410"/>
                </a:cubicBezTo>
                <a:lnTo>
                  <a:pt x="1687207" y="822677"/>
                </a:lnTo>
                <a:lnTo>
                  <a:pt x="1689685" y="823451"/>
                </a:lnTo>
                <a:cubicBezTo>
                  <a:pt x="1692060" y="826394"/>
                  <a:pt x="1690408" y="831660"/>
                  <a:pt x="1694022" y="834604"/>
                </a:cubicBezTo>
                <a:cubicBezTo>
                  <a:pt x="1694022" y="834604"/>
                  <a:pt x="1708374" y="847615"/>
                  <a:pt x="1712505" y="842659"/>
                </a:cubicBezTo>
                <a:cubicBezTo>
                  <a:pt x="1718080" y="836308"/>
                  <a:pt x="1715293" y="821283"/>
                  <a:pt x="1719320" y="817565"/>
                </a:cubicBezTo>
                <a:cubicBezTo>
                  <a:pt x="1720765" y="814932"/>
                  <a:pt x="1723243" y="816481"/>
                  <a:pt x="1724379" y="818030"/>
                </a:cubicBezTo>
                <a:cubicBezTo>
                  <a:pt x="1724379" y="818030"/>
                  <a:pt x="1722933" y="829182"/>
                  <a:pt x="1725205" y="837857"/>
                </a:cubicBezTo>
                <a:lnTo>
                  <a:pt x="1727993" y="843278"/>
                </a:lnTo>
                <a:lnTo>
                  <a:pt x="1728922" y="841419"/>
                </a:lnTo>
                <a:cubicBezTo>
                  <a:pt x="1729645" y="842348"/>
                  <a:pt x="1729748" y="841574"/>
                  <a:pt x="1730574" y="841574"/>
                </a:cubicBezTo>
                <a:cubicBezTo>
                  <a:pt x="1730162" y="842039"/>
                  <a:pt x="1729748" y="842813"/>
                  <a:pt x="1729439" y="843743"/>
                </a:cubicBezTo>
                <a:lnTo>
                  <a:pt x="1728922" y="844982"/>
                </a:lnTo>
                <a:lnTo>
                  <a:pt x="1728922" y="845136"/>
                </a:lnTo>
                <a:cubicBezTo>
                  <a:pt x="1731401" y="846686"/>
                  <a:pt x="1732846" y="844052"/>
                  <a:pt x="1733982" y="845602"/>
                </a:cubicBezTo>
                <a:cubicBezTo>
                  <a:pt x="1735221" y="845602"/>
                  <a:pt x="1735118" y="846995"/>
                  <a:pt x="1735118" y="848235"/>
                </a:cubicBezTo>
                <a:cubicBezTo>
                  <a:pt x="1736357" y="848390"/>
                  <a:pt x="1737596" y="849783"/>
                  <a:pt x="1738835" y="849938"/>
                </a:cubicBezTo>
                <a:cubicBezTo>
                  <a:pt x="1738835" y="849938"/>
                  <a:pt x="1742036" y="858148"/>
                  <a:pt x="1741933" y="859542"/>
                </a:cubicBezTo>
                <a:cubicBezTo>
                  <a:pt x="1741933" y="859542"/>
                  <a:pt x="1746786" y="861401"/>
                  <a:pt x="1750400" y="860781"/>
                </a:cubicBezTo>
                <a:lnTo>
                  <a:pt x="1752362" y="859697"/>
                </a:lnTo>
                <a:lnTo>
                  <a:pt x="1752362" y="857993"/>
                </a:lnTo>
                <a:lnTo>
                  <a:pt x="1751432" y="857993"/>
                </a:lnTo>
                <a:cubicBezTo>
                  <a:pt x="1750090" y="857838"/>
                  <a:pt x="1748954" y="857528"/>
                  <a:pt x="1748128" y="857219"/>
                </a:cubicBezTo>
                <a:cubicBezTo>
                  <a:pt x="1748438" y="856599"/>
                  <a:pt x="1749161" y="856134"/>
                  <a:pt x="1750193" y="855980"/>
                </a:cubicBezTo>
                <a:lnTo>
                  <a:pt x="1752465" y="855825"/>
                </a:lnTo>
                <a:lnTo>
                  <a:pt x="1752465" y="853656"/>
                </a:lnTo>
                <a:cubicBezTo>
                  <a:pt x="1753188" y="850713"/>
                  <a:pt x="1755046" y="847770"/>
                  <a:pt x="1758247" y="845136"/>
                </a:cubicBezTo>
                <a:cubicBezTo>
                  <a:pt x="1762997" y="843123"/>
                  <a:pt x="1769915" y="848699"/>
                  <a:pt x="1772497" y="854430"/>
                </a:cubicBezTo>
                <a:lnTo>
                  <a:pt x="1772703" y="855825"/>
                </a:lnTo>
                <a:lnTo>
                  <a:pt x="1773839" y="855050"/>
                </a:lnTo>
                <a:cubicBezTo>
                  <a:pt x="1778382" y="853191"/>
                  <a:pt x="1781686" y="854895"/>
                  <a:pt x="1784784" y="851952"/>
                </a:cubicBezTo>
                <a:cubicBezTo>
                  <a:pt x="1785404" y="853656"/>
                  <a:pt x="1785404" y="853656"/>
                  <a:pt x="1784268" y="855360"/>
                </a:cubicBezTo>
                <a:cubicBezTo>
                  <a:pt x="1783441" y="855205"/>
                  <a:pt x="1783235" y="856134"/>
                  <a:pt x="1782512" y="855205"/>
                </a:cubicBezTo>
                <a:cubicBezTo>
                  <a:pt x="1781480" y="856444"/>
                  <a:pt x="1778899" y="857528"/>
                  <a:pt x="1776214" y="858303"/>
                </a:cubicBezTo>
                <a:lnTo>
                  <a:pt x="1773219" y="858613"/>
                </a:lnTo>
                <a:lnTo>
                  <a:pt x="1773426" y="859852"/>
                </a:lnTo>
                <a:lnTo>
                  <a:pt x="1771567" y="861711"/>
                </a:lnTo>
                <a:lnTo>
                  <a:pt x="1774562" y="861556"/>
                </a:lnTo>
                <a:cubicBezTo>
                  <a:pt x="1776110" y="861246"/>
                  <a:pt x="1777866" y="860626"/>
                  <a:pt x="1779415" y="860626"/>
                </a:cubicBezTo>
                <a:lnTo>
                  <a:pt x="1781820" y="860976"/>
                </a:lnTo>
                <a:lnTo>
                  <a:pt x="1782512" y="861865"/>
                </a:lnTo>
                <a:cubicBezTo>
                  <a:pt x="1778899" y="863415"/>
                  <a:pt x="1774252" y="863104"/>
                  <a:pt x="1771670" y="862950"/>
                </a:cubicBezTo>
                <a:lnTo>
                  <a:pt x="1770638" y="862795"/>
                </a:lnTo>
                <a:lnTo>
                  <a:pt x="1765785" y="867906"/>
                </a:lnTo>
                <a:lnTo>
                  <a:pt x="1761241" y="867132"/>
                </a:lnTo>
                <a:lnTo>
                  <a:pt x="1761035" y="867906"/>
                </a:lnTo>
                <a:cubicBezTo>
                  <a:pt x="1761138" y="869610"/>
                  <a:pt x="1761861" y="871469"/>
                  <a:pt x="1763926" y="873328"/>
                </a:cubicBezTo>
                <a:cubicBezTo>
                  <a:pt x="1766301" y="876116"/>
                  <a:pt x="1767437" y="877510"/>
                  <a:pt x="1768779" y="876271"/>
                </a:cubicBezTo>
                <a:cubicBezTo>
                  <a:pt x="1768676" y="877665"/>
                  <a:pt x="1770018" y="877665"/>
                  <a:pt x="1769915" y="879059"/>
                </a:cubicBezTo>
                <a:cubicBezTo>
                  <a:pt x="1769812" y="880453"/>
                  <a:pt x="1798827" y="883861"/>
                  <a:pt x="1800066" y="884015"/>
                </a:cubicBezTo>
                <a:cubicBezTo>
                  <a:pt x="1806055" y="889747"/>
                  <a:pt x="1803783" y="895633"/>
                  <a:pt x="1801615" y="901519"/>
                </a:cubicBezTo>
                <a:lnTo>
                  <a:pt x="1800479" y="906321"/>
                </a:lnTo>
                <a:lnTo>
                  <a:pt x="1805126" y="907095"/>
                </a:lnTo>
                <a:cubicBezTo>
                  <a:pt x="1806571" y="906321"/>
                  <a:pt x="1807707" y="904617"/>
                  <a:pt x="1808842" y="902293"/>
                </a:cubicBezTo>
                <a:cubicBezTo>
                  <a:pt x="1810392" y="899970"/>
                  <a:pt x="1811011" y="897182"/>
                  <a:pt x="1812147" y="894239"/>
                </a:cubicBezTo>
                <a:cubicBezTo>
                  <a:pt x="1813179" y="892070"/>
                  <a:pt x="1813696" y="889127"/>
                  <a:pt x="1814832" y="886959"/>
                </a:cubicBezTo>
                <a:cubicBezTo>
                  <a:pt x="1815864" y="889127"/>
                  <a:pt x="1815348" y="891450"/>
                  <a:pt x="1814832" y="893774"/>
                </a:cubicBezTo>
                <a:cubicBezTo>
                  <a:pt x="1814315" y="895943"/>
                  <a:pt x="1813179" y="898885"/>
                  <a:pt x="1813179" y="901209"/>
                </a:cubicBezTo>
                <a:cubicBezTo>
                  <a:pt x="1814729" y="900589"/>
                  <a:pt x="1816897" y="898885"/>
                  <a:pt x="1817413" y="896562"/>
                </a:cubicBezTo>
                <a:cubicBezTo>
                  <a:pt x="1818549" y="894859"/>
                  <a:pt x="1818549" y="892535"/>
                  <a:pt x="1815864" y="891450"/>
                </a:cubicBezTo>
                <a:cubicBezTo>
                  <a:pt x="1819581" y="888662"/>
                  <a:pt x="1819581" y="886339"/>
                  <a:pt x="1821750" y="881692"/>
                </a:cubicBezTo>
                <a:cubicBezTo>
                  <a:pt x="1822782" y="881227"/>
                  <a:pt x="1822989" y="881227"/>
                  <a:pt x="1822989" y="881847"/>
                </a:cubicBezTo>
                <a:lnTo>
                  <a:pt x="1822472" y="883086"/>
                </a:lnTo>
                <a:lnTo>
                  <a:pt x="1826500" y="885100"/>
                </a:lnTo>
                <a:lnTo>
                  <a:pt x="1826706" y="885410"/>
                </a:lnTo>
                <a:lnTo>
                  <a:pt x="1828978" y="882312"/>
                </a:lnTo>
                <a:cubicBezTo>
                  <a:pt x="1831249" y="878594"/>
                  <a:pt x="1832902" y="874877"/>
                  <a:pt x="1833108" y="874412"/>
                </a:cubicBezTo>
                <a:cubicBezTo>
                  <a:pt x="1835276" y="871469"/>
                  <a:pt x="1836928" y="868681"/>
                  <a:pt x="1836412" y="869765"/>
                </a:cubicBezTo>
                <a:cubicBezTo>
                  <a:pt x="1839097" y="862330"/>
                  <a:pt x="1844982" y="862950"/>
                  <a:pt x="1847770" y="859542"/>
                </a:cubicBezTo>
                <a:cubicBezTo>
                  <a:pt x="1848803" y="858458"/>
                  <a:pt x="1846738" y="854430"/>
                  <a:pt x="1849423" y="851487"/>
                </a:cubicBezTo>
                <a:lnTo>
                  <a:pt x="1850352" y="850403"/>
                </a:lnTo>
                <a:lnTo>
                  <a:pt x="1848390" y="848235"/>
                </a:lnTo>
                <a:cubicBezTo>
                  <a:pt x="1843743" y="843743"/>
                  <a:pt x="1840233" y="841419"/>
                  <a:pt x="1842917" y="834759"/>
                </a:cubicBezTo>
                <a:cubicBezTo>
                  <a:pt x="1845395" y="834294"/>
                  <a:pt x="1848080" y="835998"/>
                  <a:pt x="1850765" y="838631"/>
                </a:cubicBezTo>
                <a:lnTo>
                  <a:pt x="1856031" y="844207"/>
                </a:lnTo>
                <a:lnTo>
                  <a:pt x="1862846" y="835533"/>
                </a:lnTo>
                <a:cubicBezTo>
                  <a:pt x="1863981" y="833829"/>
                  <a:pt x="1865117" y="832125"/>
                  <a:pt x="1866666" y="830422"/>
                </a:cubicBezTo>
                <a:cubicBezTo>
                  <a:pt x="1867802" y="828718"/>
                  <a:pt x="1868835" y="827014"/>
                  <a:pt x="1869867" y="825310"/>
                </a:cubicBezTo>
                <a:cubicBezTo>
                  <a:pt x="1872035" y="821283"/>
                  <a:pt x="1874307" y="817255"/>
                  <a:pt x="1875340" y="813383"/>
                </a:cubicBezTo>
                <a:cubicBezTo>
                  <a:pt x="1876992" y="813383"/>
                  <a:pt x="1878025" y="815087"/>
                  <a:pt x="1879676" y="813847"/>
                </a:cubicBezTo>
                <a:cubicBezTo>
                  <a:pt x="1881329" y="817875"/>
                  <a:pt x="1875856" y="814467"/>
                  <a:pt x="1874204" y="817875"/>
                </a:cubicBezTo>
                <a:cubicBezTo>
                  <a:pt x="1879676" y="821283"/>
                  <a:pt x="1885046" y="813383"/>
                  <a:pt x="1888350" y="808736"/>
                </a:cubicBezTo>
                <a:cubicBezTo>
                  <a:pt x="1887214" y="808736"/>
                  <a:pt x="1885562" y="810440"/>
                  <a:pt x="1884013" y="808116"/>
                </a:cubicBezTo>
                <a:cubicBezTo>
                  <a:pt x="1889383" y="804244"/>
                  <a:pt x="1902290" y="801301"/>
                  <a:pt x="1900225" y="792782"/>
                </a:cubicBezTo>
                <a:cubicBezTo>
                  <a:pt x="1900947" y="791542"/>
                  <a:pt x="1901670" y="791542"/>
                  <a:pt x="1902290" y="791852"/>
                </a:cubicBezTo>
                <a:lnTo>
                  <a:pt x="1902393" y="791852"/>
                </a:lnTo>
                <a:lnTo>
                  <a:pt x="1908278" y="786121"/>
                </a:lnTo>
                <a:lnTo>
                  <a:pt x="1909931" y="786741"/>
                </a:lnTo>
                <a:lnTo>
                  <a:pt x="1910447" y="785966"/>
                </a:lnTo>
                <a:cubicBezTo>
                  <a:pt x="1909311" y="784262"/>
                  <a:pt x="1908278" y="785347"/>
                  <a:pt x="1906626" y="785966"/>
                </a:cubicBezTo>
                <a:cubicBezTo>
                  <a:pt x="1907659" y="778531"/>
                  <a:pt x="1915300" y="780855"/>
                  <a:pt x="1918604" y="772180"/>
                </a:cubicBezTo>
                <a:cubicBezTo>
                  <a:pt x="1920772" y="776208"/>
                  <a:pt x="1924490" y="770477"/>
                  <a:pt x="1927174" y="771716"/>
                </a:cubicBezTo>
                <a:cubicBezTo>
                  <a:pt x="1929343" y="767689"/>
                  <a:pt x="1933060" y="763661"/>
                  <a:pt x="1936880" y="759169"/>
                </a:cubicBezTo>
                <a:cubicBezTo>
                  <a:pt x="1939049" y="757465"/>
                  <a:pt x="1941217" y="755142"/>
                  <a:pt x="1943386" y="752819"/>
                </a:cubicBezTo>
                <a:cubicBezTo>
                  <a:pt x="1945554" y="750650"/>
                  <a:pt x="1948238" y="748326"/>
                  <a:pt x="1950407" y="746623"/>
                </a:cubicBezTo>
                <a:cubicBezTo>
                  <a:pt x="1955260" y="741976"/>
                  <a:pt x="1960629" y="738103"/>
                  <a:pt x="1965586" y="734541"/>
                </a:cubicBezTo>
                <a:cubicBezTo>
                  <a:pt x="1970955" y="731133"/>
                  <a:pt x="1976324" y="728345"/>
                  <a:pt x="1981177" y="725402"/>
                </a:cubicBezTo>
                <a:lnTo>
                  <a:pt x="1984998" y="719516"/>
                </a:lnTo>
                <a:lnTo>
                  <a:pt x="1980351" y="719361"/>
                </a:lnTo>
                <a:cubicBezTo>
                  <a:pt x="1974362" y="715178"/>
                  <a:pt x="1977047" y="709138"/>
                  <a:pt x="1980867" y="702787"/>
                </a:cubicBezTo>
                <a:cubicBezTo>
                  <a:pt x="1983656" y="703561"/>
                  <a:pt x="1986133" y="703097"/>
                  <a:pt x="1988818" y="703716"/>
                </a:cubicBezTo>
                <a:cubicBezTo>
                  <a:pt x="1990780" y="706350"/>
                  <a:pt x="1990677" y="712545"/>
                  <a:pt x="1988612" y="716573"/>
                </a:cubicBezTo>
                <a:lnTo>
                  <a:pt x="1987992" y="717192"/>
                </a:lnTo>
                <a:lnTo>
                  <a:pt x="1992535" y="714714"/>
                </a:lnTo>
                <a:cubicBezTo>
                  <a:pt x="1996872" y="712390"/>
                  <a:pt x="2001725" y="710067"/>
                  <a:pt x="2005546" y="705575"/>
                </a:cubicBezTo>
                <a:cubicBezTo>
                  <a:pt x="2008230" y="705575"/>
                  <a:pt x="2012051" y="703871"/>
                  <a:pt x="2014219" y="707279"/>
                </a:cubicBezTo>
                <a:cubicBezTo>
                  <a:pt x="2014219" y="706040"/>
                  <a:pt x="2014735" y="705575"/>
                  <a:pt x="2014735" y="704956"/>
                </a:cubicBezTo>
                <a:cubicBezTo>
                  <a:pt x="2014735" y="704956"/>
                  <a:pt x="2014735" y="704956"/>
                  <a:pt x="2015252" y="704956"/>
                </a:cubicBezTo>
                <a:cubicBezTo>
                  <a:pt x="2017937" y="703252"/>
                  <a:pt x="2019589" y="702012"/>
                  <a:pt x="2020621" y="701548"/>
                </a:cubicBezTo>
                <a:cubicBezTo>
                  <a:pt x="2020105" y="702012"/>
                  <a:pt x="2020724" y="701548"/>
                  <a:pt x="2021240" y="701548"/>
                </a:cubicBezTo>
                <a:cubicBezTo>
                  <a:pt x="2021240" y="700928"/>
                  <a:pt x="2021240" y="700928"/>
                  <a:pt x="2021240" y="700928"/>
                </a:cubicBezTo>
                <a:cubicBezTo>
                  <a:pt x="2021240" y="700928"/>
                  <a:pt x="2021240" y="700928"/>
                  <a:pt x="2021240" y="700464"/>
                </a:cubicBezTo>
                <a:cubicBezTo>
                  <a:pt x="2021757" y="699844"/>
                  <a:pt x="2022273" y="699844"/>
                  <a:pt x="2023925" y="699844"/>
                </a:cubicBezTo>
                <a:cubicBezTo>
                  <a:pt x="2024958" y="698760"/>
                  <a:pt x="2022273" y="698760"/>
                  <a:pt x="2021757" y="695817"/>
                </a:cubicBezTo>
                <a:cubicBezTo>
                  <a:pt x="2024442" y="695197"/>
                  <a:pt x="2025474" y="692874"/>
                  <a:pt x="2026094" y="690086"/>
                </a:cubicBezTo>
                <a:cubicBezTo>
                  <a:pt x="2026094" y="688382"/>
                  <a:pt x="2026610" y="687297"/>
                  <a:pt x="2027126" y="685593"/>
                </a:cubicBezTo>
                <a:cubicBezTo>
                  <a:pt x="2027126" y="684974"/>
                  <a:pt x="2027126" y="684354"/>
                  <a:pt x="2027642" y="683889"/>
                </a:cubicBezTo>
                <a:cubicBezTo>
                  <a:pt x="2027642" y="683889"/>
                  <a:pt x="2027746" y="683889"/>
                  <a:pt x="2028262" y="683270"/>
                </a:cubicBezTo>
                <a:cubicBezTo>
                  <a:pt x="2028778" y="682650"/>
                  <a:pt x="2029295" y="682186"/>
                  <a:pt x="2030430" y="681566"/>
                </a:cubicBezTo>
                <a:cubicBezTo>
                  <a:pt x="2030430" y="682650"/>
                  <a:pt x="2030430" y="683889"/>
                  <a:pt x="2030430" y="684354"/>
                </a:cubicBezTo>
                <a:cubicBezTo>
                  <a:pt x="2030430" y="684974"/>
                  <a:pt x="2030430" y="684974"/>
                  <a:pt x="2029914" y="685593"/>
                </a:cubicBezTo>
                <a:cubicBezTo>
                  <a:pt x="2029914" y="685593"/>
                  <a:pt x="2029914" y="685593"/>
                  <a:pt x="2029914" y="686213"/>
                </a:cubicBezTo>
                <a:cubicBezTo>
                  <a:pt x="2029914" y="687297"/>
                  <a:pt x="2029295" y="687917"/>
                  <a:pt x="2028778" y="688382"/>
                </a:cubicBezTo>
                <a:cubicBezTo>
                  <a:pt x="2028262" y="689621"/>
                  <a:pt x="2027126" y="690086"/>
                  <a:pt x="2027126" y="693029"/>
                </a:cubicBezTo>
                <a:cubicBezTo>
                  <a:pt x="2028778" y="693029"/>
                  <a:pt x="2030327" y="693029"/>
                  <a:pt x="2031979" y="693029"/>
                </a:cubicBezTo>
                <a:cubicBezTo>
                  <a:pt x="2032496" y="693029"/>
                  <a:pt x="2032599" y="693029"/>
                  <a:pt x="2032599" y="693029"/>
                </a:cubicBezTo>
                <a:cubicBezTo>
                  <a:pt x="2032599" y="693029"/>
                  <a:pt x="2032599" y="693029"/>
                  <a:pt x="2033115" y="693029"/>
                </a:cubicBezTo>
                <a:cubicBezTo>
                  <a:pt x="2033115" y="693029"/>
                  <a:pt x="2033115" y="693029"/>
                  <a:pt x="2033631" y="692409"/>
                </a:cubicBezTo>
                <a:cubicBezTo>
                  <a:pt x="2034664" y="691789"/>
                  <a:pt x="2035284" y="691789"/>
                  <a:pt x="2036316" y="691325"/>
                </a:cubicBezTo>
                <a:cubicBezTo>
                  <a:pt x="2037968" y="690086"/>
                  <a:pt x="2039517" y="689001"/>
                  <a:pt x="2040653" y="687762"/>
                </a:cubicBezTo>
                <a:cubicBezTo>
                  <a:pt x="2040653" y="689001"/>
                  <a:pt x="2040136" y="690705"/>
                  <a:pt x="2040653" y="691789"/>
                </a:cubicBezTo>
                <a:cubicBezTo>
                  <a:pt x="2044370" y="684974"/>
                  <a:pt x="2052011" y="682650"/>
                  <a:pt x="2061201" y="680482"/>
                </a:cubicBezTo>
                <a:cubicBezTo>
                  <a:pt x="2063266" y="678778"/>
                  <a:pt x="2060169" y="679243"/>
                  <a:pt x="2060169" y="677074"/>
                </a:cubicBezTo>
                <a:cubicBezTo>
                  <a:pt x="2060169" y="677074"/>
                  <a:pt x="2060065" y="676919"/>
                  <a:pt x="2062233" y="676455"/>
                </a:cubicBezTo>
                <a:cubicBezTo>
                  <a:pt x="2062750" y="676455"/>
                  <a:pt x="2063886" y="675835"/>
                  <a:pt x="2064402" y="675835"/>
                </a:cubicBezTo>
                <a:lnTo>
                  <a:pt x="2065554" y="675457"/>
                </a:lnTo>
                <a:lnTo>
                  <a:pt x="2069531" y="667383"/>
                </a:lnTo>
                <a:lnTo>
                  <a:pt x="2079562" y="661551"/>
                </a:lnTo>
                <a:lnTo>
                  <a:pt x="2080415" y="652730"/>
                </a:lnTo>
                <a:cubicBezTo>
                  <a:pt x="2081483" y="650738"/>
                  <a:pt x="2083190" y="649031"/>
                  <a:pt x="2086178" y="647750"/>
                </a:cubicBezTo>
                <a:cubicBezTo>
                  <a:pt x="2087671" y="647039"/>
                  <a:pt x="2089379" y="646328"/>
                  <a:pt x="2091300" y="646043"/>
                </a:cubicBezTo>
                <a:cubicBezTo>
                  <a:pt x="2096636" y="645332"/>
                  <a:pt x="2102184" y="647181"/>
                  <a:pt x="2105812" y="656287"/>
                </a:cubicBezTo>
                <a:lnTo>
                  <a:pt x="2106690" y="658976"/>
                </a:lnTo>
                <a:lnTo>
                  <a:pt x="2111383" y="657712"/>
                </a:lnTo>
                <a:cubicBezTo>
                  <a:pt x="2113552" y="657093"/>
                  <a:pt x="2116856" y="656473"/>
                  <a:pt x="2119540" y="655854"/>
                </a:cubicBezTo>
                <a:cubicBezTo>
                  <a:pt x="2121193" y="655389"/>
                  <a:pt x="2119540" y="653065"/>
                  <a:pt x="2119540" y="651361"/>
                </a:cubicBezTo>
                <a:cubicBezTo>
                  <a:pt x="2127078" y="649038"/>
                  <a:pt x="2128214" y="648418"/>
                  <a:pt x="2134100" y="647954"/>
                </a:cubicBezTo>
                <a:cubicBezTo>
                  <a:pt x="2130331" y="646482"/>
                  <a:pt x="2132241" y="645901"/>
                  <a:pt x="2135365" y="645901"/>
                </a:cubicBezTo>
                <a:lnTo>
                  <a:pt x="2140056" y="646688"/>
                </a:lnTo>
                <a:lnTo>
                  <a:pt x="2139960" y="634235"/>
                </a:lnTo>
                <a:lnTo>
                  <a:pt x="2145457" y="642226"/>
                </a:lnTo>
                <a:lnTo>
                  <a:pt x="2145458" y="642222"/>
                </a:lnTo>
                <a:cubicBezTo>
                  <a:pt x="2150311" y="641603"/>
                  <a:pt x="2145458" y="647954"/>
                  <a:pt x="2150931" y="647954"/>
                </a:cubicBezTo>
                <a:cubicBezTo>
                  <a:pt x="2153099" y="642222"/>
                  <a:pt x="2158985" y="643307"/>
                  <a:pt x="2165490" y="639434"/>
                </a:cubicBezTo>
                <a:cubicBezTo>
                  <a:pt x="2169310" y="639899"/>
                  <a:pt x="2160637" y="642222"/>
                  <a:pt x="2159501" y="643307"/>
                </a:cubicBezTo>
                <a:cubicBezTo>
                  <a:pt x="2160120" y="649038"/>
                  <a:pt x="2167658" y="644546"/>
                  <a:pt x="2171892" y="643926"/>
                </a:cubicBezTo>
                <a:cubicBezTo>
                  <a:pt x="2175196" y="643307"/>
                  <a:pt x="2171995" y="639899"/>
                  <a:pt x="2172511" y="638195"/>
                </a:cubicBezTo>
                <a:cubicBezTo>
                  <a:pt x="2177364" y="637576"/>
                  <a:pt x="2177880" y="643462"/>
                  <a:pt x="2185521" y="639899"/>
                </a:cubicBezTo>
                <a:cubicBezTo>
                  <a:pt x="2188722" y="638195"/>
                  <a:pt x="2182733" y="637731"/>
                  <a:pt x="2185521" y="635407"/>
                </a:cubicBezTo>
                <a:cubicBezTo>
                  <a:pt x="2188206" y="637731"/>
                  <a:pt x="2192543" y="637111"/>
                  <a:pt x="2197396" y="637111"/>
                </a:cubicBezTo>
                <a:cubicBezTo>
                  <a:pt x="2201629" y="636491"/>
                  <a:pt x="2206482" y="635872"/>
                  <a:pt x="2210819" y="637111"/>
                </a:cubicBezTo>
                <a:cubicBezTo>
                  <a:pt x="2210819" y="638195"/>
                  <a:pt x="2208134" y="638195"/>
                  <a:pt x="2207102" y="638815"/>
                </a:cubicBezTo>
                <a:cubicBezTo>
                  <a:pt x="2208134" y="642222"/>
                  <a:pt x="2210819" y="637576"/>
                  <a:pt x="2213504" y="637576"/>
                </a:cubicBezTo>
                <a:cubicBezTo>
                  <a:pt x="2212988" y="637111"/>
                  <a:pt x="2211955" y="636027"/>
                  <a:pt x="2210303" y="636027"/>
                </a:cubicBezTo>
                <a:cubicBezTo>
                  <a:pt x="2211955" y="635407"/>
                  <a:pt x="2214123" y="635407"/>
                  <a:pt x="2216808" y="635407"/>
                </a:cubicBezTo>
                <a:cubicBezTo>
                  <a:pt x="2219493" y="635407"/>
                  <a:pt x="2222694" y="635407"/>
                  <a:pt x="2225378" y="636491"/>
                </a:cubicBezTo>
                <a:cubicBezTo>
                  <a:pt x="2229199" y="638195"/>
                  <a:pt x="2221661" y="640519"/>
                  <a:pt x="2225998" y="643307"/>
                </a:cubicBezTo>
                <a:cubicBezTo>
                  <a:pt x="2226411" y="642068"/>
                  <a:pt x="2226204" y="638815"/>
                  <a:pt x="2228786" y="638505"/>
                </a:cubicBezTo>
                <a:lnTo>
                  <a:pt x="2229818" y="638815"/>
                </a:lnTo>
                <a:lnTo>
                  <a:pt x="2229818" y="642222"/>
                </a:lnTo>
                <a:lnTo>
                  <a:pt x="2229612" y="642377"/>
                </a:lnTo>
                <a:cubicBezTo>
                  <a:pt x="2228682" y="643462"/>
                  <a:pt x="2228167" y="645010"/>
                  <a:pt x="2229199" y="647954"/>
                </a:cubicBezTo>
                <a:lnTo>
                  <a:pt x="2229818" y="647954"/>
                </a:lnTo>
                <a:lnTo>
                  <a:pt x="2229818" y="657752"/>
                </a:lnTo>
                <a:lnTo>
                  <a:pt x="2237839" y="646310"/>
                </a:lnTo>
                <a:lnTo>
                  <a:pt x="2266626" y="611448"/>
                </a:lnTo>
                <a:lnTo>
                  <a:pt x="2257127" y="601798"/>
                </a:lnTo>
                <a:cubicBezTo>
                  <a:pt x="2259475" y="599521"/>
                  <a:pt x="2255846" y="596960"/>
                  <a:pt x="2259261" y="594684"/>
                </a:cubicBezTo>
                <a:lnTo>
                  <a:pt x="2260542" y="595253"/>
                </a:lnTo>
                <a:lnTo>
                  <a:pt x="2254993" y="589989"/>
                </a:lnTo>
                <a:cubicBezTo>
                  <a:pt x="2248163" y="582022"/>
                  <a:pt x="2242615" y="572633"/>
                  <a:pt x="2240053" y="559544"/>
                </a:cubicBezTo>
                <a:cubicBezTo>
                  <a:pt x="2253712" y="559046"/>
                  <a:pt x="2262943" y="567368"/>
                  <a:pt x="2268838" y="578056"/>
                </a:cubicBezTo>
                <a:lnTo>
                  <a:pt x="2275059" y="601235"/>
                </a:lnTo>
                <a:lnTo>
                  <a:pt x="2289985" y="583159"/>
                </a:lnTo>
                <a:lnTo>
                  <a:pt x="2314817" y="558514"/>
                </a:lnTo>
                <a:lnTo>
                  <a:pt x="2330283" y="548921"/>
                </a:lnTo>
                <a:lnTo>
                  <a:pt x="2329903" y="548447"/>
                </a:lnTo>
                <a:cubicBezTo>
                  <a:pt x="2329263" y="546739"/>
                  <a:pt x="2329263" y="545459"/>
                  <a:pt x="2329690" y="544321"/>
                </a:cubicBezTo>
                <a:cubicBezTo>
                  <a:pt x="2330117" y="543183"/>
                  <a:pt x="2330757" y="542329"/>
                  <a:pt x="2331824" y="541618"/>
                </a:cubicBezTo>
                <a:lnTo>
                  <a:pt x="2337136" y="544671"/>
                </a:lnTo>
                <a:lnTo>
                  <a:pt x="2342132" y="541572"/>
                </a:lnTo>
                <a:lnTo>
                  <a:pt x="2357476" y="534230"/>
                </a:lnTo>
                <a:lnTo>
                  <a:pt x="2357648" y="533224"/>
                </a:lnTo>
                <a:cubicBezTo>
                  <a:pt x="2365118" y="508896"/>
                  <a:pt x="2380697" y="487271"/>
                  <a:pt x="2402039" y="473756"/>
                </a:cubicBezTo>
                <a:cubicBezTo>
                  <a:pt x="2418473" y="462374"/>
                  <a:pt x="2435119" y="457821"/>
                  <a:pt x="2451339" y="458675"/>
                </a:cubicBezTo>
                <a:lnTo>
                  <a:pt x="2457528" y="459671"/>
                </a:lnTo>
                <a:lnTo>
                  <a:pt x="2459235" y="458248"/>
                </a:lnTo>
                <a:cubicBezTo>
                  <a:pt x="2461370" y="456968"/>
                  <a:pt x="2463717" y="455972"/>
                  <a:pt x="2465425" y="455403"/>
                </a:cubicBezTo>
                <a:close/>
                <a:moveTo>
                  <a:pt x="2282737" y="453980"/>
                </a:moveTo>
                <a:cubicBezTo>
                  <a:pt x="2282737" y="453980"/>
                  <a:pt x="2282524" y="453980"/>
                  <a:pt x="2282097" y="455118"/>
                </a:cubicBezTo>
                <a:cubicBezTo>
                  <a:pt x="2282097" y="455118"/>
                  <a:pt x="2282524" y="453980"/>
                  <a:pt x="2283591" y="454549"/>
                </a:cubicBezTo>
                <a:cubicBezTo>
                  <a:pt x="2284231" y="461662"/>
                  <a:pt x="2279323" y="469488"/>
                  <a:pt x="2278896" y="470483"/>
                </a:cubicBezTo>
                <a:cubicBezTo>
                  <a:pt x="2277829" y="469914"/>
                  <a:pt x="2277829" y="469914"/>
                  <a:pt x="2277829" y="469914"/>
                </a:cubicBezTo>
                <a:cubicBezTo>
                  <a:pt x="2279963" y="467211"/>
                  <a:pt x="2279109" y="461947"/>
                  <a:pt x="2280390" y="457679"/>
                </a:cubicBezTo>
                <a:cubicBezTo>
                  <a:pt x="2280816" y="456399"/>
                  <a:pt x="2281457" y="454976"/>
                  <a:pt x="2282737" y="453980"/>
                </a:cubicBezTo>
                <a:close/>
                <a:moveTo>
                  <a:pt x="3010712" y="453696"/>
                </a:moveTo>
                <a:cubicBezTo>
                  <a:pt x="3012846" y="453269"/>
                  <a:pt x="3014767" y="453553"/>
                  <a:pt x="3016475" y="454834"/>
                </a:cubicBezTo>
                <a:cubicBezTo>
                  <a:pt x="3021596" y="463370"/>
                  <a:pt x="3010285" y="471195"/>
                  <a:pt x="3003242" y="468491"/>
                </a:cubicBezTo>
                <a:cubicBezTo>
                  <a:pt x="2999614" y="462089"/>
                  <a:pt x="3004950" y="454691"/>
                  <a:pt x="3010712" y="453696"/>
                </a:cubicBezTo>
                <a:close/>
                <a:moveTo>
                  <a:pt x="2605855" y="452700"/>
                </a:moveTo>
                <a:cubicBezTo>
                  <a:pt x="2607349" y="452273"/>
                  <a:pt x="2609483" y="452984"/>
                  <a:pt x="2610337" y="454407"/>
                </a:cubicBezTo>
                <a:cubicBezTo>
                  <a:pt x="2610977" y="455403"/>
                  <a:pt x="2611191" y="456683"/>
                  <a:pt x="2610337" y="458106"/>
                </a:cubicBezTo>
                <a:cubicBezTo>
                  <a:pt x="2608629" y="458106"/>
                  <a:pt x="2606068" y="458960"/>
                  <a:pt x="2603721" y="457964"/>
                </a:cubicBezTo>
                <a:cubicBezTo>
                  <a:pt x="2603080" y="454834"/>
                  <a:pt x="2604148" y="453269"/>
                  <a:pt x="2605855" y="452700"/>
                </a:cubicBezTo>
                <a:close/>
                <a:moveTo>
                  <a:pt x="2767840" y="449854"/>
                </a:moveTo>
                <a:cubicBezTo>
                  <a:pt x="2769548" y="451704"/>
                  <a:pt x="2770615" y="453980"/>
                  <a:pt x="2771042" y="456541"/>
                </a:cubicBezTo>
                <a:cubicBezTo>
                  <a:pt x="2771468" y="460240"/>
                  <a:pt x="2770402" y="464508"/>
                  <a:pt x="2768694" y="468349"/>
                </a:cubicBezTo>
                <a:lnTo>
                  <a:pt x="2767200" y="470483"/>
                </a:lnTo>
                <a:lnTo>
                  <a:pt x="2766987" y="471337"/>
                </a:lnTo>
                <a:lnTo>
                  <a:pt x="2765706" y="472618"/>
                </a:lnTo>
                <a:lnTo>
                  <a:pt x="2762292" y="477881"/>
                </a:lnTo>
                <a:cubicBezTo>
                  <a:pt x="2756743" y="478308"/>
                  <a:pt x="2753328" y="476601"/>
                  <a:pt x="2751407" y="473898"/>
                </a:cubicBezTo>
                <a:cubicBezTo>
                  <a:pt x="2746072" y="465931"/>
                  <a:pt x="2755035" y="448716"/>
                  <a:pt x="2767840" y="449854"/>
                </a:cubicBezTo>
                <a:close/>
                <a:moveTo>
                  <a:pt x="2801561" y="449712"/>
                </a:moveTo>
                <a:cubicBezTo>
                  <a:pt x="2807323" y="449001"/>
                  <a:pt x="2809671" y="456399"/>
                  <a:pt x="2811164" y="460098"/>
                </a:cubicBezTo>
                <a:cubicBezTo>
                  <a:pt x="2807323" y="463370"/>
                  <a:pt x="2803481" y="466784"/>
                  <a:pt x="2800067" y="466500"/>
                </a:cubicBezTo>
                <a:lnTo>
                  <a:pt x="2799213" y="463797"/>
                </a:lnTo>
                <a:lnTo>
                  <a:pt x="2798573" y="464508"/>
                </a:lnTo>
                <a:cubicBezTo>
                  <a:pt x="2796865" y="465931"/>
                  <a:pt x="2795158" y="466784"/>
                  <a:pt x="2792810" y="466073"/>
                </a:cubicBezTo>
                <a:cubicBezTo>
                  <a:pt x="2793878" y="465219"/>
                  <a:pt x="2795158" y="463939"/>
                  <a:pt x="2796652" y="462659"/>
                </a:cubicBezTo>
                <a:lnTo>
                  <a:pt x="2798360" y="461378"/>
                </a:lnTo>
                <a:lnTo>
                  <a:pt x="2797293" y="458106"/>
                </a:lnTo>
                <a:cubicBezTo>
                  <a:pt x="2797506" y="455261"/>
                  <a:pt x="2798786" y="452415"/>
                  <a:pt x="2801561" y="449712"/>
                </a:cubicBezTo>
                <a:close/>
                <a:moveTo>
                  <a:pt x="2271426" y="446582"/>
                </a:moveTo>
                <a:cubicBezTo>
                  <a:pt x="2273987" y="446724"/>
                  <a:pt x="2273987" y="446724"/>
                  <a:pt x="2275695" y="449001"/>
                </a:cubicBezTo>
                <a:cubicBezTo>
                  <a:pt x="2275268" y="450139"/>
                  <a:pt x="2276335" y="450708"/>
                  <a:pt x="2274628" y="451135"/>
                </a:cubicBezTo>
                <a:cubicBezTo>
                  <a:pt x="2276975" y="455118"/>
                  <a:pt x="2275695" y="466357"/>
                  <a:pt x="2272707" y="469914"/>
                </a:cubicBezTo>
                <a:cubicBezTo>
                  <a:pt x="2266517" y="457110"/>
                  <a:pt x="2274841" y="453838"/>
                  <a:pt x="2271426" y="446582"/>
                </a:cubicBezTo>
                <a:close/>
                <a:moveTo>
                  <a:pt x="3112940" y="446155"/>
                </a:moveTo>
                <a:cubicBezTo>
                  <a:pt x="3115074" y="446298"/>
                  <a:pt x="3117209" y="447436"/>
                  <a:pt x="3118702" y="449712"/>
                </a:cubicBezTo>
                <a:cubicBezTo>
                  <a:pt x="3111446" y="452700"/>
                  <a:pt x="3103763" y="457964"/>
                  <a:pt x="3095653" y="458533"/>
                </a:cubicBezTo>
                <a:cubicBezTo>
                  <a:pt x="3098428" y="452415"/>
                  <a:pt x="3106324" y="445444"/>
                  <a:pt x="3112940" y="446155"/>
                </a:cubicBezTo>
                <a:close/>
                <a:moveTo>
                  <a:pt x="2590062" y="444448"/>
                </a:moveTo>
                <a:cubicBezTo>
                  <a:pt x="2592196" y="445017"/>
                  <a:pt x="2593690" y="446582"/>
                  <a:pt x="2594330" y="448716"/>
                </a:cubicBezTo>
                <a:cubicBezTo>
                  <a:pt x="2595824" y="452700"/>
                  <a:pt x="2594330" y="458675"/>
                  <a:pt x="2588354" y="461662"/>
                </a:cubicBezTo>
                <a:cubicBezTo>
                  <a:pt x="2583873" y="460098"/>
                  <a:pt x="2581525" y="457253"/>
                  <a:pt x="2579604" y="455688"/>
                </a:cubicBezTo>
                <a:cubicBezTo>
                  <a:pt x="2580885" y="452415"/>
                  <a:pt x="2581098" y="449854"/>
                  <a:pt x="2582592" y="446582"/>
                </a:cubicBezTo>
                <a:cubicBezTo>
                  <a:pt x="2585580" y="444448"/>
                  <a:pt x="2588141" y="443879"/>
                  <a:pt x="2590062" y="444448"/>
                </a:cubicBezTo>
                <a:close/>
                <a:moveTo>
                  <a:pt x="2962906" y="444022"/>
                </a:moveTo>
                <a:cubicBezTo>
                  <a:pt x="2965894" y="445871"/>
                  <a:pt x="2968882" y="447863"/>
                  <a:pt x="2969096" y="450566"/>
                </a:cubicBezTo>
                <a:cubicBezTo>
                  <a:pt x="2969096" y="451419"/>
                  <a:pt x="2968882" y="452415"/>
                  <a:pt x="2968241" y="453553"/>
                </a:cubicBezTo>
                <a:cubicBezTo>
                  <a:pt x="2962693" y="455261"/>
                  <a:pt x="2958211" y="450281"/>
                  <a:pt x="2962906" y="444022"/>
                </a:cubicBezTo>
                <a:close/>
                <a:moveTo>
                  <a:pt x="2757383" y="442314"/>
                </a:moveTo>
                <a:cubicBezTo>
                  <a:pt x="2760157" y="444022"/>
                  <a:pt x="2763785" y="446298"/>
                  <a:pt x="2765066" y="448432"/>
                </a:cubicBezTo>
                <a:cubicBezTo>
                  <a:pt x="2762505" y="448289"/>
                  <a:pt x="2758237" y="447009"/>
                  <a:pt x="2757810" y="443879"/>
                </a:cubicBezTo>
                <a:cubicBezTo>
                  <a:pt x="2757810" y="443879"/>
                  <a:pt x="2757810" y="443879"/>
                  <a:pt x="2757383" y="442314"/>
                </a:cubicBezTo>
                <a:close/>
                <a:moveTo>
                  <a:pt x="2555488" y="442314"/>
                </a:moveTo>
                <a:cubicBezTo>
                  <a:pt x="2563384" y="443452"/>
                  <a:pt x="2572988" y="449854"/>
                  <a:pt x="2574269" y="453553"/>
                </a:cubicBezTo>
                <a:cubicBezTo>
                  <a:pt x="2569574" y="454976"/>
                  <a:pt x="2565945" y="451419"/>
                  <a:pt x="2560396" y="452273"/>
                </a:cubicBezTo>
                <a:cubicBezTo>
                  <a:pt x="2558262" y="448289"/>
                  <a:pt x="2551433" y="448432"/>
                  <a:pt x="2548872" y="443025"/>
                </a:cubicBezTo>
                <a:cubicBezTo>
                  <a:pt x="2550579" y="442030"/>
                  <a:pt x="2552927" y="441887"/>
                  <a:pt x="2555488" y="442314"/>
                </a:cubicBezTo>
                <a:close/>
                <a:moveTo>
                  <a:pt x="2389020" y="441176"/>
                </a:moveTo>
                <a:cubicBezTo>
                  <a:pt x="2391581" y="441745"/>
                  <a:pt x="2393716" y="441176"/>
                  <a:pt x="2396277" y="441887"/>
                </a:cubicBezTo>
                <a:cubicBezTo>
                  <a:pt x="2399051" y="444875"/>
                  <a:pt x="2399051" y="453696"/>
                  <a:pt x="2395423" y="456114"/>
                </a:cubicBezTo>
                <a:cubicBezTo>
                  <a:pt x="2394143" y="456968"/>
                  <a:pt x="2392649" y="457110"/>
                  <a:pt x="2390514" y="456114"/>
                </a:cubicBezTo>
                <a:cubicBezTo>
                  <a:pt x="2384538" y="452700"/>
                  <a:pt x="2386246" y="447009"/>
                  <a:pt x="2389020" y="441176"/>
                </a:cubicBezTo>
                <a:close/>
                <a:moveTo>
                  <a:pt x="3291146" y="439042"/>
                </a:moveTo>
                <a:cubicBezTo>
                  <a:pt x="3291359" y="440322"/>
                  <a:pt x="3291573" y="441460"/>
                  <a:pt x="3292640" y="441318"/>
                </a:cubicBezTo>
                <a:cubicBezTo>
                  <a:pt x="3290719" y="443879"/>
                  <a:pt x="3289652" y="443879"/>
                  <a:pt x="3288585" y="445159"/>
                </a:cubicBezTo>
                <a:cubicBezTo>
                  <a:pt x="3289652" y="445159"/>
                  <a:pt x="3288798" y="446298"/>
                  <a:pt x="3288798" y="446298"/>
                </a:cubicBezTo>
                <a:cubicBezTo>
                  <a:pt x="3288798" y="446298"/>
                  <a:pt x="3288798" y="446440"/>
                  <a:pt x="3291359" y="448716"/>
                </a:cubicBezTo>
                <a:cubicBezTo>
                  <a:pt x="3291359" y="448716"/>
                  <a:pt x="3296908" y="454407"/>
                  <a:pt x="3293066" y="460525"/>
                </a:cubicBezTo>
                <a:cubicBezTo>
                  <a:pt x="3291786" y="459387"/>
                  <a:pt x="3285810" y="466927"/>
                  <a:pt x="3280902" y="464792"/>
                </a:cubicBezTo>
                <a:cubicBezTo>
                  <a:pt x="3278341" y="463797"/>
                  <a:pt x="3277060" y="462659"/>
                  <a:pt x="3274712" y="461662"/>
                </a:cubicBezTo>
                <a:cubicBezTo>
                  <a:pt x="3274072" y="458106"/>
                  <a:pt x="3270231" y="454691"/>
                  <a:pt x="3273859" y="447294"/>
                </a:cubicBezTo>
                <a:cubicBezTo>
                  <a:pt x="3278554" y="439753"/>
                  <a:pt x="3286237" y="445302"/>
                  <a:pt x="3286024" y="444164"/>
                </a:cubicBezTo>
                <a:cubicBezTo>
                  <a:pt x="3287091" y="442883"/>
                  <a:pt x="3287091" y="442883"/>
                  <a:pt x="3286878" y="441603"/>
                </a:cubicBezTo>
                <a:cubicBezTo>
                  <a:pt x="3288158" y="441603"/>
                  <a:pt x="3290292" y="440322"/>
                  <a:pt x="3291146" y="439042"/>
                </a:cubicBezTo>
                <a:close/>
                <a:moveTo>
                  <a:pt x="2873057" y="434631"/>
                </a:moveTo>
                <a:cubicBezTo>
                  <a:pt x="2874337" y="434489"/>
                  <a:pt x="2875617" y="434774"/>
                  <a:pt x="2876685" y="435485"/>
                </a:cubicBezTo>
                <a:cubicBezTo>
                  <a:pt x="2877752" y="436623"/>
                  <a:pt x="2877752" y="436623"/>
                  <a:pt x="2878819" y="437762"/>
                </a:cubicBezTo>
                <a:cubicBezTo>
                  <a:pt x="2878605" y="440180"/>
                  <a:pt x="2879459" y="442599"/>
                  <a:pt x="2878178" y="445017"/>
                </a:cubicBezTo>
                <a:cubicBezTo>
                  <a:pt x="2875617" y="447294"/>
                  <a:pt x="2870069" y="446013"/>
                  <a:pt x="2867934" y="444875"/>
                </a:cubicBezTo>
                <a:cubicBezTo>
                  <a:pt x="2865800" y="442457"/>
                  <a:pt x="2867294" y="438758"/>
                  <a:pt x="2869855" y="436481"/>
                </a:cubicBezTo>
                <a:cubicBezTo>
                  <a:pt x="2870495" y="435343"/>
                  <a:pt x="2871776" y="434774"/>
                  <a:pt x="2873057" y="434631"/>
                </a:cubicBezTo>
                <a:close/>
                <a:moveTo>
                  <a:pt x="3396788" y="431644"/>
                </a:moveTo>
                <a:cubicBezTo>
                  <a:pt x="3397642" y="431359"/>
                  <a:pt x="3398496" y="431359"/>
                  <a:pt x="3398923" y="431928"/>
                </a:cubicBezTo>
                <a:cubicBezTo>
                  <a:pt x="3398923" y="433209"/>
                  <a:pt x="3399990" y="433209"/>
                  <a:pt x="3399990" y="434489"/>
                </a:cubicBezTo>
                <a:cubicBezTo>
                  <a:pt x="3400843" y="436908"/>
                  <a:pt x="3400630" y="438046"/>
                  <a:pt x="3399350" y="439184"/>
                </a:cubicBezTo>
                <a:cubicBezTo>
                  <a:pt x="3399350" y="440465"/>
                  <a:pt x="3398069" y="440465"/>
                  <a:pt x="3396788" y="441603"/>
                </a:cubicBezTo>
                <a:cubicBezTo>
                  <a:pt x="3395722" y="441603"/>
                  <a:pt x="3394655" y="440465"/>
                  <a:pt x="3394655" y="440465"/>
                </a:cubicBezTo>
                <a:cubicBezTo>
                  <a:pt x="3393801" y="439184"/>
                  <a:pt x="3393801" y="439184"/>
                  <a:pt x="3392520" y="440322"/>
                </a:cubicBezTo>
                <a:cubicBezTo>
                  <a:pt x="3392520" y="440322"/>
                  <a:pt x="3392520" y="439184"/>
                  <a:pt x="3392520" y="439184"/>
                </a:cubicBezTo>
                <a:cubicBezTo>
                  <a:pt x="3393801" y="439184"/>
                  <a:pt x="3392520" y="439184"/>
                  <a:pt x="3391453" y="437904"/>
                </a:cubicBezTo>
                <a:cubicBezTo>
                  <a:pt x="3392947" y="435485"/>
                  <a:pt x="3392947" y="434347"/>
                  <a:pt x="3394228" y="433066"/>
                </a:cubicBezTo>
                <a:cubicBezTo>
                  <a:pt x="3394867" y="432498"/>
                  <a:pt x="3395935" y="431928"/>
                  <a:pt x="3396788" y="431644"/>
                </a:cubicBezTo>
                <a:close/>
                <a:moveTo>
                  <a:pt x="3003883" y="430506"/>
                </a:moveTo>
                <a:cubicBezTo>
                  <a:pt x="3011139" y="435628"/>
                  <a:pt x="3001109" y="447294"/>
                  <a:pt x="2996200" y="437335"/>
                </a:cubicBezTo>
                <a:cubicBezTo>
                  <a:pt x="2999401" y="433920"/>
                  <a:pt x="3001749" y="431501"/>
                  <a:pt x="3003883" y="430506"/>
                </a:cubicBezTo>
                <a:close/>
                <a:moveTo>
                  <a:pt x="2479084" y="428514"/>
                </a:moveTo>
                <a:cubicBezTo>
                  <a:pt x="2480151" y="429226"/>
                  <a:pt x="2482072" y="430364"/>
                  <a:pt x="2484206" y="428799"/>
                </a:cubicBezTo>
                <a:cubicBezTo>
                  <a:pt x="2485272" y="432071"/>
                  <a:pt x="2486340" y="435343"/>
                  <a:pt x="2483352" y="436197"/>
                </a:cubicBezTo>
                <a:cubicBezTo>
                  <a:pt x="2481858" y="436623"/>
                  <a:pt x="2480364" y="437193"/>
                  <a:pt x="2478230" y="435912"/>
                </a:cubicBezTo>
                <a:cubicBezTo>
                  <a:pt x="2477163" y="432640"/>
                  <a:pt x="2479511" y="430221"/>
                  <a:pt x="2479084" y="428514"/>
                </a:cubicBezTo>
                <a:close/>
                <a:moveTo>
                  <a:pt x="2780006" y="427661"/>
                </a:moveTo>
                <a:cubicBezTo>
                  <a:pt x="2785768" y="427803"/>
                  <a:pt x="2793024" y="436481"/>
                  <a:pt x="2787475" y="442030"/>
                </a:cubicBezTo>
                <a:cubicBezTo>
                  <a:pt x="2784274" y="443167"/>
                  <a:pt x="2780859" y="444164"/>
                  <a:pt x="2775951" y="440465"/>
                </a:cubicBezTo>
                <a:cubicBezTo>
                  <a:pt x="2774670" y="435628"/>
                  <a:pt x="2775524" y="432071"/>
                  <a:pt x="2780006" y="427661"/>
                </a:cubicBezTo>
                <a:close/>
                <a:moveTo>
                  <a:pt x="3144313" y="426807"/>
                </a:moveTo>
                <a:cubicBezTo>
                  <a:pt x="3144740" y="426807"/>
                  <a:pt x="3144740" y="427091"/>
                  <a:pt x="3145380" y="427803"/>
                </a:cubicBezTo>
                <a:cubicBezTo>
                  <a:pt x="3144099" y="429083"/>
                  <a:pt x="3144313" y="427803"/>
                  <a:pt x="3143246" y="427803"/>
                </a:cubicBezTo>
                <a:cubicBezTo>
                  <a:pt x="3143886" y="427091"/>
                  <a:pt x="3144099" y="426807"/>
                  <a:pt x="3144313" y="426807"/>
                </a:cubicBezTo>
                <a:close/>
                <a:moveTo>
                  <a:pt x="2534999" y="426238"/>
                </a:moveTo>
                <a:cubicBezTo>
                  <a:pt x="2547165" y="430079"/>
                  <a:pt x="2547591" y="437193"/>
                  <a:pt x="2549298" y="437619"/>
                </a:cubicBezTo>
                <a:cubicBezTo>
                  <a:pt x="2548445" y="442599"/>
                  <a:pt x="2545244" y="441745"/>
                  <a:pt x="2540122" y="442172"/>
                </a:cubicBezTo>
                <a:cubicBezTo>
                  <a:pt x="2540335" y="440465"/>
                  <a:pt x="2535426" y="439327"/>
                  <a:pt x="2533932" y="438900"/>
                </a:cubicBezTo>
                <a:cubicBezTo>
                  <a:pt x="2534359" y="435628"/>
                  <a:pt x="2528810" y="433209"/>
                  <a:pt x="2529664" y="428229"/>
                </a:cubicBezTo>
                <a:cubicBezTo>
                  <a:pt x="2531585" y="426949"/>
                  <a:pt x="2532439" y="426380"/>
                  <a:pt x="2534999" y="426238"/>
                </a:cubicBezTo>
                <a:close/>
                <a:moveTo>
                  <a:pt x="2807964" y="425527"/>
                </a:moveTo>
                <a:cubicBezTo>
                  <a:pt x="2810524" y="426095"/>
                  <a:pt x="2812659" y="425384"/>
                  <a:pt x="2815220" y="425953"/>
                </a:cubicBezTo>
                <a:cubicBezTo>
                  <a:pt x="2817567" y="428941"/>
                  <a:pt x="2816287" y="437619"/>
                  <a:pt x="2812232" y="440322"/>
                </a:cubicBezTo>
                <a:cubicBezTo>
                  <a:pt x="2810951" y="441176"/>
                  <a:pt x="2809244" y="441460"/>
                  <a:pt x="2807323" y="440465"/>
                </a:cubicBezTo>
                <a:cubicBezTo>
                  <a:pt x="2801988" y="437193"/>
                  <a:pt x="2804336" y="431501"/>
                  <a:pt x="2807964" y="425527"/>
                </a:cubicBezTo>
                <a:close/>
                <a:moveTo>
                  <a:pt x="2567653" y="424957"/>
                </a:moveTo>
                <a:cubicBezTo>
                  <a:pt x="2573415" y="424388"/>
                  <a:pt x="2575763" y="427091"/>
                  <a:pt x="2579604" y="428087"/>
                </a:cubicBezTo>
                <a:cubicBezTo>
                  <a:pt x="2580671" y="440180"/>
                  <a:pt x="2572988" y="442741"/>
                  <a:pt x="2568080" y="439753"/>
                </a:cubicBezTo>
                <a:cubicBezTo>
                  <a:pt x="2566586" y="438758"/>
                  <a:pt x="2565305" y="437193"/>
                  <a:pt x="2564665" y="435201"/>
                </a:cubicBezTo>
                <a:cubicBezTo>
                  <a:pt x="2564024" y="432498"/>
                  <a:pt x="2564665" y="428941"/>
                  <a:pt x="2567653" y="424957"/>
                </a:cubicBezTo>
                <a:close/>
                <a:moveTo>
                  <a:pt x="2738602" y="424246"/>
                </a:moveTo>
                <a:cubicBezTo>
                  <a:pt x="2742657" y="428372"/>
                  <a:pt x="2749913" y="431501"/>
                  <a:pt x="2751621" y="436908"/>
                </a:cubicBezTo>
                <a:cubicBezTo>
                  <a:pt x="2749700" y="435770"/>
                  <a:pt x="2740096" y="428087"/>
                  <a:pt x="2738602" y="424246"/>
                </a:cubicBezTo>
                <a:close/>
                <a:moveTo>
                  <a:pt x="3128306" y="423535"/>
                </a:moveTo>
                <a:cubicBezTo>
                  <a:pt x="3132148" y="425811"/>
                  <a:pt x="3134923" y="429083"/>
                  <a:pt x="3131935" y="432782"/>
                </a:cubicBezTo>
                <a:cubicBezTo>
                  <a:pt x="3131081" y="434063"/>
                  <a:pt x="3130014" y="435343"/>
                  <a:pt x="3129801" y="434205"/>
                </a:cubicBezTo>
                <a:cubicBezTo>
                  <a:pt x="3128733" y="434205"/>
                  <a:pt x="3128520" y="433066"/>
                  <a:pt x="3127239" y="431928"/>
                </a:cubicBezTo>
                <a:cubicBezTo>
                  <a:pt x="3125745" y="429652"/>
                  <a:pt x="3125318" y="426238"/>
                  <a:pt x="3126172" y="424957"/>
                </a:cubicBezTo>
                <a:cubicBezTo>
                  <a:pt x="3127239" y="423677"/>
                  <a:pt x="3128306" y="423535"/>
                  <a:pt x="3128306" y="423535"/>
                </a:cubicBezTo>
                <a:close/>
                <a:moveTo>
                  <a:pt x="3141752" y="423108"/>
                </a:moveTo>
                <a:cubicBezTo>
                  <a:pt x="3142606" y="423535"/>
                  <a:pt x="3143459" y="424388"/>
                  <a:pt x="3144740" y="424815"/>
                </a:cubicBezTo>
                <a:lnTo>
                  <a:pt x="3141752" y="428514"/>
                </a:lnTo>
                <a:cubicBezTo>
                  <a:pt x="3140471" y="427376"/>
                  <a:pt x="3138977" y="425242"/>
                  <a:pt x="3140044" y="423962"/>
                </a:cubicBezTo>
                <a:cubicBezTo>
                  <a:pt x="3140471" y="422823"/>
                  <a:pt x="3140898" y="422823"/>
                  <a:pt x="3141752" y="423108"/>
                </a:cubicBezTo>
                <a:close/>
                <a:moveTo>
                  <a:pt x="2075080" y="422823"/>
                </a:moveTo>
                <a:cubicBezTo>
                  <a:pt x="2084470" y="422539"/>
                  <a:pt x="2091940" y="425527"/>
                  <a:pt x="2088952" y="436054"/>
                </a:cubicBezTo>
                <a:cubicBezTo>
                  <a:pt x="2074440" y="435770"/>
                  <a:pt x="2061421" y="442741"/>
                  <a:pt x="2055018" y="438046"/>
                </a:cubicBezTo>
                <a:cubicBezTo>
                  <a:pt x="2052884" y="436481"/>
                  <a:pt x="2051390" y="433636"/>
                  <a:pt x="2050750" y="428799"/>
                </a:cubicBezTo>
                <a:cubicBezTo>
                  <a:pt x="2055018" y="426380"/>
                  <a:pt x="2065903" y="422965"/>
                  <a:pt x="2075080" y="422823"/>
                </a:cubicBezTo>
                <a:close/>
                <a:moveTo>
                  <a:pt x="3315263" y="421827"/>
                </a:moveTo>
                <a:cubicBezTo>
                  <a:pt x="3318463" y="421258"/>
                  <a:pt x="3322091" y="422681"/>
                  <a:pt x="3323799" y="425384"/>
                </a:cubicBezTo>
                <a:cubicBezTo>
                  <a:pt x="3325079" y="427234"/>
                  <a:pt x="3325506" y="429652"/>
                  <a:pt x="3324653" y="432356"/>
                </a:cubicBezTo>
                <a:cubicBezTo>
                  <a:pt x="3317823" y="434347"/>
                  <a:pt x="3310354" y="438188"/>
                  <a:pt x="3307366" y="430506"/>
                </a:cubicBezTo>
                <a:cubicBezTo>
                  <a:pt x="3308646" y="425100"/>
                  <a:pt x="3311848" y="422397"/>
                  <a:pt x="3315263" y="421827"/>
                </a:cubicBezTo>
                <a:close/>
                <a:moveTo>
                  <a:pt x="2737322" y="421827"/>
                </a:moveTo>
                <a:cubicBezTo>
                  <a:pt x="2737748" y="423392"/>
                  <a:pt x="2737748" y="423535"/>
                  <a:pt x="2738602" y="424104"/>
                </a:cubicBezTo>
                <a:cubicBezTo>
                  <a:pt x="2738602" y="424104"/>
                  <a:pt x="2737108" y="424388"/>
                  <a:pt x="2737108" y="424388"/>
                </a:cubicBezTo>
                <a:cubicBezTo>
                  <a:pt x="2736681" y="422823"/>
                  <a:pt x="2736041" y="423677"/>
                  <a:pt x="2737322" y="421827"/>
                </a:cubicBezTo>
                <a:close/>
                <a:moveTo>
                  <a:pt x="2878178" y="420832"/>
                </a:moveTo>
                <a:cubicBezTo>
                  <a:pt x="2880953" y="420547"/>
                  <a:pt x="2882661" y="420832"/>
                  <a:pt x="2883941" y="421970"/>
                </a:cubicBezTo>
                <a:cubicBezTo>
                  <a:pt x="2885008" y="422965"/>
                  <a:pt x="2885435" y="424815"/>
                  <a:pt x="2885861" y="427091"/>
                </a:cubicBezTo>
                <a:cubicBezTo>
                  <a:pt x="2881807" y="427376"/>
                  <a:pt x="2880526" y="425242"/>
                  <a:pt x="2878178" y="420832"/>
                </a:cubicBezTo>
                <a:close/>
                <a:moveTo>
                  <a:pt x="2656862" y="420832"/>
                </a:moveTo>
                <a:cubicBezTo>
                  <a:pt x="2660063" y="420405"/>
                  <a:pt x="2663265" y="421116"/>
                  <a:pt x="2664972" y="423108"/>
                </a:cubicBezTo>
                <a:lnTo>
                  <a:pt x="2665826" y="427803"/>
                </a:lnTo>
                <a:lnTo>
                  <a:pt x="2666039" y="427376"/>
                </a:lnTo>
                <a:cubicBezTo>
                  <a:pt x="2668174" y="425100"/>
                  <a:pt x="2670734" y="423108"/>
                  <a:pt x="2673936" y="421400"/>
                </a:cubicBezTo>
                <a:cubicBezTo>
                  <a:pt x="2685034" y="423819"/>
                  <a:pt x="2685034" y="439042"/>
                  <a:pt x="2686101" y="447009"/>
                </a:cubicBezTo>
                <a:cubicBezTo>
                  <a:pt x="2677137" y="450566"/>
                  <a:pt x="2668174" y="454265"/>
                  <a:pt x="2662198" y="451561"/>
                </a:cubicBezTo>
                <a:cubicBezTo>
                  <a:pt x="2660063" y="445586"/>
                  <a:pt x="2659850" y="439753"/>
                  <a:pt x="2661771" y="434489"/>
                </a:cubicBezTo>
                <a:lnTo>
                  <a:pt x="2665186" y="428799"/>
                </a:lnTo>
                <a:lnTo>
                  <a:pt x="2661984" y="430648"/>
                </a:lnTo>
                <a:cubicBezTo>
                  <a:pt x="2658143" y="431075"/>
                  <a:pt x="2654942" y="427376"/>
                  <a:pt x="2649606" y="426095"/>
                </a:cubicBezTo>
                <a:cubicBezTo>
                  <a:pt x="2650673" y="422965"/>
                  <a:pt x="2653875" y="421400"/>
                  <a:pt x="2656862" y="420832"/>
                </a:cubicBezTo>
                <a:close/>
                <a:moveTo>
                  <a:pt x="3198095" y="419978"/>
                </a:moveTo>
                <a:cubicBezTo>
                  <a:pt x="3200442" y="420974"/>
                  <a:pt x="3205991" y="424815"/>
                  <a:pt x="3208765" y="429083"/>
                </a:cubicBezTo>
                <a:cubicBezTo>
                  <a:pt x="3209620" y="430364"/>
                  <a:pt x="3210046" y="431786"/>
                  <a:pt x="3210046" y="433209"/>
                </a:cubicBezTo>
                <a:cubicBezTo>
                  <a:pt x="3210046" y="435058"/>
                  <a:pt x="3208979" y="436623"/>
                  <a:pt x="3206632" y="437904"/>
                </a:cubicBezTo>
                <a:cubicBezTo>
                  <a:pt x="3202363" y="432071"/>
                  <a:pt x="3195747" y="429368"/>
                  <a:pt x="3195534" y="425100"/>
                </a:cubicBezTo>
                <a:cubicBezTo>
                  <a:pt x="3195534" y="423677"/>
                  <a:pt x="3196174" y="421970"/>
                  <a:pt x="3198095" y="419978"/>
                </a:cubicBezTo>
                <a:close/>
                <a:moveTo>
                  <a:pt x="2628477" y="419267"/>
                </a:moveTo>
                <a:cubicBezTo>
                  <a:pt x="2632533" y="424104"/>
                  <a:pt x="2634240" y="428941"/>
                  <a:pt x="2638081" y="433778"/>
                </a:cubicBezTo>
                <a:cubicBezTo>
                  <a:pt x="2632533" y="442314"/>
                  <a:pt x="2626343" y="437193"/>
                  <a:pt x="2620154" y="432213"/>
                </a:cubicBezTo>
                <a:cubicBezTo>
                  <a:pt x="2622929" y="427945"/>
                  <a:pt x="2621221" y="423250"/>
                  <a:pt x="2628477" y="419267"/>
                </a:cubicBezTo>
                <a:close/>
                <a:moveTo>
                  <a:pt x="2732413" y="418840"/>
                </a:moveTo>
                <a:cubicBezTo>
                  <a:pt x="2733053" y="419125"/>
                  <a:pt x="2733480" y="419409"/>
                  <a:pt x="2733693" y="419835"/>
                </a:cubicBezTo>
                <a:cubicBezTo>
                  <a:pt x="2734120" y="420120"/>
                  <a:pt x="2734120" y="420547"/>
                  <a:pt x="2733907" y="420974"/>
                </a:cubicBezTo>
                <a:cubicBezTo>
                  <a:pt x="2733267" y="421970"/>
                  <a:pt x="2732199" y="421400"/>
                  <a:pt x="2731772" y="419835"/>
                </a:cubicBezTo>
                <a:cubicBezTo>
                  <a:pt x="2731772" y="419835"/>
                  <a:pt x="2732413" y="418840"/>
                  <a:pt x="2732413" y="418840"/>
                </a:cubicBezTo>
                <a:close/>
                <a:moveTo>
                  <a:pt x="2304720" y="416848"/>
                </a:moveTo>
                <a:cubicBezTo>
                  <a:pt x="2309201" y="425242"/>
                  <a:pt x="2314324" y="431217"/>
                  <a:pt x="2319659" y="436908"/>
                </a:cubicBezTo>
                <a:lnTo>
                  <a:pt x="2321367" y="438473"/>
                </a:lnTo>
                <a:lnTo>
                  <a:pt x="2321367" y="437050"/>
                </a:lnTo>
                <a:cubicBezTo>
                  <a:pt x="2324141" y="435485"/>
                  <a:pt x="2327769" y="431501"/>
                  <a:pt x="2332678" y="430648"/>
                </a:cubicBezTo>
                <a:cubicBezTo>
                  <a:pt x="2342495" y="436197"/>
                  <a:pt x="2344416" y="444306"/>
                  <a:pt x="2341428" y="453269"/>
                </a:cubicBezTo>
                <a:lnTo>
                  <a:pt x="2335452" y="454407"/>
                </a:lnTo>
                <a:lnTo>
                  <a:pt x="2331397" y="459387"/>
                </a:lnTo>
                <a:cubicBezTo>
                  <a:pt x="2329050" y="461236"/>
                  <a:pt x="2325635" y="462943"/>
                  <a:pt x="2321153" y="464650"/>
                </a:cubicBezTo>
                <a:cubicBezTo>
                  <a:pt x="2317098" y="442457"/>
                  <a:pt x="2297890" y="461947"/>
                  <a:pt x="2293835" y="444875"/>
                </a:cubicBezTo>
                <a:cubicBezTo>
                  <a:pt x="2295329" y="437904"/>
                  <a:pt x="2294475" y="429937"/>
                  <a:pt x="2298744" y="423108"/>
                </a:cubicBezTo>
                <a:cubicBezTo>
                  <a:pt x="2300025" y="420832"/>
                  <a:pt x="2301945" y="418698"/>
                  <a:pt x="2304720" y="416848"/>
                </a:cubicBezTo>
                <a:close/>
                <a:moveTo>
                  <a:pt x="3033975" y="416563"/>
                </a:moveTo>
                <a:cubicBezTo>
                  <a:pt x="3035042" y="418555"/>
                  <a:pt x="3035896" y="420262"/>
                  <a:pt x="3036536" y="422112"/>
                </a:cubicBezTo>
                <a:cubicBezTo>
                  <a:pt x="3038457" y="427376"/>
                  <a:pt x="3037603" y="432071"/>
                  <a:pt x="3031627" y="437050"/>
                </a:cubicBezTo>
                <a:cubicBezTo>
                  <a:pt x="3027359" y="436054"/>
                  <a:pt x="3026079" y="431644"/>
                  <a:pt x="3026719" y="427091"/>
                </a:cubicBezTo>
                <a:cubicBezTo>
                  <a:pt x="3027572" y="422681"/>
                  <a:pt x="3030347" y="418128"/>
                  <a:pt x="3033975" y="416563"/>
                </a:cubicBezTo>
                <a:close/>
                <a:moveTo>
                  <a:pt x="2728358" y="413007"/>
                </a:moveTo>
                <a:cubicBezTo>
                  <a:pt x="2729639" y="414429"/>
                  <a:pt x="2730065" y="415141"/>
                  <a:pt x="2730492" y="415994"/>
                </a:cubicBezTo>
                <a:cubicBezTo>
                  <a:pt x="2730705" y="416706"/>
                  <a:pt x="2730919" y="417559"/>
                  <a:pt x="2731132" y="419267"/>
                </a:cubicBezTo>
                <a:cubicBezTo>
                  <a:pt x="2730279" y="418555"/>
                  <a:pt x="2727718" y="418413"/>
                  <a:pt x="2727291" y="416706"/>
                </a:cubicBezTo>
                <a:cubicBezTo>
                  <a:pt x="2727077" y="415141"/>
                  <a:pt x="2727077" y="415141"/>
                  <a:pt x="2728358" y="413007"/>
                </a:cubicBezTo>
                <a:close/>
                <a:moveTo>
                  <a:pt x="3145807" y="412011"/>
                </a:moveTo>
                <a:cubicBezTo>
                  <a:pt x="3146660" y="411869"/>
                  <a:pt x="3147514" y="411869"/>
                  <a:pt x="3148581" y="412011"/>
                </a:cubicBezTo>
                <a:cubicBezTo>
                  <a:pt x="3149862" y="412296"/>
                  <a:pt x="3151142" y="412722"/>
                  <a:pt x="3152423" y="413576"/>
                </a:cubicBezTo>
                <a:cubicBezTo>
                  <a:pt x="3153703" y="414714"/>
                  <a:pt x="3156478" y="418128"/>
                  <a:pt x="3155198" y="418270"/>
                </a:cubicBezTo>
                <a:cubicBezTo>
                  <a:pt x="3154343" y="419551"/>
                  <a:pt x="3155411" y="419409"/>
                  <a:pt x="3155624" y="420690"/>
                </a:cubicBezTo>
                <a:cubicBezTo>
                  <a:pt x="3152636" y="424530"/>
                  <a:pt x="3149435" y="425953"/>
                  <a:pt x="3145807" y="423677"/>
                </a:cubicBezTo>
                <a:cubicBezTo>
                  <a:pt x="3143032" y="421400"/>
                  <a:pt x="3139191" y="417986"/>
                  <a:pt x="3140898" y="414287"/>
                </a:cubicBezTo>
                <a:cubicBezTo>
                  <a:pt x="3142179" y="414145"/>
                  <a:pt x="3141965" y="413007"/>
                  <a:pt x="3143032" y="412864"/>
                </a:cubicBezTo>
                <a:cubicBezTo>
                  <a:pt x="3143032" y="412864"/>
                  <a:pt x="3144099" y="412153"/>
                  <a:pt x="3145807" y="412011"/>
                </a:cubicBezTo>
                <a:close/>
                <a:moveTo>
                  <a:pt x="3059159" y="410731"/>
                </a:moveTo>
                <a:cubicBezTo>
                  <a:pt x="3059159" y="410731"/>
                  <a:pt x="3058945" y="411015"/>
                  <a:pt x="3058732" y="411442"/>
                </a:cubicBezTo>
                <a:cubicBezTo>
                  <a:pt x="3060012" y="413718"/>
                  <a:pt x="3058945" y="413149"/>
                  <a:pt x="3059159" y="414856"/>
                </a:cubicBezTo>
                <a:cubicBezTo>
                  <a:pt x="3059585" y="416421"/>
                  <a:pt x="3062787" y="421400"/>
                  <a:pt x="3064494" y="420974"/>
                </a:cubicBezTo>
                <a:cubicBezTo>
                  <a:pt x="3063640" y="422112"/>
                  <a:pt x="3064067" y="423677"/>
                  <a:pt x="3064067" y="423677"/>
                </a:cubicBezTo>
                <a:cubicBezTo>
                  <a:pt x="3062360" y="424104"/>
                  <a:pt x="3061506" y="423535"/>
                  <a:pt x="3060652" y="422965"/>
                </a:cubicBezTo>
                <a:cubicBezTo>
                  <a:pt x="3060226" y="421400"/>
                  <a:pt x="3060866" y="420262"/>
                  <a:pt x="3060652" y="418555"/>
                </a:cubicBezTo>
                <a:cubicBezTo>
                  <a:pt x="3059799" y="417986"/>
                  <a:pt x="3057878" y="416848"/>
                  <a:pt x="3057664" y="415283"/>
                </a:cubicBezTo>
                <a:cubicBezTo>
                  <a:pt x="3057451" y="413576"/>
                  <a:pt x="3057664" y="410873"/>
                  <a:pt x="3057664" y="410873"/>
                </a:cubicBezTo>
                <a:cubicBezTo>
                  <a:pt x="3058518" y="410731"/>
                  <a:pt x="3058945" y="410588"/>
                  <a:pt x="3059159" y="410731"/>
                </a:cubicBezTo>
                <a:close/>
                <a:moveTo>
                  <a:pt x="2783420" y="410019"/>
                </a:moveTo>
                <a:cubicBezTo>
                  <a:pt x="2785341" y="410019"/>
                  <a:pt x="2787048" y="410446"/>
                  <a:pt x="2787689" y="411584"/>
                </a:cubicBezTo>
                <a:cubicBezTo>
                  <a:pt x="2785554" y="413007"/>
                  <a:pt x="2783847" y="413434"/>
                  <a:pt x="2782139" y="413861"/>
                </a:cubicBezTo>
                <a:cubicBezTo>
                  <a:pt x="2779792" y="415283"/>
                  <a:pt x="2778938" y="414572"/>
                  <a:pt x="2778298" y="411299"/>
                </a:cubicBezTo>
                <a:cubicBezTo>
                  <a:pt x="2779579" y="410588"/>
                  <a:pt x="2781499" y="410019"/>
                  <a:pt x="2783420" y="410019"/>
                </a:cubicBezTo>
                <a:close/>
                <a:moveTo>
                  <a:pt x="3285810" y="409592"/>
                </a:moveTo>
                <a:cubicBezTo>
                  <a:pt x="3285597" y="410873"/>
                  <a:pt x="3285383" y="413149"/>
                  <a:pt x="3287517" y="414429"/>
                </a:cubicBezTo>
                <a:cubicBezTo>
                  <a:pt x="3285170" y="416848"/>
                  <a:pt x="3282609" y="419125"/>
                  <a:pt x="3280475" y="416706"/>
                </a:cubicBezTo>
                <a:cubicBezTo>
                  <a:pt x="3279407" y="415568"/>
                  <a:pt x="3278341" y="414287"/>
                  <a:pt x="3278554" y="412011"/>
                </a:cubicBezTo>
                <a:cubicBezTo>
                  <a:pt x="3281115" y="409592"/>
                  <a:pt x="3284530" y="410873"/>
                  <a:pt x="3285810" y="409592"/>
                </a:cubicBezTo>
                <a:close/>
                <a:moveTo>
                  <a:pt x="2791743" y="409450"/>
                </a:moveTo>
                <a:cubicBezTo>
                  <a:pt x="2791103" y="410446"/>
                  <a:pt x="2791957" y="411157"/>
                  <a:pt x="2791957" y="411157"/>
                </a:cubicBezTo>
                <a:cubicBezTo>
                  <a:pt x="2791957" y="411157"/>
                  <a:pt x="2791957" y="411157"/>
                  <a:pt x="2792597" y="410019"/>
                </a:cubicBezTo>
                <a:cubicBezTo>
                  <a:pt x="2792810" y="410873"/>
                  <a:pt x="2792384" y="411442"/>
                  <a:pt x="2792170" y="411726"/>
                </a:cubicBezTo>
                <a:cubicBezTo>
                  <a:pt x="2791743" y="412153"/>
                  <a:pt x="2791317" y="412153"/>
                  <a:pt x="2791317" y="412153"/>
                </a:cubicBezTo>
                <a:cubicBezTo>
                  <a:pt x="2789609" y="412580"/>
                  <a:pt x="2788115" y="413007"/>
                  <a:pt x="2787902" y="411442"/>
                </a:cubicBezTo>
                <a:cubicBezTo>
                  <a:pt x="2787902" y="411442"/>
                  <a:pt x="2788542" y="410304"/>
                  <a:pt x="2791743" y="409450"/>
                </a:cubicBezTo>
                <a:close/>
                <a:moveTo>
                  <a:pt x="3091598" y="406036"/>
                </a:moveTo>
                <a:cubicBezTo>
                  <a:pt x="3093092" y="405609"/>
                  <a:pt x="3094373" y="405609"/>
                  <a:pt x="3095867" y="406036"/>
                </a:cubicBezTo>
                <a:cubicBezTo>
                  <a:pt x="3097574" y="406604"/>
                  <a:pt x="3099068" y="408027"/>
                  <a:pt x="3100135" y="410304"/>
                </a:cubicBezTo>
                <a:cubicBezTo>
                  <a:pt x="3099495" y="415141"/>
                  <a:pt x="3091385" y="421685"/>
                  <a:pt x="3087757" y="422681"/>
                </a:cubicBezTo>
                <a:cubicBezTo>
                  <a:pt x="3084769" y="420547"/>
                  <a:pt x="3083489" y="417844"/>
                  <a:pt x="3083702" y="415283"/>
                </a:cubicBezTo>
                <a:cubicBezTo>
                  <a:pt x="3083702" y="411015"/>
                  <a:pt x="3087543" y="407032"/>
                  <a:pt x="3091598" y="406036"/>
                </a:cubicBezTo>
                <a:close/>
                <a:moveTo>
                  <a:pt x="3416209" y="405182"/>
                </a:moveTo>
                <a:cubicBezTo>
                  <a:pt x="3420478" y="405324"/>
                  <a:pt x="3426880" y="407601"/>
                  <a:pt x="3426668" y="408596"/>
                </a:cubicBezTo>
                <a:cubicBezTo>
                  <a:pt x="3427948" y="408596"/>
                  <a:pt x="3427735" y="409734"/>
                  <a:pt x="3428801" y="409877"/>
                </a:cubicBezTo>
                <a:cubicBezTo>
                  <a:pt x="3428801" y="409877"/>
                  <a:pt x="3430082" y="409877"/>
                  <a:pt x="3431149" y="411157"/>
                </a:cubicBezTo>
                <a:cubicBezTo>
                  <a:pt x="3431576" y="411726"/>
                  <a:pt x="3432216" y="412296"/>
                  <a:pt x="3432430" y="413149"/>
                </a:cubicBezTo>
                <a:cubicBezTo>
                  <a:pt x="3432643" y="413861"/>
                  <a:pt x="3432430" y="414856"/>
                  <a:pt x="3431789" y="415994"/>
                </a:cubicBezTo>
                <a:cubicBezTo>
                  <a:pt x="3422826" y="412153"/>
                  <a:pt x="3418130" y="412153"/>
                  <a:pt x="3411728" y="408312"/>
                </a:cubicBezTo>
                <a:cubicBezTo>
                  <a:pt x="3411728" y="407032"/>
                  <a:pt x="3413009" y="407174"/>
                  <a:pt x="3413009" y="405893"/>
                </a:cubicBezTo>
                <a:cubicBezTo>
                  <a:pt x="3413649" y="405324"/>
                  <a:pt x="3414929" y="405182"/>
                  <a:pt x="3416209" y="405182"/>
                </a:cubicBezTo>
                <a:close/>
                <a:moveTo>
                  <a:pt x="3210900" y="403048"/>
                </a:moveTo>
                <a:cubicBezTo>
                  <a:pt x="3214101" y="402195"/>
                  <a:pt x="3218369" y="403617"/>
                  <a:pt x="3219224" y="408454"/>
                </a:cubicBezTo>
                <a:cubicBezTo>
                  <a:pt x="3220717" y="412438"/>
                  <a:pt x="3218156" y="416563"/>
                  <a:pt x="3219010" y="421400"/>
                </a:cubicBezTo>
                <a:cubicBezTo>
                  <a:pt x="3216236" y="422681"/>
                  <a:pt x="3214315" y="423250"/>
                  <a:pt x="3212821" y="423108"/>
                </a:cubicBezTo>
                <a:lnTo>
                  <a:pt x="3212394" y="422681"/>
                </a:lnTo>
                <a:lnTo>
                  <a:pt x="3200869" y="416706"/>
                </a:lnTo>
                <a:cubicBezTo>
                  <a:pt x="3199802" y="415425"/>
                  <a:pt x="3197882" y="410588"/>
                  <a:pt x="3199162" y="409308"/>
                </a:cubicBezTo>
                <a:cubicBezTo>
                  <a:pt x="3200442" y="408169"/>
                  <a:pt x="3201509" y="408169"/>
                  <a:pt x="3202790" y="408169"/>
                </a:cubicBezTo>
                <a:lnTo>
                  <a:pt x="3207912" y="411299"/>
                </a:lnTo>
                <a:lnTo>
                  <a:pt x="3207912" y="408739"/>
                </a:lnTo>
                <a:cubicBezTo>
                  <a:pt x="3208553" y="406036"/>
                  <a:pt x="3209620" y="403759"/>
                  <a:pt x="3210900" y="403048"/>
                </a:cubicBezTo>
                <a:close/>
                <a:moveTo>
                  <a:pt x="3055317" y="402052"/>
                </a:moveTo>
                <a:cubicBezTo>
                  <a:pt x="3055530" y="403617"/>
                  <a:pt x="3058305" y="410019"/>
                  <a:pt x="3056811" y="410446"/>
                </a:cubicBezTo>
                <a:cubicBezTo>
                  <a:pt x="3056811" y="410446"/>
                  <a:pt x="3056384" y="408739"/>
                  <a:pt x="3056171" y="407032"/>
                </a:cubicBezTo>
                <a:cubicBezTo>
                  <a:pt x="3055744" y="405324"/>
                  <a:pt x="3055957" y="405324"/>
                  <a:pt x="3054250" y="405751"/>
                </a:cubicBezTo>
                <a:cubicBezTo>
                  <a:pt x="3054036" y="404186"/>
                  <a:pt x="3054036" y="404044"/>
                  <a:pt x="3055317" y="402052"/>
                </a:cubicBezTo>
                <a:close/>
                <a:moveTo>
                  <a:pt x="3026079" y="402052"/>
                </a:moveTo>
                <a:cubicBezTo>
                  <a:pt x="3027572" y="403332"/>
                  <a:pt x="3028426" y="405324"/>
                  <a:pt x="3028853" y="407458"/>
                </a:cubicBezTo>
                <a:cubicBezTo>
                  <a:pt x="3030347" y="414287"/>
                  <a:pt x="3027359" y="423535"/>
                  <a:pt x="3023517" y="427234"/>
                </a:cubicBezTo>
                <a:cubicBezTo>
                  <a:pt x="3018182" y="427803"/>
                  <a:pt x="3014554" y="426522"/>
                  <a:pt x="3012633" y="424246"/>
                </a:cubicBezTo>
                <a:cubicBezTo>
                  <a:pt x="3006657" y="417275"/>
                  <a:pt x="3014127" y="401483"/>
                  <a:pt x="3026079" y="402052"/>
                </a:cubicBezTo>
                <a:close/>
                <a:moveTo>
                  <a:pt x="3243980" y="400487"/>
                </a:moveTo>
                <a:cubicBezTo>
                  <a:pt x="3248035" y="401341"/>
                  <a:pt x="3253370" y="405467"/>
                  <a:pt x="3255718" y="408169"/>
                </a:cubicBezTo>
                <a:cubicBezTo>
                  <a:pt x="3252090" y="410446"/>
                  <a:pt x="3243553" y="404328"/>
                  <a:pt x="3240565" y="400772"/>
                </a:cubicBezTo>
                <a:cubicBezTo>
                  <a:pt x="3241419" y="400203"/>
                  <a:pt x="3242699" y="400203"/>
                  <a:pt x="3243980" y="400487"/>
                </a:cubicBezTo>
                <a:close/>
                <a:moveTo>
                  <a:pt x="2508749" y="400060"/>
                </a:moveTo>
                <a:cubicBezTo>
                  <a:pt x="2510883" y="399776"/>
                  <a:pt x="2513444" y="400345"/>
                  <a:pt x="2515365" y="402195"/>
                </a:cubicBezTo>
                <a:cubicBezTo>
                  <a:pt x="2514511" y="409308"/>
                  <a:pt x="2514938" y="417559"/>
                  <a:pt x="2506828" y="417133"/>
                </a:cubicBezTo>
                <a:cubicBezTo>
                  <a:pt x="2497865" y="410588"/>
                  <a:pt x="2502346" y="401198"/>
                  <a:pt x="2508749" y="400060"/>
                </a:cubicBezTo>
                <a:close/>
                <a:moveTo>
                  <a:pt x="2983608" y="399633"/>
                </a:moveTo>
                <a:cubicBezTo>
                  <a:pt x="2993852" y="406320"/>
                  <a:pt x="2990651" y="408881"/>
                  <a:pt x="2987876" y="413861"/>
                </a:cubicBezTo>
                <a:cubicBezTo>
                  <a:pt x="2985529" y="412864"/>
                  <a:pt x="2982114" y="414145"/>
                  <a:pt x="2979553" y="412011"/>
                </a:cubicBezTo>
                <a:cubicBezTo>
                  <a:pt x="2979553" y="412011"/>
                  <a:pt x="2978272" y="410873"/>
                  <a:pt x="2978059" y="408454"/>
                </a:cubicBezTo>
                <a:cubicBezTo>
                  <a:pt x="2975284" y="405040"/>
                  <a:pt x="2978059" y="401198"/>
                  <a:pt x="2978059" y="401198"/>
                </a:cubicBezTo>
                <a:cubicBezTo>
                  <a:pt x="2978059" y="401198"/>
                  <a:pt x="2978059" y="401198"/>
                  <a:pt x="2976992" y="401341"/>
                </a:cubicBezTo>
                <a:cubicBezTo>
                  <a:pt x="2979126" y="401198"/>
                  <a:pt x="2981474" y="399776"/>
                  <a:pt x="2983608" y="399633"/>
                </a:cubicBezTo>
                <a:close/>
                <a:moveTo>
                  <a:pt x="2680552" y="393943"/>
                </a:moveTo>
                <a:cubicBezTo>
                  <a:pt x="2683113" y="394654"/>
                  <a:pt x="2686955" y="395081"/>
                  <a:pt x="2688235" y="398068"/>
                </a:cubicBezTo>
                <a:cubicBezTo>
                  <a:pt x="2688662" y="399065"/>
                  <a:pt x="2688875" y="400345"/>
                  <a:pt x="2688448" y="402052"/>
                </a:cubicBezTo>
                <a:cubicBezTo>
                  <a:pt x="2689302" y="403048"/>
                  <a:pt x="2686101" y="406462"/>
                  <a:pt x="2684607" y="406036"/>
                </a:cubicBezTo>
                <a:cubicBezTo>
                  <a:pt x="2680338" y="405893"/>
                  <a:pt x="2680338" y="401483"/>
                  <a:pt x="2678417" y="396788"/>
                </a:cubicBezTo>
                <a:cubicBezTo>
                  <a:pt x="2680125" y="397215"/>
                  <a:pt x="2680338" y="395650"/>
                  <a:pt x="2680552" y="393943"/>
                </a:cubicBezTo>
                <a:close/>
                <a:moveTo>
                  <a:pt x="2962479" y="392947"/>
                </a:moveTo>
                <a:cubicBezTo>
                  <a:pt x="2963760" y="393089"/>
                  <a:pt x="2965254" y="393516"/>
                  <a:pt x="2966748" y="394512"/>
                </a:cubicBezTo>
                <a:cubicBezTo>
                  <a:pt x="2963973" y="398495"/>
                  <a:pt x="2962479" y="402337"/>
                  <a:pt x="2961199" y="406178"/>
                </a:cubicBezTo>
                <a:lnTo>
                  <a:pt x="2960132" y="409308"/>
                </a:lnTo>
                <a:lnTo>
                  <a:pt x="2963760" y="408454"/>
                </a:lnTo>
                <a:cubicBezTo>
                  <a:pt x="2966108" y="408312"/>
                  <a:pt x="2968455" y="409023"/>
                  <a:pt x="2971443" y="411015"/>
                </a:cubicBezTo>
                <a:cubicBezTo>
                  <a:pt x="2977846" y="415425"/>
                  <a:pt x="2983395" y="422254"/>
                  <a:pt x="2976779" y="432356"/>
                </a:cubicBezTo>
                <a:cubicBezTo>
                  <a:pt x="2975925" y="434774"/>
                  <a:pt x="2975711" y="433493"/>
                  <a:pt x="2974858" y="434774"/>
                </a:cubicBezTo>
                <a:cubicBezTo>
                  <a:pt x="2973791" y="436054"/>
                  <a:pt x="2972937" y="438615"/>
                  <a:pt x="2973150" y="439753"/>
                </a:cubicBezTo>
                <a:cubicBezTo>
                  <a:pt x="2968028" y="436481"/>
                  <a:pt x="2966321" y="440180"/>
                  <a:pt x="2958425" y="434631"/>
                </a:cubicBezTo>
                <a:cubicBezTo>
                  <a:pt x="2950955" y="429652"/>
                  <a:pt x="2949674" y="423535"/>
                  <a:pt x="2950528" y="418840"/>
                </a:cubicBezTo>
                <a:lnTo>
                  <a:pt x="2952022" y="415141"/>
                </a:lnTo>
                <a:lnTo>
                  <a:pt x="2949247" y="412722"/>
                </a:lnTo>
                <a:cubicBezTo>
                  <a:pt x="2957997" y="406036"/>
                  <a:pt x="2945192" y="400772"/>
                  <a:pt x="2951808" y="395081"/>
                </a:cubicBezTo>
                <a:cubicBezTo>
                  <a:pt x="2955223" y="394370"/>
                  <a:pt x="2958638" y="392236"/>
                  <a:pt x="2962479" y="392947"/>
                </a:cubicBezTo>
                <a:close/>
                <a:moveTo>
                  <a:pt x="2352525" y="390955"/>
                </a:moveTo>
                <a:cubicBezTo>
                  <a:pt x="2358928" y="389959"/>
                  <a:pt x="2365544" y="396503"/>
                  <a:pt x="2364691" y="402621"/>
                </a:cubicBezTo>
                <a:cubicBezTo>
                  <a:pt x="2364264" y="405324"/>
                  <a:pt x="2362343" y="407885"/>
                  <a:pt x="2358288" y="409734"/>
                </a:cubicBezTo>
                <a:cubicBezTo>
                  <a:pt x="2353380" y="402479"/>
                  <a:pt x="2347617" y="402337"/>
                  <a:pt x="2346337" y="394796"/>
                </a:cubicBezTo>
                <a:cubicBezTo>
                  <a:pt x="2348044" y="392520"/>
                  <a:pt x="2350178" y="391239"/>
                  <a:pt x="2352525" y="390955"/>
                </a:cubicBezTo>
                <a:close/>
                <a:moveTo>
                  <a:pt x="3040591" y="390101"/>
                </a:moveTo>
                <a:cubicBezTo>
                  <a:pt x="3051689" y="393516"/>
                  <a:pt x="3061506" y="422112"/>
                  <a:pt x="3050408" y="427945"/>
                </a:cubicBezTo>
                <a:cubicBezTo>
                  <a:pt x="3048061" y="414003"/>
                  <a:pt x="3040378" y="406036"/>
                  <a:pt x="3040591" y="390101"/>
                </a:cubicBezTo>
                <a:close/>
                <a:moveTo>
                  <a:pt x="2372587" y="388394"/>
                </a:moveTo>
                <a:cubicBezTo>
                  <a:pt x="2377282" y="387399"/>
                  <a:pt x="2383472" y="394938"/>
                  <a:pt x="2382618" y="399776"/>
                </a:cubicBezTo>
                <a:cubicBezTo>
                  <a:pt x="2377496" y="393516"/>
                  <a:pt x="2371734" y="394370"/>
                  <a:pt x="2372587" y="388394"/>
                </a:cubicBezTo>
                <a:close/>
                <a:moveTo>
                  <a:pt x="2925985" y="386260"/>
                </a:moveTo>
                <a:cubicBezTo>
                  <a:pt x="2927479" y="387825"/>
                  <a:pt x="2928332" y="389674"/>
                  <a:pt x="2928759" y="391666"/>
                </a:cubicBezTo>
                <a:cubicBezTo>
                  <a:pt x="2929613" y="397784"/>
                  <a:pt x="2925771" y="405751"/>
                  <a:pt x="2925985" y="413434"/>
                </a:cubicBezTo>
                <a:cubicBezTo>
                  <a:pt x="2928119" y="417702"/>
                  <a:pt x="2933881" y="416990"/>
                  <a:pt x="2931960" y="426238"/>
                </a:cubicBezTo>
                <a:cubicBezTo>
                  <a:pt x="2918088" y="425100"/>
                  <a:pt x="2907844" y="420832"/>
                  <a:pt x="2900801" y="413576"/>
                </a:cubicBezTo>
                <a:cubicBezTo>
                  <a:pt x="2898453" y="411157"/>
                  <a:pt x="2896319" y="408454"/>
                  <a:pt x="2894612" y="405324"/>
                </a:cubicBezTo>
                <a:cubicBezTo>
                  <a:pt x="2901868" y="398922"/>
                  <a:pt x="2909978" y="405182"/>
                  <a:pt x="2917021" y="407885"/>
                </a:cubicBezTo>
                <a:cubicBezTo>
                  <a:pt x="2917874" y="399491"/>
                  <a:pt x="2917021" y="386829"/>
                  <a:pt x="2925985" y="386260"/>
                </a:cubicBezTo>
                <a:close/>
                <a:moveTo>
                  <a:pt x="3154770" y="385691"/>
                </a:moveTo>
                <a:cubicBezTo>
                  <a:pt x="3155411" y="386118"/>
                  <a:pt x="3155624" y="387114"/>
                  <a:pt x="3156478" y="388964"/>
                </a:cubicBezTo>
                <a:lnTo>
                  <a:pt x="3155411" y="393516"/>
                </a:lnTo>
                <a:lnTo>
                  <a:pt x="3156051" y="394654"/>
                </a:lnTo>
                <a:cubicBezTo>
                  <a:pt x="3156051" y="395792"/>
                  <a:pt x="3155624" y="396930"/>
                  <a:pt x="3154343" y="398068"/>
                </a:cubicBezTo>
                <a:lnTo>
                  <a:pt x="3153063" y="398922"/>
                </a:lnTo>
                <a:lnTo>
                  <a:pt x="3150075" y="402763"/>
                </a:lnTo>
                <a:lnTo>
                  <a:pt x="3149222" y="400772"/>
                </a:lnTo>
                <a:lnTo>
                  <a:pt x="3144740" y="400203"/>
                </a:lnTo>
                <a:cubicBezTo>
                  <a:pt x="3142392" y="401341"/>
                  <a:pt x="3140898" y="403759"/>
                  <a:pt x="3138764" y="402479"/>
                </a:cubicBezTo>
                <a:cubicBezTo>
                  <a:pt x="3142392" y="400203"/>
                  <a:pt x="3143672" y="399065"/>
                  <a:pt x="3146234" y="397926"/>
                </a:cubicBezTo>
                <a:lnTo>
                  <a:pt x="3146874" y="396361"/>
                </a:lnTo>
                <a:lnTo>
                  <a:pt x="3146660" y="396077"/>
                </a:lnTo>
                <a:lnTo>
                  <a:pt x="3147087" y="395650"/>
                </a:lnTo>
                <a:lnTo>
                  <a:pt x="3147728" y="394370"/>
                </a:lnTo>
                <a:lnTo>
                  <a:pt x="3148155" y="394227"/>
                </a:lnTo>
                <a:lnTo>
                  <a:pt x="3149648" y="391382"/>
                </a:lnTo>
                <a:cubicBezTo>
                  <a:pt x="3150929" y="388679"/>
                  <a:pt x="3151783" y="386118"/>
                  <a:pt x="3151783" y="386118"/>
                </a:cubicBezTo>
                <a:cubicBezTo>
                  <a:pt x="3153490" y="385549"/>
                  <a:pt x="3154343" y="385407"/>
                  <a:pt x="3154770" y="385691"/>
                </a:cubicBezTo>
                <a:close/>
                <a:moveTo>
                  <a:pt x="2258834" y="385407"/>
                </a:moveTo>
                <a:cubicBezTo>
                  <a:pt x="2259901" y="385976"/>
                  <a:pt x="2260969" y="386545"/>
                  <a:pt x="2261396" y="385407"/>
                </a:cubicBezTo>
                <a:cubicBezTo>
                  <a:pt x="2262676" y="388679"/>
                  <a:pt x="2262249" y="389817"/>
                  <a:pt x="2262676" y="391524"/>
                </a:cubicBezTo>
                <a:cubicBezTo>
                  <a:pt x="2263316" y="390386"/>
                  <a:pt x="2263743" y="392093"/>
                  <a:pt x="2263743" y="392093"/>
                </a:cubicBezTo>
                <a:cubicBezTo>
                  <a:pt x="2263743" y="392093"/>
                  <a:pt x="2263743" y="392093"/>
                  <a:pt x="2266731" y="391097"/>
                </a:cubicBezTo>
                <a:cubicBezTo>
                  <a:pt x="2266731" y="391097"/>
                  <a:pt x="2273987" y="389959"/>
                  <a:pt x="2277188" y="397073"/>
                </a:cubicBezTo>
                <a:cubicBezTo>
                  <a:pt x="2275695" y="397500"/>
                  <a:pt x="2279109" y="407458"/>
                  <a:pt x="2275055" y="410446"/>
                </a:cubicBezTo>
                <a:cubicBezTo>
                  <a:pt x="2272920" y="412011"/>
                  <a:pt x="2271426" y="412438"/>
                  <a:pt x="2269292" y="413861"/>
                </a:cubicBezTo>
                <a:cubicBezTo>
                  <a:pt x="2266304" y="412153"/>
                  <a:pt x="2261609" y="413434"/>
                  <a:pt x="2257340" y="405751"/>
                </a:cubicBezTo>
                <a:cubicBezTo>
                  <a:pt x="2253499" y="396930"/>
                  <a:pt x="2261822" y="393658"/>
                  <a:pt x="2260755" y="392947"/>
                </a:cubicBezTo>
                <a:cubicBezTo>
                  <a:pt x="2260115" y="391382"/>
                  <a:pt x="2260115" y="391382"/>
                  <a:pt x="2259048" y="390813"/>
                </a:cubicBezTo>
                <a:cubicBezTo>
                  <a:pt x="2259475" y="389674"/>
                  <a:pt x="2259475" y="386972"/>
                  <a:pt x="2258834" y="385407"/>
                </a:cubicBezTo>
                <a:close/>
                <a:moveTo>
                  <a:pt x="2789823" y="383557"/>
                </a:moveTo>
                <a:cubicBezTo>
                  <a:pt x="2791103" y="383700"/>
                  <a:pt x="2792597" y="384553"/>
                  <a:pt x="2794091" y="385834"/>
                </a:cubicBezTo>
                <a:cubicBezTo>
                  <a:pt x="2795798" y="387114"/>
                  <a:pt x="2796225" y="388537"/>
                  <a:pt x="2796652" y="390101"/>
                </a:cubicBezTo>
                <a:cubicBezTo>
                  <a:pt x="2796865" y="391666"/>
                  <a:pt x="2797079" y="393089"/>
                  <a:pt x="2798146" y="394370"/>
                </a:cubicBezTo>
                <a:cubicBezTo>
                  <a:pt x="2795585" y="395508"/>
                  <a:pt x="2791743" y="397926"/>
                  <a:pt x="2787475" y="394227"/>
                </a:cubicBezTo>
                <a:cubicBezTo>
                  <a:pt x="2786408" y="392947"/>
                  <a:pt x="2786408" y="392947"/>
                  <a:pt x="2786408" y="391809"/>
                </a:cubicBezTo>
                <a:cubicBezTo>
                  <a:pt x="2785554" y="389390"/>
                  <a:pt x="2784487" y="388110"/>
                  <a:pt x="2785981" y="385691"/>
                </a:cubicBezTo>
                <a:cubicBezTo>
                  <a:pt x="2787262" y="383984"/>
                  <a:pt x="2788542" y="383272"/>
                  <a:pt x="2789823" y="383557"/>
                </a:cubicBezTo>
                <a:close/>
                <a:moveTo>
                  <a:pt x="2679485" y="383557"/>
                </a:moveTo>
                <a:cubicBezTo>
                  <a:pt x="2679698" y="395366"/>
                  <a:pt x="2672229" y="397642"/>
                  <a:pt x="2665399" y="400772"/>
                </a:cubicBezTo>
                <a:cubicBezTo>
                  <a:pt x="2664332" y="395792"/>
                  <a:pt x="2669881" y="383272"/>
                  <a:pt x="2679485" y="383557"/>
                </a:cubicBezTo>
                <a:close/>
                <a:moveTo>
                  <a:pt x="3096293" y="380000"/>
                </a:moveTo>
                <a:cubicBezTo>
                  <a:pt x="3096720" y="380285"/>
                  <a:pt x="3097147" y="381138"/>
                  <a:pt x="3097574" y="382277"/>
                </a:cubicBezTo>
                <a:cubicBezTo>
                  <a:pt x="3097788" y="383272"/>
                  <a:pt x="3098001" y="384553"/>
                  <a:pt x="3098001" y="385407"/>
                </a:cubicBezTo>
                <a:cubicBezTo>
                  <a:pt x="3099068" y="385976"/>
                  <a:pt x="3099281" y="387683"/>
                  <a:pt x="3098641" y="388679"/>
                </a:cubicBezTo>
                <a:cubicBezTo>
                  <a:pt x="3098641" y="388679"/>
                  <a:pt x="3098855" y="390244"/>
                  <a:pt x="3099922" y="390813"/>
                </a:cubicBezTo>
                <a:cubicBezTo>
                  <a:pt x="3100348" y="394085"/>
                  <a:pt x="3099708" y="395081"/>
                  <a:pt x="3099068" y="396077"/>
                </a:cubicBezTo>
                <a:cubicBezTo>
                  <a:pt x="3099068" y="396077"/>
                  <a:pt x="3098855" y="394512"/>
                  <a:pt x="3098001" y="393943"/>
                </a:cubicBezTo>
                <a:cubicBezTo>
                  <a:pt x="3098001" y="393943"/>
                  <a:pt x="3097574" y="392236"/>
                  <a:pt x="3097361" y="390671"/>
                </a:cubicBezTo>
                <a:cubicBezTo>
                  <a:pt x="3097361" y="390671"/>
                  <a:pt x="3096507" y="390101"/>
                  <a:pt x="3095440" y="389390"/>
                </a:cubicBezTo>
                <a:cubicBezTo>
                  <a:pt x="3093946" y="385691"/>
                  <a:pt x="3092665" y="383415"/>
                  <a:pt x="3096293" y="380000"/>
                </a:cubicBezTo>
                <a:close/>
                <a:moveTo>
                  <a:pt x="2702747" y="378578"/>
                </a:moveTo>
                <a:cubicBezTo>
                  <a:pt x="2707870" y="378293"/>
                  <a:pt x="2711498" y="389248"/>
                  <a:pt x="2715126" y="394654"/>
                </a:cubicBezTo>
                <a:cubicBezTo>
                  <a:pt x="2712351" y="398780"/>
                  <a:pt x="2711071" y="399776"/>
                  <a:pt x="2706162" y="401056"/>
                </a:cubicBezTo>
                <a:cubicBezTo>
                  <a:pt x="2699973" y="395935"/>
                  <a:pt x="2698479" y="389532"/>
                  <a:pt x="2696985" y="382988"/>
                </a:cubicBezTo>
                <a:cubicBezTo>
                  <a:pt x="2699119" y="379858"/>
                  <a:pt x="2701040" y="378578"/>
                  <a:pt x="2702747" y="378578"/>
                </a:cubicBezTo>
                <a:close/>
                <a:moveTo>
                  <a:pt x="2397557" y="376159"/>
                </a:moveTo>
                <a:cubicBezTo>
                  <a:pt x="2398838" y="375875"/>
                  <a:pt x="2399905" y="376017"/>
                  <a:pt x="2401185" y="376159"/>
                </a:cubicBezTo>
                <a:cubicBezTo>
                  <a:pt x="2408015" y="377724"/>
                  <a:pt x="2412283" y="387256"/>
                  <a:pt x="2408655" y="393231"/>
                </a:cubicBezTo>
                <a:cubicBezTo>
                  <a:pt x="2407161" y="395792"/>
                  <a:pt x="2403960" y="397784"/>
                  <a:pt x="2398838" y="398068"/>
                </a:cubicBezTo>
                <a:cubicBezTo>
                  <a:pt x="2395850" y="388964"/>
                  <a:pt x="2393716" y="382846"/>
                  <a:pt x="2393502" y="377724"/>
                </a:cubicBezTo>
                <a:cubicBezTo>
                  <a:pt x="2394996" y="376871"/>
                  <a:pt x="2396277" y="376301"/>
                  <a:pt x="2397557" y="376159"/>
                </a:cubicBezTo>
                <a:close/>
                <a:moveTo>
                  <a:pt x="2444083" y="374736"/>
                </a:moveTo>
                <a:cubicBezTo>
                  <a:pt x="2457528" y="373171"/>
                  <a:pt x="2463290" y="388252"/>
                  <a:pt x="2461157" y="400345"/>
                </a:cubicBezTo>
                <a:cubicBezTo>
                  <a:pt x="2460302" y="404471"/>
                  <a:pt x="2458595" y="408027"/>
                  <a:pt x="2456247" y="410731"/>
                </a:cubicBezTo>
                <a:cubicBezTo>
                  <a:pt x="2446003" y="412011"/>
                  <a:pt x="2438961" y="403332"/>
                  <a:pt x="2437253" y="393943"/>
                </a:cubicBezTo>
                <a:lnTo>
                  <a:pt x="2437467" y="385549"/>
                </a:lnTo>
                <a:lnTo>
                  <a:pt x="2438107" y="384411"/>
                </a:lnTo>
                <a:lnTo>
                  <a:pt x="2438961" y="382277"/>
                </a:lnTo>
                <a:close/>
                <a:moveTo>
                  <a:pt x="2662198" y="373456"/>
                </a:moveTo>
                <a:cubicBezTo>
                  <a:pt x="2663478" y="375021"/>
                  <a:pt x="2663905" y="376586"/>
                  <a:pt x="2663905" y="378151"/>
                </a:cubicBezTo>
                <a:cubicBezTo>
                  <a:pt x="2664118" y="382846"/>
                  <a:pt x="2659637" y="386545"/>
                  <a:pt x="2654728" y="383272"/>
                </a:cubicBezTo>
                <a:cubicBezTo>
                  <a:pt x="2655368" y="376586"/>
                  <a:pt x="2658143" y="374167"/>
                  <a:pt x="2662198" y="373456"/>
                </a:cubicBezTo>
                <a:close/>
                <a:moveTo>
                  <a:pt x="3136843" y="371180"/>
                </a:moveTo>
                <a:cubicBezTo>
                  <a:pt x="3137484" y="371038"/>
                  <a:pt x="3138337" y="371180"/>
                  <a:pt x="3139404" y="372460"/>
                </a:cubicBezTo>
                <a:cubicBezTo>
                  <a:pt x="3140471" y="373171"/>
                  <a:pt x="3141112" y="373741"/>
                  <a:pt x="3140898" y="374736"/>
                </a:cubicBezTo>
                <a:cubicBezTo>
                  <a:pt x="3140898" y="375590"/>
                  <a:pt x="3140044" y="376871"/>
                  <a:pt x="3138764" y="378578"/>
                </a:cubicBezTo>
                <a:cubicBezTo>
                  <a:pt x="3136203" y="380996"/>
                  <a:pt x="3134923" y="383272"/>
                  <a:pt x="3133642" y="383272"/>
                </a:cubicBezTo>
                <a:cubicBezTo>
                  <a:pt x="3133642" y="384553"/>
                  <a:pt x="3132361" y="385691"/>
                  <a:pt x="3132148" y="386972"/>
                </a:cubicBezTo>
                <a:cubicBezTo>
                  <a:pt x="3132148" y="386972"/>
                  <a:pt x="3132148" y="386972"/>
                  <a:pt x="3131081" y="386972"/>
                </a:cubicBezTo>
                <a:cubicBezTo>
                  <a:pt x="3132788" y="382135"/>
                  <a:pt x="3132148" y="376017"/>
                  <a:pt x="3134709" y="372460"/>
                </a:cubicBezTo>
                <a:cubicBezTo>
                  <a:pt x="3135349" y="371891"/>
                  <a:pt x="3136203" y="371322"/>
                  <a:pt x="3136843" y="371180"/>
                </a:cubicBezTo>
                <a:close/>
                <a:moveTo>
                  <a:pt x="2622715" y="370469"/>
                </a:moveTo>
                <a:cubicBezTo>
                  <a:pt x="2629971" y="377866"/>
                  <a:pt x="2638295" y="385407"/>
                  <a:pt x="2635307" y="392378"/>
                </a:cubicBezTo>
                <a:cubicBezTo>
                  <a:pt x="2628264" y="393231"/>
                  <a:pt x="2622288" y="383557"/>
                  <a:pt x="2619727" y="377440"/>
                </a:cubicBezTo>
                <a:cubicBezTo>
                  <a:pt x="2621862" y="375163"/>
                  <a:pt x="2620581" y="372745"/>
                  <a:pt x="2622715" y="370469"/>
                </a:cubicBezTo>
                <a:close/>
                <a:moveTo>
                  <a:pt x="2520060" y="366200"/>
                </a:moveTo>
                <a:cubicBezTo>
                  <a:pt x="2526676" y="367054"/>
                  <a:pt x="2531371" y="368904"/>
                  <a:pt x="2532866" y="374025"/>
                </a:cubicBezTo>
                <a:cubicBezTo>
                  <a:pt x="2533292" y="375733"/>
                  <a:pt x="2533506" y="377724"/>
                  <a:pt x="2533079" y="380285"/>
                </a:cubicBezTo>
                <a:cubicBezTo>
                  <a:pt x="2529237" y="383130"/>
                  <a:pt x="2525182" y="381423"/>
                  <a:pt x="2522408" y="378151"/>
                </a:cubicBezTo>
                <a:cubicBezTo>
                  <a:pt x="2519847" y="374736"/>
                  <a:pt x="2518566" y="369899"/>
                  <a:pt x="2520060" y="366200"/>
                </a:cubicBezTo>
                <a:close/>
                <a:moveTo>
                  <a:pt x="2664546" y="361932"/>
                </a:moveTo>
                <a:cubicBezTo>
                  <a:pt x="2669454" y="361079"/>
                  <a:pt x="2679485" y="367197"/>
                  <a:pt x="2666679" y="372460"/>
                </a:cubicBezTo>
                <a:cubicBezTo>
                  <a:pt x="2660277" y="365489"/>
                  <a:pt x="2661344" y="362502"/>
                  <a:pt x="2664546" y="361932"/>
                </a:cubicBezTo>
                <a:close/>
                <a:moveTo>
                  <a:pt x="3102483" y="361221"/>
                </a:moveTo>
                <a:cubicBezTo>
                  <a:pt x="3102483" y="362359"/>
                  <a:pt x="3103550" y="362502"/>
                  <a:pt x="3103336" y="363640"/>
                </a:cubicBezTo>
                <a:cubicBezTo>
                  <a:pt x="3104403" y="366200"/>
                  <a:pt x="3104403" y="366058"/>
                  <a:pt x="3103123" y="367339"/>
                </a:cubicBezTo>
                <a:cubicBezTo>
                  <a:pt x="3101843" y="368477"/>
                  <a:pt x="3098428" y="367197"/>
                  <a:pt x="3096934" y="368477"/>
                </a:cubicBezTo>
                <a:cubicBezTo>
                  <a:pt x="3096934" y="368477"/>
                  <a:pt x="3096934" y="368477"/>
                  <a:pt x="3096080" y="366058"/>
                </a:cubicBezTo>
                <a:cubicBezTo>
                  <a:pt x="3096080" y="364777"/>
                  <a:pt x="3096293" y="363497"/>
                  <a:pt x="3097574" y="362359"/>
                </a:cubicBezTo>
                <a:cubicBezTo>
                  <a:pt x="3099068" y="361079"/>
                  <a:pt x="3101416" y="361221"/>
                  <a:pt x="3102483" y="361221"/>
                </a:cubicBezTo>
                <a:close/>
                <a:moveTo>
                  <a:pt x="2443443" y="359513"/>
                </a:moveTo>
                <a:cubicBezTo>
                  <a:pt x="2444510" y="363497"/>
                  <a:pt x="2444083" y="368192"/>
                  <a:pt x="2442589" y="373171"/>
                </a:cubicBezTo>
                <a:lnTo>
                  <a:pt x="2438961" y="382277"/>
                </a:lnTo>
                <a:lnTo>
                  <a:pt x="2437467" y="384553"/>
                </a:lnTo>
                <a:lnTo>
                  <a:pt x="2437467" y="385549"/>
                </a:lnTo>
                <a:lnTo>
                  <a:pt x="2431491" y="394938"/>
                </a:lnTo>
                <a:cubicBezTo>
                  <a:pt x="2426796" y="401341"/>
                  <a:pt x="2421674" y="406320"/>
                  <a:pt x="2417405" y="407885"/>
                </a:cubicBezTo>
                <a:cubicBezTo>
                  <a:pt x="2417618" y="400487"/>
                  <a:pt x="2417832" y="389532"/>
                  <a:pt x="2421033" y="379858"/>
                </a:cubicBezTo>
                <a:cubicBezTo>
                  <a:pt x="2424448" y="370184"/>
                  <a:pt x="2430851" y="361648"/>
                  <a:pt x="2443443" y="359513"/>
                </a:cubicBezTo>
                <a:close/>
                <a:moveTo>
                  <a:pt x="2833574" y="358376"/>
                </a:moveTo>
                <a:cubicBezTo>
                  <a:pt x="2829306" y="367765"/>
                  <a:pt x="2821835" y="382988"/>
                  <a:pt x="2812872" y="387399"/>
                </a:cubicBezTo>
                <a:cubicBezTo>
                  <a:pt x="2804336" y="376301"/>
                  <a:pt x="2825464" y="360510"/>
                  <a:pt x="2833574" y="358376"/>
                </a:cubicBezTo>
                <a:close/>
                <a:moveTo>
                  <a:pt x="3217303" y="356241"/>
                </a:moveTo>
                <a:cubicBezTo>
                  <a:pt x="3229040" y="354961"/>
                  <a:pt x="3233309" y="369472"/>
                  <a:pt x="3227120" y="374310"/>
                </a:cubicBezTo>
                <a:cubicBezTo>
                  <a:pt x="3225199" y="375875"/>
                  <a:pt x="3221998" y="376443"/>
                  <a:pt x="3217516" y="374879"/>
                </a:cubicBezTo>
                <a:cubicBezTo>
                  <a:pt x="3218156" y="366485"/>
                  <a:pt x="3213674" y="362502"/>
                  <a:pt x="3217303" y="356241"/>
                </a:cubicBezTo>
                <a:close/>
                <a:moveTo>
                  <a:pt x="3051048" y="355388"/>
                </a:moveTo>
                <a:cubicBezTo>
                  <a:pt x="3055530" y="366627"/>
                  <a:pt x="3048061" y="382419"/>
                  <a:pt x="3040164" y="386402"/>
                </a:cubicBezTo>
                <a:cubicBezTo>
                  <a:pt x="3035896" y="375306"/>
                  <a:pt x="3044646" y="361079"/>
                  <a:pt x="3051048" y="355388"/>
                </a:cubicBezTo>
                <a:close/>
                <a:moveTo>
                  <a:pt x="2301945" y="354676"/>
                </a:moveTo>
                <a:cubicBezTo>
                  <a:pt x="2304079" y="356811"/>
                  <a:pt x="2305573" y="358945"/>
                  <a:pt x="2306213" y="360936"/>
                </a:cubicBezTo>
                <a:cubicBezTo>
                  <a:pt x="2307494" y="364493"/>
                  <a:pt x="2306640" y="367765"/>
                  <a:pt x="2304506" y="370611"/>
                </a:cubicBezTo>
                <a:cubicBezTo>
                  <a:pt x="2298530" y="379289"/>
                  <a:pt x="2281457" y="384553"/>
                  <a:pt x="2274841" y="385834"/>
                </a:cubicBezTo>
                <a:cubicBezTo>
                  <a:pt x="2273987" y="383130"/>
                  <a:pt x="2274628" y="379716"/>
                  <a:pt x="2276121" y="376159"/>
                </a:cubicBezTo>
                <a:cubicBezTo>
                  <a:pt x="2280603" y="365631"/>
                  <a:pt x="2293408" y="353823"/>
                  <a:pt x="2301945" y="354676"/>
                </a:cubicBezTo>
                <a:close/>
                <a:moveTo>
                  <a:pt x="3073244" y="353681"/>
                </a:moveTo>
                <a:cubicBezTo>
                  <a:pt x="3074525" y="353681"/>
                  <a:pt x="3075805" y="354534"/>
                  <a:pt x="3077086" y="355673"/>
                </a:cubicBezTo>
                <a:cubicBezTo>
                  <a:pt x="3079860" y="357949"/>
                  <a:pt x="3079006" y="360367"/>
                  <a:pt x="3079006" y="360367"/>
                </a:cubicBezTo>
                <a:cubicBezTo>
                  <a:pt x="3077086" y="364066"/>
                  <a:pt x="3073884" y="365347"/>
                  <a:pt x="3070043" y="363213"/>
                </a:cubicBezTo>
                <a:cubicBezTo>
                  <a:pt x="3068549" y="360936"/>
                  <a:pt x="3069403" y="358518"/>
                  <a:pt x="3070256" y="356099"/>
                </a:cubicBezTo>
                <a:cubicBezTo>
                  <a:pt x="3071110" y="354250"/>
                  <a:pt x="3072177" y="353539"/>
                  <a:pt x="3073244" y="353681"/>
                </a:cubicBezTo>
                <a:close/>
                <a:moveTo>
                  <a:pt x="2767840" y="351120"/>
                </a:moveTo>
                <a:cubicBezTo>
                  <a:pt x="2769975" y="352827"/>
                  <a:pt x="2772323" y="353396"/>
                  <a:pt x="2775524" y="355388"/>
                </a:cubicBezTo>
                <a:cubicBezTo>
                  <a:pt x="2775097" y="358803"/>
                  <a:pt x="2770615" y="365062"/>
                  <a:pt x="2764853" y="364777"/>
                </a:cubicBezTo>
                <a:cubicBezTo>
                  <a:pt x="2759731" y="358803"/>
                  <a:pt x="2761438" y="354392"/>
                  <a:pt x="2767840" y="351120"/>
                </a:cubicBezTo>
                <a:close/>
                <a:moveTo>
                  <a:pt x="2708937" y="350835"/>
                </a:moveTo>
                <a:cubicBezTo>
                  <a:pt x="2711925" y="354534"/>
                  <a:pt x="2709363" y="357095"/>
                  <a:pt x="2706589" y="361932"/>
                </a:cubicBezTo>
                <a:cubicBezTo>
                  <a:pt x="2705522" y="360652"/>
                  <a:pt x="2701680" y="364209"/>
                  <a:pt x="2700400" y="365489"/>
                </a:cubicBezTo>
                <a:cubicBezTo>
                  <a:pt x="2698479" y="362928"/>
                  <a:pt x="2693357" y="366485"/>
                  <a:pt x="2690369" y="362786"/>
                </a:cubicBezTo>
                <a:cubicBezTo>
                  <a:pt x="2690583" y="360367"/>
                  <a:pt x="2690796" y="359229"/>
                  <a:pt x="2692076" y="356811"/>
                </a:cubicBezTo>
                <a:cubicBezTo>
                  <a:pt x="2702107" y="348417"/>
                  <a:pt x="2707656" y="352116"/>
                  <a:pt x="2708937" y="350835"/>
                </a:cubicBezTo>
                <a:close/>
                <a:moveTo>
                  <a:pt x="2416551" y="347137"/>
                </a:moveTo>
                <a:cubicBezTo>
                  <a:pt x="2417192" y="347279"/>
                  <a:pt x="2417618" y="347563"/>
                  <a:pt x="2417618" y="347563"/>
                </a:cubicBezTo>
                <a:cubicBezTo>
                  <a:pt x="2419326" y="349839"/>
                  <a:pt x="2416765" y="352400"/>
                  <a:pt x="2415911" y="354392"/>
                </a:cubicBezTo>
                <a:cubicBezTo>
                  <a:pt x="2417618" y="356668"/>
                  <a:pt x="2411856" y="357380"/>
                  <a:pt x="2413563" y="359656"/>
                </a:cubicBezTo>
                <a:cubicBezTo>
                  <a:pt x="2407375" y="361363"/>
                  <a:pt x="2410149" y="369472"/>
                  <a:pt x="2401612" y="373741"/>
                </a:cubicBezTo>
                <a:cubicBezTo>
                  <a:pt x="2402039" y="370753"/>
                  <a:pt x="2402679" y="368050"/>
                  <a:pt x="2403747" y="365774"/>
                </a:cubicBezTo>
                <a:cubicBezTo>
                  <a:pt x="2406521" y="358945"/>
                  <a:pt x="2411003" y="354961"/>
                  <a:pt x="2411643" y="349412"/>
                </a:cubicBezTo>
                <a:cubicBezTo>
                  <a:pt x="2411643" y="349412"/>
                  <a:pt x="2411643" y="349412"/>
                  <a:pt x="2414631" y="348417"/>
                </a:cubicBezTo>
                <a:cubicBezTo>
                  <a:pt x="2415058" y="347421"/>
                  <a:pt x="2415058" y="347421"/>
                  <a:pt x="2415058" y="347421"/>
                </a:cubicBezTo>
                <a:cubicBezTo>
                  <a:pt x="2415271" y="346852"/>
                  <a:pt x="2415911" y="346994"/>
                  <a:pt x="2416551" y="347137"/>
                </a:cubicBezTo>
                <a:close/>
                <a:moveTo>
                  <a:pt x="2725584" y="345287"/>
                </a:moveTo>
                <a:cubicBezTo>
                  <a:pt x="2725370" y="346567"/>
                  <a:pt x="2726437" y="347705"/>
                  <a:pt x="2726224" y="348986"/>
                </a:cubicBezTo>
                <a:cubicBezTo>
                  <a:pt x="2723663" y="351262"/>
                  <a:pt x="2720461" y="348844"/>
                  <a:pt x="2720675" y="347563"/>
                </a:cubicBezTo>
                <a:cubicBezTo>
                  <a:pt x="2721956" y="346425"/>
                  <a:pt x="2724303" y="346425"/>
                  <a:pt x="2725584" y="345287"/>
                </a:cubicBezTo>
                <a:close/>
                <a:moveTo>
                  <a:pt x="2860038" y="341588"/>
                </a:moveTo>
                <a:cubicBezTo>
                  <a:pt x="2860251" y="343295"/>
                  <a:pt x="2863026" y="343580"/>
                  <a:pt x="2863239" y="345145"/>
                </a:cubicBezTo>
                <a:cubicBezTo>
                  <a:pt x="2863239" y="345145"/>
                  <a:pt x="2863026" y="346140"/>
                  <a:pt x="2862599" y="346994"/>
                </a:cubicBezTo>
                <a:lnTo>
                  <a:pt x="2862172" y="348844"/>
                </a:lnTo>
                <a:lnTo>
                  <a:pt x="2864093" y="349839"/>
                </a:lnTo>
                <a:cubicBezTo>
                  <a:pt x="2866440" y="350266"/>
                  <a:pt x="2868361" y="348986"/>
                  <a:pt x="2869642" y="352969"/>
                </a:cubicBezTo>
                <a:cubicBezTo>
                  <a:pt x="2869215" y="355246"/>
                  <a:pt x="2867721" y="357380"/>
                  <a:pt x="2864093" y="358945"/>
                </a:cubicBezTo>
                <a:cubicBezTo>
                  <a:pt x="2861318" y="357095"/>
                  <a:pt x="2860465" y="355388"/>
                  <a:pt x="2860251" y="353681"/>
                </a:cubicBezTo>
                <a:lnTo>
                  <a:pt x="2861745" y="348986"/>
                </a:lnTo>
                <a:lnTo>
                  <a:pt x="2860891" y="349128"/>
                </a:lnTo>
                <a:cubicBezTo>
                  <a:pt x="2860678" y="349128"/>
                  <a:pt x="2860891" y="348844"/>
                  <a:pt x="2861105" y="348274"/>
                </a:cubicBezTo>
                <a:cubicBezTo>
                  <a:pt x="2858544" y="348132"/>
                  <a:pt x="2857690" y="347563"/>
                  <a:pt x="2856623" y="346852"/>
                </a:cubicBezTo>
                <a:cubicBezTo>
                  <a:pt x="2856410" y="345145"/>
                  <a:pt x="2857690" y="343153"/>
                  <a:pt x="2860038" y="341588"/>
                </a:cubicBezTo>
                <a:close/>
                <a:moveTo>
                  <a:pt x="2545244" y="334048"/>
                </a:moveTo>
                <a:cubicBezTo>
                  <a:pt x="2546311" y="334616"/>
                  <a:pt x="2546737" y="333621"/>
                  <a:pt x="2547805" y="334190"/>
                </a:cubicBezTo>
                <a:cubicBezTo>
                  <a:pt x="2550366" y="334332"/>
                  <a:pt x="2551433" y="334901"/>
                  <a:pt x="2552073" y="336608"/>
                </a:cubicBezTo>
                <a:cubicBezTo>
                  <a:pt x="2553140" y="337178"/>
                  <a:pt x="2552713" y="338173"/>
                  <a:pt x="2553140" y="339881"/>
                </a:cubicBezTo>
                <a:cubicBezTo>
                  <a:pt x="2552713" y="340876"/>
                  <a:pt x="2551220" y="341303"/>
                  <a:pt x="2551220" y="341303"/>
                </a:cubicBezTo>
                <a:cubicBezTo>
                  <a:pt x="2549725" y="341872"/>
                  <a:pt x="2549725" y="341730"/>
                  <a:pt x="2550153" y="343437"/>
                </a:cubicBezTo>
                <a:cubicBezTo>
                  <a:pt x="2550153" y="343437"/>
                  <a:pt x="2549298" y="342726"/>
                  <a:pt x="2549298" y="342726"/>
                </a:cubicBezTo>
                <a:cubicBezTo>
                  <a:pt x="2549725" y="341730"/>
                  <a:pt x="2549085" y="342726"/>
                  <a:pt x="2547591" y="343295"/>
                </a:cubicBezTo>
                <a:cubicBezTo>
                  <a:pt x="2546097" y="341019"/>
                  <a:pt x="2545030" y="340450"/>
                  <a:pt x="2544390" y="338743"/>
                </a:cubicBezTo>
                <a:cubicBezTo>
                  <a:pt x="2543963" y="338031"/>
                  <a:pt x="2543963" y="336893"/>
                  <a:pt x="2543963" y="335897"/>
                </a:cubicBezTo>
                <a:cubicBezTo>
                  <a:pt x="2544177" y="335044"/>
                  <a:pt x="2544390" y="334190"/>
                  <a:pt x="2545244" y="334048"/>
                </a:cubicBezTo>
                <a:close/>
                <a:moveTo>
                  <a:pt x="2672229" y="331202"/>
                </a:moveTo>
                <a:cubicBezTo>
                  <a:pt x="2672229" y="331202"/>
                  <a:pt x="2672869" y="331771"/>
                  <a:pt x="2673509" y="332625"/>
                </a:cubicBezTo>
                <a:cubicBezTo>
                  <a:pt x="2674363" y="333479"/>
                  <a:pt x="2675003" y="334474"/>
                  <a:pt x="2674789" y="335328"/>
                </a:cubicBezTo>
                <a:cubicBezTo>
                  <a:pt x="2675216" y="338031"/>
                  <a:pt x="2670521" y="336751"/>
                  <a:pt x="2669454" y="337320"/>
                </a:cubicBezTo>
                <a:cubicBezTo>
                  <a:pt x="2667960" y="336893"/>
                  <a:pt x="2666253" y="336466"/>
                  <a:pt x="2666679" y="334901"/>
                </a:cubicBezTo>
                <a:cubicBezTo>
                  <a:pt x="2666893" y="333194"/>
                  <a:pt x="2666253" y="332198"/>
                  <a:pt x="2668814" y="332056"/>
                </a:cubicBezTo>
                <a:cubicBezTo>
                  <a:pt x="2669667" y="331487"/>
                  <a:pt x="2671161" y="331914"/>
                  <a:pt x="2672229" y="331202"/>
                </a:cubicBezTo>
                <a:close/>
                <a:moveTo>
                  <a:pt x="2797719" y="330206"/>
                </a:moveTo>
                <a:cubicBezTo>
                  <a:pt x="2799427" y="329779"/>
                  <a:pt x="2801134" y="329922"/>
                  <a:pt x="2803055" y="330491"/>
                </a:cubicBezTo>
                <a:cubicBezTo>
                  <a:pt x="2805616" y="331344"/>
                  <a:pt x="2808177" y="333194"/>
                  <a:pt x="2810524" y="336181"/>
                </a:cubicBezTo>
                <a:cubicBezTo>
                  <a:pt x="2813085" y="342299"/>
                  <a:pt x="2804336" y="351404"/>
                  <a:pt x="2798573" y="349982"/>
                </a:cubicBezTo>
                <a:cubicBezTo>
                  <a:pt x="2796012" y="347563"/>
                  <a:pt x="2793665" y="345002"/>
                  <a:pt x="2791317" y="342584"/>
                </a:cubicBezTo>
                <a:cubicBezTo>
                  <a:pt x="2789609" y="336466"/>
                  <a:pt x="2792810" y="331344"/>
                  <a:pt x="2797719" y="330206"/>
                </a:cubicBezTo>
                <a:close/>
                <a:moveTo>
                  <a:pt x="2992358" y="329210"/>
                </a:moveTo>
                <a:cubicBezTo>
                  <a:pt x="2999401" y="335044"/>
                  <a:pt x="3005163" y="344860"/>
                  <a:pt x="3006444" y="346994"/>
                </a:cubicBezTo>
                <a:cubicBezTo>
                  <a:pt x="3007084" y="348132"/>
                  <a:pt x="3007084" y="348986"/>
                  <a:pt x="3006871" y="349697"/>
                </a:cubicBezTo>
                <a:cubicBezTo>
                  <a:pt x="3006657" y="350409"/>
                  <a:pt x="3005804" y="350977"/>
                  <a:pt x="3004737" y="351831"/>
                </a:cubicBezTo>
                <a:cubicBezTo>
                  <a:pt x="2998761" y="352400"/>
                  <a:pt x="2997053" y="346994"/>
                  <a:pt x="2992998" y="342868"/>
                </a:cubicBezTo>
                <a:cubicBezTo>
                  <a:pt x="2993638" y="341872"/>
                  <a:pt x="2993425" y="340165"/>
                  <a:pt x="2992571" y="339596"/>
                </a:cubicBezTo>
                <a:cubicBezTo>
                  <a:pt x="2992145" y="337889"/>
                  <a:pt x="2991931" y="336181"/>
                  <a:pt x="2991291" y="337320"/>
                </a:cubicBezTo>
                <a:cubicBezTo>
                  <a:pt x="2990438" y="332340"/>
                  <a:pt x="2989370" y="331771"/>
                  <a:pt x="2992358" y="329210"/>
                </a:cubicBezTo>
                <a:close/>
                <a:moveTo>
                  <a:pt x="2958851" y="327503"/>
                </a:moveTo>
                <a:cubicBezTo>
                  <a:pt x="2959278" y="327787"/>
                  <a:pt x="2959918" y="328214"/>
                  <a:pt x="2960985" y="328784"/>
                </a:cubicBezTo>
                <a:cubicBezTo>
                  <a:pt x="2962266" y="329779"/>
                  <a:pt x="2963333" y="329779"/>
                  <a:pt x="2962479" y="330917"/>
                </a:cubicBezTo>
                <a:cubicBezTo>
                  <a:pt x="2961412" y="332198"/>
                  <a:pt x="2961412" y="332198"/>
                  <a:pt x="2958211" y="332340"/>
                </a:cubicBezTo>
                <a:cubicBezTo>
                  <a:pt x="2959065" y="331202"/>
                  <a:pt x="2959065" y="331202"/>
                  <a:pt x="2957997" y="330064"/>
                </a:cubicBezTo>
                <a:cubicBezTo>
                  <a:pt x="2957997" y="330064"/>
                  <a:pt x="2957784" y="330064"/>
                  <a:pt x="2956717" y="330206"/>
                </a:cubicBezTo>
                <a:cubicBezTo>
                  <a:pt x="2956504" y="329068"/>
                  <a:pt x="2957784" y="328926"/>
                  <a:pt x="2957570" y="327787"/>
                </a:cubicBezTo>
                <a:cubicBezTo>
                  <a:pt x="2957570" y="327787"/>
                  <a:pt x="2958638" y="327787"/>
                  <a:pt x="2958638" y="327787"/>
                </a:cubicBezTo>
                <a:cubicBezTo>
                  <a:pt x="2958638" y="327219"/>
                  <a:pt x="2958638" y="327219"/>
                  <a:pt x="2958851" y="327503"/>
                </a:cubicBezTo>
                <a:close/>
                <a:moveTo>
                  <a:pt x="3396788" y="326650"/>
                </a:moveTo>
                <a:cubicBezTo>
                  <a:pt x="3397856" y="326365"/>
                  <a:pt x="3399136" y="326365"/>
                  <a:pt x="3400843" y="327361"/>
                </a:cubicBezTo>
                <a:cubicBezTo>
                  <a:pt x="3399563" y="330633"/>
                  <a:pt x="3397856" y="332767"/>
                  <a:pt x="3396575" y="335897"/>
                </a:cubicBezTo>
                <a:cubicBezTo>
                  <a:pt x="3391667" y="335897"/>
                  <a:pt x="3392520" y="331629"/>
                  <a:pt x="3393374" y="327361"/>
                </a:cubicBezTo>
                <a:cubicBezTo>
                  <a:pt x="3394655" y="327361"/>
                  <a:pt x="3395722" y="326792"/>
                  <a:pt x="3396788" y="326650"/>
                </a:cubicBezTo>
                <a:close/>
                <a:moveTo>
                  <a:pt x="3375446" y="325512"/>
                </a:moveTo>
                <a:cubicBezTo>
                  <a:pt x="3377794" y="325512"/>
                  <a:pt x="3379928" y="325938"/>
                  <a:pt x="3381849" y="327219"/>
                </a:cubicBezTo>
                <a:cubicBezTo>
                  <a:pt x="3383343" y="331344"/>
                  <a:pt x="3383130" y="334616"/>
                  <a:pt x="3381849" y="337035"/>
                </a:cubicBezTo>
                <a:cubicBezTo>
                  <a:pt x="3378434" y="344575"/>
                  <a:pt x="3366270" y="345002"/>
                  <a:pt x="3361788" y="340165"/>
                </a:cubicBezTo>
                <a:cubicBezTo>
                  <a:pt x="3361147" y="331487"/>
                  <a:pt x="3368404" y="325796"/>
                  <a:pt x="3375446" y="325512"/>
                </a:cubicBezTo>
                <a:close/>
                <a:moveTo>
                  <a:pt x="3240565" y="324658"/>
                </a:moveTo>
                <a:cubicBezTo>
                  <a:pt x="3247181" y="325227"/>
                  <a:pt x="3251236" y="327930"/>
                  <a:pt x="3254865" y="335186"/>
                </a:cubicBezTo>
                <a:cubicBezTo>
                  <a:pt x="3249316" y="344149"/>
                  <a:pt x="3251877" y="342015"/>
                  <a:pt x="3242059" y="348274"/>
                </a:cubicBezTo>
                <a:lnTo>
                  <a:pt x="3237151" y="341872"/>
                </a:lnTo>
                <a:lnTo>
                  <a:pt x="3234163" y="344149"/>
                </a:lnTo>
                <a:cubicBezTo>
                  <a:pt x="3231602" y="345287"/>
                  <a:pt x="3228614" y="345714"/>
                  <a:pt x="3226693" y="344433"/>
                </a:cubicBezTo>
                <a:cubicBezTo>
                  <a:pt x="3225412" y="343722"/>
                  <a:pt x="3224559" y="342157"/>
                  <a:pt x="3224772" y="339881"/>
                </a:cubicBezTo>
                <a:cubicBezTo>
                  <a:pt x="3225199" y="336466"/>
                  <a:pt x="3226693" y="334616"/>
                  <a:pt x="3229040" y="333621"/>
                </a:cubicBezTo>
                <a:lnTo>
                  <a:pt x="3230535" y="333479"/>
                </a:lnTo>
                <a:lnTo>
                  <a:pt x="3230535" y="333194"/>
                </a:lnTo>
                <a:cubicBezTo>
                  <a:pt x="3235230" y="331202"/>
                  <a:pt x="3238004" y="326792"/>
                  <a:pt x="3240565" y="324658"/>
                </a:cubicBezTo>
                <a:close/>
                <a:moveTo>
                  <a:pt x="2781286" y="321670"/>
                </a:moveTo>
                <a:cubicBezTo>
                  <a:pt x="2782780" y="321528"/>
                  <a:pt x="2784274" y="321670"/>
                  <a:pt x="2785981" y="322097"/>
                </a:cubicBezTo>
                <a:cubicBezTo>
                  <a:pt x="2791530" y="334048"/>
                  <a:pt x="2781713" y="352400"/>
                  <a:pt x="2771468" y="345429"/>
                </a:cubicBezTo>
                <a:cubicBezTo>
                  <a:pt x="2770188" y="344433"/>
                  <a:pt x="2768694" y="343010"/>
                  <a:pt x="2767200" y="340876"/>
                </a:cubicBezTo>
                <a:cubicBezTo>
                  <a:pt x="2769761" y="334190"/>
                  <a:pt x="2771895" y="322240"/>
                  <a:pt x="2781286" y="321670"/>
                </a:cubicBezTo>
                <a:close/>
                <a:moveTo>
                  <a:pt x="2649819" y="321101"/>
                </a:moveTo>
                <a:cubicBezTo>
                  <a:pt x="2655368" y="323662"/>
                  <a:pt x="2657075" y="327787"/>
                  <a:pt x="2656435" y="332625"/>
                </a:cubicBezTo>
                <a:cubicBezTo>
                  <a:pt x="2651313" y="336324"/>
                  <a:pt x="2643844" y="330917"/>
                  <a:pt x="2644697" y="324942"/>
                </a:cubicBezTo>
                <a:cubicBezTo>
                  <a:pt x="2645978" y="323947"/>
                  <a:pt x="2647472" y="321813"/>
                  <a:pt x="2649819" y="321101"/>
                </a:cubicBezTo>
                <a:close/>
                <a:moveTo>
                  <a:pt x="2606282" y="320248"/>
                </a:moveTo>
                <a:cubicBezTo>
                  <a:pt x="2603080" y="327787"/>
                  <a:pt x="2601160" y="337035"/>
                  <a:pt x="2595611" y="343580"/>
                </a:cubicBezTo>
                <a:cubicBezTo>
                  <a:pt x="2592409" y="335897"/>
                  <a:pt x="2594970" y="319821"/>
                  <a:pt x="2606282" y="320248"/>
                </a:cubicBezTo>
                <a:close/>
                <a:moveTo>
                  <a:pt x="3119343" y="319963"/>
                </a:moveTo>
                <a:cubicBezTo>
                  <a:pt x="3120623" y="319963"/>
                  <a:pt x="3121690" y="320248"/>
                  <a:pt x="3122758" y="320816"/>
                </a:cubicBezTo>
                <a:cubicBezTo>
                  <a:pt x="3123825" y="322097"/>
                  <a:pt x="3123611" y="324515"/>
                  <a:pt x="3122117" y="328072"/>
                </a:cubicBezTo>
                <a:cubicBezTo>
                  <a:pt x="3119770" y="329210"/>
                  <a:pt x="3116568" y="325512"/>
                  <a:pt x="3114434" y="324231"/>
                </a:cubicBezTo>
                <a:cubicBezTo>
                  <a:pt x="3115715" y="323093"/>
                  <a:pt x="3116995" y="321955"/>
                  <a:pt x="3115928" y="321955"/>
                </a:cubicBezTo>
                <a:cubicBezTo>
                  <a:pt x="3117209" y="320674"/>
                  <a:pt x="3118276" y="320105"/>
                  <a:pt x="3119343" y="319963"/>
                </a:cubicBezTo>
                <a:close/>
                <a:moveTo>
                  <a:pt x="3312701" y="315411"/>
                </a:moveTo>
                <a:cubicBezTo>
                  <a:pt x="3319958" y="315268"/>
                  <a:pt x="3325506" y="317686"/>
                  <a:pt x="3330842" y="315979"/>
                </a:cubicBezTo>
                <a:cubicBezTo>
                  <a:pt x="3330842" y="315979"/>
                  <a:pt x="3330842" y="315837"/>
                  <a:pt x="3332976" y="318398"/>
                </a:cubicBezTo>
                <a:cubicBezTo>
                  <a:pt x="3334043" y="318398"/>
                  <a:pt x="3334043" y="318398"/>
                  <a:pt x="3334043" y="318398"/>
                </a:cubicBezTo>
                <a:cubicBezTo>
                  <a:pt x="3334684" y="318398"/>
                  <a:pt x="3334897" y="318967"/>
                  <a:pt x="3334897" y="319536"/>
                </a:cubicBezTo>
                <a:cubicBezTo>
                  <a:pt x="3334897" y="320248"/>
                  <a:pt x="3334897" y="320816"/>
                  <a:pt x="3334897" y="320816"/>
                </a:cubicBezTo>
                <a:cubicBezTo>
                  <a:pt x="3333617" y="323235"/>
                  <a:pt x="3330201" y="321955"/>
                  <a:pt x="3328067" y="321955"/>
                </a:cubicBezTo>
                <a:cubicBezTo>
                  <a:pt x="3326574" y="324231"/>
                  <a:pt x="3323586" y="319394"/>
                  <a:pt x="3322305" y="321813"/>
                </a:cubicBezTo>
                <a:cubicBezTo>
                  <a:pt x="3318250" y="316833"/>
                  <a:pt x="3311848" y="322808"/>
                  <a:pt x="3304592" y="316691"/>
                </a:cubicBezTo>
                <a:cubicBezTo>
                  <a:pt x="3307366" y="315837"/>
                  <a:pt x="3310140" y="315411"/>
                  <a:pt x="3312701" y="315411"/>
                </a:cubicBezTo>
                <a:close/>
                <a:moveTo>
                  <a:pt x="3082208" y="314272"/>
                </a:moveTo>
                <a:cubicBezTo>
                  <a:pt x="3083275" y="313988"/>
                  <a:pt x="3084555" y="314130"/>
                  <a:pt x="3085836" y="314557"/>
                </a:cubicBezTo>
                <a:cubicBezTo>
                  <a:pt x="3091172" y="322240"/>
                  <a:pt x="3082208" y="325938"/>
                  <a:pt x="3078153" y="323378"/>
                </a:cubicBezTo>
                <a:cubicBezTo>
                  <a:pt x="3076232" y="318967"/>
                  <a:pt x="3078793" y="315268"/>
                  <a:pt x="3082208" y="314272"/>
                </a:cubicBezTo>
                <a:close/>
                <a:moveTo>
                  <a:pt x="3092665" y="314130"/>
                </a:moveTo>
                <a:cubicBezTo>
                  <a:pt x="3098641" y="314984"/>
                  <a:pt x="3105044" y="323378"/>
                  <a:pt x="3108245" y="332767"/>
                </a:cubicBezTo>
                <a:cubicBezTo>
                  <a:pt x="3111446" y="342157"/>
                  <a:pt x="3111233" y="352543"/>
                  <a:pt x="3104190" y="357238"/>
                </a:cubicBezTo>
                <a:cubicBezTo>
                  <a:pt x="3105257" y="340023"/>
                  <a:pt x="3088397" y="332909"/>
                  <a:pt x="3092665" y="314130"/>
                </a:cubicBezTo>
                <a:close/>
                <a:moveTo>
                  <a:pt x="3184649" y="313703"/>
                </a:moveTo>
                <a:cubicBezTo>
                  <a:pt x="3188491" y="313419"/>
                  <a:pt x="3195107" y="314841"/>
                  <a:pt x="3195961" y="314841"/>
                </a:cubicBezTo>
                <a:cubicBezTo>
                  <a:pt x="3195961" y="314841"/>
                  <a:pt x="3197027" y="314984"/>
                  <a:pt x="3198095" y="314984"/>
                </a:cubicBezTo>
                <a:cubicBezTo>
                  <a:pt x="3199162" y="316121"/>
                  <a:pt x="3199162" y="317402"/>
                  <a:pt x="3200229" y="317402"/>
                </a:cubicBezTo>
                <a:cubicBezTo>
                  <a:pt x="3196387" y="320816"/>
                  <a:pt x="3192973" y="319536"/>
                  <a:pt x="3189771" y="318398"/>
                </a:cubicBezTo>
                <a:cubicBezTo>
                  <a:pt x="3187637" y="317118"/>
                  <a:pt x="3186570" y="317118"/>
                  <a:pt x="3184009" y="318256"/>
                </a:cubicBezTo>
                <a:cubicBezTo>
                  <a:pt x="3184009" y="318256"/>
                  <a:pt x="3184009" y="318256"/>
                  <a:pt x="3182088" y="315837"/>
                </a:cubicBezTo>
                <a:lnTo>
                  <a:pt x="3182088" y="314699"/>
                </a:lnTo>
                <a:cubicBezTo>
                  <a:pt x="3182515" y="314130"/>
                  <a:pt x="3183369" y="313846"/>
                  <a:pt x="3184649" y="313703"/>
                </a:cubicBezTo>
                <a:close/>
                <a:moveTo>
                  <a:pt x="2735401" y="311284"/>
                </a:moveTo>
                <a:cubicBezTo>
                  <a:pt x="2742230" y="311142"/>
                  <a:pt x="2746712" y="315695"/>
                  <a:pt x="2749273" y="321386"/>
                </a:cubicBezTo>
                <a:cubicBezTo>
                  <a:pt x="2752047" y="327077"/>
                  <a:pt x="2752901" y="333905"/>
                  <a:pt x="2752901" y="338600"/>
                </a:cubicBezTo>
                <a:cubicBezTo>
                  <a:pt x="2749060" y="335044"/>
                  <a:pt x="2745218" y="331629"/>
                  <a:pt x="2742017" y="327361"/>
                </a:cubicBezTo>
                <a:cubicBezTo>
                  <a:pt x="2738815" y="323235"/>
                  <a:pt x="2736255" y="318256"/>
                  <a:pt x="2735401" y="311284"/>
                </a:cubicBezTo>
                <a:close/>
                <a:moveTo>
                  <a:pt x="2303226" y="311000"/>
                </a:moveTo>
                <a:cubicBezTo>
                  <a:pt x="2311976" y="312423"/>
                  <a:pt x="2309415" y="322240"/>
                  <a:pt x="2304933" y="323378"/>
                </a:cubicBezTo>
                <a:cubicBezTo>
                  <a:pt x="2299384" y="321101"/>
                  <a:pt x="2299170" y="313276"/>
                  <a:pt x="2303226" y="311000"/>
                </a:cubicBezTo>
                <a:close/>
                <a:moveTo>
                  <a:pt x="2564452" y="310858"/>
                </a:moveTo>
                <a:cubicBezTo>
                  <a:pt x="2565092" y="311712"/>
                  <a:pt x="2565519" y="313134"/>
                  <a:pt x="2565945" y="314557"/>
                </a:cubicBezTo>
                <a:cubicBezTo>
                  <a:pt x="2566586" y="319109"/>
                  <a:pt x="2565519" y="325369"/>
                  <a:pt x="2564024" y="327930"/>
                </a:cubicBezTo>
                <a:cubicBezTo>
                  <a:pt x="2560183" y="329068"/>
                  <a:pt x="2557622" y="328357"/>
                  <a:pt x="2555915" y="326792"/>
                </a:cubicBezTo>
                <a:cubicBezTo>
                  <a:pt x="2550579" y="321955"/>
                  <a:pt x="2554421" y="308582"/>
                  <a:pt x="2564452" y="310858"/>
                </a:cubicBezTo>
                <a:close/>
                <a:moveTo>
                  <a:pt x="2848300" y="306732"/>
                </a:moveTo>
                <a:cubicBezTo>
                  <a:pt x="2851288" y="306590"/>
                  <a:pt x="2854062" y="307159"/>
                  <a:pt x="2855129" y="308439"/>
                </a:cubicBezTo>
                <a:cubicBezTo>
                  <a:pt x="2856410" y="320105"/>
                  <a:pt x="2847233" y="321101"/>
                  <a:pt x="2842964" y="315979"/>
                </a:cubicBezTo>
                <a:cubicBezTo>
                  <a:pt x="2841684" y="314130"/>
                  <a:pt x="2840830" y="311712"/>
                  <a:pt x="2841257" y="308724"/>
                </a:cubicBezTo>
                <a:cubicBezTo>
                  <a:pt x="2842537" y="307443"/>
                  <a:pt x="2845525" y="306732"/>
                  <a:pt x="2848300" y="306732"/>
                </a:cubicBezTo>
                <a:close/>
                <a:moveTo>
                  <a:pt x="2824183" y="305594"/>
                </a:moveTo>
                <a:cubicBezTo>
                  <a:pt x="2836135" y="309008"/>
                  <a:pt x="2834854" y="323662"/>
                  <a:pt x="2827385" y="325512"/>
                </a:cubicBezTo>
                <a:cubicBezTo>
                  <a:pt x="2824823" y="326223"/>
                  <a:pt x="2821622" y="325369"/>
                  <a:pt x="2817994" y="322382"/>
                </a:cubicBezTo>
                <a:cubicBezTo>
                  <a:pt x="2821409" y="315126"/>
                  <a:pt x="2818421" y="309720"/>
                  <a:pt x="2824183" y="305594"/>
                </a:cubicBezTo>
                <a:close/>
                <a:moveTo>
                  <a:pt x="3048701" y="302606"/>
                </a:moveTo>
                <a:cubicBezTo>
                  <a:pt x="3048488" y="305310"/>
                  <a:pt x="3049981" y="305736"/>
                  <a:pt x="3047634" y="309435"/>
                </a:cubicBezTo>
                <a:cubicBezTo>
                  <a:pt x="3046140" y="308866"/>
                  <a:pt x="3044646" y="308297"/>
                  <a:pt x="3043152" y="307728"/>
                </a:cubicBezTo>
                <a:cubicBezTo>
                  <a:pt x="3044433" y="304598"/>
                  <a:pt x="3045713" y="301468"/>
                  <a:pt x="3048701" y="302606"/>
                </a:cubicBezTo>
                <a:close/>
                <a:moveTo>
                  <a:pt x="2710217" y="298054"/>
                </a:moveTo>
                <a:cubicBezTo>
                  <a:pt x="2713845" y="301468"/>
                  <a:pt x="2717260" y="305736"/>
                  <a:pt x="2719608" y="310858"/>
                </a:cubicBezTo>
                <a:cubicBezTo>
                  <a:pt x="2722169" y="316121"/>
                  <a:pt x="2723663" y="322240"/>
                  <a:pt x="2723663" y="329922"/>
                </a:cubicBezTo>
                <a:cubicBezTo>
                  <a:pt x="2717687" y="335755"/>
                  <a:pt x="2711925" y="333621"/>
                  <a:pt x="2708083" y="328357"/>
                </a:cubicBezTo>
                <a:cubicBezTo>
                  <a:pt x="2701467" y="319394"/>
                  <a:pt x="2699546" y="301895"/>
                  <a:pt x="2710217" y="298054"/>
                </a:cubicBezTo>
                <a:close/>
                <a:moveTo>
                  <a:pt x="2740523" y="297769"/>
                </a:moveTo>
                <a:cubicBezTo>
                  <a:pt x="2742657" y="298054"/>
                  <a:pt x="2743938" y="298907"/>
                  <a:pt x="2744791" y="300045"/>
                </a:cubicBezTo>
                <a:cubicBezTo>
                  <a:pt x="2746926" y="303318"/>
                  <a:pt x="2743724" y="309150"/>
                  <a:pt x="2740310" y="310147"/>
                </a:cubicBezTo>
                <a:cubicBezTo>
                  <a:pt x="2735187" y="308012"/>
                  <a:pt x="2736041" y="300330"/>
                  <a:pt x="2740523" y="297769"/>
                </a:cubicBezTo>
                <a:close/>
                <a:moveTo>
                  <a:pt x="2893118" y="297342"/>
                </a:moveTo>
                <a:cubicBezTo>
                  <a:pt x="2896532" y="297484"/>
                  <a:pt x="2901015" y="301183"/>
                  <a:pt x="2901228" y="304740"/>
                </a:cubicBezTo>
                <a:cubicBezTo>
                  <a:pt x="2899094" y="308155"/>
                  <a:pt x="2896959" y="306874"/>
                  <a:pt x="2895892" y="309150"/>
                </a:cubicBezTo>
                <a:cubicBezTo>
                  <a:pt x="2891411" y="305452"/>
                  <a:pt x="2891197" y="301895"/>
                  <a:pt x="2893118" y="297342"/>
                </a:cubicBezTo>
                <a:close/>
                <a:moveTo>
                  <a:pt x="3279407" y="296204"/>
                </a:moveTo>
                <a:cubicBezTo>
                  <a:pt x="3282182" y="300045"/>
                  <a:pt x="3277914" y="308724"/>
                  <a:pt x="3273005" y="309862"/>
                </a:cubicBezTo>
                <a:cubicBezTo>
                  <a:pt x="3276847" y="302748"/>
                  <a:pt x="3273646" y="297769"/>
                  <a:pt x="3279407" y="296204"/>
                </a:cubicBezTo>
                <a:close/>
                <a:moveTo>
                  <a:pt x="2541402" y="295919"/>
                </a:moveTo>
                <a:cubicBezTo>
                  <a:pt x="2542256" y="296061"/>
                  <a:pt x="2543110" y="296489"/>
                  <a:pt x="2543963" y="297626"/>
                </a:cubicBezTo>
                <a:cubicBezTo>
                  <a:pt x="2536707" y="304171"/>
                  <a:pt x="2534999" y="308439"/>
                  <a:pt x="2528810" y="312849"/>
                </a:cubicBezTo>
                <a:cubicBezTo>
                  <a:pt x="2527743" y="312280"/>
                  <a:pt x="2528170" y="311284"/>
                  <a:pt x="2527103" y="310715"/>
                </a:cubicBezTo>
                <a:cubicBezTo>
                  <a:pt x="2526890" y="309862"/>
                  <a:pt x="2527103" y="308724"/>
                  <a:pt x="2527743" y="307443"/>
                </a:cubicBezTo>
                <a:cubicBezTo>
                  <a:pt x="2529664" y="303602"/>
                  <a:pt x="2534359" y="298765"/>
                  <a:pt x="2534999" y="299191"/>
                </a:cubicBezTo>
                <a:cubicBezTo>
                  <a:pt x="2535640" y="298196"/>
                  <a:pt x="2536707" y="298765"/>
                  <a:pt x="2537134" y="297769"/>
                </a:cubicBezTo>
                <a:cubicBezTo>
                  <a:pt x="2537134" y="297769"/>
                  <a:pt x="2537561" y="296631"/>
                  <a:pt x="2539268" y="296204"/>
                </a:cubicBezTo>
                <a:cubicBezTo>
                  <a:pt x="2539908" y="295919"/>
                  <a:pt x="2540762" y="295777"/>
                  <a:pt x="2541402" y="295919"/>
                </a:cubicBezTo>
                <a:close/>
                <a:moveTo>
                  <a:pt x="2450486" y="289944"/>
                </a:moveTo>
                <a:cubicBezTo>
                  <a:pt x="2452833" y="292505"/>
                  <a:pt x="2454114" y="294924"/>
                  <a:pt x="2456461" y="297342"/>
                </a:cubicBezTo>
                <a:cubicBezTo>
                  <a:pt x="2454327" y="301895"/>
                  <a:pt x="2450912" y="299476"/>
                  <a:pt x="2447284" y="296916"/>
                </a:cubicBezTo>
                <a:cubicBezTo>
                  <a:pt x="2448351" y="294639"/>
                  <a:pt x="2447071" y="292221"/>
                  <a:pt x="2450486" y="289944"/>
                </a:cubicBezTo>
                <a:close/>
                <a:moveTo>
                  <a:pt x="2614605" y="281408"/>
                </a:moveTo>
                <a:cubicBezTo>
                  <a:pt x="2615459" y="281408"/>
                  <a:pt x="2616526" y="281408"/>
                  <a:pt x="2617593" y="281693"/>
                </a:cubicBezTo>
                <a:cubicBezTo>
                  <a:pt x="2621648" y="282831"/>
                  <a:pt x="2626343" y="286387"/>
                  <a:pt x="2630185" y="287810"/>
                </a:cubicBezTo>
                <a:cubicBezTo>
                  <a:pt x="2629758" y="293216"/>
                  <a:pt x="2629118" y="294781"/>
                  <a:pt x="2625703" y="299049"/>
                </a:cubicBezTo>
                <a:cubicBezTo>
                  <a:pt x="2618020" y="298907"/>
                  <a:pt x="2613751" y="294497"/>
                  <a:pt x="2609696" y="290087"/>
                </a:cubicBezTo>
                <a:cubicBezTo>
                  <a:pt x="2610123" y="283969"/>
                  <a:pt x="2612044" y="281693"/>
                  <a:pt x="2614605" y="281408"/>
                </a:cubicBezTo>
                <a:close/>
                <a:moveTo>
                  <a:pt x="2847233" y="276144"/>
                </a:moveTo>
                <a:cubicBezTo>
                  <a:pt x="2847233" y="277851"/>
                  <a:pt x="2848727" y="277851"/>
                  <a:pt x="2850434" y="277851"/>
                </a:cubicBezTo>
                <a:cubicBezTo>
                  <a:pt x="2855769" y="286245"/>
                  <a:pt x="2842324" y="303602"/>
                  <a:pt x="2835494" y="298481"/>
                </a:cubicBezTo>
                <a:cubicBezTo>
                  <a:pt x="2834641" y="297769"/>
                  <a:pt x="2833787" y="296631"/>
                  <a:pt x="2833147" y="294924"/>
                </a:cubicBezTo>
                <a:cubicBezTo>
                  <a:pt x="2834214" y="284823"/>
                  <a:pt x="2837415" y="277424"/>
                  <a:pt x="2847233" y="276144"/>
                </a:cubicBezTo>
                <a:close/>
                <a:moveTo>
                  <a:pt x="3042725" y="275433"/>
                </a:moveTo>
                <a:cubicBezTo>
                  <a:pt x="3043365" y="275291"/>
                  <a:pt x="3044006" y="275433"/>
                  <a:pt x="3044859" y="276002"/>
                </a:cubicBezTo>
                <a:cubicBezTo>
                  <a:pt x="3048274" y="284680"/>
                  <a:pt x="3036109" y="306305"/>
                  <a:pt x="3024584" y="302891"/>
                </a:cubicBezTo>
                <a:cubicBezTo>
                  <a:pt x="3029279" y="295351"/>
                  <a:pt x="3034402" y="288948"/>
                  <a:pt x="3037603" y="276998"/>
                </a:cubicBezTo>
                <a:cubicBezTo>
                  <a:pt x="3039737" y="277851"/>
                  <a:pt x="3040805" y="275575"/>
                  <a:pt x="3042725" y="275433"/>
                </a:cubicBezTo>
                <a:close/>
                <a:moveTo>
                  <a:pt x="3262975" y="274579"/>
                </a:moveTo>
                <a:cubicBezTo>
                  <a:pt x="3265749" y="275291"/>
                  <a:pt x="3267670" y="276856"/>
                  <a:pt x="3268950" y="278705"/>
                </a:cubicBezTo>
                <a:cubicBezTo>
                  <a:pt x="3272365" y="284253"/>
                  <a:pt x="3269163" y="292932"/>
                  <a:pt x="3263188" y="294497"/>
                </a:cubicBezTo>
                <a:cubicBezTo>
                  <a:pt x="3260627" y="295208"/>
                  <a:pt x="3257425" y="294639"/>
                  <a:pt x="3254011" y="291652"/>
                </a:cubicBezTo>
                <a:cubicBezTo>
                  <a:pt x="3258706" y="284253"/>
                  <a:pt x="3256572" y="278847"/>
                  <a:pt x="3262975" y="274579"/>
                </a:cubicBezTo>
                <a:close/>
                <a:moveTo>
                  <a:pt x="3120837" y="273868"/>
                </a:moveTo>
                <a:cubicBezTo>
                  <a:pt x="3122544" y="274010"/>
                  <a:pt x="3124465" y="274579"/>
                  <a:pt x="3126172" y="275717"/>
                </a:cubicBezTo>
                <a:cubicBezTo>
                  <a:pt x="3123398" y="281977"/>
                  <a:pt x="3119130" y="284111"/>
                  <a:pt x="3112940" y="284680"/>
                </a:cubicBezTo>
                <a:cubicBezTo>
                  <a:pt x="3112087" y="282688"/>
                  <a:pt x="3114221" y="277994"/>
                  <a:pt x="3115501" y="274721"/>
                </a:cubicBezTo>
                <a:cubicBezTo>
                  <a:pt x="3117209" y="274010"/>
                  <a:pt x="3118916" y="273726"/>
                  <a:pt x="3120837" y="273868"/>
                </a:cubicBezTo>
                <a:close/>
                <a:moveTo>
                  <a:pt x="2541615" y="269600"/>
                </a:moveTo>
                <a:cubicBezTo>
                  <a:pt x="2547378" y="268035"/>
                  <a:pt x="2550793" y="270311"/>
                  <a:pt x="2552500" y="274721"/>
                </a:cubicBezTo>
                <a:cubicBezTo>
                  <a:pt x="2549939" y="281266"/>
                  <a:pt x="2541189" y="281693"/>
                  <a:pt x="2539054" y="276144"/>
                </a:cubicBezTo>
                <a:cubicBezTo>
                  <a:pt x="2539695" y="274437"/>
                  <a:pt x="2539908" y="271734"/>
                  <a:pt x="2541615" y="269600"/>
                </a:cubicBezTo>
                <a:close/>
                <a:moveTo>
                  <a:pt x="2642136" y="266755"/>
                </a:moveTo>
                <a:cubicBezTo>
                  <a:pt x="2651740" y="274294"/>
                  <a:pt x="2650673" y="303602"/>
                  <a:pt x="2637868" y="304455"/>
                </a:cubicBezTo>
                <a:cubicBezTo>
                  <a:pt x="2640642" y="291082"/>
                  <a:pt x="2636161" y="280981"/>
                  <a:pt x="2642136" y="266755"/>
                </a:cubicBezTo>
                <a:close/>
                <a:moveTo>
                  <a:pt x="2944766" y="265332"/>
                </a:moveTo>
                <a:cubicBezTo>
                  <a:pt x="2950955" y="266043"/>
                  <a:pt x="2954156" y="272161"/>
                  <a:pt x="2956290" y="278563"/>
                </a:cubicBezTo>
                <a:cubicBezTo>
                  <a:pt x="2957357" y="281408"/>
                  <a:pt x="2957997" y="284395"/>
                  <a:pt x="2958638" y="287099"/>
                </a:cubicBezTo>
                <a:cubicBezTo>
                  <a:pt x="2960132" y="292363"/>
                  <a:pt x="2961199" y="298338"/>
                  <a:pt x="2959492" y="302037"/>
                </a:cubicBezTo>
                <a:cubicBezTo>
                  <a:pt x="2958851" y="303175"/>
                  <a:pt x="2957784" y="304171"/>
                  <a:pt x="2956504" y="304882"/>
                </a:cubicBezTo>
                <a:cubicBezTo>
                  <a:pt x="2948821" y="308724"/>
                  <a:pt x="2939430" y="302748"/>
                  <a:pt x="2937083" y="292363"/>
                </a:cubicBezTo>
                <a:cubicBezTo>
                  <a:pt x="2932814" y="276286"/>
                  <a:pt x="2937723" y="266328"/>
                  <a:pt x="2937723" y="266328"/>
                </a:cubicBezTo>
                <a:cubicBezTo>
                  <a:pt x="2940497" y="265332"/>
                  <a:pt x="2942845" y="265047"/>
                  <a:pt x="2944766" y="265332"/>
                </a:cubicBezTo>
                <a:close/>
                <a:moveTo>
                  <a:pt x="3001322" y="252243"/>
                </a:moveTo>
                <a:cubicBezTo>
                  <a:pt x="3002602" y="252527"/>
                  <a:pt x="3003669" y="253097"/>
                  <a:pt x="3003669" y="253950"/>
                </a:cubicBezTo>
                <a:cubicBezTo>
                  <a:pt x="3004096" y="256369"/>
                  <a:pt x="3004523" y="258787"/>
                  <a:pt x="3002602" y="260495"/>
                </a:cubicBezTo>
                <a:cubicBezTo>
                  <a:pt x="3002176" y="261063"/>
                  <a:pt x="3001322" y="261348"/>
                  <a:pt x="3000041" y="261775"/>
                </a:cubicBezTo>
                <a:cubicBezTo>
                  <a:pt x="3000041" y="261775"/>
                  <a:pt x="3000041" y="261775"/>
                  <a:pt x="2999188" y="261206"/>
                </a:cubicBezTo>
                <a:cubicBezTo>
                  <a:pt x="2997267" y="259926"/>
                  <a:pt x="2996413" y="259356"/>
                  <a:pt x="2995346" y="258787"/>
                </a:cubicBezTo>
                <a:cubicBezTo>
                  <a:pt x="2995133" y="257080"/>
                  <a:pt x="2995346" y="252812"/>
                  <a:pt x="2996840" y="252385"/>
                </a:cubicBezTo>
                <a:cubicBezTo>
                  <a:pt x="2998334" y="251959"/>
                  <a:pt x="3000041" y="251959"/>
                  <a:pt x="3001322" y="252243"/>
                </a:cubicBezTo>
                <a:close/>
                <a:moveTo>
                  <a:pt x="3128093" y="250251"/>
                </a:moveTo>
                <a:cubicBezTo>
                  <a:pt x="3128947" y="249824"/>
                  <a:pt x="3130014" y="249967"/>
                  <a:pt x="3130654" y="250536"/>
                </a:cubicBezTo>
                <a:cubicBezTo>
                  <a:pt x="3131721" y="251674"/>
                  <a:pt x="3130441" y="252812"/>
                  <a:pt x="3130441" y="253950"/>
                </a:cubicBezTo>
                <a:cubicBezTo>
                  <a:pt x="3128947" y="256369"/>
                  <a:pt x="3120837" y="259641"/>
                  <a:pt x="3119770" y="258503"/>
                </a:cubicBezTo>
                <a:cubicBezTo>
                  <a:pt x="3121690" y="255942"/>
                  <a:pt x="3125105" y="251389"/>
                  <a:pt x="3128093" y="250251"/>
                </a:cubicBezTo>
                <a:close/>
                <a:moveTo>
                  <a:pt x="3086049" y="241858"/>
                </a:moveTo>
                <a:cubicBezTo>
                  <a:pt x="3088184" y="243707"/>
                  <a:pt x="3089464" y="246837"/>
                  <a:pt x="3089891" y="250678"/>
                </a:cubicBezTo>
                <a:cubicBezTo>
                  <a:pt x="3091385" y="262060"/>
                  <a:pt x="3086049" y="278847"/>
                  <a:pt x="3076446" y="279843"/>
                </a:cubicBezTo>
                <a:cubicBezTo>
                  <a:pt x="3081141" y="266328"/>
                  <a:pt x="3077939" y="256369"/>
                  <a:pt x="3086049" y="241858"/>
                </a:cubicBezTo>
                <a:close/>
                <a:moveTo>
                  <a:pt x="2846379" y="240719"/>
                </a:moveTo>
                <a:cubicBezTo>
                  <a:pt x="2854489" y="240008"/>
                  <a:pt x="2857690" y="241715"/>
                  <a:pt x="2858331" y="244133"/>
                </a:cubicBezTo>
                <a:cubicBezTo>
                  <a:pt x="2860678" y="251532"/>
                  <a:pt x="2839123" y="265758"/>
                  <a:pt x="2846379" y="240719"/>
                </a:cubicBezTo>
                <a:close/>
                <a:moveTo>
                  <a:pt x="3178673" y="239866"/>
                </a:moveTo>
                <a:cubicBezTo>
                  <a:pt x="3180168" y="239723"/>
                  <a:pt x="3181448" y="239723"/>
                  <a:pt x="3182942" y="240435"/>
                </a:cubicBezTo>
                <a:cubicBezTo>
                  <a:pt x="3182942" y="240435"/>
                  <a:pt x="3182942" y="240435"/>
                  <a:pt x="3181661" y="240435"/>
                </a:cubicBezTo>
                <a:cubicBezTo>
                  <a:pt x="3181661" y="240435"/>
                  <a:pt x="3182942" y="240435"/>
                  <a:pt x="3182728" y="241573"/>
                </a:cubicBezTo>
                <a:cubicBezTo>
                  <a:pt x="3176753" y="244987"/>
                  <a:pt x="3167576" y="243707"/>
                  <a:pt x="3166295" y="243707"/>
                </a:cubicBezTo>
                <a:cubicBezTo>
                  <a:pt x="3166509" y="242569"/>
                  <a:pt x="3166509" y="242426"/>
                  <a:pt x="3166509" y="242426"/>
                </a:cubicBezTo>
                <a:cubicBezTo>
                  <a:pt x="3169923" y="243423"/>
                  <a:pt x="3174192" y="240435"/>
                  <a:pt x="3178673" y="239866"/>
                </a:cubicBezTo>
                <a:close/>
                <a:moveTo>
                  <a:pt x="3159679" y="239866"/>
                </a:moveTo>
                <a:cubicBezTo>
                  <a:pt x="3159679" y="239866"/>
                  <a:pt x="3159679" y="239866"/>
                  <a:pt x="3160746" y="241146"/>
                </a:cubicBezTo>
                <a:cubicBezTo>
                  <a:pt x="3158398" y="241004"/>
                  <a:pt x="3156905" y="245983"/>
                  <a:pt x="3154770" y="243423"/>
                </a:cubicBezTo>
                <a:cubicBezTo>
                  <a:pt x="3156051" y="242284"/>
                  <a:pt x="3158398" y="241004"/>
                  <a:pt x="3159679" y="239866"/>
                </a:cubicBezTo>
                <a:close/>
                <a:moveTo>
                  <a:pt x="2654088" y="238016"/>
                </a:moveTo>
                <a:cubicBezTo>
                  <a:pt x="2658356" y="237589"/>
                  <a:pt x="2662198" y="238301"/>
                  <a:pt x="2662838" y="241573"/>
                </a:cubicBezTo>
                <a:cubicBezTo>
                  <a:pt x="2663051" y="242426"/>
                  <a:pt x="2662838" y="243565"/>
                  <a:pt x="2662411" y="244987"/>
                </a:cubicBezTo>
                <a:cubicBezTo>
                  <a:pt x="2655155" y="244703"/>
                  <a:pt x="2648325" y="248260"/>
                  <a:pt x="2645124" y="245698"/>
                </a:cubicBezTo>
                <a:cubicBezTo>
                  <a:pt x="2644057" y="244845"/>
                  <a:pt x="2643417" y="243280"/>
                  <a:pt x="2643417" y="240719"/>
                </a:cubicBezTo>
                <a:cubicBezTo>
                  <a:pt x="2645337" y="239723"/>
                  <a:pt x="2649819" y="238301"/>
                  <a:pt x="2654088" y="238016"/>
                </a:cubicBezTo>
                <a:close/>
                <a:moveTo>
                  <a:pt x="2752474" y="228769"/>
                </a:moveTo>
                <a:cubicBezTo>
                  <a:pt x="2755889" y="228911"/>
                  <a:pt x="2758237" y="230191"/>
                  <a:pt x="2760798" y="234032"/>
                </a:cubicBezTo>
                <a:cubicBezTo>
                  <a:pt x="2758664" y="238727"/>
                  <a:pt x="2759731" y="237589"/>
                  <a:pt x="2755462" y="241146"/>
                </a:cubicBezTo>
                <a:cubicBezTo>
                  <a:pt x="2752901" y="238585"/>
                  <a:pt x="2750554" y="236024"/>
                  <a:pt x="2748206" y="233464"/>
                </a:cubicBezTo>
                <a:cubicBezTo>
                  <a:pt x="2750340" y="232325"/>
                  <a:pt x="2751407" y="230049"/>
                  <a:pt x="2752474" y="228769"/>
                </a:cubicBezTo>
                <a:close/>
                <a:moveTo>
                  <a:pt x="3185290" y="227204"/>
                </a:moveTo>
                <a:cubicBezTo>
                  <a:pt x="3186143" y="229622"/>
                  <a:pt x="3186143" y="229622"/>
                  <a:pt x="3184649" y="232041"/>
                </a:cubicBezTo>
                <a:cubicBezTo>
                  <a:pt x="3183582" y="232041"/>
                  <a:pt x="3183369" y="233321"/>
                  <a:pt x="3182302" y="232041"/>
                </a:cubicBezTo>
                <a:cubicBezTo>
                  <a:pt x="3179740" y="235597"/>
                  <a:pt x="3168857" y="239154"/>
                  <a:pt x="3164374" y="237874"/>
                </a:cubicBezTo>
                <a:cubicBezTo>
                  <a:pt x="3173552" y="227061"/>
                  <a:pt x="3179954" y="233179"/>
                  <a:pt x="3185290" y="227204"/>
                </a:cubicBezTo>
                <a:close/>
                <a:moveTo>
                  <a:pt x="3116142" y="226065"/>
                </a:moveTo>
                <a:cubicBezTo>
                  <a:pt x="3117209" y="226635"/>
                  <a:pt x="3117635" y="227204"/>
                  <a:pt x="3117849" y="227773"/>
                </a:cubicBezTo>
                <a:cubicBezTo>
                  <a:pt x="3117849" y="228484"/>
                  <a:pt x="3117635" y="229053"/>
                  <a:pt x="3116995" y="229765"/>
                </a:cubicBezTo>
                <a:cubicBezTo>
                  <a:pt x="3116995" y="229765"/>
                  <a:pt x="3115715" y="230902"/>
                  <a:pt x="3114434" y="232041"/>
                </a:cubicBezTo>
                <a:cubicBezTo>
                  <a:pt x="3113154" y="233179"/>
                  <a:pt x="3112940" y="234459"/>
                  <a:pt x="3112940" y="234459"/>
                </a:cubicBezTo>
                <a:cubicBezTo>
                  <a:pt x="3111446" y="235597"/>
                  <a:pt x="3110379" y="235597"/>
                  <a:pt x="3109312" y="234317"/>
                </a:cubicBezTo>
                <a:cubicBezTo>
                  <a:pt x="3109312" y="234317"/>
                  <a:pt x="3110806" y="231899"/>
                  <a:pt x="3110806" y="231899"/>
                </a:cubicBezTo>
                <a:cubicBezTo>
                  <a:pt x="3113367" y="229622"/>
                  <a:pt x="3114647" y="228484"/>
                  <a:pt x="3116142" y="226065"/>
                </a:cubicBezTo>
                <a:close/>
                <a:moveTo>
                  <a:pt x="2859824" y="219806"/>
                </a:moveTo>
                <a:cubicBezTo>
                  <a:pt x="2861105" y="219806"/>
                  <a:pt x="2862599" y="220233"/>
                  <a:pt x="2863666" y="220801"/>
                </a:cubicBezTo>
                <a:cubicBezTo>
                  <a:pt x="2864733" y="222082"/>
                  <a:pt x="2865160" y="223220"/>
                  <a:pt x="2865160" y="224358"/>
                </a:cubicBezTo>
                <a:cubicBezTo>
                  <a:pt x="2865160" y="225354"/>
                  <a:pt x="2864733" y="226208"/>
                  <a:pt x="2864306" y="226777"/>
                </a:cubicBezTo>
                <a:cubicBezTo>
                  <a:pt x="2855129" y="237305"/>
                  <a:pt x="2845525" y="232467"/>
                  <a:pt x="2842964" y="233606"/>
                </a:cubicBezTo>
                <a:cubicBezTo>
                  <a:pt x="2839977" y="230049"/>
                  <a:pt x="2839977" y="230049"/>
                  <a:pt x="2846379" y="222936"/>
                </a:cubicBezTo>
                <a:cubicBezTo>
                  <a:pt x="2847660" y="221798"/>
                  <a:pt x="2849153" y="220944"/>
                  <a:pt x="2850861" y="220517"/>
                </a:cubicBezTo>
                <a:cubicBezTo>
                  <a:pt x="2852355" y="220090"/>
                  <a:pt x="2854062" y="220090"/>
                  <a:pt x="2855769" y="220801"/>
                </a:cubicBezTo>
                <a:cubicBezTo>
                  <a:pt x="2857050" y="220090"/>
                  <a:pt x="2858331" y="219806"/>
                  <a:pt x="2859824" y="219806"/>
                </a:cubicBezTo>
                <a:close/>
                <a:moveTo>
                  <a:pt x="3110166" y="216391"/>
                </a:moveTo>
                <a:cubicBezTo>
                  <a:pt x="3111233" y="217672"/>
                  <a:pt x="3111233" y="216391"/>
                  <a:pt x="3112300" y="216391"/>
                </a:cubicBezTo>
                <a:cubicBezTo>
                  <a:pt x="3111233" y="217672"/>
                  <a:pt x="3110806" y="221371"/>
                  <a:pt x="3109312" y="223789"/>
                </a:cubicBezTo>
                <a:cubicBezTo>
                  <a:pt x="3108245" y="223789"/>
                  <a:pt x="3106964" y="225070"/>
                  <a:pt x="3105897" y="225070"/>
                </a:cubicBezTo>
                <a:cubicBezTo>
                  <a:pt x="3106111" y="223789"/>
                  <a:pt x="3105257" y="221228"/>
                  <a:pt x="3106324" y="221228"/>
                </a:cubicBezTo>
                <a:cubicBezTo>
                  <a:pt x="3106538" y="220090"/>
                  <a:pt x="3108672" y="220090"/>
                  <a:pt x="3108672" y="220090"/>
                </a:cubicBezTo>
                <a:cubicBezTo>
                  <a:pt x="3108885" y="218810"/>
                  <a:pt x="3108885" y="217672"/>
                  <a:pt x="3110166" y="216391"/>
                </a:cubicBezTo>
                <a:close/>
                <a:moveTo>
                  <a:pt x="2661771" y="215111"/>
                </a:moveTo>
                <a:cubicBezTo>
                  <a:pt x="2663051" y="218383"/>
                  <a:pt x="2662411" y="226350"/>
                  <a:pt x="2657503" y="230191"/>
                </a:cubicBezTo>
                <a:cubicBezTo>
                  <a:pt x="2650460" y="228484"/>
                  <a:pt x="2649819" y="223647"/>
                  <a:pt x="2653448" y="216676"/>
                </a:cubicBezTo>
                <a:cubicBezTo>
                  <a:pt x="2656008" y="216676"/>
                  <a:pt x="2658143" y="215680"/>
                  <a:pt x="2661771" y="215111"/>
                </a:cubicBezTo>
                <a:close/>
                <a:moveTo>
                  <a:pt x="2791743" y="214257"/>
                </a:moveTo>
                <a:cubicBezTo>
                  <a:pt x="2793878" y="213972"/>
                  <a:pt x="2796012" y="213830"/>
                  <a:pt x="2798360" y="214257"/>
                </a:cubicBezTo>
                <a:cubicBezTo>
                  <a:pt x="2801134" y="214684"/>
                  <a:pt x="2803908" y="215538"/>
                  <a:pt x="2806683" y="216960"/>
                </a:cubicBezTo>
                <a:cubicBezTo>
                  <a:pt x="2807536" y="223078"/>
                  <a:pt x="2806256" y="229338"/>
                  <a:pt x="2803481" y="235313"/>
                </a:cubicBezTo>
                <a:cubicBezTo>
                  <a:pt x="2795585" y="253097"/>
                  <a:pt x="2775737" y="266612"/>
                  <a:pt x="2764426" y="253950"/>
                </a:cubicBezTo>
                <a:cubicBezTo>
                  <a:pt x="2762292" y="251532"/>
                  <a:pt x="2760584" y="248117"/>
                  <a:pt x="2759090" y="243565"/>
                </a:cubicBezTo>
                <a:cubicBezTo>
                  <a:pt x="2766987" y="233748"/>
                  <a:pt x="2777018" y="216534"/>
                  <a:pt x="2791743" y="214257"/>
                </a:cubicBezTo>
                <a:close/>
                <a:moveTo>
                  <a:pt x="3128947" y="209989"/>
                </a:moveTo>
                <a:cubicBezTo>
                  <a:pt x="3129801" y="209989"/>
                  <a:pt x="3130654" y="210274"/>
                  <a:pt x="3131508" y="210843"/>
                </a:cubicBezTo>
                <a:cubicBezTo>
                  <a:pt x="3133642" y="212123"/>
                  <a:pt x="3132361" y="214399"/>
                  <a:pt x="3129801" y="216818"/>
                </a:cubicBezTo>
                <a:cubicBezTo>
                  <a:pt x="3125745" y="222793"/>
                  <a:pt x="3122117" y="223931"/>
                  <a:pt x="3119130" y="220233"/>
                </a:cubicBezTo>
                <a:cubicBezTo>
                  <a:pt x="3119130" y="219094"/>
                  <a:pt x="3120837" y="215538"/>
                  <a:pt x="3119556" y="215538"/>
                </a:cubicBezTo>
                <a:cubicBezTo>
                  <a:pt x="3122544" y="212834"/>
                  <a:pt x="3125959" y="210132"/>
                  <a:pt x="3128947" y="209989"/>
                </a:cubicBezTo>
                <a:close/>
                <a:moveTo>
                  <a:pt x="3318890" y="200315"/>
                </a:moveTo>
                <a:cubicBezTo>
                  <a:pt x="3319958" y="200315"/>
                  <a:pt x="3321238" y="200741"/>
                  <a:pt x="3322091" y="201311"/>
                </a:cubicBezTo>
                <a:cubicBezTo>
                  <a:pt x="3324439" y="209989"/>
                  <a:pt x="3314408" y="211412"/>
                  <a:pt x="3311420" y="207998"/>
                </a:cubicBezTo>
                <a:cubicBezTo>
                  <a:pt x="3311420" y="203445"/>
                  <a:pt x="3315263" y="200457"/>
                  <a:pt x="3318890" y="200315"/>
                </a:cubicBezTo>
                <a:close/>
                <a:moveTo>
                  <a:pt x="3236083" y="190925"/>
                </a:moveTo>
                <a:cubicBezTo>
                  <a:pt x="3236083" y="192205"/>
                  <a:pt x="3235870" y="193344"/>
                  <a:pt x="3236937" y="193344"/>
                </a:cubicBezTo>
                <a:cubicBezTo>
                  <a:pt x="3234590" y="195762"/>
                  <a:pt x="3233309" y="195620"/>
                  <a:pt x="3232028" y="196758"/>
                </a:cubicBezTo>
                <a:cubicBezTo>
                  <a:pt x="3233309" y="196900"/>
                  <a:pt x="3232028" y="198039"/>
                  <a:pt x="3232028" y="198039"/>
                </a:cubicBezTo>
                <a:cubicBezTo>
                  <a:pt x="3232028" y="198039"/>
                  <a:pt x="3232028" y="198039"/>
                  <a:pt x="3233949" y="200457"/>
                </a:cubicBezTo>
                <a:cubicBezTo>
                  <a:pt x="3233949" y="200457"/>
                  <a:pt x="3238004" y="206433"/>
                  <a:pt x="3232669" y="212407"/>
                </a:cubicBezTo>
                <a:cubicBezTo>
                  <a:pt x="3231815" y="211127"/>
                  <a:pt x="3224132" y="218241"/>
                  <a:pt x="3219650" y="215822"/>
                </a:cubicBezTo>
                <a:cubicBezTo>
                  <a:pt x="3217516" y="214542"/>
                  <a:pt x="3216449" y="213404"/>
                  <a:pt x="3214315" y="212123"/>
                </a:cubicBezTo>
                <a:cubicBezTo>
                  <a:pt x="3214741" y="208566"/>
                  <a:pt x="3211540" y="204868"/>
                  <a:pt x="3216876" y="197754"/>
                </a:cubicBezTo>
                <a:cubicBezTo>
                  <a:pt x="3223278" y="190783"/>
                  <a:pt x="3229681" y="196900"/>
                  <a:pt x="3229894" y="195620"/>
                </a:cubicBezTo>
                <a:cubicBezTo>
                  <a:pt x="3231175" y="194482"/>
                  <a:pt x="3231175" y="194482"/>
                  <a:pt x="3231175" y="193202"/>
                </a:cubicBezTo>
                <a:cubicBezTo>
                  <a:pt x="3232455" y="193344"/>
                  <a:pt x="3234803" y="192063"/>
                  <a:pt x="3236083" y="190925"/>
                </a:cubicBezTo>
                <a:close/>
                <a:moveTo>
                  <a:pt x="2708510" y="177125"/>
                </a:moveTo>
                <a:cubicBezTo>
                  <a:pt x="2709577" y="176983"/>
                  <a:pt x="2710644" y="177125"/>
                  <a:pt x="2711285" y="177694"/>
                </a:cubicBezTo>
                <a:cubicBezTo>
                  <a:pt x="2711711" y="177979"/>
                  <a:pt x="2711925" y="178406"/>
                  <a:pt x="2711925" y="178974"/>
                </a:cubicBezTo>
                <a:cubicBezTo>
                  <a:pt x="2711711" y="180539"/>
                  <a:pt x="2709577" y="182816"/>
                  <a:pt x="2709363" y="183669"/>
                </a:cubicBezTo>
                <a:cubicBezTo>
                  <a:pt x="2708083" y="184808"/>
                  <a:pt x="2706802" y="186088"/>
                  <a:pt x="2705949" y="184808"/>
                </a:cubicBezTo>
                <a:cubicBezTo>
                  <a:pt x="2704882" y="183669"/>
                  <a:pt x="2703814" y="183527"/>
                  <a:pt x="2705095" y="181109"/>
                </a:cubicBezTo>
                <a:cubicBezTo>
                  <a:pt x="2705309" y="179971"/>
                  <a:pt x="2706589" y="178832"/>
                  <a:pt x="2706589" y="177552"/>
                </a:cubicBezTo>
                <a:cubicBezTo>
                  <a:pt x="2706589" y="177552"/>
                  <a:pt x="2707442" y="177267"/>
                  <a:pt x="2708510" y="177125"/>
                </a:cubicBezTo>
                <a:close/>
                <a:moveTo>
                  <a:pt x="2804549" y="167166"/>
                </a:moveTo>
                <a:cubicBezTo>
                  <a:pt x="2806896" y="172145"/>
                  <a:pt x="2806683" y="176983"/>
                  <a:pt x="2804976" y="181393"/>
                </a:cubicBezTo>
                <a:cubicBezTo>
                  <a:pt x="2800707" y="191494"/>
                  <a:pt x="2788115" y="199604"/>
                  <a:pt x="2777444" y="203871"/>
                </a:cubicBezTo>
                <a:lnTo>
                  <a:pt x="2767627" y="206859"/>
                </a:lnTo>
                <a:lnTo>
                  <a:pt x="2768267" y="208424"/>
                </a:lnTo>
                <a:cubicBezTo>
                  <a:pt x="2768481" y="209705"/>
                  <a:pt x="2768481" y="211270"/>
                  <a:pt x="2767840" y="211839"/>
                </a:cubicBezTo>
                <a:cubicBezTo>
                  <a:pt x="2765066" y="215395"/>
                  <a:pt x="2761865" y="212977"/>
                  <a:pt x="2757597" y="211697"/>
                </a:cubicBezTo>
                <a:cubicBezTo>
                  <a:pt x="2758877" y="210416"/>
                  <a:pt x="2757810" y="209278"/>
                  <a:pt x="2756743" y="207998"/>
                </a:cubicBezTo>
                <a:cubicBezTo>
                  <a:pt x="2758664" y="206290"/>
                  <a:pt x="2761225" y="203160"/>
                  <a:pt x="2764212" y="203729"/>
                </a:cubicBezTo>
                <a:lnTo>
                  <a:pt x="2766987" y="205721"/>
                </a:lnTo>
                <a:lnTo>
                  <a:pt x="2764212" y="200315"/>
                </a:lnTo>
                <a:cubicBezTo>
                  <a:pt x="2763785" y="198039"/>
                  <a:pt x="2764212" y="195904"/>
                  <a:pt x="2765066" y="193628"/>
                </a:cubicBezTo>
                <a:cubicBezTo>
                  <a:pt x="2769975" y="180255"/>
                  <a:pt x="2793878" y="167451"/>
                  <a:pt x="2804549" y="167166"/>
                </a:cubicBezTo>
                <a:close/>
                <a:moveTo>
                  <a:pt x="3092025" y="163894"/>
                </a:moveTo>
                <a:cubicBezTo>
                  <a:pt x="3092665" y="164321"/>
                  <a:pt x="3093519" y="165317"/>
                  <a:pt x="3094586" y="165886"/>
                </a:cubicBezTo>
                <a:lnTo>
                  <a:pt x="3090745" y="169300"/>
                </a:lnTo>
                <a:cubicBezTo>
                  <a:pt x="3089677" y="168162"/>
                  <a:pt x="3088824" y="165743"/>
                  <a:pt x="3090104" y="164606"/>
                </a:cubicBezTo>
                <a:cubicBezTo>
                  <a:pt x="3090745" y="163467"/>
                  <a:pt x="3091172" y="163467"/>
                  <a:pt x="3092025" y="163894"/>
                </a:cubicBezTo>
                <a:close/>
                <a:moveTo>
                  <a:pt x="3078580" y="163325"/>
                </a:moveTo>
                <a:cubicBezTo>
                  <a:pt x="3080287" y="164606"/>
                  <a:pt x="3081568" y="166170"/>
                  <a:pt x="3081994" y="167735"/>
                </a:cubicBezTo>
                <a:cubicBezTo>
                  <a:pt x="3082421" y="169443"/>
                  <a:pt x="3081781" y="171150"/>
                  <a:pt x="3079860" y="172857"/>
                </a:cubicBezTo>
                <a:cubicBezTo>
                  <a:pt x="3078793" y="173995"/>
                  <a:pt x="3077513" y="175276"/>
                  <a:pt x="3077513" y="173995"/>
                </a:cubicBezTo>
                <a:cubicBezTo>
                  <a:pt x="3076446" y="173995"/>
                  <a:pt x="3076446" y="172857"/>
                  <a:pt x="3075592" y="171719"/>
                </a:cubicBezTo>
                <a:cubicBezTo>
                  <a:pt x="3074525" y="169300"/>
                  <a:pt x="3074951" y="165743"/>
                  <a:pt x="3076232" y="164606"/>
                </a:cubicBezTo>
                <a:cubicBezTo>
                  <a:pt x="3077513" y="163325"/>
                  <a:pt x="3078580" y="163325"/>
                  <a:pt x="3078580" y="163325"/>
                </a:cubicBezTo>
                <a:close/>
                <a:moveTo>
                  <a:pt x="3098641" y="153224"/>
                </a:moveTo>
                <a:cubicBezTo>
                  <a:pt x="3100348" y="153082"/>
                  <a:pt x="3102483" y="153508"/>
                  <a:pt x="3104617" y="155358"/>
                </a:cubicBezTo>
                <a:cubicBezTo>
                  <a:pt x="3105257" y="155927"/>
                  <a:pt x="3105897" y="157065"/>
                  <a:pt x="3106324" y="158204"/>
                </a:cubicBezTo>
                <a:cubicBezTo>
                  <a:pt x="3106751" y="159199"/>
                  <a:pt x="3106964" y="160053"/>
                  <a:pt x="3106538" y="160053"/>
                </a:cubicBezTo>
                <a:cubicBezTo>
                  <a:pt x="3105257" y="161333"/>
                  <a:pt x="3106324" y="161333"/>
                  <a:pt x="3106324" y="162471"/>
                </a:cubicBezTo>
                <a:cubicBezTo>
                  <a:pt x="3102483" y="166028"/>
                  <a:pt x="3098855" y="167308"/>
                  <a:pt x="3095867" y="164748"/>
                </a:cubicBezTo>
                <a:cubicBezTo>
                  <a:pt x="3093732" y="162329"/>
                  <a:pt x="3090745" y="158630"/>
                  <a:pt x="3093305" y="155073"/>
                </a:cubicBezTo>
                <a:cubicBezTo>
                  <a:pt x="3094373" y="155073"/>
                  <a:pt x="3094586" y="153793"/>
                  <a:pt x="3095653" y="153935"/>
                </a:cubicBezTo>
                <a:cubicBezTo>
                  <a:pt x="3095653" y="153935"/>
                  <a:pt x="3096934" y="153224"/>
                  <a:pt x="3098641" y="153224"/>
                </a:cubicBezTo>
                <a:close/>
                <a:moveTo>
                  <a:pt x="2736468" y="150094"/>
                </a:moveTo>
                <a:cubicBezTo>
                  <a:pt x="2737108" y="149952"/>
                  <a:pt x="2737962" y="150236"/>
                  <a:pt x="2738815" y="151090"/>
                </a:cubicBezTo>
                <a:cubicBezTo>
                  <a:pt x="2739669" y="153366"/>
                  <a:pt x="2739455" y="156069"/>
                  <a:pt x="2737108" y="159768"/>
                </a:cubicBezTo>
                <a:cubicBezTo>
                  <a:pt x="2730919" y="160337"/>
                  <a:pt x="2730705" y="156496"/>
                  <a:pt x="2730492" y="152655"/>
                </a:cubicBezTo>
                <a:cubicBezTo>
                  <a:pt x="2733480" y="153224"/>
                  <a:pt x="2734547" y="150236"/>
                  <a:pt x="2736468" y="150094"/>
                </a:cubicBezTo>
                <a:close/>
                <a:moveTo>
                  <a:pt x="2384112" y="149240"/>
                </a:moveTo>
                <a:cubicBezTo>
                  <a:pt x="2382191" y="158346"/>
                  <a:pt x="2381124" y="171292"/>
                  <a:pt x="2378136" y="182673"/>
                </a:cubicBezTo>
                <a:cubicBezTo>
                  <a:pt x="2375148" y="194055"/>
                  <a:pt x="2370026" y="204014"/>
                  <a:pt x="2359782" y="206859"/>
                </a:cubicBezTo>
                <a:cubicBezTo>
                  <a:pt x="2353380" y="197754"/>
                  <a:pt x="2352952" y="184950"/>
                  <a:pt x="2357434" y="173568"/>
                </a:cubicBezTo>
                <a:cubicBezTo>
                  <a:pt x="2361916" y="162329"/>
                  <a:pt x="2371093" y="152512"/>
                  <a:pt x="2384112" y="149240"/>
                </a:cubicBezTo>
                <a:close/>
                <a:moveTo>
                  <a:pt x="3025651" y="136009"/>
                </a:moveTo>
                <a:cubicBezTo>
                  <a:pt x="3027999" y="135582"/>
                  <a:pt x="3030774" y="135867"/>
                  <a:pt x="3033548" y="137574"/>
                </a:cubicBezTo>
                <a:cubicBezTo>
                  <a:pt x="3034188" y="150236"/>
                  <a:pt x="3017968" y="165459"/>
                  <a:pt x="3010925" y="156496"/>
                </a:cubicBezTo>
                <a:cubicBezTo>
                  <a:pt x="3010072" y="155216"/>
                  <a:pt x="3009218" y="153366"/>
                  <a:pt x="3008578" y="150948"/>
                </a:cubicBezTo>
                <a:cubicBezTo>
                  <a:pt x="3012846" y="145968"/>
                  <a:pt x="3018395" y="137432"/>
                  <a:pt x="3025651" y="136009"/>
                </a:cubicBezTo>
                <a:close/>
                <a:moveTo>
                  <a:pt x="2919369" y="136009"/>
                </a:moveTo>
                <a:cubicBezTo>
                  <a:pt x="2921503" y="136152"/>
                  <a:pt x="2923850" y="137005"/>
                  <a:pt x="2926198" y="139139"/>
                </a:cubicBezTo>
                <a:cubicBezTo>
                  <a:pt x="2927479" y="140277"/>
                  <a:pt x="2928759" y="141700"/>
                  <a:pt x="2929826" y="143265"/>
                </a:cubicBezTo>
                <a:cubicBezTo>
                  <a:pt x="2932814" y="147818"/>
                  <a:pt x="2933241" y="153650"/>
                  <a:pt x="2926412" y="160764"/>
                </a:cubicBezTo>
                <a:cubicBezTo>
                  <a:pt x="2925131" y="163041"/>
                  <a:pt x="2925131" y="161902"/>
                  <a:pt x="2923850" y="163041"/>
                </a:cubicBezTo>
                <a:cubicBezTo>
                  <a:pt x="2922570" y="164178"/>
                  <a:pt x="2921289" y="166597"/>
                  <a:pt x="2921076" y="167735"/>
                </a:cubicBezTo>
                <a:cubicBezTo>
                  <a:pt x="2916808" y="164036"/>
                  <a:pt x="2914246" y="167735"/>
                  <a:pt x="2907844" y="161618"/>
                </a:cubicBezTo>
                <a:cubicBezTo>
                  <a:pt x="2899307" y="154220"/>
                  <a:pt x="2902508" y="145826"/>
                  <a:pt x="2906350" y="141131"/>
                </a:cubicBezTo>
                <a:cubicBezTo>
                  <a:pt x="2907203" y="142127"/>
                  <a:pt x="2912539" y="135725"/>
                  <a:pt x="2919369" y="136009"/>
                </a:cubicBezTo>
                <a:close/>
                <a:moveTo>
                  <a:pt x="2941137" y="128753"/>
                </a:moveTo>
                <a:cubicBezTo>
                  <a:pt x="2943271" y="130603"/>
                  <a:pt x="2944552" y="132168"/>
                  <a:pt x="2945192" y="133591"/>
                </a:cubicBezTo>
                <a:cubicBezTo>
                  <a:pt x="2947540" y="137432"/>
                  <a:pt x="2944766" y="139709"/>
                  <a:pt x="2941991" y="143265"/>
                </a:cubicBezTo>
                <a:cubicBezTo>
                  <a:pt x="2939643" y="141984"/>
                  <a:pt x="2936228" y="143123"/>
                  <a:pt x="2934095" y="140704"/>
                </a:cubicBezTo>
                <a:cubicBezTo>
                  <a:pt x="2934095" y="140704"/>
                  <a:pt x="2933028" y="139424"/>
                  <a:pt x="2933454" y="137147"/>
                </a:cubicBezTo>
                <a:cubicBezTo>
                  <a:pt x="2931533" y="133448"/>
                  <a:pt x="2935162" y="129892"/>
                  <a:pt x="2935162" y="129892"/>
                </a:cubicBezTo>
                <a:cubicBezTo>
                  <a:pt x="2935162" y="129892"/>
                  <a:pt x="2935162" y="129892"/>
                  <a:pt x="2934095" y="129892"/>
                </a:cubicBezTo>
                <a:cubicBezTo>
                  <a:pt x="2936442" y="129892"/>
                  <a:pt x="2938790" y="128753"/>
                  <a:pt x="2941137" y="128753"/>
                </a:cubicBezTo>
                <a:close/>
                <a:moveTo>
                  <a:pt x="2172826" y="104710"/>
                </a:moveTo>
                <a:cubicBezTo>
                  <a:pt x="2181790" y="105991"/>
                  <a:pt x="2190540" y="111539"/>
                  <a:pt x="2191394" y="119079"/>
                </a:cubicBezTo>
                <a:cubicBezTo>
                  <a:pt x="2191607" y="121214"/>
                  <a:pt x="2191394" y="123347"/>
                  <a:pt x="2190540" y="125624"/>
                </a:cubicBezTo>
                <a:cubicBezTo>
                  <a:pt x="2187552" y="132453"/>
                  <a:pt x="2178375" y="140277"/>
                  <a:pt x="2159594" y="147818"/>
                </a:cubicBezTo>
                <a:cubicBezTo>
                  <a:pt x="2148923" y="128611"/>
                  <a:pt x="2149350" y="116803"/>
                  <a:pt x="2154472" y="110543"/>
                </a:cubicBezTo>
                <a:cubicBezTo>
                  <a:pt x="2156820" y="107556"/>
                  <a:pt x="2160235" y="105706"/>
                  <a:pt x="2163863" y="104852"/>
                </a:cubicBezTo>
                <a:cubicBezTo>
                  <a:pt x="2166850" y="104284"/>
                  <a:pt x="2169838" y="104284"/>
                  <a:pt x="2172826" y="104710"/>
                </a:cubicBezTo>
                <a:close/>
                <a:moveTo>
                  <a:pt x="3040805" y="89914"/>
                </a:moveTo>
                <a:cubicBezTo>
                  <a:pt x="3042085" y="90056"/>
                  <a:pt x="3043152" y="90910"/>
                  <a:pt x="3044219" y="92190"/>
                </a:cubicBezTo>
                <a:cubicBezTo>
                  <a:pt x="3046140" y="94609"/>
                  <a:pt x="3044859" y="97027"/>
                  <a:pt x="3044859" y="97027"/>
                </a:cubicBezTo>
                <a:cubicBezTo>
                  <a:pt x="3042085" y="100584"/>
                  <a:pt x="3038457" y="101580"/>
                  <a:pt x="3035255" y="99162"/>
                </a:cubicBezTo>
                <a:cubicBezTo>
                  <a:pt x="3034402" y="96743"/>
                  <a:pt x="3035896" y="94467"/>
                  <a:pt x="3037176" y="92048"/>
                </a:cubicBezTo>
                <a:cubicBezTo>
                  <a:pt x="3038457" y="90341"/>
                  <a:pt x="3039737" y="89772"/>
                  <a:pt x="3040805" y="89914"/>
                </a:cubicBezTo>
                <a:close/>
                <a:moveTo>
                  <a:pt x="2603080" y="70708"/>
                </a:moveTo>
                <a:cubicBezTo>
                  <a:pt x="2607776" y="74549"/>
                  <a:pt x="2610550" y="77822"/>
                  <a:pt x="2612471" y="81094"/>
                </a:cubicBezTo>
                <a:cubicBezTo>
                  <a:pt x="2614178" y="84508"/>
                  <a:pt x="2614819" y="87780"/>
                  <a:pt x="2614819" y="91337"/>
                </a:cubicBezTo>
                <a:cubicBezTo>
                  <a:pt x="2605428" y="98308"/>
                  <a:pt x="2595397" y="100015"/>
                  <a:pt x="2587074" y="90056"/>
                </a:cubicBezTo>
                <a:cubicBezTo>
                  <a:pt x="2589208" y="83370"/>
                  <a:pt x="2593690" y="77537"/>
                  <a:pt x="2603080" y="70708"/>
                </a:cubicBezTo>
                <a:close/>
                <a:moveTo>
                  <a:pt x="2933881" y="55343"/>
                </a:moveTo>
                <a:cubicBezTo>
                  <a:pt x="2934095" y="55627"/>
                  <a:pt x="2934521" y="56197"/>
                  <a:pt x="2935588" y="56765"/>
                </a:cubicBezTo>
                <a:cubicBezTo>
                  <a:pt x="2936228" y="57335"/>
                  <a:pt x="2936656" y="57619"/>
                  <a:pt x="2936869" y="57904"/>
                </a:cubicBezTo>
                <a:cubicBezTo>
                  <a:pt x="2937083" y="58188"/>
                  <a:pt x="2937083" y="58473"/>
                  <a:pt x="2936656" y="59042"/>
                </a:cubicBezTo>
                <a:cubicBezTo>
                  <a:pt x="2935375" y="60180"/>
                  <a:pt x="2935375" y="60180"/>
                  <a:pt x="2931960" y="60038"/>
                </a:cubicBezTo>
                <a:cubicBezTo>
                  <a:pt x="2933241" y="59042"/>
                  <a:pt x="2933241" y="59042"/>
                  <a:pt x="2932174" y="57904"/>
                </a:cubicBezTo>
                <a:cubicBezTo>
                  <a:pt x="2932174" y="57904"/>
                  <a:pt x="2932174" y="57904"/>
                  <a:pt x="2931107" y="57904"/>
                </a:cubicBezTo>
                <a:cubicBezTo>
                  <a:pt x="2931320" y="56765"/>
                  <a:pt x="2932387" y="56623"/>
                  <a:pt x="2932387" y="55627"/>
                </a:cubicBezTo>
                <a:cubicBezTo>
                  <a:pt x="2932387" y="55627"/>
                  <a:pt x="2933454" y="55627"/>
                  <a:pt x="2933454" y="55627"/>
                </a:cubicBezTo>
                <a:cubicBezTo>
                  <a:pt x="2933668" y="55058"/>
                  <a:pt x="2933668" y="55058"/>
                  <a:pt x="2933881" y="55343"/>
                </a:cubicBezTo>
                <a:close/>
                <a:moveTo>
                  <a:pt x="2177308" y="0"/>
                </a:moveTo>
                <a:lnTo>
                  <a:pt x="2184137" y="14085"/>
                </a:lnTo>
                <a:cubicBezTo>
                  <a:pt x="2185632" y="20914"/>
                  <a:pt x="2184564" y="27601"/>
                  <a:pt x="2181790" y="34145"/>
                </a:cubicBezTo>
                <a:cubicBezTo>
                  <a:pt x="2178802" y="40689"/>
                  <a:pt x="2174107" y="47091"/>
                  <a:pt x="2168345" y="53635"/>
                </a:cubicBezTo>
                <a:cubicBezTo>
                  <a:pt x="2158527" y="44388"/>
                  <a:pt x="2155753" y="35568"/>
                  <a:pt x="2157887" y="26747"/>
                </a:cubicBezTo>
                <a:cubicBezTo>
                  <a:pt x="2158954" y="22337"/>
                  <a:pt x="2161088" y="17926"/>
                  <a:pt x="2164503" y="13516"/>
                </a:cubicBezTo>
                <a:close/>
              </a:path>
            </a:pathLst>
          </a:custGeom>
        </p:spPr>
      </p:pic>
    </p:spTree>
    <p:extLst>
      <p:ext uri="{BB962C8B-B14F-4D97-AF65-F5344CB8AC3E}">
        <p14:creationId xmlns:p14="http://schemas.microsoft.com/office/powerpoint/2010/main" val="1865991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ChangeArrowheads="1"/>
          </p:cNvSpPr>
          <p:nvPr>
            <p:ph type="title"/>
          </p:nvPr>
        </p:nvSpPr>
        <p:spPr/>
        <p:txBody>
          <a:bodyPr/>
          <a:lstStyle/>
          <a:p>
            <a:r>
              <a:rPr lang="ru-RU" altLang="x-none" sz="4000" b="1" dirty="0" smtClean="0">
                <a:solidFill>
                  <a:srgbClr val="32ACFA"/>
                </a:solidFill>
              </a:rPr>
              <a:t>План внедрения</a:t>
            </a:r>
            <a:r>
              <a:rPr lang="ru-RU" altLang="x-none" sz="4000" b="1" dirty="0" smtClean="0"/>
              <a:t> </a:t>
            </a:r>
            <a:r>
              <a:rPr lang="en-US" altLang="x-none" sz="4000" b="1" dirty="0" smtClean="0"/>
              <a:t>Data Mining</a:t>
            </a:r>
            <a:r>
              <a:rPr lang="ru-RU" altLang="x-none" sz="4000" b="1" dirty="0"/>
              <a:t/>
            </a:r>
            <a:br>
              <a:rPr lang="ru-RU" altLang="x-none" sz="4000" b="1" dirty="0"/>
            </a:br>
            <a:endParaRPr lang="ru-RU" altLang="x-none" sz="4000" b="1" dirty="0"/>
          </a:p>
        </p:txBody>
      </p:sp>
      <p:sp>
        <p:nvSpPr>
          <p:cNvPr id="4" name="Прямоугольник 3"/>
          <p:cNvSpPr/>
          <p:nvPr/>
        </p:nvSpPr>
        <p:spPr>
          <a:xfrm>
            <a:off x="609600" y="960437"/>
            <a:ext cx="5558346" cy="5632311"/>
          </a:xfrm>
          <a:prstGeom prst="rect">
            <a:avLst/>
          </a:prstGeom>
        </p:spPr>
        <p:txBody>
          <a:bodyPr wrap="square">
            <a:spAutoFit/>
          </a:bodyPr>
          <a:lstStyle/>
          <a:p>
            <a:r>
              <a:rPr lang="ru-RU" dirty="0" smtClean="0"/>
              <a:t>Комплексная</a:t>
            </a:r>
            <a:r>
              <a:rPr lang="ru-RU" dirty="0"/>
              <a:t> цифровизация </a:t>
            </a:r>
            <a:r>
              <a:rPr lang="ru-RU" dirty="0" smtClean="0"/>
              <a:t>предприятия, </a:t>
            </a:r>
            <a:r>
              <a:rPr lang="ru-RU" dirty="0"/>
              <a:t>начинается с этапа анализа. При этом нужно точно определить цели и ожидаемые результаты проекта, поставить задачи и описать требования к проектируемой системе. Каждая предметная область предлагает свой подход для четкого выполнения этих работ. </a:t>
            </a:r>
            <a:endParaRPr lang="ru-RU" dirty="0" smtClean="0"/>
          </a:p>
          <a:p>
            <a:endParaRPr lang="ru-RU" dirty="0" smtClean="0"/>
          </a:p>
          <a:p>
            <a:r>
              <a:rPr lang="ru-RU" dirty="0"/>
              <a:t>Ш</a:t>
            </a:r>
            <a:r>
              <a:rPr lang="ru-RU" dirty="0" smtClean="0"/>
              <a:t>ироко </a:t>
            </a:r>
            <a:r>
              <a:rPr lang="ru-RU" dirty="0"/>
              <a:t>распространен </a:t>
            </a:r>
            <a:r>
              <a:rPr lang="ru-RU" b="1" dirty="0"/>
              <a:t>4-шаговый управленческий цикл </a:t>
            </a:r>
            <a:r>
              <a:rPr lang="ru-RU" b="1" dirty="0" err="1"/>
              <a:t>Деминга-Шухарта</a:t>
            </a:r>
            <a:r>
              <a:rPr lang="ru-RU" dirty="0"/>
              <a:t> (PDCA, </a:t>
            </a:r>
            <a:r>
              <a:rPr lang="ru-RU" dirty="0" err="1"/>
              <a:t>Plan-Do-Check-Act</a:t>
            </a:r>
            <a:r>
              <a:rPr lang="ru-RU" dirty="0" smtClean="0"/>
              <a:t>):</a:t>
            </a:r>
          </a:p>
          <a:p>
            <a:r>
              <a:rPr lang="ru-RU" dirty="0"/>
              <a:t>сперва мы планируем деятельность, затем воплощаем эти планы, после проверяем степень достижения поставленных целей и, наконец, корректируем выявленные несоответствия между плановыми и фактическими показателями</a:t>
            </a:r>
            <a:r>
              <a:rPr lang="ru-RU" dirty="0" smtClean="0"/>
              <a:t>.</a:t>
            </a:r>
            <a:endParaRPr lang="en-US" dirty="0" smtClean="0"/>
          </a:p>
          <a:p>
            <a:endParaRPr lang="ru-RU" dirty="0" smtClean="0"/>
          </a:p>
          <a:p>
            <a:r>
              <a:rPr lang="ru-RU" dirty="0" smtClean="0"/>
              <a:t>В рамках цикла также необходимо проводить бизнес-анализ </a:t>
            </a:r>
            <a:r>
              <a:rPr lang="ru-RU" dirty="0"/>
              <a:t>в рамках межотраслевого стандарта</a:t>
            </a:r>
            <a:r>
              <a:rPr lang="ru-RU" b="1" dirty="0"/>
              <a:t> CRISP-DM</a:t>
            </a:r>
            <a:r>
              <a:rPr lang="ru-RU" dirty="0"/>
              <a:t> (</a:t>
            </a:r>
            <a:r>
              <a:rPr lang="ru-RU" dirty="0" err="1"/>
              <a:t>Cross-Industry</a:t>
            </a:r>
            <a:r>
              <a:rPr lang="ru-RU" dirty="0"/>
              <a:t> </a:t>
            </a:r>
            <a:r>
              <a:rPr lang="ru-RU" dirty="0" err="1"/>
              <a:t>Standard</a:t>
            </a:r>
            <a:r>
              <a:rPr lang="ru-RU" dirty="0"/>
              <a:t> </a:t>
            </a:r>
            <a:r>
              <a:rPr lang="ru-RU" dirty="0" err="1"/>
              <a:t>Process</a:t>
            </a:r>
            <a:r>
              <a:rPr lang="ru-RU" dirty="0"/>
              <a:t> </a:t>
            </a:r>
            <a:r>
              <a:rPr lang="ru-RU" dirty="0" err="1"/>
              <a:t>for</a:t>
            </a:r>
            <a:r>
              <a:rPr lang="ru-RU" dirty="0"/>
              <a:t> </a:t>
            </a:r>
            <a:r>
              <a:rPr lang="ru-RU" dirty="0" err="1"/>
              <a:t>Data</a:t>
            </a:r>
            <a:r>
              <a:rPr lang="ru-RU" dirty="0"/>
              <a:t> </a:t>
            </a:r>
            <a:r>
              <a:rPr lang="ru-RU" dirty="0" err="1" smtClean="0"/>
              <a:t>Mining</a:t>
            </a:r>
            <a:r>
              <a:rPr lang="ru-RU" dirty="0" smtClean="0"/>
              <a:t>): от </a:t>
            </a:r>
            <a:r>
              <a:rPr lang="ru-RU" dirty="0"/>
              <a:t>формулирования прикладной проблемы до развертывания программных </a:t>
            </a:r>
            <a:r>
              <a:rPr lang="ru-RU" dirty="0" smtClean="0"/>
              <a:t>продуктов</a:t>
            </a:r>
            <a:endParaRPr lang="ru-RU" dirty="0"/>
          </a:p>
        </p:txBody>
      </p:sp>
      <p:sp>
        <p:nvSpPr>
          <p:cNvPr id="5" name="Овал 4"/>
          <p:cNvSpPr/>
          <p:nvPr/>
        </p:nvSpPr>
        <p:spPr>
          <a:xfrm>
            <a:off x="8009466" y="3335867"/>
            <a:ext cx="2844800" cy="2844800"/>
          </a:xfrm>
          <a:prstGeom prst="ellipse">
            <a:avLst/>
          </a:prstGeom>
          <a:gradFill>
            <a:gsLst>
              <a:gs pos="0">
                <a:schemeClr val="accent1">
                  <a:alpha val="50000"/>
                </a:schemeClr>
              </a:gs>
              <a:gs pos="100000">
                <a:schemeClr val="accent4">
                  <a:lumMod val="100000"/>
                  <a:alpha val="81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dirty="0"/>
          </a:p>
        </p:txBody>
      </p:sp>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08437" y="960437"/>
            <a:ext cx="5146514" cy="5220230"/>
          </a:xfrm>
          <a:prstGeom prst="rect">
            <a:avLst/>
          </a:prstGeom>
        </p:spPr>
      </p:pic>
    </p:spTree>
    <p:extLst>
      <p:ext uri="{BB962C8B-B14F-4D97-AF65-F5344CB8AC3E}">
        <p14:creationId xmlns:p14="http://schemas.microsoft.com/office/powerpoint/2010/main" val="10185246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ChangeArrowheads="1"/>
          </p:cNvSpPr>
          <p:nvPr>
            <p:ph type="title"/>
          </p:nvPr>
        </p:nvSpPr>
        <p:spPr/>
        <p:txBody>
          <a:bodyPr/>
          <a:lstStyle/>
          <a:p>
            <a:r>
              <a:rPr lang="ru-RU" altLang="x-none" sz="4000" b="1" dirty="0">
                <a:solidFill>
                  <a:srgbClr val="32ACFA"/>
                </a:solidFill>
              </a:rPr>
              <a:t>План внедрения</a:t>
            </a:r>
            <a:r>
              <a:rPr lang="ru-RU" altLang="x-none" sz="4000" b="1" dirty="0"/>
              <a:t> </a:t>
            </a:r>
            <a:r>
              <a:rPr lang="en-US" altLang="x-none" sz="4000" b="1" dirty="0"/>
              <a:t>Data Mining</a:t>
            </a:r>
            <a:r>
              <a:rPr lang="ru-RU" altLang="x-none" sz="4000" b="1" dirty="0"/>
              <a:t/>
            </a:r>
            <a:br>
              <a:rPr lang="ru-RU" altLang="x-none" sz="4000" b="1" dirty="0"/>
            </a:br>
            <a:endParaRPr lang="ru-RU" altLang="x-none" sz="4000" b="1" dirty="0"/>
          </a:p>
        </p:txBody>
      </p:sp>
      <p:sp>
        <p:nvSpPr>
          <p:cNvPr id="4" name="Прямоугольник 3"/>
          <p:cNvSpPr/>
          <p:nvPr/>
        </p:nvSpPr>
        <p:spPr>
          <a:xfrm>
            <a:off x="609600" y="1417637"/>
            <a:ext cx="10972800" cy="1938992"/>
          </a:xfrm>
          <a:prstGeom prst="rect">
            <a:avLst/>
          </a:prstGeom>
        </p:spPr>
        <p:txBody>
          <a:bodyPr wrap="square">
            <a:spAutoFit/>
          </a:bodyPr>
          <a:lstStyle/>
          <a:p>
            <a:r>
              <a:rPr lang="ru-RU" sz="2400" dirty="0"/>
              <a:t>Комбинация двух подходов позволит избежать проблем на этапе развертывания CRISP-DM </a:t>
            </a:r>
            <a:r>
              <a:rPr lang="ru-RU" sz="2400" dirty="0" smtClean="0"/>
              <a:t>за </a:t>
            </a:r>
            <a:r>
              <a:rPr lang="ru-RU" sz="2400" dirty="0"/>
              <a:t>счет цикличности шагов PDCA </a:t>
            </a:r>
            <a:r>
              <a:rPr lang="ru-RU" sz="2400" dirty="0" smtClean="0"/>
              <a:t>. </a:t>
            </a:r>
            <a:r>
              <a:rPr lang="ru-RU" sz="2400" dirty="0"/>
              <a:t>Таким образом, одна из итераций по непосредственному внедрению Big Data в бизнес-направление выполняется на этапе </a:t>
            </a:r>
            <a:r>
              <a:rPr lang="ru-RU" sz="2400" dirty="0" err="1"/>
              <a:t>Do</a:t>
            </a:r>
            <a:r>
              <a:rPr lang="ru-RU" sz="2400" dirty="0"/>
              <a:t>, наблюдается и корректируется, а затем повторяется снова с учетом необходимых изменений</a:t>
            </a:r>
            <a:r>
              <a:rPr lang="ru-RU" sz="2400" dirty="0" smtClean="0"/>
              <a:t>.</a:t>
            </a:r>
            <a:endParaRPr lang="ru-RU" sz="2400" b="1" dirty="0" smtClean="0"/>
          </a:p>
        </p:txBody>
      </p:sp>
      <p:sp>
        <p:nvSpPr>
          <p:cNvPr id="5" name="Овал 4"/>
          <p:cNvSpPr/>
          <p:nvPr/>
        </p:nvSpPr>
        <p:spPr>
          <a:xfrm>
            <a:off x="6485466" y="3356629"/>
            <a:ext cx="5706534" cy="5706534"/>
          </a:xfrm>
          <a:prstGeom prst="ellipse">
            <a:avLst/>
          </a:prstGeom>
          <a:gradFill>
            <a:gsLst>
              <a:gs pos="0">
                <a:schemeClr val="accent1">
                  <a:alpha val="50000"/>
                </a:schemeClr>
              </a:gs>
              <a:gs pos="100000">
                <a:schemeClr val="accent4">
                  <a:lumMod val="100000"/>
                  <a:alpha val="81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Tree>
    <p:extLst>
      <p:ext uri="{BB962C8B-B14F-4D97-AF65-F5344CB8AC3E}">
        <p14:creationId xmlns:p14="http://schemas.microsoft.com/office/powerpoint/2010/main" val="28996301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352800" y="0"/>
            <a:ext cx="8839200" cy="6858000"/>
          </a:xfrm>
          <a:prstGeom prst="rect">
            <a:avLst/>
          </a:prstGeom>
          <a:gradFill>
            <a:gsLst>
              <a:gs pos="0">
                <a:schemeClr val="accent1">
                  <a:alpha val="50000"/>
                </a:schemeClr>
              </a:gs>
              <a:gs pos="100000">
                <a:schemeClr val="accent4">
                  <a:lumMod val="100000"/>
                  <a:alpha val="81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TextBox 6"/>
          <p:cNvSpPr txBox="1"/>
          <p:nvPr/>
        </p:nvSpPr>
        <p:spPr>
          <a:xfrm>
            <a:off x="1638300" y="5791199"/>
            <a:ext cx="1083630" cy="492443"/>
          </a:xfrm>
          <a:prstGeom prst="rect">
            <a:avLst/>
          </a:prstGeom>
          <a:noFill/>
        </p:spPr>
        <p:txBody>
          <a:bodyPr wrap="none" lIns="0" tIns="0" rIns="0" bIns="0" rtlCol="0">
            <a:spAutoFit/>
          </a:bodyPr>
          <a:lstStyle/>
          <a:p>
            <a:r>
              <a:rPr lang="en-US" sz="3200" dirty="0" smtClean="0">
                <a:solidFill>
                  <a:schemeClr val="accent1"/>
                </a:solidFill>
                <a:latin typeface="Open Sans Semibold" panose="020B0706030804020204" pitchFamily="34" charset="0"/>
                <a:ea typeface="Open Sans Semibold" panose="020B0706030804020204" pitchFamily="34" charset="0"/>
                <a:cs typeface="Open Sans Semibold" panose="020B0706030804020204" pitchFamily="34" charset="0"/>
              </a:rPr>
              <a:t>Mining</a:t>
            </a:r>
            <a:endParaRPr lang="en-US" sz="3200" dirty="0">
              <a:solidFill>
                <a:schemeClr val="accent1"/>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8" name="Oval 7"/>
          <p:cNvSpPr/>
          <p:nvPr/>
        </p:nvSpPr>
        <p:spPr>
          <a:xfrm>
            <a:off x="508374" y="5551646"/>
            <a:ext cx="971550" cy="971550"/>
          </a:xfrm>
          <a:prstGeom prst="ellipse">
            <a:avLst/>
          </a:prstGeom>
          <a:gradFill>
            <a:gsLst>
              <a:gs pos="0">
                <a:schemeClr val="accent1"/>
              </a:gs>
              <a:gs pos="100000">
                <a:schemeClr val="accent4">
                  <a:lumMod val="10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400" dirty="0">
                <a:latin typeface="Harlow Solid Italic" panose="04030604020F02020D02" pitchFamily="82" charset="0"/>
              </a:rPr>
              <a:t>D</a:t>
            </a:r>
          </a:p>
        </p:txBody>
      </p:sp>
      <p:sp>
        <p:nvSpPr>
          <p:cNvPr id="9" name="Rectangle 8"/>
          <p:cNvSpPr/>
          <p:nvPr/>
        </p:nvSpPr>
        <p:spPr>
          <a:xfrm>
            <a:off x="3352800" y="3333690"/>
            <a:ext cx="571500"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TextBox 10"/>
          <p:cNvSpPr txBox="1"/>
          <p:nvPr/>
        </p:nvSpPr>
        <p:spPr>
          <a:xfrm>
            <a:off x="5568996" y="380880"/>
            <a:ext cx="5286704" cy="492443"/>
          </a:xfrm>
          <a:prstGeom prst="rect">
            <a:avLst/>
          </a:prstGeom>
          <a:noFill/>
        </p:spPr>
        <p:txBody>
          <a:bodyPr wrap="none" lIns="0" tIns="0" rIns="0" bIns="0" rtlCol="0">
            <a:spAutoFit/>
          </a:bodyPr>
          <a:lstStyle/>
          <a:p>
            <a:r>
              <a:rPr lang="ru-RU" sz="3200" dirty="0" smtClean="0">
                <a:solidFill>
                  <a:schemeClr val="bg1"/>
                </a:solidFill>
                <a:latin typeface="Open Sans BOLD" panose="020B0806030504020204" pitchFamily="34" charset="0"/>
                <a:ea typeface="Open Sans BOLD" panose="020B0806030504020204" pitchFamily="34" charset="0"/>
                <a:cs typeface="Open Sans BOLD" panose="020B0806030504020204" pitchFamily="34" charset="0"/>
              </a:rPr>
              <a:t>Сущность и содержание понятия</a:t>
            </a:r>
            <a:endParaRPr lang="en-US" sz="3200" dirty="0">
              <a:solidFill>
                <a:schemeClr val="bg1"/>
              </a:solidFill>
              <a:latin typeface="Open Sans BOLD" panose="020B0806030504020204" pitchFamily="34" charset="0"/>
              <a:ea typeface="Open Sans BOLD" panose="020B0806030504020204" pitchFamily="34" charset="0"/>
              <a:cs typeface="Open Sans BOLD" panose="020B0806030504020204" pitchFamily="34" charset="0"/>
            </a:endParaRPr>
          </a:p>
        </p:txBody>
      </p:sp>
      <p:sp>
        <p:nvSpPr>
          <p:cNvPr id="12" name="TextBox 11"/>
          <p:cNvSpPr txBox="1"/>
          <p:nvPr/>
        </p:nvSpPr>
        <p:spPr>
          <a:xfrm>
            <a:off x="4312093" y="2104697"/>
            <a:ext cx="7717982" cy="3323987"/>
          </a:xfrm>
          <a:prstGeom prst="rect">
            <a:avLst/>
          </a:prstGeom>
          <a:noFill/>
        </p:spPr>
        <p:txBody>
          <a:bodyPr wrap="square" lIns="0" tIns="0" rIns="0" bIns="0" rtlCol="0">
            <a:spAutoFit/>
          </a:bodyPr>
          <a:lstStyle/>
          <a:p>
            <a:pPr algn="just"/>
            <a:r>
              <a:rPr lang="ru-RU"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Data </a:t>
            </a:r>
            <a:r>
              <a:rPr lang="ru-RU" dirty="0" err="1">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Mining</a:t>
            </a:r>
            <a:r>
              <a:rPr lang="ru-RU"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 - </a:t>
            </a:r>
            <a:r>
              <a:rPr lang="ru-RU" dirty="0" err="1">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мультидисциплинарная</a:t>
            </a:r>
            <a:r>
              <a:rPr lang="ru-RU"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 область, возникшая и развивающаяся на базе таких наук как прикладная статистика, распознавание образов, искусственный интеллект, теория баз данных и др</a:t>
            </a:r>
            <a:r>
              <a:rPr lang="ru-RU" dirty="0" smtClean="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a:t>
            </a:r>
          </a:p>
          <a:p>
            <a:pPr algn="just"/>
            <a:endParaRPr lang="ru-RU"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endParaRPr>
          </a:p>
          <a:p>
            <a:pPr algn="just"/>
            <a:r>
              <a:rPr lang="ru-RU"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Data </a:t>
            </a:r>
            <a:r>
              <a:rPr lang="ru-RU" dirty="0" err="1">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Mining</a:t>
            </a:r>
            <a:r>
              <a:rPr lang="ru-RU"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 - это процесс выделения, исследования и моделирования больших объемов данных для обнаружения неизвестных до этого структур (</a:t>
            </a:r>
            <a:r>
              <a:rPr lang="ru-RU" dirty="0" err="1">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patterns</a:t>
            </a:r>
            <a:r>
              <a:rPr lang="ru-RU"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 с целью достижения преимуществ в бизнесе (определение </a:t>
            </a:r>
            <a:r>
              <a:rPr lang="ru-RU" dirty="0" err="1">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SAS</a:t>
            </a:r>
            <a:r>
              <a:rPr lang="ru-RU"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 </a:t>
            </a:r>
            <a:r>
              <a:rPr lang="ru-RU" dirty="0" err="1">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Institute</a:t>
            </a:r>
            <a:r>
              <a:rPr lang="ru-RU" dirty="0" smtClean="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a:t>
            </a:r>
          </a:p>
          <a:p>
            <a:pPr algn="just"/>
            <a:endParaRPr lang="ru-RU"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endParaRPr>
          </a:p>
          <a:p>
            <a:pPr algn="just"/>
            <a:r>
              <a:rPr lang="ru-RU"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Data </a:t>
            </a:r>
            <a:r>
              <a:rPr lang="ru-RU" dirty="0" err="1">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Mining</a:t>
            </a:r>
            <a:r>
              <a:rPr lang="ru-RU"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 - это процесс, цель которого - обнаружить новые значимые корреляции, образцы и тенденции в результате просеивания большого объема хранимых данных с использованием методик распознавания образцов плюс применение статистических и математических методов (определение </a:t>
            </a:r>
            <a:r>
              <a:rPr lang="ru-RU" dirty="0" err="1">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Gartner</a:t>
            </a:r>
            <a:r>
              <a:rPr lang="ru-RU"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 </a:t>
            </a:r>
            <a:r>
              <a:rPr lang="ru-RU" dirty="0" err="1">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Group</a:t>
            </a:r>
            <a:r>
              <a:rPr lang="ru-RU"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a:t>
            </a:r>
          </a:p>
        </p:txBody>
      </p:sp>
    </p:spTree>
    <p:extLst>
      <p:ext uri="{BB962C8B-B14F-4D97-AF65-F5344CB8AC3E}">
        <p14:creationId xmlns:p14="http://schemas.microsoft.com/office/powerpoint/2010/main" val="3321658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Овал 5"/>
          <p:cNvSpPr/>
          <p:nvPr/>
        </p:nvSpPr>
        <p:spPr>
          <a:xfrm>
            <a:off x="6485466" y="3356629"/>
            <a:ext cx="5706534" cy="5706534"/>
          </a:xfrm>
          <a:prstGeom prst="ellipse">
            <a:avLst/>
          </a:prstGeom>
          <a:gradFill>
            <a:gsLst>
              <a:gs pos="0">
                <a:schemeClr val="accent1">
                  <a:alpha val="50000"/>
                </a:schemeClr>
              </a:gs>
              <a:gs pos="100000">
                <a:schemeClr val="accent4">
                  <a:lumMod val="100000"/>
                  <a:alpha val="81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60418" name="Rectangle 2"/>
          <p:cNvSpPr>
            <a:spLocks noGrp="1" noChangeArrowheads="1"/>
          </p:cNvSpPr>
          <p:nvPr>
            <p:ph type="title"/>
          </p:nvPr>
        </p:nvSpPr>
        <p:spPr/>
        <p:txBody>
          <a:bodyPr/>
          <a:lstStyle/>
          <a:p>
            <a:r>
              <a:rPr lang="ru-RU" altLang="x-none" sz="4000" b="1" dirty="0" smtClean="0">
                <a:solidFill>
                  <a:srgbClr val="32ACFA"/>
                </a:solidFill>
              </a:rPr>
              <a:t>Этапы внедрения</a:t>
            </a:r>
            <a:r>
              <a:rPr lang="ru-RU" altLang="x-none" sz="4000" b="1" dirty="0" smtClean="0"/>
              <a:t> </a:t>
            </a:r>
            <a:r>
              <a:rPr lang="en-US" altLang="x-none" sz="4000" b="1" dirty="0"/>
              <a:t>Data </a:t>
            </a:r>
            <a:r>
              <a:rPr lang="en-US" altLang="x-none" sz="4000" b="1" dirty="0" smtClean="0"/>
              <a:t>Mining</a:t>
            </a:r>
            <a:r>
              <a:rPr lang="ru-RU" altLang="x-none" sz="4000" b="1" dirty="0" smtClean="0"/>
              <a:t> на примере </a:t>
            </a:r>
            <a:r>
              <a:rPr lang="en-US" altLang="x-none" sz="4000" b="1" dirty="0" smtClean="0"/>
              <a:t>HR</a:t>
            </a:r>
            <a:r>
              <a:rPr lang="ru-RU" altLang="x-none" sz="4000" b="1" dirty="0"/>
              <a:t/>
            </a:r>
            <a:br>
              <a:rPr lang="ru-RU" altLang="x-none" sz="4000" b="1" dirty="0"/>
            </a:br>
            <a:endParaRPr lang="ru-RU" altLang="x-none" sz="4000" b="1" dirty="0"/>
          </a:p>
        </p:txBody>
      </p:sp>
      <p:sp>
        <p:nvSpPr>
          <p:cNvPr id="4" name="Прямоугольник 3"/>
          <p:cNvSpPr/>
          <p:nvPr/>
        </p:nvSpPr>
        <p:spPr>
          <a:xfrm>
            <a:off x="506627" y="1229198"/>
            <a:ext cx="11178746" cy="4832092"/>
          </a:xfrm>
          <a:prstGeom prst="rect">
            <a:avLst/>
          </a:prstGeom>
        </p:spPr>
        <p:txBody>
          <a:bodyPr wrap="square">
            <a:spAutoFit/>
          </a:bodyPr>
          <a:lstStyle/>
          <a:p>
            <a:pPr marL="457200" indent="-457200">
              <a:buFont typeface="+mj-lt"/>
              <a:buAutoNum type="arabicPeriod"/>
            </a:pPr>
            <a:r>
              <a:rPr lang="ru-RU" sz="2200" b="1" dirty="0" smtClean="0"/>
              <a:t>Определение </a:t>
            </a:r>
            <a:r>
              <a:rPr lang="ru-RU" sz="2200" b="1" dirty="0"/>
              <a:t>конкретной бизнес-проблемы</a:t>
            </a:r>
            <a:r>
              <a:rPr lang="ru-RU" sz="2200" dirty="0"/>
              <a:t>, например, повышение эффективности продаж. В разрезе HR-аналитики следует найти факторы, которые способствуют высокой производительности менеджеров по продажам, чтобы привлекать и нанимать подходящих людей, а затем развивать их </a:t>
            </a:r>
            <a:r>
              <a:rPr lang="ru-RU" sz="2200" dirty="0" smtClean="0"/>
              <a:t>потенциал.</a:t>
            </a:r>
            <a:endParaRPr lang="en-US" sz="2200" dirty="0" smtClean="0"/>
          </a:p>
          <a:p>
            <a:pPr marL="457200" indent="-457200">
              <a:buFont typeface="+mj-lt"/>
              <a:buAutoNum type="arabicPeriod"/>
            </a:pPr>
            <a:endParaRPr lang="en-US" sz="2200" b="1" dirty="0"/>
          </a:p>
          <a:p>
            <a:pPr marL="457200" indent="-457200">
              <a:buFont typeface="+mj-lt"/>
              <a:buAutoNum type="arabicPeriod"/>
            </a:pPr>
            <a:r>
              <a:rPr lang="ru-RU" sz="2200" b="1" dirty="0" smtClean="0"/>
              <a:t>Фильтрация </a:t>
            </a:r>
            <a:r>
              <a:rPr lang="ru-RU" sz="2200" b="1" dirty="0"/>
              <a:t>сведений, создание словаря данных и чистка информации:</a:t>
            </a:r>
            <a:r>
              <a:rPr lang="ru-RU" sz="2200" dirty="0"/>
              <a:t> удаление дублей, устаревших значений и т.д. Например, как определить «текучесть персонала»: стоит ли учитывать людей, которые включились в команду менее полугода назад, работают неполный день или оставили компанию в последний день года? Создание словаря данных является межотраслевым проектом – необходимы не только основные HR-сведения (дата найма, возраст, опыт, информацию об образовании), рекрутинговые характеристики (оценка до найма, интервью), информация о производительности (рейтинги, распределение работы) и обучении (завершение программ, сертификация, оценки), а также данные по лидерству (лидерские качества, обратная связь) </a:t>
            </a:r>
            <a:r>
              <a:rPr lang="ru-RU" sz="2200" dirty="0" smtClean="0"/>
              <a:t>.</a:t>
            </a:r>
            <a:endParaRPr lang="ru-RU" sz="2200" dirty="0"/>
          </a:p>
        </p:txBody>
      </p:sp>
    </p:spTree>
    <p:extLst>
      <p:ext uri="{BB962C8B-B14F-4D97-AF65-F5344CB8AC3E}">
        <p14:creationId xmlns:p14="http://schemas.microsoft.com/office/powerpoint/2010/main" val="76803167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Овал 5"/>
          <p:cNvSpPr/>
          <p:nvPr/>
        </p:nvSpPr>
        <p:spPr>
          <a:xfrm>
            <a:off x="6485466" y="3356629"/>
            <a:ext cx="5706534" cy="5706534"/>
          </a:xfrm>
          <a:prstGeom prst="ellipse">
            <a:avLst/>
          </a:prstGeom>
          <a:gradFill>
            <a:gsLst>
              <a:gs pos="0">
                <a:schemeClr val="accent1">
                  <a:alpha val="50000"/>
                </a:schemeClr>
              </a:gs>
              <a:gs pos="100000">
                <a:schemeClr val="accent4">
                  <a:lumMod val="100000"/>
                  <a:alpha val="81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60418" name="Rectangle 2"/>
          <p:cNvSpPr>
            <a:spLocks noGrp="1" noChangeArrowheads="1"/>
          </p:cNvSpPr>
          <p:nvPr>
            <p:ph type="title"/>
          </p:nvPr>
        </p:nvSpPr>
        <p:spPr/>
        <p:txBody>
          <a:bodyPr/>
          <a:lstStyle/>
          <a:p>
            <a:r>
              <a:rPr lang="ru-RU" altLang="x-none" sz="4000" b="1" dirty="0">
                <a:solidFill>
                  <a:srgbClr val="32ACFA"/>
                </a:solidFill>
              </a:rPr>
              <a:t>Этапы внедрения</a:t>
            </a:r>
            <a:r>
              <a:rPr lang="ru-RU" altLang="x-none" sz="4000" b="1" dirty="0"/>
              <a:t> </a:t>
            </a:r>
            <a:r>
              <a:rPr lang="en-US" altLang="x-none" sz="4000" b="1" dirty="0"/>
              <a:t>Data Mining</a:t>
            </a:r>
            <a:r>
              <a:rPr lang="ru-RU" altLang="x-none" sz="4000" b="1" dirty="0"/>
              <a:t> на примере </a:t>
            </a:r>
            <a:r>
              <a:rPr lang="en-US" altLang="x-none" sz="4000" b="1" dirty="0"/>
              <a:t>HR</a:t>
            </a:r>
            <a:r>
              <a:rPr lang="ru-RU" altLang="x-none" sz="4000" b="1" dirty="0"/>
              <a:t/>
            </a:r>
            <a:br>
              <a:rPr lang="ru-RU" altLang="x-none" sz="4000" b="1" dirty="0"/>
            </a:br>
            <a:endParaRPr lang="ru-RU" altLang="x-none" sz="4000" b="1" dirty="0"/>
          </a:p>
        </p:txBody>
      </p:sp>
      <p:sp>
        <p:nvSpPr>
          <p:cNvPr id="4" name="Прямоугольник 3"/>
          <p:cNvSpPr/>
          <p:nvPr/>
        </p:nvSpPr>
        <p:spPr>
          <a:xfrm>
            <a:off x="609600" y="1417637"/>
            <a:ext cx="10972800" cy="4154984"/>
          </a:xfrm>
          <a:prstGeom prst="rect">
            <a:avLst/>
          </a:prstGeom>
        </p:spPr>
        <p:txBody>
          <a:bodyPr wrap="square">
            <a:spAutoFit/>
          </a:bodyPr>
          <a:lstStyle/>
          <a:p>
            <a:pPr marL="457200" indent="-457200">
              <a:buFont typeface="+mj-lt"/>
              <a:buAutoNum type="arabicPeriod" startAt="3"/>
            </a:pPr>
            <a:r>
              <a:rPr lang="ru-RU" sz="2400" b="1" dirty="0"/>
              <a:t>Построение гипотез и их реализация.</a:t>
            </a:r>
            <a:r>
              <a:rPr lang="ru-RU" sz="2400" dirty="0"/>
              <a:t> Например, как качество межличностных коммуникаций в команде влияет на эффективность ее работы или какие факторы провоцируют профессиональное выгорание сотрудников и как их предупредить. На этом этапе к HR-аналитику подключается </a:t>
            </a:r>
            <a:r>
              <a:rPr lang="ru-RU" sz="2400" dirty="0" err="1"/>
              <a:t>Data</a:t>
            </a:r>
            <a:r>
              <a:rPr lang="ru-RU" sz="2400" dirty="0"/>
              <a:t> </a:t>
            </a:r>
            <a:r>
              <a:rPr lang="ru-RU" sz="2400" dirty="0" err="1"/>
              <a:t>Scientist</a:t>
            </a:r>
            <a:r>
              <a:rPr lang="ru-RU" sz="2400" dirty="0"/>
              <a:t>, организуя дальнейшую работу по стандарту CRISP-DM: от бизнес-анализа до внедрения модели машинного обучения (Machine Learning). Этот этап пойдет быстрее, если менеджер владеет хотя бы минимальными навыками программирования на </a:t>
            </a:r>
            <a:r>
              <a:rPr lang="ru-RU" sz="2400" dirty="0" smtClean="0"/>
              <a:t>языке.</a:t>
            </a:r>
            <a:endParaRPr lang="ru-RU" sz="2400" dirty="0"/>
          </a:p>
          <a:p>
            <a:pPr marL="457200" indent="-457200">
              <a:buFont typeface="+mj-lt"/>
              <a:buAutoNum type="arabicPeriod" startAt="3"/>
            </a:pPr>
            <a:r>
              <a:rPr lang="ru-RU" sz="2400" b="1" dirty="0"/>
              <a:t>Анализ полученных результатов</a:t>
            </a:r>
            <a:r>
              <a:rPr lang="ru-RU" sz="2400" dirty="0"/>
              <a:t>, улучшение качества построенных моделей и их последующее внедрение в другие бизнес-задачи с необходимой адаптацией.</a:t>
            </a:r>
          </a:p>
        </p:txBody>
      </p:sp>
    </p:spTree>
    <p:extLst>
      <p:ext uri="{BB962C8B-B14F-4D97-AF65-F5344CB8AC3E}">
        <p14:creationId xmlns:p14="http://schemas.microsoft.com/office/powerpoint/2010/main" val="193166006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17038" r="17038"/>
          <a:stretch>
            <a:fillRect/>
          </a:stretch>
        </p:blipFill>
        <p:spPr>
          <a:xfrm>
            <a:off x="-647333" y="338830"/>
            <a:ext cx="8400749" cy="7166864"/>
          </a:xfrm>
        </p:spPr>
      </p:pic>
      <p:sp>
        <p:nvSpPr>
          <p:cNvPr id="14" name="TextBox 13"/>
          <p:cNvSpPr txBox="1"/>
          <p:nvPr/>
        </p:nvSpPr>
        <p:spPr>
          <a:xfrm>
            <a:off x="7097487" y="2063097"/>
            <a:ext cx="4973933" cy="11079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2400" dirty="0" smtClean="0">
                <a:solidFill>
                  <a:srgbClr val="02BBF8"/>
                </a:solidFill>
                <a:latin typeface="Open Sans Semibold" panose="020B0706030804020204" pitchFamily="34" charset="0"/>
                <a:ea typeface="Open Sans Semibold" panose="020B0706030804020204" pitchFamily="34" charset="0"/>
                <a:cs typeface="Open Sans Semibold" panose="020B0706030804020204" pitchFamily="34" charset="0"/>
              </a:rPr>
              <a:t>Сферы применения </a:t>
            </a:r>
            <a:r>
              <a:rPr lang="ru-RU" sz="2400" dirty="0" smtClean="0">
                <a:solidFill>
                  <a:schemeClr val="tx1">
                    <a:lumMod val="95000"/>
                    <a:lumOff val="5000"/>
                  </a:schemeClr>
                </a:solidFill>
                <a:latin typeface="Open Sans Semibold" panose="020B0706030804020204" pitchFamily="34" charset="0"/>
                <a:ea typeface="Open Sans Semibold" panose="020B0706030804020204" pitchFamily="34" charset="0"/>
                <a:cs typeface="Open Sans Semibold" panose="020B0706030804020204" pitchFamily="34" charset="0"/>
              </a:rPr>
              <a:t>и </a:t>
            </a:r>
            <a:r>
              <a:rPr lang="ru-RU" sz="2400" dirty="0">
                <a:solidFill>
                  <a:schemeClr val="tx1">
                    <a:lumMod val="95000"/>
                    <a:lumOff val="5000"/>
                  </a:schemeClr>
                </a:solidFill>
                <a:latin typeface="Open Sans Semibold" panose="020B0706030804020204" pitchFamily="34" charset="0"/>
                <a:ea typeface="Open Sans Semibold" panose="020B0706030804020204" pitchFamily="34" charset="0"/>
                <a:cs typeface="Open Sans Semibold" panose="020B0706030804020204" pitchFamily="34" charset="0"/>
              </a:rPr>
              <a:t>в</a:t>
            </a:r>
            <a:r>
              <a:rPr kumimoji="0" lang="ru-RU" sz="2400" b="0" i="0" u="none" strike="noStrike" kern="1200" cap="none" spc="0" normalizeH="0" baseline="0" noProof="0" dirty="0" err="1" smtClean="0">
                <a:ln>
                  <a:noFill/>
                </a:ln>
                <a:solidFill>
                  <a:schemeClr val="tx1">
                    <a:lumMod val="95000"/>
                    <a:lumOff val="5000"/>
                  </a:schemeClr>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озможности</a:t>
            </a:r>
            <a:r>
              <a:rPr kumimoji="0" lang="ru-RU" sz="2400" b="0" i="0" u="none" strike="noStrike" kern="1200" cap="none" spc="0" normalizeH="0" baseline="0" noProof="0" dirty="0" smtClean="0">
                <a:ln>
                  <a:noFill/>
                </a:ln>
                <a:solidFill>
                  <a:schemeClr val="tx1">
                    <a:lumMod val="95000"/>
                    <a:lumOff val="5000"/>
                  </a:schemeClr>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 </a:t>
            </a:r>
            <a:r>
              <a:rPr kumimoji="0" lang="ru-RU" sz="2400" b="0" i="0" u="none" strike="noStrike" kern="1200" cap="none" spc="0" normalizeH="0" baseline="0" noProof="0" dirty="0">
                <a:ln>
                  <a:noFill/>
                </a:ln>
                <a:solidFill>
                  <a:schemeClr val="tx1">
                    <a:lumMod val="95000"/>
                    <a:lumOff val="5000"/>
                  </a:schemeClr>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анализа данных </a:t>
            </a:r>
            <a:r>
              <a:rPr kumimoji="0" lang="ru-RU" sz="2400" b="0" i="0" u="none" strike="noStrike" kern="1200" cap="none" spc="0" normalizeH="0" baseline="0" noProof="0" dirty="0">
                <a:ln>
                  <a:noFill/>
                </a:ln>
                <a:solidFill>
                  <a:prstClr val="black"/>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в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400" b="0" i="0" u="none" strike="noStrike" kern="1200" cap="none" spc="0" normalizeH="0" baseline="0" noProof="0" dirty="0">
                <a:ln>
                  <a:noFill/>
                </a:ln>
                <a:solidFill>
                  <a:prstClr val="black"/>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различных отраслях экономики</a:t>
            </a:r>
          </a:p>
        </p:txBody>
      </p:sp>
    </p:spTree>
    <p:extLst>
      <p:ext uri="{BB962C8B-B14F-4D97-AF65-F5344CB8AC3E}">
        <p14:creationId xmlns:p14="http://schemas.microsoft.com/office/powerpoint/2010/main" val="341914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7F7F7"/>
        </a:solidFill>
        <a:effectLst/>
      </p:bgPr>
    </p:bg>
    <p:spTree>
      <p:nvGrpSpPr>
        <p:cNvPr id="1" name=""/>
        <p:cNvGrpSpPr/>
        <p:nvPr/>
      </p:nvGrpSpPr>
      <p:grpSpPr>
        <a:xfrm>
          <a:off x="0" y="0"/>
          <a:ext cx="0" cy="0"/>
          <a:chOff x="0" y="0"/>
          <a:chExt cx="0" cy="0"/>
        </a:xfrm>
      </p:grpSpPr>
      <p:cxnSp>
        <p:nvCxnSpPr>
          <p:cNvPr id="4" name="Straight Connector 7">
            <a:extLst>
              <a:ext uri="{FF2B5EF4-FFF2-40B4-BE49-F238E27FC236}">
                <a16:creationId xmlns:a16="http://schemas.microsoft.com/office/drawing/2014/main" id="{980F8D25-918D-4F55-96A0-7E92276F2000}"/>
              </a:ext>
            </a:extLst>
          </p:cNvPr>
          <p:cNvCxnSpPr>
            <a:cxnSpLocks/>
            <a:stCxn id="16" idx="4"/>
          </p:cNvCxnSpPr>
          <p:nvPr/>
        </p:nvCxnSpPr>
        <p:spPr>
          <a:xfrm>
            <a:off x="6109253" y="3838634"/>
            <a:ext cx="0" cy="3019366"/>
          </a:xfrm>
          <a:prstGeom prst="line">
            <a:avLst/>
          </a:prstGeom>
          <a:ln w="7620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B84F05E5-66E5-451A-922E-237FDE35085A}"/>
              </a:ext>
            </a:extLst>
          </p:cNvPr>
          <p:cNvSpPr txBox="1"/>
          <p:nvPr/>
        </p:nvSpPr>
        <p:spPr>
          <a:xfrm>
            <a:off x="6993138" y="2093517"/>
            <a:ext cx="1629285"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600" b="1" i="0" u="none" strike="noStrike" kern="1200" cap="none" spc="0" normalizeH="0" baseline="0" noProof="0" dirty="0">
                <a:ln>
                  <a:noFill/>
                </a:ln>
                <a:solidFill>
                  <a:prstClr val="black">
                    <a:lumMod val="95000"/>
                    <a:lumOff val="5000"/>
                  </a:prstClr>
                </a:solidFill>
                <a:effectLst/>
                <a:uLnTx/>
                <a:uFillTx/>
                <a:latin typeface="Agency FB" panose="020B0503020202020204" pitchFamily="34" charset="0"/>
                <a:ea typeface="+mn-ea"/>
                <a:cs typeface="+mn-cs"/>
              </a:rPr>
              <a:t>01</a:t>
            </a:r>
          </a:p>
        </p:txBody>
      </p:sp>
      <p:sp>
        <p:nvSpPr>
          <p:cNvPr id="6" name="TextBox 5">
            <a:extLst>
              <a:ext uri="{FF2B5EF4-FFF2-40B4-BE49-F238E27FC236}">
                <a16:creationId xmlns:a16="http://schemas.microsoft.com/office/drawing/2014/main" id="{E2C2CA95-8F78-4DA7-96E0-55BC9C6209EF}"/>
              </a:ext>
            </a:extLst>
          </p:cNvPr>
          <p:cNvSpPr txBox="1"/>
          <p:nvPr/>
        </p:nvSpPr>
        <p:spPr>
          <a:xfrm>
            <a:off x="4157721" y="4356657"/>
            <a:ext cx="1629285"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600" b="1" i="0" u="none" strike="noStrike" kern="1200" cap="none" spc="0" normalizeH="0" baseline="0" noProof="0" dirty="0">
                <a:ln>
                  <a:noFill/>
                </a:ln>
                <a:solidFill>
                  <a:prstClr val="black">
                    <a:lumMod val="95000"/>
                    <a:lumOff val="5000"/>
                  </a:prstClr>
                </a:solidFill>
                <a:effectLst/>
                <a:uLnTx/>
                <a:uFillTx/>
                <a:latin typeface="Agency FB" panose="020B0503020202020204" pitchFamily="34" charset="0"/>
                <a:ea typeface="+mn-ea"/>
                <a:cs typeface="+mn-cs"/>
              </a:rPr>
              <a:t>02</a:t>
            </a:r>
          </a:p>
        </p:txBody>
      </p:sp>
      <p:sp>
        <p:nvSpPr>
          <p:cNvPr id="7" name="TextBox 6">
            <a:extLst>
              <a:ext uri="{FF2B5EF4-FFF2-40B4-BE49-F238E27FC236}">
                <a16:creationId xmlns:a16="http://schemas.microsoft.com/office/drawing/2014/main" id="{DBD428FF-BA9C-4CEB-97BF-A5BFFD1D3087}"/>
              </a:ext>
            </a:extLst>
          </p:cNvPr>
          <p:cNvSpPr txBox="1"/>
          <p:nvPr/>
        </p:nvSpPr>
        <p:spPr>
          <a:xfrm>
            <a:off x="1492837" y="2595773"/>
            <a:ext cx="3470477" cy="400110"/>
          </a:xfrm>
          <a:prstGeom prst="rect">
            <a:avLst/>
          </a:prstGeom>
          <a:noFill/>
        </p:spPr>
        <p:txBody>
          <a:bodyPr wrap="square" rtlCol="0">
            <a:spAutoFit/>
          </a:bodyPr>
          <a:lstStyle/>
          <a:p>
            <a:pPr lvl="0" algn="ctr">
              <a:defRPr/>
            </a:pPr>
            <a:r>
              <a:rPr lang="ru-RU" sz="2000" b="1" dirty="0">
                <a:solidFill>
                  <a:prstClr val="black">
                    <a:lumMod val="95000"/>
                    <a:lumOff val="5000"/>
                  </a:prstClr>
                </a:solidFill>
                <a:latin typeface="Century Gothic" panose="020B0502020202020204" pitchFamily="34" charset="0"/>
                <a:ea typeface="Tahoma" panose="020B0604030504040204" pitchFamily="34" charset="0"/>
                <a:cs typeface="Tahoma" panose="020B0604030504040204" pitchFamily="34" charset="0"/>
              </a:rPr>
              <a:t>Розничная торговля</a:t>
            </a:r>
            <a:endParaRPr kumimoji="0" lang="en-US" sz="2000" b="1" i="0" u="none" strike="noStrike" kern="1200" cap="none" spc="0" normalizeH="0" baseline="0" noProof="0" dirty="0">
              <a:ln>
                <a:noFill/>
              </a:ln>
              <a:solidFill>
                <a:prstClr val="black">
                  <a:lumMod val="95000"/>
                  <a:lumOff val="5000"/>
                </a:prstClr>
              </a:solidFill>
              <a:effectLst/>
              <a:uLnTx/>
              <a:uFillTx/>
              <a:latin typeface="Century Gothic" panose="020B0502020202020204" pitchFamily="34" charset="0"/>
              <a:ea typeface="Tahoma" panose="020B0604030504040204" pitchFamily="34" charset="0"/>
              <a:cs typeface="Tahoma" panose="020B0604030504040204" pitchFamily="34" charset="0"/>
            </a:endParaRPr>
          </a:p>
        </p:txBody>
      </p:sp>
      <p:sp>
        <p:nvSpPr>
          <p:cNvPr id="8" name="TextBox 7">
            <a:extLst>
              <a:ext uri="{FF2B5EF4-FFF2-40B4-BE49-F238E27FC236}">
                <a16:creationId xmlns:a16="http://schemas.microsoft.com/office/drawing/2014/main" id="{64E0B3B8-DB6A-42A7-A855-D3EF1097FD4A}"/>
              </a:ext>
            </a:extLst>
          </p:cNvPr>
          <p:cNvSpPr txBox="1"/>
          <p:nvPr/>
        </p:nvSpPr>
        <p:spPr>
          <a:xfrm>
            <a:off x="7672079" y="4848720"/>
            <a:ext cx="2820222" cy="400110"/>
          </a:xfrm>
          <a:prstGeom prst="rect">
            <a:avLst/>
          </a:prstGeom>
          <a:noFill/>
        </p:spPr>
        <p:txBody>
          <a:bodyPr wrap="square" rtlCol="0">
            <a:spAutoFit/>
          </a:bodyPr>
          <a:lstStyle/>
          <a:p>
            <a:pPr lvl="0" algn="ctr">
              <a:defRPr/>
            </a:pPr>
            <a:r>
              <a:rPr lang="ru-RU" sz="2000" b="1" dirty="0">
                <a:solidFill>
                  <a:prstClr val="black">
                    <a:lumMod val="95000"/>
                    <a:lumOff val="5000"/>
                  </a:prstClr>
                </a:solidFill>
                <a:latin typeface="Century Gothic" panose="020B0502020202020204" pitchFamily="34" charset="0"/>
                <a:ea typeface="Tahoma" panose="020B0604030504040204" pitchFamily="34" charset="0"/>
                <a:cs typeface="Tahoma" panose="020B0604030504040204" pitchFamily="34" charset="0"/>
              </a:rPr>
              <a:t>Банковское дело</a:t>
            </a:r>
          </a:p>
        </p:txBody>
      </p:sp>
      <p:sp>
        <p:nvSpPr>
          <p:cNvPr id="9" name="Oval 30">
            <a:extLst>
              <a:ext uri="{FF2B5EF4-FFF2-40B4-BE49-F238E27FC236}">
                <a16:creationId xmlns:a16="http://schemas.microsoft.com/office/drawing/2014/main" id="{7CDAF89F-2924-4946-8EC0-7379D366E6F8}"/>
              </a:ext>
            </a:extLst>
          </p:cNvPr>
          <p:cNvSpPr/>
          <p:nvPr/>
        </p:nvSpPr>
        <p:spPr>
          <a:xfrm>
            <a:off x="6735327" y="4678684"/>
            <a:ext cx="838200" cy="838200"/>
          </a:xfrm>
          <a:prstGeom prst="ellipse">
            <a:avLst/>
          </a:prstGeom>
          <a:solidFill>
            <a:schemeClr val="tx1">
              <a:lumMod val="95000"/>
              <a:lumOff val="5000"/>
            </a:schemeClr>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grpSp>
        <p:nvGrpSpPr>
          <p:cNvPr id="10" name="Group 38">
            <a:extLst>
              <a:ext uri="{FF2B5EF4-FFF2-40B4-BE49-F238E27FC236}">
                <a16:creationId xmlns:a16="http://schemas.microsoft.com/office/drawing/2014/main" id="{46775051-3FD2-4DE4-AC5E-12046C8F07C3}"/>
              </a:ext>
            </a:extLst>
          </p:cNvPr>
          <p:cNvGrpSpPr/>
          <p:nvPr/>
        </p:nvGrpSpPr>
        <p:grpSpPr>
          <a:xfrm>
            <a:off x="4422221" y="5632200"/>
            <a:ext cx="5935594" cy="336550"/>
            <a:chOff x="4422221" y="3127375"/>
            <a:chExt cx="5935594" cy="336550"/>
          </a:xfrm>
          <a:solidFill>
            <a:schemeClr val="tx1">
              <a:lumMod val="95000"/>
              <a:lumOff val="5000"/>
            </a:schemeClr>
          </a:solidFill>
        </p:grpSpPr>
        <p:cxnSp>
          <p:nvCxnSpPr>
            <p:cNvPr id="11" name="Straight Connector 39">
              <a:extLst>
                <a:ext uri="{FF2B5EF4-FFF2-40B4-BE49-F238E27FC236}">
                  <a16:creationId xmlns:a16="http://schemas.microsoft.com/office/drawing/2014/main" id="{3F041CC7-1F56-4C6D-A25A-C99C8EFF5D0B}"/>
                </a:ext>
              </a:extLst>
            </p:cNvPr>
            <p:cNvCxnSpPr>
              <a:cxnSpLocks/>
            </p:cNvCxnSpPr>
            <p:nvPr/>
          </p:nvCxnSpPr>
          <p:spPr>
            <a:xfrm flipH="1">
              <a:off x="4422221" y="3295567"/>
              <a:ext cx="5935594" cy="0"/>
            </a:xfrm>
            <a:prstGeom prst="line">
              <a:avLst/>
            </a:prstGeom>
            <a:grpFill/>
            <a:ln w="31750" cap="rnd">
              <a:solidFill>
                <a:schemeClr val="tx1">
                  <a:lumMod val="95000"/>
                  <a:lumOff val="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2" name="Oval 40">
              <a:extLst>
                <a:ext uri="{FF2B5EF4-FFF2-40B4-BE49-F238E27FC236}">
                  <a16:creationId xmlns:a16="http://schemas.microsoft.com/office/drawing/2014/main" id="{3B59BE55-F4B4-4499-96C2-6EA566E0C188}"/>
                </a:ext>
              </a:extLst>
            </p:cNvPr>
            <p:cNvSpPr/>
            <p:nvPr/>
          </p:nvSpPr>
          <p:spPr>
            <a:xfrm>
              <a:off x="5967483" y="3153880"/>
              <a:ext cx="283540" cy="283540"/>
            </a:xfrm>
            <a:prstGeom prst="ellipse">
              <a:avLst/>
            </a:prstGeom>
            <a:grp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sp>
          <p:nvSpPr>
            <p:cNvPr id="13" name="Circle: Hollow 41">
              <a:extLst>
                <a:ext uri="{FF2B5EF4-FFF2-40B4-BE49-F238E27FC236}">
                  <a16:creationId xmlns:a16="http://schemas.microsoft.com/office/drawing/2014/main" id="{30E7CB3C-05C8-4C5C-8963-25EEBA43DE31}"/>
                </a:ext>
              </a:extLst>
            </p:cNvPr>
            <p:cNvSpPr/>
            <p:nvPr/>
          </p:nvSpPr>
          <p:spPr>
            <a:xfrm>
              <a:off x="5940978" y="3127375"/>
              <a:ext cx="336550" cy="336550"/>
            </a:xfrm>
            <a:prstGeom prst="donut">
              <a:avLst>
                <a:gd name="adj" fmla="val 7064"/>
              </a:avLst>
            </a:prstGeom>
            <a:grp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sp>
          <p:nvSpPr>
            <p:cNvPr id="14" name="Oval 42">
              <a:extLst>
                <a:ext uri="{FF2B5EF4-FFF2-40B4-BE49-F238E27FC236}">
                  <a16:creationId xmlns:a16="http://schemas.microsoft.com/office/drawing/2014/main" id="{6057FD50-0E04-4F15-9A94-3EFFC274C394}"/>
                </a:ext>
              </a:extLst>
            </p:cNvPr>
            <p:cNvSpPr/>
            <p:nvPr/>
          </p:nvSpPr>
          <p:spPr>
            <a:xfrm>
              <a:off x="6033053" y="3219450"/>
              <a:ext cx="152400" cy="152400"/>
            </a:xfrm>
            <a:prstGeom prst="ellipse">
              <a:avLst/>
            </a:prstGeom>
            <a:solidFill>
              <a:srgbClr val="32ACFA"/>
            </a:solidFill>
            <a:ln>
              <a:solidFill>
                <a:srgbClr val="32ACF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grpSp>
      <p:grpSp>
        <p:nvGrpSpPr>
          <p:cNvPr id="15" name="Group 29">
            <a:extLst>
              <a:ext uri="{FF2B5EF4-FFF2-40B4-BE49-F238E27FC236}">
                <a16:creationId xmlns:a16="http://schemas.microsoft.com/office/drawing/2014/main" id="{B1A8385B-AF30-4C21-9A65-1FA0032AB909}"/>
              </a:ext>
            </a:extLst>
          </p:cNvPr>
          <p:cNvGrpSpPr/>
          <p:nvPr/>
        </p:nvGrpSpPr>
        <p:grpSpPr>
          <a:xfrm>
            <a:off x="5179613" y="1979354"/>
            <a:ext cx="1859280" cy="1859280"/>
            <a:chOff x="5022574" y="2992647"/>
            <a:chExt cx="2146852" cy="2146852"/>
          </a:xfrm>
          <a:solidFill>
            <a:schemeClr val="tx1">
              <a:lumMod val="95000"/>
              <a:lumOff val="5000"/>
            </a:schemeClr>
          </a:solidFill>
        </p:grpSpPr>
        <p:sp>
          <p:nvSpPr>
            <p:cNvPr id="16" name="Circle: Hollow 31">
              <a:extLst>
                <a:ext uri="{FF2B5EF4-FFF2-40B4-BE49-F238E27FC236}">
                  <a16:creationId xmlns:a16="http://schemas.microsoft.com/office/drawing/2014/main" id="{811DEDE6-D1FA-4671-9525-0725657FC967}"/>
                </a:ext>
              </a:extLst>
            </p:cNvPr>
            <p:cNvSpPr/>
            <p:nvPr/>
          </p:nvSpPr>
          <p:spPr>
            <a:xfrm>
              <a:off x="5022574" y="2992647"/>
              <a:ext cx="2146852" cy="2146852"/>
            </a:xfrm>
            <a:prstGeom prst="donut">
              <a:avLst>
                <a:gd name="adj" fmla="val 2866"/>
              </a:avLst>
            </a:prstGeom>
            <a:grp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sp>
          <p:nvSpPr>
            <p:cNvPr id="17" name="Oval 33">
              <a:extLst>
                <a:ext uri="{FF2B5EF4-FFF2-40B4-BE49-F238E27FC236}">
                  <a16:creationId xmlns:a16="http://schemas.microsoft.com/office/drawing/2014/main" id="{D8F611D4-4DB1-43B5-AE6D-359399872DBD}"/>
                </a:ext>
              </a:extLst>
            </p:cNvPr>
            <p:cNvSpPr/>
            <p:nvPr/>
          </p:nvSpPr>
          <p:spPr>
            <a:xfrm>
              <a:off x="5194300" y="3164373"/>
              <a:ext cx="1803400" cy="1803400"/>
            </a:xfrm>
            <a:prstGeom prst="ellipse">
              <a:avLst/>
            </a:prstGeom>
            <a:grp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endParaRPr>
            </a:p>
          </p:txBody>
        </p:sp>
      </p:grpSp>
      <p:sp>
        <p:nvSpPr>
          <p:cNvPr id="19" name="Shape 2799"/>
          <p:cNvSpPr/>
          <p:nvPr/>
        </p:nvSpPr>
        <p:spPr>
          <a:xfrm>
            <a:off x="6880197" y="4854141"/>
            <a:ext cx="548460" cy="441159"/>
          </a:xfrm>
          <a:custGeom>
            <a:avLst/>
            <a:gdLst/>
            <a:ahLst/>
            <a:cxnLst>
              <a:cxn ang="0">
                <a:pos x="wd2" y="hd2"/>
              </a:cxn>
              <a:cxn ang="5400000">
                <a:pos x="wd2" y="hd2"/>
              </a:cxn>
              <a:cxn ang="10800000">
                <a:pos x="wd2" y="hd2"/>
              </a:cxn>
              <a:cxn ang="16200000">
                <a:pos x="wd2" y="hd2"/>
              </a:cxn>
            </a:cxnLst>
            <a:rect l="0" t="0" r="r" b="b"/>
            <a:pathLst>
              <a:path w="21600" h="21600" extrusionOk="0">
                <a:moveTo>
                  <a:pt x="9916" y="11782"/>
                </a:moveTo>
                <a:cubicBezTo>
                  <a:pt x="9916" y="11929"/>
                  <a:pt x="9939" y="12054"/>
                  <a:pt x="9982" y="12159"/>
                </a:cubicBezTo>
                <a:cubicBezTo>
                  <a:pt x="10026" y="12263"/>
                  <a:pt x="10082" y="12351"/>
                  <a:pt x="10151" y="12425"/>
                </a:cubicBezTo>
                <a:cubicBezTo>
                  <a:pt x="10219" y="12498"/>
                  <a:pt x="10298" y="12557"/>
                  <a:pt x="10388" y="12604"/>
                </a:cubicBezTo>
                <a:cubicBezTo>
                  <a:pt x="10478" y="12650"/>
                  <a:pt x="10513" y="12688"/>
                  <a:pt x="10605" y="12719"/>
                </a:cubicBezTo>
                <a:lnTo>
                  <a:pt x="10605" y="10882"/>
                </a:lnTo>
                <a:cubicBezTo>
                  <a:pt x="10368" y="10882"/>
                  <a:pt x="10241" y="10952"/>
                  <a:pt x="10111" y="11090"/>
                </a:cubicBezTo>
                <a:cubicBezTo>
                  <a:pt x="9981" y="11227"/>
                  <a:pt x="9916" y="11458"/>
                  <a:pt x="9916" y="11782"/>
                </a:cubicBezTo>
                <a:moveTo>
                  <a:pt x="11501" y="14278"/>
                </a:moveTo>
                <a:cubicBezTo>
                  <a:pt x="11425" y="14199"/>
                  <a:pt x="11338" y="14135"/>
                  <a:pt x="11242" y="14086"/>
                </a:cubicBezTo>
                <a:cubicBezTo>
                  <a:pt x="11145" y="14037"/>
                  <a:pt x="11102" y="13994"/>
                  <a:pt x="11001" y="13958"/>
                </a:cubicBezTo>
                <a:lnTo>
                  <a:pt x="11001" y="16096"/>
                </a:lnTo>
                <a:cubicBezTo>
                  <a:pt x="11238" y="16071"/>
                  <a:pt x="11377" y="15975"/>
                  <a:pt x="11528" y="15806"/>
                </a:cubicBezTo>
                <a:cubicBezTo>
                  <a:pt x="11680" y="15638"/>
                  <a:pt x="11756" y="15371"/>
                  <a:pt x="11756" y="15004"/>
                </a:cubicBezTo>
                <a:cubicBezTo>
                  <a:pt x="11756" y="14833"/>
                  <a:pt x="11733" y="14689"/>
                  <a:pt x="11686" y="14572"/>
                </a:cubicBezTo>
                <a:cubicBezTo>
                  <a:pt x="11640" y="14456"/>
                  <a:pt x="11579" y="14358"/>
                  <a:pt x="11501" y="14278"/>
                </a:cubicBezTo>
                <a:moveTo>
                  <a:pt x="12385" y="15751"/>
                </a:moveTo>
                <a:cubicBezTo>
                  <a:pt x="12304" y="16006"/>
                  <a:pt x="12193" y="16216"/>
                  <a:pt x="12052" y="16385"/>
                </a:cubicBezTo>
                <a:cubicBezTo>
                  <a:pt x="11911" y="16553"/>
                  <a:pt x="11747" y="16681"/>
                  <a:pt x="11558" y="16770"/>
                </a:cubicBezTo>
                <a:cubicBezTo>
                  <a:pt x="11369" y="16859"/>
                  <a:pt x="11221" y="16910"/>
                  <a:pt x="11001" y="16922"/>
                </a:cubicBezTo>
                <a:lnTo>
                  <a:pt x="11001" y="17549"/>
                </a:lnTo>
                <a:lnTo>
                  <a:pt x="10605" y="17549"/>
                </a:lnTo>
                <a:lnTo>
                  <a:pt x="10605" y="16922"/>
                </a:lnTo>
                <a:cubicBezTo>
                  <a:pt x="10368" y="16915"/>
                  <a:pt x="10206" y="16863"/>
                  <a:pt x="10009" y="16766"/>
                </a:cubicBezTo>
                <a:cubicBezTo>
                  <a:pt x="9811" y="16667"/>
                  <a:pt x="9642" y="16528"/>
                  <a:pt x="9501" y="16348"/>
                </a:cubicBezTo>
                <a:cubicBezTo>
                  <a:pt x="9361" y="16168"/>
                  <a:pt x="9252" y="15946"/>
                  <a:pt x="9175" y="15683"/>
                </a:cubicBezTo>
                <a:cubicBezTo>
                  <a:pt x="9098" y="15420"/>
                  <a:pt x="9062" y="15117"/>
                  <a:pt x="9066" y="14775"/>
                </a:cubicBezTo>
                <a:lnTo>
                  <a:pt x="9818" y="14775"/>
                </a:lnTo>
                <a:cubicBezTo>
                  <a:pt x="9813" y="15178"/>
                  <a:pt x="9877" y="15496"/>
                  <a:pt x="10009" y="15729"/>
                </a:cubicBezTo>
                <a:cubicBezTo>
                  <a:pt x="10140" y="15961"/>
                  <a:pt x="10302" y="16083"/>
                  <a:pt x="10605" y="16096"/>
                </a:cubicBezTo>
                <a:lnTo>
                  <a:pt x="10605" y="13875"/>
                </a:lnTo>
                <a:cubicBezTo>
                  <a:pt x="10425" y="13807"/>
                  <a:pt x="10302" y="13726"/>
                  <a:pt x="10124" y="13631"/>
                </a:cubicBezTo>
                <a:cubicBezTo>
                  <a:pt x="9946" y="13537"/>
                  <a:pt x="9786" y="13414"/>
                  <a:pt x="9643" y="13264"/>
                </a:cubicBezTo>
                <a:cubicBezTo>
                  <a:pt x="9500" y="13115"/>
                  <a:pt x="9385" y="12927"/>
                  <a:pt x="9297" y="12700"/>
                </a:cubicBezTo>
                <a:cubicBezTo>
                  <a:pt x="9209" y="12474"/>
                  <a:pt x="9165" y="12192"/>
                  <a:pt x="9165" y="11855"/>
                </a:cubicBezTo>
                <a:cubicBezTo>
                  <a:pt x="9165" y="11562"/>
                  <a:pt x="9206" y="11304"/>
                  <a:pt x="9287" y="11080"/>
                </a:cubicBezTo>
                <a:cubicBezTo>
                  <a:pt x="9369" y="10857"/>
                  <a:pt x="9478" y="10670"/>
                  <a:pt x="9617" y="10520"/>
                </a:cubicBezTo>
                <a:cubicBezTo>
                  <a:pt x="9755" y="10370"/>
                  <a:pt x="9914" y="10256"/>
                  <a:pt x="10094" y="10176"/>
                </a:cubicBezTo>
                <a:cubicBezTo>
                  <a:pt x="10274" y="10097"/>
                  <a:pt x="10407" y="10057"/>
                  <a:pt x="10605" y="10057"/>
                </a:cubicBezTo>
                <a:lnTo>
                  <a:pt x="10605" y="9455"/>
                </a:lnTo>
                <a:lnTo>
                  <a:pt x="11001" y="9455"/>
                </a:lnTo>
                <a:lnTo>
                  <a:pt x="11001" y="10057"/>
                </a:lnTo>
                <a:cubicBezTo>
                  <a:pt x="11199" y="10057"/>
                  <a:pt x="11329" y="10093"/>
                  <a:pt x="11505" y="10167"/>
                </a:cubicBezTo>
                <a:cubicBezTo>
                  <a:pt x="11681" y="10240"/>
                  <a:pt x="11834" y="10350"/>
                  <a:pt x="11963" y="10498"/>
                </a:cubicBezTo>
                <a:cubicBezTo>
                  <a:pt x="12093" y="10644"/>
                  <a:pt x="12196" y="10831"/>
                  <a:pt x="12273" y="11057"/>
                </a:cubicBezTo>
                <a:cubicBezTo>
                  <a:pt x="12350" y="11284"/>
                  <a:pt x="12388" y="11547"/>
                  <a:pt x="12388" y="11847"/>
                </a:cubicBezTo>
                <a:lnTo>
                  <a:pt x="11637" y="11847"/>
                </a:lnTo>
                <a:cubicBezTo>
                  <a:pt x="11628" y="11534"/>
                  <a:pt x="11570" y="11296"/>
                  <a:pt x="11463" y="11130"/>
                </a:cubicBezTo>
                <a:cubicBezTo>
                  <a:pt x="11355" y="10965"/>
                  <a:pt x="11238" y="10882"/>
                  <a:pt x="11001" y="10882"/>
                </a:cubicBezTo>
                <a:lnTo>
                  <a:pt x="11001" y="12819"/>
                </a:lnTo>
                <a:cubicBezTo>
                  <a:pt x="11199" y="12894"/>
                  <a:pt x="11336" y="12978"/>
                  <a:pt x="11525" y="13076"/>
                </a:cubicBezTo>
                <a:cubicBezTo>
                  <a:pt x="11714" y="13175"/>
                  <a:pt x="11881" y="13300"/>
                  <a:pt x="12026" y="13453"/>
                </a:cubicBezTo>
                <a:cubicBezTo>
                  <a:pt x="12171" y="13605"/>
                  <a:pt x="12287" y="13795"/>
                  <a:pt x="12375" y="14021"/>
                </a:cubicBezTo>
                <a:cubicBezTo>
                  <a:pt x="12463" y="14248"/>
                  <a:pt x="12507" y="14526"/>
                  <a:pt x="12507" y="14857"/>
                </a:cubicBezTo>
                <a:cubicBezTo>
                  <a:pt x="12507" y="15199"/>
                  <a:pt x="12466" y="15497"/>
                  <a:pt x="12385" y="15751"/>
                </a:cubicBezTo>
                <a:moveTo>
                  <a:pt x="10800" y="8100"/>
                </a:moveTo>
                <a:cubicBezTo>
                  <a:pt x="8631" y="8100"/>
                  <a:pt x="6873" y="10518"/>
                  <a:pt x="6873" y="13500"/>
                </a:cubicBezTo>
                <a:cubicBezTo>
                  <a:pt x="6873" y="16483"/>
                  <a:pt x="8631" y="18900"/>
                  <a:pt x="10800" y="18900"/>
                </a:cubicBezTo>
                <a:cubicBezTo>
                  <a:pt x="12969" y="18900"/>
                  <a:pt x="14727" y="16483"/>
                  <a:pt x="14727" y="13500"/>
                </a:cubicBezTo>
                <a:cubicBezTo>
                  <a:pt x="14727" y="10518"/>
                  <a:pt x="12969" y="8100"/>
                  <a:pt x="10800" y="8100"/>
                </a:cubicBezTo>
                <a:moveTo>
                  <a:pt x="17182" y="17550"/>
                </a:moveTo>
                <a:lnTo>
                  <a:pt x="16200" y="17550"/>
                </a:lnTo>
                <a:cubicBezTo>
                  <a:pt x="15929" y="17550"/>
                  <a:pt x="15709" y="17852"/>
                  <a:pt x="15709" y="18225"/>
                </a:cubicBezTo>
                <a:cubicBezTo>
                  <a:pt x="15709" y="18598"/>
                  <a:pt x="15929" y="18900"/>
                  <a:pt x="16200" y="18900"/>
                </a:cubicBezTo>
                <a:lnTo>
                  <a:pt x="17182" y="18900"/>
                </a:lnTo>
                <a:cubicBezTo>
                  <a:pt x="17453" y="18900"/>
                  <a:pt x="17673" y="18598"/>
                  <a:pt x="17673" y="18225"/>
                </a:cubicBezTo>
                <a:cubicBezTo>
                  <a:pt x="17673" y="17852"/>
                  <a:pt x="17453" y="17550"/>
                  <a:pt x="17182" y="17550"/>
                </a:cubicBezTo>
                <a:moveTo>
                  <a:pt x="20127" y="8100"/>
                </a:moveTo>
                <a:cubicBezTo>
                  <a:pt x="19856" y="8100"/>
                  <a:pt x="19636" y="7798"/>
                  <a:pt x="19636" y="7425"/>
                </a:cubicBezTo>
                <a:cubicBezTo>
                  <a:pt x="19636" y="7052"/>
                  <a:pt x="19856" y="6750"/>
                  <a:pt x="20127" y="6750"/>
                </a:cubicBezTo>
                <a:cubicBezTo>
                  <a:pt x="20399" y="6750"/>
                  <a:pt x="20618" y="7052"/>
                  <a:pt x="20618" y="7425"/>
                </a:cubicBezTo>
                <a:cubicBezTo>
                  <a:pt x="20618" y="7798"/>
                  <a:pt x="20399" y="8100"/>
                  <a:pt x="20127" y="8100"/>
                </a:cubicBezTo>
                <a:moveTo>
                  <a:pt x="20618" y="17674"/>
                </a:moveTo>
                <a:cubicBezTo>
                  <a:pt x="20464" y="17599"/>
                  <a:pt x="20300" y="17550"/>
                  <a:pt x="20127" y="17550"/>
                </a:cubicBezTo>
                <a:cubicBezTo>
                  <a:pt x="19314" y="17550"/>
                  <a:pt x="18655" y="18457"/>
                  <a:pt x="18655" y="19575"/>
                </a:cubicBezTo>
                <a:cubicBezTo>
                  <a:pt x="18655" y="19813"/>
                  <a:pt x="18690" y="20038"/>
                  <a:pt x="18745" y="20250"/>
                </a:cubicBezTo>
                <a:lnTo>
                  <a:pt x="2855" y="20250"/>
                </a:lnTo>
                <a:cubicBezTo>
                  <a:pt x="2910" y="20038"/>
                  <a:pt x="2945" y="19813"/>
                  <a:pt x="2945" y="19575"/>
                </a:cubicBezTo>
                <a:cubicBezTo>
                  <a:pt x="2945" y="18457"/>
                  <a:pt x="2286" y="17550"/>
                  <a:pt x="1473" y="17550"/>
                </a:cubicBezTo>
                <a:cubicBezTo>
                  <a:pt x="1300" y="17550"/>
                  <a:pt x="1136" y="17599"/>
                  <a:pt x="982" y="17674"/>
                </a:cubicBezTo>
                <a:lnTo>
                  <a:pt x="982" y="9326"/>
                </a:lnTo>
                <a:cubicBezTo>
                  <a:pt x="1136" y="9402"/>
                  <a:pt x="1300" y="9450"/>
                  <a:pt x="1473" y="9450"/>
                </a:cubicBezTo>
                <a:cubicBezTo>
                  <a:pt x="2286" y="9450"/>
                  <a:pt x="2945" y="8544"/>
                  <a:pt x="2945" y="7425"/>
                </a:cubicBezTo>
                <a:cubicBezTo>
                  <a:pt x="2945" y="7187"/>
                  <a:pt x="2910" y="6962"/>
                  <a:pt x="2855" y="6750"/>
                </a:cubicBezTo>
                <a:lnTo>
                  <a:pt x="18745" y="6750"/>
                </a:lnTo>
                <a:cubicBezTo>
                  <a:pt x="18690" y="6962"/>
                  <a:pt x="18655" y="7187"/>
                  <a:pt x="18655" y="7425"/>
                </a:cubicBezTo>
                <a:cubicBezTo>
                  <a:pt x="18655" y="8544"/>
                  <a:pt x="19314" y="9450"/>
                  <a:pt x="20127" y="9450"/>
                </a:cubicBezTo>
                <a:cubicBezTo>
                  <a:pt x="20300" y="9450"/>
                  <a:pt x="20464" y="9402"/>
                  <a:pt x="20618" y="9326"/>
                </a:cubicBezTo>
                <a:cubicBezTo>
                  <a:pt x="20618" y="9326"/>
                  <a:pt x="20618" y="17674"/>
                  <a:pt x="20618" y="17674"/>
                </a:cubicBezTo>
                <a:close/>
                <a:moveTo>
                  <a:pt x="20127" y="20250"/>
                </a:moveTo>
                <a:cubicBezTo>
                  <a:pt x="19856" y="20250"/>
                  <a:pt x="19636" y="19948"/>
                  <a:pt x="19636" y="19575"/>
                </a:cubicBezTo>
                <a:cubicBezTo>
                  <a:pt x="19636" y="19203"/>
                  <a:pt x="19856" y="18900"/>
                  <a:pt x="20127" y="18900"/>
                </a:cubicBezTo>
                <a:cubicBezTo>
                  <a:pt x="20399" y="18900"/>
                  <a:pt x="20618" y="19203"/>
                  <a:pt x="20618" y="19575"/>
                </a:cubicBezTo>
                <a:cubicBezTo>
                  <a:pt x="20618" y="19948"/>
                  <a:pt x="20399" y="20250"/>
                  <a:pt x="20127" y="20250"/>
                </a:cubicBezTo>
                <a:moveTo>
                  <a:pt x="1473" y="20250"/>
                </a:moveTo>
                <a:cubicBezTo>
                  <a:pt x="1201" y="20250"/>
                  <a:pt x="982" y="19948"/>
                  <a:pt x="982" y="19575"/>
                </a:cubicBezTo>
                <a:cubicBezTo>
                  <a:pt x="982" y="19203"/>
                  <a:pt x="1201" y="18900"/>
                  <a:pt x="1473" y="18900"/>
                </a:cubicBezTo>
                <a:cubicBezTo>
                  <a:pt x="1744" y="18900"/>
                  <a:pt x="1964" y="19203"/>
                  <a:pt x="1964" y="19575"/>
                </a:cubicBezTo>
                <a:cubicBezTo>
                  <a:pt x="1964" y="19948"/>
                  <a:pt x="1744" y="20250"/>
                  <a:pt x="1473" y="20250"/>
                </a:cubicBezTo>
                <a:moveTo>
                  <a:pt x="1473" y="6750"/>
                </a:moveTo>
                <a:cubicBezTo>
                  <a:pt x="1744" y="6750"/>
                  <a:pt x="1964" y="7052"/>
                  <a:pt x="1964" y="7425"/>
                </a:cubicBezTo>
                <a:cubicBezTo>
                  <a:pt x="1964" y="7798"/>
                  <a:pt x="1744" y="8100"/>
                  <a:pt x="1473" y="8100"/>
                </a:cubicBezTo>
                <a:cubicBezTo>
                  <a:pt x="1201" y="8100"/>
                  <a:pt x="982" y="7798"/>
                  <a:pt x="982" y="7425"/>
                </a:cubicBezTo>
                <a:cubicBezTo>
                  <a:pt x="982" y="7052"/>
                  <a:pt x="1201" y="6750"/>
                  <a:pt x="1473" y="6750"/>
                </a:cubicBezTo>
                <a:moveTo>
                  <a:pt x="20618" y="5400"/>
                </a:moveTo>
                <a:lnTo>
                  <a:pt x="982" y="5400"/>
                </a:lnTo>
                <a:cubicBezTo>
                  <a:pt x="440" y="5400"/>
                  <a:pt x="0" y="6004"/>
                  <a:pt x="0" y="6750"/>
                </a:cubicBezTo>
                <a:lnTo>
                  <a:pt x="0" y="20250"/>
                </a:lnTo>
                <a:cubicBezTo>
                  <a:pt x="0" y="20996"/>
                  <a:pt x="440" y="21600"/>
                  <a:pt x="982" y="21600"/>
                </a:cubicBezTo>
                <a:lnTo>
                  <a:pt x="20618" y="21600"/>
                </a:lnTo>
                <a:cubicBezTo>
                  <a:pt x="21160" y="21600"/>
                  <a:pt x="21600" y="20996"/>
                  <a:pt x="21600" y="20250"/>
                </a:cubicBezTo>
                <a:lnTo>
                  <a:pt x="21600" y="6750"/>
                </a:lnTo>
                <a:cubicBezTo>
                  <a:pt x="21600" y="6004"/>
                  <a:pt x="21160" y="5400"/>
                  <a:pt x="20618" y="5400"/>
                </a:cubicBezTo>
                <a:moveTo>
                  <a:pt x="2455" y="4050"/>
                </a:moveTo>
                <a:lnTo>
                  <a:pt x="19145" y="4050"/>
                </a:lnTo>
                <a:cubicBezTo>
                  <a:pt x="19417" y="4050"/>
                  <a:pt x="19636" y="3748"/>
                  <a:pt x="19636" y="3376"/>
                </a:cubicBezTo>
                <a:cubicBezTo>
                  <a:pt x="19636" y="3002"/>
                  <a:pt x="19417" y="2700"/>
                  <a:pt x="19145" y="2700"/>
                </a:cubicBezTo>
                <a:lnTo>
                  <a:pt x="2455" y="2700"/>
                </a:lnTo>
                <a:cubicBezTo>
                  <a:pt x="2183" y="2700"/>
                  <a:pt x="1964" y="3002"/>
                  <a:pt x="1964" y="3376"/>
                </a:cubicBezTo>
                <a:cubicBezTo>
                  <a:pt x="1964" y="3748"/>
                  <a:pt x="2183" y="4050"/>
                  <a:pt x="2455" y="4050"/>
                </a:cubicBezTo>
                <a:moveTo>
                  <a:pt x="4418" y="1350"/>
                </a:moveTo>
                <a:lnTo>
                  <a:pt x="17182" y="1350"/>
                </a:lnTo>
                <a:cubicBezTo>
                  <a:pt x="17453" y="1350"/>
                  <a:pt x="17673" y="1048"/>
                  <a:pt x="17673" y="675"/>
                </a:cubicBezTo>
                <a:cubicBezTo>
                  <a:pt x="17673" y="302"/>
                  <a:pt x="17453" y="0"/>
                  <a:pt x="17182" y="0"/>
                </a:cubicBezTo>
                <a:lnTo>
                  <a:pt x="4418" y="0"/>
                </a:lnTo>
                <a:cubicBezTo>
                  <a:pt x="4147" y="0"/>
                  <a:pt x="3927" y="302"/>
                  <a:pt x="3927" y="675"/>
                </a:cubicBezTo>
                <a:cubicBezTo>
                  <a:pt x="3927" y="1048"/>
                  <a:pt x="4147" y="1350"/>
                  <a:pt x="4418" y="1350"/>
                </a:cubicBezTo>
                <a:moveTo>
                  <a:pt x="5400" y="8100"/>
                </a:moveTo>
                <a:lnTo>
                  <a:pt x="4418" y="8100"/>
                </a:lnTo>
                <a:cubicBezTo>
                  <a:pt x="4147" y="8100"/>
                  <a:pt x="3927" y="8403"/>
                  <a:pt x="3927" y="8775"/>
                </a:cubicBezTo>
                <a:cubicBezTo>
                  <a:pt x="3927" y="9148"/>
                  <a:pt x="4147" y="9450"/>
                  <a:pt x="4418" y="9450"/>
                </a:cubicBezTo>
                <a:lnTo>
                  <a:pt x="5400" y="9450"/>
                </a:lnTo>
                <a:cubicBezTo>
                  <a:pt x="5671" y="9450"/>
                  <a:pt x="5891" y="9148"/>
                  <a:pt x="5891" y="8775"/>
                </a:cubicBezTo>
                <a:cubicBezTo>
                  <a:pt x="5891" y="8403"/>
                  <a:pt x="5671" y="8100"/>
                  <a:pt x="5400" y="8100"/>
                </a:cubicBezTo>
              </a:path>
            </a:pathLst>
          </a:custGeom>
          <a:solidFill>
            <a:srgbClr val="32ACFA"/>
          </a:solidFill>
          <a:ln w="12700">
            <a:solidFill>
              <a:srgbClr val="32ACFA"/>
            </a:solidFill>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sym typeface="Gill Sans"/>
            </a:endParaRPr>
          </a:p>
        </p:txBody>
      </p:sp>
      <p:sp>
        <p:nvSpPr>
          <p:cNvPr id="112" name="Прямоугольник 111"/>
          <p:cNvSpPr/>
          <p:nvPr/>
        </p:nvSpPr>
        <p:spPr>
          <a:xfrm>
            <a:off x="2557069" y="713712"/>
            <a:ext cx="7095211" cy="461665"/>
          </a:xfrm>
          <a:prstGeom prst="rect">
            <a:avLst/>
          </a:prstGeom>
        </p:spPr>
        <p:txBody>
          <a:bodyPr wrap="none">
            <a:spAutoFit/>
          </a:bodyPr>
          <a:lstStyle/>
          <a:p>
            <a:pPr lvl="0" algn="ctr">
              <a:defRPr/>
            </a:pPr>
            <a:r>
              <a:rPr lang="ru-RU" sz="2400" b="1" dirty="0">
                <a:solidFill>
                  <a:srgbClr val="0588DB"/>
                </a:solidFill>
                <a:latin typeface="Century Gothic" panose="020B0502020202020204" pitchFamily="34" charset="0"/>
                <a:ea typeface="Tahoma" panose="020B0604030504040204" pitchFamily="34" charset="0"/>
                <a:cs typeface="Tahoma" panose="020B0604030504040204" pitchFamily="34" charset="0"/>
              </a:rPr>
              <a:t>С</a:t>
            </a:r>
            <a:r>
              <a:rPr lang="ru-RU" sz="2400" b="1" dirty="0" smtClean="0">
                <a:solidFill>
                  <a:srgbClr val="0588DB"/>
                </a:solidFill>
                <a:latin typeface="Century Gothic" panose="020B0502020202020204" pitchFamily="34" charset="0"/>
                <a:ea typeface="Tahoma" panose="020B0604030504040204" pitchFamily="34" charset="0"/>
                <a:cs typeface="Tahoma" panose="020B0604030504040204" pitchFamily="34" charset="0"/>
              </a:rPr>
              <a:t>феры </a:t>
            </a:r>
            <a:r>
              <a:rPr lang="ru-RU" sz="2400" b="1" dirty="0">
                <a:solidFill>
                  <a:srgbClr val="0588DB"/>
                </a:solidFill>
                <a:latin typeface="Century Gothic" panose="020B0502020202020204" pitchFamily="34" charset="0"/>
                <a:ea typeface="Tahoma" panose="020B0604030504040204" pitchFamily="34" charset="0"/>
                <a:cs typeface="Tahoma" panose="020B0604030504040204" pitchFamily="34" charset="0"/>
              </a:rPr>
              <a:t>применения</a:t>
            </a:r>
            <a:r>
              <a:rPr lang="ru-RU" sz="2400" b="1" dirty="0">
                <a:solidFill>
                  <a:schemeClr val="bg1">
                    <a:lumMod val="10000"/>
                  </a:schemeClr>
                </a:solidFill>
                <a:latin typeface="Century Gothic" panose="020B0502020202020204" pitchFamily="34" charset="0"/>
                <a:ea typeface="Tahoma" panose="020B0604030504040204" pitchFamily="34" charset="0"/>
                <a:cs typeface="Tahoma" panose="020B0604030504040204" pitchFamily="34" charset="0"/>
              </a:rPr>
              <a:t> технологий Data </a:t>
            </a:r>
            <a:r>
              <a:rPr lang="ru-RU" sz="2400" b="1" dirty="0" err="1" smtClean="0">
                <a:solidFill>
                  <a:schemeClr val="bg1">
                    <a:lumMod val="10000"/>
                  </a:schemeClr>
                </a:solidFill>
                <a:latin typeface="Century Gothic" panose="020B0502020202020204" pitchFamily="34" charset="0"/>
                <a:ea typeface="Tahoma" panose="020B0604030504040204" pitchFamily="34" charset="0"/>
                <a:cs typeface="Tahoma" panose="020B0604030504040204" pitchFamily="34" charset="0"/>
              </a:rPr>
              <a:t>Mining</a:t>
            </a:r>
            <a:endParaRPr lang="ru-RU" sz="2400" b="1" dirty="0">
              <a:solidFill>
                <a:schemeClr val="bg1">
                  <a:lumMod val="10000"/>
                </a:schemeClr>
              </a:solidFill>
              <a:latin typeface="Century Gothic" panose="020B0502020202020204" pitchFamily="34" charset="0"/>
              <a:ea typeface="Tahoma" panose="020B0604030504040204" pitchFamily="34" charset="0"/>
              <a:cs typeface="Tahoma" panose="020B0604030504040204" pitchFamily="34" charset="0"/>
            </a:endParaRPr>
          </a:p>
        </p:txBody>
      </p:sp>
      <p:sp>
        <p:nvSpPr>
          <p:cNvPr id="113" name="Freeform 116"/>
          <p:cNvSpPr>
            <a:spLocks noEditPoints="1"/>
          </p:cNvSpPr>
          <p:nvPr/>
        </p:nvSpPr>
        <p:spPr bwMode="auto">
          <a:xfrm>
            <a:off x="5641121" y="2464903"/>
            <a:ext cx="927108" cy="747669"/>
          </a:xfrm>
          <a:custGeom>
            <a:avLst/>
            <a:gdLst/>
            <a:ahLst/>
            <a:cxnLst>
              <a:cxn ang="0">
                <a:pos x="55" y="27"/>
              </a:cxn>
              <a:cxn ang="0">
                <a:pos x="54" y="27"/>
              </a:cxn>
              <a:cxn ang="0">
                <a:pos x="54" y="27"/>
              </a:cxn>
              <a:cxn ang="0">
                <a:pos x="53" y="27"/>
              </a:cxn>
              <a:cxn ang="0">
                <a:pos x="28" y="6"/>
              </a:cxn>
              <a:cxn ang="0">
                <a:pos x="4" y="27"/>
              </a:cxn>
              <a:cxn ang="0">
                <a:pos x="3" y="27"/>
              </a:cxn>
              <a:cxn ang="0">
                <a:pos x="2" y="27"/>
              </a:cxn>
              <a:cxn ang="0">
                <a:pos x="0" y="24"/>
              </a:cxn>
              <a:cxn ang="0">
                <a:pos x="0" y="23"/>
              </a:cxn>
              <a:cxn ang="0">
                <a:pos x="26" y="1"/>
              </a:cxn>
              <a:cxn ang="0">
                <a:pos x="31" y="1"/>
              </a:cxn>
              <a:cxn ang="0">
                <a:pos x="40" y="8"/>
              </a:cxn>
              <a:cxn ang="0">
                <a:pos x="40" y="1"/>
              </a:cxn>
              <a:cxn ang="0">
                <a:pos x="41" y="0"/>
              </a:cxn>
              <a:cxn ang="0">
                <a:pos x="48" y="0"/>
              </a:cxn>
              <a:cxn ang="0">
                <a:pos x="49" y="1"/>
              </a:cxn>
              <a:cxn ang="0">
                <a:pos x="49" y="16"/>
              </a:cxn>
              <a:cxn ang="0">
                <a:pos x="57" y="23"/>
              </a:cxn>
              <a:cxn ang="0">
                <a:pos x="57" y="24"/>
              </a:cxn>
              <a:cxn ang="0">
                <a:pos x="55" y="27"/>
              </a:cxn>
              <a:cxn ang="0">
                <a:pos x="49" y="44"/>
              </a:cxn>
              <a:cxn ang="0">
                <a:pos x="47" y="46"/>
              </a:cxn>
              <a:cxn ang="0">
                <a:pos x="33" y="46"/>
              </a:cxn>
              <a:cxn ang="0">
                <a:pos x="33" y="32"/>
              </a:cxn>
              <a:cxn ang="0">
                <a:pos x="24" y="32"/>
              </a:cxn>
              <a:cxn ang="0">
                <a:pos x="24" y="46"/>
              </a:cxn>
              <a:cxn ang="0">
                <a:pos x="10" y="46"/>
              </a:cxn>
              <a:cxn ang="0">
                <a:pos x="8" y="44"/>
              </a:cxn>
              <a:cxn ang="0">
                <a:pos x="8" y="27"/>
              </a:cxn>
              <a:cxn ang="0">
                <a:pos x="8" y="26"/>
              </a:cxn>
              <a:cxn ang="0">
                <a:pos x="28" y="9"/>
              </a:cxn>
              <a:cxn ang="0">
                <a:pos x="49" y="26"/>
              </a:cxn>
              <a:cxn ang="0">
                <a:pos x="49" y="27"/>
              </a:cxn>
              <a:cxn ang="0">
                <a:pos x="49" y="44"/>
              </a:cxn>
            </a:cxnLst>
            <a:rect l="0" t="0" r="r" b="b"/>
            <a:pathLst>
              <a:path w="57" h="46">
                <a:moveTo>
                  <a:pt x="55" y="27"/>
                </a:moveTo>
                <a:cubicBezTo>
                  <a:pt x="55" y="27"/>
                  <a:pt x="54" y="27"/>
                  <a:pt x="54" y="27"/>
                </a:cubicBezTo>
                <a:cubicBezTo>
                  <a:pt x="54" y="27"/>
                  <a:pt x="54" y="27"/>
                  <a:pt x="54" y="27"/>
                </a:cubicBezTo>
                <a:cubicBezTo>
                  <a:pt x="54" y="27"/>
                  <a:pt x="53" y="27"/>
                  <a:pt x="53" y="27"/>
                </a:cubicBezTo>
                <a:cubicBezTo>
                  <a:pt x="28" y="6"/>
                  <a:pt x="28" y="6"/>
                  <a:pt x="28" y="6"/>
                </a:cubicBezTo>
                <a:cubicBezTo>
                  <a:pt x="4" y="27"/>
                  <a:pt x="4" y="27"/>
                  <a:pt x="4" y="27"/>
                </a:cubicBezTo>
                <a:cubicBezTo>
                  <a:pt x="4" y="27"/>
                  <a:pt x="3" y="27"/>
                  <a:pt x="3" y="27"/>
                </a:cubicBezTo>
                <a:cubicBezTo>
                  <a:pt x="3" y="27"/>
                  <a:pt x="2" y="27"/>
                  <a:pt x="2" y="27"/>
                </a:cubicBezTo>
                <a:cubicBezTo>
                  <a:pt x="0" y="24"/>
                  <a:pt x="0" y="24"/>
                  <a:pt x="0" y="24"/>
                </a:cubicBezTo>
                <a:cubicBezTo>
                  <a:pt x="0" y="24"/>
                  <a:pt x="0" y="23"/>
                  <a:pt x="0" y="23"/>
                </a:cubicBezTo>
                <a:cubicBezTo>
                  <a:pt x="26" y="1"/>
                  <a:pt x="26" y="1"/>
                  <a:pt x="26" y="1"/>
                </a:cubicBezTo>
                <a:cubicBezTo>
                  <a:pt x="27" y="0"/>
                  <a:pt x="30" y="0"/>
                  <a:pt x="31" y="1"/>
                </a:cubicBezTo>
                <a:cubicBezTo>
                  <a:pt x="40" y="8"/>
                  <a:pt x="40" y="8"/>
                  <a:pt x="40" y="8"/>
                </a:cubicBezTo>
                <a:cubicBezTo>
                  <a:pt x="40" y="1"/>
                  <a:pt x="40" y="1"/>
                  <a:pt x="40" y="1"/>
                </a:cubicBezTo>
                <a:cubicBezTo>
                  <a:pt x="40" y="1"/>
                  <a:pt x="40" y="0"/>
                  <a:pt x="41" y="0"/>
                </a:cubicBezTo>
                <a:cubicBezTo>
                  <a:pt x="48" y="0"/>
                  <a:pt x="48" y="0"/>
                  <a:pt x="48" y="0"/>
                </a:cubicBezTo>
                <a:cubicBezTo>
                  <a:pt x="49" y="0"/>
                  <a:pt x="49" y="1"/>
                  <a:pt x="49" y="1"/>
                </a:cubicBezTo>
                <a:cubicBezTo>
                  <a:pt x="49" y="16"/>
                  <a:pt x="49" y="16"/>
                  <a:pt x="49" y="16"/>
                </a:cubicBezTo>
                <a:cubicBezTo>
                  <a:pt x="57" y="23"/>
                  <a:pt x="57" y="23"/>
                  <a:pt x="57" y="23"/>
                </a:cubicBezTo>
                <a:cubicBezTo>
                  <a:pt x="57" y="23"/>
                  <a:pt x="57" y="24"/>
                  <a:pt x="57" y="24"/>
                </a:cubicBezTo>
                <a:lnTo>
                  <a:pt x="55" y="27"/>
                </a:lnTo>
                <a:close/>
                <a:moveTo>
                  <a:pt x="49" y="44"/>
                </a:moveTo>
                <a:cubicBezTo>
                  <a:pt x="49" y="45"/>
                  <a:pt x="48" y="46"/>
                  <a:pt x="47" y="46"/>
                </a:cubicBezTo>
                <a:cubicBezTo>
                  <a:pt x="33" y="46"/>
                  <a:pt x="33" y="46"/>
                  <a:pt x="33" y="46"/>
                </a:cubicBezTo>
                <a:cubicBezTo>
                  <a:pt x="33" y="32"/>
                  <a:pt x="33" y="32"/>
                  <a:pt x="33" y="32"/>
                </a:cubicBezTo>
                <a:cubicBezTo>
                  <a:pt x="24" y="32"/>
                  <a:pt x="24" y="32"/>
                  <a:pt x="24" y="32"/>
                </a:cubicBezTo>
                <a:cubicBezTo>
                  <a:pt x="24" y="46"/>
                  <a:pt x="24" y="46"/>
                  <a:pt x="24" y="46"/>
                </a:cubicBezTo>
                <a:cubicBezTo>
                  <a:pt x="10" y="46"/>
                  <a:pt x="10" y="46"/>
                  <a:pt x="10" y="46"/>
                </a:cubicBezTo>
                <a:cubicBezTo>
                  <a:pt x="9" y="46"/>
                  <a:pt x="8" y="45"/>
                  <a:pt x="8" y="44"/>
                </a:cubicBezTo>
                <a:cubicBezTo>
                  <a:pt x="8" y="27"/>
                  <a:pt x="8" y="27"/>
                  <a:pt x="8" y="27"/>
                </a:cubicBezTo>
                <a:cubicBezTo>
                  <a:pt x="8" y="27"/>
                  <a:pt x="8" y="26"/>
                  <a:pt x="8" y="26"/>
                </a:cubicBezTo>
                <a:cubicBezTo>
                  <a:pt x="28" y="9"/>
                  <a:pt x="28" y="9"/>
                  <a:pt x="28" y="9"/>
                </a:cubicBezTo>
                <a:cubicBezTo>
                  <a:pt x="49" y="26"/>
                  <a:pt x="49" y="26"/>
                  <a:pt x="49" y="26"/>
                </a:cubicBezTo>
                <a:cubicBezTo>
                  <a:pt x="49" y="26"/>
                  <a:pt x="49" y="27"/>
                  <a:pt x="49" y="27"/>
                </a:cubicBezTo>
                <a:lnTo>
                  <a:pt x="49" y="44"/>
                </a:lnTo>
                <a:close/>
              </a:path>
            </a:pathLst>
          </a:custGeom>
          <a:solidFill>
            <a:srgbClr val="32ACF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48915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F7F7F7"/>
        </a:solidFill>
        <a:effectLst/>
      </p:bgPr>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0CF28EE-A360-46B6-9D76-D2CA1E8777C8}"/>
              </a:ext>
            </a:extLst>
          </p:cNvPr>
          <p:cNvCxnSpPr>
            <a:cxnSpLocks/>
          </p:cNvCxnSpPr>
          <p:nvPr/>
        </p:nvCxnSpPr>
        <p:spPr>
          <a:xfrm>
            <a:off x="6105679" y="0"/>
            <a:ext cx="0" cy="6858000"/>
          </a:xfrm>
          <a:prstGeom prst="line">
            <a:avLst/>
          </a:prstGeom>
          <a:ln w="7620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457136F-E886-4646-B8A2-BD6F5A7BCC5E}"/>
              </a:ext>
            </a:extLst>
          </p:cNvPr>
          <p:cNvSpPr txBox="1"/>
          <p:nvPr/>
        </p:nvSpPr>
        <p:spPr>
          <a:xfrm>
            <a:off x="4194297" y="2406926"/>
            <a:ext cx="1629285"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600" b="1" i="0" u="none" strike="noStrike" kern="1200" cap="none" spc="0" normalizeH="0" baseline="0" noProof="0" dirty="0">
                <a:ln>
                  <a:noFill/>
                </a:ln>
                <a:solidFill>
                  <a:prstClr val="black">
                    <a:lumMod val="95000"/>
                    <a:lumOff val="5000"/>
                  </a:prstClr>
                </a:solidFill>
                <a:effectLst/>
                <a:uLnTx/>
                <a:uFillTx/>
                <a:latin typeface="Agency FB" panose="020B0503020202020204" pitchFamily="34" charset="0"/>
                <a:ea typeface="+mn-ea"/>
                <a:cs typeface="+mn-cs"/>
              </a:rPr>
              <a:t>04</a:t>
            </a:r>
          </a:p>
        </p:txBody>
      </p:sp>
      <p:sp>
        <p:nvSpPr>
          <p:cNvPr id="21" name="TextBox 20">
            <a:extLst>
              <a:ext uri="{FF2B5EF4-FFF2-40B4-BE49-F238E27FC236}">
                <a16:creationId xmlns:a16="http://schemas.microsoft.com/office/drawing/2014/main" id="{D9585C00-05E0-4883-9190-5990845EE348}"/>
              </a:ext>
            </a:extLst>
          </p:cNvPr>
          <p:cNvSpPr txBox="1"/>
          <p:nvPr/>
        </p:nvSpPr>
        <p:spPr>
          <a:xfrm>
            <a:off x="7973378" y="2931568"/>
            <a:ext cx="3268611" cy="400110"/>
          </a:xfrm>
          <a:prstGeom prst="rect">
            <a:avLst/>
          </a:prstGeom>
          <a:noFill/>
        </p:spPr>
        <p:txBody>
          <a:bodyPr wrap="square" rtlCol="0">
            <a:spAutoFit/>
          </a:bodyPr>
          <a:lstStyle/>
          <a:p>
            <a:pPr lvl="0">
              <a:defRPr/>
            </a:pPr>
            <a:r>
              <a:rPr lang="ru-RU" sz="2000" b="1" dirty="0">
                <a:solidFill>
                  <a:prstClr val="black">
                    <a:lumMod val="95000"/>
                    <a:lumOff val="5000"/>
                  </a:prstClr>
                </a:solidFill>
                <a:latin typeface="Century Gothic" panose="020B0502020202020204" pitchFamily="34" charset="0"/>
                <a:ea typeface="Tahoma" panose="020B0604030504040204" pitchFamily="34" charset="0"/>
                <a:cs typeface="Tahoma" panose="020B0604030504040204" pitchFamily="34" charset="0"/>
              </a:rPr>
              <a:t>Страхование</a:t>
            </a:r>
          </a:p>
        </p:txBody>
      </p:sp>
      <p:grpSp>
        <p:nvGrpSpPr>
          <p:cNvPr id="24" name="Group 23">
            <a:extLst>
              <a:ext uri="{FF2B5EF4-FFF2-40B4-BE49-F238E27FC236}">
                <a16:creationId xmlns:a16="http://schemas.microsoft.com/office/drawing/2014/main" id="{F2F30479-59C3-4007-9D72-45C1977815ED}"/>
              </a:ext>
            </a:extLst>
          </p:cNvPr>
          <p:cNvGrpSpPr/>
          <p:nvPr/>
        </p:nvGrpSpPr>
        <p:grpSpPr>
          <a:xfrm>
            <a:off x="4418647" y="3682469"/>
            <a:ext cx="5935594" cy="336550"/>
            <a:chOff x="4422221" y="3127375"/>
            <a:chExt cx="5935594" cy="336550"/>
          </a:xfrm>
          <a:solidFill>
            <a:schemeClr val="tx1">
              <a:lumMod val="95000"/>
              <a:lumOff val="5000"/>
            </a:schemeClr>
          </a:solidFill>
        </p:grpSpPr>
        <p:cxnSp>
          <p:nvCxnSpPr>
            <p:cNvPr id="25" name="Straight Connector 24">
              <a:extLst>
                <a:ext uri="{FF2B5EF4-FFF2-40B4-BE49-F238E27FC236}">
                  <a16:creationId xmlns:a16="http://schemas.microsoft.com/office/drawing/2014/main" id="{A8A0193E-C41C-46B0-9C39-BB9B95D912EA}"/>
                </a:ext>
              </a:extLst>
            </p:cNvPr>
            <p:cNvCxnSpPr>
              <a:cxnSpLocks/>
            </p:cNvCxnSpPr>
            <p:nvPr/>
          </p:nvCxnSpPr>
          <p:spPr>
            <a:xfrm flipH="1">
              <a:off x="4422221" y="3295567"/>
              <a:ext cx="5935594" cy="0"/>
            </a:xfrm>
            <a:prstGeom prst="line">
              <a:avLst/>
            </a:prstGeom>
            <a:grpFill/>
            <a:ln w="31750" cap="rnd">
              <a:solidFill>
                <a:schemeClr val="tx1">
                  <a:lumMod val="95000"/>
                  <a:lumOff val="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31BD03F9-C5A7-4EA7-A8F9-E5EA204140FE}"/>
                </a:ext>
              </a:extLst>
            </p:cNvPr>
            <p:cNvSpPr/>
            <p:nvPr/>
          </p:nvSpPr>
          <p:spPr>
            <a:xfrm>
              <a:off x="5967483" y="3153880"/>
              <a:ext cx="283540" cy="283540"/>
            </a:xfrm>
            <a:prstGeom prst="ellipse">
              <a:avLst/>
            </a:prstGeom>
            <a:solidFill>
              <a:srgbClr val="32ACFA"/>
            </a:solidFill>
            <a:ln>
              <a:solidFill>
                <a:srgbClr val="85EB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endParaRPr>
            </a:p>
          </p:txBody>
        </p:sp>
        <p:sp>
          <p:nvSpPr>
            <p:cNvPr id="27" name="Circle: Hollow 26">
              <a:extLst>
                <a:ext uri="{FF2B5EF4-FFF2-40B4-BE49-F238E27FC236}">
                  <a16:creationId xmlns:a16="http://schemas.microsoft.com/office/drawing/2014/main" id="{A976E9F3-FF31-4223-A98B-FE04C2010639}"/>
                </a:ext>
              </a:extLst>
            </p:cNvPr>
            <p:cNvSpPr/>
            <p:nvPr/>
          </p:nvSpPr>
          <p:spPr>
            <a:xfrm>
              <a:off x="5940978" y="3127375"/>
              <a:ext cx="336550" cy="336550"/>
            </a:xfrm>
            <a:prstGeom prst="donut">
              <a:avLst>
                <a:gd name="adj" fmla="val 7064"/>
              </a:avLst>
            </a:prstGeom>
            <a:grp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331A9D28-1400-44DE-90B0-B91A38328D3B}"/>
                </a:ext>
              </a:extLst>
            </p:cNvPr>
            <p:cNvSpPr/>
            <p:nvPr/>
          </p:nvSpPr>
          <p:spPr>
            <a:xfrm>
              <a:off x="6033053" y="3219450"/>
              <a:ext cx="152400" cy="152400"/>
            </a:xfrm>
            <a:prstGeom prst="ellipse">
              <a:avLst/>
            </a:prstGeom>
            <a:grp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grpSp>
      <p:grpSp>
        <p:nvGrpSpPr>
          <p:cNvPr id="41" name="Group 40">
            <a:extLst>
              <a:ext uri="{FF2B5EF4-FFF2-40B4-BE49-F238E27FC236}">
                <a16:creationId xmlns:a16="http://schemas.microsoft.com/office/drawing/2014/main" id="{897D3E2F-487F-4E91-A855-5F21A52081E1}"/>
              </a:ext>
            </a:extLst>
          </p:cNvPr>
          <p:cNvGrpSpPr/>
          <p:nvPr/>
        </p:nvGrpSpPr>
        <p:grpSpPr>
          <a:xfrm>
            <a:off x="1314705" y="192675"/>
            <a:ext cx="6649529" cy="1604585"/>
            <a:chOff x="1330979" y="233740"/>
            <a:chExt cx="6649529" cy="1604585"/>
          </a:xfrm>
        </p:grpSpPr>
        <p:grpSp>
          <p:nvGrpSpPr>
            <p:cNvPr id="10" name="Group 9">
              <a:extLst>
                <a:ext uri="{FF2B5EF4-FFF2-40B4-BE49-F238E27FC236}">
                  <a16:creationId xmlns:a16="http://schemas.microsoft.com/office/drawing/2014/main" id="{B446595E-D72E-4DD1-947B-6689D008485A}"/>
                </a:ext>
              </a:extLst>
            </p:cNvPr>
            <p:cNvGrpSpPr/>
            <p:nvPr/>
          </p:nvGrpSpPr>
          <p:grpSpPr>
            <a:xfrm>
              <a:off x="1858584" y="1501775"/>
              <a:ext cx="5824916" cy="336550"/>
              <a:chOff x="1796261" y="3127375"/>
              <a:chExt cx="5914711" cy="336550"/>
            </a:xfrm>
          </p:grpSpPr>
          <p:cxnSp>
            <p:nvCxnSpPr>
              <p:cNvPr id="11" name="Straight Connector 10">
                <a:extLst>
                  <a:ext uri="{FF2B5EF4-FFF2-40B4-BE49-F238E27FC236}">
                    <a16:creationId xmlns:a16="http://schemas.microsoft.com/office/drawing/2014/main" id="{AB778996-AD30-4FBF-A783-1332ACBC832D}"/>
                  </a:ext>
                </a:extLst>
              </p:cNvPr>
              <p:cNvCxnSpPr>
                <a:cxnSpLocks/>
              </p:cNvCxnSpPr>
              <p:nvPr/>
            </p:nvCxnSpPr>
            <p:spPr>
              <a:xfrm flipH="1">
                <a:off x="1796261" y="3295567"/>
                <a:ext cx="5914711" cy="0"/>
              </a:xfrm>
              <a:prstGeom prst="line">
                <a:avLst/>
              </a:prstGeom>
              <a:ln w="3175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0C3F866E-413D-401C-AD9F-F8C2AEA5119B}"/>
                  </a:ext>
                </a:extLst>
              </p:cNvPr>
              <p:cNvSpPr/>
              <p:nvPr/>
            </p:nvSpPr>
            <p:spPr>
              <a:xfrm>
                <a:off x="5967483" y="3153880"/>
                <a:ext cx="283540" cy="283540"/>
              </a:xfrm>
              <a:prstGeom prst="ellipse">
                <a:avLst/>
              </a:prstGeom>
              <a:solidFill>
                <a:srgbClr val="32ACFA"/>
              </a:solidFill>
              <a:ln>
                <a:solidFill>
                  <a:srgbClr val="85EB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endParaRPr>
              </a:p>
            </p:txBody>
          </p:sp>
          <p:sp>
            <p:nvSpPr>
              <p:cNvPr id="13" name="Circle: Hollow 12">
                <a:extLst>
                  <a:ext uri="{FF2B5EF4-FFF2-40B4-BE49-F238E27FC236}">
                    <a16:creationId xmlns:a16="http://schemas.microsoft.com/office/drawing/2014/main" id="{A443766E-CCA8-406C-ACC0-5D2E9F077FE8}"/>
                  </a:ext>
                </a:extLst>
              </p:cNvPr>
              <p:cNvSpPr/>
              <p:nvPr/>
            </p:nvSpPr>
            <p:spPr>
              <a:xfrm>
                <a:off x="5940978" y="3127375"/>
                <a:ext cx="336550" cy="336550"/>
              </a:xfrm>
              <a:prstGeom prst="donut">
                <a:avLst>
                  <a:gd name="adj" fmla="val 7064"/>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E0DB6A4C-91D6-407D-91BF-A87FED17C39F}"/>
                  </a:ext>
                </a:extLst>
              </p:cNvPr>
              <p:cNvSpPr/>
              <p:nvPr/>
            </p:nvSpPr>
            <p:spPr>
              <a:xfrm>
                <a:off x="6033053" y="3219450"/>
                <a:ext cx="152400" cy="152400"/>
              </a:xfrm>
              <a:prstGeom prst="ellips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grpSp>
        <p:sp>
          <p:nvSpPr>
            <p:cNvPr id="15" name="TextBox 14">
              <a:extLst>
                <a:ext uri="{FF2B5EF4-FFF2-40B4-BE49-F238E27FC236}">
                  <a16:creationId xmlns:a16="http://schemas.microsoft.com/office/drawing/2014/main" id="{001181C0-CF60-423E-837F-F4EB8CEDDE04}"/>
                </a:ext>
              </a:extLst>
            </p:cNvPr>
            <p:cNvSpPr txBox="1"/>
            <p:nvPr/>
          </p:nvSpPr>
          <p:spPr>
            <a:xfrm>
              <a:off x="6351223" y="233740"/>
              <a:ext cx="1629285"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600" b="1" i="0" u="none" strike="noStrike" kern="1200" cap="none" spc="0" normalizeH="0" baseline="0" noProof="0" dirty="0">
                  <a:ln>
                    <a:noFill/>
                  </a:ln>
                  <a:solidFill>
                    <a:prstClr val="black">
                      <a:lumMod val="95000"/>
                      <a:lumOff val="5000"/>
                    </a:prstClr>
                  </a:solidFill>
                  <a:effectLst/>
                  <a:uLnTx/>
                  <a:uFillTx/>
                  <a:latin typeface="Agency FB" panose="020B0503020202020204" pitchFamily="34" charset="0"/>
                  <a:ea typeface="+mn-ea"/>
                  <a:cs typeface="+mn-cs"/>
                </a:rPr>
                <a:t>03</a:t>
              </a:r>
            </a:p>
          </p:txBody>
        </p:sp>
        <p:sp>
          <p:nvSpPr>
            <p:cNvPr id="18" name="TextBox 17">
              <a:extLst>
                <a:ext uri="{FF2B5EF4-FFF2-40B4-BE49-F238E27FC236}">
                  <a16:creationId xmlns:a16="http://schemas.microsoft.com/office/drawing/2014/main" id="{B7DCDC61-A70B-43BA-A3BC-6F2EB8110427}"/>
                </a:ext>
              </a:extLst>
            </p:cNvPr>
            <p:cNvSpPr txBox="1"/>
            <p:nvPr/>
          </p:nvSpPr>
          <p:spPr>
            <a:xfrm>
              <a:off x="1330979" y="766462"/>
              <a:ext cx="3494960" cy="400110"/>
            </a:xfrm>
            <a:prstGeom prst="rect">
              <a:avLst/>
            </a:prstGeom>
            <a:noFill/>
          </p:spPr>
          <p:txBody>
            <a:bodyPr wrap="square" rtlCol="0">
              <a:spAutoFit/>
            </a:bodyPr>
            <a:lstStyle/>
            <a:p>
              <a:pPr lvl="0" algn="ctr">
                <a:defRPr/>
              </a:pPr>
              <a:r>
                <a:rPr lang="ru-RU" sz="2000" b="1" dirty="0">
                  <a:solidFill>
                    <a:prstClr val="black">
                      <a:lumMod val="95000"/>
                      <a:lumOff val="5000"/>
                    </a:prstClr>
                  </a:solidFill>
                  <a:latin typeface="Century Gothic" panose="020B0502020202020204" pitchFamily="34" charset="0"/>
                  <a:ea typeface="Tahoma" panose="020B0604030504040204" pitchFamily="34" charset="0"/>
                  <a:cs typeface="Tahoma" panose="020B0604030504040204" pitchFamily="34" charset="0"/>
                </a:rPr>
                <a:t>Телекоммуникации</a:t>
              </a:r>
              <a:endParaRPr kumimoji="0" lang="en-US" sz="2000" b="1" i="0" u="none" strike="noStrike" kern="1200" cap="none" spc="0" normalizeH="0" baseline="0" noProof="0" dirty="0">
                <a:ln>
                  <a:noFill/>
                </a:ln>
                <a:solidFill>
                  <a:prstClr val="black">
                    <a:lumMod val="95000"/>
                    <a:lumOff val="5000"/>
                  </a:prstClr>
                </a:solidFill>
                <a:effectLst/>
                <a:uLnTx/>
                <a:uFillTx/>
                <a:latin typeface="Century Gothic" panose="020B0502020202020204" pitchFamily="34" charset="0"/>
                <a:ea typeface="Tahoma" panose="020B0604030504040204" pitchFamily="34" charset="0"/>
                <a:cs typeface="Tahoma" panose="020B0604030504040204" pitchFamily="34" charset="0"/>
              </a:endParaRPr>
            </a:p>
          </p:txBody>
        </p:sp>
        <p:sp>
          <p:nvSpPr>
            <p:cNvPr id="31" name="Oval 30">
              <a:extLst>
                <a:ext uri="{FF2B5EF4-FFF2-40B4-BE49-F238E27FC236}">
                  <a16:creationId xmlns:a16="http://schemas.microsoft.com/office/drawing/2014/main" id="{AF213348-5BAD-42BB-9340-354673EBF8F2}"/>
                </a:ext>
              </a:extLst>
            </p:cNvPr>
            <p:cNvSpPr/>
            <p:nvPr/>
          </p:nvSpPr>
          <p:spPr>
            <a:xfrm>
              <a:off x="4654073" y="572966"/>
              <a:ext cx="838200" cy="838200"/>
            </a:xfrm>
            <a:prstGeom prst="ellips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grpSp>
      <p:sp>
        <p:nvSpPr>
          <p:cNvPr id="23" name="Oval 22">
            <a:extLst>
              <a:ext uri="{FF2B5EF4-FFF2-40B4-BE49-F238E27FC236}">
                <a16:creationId xmlns:a16="http://schemas.microsoft.com/office/drawing/2014/main" id="{41D4A034-A8E6-484F-9042-245CDC567591}"/>
              </a:ext>
            </a:extLst>
          </p:cNvPr>
          <p:cNvSpPr/>
          <p:nvPr/>
        </p:nvSpPr>
        <p:spPr>
          <a:xfrm>
            <a:off x="6771903" y="2728953"/>
            <a:ext cx="838200" cy="838200"/>
          </a:xfrm>
          <a:prstGeom prst="ellips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grpSp>
        <p:nvGrpSpPr>
          <p:cNvPr id="42" name="Group 41">
            <a:extLst>
              <a:ext uri="{FF2B5EF4-FFF2-40B4-BE49-F238E27FC236}">
                <a16:creationId xmlns:a16="http://schemas.microsoft.com/office/drawing/2014/main" id="{9BE78EC2-2387-4D3A-9CAD-2A27506E5AE4}"/>
              </a:ext>
            </a:extLst>
          </p:cNvPr>
          <p:cNvGrpSpPr/>
          <p:nvPr/>
        </p:nvGrpSpPr>
        <p:grpSpPr>
          <a:xfrm>
            <a:off x="1709573" y="4618028"/>
            <a:ext cx="6254661" cy="1604585"/>
            <a:chOff x="1713147" y="233740"/>
            <a:chExt cx="6254661" cy="1604585"/>
          </a:xfrm>
        </p:grpSpPr>
        <p:grpSp>
          <p:nvGrpSpPr>
            <p:cNvPr id="43" name="Group 42">
              <a:extLst>
                <a:ext uri="{FF2B5EF4-FFF2-40B4-BE49-F238E27FC236}">
                  <a16:creationId xmlns:a16="http://schemas.microsoft.com/office/drawing/2014/main" id="{D8BA2771-C9E3-44F3-BD77-D657DE156F8C}"/>
                </a:ext>
              </a:extLst>
            </p:cNvPr>
            <p:cNvGrpSpPr/>
            <p:nvPr/>
          </p:nvGrpSpPr>
          <p:grpSpPr>
            <a:xfrm>
              <a:off x="1858583" y="1501775"/>
              <a:ext cx="5824917" cy="336550"/>
              <a:chOff x="1796260" y="3127375"/>
              <a:chExt cx="5914713" cy="336550"/>
            </a:xfrm>
          </p:grpSpPr>
          <p:cxnSp>
            <p:nvCxnSpPr>
              <p:cNvPr id="51" name="Straight Connector 50">
                <a:extLst>
                  <a:ext uri="{FF2B5EF4-FFF2-40B4-BE49-F238E27FC236}">
                    <a16:creationId xmlns:a16="http://schemas.microsoft.com/office/drawing/2014/main" id="{A985DC68-6AF1-4498-911F-A92816E066A5}"/>
                  </a:ext>
                </a:extLst>
              </p:cNvPr>
              <p:cNvCxnSpPr>
                <a:cxnSpLocks/>
              </p:cNvCxnSpPr>
              <p:nvPr/>
            </p:nvCxnSpPr>
            <p:spPr>
              <a:xfrm flipH="1">
                <a:off x="1796260" y="3295567"/>
                <a:ext cx="5914713" cy="0"/>
              </a:xfrm>
              <a:prstGeom prst="line">
                <a:avLst/>
              </a:prstGeom>
              <a:ln w="3175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4D9C89A5-98C5-42D9-9023-A70CB8909CF4}"/>
                  </a:ext>
                </a:extLst>
              </p:cNvPr>
              <p:cNvSpPr/>
              <p:nvPr/>
            </p:nvSpPr>
            <p:spPr>
              <a:xfrm>
                <a:off x="5967483" y="3153880"/>
                <a:ext cx="283540" cy="283540"/>
              </a:xfrm>
              <a:prstGeom prst="ellipse">
                <a:avLst/>
              </a:prstGeom>
              <a:solidFill>
                <a:srgbClr val="32ACFA"/>
              </a:solidFill>
              <a:ln>
                <a:solidFill>
                  <a:srgbClr val="85EB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endParaRPr>
              </a:p>
            </p:txBody>
          </p:sp>
          <p:sp>
            <p:nvSpPr>
              <p:cNvPr id="53" name="Circle: Hollow 52">
                <a:extLst>
                  <a:ext uri="{FF2B5EF4-FFF2-40B4-BE49-F238E27FC236}">
                    <a16:creationId xmlns:a16="http://schemas.microsoft.com/office/drawing/2014/main" id="{8A117738-5A9B-49A2-91BF-766758E4D870}"/>
                  </a:ext>
                </a:extLst>
              </p:cNvPr>
              <p:cNvSpPr/>
              <p:nvPr/>
            </p:nvSpPr>
            <p:spPr>
              <a:xfrm>
                <a:off x="5940978" y="3127375"/>
                <a:ext cx="336550" cy="336550"/>
              </a:xfrm>
              <a:prstGeom prst="donut">
                <a:avLst>
                  <a:gd name="adj" fmla="val 7064"/>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sp>
            <p:nvSpPr>
              <p:cNvPr id="54" name="Oval 53">
                <a:extLst>
                  <a:ext uri="{FF2B5EF4-FFF2-40B4-BE49-F238E27FC236}">
                    <a16:creationId xmlns:a16="http://schemas.microsoft.com/office/drawing/2014/main" id="{8028B8DE-057A-4F37-B4A0-CFB5171B2CFC}"/>
                  </a:ext>
                </a:extLst>
              </p:cNvPr>
              <p:cNvSpPr/>
              <p:nvPr/>
            </p:nvSpPr>
            <p:spPr>
              <a:xfrm>
                <a:off x="6033053" y="3219450"/>
                <a:ext cx="152400" cy="152400"/>
              </a:xfrm>
              <a:prstGeom prst="ellips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grpSp>
        <p:sp>
          <p:nvSpPr>
            <p:cNvPr id="44" name="TextBox 43">
              <a:extLst>
                <a:ext uri="{FF2B5EF4-FFF2-40B4-BE49-F238E27FC236}">
                  <a16:creationId xmlns:a16="http://schemas.microsoft.com/office/drawing/2014/main" id="{8600B5E1-8239-47C1-9DC8-A00A94693569}"/>
                </a:ext>
              </a:extLst>
            </p:cNvPr>
            <p:cNvSpPr txBox="1"/>
            <p:nvPr/>
          </p:nvSpPr>
          <p:spPr>
            <a:xfrm>
              <a:off x="6338523" y="233740"/>
              <a:ext cx="1629285"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600" b="1" i="0" u="none" strike="noStrike" kern="1200" cap="none" spc="0" normalizeH="0" baseline="0" noProof="0" dirty="0">
                  <a:ln>
                    <a:noFill/>
                  </a:ln>
                  <a:solidFill>
                    <a:prstClr val="black">
                      <a:lumMod val="95000"/>
                      <a:lumOff val="5000"/>
                    </a:prstClr>
                  </a:solidFill>
                  <a:effectLst/>
                  <a:uLnTx/>
                  <a:uFillTx/>
                  <a:latin typeface="Agency FB" panose="020B0503020202020204" pitchFamily="34" charset="0"/>
                  <a:ea typeface="+mn-ea"/>
                  <a:cs typeface="+mn-cs"/>
                </a:rPr>
                <a:t>05</a:t>
              </a:r>
            </a:p>
          </p:txBody>
        </p:sp>
        <p:sp>
          <p:nvSpPr>
            <p:cNvPr id="49" name="TextBox 48">
              <a:extLst>
                <a:ext uri="{FF2B5EF4-FFF2-40B4-BE49-F238E27FC236}">
                  <a16:creationId xmlns:a16="http://schemas.microsoft.com/office/drawing/2014/main" id="{9A61BB4C-96A2-4D00-9112-5BFC98F25CEE}"/>
                </a:ext>
              </a:extLst>
            </p:cNvPr>
            <p:cNvSpPr txBox="1"/>
            <p:nvPr/>
          </p:nvSpPr>
          <p:spPr>
            <a:xfrm>
              <a:off x="1713147" y="616865"/>
              <a:ext cx="2800206" cy="707886"/>
            </a:xfrm>
            <a:prstGeom prst="rect">
              <a:avLst/>
            </a:prstGeom>
            <a:noFill/>
          </p:spPr>
          <p:txBody>
            <a:bodyPr wrap="square" rtlCol="0">
              <a:spAutoFit/>
            </a:bodyPr>
            <a:lstStyle/>
            <a:p>
              <a:pPr lvl="0" algn="ctr">
                <a:defRPr/>
              </a:pPr>
              <a:r>
                <a:rPr lang="ru-RU" sz="2000" b="1" dirty="0" smtClean="0">
                  <a:solidFill>
                    <a:prstClr val="black">
                      <a:lumMod val="95000"/>
                      <a:lumOff val="5000"/>
                    </a:prstClr>
                  </a:solidFill>
                  <a:latin typeface="Century Gothic" panose="020B0502020202020204" pitchFamily="34" charset="0"/>
                  <a:ea typeface="Tahoma" panose="020B0604030504040204" pitchFamily="34" charset="0"/>
                  <a:cs typeface="Tahoma" panose="020B0604030504040204" pitchFamily="34" charset="0"/>
                </a:rPr>
                <a:t>Автомобильная промышленность</a:t>
              </a:r>
              <a:endParaRPr kumimoji="0" lang="en-US" sz="2000" b="1" i="0" u="none" strike="noStrike" kern="1200" cap="none" spc="0" normalizeH="0" baseline="0" noProof="0" dirty="0">
                <a:ln>
                  <a:noFill/>
                </a:ln>
                <a:solidFill>
                  <a:prstClr val="black">
                    <a:lumMod val="95000"/>
                    <a:lumOff val="5000"/>
                  </a:prstClr>
                </a:solidFill>
                <a:effectLst/>
                <a:uLnTx/>
                <a:uFillTx/>
                <a:latin typeface="Century Gothic" panose="020B0502020202020204" pitchFamily="34" charset="0"/>
                <a:ea typeface="Tahoma" panose="020B0604030504040204" pitchFamily="34" charset="0"/>
                <a:cs typeface="Tahoma" panose="020B0604030504040204" pitchFamily="34" charset="0"/>
              </a:endParaRPr>
            </a:p>
          </p:txBody>
        </p:sp>
        <p:sp>
          <p:nvSpPr>
            <p:cNvPr id="47" name="Oval 46">
              <a:extLst>
                <a:ext uri="{FF2B5EF4-FFF2-40B4-BE49-F238E27FC236}">
                  <a16:creationId xmlns:a16="http://schemas.microsoft.com/office/drawing/2014/main" id="{F6D499F0-3920-4527-8086-8260E495F9C6}"/>
                </a:ext>
              </a:extLst>
            </p:cNvPr>
            <p:cNvSpPr/>
            <p:nvPr/>
          </p:nvSpPr>
          <p:spPr>
            <a:xfrm>
              <a:off x="4654073" y="572966"/>
              <a:ext cx="838200" cy="838200"/>
            </a:xfrm>
            <a:prstGeom prst="ellips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grpSp>
      <p:sp>
        <p:nvSpPr>
          <p:cNvPr id="34" name="Freeform 101"/>
          <p:cNvSpPr>
            <a:spLocks noEditPoints="1"/>
          </p:cNvSpPr>
          <p:nvPr/>
        </p:nvSpPr>
        <p:spPr bwMode="auto">
          <a:xfrm>
            <a:off x="4750701" y="735496"/>
            <a:ext cx="622977" cy="412816"/>
          </a:xfrm>
          <a:custGeom>
            <a:avLst/>
            <a:gdLst/>
            <a:ahLst/>
            <a:cxnLst>
              <a:cxn ang="0">
                <a:pos x="77" y="43"/>
              </a:cxn>
              <a:cxn ang="0">
                <a:pos x="77" y="47"/>
              </a:cxn>
              <a:cxn ang="0">
                <a:pos x="70" y="51"/>
              </a:cxn>
              <a:cxn ang="0">
                <a:pos x="6" y="51"/>
              </a:cxn>
              <a:cxn ang="0">
                <a:pos x="0" y="47"/>
              </a:cxn>
              <a:cxn ang="0">
                <a:pos x="0" y="43"/>
              </a:cxn>
              <a:cxn ang="0">
                <a:pos x="6" y="43"/>
              </a:cxn>
              <a:cxn ang="0">
                <a:pos x="70" y="43"/>
              </a:cxn>
              <a:cxn ang="0">
                <a:pos x="77" y="43"/>
              </a:cxn>
              <a:cxn ang="0">
                <a:pos x="10" y="34"/>
              </a:cxn>
              <a:cxn ang="0">
                <a:pos x="10" y="6"/>
              </a:cxn>
              <a:cxn ang="0">
                <a:pos x="16" y="0"/>
              </a:cxn>
              <a:cxn ang="0">
                <a:pos x="60" y="0"/>
              </a:cxn>
              <a:cxn ang="0">
                <a:pos x="67" y="6"/>
              </a:cxn>
              <a:cxn ang="0">
                <a:pos x="67" y="34"/>
              </a:cxn>
              <a:cxn ang="0">
                <a:pos x="60" y="41"/>
              </a:cxn>
              <a:cxn ang="0">
                <a:pos x="16" y="41"/>
              </a:cxn>
              <a:cxn ang="0">
                <a:pos x="10" y="34"/>
              </a:cxn>
              <a:cxn ang="0">
                <a:pos x="15" y="34"/>
              </a:cxn>
              <a:cxn ang="0">
                <a:pos x="16" y="36"/>
              </a:cxn>
              <a:cxn ang="0">
                <a:pos x="60" y="36"/>
              </a:cxn>
              <a:cxn ang="0">
                <a:pos x="61" y="34"/>
              </a:cxn>
              <a:cxn ang="0">
                <a:pos x="61" y="6"/>
              </a:cxn>
              <a:cxn ang="0">
                <a:pos x="60" y="5"/>
              </a:cxn>
              <a:cxn ang="0">
                <a:pos x="16" y="5"/>
              </a:cxn>
              <a:cxn ang="0">
                <a:pos x="15" y="6"/>
              </a:cxn>
              <a:cxn ang="0">
                <a:pos x="15" y="34"/>
              </a:cxn>
              <a:cxn ang="0">
                <a:pos x="42" y="47"/>
              </a:cxn>
              <a:cxn ang="0">
                <a:pos x="42" y="46"/>
              </a:cxn>
              <a:cxn ang="0">
                <a:pos x="35" y="46"/>
              </a:cxn>
              <a:cxn ang="0">
                <a:pos x="34" y="47"/>
              </a:cxn>
              <a:cxn ang="0">
                <a:pos x="35" y="47"/>
              </a:cxn>
              <a:cxn ang="0">
                <a:pos x="42" y="47"/>
              </a:cxn>
              <a:cxn ang="0">
                <a:pos x="42" y="47"/>
              </a:cxn>
            </a:cxnLst>
            <a:rect l="0" t="0" r="r" b="b"/>
            <a:pathLst>
              <a:path w="77" h="51">
                <a:moveTo>
                  <a:pt x="77" y="43"/>
                </a:moveTo>
                <a:cubicBezTo>
                  <a:pt x="77" y="47"/>
                  <a:pt x="77" y="47"/>
                  <a:pt x="77" y="47"/>
                </a:cubicBezTo>
                <a:cubicBezTo>
                  <a:pt x="77" y="49"/>
                  <a:pt x="74" y="51"/>
                  <a:pt x="70" y="51"/>
                </a:cubicBezTo>
                <a:cubicBezTo>
                  <a:pt x="6" y="51"/>
                  <a:pt x="6" y="51"/>
                  <a:pt x="6" y="51"/>
                </a:cubicBezTo>
                <a:cubicBezTo>
                  <a:pt x="3" y="51"/>
                  <a:pt x="0" y="49"/>
                  <a:pt x="0" y="47"/>
                </a:cubicBezTo>
                <a:cubicBezTo>
                  <a:pt x="0" y="43"/>
                  <a:pt x="0" y="43"/>
                  <a:pt x="0" y="43"/>
                </a:cubicBezTo>
                <a:cubicBezTo>
                  <a:pt x="6" y="43"/>
                  <a:pt x="6" y="43"/>
                  <a:pt x="6" y="43"/>
                </a:cubicBezTo>
                <a:cubicBezTo>
                  <a:pt x="70" y="43"/>
                  <a:pt x="70" y="43"/>
                  <a:pt x="70" y="43"/>
                </a:cubicBezTo>
                <a:lnTo>
                  <a:pt x="77" y="43"/>
                </a:lnTo>
                <a:close/>
                <a:moveTo>
                  <a:pt x="10" y="34"/>
                </a:moveTo>
                <a:cubicBezTo>
                  <a:pt x="10" y="6"/>
                  <a:pt x="10" y="6"/>
                  <a:pt x="10" y="6"/>
                </a:cubicBezTo>
                <a:cubicBezTo>
                  <a:pt x="10" y="2"/>
                  <a:pt x="13" y="0"/>
                  <a:pt x="16" y="0"/>
                </a:cubicBezTo>
                <a:cubicBezTo>
                  <a:pt x="60" y="0"/>
                  <a:pt x="60" y="0"/>
                  <a:pt x="60" y="0"/>
                </a:cubicBezTo>
                <a:cubicBezTo>
                  <a:pt x="64" y="0"/>
                  <a:pt x="67" y="2"/>
                  <a:pt x="67" y="6"/>
                </a:cubicBezTo>
                <a:cubicBezTo>
                  <a:pt x="67" y="34"/>
                  <a:pt x="67" y="34"/>
                  <a:pt x="67" y="34"/>
                </a:cubicBezTo>
                <a:cubicBezTo>
                  <a:pt x="67" y="38"/>
                  <a:pt x="64" y="41"/>
                  <a:pt x="60" y="41"/>
                </a:cubicBezTo>
                <a:cubicBezTo>
                  <a:pt x="16" y="41"/>
                  <a:pt x="16" y="41"/>
                  <a:pt x="16" y="41"/>
                </a:cubicBezTo>
                <a:cubicBezTo>
                  <a:pt x="13" y="41"/>
                  <a:pt x="10" y="38"/>
                  <a:pt x="10" y="34"/>
                </a:cubicBezTo>
                <a:close/>
                <a:moveTo>
                  <a:pt x="15" y="34"/>
                </a:moveTo>
                <a:cubicBezTo>
                  <a:pt x="15" y="35"/>
                  <a:pt x="16" y="36"/>
                  <a:pt x="16" y="36"/>
                </a:cubicBezTo>
                <a:cubicBezTo>
                  <a:pt x="60" y="36"/>
                  <a:pt x="60" y="36"/>
                  <a:pt x="60" y="36"/>
                </a:cubicBezTo>
                <a:cubicBezTo>
                  <a:pt x="61" y="36"/>
                  <a:pt x="61" y="35"/>
                  <a:pt x="61" y="34"/>
                </a:cubicBezTo>
                <a:cubicBezTo>
                  <a:pt x="61" y="6"/>
                  <a:pt x="61" y="6"/>
                  <a:pt x="61" y="6"/>
                </a:cubicBezTo>
                <a:cubicBezTo>
                  <a:pt x="61" y="5"/>
                  <a:pt x="61" y="5"/>
                  <a:pt x="60" y="5"/>
                </a:cubicBezTo>
                <a:cubicBezTo>
                  <a:pt x="16" y="5"/>
                  <a:pt x="16" y="5"/>
                  <a:pt x="16" y="5"/>
                </a:cubicBezTo>
                <a:cubicBezTo>
                  <a:pt x="16" y="5"/>
                  <a:pt x="15" y="5"/>
                  <a:pt x="15" y="6"/>
                </a:cubicBezTo>
                <a:lnTo>
                  <a:pt x="15" y="34"/>
                </a:lnTo>
                <a:close/>
                <a:moveTo>
                  <a:pt x="42" y="47"/>
                </a:moveTo>
                <a:cubicBezTo>
                  <a:pt x="42" y="46"/>
                  <a:pt x="42" y="46"/>
                  <a:pt x="42" y="46"/>
                </a:cubicBezTo>
                <a:cubicBezTo>
                  <a:pt x="35" y="46"/>
                  <a:pt x="35" y="46"/>
                  <a:pt x="35" y="46"/>
                </a:cubicBezTo>
                <a:cubicBezTo>
                  <a:pt x="35" y="46"/>
                  <a:pt x="34" y="46"/>
                  <a:pt x="34" y="47"/>
                </a:cubicBezTo>
                <a:cubicBezTo>
                  <a:pt x="34" y="47"/>
                  <a:pt x="35" y="47"/>
                  <a:pt x="35" y="47"/>
                </a:cubicBezTo>
                <a:cubicBezTo>
                  <a:pt x="42" y="47"/>
                  <a:pt x="42" y="47"/>
                  <a:pt x="42" y="47"/>
                </a:cubicBezTo>
                <a:cubicBezTo>
                  <a:pt x="42" y="47"/>
                  <a:pt x="42" y="47"/>
                  <a:pt x="42" y="47"/>
                </a:cubicBezTo>
                <a:close/>
              </a:path>
            </a:pathLst>
          </a:custGeom>
          <a:solidFill>
            <a:srgbClr val="32ACFA"/>
          </a:solidFill>
          <a:ln w="9525">
            <a:solidFill>
              <a:srgbClr val="32ACFA"/>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AutoShape 18"/>
          <p:cNvSpPr>
            <a:spLocks/>
          </p:cNvSpPr>
          <p:nvPr/>
        </p:nvSpPr>
        <p:spPr bwMode="auto">
          <a:xfrm>
            <a:off x="6948835" y="2902226"/>
            <a:ext cx="506566" cy="4472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11152"/>
                </a:moveTo>
                <a:lnTo>
                  <a:pt x="0" y="5936"/>
                </a:lnTo>
                <a:cubicBezTo>
                  <a:pt x="0" y="5498"/>
                  <a:pt x="132" y="5116"/>
                  <a:pt x="396" y="4796"/>
                </a:cubicBezTo>
                <a:cubicBezTo>
                  <a:pt x="663" y="4479"/>
                  <a:pt x="979" y="4317"/>
                  <a:pt x="1346" y="4317"/>
                </a:cubicBezTo>
                <a:lnTo>
                  <a:pt x="6316" y="4317"/>
                </a:lnTo>
                <a:lnTo>
                  <a:pt x="6316" y="1072"/>
                </a:lnTo>
                <a:cubicBezTo>
                  <a:pt x="6316" y="781"/>
                  <a:pt x="6399" y="528"/>
                  <a:pt x="6568" y="320"/>
                </a:cubicBezTo>
                <a:cubicBezTo>
                  <a:pt x="6737" y="108"/>
                  <a:pt x="6945" y="0"/>
                  <a:pt x="7195" y="0"/>
                </a:cubicBezTo>
                <a:lnTo>
                  <a:pt x="14402" y="0"/>
                </a:lnTo>
                <a:cubicBezTo>
                  <a:pt x="14661" y="0"/>
                  <a:pt x="14877" y="108"/>
                  <a:pt x="15053" y="320"/>
                </a:cubicBezTo>
                <a:cubicBezTo>
                  <a:pt x="15227" y="528"/>
                  <a:pt x="15318" y="781"/>
                  <a:pt x="15318" y="1072"/>
                </a:cubicBezTo>
                <a:lnTo>
                  <a:pt x="15318" y="4317"/>
                </a:lnTo>
                <a:lnTo>
                  <a:pt x="20263" y="4317"/>
                </a:lnTo>
                <a:cubicBezTo>
                  <a:pt x="20630" y="4317"/>
                  <a:pt x="20943" y="4479"/>
                  <a:pt x="21205" y="4796"/>
                </a:cubicBezTo>
                <a:cubicBezTo>
                  <a:pt x="21467" y="5116"/>
                  <a:pt x="21599" y="5498"/>
                  <a:pt x="21599" y="5936"/>
                </a:cubicBezTo>
                <a:lnTo>
                  <a:pt x="21599" y="11152"/>
                </a:lnTo>
                <a:lnTo>
                  <a:pt x="0" y="11152"/>
                </a:lnTo>
                <a:close/>
                <a:moveTo>
                  <a:pt x="21599" y="12782"/>
                </a:moveTo>
                <a:lnTo>
                  <a:pt x="21599" y="19981"/>
                </a:lnTo>
                <a:cubicBezTo>
                  <a:pt x="21599" y="20425"/>
                  <a:pt x="21467" y="20801"/>
                  <a:pt x="21205" y="21121"/>
                </a:cubicBezTo>
                <a:cubicBezTo>
                  <a:pt x="20943" y="21438"/>
                  <a:pt x="20630" y="21599"/>
                  <a:pt x="20263" y="21599"/>
                </a:cubicBezTo>
                <a:lnTo>
                  <a:pt x="1346" y="21599"/>
                </a:lnTo>
                <a:cubicBezTo>
                  <a:pt x="979" y="21599"/>
                  <a:pt x="663" y="21438"/>
                  <a:pt x="396" y="21121"/>
                </a:cubicBezTo>
                <a:cubicBezTo>
                  <a:pt x="132" y="20801"/>
                  <a:pt x="0" y="20425"/>
                  <a:pt x="0" y="19981"/>
                </a:cubicBezTo>
                <a:lnTo>
                  <a:pt x="0" y="12782"/>
                </a:lnTo>
                <a:lnTo>
                  <a:pt x="8355" y="12782"/>
                </a:lnTo>
                <a:cubicBezTo>
                  <a:pt x="8340" y="12841"/>
                  <a:pt x="8333" y="12929"/>
                  <a:pt x="8333" y="13052"/>
                </a:cubicBezTo>
                <a:lnTo>
                  <a:pt x="8333" y="15199"/>
                </a:lnTo>
                <a:cubicBezTo>
                  <a:pt x="8333" y="15713"/>
                  <a:pt x="8482" y="16160"/>
                  <a:pt x="8783" y="16542"/>
                </a:cubicBezTo>
                <a:cubicBezTo>
                  <a:pt x="9085" y="16921"/>
                  <a:pt x="9462" y="17112"/>
                  <a:pt x="9914" y="17112"/>
                </a:cubicBezTo>
                <a:lnTo>
                  <a:pt x="11707" y="17112"/>
                </a:lnTo>
                <a:cubicBezTo>
                  <a:pt x="12137" y="17112"/>
                  <a:pt x="12507" y="16924"/>
                  <a:pt x="12816" y="16548"/>
                </a:cubicBezTo>
                <a:cubicBezTo>
                  <a:pt x="13124" y="16175"/>
                  <a:pt x="13278" y="15725"/>
                  <a:pt x="13278" y="15199"/>
                </a:cubicBezTo>
                <a:lnTo>
                  <a:pt x="13278" y="13052"/>
                </a:lnTo>
                <a:cubicBezTo>
                  <a:pt x="13278" y="12938"/>
                  <a:pt x="13266" y="12847"/>
                  <a:pt x="13242" y="12782"/>
                </a:cubicBezTo>
                <a:lnTo>
                  <a:pt x="21599" y="12782"/>
                </a:lnTo>
                <a:close/>
                <a:moveTo>
                  <a:pt x="8108" y="4320"/>
                </a:moveTo>
                <a:lnTo>
                  <a:pt x="13511" y="4320"/>
                </a:lnTo>
                <a:lnTo>
                  <a:pt x="13511" y="2170"/>
                </a:lnTo>
                <a:lnTo>
                  <a:pt x="8108" y="2170"/>
                </a:lnTo>
                <a:lnTo>
                  <a:pt x="8108" y="4320"/>
                </a:lnTo>
                <a:close/>
                <a:moveTo>
                  <a:pt x="11707" y="12782"/>
                </a:moveTo>
                <a:cubicBezTo>
                  <a:pt x="11849" y="12782"/>
                  <a:pt x="11922" y="12873"/>
                  <a:pt x="11929" y="13052"/>
                </a:cubicBezTo>
                <a:lnTo>
                  <a:pt x="11929" y="15199"/>
                </a:lnTo>
                <a:cubicBezTo>
                  <a:pt x="11929" y="15367"/>
                  <a:pt x="11856" y="15455"/>
                  <a:pt x="11707" y="15467"/>
                </a:cubicBezTo>
                <a:lnTo>
                  <a:pt x="9914" y="15467"/>
                </a:lnTo>
                <a:cubicBezTo>
                  <a:pt x="9758" y="15467"/>
                  <a:pt x="9675" y="15379"/>
                  <a:pt x="9667" y="15199"/>
                </a:cubicBezTo>
                <a:lnTo>
                  <a:pt x="9667" y="13052"/>
                </a:lnTo>
                <a:cubicBezTo>
                  <a:pt x="9667" y="12882"/>
                  <a:pt x="9750" y="12794"/>
                  <a:pt x="9914" y="12782"/>
                </a:cubicBezTo>
                <a:lnTo>
                  <a:pt x="11707" y="12782"/>
                </a:lnTo>
                <a:close/>
              </a:path>
            </a:pathLst>
          </a:custGeom>
          <a:solidFill>
            <a:srgbClr val="32ACFA"/>
          </a:solidFill>
          <a:ln>
            <a:solidFill>
              <a:srgbClr val="32ACFA"/>
            </a:solidFill>
          </a:ln>
          <a:effectLst/>
          <a:extLst/>
        </p:spPr>
        <p:txBody>
          <a:bodyPr lIns="38100" tIns="38100" rIns="38100" bIns="38100" anchor="ctr"/>
          <a:lstStyle/>
          <a:p>
            <a:pPr defTabSz="342528">
              <a:defRPr/>
            </a:pPr>
            <a:endParaRPr lang="es-ES" sz="2100">
              <a:solidFill>
                <a:srgbClr val="44CEB9"/>
              </a:solidFill>
              <a:effectLst>
                <a:outerShdw blurRad="38100" dist="38100" dir="2700000" algn="tl">
                  <a:srgbClr val="000000"/>
                </a:outerShdw>
              </a:effectLst>
              <a:latin typeface="Gill Sans" charset="0"/>
              <a:cs typeface="Gill Sans" charset="0"/>
              <a:sym typeface="Gill Sans" charset="0"/>
            </a:endParaRPr>
          </a:p>
        </p:txBody>
      </p:sp>
      <p:sp>
        <p:nvSpPr>
          <p:cNvPr id="36" name="AutoShape 124"/>
          <p:cNvSpPr>
            <a:spLocks/>
          </p:cNvSpPr>
          <p:nvPr/>
        </p:nvSpPr>
        <p:spPr bwMode="auto">
          <a:xfrm>
            <a:off x="4782093" y="5163670"/>
            <a:ext cx="516047" cy="38816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684" y="0"/>
                </a:moveTo>
                <a:cubicBezTo>
                  <a:pt x="20941" y="0"/>
                  <a:pt x="21159" y="103"/>
                  <a:pt x="21335" y="310"/>
                </a:cubicBezTo>
                <a:cubicBezTo>
                  <a:pt x="21511" y="518"/>
                  <a:pt x="21599" y="760"/>
                  <a:pt x="21599" y="1048"/>
                </a:cubicBezTo>
                <a:lnTo>
                  <a:pt x="21599" y="16238"/>
                </a:lnTo>
                <a:cubicBezTo>
                  <a:pt x="21599" y="16523"/>
                  <a:pt x="21511" y="16767"/>
                  <a:pt x="21335" y="16969"/>
                </a:cubicBezTo>
                <a:cubicBezTo>
                  <a:pt x="21161" y="17173"/>
                  <a:pt x="20943" y="17274"/>
                  <a:pt x="20684" y="17274"/>
                </a:cubicBezTo>
                <a:lnTo>
                  <a:pt x="19807" y="17274"/>
                </a:lnTo>
                <a:lnTo>
                  <a:pt x="19807" y="17369"/>
                </a:lnTo>
                <a:cubicBezTo>
                  <a:pt x="19807" y="17948"/>
                  <a:pt x="19709" y="18498"/>
                  <a:pt x="19513" y="19017"/>
                </a:cubicBezTo>
                <a:cubicBezTo>
                  <a:pt x="19317" y="19535"/>
                  <a:pt x="19060" y="19984"/>
                  <a:pt x="18746" y="20361"/>
                </a:cubicBezTo>
                <a:cubicBezTo>
                  <a:pt x="18433" y="20738"/>
                  <a:pt x="18051" y="21038"/>
                  <a:pt x="17608" y="21263"/>
                </a:cubicBezTo>
                <a:cubicBezTo>
                  <a:pt x="17167" y="21487"/>
                  <a:pt x="16697" y="21599"/>
                  <a:pt x="16197" y="21599"/>
                </a:cubicBezTo>
                <a:cubicBezTo>
                  <a:pt x="15705" y="21599"/>
                  <a:pt x="15237" y="21487"/>
                  <a:pt x="14796" y="21263"/>
                </a:cubicBezTo>
                <a:cubicBezTo>
                  <a:pt x="14353" y="21038"/>
                  <a:pt x="13973" y="20738"/>
                  <a:pt x="13653" y="20361"/>
                </a:cubicBezTo>
                <a:cubicBezTo>
                  <a:pt x="13332" y="19984"/>
                  <a:pt x="13077" y="19535"/>
                  <a:pt x="12886" y="19017"/>
                </a:cubicBezTo>
                <a:cubicBezTo>
                  <a:pt x="12695" y="18498"/>
                  <a:pt x="12600" y="17948"/>
                  <a:pt x="12600" y="17369"/>
                </a:cubicBezTo>
                <a:lnTo>
                  <a:pt x="12600" y="17274"/>
                </a:lnTo>
                <a:lnTo>
                  <a:pt x="9000" y="17274"/>
                </a:lnTo>
                <a:lnTo>
                  <a:pt x="9000" y="17369"/>
                </a:lnTo>
                <a:cubicBezTo>
                  <a:pt x="9000" y="17948"/>
                  <a:pt x="8904" y="18498"/>
                  <a:pt x="8713" y="19017"/>
                </a:cubicBezTo>
                <a:cubicBezTo>
                  <a:pt x="8522" y="19535"/>
                  <a:pt x="8265" y="19984"/>
                  <a:pt x="7946" y="20361"/>
                </a:cubicBezTo>
                <a:cubicBezTo>
                  <a:pt x="7628" y="20738"/>
                  <a:pt x="7244" y="21038"/>
                  <a:pt x="6803" y="21263"/>
                </a:cubicBezTo>
                <a:cubicBezTo>
                  <a:pt x="6360" y="21487"/>
                  <a:pt x="5894" y="21599"/>
                  <a:pt x="5402" y="21599"/>
                </a:cubicBezTo>
                <a:cubicBezTo>
                  <a:pt x="4910" y="21599"/>
                  <a:pt x="4442" y="21487"/>
                  <a:pt x="4004" y="21263"/>
                </a:cubicBezTo>
                <a:cubicBezTo>
                  <a:pt x="3558" y="21038"/>
                  <a:pt x="3178" y="20738"/>
                  <a:pt x="2857" y="20361"/>
                </a:cubicBezTo>
                <a:cubicBezTo>
                  <a:pt x="2537" y="19984"/>
                  <a:pt x="2282" y="19535"/>
                  <a:pt x="2091" y="19017"/>
                </a:cubicBezTo>
                <a:cubicBezTo>
                  <a:pt x="1900" y="18498"/>
                  <a:pt x="1804" y="17948"/>
                  <a:pt x="1804" y="17369"/>
                </a:cubicBezTo>
                <a:lnTo>
                  <a:pt x="1804" y="17274"/>
                </a:lnTo>
                <a:lnTo>
                  <a:pt x="891" y="17274"/>
                </a:lnTo>
                <a:cubicBezTo>
                  <a:pt x="646" y="17274"/>
                  <a:pt x="438" y="17168"/>
                  <a:pt x="262" y="16960"/>
                </a:cubicBezTo>
                <a:cubicBezTo>
                  <a:pt x="88" y="16756"/>
                  <a:pt x="0" y="16514"/>
                  <a:pt x="0" y="16238"/>
                </a:cubicBezTo>
                <a:lnTo>
                  <a:pt x="0" y="10668"/>
                </a:lnTo>
                <a:cubicBezTo>
                  <a:pt x="0" y="10441"/>
                  <a:pt x="26" y="10205"/>
                  <a:pt x="68" y="9960"/>
                </a:cubicBezTo>
                <a:cubicBezTo>
                  <a:pt x="117" y="9715"/>
                  <a:pt x="186" y="9474"/>
                  <a:pt x="274" y="9229"/>
                </a:cubicBezTo>
                <a:cubicBezTo>
                  <a:pt x="364" y="8984"/>
                  <a:pt x="470" y="8751"/>
                  <a:pt x="592" y="8526"/>
                </a:cubicBezTo>
                <a:cubicBezTo>
                  <a:pt x="712" y="8301"/>
                  <a:pt x="837" y="8114"/>
                  <a:pt x="959" y="7964"/>
                </a:cubicBezTo>
                <a:lnTo>
                  <a:pt x="3573" y="4906"/>
                </a:lnTo>
                <a:cubicBezTo>
                  <a:pt x="3697" y="4759"/>
                  <a:pt x="3857" y="4613"/>
                  <a:pt x="4053" y="4474"/>
                </a:cubicBezTo>
                <a:cubicBezTo>
                  <a:pt x="4248" y="4330"/>
                  <a:pt x="4449" y="4209"/>
                  <a:pt x="4657" y="4109"/>
                </a:cubicBezTo>
                <a:cubicBezTo>
                  <a:pt x="4863" y="4005"/>
                  <a:pt x="5071" y="3927"/>
                  <a:pt x="5277" y="3867"/>
                </a:cubicBezTo>
                <a:cubicBezTo>
                  <a:pt x="5485" y="3806"/>
                  <a:pt x="5686" y="3775"/>
                  <a:pt x="5882" y="3775"/>
                </a:cubicBezTo>
                <a:lnTo>
                  <a:pt x="6820" y="3775"/>
                </a:lnTo>
                <a:lnTo>
                  <a:pt x="6820" y="1048"/>
                </a:lnTo>
                <a:cubicBezTo>
                  <a:pt x="6820" y="760"/>
                  <a:pt x="6908" y="518"/>
                  <a:pt x="7082" y="310"/>
                </a:cubicBezTo>
                <a:cubicBezTo>
                  <a:pt x="7258" y="103"/>
                  <a:pt x="7464" y="0"/>
                  <a:pt x="7699" y="0"/>
                </a:cubicBezTo>
                <a:lnTo>
                  <a:pt x="20684" y="0"/>
                </a:lnTo>
                <a:close/>
                <a:moveTo>
                  <a:pt x="6791" y="6438"/>
                </a:moveTo>
                <a:lnTo>
                  <a:pt x="5877" y="6438"/>
                </a:lnTo>
                <a:cubicBezTo>
                  <a:pt x="5799" y="6438"/>
                  <a:pt x="5676" y="6478"/>
                  <a:pt x="5510" y="6550"/>
                </a:cubicBezTo>
                <a:cubicBezTo>
                  <a:pt x="5341" y="6625"/>
                  <a:pt x="5223" y="6703"/>
                  <a:pt x="5152" y="6784"/>
                </a:cubicBezTo>
                <a:lnTo>
                  <a:pt x="2539" y="9830"/>
                </a:lnTo>
                <a:cubicBezTo>
                  <a:pt x="2478" y="9902"/>
                  <a:pt x="2412" y="10040"/>
                  <a:pt x="2351" y="10239"/>
                </a:cubicBezTo>
                <a:cubicBezTo>
                  <a:pt x="2289" y="10435"/>
                  <a:pt x="2257" y="10579"/>
                  <a:pt x="2257" y="10671"/>
                </a:cubicBezTo>
                <a:lnTo>
                  <a:pt x="2257" y="11527"/>
                </a:lnTo>
                <a:lnTo>
                  <a:pt x="6795" y="11527"/>
                </a:lnTo>
                <a:lnTo>
                  <a:pt x="6795" y="6438"/>
                </a:lnTo>
                <a:close/>
                <a:moveTo>
                  <a:pt x="5395" y="18942"/>
                </a:moveTo>
                <a:cubicBezTo>
                  <a:pt x="5760" y="18942"/>
                  <a:pt x="6075" y="18789"/>
                  <a:pt x="6340" y="18481"/>
                </a:cubicBezTo>
                <a:cubicBezTo>
                  <a:pt x="6600" y="18173"/>
                  <a:pt x="6732" y="17804"/>
                  <a:pt x="6732" y="17372"/>
                </a:cubicBezTo>
                <a:cubicBezTo>
                  <a:pt x="6732" y="16940"/>
                  <a:pt x="6600" y="16569"/>
                  <a:pt x="6340" y="16252"/>
                </a:cubicBezTo>
                <a:cubicBezTo>
                  <a:pt x="6078" y="15944"/>
                  <a:pt x="5762" y="15786"/>
                  <a:pt x="5395" y="15786"/>
                </a:cubicBezTo>
                <a:cubicBezTo>
                  <a:pt x="5027" y="15786"/>
                  <a:pt x="4714" y="15941"/>
                  <a:pt x="4444" y="16246"/>
                </a:cubicBezTo>
                <a:cubicBezTo>
                  <a:pt x="4180" y="16557"/>
                  <a:pt x="4045" y="16932"/>
                  <a:pt x="4045" y="17372"/>
                </a:cubicBezTo>
                <a:cubicBezTo>
                  <a:pt x="4045" y="17804"/>
                  <a:pt x="4180" y="18173"/>
                  <a:pt x="4444" y="18481"/>
                </a:cubicBezTo>
                <a:cubicBezTo>
                  <a:pt x="4714" y="18789"/>
                  <a:pt x="5027" y="18942"/>
                  <a:pt x="5395" y="18942"/>
                </a:cubicBezTo>
                <a:moveTo>
                  <a:pt x="16195" y="18942"/>
                </a:moveTo>
                <a:cubicBezTo>
                  <a:pt x="16560" y="18942"/>
                  <a:pt x="16878" y="18789"/>
                  <a:pt x="17145" y="18481"/>
                </a:cubicBezTo>
                <a:cubicBezTo>
                  <a:pt x="17409" y="18173"/>
                  <a:pt x="17544" y="17804"/>
                  <a:pt x="17544" y="17372"/>
                </a:cubicBezTo>
                <a:cubicBezTo>
                  <a:pt x="17544" y="16940"/>
                  <a:pt x="17412" y="16569"/>
                  <a:pt x="17150" y="16252"/>
                </a:cubicBezTo>
                <a:cubicBezTo>
                  <a:pt x="16890" y="15944"/>
                  <a:pt x="16572" y="15786"/>
                  <a:pt x="16195" y="15786"/>
                </a:cubicBezTo>
                <a:cubicBezTo>
                  <a:pt x="15827" y="15786"/>
                  <a:pt x="15514" y="15941"/>
                  <a:pt x="15249" y="16246"/>
                </a:cubicBezTo>
                <a:cubicBezTo>
                  <a:pt x="14990" y="16557"/>
                  <a:pt x="14857" y="16932"/>
                  <a:pt x="14857" y="17372"/>
                </a:cubicBezTo>
                <a:cubicBezTo>
                  <a:pt x="14857" y="17804"/>
                  <a:pt x="14990" y="18173"/>
                  <a:pt x="15249" y="18481"/>
                </a:cubicBezTo>
                <a:cubicBezTo>
                  <a:pt x="15511" y="18789"/>
                  <a:pt x="15825" y="18942"/>
                  <a:pt x="16195" y="18942"/>
                </a:cubicBezTo>
              </a:path>
            </a:pathLst>
          </a:custGeom>
          <a:solidFill>
            <a:srgbClr val="32ACFA"/>
          </a:solidFill>
          <a:ln>
            <a:solidFill>
              <a:srgbClr val="32ACFA"/>
            </a:solidFill>
          </a:ln>
          <a:effectLst/>
          <a:extLst/>
        </p:spPr>
        <p:txBody>
          <a:bodyPr lIns="38100" tIns="38100" rIns="38100" bIns="38100" anchor="ctr"/>
          <a:lstStyle/>
          <a:p>
            <a:pPr marL="0" marR="0" lvl="0" indent="0" defTabSz="342528" eaLnBrk="1" fontAlgn="auto" latinLnBrk="0" hangingPunct="1">
              <a:lnSpc>
                <a:spcPct val="100000"/>
              </a:lnSpc>
              <a:spcBef>
                <a:spcPts val="0"/>
              </a:spcBef>
              <a:spcAft>
                <a:spcPts val="0"/>
              </a:spcAft>
              <a:buClrTx/>
              <a:buSzTx/>
              <a:buFontTx/>
              <a:buNone/>
              <a:tabLst/>
              <a:defRPr/>
            </a:pPr>
            <a:endParaRPr kumimoji="0" lang="es-ES" sz="2100" b="0" i="0" u="none" strike="noStrike" kern="0" cap="none" spc="0" normalizeH="0" baseline="0" noProof="0">
              <a:ln>
                <a:noFill/>
              </a:ln>
              <a:solidFill>
                <a:srgbClr val="44CEB9"/>
              </a:solidFill>
              <a:effectLst>
                <a:outerShdw blurRad="38100" dist="38100" dir="2700000" algn="tl">
                  <a:srgbClr val="000000"/>
                </a:outerShdw>
              </a:effectLst>
              <a:uLnTx/>
              <a:uFillTx/>
              <a:latin typeface="Gill Sans" charset="0"/>
              <a:cs typeface="Gill Sans" charset="0"/>
              <a:sym typeface="Gill Sans" charset="0"/>
            </a:endParaRPr>
          </a:p>
        </p:txBody>
      </p:sp>
    </p:spTree>
    <p:extLst>
      <p:ext uri="{BB962C8B-B14F-4D97-AF65-F5344CB8AC3E}">
        <p14:creationId xmlns:p14="http://schemas.microsoft.com/office/powerpoint/2010/main" val="30784894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0CF28EE-A360-46B6-9D76-D2CA1E8777C8}"/>
              </a:ext>
            </a:extLst>
          </p:cNvPr>
          <p:cNvCxnSpPr>
            <a:cxnSpLocks/>
          </p:cNvCxnSpPr>
          <p:nvPr/>
        </p:nvCxnSpPr>
        <p:spPr>
          <a:xfrm>
            <a:off x="6105679" y="0"/>
            <a:ext cx="0" cy="6858000"/>
          </a:xfrm>
          <a:prstGeom prst="line">
            <a:avLst/>
          </a:prstGeom>
          <a:ln w="7620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457136F-E886-4646-B8A2-BD6F5A7BCC5E}"/>
              </a:ext>
            </a:extLst>
          </p:cNvPr>
          <p:cNvSpPr txBox="1"/>
          <p:nvPr/>
        </p:nvSpPr>
        <p:spPr>
          <a:xfrm>
            <a:off x="4194297" y="2406926"/>
            <a:ext cx="1629285"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600" b="1" i="0" u="none" strike="noStrike" kern="1200" cap="none" spc="0" normalizeH="0" baseline="0" noProof="0" dirty="0" smtClean="0">
                <a:ln>
                  <a:noFill/>
                </a:ln>
                <a:solidFill>
                  <a:prstClr val="black">
                    <a:lumMod val="95000"/>
                    <a:lumOff val="5000"/>
                  </a:prstClr>
                </a:solidFill>
                <a:effectLst/>
                <a:uLnTx/>
                <a:uFillTx/>
                <a:latin typeface="Agency FB" panose="020B0503020202020204" pitchFamily="34" charset="0"/>
                <a:ea typeface="+mn-ea"/>
                <a:cs typeface="+mn-cs"/>
              </a:rPr>
              <a:t>0</a:t>
            </a:r>
            <a:r>
              <a:rPr kumimoji="0" lang="ru-RU" sz="9600" b="1" i="0" u="none" strike="noStrike" kern="1200" cap="none" spc="0" normalizeH="0" baseline="0" noProof="0" dirty="0" smtClean="0">
                <a:ln>
                  <a:noFill/>
                </a:ln>
                <a:solidFill>
                  <a:prstClr val="black">
                    <a:lumMod val="95000"/>
                    <a:lumOff val="5000"/>
                  </a:prstClr>
                </a:solidFill>
                <a:effectLst/>
                <a:uLnTx/>
                <a:uFillTx/>
                <a:latin typeface="Agency FB" panose="020B0503020202020204" pitchFamily="34" charset="0"/>
                <a:ea typeface="+mn-ea"/>
                <a:cs typeface="+mn-cs"/>
              </a:rPr>
              <a:t>7</a:t>
            </a:r>
            <a:endParaRPr kumimoji="0" lang="en-US" sz="9600" b="1" i="0" u="none" strike="noStrike" kern="1200" cap="none" spc="0" normalizeH="0" baseline="0" noProof="0" dirty="0">
              <a:ln>
                <a:noFill/>
              </a:ln>
              <a:solidFill>
                <a:prstClr val="black">
                  <a:lumMod val="95000"/>
                  <a:lumOff val="5000"/>
                </a:prstClr>
              </a:solidFill>
              <a:effectLst/>
              <a:uLnTx/>
              <a:uFillTx/>
              <a:latin typeface="Agency FB" panose="020B0503020202020204" pitchFamily="34" charset="0"/>
              <a:ea typeface="+mn-ea"/>
              <a:cs typeface="+mn-cs"/>
            </a:endParaRPr>
          </a:p>
        </p:txBody>
      </p:sp>
      <p:sp>
        <p:nvSpPr>
          <p:cNvPr id="21" name="TextBox 20">
            <a:extLst>
              <a:ext uri="{FF2B5EF4-FFF2-40B4-BE49-F238E27FC236}">
                <a16:creationId xmlns:a16="http://schemas.microsoft.com/office/drawing/2014/main" id="{D9585C00-05E0-4883-9190-5990845EE348}"/>
              </a:ext>
            </a:extLst>
          </p:cNvPr>
          <p:cNvSpPr txBox="1"/>
          <p:nvPr/>
        </p:nvSpPr>
        <p:spPr>
          <a:xfrm>
            <a:off x="7964234" y="2939970"/>
            <a:ext cx="3268611" cy="400110"/>
          </a:xfrm>
          <a:prstGeom prst="rect">
            <a:avLst/>
          </a:prstGeom>
          <a:noFill/>
        </p:spPr>
        <p:txBody>
          <a:bodyPr wrap="square" rtlCol="0">
            <a:spAutoFit/>
          </a:bodyPr>
          <a:lstStyle/>
          <a:p>
            <a:pPr lvl="0">
              <a:defRPr/>
            </a:pPr>
            <a:r>
              <a:rPr lang="ru-RU" sz="2000" b="1" dirty="0" smtClean="0">
                <a:solidFill>
                  <a:prstClr val="black">
                    <a:lumMod val="95000"/>
                    <a:lumOff val="5000"/>
                  </a:prstClr>
                </a:solidFill>
                <a:latin typeface="Century Gothic" panose="020B0502020202020204" pitchFamily="34" charset="0"/>
                <a:ea typeface="Tahoma" panose="020B0604030504040204" pitchFamily="34" charset="0"/>
                <a:cs typeface="Tahoma" panose="020B0604030504040204" pitchFamily="34" charset="0"/>
              </a:rPr>
              <a:t>Авиационная отрасль</a:t>
            </a:r>
            <a:endParaRPr lang="ru-RU" sz="2000" b="1" dirty="0">
              <a:solidFill>
                <a:prstClr val="black">
                  <a:lumMod val="95000"/>
                  <a:lumOff val="5000"/>
                </a:prstClr>
              </a:solidFill>
              <a:latin typeface="Century Gothic" panose="020B0502020202020204" pitchFamily="34" charset="0"/>
              <a:ea typeface="Tahoma" panose="020B0604030504040204" pitchFamily="34" charset="0"/>
              <a:cs typeface="Tahoma" panose="020B0604030504040204" pitchFamily="34" charset="0"/>
            </a:endParaRPr>
          </a:p>
        </p:txBody>
      </p:sp>
      <p:grpSp>
        <p:nvGrpSpPr>
          <p:cNvPr id="24" name="Group 23">
            <a:extLst>
              <a:ext uri="{FF2B5EF4-FFF2-40B4-BE49-F238E27FC236}">
                <a16:creationId xmlns:a16="http://schemas.microsoft.com/office/drawing/2014/main" id="{F2F30479-59C3-4007-9D72-45C1977815ED}"/>
              </a:ext>
            </a:extLst>
          </p:cNvPr>
          <p:cNvGrpSpPr/>
          <p:nvPr/>
        </p:nvGrpSpPr>
        <p:grpSpPr>
          <a:xfrm>
            <a:off x="4418647" y="3682469"/>
            <a:ext cx="6814198" cy="336550"/>
            <a:chOff x="4422221" y="3127375"/>
            <a:chExt cx="6814198" cy="336550"/>
          </a:xfrm>
          <a:solidFill>
            <a:schemeClr val="tx1">
              <a:lumMod val="95000"/>
              <a:lumOff val="5000"/>
            </a:schemeClr>
          </a:solidFill>
        </p:grpSpPr>
        <p:cxnSp>
          <p:nvCxnSpPr>
            <p:cNvPr id="25" name="Straight Connector 24">
              <a:extLst>
                <a:ext uri="{FF2B5EF4-FFF2-40B4-BE49-F238E27FC236}">
                  <a16:creationId xmlns:a16="http://schemas.microsoft.com/office/drawing/2014/main" id="{A8A0193E-C41C-46B0-9C39-BB9B95D912EA}"/>
                </a:ext>
              </a:extLst>
            </p:cNvPr>
            <p:cNvCxnSpPr>
              <a:cxnSpLocks/>
            </p:cNvCxnSpPr>
            <p:nvPr/>
          </p:nvCxnSpPr>
          <p:spPr>
            <a:xfrm flipH="1" flipV="1">
              <a:off x="4422221" y="3295567"/>
              <a:ext cx="6814198" cy="83"/>
            </a:xfrm>
            <a:prstGeom prst="line">
              <a:avLst/>
            </a:prstGeom>
            <a:grpFill/>
            <a:ln w="31750" cap="rnd">
              <a:solidFill>
                <a:schemeClr val="tx1">
                  <a:lumMod val="95000"/>
                  <a:lumOff val="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31BD03F9-C5A7-4EA7-A8F9-E5EA204140FE}"/>
                </a:ext>
              </a:extLst>
            </p:cNvPr>
            <p:cNvSpPr/>
            <p:nvPr/>
          </p:nvSpPr>
          <p:spPr>
            <a:xfrm>
              <a:off x="5967483" y="3153880"/>
              <a:ext cx="283540" cy="283540"/>
            </a:xfrm>
            <a:prstGeom prst="ellipse">
              <a:avLst/>
            </a:prstGeom>
            <a:solidFill>
              <a:srgbClr val="32ACFA"/>
            </a:solidFill>
            <a:ln>
              <a:solidFill>
                <a:srgbClr val="85EB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endParaRPr>
            </a:p>
          </p:txBody>
        </p:sp>
        <p:sp>
          <p:nvSpPr>
            <p:cNvPr id="27" name="Circle: Hollow 26">
              <a:extLst>
                <a:ext uri="{FF2B5EF4-FFF2-40B4-BE49-F238E27FC236}">
                  <a16:creationId xmlns:a16="http://schemas.microsoft.com/office/drawing/2014/main" id="{A976E9F3-FF31-4223-A98B-FE04C2010639}"/>
                </a:ext>
              </a:extLst>
            </p:cNvPr>
            <p:cNvSpPr/>
            <p:nvPr/>
          </p:nvSpPr>
          <p:spPr>
            <a:xfrm>
              <a:off x="5940978" y="3127375"/>
              <a:ext cx="336550" cy="336550"/>
            </a:xfrm>
            <a:prstGeom prst="donut">
              <a:avLst>
                <a:gd name="adj" fmla="val 7064"/>
              </a:avLst>
            </a:prstGeom>
            <a:grp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331A9D28-1400-44DE-90B0-B91A38328D3B}"/>
                </a:ext>
              </a:extLst>
            </p:cNvPr>
            <p:cNvSpPr/>
            <p:nvPr/>
          </p:nvSpPr>
          <p:spPr>
            <a:xfrm>
              <a:off x="6033053" y="3219450"/>
              <a:ext cx="152400" cy="152400"/>
            </a:xfrm>
            <a:prstGeom prst="ellipse">
              <a:avLst/>
            </a:prstGeom>
            <a:grp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grpSp>
      <p:grpSp>
        <p:nvGrpSpPr>
          <p:cNvPr id="41" name="Group 40">
            <a:extLst>
              <a:ext uri="{FF2B5EF4-FFF2-40B4-BE49-F238E27FC236}">
                <a16:creationId xmlns:a16="http://schemas.microsoft.com/office/drawing/2014/main" id="{897D3E2F-487F-4E91-A855-5F21A52081E1}"/>
              </a:ext>
            </a:extLst>
          </p:cNvPr>
          <p:cNvGrpSpPr/>
          <p:nvPr/>
        </p:nvGrpSpPr>
        <p:grpSpPr>
          <a:xfrm>
            <a:off x="1314705" y="192675"/>
            <a:ext cx="6649529" cy="1604585"/>
            <a:chOff x="1330979" y="233740"/>
            <a:chExt cx="6649529" cy="1604585"/>
          </a:xfrm>
        </p:grpSpPr>
        <p:grpSp>
          <p:nvGrpSpPr>
            <p:cNvPr id="10" name="Group 9">
              <a:extLst>
                <a:ext uri="{FF2B5EF4-FFF2-40B4-BE49-F238E27FC236}">
                  <a16:creationId xmlns:a16="http://schemas.microsoft.com/office/drawing/2014/main" id="{B446595E-D72E-4DD1-947B-6689D008485A}"/>
                </a:ext>
              </a:extLst>
            </p:cNvPr>
            <p:cNvGrpSpPr/>
            <p:nvPr/>
          </p:nvGrpSpPr>
          <p:grpSpPr>
            <a:xfrm>
              <a:off x="1619296" y="1501775"/>
              <a:ext cx="6064204" cy="336550"/>
              <a:chOff x="1553284" y="3127375"/>
              <a:chExt cx="6157688" cy="336550"/>
            </a:xfrm>
          </p:grpSpPr>
          <p:cxnSp>
            <p:nvCxnSpPr>
              <p:cNvPr id="11" name="Straight Connector 10">
                <a:extLst>
                  <a:ext uri="{FF2B5EF4-FFF2-40B4-BE49-F238E27FC236}">
                    <a16:creationId xmlns:a16="http://schemas.microsoft.com/office/drawing/2014/main" id="{AB778996-AD30-4FBF-A783-1332ACBC832D}"/>
                  </a:ext>
                </a:extLst>
              </p:cNvPr>
              <p:cNvCxnSpPr>
                <a:cxnSpLocks/>
              </p:cNvCxnSpPr>
              <p:nvPr/>
            </p:nvCxnSpPr>
            <p:spPr>
              <a:xfrm flipH="1">
                <a:off x="1553284" y="3295567"/>
                <a:ext cx="6157688" cy="83"/>
              </a:xfrm>
              <a:prstGeom prst="line">
                <a:avLst/>
              </a:prstGeom>
              <a:ln w="3175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0C3F866E-413D-401C-AD9F-F8C2AEA5119B}"/>
                  </a:ext>
                </a:extLst>
              </p:cNvPr>
              <p:cNvSpPr/>
              <p:nvPr/>
            </p:nvSpPr>
            <p:spPr>
              <a:xfrm>
                <a:off x="5967483" y="3153880"/>
                <a:ext cx="283540" cy="283540"/>
              </a:xfrm>
              <a:prstGeom prst="ellipse">
                <a:avLst/>
              </a:prstGeom>
              <a:solidFill>
                <a:srgbClr val="32ACFA"/>
              </a:solidFill>
              <a:ln>
                <a:solidFill>
                  <a:srgbClr val="85EB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endParaRPr>
              </a:p>
            </p:txBody>
          </p:sp>
          <p:sp>
            <p:nvSpPr>
              <p:cNvPr id="13" name="Circle: Hollow 12">
                <a:extLst>
                  <a:ext uri="{FF2B5EF4-FFF2-40B4-BE49-F238E27FC236}">
                    <a16:creationId xmlns:a16="http://schemas.microsoft.com/office/drawing/2014/main" id="{A443766E-CCA8-406C-ACC0-5D2E9F077FE8}"/>
                  </a:ext>
                </a:extLst>
              </p:cNvPr>
              <p:cNvSpPr/>
              <p:nvPr/>
            </p:nvSpPr>
            <p:spPr>
              <a:xfrm>
                <a:off x="5940978" y="3127375"/>
                <a:ext cx="336550" cy="336550"/>
              </a:xfrm>
              <a:prstGeom prst="donut">
                <a:avLst>
                  <a:gd name="adj" fmla="val 7064"/>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E0DB6A4C-91D6-407D-91BF-A87FED17C39F}"/>
                  </a:ext>
                </a:extLst>
              </p:cNvPr>
              <p:cNvSpPr/>
              <p:nvPr/>
            </p:nvSpPr>
            <p:spPr>
              <a:xfrm>
                <a:off x="6033053" y="3219450"/>
                <a:ext cx="152400" cy="152400"/>
              </a:xfrm>
              <a:prstGeom prst="ellips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grpSp>
        <p:sp>
          <p:nvSpPr>
            <p:cNvPr id="15" name="TextBox 14">
              <a:extLst>
                <a:ext uri="{FF2B5EF4-FFF2-40B4-BE49-F238E27FC236}">
                  <a16:creationId xmlns:a16="http://schemas.microsoft.com/office/drawing/2014/main" id="{001181C0-CF60-423E-837F-F4EB8CEDDE04}"/>
                </a:ext>
              </a:extLst>
            </p:cNvPr>
            <p:cNvSpPr txBox="1"/>
            <p:nvPr/>
          </p:nvSpPr>
          <p:spPr>
            <a:xfrm>
              <a:off x="6351223" y="233740"/>
              <a:ext cx="1629285"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600" b="1" i="0" u="none" strike="noStrike" kern="1200" cap="none" spc="0" normalizeH="0" baseline="0" noProof="0" dirty="0" smtClean="0">
                  <a:ln>
                    <a:noFill/>
                  </a:ln>
                  <a:solidFill>
                    <a:prstClr val="black">
                      <a:lumMod val="95000"/>
                      <a:lumOff val="5000"/>
                    </a:prstClr>
                  </a:solidFill>
                  <a:effectLst/>
                  <a:uLnTx/>
                  <a:uFillTx/>
                  <a:latin typeface="Agency FB" panose="020B0503020202020204" pitchFamily="34" charset="0"/>
                  <a:ea typeface="+mn-ea"/>
                  <a:cs typeface="+mn-cs"/>
                </a:rPr>
                <a:t>0</a:t>
              </a:r>
              <a:r>
                <a:rPr kumimoji="0" lang="ru-RU" sz="9600" b="1" i="0" u="none" strike="noStrike" kern="1200" cap="none" spc="0" normalizeH="0" baseline="0" noProof="0" dirty="0" smtClean="0">
                  <a:ln>
                    <a:noFill/>
                  </a:ln>
                  <a:solidFill>
                    <a:prstClr val="black">
                      <a:lumMod val="95000"/>
                      <a:lumOff val="5000"/>
                    </a:prstClr>
                  </a:solidFill>
                  <a:effectLst/>
                  <a:uLnTx/>
                  <a:uFillTx/>
                  <a:latin typeface="Agency FB" panose="020B0503020202020204" pitchFamily="34" charset="0"/>
                  <a:ea typeface="+mn-ea"/>
                  <a:cs typeface="+mn-cs"/>
                </a:rPr>
                <a:t>6</a:t>
              </a:r>
              <a:endParaRPr kumimoji="0" lang="en-US" sz="9600" b="1" i="0" u="none" strike="noStrike" kern="1200" cap="none" spc="0" normalizeH="0" baseline="0" noProof="0" dirty="0">
                <a:ln>
                  <a:noFill/>
                </a:ln>
                <a:solidFill>
                  <a:prstClr val="black">
                    <a:lumMod val="95000"/>
                    <a:lumOff val="5000"/>
                  </a:prstClr>
                </a:solidFill>
                <a:effectLst/>
                <a:uLnTx/>
                <a:uFillTx/>
                <a:latin typeface="Agency FB" panose="020B0503020202020204" pitchFamily="34" charset="0"/>
                <a:ea typeface="+mn-ea"/>
                <a:cs typeface="+mn-cs"/>
              </a:endParaRPr>
            </a:p>
          </p:txBody>
        </p:sp>
        <p:sp>
          <p:nvSpPr>
            <p:cNvPr id="18" name="TextBox 17">
              <a:extLst>
                <a:ext uri="{FF2B5EF4-FFF2-40B4-BE49-F238E27FC236}">
                  <a16:creationId xmlns:a16="http://schemas.microsoft.com/office/drawing/2014/main" id="{B7DCDC61-A70B-43BA-A3BC-6F2EB8110427}"/>
                </a:ext>
              </a:extLst>
            </p:cNvPr>
            <p:cNvSpPr txBox="1"/>
            <p:nvPr/>
          </p:nvSpPr>
          <p:spPr>
            <a:xfrm>
              <a:off x="1330979" y="766462"/>
              <a:ext cx="3494960" cy="400110"/>
            </a:xfrm>
            <a:prstGeom prst="rect">
              <a:avLst/>
            </a:prstGeom>
            <a:noFill/>
          </p:spPr>
          <p:txBody>
            <a:bodyPr wrap="square" rtlCol="0">
              <a:spAutoFit/>
            </a:bodyPr>
            <a:lstStyle/>
            <a:p>
              <a:pPr lvl="0" algn="ctr">
                <a:defRPr/>
              </a:pPr>
              <a:r>
                <a:rPr lang="ru-RU" sz="2000" b="1" dirty="0" smtClean="0">
                  <a:solidFill>
                    <a:prstClr val="black">
                      <a:lumMod val="95000"/>
                      <a:lumOff val="5000"/>
                    </a:prstClr>
                  </a:solidFill>
                  <a:latin typeface="Century Gothic" panose="020B0502020202020204" pitchFamily="34" charset="0"/>
                  <a:ea typeface="Tahoma" panose="020B0604030504040204" pitchFamily="34" charset="0"/>
                  <a:cs typeface="Tahoma" panose="020B0604030504040204" pitchFamily="34" charset="0"/>
                </a:rPr>
                <a:t>Политика </a:t>
              </a:r>
              <a:r>
                <a:rPr lang="ru-RU" sz="2000" b="1" dirty="0">
                  <a:solidFill>
                    <a:prstClr val="black">
                      <a:lumMod val="95000"/>
                      <a:lumOff val="5000"/>
                    </a:prstClr>
                  </a:solidFill>
                  <a:latin typeface="Century Gothic" panose="020B0502020202020204" pitchFamily="34" charset="0"/>
                  <a:ea typeface="Tahoma" panose="020B0604030504040204" pitchFamily="34" charset="0"/>
                  <a:cs typeface="Tahoma" panose="020B0604030504040204" pitchFamily="34" charset="0"/>
                </a:rPr>
                <a:t>гарантий</a:t>
              </a:r>
              <a:endParaRPr kumimoji="0" lang="en-US" sz="2000" b="1" i="0" u="none" strike="noStrike" kern="1200" cap="none" spc="0" normalizeH="0" baseline="0" noProof="0" dirty="0">
                <a:ln>
                  <a:noFill/>
                </a:ln>
                <a:solidFill>
                  <a:prstClr val="black">
                    <a:lumMod val="95000"/>
                    <a:lumOff val="5000"/>
                  </a:prstClr>
                </a:solidFill>
                <a:effectLst/>
                <a:uLnTx/>
                <a:uFillTx/>
                <a:latin typeface="Century Gothic" panose="020B0502020202020204" pitchFamily="34" charset="0"/>
                <a:ea typeface="Tahoma" panose="020B0604030504040204" pitchFamily="34" charset="0"/>
                <a:cs typeface="Tahoma" panose="020B0604030504040204" pitchFamily="34" charset="0"/>
              </a:endParaRPr>
            </a:p>
          </p:txBody>
        </p:sp>
        <p:sp>
          <p:nvSpPr>
            <p:cNvPr id="31" name="Oval 30">
              <a:extLst>
                <a:ext uri="{FF2B5EF4-FFF2-40B4-BE49-F238E27FC236}">
                  <a16:creationId xmlns:a16="http://schemas.microsoft.com/office/drawing/2014/main" id="{AF213348-5BAD-42BB-9340-354673EBF8F2}"/>
                </a:ext>
              </a:extLst>
            </p:cNvPr>
            <p:cNvSpPr/>
            <p:nvPr/>
          </p:nvSpPr>
          <p:spPr>
            <a:xfrm>
              <a:off x="4654073" y="572966"/>
              <a:ext cx="838200" cy="838200"/>
            </a:xfrm>
            <a:prstGeom prst="ellips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grpSp>
      <p:sp>
        <p:nvSpPr>
          <p:cNvPr id="23" name="Oval 22">
            <a:extLst>
              <a:ext uri="{FF2B5EF4-FFF2-40B4-BE49-F238E27FC236}">
                <a16:creationId xmlns:a16="http://schemas.microsoft.com/office/drawing/2014/main" id="{41D4A034-A8E6-484F-9042-245CDC567591}"/>
              </a:ext>
            </a:extLst>
          </p:cNvPr>
          <p:cNvSpPr/>
          <p:nvPr/>
        </p:nvSpPr>
        <p:spPr>
          <a:xfrm>
            <a:off x="6771903" y="2728953"/>
            <a:ext cx="838200" cy="838200"/>
          </a:xfrm>
          <a:prstGeom prst="ellips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grpSp>
        <p:nvGrpSpPr>
          <p:cNvPr id="42" name="Group 41">
            <a:extLst>
              <a:ext uri="{FF2B5EF4-FFF2-40B4-BE49-F238E27FC236}">
                <a16:creationId xmlns:a16="http://schemas.microsoft.com/office/drawing/2014/main" id="{9BE78EC2-2387-4D3A-9CAD-2A27506E5AE4}"/>
              </a:ext>
            </a:extLst>
          </p:cNvPr>
          <p:cNvGrpSpPr/>
          <p:nvPr/>
        </p:nvGrpSpPr>
        <p:grpSpPr>
          <a:xfrm>
            <a:off x="1855009" y="4618028"/>
            <a:ext cx="6109225" cy="1604585"/>
            <a:chOff x="1858583" y="233740"/>
            <a:chExt cx="6109225" cy="1604585"/>
          </a:xfrm>
        </p:grpSpPr>
        <p:grpSp>
          <p:nvGrpSpPr>
            <p:cNvPr id="43" name="Group 42">
              <a:extLst>
                <a:ext uri="{FF2B5EF4-FFF2-40B4-BE49-F238E27FC236}">
                  <a16:creationId xmlns:a16="http://schemas.microsoft.com/office/drawing/2014/main" id="{D8BA2771-C9E3-44F3-BD77-D657DE156F8C}"/>
                </a:ext>
              </a:extLst>
            </p:cNvPr>
            <p:cNvGrpSpPr/>
            <p:nvPr/>
          </p:nvGrpSpPr>
          <p:grpSpPr>
            <a:xfrm>
              <a:off x="1858583" y="1501775"/>
              <a:ext cx="5824917" cy="336550"/>
              <a:chOff x="1796260" y="3127375"/>
              <a:chExt cx="5914713" cy="336550"/>
            </a:xfrm>
          </p:grpSpPr>
          <p:cxnSp>
            <p:nvCxnSpPr>
              <p:cNvPr id="51" name="Straight Connector 50">
                <a:extLst>
                  <a:ext uri="{FF2B5EF4-FFF2-40B4-BE49-F238E27FC236}">
                    <a16:creationId xmlns:a16="http://schemas.microsoft.com/office/drawing/2014/main" id="{A985DC68-6AF1-4498-911F-A92816E066A5}"/>
                  </a:ext>
                </a:extLst>
              </p:cNvPr>
              <p:cNvCxnSpPr>
                <a:cxnSpLocks/>
              </p:cNvCxnSpPr>
              <p:nvPr/>
            </p:nvCxnSpPr>
            <p:spPr>
              <a:xfrm flipH="1">
                <a:off x="1796260" y="3295567"/>
                <a:ext cx="5914713" cy="0"/>
              </a:xfrm>
              <a:prstGeom prst="line">
                <a:avLst/>
              </a:prstGeom>
              <a:ln w="3175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4D9C89A5-98C5-42D9-9023-A70CB8909CF4}"/>
                  </a:ext>
                </a:extLst>
              </p:cNvPr>
              <p:cNvSpPr/>
              <p:nvPr/>
            </p:nvSpPr>
            <p:spPr>
              <a:xfrm>
                <a:off x="5967483" y="3153880"/>
                <a:ext cx="283540" cy="283540"/>
              </a:xfrm>
              <a:prstGeom prst="ellipse">
                <a:avLst/>
              </a:prstGeom>
              <a:solidFill>
                <a:srgbClr val="32ACFA"/>
              </a:solidFill>
              <a:ln>
                <a:solidFill>
                  <a:srgbClr val="85EB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endParaRPr>
              </a:p>
            </p:txBody>
          </p:sp>
          <p:sp>
            <p:nvSpPr>
              <p:cNvPr id="53" name="Circle: Hollow 52">
                <a:extLst>
                  <a:ext uri="{FF2B5EF4-FFF2-40B4-BE49-F238E27FC236}">
                    <a16:creationId xmlns:a16="http://schemas.microsoft.com/office/drawing/2014/main" id="{8A117738-5A9B-49A2-91BF-766758E4D870}"/>
                  </a:ext>
                </a:extLst>
              </p:cNvPr>
              <p:cNvSpPr/>
              <p:nvPr/>
            </p:nvSpPr>
            <p:spPr>
              <a:xfrm>
                <a:off x="5940978" y="3127375"/>
                <a:ext cx="336550" cy="336550"/>
              </a:xfrm>
              <a:prstGeom prst="donut">
                <a:avLst>
                  <a:gd name="adj" fmla="val 7064"/>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sp>
            <p:nvSpPr>
              <p:cNvPr id="54" name="Oval 53">
                <a:extLst>
                  <a:ext uri="{FF2B5EF4-FFF2-40B4-BE49-F238E27FC236}">
                    <a16:creationId xmlns:a16="http://schemas.microsoft.com/office/drawing/2014/main" id="{8028B8DE-057A-4F37-B4A0-CFB5171B2CFC}"/>
                  </a:ext>
                </a:extLst>
              </p:cNvPr>
              <p:cNvSpPr/>
              <p:nvPr/>
            </p:nvSpPr>
            <p:spPr>
              <a:xfrm>
                <a:off x="6033053" y="3219450"/>
                <a:ext cx="152400" cy="152400"/>
              </a:xfrm>
              <a:prstGeom prst="ellips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grpSp>
        <p:sp>
          <p:nvSpPr>
            <p:cNvPr id="44" name="TextBox 43">
              <a:extLst>
                <a:ext uri="{FF2B5EF4-FFF2-40B4-BE49-F238E27FC236}">
                  <a16:creationId xmlns:a16="http://schemas.microsoft.com/office/drawing/2014/main" id="{8600B5E1-8239-47C1-9DC8-A00A94693569}"/>
                </a:ext>
              </a:extLst>
            </p:cNvPr>
            <p:cNvSpPr txBox="1"/>
            <p:nvPr/>
          </p:nvSpPr>
          <p:spPr>
            <a:xfrm>
              <a:off x="6338523" y="233740"/>
              <a:ext cx="1629285"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600" b="1" i="0" u="none" strike="noStrike" kern="1200" cap="none" spc="0" normalizeH="0" baseline="0" noProof="0" dirty="0" smtClean="0">
                  <a:ln>
                    <a:noFill/>
                  </a:ln>
                  <a:solidFill>
                    <a:prstClr val="black">
                      <a:lumMod val="95000"/>
                      <a:lumOff val="5000"/>
                    </a:prstClr>
                  </a:solidFill>
                  <a:effectLst/>
                  <a:uLnTx/>
                  <a:uFillTx/>
                  <a:latin typeface="Agency FB" panose="020B0503020202020204" pitchFamily="34" charset="0"/>
                  <a:ea typeface="+mn-ea"/>
                  <a:cs typeface="+mn-cs"/>
                </a:rPr>
                <a:t>0</a:t>
              </a:r>
              <a:r>
                <a:rPr kumimoji="0" lang="ru-RU" sz="9600" b="1" i="0" u="none" strike="noStrike" kern="1200" cap="none" spc="0" normalizeH="0" baseline="0" noProof="0" dirty="0" smtClean="0">
                  <a:ln>
                    <a:noFill/>
                  </a:ln>
                  <a:solidFill>
                    <a:prstClr val="black">
                      <a:lumMod val="95000"/>
                      <a:lumOff val="5000"/>
                    </a:prstClr>
                  </a:solidFill>
                  <a:effectLst/>
                  <a:uLnTx/>
                  <a:uFillTx/>
                  <a:latin typeface="Agency FB" panose="020B0503020202020204" pitchFamily="34" charset="0"/>
                  <a:ea typeface="+mn-ea"/>
                  <a:cs typeface="+mn-cs"/>
                </a:rPr>
                <a:t>8</a:t>
              </a:r>
              <a:endParaRPr kumimoji="0" lang="en-US" sz="9600" b="1" i="0" u="none" strike="noStrike" kern="1200" cap="none" spc="0" normalizeH="0" baseline="0" noProof="0" dirty="0">
                <a:ln>
                  <a:noFill/>
                </a:ln>
                <a:solidFill>
                  <a:prstClr val="black">
                    <a:lumMod val="95000"/>
                    <a:lumOff val="5000"/>
                  </a:prstClr>
                </a:solidFill>
                <a:effectLst/>
                <a:uLnTx/>
                <a:uFillTx/>
                <a:latin typeface="Agency FB" panose="020B0503020202020204" pitchFamily="34" charset="0"/>
                <a:ea typeface="+mn-ea"/>
                <a:cs typeface="+mn-cs"/>
              </a:endParaRPr>
            </a:p>
          </p:txBody>
        </p:sp>
        <p:sp>
          <p:nvSpPr>
            <p:cNvPr id="49" name="TextBox 48">
              <a:extLst>
                <a:ext uri="{FF2B5EF4-FFF2-40B4-BE49-F238E27FC236}">
                  <a16:creationId xmlns:a16="http://schemas.microsoft.com/office/drawing/2014/main" id="{9A61BB4C-96A2-4D00-9112-5BFC98F25CEE}"/>
                </a:ext>
              </a:extLst>
            </p:cNvPr>
            <p:cNvSpPr txBox="1"/>
            <p:nvPr/>
          </p:nvSpPr>
          <p:spPr>
            <a:xfrm>
              <a:off x="2212307" y="808776"/>
              <a:ext cx="2800206" cy="400110"/>
            </a:xfrm>
            <a:prstGeom prst="rect">
              <a:avLst/>
            </a:prstGeom>
            <a:noFill/>
          </p:spPr>
          <p:txBody>
            <a:bodyPr wrap="square" rtlCol="0">
              <a:spAutoFit/>
            </a:bodyPr>
            <a:lstStyle/>
            <a:p>
              <a:pPr lvl="0" algn="ctr">
                <a:defRPr/>
              </a:pPr>
              <a:r>
                <a:rPr lang="ru-RU" sz="2000" b="1" dirty="0">
                  <a:solidFill>
                    <a:prstClr val="black">
                      <a:lumMod val="95000"/>
                      <a:lumOff val="5000"/>
                    </a:prstClr>
                  </a:solidFill>
                  <a:latin typeface="Century Gothic" panose="020B0502020202020204" pitchFamily="34" charset="0"/>
                  <a:ea typeface="Tahoma" panose="020B0604030504040204" pitchFamily="34" charset="0"/>
                  <a:cs typeface="Tahoma" panose="020B0604030504040204" pitchFamily="34" charset="0"/>
                </a:rPr>
                <a:t>Медицина</a:t>
              </a:r>
              <a:endParaRPr kumimoji="0" lang="en-US" sz="2000" b="1" i="0" u="none" strike="noStrike" kern="1200" cap="none" spc="0" normalizeH="0" baseline="0" noProof="0" dirty="0">
                <a:ln>
                  <a:noFill/>
                </a:ln>
                <a:solidFill>
                  <a:prstClr val="black">
                    <a:lumMod val="95000"/>
                    <a:lumOff val="5000"/>
                  </a:prstClr>
                </a:solidFill>
                <a:effectLst/>
                <a:uLnTx/>
                <a:uFillTx/>
                <a:latin typeface="Century Gothic" panose="020B0502020202020204" pitchFamily="34" charset="0"/>
                <a:ea typeface="Tahoma" panose="020B0604030504040204" pitchFamily="34" charset="0"/>
                <a:cs typeface="Tahoma" panose="020B0604030504040204" pitchFamily="34" charset="0"/>
              </a:endParaRPr>
            </a:p>
          </p:txBody>
        </p:sp>
        <p:sp>
          <p:nvSpPr>
            <p:cNvPr id="47" name="Oval 46">
              <a:extLst>
                <a:ext uri="{FF2B5EF4-FFF2-40B4-BE49-F238E27FC236}">
                  <a16:creationId xmlns:a16="http://schemas.microsoft.com/office/drawing/2014/main" id="{F6D499F0-3920-4527-8086-8260E495F9C6}"/>
                </a:ext>
              </a:extLst>
            </p:cNvPr>
            <p:cNvSpPr/>
            <p:nvPr/>
          </p:nvSpPr>
          <p:spPr>
            <a:xfrm>
              <a:off x="4654073" y="572966"/>
              <a:ext cx="838200" cy="838200"/>
            </a:xfrm>
            <a:prstGeom prst="ellips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grpSp>
      <p:sp>
        <p:nvSpPr>
          <p:cNvPr id="32" name="Shape 2538"/>
          <p:cNvSpPr/>
          <p:nvPr/>
        </p:nvSpPr>
        <p:spPr>
          <a:xfrm>
            <a:off x="4869297" y="682907"/>
            <a:ext cx="374035" cy="488560"/>
          </a:xfrm>
          <a:custGeom>
            <a:avLst/>
            <a:gdLst/>
            <a:ahLst/>
            <a:cxnLst>
              <a:cxn ang="0">
                <a:pos x="wd2" y="hd2"/>
              </a:cxn>
              <a:cxn ang="5400000">
                <a:pos x="wd2" y="hd2"/>
              </a:cxn>
              <a:cxn ang="10800000">
                <a:pos x="wd2" y="hd2"/>
              </a:cxn>
              <a:cxn ang="16200000">
                <a:pos x="wd2" y="hd2"/>
              </a:cxn>
            </a:cxnLst>
            <a:rect l="0" t="0" r="r" b="b"/>
            <a:pathLst>
              <a:path w="21600" h="21600" extrusionOk="0">
                <a:moveTo>
                  <a:pt x="20400" y="5891"/>
                </a:moveTo>
                <a:lnTo>
                  <a:pt x="1200" y="5891"/>
                </a:lnTo>
                <a:lnTo>
                  <a:pt x="1200" y="3927"/>
                </a:lnTo>
                <a:lnTo>
                  <a:pt x="6000" y="3927"/>
                </a:lnTo>
                <a:cubicBezTo>
                  <a:pt x="6000" y="4469"/>
                  <a:pt x="6538" y="4909"/>
                  <a:pt x="7200" y="4909"/>
                </a:cubicBezTo>
                <a:lnTo>
                  <a:pt x="14400" y="4909"/>
                </a:lnTo>
                <a:cubicBezTo>
                  <a:pt x="15062" y="4909"/>
                  <a:pt x="15600" y="4469"/>
                  <a:pt x="15600" y="3927"/>
                </a:cubicBezTo>
                <a:lnTo>
                  <a:pt x="20400" y="3927"/>
                </a:lnTo>
                <a:cubicBezTo>
                  <a:pt x="20400" y="3927"/>
                  <a:pt x="20400" y="5891"/>
                  <a:pt x="20400" y="5891"/>
                </a:cubicBezTo>
                <a:close/>
                <a:moveTo>
                  <a:pt x="20400" y="20618"/>
                </a:moveTo>
                <a:lnTo>
                  <a:pt x="1200" y="20618"/>
                </a:lnTo>
                <a:lnTo>
                  <a:pt x="1200" y="6873"/>
                </a:lnTo>
                <a:lnTo>
                  <a:pt x="20400" y="6873"/>
                </a:lnTo>
                <a:cubicBezTo>
                  <a:pt x="20400" y="6873"/>
                  <a:pt x="20400" y="20618"/>
                  <a:pt x="20400" y="20618"/>
                </a:cubicBezTo>
                <a:close/>
                <a:moveTo>
                  <a:pt x="7200" y="1964"/>
                </a:moveTo>
                <a:lnTo>
                  <a:pt x="14400" y="1964"/>
                </a:lnTo>
                <a:lnTo>
                  <a:pt x="14400" y="3927"/>
                </a:lnTo>
                <a:lnTo>
                  <a:pt x="7200" y="3927"/>
                </a:lnTo>
                <a:cubicBezTo>
                  <a:pt x="7200" y="3927"/>
                  <a:pt x="7200" y="1964"/>
                  <a:pt x="7200" y="1964"/>
                </a:cubicBezTo>
                <a:close/>
                <a:moveTo>
                  <a:pt x="20400" y="2945"/>
                </a:moveTo>
                <a:lnTo>
                  <a:pt x="15600" y="2945"/>
                </a:lnTo>
                <a:lnTo>
                  <a:pt x="15600" y="1964"/>
                </a:lnTo>
                <a:cubicBezTo>
                  <a:pt x="15600" y="1422"/>
                  <a:pt x="15062" y="982"/>
                  <a:pt x="14400" y="982"/>
                </a:cubicBezTo>
                <a:lnTo>
                  <a:pt x="12000" y="982"/>
                </a:lnTo>
                <a:cubicBezTo>
                  <a:pt x="12000" y="440"/>
                  <a:pt x="11462" y="0"/>
                  <a:pt x="10800" y="0"/>
                </a:cubicBezTo>
                <a:cubicBezTo>
                  <a:pt x="10138" y="0"/>
                  <a:pt x="9600" y="440"/>
                  <a:pt x="9600" y="982"/>
                </a:cubicBezTo>
                <a:lnTo>
                  <a:pt x="7200" y="982"/>
                </a:lnTo>
                <a:cubicBezTo>
                  <a:pt x="6538" y="982"/>
                  <a:pt x="6000" y="1422"/>
                  <a:pt x="6000" y="1964"/>
                </a:cubicBezTo>
                <a:lnTo>
                  <a:pt x="6000" y="2945"/>
                </a:lnTo>
                <a:lnTo>
                  <a:pt x="1200" y="2945"/>
                </a:lnTo>
                <a:cubicBezTo>
                  <a:pt x="538" y="2945"/>
                  <a:pt x="0" y="3386"/>
                  <a:pt x="0" y="3927"/>
                </a:cubicBezTo>
                <a:lnTo>
                  <a:pt x="0" y="20618"/>
                </a:lnTo>
                <a:cubicBezTo>
                  <a:pt x="0" y="21160"/>
                  <a:pt x="538" y="21600"/>
                  <a:pt x="1200" y="21600"/>
                </a:cubicBezTo>
                <a:lnTo>
                  <a:pt x="20400" y="21600"/>
                </a:lnTo>
                <a:cubicBezTo>
                  <a:pt x="21062" y="21600"/>
                  <a:pt x="21600" y="21160"/>
                  <a:pt x="21600" y="20618"/>
                </a:cubicBezTo>
                <a:lnTo>
                  <a:pt x="21600" y="3927"/>
                </a:lnTo>
                <a:cubicBezTo>
                  <a:pt x="21600" y="3386"/>
                  <a:pt x="21062" y="2945"/>
                  <a:pt x="20400" y="2945"/>
                </a:cubicBezTo>
                <a:moveTo>
                  <a:pt x="4200" y="16691"/>
                </a:moveTo>
                <a:lnTo>
                  <a:pt x="15000" y="16691"/>
                </a:lnTo>
                <a:cubicBezTo>
                  <a:pt x="15331" y="16691"/>
                  <a:pt x="15600" y="16472"/>
                  <a:pt x="15600" y="16200"/>
                </a:cubicBezTo>
                <a:cubicBezTo>
                  <a:pt x="15600" y="15929"/>
                  <a:pt x="15331" y="15709"/>
                  <a:pt x="15000" y="15709"/>
                </a:cubicBezTo>
                <a:lnTo>
                  <a:pt x="4200" y="15709"/>
                </a:lnTo>
                <a:cubicBezTo>
                  <a:pt x="3869" y="15709"/>
                  <a:pt x="3600" y="15929"/>
                  <a:pt x="3600" y="16200"/>
                </a:cubicBezTo>
                <a:cubicBezTo>
                  <a:pt x="3600" y="16472"/>
                  <a:pt x="3869" y="16691"/>
                  <a:pt x="4200" y="16691"/>
                </a:cubicBezTo>
                <a:moveTo>
                  <a:pt x="4200" y="13745"/>
                </a:moveTo>
                <a:lnTo>
                  <a:pt x="17400" y="13745"/>
                </a:lnTo>
                <a:cubicBezTo>
                  <a:pt x="17731" y="13745"/>
                  <a:pt x="18000" y="13526"/>
                  <a:pt x="18000" y="13255"/>
                </a:cubicBezTo>
                <a:cubicBezTo>
                  <a:pt x="18000" y="12984"/>
                  <a:pt x="17731" y="12764"/>
                  <a:pt x="17400" y="12764"/>
                </a:cubicBezTo>
                <a:lnTo>
                  <a:pt x="4200" y="12764"/>
                </a:lnTo>
                <a:cubicBezTo>
                  <a:pt x="3869" y="12764"/>
                  <a:pt x="3600" y="12984"/>
                  <a:pt x="3600" y="13255"/>
                </a:cubicBezTo>
                <a:cubicBezTo>
                  <a:pt x="3600" y="13526"/>
                  <a:pt x="3869" y="13745"/>
                  <a:pt x="4200" y="13745"/>
                </a:cubicBezTo>
                <a:moveTo>
                  <a:pt x="4200" y="10800"/>
                </a:moveTo>
                <a:lnTo>
                  <a:pt x="11400" y="10800"/>
                </a:lnTo>
                <a:cubicBezTo>
                  <a:pt x="11731" y="10800"/>
                  <a:pt x="12000" y="10581"/>
                  <a:pt x="12000" y="10309"/>
                </a:cubicBezTo>
                <a:cubicBezTo>
                  <a:pt x="12000" y="10038"/>
                  <a:pt x="11731" y="9818"/>
                  <a:pt x="11400" y="9818"/>
                </a:cubicBezTo>
                <a:lnTo>
                  <a:pt x="4200" y="9818"/>
                </a:lnTo>
                <a:cubicBezTo>
                  <a:pt x="3869" y="9818"/>
                  <a:pt x="3600" y="10038"/>
                  <a:pt x="3600" y="10309"/>
                </a:cubicBezTo>
                <a:cubicBezTo>
                  <a:pt x="3600" y="10581"/>
                  <a:pt x="3869" y="10800"/>
                  <a:pt x="4200" y="10800"/>
                </a:cubicBezTo>
              </a:path>
            </a:pathLst>
          </a:custGeom>
          <a:solidFill>
            <a:srgbClr val="32ACFA"/>
          </a:solidFill>
          <a:ln w="12700">
            <a:solidFill>
              <a:srgbClr val="32ACFA"/>
            </a:solid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33" name="Shape 2787"/>
          <p:cNvSpPr/>
          <p:nvPr/>
        </p:nvSpPr>
        <p:spPr>
          <a:xfrm>
            <a:off x="6964779" y="2939970"/>
            <a:ext cx="454592" cy="441786"/>
          </a:xfrm>
          <a:custGeom>
            <a:avLst/>
            <a:gdLst/>
            <a:ahLst/>
            <a:cxnLst>
              <a:cxn ang="0">
                <a:pos x="wd2" y="hd2"/>
              </a:cxn>
              <a:cxn ang="5400000">
                <a:pos x="wd2" y="hd2"/>
              </a:cxn>
              <a:cxn ang="10800000">
                <a:pos x="wd2" y="hd2"/>
              </a:cxn>
              <a:cxn ang="16200000">
                <a:pos x="wd2" y="hd2"/>
              </a:cxn>
            </a:cxnLst>
            <a:rect l="0" t="0" r="r" b="b"/>
            <a:pathLst>
              <a:path w="21086" h="21600" extrusionOk="0">
                <a:moveTo>
                  <a:pt x="11502" y="10309"/>
                </a:moveTo>
                <a:cubicBezTo>
                  <a:pt x="11767" y="10309"/>
                  <a:pt x="11981" y="10090"/>
                  <a:pt x="11981" y="9818"/>
                </a:cubicBezTo>
                <a:cubicBezTo>
                  <a:pt x="11981" y="9547"/>
                  <a:pt x="11767" y="9327"/>
                  <a:pt x="11502" y="9327"/>
                </a:cubicBezTo>
                <a:cubicBezTo>
                  <a:pt x="11237" y="9327"/>
                  <a:pt x="11022" y="9547"/>
                  <a:pt x="11022" y="9818"/>
                </a:cubicBezTo>
                <a:cubicBezTo>
                  <a:pt x="11022" y="10090"/>
                  <a:pt x="11237" y="10309"/>
                  <a:pt x="11502" y="10309"/>
                </a:cubicBezTo>
                <a:moveTo>
                  <a:pt x="15818" y="4909"/>
                </a:moveTo>
                <a:cubicBezTo>
                  <a:pt x="16083" y="4909"/>
                  <a:pt x="16297" y="5129"/>
                  <a:pt x="16297" y="5400"/>
                </a:cubicBezTo>
                <a:cubicBezTo>
                  <a:pt x="16297" y="5672"/>
                  <a:pt x="16083" y="5891"/>
                  <a:pt x="15818" y="5891"/>
                </a:cubicBezTo>
                <a:cubicBezTo>
                  <a:pt x="15553" y="5891"/>
                  <a:pt x="15338" y="5672"/>
                  <a:pt x="15338" y="5400"/>
                </a:cubicBezTo>
                <a:cubicBezTo>
                  <a:pt x="15338" y="5129"/>
                  <a:pt x="15553" y="4909"/>
                  <a:pt x="15818" y="4909"/>
                </a:cubicBezTo>
                <a:moveTo>
                  <a:pt x="15818" y="6873"/>
                </a:moveTo>
                <a:cubicBezTo>
                  <a:pt x="16612" y="6873"/>
                  <a:pt x="17256" y="6213"/>
                  <a:pt x="17256" y="5400"/>
                </a:cubicBezTo>
                <a:cubicBezTo>
                  <a:pt x="17256" y="4587"/>
                  <a:pt x="16612" y="3928"/>
                  <a:pt x="15818" y="3928"/>
                </a:cubicBezTo>
                <a:cubicBezTo>
                  <a:pt x="15023" y="3928"/>
                  <a:pt x="14379" y="4587"/>
                  <a:pt x="14379" y="5400"/>
                </a:cubicBezTo>
                <a:cubicBezTo>
                  <a:pt x="14379" y="6213"/>
                  <a:pt x="15023" y="6873"/>
                  <a:pt x="15818" y="6873"/>
                </a:cubicBezTo>
                <a:moveTo>
                  <a:pt x="12941" y="11782"/>
                </a:moveTo>
                <a:cubicBezTo>
                  <a:pt x="13206" y="11782"/>
                  <a:pt x="13420" y="11562"/>
                  <a:pt x="13420" y="11291"/>
                </a:cubicBezTo>
                <a:cubicBezTo>
                  <a:pt x="13420" y="11020"/>
                  <a:pt x="13206" y="10800"/>
                  <a:pt x="12941" y="10800"/>
                </a:cubicBezTo>
                <a:cubicBezTo>
                  <a:pt x="12675" y="10800"/>
                  <a:pt x="12461" y="11020"/>
                  <a:pt x="12461" y="11291"/>
                </a:cubicBezTo>
                <a:cubicBezTo>
                  <a:pt x="12461" y="11562"/>
                  <a:pt x="12675" y="11782"/>
                  <a:pt x="12941" y="11782"/>
                </a:cubicBezTo>
                <a:moveTo>
                  <a:pt x="10063" y="7855"/>
                </a:moveTo>
                <a:cubicBezTo>
                  <a:pt x="9798" y="7855"/>
                  <a:pt x="9584" y="8074"/>
                  <a:pt x="9584" y="8346"/>
                </a:cubicBezTo>
                <a:cubicBezTo>
                  <a:pt x="9584" y="8617"/>
                  <a:pt x="9798" y="8836"/>
                  <a:pt x="10063" y="8836"/>
                </a:cubicBezTo>
                <a:cubicBezTo>
                  <a:pt x="10328" y="8836"/>
                  <a:pt x="10543" y="8617"/>
                  <a:pt x="10543" y="8346"/>
                </a:cubicBezTo>
                <a:cubicBezTo>
                  <a:pt x="10543" y="8074"/>
                  <a:pt x="10328" y="7855"/>
                  <a:pt x="10063" y="7855"/>
                </a:cubicBezTo>
                <a:moveTo>
                  <a:pt x="1718" y="19842"/>
                </a:moveTo>
                <a:lnTo>
                  <a:pt x="3451" y="15392"/>
                </a:lnTo>
                <a:cubicBezTo>
                  <a:pt x="3684" y="15834"/>
                  <a:pt x="3973" y="16253"/>
                  <a:pt x="4312" y="16642"/>
                </a:cubicBezTo>
                <a:cubicBezTo>
                  <a:pt x="4824" y="17230"/>
                  <a:pt x="5418" y="17711"/>
                  <a:pt x="6061" y="18068"/>
                </a:cubicBezTo>
                <a:cubicBezTo>
                  <a:pt x="6061" y="18068"/>
                  <a:pt x="1718" y="19842"/>
                  <a:pt x="1718" y="19842"/>
                </a:cubicBezTo>
                <a:close/>
                <a:moveTo>
                  <a:pt x="3717" y="12060"/>
                </a:moveTo>
                <a:lnTo>
                  <a:pt x="0" y="21600"/>
                </a:lnTo>
                <a:lnTo>
                  <a:pt x="9319" y="17795"/>
                </a:lnTo>
                <a:cubicBezTo>
                  <a:pt x="9153" y="17815"/>
                  <a:pt x="8987" y="17824"/>
                  <a:pt x="8822" y="17824"/>
                </a:cubicBezTo>
                <a:cubicBezTo>
                  <a:pt x="5971" y="17824"/>
                  <a:pt x="3389" y="15002"/>
                  <a:pt x="3717" y="12060"/>
                </a:cubicBezTo>
                <a:moveTo>
                  <a:pt x="16115" y="10657"/>
                </a:moveTo>
                <a:cubicBezTo>
                  <a:pt x="15925" y="10851"/>
                  <a:pt x="15627" y="11171"/>
                  <a:pt x="15280" y="11542"/>
                </a:cubicBezTo>
                <a:cubicBezTo>
                  <a:pt x="14662" y="12204"/>
                  <a:pt x="13712" y="13221"/>
                  <a:pt x="13147" y="13753"/>
                </a:cubicBezTo>
                <a:lnTo>
                  <a:pt x="7665" y="8141"/>
                </a:lnTo>
                <a:cubicBezTo>
                  <a:pt x="8185" y="7563"/>
                  <a:pt x="9179" y="6590"/>
                  <a:pt x="9825" y="5958"/>
                </a:cubicBezTo>
                <a:cubicBezTo>
                  <a:pt x="10188" y="5603"/>
                  <a:pt x="10500" y="5298"/>
                  <a:pt x="10690" y="5103"/>
                </a:cubicBezTo>
                <a:cubicBezTo>
                  <a:pt x="13284" y="2447"/>
                  <a:pt x="18271" y="993"/>
                  <a:pt x="20136" y="982"/>
                </a:cubicBezTo>
                <a:cubicBezTo>
                  <a:pt x="20132" y="2572"/>
                  <a:pt x="18824" y="7884"/>
                  <a:pt x="16115" y="10657"/>
                </a:cubicBezTo>
                <a:moveTo>
                  <a:pt x="12477" y="14563"/>
                </a:moveTo>
                <a:cubicBezTo>
                  <a:pt x="12127" y="15873"/>
                  <a:pt x="11665" y="17072"/>
                  <a:pt x="11154" y="18035"/>
                </a:cubicBezTo>
                <a:cubicBezTo>
                  <a:pt x="10943" y="17454"/>
                  <a:pt x="10642" y="16798"/>
                  <a:pt x="10214" y="16110"/>
                </a:cubicBezTo>
                <a:cubicBezTo>
                  <a:pt x="10035" y="15823"/>
                  <a:pt x="9728" y="15656"/>
                  <a:pt x="9405" y="15656"/>
                </a:cubicBezTo>
                <a:cubicBezTo>
                  <a:pt x="9329" y="15656"/>
                  <a:pt x="9252" y="15665"/>
                  <a:pt x="9176" y="15684"/>
                </a:cubicBezTo>
                <a:cubicBezTo>
                  <a:pt x="8990" y="15731"/>
                  <a:pt x="8799" y="15755"/>
                  <a:pt x="8610" y="15755"/>
                </a:cubicBezTo>
                <a:cubicBezTo>
                  <a:pt x="7905" y="15755"/>
                  <a:pt x="7217" y="15432"/>
                  <a:pt x="6621" y="14822"/>
                </a:cubicBezTo>
                <a:cubicBezTo>
                  <a:pt x="5861" y="14044"/>
                  <a:pt x="5561" y="13114"/>
                  <a:pt x="5779" y="12206"/>
                </a:cubicBezTo>
                <a:cubicBezTo>
                  <a:pt x="5877" y="11797"/>
                  <a:pt x="5709" y="11370"/>
                  <a:pt x="5363" y="11144"/>
                </a:cubicBezTo>
                <a:cubicBezTo>
                  <a:pt x="4690" y="10706"/>
                  <a:pt x="4050" y="10398"/>
                  <a:pt x="3482" y="10183"/>
                </a:cubicBezTo>
                <a:cubicBezTo>
                  <a:pt x="4423" y="9658"/>
                  <a:pt x="5594" y="9186"/>
                  <a:pt x="6874" y="8827"/>
                </a:cubicBezTo>
                <a:cubicBezTo>
                  <a:pt x="6900" y="8820"/>
                  <a:pt x="6921" y="8803"/>
                  <a:pt x="6946" y="8793"/>
                </a:cubicBezTo>
                <a:lnTo>
                  <a:pt x="12510" y="14490"/>
                </a:lnTo>
                <a:cubicBezTo>
                  <a:pt x="12501" y="14515"/>
                  <a:pt x="12484" y="14536"/>
                  <a:pt x="12477" y="14563"/>
                </a:cubicBezTo>
                <a:moveTo>
                  <a:pt x="20922" y="167"/>
                </a:moveTo>
                <a:cubicBezTo>
                  <a:pt x="20813" y="55"/>
                  <a:pt x="20545" y="0"/>
                  <a:pt x="20157" y="0"/>
                </a:cubicBezTo>
                <a:cubicBezTo>
                  <a:pt x="18131" y="0"/>
                  <a:pt x="12842" y="1511"/>
                  <a:pt x="10012" y="4409"/>
                </a:cubicBezTo>
                <a:cubicBezTo>
                  <a:pt x="9345" y="5092"/>
                  <a:pt x="7134" y="7175"/>
                  <a:pt x="6621" y="7880"/>
                </a:cubicBezTo>
                <a:cubicBezTo>
                  <a:pt x="4961" y="8346"/>
                  <a:pt x="2544" y="9277"/>
                  <a:pt x="1196" y="10657"/>
                </a:cubicBezTo>
                <a:cubicBezTo>
                  <a:pt x="1196" y="10657"/>
                  <a:pt x="2841" y="10663"/>
                  <a:pt x="4848" y="11972"/>
                </a:cubicBezTo>
                <a:cubicBezTo>
                  <a:pt x="4556" y="13190"/>
                  <a:pt x="4926" y="14475"/>
                  <a:pt x="5943" y="15516"/>
                </a:cubicBezTo>
                <a:cubicBezTo>
                  <a:pt x="6735" y="16327"/>
                  <a:pt x="7672" y="16737"/>
                  <a:pt x="8610" y="16737"/>
                </a:cubicBezTo>
                <a:cubicBezTo>
                  <a:pt x="8876" y="16737"/>
                  <a:pt x="9142" y="16704"/>
                  <a:pt x="9405" y="16637"/>
                </a:cubicBezTo>
                <a:cubicBezTo>
                  <a:pt x="10683" y="18692"/>
                  <a:pt x="10690" y="20376"/>
                  <a:pt x="10690" y="20376"/>
                </a:cubicBezTo>
                <a:cubicBezTo>
                  <a:pt x="12038" y="18996"/>
                  <a:pt x="12948" y="16521"/>
                  <a:pt x="13402" y="14822"/>
                </a:cubicBezTo>
                <a:cubicBezTo>
                  <a:pt x="14091" y="14297"/>
                  <a:pt x="16126" y="12034"/>
                  <a:pt x="16793" y="11351"/>
                </a:cubicBezTo>
                <a:cubicBezTo>
                  <a:pt x="20164" y="7900"/>
                  <a:pt x="21600" y="861"/>
                  <a:pt x="20922" y="167"/>
                </a:cubicBezTo>
              </a:path>
            </a:pathLst>
          </a:custGeom>
          <a:solidFill>
            <a:srgbClr val="32ACFA"/>
          </a:solidFill>
          <a:ln w="12700">
            <a:solidFill>
              <a:srgbClr val="32ACFA"/>
            </a:solid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35" name="Shape 2767"/>
          <p:cNvSpPr/>
          <p:nvPr/>
        </p:nvSpPr>
        <p:spPr>
          <a:xfrm>
            <a:off x="4750091" y="5075389"/>
            <a:ext cx="635184" cy="613189"/>
          </a:xfrm>
          <a:custGeom>
            <a:avLst/>
            <a:gdLst/>
            <a:ahLst/>
            <a:cxnLst>
              <a:cxn ang="0">
                <a:pos x="wd2" y="hd2"/>
              </a:cxn>
              <a:cxn ang="5400000">
                <a:pos x="wd2" y="hd2"/>
              </a:cxn>
              <a:cxn ang="10800000">
                <a:pos x="wd2" y="hd2"/>
              </a:cxn>
              <a:cxn ang="16200000">
                <a:pos x="wd2" y="hd2"/>
              </a:cxn>
            </a:cxnLst>
            <a:rect l="0" t="0" r="r" b="b"/>
            <a:pathLst>
              <a:path w="21600" h="21600" extrusionOk="0">
                <a:moveTo>
                  <a:pt x="15709" y="11782"/>
                </a:moveTo>
                <a:lnTo>
                  <a:pt x="11782" y="11782"/>
                </a:lnTo>
                <a:lnTo>
                  <a:pt x="11782" y="15709"/>
                </a:lnTo>
                <a:lnTo>
                  <a:pt x="9818" y="15709"/>
                </a:lnTo>
                <a:lnTo>
                  <a:pt x="9818" y="11782"/>
                </a:lnTo>
                <a:lnTo>
                  <a:pt x="5891" y="11782"/>
                </a:lnTo>
                <a:lnTo>
                  <a:pt x="5891" y="9818"/>
                </a:lnTo>
                <a:lnTo>
                  <a:pt x="9818" y="9818"/>
                </a:lnTo>
                <a:lnTo>
                  <a:pt x="9818" y="5891"/>
                </a:lnTo>
                <a:lnTo>
                  <a:pt x="11782" y="5891"/>
                </a:lnTo>
                <a:lnTo>
                  <a:pt x="11782" y="9818"/>
                </a:lnTo>
                <a:lnTo>
                  <a:pt x="15709" y="9818"/>
                </a:lnTo>
                <a:cubicBezTo>
                  <a:pt x="15709" y="9818"/>
                  <a:pt x="15709" y="11782"/>
                  <a:pt x="15709" y="11782"/>
                </a:cubicBezTo>
                <a:close/>
                <a:moveTo>
                  <a:pt x="15709" y="8836"/>
                </a:moveTo>
                <a:lnTo>
                  <a:pt x="12764" y="8836"/>
                </a:lnTo>
                <a:lnTo>
                  <a:pt x="12764" y="5891"/>
                </a:lnTo>
                <a:cubicBezTo>
                  <a:pt x="12764" y="5349"/>
                  <a:pt x="12324" y="4909"/>
                  <a:pt x="11782" y="4909"/>
                </a:cubicBezTo>
                <a:lnTo>
                  <a:pt x="9818" y="4909"/>
                </a:lnTo>
                <a:cubicBezTo>
                  <a:pt x="9276" y="4909"/>
                  <a:pt x="8836" y="5349"/>
                  <a:pt x="8836" y="5891"/>
                </a:cubicBezTo>
                <a:lnTo>
                  <a:pt x="8836" y="8836"/>
                </a:lnTo>
                <a:lnTo>
                  <a:pt x="5891" y="8836"/>
                </a:lnTo>
                <a:cubicBezTo>
                  <a:pt x="5349" y="8836"/>
                  <a:pt x="4909" y="9276"/>
                  <a:pt x="4909" y="9818"/>
                </a:cubicBezTo>
                <a:lnTo>
                  <a:pt x="4909" y="11782"/>
                </a:lnTo>
                <a:cubicBezTo>
                  <a:pt x="4909" y="12324"/>
                  <a:pt x="5349" y="12764"/>
                  <a:pt x="5891" y="12764"/>
                </a:cubicBezTo>
                <a:lnTo>
                  <a:pt x="8836" y="12764"/>
                </a:lnTo>
                <a:lnTo>
                  <a:pt x="8836" y="15709"/>
                </a:lnTo>
                <a:cubicBezTo>
                  <a:pt x="8836" y="16251"/>
                  <a:pt x="9276" y="16691"/>
                  <a:pt x="9818" y="16691"/>
                </a:cubicBezTo>
                <a:lnTo>
                  <a:pt x="11782" y="16691"/>
                </a:lnTo>
                <a:cubicBezTo>
                  <a:pt x="12324" y="16691"/>
                  <a:pt x="12764" y="16251"/>
                  <a:pt x="12764" y="15709"/>
                </a:cubicBezTo>
                <a:lnTo>
                  <a:pt x="12764" y="12764"/>
                </a:lnTo>
                <a:lnTo>
                  <a:pt x="15709" y="12764"/>
                </a:lnTo>
                <a:cubicBezTo>
                  <a:pt x="16251" y="12764"/>
                  <a:pt x="16691" y="12324"/>
                  <a:pt x="16691" y="11782"/>
                </a:cubicBezTo>
                <a:lnTo>
                  <a:pt x="16691" y="9818"/>
                </a:lnTo>
                <a:cubicBezTo>
                  <a:pt x="16691" y="9276"/>
                  <a:pt x="16251" y="8836"/>
                  <a:pt x="15709" y="8836"/>
                </a:cubicBezTo>
                <a:moveTo>
                  <a:pt x="10800" y="20618"/>
                </a:moveTo>
                <a:cubicBezTo>
                  <a:pt x="5377" y="20618"/>
                  <a:pt x="982" y="16222"/>
                  <a:pt x="982" y="10800"/>
                </a:cubicBezTo>
                <a:cubicBezTo>
                  <a:pt x="982" y="5377"/>
                  <a:pt x="5377" y="982"/>
                  <a:pt x="10800" y="982"/>
                </a:cubicBezTo>
                <a:cubicBezTo>
                  <a:pt x="16223" y="982"/>
                  <a:pt x="20618" y="5377"/>
                  <a:pt x="20618" y="10800"/>
                </a:cubicBezTo>
                <a:cubicBezTo>
                  <a:pt x="20618" y="16222"/>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rgbClr val="32ACFA"/>
          </a:solidFill>
          <a:ln w="12700">
            <a:solidFill>
              <a:srgbClr val="32ACFA"/>
            </a:solidFill>
            <a:miter lim="400000"/>
          </a:ln>
        </p:spPr>
        <p:txBody>
          <a:bodyPr lIns="19045" tIns="19045" rIns="19045" bIns="19045" anchor="ctr"/>
          <a:lstStyle/>
          <a:p>
            <a:pPr marL="0" marR="0" lvl="0" indent="0" defTabSz="228532"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spTree>
    <p:extLst>
      <p:ext uri="{BB962C8B-B14F-4D97-AF65-F5344CB8AC3E}">
        <p14:creationId xmlns:p14="http://schemas.microsoft.com/office/powerpoint/2010/main" val="478776846"/>
      </p:ext>
    </p:extLst>
  </p:cSld>
  <p:clrMapOvr>
    <a:masterClrMapping/>
  </p:clrMapOvr>
  <p:transition spd="slow">
    <p:push dir="u"/>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27">
            <a:extLst>
              <a:ext uri="{FF2B5EF4-FFF2-40B4-BE49-F238E27FC236}">
                <a16:creationId xmlns:a16="http://schemas.microsoft.com/office/drawing/2014/main" id="{F7F7A5C2-0600-4723-AE76-04E3A7033C36}"/>
              </a:ext>
            </a:extLst>
          </p:cNvPr>
          <p:cNvGrpSpPr/>
          <p:nvPr/>
        </p:nvGrpSpPr>
        <p:grpSpPr>
          <a:xfrm>
            <a:off x="5176457" y="3031107"/>
            <a:ext cx="1859280" cy="1859280"/>
            <a:chOff x="5022574" y="2992647"/>
            <a:chExt cx="2146852" cy="2146852"/>
          </a:xfrm>
          <a:solidFill>
            <a:schemeClr val="tx1">
              <a:lumMod val="95000"/>
              <a:lumOff val="5000"/>
            </a:schemeClr>
          </a:solidFill>
        </p:grpSpPr>
        <p:sp>
          <p:nvSpPr>
            <p:cNvPr id="47" name="Circle: Hollow 18">
              <a:extLst>
                <a:ext uri="{FF2B5EF4-FFF2-40B4-BE49-F238E27FC236}">
                  <a16:creationId xmlns:a16="http://schemas.microsoft.com/office/drawing/2014/main" id="{3971D724-835D-4B1E-B0DB-4ABC5341A292}"/>
                </a:ext>
              </a:extLst>
            </p:cNvPr>
            <p:cNvSpPr/>
            <p:nvPr/>
          </p:nvSpPr>
          <p:spPr>
            <a:xfrm>
              <a:off x="5022574" y="2992647"/>
              <a:ext cx="2146852" cy="2146852"/>
            </a:xfrm>
            <a:prstGeom prst="donut">
              <a:avLst>
                <a:gd name="adj" fmla="val 2866"/>
              </a:avLst>
            </a:prstGeom>
            <a:grp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sp>
          <p:nvSpPr>
            <p:cNvPr id="48" name="Oval 19">
              <a:extLst>
                <a:ext uri="{FF2B5EF4-FFF2-40B4-BE49-F238E27FC236}">
                  <a16:creationId xmlns:a16="http://schemas.microsoft.com/office/drawing/2014/main" id="{380F2759-631B-4310-9ADB-2F68F87F7008}"/>
                </a:ext>
              </a:extLst>
            </p:cNvPr>
            <p:cNvSpPr/>
            <p:nvPr/>
          </p:nvSpPr>
          <p:spPr>
            <a:xfrm>
              <a:off x="5194300" y="3164373"/>
              <a:ext cx="1803400" cy="1803400"/>
            </a:xfrm>
            <a:prstGeom prst="ellipse">
              <a:avLst/>
            </a:prstGeom>
            <a:grp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endParaRPr>
            </a:p>
          </p:txBody>
        </p:sp>
      </p:grpSp>
      <p:cxnSp>
        <p:nvCxnSpPr>
          <p:cNvPr id="7" name="Straight Connector 6">
            <a:extLst>
              <a:ext uri="{FF2B5EF4-FFF2-40B4-BE49-F238E27FC236}">
                <a16:creationId xmlns:a16="http://schemas.microsoft.com/office/drawing/2014/main" id="{E0ADE9D9-6658-4D32-B29A-9A2EA4154CB3}"/>
              </a:ext>
            </a:extLst>
          </p:cNvPr>
          <p:cNvCxnSpPr>
            <a:cxnSpLocks/>
          </p:cNvCxnSpPr>
          <p:nvPr/>
        </p:nvCxnSpPr>
        <p:spPr>
          <a:xfrm flipH="1">
            <a:off x="6099142" y="0"/>
            <a:ext cx="10111" cy="3214540"/>
          </a:xfrm>
          <a:prstGeom prst="line">
            <a:avLst/>
          </a:prstGeom>
          <a:ln w="7620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939BE1F7-4CDD-4AE0-9020-FA266F7CD125}"/>
              </a:ext>
            </a:extLst>
          </p:cNvPr>
          <p:cNvGrpSpPr/>
          <p:nvPr/>
        </p:nvGrpSpPr>
        <p:grpSpPr>
          <a:xfrm>
            <a:off x="658913" y="233740"/>
            <a:ext cx="7321595" cy="1604585"/>
            <a:chOff x="658913" y="233740"/>
            <a:chExt cx="7321595" cy="1604585"/>
          </a:xfrm>
        </p:grpSpPr>
        <p:grpSp>
          <p:nvGrpSpPr>
            <p:cNvPr id="18" name="Group 17">
              <a:extLst>
                <a:ext uri="{FF2B5EF4-FFF2-40B4-BE49-F238E27FC236}">
                  <a16:creationId xmlns:a16="http://schemas.microsoft.com/office/drawing/2014/main" id="{A06D0E94-CF98-419C-A6A8-2B79DEA04219}"/>
                </a:ext>
              </a:extLst>
            </p:cNvPr>
            <p:cNvGrpSpPr/>
            <p:nvPr/>
          </p:nvGrpSpPr>
          <p:grpSpPr>
            <a:xfrm>
              <a:off x="925689" y="1501775"/>
              <a:ext cx="6757811" cy="336550"/>
              <a:chOff x="848985" y="3127375"/>
              <a:chExt cx="6861987" cy="336550"/>
            </a:xfrm>
          </p:grpSpPr>
          <p:cxnSp>
            <p:nvCxnSpPr>
              <p:cNvPr id="26" name="Straight Connector 25">
                <a:extLst>
                  <a:ext uri="{FF2B5EF4-FFF2-40B4-BE49-F238E27FC236}">
                    <a16:creationId xmlns:a16="http://schemas.microsoft.com/office/drawing/2014/main" id="{C06FA859-7833-4A88-AF0A-6186E033663C}"/>
                  </a:ext>
                </a:extLst>
              </p:cNvPr>
              <p:cNvCxnSpPr>
                <a:cxnSpLocks/>
              </p:cNvCxnSpPr>
              <p:nvPr/>
            </p:nvCxnSpPr>
            <p:spPr>
              <a:xfrm flipH="1">
                <a:off x="848985" y="3295567"/>
                <a:ext cx="6861987" cy="0"/>
              </a:xfrm>
              <a:prstGeom prst="line">
                <a:avLst/>
              </a:prstGeom>
              <a:ln w="31750" cap="rnd">
                <a:solidFill>
                  <a:schemeClr val="tx1">
                    <a:lumMod val="95000"/>
                    <a:lumOff val="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A1486F04-9FE9-4442-9BB8-61426A6E92BF}"/>
                  </a:ext>
                </a:extLst>
              </p:cNvPr>
              <p:cNvSpPr/>
              <p:nvPr/>
            </p:nvSpPr>
            <p:spPr>
              <a:xfrm>
                <a:off x="5967483" y="3153880"/>
                <a:ext cx="283540" cy="283540"/>
              </a:xfrm>
              <a:prstGeom prst="ellipse">
                <a:avLst/>
              </a:prstGeom>
              <a:solidFill>
                <a:srgbClr val="32ACFA"/>
              </a:solidFill>
              <a:ln>
                <a:solidFill>
                  <a:srgbClr val="85EB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endParaRPr>
              </a:p>
            </p:txBody>
          </p:sp>
          <p:sp>
            <p:nvSpPr>
              <p:cNvPr id="28" name="Circle: Hollow 27">
                <a:extLst>
                  <a:ext uri="{FF2B5EF4-FFF2-40B4-BE49-F238E27FC236}">
                    <a16:creationId xmlns:a16="http://schemas.microsoft.com/office/drawing/2014/main" id="{1F3D839F-5822-4B5C-893B-7FF977D9229A}"/>
                  </a:ext>
                </a:extLst>
              </p:cNvPr>
              <p:cNvSpPr/>
              <p:nvPr/>
            </p:nvSpPr>
            <p:spPr>
              <a:xfrm>
                <a:off x="5940978" y="3127375"/>
                <a:ext cx="336550" cy="336550"/>
              </a:xfrm>
              <a:prstGeom prst="donut">
                <a:avLst>
                  <a:gd name="adj" fmla="val 7064"/>
                </a:avLst>
              </a:prstGeom>
              <a:solidFill>
                <a:schemeClr val="tx1">
                  <a:lumMod val="95000"/>
                  <a:lumOff val="5000"/>
                </a:schemeClr>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4BB4A4E0-B9D0-456D-8513-4F4AB1D3B1D3}"/>
                  </a:ext>
                </a:extLst>
              </p:cNvPr>
              <p:cNvSpPr/>
              <p:nvPr/>
            </p:nvSpPr>
            <p:spPr>
              <a:xfrm>
                <a:off x="6033053" y="3219450"/>
                <a:ext cx="152400" cy="152400"/>
              </a:xfrm>
              <a:prstGeom prst="ellipse">
                <a:avLst/>
              </a:prstGeom>
              <a:solidFill>
                <a:schemeClr val="tx1">
                  <a:lumMod val="95000"/>
                  <a:lumOff val="5000"/>
                </a:schemeClr>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grpSp>
        <p:sp>
          <p:nvSpPr>
            <p:cNvPr id="19" name="TextBox 18">
              <a:extLst>
                <a:ext uri="{FF2B5EF4-FFF2-40B4-BE49-F238E27FC236}">
                  <a16:creationId xmlns:a16="http://schemas.microsoft.com/office/drawing/2014/main" id="{9B9ED92D-801C-41F2-82DB-CDCAA24B3330}"/>
                </a:ext>
              </a:extLst>
            </p:cNvPr>
            <p:cNvSpPr txBox="1"/>
            <p:nvPr/>
          </p:nvSpPr>
          <p:spPr>
            <a:xfrm>
              <a:off x="6351223" y="233740"/>
              <a:ext cx="1629285"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600" b="1" i="0" u="none" strike="noStrike" kern="1200" cap="none" spc="0" normalizeH="0" baseline="0" noProof="0" dirty="0" smtClean="0">
                  <a:ln>
                    <a:noFill/>
                  </a:ln>
                  <a:solidFill>
                    <a:prstClr val="black">
                      <a:lumMod val="95000"/>
                      <a:lumOff val="5000"/>
                    </a:prstClr>
                  </a:solidFill>
                  <a:effectLst/>
                  <a:uLnTx/>
                  <a:uFillTx/>
                  <a:latin typeface="Agency FB" panose="020B0503020202020204" pitchFamily="34" charset="0"/>
                  <a:ea typeface="+mn-ea"/>
                  <a:cs typeface="+mn-cs"/>
                </a:rPr>
                <a:t>0</a:t>
              </a:r>
              <a:r>
                <a:rPr lang="ru-RU" sz="9600" b="1" dirty="0">
                  <a:solidFill>
                    <a:prstClr val="black">
                      <a:lumMod val="95000"/>
                      <a:lumOff val="5000"/>
                    </a:prstClr>
                  </a:solidFill>
                  <a:latin typeface="Agency FB" panose="020B0503020202020204" pitchFamily="34" charset="0"/>
                </a:rPr>
                <a:t>9</a:t>
              </a:r>
              <a:endParaRPr kumimoji="0" lang="en-US" sz="9600" b="1" i="0" u="none" strike="noStrike" kern="1200" cap="none" spc="0" normalizeH="0" baseline="0" noProof="0" dirty="0">
                <a:ln>
                  <a:noFill/>
                </a:ln>
                <a:solidFill>
                  <a:prstClr val="black">
                    <a:lumMod val="95000"/>
                    <a:lumOff val="5000"/>
                  </a:prstClr>
                </a:solidFill>
                <a:effectLst/>
                <a:uLnTx/>
                <a:uFillTx/>
                <a:latin typeface="Agency FB" panose="020B0503020202020204" pitchFamily="34" charset="0"/>
                <a:ea typeface="+mn-ea"/>
                <a:cs typeface="+mn-cs"/>
              </a:endParaRPr>
            </a:p>
          </p:txBody>
        </p:sp>
        <p:sp>
          <p:nvSpPr>
            <p:cNvPr id="24" name="TextBox 23">
              <a:extLst>
                <a:ext uri="{FF2B5EF4-FFF2-40B4-BE49-F238E27FC236}">
                  <a16:creationId xmlns:a16="http://schemas.microsoft.com/office/drawing/2014/main" id="{A03E3004-419F-41F9-B866-9D196FC72794}"/>
                </a:ext>
              </a:extLst>
            </p:cNvPr>
            <p:cNvSpPr txBox="1"/>
            <p:nvPr/>
          </p:nvSpPr>
          <p:spPr>
            <a:xfrm>
              <a:off x="658913" y="665133"/>
              <a:ext cx="3738230" cy="707886"/>
            </a:xfrm>
            <a:prstGeom prst="rect">
              <a:avLst/>
            </a:prstGeom>
            <a:noFill/>
          </p:spPr>
          <p:txBody>
            <a:bodyPr wrap="square" rtlCol="0">
              <a:spAutoFit/>
            </a:bodyPr>
            <a:lstStyle/>
            <a:p>
              <a:pPr lvl="0" algn="r">
                <a:defRPr/>
              </a:pPr>
              <a:r>
                <a:rPr lang="ru-RU" sz="2000" b="1" dirty="0">
                  <a:solidFill>
                    <a:prstClr val="black">
                      <a:lumMod val="95000"/>
                      <a:lumOff val="5000"/>
                    </a:prstClr>
                  </a:solidFill>
                  <a:latin typeface="Century Gothic" panose="020B0502020202020204" pitchFamily="34" charset="0"/>
                  <a:ea typeface="Tahoma" panose="020B0604030504040204" pitchFamily="34" charset="0"/>
                  <a:cs typeface="Tahoma" panose="020B0604030504040204" pitchFamily="34" charset="0"/>
                </a:rPr>
                <a:t>Молекулярная генетика и генная инженерия</a:t>
              </a:r>
            </a:p>
          </p:txBody>
        </p:sp>
        <p:sp>
          <p:nvSpPr>
            <p:cNvPr id="22" name="Oval 21">
              <a:extLst>
                <a:ext uri="{FF2B5EF4-FFF2-40B4-BE49-F238E27FC236}">
                  <a16:creationId xmlns:a16="http://schemas.microsoft.com/office/drawing/2014/main" id="{9405A306-6232-46FD-B580-2898989252AC}"/>
                </a:ext>
              </a:extLst>
            </p:cNvPr>
            <p:cNvSpPr/>
            <p:nvPr/>
          </p:nvSpPr>
          <p:spPr>
            <a:xfrm>
              <a:off x="4654073" y="572966"/>
              <a:ext cx="838200" cy="838200"/>
            </a:xfrm>
            <a:prstGeom prst="ellipse">
              <a:avLst/>
            </a:prstGeom>
            <a:solidFill>
              <a:schemeClr val="tx1">
                <a:lumMod val="95000"/>
                <a:lumOff val="5000"/>
              </a:schemeClr>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grpSp>
      <p:sp>
        <p:nvSpPr>
          <p:cNvPr id="52" name="TextBox 51">
            <a:extLst>
              <a:ext uri="{FF2B5EF4-FFF2-40B4-BE49-F238E27FC236}">
                <a16:creationId xmlns:a16="http://schemas.microsoft.com/office/drawing/2014/main" id="{6AC9190C-B033-46D6-8D64-7FA5DD85093B}"/>
              </a:ext>
            </a:extLst>
          </p:cNvPr>
          <p:cNvSpPr txBox="1"/>
          <p:nvPr/>
        </p:nvSpPr>
        <p:spPr>
          <a:xfrm>
            <a:off x="4207730" y="4830718"/>
            <a:ext cx="1629285"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9600" b="1" dirty="0" smtClean="0">
                <a:solidFill>
                  <a:prstClr val="black">
                    <a:lumMod val="95000"/>
                    <a:lumOff val="5000"/>
                  </a:prstClr>
                </a:solidFill>
                <a:latin typeface="Agency FB" panose="020B0503020202020204" pitchFamily="34" charset="0"/>
              </a:rPr>
              <a:t>10</a:t>
            </a:r>
            <a:endParaRPr kumimoji="0" lang="en-US" sz="9600" b="1" i="0" u="none" strike="noStrike" kern="1200" cap="none" spc="0" normalizeH="0" baseline="0" noProof="0" dirty="0">
              <a:ln>
                <a:noFill/>
              </a:ln>
              <a:solidFill>
                <a:prstClr val="black">
                  <a:lumMod val="95000"/>
                  <a:lumOff val="5000"/>
                </a:prstClr>
              </a:solidFill>
              <a:effectLst/>
              <a:uLnTx/>
              <a:uFillTx/>
              <a:latin typeface="Agency FB" panose="020B0503020202020204" pitchFamily="34" charset="0"/>
              <a:ea typeface="+mn-ea"/>
              <a:cs typeface="+mn-cs"/>
            </a:endParaRPr>
          </a:p>
        </p:txBody>
      </p:sp>
      <p:sp>
        <p:nvSpPr>
          <p:cNvPr id="54" name="TextBox 53">
            <a:extLst>
              <a:ext uri="{FF2B5EF4-FFF2-40B4-BE49-F238E27FC236}">
                <a16:creationId xmlns:a16="http://schemas.microsoft.com/office/drawing/2014/main" id="{0647E3EC-E862-44A6-8956-C243D63C462E}"/>
              </a:ext>
            </a:extLst>
          </p:cNvPr>
          <p:cNvSpPr txBox="1"/>
          <p:nvPr/>
        </p:nvSpPr>
        <p:spPr>
          <a:xfrm>
            <a:off x="5547137" y="5426197"/>
            <a:ext cx="3224563" cy="400110"/>
          </a:xfrm>
          <a:prstGeom prst="rect">
            <a:avLst/>
          </a:prstGeom>
          <a:noFill/>
        </p:spPr>
        <p:txBody>
          <a:bodyPr wrap="square" rtlCol="0">
            <a:spAutoFit/>
          </a:bodyPr>
          <a:lstStyle/>
          <a:p>
            <a:pPr lvl="0" algn="ctr">
              <a:defRPr/>
            </a:pPr>
            <a:r>
              <a:rPr lang="ru-RU" sz="2000" b="1" dirty="0">
                <a:solidFill>
                  <a:prstClr val="black">
                    <a:lumMod val="95000"/>
                    <a:lumOff val="5000"/>
                  </a:prstClr>
                </a:solidFill>
                <a:latin typeface="Century Gothic" panose="020B0502020202020204" pitchFamily="34" charset="0"/>
                <a:ea typeface="Tahoma" panose="020B0604030504040204" pitchFamily="34" charset="0"/>
                <a:cs typeface="Tahoma" panose="020B0604030504040204" pitchFamily="34" charset="0"/>
              </a:rPr>
              <a:t>Прикладная химия</a:t>
            </a:r>
          </a:p>
        </p:txBody>
      </p:sp>
      <p:sp>
        <p:nvSpPr>
          <p:cNvPr id="21" name="Freeform 35"/>
          <p:cNvSpPr>
            <a:spLocks noEditPoints="1"/>
          </p:cNvSpPr>
          <p:nvPr/>
        </p:nvSpPr>
        <p:spPr bwMode="auto">
          <a:xfrm>
            <a:off x="5638910" y="3377603"/>
            <a:ext cx="919934" cy="1104598"/>
          </a:xfrm>
          <a:custGeom>
            <a:avLst/>
            <a:gdLst/>
            <a:ahLst/>
            <a:cxnLst>
              <a:cxn ang="0">
                <a:pos x="37" y="23"/>
              </a:cxn>
              <a:cxn ang="0">
                <a:pos x="37" y="3"/>
              </a:cxn>
              <a:cxn ang="0">
                <a:pos x="40" y="3"/>
              </a:cxn>
              <a:cxn ang="0">
                <a:pos x="40" y="0"/>
              </a:cxn>
              <a:cxn ang="0">
                <a:pos x="17" y="0"/>
              </a:cxn>
              <a:cxn ang="0">
                <a:pos x="17" y="3"/>
              </a:cxn>
              <a:cxn ang="0">
                <a:pos x="20" y="3"/>
              </a:cxn>
              <a:cxn ang="0">
                <a:pos x="20" y="23"/>
              </a:cxn>
              <a:cxn ang="0">
                <a:pos x="0" y="60"/>
              </a:cxn>
              <a:cxn ang="0">
                <a:pos x="9" y="69"/>
              </a:cxn>
              <a:cxn ang="0">
                <a:pos x="49" y="69"/>
              </a:cxn>
              <a:cxn ang="0">
                <a:pos x="57" y="60"/>
              </a:cxn>
              <a:cxn ang="0">
                <a:pos x="37" y="23"/>
              </a:cxn>
              <a:cxn ang="0">
                <a:pos x="49" y="66"/>
              </a:cxn>
              <a:cxn ang="0">
                <a:pos x="9" y="66"/>
              </a:cxn>
              <a:cxn ang="0">
                <a:pos x="3" y="60"/>
              </a:cxn>
              <a:cxn ang="0">
                <a:pos x="22" y="24"/>
              </a:cxn>
              <a:cxn ang="0">
                <a:pos x="23" y="24"/>
              </a:cxn>
              <a:cxn ang="0">
                <a:pos x="23" y="3"/>
              </a:cxn>
              <a:cxn ang="0">
                <a:pos x="34" y="3"/>
              </a:cxn>
              <a:cxn ang="0">
                <a:pos x="34" y="24"/>
              </a:cxn>
              <a:cxn ang="0">
                <a:pos x="35" y="24"/>
              </a:cxn>
              <a:cxn ang="0">
                <a:pos x="54" y="60"/>
              </a:cxn>
              <a:cxn ang="0">
                <a:pos x="49" y="66"/>
              </a:cxn>
              <a:cxn ang="0">
                <a:pos x="20" y="55"/>
              </a:cxn>
              <a:cxn ang="0">
                <a:pos x="17" y="58"/>
              </a:cxn>
              <a:cxn ang="0">
                <a:pos x="14" y="55"/>
              </a:cxn>
              <a:cxn ang="0">
                <a:pos x="17" y="52"/>
              </a:cxn>
              <a:cxn ang="0">
                <a:pos x="20" y="55"/>
              </a:cxn>
              <a:cxn ang="0">
                <a:pos x="37" y="59"/>
              </a:cxn>
              <a:cxn ang="0">
                <a:pos x="33" y="63"/>
              </a:cxn>
              <a:cxn ang="0">
                <a:pos x="29" y="59"/>
              </a:cxn>
              <a:cxn ang="0">
                <a:pos x="33" y="55"/>
              </a:cxn>
              <a:cxn ang="0">
                <a:pos x="37" y="59"/>
              </a:cxn>
              <a:cxn ang="0">
                <a:pos x="30" y="54"/>
              </a:cxn>
              <a:cxn ang="0">
                <a:pos x="27" y="57"/>
              </a:cxn>
              <a:cxn ang="0">
                <a:pos x="23" y="54"/>
              </a:cxn>
              <a:cxn ang="0">
                <a:pos x="27" y="50"/>
              </a:cxn>
              <a:cxn ang="0">
                <a:pos x="30" y="54"/>
              </a:cxn>
              <a:cxn ang="0">
                <a:pos x="26" y="49"/>
              </a:cxn>
              <a:cxn ang="0">
                <a:pos x="21" y="44"/>
              </a:cxn>
              <a:cxn ang="0">
                <a:pos x="26" y="39"/>
              </a:cxn>
              <a:cxn ang="0">
                <a:pos x="31" y="44"/>
              </a:cxn>
              <a:cxn ang="0">
                <a:pos x="26" y="49"/>
              </a:cxn>
              <a:cxn ang="0">
                <a:pos x="34" y="44"/>
              </a:cxn>
              <a:cxn ang="0">
                <a:pos x="37" y="41"/>
              </a:cxn>
              <a:cxn ang="0">
                <a:pos x="40" y="44"/>
              </a:cxn>
              <a:cxn ang="0">
                <a:pos x="37" y="47"/>
              </a:cxn>
              <a:cxn ang="0">
                <a:pos x="34" y="44"/>
              </a:cxn>
              <a:cxn ang="0">
                <a:pos x="37" y="51"/>
              </a:cxn>
              <a:cxn ang="0">
                <a:pos x="35" y="53"/>
              </a:cxn>
              <a:cxn ang="0">
                <a:pos x="33" y="51"/>
              </a:cxn>
              <a:cxn ang="0">
                <a:pos x="35" y="49"/>
              </a:cxn>
              <a:cxn ang="0">
                <a:pos x="37" y="51"/>
              </a:cxn>
              <a:cxn ang="0">
                <a:pos x="37" y="51"/>
              </a:cxn>
              <a:cxn ang="0">
                <a:pos x="37" y="51"/>
              </a:cxn>
            </a:cxnLst>
            <a:rect l="0" t="0" r="r" b="b"/>
            <a:pathLst>
              <a:path w="57" h="69">
                <a:moveTo>
                  <a:pt x="37" y="23"/>
                </a:moveTo>
                <a:cubicBezTo>
                  <a:pt x="37" y="3"/>
                  <a:pt x="37" y="3"/>
                  <a:pt x="37" y="3"/>
                </a:cubicBezTo>
                <a:cubicBezTo>
                  <a:pt x="40" y="3"/>
                  <a:pt x="40" y="3"/>
                  <a:pt x="40" y="3"/>
                </a:cubicBezTo>
                <a:cubicBezTo>
                  <a:pt x="40" y="0"/>
                  <a:pt x="40" y="0"/>
                  <a:pt x="40" y="0"/>
                </a:cubicBezTo>
                <a:cubicBezTo>
                  <a:pt x="17" y="0"/>
                  <a:pt x="17" y="0"/>
                  <a:pt x="17" y="0"/>
                </a:cubicBezTo>
                <a:cubicBezTo>
                  <a:pt x="17" y="3"/>
                  <a:pt x="17" y="3"/>
                  <a:pt x="17" y="3"/>
                </a:cubicBezTo>
                <a:cubicBezTo>
                  <a:pt x="20" y="3"/>
                  <a:pt x="20" y="3"/>
                  <a:pt x="20" y="3"/>
                </a:cubicBezTo>
                <a:cubicBezTo>
                  <a:pt x="20" y="23"/>
                  <a:pt x="20" y="23"/>
                  <a:pt x="20" y="23"/>
                </a:cubicBezTo>
                <a:cubicBezTo>
                  <a:pt x="20" y="23"/>
                  <a:pt x="0" y="51"/>
                  <a:pt x="0" y="60"/>
                </a:cubicBezTo>
                <a:cubicBezTo>
                  <a:pt x="0" y="69"/>
                  <a:pt x="9" y="69"/>
                  <a:pt x="9" y="69"/>
                </a:cubicBezTo>
                <a:cubicBezTo>
                  <a:pt x="49" y="69"/>
                  <a:pt x="49" y="69"/>
                  <a:pt x="49" y="69"/>
                </a:cubicBezTo>
                <a:cubicBezTo>
                  <a:pt x="49" y="69"/>
                  <a:pt x="57" y="69"/>
                  <a:pt x="57" y="60"/>
                </a:cubicBezTo>
                <a:cubicBezTo>
                  <a:pt x="57" y="51"/>
                  <a:pt x="37" y="23"/>
                  <a:pt x="37" y="23"/>
                </a:cubicBezTo>
                <a:close/>
                <a:moveTo>
                  <a:pt x="49" y="66"/>
                </a:moveTo>
                <a:cubicBezTo>
                  <a:pt x="9" y="66"/>
                  <a:pt x="9" y="66"/>
                  <a:pt x="9" y="66"/>
                </a:cubicBezTo>
                <a:cubicBezTo>
                  <a:pt x="8" y="66"/>
                  <a:pt x="3" y="65"/>
                  <a:pt x="3" y="60"/>
                </a:cubicBezTo>
                <a:cubicBezTo>
                  <a:pt x="3" y="54"/>
                  <a:pt x="15" y="35"/>
                  <a:pt x="22" y="24"/>
                </a:cubicBezTo>
                <a:cubicBezTo>
                  <a:pt x="23" y="24"/>
                  <a:pt x="23" y="24"/>
                  <a:pt x="23" y="24"/>
                </a:cubicBezTo>
                <a:cubicBezTo>
                  <a:pt x="23" y="3"/>
                  <a:pt x="23" y="3"/>
                  <a:pt x="23" y="3"/>
                </a:cubicBezTo>
                <a:cubicBezTo>
                  <a:pt x="34" y="3"/>
                  <a:pt x="34" y="3"/>
                  <a:pt x="34" y="3"/>
                </a:cubicBezTo>
                <a:cubicBezTo>
                  <a:pt x="34" y="24"/>
                  <a:pt x="34" y="24"/>
                  <a:pt x="34" y="24"/>
                </a:cubicBezTo>
                <a:cubicBezTo>
                  <a:pt x="35" y="24"/>
                  <a:pt x="35" y="24"/>
                  <a:pt x="35" y="24"/>
                </a:cubicBezTo>
                <a:cubicBezTo>
                  <a:pt x="42" y="35"/>
                  <a:pt x="54" y="54"/>
                  <a:pt x="54" y="60"/>
                </a:cubicBezTo>
                <a:cubicBezTo>
                  <a:pt x="54" y="65"/>
                  <a:pt x="50" y="66"/>
                  <a:pt x="49" y="66"/>
                </a:cubicBezTo>
                <a:close/>
                <a:moveTo>
                  <a:pt x="20" y="55"/>
                </a:moveTo>
                <a:cubicBezTo>
                  <a:pt x="20" y="56"/>
                  <a:pt x="19" y="58"/>
                  <a:pt x="17" y="58"/>
                </a:cubicBezTo>
                <a:cubicBezTo>
                  <a:pt x="16" y="58"/>
                  <a:pt x="14" y="56"/>
                  <a:pt x="14" y="55"/>
                </a:cubicBezTo>
                <a:cubicBezTo>
                  <a:pt x="14" y="53"/>
                  <a:pt x="16" y="52"/>
                  <a:pt x="17" y="52"/>
                </a:cubicBezTo>
                <a:cubicBezTo>
                  <a:pt x="19" y="52"/>
                  <a:pt x="20" y="53"/>
                  <a:pt x="20" y="55"/>
                </a:cubicBezTo>
                <a:close/>
                <a:moveTo>
                  <a:pt x="37" y="59"/>
                </a:moveTo>
                <a:cubicBezTo>
                  <a:pt x="37" y="61"/>
                  <a:pt x="35" y="63"/>
                  <a:pt x="33" y="63"/>
                </a:cubicBezTo>
                <a:cubicBezTo>
                  <a:pt x="31" y="63"/>
                  <a:pt x="29" y="61"/>
                  <a:pt x="29" y="59"/>
                </a:cubicBezTo>
                <a:cubicBezTo>
                  <a:pt x="29" y="57"/>
                  <a:pt x="31" y="55"/>
                  <a:pt x="33" y="55"/>
                </a:cubicBezTo>
                <a:cubicBezTo>
                  <a:pt x="35" y="55"/>
                  <a:pt x="37" y="57"/>
                  <a:pt x="37" y="59"/>
                </a:cubicBezTo>
                <a:close/>
                <a:moveTo>
                  <a:pt x="30" y="54"/>
                </a:moveTo>
                <a:cubicBezTo>
                  <a:pt x="30" y="56"/>
                  <a:pt x="29" y="57"/>
                  <a:pt x="27" y="57"/>
                </a:cubicBezTo>
                <a:cubicBezTo>
                  <a:pt x="25" y="57"/>
                  <a:pt x="23" y="56"/>
                  <a:pt x="23" y="54"/>
                </a:cubicBezTo>
                <a:cubicBezTo>
                  <a:pt x="23" y="52"/>
                  <a:pt x="25" y="50"/>
                  <a:pt x="27" y="50"/>
                </a:cubicBezTo>
                <a:cubicBezTo>
                  <a:pt x="29" y="50"/>
                  <a:pt x="30" y="52"/>
                  <a:pt x="30" y="54"/>
                </a:cubicBezTo>
                <a:close/>
                <a:moveTo>
                  <a:pt x="26" y="49"/>
                </a:moveTo>
                <a:cubicBezTo>
                  <a:pt x="23" y="49"/>
                  <a:pt x="21" y="47"/>
                  <a:pt x="21" y="44"/>
                </a:cubicBezTo>
                <a:cubicBezTo>
                  <a:pt x="21" y="41"/>
                  <a:pt x="23" y="39"/>
                  <a:pt x="26" y="39"/>
                </a:cubicBezTo>
                <a:cubicBezTo>
                  <a:pt x="29" y="39"/>
                  <a:pt x="31" y="41"/>
                  <a:pt x="31" y="44"/>
                </a:cubicBezTo>
                <a:cubicBezTo>
                  <a:pt x="31" y="47"/>
                  <a:pt x="29" y="49"/>
                  <a:pt x="26" y="49"/>
                </a:cubicBezTo>
                <a:close/>
                <a:moveTo>
                  <a:pt x="34" y="44"/>
                </a:moveTo>
                <a:cubicBezTo>
                  <a:pt x="34" y="43"/>
                  <a:pt x="35" y="41"/>
                  <a:pt x="37" y="41"/>
                </a:cubicBezTo>
                <a:cubicBezTo>
                  <a:pt x="38" y="41"/>
                  <a:pt x="40" y="43"/>
                  <a:pt x="40" y="44"/>
                </a:cubicBezTo>
                <a:cubicBezTo>
                  <a:pt x="40" y="46"/>
                  <a:pt x="38" y="47"/>
                  <a:pt x="37" y="47"/>
                </a:cubicBezTo>
                <a:cubicBezTo>
                  <a:pt x="35" y="47"/>
                  <a:pt x="34" y="46"/>
                  <a:pt x="34" y="44"/>
                </a:cubicBezTo>
                <a:close/>
                <a:moveTo>
                  <a:pt x="37" y="51"/>
                </a:moveTo>
                <a:cubicBezTo>
                  <a:pt x="37" y="52"/>
                  <a:pt x="36" y="53"/>
                  <a:pt x="35" y="53"/>
                </a:cubicBezTo>
                <a:cubicBezTo>
                  <a:pt x="34" y="53"/>
                  <a:pt x="33" y="52"/>
                  <a:pt x="33" y="51"/>
                </a:cubicBezTo>
                <a:cubicBezTo>
                  <a:pt x="33" y="50"/>
                  <a:pt x="34" y="49"/>
                  <a:pt x="35" y="49"/>
                </a:cubicBezTo>
                <a:cubicBezTo>
                  <a:pt x="36" y="49"/>
                  <a:pt x="37" y="50"/>
                  <a:pt x="37" y="51"/>
                </a:cubicBezTo>
                <a:close/>
                <a:moveTo>
                  <a:pt x="37" y="51"/>
                </a:moveTo>
                <a:cubicBezTo>
                  <a:pt x="37" y="51"/>
                  <a:pt x="37" y="51"/>
                  <a:pt x="37" y="51"/>
                </a:cubicBezTo>
              </a:path>
            </a:pathLst>
          </a:custGeom>
          <a:solidFill>
            <a:srgbClr val="32ACFA"/>
          </a:solidFill>
          <a:ln w="9525">
            <a:solidFill>
              <a:srgbClr val="32ACFA"/>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10"/>
          <p:cNvSpPr>
            <a:spLocks noEditPoints="1"/>
          </p:cNvSpPr>
          <p:nvPr/>
        </p:nvSpPr>
        <p:spPr bwMode="auto">
          <a:xfrm>
            <a:off x="4785169" y="767643"/>
            <a:ext cx="590484" cy="452403"/>
          </a:xfrm>
          <a:custGeom>
            <a:avLst/>
            <a:gdLst>
              <a:gd name="T0" fmla="*/ 633 w 718"/>
              <a:gd name="T1" fmla="*/ 0 h 549"/>
              <a:gd name="T2" fmla="*/ 549 w 718"/>
              <a:gd name="T3" fmla="*/ 84 h 549"/>
              <a:gd name="T4" fmla="*/ 578 w 718"/>
              <a:gd name="T5" fmla="*/ 148 h 549"/>
              <a:gd name="T6" fmla="*/ 475 w 718"/>
              <a:gd name="T7" fmla="*/ 302 h 549"/>
              <a:gd name="T8" fmla="*/ 443 w 718"/>
              <a:gd name="T9" fmla="*/ 296 h 549"/>
              <a:gd name="T10" fmla="*/ 369 w 718"/>
              <a:gd name="T11" fmla="*/ 340 h 549"/>
              <a:gd name="T12" fmla="*/ 310 w 718"/>
              <a:gd name="T13" fmla="*/ 305 h 549"/>
              <a:gd name="T14" fmla="*/ 316 w 718"/>
              <a:gd name="T15" fmla="*/ 275 h 549"/>
              <a:gd name="T16" fmla="*/ 232 w 718"/>
              <a:gd name="T17" fmla="*/ 190 h 549"/>
              <a:gd name="T18" fmla="*/ 147 w 718"/>
              <a:gd name="T19" fmla="*/ 275 h 549"/>
              <a:gd name="T20" fmla="*/ 176 w 718"/>
              <a:gd name="T21" fmla="*/ 338 h 549"/>
              <a:gd name="T22" fmla="*/ 133 w 718"/>
              <a:gd name="T23" fmla="*/ 396 h 549"/>
              <a:gd name="T24" fmla="*/ 84 w 718"/>
              <a:gd name="T25" fmla="*/ 380 h 549"/>
              <a:gd name="T26" fmla="*/ 0 w 718"/>
              <a:gd name="T27" fmla="*/ 465 h 549"/>
              <a:gd name="T28" fmla="*/ 84 w 718"/>
              <a:gd name="T29" fmla="*/ 549 h 549"/>
              <a:gd name="T30" fmla="*/ 168 w 718"/>
              <a:gd name="T31" fmla="*/ 465 h 549"/>
              <a:gd name="T32" fmla="*/ 148 w 718"/>
              <a:gd name="T33" fmla="*/ 411 h 549"/>
              <a:gd name="T34" fmla="*/ 194 w 718"/>
              <a:gd name="T35" fmla="*/ 350 h 549"/>
              <a:gd name="T36" fmla="*/ 232 w 718"/>
              <a:gd name="T37" fmla="*/ 359 h 549"/>
              <a:gd name="T38" fmla="*/ 300 w 718"/>
              <a:gd name="T39" fmla="*/ 324 h 549"/>
              <a:gd name="T40" fmla="*/ 361 w 718"/>
              <a:gd name="T41" fmla="*/ 360 h 549"/>
              <a:gd name="T42" fmla="*/ 359 w 718"/>
              <a:gd name="T43" fmla="*/ 380 h 549"/>
              <a:gd name="T44" fmla="*/ 443 w 718"/>
              <a:gd name="T45" fmla="*/ 465 h 549"/>
              <a:gd name="T46" fmla="*/ 528 w 718"/>
              <a:gd name="T47" fmla="*/ 380 h 549"/>
              <a:gd name="T48" fmla="*/ 494 w 718"/>
              <a:gd name="T49" fmla="*/ 313 h 549"/>
              <a:gd name="T50" fmla="*/ 596 w 718"/>
              <a:gd name="T51" fmla="*/ 160 h 549"/>
              <a:gd name="T52" fmla="*/ 633 w 718"/>
              <a:gd name="T53" fmla="*/ 169 h 549"/>
              <a:gd name="T54" fmla="*/ 718 w 718"/>
              <a:gd name="T55" fmla="*/ 84 h 549"/>
              <a:gd name="T56" fmla="*/ 633 w 718"/>
              <a:gd name="T57" fmla="*/ 0 h 549"/>
              <a:gd name="T58" fmla="*/ 84 w 718"/>
              <a:gd name="T59" fmla="*/ 507 h 549"/>
              <a:gd name="T60" fmla="*/ 42 w 718"/>
              <a:gd name="T61" fmla="*/ 465 h 549"/>
              <a:gd name="T62" fmla="*/ 84 w 718"/>
              <a:gd name="T63" fmla="*/ 422 h 549"/>
              <a:gd name="T64" fmla="*/ 126 w 718"/>
              <a:gd name="T65" fmla="*/ 465 h 549"/>
              <a:gd name="T66" fmla="*/ 84 w 718"/>
              <a:gd name="T67" fmla="*/ 507 h 549"/>
              <a:gd name="T68" fmla="*/ 232 w 718"/>
              <a:gd name="T69" fmla="*/ 317 h 549"/>
              <a:gd name="T70" fmla="*/ 190 w 718"/>
              <a:gd name="T71" fmla="*/ 275 h 549"/>
              <a:gd name="T72" fmla="*/ 232 w 718"/>
              <a:gd name="T73" fmla="*/ 233 h 549"/>
              <a:gd name="T74" fmla="*/ 274 w 718"/>
              <a:gd name="T75" fmla="*/ 275 h 549"/>
              <a:gd name="T76" fmla="*/ 232 w 718"/>
              <a:gd name="T77" fmla="*/ 317 h 549"/>
              <a:gd name="T78" fmla="*/ 443 w 718"/>
              <a:gd name="T79" fmla="*/ 422 h 549"/>
              <a:gd name="T80" fmla="*/ 401 w 718"/>
              <a:gd name="T81" fmla="*/ 380 h 549"/>
              <a:gd name="T82" fmla="*/ 443 w 718"/>
              <a:gd name="T83" fmla="*/ 338 h 549"/>
              <a:gd name="T84" fmla="*/ 486 w 718"/>
              <a:gd name="T85" fmla="*/ 380 h 549"/>
              <a:gd name="T86" fmla="*/ 443 w 718"/>
              <a:gd name="T87" fmla="*/ 422 h 549"/>
              <a:gd name="T88" fmla="*/ 633 w 718"/>
              <a:gd name="T89" fmla="*/ 127 h 549"/>
              <a:gd name="T90" fmla="*/ 591 w 718"/>
              <a:gd name="T91" fmla="*/ 84 h 549"/>
              <a:gd name="T92" fmla="*/ 633 w 718"/>
              <a:gd name="T93" fmla="*/ 42 h 549"/>
              <a:gd name="T94" fmla="*/ 675 w 718"/>
              <a:gd name="T95" fmla="*/ 84 h 549"/>
              <a:gd name="T96" fmla="*/ 633 w 718"/>
              <a:gd name="T97" fmla="*/ 127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18" h="549">
                <a:moveTo>
                  <a:pt x="633" y="0"/>
                </a:moveTo>
                <a:cubicBezTo>
                  <a:pt x="587" y="0"/>
                  <a:pt x="549" y="38"/>
                  <a:pt x="549" y="84"/>
                </a:cubicBezTo>
                <a:cubicBezTo>
                  <a:pt x="549" y="110"/>
                  <a:pt x="561" y="132"/>
                  <a:pt x="578" y="148"/>
                </a:cubicBezTo>
                <a:cubicBezTo>
                  <a:pt x="475" y="302"/>
                  <a:pt x="475" y="302"/>
                  <a:pt x="475" y="302"/>
                </a:cubicBezTo>
                <a:cubicBezTo>
                  <a:pt x="466" y="298"/>
                  <a:pt x="455" y="296"/>
                  <a:pt x="443" y="296"/>
                </a:cubicBezTo>
                <a:cubicBezTo>
                  <a:pt x="411" y="296"/>
                  <a:pt x="383" y="314"/>
                  <a:pt x="369" y="340"/>
                </a:cubicBezTo>
                <a:cubicBezTo>
                  <a:pt x="310" y="305"/>
                  <a:pt x="310" y="305"/>
                  <a:pt x="310" y="305"/>
                </a:cubicBezTo>
                <a:cubicBezTo>
                  <a:pt x="314" y="296"/>
                  <a:pt x="316" y="285"/>
                  <a:pt x="316" y="275"/>
                </a:cubicBezTo>
                <a:cubicBezTo>
                  <a:pt x="316" y="228"/>
                  <a:pt x="278" y="190"/>
                  <a:pt x="232" y="190"/>
                </a:cubicBezTo>
                <a:cubicBezTo>
                  <a:pt x="185" y="190"/>
                  <a:pt x="147" y="228"/>
                  <a:pt x="147" y="275"/>
                </a:cubicBezTo>
                <a:cubicBezTo>
                  <a:pt x="147" y="300"/>
                  <a:pt x="159" y="322"/>
                  <a:pt x="176" y="338"/>
                </a:cubicBezTo>
                <a:cubicBezTo>
                  <a:pt x="133" y="396"/>
                  <a:pt x="133" y="396"/>
                  <a:pt x="133" y="396"/>
                </a:cubicBezTo>
                <a:cubicBezTo>
                  <a:pt x="119" y="386"/>
                  <a:pt x="102" y="380"/>
                  <a:pt x="84" y="380"/>
                </a:cubicBezTo>
                <a:cubicBezTo>
                  <a:pt x="38" y="380"/>
                  <a:pt x="0" y="418"/>
                  <a:pt x="0" y="465"/>
                </a:cubicBezTo>
                <a:cubicBezTo>
                  <a:pt x="0" y="511"/>
                  <a:pt x="38" y="549"/>
                  <a:pt x="84" y="549"/>
                </a:cubicBezTo>
                <a:cubicBezTo>
                  <a:pt x="130" y="549"/>
                  <a:pt x="168" y="511"/>
                  <a:pt x="168" y="465"/>
                </a:cubicBezTo>
                <a:cubicBezTo>
                  <a:pt x="168" y="444"/>
                  <a:pt x="160" y="425"/>
                  <a:pt x="148" y="411"/>
                </a:cubicBezTo>
                <a:cubicBezTo>
                  <a:pt x="194" y="350"/>
                  <a:pt x="194" y="350"/>
                  <a:pt x="194" y="350"/>
                </a:cubicBezTo>
                <a:cubicBezTo>
                  <a:pt x="205" y="355"/>
                  <a:pt x="218" y="359"/>
                  <a:pt x="232" y="359"/>
                </a:cubicBezTo>
                <a:cubicBezTo>
                  <a:pt x="260" y="359"/>
                  <a:pt x="285" y="345"/>
                  <a:pt x="300" y="324"/>
                </a:cubicBezTo>
                <a:cubicBezTo>
                  <a:pt x="361" y="360"/>
                  <a:pt x="361" y="360"/>
                  <a:pt x="361" y="360"/>
                </a:cubicBezTo>
                <a:cubicBezTo>
                  <a:pt x="360" y="367"/>
                  <a:pt x="359" y="373"/>
                  <a:pt x="359" y="380"/>
                </a:cubicBezTo>
                <a:cubicBezTo>
                  <a:pt x="359" y="427"/>
                  <a:pt x="397" y="465"/>
                  <a:pt x="443" y="465"/>
                </a:cubicBezTo>
                <a:cubicBezTo>
                  <a:pt x="490" y="465"/>
                  <a:pt x="528" y="427"/>
                  <a:pt x="528" y="380"/>
                </a:cubicBezTo>
                <a:cubicBezTo>
                  <a:pt x="528" y="352"/>
                  <a:pt x="514" y="328"/>
                  <a:pt x="494" y="313"/>
                </a:cubicBezTo>
                <a:cubicBezTo>
                  <a:pt x="596" y="160"/>
                  <a:pt x="596" y="160"/>
                  <a:pt x="596" y="160"/>
                </a:cubicBezTo>
                <a:cubicBezTo>
                  <a:pt x="607" y="165"/>
                  <a:pt x="620" y="169"/>
                  <a:pt x="633" y="169"/>
                </a:cubicBezTo>
                <a:cubicBezTo>
                  <a:pt x="680" y="169"/>
                  <a:pt x="718" y="131"/>
                  <a:pt x="718" y="84"/>
                </a:cubicBezTo>
                <a:cubicBezTo>
                  <a:pt x="718" y="38"/>
                  <a:pt x="680" y="0"/>
                  <a:pt x="633" y="0"/>
                </a:cubicBezTo>
                <a:close/>
                <a:moveTo>
                  <a:pt x="84" y="507"/>
                </a:moveTo>
                <a:cubicBezTo>
                  <a:pt x="61" y="507"/>
                  <a:pt x="42" y="488"/>
                  <a:pt x="42" y="465"/>
                </a:cubicBezTo>
                <a:cubicBezTo>
                  <a:pt x="42" y="441"/>
                  <a:pt x="61" y="422"/>
                  <a:pt x="84" y="422"/>
                </a:cubicBezTo>
                <a:cubicBezTo>
                  <a:pt x="107" y="422"/>
                  <a:pt x="126" y="441"/>
                  <a:pt x="126" y="465"/>
                </a:cubicBezTo>
                <a:cubicBezTo>
                  <a:pt x="126" y="488"/>
                  <a:pt x="107" y="507"/>
                  <a:pt x="84" y="507"/>
                </a:cubicBezTo>
                <a:close/>
                <a:moveTo>
                  <a:pt x="232" y="317"/>
                </a:moveTo>
                <a:cubicBezTo>
                  <a:pt x="209" y="317"/>
                  <a:pt x="190" y="298"/>
                  <a:pt x="190" y="275"/>
                </a:cubicBezTo>
                <a:cubicBezTo>
                  <a:pt x="190" y="251"/>
                  <a:pt x="209" y="233"/>
                  <a:pt x="232" y="233"/>
                </a:cubicBezTo>
                <a:cubicBezTo>
                  <a:pt x="255" y="233"/>
                  <a:pt x="274" y="251"/>
                  <a:pt x="274" y="275"/>
                </a:cubicBezTo>
                <a:cubicBezTo>
                  <a:pt x="274" y="298"/>
                  <a:pt x="255" y="317"/>
                  <a:pt x="232" y="317"/>
                </a:cubicBezTo>
                <a:close/>
                <a:moveTo>
                  <a:pt x="443" y="422"/>
                </a:moveTo>
                <a:cubicBezTo>
                  <a:pt x="420" y="422"/>
                  <a:pt x="401" y="403"/>
                  <a:pt x="401" y="380"/>
                </a:cubicBezTo>
                <a:cubicBezTo>
                  <a:pt x="401" y="357"/>
                  <a:pt x="420" y="338"/>
                  <a:pt x="443" y="338"/>
                </a:cubicBezTo>
                <a:cubicBezTo>
                  <a:pt x="467" y="338"/>
                  <a:pt x="486" y="357"/>
                  <a:pt x="486" y="380"/>
                </a:cubicBezTo>
                <a:cubicBezTo>
                  <a:pt x="486" y="403"/>
                  <a:pt x="467" y="422"/>
                  <a:pt x="443" y="422"/>
                </a:cubicBezTo>
                <a:close/>
                <a:moveTo>
                  <a:pt x="633" y="127"/>
                </a:moveTo>
                <a:cubicBezTo>
                  <a:pt x="610" y="127"/>
                  <a:pt x="591" y="108"/>
                  <a:pt x="591" y="84"/>
                </a:cubicBezTo>
                <a:cubicBezTo>
                  <a:pt x="591" y="61"/>
                  <a:pt x="610" y="42"/>
                  <a:pt x="633" y="42"/>
                </a:cubicBezTo>
                <a:cubicBezTo>
                  <a:pt x="657" y="42"/>
                  <a:pt x="675" y="61"/>
                  <a:pt x="675" y="84"/>
                </a:cubicBezTo>
                <a:cubicBezTo>
                  <a:pt x="675" y="108"/>
                  <a:pt x="657" y="127"/>
                  <a:pt x="633" y="127"/>
                </a:cubicBezTo>
                <a:close/>
              </a:path>
            </a:pathLst>
          </a:custGeom>
          <a:solidFill>
            <a:srgbClr val="32ACFA"/>
          </a:solidFill>
          <a:ln>
            <a:solidFill>
              <a:srgbClr val="32ACFA"/>
            </a:solidFill>
          </a:ln>
        </p:spPr>
        <p:txBody>
          <a:bodyPr vert="horz" wrap="square" lIns="91440" tIns="45720" rIns="91440" bIns="45720" numCol="1" anchor="t" anchorCtr="0" compatLnSpc="1">
            <a:prstTxWarp prst="textNoShape">
              <a:avLst/>
            </a:prstTxWarp>
          </a:bodyPr>
          <a:lstStyle/>
          <a:p>
            <a:pPr marL="0" marR="0" lvl="0" indent="0" defTabSz="1087444" eaLnBrk="1" fontAlgn="auto" latinLnBrk="0" hangingPunct="1">
              <a:lnSpc>
                <a:spcPct val="100000"/>
              </a:lnSpc>
              <a:spcBef>
                <a:spcPts val="0"/>
              </a:spcBef>
              <a:spcAft>
                <a:spcPts val="0"/>
              </a:spcAft>
              <a:buClrTx/>
              <a:buSzTx/>
              <a:buFontTx/>
              <a:buNone/>
              <a:tabLst/>
              <a:defRPr/>
            </a:pPr>
            <a:endParaRPr kumimoji="0" lang="id-ID" sz="4300" b="0" i="0" u="none" strike="noStrike" kern="0" cap="none" spc="0" normalizeH="0" baseline="0" noProof="0" dirty="0">
              <a:ln>
                <a:noFill/>
              </a:ln>
              <a:solidFill>
                <a:prstClr val="black"/>
              </a:solidFill>
              <a:effectLst/>
              <a:uLnTx/>
              <a:uFillTx/>
              <a:latin typeface="Open Sans Light"/>
            </a:endParaRPr>
          </a:p>
        </p:txBody>
      </p:sp>
    </p:spTree>
    <p:extLst>
      <p:ext uri="{BB962C8B-B14F-4D97-AF65-F5344CB8AC3E}">
        <p14:creationId xmlns:p14="http://schemas.microsoft.com/office/powerpoint/2010/main" val="57003843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4" name="Объект 23" hidden="1"/>
          <p:cNvGraphicFramePr>
            <a:graphicFrameLocks noChangeAspect="1"/>
          </p:cNvGraphicFramePr>
          <p:nvPr>
            <p:custDataLst>
              <p:tags r:id="rId2"/>
            </p:custDataLst>
            <p:extLst>
              <p:ext uri="{D42A27DB-BD31-4B8C-83A1-F6EECF244321}">
                <p14:modId xmlns:p14="http://schemas.microsoft.com/office/powerpoint/2010/main" val="1394740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7" name="Слайд think-cell" r:id="rId13" imgW="425" imgH="426" progId="TCLayout.ActiveDocument.1">
                  <p:embed/>
                </p:oleObj>
              </mc:Choice>
              <mc:Fallback>
                <p:oleObj name="Слайд think-cell" r:id="rId13" imgW="425" imgH="426"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6" name="Прямоугольник 15" hidden="1"/>
          <p:cNvSpPr/>
          <p:nvPr>
            <p:custDataLst>
              <p:tags r:id="rId3"/>
            </p:custDataLst>
          </p:nvPr>
        </p:nvSpPr>
        <p:spPr>
          <a:xfrm>
            <a:off x="0" y="0"/>
            <a:ext cx="158750" cy="158750"/>
          </a:xfrm>
          <a:prstGeom prst="rect">
            <a:avLst/>
          </a:prstGeom>
          <a:gradFill>
            <a:gsLst>
              <a:gs pos="0">
                <a:schemeClr val="accent1">
                  <a:alpha val="50000"/>
                </a:schemeClr>
              </a:gs>
              <a:gs pos="100000">
                <a:schemeClr val="accent4">
                  <a:lumMod val="100000"/>
                  <a:alpha val="81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ru-RU" sz="1400" dirty="0">
              <a:sym typeface="+mn-lt"/>
            </a:endParaRPr>
          </a:p>
        </p:txBody>
      </p:sp>
      <p:sp>
        <p:nvSpPr>
          <p:cNvPr id="2" name="TextBox 1">
            <a:extLst>
              <a:ext uri="{FF2B5EF4-FFF2-40B4-BE49-F238E27FC236}">
                <a16:creationId xmlns:a16="http://schemas.microsoft.com/office/drawing/2014/main" id="{DBD428FF-BA9C-4CEB-97BF-A5BFFD1D3087}"/>
              </a:ext>
            </a:extLst>
          </p:cNvPr>
          <p:cNvSpPr txBox="1"/>
          <p:nvPr/>
        </p:nvSpPr>
        <p:spPr>
          <a:xfrm>
            <a:off x="3423236" y="631506"/>
            <a:ext cx="5528853" cy="461665"/>
          </a:xfrm>
          <a:prstGeom prst="rect">
            <a:avLst/>
          </a:prstGeom>
          <a:noFill/>
        </p:spPr>
        <p:txBody>
          <a:bodyPr wrap="square" rtlCol="0">
            <a:spAutoFit/>
          </a:bodyPr>
          <a:lstStyle/>
          <a:p>
            <a:pPr lvl="0" algn="ctr">
              <a:defRPr/>
            </a:pPr>
            <a:r>
              <a:rPr lang="en-US" sz="2400" b="1" dirty="0" smtClean="0">
                <a:solidFill>
                  <a:srgbClr val="0588DB"/>
                </a:solidFill>
                <a:latin typeface="Century Gothic" panose="020B0502020202020204" pitchFamily="34" charset="0"/>
                <a:ea typeface="Tahoma" panose="020B0604030504040204" pitchFamily="34" charset="0"/>
                <a:cs typeface="Tahoma" panose="020B0604030504040204" pitchFamily="34" charset="0"/>
              </a:rPr>
              <a:t>Data Mining </a:t>
            </a:r>
            <a:r>
              <a:rPr lang="ru-RU" sz="2400" b="1" dirty="0" smtClean="0">
                <a:solidFill>
                  <a:prstClr val="black">
                    <a:lumMod val="95000"/>
                    <a:lumOff val="5000"/>
                  </a:prstClr>
                </a:solidFill>
                <a:latin typeface="Century Gothic" panose="020B0502020202020204" pitchFamily="34" charset="0"/>
                <a:ea typeface="Tahoma" panose="020B0604030504040204" pitchFamily="34" charset="0"/>
                <a:cs typeface="Tahoma" panose="020B0604030504040204" pitchFamily="34" charset="0"/>
              </a:rPr>
              <a:t>в розничной торговли</a:t>
            </a:r>
            <a:endParaRPr kumimoji="0" lang="en-US" sz="2400" b="1" i="0" u="none" strike="noStrike" kern="1200" cap="none" spc="0" normalizeH="0" baseline="0" noProof="0" dirty="0">
              <a:ln>
                <a:noFill/>
              </a:ln>
              <a:solidFill>
                <a:prstClr val="black">
                  <a:lumMod val="95000"/>
                  <a:lumOff val="5000"/>
                </a:prstClr>
              </a:solidFill>
              <a:effectLst/>
              <a:uLnTx/>
              <a:uFillTx/>
              <a:latin typeface="Century Gothic" panose="020B0502020202020204" pitchFamily="34" charset="0"/>
              <a:ea typeface="Tahoma" panose="020B0604030504040204" pitchFamily="34" charset="0"/>
              <a:cs typeface="Tahoma" panose="020B0604030504040204" pitchFamily="34" charset="0"/>
            </a:endParaRPr>
          </a:p>
        </p:txBody>
      </p:sp>
      <p:sp>
        <p:nvSpPr>
          <p:cNvPr id="3" name="TextBox 2"/>
          <p:cNvSpPr txBox="1"/>
          <p:nvPr/>
        </p:nvSpPr>
        <p:spPr>
          <a:xfrm>
            <a:off x="6269038" y="1466647"/>
            <a:ext cx="4445521" cy="492443"/>
          </a:xfrm>
          <a:prstGeom prst="rect">
            <a:avLst/>
          </a:prstGeom>
          <a:noFill/>
        </p:spPr>
        <p:txBody>
          <a:bodyPr wrap="square" lIns="0" tIns="0" rIns="0" bIns="0" rtlCol="0" anchor="t">
            <a:spAutoFit/>
          </a:bodyPr>
          <a:lstStyle/>
          <a:p>
            <a:pPr algn="just" defTabSz="1375467"/>
            <a:r>
              <a:rPr lang="ru-RU" sz="1600" b="1" dirty="0" smtClean="0">
                <a:solidFill>
                  <a:schemeClr val="bg1">
                    <a:lumMod val="10000"/>
                  </a:schemeClr>
                </a:solidFill>
                <a:latin typeface="Century Gothic" panose="020B0502020202020204" pitchFamily="34" charset="0"/>
              </a:rPr>
              <a:t>Задачи, которые можно решать с помощью Data </a:t>
            </a:r>
            <a:r>
              <a:rPr lang="ru-RU" sz="1600" b="1" dirty="0" err="1" smtClean="0">
                <a:solidFill>
                  <a:schemeClr val="bg1">
                    <a:lumMod val="10000"/>
                  </a:schemeClr>
                </a:solidFill>
                <a:latin typeface="Century Gothic" panose="020B0502020202020204" pitchFamily="34" charset="0"/>
              </a:rPr>
              <a:t>Mining</a:t>
            </a:r>
            <a:r>
              <a:rPr lang="ru-RU" sz="1600" b="1" dirty="0" smtClean="0">
                <a:solidFill>
                  <a:schemeClr val="bg1">
                    <a:lumMod val="10000"/>
                  </a:schemeClr>
                </a:solidFill>
                <a:latin typeface="Century Gothic" panose="020B0502020202020204" pitchFamily="34" charset="0"/>
              </a:rPr>
              <a:t>:  </a:t>
            </a:r>
            <a:endParaRPr lang="ru-RU" sz="1600" b="1" dirty="0">
              <a:solidFill>
                <a:schemeClr val="bg1">
                  <a:lumMod val="10000"/>
                </a:schemeClr>
              </a:solidFill>
              <a:latin typeface="Century Gothic" panose="020B0502020202020204" pitchFamily="34" charset="0"/>
            </a:endParaRPr>
          </a:p>
        </p:txBody>
      </p:sp>
      <p:sp>
        <p:nvSpPr>
          <p:cNvPr id="4" name="TextBox 3">
            <a:extLst>
              <a:ext uri="{FF2B5EF4-FFF2-40B4-BE49-F238E27FC236}">
                <a16:creationId xmlns:a16="http://schemas.microsoft.com/office/drawing/2014/main" id="{B84F05E5-66E5-451A-922E-237FDE35085A}"/>
              </a:ext>
            </a:extLst>
          </p:cNvPr>
          <p:cNvSpPr txBox="1"/>
          <p:nvPr/>
        </p:nvSpPr>
        <p:spPr>
          <a:xfrm>
            <a:off x="6114181" y="1971271"/>
            <a:ext cx="785886"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588DB"/>
                </a:solidFill>
                <a:effectLst/>
                <a:uLnTx/>
                <a:uFillTx/>
                <a:latin typeface="Agency FB" panose="020B0503020202020204" pitchFamily="34" charset="0"/>
                <a:ea typeface="+mn-ea"/>
                <a:cs typeface="+mn-cs"/>
              </a:rPr>
              <a:t>01</a:t>
            </a:r>
          </a:p>
        </p:txBody>
      </p:sp>
      <p:sp>
        <p:nvSpPr>
          <p:cNvPr id="5" name="TextBox 4"/>
          <p:cNvSpPr txBox="1"/>
          <p:nvPr/>
        </p:nvSpPr>
        <p:spPr>
          <a:xfrm>
            <a:off x="6900067" y="2110709"/>
            <a:ext cx="4526845" cy="769441"/>
          </a:xfrm>
          <a:prstGeom prst="rect">
            <a:avLst/>
          </a:prstGeom>
          <a:noFill/>
        </p:spPr>
        <p:txBody>
          <a:bodyPr wrap="square" lIns="0" tIns="0" rIns="0" bIns="0" rtlCol="0" anchor="t">
            <a:spAutoFit/>
          </a:bodyPr>
          <a:lstStyle/>
          <a:p>
            <a:pPr defTabSz="1375467"/>
            <a:r>
              <a:rPr lang="ru-RU" sz="1400" b="1" dirty="0">
                <a:solidFill>
                  <a:schemeClr val="bg1">
                    <a:lumMod val="10000"/>
                  </a:schemeClr>
                </a:solidFill>
                <a:latin typeface="Century Gothic" panose="020B0502020202020204" pitchFamily="34" charset="0"/>
              </a:rPr>
              <a:t>А</a:t>
            </a:r>
            <a:r>
              <a:rPr lang="ru-RU" sz="1400" b="1" dirty="0" smtClean="0">
                <a:solidFill>
                  <a:schemeClr val="bg1">
                    <a:lumMod val="10000"/>
                  </a:schemeClr>
                </a:solidFill>
                <a:latin typeface="Century Gothic" panose="020B0502020202020204" pitchFamily="34" charset="0"/>
              </a:rPr>
              <a:t>нализ покупательской корзины. </a:t>
            </a:r>
          </a:p>
          <a:p>
            <a:pPr algn="just" defTabSz="1375467"/>
            <a:r>
              <a:rPr lang="ru-RU" sz="1200" b="1" dirty="0" smtClean="0">
                <a:solidFill>
                  <a:schemeClr val="bg2">
                    <a:lumMod val="50000"/>
                  </a:schemeClr>
                </a:solidFill>
                <a:latin typeface="Century Gothic" panose="020B0502020202020204" pitchFamily="34" charset="0"/>
              </a:rPr>
              <a:t>Необходим для улучшения рекламы, выработки стратегии создания запасов товаров и способов их раскладки в торговых залах.</a:t>
            </a:r>
            <a:endParaRPr lang="ru-RU" sz="1200" b="1" dirty="0">
              <a:solidFill>
                <a:schemeClr val="bg2">
                  <a:lumMod val="50000"/>
                </a:schemeClr>
              </a:solidFill>
              <a:latin typeface="Century Gothic" panose="020B0502020202020204" pitchFamily="34" charset="0"/>
            </a:endParaRPr>
          </a:p>
        </p:txBody>
      </p:sp>
      <p:sp>
        <p:nvSpPr>
          <p:cNvPr id="10" name="TextBox 9">
            <a:extLst>
              <a:ext uri="{FF2B5EF4-FFF2-40B4-BE49-F238E27FC236}">
                <a16:creationId xmlns:a16="http://schemas.microsoft.com/office/drawing/2014/main" id="{B84F05E5-66E5-451A-922E-237FDE35085A}"/>
              </a:ext>
            </a:extLst>
          </p:cNvPr>
          <p:cNvSpPr txBox="1"/>
          <p:nvPr/>
        </p:nvSpPr>
        <p:spPr>
          <a:xfrm>
            <a:off x="6114181" y="2972685"/>
            <a:ext cx="785886"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smtClean="0">
                <a:ln>
                  <a:noFill/>
                </a:ln>
                <a:solidFill>
                  <a:srgbClr val="0588DB"/>
                </a:solidFill>
                <a:effectLst/>
                <a:uLnTx/>
                <a:uFillTx/>
                <a:latin typeface="Agency FB" panose="020B0503020202020204" pitchFamily="34" charset="0"/>
                <a:ea typeface="+mn-ea"/>
                <a:cs typeface="+mn-cs"/>
              </a:rPr>
              <a:t>0</a:t>
            </a:r>
            <a:r>
              <a:rPr kumimoji="0" lang="ru-RU" sz="4400" b="1" i="0" u="none" strike="noStrike" kern="1200" cap="none" spc="0" normalizeH="0" baseline="0" noProof="0" dirty="0" smtClean="0">
                <a:ln>
                  <a:noFill/>
                </a:ln>
                <a:solidFill>
                  <a:srgbClr val="0588DB"/>
                </a:solidFill>
                <a:effectLst/>
                <a:uLnTx/>
                <a:uFillTx/>
                <a:latin typeface="Agency FB" panose="020B0503020202020204" pitchFamily="34" charset="0"/>
                <a:ea typeface="+mn-ea"/>
                <a:cs typeface="+mn-cs"/>
              </a:rPr>
              <a:t>2</a:t>
            </a:r>
            <a:endParaRPr kumimoji="0" lang="en-US" sz="4400" b="1" i="0" u="none" strike="noStrike" kern="1200" cap="none" spc="0" normalizeH="0" baseline="0" noProof="0" dirty="0">
              <a:ln>
                <a:noFill/>
              </a:ln>
              <a:solidFill>
                <a:srgbClr val="0588DB"/>
              </a:solidFill>
              <a:effectLst/>
              <a:uLnTx/>
              <a:uFillTx/>
              <a:latin typeface="Agency FB" panose="020B0503020202020204" pitchFamily="34" charset="0"/>
              <a:ea typeface="+mn-ea"/>
              <a:cs typeface="+mn-cs"/>
            </a:endParaRPr>
          </a:p>
        </p:txBody>
      </p:sp>
      <p:sp>
        <p:nvSpPr>
          <p:cNvPr id="11" name="TextBox 10"/>
          <p:cNvSpPr txBox="1"/>
          <p:nvPr/>
        </p:nvSpPr>
        <p:spPr>
          <a:xfrm>
            <a:off x="6900067" y="3106543"/>
            <a:ext cx="4526845" cy="769441"/>
          </a:xfrm>
          <a:prstGeom prst="rect">
            <a:avLst/>
          </a:prstGeom>
          <a:noFill/>
        </p:spPr>
        <p:txBody>
          <a:bodyPr wrap="square" lIns="0" tIns="0" rIns="0" bIns="0" rtlCol="0" anchor="t">
            <a:spAutoFit/>
          </a:bodyPr>
          <a:lstStyle/>
          <a:p>
            <a:pPr algn="just" defTabSz="1375467"/>
            <a:r>
              <a:rPr lang="ru-RU" sz="1400" b="1" dirty="0">
                <a:solidFill>
                  <a:schemeClr val="bg1">
                    <a:lumMod val="10000"/>
                  </a:schemeClr>
                </a:solidFill>
                <a:latin typeface="Century Gothic" panose="020B0502020202020204" pitchFamily="34" charset="0"/>
              </a:rPr>
              <a:t>И</a:t>
            </a:r>
            <a:r>
              <a:rPr lang="ru-RU" sz="1400" b="1" dirty="0" smtClean="0">
                <a:solidFill>
                  <a:schemeClr val="bg1">
                    <a:lumMod val="10000"/>
                  </a:schemeClr>
                </a:solidFill>
                <a:latin typeface="Century Gothic" panose="020B0502020202020204" pitchFamily="34" charset="0"/>
              </a:rPr>
              <a:t>сследование временных шаблонов. </a:t>
            </a:r>
          </a:p>
          <a:p>
            <a:pPr algn="just" defTabSz="1375467"/>
            <a:r>
              <a:rPr lang="ru-RU" sz="1200" b="1" dirty="0" smtClean="0">
                <a:solidFill>
                  <a:schemeClr val="bg2">
                    <a:lumMod val="50000"/>
                  </a:schemeClr>
                </a:solidFill>
                <a:latin typeface="Century Gothic" panose="020B0502020202020204" pitchFamily="34" charset="0"/>
              </a:rPr>
              <a:t>Дает ответы на вопросы типа: “Если покупатель приобрел видеокамеру, то через какое время он купит новые батарейки.”</a:t>
            </a:r>
            <a:endParaRPr lang="ru-RU" sz="1200" b="1" dirty="0">
              <a:solidFill>
                <a:schemeClr val="bg2">
                  <a:lumMod val="50000"/>
                </a:schemeClr>
              </a:solidFill>
              <a:latin typeface="Century Gothic" panose="020B0502020202020204" pitchFamily="34" charset="0"/>
            </a:endParaRPr>
          </a:p>
        </p:txBody>
      </p:sp>
      <p:sp>
        <p:nvSpPr>
          <p:cNvPr id="12" name="TextBox 11">
            <a:extLst>
              <a:ext uri="{FF2B5EF4-FFF2-40B4-BE49-F238E27FC236}">
                <a16:creationId xmlns:a16="http://schemas.microsoft.com/office/drawing/2014/main" id="{B84F05E5-66E5-451A-922E-237FDE35085A}"/>
              </a:ext>
            </a:extLst>
          </p:cNvPr>
          <p:cNvSpPr txBox="1"/>
          <p:nvPr/>
        </p:nvSpPr>
        <p:spPr>
          <a:xfrm>
            <a:off x="6083586" y="4004930"/>
            <a:ext cx="785886"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smtClean="0">
                <a:ln>
                  <a:noFill/>
                </a:ln>
                <a:solidFill>
                  <a:srgbClr val="0588DB"/>
                </a:solidFill>
                <a:effectLst/>
                <a:uLnTx/>
                <a:uFillTx/>
                <a:latin typeface="Agency FB" panose="020B0503020202020204" pitchFamily="34" charset="0"/>
                <a:ea typeface="+mn-ea"/>
                <a:cs typeface="+mn-cs"/>
              </a:rPr>
              <a:t>0</a:t>
            </a:r>
            <a:r>
              <a:rPr lang="ru-RU" sz="4400" b="1" dirty="0">
                <a:solidFill>
                  <a:srgbClr val="0588DB"/>
                </a:solidFill>
                <a:latin typeface="Agency FB" panose="020B0503020202020204" pitchFamily="34" charset="0"/>
              </a:rPr>
              <a:t>3</a:t>
            </a:r>
            <a:endParaRPr kumimoji="0" lang="en-US" sz="4400" b="1" i="0" u="none" strike="noStrike" kern="1200" cap="none" spc="0" normalizeH="0" baseline="0" noProof="0" dirty="0">
              <a:ln>
                <a:noFill/>
              </a:ln>
              <a:solidFill>
                <a:srgbClr val="0588DB"/>
              </a:solidFill>
              <a:effectLst/>
              <a:uLnTx/>
              <a:uFillTx/>
              <a:latin typeface="Agency FB" panose="020B0503020202020204" pitchFamily="34" charset="0"/>
              <a:ea typeface="+mn-ea"/>
              <a:cs typeface="+mn-cs"/>
            </a:endParaRPr>
          </a:p>
        </p:txBody>
      </p:sp>
      <p:sp>
        <p:nvSpPr>
          <p:cNvPr id="13" name="TextBox 12"/>
          <p:cNvSpPr txBox="1"/>
          <p:nvPr/>
        </p:nvSpPr>
        <p:spPr>
          <a:xfrm>
            <a:off x="6869472" y="4144368"/>
            <a:ext cx="4526845" cy="769441"/>
          </a:xfrm>
          <a:prstGeom prst="rect">
            <a:avLst/>
          </a:prstGeom>
          <a:noFill/>
        </p:spPr>
        <p:txBody>
          <a:bodyPr wrap="square" lIns="0" tIns="0" rIns="0" bIns="0" rtlCol="0" anchor="t">
            <a:spAutoFit/>
          </a:bodyPr>
          <a:lstStyle/>
          <a:p>
            <a:pPr algn="just" defTabSz="1375467"/>
            <a:r>
              <a:rPr lang="en-US" sz="1400" b="1" dirty="0">
                <a:solidFill>
                  <a:schemeClr val="bg1">
                    <a:lumMod val="10000"/>
                  </a:schemeClr>
                </a:solidFill>
                <a:latin typeface="Century Gothic" panose="020B0502020202020204" pitchFamily="34" charset="0"/>
              </a:rPr>
              <a:t>C</a:t>
            </a:r>
            <a:r>
              <a:rPr lang="ru-RU" sz="1400" b="1" dirty="0" smtClean="0">
                <a:solidFill>
                  <a:schemeClr val="bg1">
                    <a:lumMod val="10000"/>
                  </a:schemeClr>
                </a:solidFill>
                <a:latin typeface="Century Gothic" panose="020B0502020202020204" pitchFamily="34" charset="0"/>
              </a:rPr>
              <a:t>оздание прогнозирующих моделей</a:t>
            </a:r>
            <a:endParaRPr lang="en-US" sz="1400" b="1" dirty="0" smtClean="0">
              <a:solidFill>
                <a:schemeClr val="bg1">
                  <a:lumMod val="10000"/>
                </a:schemeClr>
              </a:solidFill>
              <a:latin typeface="Century Gothic" panose="020B0502020202020204" pitchFamily="34" charset="0"/>
            </a:endParaRPr>
          </a:p>
          <a:p>
            <a:pPr algn="just" defTabSz="1375467"/>
            <a:r>
              <a:rPr lang="ru-RU" sz="1200" b="1" dirty="0" smtClean="0">
                <a:solidFill>
                  <a:schemeClr val="bg1">
                    <a:lumMod val="50000"/>
                  </a:schemeClr>
                </a:solidFill>
                <a:latin typeface="Century Gothic" panose="020B0502020202020204" pitchFamily="34" charset="0"/>
              </a:rPr>
              <a:t>Дает возможность торговым предприятиям узнавать характер потребностей различных категорий клиентов с определенным поведением.</a:t>
            </a:r>
            <a:endParaRPr lang="ru-RU" sz="1200" b="1" dirty="0">
              <a:solidFill>
                <a:schemeClr val="bg1">
                  <a:lumMod val="50000"/>
                </a:schemeClr>
              </a:solidFill>
              <a:latin typeface="Century Gothic" panose="020B0502020202020204" pitchFamily="34" charset="0"/>
            </a:endParaRPr>
          </a:p>
        </p:txBody>
      </p:sp>
      <p:sp>
        <p:nvSpPr>
          <p:cNvPr id="14" name="TextBox 13"/>
          <p:cNvSpPr txBox="1"/>
          <p:nvPr/>
        </p:nvSpPr>
        <p:spPr>
          <a:xfrm>
            <a:off x="661988" y="1466850"/>
            <a:ext cx="4445000" cy="493713"/>
          </a:xfrm>
          <a:prstGeom prst="rect">
            <a:avLst/>
          </a:prstGeom>
          <a:noFill/>
        </p:spPr>
        <p:txBody>
          <a:bodyPr wrap="square" lIns="0" tIns="0" rIns="0" bIns="0" rtlCol="0" anchor="t">
            <a:spAutoFit/>
          </a:bodyPr>
          <a:lstStyle/>
          <a:p>
            <a:pPr algn="just" defTabSz="1375467"/>
            <a:r>
              <a:rPr lang="ru-RU" sz="1600" b="1" dirty="0">
                <a:solidFill>
                  <a:schemeClr val="bg1">
                    <a:lumMod val="10000"/>
                  </a:schemeClr>
                </a:solidFill>
                <a:latin typeface="Century Gothic" panose="020B0502020202020204" pitchFamily="34" charset="0"/>
              </a:rPr>
              <a:t>В</a:t>
            </a:r>
            <a:r>
              <a:rPr lang="ru-RU" sz="1600" b="1" dirty="0" smtClean="0">
                <a:solidFill>
                  <a:schemeClr val="bg1">
                    <a:lumMod val="10000"/>
                  </a:schemeClr>
                </a:solidFill>
                <a:latin typeface="Century Gothic" panose="020B0502020202020204" pitchFamily="34" charset="0"/>
              </a:rPr>
              <a:t>лияние </a:t>
            </a:r>
            <a:r>
              <a:rPr lang="en-US" sz="1600" b="1" dirty="0" err="1">
                <a:solidFill>
                  <a:schemeClr val="bg1">
                    <a:lumMod val="10000"/>
                  </a:schemeClr>
                </a:solidFill>
                <a:latin typeface="Century Gothic" panose="020B0502020202020204" pitchFamily="34" charset="0"/>
              </a:rPr>
              <a:t>D</a:t>
            </a:r>
            <a:r>
              <a:rPr lang="ru-RU" sz="1600" b="1" dirty="0" err="1" smtClean="0">
                <a:solidFill>
                  <a:schemeClr val="bg1">
                    <a:lumMod val="10000"/>
                  </a:schemeClr>
                </a:solidFill>
                <a:latin typeface="Century Gothic" panose="020B0502020202020204" pitchFamily="34" charset="0"/>
              </a:rPr>
              <a:t>ata</a:t>
            </a:r>
            <a:r>
              <a:rPr lang="ru-RU" sz="1600" b="1" dirty="0" smtClean="0">
                <a:solidFill>
                  <a:schemeClr val="bg1">
                    <a:lumMod val="10000"/>
                  </a:schemeClr>
                </a:solidFill>
                <a:latin typeface="Century Gothic" panose="020B0502020202020204" pitchFamily="34" charset="0"/>
              </a:rPr>
              <a:t> </a:t>
            </a:r>
            <a:r>
              <a:rPr lang="en-US" sz="1600" b="1" dirty="0" err="1">
                <a:solidFill>
                  <a:schemeClr val="bg1">
                    <a:lumMod val="10000"/>
                  </a:schemeClr>
                </a:solidFill>
                <a:latin typeface="Century Gothic" panose="020B0502020202020204" pitchFamily="34" charset="0"/>
              </a:rPr>
              <a:t>M</a:t>
            </a:r>
            <a:r>
              <a:rPr lang="ru-RU" sz="1600" b="1" dirty="0" err="1" smtClean="0">
                <a:solidFill>
                  <a:schemeClr val="bg1">
                    <a:lumMod val="10000"/>
                  </a:schemeClr>
                </a:solidFill>
                <a:latin typeface="Century Gothic" panose="020B0502020202020204" pitchFamily="34" charset="0"/>
              </a:rPr>
              <a:t>ining</a:t>
            </a:r>
            <a:r>
              <a:rPr lang="ru-RU" sz="1600" b="1" dirty="0" smtClean="0">
                <a:solidFill>
                  <a:schemeClr val="bg1">
                    <a:lumMod val="10000"/>
                  </a:schemeClr>
                </a:solidFill>
                <a:latin typeface="Century Gothic" panose="020B0502020202020204" pitchFamily="34" charset="0"/>
              </a:rPr>
              <a:t> на розничную торговлю</a:t>
            </a:r>
            <a:r>
              <a:rPr lang="ru-RU" sz="1600" b="1" dirty="0">
                <a:solidFill>
                  <a:schemeClr val="bg1">
                    <a:lumMod val="10000"/>
                  </a:schemeClr>
                </a:solidFill>
                <a:latin typeface="Century Gothic" panose="020B0502020202020204" pitchFamily="34" charset="0"/>
              </a:rPr>
              <a:t>:</a:t>
            </a:r>
          </a:p>
        </p:txBody>
      </p:sp>
      <p:graphicFrame>
        <p:nvGraphicFramePr>
          <p:cNvPr id="91" name="Chart 3"/>
          <p:cNvGraphicFramePr/>
          <p:nvPr>
            <p:custDataLst>
              <p:tags r:id="rId4"/>
            </p:custDataLst>
            <p:extLst>
              <p:ext uri="{D42A27DB-BD31-4B8C-83A1-F6EECF244321}">
                <p14:modId xmlns:p14="http://schemas.microsoft.com/office/powerpoint/2010/main" val="1247672342"/>
              </p:ext>
            </p:extLst>
          </p:nvPr>
        </p:nvGraphicFramePr>
        <p:xfrm>
          <a:off x="1957388" y="2066925"/>
          <a:ext cx="3308350" cy="1552575"/>
        </p:xfrm>
        <a:graphic>
          <a:graphicData uri="http://schemas.openxmlformats.org/drawingml/2006/chart">
            <c:chart xmlns:c="http://schemas.openxmlformats.org/drawingml/2006/chart" xmlns:r="http://schemas.openxmlformats.org/officeDocument/2006/relationships" r:id="rId15"/>
          </a:graphicData>
        </a:graphic>
      </p:graphicFrame>
      <p:sp>
        <p:nvSpPr>
          <p:cNvPr id="18" name="Прямоугольник 17"/>
          <p:cNvSpPr/>
          <p:nvPr>
            <p:custDataLst>
              <p:tags r:id="rId5"/>
            </p:custDataLst>
          </p:nvPr>
        </p:nvSpPr>
        <p:spPr bwMode="auto">
          <a:xfrm>
            <a:off x="849313" y="2289175"/>
            <a:ext cx="782638" cy="18256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fld id="{CE9BE8DB-A020-4C8B-A8AD-28BACD31D8A6}" type="datetime'П''''''р''''''''''''''''''''и''''''''''''нт''''''ер''''''''ы'">
              <a:rPr lang="ru-RU" altLang="en-US" sz="1200" b="1" smtClean="0">
                <a:solidFill>
                  <a:schemeClr val="tx1"/>
                </a:solidFill>
                <a:latin typeface="Century Gothic" panose="020B0502020202020204" pitchFamily="34" charset="0"/>
                <a:sym typeface="Century Gothic" panose="020B0502020202020204" pitchFamily="34" charset="0"/>
              </a:rPr>
              <a:pPr>
                <a:spcBef>
                  <a:spcPct val="0"/>
                </a:spcBef>
                <a:spcAft>
                  <a:spcPct val="0"/>
                </a:spcAft>
              </a:pPr>
              <a:t>Принтеры</a:t>
            </a:fld>
            <a:endParaRPr lang="ru-RU" sz="1200" b="1" dirty="0">
              <a:solidFill>
                <a:schemeClr val="tx1"/>
              </a:solidFill>
              <a:latin typeface="Century Gothic" panose="020B0502020202020204" pitchFamily="34" charset="0"/>
              <a:sym typeface="Century Gothic" panose="020B0502020202020204" pitchFamily="34" charset="0"/>
            </a:endParaRPr>
          </a:p>
        </p:txBody>
      </p:sp>
      <p:sp>
        <p:nvSpPr>
          <p:cNvPr id="20" name="Прямоугольник 19"/>
          <p:cNvSpPr/>
          <p:nvPr>
            <p:custDataLst>
              <p:tags r:id="rId6"/>
            </p:custDataLst>
          </p:nvPr>
        </p:nvSpPr>
        <p:spPr bwMode="auto">
          <a:xfrm>
            <a:off x="849313" y="3214688"/>
            <a:ext cx="1089025" cy="18256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fld id="{F96B029F-6B5B-4EB0-92E2-0606EE88E71A}" type="datetime'''''''''''Х''о''''''''л''''''''''''од''''''ил''ьн''ик''и'''''">
              <a:rPr lang="ru-RU" altLang="en-US" sz="1200" b="1" smtClean="0">
                <a:solidFill>
                  <a:schemeClr val="tx1"/>
                </a:solidFill>
                <a:latin typeface="Century Gothic" panose="020B0502020202020204" pitchFamily="34" charset="0"/>
                <a:sym typeface="Century Gothic" panose="020B0502020202020204" pitchFamily="34" charset="0"/>
              </a:rPr>
              <a:pPr>
                <a:spcBef>
                  <a:spcPct val="0"/>
                </a:spcBef>
                <a:spcAft>
                  <a:spcPct val="0"/>
                </a:spcAft>
              </a:pPr>
              <a:t>Холодильники</a:t>
            </a:fld>
            <a:endParaRPr lang="ru-RU" sz="1200" b="1" dirty="0">
              <a:solidFill>
                <a:schemeClr val="tx1"/>
              </a:solidFill>
              <a:latin typeface="Century Gothic" panose="020B0502020202020204" pitchFamily="34" charset="0"/>
              <a:sym typeface="Century Gothic" panose="020B0502020202020204" pitchFamily="34" charset="0"/>
            </a:endParaRPr>
          </a:p>
        </p:txBody>
      </p:sp>
      <p:sp>
        <p:nvSpPr>
          <p:cNvPr id="19" name="Прямоугольник 18"/>
          <p:cNvSpPr/>
          <p:nvPr>
            <p:custDataLst>
              <p:tags r:id="rId7"/>
            </p:custDataLst>
          </p:nvPr>
        </p:nvSpPr>
        <p:spPr bwMode="auto">
          <a:xfrm>
            <a:off x="849313" y="2751138"/>
            <a:ext cx="968375" cy="18256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fld id="{74DC95DB-1DEB-4288-B9C8-A71DD13A2DBF}" type="datetime'''D''''''''''V''''D''-п''л''''''''''''''''''ее''ры'''">
              <a:rPr lang="en-US" altLang="en-US" sz="1200" b="1" smtClean="0">
                <a:solidFill>
                  <a:schemeClr val="tx1"/>
                </a:solidFill>
                <a:latin typeface="Century Gothic" panose="020B0502020202020204" pitchFamily="34" charset="0"/>
                <a:sym typeface="Century Gothic" panose="020B0502020202020204" pitchFamily="34" charset="0"/>
              </a:rPr>
              <a:pPr>
                <a:spcBef>
                  <a:spcPct val="0"/>
                </a:spcBef>
                <a:spcAft>
                  <a:spcPct val="0"/>
                </a:spcAft>
              </a:pPr>
              <a:t>DVD-плееры</a:t>
            </a:fld>
            <a:endParaRPr lang="ru-RU" sz="1200" b="1">
              <a:solidFill>
                <a:schemeClr val="tx1"/>
              </a:solidFill>
              <a:latin typeface="Century Gothic" panose="020B0502020202020204" pitchFamily="34" charset="0"/>
              <a:sym typeface="Century Gothic" panose="020B0502020202020204" pitchFamily="34" charset="0"/>
            </a:endParaRPr>
          </a:p>
        </p:txBody>
      </p:sp>
      <p:sp>
        <p:nvSpPr>
          <p:cNvPr id="22" name="Прямоугольник 21"/>
          <p:cNvSpPr/>
          <p:nvPr>
            <p:custDataLst>
              <p:tags r:id="rId8"/>
            </p:custDataLst>
          </p:nvPr>
        </p:nvSpPr>
        <p:spPr bwMode="auto">
          <a:xfrm>
            <a:off x="2095500" y="3649663"/>
            <a:ext cx="196850" cy="147638"/>
          </a:xfrm>
          <a:prstGeom prst="rect">
            <a:avLst/>
          </a:prstGeom>
          <a:solidFill>
            <a:srgbClr val="C0C0C0"/>
          </a:solidFill>
          <a:ln w="9525" algn="ctr">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23" name="Прямоугольник 22"/>
          <p:cNvSpPr/>
          <p:nvPr>
            <p:custDataLst>
              <p:tags r:id="rId9"/>
            </p:custDataLst>
          </p:nvPr>
        </p:nvSpPr>
        <p:spPr bwMode="auto">
          <a:xfrm>
            <a:off x="2681288" y="3649663"/>
            <a:ext cx="196850" cy="147638"/>
          </a:xfrm>
          <a:prstGeom prst="rect">
            <a:avLst/>
          </a:prstGeom>
          <a:solidFill>
            <a:srgbClr val="63B1F8"/>
          </a:solidFill>
          <a:ln w="9525" algn="ctr">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15" name="Прямоугольник 14"/>
          <p:cNvSpPr/>
          <p:nvPr>
            <p:custDataLst>
              <p:tags r:id="rId10"/>
            </p:custDataLst>
          </p:nvPr>
        </p:nvSpPr>
        <p:spPr bwMode="auto">
          <a:xfrm>
            <a:off x="2343150" y="3644900"/>
            <a:ext cx="236538" cy="16827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r>
              <a:rPr lang="ru-RU" altLang="en-US" sz="1100" b="1" dirty="0" smtClean="0">
                <a:solidFill>
                  <a:schemeClr val="tx1"/>
                </a:solidFill>
                <a:latin typeface="Century Gothic" panose="020B0502020202020204" pitchFamily="34" charset="0"/>
                <a:sym typeface="Century Gothic" panose="020B0502020202020204" pitchFamily="34" charset="0"/>
              </a:rPr>
              <a:t>До </a:t>
            </a:r>
            <a:endParaRPr lang="ru-RU" sz="1100" b="1" dirty="0">
              <a:solidFill>
                <a:schemeClr val="tx1"/>
              </a:solidFill>
              <a:latin typeface="Century Gothic" panose="020B0502020202020204" pitchFamily="34" charset="0"/>
              <a:sym typeface="Century Gothic" panose="020B0502020202020204" pitchFamily="34" charset="0"/>
            </a:endParaRPr>
          </a:p>
        </p:txBody>
      </p:sp>
      <p:sp>
        <p:nvSpPr>
          <p:cNvPr id="17" name="Прямоугольник 16"/>
          <p:cNvSpPr/>
          <p:nvPr>
            <p:custDataLst>
              <p:tags r:id="rId11"/>
            </p:custDataLst>
          </p:nvPr>
        </p:nvSpPr>
        <p:spPr bwMode="auto">
          <a:xfrm>
            <a:off x="2928938" y="3644900"/>
            <a:ext cx="438150" cy="16827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r>
              <a:rPr lang="ru-RU" altLang="en-US" sz="1100" b="1" dirty="0" smtClean="0">
                <a:solidFill>
                  <a:schemeClr val="tx1"/>
                </a:solidFill>
                <a:latin typeface="Century Gothic" panose="020B0502020202020204" pitchFamily="34" charset="0"/>
                <a:sym typeface="Century Gothic" panose="020B0502020202020204" pitchFamily="34" charset="0"/>
              </a:rPr>
              <a:t>После</a:t>
            </a:r>
            <a:endParaRPr lang="ru-RU" sz="1100" b="1" dirty="0">
              <a:solidFill>
                <a:schemeClr val="tx1"/>
              </a:solidFill>
              <a:latin typeface="Century Gothic" panose="020B0502020202020204" pitchFamily="34" charset="0"/>
              <a:sym typeface="Century Gothic" panose="020B0502020202020204" pitchFamily="34" charset="0"/>
            </a:endParaRPr>
          </a:p>
        </p:txBody>
      </p:sp>
      <p:sp>
        <p:nvSpPr>
          <p:cNvPr id="81" name="Прямоугольник 80"/>
          <p:cNvSpPr/>
          <p:nvPr/>
        </p:nvSpPr>
        <p:spPr>
          <a:xfrm>
            <a:off x="661988" y="4030202"/>
            <a:ext cx="4235450" cy="938719"/>
          </a:xfrm>
          <a:prstGeom prst="rect">
            <a:avLst/>
          </a:prstGeom>
        </p:spPr>
        <p:txBody>
          <a:bodyPr wrap="square">
            <a:spAutoFit/>
          </a:bodyPr>
          <a:lstStyle/>
          <a:p>
            <a:pPr algn="just"/>
            <a:r>
              <a:rPr lang="ru-RU" sz="1100" b="1" dirty="0">
                <a:solidFill>
                  <a:schemeClr val="bg1">
                    <a:lumMod val="50000"/>
                  </a:schemeClr>
                </a:solidFill>
                <a:latin typeface="Century Gothic" panose="020B0502020202020204" pitchFamily="34" charset="0"/>
              </a:rPr>
              <a:t>Объём продаж бытовой техники до и после внедрения технологий Data </a:t>
            </a:r>
            <a:r>
              <a:rPr lang="en-US" sz="1100" b="1" dirty="0" err="1" smtClean="0">
                <a:solidFill>
                  <a:schemeClr val="bg1">
                    <a:lumMod val="50000"/>
                  </a:schemeClr>
                </a:solidFill>
                <a:latin typeface="Century Gothic" panose="020B0502020202020204" pitchFamily="34" charset="0"/>
              </a:rPr>
              <a:t>M</a:t>
            </a:r>
            <a:r>
              <a:rPr lang="ru-RU" sz="1100" b="1" dirty="0" err="1" smtClean="0">
                <a:solidFill>
                  <a:schemeClr val="bg1">
                    <a:lumMod val="50000"/>
                  </a:schemeClr>
                </a:solidFill>
                <a:latin typeface="Century Gothic" panose="020B0502020202020204" pitchFamily="34" charset="0"/>
              </a:rPr>
              <a:t>ining</a:t>
            </a:r>
            <a:r>
              <a:rPr lang="ru-RU" sz="1100" b="1" dirty="0" smtClean="0">
                <a:solidFill>
                  <a:schemeClr val="bg1">
                    <a:lumMod val="50000"/>
                  </a:schemeClr>
                </a:solidFill>
                <a:latin typeface="Century Gothic" panose="020B0502020202020204" pitchFamily="34" charset="0"/>
              </a:rPr>
              <a:t> за </a:t>
            </a:r>
            <a:r>
              <a:rPr lang="ru-RU" sz="1100" b="1" dirty="0">
                <a:solidFill>
                  <a:schemeClr val="bg1">
                    <a:lumMod val="50000"/>
                  </a:schemeClr>
                </a:solidFill>
                <a:latin typeface="Century Gothic" panose="020B0502020202020204" pitchFamily="34" charset="0"/>
              </a:rPr>
              <a:t>6 месяцев, шт</a:t>
            </a:r>
            <a:r>
              <a:rPr lang="ru-RU" sz="1100" b="1" dirty="0" smtClean="0">
                <a:solidFill>
                  <a:schemeClr val="bg1">
                    <a:lumMod val="50000"/>
                  </a:schemeClr>
                </a:solidFill>
                <a:latin typeface="Century Gothic" panose="020B0502020202020204" pitchFamily="34" charset="0"/>
              </a:rPr>
              <a:t>.</a:t>
            </a:r>
          </a:p>
          <a:p>
            <a:pPr algn="just"/>
            <a:r>
              <a:rPr lang="ru-RU" sz="1100" b="1" dirty="0" smtClean="0">
                <a:solidFill>
                  <a:schemeClr val="bg1">
                    <a:lumMod val="50000"/>
                  </a:schemeClr>
                </a:solidFill>
                <a:latin typeface="Century Gothic" panose="020B0502020202020204" pitchFamily="34" charset="0"/>
              </a:rPr>
              <a:t>(исследование студентов и преподавателей РАНХиГС </a:t>
            </a:r>
            <a:r>
              <a:rPr lang="en-US" sz="1100" b="1" dirty="0" smtClean="0">
                <a:solidFill>
                  <a:schemeClr val="bg1">
                    <a:lumMod val="50000"/>
                  </a:schemeClr>
                </a:solidFill>
                <a:latin typeface="Century Gothic" panose="020B0502020202020204" pitchFamily="34" charset="0"/>
                <a:hlinkClick r:id="rId16"/>
              </a:rPr>
              <a:t>https://files.scienceforum.ru/pdf/2020/5e049647b67c9.pdf</a:t>
            </a:r>
            <a:r>
              <a:rPr lang="ru-RU" sz="1100" b="1" dirty="0" smtClean="0">
                <a:solidFill>
                  <a:schemeClr val="bg1">
                    <a:lumMod val="50000"/>
                  </a:schemeClr>
                </a:solidFill>
                <a:latin typeface="Century Gothic" panose="020B0502020202020204" pitchFamily="34" charset="0"/>
              </a:rPr>
              <a:t>)</a:t>
            </a:r>
          </a:p>
          <a:p>
            <a:pPr algn="just"/>
            <a:endParaRPr lang="ru-RU" sz="1100" b="1" dirty="0">
              <a:solidFill>
                <a:schemeClr val="bg1">
                  <a:lumMod val="50000"/>
                </a:schemeClr>
              </a:solidFill>
              <a:latin typeface="Century Gothic" panose="020B0502020202020204" pitchFamily="34" charset="0"/>
            </a:endParaRPr>
          </a:p>
        </p:txBody>
      </p:sp>
      <p:sp>
        <p:nvSpPr>
          <p:cNvPr id="84" name="TextBox 83"/>
          <p:cNvSpPr txBox="1"/>
          <p:nvPr/>
        </p:nvSpPr>
        <p:spPr>
          <a:xfrm>
            <a:off x="723064" y="5412464"/>
            <a:ext cx="4445521" cy="492443"/>
          </a:xfrm>
          <a:prstGeom prst="rect">
            <a:avLst/>
          </a:prstGeom>
          <a:noFill/>
        </p:spPr>
        <p:txBody>
          <a:bodyPr wrap="square" lIns="0" tIns="0" rIns="0" bIns="0" rtlCol="0" anchor="t">
            <a:spAutoFit/>
          </a:bodyPr>
          <a:lstStyle/>
          <a:p>
            <a:pPr algn="just" defTabSz="1375467"/>
            <a:r>
              <a:rPr lang="ru-RU" sz="1600" b="1" dirty="0" smtClean="0">
                <a:solidFill>
                  <a:schemeClr val="bg1">
                    <a:lumMod val="10000"/>
                  </a:schemeClr>
                </a:solidFill>
                <a:latin typeface="Century Gothic" panose="020B0502020202020204" pitchFamily="34" charset="0"/>
              </a:rPr>
              <a:t>Общий вывод:</a:t>
            </a:r>
          </a:p>
          <a:p>
            <a:pPr algn="just" defTabSz="1375467"/>
            <a:endParaRPr lang="ru-RU" sz="1600" b="1" dirty="0">
              <a:solidFill>
                <a:schemeClr val="bg1">
                  <a:lumMod val="10000"/>
                </a:schemeClr>
              </a:solidFill>
              <a:latin typeface="Century Gothic" panose="020B0502020202020204" pitchFamily="34" charset="0"/>
            </a:endParaRPr>
          </a:p>
        </p:txBody>
      </p:sp>
      <p:sp>
        <p:nvSpPr>
          <p:cNvPr id="85" name="Прямоугольник 84"/>
          <p:cNvSpPr/>
          <p:nvPr/>
        </p:nvSpPr>
        <p:spPr>
          <a:xfrm>
            <a:off x="661988" y="5680156"/>
            <a:ext cx="11058957" cy="1015663"/>
          </a:xfrm>
          <a:prstGeom prst="rect">
            <a:avLst/>
          </a:prstGeom>
        </p:spPr>
        <p:txBody>
          <a:bodyPr wrap="square">
            <a:spAutoFit/>
          </a:bodyPr>
          <a:lstStyle/>
          <a:p>
            <a:pPr algn="just"/>
            <a:r>
              <a:rPr lang="ru-RU" sz="1200" b="1" dirty="0" smtClean="0">
                <a:solidFill>
                  <a:schemeClr val="bg1">
                    <a:lumMod val="50000"/>
                  </a:schemeClr>
                </a:solidFill>
                <a:latin typeface="Century Gothic" panose="020B0502020202020204" pitchFamily="34" charset="0"/>
              </a:rPr>
              <a:t>С помощью </a:t>
            </a:r>
            <a:r>
              <a:rPr lang="ru-RU" sz="1200" b="1" dirty="0">
                <a:solidFill>
                  <a:schemeClr val="bg1">
                    <a:lumMod val="50000"/>
                  </a:schemeClr>
                </a:solidFill>
                <a:latin typeface="Century Gothic" panose="020B0502020202020204" pitchFamily="34" charset="0"/>
              </a:rPr>
              <a:t>инструментов интеллектуального анализа данных об </a:t>
            </a:r>
            <a:r>
              <a:rPr lang="ru-RU" sz="1200" b="1" dirty="0" smtClean="0">
                <a:solidFill>
                  <a:schemeClr val="bg1">
                    <a:lumMod val="50000"/>
                  </a:schemeClr>
                </a:solidFill>
                <a:latin typeface="Century Gothic" panose="020B0502020202020204" pitchFamily="34" charset="0"/>
              </a:rPr>
              <a:t>особенностях покупок </a:t>
            </a:r>
            <a:r>
              <a:rPr lang="ru-RU" sz="1200" b="1" dirty="0">
                <a:solidFill>
                  <a:schemeClr val="bg1">
                    <a:lumMod val="50000"/>
                  </a:schemeClr>
                </a:solidFill>
                <a:latin typeface="Century Gothic" panose="020B0502020202020204" pitchFamily="34" charset="0"/>
              </a:rPr>
              <a:t>товаров в розничной торговле можно увеличить объём продаж </a:t>
            </a:r>
            <a:r>
              <a:rPr lang="ru-RU" sz="1200" b="1" dirty="0" smtClean="0">
                <a:solidFill>
                  <a:schemeClr val="bg1">
                    <a:lumMod val="50000"/>
                  </a:schemeClr>
                </a:solidFill>
                <a:latin typeface="Century Gothic" panose="020B0502020202020204" pitchFamily="34" charset="0"/>
              </a:rPr>
              <a:t>5-7 категорий товаров </a:t>
            </a:r>
            <a:r>
              <a:rPr lang="ru-RU" sz="1200" b="1" dirty="0">
                <a:solidFill>
                  <a:schemeClr val="bg1">
                    <a:lumMod val="50000"/>
                  </a:schemeClr>
                </a:solidFill>
                <a:latin typeface="Century Gothic" panose="020B0502020202020204" pitchFamily="34" charset="0"/>
              </a:rPr>
              <a:t>минимум на </a:t>
            </a:r>
            <a:r>
              <a:rPr lang="ru-RU" sz="4800" b="1" dirty="0">
                <a:solidFill>
                  <a:srgbClr val="0588DB"/>
                </a:solidFill>
                <a:latin typeface="Century Gothic" panose="020B0502020202020204" pitchFamily="34" charset="0"/>
              </a:rPr>
              <a:t>10-20%</a:t>
            </a:r>
            <a:endParaRPr lang="ru-RU" sz="1400" b="1" dirty="0">
              <a:solidFill>
                <a:srgbClr val="0588DB"/>
              </a:solidFill>
              <a:latin typeface="Century Gothic" panose="020B0502020202020204" pitchFamily="34" charset="0"/>
            </a:endParaRPr>
          </a:p>
        </p:txBody>
      </p:sp>
      <p:cxnSp>
        <p:nvCxnSpPr>
          <p:cNvPr id="100" name="Straight Connector 24">
            <a:extLst>
              <a:ext uri="{FF2B5EF4-FFF2-40B4-BE49-F238E27FC236}">
                <a16:creationId xmlns:a16="http://schemas.microsoft.com/office/drawing/2014/main" id="{A8A0193E-C41C-46B0-9C39-BB9B95D912EA}"/>
              </a:ext>
            </a:extLst>
          </p:cNvPr>
          <p:cNvCxnSpPr>
            <a:cxnSpLocks/>
          </p:cNvCxnSpPr>
          <p:nvPr/>
        </p:nvCxnSpPr>
        <p:spPr>
          <a:xfrm flipH="1">
            <a:off x="661988" y="5235933"/>
            <a:ext cx="10975830" cy="0"/>
          </a:xfrm>
          <a:prstGeom prst="line">
            <a:avLst/>
          </a:prstGeom>
          <a:solidFill>
            <a:schemeClr val="tx1">
              <a:lumMod val="95000"/>
              <a:lumOff val="5000"/>
            </a:schemeClr>
          </a:solidFill>
          <a:ln w="31750" cap="rnd">
            <a:solidFill>
              <a:schemeClr val="tx1">
                <a:lumMod val="95000"/>
                <a:lumOff val="5000"/>
              </a:schemeClr>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956536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4" name="Объект 23" hidden="1"/>
          <p:cNvGraphicFramePr>
            <a:graphicFrameLocks noChangeAspect="1"/>
          </p:cNvGraphicFramePr>
          <p:nvPr>
            <p:custDataLst>
              <p:tags r:id="rId2"/>
            </p:custDataLst>
            <p:extLst>
              <p:ext uri="{D42A27DB-BD31-4B8C-83A1-F6EECF244321}">
                <p14:modId xmlns:p14="http://schemas.microsoft.com/office/powerpoint/2010/main" val="693558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3" name="Слайд think-cell" r:id="rId5" imgW="425" imgH="426" progId="TCLayout.ActiveDocument.1">
                  <p:embed/>
                </p:oleObj>
              </mc:Choice>
              <mc:Fallback>
                <p:oleObj name="Слайд think-cell" r:id="rId5" imgW="425" imgH="426" progId="TCLayout.ActiveDocument.1">
                  <p:embed/>
                  <p:pic>
                    <p:nvPicPr>
                      <p:cNvPr id="24" name="Объект 2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Прямоугольник 15" hidden="1"/>
          <p:cNvSpPr/>
          <p:nvPr>
            <p:custDataLst>
              <p:tags r:id="rId3"/>
            </p:custDataLst>
          </p:nvPr>
        </p:nvSpPr>
        <p:spPr>
          <a:xfrm>
            <a:off x="0" y="0"/>
            <a:ext cx="158750" cy="158750"/>
          </a:xfrm>
          <a:prstGeom prst="rect">
            <a:avLst/>
          </a:prstGeom>
          <a:gradFill>
            <a:gsLst>
              <a:gs pos="0">
                <a:schemeClr val="accent1">
                  <a:alpha val="50000"/>
                </a:schemeClr>
              </a:gs>
              <a:gs pos="100000">
                <a:schemeClr val="accent4">
                  <a:lumMod val="100000"/>
                  <a:alpha val="81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ru-RU" sz="1400" dirty="0">
              <a:sym typeface="+mn-lt"/>
            </a:endParaRPr>
          </a:p>
        </p:txBody>
      </p:sp>
      <p:sp>
        <p:nvSpPr>
          <p:cNvPr id="2" name="TextBox 1">
            <a:extLst>
              <a:ext uri="{FF2B5EF4-FFF2-40B4-BE49-F238E27FC236}">
                <a16:creationId xmlns:a16="http://schemas.microsoft.com/office/drawing/2014/main" id="{DBD428FF-BA9C-4CEB-97BF-A5BFFD1D3087}"/>
              </a:ext>
            </a:extLst>
          </p:cNvPr>
          <p:cNvSpPr txBox="1"/>
          <p:nvPr/>
        </p:nvSpPr>
        <p:spPr>
          <a:xfrm>
            <a:off x="3423236" y="631506"/>
            <a:ext cx="5528853" cy="461665"/>
          </a:xfrm>
          <a:prstGeom prst="rect">
            <a:avLst/>
          </a:prstGeom>
          <a:noFill/>
        </p:spPr>
        <p:txBody>
          <a:bodyPr wrap="square" rtlCol="0">
            <a:spAutoFit/>
          </a:bodyPr>
          <a:lstStyle/>
          <a:p>
            <a:pPr lvl="0" algn="ctr">
              <a:defRPr/>
            </a:pPr>
            <a:r>
              <a:rPr lang="en-US" sz="2400" b="1" dirty="0" smtClean="0">
                <a:solidFill>
                  <a:srgbClr val="0588DB"/>
                </a:solidFill>
                <a:latin typeface="Century Gothic" panose="020B0502020202020204" pitchFamily="34" charset="0"/>
                <a:ea typeface="Tahoma" panose="020B0604030504040204" pitchFamily="34" charset="0"/>
                <a:cs typeface="Tahoma" panose="020B0604030504040204" pitchFamily="34" charset="0"/>
              </a:rPr>
              <a:t>Data Mining </a:t>
            </a:r>
            <a:r>
              <a:rPr lang="ru-RU" sz="2400" b="1" dirty="0" smtClean="0">
                <a:solidFill>
                  <a:prstClr val="black">
                    <a:lumMod val="95000"/>
                    <a:lumOff val="5000"/>
                  </a:prstClr>
                </a:solidFill>
                <a:latin typeface="Century Gothic" panose="020B0502020202020204" pitchFamily="34" charset="0"/>
                <a:ea typeface="Tahoma" panose="020B0604030504040204" pitchFamily="34" charset="0"/>
                <a:cs typeface="Tahoma" panose="020B0604030504040204" pitchFamily="34" charset="0"/>
              </a:rPr>
              <a:t>в </a:t>
            </a:r>
            <a:r>
              <a:rPr lang="ru-RU" sz="2400" b="1" dirty="0">
                <a:solidFill>
                  <a:prstClr val="black">
                    <a:lumMod val="95000"/>
                    <a:lumOff val="5000"/>
                  </a:prstClr>
                </a:solidFill>
                <a:latin typeface="Century Gothic" panose="020B0502020202020204" pitchFamily="34" charset="0"/>
                <a:ea typeface="Tahoma" panose="020B0604030504040204" pitchFamily="34" charset="0"/>
                <a:cs typeface="Tahoma" panose="020B0604030504040204" pitchFamily="34" charset="0"/>
              </a:rPr>
              <a:t>банковском деле</a:t>
            </a:r>
          </a:p>
        </p:txBody>
      </p:sp>
      <p:sp>
        <p:nvSpPr>
          <p:cNvPr id="3" name="TextBox 2"/>
          <p:cNvSpPr txBox="1"/>
          <p:nvPr/>
        </p:nvSpPr>
        <p:spPr>
          <a:xfrm>
            <a:off x="6269038" y="1466647"/>
            <a:ext cx="4445521" cy="492443"/>
          </a:xfrm>
          <a:prstGeom prst="rect">
            <a:avLst/>
          </a:prstGeom>
          <a:noFill/>
        </p:spPr>
        <p:txBody>
          <a:bodyPr wrap="square" lIns="0" tIns="0" rIns="0" bIns="0" rtlCol="0" anchor="t">
            <a:spAutoFit/>
          </a:bodyPr>
          <a:lstStyle/>
          <a:p>
            <a:pPr algn="just" defTabSz="1375467"/>
            <a:r>
              <a:rPr lang="ru-RU" sz="1600" b="1" dirty="0" smtClean="0">
                <a:solidFill>
                  <a:schemeClr val="bg1">
                    <a:lumMod val="10000"/>
                  </a:schemeClr>
                </a:solidFill>
                <a:latin typeface="Century Gothic" panose="020B0502020202020204" pitchFamily="34" charset="0"/>
              </a:rPr>
              <a:t>Задачи, которые можно решать с помощью Data </a:t>
            </a:r>
            <a:r>
              <a:rPr lang="ru-RU" sz="1600" b="1" dirty="0" err="1" smtClean="0">
                <a:solidFill>
                  <a:schemeClr val="bg1">
                    <a:lumMod val="10000"/>
                  </a:schemeClr>
                </a:solidFill>
                <a:latin typeface="Century Gothic" panose="020B0502020202020204" pitchFamily="34" charset="0"/>
              </a:rPr>
              <a:t>Mining</a:t>
            </a:r>
            <a:r>
              <a:rPr lang="ru-RU" sz="1600" b="1" dirty="0" smtClean="0">
                <a:solidFill>
                  <a:schemeClr val="bg1">
                    <a:lumMod val="10000"/>
                  </a:schemeClr>
                </a:solidFill>
                <a:latin typeface="Century Gothic" panose="020B0502020202020204" pitchFamily="34" charset="0"/>
              </a:rPr>
              <a:t>:  </a:t>
            </a:r>
            <a:endParaRPr lang="ru-RU" sz="1600" b="1" dirty="0">
              <a:solidFill>
                <a:schemeClr val="bg1">
                  <a:lumMod val="10000"/>
                </a:schemeClr>
              </a:solidFill>
              <a:latin typeface="Century Gothic" panose="020B0502020202020204" pitchFamily="34" charset="0"/>
            </a:endParaRPr>
          </a:p>
        </p:txBody>
      </p:sp>
      <p:sp>
        <p:nvSpPr>
          <p:cNvPr id="4" name="TextBox 3">
            <a:extLst>
              <a:ext uri="{FF2B5EF4-FFF2-40B4-BE49-F238E27FC236}">
                <a16:creationId xmlns:a16="http://schemas.microsoft.com/office/drawing/2014/main" id="{B84F05E5-66E5-451A-922E-237FDE35085A}"/>
              </a:ext>
            </a:extLst>
          </p:cNvPr>
          <p:cNvSpPr txBox="1"/>
          <p:nvPr/>
        </p:nvSpPr>
        <p:spPr>
          <a:xfrm>
            <a:off x="6114181" y="1971271"/>
            <a:ext cx="785886"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588DB"/>
                </a:solidFill>
                <a:effectLst/>
                <a:uLnTx/>
                <a:uFillTx/>
                <a:latin typeface="Agency FB" panose="020B0503020202020204" pitchFamily="34" charset="0"/>
                <a:ea typeface="+mn-ea"/>
                <a:cs typeface="+mn-cs"/>
              </a:rPr>
              <a:t>01</a:t>
            </a:r>
          </a:p>
        </p:txBody>
      </p:sp>
      <p:sp>
        <p:nvSpPr>
          <p:cNvPr id="5" name="TextBox 4"/>
          <p:cNvSpPr txBox="1"/>
          <p:nvPr/>
        </p:nvSpPr>
        <p:spPr>
          <a:xfrm>
            <a:off x="6900067" y="2110709"/>
            <a:ext cx="4526845" cy="984885"/>
          </a:xfrm>
          <a:prstGeom prst="rect">
            <a:avLst/>
          </a:prstGeom>
          <a:noFill/>
        </p:spPr>
        <p:txBody>
          <a:bodyPr wrap="square" lIns="0" tIns="0" rIns="0" bIns="0" rtlCol="0" anchor="t">
            <a:spAutoFit/>
          </a:bodyPr>
          <a:lstStyle/>
          <a:p>
            <a:pPr defTabSz="1375467"/>
            <a:r>
              <a:rPr lang="ru-RU" sz="1400" b="1" dirty="0" smtClean="0">
                <a:solidFill>
                  <a:schemeClr val="bg1">
                    <a:lumMod val="10000"/>
                  </a:schemeClr>
                </a:solidFill>
                <a:latin typeface="Century Gothic" panose="020B0502020202020204" pitchFamily="34" charset="0"/>
              </a:rPr>
              <a:t>Выявление </a:t>
            </a:r>
            <a:r>
              <a:rPr lang="ru-RU" sz="1400" b="1" dirty="0">
                <a:solidFill>
                  <a:schemeClr val="bg1">
                    <a:lumMod val="10000"/>
                  </a:schemeClr>
                </a:solidFill>
                <a:latin typeface="Century Gothic" panose="020B0502020202020204" pitchFamily="34" charset="0"/>
              </a:rPr>
              <a:t>мошенничества с кредитными </a:t>
            </a:r>
            <a:r>
              <a:rPr lang="ru-RU" sz="1400" b="1" dirty="0" smtClean="0">
                <a:solidFill>
                  <a:schemeClr val="bg1">
                    <a:lumMod val="10000"/>
                  </a:schemeClr>
                </a:solidFill>
                <a:latin typeface="Century Gothic" panose="020B0502020202020204" pitchFamily="34" charset="0"/>
              </a:rPr>
              <a:t>карточками.</a:t>
            </a:r>
          </a:p>
          <a:p>
            <a:pPr defTabSz="1375467"/>
            <a:r>
              <a:rPr lang="ru-RU" sz="1200" b="1" dirty="0">
                <a:solidFill>
                  <a:schemeClr val="bg2">
                    <a:lumMod val="50000"/>
                  </a:schemeClr>
                </a:solidFill>
                <a:latin typeface="Century Gothic" panose="020B0502020202020204" pitchFamily="34" charset="0"/>
              </a:rPr>
              <a:t>Путем анализа прошлых транзакций, которые впоследствии оказались мошенническими, банк выявляет некоторые стереотипы такого мошенничества.</a:t>
            </a:r>
          </a:p>
        </p:txBody>
      </p:sp>
      <p:sp>
        <p:nvSpPr>
          <p:cNvPr id="10" name="TextBox 9">
            <a:extLst>
              <a:ext uri="{FF2B5EF4-FFF2-40B4-BE49-F238E27FC236}">
                <a16:creationId xmlns:a16="http://schemas.microsoft.com/office/drawing/2014/main" id="{B84F05E5-66E5-451A-922E-237FDE35085A}"/>
              </a:ext>
            </a:extLst>
          </p:cNvPr>
          <p:cNvSpPr txBox="1"/>
          <p:nvPr/>
        </p:nvSpPr>
        <p:spPr>
          <a:xfrm>
            <a:off x="6114181" y="3080830"/>
            <a:ext cx="785886"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smtClean="0">
                <a:ln>
                  <a:noFill/>
                </a:ln>
                <a:solidFill>
                  <a:srgbClr val="0588DB"/>
                </a:solidFill>
                <a:effectLst/>
                <a:uLnTx/>
                <a:uFillTx/>
                <a:latin typeface="Agency FB" panose="020B0503020202020204" pitchFamily="34" charset="0"/>
                <a:ea typeface="+mn-ea"/>
                <a:cs typeface="+mn-cs"/>
              </a:rPr>
              <a:t>0</a:t>
            </a:r>
            <a:r>
              <a:rPr kumimoji="0" lang="ru-RU" sz="4400" b="1" i="0" u="none" strike="noStrike" kern="1200" cap="none" spc="0" normalizeH="0" baseline="0" noProof="0" dirty="0" smtClean="0">
                <a:ln>
                  <a:noFill/>
                </a:ln>
                <a:solidFill>
                  <a:srgbClr val="0588DB"/>
                </a:solidFill>
                <a:effectLst/>
                <a:uLnTx/>
                <a:uFillTx/>
                <a:latin typeface="Agency FB" panose="020B0503020202020204" pitchFamily="34" charset="0"/>
                <a:ea typeface="+mn-ea"/>
                <a:cs typeface="+mn-cs"/>
              </a:rPr>
              <a:t>2</a:t>
            </a:r>
            <a:endParaRPr kumimoji="0" lang="en-US" sz="4400" b="1" i="0" u="none" strike="noStrike" kern="1200" cap="none" spc="0" normalizeH="0" baseline="0" noProof="0" dirty="0">
              <a:ln>
                <a:noFill/>
              </a:ln>
              <a:solidFill>
                <a:srgbClr val="0588DB"/>
              </a:solidFill>
              <a:effectLst/>
              <a:uLnTx/>
              <a:uFillTx/>
              <a:latin typeface="Agency FB" panose="020B0503020202020204" pitchFamily="34" charset="0"/>
              <a:ea typeface="+mn-ea"/>
              <a:cs typeface="+mn-cs"/>
            </a:endParaRPr>
          </a:p>
        </p:txBody>
      </p:sp>
      <p:sp>
        <p:nvSpPr>
          <p:cNvPr id="11" name="TextBox 10"/>
          <p:cNvSpPr txBox="1"/>
          <p:nvPr/>
        </p:nvSpPr>
        <p:spPr>
          <a:xfrm>
            <a:off x="6900067" y="3214688"/>
            <a:ext cx="4526845" cy="954107"/>
          </a:xfrm>
          <a:prstGeom prst="rect">
            <a:avLst/>
          </a:prstGeom>
          <a:noFill/>
        </p:spPr>
        <p:txBody>
          <a:bodyPr wrap="square" lIns="0" tIns="0" rIns="0" bIns="0" rtlCol="0" anchor="t">
            <a:spAutoFit/>
          </a:bodyPr>
          <a:lstStyle/>
          <a:p>
            <a:pPr algn="just" defTabSz="1375467"/>
            <a:r>
              <a:rPr lang="ru-RU" sz="1400" b="1" dirty="0" smtClean="0">
                <a:solidFill>
                  <a:schemeClr val="bg1">
                    <a:lumMod val="10000"/>
                  </a:schemeClr>
                </a:solidFill>
                <a:latin typeface="Century Gothic" panose="020B0502020202020204" pitchFamily="34" charset="0"/>
              </a:rPr>
              <a:t>Сегментация </a:t>
            </a:r>
            <a:r>
              <a:rPr lang="ru-RU" sz="1400" b="1" dirty="0">
                <a:solidFill>
                  <a:schemeClr val="bg1">
                    <a:lumMod val="10000"/>
                  </a:schemeClr>
                </a:solidFill>
                <a:latin typeface="Century Gothic" panose="020B0502020202020204" pitchFamily="34" charset="0"/>
              </a:rPr>
              <a:t>клиентов. </a:t>
            </a:r>
            <a:endParaRPr lang="ru-RU" sz="1400" b="1" dirty="0" smtClean="0">
              <a:solidFill>
                <a:schemeClr val="bg1">
                  <a:lumMod val="10000"/>
                </a:schemeClr>
              </a:solidFill>
              <a:latin typeface="Century Gothic" panose="020B0502020202020204" pitchFamily="34" charset="0"/>
            </a:endParaRPr>
          </a:p>
          <a:p>
            <a:pPr algn="just" defTabSz="1375467"/>
            <a:r>
              <a:rPr lang="ru-RU" sz="1200" b="1" dirty="0">
                <a:solidFill>
                  <a:schemeClr val="bg2">
                    <a:lumMod val="50000"/>
                  </a:schemeClr>
                </a:solidFill>
                <a:latin typeface="Century Gothic" panose="020B0502020202020204" pitchFamily="34" charset="0"/>
              </a:rPr>
              <a:t>Разбивая клиентов на различные категории, банки делают свою маркетинговую политику более целенаправленной и результативной, предлагая различные виды услуг разным группам клиентов.</a:t>
            </a:r>
          </a:p>
        </p:txBody>
      </p:sp>
      <p:sp>
        <p:nvSpPr>
          <p:cNvPr id="12" name="TextBox 11">
            <a:extLst>
              <a:ext uri="{FF2B5EF4-FFF2-40B4-BE49-F238E27FC236}">
                <a16:creationId xmlns:a16="http://schemas.microsoft.com/office/drawing/2014/main" id="{B84F05E5-66E5-451A-922E-237FDE35085A}"/>
              </a:ext>
            </a:extLst>
          </p:cNvPr>
          <p:cNvSpPr txBox="1"/>
          <p:nvPr/>
        </p:nvSpPr>
        <p:spPr>
          <a:xfrm>
            <a:off x="6114181" y="4173666"/>
            <a:ext cx="785886"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smtClean="0">
                <a:ln>
                  <a:noFill/>
                </a:ln>
                <a:solidFill>
                  <a:srgbClr val="0588DB"/>
                </a:solidFill>
                <a:effectLst/>
                <a:uLnTx/>
                <a:uFillTx/>
                <a:latin typeface="Agency FB" panose="020B0503020202020204" pitchFamily="34" charset="0"/>
                <a:ea typeface="+mn-ea"/>
                <a:cs typeface="+mn-cs"/>
              </a:rPr>
              <a:t>0</a:t>
            </a:r>
            <a:r>
              <a:rPr lang="ru-RU" sz="4400" b="1" dirty="0">
                <a:solidFill>
                  <a:srgbClr val="0588DB"/>
                </a:solidFill>
                <a:latin typeface="Agency FB" panose="020B0503020202020204" pitchFamily="34" charset="0"/>
              </a:rPr>
              <a:t>3</a:t>
            </a:r>
            <a:endParaRPr kumimoji="0" lang="en-US" sz="4400" b="1" i="0" u="none" strike="noStrike" kern="1200" cap="none" spc="0" normalizeH="0" baseline="0" noProof="0" dirty="0">
              <a:ln>
                <a:noFill/>
              </a:ln>
              <a:solidFill>
                <a:srgbClr val="0588DB"/>
              </a:solidFill>
              <a:effectLst/>
              <a:uLnTx/>
              <a:uFillTx/>
              <a:latin typeface="Agency FB" panose="020B0503020202020204" pitchFamily="34" charset="0"/>
              <a:ea typeface="+mn-ea"/>
              <a:cs typeface="+mn-cs"/>
            </a:endParaRPr>
          </a:p>
        </p:txBody>
      </p:sp>
      <p:sp>
        <p:nvSpPr>
          <p:cNvPr id="13" name="TextBox 12"/>
          <p:cNvSpPr txBox="1"/>
          <p:nvPr/>
        </p:nvSpPr>
        <p:spPr>
          <a:xfrm>
            <a:off x="6900067" y="4313104"/>
            <a:ext cx="4526845" cy="769441"/>
          </a:xfrm>
          <a:prstGeom prst="rect">
            <a:avLst/>
          </a:prstGeom>
          <a:noFill/>
        </p:spPr>
        <p:txBody>
          <a:bodyPr wrap="square" lIns="0" tIns="0" rIns="0" bIns="0" rtlCol="0" anchor="t">
            <a:spAutoFit/>
          </a:bodyPr>
          <a:lstStyle/>
          <a:p>
            <a:pPr algn="just" defTabSz="1375467"/>
            <a:r>
              <a:rPr lang="ru-RU" sz="1400" b="1" dirty="0" smtClean="0">
                <a:solidFill>
                  <a:schemeClr val="bg1">
                    <a:lumMod val="10000"/>
                  </a:schemeClr>
                </a:solidFill>
                <a:latin typeface="Century Gothic" panose="020B0502020202020204" pitchFamily="34" charset="0"/>
              </a:rPr>
              <a:t>Прогнозирование </a:t>
            </a:r>
            <a:r>
              <a:rPr lang="ru-RU" sz="1400" b="1" dirty="0">
                <a:solidFill>
                  <a:schemeClr val="bg1">
                    <a:lumMod val="10000"/>
                  </a:schemeClr>
                </a:solidFill>
                <a:latin typeface="Century Gothic" panose="020B0502020202020204" pitchFamily="34" charset="0"/>
              </a:rPr>
              <a:t>изменений </a:t>
            </a:r>
            <a:r>
              <a:rPr lang="ru-RU" sz="1400" b="1" dirty="0" smtClean="0">
                <a:solidFill>
                  <a:schemeClr val="bg1">
                    <a:lumMod val="10000"/>
                  </a:schemeClr>
                </a:solidFill>
                <a:latin typeface="Century Gothic" panose="020B0502020202020204" pitchFamily="34" charset="0"/>
              </a:rPr>
              <a:t>клиентуры.</a:t>
            </a:r>
          </a:p>
          <a:p>
            <a:pPr algn="just" defTabSz="1375467"/>
            <a:r>
              <a:rPr lang="ru-RU" sz="1200" b="1" dirty="0">
                <a:solidFill>
                  <a:schemeClr val="bg1">
                    <a:lumMod val="50000"/>
                  </a:schemeClr>
                </a:solidFill>
                <a:latin typeface="Century Gothic" panose="020B0502020202020204" pitchFamily="34" charset="0"/>
              </a:rPr>
              <a:t>Data </a:t>
            </a:r>
            <a:r>
              <a:rPr lang="ru-RU" sz="1200" b="1" dirty="0" err="1">
                <a:solidFill>
                  <a:schemeClr val="bg1">
                    <a:lumMod val="50000"/>
                  </a:schemeClr>
                </a:solidFill>
                <a:latin typeface="Century Gothic" panose="020B0502020202020204" pitchFamily="34" charset="0"/>
              </a:rPr>
              <a:t>Mining</a:t>
            </a:r>
            <a:r>
              <a:rPr lang="ru-RU" sz="1200" b="1" dirty="0">
                <a:solidFill>
                  <a:schemeClr val="bg1">
                    <a:lumMod val="50000"/>
                  </a:schemeClr>
                </a:solidFill>
                <a:latin typeface="Century Gothic" panose="020B0502020202020204" pitchFamily="34" charset="0"/>
              </a:rPr>
              <a:t> помогает банкам строить прогнозные модели ценности своих клиентов, и соответствующим образом обслуживать каждую категорию.</a:t>
            </a:r>
          </a:p>
        </p:txBody>
      </p:sp>
      <p:pic>
        <p:nvPicPr>
          <p:cNvPr id="6" name="Рисунок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3412" y="1464712"/>
            <a:ext cx="4950808" cy="3880770"/>
          </a:xfrm>
          <a:prstGeom prst="rect">
            <a:avLst/>
          </a:prstGeom>
        </p:spPr>
      </p:pic>
      <p:sp>
        <p:nvSpPr>
          <p:cNvPr id="27" name="TextBox 26"/>
          <p:cNvSpPr txBox="1"/>
          <p:nvPr/>
        </p:nvSpPr>
        <p:spPr>
          <a:xfrm>
            <a:off x="699747" y="5470801"/>
            <a:ext cx="4445521" cy="492443"/>
          </a:xfrm>
          <a:prstGeom prst="rect">
            <a:avLst/>
          </a:prstGeom>
          <a:noFill/>
        </p:spPr>
        <p:txBody>
          <a:bodyPr wrap="square" lIns="0" tIns="0" rIns="0" bIns="0" rtlCol="0" anchor="t">
            <a:spAutoFit/>
          </a:bodyPr>
          <a:lstStyle/>
          <a:p>
            <a:pPr algn="just" defTabSz="1375467"/>
            <a:r>
              <a:rPr lang="ru-RU" sz="1600" b="1" dirty="0" smtClean="0">
                <a:solidFill>
                  <a:schemeClr val="bg1">
                    <a:lumMod val="10000"/>
                  </a:schemeClr>
                </a:solidFill>
                <a:latin typeface="Century Gothic" panose="020B0502020202020204" pitchFamily="34" charset="0"/>
              </a:rPr>
              <a:t>Общий вывод:</a:t>
            </a:r>
          </a:p>
          <a:p>
            <a:pPr algn="just" defTabSz="1375467"/>
            <a:endParaRPr lang="ru-RU" sz="1600" b="1" dirty="0">
              <a:solidFill>
                <a:schemeClr val="bg1">
                  <a:lumMod val="10000"/>
                </a:schemeClr>
              </a:solidFill>
              <a:latin typeface="Century Gothic" panose="020B0502020202020204" pitchFamily="34" charset="0"/>
            </a:endParaRPr>
          </a:p>
        </p:txBody>
      </p:sp>
      <p:cxnSp>
        <p:nvCxnSpPr>
          <p:cNvPr id="29" name="Straight Connector 24">
            <a:extLst>
              <a:ext uri="{FF2B5EF4-FFF2-40B4-BE49-F238E27FC236}">
                <a16:creationId xmlns:a16="http://schemas.microsoft.com/office/drawing/2014/main" id="{A8A0193E-C41C-46B0-9C39-BB9B95D912EA}"/>
              </a:ext>
            </a:extLst>
          </p:cNvPr>
          <p:cNvCxnSpPr>
            <a:cxnSpLocks/>
          </p:cNvCxnSpPr>
          <p:nvPr/>
        </p:nvCxnSpPr>
        <p:spPr>
          <a:xfrm flipH="1">
            <a:off x="699747" y="5345482"/>
            <a:ext cx="10975830" cy="0"/>
          </a:xfrm>
          <a:prstGeom prst="line">
            <a:avLst/>
          </a:prstGeom>
          <a:solidFill>
            <a:schemeClr val="tx1">
              <a:lumMod val="95000"/>
              <a:lumOff val="5000"/>
            </a:schemeClr>
          </a:solidFill>
          <a:ln w="31750" cap="rnd">
            <a:solidFill>
              <a:schemeClr val="tx1">
                <a:lumMod val="95000"/>
                <a:lumOff val="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 name="Прямоугольник 6"/>
          <p:cNvSpPr/>
          <p:nvPr/>
        </p:nvSpPr>
        <p:spPr>
          <a:xfrm>
            <a:off x="613412" y="5719072"/>
            <a:ext cx="10531366" cy="830997"/>
          </a:xfrm>
          <a:prstGeom prst="rect">
            <a:avLst/>
          </a:prstGeom>
        </p:spPr>
        <p:txBody>
          <a:bodyPr wrap="square">
            <a:spAutoFit/>
          </a:bodyPr>
          <a:lstStyle/>
          <a:p>
            <a:r>
              <a:rPr lang="ru-RU" sz="1200" b="1" dirty="0">
                <a:solidFill>
                  <a:schemeClr val="bg1">
                    <a:lumMod val="50000"/>
                  </a:schemeClr>
                </a:solidFill>
                <a:latin typeface="Century Gothic" panose="020B0502020202020204" pitchFamily="34" charset="0"/>
              </a:rPr>
              <a:t>Б</a:t>
            </a:r>
            <a:r>
              <a:rPr lang="ru-RU" sz="1200" b="1" dirty="0" smtClean="0">
                <a:solidFill>
                  <a:schemeClr val="bg1">
                    <a:lumMod val="50000"/>
                  </a:schemeClr>
                </a:solidFill>
                <a:latin typeface="Century Gothic" panose="020B0502020202020204" pitchFamily="34" charset="0"/>
              </a:rPr>
              <a:t>анковскую </a:t>
            </a:r>
            <a:r>
              <a:rPr lang="ru-RU" sz="1200" b="1" dirty="0">
                <a:solidFill>
                  <a:schemeClr val="bg1">
                    <a:lumMod val="50000"/>
                  </a:schemeClr>
                </a:solidFill>
                <a:latin typeface="Century Gothic" panose="020B0502020202020204" pitchFamily="34" charset="0"/>
              </a:rPr>
              <a:t>индустрию можно назвать одним из флагманов использования больших данных в мире, во многом из-за высокого качества и полноты доступных данных</a:t>
            </a:r>
            <a:r>
              <a:rPr lang="ru-RU" sz="1200" b="1" dirty="0" smtClean="0">
                <a:solidFill>
                  <a:schemeClr val="bg1">
                    <a:lumMod val="50000"/>
                  </a:schemeClr>
                </a:solidFill>
                <a:latin typeface="Century Gothic" panose="020B0502020202020204" pitchFamily="34" charset="0"/>
              </a:rPr>
              <a:t>. </a:t>
            </a:r>
            <a:r>
              <a:rPr lang="ru-RU" sz="1200" b="1" dirty="0">
                <a:solidFill>
                  <a:schemeClr val="bg1">
                    <a:lumMod val="50000"/>
                  </a:schemeClr>
                </a:solidFill>
                <a:latin typeface="Century Gothic" panose="020B0502020202020204" pitchFamily="34" charset="0"/>
              </a:rPr>
              <a:t>В России банковская отрасль также является лидером в области применения больших данных. В ней нашли применение почти все передовые направления анализа данных и машинного обучения — это и глубокое обучение, и обработка естественных языков, и искусственный интеллект, и анализ графов и сетей.</a:t>
            </a:r>
          </a:p>
        </p:txBody>
      </p:sp>
    </p:spTree>
    <p:extLst>
      <p:ext uri="{BB962C8B-B14F-4D97-AF65-F5344CB8AC3E}">
        <p14:creationId xmlns:p14="http://schemas.microsoft.com/office/powerpoint/2010/main" val="6662602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4" name="Объект 23" hidden="1"/>
          <p:cNvGraphicFramePr>
            <a:graphicFrameLocks noChangeAspect="1"/>
          </p:cNvGraphicFramePr>
          <p:nvPr>
            <p:custDataLst>
              <p:tags r:id="rId2"/>
            </p:custDataLst>
            <p:extLst>
              <p:ext uri="{D42A27DB-BD31-4B8C-83A1-F6EECF244321}">
                <p14:modId xmlns:p14="http://schemas.microsoft.com/office/powerpoint/2010/main" val="3928886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1" name="Слайд think-cell" r:id="rId5" imgW="425" imgH="426" progId="TCLayout.ActiveDocument.1">
                  <p:embed/>
                </p:oleObj>
              </mc:Choice>
              <mc:Fallback>
                <p:oleObj name="Слайд think-cell" r:id="rId5" imgW="425" imgH="426" progId="TCLayout.ActiveDocument.1">
                  <p:embed/>
                  <p:pic>
                    <p:nvPicPr>
                      <p:cNvPr id="24" name="Объект 2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Прямоугольник 15" hidden="1"/>
          <p:cNvSpPr/>
          <p:nvPr>
            <p:custDataLst>
              <p:tags r:id="rId3"/>
            </p:custDataLst>
          </p:nvPr>
        </p:nvSpPr>
        <p:spPr>
          <a:xfrm>
            <a:off x="0" y="0"/>
            <a:ext cx="158750" cy="158750"/>
          </a:xfrm>
          <a:prstGeom prst="rect">
            <a:avLst/>
          </a:prstGeom>
          <a:gradFill>
            <a:gsLst>
              <a:gs pos="0">
                <a:schemeClr val="accent1">
                  <a:alpha val="50000"/>
                </a:schemeClr>
              </a:gs>
              <a:gs pos="100000">
                <a:schemeClr val="accent4">
                  <a:lumMod val="100000"/>
                  <a:alpha val="81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ru-RU" sz="1400" dirty="0">
              <a:sym typeface="+mn-lt"/>
            </a:endParaRPr>
          </a:p>
        </p:txBody>
      </p:sp>
      <p:sp>
        <p:nvSpPr>
          <p:cNvPr id="2" name="TextBox 1">
            <a:extLst>
              <a:ext uri="{FF2B5EF4-FFF2-40B4-BE49-F238E27FC236}">
                <a16:creationId xmlns:a16="http://schemas.microsoft.com/office/drawing/2014/main" id="{DBD428FF-BA9C-4CEB-97BF-A5BFFD1D3087}"/>
              </a:ext>
            </a:extLst>
          </p:cNvPr>
          <p:cNvSpPr txBox="1"/>
          <p:nvPr/>
        </p:nvSpPr>
        <p:spPr>
          <a:xfrm>
            <a:off x="2461419" y="615862"/>
            <a:ext cx="8003676" cy="461665"/>
          </a:xfrm>
          <a:prstGeom prst="rect">
            <a:avLst/>
          </a:prstGeom>
          <a:noFill/>
        </p:spPr>
        <p:txBody>
          <a:bodyPr wrap="square" rtlCol="0">
            <a:spAutoFit/>
          </a:bodyPr>
          <a:lstStyle/>
          <a:p>
            <a:pPr lvl="0" algn="ctr">
              <a:defRPr/>
            </a:pPr>
            <a:r>
              <a:rPr lang="en-US" sz="2400" b="1" dirty="0" smtClean="0">
                <a:solidFill>
                  <a:srgbClr val="0588DB"/>
                </a:solidFill>
                <a:latin typeface="Century Gothic" panose="020B0502020202020204" pitchFamily="34" charset="0"/>
                <a:ea typeface="Tahoma" panose="020B0604030504040204" pitchFamily="34" charset="0"/>
                <a:cs typeface="Tahoma" panose="020B0604030504040204" pitchFamily="34" charset="0"/>
              </a:rPr>
              <a:t>Data Mining </a:t>
            </a:r>
            <a:r>
              <a:rPr lang="ru-RU" sz="2400" b="1" dirty="0" smtClean="0">
                <a:solidFill>
                  <a:prstClr val="black">
                    <a:lumMod val="95000"/>
                    <a:lumOff val="5000"/>
                  </a:prstClr>
                </a:solidFill>
                <a:latin typeface="Century Gothic" panose="020B0502020202020204" pitchFamily="34" charset="0"/>
                <a:ea typeface="Tahoma" panose="020B0604030504040204" pitchFamily="34" charset="0"/>
                <a:cs typeface="Tahoma" panose="020B0604030504040204" pitchFamily="34" charset="0"/>
              </a:rPr>
              <a:t>в телекоммуникациях и страховании</a:t>
            </a:r>
            <a:endParaRPr kumimoji="0" lang="en-US" sz="2400" b="1" i="0" u="none" strike="noStrike" kern="1200" cap="none" spc="0" normalizeH="0" baseline="0" noProof="0" dirty="0">
              <a:ln>
                <a:noFill/>
              </a:ln>
              <a:solidFill>
                <a:prstClr val="black">
                  <a:lumMod val="95000"/>
                  <a:lumOff val="5000"/>
                </a:prstClr>
              </a:solidFill>
              <a:effectLst/>
              <a:uLnTx/>
              <a:uFillTx/>
              <a:latin typeface="Century Gothic" panose="020B0502020202020204" pitchFamily="34" charset="0"/>
              <a:ea typeface="Tahoma" panose="020B0604030504040204" pitchFamily="34" charset="0"/>
              <a:cs typeface="Tahoma" panose="020B0604030504040204" pitchFamily="34" charset="0"/>
            </a:endParaRPr>
          </a:p>
        </p:txBody>
      </p:sp>
      <p:sp>
        <p:nvSpPr>
          <p:cNvPr id="3" name="TextBox 2"/>
          <p:cNvSpPr txBox="1"/>
          <p:nvPr/>
        </p:nvSpPr>
        <p:spPr>
          <a:xfrm>
            <a:off x="688044" y="1519199"/>
            <a:ext cx="4445521" cy="738664"/>
          </a:xfrm>
          <a:prstGeom prst="rect">
            <a:avLst/>
          </a:prstGeom>
          <a:noFill/>
        </p:spPr>
        <p:txBody>
          <a:bodyPr wrap="square" lIns="0" tIns="0" rIns="0" bIns="0" rtlCol="0" anchor="t">
            <a:spAutoFit/>
          </a:bodyPr>
          <a:lstStyle/>
          <a:p>
            <a:pPr algn="just" defTabSz="1375467"/>
            <a:r>
              <a:rPr lang="ru-RU" sz="1600" b="1" dirty="0" smtClean="0">
                <a:solidFill>
                  <a:schemeClr val="bg1">
                    <a:lumMod val="10000"/>
                  </a:schemeClr>
                </a:solidFill>
                <a:latin typeface="Century Gothic" panose="020B0502020202020204" pitchFamily="34" charset="0"/>
              </a:rPr>
              <a:t>Задачи, которые можно решать с помощью Data </a:t>
            </a:r>
            <a:r>
              <a:rPr lang="ru-RU" sz="1600" b="1" dirty="0" err="1" smtClean="0">
                <a:solidFill>
                  <a:schemeClr val="bg1">
                    <a:lumMod val="10000"/>
                  </a:schemeClr>
                </a:solidFill>
                <a:latin typeface="Century Gothic" panose="020B0502020202020204" pitchFamily="34" charset="0"/>
              </a:rPr>
              <a:t>Mining</a:t>
            </a:r>
            <a:r>
              <a:rPr lang="ru-RU" sz="1600" b="1" dirty="0" smtClean="0">
                <a:solidFill>
                  <a:schemeClr val="bg1">
                    <a:lumMod val="10000"/>
                  </a:schemeClr>
                </a:solidFill>
                <a:latin typeface="Century Gothic" panose="020B0502020202020204" pitchFamily="34" charset="0"/>
              </a:rPr>
              <a:t> в сфере телекоммуникаций:  </a:t>
            </a:r>
            <a:endParaRPr lang="ru-RU" sz="1600" b="1" dirty="0">
              <a:solidFill>
                <a:schemeClr val="bg1">
                  <a:lumMod val="10000"/>
                </a:schemeClr>
              </a:solidFill>
              <a:latin typeface="Century Gothic" panose="020B0502020202020204" pitchFamily="34" charset="0"/>
            </a:endParaRPr>
          </a:p>
        </p:txBody>
      </p:sp>
      <p:sp>
        <p:nvSpPr>
          <p:cNvPr id="4" name="TextBox 3">
            <a:extLst>
              <a:ext uri="{FF2B5EF4-FFF2-40B4-BE49-F238E27FC236}">
                <a16:creationId xmlns:a16="http://schemas.microsoft.com/office/drawing/2014/main" id="{B84F05E5-66E5-451A-922E-237FDE35085A}"/>
              </a:ext>
            </a:extLst>
          </p:cNvPr>
          <p:cNvSpPr txBox="1"/>
          <p:nvPr/>
        </p:nvSpPr>
        <p:spPr>
          <a:xfrm>
            <a:off x="533187" y="2534593"/>
            <a:ext cx="785886"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588DB"/>
                </a:solidFill>
                <a:effectLst/>
                <a:uLnTx/>
                <a:uFillTx/>
                <a:latin typeface="Agency FB" panose="020B0503020202020204" pitchFamily="34" charset="0"/>
                <a:ea typeface="+mn-ea"/>
                <a:cs typeface="+mn-cs"/>
              </a:rPr>
              <a:t>01</a:t>
            </a:r>
          </a:p>
        </p:txBody>
      </p:sp>
      <p:sp>
        <p:nvSpPr>
          <p:cNvPr id="5" name="TextBox 4"/>
          <p:cNvSpPr txBox="1"/>
          <p:nvPr/>
        </p:nvSpPr>
        <p:spPr>
          <a:xfrm>
            <a:off x="1319073" y="2674031"/>
            <a:ext cx="4526845" cy="1169551"/>
          </a:xfrm>
          <a:prstGeom prst="rect">
            <a:avLst/>
          </a:prstGeom>
          <a:noFill/>
        </p:spPr>
        <p:txBody>
          <a:bodyPr wrap="square" lIns="0" tIns="0" rIns="0" bIns="0" rtlCol="0" anchor="t">
            <a:spAutoFit/>
          </a:bodyPr>
          <a:lstStyle/>
          <a:p>
            <a:pPr defTabSz="1375467"/>
            <a:r>
              <a:rPr lang="ru-RU" sz="1400" b="1" dirty="0" smtClean="0">
                <a:solidFill>
                  <a:schemeClr val="bg1">
                    <a:lumMod val="10000"/>
                  </a:schemeClr>
                </a:solidFill>
                <a:latin typeface="Century Gothic" panose="020B0502020202020204" pitchFamily="34" charset="0"/>
              </a:rPr>
              <a:t>Анализ </a:t>
            </a:r>
            <a:r>
              <a:rPr lang="ru-RU" sz="1400" b="1" dirty="0">
                <a:solidFill>
                  <a:schemeClr val="bg1">
                    <a:lumMod val="10000"/>
                  </a:schemeClr>
                </a:solidFill>
                <a:latin typeface="Century Gothic" panose="020B0502020202020204" pitchFamily="34" charset="0"/>
              </a:rPr>
              <a:t>записей о подробных характеристиках вызовов. </a:t>
            </a:r>
            <a:endParaRPr lang="ru-RU" sz="1400" b="1" dirty="0" smtClean="0">
              <a:solidFill>
                <a:schemeClr val="bg1">
                  <a:lumMod val="10000"/>
                </a:schemeClr>
              </a:solidFill>
              <a:latin typeface="Century Gothic" panose="020B0502020202020204" pitchFamily="34" charset="0"/>
            </a:endParaRPr>
          </a:p>
          <a:p>
            <a:pPr algn="just" defTabSz="1375467"/>
            <a:r>
              <a:rPr lang="ru-RU" sz="1200" b="1" dirty="0">
                <a:solidFill>
                  <a:schemeClr val="bg2">
                    <a:lumMod val="50000"/>
                  </a:schemeClr>
                </a:solidFill>
                <a:latin typeface="Century Gothic" panose="020B0502020202020204" pitchFamily="34" charset="0"/>
              </a:rPr>
              <a:t>Назначение такого анализа – выявление категорий клиентов с похожими стереотипами пользования их услугами и разработка привлекательных наборов цен и </a:t>
            </a:r>
            <a:r>
              <a:rPr lang="ru-RU" sz="1200" b="1" dirty="0" smtClean="0">
                <a:solidFill>
                  <a:schemeClr val="bg2">
                    <a:lumMod val="50000"/>
                  </a:schemeClr>
                </a:solidFill>
                <a:latin typeface="Century Gothic" panose="020B0502020202020204" pitchFamily="34" charset="0"/>
              </a:rPr>
              <a:t>услуг.</a:t>
            </a:r>
            <a:endParaRPr lang="ru-RU" sz="1200" b="1" dirty="0">
              <a:solidFill>
                <a:schemeClr val="bg2">
                  <a:lumMod val="50000"/>
                </a:schemeClr>
              </a:solidFill>
              <a:latin typeface="Century Gothic" panose="020B0502020202020204" pitchFamily="34" charset="0"/>
            </a:endParaRPr>
          </a:p>
        </p:txBody>
      </p:sp>
      <p:sp>
        <p:nvSpPr>
          <p:cNvPr id="10" name="TextBox 9">
            <a:extLst>
              <a:ext uri="{FF2B5EF4-FFF2-40B4-BE49-F238E27FC236}">
                <a16:creationId xmlns:a16="http://schemas.microsoft.com/office/drawing/2014/main" id="{B84F05E5-66E5-451A-922E-237FDE35085A}"/>
              </a:ext>
            </a:extLst>
          </p:cNvPr>
          <p:cNvSpPr txBox="1"/>
          <p:nvPr/>
        </p:nvSpPr>
        <p:spPr>
          <a:xfrm>
            <a:off x="533187" y="4098844"/>
            <a:ext cx="785886"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smtClean="0">
                <a:ln>
                  <a:noFill/>
                </a:ln>
                <a:solidFill>
                  <a:srgbClr val="0588DB"/>
                </a:solidFill>
                <a:effectLst/>
                <a:uLnTx/>
                <a:uFillTx/>
                <a:latin typeface="Agency FB" panose="020B0503020202020204" pitchFamily="34" charset="0"/>
                <a:ea typeface="+mn-ea"/>
                <a:cs typeface="+mn-cs"/>
              </a:rPr>
              <a:t>0</a:t>
            </a:r>
            <a:r>
              <a:rPr kumimoji="0" lang="ru-RU" sz="4400" b="1" i="0" u="none" strike="noStrike" kern="1200" cap="none" spc="0" normalizeH="0" baseline="0" noProof="0" dirty="0" smtClean="0">
                <a:ln>
                  <a:noFill/>
                </a:ln>
                <a:solidFill>
                  <a:srgbClr val="0588DB"/>
                </a:solidFill>
                <a:effectLst/>
                <a:uLnTx/>
                <a:uFillTx/>
                <a:latin typeface="Agency FB" panose="020B0503020202020204" pitchFamily="34" charset="0"/>
                <a:ea typeface="+mn-ea"/>
                <a:cs typeface="+mn-cs"/>
              </a:rPr>
              <a:t>2</a:t>
            </a:r>
            <a:endParaRPr kumimoji="0" lang="en-US" sz="4400" b="1" i="0" u="none" strike="noStrike" kern="1200" cap="none" spc="0" normalizeH="0" baseline="0" noProof="0" dirty="0">
              <a:ln>
                <a:noFill/>
              </a:ln>
              <a:solidFill>
                <a:srgbClr val="0588DB"/>
              </a:solidFill>
              <a:effectLst/>
              <a:uLnTx/>
              <a:uFillTx/>
              <a:latin typeface="Agency FB" panose="020B0503020202020204" pitchFamily="34" charset="0"/>
              <a:ea typeface="+mn-ea"/>
              <a:cs typeface="+mn-cs"/>
            </a:endParaRPr>
          </a:p>
        </p:txBody>
      </p:sp>
      <p:sp>
        <p:nvSpPr>
          <p:cNvPr id="11" name="TextBox 10"/>
          <p:cNvSpPr txBox="1"/>
          <p:nvPr/>
        </p:nvSpPr>
        <p:spPr>
          <a:xfrm>
            <a:off x="1319073" y="4232702"/>
            <a:ext cx="4526845" cy="1323439"/>
          </a:xfrm>
          <a:prstGeom prst="rect">
            <a:avLst/>
          </a:prstGeom>
          <a:noFill/>
        </p:spPr>
        <p:txBody>
          <a:bodyPr wrap="square" lIns="0" tIns="0" rIns="0" bIns="0" rtlCol="0" anchor="t">
            <a:spAutoFit/>
          </a:bodyPr>
          <a:lstStyle/>
          <a:p>
            <a:pPr algn="just" defTabSz="1375467"/>
            <a:r>
              <a:rPr lang="ru-RU" sz="1400" b="1" dirty="0" smtClean="0">
                <a:solidFill>
                  <a:schemeClr val="bg1">
                    <a:lumMod val="10000"/>
                  </a:schemeClr>
                </a:solidFill>
                <a:latin typeface="Century Gothic" panose="020B0502020202020204" pitchFamily="34" charset="0"/>
              </a:rPr>
              <a:t>Выявление </a:t>
            </a:r>
            <a:r>
              <a:rPr lang="ru-RU" sz="1400" b="1" dirty="0">
                <a:solidFill>
                  <a:schemeClr val="bg1">
                    <a:lumMod val="10000"/>
                  </a:schemeClr>
                </a:solidFill>
                <a:latin typeface="Century Gothic" panose="020B0502020202020204" pitchFamily="34" charset="0"/>
              </a:rPr>
              <a:t>лояльности клиентов</a:t>
            </a:r>
            <a:r>
              <a:rPr lang="ru-RU" sz="1400" b="1" dirty="0" smtClean="0">
                <a:solidFill>
                  <a:schemeClr val="bg1">
                    <a:lumMod val="10000"/>
                  </a:schemeClr>
                </a:solidFill>
                <a:latin typeface="Century Gothic" panose="020B0502020202020204" pitchFamily="34" charset="0"/>
              </a:rPr>
              <a:t>.</a:t>
            </a:r>
          </a:p>
          <a:p>
            <a:pPr algn="just" defTabSz="1375467"/>
            <a:r>
              <a:rPr lang="ru-RU" sz="1200" b="1" dirty="0">
                <a:solidFill>
                  <a:schemeClr val="bg2">
                    <a:lumMod val="50000"/>
                  </a:schemeClr>
                </a:solidFill>
                <a:latin typeface="Century Gothic" panose="020B0502020202020204" pitchFamily="34" charset="0"/>
              </a:rPr>
              <a:t>Data </a:t>
            </a:r>
            <a:r>
              <a:rPr lang="ru-RU" sz="1200" b="1" dirty="0" err="1">
                <a:solidFill>
                  <a:schemeClr val="bg2">
                    <a:lumMod val="50000"/>
                  </a:schemeClr>
                </a:solidFill>
                <a:latin typeface="Century Gothic" panose="020B0502020202020204" pitchFamily="34" charset="0"/>
              </a:rPr>
              <a:t>Mining</a:t>
            </a:r>
            <a:r>
              <a:rPr lang="ru-RU" sz="1200" b="1" dirty="0">
                <a:solidFill>
                  <a:schemeClr val="bg2">
                    <a:lumMod val="50000"/>
                  </a:schemeClr>
                </a:solidFill>
                <a:latin typeface="Century Gothic" panose="020B0502020202020204" pitchFamily="34" charset="0"/>
              </a:rPr>
              <a:t> можно использовать для определения характеристик клиентов, которые, один раз воспользовавшись услугами данной компании, с большой долей вероятности останутся ей верными. В итоге средства, выделяемые на маркетинг, можно тратить там, где отдача больше всего.</a:t>
            </a:r>
          </a:p>
        </p:txBody>
      </p:sp>
      <p:sp>
        <p:nvSpPr>
          <p:cNvPr id="25" name="TextBox 24"/>
          <p:cNvSpPr txBox="1"/>
          <p:nvPr/>
        </p:nvSpPr>
        <p:spPr>
          <a:xfrm>
            <a:off x="6388140" y="1519199"/>
            <a:ext cx="4445521" cy="738664"/>
          </a:xfrm>
          <a:prstGeom prst="rect">
            <a:avLst/>
          </a:prstGeom>
          <a:noFill/>
        </p:spPr>
        <p:txBody>
          <a:bodyPr wrap="square" lIns="0" tIns="0" rIns="0" bIns="0" rtlCol="0" anchor="t">
            <a:spAutoFit/>
          </a:bodyPr>
          <a:lstStyle/>
          <a:p>
            <a:pPr algn="just" defTabSz="1375467"/>
            <a:r>
              <a:rPr lang="ru-RU" sz="1600" b="1" dirty="0" smtClean="0">
                <a:solidFill>
                  <a:schemeClr val="bg1">
                    <a:lumMod val="10000"/>
                  </a:schemeClr>
                </a:solidFill>
                <a:latin typeface="Century Gothic" panose="020B0502020202020204" pitchFamily="34" charset="0"/>
              </a:rPr>
              <a:t>Задачи, которые можно решать с помощью Data </a:t>
            </a:r>
            <a:r>
              <a:rPr lang="ru-RU" sz="1600" b="1" dirty="0" err="1" smtClean="0">
                <a:solidFill>
                  <a:schemeClr val="bg1">
                    <a:lumMod val="10000"/>
                  </a:schemeClr>
                </a:solidFill>
                <a:latin typeface="Century Gothic" panose="020B0502020202020204" pitchFamily="34" charset="0"/>
              </a:rPr>
              <a:t>Mining</a:t>
            </a:r>
            <a:r>
              <a:rPr lang="ru-RU" sz="1600" b="1" dirty="0" smtClean="0">
                <a:solidFill>
                  <a:schemeClr val="bg1">
                    <a:lumMod val="10000"/>
                  </a:schemeClr>
                </a:solidFill>
                <a:latin typeface="Century Gothic" panose="020B0502020202020204" pitchFamily="34" charset="0"/>
              </a:rPr>
              <a:t> в сфере страхования:  </a:t>
            </a:r>
            <a:endParaRPr lang="ru-RU" sz="1600" b="1" dirty="0">
              <a:solidFill>
                <a:schemeClr val="bg1">
                  <a:lumMod val="10000"/>
                </a:schemeClr>
              </a:solidFill>
              <a:latin typeface="Century Gothic" panose="020B0502020202020204" pitchFamily="34" charset="0"/>
            </a:endParaRPr>
          </a:p>
        </p:txBody>
      </p:sp>
      <p:sp>
        <p:nvSpPr>
          <p:cNvPr id="27" name="TextBox 26">
            <a:extLst>
              <a:ext uri="{FF2B5EF4-FFF2-40B4-BE49-F238E27FC236}">
                <a16:creationId xmlns:a16="http://schemas.microsoft.com/office/drawing/2014/main" id="{B84F05E5-66E5-451A-922E-237FDE35085A}"/>
              </a:ext>
            </a:extLst>
          </p:cNvPr>
          <p:cNvSpPr txBox="1"/>
          <p:nvPr/>
        </p:nvSpPr>
        <p:spPr>
          <a:xfrm>
            <a:off x="6240305" y="2534593"/>
            <a:ext cx="785886"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588DB"/>
                </a:solidFill>
                <a:effectLst/>
                <a:uLnTx/>
                <a:uFillTx/>
                <a:latin typeface="Agency FB" panose="020B0503020202020204" pitchFamily="34" charset="0"/>
                <a:ea typeface="+mn-ea"/>
                <a:cs typeface="+mn-cs"/>
              </a:rPr>
              <a:t>01</a:t>
            </a:r>
          </a:p>
        </p:txBody>
      </p:sp>
      <p:sp>
        <p:nvSpPr>
          <p:cNvPr id="28" name="TextBox 27"/>
          <p:cNvSpPr txBox="1"/>
          <p:nvPr/>
        </p:nvSpPr>
        <p:spPr>
          <a:xfrm>
            <a:off x="7026191" y="2674031"/>
            <a:ext cx="4526845" cy="1138773"/>
          </a:xfrm>
          <a:prstGeom prst="rect">
            <a:avLst/>
          </a:prstGeom>
          <a:noFill/>
        </p:spPr>
        <p:txBody>
          <a:bodyPr wrap="square" lIns="0" tIns="0" rIns="0" bIns="0" rtlCol="0" anchor="t">
            <a:spAutoFit/>
          </a:bodyPr>
          <a:lstStyle/>
          <a:p>
            <a:pPr defTabSz="1375467"/>
            <a:r>
              <a:rPr lang="ru-RU" sz="1400" b="1" dirty="0" smtClean="0">
                <a:solidFill>
                  <a:schemeClr val="bg1">
                    <a:lumMod val="10000"/>
                  </a:schemeClr>
                </a:solidFill>
                <a:latin typeface="Century Gothic" panose="020B0502020202020204" pitchFamily="34" charset="0"/>
              </a:rPr>
              <a:t>Выявление мошенничества.</a:t>
            </a:r>
          </a:p>
          <a:p>
            <a:pPr defTabSz="1375467"/>
            <a:r>
              <a:rPr lang="ru-RU" sz="1200" b="1" dirty="0">
                <a:solidFill>
                  <a:schemeClr val="bg2">
                    <a:lumMod val="50000"/>
                  </a:schemeClr>
                </a:solidFill>
                <a:latin typeface="Century Gothic" panose="020B0502020202020204" pitchFamily="34" charset="0"/>
              </a:rPr>
              <a:t>Страховые компании могут снизить уровень мошенничества, отыскивая определенные стереотипы в заявлениях о выплате страхового возмещения, характеризующих взаимоотношения между юристами, врачами и заявителями.</a:t>
            </a:r>
          </a:p>
        </p:txBody>
      </p:sp>
      <p:sp>
        <p:nvSpPr>
          <p:cNvPr id="29" name="TextBox 28">
            <a:extLst>
              <a:ext uri="{FF2B5EF4-FFF2-40B4-BE49-F238E27FC236}">
                <a16:creationId xmlns:a16="http://schemas.microsoft.com/office/drawing/2014/main" id="{B84F05E5-66E5-451A-922E-237FDE35085A}"/>
              </a:ext>
            </a:extLst>
          </p:cNvPr>
          <p:cNvSpPr txBox="1"/>
          <p:nvPr/>
        </p:nvSpPr>
        <p:spPr>
          <a:xfrm>
            <a:off x="6240305" y="4098844"/>
            <a:ext cx="785886"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smtClean="0">
                <a:ln>
                  <a:noFill/>
                </a:ln>
                <a:solidFill>
                  <a:srgbClr val="0588DB"/>
                </a:solidFill>
                <a:effectLst/>
                <a:uLnTx/>
                <a:uFillTx/>
                <a:latin typeface="Agency FB" panose="020B0503020202020204" pitchFamily="34" charset="0"/>
                <a:ea typeface="+mn-ea"/>
                <a:cs typeface="+mn-cs"/>
              </a:rPr>
              <a:t>0</a:t>
            </a:r>
            <a:r>
              <a:rPr kumimoji="0" lang="ru-RU" sz="4400" b="1" i="0" u="none" strike="noStrike" kern="1200" cap="none" spc="0" normalizeH="0" baseline="0" noProof="0" dirty="0" smtClean="0">
                <a:ln>
                  <a:noFill/>
                </a:ln>
                <a:solidFill>
                  <a:srgbClr val="0588DB"/>
                </a:solidFill>
                <a:effectLst/>
                <a:uLnTx/>
                <a:uFillTx/>
                <a:latin typeface="Agency FB" panose="020B0503020202020204" pitchFamily="34" charset="0"/>
                <a:ea typeface="+mn-ea"/>
                <a:cs typeface="+mn-cs"/>
              </a:rPr>
              <a:t>2</a:t>
            </a:r>
            <a:endParaRPr kumimoji="0" lang="en-US" sz="4400" b="1" i="0" u="none" strike="noStrike" kern="1200" cap="none" spc="0" normalizeH="0" baseline="0" noProof="0" dirty="0">
              <a:ln>
                <a:noFill/>
              </a:ln>
              <a:solidFill>
                <a:srgbClr val="0588DB"/>
              </a:solidFill>
              <a:effectLst/>
              <a:uLnTx/>
              <a:uFillTx/>
              <a:latin typeface="Agency FB" panose="020B0503020202020204" pitchFamily="34" charset="0"/>
              <a:ea typeface="+mn-ea"/>
              <a:cs typeface="+mn-cs"/>
            </a:endParaRPr>
          </a:p>
        </p:txBody>
      </p:sp>
      <p:sp>
        <p:nvSpPr>
          <p:cNvPr id="30" name="TextBox 29"/>
          <p:cNvSpPr txBox="1"/>
          <p:nvPr/>
        </p:nvSpPr>
        <p:spPr>
          <a:xfrm>
            <a:off x="7026191" y="4232702"/>
            <a:ext cx="4526845" cy="1877437"/>
          </a:xfrm>
          <a:prstGeom prst="rect">
            <a:avLst/>
          </a:prstGeom>
          <a:noFill/>
        </p:spPr>
        <p:txBody>
          <a:bodyPr wrap="square" lIns="0" tIns="0" rIns="0" bIns="0" rtlCol="0" anchor="t">
            <a:spAutoFit/>
          </a:bodyPr>
          <a:lstStyle/>
          <a:p>
            <a:pPr algn="just" defTabSz="1375467"/>
            <a:r>
              <a:rPr lang="ru-RU" sz="1400" b="1" dirty="0" smtClean="0">
                <a:solidFill>
                  <a:schemeClr val="bg1">
                    <a:lumMod val="10000"/>
                  </a:schemeClr>
                </a:solidFill>
                <a:latin typeface="Century Gothic" panose="020B0502020202020204" pitchFamily="34" charset="0"/>
              </a:rPr>
              <a:t>Анализ </a:t>
            </a:r>
            <a:r>
              <a:rPr lang="ru-RU" sz="1400" b="1" dirty="0">
                <a:solidFill>
                  <a:schemeClr val="bg1">
                    <a:lumMod val="10000"/>
                  </a:schemeClr>
                </a:solidFill>
                <a:latin typeface="Century Gothic" panose="020B0502020202020204" pitchFamily="34" charset="0"/>
              </a:rPr>
              <a:t>риска.</a:t>
            </a:r>
            <a:endParaRPr lang="ru-RU" sz="1400" b="1" dirty="0" smtClean="0">
              <a:solidFill>
                <a:schemeClr val="bg1">
                  <a:lumMod val="10000"/>
                </a:schemeClr>
              </a:solidFill>
              <a:latin typeface="Century Gothic" panose="020B0502020202020204" pitchFamily="34" charset="0"/>
            </a:endParaRPr>
          </a:p>
          <a:p>
            <a:pPr algn="just" defTabSz="1375467"/>
            <a:r>
              <a:rPr lang="ru-RU" sz="1200" b="1" dirty="0">
                <a:solidFill>
                  <a:schemeClr val="bg2">
                    <a:lumMod val="50000"/>
                  </a:schemeClr>
                </a:solidFill>
                <a:latin typeface="Century Gothic" panose="020B0502020202020204" pitchFamily="34" charset="0"/>
              </a:rPr>
              <a:t>Путем выявления сочетаний факторов, связанных с оплаченными заявлениями, страховщики могут уменьшить свои потери по обязательствам. Известен случай, когда в США крупная страховая компания обнаружила, что суммы, выплаченные по заявлениям людей, состоящих в браке, вдвое превышает суммы по заявлениям одиноких людей. Компания отреагировала на это новое знание пересмотром своей общей политики предоставления скидок семейным клиентам.</a:t>
            </a:r>
          </a:p>
        </p:txBody>
      </p:sp>
    </p:spTree>
    <p:extLst>
      <p:ext uri="{BB962C8B-B14F-4D97-AF65-F5344CB8AC3E}">
        <p14:creationId xmlns:p14="http://schemas.microsoft.com/office/powerpoint/2010/main" val="365712818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0" y="0"/>
            <a:ext cx="12192000" cy="6858000"/>
          </a:xfrm>
          <a:prstGeom prst="rect">
            <a:avLst/>
          </a:prstGeom>
          <a:gradFill>
            <a:gsLst>
              <a:gs pos="0">
                <a:schemeClr val="accent1">
                  <a:alpha val="50000"/>
                </a:schemeClr>
              </a:gs>
              <a:gs pos="100000">
                <a:schemeClr val="accent4">
                  <a:lumMod val="100000"/>
                  <a:alpha val="81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TextBox 17"/>
          <p:cNvSpPr txBox="1"/>
          <p:nvPr/>
        </p:nvSpPr>
        <p:spPr>
          <a:xfrm>
            <a:off x="4843525" y="2876063"/>
            <a:ext cx="1912768" cy="492443"/>
          </a:xfrm>
          <a:prstGeom prst="rect">
            <a:avLst/>
          </a:prstGeom>
          <a:noFill/>
        </p:spPr>
        <p:txBody>
          <a:bodyPr wrap="none" lIns="0" tIns="0" rIns="0" bIns="0" rtlCol="0">
            <a:spAutoFit/>
          </a:bodyPr>
          <a:lstStyle/>
          <a:p>
            <a:pPr algn="ctr"/>
            <a:r>
              <a:rPr lang="en-US" sz="3200" dirty="0" smtClean="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Data </a:t>
            </a:r>
            <a:r>
              <a:rPr lang="en-US" sz="3200" dirty="0" smtClean="0">
                <a:solidFill>
                  <a:schemeClr val="accent1"/>
                </a:solidFill>
                <a:latin typeface="Open Sans Semibold" panose="020B0706030804020204" pitchFamily="34" charset="0"/>
                <a:ea typeface="Open Sans Semibold" panose="020B0706030804020204" pitchFamily="34" charset="0"/>
                <a:cs typeface="Open Sans Semibold" panose="020B0706030804020204" pitchFamily="34" charset="0"/>
              </a:rPr>
              <a:t>Mining</a:t>
            </a:r>
            <a:endParaRPr lang="en-US" sz="3200" dirty="0">
              <a:solidFill>
                <a:schemeClr val="accent1"/>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4" name="TextBox 3"/>
          <p:cNvSpPr txBox="1"/>
          <p:nvPr/>
        </p:nvSpPr>
        <p:spPr>
          <a:xfrm>
            <a:off x="4702629" y="1567543"/>
            <a:ext cx="2420982" cy="307777"/>
          </a:xfrm>
          <a:prstGeom prst="rect">
            <a:avLst/>
          </a:prstGeom>
          <a:noFill/>
        </p:spPr>
        <p:txBody>
          <a:bodyPr wrap="square" lIns="0" tIns="0" rIns="0" bIns="0" rtlCol="0">
            <a:spAutoFit/>
          </a:bodyPr>
          <a:lstStyle/>
          <a:p>
            <a:pPr algn="just"/>
            <a:r>
              <a:rPr lang="ru-RU" sz="2000" dirty="0" smtClean="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Статистический анализ</a:t>
            </a:r>
          </a:p>
        </p:txBody>
      </p:sp>
      <p:cxnSp>
        <p:nvCxnSpPr>
          <p:cNvPr id="8" name="Прямая со стрелкой 7"/>
          <p:cNvCxnSpPr/>
          <p:nvPr/>
        </p:nvCxnSpPr>
        <p:spPr>
          <a:xfrm>
            <a:off x="5799909" y="1959429"/>
            <a:ext cx="0" cy="838628"/>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8399415" y="2149344"/>
            <a:ext cx="2612571" cy="307777"/>
          </a:xfrm>
          <a:prstGeom prst="rect">
            <a:avLst/>
          </a:prstGeom>
          <a:noFill/>
        </p:spPr>
        <p:txBody>
          <a:bodyPr wrap="square" lIns="0" tIns="0" rIns="0" bIns="0" rtlCol="0">
            <a:spAutoFit/>
          </a:bodyPr>
          <a:lstStyle/>
          <a:p>
            <a:pPr algn="just"/>
            <a:r>
              <a:rPr lang="ru-RU" sz="2000" dirty="0" smtClean="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Технологии визуализации</a:t>
            </a:r>
          </a:p>
        </p:txBody>
      </p:sp>
      <p:cxnSp>
        <p:nvCxnSpPr>
          <p:cNvPr id="21" name="Прямая со стрелкой 20"/>
          <p:cNvCxnSpPr/>
          <p:nvPr/>
        </p:nvCxnSpPr>
        <p:spPr>
          <a:xfrm flipH="1">
            <a:off x="6917400" y="2353707"/>
            <a:ext cx="1387620" cy="642042"/>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8305020" y="3463250"/>
            <a:ext cx="2612571" cy="615553"/>
          </a:xfrm>
          <a:prstGeom prst="rect">
            <a:avLst/>
          </a:prstGeom>
          <a:noFill/>
        </p:spPr>
        <p:txBody>
          <a:bodyPr wrap="square" lIns="0" tIns="0" rIns="0" bIns="0" rtlCol="0">
            <a:spAutoFit/>
          </a:bodyPr>
          <a:lstStyle/>
          <a:p>
            <a:pPr algn="ctr"/>
            <a:r>
              <a:rPr lang="ru-RU" sz="2000" dirty="0" smtClean="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Технологии машинного обучения</a:t>
            </a:r>
          </a:p>
        </p:txBody>
      </p:sp>
      <p:cxnSp>
        <p:nvCxnSpPr>
          <p:cNvPr id="25" name="Прямая со стрелкой 24"/>
          <p:cNvCxnSpPr/>
          <p:nvPr/>
        </p:nvCxnSpPr>
        <p:spPr>
          <a:xfrm flipH="1" flipV="1">
            <a:off x="6917402" y="3179823"/>
            <a:ext cx="1387617" cy="422568"/>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4702629" y="4326544"/>
            <a:ext cx="2420982" cy="923330"/>
          </a:xfrm>
          <a:prstGeom prst="rect">
            <a:avLst/>
          </a:prstGeom>
          <a:noFill/>
        </p:spPr>
        <p:txBody>
          <a:bodyPr wrap="square" lIns="0" tIns="0" rIns="0" bIns="0" rtlCol="0">
            <a:spAutoFit/>
          </a:bodyPr>
          <a:lstStyle/>
          <a:p>
            <a:pPr algn="ctr"/>
            <a:r>
              <a:rPr lang="ru-RU" sz="2000" dirty="0" smtClean="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Технологии распознавания образов</a:t>
            </a:r>
          </a:p>
        </p:txBody>
      </p:sp>
      <p:cxnSp>
        <p:nvCxnSpPr>
          <p:cNvPr id="30" name="Прямая со стрелкой 29"/>
          <p:cNvCxnSpPr/>
          <p:nvPr/>
        </p:nvCxnSpPr>
        <p:spPr>
          <a:xfrm flipV="1">
            <a:off x="5799909" y="3463251"/>
            <a:ext cx="0" cy="863293"/>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1474868" y="3309361"/>
            <a:ext cx="2030498" cy="615553"/>
          </a:xfrm>
          <a:prstGeom prst="rect">
            <a:avLst/>
          </a:prstGeom>
          <a:noFill/>
        </p:spPr>
        <p:txBody>
          <a:bodyPr wrap="square" lIns="0" tIns="0" rIns="0" bIns="0" rtlCol="0">
            <a:spAutoFit/>
          </a:bodyPr>
          <a:lstStyle/>
          <a:p>
            <a:pPr algn="ctr"/>
            <a:r>
              <a:rPr lang="ru-RU" sz="2000" dirty="0" smtClean="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Искусственный интеллект</a:t>
            </a:r>
          </a:p>
        </p:txBody>
      </p:sp>
      <p:cxnSp>
        <p:nvCxnSpPr>
          <p:cNvPr id="35" name="Прямая со стрелкой 34"/>
          <p:cNvCxnSpPr>
            <a:stCxn id="34" idx="3"/>
          </p:cNvCxnSpPr>
          <p:nvPr/>
        </p:nvCxnSpPr>
        <p:spPr>
          <a:xfrm flipV="1">
            <a:off x="3505366" y="3179824"/>
            <a:ext cx="1197263" cy="437314"/>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Прямая со стрелкой 37"/>
          <p:cNvCxnSpPr/>
          <p:nvPr/>
        </p:nvCxnSpPr>
        <p:spPr>
          <a:xfrm>
            <a:off x="3533668" y="2487000"/>
            <a:ext cx="1168961" cy="508749"/>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1727330" y="2316529"/>
            <a:ext cx="2030498" cy="307777"/>
          </a:xfrm>
          <a:prstGeom prst="rect">
            <a:avLst/>
          </a:prstGeom>
          <a:noFill/>
        </p:spPr>
        <p:txBody>
          <a:bodyPr wrap="square" lIns="0" tIns="0" rIns="0" bIns="0" rtlCol="0">
            <a:spAutoFit/>
          </a:bodyPr>
          <a:lstStyle/>
          <a:p>
            <a:pPr algn="ctr"/>
            <a:r>
              <a:rPr lang="ru-RU" sz="2000" dirty="0" smtClean="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Технологии БД</a:t>
            </a:r>
          </a:p>
        </p:txBody>
      </p:sp>
      <p:sp>
        <p:nvSpPr>
          <p:cNvPr id="44" name="TextBox 43"/>
          <p:cNvSpPr txBox="1"/>
          <p:nvPr/>
        </p:nvSpPr>
        <p:spPr>
          <a:xfrm>
            <a:off x="2376264" y="411966"/>
            <a:ext cx="7439472" cy="492443"/>
          </a:xfrm>
          <a:prstGeom prst="rect">
            <a:avLst/>
          </a:prstGeom>
          <a:noFill/>
        </p:spPr>
        <p:txBody>
          <a:bodyPr wrap="none" lIns="0" tIns="0" rIns="0" bIns="0" rtlCol="0">
            <a:spAutoFit/>
          </a:bodyPr>
          <a:lstStyle/>
          <a:p>
            <a:r>
              <a:rPr lang="en-US" sz="3200" dirty="0" smtClean="0">
                <a:solidFill>
                  <a:schemeClr val="bg1"/>
                </a:solidFill>
                <a:latin typeface="Open Sans BOLD" panose="020B0806030504020204" pitchFamily="34" charset="0"/>
                <a:ea typeface="Open Sans BOLD" panose="020B0806030504020204" pitchFamily="34" charset="0"/>
                <a:cs typeface="Open Sans BOLD" panose="020B0806030504020204" pitchFamily="34" charset="0"/>
              </a:rPr>
              <a:t>Data mining </a:t>
            </a:r>
            <a:r>
              <a:rPr lang="ru-RU" sz="3200" dirty="0" smtClean="0">
                <a:solidFill>
                  <a:schemeClr val="bg1"/>
                </a:solidFill>
                <a:latin typeface="Open Sans BOLD" panose="020B0806030504020204" pitchFamily="34" charset="0"/>
                <a:ea typeface="Open Sans BOLD" panose="020B0806030504020204" pitchFamily="34" charset="0"/>
                <a:cs typeface="Open Sans BOLD" panose="020B0806030504020204" pitchFamily="34" charset="0"/>
              </a:rPr>
              <a:t>– «сплав» дисциплин и технологий</a:t>
            </a:r>
            <a:endParaRPr lang="en-US" sz="3200" dirty="0">
              <a:solidFill>
                <a:schemeClr val="bg1"/>
              </a:solidFill>
              <a:latin typeface="Open Sans BOLD" panose="020B0806030504020204" pitchFamily="34" charset="0"/>
              <a:ea typeface="Open Sans BOLD" panose="020B0806030504020204" pitchFamily="34" charset="0"/>
              <a:cs typeface="Open Sans BOLD" panose="020B0806030504020204" pitchFamily="34" charset="0"/>
            </a:endParaRPr>
          </a:p>
        </p:txBody>
      </p:sp>
    </p:spTree>
    <p:extLst>
      <p:ext uri="{BB962C8B-B14F-4D97-AF65-F5344CB8AC3E}">
        <p14:creationId xmlns:p14="http://schemas.microsoft.com/office/powerpoint/2010/main" val="1826971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4632" y="7776860"/>
            <a:ext cx="12124471" cy="5098222"/>
          </a:xfrm>
          <a:prstGeom prst="rect">
            <a:avLst/>
          </a:prstGeom>
        </p:spPr>
      </p:pic>
      <p:sp>
        <p:nvSpPr>
          <p:cNvPr id="4" name="Прямоугольник 3"/>
          <p:cNvSpPr/>
          <p:nvPr/>
        </p:nvSpPr>
        <p:spPr>
          <a:xfrm>
            <a:off x="152225" y="6262983"/>
            <a:ext cx="6379944" cy="369332"/>
          </a:xfrm>
          <a:prstGeom prst="rect">
            <a:avLst/>
          </a:prstGeom>
        </p:spPr>
        <p:txBody>
          <a:bodyPr wrap="square">
            <a:spAutoFit/>
          </a:bodyPr>
          <a:lstStyle/>
          <a:p>
            <a:pPr algn="just"/>
            <a:r>
              <a:rPr lang="ru-RU" sz="900" b="1" dirty="0" smtClean="0">
                <a:solidFill>
                  <a:schemeClr val="bg1">
                    <a:lumMod val="50000"/>
                  </a:schemeClr>
                </a:solidFill>
                <a:latin typeface="Century Gothic" panose="020B0502020202020204" pitchFamily="34" charset="0"/>
              </a:rPr>
              <a:t>Данные предоставлены консалтинговой компанией </a:t>
            </a:r>
            <a:r>
              <a:rPr lang="en-US" sz="900" b="1" dirty="0" smtClean="0">
                <a:solidFill>
                  <a:schemeClr val="bg1">
                    <a:lumMod val="50000"/>
                  </a:schemeClr>
                </a:solidFill>
                <a:latin typeface="Century Gothic" panose="020B0502020202020204" pitchFamily="34" charset="0"/>
              </a:rPr>
              <a:t>PricewaterhouseCoopers (</a:t>
            </a:r>
            <a:r>
              <a:rPr lang="ru-RU" sz="900" b="1" dirty="0" smtClean="0">
                <a:solidFill>
                  <a:schemeClr val="bg1">
                    <a:lumMod val="50000"/>
                  </a:schemeClr>
                </a:solidFill>
                <a:latin typeface="Century Gothic" panose="020B0502020202020204" pitchFamily="34" charset="0"/>
              </a:rPr>
              <a:t>стр. 18)</a:t>
            </a:r>
            <a:r>
              <a:rPr lang="en-US" sz="900" b="1" dirty="0" smtClean="0">
                <a:solidFill>
                  <a:schemeClr val="bg1">
                    <a:lumMod val="50000"/>
                  </a:schemeClr>
                </a:solidFill>
                <a:latin typeface="Century Gothic" panose="020B0502020202020204" pitchFamily="34" charset="0"/>
              </a:rPr>
              <a:t> </a:t>
            </a:r>
            <a:r>
              <a:rPr lang="en-US" sz="900" b="1" dirty="0" smtClean="0">
                <a:solidFill>
                  <a:schemeClr val="bg1">
                    <a:lumMod val="50000"/>
                  </a:schemeClr>
                </a:solidFill>
                <a:latin typeface="Century Gothic" panose="020B0502020202020204" pitchFamily="34" charset="0"/>
                <a:hlinkClick r:id="rId3"/>
              </a:rPr>
              <a:t>https://filearchive.cnews.ru/img/files/2019/04/17/4._polyakov_anatolij.pdf</a:t>
            </a:r>
            <a:endParaRPr lang="ru-RU" sz="900" b="1" dirty="0">
              <a:solidFill>
                <a:schemeClr val="bg1">
                  <a:lumMod val="50000"/>
                </a:schemeClr>
              </a:solidFill>
              <a:latin typeface="Century Gothic" panose="020B0502020202020204" pitchFamily="34" charset="0"/>
            </a:endParaRPr>
          </a:p>
        </p:txBody>
      </p:sp>
      <p:grpSp>
        <p:nvGrpSpPr>
          <p:cNvPr id="7" name="Группа 6"/>
          <p:cNvGrpSpPr/>
          <p:nvPr/>
        </p:nvGrpSpPr>
        <p:grpSpPr>
          <a:xfrm>
            <a:off x="2127101" y="2847562"/>
            <a:ext cx="8672312" cy="1135478"/>
            <a:chOff x="1880443" y="2610250"/>
            <a:chExt cx="8672312" cy="1135478"/>
          </a:xfrm>
        </p:grpSpPr>
        <p:pic>
          <p:nvPicPr>
            <p:cNvPr id="5" name="Рисунок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80443" y="2892214"/>
              <a:ext cx="8108383" cy="571550"/>
            </a:xfrm>
            <a:prstGeom prst="rect">
              <a:avLst/>
            </a:prstGeom>
          </p:spPr>
        </p:pic>
        <p:pic>
          <p:nvPicPr>
            <p:cNvPr id="6" name="Рисунок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88826" y="2610250"/>
              <a:ext cx="563929" cy="1135478"/>
            </a:xfrm>
            <a:prstGeom prst="rect">
              <a:avLst/>
            </a:prstGeom>
          </p:spPr>
        </p:pic>
      </p:grpSp>
      <p:sp>
        <p:nvSpPr>
          <p:cNvPr id="8" name="TextBox 7">
            <a:extLst>
              <a:ext uri="{FF2B5EF4-FFF2-40B4-BE49-F238E27FC236}">
                <a16:creationId xmlns:a16="http://schemas.microsoft.com/office/drawing/2014/main" id="{DBD428FF-BA9C-4CEB-97BF-A5BFFD1D3087}"/>
              </a:ext>
            </a:extLst>
          </p:cNvPr>
          <p:cNvSpPr txBox="1"/>
          <p:nvPr/>
        </p:nvSpPr>
        <p:spPr>
          <a:xfrm>
            <a:off x="2461419" y="525106"/>
            <a:ext cx="8003676" cy="461665"/>
          </a:xfrm>
          <a:prstGeom prst="rect">
            <a:avLst/>
          </a:prstGeom>
          <a:noFill/>
        </p:spPr>
        <p:txBody>
          <a:bodyPr wrap="square" rtlCol="0">
            <a:spAutoFit/>
          </a:bodyPr>
          <a:lstStyle/>
          <a:p>
            <a:pPr lvl="0" algn="ctr">
              <a:defRPr/>
            </a:pPr>
            <a:r>
              <a:rPr lang="en-US" sz="2400" b="1" dirty="0" smtClean="0">
                <a:solidFill>
                  <a:srgbClr val="0588DB"/>
                </a:solidFill>
                <a:latin typeface="Century Gothic" panose="020B0502020202020204" pitchFamily="34" charset="0"/>
                <a:ea typeface="Tahoma" panose="020B0604030504040204" pitchFamily="34" charset="0"/>
                <a:cs typeface="Tahoma" panose="020B0604030504040204" pitchFamily="34" charset="0"/>
              </a:rPr>
              <a:t>Data Mining </a:t>
            </a:r>
            <a:r>
              <a:rPr lang="ru-RU" sz="2400" b="1" dirty="0" smtClean="0">
                <a:solidFill>
                  <a:prstClr val="black">
                    <a:lumMod val="95000"/>
                    <a:lumOff val="5000"/>
                  </a:prstClr>
                </a:solidFill>
                <a:latin typeface="Century Gothic" panose="020B0502020202020204" pitchFamily="34" charset="0"/>
                <a:ea typeface="Tahoma" panose="020B0604030504040204" pitchFamily="34" charset="0"/>
                <a:cs typeface="Tahoma" panose="020B0604030504040204" pitchFamily="34" charset="0"/>
              </a:rPr>
              <a:t>в металлургии</a:t>
            </a:r>
            <a:endParaRPr kumimoji="0" lang="en-US" sz="2400" b="1" i="0" u="none" strike="noStrike" kern="1200" cap="none" spc="0" normalizeH="0" baseline="0" noProof="0" dirty="0">
              <a:ln>
                <a:noFill/>
              </a:ln>
              <a:solidFill>
                <a:prstClr val="black">
                  <a:lumMod val="95000"/>
                  <a:lumOff val="5000"/>
                </a:prstClr>
              </a:solidFill>
              <a:effectLst/>
              <a:uLnTx/>
              <a:uFillTx/>
              <a:latin typeface="Century Gothic" panose="020B0502020202020204" pitchFamily="34" charset="0"/>
              <a:ea typeface="Tahoma" panose="020B0604030504040204" pitchFamily="34" charset="0"/>
              <a:cs typeface="Tahoma" panose="020B0604030504040204" pitchFamily="34" charset="0"/>
            </a:endParaRPr>
          </a:p>
        </p:txBody>
      </p:sp>
      <p:sp>
        <p:nvSpPr>
          <p:cNvPr id="10" name="TextBox 9"/>
          <p:cNvSpPr txBox="1"/>
          <p:nvPr/>
        </p:nvSpPr>
        <p:spPr>
          <a:xfrm>
            <a:off x="543239" y="1179637"/>
            <a:ext cx="7290544" cy="492443"/>
          </a:xfrm>
          <a:prstGeom prst="rect">
            <a:avLst/>
          </a:prstGeom>
          <a:noFill/>
        </p:spPr>
        <p:txBody>
          <a:bodyPr wrap="square" lIns="0" tIns="0" rIns="0" bIns="0" rtlCol="0" anchor="t">
            <a:spAutoFit/>
          </a:bodyPr>
          <a:lstStyle/>
          <a:p>
            <a:pPr algn="just" defTabSz="1375467"/>
            <a:r>
              <a:rPr lang="ru-RU" sz="1600" b="1" dirty="0">
                <a:solidFill>
                  <a:schemeClr val="bg1">
                    <a:lumMod val="10000"/>
                  </a:schemeClr>
                </a:solidFill>
                <a:latin typeface="Century Gothic" panose="020B0502020202020204" pitchFamily="34" charset="0"/>
              </a:rPr>
              <a:t>Сценарии практического применения технологий анализа данных</a:t>
            </a:r>
          </a:p>
          <a:p>
            <a:pPr algn="just" defTabSz="1375467"/>
            <a:r>
              <a:rPr lang="ru-RU" sz="1600" b="1" dirty="0">
                <a:solidFill>
                  <a:schemeClr val="bg1">
                    <a:lumMod val="10000"/>
                  </a:schemeClr>
                </a:solidFill>
                <a:latin typeface="Century Gothic" panose="020B0502020202020204" pitchFamily="34" charset="0"/>
              </a:rPr>
              <a:t>и математического моделирования :  </a:t>
            </a:r>
          </a:p>
        </p:txBody>
      </p:sp>
      <p:grpSp>
        <p:nvGrpSpPr>
          <p:cNvPr id="53" name="Group 14"/>
          <p:cNvGrpSpPr/>
          <p:nvPr/>
        </p:nvGrpSpPr>
        <p:grpSpPr>
          <a:xfrm flipV="1">
            <a:off x="314632" y="3708469"/>
            <a:ext cx="2146787" cy="1444842"/>
            <a:chOff x="1848067" y="2697524"/>
            <a:chExt cx="2311184" cy="316190"/>
          </a:xfrm>
        </p:grpSpPr>
        <p:cxnSp>
          <p:nvCxnSpPr>
            <p:cNvPr id="54" name="Straight Connector 15"/>
            <p:cNvCxnSpPr/>
            <p:nvPr/>
          </p:nvCxnSpPr>
          <p:spPr>
            <a:xfrm flipH="1" flipV="1">
              <a:off x="3661285" y="2697524"/>
              <a:ext cx="497966" cy="316190"/>
            </a:xfrm>
            <a:prstGeom prst="line">
              <a:avLst/>
            </a:prstGeom>
            <a:noFill/>
            <a:ln w="9525" cap="flat" cmpd="sng" algn="ctr">
              <a:solidFill>
                <a:sysClr val="window" lastClr="FFFFFF">
                  <a:lumMod val="50000"/>
                </a:sysClr>
              </a:solidFill>
              <a:prstDash val="solid"/>
            </a:ln>
            <a:effectLst/>
          </p:spPr>
        </p:cxnSp>
        <p:cxnSp>
          <p:nvCxnSpPr>
            <p:cNvPr id="55" name="Straight Connector 17"/>
            <p:cNvCxnSpPr/>
            <p:nvPr/>
          </p:nvCxnSpPr>
          <p:spPr>
            <a:xfrm flipH="1">
              <a:off x="1848067" y="2697524"/>
              <a:ext cx="1813219" cy="0"/>
            </a:xfrm>
            <a:prstGeom prst="line">
              <a:avLst/>
            </a:prstGeom>
            <a:noFill/>
            <a:ln w="9525" cap="flat" cmpd="sng" algn="ctr">
              <a:solidFill>
                <a:sysClr val="window" lastClr="FFFFFF">
                  <a:lumMod val="50000"/>
                </a:sysClr>
              </a:solidFill>
              <a:prstDash val="solid"/>
              <a:tailEnd type="oval"/>
            </a:ln>
            <a:effectLst/>
          </p:spPr>
        </p:cxnSp>
      </p:grpSp>
      <p:grpSp>
        <p:nvGrpSpPr>
          <p:cNvPr id="62" name="Group 36"/>
          <p:cNvGrpSpPr/>
          <p:nvPr/>
        </p:nvGrpSpPr>
        <p:grpSpPr>
          <a:xfrm>
            <a:off x="3660291" y="7326059"/>
            <a:ext cx="4267756" cy="2274313"/>
            <a:chOff x="838200" y="2992185"/>
            <a:chExt cx="1600200" cy="852868"/>
          </a:xfrm>
        </p:grpSpPr>
        <p:sp>
          <p:nvSpPr>
            <p:cNvPr id="63" name="TextBox 62"/>
            <p:cNvSpPr txBox="1"/>
            <p:nvPr/>
          </p:nvSpPr>
          <p:spPr>
            <a:xfrm>
              <a:off x="838200" y="2992185"/>
              <a:ext cx="1600200" cy="219291"/>
            </a:xfrm>
            <a:prstGeom prst="rect">
              <a:avLst/>
            </a:prstGeom>
            <a:noFill/>
          </p:spPr>
          <p:txBody>
            <a:bodyPr wrap="square" rtlCol="0">
              <a:spAutoFit/>
            </a:bodyPr>
            <a:lstStyle/>
            <a:p>
              <a:pPr defTabSz="1087444"/>
              <a:r>
                <a:rPr lang="en-US" sz="3200" dirty="0" smtClean="0">
                  <a:solidFill>
                    <a:srgbClr val="797979"/>
                  </a:solidFill>
                  <a:latin typeface="Open Sans Light"/>
                  <a:cs typeface="Open Sans Light"/>
                </a:rPr>
                <a:t>Feature Two</a:t>
              </a:r>
              <a:endParaRPr lang="en-US" sz="3200" dirty="0">
                <a:solidFill>
                  <a:srgbClr val="797979"/>
                </a:solidFill>
                <a:latin typeface="Open Sans Light"/>
                <a:cs typeface="Open Sans Light"/>
              </a:endParaRPr>
            </a:p>
          </p:txBody>
        </p:sp>
        <p:sp>
          <p:nvSpPr>
            <p:cNvPr id="64" name="TextBox 63"/>
            <p:cNvSpPr txBox="1"/>
            <p:nvPr/>
          </p:nvSpPr>
          <p:spPr>
            <a:xfrm>
              <a:off x="838200" y="3326260"/>
              <a:ext cx="1600200" cy="518793"/>
            </a:xfrm>
            <a:prstGeom prst="rect">
              <a:avLst/>
            </a:prstGeom>
            <a:noFill/>
          </p:spPr>
          <p:txBody>
            <a:bodyPr wrap="square" rtlCol="0">
              <a:noAutofit/>
            </a:bodyPr>
            <a:lstStyle/>
            <a:p>
              <a:pPr defTabSz="1087444">
                <a:lnSpc>
                  <a:spcPct val="120000"/>
                </a:lnSpc>
              </a:pPr>
              <a:r>
                <a:rPr lang="en-US" sz="2100" dirty="0">
                  <a:solidFill>
                    <a:srgbClr val="797979"/>
                  </a:solidFill>
                  <a:latin typeface="Open Sans Light"/>
                  <a:cs typeface="Open Sans Light"/>
                </a:rPr>
                <a:t>Lorem ipsum dolor sit amet, consectetur adipiscing elit. Praesent </a:t>
              </a:r>
              <a:r>
                <a:rPr lang="en-US" sz="2100" dirty="0" err="1">
                  <a:solidFill>
                    <a:srgbClr val="797979"/>
                  </a:solidFill>
                  <a:latin typeface="Open Sans Light"/>
                  <a:cs typeface="Open Sans Light"/>
                </a:rPr>
                <a:t>molestie</a:t>
              </a:r>
              <a:r>
                <a:rPr lang="en-US" sz="2100" dirty="0">
                  <a:solidFill>
                    <a:srgbClr val="797979"/>
                  </a:solidFill>
                  <a:latin typeface="Open Sans Light"/>
                  <a:cs typeface="Open Sans Light"/>
                </a:rPr>
                <a:t> </a:t>
              </a:r>
              <a:r>
                <a:rPr lang="en-US" sz="2100" dirty="0" err="1">
                  <a:solidFill>
                    <a:srgbClr val="797979"/>
                  </a:solidFill>
                  <a:latin typeface="Open Sans Light"/>
                  <a:cs typeface="Open Sans Light"/>
                </a:rPr>
                <a:t>efficitur</a:t>
              </a:r>
              <a:r>
                <a:rPr lang="en-US" sz="2100" dirty="0">
                  <a:solidFill>
                    <a:srgbClr val="797979"/>
                  </a:solidFill>
                  <a:latin typeface="Open Sans Light"/>
                  <a:cs typeface="Open Sans Light"/>
                </a:rPr>
                <a:t> </a:t>
              </a:r>
              <a:r>
                <a:rPr lang="en-US" sz="2100" dirty="0" err="1">
                  <a:solidFill>
                    <a:srgbClr val="797979"/>
                  </a:solidFill>
                  <a:latin typeface="Open Sans Light"/>
                  <a:cs typeface="Open Sans Light"/>
                </a:rPr>
                <a:t>est</a:t>
              </a:r>
              <a:r>
                <a:rPr lang="en-US" sz="2100" dirty="0" smtClean="0">
                  <a:solidFill>
                    <a:srgbClr val="797979"/>
                  </a:solidFill>
                  <a:latin typeface="Open Sans Light"/>
                  <a:cs typeface="Open Sans Light"/>
                </a:rPr>
                <a:t>,</a:t>
              </a:r>
              <a:endParaRPr lang="en-US" sz="2100" dirty="0">
                <a:solidFill>
                  <a:srgbClr val="797979"/>
                </a:solidFill>
                <a:latin typeface="Open Sans Light"/>
                <a:cs typeface="Open Sans Light"/>
              </a:endParaRPr>
            </a:p>
          </p:txBody>
        </p:sp>
      </p:grpSp>
      <p:sp>
        <p:nvSpPr>
          <p:cNvPr id="69" name="Прямоугольник 68"/>
          <p:cNvSpPr/>
          <p:nvPr/>
        </p:nvSpPr>
        <p:spPr>
          <a:xfrm>
            <a:off x="314632" y="4436934"/>
            <a:ext cx="2015613" cy="646331"/>
          </a:xfrm>
          <a:prstGeom prst="rect">
            <a:avLst/>
          </a:prstGeom>
        </p:spPr>
        <p:txBody>
          <a:bodyPr wrap="square">
            <a:spAutoFit/>
          </a:bodyPr>
          <a:lstStyle/>
          <a:p>
            <a:pPr defTabSz="1375467"/>
            <a:r>
              <a:rPr lang="ru-RU" sz="1200" b="1" dirty="0">
                <a:solidFill>
                  <a:srgbClr val="32ACFA"/>
                </a:solidFill>
                <a:latin typeface="Century Gothic" panose="020B0502020202020204" pitchFamily="34" charset="0"/>
              </a:rPr>
              <a:t>Прогнозирование</a:t>
            </a:r>
          </a:p>
          <a:p>
            <a:pPr defTabSz="1375467"/>
            <a:r>
              <a:rPr lang="ru-RU" sz="1200" b="1" dirty="0">
                <a:solidFill>
                  <a:srgbClr val="32ACFA"/>
                </a:solidFill>
                <a:latin typeface="Century Gothic" panose="020B0502020202020204" pitchFamily="34" charset="0"/>
              </a:rPr>
              <a:t>цен</a:t>
            </a:r>
            <a:r>
              <a:rPr lang="ru-RU" sz="1200" b="1" dirty="0">
                <a:solidFill>
                  <a:schemeClr val="bg1">
                    <a:lumMod val="50000"/>
                  </a:schemeClr>
                </a:solidFill>
                <a:latin typeface="Century Gothic" panose="020B0502020202020204" pitchFamily="34" charset="0"/>
              </a:rPr>
              <a:t> на сырье и</a:t>
            </a:r>
          </a:p>
          <a:p>
            <a:pPr defTabSz="1375467"/>
            <a:r>
              <a:rPr lang="ru-RU" sz="1200" b="1" dirty="0">
                <a:solidFill>
                  <a:schemeClr val="bg1">
                    <a:lumMod val="50000"/>
                  </a:schemeClr>
                </a:solidFill>
                <a:latin typeface="Century Gothic" panose="020B0502020202020204" pitchFamily="34" charset="0"/>
              </a:rPr>
              <a:t>готовую продукцию</a:t>
            </a:r>
          </a:p>
        </p:txBody>
      </p:sp>
      <p:grpSp>
        <p:nvGrpSpPr>
          <p:cNvPr id="70" name="Group 14"/>
          <p:cNvGrpSpPr/>
          <p:nvPr/>
        </p:nvGrpSpPr>
        <p:grpSpPr>
          <a:xfrm>
            <a:off x="543239" y="2277750"/>
            <a:ext cx="3301174" cy="771927"/>
            <a:chOff x="886013" y="2697524"/>
            <a:chExt cx="3273238" cy="316190"/>
          </a:xfrm>
        </p:grpSpPr>
        <p:cxnSp>
          <p:nvCxnSpPr>
            <p:cNvPr id="71" name="Straight Connector 15"/>
            <p:cNvCxnSpPr/>
            <p:nvPr/>
          </p:nvCxnSpPr>
          <p:spPr>
            <a:xfrm flipH="1" flipV="1">
              <a:off x="3661285" y="2697524"/>
              <a:ext cx="497966" cy="316190"/>
            </a:xfrm>
            <a:prstGeom prst="line">
              <a:avLst/>
            </a:prstGeom>
            <a:noFill/>
            <a:ln w="9525" cap="flat" cmpd="sng" algn="ctr">
              <a:solidFill>
                <a:sysClr val="window" lastClr="FFFFFF">
                  <a:lumMod val="50000"/>
                </a:sysClr>
              </a:solidFill>
              <a:prstDash val="solid"/>
            </a:ln>
            <a:effectLst/>
          </p:spPr>
        </p:cxnSp>
        <p:cxnSp>
          <p:nvCxnSpPr>
            <p:cNvPr id="72" name="Straight Connector 17"/>
            <p:cNvCxnSpPr/>
            <p:nvPr/>
          </p:nvCxnSpPr>
          <p:spPr>
            <a:xfrm flipH="1">
              <a:off x="886013" y="2697524"/>
              <a:ext cx="2775273" cy="0"/>
            </a:xfrm>
            <a:prstGeom prst="line">
              <a:avLst/>
            </a:prstGeom>
            <a:noFill/>
            <a:ln w="9525" cap="flat" cmpd="sng" algn="ctr">
              <a:solidFill>
                <a:sysClr val="window" lastClr="FFFFFF">
                  <a:lumMod val="50000"/>
                </a:sysClr>
              </a:solidFill>
              <a:prstDash val="solid"/>
              <a:tailEnd type="oval"/>
            </a:ln>
            <a:effectLst/>
          </p:spPr>
        </p:cxnSp>
      </p:grpSp>
      <p:grpSp>
        <p:nvGrpSpPr>
          <p:cNvPr id="73" name="Group 14"/>
          <p:cNvGrpSpPr/>
          <p:nvPr/>
        </p:nvGrpSpPr>
        <p:grpSpPr>
          <a:xfrm flipH="1">
            <a:off x="4650657" y="2243895"/>
            <a:ext cx="2015155" cy="805781"/>
            <a:chOff x="-1918303" y="2697524"/>
            <a:chExt cx="6077554" cy="316190"/>
          </a:xfrm>
        </p:grpSpPr>
        <p:cxnSp>
          <p:nvCxnSpPr>
            <p:cNvPr id="74" name="Straight Connector 15"/>
            <p:cNvCxnSpPr/>
            <p:nvPr/>
          </p:nvCxnSpPr>
          <p:spPr>
            <a:xfrm flipH="1" flipV="1">
              <a:off x="3661285" y="2697524"/>
              <a:ext cx="497966" cy="316190"/>
            </a:xfrm>
            <a:prstGeom prst="line">
              <a:avLst/>
            </a:prstGeom>
            <a:noFill/>
            <a:ln w="9525" cap="flat" cmpd="sng" algn="ctr">
              <a:solidFill>
                <a:sysClr val="window" lastClr="FFFFFF">
                  <a:lumMod val="50000"/>
                </a:sysClr>
              </a:solidFill>
              <a:prstDash val="solid"/>
            </a:ln>
            <a:effectLst/>
          </p:spPr>
        </p:cxnSp>
        <p:cxnSp>
          <p:nvCxnSpPr>
            <p:cNvPr id="75" name="Straight Connector 17"/>
            <p:cNvCxnSpPr/>
            <p:nvPr/>
          </p:nvCxnSpPr>
          <p:spPr>
            <a:xfrm flipH="1">
              <a:off x="-1918303" y="2697524"/>
              <a:ext cx="5579589" cy="0"/>
            </a:xfrm>
            <a:prstGeom prst="line">
              <a:avLst/>
            </a:prstGeom>
            <a:noFill/>
            <a:ln w="9525" cap="flat" cmpd="sng" algn="ctr">
              <a:solidFill>
                <a:sysClr val="window" lastClr="FFFFFF">
                  <a:lumMod val="50000"/>
                </a:sysClr>
              </a:solidFill>
              <a:prstDash val="solid"/>
              <a:tailEnd type="oval"/>
            </a:ln>
            <a:effectLst/>
          </p:spPr>
        </p:cxnSp>
      </p:grpSp>
      <p:grpSp>
        <p:nvGrpSpPr>
          <p:cNvPr id="76" name="Group 14"/>
          <p:cNvGrpSpPr/>
          <p:nvPr/>
        </p:nvGrpSpPr>
        <p:grpSpPr>
          <a:xfrm flipH="1">
            <a:off x="6665812" y="2277750"/>
            <a:ext cx="2712135" cy="835767"/>
            <a:chOff x="1848067" y="2697524"/>
            <a:chExt cx="2311184" cy="316190"/>
          </a:xfrm>
        </p:grpSpPr>
        <p:cxnSp>
          <p:nvCxnSpPr>
            <p:cNvPr id="77" name="Straight Connector 15"/>
            <p:cNvCxnSpPr/>
            <p:nvPr/>
          </p:nvCxnSpPr>
          <p:spPr>
            <a:xfrm flipH="1" flipV="1">
              <a:off x="3661285" y="2697524"/>
              <a:ext cx="497966" cy="316190"/>
            </a:xfrm>
            <a:prstGeom prst="line">
              <a:avLst/>
            </a:prstGeom>
            <a:noFill/>
            <a:ln w="9525" cap="flat" cmpd="sng" algn="ctr">
              <a:solidFill>
                <a:sysClr val="window" lastClr="FFFFFF">
                  <a:lumMod val="50000"/>
                </a:sysClr>
              </a:solidFill>
              <a:prstDash val="solid"/>
            </a:ln>
            <a:effectLst/>
          </p:spPr>
        </p:cxnSp>
        <p:cxnSp>
          <p:nvCxnSpPr>
            <p:cNvPr id="78" name="Straight Connector 17"/>
            <p:cNvCxnSpPr/>
            <p:nvPr/>
          </p:nvCxnSpPr>
          <p:spPr>
            <a:xfrm flipH="1">
              <a:off x="1848067" y="2697524"/>
              <a:ext cx="1813219" cy="0"/>
            </a:xfrm>
            <a:prstGeom prst="line">
              <a:avLst/>
            </a:prstGeom>
            <a:noFill/>
            <a:ln w="9525" cap="flat" cmpd="sng" algn="ctr">
              <a:solidFill>
                <a:sysClr val="window" lastClr="FFFFFF">
                  <a:lumMod val="50000"/>
                </a:sysClr>
              </a:solidFill>
              <a:prstDash val="solid"/>
              <a:tailEnd type="oval"/>
            </a:ln>
            <a:effectLst/>
          </p:spPr>
        </p:cxnSp>
      </p:grpSp>
      <p:grpSp>
        <p:nvGrpSpPr>
          <p:cNvPr id="79" name="Group 14"/>
          <p:cNvGrpSpPr/>
          <p:nvPr/>
        </p:nvGrpSpPr>
        <p:grpSpPr>
          <a:xfrm flipH="1" flipV="1">
            <a:off x="5001527" y="3667978"/>
            <a:ext cx="3700346" cy="2059578"/>
            <a:chOff x="2202302" y="2476549"/>
            <a:chExt cx="3463342" cy="550283"/>
          </a:xfrm>
        </p:grpSpPr>
        <p:cxnSp>
          <p:nvCxnSpPr>
            <p:cNvPr id="80" name="Straight Connector 15"/>
            <p:cNvCxnSpPr/>
            <p:nvPr/>
          </p:nvCxnSpPr>
          <p:spPr>
            <a:xfrm flipV="1">
              <a:off x="4372766" y="2476549"/>
              <a:ext cx="1292878" cy="550283"/>
            </a:xfrm>
            <a:prstGeom prst="line">
              <a:avLst/>
            </a:prstGeom>
            <a:noFill/>
            <a:ln w="9525" cap="flat" cmpd="sng" algn="ctr">
              <a:solidFill>
                <a:sysClr val="window" lastClr="FFFFFF">
                  <a:lumMod val="50000"/>
                </a:sysClr>
              </a:solidFill>
              <a:prstDash val="solid"/>
            </a:ln>
            <a:effectLst/>
          </p:spPr>
        </p:cxnSp>
        <p:cxnSp>
          <p:nvCxnSpPr>
            <p:cNvPr id="81" name="Straight Connector 17"/>
            <p:cNvCxnSpPr/>
            <p:nvPr/>
          </p:nvCxnSpPr>
          <p:spPr>
            <a:xfrm flipH="1" flipV="1">
              <a:off x="2202302" y="2476549"/>
              <a:ext cx="3463342" cy="0"/>
            </a:xfrm>
            <a:prstGeom prst="line">
              <a:avLst/>
            </a:prstGeom>
            <a:noFill/>
            <a:ln w="9525" cap="flat" cmpd="sng" algn="ctr">
              <a:solidFill>
                <a:sysClr val="window" lastClr="FFFFFF">
                  <a:lumMod val="50000"/>
                </a:sysClr>
              </a:solidFill>
              <a:prstDash val="solid"/>
              <a:tailEnd type="oval"/>
            </a:ln>
            <a:effectLst/>
          </p:spPr>
        </p:cxnSp>
      </p:grpSp>
      <p:grpSp>
        <p:nvGrpSpPr>
          <p:cNvPr id="82" name="Group 14"/>
          <p:cNvGrpSpPr/>
          <p:nvPr/>
        </p:nvGrpSpPr>
        <p:grpSpPr>
          <a:xfrm flipH="1" flipV="1">
            <a:off x="9411720" y="3701076"/>
            <a:ext cx="1993699" cy="1819339"/>
            <a:chOff x="1767972" y="2447865"/>
            <a:chExt cx="2862797" cy="565849"/>
          </a:xfrm>
        </p:grpSpPr>
        <p:cxnSp>
          <p:nvCxnSpPr>
            <p:cNvPr id="83" name="Straight Connector 15"/>
            <p:cNvCxnSpPr/>
            <p:nvPr/>
          </p:nvCxnSpPr>
          <p:spPr>
            <a:xfrm flipV="1">
              <a:off x="4159249" y="2447865"/>
              <a:ext cx="471520" cy="565849"/>
            </a:xfrm>
            <a:prstGeom prst="line">
              <a:avLst/>
            </a:prstGeom>
            <a:noFill/>
            <a:ln w="9525" cap="flat" cmpd="sng" algn="ctr">
              <a:solidFill>
                <a:sysClr val="window" lastClr="FFFFFF">
                  <a:lumMod val="50000"/>
                </a:sysClr>
              </a:solidFill>
              <a:prstDash val="solid"/>
            </a:ln>
            <a:effectLst/>
          </p:spPr>
        </p:cxnSp>
        <p:cxnSp>
          <p:nvCxnSpPr>
            <p:cNvPr id="84" name="Straight Connector 17"/>
            <p:cNvCxnSpPr/>
            <p:nvPr/>
          </p:nvCxnSpPr>
          <p:spPr>
            <a:xfrm flipH="1" flipV="1">
              <a:off x="1767972" y="2447865"/>
              <a:ext cx="2862797" cy="0"/>
            </a:xfrm>
            <a:prstGeom prst="line">
              <a:avLst/>
            </a:prstGeom>
            <a:noFill/>
            <a:ln w="9525" cap="flat" cmpd="sng" algn="ctr">
              <a:solidFill>
                <a:sysClr val="window" lastClr="FFFFFF">
                  <a:lumMod val="50000"/>
                </a:sysClr>
              </a:solidFill>
              <a:prstDash val="solid"/>
              <a:tailEnd type="oval"/>
            </a:ln>
            <a:effectLst/>
          </p:spPr>
        </p:cxnSp>
      </p:grpSp>
      <p:grpSp>
        <p:nvGrpSpPr>
          <p:cNvPr id="94" name="Group 14"/>
          <p:cNvGrpSpPr/>
          <p:nvPr/>
        </p:nvGrpSpPr>
        <p:grpSpPr>
          <a:xfrm flipH="1">
            <a:off x="9870579" y="1444630"/>
            <a:ext cx="1889335" cy="1605047"/>
            <a:chOff x="1848067" y="2697524"/>
            <a:chExt cx="2311184" cy="316190"/>
          </a:xfrm>
        </p:grpSpPr>
        <p:cxnSp>
          <p:nvCxnSpPr>
            <p:cNvPr id="95" name="Straight Connector 15"/>
            <p:cNvCxnSpPr/>
            <p:nvPr/>
          </p:nvCxnSpPr>
          <p:spPr>
            <a:xfrm flipH="1" flipV="1">
              <a:off x="3661285" y="2697524"/>
              <a:ext cx="497966" cy="316190"/>
            </a:xfrm>
            <a:prstGeom prst="line">
              <a:avLst/>
            </a:prstGeom>
            <a:noFill/>
            <a:ln w="9525" cap="flat" cmpd="sng" algn="ctr">
              <a:solidFill>
                <a:sysClr val="window" lastClr="FFFFFF">
                  <a:lumMod val="50000"/>
                </a:sysClr>
              </a:solidFill>
              <a:prstDash val="solid"/>
            </a:ln>
            <a:effectLst/>
          </p:spPr>
        </p:cxnSp>
        <p:cxnSp>
          <p:nvCxnSpPr>
            <p:cNvPr id="96" name="Straight Connector 17"/>
            <p:cNvCxnSpPr/>
            <p:nvPr/>
          </p:nvCxnSpPr>
          <p:spPr>
            <a:xfrm flipH="1">
              <a:off x="1848067" y="2697524"/>
              <a:ext cx="1813219" cy="0"/>
            </a:xfrm>
            <a:prstGeom prst="line">
              <a:avLst/>
            </a:prstGeom>
            <a:noFill/>
            <a:ln w="9525" cap="flat" cmpd="sng" algn="ctr">
              <a:solidFill>
                <a:sysClr val="window" lastClr="FFFFFF">
                  <a:lumMod val="50000"/>
                </a:sysClr>
              </a:solidFill>
              <a:prstDash val="solid"/>
              <a:tailEnd type="oval"/>
            </a:ln>
            <a:effectLst/>
          </p:spPr>
        </p:cxnSp>
      </p:grpSp>
      <p:sp>
        <p:nvSpPr>
          <p:cNvPr id="97" name="Прямоугольник 96"/>
          <p:cNvSpPr/>
          <p:nvPr/>
        </p:nvSpPr>
        <p:spPr>
          <a:xfrm>
            <a:off x="543239" y="2341792"/>
            <a:ext cx="3444615" cy="707886"/>
          </a:xfrm>
          <a:prstGeom prst="rect">
            <a:avLst/>
          </a:prstGeom>
        </p:spPr>
        <p:txBody>
          <a:bodyPr wrap="square">
            <a:spAutoFit/>
          </a:bodyPr>
          <a:lstStyle/>
          <a:p>
            <a:pPr defTabSz="1375467"/>
            <a:r>
              <a:rPr lang="ru-RU" sz="1000" b="1" dirty="0">
                <a:solidFill>
                  <a:srgbClr val="32ACFA"/>
                </a:solidFill>
                <a:latin typeface="Century Gothic" panose="020B0502020202020204" pitchFamily="34" charset="0"/>
              </a:rPr>
              <a:t>Моделирование процесса </a:t>
            </a:r>
            <a:r>
              <a:rPr lang="ru-RU" sz="1000" b="1" dirty="0">
                <a:solidFill>
                  <a:schemeClr val="bg1">
                    <a:lumMod val="50000"/>
                  </a:schemeClr>
                </a:solidFill>
                <a:latin typeface="Century Gothic" panose="020B0502020202020204" pitchFamily="34" charset="0"/>
              </a:rPr>
              <a:t>работы</a:t>
            </a:r>
          </a:p>
          <a:p>
            <a:pPr defTabSz="1375467"/>
            <a:r>
              <a:rPr lang="ru-RU" sz="1000" b="1" dirty="0">
                <a:solidFill>
                  <a:schemeClr val="bg1">
                    <a:lumMod val="50000"/>
                  </a:schemeClr>
                </a:solidFill>
                <a:latin typeface="Century Gothic" panose="020B0502020202020204" pitchFamily="34" charset="0"/>
              </a:rPr>
              <a:t>конвертерной печи на основе показаний</a:t>
            </a:r>
          </a:p>
          <a:p>
            <a:pPr defTabSz="1375467"/>
            <a:r>
              <a:rPr lang="ru-RU" sz="1000" b="1" dirty="0">
                <a:solidFill>
                  <a:schemeClr val="bg1">
                    <a:lumMod val="50000"/>
                  </a:schemeClr>
                </a:solidFill>
                <a:latin typeface="Century Gothic" panose="020B0502020202020204" pitchFamily="34" charset="0"/>
              </a:rPr>
              <a:t>датчиков и информации о качестве</a:t>
            </a:r>
          </a:p>
          <a:p>
            <a:pPr defTabSz="1375467"/>
            <a:r>
              <a:rPr lang="ru-RU" sz="1000" b="1" dirty="0">
                <a:solidFill>
                  <a:schemeClr val="bg1">
                    <a:lumMod val="50000"/>
                  </a:schemeClr>
                </a:solidFill>
                <a:latin typeface="Century Gothic" panose="020B0502020202020204" pitchFamily="34" charset="0"/>
              </a:rPr>
              <a:t>готовой продукции</a:t>
            </a:r>
          </a:p>
        </p:txBody>
      </p:sp>
      <p:sp>
        <p:nvSpPr>
          <p:cNvPr id="98" name="Прямоугольник 97"/>
          <p:cNvSpPr/>
          <p:nvPr/>
        </p:nvSpPr>
        <p:spPr>
          <a:xfrm>
            <a:off x="4771328" y="2243896"/>
            <a:ext cx="2275904" cy="707886"/>
          </a:xfrm>
          <a:prstGeom prst="rect">
            <a:avLst/>
          </a:prstGeom>
        </p:spPr>
        <p:txBody>
          <a:bodyPr wrap="square">
            <a:spAutoFit/>
          </a:bodyPr>
          <a:lstStyle/>
          <a:p>
            <a:pPr defTabSz="1375467"/>
            <a:r>
              <a:rPr lang="ru-RU" sz="1000" b="1" dirty="0">
                <a:solidFill>
                  <a:srgbClr val="32ACFA"/>
                </a:solidFill>
                <a:latin typeface="Century Gothic" panose="020B0502020202020204" pitchFamily="34" charset="0"/>
              </a:rPr>
              <a:t>Моделирование изменения</a:t>
            </a:r>
          </a:p>
          <a:p>
            <a:pPr defTabSz="1375467"/>
            <a:r>
              <a:rPr lang="ru-RU" sz="1000" b="1" dirty="0">
                <a:solidFill>
                  <a:srgbClr val="32ACFA"/>
                </a:solidFill>
                <a:latin typeface="Century Gothic" panose="020B0502020202020204" pitchFamily="34" charset="0"/>
              </a:rPr>
              <a:t>температуры</a:t>
            </a:r>
            <a:r>
              <a:rPr lang="ru-RU" sz="1000" b="1" dirty="0">
                <a:solidFill>
                  <a:schemeClr val="bg1">
                    <a:lumMod val="50000"/>
                  </a:schemeClr>
                </a:solidFill>
                <a:latin typeface="Century Gothic" panose="020B0502020202020204" pitchFamily="34" charset="0"/>
              </a:rPr>
              <a:t> между</a:t>
            </a:r>
          </a:p>
          <a:p>
            <a:pPr defTabSz="1375467"/>
            <a:r>
              <a:rPr lang="ru-RU" sz="1000" b="1" dirty="0">
                <a:solidFill>
                  <a:schemeClr val="bg1">
                    <a:lumMod val="50000"/>
                  </a:schemeClr>
                </a:solidFill>
                <a:latin typeface="Century Gothic" panose="020B0502020202020204" pitchFamily="34" charset="0"/>
              </a:rPr>
              <a:t>конвертерной печью и литьем</a:t>
            </a:r>
          </a:p>
          <a:p>
            <a:pPr defTabSz="1375467"/>
            <a:r>
              <a:rPr lang="ru-RU" sz="1000" b="1" dirty="0">
                <a:solidFill>
                  <a:schemeClr val="bg1">
                    <a:lumMod val="50000"/>
                  </a:schemeClr>
                </a:solidFill>
                <a:latin typeface="Century Gothic" panose="020B0502020202020204" pitchFamily="34" charset="0"/>
              </a:rPr>
              <a:t>для целей контроля качества </a:t>
            </a:r>
          </a:p>
        </p:txBody>
      </p:sp>
      <p:sp>
        <p:nvSpPr>
          <p:cNvPr id="99" name="Прямоугольник 98"/>
          <p:cNvSpPr/>
          <p:nvPr/>
        </p:nvSpPr>
        <p:spPr>
          <a:xfrm>
            <a:off x="7190946" y="2332823"/>
            <a:ext cx="2573407" cy="646331"/>
          </a:xfrm>
          <a:prstGeom prst="rect">
            <a:avLst/>
          </a:prstGeom>
        </p:spPr>
        <p:txBody>
          <a:bodyPr wrap="square">
            <a:spAutoFit/>
          </a:bodyPr>
          <a:lstStyle/>
          <a:p>
            <a:pPr defTabSz="1375467"/>
            <a:r>
              <a:rPr lang="ru-RU" sz="1200" b="1" dirty="0">
                <a:solidFill>
                  <a:srgbClr val="32ACFA"/>
                </a:solidFill>
                <a:latin typeface="Century Gothic" panose="020B0502020202020204" pitchFamily="34" charset="0"/>
              </a:rPr>
              <a:t>Контроль качества </a:t>
            </a:r>
            <a:r>
              <a:rPr lang="ru-RU" sz="1200" b="1" dirty="0">
                <a:solidFill>
                  <a:schemeClr val="bg1">
                    <a:lumMod val="50000"/>
                  </a:schemeClr>
                </a:solidFill>
                <a:latin typeface="Century Gothic" panose="020B0502020202020204" pitchFamily="34" charset="0"/>
              </a:rPr>
              <a:t>процесса</a:t>
            </a:r>
          </a:p>
          <a:p>
            <a:pPr defTabSz="1375467"/>
            <a:r>
              <a:rPr lang="ru-RU" sz="1200" b="1" dirty="0">
                <a:solidFill>
                  <a:schemeClr val="bg1">
                    <a:lumMod val="50000"/>
                  </a:schemeClr>
                </a:solidFill>
                <a:latin typeface="Century Gothic" panose="020B0502020202020204" pitchFamily="34" charset="0"/>
              </a:rPr>
              <a:t>прокатки посредством</a:t>
            </a:r>
          </a:p>
          <a:p>
            <a:pPr defTabSz="1375467"/>
            <a:r>
              <a:rPr lang="ru-RU" sz="1200" b="1" dirty="0">
                <a:solidFill>
                  <a:schemeClr val="bg1">
                    <a:lumMod val="50000"/>
                  </a:schemeClr>
                </a:solidFill>
                <a:latin typeface="Century Gothic" panose="020B0502020202020204" pitchFamily="34" charset="0"/>
              </a:rPr>
              <a:t>моделирования</a:t>
            </a:r>
          </a:p>
        </p:txBody>
      </p:sp>
      <p:sp>
        <p:nvSpPr>
          <p:cNvPr id="100" name="Прямоугольник 99"/>
          <p:cNvSpPr/>
          <p:nvPr/>
        </p:nvSpPr>
        <p:spPr>
          <a:xfrm>
            <a:off x="10383880" y="1508489"/>
            <a:ext cx="1573560" cy="738664"/>
          </a:xfrm>
          <a:prstGeom prst="rect">
            <a:avLst/>
          </a:prstGeom>
        </p:spPr>
        <p:txBody>
          <a:bodyPr wrap="square">
            <a:spAutoFit/>
          </a:bodyPr>
          <a:lstStyle/>
          <a:p>
            <a:pPr defTabSz="1375467"/>
            <a:r>
              <a:rPr lang="ru-RU" sz="1050" b="1" dirty="0">
                <a:solidFill>
                  <a:srgbClr val="32ACFA"/>
                </a:solidFill>
                <a:latin typeface="Century Gothic" panose="020B0502020202020204" pitchFamily="34" charset="0"/>
              </a:rPr>
              <a:t>Анализ спроса</a:t>
            </a:r>
          </a:p>
          <a:p>
            <a:pPr defTabSz="1375467"/>
            <a:r>
              <a:rPr lang="ru-RU" sz="1050" b="1" dirty="0">
                <a:solidFill>
                  <a:schemeClr val="bg1">
                    <a:lumMod val="50000"/>
                  </a:schemeClr>
                </a:solidFill>
                <a:latin typeface="Century Gothic" panose="020B0502020202020204" pitchFamily="34" charset="0"/>
              </a:rPr>
              <a:t>и система интегрированного</a:t>
            </a:r>
          </a:p>
          <a:p>
            <a:pPr defTabSz="1375467"/>
            <a:r>
              <a:rPr lang="ru-RU" sz="1050" b="1" dirty="0">
                <a:solidFill>
                  <a:schemeClr val="bg1">
                    <a:lumMod val="50000"/>
                  </a:schemeClr>
                </a:solidFill>
                <a:latin typeface="Century Gothic" panose="020B0502020202020204" pitchFamily="34" charset="0"/>
              </a:rPr>
              <a:t>планирования</a:t>
            </a:r>
          </a:p>
        </p:txBody>
      </p:sp>
      <p:sp>
        <p:nvSpPr>
          <p:cNvPr id="101" name="Прямоугольник 100"/>
          <p:cNvSpPr/>
          <p:nvPr/>
        </p:nvSpPr>
        <p:spPr>
          <a:xfrm>
            <a:off x="9615994" y="4382085"/>
            <a:ext cx="2111176" cy="1107996"/>
          </a:xfrm>
          <a:prstGeom prst="rect">
            <a:avLst/>
          </a:prstGeom>
        </p:spPr>
        <p:txBody>
          <a:bodyPr wrap="square">
            <a:spAutoFit/>
          </a:bodyPr>
          <a:lstStyle/>
          <a:p>
            <a:pPr defTabSz="1375467"/>
            <a:r>
              <a:rPr lang="ru-RU" sz="1100" b="1" dirty="0">
                <a:solidFill>
                  <a:schemeClr val="bg1">
                    <a:lumMod val="50000"/>
                  </a:schemeClr>
                </a:solidFill>
                <a:latin typeface="Century Gothic" panose="020B0502020202020204" pitchFamily="34" charset="0"/>
              </a:rPr>
              <a:t>Отслеживание местоположения</a:t>
            </a:r>
          </a:p>
          <a:p>
            <a:pPr defTabSz="1375467"/>
            <a:r>
              <a:rPr lang="ru-RU" sz="1100" b="1" dirty="0">
                <a:solidFill>
                  <a:schemeClr val="bg1">
                    <a:lumMod val="50000"/>
                  </a:schemeClr>
                </a:solidFill>
                <a:latin typeface="Century Gothic" panose="020B0502020202020204" pitchFamily="34" charset="0"/>
              </a:rPr>
              <a:t>персонала. </a:t>
            </a:r>
            <a:r>
              <a:rPr lang="ru-RU" sz="1100" b="1" dirty="0">
                <a:solidFill>
                  <a:srgbClr val="32ACFA"/>
                </a:solidFill>
                <a:latin typeface="Century Gothic" panose="020B0502020202020204" pitchFamily="34" charset="0"/>
              </a:rPr>
              <a:t>Анализ и моделирование</a:t>
            </a:r>
          </a:p>
          <a:p>
            <a:pPr defTabSz="1375467"/>
            <a:r>
              <a:rPr lang="ru-RU" sz="1100" b="1" dirty="0">
                <a:solidFill>
                  <a:srgbClr val="32ACFA"/>
                </a:solidFill>
                <a:latin typeface="Century Gothic" panose="020B0502020202020204" pitchFamily="34" charset="0"/>
              </a:rPr>
              <a:t>загрузки</a:t>
            </a:r>
            <a:r>
              <a:rPr lang="ru-RU" sz="1100" b="1" dirty="0">
                <a:solidFill>
                  <a:schemeClr val="bg1">
                    <a:lumMod val="50000"/>
                  </a:schemeClr>
                </a:solidFill>
                <a:latin typeface="Century Gothic" panose="020B0502020202020204" pitchFamily="34" charset="0"/>
              </a:rPr>
              <a:t> чистового прокатного стана</a:t>
            </a:r>
          </a:p>
        </p:txBody>
      </p:sp>
      <p:sp>
        <p:nvSpPr>
          <p:cNvPr id="102" name="Прямоугольник 101"/>
          <p:cNvSpPr/>
          <p:nvPr/>
        </p:nvSpPr>
        <p:spPr>
          <a:xfrm>
            <a:off x="5666954" y="4697767"/>
            <a:ext cx="3642629" cy="938719"/>
          </a:xfrm>
          <a:prstGeom prst="rect">
            <a:avLst/>
          </a:prstGeom>
        </p:spPr>
        <p:txBody>
          <a:bodyPr wrap="square">
            <a:spAutoFit/>
          </a:bodyPr>
          <a:lstStyle/>
          <a:p>
            <a:pPr defTabSz="1375467"/>
            <a:r>
              <a:rPr lang="ru-RU" sz="1100" b="1" dirty="0">
                <a:solidFill>
                  <a:srgbClr val="32ACFA"/>
                </a:solidFill>
                <a:latin typeface="Century Gothic" panose="020B0502020202020204" pitchFamily="34" charset="0"/>
              </a:rPr>
              <a:t>Анализ запасов </a:t>
            </a:r>
            <a:r>
              <a:rPr lang="ru-RU" sz="1100" b="1" dirty="0">
                <a:solidFill>
                  <a:schemeClr val="bg1">
                    <a:lumMod val="50000"/>
                  </a:schemeClr>
                </a:solidFill>
                <a:latin typeface="Century Gothic" panose="020B0502020202020204" pitchFamily="34" charset="0"/>
              </a:rPr>
              <a:t>в рамках контроля процессов изготовления</a:t>
            </a:r>
          </a:p>
          <a:p>
            <a:pPr defTabSz="1375467"/>
            <a:r>
              <a:rPr lang="ru-RU" sz="1100" b="1" dirty="0">
                <a:solidFill>
                  <a:schemeClr val="bg1">
                    <a:lumMod val="50000"/>
                  </a:schemeClr>
                </a:solidFill>
                <a:latin typeface="Century Gothic" panose="020B0502020202020204" pitchFamily="34" charset="0"/>
              </a:rPr>
              <a:t>рулонов холоднокатаной</a:t>
            </a:r>
          </a:p>
          <a:p>
            <a:pPr defTabSz="1375467"/>
            <a:r>
              <a:rPr lang="ru-RU" sz="1100" b="1" dirty="0">
                <a:solidFill>
                  <a:schemeClr val="bg1">
                    <a:lumMod val="50000"/>
                  </a:schemeClr>
                </a:solidFill>
                <a:latin typeface="Century Gothic" panose="020B0502020202020204" pitchFamily="34" charset="0"/>
              </a:rPr>
              <a:t>и горячекатаной полосы на базе приложения</a:t>
            </a:r>
          </a:p>
          <a:p>
            <a:pPr defTabSz="1375467"/>
            <a:r>
              <a:rPr lang="ru-RU" sz="1100" b="1" dirty="0">
                <a:solidFill>
                  <a:schemeClr val="bg1">
                    <a:lumMod val="50000"/>
                  </a:schemeClr>
                </a:solidFill>
                <a:latin typeface="Century Gothic" panose="020B0502020202020204" pitchFamily="34" charset="0"/>
              </a:rPr>
              <a:t>в режиме реального времени </a:t>
            </a:r>
          </a:p>
        </p:txBody>
      </p:sp>
    </p:spTree>
    <p:extLst>
      <p:ext uri="{BB962C8B-B14F-4D97-AF65-F5344CB8AC3E}">
        <p14:creationId xmlns:p14="http://schemas.microsoft.com/office/powerpoint/2010/main" val="22925172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2"/>
                                        </p:tgtEl>
                                        <p:attrNameLst>
                                          <p:attrName>style.visibility</p:attrName>
                                        </p:attrNameLst>
                                      </p:cBhvr>
                                      <p:to>
                                        <p:strVal val="visible"/>
                                      </p:to>
                                    </p:set>
                                    <p:animEffect transition="in" filter="fade">
                                      <p:cBhvr>
                                        <p:cTn id="11" dur="500"/>
                                        <p:tgtEl>
                                          <p:spTgt spid="6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0"/>
                                        </p:tgtEl>
                                        <p:attrNameLst>
                                          <p:attrName>style.visibility</p:attrName>
                                        </p:attrNameLst>
                                      </p:cBhvr>
                                      <p:to>
                                        <p:strVal val="visible"/>
                                      </p:to>
                                    </p:set>
                                    <p:animEffect transition="in" filter="fade">
                                      <p:cBhvr>
                                        <p:cTn id="15" dur="500"/>
                                        <p:tgtEl>
                                          <p:spTgt spid="7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3"/>
                                        </p:tgtEl>
                                        <p:attrNameLst>
                                          <p:attrName>style.visibility</p:attrName>
                                        </p:attrNameLst>
                                      </p:cBhvr>
                                      <p:to>
                                        <p:strVal val="visible"/>
                                      </p:to>
                                    </p:set>
                                    <p:animEffect transition="in" filter="fade">
                                      <p:cBhvr>
                                        <p:cTn id="19" dur="500"/>
                                        <p:tgtEl>
                                          <p:spTgt spid="73"/>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76"/>
                                        </p:tgtEl>
                                        <p:attrNameLst>
                                          <p:attrName>style.visibility</p:attrName>
                                        </p:attrNameLst>
                                      </p:cBhvr>
                                      <p:to>
                                        <p:strVal val="visible"/>
                                      </p:to>
                                    </p:set>
                                    <p:animEffect transition="in" filter="fade">
                                      <p:cBhvr>
                                        <p:cTn id="23" dur="500"/>
                                        <p:tgtEl>
                                          <p:spTgt spid="76"/>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79"/>
                                        </p:tgtEl>
                                        <p:attrNameLst>
                                          <p:attrName>style.visibility</p:attrName>
                                        </p:attrNameLst>
                                      </p:cBhvr>
                                      <p:to>
                                        <p:strVal val="visible"/>
                                      </p:to>
                                    </p:set>
                                    <p:animEffect transition="in" filter="fade">
                                      <p:cBhvr>
                                        <p:cTn id="27" dur="500"/>
                                        <p:tgtEl>
                                          <p:spTgt spid="79"/>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82"/>
                                        </p:tgtEl>
                                        <p:attrNameLst>
                                          <p:attrName>style.visibility</p:attrName>
                                        </p:attrNameLst>
                                      </p:cBhvr>
                                      <p:to>
                                        <p:strVal val="visible"/>
                                      </p:to>
                                    </p:set>
                                    <p:animEffect transition="in" filter="fade">
                                      <p:cBhvr>
                                        <p:cTn id="31" dur="500"/>
                                        <p:tgtEl>
                                          <p:spTgt spid="82"/>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94"/>
                                        </p:tgtEl>
                                        <p:attrNameLst>
                                          <p:attrName>style.visibility</p:attrName>
                                        </p:attrNameLst>
                                      </p:cBhvr>
                                      <p:to>
                                        <p:strVal val="visible"/>
                                      </p:to>
                                    </p:set>
                                    <p:animEffect transition="in" filter="fade">
                                      <p:cBhvr>
                                        <p:cTn id="35" dur="500"/>
                                        <p:tgtEl>
                                          <p:spTgt spid="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727753"/>
            <a:ext cx="12192000" cy="5130247"/>
          </a:xfrm>
          <a:prstGeom prst="rect">
            <a:avLst/>
          </a:prstGeom>
        </p:spPr>
      </p:pic>
      <p:sp>
        <p:nvSpPr>
          <p:cNvPr id="4" name="TextBox 3">
            <a:extLst>
              <a:ext uri="{FF2B5EF4-FFF2-40B4-BE49-F238E27FC236}">
                <a16:creationId xmlns:a16="http://schemas.microsoft.com/office/drawing/2014/main" id="{DBD428FF-BA9C-4CEB-97BF-A5BFFD1D3087}"/>
              </a:ext>
            </a:extLst>
          </p:cNvPr>
          <p:cNvSpPr txBox="1"/>
          <p:nvPr/>
        </p:nvSpPr>
        <p:spPr>
          <a:xfrm>
            <a:off x="2201433" y="603039"/>
            <a:ext cx="8111987" cy="461665"/>
          </a:xfrm>
          <a:prstGeom prst="rect">
            <a:avLst/>
          </a:prstGeom>
          <a:noFill/>
        </p:spPr>
        <p:txBody>
          <a:bodyPr wrap="square" rtlCol="0">
            <a:spAutoFit/>
          </a:bodyPr>
          <a:lstStyle/>
          <a:p>
            <a:pPr lvl="0" algn="ctr">
              <a:defRPr/>
            </a:pPr>
            <a:r>
              <a:rPr lang="en-US" sz="2400" b="1" dirty="0" smtClean="0">
                <a:solidFill>
                  <a:srgbClr val="E0301E"/>
                </a:solidFill>
                <a:latin typeface="Century Gothic" panose="020B0502020202020204" pitchFamily="34" charset="0"/>
                <a:ea typeface="Tahoma" panose="020B0604030504040204" pitchFamily="34" charset="0"/>
                <a:cs typeface="Tahoma" panose="020B0604030504040204" pitchFamily="34" charset="0"/>
              </a:rPr>
              <a:t>Data Mining </a:t>
            </a:r>
            <a:r>
              <a:rPr lang="ru-RU" sz="2400" b="1" dirty="0" smtClean="0">
                <a:solidFill>
                  <a:prstClr val="black">
                    <a:lumMod val="95000"/>
                    <a:lumOff val="5000"/>
                  </a:prstClr>
                </a:solidFill>
                <a:latin typeface="Century Gothic" panose="020B0502020202020204" pitchFamily="34" charset="0"/>
                <a:ea typeface="Tahoma" panose="020B0604030504040204" pitchFamily="34" charset="0"/>
                <a:cs typeface="Tahoma" panose="020B0604030504040204" pitchFamily="34" charset="0"/>
              </a:rPr>
              <a:t>в сочетании с другими технологиями</a:t>
            </a:r>
            <a:endParaRPr kumimoji="0" lang="en-US" sz="2400" b="1" i="0" u="none" strike="noStrike" kern="1200" cap="none" spc="0" normalizeH="0" baseline="0" noProof="0" dirty="0">
              <a:ln>
                <a:noFill/>
              </a:ln>
              <a:solidFill>
                <a:prstClr val="black">
                  <a:lumMod val="95000"/>
                  <a:lumOff val="5000"/>
                </a:prstClr>
              </a:solidFill>
              <a:effectLst/>
              <a:uLnTx/>
              <a:uFillTx/>
              <a:latin typeface="Century Gothic" panose="020B050202020202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31638291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3" name="Рисунок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4704" y="1271750"/>
            <a:ext cx="10683551" cy="4577255"/>
          </a:xfrm>
          <a:prstGeom prst="rect">
            <a:avLst/>
          </a:prstGeom>
        </p:spPr>
      </p:pic>
      <p:sp>
        <p:nvSpPr>
          <p:cNvPr id="4" name="TextBox 3">
            <a:extLst>
              <a:ext uri="{FF2B5EF4-FFF2-40B4-BE49-F238E27FC236}">
                <a16:creationId xmlns:a16="http://schemas.microsoft.com/office/drawing/2014/main" id="{DBD428FF-BA9C-4CEB-97BF-A5BFFD1D3087}"/>
              </a:ext>
            </a:extLst>
          </p:cNvPr>
          <p:cNvSpPr txBox="1"/>
          <p:nvPr/>
        </p:nvSpPr>
        <p:spPr>
          <a:xfrm>
            <a:off x="2261722" y="552799"/>
            <a:ext cx="8111987" cy="461665"/>
          </a:xfrm>
          <a:prstGeom prst="rect">
            <a:avLst/>
          </a:prstGeom>
          <a:noFill/>
        </p:spPr>
        <p:txBody>
          <a:bodyPr wrap="square" rtlCol="0">
            <a:spAutoFit/>
          </a:bodyPr>
          <a:lstStyle/>
          <a:p>
            <a:pPr lvl="0" algn="ctr">
              <a:defRPr/>
            </a:pPr>
            <a:r>
              <a:rPr lang="en-US" sz="2400" b="1" dirty="0" smtClean="0">
                <a:solidFill>
                  <a:srgbClr val="E0301E"/>
                </a:solidFill>
                <a:latin typeface="Century Gothic" panose="020B0502020202020204" pitchFamily="34" charset="0"/>
                <a:ea typeface="Tahoma" panose="020B0604030504040204" pitchFamily="34" charset="0"/>
                <a:cs typeface="Tahoma" panose="020B0604030504040204" pitchFamily="34" charset="0"/>
              </a:rPr>
              <a:t>Data Mining </a:t>
            </a:r>
            <a:r>
              <a:rPr lang="ru-RU" sz="2400" b="1" dirty="0" smtClean="0">
                <a:solidFill>
                  <a:prstClr val="black">
                    <a:lumMod val="95000"/>
                    <a:lumOff val="5000"/>
                  </a:prstClr>
                </a:solidFill>
                <a:latin typeface="Century Gothic" panose="020B0502020202020204" pitchFamily="34" charset="0"/>
                <a:ea typeface="Tahoma" panose="020B0604030504040204" pitchFamily="34" charset="0"/>
                <a:cs typeface="Tahoma" panose="020B0604030504040204" pitchFamily="34" charset="0"/>
              </a:rPr>
              <a:t>в сочетании с другими технологиями</a:t>
            </a:r>
            <a:endParaRPr kumimoji="0" lang="en-US" sz="2400" b="1" i="0" u="none" strike="noStrike" kern="1200" cap="none" spc="0" normalizeH="0" baseline="0" noProof="0" dirty="0">
              <a:ln>
                <a:noFill/>
              </a:ln>
              <a:solidFill>
                <a:prstClr val="black">
                  <a:lumMod val="95000"/>
                  <a:lumOff val="5000"/>
                </a:prstClr>
              </a:solidFill>
              <a:effectLst/>
              <a:uLnTx/>
              <a:uFillTx/>
              <a:latin typeface="Century Gothic" panose="020B0502020202020204" pitchFamily="34" charset="0"/>
              <a:ea typeface="Tahoma" panose="020B0604030504040204" pitchFamily="34" charset="0"/>
              <a:cs typeface="Tahoma" panose="020B0604030504040204" pitchFamily="34" charset="0"/>
            </a:endParaRPr>
          </a:p>
        </p:txBody>
      </p:sp>
      <p:sp>
        <p:nvSpPr>
          <p:cNvPr id="8" name="Прямоугольник 7"/>
          <p:cNvSpPr/>
          <p:nvPr/>
        </p:nvSpPr>
        <p:spPr>
          <a:xfrm>
            <a:off x="599089" y="6187984"/>
            <a:ext cx="6369269" cy="430887"/>
          </a:xfrm>
          <a:prstGeom prst="rect">
            <a:avLst/>
          </a:prstGeom>
        </p:spPr>
        <p:txBody>
          <a:bodyPr wrap="square">
            <a:spAutoFit/>
          </a:bodyPr>
          <a:lstStyle/>
          <a:p>
            <a:pPr lvl="0" algn="just"/>
            <a:r>
              <a:rPr lang="ru-RU" sz="1100" b="1" dirty="0">
                <a:solidFill>
                  <a:srgbClr val="F7F7F7">
                    <a:lumMod val="50000"/>
                  </a:srgbClr>
                </a:solidFill>
                <a:latin typeface="Century Gothic" panose="020B0502020202020204" pitchFamily="34" charset="0"/>
              </a:rPr>
              <a:t>Данные предоставлены консалтинговой компанией </a:t>
            </a:r>
            <a:r>
              <a:rPr lang="en-US" sz="1100" b="1" dirty="0">
                <a:solidFill>
                  <a:srgbClr val="F7F7F7">
                    <a:lumMod val="50000"/>
                  </a:srgbClr>
                </a:solidFill>
                <a:latin typeface="Century Gothic" panose="020B0502020202020204" pitchFamily="34" charset="0"/>
              </a:rPr>
              <a:t>PricewaterhouseCoopers (</a:t>
            </a:r>
            <a:r>
              <a:rPr lang="ru-RU" sz="1100" b="1" dirty="0">
                <a:solidFill>
                  <a:srgbClr val="F7F7F7">
                    <a:lumMod val="50000"/>
                  </a:srgbClr>
                </a:solidFill>
                <a:latin typeface="Century Gothic" panose="020B0502020202020204" pitchFamily="34" charset="0"/>
              </a:rPr>
              <a:t>стр. </a:t>
            </a:r>
            <a:r>
              <a:rPr lang="ru-RU" sz="1100" b="1" dirty="0" smtClean="0">
                <a:solidFill>
                  <a:srgbClr val="F7F7F7">
                    <a:lumMod val="50000"/>
                  </a:srgbClr>
                </a:solidFill>
                <a:latin typeface="Century Gothic" panose="020B0502020202020204" pitchFamily="34" charset="0"/>
              </a:rPr>
              <a:t>21)</a:t>
            </a:r>
            <a:r>
              <a:rPr lang="en-US" sz="1100" b="1" dirty="0" smtClean="0">
                <a:solidFill>
                  <a:srgbClr val="F7F7F7">
                    <a:lumMod val="50000"/>
                  </a:srgbClr>
                </a:solidFill>
                <a:latin typeface="Century Gothic" panose="020B0502020202020204" pitchFamily="34" charset="0"/>
              </a:rPr>
              <a:t> </a:t>
            </a:r>
            <a:r>
              <a:rPr lang="en-US" sz="1100" b="1" dirty="0">
                <a:solidFill>
                  <a:srgbClr val="F7F7F7">
                    <a:lumMod val="50000"/>
                  </a:srgbClr>
                </a:solidFill>
                <a:latin typeface="Century Gothic" panose="020B0502020202020204" pitchFamily="34" charset="0"/>
                <a:hlinkClick r:id="rId3"/>
              </a:rPr>
              <a:t>https://filearchive.cnews.ru/img/files/2019/04/17/4._polyakov_anatolij.pdf</a:t>
            </a:r>
            <a:endParaRPr lang="ru-RU" sz="1100" b="1" dirty="0">
              <a:solidFill>
                <a:srgbClr val="F7F7F7">
                  <a:lumMod val="50000"/>
                </a:srgbClr>
              </a:solidFill>
              <a:latin typeface="Century Gothic" panose="020B0502020202020204" pitchFamily="34" charset="0"/>
            </a:endParaRPr>
          </a:p>
        </p:txBody>
      </p:sp>
      <p:sp>
        <p:nvSpPr>
          <p:cNvPr id="9" name="Прямоугольник 8"/>
          <p:cNvSpPr/>
          <p:nvPr/>
        </p:nvSpPr>
        <p:spPr>
          <a:xfrm>
            <a:off x="599089" y="5465379"/>
            <a:ext cx="1439918" cy="383626"/>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Tree>
    <p:extLst>
      <p:ext uri="{BB962C8B-B14F-4D97-AF65-F5344CB8AC3E}">
        <p14:creationId xmlns:p14="http://schemas.microsoft.com/office/powerpoint/2010/main" val="290095857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717" y="1579670"/>
            <a:ext cx="10168932" cy="5017072"/>
          </a:xfrm>
          <a:prstGeom prst="rect">
            <a:avLst/>
          </a:prstGeom>
        </p:spPr>
      </p:pic>
      <p:sp>
        <p:nvSpPr>
          <p:cNvPr id="3" name="TextBox 2">
            <a:extLst>
              <a:ext uri="{FF2B5EF4-FFF2-40B4-BE49-F238E27FC236}">
                <a16:creationId xmlns:a16="http://schemas.microsoft.com/office/drawing/2014/main" id="{DBD428FF-BA9C-4CEB-97BF-A5BFFD1D3087}"/>
              </a:ext>
            </a:extLst>
          </p:cNvPr>
          <p:cNvSpPr txBox="1"/>
          <p:nvPr/>
        </p:nvSpPr>
        <p:spPr>
          <a:xfrm>
            <a:off x="1446964" y="472412"/>
            <a:ext cx="10068448" cy="830997"/>
          </a:xfrm>
          <a:prstGeom prst="rect">
            <a:avLst/>
          </a:prstGeom>
          <a:noFill/>
        </p:spPr>
        <p:txBody>
          <a:bodyPr wrap="square" rtlCol="0">
            <a:spAutoFit/>
          </a:bodyPr>
          <a:lstStyle/>
          <a:p>
            <a:pPr lvl="0" algn="ctr">
              <a:defRPr/>
            </a:pPr>
            <a:r>
              <a:rPr lang="ru-RU" sz="2400" b="1" dirty="0">
                <a:solidFill>
                  <a:schemeClr val="bg1">
                    <a:lumMod val="10000"/>
                  </a:schemeClr>
                </a:solidFill>
                <a:latin typeface="Century Gothic" panose="020B0502020202020204" pitchFamily="34" charset="0"/>
                <a:ea typeface="Tahoma" panose="020B0604030504040204" pitchFamily="34" charset="0"/>
                <a:cs typeface="Tahoma" panose="020B0604030504040204" pitchFamily="34" charset="0"/>
              </a:rPr>
              <a:t>Определение наиболее привлекательного местоположения</a:t>
            </a:r>
          </a:p>
          <a:p>
            <a:pPr lvl="0" algn="ctr">
              <a:defRPr/>
            </a:pPr>
            <a:r>
              <a:rPr lang="ru-RU" sz="2400" b="1" dirty="0">
                <a:solidFill>
                  <a:schemeClr val="bg1">
                    <a:lumMod val="10000"/>
                  </a:schemeClr>
                </a:solidFill>
                <a:latin typeface="Century Gothic" panose="020B0502020202020204" pitchFamily="34" charset="0"/>
                <a:ea typeface="Tahoma" panose="020B0604030504040204" pitchFamily="34" charset="0"/>
                <a:cs typeface="Tahoma" panose="020B0604030504040204" pitchFamily="34" charset="0"/>
              </a:rPr>
              <a:t>точки </a:t>
            </a:r>
            <a:r>
              <a:rPr lang="ru-RU" sz="2400" b="1" dirty="0" smtClean="0">
                <a:solidFill>
                  <a:schemeClr val="bg1">
                    <a:lumMod val="10000"/>
                  </a:schemeClr>
                </a:solidFill>
                <a:latin typeface="Century Gothic" panose="020B0502020202020204" pitchFamily="34" charset="0"/>
                <a:ea typeface="Tahoma" panose="020B0604030504040204" pitchFamily="34" charset="0"/>
                <a:cs typeface="Tahoma" panose="020B0604030504040204" pitchFamily="34" charset="0"/>
              </a:rPr>
              <a:t>продаж с помощью </a:t>
            </a:r>
            <a:r>
              <a:rPr lang="ru-RU" sz="2400" b="1" dirty="0" smtClean="0">
                <a:solidFill>
                  <a:srgbClr val="E0301E"/>
                </a:solidFill>
                <a:latin typeface="Century Gothic" panose="020B0502020202020204" pitchFamily="34" charset="0"/>
                <a:ea typeface="Tahoma" panose="020B0604030504040204" pitchFamily="34" charset="0"/>
                <a:cs typeface="Tahoma" panose="020B0604030504040204" pitchFamily="34" charset="0"/>
              </a:rPr>
              <a:t>анализа данных</a:t>
            </a:r>
            <a:endParaRPr kumimoji="0" lang="en-US" sz="2400" b="1" i="0" u="none" strike="noStrike" kern="1200" cap="none" spc="0" normalizeH="0" baseline="0" noProof="0" dirty="0">
              <a:ln>
                <a:noFill/>
              </a:ln>
              <a:solidFill>
                <a:srgbClr val="E0301E"/>
              </a:solidFill>
              <a:effectLst/>
              <a:uLnTx/>
              <a:uFillTx/>
              <a:latin typeface="Century Gothic" panose="020B050202020202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44299726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Grp="1" noChangeAspect="1"/>
          </p:cNvPicPr>
          <p:nvPr>
            <p:ph type="pic" sz="quarter" idx="18"/>
          </p:nvPr>
        </p:nvPicPr>
        <p:blipFill rotWithShape="1">
          <a:blip r:embed="rId2">
            <a:extLst>
              <a:ext uri="{28A0092B-C50C-407E-A947-70E740481C1C}">
                <a14:useLocalDpi xmlns:a14="http://schemas.microsoft.com/office/drawing/2010/main" val="0"/>
              </a:ext>
            </a:extLst>
          </a:blip>
          <a:srcRect l="32119" t="440" r="15582" b="-440"/>
          <a:stretch/>
        </p:blipFill>
        <p:spPr>
          <a:xfrm>
            <a:off x="218168" y="203272"/>
            <a:ext cx="7613003" cy="6367505"/>
          </a:xfrm>
        </p:spPr>
      </p:pic>
      <p:sp>
        <p:nvSpPr>
          <p:cNvPr id="12" name="TextBox 11"/>
          <p:cNvSpPr txBox="1"/>
          <p:nvPr/>
        </p:nvSpPr>
        <p:spPr>
          <a:xfrm>
            <a:off x="8299632" y="2724912"/>
            <a:ext cx="3819216" cy="98488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3200" b="0" i="0" u="none" strike="noStrike" kern="1200" cap="none" spc="0" normalizeH="0" baseline="0" noProof="0" dirty="0" smtClean="0">
                <a:ln>
                  <a:noFill/>
                </a:ln>
                <a:solidFill>
                  <a:srgbClr val="02BBF8"/>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Примеры </a:t>
            </a:r>
            <a:r>
              <a:rPr kumimoji="0" lang="ru-RU" sz="3200" b="0" i="0" u="none" strike="noStrike" kern="1200" cap="none" spc="0" normalizeH="0" baseline="0" noProof="0" dirty="0" smtClean="0">
                <a:ln>
                  <a:noFill/>
                </a:ln>
                <a:solidFill>
                  <a:prstClr val="black">
                    <a:lumMod val="95000"/>
                    <a:lumOff val="5000"/>
                  </a:prstClr>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внедрения технологий </a:t>
            </a:r>
            <a:r>
              <a:rPr kumimoji="0" lang="en-US" sz="3200" b="0" i="0" u="none" strike="noStrike" kern="1200" cap="none" spc="0" normalizeH="0" baseline="0" noProof="0" dirty="0" smtClean="0">
                <a:ln>
                  <a:noFill/>
                </a:ln>
                <a:solidFill>
                  <a:prstClr val="black">
                    <a:lumMod val="95000"/>
                    <a:lumOff val="5000"/>
                  </a:prstClr>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Big Data </a:t>
            </a:r>
            <a:endParaRPr kumimoji="0" lang="ru-RU" sz="3200" b="0" i="0" u="none" strike="noStrike" kern="1200" cap="none" spc="0" normalizeH="0" baseline="0" noProof="0" dirty="0">
              <a:ln>
                <a:noFill/>
              </a:ln>
              <a:solidFill>
                <a:prstClr val="black">
                  <a:lumMod val="95000"/>
                  <a:lumOff val="5000"/>
                </a:prstClr>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Tree>
    <p:extLst>
      <p:ext uri="{BB962C8B-B14F-4D97-AF65-F5344CB8AC3E}">
        <p14:creationId xmlns:p14="http://schemas.microsoft.com/office/powerpoint/2010/main" val="4109585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4" name="Объект 2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0" name="Слайд think-cell" r:id="rId5" imgW="425" imgH="426" progId="TCLayout.ActiveDocument.1">
                  <p:embed/>
                </p:oleObj>
              </mc:Choice>
              <mc:Fallback>
                <p:oleObj name="Слайд think-cell" r:id="rId5" imgW="425" imgH="426" progId="TCLayout.ActiveDocument.1">
                  <p:embed/>
                  <p:pic>
                    <p:nvPicPr>
                      <p:cNvPr id="24" name="Объект 2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Прямоугольник 15" hidden="1"/>
          <p:cNvSpPr/>
          <p:nvPr>
            <p:custDataLst>
              <p:tags r:id="rId3"/>
            </p:custDataLst>
          </p:nvPr>
        </p:nvSpPr>
        <p:spPr>
          <a:xfrm>
            <a:off x="0" y="0"/>
            <a:ext cx="158750" cy="158750"/>
          </a:xfrm>
          <a:prstGeom prst="rect">
            <a:avLst/>
          </a:prstGeom>
          <a:gradFill>
            <a:gsLst>
              <a:gs pos="0">
                <a:schemeClr val="accent1">
                  <a:alpha val="50000"/>
                </a:schemeClr>
              </a:gs>
              <a:gs pos="100000">
                <a:schemeClr val="accent4">
                  <a:lumMod val="100000"/>
                  <a:alpha val="81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ru-RU" sz="1400" dirty="0">
              <a:sym typeface="+mn-lt"/>
            </a:endParaRPr>
          </a:p>
        </p:txBody>
      </p:sp>
      <p:sp>
        <p:nvSpPr>
          <p:cNvPr id="2" name="TextBox 1">
            <a:extLst>
              <a:ext uri="{FF2B5EF4-FFF2-40B4-BE49-F238E27FC236}">
                <a16:creationId xmlns:a16="http://schemas.microsoft.com/office/drawing/2014/main" id="{DBD428FF-BA9C-4CEB-97BF-A5BFFD1D3087}"/>
              </a:ext>
            </a:extLst>
          </p:cNvPr>
          <p:cNvSpPr txBox="1"/>
          <p:nvPr/>
        </p:nvSpPr>
        <p:spPr>
          <a:xfrm>
            <a:off x="4452882" y="846281"/>
            <a:ext cx="3394881" cy="461665"/>
          </a:xfrm>
          <a:prstGeom prst="rect">
            <a:avLst/>
          </a:prstGeom>
          <a:noFill/>
        </p:spPr>
        <p:txBody>
          <a:bodyPr wrap="square" rtlCol="0">
            <a:spAutoFit/>
          </a:bodyPr>
          <a:lstStyle/>
          <a:p>
            <a:pPr lvl="0">
              <a:defRPr/>
            </a:pPr>
            <a:r>
              <a:rPr lang="ru-RU" sz="2400" b="1" dirty="0">
                <a:solidFill>
                  <a:srgbClr val="0588DB"/>
                </a:solidFill>
                <a:latin typeface="Century Gothic" panose="020B0502020202020204" pitchFamily="34" charset="0"/>
                <a:ea typeface="Tahoma" panose="020B0604030504040204" pitchFamily="34" charset="0"/>
                <a:cs typeface="Tahoma" panose="020B0604030504040204" pitchFamily="34" charset="0"/>
              </a:rPr>
              <a:t>Кейс </a:t>
            </a:r>
            <a:r>
              <a:rPr lang="ru-RU" sz="2400" b="1" dirty="0" smtClean="0">
                <a:solidFill>
                  <a:schemeClr val="tx1">
                    <a:lumMod val="95000"/>
                    <a:lumOff val="5000"/>
                  </a:schemeClr>
                </a:solidFill>
                <a:latin typeface="Century Gothic" panose="020B0502020202020204" pitchFamily="34" charset="0"/>
                <a:ea typeface="Tahoma" panose="020B0604030504040204" pitchFamily="34" charset="0"/>
                <a:cs typeface="Tahoma" panose="020B0604030504040204" pitchFamily="34" charset="0"/>
              </a:rPr>
              <a:t>«Bank </a:t>
            </a:r>
            <a:r>
              <a:rPr lang="ru-RU" sz="2400" b="1" dirty="0" err="1" smtClean="0">
                <a:solidFill>
                  <a:schemeClr val="tx1">
                    <a:lumMod val="95000"/>
                    <a:lumOff val="5000"/>
                  </a:schemeClr>
                </a:solidFill>
                <a:latin typeface="Century Gothic" panose="020B0502020202020204" pitchFamily="34" charset="0"/>
                <a:ea typeface="Tahoma" panose="020B0604030504040204" pitchFamily="34" charset="0"/>
                <a:cs typeface="Tahoma" panose="020B0604030504040204" pitchFamily="34" charset="0"/>
              </a:rPr>
              <a:t>Mandiri</a:t>
            </a:r>
            <a:r>
              <a:rPr lang="ru-RU" sz="2400" b="1" dirty="0" smtClean="0">
                <a:solidFill>
                  <a:schemeClr val="tx1">
                    <a:lumMod val="95000"/>
                    <a:lumOff val="5000"/>
                  </a:schemeClr>
                </a:solidFill>
                <a:latin typeface="Century Gothic" panose="020B0502020202020204" pitchFamily="34" charset="0"/>
                <a:ea typeface="Tahoma" panose="020B0604030504040204" pitchFamily="34" charset="0"/>
                <a:cs typeface="Tahoma" panose="020B0604030504040204" pitchFamily="34" charset="0"/>
              </a:rPr>
              <a:t>»</a:t>
            </a:r>
            <a:endParaRPr kumimoji="0" lang="en-US" sz="2400" b="1" i="0" u="none" strike="noStrike" kern="1200" cap="none" spc="0" normalizeH="0" baseline="0" noProof="0" dirty="0">
              <a:ln>
                <a:noFill/>
              </a:ln>
              <a:solidFill>
                <a:schemeClr val="tx1">
                  <a:lumMod val="95000"/>
                  <a:lumOff val="5000"/>
                </a:schemeClr>
              </a:solidFill>
              <a:effectLst/>
              <a:uLnTx/>
              <a:uFillTx/>
              <a:latin typeface="Century Gothic" panose="020B0502020202020204" pitchFamily="34" charset="0"/>
              <a:ea typeface="Tahoma" panose="020B0604030504040204" pitchFamily="34" charset="0"/>
              <a:cs typeface="Tahoma" panose="020B0604030504040204" pitchFamily="34" charset="0"/>
            </a:endParaRPr>
          </a:p>
        </p:txBody>
      </p:sp>
      <p:pic>
        <p:nvPicPr>
          <p:cNvPr id="6" name="Рисунок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44709" y="480091"/>
            <a:ext cx="2321912" cy="827855"/>
          </a:xfrm>
          <a:prstGeom prst="rect">
            <a:avLst/>
          </a:prstGeom>
        </p:spPr>
      </p:pic>
      <p:sp>
        <p:nvSpPr>
          <p:cNvPr id="17" name="TextBox 16"/>
          <p:cNvSpPr txBox="1"/>
          <p:nvPr/>
        </p:nvSpPr>
        <p:spPr>
          <a:xfrm>
            <a:off x="686026" y="1815493"/>
            <a:ext cx="10415699" cy="430887"/>
          </a:xfrm>
          <a:prstGeom prst="rect">
            <a:avLst/>
          </a:prstGeom>
          <a:noFill/>
        </p:spPr>
        <p:txBody>
          <a:bodyPr wrap="square" lIns="0" tIns="0" rIns="0" bIns="0" rtlCol="0" anchor="t">
            <a:spAutoFit/>
          </a:bodyPr>
          <a:lstStyle/>
          <a:p>
            <a:pPr algn="just" defTabSz="1375467"/>
            <a:r>
              <a:rPr lang="ru-RU" sz="1400" b="1" dirty="0" smtClean="0">
                <a:solidFill>
                  <a:schemeClr val="bg1">
                    <a:lumMod val="10000"/>
                  </a:schemeClr>
                </a:solidFill>
                <a:latin typeface="Century Gothic" panose="020B0502020202020204" pitchFamily="34" charset="0"/>
              </a:rPr>
              <a:t>Описание компании. </a:t>
            </a:r>
          </a:p>
          <a:p>
            <a:pPr algn="just" defTabSz="1375467"/>
            <a:r>
              <a:rPr lang="ru-RU" sz="1400" b="1" dirty="0">
                <a:solidFill>
                  <a:schemeClr val="bg1">
                    <a:lumMod val="50000"/>
                  </a:schemeClr>
                </a:solidFill>
                <a:latin typeface="Century Gothic" panose="020B0502020202020204" pitchFamily="34" charset="0"/>
              </a:rPr>
              <a:t>Bank </a:t>
            </a:r>
            <a:r>
              <a:rPr lang="ru-RU" sz="1400" b="1" dirty="0" err="1">
                <a:solidFill>
                  <a:schemeClr val="bg1">
                    <a:lumMod val="50000"/>
                  </a:schemeClr>
                </a:solidFill>
                <a:latin typeface="Century Gothic" panose="020B0502020202020204" pitchFamily="34" charset="0"/>
              </a:rPr>
              <a:t>Mandiri</a:t>
            </a:r>
            <a:r>
              <a:rPr lang="ru-RU" sz="1400" b="1" dirty="0">
                <a:solidFill>
                  <a:schemeClr val="bg1">
                    <a:lumMod val="50000"/>
                  </a:schemeClr>
                </a:solidFill>
                <a:latin typeface="Century Gothic" panose="020B0502020202020204" pitchFamily="34" charset="0"/>
              </a:rPr>
              <a:t> – крупнейший Банк в Индонезии</a:t>
            </a:r>
            <a:r>
              <a:rPr lang="ru-RU" sz="1400" b="1" dirty="0">
                <a:solidFill>
                  <a:schemeClr val="bg1">
                    <a:lumMod val="10000"/>
                  </a:schemeClr>
                </a:solidFill>
                <a:latin typeface="Century Gothic" panose="020B0502020202020204" pitchFamily="34" charset="0"/>
              </a:rPr>
              <a:t>.</a:t>
            </a:r>
            <a:endParaRPr lang="ru-RU" sz="1400" b="1" dirty="0" smtClean="0">
              <a:solidFill>
                <a:schemeClr val="bg1">
                  <a:lumMod val="10000"/>
                </a:schemeClr>
              </a:solidFill>
              <a:latin typeface="Century Gothic" panose="020B0502020202020204" pitchFamily="34" charset="0"/>
            </a:endParaRPr>
          </a:p>
        </p:txBody>
      </p:sp>
      <p:sp>
        <p:nvSpPr>
          <p:cNvPr id="18" name="TextBox 17"/>
          <p:cNvSpPr txBox="1"/>
          <p:nvPr/>
        </p:nvSpPr>
        <p:spPr>
          <a:xfrm>
            <a:off x="686024" y="2725995"/>
            <a:ext cx="10415701" cy="861774"/>
          </a:xfrm>
          <a:prstGeom prst="rect">
            <a:avLst/>
          </a:prstGeom>
          <a:noFill/>
        </p:spPr>
        <p:txBody>
          <a:bodyPr wrap="square" lIns="0" tIns="0" rIns="0" bIns="0" rtlCol="0" anchor="t">
            <a:spAutoFit/>
          </a:bodyPr>
          <a:lstStyle/>
          <a:p>
            <a:pPr algn="just" defTabSz="1375467"/>
            <a:r>
              <a:rPr lang="ru-RU" sz="1400" b="1" dirty="0" smtClean="0">
                <a:solidFill>
                  <a:schemeClr val="bg1">
                    <a:lumMod val="10000"/>
                  </a:schemeClr>
                </a:solidFill>
                <a:latin typeface="Century Gothic" panose="020B0502020202020204" pitchFamily="34" charset="0"/>
              </a:rPr>
              <a:t>Цель проекта. </a:t>
            </a:r>
          </a:p>
          <a:p>
            <a:pPr algn="just" defTabSz="1375467"/>
            <a:r>
              <a:rPr lang="ru-RU" sz="1400" b="1" dirty="0">
                <a:solidFill>
                  <a:schemeClr val="bg1">
                    <a:lumMod val="50000"/>
                  </a:schemeClr>
                </a:solidFill>
                <a:latin typeface="Century Gothic" panose="020B0502020202020204" pitchFamily="34" charset="0"/>
              </a:rPr>
              <a:t>Реализовать конкурентное преимущество за счет внедрения технологического решения, формирующего основанные на данных персонализированные продуктовые предложения клиентам. По итогам внедрения уменьшить общие расходы на IT инфраструктуру.</a:t>
            </a:r>
            <a:endParaRPr lang="ru-RU" sz="1400" b="1" dirty="0" smtClean="0">
              <a:solidFill>
                <a:schemeClr val="bg1">
                  <a:lumMod val="10000"/>
                </a:schemeClr>
              </a:solidFill>
              <a:latin typeface="Century Gothic" panose="020B0502020202020204" pitchFamily="34" charset="0"/>
            </a:endParaRPr>
          </a:p>
        </p:txBody>
      </p:sp>
      <p:sp>
        <p:nvSpPr>
          <p:cNvPr id="19" name="TextBox 18"/>
          <p:cNvSpPr txBox="1"/>
          <p:nvPr/>
        </p:nvSpPr>
        <p:spPr>
          <a:xfrm>
            <a:off x="686024" y="4282829"/>
            <a:ext cx="10415701" cy="1077218"/>
          </a:xfrm>
          <a:prstGeom prst="rect">
            <a:avLst/>
          </a:prstGeom>
          <a:noFill/>
        </p:spPr>
        <p:txBody>
          <a:bodyPr wrap="square" lIns="0" tIns="0" rIns="0" bIns="0" rtlCol="0" anchor="t">
            <a:spAutoFit/>
          </a:bodyPr>
          <a:lstStyle/>
          <a:p>
            <a:pPr algn="just" defTabSz="1375467"/>
            <a:r>
              <a:rPr lang="ru-RU" sz="1400" b="1" dirty="0" smtClean="0">
                <a:solidFill>
                  <a:schemeClr val="bg1">
                    <a:lumMod val="10000"/>
                  </a:schemeClr>
                </a:solidFill>
                <a:latin typeface="Century Gothic" panose="020B0502020202020204" pitchFamily="34" charset="0"/>
              </a:rPr>
              <a:t>Итоги проекта. </a:t>
            </a:r>
          </a:p>
          <a:p>
            <a:pPr algn="just" defTabSz="1375467"/>
            <a:r>
              <a:rPr lang="ru-RU" sz="1400" b="1" dirty="0">
                <a:solidFill>
                  <a:schemeClr val="bg1">
                    <a:lumMod val="50000"/>
                  </a:schemeClr>
                </a:solidFill>
                <a:latin typeface="Century Gothic" panose="020B0502020202020204" pitchFamily="34" charset="0"/>
              </a:rPr>
              <a:t>Как написано в кейсе, после внедрения </a:t>
            </a:r>
            <a:r>
              <a:rPr lang="ru-RU" sz="1400" b="1" dirty="0" err="1">
                <a:solidFill>
                  <a:schemeClr val="bg1">
                    <a:lumMod val="50000"/>
                  </a:schemeClr>
                </a:solidFill>
                <a:latin typeface="Century Gothic" panose="020B0502020202020204" pitchFamily="34" charset="0"/>
              </a:rPr>
              <a:t>data-driven</a:t>
            </a:r>
            <a:r>
              <a:rPr lang="ru-RU" sz="1400" b="1" dirty="0">
                <a:solidFill>
                  <a:schemeClr val="bg1">
                    <a:lumMod val="50000"/>
                  </a:schemeClr>
                </a:solidFill>
                <a:latin typeface="Century Gothic" panose="020B0502020202020204" pitchFamily="34" charset="0"/>
              </a:rPr>
              <a:t> аналитического решения </a:t>
            </a:r>
            <a:r>
              <a:rPr lang="ru-RU" sz="1400" b="1" dirty="0" err="1">
                <a:solidFill>
                  <a:schemeClr val="bg1">
                    <a:lumMod val="50000"/>
                  </a:schemeClr>
                </a:solidFill>
                <a:latin typeface="Century Gothic" panose="020B0502020202020204" pitchFamily="34" charset="0"/>
              </a:rPr>
              <a:t>Cloudera</a:t>
            </a:r>
            <a:r>
              <a:rPr lang="ru-RU" sz="1400" b="1" dirty="0">
                <a:solidFill>
                  <a:schemeClr val="bg1">
                    <a:lumMod val="50000"/>
                  </a:schemeClr>
                </a:solidFill>
                <a:latin typeface="Century Gothic" panose="020B0502020202020204" pitchFamily="34" charset="0"/>
              </a:rPr>
              <a:t> расходы на IT инфраструктуру были снижены на 99%!.. Клиенты получают адресные продуктовые предложения, что позволяет повысить результаты </a:t>
            </a:r>
            <a:r>
              <a:rPr lang="ru-RU" sz="1400" b="1" dirty="0" err="1">
                <a:solidFill>
                  <a:schemeClr val="bg1">
                    <a:lumMod val="50000"/>
                  </a:schemeClr>
                </a:solidFill>
                <a:latin typeface="Century Gothic" panose="020B0502020202020204" pitchFamily="34" charset="0"/>
              </a:rPr>
              <a:t>cross</a:t>
            </a:r>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sell</a:t>
            </a:r>
            <a:r>
              <a:rPr lang="ru-RU" sz="1400" b="1" dirty="0">
                <a:solidFill>
                  <a:schemeClr val="bg1">
                    <a:lumMod val="50000"/>
                  </a:schemeClr>
                </a:solidFill>
                <a:latin typeface="Century Gothic" panose="020B0502020202020204" pitchFamily="34" charset="0"/>
              </a:rPr>
              <a:t> и </a:t>
            </a:r>
            <a:r>
              <a:rPr lang="ru-RU" sz="1400" b="1" dirty="0" err="1">
                <a:solidFill>
                  <a:schemeClr val="bg1">
                    <a:lumMod val="50000"/>
                  </a:schemeClr>
                </a:solidFill>
                <a:latin typeface="Century Gothic" panose="020B0502020202020204" pitchFamily="34" charset="0"/>
              </a:rPr>
              <a:t>upsell</a:t>
            </a:r>
            <a:r>
              <a:rPr lang="ru-RU" sz="1400" b="1" dirty="0">
                <a:solidFill>
                  <a:schemeClr val="bg1">
                    <a:lumMod val="50000"/>
                  </a:schemeClr>
                </a:solidFill>
                <a:latin typeface="Century Gothic" panose="020B0502020202020204" pitchFamily="34" charset="0"/>
              </a:rPr>
              <a:t> кампаний продаж. Расходы на кампании значительно уменьшены, за счет более адресного моделирования. Масштаб больших данных решения – 13тБ.</a:t>
            </a:r>
            <a:endParaRPr lang="ru-RU" sz="1400" b="1" dirty="0" smtClean="0">
              <a:solidFill>
                <a:schemeClr val="bg1">
                  <a:lumMod val="10000"/>
                </a:schemeClr>
              </a:solidFill>
              <a:latin typeface="Century Gothic" panose="020B0502020202020204" pitchFamily="34" charset="0"/>
            </a:endParaRPr>
          </a:p>
        </p:txBody>
      </p:sp>
    </p:spTree>
    <p:extLst>
      <p:ext uri="{BB962C8B-B14F-4D97-AF65-F5344CB8AC3E}">
        <p14:creationId xmlns:p14="http://schemas.microsoft.com/office/powerpoint/2010/main" val="314506243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4" name="Объект 2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4" name="Слайд think-cell" r:id="rId5" imgW="425" imgH="426" progId="TCLayout.ActiveDocument.1">
                  <p:embed/>
                </p:oleObj>
              </mc:Choice>
              <mc:Fallback>
                <p:oleObj name="Слайд think-cell" r:id="rId5" imgW="425" imgH="426" progId="TCLayout.ActiveDocument.1">
                  <p:embed/>
                  <p:pic>
                    <p:nvPicPr>
                      <p:cNvPr id="24" name="Объект 2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Прямоугольник 15" hidden="1"/>
          <p:cNvSpPr/>
          <p:nvPr>
            <p:custDataLst>
              <p:tags r:id="rId3"/>
            </p:custDataLst>
          </p:nvPr>
        </p:nvSpPr>
        <p:spPr>
          <a:xfrm>
            <a:off x="0" y="0"/>
            <a:ext cx="158750" cy="158750"/>
          </a:xfrm>
          <a:prstGeom prst="rect">
            <a:avLst/>
          </a:prstGeom>
          <a:gradFill>
            <a:gsLst>
              <a:gs pos="0">
                <a:schemeClr val="accent1">
                  <a:alpha val="50000"/>
                </a:schemeClr>
              </a:gs>
              <a:gs pos="100000">
                <a:schemeClr val="accent4">
                  <a:lumMod val="100000"/>
                  <a:alpha val="81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ru-RU" sz="1400" dirty="0">
              <a:sym typeface="+mn-lt"/>
            </a:endParaRPr>
          </a:p>
        </p:txBody>
      </p:sp>
      <p:sp>
        <p:nvSpPr>
          <p:cNvPr id="2" name="TextBox 1">
            <a:extLst>
              <a:ext uri="{FF2B5EF4-FFF2-40B4-BE49-F238E27FC236}">
                <a16:creationId xmlns:a16="http://schemas.microsoft.com/office/drawing/2014/main" id="{DBD428FF-BA9C-4CEB-97BF-A5BFFD1D3087}"/>
              </a:ext>
            </a:extLst>
          </p:cNvPr>
          <p:cNvSpPr txBox="1"/>
          <p:nvPr/>
        </p:nvSpPr>
        <p:spPr>
          <a:xfrm>
            <a:off x="4452882" y="846281"/>
            <a:ext cx="3394881" cy="461665"/>
          </a:xfrm>
          <a:prstGeom prst="rect">
            <a:avLst/>
          </a:prstGeom>
          <a:noFill/>
        </p:spPr>
        <p:txBody>
          <a:bodyPr wrap="square" rtlCol="0">
            <a:spAutoFit/>
          </a:bodyPr>
          <a:lstStyle/>
          <a:p>
            <a:pPr lvl="0">
              <a:defRPr/>
            </a:pPr>
            <a:r>
              <a:rPr lang="ru-RU" sz="2400" b="1" dirty="0">
                <a:solidFill>
                  <a:srgbClr val="0588DB"/>
                </a:solidFill>
                <a:latin typeface="Century Gothic" panose="020B0502020202020204" pitchFamily="34" charset="0"/>
                <a:ea typeface="Tahoma" panose="020B0604030504040204" pitchFamily="34" charset="0"/>
                <a:cs typeface="Tahoma" panose="020B0604030504040204" pitchFamily="34" charset="0"/>
              </a:rPr>
              <a:t>Кейс </a:t>
            </a:r>
            <a:r>
              <a:rPr lang="ru-RU" sz="2400" b="1" dirty="0" smtClean="0">
                <a:solidFill>
                  <a:schemeClr val="tx1">
                    <a:lumMod val="95000"/>
                    <a:lumOff val="5000"/>
                  </a:schemeClr>
                </a:solidFill>
                <a:latin typeface="Century Gothic" panose="020B0502020202020204" pitchFamily="34" charset="0"/>
                <a:ea typeface="Tahoma" panose="020B0604030504040204" pitchFamily="34" charset="0"/>
                <a:cs typeface="Tahoma" panose="020B0604030504040204" pitchFamily="34" charset="0"/>
              </a:rPr>
              <a:t>«</a:t>
            </a:r>
            <a:r>
              <a:rPr lang="en-US" sz="2400" b="1" dirty="0" smtClean="0">
                <a:solidFill>
                  <a:schemeClr val="tx1">
                    <a:lumMod val="95000"/>
                    <a:lumOff val="5000"/>
                  </a:schemeClr>
                </a:solidFill>
                <a:latin typeface="Century Gothic" panose="020B0502020202020204" pitchFamily="34" charset="0"/>
                <a:ea typeface="Tahoma" panose="020B0604030504040204" pitchFamily="34" charset="0"/>
                <a:cs typeface="Tahoma" panose="020B0604030504040204" pitchFamily="34" charset="0"/>
              </a:rPr>
              <a:t>MasterCard</a:t>
            </a:r>
            <a:r>
              <a:rPr lang="ru-RU" sz="2400" b="1" dirty="0" smtClean="0">
                <a:solidFill>
                  <a:schemeClr val="tx1">
                    <a:lumMod val="95000"/>
                    <a:lumOff val="5000"/>
                  </a:schemeClr>
                </a:solidFill>
                <a:latin typeface="Century Gothic" panose="020B0502020202020204" pitchFamily="34" charset="0"/>
                <a:ea typeface="Tahoma" panose="020B0604030504040204" pitchFamily="34" charset="0"/>
                <a:cs typeface="Tahoma" panose="020B0604030504040204" pitchFamily="34" charset="0"/>
              </a:rPr>
              <a:t>»</a:t>
            </a:r>
            <a:endParaRPr kumimoji="0" lang="en-US" sz="2400" b="1" i="0" u="none" strike="noStrike" kern="1200" cap="none" spc="0" normalizeH="0" baseline="0" noProof="0" dirty="0">
              <a:ln>
                <a:noFill/>
              </a:ln>
              <a:solidFill>
                <a:schemeClr val="tx1">
                  <a:lumMod val="95000"/>
                  <a:lumOff val="5000"/>
                </a:schemeClr>
              </a:solidFill>
              <a:effectLst/>
              <a:uLnTx/>
              <a:uFillTx/>
              <a:latin typeface="Century Gothic" panose="020B0502020202020204" pitchFamily="34" charset="0"/>
              <a:ea typeface="Tahoma" panose="020B0604030504040204" pitchFamily="34" charset="0"/>
              <a:cs typeface="Tahoma" panose="020B0604030504040204" pitchFamily="34" charset="0"/>
            </a:endParaRPr>
          </a:p>
        </p:txBody>
      </p:sp>
      <p:sp>
        <p:nvSpPr>
          <p:cNvPr id="17" name="TextBox 16"/>
          <p:cNvSpPr txBox="1"/>
          <p:nvPr/>
        </p:nvSpPr>
        <p:spPr>
          <a:xfrm>
            <a:off x="686025" y="1604478"/>
            <a:ext cx="10879627" cy="861774"/>
          </a:xfrm>
          <a:prstGeom prst="rect">
            <a:avLst/>
          </a:prstGeom>
          <a:noFill/>
        </p:spPr>
        <p:txBody>
          <a:bodyPr wrap="square" lIns="0" tIns="0" rIns="0" bIns="0" rtlCol="0" anchor="t">
            <a:spAutoFit/>
          </a:bodyPr>
          <a:lstStyle/>
          <a:p>
            <a:pPr algn="just" defTabSz="1375467"/>
            <a:r>
              <a:rPr lang="ru-RU" sz="1400" b="1" dirty="0" smtClean="0">
                <a:solidFill>
                  <a:schemeClr val="bg1">
                    <a:lumMod val="10000"/>
                  </a:schemeClr>
                </a:solidFill>
                <a:latin typeface="Century Gothic" panose="020B0502020202020204" pitchFamily="34" charset="0"/>
              </a:rPr>
              <a:t>Описание компании. </a:t>
            </a:r>
          </a:p>
          <a:p>
            <a:pPr algn="just" defTabSz="1375467"/>
            <a:r>
              <a:rPr lang="ru-RU" sz="1400" b="1" dirty="0">
                <a:solidFill>
                  <a:schemeClr val="bg1">
                    <a:lumMod val="50000"/>
                  </a:schemeClr>
                </a:solidFill>
                <a:latin typeface="Century Gothic" panose="020B0502020202020204" pitchFamily="34" charset="0"/>
              </a:rPr>
              <a:t>MasterCard зарабатывает не только как платёжная система, объединяющая 22 тысячи финансовых учреждений в 210 странах мира, но и как поставщик данных для оценки финансовыми организациями (участниками платежной системы) кредитных рисков контрагентов (</a:t>
            </a:r>
            <a:r>
              <a:rPr lang="ru-RU" sz="1400" b="1" dirty="0" err="1">
                <a:solidFill>
                  <a:schemeClr val="bg1">
                    <a:lumMod val="50000"/>
                  </a:schemeClr>
                </a:solidFill>
                <a:latin typeface="Century Gothic" panose="020B0502020202020204" pitchFamily="34" charset="0"/>
              </a:rPr>
              <a:t>мерчантов</a:t>
            </a:r>
            <a:r>
              <a:rPr lang="ru-RU" sz="1400" b="1" dirty="0">
                <a:solidFill>
                  <a:schemeClr val="bg1">
                    <a:lumMod val="50000"/>
                  </a:schemeClr>
                </a:solidFill>
                <a:latin typeface="Century Gothic" panose="020B0502020202020204" pitchFamily="34" charset="0"/>
              </a:rPr>
              <a:t>) при рассмотрении их заявок на услуги </a:t>
            </a:r>
            <a:r>
              <a:rPr lang="ru-RU" sz="1400" b="1" dirty="0" err="1">
                <a:solidFill>
                  <a:schemeClr val="bg1">
                    <a:lumMod val="50000"/>
                  </a:schemeClr>
                </a:solidFill>
                <a:latin typeface="Century Gothic" panose="020B0502020202020204" pitchFamily="34" charset="0"/>
              </a:rPr>
              <a:t>эквайринга</a:t>
            </a:r>
            <a:r>
              <a:rPr lang="ru-RU" sz="1400" b="1" dirty="0">
                <a:solidFill>
                  <a:schemeClr val="bg1">
                    <a:lumMod val="50000"/>
                  </a:schemeClr>
                </a:solidFill>
                <a:latin typeface="Century Gothic" panose="020B0502020202020204" pitchFamily="34" charset="0"/>
              </a:rPr>
              <a:t>.</a:t>
            </a:r>
            <a:r>
              <a:rPr lang="ru-RU" sz="1400" b="1" dirty="0" smtClean="0">
                <a:solidFill>
                  <a:schemeClr val="bg1">
                    <a:lumMod val="10000"/>
                  </a:schemeClr>
                </a:solidFill>
                <a:latin typeface="Century Gothic" panose="020B0502020202020204" pitchFamily="34" charset="0"/>
              </a:rPr>
              <a:t>.</a:t>
            </a:r>
          </a:p>
        </p:txBody>
      </p:sp>
      <p:sp>
        <p:nvSpPr>
          <p:cNvPr id="18" name="TextBox 17"/>
          <p:cNvSpPr txBox="1"/>
          <p:nvPr/>
        </p:nvSpPr>
        <p:spPr>
          <a:xfrm>
            <a:off x="686025" y="2866322"/>
            <a:ext cx="10879627" cy="2369880"/>
          </a:xfrm>
          <a:prstGeom prst="rect">
            <a:avLst/>
          </a:prstGeom>
          <a:noFill/>
        </p:spPr>
        <p:txBody>
          <a:bodyPr wrap="square" lIns="0" tIns="0" rIns="0" bIns="0" rtlCol="0" anchor="t">
            <a:spAutoFit/>
          </a:bodyPr>
          <a:lstStyle/>
          <a:p>
            <a:pPr algn="just" defTabSz="1375467"/>
            <a:r>
              <a:rPr lang="ru-RU" sz="1400" b="1" dirty="0" smtClean="0">
                <a:solidFill>
                  <a:schemeClr val="bg1">
                    <a:lumMod val="10000"/>
                  </a:schemeClr>
                </a:solidFill>
                <a:latin typeface="Century Gothic" panose="020B0502020202020204" pitchFamily="34" charset="0"/>
              </a:rPr>
              <a:t>Цель проекта. </a:t>
            </a:r>
          </a:p>
          <a:p>
            <a:pPr algn="just" defTabSz="1375467"/>
            <a:r>
              <a:rPr lang="ru-RU" sz="1400" b="1" dirty="0">
                <a:solidFill>
                  <a:schemeClr val="bg1">
                    <a:lumMod val="50000"/>
                  </a:schemeClr>
                </a:solidFill>
                <a:latin typeface="Century Gothic" panose="020B0502020202020204" pitchFamily="34" charset="0"/>
              </a:rPr>
              <a:t>Помочь своим клиентам, финансовым организациям выявлять контрагентов, ранее бывших неплатежеспособными и пытающихся вернуться в платежную систему через изменение своей </a:t>
            </a:r>
            <a:r>
              <a:rPr lang="ru-RU" sz="1400" b="1" dirty="0" err="1">
                <a:solidFill>
                  <a:schemeClr val="bg1">
                    <a:lumMod val="50000"/>
                  </a:schemeClr>
                </a:solidFill>
                <a:latin typeface="Century Gothic" panose="020B0502020202020204" pitchFamily="34" charset="0"/>
              </a:rPr>
              <a:t>identity</a:t>
            </a:r>
            <a:r>
              <a:rPr lang="ru-RU" sz="1400" b="1" dirty="0">
                <a:solidFill>
                  <a:schemeClr val="bg1">
                    <a:lumMod val="50000"/>
                  </a:schemeClr>
                </a:solidFill>
                <a:latin typeface="Century Gothic" panose="020B0502020202020204" pitchFamily="34" charset="0"/>
              </a:rPr>
              <a:t> (название, адрес или иные характеристики). У MasterCard создана для этих целей база данных MATCH (MasterCard </a:t>
            </a:r>
            <a:r>
              <a:rPr lang="ru-RU" sz="1400" b="1" dirty="0" err="1">
                <a:solidFill>
                  <a:schemeClr val="bg1">
                    <a:lumMod val="50000"/>
                  </a:schemeClr>
                </a:solidFill>
                <a:latin typeface="Century Gothic" panose="020B0502020202020204" pitchFamily="34" charset="0"/>
              </a:rPr>
              <a:t>Alert</a:t>
            </a:r>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to</a:t>
            </a:r>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Control</a:t>
            </a:r>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High-risk</a:t>
            </a:r>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Merchants</a:t>
            </a:r>
            <a:r>
              <a:rPr lang="ru-RU" sz="1400" b="1" dirty="0">
                <a:solidFill>
                  <a:schemeClr val="bg1">
                    <a:lumMod val="50000"/>
                  </a:schemeClr>
                </a:solidFill>
                <a:latin typeface="Century Gothic" panose="020B0502020202020204" pitchFamily="34" charset="0"/>
              </a:rPr>
              <a:t>). В этой БД хранится история о «сотнях миллионов» неблагонадежных организаций (</a:t>
            </a:r>
            <a:r>
              <a:rPr lang="ru-RU" sz="1400" b="1" dirty="0" err="1">
                <a:solidFill>
                  <a:schemeClr val="bg1">
                    <a:lumMod val="50000"/>
                  </a:schemeClr>
                </a:solidFill>
                <a:latin typeface="Century Gothic" panose="020B0502020202020204" pitchFamily="34" charset="0"/>
              </a:rPr>
              <a:t>fraudulent</a:t>
            </a:r>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businesses</a:t>
            </a:r>
            <a:r>
              <a:rPr lang="ru-RU" sz="1400" b="1" dirty="0">
                <a:solidFill>
                  <a:schemeClr val="bg1">
                    <a:lumMod val="50000"/>
                  </a:schemeClr>
                </a:solidFill>
                <a:latin typeface="Century Gothic" panose="020B0502020202020204" pitchFamily="34" charset="0"/>
              </a:rPr>
              <a:t>) Участники платежной системы MasterCard (компании — </a:t>
            </a:r>
            <a:r>
              <a:rPr lang="ru-RU" sz="1400" b="1" dirty="0" err="1">
                <a:solidFill>
                  <a:schemeClr val="bg1">
                    <a:lumMod val="50000"/>
                  </a:schemeClr>
                </a:solidFill>
                <a:latin typeface="Century Gothic" panose="020B0502020202020204" pitchFamily="34" charset="0"/>
              </a:rPr>
              <a:t>эквайеры</a:t>
            </a:r>
            <a:r>
              <a:rPr lang="ru-RU" sz="1400" b="1" dirty="0">
                <a:solidFill>
                  <a:schemeClr val="bg1">
                    <a:lumMod val="50000"/>
                  </a:schemeClr>
                </a:solidFill>
                <a:latin typeface="Century Gothic" panose="020B0502020202020204" pitchFamily="34" charset="0"/>
              </a:rPr>
              <a:t>) ежемесячно делают до миллиона запросов к БД MATCH</a:t>
            </a:r>
            <a:r>
              <a:rPr lang="ru-RU" sz="1400" b="1" dirty="0" smtClean="0">
                <a:solidFill>
                  <a:schemeClr val="bg1">
                    <a:lumMod val="50000"/>
                  </a:schemeClr>
                </a:solidFill>
                <a:latin typeface="Century Gothic" panose="020B0502020202020204" pitchFamily="34" charset="0"/>
              </a:rPr>
              <a:t>.</a:t>
            </a:r>
            <a:endParaRPr lang="ru-RU" sz="1400" b="1" dirty="0">
              <a:solidFill>
                <a:schemeClr val="bg1">
                  <a:lumMod val="50000"/>
                </a:schemeClr>
              </a:solidFill>
              <a:latin typeface="Century Gothic" panose="020B0502020202020204" pitchFamily="34" charset="0"/>
            </a:endParaRPr>
          </a:p>
          <a:p>
            <a:pPr algn="just" defTabSz="1375467"/>
            <a:r>
              <a:rPr lang="ru-RU" sz="1400" b="1" dirty="0">
                <a:solidFill>
                  <a:schemeClr val="bg1">
                    <a:lumMod val="50000"/>
                  </a:schemeClr>
                </a:solidFill>
                <a:latin typeface="Century Gothic" panose="020B0502020202020204" pitchFamily="34" charset="0"/>
              </a:rPr>
              <a:t>Конкурентное преимущество данного продукта определяется требованиями к небольшому времени ожидания результатов запроса и качеством обнаружения предмета запроса. С ростом объемов и сложности исторических данных, существующая реляционная СУБД перестала удовлетворять этим требованиям на фоне увеличения количества и качества клиентских запросов</a:t>
            </a:r>
            <a:r>
              <a:rPr lang="ru-RU" sz="1400" b="1" dirty="0" smtClean="0">
                <a:solidFill>
                  <a:schemeClr val="bg1">
                    <a:lumMod val="50000"/>
                  </a:schemeClr>
                </a:solidFill>
                <a:latin typeface="Century Gothic" panose="020B0502020202020204" pitchFamily="34" charset="0"/>
              </a:rPr>
              <a:t>.</a:t>
            </a:r>
            <a:endParaRPr lang="ru-RU" sz="1400" b="1" dirty="0">
              <a:solidFill>
                <a:schemeClr val="bg1">
                  <a:lumMod val="50000"/>
                </a:schemeClr>
              </a:solidFill>
              <a:latin typeface="Century Gothic" panose="020B0502020202020204" pitchFamily="34" charset="0"/>
            </a:endParaRPr>
          </a:p>
        </p:txBody>
      </p:sp>
      <p:sp>
        <p:nvSpPr>
          <p:cNvPr id="19" name="TextBox 18"/>
          <p:cNvSpPr txBox="1"/>
          <p:nvPr/>
        </p:nvSpPr>
        <p:spPr>
          <a:xfrm>
            <a:off x="686024" y="5420828"/>
            <a:ext cx="10879627" cy="646331"/>
          </a:xfrm>
          <a:prstGeom prst="rect">
            <a:avLst/>
          </a:prstGeom>
          <a:noFill/>
        </p:spPr>
        <p:txBody>
          <a:bodyPr wrap="square" lIns="0" tIns="0" rIns="0" bIns="0" rtlCol="0" anchor="t">
            <a:spAutoFit/>
          </a:bodyPr>
          <a:lstStyle/>
          <a:p>
            <a:pPr algn="just" defTabSz="1375467"/>
            <a:r>
              <a:rPr lang="ru-RU" sz="1400" b="1" dirty="0" smtClean="0">
                <a:solidFill>
                  <a:schemeClr val="bg1">
                    <a:lumMod val="10000"/>
                  </a:schemeClr>
                </a:solidFill>
                <a:latin typeface="Century Gothic" panose="020B0502020202020204" pitchFamily="34" charset="0"/>
              </a:rPr>
              <a:t>Итоги проекта. </a:t>
            </a:r>
          </a:p>
          <a:p>
            <a:pPr algn="just" defTabSz="1375467"/>
            <a:r>
              <a:rPr lang="ru-RU" sz="1400" b="1" dirty="0">
                <a:solidFill>
                  <a:schemeClr val="bg1">
                    <a:lumMod val="50000"/>
                  </a:schemeClr>
                </a:solidFill>
                <a:latin typeface="Century Gothic" panose="020B0502020202020204" pitchFamily="34" charset="0"/>
              </a:rPr>
              <a:t>Была внедрена платформа распределенного хранения и обработки данных (CDH), обеспечивающая динамическое масштабирование и управление загрузкой и сложностью алгоритмов поиска.</a:t>
            </a:r>
            <a:endParaRPr lang="ru-RU" sz="1400" b="1" dirty="0" smtClean="0">
              <a:solidFill>
                <a:schemeClr val="bg1">
                  <a:lumMod val="10000"/>
                </a:schemeClr>
              </a:solidFill>
              <a:latin typeface="Century Gothic" panose="020B0502020202020204" pitchFamily="34" charset="0"/>
            </a:endParaRPr>
          </a:p>
        </p:txBody>
      </p:sp>
      <p:pic>
        <p:nvPicPr>
          <p:cNvPr id="3" name="Рисунок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034601" y="17060"/>
            <a:ext cx="1531051" cy="1290886"/>
          </a:xfrm>
          <a:prstGeom prst="rect">
            <a:avLst/>
          </a:prstGeom>
        </p:spPr>
      </p:pic>
    </p:spTree>
    <p:extLst>
      <p:ext uri="{BB962C8B-B14F-4D97-AF65-F5344CB8AC3E}">
        <p14:creationId xmlns:p14="http://schemas.microsoft.com/office/powerpoint/2010/main" val="197498358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4" name="Объект 2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7" name="Слайд think-cell" r:id="rId5" imgW="425" imgH="426" progId="TCLayout.ActiveDocument.1">
                  <p:embed/>
                </p:oleObj>
              </mc:Choice>
              <mc:Fallback>
                <p:oleObj name="Слайд think-cell" r:id="rId5" imgW="425" imgH="426" progId="TCLayout.ActiveDocument.1">
                  <p:embed/>
                  <p:pic>
                    <p:nvPicPr>
                      <p:cNvPr id="24" name="Объект 2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Прямоугольник 15" hidden="1"/>
          <p:cNvSpPr/>
          <p:nvPr>
            <p:custDataLst>
              <p:tags r:id="rId3"/>
            </p:custDataLst>
          </p:nvPr>
        </p:nvSpPr>
        <p:spPr>
          <a:xfrm>
            <a:off x="0" y="0"/>
            <a:ext cx="158750" cy="158750"/>
          </a:xfrm>
          <a:prstGeom prst="rect">
            <a:avLst/>
          </a:prstGeom>
          <a:gradFill>
            <a:gsLst>
              <a:gs pos="0">
                <a:schemeClr val="accent1">
                  <a:alpha val="50000"/>
                </a:schemeClr>
              </a:gs>
              <a:gs pos="100000">
                <a:schemeClr val="accent4">
                  <a:lumMod val="100000"/>
                  <a:alpha val="81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ru-RU" sz="1400" dirty="0">
              <a:sym typeface="+mn-lt"/>
            </a:endParaRPr>
          </a:p>
        </p:txBody>
      </p:sp>
      <p:sp>
        <p:nvSpPr>
          <p:cNvPr id="2" name="TextBox 1">
            <a:extLst>
              <a:ext uri="{FF2B5EF4-FFF2-40B4-BE49-F238E27FC236}">
                <a16:creationId xmlns:a16="http://schemas.microsoft.com/office/drawing/2014/main" id="{DBD428FF-BA9C-4CEB-97BF-A5BFFD1D3087}"/>
              </a:ext>
            </a:extLst>
          </p:cNvPr>
          <p:cNvSpPr txBox="1"/>
          <p:nvPr/>
        </p:nvSpPr>
        <p:spPr>
          <a:xfrm>
            <a:off x="4452882" y="846281"/>
            <a:ext cx="3394881" cy="461665"/>
          </a:xfrm>
          <a:prstGeom prst="rect">
            <a:avLst/>
          </a:prstGeom>
          <a:noFill/>
        </p:spPr>
        <p:txBody>
          <a:bodyPr wrap="square" rtlCol="0">
            <a:spAutoFit/>
          </a:bodyPr>
          <a:lstStyle/>
          <a:p>
            <a:pPr lvl="0">
              <a:defRPr/>
            </a:pPr>
            <a:r>
              <a:rPr lang="ru-RU" sz="2400" b="1" dirty="0">
                <a:solidFill>
                  <a:srgbClr val="0588DB"/>
                </a:solidFill>
                <a:latin typeface="Century Gothic" panose="020B0502020202020204" pitchFamily="34" charset="0"/>
                <a:ea typeface="Tahoma" panose="020B0604030504040204" pitchFamily="34" charset="0"/>
                <a:cs typeface="Tahoma" panose="020B0604030504040204" pitchFamily="34" charset="0"/>
              </a:rPr>
              <a:t>Кейс </a:t>
            </a:r>
            <a:r>
              <a:rPr lang="ru-RU" sz="2400" b="1" dirty="0" smtClean="0">
                <a:solidFill>
                  <a:schemeClr val="tx1">
                    <a:lumMod val="95000"/>
                    <a:lumOff val="5000"/>
                  </a:schemeClr>
                </a:solidFill>
                <a:latin typeface="Century Gothic" panose="020B0502020202020204" pitchFamily="34" charset="0"/>
                <a:ea typeface="Tahoma" panose="020B0604030504040204" pitchFamily="34" charset="0"/>
                <a:cs typeface="Tahoma" panose="020B0604030504040204" pitchFamily="34" charset="0"/>
              </a:rPr>
              <a:t>«</a:t>
            </a:r>
            <a:r>
              <a:rPr lang="en-US" sz="2400" b="1" dirty="0">
                <a:solidFill>
                  <a:schemeClr val="tx1">
                    <a:lumMod val="95000"/>
                    <a:lumOff val="5000"/>
                  </a:schemeClr>
                </a:solidFill>
                <a:latin typeface="Century Gothic" panose="020B0502020202020204" pitchFamily="34" charset="0"/>
                <a:ea typeface="Tahoma" panose="020B0604030504040204" pitchFamily="34" charset="0"/>
                <a:cs typeface="Tahoma" panose="020B0604030504040204" pitchFamily="34" charset="0"/>
              </a:rPr>
              <a:t>Experian</a:t>
            </a:r>
            <a:r>
              <a:rPr lang="ru-RU" sz="2400" b="1" dirty="0" smtClean="0">
                <a:solidFill>
                  <a:schemeClr val="tx1">
                    <a:lumMod val="95000"/>
                    <a:lumOff val="5000"/>
                  </a:schemeClr>
                </a:solidFill>
                <a:latin typeface="Century Gothic" panose="020B0502020202020204" pitchFamily="34" charset="0"/>
                <a:ea typeface="Tahoma" panose="020B0604030504040204" pitchFamily="34" charset="0"/>
                <a:cs typeface="Tahoma" panose="020B0604030504040204" pitchFamily="34" charset="0"/>
              </a:rPr>
              <a:t>»</a:t>
            </a:r>
            <a:endParaRPr kumimoji="0" lang="en-US" sz="2400" b="1" i="0" u="none" strike="noStrike" kern="1200" cap="none" spc="0" normalizeH="0" baseline="0" noProof="0" dirty="0">
              <a:ln>
                <a:noFill/>
              </a:ln>
              <a:solidFill>
                <a:schemeClr val="tx1">
                  <a:lumMod val="95000"/>
                  <a:lumOff val="5000"/>
                </a:schemeClr>
              </a:solidFill>
              <a:effectLst/>
              <a:uLnTx/>
              <a:uFillTx/>
              <a:latin typeface="Century Gothic" panose="020B0502020202020204" pitchFamily="34" charset="0"/>
              <a:ea typeface="Tahoma" panose="020B0604030504040204" pitchFamily="34" charset="0"/>
              <a:cs typeface="Tahoma" panose="020B0604030504040204" pitchFamily="34" charset="0"/>
            </a:endParaRPr>
          </a:p>
        </p:txBody>
      </p:sp>
      <p:sp>
        <p:nvSpPr>
          <p:cNvPr id="17" name="TextBox 16"/>
          <p:cNvSpPr txBox="1"/>
          <p:nvPr/>
        </p:nvSpPr>
        <p:spPr>
          <a:xfrm>
            <a:off x="686025" y="1604478"/>
            <a:ext cx="10879626" cy="861774"/>
          </a:xfrm>
          <a:prstGeom prst="rect">
            <a:avLst/>
          </a:prstGeom>
          <a:noFill/>
        </p:spPr>
        <p:txBody>
          <a:bodyPr wrap="square" lIns="0" tIns="0" rIns="0" bIns="0" rtlCol="0" anchor="t">
            <a:spAutoFit/>
          </a:bodyPr>
          <a:lstStyle/>
          <a:p>
            <a:pPr algn="just" defTabSz="1375467"/>
            <a:r>
              <a:rPr lang="ru-RU" sz="1400" b="1" dirty="0" smtClean="0">
                <a:solidFill>
                  <a:schemeClr val="bg1">
                    <a:lumMod val="10000"/>
                  </a:schemeClr>
                </a:solidFill>
                <a:latin typeface="Century Gothic" panose="020B0502020202020204" pitchFamily="34" charset="0"/>
              </a:rPr>
              <a:t>Описание компании. </a:t>
            </a:r>
          </a:p>
          <a:p>
            <a:pPr algn="just" defTabSz="1375467"/>
            <a:r>
              <a:rPr lang="ru-RU" sz="1400" b="1" dirty="0">
                <a:solidFill>
                  <a:schemeClr val="bg1">
                    <a:lumMod val="50000"/>
                  </a:schemeClr>
                </a:solidFill>
                <a:latin typeface="Century Gothic" panose="020B0502020202020204" pitchFamily="34" charset="0"/>
              </a:rPr>
              <a:t>Experian – одна из трех крупнейших мировых компаний (т.н. «Большой тройки») кредитных бюро. Хранит и обрабатывает информацию о кредитной истории на ~1 миллиард заемщиков (физических и юридических лиц). Только в США кредитные досье на 235 млн. физических и 25 млн. юридических лиц.</a:t>
            </a:r>
            <a:endParaRPr lang="ru-RU" sz="1400" b="1" dirty="0" smtClean="0">
              <a:solidFill>
                <a:schemeClr val="bg1">
                  <a:lumMod val="10000"/>
                </a:schemeClr>
              </a:solidFill>
              <a:latin typeface="Century Gothic" panose="020B0502020202020204" pitchFamily="34" charset="0"/>
            </a:endParaRPr>
          </a:p>
        </p:txBody>
      </p:sp>
      <p:sp>
        <p:nvSpPr>
          <p:cNvPr id="18" name="TextBox 17"/>
          <p:cNvSpPr txBox="1"/>
          <p:nvPr/>
        </p:nvSpPr>
        <p:spPr>
          <a:xfrm>
            <a:off x="686025" y="2866322"/>
            <a:ext cx="10879627" cy="1508105"/>
          </a:xfrm>
          <a:prstGeom prst="rect">
            <a:avLst/>
          </a:prstGeom>
          <a:noFill/>
        </p:spPr>
        <p:txBody>
          <a:bodyPr wrap="square" lIns="0" tIns="0" rIns="0" bIns="0" rtlCol="0" anchor="t">
            <a:spAutoFit/>
          </a:bodyPr>
          <a:lstStyle/>
          <a:p>
            <a:pPr algn="just" defTabSz="1375467"/>
            <a:r>
              <a:rPr lang="ru-RU" sz="1400" b="1" dirty="0" smtClean="0">
                <a:solidFill>
                  <a:schemeClr val="bg1">
                    <a:lumMod val="10000"/>
                  </a:schemeClr>
                </a:solidFill>
                <a:latin typeface="Century Gothic" panose="020B0502020202020204" pitchFamily="34" charset="0"/>
              </a:rPr>
              <a:t>Цель проекта. </a:t>
            </a:r>
          </a:p>
          <a:p>
            <a:pPr algn="just" defTabSz="1375467"/>
            <a:r>
              <a:rPr lang="ru-RU" sz="1400" b="1" dirty="0">
                <a:solidFill>
                  <a:schemeClr val="bg1">
                    <a:lumMod val="50000"/>
                  </a:schemeClr>
                </a:solidFill>
                <a:latin typeface="Century Gothic" panose="020B0502020202020204" pitchFamily="34" charset="0"/>
              </a:rPr>
              <a:t>EMS помогает маркетологам получить уникальный доступ к своей целевой аудитории моделируя ее с использованием накопленных географических, демографических и социальных данных. Правильно применить при моделировании маркетинговых кампаний накопленные (большие) данные о заемщиках, включая такие </a:t>
            </a:r>
            <a:r>
              <a:rPr lang="ru-RU" sz="1400" b="1" dirty="0" err="1">
                <a:solidFill>
                  <a:schemeClr val="bg1">
                    <a:lumMod val="50000"/>
                  </a:schemeClr>
                </a:solidFill>
                <a:latin typeface="Century Gothic" panose="020B0502020202020204" pitchFamily="34" charset="0"/>
              </a:rPr>
              <a:t>real</a:t>
            </a:r>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time</a:t>
            </a:r>
            <a:r>
              <a:rPr lang="ru-RU" sz="1400" b="1" dirty="0">
                <a:solidFill>
                  <a:schemeClr val="bg1">
                    <a:lumMod val="50000"/>
                  </a:schemeClr>
                </a:solidFill>
                <a:latin typeface="Century Gothic" panose="020B0502020202020204" pitchFamily="34" charset="0"/>
              </a:rPr>
              <a:t> данные как «последние совершенные покупки», «активность в социальных сетях» и т.д</a:t>
            </a:r>
            <a:r>
              <a:rPr lang="ru-RU" sz="1400" b="1" dirty="0" smtClean="0">
                <a:solidFill>
                  <a:schemeClr val="bg1">
                    <a:lumMod val="50000"/>
                  </a:schemeClr>
                </a:solidFill>
                <a:latin typeface="Century Gothic" panose="020B0502020202020204" pitchFamily="34" charset="0"/>
              </a:rPr>
              <a:t>.</a:t>
            </a:r>
            <a:endParaRPr lang="ru-RU" sz="1400" b="1" dirty="0">
              <a:solidFill>
                <a:schemeClr val="bg1">
                  <a:lumMod val="50000"/>
                </a:schemeClr>
              </a:solidFill>
              <a:latin typeface="Century Gothic" panose="020B0502020202020204" pitchFamily="34" charset="0"/>
            </a:endParaRPr>
          </a:p>
          <a:p>
            <a:pPr algn="just" defTabSz="1375467"/>
            <a:r>
              <a:rPr lang="ru-RU" sz="1400" b="1" dirty="0">
                <a:solidFill>
                  <a:schemeClr val="bg1">
                    <a:lumMod val="50000"/>
                  </a:schemeClr>
                </a:solidFill>
                <a:latin typeface="Century Gothic" panose="020B0502020202020204" pitchFamily="34" charset="0"/>
              </a:rPr>
              <a:t>Для накопления и применения таких данных требуется технологическая платформа позволяющая быстро обработать, сохранить и провести анализ этих разнообразных данных.</a:t>
            </a:r>
          </a:p>
        </p:txBody>
      </p:sp>
      <p:sp>
        <p:nvSpPr>
          <p:cNvPr id="19" name="TextBox 18"/>
          <p:cNvSpPr txBox="1"/>
          <p:nvPr/>
        </p:nvSpPr>
        <p:spPr>
          <a:xfrm>
            <a:off x="686024" y="4556669"/>
            <a:ext cx="10879627" cy="1508105"/>
          </a:xfrm>
          <a:prstGeom prst="rect">
            <a:avLst/>
          </a:prstGeom>
          <a:noFill/>
        </p:spPr>
        <p:txBody>
          <a:bodyPr wrap="square" lIns="0" tIns="0" rIns="0" bIns="0" rtlCol="0" anchor="t">
            <a:spAutoFit/>
          </a:bodyPr>
          <a:lstStyle/>
          <a:p>
            <a:pPr algn="just" defTabSz="1375467"/>
            <a:r>
              <a:rPr lang="ru-RU" sz="1400" b="1" dirty="0" smtClean="0">
                <a:solidFill>
                  <a:schemeClr val="bg1">
                    <a:lumMod val="10000"/>
                  </a:schemeClr>
                </a:solidFill>
                <a:latin typeface="Century Gothic" panose="020B0502020202020204" pitchFamily="34" charset="0"/>
              </a:rPr>
              <a:t>Итоги проекта. </a:t>
            </a:r>
          </a:p>
          <a:p>
            <a:pPr algn="just" defTabSz="1375467"/>
            <a:r>
              <a:rPr lang="ru-RU" sz="1400" b="1" dirty="0" smtClean="0">
                <a:solidFill>
                  <a:schemeClr val="bg1">
                    <a:lumMod val="50000"/>
                  </a:schemeClr>
                </a:solidFill>
                <a:latin typeface="Century Gothic" panose="020B0502020202020204" pitchFamily="34" charset="0"/>
              </a:rPr>
              <a:t>После </a:t>
            </a:r>
            <a:r>
              <a:rPr lang="ru-RU" sz="1400" b="1" dirty="0">
                <a:solidFill>
                  <a:schemeClr val="bg1">
                    <a:lumMod val="50000"/>
                  </a:schemeClr>
                </a:solidFill>
                <a:latin typeface="Century Gothic" panose="020B0502020202020204" pitchFamily="34" charset="0"/>
              </a:rPr>
              <a:t>нескольких месяцев исследований, выбор был сделан на платформенной разработке — </a:t>
            </a:r>
            <a:r>
              <a:rPr lang="ru-RU" sz="1400" b="1" dirty="0" err="1">
                <a:solidFill>
                  <a:schemeClr val="bg1">
                    <a:lumMod val="50000"/>
                  </a:schemeClr>
                </a:solidFill>
                <a:latin typeface="Century Gothic" panose="020B0502020202020204" pitchFamily="34" charset="0"/>
              </a:rPr>
              <a:t>Cross</a:t>
            </a:r>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Channel</a:t>
            </a:r>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Identity</a:t>
            </a:r>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Resolution</a:t>
            </a:r>
            <a:r>
              <a:rPr lang="ru-RU" sz="1400" b="1" dirty="0">
                <a:solidFill>
                  <a:schemeClr val="bg1">
                    <a:lumMod val="50000"/>
                  </a:schemeClr>
                </a:solidFill>
                <a:latin typeface="Century Gothic" panose="020B0502020202020204" pitchFamily="34" charset="0"/>
              </a:rPr>
              <a:t> (CCIR) </a:t>
            </a:r>
            <a:r>
              <a:rPr lang="ru-RU" sz="1400" b="1" dirty="0" err="1">
                <a:solidFill>
                  <a:schemeClr val="bg1">
                    <a:lumMod val="50000"/>
                  </a:schemeClr>
                </a:solidFill>
                <a:latin typeface="Century Gothic" panose="020B0502020202020204" pitchFamily="34" charset="0"/>
              </a:rPr>
              <a:t>engine</a:t>
            </a:r>
            <a:r>
              <a:rPr lang="ru-RU" sz="1400" b="1" dirty="0">
                <a:solidFill>
                  <a:schemeClr val="bg1">
                    <a:lumMod val="50000"/>
                  </a:schemeClr>
                </a:solidFill>
                <a:latin typeface="Century Gothic" panose="020B0502020202020204" pitchFamily="34" charset="0"/>
              </a:rPr>
              <a:t>, основанной на технологии </a:t>
            </a:r>
            <a:r>
              <a:rPr lang="ru-RU" sz="1400" b="1" dirty="0" err="1">
                <a:solidFill>
                  <a:schemeClr val="bg1">
                    <a:lumMod val="50000"/>
                  </a:schemeClr>
                </a:solidFill>
                <a:latin typeface="Century Gothic" panose="020B0502020202020204" pitchFamily="34" charset="0"/>
              </a:rPr>
              <a:t>Hbase</a:t>
            </a:r>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нереляционной</a:t>
            </a:r>
            <a:r>
              <a:rPr lang="ru-RU" sz="1400" b="1" dirty="0">
                <a:solidFill>
                  <a:schemeClr val="bg1">
                    <a:lumMod val="50000"/>
                  </a:schemeClr>
                </a:solidFill>
                <a:latin typeface="Century Gothic" panose="020B0502020202020204" pitchFamily="34" charset="0"/>
              </a:rPr>
              <a:t> распределенной базе данных. Experian загружает данные в CCIR движок посредством ETL скриптов из многочисленных </a:t>
            </a:r>
            <a:r>
              <a:rPr lang="ru-RU" sz="1400" b="1" dirty="0" err="1">
                <a:solidFill>
                  <a:schemeClr val="bg1">
                    <a:lumMod val="50000"/>
                  </a:schemeClr>
                </a:solidFill>
                <a:latin typeface="Century Gothic" panose="020B0502020202020204" pitchFamily="34" charset="0"/>
              </a:rPr>
              <a:t>in-house</a:t>
            </a:r>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мейнфрейм</a:t>
            </a:r>
            <a:r>
              <a:rPr lang="ru-RU" sz="1400" b="1" dirty="0">
                <a:solidFill>
                  <a:schemeClr val="bg1">
                    <a:lumMod val="50000"/>
                  </a:schemeClr>
                </a:solidFill>
                <a:latin typeface="Century Gothic" panose="020B0502020202020204" pitchFamily="34" charset="0"/>
              </a:rPr>
              <a:t> серверов и реляционных СУБД, таких как IBM DB2, </a:t>
            </a:r>
            <a:r>
              <a:rPr lang="ru-RU" sz="1400" b="1" dirty="0" err="1">
                <a:solidFill>
                  <a:schemeClr val="bg1">
                    <a:lumMod val="50000"/>
                  </a:schemeClr>
                </a:solidFill>
                <a:latin typeface="Century Gothic" panose="020B0502020202020204" pitchFamily="34" charset="0"/>
              </a:rPr>
              <a:t>Oracle</a:t>
            </a:r>
            <a:r>
              <a:rPr lang="ru-RU" sz="1400" b="1" dirty="0">
                <a:solidFill>
                  <a:schemeClr val="bg1">
                    <a:lumMod val="50000"/>
                  </a:schemeClr>
                </a:solidFill>
                <a:latin typeface="Century Gothic" panose="020B0502020202020204" pitchFamily="34" charset="0"/>
              </a:rPr>
              <a:t>, SQL </a:t>
            </a:r>
            <a:r>
              <a:rPr lang="ru-RU" sz="1400" b="1" dirty="0" err="1">
                <a:solidFill>
                  <a:schemeClr val="bg1">
                    <a:lumMod val="50000"/>
                  </a:schemeClr>
                </a:solidFill>
                <a:latin typeface="Century Gothic" panose="020B0502020202020204" pitchFamily="34" charset="0"/>
              </a:rPr>
              <a:t>Server</a:t>
            </a:r>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Sybase</a:t>
            </a:r>
            <a:r>
              <a:rPr lang="ru-RU" sz="1400" b="1" dirty="0">
                <a:solidFill>
                  <a:schemeClr val="bg1">
                    <a:lumMod val="50000"/>
                  </a:schemeClr>
                </a:solidFill>
                <a:latin typeface="Century Gothic" panose="020B0502020202020204" pitchFamily="34" charset="0"/>
              </a:rPr>
              <a:t> IQ</a:t>
            </a:r>
            <a:r>
              <a:rPr lang="ru-RU" sz="1400" b="1" dirty="0" smtClean="0">
                <a:solidFill>
                  <a:schemeClr val="bg1">
                    <a:lumMod val="50000"/>
                  </a:schemeClr>
                </a:solidFill>
                <a:latin typeface="Century Gothic" panose="020B0502020202020204" pitchFamily="34" charset="0"/>
              </a:rPr>
              <a:t>.</a:t>
            </a:r>
            <a:endParaRPr lang="ru-RU" sz="1400" b="1" dirty="0">
              <a:solidFill>
                <a:schemeClr val="bg1">
                  <a:lumMod val="50000"/>
                </a:schemeClr>
              </a:solidFill>
              <a:latin typeface="Century Gothic" panose="020B0502020202020204" pitchFamily="34" charset="0"/>
            </a:endParaRPr>
          </a:p>
          <a:p>
            <a:pPr algn="just" defTabSz="1375467"/>
            <a:r>
              <a:rPr lang="ru-RU" sz="1400" b="1" dirty="0">
                <a:solidFill>
                  <a:schemeClr val="bg1">
                    <a:lumMod val="50000"/>
                  </a:schemeClr>
                </a:solidFill>
                <a:latin typeface="Century Gothic" panose="020B0502020202020204" pitchFamily="34" charset="0"/>
              </a:rPr>
              <a:t>На момент написания кейса, в </a:t>
            </a:r>
            <a:r>
              <a:rPr lang="ru-RU" sz="1400" b="1" dirty="0" err="1">
                <a:solidFill>
                  <a:schemeClr val="bg1">
                    <a:lumMod val="50000"/>
                  </a:schemeClr>
                </a:solidFill>
                <a:latin typeface="Century Gothic" panose="020B0502020202020204" pitchFamily="34" charset="0"/>
              </a:rPr>
              <a:t>Hive</a:t>
            </a:r>
            <a:r>
              <a:rPr lang="ru-RU" sz="1400" b="1" dirty="0">
                <a:solidFill>
                  <a:schemeClr val="bg1">
                    <a:lumMod val="50000"/>
                  </a:schemeClr>
                </a:solidFill>
                <a:latin typeface="Century Gothic" panose="020B0502020202020204" pitchFamily="34" charset="0"/>
              </a:rPr>
              <a:t> хранилось более 5 млрд строк данных, с перспективой 10-ти кратного роста в ближайшем будущем.</a:t>
            </a:r>
            <a:endParaRPr lang="ru-RU" sz="1400" b="1" dirty="0" smtClean="0">
              <a:solidFill>
                <a:schemeClr val="bg1">
                  <a:lumMod val="10000"/>
                </a:schemeClr>
              </a:solidFill>
              <a:latin typeface="Century Gothic" panose="020B0502020202020204" pitchFamily="34" charset="0"/>
            </a:endParaRPr>
          </a:p>
        </p:txBody>
      </p:sp>
      <p:pic>
        <p:nvPicPr>
          <p:cNvPr id="4" name="Рисунок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72790" y="525224"/>
            <a:ext cx="2728196" cy="1051651"/>
          </a:xfrm>
          <a:prstGeom prst="rect">
            <a:avLst/>
          </a:prstGeom>
        </p:spPr>
      </p:pic>
    </p:spTree>
    <p:extLst>
      <p:ext uri="{BB962C8B-B14F-4D97-AF65-F5344CB8AC3E}">
        <p14:creationId xmlns:p14="http://schemas.microsoft.com/office/powerpoint/2010/main" val="77637744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4" name="Объект 2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1" name="Слайд think-cell" r:id="rId5" imgW="425" imgH="426" progId="TCLayout.ActiveDocument.1">
                  <p:embed/>
                </p:oleObj>
              </mc:Choice>
              <mc:Fallback>
                <p:oleObj name="Слайд think-cell" r:id="rId5" imgW="425" imgH="426" progId="TCLayout.ActiveDocument.1">
                  <p:embed/>
                  <p:pic>
                    <p:nvPicPr>
                      <p:cNvPr id="24" name="Объект 2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Прямоугольник 15" hidden="1"/>
          <p:cNvSpPr/>
          <p:nvPr>
            <p:custDataLst>
              <p:tags r:id="rId3"/>
            </p:custDataLst>
          </p:nvPr>
        </p:nvSpPr>
        <p:spPr>
          <a:xfrm>
            <a:off x="0" y="0"/>
            <a:ext cx="158750" cy="158750"/>
          </a:xfrm>
          <a:prstGeom prst="rect">
            <a:avLst/>
          </a:prstGeom>
          <a:gradFill>
            <a:gsLst>
              <a:gs pos="0">
                <a:schemeClr val="accent1">
                  <a:alpha val="50000"/>
                </a:schemeClr>
              </a:gs>
              <a:gs pos="100000">
                <a:schemeClr val="accent4">
                  <a:lumMod val="100000"/>
                  <a:alpha val="81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ru-RU" sz="1400" dirty="0">
              <a:sym typeface="+mn-lt"/>
            </a:endParaRPr>
          </a:p>
        </p:txBody>
      </p:sp>
      <p:sp>
        <p:nvSpPr>
          <p:cNvPr id="2" name="TextBox 1">
            <a:extLst>
              <a:ext uri="{FF2B5EF4-FFF2-40B4-BE49-F238E27FC236}">
                <a16:creationId xmlns:a16="http://schemas.microsoft.com/office/drawing/2014/main" id="{DBD428FF-BA9C-4CEB-97BF-A5BFFD1D3087}"/>
              </a:ext>
            </a:extLst>
          </p:cNvPr>
          <p:cNvSpPr txBox="1"/>
          <p:nvPr/>
        </p:nvSpPr>
        <p:spPr>
          <a:xfrm>
            <a:off x="4452882" y="846281"/>
            <a:ext cx="3394881" cy="461665"/>
          </a:xfrm>
          <a:prstGeom prst="rect">
            <a:avLst/>
          </a:prstGeom>
          <a:noFill/>
        </p:spPr>
        <p:txBody>
          <a:bodyPr wrap="square" rtlCol="0">
            <a:spAutoFit/>
          </a:bodyPr>
          <a:lstStyle/>
          <a:p>
            <a:pPr lvl="0">
              <a:defRPr/>
            </a:pPr>
            <a:r>
              <a:rPr lang="ru-RU" sz="2400" b="1" dirty="0">
                <a:solidFill>
                  <a:srgbClr val="0588DB"/>
                </a:solidFill>
                <a:latin typeface="Century Gothic" panose="020B0502020202020204" pitchFamily="34" charset="0"/>
                <a:ea typeface="Tahoma" panose="020B0604030504040204" pitchFamily="34" charset="0"/>
                <a:cs typeface="Tahoma" panose="020B0604030504040204" pitchFamily="34" charset="0"/>
              </a:rPr>
              <a:t>Кейс </a:t>
            </a:r>
            <a:r>
              <a:rPr lang="ru-RU" sz="2400" b="1" dirty="0" smtClean="0">
                <a:solidFill>
                  <a:schemeClr val="tx1">
                    <a:lumMod val="95000"/>
                    <a:lumOff val="5000"/>
                  </a:schemeClr>
                </a:solidFill>
                <a:latin typeface="Century Gothic" panose="020B0502020202020204" pitchFamily="34" charset="0"/>
                <a:ea typeface="Tahoma" panose="020B0604030504040204" pitchFamily="34" charset="0"/>
                <a:cs typeface="Tahoma" panose="020B0604030504040204" pitchFamily="34" charset="0"/>
              </a:rPr>
              <a:t>«</a:t>
            </a:r>
            <a:r>
              <a:rPr lang="en-US" sz="2400" b="1" dirty="0">
                <a:solidFill>
                  <a:schemeClr val="tx1">
                    <a:lumMod val="95000"/>
                    <a:lumOff val="5000"/>
                  </a:schemeClr>
                </a:solidFill>
                <a:latin typeface="Century Gothic" panose="020B0502020202020204" pitchFamily="34" charset="0"/>
                <a:ea typeface="Tahoma" panose="020B0604030504040204" pitchFamily="34" charset="0"/>
                <a:cs typeface="Tahoma" panose="020B0604030504040204" pitchFamily="34" charset="0"/>
              </a:rPr>
              <a:t>Western Union</a:t>
            </a:r>
            <a:r>
              <a:rPr lang="ru-RU" sz="2400" b="1" dirty="0" smtClean="0">
                <a:solidFill>
                  <a:schemeClr val="tx1">
                    <a:lumMod val="95000"/>
                    <a:lumOff val="5000"/>
                  </a:schemeClr>
                </a:solidFill>
                <a:latin typeface="Century Gothic" panose="020B0502020202020204" pitchFamily="34" charset="0"/>
                <a:ea typeface="Tahoma" panose="020B0604030504040204" pitchFamily="34" charset="0"/>
                <a:cs typeface="Tahoma" panose="020B0604030504040204" pitchFamily="34" charset="0"/>
              </a:rPr>
              <a:t>»</a:t>
            </a:r>
            <a:endParaRPr kumimoji="0" lang="en-US" sz="2400" b="1" i="0" u="none" strike="noStrike" kern="1200" cap="none" spc="0" normalizeH="0" baseline="0" noProof="0" dirty="0">
              <a:ln>
                <a:noFill/>
              </a:ln>
              <a:solidFill>
                <a:schemeClr val="tx1">
                  <a:lumMod val="95000"/>
                  <a:lumOff val="5000"/>
                </a:schemeClr>
              </a:solidFill>
              <a:effectLst/>
              <a:uLnTx/>
              <a:uFillTx/>
              <a:latin typeface="Century Gothic" panose="020B0502020202020204" pitchFamily="34" charset="0"/>
              <a:ea typeface="Tahoma" panose="020B0604030504040204" pitchFamily="34" charset="0"/>
              <a:cs typeface="Tahoma" panose="020B0604030504040204" pitchFamily="34" charset="0"/>
            </a:endParaRPr>
          </a:p>
        </p:txBody>
      </p:sp>
      <p:sp>
        <p:nvSpPr>
          <p:cNvPr id="17" name="TextBox 16"/>
          <p:cNvSpPr txBox="1"/>
          <p:nvPr/>
        </p:nvSpPr>
        <p:spPr>
          <a:xfrm>
            <a:off x="686025" y="1604478"/>
            <a:ext cx="10879626" cy="646331"/>
          </a:xfrm>
          <a:prstGeom prst="rect">
            <a:avLst/>
          </a:prstGeom>
          <a:noFill/>
        </p:spPr>
        <p:txBody>
          <a:bodyPr wrap="square" lIns="0" tIns="0" rIns="0" bIns="0" rtlCol="0" anchor="t">
            <a:spAutoFit/>
          </a:bodyPr>
          <a:lstStyle/>
          <a:p>
            <a:pPr algn="just" defTabSz="1375467"/>
            <a:r>
              <a:rPr lang="ru-RU" sz="1400" b="1" dirty="0" smtClean="0">
                <a:solidFill>
                  <a:schemeClr val="bg1">
                    <a:lumMod val="10000"/>
                  </a:schemeClr>
                </a:solidFill>
                <a:latin typeface="Century Gothic" panose="020B0502020202020204" pitchFamily="34" charset="0"/>
              </a:rPr>
              <a:t>Описание компании. </a:t>
            </a:r>
          </a:p>
          <a:p>
            <a:pPr algn="just" defTabSz="1375467"/>
            <a:r>
              <a:rPr lang="ru-RU" sz="1400" b="1" dirty="0">
                <a:solidFill>
                  <a:schemeClr val="bg1">
                    <a:lumMod val="50000"/>
                  </a:schemeClr>
                </a:solidFill>
                <a:latin typeface="Century Gothic" panose="020B0502020202020204" pitchFamily="34" charset="0"/>
              </a:rPr>
              <a:t>Western </a:t>
            </a:r>
            <a:r>
              <a:rPr lang="ru-RU" sz="1400" b="1" dirty="0" err="1">
                <a:solidFill>
                  <a:schemeClr val="bg1">
                    <a:lumMod val="50000"/>
                  </a:schemeClr>
                </a:solidFill>
                <a:latin typeface="Century Gothic" panose="020B0502020202020204" pitchFamily="34" charset="0"/>
              </a:rPr>
              <a:t>Union</a:t>
            </a:r>
            <a:r>
              <a:rPr lang="ru-RU" sz="1400" b="1" dirty="0">
                <a:solidFill>
                  <a:schemeClr val="bg1">
                    <a:lumMod val="50000"/>
                  </a:schemeClr>
                </a:solidFill>
                <a:latin typeface="Century Gothic" panose="020B0502020202020204" pitchFamily="34" charset="0"/>
              </a:rPr>
              <a:t> – крупнейший оператор рынка международных денежных переводов. Изначально компания предоставляла услуги телеграфа (изобретатель азбуки Морзе – Самюэль Морзе стоял у истоков ее основания).</a:t>
            </a:r>
            <a:endParaRPr lang="ru-RU" sz="1400" b="1" dirty="0" smtClean="0">
              <a:solidFill>
                <a:schemeClr val="bg1">
                  <a:lumMod val="10000"/>
                </a:schemeClr>
              </a:solidFill>
              <a:latin typeface="Century Gothic" panose="020B0502020202020204" pitchFamily="34" charset="0"/>
            </a:endParaRPr>
          </a:p>
        </p:txBody>
      </p:sp>
      <p:sp>
        <p:nvSpPr>
          <p:cNvPr id="18" name="TextBox 17"/>
          <p:cNvSpPr txBox="1"/>
          <p:nvPr/>
        </p:nvSpPr>
        <p:spPr>
          <a:xfrm>
            <a:off x="686023" y="2402233"/>
            <a:ext cx="10879627" cy="1938992"/>
          </a:xfrm>
          <a:prstGeom prst="rect">
            <a:avLst/>
          </a:prstGeom>
          <a:noFill/>
        </p:spPr>
        <p:txBody>
          <a:bodyPr wrap="square" lIns="0" tIns="0" rIns="0" bIns="0" rtlCol="0" anchor="t">
            <a:spAutoFit/>
          </a:bodyPr>
          <a:lstStyle/>
          <a:p>
            <a:pPr algn="just" defTabSz="1375467"/>
            <a:r>
              <a:rPr lang="ru-RU" sz="1400" b="1" dirty="0" smtClean="0">
                <a:solidFill>
                  <a:schemeClr val="bg1">
                    <a:lumMod val="10000"/>
                  </a:schemeClr>
                </a:solidFill>
                <a:latin typeface="Century Gothic" panose="020B0502020202020204" pitchFamily="34" charset="0"/>
              </a:rPr>
              <a:t>Цель проекта. </a:t>
            </a:r>
          </a:p>
          <a:p>
            <a:pPr algn="just" defTabSz="1375467"/>
            <a:r>
              <a:rPr lang="ru-RU" sz="1400" b="1" dirty="0">
                <a:solidFill>
                  <a:schemeClr val="bg1">
                    <a:lumMod val="50000"/>
                  </a:schemeClr>
                </a:solidFill>
                <a:latin typeface="Century Gothic" panose="020B0502020202020204" pitchFamily="34" charset="0"/>
              </a:rPr>
              <a:t>За годы работы компания накопила большие объемы транзакционной информации, которые она планирует применять для повышения качества своего продукта и укрепления своего конкурентного преимущества на рынке</a:t>
            </a:r>
            <a:r>
              <a:rPr lang="ru-RU" sz="1400" b="1" dirty="0" smtClean="0">
                <a:solidFill>
                  <a:schemeClr val="bg1">
                    <a:lumMod val="50000"/>
                  </a:schemeClr>
                </a:solidFill>
                <a:latin typeface="Century Gothic" panose="020B0502020202020204" pitchFamily="34" charset="0"/>
              </a:rPr>
              <a:t>.</a:t>
            </a:r>
            <a:endParaRPr lang="ru-RU" sz="1400" b="1" dirty="0">
              <a:solidFill>
                <a:schemeClr val="bg1">
                  <a:lumMod val="50000"/>
                </a:schemeClr>
              </a:solidFill>
              <a:latin typeface="Century Gothic" panose="020B0502020202020204" pitchFamily="34" charset="0"/>
            </a:endParaRPr>
          </a:p>
          <a:p>
            <a:pPr algn="just" defTabSz="1375467"/>
            <a:r>
              <a:rPr lang="ru-RU" sz="1400" b="1" dirty="0">
                <a:solidFill>
                  <a:schemeClr val="bg1">
                    <a:lumMod val="50000"/>
                  </a:schemeClr>
                </a:solidFill>
                <a:latin typeface="Century Gothic" panose="020B0502020202020204" pitchFamily="34" charset="0"/>
              </a:rPr>
              <a:t>Внедрить платформу по консолидации и обработке структурированных и неструктурированных данных из множества источников (</a:t>
            </a:r>
            <a:r>
              <a:rPr lang="ru-RU" sz="1400" b="1" dirty="0" err="1">
                <a:solidFill>
                  <a:schemeClr val="bg1">
                    <a:lumMod val="50000"/>
                  </a:schemeClr>
                </a:solidFill>
                <a:latin typeface="Century Gothic" panose="020B0502020202020204" pitchFamily="34" charset="0"/>
              </a:rPr>
              <a:t>Cloudera</a:t>
            </a:r>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Enterprise</a:t>
            </a:r>
            <a:r>
              <a:rPr lang="ru-RU" sz="1400" b="1" dirty="0">
                <a:solidFill>
                  <a:schemeClr val="bg1">
                    <a:lumMod val="50000"/>
                  </a:schemeClr>
                </a:solidFill>
                <a:latin typeface="Century Gothic" panose="020B0502020202020204" pitchFamily="34" charset="0"/>
              </a:rPr>
              <a:t> Data </a:t>
            </a:r>
            <a:r>
              <a:rPr lang="ru-RU" sz="1400" b="1" dirty="0" err="1">
                <a:solidFill>
                  <a:schemeClr val="bg1">
                    <a:lumMod val="50000"/>
                  </a:schemeClr>
                </a:solidFill>
                <a:latin typeface="Century Gothic" panose="020B0502020202020204" pitchFamily="34" charset="0"/>
              </a:rPr>
              <a:t>Hub</a:t>
            </a:r>
            <a:r>
              <a:rPr lang="ru-RU" sz="1400" b="1" dirty="0">
                <a:solidFill>
                  <a:schemeClr val="bg1">
                    <a:lumMod val="50000"/>
                  </a:schemeClr>
                </a:solidFill>
                <a:latin typeface="Century Gothic" panose="020B0502020202020204" pitchFamily="34" charset="0"/>
              </a:rPr>
              <a:t>). Неструктурированные данные включают, в том числе такие экзотические для России, источники (по мнению автора) как «</a:t>
            </a:r>
            <a:r>
              <a:rPr lang="ru-RU" sz="1400" b="1" dirty="0" err="1">
                <a:solidFill>
                  <a:schemeClr val="bg1">
                    <a:lumMod val="50000"/>
                  </a:schemeClr>
                </a:solidFill>
                <a:latin typeface="Century Gothic" panose="020B0502020202020204" pitchFamily="34" charset="0"/>
              </a:rPr>
              <a:t>click</a:t>
            </a:r>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stream</a:t>
            </a:r>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data</a:t>
            </a:r>
            <a:r>
              <a:rPr lang="ru-RU" sz="1400" b="1" dirty="0">
                <a:solidFill>
                  <a:schemeClr val="bg1">
                    <a:lumMod val="50000"/>
                  </a:schemeClr>
                </a:solidFill>
                <a:latin typeface="Century Gothic" panose="020B0502020202020204" pitchFamily="34" charset="0"/>
              </a:rPr>
              <a:t>» (данные о серфинги клиента при открытии веб-сайта компании), «</a:t>
            </a:r>
            <a:r>
              <a:rPr lang="ru-RU" sz="1400" b="1" dirty="0" err="1">
                <a:solidFill>
                  <a:schemeClr val="bg1">
                    <a:lumMod val="50000"/>
                  </a:schemeClr>
                </a:solidFill>
                <a:latin typeface="Century Gothic" panose="020B0502020202020204" pitchFamily="34" charset="0"/>
              </a:rPr>
              <a:t>sentiment</a:t>
            </a:r>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data</a:t>
            </a:r>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natural</a:t>
            </a:r>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language</a:t>
            </a:r>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processing</a:t>
            </a:r>
            <a:r>
              <a:rPr lang="ru-RU" sz="1400" b="1" dirty="0">
                <a:solidFill>
                  <a:schemeClr val="bg1">
                    <a:lumMod val="50000"/>
                  </a:schemeClr>
                </a:solidFill>
                <a:latin typeface="Century Gothic" panose="020B0502020202020204" pitchFamily="34" charset="0"/>
              </a:rPr>
              <a:t> – анализ логов взаимодействия человека и чат-бота, данные опросов клиентов (</a:t>
            </a:r>
            <a:r>
              <a:rPr lang="ru-RU" sz="1400" b="1" dirty="0" err="1">
                <a:solidFill>
                  <a:schemeClr val="bg1">
                    <a:lumMod val="50000"/>
                  </a:schemeClr>
                </a:solidFill>
                <a:latin typeface="Century Gothic" panose="020B0502020202020204" pitchFamily="34" charset="0"/>
              </a:rPr>
              <a:t>surveys</a:t>
            </a:r>
            <a:r>
              <a:rPr lang="ru-RU" sz="1400" b="1" dirty="0">
                <a:solidFill>
                  <a:schemeClr val="bg1">
                    <a:lumMod val="50000"/>
                  </a:schemeClr>
                </a:solidFill>
                <a:latin typeface="Century Gothic" panose="020B0502020202020204" pitchFamily="34" charset="0"/>
              </a:rPr>
              <a:t>) о качестве продукта и обслуживания, данные социальных сетей и т.д.).</a:t>
            </a:r>
          </a:p>
        </p:txBody>
      </p:sp>
      <p:sp>
        <p:nvSpPr>
          <p:cNvPr id="19" name="TextBox 18"/>
          <p:cNvSpPr txBox="1"/>
          <p:nvPr/>
        </p:nvSpPr>
        <p:spPr>
          <a:xfrm>
            <a:off x="686023" y="4492649"/>
            <a:ext cx="10879627" cy="1077218"/>
          </a:xfrm>
          <a:prstGeom prst="rect">
            <a:avLst/>
          </a:prstGeom>
          <a:noFill/>
        </p:spPr>
        <p:txBody>
          <a:bodyPr wrap="square" lIns="0" tIns="0" rIns="0" bIns="0" rtlCol="0" anchor="t">
            <a:spAutoFit/>
          </a:bodyPr>
          <a:lstStyle/>
          <a:p>
            <a:pPr algn="just" defTabSz="1375467"/>
            <a:r>
              <a:rPr lang="ru-RU" sz="1400" b="1" dirty="0" smtClean="0">
                <a:solidFill>
                  <a:schemeClr val="bg1">
                    <a:lumMod val="10000"/>
                  </a:schemeClr>
                </a:solidFill>
                <a:latin typeface="Century Gothic" panose="020B0502020202020204" pitchFamily="34" charset="0"/>
              </a:rPr>
              <a:t>Итоги проекта. </a:t>
            </a:r>
          </a:p>
          <a:p>
            <a:pPr algn="just" defTabSz="1375467"/>
            <a:r>
              <a:rPr lang="ru-RU" sz="1400" b="1" dirty="0">
                <a:solidFill>
                  <a:schemeClr val="bg1">
                    <a:lumMod val="50000"/>
                  </a:schemeClr>
                </a:solidFill>
                <a:latin typeface="Century Gothic" panose="020B0502020202020204" pitchFamily="34" charset="0"/>
              </a:rPr>
              <a:t>Хаб данных создан и наполняется структурированными и неструктурированными данными через потоковую загрузку (</a:t>
            </a:r>
            <a:r>
              <a:rPr lang="ru-RU" sz="1400" b="1" dirty="0" err="1">
                <a:solidFill>
                  <a:schemeClr val="bg1">
                    <a:lumMod val="50000"/>
                  </a:schemeClr>
                </a:solidFill>
                <a:latin typeface="Century Gothic" panose="020B0502020202020204" pitchFamily="34" charset="0"/>
              </a:rPr>
              <a:t>Apache</a:t>
            </a:r>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Flume</a:t>
            </a:r>
            <a:r>
              <a:rPr lang="ru-RU" sz="1400" b="1" dirty="0">
                <a:solidFill>
                  <a:schemeClr val="bg1">
                    <a:lumMod val="50000"/>
                  </a:schemeClr>
                </a:solidFill>
                <a:latin typeface="Century Gothic" panose="020B0502020202020204" pitchFamily="34" charset="0"/>
              </a:rPr>
              <a:t>), пакетную загрузку (</a:t>
            </a:r>
            <a:r>
              <a:rPr lang="ru-RU" sz="1400" b="1" dirty="0" err="1">
                <a:solidFill>
                  <a:schemeClr val="bg1">
                    <a:lumMod val="50000"/>
                  </a:schemeClr>
                </a:solidFill>
                <a:latin typeface="Century Gothic" panose="020B0502020202020204" pitchFamily="34" charset="0"/>
              </a:rPr>
              <a:t>Apache</a:t>
            </a:r>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Sqoop</a:t>
            </a:r>
            <a:r>
              <a:rPr lang="ru-RU" sz="1400" b="1" dirty="0">
                <a:solidFill>
                  <a:schemeClr val="bg1">
                    <a:lumMod val="50000"/>
                  </a:schemeClr>
                </a:solidFill>
                <a:latin typeface="Century Gothic" panose="020B0502020202020204" pitchFamily="34" charset="0"/>
              </a:rPr>
              <a:t>) и старый добрый ETL (</a:t>
            </a:r>
            <a:r>
              <a:rPr lang="ru-RU" sz="1400" b="1" dirty="0" err="1">
                <a:solidFill>
                  <a:schemeClr val="bg1">
                    <a:lumMod val="50000"/>
                  </a:schemeClr>
                </a:solidFill>
                <a:latin typeface="Century Gothic" panose="020B0502020202020204" pitchFamily="34" charset="0"/>
              </a:rPr>
              <a:t>Informatica</a:t>
            </a:r>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Big</a:t>
            </a:r>
            <a:r>
              <a:rPr lang="ru-RU" sz="1400" b="1" dirty="0">
                <a:solidFill>
                  <a:schemeClr val="bg1">
                    <a:lumMod val="50000"/>
                  </a:schemeClr>
                </a:solidFill>
                <a:latin typeface="Century Gothic" panose="020B0502020202020204" pitchFamily="34" charset="0"/>
              </a:rPr>
              <a:t> Data </a:t>
            </a:r>
            <a:r>
              <a:rPr lang="ru-RU" sz="1400" b="1" dirty="0" err="1">
                <a:solidFill>
                  <a:schemeClr val="bg1">
                    <a:lumMod val="50000"/>
                  </a:schemeClr>
                </a:solidFill>
                <a:latin typeface="Century Gothic" panose="020B0502020202020204" pitchFamily="34" charset="0"/>
              </a:rPr>
              <a:t>Edition</a:t>
            </a:r>
            <a:r>
              <a:rPr lang="ru-RU" sz="1400" b="1" dirty="0" smtClean="0">
                <a:solidFill>
                  <a:schemeClr val="bg1">
                    <a:lumMod val="50000"/>
                  </a:schemeClr>
                </a:solidFill>
                <a:latin typeface="Century Gothic" panose="020B0502020202020204" pitchFamily="34" charset="0"/>
              </a:rPr>
              <a:t>).</a:t>
            </a:r>
            <a:endParaRPr lang="ru-RU" sz="1400" b="1" dirty="0">
              <a:solidFill>
                <a:schemeClr val="bg1">
                  <a:lumMod val="50000"/>
                </a:schemeClr>
              </a:solidFill>
              <a:latin typeface="Century Gothic" panose="020B0502020202020204" pitchFamily="34" charset="0"/>
            </a:endParaRPr>
          </a:p>
          <a:p>
            <a:pPr algn="just" defTabSz="1375467"/>
            <a:r>
              <a:rPr lang="ru-RU" sz="1400" b="1" dirty="0" smtClean="0">
                <a:solidFill>
                  <a:schemeClr val="bg1">
                    <a:lumMod val="50000"/>
                  </a:schemeClr>
                </a:solidFill>
                <a:latin typeface="Century Gothic" panose="020B0502020202020204" pitchFamily="34" charset="0"/>
              </a:rPr>
              <a:t>Отправка </a:t>
            </a:r>
            <a:r>
              <a:rPr lang="ru-RU" sz="1400" b="1" dirty="0">
                <a:solidFill>
                  <a:schemeClr val="bg1">
                    <a:lumMod val="50000"/>
                  </a:schemeClr>
                </a:solidFill>
                <a:latin typeface="Century Gothic" panose="020B0502020202020204" pitchFamily="34" charset="0"/>
              </a:rPr>
              <a:t>предложения увязана с выгодным курсом обмена валют в странах происхождения для этих национальных групп по отношению к американскому доллару</a:t>
            </a:r>
            <a:endParaRPr lang="ru-RU" sz="1400" b="1" dirty="0" smtClean="0">
              <a:solidFill>
                <a:schemeClr val="bg1">
                  <a:lumMod val="10000"/>
                </a:schemeClr>
              </a:solidFill>
              <a:latin typeface="Century Gothic" panose="020B0502020202020204" pitchFamily="34" charset="0"/>
            </a:endParaRPr>
          </a:p>
        </p:txBody>
      </p:sp>
      <p:pic>
        <p:nvPicPr>
          <p:cNvPr id="3" name="Рисунок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222323" y="846281"/>
            <a:ext cx="2343328" cy="417538"/>
          </a:xfrm>
          <a:prstGeom prst="rect">
            <a:avLst/>
          </a:prstGeom>
        </p:spPr>
      </p:pic>
    </p:spTree>
    <p:extLst>
      <p:ext uri="{BB962C8B-B14F-4D97-AF65-F5344CB8AC3E}">
        <p14:creationId xmlns:p14="http://schemas.microsoft.com/office/powerpoint/2010/main" val="230690768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4" name="Объект 2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4" name="Слайд think-cell" r:id="rId5" imgW="425" imgH="426" progId="TCLayout.ActiveDocument.1">
                  <p:embed/>
                </p:oleObj>
              </mc:Choice>
              <mc:Fallback>
                <p:oleObj name="Слайд think-cell" r:id="rId5" imgW="425" imgH="426" progId="TCLayout.ActiveDocument.1">
                  <p:embed/>
                  <p:pic>
                    <p:nvPicPr>
                      <p:cNvPr id="24" name="Объект 2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Прямоугольник 15" hidden="1"/>
          <p:cNvSpPr/>
          <p:nvPr>
            <p:custDataLst>
              <p:tags r:id="rId3"/>
            </p:custDataLst>
          </p:nvPr>
        </p:nvSpPr>
        <p:spPr>
          <a:xfrm>
            <a:off x="0" y="0"/>
            <a:ext cx="158750" cy="158750"/>
          </a:xfrm>
          <a:prstGeom prst="rect">
            <a:avLst/>
          </a:prstGeom>
          <a:gradFill>
            <a:gsLst>
              <a:gs pos="0">
                <a:schemeClr val="accent1">
                  <a:alpha val="50000"/>
                </a:schemeClr>
              </a:gs>
              <a:gs pos="100000">
                <a:schemeClr val="accent4">
                  <a:lumMod val="100000"/>
                  <a:alpha val="81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ru-RU" sz="1400" dirty="0">
              <a:sym typeface="+mn-lt"/>
            </a:endParaRPr>
          </a:p>
        </p:txBody>
      </p:sp>
      <p:sp>
        <p:nvSpPr>
          <p:cNvPr id="2" name="TextBox 1">
            <a:extLst>
              <a:ext uri="{FF2B5EF4-FFF2-40B4-BE49-F238E27FC236}">
                <a16:creationId xmlns:a16="http://schemas.microsoft.com/office/drawing/2014/main" id="{DBD428FF-BA9C-4CEB-97BF-A5BFFD1D3087}"/>
              </a:ext>
            </a:extLst>
          </p:cNvPr>
          <p:cNvSpPr txBox="1"/>
          <p:nvPr/>
        </p:nvSpPr>
        <p:spPr>
          <a:xfrm>
            <a:off x="4452882" y="846281"/>
            <a:ext cx="3394881" cy="461665"/>
          </a:xfrm>
          <a:prstGeom prst="rect">
            <a:avLst/>
          </a:prstGeom>
          <a:noFill/>
        </p:spPr>
        <p:txBody>
          <a:bodyPr wrap="square" rtlCol="0">
            <a:spAutoFit/>
          </a:bodyPr>
          <a:lstStyle/>
          <a:p>
            <a:pPr lvl="0">
              <a:defRPr/>
            </a:pPr>
            <a:r>
              <a:rPr lang="ru-RU" sz="2400" b="1" dirty="0">
                <a:solidFill>
                  <a:srgbClr val="0588DB"/>
                </a:solidFill>
                <a:latin typeface="Century Gothic" panose="020B0502020202020204" pitchFamily="34" charset="0"/>
                <a:ea typeface="Tahoma" panose="020B0604030504040204" pitchFamily="34" charset="0"/>
                <a:cs typeface="Tahoma" panose="020B0604030504040204" pitchFamily="34" charset="0"/>
              </a:rPr>
              <a:t>Кейс </a:t>
            </a:r>
            <a:r>
              <a:rPr lang="ru-RU" sz="2400" b="1" dirty="0" smtClean="0">
                <a:solidFill>
                  <a:schemeClr val="tx1">
                    <a:lumMod val="95000"/>
                    <a:lumOff val="5000"/>
                  </a:schemeClr>
                </a:solidFill>
                <a:latin typeface="Century Gothic" panose="020B0502020202020204" pitchFamily="34" charset="0"/>
                <a:ea typeface="Tahoma" panose="020B0604030504040204" pitchFamily="34" charset="0"/>
                <a:cs typeface="Tahoma" panose="020B0604030504040204" pitchFamily="34" charset="0"/>
              </a:rPr>
              <a:t>«</a:t>
            </a:r>
            <a:r>
              <a:rPr lang="en-US" sz="2400" b="1" dirty="0" smtClean="0">
                <a:solidFill>
                  <a:schemeClr val="tx1">
                    <a:lumMod val="95000"/>
                    <a:lumOff val="5000"/>
                  </a:schemeClr>
                </a:solidFill>
                <a:latin typeface="Century Gothic" panose="020B0502020202020204" pitchFamily="34" charset="0"/>
                <a:ea typeface="Tahoma" panose="020B0604030504040204" pitchFamily="34" charset="0"/>
                <a:cs typeface="Tahoma" panose="020B0604030504040204" pitchFamily="34" charset="0"/>
              </a:rPr>
              <a:t>Transamerica</a:t>
            </a:r>
            <a:r>
              <a:rPr lang="ru-RU" sz="2400" b="1" dirty="0" smtClean="0">
                <a:solidFill>
                  <a:schemeClr val="tx1">
                    <a:lumMod val="95000"/>
                    <a:lumOff val="5000"/>
                  </a:schemeClr>
                </a:solidFill>
                <a:latin typeface="Century Gothic" panose="020B0502020202020204" pitchFamily="34" charset="0"/>
                <a:ea typeface="Tahoma" panose="020B0604030504040204" pitchFamily="34" charset="0"/>
                <a:cs typeface="Tahoma" panose="020B0604030504040204" pitchFamily="34" charset="0"/>
              </a:rPr>
              <a:t>»</a:t>
            </a:r>
            <a:endParaRPr kumimoji="0" lang="en-US" sz="2400" b="1" i="0" u="none" strike="noStrike" kern="1200" cap="none" spc="0" normalizeH="0" baseline="0" noProof="0" dirty="0">
              <a:ln>
                <a:noFill/>
              </a:ln>
              <a:solidFill>
                <a:schemeClr val="tx1">
                  <a:lumMod val="95000"/>
                  <a:lumOff val="5000"/>
                </a:schemeClr>
              </a:solidFill>
              <a:effectLst/>
              <a:uLnTx/>
              <a:uFillTx/>
              <a:latin typeface="Century Gothic" panose="020B0502020202020204" pitchFamily="34" charset="0"/>
              <a:ea typeface="Tahoma" panose="020B0604030504040204" pitchFamily="34" charset="0"/>
              <a:cs typeface="Tahoma" panose="020B0604030504040204" pitchFamily="34" charset="0"/>
            </a:endParaRPr>
          </a:p>
        </p:txBody>
      </p:sp>
      <p:sp>
        <p:nvSpPr>
          <p:cNvPr id="17" name="TextBox 16"/>
          <p:cNvSpPr txBox="1"/>
          <p:nvPr/>
        </p:nvSpPr>
        <p:spPr>
          <a:xfrm>
            <a:off x="686024" y="1614527"/>
            <a:ext cx="10879626" cy="430887"/>
          </a:xfrm>
          <a:prstGeom prst="rect">
            <a:avLst/>
          </a:prstGeom>
          <a:noFill/>
        </p:spPr>
        <p:txBody>
          <a:bodyPr wrap="square" lIns="0" tIns="0" rIns="0" bIns="0" rtlCol="0" anchor="t">
            <a:spAutoFit/>
          </a:bodyPr>
          <a:lstStyle/>
          <a:p>
            <a:pPr algn="just" defTabSz="1375467"/>
            <a:r>
              <a:rPr lang="ru-RU" sz="1400" b="1" dirty="0" smtClean="0">
                <a:solidFill>
                  <a:schemeClr val="bg1">
                    <a:lumMod val="10000"/>
                  </a:schemeClr>
                </a:solidFill>
                <a:latin typeface="Century Gothic" panose="020B0502020202020204" pitchFamily="34" charset="0"/>
              </a:rPr>
              <a:t>Описание компании. </a:t>
            </a:r>
          </a:p>
          <a:p>
            <a:pPr algn="just" defTabSz="1375467"/>
            <a:r>
              <a:rPr lang="ru-RU" sz="1400" b="1" dirty="0">
                <a:solidFill>
                  <a:schemeClr val="bg1">
                    <a:lumMod val="50000"/>
                  </a:schemeClr>
                </a:solidFill>
                <a:latin typeface="Century Gothic" panose="020B0502020202020204" pitchFamily="34" charset="0"/>
              </a:rPr>
              <a:t>Transamerica – группа страховых и инвестиционных компаний. С головным офисом в Сан-Франциско.</a:t>
            </a:r>
            <a:endParaRPr lang="ru-RU" sz="1400" b="1" dirty="0" smtClean="0">
              <a:solidFill>
                <a:schemeClr val="bg1">
                  <a:lumMod val="10000"/>
                </a:schemeClr>
              </a:solidFill>
              <a:latin typeface="Century Gothic" panose="020B0502020202020204" pitchFamily="34" charset="0"/>
            </a:endParaRPr>
          </a:p>
        </p:txBody>
      </p:sp>
      <p:sp>
        <p:nvSpPr>
          <p:cNvPr id="18" name="TextBox 17"/>
          <p:cNvSpPr txBox="1"/>
          <p:nvPr/>
        </p:nvSpPr>
        <p:spPr>
          <a:xfrm>
            <a:off x="686022" y="2520004"/>
            <a:ext cx="10879627" cy="1508105"/>
          </a:xfrm>
          <a:prstGeom prst="rect">
            <a:avLst/>
          </a:prstGeom>
          <a:noFill/>
        </p:spPr>
        <p:txBody>
          <a:bodyPr wrap="square" lIns="0" tIns="0" rIns="0" bIns="0" rtlCol="0" anchor="t">
            <a:spAutoFit/>
          </a:bodyPr>
          <a:lstStyle/>
          <a:p>
            <a:pPr algn="just" defTabSz="1375467"/>
            <a:r>
              <a:rPr lang="ru-RU" sz="1400" b="1" dirty="0" smtClean="0">
                <a:solidFill>
                  <a:schemeClr val="bg1">
                    <a:lumMod val="10000"/>
                  </a:schemeClr>
                </a:solidFill>
                <a:latin typeface="Century Gothic" panose="020B0502020202020204" pitchFamily="34" charset="0"/>
              </a:rPr>
              <a:t>Цель проекта. </a:t>
            </a:r>
          </a:p>
          <a:p>
            <a:pPr algn="just" defTabSz="1375467"/>
            <a:r>
              <a:rPr lang="ru-RU" sz="1400" b="1" dirty="0">
                <a:solidFill>
                  <a:schemeClr val="bg1">
                    <a:lumMod val="50000"/>
                  </a:schemeClr>
                </a:solidFill>
                <a:latin typeface="Century Gothic" panose="020B0502020202020204" pitchFamily="34" charset="0"/>
              </a:rPr>
              <a:t>Ввиду разнообразия бизнесов, данные по клиенту могут присутствовать в учетных системах различных компаний группы, что иногда усложняет их аналитическую обработку.</a:t>
            </a:r>
          </a:p>
          <a:p>
            <a:pPr algn="just" defTabSz="1375467"/>
            <a:r>
              <a:rPr lang="ru-RU" sz="1400" b="1" dirty="0">
                <a:solidFill>
                  <a:schemeClr val="bg1">
                    <a:lumMod val="50000"/>
                  </a:schemeClr>
                </a:solidFill>
                <a:latin typeface="Century Gothic" panose="020B0502020202020204" pitchFamily="34" charset="0"/>
              </a:rPr>
              <a:t>Реализовать маркетинговую аналитическую платформу (</a:t>
            </a:r>
            <a:r>
              <a:rPr lang="ru-RU" sz="1400" b="1" dirty="0" err="1">
                <a:solidFill>
                  <a:schemeClr val="bg1">
                    <a:lumMod val="50000"/>
                  </a:schemeClr>
                </a:solidFill>
                <a:latin typeface="Century Gothic" panose="020B0502020202020204" pitchFamily="34" charset="0"/>
              </a:rPr>
              <a:t>Enterprise</a:t>
            </a:r>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Marketing</a:t>
            </a:r>
            <a:r>
              <a:rPr lang="ru-RU" sz="1400" b="1" dirty="0">
                <a:solidFill>
                  <a:schemeClr val="bg1">
                    <a:lumMod val="50000"/>
                  </a:schemeClr>
                </a:solidFill>
                <a:latin typeface="Century Gothic" panose="020B0502020202020204" pitchFamily="34" charset="0"/>
              </a:rPr>
              <a:t> &amp; </a:t>
            </a:r>
            <a:r>
              <a:rPr lang="ru-RU" sz="1400" b="1" dirty="0" err="1">
                <a:solidFill>
                  <a:schemeClr val="bg1">
                    <a:lumMod val="50000"/>
                  </a:schemeClr>
                </a:solidFill>
                <a:latin typeface="Century Gothic" panose="020B0502020202020204" pitchFamily="34" charset="0"/>
              </a:rPr>
              <a:t>Analytics</a:t>
            </a:r>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Platform</a:t>
            </a:r>
            <a:r>
              <a:rPr lang="ru-RU" sz="1400" b="1" dirty="0">
                <a:solidFill>
                  <a:schemeClr val="bg1">
                    <a:lumMod val="50000"/>
                  </a:schemeClr>
                </a:solidFill>
                <a:latin typeface="Century Gothic" panose="020B0502020202020204" pitchFamily="34" charset="0"/>
              </a:rPr>
              <a:t>, EMAP), которая сможет хранить как собственные клиентские данные всех компаний группы так и данные о клиентах от сторонних поставщиков (например, все те же социальные сети). На базе этой EPAM платформы формировать выверенные продуктовые предложения.</a:t>
            </a:r>
          </a:p>
        </p:txBody>
      </p:sp>
      <p:sp>
        <p:nvSpPr>
          <p:cNvPr id="19" name="TextBox 18"/>
          <p:cNvSpPr txBox="1"/>
          <p:nvPr/>
        </p:nvSpPr>
        <p:spPr>
          <a:xfrm>
            <a:off x="686022" y="4502698"/>
            <a:ext cx="10879627" cy="1723549"/>
          </a:xfrm>
          <a:prstGeom prst="rect">
            <a:avLst/>
          </a:prstGeom>
          <a:noFill/>
        </p:spPr>
        <p:txBody>
          <a:bodyPr wrap="square" lIns="0" tIns="0" rIns="0" bIns="0" rtlCol="0" anchor="t">
            <a:spAutoFit/>
          </a:bodyPr>
          <a:lstStyle/>
          <a:p>
            <a:pPr algn="just" defTabSz="1375467"/>
            <a:r>
              <a:rPr lang="ru-RU" sz="1400" b="1" dirty="0" smtClean="0">
                <a:solidFill>
                  <a:schemeClr val="bg1">
                    <a:lumMod val="10000"/>
                  </a:schemeClr>
                </a:solidFill>
                <a:latin typeface="Century Gothic" panose="020B0502020202020204" pitchFamily="34" charset="0"/>
              </a:rPr>
              <a:t>Итоги проекта. </a:t>
            </a:r>
          </a:p>
          <a:p>
            <a:pPr algn="just" defTabSz="1375467"/>
            <a:r>
              <a:rPr lang="ru-RU" sz="1400" b="1" dirty="0">
                <a:solidFill>
                  <a:schemeClr val="bg1">
                    <a:lumMod val="50000"/>
                  </a:schemeClr>
                </a:solidFill>
                <a:latin typeface="Century Gothic" panose="020B0502020202020204" pitchFamily="34" charset="0"/>
              </a:rPr>
              <a:t>Как сказано в кейсе, в EPAM загружаются и анализируются следующие данные</a:t>
            </a:r>
            <a:r>
              <a:rPr lang="ru-RU" sz="1400" b="1" dirty="0" smtClean="0">
                <a:solidFill>
                  <a:schemeClr val="bg1">
                    <a:lumMod val="50000"/>
                  </a:schemeClr>
                </a:solidFill>
                <a:latin typeface="Century Gothic" panose="020B0502020202020204" pitchFamily="34" charset="0"/>
              </a:rPr>
              <a:t>:</a:t>
            </a:r>
            <a:endParaRPr lang="ru-RU" sz="1400" b="1" dirty="0">
              <a:solidFill>
                <a:schemeClr val="bg1">
                  <a:lumMod val="50000"/>
                </a:schemeClr>
              </a:solidFill>
              <a:latin typeface="Century Gothic" panose="020B0502020202020204" pitchFamily="34" charset="0"/>
            </a:endParaRPr>
          </a:p>
          <a:p>
            <a:pPr algn="just" defTabSz="1375467"/>
            <a:r>
              <a:rPr lang="ru-RU" sz="1400" b="1" dirty="0">
                <a:solidFill>
                  <a:schemeClr val="bg1">
                    <a:lumMod val="50000"/>
                  </a:schemeClr>
                </a:solidFill>
                <a:latin typeface="Century Gothic" panose="020B0502020202020204" pitchFamily="34" charset="0"/>
              </a:rPr>
              <a:t>— собственные клиентские данные</a:t>
            </a:r>
          </a:p>
          <a:p>
            <a:pPr algn="just" defTabSz="1375467"/>
            <a:r>
              <a:rPr lang="ru-RU" sz="1400" b="1" dirty="0">
                <a:solidFill>
                  <a:schemeClr val="bg1">
                    <a:lumMod val="50000"/>
                  </a:schemeClr>
                </a:solidFill>
                <a:latin typeface="Century Gothic" panose="020B0502020202020204" pitchFamily="34" charset="0"/>
              </a:rPr>
              <a:t>— CRM данные о клиентах</a:t>
            </a:r>
          </a:p>
          <a:p>
            <a:pPr algn="just" defTabSz="1375467"/>
            <a:r>
              <a:rPr lang="ru-RU" sz="1400" b="1" dirty="0">
                <a:solidFill>
                  <a:schemeClr val="bg1">
                    <a:lumMod val="50000"/>
                  </a:schemeClr>
                </a:solidFill>
                <a:latin typeface="Century Gothic" panose="020B0502020202020204" pitchFamily="34" charset="0"/>
              </a:rPr>
              <a:t>— Данные о прошлых страховых выплатах (</a:t>
            </a:r>
            <a:r>
              <a:rPr lang="ru-RU" sz="1400" b="1" dirty="0" err="1">
                <a:solidFill>
                  <a:schemeClr val="bg1">
                    <a:lumMod val="50000"/>
                  </a:schemeClr>
                </a:solidFill>
                <a:latin typeface="Century Gothic" panose="020B0502020202020204" pitchFamily="34" charset="0"/>
              </a:rPr>
              <a:t>solicitation</a:t>
            </a:r>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data</a:t>
            </a:r>
            <a:r>
              <a:rPr lang="ru-RU" sz="1400" b="1" dirty="0">
                <a:solidFill>
                  <a:schemeClr val="bg1">
                    <a:lumMod val="50000"/>
                  </a:schemeClr>
                </a:solidFill>
                <a:latin typeface="Century Gothic" panose="020B0502020202020204" pitchFamily="34" charset="0"/>
              </a:rPr>
              <a:t>)</a:t>
            </a:r>
          </a:p>
          <a:p>
            <a:pPr algn="just" defTabSz="1375467"/>
            <a:r>
              <a:rPr lang="ru-RU" sz="1400" b="1" dirty="0">
                <a:solidFill>
                  <a:schemeClr val="bg1">
                    <a:lumMod val="50000"/>
                  </a:schemeClr>
                </a:solidFill>
                <a:latin typeface="Century Gothic" panose="020B0502020202020204" pitchFamily="34" charset="0"/>
              </a:rPr>
              <a:t>— Данные о клиентах от сторонних партнеров (коммерческие данные).</a:t>
            </a:r>
          </a:p>
          <a:p>
            <a:pPr algn="just" defTabSz="1375467"/>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Логи</a:t>
            </a:r>
            <a:r>
              <a:rPr lang="ru-RU" sz="1400" b="1" dirty="0">
                <a:solidFill>
                  <a:schemeClr val="bg1">
                    <a:lumMod val="50000"/>
                  </a:schemeClr>
                </a:solidFill>
                <a:latin typeface="Century Gothic" panose="020B0502020202020204" pitchFamily="34" charset="0"/>
              </a:rPr>
              <a:t> с интернет портала компании</a:t>
            </a:r>
          </a:p>
          <a:p>
            <a:pPr algn="just" defTabSz="1375467"/>
            <a:r>
              <a:rPr lang="ru-RU" sz="1400" b="1" dirty="0">
                <a:solidFill>
                  <a:schemeClr val="bg1">
                    <a:lumMod val="50000"/>
                  </a:schemeClr>
                </a:solidFill>
                <a:latin typeface="Century Gothic" panose="020B0502020202020204" pitchFamily="34" charset="0"/>
              </a:rPr>
              <a:t>— Данные социальных медиа.</a:t>
            </a:r>
            <a:endParaRPr lang="ru-RU" sz="1400" b="1" dirty="0" smtClean="0">
              <a:solidFill>
                <a:schemeClr val="bg1">
                  <a:lumMod val="10000"/>
                </a:schemeClr>
              </a:solidFill>
              <a:latin typeface="Century Gothic" panose="020B0502020202020204" pitchFamily="34" charset="0"/>
            </a:endParaRPr>
          </a:p>
        </p:txBody>
      </p:sp>
      <p:pic>
        <p:nvPicPr>
          <p:cNvPr id="4" name="Рисунок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73525" y="103882"/>
            <a:ext cx="3292125" cy="1204064"/>
          </a:xfrm>
          <a:prstGeom prst="rect">
            <a:avLst/>
          </a:prstGeom>
        </p:spPr>
      </p:pic>
    </p:spTree>
    <p:extLst>
      <p:ext uri="{BB962C8B-B14F-4D97-AF65-F5344CB8AC3E}">
        <p14:creationId xmlns:p14="http://schemas.microsoft.com/office/powerpoint/2010/main" val="269775908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eform 16"/>
          <p:cNvSpPr/>
          <p:nvPr/>
        </p:nvSpPr>
        <p:spPr>
          <a:xfrm>
            <a:off x="-876079" y="0"/>
            <a:ext cx="8873761" cy="6858000"/>
          </a:xfrm>
          <a:custGeom>
            <a:avLst/>
            <a:gdLst>
              <a:gd name="connsiteX0" fmla="*/ 0 w 8873761"/>
              <a:gd name="connsiteY0" fmla="*/ 0 h 6858000"/>
              <a:gd name="connsiteX1" fmla="*/ 6207992 w 8873761"/>
              <a:gd name="connsiteY1" fmla="*/ 0 h 6858000"/>
              <a:gd name="connsiteX2" fmla="*/ 8334076 w 8873761"/>
              <a:gd name="connsiteY2" fmla="*/ 2126084 h 6858000"/>
              <a:gd name="connsiteX3" fmla="*/ 8334076 w 8873761"/>
              <a:gd name="connsiteY3" fmla="*/ 4731914 h 6858000"/>
              <a:gd name="connsiteX4" fmla="*/ 6207989 w 8873761"/>
              <a:gd name="connsiteY4" fmla="*/ 6858000 h 6858000"/>
              <a:gd name="connsiteX5" fmla="*/ 0 w 8873761"/>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73761" h="6858000">
                <a:moveTo>
                  <a:pt x="0" y="0"/>
                </a:moveTo>
                <a:lnTo>
                  <a:pt x="6207992" y="0"/>
                </a:lnTo>
                <a:lnTo>
                  <a:pt x="8334076" y="2126084"/>
                </a:lnTo>
                <a:cubicBezTo>
                  <a:pt x="9053656" y="2845664"/>
                  <a:pt x="9053656" y="4012333"/>
                  <a:pt x="8334076" y="4731914"/>
                </a:cubicBezTo>
                <a:lnTo>
                  <a:pt x="6207989" y="6858000"/>
                </a:lnTo>
                <a:lnTo>
                  <a:pt x="0" y="6858000"/>
                </a:lnTo>
                <a:close/>
              </a:path>
            </a:pathLst>
          </a:custGeom>
          <a:gradFill>
            <a:gsLst>
              <a:gs pos="0">
                <a:schemeClr val="accent1">
                  <a:alpha val="50000"/>
                </a:schemeClr>
              </a:gs>
              <a:gs pos="100000">
                <a:schemeClr val="accent4">
                  <a:lumMod val="100000"/>
                  <a:alpha val="81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22B1BF"/>
              </a:solidFill>
            </a:endParaRPr>
          </a:p>
        </p:txBody>
      </p:sp>
      <p:graphicFrame>
        <p:nvGraphicFramePr>
          <p:cNvPr id="3" name="Схема 2"/>
          <p:cNvGraphicFramePr/>
          <p:nvPr>
            <p:extLst/>
          </p:nvPr>
        </p:nvGraphicFramePr>
        <p:xfrm>
          <a:off x="2669553" y="1562602"/>
          <a:ext cx="4271993" cy="35127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9" name="Freeform 18"/>
          <p:cNvSpPr/>
          <p:nvPr/>
        </p:nvSpPr>
        <p:spPr>
          <a:xfrm>
            <a:off x="-735452" y="-388874"/>
            <a:ext cx="4600620" cy="1951476"/>
          </a:xfrm>
          <a:custGeom>
            <a:avLst/>
            <a:gdLst>
              <a:gd name="connsiteX0" fmla="*/ 0 w 3747318"/>
              <a:gd name="connsiteY0" fmla="*/ 0 h 1589525"/>
              <a:gd name="connsiteX1" fmla="*/ 3747318 w 3747318"/>
              <a:gd name="connsiteY1" fmla="*/ 0 h 1589525"/>
              <a:gd name="connsiteX2" fmla="*/ 2396891 w 3747318"/>
              <a:gd name="connsiteY2" fmla="*/ 1350427 h 1589525"/>
              <a:gd name="connsiteX3" fmla="*/ 1242422 w 3747318"/>
              <a:gd name="connsiteY3" fmla="*/ 1350427 h 1589525"/>
              <a:gd name="connsiteX4" fmla="*/ 0 w 3747318"/>
              <a:gd name="connsiteY4" fmla="*/ 108005 h 158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7318" h="1589525">
                <a:moveTo>
                  <a:pt x="0" y="0"/>
                </a:moveTo>
                <a:lnTo>
                  <a:pt x="3747318" y="0"/>
                </a:lnTo>
                <a:lnTo>
                  <a:pt x="2396891" y="1350427"/>
                </a:lnTo>
                <a:cubicBezTo>
                  <a:pt x="2078093" y="1669225"/>
                  <a:pt x="1561220" y="1669225"/>
                  <a:pt x="1242422" y="1350427"/>
                </a:cubicBezTo>
                <a:lnTo>
                  <a:pt x="0" y="108005"/>
                </a:lnTo>
                <a:close/>
              </a:path>
            </a:pathLst>
          </a:custGeom>
          <a:noFill/>
          <a:ln w="317500">
            <a:solidFill>
              <a:schemeClr val="bg1">
                <a:alpha val="5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Rounded Rectangle 11"/>
          <p:cNvSpPr/>
          <p:nvPr/>
        </p:nvSpPr>
        <p:spPr>
          <a:xfrm rot="2700000">
            <a:off x="871993" y="4643276"/>
            <a:ext cx="1385730" cy="1385730"/>
          </a:xfrm>
          <a:prstGeom prst="roundRect">
            <a:avLst/>
          </a:prstGeom>
          <a:noFill/>
          <a:ln w="133350">
            <a:solidFill>
              <a:schemeClr val="bg1">
                <a:alpha val="54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5" name="Group 14"/>
          <p:cNvGrpSpPr/>
          <p:nvPr/>
        </p:nvGrpSpPr>
        <p:grpSpPr>
          <a:xfrm>
            <a:off x="4022047" y="94421"/>
            <a:ext cx="8075474" cy="2582103"/>
            <a:chOff x="-1262868" y="1448092"/>
            <a:chExt cx="8075474" cy="2582103"/>
          </a:xfrm>
        </p:grpSpPr>
        <p:sp>
          <p:nvSpPr>
            <p:cNvPr id="13" name="TextBox 12"/>
            <p:cNvSpPr txBox="1"/>
            <p:nvPr/>
          </p:nvSpPr>
          <p:spPr>
            <a:xfrm>
              <a:off x="2986406" y="2916272"/>
              <a:ext cx="3826200" cy="1113923"/>
            </a:xfrm>
            <a:prstGeom prst="rect">
              <a:avLst/>
            </a:prstGeom>
            <a:noFill/>
          </p:spPr>
          <p:txBody>
            <a:bodyPr wrap="square" lIns="0" tIns="0" rIns="0" bIns="0" rtlCol="0">
              <a:spAutoFit/>
            </a:bodyPr>
            <a:lstStyle/>
            <a:p>
              <a:pPr algn="just"/>
              <a:r>
                <a:rPr lang="ru-RU" dirty="0" smtClean="0">
                  <a:latin typeface="Open Sans"/>
                  <a:ea typeface="Open Sans Semibold" panose="020B0706030804020204" pitchFamily="34" charset="0"/>
                  <a:cs typeface="Open Sans Semibold" panose="020B0706030804020204" pitchFamily="34" charset="0"/>
                </a:rPr>
                <a:t>Основаны </a:t>
              </a:r>
              <a:r>
                <a:rPr lang="ru-RU" dirty="0">
                  <a:latin typeface="Open Sans"/>
                  <a:ea typeface="Open Sans Semibold" panose="020B0706030804020204" pitchFamily="34" charset="0"/>
                  <a:cs typeface="Open Sans Semibold" panose="020B0706030804020204" pitchFamily="34" charset="0"/>
                </a:rPr>
                <a:t>на использовании усредненного опыта, который отражен в данных, накопленных в БД за длительный период</a:t>
              </a:r>
            </a:p>
          </p:txBody>
        </p:sp>
        <p:sp>
          <p:nvSpPr>
            <p:cNvPr id="14" name="TextBox 13"/>
            <p:cNvSpPr txBox="1"/>
            <p:nvPr/>
          </p:nvSpPr>
          <p:spPr>
            <a:xfrm>
              <a:off x="-1262868" y="1448092"/>
              <a:ext cx="4065215" cy="984885"/>
            </a:xfrm>
            <a:prstGeom prst="rect">
              <a:avLst/>
            </a:prstGeom>
            <a:noFill/>
          </p:spPr>
          <p:txBody>
            <a:bodyPr wrap="none" lIns="0" tIns="0" rIns="0" bIns="0" rtlCol="0">
              <a:spAutoFit/>
            </a:bodyPr>
            <a:lstStyle/>
            <a:p>
              <a:pPr algn="ctr"/>
              <a:r>
                <a:rPr lang="ru-RU" sz="3200" dirty="0" smtClean="0">
                  <a:solidFill>
                    <a:schemeClr val="bg1"/>
                  </a:solidFill>
                  <a:latin typeface="Open Sans BOLD" panose="020B0806030504020204" pitchFamily="34" charset="0"/>
                  <a:ea typeface="Open Sans BOLD" panose="020B0806030504020204" pitchFamily="34" charset="0"/>
                  <a:cs typeface="Open Sans BOLD" panose="020B0806030504020204" pitchFamily="34" charset="0"/>
                </a:rPr>
                <a:t>Классифи</a:t>
              </a:r>
              <a:r>
                <a:rPr lang="ru-RU" sz="3200" dirty="0" smtClean="0">
                  <a:solidFill>
                    <a:srgbClr val="22B1BF"/>
                  </a:solidFill>
                  <a:latin typeface="Open Sans BOLD" panose="020B0806030504020204" pitchFamily="34" charset="0"/>
                  <a:ea typeface="Open Sans BOLD" panose="020B0806030504020204" pitchFamily="34" charset="0"/>
                  <a:cs typeface="Open Sans BOLD" panose="020B0806030504020204" pitchFamily="34" charset="0"/>
                </a:rPr>
                <a:t>кация методов </a:t>
              </a:r>
            </a:p>
            <a:p>
              <a:pPr algn="ctr"/>
              <a:r>
                <a:rPr lang="en-US" sz="3200" dirty="0" smtClean="0">
                  <a:solidFill>
                    <a:schemeClr val="bg1"/>
                  </a:solidFill>
                  <a:latin typeface="Open Sans BOLD" panose="020B0806030504020204" pitchFamily="34" charset="0"/>
                  <a:ea typeface="Open Sans BOLD" panose="020B0806030504020204" pitchFamily="34" charset="0"/>
                  <a:cs typeface="Open Sans BOLD" panose="020B0806030504020204" pitchFamily="34" charset="0"/>
                </a:rPr>
                <a:t>Data</a:t>
              </a:r>
              <a:r>
                <a:rPr lang="en-US" sz="3200" dirty="0" smtClean="0">
                  <a:solidFill>
                    <a:srgbClr val="22B1BF"/>
                  </a:solidFill>
                  <a:latin typeface="Open Sans BOLD" panose="020B0806030504020204" pitchFamily="34" charset="0"/>
                  <a:ea typeface="Open Sans BOLD" panose="020B0806030504020204" pitchFamily="34" charset="0"/>
                  <a:cs typeface="Open Sans BOLD" panose="020B0806030504020204" pitchFamily="34" charset="0"/>
                </a:rPr>
                <a:t> </a:t>
              </a:r>
              <a:r>
                <a:rPr lang="en-US" sz="3200" dirty="0">
                  <a:solidFill>
                    <a:srgbClr val="22B1BF"/>
                  </a:solidFill>
                  <a:latin typeface="Open Sans BOLD" panose="020B0806030504020204" pitchFamily="34" charset="0"/>
                  <a:ea typeface="Open Sans BOLD" panose="020B0806030504020204" pitchFamily="34" charset="0"/>
                  <a:cs typeface="Open Sans BOLD" panose="020B0806030504020204" pitchFamily="34" charset="0"/>
                </a:rPr>
                <a:t>Mining</a:t>
              </a:r>
              <a:r>
                <a:rPr lang="ru-RU" sz="3200" dirty="0" smtClean="0">
                  <a:solidFill>
                    <a:srgbClr val="22B1BF"/>
                  </a:solidFill>
                  <a:latin typeface="Open Sans BOLD" panose="020B0806030504020204" pitchFamily="34" charset="0"/>
                  <a:ea typeface="Open Sans BOLD" panose="020B0806030504020204" pitchFamily="34" charset="0"/>
                  <a:cs typeface="Open Sans BOLD" panose="020B0806030504020204" pitchFamily="34" charset="0"/>
                </a:rPr>
                <a:t> </a:t>
              </a:r>
              <a:endParaRPr lang="en-US" sz="3200" dirty="0">
                <a:solidFill>
                  <a:srgbClr val="22B1BF"/>
                </a:solidFill>
                <a:latin typeface="Open Sans BOLD" panose="020B0806030504020204" pitchFamily="34" charset="0"/>
                <a:ea typeface="Open Sans BOLD" panose="020B0806030504020204" pitchFamily="34" charset="0"/>
                <a:cs typeface="Open Sans BOLD" panose="020B0806030504020204" pitchFamily="34" charset="0"/>
              </a:endParaRPr>
            </a:p>
          </p:txBody>
        </p:sp>
      </p:grpSp>
      <p:cxnSp>
        <p:nvCxnSpPr>
          <p:cNvPr id="6" name="Прямая со стрелкой 5"/>
          <p:cNvCxnSpPr/>
          <p:nvPr/>
        </p:nvCxnSpPr>
        <p:spPr>
          <a:xfrm>
            <a:off x="7163333" y="2116600"/>
            <a:ext cx="974976"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Прямая со стрелкой 17"/>
          <p:cNvCxnSpPr/>
          <p:nvPr/>
        </p:nvCxnSpPr>
        <p:spPr>
          <a:xfrm>
            <a:off x="7163333" y="4356281"/>
            <a:ext cx="974976"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8176843" y="3802283"/>
            <a:ext cx="3920678" cy="1107996"/>
          </a:xfrm>
          <a:prstGeom prst="rect">
            <a:avLst/>
          </a:prstGeom>
          <a:noFill/>
        </p:spPr>
        <p:txBody>
          <a:bodyPr wrap="square" lIns="0" tIns="0" rIns="0" bIns="0" rtlCol="0">
            <a:spAutoFit/>
          </a:bodyPr>
          <a:lstStyle/>
          <a:p>
            <a:pPr algn="just"/>
            <a:r>
              <a:rPr lang="ru-RU" dirty="0">
                <a:latin typeface="Open Sans"/>
                <a:ea typeface="Open Sans Semibold" panose="020B0706030804020204" pitchFamily="34" charset="0"/>
                <a:cs typeface="Open Sans Semibold" panose="020B0706030804020204" pitchFamily="34" charset="0"/>
              </a:rPr>
              <a:t>Включают набор подходов, объединенных идеей компьютерной математики и </a:t>
            </a:r>
            <a:r>
              <a:rPr lang="ru-RU" dirty="0" smtClean="0">
                <a:latin typeface="Open Sans"/>
                <a:ea typeface="Open Sans Semibold" panose="020B0706030804020204" pitchFamily="34" charset="0"/>
                <a:cs typeface="Open Sans Semibold" panose="020B0706030804020204" pitchFamily="34" charset="0"/>
              </a:rPr>
              <a:t>использования</a:t>
            </a:r>
            <a:r>
              <a:rPr lang="en-US" dirty="0" smtClean="0">
                <a:latin typeface="Open Sans"/>
                <a:ea typeface="Open Sans Semibold" panose="020B0706030804020204" pitchFamily="34" charset="0"/>
                <a:cs typeface="Open Sans Semibold" panose="020B0706030804020204" pitchFamily="34" charset="0"/>
              </a:rPr>
              <a:t> </a:t>
            </a:r>
            <a:r>
              <a:rPr lang="ru-RU" dirty="0" smtClean="0">
                <a:latin typeface="Open Sans"/>
                <a:ea typeface="Open Sans Semibold" panose="020B0706030804020204" pitchFamily="34" charset="0"/>
                <a:cs typeface="Open Sans Semibold" panose="020B0706030804020204" pitchFamily="34" charset="0"/>
              </a:rPr>
              <a:t>теории искусственного</a:t>
            </a:r>
            <a:r>
              <a:rPr lang="en-US" dirty="0" smtClean="0">
                <a:latin typeface="Open Sans"/>
                <a:ea typeface="Open Sans Semibold" panose="020B0706030804020204" pitchFamily="34" charset="0"/>
                <a:cs typeface="Open Sans Semibold" panose="020B0706030804020204" pitchFamily="34" charset="0"/>
              </a:rPr>
              <a:t> </a:t>
            </a:r>
            <a:r>
              <a:rPr lang="ru-RU" dirty="0" smtClean="0">
                <a:latin typeface="Open Sans"/>
                <a:ea typeface="Open Sans Semibold" panose="020B0706030804020204" pitchFamily="34" charset="0"/>
                <a:cs typeface="Open Sans Semibold" panose="020B0706030804020204" pitchFamily="34" charset="0"/>
              </a:rPr>
              <a:t>интеллекта</a:t>
            </a:r>
            <a:endParaRPr lang="ru-RU" dirty="0">
              <a:latin typeface="Open Sans"/>
              <a:ea typeface="Open Sans Semibold" panose="020B0706030804020204" pitchFamily="34" charset="0"/>
              <a:cs typeface="Open Sans Semibold" panose="020B0706030804020204" pitchFamily="34" charset="0"/>
            </a:endParaRPr>
          </a:p>
        </p:txBody>
      </p:sp>
    </p:spTree>
    <p:extLst>
      <p:ext uri="{BB962C8B-B14F-4D97-AF65-F5344CB8AC3E}">
        <p14:creationId xmlns:p14="http://schemas.microsoft.com/office/powerpoint/2010/main" val="281697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4" name="Объект 2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7" name="Слайд think-cell" r:id="rId5" imgW="425" imgH="426" progId="TCLayout.ActiveDocument.1">
                  <p:embed/>
                </p:oleObj>
              </mc:Choice>
              <mc:Fallback>
                <p:oleObj name="Слайд think-cell" r:id="rId5" imgW="425" imgH="426" progId="TCLayout.ActiveDocument.1">
                  <p:embed/>
                  <p:pic>
                    <p:nvPicPr>
                      <p:cNvPr id="24" name="Объект 2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Прямоугольник 15" hidden="1"/>
          <p:cNvSpPr/>
          <p:nvPr>
            <p:custDataLst>
              <p:tags r:id="rId3"/>
            </p:custDataLst>
          </p:nvPr>
        </p:nvSpPr>
        <p:spPr>
          <a:xfrm>
            <a:off x="0" y="0"/>
            <a:ext cx="158750" cy="158750"/>
          </a:xfrm>
          <a:prstGeom prst="rect">
            <a:avLst/>
          </a:prstGeom>
          <a:gradFill>
            <a:gsLst>
              <a:gs pos="0">
                <a:schemeClr val="accent1">
                  <a:alpha val="50000"/>
                </a:schemeClr>
              </a:gs>
              <a:gs pos="100000">
                <a:schemeClr val="accent4">
                  <a:lumMod val="100000"/>
                  <a:alpha val="81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ru-RU" sz="1400" dirty="0">
              <a:sym typeface="+mn-lt"/>
            </a:endParaRPr>
          </a:p>
        </p:txBody>
      </p:sp>
      <p:sp>
        <p:nvSpPr>
          <p:cNvPr id="2" name="TextBox 1">
            <a:extLst>
              <a:ext uri="{FF2B5EF4-FFF2-40B4-BE49-F238E27FC236}">
                <a16:creationId xmlns:a16="http://schemas.microsoft.com/office/drawing/2014/main" id="{DBD428FF-BA9C-4CEB-97BF-A5BFFD1D3087}"/>
              </a:ext>
            </a:extLst>
          </p:cNvPr>
          <p:cNvSpPr txBox="1"/>
          <p:nvPr/>
        </p:nvSpPr>
        <p:spPr>
          <a:xfrm>
            <a:off x="4452882" y="846281"/>
            <a:ext cx="3394881" cy="461665"/>
          </a:xfrm>
          <a:prstGeom prst="rect">
            <a:avLst/>
          </a:prstGeom>
          <a:noFill/>
        </p:spPr>
        <p:txBody>
          <a:bodyPr wrap="square" rtlCol="0">
            <a:spAutoFit/>
          </a:bodyPr>
          <a:lstStyle/>
          <a:p>
            <a:pPr lvl="0">
              <a:defRPr/>
            </a:pPr>
            <a:r>
              <a:rPr lang="ru-RU" sz="2400" b="1" dirty="0">
                <a:solidFill>
                  <a:srgbClr val="0588DB"/>
                </a:solidFill>
                <a:latin typeface="Century Gothic" panose="020B0502020202020204" pitchFamily="34" charset="0"/>
                <a:ea typeface="Tahoma" panose="020B0604030504040204" pitchFamily="34" charset="0"/>
                <a:cs typeface="Tahoma" panose="020B0604030504040204" pitchFamily="34" charset="0"/>
              </a:rPr>
              <a:t>Кейс </a:t>
            </a:r>
            <a:r>
              <a:rPr lang="ru-RU" sz="2400" b="1" dirty="0" smtClean="0">
                <a:solidFill>
                  <a:schemeClr val="tx1">
                    <a:lumMod val="95000"/>
                    <a:lumOff val="5000"/>
                  </a:schemeClr>
                </a:solidFill>
                <a:latin typeface="Century Gothic" panose="020B0502020202020204" pitchFamily="34" charset="0"/>
                <a:ea typeface="Tahoma" panose="020B0604030504040204" pitchFamily="34" charset="0"/>
                <a:cs typeface="Tahoma" panose="020B0604030504040204" pitchFamily="34" charset="0"/>
              </a:rPr>
              <a:t>«</a:t>
            </a:r>
            <a:r>
              <a:rPr lang="en-US" sz="2400" b="1" dirty="0" err="1">
                <a:solidFill>
                  <a:schemeClr val="tx1">
                    <a:lumMod val="95000"/>
                    <a:lumOff val="5000"/>
                  </a:schemeClr>
                </a:solidFill>
                <a:latin typeface="Century Gothic" panose="020B0502020202020204" pitchFamily="34" charset="0"/>
                <a:ea typeface="Tahoma" panose="020B0604030504040204" pitchFamily="34" charset="0"/>
                <a:cs typeface="Tahoma" panose="020B0604030504040204" pitchFamily="34" charset="0"/>
              </a:rPr>
              <a:t>mBank</a:t>
            </a:r>
            <a:r>
              <a:rPr lang="ru-RU" sz="2400" b="1" dirty="0" smtClean="0">
                <a:solidFill>
                  <a:schemeClr val="tx1">
                    <a:lumMod val="95000"/>
                    <a:lumOff val="5000"/>
                  </a:schemeClr>
                </a:solidFill>
                <a:latin typeface="Century Gothic" panose="020B0502020202020204" pitchFamily="34" charset="0"/>
                <a:ea typeface="Tahoma" panose="020B0604030504040204" pitchFamily="34" charset="0"/>
                <a:cs typeface="Tahoma" panose="020B0604030504040204" pitchFamily="34" charset="0"/>
              </a:rPr>
              <a:t>»</a:t>
            </a:r>
            <a:endParaRPr kumimoji="0" lang="en-US" sz="2400" b="1" i="0" u="none" strike="noStrike" kern="1200" cap="none" spc="0" normalizeH="0" baseline="0" noProof="0" dirty="0">
              <a:ln>
                <a:noFill/>
              </a:ln>
              <a:solidFill>
                <a:schemeClr val="tx1">
                  <a:lumMod val="95000"/>
                  <a:lumOff val="5000"/>
                </a:schemeClr>
              </a:solidFill>
              <a:effectLst/>
              <a:uLnTx/>
              <a:uFillTx/>
              <a:latin typeface="Century Gothic" panose="020B0502020202020204" pitchFamily="34" charset="0"/>
              <a:ea typeface="Tahoma" panose="020B0604030504040204" pitchFamily="34" charset="0"/>
              <a:cs typeface="Tahoma" panose="020B0604030504040204" pitchFamily="34" charset="0"/>
            </a:endParaRPr>
          </a:p>
        </p:txBody>
      </p:sp>
      <p:sp>
        <p:nvSpPr>
          <p:cNvPr id="17" name="TextBox 16"/>
          <p:cNvSpPr txBox="1"/>
          <p:nvPr/>
        </p:nvSpPr>
        <p:spPr>
          <a:xfrm>
            <a:off x="686024" y="1614527"/>
            <a:ext cx="10879626" cy="430887"/>
          </a:xfrm>
          <a:prstGeom prst="rect">
            <a:avLst/>
          </a:prstGeom>
          <a:noFill/>
        </p:spPr>
        <p:txBody>
          <a:bodyPr wrap="square" lIns="0" tIns="0" rIns="0" bIns="0" rtlCol="0" anchor="t">
            <a:spAutoFit/>
          </a:bodyPr>
          <a:lstStyle/>
          <a:p>
            <a:pPr algn="just" defTabSz="1375467"/>
            <a:r>
              <a:rPr lang="ru-RU" sz="1400" b="1" dirty="0" smtClean="0">
                <a:solidFill>
                  <a:schemeClr val="bg1">
                    <a:lumMod val="10000"/>
                  </a:schemeClr>
                </a:solidFill>
                <a:latin typeface="Century Gothic" panose="020B0502020202020204" pitchFamily="34" charset="0"/>
              </a:rPr>
              <a:t>Описание компании. </a:t>
            </a:r>
          </a:p>
          <a:p>
            <a:pPr algn="just" defTabSz="1375467"/>
            <a:r>
              <a:rPr lang="ru-RU" sz="1400" b="1" dirty="0" err="1">
                <a:solidFill>
                  <a:schemeClr val="bg1">
                    <a:lumMod val="50000"/>
                  </a:schemeClr>
                </a:solidFill>
                <a:latin typeface="Century Gothic" panose="020B0502020202020204" pitchFamily="34" charset="0"/>
              </a:rPr>
              <a:t>mBank</a:t>
            </a:r>
            <a:r>
              <a:rPr lang="ru-RU" sz="1400" b="1" dirty="0">
                <a:solidFill>
                  <a:schemeClr val="bg1">
                    <a:lumMod val="50000"/>
                  </a:schemeClr>
                </a:solidFill>
                <a:latin typeface="Century Gothic" panose="020B0502020202020204" pitchFamily="34" charset="0"/>
              </a:rPr>
              <a:t>, был основан в 1986, на сегодня имеет 5 млн. розничных и 20 тыс. корпоративных клиентов в Европе.</a:t>
            </a:r>
            <a:endParaRPr lang="ru-RU" sz="1400" b="1" dirty="0" smtClean="0">
              <a:solidFill>
                <a:schemeClr val="bg1">
                  <a:lumMod val="10000"/>
                </a:schemeClr>
              </a:solidFill>
              <a:latin typeface="Century Gothic" panose="020B0502020202020204" pitchFamily="34" charset="0"/>
            </a:endParaRPr>
          </a:p>
        </p:txBody>
      </p:sp>
      <p:sp>
        <p:nvSpPr>
          <p:cNvPr id="18" name="TextBox 17"/>
          <p:cNvSpPr txBox="1"/>
          <p:nvPr/>
        </p:nvSpPr>
        <p:spPr>
          <a:xfrm>
            <a:off x="686022" y="2520004"/>
            <a:ext cx="10879627" cy="861774"/>
          </a:xfrm>
          <a:prstGeom prst="rect">
            <a:avLst/>
          </a:prstGeom>
          <a:noFill/>
        </p:spPr>
        <p:txBody>
          <a:bodyPr wrap="square" lIns="0" tIns="0" rIns="0" bIns="0" rtlCol="0" anchor="t">
            <a:spAutoFit/>
          </a:bodyPr>
          <a:lstStyle/>
          <a:p>
            <a:pPr algn="just" defTabSz="1375467"/>
            <a:r>
              <a:rPr lang="ru-RU" sz="1400" b="1" dirty="0" smtClean="0">
                <a:solidFill>
                  <a:schemeClr val="bg1">
                    <a:lumMod val="10000"/>
                  </a:schemeClr>
                </a:solidFill>
                <a:latin typeface="Century Gothic" panose="020B0502020202020204" pitchFamily="34" charset="0"/>
              </a:rPr>
              <a:t>Цель проекта. </a:t>
            </a:r>
          </a:p>
          <a:p>
            <a:pPr algn="just" defTabSz="1375467"/>
            <a:r>
              <a:rPr lang="ru-RU" sz="1400" b="1" dirty="0">
                <a:solidFill>
                  <a:schemeClr val="bg1">
                    <a:lumMod val="50000"/>
                  </a:schemeClr>
                </a:solidFill>
                <a:latin typeface="Century Gothic" panose="020B0502020202020204" pitchFamily="34" charset="0"/>
              </a:rPr>
              <a:t>Существующая IT инфраструктура не справлялась с все увеличивающимися объемами данных. Из-за задержек в интеграции и систематизации данных, дата </a:t>
            </a:r>
            <a:r>
              <a:rPr lang="ru-RU" sz="1400" b="1" dirty="0" err="1">
                <a:solidFill>
                  <a:schemeClr val="bg1">
                    <a:lumMod val="50000"/>
                  </a:schemeClr>
                </a:solidFill>
                <a:latin typeface="Century Gothic" panose="020B0502020202020204" pitchFamily="34" charset="0"/>
              </a:rPr>
              <a:t>сайентисты</a:t>
            </a:r>
            <a:r>
              <a:rPr lang="ru-RU" sz="1400" b="1" dirty="0">
                <a:solidFill>
                  <a:schemeClr val="bg1">
                    <a:lumMod val="50000"/>
                  </a:schemeClr>
                </a:solidFill>
                <a:latin typeface="Century Gothic" panose="020B0502020202020204" pitchFamily="34" charset="0"/>
              </a:rPr>
              <a:t> были вынуждены работать с данными в режиме Т-1 (т.е. за вчерашний день)</a:t>
            </a:r>
          </a:p>
        </p:txBody>
      </p:sp>
      <p:sp>
        <p:nvSpPr>
          <p:cNvPr id="19" name="TextBox 18"/>
          <p:cNvSpPr txBox="1"/>
          <p:nvPr/>
        </p:nvSpPr>
        <p:spPr>
          <a:xfrm>
            <a:off x="686021" y="3856368"/>
            <a:ext cx="10879627" cy="2154436"/>
          </a:xfrm>
          <a:prstGeom prst="rect">
            <a:avLst/>
          </a:prstGeom>
          <a:noFill/>
        </p:spPr>
        <p:txBody>
          <a:bodyPr wrap="square" lIns="0" tIns="0" rIns="0" bIns="0" rtlCol="0" anchor="t">
            <a:spAutoFit/>
          </a:bodyPr>
          <a:lstStyle/>
          <a:p>
            <a:pPr algn="just" defTabSz="1375467"/>
            <a:r>
              <a:rPr lang="ru-RU" sz="1400" b="1" dirty="0" smtClean="0">
                <a:solidFill>
                  <a:schemeClr val="bg1">
                    <a:lumMod val="10000"/>
                  </a:schemeClr>
                </a:solidFill>
                <a:latin typeface="Century Gothic" panose="020B0502020202020204" pitchFamily="34" charset="0"/>
              </a:rPr>
              <a:t>Итоги проекта. </a:t>
            </a:r>
          </a:p>
          <a:p>
            <a:pPr algn="just" defTabSz="1375467"/>
            <a:r>
              <a:rPr lang="ru-RU" sz="1400" b="1" dirty="0">
                <a:solidFill>
                  <a:schemeClr val="bg1">
                    <a:lumMod val="50000"/>
                  </a:schemeClr>
                </a:solidFill>
                <a:latin typeface="Century Gothic" panose="020B0502020202020204" pitchFamily="34" charset="0"/>
              </a:rPr>
              <a:t>Было построено хранилище данных на инфраструктуре платформы </a:t>
            </a:r>
            <a:r>
              <a:rPr lang="ru-RU" sz="1400" b="1" dirty="0" err="1">
                <a:solidFill>
                  <a:schemeClr val="bg1">
                    <a:lumMod val="50000"/>
                  </a:schemeClr>
                </a:solidFill>
                <a:latin typeface="Century Gothic" panose="020B0502020202020204" pitchFamily="34" charset="0"/>
              </a:rPr>
              <a:t>Cloudera</a:t>
            </a:r>
            <a:r>
              <a:rPr lang="ru-RU" sz="1400" b="1" dirty="0">
                <a:solidFill>
                  <a:schemeClr val="bg1">
                    <a:lumMod val="50000"/>
                  </a:schemeClr>
                </a:solidFill>
                <a:latin typeface="Century Gothic" panose="020B0502020202020204" pitchFamily="34" charset="0"/>
              </a:rPr>
              <a:t>, наполняемое ежедневно 300Гб информации из различных источников.</a:t>
            </a:r>
          </a:p>
          <a:p>
            <a:pPr algn="just" defTabSz="1375467"/>
            <a:endParaRPr lang="ru-RU" sz="1400" b="1" dirty="0">
              <a:solidFill>
                <a:schemeClr val="bg1">
                  <a:lumMod val="50000"/>
                </a:schemeClr>
              </a:solidFill>
              <a:latin typeface="Century Gothic" panose="020B0502020202020204" pitchFamily="34" charset="0"/>
            </a:endParaRPr>
          </a:p>
          <a:p>
            <a:pPr algn="just" defTabSz="1375467"/>
            <a:r>
              <a:rPr lang="ru-RU" sz="1400" b="1" dirty="0">
                <a:solidFill>
                  <a:schemeClr val="bg1">
                    <a:lumMod val="50000"/>
                  </a:schemeClr>
                </a:solidFill>
                <a:latin typeface="Century Gothic" panose="020B0502020202020204" pitchFamily="34" charset="0"/>
              </a:rPr>
              <a:t>Источники данных</a:t>
            </a:r>
            <a:r>
              <a:rPr lang="ru-RU" sz="1400" b="1" dirty="0" smtClean="0">
                <a:solidFill>
                  <a:schemeClr val="bg1">
                    <a:lumMod val="50000"/>
                  </a:schemeClr>
                </a:solidFill>
                <a:latin typeface="Century Gothic" panose="020B0502020202020204" pitchFamily="34" charset="0"/>
              </a:rPr>
              <a:t>:</a:t>
            </a:r>
            <a:endParaRPr lang="ru-RU" sz="1400" b="1" dirty="0">
              <a:solidFill>
                <a:schemeClr val="bg1">
                  <a:lumMod val="50000"/>
                </a:schemeClr>
              </a:solidFill>
              <a:latin typeface="Century Gothic" panose="020B0502020202020204" pitchFamily="34" charset="0"/>
            </a:endParaRPr>
          </a:p>
          <a:p>
            <a:pPr algn="just" defTabSz="1375467"/>
            <a:r>
              <a:rPr lang="ru-RU" sz="1400" b="1" dirty="0">
                <a:solidFill>
                  <a:schemeClr val="bg1">
                    <a:lumMod val="50000"/>
                  </a:schemeClr>
                </a:solidFill>
                <a:latin typeface="Century Gothic" panose="020B0502020202020204" pitchFamily="34" charset="0"/>
              </a:rPr>
              <a:t>• Плоские файлы систем источников (в основном OLTP систем)</a:t>
            </a:r>
          </a:p>
          <a:p>
            <a:pPr algn="just" defTabSz="1375467"/>
            <a:r>
              <a:rPr lang="ru-RU" sz="1400" b="1" dirty="0">
                <a:solidFill>
                  <a:schemeClr val="bg1">
                    <a:lumMod val="50000"/>
                  </a:schemeClr>
                </a:solidFill>
                <a:latin typeface="Century Gothic" panose="020B0502020202020204" pitchFamily="34" charset="0"/>
              </a:rPr>
              <a:t>• </a:t>
            </a:r>
            <a:r>
              <a:rPr lang="ru-RU" sz="1400" b="1" dirty="0" err="1">
                <a:solidFill>
                  <a:schemeClr val="bg1">
                    <a:lumMod val="50000"/>
                  </a:schemeClr>
                </a:solidFill>
                <a:latin typeface="Century Gothic" panose="020B0502020202020204" pitchFamily="34" charset="0"/>
              </a:rPr>
              <a:t>Oracle</a:t>
            </a:r>
            <a:r>
              <a:rPr lang="ru-RU" sz="1400" b="1" dirty="0">
                <a:solidFill>
                  <a:schemeClr val="bg1">
                    <a:lumMod val="50000"/>
                  </a:schemeClr>
                </a:solidFill>
                <a:latin typeface="Century Gothic" panose="020B0502020202020204" pitchFamily="34" charset="0"/>
              </a:rPr>
              <a:t> DB</a:t>
            </a:r>
          </a:p>
          <a:p>
            <a:pPr algn="just" defTabSz="1375467"/>
            <a:r>
              <a:rPr lang="ru-RU" sz="1400" b="1" dirty="0">
                <a:solidFill>
                  <a:schemeClr val="bg1">
                    <a:lumMod val="50000"/>
                  </a:schemeClr>
                </a:solidFill>
                <a:latin typeface="Century Gothic" panose="020B0502020202020204" pitchFamily="34" charset="0"/>
              </a:rPr>
              <a:t>• IBM </a:t>
            </a:r>
            <a:r>
              <a:rPr lang="ru-RU" sz="1400" b="1" dirty="0" smtClean="0">
                <a:solidFill>
                  <a:schemeClr val="bg1">
                    <a:lumMod val="50000"/>
                  </a:schemeClr>
                </a:solidFill>
                <a:latin typeface="Century Gothic" panose="020B0502020202020204" pitchFamily="34" charset="0"/>
              </a:rPr>
              <a:t>MQ</a:t>
            </a:r>
            <a:endParaRPr lang="ru-RU" sz="1400" b="1" dirty="0">
              <a:solidFill>
                <a:schemeClr val="bg1">
                  <a:lumMod val="50000"/>
                </a:schemeClr>
              </a:solidFill>
              <a:latin typeface="Century Gothic" panose="020B0502020202020204" pitchFamily="34" charset="0"/>
            </a:endParaRPr>
          </a:p>
          <a:p>
            <a:pPr algn="just" defTabSz="1375467"/>
            <a:r>
              <a:rPr lang="ru-RU" sz="1400" b="1" dirty="0">
                <a:solidFill>
                  <a:schemeClr val="bg1">
                    <a:lumMod val="50000"/>
                  </a:schemeClr>
                </a:solidFill>
                <a:latin typeface="Century Gothic" panose="020B0502020202020204" pitchFamily="34" charset="0"/>
              </a:rPr>
              <a:t>Продолжительность интеграции данных в хранилище уменьшилась на 67%.</a:t>
            </a:r>
          </a:p>
          <a:p>
            <a:pPr algn="just" defTabSz="1375467"/>
            <a:r>
              <a:rPr lang="ru-RU" sz="1400" b="1" dirty="0">
                <a:solidFill>
                  <a:schemeClr val="bg1">
                    <a:lumMod val="50000"/>
                  </a:schemeClr>
                </a:solidFill>
                <a:latin typeface="Century Gothic" panose="020B0502020202020204" pitchFamily="34" charset="0"/>
              </a:rPr>
              <a:t>ETL Инструмент — </a:t>
            </a:r>
            <a:r>
              <a:rPr lang="ru-RU" sz="1400" b="1" dirty="0" err="1">
                <a:solidFill>
                  <a:schemeClr val="bg1">
                    <a:lumMod val="50000"/>
                  </a:schemeClr>
                </a:solidFill>
                <a:latin typeface="Century Gothic" panose="020B0502020202020204" pitchFamily="34" charset="0"/>
              </a:rPr>
              <a:t>Informatica</a:t>
            </a:r>
            <a:endParaRPr lang="ru-RU" sz="1400" b="1" dirty="0" smtClean="0">
              <a:solidFill>
                <a:schemeClr val="bg1">
                  <a:lumMod val="10000"/>
                </a:schemeClr>
              </a:solidFill>
              <a:latin typeface="Century Gothic" panose="020B0502020202020204" pitchFamily="34" charset="0"/>
            </a:endParaRPr>
          </a:p>
        </p:txBody>
      </p:sp>
      <p:pic>
        <p:nvPicPr>
          <p:cNvPr id="3" name="Рисунок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502144" y="233433"/>
            <a:ext cx="3063505" cy="1074513"/>
          </a:xfrm>
          <a:prstGeom prst="rect">
            <a:avLst/>
          </a:prstGeom>
        </p:spPr>
      </p:pic>
    </p:spTree>
    <p:extLst>
      <p:ext uri="{BB962C8B-B14F-4D97-AF65-F5344CB8AC3E}">
        <p14:creationId xmlns:p14="http://schemas.microsoft.com/office/powerpoint/2010/main" val="187688580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4088239" y="539359"/>
            <a:ext cx="4015523" cy="553998"/>
          </a:xfrm>
          <a:prstGeom prst="rect">
            <a:avLst/>
          </a:prstGeom>
          <a:noFill/>
        </p:spPr>
        <p:txBody>
          <a:bodyPr wrap="none" lIns="0" tIns="0" rIns="0" bIns="0" rtlCol="0">
            <a:spAutoFit/>
          </a:bodyPr>
          <a:lstStyle/>
          <a:p>
            <a:pPr>
              <a:defRPr/>
            </a:pPr>
            <a:r>
              <a:rPr lang="ru-RU" sz="3600" b="1" dirty="0">
                <a:solidFill>
                  <a:srgbClr val="0588DB"/>
                </a:solidFill>
                <a:latin typeface="Century Gothic" panose="020B0502020202020204" pitchFamily="34" charset="0"/>
                <a:ea typeface="Tahoma" panose="020B0604030504040204" pitchFamily="34" charset="0"/>
                <a:cs typeface="Tahoma" panose="020B0604030504040204" pitchFamily="34" charset="0"/>
              </a:rPr>
              <a:t>НАША КОМАНДА</a:t>
            </a:r>
            <a:endParaRPr lang="en-US" sz="3600" b="1" dirty="0">
              <a:solidFill>
                <a:srgbClr val="0588DB"/>
              </a:solidFill>
              <a:latin typeface="Century Gothic" panose="020B0502020202020204" pitchFamily="34" charset="0"/>
              <a:ea typeface="Tahoma" panose="020B0604030504040204" pitchFamily="34" charset="0"/>
              <a:cs typeface="Tahoma" panose="020B0604030504040204" pitchFamily="34" charset="0"/>
            </a:endParaRPr>
          </a:p>
        </p:txBody>
      </p:sp>
      <p:sp>
        <p:nvSpPr>
          <p:cNvPr id="12" name="TextBox 11"/>
          <p:cNvSpPr txBox="1"/>
          <p:nvPr/>
        </p:nvSpPr>
        <p:spPr>
          <a:xfrm>
            <a:off x="1344955" y="4872444"/>
            <a:ext cx="2128788" cy="307777"/>
          </a:xfrm>
          <a:prstGeom prst="rect">
            <a:avLst/>
          </a:prstGeom>
          <a:noFill/>
        </p:spPr>
        <p:txBody>
          <a:bodyPr wrap="none" lIns="0" tIns="0" rIns="0" bIns="0" rtlCol="0">
            <a:spAutoFit/>
          </a:bodyPr>
          <a:lstStyle/>
          <a:p>
            <a:r>
              <a:rPr lang="ru-RU" sz="2000" b="1" dirty="0">
                <a:solidFill>
                  <a:srgbClr val="0588DB"/>
                </a:solidFill>
                <a:latin typeface="Century Gothic" panose="020B0502020202020204" pitchFamily="34" charset="0"/>
                <a:ea typeface="Tahoma" panose="020B0604030504040204" pitchFamily="34" charset="0"/>
                <a:cs typeface="Tahoma" panose="020B0604030504040204" pitchFamily="34" charset="0"/>
              </a:rPr>
              <a:t>Илья </a:t>
            </a:r>
            <a:r>
              <a:rPr lang="ru-RU" sz="2000" b="1" dirty="0">
                <a:latin typeface="Century Gothic" panose="020B0502020202020204" pitchFamily="34" charset="0"/>
                <a:ea typeface="Tahoma" panose="020B0604030504040204" pitchFamily="34" charset="0"/>
                <a:cs typeface="Tahoma" panose="020B0604030504040204" pitchFamily="34" charset="0"/>
              </a:rPr>
              <a:t>Щекочихин</a:t>
            </a:r>
            <a:endParaRPr lang="en-US" sz="2000" b="1" dirty="0">
              <a:latin typeface="Century Gothic" panose="020B0502020202020204" pitchFamily="34" charset="0"/>
              <a:ea typeface="Tahoma" panose="020B0604030504040204" pitchFamily="34" charset="0"/>
              <a:cs typeface="Tahoma" panose="020B0604030504040204" pitchFamily="34" charset="0"/>
            </a:endParaRPr>
          </a:p>
        </p:txBody>
      </p:sp>
      <p:sp>
        <p:nvSpPr>
          <p:cNvPr id="13" name="TextBox 12"/>
          <p:cNvSpPr txBox="1"/>
          <p:nvPr/>
        </p:nvSpPr>
        <p:spPr>
          <a:xfrm>
            <a:off x="4712340" y="4868088"/>
            <a:ext cx="3199594" cy="307777"/>
          </a:xfrm>
          <a:prstGeom prst="rect">
            <a:avLst/>
          </a:prstGeom>
          <a:noFill/>
        </p:spPr>
        <p:txBody>
          <a:bodyPr wrap="none" lIns="0" tIns="0" rIns="0" bIns="0" rtlCol="0">
            <a:spAutoFit/>
          </a:bodyPr>
          <a:lstStyle/>
          <a:p>
            <a:r>
              <a:rPr lang="ru-RU" sz="2000" b="1" dirty="0">
                <a:solidFill>
                  <a:srgbClr val="0588DB"/>
                </a:solidFill>
                <a:latin typeface="Century Gothic" panose="020B0502020202020204" pitchFamily="34" charset="0"/>
                <a:ea typeface="Tahoma" panose="020B0604030504040204" pitchFamily="34" charset="0"/>
                <a:cs typeface="Tahoma" panose="020B0604030504040204" pitchFamily="34" charset="0"/>
              </a:rPr>
              <a:t>Станислав</a:t>
            </a:r>
            <a:r>
              <a:rPr lang="ru-RU" sz="1200" b="1" dirty="0">
                <a:latin typeface="Century Gothic" panose="020B0502020202020204" pitchFamily="34" charset="0"/>
                <a:ea typeface="Tahoma" panose="020B0604030504040204" pitchFamily="34" charset="0"/>
                <a:cs typeface="Tahoma" panose="020B0604030504040204" pitchFamily="34" charset="0"/>
              </a:rPr>
              <a:t> </a:t>
            </a:r>
            <a:r>
              <a:rPr lang="ru-RU" sz="2000" b="1" dirty="0">
                <a:latin typeface="Century Gothic" panose="020B0502020202020204" pitchFamily="34" charset="0"/>
                <a:ea typeface="Tahoma" panose="020B0604030504040204" pitchFamily="34" charset="0"/>
                <a:cs typeface="Tahoma" panose="020B0604030504040204" pitchFamily="34" charset="0"/>
              </a:rPr>
              <a:t>Афанасенко</a:t>
            </a:r>
            <a:endParaRPr lang="en-US" sz="2000" b="1" dirty="0">
              <a:latin typeface="Century Gothic" panose="020B0502020202020204" pitchFamily="34" charset="0"/>
              <a:ea typeface="Tahoma" panose="020B0604030504040204" pitchFamily="34" charset="0"/>
              <a:cs typeface="Tahoma" panose="020B0604030504040204" pitchFamily="34" charset="0"/>
            </a:endParaRPr>
          </a:p>
        </p:txBody>
      </p:sp>
      <p:pic>
        <p:nvPicPr>
          <p:cNvPr id="2" name="Рисунок 1"/>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033" r="1033"/>
          <a:stretch>
            <a:fillRect/>
          </a:stretch>
        </p:blipFill>
        <p:spPr>
          <a:xfrm>
            <a:off x="1270645" y="2185987"/>
            <a:ext cx="2277408" cy="2486025"/>
          </a:xfrm>
        </p:spPr>
      </p:pic>
      <p:pic>
        <p:nvPicPr>
          <p:cNvPr id="4" name="Рисунок 3"/>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l="462" r="462"/>
          <a:stretch>
            <a:fillRect/>
          </a:stretch>
        </p:blipFill>
        <p:spPr>
          <a:xfrm>
            <a:off x="5172312" y="2185987"/>
            <a:ext cx="2277408" cy="2486025"/>
          </a:xfrm>
        </p:spPr>
      </p:pic>
      <p:pic>
        <p:nvPicPr>
          <p:cNvPr id="3" name="Рисунок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77379" y="2185986"/>
            <a:ext cx="2478895" cy="2486026"/>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sp>
        <p:nvSpPr>
          <p:cNvPr id="9" name="TextBox 8"/>
          <p:cNvSpPr txBox="1"/>
          <p:nvPr/>
        </p:nvSpPr>
        <p:spPr>
          <a:xfrm>
            <a:off x="9304530" y="4877797"/>
            <a:ext cx="2024593" cy="307777"/>
          </a:xfrm>
          <a:prstGeom prst="rect">
            <a:avLst/>
          </a:prstGeom>
          <a:noFill/>
        </p:spPr>
        <p:txBody>
          <a:bodyPr wrap="none" lIns="0" tIns="0" rIns="0" bIns="0" rtlCol="0">
            <a:spAutoFit/>
          </a:bodyPr>
          <a:lstStyle/>
          <a:p>
            <a:r>
              <a:rPr lang="ru-RU" sz="2000" b="1" dirty="0" err="1" smtClean="0">
                <a:solidFill>
                  <a:srgbClr val="0588DB"/>
                </a:solidFill>
                <a:latin typeface="Century Gothic" panose="020B0502020202020204" pitchFamily="34" charset="0"/>
                <a:ea typeface="Tahoma" panose="020B0604030504040204" pitchFamily="34" charset="0"/>
                <a:cs typeface="Tahoma" panose="020B0604030504040204" pitchFamily="34" charset="0"/>
              </a:rPr>
              <a:t>Камиль</a:t>
            </a:r>
            <a:r>
              <a:rPr lang="ru-RU" sz="2000" b="1" dirty="0" smtClean="0">
                <a:solidFill>
                  <a:srgbClr val="0588DB"/>
                </a:solidFill>
                <a:latin typeface="Century Gothic" panose="020B0502020202020204" pitchFamily="34" charset="0"/>
                <a:ea typeface="Tahoma" panose="020B0604030504040204" pitchFamily="34" charset="0"/>
                <a:cs typeface="Tahoma" panose="020B0604030504040204" pitchFamily="34" charset="0"/>
              </a:rPr>
              <a:t> </a:t>
            </a:r>
            <a:r>
              <a:rPr lang="ru-RU" sz="2000" b="1" dirty="0" smtClean="0">
                <a:latin typeface="Century Gothic" panose="020B0502020202020204" pitchFamily="34" charset="0"/>
                <a:ea typeface="Tahoma" panose="020B0604030504040204" pitchFamily="34" charset="0"/>
                <a:cs typeface="Tahoma" panose="020B0604030504040204" pitchFamily="34" charset="0"/>
              </a:rPr>
              <a:t>Аминов</a:t>
            </a:r>
            <a:endParaRPr lang="en-US" sz="2000" b="1" dirty="0">
              <a:latin typeface="Century Gothic" panose="020B050202020202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1751695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5005387" y="2290762"/>
            <a:ext cx="2276475" cy="2276475"/>
            <a:chOff x="4838700" y="2124075"/>
            <a:chExt cx="2609850" cy="2609850"/>
          </a:xfrm>
          <a:effectLst>
            <a:outerShdw blurRad="50800" dist="38100" dir="2700000" algn="tl" rotWithShape="0">
              <a:prstClr val="black">
                <a:alpha val="52000"/>
              </a:prstClr>
            </a:outerShdw>
          </a:effectLst>
        </p:grpSpPr>
        <p:sp>
          <p:nvSpPr>
            <p:cNvPr id="4" name="Diamond 3"/>
            <p:cNvSpPr/>
            <p:nvPr/>
          </p:nvSpPr>
          <p:spPr>
            <a:xfrm>
              <a:off x="4838700" y="2124075"/>
              <a:ext cx="2609850" cy="2609850"/>
            </a:xfrm>
            <a:prstGeom prst="diamond">
              <a:avLst/>
            </a:prstGeom>
            <a:gradFill>
              <a:gsLst>
                <a:gs pos="0">
                  <a:schemeClr val="accent1">
                    <a:alpha val="50000"/>
                  </a:schemeClr>
                </a:gs>
                <a:gs pos="100000">
                  <a:schemeClr val="accent4">
                    <a:lumMod val="100000"/>
                    <a:alpha val="81000"/>
                  </a:schemeClr>
                </a:gs>
              </a:gsLst>
              <a:lin ang="2700000" scaled="0"/>
            </a:gradFill>
            <a:ln w="139700">
              <a:solidFill>
                <a:schemeClr val="bg1">
                  <a:alpha val="71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5" name="Группа 74"/>
            <p:cNvGrpSpPr/>
            <p:nvPr/>
          </p:nvGrpSpPr>
          <p:grpSpPr>
            <a:xfrm>
              <a:off x="5632445" y="2935872"/>
              <a:ext cx="1022360" cy="986255"/>
              <a:chOff x="5843588" y="3217863"/>
              <a:chExt cx="2562225" cy="2471738"/>
            </a:xfrm>
            <a:solidFill>
              <a:schemeClr val="bg1"/>
            </a:solidFill>
          </p:grpSpPr>
          <p:sp>
            <p:nvSpPr>
              <p:cNvPr id="6" name="Freeform 64"/>
              <p:cNvSpPr>
                <a:spLocks/>
              </p:cNvSpPr>
              <p:nvPr/>
            </p:nvSpPr>
            <p:spPr bwMode="auto">
              <a:xfrm>
                <a:off x="7786688" y="3217863"/>
                <a:ext cx="619125" cy="622300"/>
              </a:xfrm>
              <a:custGeom>
                <a:avLst/>
                <a:gdLst>
                  <a:gd name="T0" fmla="*/ 340 w 781"/>
                  <a:gd name="T1" fmla="*/ 0 h 785"/>
                  <a:gd name="T2" fmla="*/ 340 w 781"/>
                  <a:gd name="T3" fmla="*/ 0 h 785"/>
                  <a:gd name="T4" fmla="*/ 363 w 781"/>
                  <a:gd name="T5" fmla="*/ 2 h 785"/>
                  <a:gd name="T6" fmla="*/ 386 w 781"/>
                  <a:gd name="T7" fmla="*/ 7 h 785"/>
                  <a:gd name="T8" fmla="*/ 408 w 781"/>
                  <a:gd name="T9" fmla="*/ 17 h 785"/>
                  <a:gd name="T10" fmla="*/ 429 w 781"/>
                  <a:gd name="T11" fmla="*/ 30 h 785"/>
                  <a:gd name="T12" fmla="*/ 448 w 781"/>
                  <a:gd name="T13" fmla="*/ 46 h 785"/>
                  <a:gd name="T14" fmla="*/ 737 w 781"/>
                  <a:gd name="T15" fmla="*/ 336 h 785"/>
                  <a:gd name="T16" fmla="*/ 755 w 781"/>
                  <a:gd name="T17" fmla="*/ 357 h 785"/>
                  <a:gd name="T18" fmla="*/ 768 w 781"/>
                  <a:gd name="T19" fmla="*/ 381 h 785"/>
                  <a:gd name="T20" fmla="*/ 777 w 781"/>
                  <a:gd name="T21" fmla="*/ 406 h 785"/>
                  <a:gd name="T22" fmla="*/ 781 w 781"/>
                  <a:gd name="T23" fmla="*/ 431 h 785"/>
                  <a:gd name="T24" fmla="*/ 781 w 781"/>
                  <a:gd name="T25" fmla="*/ 457 h 785"/>
                  <a:gd name="T26" fmla="*/ 777 w 781"/>
                  <a:gd name="T27" fmla="*/ 483 h 785"/>
                  <a:gd name="T28" fmla="*/ 768 w 781"/>
                  <a:gd name="T29" fmla="*/ 509 h 785"/>
                  <a:gd name="T30" fmla="*/ 755 w 781"/>
                  <a:gd name="T31" fmla="*/ 532 h 785"/>
                  <a:gd name="T32" fmla="*/ 737 w 781"/>
                  <a:gd name="T33" fmla="*/ 553 h 785"/>
                  <a:gd name="T34" fmla="*/ 505 w 781"/>
                  <a:gd name="T35" fmla="*/ 785 h 785"/>
                  <a:gd name="T36" fmla="*/ 0 w 781"/>
                  <a:gd name="T37" fmla="*/ 278 h 785"/>
                  <a:gd name="T38" fmla="*/ 232 w 781"/>
                  <a:gd name="T39" fmla="*/ 45 h 785"/>
                  <a:gd name="T40" fmla="*/ 251 w 781"/>
                  <a:gd name="T41" fmla="*/ 29 h 785"/>
                  <a:gd name="T42" fmla="*/ 271 w 781"/>
                  <a:gd name="T43" fmla="*/ 17 h 785"/>
                  <a:gd name="T44" fmla="*/ 293 w 781"/>
                  <a:gd name="T45" fmla="*/ 7 h 785"/>
                  <a:gd name="T46" fmla="*/ 316 w 781"/>
                  <a:gd name="T47" fmla="*/ 2 h 785"/>
                  <a:gd name="T48" fmla="*/ 340 w 781"/>
                  <a:gd name="T49" fmla="*/ 0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1" h="785">
                    <a:moveTo>
                      <a:pt x="340" y="0"/>
                    </a:moveTo>
                    <a:lnTo>
                      <a:pt x="340" y="0"/>
                    </a:lnTo>
                    <a:lnTo>
                      <a:pt x="363" y="2"/>
                    </a:lnTo>
                    <a:lnTo>
                      <a:pt x="386" y="7"/>
                    </a:lnTo>
                    <a:lnTo>
                      <a:pt x="408" y="17"/>
                    </a:lnTo>
                    <a:lnTo>
                      <a:pt x="429" y="30"/>
                    </a:lnTo>
                    <a:lnTo>
                      <a:pt x="448" y="46"/>
                    </a:lnTo>
                    <a:lnTo>
                      <a:pt x="737" y="336"/>
                    </a:lnTo>
                    <a:lnTo>
                      <a:pt x="755" y="357"/>
                    </a:lnTo>
                    <a:lnTo>
                      <a:pt x="768" y="381"/>
                    </a:lnTo>
                    <a:lnTo>
                      <a:pt x="777" y="406"/>
                    </a:lnTo>
                    <a:lnTo>
                      <a:pt x="781" y="431"/>
                    </a:lnTo>
                    <a:lnTo>
                      <a:pt x="781" y="457"/>
                    </a:lnTo>
                    <a:lnTo>
                      <a:pt x="777" y="483"/>
                    </a:lnTo>
                    <a:lnTo>
                      <a:pt x="768" y="509"/>
                    </a:lnTo>
                    <a:lnTo>
                      <a:pt x="755" y="532"/>
                    </a:lnTo>
                    <a:lnTo>
                      <a:pt x="737" y="553"/>
                    </a:lnTo>
                    <a:lnTo>
                      <a:pt x="505" y="785"/>
                    </a:lnTo>
                    <a:lnTo>
                      <a:pt x="0" y="278"/>
                    </a:lnTo>
                    <a:lnTo>
                      <a:pt x="232" y="45"/>
                    </a:lnTo>
                    <a:lnTo>
                      <a:pt x="251" y="29"/>
                    </a:lnTo>
                    <a:lnTo>
                      <a:pt x="271" y="17"/>
                    </a:lnTo>
                    <a:lnTo>
                      <a:pt x="293" y="7"/>
                    </a:lnTo>
                    <a:lnTo>
                      <a:pt x="316" y="2"/>
                    </a:lnTo>
                    <a:lnTo>
                      <a:pt x="34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7" name="Freeform 65"/>
              <p:cNvSpPr>
                <a:spLocks/>
              </p:cNvSpPr>
              <p:nvPr/>
            </p:nvSpPr>
            <p:spPr bwMode="auto">
              <a:xfrm>
                <a:off x="6596063" y="3522663"/>
                <a:ext cx="1504950" cy="1512888"/>
              </a:xfrm>
              <a:custGeom>
                <a:avLst/>
                <a:gdLst>
                  <a:gd name="T0" fmla="*/ 1391 w 1896"/>
                  <a:gd name="T1" fmla="*/ 0 h 1905"/>
                  <a:gd name="T2" fmla="*/ 1896 w 1896"/>
                  <a:gd name="T3" fmla="*/ 508 h 1905"/>
                  <a:gd name="T4" fmla="*/ 506 w 1896"/>
                  <a:gd name="T5" fmla="*/ 1905 h 1905"/>
                  <a:gd name="T6" fmla="*/ 0 w 1896"/>
                  <a:gd name="T7" fmla="*/ 1398 h 1905"/>
                  <a:gd name="T8" fmla="*/ 1391 w 1896"/>
                  <a:gd name="T9" fmla="*/ 0 h 1905"/>
                </a:gdLst>
                <a:ahLst/>
                <a:cxnLst>
                  <a:cxn ang="0">
                    <a:pos x="T0" y="T1"/>
                  </a:cxn>
                  <a:cxn ang="0">
                    <a:pos x="T2" y="T3"/>
                  </a:cxn>
                  <a:cxn ang="0">
                    <a:pos x="T4" y="T5"/>
                  </a:cxn>
                  <a:cxn ang="0">
                    <a:pos x="T6" y="T7"/>
                  </a:cxn>
                  <a:cxn ang="0">
                    <a:pos x="T8" y="T9"/>
                  </a:cxn>
                </a:cxnLst>
                <a:rect l="0" t="0" r="r" b="b"/>
                <a:pathLst>
                  <a:path w="1896" h="1905">
                    <a:moveTo>
                      <a:pt x="1391" y="0"/>
                    </a:moveTo>
                    <a:lnTo>
                      <a:pt x="1896" y="508"/>
                    </a:lnTo>
                    <a:lnTo>
                      <a:pt x="506" y="1905"/>
                    </a:lnTo>
                    <a:lnTo>
                      <a:pt x="0" y="1398"/>
                    </a:lnTo>
                    <a:lnTo>
                      <a:pt x="139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8" name="Freeform 66"/>
              <p:cNvSpPr>
                <a:spLocks/>
              </p:cNvSpPr>
              <p:nvPr/>
            </p:nvSpPr>
            <p:spPr bwMode="auto">
              <a:xfrm>
                <a:off x="6424613" y="4719638"/>
                <a:ext cx="485775" cy="488950"/>
              </a:xfrm>
              <a:custGeom>
                <a:avLst/>
                <a:gdLst>
                  <a:gd name="T0" fmla="*/ 108 w 613"/>
                  <a:gd name="T1" fmla="*/ 0 h 615"/>
                  <a:gd name="T2" fmla="*/ 613 w 613"/>
                  <a:gd name="T3" fmla="*/ 507 h 615"/>
                  <a:gd name="T4" fmla="*/ 0 w 613"/>
                  <a:gd name="T5" fmla="*/ 615 h 615"/>
                  <a:gd name="T6" fmla="*/ 108 w 613"/>
                  <a:gd name="T7" fmla="*/ 0 h 615"/>
                </a:gdLst>
                <a:ahLst/>
                <a:cxnLst>
                  <a:cxn ang="0">
                    <a:pos x="T0" y="T1"/>
                  </a:cxn>
                  <a:cxn ang="0">
                    <a:pos x="T2" y="T3"/>
                  </a:cxn>
                  <a:cxn ang="0">
                    <a:pos x="T4" y="T5"/>
                  </a:cxn>
                  <a:cxn ang="0">
                    <a:pos x="T6" y="T7"/>
                  </a:cxn>
                </a:cxnLst>
                <a:rect l="0" t="0" r="r" b="b"/>
                <a:pathLst>
                  <a:path w="613" h="615">
                    <a:moveTo>
                      <a:pt x="108" y="0"/>
                    </a:moveTo>
                    <a:lnTo>
                      <a:pt x="613" y="507"/>
                    </a:lnTo>
                    <a:lnTo>
                      <a:pt x="0" y="615"/>
                    </a:lnTo>
                    <a:lnTo>
                      <a:pt x="1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9" name="Freeform 67"/>
              <p:cNvSpPr>
                <a:spLocks/>
              </p:cNvSpPr>
              <p:nvPr/>
            </p:nvSpPr>
            <p:spPr bwMode="auto">
              <a:xfrm>
                <a:off x="5843588" y="3640138"/>
                <a:ext cx="2036762" cy="2049463"/>
              </a:xfrm>
              <a:custGeom>
                <a:avLst/>
                <a:gdLst>
                  <a:gd name="T0" fmla="*/ 213 w 2566"/>
                  <a:gd name="T1" fmla="*/ 0 h 2582"/>
                  <a:gd name="T2" fmla="*/ 2007 w 2566"/>
                  <a:gd name="T3" fmla="*/ 0 h 2582"/>
                  <a:gd name="T4" fmla="*/ 1675 w 2566"/>
                  <a:gd name="T5" fmla="*/ 333 h 2582"/>
                  <a:gd name="T6" fmla="*/ 331 w 2566"/>
                  <a:gd name="T7" fmla="*/ 333 h 2582"/>
                  <a:gd name="T8" fmla="*/ 331 w 2566"/>
                  <a:gd name="T9" fmla="*/ 2250 h 2582"/>
                  <a:gd name="T10" fmla="*/ 2235 w 2566"/>
                  <a:gd name="T11" fmla="*/ 2250 h 2582"/>
                  <a:gd name="T12" fmla="*/ 2235 w 2566"/>
                  <a:gd name="T13" fmla="*/ 1160 h 2582"/>
                  <a:gd name="T14" fmla="*/ 2566 w 2566"/>
                  <a:gd name="T15" fmla="*/ 829 h 2582"/>
                  <a:gd name="T16" fmla="*/ 2566 w 2566"/>
                  <a:gd name="T17" fmla="*/ 2368 h 2582"/>
                  <a:gd name="T18" fmla="*/ 2564 w 2566"/>
                  <a:gd name="T19" fmla="*/ 2402 h 2582"/>
                  <a:gd name="T20" fmla="*/ 2555 w 2566"/>
                  <a:gd name="T21" fmla="*/ 2435 h 2582"/>
                  <a:gd name="T22" fmla="*/ 2542 w 2566"/>
                  <a:gd name="T23" fmla="*/ 2466 h 2582"/>
                  <a:gd name="T24" fmla="*/ 2525 w 2566"/>
                  <a:gd name="T25" fmla="*/ 2495 h 2582"/>
                  <a:gd name="T26" fmla="*/ 2504 w 2566"/>
                  <a:gd name="T27" fmla="*/ 2520 h 2582"/>
                  <a:gd name="T28" fmla="*/ 2478 w 2566"/>
                  <a:gd name="T29" fmla="*/ 2541 h 2582"/>
                  <a:gd name="T30" fmla="*/ 2450 w 2566"/>
                  <a:gd name="T31" fmla="*/ 2558 h 2582"/>
                  <a:gd name="T32" fmla="*/ 2419 w 2566"/>
                  <a:gd name="T33" fmla="*/ 2571 h 2582"/>
                  <a:gd name="T34" fmla="*/ 2386 w 2566"/>
                  <a:gd name="T35" fmla="*/ 2579 h 2582"/>
                  <a:gd name="T36" fmla="*/ 2352 w 2566"/>
                  <a:gd name="T37" fmla="*/ 2582 h 2582"/>
                  <a:gd name="T38" fmla="*/ 213 w 2566"/>
                  <a:gd name="T39" fmla="*/ 2582 h 2582"/>
                  <a:gd name="T40" fmla="*/ 179 w 2566"/>
                  <a:gd name="T41" fmla="*/ 2579 h 2582"/>
                  <a:gd name="T42" fmla="*/ 146 w 2566"/>
                  <a:gd name="T43" fmla="*/ 2571 h 2582"/>
                  <a:gd name="T44" fmla="*/ 116 w 2566"/>
                  <a:gd name="T45" fmla="*/ 2558 h 2582"/>
                  <a:gd name="T46" fmla="*/ 88 w 2566"/>
                  <a:gd name="T47" fmla="*/ 2541 h 2582"/>
                  <a:gd name="T48" fmla="*/ 63 w 2566"/>
                  <a:gd name="T49" fmla="*/ 2520 h 2582"/>
                  <a:gd name="T50" fmla="*/ 41 w 2566"/>
                  <a:gd name="T51" fmla="*/ 2495 h 2582"/>
                  <a:gd name="T52" fmla="*/ 24 w 2566"/>
                  <a:gd name="T53" fmla="*/ 2466 h 2582"/>
                  <a:gd name="T54" fmla="*/ 11 w 2566"/>
                  <a:gd name="T55" fmla="*/ 2435 h 2582"/>
                  <a:gd name="T56" fmla="*/ 3 w 2566"/>
                  <a:gd name="T57" fmla="*/ 2402 h 2582"/>
                  <a:gd name="T58" fmla="*/ 0 w 2566"/>
                  <a:gd name="T59" fmla="*/ 2368 h 2582"/>
                  <a:gd name="T60" fmla="*/ 0 w 2566"/>
                  <a:gd name="T61" fmla="*/ 216 h 2582"/>
                  <a:gd name="T62" fmla="*/ 3 w 2566"/>
                  <a:gd name="T63" fmla="*/ 180 h 2582"/>
                  <a:gd name="T64" fmla="*/ 11 w 2566"/>
                  <a:gd name="T65" fmla="*/ 147 h 2582"/>
                  <a:gd name="T66" fmla="*/ 24 w 2566"/>
                  <a:gd name="T67" fmla="*/ 117 h 2582"/>
                  <a:gd name="T68" fmla="*/ 41 w 2566"/>
                  <a:gd name="T69" fmla="*/ 89 h 2582"/>
                  <a:gd name="T70" fmla="*/ 63 w 2566"/>
                  <a:gd name="T71" fmla="*/ 63 h 2582"/>
                  <a:gd name="T72" fmla="*/ 88 w 2566"/>
                  <a:gd name="T73" fmla="*/ 41 h 2582"/>
                  <a:gd name="T74" fmla="*/ 116 w 2566"/>
                  <a:gd name="T75" fmla="*/ 24 h 2582"/>
                  <a:gd name="T76" fmla="*/ 146 w 2566"/>
                  <a:gd name="T77" fmla="*/ 11 h 2582"/>
                  <a:gd name="T78" fmla="*/ 179 w 2566"/>
                  <a:gd name="T79" fmla="*/ 3 h 2582"/>
                  <a:gd name="T80" fmla="*/ 213 w 2566"/>
                  <a:gd name="T81" fmla="*/ 0 h 2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66" h="2582">
                    <a:moveTo>
                      <a:pt x="213" y="0"/>
                    </a:moveTo>
                    <a:lnTo>
                      <a:pt x="2007" y="0"/>
                    </a:lnTo>
                    <a:lnTo>
                      <a:pt x="1675" y="333"/>
                    </a:lnTo>
                    <a:lnTo>
                      <a:pt x="331" y="333"/>
                    </a:lnTo>
                    <a:lnTo>
                      <a:pt x="331" y="2250"/>
                    </a:lnTo>
                    <a:lnTo>
                      <a:pt x="2235" y="2250"/>
                    </a:lnTo>
                    <a:lnTo>
                      <a:pt x="2235" y="1160"/>
                    </a:lnTo>
                    <a:lnTo>
                      <a:pt x="2566" y="829"/>
                    </a:lnTo>
                    <a:lnTo>
                      <a:pt x="2566" y="2368"/>
                    </a:lnTo>
                    <a:lnTo>
                      <a:pt x="2564" y="2402"/>
                    </a:lnTo>
                    <a:lnTo>
                      <a:pt x="2555" y="2435"/>
                    </a:lnTo>
                    <a:lnTo>
                      <a:pt x="2542" y="2466"/>
                    </a:lnTo>
                    <a:lnTo>
                      <a:pt x="2525" y="2495"/>
                    </a:lnTo>
                    <a:lnTo>
                      <a:pt x="2504" y="2520"/>
                    </a:lnTo>
                    <a:lnTo>
                      <a:pt x="2478" y="2541"/>
                    </a:lnTo>
                    <a:lnTo>
                      <a:pt x="2450" y="2558"/>
                    </a:lnTo>
                    <a:lnTo>
                      <a:pt x="2419" y="2571"/>
                    </a:lnTo>
                    <a:lnTo>
                      <a:pt x="2386" y="2579"/>
                    </a:lnTo>
                    <a:lnTo>
                      <a:pt x="2352" y="2582"/>
                    </a:lnTo>
                    <a:lnTo>
                      <a:pt x="213" y="2582"/>
                    </a:lnTo>
                    <a:lnTo>
                      <a:pt x="179" y="2579"/>
                    </a:lnTo>
                    <a:lnTo>
                      <a:pt x="146" y="2571"/>
                    </a:lnTo>
                    <a:lnTo>
                      <a:pt x="116" y="2558"/>
                    </a:lnTo>
                    <a:lnTo>
                      <a:pt x="88" y="2541"/>
                    </a:lnTo>
                    <a:lnTo>
                      <a:pt x="63" y="2520"/>
                    </a:lnTo>
                    <a:lnTo>
                      <a:pt x="41" y="2495"/>
                    </a:lnTo>
                    <a:lnTo>
                      <a:pt x="24" y="2466"/>
                    </a:lnTo>
                    <a:lnTo>
                      <a:pt x="11" y="2435"/>
                    </a:lnTo>
                    <a:lnTo>
                      <a:pt x="3" y="2402"/>
                    </a:lnTo>
                    <a:lnTo>
                      <a:pt x="0" y="2368"/>
                    </a:lnTo>
                    <a:lnTo>
                      <a:pt x="0" y="216"/>
                    </a:lnTo>
                    <a:lnTo>
                      <a:pt x="3" y="180"/>
                    </a:lnTo>
                    <a:lnTo>
                      <a:pt x="11" y="147"/>
                    </a:lnTo>
                    <a:lnTo>
                      <a:pt x="24" y="117"/>
                    </a:lnTo>
                    <a:lnTo>
                      <a:pt x="41" y="89"/>
                    </a:lnTo>
                    <a:lnTo>
                      <a:pt x="63" y="63"/>
                    </a:lnTo>
                    <a:lnTo>
                      <a:pt x="88" y="41"/>
                    </a:lnTo>
                    <a:lnTo>
                      <a:pt x="116" y="24"/>
                    </a:lnTo>
                    <a:lnTo>
                      <a:pt x="146" y="11"/>
                    </a:lnTo>
                    <a:lnTo>
                      <a:pt x="179" y="3"/>
                    </a:lnTo>
                    <a:lnTo>
                      <a:pt x="2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grpSp>
      </p:grpSp>
      <p:sp>
        <p:nvSpPr>
          <p:cNvPr id="11" name="TextBox 10"/>
          <p:cNvSpPr txBox="1"/>
          <p:nvPr/>
        </p:nvSpPr>
        <p:spPr>
          <a:xfrm>
            <a:off x="7481888" y="2290761"/>
            <a:ext cx="4152900" cy="615553"/>
          </a:xfrm>
          <a:prstGeom prst="rect">
            <a:avLst/>
          </a:prstGeom>
          <a:noFill/>
        </p:spPr>
        <p:txBody>
          <a:bodyPr wrap="square" lIns="0" tIns="0" rIns="0" bIns="0" rtlCol="0">
            <a:spAutoFit/>
          </a:bodyPr>
          <a:lstStyle/>
          <a:p>
            <a:r>
              <a:rPr lang="ru-RU" sz="2000" dirty="0">
                <a:gradFill>
                  <a:gsLst>
                    <a:gs pos="0">
                      <a:schemeClr val="accent1"/>
                    </a:gs>
                    <a:gs pos="100000">
                      <a:schemeClr val="accent4">
                        <a:lumMod val="100000"/>
                      </a:schemeClr>
                    </a:gs>
                  </a:gsLst>
                  <a:lin ang="2700000" scaled="0"/>
                </a:gradFill>
                <a:latin typeface="Open Sans Semibold" panose="020B0706030804020204" pitchFamily="34" charset="0"/>
                <a:ea typeface="Open Sans Semibold" panose="020B0706030804020204" pitchFamily="34" charset="0"/>
                <a:cs typeface="Open Sans Semibold" panose="020B0706030804020204" pitchFamily="34" charset="0"/>
              </a:rPr>
              <a:t>Кибернетические методы </a:t>
            </a:r>
            <a:r>
              <a:rPr lang="en-US" sz="2000" dirty="0">
                <a:gradFill>
                  <a:gsLst>
                    <a:gs pos="0">
                      <a:schemeClr val="accent1"/>
                    </a:gs>
                    <a:gs pos="100000">
                      <a:schemeClr val="accent4">
                        <a:lumMod val="100000"/>
                      </a:schemeClr>
                    </a:gs>
                  </a:gsLst>
                  <a:lin ang="2700000" scaled="0"/>
                </a:gradFill>
                <a:latin typeface="Open Sans Semibold" panose="020B0706030804020204" pitchFamily="34" charset="0"/>
                <a:ea typeface="Open Sans Semibold" panose="020B0706030804020204" pitchFamily="34" charset="0"/>
                <a:cs typeface="Open Sans Semibold" panose="020B0706030804020204" pitchFamily="34" charset="0"/>
              </a:rPr>
              <a:t>Data </a:t>
            </a:r>
            <a:r>
              <a:rPr lang="en-US" sz="2000" dirty="0" smtClean="0">
                <a:gradFill>
                  <a:gsLst>
                    <a:gs pos="0">
                      <a:schemeClr val="accent1"/>
                    </a:gs>
                    <a:gs pos="100000">
                      <a:schemeClr val="accent4">
                        <a:lumMod val="100000"/>
                      </a:schemeClr>
                    </a:gs>
                  </a:gsLst>
                  <a:lin ang="2700000" scaled="0"/>
                </a:gradFill>
                <a:latin typeface="Open Sans Semibold" panose="020B0706030804020204" pitchFamily="34" charset="0"/>
                <a:ea typeface="Open Sans Semibold" panose="020B0706030804020204" pitchFamily="34" charset="0"/>
                <a:cs typeface="Open Sans Semibold" panose="020B0706030804020204" pitchFamily="34" charset="0"/>
              </a:rPr>
              <a:t>Mining</a:t>
            </a:r>
            <a:r>
              <a:rPr lang="ru-RU" sz="2000" dirty="0" smtClean="0">
                <a:gradFill>
                  <a:gsLst>
                    <a:gs pos="0">
                      <a:schemeClr val="accent1"/>
                    </a:gs>
                    <a:gs pos="100000">
                      <a:schemeClr val="accent4">
                        <a:lumMod val="100000"/>
                      </a:schemeClr>
                    </a:gs>
                  </a:gsLst>
                  <a:lin ang="2700000" scaled="0"/>
                </a:gradFill>
                <a:latin typeface="Open Sans Semibold" panose="020B0706030804020204" pitchFamily="34" charset="0"/>
                <a:ea typeface="Open Sans Semibold" panose="020B0706030804020204" pitchFamily="34" charset="0"/>
                <a:cs typeface="Open Sans Semibold" panose="020B0706030804020204" pitchFamily="34" charset="0"/>
              </a:rPr>
              <a:t> включают следующие методы:</a:t>
            </a:r>
            <a:endParaRPr lang="en-US" sz="2000" dirty="0">
              <a:gradFill>
                <a:gsLst>
                  <a:gs pos="0">
                    <a:schemeClr val="accent1"/>
                  </a:gs>
                  <a:gs pos="100000">
                    <a:schemeClr val="accent4">
                      <a:lumMod val="100000"/>
                    </a:schemeClr>
                  </a:gs>
                </a:gsLst>
                <a:lin ang="2700000" scaled="0"/>
              </a:gra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12" name="TextBox 11"/>
          <p:cNvSpPr txBox="1"/>
          <p:nvPr/>
        </p:nvSpPr>
        <p:spPr>
          <a:xfrm flipH="1">
            <a:off x="7481888" y="3801992"/>
            <a:ext cx="4119562" cy="1593450"/>
          </a:xfrm>
          <a:prstGeom prst="rect">
            <a:avLst/>
          </a:prstGeom>
          <a:noFill/>
        </p:spPr>
        <p:txBody>
          <a:bodyPr wrap="square" lIns="0" tIns="0" rIns="0" bIns="0" rtlCol="0">
            <a:spAutoFit/>
          </a:bodyPr>
          <a:lstStyle/>
          <a:p>
            <a:pPr>
              <a:lnSpc>
                <a:spcPct val="125000"/>
              </a:lnSpc>
            </a:pPr>
            <a:r>
              <a:rPr lang="ru-RU" sz="1200" dirty="0">
                <a:latin typeface="Open Sans" panose="020B0606030504020204" pitchFamily="34" charset="0"/>
                <a:ea typeface="Open Sans" panose="020B0606030504020204" pitchFamily="34" charset="0"/>
                <a:cs typeface="Open Sans" panose="020B0606030504020204" pitchFamily="34" charset="0"/>
              </a:rPr>
              <a:t> </a:t>
            </a:r>
            <a:r>
              <a:rPr lang="ru-RU" sz="1200" dirty="0" smtClean="0">
                <a:latin typeface="Open Sans" panose="020B0606030504020204" pitchFamily="34" charset="0"/>
                <a:ea typeface="Open Sans" panose="020B0606030504020204" pitchFamily="34" charset="0"/>
                <a:cs typeface="Open Sans" panose="020B0606030504020204" pitchFamily="34" charset="0"/>
              </a:rPr>
              <a:t>искусственные </a:t>
            </a:r>
            <a:r>
              <a:rPr lang="ru-RU" sz="1200" dirty="0">
                <a:latin typeface="Open Sans" panose="020B0606030504020204" pitchFamily="34" charset="0"/>
                <a:ea typeface="Open Sans" panose="020B0606030504020204" pitchFamily="34" charset="0"/>
                <a:cs typeface="Open Sans" panose="020B0606030504020204" pitchFamily="34" charset="0"/>
              </a:rPr>
              <a:t>нейронные сети (распознавание, кластеризация);</a:t>
            </a:r>
          </a:p>
          <a:p>
            <a:pPr>
              <a:lnSpc>
                <a:spcPct val="125000"/>
              </a:lnSpc>
            </a:pPr>
            <a:r>
              <a:rPr lang="ru-RU" sz="1200" dirty="0">
                <a:latin typeface="Open Sans" panose="020B0606030504020204" pitchFamily="34" charset="0"/>
                <a:ea typeface="Open Sans" panose="020B0606030504020204" pitchFamily="34" charset="0"/>
                <a:cs typeface="Open Sans" panose="020B0606030504020204" pitchFamily="34" charset="0"/>
              </a:rPr>
              <a:t> эволюционное программирование;</a:t>
            </a:r>
          </a:p>
          <a:p>
            <a:pPr>
              <a:lnSpc>
                <a:spcPct val="125000"/>
              </a:lnSpc>
            </a:pPr>
            <a:r>
              <a:rPr lang="ru-RU" sz="1200" dirty="0">
                <a:latin typeface="Open Sans" panose="020B0606030504020204" pitchFamily="34" charset="0"/>
                <a:ea typeface="Open Sans" panose="020B0606030504020204" pitchFamily="34" charset="0"/>
                <a:cs typeface="Open Sans" panose="020B0606030504020204" pitchFamily="34" charset="0"/>
              </a:rPr>
              <a:t> генетические алгоритмы (оптимизация);</a:t>
            </a:r>
          </a:p>
          <a:p>
            <a:pPr>
              <a:lnSpc>
                <a:spcPct val="125000"/>
              </a:lnSpc>
            </a:pPr>
            <a:r>
              <a:rPr lang="ru-RU" sz="1200" dirty="0">
                <a:latin typeface="Open Sans" panose="020B0606030504020204" pitchFamily="34" charset="0"/>
                <a:ea typeface="Open Sans" panose="020B0606030504020204" pitchFamily="34" charset="0"/>
                <a:cs typeface="Open Sans" panose="020B0606030504020204" pitchFamily="34" charset="0"/>
              </a:rPr>
              <a:t> ассоциативные правила (поиск аналогов, прототипов);</a:t>
            </a:r>
          </a:p>
          <a:p>
            <a:pPr>
              <a:lnSpc>
                <a:spcPct val="125000"/>
              </a:lnSpc>
            </a:pPr>
            <a:r>
              <a:rPr lang="ru-RU" sz="1200" dirty="0">
                <a:latin typeface="Open Sans" panose="020B0606030504020204" pitchFamily="34" charset="0"/>
                <a:ea typeface="Open Sans" panose="020B0606030504020204" pitchFamily="34" charset="0"/>
                <a:cs typeface="Open Sans" panose="020B0606030504020204" pitchFamily="34" charset="0"/>
              </a:rPr>
              <a:t> нечеткая логика;</a:t>
            </a:r>
          </a:p>
          <a:p>
            <a:pPr>
              <a:lnSpc>
                <a:spcPct val="125000"/>
              </a:lnSpc>
            </a:pPr>
            <a:r>
              <a:rPr lang="ru-RU" sz="1200" dirty="0">
                <a:latin typeface="Open Sans" panose="020B0606030504020204" pitchFamily="34" charset="0"/>
                <a:ea typeface="Open Sans" panose="020B0606030504020204" pitchFamily="34" charset="0"/>
                <a:cs typeface="Open Sans" panose="020B0606030504020204" pitchFamily="34" charset="0"/>
              </a:rPr>
              <a:t> деревья решений;</a:t>
            </a:r>
          </a:p>
          <a:p>
            <a:pPr>
              <a:lnSpc>
                <a:spcPct val="125000"/>
              </a:lnSpc>
            </a:pPr>
            <a:r>
              <a:rPr lang="ru-RU" sz="1200" dirty="0">
                <a:latin typeface="Open Sans" panose="020B0606030504020204" pitchFamily="34" charset="0"/>
                <a:ea typeface="Open Sans" panose="020B0606030504020204" pitchFamily="34" charset="0"/>
                <a:cs typeface="Open Sans" panose="020B0606030504020204" pitchFamily="34" charset="0"/>
              </a:rPr>
              <a:t> системы обработки экспертных знаний</a:t>
            </a: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5" name="Straight Connector 14"/>
          <p:cNvCxnSpPr/>
          <p:nvPr/>
        </p:nvCxnSpPr>
        <p:spPr>
          <a:xfrm>
            <a:off x="7465968" y="3429000"/>
            <a:ext cx="3867150"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746403" y="2290761"/>
            <a:ext cx="4152900" cy="923330"/>
          </a:xfrm>
          <a:prstGeom prst="rect">
            <a:avLst/>
          </a:prstGeom>
          <a:noFill/>
        </p:spPr>
        <p:txBody>
          <a:bodyPr wrap="square" lIns="0" tIns="0" rIns="0" bIns="0" rtlCol="0">
            <a:spAutoFit/>
          </a:bodyPr>
          <a:lstStyle/>
          <a:p>
            <a:pPr algn="just"/>
            <a:r>
              <a:rPr lang="ru-RU" sz="2000" dirty="0">
                <a:gradFill>
                  <a:gsLst>
                    <a:gs pos="0">
                      <a:schemeClr val="accent1"/>
                    </a:gs>
                    <a:gs pos="100000">
                      <a:schemeClr val="accent4">
                        <a:lumMod val="100000"/>
                      </a:schemeClr>
                    </a:gs>
                  </a:gsLst>
                  <a:lin ang="2700000" scaled="0"/>
                </a:gradFill>
                <a:latin typeface="Open Sans Semibold" panose="020B0706030804020204" pitchFamily="34" charset="0"/>
                <a:ea typeface="Open Sans Semibold" panose="020B0706030804020204" pitchFamily="34" charset="0"/>
                <a:cs typeface="Open Sans Semibold" panose="020B0706030804020204" pitchFamily="34" charset="0"/>
              </a:rPr>
              <a:t>Статистические методы Data </a:t>
            </a:r>
            <a:r>
              <a:rPr lang="ru-RU" sz="2000" dirty="0" err="1">
                <a:gradFill>
                  <a:gsLst>
                    <a:gs pos="0">
                      <a:schemeClr val="accent1"/>
                    </a:gs>
                    <a:gs pos="100000">
                      <a:schemeClr val="accent4">
                        <a:lumMod val="100000"/>
                      </a:schemeClr>
                    </a:gs>
                  </a:gsLst>
                  <a:lin ang="2700000" scaled="0"/>
                </a:gradFill>
                <a:latin typeface="Open Sans Semibold" panose="020B0706030804020204" pitchFamily="34" charset="0"/>
                <a:ea typeface="Open Sans Semibold" panose="020B0706030804020204" pitchFamily="34" charset="0"/>
                <a:cs typeface="Open Sans Semibold" panose="020B0706030804020204" pitchFamily="34" charset="0"/>
              </a:rPr>
              <a:t>mining</a:t>
            </a:r>
            <a:r>
              <a:rPr lang="ru-RU" sz="2000" dirty="0">
                <a:gradFill>
                  <a:gsLst>
                    <a:gs pos="0">
                      <a:schemeClr val="accent1"/>
                    </a:gs>
                    <a:gs pos="100000">
                      <a:schemeClr val="accent4">
                        <a:lumMod val="100000"/>
                      </a:schemeClr>
                    </a:gs>
                  </a:gsLst>
                  <a:lin ang="2700000" scaled="0"/>
                </a:gradFill>
                <a:latin typeface="Open Sans Semibold" panose="020B0706030804020204" pitchFamily="34" charset="0"/>
                <a:ea typeface="Open Sans Semibold" panose="020B0706030804020204" pitchFamily="34" charset="0"/>
                <a:cs typeface="Open Sans Semibold" panose="020B0706030804020204" pitchFamily="34" charset="0"/>
              </a:rPr>
              <a:t> представляют собой четыре взаимосвязанных раздела:</a:t>
            </a:r>
            <a:endParaRPr lang="en-US" sz="2000" dirty="0">
              <a:gradFill>
                <a:gsLst>
                  <a:gs pos="0">
                    <a:schemeClr val="accent1"/>
                  </a:gs>
                  <a:gs pos="100000">
                    <a:schemeClr val="accent4">
                      <a:lumMod val="100000"/>
                    </a:schemeClr>
                  </a:gs>
                </a:gsLst>
                <a:lin ang="2700000" scaled="0"/>
              </a:gra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cxnSp>
        <p:nvCxnSpPr>
          <p:cNvPr id="17" name="Straight Connector 14"/>
          <p:cNvCxnSpPr/>
          <p:nvPr/>
        </p:nvCxnSpPr>
        <p:spPr>
          <a:xfrm flipV="1">
            <a:off x="746403" y="3478489"/>
            <a:ext cx="4096780" cy="23995"/>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flipH="1">
            <a:off x="746403" y="3808173"/>
            <a:ext cx="4382946" cy="2077492"/>
          </a:xfrm>
          <a:prstGeom prst="rect">
            <a:avLst/>
          </a:prstGeom>
          <a:noFill/>
        </p:spPr>
        <p:txBody>
          <a:bodyPr wrap="square" lIns="0" tIns="0" rIns="0" bIns="0" rtlCol="0">
            <a:spAutoFit/>
          </a:bodyPr>
          <a:lstStyle/>
          <a:p>
            <a:pPr>
              <a:lnSpc>
                <a:spcPct val="125000"/>
              </a:lnSpc>
            </a:pPr>
            <a:r>
              <a:rPr lang="ru-RU" sz="1200" dirty="0">
                <a:latin typeface="Open Sans" panose="020B0606030504020204" pitchFamily="34" charset="0"/>
                <a:ea typeface="Open Sans" panose="020B0606030504020204" pitchFamily="34" charset="0"/>
                <a:cs typeface="Open Sans" panose="020B0606030504020204" pitchFamily="34" charset="0"/>
              </a:rPr>
              <a:t> </a:t>
            </a:r>
            <a:r>
              <a:rPr lang="ru-RU" sz="1200" dirty="0" smtClean="0">
                <a:latin typeface="Open Sans" panose="020B0606030504020204" pitchFamily="34" charset="0"/>
                <a:ea typeface="Open Sans" panose="020B0606030504020204" pitchFamily="34" charset="0"/>
                <a:cs typeface="Open Sans" panose="020B0606030504020204" pitchFamily="34" charset="0"/>
              </a:rPr>
              <a:t>предварительный </a:t>
            </a:r>
            <a:r>
              <a:rPr lang="ru-RU" sz="1200" dirty="0">
                <a:latin typeface="Open Sans" panose="020B0606030504020204" pitchFamily="34" charset="0"/>
                <a:ea typeface="Open Sans" panose="020B0606030504020204" pitchFamily="34" charset="0"/>
                <a:cs typeface="Open Sans" panose="020B0606030504020204" pitchFamily="34" charset="0"/>
              </a:rPr>
              <a:t>анализ природы статистических данных (проверка</a:t>
            </a:r>
          </a:p>
          <a:p>
            <a:pPr>
              <a:lnSpc>
                <a:spcPct val="125000"/>
              </a:lnSpc>
            </a:pPr>
            <a:r>
              <a:rPr lang="ru-RU" sz="1200" dirty="0">
                <a:latin typeface="Open Sans" panose="020B0606030504020204" pitchFamily="34" charset="0"/>
                <a:ea typeface="Open Sans" panose="020B0606030504020204" pitchFamily="34" charset="0"/>
                <a:cs typeface="Open Sans" panose="020B0606030504020204" pitchFamily="34" charset="0"/>
              </a:rPr>
              <a:t>гипотез стационарности, нормальности, независимости, однородности,</a:t>
            </a:r>
          </a:p>
          <a:p>
            <a:pPr>
              <a:lnSpc>
                <a:spcPct val="125000"/>
              </a:lnSpc>
            </a:pPr>
            <a:r>
              <a:rPr lang="ru-RU" sz="1200" dirty="0">
                <a:latin typeface="Open Sans" panose="020B0606030504020204" pitchFamily="34" charset="0"/>
                <a:ea typeface="Open Sans" panose="020B0606030504020204" pitchFamily="34" charset="0"/>
                <a:cs typeface="Open Sans" panose="020B0606030504020204" pitchFamily="34" charset="0"/>
              </a:rPr>
              <a:t>оценка вида функции распределения, ее параметров и т.п.);</a:t>
            </a:r>
          </a:p>
          <a:p>
            <a:pPr>
              <a:lnSpc>
                <a:spcPct val="125000"/>
              </a:lnSpc>
            </a:pPr>
            <a:r>
              <a:rPr lang="ru-RU" sz="1200" dirty="0">
                <a:latin typeface="Open Sans" panose="020B0606030504020204" pitchFamily="34" charset="0"/>
                <a:ea typeface="Open Sans" panose="020B0606030504020204" pitchFamily="34" charset="0"/>
                <a:cs typeface="Open Sans" panose="020B0606030504020204" pitchFamily="34" charset="0"/>
              </a:rPr>
              <a:t> выявление связей и закономерностей (линейный и нелинейный регрессионный анализ, корреляционный анализ и др.);</a:t>
            </a:r>
          </a:p>
          <a:p>
            <a:pPr>
              <a:lnSpc>
                <a:spcPct val="125000"/>
              </a:lnSpc>
            </a:pPr>
            <a:r>
              <a:rPr lang="ru-RU" sz="1200" dirty="0">
                <a:latin typeface="Open Sans" panose="020B0606030504020204" pitchFamily="34" charset="0"/>
                <a:ea typeface="Open Sans" panose="020B0606030504020204" pitchFamily="34" charset="0"/>
                <a:cs typeface="Open Sans" panose="020B0606030504020204" pitchFamily="34" charset="0"/>
              </a:rPr>
              <a:t> многомерный статистический анализ (линейный и нелинейный дискриминантный анализ, кластерный анализ, компонентный анализ, факторный анализ и др.);</a:t>
            </a:r>
          </a:p>
          <a:p>
            <a:pPr>
              <a:lnSpc>
                <a:spcPct val="125000"/>
              </a:lnSpc>
            </a:pPr>
            <a:r>
              <a:rPr lang="ru-RU" sz="1200" dirty="0">
                <a:latin typeface="Open Sans" panose="020B0606030504020204" pitchFamily="34" charset="0"/>
                <a:ea typeface="Open Sans" panose="020B0606030504020204" pitchFamily="34" charset="0"/>
                <a:cs typeface="Open Sans" panose="020B0606030504020204" pitchFamily="34" charset="0"/>
              </a:rPr>
              <a:t> динамические модели и прогноз на основе временных рядов.</a:t>
            </a: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41571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BEBA8EAE-BF5A-486C-A8C5-ECC9F3942E4B}">
                <a14:imgProps xmlns:a14="http://schemas.microsoft.com/office/drawing/2010/main">
                  <a14:imgLayer r:embed="rId3">
                    <a14:imgEffect>
                      <a14:colorTemperature colorTemp="1500"/>
                    </a14:imgEffect>
                  </a14:imgLayer>
                </a14:imgProps>
              </a:ext>
              <a:ext uri="{28A0092B-C50C-407E-A947-70E740481C1C}">
                <a14:useLocalDpi xmlns:a14="http://schemas.microsoft.com/office/drawing/2010/main" val="0"/>
              </a:ext>
            </a:extLst>
          </a:blip>
          <a:stretch>
            <a:fillRect/>
          </a:stretch>
        </p:blipFill>
        <p:spPr>
          <a:xfrm>
            <a:off x="804487" y="100296"/>
            <a:ext cx="9525489" cy="6858000"/>
          </a:xfrm>
          <a:prstGeom prst="rect">
            <a:avLst/>
          </a:prstGeom>
        </p:spPr>
      </p:pic>
      <p:graphicFrame>
        <p:nvGraphicFramePr>
          <p:cNvPr id="17" name="Схема 16"/>
          <p:cNvGraphicFramePr/>
          <p:nvPr>
            <p:extLst/>
          </p:nvPr>
        </p:nvGraphicFramePr>
        <p:xfrm>
          <a:off x="1554714" y="476812"/>
          <a:ext cx="8946645" cy="617668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Rounded Rectangle 4"/>
          <p:cNvSpPr/>
          <p:nvPr/>
        </p:nvSpPr>
        <p:spPr>
          <a:xfrm rot="5400000">
            <a:off x="4933501" y="2505753"/>
            <a:ext cx="2189069" cy="2466749"/>
          </a:xfrm>
          <a:prstGeom prst="roundRect">
            <a:avLst/>
          </a:prstGeom>
          <a:gradFill>
            <a:gsLst>
              <a:gs pos="0">
                <a:schemeClr val="accent1">
                  <a:alpha val="50000"/>
                </a:schemeClr>
              </a:gs>
              <a:gs pos="100000">
                <a:schemeClr val="accent4">
                  <a:lumMod val="100000"/>
                  <a:alpha val="81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TextBox 10"/>
          <p:cNvSpPr txBox="1"/>
          <p:nvPr/>
        </p:nvSpPr>
        <p:spPr>
          <a:xfrm>
            <a:off x="4732013" y="2716568"/>
            <a:ext cx="2583188" cy="1969770"/>
          </a:xfrm>
          <a:prstGeom prst="rect">
            <a:avLst/>
          </a:prstGeom>
          <a:noFill/>
        </p:spPr>
        <p:txBody>
          <a:bodyPr wrap="square" lIns="0" tIns="0" rIns="0" bIns="0" rtlCol="0">
            <a:spAutoFit/>
          </a:bodyPr>
          <a:lstStyle/>
          <a:p>
            <a:pPr algn="ctr"/>
            <a:r>
              <a:rPr lang="ru-RU" sz="2800" dirty="0" smtClean="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Инструменты</a:t>
            </a:r>
          </a:p>
          <a:p>
            <a:pPr algn="ctr"/>
            <a:r>
              <a:rPr lang="en-US" sz="2800" dirty="0" smtClean="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Data Mining</a:t>
            </a:r>
          </a:p>
          <a:p>
            <a:pPr algn="ctr"/>
            <a:r>
              <a:rPr lang="ru-RU" sz="1200" dirty="0">
                <a:solidFill>
                  <a:schemeClr val="bg1"/>
                </a:solidFill>
              </a:rPr>
              <a:t>это наборы программных средств, с помощью которых выполняется подготовка данных и обеспечиваются алгоритмы их интеллектуального анализа, а также осуществляются процессы машинного обучения.</a:t>
            </a:r>
            <a:endParaRPr lang="en-US"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spTree>
    <p:extLst>
      <p:ext uri="{BB962C8B-B14F-4D97-AF65-F5344CB8AC3E}">
        <p14:creationId xmlns:p14="http://schemas.microsoft.com/office/powerpoint/2010/main" val="620965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Рисунок 3"/>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5205021" y="239349"/>
            <a:ext cx="2152650" cy="1076325"/>
          </a:xfrm>
          <a:prstGeom prst="rect">
            <a:avLst/>
          </a:prstGeom>
          <a:solidFill>
            <a:schemeClr val="bg2">
              <a:alpha val="0"/>
            </a:schemeClr>
          </a:solidFill>
          <a:effectLst>
            <a:glow rad="127000">
              <a:schemeClr val="accent1"/>
            </a:glow>
          </a:effectLst>
        </p:spPr>
      </p:pic>
      <p:sp>
        <p:nvSpPr>
          <p:cNvPr id="10" name="TextBox 9"/>
          <p:cNvSpPr txBox="1"/>
          <p:nvPr/>
        </p:nvSpPr>
        <p:spPr>
          <a:xfrm>
            <a:off x="1407885" y="3704771"/>
            <a:ext cx="9376229" cy="984885"/>
          </a:xfrm>
          <a:prstGeom prst="rect">
            <a:avLst/>
          </a:prstGeom>
          <a:noFill/>
        </p:spPr>
        <p:txBody>
          <a:bodyPr wrap="square" lIns="0" tIns="0" rIns="0" bIns="0" rtlCol="0">
            <a:spAutoFit/>
          </a:bodyPr>
          <a:lstStyle/>
          <a:p>
            <a:pPr algn="ctr"/>
            <a:r>
              <a:rPr lang="en-US" sz="3200"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Now You can create Awesome Template Within a minute with Right Presentation</a:t>
            </a:r>
          </a:p>
        </p:txBody>
      </p:sp>
      <p:sp>
        <p:nvSpPr>
          <p:cNvPr id="2" name="Прямоугольник 1"/>
          <p:cNvSpPr/>
          <p:nvPr/>
        </p:nvSpPr>
        <p:spPr>
          <a:xfrm>
            <a:off x="4769592" y="3011109"/>
            <a:ext cx="6734431" cy="1569660"/>
          </a:xfrm>
          <a:prstGeom prst="rect">
            <a:avLst/>
          </a:prstGeom>
        </p:spPr>
        <p:txBody>
          <a:bodyPr wrap="square">
            <a:spAutoFit/>
          </a:bodyPr>
          <a:lstStyle/>
          <a:p>
            <a:pPr algn="just"/>
            <a:r>
              <a:rPr lang="ru-RU" sz="1600" dirty="0" err="1">
                <a:latin typeface="Open Sans"/>
              </a:rPr>
              <a:t>Python</a:t>
            </a:r>
            <a:r>
              <a:rPr lang="ru-RU" sz="1600" dirty="0">
                <a:latin typeface="Open Sans"/>
              </a:rPr>
              <a:t> - язык программирования, имеющий много полезных для Data </a:t>
            </a:r>
            <a:r>
              <a:rPr lang="ru-RU" sz="1600" dirty="0" err="1">
                <a:latin typeface="Open Sans"/>
              </a:rPr>
              <a:t>Mining</a:t>
            </a:r>
            <a:r>
              <a:rPr lang="ru-RU" sz="1600" dirty="0">
                <a:latin typeface="Open Sans"/>
              </a:rPr>
              <a:t>. К ним относятся </a:t>
            </a:r>
            <a:r>
              <a:rPr lang="ru-RU" sz="1600" dirty="0" err="1">
                <a:latin typeface="Open Sans"/>
              </a:rPr>
              <a:t>Pandas</a:t>
            </a:r>
            <a:r>
              <a:rPr lang="ru-RU" sz="1600" dirty="0">
                <a:latin typeface="Open Sans"/>
              </a:rPr>
              <a:t>, отвечающая за обработку данных, </a:t>
            </a:r>
            <a:r>
              <a:rPr lang="ru-RU" sz="1600" dirty="0" err="1">
                <a:latin typeface="Open Sans"/>
              </a:rPr>
              <a:t>Numphy</a:t>
            </a:r>
            <a:r>
              <a:rPr lang="ru-RU" sz="1600" dirty="0">
                <a:latin typeface="Open Sans"/>
              </a:rPr>
              <a:t>, работающая с матрицами, </a:t>
            </a:r>
            <a:r>
              <a:rPr lang="ru-RU" sz="1600" dirty="0" err="1">
                <a:latin typeface="Open Sans"/>
              </a:rPr>
              <a:t>Sklearn</a:t>
            </a:r>
            <a:r>
              <a:rPr lang="ru-RU" sz="1600" dirty="0">
                <a:latin typeface="Open Sans"/>
              </a:rPr>
              <a:t> и </a:t>
            </a:r>
            <a:r>
              <a:rPr lang="ru-RU" sz="1600" dirty="0" err="1">
                <a:latin typeface="Open Sans"/>
              </a:rPr>
              <a:t>Pybrain</a:t>
            </a:r>
            <a:r>
              <a:rPr lang="ru-RU" sz="1600" dirty="0">
                <a:latin typeface="Open Sans"/>
              </a:rPr>
              <a:t>, используемые в алгоритмах машинного обучения, </a:t>
            </a:r>
            <a:r>
              <a:rPr lang="ru-RU" sz="1600" dirty="0" err="1">
                <a:latin typeface="Open Sans"/>
              </a:rPr>
              <a:t>Statsmodels</a:t>
            </a:r>
            <a:r>
              <a:rPr lang="ru-RU" sz="1600" dirty="0">
                <a:latin typeface="Open Sans"/>
              </a:rPr>
              <a:t>, содержащая основные статистические функции и модели, </a:t>
            </a:r>
            <a:r>
              <a:rPr lang="ru-RU" sz="1600" dirty="0" err="1">
                <a:latin typeface="Open Sans"/>
              </a:rPr>
              <a:t>Matplotlib</a:t>
            </a:r>
            <a:r>
              <a:rPr lang="ru-RU" sz="1600" dirty="0">
                <a:latin typeface="Open Sans"/>
              </a:rPr>
              <a:t>, позволяющая визуализировать результаты обработки </a:t>
            </a:r>
            <a:r>
              <a:rPr lang="ru-RU" sz="1600" dirty="0" smtClean="0">
                <a:latin typeface="Open Sans"/>
              </a:rPr>
              <a:t>данных</a:t>
            </a:r>
            <a:r>
              <a:rPr lang="ru-RU" sz="1600" dirty="0">
                <a:latin typeface="Open Sans"/>
              </a:rPr>
              <a:t>.</a:t>
            </a:r>
          </a:p>
        </p:txBody>
      </p:sp>
      <p:pic>
        <p:nvPicPr>
          <p:cNvPr id="3" name="Рисунок 2"/>
          <p:cNvPicPr>
            <a:picLocks noChangeAspect="1"/>
          </p:cNvPicPr>
          <p:nvPr/>
        </p:nvPicPr>
        <p:blipFill>
          <a:blip r:embed="rId5"/>
          <a:stretch>
            <a:fillRect/>
          </a:stretch>
        </p:blipFill>
        <p:spPr>
          <a:xfrm>
            <a:off x="0" y="1279752"/>
            <a:ext cx="4523639" cy="5578248"/>
          </a:xfrm>
          <a:prstGeom prst="rect">
            <a:avLst/>
          </a:prstGeom>
        </p:spPr>
      </p:pic>
    </p:spTree>
    <p:extLst>
      <p:ext uri="{BB962C8B-B14F-4D97-AF65-F5344CB8AC3E}">
        <p14:creationId xmlns:p14="http://schemas.microsoft.com/office/powerpoint/2010/main" val="16768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stretch>
            <a:fillRect/>
          </a:stretch>
        </p:blipFill>
        <p:spPr>
          <a:xfrm>
            <a:off x="6494808" y="3692694"/>
            <a:ext cx="4467225" cy="2390775"/>
          </a:xfrm>
          <a:prstGeom prst="rect">
            <a:avLst/>
          </a:prstGeom>
        </p:spPr>
      </p:pic>
      <p:sp>
        <p:nvSpPr>
          <p:cNvPr id="2" name="Прямоугольник 1"/>
          <p:cNvSpPr/>
          <p:nvPr/>
        </p:nvSpPr>
        <p:spPr>
          <a:xfrm>
            <a:off x="401884" y="3036481"/>
            <a:ext cx="5225191" cy="3046988"/>
          </a:xfrm>
          <a:prstGeom prst="rect">
            <a:avLst/>
          </a:prstGeom>
        </p:spPr>
        <p:txBody>
          <a:bodyPr wrap="square">
            <a:spAutoFit/>
          </a:bodyPr>
          <a:lstStyle/>
          <a:p>
            <a:pPr algn="just"/>
            <a:endParaRPr lang="ru-RU" sz="1600" dirty="0" smtClean="0">
              <a:latin typeface="Open Sans"/>
            </a:endParaRPr>
          </a:p>
          <a:p>
            <a:pPr algn="just"/>
            <a:r>
              <a:rPr lang="ru-RU" sz="1600" dirty="0">
                <a:latin typeface="Open Sans"/>
              </a:rPr>
              <a:t>R позволяет:</a:t>
            </a:r>
          </a:p>
          <a:p>
            <a:pPr algn="just"/>
            <a:endParaRPr lang="ru-RU" sz="1600" dirty="0">
              <a:latin typeface="Open Sans"/>
            </a:endParaRPr>
          </a:p>
          <a:p>
            <a:pPr marL="285750" indent="-285750" algn="just">
              <a:buFont typeface="Wingdings" panose="05000000000000000000" pitchFamily="2" charset="2"/>
              <a:buChar char="q"/>
            </a:pPr>
            <a:r>
              <a:rPr lang="ru-RU" sz="1600" dirty="0">
                <a:latin typeface="Open Sans"/>
              </a:rPr>
              <a:t>создавать новые переменные;</a:t>
            </a:r>
          </a:p>
          <a:p>
            <a:pPr marL="285750" indent="-285750" algn="just">
              <a:buFont typeface="Wingdings" panose="05000000000000000000" pitchFamily="2" charset="2"/>
              <a:buChar char="q"/>
            </a:pPr>
            <a:r>
              <a:rPr lang="ru-RU" sz="1600" dirty="0">
                <a:latin typeface="Open Sans"/>
              </a:rPr>
              <a:t>сортировать и объединять наборы данных;</a:t>
            </a:r>
          </a:p>
          <a:p>
            <a:pPr marL="285750" indent="-285750" algn="just">
              <a:buFont typeface="Wingdings" panose="05000000000000000000" pitchFamily="2" charset="2"/>
              <a:buChar char="q"/>
            </a:pPr>
            <a:r>
              <a:rPr lang="ru-RU" sz="1600" dirty="0">
                <a:latin typeface="Open Sans"/>
              </a:rPr>
              <a:t>обобщать данные;</a:t>
            </a:r>
          </a:p>
          <a:p>
            <a:pPr marL="285750" indent="-285750" algn="just">
              <a:buFont typeface="Wingdings" panose="05000000000000000000" pitchFamily="2" charset="2"/>
              <a:buChar char="q"/>
            </a:pPr>
            <a:r>
              <a:rPr lang="ru-RU" sz="1600" dirty="0">
                <a:latin typeface="Open Sans"/>
              </a:rPr>
              <a:t>изменять формат данных;</a:t>
            </a:r>
          </a:p>
          <a:p>
            <a:pPr marL="285750" indent="-285750" algn="just">
              <a:buFont typeface="Wingdings" panose="05000000000000000000" pitchFamily="2" charset="2"/>
              <a:buChar char="q"/>
            </a:pPr>
            <a:r>
              <a:rPr lang="ru-RU" sz="1600" dirty="0">
                <a:latin typeface="Open Sans"/>
              </a:rPr>
              <a:t>разбивать данные на подмножества, в том числе в рамках классификации и </a:t>
            </a:r>
            <a:r>
              <a:rPr lang="ru-RU" sz="1600" dirty="0" err="1">
                <a:latin typeface="Open Sans"/>
              </a:rPr>
              <a:t>кластеризации.Все</a:t>
            </a:r>
            <a:r>
              <a:rPr lang="ru-RU" sz="1600" dirty="0">
                <a:latin typeface="Open Sans"/>
              </a:rPr>
              <a:t> перечисленные операции выполняются при помощи стандартных (либо подключаемых в рамках библиотек) операторов языка.</a:t>
            </a:r>
          </a:p>
        </p:txBody>
      </p:sp>
      <p:sp>
        <p:nvSpPr>
          <p:cNvPr id="4" name="Прямоугольник 3"/>
          <p:cNvSpPr/>
          <p:nvPr/>
        </p:nvSpPr>
        <p:spPr>
          <a:xfrm>
            <a:off x="401884" y="2434773"/>
            <a:ext cx="11656138" cy="984885"/>
          </a:xfrm>
          <a:prstGeom prst="rect">
            <a:avLst/>
          </a:prstGeom>
        </p:spPr>
        <p:txBody>
          <a:bodyPr wrap="square">
            <a:spAutoFit/>
          </a:bodyPr>
          <a:lstStyle/>
          <a:p>
            <a:pPr lvl="0" algn="ctr"/>
            <a:r>
              <a:rPr lang="en-US" sz="2000" dirty="0" smtClean="0">
                <a:gradFill>
                  <a:gsLst>
                    <a:gs pos="0">
                      <a:srgbClr val="22B1BF"/>
                    </a:gs>
                    <a:gs pos="100000">
                      <a:srgbClr val="6B71C5">
                        <a:lumMod val="100000"/>
                      </a:srgbClr>
                    </a:gs>
                  </a:gsLst>
                  <a:lin ang="2700000" scaled="0"/>
                </a:gradFill>
                <a:latin typeface="Open Sans Semibold" panose="020B0706030804020204" pitchFamily="34" charset="0"/>
                <a:ea typeface="Open Sans Semibold" panose="020B0706030804020204" pitchFamily="34" charset="0"/>
                <a:cs typeface="Open Sans Semibold" panose="020B0706030804020204" pitchFamily="34" charset="0"/>
              </a:rPr>
              <a:t>R </a:t>
            </a:r>
            <a:r>
              <a:rPr lang="ru-RU" sz="2000" dirty="0" smtClean="0">
                <a:gradFill>
                  <a:gsLst>
                    <a:gs pos="0">
                      <a:srgbClr val="22B1BF"/>
                    </a:gs>
                    <a:gs pos="100000">
                      <a:srgbClr val="6B71C5">
                        <a:lumMod val="100000"/>
                      </a:srgbClr>
                    </a:gs>
                  </a:gsLst>
                  <a:lin ang="2700000" scaled="0"/>
                </a:gradFill>
                <a:latin typeface="Open Sans Semibold" panose="020B0706030804020204" pitchFamily="34" charset="0"/>
                <a:ea typeface="Open Sans Semibold" panose="020B0706030804020204" pitchFamily="34" charset="0"/>
                <a:cs typeface="Open Sans Semibold" panose="020B0706030804020204" pitchFamily="34" charset="0"/>
              </a:rPr>
              <a:t>– язык </a:t>
            </a:r>
            <a:r>
              <a:rPr lang="ru-RU" sz="2000" dirty="0">
                <a:gradFill>
                  <a:gsLst>
                    <a:gs pos="0">
                      <a:srgbClr val="22B1BF"/>
                    </a:gs>
                    <a:gs pos="100000">
                      <a:srgbClr val="6B71C5">
                        <a:lumMod val="100000"/>
                      </a:srgbClr>
                    </a:gs>
                  </a:gsLst>
                  <a:lin ang="2700000" scaled="0"/>
                </a:gradFill>
                <a:latin typeface="Open Sans Semibold" panose="020B0706030804020204" pitchFamily="34" charset="0"/>
                <a:ea typeface="Open Sans Semibold" panose="020B0706030804020204" pitchFamily="34" charset="0"/>
                <a:cs typeface="Open Sans Semibold" panose="020B0706030804020204" pitchFamily="34" charset="0"/>
              </a:rPr>
              <a:t>программирования и программная среда, специализированные для статистической обработки данных, машинного обучения и работы с графиками. </a:t>
            </a:r>
            <a:endParaRPr lang="en-US" sz="2000" dirty="0">
              <a:gradFill>
                <a:gsLst>
                  <a:gs pos="0">
                    <a:srgbClr val="22B1BF"/>
                  </a:gs>
                  <a:gs pos="100000">
                    <a:srgbClr val="6B71C5">
                      <a:lumMod val="100000"/>
                    </a:srgbClr>
                  </a:gs>
                </a:gsLst>
                <a:lin ang="2700000" scaled="0"/>
              </a:gradFill>
              <a:latin typeface="Open Sans Semibold" panose="020B0706030804020204" pitchFamily="34" charset="0"/>
              <a:ea typeface="Open Sans Semibold" panose="020B0706030804020204" pitchFamily="34" charset="0"/>
              <a:cs typeface="Open Sans Semibold" panose="020B0706030804020204" pitchFamily="34" charset="0"/>
            </a:endParaRPr>
          </a:p>
          <a:p>
            <a:pPr algn="just"/>
            <a:endParaRPr lang="ru-RU" dirty="0">
              <a:latin typeface="Open Sans"/>
            </a:endParaRPr>
          </a:p>
        </p:txBody>
      </p:sp>
      <p:pic>
        <p:nvPicPr>
          <p:cNvPr id="13314" name="Picture 2" descr="https://upload.wikimedia.org/wikipedia/commons/thumb/7/7d/Antu_rstudio.svg/1200px-Antu_rstudio.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85891" y="203443"/>
            <a:ext cx="1688123" cy="16881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0943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0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4.56093100000000006844E+00&quot;&gt;&lt;m_msothmcolidx val=&quot;0&quot;/&gt;&lt;m_rgb r=&quot;63&quot; g=&quot;B1&quot; b=&quot;F8&quot;/&gt;&lt;m_nBrightness endver=&quot;26206&quot; val=&quot;0&quot;/&gt;&lt;/elem&gt;&lt;elem m_fUsage=&quot;1.13439690000000026338E+00&quot;&gt;&lt;m_msothmcolidx val=&quot;0&quot;/&gt;&lt;m_rgb r=&quot;05&quot; g=&quot;88&quot; b=&quot;DB&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cFy6t3pBy6JKx6IkiWNQo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pUcQ1cOU5LRsTLQWEb0z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Ruogm8wHb.sgEEd50NDb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2P5e9mE_NMtsVOa_hqY1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TXPfLRZhI7gAlFOKe2pJ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TXPfLRZhI7gAlFOKe2p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TXPfLRZhI7gAlFOKe2p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TXPfLRZhI7gAlFOKe2pJ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TXPfLRZhI7gAlFOKe2pJ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TXPfLRZhI7gAlFOKe2pJ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TXPfLRZhI7gAlFOKe2pJ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ITXPfLRZhI7gAlFOKe2pJ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TXPfLRZhI7gAlFOKe2pJ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0wTuw5HiNCiRxVHY7QWp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m7B.HOtLdCxwW1awYQrQ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TZ6XbmVfzDDRVKXb0Lr74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7U_OMc0uiKJY8enCgeVbPQ"/>
</p:tagLst>
</file>

<file path=ppt/theme/theme1.xml><?xml version="1.0" encoding="utf-8"?>
<a:theme xmlns:a="http://schemas.openxmlformats.org/drawingml/2006/main" name="Office Theme">
  <a:themeElements>
    <a:clrScheme name="Right 2">
      <a:dk1>
        <a:sysClr val="windowText" lastClr="000000"/>
      </a:dk1>
      <a:lt1>
        <a:srgbClr val="F7F7F7"/>
      </a:lt1>
      <a:dk2>
        <a:srgbClr val="44546A"/>
      </a:dk2>
      <a:lt2>
        <a:srgbClr val="E7E6E6"/>
      </a:lt2>
      <a:accent1>
        <a:srgbClr val="22B1BF"/>
      </a:accent1>
      <a:accent2>
        <a:srgbClr val="499DCC"/>
      </a:accent2>
      <a:accent3>
        <a:srgbClr val="5E85CA"/>
      </a:accent3>
      <a:accent4>
        <a:srgbClr val="6B71C5"/>
      </a:accent4>
      <a:accent5>
        <a:srgbClr val="4472C4"/>
      </a:accent5>
      <a:accent6>
        <a:srgbClr val="1C5688"/>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a:gsLst>
            <a:gs pos="0">
              <a:schemeClr val="accent1">
                <a:alpha val="50000"/>
              </a:schemeClr>
            </a:gs>
            <a:gs pos="100000">
              <a:schemeClr val="accent4">
                <a:lumMod val="100000"/>
                <a:alpha val="81000"/>
              </a:schemeClr>
            </a:gs>
          </a:gsLst>
          <a:lin ang="2700000" scaled="0"/>
        </a:gra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3200" smtClean="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12_Gray_Blue Theme">
      <a:dk1>
        <a:sysClr val="windowText" lastClr="000000"/>
      </a:dk1>
      <a:lt1>
        <a:sysClr val="window" lastClr="FFFFFF"/>
      </a:lt1>
      <a:dk2>
        <a:srgbClr val="000000"/>
      </a:dk2>
      <a:lt2>
        <a:srgbClr val="FFFFFF"/>
      </a:lt2>
      <a:accent1>
        <a:srgbClr val="0476BF"/>
      </a:accent1>
      <a:accent2>
        <a:srgbClr val="0E5A8B"/>
      </a:accent2>
      <a:accent3>
        <a:srgbClr val="32ACFA"/>
      </a:accent3>
      <a:accent4>
        <a:srgbClr val="A1A1A1"/>
      </a:accent4>
      <a:accent5>
        <a:srgbClr val="0588DB"/>
      </a:accent5>
      <a:accent6>
        <a:srgbClr val="525252"/>
      </a:accent6>
      <a:hlink>
        <a:srgbClr val="0066CC"/>
      </a:hlink>
      <a:folHlink>
        <a:srgbClr val="45C9C9"/>
      </a:folHlink>
    </a:clrScheme>
    <a:fontScheme name="Arial">
      <a:majorFont>
        <a:latin typeface="Arial"/>
        <a:ea typeface=""/>
        <a:cs typeface="FontAwesome"/>
      </a:majorFont>
      <a:minorFont>
        <a:latin typeface="Arial"/>
        <a:ea typeface=""/>
        <a:cs typeface="FontAwesom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C000"/>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1_Office Theme">
  <a:themeElements>
    <a:clrScheme name="Right 2">
      <a:dk1>
        <a:sysClr val="windowText" lastClr="000000"/>
      </a:dk1>
      <a:lt1>
        <a:srgbClr val="F7F7F7"/>
      </a:lt1>
      <a:dk2>
        <a:srgbClr val="44546A"/>
      </a:dk2>
      <a:lt2>
        <a:srgbClr val="E7E6E6"/>
      </a:lt2>
      <a:accent1>
        <a:srgbClr val="22B1BF"/>
      </a:accent1>
      <a:accent2>
        <a:srgbClr val="499DCC"/>
      </a:accent2>
      <a:accent3>
        <a:srgbClr val="5E85CA"/>
      </a:accent3>
      <a:accent4>
        <a:srgbClr val="6B71C5"/>
      </a:accent4>
      <a:accent5>
        <a:srgbClr val="4472C4"/>
      </a:accent5>
      <a:accent6>
        <a:srgbClr val="1C5688"/>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a:gsLst>
            <a:gs pos="0">
              <a:schemeClr val="accent1">
                <a:alpha val="50000"/>
              </a:schemeClr>
            </a:gs>
            <a:gs pos="100000">
              <a:schemeClr val="accent4">
                <a:lumMod val="100000"/>
                <a:alpha val="81000"/>
              </a:schemeClr>
            </a:gs>
          </a:gsLst>
          <a:lin ang="2700000" scaled="0"/>
        </a:gra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3200" smtClean="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61</TotalTime>
  <Words>2931</Words>
  <Application>Microsoft Office PowerPoint</Application>
  <PresentationFormat>Широкоэкранный</PresentationFormat>
  <Paragraphs>378</Paragraphs>
  <Slides>51</Slides>
  <Notes>2</Notes>
  <HiddenSlides>0</HiddenSlides>
  <MMClips>0</MMClips>
  <ScaleCrop>false</ScaleCrop>
  <HeadingPairs>
    <vt:vector size="8" baseType="variant">
      <vt:variant>
        <vt:lpstr>Использованные шрифты</vt:lpstr>
      </vt:variant>
      <vt:variant>
        <vt:i4>15</vt:i4>
      </vt:variant>
      <vt:variant>
        <vt:lpstr>Тема</vt:lpstr>
      </vt:variant>
      <vt:variant>
        <vt:i4>3</vt:i4>
      </vt:variant>
      <vt:variant>
        <vt:lpstr>Внедренные серверы OLE</vt:lpstr>
      </vt:variant>
      <vt:variant>
        <vt:i4>1</vt:i4>
      </vt:variant>
      <vt:variant>
        <vt:lpstr>Заголовки слайдов</vt:lpstr>
      </vt:variant>
      <vt:variant>
        <vt:i4>51</vt:i4>
      </vt:variant>
    </vt:vector>
  </HeadingPairs>
  <TitlesOfParts>
    <vt:vector size="70" baseType="lpstr">
      <vt:lpstr>Agency FB</vt:lpstr>
      <vt:lpstr>Arial</vt:lpstr>
      <vt:lpstr>Calibri</vt:lpstr>
      <vt:lpstr>Calibri Light</vt:lpstr>
      <vt:lpstr>Century Gothic</vt:lpstr>
      <vt:lpstr>FontAwesome</vt:lpstr>
      <vt:lpstr>Gill Sans</vt:lpstr>
      <vt:lpstr>Harlow Solid Italic</vt:lpstr>
      <vt:lpstr>Mangal</vt:lpstr>
      <vt:lpstr>Open Sans</vt:lpstr>
      <vt:lpstr>Open Sans BOLD</vt:lpstr>
      <vt:lpstr>Open Sans Light</vt:lpstr>
      <vt:lpstr>Open Sans Semibold</vt:lpstr>
      <vt:lpstr>Tahoma</vt:lpstr>
      <vt:lpstr>Wingdings</vt:lpstr>
      <vt:lpstr>Office Theme</vt:lpstr>
      <vt:lpstr>1_Custom Design</vt:lpstr>
      <vt:lpstr>1_Office Theme</vt:lpstr>
      <vt:lpstr>Слайд think-cell</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CRISP-DM методология </vt:lpstr>
      <vt:lpstr>CRISP-DM методология - Понимание бизнеса  </vt:lpstr>
      <vt:lpstr>CRISP-DM методология – Начальное изучение данных</vt:lpstr>
      <vt:lpstr>CRISP-DM методология – Подготовка данных </vt:lpstr>
      <vt:lpstr>CRISP-DM методология - Моделирование </vt:lpstr>
      <vt:lpstr>CRISP-DM методология – Оценка </vt:lpstr>
      <vt:lpstr>CRISP-DM методология - Внедрение </vt:lpstr>
      <vt:lpstr>CRISP-DM методология – Общая схема </vt:lpstr>
      <vt:lpstr>SEMMA методология</vt:lpstr>
      <vt:lpstr>SEMMA этапы</vt:lpstr>
      <vt:lpstr>SEMMA методология</vt:lpstr>
      <vt:lpstr>CRISP-DM &amp; SEMMA методологии - Выводы</vt:lpstr>
      <vt:lpstr>Презентация PowerPoint</vt:lpstr>
      <vt:lpstr>Презентация PowerPoint</vt:lpstr>
      <vt:lpstr>План внедрения Data Mining </vt:lpstr>
      <vt:lpstr>План внедрения Data Mining </vt:lpstr>
      <vt:lpstr>Этапы внедрения Data Mining на примере HR </vt:lpstr>
      <vt:lpstr>Этапы внедрения Data Mining на примере HR </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илья щекочихин</dc:creator>
  <cp:lastModifiedBy>илья щекочихин</cp:lastModifiedBy>
  <cp:revision>68</cp:revision>
  <dcterms:created xsi:type="dcterms:W3CDTF">2020-05-25T03:31:44Z</dcterms:created>
  <dcterms:modified xsi:type="dcterms:W3CDTF">2020-05-26T14:27:59Z</dcterms:modified>
</cp:coreProperties>
</file>